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1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2" r:id="rId5"/>
    <p:sldMasterId id="2147483863" r:id="rId6"/>
    <p:sldMasterId id="2147483878" r:id="rId7"/>
    <p:sldMasterId id="2147483889" r:id="rId8"/>
  </p:sldMasterIdLst>
  <p:notesMasterIdLst>
    <p:notesMasterId r:id="rId109"/>
  </p:notesMasterIdLst>
  <p:handoutMasterIdLst>
    <p:handoutMasterId r:id="rId110"/>
  </p:handoutMasterIdLst>
  <p:sldIdLst>
    <p:sldId id="478" r:id="rId9"/>
    <p:sldId id="485" r:id="rId10"/>
    <p:sldId id="577" r:id="rId11"/>
    <p:sldId id="578" r:id="rId12"/>
    <p:sldId id="491" r:id="rId13"/>
    <p:sldId id="585" r:id="rId14"/>
    <p:sldId id="582" r:id="rId15"/>
    <p:sldId id="393" r:id="rId16"/>
    <p:sldId id="537" r:id="rId17"/>
    <p:sldId id="500" r:id="rId18"/>
    <p:sldId id="512" r:id="rId19"/>
    <p:sldId id="338" r:id="rId20"/>
    <p:sldId id="539" r:id="rId21"/>
    <p:sldId id="579" r:id="rId22"/>
    <p:sldId id="540" r:id="rId23"/>
    <p:sldId id="340" r:id="rId24"/>
    <p:sldId id="384" r:id="rId25"/>
    <p:sldId id="435" r:id="rId26"/>
    <p:sldId id="437" r:id="rId27"/>
    <p:sldId id="551" r:id="rId28"/>
    <p:sldId id="552" r:id="rId29"/>
    <p:sldId id="555" r:id="rId30"/>
    <p:sldId id="561" r:id="rId31"/>
    <p:sldId id="568" r:id="rId32"/>
    <p:sldId id="553" r:id="rId33"/>
    <p:sldId id="567" r:id="rId34"/>
    <p:sldId id="564" r:id="rId35"/>
    <p:sldId id="438" r:id="rId36"/>
    <p:sldId id="558" r:id="rId37"/>
    <p:sldId id="562" r:id="rId38"/>
    <p:sldId id="563" r:id="rId39"/>
    <p:sldId id="439" r:id="rId40"/>
    <p:sldId id="440" r:id="rId41"/>
    <p:sldId id="554" r:id="rId42"/>
    <p:sldId id="565" r:id="rId43"/>
    <p:sldId id="572" r:id="rId44"/>
    <p:sldId id="573" r:id="rId45"/>
    <p:sldId id="574" r:id="rId46"/>
    <p:sldId id="575" r:id="rId47"/>
    <p:sldId id="536" r:id="rId48"/>
    <p:sldId id="535" r:id="rId49"/>
    <p:sldId id="583" r:id="rId50"/>
    <p:sldId id="534" r:id="rId51"/>
    <p:sldId id="441" r:id="rId52"/>
    <p:sldId id="442" r:id="rId53"/>
    <p:sldId id="443" r:id="rId54"/>
    <p:sldId id="444" r:id="rId55"/>
    <p:sldId id="445" r:id="rId56"/>
    <p:sldId id="556" r:id="rId57"/>
    <p:sldId id="557" r:id="rId58"/>
    <p:sldId id="532" r:id="rId59"/>
    <p:sldId id="533" r:id="rId60"/>
    <p:sldId id="581" r:id="rId61"/>
    <p:sldId id="446" r:id="rId62"/>
    <p:sldId id="447" r:id="rId63"/>
    <p:sldId id="448" r:id="rId64"/>
    <p:sldId id="449" r:id="rId65"/>
    <p:sldId id="450" r:id="rId66"/>
    <p:sldId id="451" r:id="rId67"/>
    <p:sldId id="452" r:id="rId68"/>
    <p:sldId id="531" r:id="rId69"/>
    <p:sldId id="530" r:id="rId70"/>
    <p:sldId id="580" r:id="rId71"/>
    <p:sldId id="453" r:id="rId72"/>
    <p:sldId id="454" r:id="rId73"/>
    <p:sldId id="455" r:id="rId74"/>
    <p:sldId id="456" r:id="rId75"/>
    <p:sldId id="457" r:id="rId76"/>
    <p:sldId id="458" r:id="rId77"/>
    <p:sldId id="529" r:id="rId78"/>
    <p:sldId id="528" r:id="rId79"/>
    <p:sldId id="527" r:id="rId80"/>
    <p:sldId id="526" r:id="rId81"/>
    <p:sldId id="525" r:id="rId82"/>
    <p:sldId id="546" r:id="rId83"/>
    <p:sldId id="524" r:id="rId84"/>
    <p:sldId id="542" r:id="rId85"/>
    <p:sldId id="523" r:id="rId86"/>
    <p:sldId id="522" r:id="rId87"/>
    <p:sldId id="521" r:id="rId88"/>
    <p:sldId id="520" r:id="rId89"/>
    <p:sldId id="519" r:id="rId90"/>
    <p:sldId id="547" r:id="rId91"/>
    <p:sldId id="586" r:id="rId92"/>
    <p:sldId id="569" r:id="rId93"/>
    <p:sldId id="571" r:id="rId94"/>
    <p:sldId id="518" r:id="rId95"/>
    <p:sldId id="517" r:id="rId96"/>
    <p:sldId id="473" r:id="rId97"/>
    <p:sldId id="543" r:id="rId98"/>
    <p:sldId id="475" r:id="rId99"/>
    <p:sldId id="476" r:id="rId100"/>
    <p:sldId id="548" r:id="rId101"/>
    <p:sldId id="560" r:id="rId102"/>
    <p:sldId id="566" r:id="rId103"/>
    <p:sldId id="549" r:id="rId104"/>
    <p:sldId id="550" r:id="rId105"/>
    <p:sldId id="483" r:id="rId106"/>
    <p:sldId id="508" r:id="rId107"/>
    <p:sldId id="576" r:id="rId108"/>
  </p:sldIdLst>
  <p:sldSz cx="9144000" cy="6858000" type="screen4x3"/>
  <p:notesSz cx="6669088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09">
          <p15:clr>
            <a:srgbClr val="A4A3A4"/>
          </p15:clr>
        </p15:guide>
        <p15:guide id="3" pos="2880">
          <p15:clr>
            <a:srgbClr val="A4A3A4"/>
          </p15:clr>
        </p15:guide>
        <p15:guide id="4" pos="55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00"/>
    <a:srgbClr val="E10019"/>
    <a:srgbClr val="008737"/>
    <a:srgbClr val="005FAA"/>
    <a:srgbClr val="69AF23"/>
    <a:srgbClr val="F7F7F7"/>
    <a:srgbClr val="D0D0D0"/>
    <a:srgbClr val="E0E0E0"/>
    <a:srgbClr val="EFEFEF"/>
    <a:srgbClr val="B1B1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28" autoAdjust="0"/>
    <p:restoredTop sz="98951" autoAdjust="0"/>
  </p:normalViewPr>
  <p:slideViewPr>
    <p:cSldViewPr showGuides="1">
      <p:cViewPr varScale="1">
        <p:scale>
          <a:sx n="72" d="100"/>
          <a:sy n="72" d="100"/>
        </p:scale>
        <p:origin x="1428" y="72"/>
      </p:cViewPr>
      <p:guideLst>
        <p:guide orient="horz" pos="2160"/>
        <p:guide orient="horz" pos="309"/>
        <p:guide pos="2880"/>
        <p:guide pos="55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87" Type="http://schemas.openxmlformats.org/officeDocument/2006/relationships/slide" Target="slides/slide79.xml"/><Relationship Id="rId102" Type="http://schemas.openxmlformats.org/officeDocument/2006/relationships/slide" Target="slides/slide94.xml"/><Relationship Id="rId110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13" Type="http://schemas.openxmlformats.org/officeDocument/2006/relationships/theme" Target="theme/theme1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1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14" Type="http://schemas.openxmlformats.org/officeDocument/2006/relationships/tableStyles" Target="tableStyle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notesMaster" Target="notesMasters/notesMaster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7" Type="http://schemas.openxmlformats.org/officeDocument/2006/relationships/slideMaster" Target="slideMasters/slideMaster3.xml"/><Relationship Id="rId71" Type="http://schemas.openxmlformats.org/officeDocument/2006/relationships/slide" Target="slides/slide63.xml"/><Relationship Id="rId92" Type="http://schemas.openxmlformats.org/officeDocument/2006/relationships/slide" Target="slides/slide8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tem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euil1!$A$2:$A$7</c:f>
              <c:strCache>
                <c:ptCount val="6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  <c:pt idx="4">
                  <c:v>Item 5</c:v>
                </c:pt>
                <c:pt idx="5">
                  <c:v>Item 6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150</c:v>
                </c:pt>
                <c:pt idx="1">
                  <c:v>200</c:v>
                </c:pt>
                <c:pt idx="2">
                  <c:v>150</c:v>
                </c:pt>
                <c:pt idx="3">
                  <c:v>100</c:v>
                </c:pt>
                <c:pt idx="4">
                  <c:v>200</c:v>
                </c:pt>
                <c:pt idx="5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834-44F6-B66C-7E650097AE1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Item 2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euil1!$A$2:$A$7</c:f>
              <c:strCache>
                <c:ptCount val="6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  <c:pt idx="4">
                  <c:v>Item 5</c:v>
                </c:pt>
                <c:pt idx="5">
                  <c:v>Item 6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25</c:v>
                </c:pt>
                <c:pt idx="2">
                  <c:v>100</c:v>
                </c:pt>
                <c:pt idx="3">
                  <c:v>50</c:v>
                </c:pt>
                <c:pt idx="4">
                  <c:v>100</c:v>
                </c:pt>
                <c:pt idx="5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834-44F6-B66C-7E650097A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20136144"/>
        <c:axId val="420135752"/>
      </c:barChart>
      <c:catAx>
        <c:axId val="4201361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solidFill>
              <a:schemeClr val="bg2"/>
            </a:solidFill>
          </a:ln>
        </c:spPr>
        <c:txPr>
          <a:bodyPr/>
          <a:lstStyle/>
          <a:p>
            <a:pPr>
              <a:defRPr sz="1200">
                <a:solidFill>
                  <a:schemeClr val="bg2"/>
                </a:solidFill>
              </a:defRPr>
            </a:pPr>
            <a:endParaRPr lang="en-US"/>
          </a:p>
        </c:txPr>
        <c:crossAx val="420135752"/>
        <c:crosses val="autoZero"/>
        <c:auto val="1"/>
        <c:lblAlgn val="ctr"/>
        <c:lblOffset val="100"/>
        <c:noMultiLvlLbl val="0"/>
      </c:catAx>
      <c:valAx>
        <c:axId val="4201357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201361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GB"/>
              <a:t>Staff numbers</a:t>
            </a:r>
            <a:br>
              <a:rPr lang="en-GB"/>
            </a:br>
            <a:r>
              <a:rPr lang="en-GB"/>
              <a:t>(in thousands)</a:t>
            </a:r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2.3945580283514335E-2"/>
          <c:y val="0.21588636541086029"/>
          <c:w val="0.95210883943297264"/>
          <c:h val="0.6971251977014359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tem 1</c:v>
                </c:pt>
              </c:strCache>
            </c:strRef>
          </c:tx>
          <c:spPr>
            <a:ln w="31750"/>
          </c:spPr>
          <c:marker>
            <c:symbol val="square"/>
            <c:size val="8"/>
            <c:spPr>
              <a:solidFill>
                <a:srgbClr val="1397FE"/>
              </a:solidFill>
            </c:spPr>
          </c:marker>
          <c:dPt>
            <c:idx val="0"/>
            <c:marker>
              <c:spPr>
                <a:solidFill>
                  <a:schemeClr val="accent2"/>
                </a:solidFill>
                <a:ln>
                  <a:noFill/>
                </a:ln>
              </c:spPr>
            </c:marker>
            <c:bubble3D val="0"/>
            <c:spPr>
              <a:ln w="31750">
                <a:solidFill>
                  <a:schemeClr val="accent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C27-40C1-AA04-9AA1484B679C}"/>
              </c:ext>
            </c:extLst>
          </c:dPt>
          <c:dPt>
            <c:idx val="1"/>
            <c:marker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spPr>
              <a:ln w="31750">
                <a:solidFill>
                  <a:schemeClr val="accent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C27-40C1-AA04-9AA1484B679C}"/>
              </c:ext>
            </c:extLst>
          </c:dPt>
          <c:dPt>
            <c:idx val="2"/>
            <c:marker>
              <c:spPr>
                <a:solidFill>
                  <a:schemeClr val="accent2"/>
                </a:solidFill>
                <a:ln>
                  <a:noFill/>
                </a:ln>
              </c:spPr>
            </c:marker>
            <c:bubble3D val="0"/>
            <c:spPr>
              <a:ln w="3175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C27-40C1-AA04-9AA1484B679C}"/>
              </c:ext>
            </c:extLst>
          </c:dPt>
          <c:dPt>
            <c:idx val="3"/>
            <c:marker>
              <c:spPr>
                <a:solidFill>
                  <a:schemeClr val="accent1"/>
                </a:solidFill>
                <a:ln>
                  <a:noFill/>
                </a:ln>
              </c:spPr>
            </c:marker>
            <c:bubble3D val="0"/>
            <c:spPr>
              <a:ln w="31750">
                <a:solidFill>
                  <a:srgbClr val="0078B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C27-40C1-AA04-9AA1484B679C}"/>
              </c:ext>
            </c:extLst>
          </c:dPt>
          <c:dPt>
            <c:idx val="4"/>
            <c:marker>
              <c:spPr>
                <a:solidFill>
                  <a:schemeClr val="accent1"/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c:spPr>
            </c:marker>
            <c:bubble3D val="0"/>
            <c:spPr>
              <a:ln w="31750">
                <a:solidFill>
                  <a:schemeClr val="bg1">
                    <a:lumMod val="65000"/>
                  </a:schemeClr>
                </a:solidFill>
                <a:prstDash val="sysDot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C27-40C1-AA04-9AA1484B679C}"/>
              </c:ext>
            </c:extLst>
          </c:dPt>
          <c:dPt>
            <c:idx val="5"/>
            <c:marker>
              <c:spPr>
                <a:solidFill>
                  <a:schemeClr val="accent1"/>
                </a:solidFill>
                <a:ln>
                  <a:noFill/>
                </a:ln>
              </c:spPr>
            </c:marker>
            <c:bubble3D val="0"/>
            <c:spPr>
              <a:ln w="31750">
                <a:solidFill>
                  <a:schemeClr val="bg1">
                    <a:lumMod val="65000"/>
                  </a:schemeClr>
                </a:solidFill>
                <a:prstDash val="sysDot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DC27-40C1-AA04-9AA1484B679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/>
                        </a:solidFill>
                      </a:rPr>
                      <a:t>4</a:t>
                    </a:r>
                    <a:r>
                      <a:rPr lang="en-US" sz="1800">
                        <a:solidFill>
                          <a:schemeClr val="bg1">
                            <a:lumMod val="65000"/>
                          </a:schemeClr>
                        </a:solidFill>
                      </a:rPr>
                      <a:t>.3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C27-40C1-AA04-9AA1484B679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/>
                        </a:solidFill>
                      </a:rPr>
                      <a:t>2</a:t>
                    </a:r>
                    <a:r>
                      <a:rPr lang="en-US" sz="1800">
                        <a:solidFill>
                          <a:schemeClr val="bg1">
                            <a:lumMod val="65000"/>
                          </a:schemeClr>
                        </a:solidFill>
                      </a:rPr>
                      <a:t>.5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C27-40C1-AA04-9AA1484B679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600" dirty="0">
                        <a:solidFill>
                          <a:schemeClr val="bg2"/>
                        </a:solidFill>
                      </a:rPr>
                      <a:t>3</a:t>
                    </a:r>
                    <a:r>
                      <a:rPr lang="en-US" sz="1800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a:t>.5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C27-40C1-AA04-9AA1484B679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6.5355124208035811E-2"/>
                  <c:y val="-9.6295006958166743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en-US" sz="1600" b="1">
                        <a:solidFill>
                          <a:schemeClr val="bg1"/>
                        </a:solidFill>
                      </a:rPr>
                      <a:t>4</a:t>
                    </a:r>
                    <a:r>
                      <a:rPr lang="en-US" b="1">
                        <a:solidFill>
                          <a:schemeClr val="bg1"/>
                        </a:solidFill>
                      </a:rPr>
                      <a:t>.5</a:t>
                    </a:r>
                  </a:p>
                </c:rich>
              </c:tx>
              <c:spPr>
                <a:solidFill>
                  <a:schemeClr val="accent1"/>
                </a:solidFill>
                <a:ln>
                  <a:noFill/>
                </a:ln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C27-40C1-AA04-9AA1484B679C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/>
                        </a:solidFill>
                      </a:rPr>
                      <a:t>7</a:t>
                    </a:r>
                    <a:r>
                      <a:rPr lang="en-US" sz="1800">
                        <a:solidFill>
                          <a:schemeClr val="bg1">
                            <a:lumMod val="65000"/>
                          </a:schemeClr>
                        </a:solidFill>
                      </a:rPr>
                      <a:t>.1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C27-40C1-AA04-9AA1484B679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2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Feuil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6</c:v>
                </c:pt>
                <c:pt idx="5">
                  <c:v>7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DC27-40C1-AA04-9AA1484B67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968344"/>
        <c:axId val="152967952"/>
      </c:lineChart>
      <c:catAx>
        <c:axId val="152968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>
                <a:solidFill>
                  <a:schemeClr val="bg2"/>
                </a:solidFill>
              </a:defRPr>
            </a:pPr>
            <a:endParaRPr lang="en-US"/>
          </a:p>
        </c:txPr>
        <c:crossAx val="152967952"/>
        <c:crosses val="autoZero"/>
        <c:auto val="1"/>
        <c:lblAlgn val="ctr"/>
        <c:lblOffset val="0"/>
        <c:noMultiLvlLbl val="0"/>
      </c:catAx>
      <c:valAx>
        <c:axId val="1529679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529683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bg2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400">
                <a:solidFill>
                  <a:schemeClr val="bg2"/>
                </a:solidFill>
              </a:defRPr>
            </a:pPr>
            <a:r>
              <a:rPr lang="nl-NL" sz="1600" dirty="0">
                <a:solidFill>
                  <a:schemeClr val="bg2"/>
                </a:solidFill>
              </a:rPr>
              <a:t>Net </a:t>
            </a:r>
            <a:r>
              <a:rPr lang="nl-NL" sz="1600" dirty="0" err="1">
                <a:solidFill>
                  <a:schemeClr val="bg2"/>
                </a:solidFill>
              </a:rPr>
              <a:t>result</a:t>
            </a:r>
            <a:r>
              <a:rPr lang="nl-NL" sz="1600" dirty="0">
                <a:solidFill>
                  <a:schemeClr val="bg2"/>
                </a:solidFill>
              </a:rPr>
              <a:t>, 2010-2016</a:t>
            </a:r>
            <a:r>
              <a:rPr lang="nl-NL" sz="2400" dirty="0">
                <a:solidFill>
                  <a:schemeClr val="bg2"/>
                </a:solidFill>
              </a:rPr>
              <a:t/>
            </a:r>
            <a:br>
              <a:rPr lang="nl-NL" sz="2400" dirty="0">
                <a:solidFill>
                  <a:schemeClr val="bg2"/>
                </a:solidFill>
              </a:rPr>
            </a:br>
            <a:r>
              <a:rPr lang="nl-NL" sz="1600" b="0" dirty="0">
                <a:solidFill>
                  <a:schemeClr val="bg2"/>
                </a:solidFill>
              </a:rPr>
              <a:t>(in M€)</a:t>
            </a:r>
            <a:endParaRPr lang="nl-NL" sz="2400" b="0" dirty="0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0.22292984715671099"/>
          <c:y val="0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3945580283514342E-2"/>
          <c:y val="0.13675715460372401"/>
          <c:w val="0.85066399696410511"/>
          <c:h val="0.67312280263666446"/>
        </c:manualLayout>
      </c:layout>
      <c:areaChart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Operating result</c:v>
                </c:pt>
              </c:strCache>
            </c:strRef>
          </c:tx>
          <c:spPr>
            <a:solidFill>
              <a:schemeClr val="accent1"/>
            </a:solidFill>
            <a:ln w="31750"/>
          </c:spPr>
          <c:dPt>
            <c:idx val="0"/>
            <c:bubble3D val="0"/>
            <c:spPr>
              <a:solidFill>
                <a:schemeClr val="accent1"/>
              </a:solidFill>
              <a:ln w="31750">
                <a:solidFill>
                  <a:schemeClr val="accent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E6C-4E2D-BA8D-56AF047DC09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31750">
                <a:solidFill>
                  <a:schemeClr val="accent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E6C-4E2D-BA8D-56AF047DC095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1750">
                <a:solidFill>
                  <a:schemeClr val="accent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E6C-4E2D-BA8D-56AF047DC095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31750">
                <a:solidFill>
                  <a:schemeClr val="accent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E6C-4E2D-BA8D-56AF047DC095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31750">
                <a:solidFill>
                  <a:schemeClr val="bg1">
                    <a:lumMod val="65000"/>
                  </a:schemeClr>
                </a:solidFill>
                <a:prstDash val="sysDot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E6C-4E2D-BA8D-56AF047DC095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 w="31750">
                <a:solidFill>
                  <a:schemeClr val="bg1">
                    <a:lumMod val="65000"/>
                  </a:schemeClr>
                </a:solidFill>
                <a:prstDash val="sysDot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E6C-4E2D-BA8D-56AF047DC095}"/>
              </c:ext>
            </c:extLst>
          </c:dPt>
          <c:cat>
            <c:numRef>
              <c:f>Feuil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Feuil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E6C-4E2D-BA8D-56AF047DC09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Net result</c:v>
                </c:pt>
              </c:strCache>
            </c:strRef>
          </c:tx>
          <c:spPr>
            <a:solidFill>
              <a:schemeClr val="accent5"/>
            </a:solidFill>
          </c:spPr>
          <c:cat>
            <c:numRef>
              <c:f>Feuil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Feuil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4E6C-4E2D-BA8D-56AF047DC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5213600"/>
        <c:axId val="422237112"/>
      </c:areaChart>
      <c:catAx>
        <c:axId val="415213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2"/>
                </a:solidFill>
              </a:defRPr>
            </a:pPr>
            <a:endParaRPr lang="en-US"/>
          </a:p>
        </c:txPr>
        <c:crossAx val="422237112"/>
        <c:crosses val="autoZero"/>
        <c:auto val="1"/>
        <c:lblAlgn val="ctr"/>
        <c:lblOffset val="100"/>
        <c:noMultiLvlLbl val="0"/>
      </c:catAx>
      <c:valAx>
        <c:axId val="4222371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chemeClr val="tx1">
                <a:lumMod val="50000"/>
                <a:lumOff val="50000"/>
              </a:schemeClr>
            </a:solidFill>
          </a:ln>
        </c:spPr>
        <c:txPr>
          <a:bodyPr/>
          <a:lstStyle/>
          <a:p>
            <a:pPr>
              <a:defRPr sz="1200">
                <a:solidFill>
                  <a:schemeClr val="bg2"/>
                </a:solidFill>
              </a:defRPr>
            </a:pPr>
            <a:endParaRPr lang="en-US"/>
          </a:p>
        </c:txPr>
        <c:crossAx val="415213600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5876467496837871"/>
          <c:y val="0.92328846045493251"/>
          <c:w val="0.6824703717064825"/>
          <c:h val="6.237999754866929E-2"/>
        </c:manualLayout>
      </c:layout>
      <c:overlay val="0"/>
      <c:txPr>
        <a:bodyPr/>
        <a:lstStyle/>
        <a:p>
          <a:pPr>
            <a:defRPr sz="1200">
              <a:solidFill>
                <a:schemeClr val="bg2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>
                <a:solidFill>
                  <a:schemeClr val="bg2"/>
                </a:solidFill>
              </a:defRPr>
            </a:pPr>
            <a:r>
              <a:rPr lang="en-US" sz="1600" dirty="0">
                <a:solidFill>
                  <a:schemeClr val="bg2"/>
                </a:solidFill>
              </a:rPr>
              <a:t>Text</a:t>
            </a:r>
          </a:p>
        </c:rich>
      </c:tx>
      <c:layout>
        <c:manualLayout>
          <c:xMode val="edge"/>
          <c:yMode val="edge"/>
          <c:x val="0.39673633567251598"/>
          <c:y val="0.44758084034230738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8660967222695802E-2"/>
          <c:y val="1.84076769247861E-2"/>
          <c:w val="0.94267806555460965"/>
          <c:h val="0.96318464615042965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0C8-4F01-909E-2564B45D12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0C8-4F01-909E-2564B45D1283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0C8-4F01-909E-2564B45D1283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0C8-4F01-909E-2564B45D128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00C8-4F01-909E-2564B45D12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Feuil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Feuil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0C8-4F01-909E-2564B45D128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5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le</c:v>
                </c:pt>
              </c:strCache>
            </c:strRef>
          </c:tx>
          <c:spPr>
            <a:solidFill>
              <a:srgbClr val="552333"/>
            </a:solidFill>
          </c:spPr>
          <c:dPt>
            <c:idx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DC1-4974-970E-A2C0056F006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DC1-4974-970E-A2C0056F0067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DC1-4974-970E-A2C0056F00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euil1!$A$2:$A$4</c:f>
              <c:strCache>
                <c:ptCount val="3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</c:strCache>
            </c:strRef>
          </c:cat>
          <c:val>
            <c:numRef>
              <c:f>Feuil1!$B$2:$B$4</c:f>
              <c:numCache>
                <c:formatCode>0%</c:formatCode>
                <c:ptCount val="3"/>
                <c:pt idx="0">
                  <c:v>0.5</c:v>
                </c:pt>
                <c:pt idx="1">
                  <c:v>0.3800000000000015</c:v>
                </c:pt>
                <c:pt idx="2">
                  <c:v>0.12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DC1-4974-970E-A2C0056F00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legend>
      <c:legendPos val="b"/>
      <c:layout>
        <c:manualLayout>
          <c:xMode val="edge"/>
          <c:yMode val="edge"/>
          <c:x val="1.0831747415722801E-2"/>
          <c:y val="0.90873383940779895"/>
          <c:w val="0.98317618966684961"/>
          <c:h val="9.1266160592201745E-2"/>
        </c:manualLayout>
      </c:layout>
      <c:overlay val="0"/>
      <c:txPr>
        <a:bodyPr/>
        <a:lstStyle/>
        <a:p>
          <a:pPr>
            <a:defRPr sz="1200">
              <a:solidFill>
                <a:schemeClr val="bg2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l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E44-458D-9CDC-1EA99191B53C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E44-458D-9CDC-1EA99191B53C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E44-458D-9CDC-1EA99191B53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euil1!$A$2:$A$4</c:f>
              <c:strCache>
                <c:ptCount val="3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</c:strCache>
            </c:strRef>
          </c:cat>
          <c:val>
            <c:numRef>
              <c:f>Feuil1!$B$2:$B$4</c:f>
              <c:numCache>
                <c:formatCode>0%</c:formatCode>
                <c:ptCount val="3"/>
                <c:pt idx="0">
                  <c:v>0.5</c:v>
                </c:pt>
                <c:pt idx="1">
                  <c:v>0.3800000000000015</c:v>
                </c:pt>
                <c:pt idx="2">
                  <c:v>0.12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E44-458D-9CDC-1EA99191B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legend>
      <c:legendPos val="b"/>
      <c:layout>
        <c:manualLayout>
          <c:xMode val="edge"/>
          <c:yMode val="edge"/>
          <c:x val="1.0831747415722801E-2"/>
          <c:y val="0.90873383940779895"/>
          <c:w val="0.98317618966684961"/>
          <c:h val="9.1266160592201745E-2"/>
        </c:manualLayout>
      </c:layout>
      <c:overlay val="0"/>
      <c:txPr>
        <a:bodyPr/>
        <a:lstStyle/>
        <a:p>
          <a:pPr>
            <a:defRPr sz="1200">
              <a:solidFill>
                <a:schemeClr val="bg2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>
                <a:solidFill>
                  <a:schemeClr val="bg2"/>
                </a:solidFill>
              </a:defRPr>
            </a:pPr>
            <a:r>
              <a:rPr lang="en-GB" sz="1600" dirty="0">
                <a:solidFill>
                  <a:schemeClr val="bg2"/>
                </a:solidFill>
              </a:rPr>
              <a:t>Graph title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2.3945580283514335E-2"/>
          <c:y val="0.13675715460372401"/>
          <c:w val="0.95210883943297264"/>
          <c:h val="0.776254441816697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tem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euil1!$A$2:$A$7</c:f>
              <c:strCache>
                <c:ptCount val="6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  <c:pt idx="4">
                  <c:v>Item 5</c:v>
                </c:pt>
                <c:pt idx="5">
                  <c:v>Item 6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150</c:v>
                </c:pt>
                <c:pt idx="1">
                  <c:v>200</c:v>
                </c:pt>
                <c:pt idx="2">
                  <c:v>150</c:v>
                </c:pt>
                <c:pt idx="3">
                  <c:v>100</c:v>
                </c:pt>
                <c:pt idx="4">
                  <c:v>200</c:v>
                </c:pt>
                <c:pt idx="5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2BB-4C9A-A606-EB51EED0B44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Item 2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euil1!$A$2:$A$7</c:f>
              <c:strCache>
                <c:ptCount val="6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  <c:pt idx="4">
                  <c:v>Item 5</c:v>
                </c:pt>
                <c:pt idx="5">
                  <c:v>Item 6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25</c:v>
                </c:pt>
                <c:pt idx="2">
                  <c:v>100</c:v>
                </c:pt>
                <c:pt idx="3">
                  <c:v>50</c:v>
                </c:pt>
                <c:pt idx="4">
                  <c:v>100</c:v>
                </c:pt>
                <c:pt idx="5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2BB-4C9A-A606-EB51EED0B4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63424504"/>
        <c:axId val="463423720"/>
      </c:barChart>
      <c:catAx>
        <c:axId val="463424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>
                <a:solidFill>
                  <a:schemeClr val="bg2"/>
                </a:solidFill>
              </a:defRPr>
            </a:pPr>
            <a:endParaRPr lang="en-US"/>
          </a:p>
        </c:txPr>
        <c:crossAx val="463423720"/>
        <c:crosses val="autoZero"/>
        <c:auto val="1"/>
        <c:lblAlgn val="ctr"/>
        <c:lblOffset val="100"/>
        <c:noMultiLvlLbl val="0"/>
      </c:catAx>
      <c:valAx>
        <c:axId val="4634237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63424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GB" sz="1600" b="1" i="0" baseline="0" dirty="0">
                <a:solidFill>
                  <a:schemeClr val="bg2"/>
                </a:solidFill>
                <a:effectLst/>
              </a:rPr>
              <a:t>Graph title</a:t>
            </a:r>
            <a:endParaRPr lang="en-GB" sz="1600" dirty="0">
              <a:solidFill>
                <a:schemeClr val="bg2"/>
              </a:solidFill>
              <a:effectLst/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0.15745873674504532"/>
          <c:y val="0.17668595044458188"/>
          <c:w val="0.68508252650991197"/>
          <c:h val="0.7047847711201830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le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10F-4998-80EC-2F0FEACBCE1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10F-4998-80EC-2F0FEACBCE1B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10F-4998-80EC-2F0FEACBCE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euil1!$A$2:$A$4</c:f>
              <c:strCache>
                <c:ptCount val="3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</c:strCache>
            </c:strRef>
          </c:cat>
          <c:val>
            <c:numRef>
              <c:f>Feuil1!$B$2:$B$4</c:f>
              <c:numCache>
                <c:formatCode>0%</c:formatCode>
                <c:ptCount val="3"/>
                <c:pt idx="0">
                  <c:v>0.5</c:v>
                </c:pt>
                <c:pt idx="1">
                  <c:v>0.38000000000000245</c:v>
                </c:pt>
                <c:pt idx="2">
                  <c:v>0.12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10F-4998-80EC-2F0FEACBCE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legend>
      <c:legendPos val="b"/>
      <c:layout>
        <c:manualLayout>
          <c:xMode val="edge"/>
          <c:yMode val="edge"/>
          <c:x val="7.1926881644017024E-3"/>
          <c:y val="0.92282597931178101"/>
          <c:w val="0.98317618966684861"/>
          <c:h val="7.7174020688222197E-2"/>
        </c:manualLayout>
      </c:layout>
      <c:overlay val="0"/>
      <c:txPr>
        <a:bodyPr/>
        <a:lstStyle/>
        <a:p>
          <a:pPr>
            <a:defRPr sz="1200">
              <a:solidFill>
                <a:schemeClr val="bg2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61362480935434E-2"/>
          <c:y val="8.4388533464566928E-2"/>
          <c:w val="0.9440772750381291"/>
          <c:h val="0.817303016667499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tCO2</c:v>
                </c:pt>
              </c:strCache>
            </c:strRef>
          </c:tx>
          <c:spPr>
            <a:noFill/>
            <a:ln>
              <a:solidFill>
                <a:schemeClr val="accent1"/>
              </a:solidFill>
              <a:prstDash val="dash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CCF-4F6D-BF56-FDB19E6B0258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2,50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CCF-4F6D-BF56-FDB19E6B02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CCF-4F6D-BF56-FDB19E6B0258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CCF-4F6D-BF56-FDB19E6B0258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CCF-4F6D-BF56-FDB19E6B0258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CCF-4F6D-BF56-FDB19E6B025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B$1:$F$1</c:f>
              <c:strCache>
                <c:ptCount val="5"/>
                <c:pt idx="0">
                  <c:v>2016</c:v>
                </c:pt>
                <c:pt idx="1">
                  <c:v>EE</c:v>
                </c:pt>
                <c:pt idx="2">
                  <c:v>PPA</c:v>
                </c:pt>
                <c:pt idx="3">
                  <c:v>GO Gaz</c:v>
                </c:pt>
                <c:pt idx="4">
                  <c:v>2030</c:v>
                </c:pt>
              </c:strCache>
            </c:strRef>
          </c:cat>
          <c:val>
            <c:numRef>
              <c:f>Feuil1!$B$2:$F$2</c:f>
              <c:numCache>
                <c:formatCode>0</c:formatCode>
                <c:ptCount val="5"/>
                <c:pt idx="0">
                  <c:v>2502.3000000000002</c:v>
                </c:pt>
                <c:pt idx="1">
                  <c:v>2291</c:v>
                </c:pt>
                <c:pt idx="2">
                  <c:v>1570.8</c:v>
                </c:pt>
                <c:pt idx="3">
                  <c:v>1087.47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CCF-4F6D-BF56-FDB19E6B0258}"/>
            </c:ext>
          </c:extLst>
        </c:ser>
        <c:ser>
          <c:idx val="1"/>
          <c:order val="1"/>
          <c:tx>
            <c:strRef>
              <c:f>Feuil1!$A$3</c:f>
              <c:strCache>
                <c:ptCount val="1"/>
                <c:pt idx="0">
                  <c:v>E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fr-FR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Feuil1!$B$1:$F$1</c:f>
              <c:strCache>
                <c:ptCount val="5"/>
                <c:pt idx="0">
                  <c:v>2016</c:v>
                </c:pt>
                <c:pt idx="1">
                  <c:v>EE</c:v>
                </c:pt>
                <c:pt idx="2">
                  <c:v>PPA</c:v>
                </c:pt>
                <c:pt idx="3">
                  <c:v>GO Gaz</c:v>
                </c:pt>
                <c:pt idx="4">
                  <c:v>2030</c:v>
                </c:pt>
              </c:strCache>
            </c:strRef>
          </c:cat>
          <c:val>
            <c:numRef>
              <c:f>Feuil1!$B$3:$F$3</c:f>
              <c:numCache>
                <c:formatCode>0</c:formatCode>
                <c:ptCount val="5"/>
                <c:pt idx="1">
                  <c:v>21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CCF-4F6D-BF56-FDB19E6B0258}"/>
            </c:ext>
          </c:extLst>
        </c:ser>
        <c:ser>
          <c:idx val="2"/>
          <c:order val="2"/>
          <c:tx>
            <c:strRef>
              <c:f>Feuil1!$A$4</c:f>
              <c:strCache>
                <c:ptCount val="1"/>
                <c:pt idx="0">
                  <c:v>PPA Eolien ou PV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CCF-4F6D-BF56-FDB19E6B025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fr-FR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Feuil1!$B$1:$F$1</c:f>
              <c:strCache>
                <c:ptCount val="5"/>
                <c:pt idx="0">
                  <c:v>2016</c:v>
                </c:pt>
                <c:pt idx="1">
                  <c:v>EE</c:v>
                </c:pt>
                <c:pt idx="2">
                  <c:v>PPA</c:v>
                </c:pt>
                <c:pt idx="3">
                  <c:v>GO Gaz</c:v>
                </c:pt>
                <c:pt idx="4">
                  <c:v>2030</c:v>
                </c:pt>
              </c:strCache>
            </c:strRef>
          </c:cat>
          <c:val>
            <c:numRef>
              <c:f>Feuil1!$B$4:$F$4</c:f>
              <c:numCache>
                <c:formatCode>General</c:formatCode>
                <c:ptCount val="5"/>
                <c:pt idx="2" formatCode="0">
                  <c:v>72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CCF-4F6D-BF56-FDB19E6B0258}"/>
            </c:ext>
          </c:extLst>
        </c:ser>
        <c:ser>
          <c:idx val="5"/>
          <c:order val="3"/>
          <c:tx>
            <c:strRef>
              <c:f>Feuil1!$A$5</c:f>
              <c:strCache>
                <c:ptCount val="1"/>
                <c:pt idx="0">
                  <c:v>GO Gaz ou Biogaz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fr-FR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Feuil1!$B$1:$F$1</c:f>
              <c:strCache>
                <c:ptCount val="5"/>
                <c:pt idx="0">
                  <c:v>2016</c:v>
                </c:pt>
                <c:pt idx="1">
                  <c:v>EE</c:v>
                </c:pt>
                <c:pt idx="2">
                  <c:v>PPA</c:v>
                </c:pt>
                <c:pt idx="3">
                  <c:v>GO Gaz</c:v>
                </c:pt>
                <c:pt idx="4">
                  <c:v>2030</c:v>
                </c:pt>
              </c:strCache>
            </c:strRef>
          </c:cat>
          <c:val>
            <c:numRef>
              <c:f>Feuil1!$B$5:$F$5</c:f>
              <c:numCache>
                <c:formatCode>General</c:formatCode>
                <c:ptCount val="5"/>
                <c:pt idx="3" formatCode="0">
                  <c:v>483.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0CCF-4F6D-BF56-FDB19E6B0258}"/>
            </c:ext>
          </c:extLst>
        </c:ser>
        <c:ser>
          <c:idx val="6"/>
          <c:order val="4"/>
          <c:tx>
            <c:strRef>
              <c:f>Feuil1!$A$6</c:f>
              <c:strCache>
                <c:ptCount val="1"/>
                <c:pt idx="0">
                  <c:v>Compensation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1,08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8A8-4AAA-9A71-DED1FA3ABDD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fr-FR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1!$B$1:$F$1</c:f>
              <c:strCache>
                <c:ptCount val="5"/>
                <c:pt idx="0">
                  <c:v>2016</c:v>
                </c:pt>
                <c:pt idx="1">
                  <c:v>EE</c:v>
                </c:pt>
                <c:pt idx="2">
                  <c:v>PPA</c:v>
                </c:pt>
                <c:pt idx="3">
                  <c:v>GO Gaz</c:v>
                </c:pt>
                <c:pt idx="4">
                  <c:v>2030</c:v>
                </c:pt>
              </c:strCache>
            </c:strRef>
          </c:cat>
          <c:val>
            <c:numRef>
              <c:f>Feuil1!$B$6:$F$6</c:f>
              <c:numCache>
                <c:formatCode>General</c:formatCode>
                <c:ptCount val="5"/>
                <c:pt idx="4" formatCode="0">
                  <c:v>1087.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0CCF-4F6D-BF56-FDB19E6B0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100"/>
        <c:axId val="416807592"/>
        <c:axId val="416807984"/>
      </c:barChart>
      <c:catAx>
        <c:axId val="416807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6807984"/>
        <c:crosses val="autoZero"/>
        <c:auto val="1"/>
        <c:lblAlgn val="ctr"/>
        <c:lblOffset val="100"/>
        <c:noMultiLvlLbl val="0"/>
      </c:catAx>
      <c:valAx>
        <c:axId val="416807984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416807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3865865662879787E-2"/>
          <c:w val="0.99938373174205242"/>
          <c:h val="0.818596543978661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Item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uil1!$B$1:$F$1</c:f>
              <c:strCache>
                <c:ptCount val="5"/>
                <c:pt idx="0">
                  <c:v>2012</c:v>
                </c:pt>
                <c:pt idx="1">
                  <c:v>2016</c:v>
                </c:pt>
                <c:pt idx="2">
                  <c:v>2017</c:v>
                </c:pt>
                <c:pt idx="3">
                  <c:v>2025</c:v>
                </c:pt>
                <c:pt idx="4">
                  <c:v>2030</c:v>
                </c:pt>
              </c:strCache>
            </c:strRef>
          </c:cat>
          <c:val>
            <c:numRef>
              <c:f>Feuil1!$B$2:$F$2</c:f>
              <c:numCache>
                <c:formatCode>0</c:formatCode>
                <c:ptCount val="5"/>
                <c:pt idx="0">
                  <c:v>2.8826843206758407E-2</c:v>
                </c:pt>
                <c:pt idx="1">
                  <c:v>3.6933902315190906E-2</c:v>
                </c:pt>
                <c:pt idx="2">
                  <c:v>3.6564563292038992E-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429-49FA-89A5-08C46E5DF70A}"/>
            </c:ext>
          </c:extLst>
        </c:ser>
        <c:ser>
          <c:idx val="1"/>
          <c:order val="1"/>
          <c:tx>
            <c:strRef>
              <c:f>Feuil1!$A$3</c:f>
              <c:strCache>
                <c:ptCount val="1"/>
                <c:pt idx="0">
                  <c:v>Item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uil1!$B$1:$F$1</c:f>
              <c:strCache>
                <c:ptCount val="5"/>
                <c:pt idx="0">
                  <c:v>2012</c:v>
                </c:pt>
                <c:pt idx="1">
                  <c:v>2016</c:v>
                </c:pt>
                <c:pt idx="2">
                  <c:v>2017</c:v>
                </c:pt>
                <c:pt idx="3">
                  <c:v>2025</c:v>
                </c:pt>
                <c:pt idx="4">
                  <c:v>2030</c:v>
                </c:pt>
              </c:strCache>
            </c:strRef>
          </c:cat>
          <c:val>
            <c:numRef>
              <c:f>Feuil1!$B$3:$F$3</c:f>
              <c:numCache>
                <c:formatCode>0</c:formatCode>
                <c:ptCount val="5"/>
                <c:pt idx="0">
                  <c:v>0.8673420061228706</c:v>
                </c:pt>
                <c:pt idx="1">
                  <c:v>2.6862388784524772E-2</c:v>
                </c:pt>
                <c:pt idx="2">
                  <c:v>2.6593764896679525E-2</c:v>
                </c:pt>
                <c:pt idx="3">
                  <c:v>2.4539255463274495E-2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429-49FA-89A5-08C46E5DF70A}"/>
            </c:ext>
          </c:extLst>
        </c:ser>
        <c:ser>
          <c:idx val="2"/>
          <c:order val="2"/>
          <c:tx>
            <c:strRef>
              <c:f>Feuil1!$A$4</c:f>
              <c:strCache>
                <c:ptCount val="1"/>
                <c:pt idx="0">
                  <c:v>Item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euil1!$B$1:$F$1</c:f>
              <c:strCache>
                <c:ptCount val="5"/>
                <c:pt idx="0">
                  <c:v>2012</c:v>
                </c:pt>
                <c:pt idx="1">
                  <c:v>2016</c:v>
                </c:pt>
                <c:pt idx="2">
                  <c:v>2017</c:v>
                </c:pt>
                <c:pt idx="3">
                  <c:v>2025</c:v>
                </c:pt>
                <c:pt idx="4">
                  <c:v>2030</c:v>
                </c:pt>
              </c:strCache>
            </c:strRef>
          </c:cat>
          <c:val>
            <c:numRef>
              <c:f>Feuil1!$B$4:$F$4</c:f>
              <c:numCache>
                <c:formatCode>0</c:formatCode>
                <c:ptCount val="5"/>
                <c:pt idx="0">
                  <c:v>0</c:v>
                </c:pt>
                <c:pt idx="1">
                  <c:v>6.1230950446791221E-2</c:v>
                </c:pt>
                <c:pt idx="2">
                  <c:v>6.0618640942323318E-2</c:v>
                </c:pt>
                <c:pt idx="3">
                  <c:v>5.593552931295992E-2</c:v>
                </c:pt>
                <c:pt idx="4">
                  <c:v>5.319413181251467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429-49FA-89A5-08C46E5DF70A}"/>
            </c:ext>
          </c:extLst>
        </c:ser>
        <c:ser>
          <c:idx val="3"/>
          <c:order val="3"/>
          <c:tx>
            <c:strRef>
              <c:f>Feuil1!$A$5</c:f>
              <c:strCache>
                <c:ptCount val="1"/>
                <c:pt idx="0">
                  <c:v>Item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euil1!$B$1:$F$1</c:f>
              <c:strCache>
                <c:ptCount val="5"/>
                <c:pt idx="0">
                  <c:v>2012</c:v>
                </c:pt>
                <c:pt idx="1">
                  <c:v>2016</c:v>
                </c:pt>
                <c:pt idx="2">
                  <c:v>2017</c:v>
                </c:pt>
                <c:pt idx="3">
                  <c:v>2025</c:v>
                </c:pt>
                <c:pt idx="4">
                  <c:v>2030</c:v>
                </c:pt>
              </c:strCache>
            </c:strRef>
          </c:cat>
          <c:val>
            <c:numRef>
              <c:f>Feuil1!$B$5:$F$5</c:f>
              <c:numCache>
                <c:formatCode>0</c:formatCode>
                <c:ptCount val="5"/>
                <c:pt idx="0">
                  <c:v>1.7303542065842186E-3</c:v>
                </c:pt>
                <c:pt idx="1">
                  <c:v>2.0174580625507716E-3</c:v>
                </c:pt>
                <c:pt idx="2">
                  <c:v>2.0174580625507716E-3</c:v>
                </c:pt>
                <c:pt idx="3">
                  <c:v>2.0174580625507716E-3</c:v>
                </c:pt>
                <c:pt idx="4">
                  <c:v>2.0174580625507716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429-49FA-89A5-08C46E5DF70A}"/>
            </c:ext>
          </c:extLst>
        </c:ser>
        <c:ser>
          <c:idx val="4"/>
          <c:order val="4"/>
          <c:tx>
            <c:strRef>
              <c:f>Feuil1!$A$6</c:f>
              <c:strCache>
                <c:ptCount val="1"/>
                <c:pt idx="0">
                  <c:v>Item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Feuil1!$B$1:$F$1</c:f>
              <c:strCache>
                <c:ptCount val="5"/>
                <c:pt idx="0">
                  <c:v>2012</c:v>
                </c:pt>
                <c:pt idx="1">
                  <c:v>2016</c:v>
                </c:pt>
                <c:pt idx="2">
                  <c:v>2017</c:v>
                </c:pt>
                <c:pt idx="3">
                  <c:v>2025</c:v>
                </c:pt>
                <c:pt idx="4">
                  <c:v>2030</c:v>
                </c:pt>
              </c:strCache>
            </c:strRef>
          </c:cat>
          <c:val>
            <c:numRef>
              <c:f>Feuil1!$B$6:$F$6</c:f>
              <c:numCache>
                <c:formatCode>General</c:formatCode>
                <c:ptCount val="5"/>
                <c:pt idx="4" formatCode="0">
                  <c:v>-5.521158987506544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429-49FA-89A5-08C46E5DF7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416808768"/>
        <c:axId val="416805632"/>
      </c:barChart>
      <c:catAx>
        <c:axId val="416808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6805632"/>
        <c:crosses val="autoZero"/>
        <c:auto val="1"/>
        <c:lblAlgn val="ctr"/>
        <c:lblOffset val="100"/>
        <c:noMultiLvlLbl val="0"/>
      </c:catAx>
      <c:valAx>
        <c:axId val="41680563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416808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701648622047226"/>
          <c:w val="1"/>
          <c:h val="9.29835137795275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prstDash val="solid"/>
      <a:round/>
    </a:ln>
    <a:effectLst/>
  </c:spPr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394-4D1D-9E6A-FDA15A198F0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394-4D1D-9E6A-FDA15A198F07}"/>
              </c:ext>
            </c:extLst>
          </c:dPt>
          <c:dPt>
            <c:idx val="2"/>
            <c:bubble3D val="0"/>
            <c:spPr>
              <a:solidFill>
                <a:srgbClr val="FFC300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394-4D1D-9E6A-FDA15A198F0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394-4D1D-9E6A-FDA15A198F07}"/>
              </c:ext>
            </c:extLst>
          </c:dPt>
          <c:dLbls>
            <c:delete val="1"/>
          </c:dLbls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7.7</c:v>
                </c:pt>
                <c:pt idx="1">
                  <c:v>6</c:v>
                </c:pt>
                <c:pt idx="2">
                  <c:v>0.4</c:v>
                </c:pt>
                <c:pt idx="3">
                  <c:v>1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394-4D1D-9E6A-FDA15A198F0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66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11433964133457748"/>
          <c:y val="0.92808819620297456"/>
          <c:w val="0.77132046459293524"/>
          <c:h val="6.83582131314968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GB" sz="1600" b="1" i="0" baseline="0" dirty="0">
                <a:solidFill>
                  <a:schemeClr val="bg2"/>
                </a:solidFill>
                <a:effectLst/>
              </a:rPr>
              <a:t>Staff allocation</a:t>
            </a:r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5745873674504532"/>
          <c:y val="0.17668595044458188"/>
          <c:w val="0.68508252650991197"/>
          <c:h val="0.7047847711201830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le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854-4A44-9B4E-4967F1B32A4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854-4A44-9B4E-4967F1B32A40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854-4A44-9B4E-4967F1B32A4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854-4A44-9B4E-4967F1B32A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58000000000000007</c:v>
                </c:pt>
                <c:pt idx="1">
                  <c:v>0.23</c:v>
                </c:pt>
                <c:pt idx="2">
                  <c:v>0.1</c:v>
                </c:pt>
                <c:pt idx="3">
                  <c:v>9.000000000000002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854-4A44-9B4E-4967F1B32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legend>
      <c:legendPos val="b"/>
      <c:layout>
        <c:manualLayout>
          <c:xMode val="edge"/>
          <c:yMode val="edge"/>
          <c:x val="1.0831747415722801E-2"/>
          <c:y val="0.90873383940779895"/>
          <c:w val="0.98317618966684861"/>
          <c:h val="9.1266160592201745E-2"/>
        </c:manualLayout>
      </c:layout>
      <c:overlay val="0"/>
      <c:txPr>
        <a:bodyPr/>
        <a:lstStyle/>
        <a:p>
          <a:pPr>
            <a:defRPr sz="1400">
              <a:solidFill>
                <a:schemeClr val="bg2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596</cdr:x>
      <cdr:y>0.57552</cdr:y>
    </cdr:from>
    <cdr:to>
      <cdr:x>0.90698</cdr:x>
      <cdr:y>0.57552</cdr:y>
    </cdr:to>
    <cdr:cxnSp macro="">
      <cdr:nvCxnSpPr>
        <cdr:cNvPr id="2" name="Connecteur droit avec flèche 1">
          <a:extLst xmlns:a="http://schemas.openxmlformats.org/drawingml/2006/main">
            <a:ext uri="{FF2B5EF4-FFF2-40B4-BE49-F238E27FC236}">
              <a16:creationId xmlns:a16="http://schemas.microsoft.com/office/drawing/2014/main" xmlns="" id="{216882DD-774C-453C-A856-3E2E6D789026}"/>
            </a:ext>
          </a:extLst>
        </cdr:cNvPr>
        <cdr:cNvCxnSpPr/>
      </cdr:nvCxnSpPr>
      <cdr:spPr bwMode="gray">
        <a:xfrm xmlns:a="http://schemas.openxmlformats.org/drawingml/2006/main">
          <a:off x="2383857" y="2026827"/>
          <a:ext cx="1244089" cy="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9050" cap="flat" cmpd="sng" algn="ctr">
          <a:solidFill>
            <a:schemeClr val="bg2"/>
          </a:solidFill>
          <a:prstDash val="solid"/>
          <a:headEnd type="triangle" w="lg" len="lg"/>
          <a:tailEnd type="triangle" w="lg" len="lg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6912</cdr:x>
      <cdr:y>0.50146</cdr:y>
    </cdr:from>
    <cdr:to>
      <cdr:x>0.83382</cdr:x>
      <cdr:y>0.56313</cdr:y>
    </cdr:to>
    <cdr:sp macro="" textlink="">
      <cdr:nvSpPr>
        <cdr:cNvPr id="3" name="ZoneTexte 18"/>
        <cdr:cNvSpPr txBox="1"/>
      </cdr:nvSpPr>
      <cdr:spPr bwMode="gray">
        <a:xfrm xmlns:a="http://schemas.openxmlformats.org/drawingml/2006/main">
          <a:off x="2676500" y="1766027"/>
          <a:ext cx="658803" cy="21719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62691" tIns="31346" rIns="62691" bIns="31346" rtlCol="0">
          <a:spAutoFit/>
        </a:bodyPr>
        <a:lstStyle xmlns:a="http://schemas.openxmlformats.org/drawingml/2006/main">
          <a:defPPr>
            <a:defRPr lang="fr-FR"/>
          </a:defPPr>
          <a:lvl1pPr marL="0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1pPr>
          <a:lvl2pPr marL="457096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2pPr>
          <a:lvl3pPr marL="914192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3pPr>
          <a:lvl4pPr marL="1371289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4pPr>
          <a:lvl5pPr marL="1828385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5pPr>
          <a:lvl6pPr marL="2285481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6pPr>
          <a:lvl7pPr marL="2742577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7pPr>
          <a:lvl8pPr marL="3199674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8pPr>
          <a:lvl9pPr marL="3656770" algn="l" defTabSz="914192" rtl="0" eaLnBrk="1" latinLnBrk="0" hangingPunct="1">
            <a:defRPr sz="1800" kern="1200">
              <a:solidFill>
                <a:sysClr val="windowText" lastClr="000000"/>
              </a:solidFill>
              <a:latin typeface="Arial"/>
            </a:defRPr>
          </a:lvl9pPr>
        </a:lstStyle>
        <a:p xmlns:a="http://schemas.openxmlformats.org/drawingml/2006/main">
          <a:r>
            <a:rPr lang="fr-FR" sz="1000" b="1" dirty="0" err="1">
              <a:solidFill>
                <a:schemeClr val="bg2"/>
              </a:solidFill>
            </a:rPr>
            <a:t>Forecast</a:t>
          </a:r>
          <a:endParaRPr lang="fr-FR" sz="1000" b="1" dirty="0">
            <a:solidFill>
              <a:schemeClr val="bg2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8FCF8-2782-4DA7-93DD-896C6B320D1D}" type="datetimeFigureOut">
              <a:rPr lang="en-US" smtClean="0"/>
              <a:pPr/>
              <a:t>5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63F129-8098-4119-9213-F4720F3A20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0878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1/05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A05D36-05C2-4D96-8F80-50BC490EBB68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4327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2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png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png"/><Relationship Id="rId4" Type="http://schemas.openxmlformats.org/officeDocument/2006/relationships/image" Target="../media/image2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png"/><Relationship Id="rId4" Type="http://schemas.openxmlformats.org/officeDocument/2006/relationships/image" Target="../media/image27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png"/><Relationship Id="rId4" Type="http://schemas.openxmlformats.org/officeDocument/2006/relationships/image" Target="../media/image3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png"/><Relationship Id="rId4" Type="http://schemas.openxmlformats.org/officeDocument/2006/relationships/image" Target="../media/image31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png"/><Relationship Id="rId4" Type="http://schemas.openxmlformats.org/officeDocument/2006/relationships/image" Target="../media/image32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8" y="900000"/>
            <a:ext cx="7820025" cy="2340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0000"/>
            <a:ext cx="9144000" cy="35966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00000"/>
            <a:ext cx="3240000" cy="129539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2000"/>
            <a:ext cx="1440000" cy="360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2000"/>
            <a:ext cx="144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313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29"/>
          </p:nvPr>
        </p:nvSpPr>
        <p:spPr>
          <a:xfrm>
            <a:off x="5224463" y="1844675"/>
            <a:ext cx="3592511" cy="4197350"/>
          </a:xfrm>
        </p:spPr>
        <p:txBody>
          <a:bodyPr tIns="720000"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45499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27025" y="1844674"/>
            <a:ext cx="8489951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32126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7834" y="5049838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 bwMode="gray">
          <a:xfrm>
            <a:off x="3276017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0000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17110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1093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13" name="Titr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668926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8466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79512" y="261626"/>
            <a:ext cx="540488" cy="1072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323850" y="6524626"/>
            <a:ext cx="1079798" cy="333376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 noProof="0"/>
              <a:t>FEBRUARY 2016 </a:t>
            </a:r>
            <a:endParaRPr lang="en-GB" noProof="0" dirty="0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1439652" y="6524626"/>
            <a:ext cx="6804236" cy="333376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noProof="0" dirty="0"/>
              <a:t>DEPARTMENT STRATEGIC &amp; SUPPLY #DS3 – WHO’S WHO – Internal use only</a:t>
            </a:r>
            <a:endParaRPr lang="en-GB" noProof="0" dirty="0"/>
          </a:p>
        </p:txBody>
      </p:sp>
      <p:sp>
        <p:nvSpPr>
          <p:cNvPr id="12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43891" y="6524624"/>
            <a:ext cx="576261" cy="333374"/>
          </a:xfrm>
        </p:spPr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25" name="Image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5" y="6222051"/>
            <a:ext cx="8994710" cy="38189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E00B66C1-62FE-48D8-9848-DA7F2F2DCD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20000" cy="469831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7333D377-467A-438E-994E-0DEA573D2D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64000"/>
            <a:ext cx="720000" cy="469831"/>
          </a:xfrm>
          <a:prstGeom prst="rect">
            <a:avLst/>
          </a:prstGeom>
        </p:spPr>
      </p:pic>
      <p:sp>
        <p:nvSpPr>
          <p:cNvPr id="16" name="Espace réservé du titre 1">
            <a:extLst>
              <a:ext uri="{FF2B5EF4-FFF2-40B4-BE49-F238E27FC236}">
                <a16:creationId xmlns:a16="http://schemas.microsoft.com/office/drawing/2014/main" xmlns="" id="{F5DFED59-4854-4915-8906-514CC04E595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2" y="333377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86099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indent="0">
              <a:buNone/>
              <a:defRPr sz="2000"/>
            </a:lvl1pPr>
            <a:lvl2pPr marL="216000" indent="-216000"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  <a:defRPr sz="1800"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04284"/>
            <a:ext cx="8642351" cy="912283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noProof="0"/>
              <a:t>02/02/2018</a:t>
            </a:r>
            <a:endParaRPr lang="en-US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 noProof="0"/>
              <a:t>GEM Week - How GEM drives energy transition for its clients?</a:t>
            </a:r>
            <a:endParaRPr lang="en-US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96990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80282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8" y="900000"/>
            <a:ext cx="7820025" cy="2340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0000"/>
            <a:ext cx="9144000" cy="35966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00000"/>
            <a:ext cx="3240000" cy="129539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2000"/>
            <a:ext cx="1440000" cy="360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2000"/>
            <a:ext cx="144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20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720000" tIns="1080000" r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7" y="900000"/>
            <a:ext cx="7820025" cy="234026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gdfg</a:t>
            </a:r>
            <a:endParaRPr lang="fr-FR" dirty="0"/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331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6" y="5940000"/>
            <a:ext cx="9143708" cy="360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52290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1790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720000" tIns="1080000" r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7" y="900000"/>
            <a:ext cx="7820025" cy="234026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gdfg</a:t>
            </a:r>
            <a:endParaRPr lang="fr-FR" dirty="0"/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331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6" y="5940000"/>
            <a:ext cx="9143708" cy="360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53096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6489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6489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83712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indent="0">
              <a:buFontTx/>
              <a:buNone/>
              <a:defRPr sz="2000"/>
            </a:lvl1pPr>
            <a:lvl2pPr marL="216000" indent="-216000">
              <a:buClrTx/>
              <a:buSzPct val="70000"/>
              <a:buFont typeface="Wingdings" panose="05000000000000000000" pitchFamily="2" charset="2"/>
              <a:buChar char=""/>
              <a:defRPr sz="1800"/>
            </a:lvl2pPr>
            <a:lvl3pPr>
              <a:defRPr sz="1600"/>
            </a:lvl3pPr>
            <a:lvl4pPr>
              <a:defRPr sz="1400" baseline="0"/>
            </a:lvl4pPr>
            <a:lvl5pPr>
              <a:defRPr sz="1200"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316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224464" y="1844674"/>
            <a:ext cx="3592512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407798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29"/>
          </p:nvPr>
        </p:nvSpPr>
        <p:spPr>
          <a:xfrm>
            <a:off x="5224463" y="1844675"/>
            <a:ext cx="3592511" cy="4197350"/>
          </a:xfrm>
        </p:spPr>
        <p:txBody>
          <a:bodyPr tIns="720000"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9851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27025" y="1844674"/>
            <a:ext cx="8489951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98018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7834" y="5049838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 bwMode="gray">
          <a:xfrm>
            <a:off x="3276017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0000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17110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1093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3213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8" y="900000"/>
            <a:ext cx="7820025" cy="2340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0000"/>
            <a:ext cx="9144000" cy="35966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00000"/>
            <a:ext cx="3240000" cy="129539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2000"/>
            <a:ext cx="1440000" cy="3600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2000"/>
            <a:ext cx="144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10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95622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720000" tIns="1080000" r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7" y="900000"/>
            <a:ext cx="7820025" cy="234026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gdfg</a:t>
            </a:r>
            <a:endParaRPr lang="fr-FR" dirty="0"/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331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6" y="5940000"/>
            <a:ext cx="9143708" cy="360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52290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97758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3746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67836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56054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indent="0">
              <a:buFontTx/>
              <a:buNone/>
              <a:defRPr sz="2000"/>
            </a:lvl1pPr>
            <a:lvl2pPr marL="216000" indent="-216000">
              <a:buClrTx/>
              <a:buSzPct val="70000"/>
              <a:buFont typeface="Wingdings" panose="05000000000000000000" pitchFamily="2" charset="2"/>
              <a:buChar char=""/>
              <a:defRPr sz="1800"/>
            </a:lvl2pPr>
            <a:lvl3pPr>
              <a:defRPr sz="1600"/>
            </a:lvl3pPr>
            <a:lvl4pPr>
              <a:defRPr sz="1400" baseline="0"/>
            </a:lvl4pPr>
            <a:lvl5pPr>
              <a:defRPr sz="1200"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43757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224464" y="1844674"/>
            <a:ext cx="3592512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73568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29"/>
          </p:nvPr>
        </p:nvSpPr>
        <p:spPr>
          <a:xfrm>
            <a:off x="5224463" y="1844675"/>
            <a:ext cx="3592511" cy="4197350"/>
          </a:xfrm>
        </p:spPr>
        <p:txBody>
          <a:bodyPr tIns="720000"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35190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27025" y="1844674"/>
            <a:ext cx="8489951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66526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7834" y="5049838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 bwMode="gray">
          <a:xfrm>
            <a:off x="3276017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0000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17110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1093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034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45917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8" y="900000"/>
            <a:ext cx="7820025" cy="2340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0000"/>
            <a:ext cx="9144000" cy="35966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00000"/>
            <a:ext cx="3240000" cy="129539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2000"/>
            <a:ext cx="1440000" cy="360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2000"/>
            <a:ext cx="144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8906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720000" tIns="1080000" r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61987" y="900000"/>
            <a:ext cx="7820025" cy="234026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Date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gdfg</a:t>
            </a:r>
            <a:endParaRPr lang="fr-FR" dirty="0"/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0" y="3312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6" y="5940000"/>
            <a:ext cx="9143708" cy="360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52290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78704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626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25491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69322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indent="0">
              <a:buFontTx/>
              <a:buNone/>
              <a:defRPr sz="2000"/>
            </a:lvl1pPr>
            <a:lvl2pPr marL="216000" indent="-216000">
              <a:buClrTx/>
              <a:buSzPct val="70000"/>
              <a:buFont typeface="Wingdings" panose="05000000000000000000" pitchFamily="2" charset="2"/>
              <a:buChar char=""/>
              <a:defRPr sz="1800"/>
            </a:lvl2pPr>
            <a:lvl3pPr>
              <a:defRPr sz="1600"/>
            </a:lvl3pPr>
            <a:lvl4pPr>
              <a:defRPr sz="1400" baseline="0"/>
            </a:lvl4pPr>
            <a:lvl5pPr>
              <a:defRPr sz="1200"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15779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224464" y="1844674"/>
            <a:ext cx="3592512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32399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29"/>
          </p:nvPr>
        </p:nvSpPr>
        <p:spPr>
          <a:xfrm>
            <a:off x="5224463" y="1844675"/>
            <a:ext cx="3592511" cy="4197350"/>
          </a:xfrm>
        </p:spPr>
        <p:txBody>
          <a:bodyPr tIns="720000"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21767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1988" y="2844000"/>
            <a:ext cx="5214287" cy="1188000"/>
          </a:xfr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878800" y="0"/>
            <a:ext cx="3265200" cy="6858000"/>
          </a:xfrm>
          <a:solidFill>
            <a:schemeClr val="bg2"/>
          </a:solidFill>
        </p:spPr>
        <p:txBody>
          <a:bodyPr lIns="36000" tIns="1620000" rIns="36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Sélectionner l’icône pour insérer une image, puis disposer l’image en arrière plan (Sélectionner l’image avec le bouton droit de la souris / Mettre à l’arrière plan)</a:t>
            </a:r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4500000"/>
            <a:ext cx="3240000" cy="129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0" y="828000"/>
            <a:ext cx="3600000" cy="19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0" y="3816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0" y="5940000"/>
            <a:ext cx="9143708" cy="36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57255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27025" y="1844674"/>
            <a:ext cx="8489951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92475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7834" y="5049838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 bwMode="gray">
          <a:xfrm>
            <a:off x="3276017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0000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17110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1093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13232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0000" cy="469831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8000"/>
            <a:ext cx="720000" cy="46983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333375"/>
            <a:ext cx="7632526" cy="647353"/>
          </a:xfrm>
        </p:spPr>
        <p:txBody>
          <a:bodyPr/>
          <a:lstStyle>
            <a:lvl1pPr marL="0" indent="0">
              <a:buSzPct val="25000"/>
              <a:buFontTx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587" y="1476000"/>
            <a:ext cx="2988000" cy="1080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hapitre 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72975" y="1444147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700" b="1">
                <a:solidFill>
                  <a:schemeClr val="bg2"/>
                </a:solidFill>
              </a:defRPr>
            </a:lvl1pPr>
            <a:lvl2pPr marL="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exte niveau 1</a:t>
            </a:r>
          </a:p>
          <a:p>
            <a:pPr lvl="1"/>
            <a:r>
              <a:rPr lang="fr-FR" dirty="0"/>
              <a:t>Texte niveau 2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2728800"/>
            <a:ext cx="2988000" cy="1080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hapitre 0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71388" y="2693492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700" b="1">
                <a:solidFill>
                  <a:schemeClr val="bg2"/>
                </a:solidFill>
              </a:defRPr>
            </a:lvl1pPr>
            <a:lvl2pPr marL="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exte niveau 1</a:t>
            </a:r>
          </a:p>
          <a:p>
            <a:pPr lvl="1"/>
            <a:r>
              <a:rPr lang="fr-FR" dirty="0"/>
              <a:t>Texte niveau 2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87" y="3978000"/>
            <a:ext cx="2988000" cy="1080000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hapitre 0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2975" y="3942837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700" b="1">
                <a:solidFill>
                  <a:schemeClr val="bg2"/>
                </a:solidFill>
              </a:defRPr>
            </a:lvl1pPr>
            <a:lvl2pPr marL="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exte niveau 1</a:t>
            </a:r>
          </a:p>
          <a:p>
            <a:pPr lvl="1"/>
            <a:r>
              <a:rPr lang="fr-FR" dirty="0"/>
              <a:t>Texte niveau 2</a:t>
            </a:r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0" y="5230800"/>
            <a:ext cx="2988000" cy="1080000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hapitre 0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3669" y="5192181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700" b="1">
                <a:solidFill>
                  <a:schemeClr val="bg2"/>
                </a:solidFill>
              </a:defRPr>
            </a:lvl1pPr>
            <a:lvl2pPr marL="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/>
              <a:t>Texte niveau 1</a:t>
            </a:r>
          </a:p>
          <a:p>
            <a:pPr lvl="1"/>
            <a:r>
              <a:rPr lang="fr-FR" dirty="0"/>
              <a:t>Texte niveau 2</a:t>
            </a:r>
          </a:p>
        </p:txBody>
      </p:sp>
      <p:sp>
        <p:nvSpPr>
          <p:cNvPr id="16" name="Titre 8"/>
          <p:cNvSpPr txBox="1">
            <a:spLocks/>
          </p:cNvSpPr>
          <p:nvPr userDrawn="1"/>
        </p:nvSpPr>
        <p:spPr bwMode="gray">
          <a:xfrm>
            <a:off x="7236618" y="497058"/>
            <a:ext cx="1580357" cy="3185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buSzPct val="25000"/>
              <a:defRPr/>
            </a:pPr>
            <a:r>
              <a:rPr lang="fr-FR" sz="2300" b="1" dirty="0">
                <a:solidFill>
                  <a:srgbClr val="00AAFF"/>
                </a:solidFill>
                <a:latin typeface="Arial"/>
              </a:rPr>
              <a:t>GEM</a:t>
            </a:r>
          </a:p>
        </p:txBody>
      </p:sp>
    </p:spTree>
    <p:extLst>
      <p:ext uri="{BB962C8B-B14F-4D97-AF65-F5344CB8AC3E}">
        <p14:creationId xmlns:p14="http://schemas.microsoft.com/office/powerpoint/2010/main" val="3972554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81772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indent="0">
              <a:buFontTx/>
              <a:buNone/>
              <a:defRPr sz="2000"/>
            </a:lvl1pPr>
            <a:lvl2pPr marL="216000" indent="-216000">
              <a:buClrTx/>
              <a:buSzPct val="70000"/>
              <a:buFont typeface="Wingdings" panose="05000000000000000000" pitchFamily="2" charset="2"/>
              <a:buChar char=""/>
              <a:defRPr sz="1800"/>
            </a:lvl2pPr>
            <a:lvl3pPr>
              <a:defRPr sz="1600"/>
            </a:lvl3pPr>
            <a:lvl4pPr>
              <a:defRPr sz="1400" baseline="0"/>
            </a:lvl4pPr>
            <a:lvl5pPr>
              <a:defRPr sz="1200"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54871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0" y="1808164"/>
            <a:ext cx="4248149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224464" y="1844674"/>
            <a:ext cx="3592512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fr-FR" noProof="0" dirty="0"/>
              <a:t>Sélectionner l’icône pour insérer une 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pPr algn="l"/>
            <a:r>
              <a:rPr lang="fr-FR" dirty="0">
                <a:solidFill>
                  <a:srgbClr val="B1B1B1"/>
                </a:solidFill>
                <a:latin typeface="Arial"/>
              </a:rPr>
              <a:t>00/00/2016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‹#›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02263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28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0000" cy="469831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4000"/>
            <a:ext cx="720000" cy="46983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28000"/>
            <a:ext cx="9144000" cy="4328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175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3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80000"/>
        <a:buFont typeface="Wingdings" panose="05000000000000000000" pitchFamily="2" charset="2"/>
        <a:buChar char="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—"/>
        <a:defRPr sz="1300" kern="1200">
          <a:solidFill>
            <a:schemeClr val="bg2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—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28000"/>
            <a:ext cx="9144000" cy="4328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0000" cy="46983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4000"/>
            <a:ext cx="720000" cy="46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81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902" r:id="rId2"/>
    <p:sldLayoutId id="2147483866" r:id="rId3"/>
    <p:sldLayoutId id="2147483876" r:id="rId4"/>
    <p:sldLayoutId id="2147483877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90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80000"/>
        <a:buFont typeface="Wingdings" panose="05000000000000000000" pitchFamily="2" charset="2"/>
        <a:buChar char="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—"/>
        <a:defRPr sz="1300" kern="1200">
          <a:solidFill>
            <a:schemeClr val="bg2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—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28000"/>
            <a:ext cx="9144000" cy="4328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20000" cy="469831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4000"/>
            <a:ext cx="720000" cy="46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732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912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91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80000"/>
        <a:buFont typeface="Wingdings" panose="05000000000000000000" pitchFamily="2" charset="2"/>
        <a:buChar char="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—"/>
        <a:defRPr sz="1300" kern="1200">
          <a:solidFill>
            <a:schemeClr val="bg2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—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28000"/>
            <a:ext cx="9144000" cy="4328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 dirty="0"/>
              <a:t>00/00/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0000" cy="469831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4000"/>
            <a:ext cx="720000" cy="46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1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9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34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80000"/>
        <a:buFont typeface="Wingdings" panose="05000000000000000000" pitchFamily="2" charset="2"/>
        <a:buChar char="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—"/>
        <a:defRPr sz="1300" kern="1200">
          <a:solidFill>
            <a:schemeClr val="bg2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—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Tx/>
        <a:buSzPct val="100000"/>
        <a:buFont typeface="Arial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8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3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0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4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4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4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9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84" Type="http://schemas.openxmlformats.org/officeDocument/2006/relationships/tags" Target="../tags/tag8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slideLayout" Target="../slideLayouts/slideLayout52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slideLayout" Target="../slideLayouts/slideLayout52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41" Type="http://schemas.openxmlformats.org/officeDocument/2006/relationships/tags" Target="../tags/tag125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tags" Target="../tags/tag169.xml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42" Type="http://schemas.openxmlformats.org/officeDocument/2006/relationships/tags" Target="../tags/tag172.xml"/><Relationship Id="rId47" Type="http://schemas.openxmlformats.org/officeDocument/2006/relationships/slideLayout" Target="../slideLayouts/slideLayout52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46" Type="http://schemas.openxmlformats.org/officeDocument/2006/relationships/tags" Target="../tags/tag176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41" Type="http://schemas.openxmlformats.org/officeDocument/2006/relationships/tags" Target="../tags/tag171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tags" Target="../tags/tag170.xml"/><Relationship Id="rId45" Type="http://schemas.openxmlformats.org/officeDocument/2006/relationships/tags" Target="../tags/tag175.xml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4" Type="http://schemas.openxmlformats.org/officeDocument/2006/relationships/tags" Target="../tags/tag174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43" Type="http://schemas.openxmlformats.org/officeDocument/2006/relationships/tags" Target="../tags/tag173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slideLayout" Target="../slideLayouts/slideLayout52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slideLayout" Target="../slideLayouts/slideLayout52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5" Type="http://schemas.openxmlformats.org/officeDocument/2006/relationships/tags" Target="../tags/tag201.xml"/><Relationship Id="rId10" Type="http://schemas.openxmlformats.org/officeDocument/2006/relationships/slideLayout" Target="../slideLayouts/slideLayout52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5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ce réservé pour une image  14" descr="4.jpg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/>
          <a:srcRect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"/>
          <a:stretch/>
        </p:blipFill>
        <p:spPr>
          <a:xfrm>
            <a:off x="146" y="0"/>
            <a:ext cx="914385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0C96CC-E5D6-48ED-A983-A4F7197C8834}"/>
              </a:ext>
            </a:extLst>
          </p:cNvPr>
          <p:cNvSpPr/>
          <p:nvPr/>
        </p:nvSpPr>
        <p:spPr>
          <a:xfrm>
            <a:off x="0" y="0"/>
            <a:ext cx="9143854" cy="6858000"/>
          </a:xfrm>
          <a:prstGeom prst="rect">
            <a:avLst/>
          </a:prstGeom>
          <a:solidFill>
            <a:srgbClr val="00AA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56">
            <a:extLst>
              <a:ext uri="{FF2B5EF4-FFF2-40B4-BE49-F238E27FC236}">
                <a16:creationId xmlns:a16="http://schemas.microsoft.com/office/drawing/2014/main" xmlns="" id="{6E70A1C5-2CCC-460E-8309-824BA240DAB2}"/>
              </a:ext>
            </a:extLst>
          </p:cNvPr>
          <p:cNvSpPr txBox="1">
            <a:spLocks/>
          </p:cNvSpPr>
          <p:nvPr/>
        </p:nvSpPr>
        <p:spPr bwMode="gray">
          <a:xfrm>
            <a:off x="146" y="5904000"/>
            <a:ext cx="9143708" cy="480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2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Espace réservé du texte 56">
            <a:extLst>
              <a:ext uri="{FF2B5EF4-FFF2-40B4-BE49-F238E27FC236}">
                <a16:creationId xmlns:a16="http://schemas.microsoft.com/office/drawing/2014/main" xmlns="" id="{2C72B0EE-C9C1-4E47-B40C-FAF1E2B6C6C8}"/>
              </a:ext>
            </a:extLst>
          </p:cNvPr>
          <p:cNvSpPr txBox="1">
            <a:spLocks/>
          </p:cNvSpPr>
          <p:nvPr/>
        </p:nvSpPr>
        <p:spPr bwMode="gray">
          <a:xfrm>
            <a:off x="3312000" y="4293096"/>
            <a:ext cx="2520000" cy="144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2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DA8D840-58DA-4371-8FC4-93A1F20D7901}"/>
              </a:ext>
            </a:extLst>
          </p:cNvPr>
          <p:cNvSpPr/>
          <p:nvPr/>
        </p:nvSpPr>
        <p:spPr>
          <a:xfrm>
            <a:off x="2402179" y="2700692"/>
            <a:ext cx="4339650" cy="120032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7200" b="1" dirty="0">
                <a:solidFill>
                  <a:schemeClr val="bg1"/>
                </a:solidFill>
              </a:rPr>
              <a:t>THANKS!</a:t>
            </a:r>
            <a:endParaRPr lang="en-US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742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ce réservé pour une image  14" descr="4.jpg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/>
          <a:srcRect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  <a:ln>
            <a:noFill/>
          </a:ln>
        </p:spPr>
        <p:txBody>
          <a:bodyPr/>
          <a:lstStyle/>
          <a:p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NTENTS</a:t>
            </a:r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Chapter 1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Consectetur adipiscing morbi sodales magna.</a:t>
            </a:r>
          </a:p>
          <a:p>
            <a:pPr lvl="1"/>
            <a:r>
              <a:rPr lang="fr-FR"/>
              <a:t>Ut tellus nunque varius, dapibus metus.</a:t>
            </a:r>
          </a:p>
          <a:p>
            <a:pPr lvl="1"/>
            <a:r>
              <a:rPr lang="fr-FR"/>
              <a:t>Eget ornare arcu lectus eras osae nunque.</a:t>
            </a:r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/>
              <a:t>Chapter 2</a:t>
            </a:r>
            <a:endParaRPr lang="fr-FR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Consectetur adipiscing morbi sodales magna.</a:t>
            </a:r>
          </a:p>
          <a:p>
            <a:pPr lvl="1"/>
            <a:r>
              <a:rPr lang="fr-FR"/>
              <a:t>Ut tellus nunque varius, dapibus metus.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/>
              <a:t>Chapter 3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Consectetur adipiscing morbi sodales magna.</a:t>
            </a:r>
          </a:p>
          <a:p>
            <a:pPr lvl="1"/>
            <a:r>
              <a:rPr lang="fr-FR"/>
              <a:t>Ut tellus nunque varius, dapibus metus.</a:t>
            </a:r>
          </a:p>
          <a:p>
            <a:pPr lvl="1"/>
            <a:r>
              <a:rPr lang="fr-FR"/>
              <a:t>Eget ornare arcu lectus eras osae nunque.</a:t>
            </a:r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/>
              <a:t>Chapter 4</a:t>
            </a:r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nsectetur adipiscing morbi sodales magna.</a:t>
            </a:r>
          </a:p>
          <a:p>
            <a:pPr lvl="1"/>
            <a:r>
              <a:rPr lang="fr-FR"/>
              <a:t>Eget ornare arcu lectus eras osae nunque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4410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space réservé pour une image  2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30"/>
          <a:stretch>
            <a:fillRect/>
          </a:stretch>
        </p:blipFill>
        <p:spPr/>
      </p:pic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7" name="Espace réservé du texte 26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3478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2" name="Espace réservé pour une image  21">
            <a:extLst>
              <a:ext uri="{FF2B5EF4-FFF2-40B4-BE49-F238E27FC236}">
                <a16:creationId xmlns:a16="http://schemas.microsoft.com/office/drawing/2014/main" xmlns="" id="{278B7E0C-C700-43AE-A392-90B6D39EA99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88" r="14288"/>
          <a:stretch>
            <a:fillRect/>
          </a:stretch>
        </p:blipFill>
        <p:spPr/>
      </p:pic>
      <p:sp>
        <p:nvSpPr>
          <p:cNvPr id="30" name="Espace réservé du texte 29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88890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Espace réservé pour une image  23" descr="3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t="63" b="63"/>
          <a:stretch>
            <a:fillRect/>
          </a:stretch>
        </p:blipFill>
        <p:spPr/>
      </p:pic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7" name="Espace réservé du texte 26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51622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1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> </a:t>
            </a:r>
            <a:r>
              <a:rPr lang="fr-FR" dirty="0" err="1"/>
              <a:t>tincidunt</a:t>
            </a:r>
            <a:r>
              <a:rPr lang="fr-FR" dirty="0"/>
              <a:t> ut </a:t>
            </a: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1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> </a:t>
            </a:r>
            <a:r>
              <a:rPr lang="fr-FR" dirty="0" err="1"/>
              <a:t>tincidunt</a:t>
            </a:r>
            <a:r>
              <a:rPr lang="fr-FR" dirty="0"/>
              <a:t> ut </a:t>
            </a: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1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> </a:t>
            </a:r>
            <a:r>
              <a:rPr lang="fr-FR" dirty="0" err="1"/>
              <a:t>tincidunt</a:t>
            </a:r>
            <a:r>
              <a:rPr lang="fr-FR" dirty="0"/>
              <a:t> ut </a:t>
            </a: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2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> </a:t>
            </a: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tincidunt</a:t>
            </a:r>
            <a:r>
              <a:rPr lang="fr-FR" dirty="0"/>
              <a:t> ut </a:t>
            </a: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2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> </a:t>
            </a: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tincidunt</a:t>
            </a:r>
            <a:r>
              <a:rPr lang="fr-FR" dirty="0"/>
              <a:t> ut </a:t>
            </a: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3,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> </a:t>
            </a: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> </a:t>
            </a:r>
            <a:r>
              <a:rPr lang="fr-FR" dirty="0" err="1"/>
              <a:t>tincidunt</a:t>
            </a:r>
            <a:r>
              <a:rPr lang="fr-FR" dirty="0"/>
              <a:t> ut</a:t>
            </a:r>
            <a:br>
              <a:rPr lang="fr-FR" dirty="0"/>
            </a:b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  <a:p>
            <a:pPr lvl="2"/>
            <a:r>
              <a:rPr lang="fr-FR" dirty="0" err="1"/>
              <a:t>Text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3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er</a:t>
            </a:r>
            <a:r>
              <a:rPr lang="fr-FR" dirty="0"/>
              <a:t>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, </a:t>
            </a:r>
            <a:r>
              <a:rPr lang="fr-FR" dirty="0" err="1"/>
              <a:t>sed</a:t>
            </a:r>
            <a:r>
              <a:rPr lang="fr-FR" dirty="0"/>
              <a:t> diam </a:t>
            </a:r>
            <a:r>
              <a:rPr lang="fr-FR" dirty="0" err="1"/>
              <a:t>nonummy</a:t>
            </a:r>
            <a:r>
              <a:rPr lang="fr-FR" dirty="0"/>
              <a:t> </a:t>
            </a:r>
            <a:r>
              <a:rPr lang="fr-FR" dirty="0" err="1"/>
              <a:t>nibh</a:t>
            </a:r>
            <a:r>
              <a:rPr lang="fr-FR" dirty="0"/>
              <a:t> </a:t>
            </a:r>
            <a:r>
              <a:rPr lang="fr-FR" dirty="0" err="1"/>
              <a:t>euismod</a:t>
            </a:r>
            <a:r>
              <a:rPr lang="fr-FR" dirty="0"/>
              <a:t> </a:t>
            </a:r>
            <a:r>
              <a:rPr lang="fr-FR" dirty="0" err="1"/>
              <a:t>tincidunt</a:t>
            </a:r>
            <a:r>
              <a:rPr lang="fr-FR" dirty="0"/>
              <a:t> ut</a:t>
            </a:r>
            <a:br>
              <a:rPr lang="fr-FR" dirty="0"/>
            </a:br>
            <a:r>
              <a:rPr lang="fr-FR" dirty="0" err="1"/>
              <a:t>laoreet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magna </a:t>
            </a:r>
            <a:r>
              <a:rPr lang="fr-FR" dirty="0" err="1"/>
              <a:t>aliquam</a:t>
            </a:r>
            <a:r>
              <a:rPr lang="fr-FR" dirty="0"/>
              <a:t> erat </a:t>
            </a:r>
            <a:r>
              <a:rPr lang="fr-FR" dirty="0" err="1"/>
              <a:t>volutpat</a:t>
            </a:r>
            <a:r>
              <a:rPr lang="fr-FR" dirty="0"/>
              <a:t>.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15" name="Titr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 </a:t>
            </a:r>
            <a:br>
              <a:rPr lang="en-US"/>
            </a:br>
            <a:r>
              <a:rPr lang="en-US" sz="2000" b="0"/>
              <a:t>Sub-title</a:t>
            </a:r>
            <a:endParaRPr lang="fr-FR" sz="2000" b="0" dirty="0"/>
          </a:p>
        </p:txBody>
      </p:sp>
    </p:spTree>
    <p:extLst>
      <p:ext uri="{BB962C8B-B14F-4D97-AF65-F5344CB8AC3E}">
        <p14:creationId xmlns:p14="http://schemas.microsoft.com/office/powerpoint/2010/main" val="61990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/>
              <a:t>Text level 1, lorem ipsum dolor sit amet, consectetuer adipiscing elit, sed diam nonummy nibh euismod tincidunt ut laoreet dolore magna aliquam erat volutpat.</a:t>
            </a:r>
          </a:p>
          <a:p>
            <a:r>
              <a:rPr lang="fr-FR"/>
              <a:t>Text level 1, lorem ipsum dolor sit amet, consectetuer adipiscing elit, sed diam nonummy nibh euismod tincidunt ut laoreet dolore magna aliquam erat volutpat.</a:t>
            </a:r>
          </a:p>
          <a:p>
            <a:pPr lvl="1"/>
            <a:r>
              <a:rPr lang="fr-FR"/>
              <a:t>Text level 2, lorem ipsum dolor sit amet, consectetuer adipiscing elit, sed diam nonummy nibh euismod tincidunt ut laoreet dolore magna aliquam erat volutpat.</a:t>
            </a:r>
          </a:p>
          <a:p>
            <a:pPr lvl="1"/>
            <a:endParaRPr lang="fr-FR" dirty="0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</a:t>
            </a:r>
            <a:br>
              <a:rPr lang="en-US"/>
            </a:br>
            <a:r>
              <a:rPr lang="en-US" sz="2000" b="0"/>
              <a:t>Sub-title </a:t>
            </a:r>
            <a:endParaRPr lang="fr-FR" sz="2000" b="0" dirty="0"/>
          </a:p>
        </p:txBody>
      </p:sp>
    </p:spTree>
    <p:extLst>
      <p:ext uri="{BB962C8B-B14F-4D97-AF65-F5344CB8AC3E}">
        <p14:creationId xmlns:p14="http://schemas.microsoft.com/office/powerpoint/2010/main" val="3756088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ext level 1, lorem ipsum dolor</a:t>
            </a:r>
            <a:br>
              <a:rPr lang="en-US"/>
            </a:br>
            <a:r>
              <a:rPr lang="en-US"/>
              <a:t>sit amet, consectetuer adipiscing elit.</a:t>
            </a:r>
          </a:p>
          <a:p>
            <a:r>
              <a:rPr lang="en-US"/>
              <a:t>Text level 1, lorem ipsum dolor</a:t>
            </a:r>
            <a:br>
              <a:rPr lang="en-US"/>
            </a:br>
            <a:r>
              <a:rPr lang="en-US"/>
              <a:t>sit amet, consectetuer adipiscing elit.</a:t>
            </a:r>
          </a:p>
          <a:p>
            <a:r>
              <a:rPr lang="en-US"/>
              <a:t>Text level 1, lorem ipsum dolor</a:t>
            </a:r>
            <a:br>
              <a:rPr lang="en-US"/>
            </a:br>
            <a:r>
              <a:rPr lang="en-US"/>
              <a:t>sit amet, consectetuer adipiscing elit.</a:t>
            </a:r>
          </a:p>
          <a:p>
            <a:pPr lvl="1"/>
            <a:r>
              <a:rPr lang="en-US"/>
              <a:t>Text level 2, lorem ipsum dolor sit</a:t>
            </a:r>
            <a:br>
              <a:rPr lang="en-US"/>
            </a:br>
            <a:r>
              <a:rPr lang="en-US"/>
              <a:t>amet, consectetuer adipiscing elit, sed</a:t>
            </a:r>
            <a:br>
              <a:rPr lang="en-US"/>
            </a:br>
            <a:r>
              <a:rPr lang="en-US"/>
              <a:t>diam nonummy nibh euismod tincidunt ut</a:t>
            </a:r>
            <a:br>
              <a:rPr lang="en-US"/>
            </a:br>
            <a:r>
              <a:rPr lang="en-US"/>
              <a:t>laoreet dolore magna aliquam erat volut-pat.</a:t>
            </a:r>
          </a:p>
          <a:p>
            <a:pPr lvl="2"/>
            <a:r>
              <a:rPr lang="en-US"/>
              <a:t>Text level 3, lorem ipsum dolor sit amet,</a:t>
            </a:r>
            <a:br>
              <a:rPr lang="en-US"/>
            </a:br>
            <a:r>
              <a:rPr lang="en-US"/>
              <a:t>consectetuer adipiscing elit, sed diam nonum-my nibh euismod tincidunt ut laoreet dolore</a:t>
            </a:r>
            <a:br>
              <a:rPr lang="en-US"/>
            </a:br>
            <a:r>
              <a:rPr lang="en-US"/>
              <a:t>magna aliquam erat volutpat.</a:t>
            </a:r>
            <a:endParaRPr lang="en-US" dirty="0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29" name="Titr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</a:t>
            </a:r>
            <a:br>
              <a:rPr lang="en-US"/>
            </a:br>
            <a:r>
              <a:rPr lang="en-US" sz="2000" b="0"/>
              <a:t>Sub-title</a:t>
            </a:r>
            <a:endParaRPr lang="fr-FR" sz="2000" b="0" dirty="0"/>
          </a:p>
        </p:txBody>
      </p:sp>
      <p:graphicFrame>
        <p:nvGraphicFramePr>
          <p:cNvPr id="11" name="Espace réservé du 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6966326"/>
              </p:ext>
            </p:extLst>
          </p:nvPr>
        </p:nvGraphicFramePr>
        <p:xfrm>
          <a:off x="4550711" y="1179747"/>
          <a:ext cx="4266264" cy="2461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Espace réservé du 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7008621"/>
              </p:ext>
            </p:extLst>
          </p:nvPr>
        </p:nvGraphicFramePr>
        <p:xfrm>
          <a:off x="4572000" y="3881672"/>
          <a:ext cx="2018934" cy="2107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Espace réservé du 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404392"/>
              </p:ext>
            </p:extLst>
          </p:nvPr>
        </p:nvGraphicFramePr>
        <p:xfrm>
          <a:off x="6799263" y="3881672"/>
          <a:ext cx="2017712" cy="2107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912807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RAPH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9</a:t>
            </a:fld>
            <a:endParaRPr lang="fr-FR" dirty="0"/>
          </a:p>
        </p:txBody>
      </p:sp>
      <p:graphicFrame>
        <p:nvGraphicFramePr>
          <p:cNvPr id="18" name="Espace réservé du 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4327444"/>
              </p:ext>
            </p:extLst>
          </p:nvPr>
        </p:nvGraphicFramePr>
        <p:xfrm>
          <a:off x="327025" y="1587085"/>
          <a:ext cx="4417253" cy="3599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Espace réservé du 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1453116"/>
              </p:ext>
            </p:extLst>
          </p:nvPr>
        </p:nvGraphicFramePr>
        <p:xfrm>
          <a:off x="5224463" y="1587085"/>
          <a:ext cx="3489794" cy="3604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91280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Espace réservé pour une image  16" descr="3.jpg"/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2" cstate="screen"/>
          <a:srcRect/>
          <a:stretch/>
        </p:blipFill>
        <p:spPr>
          <a:xfrm>
            <a:off x="0" y="0"/>
            <a:ext cx="9144000" cy="6858000"/>
          </a:xfrm>
        </p:spPr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re 48">
            <a:extLst>
              <a:ext uri="{FF2B5EF4-FFF2-40B4-BE49-F238E27FC236}">
                <a16:creationId xmlns:a16="http://schemas.microsoft.com/office/drawing/2014/main" xmlns="" id="{B0869EC0-2474-4A17-B542-7B1524030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RAPH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A01D540B-05C9-4B2A-BC33-56441C4A37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0</a:t>
            </a:fld>
            <a:endParaRPr lang="en-GB" noProof="0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xmlns="" id="{39D0C6E1-C88E-4D99-B2FB-C3244FDE60BF}"/>
              </a:ext>
            </a:extLst>
          </p:cNvPr>
          <p:cNvGraphicFramePr/>
          <p:nvPr>
            <p:extLst/>
          </p:nvPr>
        </p:nvGraphicFramePr>
        <p:xfrm>
          <a:off x="35498" y="2553494"/>
          <a:ext cx="7272807" cy="2700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xmlns="" id="{C29F2955-0363-4185-9E4E-D41CD8A9B468}"/>
              </a:ext>
            </a:extLst>
          </p:cNvPr>
          <p:cNvCxnSpPr>
            <a:cxnSpLocks/>
          </p:cNvCxnSpPr>
          <p:nvPr/>
        </p:nvCxnSpPr>
        <p:spPr>
          <a:xfrm>
            <a:off x="467544" y="4989927"/>
            <a:ext cx="6984776" cy="0"/>
          </a:xfrm>
          <a:prstGeom prst="line">
            <a:avLst/>
          </a:prstGeom>
          <a:ln w="3175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CAC2DC8-1441-4102-9F27-540621066EE9}"/>
              </a:ext>
            </a:extLst>
          </p:cNvPr>
          <p:cNvSpPr/>
          <p:nvPr/>
        </p:nvSpPr>
        <p:spPr>
          <a:xfrm>
            <a:off x="7452320" y="4856217"/>
            <a:ext cx="17099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b="1" dirty="0" err="1"/>
              <a:t>Title</a:t>
            </a:r>
            <a:r>
              <a:rPr lang="fr-FR" sz="1100" b="1" dirty="0"/>
              <a:t> timeline</a:t>
            </a:r>
            <a:br>
              <a:rPr lang="fr-FR" sz="1100" b="1" dirty="0"/>
            </a:br>
            <a:r>
              <a:rPr lang="fr-FR" sz="1100" dirty="0"/>
              <a:t>203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64C856A-B891-4B7A-812A-5DEB3746DF5B}"/>
              </a:ext>
            </a:extLst>
          </p:cNvPr>
          <p:cNvSpPr/>
          <p:nvPr/>
        </p:nvSpPr>
        <p:spPr>
          <a:xfrm>
            <a:off x="467544" y="5032129"/>
            <a:ext cx="8640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00" dirty="0"/>
              <a:t>2016</a:t>
            </a:r>
          </a:p>
        </p:txBody>
      </p:sp>
      <p:sp>
        <p:nvSpPr>
          <p:cNvPr id="22" name="Ellipse 179">
            <a:extLst>
              <a:ext uri="{FF2B5EF4-FFF2-40B4-BE49-F238E27FC236}">
                <a16:creationId xmlns:a16="http://schemas.microsoft.com/office/drawing/2014/main" xmlns="" id="{CEDC43FE-7360-4F42-A5CF-BE82DBAB4AC7}"/>
              </a:ext>
            </a:extLst>
          </p:cNvPr>
          <p:cNvSpPr/>
          <p:nvPr/>
        </p:nvSpPr>
        <p:spPr bwMode="gray">
          <a:xfrm>
            <a:off x="3342786" y="2191806"/>
            <a:ext cx="648000" cy="64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endParaRPr lang="en-US" dirty="0"/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xmlns="" id="{455C8CE7-39A1-4800-A5A3-88B6B139D1AC}"/>
              </a:ext>
            </a:extLst>
          </p:cNvPr>
          <p:cNvGrpSpPr/>
          <p:nvPr/>
        </p:nvGrpSpPr>
        <p:grpSpPr>
          <a:xfrm>
            <a:off x="4718236" y="2776129"/>
            <a:ext cx="649435" cy="649435"/>
            <a:chOff x="7519972" y="387550"/>
            <a:chExt cx="648000" cy="648000"/>
          </a:xfrm>
        </p:grpSpPr>
        <p:sp>
          <p:nvSpPr>
            <p:cNvPr id="25" name="Ellipse 179">
              <a:extLst>
                <a:ext uri="{FF2B5EF4-FFF2-40B4-BE49-F238E27FC236}">
                  <a16:creationId xmlns:a16="http://schemas.microsoft.com/office/drawing/2014/main" xmlns="" id="{71B93DAF-7DAB-460F-BBEB-6457E87483D1}"/>
                </a:ext>
              </a:extLst>
            </p:cNvPr>
            <p:cNvSpPr/>
            <p:nvPr/>
          </p:nvSpPr>
          <p:spPr bwMode="gray">
            <a:xfrm>
              <a:off x="7519972" y="387550"/>
              <a:ext cx="648000" cy="64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xmlns="" id="{C9A87E8A-56B6-40C5-A2A4-A70C85D50A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6454" b="84026" l="28435" r="75240"/>
                      </a14:imgEffect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87" t="15472" r="23902" b="14895"/>
            <a:stretch/>
          </p:blipFill>
          <p:spPr>
            <a:xfrm>
              <a:off x="7674072" y="486682"/>
              <a:ext cx="339800" cy="4497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xmlns="" id="{98E9A621-53F0-4D43-B19D-1CA1D01442C2}"/>
              </a:ext>
            </a:extLst>
          </p:cNvPr>
          <p:cNvGrpSpPr/>
          <p:nvPr/>
        </p:nvGrpSpPr>
        <p:grpSpPr>
          <a:xfrm>
            <a:off x="6084169" y="3106957"/>
            <a:ext cx="651677" cy="651677"/>
            <a:chOff x="3607849" y="3937745"/>
            <a:chExt cx="648000" cy="648000"/>
          </a:xfrm>
        </p:grpSpPr>
        <p:sp>
          <p:nvSpPr>
            <p:cNvPr id="28" name="Ellipse 179">
              <a:extLst>
                <a:ext uri="{FF2B5EF4-FFF2-40B4-BE49-F238E27FC236}">
                  <a16:creationId xmlns:a16="http://schemas.microsoft.com/office/drawing/2014/main" xmlns="" id="{18C819CB-62C9-4254-837F-9F294E95799D}"/>
                </a:ext>
              </a:extLst>
            </p:cNvPr>
            <p:cNvSpPr/>
            <p:nvPr/>
          </p:nvSpPr>
          <p:spPr bwMode="gray">
            <a:xfrm>
              <a:off x="3607849" y="3937745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xmlns="" id="{45639641-69F9-4044-8A79-D2E04E36C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7904" y="4096396"/>
              <a:ext cx="437122" cy="292269"/>
            </a:xfrm>
            <a:custGeom>
              <a:avLst/>
              <a:gdLst>
                <a:gd name="T0" fmla="*/ 330 w 774"/>
                <a:gd name="T1" fmla="*/ 520 h 520"/>
                <a:gd name="T2" fmla="*/ 638 w 774"/>
                <a:gd name="T3" fmla="*/ 257 h 520"/>
                <a:gd name="T4" fmla="*/ 629 w 774"/>
                <a:gd name="T5" fmla="*/ 245 h 520"/>
                <a:gd name="T6" fmla="*/ 618 w 774"/>
                <a:gd name="T7" fmla="*/ 233 h 520"/>
                <a:gd name="T8" fmla="*/ 588 w 774"/>
                <a:gd name="T9" fmla="*/ 520 h 520"/>
                <a:gd name="T10" fmla="*/ 771 w 774"/>
                <a:gd name="T11" fmla="*/ 379 h 520"/>
                <a:gd name="T12" fmla="*/ 765 w 774"/>
                <a:gd name="T13" fmla="*/ 364 h 520"/>
                <a:gd name="T14" fmla="*/ 757 w 774"/>
                <a:gd name="T15" fmla="*/ 351 h 520"/>
                <a:gd name="T16" fmla="*/ 653 w 774"/>
                <a:gd name="T17" fmla="*/ 302 h 520"/>
                <a:gd name="T18" fmla="*/ 650 w 774"/>
                <a:gd name="T19" fmla="*/ 286 h 520"/>
                <a:gd name="T20" fmla="*/ 459 w 774"/>
                <a:gd name="T21" fmla="*/ 520 h 520"/>
                <a:gd name="T22" fmla="*/ 677 w 774"/>
                <a:gd name="T23" fmla="*/ 302 h 520"/>
                <a:gd name="T24" fmla="*/ 666 w 774"/>
                <a:gd name="T25" fmla="*/ 302 h 520"/>
                <a:gd name="T26" fmla="*/ 674 w 774"/>
                <a:gd name="T27" fmla="*/ 520 h 520"/>
                <a:gd name="T28" fmla="*/ 694 w 774"/>
                <a:gd name="T29" fmla="*/ 515 h 520"/>
                <a:gd name="T30" fmla="*/ 729 w 774"/>
                <a:gd name="T31" fmla="*/ 500 h 520"/>
                <a:gd name="T32" fmla="*/ 756 w 774"/>
                <a:gd name="T33" fmla="*/ 473 h 520"/>
                <a:gd name="T34" fmla="*/ 771 w 774"/>
                <a:gd name="T35" fmla="*/ 438 h 520"/>
                <a:gd name="T36" fmla="*/ 774 w 774"/>
                <a:gd name="T37" fmla="*/ 419 h 520"/>
                <a:gd name="T38" fmla="*/ 710 w 774"/>
                <a:gd name="T39" fmla="*/ 311 h 520"/>
                <a:gd name="T40" fmla="*/ 545 w 774"/>
                <a:gd name="T41" fmla="*/ 520 h 520"/>
                <a:gd name="T42" fmla="*/ 736 w 774"/>
                <a:gd name="T43" fmla="*/ 328 h 520"/>
                <a:gd name="T44" fmla="*/ 710 w 774"/>
                <a:gd name="T45" fmla="*/ 311 h 520"/>
                <a:gd name="T46" fmla="*/ 556 w 774"/>
                <a:gd name="T47" fmla="*/ 206 h 520"/>
                <a:gd name="T48" fmla="*/ 554 w 774"/>
                <a:gd name="T49" fmla="*/ 184 h 520"/>
                <a:gd name="T50" fmla="*/ 544 w 774"/>
                <a:gd name="T51" fmla="*/ 144 h 520"/>
                <a:gd name="T52" fmla="*/ 527 w 774"/>
                <a:gd name="T53" fmla="*/ 107 h 520"/>
                <a:gd name="T54" fmla="*/ 503 w 774"/>
                <a:gd name="T55" fmla="*/ 74 h 520"/>
                <a:gd name="T56" fmla="*/ 474 w 774"/>
                <a:gd name="T57" fmla="*/ 47 h 520"/>
                <a:gd name="T58" fmla="*/ 439 w 774"/>
                <a:gd name="T59" fmla="*/ 24 h 520"/>
                <a:gd name="T60" fmla="*/ 401 w 774"/>
                <a:gd name="T61" fmla="*/ 9 h 520"/>
                <a:gd name="T62" fmla="*/ 360 w 774"/>
                <a:gd name="T63" fmla="*/ 2 h 520"/>
                <a:gd name="T64" fmla="*/ 339 w 774"/>
                <a:gd name="T65" fmla="*/ 0 h 520"/>
                <a:gd name="T66" fmla="*/ 297 w 774"/>
                <a:gd name="T67" fmla="*/ 3 h 520"/>
                <a:gd name="T68" fmla="*/ 257 w 774"/>
                <a:gd name="T69" fmla="*/ 15 h 520"/>
                <a:gd name="T70" fmla="*/ 223 w 774"/>
                <a:gd name="T71" fmla="*/ 33 h 520"/>
                <a:gd name="T72" fmla="*/ 191 w 774"/>
                <a:gd name="T73" fmla="*/ 57 h 520"/>
                <a:gd name="T74" fmla="*/ 165 w 774"/>
                <a:gd name="T75" fmla="*/ 86 h 520"/>
                <a:gd name="T76" fmla="*/ 144 w 774"/>
                <a:gd name="T77" fmla="*/ 121 h 520"/>
                <a:gd name="T78" fmla="*/ 129 w 774"/>
                <a:gd name="T79" fmla="*/ 159 h 520"/>
                <a:gd name="T80" fmla="*/ 121 w 774"/>
                <a:gd name="T81" fmla="*/ 198 h 520"/>
                <a:gd name="T82" fmla="*/ 109 w 774"/>
                <a:gd name="T83" fmla="*/ 203 h 520"/>
                <a:gd name="T84" fmla="*/ 85 w 774"/>
                <a:gd name="T85" fmla="*/ 213 h 520"/>
                <a:gd name="T86" fmla="*/ 62 w 774"/>
                <a:gd name="T87" fmla="*/ 228 h 520"/>
                <a:gd name="T88" fmla="*/ 42 w 774"/>
                <a:gd name="T89" fmla="*/ 246 h 520"/>
                <a:gd name="T90" fmla="*/ 27 w 774"/>
                <a:gd name="T91" fmla="*/ 268 h 520"/>
                <a:gd name="T92" fmla="*/ 14 w 774"/>
                <a:gd name="T93" fmla="*/ 290 h 520"/>
                <a:gd name="T94" fmla="*/ 5 w 774"/>
                <a:gd name="T95" fmla="*/ 316 h 520"/>
                <a:gd name="T96" fmla="*/ 0 w 774"/>
                <a:gd name="T97" fmla="*/ 343 h 520"/>
                <a:gd name="T98" fmla="*/ 0 w 774"/>
                <a:gd name="T99" fmla="*/ 357 h 520"/>
                <a:gd name="T100" fmla="*/ 3 w 774"/>
                <a:gd name="T101" fmla="*/ 388 h 520"/>
                <a:gd name="T102" fmla="*/ 12 w 774"/>
                <a:gd name="T103" fmla="*/ 419 h 520"/>
                <a:gd name="T104" fmla="*/ 26 w 774"/>
                <a:gd name="T105" fmla="*/ 446 h 520"/>
                <a:gd name="T106" fmla="*/ 45 w 774"/>
                <a:gd name="T107" fmla="*/ 470 h 520"/>
                <a:gd name="T108" fmla="*/ 70 w 774"/>
                <a:gd name="T109" fmla="*/ 490 h 520"/>
                <a:gd name="T110" fmla="*/ 95 w 774"/>
                <a:gd name="T111" fmla="*/ 505 h 520"/>
                <a:gd name="T112" fmla="*/ 126 w 774"/>
                <a:gd name="T113" fmla="*/ 515 h 520"/>
                <a:gd name="T114" fmla="*/ 158 w 774"/>
                <a:gd name="T115" fmla="*/ 520 h 520"/>
                <a:gd name="T116" fmla="*/ 592 w 774"/>
                <a:gd name="T117" fmla="*/ 216 h 520"/>
                <a:gd name="T118" fmla="*/ 576 w 774"/>
                <a:gd name="T119" fmla="*/ 210 h 520"/>
                <a:gd name="T120" fmla="*/ 556 w 774"/>
                <a:gd name="T121" fmla="*/ 20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4" h="520">
                  <a:moveTo>
                    <a:pt x="618" y="233"/>
                  </a:moveTo>
                  <a:lnTo>
                    <a:pt x="330" y="520"/>
                  </a:lnTo>
                  <a:lnTo>
                    <a:pt x="374" y="520"/>
                  </a:lnTo>
                  <a:lnTo>
                    <a:pt x="638" y="257"/>
                  </a:lnTo>
                  <a:lnTo>
                    <a:pt x="638" y="257"/>
                  </a:lnTo>
                  <a:lnTo>
                    <a:pt x="629" y="245"/>
                  </a:lnTo>
                  <a:lnTo>
                    <a:pt x="618" y="233"/>
                  </a:lnTo>
                  <a:lnTo>
                    <a:pt x="618" y="233"/>
                  </a:lnTo>
                  <a:close/>
                  <a:moveTo>
                    <a:pt x="757" y="351"/>
                  </a:moveTo>
                  <a:lnTo>
                    <a:pt x="588" y="520"/>
                  </a:lnTo>
                  <a:lnTo>
                    <a:pt x="630" y="520"/>
                  </a:lnTo>
                  <a:lnTo>
                    <a:pt x="771" y="379"/>
                  </a:lnTo>
                  <a:lnTo>
                    <a:pt x="771" y="379"/>
                  </a:lnTo>
                  <a:lnTo>
                    <a:pt x="765" y="364"/>
                  </a:lnTo>
                  <a:lnTo>
                    <a:pt x="757" y="351"/>
                  </a:lnTo>
                  <a:lnTo>
                    <a:pt x="757" y="351"/>
                  </a:lnTo>
                  <a:close/>
                  <a:moveTo>
                    <a:pt x="666" y="302"/>
                  </a:moveTo>
                  <a:lnTo>
                    <a:pt x="653" y="302"/>
                  </a:lnTo>
                  <a:lnTo>
                    <a:pt x="653" y="302"/>
                  </a:lnTo>
                  <a:lnTo>
                    <a:pt x="650" y="286"/>
                  </a:lnTo>
                  <a:lnTo>
                    <a:pt x="417" y="520"/>
                  </a:lnTo>
                  <a:lnTo>
                    <a:pt x="459" y="520"/>
                  </a:lnTo>
                  <a:lnTo>
                    <a:pt x="677" y="302"/>
                  </a:lnTo>
                  <a:lnTo>
                    <a:pt x="677" y="302"/>
                  </a:lnTo>
                  <a:lnTo>
                    <a:pt x="666" y="302"/>
                  </a:lnTo>
                  <a:lnTo>
                    <a:pt x="666" y="302"/>
                  </a:lnTo>
                  <a:close/>
                  <a:moveTo>
                    <a:pt x="674" y="520"/>
                  </a:moveTo>
                  <a:lnTo>
                    <a:pt x="674" y="520"/>
                  </a:lnTo>
                  <a:lnTo>
                    <a:pt x="683" y="518"/>
                  </a:lnTo>
                  <a:lnTo>
                    <a:pt x="694" y="515"/>
                  </a:lnTo>
                  <a:lnTo>
                    <a:pt x="712" y="509"/>
                  </a:lnTo>
                  <a:lnTo>
                    <a:pt x="729" y="500"/>
                  </a:lnTo>
                  <a:lnTo>
                    <a:pt x="744" y="488"/>
                  </a:lnTo>
                  <a:lnTo>
                    <a:pt x="756" y="473"/>
                  </a:lnTo>
                  <a:lnTo>
                    <a:pt x="765" y="457"/>
                  </a:lnTo>
                  <a:lnTo>
                    <a:pt x="771" y="438"/>
                  </a:lnTo>
                  <a:lnTo>
                    <a:pt x="774" y="429"/>
                  </a:lnTo>
                  <a:lnTo>
                    <a:pt x="774" y="419"/>
                  </a:lnTo>
                  <a:lnTo>
                    <a:pt x="674" y="520"/>
                  </a:lnTo>
                  <a:close/>
                  <a:moveTo>
                    <a:pt x="710" y="311"/>
                  </a:moveTo>
                  <a:lnTo>
                    <a:pt x="501" y="520"/>
                  </a:lnTo>
                  <a:lnTo>
                    <a:pt x="545" y="520"/>
                  </a:lnTo>
                  <a:lnTo>
                    <a:pt x="736" y="328"/>
                  </a:lnTo>
                  <a:lnTo>
                    <a:pt x="736" y="328"/>
                  </a:lnTo>
                  <a:lnTo>
                    <a:pt x="724" y="319"/>
                  </a:lnTo>
                  <a:lnTo>
                    <a:pt x="710" y="311"/>
                  </a:lnTo>
                  <a:lnTo>
                    <a:pt x="710" y="311"/>
                  </a:lnTo>
                  <a:close/>
                  <a:moveTo>
                    <a:pt x="556" y="206"/>
                  </a:moveTo>
                  <a:lnTo>
                    <a:pt x="556" y="206"/>
                  </a:lnTo>
                  <a:lnTo>
                    <a:pt x="554" y="184"/>
                  </a:lnTo>
                  <a:lnTo>
                    <a:pt x="550" y="165"/>
                  </a:lnTo>
                  <a:lnTo>
                    <a:pt x="544" y="144"/>
                  </a:lnTo>
                  <a:lnTo>
                    <a:pt x="536" y="125"/>
                  </a:lnTo>
                  <a:lnTo>
                    <a:pt x="527" y="107"/>
                  </a:lnTo>
                  <a:lnTo>
                    <a:pt x="517" y="91"/>
                  </a:lnTo>
                  <a:lnTo>
                    <a:pt x="503" y="74"/>
                  </a:lnTo>
                  <a:lnTo>
                    <a:pt x="489" y="60"/>
                  </a:lnTo>
                  <a:lnTo>
                    <a:pt x="474" y="47"/>
                  </a:lnTo>
                  <a:lnTo>
                    <a:pt x="457" y="35"/>
                  </a:lnTo>
                  <a:lnTo>
                    <a:pt x="439" y="24"/>
                  </a:lnTo>
                  <a:lnTo>
                    <a:pt x="421" y="15"/>
                  </a:lnTo>
                  <a:lnTo>
                    <a:pt x="401" y="9"/>
                  </a:lnTo>
                  <a:lnTo>
                    <a:pt x="382" y="5"/>
                  </a:lnTo>
                  <a:lnTo>
                    <a:pt x="360" y="2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18" y="2"/>
                  </a:lnTo>
                  <a:lnTo>
                    <a:pt x="297" y="3"/>
                  </a:lnTo>
                  <a:lnTo>
                    <a:pt x="277" y="9"/>
                  </a:lnTo>
                  <a:lnTo>
                    <a:pt x="257" y="15"/>
                  </a:lnTo>
                  <a:lnTo>
                    <a:pt x="239" y="24"/>
                  </a:lnTo>
                  <a:lnTo>
                    <a:pt x="223" y="33"/>
                  </a:lnTo>
                  <a:lnTo>
                    <a:pt x="206" y="45"/>
                  </a:lnTo>
                  <a:lnTo>
                    <a:pt x="191" y="57"/>
                  </a:lnTo>
                  <a:lnTo>
                    <a:pt x="177" y="71"/>
                  </a:lnTo>
                  <a:lnTo>
                    <a:pt x="165" y="86"/>
                  </a:lnTo>
                  <a:lnTo>
                    <a:pt x="153" y="103"/>
                  </a:lnTo>
                  <a:lnTo>
                    <a:pt x="144" y="121"/>
                  </a:lnTo>
                  <a:lnTo>
                    <a:pt x="135" y="139"/>
                  </a:lnTo>
                  <a:lnTo>
                    <a:pt x="129" y="159"/>
                  </a:lnTo>
                  <a:lnTo>
                    <a:pt x="124" y="17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09" y="203"/>
                  </a:lnTo>
                  <a:lnTo>
                    <a:pt x="95" y="207"/>
                  </a:lnTo>
                  <a:lnTo>
                    <a:pt x="85" y="213"/>
                  </a:lnTo>
                  <a:lnTo>
                    <a:pt x="73" y="221"/>
                  </a:lnTo>
                  <a:lnTo>
                    <a:pt x="62" y="228"/>
                  </a:lnTo>
                  <a:lnTo>
                    <a:pt x="51" y="237"/>
                  </a:lnTo>
                  <a:lnTo>
                    <a:pt x="42" y="246"/>
                  </a:lnTo>
                  <a:lnTo>
                    <a:pt x="35" y="255"/>
                  </a:lnTo>
                  <a:lnTo>
                    <a:pt x="27" y="268"/>
                  </a:lnTo>
                  <a:lnTo>
                    <a:pt x="20" y="278"/>
                  </a:lnTo>
                  <a:lnTo>
                    <a:pt x="14" y="290"/>
                  </a:lnTo>
                  <a:lnTo>
                    <a:pt x="9" y="302"/>
                  </a:lnTo>
                  <a:lnTo>
                    <a:pt x="5" y="316"/>
                  </a:lnTo>
                  <a:lnTo>
                    <a:pt x="2" y="330"/>
                  </a:lnTo>
                  <a:lnTo>
                    <a:pt x="0" y="343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73"/>
                  </a:lnTo>
                  <a:lnTo>
                    <a:pt x="3" y="388"/>
                  </a:lnTo>
                  <a:lnTo>
                    <a:pt x="6" y="404"/>
                  </a:lnTo>
                  <a:lnTo>
                    <a:pt x="12" y="419"/>
                  </a:lnTo>
                  <a:lnTo>
                    <a:pt x="18" y="432"/>
                  </a:lnTo>
                  <a:lnTo>
                    <a:pt x="26" y="446"/>
                  </a:lnTo>
                  <a:lnTo>
                    <a:pt x="35" y="458"/>
                  </a:lnTo>
                  <a:lnTo>
                    <a:pt x="45" y="470"/>
                  </a:lnTo>
                  <a:lnTo>
                    <a:pt x="58" y="481"/>
                  </a:lnTo>
                  <a:lnTo>
                    <a:pt x="70" y="490"/>
                  </a:lnTo>
                  <a:lnTo>
                    <a:pt x="82" y="499"/>
                  </a:lnTo>
                  <a:lnTo>
                    <a:pt x="95" y="505"/>
                  </a:lnTo>
                  <a:lnTo>
                    <a:pt x="111" y="511"/>
                  </a:lnTo>
                  <a:lnTo>
                    <a:pt x="126" y="515"/>
                  </a:lnTo>
                  <a:lnTo>
                    <a:pt x="141" y="518"/>
                  </a:lnTo>
                  <a:lnTo>
                    <a:pt x="158" y="520"/>
                  </a:lnTo>
                  <a:lnTo>
                    <a:pt x="288" y="520"/>
                  </a:lnTo>
                  <a:lnTo>
                    <a:pt x="592" y="216"/>
                  </a:lnTo>
                  <a:lnTo>
                    <a:pt x="592" y="216"/>
                  </a:lnTo>
                  <a:lnTo>
                    <a:pt x="576" y="210"/>
                  </a:lnTo>
                  <a:lnTo>
                    <a:pt x="556" y="206"/>
                  </a:lnTo>
                  <a:lnTo>
                    <a:pt x="556" y="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0" name="Group 91">
            <a:extLst>
              <a:ext uri="{FF2B5EF4-FFF2-40B4-BE49-F238E27FC236}">
                <a16:creationId xmlns:a16="http://schemas.microsoft.com/office/drawing/2014/main" xmlns="" id="{26BD0EF3-992B-43D6-82E1-A3F5817117A9}"/>
              </a:ext>
            </a:extLst>
          </p:cNvPr>
          <p:cNvGrpSpPr>
            <a:grpSpLocks/>
          </p:cNvGrpSpPr>
          <p:nvPr/>
        </p:nvGrpSpPr>
        <p:grpSpPr>
          <a:xfrm>
            <a:off x="1939123" y="2035047"/>
            <a:ext cx="649436" cy="649436"/>
            <a:chOff x="472150" y="4139849"/>
            <a:chExt cx="698878" cy="698962"/>
          </a:xfrm>
        </p:grpSpPr>
        <p:sp>
          <p:nvSpPr>
            <p:cNvPr id="31" name="Ellipse 179">
              <a:extLst>
                <a:ext uri="{FF2B5EF4-FFF2-40B4-BE49-F238E27FC236}">
                  <a16:creationId xmlns:a16="http://schemas.microsoft.com/office/drawing/2014/main" xmlns="" id="{74FC1EAC-59FD-44D1-A06C-6EDD8E414479}"/>
                </a:ext>
              </a:extLst>
            </p:cNvPr>
            <p:cNvSpPr/>
            <p:nvPr/>
          </p:nvSpPr>
          <p:spPr bwMode="gray">
            <a:xfrm>
              <a:off x="472150" y="4139849"/>
              <a:ext cx="698878" cy="6989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grpSp>
          <p:nvGrpSpPr>
            <p:cNvPr id="32" name="Group 280">
              <a:extLst>
                <a:ext uri="{FF2B5EF4-FFF2-40B4-BE49-F238E27FC236}">
                  <a16:creationId xmlns:a16="http://schemas.microsoft.com/office/drawing/2014/main" xmlns="" id="{75757E14-76F4-44FA-9FC1-B603983079A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6221" y="4283042"/>
              <a:ext cx="530736" cy="412576"/>
              <a:chOff x="3190" y="2048"/>
              <a:chExt cx="478" cy="369"/>
            </a:xfrm>
          </p:grpSpPr>
          <p:sp>
            <p:nvSpPr>
              <p:cNvPr id="33" name="Freeform 281">
                <a:extLst>
                  <a:ext uri="{FF2B5EF4-FFF2-40B4-BE49-F238E27FC236}">
                    <a16:creationId xmlns:a16="http://schemas.microsoft.com/office/drawing/2014/main" xmlns="" id="{4822A3A9-DD8A-421F-B2A3-3DA6BEF7B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4" y="2123"/>
                <a:ext cx="294" cy="294"/>
              </a:xfrm>
              <a:custGeom>
                <a:avLst/>
                <a:gdLst/>
                <a:ahLst/>
                <a:cxnLst>
                  <a:cxn ang="0">
                    <a:pos x="373" y="49"/>
                  </a:cxn>
                  <a:cxn ang="0">
                    <a:pos x="439" y="32"/>
                  </a:cxn>
                  <a:cxn ang="0">
                    <a:pos x="434" y="70"/>
                  </a:cxn>
                  <a:cxn ang="0">
                    <a:pos x="474" y="82"/>
                  </a:cxn>
                  <a:cxn ang="0">
                    <a:pos x="506" y="82"/>
                  </a:cxn>
                  <a:cxn ang="0">
                    <a:pos x="508" y="115"/>
                  </a:cxn>
                  <a:cxn ang="0">
                    <a:pos x="512" y="151"/>
                  </a:cxn>
                  <a:cxn ang="0">
                    <a:pos x="551" y="182"/>
                  </a:cxn>
                  <a:cxn ang="0">
                    <a:pos x="586" y="257"/>
                  </a:cxn>
                  <a:cxn ang="0">
                    <a:pos x="552" y="269"/>
                  </a:cxn>
                  <a:cxn ang="0">
                    <a:pos x="557" y="303"/>
                  </a:cxn>
                  <a:cxn ang="0">
                    <a:pos x="587" y="310"/>
                  </a:cxn>
                  <a:cxn ang="0">
                    <a:pos x="575" y="349"/>
                  </a:cxn>
                  <a:cxn ang="0">
                    <a:pos x="548" y="353"/>
                  </a:cxn>
                  <a:cxn ang="0">
                    <a:pos x="539" y="381"/>
                  </a:cxn>
                  <a:cxn ang="0">
                    <a:pos x="555" y="433"/>
                  </a:cxn>
                  <a:cxn ang="0">
                    <a:pos x="520" y="424"/>
                  </a:cxn>
                  <a:cxn ang="0">
                    <a:pos x="516" y="491"/>
                  </a:cxn>
                  <a:cxn ang="0">
                    <a:pos x="467" y="490"/>
                  </a:cxn>
                  <a:cxn ang="0">
                    <a:pos x="447" y="535"/>
                  </a:cxn>
                  <a:cxn ang="0">
                    <a:pos x="416" y="560"/>
                  </a:cxn>
                  <a:cxn ang="0">
                    <a:pos x="370" y="542"/>
                  </a:cxn>
                  <a:cxn ang="0">
                    <a:pos x="362" y="571"/>
                  </a:cxn>
                  <a:cxn ang="0">
                    <a:pos x="355" y="583"/>
                  </a:cxn>
                  <a:cxn ang="0">
                    <a:pos x="324" y="578"/>
                  </a:cxn>
                  <a:cxn ang="0">
                    <a:pos x="315" y="552"/>
                  </a:cxn>
                  <a:cxn ang="0">
                    <a:pos x="252" y="586"/>
                  </a:cxn>
                  <a:cxn ang="0">
                    <a:pos x="217" y="542"/>
                  </a:cxn>
                  <a:cxn ang="0">
                    <a:pos x="179" y="568"/>
                  </a:cxn>
                  <a:cxn ang="0">
                    <a:pos x="148" y="542"/>
                  </a:cxn>
                  <a:cxn ang="0">
                    <a:pos x="142" y="503"/>
                  </a:cxn>
                  <a:cxn ang="0">
                    <a:pos x="122" y="505"/>
                  </a:cxn>
                  <a:cxn ang="0">
                    <a:pos x="101" y="519"/>
                  </a:cxn>
                  <a:cxn ang="0">
                    <a:pos x="98" y="462"/>
                  </a:cxn>
                  <a:cxn ang="0">
                    <a:pos x="82" y="437"/>
                  </a:cxn>
                  <a:cxn ang="0">
                    <a:pos x="73" y="436"/>
                  </a:cxn>
                  <a:cxn ang="0">
                    <a:pos x="26" y="416"/>
                  </a:cxn>
                  <a:cxn ang="0">
                    <a:pos x="58" y="393"/>
                  </a:cxn>
                  <a:cxn ang="0">
                    <a:pos x="27" y="364"/>
                  </a:cxn>
                  <a:cxn ang="0">
                    <a:pos x="20" y="323"/>
                  </a:cxn>
                  <a:cxn ang="0">
                    <a:pos x="21" y="278"/>
                  </a:cxn>
                  <a:cxn ang="0">
                    <a:pos x="6" y="245"/>
                  </a:cxn>
                  <a:cxn ang="0">
                    <a:pos x="46" y="237"/>
                  </a:cxn>
                  <a:cxn ang="0">
                    <a:pos x="58" y="206"/>
                  </a:cxn>
                  <a:cxn ang="0">
                    <a:pos x="26" y="179"/>
                  </a:cxn>
                  <a:cxn ang="0">
                    <a:pos x="38" y="151"/>
                  </a:cxn>
                  <a:cxn ang="0">
                    <a:pos x="49" y="150"/>
                  </a:cxn>
                  <a:cxn ang="0">
                    <a:pos x="72" y="101"/>
                  </a:cxn>
                  <a:cxn ang="0">
                    <a:pos x="154" y="79"/>
                  </a:cxn>
                  <a:cxn ang="0">
                    <a:pos x="168" y="29"/>
                  </a:cxn>
                  <a:cxn ang="0">
                    <a:pos x="228" y="47"/>
                  </a:cxn>
                  <a:cxn ang="0">
                    <a:pos x="226" y="9"/>
                  </a:cxn>
                  <a:cxn ang="0">
                    <a:pos x="274" y="38"/>
                  </a:cxn>
                  <a:cxn ang="0">
                    <a:pos x="336" y="1"/>
                  </a:cxn>
                </a:cxnLst>
                <a:rect l="0" t="0" r="r" b="b"/>
                <a:pathLst>
                  <a:path w="587" h="587">
                    <a:moveTo>
                      <a:pt x="355" y="6"/>
                    </a:moveTo>
                    <a:lnTo>
                      <a:pt x="356" y="24"/>
                    </a:lnTo>
                    <a:lnTo>
                      <a:pt x="355" y="43"/>
                    </a:lnTo>
                    <a:lnTo>
                      <a:pt x="373" y="49"/>
                    </a:lnTo>
                    <a:lnTo>
                      <a:pt x="392" y="55"/>
                    </a:lnTo>
                    <a:lnTo>
                      <a:pt x="415" y="20"/>
                    </a:lnTo>
                    <a:lnTo>
                      <a:pt x="431" y="27"/>
                    </a:lnTo>
                    <a:lnTo>
                      <a:pt x="439" y="32"/>
                    </a:lnTo>
                    <a:lnTo>
                      <a:pt x="447" y="36"/>
                    </a:lnTo>
                    <a:lnTo>
                      <a:pt x="441" y="56"/>
                    </a:lnTo>
                    <a:lnTo>
                      <a:pt x="437" y="66"/>
                    </a:lnTo>
                    <a:lnTo>
                      <a:pt x="434" y="70"/>
                    </a:lnTo>
                    <a:lnTo>
                      <a:pt x="433" y="75"/>
                    </a:lnTo>
                    <a:lnTo>
                      <a:pt x="459" y="95"/>
                    </a:lnTo>
                    <a:lnTo>
                      <a:pt x="467" y="89"/>
                    </a:lnTo>
                    <a:lnTo>
                      <a:pt x="474" y="82"/>
                    </a:lnTo>
                    <a:lnTo>
                      <a:pt x="483" y="76"/>
                    </a:lnTo>
                    <a:lnTo>
                      <a:pt x="493" y="72"/>
                    </a:lnTo>
                    <a:lnTo>
                      <a:pt x="500" y="76"/>
                    </a:lnTo>
                    <a:lnTo>
                      <a:pt x="506" y="82"/>
                    </a:lnTo>
                    <a:lnTo>
                      <a:pt x="512" y="90"/>
                    </a:lnTo>
                    <a:lnTo>
                      <a:pt x="519" y="98"/>
                    </a:lnTo>
                    <a:lnTo>
                      <a:pt x="514" y="107"/>
                    </a:lnTo>
                    <a:lnTo>
                      <a:pt x="508" y="115"/>
                    </a:lnTo>
                    <a:lnTo>
                      <a:pt x="496" y="130"/>
                    </a:lnTo>
                    <a:lnTo>
                      <a:pt x="503" y="141"/>
                    </a:lnTo>
                    <a:lnTo>
                      <a:pt x="508" y="147"/>
                    </a:lnTo>
                    <a:lnTo>
                      <a:pt x="512" y="151"/>
                    </a:lnTo>
                    <a:lnTo>
                      <a:pt x="549" y="136"/>
                    </a:lnTo>
                    <a:lnTo>
                      <a:pt x="566" y="170"/>
                    </a:lnTo>
                    <a:lnTo>
                      <a:pt x="560" y="176"/>
                    </a:lnTo>
                    <a:lnTo>
                      <a:pt x="551" y="182"/>
                    </a:lnTo>
                    <a:lnTo>
                      <a:pt x="534" y="194"/>
                    </a:lnTo>
                    <a:lnTo>
                      <a:pt x="543" y="219"/>
                    </a:lnTo>
                    <a:lnTo>
                      <a:pt x="580" y="219"/>
                    </a:lnTo>
                    <a:lnTo>
                      <a:pt x="586" y="257"/>
                    </a:lnTo>
                    <a:lnTo>
                      <a:pt x="577" y="260"/>
                    </a:lnTo>
                    <a:lnTo>
                      <a:pt x="569" y="261"/>
                    </a:lnTo>
                    <a:lnTo>
                      <a:pt x="560" y="265"/>
                    </a:lnTo>
                    <a:lnTo>
                      <a:pt x="552" y="269"/>
                    </a:lnTo>
                    <a:lnTo>
                      <a:pt x="554" y="277"/>
                    </a:lnTo>
                    <a:lnTo>
                      <a:pt x="554" y="284"/>
                    </a:lnTo>
                    <a:lnTo>
                      <a:pt x="554" y="301"/>
                    </a:lnTo>
                    <a:lnTo>
                      <a:pt x="557" y="303"/>
                    </a:lnTo>
                    <a:lnTo>
                      <a:pt x="561" y="303"/>
                    </a:lnTo>
                    <a:lnTo>
                      <a:pt x="565" y="303"/>
                    </a:lnTo>
                    <a:lnTo>
                      <a:pt x="569" y="304"/>
                    </a:lnTo>
                    <a:lnTo>
                      <a:pt x="587" y="310"/>
                    </a:lnTo>
                    <a:lnTo>
                      <a:pt x="586" y="329"/>
                    </a:lnTo>
                    <a:lnTo>
                      <a:pt x="586" y="338"/>
                    </a:lnTo>
                    <a:lnTo>
                      <a:pt x="583" y="347"/>
                    </a:lnTo>
                    <a:lnTo>
                      <a:pt x="575" y="349"/>
                    </a:lnTo>
                    <a:lnTo>
                      <a:pt x="568" y="349"/>
                    </a:lnTo>
                    <a:lnTo>
                      <a:pt x="558" y="349"/>
                    </a:lnTo>
                    <a:lnTo>
                      <a:pt x="549" y="347"/>
                    </a:lnTo>
                    <a:lnTo>
                      <a:pt x="548" y="353"/>
                    </a:lnTo>
                    <a:lnTo>
                      <a:pt x="545" y="359"/>
                    </a:lnTo>
                    <a:lnTo>
                      <a:pt x="545" y="366"/>
                    </a:lnTo>
                    <a:lnTo>
                      <a:pt x="542" y="372"/>
                    </a:lnTo>
                    <a:lnTo>
                      <a:pt x="539" y="381"/>
                    </a:lnTo>
                    <a:lnTo>
                      <a:pt x="569" y="402"/>
                    </a:lnTo>
                    <a:lnTo>
                      <a:pt x="566" y="410"/>
                    </a:lnTo>
                    <a:lnTo>
                      <a:pt x="563" y="418"/>
                    </a:lnTo>
                    <a:lnTo>
                      <a:pt x="555" y="433"/>
                    </a:lnTo>
                    <a:lnTo>
                      <a:pt x="546" y="433"/>
                    </a:lnTo>
                    <a:lnTo>
                      <a:pt x="537" y="430"/>
                    </a:lnTo>
                    <a:lnTo>
                      <a:pt x="529" y="427"/>
                    </a:lnTo>
                    <a:lnTo>
                      <a:pt x="520" y="424"/>
                    </a:lnTo>
                    <a:lnTo>
                      <a:pt x="499" y="454"/>
                    </a:lnTo>
                    <a:lnTo>
                      <a:pt x="520" y="482"/>
                    </a:lnTo>
                    <a:lnTo>
                      <a:pt x="519" y="486"/>
                    </a:lnTo>
                    <a:lnTo>
                      <a:pt x="516" y="491"/>
                    </a:lnTo>
                    <a:lnTo>
                      <a:pt x="512" y="494"/>
                    </a:lnTo>
                    <a:lnTo>
                      <a:pt x="508" y="497"/>
                    </a:lnTo>
                    <a:lnTo>
                      <a:pt x="494" y="509"/>
                    </a:lnTo>
                    <a:lnTo>
                      <a:pt x="467" y="490"/>
                    </a:lnTo>
                    <a:lnTo>
                      <a:pt x="437" y="509"/>
                    </a:lnTo>
                    <a:lnTo>
                      <a:pt x="439" y="519"/>
                    </a:lnTo>
                    <a:lnTo>
                      <a:pt x="444" y="526"/>
                    </a:lnTo>
                    <a:lnTo>
                      <a:pt x="447" y="535"/>
                    </a:lnTo>
                    <a:lnTo>
                      <a:pt x="448" y="545"/>
                    </a:lnTo>
                    <a:lnTo>
                      <a:pt x="434" y="554"/>
                    </a:lnTo>
                    <a:lnTo>
                      <a:pt x="419" y="561"/>
                    </a:lnTo>
                    <a:lnTo>
                      <a:pt x="416" y="560"/>
                    </a:lnTo>
                    <a:lnTo>
                      <a:pt x="396" y="532"/>
                    </a:lnTo>
                    <a:lnTo>
                      <a:pt x="389" y="535"/>
                    </a:lnTo>
                    <a:lnTo>
                      <a:pt x="379" y="539"/>
                    </a:lnTo>
                    <a:lnTo>
                      <a:pt x="370" y="542"/>
                    </a:lnTo>
                    <a:lnTo>
                      <a:pt x="362" y="546"/>
                    </a:lnTo>
                    <a:lnTo>
                      <a:pt x="362" y="557"/>
                    </a:lnTo>
                    <a:lnTo>
                      <a:pt x="362" y="565"/>
                    </a:lnTo>
                    <a:lnTo>
                      <a:pt x="362" y="571"/>
                    </a:lnTo>
                    <a:lnTo>
                      <a:pt x="362" y="577"/>
                    </a:lnTo>
                    <a:lnTo>
                      <a:pt x="361" y="578"/>
                    </a:lnTo>
                    <a:lnTo>
                      <a:pt x="359" y="580"/>
                    </a:lnTo>
                    <a:lnTo>
                      <a:pt x="355" y="583"/>
                    </a:lnTo>
                    <a:lnTo>
                      <a:pt x="352" y="583"/>
                    </a:lnTo>
                    <a:lnTo>
                      <a:pt x="349" y="583"/>
                    </a:lnTo>
                    <a:lnTo>
                      <a:pt x="329" y="586"/>
                    </a:lnTo>
                    <a:lnTo>
                      <a:pt x="324" y="578"/>
                    </a:lnTo>
                    <a:lnTo>
                      <a:pt x="320" y="569"/>
                    </a:lnTo>
                    <a:lnTo>
                      <a:pt x="317" y="561"/>
                    </a:lnTo>
                    <a:lnTo>
                      <a:pt x="315" y="557"/>
                    </a:lnTo>
                    <a:lnTo>
                      <a:pt x="315" y="552"/>
                    </a:lnTo>
                    <a:lnTo>
                      <a:pt x="281" y="552"/>
                    </a:lnTo>
                    <a:lnTo>
                      <a:pt x="271" y="587"/>
                    </a:lnTo>
                    <a:lnTo>
                      <a:pt x="261" y="587"/>
                    </a:lnTo>
                    <a:lnTo>
                      <a:pt x="252" y="586"/>
                    </a:lnTo>
                    <a:lnTo>
                      <a:pt x="234" y="583"/>
                    </a:lnTo>
                    <a:lnTo>
                      <a:pt x="234" y="546"/>
                    </a:lnTo>
                    <a:lnTo>
                      <a:pt x="225" y="545"/>
                    </a:lnTo>
                    <a:lnTo>
                      <a:pt x="217" y="542"/>
                    </a:lnTo>
                    <a:lnTo>
                      <a:pt x="202" y="535"/>
                    </a:lnTo>
                    <a:lnTo>
                      <a:pt x="191" y="552"/>
                    </a:lnTo>
                    <a:lnTo>
                      <a:pt x="185" y="560"/>
                    </a:lnTo>
                    <a:lnTo>
                      <a:pt x="179" y="568"/>
                    </a:lnTo>
                    <a:lnTo>
                      <a:pt x="171" y="563"/>
                    </a:lnTo>
                    <a:lnTo>
                      <a:pt x="164" y="560"/>
                    </a:lnTo>
                    <a:lnTo>
                      <a:pt x="147" y="551"/>
                    </a:lnTo>
                    <a:lnTo>
                      <a:pt x="148" y="542"/>
                    </a:lnTo>
                    <a:lnTo>
                      <a:pt x="151" y="532"/>
                    </a:lnTo>
                    <a:lnTo>
                      <a:pt x="157" y="514"/>
                    </a:lnTo>
                    <a:lnTo>
                      <a:pt x="150" y="509"/>
                    </a:lnTo>
                    <a:lnTo>
                      <a:pt x="142" y="503"/>
                    </a:lnTo>
                    <a:lnTo>
                      <a:pt x="136" y="499"/>
                    </a:lnTo>
                    <a:lnTo>
                      <a:pt x="131" y="499"/>
                    </a:lnTo>
                    <a:lnTo>
                      <a:pt x="128" y="499"/>
                    </a:lnTo>
                    <a:lnTo>
                      <a:pt x="122" y="505"/>
                    </a:lnTo>
                    <a:lnTo>
                      <a:pt x="115" y="511"/>
                    </a:lnTo>
                    <a:lnTo>
                      <a:pt x="111" y="512"/>
                    </a:lnTo>
                    <a:lnTo>
                      <a:pt x="108" y="516"/>
                    </a:lnTo>
                    <a:lnTo>
                      <a:pt x="101" y="519"/>
                    </a:lnTo>
                    <a:lnTo>
                      <a:pt x="75" y="493"/>
                    </a:lnTo>
                    <a:lnTo>
                      <a:pt x="85" y="477"/>
                    </a:lnTo>
                    <a:lnTo>
                      <a:pt x="92" y="470"/>
                    </a:lnTo>
                    <a:lnTo>
                      <a:pt x="98" y="462"/>
                    </a:lnTo>
                    <a:lnTo>
                      <a:pt x="95" y="459"/>
                    </a:lnTo>
                    <a:lnTo>
                      <a:pt x="92" y="454"/>
                    </a:lnTo>
                    <a:lnTo>
                      <a:pt x="85" y="442"/>
                    </a:lnTo>
                    <a:lnTo>
                      <a:pt x="82" y="437"/>
                    </a:lnTo>
                    <a:lnTo>
                      <a:pt x="79" y="436"/>
                    </a:lnTo>
                    <a:lnTo>
                      <a:pt x="78" y="436"/>
                    </a:lnTo>
                    <a:lnTo>
                      <a:pt x="75" y="436"/>
                    </a:lnTo>
                    <a:lnTo>
                      <a:pt x="73" y="436"/>
                    </a:lnTo>
                    <a:lnTo>
                      <a:pt x="70" y="439"/>
                    </a:lnTo>
                    <a:lnTo>
                      <a:pt x="66" y="442"/>
                    </a:lnTo>
                    <a:lnTo>
                      <a:pt x="43" y="448"/>
                    </a:lnTo>
                    <a:lnTo>
                      <a:pt x="26" y="416"/>
                    </a:lnTo>
                    <a:lnTo>
                      <a:pt x="33" y="410"/>
                    </a:lnTo>
                    <a:lnTo>
                      <a:pt x="41" y="404"/>
                    </a:lnTo>
                    <a:lnTo>
                      <a:pt x="49" y="398"/>
                    </a:lnTo>
                    <a:lnTo>
                      <a:pt x="58" y="393"/>
                    </a:lnTo>
                    <a:lnTo>
                      <a:pt x="49" y="364"/>
                    </a:lnTo>
                    <a:lnTo>
                      <a:pt x="46" y="362"/>
                    </a:lnTo>
                    <a:lnTo>
                      <a:pt x="36" y="362"/>
                    </a:lnTo>
                    <a:lnTo>
                      <a:pt x="27" y="364"/>
                    </a:lnTo>
                    <a:lnTo>
                      <a:pt x="9" y="362"/>
                    </a:lnTo>
                    <a:lnTo>
                      <a:pt x="0" y="329"/>
                    </a:lnTo>
                    <a:lnTo>
                      <a:pt x="10" y="324"/>
                    </a:lnTo>
                    <a:lnTo>
                      <a:pt x="20" y="323"/>
                    </a:lnTo>
                    <a:lnTo>
                      <a:pt x="41" y="318"/>
                    </a:lnTo>
                    <a:lnTo>
                      <a:pt x="41" y="281"/>
                    </a:lnTo>
                    <a:lnTo>
                      <a:pt x="30" y="280"/>
                    </a:lnTo>
                    <a:lnTo>
                      <a:pt x="21" y="278"/>
                    </a:lnTo>
                    <a:lnTo>
                      <a:pt x="3" y="274"/>
                    </a:lnTo>
                    <a:lnTo>
                      <a:pt x="3" y="265"/>
                    </a:lnTo>
                    <a:lnTo>
                      <a:pt x="4" y="254"/>
                    </a:lnTo>
                    <a:lnTo>
                      <a:pt x="6" y="245"/>
                    </a:lnTo>
                    <a:lnTo>
                      <a:pt x="7" y="235"/>
                    </a:lnTo>
                    <a:lnTo>
                      <a:pt x="27" y="235"/>
                    </a:lnTo>
                    <a:lnTo>
                      <a:pt x="36" y="237"/>
                    </a:lnTo>
                    <a:lnTo>
                      <a:pt x="46" y="237"/>
                    </a:lnTo>
                    <a:lnTo>
                      <a:pt x="49" y="229"/>
                    </a:lnTo>
                    <a:lnTo>
                      <a:pt x="50" y="222"/>
                    </a:lnTo>
                    <a:lnTo>
                      <a:pt x="53" y="214"/>
                    </a:lnTo>
                    <a:lnTo>
                      <a:pt x="58" y="206"/>
                    </a:lnTo>
                    <a:lnTo>
                      <a:pt x="40" y="196"/>
                    </a:lnTo>
                    <a:lnTo>
                      <a:pt x="32" y="190"/>
                    </a:lnTo>
                    <a:lnTo>
                      <a:pt x="23" y="183"/>
                    </a:lnTo>
                    <a:lnTo>
                      <a:pt x="26" y="179"/>
                    </a:lnTo>
                    <a:lnTo>
                      <a:pt x="29" y="171"/>
                    </a:lnTo>
                    <a:lnTo>
                      <a:pt x="33" y="159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41" y="150"/>
                    </a:lnTo>
                    <a:lnTo>
                      <a:pt x="43" y="150"/>
                    </a:lnTo>
                    <a:lnTo>
                      <a:pt x="46" y="150"/>
                    </a:lnTo>
                    <a:lnTo>
                      <a:pt x="49" y="150"/>
                    </a:lnTo>
                    <a:lnTo>
                      <a:pt x="53" y="153"/>
                    </a:lnTo>
                    <a:lnTo>
                      <a:pt x="75" y="165"/>
                    </a:lnTo>
                    <a:lnTo>
                      <a:pt x="96" y="133"/>
                    </a:lnTo>
                    <a:lnTo>
                      <a:pt x="72" y="101"/>
                    </a:lnTo>
                    <a:lnTo>
                      <a:pt x="96" y="76"/>
                    </a:lnTo>
                    <a:lnTo>
                      <a:pt x="101" y="76"/>
                    </a:lnTo>
                    <a:lnTo>
                      <a:pt x="127" y="99"/>
                    </a:lnTo>
                    <a:lnTo>
                      <a:pt x="154" y="79"/>
                    </a:lnTo>
                    <a:lnTo>
                      <a:pt x="139" y="46"/>
                    </a:lnTo>
                    <a:lnTo>
                      <a:pt x="148" y="38"/>
                    </a:lnTo>
                    <a:lnTo>
                      <a:pt x="157" y="33"/>
                    </a:lnTo>
                    <a:lnTo>
                      <a:pt x="168" y="29"/>
                    </a:lnTo>
                    <a:lnTo>
                      <a:pt x="177" y="24"/>
                    </a:lnTo>
                    <a:lnTo>
                      <a:pt x="197" y="56"/>
                    </a:lnTo>
                    <a:lnTo>
                      <a:pt x="212" y="52"/>
                    </a:lnTo>
                    <a:lnTo>
                      <a:pt x="228" y="47"/>
                    </a:lnTo>
                    <a:lnTo>
                      <a:pt x="228" y="38"/>
                    </a:lnTo>
                    <a:lnTo>
                      <a:pt x="228" y="27"/>
                    </a:lnTo>
                    <a:lnTo>
                      <a:pt x="226" y="18"/>
                    </a:lnTo>
                    <a:lnTo>
                      <a:pt x="226" y="9"/>
                    </a:lnTo>
                    <a:lnTo>
                      <a:pt x="235" y="6"/>
                    </a:lnTo>
                    <a:lnTo>
                      <a:pt x="245" y="4"/>
                    </a:lnTo>
                    <a:lnTo>
                      <a:pt x="266" y="3"/>
                    </a:lnTo>
                    <a:lnTo>
                      <a:pt x="274" y="38"/>
                    </a:lnTo>
                    <a:lnTo>
                      <a:pt x="307" y="36"/>
                    </a:lnTo>
                    <a:lnTo>
                      <a:pt x="309" y="35"/>
                    </a:lnTo>
                    <a:lnTo>
                      <a:pt x="317" y="0"/>
                    </a:lnTo>
                    <a:lnTo>
                      <a:pt x="336" y="1"/>
                    </a:lnTo>
                    <a:lnTo>
                      <a:pt x="346" y="3"/>
                    </a:lnTo>
                    <a:lnTo>
                      <a:pt x="355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Freeform 282">
                <a:extLst>
                  <a:ext uri="{FF2B5EF4-FFF2-40B4-BE49-F238E27FC236}">
                    <a16:creationId xmlns:a16="http://schemas.microsoft.com/office/drawing/2014/main" xmlns="" id="{A9B10A08-E30F-4D56-A874-1DA0D4854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2048"/>
                <a:ext cx="211" cy="213"/>
              </a:xfrm>
              <a:custGeom>
                <a:avLst/>
                <a:gdLst/>
                <a:ahLst/>
                <a:cxnLst>
                  <a:cxn ang="0">
                    <a:pos x="248" y="26"/>
                  </a:cxn>
                  <a:cxn ang="0">
                    <a:pos x="251" y="52"/>
                  </a:cxn>
                  <a:cxn ang="0">
                    <a:pos x="289" y="40"/>
                  </a:cxn>
                  <a:cxn ang="0">
                    <a:pos x="318" y="30"/>
                  </a:cxn>
                  <a:cxn ang="0">
                    <a:pos x="337" y="98"/>
                  </a:cxn>
                  <a:cxn ang="0">
                    <a:pos x="355" y="85"/>
                  </a:cxn>
                  <a:cxn ang="0">
                    <a:pos x="381" y="79"/>
                  </a:cxn>
                  <a:cxn ang="0">
                    <a:pos x="395" y="102"/>
                  </a:cxn>
                  <a:cxn ang="0">
                    <a:pos x="369" y="145"/>
                  </a:cxn>
                  <a:cxn ang="0">
                    <a:pos x="386" y="157"/>
                  </a:cxn>
                  <a:cxn ang="0">
                    <a:pos x="416" y="154"/>
                  </a:cxn>
                  <a:cxn ang="0">
                    <a:pos x="422" y="191"/>
                  </a:cxn>
                  <a:cxn ang="0">
                    <a:pos x="386" y="211"/>
                  </a:cxn>
                  <a:cxn ang="0">
                    <a:pos x="384" y="232"/>
                  </a:cxn>
                  <a:cxn ang="0">
                    <a:pos x="389" y="239"/>
                  </a:cxn>
                  <a:cxn ang="0">
                    <a:pos x="399" y="242"/>
                  </a:cxn>
                  <a:cxn ang="0">
                    <a:pos x="418" y="246"/>
                  </a:cxn>
                  <a:cxn ang="0">
                    <a:pos x="421" y="254"/>
                  </a:cxn>
                  <a:cxn ang="0">
                    <a:pos x="392" y="281"/>
                  </a:cxn>
                  <a:cxn ang="0">
                    <a:pos x="366" y="292"/>
                  </a:cxn>
                  <a:cxn ang="0">
                    <a:pos x="379" y="327"/>
                  </a:cxn>
                  <a:cxn ang="0">
                    <a:pos x="381" y="343"/>
                  </a:cxn>
                  <a:cxn ang="0">
                    <a:pos x="353" y="359"/>
                  </a:cxn>
                  <a:cxn ang="0">
                    <a:pos x="327" y="341"/>
                  </a:cxn>
                  <a:cxn ang="0">
                    <a:pos x="303" y="361"/>
                  </a:cxn>
                  <a:cxn ang="0">
                    <a:pos x="312" y="389"/>
                  </a:cxn>
                  <a:cxn ang="0">
                    <a:pos x="281" y="411"/>
                  </a:cxn>
                  <a:cxn ang="0">
                    <a:pos x="229" y="385"/>
                  </a:cxn>
                  <a:cxn ang="0">
                    <a:pos x="220" y="425"/>
                  </a:cxn>
                  <a:cxn ang="0">
                    <a:pos x="182" y="404"/>
                  </a:cxn>
                  <a:cxn ang="0">
                    <a:pos x="180" y="384"/>
                  </a:cxn>
                  <a:cxn ang="0">
                    <a:pos x="164" y="379"/>
                  </a:cxn>
                  <a:cxn ang="0">
                    <a:pos x="156" y="376"/>
                  </a:cxn>
                  <a:cxn ang="0">
                    <a:pos x="150" y="376"/>
                  </a:cxn>
                  <a:cxn ang="0">
                    <a:pos x="119" y="405"/>
                  </a:cxn>
                  <a:cxn ang="0">
                    <a:pos x="98" y="387"/>
                  </a:cxn>
                  <a:cxn ang="0">
                    <a:pos x="109" y="364"/>
                  </a:cxn>
                  <a:cxn ang="0">
                    <a:pos x="66" y="340"/>
                  </a:cxn>
                  <a:cxn ang="0">
                    <a:pos x="34" y="336"/>
                  </a:cxn>
                  <a:cxn ang="0">
                    <a:pos x="34" y="314"/>
                  </a:cxn>
                  <a:cxn ang="0">
                    <a:pos x="63" y="292"/>
                  </a:cxn>
                  <a:cxn ang="0">
                    <a:pos x="49" y="261"/>
                  </a:cxn>
                  <a:cxn ang="0">
                    <a:pos x="18" y="266"/>
                  </a:cxn>
                  <a:cxn ang="0">
                    <a:pos x="3" y="249"/>
                  </a:cxn>
                  <a:cxn ang="0">
                    <a:pos x="11" y="225"/>
                  </a:cxn>
                  <a:cxn ang="0">
                    <a:pos x="46" y="214"/>
                  </a:cxn>
                  <a:cxn ang="0">
                    <a:pos x="44" y="205"/>
                  </a:cxn>
                  <a:cxn ang="0">
                    <a:pos x="46" y="191"/>
                  </a:cxn>
                  <a:cxn ang="0">
                    <a:pos x="34" y="185"/>
                  </a:cxn>
                  <a:cxn ang="0">
                    <a:pos x="9" y="156"/>
                  </a:cxn>
                  <a:cxn ang="0">
                    <a:pos x="38" y="142"/>
                  </a:cxn>
                  <a:cxn ang="0">
                    <a:pos x="66" y="136"/>
                  </a:cxn>
                  <a:cxn ang="0">
                    <a:pos x="66" y="113"/>
                  </a:cxn>
                  <a:cxn ang="0">
                    <a:pos x="46" y="90"/>
                  </a:cxn>
                  <a:cxn ang="0">
                    <a:pos x="70" y="62"/>
                  </a:cxn>
                  <a:cxn ang="0">
                    <a:pos x="116" y="78"/>
                  </a:cxn>
                  <a:cxn ang="0">
                    <a:pos x="124" y="46"/>
                  </a:cxn>
                  <a:cxn ang="0">
                    <a:pos x="156" y="21"/>
                  </a:cxn>
                  <a:cxn ang="0">
                    <a:pos x="171" y="52"/>
                  </a:cxn>
                  <a:cxn ang="0">
                    <a:pos x="196" y="49"/>
                  </a:cxn>
                  <a:cxn ang="0">
                    <a:pos x="211" y="12"/>
                  </a:cxn>
                </a:cxnLst>
                <a:rect l="0" t="0" r="r" b="b"/>
                <a:pathLst>
                  <a:path w="422" h="425">
                    <a:moveTo>
                      <a:pt x="248" y="4"/>
                    </a:moveTo>
                    <a:lnTo>
                      <a:pt x="248" y="15"/>
                    </a:lnTo>
                    <a:lnTo>
                      <a:pt x="248" y="26"/>
                    </a:lnTo>
                    <a:lnTo>
                      <a:pt x="248" y="36"/>
                    </a:lnTo>
                    <a:lnTo>
                      <a:pt x="245" y="47"/>
                    </a:lnTo>
                    <a:lnTo>
                      <a:pt x="251" y="52"/>
                    </a:lnTo>
                    <a:lnTo>
                      <a:pt x="277" y="58"/>
                    </a:lnTo>
                    <a:lnTo>
                      <a:pt x="283" y="49"/>
                    </a:lnTo>
                    <a:lnTo>
                      <a:pt x="289" y="40"/>
                    </a:lnTo>
                    <a:lnTo>
                      <a:pt x="297" y="30"/>
                    </a:lnTo>
                    <a:lnTo>
                      <a:pt x="304" y="23"/>
                    </a:lnTo>
                    <a:lnTo>
                      <a:pt x="318" y="30"/>
                    </a:lnTo>
                    <a:lnTo>
                      <a:pt x="332" y="38"/>
                    </a:lnTo>
                    <a:lnTo>
                      <a:pt x="315" y="78"/>
                    </a:lnTo>
                    <a:lnTo>
                      <a:pt x="337" y="98"/>
                    </a:lnTo>
                    <a:lnTo>
                      <a:pt x="341" y="95"/>
                    </a:lnTo>
                    <a:lnTo>
                      <a:pt x="346" y="92"/>
                    </a:lnTo>
                    <a:lnTo>
                      <a:pt x="355" y="85"/>
                    </a:lnTo>
                    <a:lnTo>
                      <a:pt x="373" y="75"/>
                    </a:lnTo>
                    <a:lnTo>
                      <a:pt x="378" y="76"/>
                    </a:lnTo>
                    <a:lnTo>
                      <a:pt x="381" y="79"/>
                    </a:lnTo>
                    <a:lnTo>
                      <a:pt x="387" y="87"/>
                    </a:lnTo>
                    <a:lnTo>
                      <a:pt x="390" y="95"/>
                    </a:lnTo>
                    <a:lnTo>
                      <a:pt x="395" y="102"/>
                    </a:lnTo>
                    <a:lnTo>
                      <a:pt x="361" y="130"/>
                    </a:lnTo>
                    <a:lnTo>
                      <a:pt x="366" y="137"/>
                    </a:lnTo>
                    <a:lnTo>
                      <a:pt x="369" y="145"/>
                    </a:lnTo>
                    <a:lnTo>
                      <a:pt x="372" y="151"/>
                    </a:lnTo>
                    <a:lnTo>
                      <a:pt x="376" y="159"/>
                    </a:lnTo>
                    <a:lnTo>
                      <a:pt x="386" y="157"/>
                    </a:lnTo>
                    <a:lnTo>
                      <a:pt x="396" y="156"/>
                    </a:lnTo>
                    <a:lnTo>
                      <a:pt x="405" y="156"/>
                    </a:lnTo>
                    <a:lnTo>
                      <a:pt x="416" y="154"/>
                    </a:lnTo>
                    <a:lnTo>
                      <a:pt x="421" y="173"/>
                    </a:lnTo>
                    <a:lnTo>
                      <a:pt x="422" y="182"/>
                    </a:lnTo>
                    <a:lnTo>
                      <a:pt x="422" y="191"/>
                    </a:lnTo>
                    <a:lnTo>
                      <a:pt x="384" y="200"/>
                    </a:lnTo>
                    <a:lnTo>
                      <a:pt x="386" y="205"/>
                    </a:lnTo>
                    <a:lnTo>
                      <a:pt x="386" y="211"/>
                    </a:lnTo>
                    <a:lnTo>
                      <a:pt x="383" y="225"/>
                    </a:lnTo>
                    <a:lnTo>
                      <a:pt x="383" y="231"/>
                    </a:lnTo>
                    <a:lnTo>
                      <a:pt x="384" y="232"/>
                    </a:lnTo>
                    <a:lnTo>
                      <a:pt x="384" y="235"/>
                    </a:lnTo>
                    <a:lnTo>
                      <a:pt x="387" y="237"/>
                    </a:lnTo>
                    <a:lnTo>
                      <a:pt x="389" y="239"/>
                    </a:lnTo>
                    <a:lnTo>
                      <a:pt x="392" y="240"/>
                    </a:lnTo>
                    <a:lnTo>
                      <a:pt x="396" y="240"/>
                    </a:lnTo>
                    <a:lnTo>
                      <a:pt x="399" y="242"/>
                    </a:lnTo>
                    <a:lnTo>
                      <a:pt x="404" y="243"/>
                    </a:lnTo>
                    <a:lnTo>
                      <a:pt x="413" y="245"/>
                    </a:lnTo>
                    <a:lnTo>
                      <a:pt x="418" y="246"/>
                    </a:lnTo>
                    <a:lnTo>
                      <a:pt x="421" y="248"/>
                    </a:lnTo>
                    <a:lnTo>
                      <a:pt x="421" y="252"/>
                    </a:lnTo>
                    <a:lnTo>
                      <a:pt x="421" y="254"/>
                    </a:lnTo>
                    <a:lnTo>
                      <a:pt x="419" y="257"/>
                    </a:lnTo>
                    <a:lnTo>
                      <a:pt x="412" y="283"/>
                    </a:lnTo>
                    <a:lnTo>
                      <a:pt x="392" y="281"/>
                    </a:lnTo>
                    <a:lnTo>
                      <a:pt x="383" y="280"/>
                    </a:lnTo>
                    <a:lnTo>
                      <a:pt x="373" y="277"/>
                    </a:lnTo>
                    <a:lnTo>
                      <a:pt x="366" y="292"/>
                    </a:lnTo>
                    <a:lnTo>
                      <a:pt x="358" y="306"/>
                    </a:lnTo>
                    <a:lnTo>
                      <a:pt x="372" y="320"/>
                    </a:lnTo>
                    <a:lnTo>
                      <a:pt x="379" y="327"/>
                    </a:lnTo>
                    <a:lnTo>
                      <a:pt x="384" y="330"/>
                    </a:lnTo>
                    <a:lnTo>
                      <a:pt x="386" y="335"/>
                    </a:lnTo>
                    <a:lnTo>
                      <a:pt x="381" y="343"/>
                    </a:lnTo>
                    <a:lnTo>
                      <a:pt x="375" y="350"/>
                    </a:lnTo>
                    <a:lnTo>
                      <a:pt x="361" y="362"/>
                    </a:lnTo>
                    <a:lnTo>
                      <a:pt x="353" y="359"/>
                    </a:lnTo>
                    <a:lnTo>
                      <a:pt x="344" y="353"/>
                    </a:lnTo>
                    <a:lnTo>
                      <a:pt x="337" y="347"/>
                    </a:lnTo>
                    <a:lnTo>
                      <a:pt x="327" y="341"/>
                    </a:lnTo>
                    <a:lnTo>
                      <a:pt x="321" y="347"/>
                    </a:lnTo>
                    <a:lnTo>
                      <a:pt x="315" y="352"/>
                    </a:lnTo>
                    <a:lnTo>
                      <a:pt x="303" y="361"/>
                    </a:lnTo>
                    <a:lnTo>
                      <a:pt x="306" y="370"/>
                    </a:lnTo>
                    <a:lnTo>
                      <a:pt x="309" y="379"/>
                    </a:lnTo>
                    <a:lnTo>
                      <a:pt x="312" y="389"/>
                    </a:lnTo>
                    <a:lnTo>
                      <a:pt x="314" y="399"/>
                    </a:lnTo>
                    <a:lnTo>
                      <a:pt x="297" y="405"/>
                    </a:lnTo>
                    <a:lnTo>
                      <a:pt x="281" y="411"/>
                    </a:lnTo>
                    <a:lnTo>
                      <a:pt x="260" y="379"/>
                    </a:lnTo>
                    <a:lnTo>
                      <a:pt x="245" y="382"/>
                    </a:lnTo>
                    <a:lnTo>
                      <a:pt x="229" y="385"/>
                    </a:lnTo>
                    <a:lnTo>
                      <a:pt x="225" y="405"/>
                    </a:lnTo>
                    <a:lnTo>
                      <a:pt x="223" y="416"/>
                    </a:lnTo>
                    <a:lnTo>
                      <a:pt x="220" y="425"/>
                    </a:lnTo>
                    <a:lnTo>
                      <a:pt x="185" y="424"/>
                    </a:lnTo>
                    <a:lnTo>
                      <a:pt x="184" y="415"/>
                    </a:lnTo>
                    <a:lnTo>
                      <a:pt x="182" y="404"/>
                    </a:lnTo>
                    <a:lnTo>
                      <a:pt x="182" y="395"/>
                    </a:lnTo>
                    <a:lnTo>
                      <a:pt x="184" y="385"/>
                    </a:lnTo>
                    <a:lnTo>
                      <a:pt x="180" y="384"/>
                    </a:lnTo>
                    <a:lnTo>
                      <a:pt x="177" y="382"/>
                    </a:lnTo>
                    <a:lnTo>
                      <a:pt x="171" y="381"/>
                    </a:lnTo>
                    <a:lnTo>
                      <a:pt x="164" y="379"/>
                    </a:lnTo>
                    <a:lnTo>
                      <a:pt x="161" y="378"/>
                    </a:lnTo>
                    <a:lnTo>
                      <a:pt x="158" y="378"/>
                    </a:lnTo>
                    <a:lnTo>
                      <a:pt x="156" y="376"/>
                    </a:lnTo>
                    <a:lnTo>
                      <a:pt x="153" y="375"/>
                    </a:lnTo>
                    <a:lnTo>
                      <a:pt x="151" y="375"/>
                    </a:lnTo>
                    <a:lnTo>
                      <a:pt x="150" y="376"/>
                    </a:lnTo>
                    <a:lnTo>
                      <a:pt x="128" y="407"/>
                    </a:lnTo>
                    <a:lnTo>
                      <a:pt x="124" y="405"/>
                    </a:lnTo>
                    <a:lnTo>
                      <a:pt x="119" y="405"/>
                    </a:lnTo>
                    <a:lnTo>
                      <a:pt x="112" y="401"/>
                    </a:lnTo>
                    <a:lnTo>
                      <a:pt x="98" y="392"/>
                    </a:lnTo>
                    <a:lnTo>
                      <a:pt x="98" y="387"/>
                    </a:lnTo>
                    <a:lnTo>
                      <a:pt x="99" y="382"/>
                    </a:lnTo>
                    <a:lnTo>
                      <a:pt x="104" y="373"/>
                    </a:lnTo>
                    <a:lnTo>
                      <a:pt x="109" y="364"/>
                    </a:lnTo>
                    <a:lnTo>
                      <a:pt x="113" y="355"/>
                    </a:lnTo>
                    <a:lnTo>
                      <a:pt x="86" y="329"/>
                    </a:lnTo>
                    <a:lnTo>
                      <a:pt x="66" y="340"/>
                    </a:lnTo>
                    <a:lnTo>
                      <a:pt x="44" y="349"/>
                    </a:lnTo>
                    <a:lnTo>
                      <a:pt x="38" y="343"/>
                    </a:lnTo>
                    <a:lnTo>
                      <a:pt x="34" y="336"/>
                    </a:lnTo>
                    <a:lnTo>
                      <a:pt x="24" y="321"/>
                    </a:lnTo>
                    <a:lnTo>
                      <a:pt x="29" y="317"/>
                    </a:lnTo>
                    <a:lnTo>
                      <a:pt x="34" y="314"/>
                    </a:lnTo>
                    <a:lnTo>
                      <a:pt x="43" y="306"/>
                    </a:lnTo>
                    <a:lnTo>
                      <a:pt x="53" y="300"/>
                    </a:lnTo>
                    <a:lnTo>
                      <a:pt x="63" y="292"/>
                    </a:lnTo>
                    <a:lnTo>
                      <a:pt x="58" y="284"/>
                    </a:lnTo>
                    <a:lnTo>
                      <a:pt x="55" y="277"/>
                    </a:lnTo>
                    <a:lnTo>
                      <a:pt x="49" y="261"/>
                    </a:lnTo>
                    <a:lnTo>
                      <a:pt x="40" y="263"/>
                    </a:lnTo>
                    <a:lnTo>
                      <a:pt x="29" y="265"/>
                    </a:lnTo>
                    <a:lnTo>
                      <a:pt x="18" y="266"/>
                    </a:lnTo>
                    <a:lnTo>
                      <a:pt x="14" y="268"/>
                    </a:lnTo>
                    <a:lnTo>
                      <a:pt x="8" y="268"/>
                    </a:lnTo>
                    <a:lnTo>
                      <a:pt x="3" y="249"/>
                    </a:lnTo>
                    <a:lnTo>
                      <a:pt x="1" y="239"/>
                    </a:lnTo>
                    <a:lnTo>
                      <a:pt x="0" y="229"/>
                    </a:lnTo>
                    <a:lnTo>
                      <a:pt x="11" y="225"/>
                    </a:lnTo>
                    <a:lnTo>
                      <a:pt x="21" y="223"/>
                    </a:lnTo>
                    <a:lnTo>
                      <a:pt x="44" y="219"/>
                    </a:lnTo>
                    <a:lnTo>
                      <a:pt x="46" y="214"/>
                    </a:lnTo>
                    <a:lnTo>
                      <a:pt x="44" y="212"/>
                    </a:lnTo>
                    <a:lnTo>
                      <a:pt x="44" y="211"/>
                    </a:lnTo>
                    <a:lnTo>
                      <a:pt x="44" y="205"/>
                    </a:lnTo>
                    <a:lnTo>
                      <a:pt x="46" y="200"/>
                    </a:lnTo>
                    <a:lnTo>
                      <a:pt x="46" y="196"/>
                    </a:lnTo>
                    <a:lnTo>
                      <a:pt x="46" y="191"/>
                    </a:lnTo>
                    <a:lnTo>
                      <a:pt x="44" y="186"/>
                    </a:lnTo>
                    <a:lnTo>
                      <a:pt x="41" y="185"/>
                    </a:lnTo>
                    <a:lnTo>
                      <a:pt x="34" y="185"/>
                    </a:lnTo>
                    <a:lnTo>
                      <a:pt x="4" y="174"/>
                    </a:lnTo>
                    <a:lnTo>
                      <a:pt x="6" y="165"/>
                    </a:lnTo>
                    <a:lnTo>
                      <a:pt x="9" y="156"/>
                    </a:lnTo>
                    <a:lnTo>
                      <a:pt x="17" y="137"/>
                    </a:lnTo>
                    <a:lnTo>
                      <a:pt x="27" y="139"/>
                    </a:lnTo>
                    <a:lnTo>
                      <a:pt x="38" y="142"/>
                    </a:lnTo>
                    <a:lnTo>
                      <a:pt x="58" y="150"/>
                    </a:lnTo>
                    <a:lnTo>
                      <a:pt x="63" y="144"/>
                    </a:lnTo>
                    <a:lnTo>
                      <a:pt x="66" y="136"/>
                    </a:lnTo>
                    <a:lnTo>
                      <a:pt x="69" y="128"/>
                    </a:lnTo>
                    <a:lnTo>
                      <a:pt x="73" y="122"/>
                    </a:lnTo>
                    <a:lnTo>
                      <a:pt x="66" y="113"/>
                    </a:lnTo>
                    <a:lnTo>
                      <a:pt x="58" y="104"/>
                    </a:lnTo>
                    <a:lnTo>
                      <a:pt x="50" y="95"/>
                    </a:lnTo>
                    <a:lnTo>
                      <a:pt x="46" y="90"/>
                    </a:lnTo>
                    <a:lnTo>
                      <a:pt x="44" y="84"/>
                    </a:lnTo>
                    <a:lnTo>
                      <a:pt x="66" y="61"/>
                    </a:lnTo>
                    <a:lnTo>
                      <a:pt x="70" y="62"/>
                    </a:lnTo>
                    <a:lnTo>
                      <a:pt x="104" y="85"/>
                    </a:lnTo>
                    <a:lnTo>
                      <a:pt x="110" y="82"/>
                    </a:lnTo>
                    <a:lnTo>
                      <a:pt x="116" y="78"/>
                    </a:lnTo>
                    <a:lnTo>
                      <a:pt x="122" y="73"/>
                    </a:lnTo>
                    <a:lnTo>
                      <a:pt x="130" y="70"/>
                    </a:lnTo>
                    <a:lnTo>
                      <a:pt x="124" y="46"/>
                    </a:lnTo>
                    <a:lnTo>
                      <a:pt x="119" y="21"/>
                    </a:lnTo>
                    <a:lnTo>
                      <a:pt x="150" y="10"/>
                    </a:lnTo>
                    <a:lnTo>
                      <a:pt x="156" y="21"/>
                    </a:lnTo>
                    <a:lnTo>
                      <a:pt x="162" y="30"/>
                    </a:lnTo>
                    <a:lnTo>
                      <a:pt x="167" y="41"/>
                    </a:lnTo>
                    <a:lnTo>
                      <a:pt x="171" y="52"/>
                    </a:lnTo>
                    <a:lnTo>
                      <a:pt x="179" y="50"/>
                    </a:lnTo>
                    <a:lnTo>
                      <a:pt x="187" y="50"/>
                    </a:lnTo>
                    <a:lnTo>
                      <a:pt x="196" y="49"/>
                    </a:lnTo>
                    <a:lnTo>
                      <a:pt x="203" y="47"/>
                    </a:lnTo>
                    <a:lnTo>
                      <a:pt x="208" y="23"/>
                    </a:lnTo>
                    <a:lnTo>
                      <a:pt x="211" y="12"/>
                    </a:lnTo>
                    <a:lnTo>
                      <a:pt x="216" y="0"/>
                    </a:lnTo>
                    <a:lnTo>
                      <a:pt x="248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5" name="Group 283">
                <a:extLst>
                  <a:ext uri="{FF2B5EF4-FFF2-40B4-BE49-F238E27FC236}">
                    <a16:creationId xmlns:a16="http://schemas.microsoft.com/office/drawing/2014/main" xmlns="" id="{D8CB6BF3-4B4D-43B9-AEF0-99617614AE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44" y="2104"/>
                <a:ext cx="357" cy="246"/>
                <a:chOff x="2939" y="2052"/>
                <a:chExt cx="357" cy="246"/>
              </a:xfrm>
            </p:grpSpPr>
            <p:sp>
              <p:nvSpPr>
                <p:cNvPr id="36" name="Freeform 284">
                  <a:extLst>
                    <a:ext uri="{FF2B5EF4-FFF2-40B4-BE49-F238E27FC236}">
                      <a16:creationId xmlns:a16="http://schemas.microsoft.com/office/drawing/2014/main" xmlns="" id="{BAB42691-A308-4C64-9618-3A53722670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7" y="2139"/>
                  <a:ext cx="159" cy="159"/>
                </a:xfrm>
                <a:custGeom>
                  <a:avLst/>
                  <a:gdLst/>
                  <a:ahLst/>
                  <a:cxnLst>
                    <a:cxn ang="0">
                      <a:pos x="1" y="144"/>
                    </a:cxn>
                    <a:cxn ang="0">
                      <a:pos x="7" y="112"/>
                    </a:cxn>
                    <a:cxn ang="0">
                      <a:pos x="19" y="84"/>
                    </a:cxn>
                    <a:cxn ang="0">
                      <a:pos x="27" y="70"/>
                    </a:cxn>
                    <a:cxn ang="0">
                      <a:pos x="36" y="58"/>
                    </a:cxn>
                    <a:cxn ang="0">
                      <a:pos x="47" y="47"/>
                    </a:cxn>
                    <a:cxn ang="0">
                      <a:pos x="70" y="28"/>
                    </a:cxn>
                    <a:cxn ang="0">
                      <a:pos x="98" y="14"/>
                    </a:cxn>
                    <a:cxn ang="0">
                      <a:pos x="127" y="3"/>
                    </a:cxn>
                    <a:cxn ang="0">
                      <a:pos x="159" y="0"/>
                    </a:cxn>
                    <a:cxn ang="0">
                      <a:pos x="191" y="3"/>
                    </a:cxn>
                    <a:cxn ang="0">
                      <a:pos x="220" y="14"/>
                    </a:cxn>
                    <a:cxn ang="0">
                      <a:pos x="241" y="23"/>
                    </a:cxn>
                    <a:cxn ang="0">
                      <a:pos x="254" y="32"/>
                    </a:cxn>
                    <a:cxn ang="0">
                      <a:pos x="266" y="41"/>
                    </a:cxn>
                    <a:cxn ang="0">
                      <a:pos x="281" y="58"/>
                    </a:cxn>
                    <a:cxn ang="0">
                      <a:pos x="298" y="84"/>
                    </a:cxn>
                    <a:cxn ang="0">
                      <a:pos x="310" y="112"/>
                    </a:cxn>
                    <a:cxn ang="0">
                      <a:pos x="316" y="144"/>
                    </a:cxn>
                    <a:cxn ang="0">
                      <a:pos x="316" y="176"/>
                    </a:cxn>
                    <a:cxn ang="0">
                      <a:pos x="310" y="207"/>
                    </a:cxn>
                    <a:cxn ang="0">
                      <a:pos x="298" y="236"/>
                    </a:cxn>
                    <a:cxn ang="0">
                      <a:pos x="290" y="248"/>
                    </a:cxn>
                    <a:cxn ang="0">
                      <a:pos x="281" y="260"/>
                    </a:cxn>
                    <a:cxn ang="0">
                      <a:pos x="270" y="271"/>
                    </a:cxn>
                    <a:cxn ang="0">
                      <a:pos x="248" y="291"/>
                    </a:cxn>
                    <a:cxn ang="0">
                      <a:pos x="220" y="306"/>
                    </a:cxn>
                    <a:cxn ang="0">
                      <a:pos x="191" y="315"/>
                    </a:cxn>
                    <a:cxn ang="0">
                      <a:pos x="159" y="318"/>
                    </a:cxn>
                    <a:cxn ang="0">
                      <a:pos x="127" y="315"/>
                    </a:cxn>
                    <a:cxn ang="0">
                      <a:pos x="98" y="306"/>
                    </a:cxn>
                    <a:cxn ang="0">
                      <a:pos x="76" y="295"/>
                    </a:cxn>
                    <a:cxn ang="0">
                      <a:pos x="64" y="286"/>
                    </a:cxn>
                    <a:cxn ang="0">
                      <a:pos x="52" y="277"/>
                    </a:cxn>
                    <a:cxn ang="0">
                      <a:pos x="36" y="260"/>
                    </a:cxn>
                    <a:cxn ang="0">
                      <a:pos x="19" y="236"/>
                    </a:cxn>
                    <a:cxn ang="0">
                      <a:pos x="7" y="207"/>
                    </a:cxn>
                    <a:cxn ang="0">
                      <a:pos x="1" y="176"/>
                    </a:cxn>
                  </a:cxnLst>
                  <a:rect l="0" t="0" r="r" b="b"/>
                  <a:pathLst>
                    <a:path w="318" h="318">
                      <a:moveTo>
                        <a:pt x="0" y="159"/>
                      </a:moveTo>
                      <a:lnTo>
                        <a:pt x="1" y="144"/>
                      </a:lnTo>
                      <a:lnTo>
                        <a:pt x="3" y="127"/>
                      </a:lnTo>
                      <a:lnTo>
                        <a:pt x="7" y="112"/>
                      </a:lnTo>
                      <a:lnTo>
                        <a:pt x="12" y="98"/>
                      </a:lnTo>
                      <a:lnTo>
                        <a:pt x="19" y="84"/>
                      </a:lnTo>
                      <a:lnTo>
                        <a:pt x="23" y="77"/>
                      </a:lnTo>
                      <a:lnTo>
                        <a:pt x="27" y="70"/>
                      </a:lnTo>
                      <a:lnTo>
                        <a:pt x="32" y="64"/>
                      </a:lnTo>
                      <a:lnTo>
                        <a:pt x="36" y="58"/>
                      </a:lnTo>
                      <a:lnTo>
                        <a:pt x="41" y="52"/>
                      </a:lnTo>
                      <a:lnTo>
                        <a:pt x="47" y="47"/>
                      </a:lnTo>
                      <a:lnTo>
                        <a:pt x="58" y="37"/>
                      </a:lnTo>
                      <a:lnTo>
                        <a:pt x="70" y="28"/>
                      </a:lnTo>
                      <a:lnTo>
                        <a:pt x="84" y="20"/>
                      </a:lnTo>
                      <a:lnTo>
                        <a:pt x="98" y="14"/>
                      </a:lnTo>
                      <a:lnTo>
                        <a:pt x="111" y="8"/>
                      </a:lnTo>
                      <a:lnTo>
                        <a:pt x="127" y="3"/>
                      </a:lnTo>
                      <a:lnTo>
                        <a:pt x="142" y="2"/>
                      </a:lnTo>
                      <a:lnTo>
                        <a:pt x="159" y="0"/>
                      </a:lnTo>
                      <a:lnTo>
                        <a:pt x="176" y="2"/>
                      </a:lnTo>
                      <a:lnTo>
                        <a:pt x="191" y="3"/>
                      </a:lnTo>
                      <a:lnTo>
                        <a:pt x="206" y="8"/>
                      </a:lnTo>
                      <a:lnTo>
                        <a:pt x="220" y="14"/>
                      </a:lnTo>
                      <a:lnTo>
                        <a:pt x="235" y="20"/>
                      </a:lnTo>
                      <a:lnTo>
                        <a:pt x="241" y="23"/>
                      </a:lnTo>
                      <a:lnTo>
                        <a:pt x="248" y="28"/>
                      </a:lnTo>
                      <a:lnTo>
                        <a:pt x="254" y="32"/>
                      </a:lnTo>
                      <a:lnTo>
                        <a:pt x="260" y="37"/>
                      </a:lnTo>
                      <a:lnTo>
                        <a:pt x="266" y="41"/>
                      </a:lnTo>
                      <a:lnTo>
                        <a:pt x="270" y="47"/>
                      </a:lnTo>
                      <a:lnTo>
                        <a:pt x="281" y="58"/>
                      </a:lnTo>
                      <a:lnTo>
                        <a:pt x="290" y="70"/>
                      </a:lnTo>
                      <a:lnTo>
                        <a:pt x="298" y="84"/>
                      </a:lnTo>
                      <a:lnTo>
                        <a:pt x="306" y="98"/>
                      </a:lnTo>
                      <a:lnTo>
                        <a:pt x="310" y="112"/>
                      </a:lnTo>
                      <a:lnTo>
                        <a:pt x="315" y="127"/>
                      </a:lnTo>
                      <a:lnTo>
                        <a:pt x="316" y="144"/>
                      </a:lnTo>
                      <a:lnTo>
                        <a:pt x="318" y="159"/>
                      </a:lnTo>
                      <a:lnTo>
                        <a:pt x="316" y="176"/>
                      </a:lnTo>
                      <a:lnTo>
                        <a:pt x="315" y="191"/>
                      </a:lnTo>
                      <a:lnTo>
                        <a:pt x="310" y="207"/>
                      </a:lnTo>
                      <a:lnTo>
                        <a:pt x="306" y="220"/>
                      </a:lnTo>
                      <a:lnTo>
                        <a:pt x="298" y="236"/>
                      </a:lnTo>
                      <a:lnTo>
                        <a:pt x="295" y="242"/>
                      </a:lnTo>
                      <a:lnTo>
                        <a:pt x="290" y="248"/>
                      </a:lnTo>
                      <a:lnTo>
                        <a:pt x="286" y="254"/>
                      </a:lnTo>
                      <a:lnTo>
                        <a:pt x="281" y="260"/>
                      </a:lnTo>
                      <a:lnTo>
                        <a:pt x="277" y="266"/>
                      </a:lnTo>
                      <a:lnTo>
                        <a:pt x="270" y="271"/>
                      </a:lnTo>
                      <a:lnTo>
                        <a:pt x="260" y="282"/>
                      </a:lnTo>
                      <a:lnTo>
                        <a:pt x="248" y="291"/>
                      </a:lnTo>
                      <a:lnTo>
                        <a:pt x="235" y="298"/>
                      </a:lnTo>
                      <a:lnTo>
                        <a:pt x="220" y="306"/>
                      </a:lnTo>
                      <a:lnTo>
                        <a:pt x="206" y="311"/>
                      </a:lnTo>
                      <a:lnTo>
                        <a:pt x="191" y="315"/>
                      </a:lnTo>
                      <a:lnTo>
                        <a:pt x="176" y="317"/>
                      </a:lnTo>
                      <a:lnTo>
                        <a:pt x="159" y="318"/>
                      </a:lnTo>
                      <a:lnTo>
                        <a:pt x="142" y="317"/>
                      </a:lnTo>
                      <a:lnTo>
                        <a:pt x="127" y="315"/>
                      </a:lnTo>
                      <a:lnTo>
                        <a:pt x="111" y="311"/>
                      </a:lnTo>
                      <a:lnTo>
                        <a:pt x="98" y="306"/>
                      </a:lnTo>
                      <a:lnTo>
                        <a:pt x="84" y="298"/>
                      </a:lnTo>
                      <a:lnTo>
                        <a:pt x="76" y="295"/>
                      </a:lnTo>
                      <a:lnTo>
                        <a:pt x="70" y="291"/>
                      </a:lnTo>
                      <a:lnTo>
                        <a:pt x="64" y="286"/>
                      </a:lnTo>
                      <a:lnTo>
                        <a:pt x="58" y="282"/>
                      </a:lnTo>
                      <a:lnTo>
                        <a:pt x="52" y="277"/>
                      </a:lnTo>
                      <a:lnTo>
                        <a:pt x="47" y="271"/>
                      </a:lnTo>
                      <a:lnTo>
                        <a:pt x="36" y="260"/>
                      </a:lnTo>
                      <a:lnTo>
                        <a:pt x="27" y="248"/>
                      </a:lnTo>
                      <a:lnTo>
                        <a:pt x="19" y="236"/>
                      </a:lnTo>
                      <a:lnTo>
                        <a:pt x="12" y="220"/>
                      </a:lnTo>
                      <a:lnTo>
                        <a:pt x="7" y="207"/>
                      </a:lnTo>
                      <a:lnTo>
                        <a:pt x="3" y="191"/>
                      </a:lnTo>
                      <a:lnTo>
                        <a:pt x="1" y="176"/>
                      </a:lnTo>
                      <a:lnTo>
                        <a:pt x="0" y="159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7" name="Freeform 285">
                  <a:extLst>
                    <a:ext uri="{FF2B5EF4-FFF2-40B4-BE49-F238E27FC236}">
                      <a16:creationId xmlns:a16="http://schemas.microsoft.com/office/drawing/2014/main" xmlns="" id="{03499085-5D8D-4D79-8EBB-BC8347FAAC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" y="2052"/>
                  <a:ext cx="104" cy="102"/>
                </a:xfrm>
                <a:custGeom>
                  <a:avLst/>
                  <a:gdLst/>
                  <a:ahLst/>
                  <a:cxnLst>
                    <a:cxn ang="0">
                      <a:pos x="1" y="91"/>
                    </a:cxn>
                    <a:cxn ang="0">
                      <a:pos x="6" y="72"/>
                    </a:cxn>
                    <a:cxn ang="0">
                      <a:pos x="13" y="53"/>
                    </a:cxn>
                    <a:cxn ang="0">
                      <a:pos x="24" y="36"/>
                    </a:cxn>
                    <a:cxn ang="0">
                      <a:pos x="38" y="23"/>
                    </a:cxn>
                    <a:cxn ang="0">
                      <a:pos x="55" y="12"/>
                    </a:cxn>
                    <a:cxn ang="0">
                      <a:pos x="73" y="4"/>
                    </a:cxn>
                    <a:cxn ang="0">
                      <a:pos x="93" y="0"/>
                    </a:cxn>
                    <a:cxn ang="0">
                      <a:pos x="114" y="0"/>
                    </a:cxn>
                    <a:cxn ang="0">
                      <a:pos x="134" y="4"/>
                    </a:cxn>
                    <a:cxn ang="0">
                      <a:pos x="153" y="12"/>
                    </a:cxn>
                    <a:cxn ang="0">
                      <a:pos x="169" y="23"/>
                    </a:cxn>
                    <a:cxn ang="0">
                      <a:pos x="183" y="36"/>
                    </a:cxn>
                    <a:cxn ang="0">
                      <a:pos x="194" y="53"/>
                    </a:cxn>
                    <a:cxn ang="0">
                      <a:pos x="202" y="72"/>
                    </a:cxn>
                    <a:cxn ang="0">
                      <a:pos x="206" y="91"/>
                    </a:cxn>
                    <a:cxn ang="0">
                      <a:pos x="206" y="113"/>
                    </a:cxn>
                    <a:cxn ang="0">
                      <a:pos x="202" y="133"/>
                    </a:cxn>
                    <a:cxn ang="0">
                      <a:pos x="194" y="151"/>
                    </a:cxn>
                    <a:cxn ang="0">
                      <a:pos x="183" y="168"/>
                    </a:cxn>
                    <a:cxn ang="0">
                      <a:pos x="169" y="182"/>
                    </a:cxn>
                    <a:cxn ang="0">
                      <a:pos x="153" y="192"/>
                    </a:cxn>
                    <a:cxn ang="0">
                      <a:pos x="134" y="200"/>
                    </a:cxn>
                    <a:cxn ang="0">
                      <a:pos x="114" y="205"/>
                    </a:cxn>
                    <a:cxn ang="0">
                      <a:pos x="93" y="205"/>
                    </a:cxn>
                    <a:cxn ang="0">
                      <a:pos x="73" y="200"/>
                    </a:cxn>
                    <a:cxn ang="0">
                      <a:pos x="55" y="192"/>
                    </a:cxn>
                    <a:cxn ang="0">
                      <a:pos x="38" y="182"/>
                    </a:cxn>
                    <a:cxn ang="0">
                      <a:pos x="24" y="168"/>
                    </a:cxn>
                    <a:cxn ang="0">
                      <a:pos x="13" y="151"/>
                    </a:cxn>
                    <a:cxn ang="0">
                      <a:pos x="6" y="133"/>
                    </a:cxn>
                    <a:cxn ang="0">
                      <a:pos x="1" y="113"/>
                    </a:cxn>
                  </a:cxnLst>
                  <a:rect l="0" t="0" r="r" b="b"/>
                  <a:pathLst>
                    <a:path w="206" h="205">
                      <a:moveTo>
                        <a:pt x="0" y="102"/>
                      </a:moveTo>
                      <a:lnTo>
                        <a:pt x="1" y="91"/>
                      </a:lnTo>
                      <a:lnTo>
                        <a:pt x="3" y="82"/>
                      </a:lnTo>
                      <a:lnTo>
                        <a:pt x="6" y="72"/>
                      </a:lnTo>
                      <a:lnTo>
                        <a:pt x="9" y="62"/>
                      </a:lnTo>
                      <a:lnTo>
                        <a:pt x="13" y="53"/>
                      </a:lnTo>
                      <a:lnTo>
                        <a:pt x="18" y="46"/>
                      </a:lnTo>
                      <a:lnTo>
                        <a:pt x="24" y="36"/>
                      </a:lnTo>
                      <a:lnTo>
                        <a:pt x="30" y="30"/>
                      </a:lnTo>
                      <a:lnTo>
                        <a:pt x="38" y="23"/>
                      </a:lnTo>
                      <a:lnTo>
                        <a:pt x="45" y="16"/>
                      </a:lnTo>
                      <a:lnTo>
                        <a:pt x="55" y="12"/>
                      </a:lnTo>
                      <a:lnTo>
                        <a:pt x="64" y="7"/>
                      </a:lnTo>
                      <a:lnTo>
                        <a:pt x="73" y="4"/>
                      </a:lnTo>
                      <a:lnTo>
                        <a:pt x="82" y="1"/>
                      </a:lnTo>
                      <a:lnTo>
                        <a:pt x="93" y="0"/>
                      </a:lnTo>
                      <a:lnTo>
                        <a:pt x="104" y="0"/>
                      </a:lnTo>
                      <a:lnTo>
                        <a:pt x="114" y="0"/>
                      </a:lnTo>
                      <a:lnTo>
                        <a:pt x="124" y="1"/>
                      </a:lnTo>
                      <a:lnTo>
                        <a:pt x="134" y="4"/>
                      </a:lnTo>
                      <a:lnTo>
                        <a:pt x="143" y="7"/>
                      </a:lnTo>
                      <a:lnTo>
                        <a:pt x="153" y="12"/>
                      </a:lnTo>
                      <a:lnTo>
                        <a:pt x="160" y="16"/>
                      </a:lnTo>
                      <a:lnTo>
                        <a:pt x="169" y="23"/>
                      </a:lnTo>
                      <a:lnTo>
                        <a:pt x="176" y="30"/>
                      </a:lnTo>
                      <a:lnTo>
                        <a:pt x="183" y="36"/>
                      </a:lnTo>
                      <a:lnTo>
                        <a:pt x="189" y="46"/>
                      </a:lnTo>
                      <a:lnTo>
                        <a:pt x="194" y="53"/>
                      </a:lnTo>
                      <a:lnTo>
                        <a:pt x="199" y="62"/>
                      </a:lnTo>
                      <a:lnTo>
                        <a:pt x="202" y="72"/>
                      </a:lnTo>
                      <a:lnTo>
                        <a:pt x="205" y="82"/>
                      </a:lnTo>
                      <a:lnTo>
                        <a:pt x="206" y="91"/>
                      </a:lnTo>
                      <a:lnTo>
                        <a:pt x="206" y="102"/>
                      </a:lnTo>
                      <a:lnTo>
                        <a:pt x="206" y="113"/>
                      </a:lnTo>
                      <a:lnTo>
                        <a:pt x="205" y="124"/>
                      </a:lnTo>
                      <a:lnTo>
                        <a:pt x="202" y="133"/>
                      </a:lnTo>
                      <a:lnTo>
                        <a:pt x="199" y="142"/>
                      </a:lnTo>
                      <a:lnTo>
                        <a:pt x="194" y="151"/>
                      </a:lnTo>
                      <a:lnTo>
                        <a:pt x="189" y="160"/>
                      </a:lnTo>
                      <a:lnTo>
                        <a:pt x="183" y="168"/>
                      </a:lnTo>
                      <a:lnTo>
                        <a:pt x="176" y="176"/>
                      </a:lnTo>
                      <a:lnTo>
                        <a:pt x="169" y="182"/>
                      </a:lnTo>
                      <a:lnTo>
                        <a:pt x="160" y="188"/>
                      </a:lnTo>
                      <a:lnTo>
                        <a:pt x="153" y="192"/>
                      </a:lnTo>
                      <a:lnTo>
                        <a:pt x="143" y="197"/>
                      </a:lnTo>
                      <a:lnTo>
                        <a:pt x="134" y="200"/>
                      </a:lnTo>
                      <a:lnTo>
                        <a:pt x="124" y="203"/>
                      </a:lnTo>
                      <a:lnTo>
                        <a:pt x="114" y="205"/>
                      </a:lnTo>
                      <a:lnTo>
                        <a:pt x="104" y="205"/>
                      </a:lnTo>
                      <a:lnTo>
                        <a:pt x="93" y="205"/>
                      </a:lnTo>
                      <a:lnTo>
                        <a:pt x="82" y="203"/>
                      </a:lnTo>
                      <a:lnTo>
                        <a:pt x="73" y="200"/>
                      </a:lnTo>
                      <a:lnTo>
                        <a:pt x="64" y="197"/>
                      </a:lnTo>
                      <a:lnTo>
                        <a:pt x="55" y="192"/>
                      </a:lnTo>
                      <a:lnTo>
                        <a:pt x="45" y="188"/>
                      </a:lnTo>
                      <a:lnTo>
                        <a:pt x="38" y="182"/>
                      </a:lnTo>
                      <a:lnTo>
                        <a:pt x="30" y="176"/>
                      </a:lnTo>
                      <a:lnTo>
                        <a:pt x="24" y="168"/>
                      </a:lnTo>
                      <a:lnTo>
                        <a:pt x="18" y="160"/>
                      </a:lnTo>
                      <a:lnTo>
                        <a:pt x="13" y="151"/>
                      </a:lnTo>
                      <a:lnTo>
                        <a:pt x="9" y="142"/>
                      </a:lnTo>
                      <a:lnTo>
                        <a:pt x="6" y="133"/>
                      </a:lnTo>
                      <a:lnTo>
                        <a:pt x="3" y="124"/>
                      </a:lnTo>
                      <a:lnTo>
                        <a:pt x="1" y="113"/>
                      </a:lnTo>
                      <a:lnTo>
                        <a:pt x="0" y="102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F5200946-43B4-4666-9E68-E74DF25AA482}"/>
              </a:ext>
            </a:extLst>
          </p:cNvPr>
          <p:cNvSpPr/>
          <p:nvPr/>
        </p:nvSpPr>
        <p:spPr>
          <a:xfrm>
            <a:off x="1998974" y="2773259"/>
            <a:ext cx="5565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900" b="1" cap="all" dirty="0"/>
              <a:t>Item 1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4FC51E1-E06F-486C-97BF-858EFEEEAC5F}"/>
              </a:ext>
            </a:extLst>
          </p:cNvPr>
          <p:cNvSpPr/>
          <p:nvPr/>
        </p:nvSpPr>
        <p:spPr>
          <a:xfrm>
            <a:off x="3388505" y="2928963"/>
            <a:ext cx="5565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b="1" cap="all" dirty="0">
                <a:solidFill>
                  <a:schemeClr val="accent4"/>
                </a:solidFill>
              </a:rPr>
              <a:t>Item 2</a:t>
            </a:r>
            <a:endParaRPr lang="fr-FR" sz="900" b="1" cap="all" dirty="0">
              <a:solidFill>
                <a:schemeClr val="accent4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79336677-23A3-448C-BAB7-86E6C6863AC9}"/>
              </a:ext>
            </a:extLst>
          </p:cNvPr>
          <p:cNvSpPr/>
          <p:nvPr/>
        </p:nvSpPr>
        <p:spPr>
          <a:xfrm>
            <a:off x="4217760" y="3452505"/>
            <a:ext cx="165038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cap="all" dirty="0">
                <a:solidFill>
                  <a:schemeClr val="accent3"/>
                </a:solidFill>
              </a:rPr>
              <a:t>Item 3</a:t>
            </a:r>
            <a:endParaRPr lang="fr-FR" sz="900" b="1" cap="all" dirty="0">
              <a:solidFill>
                <a:schemeClr val="accent3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6ECA9D8E-A67D-4D3C-8676-370EE07EAE3C}"/>
              </a:ext>
            </a:extLst>
          </p:cNvPr>
          <p:cNvSpPr/>
          <p:nvPr/>
        </p:nvSpPr>
        <p:spPr>
          <a:xfrm>
            <a:off x="6126310" y="3800833"/>
            <a:ext cx="5565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900" b="1" cap="all" dirty="0">
                <a:solidFill>
                  <a:schemeClr val="accent5"/>
                </a:solidFill>
              </a:rPr>
              <a:t>Item 4</a:t>
            </a:r>
          </a:p>
        </p:txBody>
      </p: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xmlns="" id="{67B353BA-0D5E-4E3F-9E5B-D73777C49BC3}"/>
              </a:ext>
            </a:extLst>
          </p:cNvPr>
          <p:cNvCxnSpPr>
            <a:cxnSpLocks/>
          </p:cNvCxnSpPr>
          <p:nvPr/>
        </p:nvCxnSpPr>
        <p:spPr>
          <a:xfrm>
            <a:off x="539553" y="3142591"/>
            <a:ext cx="2173077" cy="0"/>
          </a:xfrm>
          <a:prstGeom prst="line">
            <a:avLst/>
          </a:prstGeom>
          <a:ln w="31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xmlns="" id="{3A988510-D7D1-451C-9C2D-A3791689FEFA}"/>
              </a:ext>
            </a:extLst>
          </p:cNvPr>
          <p:cNvCxnSpPr>
            <a:cxnSpLocks/>
          </p:cNvCxnSpPr>
          <p:nvPr/>
        </p:nvCxnSpPr>
        <p:spPr>
          <a:xfrm flipV="1">
            <a:off x="1907704" y="3299619"/>
            <a:ext cx="2176140" cy="3439"/>
          </a:xfrm>
          <a:prstGeom prst="line">
            <a:avLst/>
          </a:prstGeom>
          <a:ln w="31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xmlns="" id="{D5064251-20A1-4BCE-BC4D-1AA97910B081}"/>
              </a:ext>
            </a:extLst>
          </p:cNvPr>
          <p:cNvCxnSpPr>
            <a:cxnSpLocks/>
          </p:cNvCxnSpPr>
          <p:nvPr/>
        </p:nvCxnSpPr>
        <p:spPr>
          <a:xfrm flipV="1">
            <a:off x="3242183" y="3833019"/>
            <a:ext cx="2210881" cy="402"/>
          </a:xfrm>
          <a:prstGeom prst="line">
            <a:avLst/>
          </a:prstGeom>
          <a:ln w="31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xmlns="" id="{10B80EE5-B256-423B-ABD1-76BB616FF2B5}"/>
              </a:ext>
            </a:extLst>
          </p:cNvPr>
          <p:cNvCxnSpPr>
            <a:cxnSpLocks/>
          </p:cNvCxnSpPr>
          <p:nvPr/>
        </p:nvCxnSpPr>
        <p:spPr>
          <a:xfrm>
            <a:off x="4641628" y="4186834"/>
            <a:ext cx="2196295" cy="0"/>
          </a:xfrm>
          <a:prstGeom prst="line">
            <a:avLst/>
          </a:prstGeom>
          <a:ln w="31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space réservé du contenu 8">
            <a:extLst>
              <a:ext uri="{FF2B5EF4-FFF2-40B4-BE49-F238E27FC236}">
                <a16:creationId xmlns:a16="http://schemas.microsoft.com/office/drawing/2014/main" xmlns="" id="{973DDF35-1D80-4C4C-8BCF-25B57786EC92}"/>
              </a:ext>
            </a:extLst>
          </p:cNvPr>
          <p:cNvSpPr txBox="1">
            <a:spLocks/>
          </p:cNvSpPr>
          <p:nvPr/>
        </p:nvSpPr>
        <p:spPr bwMode="gray">
          <a:xfrm>
            <a:off x="503708" y="4198877"/>
            <a:ext cx="791768" cy="143116"/>
          </a:xfrm>
          <a:prstGeom prst="rect">
            <a:avLst/>
          </a:prstGeom>
        </p:spPr>
        <p:txBody>
          <a:bodyPr vert="horz" wrap="square" lIns="72000" tIns="0" rIns="0" bIns="0" rtlCol="0" anchor="t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000" kern="0" dirty="0">
                <a:solidFill>
                  <a:schemeClr val="bg1"/>
                </a:solidFill>
              </a:rPr>
              <a:t>tCO</a:t>
            </a:r>
            <a:r>
              <a:rPr lang="en-US" sz="1000" kern="0" baseline="-25000" dirty="0">
                <a:solidFill>
                  <a:schemeClr val="bg1"/>
                </a:solidFill>
              </a:rPr>
              <a:t>2</a:t>
            </a:r>
            <a:r>
              <a:rPr lang="en-US" sz="1000" kern="0" dirty="0">
                <a:solidFill>
                  <a:schemeClr val="bg1"/>
                </a:solidFill>
              </a:rPr>
              <a:t>e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3256848A-4BA0-4A6A-8EC2-FA50F77C7D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0079" y="2279736"/>
            <a:ext cx="500197" cy="516748"/>
            <a:chOff x="2781" y="376"/>
            <a:chExt cx="544" cy="562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9DE2E1DF-8E69-48F8-8F00-38EFE9EB6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447"/>
              <a:ext cx="58" cy="58"/>
            </a:xfrm>
            <a:custGeom>
              <a:avLst/>
              <a:gdLst>
                <a:gd name="T0" fmla="*/ 26 w 28"/>
                <a:gd name="T1" fmla="*/ 0 h 28"/>
                <a:gd name="T2" fmla="*/ 2 w 28"/>
                <a:gd name="T3" fmla="*/ 0 h 28"/>
                <a:gd name="T4" fmla="*/ 0 w 28"/>
                <a:gd name="T5" fmla="*/ 2 h 28"/>
                <a:gd name="T6" fmla="*/ 0 w 28"/>
                <a:gd name="T7" fmla="*/ 26 h 28"/>
                <a:gd name="T8" fmla="*/ 2 w 28"/>
                <a:gd name="T9" fmla="*/ 28 h 28"/>
                <a:gd name="T10" fmla="*/ 26 w 28"/>
                <a:gd name="T11" fmla="*/ 28 h 28"/>
                <a:gd name="T12" fmla="*/ 28 w 28"/>
                <a:gd name="T13" fmla="*/ 26 h 28"/>
                <a:gd name="T14" fmla="*/ 28 w 28"/>
                <a:gd name="T15" fmla="*/ 3 h 28"/>
                <a:gd name="T16" fmla="*/ 26 w 28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8"/>
                    <a:pt x="28" y="27"/>
                    <a:pt x="28" y="2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4D5A9D70-7837-4CFF-99F9-A7CDF5105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2" y="447"/>
              <a:ext cx="68" cy="60"/>
            </a:xfrm>
            <a:custGeom>
              <a:avLst/>
              <a:gdLst>
                <a:gd name="T0" fmla="*/ 3 w 33"/>
                <a:gd name="T1" fmla="*/ 29 h 29"/>
                <a:gd name="T2" fmla="*/ 30 w 33"/>
                <a:gd name="T3" fmla="*/ 29 h 29"/>
                <a:gd name="T4" fmla="*/ 33 w 33"/>
                <a:gd name="T5" fmla="*/ 26 h 29"/>
                <a:gd name="T6" fmla="*/ 33 w 33"/>
                <a:gd name="T7" fmla="*/ 3 h 29"/>
                <a:gd name="T8" fmla="*/ 30 w 33"/>
                <a:gd name="T9" fmla="*/ 0 h 29"/>
                <a:gd name="T10" fmla="*/ 6 w 33"/>
                <a:gd name="T11" fmla="*/ 0 h 29"/>
                <a:gd name="T12" fmla="*/ 3 w 33"/>
                <a:gd name="T13" fmla="*/ 2 h 29"/>
                <a:gd name="T14" fmla="*/ 0 w 33"/>
                <a:gd name="T15" fmla="*/ 26 h 29"/>
                <a:gd name="T16" fmla="*/ 3 w 33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9">
                  <a:moveTo>
                    <a:pt x="3" y="29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1" y="29"/>
                    <a:pt x="33" y="27"/>
                    <a:pt x="33" y="26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"/>
                    <a:pt x="31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3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9"/>
                    <a:pt x="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AF1A9A00-02CA-46D5-AACD-A796C3967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525"/>
              <a:ext cx="58" cy="61"/>
            </a:xfrm>
            <a:custGeom>
              <a:avLst/>
              <a:gdLst>
                <a:gd name="T0" fmla="*/ 28 w 28"/>
                <a:gd name="T1" fmla="*/ 27 h 29"/>
                <a:gd name="T2" fmla="*/ 28 w 28"/>
                <a:gd name="T3" fmla="*/ 3 h 29"/>
                <a:gd name="T4" fmla="*/ 26 w 28"/>
                <a:gd name="T5" fmla="*/ 0 h 29"/>
                <a:gd name="T6" fmla="*/ 2 w 28"/>
                <a:gd name="T7" fmla="*/ 0 h 29"/>
                <a:gd name="T8" fmla="*/ 0 w 28"/>
                <a:gd name="T9" fmla="*/ 3 h 29"/>
                <a:gd name="T10" fmla="*/ 0 w 28"/>
                <a:gd name="T11" fmla="*/ 27 h 29"/>
                <a:gd name="T12" fmla="*/ 2 w 28"/>
                <a:gd name="T13" fmla="*/ 29 h 29"/>
                <a:gd name="T14" fmla="*/ 26 w 28"/>
                <a:gd name="T15" fmla="*/ 29 h 29"/>
                <a:gd name="T16" fmla="*/ 28 w 28"/>
                <a:gd name="T17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27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7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7" y="29"/>
                    <a:pt x="28" y="28"/>
                    <a:pt x="2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ABE05C18-5E71-4863-82FA-399F50D58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376"/>
              <a:ext cx="58" cy="50"/>
            </a:xfrm>
            <a:custGeom>
              <a:avLst/>
              <a:gdLst>
                <a:gd name="T0" fmla="*/ 3 w 28"/>
                <a:gd name="T1" fmla="*/ 24 h 24"/>
                <a:gd name="T2" fmla="*/ 25 w 28"/>
                <a:gd name="T3" fmla="*/ 24 h 24"/>
                <a:gd name="T4" fmla="*/ 28 w 28"/>
                <a:gd name="T5" fmla="*/ 21 h 24"/>
                <a:gd name="T6" fmla="*/ 26 w 28"/>
                <a:gd name="T7" fmla="*/ 3 h 24"/>
                <a:gd name="T8" fmla="*/ 23 w 28"/>
                <a:gd name="T9" fmla="*/ 0 h 24"/>
                <a:gd name="T10" fmla="*/ 3 w 28"/>
                <a:gd name="T11" fmla="*/ 0 h 24"/>
                <a:gd name="T12" fmla="*/ 0 w 28"/>
                <a:gd name="T13" fmla="*/ 3 h 24"/>
                <a:gd name="T14" fmla="*/ 0 w 28"/>
                <a:gd name="T15" fmla="*/ 21 h 24"/>
                <a:gd name="T16" fmla="*/ 3 w 28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4">
                  <a:moveTo>
                    <a:pt x="3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7" y="24"/>
                    <a:pt x="28" y="23"/>
                    <a:pt x="28" y="2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1"/>
                    <a:pt x="25" y="0"/>
                    <a:pt x="2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1" y="24"/>
                    <a:pt x="3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7AC0FD26-80A5-4D47-9C95-5D21F59DB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376"/>
              <a:ext cx="60" cy="50"/>
            </a:xfrm>
            <a:custGeom>
              <a:avLst/>
              <a:gdLst>
                <a:gd name="T0" fmla="*/ 29 w 29"/>
                <a:gd name="T1" fmla="*/ 21 h 24"/>
                <a:gd name="T2" fmla="*/ 29 w 29"/>
                <a:gd name="T3" fmla="*/ 3 h 24"/>
                <a:gd name="T4" fmla="*/ 26 w 29"/>
                <a:gd name="T5" fmla="*/ 0 h 24"/>
                <a:gd name="T6" fmla="*/ 5 w 29"/>
                <a:gd name="T7" fmla="*/ 0 h 24"/>
                <a:gd name="T8" fmla="*/ 3 w 29"/>
                <a:gd name="T9" fmla="*/ 3 h 24"/>
                <a:gd name="T10" fmla="*/ 1 w 29"/>
                <a:gd name="T11" fmla="*/ 21 h 24"/>
                <a:gd name="T12" fmla="*/ 3 w 29"/>
                <a:gd name="T13" fmla="*/ 24 h 24"/>
                <a:gd name="T14" fmla="*/ 26 w 29"/>
                <a:gd name="T15" fmla="*/ 24 h 24"/>
                <a:gd name="T16" fmla="*/ 29 w 29"/>
                <a:gd name="T1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4">
                  <a:moveTo>
                    <a:pt x="29" y="21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0"/>
                    <a:pt x="2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3" y="3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3"/>
                    <a:pt x="2" y="24"/>
                    <a:pt x="3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8" y="24"/>
                    <a:pt x="29" y="23"/>
                    <a:pt x="2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ED74511C-B606-4F8A-8892-C376C1B1C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525"/>
              <a:ext cx="77" cy="61"/>
            </a:xfrm>
            <a:custGeom>
              <a:avLst/>
              <a:gdLst>
                <a:gd name="T0" fmla="*/ 32 w 37"/>
                <a:gd name="T1" fmla="*/ 0 h 29"/>
                <a:gd name="T2" fmla="*/ 3 w 37"/>
                <a:gd name="T3" fmla="*/ 0 h 29"/>
                <a:gd name="T4" fmla="*/ 0 w 37"/>
                <a:gd name="T5" fmla="*/ 3 h 29"/>
                <a:gd name="T6" fmla="*/ 0 w 37"/>
                <a:gd name="T7" fmla="*/ 26 h 29"/>
                <a:gd name="T8" fmla="*/ 3 w 37"/>
                <a:gd name="T9" fmla="*/ 29 h 29"/>
                <a:gd name="T10" fmla="*/ 35 w 37"/>
                <a:gd name="T11" fmla="*/ 29 h 29"/>
                <a:gd name="T12" fmla="*/ 37 w 37"/>
                <a:gd name="T13" fmla="*/ 26 h 29"/>
                <a:gd name="T14" fmla="*/ 34 w 37"/>
                <a:gd name="T15" fmla="*/ 2 h 29"/>
                <a:gd name="T16" fmla="*/ 32 w 37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9">
                  <a:moveTo>
                    <a:pt x="3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1" y="29"/>
                    <a:pt x="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7" y="28"/>
                    <a:pt x="37" y="26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5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7BEDF968-E195-43D2-9447-4728B9D9A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" y="525"/>
              <a:ext cx="79" cy="61"/>
            </a:xfrm>
            <a:custGeom>
              <a:avLst/>
              <a:gdLst>
                <a:gd name="T0" fmla="*/ 35 w 38"/>
                <a:gd name="T1" fmla="*/ 0 h 29"/>
                <a:gd name="T2" fmla="*/ 6 w 38"/>
                <a:gd name="T3" fmla="*/ 0 h 29"/>
                <a:gd name="T4" fmla="*/ 3 w 38"/>
                <a:gd name="T5" fmla="*/ 3 h 29"/>
                <a:gd name="T6" fmla="*/ 1 w 38"/>
                <a:gd name="T7" fmla="*/ 26 h 29"/>
                <a:gd name="T8" fmla="*/ 3 w 38"/>
                <a:gd name="T9" fmla="*/ 29 h 29"/>
                <a:gd name="T10" fmla="*/ 35 w 38"/>
                <a:gd name="T11" fmla="*/ 29 h 29"/>
                <a:gd name="T12" fmla="*/ 38 w 38"/>
                <a:gd name="T13" fmla="*/ 27 h 29"/>
                <a:gd name="T14" fmla="*/ 38 w 38"/>
                <a:gd name="T15" fmla="*/ 3 h 29"/>
                <a:gd name="T16" fmla="*/ 35 w 38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9">
                  <a:moveTo>
                    <a:pt x="3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8"/>
                    <a:pt x="2" y="29"/>
                    <a:pt x="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8" y="28"/>
                    <a:pt x="38" y="27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1"/>
                    <a:pt x="37" y="0"/>
                    <a:pt x="3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2CD57B5E-EA6F-4E7E-959E-119B5EAF4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376"/>
              <a:ext cx="58" cy="50"/>
            </a:xfrm>
            <a:custGeom>
              <a:avLst/>
              <a:gdLst>
                <a:gd name="T0" fmla="*/ 0 w 28"/>
                <a:gd name="T1" fmla="*/ 3 h 24"/>
                <a:gd name="T2" fmla="*/ 0 w 28"/>
                <a:gd name="T3" fmla="*/ 21 h 24"/>
                <a:gd name="T4" fmla="*/ 2 w 28"/>
                <a:gd name="T5" fmla="*/ 24 h 24"/>
                <a:gd name="T6" fmla="*/ 26 w 28"/>
                <a:gd name="T7" fmla="*/ 24 h 24"/>
                <a:gd name="T8" fmla="*/ 28 w 28"/>
                <a:gd name="T9" fmla="*/ 21 h 24"/>
                <a:gd name="T10" fmla="*/ 28 w 28"/>
                <a:gd name="T11" fmla="*/ 3 h 24"/>
                <a:gd name="T12" fmla="*/ 26 w 28"/>
                <a:gd name="T13" fmla="*/ 0 h 24"/>
                <a:gd name="T14" fmla="*/ 2 w 28"/>
                <a:gd name="T15" fmla="*/ 0 h 24"/>
                <a:gd name="T16" fmla="*/ 0 w 28"/>
                <a:gd name="T1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4">
                  <a:moveTo>
                    <a:pt x="0" y="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1" y="24"/>
                    <a:pt x="2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3"/>
                    <a:pt x="28" y="2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7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9BD4EA5B-CEF4-471C-A1E5-4FCFD3660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447"/>
              <a:ext cx="68" cy="58"/>
            </a:xfrm>
            <a:custGeom>
              <a:avLst/>
              <a:gdLst>
                <a:gd name="T0" fmla="*/ 27 w 33"/>
                <a:gd name="T1" fmla="*/ 0 h 28"/>
                <a:gd name="T2" fmla="*/ 3 w 33"/>
                <a:gd name="T3" fmla="*/ 0 h 28"/>
                <a:gd name="T4" fmla="*/ 0 w 33"/>
                <a:gd name="T5" fmla="*/ 2 h 28"/>
                <a:gd name="T6" fmla="*/ 0 w 33"/>
                <a:gd name="T7" fmla="*/ 26 h 28"/>
                <a:gd name="T8" fmla="*/ 3 w 33"/>
                <a:gd name="T9" fmla="*/ 28 h 28"/>
                <a:gd name="T10" fmla="*/ 30 w 33"/>
                <a:gd name="T11" fmla="*/ 28 h 28"/>
                <a:gd name="T12" fmla="*/ 33 w 33"/>
                <a:gd name="T13" fmla="*/ 25 h 28"/>
                <a:gd name="T14" fmla="*/ 30 w 33"/>
                <a:gd name="T15" fmla="*/ 2 h 28"/>
                <a:gd name="T16" fmla="*/ 27 w 33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8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2" y="28"/>
                    <a:pt x="33" y="27"/>
                    <a:pt x="33" y="25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468EDFFB-1BF9-48E6-85A4-1D0A2685E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0" y="407"/>
              <a:ext cx="415" cy="531"/>
            </a:xfrm>
            <a:custGeom>
              <a:avLst/>
              <a:gdLst>
                <a:gd name="T0" fmla="*/ 80 w 200"/>
                <a:gd name="T1" fmla="*/ 100 h 256"/>
                <a:gd name="T2" fmla="*/ 83 w 200"/>
                <a:gd name="T3" fmla="*/ 56 h 256"/>
                <a:gd name="T4" fmla="*/ 87 w 200"/>
                <a:gd name="T5" fmla="*/ 21 h 256"/>
                <a:gd name="T6" fmla="*/ 90 w 200"/>
                <a:gd name="T7" fmla="*/ 9 h 256"/>
                <a:gd name="T8" fmla="*/ 100 w 200"/>
                <a:gd name="T9" fmla="*/ 0 h 256"/>
                <a:gd name="T10" fmla="*/ 110 w 200"/>
                <a:gd name="T11" fmla="*/ 9 h 256"/>
                <a:gd name="T12" fmla="*/ 113 w 200"/>
                <a:gd name="T13" fmla="*/ 21 h 256"/>
                <a:gd name="T14" fmla="*/ 117 w 200"/>
                <a:gd name="T15" fmla="*/ 56 h 256"/>
                <a:gd name="T16" fmla="*/ 120 w 200"/>
                <a:gd name="T17" fmla="*/ 100 h 256"/>
                <a:gd name="T18" fmla="*/ 157 w 200"/>
                <a:gd name="T19" fmla="*/ 125 h 256"/>
                <a:gd name="T20" fmla="*/ 185 w 200"/>
                <a:gd name="T21" fmla="*/ 145 h 256"/>
                <a:gd name="T22" fmla="*/ 194 w 200"/>
                <a:gd name="T23" fmla="*/ 154 h 256"/>
                <a:gd name="T24" fmla="*/ 197 w 200"/>
                <a:gd name="T25" fmla="*/ 168 h 256"/>
                <a:gd name="T26" fmla="*/ 184 w 200"/>
                <a:gd name="T27" fmla="*/ 172 h 256"/>
                <a:gd name="T28" fmla="*/ 172 w 200"/>
                <a:gd name="T29" fmla="*/ 168 h 256"/>
                <a:gd name="T30" fmla="*/ 140 w 200"/>
                <a:gd name="T31" fmla="*/ 154 h 256"/>
                <a:gd name="T32" fmla="*/ 100 w 200"/>
                <a:gd name="T33" fmla="*/ 134 h 256"/>
                <a:gd name="T34" fmla="*/ 60 w 200"/>
                <a:gd name="T35" fmla="*/ 154 h 256"/>
                <a:gd name="T36" fmla="*/ 28 w 200"/>
                <a:gd name="T37" fmla="*/ 168 h 256"/>
                <a:gd name="T38" fmla="*/ 16 w 200"/>
                <a:gd name="T39" fmla="*/ 172 h 256"/>
                <a:gd name="T40" fmla="*/ 3 w 200"/>
                <a:gd name="T41" fmla="*/ 168 h 256"/>
                <a:gd name="T42" fmla="*/ 6 w 200"/>
                <a:gd name="T43" fmla="*/ 154 h 256"/>
                <a:gd name="T44" fmla="*/ 15 w 200"/>
                <a:gd name="T45" fmla="*/ 145 h 256"/>
                <a:gd name="T46" fmla="*/ 43 w 200"/>
                <a:gd name="T47" fmla="*/ 125 h 256"/>
                <a:gd name="T48" fmla="*/ 80 w 200"/>
                <a:gd name="T49" fmla="*/ 100 h 256"/>
                <a:gd name="T50" fmla="*/ 100 w 200"/>
                <a:gd name="T51" fmla="*/ 124 h 256"/>
                <a:gd name="T52" fmla="*/ 112 w 200"/>
                <a:gd name="T53" fmla="*/ 112 h 256"/>
                <a:gd name="T54" fmla="*/ 100 w 200"/>
                <a:gd name="T55" fmla="*/ 100 h 256"/>
                <a:gd name="T56" fmla="*/ 88 w 200"/>
                <a:gd name="T57" fmla="*/ 112 h 256"/>
                <a:gd name="T58" fmla="*/ 100 w 200"/>
                <a:gd name="T59" fmla="*/ 124 h 256"/>
                <a:gd name="T60" fmla="*/ 76 w 200"/>
                <a:gd name="T61" fmla="*/ 256 h 256"/>
                <a:gd name="T62" fmla="*/ 83 w 200"/>
                <a:gd name="T63" fmla="*/ 156 h 256"/>
                <a:gd name="T64" fmla="*/ 100 w 200"/>
                <a:gd name="T65" fmla="*/ 148 h 256"/>
                <a:gd name="T66" fmla="*/ 117 w 200"/>
                <a:gd name="T67" fmla="*/ 156 h 256"/>
                <a:gd name="T68" fmla="*/ 124 w 200"/>
                <a:gd name="T69" fmla="*/ 256 h 256"/>
                <a:gd name="T70" fmla="*/ 125 w 200"/>
                <a:gd name="T71" fmla="*/ 256 h 256"/>
                <a:gd name="T72" fmla="*/ 76 w 200"/>
                <a:gd name="T73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0" h="256">
                  <a:moveTo>
                    <a:pt x="80" y="100"/>
                  </a:moveTo>
                  <a:cubicBezTo>
                    <a:pt x="81" y="88"/>
                    <a:pt x="82" y="70"/>
                    <a:pt x="83" y="56"/>
                  </a:cubicBezTo>
                  <a:cubicBezTo>
                    <a:pt x="84" y="42"/>
                    <a:pt x="85" y="30"/>
                    <a:pt x="87" y="21"/>
                  </a:cubicBezTo>
                  <a:cubicBezTo>
                    <a:pt x="88" y="16"/>
                    <a:pt x="89" y="12"/>
                    <a:pt x="90" y="9"/>
                  </a:cubicBezTo>
                  <a:cubicBezTo>
                    <a:pt x="92" y="3"/>
                    <a:pt x="94" y="0"/>
                    <a:pt x="100" y="0"/>
                  </a:cubicBezTo>
                  <a:cubicBezTo>
                    <a:pt x="106" y="0"/>
                    <a:pt x="108" y="3"/>
                    <a:pt x="110" y="9"/>
                  </a:cubicBezTo>
                  <a:cubicBezTo>
                    <a:pt x="111" y="12"/>
                    <a:pt x="112" y="16"/>
                    <a:pt x="113" y="21"/>
                  </a:cubicBezTo>
                  <a:cubicBezTo>
                    <a:pt x="115" y="30"/>
                    <a:pt x="116" y="42"/>
                    <a:pt x="117" y="56"/>
                  </a:cubicBezTo>
                  <a:cubicBezTo>
                    <a:pt x="118" y="70"/>
                    <a:pt x="119" y="88"/>
                    <a:pt x="120" y="100"/>
                  </a:cubicBezTo>
                  <a:cubicBezTo>
                    <a:pt x="130" y="107"/>
                    <a:pt x="145" y="117"/>
                    <a:pt x="157" y="125"/>
                  </a:cubicBezTo>
                  <a:cubicBezTo>
                    <a:pt x="169" y="133"/>
                    <a:pt x="178" y="140"/>
                    <a:pt x="185" y="145"/>
                  </a:cubicBezTo>
                  <a:cubicBezTo>
                    <a:pt x="189" y="149"/>
                    <a:pt x="192" y="151"/>
                    <a:pt x="194" y="154"/>
                  </a:cubicBezTo>
                  <a:cubicBezTo>
                    <a:pt x="198" y="159"/>
                    <a:pt x="200" y="162"/>
                    <a:pt x="197" y="168"/>
                  </a:cubicBezTo>
                  <a:cubicBezTo>
                    <a:pt x="194" y="173"/>
                    <a:pt x="190" y="173"/>
                    <a:pt x="184" y="172"/>
                  </a:cubicBezTo>
                  <a:cubicBezTo>
                    <a:pt x="180" y="171"/>
                    <a:pt x="176" y="170"/>
                    <a:pt x="172" y="168"/>
                  </a:cubicBezTo>
                  <a:cubicBezTo>
                    <a:pt x="163" y="165"/>
                    <a:pt x="153" y="160"/>
                    <a:pt x="140" y="154"/>
                  </a:cubicBezTo>
                  <a:cubicBezTo>
                    <a:pt x="127" y="148"/>
                    <a:pt x="111" y="140"/>
                    <a:pt x="100" y="134"/>
                  </a:cubicBezTo>
                  <a:cubicBezTo>
                    <a:pt x="89" y="140"/>
                    <a:pt x="73" y="148"/>
                    <a:pt x="60" y="154"/>
                  </a:cubicBezTo>
                  <a:cubicBezTo>
                    <a:pt x="47" y="160"/>
                    <a:pt x="37" y="165"/>
                    <a:pt x="28" y="168"/>
                  </a:cubicBezTo>
                  <a:cubicBezTo>
                    <a:pt x="24" y="170"/>
                    <a:pt x="20" y="171"/>
                    <a:pt x="16" y="172"/>
                  </a:cubicBezTo>
                  <a:cubicBezTo>
                    <a:pt x="10" y="173"/>
                    <a:pt x="6" y="173"/>
                    <a:pt x="3" y="168"/>
                  </a:cubicBezTo>
                  <a:cubicBezTo>
                    <a:pt x="0" y="162"/>
                    <a:pt x="2" y="159"/>
                    <a:pt x="6" y="154"/>
                  </a:cubicBezTo>
                  <a:cubicBezTo>
                    <a:pt x="8" y="151"/>
                    <a:pt x="11" y="149"/>
                    <a:pt x="15" y="145"/>
                  </a:cubicBezTo>
                  <a:cubicBezTo>
                    <a:pt x="22" y="140"/>
                    <a:pt x="31" y="133"/>
                    <a:pt x="43" y="125"/>
                  </a:cubicBezTo>
                  <a:cubicBezTo>
                    <a:pt x="55" y="117"/>
                    <a:pt x="70" y="107"/>
                    <a:pt x="80" y="100"/>
                  </a:cubicBezTo>
                  <a:close/>
                  <a:moveTo>
                    <a:pt x="100" y="124"/>
                  </a:moveTo>
                  <a:cubicBezTo>
                    <a:pt x="107" y="124"/>
                    <a:pt x="112" y="118"/>
                    <a:pt x="112" y="112"/>
                  </a:cubicBezTo>
                  <a:cubicBezTo>
                    <a:pt x="112" y="105"/>
                    <a:pt x="107" y="100"/>
                    <a:pt x="100" y="100"/>
                  </a:cubicBezTo>
                  <a:cubicBezTo>
                    <a:pt x="93" y="100"/>
                    <a:pt x="88" y="105"/>
                    <a:pt x="88" y="112"/>
                  </a:cubicBezTo>
                  <a:cubicBezTo>
                    <a:pt x="88" y="118"/>
                    <a:pt x="93" y="124"/>
                    <a:pt x="100" y="124"/>
                  </a:cubicBezTo>
                  <a:close/>
                  <a:moveTo>
                    <a:pt x="76" y="256"/>
                  </a:moveTo>
                  <a:cubicBezTo>
                    <a:pt x="83" y="156"/>
                    <a:pt x="83" y="156"/>
                    <a:pt x="83" y="156"/>
                  </a:cubicBezTo>
                  <a:cubicBezTo>
                    <a:pt x="89" y="153"/>
                    <a:pt x="95" y="151"/>
                    <a:pt x="100" y="148"/>
                  </a:cubicBezTo>
                  <a:cubicBezTo>
                    <a:pt x="105" y="151"/>
                    <a:pt x="111" y="153"/>
                    <a:pt x="117" y="1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5" y="256"/>
                    <a:pt x="125" y="256"/>
                    <a:pt x="125" y="256"/>
                  </a:cubicBezTo>
                  <a:lnTo>
                    <a:pt x="76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65" name="Espace réservé de la date 7">
            <a:extLst>
              <a:ext uri="{FF2B5EF4-FFF2-40B4-BE49-F238E27FC236}">
                <a16:creationId xmlns:a16="http://schemas.microsoft.com/office/drawing/2014/main" xmlns="" id="{AC626B69-9138-467B-864E-5A47FDE3F0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66" name="Espace réservé du pied de page 9">
            <a:extLst>
              <a:ext uri="{FF2B5EF4-FFF2-40B4-BE49-F238E27FC236}">
                <a16:creationId xmlns:a16="http://schemas.microsoft.com/office/drawing/2014/main" xmlns="" id="{94A1F878-9A16-4EF9-BC94-DEB1596D80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427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xmlns="" id="{FA0FC22D-931F-4BE6-8D96-84F81D638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RAPH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B1D784B-74DF-4FF4-9AE1-6689BEB1D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5376B671-2ACF-45B4-9D05-A0558049212F}"/>
              </a:ext>
            </a:extLst>
          </p:cNvPr>
          <p:cNvSpPr>
            <a:spLocks noEditPoints="1"/>
          </p:cNvSpPr>
          <p:nvPr/>
        </p:nvSpPr>
        <p:spPr bwMode="auto">
          <a:xfrm>
            <a:off x="8258821" y="1154785"/>
            <a:ext cx="460947" cy="439091"/>
          </a:xfrm>
          <a:custGeom>
            <a:avLst/>
            <a:gdLst>
              <a:gd name="T0" fmla="*/ 168 w 336"/>
              <a:gd name="T1" fmla="*/ 0 h 320"/>
              <a:gd name="T2" fmla="*/ 96 w 336"/>
              <a:gd name="T3" fmla="*/ 71 h 320"/>
              <a:gd name="T4" fmla="*/ 102 w 336"/>
              <a:gd name="T5" fmla="*/ 102 h 320"/>
              <a:gd name="T6" fmla="*/ 168 w 336"/>
              <a:gd name="T7" fmla="*/ 240 h 320"/>
              <a:gd name="T8" fmla="*/ 234 w 336"/>
              <a:gd name="T9" fmla="*/ 102 h 320"/>
              <a:gd name="T10" fmla="*/ 240 w 336"/>
              <a:gd name="T11" fmla="*/ 71 h 320"/>
              <a:gd name="T12" fmla="*/ 168 w 336"/>
              <a:gd name="T13" fmla="*/ 0 h 320"/>
              <a:gd name="T14" fmla="*/ 168 w 336"/>
              <a:gd name="T15" fmla="*/ 36 h 320"/>
              <a:gd name="T16" fmla="*/ 204 w 336"/>
              <a:gd name="T17" fmla="*/ 72 h 320"/>
              <a:gd name="T18" fmla="*/ 168 w 336"/>
              <a:gd name="T19" fmla="*/ 108 h 320"/>
              <a:gd name="T20" fmla="*/ 132 w 336"/>
              <a:gd name="T21" fmla="*/ 72 h 320"/>
              <a:gd name="T22" fmla="*/ 168 w 336"/>
              <a:gd name="T23" fmla="*/ 36 h 320"/>
              <a:gd name="T24" fmla="*/ 34 w 336"/>
              <a:gd name="T25" fmla="*/ 160 h 320"/>
              <a:gd name="T26" fmla="*/ 96 w 336"/>
              <a:gd name="T27" fmla="*/ 238 h 320"/>
              <a:gd name="T28" fmla="*/ 134 w 336"/>
              <a:gd name="T29" fmla="*/ 206 h 320"/>
              <a:gd name="T30" fmla="*/ 112 w 336"/>
              <a:gd name="T31" fmla="*/ 160 h 320"/>
              <a:gd name="T32" fmla="*/ 34 w 336"/>
              <a:gd name="T33" fmla="*/ 160 h 320"/>
              <a:gd name="T34" fmla="*/ 224 w 336"/>
              <a:gd name="T35" fmla="*/ 160 h 320"/>
              <a:gd name="T36" fmla="*/ 206 w 336"/>
              <a:gd name="T37" fmla="*/ 200 h 320"/>
              <a:gd name="T38" fmla="*/ 318 w 336"/>
              <a:gd name="T39" fmla="*/ 200 h 320"/>
              <a:gd name="T40" fmla="*/ 312 w 336"/>
              <a:gd name="T41" fmla="*/ 160 h 320"/>
              <a:gd name="T42" fmla="*/ 224 w 336"/>
              <a:gd name="T43" fmla="*/ 160 h 320"/>
              <a:gd name="T44" fmla="*/ 22 w 336"/>
              <a:gd name="T45" fmla="*/ 171 h 320"/>
              <a:gd name="T46" fmla="*/ 0 w 336"/>
              <a:gd name="T47" fmla="*/ 320 h 320"/>
              <a:gd name="T48" fmla="*/ 141 w 336"/>
              <a:gd name="T49" fmla="*/ 320 h 320"/>
              <a:gd name="T50" fmla="*/ 22 w 336"/>
              <a:gd name="T51" fmla="*/ 171 h 320"/>
              <a:gd name="T52" fmla="*/ 320 w 336"/>
              <a:gd name="T53" fmla="*/ 213 h 320"/>
              <a:gd name="T54" fmla="*/ 320 w 336"/>
              <a:gd name="T55" fmla="*/ 216 h 320"/>
              <a:gd name="T56" fmla="*/ 219 w 336"/>
              <a:gd name="T57" fmla="*/ 216 h 320"/>
              <a:gd name="T58" fmla="*/ 251 w 336"/>
              <a:gd name="T59" fmla="*/ 256 h 320"/>
              <a:gd name="T60" fmla="*/ 326 w 336"/>
              <a:gd name="T61" fmla="*/ 256 h 320"/>
              <a:gd name="T62" fmla="*/ 320 w 336"/>
              <a:gd name="T63" fmla="*/ 213 h 320"/>
              <a:gd name="T64" fmla="*/ 198 w 336"/>
              <a:gd name="T65" fmla="*/ 215 h 320"/>
              <a:gd name="T66" fmla="*/ 182 w 336"/>
              <a:gd name="T67" fmla="*/ 247 h 320"/>
              <a:gd name="T68" fmla="*/ 168 w 336"/>
              <a:gd name="T69" fmla="*/ 256 h 320"/>
              <a:gd name="T70" fmla="*/ 154 w 336"/>
              <a:gd name="T71" fmla="*/ 247 h 320"/>
              <a:gd name="T72" fmla="*/ 141 w 336"/>
              <a:gd name="T73" fmla="*/ 220 h 320"/>
              <a:gd name="T74" fmla="*/ 106 w 336"/>
              <a:gd name="T75" fmla="*/ 250 h 320"/>
              <a:gd name="T76" fmla="*/ 162 w 336"/>
              <a:gd name="T77" fmla="*/ 320 h 320"/>
              <a:gd name="T78" fmla="*/ 281 w 336"/>
              <a:gd name="T79" fmla="*/ 320 h 320"/>
              <a:gd name="T80" fmla="*/ 198 w 336"/>
              <a:gd name="T81" fmla="*/ 215 h 320"/>
              <a:gd name="T82" fmla="*/ 328 w 336"/>
              <a:gd name="T83" fmla="*/ 267 h 320"/>
              <a:gd name="T84" fmla="*/ 328 w 336"/>
              <a:gd name="T85" fmla="*/ 272 h 320"/>
              <a:gd name="T86" fmla="*/ 263 w 336"/>
              <a:gd name="T87" fmla="*/ 272 h 320"/>
              <a:gd name="T88" fmla="*/ 302 w 336"/>
              <a:gd name="T89" fmla="*/ 320 h 320"/>
              <a:gd name="T90" fmla="*/ 336 w 336"/>
              <a:gd name="T91" fmla="*/ 320 h 320"/>
              <a:gd name="T92" fmla="*/ 328 w 336"/>
              <a:gd name="T93" fmla="*/ 2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36" h="320">
                <a:moveTo>
                  <a:pt x="168" y="0"/>
                </a:moveTo>
                <a:cubicBezTo>
                  <a:pt x="128" y="0"/>
                  <a:pt x="96" y="31"/>
                  <a:pt x="96" y="71"/>
                </a:cubicBezTo>
                <a:cubicBezTo>
                  <a:pt x="96" y="80"/>
                  <a:pt x="99" y="94"/>
                  <a:pt x="102" y="102"/>
                </a:cubicBezTo>
                <a:cubicBezTo>
                  <a:pt x="168" y="240"/>
                  <a:pt x="168" y="240"/>
                  <a:pt x="168" y="240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7" y="94"/>
                  <a:pt x="240" y="80"/>
                  <a:pt x="240" y="71"/>
                </a:cubicBezTo>
                <a:cubicBezTo>
                  <a:pt x="240" y="31"/>
                  <a:pt x="208" y="0"/>
                  <a:pt x="168" y="0"/>
                </a:cubicBezTo>
                <a:close/>
                <a:moveTo>
                  <a:pt x="168" y="36"/>
                </a:moveTo>
                <a:cubicBezTo>
                  <a:pt x="188" y="36"/>
                  <a:pt x="204" y="52"/>
                  <a:pt x="204" y="72"/>
                </a:cubicBezTo>
                <a:cubicBezTo>
                  <a:pt x="204" y="92"/>
                  <a:pt x="188" y="108"/>
                  <a:pt x="168" y="108"/>
                </a:cubicBezTo>
                <a:cubicBezTo>
                  <a:pt x="148" y="108"/>
                  <a:pt x="132" y="92"/>
                  <a:pt x="132" y="72"/>
                </a:cubicBezTo>
                <a:cubicBezTo>
                  <a:pt x="132" y="52"/>
                  <a:pt x="148" y="36"/>
                  <a:pt x="168" y="36"/>
                </a:cubicBezTo>
                <a:close/>
                <a:moveTo>
                  <a:pt x="34" y="160"/>
                </a:moveTo>
                <a:cubicBezTo>
                  <a:pt x="96" y="238"/>
                  <a:pt x="96" y="238"/>
                  <a:pt x="96" y="238"/>
                </a:cubicBezTo>
                <a:cubicBezTo>
                  <a:pt x="134" y="206"/>
                  <a:pt x="134" y="206"/>
                  <a:pt x="134" y="206"/>
                </a:cubicBezTo>
                <a:cubicBezTo>
                  <a:pt x="112" y="160"/>
                  <a:pt x="112" y="160"/>
                  <a:pt x="112" y="160"/>
                </a:cubicBezTo>
                <a:lnTo>
                  <a:pt x="34" y="160"/>
                </a:lnTo>
                <a:close/>
                <a:moveTo>
                  <a:pt x="224" y="160"/>
                </a:moveTo>
                <a:cubicBezTo>
                  <a:pt x="206" y="200"/>
                  <a:pt x="206" y="200"/>
                  <a:pt x="206" y="200"/>
                </a:cubicBezTo>
                <a:cubicBezTo>
                  <a:pt x="318" y="200"/>
                  <a:pt x="318" y="200"/>
                  <a:pt x="318" y="200"/>
                </a:cubicBezTo>
                <a:cubicBezTo>
                  <a:pt x="312" y="160"/>
                  <a:pt x="312" y="160"/>
                  <a:pt x="312" y="160"/>
                </a:cubicBezTo>
                <a:lnTo>
                  <a:pt x="224" y="160"/>
                </a:lnTo>
                <a:close/>
                <a:moveTo>
                  <a:pt x="22" y="171"/>
                </a:moveTo>
                <a:cubicBezTo>
                  <a:pt x="0" y="320"/>
                  <a:pt x="0" y="320"/>
                  <a:pt x="0" y="320"/>
                </a:cubicBezTo>
                <a:cubicBezTo>
                  <a:pt x="141" y="320"/>
                  <a:pt x="141" y="320"/>
                  <a:pt x="141" y="320"/>
                </a:cubicBezTo>
                <a:cubicBezTo>
                  <a:pt x="22" y="171"/>
                  <a:pt x="22" y="171"/>
                  <a:pt x="22" y="171"/>
                </a:cubicBezTo>
                <a:close/>
                <a:moveTo>
                  <a:pt x="320" y="213"/>
                </a:moveTo>
                <a:cubicBezTo>
                  <a:pt x="320" y="216"/>
                  <a:pt x="320" y="216"/>
                  <a:pt x="320" y="216"/>
                </a:cubicBezTo>
                <a:cubicBezTo>
                  <a:pt x="219" y="216"/>
                  <a:pt x="219" y="216"/>
                  <a:pt x="219" y="216"/>
                </a:cubicBezTo>
                <a:cubicBezTo>
                  <a:pt x="251" y="256"/>
                  <a:pt x="251" y="256"/>
                  <a:pt x="251" y="256"/>
                </a:cubicBezTo>
                <a:cubicBezTo>
                  <a:pt x="326" y="256"/>
                  <a:pt x="326" y="256"/>
                  <a:pt x="326" y="256"/>
                </a:cubicBezTo>
                <a:lnTo>
                  <a:pt x="320" y="213"/>
                </a:lnTo>
                <a:close/>
                <a:moveTo>
                  <a:pt x="198" y="215"/>
                </a:moveTo>
                <a:cubicBezTo>
                  <a:pt x="182" y="247"/>
                  <a:pt x="182" y="247"/>
                  <a:pt x="182" y="247"/>
                </a:cubicBezTo>
                <a:cubicBezTo>
                  <a:pt x="180" y="252"/>
                  <a:pt x="174" y="256"/>
                  <a:pt x="168" y="256"/>
                </a:cubicBezTo>
                <a:cubicBezTo>
                  <a:pt x="162" y="256"/>
                  <a:pt x="156" y="252"/>
                  <a:pt x="154" y="247"/>
                </a:cubicBezTo>
                <a:cubicBezTo>
                  <a:pt x="141" y="220"/>
                  <a:pt x="141" y="220"/>
                  <a:pt x="141" y="22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62" y="320"/>
                  <a:pt x="162" y="320"/>
                  <a:pt x="162" y="320"/>
                </a:cubicBezTo>
                <a:cubicBezTo>
                  <a:pt x="281" y="320"/>
                  <a:pt x="281" y="320"/>
                  <a:pt x="281" y="320"/>
                </a:cubicBezTo>
                <a:cubicBezTo>
                  <a:pt x="198" y="215"/>
                  <a:pt x="198" y="215"/>
                  <a:pt x="198" y="215"/>
                </a:cubicBezTo>
                <a:close/>
                <a:moveTo>
                  <a:pt x="328" y="267"/>
                </a:moveTo>
                <a:cubicBezTo>
                  <a:pt x="328" y="272"/>
                  <a:pt x="328" y="272"/>
                  <a:pt x="328" y="272"/>
                </a:cubicBezTo>
                <a:cubicBezTo>
                  <a:pt x="263" y="272"/>
                  <a:pt x="263" y="272"/>
                  <a:pt x="263" y="272"/>
                </a:cubicBezTo>
                <a:cubicBezTo>
                  <a:pt x="302" y="320"/>
                  <a:pt x="302" y="320"/>
                  <a:pt x="302" y="320"/>
                </a:cubicBezTo>
                <a:cubicBezTo>
                  <a:pt x="336" y="320"/>
                  <a:pt x="336" y="320"/>
                  <a:pt x="336" y="320"/>
                </a:cubicBezTo>
                <a:lnTo>
                  <a:pt x="328" y="2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75E08788-384C-49BC-B1B8-AFB9FA979723}"/>
              </a:ext>
            </a:extLst>
          </p:cNvPr>
          <p:cNvSpPr/>
          <p:nvPr/>
        </p:nvSpPr>
        <p:spPr>
          <a:xfrm>
            <a:off x="960721" y="2023301"/>
            <a:ext cx="7198950" cy="2529640"/>
          </a:xfrm>
          <a:prstGeom prst="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xmlns="" id="{84A9A06C-BF56-49D3-90C2-C09977744283}"/>
              </a:ext>
            </a:extLst>
          </p:cNvPr>
          <p:cNvCxnSpPr>
            <a:cxnSpLocks/>
          </p:cNvCxnSpPr>
          <p:nvPr/>
        </p:nvCxnSpPr>
        <p:spPr>
          <a:xfrm>
            <a:off x="984322" y="3308212"/>
            <a:ext cx="71753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xmlns="" id="{EE4041DB-E19B-47B5-A6C0-BE16B984D9E9}"/>
              </a:ext>
            </a:extLst>
          </p:cNvPr>
          <p:cNvCxnSpPr>
            <a:cxnSpLocks/>
          </p:cNvCxnSpPr>
          <p:nvPr/>
        </p:nvCxnSpPr>
        <p:spPr>
          <a:xfrm>
            <a:off x="4572000" y="2012068"/>
            <a:ext cx="0" cy="25512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4">
            <a:extLst>
              <a:ext uri="{FF2B5EF4-FFF2-40B4-BE49-F238E27FC236}">
                <a16:creationId xmlns:a16="http://schemas.microsoft.com/office/drawing/2014/main" xmlns="" id="{077CDBF9-5B02-44EB-821A-2EFF2D294A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4271" y="5242471"/>
            <a:ext cx="421358" cy="221380"/>
            <a:chOff x="2564" y="1457"/>
            <a:chExt cx="630" cy="331"/>
          </a:xfrm>
          <a:solidFill>
            <a:schemeClr val="accent2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xmlns="" id="{2F1CD0A2-AE0F-428D-9F86-27DCFEEE0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9" y="1665"/>
              <a:ext cx="209" cy="123"/>
            </a:xfrm>
            <a:custGeom>
              <a:avLst/>
              <a:gdLst>
                <a:gd name="T0" fmla="*/ 1 w 101"/>
                <a:gd name="T1" fmla="*/ 1 h 59"/>
                <a:gd name="T2" fmla="*/ 84 w 101"/>
                <a:gd name="T3" fmla="*/ 56 h 59"/>
                <a:gd name="T4" fmla="*/ 86 w 101"/>
                <a:gd name="T5" fmla="*/ 57 h 59"/>
                <a:gd name="T6" fmla="*/ 99 w 101"/>
                <a:gd name="T7" fmla="*/ 52 h 59"/>
                <a:gd name="T8" fmla="*/ 94 w 101"/>
                <a:gd name="T9" fmla="*/ 39 h 59"/>
                <a:gd name="T10" fmla="*/ 1 w 101"/>
                <a:gd name="T11" fmla="*/ 0 h 59"/>
                <a:gd name="T12" fmla="*/ 1 w 101"/>
                <a:gd name="T13" fmla="*/ 1 h 59"/>
                <a:gd name="T14" fmla="*/ 95 w 101"/>
                <a:gd name="T15" fmla="*/ 48 h 59"/>
                <a:gd name="T16" fmla="*/ 90 w 101"/>
                <a:gd name="T17" fmla="*/ 54 h 59"/>
                <a:gd name="T18" fmla="*/ 84 w 101"/>
                <a:gd name="T19" fmla="*/ 48 h 59"/>
                <a:gd name="T20" fmla="*/ 89 w 101"/>
                <a:gd name="T21" fmla="*/ 42 h 59"/>
                <a:gd name="T22" fmla="*/ 95 w 101"/>
                <a:gd name="T23" fmla="*/ 4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59">
                  <a:moveTo>
                    <a:pt x="1" y="1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5" y="56"/>
                    <a:pt x="85" y="57"/>
                    <a:pt x="86" y="57"/>
                  </a:cubicBezTo>
                  <a:cubicBezTo>
                    <a:pt x="91" y="59"/>
                    <a:pt x="97" y="57"/>
                    <a:pt x="99" y="52"/>
                  </a:cubicBezTo>
                  <a:cubicBezTo>
                    <a:pt x="101" y="47"/>
                    <a:pt x="99" y="41"/>
                    <a:pt x="94" y="3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lose/>
                  <a:moveTo>
                    <a:pt x="95" y="48"/>
                  </a:moveTo>
                  <a:cubicBezTo>
                    <a:pt x="96" y="51"/>
                    <a:pt x="93" y="53"/>
                    <a:pt x="90" y="54"/>
                  </a:cubicBezTo>
                  <a:cubicBezTo>
                    <a:pt x="87" y="54"/>
                    <a:pt x="85" y="52"/>
                    <a:pt x="84" y="48"/>
                  </a:cubicBezTo>
                  <a:cubicBezTo>
                    <a:pt x="84" y="45"/>
                    <a:pt x="86" y="43"/>
                    <a:pt x="89" y="42"/>
                  </a:cubicBezTo>
                  <a:cubicBezTo>
                    <a:pt x="93" y="42"/>
                    <a:pt x="95" y="44"/>
                    <a:pt x="95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C73199C2-37F1-4EC1-9828-D49E7336E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" y="1459"/>
              <a:ext cx="91" cy="76"/>
            </a:xfrm>
            <a:custGeom>
              <a:avLst/>
              <a:gdLst>
                <a:gd name="T0" fmla="*/ 7 w 44"/>
                <a:gd name="T1" fmla="*/ 32 h 36"/>
                <a:gd name="T2" fmla="*/ 11 w 44"/>
                <a:gd name="T3" fmla="*/ 34 h 36"/>
                <a:gd name="T4" fmla="*/ 22 w 44"/>
                <a:gd name="T5" fmla="*/ 34 h 36"/>
                <a:gd name="T6" fmla="*/ 39 w 44"/>
                <a:gd name="T7" fmla="*/ 35 h 36"/>
                <a:gd name="T8" fmla="*/ 44 w 44"/>
                <a:gd name="T9" fmla="*/ 31 h 36"/>
                <a:gd name="T10" fmla="*/ 44 w 44"/>
                <a:gd name="T11" fmla="*/ 4 h 36"/>
                <a:gd name="T12" fmla="*/ 40 w 44"/>
                <a:gd name="T13" fmla="*/ 0 h 36"/>
                <a:gd name="T14" fmla="*/ 3 w 44"/>
                <a:gd name="T15" fmla="*/ 6 h 36"/>
                <a:gd name="T16" fmla="*/ 0 w 44"/>
                <a:gd name="T17" fmla="*/ 11 h 36"/>
                <a:gd name="T18" fmla="*/ 7 w 44"/>
                <a:gd name="T19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6">
                  <a:moveTo>
                    <a:pt x="7" y="32"/>
                  </a:moveTo>
                  <a:cubicBezTo>
                    <a:pt x="7" y="33"/>
                    <a:pt x="9" y="34"/>
                    <a:pt x="11" y="34"/>
                  </a:cubicBezTo>
                  <a:cubicBezTo>
                    <a:pt x="14" y="34"/>
                    <a:pt x="18" y="34"/>
                    <a:pt x="22" y="34"/>
                  </a:cubicBezTo>
                  <a:cubicBezTo>
                    <a:pt x="28" y="34"/>
                    <a:pt x="34" y="34"/>
                    <a:pt x="39" y="35"/>
                  </a:cubicBezTo>
                  <a:cubicBezTo>
                    <a:pt x="42" y="36"/>
                    <a:pt x="44" y="34"/>
                    <a:pt x="44" y="31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"/>
                    <a:pt x="42" y="0"/>
                    <a:pt x="40" y="0"/>
                  </a:cubicBezTo>
                  <a:cubicBezTo>
                    <a:pt x="27" y="0"/>
                    <a:pt x="14" y="2"/>
                    <a:pt x="3" y="6"/>
                  </a:cubicBezTo>
                  <a:cubicBezTo>
                    <a:pt x="1" y="7"/>
                    <a:pt x="0" y="9"/>
                    <a:pt x="0" y="11"/>
                  </a:cubicBezTo>
                  <a:lnTo>
                    <a:pt x="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E5FED08-F14D-42B6-AFD9-66A95BFB1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1457"/>
              <a:ext cx="93" cy="101"/>
            </a:xfrm>
            <a:custGeom>
              <a:avLst/>
              <a:gdLst>
                <a:gd name="T0" fmla="*/ 3 w 45"/>
                <a:gd name="T1" fmla="*/ 38 h 48"/>
                <a:gd name="T2" fmla="*/ 28 w 45"/>
                <a:gd name="T3" fmla="*/ 47 h 48"/>
                <a:gd name="T4" fmla="*/ 33 w 45"/>
                <a:gd name="T5" fmla="*/ 44 h 48"/>
                <a:gd name="T6" fmla="*/ 44 w 45"/>
                <a:gd name="T7" fmla="*/ 11 h 48"/>
                <a:gd name="T8" fmla="*/ 42 w 45"/>
                <a:gd name="T9" fmla="*/ 6 h 48"/>
                <a:gd name="T10" fmla="*/ 5 w 45"/>
                <a:gd name="T11" fmla="*/ 0 h 48"/>
                <a:gd name="T12" fmla="*/ 1 w 45"/>
                <a:gd name="T13" fmla="*/ 4 h 48"/>
                <a:gd name="T14" fmla="*/ 1 w 45"/>
                <a:gd name="T15" fmla="*/ 34 h 48"/>
                <a:gd name="T16" fmla="*/ 3 w 45"/>
                <a:gd name="T1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8">
                  <a:moveTo>
                    <a:pt x="3" y="38"/>
                  </a:moveTo>
                  <a:cubicBezTo>
                    <a:pt x="11" y="40"/>
                    <a:pt x="20" y="43"/>
                    <a:pt x="28" y="47"/>
                  </a:cubicBezTo>
                  <a:cubicBezTo>
                    <a:pt x="30" y="48"/>
                    <a:pt x="33" y="47"/>
                    <a:pt x="33" y="44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9"/>
                    <a:pt x="44" y="7"/>
                    <a:pt x="42" y="6"/>
                  </a:cubicBezTo>
                  <a:cubicBezTo>
                    <a:pt x="30" y="3"/>
                    <a:pt x="17" y="0"/>
                    <a:pt x="5" y="0"/>
                  </a:cubicBezTo>
                  <a:cubicBezTo>
                    <a:pt x="2" y="0"/>
                    <a:pt x="1" y="1"/>
                    <a:pt x="1" y="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0" y="36"/>
                    <a:pt x="1" y="37"/>
                    <a:pt x="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14453917-E8BD-4067-9D8C-2156E79D8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7" y="1602"/>
              <a:ext cx="118" cy="113"/>
            </a:xfrm>
            <a:custGeom>
              <a:avLst/>
              <a:gdLst>
                <a:gd name="T0" fmla="*/ 36 w 57"/>
                <a:gd name="T1" fmla="*/ 2 h 54"/>
                <a:gd name="T2" fmla="*/ 2 w 57"/>
                <a:gd name="T3" fmla="*/ 26 h 54"/>
                <a:gd name="T4" fmla="*/ 1 w 57"/>
                <a:gd name="T5" fmla="*/ 32 h 54"/>
                <a:gd name="T6" fmla="*/ 10 w 57"/>
                <a:gd name="T7" fmla="*/ 51 h 54"/>
                <a:gd name="T8" fmla="*/ 15 w 57"/>
                <a:gd name="T9" fmla="*/ 54 h 54"/>
                <a:gd name="T10" fmla="*/ 54 w 57"/>
                <a:gd name="T11" fmla="*/ 41 h 54"/>
                <a:gd name="T12" fmla="*/ 56 w 57"/>
                <a:gd name="T13" fmla="*/ 36 h 54"/>
                <a:gd name="T14" fmla="*/ 41 w 57"/>
                <a:gd name="T15" fmla="*/ 3 h 54"/>
                <a:gd name="T16" fmla="*/ 36 w 57"/>
                <a:gd name="T17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4">
                  <a:moveTo>
                    <a:pt x="36" y="2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1" y="28"/>
                    <a:pt x="0" y="30"/>
                    <a:pt x="1" y="32"/>
                  </a:cubicBezTo>
                  <a:cubicBezTo>
                    <a:pt x="5" y="38"/>
                    <a:pt x="8" y="44"/>
                    <a:pt x="10" y="51"/>
                  </a:cubicBezTo>
                  <a:cubicBezTo>
                    <a:pt x="11" y="53"/>
                    <a:pt x="13" y="54"/>
                    <a:pt x="15" y="54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6" y="40"/>
                    <a:pt x="57" y="38"/>
                    <a:pt x="56" y="36"/>
                  </a:cubicBezTo>
                  <a:cubicBezTo>
                    <a:pt x="52" y="24"/>
                    <a:pt x="47" y="13"/>
                    <a:pt x="41" y="3"/>
                  </a:cubicBezTo>
                  <a:cubicBezTo>
                    <a:pt x="40" y="1"/>
                    <a:pt x="38" y="0"/>
                    <a:pt x="3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2367B7D6-BC87-49F3-9C86-705E6F1A3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" y="1476"/>
              <a:ext cx="95" cy="80"/>
            </a:xfrm>
            <a:custGeom>
              <a:avLst/>
              <a:gdLst>
                <a:gd name="T0" fmla="*/ 14 w 46"/>
                <a:gd name="T1" fmla="*/ 38 h 38"/>
                <a:gd name="T2" fmla="*/ 42 w 46"/>
                <a:gd name="T3" fmla="*/ 28 h 38"/>
                <a:gd name="T4" fmla="*/ 46 w 46"/>
                <a:gd name="T5" fmla="*/ 22 h 38"/>
                <a:gd name="T6" fmla="*/ 40 w 46"/>
                <a:gd name="T7" fmla="*/ 4 h 38"/>
                <a:gd name="T8" fmla="*/ 34 w 46"/>
                <a:gd name="T9" fmla="*/ 1 h 38"/>
                <a:gd name="T10" fmla="*/ 2 w 46"/>
                <a:gd name="T11" fmla="*/ 20 h 38"/>
                <a:gd name="T12" fmla="*/ 1 w 46"/>
                <a:gd name="T13" fmla="*/ 25 h 38"/>
                <a:gd name="T14" fmla="*/ 9 w 46"/>
                <a:gd name="T15" fmla="*/ 36 h 38"/>
                <a:gd name="T16" fmla="*/ 14 w 46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38">
                  <a:moveTo>
                    <a:pt x="14" y="38"/>
                  </a:moveTo>
                  <a:cubicBezTo>
                    <a:pt x="23" y="33"/>
                    <a:pt x="32" y="30"/>
                    <a:pt x="42" y="28"/>
                  </a:cubicBezTo>
                  <a:cubicBezTo>
                    <a:pt x="45" y="27"/>
                    <a:pt x="46" y="25"/>
                    <a:pt x="46" y="22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2"/>
                    <a:pt x="36" y="0"/>
                    <a:pt x="34" y="1"/>
                  </a:cubicBezTo>
                  <a:cubicBezTo>
                    <a:pt x="23" y="6"/>
                    <a:pt x="12" y="12"/>
                    <a:pt x="2" y="20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10" y="38"/>
                    <a:pt x="12" y="38"/>
                    <a:pt x="1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D21D253C-281B-46D8-BCF1-4B659E852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1476"/>
              <a:ext cx="107" cy="124"/>
            </a:xfrm>
            <a:custGeom>
              <a:avLst/>
              <a:gdLst>
                <a:gd name="T0" fmla="*/ 12 w 52"/>
                <a:gd name="T1" fmla="*/ 4 h 59"/>
                <a:gd name="T2" fmla="*/ 0 w 52"/>
                <a:gd name="T3" fmla="*/ 38 h 59"/>
                <a:gd name="T4" fmla="*/ 2 w 52"/>
                <a:gd name="T5" fmla="*/ 43 h 59"/>
                <a:gd name="T6" fmla="*/ 22 w 52"/>
                <a:gd name="T7" fmla="*/ 57 h 59"/>
                <a:gd name="T8" fmla="*/ 28 w 52"/>
                <a:gd name="T9" fmla="*/ 57 h 59"/>
                <a:gd name="T10" fmla="*/ 50 w 52"/>
                <a:gd name="T11" fmla="*/ 25 h 59"/>
                <a:gd name="T12" fmla="*/ 50 w 52"/>
                <a:gd name="T13" fmla="*/ 20 h 59"/>
                <a:gd name="T14" fmla="*/ 17 w 52"/>
                <a:gd name="T15" fmla="*/ 1 h 59"/>
                <a:gd name="T16" fmla="*/ 12 w 52"/>
                <a:gd name="T17" fmla="*/ 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9">
                  <a:moveTo>
                    <a:pt x="12" y="4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0" y="42"/>
                    <a:pt x="2" y="43"/>
                  </a:cubicBezTo>
                  <a:cubicBezTo>
                    <a:pt x="9" y="47"/>
                    <a:pt x="16" y="52"/>
                    <a:pt x="22" y="57"/>
                  </a:cubicBezTo>
                  <a:cubicBezTo>
                    <a:pt x="23" y="59"/>
                    <a:pt x="26" y="58"/>
                    <a:pt x="28" y="57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2" y="24"/>
                    <a:pt x="51" y="21"/>
                    <a:pt x="50" y="20"/>
                  </a:cubicBezTo>
                  <a:cubicBezTo>
                    <a:pt x="40" y="12"/>
                    <a:pt x="28" y="6"/>
                    <a:pt x="17" y="1"/>
                  </a:cubicBezTo>
                  <a:cubicBezTo>
                    <a:pt x="15" y="0"/>
                    <a:pt x="12" y="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29AB09C9-2263-49DF-8676-A9FBE66E3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" y="1528"/>
              <a:ext cx="116" cy="126"/>
            </a:xfrm>
            <a:custGeom>
              <a:avLst/>
              <a:gdLst>
                <a:gd name="T0" fmla="*/ 2 w 56"/>
                <a:gd name="T1" fmla="*/ 40 h 60"/>
                <a:gd name="T2" fmla="*/ 16 w 56"/>
                <a:gd name="T3" fmla="*/ 57 h 60"/>
                <a:gd name="T4" fmla="*/ 21 w 56"/>
                <a:gd name="T5" fmla="*/ 59 h 60"/>
                <a:gd name="T6" fmla="*/ 54 w 56"/>
                <a:gd name="T7" fmla="*/ 35 h 60"/>
                <a:gd name="T8" fmla="*/ 55 w 56"/>
                <a:gd name="T9" fmla="*/ 29 h 60"/>
                <a:gd name="T10" fmla="*/ 30 w 56"/>
                <a:gd name="T11" fmla="*/ 2 h 60"/>
                <a:gd name="T12" fmla="*/ 24 w 56"/>
                <a:gd name="T13" fmla="*/ 3 h 60"/>
                <a:gd name="T14" fmla="*/ 1 w 56"/>
                <a:gd name="T15" fmla="*/ 35 h 60"/>
                <a:gd name="T16" fmla="*/ 2 w 56"/>
                <a:gd name="T17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60">
                  <a:moveTo>
                    <a:pt x="2" y="40"/>
                  </a:moveTo>
                  <a:cubicBezTo>
                    <a:pt x="7" y="45"/>
                    <a:pt x="12" y="51"/>
                    <a:pt x="16" y="57"/>
                  </a:cubicBezTo>
                  <a:cubicBezTo>
                    <a:pt x="17" y="59"/>
                    <a:pt x="19" y="60"/>
                    <a:pt x="21" y="59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6" y="33"/>
                    <a:pt x="56" y="31"/>
                    <a:pt x="55" y="29"/>
                  </a:cubicBezTo>
                  <a:cubicBezTo>
                    <a:pt x="48" y="19"/>
                    <a:pt x="40" y="10"/>
                    <a:pt x="30" y="2"/>
                  </a:cubicBezTo>
                  <a:cubicBezTo>
                    <a:pt x="29" y="0"/>
                    <a:pt x="26" y="1"/>
                    <a:pt x="24" y="3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0" y="38"/>
                    <a:pt x="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4928E065-695F-49B6-A002-FA9CE6112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0" y="1528"/>
              <a:ext cx="85" cy="82"/>
            </a:xfrm>
            <a:custGeom>
              <a:avLst/>
              <a:gdLst>
                <a:gd name="T0" fmla="*/ 14 w 41"/>
                <a:gd name="T1" fmla="*/ 38 h 39"/>
                <a:gd name="T2" fmla="*/ 38 w 41"/>
                <a:gd name="T3" fmla="*/ 17 h 39"/>
                <a:gd name="T4" fmla="*/ 40 w 41"/>
                <a:gd name="T5" fmla="*/ 12 h 39"/>
                <a:gd name="T6" fmla="*/ 32 w 41"/>
                <a:gd name="T7" fmla="*/ 2 h 39"/>
                <a:gd name="T8" fmla="*/ 26 w 41"/>
                <a:gd name="T9" fmla="*/ 1 h 39"/>
                <a:gd name="T10" fmla="*/ 2 w 41"/>
                <a:gd name="T11" fmla="*/ 29 h 39"/>
                <a:gd name="T12" fmla="*/ 2 w 41"/>
                <a:gd name="T13" fmla="*/ 34 h 39"/>
                <a:gd name="T14" fmla="*/ 8 w 41"/>
                <a:gd name="T15" fmla="*/ 38 h 39"/>
                <a:gd name="T16" fmla="*/ 14 w 41"/>
                <a:gd name="T17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39">
                  <a:moveTo>
                    <a:pt x="14" y="38"/>
                  </a:moveTo>
                  <a:cubicBezTo>
                    <a:pt x="21" y="30"/>
                    <a:pt x="29" y="23"/>
                    <a:pt x="38" y="17"/>
                  </a:cubicBezTo>
                  <a:cubicBezTo>
                    <a:pt x="40" y="16"/>
                    <a:pt x="41" y="13"/>
                    <a:pt x="40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28" y="0"/>
                    <a:pt x="26" y="1"/>
                  </a:cubicBezTo>
                  <a:cubicBezTo>
                    <a:pt x="17" y="9"/>
                    <a:pt x="9" y="19"/>
                    <a:pt x="2" y="29"/>
                  </a:cubicBezTo>
                  <a:cubicBezTo>
                    <a:pt x="0" y="30"/>
                    <a:pt x="1" y="33"/>
                    <a:pt x="2" y="3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10" y="39"/>
                    <a:pt x="12" y="39"/>
                    <a:pt x="1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295FF240-4BFB-43AC-934E-CBB593C3B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4" y="1587"/>
              <a:ext cx="102" cy="111"/>
            </a:xfrm>
            <a:custGeom>
              <a:avLst/>
              <a:gdLst>
                <a:gd name="T0" fmla="*/ 3 w 49"/>
                <a:gd name="T1" fmla="*/ 44 h 53"/>
                <a:gd name="T2" fmla="*/ 27 w 49"/>
                <a:gd name="T3" fmla="*/ 52 h 53"/>
                <a:gd name="T4" fmla="*/ 32 w 49"/>
                <a:gd name="T5" fmla="*/ 49 h 53"/>
                <a:gd name="T6" fmla="*/ 48 w 49"/>
                <a:gd name="T7" fmla="*/ 24 h 53"/>
                <a:gd name="T8" fmla="*/ 47 w 49"/>
                <a:gd name="T9" fmla="*/ 18 h 53"/>
                <a:gd name="T10" fmla="*/ 23 w 49"/>
                <a:gd name="T11" fmla="*/ 1 h 53"/>
                <a:gd name="T12" fmla="*/ 18 w 49"/>
                <a:gd name="T13" fmla="*/ 3 h 53"/>
                <a:gd name="T14" fmla="*/ 1 w 49"/>
                <a:gd name="T15" fmla="*/ 39 h 53"/>
                <a:gd name="T16" fmla="*/ 3 w 49"/>
                <a:gd name="T17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3">
                  <a:moveTo>
                    <a:pt x="3" y="44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29" y="53"/>
                    <a:pt x="31" y="51"/>
                    <a:pt x="32" y="49"/>
                  </a:cubicBezTo>
                  <a:cubicBezTo>
                    <a:pt x="36" y="39"/>
                    <a:pt x="41" y="32"/>
                    <a:pt x="48" y="24"/>
                  </a:cubicBezTo>
                  <a:cubicBezTo>
                    <a:pt x="49" y="22"/>
                    <a:pt x="49" y="19"/>
                    <a:pt x="47" y="18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1" y="0"/>
                    <a:pt x="19" y="1"/>
                    <a:pt x="18" y="3"/>
                  </a:cubicBezTo>
                  <a:cubicBezTo>
                    <a:pt x="11" y="13"/>
                    <a:pt x="5" y="27"/>
                    <a:pt x="1" y="39"/>
                  </a:cubicBezTo>
                  <a:cubicBezTo>
                    <a:pt x="0" y="41"/>
                    <a:pt x="1" y="43"/>
                    <a:pt x="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2A117615-02CA-4CF8-B278-61D28D517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" y="1692"/>
              <a:ext cx="112" cy="90"/>
            </a:xfrm>
            <a:custGeom>
              <a:avLst/>
              <a:gdLst>
                <a:gd name="T0" fmla="*/ 1 w 54"/>
                <a:gd name="T1" fmla="*/ 18 h 43"/>
                <a:gd name="T2" fmla="*/ 5 w 54"/>
                <a:gd name="T3" fmla="*/ 39 h 43"/>
                <a:gd name="T4" fmla="*/ 9 w 54"/>
                <a:gd name="T5" fmla="*/ 43 h 43"/>
                <a:gd name="T6" fmla="*/ 50 w 54"/>
                <a:gd name="T7" fmla="*/ 43 h 43"/>
                <a:gd name="T8" fmla="*/ 54 w 54"/>
                <a:gd name="T9" fmla="*/ 39 h 43"/>
                <a:gd name="T10" fmla="*/ 48 w 54"/>
                <a:gd name="T11" fmla="*/ 3 h 43"/>
                <a:gd name="T12" fmla="*/ 43 w 54"/>
                <a:gd name="T13" fmla="*/ 1 h 43"/>
                <a:gd name="T14" fmla="*/ 4 w 54"/>
                <a:gd name="T15" fmla="*/ 13 h 43"/>
                <a:gd name="T16" fmla="*/ 1 w 54"/>
                <a:gd name="T17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43">
                  <a:moveTo>
                    <a:pt x="1" y="18"/>
                  </a:moveTo>
                  <a:cubicBezTo>
                    <a:pt x="3" y="25"/>
                    <a:pt x="4" y="32"/>
                    <a:pt x="5" y="39"/>
                  </a:cubicBezTo>
                  <a:cubicBezTo>
                    <a:pt x="5" y="41"/>
                    <a:pt x="7" y="43"/>
                    <a:pt x="9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2" y="43"/>
                    <a:pt x="54" y="41"/>
                    <a:pt x="54" y="39"/>
                  </a:cubicBezTo>
                  <a:cubicBezTo>
                    <a:pt x="53" y="27"/>
                    <a:pt x="52" y="15"/>
                    <a:pt x="48" y="3"/>
                  </a:cubicBezTo>
                  <a:cubicBezTo>
                    <a:pt x="48" y="1"/>
                    <a:pt x="46" y="0"/>
                    <a:pt x="43" y="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0" y="16"/>
                    <a:pt x="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50A549CB-33C8-425C-BCE6-BD6B5A5E5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2" y="1692"/>
              <a:ext cx="31" cy="90"/>
            </a:xfrm>
            <a:custGeom>
              <a:avLst/>
              <a:gdLst>
                <a:gd name="T0" fmla="*/ 7 w 15"/>
                <a:gd name="T1" fmla="*/ 43 h 43"/>
                <a:gd name="T2" fmla="*/ 14 w 15"/>
                <a:gd name="T3" fmla="*/ 6 h 43"/>
                <a:gd name="T4" fmla="*/ 12 w 15"/>
                <a:gd name="T5" fmla="*/ 1 h 43"/>
                <a:gd name="T6" fmla="*/ 10 w 15"/>
                <a:gd name="T7" fmla="*/ 1 h 43"/>
                <a:gd name="T8" fmla="*/ 5 w 15"/>
                <a:gd name="T9" fmla="*/ 3 h 43"/>
                <a:gd name="T10" fmla="*/ 0 w 15"/>
                <a:gd name="T11" fmla="*/ 43 h 43"/>
                <a:gd name="T12" fmla="*/ 7 w 1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3">
                  <a:moveTo>
                    <a:pt x="7" y="43"/>
                  </a:moveTo>
                  <a:cubicBezTo>
                    <a:pt x="8" y="30"/>
                    <a:pt x="10" y="18"/>
                    <a:pt x="14" y="6"/>
                  </a:cubicBezTo>
                  <a:cubicBezTo>
                    <a:pt x="15" y="4"/>
                    <a:pt x="14" y="2"/>
                    <a:pt x="12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0"/>
                    <a:pt x="6" y="1"/>
                    <a:pt x="5" y="3"/>
                  </a:cubicBezTo>
                  <a:cubicBezTo>
                    <a:pt x="2" y="16"/>
                    <a:pt x="0" y="29"/>
                    <a:pt x="0" y="43"/>
                  </a:cubicBezTo>
                  <a:lnTo>
                    <a:pt x="7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6D5F33BE-5C5B-40E3-A9B0-2335839A0714}"/>
              </a:ext>
            </a:extLst>
          </p:cNvPr>
          <p:cNvSpPr/>
          <p:nvPr/>
        </p:nvSpPr>
        <p:spPr>
          <a:xfrm>
            <a:off x="4070904" y="4881089"/>
            <a:ext cx="10021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100" dirty="0">
                <a:solidFill>
                  <a:srgbClr val="424242"/>
                </a:solidFill>
              </a:rPr>
              <a:t>DIFFICULTY</a:t>
            </a:r>
            <a:endParaRPr lang="fr-FR" dirty="0"/>
          </a:p>
        </p:txBody>
      </p:sp>
      <p:grpSp>
        <p:nvGrpSpPr>
          <p:cNvPr id="39" name="Group 18">
            <a:extLst>
              <a:ext uri="{FF2B5EF4-FFF2-40B4-BE49-F238E27FC236}">
                <a16:creationId xmlns:a16="http://schemas.microsoft.com/office/drawing/2014/main" xmlns="" id="{6C581A13-AAE1-49E8-836D-A693327706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6532" y="5232439"/>
            <a:ext cx="416006" cy="231412"/>
            <a:chOff x="3860" y="2387"/>
            <a:chExt cx="622" cy="346"/>
          </a:xfrm>
          <a:solidFill>
            <a:schemeClr val="accent3"/>
          </a:solidFill>
        </p:grpSpPr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xmlns="" id="{BAA5E452-0AE6-4627-A768-EE657399C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3" y="2508"/>
              <a:ext cx="41" cy="225"/>
            </a:xfrm>
            <a:custGeom>
              <a:avLst/>
              <a:gdLst>
                <a:gd name="T0" fmla="*/ 12 w 20"/>
                <a:gd name="T1" fmla="*/ 0 h 108"/>
                <a:gd name="T2" fmla="*/ 0 w 20"/>
                <a:gd name="T3" fmla="*/ 97 h 108"/>
                <a:gd name="T4" fmla="*/ 0 w 20"/>
                <a:gd name="T5" fmla="*/ 99 h 108"/>
                <a:gd name="T6" fmla="*/ 11 w 20"/>
                <a:gd name="T7" fmla="*/ 108 h 108"/>
                <a:gd name="T8" fmla="*/ 20 w 20"/>
                <a:gd name="T9" fmla="*/ 98 h 108"/>
                <a:gd name="T10" fmla="*/ 13 w 20"/>
                <a:gd name="T11" fmla="*/ 0 h 108"/>
                <a:gd name="T12" fmla="*/ 12 w 20"/>
                <a:gd name="T13" fmla="*/ 0 h 108"/>
                <a:gd name="T14" fmla="*/ 13 w 20"/>
                <a:gd name="T15" fmla="*/ 104 h 108"/>
                <a:gd name="T16" fmla="*/ 5 w 20"/>
                <a:gd name="T17" fmla="*/ 102 h 108"/>
                <a:gd name="T18" fmla="*/ 7 w 20"/>
                <a:gd name="T19" fmla="*/ 94 h 108"/>
                <a:gd name="T20" fmla="*/ 15 w 20"/>
                <a:gd name="T21" fmla="*/ 96 h 108"/>
                <a:gd name="T22" fmla="*/ 13 w 20"/>
                <a:gd name="T23" fmla="*/ 10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" h="108">
                  <a:moveTo>
                    <a:pt x="12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98"/>
                    <a:pt x="0" y="98"/>
                    <a:pt x="0" y="99"/>
                  </a:cubicBezTo>
                  <a:cubicBezTo>
                    <a:pt x="0" y="104"/>
                    <a:pt x="5" y="108"/>
                    <a:pt x="11" y="108"/>
                  </a:cubicBezTo>
                  <a:cubicBezTo>
                    <a:pt x="16" y="108"/>
                    <a:pt x="20" y="103"/>
                    <a:pt x="20" y="9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2" y="0"/>
                  </a:cubicBezTo>
                  <a:close/>
                  <a:moveTo>
                    <a:pt x="13" y="104"/>
                  </a:moveTo>
                  <a:cubicBezTo>
                    <a:pt x="10" y="105"/>
                    <a:pt x="7" y="104"/>
                    <a:pt x="5" y="102"/>
                  </a:cubicBezTo>
                  <a:cubicBezTo>
                    <a:pt x="4" y="99"/>
                    <a:pt x="5" y="96"/>
                    <a:pt x="7" y="94"/>
                  </a:cubicBezTo>
                  <a:cubicBezTo>
                    <a:pt x="10" y="92"/>
                    <a:pt x="13" y="93"/>
                    <a:pt x="15" y="96"/>
                  </a:cubicBezTo>
                  <a:cubicBezTo>
                    <a:pt x="17" y="98"/>
                    <a:pt x="16" y="102"/>
                    <a:pt x="13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xmlns="" id="{980F53D0-E60F-42DD-8E11-DF19BA4E6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387"/>
              <a:ext cx="98" cy="117"/>
            </a:xfrm>
            <a:custGeom>
              <a:avLst/>
              <a:gdLst>
                <a:gd name="T0" fmla="*/ 14 w 47"/>
                <a:gd name="T1" fmla="*/ 53 h 56"/>
                <a:gd name="T2" fmla="*/ 18 w 47"/>
                <a:gd name="T3" fmla="*/ 56 h 56"/>
                <a:gd name="T4" fmla="*/ 29 w 47"/>
                <a:gd name="T5" fmla="*/ 55 h 56"/>
                <a:gd name="T6" fmla="*/ 43 w 47"/>
                <a:gd name="T7" fmla="*/ 56 h 56"/>
                <a:gd name="T8" fmla="*/ 47 w 47"/>
                <a:gd name="T9" fmla="*/ 52 h 56"/>
                <a:gd name="T10" fmla="*/ 47 w 47"/>
                <a:gd name="T11" fmla="*/ 4 h 56"/>
                <a:gd name="T12" fmla="*/ 43 w 47"/>
                <a:gd name="T13" fmla="*/ 0 h 56"/>
                <a:gd name="T14" fmla="*/ 3 w 47"/>
                <a:gd name="T15" fmla="*/ 7 h 56"/>
                <a:gd name="T16" fmla="*/ 1 w 47"/>
                <a:gd name="T17" fmla="*/ 12 h 56"/>
                <a:gd name="T18" fmla="*/ 14 w 47"/>
                <a:gd name="T1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6">
                  <a:moveTo>
                    <a:pt x="14" y="53"/>
                  </a:moveTo>
                  <a:cubicBezTo>
                    <a:pt x="14" y="54"/>
                    <a:pt x="16" y="56"/>
                    <a:pt x="18" y="56"/>
                  </a:cubicBezTo>
                  <a:cubicBezTo>
                    <a:pt x="21" y="55"/>
                    <a:pt x="25" y="55"/>
                    <a:pt x="29" y="55"/>
                  </a:cubicBezTo>
                  <a:cubicBezTo>
                    <a:pt x="35" y="55"/>
                    <a:pt x="37" y="55"/>
                    <a:pt x="43" y="56"/>
                  </a:cubicBezTo>
                  <a:cubicBezTo>
                    <a:pt x="45" y="56"/>
                    <a:pt x="47" y="54"/>
                    <a:pt x="47" y="52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2"/>
                    <a:pt x="45" y="0"/>
                    <a:pt x="43" y="0"/>
                  </a:cubicBezTo>
                  <a:cubicBezTo>
                    <a:pt x="31" y="0"/>
                    <a:pt x="15" y="3"/>
                    <a:pt x="3" y="7"/>
                  </a:cubicBezTo>
                  <a:cubicBezTo>
                    <a:pt x="1" y="8"/>
                    <a:pt x="0" y="10"/>
                    <a:pt x="1" y="12"/>
                  </a:cubicBezTo>
                  <a:lnTo>
                    <a:pt x="14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xmlns="" id="{0A2DEEE5-C2A7-4FE4-9435-F82508F85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" y="2408"/>
              <a:ext cx="91" cy="100"/>
            </a:xfrm>
            <a:custGeom>
              <a:avLst/>
              <a:gdLst>
                <a:gd name="T0" fmla="*/ 2 w 44"/>
                <a:gd name="T1" fmla="*/ 38 h 48"/>
                <a:gd name="T2" fmla="*/ 27 w 44"/>
                <a:gd name="T3" fmla="*/ 46 h 48"/>
                <a:gd name="T4" fmla="*/ 33 w 44"/>
                <a:gd name="T5" fmla="*/ 44 h 48"/>
                <a:gd name="T6" fmla="*/ 44 w 44"/>
                <a:gd name="T7" fmla="*/ 11 h 48"/>
                <a:gd name="T8" fmla="*/ 41 w 44"/>
                <a:gd name="T9" fmla="*/ 6 h 48"/>
                <a:gd name="T10" fmla="*/ 4 w 44"/>
                <a:gd name="T11" fmla="*/ 0 h 48"/>
                <a:gd name="T12" fmla="*/ 0 w 44"/>
                <a:gd name="T13" fmla="*/ 4 h 48"/>
                <a:gd name="T14" fmla="*/ 0 w 44"/>
                <a:gd name="T15" fmla="*/ 34 h 48"/>
                <a:gd name="T16" fmla="*/ 2 w 44"/>
                <a:gd name="T1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8">
                  <a:moveTo>
                    <a:pt x="2" y="38"/>
                  </a:moveTo>
                  <a:cubicBezTo>
                    <a:pt x="11" y="40"/>
                    <a:pt x="19" y="43"/>
                    <a:pt x="27" y="46"/>
                  </a:cubicBezTo>
                  <a:cubicBezTo>
                    <a:pt x="29" y="48"/>
                    <a:pt x="32" y="46"/>
                    <a:pt x="33" y="44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9"/>
                    <a:pt x="43" y="7"/>
                    <a:pt x="41" y="6"/>
                  </a:cubicBezTo>
                  <a:cubicBezTo>
                    <a:pt x="29" y="2"/>
                    <a:pt x="17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1" y="37"/>
                    <a:pt x="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xmlns="" id="{DD91C4EA-D106-4968-8FD9-BAB1746ED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7" y="2552"/>
              <a:ext cx="118" cy="112"/>
            </a:xfrm>
            <a:custGeom>
              <a:avLst/>
              <a:gdLst>
                <a:gd name="T0" fmla="*/ 35 w 57"/>
                <a:gd name="T1" fmla="*/ 2 h 54"/>
                <a:gd name="T2" fmla="*/ 2 w 57"/>
                <a:gd name="T3" fmla="*/ 26 h 54"/>
                <a:gd name="T4" fmla="*/ 1 w 57"/>
                <a:gd name="T5" fmla="*/ 31 h 54"/>
                <a:gd name="T6" fmla="*/ 9 w 57"/>
                <a:gd name="T7" fmla="*/ 51 h 54"/>
                <a:gd name="T8" fmla="*/ 14 w 57"/>
                <a:gd name="T9" fmla="*/ 53 h 54"/>
                <a:gd name="T10" fmla="*/ 53 w 57"/>
                <a:gd name="T11" fmla="*/ 41 h 54"/>
                <a:gd name="T12" fmla="*/ 56 w 57"/>
                <a:gd name="T13" fmla="*/ 35 h 54"/>
                <a:gd name="T14" fmla="*/ 41 w 57"/>
                <a:gd name="T15" fmla="*/ 3 h 54"/>
                <a:gd name="T16" fmla="*/ 35 w 57"/>
                <a:gd name="T17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4">
                  <a:moveTo>
                    <a:pt x="35" y="2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27"/>
                    <a:pt x="0" y="29"/>
                    <a:pt x="1" y="31"/>
                  </a:cubicBezTo>
                  <a:cubicBezTo>
                    <a:pt x="4" y="38"/>
                    <a:pt x="7" y="44"/>
                    <a:pt x="9" y="51"/>
                  </a:cubicBezTo>
                  <a:cubicBezTo>
                    <a:pt x="10" y="53"/>
                    <a:pt x="12" y="54"/>
                    <a:pt x="14" y="53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5" y="40"/>
                    <a:pt x="57" y="38"/>
                    <a:pt x="56" y="35"/>
                  </a:cubicBezTo>
                  <a:cubicBezTo>
                    <a:pt x="52" y="24"/>
                    <a:pt x="47" y="13"/>
                    <a:pt x="41" y="3"/>
                  </a:cubicBezTo>
                  <a:cubicBezTo>
                    <a:pt x="40" y="1"/>
                    <a:pt x="37" y="0"/>
                    <a:pt x="3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xmlns="" id="{F3049FF9-28CB-4D0D-A6E1-3E9F71475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2427"/>
              <a:ext cx="97" cy="79"/>
            </a:xfrm>
            <a:custGeom>
              <a:avLst/>
              <a:gdLst>
                <a:gd name="T0" fmla="*/ 14 w 47"/>
                <a:gd name="T1" fmla="*/ 37 h 38"/>
                <a:gd name="T2" fmla="*/ 43 w 47"/>
                <a:gd name="T3" fmla="*/ 27 h 38"/>
                <a:gd name="T4" fmla="*/ 46 w 47"/>
                <a:gd name="T5" fmla="*/ 22 h 38"/>
                <a:gd name="T6" fmla="*/ 40 w 47"/>
                <a:gd name="T7" fmla="*/ 3 h 38"/>
                <a:gd name="T8" fmla="*/ 35 w 47"/>
                <a:gd name="T9" fmla="*/ 1 h 38"/>
                <a:gd name="T10" fmla="*/ 2 w 47"/>
                <a:gd name="T11" fmla="*/ 19 h 38"/>
                <a:gd name="T12" fmla="*/ 1 w 47"/>
                <a:gd name="T13" fmla="*/ 25 h 38"/>
                <a:gd name="T14" fmla="*/ 9 w 47"/>
                <a:gd name="T15" fmla="*/ 36 h 38"/>
                <a:gd name="T16" fmla="*/ 14 w 47"/>
                <a:gd name="T17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8">
                  <a:moveTo>
                    <a:pt x="14" y="37"/>
                  </a:moveTo>
                  <a:cubicBezTo>
                    <a:pt x="23" y="33"/>
                    <a:pt x="33" y="29"/>
                    <a:pt x="43" y="27"/>
                  </a:cubicBezTo>
                  <a:cubicBezTo>
                    <a:pt x="45" y="27"/>
                    <a:pt x="47" y="25"/>
                    <a:pt x="46" y="22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39" y="1"/>
                    <a:pt x="37" y="0"/>
                    <a:pt x="35" y="1"/>
                  </a:cubicBezTo>
                  <a:cubicBezTo>
                    <a:pt x="23" y="6"/>
                    <a:pt x="12" y="12"/>
                    <a:pt x="2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10" y="38"/>
                    <a:pt x="12" y="38"/>
                    <a:pt x="14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xmlns="" id="{CD828F3F-F9BB-4A10-80F5-BC59FB953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" y="2427"/>
              <a:ext cx="107" cy="123"/>
            </a:xfrm>
            <a:custGeom>
              <a:avLst/>
              <a:gdLst>
                <a:gd name="T0" fmla="*/ 12 w 52"/>
                <a:gd name="T1" fmla="*/ 4 h 59"/>
                <a:gd name="T2" fmla="*/ 1 w 52"/>
                <a:gd name="T3" fmla="*/ 38 h 59"/>
                <a:gd name="T4" fmla="*/ 2 w 52"/>
                <a:gd name="T5" fmla="*/ 43 h 59"/>
                <a:gd name="T6" fmla="*/ 22 w 52"/>
                <a:gd name="T7" fmla="*/ 57 h 59"/>
                <a:gd name="T8" fmla="*/ 28 w 52"/>
                <a:gd name="T9" fmla="*/ 57 h 59"/>
                <a:gd name="T10" fmla="*/ 51 w 52"/>
                <a:gd name="T11" fmla="*/ 25 h 59"/>
                <a:gd name="T12" fmla="*/ 50 w 52"/>
                <a:gd name="T13" fmla="*/ 19 h 59"/>
                <a:gd name="T14" fmla="*/ 17 w 52"/>
                <a:gd name="T15" fmla="*/ 1 h 59"/>
                <a:gd name="T16" fmla="*/ 12 w 52"/>
                <a:gd name="T17" fmla="*/ 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9">
                  <a:moveTo>
                    <a:pt x="12" y="4"/>
                  </a:moveTo>
                  <a:cubicBezTo>
                    <a:pt x="1" y="38"/>
                    <a:pt x="1" y="38"/>
                    <a:pt x="1" y="38"/>
                  </a:cubicBezTo>
                  <a:cubicBezTo>
                    <a:pt x="0" y="40"/>
                    <a:pt x="1" y="42"/>
                    <a:pt x="2" y="43"/>
                  </a:cubicBezTo>
                  <a:cubicBezTo>
                    <a:pt x="9" y="47"/>
                    <a:pt x="16" y="51"/>
                    <a:pt x="22" y="57"/>
                  </a:cubicBezTo>
                  <a:cubicBezTo>
                    <a:pt x="24" y="59"/>
                    <a:pt x="26" y="58"/>
                    <a:pt x="28" y="5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2" y="23"/>
                    <a:pt x="52" y="21"/>
                    <a:pt x="50" y="19"/>
                  </a:cubicBezTo>
                  <a:cubicBezTo>
                    <a:pt x="40" y="12"/>
                    <a:pt x="29" y="6"/>
                    <a:pt x="17" y="1"/>
                  </a:cubicBezTo>
                  <a:cubicBezTo>
                    <a:pt x="15" y="0"/>
                    <a:pt x="13" y="1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xmlns="" id="{82274B18-42DD-49B5-9171-F6C543C3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4" y="2479"/>
              <a:ext cx="118" cy="125"/>
            </a:xfrm>
            <a:custGeom>
              <a:avLst/>
              <a:gdLst>
                <a:gd name="T0" fmla="*/ 2 w 57"/>
                <a:gd name="T1" fmla="*/ 40 h 60"/>
                <a:gd name="T2" fmla="*/ 16 w 57"/>
                <a:gd name="T3" fmla="*/ 57 h 60"/>
                <a:gd name="T4" fmla="*/ 22 w 57"/>
                <a:gd name="T5" fmla="*/ 58 h 60"/>
                <a:gd name="T6" fmla="*/ 55 w 57"/>
                <a:gd name="T7" fmla="*/ 34 h 60"/>
                <a:gd name="T8" fmla="*/ 56 w 57"/>
                <a:gd name="T9" fmla="*/ 29 h 60"/>
                <a:gd name="T10" fmla="*/ 31 w 57"/>
                <a:gd name="T11" fmla="*/ 2 h 60"/>
                <a:gd name="T12" fmla="*/ 25 w 57"/>
                <a:gd name="T13" fmla="*/ 2 h 60"/>
                <a:gd name="T14" fmla="*/ 2 w 57"/>
                <a:gd name="T15" fmla="*/ 34 h 60"/>
                <a:gd name="T16" fmla="*/ 2 w 57"/>
                <a:gd name="T17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0">
                  <a:moveTo>
                    <a:pt x="2" y="40"/>
                  </a:moveTo>
                  <a:cubicBezTo>
                    <a:pt x="7" y="45"/>
                    <a:pt x="12" y="51"/>
                    <a:pt x="16" y="57"/>
                  </a:cubicBezTo>
                  <a:cubicBezTo>
                    <a:pt x="17" y="59"/>
                    <a:pt x="20" y="60"/>
                    <a:pt x="22" y="58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6" y="33"/>
                    <a:pt x="57" y="31"/>
                    <a:pt x="56" y="29"/>
                  </a:cubicBezTo>
                  <a:cubicBezTo>
                    <a:pt x="48" y="19"/>
                    <a:pt x="40" y="10"/>
                    <a:pt x="31" y="2"/>
                  </a:cubicBezTo>
                  <a:cubicBezTo>
                    <a:pt x="29" y="0"/>
                    <a:pt x="26" y="0"/>
                    <a:pt x="25" y="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6"/>
                    <a:pt x="0" y="38"/>
                    <a:pt x="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xmlns="" id="{FDE754C9-7D70-4AF9-BD53-1E61963BB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479"/>
              <a:ext cx="83" cy="83"/>
            </a:xfrm>
            <a:custGeom>
              <a:avLst/>
              <a:gdLst>
                <a:gd name="T0" fmla="*/ 13 w 40"/>
                <a:gd name="T1" fmla="*/ 38 h 40"/>
                <a:gd name="T2" fmla="*/ 38 w 40"/>
                <a:gd name="T3" fmla="*/ 17 h 40"/>
                <a:gd name="T4" fmla="*/ 39 w 40"/>
                <a:gd name="T5" fmla="*/ 12 h 40"/>
                <a:gd name="T6" fmla="*/ 32 w 40"/>
                <a:gd name="T7" fmla="*/ 2 h 40"/>
                <a:gd name="T8" fmla="*/ 26 w 40"/>
                <a:gd name="T9" fmla="*/ 1 h 40"/>
                <a:gd name="T10" fmla="*/ 1 w 40"/>
                <a:gd name="T11" fmla="*/ 28 h 40"/>
                <a:gd name="T12" fmla="*/ 2 w 40"/>
                <a:gd name="T13" fmla="*/ 34 h 40"/>
                <a:gd name="T14" fmla="*/ 7 w 40"/>
                <a:gd name="T15" fmla="*/ 38 h 40"/>
                <a:gd name="T16" fmla="*/ 13 w 40"/>
                <a:gd name="T1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40">
                  <a:moveTo>
                    <a:pt x="13" y="38"/>
                  </a:moveTo>
                  <a:cubicBezTo>
                    <a:pt x="20" y="30"/>
                    <a:pt x="29" y="23"/>
                    <a:pt x="38" y="17"/>
                  </a:cubicBezTo>
                  <a:cubicBezTo>
                    <a:pt x="40" y="16"/>
                    <a:pt x="40" y="13"/>
                    <a:pt x="39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28" y="0"/>
                    <a:pt x="26" y="1"/>
                  </a:cubicBezTo>
                  <a:cubicBezTo>
                    <a:pt x="17" y="9"/>
                    <a:pt x="8" y="18"/>
                    <a:pt x="1" y="28"/>
                  </a:cubicBezTo>
                  <a:cubicBezTo>
                    <a:pt x="0" y="30"/>
                    <a:pt x="0" y="33"/>
                    <a:pt x="2" y="34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9" y="40"/>
                    <a:pt x="12" y="39"/>
                    <a:pt x="1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xmlns="" id="{0CAD06FB-2F2F-4875-A06D-651D03222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" y="2554"/>
              <a:ext cx="58" cy="85"/>
            </a:xfrm>
            <a:custGeom>
              <a:avLst/>
              <a:gdLst>
                <a:gd name="T0" fmla="*/ 3 w 28"/>
                <a:gd name="T1" fmla="*/ 40 h 41"/>
                <a:gd name="T2" fmla="*/ 5 w 28"/>
                <a:gd name="T3" fmla="*/ 40 h 41"/>
                <a:gd name="T4" fmla="*/ 10 w 28"/>
                <a:gd name="T5" fmla="*/ 38 h 41"/>
                <a:gd name="T6" fmla="*/ 27 w 28"/>
                <a:gd name="T7" fmla="*/ 10 h 41"/>
                <a:gd name="T8" fmla="*/ 26 w 28"/>
                <a:gd name="T9" fmla="*/ 4 h 41"/>
                <a:gd name="T10" fmla="*/ 21 w 28"/>
                <a:gd name="T11" fmla="*/ 1 h 41"/>
                <a:gd name="T12" fmla="*/ 16 w 28"/>
                <a:gd name="T13" fmla="*/ 2 h 41"/>
                <a:gd name="T14" fmla="*/ 0 w 28"/>
                <a:gd name="T15" fmla="*/ 35 h 41"/>
                <a:gd name="T16" fmla="*/ 3 w 28"/>
                <a:gd name="T1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1">
                  <a:moveTo>
                    <a:pt x="3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7" y="41"/>
                    <a:pt x="9" y="40"/>
                    <a:pt x="10" y="38"/>
                  </a:cubicBezTo>
                  <a:cubicBezTo>
                    <a:pt x="14" y="28"/>
                    <a:pt x="20" y="18"/>
                    <a:pt x="27" y="10"/>
                  </a:cubicBezTo>
                  <a:cubicBezTo>
                    <a:pt x="28" y="8"/>
                    <a:pt x="28" y="5"/>
                    <a:pt x="26" y="4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0"/>
                    <a:pt x="17" y="0"/>
                    <a:pt x="16" y="2"/>
                  </a:cubicBezTo>
                  <a:cubicBezTo>
                    <a:pt x="9" y="12"/>
                    <a:pt x="4" y="23"/>
                    <a:pt x="0" y="35"/>
                  </a:cubicBezTo>
                  <a:cubicBezTo>
                    <a:pt x="0" y="37"/>
                    <a:pt x="1" y="39"/>
                    <a:pt x="3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xmlns="" id="{6DC6D59E-244D-484F-A1BA-1B8F7554C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" y="2641"/>
              <a:ext cx="110" cy="90"/>
            </a:xfrm>
            <a:custGeom>
              <a:avLst/>
              <a:gdLst>
                <a:gd name="T0" fmla="*/ 1 w 53"/>
                <a:gd name="T1" fmla="*/ 18 h 43"/>
                <a:gd name="T2" fmla="*/ 4 w 53"/>
                <a:gd name="T3" fmla="*/ 39 h 43"/>
                <a:gd name="T4" fmla="*/ 8 w 53"/>
                <a:gd name="T5" fmla="*/ 43 h 43"/>
                <a:gd name="T6" fmla="*/ 49 w 53"/>
                <a:gd name="T7" fmla="*/ 43 h 43"/>
                <a:gd name="T8" fmla="*/ 53 w 53"/>
                <a:gd name="T9" fmla="*/ 39 h 43"/>
                <a:gd name="T10" fmla="*/ 48 w 53"/>
                <a:gd name="T11" fmla="*/ 3 h 43"/>
                <a:gd name="T12" fmla="*/ 43 w 53"/>
                <a:gd name="T13" fmla="*/ 0 h 43"/>
                <a:gd name="T14" fmla="*/ 3 w 53"/>
                <a:gd name="T15" fmla="*/ 13 h 43"/>
                <a:gd name="T16" fmla="*/ 1 w 53"/>
                <a:gd name="T17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3">
                  <a:moveTo>
                    <a:pt x="1" y="18"/>
                  </a:moveTo>
                  <a:cubicBezTo>
                    <a:pt x="2" y="25"/>
                    <a:pt x="3" y="32"/>
                    <a:pt x="4" y="39"/>
                  </a:cubicBezTo>
                  <a:cubicBezTo>
                    <a:pt x="4" y="41"/>
                    <a:pt x="6" y="43"/>
                    <a:pt x="8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1" y="43"/>
                    <a:pt x="53" y="41"/>
                    <a:pt x="53" y="39"/>
                  </a:cubicBezTo>
                  <a:cubicBezTo>
                    <a:pt x="53" y="26"/>
                    <a:pt x="51" y="15"/>
                    <a:pt x="48" y="3"/>
                  </a:cubicBezTo>
                  <a:cubicBezTo>
                    <a:pt x="47" y="1"/>
                    <a:pt x="45" y="0"/>
                    <a:pt x="43" y="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4"/>
                    <a:pt x="0" y="16"/>
                    <a:pt x="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xmlns="" id="{2B4348A4-6605-4811-9441-477E45B89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" y="2641"/>
              <a:ext cx="31" cy="90"/>
            </a:xfrm>
            <a:custGeom>
              <a:avLst/>
              <a:gdLst>
                <a:gd name="T0" fmla="*/ 8 w 15"/>
                <a:gd name="T1" fmla="*/ 43 h 43"/>
                <a:gd name="T2" fmla="*/ 14 w 15"/>
                <a:gd name="T3" fmla="*/ 6 h 43"/>
                <a:gd name="T4" fmla="*/ 12 w 15"/>
                <a:gd name="T5" fmla="*/ 1 h 43"/>
                <a:gd name="T6" fmla="*/ 11 w 15"/>
                <a:gd name="T7" fmla="*/ 0 h 43"/>
                <a:gd name="T8" fmla="*/ 6 w 15"/>
                <a:gd name="T9" fmla="*/ 3 h 43"/>
                <a:gd name="T10" fmla="*/ 0 w 15"/>
                <a:gd name="T11" fmla="*/ 43 h 43"/>
                <a:gd name="T12" fmla="*/ 8 w 1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3">
                  <a:moveTo>
                    <a:pt x="8" y="43"/>
                  </a:moveTo>
                  <a:cubicBezTo>
                    <a:pt x="8" y="30"/>
                    <a:pt x="10" y="18"/>
                    <a:pt x="14" y="6"/>
                  </a:cubicBezTo>
                  <a:cubicBezTo>
                    <a:pt x="15" y="4"/>
                    <a:pt x="14" y="2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6" y="1"/>
                    <a:pt x="6" y="3"/>
                  </a:cubicBezTo>
                  <a:cubicBezTo>
                    <a:pt x="2" y="16"/>
                    <a:pt x="0" y="29"/>
                    <a:pt x="0" y="43"/>
                  </a:cubicBezTo>
                  <a:lnTo>
                    <a:pt x="8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3" name="Group 32">
            <a:extLst>
              <a:ext uri="{FF2B5EF4-FFF2-40B4-BE49-F238E27FC236}">
                <a16:creationId xmlns:a16="http://schemas.microsoft.com/office/drawing/2014/main" xmlns="" id="{78B727D9-F642-4A26-958E-AC3D140E22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13442" y="5246483"/>
            <a:ext cx="421480" cy="217368"/>
            <a:chOff x="3838" y="-4"/>
            <a:chExt cx="636" cy="328"/>
          </a:xfrm>
          <a:solidFill>
            <a:srgbClr val="E10019"/>
          </a:solidFill>
        </p:grpSpPr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xmlns="" id="{8D36B0A6-7805-481E-B0E9-1C5E7F414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1" y="-2"/>
              <a:ext cx="94" cy="75"/>
            </a:xfrm>
            <a:custGeom>
              <a:avLst/>
              <a:gdLst>
                <a:gd name="T0" fmla="*/ 8 w 45"/>
                <a:gd name="T1" fmla="*/ 32 h 36"/>
                <a:gd name="T2" fmla="*/ 12 w 45"/>
                <a:gd name="T3" fmla="*/ 34 h 36"/>
                <a:gd name="T4" fmla="*/ 23 w 45"/>
                <a:gd name="T5" fmla="*/ 34 h 36"/>
                <a:gd name="T6" fmla="*/ 40 w 45"/>
                <a:gd name="T7" fmla="*/ 35 h 36"/>
                <a:gd name="T8" fmla="*/ 45 w 45"/>
                <a:gd name="T9" fmla="*/ 31 h 36"/>
                <a:gd name="T10" fmla="*/ 45 w 45"/>
                <a:gd name="T11" fmla="*/ 4 h 36"/>
                <a:gd name="T12" fmla="*/ 41 w 45"/>
                <a:gd name="T13" fmla="*/ 0 h 36"/>
                <a:gd name="T14" fmla="*/ 4 w 45"/>
                <a:gd name="T15" fmla="*/ 6 h 36"/>
                <a:gd name="T16" fmla="*/ 1 w 45"/>
                <a:gd name="T17" fmla="*/ 11 h 36"/>
                <a:gd name="T18" fmla="*/ 8 w 45"/>
                <a:gd name="T19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6">
                  <a:moveTo>
                    <a:pt x="8" y="32"/>
                  </a:moveTo>
                  <a:cubicBezTo>
                    <a:pt x="8" y="33"/>
                    <a:pt x="10" y="34"/>
                    <a:pt x="12" y="34"/>
                  </a:cubicBezTo>
                  <a:cubicBezTo>
                    <a:pt x="15" y="34"/>
                    <a:pt x="19" y="34"/>
                    <a:pt x="23" y="34"/>
                  </a:cubicBezTo>
                  <a:cubicBezTo>
                    <a:pt x="29" y="34"/>
                    <a:pt x="34" y="34"/>
                    <a:pt x="40" y="35"/>
                  </a:cubicBezTo>
                  <a:cubicBezTo>
                    <a:pt x="42" y="36"/>
                    <a:pt x="45" y="34"/>
                    <a:pt x="45" y="31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1"/>
                    <a:pt x="43" y="0"/>
                    <a:pt x="41" y="0"/>
                  </a:cubicBezTo>
                  <a:cubicBezTo>
                    <a:pt x="28" y="0"/>
                    <a:pt x="15" y="2"/>
                    <a:pt x="4" y="6"/>
                  </a:cubicBezTo>
                  <a:cubicBezTo>
                    <a:pt x="2" y="7"/>
                    <a:pt x="0" y="9"/>
                    <a:pt x="1" y="11"/>
                  </a:cubicBezTo>
                  <a:lnTo>
                    <a:pt x="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xmlns="" id="{51715551-BBEB-4801-9350-769EDB72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" y="-4"/>
              <a:ext cx="93" cy="100"/>
            </a:xfrm>
            <a:custGeom>
              <a:avLst/>
              <a:gdLst>
                <a:gd name="T0" fmla="*/ 3 w 45"/>
                <a:gd name="T1" fmla="*/ 38 h 48"/>
                <a:gd name="T2" fmla="*/ 28 w 45"/>
                <a:gd name="T3" fmla="*/ 47 h 48"/>
                <a:gd name="T4" fmla="*/ 33 w 45"/>
                <a:gd name="T5" fmla="*/ 45 h 48"/>
                <a:gd name="T6" fmla="*/ 44 w 45"/>
                <a:gd name="T7" fmla="*/ 12 h 48"/>
                <a:gd name="T8" fmla="*/ 42 w 45"/>
                <a:gd name="T9" fmla="*/ 7 h 48"/>
                <a:gd name="T10" fmla="*/ 4 w 45"/>
                <a:gd name="T11" fmla="*/ 0 h 48"/>
                <a:gd name="T12" fmla="*/ 0 w 45"/>
                <a:gd name="T13" fmla="*/ 4 h 48"/>
                <a:gd name="T14" fmla="*/ 0 w 45"/>
                <a:gd name="T15" fmla="*/ 34 h 48"/>
                <a:gd name="T16" fmla="*/ 3 w 45"/>
                <a:gd name="T1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8">
                  <a:moveTo>
                    <a:pt x="3" y="38"/>
                  </a:moveTo>
                  <a:cubicBezTo>
                    <a:pt x="11" y="40"/>
                    <a:pt x="20" y="43"/>
                    <a:pt x="28" y="47"/>
                  </a:cubicBezTo>
                  <a:cubicBezTo>
                    <a:pt x="30" y="48"/>
                    <a:pt x="32" y="47"/>
                    <a:pt x="33" y="45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5" y="10"/>
                    <a:pt x="44" y="7"/>
                    <a:pt x="42" y="7"/>
                  </a:cubicBezTo>
                  <a:cubicBezTo>
                    <a:pt x="30" y="3"/>
                    <a:pt x="17" y="1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1" y="38"/>
                    <a:pt x="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xmlns="" id="{246022D6-7E1E-44FF-81E5-A10CAA61F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3" y="142"/>
              <a:ext cx="118" cy="111"/>
            </a:xfrm>
            <a:custGeom>
              <a:avLst/>
              <a:gdLst>
                <a:gd name="T0" fmla="*/ 36 w 57"/>
                <a:gd name="T1" fmla="*/ 1 h 53"/>
                <a:gd name="T2" fmla="*/ 2 w 57"/>
                <a:gd name="T3" fmla="*/ 25 h 53"/>
                <a:gd name="T4" fmla="*/ 1 w 57"/>
                <a:gd name="T5" fmla="*/ 31 h 53"/>
                <a:gd name="T6" fmla="*/ 10 w 57"/>
                <a:gd name="T7" fmla="*/ 50 h 53"/>
                <a:gd name="T8" fmla="*/ 15 w 57"/>
                <a:gd name="T9" fmla="*/ 53 h 53"/>
                <a:gd name="T10" fmla="*/ 54 w 57"/>
                <a:gd name="T11" fmla="*/ 40 h 53"/>
                <a:gd name="T12" fmla="*/ 56 w 57"/>
                <a:gd name="T13" fmla="*/ 35 h 53"/>
                <a:gd name="T14" fmla="*/ 41 w 57"/>
                <a:gd name="T15" fmla="*/ 2 h 53"/>
                <a:gd name="T16" fmla="*/ 36 w 57"/>
                <a:gd name="T1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3">
                  <a:moveTo>
                    <a:pt x="36" y="1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7"/>
                    <a:pt x="0" y="29"/>
                    <a:pt x="1" y="31"/>
                  </a:cubicBezTo>
                  <a:cubicBezTo>
                    <a:pt x="5" y="37"/>
                    <a:pt x="7" y="43"/>
                    <a:pt x="10" y="50"/>
                  </a:cubicBezTo>
                  <a:cubicBezTo>
                    <a:pt x="11" y="52"/>
                    <a:pt x="13" y="53"/>
                    <a:pt x="15" y="53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6" y="39"/>
                    <a:pt x="57" y="37"/>
                    <a:pt x="56" y="35"/>
                  </a:cubicBezTo>
                  <a:cubicBezTo>
                    <a:pt x="52" y="23"/>
                    <a:pt x="47" y="12"/>
                    <a:pt x="41" y="2"/>
                  </a:cubicBezTo>
                  <a:cubicBezTo>
                    <a:pt x="40" y="0"/>
                    <a:pt x="37" y="0"/>
                    <a:pt x="3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xmlns="" id="{E94ABF7A-E1F5-4B4C-980A-AEE70E8A8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4" y="15"/>
              <a:ext cx="98" cy="79"/>
            </a:xfrm>
            <a:custGeom>
              <a:avLst/>
              <a:gdLst>
                <a:gd name="T0" fmla="*/ 14 w 47"/>
                <a:gd name="T1" fmla="*/ 38 h 38"/>
                <a:gd name="T2" fmla="*/ 43 w 47"/>
                <a:gd name="T3" fmla="*/ 28 h 38"/>
                <a:gd name="T4" fmla="*/ 46 w 47"/>
                <a:gd name="T5" fmla="*/ 22 h 38"/>
                <a:gd name="T6" fmla="*/ 40 w 47"/>
                <a:gd name="T7" fmla="*/ 4 h 38"/>
                <a:gd name="T8" fmla="*/ 35 w 47"/>
                <a:gd name="T9" fmla="*/ 1 h 38"/>
                <a:gd name="T10" fmla="*/ 2 w 47"/>
                <a:gd name="T11" fmla="*/ 20 h 38"/>
                <a:gd name="T12" fmla="*/ 2 w 47"/>
                <a:gd name="T13" fmla="*/ 25 h 38"/>
                <a:gd name="T14" fmla="*/ 10 w 47"/>
                <a:gd name="T15" fmla="*/ 36 h 38"/>
                <a:gd name="T16" fmla="*/ 14 w 47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8">
                  <a:moveTo>
                    <a:pt x="14" y="38"/>
                  </a:moveTo>
                  <a:cubicBezTo>
                    <a:pt x="24" y="33"/>
                    <a:pt x="33" y="30"/>
                    <a:pt x="43" y="28"/>
                  </a:cubicBezTo>
                  <a:cubicBezTo>
                    <a:pt x="46" y="27"/>
                    <a:pt x="47" y="25"/>
                    <a:pt x="46" y="22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37" y="0"/>
                    <a:pt x="35" y="1"/>
                  </a:cubicBezTo>
                  <a:cubicBezTo>
                    <a:pt x="24" y="6"/>
                    <a:pt x="12" y="12"/>
                    <a:pt x="2" y="20"/>
                  </a:cubicBezTo>
                  <a:cubicBezTo>
                    <a:pt x="1" y="21"/>
                    <a:pt x="0" y="23"/>
                    <a:pt x="2" y="2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8"/>
                    <a:pt x="13" y="38"/>
                    <a:pt x="1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xmlns="" id="{4DD8E9C5-873B-4732-96A0-4FC07370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3" y="17"/>
              <a:ext cx="108" cy="121"/>
            </a:xfrm>
            <a:custGeom>
              <a:avLst/>
              <a:gdLst>
                <a:gd name="T0" fmla="*/ 12 w 52"/>
                <a:gd name="T1" fmla="*/ 3 h 58"/>
                <a:gd name="T2" fmla="*/ 1 w 52"/>
                <a:gd name="T3" fmla="*/ 37 h 58"/>
                <a:gd name="T4" fmla="*/ 2 w 52"/>
                <a:gd name="T5" fmla="*/ 42 h 58"/>
                <a:gd name="T6" fmla="*/ 22 w 52"/>
                <a:gd name="T7" fmla="*/ 56 h 58"/>
                <a:gd name="T8" fmla="*/ 28 w 52"/>
                <a:gd name="T9" fmla="*/ 56 h 58"/>
                <a:gd name="T10" fmla="*/ 51 w 52"/>
                <a:gd name="T11" fmla="*/ 24 h 58"/>
                <a:gd name="T12" fmla="*/ 50 w 52"/>
                <a:gd name="T13" fmla="*/ 19 h 58"/>
                <a:gd name="T14" fmla="*/ 17 w 52"/>
                <a:gd name="T15" fmla="*/ 0 h 58"/>
                <a:gd name="T16" fmla="*/ 12 w 52"/>
                <a:gd name="T17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8">
                  <a:moveTo>
                    <a:pt x="12" y="3"/>
                  </a:moveTo>
                  <a:cubicBezTo>
                    <a:pt x="1" y="37"/>
                    <a:pt x="1" y="37"/>
                    <a:pt x="1" y="37"/>
                  </a:cubicBezTo>
                  <a:cubicBezTo>
                    <a:pt x="0" y="39"/>
                    <a:pt x="1" y="41"/>
                    <a:pt x="2" y="42"/>
                  </a:cubicBezTo>
                  <a:cubicBezTo>
                    <a:pt x="9" y="46"/>
                    <a:pt x="16" y="51"/>
                    <a:pt x="22" y="56"/>
                  </a:cubicBezTo>
                  <a:cubicBezTo>
                    <a:pt x="23" y="58"/>
                    <a:pt x="26" y="57"/>
                    <a:pt x="28" y="5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2" y="23"/>
                    <a:pt x="51" y="20"/>
                    <a:pt x="50" y="19"/>
                  </a:cubicBezTo>
                  <a:cubicBezTo>
                    <a:pt x="40" y="11"/>
                    <a:pt x="29" y="5"/>
                    <a:pt x="17" y="0"/>
                  </a:cubicBezTo>
                  <a:cubicBezTo>
                    <a:pt x="15" y="0"/>
                    <a:pt x="12" y="1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xmlns="" id="{CE60EAA8-32F9-4CEF-A104-EB43E8B60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1" y="67"/>
              <a:ext cx="116" cy="126"/>
            </a:xfrm>
            <a:custGeom>
              <a:avLst/>
              <a:gdLst>
                <a:gd name="T0" fmla="*/ 1 w 56"/>
                <a:gd name="T1" fmla="*/ 40 h 60"/>
                <a:gd name="T2" fmla="*/ 15 w 56"/>
                <a:gd name="T3" fmla="*/ 57 h 60"/>
                <a:gd name="T4" fmla="*/ 21 w 56"/>
                <a:gd name="T5" fmla="*/ 59 h 60"/>
                <a:gd name="T6" fmla="*/ 54 w 56"/>
                <a:gd name="T7" fmla="*/ 35 h 60"/>
                <a:gd name="T8" fmla="*/ 55 w 56"/>
                <a:gd name="T9" fmla="*/ 29 h 60"/>
                <a:gd name="T10" fmla="*/ 30 w 56"/>
                <a:gd name="T11" fmla="*/ 2 h 60"/>
                <a:gd name="T12" fmla="*/ 24 w 56"/>
                <a:gd name="T13" fmla="*/ 3 h 60"/>
                <a:gd name="T14" fmla="*/ 1 w 56"/>
                <a:gd name="T15" fmla="*/ 35 h 60"/>
                <a:gd name="T16" fmla="*/ 1 w 56"/>
                <a:gd name="T17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60">
                  <a:moveTo>
                    <a:pt x="1" y="40"/>
                  </a:moveTo>
                  <a:cubicBezTo>
                    <a:pt x="7" y="45"/>
                    <a:pt x="11" y="51"/>
                    <a:pt x="15" y="57"/>
                  </a:cubicBezTo>
                  <a:cubicBezTo>
                    <a:pt x="17" y="59"/>
                    <a:pt x="19" y="60"/>
                    <a:pt x="21" y="59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6" y="33"/>
                    <a:pt x="56" y="31"/>
                    <a:pt x="55" y="29"/>
                  </a:cubicBezTo>
                  <a:cubicBezTo>
                    <a:pt x="48" y="19"/>
                    <a:pt x="39" y="10"/>
                    <a:pt x="30" y="2"/>
                  </a:cubicBezTo>
                  <a:cubicBezTo>
                    <a:pt x="29" y="0"/>
                    <a:pt x="26" y="1"/>
                    <a:pt x="24" y="3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0" y="39"/>
                    <a:pt x="1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xmlns="" id="{AE7C00D5-64F0-47AD-8958-6C3E324B2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67"/>
              <a:ext cx="85" cy="84"/>
            </a:xfrm>
            <a:custGeom>
              <a:avLst/>
              <a:gdLst>
                <a:gd name="T0" fmla="*/ 13 w 41"/>
                <a:gd name="T1" fmla="*/ 38 h 40"/>
                <a:gd name="T2" fmla="*/ 38 w 41"/>
                <a:gd name="T3" fmla="*/ 17 h 40"/>
                <a:gd name="T4" fmla="*/ 39 w 41"/>
                <a:gd name="T5" fmla="*/ 12 h 40"/>
                <a:gd name="T6" fmla="*/ 32 w 41"/>
                <a:gd name="T7" fmla="*/ 2 h 40"/>
                <a:gd name="T8" fmla="*/ 26 w 41"/>
                <a:gd name="T9" fmla="*/ 1 h 40"/>
                <a:gd name="T10" fmla="*/ 1 w 41"/>
                <a:gd name="T11" fmla="*/ 29 h 40"/>
                <a:gd name="T12" fmla="*/ 2 w 41"/>
                <a:gd name="T13" fmla="*/ 34 h 40"/>
                <a:gd name="T14" fmla="*/ 8 w 41"/>
                <a:gd name="T15" fmla="*/ 38 h 40"/>
                <a:gd name="T16" fmla="*/ 13 w 41"/>
                <a:gd name="T1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0">
                  <a:moveTo>
                    <a:pt x="13" y="38"/>
                  </a:moveTo>
                  <a:cubicBezTo>
                    <a:pt x="21" y="30"/>
                    <a:pt x="29" y="23"/>
                    <a:pt x="38" y="17"/>
                  </a:cubicBezTo>
                  <a:cubicBezTo>
                    <a:pt x="40" y="16"/>
                    <a:pt x="41" y="13"/>
                    <a:pt x="39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28" y="0"/>
                    <a:pt x="26" y="1"/>
                  </a:cubicBezTo>
                  <a:cubicBezTo>
                    <a:pt x="17" y="9"/>
                    <a:pt x="9" y="19"/>
                    <a:pt x="1" y="29"/>
                  </a:cubicBezTo>
                  <a:cubicBezTo>
                    <a:pt x="0" y="30"/>
                    <a:pt x="1" y="33"/>
                    <a:pt x="2" y="3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10" y="40"/>
                    <a:pt x="12" y="39"/>
                    <a:pt x="1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xmlns="" id="{BE68A65A-B651-4496-A88F-B0EC9DFB8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142"/>
              <a:ext cx="60" cy="86"/>
            </a:xfrm>
            <a:custGeom>
              <a:avLst/>
              <a:gdLst>
                <a:gd name="T0" fmla="*/ 4 w 29"/>
                <a:gd name="T1" fmla="*/ 40 h 41"/>
                <a:gd name="T2" fmla="*/ 6 w 29"/>
                <a:gd name="T3" fmla="*/ 41 h 41"/>
                <a:gd name="T4" fmla="*/ 10 w 29"/>
                <a:gd name="T5" fmla="*/ 38 h 41"/>
                <a:gd name="T6" fmla="*/ 27 w 29"/>
                <a:gd name="T7" fmla="*/ 10 h 41"/>
                <a:gd name="T8" fmla="*/ 26 w 29"/>
                <a:gd name="T9" fmla="*/ 4 h 41"/>
                <a:gd name="T10" fmla="*/ 22 w 29"/>
                <a:gd name="T11" fmla="*/ 1 h 41"/>
                <a:gd name="T12" fmla="*/ 16 w 29"/>
                <a:gd name="T13" fmla="*/ 2 h 41"/>
                <a:gd name="T14" fmla="*/ 1 w 29"/>
                <a:gd name="T15" fmla="*/ 35 h 41"/>
                <a:gd name="T16" fmla="*/ 4 w 29"/>
                <a:gd name="T1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1">
                  <a:moveTo>
                    <a:pt x="4" y="40"/>
                  </a:moveTo>
                  <a:cubicBezTo>
                    <a:pt x="6" y="41"/>
                    <a:pt x="6" y="41"/>
                    <a:pt x="6" y="41"/>
                  </a:cubicBezTo>
                  <a:cubicBezTo>
                    <a:pt x="8" y="41"/>
                    <a:pt x="10" y="40"/>
                    <a:pt x="10" y="38"/>
                  </a:cubicBezTo>
                  <a:cubicBezTo>
                    <a:pt x="15" y="28"/>
                    <a:pt x="20" y="18"/>
                    <a:pt x="27" y="10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7" y="0"/>
                    <a:pt x="16" y="2"/>
                  </a:cubicBezTo>
                  <a:cubicBezTo>
                    <a:pt x="10" y="12"/>
                    <a:pt x="4" y="23"/>
                    <a:pt x="1" y="35"/>
                  </a:cubicBezTo>
                  <a:cubicBezTo>
                    <a:pt x="0" y="37"/>
                    <a:pt x="2" y="39"/>
                    <a:pt x="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xmlns="" id="{8EE4E94C-A66F-4ADA-A5E8-8C13E732D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" y="224"/>
              <a:ext cx="145" cy="96"/>
            </a:xfrm>
            <a:custGeom>
              <a:avLst/>
              <a:gdLst>
                <a:gd name="T0" fmla="*/ 0 w 70"/>
                <a:gd name="T1" fmla="*/ 24 h 46"/>
                <a:gd name="T2" fmla="*/ 2 w 70"/>
                <a:gd name="T3" fmla="*/ 42 h 46"/>
                <a:gd name="T4" fmla="*/ 6 w 70"/>
                <a:gd name="T5" fmla="*/ 46 h 46"/>
                <a:gd name="T6" fmla="*/ 66 w 70"/>
                <a:gd name="T7" fmla="*/ 46 h 46"/>
                <a:gd name="T8" fmla="*/ 70 w 70"/>
                <a:gd name="T9" fmla="*/ 42 h 46"/>
                <a:gd name="T10" fmla="*/ 65 w 70"/>
                <a:gd name="T11" fmla="*/ 4 h 46"/>
                <a:gd name="T12" fmla="*/ 60 w 70"/>
                <a:gd name="T13" fmla="*/ 1 h 46"/>
                <a:gd name="T14" fmla="*/ 3 w 70"/>
                <a:gd name="T15" fmla="*/ 20 h 46"/>
                <a:gd name="T16" fmla="*/ 0 w 70"/>
                <a:gd name="T17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6">
                  <a:moveTo>
                    <a:pt x="0" y="24"/>
                  </a:moveTo>
                  <a:cubicBezTo>
                    <a:pt x="2" y="31"/>
                    <a:pt x="2" y="35"/>
                    <a:pt x="2" y="42"/>
                  </a:cubicBezTo>
                  <a:cubicBezTo>
                    <a:pt x="2" y="44"/>
                    <a:pt x="4" y="46"/>
                    <a:pt x="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8" y="46"/>
                    <a:pt x="70" y="44"/>
                    <a:pt x="70" y="42"/>
                  </a:cubicBezTo>
                  <a:cubicBezTo>
                    <a:pt x="69" y="30"/>
                    <a:pt x="68" y="15"/>
                    <a:pt x="65" y="4"/>
                  </a:cubicBezTo>
                  <a:cubicBezTo>
                    <a:pt x="65" y="2"/>
                    <a:pt x="62" y="0"/>
                    <a:pt x="60" y="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" y="20"/>
                    <a:pt x="0" y="22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xmlns="" id="{3813FF92-4BB4-4F51-8A76-FFDCAA09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230"/>
              <a:ext cx="31" cy="90"/>
            </a:xfrm>
            <a:custGeom>
              <a:avLst/>
              <a:gdLst>
                <a:gd name="T0" fmla="*/ 7 w 15"/>
                <a:gd name="T1" fmla="*/ 43 h 43"/>
                <a:gd name="T2" fmla="*/ 14 w 15"/>
                <a:gd name="T3" fmla="*/ 6 h 43"/>
                <a:gd name="T4" fmla="*/ 11 w 15"/>
                <a:gd name="T5" fmla="*/ 1 h 43"/>
                <a:gd name="T6" fmla="*/ 10 w 15"/>
                <a:gd name="T7" fmla="*/ 1 h 43"/>
                <a:gd name="T8" fmla="*/ 5 w 15"/>
                <a:gd name="T9" fmla="*/ 3 h 43"/>
                <a:gd name="T10" fmla="*/ 0 w 15"/>
                <a:gd name="T11" fmla="*/ 43 h 43"/>
                <a:gd name="T12" fmla="*/ 7 w 1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3">
                  <a:moveTo>
                    <a:pt x="7" y="43"/>
                  </a:moveTo>
                  <a:cubicBezTo>
                    <a:pt x="7" y="30"/>
                    <a:pt x="10" y="18"/>
                    <a:pt x="14" y="6"/>
                  </a:cubicBezTo>
                  <a:cubicBezTo>
                    <a:pt x="15" y="4"/>
                    <a:pt x="13" y="2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0"/>
                    <a:pt x="6" y="1"/>
                    <a:pt x="5" y="3"/>
                  </a:cubicBezTo>
                  <a:cubicBezTo>
                    <a:pt x="2" y="16"/>
                    <a:pt x="0" y="29"/>
                    <a:pt x="0" y="43"/>
                  </a:cubicBezTo>
                  <a:lnTo>
                    <a:pt x="7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xmlns="" id="{DF25B327-827A-47D4-B7E0-67ACFF132E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80" y="280"/>
              <a:ext cx="230" cy="44"/>
            </a:xfrm>
            <a:custGeom>
              <a:avLst/>
              <a:gdLst>
                <a:gd name="T0" fmla="*/ 111 w 111"/>
                <a:gd name="T1" fmla="*/ 6 h 21"/>
                <a:gd name="T2" fmla="*/ 11 w 111"/>
                <a:gd name="T3" fmla="*/ 0 h 21"/>
                <a:gd name="T4" fmla="*/ 9 w 111"/>
                <a:gd name="T5" fmla="*/ 0 h 21"/>
                <a:gd name="T6" fmla="*/ 0 w 111"/>
                <a:gd name="T7" fmla="*/ 11 h 21"/>
                <a:gd name="T8" fmla="*/ 12 w 111"/>
                <a:gd name="T9" fmla="*/ 20 h 21"/>
                <a:gd name="T10" fmla="*/ 111 w 111"/>
                <a:gd name="T11" fmla="*/ 6 h 21"/>
                <a:gd name="T12" fmla="*/ 111 w 111"/>
                <a:gd name="T13" fmla="*/ 6 h 21"/>
                <a:gd name="T14" fmla="*/ 5 w 111"/>
                <a:gd name="T15" fmla="*/ 14 h 21"/>
                <a:gd name="T16" fmla="*/ 7 w 111"/>
                <a:gd name="T17" fmla="*/ 6 h 21"/>
                <a:gd name="T18" fmla="*/ 14 w 111"/>
                <a:gd name="T19" fmla="*/ 8 h 21"/>
                <a:gd name="T20" fmla="*/ 13 w 111"/>
                <a:gd name="T21" fmla="*/ 15 h 21"/>
                <a:gd name="T22" fmla="*/ 5 w 111"/>
                <a:gd name="T2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21">
                  <a:moveTo>
                    <a:pt x="111" y="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4" y="1"/>
                    <a:pt x="0" y="6"/>
                    <a:pt x="0" y="11"/>
                  </a:cubicBezTo>
                  <a:cubicBezTo>
                    <a:pt x="1" y="17"/>
                    <a:pt x="6" y="21"/>
                    <a:pt x="12" y="20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11" y="7"/>
                    <a:pt x="111" y="6"/>
                    <a:pt x="111" y="6"/>
                  </a:cubicBezTo>
                  <a:close/>
                  <a:moveTo>
                    <a:pt x="5" y="14"/>
                  </a:moveTo>
                  <a:cubicBezTo>
                    <a:pt x="4" y="11"/>
                    <a:pt x="4" y="8"/>
                    <a:pt x="7" y="6"/>
                  </a:cubicBezTo>
                  <a:cubicBezTo>
                    <a:pt x="9" y="5"/>
                    <a:pt x="13" y="5"/>
                    <a:pt x="14" y="8"/>
                  </a:cubicBezTo>
                  <a:cubicBezTo>
                    <a:pt x="16" y="10"/>
                    <a:pt x="16" y="14"/>
                    <a:pt x="13" y="15"/>
                  </a:cubicBezTo>
                  <a:cubicBezTo>
                    <a:pt x="10" y="17"/>
                    <a:pt x="7" y="16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7789D7FA-7285-4B6B-837F-E336516CBB39}"/>
              </a:ext>
            </a:extLst>
          </p:cNvPr>
          <p:cNvSpPr/>
          <p:nvPr/>
        </p:nvSpPr>
        <p:spPr>
          <a:xfrm rot="16200000">
            <a:off x="-24753" y="3285418"/>
            <a:ext cx="8867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100" dirty="0">
                <a:solidFill>
                  <a:srgbClr val="424242"/>
                </a:solidFill>
              </a:rPr>
              <a:t>PAYBACK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886AD716-7FE8-4504-B20B-E32F2D56672D}"/>
              </a:ext>
            </a:extLst>
          </p:cNvPr>
          <p:cNvSpPr/>
          <p:nvPr/>
        </p:nvSpPr>
        <p:spPr>
          <a:xfrm>
            <a:off x="538252" y="2102749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2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2F4ECE71-78F8-40BD-8350-D30C5A504687}"/>
              </a:ext>
            </a:extLst>
          </p:cNvPr>
          <p:cNvSpPr/>
          <p:nvPr/>
        </p:nvSpPr>
        <p:spPr>
          <a:xfrm>
            <a:off x="538252" y="257327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20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711842C2-6F7F-4BB8-9097-8314DF33A20B}"/>
              </a:ext>
            </a:extLst>
          </p:cNvPr>
          <p:cNvSpPr/>
          <p:nvPr/>
        </p:nvSpPr>
        <p:spPr>
          <a:xfrm>
            <a:off x="538252" y="3043793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256BB296-EFA1-46EB-81F6-E416FF235A59}"/>
              </a:ext>
            </a:extLst>
          </p:cNvPr>
          <p:cNvSpPr/>
          <p:nvPr/>
        </p:nvSpPr>
        <p:spPr>
          <a:xfrm>
            <a:off x="538252" y="3514314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10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27463634-9363-4ADC-B736-D3D7476F52CC}"/>
              </a:ext>
            </a:extLst>
          </p:cNvPr>
          <p:cNvSpPr/>
          <p:nvPr/>
        </p:nvSpPr>
        <p:spPr>
          <a:xfrm>
            <a:off x="538252" y="3984836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5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BFEC448F-EF72-4D50-BFB9-8AED7B9A70AB}"/>
              </a:ext>
            </a:extLst>
          </p:cNvPr>
          <p:cNvSpPr/>
          <p:nvPr/>
        </p:nvSpPr>
        <p:spPr>
          <a:xfrm>
            <a:off x="538252" y="4455358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0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65E58642-6EA6-4D5C-ABB1-8B398A8E8350}"/>
              </a:ext>
            </a:extLst>
          </p:cNvPr>
          <p:cNvSpPr/>
          <p:nvPr/>
        </p:nvSpPr>
        <p:spPr>
          <a:xfrm>
            <a:off x="724237" y="466830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0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5D2C5DED-8977-4272-BEFC-E9B4EA9C1890}"/>
              </a:ext>
            </a:extLst>
          </p:cNvPr>
          <p:cNvSpPr/>
          <p:nvPr/>
        </p:nvSpPr>
        <p:spPr>
          <a:xfrm>
            <a:off x="8164864" y="466830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4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0EFC18BD-1756-4B0E-ADC2-C75E015480A1}"/>
              </a:ext>
            </a:extLst>
          </p:cNvPr>
          <p:cNvSpPr/>
          <p:nvPr/>
        </p:nvSpPr>
        <p:spPr>
          <a:xfrm>
            <a:off x="6304708" y="466830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3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435D00DA-762A-4E4C-A894-259C53C795D3}"/>
              </a:ext>
            </a:extLst>
          </p:cNvPr>
          <p:cNvSpPr/>
          <p:nvPr/>
        </p:nvSpPr>
        <p:spPr>
          <a:xfrm>
            <a:off x="2584394" y="466830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1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3602569D-1745-4DE8-BA0A-DAE80784D0E3}"/>
              </a:ext>
            </a:extLst>
          </p:cNvPr>
          <p:cNvSpPr/>
          <p:nvPr/>
        </p:nvSpPr>
        <p:spPr>
          <a:xfrm>
            <a:off x="4403220" y="4668301"/>
            <a:ext cx="337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>
                <a:solidFill>
                  <a:srgbClr val="424242"/>
                </a:solidFill>
              </a:rPr>
              <a:t>2</a:t>
            </a:r>
          </a:p>
        </p:txBody>
      </p:sp>
      <p:sp>
        <p:nvSpPr>
          <p:cNvPr id="103" name="Freeform 13">
            <a:extLst>
              <a:ext uri="{FF2B5EF4-FFF2-40B4-BE49-F238E27FC236}">
                <a16:creationId xmlns:a16="http://schemas.microsoft.com/office/drawing/2014/main" xmlns="" id="{ACEF70A8-1164-4A00-A355-FB72F1F9F549}"/>
              </a:ext>
            </a:extLst>
          </p:cNvPr>
          <p:cNvSpPr>
            <a:spLocks noEditPoints="1"/>
          </p:cNvSpPr>
          <p:nvPr/>
        </p:nvSpPr>
        <p:spPr bwMode="auto">
          <a:xfrm>
            <a:off x="5674978" y="3387491"/>
            <a:ext cx="344211" cy="457657"/>
          </a:xfrm>
          <a:custGeom>
            <a:avLst/>
            <a:gdLst>
              <a:gd name="T0" fmla="*/ 283 w 300"/>
              <a:gd name="T1" fmla="*/ 117 h 400"/>
              <a:gd name="T2" fmla="*/ 258 w 300"/>
              <a:gd name="T3" fmla="*/ 70 h 400"/>
              <a:gd name="T4" fmla="*/ 206 w 300"/>
              <a:gd name="T5" fmla="*/ 22 h 400"/>
              <a:gd name="T6" fmla="*/ 214 w 300"/>
              <a:gd name="T7" fmla="*/ 58 h 400"/>
              <a:gd name="T8" fmla="*/ 219 w 300"/>
              <a:gd name="T9" fmla="*/ 119 h 400"/>
              <a:gd name="T10" fmla="*/ 261 w 300"/>
              <a:gd name="T11" fmla="*/ 142 h 400"/>
              <a:gd name="T12" fmla="*/ 278 w 300"/>
              <a:gd name="T13" fmla="*/ 356 h 400"/>
              <a:gd name="T14" fmla="*/ 233 w 300"/>
              <a:gd name="T15" fmla="*/ 356 h 400"/>
              <a:gd name="T16" fmla="*/ 233 w 300"/>
              <a:gd name="T17" fmla="*/ 200 h 400"/>
              <a:gd name="T18" fmla="*/ 200 w 300"/>
              <a:gd name="T19" fmla="*/ 167 h 400"/>
              <a:gd name="T20" fmla="*/ 167 w 300"/>
              <a:gd name="T21" fmla="*/ 32 h 400"/>
              <a:gd name="T22" fmla="*/ 33 w 300"/>
              <a:gd name="T23" fmla="*/ 0 h 400"/>
              <a:gd name="T24" fmla="*/ 0 w 300"/>
              <a:gd name="T25" fmla="*/ 400 h 400"/>
              <a:gd name="T26" fmla="*/ 167 w 300"/>
              <a:gd name="T27" fmla="*/ 189 h 400"/>
              <a:gd name="T28" fmla="*/ 211 w 300"/>
              <a:gd name="T29" fmla="*/ 200 h 400"/>
              <a:gd name="T30" fmla="*/ 211 w 300"/>
              <a:gd name="T31" fmla="*/ 356 h 400"/>
              <a:gd name="T32" fmla="*/ 256 w 300"/>
              <a:gd name="T33" fmla="*/ 400 h 400"/>
              <a:gd name="T34" fmla="*/ 283 w 300"/>
              <a:gd name="T35" fmla="*/ 233 h 400"/>
              <a:gd name="T36" fmla="*/ 242 w 300"/>
              <a:gd name="T37" fmla="*/ 125 h 400"/>
              <a:gd name="T38" fmla="*/ 236 w 300"/>
              <a:gd name="T39" fmla="*/ 98 h 400"/>
              <a:gd name="T40" fmla="*/ 242 w 300"/>
              <a:gd name="T41" fmla="*/ 85 h 400"/>
              <a:gd name="T42" fmla="*/ 261 w 300"/>
              <a:gd name="T43" fmla="*/ 117 h 400"/>
              <a:gd name="T44" fmla="*/ 22 w 300"/>
              <a:gd name="T45" fmla="*/ 32 h 400"/>
              <a:gd name="T46" fmla="*/ 133 w 300"/>
              <a:gd name="T47" fmla="*/ 22 h 400"/>
              <a:gd name="T48" fmla="*/ 144 w 300"/>
              <a:gd name="T49" fmla="*/ 118 h 400"/>
              <a:gd name="T50" fmla="*/ 33 w 300"/>
              <a:gd name="T51" fmla="*/ 128 h 400"/>
              <a:gd name="T52" fmla="*/ 22 w 300"/>
              <a:gd name="T53" fmla="*/ 32 h 400"/>
              <a:gd name="T54" fmla="*/ 83 w 300"/>
              <a:gd name="T55" fmla="*/ 275 h 400"/>
              <a:gd name="T56" fmla="*/ 67 w 300"/>
              <a:gd name="T57" fmla="*/ 219 h 400"/>
              <a:gd name="T58" fmla="*/ 100 w 300"/>
              <a:gd name="T59" fmla="*/ 219 h 400"/>
              <a:gd name="T60" fmla="*/ 67 w 300"/>
              <a:gd name="T61" fmla="*/ 219 h 400"/>
              <a:gd name="T62" fmla="*/ 89 w 300"/>
              <a:gd name="T63" fmla="*/ 249 h 400"/>
              <a:gd name="T64" fmla="*/ 94 w 300"/>
              <a:gd name="T65" fmla="*/ 274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00" h="400">
                <a:moveTo>
                  <a:pt x="283" y="233"/>
                </a:moveTo>
                <a:cubicBezTo>
                  <a:pt x="283" y="117"/>
                  <a:pt x="283" y="117"/>
                  <a:pt x="283" y="117"/>
                </a:cubicBezTo>
                <a:cubicBezTo>
                  <a:pt x="283" y="97"/>
                  <a:pt x="269" y="82"/>
                  <a:pt x="261" y="73"/>
                </a:cubicBezTo>
                <a:cubicBezTo>
                  <a:pt x="260" y="72"/>
                  <a:pt x="259" y="71"/>
                  <a:pt x="258" y="70"/>
                </a:cubicBezTo>
                <a:cubicBezTo>
                  <a:pt x="230" y="42"/>
                  <a:pt x="230" y="42"/>
                  <a:pt x="230" y="42"/>
                </a:cubicBezTo>
                <a:cubicBezTo>
                  <a:pt x="206" y="22"/>
                  <a:pt x="206" y="22"/>
                  <a:pt x="206" y="22"/>
                </a:cubicBezTo>
                <a:cubicBezTo>
                  <a:pt x="194" y="34"/>
                  <a:pt x="194" y="34"/>
                  <a:pt x="194" y="34"/>
                </a:cubicBezTo>
                <a:cubicBezTo>
                  <a:pt x="214" y="58"/>
                  <a:pt x="214" y="58"/>
                  <a:pt x="214" y="58"/>
                </a:cubicBezTo>
                <a:cubicBezTo>
                  <a:pt x="219" y="63"/>
                  <a:pt x="219" y="63"/>
                  <a:pt x="219" y="63"/>
                </a:cubicBezTo>
                <a:cubicBezTo>
                  <a:pt x="219" y="119"/>
                  <a:pt x="219" y="119"/>
                  <a:pt x="219" y="119"/>
                </a:cubicBezTo>
                <a:cubicBezTo>
                  <a:pt x="219" y="132"/>
                  <a:pt x="229" y="142"/>
                  <a:pt x="242" y="142"/>
                </a:cubicBezTo>
                <a:cubicBezTo>
                  <a:pt x="261" y="142"/>
                  <a:pt x="261" y="142"/>
                  <a:pt x="261" y="142"/>
                </a:cubicBezTo>
                <a:cubicBezTo>
                  <a:pt x="261" y="233"/>
                  <a:pt x="261" y="233"/>
                  <a:pt x="261" y="233"/>
                </a:cubicBezTo>
                <a:cubicBezTo>
                  <a:pt x="278" y="356"/>
                  <a:pt x="278" y="356"/>
                  <a:pt x="278" y="356"/>
                </a:cubicBezTo>
                <a:cubicBezTo>
                  <a:pt x="278" y="368"/>
                  <a:pt x="268" y="378"/>
                  <a:pt x="256" y="378"/>
                </a:cubicBezTo>
                <a:cubicBezTo>
                  <a:pt x="243" y="378"/>
                  <a:pt x="233" y="368"/>
                  <a:pt x="233" y="356"/>
                </a:cubicBezTo>
                <a:cubicBezTo>
                  <a:pt x="233" y="356"/>
                  <a:pt x="233" y="356"/>
                  <a:pt x="233" y="356"/>
                </a:cubicBezTo>
                <a:cubicBezTo>
                  <a:pt x="233" y="200"/>
                  <a:pt x="233" y="200"/>
                  <a:pt x="233" y="200"/>
                </a:cubicBezTo>
                <a:cubicBezTo>
                  <a:pt x="233" y="200"/>
                  <a:pt x="233" y="200"/>
                  <a:pt x="233" y="200"/>
                </a:cubicBezTo>
                <a:cubicBezTo>
                  <a:pt x="233" y="182"/>
                  <a:pt x="218" y="167"/>
                  <a:pt x="200" y="167"/>
                </a:cubicBezTo>
                <a:cubicBezTo>
                  <a:pt x="167" y="167"/>
                  <a:pt x="167" y="167"/>
                  <a:pt x="167" y="167"/>
                </a:cubicBezTo>
                <a:cubicBezTo>
                  <a:pt x="167" y="32"/>
                  <a:pt x="167" y="32"/>
                  <a:pt x="167" y="32"/>
                </a:cubicBezTo>
                <a:cubicBezTo>
                  <a:pt x="167" y="15"/>
                  <a:pt x="152" y="0"/>
                  <a:pt x="133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400"/>
                  <a:pt x="0" y="400"/>
                  <a:pt x="0" y="400"/>
                </a:cubicBezTo>
                <a:cubicBezTo>
                  <a:pt x="167" y="400"/>
                  <a:pt x="167" y="400"/>
                  <a:pt x="167" y="400"/>
                </a:cubicBezTo>
                <a:cubicBezTo>
                  <a:pt x="167" y="189"/>
                  <a:pt x="167" y="189"/>
                  <a:pt x="167" y="189"/>
                </a:cubicBezTo>
                <a:cubicBezTo>
                  <a:pt x="200" y="189"/>
                  <a:pt x="200" y="189"/>
                  <a:pt x="200" y="189"/>
                </a:cubicBezTo>
                <a:cubicBezTo>
                  <a:pt x="206" y="189"/>
                  <a:pt x="211" y="194"/>
                  <a:pt x="211" y="200"/>
                </a:cubicBezTo>
                <a:cubicBezTo>
                  <a:pt x="211" y="200"/>
                  <a:pt x="211" y="200"/>
                  <a:pt x="211" y="200"/>
                </a:cubicBezTo>
                <a:cubicBezTo>
                  <a:pt x="211" y="356"/>
                  <a:pt x="211" y="356"/>
                  <a:pt x="211" y="356"/>
                </a:cubicBezTo>
                <a:cubicBezTo>
                  <a:pt x="211" y="356"/>
                  <a:pt x="211" y="356"/>
                  <a:pt x="211" y="356"/>
                </a:cubicBezTo>
                <a:cubicBezTo>
                  <a:pt x="211" y="380"/>
                  <a:pt x="231" y="400"/>
                  <a:pt x="256" y="400"/>
                </a:cubicBezTo>
                <a:cubicBezTo>
                  <a:pt x="280" y="400"/>
                  <a:pt x="300" y="380"/>
                  <a:pt x="300" y="356"/>
                </a:cubicBezTo>
                <a:lnTo>
                  <a:pt x="283" y="233"/>
                </a:lnTo>
                <a:close/>
                <a:moveTo>
                  <a:pt x="261" y="125"/>
                </a:moveTo>
                <a:cubicBezTo>
                  <a:pt x="242" y="125"/>
                  <a:pt x="242" y="125"/>
                  <a:pt x="242" y="125"/>
                </a:cubicBezTo>
                <a:cubicBezTo>
                  <a:pt x="239" y="125"/>
                  <a:pt x="236" y="123"/>
                  <a:pt x="236" y="119"/>
                </a:cubicBezTo>
                <a:cubicBezTo>
                  <a:pt x="236" y="98"/>
                  <a:pt x="236" y="98"/>
                  <a:pt x="236" y="98"/>
                </a:cubicBezTo>
                <a:cubicBezTo>
                  <a:pt x="236" y="80"/>
                  <a:pt x="236" y="80"/>
                  <a:pt x="236" y="80"/>
                </a:cubicBezTo>
                <a:cubicBezTo>
                  <a:pt x="242" y="85"/>
                  <a:pt x="242" y="85"/>
                  <a:pt x="242" y="85"/>
                </a:cubicBezTo>
                <a:cubicBezTo>
                  <a:pt x="243" y="86"/>
                  <a:pt x="244" y="87"/>
                  <a:pt x="245" y="88"/>
                </a:cubicBezTo>
                <a:cubicBezTo>
                  <a:pt x="252" y="96"/>
                  <a:pt x="261" y="106"/>
                  <a:pt x="261" y="117"/>
                </a:cubicBezTo>
                <a:lnTo>
                  <a:pt x="261" y="125"/>
                </a:lnTo>
                <a:close/>
                <a:moveTo>
                  <a:pt x="22" y="32"/>
                </a:moveTo>
                <a:cubicBezTo>
                  <a:pt x="22" y="27"/>
                  <a:pt x="27" y="22"/>
                  <a:pt x="33" y="22"/>
                </a:cubicBezTo>
                <a:cubicBezTo>
                  <a:pt x="133" y="22"/>
                  <a:pt x="133" y="22"/>
                  <a:pt x="133" y="22"/>
                </a:cubicBezTo>
                <a:cubicBezTo>
                  <a:pt x="139" y="22"/>
                  <a:pt x="144" y="27"/>
                  <a:pt x="144" y="32"/>
                </a:cubicBezTo>
                <a:cubicBezTo>
                  <a:pt x="144" y="118"/>
                  <a:pt x="144" y="118"/>
                  <a:pt x="144" y="118"/>
                </a:cubicBezTo>
                <a:cubicBezTo>
                  <a:pt x="144" y="123"/>
                  <a:pt x="139" y="128"/>
                  <a:pt x="133" y="128"/>
                </a:cubicBezTo>
                <a:cubicBezTo>
                  <a:pt x="33" y="128"/>
                  <a:pt x="33" y="128"/>
                  <a:pt x="33" y="128"/>
                </a:cubicBezTo>
                <a:cubicBezTo>
                  <a:pt x="27" y="128"/>
                  <a:pt x="22" y="123"/>
                  <a:pt x="22" y="118"/>
                </a:cubicBezTo>
                <a:lnTo>
                  <a:pt x="22" y="32"/>
                </a:lnTo>
                <a:close/>
                <a:moveTo>
                  <a:pt x="22" y="214"/>
                </a:moveTo>
                <a:cubicBezTo>
                  <a:pt x="56" y="214"/>
                  <a:pt x="83" y="242"/>
                  <a:pt x="83" y="275"/>
                </a:cubicBezTo>
                <a:cubicBezTo>
                  <a:pt x="50" y="275"/>
                  <a:pt x="22" y="248"/>
                  <a:pt x="22" y="214"/>
                </a:cubicBezTo>
                <a:close/>
                <a:moveTo>
                  <a:pt x="67" y="219"/>
                </a:moveTo>
                <a:cubicBezTo>
                  <a:pt x="69" y="208"/>
                  <a:pt x="75" y="197"/>
                  <a:pt x="83" y="189"/>
                </a:cubicBezTo>
                <a:cubicBezTo>
                  <a:pt x="92" y="197"/>
                  <a:pt x="97" y="208"/>
                  <a:pt x="100" y="219"/>
                </a:cubicBezTo>
                <a:cubicBezTo>
                  <a:pt x="93" y="224"/>
                  <a:pt x="88" y="230"/>
                  <a:pt x="83" y="237"/>
                </a:cubicBezTo>
                <a:cubicBezTo>
                  <a:pt x="79" y="230"/>
                  <a:pt x="73" y="224"/>
                  <a:pt x="67" y="219"/>
                </a:cubicBezTo>
                <a:close/>
                <a:moveTo>
                  <a:pt x="94" y="274"/>
                </a:moveTo>
                <a:cubicBezTo>
                  <a:pt x="94" y="265"/>
                  <a:pt x="92" y="257"/>
                  <a:pt x="89" y="249"/>
                </a:cubicBezTo>
                <a:cubicBezTo>
                  <a:pt x="99" y="228"/>
                  <a:pt x="120" y="214"/>
                  <a:pt x="144" y="214"/>
                </a:cubicBezTo>
                <a:cubicBezTo>
                  <a:pt x="144" y="244"/>
                  <a:pt x="123" y="269"/>
                  <a:pt x="94" y="2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0" name="Freeform 17">
            <a:extLst>
              <a:ext uri="{FF2B5EF4-FFF2-40B4-BE49-F238E27FC236}">
                <a16:creationId xmlns:a16="http://schemas.microsoft.com/office/drawing/2014/main" xmlns="" id="{1AB9AF48-F7BF-4D59-B420-910842A8C573}"/>
              </a:ext>
            </a:extLst>
          </p:cNvPr>
          <p:cNvSpPr>
            <a:spLocks noEditPoints="1"/>
          </p:cNvSpPr>
          <p:nvPr/>
        </p:nvSpPr>
        <p:spPr bwMode="auto">
          <a:xfrm>
            <a:off x="1841630" y="3383391"/>
            <a:ext cx="353105" cy="448257"/>
          </a:xfrm>
          <a:custGeom>
            <a:avLst/>
            <a:gdLst>
              <a:gd name="T0" fmla="*/ 245 w 310"/>
              <a:gd name="T1" fmla="*/ 41 h 395"/>
              <a:gd name="T2" fmla="*/ 138 w 310"/>
              <a:gd name="T3" fmla="*/ 3 h 395"/>
              <a:gd name="T4" fmla="*/ 5 w 310"/>
              <a:gd name="T5" fmla="*/ 156 h 395"/>
              <a:gd name="T6" fmla="*/ 65 w 310"/>
              <a:gd name="T7" fmla="*/ 263 h 395"/>
              <a:gd name="T8" fmla="*/ 70 w 310"/>
              <a:gd name="T9" fmla="*/ 271 h 395"/>
              <a:gd name="T10" fmla="*/ 70 w 310"/>
              <a:gd name="T11" fmla="*/ 323 h 395"/>
              <a:gd name="T12" fmla="*/ 103 w 310"/>
              <a:gd name="T13" fmla="*/ 362 h 395"/>
              <a:gd name="T14" fmla="*/ 103 w 310"/>
              <a:gd name="T15" fmla="*/ 377 h 395"/>
              <a:gd name="T16" fmla="*/ 121 w 310"/>
              <a:gd name="T17" fmla="*/ 395 h 395"/>
              <a:gd name="T18" fmla="*/ 121 w 310"/>
              <a:gd name="T19" fmla="*/ 395 h 395"/>
              <a:gd name="T20" fmla="*/ 175 w 310"/>
              <a:gd name="T21" fmla="*/ 395 h 395"/>
              <a:gd name="T22" fmla="*/ 193 w 310"/>
              <a:gd name="T23" fmla="*/ 377 h 395"/>
              <a:gd name="T24" fmla="*/ 193 w 310"/>
              <a:gd name="T25" fmla="*/ 377 h 395"/>
              <a:gd name="T26" fmla="*/ 193 w 310"/>
              <a:gd name="T27" fmla="*/ 362 h 395"/>
              <a:gd name="T28" fmla="*/ 226 w 310"/>
              <a:gd name="T29" fmla="*/ 323 h 395"/>
              <a:gd name="T30" fmla="*/ 226 w 310"/>
              <a:gd name="T31" fmla="*/ 271 h 395"/>
              <a:gd name="T32" fmla="*/ 230 w 310"/>
              <a:gd name="T33" fmla="*/ 263 h 395"/>
              <a:gd name="T34" fmla="*/ 265 w 310"/>
              <a:gd name="T35" fmla="*/ 64 h 395"/>
              <a:gd name="T36" fmla="*/ 245 w 310"/>
              <a:gd name="T37" fmla="*/ 42 h 395"/>
              <a:gd name="T38" fmla="*/ 245 w 310"/>
              <a:gd name="T39" fmla="*/ 41 h 395"/>
              <a:gd name="T40" fmla="*/ 208 w 310"/>
              <a:gd name="T41" fmla="*/ 231 h 395"/>
              <a:gd name="T42" fmla="*/ 187 w 310"/>
              <a:gd name="T43" fmla="*/ 271 h 395"/>
              <a:gd name="T44" fmla="*/ 187 w 310"/>
              <a:gd name="T45" fmla="*/ 285 h 395"/>
              <a:gd name="T46" fmla="*/ 109 w 310"/>
              <a:gd name="T47" fmla="*/ 285 h 395"/>
              <a:gd name="T48" fmla="*/ 109 w 310"/>
              <a:gd name="T49" fmla="*/ 271 h 395"/>
              <a:gd name="T50" fmla="*/ 88 w 310"/>
              <a:gd name="T51" fmla="*/ 231 h 395"/>
              <a:gd name="T52" fmla="*/ 45 w 310"/>
              <a:gd name="T53" fmla="*/ 135 h 395"/>
              <a:gd name="T54" fmla="*/ 141 w 310"/>
              <a:gd name="T55" fmla="*/ 42 h 395"/>
              <a:gd name="T56" fmla="*/ 148 w 310"/>
              <a:gd name="T57" fmla="*/ 42 h 395"/>
              <a:gd name="T58" fmla="*/ 252 w 310"/>
              <a:gd name="T59" fmla="*/ 146 h 395"/>
              <a:gd name="T60" fmla="*/ 208 w 310"/>
              <a:gd name="T61" fmla="*/ 231 h 395"/>
              <a:gd name="T62" fmla="*/ 194 w 310"/>
              <a:gd name="T63" fmla="*/ 134 h 395"/>
              <a:gd name="T64" fmla="*/ 194 w 310"/>
              <a:gd name="T65" fmla="*/ 149 h 395"/>
              <a:gd name="T66" fmla="*/ 157 w 310"/>
              <a:gd name="T67" fmla="*/ 219 h 395"/>
              <a:gd name="T68" fmla="*/ 138 w 310"/>
              <a:gd name="T69" fmla="*/ 226 h 395"/>
              <a:gd name="T70" fmla="*/ 131 w 310"/>
              <a:gd name="T71" fmla="*/ 211 h 395"/>
              <a:gd name="T72" fmla="*/ 136 w 310"/>
              <a:gd name="T73" fmla="*/ 178 h 395"/>
              <a:gd name="T74" fmla="*/ 115 w 310"/>
              <a:gd name="T75" fmla="*/ 177 h 395"/>
              <a:gd name="T76" fmla="*/ 114 w 310"/>
              <a:gd name="T77" fmla="*/ 177 h 395"/>
              <a:gd name="T78" fmla="*/ 101 w 310"/>
              <a:gd name="T79" fmla="*/ 158 h 395"/>
              <a:gd name="T80" fmla="*/ 102 w 310"/>
              <a:gd name="T81" fmla="*/ 154 h 395"/>
              <a:gd name="T82" fmla="*/ 139 w 310"/>
              <a:gd name="T83" fmla="*/ 83 h 395"/>
              <a:gd name="T84" fmla="*/ 158 w 310"/>
              <a:gd name="T85" fmla="*/ 77 h 395"/>
              <a:gd name="T86" fmla="*/ 165 w 310"/>
              <a:gd name="T87" fmla="*/ 92 h 395"/>
              <a:gd name="T88" fmla="*/ 160 w 310"/>
              <a:gd name="T89" fmla="*/ 125 h 395"/>
              <a:gd name="T90" fmla="*/ 181 w 310"/>
              <a:gd name="T91" fmla="*/ 126 h 395"/>
              <a:gd name="T92" fmla="*/ 182 w 310"/>
              <a:gd name="T93" fmla="*/ 126 h 395"/>
              <a:gd name="T94" fmla="*/ 194 w 310"/>
              <a:gd name="T95" fmla="*/ 134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10" h="395">
                <a:moveTo>
                  <a:pt x="245" y="41"/>
                </a:moveTo>
                <a:cubicBezTo>
                  <a:pt x="217" y="14"/>
                  <a:pt x="177" y="0"/>
                  <a:pt x="138" y="3"/>
                </a:cubicBezTo>
                <a:cubicBezTo>
                  <a:pt x="59" y="9"/>
                  <a:pt x="0" y="77"/>
                  <a:pt x="5" y="156"/>
                </a:cubicBezTo>
                <a:cubicBezTo>
                  <a:pt x="8" y="199"/>
                  <a:pt x="30" y="238"/>
                  <a:pt x="65" y="263"/>
                </a:cubicBezTo>
                <a:cubicBezTo>
                  <a:pt x="68" y="264"/>
                  <a:pt x="70" y="267"/>
                  <a:pt x="70" y="271"/>
                </a:cubicBezTo>
                <a:cubicBezTo>
                  <a:pt x="70" y="323"/>
                  <a:pt x="70" y="323"/>
                  <a:pt x="70" y="323"/>
                </a:cubicBezTo>
                <a:cubicBezTo>
                  <a:pt x="70" y="342"/>
                  <a:pt x="84" y="359"/>
                  <a:pt x="103" y="362"/>
                </a:cubicBezTo>
                <a:cubicBezTo>
                  <a:pt x="103" y="377"/>
                  <a:pt x="103" y="377"/>
                  <a:pt x="103" y="377"/>
                </a:cubicBezTo>
                <a:cubicBezTo>
                  <a:pt x="103" y="387"/>
                  <a:pt x="111" y="395"/>
                  <a:pt x="121" y="395"/>
                </a:cubicBezTo>
                <a:cubicBezTo>
                  <a:pt x="121" y="395"/>
                  <a:pt x="121" y="395"/>
                  <a:pt x="121" y="395"/>
                </a:cubicBezTo>
                <a:cubicBezTo>
                  <a:pt x="175" y="395"/>
                  <a:pt x="175" y="395"/>
                  <a:pt x="175" y="395"/>
                </a:cubicBezTo>
                <a:cubicBezTo>
                  <a:pt x="185" y="395"/>
                  <a:pt x="193" y="387"/>
                  <a:pt x="193" y="377"/>
                </a:cubicBezTo>
                <a:cubicBezTo>
                  <a:pt x="193" y="377"/>
                  <a:pt x="193" y="377"/>
                  <a:pt x="193" y="377"/>
                </a:cubicBezTo>
                <a:cubicBezTo>
                  <a:pt x="193" y="362"/>
                  <a:pt x="193" y="362"/>
                  <a:pt x="193" y="362"/>
                </a:cubicBezTo>
                <a:cubicBezTo>
                  <a:pt x="212" y="359"/>
                  <a:pt x="226" y="342"/>
                  <a:pt x="226" y="323"/>
                </a:cubicBezTo>
                <a:cubicBezTo>
                  <a:pt x="226" y="271"/>
                  <a:pt x="226" y="271"/>
                  <a:pt x="226" y="271"/>
                </a:cubicBezTo>
                <a:cubicBezTo>
                  <a:pt x="226" y="268"/>
                  <a:pt x="228" y="265"/>
                  <a:pt x="230" y="263"/>
                </a:cubicBezTo>
                <a:cubicBezTo>
                  <a:pt x="295" y="217"/>
                  <a:pt x="310" y="128"/>
                  <a:pt x="265" y="64"/>
                </a:cubicBezTo>
                <a:cubicBezTo>
                  <a:pt x="259" y="56"/>
                  <a:pt x="253" y="48"/>
                  <a:pt x="245" y="42"/>
                </a:cubicBezTo>
                <a:lnTo>
                  <a:pt x="245" y="41"/>
                </a:lnTo>
                <a:close/>
                <a:moveTo>
                  <a:pt x="208" y="231"/>
                </a:moveTo>
                <a:cubicBezTo>
                  <a:pt x="195" y="240"/>
                  <a:pt x="187" y="255"/>
                  <a:pt x="187" y="271"/>
                </a:cubicBezTo>
                <a:cubicBezTo>
                  <a:pt x="187" y="285"/>
                  <a:pt x="187" y="285"/>
                  <a:pt x="187" y="285"/>
                </a:cubicBezTo>
                <a:cubicBezTo>
                  <a:pt x="109" y="285"/>
                  <a:pt x="109" y="285"/>
                  <a:pt x="109" y="285"/>
                </a:cubicBezTo>
                <a:cubicBezTo>
                  <a:pt x="109" y="271"/>
                  <a:pt x="109" y="271"/>
                  <a:pt x="109" y="271"/>
                </a:cubicBezTo>
                <a:cubicBezTo>
                  <a:pt x="109" y="255"/>
                  <a:pt x="101" y="240"/>
                  <a:pt x="88" y="231"/>
                </a:cubicBezTo>
                <a:cubicBezTo>
                  <a:pt x="57" y="209"/>
                  <a:pt x="41" y="173"/>
                  <a:pt x="45" y="135"/>
                </a:cubicBezTo>
                <a:cubicBezTo>
                  <a:pt x="50" y="85"/>
                  <a:pt x="91" y="46"/>
                  <a:pt x="141" y="42"/>
                </a:cubicBezTo>
                <a:cubicBezTo>
                  <a:pt x="143" y="42"/>
                  <a:pt x="146" y="42"/>
                  <a:pt x="148" y="42"/>
                </a:cubicBezTo>
                <a:cubicBezTo>
                  <a:pt x="205" y="42"/>
                  <a:pt x="252" y="89"/>
                  <a:pt x="252" y="146"/>
                </a:cubicBezTo>
                <a:cubicBezTo>
                  <a:pt x="252" y="180"/>
                  <a:pt x="235" y="211"/>
                  <a:pt x="208" y="231"/>
                </a:cubicBezTo>
                <a:close/>
                <a:moveTo>
                  <a:pt x="194" y="134"/>
                </a:moveTo>
                <a:cubicBezTo>
                  <a:pt x="196" y="139"/>
                  <a:pt x="196" y="144"/>
                  <a:pt x="194" y="149"/>
                </a:cubicBezTo>
                <a:cubicBezTo>
                  <a:pt x="157" y="219"/>
                  <a:pt x="157" y="219"/>
                  <a:pt x="157" y="219"/>
                </a:cubicBezTo>
                <a:cubicBezTo>
                  <a:pt x="153" y="226"/>
                  <a:pt x="145" y="229"/>
                  <a:pt x="138" y="226"/>
                </a:cubicBezTo>
                <a:cubicBezTo>
                  <a:pt x="133" y="223"/>
                  <a:pt x="130" y="217"/>
                  <a:pt x="131" y="211"/>
                </a:cubicBezTo>
                <a:cubicBezTo>
                  <a:pt x="136" y="178"/>
                  <a:pt x="136" y="178"/>
                  <a:pt x="136" y="178"/>
                </a:cubicBezTo>
                <a:cubicBezTo>
                  <a:pt x="115" y="177"/>
                  <a:pt x="115" y="177"/>
                  <a:pt x="115" y="177"/>
                </a:cubicBezTo>
                <a:cubicBezTo>
                  <a:pt x="114" y="177"/>
                  <a:pt x="114" y="177"/>
                  <a:pt x="114" y="177"/>
                </a:cubicBezTo>
                <a:cubicBezTo>
                  <a:pt x="105" y="175"/>
                  <a:pt x="99" y="167"/>
                  <a:pt x="101" y="158"/>
                </a:cubicBezTo>
                <a:cubicBezTo>
                  <a:pt x="101" y="157"/>
                  <a:pt x="101" y="155"/>
                  <a:pt x="102" y="154"/>
                </a:cubicBezTo>
                <a:cubicBezTo>
                  <a:pt x="139" y="83"/>
                  <a:pt x="139" y="83"/>
                  <a:pt x="139" y="83"/>
                </a:cubicBezTo>
                <a:cubicBezTo>
                  <a:pt x="143" y="76"/>
                  <a:pt x="151" y="74"/>
                  <a:pt x="158" y="77"/>
                </a:cubicBezTo>
                <a:cubicBezTo>
                  <a:pt x="163" y="80"/>
                  <a:pt x="166" y="86"/>
                  <a:pt x="165" y="92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81" y="126"/>
                  <a:pt x="181" y="126"/>
                  <a:pt x="181" y="126"/>
                </a:cubicBezTo>
                <a:cubicBezTo>
                  <a:pt x="182" y="126"/>
                  <a:pt x="182" y="126"/>
                  <a:pt x="182" y="126"/>
                </a:cubicBezTo>
                <a:cubicBezTo>
                  <a:pt x="187" y="127"/>
                  <a:pt x="191" y="130"/>
                  <a:pt x="194" y="1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xmlns="" id="{E187A5FE-32AF-4696-86AA-B46C309C5B12}"/>
              </a:ext>
            </a:extLst>
          </p:cNvPr>
          <p:cNvSpPr/>
          <p:nvPr/>
        </p:nvSpPr>
        <p:spPr>
          <a:xfrm>
            <a:off x="4239594" y="4069359"/>
            <a:ext cx="73609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300" b="1" dirty="0">
                <a:solidFill>
                  <a:schemeClr val="accent1"/>
                </a:solidFill>
                <a:ea typeface="+mj-ea"/>
                <a:cs typeface="+mj-cs"/>
              </a:rPr>
              <a:t>CO</a:t>
            </a:r>
            <a:r>
              <a:rPr lang="fr-FR" sz="2300" b="1" baseline="-25000" dirty="0">
                <a:solidFill>
                  <a:schemeClr val="accent1"/>
                </a:solidFill>
                <a:ea typeface="+mj-ea"/>
                <a:cs typeface="+mj-cs"/>
              </a:rPr>
              <a:t>2</a:t>
            </a:r>
            <a:endParaRPr lang="fr-FR" baseline="-25000" dirty="0">
              <a:solidFill>
                <a:schemeClr val="accent1"/>
              </a:solidFill>
            </a:endParaRPr>
          </a:p>
        </p:txBody>
      </p:sp>
      <p:sp>
        <p:nvSpPr>
          <p:cNvPr id="132" name="ZoneTexte 131">
            <a:extLst>
              <a:ext uri="{FF2B5EF4-FFF2-40B4-BE49-F238E27FC236}">
                <a16:creationId xmlns:a16="http://schemas.microsoft.com/office/drawing/2014/main" xmlns="" id="{74E3B8ED-59D2-4900-AFA0-BAC8322CAEAF}"/>
              </a:ext>
            </a:extLst>
          </p:cNvPr>
          <p:cNvSpPr txBox="1"/>
          <p:nvPr/>
        </p:nvSpPr>
        <p:spPr>
          <a:xfrm>
            <a:off x="6293514" y="2486680"/>
            <a:ext cx="20335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Item 5</a:t>
            </a:r>
          </a:p>
        </p:txBody>
      </p:sp>
      <p:sp>
        <p:nvSpPr>
          <p:cNvPr id="133" name="ZoneTexte 132">
            <a:extLst>
              <a:ext uri="{FF2B5EF4-FFF2-40B4-BE49-F238E27FC236}">
                <a16:creationId xmlns:a16="http://schemas.microsoft.com/office/drawing/2014/main" xmlns="" id="{D0DAAF85-4F24-422F-A9F1-035418A05A10}"/>
              </a:ext>
            </a:extLst>
          </p:cNvPr>
          <p:cNvSpPr txBox="1"/>
          <p:nvPr/>
        </p:nvSpPr>
        <p:spPr>
          <a:xfrm>
            <a:off x="5366571" y="3899590"/>
            <a:ext cx="9610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Item 4</a:t>
            </a:r>
          </a:p>
        </p:txBody>
      </p:sp>
      <p:sp>
        <p:nvSpPr>
          <p:cNvPr id="134" name="ZoneTexte 133">
            <a:extLst>
              <a:ext uri="{FF2B5EF4-FFF2-40B4-BE49-F238E27FC236}">
                <a16:creationId xmlns:a16="http://schemas.microsoft.com/office/drawing/2014/main" xmlns="" id="{576C8F0B-64E7-403E-87BB-0FFC3488F362}"/>
              </a:ext>
            </a:extLst>
          </p:cNvPr>
          <p:cNvSpPr txBox="1"/>
          <p:nvPr/>
        </p:nvSpPr>
        <p:spPr>
          <a:xfrm>
            <a:off x="2776829" y="4188664"/>
            <a:ext cx="15894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/>
              <a:t>Item 3</a:t>
            </a:r>
          </a:p>
        </p:txBody>
      </p:sp>
      <p:sp>
        <p:nvSpPr>
          <p:cNvPr id="135" name="ZoneTexte 134">
            <a:extLst>
              <a:ext uri="{FF2B5EF4-FFF2-40B4-BE49-F238E27FC236}">
                <a16:creationId xmlns:a16="http://schemas.microsoft.com/office/drawing/2014/main" xmlns="" id="{E5398B15-1A47-481F-A7F2-793760A14893}"/>
              </a:ext>
            </a:extLst>
          </p:cNvPr>
          <p:cNvSpPr txBox="1"/>
          <p:nvPr/>
        </p:nvSpPr>
        <p:spPr>
          <a:xfrm>
            <a:off x="1223480" y="2983861"/>
            <a:ext cx="15894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Item 1</a:t>
            </a:r>
          </a:p>
        </p:txBody>
      </p:sp>
      <p:sp>
        <p:nvSpPr>
          <p:cNvPr id="137" name="ZoneTexte 136">
            <a:extLst>
              <a:ext uri="{FF2B5EF4-FFF2-40B4-BE49-F238E27FC236}">
                <a16:creationId xmlns:a16="http://schemas.microsoft.com/office/drawing/2014/main" xmlns="" id="{1BB67E24-9E09-4A60-BDDF-6E5268194CAB}"/>
              </a:ext>
            </a:extLst>
          </p:cNvPr>
          <p:cNvSpPr txBox="1"/>
          <p:nvPr/>
        </p:nvSpPr>
        <p:spPr>
          <a:xfrm>
            <a:off x="1800030" y="3927910"/>
            <a:ext cx="1589402" cy="206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800" kern="0" dirty="0"/>
              <a:t>Item 2</a:t>
            </a:r>
          </a:p>
        </p:txBody>
      </p:sp>
      <p:grpSp>
        <p:nvGrpSpPr>
          <p:cNvPr id="91" name="Group 4">
            <a:extLst>
              <a:ext uri="{FF2B5EF4-FFF2-40B4-BE49-F238E27FC236}">
                <a16:creationId xmlns:a16="http://schemas.microsoft.com/office/drawing/2014/main" xmlns="" id="{6E857380-FE3C-43A5-A6D2-8780764EC4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6269" y="1769102"/>
            <a:ext cx="648000" cy="681231"/>
            <a:chOff x="3282" y="167"/>
            <a:chExt cx="546" cy="574"/>
          </a:xfrm>
          <a:solidFill>
            <a:schemeClr val="accent1"/>
          </a:solidFill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xmlns="" id="{C1E5712A-56AC-4415-9532-BCE3767CF2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2" y="244"/>
              <a:ext cx="382" cy="497"/>
            </a:xfrm>
            <a:custGeom>
              <a:avLst/>
              <a:gdLst>
                <a:gd name="T0" fmla="*/ 124 w 184"/>
                <a:gd name="T1" fmla="*/ 240 h 240"/>
                <a:gd name="T2" fmla="*/ 60 w 184"/>
                <a:gd name="T3" fmla="*/ 240 h 240"/>
                <a:gd name="T4" fmla="*/ 76 w 184"/>
                <a:gd name="T5" fmla="*/ 224 h 240"/>
                <a:gd name="T6" fmla="*/ 82 w 184"/>
                <a:gd name="T7" fmla="*/ 224 h 240"/>
                <a:gd name="T8" fmla="*/ 82 w 184"/>
                <a:gd name="T9" fmla="*/ 133 h 240"/>
                <a:gd name="T10" fmla="*/ 92 w 184"/>
                <a:gd name="T11" fmla="*/ 135 h 240"/>
                <a:gd name="T12" fmla="*/ 103 w 184"/>
                <a:gd name="T13" fmla="*/ 133 h 240"/>
                <a:gd name="T14" fmla="*/ 103 w 184"/>
                <a:gd name="T15" fmla="*/ 224 h 240"/>
                <a:gd name="T16" fmla="*/ 109 w 184"/>
                <a:gd name="T17" fmla="*/ 224 h 240"/>
                <a:gd name="T18" fmla="*/ 124 w 184"/>
                <a:gd name="T19" fmla="*/ 240 h 240"/>
                <a:gd name="T20" fmla="*/ 139 w 184"/>
                <a:gd name="T21" fmla="*/ 109 h 240"/>
                <a:gd name="T22" fmla="*/ 126 w 184"/>
                <a:gd name="T23" fmla="*/ 102 h 240"/>
                <a:gd name="T24" fmla="*/ 110 w 184"/>
                <a:gd name="T25" fmla="*/ 130 h 240"/>
                <a:gd name="T26" fmla="*/ 123 w 184"/>
                <a:gd name="T27" fmla="*/ 138 h 240"/>
                <a:gd name="T28" fmla="*/ 180 w 184"/>
                <a:gd name="T29" fmla="*/ 152 h 240"/>
                <a:gd name="T30" fmla="*/ 139 w 184"/>
                <a:gd name="T31" fmla="*/ 109 h 240"/>
                <a:gd name="T32" fmla="*/ 75 w 184"/>
                <a:gd name="T33" fmla="*/ 130 h 240"/>
                <a:gd name="T34" fmla="*/ 58 w 184"/>
                <a:gd name="T35" fmla="*/ 102 h 240"/>
                <a:gd name="T36" fmla="*/ 45 w 184"/>
                <a:gd name="T37" fmla="*/ 109 h 240"/>
                <a:gd name="T38" fmla="*/ 4 w 184"/>
                <a:gd name="T39" fmla="*/ 152 h 240"/>
                <a:gd name="T40" fmla="*/ 62 w 184"/>
                <a:gd name="T41" fmla="*/ 138 h 240"/>
                <a:gd name="T42" fmla="*/ 75 w 184"/>
                <a:gd name="T43" fmla="*/ 130 h 240"/>
                <a:gd name="T44" fmla="*/ 92 w 184"/>
                <a:gd name="T45" fmla="*/ 67 h 240"/>
                <a:gd name="T46" fmla="*/ 108 w 184"/>
                <a:gd name="T47" fmla="*/ 71 h 240"/>
                <a:gd name="T48" fmla="*/ 109 w 184"/>
                <a:gd name="T49" fmla="*/ 56 h 240"/>
                <a:gd name="T50" fmla="*/ 92 w 184"/>
                <a:gd name="T51" fmla="*/ 0 h 240"/>
                <a:gd name="T52" fmla="*/ 75 w 184"/>
                <a:gd name="T53" fmla="*/ 56 h 240"/>
                <a:gd name="T54" fmla="*/ 76 w 184"/>
                <a:gd name="T55" fmla="*/ 71 h 240"/>
                <a:gd name="T56" fmla="*/ 92 w 184"/>
                <a:gd name="T57" fmla="*/ 67 h 240"/>
                <a:gd name="T58" fmla="*/ 66 w 184"/>
                <a:gd name="T59" fmla="*/ 101 h 240"/>
                <a:gd name="T60" fmla="*/ 92 w 184"/>
                <a:gd name="T61" fmla="*/ 75 h 240"/>
                <a:gd name="T62" fmla="*/ 118 w 184"/>
                <a:gd name="T63" fmla="*/ 101 h 240"/>
                <a:gd name="T64" fmla="*/ 92 w 184"/>
                <a:gd name="T65" fmla="*/ 127 h 240"/>
                <a:gd name="T66" fmla="*/ 66 w 184"/>
                <a:gd name="T67" fmla="*/ 101 h 240"/>
                <a:gd name="T68" fmla="*/ 79 w 184"/>
                <a:gd name="T69" fmla="*/ 101 h 240"/>
                <a:gd name="T70" fmla="*/ 92 w 184"/>
                <a:gd name="T71" fmla="*/ 114 h 240"/>
                <a:gd name="T72" fmla="*/ 105 w 184"/>
                <a:gd name="T73" fmla="*/ 101 h 240"/>
                <a:gd name="T74" fmla="*/ 92 w 184"/>
                <a:gd name="T75" fmla="*/ 88 h 240"/>
                <a:gd name="T76" fmla="*/ 79 w 184"/>
                <a:gd name="T77" fmla="*/ 10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4" h="240">
                  <a:moveTo>
                    <a:pt x="124" y="240"/>
                  </a:moveTo>
                  <a:cubicBezTo>
                    <a:pt x="60" y="240"/>
                    <a:pt x="60" y="240"/>
                    <a:pt x="60" y="240"/>
                  </a:cubicBezTo>
                  <a:cubicBezTo>
                    <a:pt x="60" y="231"/>
                    <a:pt x="67" y="224"/>
                    <a:pt x="76" y="224"/>
                  </a:cubicBezTo>
                  <a:cubicBezTo>
                    <a:pt x="82" y="224"/>
                    <a:pt x="82" y="224"/>
                    <a:pt x="82" y="224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5" y="134"/>
                    <a:pt x="89" y="135"/>
                    <a:pt x="92" y="135"/>
                  </a:cubicBezTo>
                  <a:cubicBezTo>
                    <a:pt x="96" y="135"/>
                    <a:pt x="100" y="134"/>
                    <a:pt x="103" y="133"/>
                  </a:cubicBezTo>
                  <a:cubicBezTo>
                    <a:pt x="103" y="224"/>
                    <a:pt x="103" y="224"/>
                    <a:pt x="103" y="224"/>
                  </a:cubicBezTo>
                  <a:cubicBezTo>
                    <a:pt x="109" y="224"/>
                    <a:pt x="109" y="224"/>
                    <a:pt x="109" y="224"/>
                  </a:cubicBezTo>
                  <a:cubicBezTo>
                    <a:pt x="117" y="224"/>
                    <a:pt x="124" y="231"/>
                    <a:pt x="124" y="240"/>
                  </a:cubicBezTo>
                  <a:close/>
                  <a:moveTo>
                    <a:pt x="139" y="109"/>
                  </a:moveTo>
                  <a:cubicBezTo>
                    <a:pt x="135" y="106"/>
                    <a:pt x="130" y="104"/>
                    <a:pt x="126" y="102"/>
                  </a:cubicBezTo>
                  <a:cubicBezTo>
                    <a:pt x="126" y="114"/>
                    <a:pt x="119" y="124"/>
                    <a:pt x="110" y="130"/>
                  </a:cubicBezTo>
                  <a:cubicBezTo>
                    <a:pt x="114" y="132"/>
                    <a:pt x="118" y="135"/>
                    <a:pt x="123" y="138"/>
                  </a:cubicBezTo>
                  <a:cubicBezTo>
                    <a:pt x="150" y="154"/>
                    <a:pt x="176" y="160"/>
                    <a:pt x="180" y="152"/>
                  </a:cubicBezTo>
                  <a:cubicBezTo>
                    <a:pt x="184" y="144"/>
                    <a:pt x="166" y="125"/>
                    <a:pt x="139" y="109"/>
                  </a:cubicBezTo>
                  <a:close/>
                  <a:moveTo>
                    <a:pt x="75" y="130"/>
                  </a:moveTo>
                  <a:cubicBezTo>
                    <a:pt x="65" y="124"/>
                    <a:pt x="59" y="114"/>
                    <a:pt x="58" y="102"/>
                  </a:cubicBezTo>
                  <a:cubicBezTo>
                    <a:pt x="54" y="104"/>
                    <a:pt x="50" y="106"/>
                    <a:pt x="45" y="109"/>
                  </a:cubicBezTo>
                  <a:cubicBezTo>
                    <a:pt x="18" y="125"/>
                    <a:pt x="0" y="144"/>
                    <a:pt x="4" y="152"/>
                  </a:cubicBezTo>
                  <a:cubicBezTo>
                    <a:pt x="9" y="160"/>
                    <a:pt x="35" y="154"/>
                    <a:pt x="62" y="138"/>
                  </a:cubicBezTo>
                  <a:cubicBezTo>
                    <a:pt x="66" y="136"/>
                    <a:pt x="71" y="133"/>
                    <a:pt x="75" y="130"/>
                  </a:cubicBezTo>
                  <a:close/>
                  <a:moveTo>
                    <a:pt x="92" y="67"/>
                  </a:moveTo>
                  <a:cubicBezTo>
                    <a:pt x="98" y="67"/>
                    <a:pt x="104" y="68"/>
                    <a:pt x="108" y="71"/>
                  </a:cubicBezTo>
                  <a:cubicBezTo>
                    <a:pt x="109" y="66"/>
                    <a:pt x="109" y="61"/>
                    <a:pt x="109" y="56"/>
                  </a:cubicBezTo>
                  <a:cubicBezTo>
                    <a:pt x="109" y="25"/>
                    <a:pt x="101" y="0"/>
                    <a:pt x="92" y="0"/>
                  </a:cubicBezTo>
                  <a:cubicBezTo>
                    <a:pt x="83" y="0"/>
                    <a:pt x="75" y="25"/>
                    <a:pt x="75" y="56"/>
                  </a:cubicBezTo>
                  <a:cubicBezTo>
                    <a:pt x="75" y="62"/>
                    <a:pt x="76" y="66"/>
                    <a:pt x="76" y="71"/>
                  </a:cubicBezTo>
                  <a:cubicBezTo>
                    <a:pt x="81" y="68"/>
                    <a:pt x="86" y="67"/>
                    <a:pt x="92" y="67"/>
                  </a:cubicBezTo>
                  <a:close/>
                  <a:moveTo>
                    <a:pt x="66" y="101"/>
                  </a:moveTo>
                  <a:cubicBezTo>
                    <a:pt x="66" y="86"/>
                    <a:pt x="78" y="75"/>
                    <a:pt x="92" y="75"/>
                  </a:cubicBezTo>
                  <a:cubicBezTo>
                    <a:pt x="106" y="75"/>
                    <a:pt x="118" y="86"/>
                    <a:pt x="118" y="101"/>
                  </a:cubicBezTo>
                  <a:cubicBezTo>
                    <a:pt x="118" y="115"/>
                    <a:pt x="106" y="127"/>
                    <a:pt x="92" y="127"/>
                  </a:cubicBezTo>
                  <a:cubicBezTo>
                    <a:pt x="78" y="127"/>
                    <a:pt x="66" y="115"/>
                    <a:pt x="66" y="101"/>
                  </a:cubicBezTo>
                  <a:close/>
                  <a:moveTo>
                    <a:pt x="79" y="101"/>
                  </a:moveTo>
                  <a:cubicBezTo>
                    <a:pt x="79" y="108"/>
                    <a:pt x="85" y="114"/>
                    <a:pt x="92" y="114"/>
                  </a:cubicBezTo>
                  <a:cubicBezTo>
                    <a:pt x="99" y="114"/>
                    <a:pt x="105" y="108"/>
                    <a:pt x="105" y="101"/>
                  </a:cubicBezTo>
                  <a:cubicBezTo>
                    <a:pt x="105" y="94"/>
                    <a:pt x="99" y="88"/>
                    <a:pt x="92" y="88"/>
                  </a:cubicBezTo>
                  <a:cubicBezTo>
                    <a:pt x="85" y="88"/>
                    <a:pt x="79" y="94"/>
                    <a:pt x="7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xmlns="" id="{343236B9-AAB8-40ED-9367-09407748C3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167"/>
              <a:ext cx="289" cy="286"/>
            </a:xfrm>
            <a:custGeom>
              <a:avLst/>
              <a:gdLst>
                <a:gd name="T0" fmla="*/ 66 w 139"/>
                <a:gd name="T1" fmla="*/ 3 h 138"/>
                <a:gd name="T2" fmla="*/ 70 w 139"/>
                <a:gd name="T3" fmla="*/ 34 h 138"/>
                <a:gd name="T4" fmla="*/ 73 w 139"/>
                <a:gd name="T5" fmla="*/ 3 h 138"/>
                <a:gd name="T6" fmla="*/ 23 w 139"/>
                <a:gd name="T7" fmla="*/ 19 h 138"/>
                <a:gd name="T8" fmla="*/ 21 w 139"/>
                <a:gd name="T9" fmla="*/ 25 h 138"/>
                <a:gd name="T10" fmla="*/ 45 w 139"/>
                <a:gd name="T11" fmla="*/ 44 h 138"/>
                <a:gd name="T12" fmla="*/ 25 w 139"/>
                <a:gd name="T13" fmla="*/ 20 h 138"/>
                <a:gd name="T14" fmla="*/ 116 w 139"/>
                <a:gd name="T15" fmla="*/ 19 h 138"/>
                <a:gd name="T16" fmla="*/ 95 w 139"/>
                <a:gd name="T17" fmla="*/ 39 h 138"/>
                <a:gd name="T18" fmla="*/ 99 w 139"/>
                <a:gd name="T19" fmla="*/ 44 h 138"/>
                <a:gd name="T20" fmla="*/ 119 w 139"/>
                <a:gd name="T21" fmla="*/ 20 h 138"/>
                <a:gd name="T22" fmla="*/ 70 w 139"/>
                <a:gd name="T23" fmla="*/ 44 h 138"/>
                <a:gd name="T24" fmla="*/ 70 w 139"/>
                <a:gd name="T25" fmla="*/ 95 h 138"/>
                <a:gd name="T26" fmla="*/ 70 w 139"/>
                <a:gd name="T27" fmla="*/ 44 h 138"/>
                <a:gd name="T28" fmla="*/ 0 w 139"/>
                <a:gd name="T29" fmla="*/ 69 h 138"/>
                <a:gd name="T30" fmla="*/ 31 w 139"/>
                <a:gd name="T31" fmla="*/ 73 h 138"/>
                <a:gd name="T32" fmla="*/ 31 w 139"/>
                <a:gd name="T33" fmla="*/ 66 h 138"/>
                <a:gd name="T34" fmla="*/ 108 w 139"/>
                <a:gd name="T35" fmla="*/ 66 h 138"/>
                <a:gd name="T36" fmla="*/ 108 w 139"/>
                <a:gd name="T37" fmla="*/ 73 h 138"/>
                <a:gd name="T38" fmla="*/ 139 w 139"/>
                <a:gd name="T39" fmla="*/ 69 h 138"/>
                <a:gd name="T40" fmla="*/ 108 w 139"/>
                <a:gd name="T41" fmla="*/ 66 h 138"/>
                <a:gd name="T42" fmla="*/ 40 w 139"/>
                <a:gd name="T43" fmla="*/ 94 h 138"/>
                <a:gd name="T44" fmla="*/ 21 w 139"/>
                <a:gd name="T45" fmla="*/ 118 h 138"/>
                <a:gd name="T46" fmla="*/ 45 w 139"/>
                <a:gd name="T47" fmla="*/ 99 h 138"/>
                <a:gd name="T48" fmla="*/ 42 w 139"/>
                <a:gd name="T49" fmla="*/ 93 h 138"/>
                <a:gd name="T50" fmla="*/ 95 w 139"/>
                <a:gd name="T51" fmla="*/ 94 h 138"/>
                <a:gd name="T52" fmla="*/ 114 w 139"/>
                <a:gd name="T53" fmla="*/ 118 h 138"/>
                <a:gd name="T54" fmla="*/ 119 w 139"/>
                <a:gd name="T55" fmla="*/ 113 h 138"/>
                <a:gd name="T56" fmla="*/ 97 w 139"/>
                <a:gd name="T57" fmla="*/ 93 h 138"/>
                <a:gd name="T58" fmla="*/ 66 w 139"/>
                <a:gd name="T59" fmla="*/ 108 h 138"/>
                <a:gd name="T60" fmla="*/ 70 w 139"/>
                <a:gd name="T61" fmla="*/ 138 h 138"/>
                <a:gd name="T62" fmla="*/ 73 w 139"/>
                <a:gd name="T63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9" h="138">
                  <a:moveTo>
                    <a:pt x="70" y="0"/>
                  </a:moveTo>
                  <a:cubicBezTo>
                    <a:pt x="68" y="0"/>
                    <a:pt x="66" y="2"/>
                    <a:pt x="66" y="3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2"/>
                    <a:pt x="68" y="34"/>
                    <a:pt x="70" y="34"/>
                  </a:cubicBezTo>
                  <a:cubicBezTo>
                    <a:pt x="71" y="34"/>
                    <a:pt x="73" y="32"/>
                    <a:pt x="73" y="30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2"/>
                    <a:pt x="71" y="0"/>
                    <a:pt x="70" y="0"/>
                  </a:cubicBezTo>
                  <a:close/>
                  <a:moveTo>
                    <a:pt x="23" y="19"/>
                  </a:moveTo>
                  <a:cubicBezTo>
                    <a:pt x="22" y="19"/>
                    <a:pt x="21" y="20"/>
                    <a:pt x="21" y="20"/>
                  </a:cubicBezTo>
                  <a:cubicBezTo>
                    <a:pt x="19" y="22"/>
                    <a:pt x="19" y="24"/>
                    <a:pt x="21" y="25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1" y="46"/>
                    <a:pt x="43" y="46"/>
                    <a:pt x="45" y="44"/>
                  </a:cubicBezTo>
                  <a:cubicBezTo>
                    <a:pt x="46" y="43"/>
                    <a:pt x="46" y="41"/>
                    <a:pt x="45" y="3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4" y="19"/>
                    <a:pt x="23" y="19"/>
                  </a:cubicBezTo>
                  <a:close/>
                  <a:moveTo>
                    <a:pt x="116" y="19"/>
                  </a:moveTo>
                  <a:cubicBezTo>
                    <a:pt x="115" y="19"/>
                    <a:pt x="114" y="20"/>
                    <a:pt x="114" y="20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3" y="41"/>
                    <a:pt x="93" y="43"/>
                    <a:pt x="95" y="44"/>
                  </a:cubicBezTo>
                  <a:cubicBezTo>
                    <a:pt x="96" y="46"/>
                    <a:pt x="98" y="46"/>
                    <a:pt x="99" y="44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20" y="24"/>
                    <a:pt x="120" y="22"/>
                    <a:pt x="119" y="20"/>
                  </a:cubicBezTo>
                  <a:cubicBezTo>
                    <a:pt x="118" y="20"/>
                    <a:pt x="117" y="19"/>
                    <a:pt x="116" y="19"/>
                  </a:cubicBezTo>
                  <a:close/>
                  <a:moveTo>
                    <a:pt x="70" y="44"/>
                  </a:moveTo>
                  <a:cubicBezTo>
                    <a:pt x="56" y="44"/>
                    <a:pt x="44" y="55"/>
                    <a:pt x="44" y="69"/>
                  </a:cubicBezTo>
                  <a:cubicBezTo>
                    <a:pt x="44" y="83"/>
                    <a:pt x="56" y="95"/>
                    <a:pt x="70" y="95"/>
                  </a:cubicBezTo>
                  <a:cubicBezTo>
                    <a:pt x="84" y="95"/>
                    <a:pt x="95" y="83"/>
                    <a:pt x="95" y="69"/>
                  </a:cubicBezTo>
                  <a:cubicBezTo>
                    <a:pt x="95" y="55"/>
                    <a:pt x="84" y="44"/>
                    <a:pt x="70" y="44"/>
                  </a:cubicBezTo>
                  <a:close/>
                  <a:moveTo>
                    <a:pt x="4" y="66"/>
                  </a:moveTo>
                  <a:cubicBezTo>
                    <a:pt x="2" y="66"/>
                    <a:pt x="0" y="67"/>
                    <a:pt x="0" y="69"/>
                  </a:cubicBezTo>
                  <a:cubicBezTo>
                    <a:pt x="0" y="71"/>
                    <a:pt x="2" y="73"/>
                    <a:pt x="4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3" y="73"/>
                    <a:pt x="34" y="71"/>
                    <a:pt x="34" y="69"/>
                  </a:cubicBezTo>
                  <a:cubicBezTo>
                    <a:pt x="34" y="67"/>
                    <a:pt x="33" y="66"/>
                    <a:pt x="31" y="66"/>
                  </a:cubicBezTo>
                  <a:lnTo>
                    <a:pt x="4" y="66"/>
                  </a:lnTo>
                  <a:close/>
                  <a:moveTo>
                    <a:pt x="108" y="66"/>
                  </a:moveTo>
                  <a:cubicBezTo>
                    <a:pt x="107" y="66"/>
                    <a:pt x="105" y="67"/>
                    <a:pt x="105" y="69"/>
                  </a:cubicBezTo>
                  <a:cubicBezTo>
                    <a:pt x="105" y="71"/>
                    <a:pt x="107" y="73"/>
                    <a:pt x="108" y="73"/>
                  </a:cubicBezTo>
                  <a:cubicBezTo>
                    <a:pt x="135" y="73"/>
                    <a:pt x="135" y="73"/>
                    <a:pt x="135" y="73"/>
                  </a:cubicBezTo>
                  <a:cubicBezTo>
                    <a:pt x="137" y="73"/>
                    <a:pt x="139" y="71"/>
                    <a:pt x="139" y="69"/>
                  </a:cubicBezTo>
                  <a:cubicBezTo>
                    <a:pt x="139" y="67"/>
                    <a:pt x="137" y="66"/>
                    <a:pt x="135" y="66"/>
                  </a:cubicBezTo>
                  <a:lnTo>
                    <a:pt x="108" y="66"/>
                  </a:lnTo>
                  <a:close/>
                  <a:moveTo>
                    <a:pt x="42" y="93"/>
                  </a:moveTo>
                  <a:cubicBezTo>
                    <a:pt x="41" y="93"/>
                    <a:pt x="40" y="94"/>
                    <a:pt x="40" y="94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5"/>
                    <a:pt x="19" y="117"/>
                    <a:pt x="21" y="118"/>
                  </a:cubicBezTo>
                  <a:cubicBezTo>
                    <a:pt x="22" y="120"/>
                    <a:pt x="24" y="120"/>
                    <a:pt x="25" y="118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46" y="98"/>
                    <a:pt x="46" y="96"/>
                    <a:pt x="45" y="94"/>
                  </a:cubicBezTo>
                  <a:cubicBezTo>
                    <a:pt x="44" y="94"/>
                    <a:pt x="43" y="93"/>
                    <a:pt x="42" y="93"/>
                  </a:cubicBezTo>
                  <a:close/>
                  <a:moveTo>
                    <a:pt x="97" y="93"/>
                  </a:moveTo>
                  <a:cubicBezTo>
                    <a:pt x="96" y="93"/>
                    <a:pt x="95" y="94"/>
                    <a:pt x="95" y="94"/>
                  </a:cubicBezTo>
                  <a:cubicBezTo>
                    <a:pt x="93" y="96"/>
                    <a:pt x="93" y="98"/>
                    <a:pt x="95" y="99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5" y="120"/>
                    <a:pt x="117" y="120"/>
                    <a:pt x="119" y="118"/>
                  </a:cubicBezTo>
                  <a:cubicBezTo>
                    <a:pt x="120" y="117"/>
                    <a:pt x="120" y="115"/>
                    <a:pt x="119" y="113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3"/>
                    <a:pt x="97" y="93"/>
                  </a:cubicBezTo>
                  <a:close/>
                  <a:moveTo>
                    <a:pt x="70" y="105"/>
                  </a:moveTo>
                  <a:cubicBezTo>
                    <a:pt x="68" y="105"/>
                    <a:pt x="66" y="106"/>
                    <a:pt x="66" y="108"/>
                  </a:cubicBezTo>
                  <a:cubicBezTo>
                    <a:pt x="66" y="135"/>
                    <a:pt x="66" y="135"/>
                    <a:pt x="66" y="135"/>
                  </a:cubicBezTo>
                  <a:cubicBezTo>
                    <a:pt x="66" y="137"/>
                    <a:pt x="68" y="138"/>
                    <a:pt x="70" y="138"/>
                  </a:cubicBezTo>
                  <a:cubicBezTo>
                    <a:pt x="71" y="138"/>
                    <a:pt x="73" y="137"/>
                    <a:pt x="73" y="135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73" y="106"/>
                    <a:pt x="71" y="105"/>
                    <a:pt x="70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95" name="Group 4">
            <a:extLst>
              <a:ext uri="{FF2B5EF4-FFF2-40B4-BE49-F238E27FC236}">
                <a16:creationId xmlns:a16="http://schemas.microsoft.com/office/drawing/2014/main" xmlns="" id="{9A05045F-1EC1-43DB-9DE1-1C8184E803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14150" y="3784126"/>
            <a:ext cx="500197" cy="516748"/>
            <a:chOff x="2781" y="376"/>
            <a:chExt cx="544" cy="562"/>
          </a:xfrm>
          <a:solidFill>
            <a:schemeClr val="accent1"/>
          </a:solidFill>
        </p:grpSpPr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xmlns="" id="{209737F3-76E6-4EA8-B933-B214C5FD6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447"/>
              <a:ext cx="58" cy="58"/>
            </a:xfrm>
            <a:custGeom>
              <a:avLst/>
              <a:gdLst>
                <a:gd name="T0" fmla="*/ 26 w 28"/>
                <a:gd name="T1" fmla="*/ 0 h 28"/>
                <a:gd name="T2" fmla="*/ 2 w 28"/>
                <a:gd name="T3" fmla="*/ 0 h 28"/>
                <a:gd name="T4" fmla="*/ 0 w 28"/>
                <a:gd name="T5" fmla="*/ 2 h 28"/>
                <a:gd name="T6" fmla="*/ 0 w 28"/>
                <a:gd name="T7" fmla="*/ 26 h 28"/>
                <a:gd name="T8" fmla="*/ 2 w 28"/>
                <a:gd name="T9" fmla="*/ 28 h 28"/>
                <a:gd name="T10" fmla="*/ 26 w 28"/>
                <a:gd name="T11" fmla="*/ 28 h 28"/>
                <a:gd name="T12" fmla="*/ 28 w 28"/>
                <a:gd name="T13" fmla="*/ 26 h 28"/>
                <a:gd name="T14" fmla="*/ 28 w 28"/>
                <a:gd name="T15" fmla="*/ 3 h 28"/>
                <a:gd name="T16" fmla="*/ 26 w 28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8"/>
                    <a:pt x="28" y="27"/>
                    <a:pt x="28" y="2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xmlns="" id="{338581AB-F13D-4679-AD60-68C280085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2" y="447"/>
              <a:ext cx="68" cy="60"/>
            </a:xfrm>
            <a:custGeom>
              <a:avLst/>
              <a:gdLst>
                <a:gd name="T0" fmla="*/ 3 w 33"/>
                <a:gd name="T1" fmla="*/ 29 h 29"/>
                <a:gd name="T2" fmla="*/ 30 w 33"/>
                <a:gd name="T3" fmla="*/ 29 h 29"/>
                <a:gd name="T4" fmla="*/ 33 w 33"/>
                <a:gd name="T5" fmla="*/ 26 h 29"/>
                <a:gd name="T6" fmla="*/ 33 w 33"/>
                <a:gd name="T7" fmla="*/ 3 h 29"/>
                <a:gd name="T8" fmla="*/ 30 w 33"/>
                <a:gd name="T9" fmla="*/ 0 h 29"/>
                <a:gd name="T10" fmla="*/ 6 w 33"/>
                <a:gd name="T11" fmla="*/ 0 h 29"/>
                <a:gd name="T12" fmla="*/ 3 w 33"/>
                <a:gd name="T13" fmla="*/ 2 h 29"/>
                <a:gd name="T14" fmla="*/ 0 w 33"/>
                <a:gd name="T15" fmla="*/ 26 h 29"/>
                <a:gd name="T16" fmla="*/ 3 w 33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9">
                  <a:moveTo>
                    <a:pt x="3" y="29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1" y="29"/>
                    <a:pt x="33" y="27"/>
                    <a:pt x="33" y="26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"/>
                    <a:pt x="31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3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9"/>
                    <a:pt x="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xmlns="" id="{9CD99546-A2A9-4D30-8252-54E46CA1B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525"/>
              <a:ext cx="58" cy="61"/>
            </a:xfrm>
            <a:custGeom>
              <a:avLst/>
              <a:gdLst>
                <a:gd name="T0" fmla="*/ 28 w 28"/>
                <a:gd name="T1" fmla="*/ 27 h 29"/>
                <a:gd name="T2" fmla="*/ 28 w 28"/>
                <a:gd name="T3" fmla="*/ 3 h 29"/>
                <a:gd name="T4" fmla="*/ 26 w 28"/>
                <a:gd name="T5" fmla="*/ 0 h 29"/>
                <a:gd name="T6" fmla="*/ 2 w 28"/>
                <a:gd name="T7" fmla="*/ 0 h 29"/>
                <a:gd name="T8" fmla="*/ 0 w 28"/>
                <a:gd name="T9" fmla="*/ 3 h 29"/>
                <a:gd name="T10" fmla="*/ 0 w 28"/>
                <a:gd name="T11" fmla="*/ 27 h 29"/>
                <a:gd name="T12" fmla="*/ 2 w 28"/>
                <a:gd name="T13" fmla="*/ 29 h 29"/>
                <a:gd name="T14" fmla="*/ 26 w 28"/>
                <a:gd name="T15" fmla="*/ 29 h 29"/>
                <a:gd name="T16" fmla="*/ 28 w 28"/>
                <a:gd name="T17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9">
                  <a:moveTo>
                    <a:pt x="28" y="27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7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7" y="29"/>
                    <a:pt x="28" y="28"/>
                    <a:pt x="2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xmlns="" id="{6DFB39F4-8BA1-4609-B24B-694D037FF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376"/>
              <a:ext cx="58" cy="50"/>
            </a:xfrm>
            <a:custGeom>
              <a:avLst/>
              <a:gdLst>
                <a:gd name="T0" fmla="*/ 3 w 28"/>
                <a:gd name="T1" fmla="*/ 24 h 24"/>
                <a:gd name="T2" fmla="*/ 25 w 28"/>
                <a:gd name="T3" fmla="*/ 24 h 24"/>
                <a:gd name="T4" fmla="*/ 28 w 28"/>
                <a:gd name="T5" fmla="*/ 21 h 24"/>
                <a:gd name="T6" fmla="*/ 26 w 28"/>
                <a:gd name="T7" fmla="*/ 3 h 24"/>
                <a:gd name="T8" fmla="*/ 23 w 28"/>
                <a:gd name="T9" fmla="*/ 0 h 24"/>
                <a:gd name="T10" fmla="*/ 3 w 28"/>
                <a:gd name="T11" fmla="*/ 0 h 24"/>
                <a:gd name="T12" fmla="*/ 0 w 28"/>
                <a:gd name="T13" fmla="*/ 3 h 24"/>
                <a:gd name="T14" fmla="*/ 0 w 28"/>
                <a:gd name="T15" fmla="*/ 21 h 24"/>
                <a:gd name="T16" fmla="*/ 3 w 28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4">
                  <a:moveTo>
                    <a:pt x="3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7" y="24"/>
                    <a:pt x="28" y="23"/>
                    <a:pt x="28" y="2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1"/>
                    <a:pt x="25" y="0"/>
                    <a:pt x="2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1" y="24"/>
                    <a:pt x="3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xmlns="" id="{E8744693-5D07-47B0-A3FE-E0E1B10F8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376"/>
              <a:ext cx="60" cy="50"/>
            </a:xfrm>
            <a:custGeom>
              <a:avLst/>
              <a:gdLst>
                <a:gd name="T0" fmla="*/ 29 w 29"/>
                <a:gd name="T1" fmla="*/ 21 h 24"/>
                <a:gd name="T2" fmla="*/ 29 w 29"/>
                <a:gd name="T3" fmla="*/ 3 h 24"/>
                <a:gd name="T4" fmla="*/ 26 w 29"/>
                <a:gd name="T5" fmla="*/ 0 h 24"/>
                <a:gd name="T6" fmla="*/ 5 w 29"/>
                <a:gd name="T7" fmla="*/ 0 h 24"/>
                <a:gd name="T8" fmla="*/ 3 w 29"/>
                <a:gd name="T9" fmla="*/ 3 h 24"/>
                <a:gd name="T10" fmla="*/ 1 w 29"/>
                <a:gd name="T11" fmla="*/ 21 h 24"/>
                <a:gd name="T12" fmla="*/ 3 w 29"/>
                <a:gd name="T13" fmla="*/ 24 h 24"/>
                <a:gd name="T14" fmla="*/ 26 w 29"/>
                <a:gd name="T15" fmla="*/ 24 h 24"/>
                <a:gd name="T16" fmla="*/ 29 w 29"/>
                <a:gd name="T1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4">
                  <a:moveTo>
                    <a:pt x="29" y="21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0"/>
                    <a:pt x="2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3" y="3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3"/>
                    <a:pt x="2" y="24"/>
                    <a:pt x="3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8" y="24"/>
                    <a:pt x="29" y="23"/>
                    <a:pt x="2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xmlns="" id="{4365C330-514F-4117-AD34-A57B4B519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525"/>
              <a:ext cx="77" cy="61"/>
            </a:xfrm>
            <a:custGeom>
              <a:avLst/>
              <a:gdLst>
                <a:gd name="T0" fmla="*/ 32 w 37"/>
                <a:gd name="T1" fmla="*/ 0 h 29"/>
                <a:gd name="T2" fmla="*/ 3 w 37"/>
                <a:gd name="T3" fmla="*/ 0 h 29"/>
                <a:gd name="T4" fmla="*/ 0 w 37"/>
                <a:gd name="T5" fmla="*/ 3 h 29"/>
                <a:gd name="T6" fmla="*/ 0 w 37"/>
                <a:gd name="T7" fmla="*/ 26 h 29"/>
                <a:gd name="T8" fmla="*/ 3 w 37"/>
                <a:gd name="T9" fmla="*/ 29 h 29"/>
                <a:gd name="T10" fmla="*/ 35 w 37"/>
                <a:gd name="T11" fmla="*/ 29 h 29"/>
                <a:gd name="T12" fmla="*/ 37 w 37"/>
                <a:gd name="T13" fmla="*/ 26 h 29"/>
                <a:gd name="T14" fmla="*/ 34 w 37"/>
                <a:gd name="T15" fmla="*/ 2 h 29"/>
                <a:gd name="T16" fmla="*/ 32 w 37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9">
                  <a:moveTo>
                    <a:pt x="3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1" y="29"/>
                    <a:pt x="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7" y="28"/>
                    <a:pt x="37" y="26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5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2" name="Freeform 11">
              <a:extLst>
                <a:ext uri="{FF2B5EF4-FFF2-40B4-BE49-F238E27FC236}">
                  <a16:creationId xmlns:a16="http://schemas.microsoft.com/office/drawing/2014/main" xmlns="" id="{B38CE25A-B136-49AB-9FD9-669E948F5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" y="525"/>
              <a:ext cx="79" cy="61"/>
            </a:xfrm>
            <a:custGeom>
              <a:avLst/>
              <a:gdLst>
                <a:gd name="T0" fmla="*/ 35 w 38"/>
                <a:gd name="T1" fmla="*/ 0 h 29"/>
                <a:gd name="T2" fmla="*/ 6 w 38"/>
                <a:gd name="T3" fmla="*/ 0 h 29"/>
                <a:gd name="T4" fmla="*/ 3 w 38"/>
                <a:gd name="T5" fmla="*/ 3 h 29"/>
                <a:gd name="T6" fmla="*/ 1 w 38"/>
                <a:gd name="T7" fmla="*/ 26 h 29"/>
                <a:gd name="T8" fmla="*/ 3 w 38"/>
                <a:gd name="T9" fmla="*/ 29 h 29"/>
                <a:gd name="T10" fmla="*/ 35 w 38"/>
                <a:gd name="T11" fmla="*/ 29 h 29"/>
                <a:gd name="T12" fmla="*/ 38 w 38"/>
                <a:gd name="T13" fmla="*/ 27 h 29"/>
                <a:gd name="T14" fmla="*/ 38 w 38"/>
                <a:gd name="T15" fmla="*/ 3 h 29"/>
                <a:gd name="T16" fmla="*/ 35 w 38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9">
                  <a:moveTo>
                    <a:pt x="3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8"/>
                    <a:pt x="2" y="29"/>
                    <a:pt x="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8" y="28"/>
                    <a:pt x="38" y="27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1"/>
                    <a:pt x="37" y="0"/>
                    <a:pt x="3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xmlns="" id="{F17F8E8F-2E76-47C7-9D65-4E62197BE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" y="376"/>
              <a:ext cx="58" cy="50"/>
            </a:xfrm>
            <a:custGeom>
              <a:avLst/>
              <a:gdLst>
                <a:gd name="T0" fmla="*/ 0 w 28"/>
                <a:gd name="T1" fmla="*/ 3 h 24"/>
                <a:gd name="T2" fmla="*/ 0 w 28"/>
                <a:gd name="T3" fmla="*/ 21 h 24"/>
                <a:gd name="T4" fmla="*/ 2 w 28"/>
                <a:gd name="T5" fmla="*/ 24 h 24"/>
                <a:gd name="T6" fmla="*/ 26 w 28"/>
                <a:gd name="T7" fmla="*/ 24 h 24"/>
                <a:gd name="T8" fmla="*/ 28 w 28"/>
                <a:gd name="T9" fmla="*/ 21 h 24"/>
                <a:gd name="T10" fmla="*/ 28 w 28"/>
                <a:gd name="T11" fmla="*/ 3 h 24"/>
                <a:gd name="T12" fmla="*/ 26 w 28"/>
                <a:gd name="T13" fmla="*/ 0 h 24"/>
                <a:gd name="T14" fmla="*/ 2 w 28"/>
                <a:gd name="T15" fmla="*/ 0 h 24"/>
                <a:gd name="T16" fmla="*/ 0 w 28"/>
                <a:gd name="T1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4">
                  <a:moveTo>
                    <a:pt x="0" y="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1" y="24"/>
                    <a:pt x="2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3"/>
                    <a:pt x="28" y="2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7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xmlns="" id="{FF141355-755C-4909-8A6F-6D29F47DF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" y="447"/>
              <a:ext cx="68" cy="58"/>
            </a:xfrm>
            <a:custGeom>
              <a:avLst/>
              <a:gdLst>
                <a:gd name="T0" fmla="*/ 27 w 33"/>
                <a:gd name="T1" fmla="*/ 0 h 28"/>
                <a:gd name="T2" fmla="*/ 3 w 33"/>
                <a:gd name="T3" fmla="*/ 0 h 28"/>
                <a:gd name="T4" fmla="*/ 0 w 33"/>
                <a:gd name="T5" fmla="*/ 2 h 28"/>
                <a:gd name="T6" fmla="*/ 0 w 33"/>
                <a:gd name="T7" fmla="*/ 26 h 28"/>
                <a:gd name="T8" fmla="*/ 3 w 33"/>
                <a:gd name="T9" fmla="*/ 28 h 28"/>
                <a:gd name="T10" fmla="*/ 30 w 33"/>
                <a:gd name="T11" fmla="*/ 28 h 28"/>
                <a:gd name="T12" fmla="*/ 33 w 33"/>
                <a:gd name="T13" fmla="*/ 25 h 28"/>
                <a:gd name="T14" fmla="*/ 30 w 33"/>
                <a:gd name="T15" fmla="*/ 2 h 28"/>
                <a:gd name="T16" fmla="*/ 27 w 33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8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2" y="28"/>
                    <a:pt x="33" y="27"/>
                    <a:pt x="33" y="25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xmlns="" id="{1EA5E8F7-DD2A-484C-94AA-3346DF70E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0" y="407"/>
              <a:ext cx="415" cy="531"/>
            </a:xfrm>
            <a:custGeom>
              <a:avLst/>
              <a:gdLst>
                <a:gd name="T0" fmla="*/ 80 w 200"/>
                <a:gd name="T1" fmla="*/ 100 h 256"/>
                <a:gd name="T2" fmla="*/ 83 w 200"/>
                <a:gd name="T3" fmla="*/ 56 h 256"/>
                <a:gd name="T4" fmla="*/ 87 w 200"/>
                <a:gd name="T5" fmla="*/ 21 h 256"/>
                <a:gd name="T6" fmla="*/ 90 w 200"/>
                <a:gd name="T7" fmla="*/ 9 h 256"/>
                <a:gd name="T8" fmla="*/ 100 w 200"/>
                <a:gd name="T9" fmla="*/ 0 h 256"/>
                <a:gd name="T10" fmla="*/ 110 w 200"/>
                <a:gd name="T11" fmla="*/ 9 h 256"/>
                <a:gd name="T12" fmla="*/ 113 w 200"/>
                <a:gd name="T13" fmla="*/ 21 h 256"/>
                <a:gd name="T14" fmla="*/ 117 w 200"/>
                <a:gd name="T15" fmla="*/ 56 h 256"/>
                <a:gd name="T16" fmla="*/ 120 w 200"/>
                <a:gd name="T17" fmla="*/ 100 h 256"/>
                <a:gd name="T18" fmla="*/ 157 w 200"/>
                <a:gd name="T19" fmla="*/ 125 h 256"/>
                <a:gd name="T20" fmla="*/ 185 w 200"/>
                <a:gd name="T21" fmla="*/ 145 h 256"/>
                <a:gd name="T22" fmla="*/ 194 w 200"/>
                <a:gd name="T23" fmla="*/ 154 h 256"/>
                <a:gd name="T24" fmla="*/ 197 w 200"/>
                <a:gd name="T25" fmla="*/ 168 h 256"/>
                <a:gd name="T26" fmla="*/ 184 w 200"/>
                <a:gd name="T27" fmla="*/ 172 h 256"/>
                <a:gd name="T28" fmla="*/ 172 w 200"/>
                <a:gd name="T29" fmla="*/ 168 h 256"/>
                <a:gd name="T30" fmla="*/ 140 w 200"/>
                <a:gd name="T31" fmla="*/ 154 h 256"/>
                <a:gd name="T32" fmla="*/ 100 w 200"/>
                <a:gd name="T33" fmla="*/ 134 h 256"/>
                <a:gd name="T34" fmla="*/ 60 w 200"/>
                <a:gd name="T35" fmla="*/ 154 h 256"/>
                <a:gd name="T36" fmla="*/ 28 w 200"/>
                <a:gd name="T37" fmla="*/ 168 h 256"/>
                <a:gd name="T38" fmla="*/ 16 w 200"/>
                <a:gd name="T39" fmla="*/ 172 h 256"/>
                <a:gd name="T40" fmla="*/ 3 w 200"/>
                <a:gd name="T41" fmla="*/ 168 h 256"/>
                <a:gd name="T42" fmla="*/ 6 w 200"/>
                <a:gd name="T43" fmla="*/ 154 h 256"/>
                <a:gd name="T44" fmla="*/ 15 w 200"/>
                <a:gd name="T45" fmla="*/ 145 h 256"/>
                <a:gd name="T46" fmla="*/ 43 w 200"/>
                <a:gd name="T47" fmla="*/ 125 h 256"/>
                <a:gd name="T48" fmla="*/ 80 w 200"/>
                <a:gd name="T49" fmla="*/ 100 h 256"/>
                <a:gd name="T50" fmla="*/ 100 w 200"/>
                <a:gd name="T51" fmla="*/ 124 h 256"/>
                <a:gd name="T52" fmla="*/ 112 w 200"/>
                <a:gd name="T53" fmla="*/ 112 h 256"/>
                <a:gd name="T54" fmla="*/ 100 w 200"/>
                <a:gd name="T55" fmla="*/ 100 h 256"/>
                <a:gd name="T56" fmla="*/ 88 w 200"/>
                <a:gd name="T57" fmla="*/ 112 h 256"/>
                <a:gd name="T58" fmla="*/ 100 w 200"/>
                <a:gd name="T59" fmla="*/ 124 h 256"/>
                <a:gd name="T60" fmla="*/ 76 w 200"/>
                <a:gd name="T61" fmla="*/ 256 h 256"/>
                <a:gd name="T62" fmla="*/ 83 w 200"/>
                <a:gd name="T63" fmla="*/ 156 h 256"/>
                <a:gd name="T64" fmla="*/ 100 w 200"/>
                <a:gd name="T65" fmla="*/ 148 h 256"/>
                <a:gd name="T66" fmla="*/ 117 w 200"/>
                <a:gd name="T67" fmla="*/ 156 h 256"/>
                <a:gd name="T68" fmla="*/ 124 w 200"/>
                <a:gd name="T69" fmla="*/ 256 h 256"/>
                <a:gd name="T70" fmla="*/ 125 w 200"/>
                <a:gd name="T71" fmla="*/ 256 h 256"/>
                <a:gd name="T72" fmla="*/ 76 w 200"/>
                <a:gd name="T73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0" h="256">
                  <a:moveTo>
                    <a:pt x="80" y="100"/>
                  </a:moveTo>
                  <a:cubicBezTo>
                    <a:pt x="81" y="88"/>
                    <a:pt x="82" y="70"/>
                    <a:pt x="83" y="56"/>
                  </a:cubicBezTo>
                  <a:cubicBezTo>
                    <a:pt x="84" y="42"/>
                    <a:pt x="85" y="30"/>
                    <a:pt x="87" y="21"/>
                  </a:cubicBezTo>
                  <a:cubicBezTo>
                    <a:pt x="88" y="16"/>
                    <a:pt x="89" y="12"/>
                    <a:pt x="90" y="9"/>
                  </a:cubicBezTo>
                  <a:cubicBezTo>
                    <a:pt x="92" y="3"/>
                    <a:pt x="94" y="0"/>
                    <a:pt x="100" y="0"/>
                  </a:cubicBezTo>
                  <a:cubicBezTo>
                    <a:pt x="106" y="0"/>
                    <a:pt x="108" y="3"/>
                    <a:pt x="110" y="9"/>
                  </a:cubicBezTo>
                  <a:cubicBezTo>
                    <a:pt x="111" y="12"/>
                    <a:pt x="112" y="16"/>
                    <a:pt x="113" y="21"/>
                  </a:cubicBezTo>
                  <a:cubicBezTo>
                    <a:pt x="115" y="30"/>
                    <a:pt x="116" y="42"/>
                    <a:pt x="117" y="56"/>
                  </a:cubicBezTo>
                  <a:cubicBezTo>
                    <a:pt x="118" y="70"/>
                    <a:pt x="119" y="88"/>
                    <a:pt x="120" y="100"/>
                  </a:cubicBezTo>
                  <a:cubicBezTo>
                    <a:pt x="130" y="107"/>
                    <a:pt x="145" y="117"/>
                    <a:pt x="157" y="125"/>
                  </a:cubicBezTo>
                  <a:cubicBezTo>
                    <a:pt x="169" y="133"/>
                    <a:pt x="178" y="140"/>
                    <a:pt x="185" y="145"/>
                  </a:cubicBezTo>
                  <a:cubicBezTo>
                    <a:pt x="189" y="149"/>
                    <a:pt x="192" y="151"/>
                    <a:pt x="194" y="154"/>
                  </a:cubicBezTo>
                  <a:cubicBezTo>
                    <a:pt x="198" y="159"/>
                    <a:pt x="200" y="162"/>
                    <a:pt x="197" y="168"/>
                  </a:cubicBezTo>
                  <a:cubicBezTo>
                    <a:pt x="194" y="173"/>
                    <a:pt x="190" y="173"/>
                    <a:pt x="184" y="172"/>
                  </a:cubicBezTo>
                  <a:cubicBezTo>
                    <a:pt x="180" y="171"/>
                    <a:pt x="176" y="170"/>
                    <a:pt x="172" y="168"/>
                  </a:cubicBezTo>
                  <a:cubicBezTo>
                    <a:pt x="163" y="165"/>
                    <a:pt x="153" y="160"/>
                    <a:pt x="140" y="154"/>
                  </a:cubicBezTo>
                  <a:cubicBezTo>
                    <a:pt x="127" y="148"/>
                    <a:pt x="111" y="140"/>
                    <a:pt x="100" y="134"/>
                  </a:cubicBezTo>
                  <a:cubicBezTo>
                    <a:pt x="89" y="140"/>
                    <a:pt x="73" y="148"/>
                    <a:pt x="60" y="154"/>
                  </a:cubicBezTo>
                  <a:cubicBezTo>
                    <a:pt x="47" y="160"/>
                    <a:pt x="37" y="165"/>
                    <a:pt x="28" y="168"/>
                  </a:cubicBezTo>
                  <a:cubicBezTo>
                    <a:pt x="24" y="170"/>
                    <a:pt x="20" y="171"/>
                    <a:pt x="16" y="172"/>
                  </a:cubicBezTo>
                  <a:cubicBezTo>
                    <a:pt x="10" y="173"/>
                    <a:pt x="6" y="173"/>
                    <a:pt x="3" y="168"/>
                  </a:cubicBezTo>
                  <a:cubicBezTo>
                    <a:pt x="0" y="162"/>
                    <a:pt x="2" y="159"/>
                    <a:pt x="6" y="154"/>
                  </a:cubicBezTo>
                  <a:cubicBezTo>
                    <a:pt x="8" y="151"/>
                    <a:pt x="11" y="149"/>
                    <a:pt x="15" y="145"/>
                  </a:cubicBezTo>
                  <a:cubicBezTo>
                    <a:pt x="22" y="140"/>
                    <a:pt x="31" y="133"/>
                    <a:pt x="43" y="125"/>
                  </a:cubicBezTo>
                  <a:cubicBezTo>
                    <a:pt x="55" y="117"/>
                    <a:pt x="70" y="107"/>
                    <a:pt x="80" y="100"/>
                  </a:cubicBezTo>
                  <a:close/>
                  <a:moveTo>
                    <a:pt x="100" y="124"/>
                  </a:moveTo>
                  <a:cubicBezTo>
                    <a:pt x="107" y="124"/>
                    <a:pt x="112" y="118"/>
                    <a:pt x="112" y="112"/>
                  </a:cubicBezTo>
                  <a:cubicBezTo>
                    <a:pt x="112" y="105"/>
                    <a:pt x="107" y="100"/>
                    <a:pt x="100" y="100"/>
                  </a:cubicBezTo>
                  <a:cubicBezTo>
                    <a:pt x="93" y="100"/>
                    <a:pt x="88" y="105"/>
                    <a:pt x="88" y="112"/>
                  </a:cubicBezTo>
                  <a:cubicBezTo>
                    <a:pt x="88" y="118"/>
                    <a:pt x="93" y="124"/>
                    <a:pt x="100" y="124"/>
                  </a:cubicBezTo>
                  <a:close/>
                  <a:moveTo>
                    <a:pt x="76" y="256"/>
                  </a:moveTo>
                  <a:cubicBezTo>
                    <a:pt x="83" y="156"/>
                    <a:pt x="83" y="156"/>
                    <a:pt x="83" y="156"/>
                  </a:cubicBezTo>
                  <a:cubicBezTo>
                    <a:pt x="89" y="153"/>
                    <a:pt x="95" y="151"/>
                    <a:pt x="100" y="148"/>
                  </a:cubicBezTo>
                  <a:cubicBezTo>
                    <a:pt x="105" y="151"/>
                    <a:pt x="111" y="153"/>
                    <a:pt x="117" y="1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5" y="256"/>
                    <a:pt x="125" y="256"/>
                    <a:pt x="125" y="256"/>
                  </a:cubicBezTo>
                  <a:lnTo>
                    <a:pt x="76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83" name="Espace réservé de la date 7">
            <a:extLst>
              <a:ext uri="{FF2B5EF4-FFF2-40B4-BE49-F238E27FC236}">
                <a16:creationId xmlns:a16="http://schemas.microsoft.com/office/drawing/2014/main" xmlns="" id="{B218C6B6-A3F8-4D0F-A9F6-171187654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84" name="Espace réservé du pied de page 9">
            <a:extLst>
              <a:ext uri="{FF2B5EF4-FFF2-40B4-BE49-F238E27FC236}">
                <a16:creationId xmlns:a16="http://schemas.microsoft.com/office/drawing/2014/main" xmlns="" id="{F2074862-A633-4081-8DA8-B3F5CEBD4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563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xmlns="" id="{FA0FC22D-931F-4BE6-8D96-84F81D638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RAPH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B1D784B-74DF-4FF4-9AE1-6689BEB1D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5376B671-2ACF-45B4-9D05-A0558049212F}"/>
              </a:ext>
            </a:extLst>
          </p:cNvPr>
          <p:cNvSpPr>
            <a:spLocks noEditPoints="1"/>
          </p:cNvSpPr>
          <p:nvPr/>
        </p:nvSpPr>
        <p:spPr bwMode="auto">
          <a:xfrm>
            <a:off x="8258821" y="1154785"/>
            <a:ext cx="460947" cy="439091"/>
          </a:xfrm>
          <a:custGeom>
            <a:avLst/>
            <a:gdLst>
              <a:gd name="T0" fmla="*/ 168 w 336"/>
              <a:gd name="T1" fmla="*/ 0 h 320"/>
              <a:gd name="T2" fmla="*/ 96 w 336"/>
              <a:gd name="T3" fmla="*/ 71 h 320"/>
              <a:gd name="T4" fmla="*/ 102 w 336"/>
              <a:gd name="T5" fmla="*/ 102 h 320"/>
              <a:gd name="T6" fmla="*/ 168 w 336"/>
              <a:gd name="T7" fmla="*/ 240 h 320"/>
              <a:gd name="T8" fmla="*/ 234 w 336"/>
              <a:gd name="T9" fmla="*/ 102 h 320"/>
              <a:gd name="T10" fmla="*/ 240 w 336"/>
              <a:gd name="T11" fmla="*/ 71 h 320"/>
              <a:gd name="T12" fmla="*/ 168 w 336"/>
              <a:gd name="T13" fmla="*/ 0 h 320"/>
              <a:gd name="T14" fmla="*/ 168 w 336"/>
              <a:gd name="T15" fmla="*/ 36 h 320"/>
              <a:gd name="T16" fmla="*/ 204 w 336"/>
              <a:gd name="T17" fmla="*/ 72 h 320"/>
              <a:gd name="T18" fmla="*/ 168 w 336"/>
              <a:gd name="T19" fmla="*/ 108 h 320"/>
              <a:gd name="T20" fmla="*/ 132 w 336"/>
              <a:gd name="T21" fmla="*/ 72 h 320"/>
              <a:gd name="T22" fmla="*/ 168 w 336"/>
              <a:gd name="T23" fmla="*/ 36 h 320"/>
              <a:gd name="T24" fmla="*/ 34 w 336"/>
              <a:gd name="T25" fmla="*/ 160 h 320"/>
              <a:gd name="T26" fmla="*/ 96 w 336"/>
              <a:gd name="T27" fmla="*/ 238 h 320"/>
              <a:gd name="T28" fmla="*/ 134 w 336"/>
              <a:gd name="T29" fmla="*/ 206 h 320"/>
              <a:gd name="T30" fmla="*/ 112 w 336"/>
              <a:gd name="T31" fmla="*/ 160 h 320"/>
              <a:gd name="T32" fmla="*/ 34 w 336"/>
              <a:gd name="T33" fmla="*/ 160 h 320"/>
              <a:gd name="T34" fmla="*/ 224 w 336"/>
              <a:gd name="T35" fmla="*/ 160 h 320"/>
              <a:gd name="T36" fmla="*/ 206 w 336"/>
              <a:gd name="T37" fmla="*/ 200 h 320"/>
              <a:gd name="T38" fmla="*/ 318 w 336"/>
              <a:gd name="T39" fmla="*/ 200 h 320"/>
              <a:gd name="T40" fmla="*/ 312 w 336"/>
              <a:gd name="T41" fmla="*/ 160 h 320"/>
              <a:gd name="T42" fmla="*/ 224 w 336"/>
              <a:gd name="T43" fmla="*/ 160 h 320"/>
              <a:gd name="T44" fmla="*/ 22 w 336"/>
              <a:gd name="T45" fmla="*/ 171 h 320"/>
              <a:gd name="T46" fmla="*/ 0 w 336"/>
              <a:gd name="T47" fmla="*/ 320 h 320"/>
              <a:gd name="T48" fmla="*/ 141 w 336"/>
              <a:gd name="T49" fmla="*/ 320 h 320"/>
              <a:gd name="T50" fmla="*/ 22 w 336"/>
              <a:gd name="T51" fmla="*/ 171 h 320"/>
              <a:gd name="T52" fmla="*/ 320 w 336"/>
              <a:gd name="T53" fmla="*/ 213 h 320"/>
              <a:gd name="T54" fmla="*/ 320 w 336"/>
              <a:gd name="T55" fmla="*/ 216 h 320"/>
              <a:gd name="T56" fmla="*/ 219 w 336"/>
              <a:gd name="T57" fmla="*/ 216 h 320"/>
              <a:gd name="T58" fmla="*/ 251 w 336"/>
              <a:gd name="T59" fmla="*/ 256 h 320"/>
              <a:gd name="T60" fmla="*/ 326 w 336"/>
              <a:gd name="T61" fmla="*/ 256 h 320"/>
              <a:gd name="T62" fmla="*/ 320 w 336"/>
              <a:gd name="T63" fmla="*/ 213 h 320"/>
              <a:gd name="T64" fmla="*/ 198 w 336"/>
              <a:gd name="T65" fmla="*/ 215 h 320"/>
              <a:gd name="T66" fmla="*/ 182 w 336"/>
              <a:gd name="T67" fmla="*/ 247 h 320"/>
              <a:gd name="T68" fmla="*/ 168 w 336"/>
              <a:gd name="T69" fmla="*/ 256 h 320"/>
              <a:gd name="T70" fmla="*/ 154 w 336"/>
              <a:gd name="T71" fmla="*/ 247 h 320"/>
              <a:gd name="T72" fmla="*/ 141 w 336"/>
              <a:gd name="T73" fmla="*/ 220 h 320"/>
              <a:gd name="T74" fmla="*/ 106 w 336"/>
              <a:gd name="T75" fmla="*/ 250 h 320"/>
              <a:gd name="T76" fmla="*/ 162 w 336"/>
              <a:gd name="T77" fmla="*/ 320 h 320"/>
              <a:gd name="T78" fmla="*/ 281 w 336"/>
              <a:gd name="T79" fmla="*/ 320 h 320"/>
              <a:gd name="T80" fmla="*/ 198 w 336"/>
              <a:gd name="T81" fmla="*/ 215 h 320"/>
              <a:gd name="T82" fmla="*/ 328 w 336"/>
              <a:gd name="T83" fmla="*/ 267 h 320"/>
              <a:gd name="T84" fmla="*/ 328 w 336"/>
              <a:gd name="T85" fmla="*/ 272 h 320"/>
              <a:gd name="T86" fmla="*/ 263 w 336"/>
              <a:gd name="T87" fmla="*/ 272 h 320"/>
              <a:gd name="T88" fmla="*/ 302 w 336"/>
              <a:gd name="T89" fmla="*/ 320 h 320"/>
              <a:gd name="T90" fmla="*/ 336 w 336"/>
              <a:gd name="T91" fmla="*/ 320 h 320"/>
              <a:gd name="T92" fmla="*/ 328 w 336"/>
              <a:gd name="T93" fmla="*/ 2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36" h="320">
                <a:moveTo>
                  <a:pt x="168" y="0"/>
                </a:moveTo>
                <a:cubicBezTo>
                  <a:pt x="128" y="0"/>
                  <a:pt x="96" y="31"/>
                  <a:pt x="96" y="71"/>
                </a:cubicBezTo>
                <a:cubicBezTo>
                  <a:pt x="96" y="80"/>
                  <a:pt x="99" y="94"/>
                  <a:pt x="102" y="102"/>
                </a:cubicBezTo>
                <a:cubicBezTo>
                  <a:pt x="168" y="240"/>
                  <a:pt x="168" y="240"/>
                  <a:pt x="168" y="240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7" y="94"/>
                  <a:pt x="240" y="80"/>
                  <a:pt x="240" y="71"/>
                </a:cubicBezTo>
                <a:cubicBezTo>
                  <a:pt x="240" y="31"/>
                  <a:pt x="208" y="0"/>
                  <a:pt x="168" y="0"/>
                </a:cubicBezTo>
                <a:close/>
                <a:moveTo>
                  <a:pt x="168" y="36"/>
                </a:moveTo>
                <a:cubicBezTo>
                  <a:pt x="188" y="36"/>
                  <a:pt x="204" y="52"/>
                  <a:pt x="204" y="72"/>
                </a:cubicBezTo>
                <a:cubicBezTo>
                  <a:pt x="204" y="92"/>
                  <a:pt x="188" y="108"/>
                  <a:pt x="168" y="108"/>
                </a:cubicBezTo>
                <a:cubicBezTo>
                  <a:pt x="148" y="108"/>
                  <a:pt x="132" y="92"/>
                  <a:pt x="132" y="72"/>
                </a:cubicBezTo>
                <a:cubicBezTo>
                  <a:pt x="132" y="52"/>
                  <a:pt x="148" y="36"/>
                  <a:pt x="168" y="36"/>
                </a:cubicBezTo>
                <a:close/>
                <a:moveTo>
                  <a:pt x="34" y="160"/>
                </a:moveTo>
                <a:cubicBezTo>
                  <a:pt x="96" y="238"/>
                  <a:pt x="96" y="238"/>
                  <a:pt x="96" y="238"/>
                </a:cubicBezTo>
                <a:cubicBezTo>
                  <a:pt x="134" y="206"/>
                  <a:pt x="134" y="206"/>
                  <a:pt x="134" y="206"/>
                </a:cubicBezTo>
                <a:cubicBezTo>
                  <a:pt x="112" y="160"/>
                  <a:pt x="112" y="160"/>
                  <a:pt x="112" y="160"/>
                </a:cubicBezTo>
                <a:lnTo>
                  <a:pt x="34" y="160"/>
                </a:lnTo>
                <a:close/>
                <a:moveTo>
                  <a:pt x="224" y="160"/>
                </a:moveTo>
                <a:cubicBezTo>
                  <a:pt x="206" y="200"/>
                  <a:pt x="206" y="200"/>
                  <a:pt x="206" y="200"/>
                </a:cubicBezTo>
                <a:cubicBezTo>
                  <a:pt x="318" y="200"/>
                  <a:pt x="318" y="200"/>
                  <a:pt x="318" y="200"/>
                </a:cubicBezTo>
                <a:cubicBezTo>
                  <a:pt x="312" y="160"/>
                  <a:pt x="312" y="160"/>
                  <a:pt x="312" y="160"/>
                </a:cubicBezTo>
                <a:lnTo>
                  <a:pt x="224" y="160"/>
                </a:lnTo>
                <a:close/>
                <a:moveTo>
                  <a:pt x="22" y="171"/>
                </a:moveTo>
                <a:cubicBezTo>
                  <a:pt x="0" y="320"/>
                  <a:pt x="0" y="320"/>
                  <a:pt x="0" y="320"/>
                </a:cubicBezTo>
                <a:cubicBezTo>
                  <a:pt x="141" y="320"/>
                  <a:pt x="141" y="320"/>
                  <a:pt x="141" y="320"/>
                </a:cubicBezTo>
                <a:cubicBezTo>
                  <a:pt x="22" y="171"/>
                  <a:pt x="22" y="171"/>
                  <a:pt x="22" y="171"/>
                </a:cubicBezTo>
                <a:close/>
                <a:moveTo>
                  <a:pt x="320" y="213"/>
                </a:moveTo>
                <a:cubicBezTo>
                  <a:pt x="320" y="216"/>
                  <a:pt x="320" y="216"/>
                  <a:pt x="320" y="216"/>
                </a:cubicBezTo>
                <a:cubicBezTo>
                  <a:pt x="219" y="216"/>
                  <a:pt x="219" y="216"/>
                  <a:pt x="219" y="216"/>
                </a:cubicBezTo>
                <a:cubicBezTo>
                  <a:pt x="251" y="256"/>
                  <a:pt x="251" y="256"/>
                  <a:pt x="251" y="256"/>
                </a:cubicBezTo>
                <a:cubicBezTo>
                  <a:pt x="326" y="256"/>
                  <a:pt x="326" y="256"/>
                  <a:pt x="326" y="256"/>
                </a:cubicBezTo>
                <a:lnTo>
                  <a:pt x="320" y="213"/>
                </a:lnTo>
                <a:close/>
                <a:moveTo>
                  <a:pt x="198" y="215"/>
                </a:moveTo>
                <a:cubicBezTo>
                  <a:pt x="182" y="247"/>
                  <a:pt x="182" y="247"/>
                  <a:pt x="182" y="247"/>
                </a:cubicBezTo>
                <a:cubicBezTo>
                  <a:pt x="180" y="252"/>
                  <a:pt x="174" y="256"/>
                  <a:pt x="168" y="256"/>
                </a:cubicBezTo>
                <a:cubicBezTo>
                  <a:pt x="162" y="256"/>
                  <a:pt x="156" y="252"/>
                  <a:pt x="154" y="247"/>
                </a:cubicBezTo>
                <a:cubicBezTo>
                  <a:pt x="141" y="220"/>
                  <a:pt x="141" y="220"/>
                  <a:pt x="141" y="22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62" y="320"/>
                  <a:pt x="162" y="320"/>
                  <a:pt x="162" y="320"/>
                </a:cubicBezTo>
                <a:cubicBezTo>
                  <a:pt x="281" y="320"/>
                  <a:pt x="281" y="320"/>
                  <a:pt x="281" y="320"/>
                </a:cubicBezTo>
                <a:cubicBezTo>
                  <a:pt x="198" y="215"/>
                  <a:pt x="198" y="215"/>
                  <a:pt x="198" y="215"/>
                </a:cubicBezTo>
                <a:close/>
                <a:moveTo>
                  <a:pt x="328" y="267"/>
                </a:moveTo>
                <a:cubicBezTo>
                  <a:pt x="328" y="272"/>
                  <a:pt x="328" y="272"/>
                  <a:pt x="328" y="272"/>
                </a:cubicBezTo>
                <a:cubicBezTo>
                  <a:pt x="263" y="272"/>
                  <a:pt x="263" y="272"/>
                  <a:pt x="263" y="272"/>
                </a:cubicBezTo>
                <a:cubicBezTo>
                  <a:pt x="302" y="320"/>
                  <a:pt x="302" y="320"/>
                  <a:pt x="302" y="320"/>
                </a:cubicBezTo>
                <a:cubicBezTo>
                  <a:pt x="336" y="320"/>
                  <a:pt x="336" y="320"/>
                  <a:pt x="336" y="320"/>
                </a:cubicBezTo>
                <a:lnTo>
                  <a:pt x="328" y="2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3" name="Espace réservé de la date 7">
            <a:extLst>
              <a:ext uri="{FF2B5EF4-FFF2-40B4-BE49-F238E27FC236}">
                <a16:creationId xmlns:a16="http://schemas.microsoft.com/office/drawing/2014/main" xmlns="" id="{B218C6B6-A3F8-4D0F-A9F6-171187654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84" name="Espace réservé du pied de page 9">
            <a:extLst>
              <a:ext uri="{FF2B5EF4-FFF2-40B4-BE49-F238E27FC236}">
                <a16:creationId xmlns:a16="http://schemas.microsoft.com/office/drawing/2014/main" xmlns="" id="{F2074862-A633-4081-8DA8-B3F5CEBD4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graphicFrame>
        <p:nvGraphicFramePr>
          <p:cNvPr id="81" name="Graphique 80">
            <a:extLst>
              <a:ext uri="{FF2B5EF4-FFF2-40B4-BE49-F238E27FC236}">
                <a16:creationId xmlns:a16="http://schemas.microsoft.com/office/drawing/2014/main" xmlns="" id="{C9174E56-D41F-4632-B82B-43133A1341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3581350"/>
              </p:ext>
            </p:extLst>
          </p:nvPr>
        </p:nvGraphicFramePr>
        <p:xfrm>
          <a:off x="323850" y="2105965"/>
          <a:ext cx="8496300" cy="3146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2" name="Connecteur droit 81">
            <a:extLst>
              <a:ext uri="{FF2B5EF4-FFF2-40B4-BE49-F238E27FC236}">
                <a16:creationId xmlns:a16="http://schemas.microsoft.com/office/drawing/2014/main" xmlns="" id="{8C81BAA2-32F9-4CC8-BACD-FF5FBAD2C769}"/>
              </a:ext>
            </a:extLst>
          </p:cNvPr>
          <p:cNvCxnSpPr>
            <a:cxnSpLocks/>
          </p:cNvCxnSpPr>
          <p:nvPr/>
        </p:nvCxnSpPr>
        <p:spPr>
          <a:xfrm>
            <a:off x="5436097" y="2336259"/>
            <a:ext cx="0" cy="2376262"/>
          </a:xfrm>
          <a:prstGeom prst="line">
            <a:avLst/>
          </a:prstGeom>
          <a:ln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ZoneTexte 84">
            <a:extLst>
              <a:ext uri="{FF2B5EF4-FFF2-40B4-BE49-F238E27FC236}">
                <a16:creationId xmlns:a16="http://schemas.microsoft.com/office/drawing/2014/main" xmlns="" id="{1FDE3912-4DFD-4970-9C1D-909F91BBCEAB}"/>
              </a:ext>
            </a:extLst>
          </p:cNvPr>
          <p:cNvSpPr txBox="1"/>
          <p:nvPr/>
        </p:nvSpPr>
        <p:spPr>
          <a:xfrm>
            <a:off x="918942" y="2262616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0.90</a:t>
            </a:r>
          </a:p>
        </p:txBody>
      </p:sp>
      <p:sp>
        <p:nvSpPr>
          <p:cNvPr id="107" name="ZoneTexte 106">
            <a:extLst>
              <a:ext uri="{FF2B5EF4-FFF2-40B4-BE49-F238E27FC236}">
                <a16:creationId xmlns:a16="http://schemas.microsoft.com/office/drawing/2014/main" xmlns="" id="{68705049-6C38-4F93-84EA-12BC3E3E3DF0}"/>
              </a:ext>
            </a:extLst>
          </p:cNvPr>
          <p:cNvSpPr txBox="1"/>
          <p:nvPr/>
        </p:nvSpPr>
        <p:spPr>
          <a:xfrm>
            <a:off x="2601703" y="3913942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0.13</a:t>
            </a:r>
          </a:p>
        </p:txBody>
      </p:sp>
      <p:sp>
        <p:nvSpPr>
          <p:cNvPr id="108" name="ZoneTexte 107">
            <a:extLst>
              <a:ext uri="{FF2B5EF4-FFF2-40B4-BE49-F238E27FC236}">
                <a16:creationId xmlns:a16="http://schemas.microsoft.com/office/drawing/2014/main" xmlns="" id="{A7E98011-28F0-4C02-A713-0737D2FBA993}"/>
              </a:ext>
            </a:extLst>
          </p:cNvPr>
          <p:cNvSpPr txBox="1"/>
          <p:nvPr/>
        </p:nvSpPr>
        <p:spPr>
          <a:xfrm>
            <a:off x="4283968" y="3913942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0.13</a:t>
            </a:r>
          </a:p>
        </p:txBody>
      </p:sp>
      <p:sp>
        <p:nvSpPr>
          <p:cNvPr id="109" name="ZoneTexte 108">
            <a:extLst>
              <a:ext uri="{FF2B5EF4-FFF2-40B4-BE49-F238E27FC236}">
                <a16:creationId xmlns:a16="http://schemas.microsoft.com/office/drawing/2014/main" xmlns="" id="{FB852691-739B-4F3F-B5B1-B2CA995966D2}"/>
              </a:ext>
            </a:extLst>
          </p:cNvPr>
          <p:cNvSpPr txBox="1"/>
          <p:nvPr/>
        </p:nvSpPr>
        <p:spPr>
          <a:xfrm>
            <a:off x="5990591" y="4031536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0.08</a:t>
            </a: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xmlns="" id="{2BFFD346-B9D1-4547-B533-2B97714B6465}"/>
              </a:ext>
            </a:extLst>
          </p:cNvPr>
          <p:cNvSpPr txBox="1"/>
          <p:nvPr/>
        </p:nvSpPr>
        <p:spPr>
          <a:xfrm>
            <a:off x="7713950" y="4057958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0.00</a:t>
            </a:r>
          </a:p>
        </p:txBody>
      </p:sp>
      <p:sp>
        <p:nvSpPr>
          <p:cNvPr id="112" name="Rectangle à coins arrondis 44">
            <a:extLst>
              <a:ext uri="{FF2B5EF4-FFF2-40B4-BE49-F238E27FC236}">
                <a16:creationId xmlns:a16="http://schemas.microsoft.com/office/drawing/2014/main" xmlns="" id="{4E3140B5-FDF7-4BFF-917C-3A716AA0D13B}"/>
              </a:ext>
            </a:extLst>
          </p:cNvPr>
          <p:cNvSpPr/>
          <p:nvPr/>
        </p:nvSpPr>
        <p:spPr>
          <a:xfrm>
            <a:off x="323850" y="1972294"/>
            <a:ext cx="8493125" cy="24844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300"/>
              </a:spcBef>
              <a:spcAft>
                <a:spcPts val="650"/>
              </a:spcAft>
              <a:defRPr/>
            </a:pPr>
            <a:r>
              <a:rPr lang="en-US" sz="1050" b="1" kern="0" cap="all" dirty="0">
                <a:solidFill>
                  <a:prstClr val="white"/>
                </a:solidFill>
                <a:latin typeface="Arial" panose="020B0604020202020204" pitchFamily="34" charset="0"/>
                <a:ea typeface="微軟正黑體"/>
                <a:cs typeface="Arial" panose="020B0604020202020204" pitchFamily="34" charset="0"/>
              </a:rPr>
              <a:t>Graph Title 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xmlns="" id="{86709389-D49D-4702-B385-A4F5F6F39D4A}"/>
              </a:ext>
            </a:extLst>
          </p:cNvPr>
          <p:cNvSpPr/>
          <p:nvPr/>
        </p:nvSpPr>
        <p:spPr>
          <a:xfrm>
            <a:off x="908719" y="4599753"/>
            <a:ext cx="466794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2012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395116FE-D63B-4C7A-B9C4-2E5F68E19DB0}"/>
              </a:ext>
            </a:extLst>
          </p:cNvPr>
          <p:cNvSpPr/>
          <p:nvPr/>
        </p:nvSpPr>
        <p:spPr>
          <a:xfrm>
            <a:off x="2620945" y="4599753"/>
            <a:ext cx="466794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2016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xmlns="" id="{412CB033-BBA2-4C4D-9266-E44C4D22D7D6}"/>
              </a:ext>
            </a:extLst>
          </p:cNvPr>
          <p:cNvSpPr/>
          <p:nvPr/>
        </p:nvSpPr>
        <p:spPr>
          <a:xfrm>
            <a:off x="4333171" y="4599753"/>
            <a:ext cx="466794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2017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xmlns="" id="{77B35103-AD42-4F4E-B4C3-3062064DEB5D}"/>
              </a:ext>
            </a:extLst>
          </p:cNvPr>
          <p:cNvSpPr/>
          <p:nvPr/>
        </p:nvSpPr>
        <p:spPr>
          <a:xfrm>
            <a:off x="6045397" y="4599753"/>
            <a:ext cx="466794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2025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xmlns="" id="{4D8394E7-0893-4362-8D7E-0A05D3CC9396}"/>
              </a:ext>
            </a:extLst>
          </p:cNvPr>
          <p:cNvSpPr/>
          <p:nvPr/>
        </p:nvSpPr>
        <p:spPr>
          <a:xfrm>
            <a:off x="7757624" y="4599753"/>
            <a:ext cx="466794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2030</a:t>
            </a:r>
          </a:p>
        </p:txBody>
      </p:sp>
    </p:spTree>
    <p:extLst>
      <p:ext uri="{BB962C8B-B14F-4D97-AF65-F5344CB8AC3E}">
        <p14:creationId xmlns:p14="http://schemas.microsoft.com/office/powerpoint/2010/main" val="338076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xmlns="" id="{FA0FC22D-931F-4BE6-8D96-84F81D638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RAPH 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B1D784B-74DF-4FF4-9AE1-6689BEB1D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5376B671-2ACF-45B4-9D05-A0558049212F}"/>
              </a:ext>
            </a:extLst>
          </p:cNvPr>
          <p:cNvSpPr>
            <a:spLocks noEditPoints="1"/>
          </p:cNvSpPr>
          <p:nvPr/>
        </p:nvSpPr>
        <p:spPr bwMode="auto">
          <a:xfrm>
            <a:off x="8258821" y="1154785"/>
            <a:ext cx="460947" cy="439091"/>
          </a:xfrm>
          <a:custGeom>
            <a:avLst/>
            <a:gdLst>
              <a:gd name="T0" fmla="*/ 168 w 336"/>
              <a:gd name="T1" fmla="*/ 0 h 320"/>
              <a:gd name="T2" fmla="*/ 96 w 336"/>
              <a:gd name="T3" fmla="*/ 71 h 320"/>
              <a:gd name="T4" fmla="*/ 102 w 336"/>
              <a:gd name="T5" fmla="*/ 102 h 320"/>
              <a:gd name="T6" fmla="*/ 168 w 336"/>
              <a:gd name="T7" fmla="*/ 240 h 320"/>
              <a:gd name="T8" fmla="*/ 234 w 336"/>
              <a:gd name="T9" fmla="*/ 102 h 320"/>
              <a:gd name="T10" fmla="*/ 240 w 336"/>
              <a:gd name="T11" fmla="*/ 71 h 320"/>
              <a:gd name="T12" fmla="*/ 168 w 336"/>
              <a:gd name="T13" fmla="*/ 0 h 320"/>
              <a:gd name="T14" fmla="*/ 168 w 336"/>
              <a:gd name="T15" fmla="*/ 36 h 320"/>
              <a:gd name="T16" fmla="*/ 204 w 336"/>
              <a:gd name="T17" fmla="*/ 72 h 320"/>
              <a:gd name="T18" fmla="*/ 168 w 336"/>
              <a:gd name="T19" fmla="*/ 108 h 320"/>
              <a:gd name="T20" fmla="*/ 132 w 336"/>
              <a:gd name="T21" fmla="*/ 72 h 320"/>
              <a:gd name="T22" fmla="*/ 168 w 336"/>
              <a:gd name="T23" fmla="*/ 36 h 320"/>
              <a:gd name="T24" fmla="*/ 34 w 336"/>
              <a:gd name="T25" fmla="*/ 160 h 320"/>
              <a:gd name="T26" fmla="*/ 96 w 336"/>
              <a:gd name="T27" fmla="*/ 238 h 320"/>
              <a:gd name="T28" fmla="*/ 134 w 336"/>
              <a:gd name="T29" fmla="*/ 206 h 320"/>
              <a:gd name="T30" fmla="*/ 112 w 336"/>
              <a:gd name="T31" fmla="*/ 160 h 320"/>
              <a:gd name="T32" fmla="*/ 34 w 336"/>
              <a:gd name="T33" fmla="*/ 160 h 320"/>
              <a:gd name="T34" fmla="*/ 224 w 336"/>
              <a:gd name="T35" fmla="*/ 160 h 320"/>
              <a:gd name="T36" fmla="*/ 206 w 336"/>
              <a:gd name="T37" fmla="*/ 200 h 320"/>
              <a:gd name="T38" fmla="*/ 318 w 336"/>
              <a:gd name="T39" fmla="*/ 200 h 320"/>
              <a:gd name="T40" fmla="*/ 312 w 336"/>
              <a:gd name="T41" fmla="*/ 160 h 320"/>
              <a:gd name="T42" fmla="*/ 224 w 336"/>
              <a:gd name="T43" fmla="*/ 160 h 320"/>
              <a:gd name="T44" fmla="*/ 22 w 336"/>
              <a:gd name="T45" fmla="*/ 171 h 320"/>
              <a:gd name="T46" fmla="*/ 0 w 336"/>
              <a:gd name="T47" fmla="*/ 320 h 320"/>
              <a:gd name="T48" fmla="*/ 141 w 336"/>
              <a:gd name="T49" fmla="*/ 320 h 320"/>
              <a:gd name="T50" fmla="*/ 22 w 336"/>
              <a:gd name="T51" fmla="*/ 171 h 320"/>
              <a:gd name="T52" fmla="*/ 320 w 336"/>
              <a:gd name="T53" fmla="*/ 213 h 320"/>
              <a:gd name="T54" fmla="*/ 320 w 336"/>
              <a:gd name="T55" fmla="*/ 216 h 320"/>
              <a:gd name="T56" fmla="*/ 219 w 336"/>
              <a:gd name="T57" fmla="*/ 216 h 320"/>
              <a:gd name="T58" fmla="*/ 251 w 336"/>
              <a:gd name="T59" fmla="*/ 256 h 320"/>
              <a:gd name="T60" fmla="*/ 326 w 336"/>
              <a:gd name="T61" fmla="*/ 256 h 320"/>
              <a:gd name="T62" fmla="*/ 320 w 336"/>
              <a:gd name="T63" fmla="*/ 213 h 320"/>
              <a:gd name="T64" fmla="*/ 198 w 336"/>
              <a:gd name="T65" fmla="*/ 215 h 320"/>
              <a:gd name="T66" fmla="*/ 182 w 336"/>
              <a:gd name="T67" fmla="*/ 247 h 320"/>
              <a:gd name="T68" fmla="*/ 168 w 336"/>
              <a:gd name="T69" fmla="*/ 256 h 320"/>
              <a:gd name="T70" fmla="*/ 154 w 336"/>
              <a:gd name="T71" fmla="*/ 247 h 320"/>
              <a:gd name="T72" fmla="*/ 141 w 336"/>
              <a:gd name="T73" fmla="*/ 220 h 320"/>
              <a:gd name="T74" fmla="*/ 106 w 336"/>
              <a:gd name="T75" fmla="*/ 250 h 320"/>
              <a:gd name="T76" fmla="*/ 162 w 336"/>
              <a:gd name="T77" fmla="*/ 320 h 320"/>
              <a:gd name="T78" fmla="*/ 281 w 336"/>
              <a:gd name="T79" fmla="*/ 320 h 320"/>
              <a:gd name="T80" fmla="*/ 198 w 336"/>
              <a:gd name="T81" fmla="*/ 215 h 320"/>
              <a:gd name="T82" fmla="*/ 328 w 336"/>
              <a:gd name="T83" fmla="*/ 267 h 320"/>
              <a:gd name="T84" fmla="*/ 328 w 336"/>
              <a:gd name="T85" fmla="*/ 272 h 320"/>
              <a:gd name="T86" fmla="*/ 263 w 336"/>
              <a:gd name="T87" fmla="*/ 272 h 320"/>
              <a:gd name="T88" fmla="*/ 302 w 336"/>
              <a:gd name="T89" fmla="*/ 320 h 320"/>
              <a:gd name="T90" fmla="*/ 336 w 336"/>
              <a:gd name="T91" fmla="*/ 320 h 320"/>
              <a:gd name="T92" fmla="*/ 328 w 336"/>
              <a:gd name="T93" fmla="*/ 2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36" h="320">
                <a:moveTo>
                  <a:pt x="168" y="0"/>
                </a:moveTo>
                <a:cubicBezTo>
                  <a:pt x="128" y="0"/>
                  <a:pt x="96" y="31"/>
                  <a:pt x="96" y="71"/>
                </a:cubicBezTo>
                <a:cubicBezTo>
                  <a:pt x="96" y="80"/>
                  <a:pt x="99" y="94"/>
                  <a:pt x="102" y="102"/>
                </a:cubicBezTo>
                <a:cubicBezTo>
                  <a:pt x="168" y="240"/>
                  <a:pt x="168" y="240"/>
                  <a:pt x="168" y="240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7" y="94"/>
                  <a:pt x="240" y="80"/>
                  <a:pt x="240" y="71"/>
                </a:cubicBezTo>
                <a:cubicBezTo>
                  <a:pt x="240" y="31"/>
                  <a:pt x="208" y="0"/>
                  <a:pt x="168" y="0"/>
                </a:cubicBezTo>
                <a:close/>
                <a:moveTo>
                  <a:pt x="168" y="36"/>
                </a:moveTo>
                <a:cubicBezTo>
                  <a:pt x="188" y="36"/>
                  <a:pt x="204" y="52"/>
                  <a:pt x="204" y="72"/>
                </a:cubicBezTo>
                <a:cubicBezTo>
                  <a:pt x="204" y="92"/>
                  <a:pt x="188" y="108"/>
                  <a:pt x="168" y="108"/>
                </a:cubicBezTo>
                <a:cubicBezTo>
                  <a:pt x="148" y="108"/>
                  <a:pt x="132" y="92"/>
                  <a:pt x="132" y="72"/>
                </a:cubicBezTo>
                <a:cubicBezTo>
                  <a:pt x="132" y="52"/>
                  <a:pt x="148" y="36"/>
                  <a:pt x="168" y="36"/>
                </a:cubicBezTo>
                <a:close/>
                <a:moveTo>
                  <a:pt x="34" y="160"/>
                </a:moveTo>
                <a:cubicBezTo>
                  <a:pt x="96" y="238"/>
                  <a:pt x="96" y="238"/>
                  <a:pt x="96" y="238"/>
                </a:cubicBezTo>
                <a:cubicBezTo>
                  <a:pt x="134" y="206"/>
                  <a:pt x="134" y="206"/>
                  <a:pt x="134" y="206"/>
                </a:cubicBezTo>
                <a:cubicBezTo>
                  <a:pt x="112" y="160"/>
                  <a:pt x="112" y="160"/>
                  <a:pt x="112" y="160"/>
                </a:cubicBezTo>
                <a:lnTo>
                  <a:pt x="34" y="160"/>
                </a:lnTo>
                <a:close/>
                <a:moveTo>
                  <a:pt x="224" y="160"/>
                </a:moveTo>
                <a:cubicBezTo>
                  <a:pt x="206" y="200"/>
                  <a:pt x="206" y="200"/>
                  <a:pt x="206" y="200"/>
                </a:cubicBezTo>
                <a:cubicBezTo>
                  <a:pt x="318" y="200"/>
                  <a:pt x="318" y="200"/>
                  <a:pt x="318" y="200"/>
                </a:cubicBezTo>
                <a:cubicBezTo>
                  <a:pt x="312" y="160"/>
                  <a:pt x="312" y="160"/>
                  <a:pt x="312" y="160"/>
                </a:cubicBezTo>
                <a:lnTo>
                  <a:pt x="224" y="160"/>
                </a:lnTo>
                <a:close/>
                <a:moveTo>
                  <a:pt x="22" y="171"/>
                </a:moveTo>
                <a:cubicBezTo>
                  <a:pt x="0" y="320"/>
                  <a:pt x="0" y="320"/>
                  <a:pt x="0" y="320"/>
                </a:cubicBezTo>
                <a:cubicBezTo>
                  <a:pt x="141" y="320"/>
                  <a:pt x="141" y="320"/>
                  <a:pt x="141" y="320"/>
                </a:cubicBezTo>
                <a:cubicBezTo>
                  <a:pt x="22" y="171"/>
                  <a:pt x="22" y="171"/>
                  <a:pt x="22" y="171"/>
                </a:cubicBezTo>
                <a:close/>
                <a:moveTo>
                  <a:pt x="320" y="213"/>
                </a:moveTo>
                <a:cubicBezTo>
                  <a:pt x="320" y="216"/>
                  <a:pt x="320" y="216"/>
                  <a:pt x="320" y="216"/>
                </a:cubicBezTo>
                <a:cubicBezTo>
                  <a:pt x="219" y="216"/>
                  <a:pt x="219" y="216"/>
                  <a:pt x="219" y="216"/>
                </a:cubicBezTo>
                <a:cubicBezTo>
                  <a:pt x="251" y="256"/>
                  <a:pt x="251" y="256"/>
                  <a:pt x="251" y="256"/>
                </a:cubicBezTo>
                <a:cubicBezTo>
                  <a:pt x="326" y="256"/>
                  <a:pt x="326" y="256"/>
                  <a:pt x="326" y="256"/>
                </a:cubicBezTo>
                <a:lnTo>
                  <a:pt x="320" y="213"/>
                </a:lnTo>
                <a:close/>
                <a:moveTo>
                  <a:pt x="198" y="215"/>
                </a:moveTo>
                <a:cubicBezTo>
                  <a:pt x="182" y="247"/>
                  <a:pt x="182" y="247"/>
                  <a:pt x="182" y="247"/>
                </a:cubicBezTo>
                <a:cubicBezTo>
                  <a:pt x="180" y="252"/>
                  <a:pt x="174" y="256"/>
                  <a:pt x="168" y="256"/>
                </a:cubicBezTo>
                <a:cubicBezTo>
                  <a:pt x="162" y="256"/>
                  <a:pt x="156" y="252"/>
                  <a:pt x="154" y="247"/>
                </a:cubicBezTo>
                <a:cubicBezTo>
                  <a:pt x="141" y="220"/>
                  <a:pt x="141" y="220"/>
                  <a:pt x="141" y="22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62" y="320"/>
                  <a:pt x="162" y="320"/>
                  <a:pt x="162" y="320"/>
                </a:cubicBezTo>
                <a:cubicBezTo>
                  <a:pt x="281" y="320"/>
                  <a:pt x="281" y="320"/>
                  <a:pt x="281" y="320"/>
                </a:cubicBezTo>
                <a:cubicBezTo>
                  <a:pt x="198" y="215"/>
                  <a:pt x="198" y="215"/>
                  <a:pt x="198" y="215"/>
                </a:cubicBezTo>
                <a:close/>
                <a:moveTo>
                  <a:pt x="328" y="267"/>
                </a:moveTo>
                <a:cubicBezTo>
                  <a:pt x="328" y="272"/>
                  <a:pt x="328" y="272"/>
                  <a:pt x="328" y="272"/>
                </a:cubicBezTo>
                <a:cubicBezTo>
                  <a:pt x="263" y="272"/>
                  <a:pt x="263" y="272"/>
                  <a:pt x="263" y="272"/>
                </a:cubicBezTo>
                <a:cubicBezTo>
                  <a:pt x="302" y="320"/>
                  <a:pt x="302" y="320"/>
                  <a:pt x="302" y="320"/>
                </a:cubicBezTo>
                <a:cubicBezTo>
                  <a:pt x="336" y="320"/>
                  <a:pt x="336" y="320"/>
                  <a:pt x="336" y="320"/>
                </a:cubicBezTo>
                <a:lnTo>
                  <a:pt x="328" y="2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3" name="Espace réservé de la date 7">
            <a:extLst>
              <a:ext uri="{FF2B5EF4-FFF2-40B4-BE49-F238E27FC236}">
                <a16:creationId xmlns:a16="http://schemas.microsoft.com/office/drawing/2014/main" xmlns="" id="{B218C6B6-A3F8-4D0F-A9F6-171187654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84" name="Espace réservé du pied de page 9">
            <a:extLst>
              <a:ext uri="{FF2B5EF4-FFF2-40B4-BE49-F238E27FC236}">
                <a16:creationId xmlns:a16="http://schemas.microsoft.com/office/drawing/2014/main" xmlns="" id="{F2074862-A633-4081-8DA8-B3F5CEBD4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xmlns="" id="{268D5635-BECC-4317-AD85-D4499CE13F8B}"/>
              </a:ext>
            </a:extLst>
          </p:cNvPr>
          <p:cNvSpPr/>
          <p:nvPr/>
        </p:nvSpPr>
        <p:spPr>
          <a:xfrm>
            <a:off x="1259632" y="2021607"/>
            <a:ext cx="2387043" cy="56645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Text</a:t>
            </a: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xmlns="" id="{E8E185F9-F170-423F-8029-38ECC470ED91}"/>
              </a:ext>
            </a:extLst>
          </p:cNvPr>
          <p:cNvSpPr/>
          <p:nvPr/>
        </p:nvSpPr>
        <p:spPr>
          <a:xfrm>
            <a:off x="625793" y="2708920"/>
            <a:ext cx="2387043" cy="56645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3"/>
                </a:solidFill>
              </a:rPr>
              <a:t>Text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xmlns="" id="{0D782A69-BD68-49B6-8BA7-D0F7E30E93C9}"/>
              </a:ext>
            </a:extLst>
          </p:cNvPr>
          <p:cNvSpPr/>
          <p:nvPr/>
        </p:nvSpPr>
        <p:spPr>
          <a:xfrm>
            <a:off x="1259632" y="3396233"/>
            <a:ext cx="2387043" cy="56645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Text 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xmlns="" id="{D6612901-2CDB-4F6B-AADA-2531C184D26F}"/>
              </a:ext>
            </a:extLst>
          </p:cNvPr>
          <p:cNvSpPr/>
          <p:nvPr/>
        </p:nvSpPr>
        <p:spPr>
          <a:xfrm>
            <a:off x="625793" y="4083546"/>
            <a:ext cx="2387043" cy="56645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5"/>
                </a:solidFill>
              </a:rPr>
              <a:t>Text</a:t>
            </a: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xmlns="" id="{6986DC59-AF51-4386-B707-68FA1F2CCCDD}"/>
              </a:ext>
            </a:extLst>
          </p:cNvPr>
          <p:cNvSpPr/>
          <p:nvPr/>
        </p:nvSpPr>
        <p:spPr>
          <a:xfrm>
            <a:off x="1259632" y="4770858"/>
            <a:ext cx="2387043" cy="56645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4"/>
                </a:solidFill>
              </a:rPr>
              <a:t>Text</a:t>
            </a: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xmlns="" id="{ED907103-E8FC-4EAB-9275-D7CC59F8D418}"/>
              </a:ext>
            </a:extLst>
          </p:cNvPr>
          <p:cNvSpPr/>
          <p:nvPr/>
        </p:nvSpPr>
        <p:spPr>
          <a:xfrm rot="16200000">
            <a:off x="841817" y="2310376"/>
            <a:ext cx="566452" cy="566452"/>
          </a:xfrm>
          <a:prstGeom prst="arc">
            <a:avLst/>
          </a:prstGeom>
          <a:ln w="285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xmlns="" id="{2C0262A3-763A-4BFC-AAE4-A335903B7CA0}"/>
              </a:ext>
            </a:extLst>
          </p:cNvPr>
          <p:cNvSpPr/>
          <p:nvPr/>
        </p:nvSpPr>
        <p:spPr>
          <a:xfrm rot="16200000">
            <a:off x="882339" y="3713703"/>
            <a:ext cx="566452" cy="566452"/>
          </a:xfrm>
          <a:prstGeom prst="arc">
            <a:avLst/>
          </a:prstGeom>
          <a:ln w="285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xmlns="" id="{CF41680B-C0BD-42FD-9B18-CEF46BC3D8AA}"/>
              </a:ext>
            </a:extLst>
          </p:cNvPr>
          <p:cNvSpPr/>
          <p:nvPr/>
        </p:nvSpPr>
        <p:spPr>
          <a:xfrm>
            <a:off x="2856142" y="3022300"/>
            <a:ext cx="566452" cy="566452"/>
          </a:xfrm>
          <a:prstGeom prst="arc">
            <a:avLst/>
          </a:prstGeom>
          <a:ln w="285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xmlns="" id="{EFCD1AA0-1E7B-4A54-80F4-0D398597B409}"/>
              </a:ext>
            </a:extLst>
          </p:cNvPr>
          <p:cNvSpPr/>
          <p:nvPr/>
        </p:nvSpPr>
        <p:spPr>
          <a:xfrm>
            <a:off x="2856142" y="4398167"/>
            <a:ext cx="566452" cy="566452"/>
          </a:xfrm>
          <a:prstGeom prst="arc">
            <a:avLst/>
          </a:prstGeom>
          <a:ln w="285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820A3F66-8F2A-4B81-B8F1-4372BB18517D}"/>
              </a:ext>
            </a:extLst>
          </p:cNvPr>
          <p:cNvGrpSpPr/>
          <p:nvPr/>
        </p:nvGrpSpPr>
        <p:grpSpPr>
          <a:xfrm>
            <a:off x="5078861" y="1800787"/>
            <a:ext cx="3322468" cy="3221774"/>
            <a:chOff x="3899592" y="1440869"/>
            <a:chExt cx="2449715" cy="2449715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xmlns="" id="{3AC0D55E-24A1-46F5-A31B-8557B0C6C5BA}"/>
                </a:ext>
              </a:extLst>
            </p:cNvPr>
            <p:cNvSpPr/>
            <p:nvPr/>
          </p:nvSpPr>
          <p:spPr>
            <a:xfrm>
              <a:off x="3899592" y="1440869"/>
              <a:ext cx="2449715" cy="244971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xmlns="" id="{C854877D-5600-4A0D-A2EA-92A0516CE35B}"/>
                </a:ext>
              </a:extLst>
            </p:cNvPr>
            <p:cNvSpPr/>
            <p:nvPr/>
          </p:nvSpPr>
          <p:spPr>
            <a:xfrm>
              <a:off x="4125640" y="1699213"/>
              <a:ext cx="1980168" cy="1980166"/>
            </a:xfrm>
            <a:prstGeom prst="ellipse">
              <a:avLst/>
            </a:prstGeom>
            <a:solidFill>
              <a:schemeClr val="bg1">
                <a:lumMod val="85000"/>
                <a:alpha val="6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aphicFrame>
        <p:nvGraphicFramePr>
          <p:cNvPr id="32" name="Grafico 233">
            <a:extLst>
              <a:ext uri="{FF2B5EF4-FFF2-40B4-BE49-F238E27FC236}">
                <a16:creationId xmlns:a16="http://schemas.microsoft.com/office/drawing/2014/main" xmlns="" id="{E2089F7C-FA61-4752-ADBA-50D37ADD31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5587208"/>
              </p:ext>
            </p:extLst>
          </p:nvPr>
        </p:nvGraphicFramePr>
        <p:xfrm>
          <a:off x="4749461" y="1790846"/>
          <a:ext cx="3956668" cy="3573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ZoneTexte 32">
            <a:extLst>
              <a:ext uri="{FF2B5EF4-FFF2-40B4-BE49-F238E27FC236}">
                <a16:creationId xmlns:a16="http://schemas.microsoft.com/office/drawing/2014/main" xmlns="" id="{AF3B248B-927B-4A48-95EF-F0A51A2E70D5}"/>
              </a:ext>
            </a:extLst>
          </p:cNvPr>
          <p:cNvSpPr txBox="1"/>
          <p:nvPr/>
        </p:nvSpPr>
        <p:spPr>
          <a:xfrm>
            <a:off x="5964234" y="1624817"/>
            <a:ext cx="4268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9%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3DECE00C-295B-4955-86E7-C36DB140ACE1}"/>
              </a:ext>
            </a:extLst>
          </p:cNvPr>
          <p:cNvSpPr txBox="1"/>
          <p:nvPr/>
        </p:nvSpPr>
        <p:spPr>
          <a:xfrm>
            <a:off x="4781690" y="4075869"/>
            <a:ext cx="505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39%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xmlns="" id="{3F23E05F-9937-450E-92EB-F578856E9E7C}"/>
              </a:ext>
            </a:extLst>
          </p:cNvPr>
          <p:cNvSpPr txBox="1"/>
          <p:nvPr/>
        </p:nvSpPr>
        <p:spPr>
          <a:xfrm>
            <a:off x="8333156" y="3263383"/>
            <a:ext cx="505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50%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xmlns="" id="{9576BAA5-65DE-40C4-8940-984D201CB9AC}"/>
              </a:ext>
            </a:extLst>
          </p:cNvPr>
          <p:cNvSpPr txBox="1"/>
          <p:nvPr/>
        </p:nvSpPr>
        <p:spPr>
          <a:xfrm>
            <a:off x="5385442" y="1862782"/>
            <a:ext cx="4268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2%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xmlns="" id="{BEDECDAE-92E4-4612-9FE4-BDED124D574E}"/>
              </a:ext>
            </a:extLst>
          </p:cNvPr>
          <p:cNvSpPr/>
          <p:nvPr/>
        </p:nvSpPr>
        <p:spPr>
          <a:xfrm>
            <a:off x="5655643" y="2109002"/>
            <a:ext cx="100205" cy="100205"/>
          </a:xfrm>
          <a:prstGeom prst="ellipse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xmlns="" id="{CDC3FF58-BABD-41F7-9569-317361E037A9}"/>
              </a:ext>
            </a:extLst>
          </p:cNvPr>
          <p:cNvSpPr/>
          <p:nvPr/>
        </p:nvSpPr>
        <p:spPr>
          <a:xfrm>
            <a:off x="6153801" y="1847490"/>
            <a:ext cx="100205" cy="100205"/>
          </a:xfrm>
          <a:prstGeom prst="ellipse">
            <a:avLst/>
          </a:prstGeom>
          <a:solidFill>
            <a:srgbClr val="E62D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xmlns="" id="{45972BB5-310B-44DC-9DE2-62F949055A5B}"/>
              </a:ext>
            </a:extLst>
          </p:cNvPr>
          <p:cNvSpPr/>
          <p:nvPr/>
        </p:nvSpPr>
        <p:spPr>
          <a:xfrm>
            <a:off x="8337150" y="3365308"/>
            <a:ext cx="100205" cy="100205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xmlns="" id="{AA1878D9-FBDE-4872-9A5A-0FFB6587A5F8}"/>
              </a:ext>
            </a:extLst>
          </p:cNvPr>
          <p:cNvSpPr/>
          <p:nvPr/>
        </p:nvSpPr>
        <p:spPr>
          <a:xfrm>
            <a:off x="5227125" y="4098774"/>
            <a:ext cx="100205" cy="100205"/>
          </a:xfrm>
          <a:prstGeom prst="ellipse">
            <a:avLst/>
          </a:prstGeom>
          <a:solidFill>
            <a:srgbClr val="910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282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xmlns="" id="{FA0FC22D-931F-4BE6-8D96-84F81D638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299" cy="863377"/>
          </a:xfrm>
        </p:spPr>
        <p:txBody>
          <a:bodyPr/>
          <a:lstStyle/>
          <a:p>
            <a:r>
              <a:rPr lang="fr-BE" dirty="0"/>
              <a:t>STEPS 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B1D784B-74DF-4FF4-9AE1-6689BEB1D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4</a:t>
            </a:fld>
            <a:endParaRPr lang="en-GB" noProof="0" dirty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5376B671-2ACF-45B4-9D05-A0558049212F}"/>
              </a:ext>
            </a:extLst>
          </p:cNvPr>
          <p:cNvSpPr>
            <a:spLocks noEditPoints="1"/>
          </p:cNvSpPr>
          <p:nvPr/>
        </p:nvSpPr>
        <p:spPr bwMode="auto">
          <a:xfrm>
            <a:off x="8258821" y="1154785"/>
            <a:ext cx="460947" cy="439091"/>
          </a:xfrm>
          <a:custGeom>
            <a:avLst/>
            <a:gdLst>
              <a:gd name="T0" fmla="*/ 168 w 336"/>
              <a:gd name="T1" fmla="*/ 0 h 320"/>
              <a:gd name="T2" fmla="*/ 96 w 336"/>
              <a:gd name="T3" fmla="*/ 71 h 320"/>
              <a:gd name="T4" fmla="*/ 102 w 336"/>
              <a:gd name="T5" fmla="*/ 102 h 320"/>
              <a:gd name="T6" fmla="*/ 168 w 336"/>
              <a:gd name="T7" fmla="*/ 240 h 320"/>
              <a:gd name="T8" fmla="*/ 234 w 336"/>
              <a:gd name="T9" fmla="*/ 102 h 320"/>
              <a:gd name="T10" fmla="*/ 240 w 336"/>
              <a:gd name="T11" fmla="*/ 71 h 320"/>
              <a:gd name="T12" fmla="*/ 168 w 336"/>
              <a:gd name="T13" fmla="*/ 0 h 320"/>
              <a:gd name="T14" fmla="*/ 168 w 336"/>
              <a:gd name="T15" fmla="*/ 36 h 320"/>
              <a:gd name="T16" fmla="*/ 204 w 336"/>
              <a:gd name="T17" fmla="*/ 72 h 320"/>
              <a:gd name="T18" fmla="*/ 168 w 336"/>
              <a:gd name="T19" fmla="*/ 108 h 320"/>
              <a:gd name="T20" fmla="*/ 132 w 336"/>
              <a:gd name="T21" fmla="*/ 72 h 320"/>
              <a:gd name="T22" fmla="*/ 168 w 336"/>
              <a:gd name="T23" fmla="*/ 36 h 320"/>
              <a:gd name="T24" fmla="*/ 34 w 336"/>
              <a:gd name="T25" fmla="*/ 160 h 320"/>
              <a:gd name="T26" fmla="*/ 96 w 336"/>
              <a:gd name="T27" fmla="*/ 238 h 320"/>
              <a:gd name="T28" fmla="*/ 134 w 336"/>
              <a:gd name="T29" fmla="*/ 206 h 320"/>
              <a:gd name="T30" fmla="*/ 112 w 336"/>
              <a:gd name="T31" fmla="*/ 160 h 320"/>
              <a:gd name="T32" fmla="*/ 34 w 336"/>
              <a:gd name="T33" fmla="*/ 160 h 320"/>
              <a:gd name="T34" fmla="*/ 224 w 336"/>
              <a:gd name="T35" fmla="*/ 160 h 320"/>
              <a:gd name="T36" fmla="*/ 206 w 336"/>
              <a:gd name="T37" fmla="*/ 200 h 320"/>
              <a:gd name="T38" fmla="*/ 318 w 336"/>
              <a:gd name="T39" fmla="*/ 200 h 320"/>
              <a:gd name="T40" fmla="*/ 312 w 336"/>
              <a:gd name="T41" fmla="*/ 160 h 320"/>
              <a:gd name="T42" fmla="*/ 224 w 336"/>
              <a:gd name="T43" fmla="*/ 160 h 320"/>
              <a:gd name="T44" fmla="*/ 22 w 336"/>
              <a:gd name="T45" fmla="*/ 171 h 320"/>
              <a:gd name="T46" fmla="*/ 0 w 336"/>
              <a:gd name="T47" fmla="*/ 320 h 320"/>
              <a:gd name="T48" fmla="*/ 141 w 336"/>
              <a:gd name="T49" fmla="*/ 320 h 320"/>
              <a:gd name="T50" fmla="*/ 22 w 336"/>
              <a:gd name="T51" fmla="*/ 171 h 320"/>
              <a:gd name="T52" fmla="*/ 320 w 336"/>
              <a:gd name="T53" fmla="*/ 213 h 320"/>
              <a:gd name="T54" fmla="*/ 320 w 336"/>
              <a:gd name="T55" fmla="*/ 216 h 320"/>
              <a:gd name="T56" fmla="*/ 219 w 336"/>
              <a:gd name="T57" fmla="*/ 216 h 320"/>
              <a:gd name="T58" fmla="*/ 251 w 336"/>
              <a:gd name="T59" fmla="*/ 256 h 320"/>
              <a:gd name="T60" fmla="*/ 326 w 336"/>
              <a:gd name="T61" fmla="*/ 256 h 320"/>
              <a:gd name="T62" fmla="*/ 320 w 336"/>
              <a:gd name="T63" fmla="*/ 213 h 320"/>
              <a:gd name="T64" fmla="*/ 198 w 336"/>
              <a:gd name="T65" fmla="*/ 215 h 320"/>
              <a:gd name="T66" fmla="*/ 182 w 336"/>
              <a:gd name="T67" fmla="*/ 247 h 320"/>
              <a:gd name="T68" fmla="*/ 168 w 336"/>
              <a:gd name="T69" fmla="*/ 256 h 320"/>
              <a:gd name="T70" fmla="*/ 154 w 336"/>
              <a:gd name="T71" fmla="*/ 247 h 320"/>
              <a:gd name="T72" fmla="*/ 141 w 336"/>
              <a:gd name="T73" fmla="*/ 220 h 320"/>
              <a:gd name="T74" fmla="*/ 106 w 336"/>
              <a:gd name="T75" fmla="*/ 250 h 320"/>
              <a:gd name="T76" fmla="*/ 162 w 336"/>
              <a:gd name="T77" fmla="*/ 320 h 320"/>
              <a:gd name="T78" fmla="*/ 281 w 336"/>
              <a:gd name="T79" fmla="*/ 320 h 320"/>
              <a:gd name="T80" fmla="*/ 198 w 336"/>
              <a:gd name="T81" fmla="*/ 215 h 320"/>
              <a:gd name="T82" fmla="*/ 328 w 336"/>
              <a:gd name="T83" fmla="*/ 267 h 320"/>
              <a:gd name="T84" fmla="*/ 328 w 336"/>
              <a:gd name="T85" fmla="*/ 272 h 320"/>
              <a:gd name="T86" fmla="*/ 263 w 336"/>
              <a:gd name="T87" fmla="*/ 272 h 320"/>
              <a:gd name="T88" fmla="*/ 302 w 336"/>
              <a:gd name="T89" fmla="*/ 320 h 320"/>
              <a:gd name="T90" fmla="*/ 336 w 336"/>
              <a:gd name="T91" fmla="*/ 320 h 320"/>
              <a:gd name="T92" fmla="*/ 328 w 336"/>
              <a:gd name="T93" fmla="*/ 2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36" h="320">
                <a:moveTo>
                  <a:pt x="168" y="0"/>
                </a:moveTo>
                <a:cubicBezTo>
                  <a:pt x="128" y="0"/>
                  <a:pt x="96" y="31"/>
                  <a:pt x="96" y="71"/>
                </a:cubicBezTo>
                <a:cubicBezTo>
                  <a:pt x="96" y="80"/>
                  <a:pt x="99" y="94"/>
                  <a:pt x="102" y="102"/>
                </a:cubicBezTo>
                <a:cubicBezTo>
                  <a:pt x="168" y="240"/>
                  <a:pt x="168" y="240"/>
                  <a:pt x="168" y="240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7" y="94"/>
                  <a:pt x="240" y="80"/>
                  <a:pt x="240" y="71"/>
                </a:cubicBezTo>
                <a:cubicBezTo>
                  <a:pt x="240" y="31"/>
                  <a:pt x="208" y="0"/>
                  <a:pt x="168" y="0"/>
                </a:cubicBezTo>
                <a:close/>
                <a:moveTo>
                  <a:pt x="168" y="36"/>
                </a:moveTo>
                <a:cubicBezTo>
                  <a:pt x="188" y="36"/>
                  <a:pt x="204" y="52"/>
                  <a:pt x="204" y="72"/>
                </a:cubicBezTo>
                <a:cubicBezTo>
                  <a:pt x="204" y="92"/>
                  <a:pt x="188" y="108"/>
                  <a:pt x="168" y="108"/>
                </a:cubicBezTo>
                <a:cubicBezTo>
                  <a:pt x="148" y="108"/>
                  <a:pt x="132" y="92"/>
                  <a:pt x="132" y="72"/>
                </a:cubicBezTo>
                <a:cubicBezTo>
                  <a:pt x="132" y="52"/>
                  <a:pt x="148" y="36"/>
                  <a:pt x="168" y="36"/>
                </a:cubicBezTo>
                <a:close/>
                <a:moveTo>
                  <a:pt x="34" y="160"/>
                </a:moveTo>
                <a:cubicBezTo>
                  <a:pt x="96" y="238"/>
                  <a:pt x="96" y="238"/>
                  <a:pt x="96" y="238"/>
                </a:cubicBezTo>
                <a:cubicBezTo>
                  <a:pt x="134" y="206"/>
                  <a:pt x="134" y="206"/>
                  <a:pt x="134" y="206"/>
                </a:cubicBezTo>
                <a:cubicBezTo>
                  <a:pt x="112" y="160"/>
                  <a:pt x="112" y="160"/>
                  <a:pt x="112" y="160"/>
                </a:cubicBezTo>
                <a:lnTo>
                  <a:pt x="34" y="160"/>
                </a:lnTo>
                <a:close/>
                <a:moveTo>
                  <a:pt x="224" y="160"/>
                </a:moveTo>
                <a:cubicBezTo>
                  <a:pt x="206" y="200"/>
                  <a:pt x="206" y="200"/>
                  <a:pt x="206" y="200"/>
                </a:cubicBezTo>
                <a:cubicBezTo>
                  <a:pt x="318" y="200"/>
                  <a:pt x="318" y="200"/>
                  <a:pt x="318" y="200"/>
                </a:cubicBezTo>
                <a:cubicBezTo>
                  <a:pt x="312" y="160"/>
                  <a:pt x="312" y="160"/>
                  <a:pt x="312" y="160"/>
                </a:cubicBezTo>
                <a:lnTo>
                  <a:pt x="224" y="160"/>
                </a:lnTo>
                <a:close/>
                <a:moveTo>
                  <a:pt x="22" y="171"/>
                </a:moveTo>
                <a:cubicBezTo>
                  <a:pt x="0" y="320"/>
                  <a:pt x="0" y="320"/>
                  <a:pt x="0" y="320"/>
                </a:cubicBezTo>
                <a:cubicBezTo>
                  <a:pt x="141" y="320"/>
                  <a:pt x="141" y="320"/>
                  <a:pt x="141" y="320"/>
                </a:cubicBezTo>
                <a:cubicBezTo>
                  <a:pt x="22" y="171"/>
                  <a:pt x="22" y="171"/>
                  <a:pt x="22" y="171"/>
                </a:cubicBezTo>
                <a:close/>
                <a:moveTo>
                  <a:pt x="320" y="213"/>
                </a:moveTo>
                <a:cubicBezTo>
                  <a:pt x="320" y="216"/>
                  <a:pt x="320" y="216"/>
                  <a:pt x="320" y="216"/>
                </a:cubicBezTo>
                <a:cubicBezTo>
                  <a:pt x="219" y="216"/>
                  <a:pt x="219" y="216"/>
                  <a:pt x="219" y="216"/>
                </a:cubicBezTo>
                <a:cubicBezTo>
                  <a:pt x="251" y="256"/>
                  <a:pt x="251" y="256"/>
                  <a:pt x="251" y="256"/>
                </a:cubicBezTo>
                <a:cubicBezTo>
                  <a:pt x="326" y="256"/>
                  <a:pt x="326" y="256"/>
                  <a:pt x="326" y="256"/>
                </a:cubicBezTo>
                <a:lnTo>
                  <a:pt x="320" y="213"/>
                </a:lnTo>
                <a:close/>
                <a:moveTo>
                  <a:pt x="198" y="215"/>
                </a:moveTo>
                <a:cubicBezTo>
                  <a:pt x="182" y="247"/>
                  <a:pt x="182" y="247"/>
                  <a:pt x="182" y="247"/>
                </a:cubicBezTo>
                <a:cubicBezTo>
                  <a:pt x="180" y="252"/>
                  <a:pt x="174" y="256"/>
                  <a:pt x="168" y="256"/>
                </a:cubicBezTo>
                <a:cubicBezTo>
                  <a:pt x="162" y="256"/>
                  <a:pt x="156" y="252"/>
                  <a:pt x="154" y="247"/>
                </a:cubicBezTo>
                <a:cubicBezTo>
                  <a:pt x="141" y="220"/>
                  <a:pt x="141" y="220"/>
                  <a:pt x="141" y="22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62" y="320"/>
                  <a:pt x="162" y="320"/>
                  <a:pt x="162" y="320"/>
                </a:cubicBezTo>
                <a:cubicBezTo>
                  <a:pt x="281" y="320"/>
                  <a:pt x="281" y="320"/>
                  <a:pt x="281" y="320"/>
                </a:cubicBezTo>
                <a:cubicBezTo>
                  <a:pt x="198" y="215"/>
                  <a:pt x="198" y="215"/>
                  <a:pt x="198" y="215"/>
                </a:cubicBezTo>
                <a:close/>
                <a:moveTo>
                  <a:pt x="328" y="267"/>
                </a:moveTo>
                <a:cubicBezTo>
                  <a:pt x="328" y="272"/>
                  <a:pt x="328" y="272"/>
                  <a:pt x="328" y="272"/>
                </a:cubicBezTo>
                <a:cubicBezTo>
                  <a:pt x="263" y="272"/>
                  <a:pt x="263" y="272"/>
                  <a:pt x="263" y="272"/>
                </a:cubicBezTo>
                <a:cubicBezTo>
                  <a:pt x="302" y="320"/>
                  <a:pt x="302" y="320"/>
                  <a:pt x="302" y="320"/>
                </a:cubicBezTo>
                <a:cubicBezTo>
                  <a:pt x="336" y="320"/>
                  <a:pt x="336" y="320"/>
                  <a:pt x="336" y="320"/>
                </a:cubicBezTo>
                <a:lnTo>
                  <a:pt x="328" y="2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3" name="Espace réservé de la date 7">
            <a:extLst>
              <a:ext uri="{FF2B5EF4-FFF2-40B4-BE49-F238E27FC236}">
                <a16:creationId xmlns:a16="http://schemas.microsoft.com/office/drawing/2014/main" xmlns="" id="{B218C6B6-A3F8-4D0F-A9F6-171187654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84" name="Espace réservé du pied de page 9">
            <a:extLst>
              <a:ext uri="{FF2B5EF4-FFF2-40B4-BE49-F238E27FC236}">
                <a16:creationId xmlns:a16="http://schemas.microsoft.com/office/drawing/2014/main" xmlns="" id="{F2074862-A633-4081-8DA8-B3F5CEBD4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xmlns="" id="{21BC2415-F163-4F9F-8C08-85B0E6E70D5A}"/>
              </a:ext>
            </a:extLst>
          </p:cNvPr>
          <p:cNvGrpSpPr/>
          <p:nvPr/>
        </p:nvGrpSpPr>
        <p:grpSpPr>
          <a:xfrm>
            <a:off x="408375" y="1844824"/>
            <a:ext cx="8327250" cy="638378"/>
            <a:chOff x="1969423" y="1292338"/>
            <a:chExt cx="5424430" cy="415843"/>
          </a:xfrm>
        </p:grpSpPr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xmlns="" id="{7BCA6ED4-63A9-4EB5-8F2A-0BCAEDD7743C}"/>
                </a:ext>
              </a:extLst>
            </p:cNvPr>
            <p:cNvSpPr/>
            <p:nvPr/>
          </p:nvSpPr>
          <p:spPr>
            <a:xfrm>
              <a:off x="6137338" y="1292338"/>
              <a:ext cx="1256515" cy="415843"/>
            </a:xfrm>
            <a:custGeom>
              <a:avLst/>
              <a:gdLst>
                <a:gd name="connsiteX0" fmla="*/ 1066793 w 1256515"/>
                <a:gd name="connsiteY0" fmla="*/ 0 h 415843"/>
                <a:gd name="connsiteX1" fmla="*/ 1256514 w 1256515"/>
                <a:gd name="connsiteY1" fmla="*/ 207749 h 415843"/>
                <a:gd name="connsiteX2" fmla="*/ 1256461 w 1256515"/>
                <a:gd name="connsiteY2" fmla="*/ 208040 h 415843"/>
                <a:gd name="connsiteX3" fmla="*/ 1256515 w 1256515"/>
                <a:gd name="connsiteY3" fmla="*/ 208094 h 415843"/>
                <a:gd name="connsiteX4" fmla="*/ 1256436 w 1256515"/>
                <a:gd name="connsiteY4" fmla="*/ 208173 h 415843"/>
                <a:gd name="connsiteX5" fmla="*/ 1241605 w 1256515"/>
                <a:gd name="connsiteY5" fmla="*/ 288615 h 415843"/>
                <a:gd name="connsiteX6" fmla="*/ 1066793 w 1256515"/>
                <a:gd name="connsiteY6" fmla="*/ 415498 h 415843"/>
                <a:gd name="connsiteX7" fmla="*/ 1050869 w 1256515"/>
                <a:gd name="connsiteY7" fmla="*/ 413740 h 415843"/>
                <a:gd name="connsiteX8" fmla="*/ 1048766 w 1256515"/>
                <a:gd name="connsiteY8" fmla="*/ 415843 h 415843"/>
                <a:gd name="connsiteX9" fmla="*/ 0 w 1256515"/>
                <a:gd name="connsiteY9" fmla="*/ 415843 h 415843"/>
                <a:gd name="connsiteX10" fmla="*/ 0 w 1256515"/>
                <a:gd name="connsiteY10" fmla="*/ 345 h 415843"/>
                <a:gd name="connsiteX11" fmla="*/ 1048766 w 1256515"/>
                <a:gd name="connsiteY11" fmla="*/ 345 h 415843"/>
                <a:gd name="connsiteX12" fmla="*/ 1050248 w 1256515"/>
                <a:gd name="connsiteY12" fmla="*/ 1826 h 41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56515" h="415843">
                  <a:moveTo>
                    <a:pt x="1066793" y="0"/>
                  </a:moveTo>
                  <a:cubicBezTo>
                    <a:pt x="1171573" y="0"/>
                    <a:pt x="1256514" y="93012"/>
                    <a:pt x="1256514" y="207749"/>
                  </a:cubicBezTo>
                  <a:lnTo>
                    <a:pt x="1256461" y="208040"/>
                  </a:lnTo>
                  <a:lnTo>
                    <a:pt x="1256515" y="208094"/>
                  </a:lnTo>
                  <a:lnTo>
                    <a:pt x="1256436" y="208173"/>
                  </a:lnTo>
                  <a:lnTo>
                    <a:pt x="1241605" y="288615"/>
                  </a:lnTo>
                  <a:cubicBezTo>
                    <a:pt x="1212804" y="363179"/>
                    <a:pt x="1145378" y="415498"/>
                    <a:pt x="1066793" y="415498"/>
                  </a:cubicBezTo>
                  <a:lnTo>
                    <a:pt x="1050869" y="413740"/>
                  </a:lnTo>
                  <a:lnTo>
                    <a:pt x="1048766" y="415843"/>
                  </a:lnTo>
                  <a:lnTo>
                    <a:pt x="0" y="415843"/>
                  </a:lnTo>
                  <a:lnTo>
                    <a:pt x="0" y="345"/>
                  </a:lnTo>
                  <a:lnTo>
                    <a:pt x="1048766" y="345"/>
                  </a:lnTo>
                  <a:lnTo>
                    <a:pt x="1050248" y="182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3200"/>
            </a:p>
          </p:txBody>
        </p:sp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xmlns="" id="{91FEE7BA-5FD3-4F6E-BBD3-E36210BAA114}"/>
                </a:ext>
              </a:extLst>
            </p:cNvPr>
            <p:cNvSpPr txBox="1"/>
            <p:nvPr/>
          </p:nvSpPr>
          <p:spPr>
            <a:xfrm>
              <a:off x="6422574" y="1373129"/>
              <a:ext cx="893193" cy="22053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fr-FR" sz="1600" b="1" dirty="0" err="1">
                  <a:solidFill>
                    <a:schemeClr val="bg1"/>
                  </a:solidFill>
                </a:rPr>
                <a:t>Step</a:t>
              </a:r>
              <a:r>
                <a:rPr lang="fr-FR" sz="1600" b="1" dirty="0">
                  <a:solidFill>
                    <a:schemeClr val="bg1"/>
                  </a:solidFill>
                </a:rPr>
                <a:t> 5</a:t>
              </a:r>
            </a:p>
          </p:txBody>
        </p:sp>
        <p:sp>
          <p:nvSpPr>
            <p:cNvPr id="44" name="Flèche : pentagone 43">
              <a:extLst>
                <a:ext uri="{FF2B5EF4-FFF2-40B4-BE49-F238E27FC236}">
                  <a16:creationId xmlns:a16="http://schemas.microsoft.com/office/drawing/2014/main" xmlns="" id="{54D3645B-666D-49B6-8263-9AA8E98341DF}"/>
                </a:ext>
              </a:extLst>
            </p:cNvPr>
            <p:cNvSpPr/>
            <p:nvPr/>
          </p:nvSpPr>
          <p:spPr>
            <a:xfrm>
              <a:off x="5087974" y="1292683"/>
              <a:ext cx="1256515" cy="415498"/>
            </a:xfrm>
            <a:prstGeom prst="homePlat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xmlns="" id="{028F0C28-79F2-4BB6-8217-06635DFF9DCB}"/>
                </a:ext>
              </a:extLst>
            </p:cNvPr>
            <p:cNvSpPr txBox="1"/>
            <p:nvPr/>
          </p:nvSpPr>
          <p:spPr>
            <a:xfrm>
              <a:off x="5373210" y="1372533"/>
              <a:ext cx="893193" cy="22053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fr-FR" sz="1600" b="1" dirty="0" err="1">
                  <a:solidFill>
                    <a:schemeClr val="bg1"/>
                  </a:solidFill>
                </a:rPr>
                <a:t>Step</a:t>
              </a:r>
              <a:r>
                <a:rPr lang="fr-FR" sz="1600" b="1" dirty="0">
                  <a:solidFill>
                    <a:schemeClr val="bg1"/>
                  </a:solidFill>
                </a:rPr>
                <a:t> 4</a:t>
              </a:r>
            </a:p>
          </p:txBody>
        </p:sp>
        <p:sp>
          <p:nvSpPr>
            <p:cNvPr id="46" name="Flèche : pentagone 45">
              <a:extLst>
                <a:ext uri="{FF2B5EF4-FFF2-40B4-BE49-F238E27FC236}">
                  <a16:creationId xmlns:a16="http://schemas.microsoft.com/office/drawing/2014/main" xmlns="" id="{2E434AA7-F774-4C16-A652-3D598380A5B8}"/>
                </a:ext>
              </a:extLst>
            </p:cNvPr>
            <p:cNvSpPr/>
            <p:nvPr/>
          </p:nvSpPr>
          <p:spPr>
            <a:xfrm>
              <a:off x="4053479" y="1292683"/>
              <a:ext cx="1256515" cy="415498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47" name="ZoneTexte 46">
              <a:extLst>
                <a:ext uri="{FF2B5EF4-FFF2-40B4-BE49-F238E27FC236}">
                  <a16:creationId xmlns:a16="http://schemas.microsoft.com/office/drawing/2014/main" xmlns="" id="{51FBF980-A427-44CB-ADD7-C677F3848F84}"/>
                </a:ext>
              </a:extLst>
            </p:cNvPr>
            <p:cNvSpPr txBox="1"/>
            <p:nvPr/>
          </p:nvSpPr>
          <p:spPr>
            <a:xfrm>
              <a:off x="4338715" y="1373129"/>
              <a:ext cx="893193" cy="22053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fr-FR" sz="1600" b="1" dirty="0" err="1">
                  <a:solidFill>
                    <a:schemeClr val="bg1"/>
                  </a:solidFill>
                </a:rPr>
                <a:t>Step</a:t>
              </a:r>
              <a:r>
                <a:rPr lang="fr-FR" sz="1600" b="1" dirty="0">
                  <a:solidFill>
                    <a:schemeClr val="bg1"/>
                  </a:solidFill>
                </a:rPr>
                <a:t> 3</a:t>
              </a:r>
            </a:p>
          </p:txBody>
        </p:sp>
        <p:sp>
          <p:nvSpPr>
            <p:cNvPr id="48" name="Flèche : pentagone 47">
              <a:extLst>
                <a:ext uri="{FF2B5EF4-FFF2-40B4-BE49-F238E27FC236}">
                  <a16:creationId xmlns:a16="http://schemas.microsoft.com/office/drawing/2014/main" xmlns="" id="{18C69D7E-AE6D-4424-9453-3480CF0DCEBE}"/>
                </a:ext>
              </a:extLst>
            </p:cNvPr>
            <p:cNvSpPr/>
            <p:nvPr/>
          </p:nvSpPr>
          <p:spPr>
            <a:xfrm>
              <a:off x="3004115" y="1292683"/>
              <a:ext cx="1256515" cy="415498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xmlns="" id="{D7D5CA98-2DA6-484B-B3EE-2637489939FB}"/>
                </a:ext>
              </a:extLst>
            </p:cNvPr>
            <p:cNvSpPr txBox="1"/>
            <p:nvPr/>
          </p:nvSpPr>
          <p:spPr>
            <a:xfrm>
              <a:off x="3411199" y="1373129"/>
              <a:ext cx="656726" cy="220536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fr-FR" sz="1600" b="1" dirty="0" err="1">
                  <a:solidFill>
                    <a:schemeClr val="bg1"/>
                  </a:solidFill>
                </a:rPr>
                <a:t>Step</a:t>
              </a:r>
              <a:r>
                <a:rPr lang="fr-FR" sz="1600" b="1" dirty="0">
                  <a:solidFill>
                    <a:schemeClr val="bg1"/>
                  </a:solidFill>
                </a:rPr>
                <a:t> 2</a:t>
              </a:r>
            </a:p>
          </p:txBody>
        </p:sp>
        <p:sp>
          <p:nvSpPr>
            <p:cNvPr id="50" name="Flèche : pentagone 49">
              <a:extLst>
                <a:ext uri="{FF2B5EF4-FFF2-40B4-BE49-F238E27FC236}">
                  <a16:creationId xmlns:a16="http://schemas.microsoft.com/office/drawing/2014/main" xmlns="" id="{179D6ACA-83BE-4FF3-8841-081F2660EE74}"/>
                </a:ext>
              </a:extLst>
            </p:cNvPr>
            <p:cNvSpPr/>
            <p:nvPr/>
          </p:nvSpPr>
          <p:spPr>
            <a:xfrm>
              <a:off x="2165494" y="1292683"/>
              <a:ext cx="1075087" cy="415498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xmlns="" id="{C36F7254-225A-45BC-8ACC-650CD62656A8}"/>
                </a:ext>
              </a:extLst>
            </p:cNvPr>
            <p:cNvSpPr/>
            <p:nvPr/>
          </p:nvSpPr>
          <p:spPr>
            <a:xfrm>
              <a:off x="1969423" y="1292338"/>
              <a:ext cx="379441" cy="4154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xmlns="" id="{BE9D52A2-1FF8-4AA3-BD80-ABA018CE1A46}"/>
                </a:ext>
              </a:extLst>
            </p:cNvPr>
            <p:cNvSpPr txBox="1"/>
            <p:nvPr/>
          </p:nvSpPr>
          <p:spPr>
            <a:xfrm>
              <a:off x="2176771" y="1372878"/>
              <a:ext cx="521268" cy="220536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fr-FR" sz="1600" b="1" dirty="0" err="1">
                  <a:solidFill>
                    <a:schemeClr val="bg1"/>
                  </a:solidFill>
                </a:rPr>
                <a:t>Step</a:t>
              </a:r>
              <a:r>
                <a:rPr lang="fr-FR" sz="1600" b="1" dirty="0">
                  <a:solidFill>
                    <a:schemeClr val="bg1"/>
                  </a:solidFill>
                </a:rPr>
                <a:t>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138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Rectangle : avec coin arrondi 179">
            <a:extLst>
              <a:ext uri="{FF2B5EF4-FFF2-40B4-BE49-F238E27FC236}">
                <a16:creationId xmlns:a16="http://schemas.microsoft.com/office/drawing/2014/main" xmlns="" id="{5B0E3B79-662B-45A9-98E0-D7AA6160C48B}"/>
              </a:ext>
            </a:extLst>
          </p:cNvPr>
          <p:cNvSpPr/>
          <p:nvPr/>
        </p:nvSpPr>
        <p:spPr>
          <a:xfrm flipV="1">
            <a:off x="0" y="2071677"/>
            <a:ext cx="8964488" cy="3502278"/>
          </a:xfrm>
          <a:prstGeom prst="round1Rect">
            <a:avLst>
              <a:gd name="adj" fmla="val 462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71" name="Connecteur droit 170">
            <a:extLst>
              <a:ext uri="{FF2B5EF4-FFF2-40B4-BE49-F238E27FC236}">
                <a16:creationId xmlns:a16="http://schemas.microsoft.com/office/drawing/2014/main" xmlns="" id="{F0888CA7-8BE8-4FA1-9276-A3C6CBE3CF11}"/>
              </a:ext>
            </a:extLst>
          </p:cNvPr>
          <p:cNvCxnSpPr>
            <a:cxnSpLocks/>
          </p:cNvCxnSpPr>
          <p:nvPr/>
        </p:nvCxnSpPr>
        <p:spPr>
          <a:xfrm>
            <a:off x="7405970" y="2376063"/>
            <a:ext cx="0" cy="3069160"/>
          </a:xfrm>
          <a:prstGeom prst="line">
            <a:avLst/>
          </a:prstGeom>
          <a:ln cap="rnd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eur droit 169">
            <a:extLst>
              <a:ext uri="{FF2B5EF4-FFF2-40B4-BE49-F238E27FC236}">
                <a16:creationId xmlns:a16="http://schemas.microsoft.com/office/drawing/2014/main" xmlns="" id="{D08E4207-7240-4119-9E2E-EAB96512D290}"/>
              </a:ext>
            </a:extLst>
          </p:cNvPr>
          <p:cNvCxnSpPr>
            <a:cxnSpLocks/>
          </p:cNvCxnSpPr>
          <p:nvPr/>
        </p:nvCxnSpPr>
        <p:spPr>
          <a:xfrm>
            <a:off x="5435774" y="2376063"/>
            <a:ext cx="0" cy="3069160"/>
          </a:xfrm>
          <a:prstGeom prst="line">
            <a:avLst/>
          </a:prstGeom>
          <a:ln cap="rnd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Connecteur droit 168">
            <a:extLst>
              <a:ext uri="{FF2B5EF4-FFF2-40B4-BE49-F238E27FC236}">
                <a16:creationId xmlns:a16="http://schemas.microsoft.com/office/drawing/2014/main" xmlns="" id="{1D6CE74E-F1E3-4E21-94AD-37DF3FA0D237}"/>
              </a:ext>
            </a:extLst>
          </p:cNvPr>
          <p:cNvCxnSpPr>
            <a:cxnSpLocks/>
          </p:cNvCxnSpPr>
          <p:nvPr/>
        </p:nvCxnSpPr>
        <p:spPr>
          <a:xfrm>
            <a:off x="3456037" y="2376063"/>
            <a:ext cx="0" cy="3069160"/>
          </a:xfrm>
          <a:prstGeom prst="line">
            <a:avLst/>
          </a:prstGeom>
          <a:ln cap="rnd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Connecteur droit 167">
            <a:extLst>
              <a:ext uri="{FF2B5EF4-FFF2-40B4-BE49-F238E27FC236}">
                <a16:creationId xmlns:a16="http://schemas.microsoft.com/office/drawing/2014/main" xmlns="" id="{52DFDB70-21C3-4A9C-8BEE-E53F91876971}"/>
              </a:ext>
            </a:extLst>
          </p:cNvPr>
          <p:cNvCxnSpPr>
            <a:cxnSpLocks/>
          </p:cNvCxnSpPr>
          <p:nvPr/>
        </p:nvCxnSpPr>
        <p:spPr>
          <a:xfrm>
            <a:off x="2192730" y="2376063"/>
            <a:ext cx="0" cy="3069160"/>
          </a:xfrm>
          <a:prstGeom prst="line">
            <a:avLst/>
          </a:prstGeom>
          <a:ln cap="rnd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eur droit 165">
            <a:extLst>
              <a:ext uri="{FF2B5EF4-FFF2-40B4-BE49-F238E27FC236}">
                <a16:creationId xmlns:a16="http://schemas.microsoft.com/office/drawing/2014/main" xmlns="" id="{8062EAB2-EC43-4F69-9090-3002ECB70B0B}"/>
              </a:ext>
            </a:extLst>
          </p:cNvPr>
          <p:cNvCxnSpPr>
            <a:cxnSpLocks/>
          </p:cNvCxnSpPr>
          <p:nvPr/>
        </p:nvCxnSpPr>
        <p:spPr>
          <a:xfrm>
            <a:off x="556696" y="2376063"/>
            <a:ext cx="0" cy="3069160"/>
          </a:xfrm>
          <a:prstGeom prst="line">
            <a:avLst/>
          </a:prstGeom>
          <a:ln cap="rnd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 : avec coins supérieurs arrondis 160">
            <a:extLst>
              <a:ext uri="{FF2B5EF4-FFF2-40B4-BE49-F238E27FC236}">
                <a16:creationId xmlns:a16="http://schemas.microsoft.com/office/drawing/2014/main" xmlns="" id="{567447C6-8B6E-4F7A-8726-A8055A2FE225}"/>
              </a:ext>
            </a:extLst>
          </p:cNvPr>
          <p:cNvSpPr/>
          <p:nvPr/>
        </p:nvSpPr>
        <p:spPr>
          <a:xfrm rot="5400000">
            <a:off x="4429147" y="-531356"/>
            <a:ext cx="554815" cy="8227194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6000">
                <a:schemeClr val="bg1">
                  <a:alpha val="6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3" name="Rectangle : avec coins supérieurs arrondis 162">
            <a:extLst>
              <a:ext uri="{FF2B5EF4-FFF2-40B4-BE49-F238E27FC236}">
                <a16:creationId xmlns:a16="http://schemas.microsoft.com/office/drawing/2014/main" xmlns="" id="{F63FE353-8910-4108-96DC-FECBE0E65BC3}"/>
              </a:ext>
            </a:extLst>
          </p:cNvPr>
          <p:cNvSpPr/>
          <p:nvPr/>
        </p:nvSpPr>
        <p:spPr>
          <a:xfrm rot="5400000">
            <a:off x="7498936" y="3265793"/>
            <a:ext cx="554815" cy="2088208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6000">
                <a:schemeClr val="bg1">
                  <a:alpha val="6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lt;</a:t>
            </a:r>
          </a:p>
        </p:txBody>
      </p:sp>
      <p:sp>
        <p:nvSpPr>
          <p:cNvPr id="160" name="Rectangle : avec coins supérieurs arrondis 159">
            <a:extLst>
              <a:ext uri="{FF2B5EF4-FFF2-40B4-BE49-F238E27FC236}">
                <a16:creationId xmlns:a16="http://schemas.microsoft.com/office/drawing/2014/main" xmlns="" id="{8558992A-2B08-4C31-8897-EF7015C76AC0}"/>
              </a:ext>
            </a:extLst>
          </p:cNvPr>
          <p:cNvSpPr/>
          <p:nvPr/>
        </p:nvSpPr>
        <p:spPr>
          <a:xfrm rot="5400000">
            <a:off x="1378269" y="1812686"/>
            <a:ext cx="554815" cy="2088232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6000">
                <a:schemeClr val="bg1">
                  <a:alpha val="6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4" name="Rectangle : avec coins supérieurs arrondis 163">
            <a:extLst>
              <a:ext uri="{FF2B5EF4-FFF2-40B4-BE49-F238E27FC236}">
                <a16:creationId xmlns:a16="http://schemas.microsoft.com/office/drawing/2014/main" xmlns="" id="{B40C0E70-0D8F-4A77-9551-9101B00FC270}"/>
              </a:ext>
            </a:extLst>
          </p:cNvPr>
          <p:cNvSpPr/>
          <p:nvPr/>
        </p:nvSpPr>
        <p:spPr>
          <a:xfrm rot="5400000">
            <a:off x="7714960" y="4213688"/>
            <a:ext cx="554815" cy="165615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6000">
                <a:schemeClr val="bg1">
                  <a:alpha val="6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lt;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xmlns="" id="{75492944-EA6D-469D-967A-3D6716160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01200DA4-49B7-4D3A-8A7B-CB96B6953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5</a:t>
            </a:fld>
            <a:endParaRPr lang="en-GB" noProof="0" dirty="0"/>
          </a:p>
        </p:txBody>
      </p:sp>
      <p:sp>
        <p:nvSpPr>
          <p:cNvPr id="57" name="Rectangle : avec coins supérieurs arrondis 56">
            <a:extLst>
              <a:ext uri="{FF2B5EF4-FFF2-40B4-BE49-F238E27FC236}">
                <a16:creationId xmlns:a16="http://schemas.microsoft.com/office/drawing/2014/main" xmlns="" id="{F4AD7058-EE7E-4122-B1C9-94334C35C97A}"/>
              </a:ext>
            </a:extLst>
          </p:cNvPr>
          <p:cNvSpPr/>
          <p:nvPr/>
        </p:nvSpPr>
        <p:spPr>
          <a:xfrm rot="5400000">
            <a:off x="4284061" y="-2334984"/>
            <a:ext cx="252028" cy="8820150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75D33662-0113-4CAB-99A2-2433DC0A86C3}"/>
              </a:ext>
            </a:extLst>
          </p:cNvPr>
          <p:cNvSpPr/>
          <p:nvPr/>
        </p:nvSpPr>
        <p:spPr>
          <a:xfrm>
            <a:off x="855852" y="1949077"/>
            <a:ext cx="1267877" cy="252028"/>
          </a:xfrm>
          <a:prstGeom prst="rect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081A722B-FBC5-4C32-BC9B-848854676948}"/>
              </a:ext>
            </a:extLst>
          </p:cNvPr>
          <p:cNvSpPr/>
          <p:nvPr/>
        </p:nvSpPr>
        <p:spPr>
          <a:xfrm>
            <a:off x="2247617" y="1949077"/>
            <a:ext cx="1267877" cy="2520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9" name="Rectangle à coins arrondis 24">
            <a:extLst>
              <a:ext uri="{FF2B5EF4-FFF2-40B4-BE49-F238E27FC236}">
                <a16:creationId xmlns:a16="http://schemas.microsoft.com/office/drawing/2014/main" xmlns="" id="{6666253A-6803-4A06-8240-1C6B9A99E5CB}"/>
              </a:ext>
            </a:extLst>
          </p:cNvPr>
          <p:cNvSpPr/>
          <p:nvPr/>
        </p:nvSpPr>
        <p:spPr>
          <a:xfrm>
            <a:off x="1710762" y="1949077"/>
            <a:ext cx="917344" cy="252028"/>
          </a:xfrm>
          <a:prstGeom prst="roundRect">
            <a:avLst>
              <a:gd name="adj" fmla="val 50000"/>
            </a:avLst>
          </a:prstGeom>
          <a:solidFill>
            <a:srgbClr val="F0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016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E0EC6783-F576-4E80-AA92-DF2BE2C8DD61}"/>
              </a:ext>
            </a:extLst>
          </p:cNvPr>
          <p:cNvSpPr/>
          <p:nvPr/>
        </p:nvSpPr>
        <p:spPr>
          <a:xfrm>
            <a:off x="3639382" y="1949077"/>
            <a:ext cx="1724706" cy="252028"/>
          </a:xfrm>
          <a:prstGeom prst="rect">
            <a:avLst/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Rectangle à coins arrondis 24">
            <a:extLst>
              <a:ext uri="{FF2B5EF4-FFF2-40B4-BE49-F238E27FC236}">
                <a16:creationId xmlns:a16="http://schemas.microsoft.com/office/drawing/2014/main" xmlns="" id="{C81F2783-EAB6-4CE4-88B1-15D2E24C14E0}"/>
              </a:ext>
            </a:extLst>
          </p:cNvPr>
          <p:cNvSpPr/>
          <p:nvPr/>
        </p:nvSpPr>
        <p:spPr>
          <a:xfrm>
            <a:off x="98024" y="1949077"/>
            <a:ext cx="917344" cy="25202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012</a:t>
            </a:r>
          </a:p>
        </p:txBody>
      </p:sp>
      <p:sp>
        <p:nvSpPr>
          <p:cNvPr id="90" name="Rectangle : avec coins supérieurs arrondis 89">
            <a:extLst>
              <a:ext uri="{FF2B5EF4-FFF2-40B4-BE49-F238E27FC236}">
                <a16:creationId xmlns:a16="http://schemas.microsoft.com/office/drawing/2014/main" xmlns="" id="{02853A83-E146-4CE4-AD1F-80D184FD64AB}"/>
              </a:ext>
            </a:extLst>
          </p:cNvPr>
          <p:cNvSpPr/>
          <p:nvPr/>
        </p:nvSpPr>
        <p:spPr>
          <a:xfrm rot="5400000">
            <a:off x="8072741" y="1309297"/>
            <a:ext cx="252244" cy="15312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Rectangle à coins arrondis 24">
            <a:extLst>
              <a:ext uri="{FF2B5EF4-FFF2-40B4-BE49-F238E27FC236}">
                <a16:creationId xmlns:a16="http://schemas.microsoft.com/office/drawing/2014/main" xmlns="" id="{0E61B284-0F9C-4957-A0A0-186257107841}"/>
              </a:ext>
            </a:extLst>
          </p:cNvPr>
          <p:cNvSpPr/>
          <p:nvPr/>
        </p:nvSpPr>
        <p:spPr>
          <a:xfrm>
            <a:off x="2997365" y="1949077"/>
            <a:ext cx="917344" cy="252028"/>
          </a:xfrm>
          <a:prstGeom prst="roundRect">
            <a:avLst>
              <a:gd name="adj" fmla="val 50000"/>
            </a:avLst>
          </a:prstGeom>
          <a:solidFill>
            <a:srgbClr val="910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017</a:t>
            </a:r>
          </a:p>
        </p:txBody>
      </p:sp>
      <p:sp>
        <p:nvSpPr>
          <p:cNvPr id="62" name="Rectangle à coins arrondis 24">
            <a:extLst>
              <a:ext uri="{FF2B5EF4-FFF2-40B4-BE49-F238E27FC236}">
                <a16:creationId xmlns:a16="http://schemas.microsoft.com/office/drawing/2014/main" xmlns="" id="{1A81D1A7-CCB9-4EE8-92A2-A6C087802D08}"/>
              </a:ext>
            </a:extLst>
          </p:cNvPr>
          <p:cNvSpPr/>
          <p:nvPr/>
        </p:nvSpPr>
        <p:spPr>
          <a:xfrm>
            <a:off x="6947298" y="1949077"/>
            <a:ext cx="917344" cy="25202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030</a:t>
            </a:r>
          </a:p>
        </p:txBody>
      </p:sp>
      <p:sp>
        <p:nvSpPr>
          <p:cNvPr id="69" name="Rectangle à coins arrondis 24">
            <a:extLst>
              <a:ext uri="{FF2B5EF4-FFF2-40B4-BE49-F238E27FC236}">
                <a16:creationId xmlns:a16="http://schemas.microsoft.com/office/drawing/2014/main" xmlns="" id="{DEE089F6-56CB-427F-B8CF-2B42D3F313BC}"/>
              </a:ext>
            </a:extLst>
          </p:cNvPr>
          <p:cNvSpPr/>
          <p:nvPr/>
        </p:nvSpPr>
        <p:spPr>
          <a:xfrm>
            <a:off x="4977102" y="1949077"/>
            <a:ext cx="917344" cy="252028"/>
          </a:xfrm>
          <a:prstGeom prst="roundRect">
            <a:avLst>
              <a:gd name="adj" fmla="val 50000"/>
            </a:avLst>
          </a:prstGeom>
          <a:solidFill>
            <a:srgbClr val="0078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025</a:t>
            </a:r>
          </a:p>
        </p:txBody>
      </p:sp>
      <p:grpSp>
        <p:nvGrpSpPr>
          <p:cNvPr id="95" name="Group 10">
            <a:extLst>
              <a:ext uri="{FF2B5EF4-FFF2-40B4-BE49-F238E27FC236}">
                <a16:creationId xmlns:a16="http://schemas.microsoft.com/office/drawing/2014/main" xmlns="" id="{B68E9225-A621-44EB-A539-54966F4CC97E}"/>
              </a:ext>
            </a:extLst>
          </p:cNvPr>
          <p:cNvGrpSpPr>
            <a:grpSpLocks/>
          </p:cNvGrpSpPr>
          <p:nvPr/>
        </p:nvGrpSpPr>
        <p:grpSpPr>
          <a:xfrm>
            <a:off x="340227" y="2579394"/>
            <a:ext cx="554821" cy="554821"/>
            <a:chOff x="4788024" y="2431847"/>
            <a:chExt cx="698878" cy="698962"/>
          </a:xfrm>
        </p:grpSpPr>
        <p:sp>
          <p:nvSpPr>
            <p:cNvPr id="96" name="Ellipse 179">
              <a:extLst>
                <a:ext uri="{FF2B5EF4-FFF2-40B4-BE49-F238E27FC236}">
                  <a16:creationId xmlns:a16="http://schemas.microsoft.com/office/drawing/2014/main" xmlns="" id="{5A117732-63EC-4688-A2AA-031C6BC266A3}"/>
                </a:ext>
              </a:extLst>
            </p:cNvPr>
            <p:cNvSpPr/>
            <p:nvPr/>
          </p:nvSpPr>
          <p:spPr bwMode="gray">
            <a:xfrm>
              <a:off x="4788024" y="2431847"/>
              <a:ext cx="698878" cy="6989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xmlns="" id="{57897AAA-1FD6-4A1E-B983-E1875B748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003" y="2597742"/>
              <a:ext cx="342813" cy="369367"/>
            </a:xfrm>
            <a:custGeom>
              <a:avLst/>
              <a:gdLst>
                <a:gd name="T0" fmla="*/ 1444 w 1959"/>
                <a:gd name="T1" fmla="*/ 776 h 2111"/>
                <a:gd name="T2" fmla="*/ 711 w 1959"/>
                <a:gd name="T3" fmla="*/ 1215 h 2111"/>
                <a:gd name="T4" fmla="*/ 295 w 1959"/>
                <a:gd name="T5" fmla="*/ 1392 h 2111"/>
                <a:gd name="T6" fmla="*/ 104 w 1959"/>
                <a:gd name="T7" fmla="*/ 1508 h 2111"/>
                <a:gd name="T8" fmla="*/ 37 w 1959"/>
                <a:gd name="T9" fmla="*/ 1363 h 2111"/>
                <a:gd name="T10" fmla="*/ 49 w 1959"/>
                <a:gd name="T11" fmla="*/ 906 h 2111"/>
                <a:gd name="T12" fmla="*/ 878 w 1959"/>
                <a:gd name="T13" fmla="*/ 379 h 2111"/>
                <a:gd name="T14" fmla="*/ 980 w 1959"/>
                <a:gd name="T15" fmla="*/ 357 h 2111"/>
                <a:gd name="T16" fmla="*/ 1032 w 1959"/>
                <a:gd name="T17" fmla="*/ 345 h 2111"/>
                <a:gd name="T18" fmla="*/ 1730 w 1959"/>
                <a:gd name="T19" fmla="*/ 43 h 2111"/>
                <a:gd name="T20" fmla="*/ 1774 w 1959"/>
                <a:gd name="T21" fmla="*/ 0 h 2111"/>
                <a:gd name="T22" fmla="*/ 1795 w 1959"/>
                <a:gd name="T23" fmla="*/ 57 h 2111"/>
                <a:gd name="T24" fmla="*/ 1885 w 1959"/>
                <a:gd name="T25" fmla="*/ 1067 h 2111"/>
                <a:gd name="T26" fmla="*/ 1403 w 1959"/>
                <a:gd name="T27" fmla="*/ 1777 h 2111"/>
                <a:gd name="T28" fmla="*/ 763 w 1959"/>
                <a:gd name="T29" fmla="*/ 1954 h 2111"/>
                <a:gd name="T30" fmla="*/ 284 w 1959"/>
                <a:gd name="T31" fmla="*/ 1752 h 2111"/>
                <a:gd name="T32" fmla="*/ 284 w 1959"/>
                <a:gd name="T33" fmla="*/ 1752 h 2111"/>
                <a:gd name="T34" fmla="*/ 161 w 1959"/>
                <a:gd name="T35" fmla="*/ 2111 h 2111"/>
                <a:gd name="T36" fmla="*/ 81 w 1959"/>
                <a:gd name="T37" fmla="*/ 2111 h 2111"/>
                <a:gd name="T38" fmla="*/ 229 w 1959"/>
                <a:gd name="T39" fmla="*/ 1693 h 2111"/>
                <a:gd name="T40" fmla="*/ 535 w 1959"/>
                <a:gd name="T41" fmla="*/ 1444 h 2111"/>
                <a:gd name="T42" fmla="*/ 794 w 1959"/>
                <a:gd name="T43" fmla="*/ 1310 h 2111"/>
                <a:gd name="T44" fmla="*/ 1444 w 1959"/>
                <a:gd name="T45" fmla="*/ 776 h 2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9" h="2111">
                  <a:moveTo>
                    <a:pt x="1444" y="776"/>
                  </a:moveTo>
                  <a:cubicBezTo>
                    <a:pt x="1340" y="1024"/>
                    <a:pt x="1013" y="1098"/>
                    <a:pt x="711" y="1215"/>
                  </a:cubicBezTo>
                  <a:cubicBezTo>
                    <a:pt x="578" y="1266"/>
                    <a:pt x="437" y="1320"/>
                    <a:pt x="295" y="1392"/>
                  </a:cubicBezTo>
                  <a:cubicBezTo>
                    <a:pt x="231" y="1425"/>
                    <a:pt x="166" y="1463"/>
                    <a:pt x="104" y="1508"/>
                  </a:cubicBezTo>
                  <a:cubicBezTo>
                    <a:pt x="72" y="1464"/>
                    <a:pt x="51" y="1414"/>
                    <a:pt x="37" y="1363"/>
                  </a:cubicBezTo>
                  <a:cubicBezTo>
                    <a:pt x="0" y="1230"/>
                    <a:pt x="2" y="1036"/>
                    <a:pt x="49" y="906"/>
                  </a:cubicBezTo>
                  <a:cubicBezTo>
                    <a:pt x="186" y="531"/>
                    <a:pt x="530" y="455"/>
                    <a:pt x="878" y="379"/>
                  </a:cubicBezTo>
                  <a:cubicBezTo>
                    <a:pt x="915" y="371"/>
                    <a:pt x="951" y="363"/>
                    <a:pt x="980" y="357"/>
                  </a:cubicBezTo>
                  <a:cubicBezTo>
                    <a:pt x="1032" y="345"/>
                    <a:pt x="1032" y="345"/>
                    <a:pt x="1032" y="345"/>
                  </a:cubicBezTo>
                  <a:cubicBezTo>
                    <a:pt x="1289" y="286"/>
                    <a:pt x="1537" y="230"/>
                    <a:pt x="1730" y="43"/>
                  </a:cubicBezTo>
                  <a:cubicBezTo>
                    <a:pt x="1774" y="0"/>
                    <a:pt x="1774" y="0"/>
                    <a:pt x="1774" y="0"/>
                  </a:cubicBezTo>
                  <a:cubicBezTo>
                    <a:pt x="1795" y="57"/>
                    <a:pt x="1795" y="57"/>
                    <a:pt x="1795" y="57"/>
                  </a:cubicBezTo>
                  <a:cubicBezTo>
                    <a:pt x="1915" y="375"/>
                    <a:pt x="1959" y="740"/>
                    <a:pt x="1885" y="1067"/>
                  </a:cubicBezTo>
                  <a:cubicBezTo>
                    <a:pt x="1821" y="1350"/>
                    <a:pt x="1669" y="1605"/>
                    <a:pt x="1403" y="1777"/>
                  </a:cubicBezTo>
                  <a:cubicBezTo>
                    <a:pt x="1232" y="1891"/>
                    <a:pt x="967" y="1961"/>
                    <a:pt x="763" y="1954"/>
                  </a:cubicBezTo>
                  <a:cubicBezTo>
                    <a:pt x="588" y="1947"/>
                    <a:pt x="417" y="1890"/>
                    <a:pt x="284" y="1752"/>
                  </a:cubicBezTo>
                  <a:cubicBezTo>
                    <a:pt x="284" y="1752"/>
                    <a:pt x="284" y="1752"/>
                    <a:pt x="284" y="1752"/>
                  </a:cubicBezTo>
                  <a:cubicBezTo>
                    <a:pt x="211" y="1847"/>
                    <a:pt x="161" y="1966"/>
                    <a:pt x="161" y="2111"/>
                  </a:cubicBezTo>
                  <a:cubicBezTo>
                    <a:pt x="81" y="2111"/>
                    <a:pt x="81" y="2111"/>
                    <a:pt x="81" y="2111"/>
                  </a:cubicBezTo>
                  <a:cubicBezTo>
                    <a:pt x="81" y="1941"/>
                    <a:pt x="141" y="1803"/>
                    <a:pt x="229" y="1693"/>
                  </a:cubicBezTo>
                  <a:cubicBezTo>
                    <a:pt x="315" y="1585"/>
                    <a:pt x="427" y="1504"/>
                    <a:pt x="535" y="1444"/>
                  </a:cubicBezTo>
                  <a:cubicBezTo>
                    <a:pt x="622" y="1396"/>
                    <a:pt x="709" y="1353"/>
                    <a:pt x="794" y="1310"/>
                  </a:cubicBezTo>
                  <a:cubicBezTo>
                    <a:pt x="1088" y="1163"/>
                    <a:pt x="1345" y="1035"/>
                    <a:pt x="1444" y="7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+mn-lt"/>
              </a:endParaRPr>
            </a:p>
          </p:txBody>
        </p:sp>
      </p:grpSp>
      <p:sp>
        <p:nvSpPr>
          <p:cNvPr id="98" name="Espace réservé du contenu 8">
            <a:extLst>
              <a:ext uri="{FF2B5EF4-FFF2-40B4-BE49-F238E27FC236}">
                <a16:creationId xmlns:a16="http://schemas.microsoft.com/office/drawing/2014/main" xmlns="" id="{DCADFBF2-4197-487B-B50F-1D5C5FC343F9}"/>
              </a:ext>
            </a:extLst>
          </p:cNvPr>
          <p:cNvSpPr txBox="1">
            <a:spLocks/>
          </p:cNvSpPr>
          <p:nvPr/>
        </p:nvSpPr>
        <p:spPr bwMode="gray">
          <a:xfrm>
            <a:off x="911888" y="2636524"/>
            <a:ext cx="1664942" cy="157415"/>
          </a:xfrm>
          <a:prstGeom prst="rect">
            <a:avLst/>
          </a:prstGeom>
        </p:spPr>
        <p:txBody>
          <a:bodyPr vert="horz" wrap="square" lIns="72000" tIns="0" rIns="0" bIns="0" rtlCol="0" anchor="ctr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100" kern="0" dirty="0"/>
              <a:t>Item 1</a:t>
            </a:r>
          </a:p>
        </p:txBody>
      </p:sp>
      <p:grpSp>
        <p:nvGrpSpPr>
          <p:cNvPr id="102" name="Group 91">
            <a:extLst>
              <a:ext uri="{FF2B5EF4-FFF2-40B4-BE49-F238E27FC236}">
                <a16:creationId xmlns:a16="http://schemas.microsoft.com/office/drawing/2014/main" xmlns="" id="{C11289B3-AA24-42D4-9B67-0FC4AA3E65A1}"/>
              </a:ext>
            </a:extLst>
          </p:cNvPr>
          <p:cNvGrpSpPr>
            <a:grpSpLocks/>
          </p:cNvGrpSpPr>
          <p:nvPr/>
        </p:nvGrpSpPr>
        <p:grpSpPr>
          <a:xfrm>
            <a:off x="340228" y="3304836"/>
            <a:ext cx="554821" cy="554821"/>
            <a:chOff x="472150" y="4139849"/>
            <a:chExt cx="698878" cy="698962"/>
          </a:xfrm>
        </p:grpSpPr>
        <p:sp>
          <p:nvSpPr>
            <p:cNvPr id="104" name="Ellipse 179">
              <a:extLst>
                <a:ext uri="{FF2B5EF4-FFF2-40B4-BE49-F238E27FC236}">
                  <a16:creationId xmlns:a16="http://schemas.microsoft.com/office/drawing/2014/main" xmlns="" id="{05B3A589-BD07-42BC-98B9-D69629029A34}"/>
                </a:ext>
              </a:extLst>
            </p:cNvPr>
            <p:cNvSpPr/>
            <p:nvPr/>
          </p:nvSpPr>
          <p:spPr bwMode="gray">
            <a:xfrm>
              <a:off x="472150" y="4139849"/>
              <a:ext cx="698878" cy="6989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grpSp>
          <p:nvGrpSpPr>
            <p:cNvPr id="105" name="Group 280">
              <a:extLst>
                <a:ext uri="{FF2B5EF4-FFF2-40B4-BE49-F238E27FC236}">
                  <a16:creationId xmlns:a16="http://schemas.microsoft.com/office/drawing/2014/main" xmlns="" id="{121ED4B2-C326-4D1C-8A8F-A651432998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6221" y="4283042"/>
              <a:ext cx="530736" cy="412576"/>
              <a:chOff x="3190" y="2048"/>
              <a:chExt cx="478" cy="369"/>
            </a:xfrm>
          </p:grpSpPr>
          <p:sp>
            <p:nvSpPr>
              <p:cNvPr id="106" name="Freeform 281">
                <a:extLst>
                  <a:ext uri="{FF2B5EF4-FFF2-40B4-BE49-F238E27FC236}">
                    <a16:creationId xmlns:a16="http://schemas.microsoft.com/office/drawing/2014/main" xmlns="" id="{8EA47715-5228-4C10-AC51-C7D391F71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4" y="2123"/>
                <a:ext cx="294" cy="294"/>
              </a:xfrm>
              <a:custGeom>
                <a:avLst/>
                <a:gdLst/>
                <a:ahLst/>
                <a:cxnLst>
                  <a:cxn ang="0">
                    <a:pos x="373" y="49"/>
                  </a:cxn>
                  <a:cxn ang="0">
                    <a:pos x="439" y="32"/>
                  </a:cxn>
                  <a:cxn ang="0">
                    <a:pos x="434" y="70"/>
                  </a:cxn>
                  <a:cxn ang="0">
                    <a:pos x="474" y="82"/>
                  </a:cxn>
                  <a:cxn ang="0">
                    <a:pos x="506" y="82"/>
                  </a:cxn>
                  <a:cxn ang="0">
                    <a:pos x="508" y="115"/>
                  </a:cxn>
                  <a:cxn ang="0">
                    <a:pos x="512" y="151"/>
                  </a:cxn>
                  <a:cxn ang="0">
                    <a:pos x="551" y="182"/>
                  </a:cxn>
                  <a:cxn ang="0">
                    <a:pos x="586" y="257"/>
                  </a:cxn>
                  <a:cxn ang="0">
                    <a:pos x="552" y="269"/>
                  </a:cxn>
                  <a:cxn ang="0">
                    <a:pos x="557" y="303"/>
                  </a:cxn>
                  <a:cxn ang="0">
                    <a:pos x="587" y="310"/>
                  </a:cxn>
                  <a:cxn ang="0">
                    <a:pos x="575" y="349"/>
                  </a:cxn>
                  <a:cxn ang="0">
                    <a:pos x="548" y="353"/>
                  </a:cxn>
                  <a:cxn ang="0">
                    <a:pos x="539" y="381"/>
                  </a:cxn>
                  <a:cxn ang="0">
                    <a:pos x="555" y="433"/>
                  </a:cxn>
                  <a:cxn ang="0">
                    <a:pos x="520" y="424"/>
                  </a:cxn>
                  <a:cxn ang="0">
                    <a:pos x="516" y="491"/>
                  </a:cxn>
                  <a:cxn ang="0">
                    <a:pos x="467" y="490"/>
                  </a:cxn>
                  <a:cxn ang="0">
                    <a:pos x="447" y="535"/>
                  </a:cxn>
                  <a:cxn ang="0">
                    <a:pos x="416" y="560"/>
                  </a:cxn>
                  <a:cxn ang="0">
                    <a:pos x="370" y="542"/>
                  </a:cxn>
                  <a:cxn ang="0">
                    <a:pos x="362" y="571"/>
                  </a:cxn>
                  <a:cxn ang="0">
                    <a:pos x="355" y="583"/>
                  </a:cxn>
                  <a:cxn ang="0">
                    <a:pos x="324" y="578"/>
                  </a:cxn>
                  <a:cxn ang="0">
                    <a:pos x="315" y="552"/>
                  </a:cxn>
                  <a:cxn ang="0">
                    <a:pos x="252" y="586"/>
                  </a:cxn>
                  <a:cxn ang="0">
                    <a:pos x="217" y="542"/>
                  </a:cxn>
                  <a:cxn ang="0">
                    <a:pos x="179" y="568"/>
                  </a:cxn>
                  <a:cxn ang="0">
                    <a:pos x="148" y="542"/>
                  </a:cxn>
                  <a:cxn ang="0">
                    <a:pos x="142" y="503"/>
                  </a:cxn>
                  <a:cxn ang="0">
                    <a:pos x="122" y="505"/>
                  </a:cxn>
                  <a:cxn ang="0">
                    <a:pos x="101" y="519"/>
                  </a:cxn>
                  <a:cxn ang="0">
                    <a:pos x="98" y="462"/>
                  </a:cxn>
                  <a:cxn ang="0">
                    <a:pos x="82" y="437"/>
                  </a:cxn>
                  <a:cxn ang="0">
                    <a:pos x="73" y="436"/>
                  </a:cxn>
                  <a:cxn ang="0">
                    <a:pos x="26" y="416"/>
                  </a:cxn>
                  <a:cxn ang="0">
                    <a:pos x="58" y="393"/>
                  </a:cxn>
                  <a:cxn ang="0">
                    <a:pos x="27" y="364"/>
                  </a:cxn>
                  <a:cxn ang="0">
                    <a:pos x="20" y="323"/>
                  </a:cxn>
                  <a:cxn ang="0">
                    <a:pos x="21" y="278"/>
                  </a:cxn>
                  <a:cxn ang="0">
                    <a:pos x="6" y="245"/>
                  </a:cxn>
                  <a:cxn ang="0">
                    <a:pos x="46" y="237"/>
                  </a:cxn>
                  <a:cxn ang="0">
                    <a:pos x="58" y="206"/>
                  </a:cxn>
                  <a:cxn ang="0">
                    <a:pos x="26" y="179"/>
                  </a:cxn>
                  <a:cxn ang="0">
                    <a:pos x="38" y="151"/>
                  </a:cxn>
                  <a:cxn ang="0">
                    <a:pos x="49" y="150"/>
                  </a:cxn>
                  <a:cxn ang="0">
                    <a:pos x="72" y="101"/>
                  </a:cxn>
                  <a:cxn ang="0">
                    <a:pos x="154" y="79"/>
                  </a:cxn>
                  <a:cxn ang="0">
                    <a:pos x="168" y="29"/>
                  </a:cxn>
                  <a:cxn ang="0">
                    <a:pos x="228" y="47"/>
                  </a:cxn>
                  <a:cxn ang="0">
                    <a:pos x="226" y="9"/>
                  </a:cxn>
                  <a:cxn ang="0">
                    <a:pos x="274" y="38"/>
                  </a:cxn>
                  <a:cxn ang="0">
                    <a:pos x="336" y="1"/>
                  </a:cxn>
                </a:cxnLst>
                <a:rect l="0" t="0" r="r" b="b"/>
                <a:pathLst>
                  <a:path w="587" h="587">
                    <a:moveTo>
                      <a:pt x="355" y="6"/>
                    </a:moveTo>
                    <a:lnTo>
                      <a:pt x="356" y="24"/>
                    </a:lnTo>
                    <a:lnTo>
                      <a:pt x="355" y="43"/>
                    </a:lnTo>
                    <a:lnTo>
                      <a:pt x="373" y="49"/>
                    </a:lnTo>
                    <a:lnTo>
                      <a:pt x="392" y="55"/>
                    </a:lnTo>
                    <a:lnTo>
                      <a:pt x="415" y="20"/>
                    </a:lnTo>
                    <a:lnTo>
                      <a:pt x="431" y="27"/>
                    </a:lnTo>
                    <a:lnTo>
                      <a:pt x="439" y="32"/>
                    </a:lnTo>
                    <a:lnTo>
                      <a:pt x="447" y="36"/>
                    </a:lnTo>
                    <a:lnTo>
                      <a:pt x="441" y="56"/>
                    </a:lnTo>
                    <a:lnTo>
                      <a:pt x="437" y="66"/>
                    </a:lnTo>
                    <a:lnTo>
                      <a:pt x="434" y="70"/>
                    </a:lnTo>
                    <a:lnTo>
                      <a:pt x="433" y="75"/>
                    </a:lnTo>
                    <a:lnTo>
                      <a:pt x="459" y="95"/>
                    </a:lnTo>
                    <a:lnTo>
                      <a:pt x="467" y="89"/>
                    </a:lnTo>
                    <a:lnTo>
                      <a:pt x="474" y="82"/>
                    </a:lnTo>
                    <a:lnTo>
                      <a:pt x="483" y="76"/>
                    </a:lnTo>
                    <a:lnTo>
                      <a:pt x="493" y="72"/>
                    </a:lnTo>
                    <a:lnTo>
                      <a:pt x="500" y="76"/>
                    </a:lnTo>
                    <a:lnTo>
                      <a:pt x="506" y="82"/>
                    </a:lnTo>
                    <a:lnTo>
                      <a:pt x="512" y="90"/>
                    </a:lnTo>
                    <a:lnTo>
                      <a:pt x="519" y="98"/>
                    </a:lnTo>
                    <a:lnTo>
                      <a:pt x="514" y="107"/>
                    </a:lnTo>
                    <a:lnTo>
                      <a:pt x="508" y="115"/>
                    </a:lnTo>
                    <a:lnTo>
                      <a:pt x="496" y="130"/>
                    </a:lnTo>
                    <a:lnTo>
                      <a:pt x="503" y="141"/>
                    </a:lnTo>
                    <a:lnTo>
                      <a:pt x="508" y="147"/>
                    </a:lnTo>
                    <a:lnTo>
                      <a:pt x="512" y="151"/>
                    </a:lnTo>
                    <a:lnTo>
                      <a:pt x="549" y="136"/>
                    </a:lnTo>
                    <a:lnTo>
                      <a:pt x="566" y="170"/>
                    </a:lnTo>
                    <a:lnTo>
                      <a:pt x="560" y="176"/>
                    </a:lnTo>
                    <a:lnTo>
                      <a:pt x="551" y="182"/>
                    </a:lnTo>
                    <a:lnTo>
                      <a:pt x="534" y="194"/>
                    </a:lnTo>
                    <a:lnTo>
                      <a:pt x="543" y="219"/>
                    </a:lnTo>
                    <a:lnTo>
                      <a:pt x="580" y="219"/>
                    </a:lnTo>
                    <a:lnTo>
                      <a:pt x="586" y="257"/>
                    </a:lnTo>
                    <a:lnTo>
                      <a:pt x="577" y="260"/>
                    </a:lnTo>
                    <a:lnTo>
                      <a:pt x="569" y="261"/>
                    </a:lnTo>
                    <a:lnTo>
                      <a:pt x="560" y="265"/>
                    </a:lnTo>
                    <a:lnTo>
                      <a:pt x="552" y="269"/>
                    </a:lnTo>
                    <a:lnTo>
                      <a:pt x="554" y="277"/>
                    </a:lnTo>
                    <a:lnTo>
                      <a:pt x="554" y="284"/>
                    </a:lnTo>
                    <a:lnTo>
                      <a:pt x="554" y="301"/>
                    </a:lnTo>
                    <a:lnTo>
                      <a:pt x="557" y="303"/>
                    </a:lnTo>
                    <a:lnTo>
                      <a:pt x="561" y="303"/>
                    </a:lnTo>
                    <a:lnTo>
                      <a:pt x="565" y="303"/>
                    </a:lnTo>
                    <a:lnTo>
                      <a:pt x="569" y="304"/>
                    </a:lnTo>
                    <a:lnTo>
                      <a:pt x="587" y="310"/>
                    </a:lnTo>
                    <a:lnTo>
                      <a:pt x="586" y="329"/>
                    </a:lnTo>
                    <a:lnTo>
                      <a:pt x="586" y="338"/>
                    </a:lnTo>
                    <a:lnTo>
                      <a:pt x="583" y="347"/>
                    </a:lnTo>
                    <a:lnTo>
                      <a:pt x="575" y="349"/>
                    </a:lnTo>
                    <a:lnTo>
                      <a:pt x="568" y="349"/>
                    </a:lnTo>
                    <a:lnTo>
                      <a:pt x="558" y="349"/>
                    </a:lnTo>
                    <a:lnTo>
                      <a:pt x="549" y="347"/>
                    </a:lnTo>
                    <a:lnTo>
                      <a:pt x="548" y="353"/>
                    </a:lnTo>
                    <a:lnTo>
                      <a:pt x="545" y="359"/>
                    </a:lnTo>
                    <a:lnTo>
                      <a:pt x="545" y="366"/>
                    </a:lnTo>
                    <a:lnTo>
                      <a:pt x="542" y="372"/>
                    </a:lnTo>
                    <a:lnTo>
                      <a:pt x="539" y="381"/>
                    </a:lnTo>
                    <a:lnTo>
                      <a:pt x="569" y="402"/>
                    </a:lnTo>
                    <a:lnTo>
                      <a:pt x="566" y="410"/>
                    </a:lnTo>
                    <a:lnTo>
                      <a:pt x="563" y="418"/>
                    </a:lnTo>
                    <a:lnTo>
                      <a:pt x="555" y="433"/>
                    </a:lnTo>
                    <a:lnTo>
                      <a:pt x="546" y="433"/>
                    </a:lnTo>
                    <a:lnTo>
                      <a:pt x="537" y="430"/>
                    </a:lnTo>
                    <a:lnTo>
                      <a:pt x="529" y="427"/>
                    </a:lnTo>
                    <a:lnTo>
                      <a:pt x="520" y="424"/>
                    </a:lnTo>
                    <a:lnTo>
                      <a:pt x="499" y="454"/>
                    </a:lnTo>
                    <a:lnTo>
                      <a:pt x="520" y="482"/>
                    </a:lnTo>
                    <a:lnTo>
                      <a:pt x="519" y="486"/>
                    </a:lnTo>
                    <a:lnTo>
                      <a:pt x="516" y="491"/>
                    </a:lnTo>
                    <a:lnTo>
                      <a:pt x="512" y="494"/>
                    </a:lnTo>
                    <a:lnTo>
                      <a:pt x="508" y="497"/>
                    </a:lnTo>
                    <a:lnTo>
                      <a:pt x="494" y="509"/>
                    </a:lnTo>
                    <a:lnTo>
                      <a:pt x="467" y="490"/>
                    </a:lnTo>
                    <a:lnTo>
                      <a:pt x="437" y="509"/>
                    </a:lnTo>
                    <a:lnTo>
                      <a:pt x="439" y="519"/>
                    </a:lnTo>
                    <a:lnTo>
                      <a:pt x="444" y="526"/>
                    </a:lnTo>
                    <a:lnTo>
                      <a:pt x="447" y="535"/>
                    </a:lnTo>
                    <a:lnTo>
                      <a:pt x="448" y="545"/>
                    </a:lnTo>
                    <a:lnTo>
                      <a:pt x="434" y="554"/>
                    </a:lnTo>
                    <a:lnTo>
                      <a:pt x="419" y="561"/>
                    </a:lnTo>
                    <a:lnTo>
                      <a:pt x="416" y="560"/>
                    </a:lnTo>
                    <a:lnTo>
                      <a:pt x="396" y="532"/>
                    </a:lnTo>
                    <a:lnTo>
                      <a:pt x="389" y="535"/>
                    </a:lnTo>
                    <a:lnTo>
                      <a:pt x="379" y="539"/>
                    </a:lnTo>
                    <a:lnTo>
                      <a:pt x="370" y="542"/>
                    </a:lnTo>
                    <a:lnTo>
                      <a:pt x="362" y="546"/>
                    </a:lnTo>
                    <a:lnTo>
                      <a:pt x="362" y="557"/>
                    </a:lnTo>
                    <a:lnTo>
                      <a:pt x="362" y="565"/>
                    </a:lnTo>
                    <a:lnTo>
                      <a:pt x="362" y="571"/>
                    </a:lnTo>
                    <a:lnTo>
                      <a:pt x="362" y="577"/>
                    </a:lnTo>
                    <a:lnTo>
                      <a:pt x="361" y="578"/>
                    </a:lnTo>
                    <a:lnTo>
                      <a:pt x="359" y="580"/>
                    </a:lnTo>
                    <a:lnTo>
                      <a:pt x="355" y="583"/>
                    </a:lnTo>
                    <a:lnTo>
                      <a:pt x="352" y="583"/>
                    </a:lnTo>
                    <a:lnTo>
                      <a:pt x="349" y="583"/>
                    </a:lnTo>
                    <a:lnTo>
                      <a:pt x="329" y="586"/>
                    </a:lnTo>
                    <a:lnTo>
                      <a:pt x="324" y="578"/>
                    </a:lnTo>
                    <a:lnTo>
                      <a:pt x="320" y="569"/>
                    </a:lnTo>
                    <a:lnTo>
                      <a:pt x="317" y="561"/>
                    </a:lnTo>
                    <a:lnTo>
                      <a:pt x="315" y="557"/>
                    </a:lnTo>
                    <a:lnTo>
                      <a:pt x="315" y="552"/>
                    </a:lnTo>
                    <a:lnTo>
                      <a:pt x="281" y="552"/>
                    </a:lnTo>
                    <a:lnTo>
                      <a:pt x="271" y="587"/>
                    </a:lnTo>
                    <a:lnTo>
                      <a:pt x="261" y="587"/>
                    </a:lnTo>
                    <a:lnTo>
                      <a:pt x="252" y="586"/>
                    </a:lnTo>
                    <a:lnTo>
                      <a:pt x="234" y="583"/>
                    </a:lnTo>
                    <a:lnTo>
                      <a:pt x="234" y="546"/>
                    </a:lnTo>
                    <a:lnTo>
                      <a:pt x="225" y="545"/>
                    </a:lnTo>
                    <a:lnTo>
                      <a:pt x="217" y="542"/>
                    </a:lnTo>
                    <a:lnTo>
                      <a:pt x="202" y="535"/>
                    </a:lnTo>
                    <a:lnTo>
                      <a:pt x="191" y="552"/>
                    </a:lnTo>
                    <a:lnTo>
                      <a:pt x="185" y="560"/>
                    </a:lnTo>
                    <a:lnTo>
                      <a:pt x="179" y="568"/>
                    </a:lnTo>
                    <a:lnTo>
                      <a:pt x="171" y="563"/>
                    </a:lnTo>
                    <a:lnTo>
                      <a:pt x="164" y="560"/>
                    </a:lnTo>
                    <a:lnTo>
                      <a:pt x="147" y="551"/>
                    </a:lnTo>
                    <a:lnTo>
                      <a:pt x="148" y="542"/>
                    </a:lnTo>
                    <a:lnTo>
                      <a:pt x="151" y="532"/>
                    </a:lnTo>
                    <a:lnTo>
                      <a:pt x="157" y="514"/>
                    </a:lnTo>
                    <a:lnTo>
                      <a:pt x="150" y="509"/>
                    </a:lnTo>
                    <a:lnTo>
                      <a:pt x="142" y="503"/>
                    </a:lnTo>
                    <a:lnTo>
                      <a:pt x="136" y="499"/>
                    </a:lnTo>
                    <a:lnTo>
                      <a:pt x="131" y="499"/>
                    </a:lnTo>
                    <a:lnTo>
                      <a:pt x="128" y="499"/>
                    </a:lnTo>
                    <a:lnTo>
                      <a:pt x="122" y="505"/>
                    </a:lnTo>
                    <a:lnTo>
                      <a:pt x="115" y="511"/>
                    </a:lnTo>
                    <a:lnTo>
                      <a:pt x="111" y="512"/>
                    </a:lnTo>
                    <a:lnTo>
                      <a:pt x="108" y="516"/>
                    </a:lnTo>
                    <a:lnTo>
                      <a:pt x="101" y="519"/>
                    </a:lnTo>
                    <a:lnTo>
                      <a:pt x="75" y="493"/>
                    </a:lnTo>
                    <a:lnTo>
                      <a:pt x="85" y="477"/>
                    </a:lnTo>
                    <a:lnTo>
                      <a:pt x="92" y="470"/>
                    </a:lnTo>
                    <a:lnTo>
                      <a:pt x="98" y="462"/>
                    </a:lnTo>
                    <a:lnTo>
                      <a:pt x="95" y="459"/>
                    </a:lnTo>
                    <a:lnTo>
                      <a:pt x="92" y="454"/>
                    </a:lnTo>
                    <a:lnTo>
                      <a:pt x="85" y="442"/>
                    </a:lnTo>
                    <a:lnTo>
                      <a:pt x="82" y="437"/>
                    </a:lnTo>
                    <a:lnTo>
                      <a:pt x="79" y="436"/>
                    </a:lnTo>
                    <a:lnTo>
                      <a:pt x="78" y="436"/>
                    </a:lnTo>
                    <a:lnTo>
                      <a:pt x="75" y="436"/>
                    </a:lnTo>
                    <a:lnTo>
                      <a:pt x="73" y="436"/>
                    </a:lnTo>
                    <a:lnTo>
                      <a:pt x="70" y="439"/>
                    </a:lnTo>
                    <a:lnTo>
                      <a:pt x="66" y="442"/>
                    </a:lnTo>
                    <a:lnTo>
                      <a:pt x="43" y="448"/>
                    </a:lnTo>
                    <a:lnTo>
                      <a:pt x="26" y="416"/>
                    </a:lnTo>
                    <a:lnTo>
                      <a:pt x="33" y="410"/>
                    </a:lnTo>
                    <a:lnTo>
                      <a:pt x="41" y="404"/>
                    </a:lnTo>
                    <a:lnTo>
                      <a:pt x="49" y="398"/>
                    </a:lnTo>
                    <a:lnTo>
                      <a:pt x="58" y="393"/>
                    </a:lnTo>
                    <a:lnTo>
                      <a:pt x="49" y="364"/>
                    </a:lnTo>
                    <a:lnTo>
                      <a:pt x="46" y="362"/>
                    </a:lnTo>
                    <a:lnTo>
                      <a:pt x="36" y="362"/>
                    </a:lnTo>
                    <a:lnTo>
                      <a:pt x="27" y="364"/>
                    </a:lnTo>
                    <a:lnTo>
                      <a:pt x="9" y="362"/>
                    </a:lnTo>
                    <a:lnTo>
                      <a:pt x="0" y="329"/>
                    </a:lnTo>
                    <a:lnTo>
                      <a:pt x="10" y="324"/>
                    </a:lnTo>
                    <a:lnTo>
                      <a:pt x="20" y="323"/>
                    </a:lnTo>
                    <a:lnTo>
                      <a:pt x="41" y="318"/>
                    </a:lnTo>
                    <a:lnTo>
                      <a:pt x="41" y="281"/>
                    </a:lnTo>
                    <a:lnTo>
                      <a:pt x="30" y="280"/>
                    </a:lnTo>
                    <a:lnTo>
                      <a:pt x="21" y="278"/>
                    </a:lnTo>
                    <a:lnTo>
                      <a:pt x="3" y="274"/>
                    </a:lnTo>
                    <a:lnTo>
                      <a:pt x="3" y="265"/>
                    </a:lnTo>
                    <a:lnTo>
                      <a:pt x="4" y="254"/>
                    </a:lnTo>
                    <a:lnTo>
                      <a:pt x="6" y="245"/>
                    </a:lnTo>
                    <a:lnTo>
                      <a:pt x="7" y="235"/>
                    </a:lnTo>
                    <a:lnTo>
                      <a:pt x="27" y="235"/>
                    </a:lnTo>
                    <a:lnTo>
                      <a:pt x="36" y="237"/>
                    </a:lnTo>
                    <a:lnTo>
                      <a:pt x="46" y="237"/>
                    </a:lnTo>
                    <a:lnTo>
                      <a:pt x="49" y="229"/>
                    </a:lnTo>
                    <a:lnTo>
                      <a:pt x="50" y="222"/>
                    </a:lnTo>
                    <a:lnTo>
                      <a:pt x="53" y="214"/>
                    </a:lnTo>
                    <a:lnTo>
                      <a:pt x="58" y="206"/>
                    </a:lnTo>
                    <a:lnTo>
                      <a:pt x="40" y="196"/>
                    </a:lnTo>
                    <a:lnTo>
                      <a:pt x="32" y="190"/>
                    </a:lnTo>
                    <a:lnTo>
                      <a:pt x="23" y="183"/>
                    </a:lnTo>
                    <a:lnTo>
                      <a:pt x="26" y="179"/>
                    </a:lnTo>
                    <a:lnTo>
                      <a:pt x="29" y="171"/>
                    </a:lnTo>
                    <a:lnTo>
                      <a:pt x="33" y="159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41" y="150"/>
                    </a:lnTo>
                    <a:lnTo>
                      <a:pt x="43" y="150"/>
                    </a:lnTo>
                    <a:lnTo>
                      <a:pt x="46" y="150"/>
                    </a:lnTo>
                    <a:lnTo>
                      <a:pt x="49" y="150"/>
                    </a:lnTo>
                    <a:lnTo>
                      <a:pt x="53" y="153"/>
                    </a:lnTo>
                    <a:lnTo>
                      <a:pt x="75" y="165"/>
                    </a:lnTo>
                    <a:lnTo>
                      <a:pt x="96" y="133"/>
                    </a:lnTo>
                    <a:lnTo>
                      <a:pt x="72" y="101"/>
                    </a:lnTo>
                    <a:lnTo>
                      <a:pt x="96" y="76"/>
                    </a:lnTo>
                    <a:lnTo>
                      <a:pt x="101" y="76"/>
                    </a:lnTo>
                    <a:lnTo>
                      <a:pt x="127" y="99"/>
                    </a:lnTo>
                    <a:lnTo>
                      <a:pt x="154" y="79"/>
                    </a:lnTo>
                    <a:lnTo>
                      <a:pt x="139" y="46"/>
                    </a:lnTo>
                    <a:lnTo>
                      <a:pt x="148" y="38"/>
                    </a:lnTo>
                    <a:lnTo>
                      <a:pt x="157" y="33"/>
                    </a:lnTo>
                    <a:lnTo>
                      <a:pt x="168" y="29"/>
                    </a:lnTo>
                    <a:lnTo>
                      <a:pt x="177" y="24"/>
                    </a:lnTo>
                    <a:lnTo>
                      <a:pt x="197" y="56"/>
                    </a:lnTo>
                    <a:lnTo>
                      <a:pt x="212" y="52"/>
                    </a:lnTo>
                    <a:lnTo>
                      <a:pt x="228" y="47"/>
                    </a:lnTo>
                    <a:lnTo>
                      <a:pt x="228" y="38"/>
                    </a:lnTo>
                    <a:lnTo>
                      <a:pt x="228" y="27"/>
                    </a:lnTo>
                    <a:lnTo>
                      <a:pt x="226" y="18"/>
                    </a:lnTo>
                    <a:lnTo>
                      <a:pt x="226" y="9"/>
                    </a:lnTo>
                    <a:lnTo>
                      <a:pt x="235" y="6"/>
                    </a:lnTo>
                    <a:lnTo>
                      <a:pt x="245" y="4"/>
                    </a:lnTo>
                    <a:lnTo>
                      <a:pt x="266" y="3"/>
                    </a:lnTo>
                    <a:lnTo>
                      <a:pt x="274" y="38"/>
                    </a:lnTo>
                    <a:lnTo>
                      <a:pt x="307" y="36"/>
                    </a:lnTo>
                    <a:lnTo>
                      <a:pt x="309" y="35"/>
                    </a:lnTo>
                    <a:lnTo>
                      <a:pt x="317" y="0"/>
                    </a:lnTo>
                    <a:lnTo>
                      <a:pt x="336" y="1"/>
                    </a:lnTo>
                    <a:lnTo>
                      <a:pt x="346" y="3"/>
                    </a:lnTo>
                    <a:lnTo>
                      <a:pt x="355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282">
                <a:extLst>
                  <a:ext uri="{FF2B5EF4-FFF2-40B4-BE49-F238E27FC236}">
                    <a16:creationId xmlns:a16="http://schemas.microsoft.com/office/drawing/2014/main" xmlns="" id="{D906C82D-B5C4-4AD8-A41C-B831CC2A9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2048"/>
                <a:ext cx="211" cy="213"/>
              </a:xfrm>
              <a:custGeom>
                <a:avLst/>
                <a:gdLst/>
                <a:ahLst/>
                <a:cxnLst>
                  <a:cxn ang="0">
                    <a:pos x="248" y="26"/>
                  </a:cxn>
                  <a:cxn ang="0">
                    <a:pos x="251" y="52"/>
                  </a:cxn>
                  <a:cxn ang="0">
                    <a:pos x="289" y="40"/>
                  </a:cxn>
                  <a:cxn ang="0">
                    <a:pos x="318" y="30"/>
                  </a:cxn>
                  <a:cxn ang="0">
                    <a:pos x="337" y="98"/>
                  </a:cxn>
                  <a:cxn ang="0">
                    <a:pos x="355" y="85"/>
                  </a:cxn>
                  <a:cxn ang="0">
                    <a:pos x="381" y="79"/>
                  </a:cxn>
                  <a:cxn ang="0">
                    <a:pos x="395" y="102"/>
                  </a:cxn>
                  <a:cxn ang="0">
                    <a:pos x="369" y="145"/>
                  </a:cxn>
                  <a:cxn ang="0">
                    <a:pos x="386" y="157"/>
                  </a:cxn>
                  <a:cxn ang="0">
                    <a:pos x="416" y="154"/>
                  </a:cxn>
                  <a:cxn ang="0">
                    <a:pos x="422" y="191"/>
                  </a:cxn>
                  <a:cxn ang="0">
                    <a:pos x="386" y="211"/>
                  </a:cxn>
                  <a:cxn ang="0">
                    <a:pos x="384" y="232"/>
                  </a:cxn>
                  <a:cxn ang="0">
                    <a:pos x="389" y="239"/>
                  </a:cxn>
                  <a:cxn ang="0">
                    <a:pos x="399" y="242"/>
                  </a:cxn>
                  <a:cxn ang="0">
                    <a:pos x="418" y="246"/>
                  </a:cxn>
                  <a:cxn ang="0">
                    <a:pos x="421" y="254"/>
                  </a:cxn>
                  <a:cxn ang="0">
                    <a:pos x="392" y="281"/>
                  </a:cxn>
                  <a:cxn ang="0">
                    <a:pos x="366" y="292"/>
                  </a:cxn>
                  <a:cxn ang="0">
                    <a:pos x="379" y="327"/>
                  </a:cxn>
                  <a:cxn ang="0">
                    <a:pos x="381" y="343"/>
                  </a:cxn>
                  <a:cxn ang="0">
                    <a:pos x="353" y="359"/>
                  </a:cxn>
                  <a:cxn ang="0">
                    <a:pos x="327" y="341"/>
                  </a:cxn>
                  <a:cxn ang="0">
                    <a:pos x="303" y="361"/>
                  </a:cxn>
                  <a:cxn ang="0">
                    <a:pos x="312" y="389"/>
                  </a:cxn>
                  <a:cxn ang="0">
                    <a:pos x="281" y="411"/>
                  </a:cxn>
                  <a:cxn ang="0">
                    <a:pos x="229" y="385"/>
                  </a:cxn>
                  <a:cxn ang="0">
                    <a:pos x="220" y="425"/>
                  </a:cxn>
                  <a:cxn ang="0">
                    <a:pos x="182" y="404"/>
                  </a:cxn>
                  <a:cxn ang="0">
                    <a:pos x="180" y="384"/>
                  </a:cxn>
                  <a:cxn ang="0">
                    <a:pos x="164" y="379"/>
                  </a:cxn>
                  <a:cxn ang="0">
                    <a:pos x="156" y="376"/>
                  </a:cxn>
                  <a:cxn ang="0">
                    <a:pos x="150" y="376"/>
                  </a:cxn>
                  <a:cxn ang="0">
                    <a:pos x="119" y="405"/>
                  </a:cxn>
                  <a:cxn ang="0">
                    <a:pos x="98" y="387"/>
                  </a:cxn>
                  <a:cxn ang="0">
                    <a:pos x="109" y="364"/>
                  </a:cxn>
                  <a:cxn ang="0">
                    <a:pos x="66" y="340"/>
                  </a:cxn>
                  <a:cxn ang="0">
                    <a:pos x="34" y="336"/>
                  </a:cxn>
                  <a:cxn ang="0">
                    <a:pos x="34" y="314"/>
                  </a:cxn>
                  <a:cxn ang="0">
                    <a:pos x="63" y="292"/>
                  </a:cxn>
                  <a:cxn ang="0">
                    <a:pos x="49" y="261"/>
                  </a:cxn>
                  <a:cxn ang="0">
                    <a:pos x="18" y="266"/>
                  </a:cxn>
                  <a:cxn ang="0">
                    <a:pos x="3" y="249"/>
                  </a:cxn>
                  <a:cxn ang="0">
                    <a:pos x="11" y="225"/>
                  </a:cxn>
                  <a:cxn ang="0">
                    <a:pos x="46" y="214"/>
                  </a:cxn>
                  <a:cxn ang="0">
                    <a:pos x="44" y="205"/>
                  </a:cxn>
                  <a:cxn ang="0">
                    <a:pos x="46" y="191"/>
                  </a:cxn>
                  <a:cxn ang="0">
                    <a:pos x="34" y="185"/>
                  </a:cxn>
                  <a:cxn ang="0">
                    <a:pos x="9" y="156"/>
                  </a:cxn>
                  <a:cxn ang="0">
                    <a:pos x="38" y="142"/>
                  </a:cxn>
                  <a:cxn ang="0">
                    <a:pos x="66" y="136"/>
                  </a:cxn>
                  <a:cxn ang="0">
                    <a:pos x="66" y="113"/>
                  </a:cxn>
                  <a:cxn ang="0">
                    <a:pos x="46" y="90"/>
                  </a:cxn>
                  <a:cxn ang="0">
                    <a:pos x="70" y="62"/>
                  </a:cxn>
                  <a:cxn ang="0">
                    <a:pos x="116" y="78"/>
                  </a:cxn>
                  <a:cxn ang="0">
                    <a:pos x="124" y="46"/>
                  </a:cxn>
                  <a:cxn ang="0">
                    <a:pos x="156" y="21"/>
                  </a:cxn>
                  <a:cxn ang="0">
                    <a:pos x="171" y="52"/>
                  </a:cxn>
                  <a:cxn ang="0">
                    <a:pos x="196" y="49"/>
                  </a:cxn>
                  <a:cxn ang="0">
                    <a:pos x="211" y="12"/>
                  </a:cxn>
                </a:cxnLst>
                <a:rect l="0" t="0" r="r" b="b"/>
                <a:pathLst>
                  <a:path w="422" h="425">
                    <a:moveTo>
                      <a:pt x="248" y="4"/>
                    </a:moveTo>
                    <a:lnTo>
                      <a:pt x="248" y="15"/>
                    </a:lnTo>
                    <a:lnTo>
                      <a:pt x="248" y="26"/>
                    </a:lnTo>
                    <a:lnTo>
                      <a:pt x="248" y="36"/>
                    </a:lnTo>
                    <a:lnTo>
                      <a:pt x="245" y="47"/>
                    </a:lnTo>
                    <a:lnTo>
                      <a:pt x="251" y="52"/>
                    </a:lnTo>
                    <a:lnTo>
                      <a:pt x="277" y="58"/>
                    </a:lnTo>
                    <a:lnTo>
                      <a:pt x="283" y="49"/>
                    </a:lnTo>
                    <a:lnTo>
                      <a:pt x="289" y="40"/>
                    </a:lnTo>
                    <a:lnTo>
                      <a:pt x="297" y="30"/>
                    </a:lnTo>
                    <a:lnTo>
                      <a:pt x="304" y="23"/>
                    </a:lnTo>
                    <a:lnTo>
                      <a:pt x="318" y="30"/>
                    </a:lnTo>
                    <a:lnTo>
                      <a:pt x="332" y="38"/>
                    </a:lnTo>
                    <a:lnTo>
                      <a:pt x="315" y="78"/>
                    </a:lnTo>
                    <a:lnTo>
                      <a:pt x="337" y="98"/>
                    </a:lnTo>
                    <a:lnTo>
                      <a:pt x="341" y="95"/>
                    </a:lnTo>
                    <a:lnTo>
                      <a:pt x="346" y="92"/>
                    </a:lnTo>
                    <a:lnTo>
                      <a:pt x="355" y="85"/>
                    </a:lnTo>
                    <a:lnTo>
                      <a:pt x="373" y="75"/>
                    </a:lnTo>
                    <a:lnTo>
                      <a:pt x="378" y="76"/>
                    </a:lnTo>
                    <a:lnTo>
                      <a:pt x="381" y="79"/>
                    </a:lnTo>
                    <a:lnTo>
                      <a:pt x="387" y="87"/>
                    </a:lnTo>
                    <a:lnTo>
                      <a:pt x="390" y="95"/>
                    </a:lnTo>
                    <a:lnTo>
                      <a:pt x="395" y="102"/>
                    </a:lnTo>
                    <a:lnTo>
                      <a:pt x="361" y="130"/>
                    </a:lnTo>
                    <a:lnTo>
                      <a:pt x="366" y="137"/>
                    </a:lnTo>
                    <a:lnTo>
                      <a:pt x="369" y="145"/>
                    </a:lnTo>
                    <a:lnTo>
                      <a:pt x="372" y="151"/>
                    </a:lnTo>
                    <a:lnTo>
                      <a:pt x="376" y="159"/>
                    </a:lnTo>
                    <a:lnTo>
                      <a:pt x="386" y="157"/>
                    </a:lnTo>
                    <a:lnTo>
                      <a:pt x="396" y="156"/>
                    </a:lnTo>
                    <a:lnTo>
                      <a:pt x="405" y="156"/>
                    </a:lnTo>
                    <a:lnTo>
                      <a:pt x="416" y="154"/>
                    </a:lnTo>
                    <a:lnTo>
                      <a:pt x="421" y="173"/>
                    </a:lnTo>
                    <a:lnTo>
                      <a:pt x="422" y="182"/>
                    </a:lnTo>
                    <a:lnTo>
                      <a:pt x="422" y="191"/>
                    </a:lnTo>
                    <a:lnTo>
                      <a:pt x="384" y="200"/>
                    </a:lnTo>
                    <a:lnTo>
                      <a:pt x="386" y="205"/>
                    </a:lnTo>
                    <a:lnTo>
                      <a:pt x="386" y="211"/>
                    </a:lnTo>
                    <a:lnTo>
                      <a:pt x="383" y="225"/>
                    </a:lnTo>
                    <a:lnTo>
                      <a:pt x="383" y="231"/>
                    </a:lnTo>
                    <a:lnTo>
                      <a:pt x="384" y="232"/>
                    </a:lnTo>
                    <a:lnTo>
                      <a:pt x="384" y="235"/>
                    </a:lnTo>
                    <a:lnTo>
                      <a:pt x="387" y="237"/>
                    </a:lnTo>
                    <a:lnTo>
                      <a:pt x="389" y="239"/>
                    </a:lnTo>
                    <a:lnTo>
                      <a:pt x="392" y="240"/>
                    </a:lnTo>
                    <a:lnTo>
                      <a:pt x="396" y="240"/>
                    </a:lnTo>
                    <a:lnTo>
                      <a:pt x="399" y="242"/>
                    </a:lnTo>
                    <a:lnTo>
                      <a:pt x="404" y="243"/>
                    </a:lnTo>
                    <a:lnTo>
                      <a:pt x="413" y="245"/>
                    </a:lnTo>
                    <a:lnTo>
                      <a:pt x="418" y="246"/>
                    </a:lnTo>
                    <a:lnTo>
                      <a:pt x="421" y="248"/>
                    </a:lnTo>
                    <a:lnTo>
                      <a:pt x="421" y="252"/>
                    </a:lnTo>
                    <a:lnTo>
                      <a:pt x="421" y="254"/>
                    </a:lnTo>
                    <a:lnTo>
                      <a:pt x="419" y="257"/>
                    </a:lnTo>
                    <a:lnTo>
                      <a:pt x="412" y="283"/>
                    </a:lnTo>
                    <a:lnTo>
                      <a:pt x="392" y="281"/>
                    </a:lnTo>
                    <a:lnTo>
                      <a:pt x="383" y="280"/>
                    </a:lnTo>
                    <a:lnTo>
                      <a:pt x="373" y="277"/>
                    </a:lnTo>
                    <a:lnTo>
                      <a:pt x="366" y="292"/>
                    </a:lnTo>
                    <a:lnTo>
                      <a:pt x="358" y="306"/>
                    </a:lnTo>
                    <a:lnTo>
                      <a:pt x="372" y="320"/>
                    </a:lnTo>
                    <a:lnTo>
                      <a:pt x="379" y="327"/>
                    </a:lnTo>
                    <a:lnTo>
                      <a:pt x="384" y="330"/>
                    </a:lnTo>
                    <a:lnTo>
                      <a:pt x="386" y="335"/>
                    </a:lnTo>
                    <a:lnTo>
                      <a:pt x="381" y="343"/>
                    </a:lnTo>
                    <a:lnTo>
                      <a:pt x="375" y="350"/>
                    </a:lnTo>
                    <a:lnTo>
                      <a:pt x="361" y="362"/>
                    </a:lnTo>
                    <a:lnTo>
                      <a:pt x="353" y="359"/>
                    </a:lnTo>
                    <a:lnTo>
                      <a:pt x="344" y="353"/>
                    </a:lnTo>
                    <a:lnTo>
                      <a:pt x="337" y="347"/>
                    </a:lnTo>
                    <a:lnTo>
                      <a:pt x="327" y="341"/>
                    </a:lnTo>
                    <a:lnTo>
                      <a:pt x="321" y="347"/>
                    </a:lnTo>
                    <a:lnTo>
                      <a:pt x="315" y="352"/>
                    </a:lnTo>
                    <a:lnTo>
                      <a:pt x="303" y="361"/>
                    </a:lnTo>
                    <a:lnTo>
                      <a:pt x="306" y="370"/>
                    </a:lnTo>
                    <a:lnTo>
                      <a:pt x="309" y="379"/>
                    </a:lnTo>
                    <a:lnTo>
                      <a:pt x="312" y="389"/>
                    </a:lnTo>
                    <a:lnTo>
                      <a:pt x="314" y="399"/>
                    </a:lnTo>
                    <a:lnTo>
                      <a:pt x="297" y="405"/>
                    </a:lnTo>
                    <a:lnTo>
                      <a:pt x="281" y="411"/>
                    </a:lnTo>
                    <a:lnTo>
                      <a:pt x="260" y="379"/>
                    </a:lnTo>
                    <a:lnTo>
                      <a:pt x="245" y="382"/>
                    </a:lnTo>
                    <a:lnTo>
                      <a:pt x="229" y="385"/>
                    </a:lnTo>
                    <a:lnTo>
                      <a:pt x="225" y="405"/>
                    </a:lnTo>
                    <a:lnTo>
                      <a:pt x="223" y="416"/>
                    </a:lnTo>
                    <a:lnTo>
                      <a:pt x="220" y="425"/>
                    </a:lnTo>
                    <a:lnTo>
                      <a:pt x="185" y="424"/>
                    </a:lnTo>
                    <a:lnTo>
                      <a:pt x="184" y="415"/>
                    </a:lnTo>
                    <a:lnTo>
                      <a:pt x="182" y="404"/>
                    </a:lnTo>
                    <a:lnTo>
                      <a:pt x="182" y="395"/>
                    </a:lnTo>
                    <a:lnTo>
                      <a:pt x="184" y="385"/>
                    </a:lnTo>
                    <a:lnTo>
                      <a:pt x="180" y="384"/>
                    </a:lnTo>
                    <a:lnTo>
                      <a:pt x="177" y="382"/>
                    </a:lnTo>
                    <a:lnTo>
                      <a:pt x="171" y="381"/>
                    </a:lnTo>
                    <a:lnTo>
                      <a:pt x="164" y="379"/>
                    </a:lnTo>
                    <a:lnTo>
                      <a:pt x="161" y="378"/>
                    </a:lnTo>
                    <a:lnTo>
                      <a:pt x="158" y="378"/>
                    </a:lnTo>
                    <a:lnTo>
                      <a:pt x="156" y="376"/>
                    </a:lnTo>
                    <a:lnTo>
                      <a:pt x="153" y="375"/>
                    </a:lnTo>
                    <a:lnTo>
                      <a:pt x="151" y="375"/>
                    </a:lnTo>
                    <a:lnTo>
                      <a:pt x="150" y="376"/>
                    </a:lnTo>
                    <a:lnTo>
                      <a:pt x="128" y="407"/>
                    </a:lnTo>
                    <a:lnTo>
                      <a:pt x="124" y="405"/>
                    </a:lnTo>
                    <a:lnTo>
                      <a:pt x="119" y="405"/>
                    </a:lnTo>
                    <a:lnTo>
                      <a:pt x="112" y="401"/>
                    </a:lnTo>
                    <a:lnTo>
                      <a:pt x="98" y="392"/>
                    </a:lnTo>
                    <a:lnTo>
                      <a:pt x="98" y="387"/>
                    </a:lnTo>
                    <a:lnTo>
                      <a:pt x="99" y="382"/>
                    </a:lnTo>
                    <a:lnTo>
                      <a:pt x="104" y="373"/>
                    </a:lnTo>
                    <a:lnTo>
                      <a:pt x="109" y="364"/>
                    </a:lnTo>
                    <a:lnTo>
                      <a:pt x="113" y="355"/>
                    </a:lnTo>
                    <a:lnTo>
                      <a:pt x="86" y="329"/>
                    </a:lnTo>
                    <a:lnTo>
                      <a:pt x="66" y="340"/>
                    </a:lnTo>
                    <a:lnTo>
                      <a:pt x="44" y="349"/>
                    </a:lnTo>
                    <a:lnTo>
                      <a:pt x="38" y="343"/>
                    </a:lnTo>
                    <a:lnTo>
                      <a:pt x="34" y="336"/>
                    </a:lnTo>
                    <a:lnTo>
                      <a:pt x="24" y="321"/>
                    </a:lnTo>
                    <a:lnTo>
                      <a:pt x="29" y="317"/>
                    </a:lnTo>
                    <a:lnTo>
                      <a:pt x="34" y="314"/>
                    </a:lnTo>
                    <a:lnTo>
                      <a:pt x="43" y="306"/>
                    </a:lnTo>
                    <a:lnTo>
                      <a:pt x="53" y="300"/>
                    </a:lnTo>
                    <a:lnTo>
                      <a:pt x="63" y="292"/>
                    </a:lnTo>
                    <a:lnTo>
                      <a:pt x="58" y="284"/>
                    </a:lnTo>
                    <a:lnTo>
                      <a:pt x="55" y="277"/>
                    </a:lnTo>
                    <a:lnTo>
                      <a:pt x="49" y="261"/>
                    </a:lnTo>
                    <a:lnTo>
                      <a:pt x="40" y="263"/>
                    </a:lnTo>
                    <a:lnTo>
                      <a:pt x="29" y="265"/>
                    </a:lnTo>
                    <a:lnTo>
                      <a:pt x="18" y="266"/>
                    </a:lnTo>
                    <a:lnTo>
                      <a:pt x="14" y="268"/>
                    </a:lnTo>
                    <a:lnTo>
                      <a:pt x="8" y="268"/>
                    </a:lnTo>
                    <a:lnTo>
                      <a:pt x="3" y="249"/>
                    </a:lnTo>
                    <a:lnTo>
                      <a:pt x="1" y="239"/>
                    </a:lnTo>
                    <a:lnTo>
                      <a:pt x="0" y="229"/>
                    </a:lnTo>
                    <a:lnTo>
                      <a:pt x="11" y="225"/>
                    </a:lnTo>
                    <a:lnTo>
                      <a:pt x="21" y="223"/>
                    </a:lnTo>
                    <a:lnTo>
                      <a:pt x="44" y="219"/>
                    </a:lnTo>
                    <a:lnTo>
                      <a:pt x="46" y="214"/>
                    </a:lnTo>
                    <a:lnTo>
                      <a:pt x="44" y="212"/>
                    </a:lnTo>
                    <a:lnTo>
                      <a:pt x="44" y="211"/>
                    </a:lnTo>
                    <a:lnTo>
                      <a:pt x="44" y="205"/>
                    </a:lnTo>
                    <a:lnTo>
                      <a:pt x="46" y="200"/>
                    </a:lnTo>
                    <a:lnTo>
                      <a:pt x="46" y="196"/>
                    </a:lnTo>
                    <a:lnTo>
                      <a:pt x="46" y="191"/>
                    </a:lnTo>
                    <a:lnTo>
                      <a:pt x="44" y="186"/>
                    </a:lnTo>
                    <a:lnTo>
                      <a:pt x="41" y="185"/>
                    </a:lnTo>
                    <a:lnTo>
                      <a:pt x="34" y="185"/>
                    </a:lnTo>
                    <a:lnTo>
                      <a:pt x="4" y="174"/>
                    </a:lnTo>
                    <a:lnTo>
                      <a:pt x="6" y="165"/>
                    </a:lnTo>
                    <a:lnTo>
                      <a:pt x="9" y="156"/>
                    </a:lnTo>
                    <a:lnTo>
                      <a:pt x="17" y="137"/>
                    </a:lnTo>
                    <a:lnTo>
                      <a:pt x="27" y="139"/>
                    </a:lnTo>
                    <a:lnTo>
                      <a:pt x="38" y="142"/>
                    </a:lnTo>
                    <a:lnTo>
                      <a:pt x="58" y="150"/>
                    </a:lnTo>
                    <a:lnTo>
                      <a:pt x="63" y="144"/>
                    </a:lnTo>
                    <a:lnTo>
                      <a:pt x="66" y="136"/>
                    </a:lnTo>
                    <a:lnTo>
                      <a:pt x="69" y="128"/>
                    </a:lnTo>
                    <a:lnTo>
                      <a:pt x="73" y="122"/>
                    </a:lnTo>
                    <a:lnTo>
                      <a:pt x="66" y="113"/>
                    </a:lnTo>
                    <a:lnTo>
                      <a:pt x="58" y="104"/>
                    </a:lnTo>
                    <a:lnTo>
                      <a:pt x="50" y="95"/>
                    </a:lnTo>
                    <a:lnTo>
                      <a:pt x="46" y="90"/>
                    </a:lnTo>
                    <a:lnTo>
                      <a:pt x="44" y="84"/>
                    </a:lnTo>
                    <a:lnTo>
                      <a:pt x="66" y="61"/>
                    </a:lnTo>
                    <a:lnTo>
                      <a:pt x="70" y="62"/>
                    </a:lnTo>
                    <a:lnTo>
                      <a:pt x="104" y="85"/>
                    </a:lnTo>
                    <a:lnTo>
                      <a:pt x="110" y="82"/>
                    </a:lnTo>
                    <a:lnTo>
                      <a:pt x="116" y="78"/>
                    </a:lnTo>
                    <a:lnTo>
                      <a:pt x="122" y="73"/>
                    </a:lnTo>
                    <a:lnTo>
                      <a:pt x="130" y="70"/>
                    </a:lnTo>
                    <a:lnTo>
                      <a:pt x="124" y="46"/>
                    </a:lnTo>
                    <a:lnTo>
                      <a:pt x="119" y="21"/>
                    </a:lnTo>
                    <a:lnTo>
                      <a:pt x="150" y="10"/>
                    </a:lnTo>
                    <a:lnTo>
                      <a:pt x="156" y="21"/>
                    </a:lnTo>
                    <a:lnTo>
                      <a:pt x="162" y="30"/>
                    </a:lnTo>
                    <a:lnTo>
                      <a:pt x="167" y="41"/>
                    </a:lnTo>
                    <a:lnTo>
                      <a:pt x="171" y="52"/>
                    </a:lnTo>
                    <a:lnTo>
                      <a:pt x="179" y="50"/>
                    </a:lnTo>
                    <a:lnTo>
                      <a:pt x="187" y="50"/>
                    </a:lnTo>
                    <a:lnTo>
                      <a:pt x="196" y="49"/>
                    </a:lnTo>
                    <a:lnTo>
                      <a:pt x="203" y="47"/>
                    </a:lnTo>
                    <a:lnTo>
                      <a:pt x="208" y="23"/>
                    </a:lnTo>
                    <a:lnTo>
                      <a:pt x="211" y="12"/>
                    </a:lnTo>
                    <a:lnTo>
                      <a:pt x="216" y="0"/>
                    </a:lnTo>
                    <a:lnTo>
                      <a:pt x="248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8" name="Group 283">
                <a:extLst>
                  <a:ext uri="{FF2B5EF4-FFF2-40B4-BE49-F238E27FC236}">
                    <a16:creationId xmlns:a16="http://schemas.microsoft.com/office/drawing/2014/main" xmlns="" id="{5C7F0B58-077A-4988-A686-037105661A8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44" y="2104"/>
                <a:ext cx="357" cy="246"/>
                <a:chOff x="2939" y="2052"/>
                <a:chExt cx="357" cy="246"/>
              </a:xfrm>
            </p:grpSpPr>
            <p:sp>
              <p:nvSpPr>
                <p:cNvPr id="109" name="Freeform 284">
                  <a:extLst>
                    <a:ext uri="{FF2B5EF4-FFF2-40B4-BE49-F238E27FC236}">
                      <a16:creationId xmlns:a16="http://schemas.microsoft.com/office/drawing/2014/main" xmlns="" id="{B21B913E-CD4A-4688-BF63-C262569676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7" y="2139"/>
                  <a:ext cx="159" cy="159"/>
                </a:xfrm>
                <a:custGeom>
                  <a:avLst/>
                  <a:gdLst/>
                  <a:ahLst/>
                  <a:cxnLst>
                    <a:cxn ang="0">
                      <a:pos x="1" y="144"/>
                    </a:cxn>
                    <a:cxn ang="0">
                      <a:pos x="7" y="112"/>
                    </a:cxn>
                    <a:cxn ang="0">
                      <a:pos x="19" y="84"/>
                    </a:cxn>
                    <a:cxn ang="0">
                      <a:pos x="27" y="70"/>
                    </a:cxn>
                    <a:cxn ang="0">
                      <a:pos x="36" y="58"/>
                    </a:cxn>
                    <a:cxn ang="0">
                      <a:pos x="47" y="47"/>
                    </a:cxn>
                    <a:cxn ang="0">
                      <a:pos x="70" y="28"/>
                    </a:cxn>
                    <a:cxn ang="0">
                      <a:pos x="98" y="14"/>
                    </a:cxn>
                    <a:cxn ang="0">
                      <a:pos x="127" y="3"/>
                    </a:cxn>
                    <a:cxn ang="0">
                      <a:pos x="159" y="0"/>
                    </a:cxn>
                    <a:cxn ang="0">
                      <a:pos x="191" y="3"/>
                    </a:cxn>
                    <a:cxn ang="0">
                      <a:pos x="220" y="14"/>
                    </a:cxn>
                    <a:cxn ang="0">
                      <a:pos x="241" y="23"/>
                    </a:cxn>
                    <a:cxn ang="0">
                      <a:pos x="254" y="32"/>
                    </a:cxn>
                    <a:cxn ang="0">
                      <a:pos x="266" y="41"/>
                    </a:cxn>
                    <a:cxn ang="0">
                      <a:pos x="281" y="58"/>
                    </a:cxn>
                    <a:cxn ang="0">
                      <a:pos x="298" y="84"/>
                    </a:cxn>
                    <a:cxn ang="0">
                      <a:pos x="310" y="112"/>
                    </a:cxn>
                    <a:cxn ang="0">
                      <a:pos x="316" y="144"/>
                    </a:cxn>
                    <a:cxn ang="0">
                      <a:pos x="316" y="176"/>
                    </a:cxn>
                    <a:cxn ang="0">
                      <a:pos x="310" y="207"/>
                    </a:cxn>
                    <a:cxn ang="0">
                      <a:pos x="298" y="236"/>
                    </a:cxn>
                    <a:cxn ang="0">
                      <a:pos x="290" y="248"/>
                    </a:cxn>
                    <a:cxn ang="0">
                      <a:pos x="281" y="260"/>
                    </a:cxn>
                    <a:cxn ang="0">
                      <a:pos x="270" y="271"/>
                    </a:cxn>
                    <a:cxn ang="0">
                      <a:pos x="248" y="291"/>
                    </a:cxn>
                    <a:cxn ang="0">
                      <a:pos x="220" y="306"/>
                    </a:cxn>
                    <a:cxn ang="0">
                      <a:pos x="191" y="315"/>
                    </a:cxn>
                    <a:cxn ang="0">
                      <a:pos x="159" y="318"/>
                    </a:cxn>
                    <a:cxn ang="0">
                      <a:pos x="127" y="315"/>
                    </a:cxn>
                    <a:cxn ang="0">
                      <a:pos x="98" y="306"/>
                    </a:cxn>
                    <a:cxn ang="0">
                      <a:pos x="76" y="295"/>
                    </a:cxn>
                    <a:cxn ang="0">
                      <a:pos x="64" y="286"/>
                    </a:cxn>
                    <a:cxn ang="0">
                      <a:pos x="52" y="277"/>
                    </a:cxn>
                    <a:cxn ang="0">
                      <a:pos x="36" y="260"/>
                    </a:cxn>
                    <a:cxn ang="0">
                      <a:pos x="19" y="236"/>
                    </a:cxn>
                    <a:cxn ang="0">
                      <a:pos x="7" y="207"/>
                    </a:cxn>
                    <a:cxn ang="0">
                      <a:pos x="1" y="176"/>
                    </a:cxn>
                  </a:cxnLst>
                  <a:rect l="0" t="0" r="r" b="b"/>
                  <a:pathLst>
                    <a:path w="318" h="318">
                      <a:moveTo>
                        <a:pt x="0" y="159"/>
                      </a:moveTo>
                      <a:lnTo>
                        <a:pt x="1" y="144"/>
                      </a:lnTo>
                      <a:lnTo>
                        <a:pt x="3" y="127"/>
                      </a:lnTo>
                      <a:lnTo>
                        <a:pt x="7" y="112"/>
                      </a:lnTo>
                      <a:lnTo>
                        <a:pt x="12" y="98"/>
                      </a:lnTo>
                      <a:lnTo>
                        <a:pt x="19" y="84"/>
                      </a:lnTo>
                      <a:lnTo>
                        <a:pt x="23" y="77"/>
                      </a:lnTo>
                      <a:lnTo>
                        <a:pt x="27" y="70"/>
                      </a:lnTo>
                      <a:lnTo>
                        <a:pt x="32" y="64"/>
                      </a:lnTo>
                      <a:lnTo>
                        <a:pt x="36" y="58"/>
                      </a:lnTo>
                      <a:lnTo>
                        <a:pt x="41" y="52"/>
                      </a:lnTo>
                      <a:lnTo>
                        <a:pt x="47" y="47"/>
                      </a:lnTo>
                      <a:lnTo>
                        <a:pt x="58" y="37"/>
                      </a:lnTo>
                      <a:lnTo>
                        <a:pt x="70" y="28"/>
                      </a:lnTo>
                      <a:lnTo>
                        <a:pt x="84" y="20"/>
                      </a:lnTo>
                      <a:lnTo>
                        <a:pt x="98" y="14"/>
                      </a:lnTo>
                      <a:lnTo>
                        <a:pt x="111" y="8"/>
                      </a:lnTo>
                      <a:lnTo>
                        <a:pt x="127" y="3"/>
                      </a:lnTo>
                      <a:lnTo>
                        <a:pt x="142" y="2"/>
                      </a:lnTo>
                      <a:lnTo>
                        <a:pt x="159" y="0"/>
                      </a:lnTo>
                      <a:lnTo>
                        <a:pt x="176" y="2"/>
                      </a:lnTo>
                      <a:lnTo>
                        <a:pt x="191" y="3"/>
                      </a:lnTo>
                      <a:lnTo>
                        <a:pt x="206" y="8"/>
                      </a:lnTo>
                      <a:lnTo>
                        <a:pt x="220" y="14"/>
                      </a:lnTo>
                      <a:lnTo>
                        <a:pt x="235" y="20"/>
                      </a:lnTo>
                      <a:lnTo>
                        <a:pt x="241" y="23"/>
                      </a:lnTo>
                      <a:lnTo>
                        <a:pt x="248" y="28"/>
                      </a:lnTo>
                      <a:lnTo>
                        <a:pt x="254" y="32"/>
                      </a:lnTo>
                      <a:lnTo>
                        <a:pt x="260" y="37"/>
                      </a:lnTo>
                      <a:lnTo>
                        <a:pt x="266" y="41"/>
                      </a:lnTo>
                      <a:lnTo>
                        <a:pt x="270" y="47"/>
                      </a:lnTo>
                      <a:lnTo>
                        <a:pt x="281" y="58"/>
                      </a:lnTo>
                      <a:lnTo>
                        <a:pt x="290" y="70"/>
                      </a:lnTo>
                      <a:lnTo>
                        <a:pt x="298" y="84"/>
                      </a:lnTo>
                      <a:lnTo>
                        <a:pt x="306" y="98"/>
                      </a:lnTo>
                      <a:lnTo>
                        <a:pt x="310" y="112"/>
                      </a:lnTo>
                      <a:lnTo>
                        <a:pt x="315" y="127"/>
                      </a:lnTo>
                      <a:lnTo>
                        <a:pt x="316" y="144"/>
                      </a:lnTo>
                      <a:lnTo>
                        <a:pt x="318" y="159"/>
                      </a:lnTo>
                      <a:lnTo>
                        <a:pt x="316" y="176"/>
                      </a:lnTo>
                      <a:lnTo>
                        <a:pt x="315" y="191"/>
                      </a:lnTo>
                      <a:lnTo>
                        <a:pt x="310" y="207"/>
                      </a:lnTo>
                      <a:lnTo>
                        <a:pt x="306" y="220"/>
                      </a:lnTo>
                      <a:lnTo>
                        <a:pt x="298" y="236"/>
                      </a:lnTo>
                      <a:lnTo>
                        <a:pt x="295" y="242"/>
                      </a:lnTo>
                      <a:lnTo>
                        <a:pt x="290" y="248"/>
                      </a:lnTo>
                      <a:lnTo>
                        <a:pt x="286" y="254"/>
                      </a:lnTo>
                      <a:lnTo>
                        <a:pt x="281" y="260"/>
                      </a:lnTo>
                      <a:lnTo>
                        <a:pt x="277" y="266"/>
                      </a:lnTo>
                      <a:lnTo>
                        <a:pt x="270" y="271"/>
                      </a:lnTo>
                      <a:lnTo>
                        <a:pt x="260" y="282"/>
                      </a:lnTo>
                      <a:lnTo>
                        <a:pt x="248" y="291"/>
                      </a:lnTo>
                      <a:lnTo>
                        <a:pt x="235" y="298"/>
                      </a:lnTo>
                      <a:lnTo>
                        <a:pt x="220" y="306"/>
                      </a:lnTo>
                      <a:lnTo>
                        <a:pt x="206" y="311"/>
                      </a:lnTo>
                      <a:lnTo>
                        <a:pt x="191" y="315"/>
                      </a:lnTo>
                      <a:lnTo>
                        <a:pt x="176" y="317"/>
                      </a:lnTo>
                      <a:lnTo>
                        <a:pt x="159" y="318"/>
                      </a:lnTo>
                      <a:lnTo>
                        <a:pt x="142" y="317"/>
                      </a:lnTo>
                      <a:lnTo>
                        <a:pt x="127" y="315"/>
                      </a:lnTo>
                      <a:lnTo>
                        <a:pt x="111" y="311"/>
                      </a:lnTo>
                      <a:lnTo>
                        <a:pt x="98" y="306"/>
                      </a:lnTo>
                      <a:lnTo>
                        <a:pt x="84" y="298"/>
                      </a:lnTo>
                      <a:lnTo>
                        <a:pt x="76" y="295"/>
                      </a:lnTo>
                      <a:lnTo>
                        <a:pt x="70" y="291"/>
                      </a:lnTo>
                      <a:lnTo>
                        <a:pt x="64" y="286"/>
                      </a:lnTo>
                      <a:lnTo>
                        <a:pt x="58" y="282"/>
                      </a:lnTo>
                      <a:lnTo>
                        <a:pt x="52" y="277"/>
                      </a:lnTo>
                      <a:lnTo>
                        <a:pt x="47" y="271"/>
                      </a:lnTo>
                      <a:lnTo>
                        <a:pt x="36" y="260"/>
                      </a:lnTo>
                      <a:lnTo>
                        <a:pt x="27" y="248"/>
                      </a:lnTo>
                      <a:lnTo>
                        <a:pt x="19" y="236"/>
                      </a:lnTo>
                      <a:lnTo>
                        <a:pt x="12" y="220"/>
                      </a:lnTo>
                      <a:lnTo>
                        <a:pt x="7" y="207"/>
                      </a:lnTo>
                      <a:lnTo>
                        <a:pt x="3" y="191"/>
                      </a:lnTo>
                      <a:lnTo>
                        <a:pt x="1" y="176"/>
                      </a:lnTo>
                      <a:lnTo>
                        <a:pt x="0" y="159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10" name="Freeform 285">
                  <a:extLst>
                    <a:ext uri="{FF2B5EF4-FFF2-40B4-BE49-F238E27FC236}">
                      <a16:creationId xmlns:a16="http://schemas.microsoft.com/office/drawing/2014/main" xmlns="" id="{9281E190-DDB9-4CD1-8F33-322B9E726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" y="2052"/>
                  <a:ext cx="104" cy="102"/>
                </a:xfrm>
                <a:custGeom>
                  <a:avLst/>
                  <a:gdLst/>
                  <a:ahLst/>
                  <a:cxnLst>
                    <a:cxn ang="0">
                      <a:pos x="1" y="91"/>
                    </a:cxn>
                    <a:cxn ang="0">
                      <a:pos x="6" y="72"/>
                    </a:cxn>
                    <a:cxn ang="0">
                      <a:pos x="13" y="53"/>
                    </a:cxn>
                    <a:cxn ang="0">
                      <a:pos x="24" y="36"/>
                    </a:cxn>
                    <a:cxn ang="0">
                      <a:pos x="38" y="23"/>
                    </a:cxn>
                    <a:cxn ang="0">
                      <a:pos x="55" y="12"/>
                    </a:cxn>
                    <a:cxn ang="0">
                      <a:pos x="73" y="4"/>
                    </a:cxn>
                    <a:cxn ang="0">
                      <a:pos x="93" y="0"/>
                    </a:cxn>
                    <a:cxn ang="0">
                      <a:pos x="114" y="0"/>
                    </a:cxn>
                    <a:cxn ang="0">
                      <a:pos x="134" y="4"/>
                    </a:cxn>
                    <a:cxn ang="0">
                      <a:pos x="153" y="12"/>
                    </a:cxn>
                    <a:cxn ang="0">
                      <a:pos x="169" y="23"/>
                    </a:cxn>
                    <a:cxn ang="0">
                      <a:pos x="183" y="36"/>
                    </a:cxn>
                    <a:cxn ang="0">
                      <a:pos x="194" y="53"/>
                    </a:cxn>
                    <a:cxn ang="0">
                      <a:pos x="202" y="72"/>
                    </a:cxn>
                    <a:cxn ang="0">
                      <a:pos x="206" y="91"/>
                    </a:cxn>
                    <a:cxn ang="0">
                      <a:pos x="206" y="113"/>
                    </a:cxn>
                    <a:cxn ang="0">
                      <a:pos x="202" y="133"/>
                    </a:cxn>
                    <a:cxn ang="0">
                      <a:pos x="194" y="151"/>
                    </a:cxn>
                    <a:cxn ang="0">
                      <a:pos x="183" y="168"/>
                    </a:cxn>
                    <a:cxn ang="0">
                      <a:pos x="169" y="182"/>
                    </a:cxn>
                    <a:cxn ang="0">
                      <a:pos x="153" y="192"/>
                    </a:cxn>
                    <a:cxn ang="0">
                      <a:pos x="134" y="200"/>
                    </a:cxn>
                    <a:cxn ang="0">
                      <a:pos x="114" y="205"/>
                    </a:cxn>
                    <a:cxn ang="0">
                      <a:pos x="93" y="205"/>
                    </a:cxn>
                    <a:cxn ang="0">
                      <a:pos x="73" y="200"/>
                    </a:cxn>
                    <a:cxn ang="0">
                      <a:pos x="55" y="192"/>
                    </a:cxn>
                    <a:cxn ang="0">
                      <a:pos x="38" y="182"/>
                    </a:cxn>
                    <a:cxn ang="0">
                      <a:pos x="24" y="168"/>
                    </a:cxn>
                    <a:cxn ang="0">
                      <a:pos x="13" y="151"/>
                    </a:cxn>
                    <a:cxn ang="0">
                      <a:pos x="6" y="133"/>
                    </a:cxn>
                    <a:cxn ang="0">
                      <a:pos x="1" y="113"/>
                    </a:cxn>
                  </a:cxnLst>
                  <a:rect l="0" t="0" r="r" b="b"/>
                  <a:pathLst>
                    <a:path w="206" h="205">
                      <a:moveTo>
                        <a:pt x="0" y="102"/>
                      </a:moveTo>
                      <a:lnTo>
                        <a:pt x="1" y="91"/>
                      </a:lnTo>
                      <a:lnTo>
                        <a:pt x="3" y="82"/>
                      </a:lnTo>
                      <a:lnTo>
                        <a:pt x="6" y="72"/>
                      </a:lnTo>
                      <a:lnTo>
                        <a:pt x="9" y="62"/>
                      </a:lnTo>
                      <a:lnTo>
                        <a:pt x="13" y="53"/>
                      </a:lnTo>
                      <a:lnTo>
                        <a:pt x="18" y="46"/>
                      </a:lnTo>
                      <a:lnTo>
                        <a:pt x="24" y="36"/>
                      </a:lnTo>
                      <a:lnTo>
                        <a:pt x="30" y="30"/>
                      </a:lnTo>
                      <a:lnTo>
                        <a:pt x="38" y="23"/>
                      </a:lnTo>
                      <a:lnTo>
                        <a:pt x="45" y="16"/>
                      </a:lnTo>
                      <a:lnTo>
                        <a:pt x="55" y="12"/>
                      </a:lnTo>
                      <a:lnTo>
                        <a:pt x="64" y="7"/>
                      </a:lnTo>
                      <a:lnTo>
                        <a:pt x="73" y="4"/>
                      </a:lnTo>
                      <a:lnTo>
                        <a:pt x="82" y="1"/>
                      </a:lnTo>
                      <a:lnTo>
                        <a:pt x="93" y="0"/>
                      </a:lnTo>
                      <a:lnTo>
                        <a:pt x="104" y="0"/>
                      </a:lnTo>
                      <a:lnTo>
                        <a:pt x="114" y="0"/>
                      </a:lnTo>
                      <a:lnTo>
                        <a:pt x="124" y="1"/>
                      </a:lnTo>
                      <a:lnTo>
                        <a:pt x="134" y="4"/>
                      </a:lnTo>
                      <a:lnTo>
                        <a:pt x="143" y="7"/>
                      </a:lnTo>
                      <a:lnTo>
                        <a:pt x="153" y="12"/>
                      </a:lnTo>
                      <a:lnTo>
                        <a:pt x="160" y="16"/>
                      </a:lnTo>
                      <a:lnTo>
                        <a:pt x="169" y="23"/>
                      </a:lnTo>
                      <a:lnTo>
                        <a:pt x="176" y="30"/>
                      </a:lnTo>
                      <a:lnTo>
                        <a:pt x="183" y="36"/>
                      </a:lnTo>
                      <a:lnTo>
                        <a:pt x="189" y="46"/>
                      </a:lnTo>
                      <a:lnTo>
                        <a:pt x="194" y="53"/>
                      </a:lnTo>
                      <a:lnTo>
                        <a:pt x="199" y="62"/>
                      </a:lnTo>
                      <a:lnTo>
                        <a:pt x="202" y="72"/>
                      </a:lnTo>
                      <a:lnTo>
                        <a:pt x="205" y="82"/>
                      </a:lnTo>
                      <a:lnTo>
                        <a:pt x="206" y="91"/>
                      </a:lnTo>
                      <a:lnTo>
                        <a:pt x="206" y="102"/>
                      </a:lnTo>
                      <a:lnTo>
                        <a:pt x="206" y="113"/>
                      </a:lnTo>
                      <a:lnTo>
                        <a:pt x="205" y="124"/>
                      </a:lnTo>
                      <a:lnTo>
                        <a:pt x="202" y="133"/>
                      </a:lnTo>
                      <a:lnTo>
                        <a:pt x="199" y="142"/>
                      </a:lnTo>
                      <a:lnTo>
                        <a:pt x="194" y="151"/>
                      </a:lnTo>
                      <a:lnTo>
                        <a:pt x="189" y="160"/>
                      </a:lnTo>
                      <a:lnTo>
                        <a:pt x="183" y="168"/>
                      </a:lnTo>
                      <a:lnTo>
                        <a:pt x="176" y="176"/>
                      </a:lnTo>
                      <a:lnTo>
                        <a:pt x="169" y="182"/>
                      </a:lnTo>
                      <a:lnTo>
                        <a:pt x="160" y="188"/>
                      </a:lnTo>
                      <a:lnTo>
                        <a:pt x="153" y="192"/>
                      </a:lnTo>
                      <a:lnTo>
                        <a:pt x="143" y="197"/>
                      </a:lnTo>
                      <a:lnTo>
                        <a:pt x="134" y="200"/>
                      </a:lnTo>
                      <a:lnTo>
                        <a:pt x="124" y="203"/>
                      </a:lnTo>
                      <a:lnTo>
                        <a:pt x="114" y="205"/>
                      </a:lnTo>
                      <a:lnTo>
                        <a:pt x="104" y="205"/>
                      </a:lnTo>
                      <a:lnTo>
                        <a:pt x="93" y="205"/>
                      </a:lnTo>
                      <a:lnTo>
                        <a:pt x="82" y="203"/>
                      </a:lnTo>
                      <a:lnTo>
                        <a:pt x="73" y="200"/>
                      </a:lnTo>
                      <a:lnTo>
                        <a:pt x="64" y="197"/>
                      </a:lnTo>
                      <a:lnTo>
                        <a:pt x="55" y="192"/>
                      </a:lnTo>
                      <a:lnTo>
                        <a:pt x="45" y="188"/>
                      </a:lnTo>
                      <a:lnTo>
                        <a:pt x="38" y="182"/>
                      </a:lnTo>
                      <a:lnTo>
                        <a:pt x="30" y="176"/>
                      </a:lnTo>
                      <a:lnTo>
                        <a:pt x="24" y="168"/>
                      </a:lnTo>
                      <a:lnTo>
                        <a:pt x="18" y="160"/>
                      </a:lnTo>
                      <a:lnTo>
                        <a:pt x="13" y="151"/>
                      </a:lnTo>
                      <a:lnTo>
                        <a:pt x="9" y="142"/>
                      </a:lnTo>
                      <a:lnTo>
                        <a:pt x="6" y="133"/>
                      </a:lnTo>
                      <a:lnTo>
                        <a:pt x="3" y="124"/>
                      </a:lnTo>
                      <a:lnTo>
                        <a:pt x="1" y="113"/>
                      </a:lnTo>
                      <a:lnTo>
                        <a:pt x="0" y="102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9" name="Group 283">
            <a:extLst>
              <a:ext uri="{FF2B5EF4-FFF2-40B4-BE49-F238E27FC236}">
                <a16:creationId xmlns:a16="http://schemas.microsoft.com/office/drawing/2014/main" xmlns="" id="{A782B685-63C7-4C3A-8A2B-461C362ACC57}"/>
              </a:ext>
            </a:extLst>
          </p:cNvPr>
          <p:cNvGrpSpPr>
            <a:grpSpLocks/>
          </p:cNvGrpSpPr>
          <p:nvPr/>
        </p:nvGrpSpPr>
        <p:grpSpPr bwMode="auto">
          <a:xfrm>
            <a:off x="454566" y="3468193"/>
            <a:ext cx="314680" cy="218328"/>
            <a:chOff x="2939" y="2052"/>
            <a:chExt cx="357" cy="246"/>
          </a:xfrm>
        </p:grpSpPr>
        <p:sp>
          <p:nvSpPr>
            <p:cNvPr id="120" name="Freeform 284">
              <a:extLst>
                <a:ext uri="{FF2B5EF4-FFF2-40B4-BE49-F238E27FC236}">
                  <a16:creationId xmlns:a16="http://schemas.microsoft.com/office/drawing/2014/main" xmlns="" id="{AD5106BE-299D-4066-AB35-384146B78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2139"/>
              <a:ext cx="159" cy="159"/>
            </a:xfrm>
            <a:custGeom>
              <a:avLst/>
              <a:gdLst/>
              <a:ahLst/>
              <a:cxnLst>
                <a:cxn ang="0">
                  <a:pos x="1" y="144"/>
                </a:cxn>
                <a:cxn ang="0">
                  <a:pos x="7" y="112"/>
                </a:cxn>
                <a:cxn ang="0">
                  <a:pos x="19" y="84"/>
                </a:cxn>
                <a:cxn ang="0">
                  <a:pos x="27" y="70"/>
                </a:cxn>
                <a:cxn ang="0">
                  <a:pos x="36" y="58"/>
                </a:cxn>
                <a:cxn ang="0">
                  <a:pos x="47" y="47"/>
                </a:cxn>
                <a:cxn ang="0">
                  <a:pos x="70" y="28"/>
                </a:cxn>
                <a:cxn ang="0">
                  <a:pos x="98" y="14"/>
                </a:cxn>
                <a:cxn ang="0">
                  <a:pos x="127" y="3"/>
                </a:cxn>
                <a:cxn ang="0">
                  <a:pos x="159" y="0"/>
                </a:cxn>
                <a:cxn ang="0">
                  <a:pos x="191" y="3"/>
                </a:cxn>
                <a:cxn ang="0">
                  <a:pos x="220" y="14"/>
                </a:cxn>
                <a:cxn ang="0">
                  <a:pos x="241" y="23"/>
                </a:cxn>
                <a:cxn ang="0">
                  <a:pos x="254" y="32"/>
                </a:cxn>
                <a:cxn ang="0">
                  <a:pos x="266" y="41"/>
                </a:cxn>
                <a:cxn ang="0">
                  <a:pos x="281" y="58"/>
                </a:cxn>
                <a:cxn ang="0">
                  <a:pos x="298" y="84"/>
                </a:cxn>
                <a:cxn ang="0">
                  <a:pos x="310" y="112"/>
                </a:cxn>
                <a:cxn ang="0">
                  <a:pos x="316" y="144"/>
                </a:cxn>
                <a:cxn ang="0">
                  <a:pos x="316" y="176"/>
                </a:cxn>
                <a:cxn ang="0">
                  <a:pos x="310" y="207"/>
                </a:cxn>
                <a:cxn ang="0">
                  <a:pos x="298" y="236"/>
                </a:cxn>
                <a:cxn ang="0">
                  <a:pos x="290" y="248"/>
                </a:cxn>
                <a:cxn ang="0">
                  <a:pos x="281" y="260"/>
                </a:cxn>
                <a:cxn ang="0">
                  <a:pos x="270" y="271"/>
                </a:cxn>
                <a:cxn ang="0">
                  <a:pos x="248" y="291"/>
                </a:cxn>
                <a:cxn ang="0">
                  <a:pos x="220" y="306"/>
                </a:cxn>
                <a:cxn ang="0">
                  <a:pos x="191" y="315"/>
                </a:cxn>
                <a:cxn ang="0">
                  <a:pos x="159" y="318"/>
                </a:cxn>
                <a:cxn ang="0">
                  <a:pos x="127" y="315"/>
                </a:cxn>
                <a:cxn ang="0">
                  <a:pos x="98" y="306"/>
                </a:cxn>
                <a:cxn ang="0">
                  <a:pos x="76" y="295"/>
                </a:cxn>
                <a:cxn ang="0">
                  <a:pos x="64" y="286"/>
                </a:cxn>
                <a:cxn ang="0">
                  <a:pos x="52" y="277"/>
                </a:cxn>
                <a:cxn ang="0">
                  <a:pos x="36" y="260"/>
                </a:cxn>
                <a:cxn ang="0">
                  <a:pos x="19" y="236"/>
                </a:cxn>
                <a:cxn ang="0">
                  <a:pos x="7" y="207"/>
                </a:cxn>
                <a:cxn ang="0">
                  <a:pos x="1" y="176"/>
                </a:cxn>
              </a:cxnLst>
              <a:rect l="0" t="0" r="r" b="b"/>
              <a:pathLst>
                <a:path w="318" h="318">
                  <a:moveTo>
                    <a:pt x="0" y="159"/>
                  </a:moveTo>
                  <a:lnTo>
                    <a:pt x="1" y="144"/>
                  </a:lnTo>
                  <a:lnTo>
                    <a:pt x="3" y="127"/>
                  </a:lnTo>
                  <a:lnTo>
                    <a:pt x="7" y="112"/>
                  </a:lnTo>
                  <a:lnTo>
                    <a:pt x="12" y="98"/>
                  </a:lnTo>
                  <a:lnTo>
                    <a:pt x="19" y="84"/>
                  </a:lnTo>
                  <a:lnTo>
                    <a:pt x="23" y="77"/>
                  </a:lnTo>
                  <a:lnTo>
                    <a:pt x="27" y="70"/>
                  </a:lnTo>
                  <a:lnTo>
                    <a:pt x="32" y="64"/>
                  </a:lnTo>
                  <a:lnTo>
                    <a:pt x="36" y="58"/>
                  </a:lnTo>
                  <a:lnTo>
                    <a:pt x="41" y="52"/>
                  </a:lnTo>
                  <a:lnTo>
                    <a:pt x="47" y="47"/>
                  </a:lnTo>
                  <a:lnTo>
                    <a:pt x="58" y="37"/>
                  </a:lnTo>
                  <a:lnTo>
                    <a:pt x="70" y="28"/>
                  </a:lnTo>
                  <a:lnTo>
                    <a:pt x="84" y="20"/>
                  </a:lnTo>
                  <a:lnTo>
                    <a:pt x="98" y="14"/>
                  </a:lnTo>
                  <a:lnTo>
                    <a:pt x="111" y="8"/>
                  </a:lnTo>
                  <a:lnTo>
                    <a:pt x="127" y="3"/>
                  </a:lnTo>
                  <a:lnTo>
                    <a:pt x="142" y="2"/>
                  </a:lnTo>
                  <a:lnTo>
                    <a:pt x="159" y="0"/>
                  </a:lnTo>
                  <a:lnTo>
                    <a:pt x="176" y="2"/>
                  </a:lnTo>
                  <a:lnTo>
                    <a:pt x="191" y="3"/>
                  </a:lnTo>
                  <a:lnTo>
                    <a:pt x="206" y="8"/>
                  </a:lnTo>
                  <a:lnTo>
                    <a:pt x="220" y="14"/>
                  </a:lnTo>
                  <a:lnTo>
                    <a:pt x="235" y="20"/>
                  </a:lnTo>
                  <a:lnTo>
                    <a:pt x="241" y="23"/>
                  </a:lnTo>
                  <a:lnTo>
                    <a:pt x="248" y="28"/>
                  </a:lnTo>
                  <a:lnTo>
                    <a:pt x="254" y="32"/>
                  </a:lnTo>
                  <a:lnTo>
                    <a:pt x="260" y="37"/>
                  </a:lnTo>
                  <a:lnTo>
                    <a:pt x="266" y="41"/>
                  </a:lnTo>
                  <a:lnTo>
                    <a:pt x="270" y="47"/>
                  </a:lnTo>
                  <a:lnTo>
                    <a:pt x="281" y="58"/>
                  </a:lnTo>
                  <a:lnTo>
                    <a:pt x="290" y="70"/>
                  </a:lnTo>
                  <a:lnTo>
                    <a:pt x="298" y="84"/>
                  </a:lnTo>
                  <a:lnTo>
                    <a:pt x="306" y="98"/>
                  </a:lnTo>
                  <a:lnTo>
                    <a:pt x="310" y="112"/>
                  </a:lnTo>
                  <a:lnTo>
                    <a:pt x="315" y="127"/>
                  </a:lnTo>
                  <a:lnTo>
                    <a:pt x="316" y="144"/>
                  </a:lnTo>
                  <a:lnTo>
                    <a:pt x="318" y="159"/>
                  </a:lnTo>
                  <a:lnTo>
                    <a:pt x="316" y="176"/>
                  </a:lnTo>
                  <a:lnTo>
                    <a:pt x="315" y="191"/>
                  </a:lnTo>
                  <a:lnTo>
                    <a:pt x="310" y="207"/>
                  </a:lnTo>
                  <a:lnTo>
                    <a:pt x="306" y="220"/>
                  </a:lnTo>
                  <a:lnTo>
                    <a:pt x="298" y="236"/>
                  </a:lnTo>
                  <a:lnTo>
                    <a:pt x="295" y="242"/>
                  </a:lnTo>
                  <a:lnTo>
                    <a:pt x="290" y="248"/>
                  </a:lnTo>
                  <a:lnTo>
                    <a:pt x="286" y="254"/>
                  </a:lnTo>
                  <a:lnTo>
                    <a:pt x="281" y="260"/>
                  </a:lnTo>
                  <a:lnTo>
                    <a:pt x="277" y="266"/>
                  </a:lnTo>
                  <a:lnTo>
                    <a:pt x="270" y="271"/>
                  </a:lnTo>
                  <a:lnTo>
                    <a:pt x="260" y="282"/>
                  </a:lnTo>
                  <a:lnTo>
                    <a:pt x="248" y="291"/>
                  </a:lnTo>
                  <a:lnTo>
                    <a:pt x="235" y="298"/>
                  </a:lnTo>
                  <a:lnTo>
                    <a:pt x="220" y="306"/>
                  </a:lnTo>
                  <a:lnTo>
                    <a:pt x="206" y="311"/>
                  </a:lnTo>
                  <a:lnTo>
                    <a:pt x="191" y="315"/>
                  </a:lnTo>
                  <a:lnTo>
                    <a:pt x="176" y="317"/>
                  </a:lnTo>
                  <a:lnTo>
                    <a:pt x="159" y="318"/>
                  </a:lnTo>
                  <a:lnTo>
                    <a:pt x="142" y="317"/>
                  </a:lnTo>
                  <a:lnTo>
                    <a:pt x="127" y="315"/>
                  </a:lnTo>
                  <a:lnTo>
                    <a:pt x="111" y="311"/>
                  </a:lnTo>
                  <a:lnTo>
                    <a:pt x="98" y="306"/>
                  </a:lnTo>
                  <a:lnTo>
                    <a:pt x="84" y="298"/>
                  </a:lnTo>
                  <a:lnTo>
                    <a:pt x="76" y="295"/>
                  </a:lnTo>
                  <a:lnTo>
                    <a:pt x="70" y="291"/>
                  </a:lnTo>
                  <a:lnTo>
                    <a:pt x="64" y="286"/>
                  </a:lnTo>
                  <a:lnTo>
                    <a:pt x="58" y="282"/>
                  </a:lnTo>
                  <a:lnTo>
                    <a:pt x="52" y="277"/>
                  </a:lnTo>
                  <a:lnTo>
                    <a:pt x="47" y="271"/>
                  </a:lnTo>
                  <a:lnTo>
                    <a:pt x="36" y="260"/>
                  </a:lnTo>
                  <a:lnTo>
                    <a:pt x="27" y="248"/>
                  </a:lnTo>
                  <a:lnTo>
                    <a:pt x="19" y="236"/>
                  </a:lnTo>
                  <a:lnTo>
                    <a:pt x="12" y="220"/>
                  </a:lnTo>
                  <a:lnTo>
                    <a:pt x="7" y="207"/>
                  </a:lnTo>
                  <a:lnTo>
                    <a:pt x="3" y="191"/>
                  </a:lnTo>
                  <a:lnTo>
                    <a:pt x="1" y="176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1" name="Freeform 285">
              <a:extLst>
                <a:ext uri="{FF2B5EF4-FFF2-40B4-BE49-F238E27FC236}">
                  <a16:creationId xmlns:a16="http://schemas.microsoft.com/office/drawing/2014/main" xmlns="" id="{CFD7FF86-E62A-4D64-9501-8A634D5E0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9" y="2052"/>
              <a:ext cx="104" cy="102"/>
            </a:xfrm>
            <a:custGeom>
              <a:avLst/>
              <a:gdLst/>
              <a:ahLst/>
              <a:cxnLst>
                <a:cxn ang="0">
                  <a:pos x="1" y="91"/>
                </a:cxn>
                <a:cxn ang="0">
                  <a:pos x="6" y="72"/>
                </a:cxn>
                <a:cxn ang="0">
                  <a:pos x="13" y="53"/>
                </a:cxn>
                <a:cxn ang="0">
                  <a:pos x="24" y="36"/>
                </a:cxn>
                <a:cxn ang="0">
                  <a:pos x="38" y="23"/>
                </a:cxn>
                <a:cxn ang="0">
                  <a:pos x="55" y="12"/>
                </a:cxn>
                <a:cxn ang="0">
                  <a:pos x="73" y="4"/>
                </a:cxn>
                <a:cxn ang="0">
                  <a:pos x="93" y="0"/>
                </a:cxn>
                <a:cxn ang="0">
                  <a:pos x="114" y="0"/>
                </a:cxn>
                <a:cxn ang="0">
                  <a:pos x="134" y="4"/>
                </a:cxn>
                <a:cxn ang="0">
                  <a:pos x="153" y="12"/>
                </a:cxn>
                <a:cxn ang="0">
                  <a:pos x="169" y="23"/>
                </a:cxn>
                <a:cxn ang="0">
                  <a:pos x="183" y="36"/>
                </a:cxn>
                <a:cxn ang="0">
                  <a:pos x="194" y="53"/>
                </a:cxn>
                <a:cxn ang="0">
                  <a:pos x="202" y="72"/>
                </a:cxn>
                <a:cxn ang="0">
                  <a:pos x="206" y="91"/>
                </a:cxn>
                <a:cxn ang="0">
                  <a:pos x="206" y="113"/>
                </a:cxn>
                <a:cxn ang="0">
                  <a:pos x="202" y="133"/>
                </a:cxn>
                <a:cxn ang="0">
                  <a:pos x="194" y="151"/>
                </a:cxn>
                <a:cxn ang="0">
                  <a:pos x="183" y="168"/>
                </a:cxn>
                <a:cxn ang="0">
                  <a:pos x="169" y="182"/>
                </a:cxn>
                <a:cxn ang="0">
                  <a:pos x="153" y="192"/>
                </a:cxn>
                <a:cxn ang="0">
                  <a:pos x="134" y="200"/>
                </a:cxn>
                <a:cxn ang="0">
                  <a:pos x="114" y="205"/>
                </a:cxn>
                <a:cxn ang="0">
                  <a:pos x="93" y="205"/>
                </a:cxn>
                <a:cxn ang="0">
                  <a:pos x="73" y="200"/>
                </a:cxn>
                <a:cxn ang="0">
                  <a:pos x="55" y="192"/>
                </a:cxn>
                <a:cxn ang="0">
                  <a:pos x="38" y="182"/>
                </a:cxn>
                <a:cxn ang="0">
                  <a:pos x="24" y="168"/>
                </a:cxn>
                <a:cxn ang="0">
                  <a:pos x="13" y="151"/>
                </a:cxn>
                <a:cxn ang="0">
                  <a:pos x="6" y="133"/>
                </a:cxn>
                <a:cxn ang="0">
                  <a:pos x="1" y="113"/>
                </a:cxn>
              </a:cxnLst>
              <a:rect l="0" t="0" r="r" b="b"/>
              <a:pathLst>
                <a:path w="206" h="205">
                  <a:moveTo>
                    <a:pt x="0" y="102"/>
                  </a:moveTo>
                  <a:lnTo>
                    <a:pt x="1" y="91"/>
                  </a:lnTo>
                  <a:lnTo>
                    <a:pt x="3" y="82"/>
                  </a:lnTo>
                  <a:lnTo>
                    <a:pt x="6" y="72"/>
                  </a:lnTo>
                  <a:lnTo>
                    <a:pt x="9" y="62"/>
                  </a:lnTo>
                  <a:lnTo>
                    <a:pt x="13" y="53"/>
                  </a:lnTo>
                  <a:lnTo>
                    <a:pt x="18" y="4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8" y="23"/>
                  </a:lnTo>
                  <a:lnTo>
                    <a:pt x="45" y="16"/>
                  </a:lnTo>
                  <a:lnTo>
                    <a:pt x="55" y="12"/>
                  </a:lnTo>
                  <a:lnTo>
                    <a:pt x="64" y="7"/>
                  </a:lnTo>
                  <a:lnTo>
                    <a:pt x="73" y="4"/>
                  </a:lnTo>
                  <a:lnTo>
                    <a:pt x="82" y="1"/>
                  </a:lnTo>
                  <a:lnTo>
                    <a:pt x="93" y="0"/>
                  </a:lnTo>
                  <a:lnTo>
                    <a:pt x="104" y="0"/>
                  </a:lnTo>
                  <a:lnTo>
                    <a:pt x="114" y="0"/>
                  </a:lnTo>
                  <a:lnTo>
                    <a:pt x="124" y="1"/>
                  </a:lnTo>
                  <a:lnTo>
                    <a:pt x="134" y="4"/>
                  </a:lnTo>
                  <a:lnTo>
                    <a:pt x="143" y="7"/>
                  </a:lnTo>
                  <a:lnTo>
                    <a:pt x="153" y="12"/>
                  </a:lnTo>
                  <a:lnTo>
                    <a:pt x="160" y="16"/>
                  </a:lnTo>
                  <a:lnTo>
                    <a:pt x="169" y="23"/>
                  </a:lnTo>
                  <a:lnTo>
                    <a:pt x="176" y="30"/>
                  </a:lnTo>
                  <a:lnTo>
                    <a:pt x="183" y="36"/>
                  </a:lnTo>
                  <a:lnTo>
                    <a:pt x="189" y="46"/>
                  </a:lnTo>
                  <a:lnTo>
                    <a:pt x="194" y="53"/>
                  </a:lnTo>
                  <a:lnTo>
                    <a:pt x="199" y="62"/>
                  </a:lnTo>
                  <a:lnTo>
                    <a:pt x="202" y="72"/>
                  </a:lnTo>
                  <a:lnTo>
                    <a:pt x="205" y="82"/>
                  </a:lnTo>
                  <a:lnTo>
                    <a:pt x="206" y="91"/>
                  </a:lnTo>
                  <a:lnTo>
                    <a:pt x="206" y="102"/>
                  </a:lnTo>
                  <a:lnTo>
                    <a:pt x="206" y="113"/>
                  </a:lnTo>
                  <a:lnTo>
                    <a:pt x="205" y="124"/>
                  </a:lnTo>
                  <a:lnTo>
                    <a:pt x="202" y="133"/>
                  </a:lnTo>
                  <a:lnTo>
                    <a:pt x="199" y="142"/>
                  </a:lnTo>
                  <a:lnTo>
                    <a:pt x="194" y="151"/>
                  </a:lnTo>
                  <a:lnTo>
                    <a:pt x="189" y="160"/>
                  </a:lnTo>
                  <a:lnTo>
                    <a:pt x="183" y="168"/>
                  </a:lnTo>
                  <a:lnTo>
                    <a:pt x="176" y="176"/>
                  </a:lnTo>
                  <a:lnTo>
                    <a:pt x="169" y="182"/>
                  </a:lnTo>
                  <a:lnTo>
                    <a:pt x="160" y="188"/>
                  </a:lnTo>
                  <a:lnTo>
                    <a:pt x="153" y="192"/>
                  </a:lnTo>
                  <a:lnTo>
                    <a:pt x="143" y="197"/>
                  </a:lnTo>
                  <a:lnTo>
                    <a:pt x="134" y="200"/>
                  </a:lnTo>
                  <a:lnTo>
                    <a:pt x="124" y="203"/>
                  </a:lnTo>
                  <a:lnTo>
                    <a:pt x="114" y="205"/>
                  </a:lnTo>
                  <a:lnTo>
                    <a:pt x="104" y="205"/>
                  </a:lnTo>
                  <a:lnTo>
                    <a:pt x="93" y="205"/>
                  </a:lnTo>
                  <a:lnTo>
                    <a:pt x="82" y="203"/>
                  </a:lnTo>
                  <a:lnTo>
                    <a:pt x="73" y="200"/>
                  </a:lnTo>
                  <a:lnTo>
                    <a:pt x="64" y="197"/>
                  </a:lnTo>
                  <a:lnTo>
                    <a:pt x="55" y="192"/>
                  </a:lnTo>
                  <a:lnTo>
                    <a:pt x="45" y="188"/>
                  </a:lnTo>
                  <a:lnTo>
                    <a:pt x="38" y="182"/>
                  </a:lnTo>
                  <a:lnTo>
                    <a:pt x="30" y="176"/>
                  </a:lnTo>
                  <a:lnTo>
                    <a:pt x="24" y="168"/>
                  </a:lnTo>
                  <a:lnTo>
                    <a:pt x="18" y="160"/>
                  </a:lnTo>
                  <a:lnTo>
                    <a:pt x="13" y="151"/>
                  </a:lnTo>
                  <a:lnTo>
                    <a:pt x="9" y="142"/>
                  </a:lnTo>
                  <a:lnTo>
                    <a:pt x="6" y="133"/>
                  </a:lnTo>
                  <a:lnTo>
                    <a:pt x="3" y="124"/>
                  </a:lnTo>
                  <a:lnTo>
                    <a:pt x="1" y="113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14" name="Espace réservé du contenu 8">
            <a:extLst>
              <a:ext uri="{FF2B5EF4-FFF2-40B4-BE49-F238E27FC236}">
                <a16:creationId xmlns:a16="http://schemas.microsoft.com/office/drawing/2014/main" xmlns="" id="{A89D5660-5786-4B4D-AF19-C2AF6ECA6681}"/>
              </a:ext>
            </a:extLst>
          </p:cNvPr>
          <p:cNvSpPr txBox="1">
            <a:spLocks/>
          </p:cNvSpPr>
          <p:nvPr/>
        </p:nvSpPr>
        <p:spPr bwMode="gray">
          <a:xfrm>
            <a:off x="911888" y="3361720"/>
            <a:ext cx="3019660" cy="157415"/>
          </a:xfrm>
          <a:prstGeom prst="rect">
            <a:avLst/>
          </a:prstGeom>
        </p:spPr>
        <p:txBody>
          <a:bodyPr vert="horz" wrap="square" lIns="72000" tIns="0" rIns="0" bIns="0" rtlCol="0" anchor="ctr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100" kern="0" dirty="0"/>
              <a:t>Item 2</a:t>
            </a:r>
          </a:p>
        </p:txBody>
      </p:sp>
      <p:sp>
        <p:nvSpPr>
          <p:cNvPr id="162" name="Rectangle : avec coins supérieurs arrondis 161">
            <a:extLst>
              <a:ext uri="{FF2B5EF4-FFF2-40B4-BE49-F238E27FC236}">
                <a16:creationId xmlns:a16="http://schemas.microsoft.com/office/drawing/2014/main" xmlns="" id="{036414BF-9DE7-4C3E-806F-A99F8DED1DCA}"/>
              </a:ext>
            </a:extLst>
          </p:cNvPr>
          <p:cNvSpPr/>
          <p:nvPr/>
        </p:nvSpPr>
        <p:spPr>
          <a:xfrm rot="5400000">
            <a:off x="5042464" y="3179076"/>
            <a:ext cx="554815" cy="22616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6000">
                <a:schemeClr val="bg1">
                  <a:alpha val="6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lt;</a:t>
            </a:r>
          </a:p>
        </p:txBody>
      </p:sp>
      <p:grpSp>
        <p:nvGrpSpPr>
          <p:cNvPr id="122" name="Groupe 121">
            <a:extLst>
              <a:ext uri="{FF2B5EF4-FFF2-40B4-BE49-F238E27FC236}">
                <a16:creationId xmlns:a16="http://schemas.microsoft.com/office/drawing/2014/main" xmlns="" id="{C2417F6C-280C-4539-8543-9BBA20061AC5}"/>
              </a:ext>
            </a:extLst>
          </p:cNvPr>
          <p:cNvGrpSpPr/>
          <p:nvPr/>
        </p:nvGrpSpPr>
        <p:grpSpPr>
          <a:xfrm>
            <a:off x="3929602" y="4036016"/>
            <a:ext cx="554822" cy="554821"/>
            <a:chOff x="3929602" y="3179559"/>
            <a:chExt cx="554822" cy="554821"/>
          </a:xfrm>
        </p:grpSpPr>
        <p:sp>
          <p:nvSpPr>
            <p:cNvPr id="123" name="Ellipse 179">
              <a:extLst>
                <a:ext uri="{FF2B5EF4-FFF2-40B4-BE49-F238E27FC236}">
                  <a16:creationId xmlns:a16="http://schemas.microsoft.com/office/drawing/2014/main" xmlns="" id="{F7F13D7F-D0CD-4A7F-AFFA-6187FD6C3A2B}"/>
                </a:ext>
              </a:extLst>
            </p:cNvPr>
            <p:cNvSpPr/>
            <p:nvPr/>
          </p:nvSpPr>
          <p:spPr bwMode="gray">
            <a:xfrm>
              <a:off x="3929602" y="3179559"/>
              <a:ext cx="554822" cy="5548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4" name="Group 4">
              <a:extLst>
                <a:ext uri="{FF2B5EF4-FFF2-40B4-BE49-F238E27FC236}">
                  <a16:creationId xmlns:a16="http://schemas.microsoft.com/office/drawing/2014/main" xmlns="" id="{405D0240-EFDC-4073-9048-D1D07F59B3C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22491" y="3266299"/>
              <a:ext cx="388989" cy="401860"/>
              <a:chOff x="2781" y="376"/>
              <a:chExt cx="544" cy="562"/>
            </a:xfrm>
            <a:solidFill>
              <a:schemeClr val="bg1"/>
            </a:solidFill>
          </p:grpSpPr>
          <p:sp>
            <p:nvSpPr>
              <p:cNvPr id="125" name="Freeform 5">
                <a:extLst>
                  <a:ext uri="{FF2B5EF4-FFF2-40B4-BE49-F238E27FC236}">
                    <a16:creationId xmlns:a16="http://schemas.microsoft.com/office/drawing/2014/main" xmlns="" id="{64F1C2F8-CD67-4AC2-8F09-BF5D7E1A2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447"/>
                <a:ext cx="58" cy="58"/>
              </a:xfrm>
              <a:custGeom>
                <a:avLst/>
                <a:gdLst>
                  <a:gd name="T0" fmla="*/ 26 w 28"/>
                  <a:gd name="T1" fmla="*/ 0 h 28"/>
                  <a:gd name="T2" fmla="*/ 2 w 28"/>
                  <a:gd name="T3" fmla="*/ 0 h 28"/>
                  <a:gd name="T4" fmla="*/ 0 w 28"/>
                  <a:gd name="T5" fmla="*/ 2 h 28"/>
                  <a:gd name="T6" fmla="*/ 0 w 28"/>
                  <a:gd name="T7" fmla="*/ 26 h 28"/>
                  <a:gd name="T8" fmla="*/ 2 w 28"/>
                  <a:gd name="T9" fmla="*/ 28 h 28"/>
                  <a:gd name="T10" fmla="*/ 26 w 28"/>
                  <a:gd name="T11" fmla="*/ 28 h 28"/>
                  <a:gd name="T12" fmla="*/ 28 w 28"/>
                  <a:gd name="T13" fmla="*/ 26 h 28"/>
                  <a:gd name="T14" fmla="*/ 28 w 28"/>
                  <a:gd name="T15" fmla="*/ 3 h 28"/>
                  <a:gd name="T16" fmla="*/ 26 w 28"/>
                  <a:gd name="T1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8">
                    <a:moveTo>
                      <a:pt x="26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8"/>
                      <a:pt x="2" y="28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7" y="28"/>
                      <a:pt x="28" y="27"/>
                      <a:pt x="28" y="26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1"/>
                      <a:pt x="27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6" name="Freeform 6">
                <a:extLst>
                  <a:ext uri="{FF2B5EF4-FFF2-40B4-BE49-F238E27FC236}">
                    <a16:creationId xmlns:a16="http://schemas.microsoft.com/office/drawing/2014/main" xmlns="" id="{7E919968-5783-4E63-9C0E-B9EDFCFA2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2" y="447"/>
                <a:ext cx="68" cy="60"/>
              </a:xfrm>
              <a:custGeom>
                <a:avLst/>
                <a:gdLst>
                  <a:gd name="T0" fmla="*/ 3 w 33"/>
                  <a:gd name="T1" fmla="*/ 29 h 29"/>
                  <a:gd name="T2" fmla="*/ 30 w 33"/>
                  <a:gd name="T3" fmla="*/ 29 h 29"/>
                  <a:gd name="T4" fmla="*/ 33 w 33"/>
                  <a:gd name="T5" fmla="*/ 26 h 29"/>
                  <a:gd name="T6" fmla="*/ 33 w 33"/>
                  <a:gd name="T7" fmla="*/ 3 h 29"/>
                  <a:gd name="T8" fmla="*/ 30 w 33"/>
                  <a:gd name="T9" fmla="*/ 0 h 29"/>
                  <a:gd name="T10" fmla="*/ 6 w 33"/>
                  <a:gd name="T11" fmla="*/ 0 h 29"/>
                  <a:gd name="T12" fmla="*/ 3 w 33"/>
                  <a:gd name="T13" fmla="*/ 2 h 29"/>
                  <a:gd name="T14" fmla="*/ 0 w 33"/>
                  <a:gd name="T15" fmla="*/ 26 h 29"/>
                  <a:gd name="T16" fmla="*/ 3 w 33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9">
                    <a:moveTo>
                      <a:pt x="3" y="29"/>
                    </a:move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9"/>
                      <a:pt x="33" y="27"/>
                      <a:pt x="33" y="26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33" y="1"/>
                      <a:pt x="31" y="0"/>
                      <a:pt x="3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3" y="1"/>
                      <a:pt x="3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9"/>
                      <a:pt x="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7" name="Freeform 7">
                <a:extLst>
                  <a:ext uri="{FF2B5EF4-FFF2-40B4-BE49-F238E27FC236}">
                    <a16:creationId xmlns:a16="http://schemas.microsoft.com/office/drawing/2014/main" xmlns="" id="{9B1E4599-749E-4D20-AF47-944408458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525"/>
                <a:ext cx="58" cy="61"/>
              </a:xfrm>
              <a:custGeom>
                <a:avLst/>
                <a:gdLst>
                  <a:gd name="T0" fmla="*/ 28 w 28"/>
                  <a:gd name="T1" fmla="*/ 27 h 29"/>
                  <a:gd name="T2" fmla="*/ 28 w 28"/>
                  <a:gd name="T3" fmla="*/ 3 h 29"/>
                  <a:gd name="T4" fmla="*/ 26 w 28"/>
                  <a:gd name="T5" fmla="*/ 0 h 29"/>
                  <a:gd name="T6" fmla="*/ 2 w 28"/>
                  <a:gd name="T7" fmla="*/ 0 h 29"/>
                  <a:gd name="T8" fmla="*/ 0 w 28"/>
                  <a:gd name="T9" fmla="*/ 3 h 29"/>
                  <a:gd name="T10" fmla="*/ 0 w 28"/>
                  <a:gd name="T11" fmla="*/ 27 h 29"/>
                  <a:gd name="T12" fmla="*/ 2 w 28"/>
                  <a:gd name="T13" fmla="*/ 29 h 29"/>
                  <a:gd name="T14" fmla="*/ 26 w 28"/>
                  <a:gd name="T15" fmla="*/ 29 h 29"/>
                  <a:gd name="T16" fmla="*/ 28 w 28"/>
                  <a:gd name="T17" fmla="*/ 2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9">
                    <a:moveTo>
                      <a:pt x="28" y="27"/>
                    </a:moveTo>
                    <a:cubicBezTo>
                      <a:pt x="28" y="3"/>
                      <a:pt x="28" y="3"/>
                      <a:pt x="28" y="3"/>
                    </a:cubicBezTo>
                    <a:cubicBezTo>
                      <a:pt x="28" y="2"/>
                      <a:pt x="27" y="0"/>
                      <a:pt x="26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7" y="29"/>
                      <a:pt x="28" y="28"/>
                      <a:pt x="28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8" name="Freeform 8">
                <a:extLst>
                  <a:ext uri="{FF2B5EF4-FFF2-40B4-BE49-F238E27FC236}">
                    <a16:creationId xmlns:a16="http://schemas.microsoft.com/office/drawing/2014/main" xmlns="" id="{B2C58A79-62BE-4BC8-8239-1D1233429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376"/>
                <a:ext cx="58" cy="50"/>
              </a:xfrm>
              <a:custGeom>
                <a:avLst/>
                <a:gdLst>
                  <a:gd name="T0" fmla="*/ 3 w 28"/>
                  <a:gd name="T1" fmla="*/ 24 h 24"/>
                  <a:gd name="T2" fmla="*/ 25 w 28"/>
                  <a:gd name="T3" fmla="*/ 24 h 24"/>
                  <a:gd name="T4" fmla="*/ 28 w 28"/>
                  <a:gd name="T5" fmla="*/ 21 h 24"/>
                  <a:gd name="T6" fmla="*/ 26 w 28"/>
                  <a:gd name="T7" fmla="*/ 3 h 24"/>
                  <a:gd name="T8" fmla="*/ 23 w 28"/>
                  <a:gd name="T9" fmla="*/ 0 h 24"/>
                  <a:gd name="T10" fmla="*/ 3 w 28"/>
                  <a:gd name="T11" fmla="*/ 0 h 24"/>
                  <a:gd name="T12" fmla="*/ 0 w 28"/>
                  <a:gd name="T13" fmla="*/ 3 h 24"/>
                  <a:gd name="T14" fmla="*/ 0 w 28"/>
                  <a:gd name="T15" fmla="*/ 21 h 24"/>
                  <a:gd name="T16" fmla="*/ 3 w 28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4">
                    <a:moveTo>
                      <a:pt x="3" y="24"/>
                    </a:moveTo>
                    <a:cubicBezTo>
                      <a:pt x="25" y="24"/>
                      <a:pt x="25" y="24"/>
                      <a:pt x="25" y="24"/>
                    </a:cubicBezTo>
                    <a:cubicBezTo>
                      <a:pt x="27" y="24"/>
                      <a:pt x="28" y="23"/>
                      <a:pt x="28" y="2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1"/>
                      <a:pt x="25" y="0"/>
                      <a:pt x="2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3"/>
                      <a:pt x="1" y="24"/>
                      <a:pt x="3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9" name="Freeform 9">
                <a:extLst>
                  <a:ext uri="{FF2B5EF4-FFF2-40B4-BE49-F238E27FC236}">
                    <a16:creationId xmlns:a16="http://schemas.microsoft.com/office/drawing/2014/main" xmlns="" id="{31229A11-CA98-4CD2-B87D-5B66F7311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" y="376"/>
                <a:ext cx="60" cy="50"/>
              </a:xfrm>
              <a:custGeom>
                <a:avLst/>
                <a:gdLst>
                  <a:gd name="T0" fmla="*/ 29 w 29"/>
                  <a:gd name="T1" fmla="*/ 21 h 24"/>
                  <a:gd name="T2" fmla="*/ 29 w 29"/>
                  <a:gd name="T3" fmla="*/ 3 h 24"/>
                  <a:gd name="T4" fmla="*/ 26 w 29"/>
                  <a:gd name="T5" fmla="*/ 0 h 24"/>
                  <a:gd name="T6" fmla="*/ 5 w 29"/>
                  <a:gd name="T7" fmla="*/ 0 h 24"/>
                  <a:gd name="T8" fmla="*/ 3 w 29"/>
                  <a:gd name="T9" fmla="*/ 3 h 24"/>
                  <a:gd name="T10" fmla="*/ 1 w 29"/>
                  <a:gd name="T11" fmla="*/ 21 h 24"/>
                  <a:gd name="T12" fmla="*/ 3 w 29"/>
                  <a:gd name="T13" fmla="*/ 24 h 24"/>
                  <a:gd name="T14" fmla="*/ 26 w 29"/>
                  <a:gd name="T15" fmla="*/ 24 h 24"/>
                  <a:gd name="T16" fmla="*/ 29 w 29"/>
                  <a:gd name="T17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24">
                    <a:moveTo>
                      <a:pt x="29" y="21"/>
                    </a:moveTo>
                    <a:cubicBezTo>
                      <a:pt x="29" y="3"/>
                      <a:pt x="29" y="3"/>
                      <a:pt x="29" y="3"/>
                    </a:cubicBezTo>
                    <a:cubicBezTo>
                      <a:pt x="29" y="2"/>
                      <a:pt x="28" y="0"/>
                      <a:pt x="2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1"/>
                      <a:pt x="3" y="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3"/>
                      <a:pt x="2" y="24"/>
                      <a:pt x="3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8" y="24"/>
                      <a:pt x="29" y="23"/>
                      <a:pt x="2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0" name="Freeform 10">
                <a:extLst>
                  <a:ext uri="{FF2B5EF4-FFF2-40B4-BE49-F238E27FC236}">
                    <a16:creationId xmlns:a16="http://schemas.microsoft.com/office/drawing/2014/main" xmlns="" id="{885EB019-F5A4-4C18-8D10-E105A4E9A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525"/>
                <a:ext cx="77" cy="61"/>
              </a:xfrm>
              <a:custGeom>
                <a:avLst/>
                <a:gdLst>
                  <a:gd name="T0" fmla="*/ 32 w 37"/>
                  <a:gd name="T1" fmla="*/ 0 h 29"/>
                  <a:gd name="T2" fmla="*/ 3 w 37"/>
                  <a:gd name="T3" fmla="*/ 0 h 29"/>
                  <a:gd name="T4" fmla="*/ 0 w 37"/>
                  <a:gd name="T5" fmla="*/ 3 h 29"/>
                  <a:gd name="T6" fmla="*/ 0 w 37"/>
                  <a:gd name="T7" fmla="*/ 26 h 29"/>
                  <a:gd name="T8" fmla="*/ 3 w 37"/>
                  <a:gd name="T9" fmla="*/ 29 h 29"/>
                  <a:gd name="T10" fmla="*/ 35 w 37"/>
                  <a:gd name="T11" fmla="*/ 29 h 29"/>
                  <a:gd name="T12" fmla="*/ 37 w 37"/>
                  <a:gd name="T13" fmla="*/ 26 h 29"/>
                  <a:gd name="T14" fmla="*/ 34 w 37"/>
                  <a:gd name="T15" fmla="*/ 2 h 29"/>
                  <a:gd name="T16" fmla="*/ 32 w 37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29">
                    <a:moveTo>
                      <a:pt x="32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8"/>
                      <a:pt x="1" y="29"/>
                      <a:pt x="3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7" y="28"/>
                      <a:pt x="37" y="26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5" y="1"/>
                      <a:pt x="33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xmlns="" id="{7AAAFC91-07B6-4C1F-A728-F0CD8BC1C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" y="525"/>
                <a:ext cx="79" cy="61"/>
              </a:xfrm>
              <a:custGeom>
                <a:avLst/>
                <a:gdLst>
                  <a:gd name="T0" fmla="*/ 35 w 38"/>
                  <a:gd name="T1" fmla="*/ 0 h 29"/>
                  <a:gd name="T2" fmla="*/ 6 w 38"/>
                  <a:gd name="T3" fmla="*/ 0 h 29"/>
                  <a:gd name="T4" fmla="*/ 3 w 38"/>
                  <a:gd name="T5" fmla="*/ 3 h 29"/>
                  <a:gd name="T6" fmla="*/ 1 w 38"/>
                  <a:gd name="T7" fmla="*/ 26 h 29"/>
                  <a:gd name="T8" fmla="*/ 3 w 38"/>
                  <a:gd name="T9" fmla="*/ 29 h 29"/>
                  <a:gd name="T10" fmla="*/ 35 w 38"/>
                  <a:gd name="T11" fmla="*/ 29 h 29"/>
                  <a:gd name="T12" fmla="*/ 38 w 38"/>
                  <a:gd name="T13" fmla="*/ 27 h 29"/>
                  <a:gd name="T14" fmla="*/ 38 w 38"/>
                  <a:gd name="T15" fmla="*/ 3 h 29"/>
                  <a:gd name="T16" fmla="*/ 35 w 38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29">
                    <a:moveTo>
                      <a:pt x="3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1"/>
                      <a:pt x="3" y="3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8"/>
                      <a:pt x="2" y="29"/>
                      <a:pt x="3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8" y="28"/>
                      <a:pt x="38" y="27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8" y="1"/>
                      <a:pt x="37" y="0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2" name="Freeform 12">
                <a:extLst>
                  <a:ext uri="{FF2B5EF4-FFF2-40B4-BE49-F238E27FC236}">
                    <a16:creationId xmlns:a16="http://schemas.microsoft.com/office/drawing/2014/main" xmlns="" id="{E882A2F3-8C91-4DD6-B1E7-F5F53B5C2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376"/>
                <a:ext cx="58" cy="50"/>
              </a:xfrm>
              <a:custGeom>
                <a:avLst/>
                <a:gdLst>
                  <a:gd name="T0" fmla="*/ 0 w 28"/>
                  <a:gd name="T1" fmla="*/ 3 h 24"/>
                  <a:gd name="T2" fmla="*/ 0 w 28"/>
                  <a:gd name="T3" fmla="*/ 21 h 24"/>
                  <a:gd name="T4" fmla="*/ 2 w 28"/>
                  <a:gd name="T5" fmla="*/ 24 h 24"/>
                  <a:gd name="T6" fmla="*/ 26 w 28"/>
                  <a:gd name="T7" fmla="*/ 24 h 24"/>
                  <a:gd name="T8" fmla="*/ 28 w 28"/>
                  <a:gd name="T9" fmla="*/ 21 h 24"/>
                  <a:gd name="T10" fmla="*/ 28 w 28"/>
                  <a:gd name="T11" fmla="*/ 3 h 24"/>
                  <a:gd name="T12" fmla="*/ 26 w 28"/>
                  <a:gd name="T13" fmla="*/ 0 h 24"/>
                  <a:gd name="T14" fmla="*/ 2 w 28"/>
                  <a:gd name="T15" fmla="*/ 0 h 24"/>
                  <a:gd name="T16" fmla="*/ 0 w 28"/>
                  <a:gd name="T17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4">
                    <a:moveTo>
                      <a:pt x="0" y="3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23"/>
                      <a:pt x="1" y="24"/>
                      <a:pt x="2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8" y="23"/>
                      <a:pt x="28" y="21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2"/>
                      <a:pt x="27" y="0"/>
                      <a:pt x="26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3" name="Freeform 13">
                <a:extLst>
                  <a:ext uri="{FF2B5EF4-FFF2-40B4-BE49-F238E27FC236}">
                    <a16:creationId xmlns:a16="http://schemas.microsoft.com/office/drawing/2014/main" xmlns="" id="{5B710A95-F2C4-4AEA-97AB-05942DA89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447"/>
                <a:ext cx="68" cy="58"/>
              </a:xfrm>
              <a:custGeom>
                <a:avLst/>
                <a:gdLst>
                  <a:gd name="T0" fmla="*/ 27 w 33"/>
                  <a:gd name="T1" fmla="*/ 0 h 28"/>
                  <a:gd name="T2" fmla="*/ 3 w 33"/>
                  <a:gd name="T3" fmla="*/ 0 h 28"/>
                  <a:gd name="T4" fmla="*/ 0 w 33"/>
                  <a:gd name="T5" fmla="*/ 2 h 28"/>
                  <a:gd name="T6" fmla="*/ 0 w 33"/>
                  <a:gd name="T7" fmla="*/ 26 h 28"/>
                  <a:gd name="T8" fmla="*/ 3 w 33"/>
                  <a:gd name="T9" fmla="*/ 28 h 28"/>
                  <a:gd name="T10" fmla="*/ 30 w 33"/>
                  <a:gd name="T11" fmla="*/ 28 h 28"/>
                  <a:gd name="T12" fmla="*/ 33 w 33"/>
                  <a:gd name="T13" fmla="*/ 25 h 28"/>
                  <a:gd name="T14" fmla="*/ 30 w 33"/>
                  <a:gd name="T15" fmla="*/ 2 h 28"/>
                  <a:gd name="T16" fmla="*/ 27 w 33"/>
                  <a:gd name="T1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8">
                    <a:moveTo>
                      <a:pt x="27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8"/>
                      <a:pt x="3" y="2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0" y="1"/>
                      <a:pt x="29" y="0"/>
                      <a:pt x="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4" name="Freeform 14">
                <a:extLst>
                  <a:ext uri="{FF2B5EF4-FFF2-40B4-BE49-F238E27FC236}">
                    <a16:creationId xmlns:a16="http://schemas.microsoft.com/office/drawing/2014/main" xmlns="" id="{44D773BA-41A2-47E0-ACA3-C345BD6177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10" y="407"/>
                <a:ext cx="415" cy="531"/>
              </a:xfrm>
              <a:custGeom>
                <a:avLst/>
                <a:gdLst>
                  <a:gd name="T0" fmla="*/ 80 w 200"/>
                  <a:gd name="T1" fmla="*/ 100 h 256"/>
                  <a:gd name="T2" fmla="*/ 83 w 200"/>
                  <a:gd name="T3" fmla="*/ 56 h 256"/>
                  <a:gd name="T4" fmla="*/ 87 w 200"/>
                  <a:gd name="T5" fmla="*/ 21 h 256"/>
                  <a:gd name="T6" fmla="*/ 90 w 200"/>
                  <a:gd name="T7" fmla="*/ 9 h 256"/>
                  <a:gd name="T8" fmla="*/ 100 w 200"/>
                  <a:gd name="T9" fmla="*/ 0 h 256"/>
                  <a:gd name="T10" fmla="*/ 110 w 200"/>
                  <a:gd name="T11" fmla="*/ 9 h 256"/>
                  <a:gd name="T12" fmla="*/ 113 w 200"/>
                  <a:gd name="T13" fmla="*/ 21 h 256"/>
                  <a:gd name="T14" fmla="*/ 117 w 200"/>
                  <a:gd name="T15" fmla="*/ 56 h 256"/>
                  <a:gd name="T16" fmla="*/ 120 w 200"/>
                  <a:gd name="T17" fmla="*/ 100 h 256"/>
                  <a:gd name="T18" fmla="*/ 157 w 200"/>
                  <a:gd name="T19" fmla="*/ 125 h 256"/>
                  <a:gd name="T20" fmla="*/ 185 w 200"/>
                  <a:gd name="T21" fmla="*/ 145 h 256"/>
                  <a:gd name="T22" fmla="*/ 194 w 200"/>
                  <a:gd name="T23" fmla="*/ 154 h 256"/>
                  <a:gd name="T24" fmla="*/ 197 w 200"/>
                  <a:gd name="T25" fmla="*/ 168 h 256"/>
                  <a:gd name="T26" fmla="*/ 184 w 200"/>
                  <a:gd name="T27" fmla="*/ 172 h 256"/>
                  <a:gd name="T28" fmla="*/ 172 w 200"/>
                  <a:gd name="T29" fmla="*/ 168 h 256"/>
                  <a:gd name="T30" fmla="*/ 140 w 200"/>
                  <a:gd name="T31" fmla="*/ 154 h 256"/>
                  <a:gd name="T32" fmla="*/ 100 w 200"/>
                  <a:gd name="T33" fmla="*/ 134 h 256"/>
                  <a:gd name="T34" fmla="*/ 60 w 200"/>
                  <a:gd name="T35" fmla="*/ 154 h 256"/>
                  <a:gd name="T36" fmla="*/ 28 w 200"/>
                  <a:gd name="T37" fmla="*/ 168 h 256"/>
                  <a:gd name="T38" fmla="*/ 16 w 200"/>
                  <a:gd name="T39" fmla="*/ 172 h 256"/>
                  <a:gd name="T40" fmla="*/ 3 w 200"/>
                  <a:gd name="T41" fmla="*/ 168 h 256"/>
                  <a:gd name="T42" fmla="*/ 6 w 200"/>
                  <a:gd name="T43" fmla="*/ 154 h 256"/>
                  <a:gd name="T44" fmla="*/ 15 w 200"/>
                  <a:gd name="T45" fmla="*/ 145 h 256"/>
                  <a:gd name="T46" fmla="*/ 43 w 200"/>
                  <a:gd name="T47" fmla="*/ 125 h 256"/>
                  <a:gd name="T48" fmla="*/ 80 w 200"/>
                  <a:gd name="T49" fmla="*/ 100 h 256"/>
                  <a:gd name="T50" fmla="*/ 100 w 200"/>
                  <a:gd name="T51" fmla="*/ 124 h 256"/>
                  <a:gd name="T52" fmla="*/ 112 w 200"/>
                  <a:gd name="T53" fmla="*/ 112 h 256"/>
                  <a:gd name="T54" fmla="*/ 100 w 200"/>
                  <a:gd name="T55" fmla="*/ 100 h 256"/>
                  <a:gd name="T56" fmla="*/ 88 w 200"/>
                  <a:gd name="T57" fmla="*/ 112 h 256"/>
                  <a:gd name="T58" fmla="*/ 100 w 200"/>
                  <a:gd name="T59" fmla="*/ 124 h 256"/>
                  <a:gd name="T60" fmla="*/ 76 w 200"/>
                  <a:gd name="T61" fmla="*/ 256 h 256"/>
                  <a:gd name="T62" fmla="*/ 83 w 200"/>
                  <a:gd name="T63" fmla="*/ 156 h 256"/>
                  <a:gd name="T64" fmla="*/ 100 w 200"/>
                  <a:gd name="T65" fmla="*/ 148 h 256"/>
                  <a:gd name="T66" fmla="*/ 117 w 200"/>
                  <a:gd name="T67" fmla="*/ 156 h 256"/>
                  <a:gd name="T68" fmla="*/ 124 w 200"/>
                  <a:gd name="T69" fmla="*/ 256 h 256"/>
                  <a:gd name="T70" fmla="*/ 125 w 200"/>
                  <a:gd name="T71" fmla="*/ 256 h 256"/>
                  <a:gd name="T72" fmla="*/ 76 w 200"/>
                  <a:gd name="T73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" h="256">
                    <a:moveTo>
                      <a:pt x="80" y="100"/>
                    </a:moveTo>
                    <a:cubicBezTo>
                      <a:pt x="81" y="88"/>
                      <a:pt x="82" y="70"/>
                      <a:pt x="83" y="56"/>
                    </a:cubicBezTo>
                    <a:cubicBezTo>
                      <a:pt x="84" y="42"/>
                      <a:pt x="85" y="30"/>
                      <a:pt x="87" y="21"/>
                    </a:cubicBezTo>
                    <a:cubicBezTo>
                      <a:pt x="88" y="16"/>
                      <a:pt x="89" y="12"/>
                      <a:pt x="90" y="9"/>
                    </a:cubicBezTo>
                    <a:cubicBezTo>
                      <a:pt x="92" y="3"/>
                      <a:pt x="94" y="0"/>
                      <a:pt x="100" y="0"/>
                    </a:cubicBezTo>
                    <a:cubicBezTo>
                      <a:pt x="106" y="0"/>
                      <a:pt x="108" y="3"/>
                      <a:pt x="110" y="9"/>
                    </a:cubicBezTo>
                    <a:cubicBezTo>
                      <a:pt x="111" y="12"/>
                      <a:pt x="112" y="16"/>
                      <a:pt x="113" y="21"/>
                    </a:cubicBezTo>
                    <a:cubicBezTo>
                      <a:pt x="115" y="30"/>
                      <a:pt x="116" y="42"/>
                      <a:pt x="117" y="56"/>
                    </a:cubicBezTo>
                    <a:cubicBezTo>
                      <a:pt x="118" y="70"/>
                      <a:pt x="119" y="88"/>
                      <a:pt x="120" y="100"/>
                    </a:cubicBezTo>
                    <a:cubicBezTo>
                      <a:pt x="130" y="107"/>
                      <a:pt x="145" y="117"/>
                      <a:pt x="157" y="125"/>
                    </a:cubicBezTo>
                    <a:cubicBezTo>
                      <a:pt x="169" y="133"/>
                      <a:pt x="178" y="140"/>
                      <a:pt x="185" y="145"/>
                    </a:cubicBezTo>
                    <a:cubicBezTo>
                      <a:pt x="189" y="149"/>
                      <a:pt x="192" y="151"/>
                      <a:pt x="194" y="154"/>
                    </a:cubicBezTo>
                    <a:cubicBezTo>
                      <a:pt x="198" y="159"/>
                      <a:pt x="200" y="162"/>
                      <a:pt x="197" y="168"/>
                    </a:cubicBezTo>
                    <a:cubicBezTo>
                      <a:pt x="194" y="173"/>
                      <a:pt x="190" y="173"/>
                      <a:pt x="184" y="172"/>
                    </a:cubicBezTo>
                    <a:cubicBezTo>
                      <a:pt x="180" y="171"/>
                      <a:pt x="176" y="170"/>
                      <a:pt x="172" y="168"/>
                    </a:cubicBezTo>
                    <a:cubicBezTo>
                      <a:pt x="163" y="165"/>
                      <a:pt x="153" y="160"/>
                      <a:pt x="140" y="154"/>
                    </a:cubicBezTo>
                    <a:cubicBezTo>
                      <a:pt x="127" y="148"/>
                      <a:pt x="111" y="140"/>
                      <a:pt x="100" y="134"/>
                    </a:cubicBezTo>
                    <a:cubicBezTo>
                      <a:pt x="89" y="140"/>
                      <a:pt x="73" y="148"/>
                      <a:pt x="60" y="154"/>
                    </a:cubicBezTo>
                    <a:cubicBezTo>
                      <a:pt x="47" y="160"/>
                      <a:pt x="37" y="165"/>
                      <a:pt x="28" y="168"/>
                    </a:cubicBezTo>
                    <a:cubicBezTo>
                      <a:pt x="24" y="170"/>
                      <a:pt x="20" y="171"/>
                      <a:pt x="16" y="172"/>
                    </a:cubicBezTo>
                    <a:cubicBezTo>
                      <a:pt x="10" y="173"/>
                      <a:pt x="6" y="173"/>
                      <a:pt x="3" y="168"/>
                    </a:cubicBezTo>
                    <a:cubicBezTo>
                      <a:pt x="0" y="162"/>
                      <a:pt x="2" y="159"/>
                      <a:pt x="6" y="154"/>
                    </a:cubicBezTo>
                    <a:cubicBezTo>
                      <a:pt x="8" y="151"/>
                      <a:pt x="11" y="149"/>
                      <a:pt x="15" y="145"/>
                    </a:cubicBezTo>
                    <a:cubicBezTo>
                      <a:pt x="22" y="140"/>
                      <a:pt x="31" y="133"/>
                      <a:pt x="43" y="125"/>
                    </a:cubicBezTo>
                    <a:cubicBezTo>
                      <a:pt x="55" y="117"/>
                      <a:pt x="70" y="107"/>
                      <a:pt x="80" y="100"/>
                    </a:cubicBezTo>
                    <a:close/>
                    <a:moveTo>
                      <a:pt x="100" y="124"/>
                    </a:moveTo>
                    <a:cubicBezTo>
                      <a:pt x="107" y="124"/>
                      <a:pt x="112" y="118"/>
                      <a:pt x="112" y="112"/>
                    </a:cubicBezTo>
                    <a:cubicBezTo>
                      <a:pt x="112" y="105"/>
                      <a:pt x="107" y="100"/>
                      <a:pt x="100" y="100"/>
                    </a:cubicBezTo>
                    <a:cubicBezTo>
                      <a:pt x="93" y="100"/>
                      <a:pt x="88" y="105"/>
                      <a:pt x="88" y="112"/>
                    </a:cubicBezTo>
                    <a:cubicBezTo>
                      <a:pt x="88" y="118"/>
                      <a:pt x="93" y="124"/>
                      <a:pt x="100" y="124"/>
                    </a:cubicBezTo>
                    <a:close/>
                    <a:moveTo>
                      <a:pt x="76" y="256"/>
                    </a:moveTo>
                    <a:cubicBezTo>
                      <a:pt x="83" y="156"/>
                      <a:pt x="83" y="156"/>
                      <a:pt x="83" y="156"/>
                    </a:cubicBezTo>
                    <a:cubicBezTo>
                      <a:pt x="89" y="153"/>
                      <a:pt x="95" y="151"/>
                      <a:pt x="100" y="148"/>
                    </a:cubicBezTo>
                    <a:cubicBezTo>
                      <a:pt x="105" y="151"/>
                      <a:pt x="111" y="153"/>
                      <a:pt x="117" y="156"/>
                    </a:cubicBezTo>
                    <a:cubicBezTo>
                      <a:pt x="124" y="256"/>
                      <a:pt x="124" y="256"/>
                      <a:pt x="124" y="256"/>
                    </a:cubicBezTo>
                    <a:cubicBezTo>
                      <a:pt x="125" y="256"/>
                      <a:pt x="125" y="256"/>
                      <a:pt x="125" y="256"/>
                    </a:cubicBezTo>
                    <a:lnTo>
                      <a:pt x="76" y="2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137" name="Espace réservé du contenu 8">
            <a:extLst>
              <a:ext uri="{FF2B5EF4-FFF2-40B4-BE49-F238E27FC236}">
                <a16:creationId xmlns:a16="http://schemas.microsoft.com/office/drawing/2014/main" xmlns="" id="{B577A116-FA0D-4F6E-B899-8F30DEE4DFB1}"/>
              </a:ext>
            </a:extLst>
          </p:cNvPr>
          <p:cNvSpPr txBox="1">
            <a:spLocks/>
          </p:cNvSpPr>
          <p:nvPr/>
        </p:nvSpPr>
        <p:spPr bwMode="gray">
          <a:xfrm>
            <a:off x="4493181" y="4112501"/>
            <a:ext cx="1861772" cy="378950"/>
          </a:xfrm>
          <a:prstGeom prst="rect">
            <a:avLst/>
          </a:prstGeom>
        </p:spPr>
        <p:txBody>
          <a:bodyPr vert="horz" wrap="square" lIns="72000" tIns="0" rIns="0" bIns="0" rtlCol="0" anchor="ctr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100" kern="0" dirty="0"/>
              <a:t>Item 3</a:t>
            </a:r>
          </a:p>
          <a:p>
            <a:pPr marL="0" indent="0">
              <a:lnSpc>
                <a:spcPct val="93000"/>
              </a:lnSpc>
              <a:spcBef>
                <a:spcPts val="500"/>
              </a:spcBef>
              <a:buClr>
                <a:srgbClr val="00AAFF"/>
              </a:buClr>
              <a:buNone/>
            </a:pPr>
            <a:r>
              <a:rPr lang="en-US" sz="1100" kern="0" dirty="0"/>
              <a:t>description</a:t>
            </a:r>
          </a:p>
        </p:txBody>
      </p:sp>
      <p:grpSp>
        <p:nvGrpSpPr>
          <p:cNvPr id="139" name="Groupe 138">
            <a:extLst>
              <a:ext uri="{FF2B5EF4-FFF2-40B4-BE49-F238E27FC236}">
                <a16:creationId xmlns:a16="http://schemas.microsoft.com/office/drawing/2014/main" xmlns="" id="{81A5E6A8-84F2-4F75-AD5E-D413146FFBB6}"/>
              </a:ext>
            </a:extLst>
          </p:cNvPr>
          <p:cNvGrpSpPr/>
          <p:nvPr/>
        </p:nvGrpSpPr>
        <p:grpSpPr>
          <a:xfrm>
            <a:off x="6508905" y="4037878"/>
            <a:ext cx="554820" cy="554820"/>
            <a:chOff x="7519972" y="387550"/>
            <a:chExt cx="648000" cy="648000"/>
          </a:xfrm>
        </p:grpSpPr>
        <p:sp>
          <p:nvSpPr>
            <p:cNvPr id="140" name="Ellipse 179">
              <a:extLst>
                <a:ext uri="{FF2B5EF4-FFF2-40B4-BE49-F238E27FC236}">
                  <a16:creationId xmlns:a16="http://schemas.microsoft.com/office/drawing/2014/main" xmlns="" id="{F36AF416-000F-40A9-AC9C-3ACEDA039F08}"/>
                </a:ext>
              </a:extLst>
            </p:cNvPr>
            <p:cNvSpPr/>
            <p:nvPr/>
          </p:nvSpPr>
          <p:spPr bwMode="gray">
            <a:xfrm>
              <a:off x="7519972" y="387550"/>
              <a:ext cx="648000" cy="64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pic>
          <p:nvPicPr>
            <p:cNvPr id="141" name="Image 140">
              <a:extLst>
                <a:ext uri="{FF2B5EF4-FFF2-40B4-BE49-F238E27FC236}">
                  <a16:creationId xmlns:a16="http://schemas.microsoft.com/office/drawing/2014/main" xmlns="" id="{0E6FD443-3048-4B22-8511-3CA0E3680C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6454" b="84026" l="28435" r="75240"/>
                      </a14:imgEffect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87" t="15472" r="23902" b="14895"/>
            <a:stretch/>
          </p:blipFill>
          <p:spPr>
            <a:xfrm>
              <a:off x="7674072" y="486682"/>
              <a:ext cx="339800" cy="44973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2" name="Espace réservé du contenu 8">
            <a:extLst>
              <a:ext uri="{FF2B5EF4-FFF2-40B4-BE49-F238E27FC236}">
                <a16:creationId xmlns:a16="http://schemas.microsoft.com/office/drawing/2014/main" xmlns="" id="{6DC03472-C784-4260-B9E0-15963ACCAABB}"/>
              </a:ext>
            </a:extLst>
          </p:cNvPr>
          <p:cNvSpPr txBox="1">
            <a:spLocks/>
          </p:cNvSpPr>
          <p:nvPr/>
        </p:nvSpPr>
        <p:spPr bwMode="gray">
          <a:xfrm>
            <a:off x="7059298" y="4115635"/>
            <a:ext cx="1760852" cy="378950"/>
          </a:xfrm>
          <a:prstGeom prst="rect">
            <a:avLst/>
          </a:prstGeom>
        </p:spPr>
        <p:txBody>
          <a:bodyPr vert="horz" wrap="square" lIns="72000" tIns="0" rIns="0" bIns="0" rtlCol="0" anchor="ctr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100" kern="0" dirty="0"/>
              <a:t>Item 4</a:t>
            </a:r>
          </a:p>
          <a:p>
            <a:pPr marL="0" indent="0">
              <a:lnSpc>
                <a:spcPct val="93000"/>
              </a:lnSpc>
              <a:spcBef>
                <a:spcPts val="500"/>
              </a:spcBef>
              <a:buClr>
                <a:srgbClr val="00AAFF"/>
              </a:buClr>
              <a:buNone/>
            </a:pPr>
            <a:r>
              <a:rPr lang="en-US" sz="1100" kern="0" dirty="0"/>
              <a:t>description</a:t>
            </a:r>
          </a:p>
        </p:txBody>
      </p:sp>
      <p:grpSp>
        <p:nvGrpSpPr>
          <p:cNvPr id="145" name="Groupe 144">
            <a:extLst>
              <a:ext uri="{FF2B5EF4-FFF2-40B4-BE49-F238E27FC236}">
                <a16:creationId xmlns:a16="http://schemas.microsoft.com/office/drawing/2014/main" xmlns="" id="{64581E32-CD4F-4FFB-AFB7-C86C0289FB9C}"/>
              </a:ext>
            </a:extLst>
          </p:cNvPr>
          <p:cNvGrpSpPr/>
          <p:nvPr/>
        </p:nvGrpSpPr>
        <p:grpSpPr>
          <a:xfrm>
            <a:off x="6896233" y="4763317"/>
            <a:ext cx="558974" cy="558974"/>
            <a:chOff x="3607849" y="3937745"/>
            <a:chExt cx="648000" cy="648000"/>
          </a:xfrm>
        </p:grpSpPr>
        <p:sp>
          <p:nvSpPr>
            <p:cNvPr id="146" name="Ellipse 179">
              <a:extLst>
                <a:ext uri="{FF2B5EF4-FFF2-40B4-BE49-F238E27FC236}">
                  <a16:creationId xmlns:a16="http://schemas.microsoft.com/office/drawing/2014/main" xmlns="" id="{5B406F8A-1619-453D-8515-3CC63EFA0EC5}"/>
                </a:ext>
              </a:extLst>
            </p:cNvPr>
            <p:cNvSpPr/>
            <p:nvPr/>
          </p:nvSpPr>
          <p:spPr bwMode="gray">
            <a:xfrm>
              <a:off x="3607849" y="3937745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sp>
          <p:nvSpPr>
            <p:cNvPr id="147" name="Freeform 21">
              <a:extLst>
                <a:ext uri="{FF2B5EF4-FFF2-40B4-BE49-F238E27FC236}">
                  <a16:creationId xmlns:a16="http://schemas.microsoft.com/office/drawing/2014/main" xmlns="" id="{D6F73859-48A6-472A-AD21-1CFEBD278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7904" y="4096396"/>
              <a:ext cx="437122" cy="292269"/>
            </a:xfrm>
            <a:custGeom>
              <a:avLst/>
              <a:gdLst>
                <a:gd name="T0" fmla="*/ 330 w 774"/>
                <a:gd name="T1" fmla="*/ 520 h 520"/>
                <a:gd name="T2" fmla="*/ 638 w 774"/>
                <a:gd name="T3" fmla="*/ 257 h 520"/>
                <a:gd name="T4" fmla="*/ 629 w 774"/>
                <a:gd name="T5" fmla="*/ 245 h 520"/>
                <a:gd name="T6" fmla="*/ 618 w 774"/>
                <a:gd name="T7" fmla="*/ 233 h 520"/>
                <a:gd name="T8" fmla="*/ 588 w 774"/>
                <a:gd name="T9" fmla="*/ 520 h 520"/>
                <a:gd name="T10" fmla="*/ 771 w 774"/>
                <a:gd name="T11" fmla="*/ 379 h 520"/>
                <a:gd name="T12" fmla="*/ 765 w 774"/>
                <a:gd name="T13" fmla="*/ 364 h 520"/>
                <a:gd name="T14" fmla="*/ 757 w 774"/>
                <a:gd name="T15" fmla="*/ 351 h 520"/>
                <a:gd name="T16" fmla="*/ 653 w 774"/>
                <a:gd name="T17" fmla="*/ 302 h 520"/>
                <a:gd name="T18" fmla="*/ 650 w 774"/>
                <a:gd name="T19" fmla="*/ 286 h 520"/>
                <a:gd name="T20" fmla="*/ 459 w 774"/>
                <a:gd name="T21" fmla="*/ 520 h 520"/>
                <a:gd name="T22" fmla="*/ 677 w 774"/>
                <a:gd name="T23" fmla="*/ 302 h 520"/>
                <a:gd name="T24" fmla="*/ 666 w 774"/>
                <a:gd name="T25" fmla="*/ 302 h 520"/>
                <a:gd name="T26" fmla="*/ 674 w 774"/>
                <a:gd name="T27" fmla="*/ 520 h 520"/>
                <a:gd name="T28" fmla="*/ 694 w 774"/>
                <a:gd name="T29" fmla="*/ 515 h 520"/>
                <a:gd name="T30" fmla="*/ 729 w 774"/>
                <a:gd name="T31" fmla="*/ 500 h 520"/>
                <a:gd name="T32" fmla="*/ 756 w 774"/>
                <a:gd name="T33" fmla="*/ 473 h 520"/>
                <a:gd name="T34" fmla="*/ 771 w 774"/>
                <a:gd name="T35" fmla="*/ 438 h 520"/>
                <a:gd name="T36" fmla="*/ 774 w 774"/>
                <a:gd name="T37" fmla="*/ 419 h 520"/>
                <a:gd name="T38" fmla="*/ 710 w 774"/>
                <a:gd name="T39" fmla="*/ 311 h 520"/>
                <a:gd name="T40" fmla="*/ 545 w 774"/>
                <a:gd name="T41" fmla="*/ 520 h 520"/>
                <a:gd name="T42" fmla="*/ 736 w 774"/>
                <a:gd name="T43" fmla="*/ 328 h 520"/>
                <a:gd name="T44" fmla="*/ 710 w 774"/>
                <a:gd name="T45" fmla="*/ 311 h 520"/>
                <a:gd name="T46" fmla="*/ 556 w 774"/>
                <a:gd name="T47" fmla="*/ 206 h 520"/>
                <a:gd name="T48" fmla="*/ 554 w 774"/>
                <a:gd name="T49" fmla="*/ 184 h 520"/>
                <a:gd name="T50" fmla="*/ 544 w 774"/>
                <a:gd name="T51" fmla="*/ 144 h 520"/>
                <a:gd name="T52" fmla="*/ 527 w 774"/>
                <a:gd name="T53" fmla="*/ 107 h 520"/>
                <a:gd name="T54" fmla="*/ 503 w 774"/>
                <a:gd name="T55" fmla="*/ 74 h 520"/>
                <a:gd name="T56" fmla="*/ 474 w 774"/>
                <a:gd name="T57" fmla="*/ 47 h 520"/>
                <a:gd name="T58" fmla="*/ 439 w 774"/>
                <a:gd name="T59" fmla="*/ 24 h 520"/>
                <a:gd name="T60" fmla="*/ 401 w 774"/>
                <a:gd name="T61" fmla="*/ 9 h 520"/>
                <a:gd name="T62" fmla="*/ 360 w 774"/>
                <a:gd name="T63" fmla="*/ 2 h 520"/>
                <a:gd name="T64" fmla="*/ 339 w 774"/>
                <a:gd name="T65" fmla="*/ 0 h 520"/>
                <a:gd name="T66" fmla="*/ 297 w 774"/>
                <a:gd name="T67" fmla="*/ 3 h 520"/>
                <a:gd name="T68" fmla="*/ 257 w 774"/>
                <a:gd name="T69" fmla="*/ 15 h 520"/>
                <a:gd name="T70" fmla="*/ 223 w 774"/>
                <a:gd name="T71" fmla="*/ 33 h 520"/>
                <a:gd name="T72" fmla="*/ 191 w 774"/>
                <a:gd name="T73" fmla="*/ 57 h 520"/>
                <a:gd name="T74" fmla="*/ 165 w 774"/>
                <a:gd name="T75" fmla="*/ 86 h 520"/>
                <a:gd name="T76" fmla="*/ 144 w 774"/>
                <a:gd name="T77" fmla="*/ 121 h 520"/>
                <a:gd name="T78" fmla="*/ 129 w 774"/>
                <a:gd name="T79" fmla="*/ 159 h 520"/>
                <a:gd name="T80" fmla="*/ 121 w 774"/>
                <a:gd name="T81" fmla="*/ 198 h 520"/>
                <a:gd name="T82" fmla="*/ 109 w 774"/>
                <a:gd name="T83" fmla="*/ 203 h 520"/>
                <a:gd name="T84" fmla="*/ 85 w 774"/>
                <a:gd name="T85" fmla="*/ 213 h 520"/>
                <a:gd name="T86" fmla="*/ 62 w 774"/>
                <a:gd name="T87" fmla="*/ 228 h 520"/>
                <a:gd name="T88" fmla="*/ 42 w 774"/>
                <a:gd name="T89" fmla="*/ 246 h 520"/>
                <a:gd name="T90" fmla="*/ 27 w 774"/>
                <a:gd name="T91" fmla="*/ 268 h 520"/>
                <a:gd name="T92" fmla="*/ 14 w 774"/>
                <a:gd name="T93" fmla="*/ 290 h 520"/>
                <a:gd name="T94" fmla="*/ 5 w 774"/>
                <a:gd name="T95" fmla="*/ 316 h 520"/>
                <a:gd name="T96" fmla="*/ 0 w 774"/>
                <a:gd name="T97" fmla="*/ 343 h 520"/>
                <a:gd name="T98" fmla="*/ 0 w 774"/>
                <a:gd name="T99" fmla="*/ 357 h 520"/>
                <a:gd name="T100" fmla="*/ 3 w 774"/>
                <a:gd name="T101" fmla="*/ 388 h 520"/>
                <a:gd name="T102" fmla="*/ 12 w 774"/>
                <a:gd name="T103" fmla="*/ 419 h 520"/>
                <a:gd name="T104" fmla="*/ 26 w 774"/>
                <a:gd name="T105" fmla="*/ 446 h 520"/>
                <a:gd name="T106" fmla="*/ 45 w 774"/>
                <a:gd name="T107" fmla="*/ 470 h 520"/>
                <a:gd name="T108" fmla="*/ 70 w 774"/>
                <a:gd name="T109" fmla="*/ 490 h 520"/>
                <a:gd name="T110" fmla="*/ 95 w 774"/>
                <a:gd name="T111" fmla="*/ 505 h 520"/>
                <a:gd name="T112" fmla="*/ 126 w 774"/>
                <a:gd name="T113" fmla="*/ 515 h 520"/>
                <a:gd name="T114" fmla="*/ 158 w 774"/>
                <a:gd name="T115" fmla="*/ 520 h 520"/>
                <a:gd name="T116" fmla="*/ 592 w 774"/>
                <a:gd name="T117" fmla="*/ 216 h 520"/>
                <a:gd name="T118" fmla="*/ 576 w 774"/>
                <a:gd name="T119" fmla="*/ 210 h 520"/>
                <a:gd name="T120" fmla="*/ 556 w 774"/>
                <a:gd name="T121" fmla="*/ 20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4" h="520">
                  <a:moveTo>
                    <a:pt x="618" y="233"/>
                  </a:moveTo>
                  <a:lnTo>
                    <a:pt x="330" y="520"/>
                  </a:lnTo>
                  <a:lnTo>
                    <a:pt x="374" y="520"/>
                  </a:lnTo>
                  <a:lnTo>
                    <a:pt x="638" y="257"/>
                  </a:lnTo>
                  <a:lnTo>
                    <a:pt x="638" y="257"/>
                  </a:lnTo>
                  <a:lnTo>
                    <a:pt x="629" y="245"/>
                  </a:lnTo>
                  <a:lnTo>
                    <a:pt x="618" y="233"/>
                  </a:lnTo>
                  <a:lnTo>
                    <a:pt x="618" y="233"/>
                  </a:lnTo>
                  <a:close/>
                  <a:moveTo>
                    <a:pt x="757" y="351"/>
                  </a:moveTo>
                  <a:lnTo>
                    <a:pt x="588" y="520"/>
                  </a:lnTo>
                  <a:lnTo>
                    <a:pt x="630" y="520"/>
                  </a:lnTo>
                  <a:lnTo>
                    <a:pt x="771" y="379"/>
                  </a:lnTo>
                  <a:lnTo>
                    <a:pt x="771" y="379"/>
                  </a:lnTo>
                  <a:lnTo>
                    <a:pt x="765" y="364"/>
                  </a:lnTo>
                  <a:lnTo>
                    <a:pt x="757" y="351"/>
                  </a:lnTo>
                  <a:lnTo>
                    <a:pt x="757" y="351"/>
                  </a:lnTo>
                  <a:close/>
                  <a:moveTo>
                    <a:pt x="666" y="302"/>
                  </a:moveTo>
                  <a:lnTo>
                    <a:pt x="653" y="302"/>
                  </a:lnTo>
                  <a:lnTo>
                    <a:pt x="653" y="302"/>
                  </a:lnTo>
                  <a:lnTo>
                    <a:pt x="650" y="286"/>
                  </a:lnTo>
                  <a:lnTo>
                    <a:pt x="417" y="520"/>
                  </a:lnTo>
                  <a:lnTo>
                    <a:pt x="459" y="520"/>
                  </a:lnTo>
                  <a:lnTo>
                    <a:pt x="677" y="302"/>
                  </a:lnTo>
                  <a:lnTo>
                    <a:pt x="677" y="302"/>
                  </a:lnTo>
                  <a:lnTo>
                    <a:pt x="666" y="302"/>
                  </a:lnTo>
                  <a:lnTo>
                    <a:pt x="666" y="302"/>
                  </a:lnTo>
                  <a:close/>
                  <a:moveTo>
                    <a:pt x="674" y="520"/>
                  </a:moveTo>
                  <a:lnTo>
                    <a:pt x="674" y="520"/>
                  </a:lnTo>
                  <a:lnTo>
                    <a:pt x="683" y="518"/>
                  </a:lnTo>
                  <a:lnTo>
                    <a:pt x="694" y="515"/>
                  </a:lnTo>
                  <a:lnTo>
                    <a:pt x="712" y="509"/>
                  </a:lnTo>
                  <a:lnTo>
                    <a:pt x="729" y="500"/>
                  </a:lnTo>
                  <a:lnTo>
                    <a:pt x="744" y="488"/>
                  </a:lnTo>
                  <a:lnTo>
                    <a:pt x="756" y="473"/>
                  </a:lnTo>
                  <a:lnTo>
                    <a:pt x="765" y="457"/>
                  </a:lnTo>
                  <a:lnTo>
                    <a:pt x="771" y="438"/>
                  </a:lnTo>
                  <a:lnTo>
                    <a:pt x="774" y="429"/>
                  </a:lnTo>
                  <a:lnTo>
                    <a:pt x="774" y="419"/>
                  </a:lnTo>
                  <a:lnTo>
                    <a:pt x="674" y="520"/>
                  </a:lnTo>
                  <a:close/>
                  <a:moveTo>
                    <a:pt x="710" y="311"/>
                  </a:moveTo>
                  <a:lnTo>
                    <a:pt x="501" y="520"/>
                  </a:lnTo>
                  <a:lnTo>
                    <a:pt x="545" y="520"/>
                  </a:lnTo>
                  <a:lnTo>
                    <a:pt x="736" y="328"/>
                  </a:lnTo>
                  <a:lnTo>
                    <a:pt x="736" y="328"/>
                  </a:lnTo>
                  <a:lnTo>
                    <a:pt x="724" y="319"/>
                  </a:lnTo>
                  <a:lnTo>
                    <a:pt x="710" y="311"/>
                  </a:lnTo>
                  <a:lnTo>
                    <a:pt x="710" y="311"/>
                  </a:lnTo>
                  <a:close/>
                  <a:moveTo>
                    <a:pt x="556" y="206"/>
                  </a:moveTo>
                  <a:lnTo>
                    <a:pt x="556" y="206"/>
                  </a:lnTo>
                  <a:lnTo>
                    <a:pt x="554" y="184"/>
                  </a:lnTo>
                  <a:lnTo>
                    <a:pt x="550" y="165"/>
                  </a:lnTo>
                  <a:lnTo>
                    <a:pt x="544" y="144"/>
                  </a:lnTo>
                  <a:lnTo>
                    <a:pt x="536" y="125"/>
                  </a:lnTo>
                  <a:lnTo>
                    <a:pt x="527" y="107"/>
                  </a:lnTo>
                  <a:lnTo>
                    <a:pt x="517" y="91"/>
                  </a:lnTo>
                  <a:lnTo>
                    <a:pt x="503" y="74"/>
                  </a:lnTo>
                  <a:lnTo>
                    <a:pt x="489" y="60"/>
                  </a:lnTo>
                  <a:lnTo>
                    <a:pt x="474" y="47"/>
                  </a:lnTo>
                  <a:lnTo>
                    <a:pt x="457" y="35"/>
                  </a:lnTo>
                  <a:lnTo>
                    <a:pt x="439" y="24"/>
                  </a:lnTo>
                  <a:lnTo>
                    <a:pt x="421" y="15"/>
                  </a:lnTo>
                  <a:lnTo>
                    <a:pt x="401" y="9"/>
                  </a:lnTo>
                  <a:lnTo>
                    <a:pt x="382" y="5"/>
                  </a:lnTo>
                  <a:lnTo>
                    <a:pt x="360" y="2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18" y="2"/>
                  </a:lnTo>
                  <a:lnTo>
                    <a:pt x="297" y="3"/>
                  </a:lnTo>
                  <a:lnTo>
                    <a:pt x="277" y="9"/>
                  </a:lnTo>
                  <a:lnTo>
                    <a:pt x="257" y="15"/>
                  </a:lnTo>
                  <a:lnTo>
                    <a:pt x="239" y="24"/>
                  </a:lnTo>
                  <a:lnTo>
                    <a:pt x="223" y="33"/>
                  </a:lnTo>
                  <a:lnTo>
                    <a:pt x="206" y="45"/>
                  </a:lnTo>
                  <a:lnTo>
                    <a:pt x="191" y="57"/>
                  </a:lnTo>
                  <a:lnTo>
                    <a:pt x="177" y="71"/>
                  </a:lnTo>
                  <a:lnTo>
                    <a:pt x="165" y="86"/>
                  </a:lnTo>
                  <a:lnTo>
                    <a:pt x="153" y="103"/>
                  </a:lnTo>
                  <a:lnTo>
                    <a:pt x="144" y="121"/>
                  </a:lnTo>
                  <a:lnTo>
                    <a:pt x="135" y="139"/>
                  </a:lnTo>
                  <a:lnTo>
                    <a:pt x="129" y="159"/>
                  </a:lnTo>
                  <a:lnTo>
                    <a:pt x="124" y="17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09" y="203"/>
                  </a:lnTo>
                  <a:lnTo>
                    <a:pt x="95" y="207"/>
                  </a:lnTo>
                  <a:lnTo>
                    <a:pt x="85" y="213"/>
                  </a:lnTo>
                  <a:lnTo>
                    <a:pt x="73" y="221"/>
                  </a:lnTo>
                  <a:lnTo>
                    <a:pt x="62" y="228"/>
                  </a:lnTo>
                  <a:lnTo>
                    <a:pt x="51" y="237"/>
                  </a:lnTo>
                  <a:lnTo>
                    <a:pt x="42" y="246"/>
                  </a:lnTo>
                  <a:lnTo>
                    <a:pt x="35" y="255"/>
                  </a:lnTo>
                  <a:lnTo>
                    <a:pt x="27" y="268"/>
                  </a:lnTo>
                  <a:lnTo>
                    <a:pt x="20" y="278"/>
                  </a:lnTo>
                  <a:lnTo>
                    <a:pt x="14" y="290"/>
                  </a:lnTo>
                  <a:lnTo>
                    <a:pt x="9" y="302"/>
                  </a:lnTo>
                  <a:lnTo>
                    <a:pt x="5" y="316"/>
                  </a:lnTo>
                  <a:lnTo>
                    <a:pt x="2" y="330"/>
                  </a:lnTo>
                  <a:lnTo>
                    <a:pt x="0" y="343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73"/>
                  </a:lnTo>
                  <a:lnTo>
                    <a:pt x="3" y="388"/>
                  </a:lnTo>
                  <a:lnTo>
                    <a:pt x="6" y="404"/>
                  </a:lnTo>
                  <a:lnTo>
                    <a:pt x="12" y="419"/>
                  </a:lnTo>
                  <a:lnTo>
                    <a:pt x="18" y="432"/>
                  </a:lnTo>
                  <a:lnTo>
                    <a:pt x="26" y="446"/>
                  </a:lnTo>
                  <a:lnTo>
                    <a:pt x="35" y="458"/>
                  </a:lnTo>
                  <a:lnTo>
                    <a:pt x="45" y="470"/>
                  </a:lnTo>
                  <a:lnTo>
                    <a:pt x="58" y="481"/>
                  </a:lnTo>
                  <a:lnTo>
                    <a:pt x="70" y="490"/>
                  </a:lnTo>
                  <a:lnTo>
                    <a:pt x="82" y="499"/>
                  </a:lnTo>
                  <a:lnTo>
                    <a:pt x="95" y="505"/>
                  </a:lnTo>
                  <a:lnTo>
                    <a:pt x="111" y="511"/>
                  </a:lnTo>
                  <a:lnTo>
                    <a:pt x="126" y="515"/>
                  </a:lnTo>
                  <a:lnTo>
                    <a:pt x="141" y="518"/>
                  </a:lnTo>
                  <a:lnTo>
                    <a:pt x="158" y="520"/>
                  </a:lnTo>
                  <a:lnTo>
                    <a:pt x="288" y="520"/>
                  </a:lnTo>
                  <a:lnTo>
                    <a:pt x="592" y="216"/>
                  </a:lnTo>
                  <a:lnTo>
                    <a:pt x="592" y="216"/>
                  </a:lnTo>
                  <a:lnTo>
                    <a:pt x="576" y="210"/>
                  </a:lnTo>
                  <a:lnTo>
                    <a:pt x="556" y="206"/>
                  </a:lnTo>
                  <a:lnTo>
                    <a:pt x="556" y="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48" name="Espace réservé du contenu 8">
            <a:extLst>
              <a:ext uri="{FF2B5EF4-FFF2-40B4-BE49-F238E27FC236}">
                <a16:creationId xmlns:a16="http://schemas.microsoft.com/office/drawing/2014/main" xmlns="" id="{AA25023F-D737-4352-81A6-CE6D81B8C92C}"/>
              </a:ext>
            </a:extLst>
          </p:cNvPr>
          <p:cNvSpPr txBox="1">
            <a:spLocks/>
          </p:cNvSpPr>
          <p:nvPr/>
        </p:nvSpPr>
        <p:spPr bwMode="gray">
          <a:xfrm>
            <a:off x="7410822" y="4851253"/>
            <a:ext cx="1553666" cy="378950"/>
          </a:xfrm>
          <a:prstGeom prst="rect">
            <a:avLst/>
          </a:prstGeom>
        </p:spPr>
        <p:txBody>
          <a:bodyPr vert="horz" wrap="square" lIns="72000" tIns="0" rIns="0" bIns="0" rtlCol="0" anchor="ctr" anchorCtr="0">
            <a:spAutoFit/>
          </a:bodyPr>
          <a:lstStyle>
            <a:lvl1pPr marL="294002" indent="-294002">
              <a:lnSpc>
                <a:spcPct val="100000"/>
              </a:lnSpc>
              <a:spcBef>
                <a:spcPts val="1167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n"/>
              <a:defRPr sz="2200" baseline="0"/>
            </a:lvl1pPr>
            <a:lvl2pPr marL="598488" lvl="1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n"/>
              <a:defRPr sz="1900"/>
            </a:lvl2pPr>
            <a:lvl3pPr marL="890588" indent="-2936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n"/>
              <a:defRPr sz="1900"/>
            </a:lvl3pPr>
            <a:lvl4pPr marL="1350963" indent="-3714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—"/>
              <a:defRPr sz="1700"/>
            </a:lvl4pPr>
            <a:lvl5pPr marL="1606550" indent="-2492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500"/>
            </a:lvl5pPr>
            <a:lvl6pPr marL="3666903" indent="-333355">
              <a:spcBef>
                <a:spcPct val="20000"/>
              </a:spcBef>
              <a:buFont typeface="Arial" pitchFamily="34" charset="0"/>
              <a:buChar char="•"/>
              <a:defRPr sz="2900"/>
            </a:lvl6pPr>
            <a:lvl7pPr marL="4333614" indent="-333355">
              <a:spcBef>
                <a:spcPct val="20000"/>
              </a:spcBef>
              <a:buFont typeface="Arial" pitchFamily="34" charset="0"/>
              <a:buChar char="•"/>
              <a:defRPr sz="2900"/>
            </a:lvl7pPr>
            <a:lvl8pPr marL="5000324" indent="-333355">
              <a:spcBef>
                <a:spcPct val="20000"/>
              </a:spcBef>
              <a:buFont typeface="Arial" pitchFamily="34" charset="0"/>
              <a:buChar char="•"/>
              <a:defRPr sz="2900"/>
            </a:lvl8pPr>
            <a:lvl9pPr marL="5667033" indent="-333355">
              <a:spcBef>
                <a:spcPct val="20000"/>
              </a:spcBef>
              <a:buFont typeface="Arial" pitchFamily="34" charset="0"/>
              <a:buChar char="•"/>
              <a:defRPr sz="2900"/>
            </a:lvl9pPr>
          </a:lstStyle>
          <a:p>
            <a:pPr marL="0" indent="0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  <a:buNone/>
            </a:pPr>
            <a:r>
              <a:rPr lang="en-US" sz="1100" kern="0" dirty="0"/>
              <a:t>Item 5</a:t>
            </a:r>
          </a:p>
          <a:p>
            <a:pPr marL="0" indent="0">
              <a:lnSpc>
                <a:spcPct val="93000"/>
              </a:lnSpc>
              <a:spcBef>
                <a:spcPts val="500"/>
              </a:spcBef>
              <a:buClr>
                <a:srgbClr val="00AAFF"/>
              </a:buClr>
              <a:buNone/>
            </a:pPr>
            <a:r>
              <a:rPr lang="en-US" sz="1100" kern="0" dirty="0"/>
              <a:t>descrip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xmlns="" id="{30C81568-CEDA-43EE-8ABD-730B3F500DAD}"/>
              </a:ext>
            </a:extLst>
          </p:cNvPr>
          <p:cNvCxnSpPr>
            <a:stCxn id="96" idx="6"/>
          </p:cNvCxnSpPr>
          <p:nvPr/>
        </p:nvCxnSpPr>
        <p:spPr>
          <a:xfrm flipV="1">
            <a:off x="895048" y="2856802"/>
            <a:ext cx="1704127" cy="2"/>
          </a:xfrm>
          <a:prstGeom prst="line">
            <a:avLst/>
          </a:prstGeom>
          <a:ln w="19050" cap="rnd">
            <a:solidFill>
              <a:schemeClr val="accent2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onnecteur droit 149">
            <a:extLst>
              <a:ext uri="{FF2B5EF4-FFF2-40B4-BE49-F238E27FC236}">
                <a16:creationId xmlns:a16="http://schemas.microsoft.com/office/drawing/2014/main" xmlns="" id="{51227009-D20F-41CA-8D7C-9025BD33CE4A}"/>
              </a:ext>
            </a:extLst>
          </p:cNvPr>
          <p:cNvCxnSpPr>
            <a:cxnSpLocks/>
          </p:cNvCxnSpPr>
          <p:nvPr/>
        </p:nvCxnSpPr>
        <p:spPr>
          <a:xfrm>
            <a:off x="895048" y="3576999"/>
            <a:ext cx="7853417" cy="0"/>
          </a:xfrm>
          <a:prstGeom prst="line">
            <a:avLst/>
          </a:prstGeom>
          <a:ln w="19050" cap="rnd">
            <a:solidFill>
              <a:schemeClr val="tx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eur droit 150">
            <a:extLst>
              <a:ext uri="{FF2B5EF4-FFF2-40B4-BE49-F238E27FC236}">
                <a16:creationId xmlns:a16="http://schemas.microsoft.com/office/drawing/2014/main" xmlns="" id="{7B33D4E2-DB55-4969-A957-6BA9CC492EA8}"/>
              </a:ext>
            </a:extLst>
          </p:cNvPr>
          <p:cNvCxnSpPr>
            <a:cxnSpLocks/>
          </p:cNvCxnSpPr>
          <p:nvPr/>
        </p:nvCxnSpPr>
        <p:spPr>
          <a:xfrm>
            <a:off x="4480332" y="4315151"/>
            <a:ext cx="1874620" cy="0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eur droit 153">
            <a:extLst>
              <a:ext uri="{FF2B5EF4-FFF2-40B4-BE49-F238E27FC236}">
                <a16:creationId xmlns:a16="http://schemas.microsoft.com/office/drawing/2014/main" xmlns="" id="{D3D8E722-4DE7-4E5E-AE0B-64F72507A9D5}"/>
              </a:ext>
            </a:extLst>
          </p:cNvPr>
          <p:cNvCxnSpPr>
            <a:cxnSpLocks/>
            <a:stCxn id="140" idx="6"/>
          </p:cNvCxnSpPr>
          <p:nvPr/>
        </p:nvCxnSpPr>
        <p:spPr>
          <a:xfrm flipV="1">
            <a:off x="7063726" y="4315152"/>
            <a:ext cx="1684739" cy="136"/>
          </a:xfrm>
          <a:prstGeom prst="line">
            <a:avLst/>
          </a:prstGeom>
          <a:ln w="19050" cap="rnd">
            <a:solidFill>
              <a:schemeClr val="accent3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eur droit 157">
            <a:extLst>
              <a:ext uri="{FF2B5EF4-FFF2-40B4-BE49-F238E27FC236}">
                <a16:creationId xmlns:a16="http://schemas.microsoft.com/office/drawing/2014/main" xmlns="" id="{9428F2A1-8264-438F-AB1F-5DE9A42D8E25}"/>
              </a:ext>
            </a:extLst>
          </p:cNvPr>
          <p:cNvCxnSpPr>
            <a:cxnSpLocks/>
            <a:stCxn id="146" idx="6"/>
          </p:cNvCxnSpPr>
          <p:nvPr/>
        </p:nvCxnSpPr>
        <p:spPr>
          <a:xfrm flipV="1">
            <a:off x="7455208" y="5040728"/>
            <a:ext cx="1293257" cy="2076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e 178">
            <a:extLst>
              <a:ext uri="{FF2B5EF4-FFF2-40B4-BE49-F238E27FC236}">
                <a16:creationId xmlns:a16="http://schemas.microsoft.com/office/drawing/2014/main" xmlns="" id="{29655444-464E-4761-BE10-DCFF8B01778F}"/>
              </a:ext>
            </a:extLst>
          </p:cNvPr>
          <p:cNvGrpSpPr/>
          <p:nvPr/>
        </p:nvGrpSpPr>
        <p:grpSpPr>
          <a:xfrm>
            <a:off x="8727483" y="2023624"/>
            <a:ext cx="121877" cy="96802"/>
            <a:chOff x="8660224" y="1350947"/>
            <a:chExt cx="121877" cy="96802"/>
          </a:xfrm>
        </p:grpSpPr>
        <p:grpSp>
          <p:nvGrpSpPr>
            <p:cNvPr id="175" name="Groupe 174">
              <a:extLst>
                <a:ext uri="{FF2B5EF4-FFF2-40B4-BE49-F238E27FC236}">
                  <a16:creationId xmlns:a16="http://schemas.microsoft.com/office/drawing/2014/main" xmlns="" id="{6DB383C0-EB21-448D-8933-8C5B048AE137}"/>
                </a:ext>
              </a:extLst>
            </p:cNvPr>
            <p:cNvGrpSpPr/>
            <p:nvPr/>
          </p:nvGrpSpPr>
          <p:grpSpPr>
            <a:xfrm rot="10800000" flipH="1">
              <a:off x="8733845" y="1350947"/>
              <a:ext cx="48256" cy="96802"/>
              <a:chOff x="8510359" y="970528"/>
              <a:chExt cx="275041" cy="551743"/>
            </a:xfrm>
          </p:grpSpPr>
          <p:cxnSp>
            <p:nvCxnSpPr>
              <p:cNvPr id="173" name="Connecteur droit avec flèche 172">
                <a:extLst>
                  <a:ext uri="{FF2B5EF4-FFF2-40B4-BE49-F238E27FC236}">
                    <a16:creationId xmlns:a16="http://schemas.microsoft.com/office/drawing/2014/main" xmlns="" id="{7837B23C-036C-41CA-829F-1A89A0565C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511516" y="970528"/>
                <a:ext cx="273884" cy="273885"/>
              </a:xfrm>
              <a:prstGeom prst="straightConnector1">
                <a:avLst/>
              </a:prstGeom>
              <a:ln w="25400" cap="rnd">
                <a:solidFill>
                  <a:schemeClr val="bg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Connecteur droit avec flèche 173">
                <a:extLst>
                  <a:ext uri="{FF2B5EF4-FFF2-40B4-BE49-F238E27FC236}">
                    <a16:creationId xmlns:a16="http://schemas.microsoft.com/office/drawing/2014/main" xmlns="" id="{70DE6C4A-BD1C-4DB2-A28C-5407A15F02D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8510360" y="1248386"/>
                <a:ext cx="273884" cy="273885"/>
              </a:xfrm>
              <a:prstGeom prst="straightConnector1">
                <a:avLst/>
              </a:prstGeom>
              <a:ln w="25400" cap="rnd">
                <a:solidFill>
                  <a:schemeClr val="bg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6" name="Groupe 175">
              <a:extLst>
                <a:ext uri="{FF2B5EF4-FFF2-40B4-BE49-F238E27FC236}">
                  <a16:creationId xmlns:a16="http://schemas.microsoft.com/office/drawing/2014/main" xmlns="" id="{461030DD-4943-4E94-BC9E-D53F669D7903}"/>
                </a:ext>
              </a:extLst>
            </p:cNvPr>
            <p:cNvGrpSpPr/>
            <p:nvPr/>
          </p:nvGrpSpPr>
          <p:grpSpPr>
            <a:xfrm rot="10800000" flipH="1">
              <a:off x="8660224" y="1350947"/>
              <a:ext cx="48256" cy="96802"/>
              <a:chOff x="8510359" y="970528"/>
              <a:chExt cx="275041" cy="551743"/>
            </a:xfrm>
          </p:grpSpPr>
          <p:cxnSp>
            <p:nvCxnSpPr>
              <p:cNvPr id="177" name="Connecteur droit avec flèche 176">
                <a:extLst>
                  <a:ext uri="{FF2B5EF4-FFF2-40B4-BE49-F238E27FC236}">
                    <a16:creationId xmlns:a16="http://schemas.microsoft.com/office/drawing/2014/main" xmlns="" id="{FAA3C776-409B-4680-8F8F-D12DF81C07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511516" y="970528"/>
                <a:ext cx="273884" cy="273885"/>
              </a:xfrm>
              <a:prstGeom prst="straightConnector1">
                <a:avLst/>
              </a:prstGeom>
              <a:ln w="25400" cap="rnd">
                <a:solidFill>
                  <a:schemeClr val="bg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Connecteur droit avec flèche 177">
                <a:extLst>
                  <a:ext uri="{FF2B5EF4-FFF2-40B4-BE49-F238E27FC236}">
                    <a16:creationId xmlns:a16="http://schemas.microsoft.com/office/drawing/2014/main" xmlns="" id="{01EA09F8-2D50-44D9-A8F0-B7E44329E57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8510360" y="1248386"/>
                <a:ext cx="273884" cy="273885"/>
              </a:xfrm>
              <a:prstGeom prst="straightConnector1">
                <a:avLst/>
              </a:prstGeom>
              <a:ln w="25400" cap="rnd">
                <a:solidFill>
                  <a:schemeClr val="bg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7" name="Espace réservé de la date 7">
            <a:extLst>
              <a:ext uri="{FF2B5EF4-FFF2-40B4-BE49-F238E27FC236}">
                <a16:creationId xmlns:a16="http://schemas.microsoft.com/office/drawing/2014/main" xmlns="" id="{55C1FAA4-49A7-4509-BBDC-7A8DF601BD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78" name="Espace réservé du pied de page 9">
            <a:extLst>
              <a:ext uri="{FF2B5EF4-FFF2-40B4-BE49-F238E27FC236}">
                <a16:creationId xmlns:a16="http://schemas.microsoft.com/office/drawing/2014/main" xmlns="" id="{EFF01255-2AFB-433B-B92B-7E7C9375A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5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EB99C69-5F5B-4502-B320-60758B575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all" dirty="0"/>
              <a:t>Graph + </a:t>
            </a:r>
            <a:r>
              <a:rPr lang="en-US" cap="all" dirty="0" err="1"/>
              <a:t>bulletpoint</a:t>
            </a:r>
            <a:r>
              <a:rPr lang="en-US" cap="all" dirty="0"/>
              <a:t> + legend </a:t>
            </a:r>
            <a:endParaRPr lang="fr-BE" cap="all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3F42EBF7-F232-4E7E-B9B1-DA8C89326C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01AAA40B-6333-4907-A5D8-FB69D3182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E54E4FA0-BA55-4C81-99C3-C74CDCB0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26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Rectangle à coins arrondis 6">
            <a:extLst>
              <a:ext uri="{FF2B5EF4-FFF2-40B4-BE49-F238E27FC236}">
                <a16:creationId xmlns:a16="http://schemas.microsoft.com/office/drawing/2014/main" xmlns="" id="{A439A8EA-CF1F-4728-A323-298876EC3C75}"/>
              </a:ext>
            </a:extLst>
          </p:cNvPr>
          <p:cNvSpPr>
            <a:spLocks/>
          </p:cNvSpPr>
          <p:nvPr/>
        </p:nvSpPr>
        <p:spPr bwMode="gray">
          <a:xfrm>
            <a:off x="297180" y="1988840"/>
            <a:ext cx="2602371" cy="37883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000" b="1" cap="all" dirty="0">
                <a:solidFill>
                  <a:schemeClr val="bg1"/>
                </a:solidFill>
              </a:rPr>
              <a:t>xxx</a:t>
            </a:r>
          </a:p>
        </p:txBody>
      </p:sp>
      <p:sp>
        <p:nvSpPr>
          <p:cNvPr id="7" name="Rectangle à coins arrondis 19">
            <a:extLst>
              <a:ext uri="{FF2B5EF4-FFF2-40B4-BE49-F238E27FC236}">
                <a16:creationId xmlns:a16="http://schemas.microsoft.com/office/drawing/2014/main" xmlns="" id="{A509CB1A-7380-4F6A-ACBE-D10BCBF47A5E}"/>
              </a:ext>
            </a:extLst>
          </p:cNvPr>
          <p:cNvSpPr/>
          <p:nvPr/>
        </p:nvSpPr>
        <p:spPr bwMode="gray">
          <a:xfrm>
            <a:off x="362648" y="2393549"/>
            <a:ext cx="2668558" cy="11762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</p:txBody>
      </p:sp>
      <p:sp>
        <p:nvSpPr>
          <p:cNvPr id="8" name="Rectangle à coins arrondis 19">
            <a:extLst>
              <a:ext uri="{FF2B5EF4-FFF2-40B4-BE49-F238E27FC236}">
                <a16:creationId xmlns:a16="http://schemas.microsoft.com/office/drawing/2014/main" xmlns="" id="{7CE0CD10-B975-4700-92A7-9BF199224DB0}"/>
              </a:ext>
            </a:extLst>
          </p:cNvPr>
          <p:cNvSpPr/>
          <p:nvPr/>
        </p:nvSpPr>
        <p:spPr bwMode="gray">
          <a:xfrm>
            <a:off x="6153627" y="2393549"/>
            <a:ext cx="2668558" cy="11762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6">
            <a:extLst>
              <a:ext uri="{FF2B5EF4-FFF2-40B4-BE49-F238E27FC236}">
                <a16:creationId xmlns:a16="http://schemas.microsoft.com/office/drawing/2014/main" xmlns="" id="{A1B06A0D-76B2-409A-971E-19821BDC04D4}"/>
              </a:ext>
            </a:extLst>
          </p:cNvPr>
          <p:cNvSpPr>
            <a:spLocks/>
          </p:cNvSpPr>
          <p:nvPr/>
        </p:nvSpPr>
        <p:spPr bwMode="gray">
          <a:xfrm>
            <a:off x="297180" y="4038276"/>
            <a:ext cx="2602371" cy="37883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000" b="1" cap="all" dirty="0">
                <a:solidFill>
                  <a:schemeClr val="bg1"/>
                </a:solidFill>
              </a:rPr>
              <a:t>xxx</a:t>
            </a:r>
          </a:p>
        </p:txBody>
      </p:sp>
      <p:sp>
        <p:nvSpPr>
          <p:cNvPr id="10" name="Rectangle à coins arrondis 19">
            <a:extLst>
              <a:ext uri="{FF2B5EF4-FFF2-40B4-BE49-F238E27FC236}">
                <a16:creationId xmlns:a16="http://schemas.microsoft.com/office/drawing/2014/main" xmlns="" id="{62471AAB-F3BA-4EA8-B8C1-3735B60524DB}"/>
              </a:ext>
            </a:extLst>
          </p:cNvPr>
          <p:cNvSpPr/>
          <p:nvPr/>
        </p:nvSpPr>
        <p:spPr bwMode="gray">
          <a:xfrm>
            <a:off x="362648" y="4445791"/>
            <a:ext cx="2668558" cy="11762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6">
            <a:extLst>
              <a:ext uri="{FF2B5EF4-FFF2-40B4-BE49-F238E27FC236}">
                <a16:creationId xmlns:a16="http://schemas.microsoft.com/office/drawing/2014/main" xmlns="" id="{EFC3945B-B7C7-47A1-BCFE-8A33BFB1E8BC}"/>
              </a:ext>
            </a:extLst>
          </p:cNvPr>
          <p:cNvSpPr/>
          <p:nvPr/>
        </p:nvSpPr>
        <p:spPr bwMode="gray">
          <a:xfrm>
            <a:off x="6283231" y="4004506"/>
            <a:ext cx="2488388" cy="43113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000" b="1" cap="all" dirty="0">
                <a:solidFill>
                  <a:schemeClr val="bg1"/>
                </a:solidFill>
              </a:rPr>
              <a:t>xxx</a:t>
            </a:r>
          </a:p>
        </p:txBody>
      </p:sp>
      <p:sp>
        <p:nvSpPr>
          <p:cNvPr id="12" name="Rectangle à coins arrondis 19">
            <a:extLst>
              <a:ext uri="{FF2B5EF4-FFF2-40B4-BE49-F238E27FC236}">
                <a16:creationId xmlns:a16="http://schemas.microsoft.com/office/drawing/2014/main" xmlns="" id="{444A98A7-2505-46D2-AB9D-C87AB50185A9}"/>
              </a:ext>
            </a:extLst>
          </p:cNvPr>
          <p:cNvSpPr/>
          <p:nvPr/>
        </p:nvSpPr>
        <p:spPr bwMode="gray">
          <a:xfrm>
            <a:off x="6153627" y="4445791"/>
            <a:ext cx="2668558" cy="11762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08000" rIns="72000" bIns="72000" rtlCol="0" anchor="t" anchorCtr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endParaRPr lang="en-US" sz="1050" b="1" dirty="0">
              <a:solidFill>
                <a:schemeClr val="tx1"/>
              </a:solidFill>
            </a:endParaRP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en-US" sz="1050" b="1" dirty="0">
                <a:solidFill>
                  <a:schemeClr val="tx1"/>
                </a:solidFill>
              </a:rPr>
              <a:t>XXX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6">
            <a:extLst>
              <a:ext uri="{FF2B5EF4-FFF2-40B4-BE49-F238E27FC236}">
                <a16:creationId xmlns:a16="http://schemas.microsoft.com/office/drawing/2014/main" xmlns="" id="{8991CD69-60EC-4410-9F24-9CA6DEB9638F}"/>
              </a:ext>
            </a:extLst>
          </p:cNvPr>
          <p:cNvSpPr>
            <a:spLocks/>
          </p:cNvSpPr>
          <p:nvPr/>
        </p:nvSpPr>
        <p:spPr bwMode="gray">
          <a:xfrm>
            <a:off x="6148717" y="1988840"/>
            <a:ext cx="2622902" cy="37883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000" b="1" cap="all" dirty="0">
                <a:solidFill>
                  <a:schemeClr val="bg1"/>
                </a:solidFill>
              </a:rPr>
              <a:t>xxx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2B05C9AF-37B6-4045-9A49-EF0EB4802857}"/>
              </a:ext>
            </a:extLst>
          </p:cNvPr>
          <p:cNvGrpSpPr/>
          <p:nvPr/>
        </p:nvGrpSpPr>
        <p:grpSpPr>
          <a:xfrm>
            <a:off x="6853428" y="6021288"/>
            <a:ext cx="2053528" cy="138499"/>
            <a:chOff x="3770376" y="4527642"/>
            <a:chExt cx="2053528" cy="138499"/>
          </a:xfrm>
        </p:grpSpPr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xmlns="" id="{B871F7C9-FAB3-4EBF-9255-B018BDEC4F78}"/>
                </a:ext>
              </a:extLst>
            </p:cNvPr>
            <p:cNvCxnSpPr>
              <a:cxnSpLocks/>
            </p:cNvCxnSpPr>
            <p:nvPr/>
          </p:nvCxnSpPr>
          <p:spPr>
            <a:xfrm>
              <a:off x="3770376" y="4599432"/>
              <a:ext cx="207264" cy="0"/>
            </a:xfrm>
            <a:prstGeom prst="line">
              <a:avLst/>
            </a:prstGeom>
            <a:ln w="66675" cap="rnd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xmlns="" id="{39BF762B-A2AB-4684-A974-343D676961B2}"/>
                </a:ext>
              </a:extLst>
            </p:cNvPr>
            <p:cNvCxnSpPr>
              <a:cxnSpLocks/>
            </p:cNvCxnSpPr>
            <p:nvPr/>
          </p:nvCxnSpPr>
          <p:spPr>
            <a:xfrm>
              <a:off x="4829556" y="4599432"/>
              <a:ext cx="207264" cy="0"/>
            </a:xfrm>
            <a:prstGeom prst="line">
              <a:avLst/>
            </a:prstGeom>
            <a:ln w="66675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xmlns="" id="{51D2B12F-5002-421C-B76A-09466D3F3D56}"/>
                </a:ext>
              </a:extLst>
            </p:cNvPr>
            <p:cNvSpPr txBox="1"/>
            <p:nvPr/>
          </p:nvSpPr>
          <p:spPr>
            <a:xfrm>
              <a:off x="4066096" y="4527642"/>
              <a:ext cx="60568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err="1"/>
                <a:t>Legend</a:t>
              </a:r>
              <a:r>
                <a:rPr lang="fr-FR" sz="900" dirty="0"/>
                <a:t> n°1</a:t>
              </a: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xmlns="" id="{8817ECB6-1FA3-45A1-A28C-1F2DDC94C675}"/>
                </a:ext>
              </a:extLst>
            </p:cNvPr>
            <p:cNvSpPr txBox="1"/>
            <p:nvPr/>
          </p:nvSpPr>
          <p:spPr>
            <a:xfrm>
              <a:off x="5127816" y="4527642"/>
              <a:ext cx="6960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err="1"/>
                <a:t>Legend</a:t>
              </a:r>
              <a:r>
                <a:rPr lang="fr-FR" sz="900" dirty="0"/>
                <a:t> n°2</a:t>
              </a:r>
            </a:p>
          </p:txBody>
        </p:sp>
      </p:grp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xmlns="" id="{D21E938C-26CB-46DC-8609-B21A38CEA091}"/>
              </a:ext>
            </a:extLst>
          </p:cNvPr>
          <p:cNvCxnSpPr>
            <a:cxnSpLocks/>
          </p:cNvCxnSpPr>
          <p:nvPr/>
        </p:nvCxnSpPr>
        <p:spPr>
          <a:xfrm>
            <a:off x="416052" y="25889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xmlns="" id="{E02B546C-041C-47CA-B242-568C75C9637D}"/>
              </a:ext>
            </a:extLst>
          </p:cNvPr>
          <p:cNvCxnSpPr>
            <a:cxnSpLocks/>
          </p:cNvCxnSpPr>
          <p:nvPr/>
        </p:nvCxnSpPr>
        <p:spPr>
          <a:xfrm>
            <a:off x="416052" y="25264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xmlns="" id="{E10732E2-3086-49E7-82CF-BDAA40BA2CA7}"/>
              </a:ext>
            </a:extLst>
          </p:cNvPr>
          <p:cNvCxnSpPr>
            <a:cxnSpLocks/>
          </p:cNvCxnSpPr>
          <p:nvPr/>
        </p:nvCxnSpPr>
        <p:spPr>
          <a:xfrm>
            <a:off x="416052" y="2945591"/>
            <a:ext cx="0" cy="127512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xmlns="" id="{78929988-1C4E-4FA6-BAB8-437009B5B7A6}"/>
              </a:ext>
            </a:extLst>
          </p:cNvPr>
          <p:cNvCxnSpPr>
            <a:cxnSpLocks/>
          </p:cNvCxnSpPr>
          <p:nvPr/>
        </p:nvCxnSpPr>
        <p:spPr>
          <a:xfrm>
            <a:off x="416052" y="3364691"/>
            <a:ext cx="0" cy="127512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xmlns="" id="{C397BFD2-EF69-4181-B9E2-3470922BB149}"/>
              </a:ext>
            </a:extLst>
          </p:cNvPr>
          <p:cNvCxnSpPr>
            <a:cxnSpLocks/>
          </p:cNvCxnSpPr>
          <p:nvPr/>
        </p:nvCxnSpPr>
        <p:spPr>
          <a:xfrm>
            <a:off x="416052" y="46463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xmlns="" id="{5A13822A-5093-4D62-9F10-DC10ACB74F9E}"/>
              </a:ext>
            </a:extLst>
          </p:cNvPr>
          <p:cNvCxnSpPr>
            <a:cxnSpLocks/>
          </p:cNvCxnSpPr>
          <p:nvPr/>
        </p:nvCxnSpPr>
        <p:spPr>
          <a:xfrm>
            <a:off x="416052" y="45838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xmlns="" id="{41FAEC5D-30CD-49DD-AADC-09DE5F2219D8}"/>
              </a:ext>
            </a:extLst>
          </p:cNvPr>
          <p:cNvCxnSpPr>
            <a:cxnSpLocks/>
          </p:cNvCxnSpPr>
          <p:nvPr/>
        </p:nvCxnSpPr>
        <p:spPr>
          <a:xfrm>
            <a:off x="416052" y="5002991"/>
            <a:ext cx="0" cy="127512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xmlns="" id="{E4E07AEB-7147-4090-AED6-FB848FAE2495}"/>
              </a:ext>
            </a:extLst>
          </p:cNvPr>
          <p:cNvCxnSpPr>
            <a:cxnSpLocks/>
          </p:cNvCxnSpPr>
          <p:nvPr/>
        </p:nvCxnSpPr>
        <p:spPr>
          <a:xfrm>
            <a:off x="416052" y="54845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xmlns="" id="{E2454786-55CD-4632-98A7-5060031A3B37}"/>
              </a:ext>
            </a:extLst>
          </p:cNvPr>
          <p:cNvCxnSpPr>
            <a:cxnSpLocks/>
          </p:cNvCxnSpPr>
          <p:nvPr/>
        </p:nvCxnSpPr>
        <p:spPr>
          <a:xfrm>
            <a:off x="416052" y="54220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xmlns="" id="{494CFD65-1D56-4147-A113-40AAEEC0B215}"/>
              </a:ext>
            </a:extLst>
          </p:cNvPr>
          <p:cNvCxnSpPr>
            <a:cxnSpLocks/>
          </p:cNvCxnSpPr>
          <p:nvPr/>
        </p:nvCxnSpPr>
        <p:spPr>
          <a:xfrm>
            <a:off x="6199632" y="25889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xmlns="" id="{7AAF5AE2-159D-4227-A607-62519CAC2074}"/>
              </a:ext>
            </a:extLst>
          </p:cNvPr>
          <p:cNvCxnSpPr>
            <a:cxnSpLocks/>
          </p:cNvCxnSpPr>
          <p:nvPr/>
        </p:nvCxnSpPr>
        <p:spPr>
          <a:xfrm>
            <a:off x="6199632" y="25264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xmlns="" id="{5E319A76-5000-441A-82D2-9F9321FB55FA}"/>
              </a:ext>
            </a:extLst>
          </p:cNvPr>
          <p:cNvCxnSpPr>
            <a:cxnSpLocks/>
          </p:cNvCxnSpPr>
          <p:nvPr/>
        </p:nvCxnSpPr>
        <p:spPr>
          <a:xfrm>
            <a:off x="6199632" y="30080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xmlns="" id="{1D60EE7F-8F9F-4441-967E-E997A8CA87DF}"/>
              </a:ext>
            </a:extLst>
          </p:cNvPr>
          <p:cNvCxnSpPr>
            <a:cxnSpLocks/>
          </p:cNvCxnSpPr>
          <p:nvPr/>
        </p:nvCxnSpPr>
        <p:spPr>
          <a:xfrm>
            <a:off x="6199632" y="29455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xmlns="" id="{3E4A1DEC-2D78-4A8C-A299-D3888FD2EDB0}"/>
              </a:ext>
            </a:extLst>
          </p:cNvPr>
          <p:cNvCxnSpPr>
            <a:cxnSpLocks/>
          </p:cNvCxnSpPr>
          <p:nvPr/>
        </p:nvCxnSpPr>
        <p:spPr>
          <a:xfrm>
            <a:off x="6199632" y="34271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xmlns="" id="{DE8BC5E6-8658-46AA-BDE1-D59666A88C4C}"/>
              </a:ext>
            </a:extLst>
          </p:cNvPr>
          <p:cNvCxnSpPr>
            <a:cxnSpLocks/>
          </p:cNvCxnSpPr>
          <p:nvPr/>
        </p:nvCxnSpPr>
        <p:spPr>
          <a:xfrm>
            <a:off x="6199632" y="33646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xmlns="" id="{A4B0054B-54EA-4A53-84B1-454113383765}"/>
              </a:ext>
            </a:extLst>
          </p:cNvPr>
          <p:cNvCxnSpPr>
            <a:cxnSpLocks/>
          </p:cNvCxnSpPr>
          <p:nvPr/>
        </p:nvCxnSpPr>
        <p:spPr>
          <a:xfrm>
            <a:off x="6199632" y="4583891"/>
            <a:ext cx="0" cy="127512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xmlns="" id="{1C67AE89-6682-40E6-B11A-6B5186C558B7}"/>
              </a:ext>
            </a:extLst>
          </p:cNvPr>
          <p:cNvCxnSpPr>
            <a:cxnSpLocks/>
          </p:cNvCxnSpPr>
          <p:nvPr/>
        </p:nvCxnSpPr>
        <p:spPr>
          <a:xfrm>
            <a:off x="6199632" y="5002991"/>
            <a:ext cx="0" cy="127512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xmlns="" id="{3D4E5B18-D1C9-44EB-A42A-6A7C22DDF63A}"/>
              </a:ext>
            </a:extLst>
          </p:cNvPr>
          <p:cNvCxnSpPr>
            <a:cxnSpLocks/>
          </p:cNvCxnSpPr>
          <p:nvPr/>
        </p:nvCxnSpPr>
        <p:spPr>
          <a:xfrm>
            <a:off x="6199632" y="5484546"/>
            <a:ext cx="0" cy="65057"/>
          </a:xfrm>
          <a:prstGeom prst="line">
            <a:avLst/>
          </a:prstGeom>
          <a:ln w="41275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xmlns="" id="{B7A59184-3207-4505-99C0-26DAAF677A2C}"/>
              </a:ext>
            </a:extLst>
          </p:cNvPr>
          <p:cNvCxnSpPr>
            <a:cxnSpLocks/>
          </p:cNvCxnSpPr>
          <p:nvPr/>
        </p:nvCxnSpPr>
        <p:spPr>
          <a:xfrm>
            <a:off x="6199632" y="5422091"/>
            <a:ext cx="0" cy="58551"/>
          </a:xfrm>
          <a:prstGeom prst="line">
            <a:avLst/>
          </a:prstGeom>
          <a:ln w="412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e 42">
            <a:extLst>
              <a:ext uri="{FF2B5EF4-FFF2-40B4-BE49-F238E27FC236}">
                <a16:creationId xmlns:a16="http://schemas.microsoft.com/office/drawing/2014/main" xmlns="" id="{D5B139BA-B551-4E40-839F-DB3A63EB1472}"/>
              </a:ext>
            </a:extLst>
          </p:cNvPr>
          <p:cNvGrpSpPr/>
          <p:nvPr/>
        </p:nvGrpSpPr>
        <p:grpSpPr>
          <a:xfrm>
            <a:off x="3223260" y="2873137"/>
            <a:ext cx="2529840" cy="2287912"/>
            <a:chOff x="3223260" y="1427795"/>
            <a:chExt cx="2529840" cy="2287912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xmlns="" id="{838F1663-64FB-4DD9-ACA8-DB7851D44AD1}"/>
                </a:ext>
              </a:extLst>
            </p:cNvPr>
            <p:cNvSpPr/>
            <p:nvPr/>
          </p:nvSpPr>
          <p:spPr>
            <a:xfrm>
              <a:off x="3914775" y="1857375"/>
              <a:ext cx="1295400" cy="1295400"/>
            </a:xfrm>
            <a:prstGeom prst="ellipse">
              <a:avLst/>
            </a:pr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45" name="Groupe 44">
              <a:extLst>
                <a:ext uri="{FF2B5EF4-FFF2-40B4-BE49-F238E27FC236}">
                  <a16:creationId xmlns:a16="http://schemas.microsoft.com/office/drawing/2014/main" xmlns="" id="{669033CB-D843-4861-AEC8-E27755ED8470}"/>
                </a:ext>
              </a:extLst>
            </p:cNvPr>
            <p:cNvGrpSpPr/>
            <p:nvPr/>
          </p:nvGrpSpPr>
          <p:grpSpPr>
            <a:xfrm>
              <a:off x="5259724" y="1731062"/>
              <a:ext cx="493376" cy="493378"/>
              <a:chOff x="6385560" y="1178560"/>
              <a:chExt cx="586740" cy="586740"/>
            </a:xfrm>
          </p:grpSpPr>
          <p:sp>
            <p:nvSpPr>
              <p:cNvPr id="58" name="Rectangle 10">
                <a:extLst>
                  <a:ext uri="{FF2B5EF4-FFF2-40B4-BE49-F238E27FC236}">
                    <a16:creationId xmlns:a16="http://schemas.microsoft.com/office/drawing/2014/main" xmlns="" id="{51CB280D-8F36-431C-9D67-BE7E0819668C}"/>
                  </a:ext>
                </a:extLst>
              </p:cNvPr>
              <p:cNvSpPr/>
              <p:nvPr/>
            </p:nvSpPr>
            <p:spPr>
              <a:xfrm rot="2700000">
                <a:off x="6641153" y="1167538"/>
                <a:ext cx="219119" cy="409341"/>
              </a:xfrm>
              <a:custGeom>
                <a:avLst/>
                <a:gdLst>
                  <a:gd name="connsiteX0" fmla="*/ 0 w 655320"/>
                  <a:gd name="connsiteY0" fmla="*/ 0 h 655320"/>
                  <a:gd name="connsiteX1" fmla="*/ 655320 w 655320"/>
                  <a:gd name="connsiteY1" fmla="*/ 0 h 655320"/>
                  <a:gd name="connsiteX2" fmla="*/ 655320 w 655320"/>
                  <a:gd name="connsiteY2" fmla="*/ 655320 h 655320"/>
                  <a:gd name="connsiteX3" fmla="*/ 0 w 655320"/>
                  <a:gd name="connsiteY3" fmla="*/ 655320 h 655320"/>
                  <a:gd name="connsiteX4" fmla="*/ 0 w 655320"/>
                  <a:gd name="connsiteY4" fmla="*/ 0 h 655320"/>
                  <a:gd name="connsiteX0" fmla="*/ 655320 w 746760"/>
                  <a:gd name="connsiteY0" fmla="*/ 0 h 655320"/>
                  <a:gd name="connsiteX1" fmla="*/ 655320 w 746760"/>
                  <a:gd name="connsiteY1" fmla="*/ 655320 h 655320"/>
                  <a:gd name="connsiteX2" fmla="*/ 0 w 746760"/>
                  <a:gd name="connsiteY2" fmla="*/ 655320 h 655320"/>
                  <a:gd name="connsiteX3" fmla="*/ 0 w 746760"/>
                  <a:gd name="connsiteY3" fmla="*/ 0 h 655320"/>
                  <a:gd name="connsiteX4" fmla="*/ 746760 w 746760"/>
                  <a:gd name="connsiteY4" fmla="*/ 91440 h 655320"/>
                  <a:gd name="connsiteX0" fmla="*/ 655320 w 655320"/>
                  <a:gd name="connsiteY0" fmla="*/ 0 h 655320"/>
                  <a:gd name="connsiteX1" fmla="*/ 655320 w 655320"/>
                  <a:gd name="connsiteY1" fmla="*/ 655320 h 655320"/>
                  <a:gd name="connsiteX2" fmla="*/ 0 w 655320"/>
                  <a:gd name="connsiteY2" fmla="*/ 655320 h 655320"/>
                  <a:gd name="connsiteX3" fmla="*/ 0 w 655320"/>
                  <a:gd name="connsiteY3" fmla="*/ 0 h 655320"/>
                  <a:gd name="connsiteX0" fmla="*/ 655320 w 655320"/>
                  <a:gd name="connsiteY0" fmla="*/ 0 h 655320"/>
                  <a:gd name="connsiteX1" fmla="*/ 655320 w 655320"/>
                  <a:gd name="connsiteY1" fmla="*/ 655320 h 655320"/>
                  <a:gd name="connsiteX2" fmla="*/ 0 w 655320"/>
                  <a:gd name="connsiteY2" fmla="*/ 655320 h 65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5320" h="655320">
                    <a:moveTo>
                      <a:pt x="655320" y="0"/>
                    </a:moveTo>
                    <a:lnTo>
                      <a:pt x="655320" y="655320"/>
                    </a:lnTo>
                    <a:lnTo>
                      <a:pt x="0" y="655320"/>
                    </a:lnTo>
                  </a:path>
                </a:pathLst>
              </a:custGeom>
              <a:noFill/>
              <a:ln w="31750" cap="rnd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59" name="Arc 58">
                <a:extLst>
                  <a:ext uri="{FF2B5EF4-FFF2-40B4-BE49-F238E27FC236}">
                    <a16:creationId xmlns:a16="http://schemas.microsoft.com/office/drawing/2014/main" xmlns="" id="{69C1F487-584A-45B3-AAD9-A0388E521F4A}"/>
                  </a:ext>
                </a:extLst>
              </p:cNvPr>
              <p:cNvSpPr/>
              <p:nvPr/>
            </p:nvSpPr>
            <p:spPr>
              <a:xfrm>
                <a:off x="6385560" y="1178560"/>
                <a:ext cx="586740" cy="586740"/>
              </a:xfrm>
              <a:prstGeom prst="arc">
                <a:avLst>
                  <a:gd name="adj1" fmla="val 371"/>
                  <a:gd name="adj2" fmla="val 18417445"/>
                </a:avLst>
              </a:prstGeom>
              <a:noFill/>
              <a:ln w="31750" cap="rnd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xmlns="" id="{237F0390-6C3D-4523-982D-00872F44CC0E}"/>
                </a:ext>
              </a:extLst>
            </p:cNvPr>
            <p:cNvGrpSpPr/>
            <p:nvPr/>
          </p:nvGrpSpPr>
          <p:grpSpPr>
            <a:xfrm>
              <a:off x="4227777" y="3320191"/>
              <a:ext cx="696413" cy="395516"/>
              <a:chOff x="4042776" y="3143810"/>
              <a:chExt cx="1039764" cy="590516"/>
            </a:xfrm>
          </p:grpSpPr>
          <p:sp>
            <p:nvSpPr>
              <p:cNvPr id="55" name="Freeform 9">
                <a:extLst>
                  <a:ext uri="{FF2B5EF4-FFF2-40B4-BE49-F238E27FC236}">
                    <a16:creationId xmlns:a16="http://schemas.microsoft.com/office/drawing/2014/main" xmlns="" id="{1D47C15B-E253-4686-863B-6DB117800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8688" y="3143810"/>
                <a:ext cx="407940" cy="590516"/>
              </a:xfrm>
              <a:custGeom>
                <a:avLst/>
                <a:gdLst>
                  <a:gd name="T0" fmla="*/ 0 w 829"/>
                  <a:gd name="T1" fmla="*/ 1201 h 1201"/>
                  <a:gd name="T2" fmla="*/ 231 w 829"/>
                  <a:gd name="T3" fmla="*/ 909 h 1201"/>
                  <a:gd name="T4" fmla="*/ 202 w 829"/>
                  <a:gd name="T5" fmla="*/ 819 h 1201"/>
                  <a:gd name="T6" fmla="*/ 152 w 829"/>
                  <a:gd name="T7" fmla="*/ 689 h 1201"/>
                  <a:gd name="T8" fmla="*/ 108 w 829"/>
                  <a:gd name="T9" fmla="*/ 633 h 1201"/>
                  <a:gd name="T10" fmla="*/ 71 w 829"/>
                  <a:gd name="T11" fmla="*/ 543 h 1201"/>
                  <a:gd name="T12" fmla="*/ 88 w 829"/>
                  <a:gd name="T13" fmla="*/ 492 h 1201"/>
                  <a:gd name="T14" fmla="*/ 102 w 829"/>
                  <a:gd name="T15" fmla="*/ 465 h 1201"/>
                  <a:gd name="T16" fmla="*/ 88 w 829"/>
                  <a:gd name="T17" fmla="*/ 374 h 1201"/>
                  <a:gd name="T18" fmla="*/ 231 w 829"/>
                  <a:gd name="T19" fmla="*/ 35 h 1201"/>
                  <a:gd name="T20" fmla="*/ 397 w 829"/>
                  <a:gd name="T21" fmla="*/ 0 h 1201"/>
                  <a:gd name="T22" fmla="*/ 531 w 829"/>
                  <a:gd name="T23" fmla="*/ 39 h 1201"/>
                  <a:gd name="T24" fmla="*/ 546 w 829"/>
                  <a:gd name="T25" fmla="*/ 50 h 1201"/>
                  <a:gd name="T26" fmla="*/ 552 w 829"/>
                  <a:gd name="T27" fmla="*/ 52 h 1201"/>
                  <a:gd name="T28" fmla="*/ 561 w 829"/>
                  <a:gd name="T29" fmla="*/ 53 h 1201"/>
                  <a:gd name="T30" fmla="*/ 692 w 829"/>
                  <a:gd name="T31" fmla="*/ 108 h 1201"/>
                  <a:gd name="T32" fmla="*/ 726 w 829"/>
                  <a:gd name="T33" fmla="*/ 465 h 1201"/>
                  <a:gd name="T34" fmla="*/ 740 w 829"/>
                  <a:gd name="T35" fmla="*/ 492 h 1201"/>
                  <a:gd name="T36" fmla="*/ 758 w 829"/>
                  <a:gd name="T37" fmla="*/ 542 h 1201"/>
                  <a:gd name="T38" fmla="*/ 720 w 829"/>
                  <a:gd name="T39" fmla="*/ 633 h 1201"/>
                  <a:gd name="T40" fmla="*/ 676 w 829"/>
                  <a:gd name="T41" fmla="*/ 689 h 1201"/>
                  <a:gd name="T42" fmla="*/ 627 w 829"/>
                  <a:gd name="T43" fmla="*/ 819 h 1201"/>
                  <a:gd name="T44" fmla="*/ 598 w 829"/>
                  <a:gd name="T45" fmla="*/ 909 h 1201"/>
                  <a:gd name="T46" fmla="*/ 829 w 829"/>
                  <a:gd name="T47" fmla="*/ 1201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29" h="1201">
                    <a:moveTo>
                      <a:pt x="0" y="1201"/>
                    </a:moveTo>
                    <a:cubicBezTo>
                      <a:pt x="175" y="1129"/>
                      <a:pt x="231" y="1056"/>
                      <a:pt x="231" y="909"/>
                    </a:cubicBezTo>
                    <a:cubicBezTo>
                      <a:pt x="231" y="861"/>
                      <a:pt x="217" y="841"/>
                      <a:pt x="202" y="819"/>
                    </a:cubicBezTo>
                    <a:cubicBezTo>
                      <a:pt x="186" y="796"/>
                      <a:pt x="167" y="768"/>
                      <a:pt x="152" y="689"/>
                    </a:cubicBezTo>
                    <a:cubicBezTo>
                      <a:pt x="145" y="651"/>
                      <a:pt x="123" y="640"/>
                      <a:pt x="108" y="633"/>
                    </a:cubicBezTo>
                    <a:cubicBezTo>
                      <a:pt x="93" y="626"/>
                      <a:pt x="76" y="618"/>
                      <a:pt x="71" y="543"/>
                    </a:cubicBezTo>
                    <a:cubicBezTo>
                      <a:pt x="71" y="503"/>
                      <a:pt x="88" y="492"/>
                      <a:pt x="88" y="492"/>
                    </a:cubicBezTo>
                    <a:cubicBezTo>
                      <a:pt x="98" y="487"/>
                      <a:pt x="104" y="476"/>
                      <a:pt x="102" y="465"/>
                    </a:cubicBezTo>
                    <a:cubicBezTo>
                      <a:pt x="102" y="465"/>
                      <a:pt x="95" y="422"/>
                      <a:pt x="88" y="374"/>
                    </a:cubicBezTo>
                    <a:cubicBezTo>
                      <a:pt x="66" y="243"/>
                      <a:pt x="67" y="101"/>
                      <a:pt x="231" y="35"/>
                    </a:cubicBezTo>
                    <a:cubicBezTo>
                      <a:pt x="288" y="12"/>
                      <a:pt x="344" y="0"/>
                      <a:pt x="397" y="0"/>
                    </a:cubicBezTo>
                    <a:cubicBezTo>
                      <a:pt x="482" y="0"/>
                      <a:pt x="525" y="28"/>
                      <a:pt x="531" y="39"/>
                    </a:cubicBezTo>
                    <a:cubicBezTo>
                      <a:pt x="534" y="44"/>
                      <a:pt x="540" y="49"/>
                      <a:pt x="546" y="50"/>
                    </a:cubicBezTo>
                    <a:cubicBezTo>
                      <a:pt x="546" y="50"/>
                      <a:pt x="552" y="52"/>
                      <a:pt x="552" y="52"/>
                    </a:cubicBezTo>
                    <a:cubicBezTo>
                      <a:pt x="554" y="53"/>
                      <a:pt x="559" y="53"/>
                      <a:pt x="561" y="53"/>
                    </a:cubicBezTo>
                    <a:cubicBezTo>
                      <a:pt x="581" y="53"/>
                      <a:pt x="648" y="57"/>
                      <a:pt x="692" y="108"/>
                    </a:cubicBezTo>
                    <a:cubicBezTo>
                      <a:pt x="760" y="187"/>
                      <a:pt x="739" y="397"/>
                      <a:pt x="726" y="465"/>
                    </a:cubicBezTo>
                    <a:cubicBezTo>
                      <a:pt x="725" y="475"/>
                      <a:pt x="731" y="486"/>
                      <a:pt x="740" y="492"/>
                    </a:cubicBezTo>
                    <a:cubicBezTo>
                      <a:pt x="741" y="492"/>
                      <a:pt x="758" y="503"/>
                      <a:pt x="758" y="542"/>
                    </a:cubicBezTo>
                    <a:cubicBezTo>
                      <a:pt x="752" y="618"/>
                      <a:pt x="736" y="626"/>
                      <a:pt x="720" y="633"/>
                    </a:cubicBezTo>
                    <a:cubicBezTo>
                      <a:pt x="706" y="640"/>
                      <a:pt x="683" y="651"/>
                      <a:pt x="676" y="689"/>
                    </a:cubicBezTo>
                    <a:cubicBezTo>
                      <a:pt x="662" y="768"/>
                      <a:pt x="643" y="796"/>
                      <a:pt x="627" y="819"/>
                    </a:cubicBezTo>
                    <a:cubicBezTo>
                      <a:pt x="612" y="841"/>
                      <a:pt x="598" y="861"/>
                      <a:pt x="598" y="909"/>
                    </a:cubicBezTo>
                    <a:cubicBezTo>
                      <a:pt x="598" y="1056"/>
                      <a:pt x="653" y="1129"/>
                      <a:pt x="829" y="1201"/>
                    </a:cubicBezTo>
                  </a:path>
                </a:pathLst>
              </a:custGeom>
              <a:noFill/>
              <a:ln w="28575" cap="rnd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>
                  <a:solidFill>
                    <a:schemeClr val="lt1"/>
                  </a:solidFill>
                </a:endParaRPr>
              </a:p>
            </p:txBody>
          </p:sp>
          <p:sp>
            <p:nvSpPr>
              <p:cNvPr id="56" name="Freeform 9">
                <a:extLst>
                  <a:ext uri="{FF2B5EF4-FFF2-40B4-BE49-F238E27FC236}">
                    <a16:creationId xmlns:a16="http://schemas.microsoft.com/office/drawing/2014/main" xmlns="" id="{C8648AB8-5122-4C34-BA1E-114B806F9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871" y="3245669"/>
                <a:ext cx="279669" cy="404836"/>
              </a:xfrm>
              <a:custGeom>
                <a:avLst/>
                <a:gdLst>
                  <a:gd name="T0" fmla="*/ 0 w 829"/>
                  <a:gd name="T1" fmla="*/ 1201 h 1201"/>
                  <a:gd name="T2" fmla="*/ 231 w 829"/>
                  <a:gd name="T3" fmla="*/ 909 h 1201"/>
                  <a:gd name="T4" fmla="*/ 202 w 829"/>
                  <a:gd name="T5" fmla="*/ 819 h 1201"/>
                  <a:gd name="T6" fmla="*/ 152 w 829"/>
                  <a:gd name="T7" fmla="*/ 689 h 1201"/>
                  <a:gd name="T8" fmla="*/ 108 w 829"/>
                  <a:gd name="T9" fmla="*/ 633 h 1201"/>
                  <a:gd name="T10" fmla="*/ 71 w 829"/>
                  <a:gd name="T11" fmla="*/ 543 h 1201"/>
                  <a:gd name="T12" fmla="*/ 88 w 829"/>
                  <a:gd name="T13" fmla="*/ 492 h 1201"/>
                  <a:gd name="T14" fmla="*/ 102 w 829"/>
                  <a:gd name="T15" fmla="*/ 465 h 1201"/>
                  <a:gd name="T16" fmla="*/ 88 w 829"/>
                  <a:gd name="T17" fmla="*/ 374 h 1201"/>
                  <a:gd name="T18" fmla="*/ 231 w 829"/>
                  <a:gd name="T19" fmla="*/ 35 h 1201"/>
                  <a:gd name="T20" fmla="*/ 397 w 829"/>
                  <a:gd name="T21" fmla="*/ 0 h 1201"/>
                  <a:gd name="T22" fmla="*/ 531 w 829"/>
                  <a:gd name="T23" fmla="*/ 39 h 1201"/>
                  <a:gd name="T24" fmla="*/ 546 w 829"/>
                  <a:gd name="T25" fmla="*/ 50 h 1201"/>
                  <a:gd name="T26" fmla="*/ 552 w 829"/>
                  <a:gd name="T27" fmla="*/ 52 h 1201"/>
                  <a:gd name="T28" fmla="*/ 561 w 829"/>
                  <a:gd name="T29" fmla="*/ 53 h 1201"/>
                  <a:gd name="T30" fmla="*/ 692 w 829"/>
                  <a:gd name="T31" fmla="*/ 108 h 1201"/>
                  <a:gd name="T32" fmla="*/ 726 w 829"/>
                  <a:gd name="T33" fmla="*/ 465 h 1201"/>
                  <a:gd name="T34" fmla="*/ 740 w 829"/>
                  <a:gd name="T35" fmla="*/ 492 h 1201"/>
                  <a:gd name="T36" fmla="*/ 758 w 829"/>
                  <a:gd name="T37" fmla="*/ 542 h 1201"/>
                  <a:gd name="T38" fmla="*/ 720 w 829"/>
                  <a:gd name="T39" fmla="*/ 633 h 1201"/>
                  <a:gd name="T40" fmla="*/ 676 w 829"/>
                  <a:gd name="T41" fmla="*/ 689 h 1201"/>
                  <a:gd name="T42" fmla="*/ 627 w 829"/>
                  <a:gd name="T43" fmla="*/ 819 h 1201"/>
                  <a:gd name="T44" fmla="*/ 598 w 829"/>
                  <a:gd name="T45" fmla="*/ 909 h 1201"/>
                  <a:gd name="T46" fmla="*/ 829 w 829"/>
                  <a:gd name="T47" fmla="*/ 1201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29" h="1201">
                    <a:moveTo>
                      <a:pt x="0" y="1201"/>
                    </a:moveTo>
                    <a:cubicBezTo>
                      <a:pt x="175" y="1129"/>
                      <a:pt x="231" y="1056"/>
                      <a:pt x="231" y="909"/>
                    </a:cubicBezTo>
                    <a:cubicBezTo>
                      <a:pt x="231" y="861"/>
                      <a:pt x="217" y="841"/>
                      <a:pt x="202" y="819"/>
                    </a:cubicBezTo>
                    <a:cubicBezTo>
                      <a:pt x="186" y="796"/>
                      <a:pt x="167" y="768"/>
                      <a:pt x="152" y="689"/>
                    </a:cubicBezTo>
                    <a:cubicBezTo>
                      <a:pt x="145" y="651"/>
                      <a:pt x="123" y="640"/>
                      <a:pt x="108" y="633"/>
                    </a:cubicBezTo>
                    <a:cubicBezTo>
                      <a:pt x="93" y="626"/>
                      <a:pt x="76" y="618"/>
                      <a:pt x="71" y="543"/>
                    </a:cubicBezTo>
                    <a:cubicBezTo>
                      <a:pt x="71" y="503"/>
                      <a:pt x="88" y="492"/>
                      <a:pt x="88" y="492"/>
                    </a:cubicBezTo>
                    <a:cubicBezTo>
                      <a:pt x="98" y="487"/>
                      <a:pt x="104" y="476"/>
                      <a:pt x="102" y="465"/>
                    </a:cubicBezTo>
                    <a:cubicBezTo>
                      <a:pt x="102" y="465"/>
                      <a:pt x="95" y="422"/>
                      <a:pt x="88" y="374"/>
                    </a:cubicBezTo>
                    <a:cubicBezTo>
                      <a:pt x="66" y="243"/>
                      <a:pt x="67" y="101"/>
                      <a:pt x="231" y="35"/>
                    </a:cubicBezTo>
                    <a:cubicBezTo>
                      <a:pt x="288" y="12"/>
                      <a:pt x="344" y="0"/>
                      <a:pt x="397" y="0"/>
                    </a:cubicBezTo>
                    <a:cubicBezTo>
                      <a:pt x="482" y="0"/>
                      <a:pt x="525" y="28"/>
                      <a:pt x="531" y="39"/>
                    </a:cubicBezTo>
                    <a:cubicBezTo>
                      <a:pt x="534" y="44"/>
                      <a:pt x="540" y="49"/>
                      <a:pt x="546" y="50"/>
                    </a:cubicBezTo>
                    <a:cubicBezTo>
                      <a:pt x="546" y="50"/>
                      <a:pt x="552" y="52"/>
                      <a:pt x="552" y="52"/>
                    </a:cubicBezTo>
                    <a:cubicBezTo>
                      <a:pt x="554" y="53"/>
                      <a:pt x="559" y="53"/>
                      <a:pt x="561" y="53"/>
                    </a:cubicBezTo>
                    <a:cubicBezTo>
                      <a:pt x="581" y="53"/>
                      <a:pt x="648" y="57"/>
                      <a:pt x="692" y="108"/>
                    </a:cubicBezTo>
                    <a:cubicBezTo>
                      <a:pt x="760" y="187"/>
                      <a:pt x="739" y="397"/>
                      <a:pt x="726" y="465"/>
                    </a:cubicBezTo>
                    <a:cubicBezTo>
                      <a:pt x="725" y="475"/>
                      <a:pt x="731" y="486"/>
                      <a:pt x="740" y="492"/>
                    </a:cubicBezTo>
                    <a:cubicBezTo>
                      <a:pt x="741" y="492"/>
                      <a:pt x="758" y="503"/>
                      <a:pt x="758" y="542"/>
                    </a:cubicBezTo>
                    <a:cubicBezTo>
                      <a:pt x="752" y="618"/>
                      <a:pt x="736" y="626"/>
                      <a:pt x="720" y="633"/>
                    </a:cubicBezTo>
                    <a:cubicBezTo>
                      <a:pt x="706" y="640"/>
                      <a:pt x="683" y="651"/>
                      <a:pt x="676" y="689"/>
                    </a:cubicBezTo>
                    <a:cubicBezTo>
                      <a:pt x="662" y="768"/>
                      <a:pt x="643" y="796"/>
                      <a:pt x="627" y="819"/>
                    </a:cubicBezTo>
                    <a:cubicBezTo>
                      <a:pt x="612" y="841"/>
                      <a:pt x="598" y="861"/>
                      <a:pt x="598" y="909"/>
                    </a:cubicBezTo>
                    <a:cubicBezTo>
                      <a:pt x="598" y="1056"/>
                      <a:pt x="653" y="1129"/>
                      <a:pt x="829" y="1201"/>
                    </a:cubicBezTo>
                  </a:path>
                </a:pathLst>
              </a:custGeom>
              <a:noFill/>
              <a:ln w="28575" cap="rnd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>
                  <a:solidFill>
                    <a:schemeClr val="lt1"/>
                  </a:solidFill>
                </a:endParaRPr>
              </a:p>
            </p:txBody>
          </p:sp>
          <p:sp>
            <p:nvSpPr>
              <p:cNvPr id="57" name="Freeform 9">
                <a:extLst>
                  <a:ext uri="{FF2B5EF4-FFF2-40B4-BE49-F238E27FC236}">
                    <a16:creationId xmlns:a16="http://schemas.microsoft.com/office/drawing/2014/main" xmlns="" id="{5D31C2CE-D202-4F85-B614-CE0155F4F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2776" y="3245669"/>
                <a:ext cx="279669" cy="404836"/>
              </a:xfrm>
              <a:custGeom>
                <a:avLst/>
                <a:gdLst>
                  <a:gd name="T0" fmla="*/ 0 w 829"/>
                  <a:gd name="T1" fmla="*/ 1201 h 1201"/>
                  <a:gd name="T2" fmla="*/ 231 w 829"/>
                  <a:gd name="T3" fmla="*/ 909 h 1201"/>
                  <a:gd name="T4" fmla="*/ 202 w 829"/>
                  <a:gd name="T5" fmla="*/ 819 h 1201"/>
                  <a:gd name="T6" fmla="*/ 152 w 829"/>
                  <a:gd name="T7" fmla="*/ 689 h 1201"/>
                  <a:gd name="T8" fmla="*/ 108 w 829"/>
                  <a:gd name="T9" fmla="*/ 633 h 1201"/>
                  <a:gd name="T10" fmla="*/ 71 w 829"/>
                  <a:gd name="T11" fmla="*/ 543 h 1201"/>
                  <a:gd name="T12" fmla="*/ 88 w 829"/>
                  <a:gd name="T13" fmla="*/ 492 h 1201"/>
                  <a:gd name="T14" fmla="*/ 102 w 829"/>
                  <a:gd name="T15" fmla="*/ 465 h 1201"/>
                  <a:gd name="T16" fmla="*/ 88 w 829"/>
                  <a:gd name="T17" fmla="*/ 374 h 1201"/>
                  <a:gd name="T18" fmla="*/ 231 w 829"/>
                  <a:gd name="T19" fmla="*/ 35 h 1201"/>
                  <a:gd name="T20" fmla="*/ 397 w 829"/>
                  <a:gd name="T21" fmla="*/ 0 h 1201"/>
                  <a:gd name="T22" fmla="*/ 531 w 829"/>
                  <a:gd name="T23" fmla="*/ 39 h 1201"/>
                  <a:gd name="T24" fmla="*/ 546 w 829"/>
                  <a:gd name="T25" fmla="*/ 50 h 1201"/>
                  <a:gd name="T26" fmla="*/ 552 w 829"/>
                  <a:gd name="T27" fmla="*/ 52 h 1201"/>
                  <a:gd name="T28" fmla="*/ 561 w 829"/>
                  <a:gd name="T29" fmla="*/ 53 h 1201"/>
                  <a:gd name="T30" fmla="*/ 692 w 829"/>
                  <a:gd name="T31" fmla="*/ 108 h 1201"/>
                  <a:gd name="T32" fmla="*/ 726 w 829"/>
                  <a:gd name="T33" fmla="*/ 465 h 1201"/>
                  <a:gd name="T34" fmla="*/ 740 w 829"/>
                  <a:gd name="T35" fmla="*/ 492 h 1201"/>
                  <a:gd name="T36" fmla="*/ 758 w 829"/>
                  <a:gd name="T37" fmla="*/ 542 h 1201"/>
                  <a:gd name="T38" fmla="*/ 720 w 829"/>
                  <a:gd name="T39" fmla="*/ 633 h 1201"/>
                  <a:gd name="T40" fmla="*/ 676 w 829"/>
                  <a:gd name="T41" fmla="*/ 689 h 1201"/>
                  <a:gd name="T42" fmla="*/ 627 w 829"/>
                  <a:gd name="T43" fmla="*/ 819 h 1201"/>
                  <a:gd name="T44" fmla="*/ 598 w 829"/>
                  <a:gd name="T45" fmla="*/ 909 h 1201"/>
                  <a:gd name="T46" fmla="*/ 829 w 829"/>
                  <a:gd name="T47" fmla="*/ 1201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29" h="1201">
                    <a:moveTo>
                      <a:pt x="0" y="1201"/>
                    </a:moveTo>
                    <a:cubicBezTo>
                      <a:pt x="175" y="1129"/>
                      <a:pt x="231" y="1056"/>
                      <a:pt x="231" y="909"/>
                    </a:cubicBezTo>
                    <a:cubicBezTo>
                      <a:pt x="231" y="861"/>
                      <a:pt x="217" y="841"/>
                      <a:pt x="202" y="819"/>
                    </a:cubicBezTo>
                    <a:cubicBezTo>
                      <a:pt x="186" y="796"/>
                      <a:pt x="167" y="768"/>
                      <a:pt x="152" y="689"/>
                    </a:cubicBezTo>
                    <a:cubicBezTo>
                      <a:pt x="145" y="651"/>
                      <a:pt x="123" y="640"/>
                      <a:pt x="108" y="633"/>
                    </a:cubicBezTo>
                    <a:cubicBezTo>
                      <a:pt x="93" y="626"/>
                      <a:pt x="76" y="618"/>
                      <a:pt x="71" y="543"/>
                    </a:cubicBezTo>
                    <a:cubicBezTo>
                      <a:pt x="71" y="503"/>
                      <a:pt x="88" y="492"/>
                      <a:pt x="88" y="492"/>
                    </a:cubicBezTo>
                    <a:cubicBezTo>
                      <a:pt x="98" y="487"/>
                      <a:pt x="104" y="476"/>
                      <a:pt x="102" y="465"/>
                    </a:cubicBezTo>
                    <a:cubicBezTo>
                      <a:pt x="102" y="465"/>
                      <a:pt x="95" y="422"/>
                      <a:pt x="88" y="374"/>
                    </a:cubicBezTo>
                    <a:cubicBezTo>
                      <a:pt x="66" y="243"/>
                      <a:pt x="67" y="101"/>
                      <a:pt x="231" y="35"/>
                    </a:cubicBezTo>
                    <a:cubicBezTo>
                      <a:pt x="288" y="12"/>
                      <a:pt x="344" y="0"/>
                      <a:pt x="397" y="0"/>
                    </a:cubicBezTo>
                    <a:cubicBezTo>
                      <a:pt x="482" y="0"/>
                      <a:pt x="525" y="28"/>
                      <a:pt x="531" y="39"/>
                    </a:cubicBezTo>
                    <a:cubicBezTo>
                      <a:pt x="534" y="44"/>
                      <a:pt x="540" y="49"/>
                      <a:pt x="546" y="50"/>
                    </a:cubicBezTo>
                    <a:cubicBezTo>
                      <a:pt x="546" y="50"/>
                      <a:pt x="552" y="52"/>
                      <a:pt x="552" y="52"/>
                    </a:cubicBezTo>
                    <a:cubicBezTo>
                      <a:pt x="554" y="53"/>
                      <a:pt x="559" y="53"/>
                      <a:pt x="561" y="53"/>
                    </a:cubicBezTo>
                    <a:cubicBezTo>
                      <a:pt x="581" y="53"/>
                      <a:pt x="648" y="57"/>
                      <a:pt x="692" y="108"/>
                    </a:cubicBezTo>
                    <a:cubicBezTo>
                      <a:pt x="760" y="187"/>
                      <a:pt x="739" y="397"/>
                      <a:pt x="726" y="465"/>
                    </a:cubicBezTo>
                    <a:cubicBezTo>
                      <a:pt x="725" y="475"/>
                      <a:pt x="731" y="486"/>
                      <a:pt x="740" y="492"/>
                    </a:cubicBezTo>
                    <a:cubicBezTo>
                      <a:pt x="741" y="492"/>
                      <a:pt x="758" y="503"/>
                      <a:pt x="758" y="542"/>
                    </a:cubicBezTo>
                    <a:cubicBezTo>
                      <a:pt x="752" y="618"/>
                      <a:pt x="736" y="626"/>
                      <a:pt x="720" y="633"/>
                    </a:cubicBezTo>
                    <a:cubicBezTo>
                      <a:pt x="706" y="640"/>
                      <a:pt x="683" y="651"/>
                      <a:pt x="676" y="689"/>
                    </a:cubicBezTo>
                    <a:cubicBezTo>
                      <a:pt x="662" y="768"/>
                      <a:pt x="643" y="796"/>
                      <a:pt x="627" y="819"/>
                    </a:cubicBezTo>
                    <a:cubicBezTo>
                      <a:pt x="612" y="841"/>
                      <a:pt x="598" y="861"/>
                      <a:pt x="598" y="909"/>
                    </a:cubicBezTo>
                    <a:cubicBezTo>
                      <a:pt x="598" y="1056"/>
                      <a:pt x="653" y="1129"/>
                      <a:pt x="829" y="1201"/>
                    </a:cubicBezTo>
                  </a:path>
                </a:pathLst>
              </a:custGeom>
              <a:noFill/>
              <a:ln w="28575" cap="rnd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xmlns="" id="{590AA2BB-0EFE-44AE-B67D-D336BF8A5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3260" y="1739713"/>
              <a:ext cx="649946" cy="489100"/>
            </a:xfrm>
            <a:custGeom>
              <a:avLst/>
              <a:gdLst>
                <a:gd name="T0" fmla="*/ 68 w 352"/>
                <a:gd name="T1" fmla="*/ 32 h 264"/>
                <a:gd name="T2" fmla="*/ 0 w 352"/>
                <a:gd name="T3" fmla="*/ 184 h 264"/>
                <a:gd name="T4" fmla="*/ 160 w 352"/>
                <a:gd name="T5" fmla="*/ 184 h 264"/>
                <a:gd name="T6" fmla="*/ 192 w 352"/>
                <a:gd name="T7" fmla="*/ 172 h 264"/>
                <a:gd name="T8" fmla="*/ 272 w 352"/>
                <a:gd name="T9" fmla="*/ 264 h 264"/>
                <a:gd name="T10" fmla="*/ 344 w 352"/>
                <a:gd name="T11" fmla="*/ 152 h 264"/>
                <a:gd name="T12" fmla="*/ 236 w 352"/>
                <a:gd name="T13" fmla="*/ 0 h 264"/>
                <a:gd name="T14" fmla="*/ 192 w 352"/>
                <a:gd name="T15" fmla="*/ 76 h 264"/>
                <a:gd name="T16" fmla="*/ 160 w 352"/>
                <a:gd name="T17" fmla="*/ 48 h 264"/>
                <a:gd name="T18" fmla="*/ 116 w 352"/>
                <a:gd name="T19" fmla="*/ 16 h 264"/>
                <a:gd name="T20" fmla="*/ 104 w 352"/>
                <a:gd name="T21" fmla="*/ 32 h 264"/>
                <a:gd name="T22" fmla="*/ 116 w 352"/>
                <a:gd name="T23" fmla="*/ 16 h 264"/>
                <a:gd name="T24" fmla="*/ 268 w 352"/>
                <a:gd name="T25" fmla="*/ 36 h 264"/>
                <a:gd name="T26" fmla="*/ 208 w 352"/>
                <a:gd name="T27" fmla="*/ 48 h 264"/>
                <a:gd name="T28" fmla="*/ 104 w 352"/>
                <a:gd name="T29" fmla="*/ 48 h 264"/>
                <a:gd name="T30" fmla="*/ 144 w 352"/>
                <a:gd name="T31" fmla="*/ 84 h 264"/>
                <a:gd name="T32" fmla="*/ 80 w 352"/>
                <a:gd name="T33" fmla="*/ 104 h 264"/>
                <a:gd name="T34" fmla="*/ 68 w 352"/>
                <a:gd name="T35" fmla="*/ 68 h 264"/>
                <a:gd name="T36" fmla="*/ 248 w 352"/>
                <a:gd name="T37" fmla="*/ 48 h 264"/>
                <a:gd name="T38" fmla="*/ 304 w 352"/>
                <a:gd name="T39" fmla="*/ 112 h 264"/>
                <a:gd name="T40" fmla="*/ 208 w 352"/>
                <a:gd name="T41" fmla="*/ 136 h 264"/>
                <a:gd name="T42" fmla="*/ 208 w 352"/>
                <a:gd name="T43" fmla="*/ 84 h 264"/>
                <a:gd name="T44" fmla="*/ 160 w 352"/>
                <a:gd name="T45" fmla="*/ 92 h 264"/>
                <a:gd name="T46" fmla="*/ 192 w 352"/>
                <a:gd name="T47" fmla="*/ 156 h 264"/>
                <a:gd name="T48" fmla="*/ 160 w 352"/>
                <a:gd name="T49" fmla="*/ 92 h 264"/>
                <a:gd name="T50" fmla="*/ 144 w 352"/>
                <a:gd name="T51" fmla="*/ 184 h 264"/>
                <a:gd name="T52" fmla="*/ 16 w 352"/>
                <a:gd name="T53" fmla="*/ 184 h 264"/>
                <a:gd name="T54" fmla="*/ 272 w 352"/>
                <a:gd name="T55" fmla="*/ 120 h 264"/>
                <a:gd name="T56" fmla="*/ 272 w 352"/>
                <a:gd name="T57" fmla="*/ 248 h 264"/>
                <a:gd name="T58" fmla="*/ 272 w 352"/>
                <a:gd name="T59" fmla="*/ 120 h 264"/>
                <a:gd name="T60" fmla="*/ 32 w 352"/>
                <a:gd name="T61" fmla="*/ 184 h 264"/>
                <a:gd name="T62" fmla="*/ 128 w 352"/>
                <a:gd name="T63" fmla="*/ 184 h 264"/>
                <a:gd name="T64" fmla="*/ 272 w 352"/>
                <a:gd name="T65" fmla="*/ 136 h 264"/>
                <a:gd name="T66" fmla="*/ 272 w 352"/>
                <a:gd name="T67" fmla="*/ 232 h 264"/>
                <a:gd name="T68" fmla="*/ 272 w 352"/>
                <a:gd name="T69" fmla="*/ 136 h 264"/>
                <a:gd name="T70" fmla="*/ 112 w 352"/>
                <a:gd name="T71" fmla="*/ 184 h 264"/>
                <a:gd name="T72" fmla="*/ 48 w 352"/>
                <a:gd name="T73" fmla="*/ 184 h 264"/>
                <a:gd name="T74" fmla="*/ 272 w 352"/>
                <a:gd name="T75" fmla="*/ 152 h 264"/>
                <a:gd name="T76" fmla="*/ 272 w 352"/>
                <a:gd name="T77" fmla="*/ 216 h 264"/>
                <a:gd name="T78" fmla="*/ 272 w 352"/>
                <a:gd name="T79" fmla="*/ 15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264">
                  <a:moveTo>
                    <a:pt x="116" y="0"/>
                  </a:moveTo>
                  <a:cubicBezTo>
                    <a:pt x="95" y="0"/>
                    <a:pt x="76" y="16"/>
                    <a:pt x="68" y="3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3" y="162"/>
                    <a:pt x="0" y="174"/>
                    <a:pt x="0" y="184"/>
                  </a:cubicBezTo>
                  <a:cubicBezTo>
                    <a:pt x="0" y="228"/>
                    <a:pt x="36" y="264"/>
                    <a:pt x="80" y="264"/>
                  </a:cubicBezTo>
                  <a:cubicBezTo>
                    <a:pt x="124" y="264"/>
                    <a:pt x="160" y="228"/>
                    <a:pt x="160" y="18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92" y="172"/>
                    <a:pt x="192" y="172"/>
                    <a:pt x="192" y="172"/>
                  </a:cubicBezTo>
                  <a:cubicBezTo>
                    <a:pt x="192" y="184"/>
                    <a:pt x="192" y="184"/>
                    <a:pt x="192" y="184"/>
                  </a:cubicBezTo>
                  <a:cubicBezTo>
                    <a:pt x="192" y="228"/>
                    <a:pt x="228" y="264"/>
                    <a:pt x="272" y="264"/>
                  </a:cubicBezTo>
                  <a:cubicBezTo>
                    <a:pt x="316" y="264"/>
                    <a:pt x="352" y="228"/>
                    <a:pt x="352" y="184"/>
                  </a:cubicBezTo>
                  <a:cubicBezTo>
                    <a:pt x="352" y="174"/>
                    <a:pt x="349" y="162"/>
                    <a:pt x="344" y="152"/>
                  </a:cubicBezTo>
                  <a:cubicBezTo>
                    <a:pt x="284" y="32"/>
                    <a:pt x="284" y="32"/>
                    <a:pt x="284" y="32"/>
                  </a:cubicBezTo>
                  <a:cubicBezTo>
                    <a:pt x="276" y="16"/>
                    <a:pt x="257" y="0"/>
                    <a:pt x="236" y="0"/>
                  </a:cubicBezTo>
                  <a:cubicBezTo>
                    <a:pt x="211" y="0"/>
                    <a:pt x="192" y="19"/>
                    <a:pt x="192" y="48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60" y="76"/>
                    <a:pt x="160" y="76"/>
                    <a:pt x="160" y="76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60" y="19"/>
                    <a:pt x="141" y="0"/>
                    <a:pt x="116" y="0"/>
                  </a:cubicBezTo>
                  <a:close/>
                  <a:moveTo>
                    <a:pt x="116" y="16"/>
                  </a:moveTo>
                  <a:cubicBezTo>
                    <a:pt x="134" y="16"/>
                    <a:pt x="144" y="31"/>
                    <a:pt x="144" y="48"/>
                  </a:cubicBezTo>
                  <a:cubicBezTo>
                    <a:pt x="134" y="38"/>
                    <a:pt x="120" y="32"/>
                    <a:pt x="104" y="32"/>
                  </a:cubicBezTo>
                  <a:cubicBezTo>
                    <a:pt x="98" y="32"/>
                    <a:pt x="90" y="34"/>
                    <a:pt x="84" y="36"/>
                  </a:cubicBezTo>
                  <a:cubicBezTo>
                    <a:pt x="91" y="24"/>
                    <a:pt x="104" y="16"/>
                    <a:pt x="116" y="16"/>
                  </a:cubicBezTo>
                  <a:close/>
                  <a:moveTo>
                    <a:pt x="236" y="16"/>
                  </a:moveTo>
                  <a:cubicBezTo>
                    <a:pt x="248" y="16"/>
                    <a:pt x="261" y="24"/>
                    <a:pt x="268" y="36"/>
                  </a:cubicBezTo>
                  <a:cubicBezTo>
                    <a:pt x="262" y="34"/>
                    <a:pt x="254" y="32"/>
                    <a:pt x="248" y="32"/>
                  </a:cubicBezTo>
                  <a:cubicBezTo>
                    <a:pt x="232" y="32"/>
                    <a:pt x="218" y="38"/>
                    <a:pt x="208" y="48"/>
                  </a:cubicBezTo>
                  <a:cubicBezTo>
                    <a:pt x="208" y="31"/>
                    <a:pt x="218" y="16"/>
                    <a:pt x="236" y="16"/>
                  </a:cubicBezTo>
                  <a:close/>
                  <a:moveTo>
                    <a:pt x="104" y="48"/>
                  </a:moveTo>
                  <a:cubicBezTo>
                    <a:pt x="125" y="48"/>
                    <a:pt x="142" y="6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136"/>
                    <a:pt x="144" y="136"/>
                    <a:pt x="144" y="136"/>
                  </a:cubicBezTo>
                  <a:cubicBezTo>
                    <a:pt x="129" y="117"/>
                    <a:pt x="106" y="104"/>
                    <a:pt x="80" y="104"/>
                  </a:cubicBezTo>
                  <a:cubicBezTo>
                    <a:pt x="68" y="104"/>
                    <a:pt x="58" y="107"/>
                    <a:pt x="48" y="112"/>
                  </a:cubicBezTo>
                  <a:cubicBezTo>
                    <a:pt x="58" y="93"/>
                    <a:pt x="60" y="83"/>
                    <a:pt x="68" y="68"/>
                  </a:cubicBezTo>
                  <a:cubicBezTo>
                    <a:pt x="76" y="56"/>
                    <a:pt x="91" y="48"/>
                    <a:pt x="104" y="48"/>
                  </a:cubicBezTo>
                  <a:close/>
                  <a:moveTo>
                    <a:pt x="248" y="48"/>
                  </a:moveTo>
                  <a:cubicBezTo>
                    <a:pt x="261" y="48"/>
                    <a:pt x="276" y="56"/>
                    <a:pt x="284" y="68"/>
                  </a:cubicBezTo>
                  <a:cubicBezTo>
                    <a:pt x="292" y="83"/>
                    <a:pt x="294" y="93"/>
                    <a:pt x="304" y="112"/>
                  </a:cubicBezTo>
                  <a:cubicBezTo>
                    <a:pt x="294" y="107"/>
                    <a:pt x="284" y="104"/>
                    <a:pt x="272" y="104"/>
                  </a:cubicBezTo>
                  <a:cubicBezTo>
                    <a:pt x="246" y="104"/>
                    <a:pt x="223" y="117"/>
                    <a:pt x="208" y="136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10" y="64"/>
                    <a:pt x="227" y="48"/>
                    <a:pt x="248" y="48"/>
                  </a:cubicBezTo>
                  <a:close/>
                  <a:moveTo>
                    <a:pt x="160" y="92"/>
                  </a:moveTo>
                  <a:cubicBezTo>
                    <a:pt x="192" y="92"/>
                    <a:pt x="192" y="92"/>
                    <a:pt x="192" y="92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60" y="156"/>
                    <a:pt x="160" y="156"/>
                    <a:pt x="160" y="156"/>
                  </a:cubicBezTo>
                  <a:lnTo>
                    <a:pt x="160" y="92"/>
                  </a:lnTo>
                  <a:close/>
                  <a:moveTo>
                    <a:pt x="80" y="120"/>
                  </a:moveTo>
                  <a:cubicBezTo>
                    <a:pt x="115" y="120"/>
                    <a:pt x="144" y="149"/>
                    <a:pt x="144" y="184"/>
                  </a:cubicBezTo>
                  <a:cubicBezTo>
                    <a:pt x="144" y="219"/>
                    <a:pt x="115" y="248"/>
                    <a:pt x="80" y="248"/>
                  </a:cubicBezTo>
                  <a:cubicBezTo>
                    <a:pt x="45" y="248"/>
                    <a:pt x="16" y="219"/>
                    <a:pt x="16" y="184"/>
                  </a:cubicBezTo>
                  <a:cubicBezTo>
                    <a:pt x="16" y="149"/>
                    <a:pt x="45" y="120"/>
                    <a:pt x="80" y="120"/>
                  </a:cubicBezTo>
                  <a:close/>
                  <a:moveTo>
                    <a:pt x="272" y="120"/>
                  </a:moveTo>
                  <a:cubicBezTo>
                    <a:pt x="307" y="120"/>
                    <a:pt x="336" y="149"/>
                    <a:pt x="336" y="184"/>
                  </a:cubicBezTo>
                  <a:cubicBezTo>
                    <a:pt x="336" y="219"/>
                    <a:pt x="307" y="248"/>
                    <a:pt x="272" y="248"/>
                  </a:cubicBezTo>
                  <a:cubicBezTo>
                    <a:pt x="237" y="248"/>
                    <a:pt x="208" y="219"/>
                    <a:pt x="208" y="184"/>
                  </a:cubicBezTo>
                  <a:cubicBezTo>
                    <a:pt x="208" y="149"/>
                    <a:pt x="237" y="120"/>
                    <a:pt x="272" y="120"/>
                  </a:cubicBezTo>
                  <a:close/>
                  <a:moveTo>
                    <a:pt x="80" y="136"/>
                  </a:moveTo>
                  <a:cubicBezTo>
                    <a:pt x="54" y="136"/>
                    <a:pt x="32" y="158"/>
                    <a:pt x="32" y="184"/>
                  </a:cubicBezTo>
                  <a:cubicBezTo>
                    <a:pt x="32" y="210"/>
                    <a:pt x="54" y="232"/>
                    <a:pt x="80" y="232"/>
                  </a:cubicBezTo>
                  <a:cubicBezTo>
                    <a:pt x="106" y="232"/>
                    <a:pt x="128" y="210"/>
                    <a:pt x="128" y="184"/>
                  </a:cubicBezTo>
                  <a:cubicBezTo>
                    <a:pt x="128" y="158"/>
                    <a:pt x="106" y="136"/>
                    <a:pt x="80" y="136"/>
                  </a:cubicBezTo>
                  <a:close/>
                  <a:moveTo>
                    <a:pt x="272" y="136"/>
                  </a:moveTo>
                  <a:cubicBezTo>
                    <a:pt x="246" y="136"/>
                    <a:pt x="224" y="158"/>
                    <a:pt x="224" y="184"/>
                  </a:cubicBezTo>
                  <a:cubicBezTo>
                    <a:pt x="224" y="210"/>
                    <a:pt x="246" y="232"/>
                    <a:pt x="272" y="232"/>
                  </a:cubicBezTo>
                  <a:cubicBezTo>
                    <a:pt x="298" y="232"/>
                    <a:pt x="320" y="210"/>
                    <a:pt x="320" y="184"/>
                  </a:cubicBezTo>
                  <a:cubicBezTo>
                    <a:pt x="320" y="158"/>
                    <a:pt x="298" y="136"/>
                    <a:pt x="272" y="136"/>
                  </a:cubicBezTo>
                  <a:close/>
                  <a:moveTo>
                    <a:pt x="80" y="152"/>
                  </a:moveTo>
                  <a:cubicBezTo>
                    <a:pt x="98" y="152"/>
                    <a:pt x="112" y="166"/>
                    <a:pt x="112" y="184"/>
                  </a:cubicBezTo>
                  <a:cubicBezTo>
                    <a:pt x="112" y="202"/>
                    <a:pt x="98" y="216"/>
                    <a:pt x="80" y="216"/>
                  </a:cubicBezTo>
                  <a:cubicBezTo>
                    <a:pt x="62" y="216"/>
                    <a:pt x="48" y="202"/>
                    <a:pt x="48" y="184"/>
                  </a:cubicBezTo>
                  <a:cubicBezTo>
                    <a:pt x="48" y="166"/>
                    <a:pt x="62" y="152"/>
                    <a:pt x="80" y="152"/>
                  </a:cubicBezTo>
                  <a:close/>
                  <a:moveTo>
                    <a:pt x="272" y="152"/>
                  </a:moveTo>
                  <a:cubicBezTo>
                    <a:pt x="290" y="152"/>
                    <a:pt x="304" y="166"/>
                    <a:pt x="304" y="184"/>
                  </a:cubicBezTo>
                  <a:cubicBezTo>
                    <a:pt x="304" y="202"/>
                    <a:pt x="290" y="216"/>
                    <a:pt x="272" y="216"/>
                  </a:cubicBezTo>
                  <a:cubicBezTo>
                    <a:pt x="254" y="216"/>
                    <a:pt x="240" y="202"/>
                    <a:pt x="240" y="184"/>
                  </a:cubicBezTo>
                  <a:cubicBezTo>
                    <a:pt x="240" y="166"/>
                    <a:pt x="254" y="152"/>
                    <a:pt x="272" y="15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2F2F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Arc 47">
              <a:extLst>
                <a:ext uri="{FF2B5EF4-FFF2-40B4-BE49-F238E27FC236}">
                  <a16:creationId xmlns:a16="http://schemas.microsoft.com/office/drawing/2014/main" xmlns="" id="{66E17FB7-9290-474F-A59F-9E7886EFA91C}"/>
                </a:ext>
              </a:extLst>
            </p:cNvPr>
            <p:cNvSpPr/>
            <p:nvPr/>
          </p:nvSpPr>
          <p:spPr>
            <a:xfrm rot="19258884">
              <a:off x="3525896" y="1427795"/>
              <a:ext cx="2101231" cy="2101231"/>
            </a:xfrm>
            <a:prstGeom prst="arc">
              <a:avLst>
                <a:gd name="adj1" fmla="val 15800646"/>
                <a:gd name="adj2" fmla="val 20871801"/>
              </a:avLst>
            </a:prstGeom>
            <a:noFill/>
            <a:ln w="38100" cap="rnd">
              <a:gradFill>
                <a:gsLst>
                  <a:gs pos="56000">
                    <a:schemeClr val="bg1">
                      <a:lumMod val="75000"/>
                      <a:alpha val="61000"/>
                    </a:schemeClr>
                  </a:gs>
                  <a:gs pos="0">
                    <a:schemeClr val="bg1">
                      <a:lumMod val="95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49" name="Arc 48">
              <a:extLst>
                <a:ext uri="{FF2B5EF4-FFF2-40B4-BE49-F238E27FC236}">
                  <a16:creationId xmlns:a16="http://schemas.microsoft.com/office/drawing/2014/main" xmlns="" id="{361B2806-D78B-42F4-AC45-12A77C9D1458}"/>
                </a:ext>
              </a:extLst>
            </p:cNvPr>
            <p:cNvSpPr/>
            <p:nvPr/>
          </p:nvSpPr>
          <p:spPr>
            <a:xfrm rot="4947274">
              <a:off x="3525895" y="1427796"/>
              <a:ext cx="2101231" cy="2101231"/>
            </a:xfrm>
            <a:prstGeom prst="arc">
              <a:avLst>
                <a:gd name="adj1" fmla="val 16200000"/>
                <a:gd name="adj2" fmla="val 20417060"/>
              </a:avLst>
            </a:prstGeom>
            <a:noFill/>
            <a:ln w="38100" cap="rnd">
              <a:gradFill>
                <a:gsLst>
                  <a:gs pos="56000">
                    <a:schemeClr val="accent1"/>
                  </a:gs>
                  <a:gs pos="0">
                    <a:schemeClr val="accent1">
                      <a:lumMod val="40000"/>
                      <a:lumOff val="60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50" name="Arc 49">
              <a:extLst>
                <a:ext uri="{FF2B5EF4-FFF2-40B4-BE49-F238E27FC236}">
                  <a16:creationId xmlns:a16="http://schemas.microsoft.com/office/drawing/2014/main" xmlns="" id="{5D83351D-E8A3-4515-97A3-F8F688C94840}"/>
                </a:ext>
              </a:extLst>
            </p:cNvPr>
            <p:cNvSpPr/>
            <p:nvPr/>
          </p:nvSpPr>
          <p:spPr>
            <a:xfrm rot="12357946">
              <a:off x="3525896" y="1427796"/>
              <a:ext cx="2101231" cy="2101231"/>
            </a:xfrm>
            <a:prstGeom prst="arc">
              <a:avLst>
                <a:gd name="adj1" fmla="val 16200000"/>
                <a:gd name="adj2" fmla="val 20537240"/>
              </a:avLst>
            </a:prstGeom>
            <a:noFill/>
            <a:ln w="38100" cap="rnd">
              <a:gradFill>
                <a:gsLst>
                  <a:gs pos="56000">
                    <a:schemeClr val="bg1">
                      <a:lumMod val="75000"/>
                      <a:alpha val="61000"/>
                    </a:schemeClr>
                  </a:gs>
                  <a:gs pos="0">
                    <a:schemeClr val="bg1">
                      <a:lumMod val="95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51" name="Rectangle 10">
              <a:extLst>
                <a:ext uri="{FF2B5EF4-FFF2-40B4-BE49-F238E27FC236}">
                  <a16:creationId xmlns:a16="http://schemas.microsoft.com/office/drawing/2014/main" xmlns="" id="{E198A46C-F340-4FAA-AA1B-BACB54F668F5}"/>
                </a:ext>
              </a:extLst>
            </p:cNvPr>
            <p:cNvSpPr/>
            <p:nvPr/>
          </p:nvSpPr>
          <p:spPr>
            <a:xfrm rot="20903569">
              <a:off x="5139214" y="1581393"/>
              <a:ext cx="103201" cy="102306"/>
            </a:xfrm>
            <a:custGeom>
              <a:avLst/>
              <a:gdLst>
                <a:gd name="connsiteX0" fmla="*/ 0 w 655320"/>
                <a:gd name="connsiteY0" fmla="*/ 0 h 655320"/>
                <a:gd name="connsiteX1" fmla="*/ 655320 w 655320"/>
                <a:gd name="connsiteY1" fmla="*/ 0 h 655320"/>
                <a:gd name="connsiteX2" fmla="*/ 655320 w 655320"/>
                <a:gd name="connsiteY2" fmla="*/ 655320 h 655320"/>
                <a:gd name="connsiteX3" fmla="*/ 0 w 655320"/>
                <a:gd name="connsiteY3" fmla="*/ 655320 h 655320"/>
                <a:gd name="connsiteX4" fmla="*/ 0 w 655320"/>
                <a:gd name="connsiteY4" fmla="*/ 0 h 655320"/>
                <a:gd name="connsiteX0" fmla="*/ 655320 w 746760"/>
                <a:gd name="connsiteY0" fmla="*/ 0 h 655320"/>
                <a:gd name="connsiteX1" fmla="*/ 655320 w 746760"/>
                <a:gd name="connsiteY1" fmla="*/ 655320 h 655320"/>
                <a:gd name="connsiteX2" fmla="*/ 0 w 746760"/>
                <a:gd name="connsiteY2" fmla="*/ 655320 h 655320"/>
                <a:gd name="connsiteX3" fmla="*/ 0 w 746760"/>
                <a:gd name="connsiteY3" fmla="*/ 0 h 655320"/>
                <a:gd name="connsiteX4" fmla="*/ 746760 w 746760"/>
                <a:gd name="connsiteY4" fmla="*/ 9144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  <a:gd name="connsiteX3" fmla="*/ 0 w 655320"/>
                <a:gd name="connsiteY3" fmla="*/ 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20" h="655320">
                  <a:moveTo>
                    <a:pt x="655320" y="0"/>
                  </a:moveTo>
                  <a:lnTo>
                    <a:pt x="655320" y="655320"/>
                  </a:lnTo>
                  <a:lnTo>
                    <a:pt x="0" y="655320"/>
                  </a:lnTo>
                </a:path>
              </a:pathLst>
            </a:custGeom>
            <a:noFill/>
            <a:ln w="38100" cap="rnd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2" name="Rectangle 10">
              <a:extLst>
                <a:ext uri="{FF2B5EF4-FFF2-40B4-BE49-F238E27FC236}">
                  <a16:creationId xmlns:a16="http://schemas.microsoft.com/office/drawing/2014/main" xmlns="" id="{893D5C62-F015-4AFB-BA5E-19280F18C186}"/>
                </a:ext>
              </a:extLst>
            </p:cNvPr>
            <p:cNvSpPr/>
            <p:nvPr/>
          </p:nvSpPr>
          <p:spPr>
            <a:xfrm rot="6177476">
              <a:off x="5043703" y="3335315"/>
              <a:ext cx="103201" cy="102306"/>
            </a:xfrm>
            <a:custGeom>
              <a:avLst/>
              <a:gdLst>
                <a:gd name="connsiteX0" fmla="*/ 0 w 655320"/>
                <a:gd name="connsiteY0" fmla="*/ 0 h 655320"/>
                <a:gd name="connsiteX1" fmla="*/ 655320 w 655320"/>
                <a:gd name="connsiteY1" fmla="*/ 0 h 655320"/>
                <a:gd name="connsiteX2" fmla="*/ 655320 w 655320"/>
                <a:gd name="connsiteY2" fmla="*/ 655320 h 655320"/>
                <a:gd name="connsiteX3" fmla="*/ 0 w 655320"/>
                <a:gd name="connsiteY3" fmla="*/ 655320 h 655320"/>
                <a:gd name="connsiteX4" fmla="*/ 0 w 655320"/>
                <a:gd name="connsiteY4" fmla="*/ 0 h 655320"/>
                <a:gd name="connsiteX0" fmla="*/ 655320 w 746760"/>
                <a:gd name="connsiteY0" fmla="*/ 0 h 655320"/>
                <a:gd name="connsiteX1" fmla="*/ 655320 w 746760"/>
                <a:gd name="connsiteY1" fmla="*/ 655320 h 655320"/>
                <a:gd name="connsiteX2" fmla="*/ 0 w 746760"/>
                <a:gd name="connsiteY2" fmla="*/ 655320 h 655320"/>
                <a:gd name="connsiteX3" fmla="*/ 0 w 746760"/>
                <a:gd name="connsiteY3" fmla="*/ 0 h 655320"/>
                <a:gd name="connsiteX4" fmla="*/ 746760 w 746760"/>
                <a:gd name="connsiteY4" fmla="*/ 9144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  <a:gd name="connsiteX3" fmla="*/ 0 w 655320"/>
                <a:gd name="connsiteY3" fmla="*/ 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20" h="655320">
                  <a:moveTo>
                    <a:pt x="655320" y="0"/>
                  </a:moveTo>
                  <a:lnTo>
                    <a:pt x="655320" y="655320"/>
                  </a:lnTo>
                  <a:lnTo>
                    <a:pt x="0" y="655320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3" name="Rectangle 10">
              <a:extLst>
                <a:ext uri="{FF2B5EF4-FFF2-40B4-BE49-F238E27FC236}">
                  <a16:creationId xmlns:a16="http://schemas.microsoft.com/office/drawing/2014/main" xmlns="" id="{9A32B549-58EA-488A-839A-5E6BEFA051C3}"/>
                </a:ext>
              </a:extLst>
            </p:cNvPr>
            <p:cNvSpPr/>
            <p:nvPr/>
          </p:nvSpPr>
          <p:spPr>
            <a:xfrm rot="14233668">
              <a:off x="3476464" y="2323771"/>
              <a:ext cx="103201" cy="102306"/>
            </a:xfrm>
            <a:custGeom>
              <a:avLst/>
              <a:gdLst>
                <a:gd name="connsiteX0" fmla="*/ 0 w 655320"/>
                <a:gd name="connsiteY0" fmla="*/ 0 h 655320"/>
                <a:gd name="connsiteX1" fmla="*/ 655320 w 655320"/>
                <a:gd name="connsiteY1" fmla="*/ 0 h 655320"/>
                <a:gd name="connsiteX2" fmla="*/ 655320 w 655320"/>
                <a:gd name="connsiteY2" fmla="*/ 655320 h 655320"/>
                <a:gd name="connsiteX3" fmla="*/ 0 w 655320"/>
                <a:gd name="connsiteY3" fmla="*/ 655320 h 655320"/>
                <a:gd name="connsiteX4" fmla="*/ 0 w 655320"/>
                <a:gd name="connsiteY4" fmla="*/ 0 h 655320"/>
                <a:gd name="connsiteX0" fmla="*/ 655320 w 746760"/>
                <a:gd name="connsiteY0" fmla="*/ 0 h 655320"/>
                <a:gd name="connsiteX1" fmla="*/ 655320 w 746760"/>
                <a:gd name="connsiteY1" fmla="*/ 655320 h 655320"/>
                <a:gd name="connsiteX2" fmla="*/ 0 w 746760"/>
                <a:gd name="connsiteY2" fmla="*/ 655320 h 655320"/>
                <a:gd name="connsiteX3" fmla="*/ 0 w 746760"/>
                <a:gd name="connsiteY3" fmla="*/ 0 h 655320"/>
                <a:gd name="connsiteX4" fmla="*/ 746760 w 746760"/>
                <a:gd name="connsiteY4" fmla="*/ 9144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  <a:gd name="connsiteX3" fmla="*/ 0 w 655320"/>
                <a:gd name="connsiteY3" fmla="*/ 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20" h="655320">
                  <a:moveTo>
                    <a:pt x="655320" y="0"/>
                  </a:moveTo>
                  <a:lnTo>
                    <a:pt x="655320" y="655320"/>
                  </a:lnTo>
                  <a:lnTo>
                    <a:pt x="0" y="655320"/>
                  </a:lnTo>
                </a:path>
              </a:pathLst>
            </a:custGeom>
            <a:noFill/>
            <a:ln w="38100" cap="rnd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4" name="TextBox 671">
              <a:extLst>
                <a:ext uri="{FF2B5EF4-FFF2-40B4-BE49-F238E27FC236}">
                  <a16:creationId xmlns:a16="http://schemas.microsoft.com/office/drawing/2014/main" xmlns="" id="{D5C84C55-7C68-4F83-8B84-E924AFD99272}"/>
                </a:ext>
              </a:extLst>
            </p:cNvPr>
            <p:cNvSpPr txBox="1">
              <a:spLocks/>
            </p:cNvSpPr>
            <p:nvPr/>
          </p:nvSpPr>
          <p:spPr>
            <a:xfrm>
              <a:off x="3923005" y="2285987"/>
              <a:ext cx="1297992" cy="388646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t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/>
                  </a:solidFill>
                </a:rPr>
                <a:t>x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12771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xmlns="" id="{75492944-EA6D-469D-967A-3D6716160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01200DA4-49B7-4D3A-8A7B-CB96B6953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27</a:t>
            </a:fld>
            <a:endParaRPr lang="en-GB" noProof="0" dirty="0"/>
          </a:p>
        </p:txBody>
      </p:sp>
      <p:sp>
        <p:nvSpPr>
          <p:cNvPr id="77" name="Espace réservé de la date 7">
            <a:extLst>
              <a:ext uri="{FF2B5EF4-FFF2-40B4-BE49-F238E27FC236}">
                <a16:creationId xmlns:a16="http://schemas.microsoft.com/office/drawing/2014/main" xmlns="" id="{55C1FAA4-49A7-4509-BBDC-7A8DF601BD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78" name="Espace réservé du pied de page 9">
            <a:extLst>
              <a:ext uri="{FF2B5EF4-FFF2-40B4-BE49-F238E27FC236}">
                <a16:creationId xmlns:a16="http://schemas.microsoft.com/office/drawing/2014/main" xmlns="" id="{EFF01255-2AFB-433B-B92B-7E7C9375A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52" y="6524625"/>
            <a:ext cx="6804236" cy="333376"/>
          </a:xfrm>
        </p:spPr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79" name="TextBox 179">
            <a:extLst>
              <a:ext uri="{FF2B5EF4-FFF2-40B4-BE49-F238E27FC236}">
                <a16:creationId xmlns:a16="http://schemas.microsoft.com/office/drawing/2014/main" xmlns="" id="{42938660-E3A5-4682-B09A-C0D7CCC9243F}"/>
              </a:ext>
            </a:extLst>
          </p:cNvPr>
          <p:cNvSpPr txBox="1">
            <a:spLocks/>
          </p:cNvSpPr>
          <p:nvPr/>
        </p:nvSpPr>
        <p:spPr>
          <a:xfrm>
            <a:off x="2033458" y="2060848"/>
            <a:ext cx="5077084" cy="259675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Timeline title</a:t>
            </a:r>
          </a:p>
        </p:txBody>
      </p:sp>
      <p:cxnSp>
        <p:nvCxnSpPr>
          <p:cNvPr id="80" name="Connecteur droit 79">
            <a:extLst>
              <a:ext uri="{FF2B5EF4-FFF2-40B4-BE49-F238E27FC236}">
                <a16:creationId xmlns:a16="http://schemas.microsoft.com/office/drawing/2014/main" xmlns="" id="{846E43B8-7E91-4F32-B0F8-F6E3725C2371}"/>
              </a:ext>
            </a:extLst>
          </p:cNvPr>
          <p:cNvCxnSpPr/>
          <p:nvPr/>
        </p:nvCxnSpPr>
        <p:spPr>
          <a:xfrm>
            <a:off x="285750" y="3798952"/>
            <a:ext cx="8401050" cy="0"/>
          </a:xfrm>
          <a:prstGeom prst="line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e 80">
            <a:extLst>
              <a:ext uri="{FF2B5EF4-FFF2-40B4-BE49-F238E27FC236}">
                <a16:creationId xmlns:a16="http://schemas.microsoft.com/office/drawing/2014/main" xmlns="" id="{34BBB327-BB94-429A-A308-E5434C55AF4F}"/>
              </a:ext>
            </a:extLst>
          </p:cNvPr>
          <p:cNvGrpSpPr/>
          <p:nvPr/>
        </p:nvGrpSpPr>
        <p:grpSpPr>
          <a:xfrm>
            <a:off x="185423" y="3426703"/>
            <a:ext cx="639919" cy="419874"/>
            <a:chOff x="185423" y="2456676"/>
            <a:chExt cx="639919" cy="419874"/>
          </a:xfrm>
        </p:grpSpPr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xmlns="" id="{9C621426-B3BE-42E7-84E3-37C94FF15ADD}"/>
                </a:ext>
              </a:extLst>
            </p:cNvPr>
            <p:cNvSpPr/>
            <p:nvPr/>
          </p:nvSpPr>
          <p:spPr>
            <a:xfrm>
              <a:off x="285750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3" name="ZoneTexte 82">
              <a:extLst>
                <a:ext uri="{FF2B5EF4-FFF2-40B4-BE49-F238E27FC236}">
                  <a16:creationId xmlns:a16="http://schemas.microsoft.com/office/drawing/2014/main" xmlns="" id="{966C6FF8-EB2B-4710-912F-AC02897B8E26}"/>
                </a:ext>
              </a:extLst>
            </p:cNvPr>
            <p:cNvSpPr txBox="1"/>
            <p:nvPr/>
          </p:nvSpPr>
          <p:spPr>
            <a:xfrm>
              <a:off x="185423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chemeClr val="accent1"/>
                  </a:solidFill>
                </a:rPr>
                <a:t>2012</a:t>
              </a:r>
            </a:p>
          </p:txBody>
        </p:sp>
      </p:grpSp>
      <p:grpSp>
        <p:nvGrpSpPr>
          <p:cNvPr id="84" name="Groupe 83">
            <a:extLst>
              <a:ext uri="{FF2B5EF4-FFF2-40B4-BE49-F238E27FC236}">
                <a16:creationId xmlns:a16="http://schemas.microsoft.com/office/drawing/2014/main" xmlns="" id="{F53C3583-F9D5-4FB7-A336-1886B830134C}"/>
              </a:ext>
            </a:extLst>
          </p:cNvPr>
          <p:cNvGrpSpPr/>
          <p:nvPr/>
        </p:nvGrpSpPr>
        <p:grpSpPr>
          <a:xfrm>
            <a:off x="1577280" y="3426703"/>
            <a:ext cx="639919" cy="419874"/>
            <a:chOff x="1577280" y="2456676"/>
            <a:chExt cx="639919" cy="419874"/>
          </a:xfrm>
        </p:grpSpPr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xmlns="" id="{F36E6662-F868-4330-8D86-D80C8B5B92E1}"/>
                </a:ext>
              </a:extLst>
            </p:cNvPr>
            <p:cNvSpPr/>
            <p:nvPr/>
          </p:nvSpPr>
          <p:spPr>
            <a:xfrm>
              <a:off x="1677607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6" name="ZoneTexte 85">
              <a:extLst>
                <a:ext uri="{FF2B5EF4-FFF2-40B4-BE49-F238E27FC236}">
                  <a16:creationId xmlns:a16="http://schemas.microsoft.com/office/drawing/2014/main" xmlns="" id="{6F7DFBF5-8C84-4681-B1C3-DCF5096FE18F}"/>
                </a:ext>
              </a:extLst>
            </p:cNvPr>
            <p:cNvSpPr txBox="1"/>
            <p:nvPr/>
          </p:nvSpPr>
          <p:spPr>
            <a:xfrm>
              <a:off x="1577280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chemeClr val="accent2"/>
                  </a:solidFill>
                </a:rPr>
                <a:t>2013</a:t>
              </a:r>
            </a:p>
          </p:txBody>
        </p:sp>
      </p:grpSp>
      <p:grpSp>
        <p:nvGrpSpPr>
          <p:cNvPr id="89" name="Groupe 88">
            <a:extLst>
              <a:ext uri="{FF2B5EF4-FFF2-40B4-BE49-F238E27FC236}">
                <a16:creationId xmlns:a16="http://schemas.microsoft.com/office/drawing/2014/main" xmlns="" id="{0049D14D-6E15-4390-8A52-0C69FB403650}"/>
              </a:ext>
            </a:extLst>
          </p:cNvPr>
          <p:cNvGrpSpPr/>
          <p:nvPr/>
        </p:nvGrpSpPr>
        <p:grpSpPr>
          <a:xfrm>
            <a:off x="2969137" y="3426703"/>
            <a:ext cx="639919" cy="419874"/>
            <a:chOff x="2969137" y="2456676"/>
            <a:chExt cx="639919" cy="419874"/>
          </a:xfrm>
        </p:grpSpPr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xmlns="" id="{F0D7C911-CF92-487E-ACFC-37415DC2F3A8}"/>
                </a:ext>
              </a:extLst>
            </p:cNvPr>
            <p:cNvSpPr/>
            <p:nvPr/>
          </p:nvSpPr>
          <p:spPr>
            <a:xfrm>
              <a:off x="3069464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2" name="ZoneTexte 91">
              <a:extLst>
                <a:ext uri="{FF2B5EF4-FFF2-40B4-BE49-F238E27FC236}">
                  <a16:creationId xmlns:a16="http://schemas.microsoft.com/office/drawing/2014/main" xmlns="" id="{B0245C6F-83D0-436D-9FFE-9006C3262B4F}"/>
                </a:ext>
              </a:extLst>
            </p:cNvPr>
            <p:cNvSpPr txBox="1"/>
            <p:nvPr/>
          </p:nvSpPr>
          <p:spPr>
            <a:xfrm>
              <a:off x="2969137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chemeClr val="accent3"/>
                  </a:solidFill>
                </a:rPr>
                <a:t>2014</a:t>
              </a:r>
            </a:p>
          </p:txBody>
        </p:sp>
      </p:grpSp>
      <p:grpSp>
        <p:nvGrpSpPr>
          <p:cNvPr id="93" name="Groupe 92">
            <a:extLst>
              <a:ext uri="{FF2B5EF4-FFF2-40B4-BE49-F238E27FC236}">
                <a16:creationId xmlns:a16="http://schemas.microsoft.com/office/drawing/2014/main" xmlns="" id="{C7D7B5A1-E5D3-4564-8905-955D3290CBE7}"/>
              </a:ext>
            </a:extLst>
          </p:cNvPr>
          <p:cNvGrpSpPr/>
          <p:nvPr/>
        </p:nvGrpSpPr>
        <p:grpSpPr>
          <a:xfrm>
            <a:off x="4360994" y="3426703"/>
            <a:ext cx="639919" cy="419874"/>
            <a:chOff x="4360994" y="2456676"/>
            <a:chExt cx="639919" cy="419874"/>
          </a:xfrm>
        </p:grpSpPr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xmlns="" id="{D7307358-9977-4D6B-B2C4-2699A8A1FDFC}"/>
                </a:ext>
              </a:extLst>
            </p:cNvPr>
            <p:cNvSpPr/>
            <p:nvPr/>
          </p:nvSpPr>
          <p:spPr>
            <a:xfrm>
              <a:off x="4461321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9" name="ZoneTexte 98">
              <a:extLst>
                <a:ext uri="{FF2B5EF4-FFF2-40B4-BE49-F238E27FC236}">
                  <a16:creationId xmlns:a16="http://schemas.microsoft.com/office/drawing/2014/main" xmlns="" id="{9EAF8CC7-985A-4156-B39C-82464B6F8626}"/>
                </a:ext>
              </a:extLst>
            </p:cNvPr>
            <p:cNvSpPr txBox="1"/>
            <p:nvPr/>
          </p:nvSpPr>
          <p:spPr>
            <a:xfrm>
              <a:off x="4360994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chemeClr val="accent4"/>
                  </a:solidFill>
                </a:rPr>
                <a:t>2015</a:t>
              </a:r>
            </a:p>
          </p:txBody>
        </p:sp>
      </p:grpSp>
      <p:grpSp>
        <p:nvGrpSpPr>
          <p:cNvPr id="100" name="Groupe 99">
            <a:extLst>
              <a:ext uri="{FF2B5EF4-FFF2-40B4-BE49-F238E27FC236}">
                <a16:creationId xmlns:a16="http://schemas.microsoft.com/office/drawing/2014/main" xmlns="" id="{1FE95520-58D3-4C0C-8147-DF28A280F4F0}"/>
              </a:ext>
            </a:extLst>
          </p:cNvPr>
          <p:cNvGrpSpPr/>
          <p:nvPr/>
        </p:nvGrpSpPr>
        <p:grpSpPr>
          <a:xfrm>
            <a:off x="5669031" y="3426703"/>
            <a:ext cx="639919" cy="419874"/>
            <a:chOff x="5752851" y="2456676"/>
            <a:chExt cx="639919" cy="419874"/>
          </a:xfrm>
        </p:grpSpPr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xmlns="" id="{058CF2CA-04C1-41FE-AF72-FA7C258CEBB5}"/>
                </a:ext>
              </a:extLst>
            </p:cNvPr>
            <p:cNvSpPr/>
            <p:nvPr/>
          </p:nvSpPr>
          <p:spPr>
            <a:xfrm>
              <a:off x="5853178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3" name="ZoneTexte 102">
              <a:extLst>
                <a:ext uri="{FF2B5EF4-FFF2-40B4-BE49-F238E27FC236}">
                  <a16:creationId xmlns:a16="http://schemas.microsoft.com/office/drawing/2014/main" xmlns="" id="{5C551EAC-78DD-4F23-888B-F5C76705B27F}"/>
                </a:ext>
              </a:extLst>
            </p:cNvPr>
            <p:cNvSpPr txBox="1"/>
            <p:nvPr/>
          </p:nvSpPr>
          <p:spPr>
            <a:xfrm>
              <a:off x="5752851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rgbClr val="FFC300"/>
                  </a:solidFill>
                </a:rPr>
                <a:t>2016</a:t>
              </a:r>
            </a:p>
          </p:txBody>
        </p:sp>
      </p:grpSp>
      <p:grpSp>
        <p:nvGrpSpPr>
          <p:cNvPr id="111" name="Groupe 110">
            <a:extLst>
              <a:ext uri="{FF2B5EF4-FFF2-40B4-BE49-F238E27FC236}">
                <a16:creationId xmlns:a16="http://schemas.microsoft.com/office/drawing/2014/main" xmlns="" id="{4B21C134-897F-4B64-A600-D505865D0066}"/>
              </a:ext>
            </a:extLst>
          </p:cNvPr>
          <p:cNvGrpSpPr/>
          <p:nvPr/>
        </p:nvGrpSpPr>
        <p:grpSpPr>
          <a:xfrm>
            <a:off x="7159947" y="3426703"/>
            <a:ext cx="639919" cy="419874"/>
            <a:chOff x="7144707" y="2456676"/>
            <a:chExt cx="639919" cy="419874"/>
          </a:xfrm>
        </p:grpSpPr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xmlns="" id="{251C6DB2-4C44-45F2-AD73-C1D89FBB772E}"/>
                </a:ext>
              </a:extLst>
            </p:cNvPr>
            <p:cNvSpPr/>
            <p:nvPr/>
          </p:nvSpPr>
          <p:spPr>
            <a:xfrm>
              <a:off x="7245034" y="2790825"/>
              <a:ext cx="85725" cy="857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3" name="ZoneTexte 112">
              <a:extLst>
                <a:ext uri="{FF2B5EF4-FFF2-40B4-BE49-F238E27FC236}">
                  <a16:creationId xmlns:a16="http://schemas.microsoft.com/office/drawing/2014/main" xmlns="" id="{C2BB063F-44A2-48CF-9328-FE667CCF22A8}"/>
                </a:ext>
              </a:extLst>
            </p:cNvPr>
            <p:cNvSpPr txBox="1"/>
            <p:nvPr/>
          </p:nvSpPr>
          <p:spPr>
            <a:xfrm>
              <a:off x="7144707" y="2456676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dirty="0">
                  <a:solidFill>
                    <a:schemeClr val="accent5"/>
                  </a:solidFill>
                </a:rPr>
                <a:t>2017</a:t>
              </a:r>
            </a:p>
          </p:txBody>
        </p:sp>
      </p:grpSp>
      <p:grpSp>
        <p:nvGrpSpPr>
          <p:cNvPr id="115" name="Groupe 114">
            <a:extLst>
              <a:ext uri="{FF2B5EF4-FFF2-40B4-BE49-F238E27FC236}">
                <a16:creationId xmlns:a16="http://schemas.microsoft.com/office/drawing/2014/main" xmlns="" id="{475BFFD4-ED12-45C0-82B3-EC2D0D851CF5}"/>
              </a:ext>
            </a:extLst>
          </p:cNvPr>
          <p:cNvGrpSpPr/>
          <p:nvPr/>
        </p:nvGrpSpPr>
        <p:grpSpPr>
          <a:xfrm>
            <a:off x="602219" y="3803357"/>
            <a:ext cx="85725" cy="564575"/>
            <a:chOff x="462519" y="2833330"/>
            <a:chExt cx="85725" cy="564575"/>
          </a:xfrm>
        </p:grpSpPr>
        <p:cxnSp>
          <p:nvCxnSpPr>
            <p:cNvPr id="116" name="Connecteur droit 115">
              <a:extLst>
                <a:ext uri="{FF2B5EF4-FFF2-40B4-BE49-F238E27FC236}">
                  <a16:creationId xmlns:a16="http://schemas.microsoft.com/office/drawing/2014/main" xmlns="" id="{92CA28FA-F3B4-40E8-9EFC-BFD8FE1816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xmlns="" id="{9738C645-EC33-4E88-AE2E-307EDCD842DE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18" name="TextBox 179">
            <a:extLst>
              <a:ext uri="{FF2B5EF4-FFF2-40B4-BE49-F238E27FC236}">
                <a16:creationId xmlns:a16="http://schemas.microsoft.com/office/drawing/2014/main" xmlns="" id="{80DA2AC0-BB8D-4A14-AA47-945CCE8B37A5}"/>
              </a:ext>
            </a:extLst>
          </p:cNvPr>
          <p:cNvSpPr txBox="1">
            <a:spLocks/>
          </p:cNvSpPr>
          <p:nvPr/>
        </p:nvSpPr>
        <p:spPr>
          <a:xfrm>
            <a:off x="166710" y="4415661"/>
            <a:ext cx="972058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135" name="TextBox 179">
            <a:extLst>
              <a:ext uri="{FF2B5EF4-FFF2-40B4-BE49-F238E27FC236}">
                <a16:creationId xmlns:a16="http://schemas.microsoft.com/office/drawing/2014/main" xmlns="" id="{576F1333-2D11-4698-BC2B-89EF56D59BF2}"/>
              </a:ext>
            </a:extLst>
          </p:cNvPr>
          <p:cNvSpPr txBox="1">
            <a:spLocks/>
          </p:cNvSpPr>
          <p:nvPr/>
        </p:nvSpPr>
        <p:spPr>
          <a:xfrm>
            <a:off x="415260" y="4636468"/>
            <a:ext cx="474955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none" tIns="0" bIns="0" rtlCol="0" anchor="ctr" anchorCtr="0">
            <a:spAutoFit/>
          </a:bodyPr>
          <a:lstStyle>
            <a:defPPr>
              <a:defRPr lang="fr-FR"/>
            </a:defPPr>
            <a:lvl1pPr algn="ctr"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en-US" dirty="0">
                <a:solidFill>
                  <a:schemeClr val="accent5"/>
                </a:solidFill>
              </a:rPr>
              <a:t>Text</a:t>
            </a: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xmlns="" id="{AED04FE8-7DC5-4575-86BF-AB6F35D8B89C}"/>
              </a:ext>
            </a:extLst>
          </p:cNvPr>
          <p:cNvGrpSpPr/>
          <p:nvPr/>
        </p:nvGrpSpPr>
        <p:grpSpPr>
          <a:xfrm>
            <a:off x="1396789" y="3797047"/>
            <a:ext cx="85725" cy="1112019"/>
            <a:chOff x="462519" y="2285886"/>
            <a:chExt cx="85725" cy="1112019"/>
          </a:xfrm>
        </p:grpSpPr>
        <p:cxnSp>
          <p:nvCxnSpPr>
            <p:cNvPr id="138" name="Connecteur droit 137">
              <a:extLst>
                <a:ext uri="{FF2B5EF4-FFF2-40B4-BE49-F238E27FC236}">
                  <a16:creationId xmlns:a16="http://schemas.microsoft.com/office/drawing/2014/main" xmlns="" id="{DEF9E090-469F-494F-8B3F-EF6480ACB5EB}"/>
                </a:ext>
              </a:extLst>
            </p:cNvPr>
            <p:cNvCxnSpPr>
              <a:cxnSpLocks/>
            </p:cNvCxnSpPr>
            <p:nvPr/>
          </p:nvCxnSpPr>
          <p:spPr>
            <a:xfrm>
              <a:off x="505382" y="2285886"/>
              <a:ext cx="0" cy="104404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xmlns="" id="{36252BFE-559A-4266-88B7-DB8273C925B3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xmlns="" id="{EB4B1D78-B77A-4A06-8121-67841BD92E0C}"/>
              </a:ext>
            </a:extLst>
          </p:cNvPr>
          <p:cNvSpPr/>
          <p:nvPr/>
        </p:nvSpPr>
        <p:spPr>
          <a:xfrm>
            <a:off x="1235107" y="490713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dirty="0"/>
              <a:t>Text</a:t>
            </a:r>
            <a:endParaRPr lang="en-US" sz="900" b="1" dirty="0"/>
          </a:p>
        </p:txBody>
      </p:sp>
      <p:grpSp>
        <p:nvGrpSpPr>
          <p:cNvPr id="149" name="Groupe 148">
            <a:extLst>
              <a:ext uri="{FF2B5EF4-FFF2-40B4-BE49-F238E27FC236}">
                <a16:creationId xmlns:a16="http://schemas.microsoft.com/office/drawing/2014/main" xmlns="" id="{485C0EBF-8CF7-4D68-BE9D-087D658633A9}"/>
              </a:ext>
            </a:extLst>
          </p:cNvPr>
          <p:cNvGrpSpPr/>
          <p:nvPr/>
        </p:nvGrpSpPr>
        <p:grpSpPr>
          <a:xfrm rot="10800000">
            <a:off x="1018155" y="3233424"/>
            <a:ext cx="85725" cy="564575"/>
            <a:chOff x="462519" y="2833330"/>
            <a:chExt cx="85725" cy="564575"/>
          </a:xfrm>
        </p:grpSpPr>
        <p:cxnSp>
          <p:nvCxnSpPr>
            <p:cNvPr id="152" name="Connecteur droit 151">
              <a:extLst>
                <a:ext uri="{FF2B5EF4-FFF2-40B4-BE49-F238E27FC236}">
                  <a16:creationId xmlns:a16="http://schemas.microsoft.com/office/drawing/2014/main" xmlns="" id="{E5F0BE79-0895-4636-8A48-EB796839F6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Ellipse 152">
              <a:extLst>
                <a:ext uri="{FF2B5EF4-FFF2-40B4-BE49-F238E27FC236}">
                  <a16:creationId xmlns:a16="http://schemas.microsoft.com/office/drawing/2014/main" xmlns="" id="{5EEE4376-E582-49F1-8EEF-6EB55F428EC0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55" name="TextBox 179">
            <a:extLst>
              <a:ext uri="{FF2B5EF4-FFF2-40B4-BE49-F238E27FC236}">
                <a16:creationId xmlns:a16="http://schemas.microsoft.com/office/drawing/2014/main" xmlns="" id="{1A093845-7F35-420F-8D2C-06791D0C2AEA}"/>
              </a:ext>
            </a:extLst>
          </p:cNvPr>
          <p:cNvSpPr txBox="1">
            <a:spLocks/>
          </p:cNvSpPr>
          <p:nvPr/>
        </p:nvSpPr>
        <p:spPr>
          <a:xfrm>
            <a:off x="687944" y="2786500"/>
            <a:ext cx="729421" cy="19475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June 4</a:t>
            </a:r>
            <a:r>
              <a:rPr lang="en-US" sz="900" b="1" baseline="30000" dirty="0">
                <a:solidFill>
                  <a:schemeClr val="bg1"/>
                </a:solidFill>
              </a:rPr>
              <a:t>th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xmlns="" id="{D91C6F44-6E7A-4870-9A1E-1CD57163FED1}"/>
              </a:ext>
            </a:extLst>
          </p:cNvPr>
          <p:cNvSpPr/>
          <p:nvPr/>
        </p:nvSpPr>
        <p:spPr>
          <a:xfrm>
            <a:off x="324550" y="2952197"/>
            <a:ext cx="14387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1074738" algn="l"/>
              </a:tabLst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  <a:endParaRPr lang="en-US" sz="900" dirty="0"/>
          </a:p>
        </p:txBody>
      </p:sp>
      <p:grpSp>
        <p:nvGrpSpPr>
          <p:cNvPr id="157" name="Groupe 156">
            <a:extLst>
              <a:ext uri="{FF2B5EF4-FFF2-40B4-BE49-F238E27FC236}">
                <a16:creationId xmlns:a16="http://schemas.microsoft.com/office/drawing/2014/main" xmlns="" id="{B54FEA33-4A08-489A-A5E3-C89E5F7DC5CF}"/>
              </a:ext>
            </a:extLst>
          </p:cNvPr>
          <p:cNvGrpSpPr/>
          <p:nvPr/>
        </p:nvGrpSpPr>
        <p:grpSpPr>
          <a:xfrm rot="10800000">
            <a:off x="2642926" y="3233424"/>
            <a:ext cx="85725" cy="564575"/>
            <a:chOff x="462519" y="2833330"/>
            <a:chExt cx="85725" cy="564575"/>
          </a:xfrm>
        </p:grpSpPr>
        <p:cxnSp>
          <p:nvCxnSpPr>
            <p:cNvPr id="159" name="Connecteur droit 158">
              <a:extLst>
                <a:ext uri="{FF2B5EF4-FFF2-40B4-BE49-F238E27FC236}">
                  <a16:creationId xmlns:a16="http://schemas.microsoft.com/office/drawing/2014/main" xmlns="" id="{3C2B70D4-69BF-4DD5-8151-26958EAB6C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xmlns="" id="{797B9BCF-A88A-4093-9430-F0739C6D2A55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67" name="TextBox 179">
            <a:extLst>
              <a:ext uri="{FF2B5EF4-FFF2-40B4-BE49-F238E27FC236}">
                <a16:creationId xmlns:a16="http://schemas.microsoft.com/office/drawing/2014/main" xmlns="" id="{0B7E837F-1EC3-4405-919B-F2748068FF3B}"/>
              </a:ext>
            </a:extLst>
          </p:cNvPr>
          <p:cNvSpPr txBox="1">
            <a:spLocks/>
          </p:cNvSpPr>
          <p:nvPr/>
        </p:nvSpPr>
        <p:spPr>
          <a:xfrm>
            <a:off x="2078995" y="2701458"/>
            <a:ext cx="1196862" cy="19475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November 11</a:t>
            </a:r>
            <a:r>
              <a:rPr lang="en-US" sz="900" b="1" baseline="30000" dirty="0">
                <a:solidFill>
                  <a:schemeClr val="bg1"/>
                </a:solidFill>
              </a:rPr>
              <a:t>th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xmlns="" id="{4D49E837-8569-404C-A40C-539F0E614B05}"/>
              </a:ext>
            </a:extLst>
          </p:cNvPr>
          <p:cNvSpPr/>
          <p:nvPr/>
        </p:nvSpPr>
        <p:spPr>
          <a:xfrm>
            <a:off x="1949321" y="2867155"/>
            <a:ext cx="14387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</a:p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dirty="0"/>
              <a:t>Text</a:t>
            </a:r>
          </a:p>
        </p:txBody>
      </p:sp>
      <p:grpSp>
        <p:nvGrpSpPr>
          <p:cNvPr id="181" name="Groupe 180">
            <a:extLst>
              <a:ext uri="{FF2B5EF4-FFF2-40B4-BE49-F238E27FC236}">
                <a16:creationId xmlns:a16="http://schemas.microsoft.com/office/drawing/2014/main" xmlns="" id="{732674DA-2ADD-4F7C-9BEF-A8996EB9D633}"/>
              </a:ext>
            </a:extLst>
          </p:cNvPr>
          <p:cNvGrpSpPr/>
          <p:nvPr/>
        </p:nvGrpSpPr>
        <p:grpSpPr>
          <a:xfrm>
            <a:off x="2252794" y="3803357"/>
            <a:ext cx="85725" cy="564575"/>
            <a:chOff x="462519" y="2833330"/>
            <a:chExt cx="85725" cy="564575"/>
          </a:xfrm>
        </p:grpSpPr>
        <p:cxnSp>
          <p:nvCxnSpPr>
            <p:cNvPr id="182" name="Connecteur droit 181">
              <a:extLst>
                <a:ext uri="{FF2B5EF4-FFF2-40B4-BE49-F238E27FC236}">
                  <a16:creationId xmlns:a16="http://schemas.microsoft.com/office/drawing/2014/main" xmlns="" id="{DEE0DF8E-4385-4E67-9BD5-C7C5BC6912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xmlns="" id="{DB36AF04-EEDA-463F-925E-7CB4461F9088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4" name="TextBox 179">
            <a:extLst>
              <a:ext uri="{FF2B5EF4-FFF2-40B4-BE49-F238E27FC236}">
                <a16:creationId xmlns:a16="http://schemas.microsoft.com/office/drawing/2014/main" xmlns="" id="{A84874A5-E4DB-4939-B4DA-B1348B27147C}"/>
              </a:ext>
            </a:extLst>
          </p:cNvPr>
          <p:cNvSpPr txBox="1">
            <a:spLocks/>
          </p:cNvSpPr>
          <p:nvPr/>
        </p:nvSpPr>
        <p:spPr>
          <a:xfrm>
            <a:off x="1817285" y="4415661"/>
            <a:ext cx="972058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</a:rPr>
              <a:t>Text</a:t>
            </a:r>
          </a:p>
        </p:txBody>
      </p:sp>
      <p:sp>
        <p:nvSpPr>
          <p:cNvPr id="185" name="TextBox 179">
            <a:extLst>
              <a:ext uri="{FF2B5EF4-FFF2-40B4-BE49-F238E27FC236}">
                <a16:creationId xmlns:a16="http://schemas.microsoft.com/office/drawing/2014/main" xmlns="" id="{25950E58-B39A-4C2C-8CEF-B5DAD1080D17}"/>
              </a:ext>
            </a:extLst>
          </p:cNvPr>
          <p:cNvSpPr txBox="1">
            <a:spLocks/>
          </p:cNvSpPr>
          <p:nvPr/>
        </p:nvSpPr>
        <p:spPr>
          <a:xfrm>
            <a:off x="2065837" y="4636468"/>
            <a:ext cx="474955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none" tIns="0" bIns="0" rtlCol="0" anchor="ctr" anchorCtr="0">
            <a:spAutoFit/>
          </a:bodyPr>
          <a:lstStyle>
            <a:defPPr>
              <a:defRPr lang="fr-FR"/>
            </a:defPPr>
            <a:lvl1pPr algn="ctr"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en-US" dirty="0">
                <a:solidFill>
                  <a:schemeClr val="accent5"/>
                </a:solidFill>
              </a:rPr>
              <a:t>Text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xmlns="" id="{210F0322-D4DD-4A52-9C10-30CFE8E3D0E7}"/>
              </a:ext>
            </a:extLst>
          </p:cNvPr>
          <p:cNvSpPr/>
          <p:nvPr/>
        </p:nvSpPr>
        <p:spPr>
          <a:xfrm>
            <a:off x="3475830" y="437373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dirty="0"/>
              <a:t>Text</a:t>
            </a:r>
            <a:endParaRPr lang="en-US" sz="900" b="1" dirty="0"/>
          </a:p>
        </p:txBody>
      </p:sp>
      <p:grpSp>
        <p:nvGrpSpPr>
          <p:cNvPr id="188" name="Groupe 187">
            <a:extLst>
              <a:ext uri="{FF2B5EF4-FFF2-40B4-BE49-F238E27FC236}">
                <a16:creationId xmlns:a16="http://schemas.microsoft.com/office/drawing/2014/main" xmlns="" id="{5F884675-3C35-4451-AE36-C26E1AA4A28A}"/>
              </a:ext>
            </a:extLst>
          </p:cNvPr>
          <p:cNvGrpSpPr/>
          <p:nvPr/>
        </p:nvGrpSpPr>
        <p:grpSpPr>
          <a:xfrm>
            <a:off x="3637511" y="3803357"/>
            <a:ext cx="85725" cy="564575"/>
            <a:chOff x="462519" y="2833330"/>
            <a:chExt cx="85725" cy="564575"/>
          </a:xfrm>
        </p:grpSpPr>
        <p:cxnSp>
          <p:nvCxnSpPr>
            <p:cNvPr id="189" name="Connecteur droit 188">
              <a:extLst>
                <a:ext uri="{FF2B5EF4-FFF2-40B4-BE49-F238E27FC236}">
                  <a16:creationId xmlns:a16="http://schemas.microsoft.com/office/drawing/2014/main" xmlns="" id="{887C5D5D-B16D-483F-AA1A-91456D5AE0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xmlns="" id="{72B52F63-7F23-4101-9016-ED437214791B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91" name="Groupe 190">
            <a:extLst>
              <a:ext uri="{FF2B5EF4-FFF2-40B4-BE49-F238E27FC236}">
                <a16:creationId xmlns:a16="http://schemas.microsoft.com/office/drawing/2014/main" xmlns="" id="{0F9A3864-852B-4139-AFD2-072248514C8A}"/>
              </a:ext>
            </a:extLst>
          </p:cNvPr>
          <p:cNvGrpSpPr/>
          <p:nvPr/>
        </p:nvGrpSpPr>
        <p:grpSpPr>
          <a:xfrm>
            <a:off x="5017680" y="3803357"/>
            <a:ext cx="85725" cy="564575"/>
            <a:chOff x="462519" y="2833330"/>
            <a:chExt cx="85725" cy="564575"/>
          </a:xfrm>
        </p:grpSpPr>
        <p:cxnSp>
          <p:nvCxnSpPr>
            <p:cNvPr id="192" name="Connecteur droit 191">
              <a:extLst>
                <a:ext uri="{FF2B5EF4-FFF2-40B4-BE49-F238E27FC236}">
                  <a16:creationId xmlns:a16="http://schemas.microsoft.com/office/drawing/2014/main" xmlns="" id="{56A292A0-ED75-4C10-A9BA-6CD47EE67D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xmlns="" id="{BA7592D7-CED0-4F09-91DF-85EAEDEA076E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94" name="TextBox 179">
            <a:extLst>
              <a:ext uri="{FF2B5EF4-FFF2-40B4-BE49-F238E27FC236}">
                <a16:creationId xmlns:a16="http://schemas.microsoft.com/office/drawing/2014/main" xmlns="" id="{EA184264-7004-448B-92F8-2485D006AC3D}"/>
              </a:ext>
            </a:extLst>
          </p:cNvPr>
          <p:cNvSpPr txBox="1">
            <a:spLocks/>
          </p:cNvSpPr>
          <p:nvPr/>
        </p:nvSpPr>
        <p:spPr>
          <a:xfrm>
            <a:off x="4463887" y="4415661"/>
            <a:ext cx="1208626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accent6"/>
                </a:solidFill>
              </a:rPr>
              <a:t>Text</a:t>
            </a:r>
          </a:p>
        </p:txBody>
      </p:sp>
      <p:sp>
        <p:nvSpPr>
          <p:cNvPr id="195" name="TextBox 179">
            <a:extLst>
              <a:ext uri="{FF2B5EF4-FFF2-40B4-BE49-F238E27FC236}">
                <a16:creationId xmlns:a16="http://schemas.microsoft.com/office/drawing/2014/main" xmlns="" id="{E127CA06-1ECD-43A8-91C9-38C96AFEDA43}"/>
              </a:ext>
            </a:extLst>
          </p:cNvPr>
          <p:cNvSpPr txBox="1">
            <a:spLocks/>
          </p:cNvSpPr>
          <p:nvPr/>
        </p:nvSpPr>
        <p:spPr>
          <a:xfrm>
            <a:off x="4830723" y="4636468"/>
            <a:ext cx="474955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none" tIns="0" bIns="0" rtlCol="0" anchor="ctr" anchorCtr="0">
            <a:spAutoFit/>
          </a:bodyPr>
          <a:lstStyle>
            <a:defPPr>
              <a:defRPr lang="fr-FR"/>
            </a:defPPr>
            <a:lvl1pPr algn="ctr"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Text</a:t>
            </a:r>
          </a:p>
        </p:txBody>
      </p:sp>
      <p:grpSp>
        <p:nvGrpSpPr>
          <p:cNvPr id="196" name="Groupe 195">
            <a:extLst>
              <a:ext uri="{FF2B5EF4-FFF2-40B4-BE49-F238E27FC236}">
                <a16:creationId xmlns:a16="http://schemas.microsoft.com/office/drawing/2014/main" xmlns="" id="{CC4B2892-B8B4-415D-9FDC-446FE391AFBB}"/>
              </a:ext>
            </a:extLst>
          </p:cNvPr>
          <p:cNvGrpSpPr/>
          <p:nvPr/>
        </p:nvGrpSpPr>
        <p:grpSpPr>
          <a:xfrm rot="10800000">
            <a:off x="5075469" y="3233424"/>
            <a:ext cx="85725" cy="564575"/>
            <a:chOff x="462519" y="2833330"/>
            <a:chExt cx="85725" cy="564575"/>
          </a:xfrm>
        </p:grpSpPr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xmlns="" id="{4BD4A549-067A-46B6-B46D-6B1A4ABB7A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xmlns="" id="{38E40F17-EEF7-4E85-AE75-2472D175AA03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99" name="Rectangle 198">
            <a:extLst>
              <a:ext uri="{FF2B5EF4-FFF2-40B4-BE49-F238E27FC236}">
                <a16:creationId xmlns:a16="http://schemas.microsoft.com/office/drawing/2014/main" xmlns="" id="{812F6495-FCEC-472D-96CB-A003160C7553}"/>
              </a:ext>
            </a:extLst>
          </p:cNvPr>
          <p:cNvSpPr/>
          <p:nvPr/>
        </p:nvSpPr>
        <p:spPr>
          <a:xfrm>
            <a:off x="4398942" y="2926367"/>
            <a:ext cx="14387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  <a:endParaRPr lang="en-US" sz="900" dirty="0"/>
          </a:p>
        </p:txBody>
      </p:sp>
      <p:grpSp>
        <p:nvGrpSpPr>
          <p:cNvPr id="200" name="Groupe 199">
            <a:extLst>
              <a:ext uri="{FF2B5EF4-FFF2-40B4-BE49-F238E27FC236}">
                <a16:creationId xmlns:a16="http://schemas.microsoft.com/office/drawing/2014/main" xmlns="" id="{DC3A2E47-7398-48F6-A8F4-7FD4518F23F4}"/>
              </a:ext>
            </a:extLst>
          </p:cNvPr>
          <p:cNvGrpSpPr/>
          <p:nvPr/>
        </p:nvGrpSpPr>
        <p:grpSpPr>
          <a:xfrm rot="10800000">
            <a:off x="6239908" y="3164844"/>
            <a:ext cx="85725" cy="632203"/>
            <a:chOff x="462519" y="2765702"/>
            <a:chExt cx="85725" cy="632203"/>
          </a:xfrm>
        </p:grpSpPr>
        <p:cxnSp>
          <p:nvCxnSpPr>
            <p:cNvPr id="201" name="Connecteur droit 200">
              <a:extLst>
                <a:ext uri="{FF2B5EF4-FFF2-40B4-BE49-F238E27FC236}">
                  <a16:creationId xmlns:a16="http://schemas.microsoft.com/office/drawing/2014/main" xmlns="" id="{3967C569-34F4-4368-A82E-68A890AF77A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05381" y="2765702"/>
              <a:ext cx="0" cy="56422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xmlns="" id="{487863C8-A733-41A5-A1F0-6CE79A457945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3" name="TextBox 179">
            <a:extLst>
              <a:ext uri="{FF2B5EF4-FFF2-40B4-BE49-F238E27FC236}">
                <a16:creationId xmlns:a16="http://schemas.microsoft.com/office/drawing/2014/main" xmlns="" id="{5DD0FD5C-E0F4-466B-863C-A9C4B2953A28}"/>
              </a:ext>
            </a:extLst>
          </p:cNvPr>
          <p:cNvSpPr txBox="1">
            <a:spLocks/>
          </p:cNvSpPr>
          <p:nvPr/>
        </p:nvSpPr>
        <p:spPr>
          <a:xfrm>
            <a:off x="5675977" y="2726682"/>
            <a:ext cx="1196862" cy="194756"/>
          </a:xfrm>
          <a:prstGeom prst="roundRect">
            <a:avLst>
              <a:gd name="adj" fmla="val 50000"/>
            </a:avLst>
          </a:prstGeom>
          <a:solidFill>
            <a:srgbClr val="FFC300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March 21</a:t>
            </a:r>
            <a:r>
              <a:rPr lang="en-US" sz="900" b="1" baseline="30000" dirty="0">
                <a:solidFill>
                  <a:schemeClr val="bg1"/>
                </a:solidFill>
              </a:rPr>
              <a:t>st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xmlns="" id="{03943734-4AEF-4347-99DA-E41E5243591E}"/>
              </a:ext>
            </a:extLst>
          </p:cNvPr>
          <p:cNvSpPr/>
          <p:nvPr/>
        </p:nvSpPr>
        <p:spPr>
          <a:xfrm>
            <a:off x="5546303" y="2892379"/>
            <a:ext cx="14387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dirty="0"/>
              <a:t>Text</a:t>
            </a:r>
            <a:endParaRPr lang="en-US" sz="900" b="1" dirty="0"/>
          </a:p>
        </p:txBody>
      </p:sp>
      <p:grpSp>
        <p:nvGrpSpPr>
          <p:cNvPr id="205" name="Groupe 204">
            <a:extLst>
              <a:ext uri="{FF2B5EF4-FFF2-40B4-BE49-F238E27FC236}">
                <a16:creationId xmlns:a16="http://schemas.microsoft.com/office/drawing/2014/main" xmlns="" id="{98BEAAFE-AA24-471E-B3E4-599951FC9EEE}"/>
              </a:ext>
            </a:extLst>
          </p:cNvPr>
          <p:cNvGrpSpPr/>
          <p:nvPr/>
        </p:nvGrpSpPr>
        <p:grpSpPr>
          <a:xfrm>
            <a:off x="6307138" y="3803357"/>
            <a:ext cx="85725" cy="564575"/>
            <a:chOff x="462519" y="2833330"/>
            <a:chExt cx="85725" cy="564575"/>
          </a:xfrm>
        </p:grpSpPr>
        <p:cxnSp>
          <p:nvCxnSpPr>
            <p:cNvPr id="206" name="Connecteur droit 205">
              <a:extLst>
                <a:ext uri="{FF2B5EF4-FFF2-40B4-BE49-F238E27FC236}">
                  <a16:creationId xmlns:a16="http://schemas.microsoft.com/office/drawing/2014/main" xmlns="" id="{374B60F8-BB68-49C8-944D-17DE6CFEA1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xmlns="" id="{12109FE7-0B39-4F76-8D1B-10CE006E8896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8" name="TextBox 179">
            <a:extLst>
              <a:ext uri="{FF2B5EF4-FFF2-40B4-BE49-F238E27FC236}">
                <a16:creationId xmlns:a16="http://schemas.microsoft.com/office/drawing/2014/main" xmlns="" id="{0D927BB5-06FF-42FB-A7F3-E53A114C616A}"/>
              </a:ext>
            </a:extLst>
          </p:cNvPr>
          <p:cNvSpPr txBox="1">
            <a:spLocks/>
          </p:cNvSpPr>
          <p:nvPr/>
        </p:nvSpPr>
        <p:spPr>
          <a:xfrm>
            <a:off x="5753345" y="4415661"/>
            <a:ext cx="1208626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accent4"/>
                </a:solidFill>
              </a:rPr>
              <a:t>Text</a:t>
            </a:r>
          </a:p>
        </p:txBody>
      </p:sp>
      <p:grpSp>
        <p:nvGrpSpPr>
          <p:cNvPr id="209" name="Groupe 208">
            <a:extLst>
              <a:ext uri="{FF2B5EF4-FFF2-40B4-BE49-F238E27FC236}">
                <a16:creationId xmlns:a16="http://schemas.microsoft.com/office/drawing/2014/main" xmlns="" id="{798E585E-C4EF-45E1-9053-6077BFB85598}"/>
              </a:ext>
            </a:extLst>
          </p:cNvPr>
          <p:cNvGrpSpPr/>
          <p:nvPr/>
        </p:nvGrpSpPr>
        <p:grpSpPr>
          <a:xfrm rot="10800000">
            <a:off x="6753181" y="3613158"/>
            <a:ext cx="85725" cy="183889"/>
            <a:chOff x="462519" y="3214016"/>
            <a:chExt cx="85725" cy="183889"/>
          </a:xfrm>
        </p:grpSpPr>
        <p:cxnSp>
          <p:nvCxnSpPr>
            <p:cNvPr id="210" name="Connecteur droit 209">
              <a:extLst>
                <a:ext uri="{FF2B5EF4-FFF2-40B4-BE49-F238E27FC236}">
                  <a16:creationId xmlns:a16="http://schemas.microsoft.com/office/drawing/2014/main" xmlns="" id="{513CD7D5-B7D1-4C71-946A-2A13BC1EE36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05381" y="3214016"/>
              <a:ext cx="0" cy="11591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Ellipse 210">
              <a:extLst>
                <a:ext uri="{FF2B5EF4-FFF2-40B4-BE49-F238E27FC236}">
                  <a16:creationId xmlns:a16="http://schemas.microsoft.com/office/drawing/2014/main" xmlns="" id="{FFD6DBE8-47C7-45A5-96E4-E1165E91CEF7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12" name="Rectangle 211">
            <a:extLst>
              <a:ext uri="{FF2B5EF4-FFF2-40B4-BE49-F238E27FC236}">
                <a16:creationId xmlns:a16="http://schemas.microsoft.com/office/drawing/2014/main" xmlns="" id="{8569ACF0-9BD9-4750-9F87-789F3AB75E4B}"/>
              </a:ext>
            </a:extLst>
          </p:cNvPr>
          <p:cNvSpPr/>
          <p:nvPr/>
        </p:nvSpPr>
        <p:spPr>
          <a:xfrm>
            <a:off x="6067196" y="3264549"/>
            <a:ext cx="14387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  <a:endParaRPr lang="en-US" sz="900" dirty="0"/>
          </a:p>
        </p:txBody>
      </p:sp>
      <p:grpSp>
        <p:nvGrpSpPr>
          <p:cNvPr id="213" name="Groupe 212">
            <a:extLst>
              <a:ext uri="{FF2B5EF4-FFF2-40B4-BE49-F238E27FC236}">
                <a16:creationId xmlns:a16="http://schemas.microsoft.com/office/drawing/2014/main" xmlns="" id="{1784BB27-76CC-4113-A71F-63D5006A3C87}"/>
              </a:ext>
            </a:extLst>
          </p:cNvPr>
          <p:cNvGrpSpPr/>
          <p:nvPr/>
        </p:nvGrpSpPr>
        <p:grpSpPr>
          <a:xfrm rot="10800000">
            <a:off x="7707549" y="3164844"/>
            <a:ext cx="85725" cy="632203"/>
            <a:chOff x="462519" y="2765702"/>
            <a:chExt cx="85725" cy="632203"/>
          </a:xfrm>
        </p:grpSpPr>
        <p:cxnSp>
          <p:nvCxnSpPr>
            <p:cNvPr id="214" name="Connecteur droit 213">
              <a:extLst>
                <a:ext uri="{FF2B5EF4-FFF2-40B4-BE49-F238E27FC236}">
                  <a16:creationId xmlns:a16="http://schemas.microsoft.com/office/drawing/2014/main" xmlns="" id="{25EC9E1B-5122-4B2A-8925-9750B1BE216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05381" y="2765702"/>
              <a:ext cx="0" cy="56422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xmlns="" id="{D2397619-EDF1-4FBA-95A9-234C50AE6522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16" name="Rectangle 215">
            <a:extLst>
              <a:ext uri="{FF2B5EF4-FFF2-40B4-BE49-F238E27FC236}">
                <a16:creationId xmlns:a16="http://schemas.microsoft.com/office/drawing/2014/main" xmlns="" id="{11CD7871-D8A9-426D-A1F3-FAE9E5636B1F}"/>
              </a:ext>
            </a:extLst>
          </p:cNvPr>
          <p:cNvSpPr/>
          <p:nvPr/>
        </p:nvSpPr>
        <p:spPr>
          <a:xfrm>
            <a:off x="7013944" y="2968894"/>
            <a:ext cx="1438778" cy="2308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</a:p>
        </p:txBody>
      </p:sp>
      <p:grpSp>
        <p:nvGrpSpPr>
          <p:cNvPr id="217" name="Groupe 216">
            <a:extLst>
              <a:ext uri="{FF2B5EF4-FFF2-40B4-BE49-F238E27FC236}">
                <a16:creationId xmlns:a16="http://schemas.microsoft.com/office/drawing/2014/main" xmlns="" id="{D9422C6A-1A66-4D96-A0CD-62E2F050D90F}"/>
              </a:ext>
            </a:extLst>
          </p:cNvPr>
          <p:cNvGrpSpPr/>
          <p:nvPr/>
        </p:nvGrpSpPr>
        <p:grpSpPr>
          <a:xfrm rot="10800000">
            <a:off x="8292924" y="3613158"/>
            <a:ext cx="85725" cy="183889"/>
            <a:chOff x="462519" y="3214016"/>
            <a:chExt cx="85725" cy="183889"/>
          </a:xfrm>
        </p:grpSpPr>
        <p:cxnSp>
          <p:nvCxnSpPr>
            <p:cNvPr id="218" name="Connecteur droit 217">
              <a:extLst>
                <a:ext uri="{FF2B5EF4-FFF2-40B4-BE49-F238E27FC236}">
                  <a16:creationId xmlns:a16="http://schemas.microsoft.com/office/drawing/2014/main" xmlns="" id="{D4B56C2D-3804-4729-9640-15B06BD0AA7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05381" y="3214016"/>
              <a:ext cx="0" cy="11591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xmlns="" id="{8EDD9923-1FCF-4702-BE67-D492C6F61244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20" name="Rectangle 219">
            <a:extLst>
              <a:ext uri="{FF2B5EF4-FFF2-40B4-BE49-F238E27FC236}">
                <a16:creationId xmlns:a16="http://schemas.microsoft.com/office/drawing/2014/main" xmlns="" id="{838CCA57-A38B-46A1-9B51-0111D663A9D4}"/>
              </a:ext>
            </a:extLst>
          </p:cNvPr>
          <p:cNvSpPr/>
          <p:nvPr/>
        </p:nvSpPr>
        <p:spPr>
          <a:xfrm>
            <a:off x="7606939" y="3403049"/>
            <a:ext cx="1438778" cy="2308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900" b="1" dirty="0"/>
              <a:t>Text</a:t>
            </a:r>
            <a:endParaRPr lang="en-US" sz="900" dirty="0"/>
          </a:p>
        </p:txBody>
      </p:sp>
      <p:grpSp>
        <p:nvGrpSpPr>
          <p:cNvPr id="221" name="Groupe 220">
            <a:extLst>
              <a:ext uri="{FF2B5EF4-FFF2-40B4-BE49-F238E27FC236}">
                <a16:creationId xmlns:a16="http://schemas.microsoft.com/office/drawing/2014/main" xmlns="" id="{E898F42C-A6A7-4819-9672-D03120F66883}"/>
              </a:ext>
            </a:extLst>
          </p:cNvPr>
          <p:cNvGrpSpPr/>
          <p:nvPr/>
        </p:nvGrpSpPr>
        <p:grpSpPr>
          <a:xfrm>
            <a:off x="7983176" y="3803357"/>
            <a:ext cx="85725" cy="564575"/>
            <a:chOff x="462519" y="2833330"/>
            <a:chExt cx="85725" cy="564575"/>
          </a:xfrm>
        </p:grpSpPr>
        <p:cxnSp>
          <p:nvCxnSpPr>
            <p:cNvPr id="222" name="Connecteur droit 221">
              <a:extLst>
                <a:ext uri="{FF2B5EF4-FFF2-40B4-BE49-F238E27FC236}">
                  <a16:creationId xmlns:a16="http://schemas.microsoft.com/office/drawing/2014/main" xmlns="" id="{EC522AB9-E981-419F-ACD3-6FA288ED51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381" y="2833330"/>
              <a:ext cx="1" cy="496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Ellipse 222">
              <a:extLst>
                <a:ext uri="{FF2B5EF4-FFF2-40B4-BE49-F238E27FC236}">
                  <a16:creationId xmlns:a16="http://schemas.microsoft.com/office/drawing/2014/main" xmlns="" id="{2489E33C-C361-4122-9D5C-B9F4F493504F}"/>
                </a:ext>
              </a:extLst>
            </p:cNvPr>
            <p:cNvSpPr/>
            <p:nvPr/>
          </p:nvSpPr>
          <p:spPr>
            <a:xfrm>
              <a:off x="462519" y="3312180"/>
              <a:ext cx="85725" cy="8572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24" name="TextBox 179">
            <a:extLst>
              <a:ext uri="{FF2B5EF4-FFF2-40B4-BE49-F238E27FC236}">
                <a16:creationId xmlns:a16="http://schemas.microsoft.com/office/drawing/2014/main" xmlns="" id="{A375FA38-F51D-4896-947E-9372FDA70105}"/>
              </a:ext>
            </a:extLst>
          </p:cNvPr>
          <p:cNvSpPr txBox="1">
            <a:spLocks/>
          </p:cNvSpPr>
          <p:nvPr/>
        </p:nvSpPr>
        <p:spPr>
          <a:xfrm>
            <a:off x="7051246" y="4415662"/>
            <a:ext cx="1964900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900" b="1" dirty="0">
                <a:solidFill>
                  <a:schemeClr val="accent4"/>
                </a:solidFill>
              </a:rPr>
              <a:t>Text</a:t>
            </a:r>
          </a:p>
        </p:txBody>
      </p:sp>
      <p:sp>
        <p:nvSpPr>
          <p:cNvPr id="225" name="TextBox 179">
            <a:extLst>
              <a:ext uri="{FF2B5EF4-FFF2-40B4-BE49-F238E27FC236}">
                <a16:creationId xmlns:a16="http://schemas.microsoft.com/office/drawing/2014/main" xmlns="" id="{73DA4E41-747D-42E1-B41D-A4CCF506E302}"/>
              </a:ext>
            </a:extLst>
          </p:cNvPr>
          <p:cNvSpPr txBox="1">
            <a:spLocks/>
          </p:cNvSpPr>
          <p:nvPr/>
        </p:nvSpPr>
        <p:spPr>
          <a:xfrm>
            <a:off x="7796220" y="4636468"/>
            <a:ext cx="474955" cy="19475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wrap="none" tIns="0" bIns="0" rtlCol="0" anchor="ctr" anchorCtr="0">
            <a:spAutoFit/>
          </a:bodyPr>
          <a:lstStyle>
            <a:defPPr>
              <a:defRPr lang="fr-FR"/>
            </a:defPPr>
            <a:lvl1pPr algn="ctr"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en-US" dirty="0">
                <a:solidFill>
                  <a:schemeClr val="accent6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1780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Titre 15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OF EUROPE</a:t>
            </a:r>
            <a:endParaRPr lang="fr-FR" dirty="0"/>
          </a:p>
        </p:txBody>
      </p:sp>
      <p:sp>
        <p:nvSpPr>
          <p:cNvPr id="144" name="Espace réservé de la date 14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53" name="Espace réservé du pied de page 15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52" name="Espace réservé du numéro de diapositive 15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8</a:t>
            </a:fld>
            <a:endParaRPr lang="fr-FR" dirty="0"/>
          </a:p>
        </p:txBody>
      </p:sp>
      <p:grpSp>
        <p:nvGrpSpPr>
          <p:cNvPr id="2" name="Groupe 7"/>
          <p:cNvGrpSpPr/>
          <p:nvPr/>
        </p:nvGrpSpPr>
        <p:grpSpPr bwMode="gray">
          <a:xfrm>
            <a:off x="971600" y="836712"/>
            <a:ext cx="7479876" cy="5300869"/>
            <a:chOff x="2782888" y="1112838"/>
            <a:chExt cx="10217150" cy="8015288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9" name="Freeform 16"/>
            <p:cNvSpPr>
              <a:spLocks noEditPoints="1"/>
            </p:cNvSpPr>
            <p:nvPr/>
          </p:nvSpPr>
          <p:spPr bwMode="gray">
            <a:xfrm>
              <a:off x="8299450" y="6207126"/>
              <a:ext cx="2132013" cy="1420813"/>
            </a:xfrm>
            <a:custGeom>
              <a:avLst/>
              <a:gdLst>
                <a:gd name="T0" fmla="*/ 742 w 1343"/>
                <a:gd name="T1" fmla="*/ 707 h 895"/>
                <a:gd name="T2" fmla="*/ 1264 w 1343"/>
                <a:gd name="T3" fmla="*/ 297 h 895"/>
                <a:gd name="T4" fmla="*/ 1178 w 1343"/>
                <a:gd name="T5" fmla="*/ 283 h 895"/>
                <a:gd name="T6" fmla="*/ 1064 w 1343"/>
                <a:gd name="T7" fmla="*/ 245 h 895"/>
                <a:gd name="T8" fmla="*/ 992 w 1343"/>
                <a:gd name="T9" fmla="*/ 196 h 895"/>
                <a:gd name="T10" fmla="*/ 933 w 1343"/>
                <a:gd name="T11" fmla="*/ 143 h 895"/>
                <a:gd name="T12" fmla="*/ 890 w 1343"/>
                <a:gd name="T13" fmla="*/ 88 h 895"/>
                <a:gd name="T14" fmla="*/ 873 w 1343"/>
                <a:gd name="T15" fmla="*/ 8 h 895"/>
                <a:gd name="T16" fmla="*/ 762 w 1343"/>
                <a:gd name="T17" fmla="*/ 6 h 895"/>
                <a:gd name="T18" fmla="*/ 657 w 1343"/>
                <a:gd name="T19" fmla="*/ 43 h 895"/>
                <a:gd name="T20" fmla="*/ 633 w 1343"/>
                <a:gd name="T21" fmla="*/ 79 h 895"/>
                <a:gd name="T22" fmla="*/ 633 w 1343"/>
                <a:gd name="T23" fmla="*/ 116 h 895"/>
                <a:gd name="T24" fmla="*/ 579 w 1343"/>
                <a:gd name="T25" fmla="*/ 109 h 895"/>
                <a:gd name="T26" fmla="*/ 511 w 1343"/>
                <a:gd name="T27" fmla="*/ 94 h 895"/>
                <a:gd name="T28" fmla="*/ 448 w 1343"/>
                <a:gd name="T29" fmla="*/ 91 h 895"/>
                <a:gd name="T30" fmla="*/ 379 w 1343"/>
                <a:gd name="T31" fmla="*/ 86 h 895"/>
                <a:gd name="T32" fmla="*/ 128 w 1343"/>
                <a:gd name="T33" fmla="*/ 89 h 895"/>
                <a:gd name="T34" fmla="*/ 134 w 1343"/>
                <a:gd name="T35" fmla="*/ 162 h 895"/>
                <a:gd name="T36" fmla="*/ 134 w 1343"/>
                <a:gd name="T37" fmla="*/ 236 h 895"/>
                <a:gd name="T38" fmla="*/ 46 w 1343"/>
                <a:gd name="T39" fmla="*/ 365 h 895"/>
                <a:gd name="T40" fmla="*/ 21 w 1343"/>
                <a:gd name="T41" fmla="*/ 405 h 895"/>
                <a:gd name="T42" fmla="*/ 12 w 1343"/>
                <a:gd name="T43" fmla="*/ 468 h 895"/>
                <a:gd name="T44" fmla="*/ 60 w 1343"/>
                <a:gd name="T45" fmla="*/ 507 h 895"/>
                <a:gd name="T46" fmla="*/ 141 w 1343"/>
                <a:gd name="T47" fmla="*/ 511 h 895"/>
                <a:gd name="T48" fmla="*/ 295 w 1343"/>
                <a:gd name="T49" fmla="*/ 510 h 895"/>
                <a:gd name="T50" fmla="*/ 351 w 1343"/>
                <a:gd name="T51" fmla="*/ 464 h 895"/>
                <a:gd name="T52" fmla="*/ 437 w 1343"/>
                <a:gd name="T53" fmla="*/ 470 h 895"/>
                <a:gd name="T54" fmla="*/ 474 w 1343"/>
                <a:gd name="T55" fmla="*/ 494 h 895"/>
                <a:gd name="T56" fmla="*/ 526 w 1343"/>
                <a:gd name="T57" fmla="*/ 538 h 895"/>
                <a:gd name="T58" fmla="*/ 554 w 1343"/>
                <a:gd name="T59" fmla="*/ 588 h 895"/>
                <a:gd name="T60" fmla="*/ 577 w 1343"/>
                <a:gd name="T61" fmla="*/ 638 h 895"/>
                <a:gd name="T62" fmla="*/ 579 w 1343"/>
                <a:gd name="T63" fmla="*/ 684 h 895"/>
                <a:gd name="T64" fmla="*/ 533 w 1343"/>
                <a:gd name="T65" fmla="*/ 678 h 895"/>
                <a:gd name="T66" fmla="*/ 491 w 1343"/>
                <a:gd name="T67" fmla="*/ 733 h 895"/>
                <a:gd name="T68" fmla="*/ 452 w 1343"/>
                <a:gd name="T69" fmla="*/ 781 h 895"/>
                <a:gd name="T70" fmla="*/ 525 w 1343"/>
                <a:gd name="T71" fmla="*/ 789 h 895"/>
                <a:gd name="T72" fmla="*/ 568 w 1343"/>
                <a:gd name="T73" fmla="*/ 787 h 895"/>
                <a:gd name="T74" fmla="*/ 559 w 1343"/>
                <a:gd name="T75" fmla="*/ 752 h 895"/>
                <a:gd name="T76" fmla="*/ 577 w 1343"/>
                <a:gd name="T77" fmla="*/ 750 h 895"/>
                <a:gd name="T78" fmla="*/ 605 w 1343"/>
                <a:gd name="T79" fmla="*/ 736 h 895"/>
                <a:gd name="T80" fmla="*/ 673 w 1343"/>
                <a:gd name="T81" fmla="*/ 656 h 895"/>
                <a:gd name="T82" fmla="*/ 697 w 1343"/>
                <a:gd name="T83" fmla="*/ 656 h 895"/>
                <a:gd name="T84" fmla="*/ 725 w 1343"/>
                <a:gd name="T85" fmla="*/ 605 h 895"/>
                <a:gd name="T86" fmla="*/ 731 w 1343"/>
                <a:gd name="T87" fmla="*/ 642 h 895"/>
                <a:gd name="T88" fmla="*/ 737 w 1343"/>
                <a:gd name="T89" fmla="*/ 670 h 895"/>
                <a:gd name="T90" fmla="*/ 727 w 1343"/>
                <a:gd name="T91" fmla="*/ 693 h 895"/>
                <a:gd name="T92" fmla="*/ 818 w 1343"/>
                <a:gd name="T93" fmla="*/ 710 h 895"/>
                <a:gd name="T94" fmla="*/ 858 w 1343"/>
                <a:gd name="T95" fmla="*/ 724 h 895"/>
                <a:gd name="T96" fmla="*/ 822 w 1343"/>
                <a:gd name="T97" fmla="*/ 749 h 895"/>
                <a:gd name="T98" fmla="*/ 813 w 1343"/>
                <a:gd name="T99" fmla="*/ 801 h 895"/>
                <a:gd name="T100" fmla="*/ 848 w 1343"/>
                <a:gd name="T101" fmla="*/ 867 h 895"/>
                <a:gd name="T102" fmla="*/ 901 w 1343"/>
                <a:gd name="T103" fmla="*/ 883 h 895"/>
                <a:gd name="T104" fmla="*/ 972 w 1343"/>
                <a:gd name="T105" fmla="*/ 839 h 895"/>
                <a:gd name="T106" fmla="*/ 1052 w 1343"/>
                <a:gd name="T107" fmla="*/ 827 h 895"/>
                <a:gd name="T108" fmla="*/ 1056 w 1343"/>
                <a:gd name="T109" fmla="*/ 782 h 895"/>
                <a:gd name="T110" fmla="*/ 945 w 1343"/>
                <a:gd name="T111" fmla="*/ 718 h 895"/>
                <a:gd name="T112" fmla="*/ 981 w 1343"/>
                <a:gd name="T113" fmla="*/ 688 h 895"/>
                <a:gd name="T114" fmla="*/ 1049 w 1343"/>
                <a:gd name="T115" fmla="*/ 653 h 895"/>
                <a:gd name="T116" fmla="*/ 1096 w 1343"/>
                <a:gd name="T117" fmla="*/ 644 h 895"/>
                <a:gd name="T118" fmla="*/ 1201 w 1343"/>
                <a:gd name="T119" fmla="*/ 591 h 895"/>
                <a:gd name="T120" fmla="*/ 1293 w 1343"/>
                <a:gd name="T121" fmla="*/ 527 h 895"/>
                <a:gd name="T122" fmla="*/ 1320 w 1343"/>
                <a:gd name="T123" fmla="*/ 454 h 895"/>
                <a:gd name="T124" fmla="*/ 1310 w 1343"/>
                <a:gd name="T125" fmla="*/ 40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3" h="895">
                  <a:moveTo>
                    <a:pt x="580" y="758"/>
                  </a:moveTo>
                  <a:lnTo>
                    <a:pt x="579" y="758"/>
                  </a:lnTo>
                  <a:lnTo>
                    <a:pt x="577" y="761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3" y="762"/>
                  </a:lnTo>
                  <a:lnTo>
                    <a:pt x="573" y="762"/>
                  </a:lnTo>
                  <a:lnTo>
                    <a:pt x="573" y="764"/>
                  </a:lnTo>
                  <a:lnTo>
                    <a:pt x="571" y="764"/>
                  </a:lnTo>
                  <a:lnTo>
                    <a:pt x="570" y="765"/>
                  </a:lnTo>
                  <a:lnTo>
                    <a:pt x="566" y="769"/>
                  </a:lnTo>
                  <a:lnTo>
                    <a:pt x="571" y="765"/>
                  </a:lnTo>
                  <a:lnTo>
                    <a:pt x="579" y="759"/>
                  </a:lnTo>
                  <a:lnTo>
                    <a:pt x="596" y="744"/>
                  </a:lnTo>
                  <a:lnTo>
                    <a:pt x="591" y="747"/>
                  </a:lnTo>
                  <a:lnTo>
                    <a:pt x="580" y="758"/>
                  </a:lnTo>
                  <a:close/>
                  <a:moveTo>
                    <a:pt x="814" y="722"/>
                  </a:moveTo>
                  <a:lnTo>
                    <a:pt x="813" y="721"/>
                  </a:lnTo>
                  <a:lnTo>
                    <a:pt x="810" y="721"/>
                  </a:lnTo>
                  <a:lnTo>
                    <a:pt x="808" y="719"/>
                  </a:lnTo>
                  <a:lnTo>
                    <a:pt x="808" y="719"/>
                  </a:lnTo>
                  <a:lnTo>
                    <a:pt x="807" y="719"/>
                  </a:lnTo>
                  <a:lnTo>
                    <a:pt x="804" y="721"/>
                  </a:lnTo>
                  <a:lnTo>
                    <a:pt x="801" y="718"/>
                  </a:lnTo>
                  <a:lnTo>
                    <a:pt x="799" y="718"/>
                  </a:lnTo>
                  <a:lnTo>
                    <a:pt x="793" y="719"/>
                  </a:lnTo>
                  <a:lnTo>
                    <a:pt x="782" y="718"/>
                  </a:lnTo>
                  <a:lnTo>
                    <a:pt x="782" y="718"/>
                  </a:lnTo>
                  <a:lnTo>
                    <a:pt x="782" y="718"/>
                  </a:lnTo>
                  <a:lnTo>
                    <a:pt x="781" y="718"/>
                  </a:lnTo>
                  <a:lnTo>
                    <a:pt x="813" y="722"/>
                  </a:lnTo>
                  <a:lnTo>
                    <a:pt x="814" y="722"/>
                  </a:lnTo>
                  <a:close/>
                  <a:moveTo>
                    <a:pt x="741" y="705"/>
                  </a:moveTo>
                  <a:lnTo>
                    <a:pt x="731" y="702"/>
                  </a:lnTo>
                  <a:lnTo>
                    <a:pt x="707" y="696"/>
                  </a:lnTo>
                  <a:lnTo>
                    <a:pt x="704" y="695"/>
                  </a:lnTo>
                  <a:lnTo>
                    <a:pt x="702" y="693"/>
                  </a:lnTo>
                  <a:lnTo>
                    <a:pt x="700" y="690"/>
                  </a:lnTo>
                  <a:lnTo>
                    <a:pt x="699" y="685"/>
                  </a:lnTo>
                  <a:lnTo>
                    <a:pt x="697" y="684"/>
                  </a:lnTo>
                  <a:lnTo>
                    <a:pt x="697" y="687"/>
                  </a:lnTo>
                  <a:lnTo>
                    <a:pt x="699" y="688"/>
                  </a:lnTo>
                  <a:lnTo>
                    <a:pt x="699" y="692"/>
                  </a:lnTo>
                  <a:lnTo>
                    <a:pt x="702" y="695"/>
                  </a:lnTo>
                  <a:lnTo>
                    <a:pt x="704" y="696"/>
                  </a:lnTo>
                  <a:lnTo>
                    <a:pt x="716" y="701"/>
                  </a:lnTo>
                  <a:lnTo>
                    <a:pt x="742" y="707"/>
                  </a:lnTo>
                  <a:lnTo>
                    <a:pt x="745" y="709"/>
                  </a:lnTo>
                  <a:lnTo>
                    <a:pt x="747" y="709"/>
                  </a:lnTo>
                  <a:lnTo>
                    <a:pt x="747" y="707"/>
                  </a:lnTo>
                  <a:lnTo>
                    <a:pt x="741" y="705"/>
                  </a:lnTo>
                  <a:close/>
                  <a:moveTo>
                    <a:pt x="1341" y="354"/>
                  </a:moveTo>
                  <a:lnTo>
                    <a:pt x="1338" y="351"/>
                  </a:lnTo>
                  <a:lnTo>
                    <a:pt x="1335" y="347"/>
                  </a:lnTo>
                  <a:lnTo>
                    <a:pt x="1333" y="344"/>
                  </a:lnTo>
                  <a:lnTo>
                    <a:pt x="1333" y="339"/>
                  </a:lnTo>
                  <a:lnTo>
                    <a:pt x="1335" y="336"/>
                  </a:lnTo>
                  <a:lnTo>
                    <a:pt x="1337" y="334"/>
                  </a:lnTo>
                  <a:lnTo>
                    <a:pt x="1338" y="333"/>
                  </a:lnTo>
                  <a:lnTo>
                    <a:pt x="1340" y="331"/>
                  </a:lnTo>
                  <a:lnTo>
                    <a:pt x="1340" y="328"/>
                  </a:lnTo>
                  <a:lnTo>
                    <a:pt x="1340" y="328"/>
                  </a:lnTo>
                  <a:lnTo>
                    <a:pt x="1340" y="328"/>
                  </a:lnTo>
                  <a:lnTo>
                    <a:pt x="1332" y="325"/>
                  </a:lnTo>
                  <a:lnTo>
                    <a:pt x="1330" y="325"/>
                  </a:lnTo>
                  <a:lnTo>
                    <a:pt x="1329" y="327"/>
                  </a:lnTo>
                  <a:lnTo>
                    <a:pt x="1324" y="331"/>
                  </a:lnTo>
                  <a:lnTo>
                    <a:pt x="1323" y="331"/>
                  </a:lnTo>
                  <a:lnTo>
                    <a:pt x="1320" y="333"/>
                  </a:lnTo>
                  <a:lnTo>
                    <a:pt x="1318" y="333"/>
                  </a:lnTo>
                  <a:lnTo>
                    <a:pt x="1317" y="333"/>
                  </a:lnTo>
                  <a:lnTo>
                    <a:pt x="1315" y="333"/>
                  </a:lnTo>
                  <a:lnTo>
                    <a:pt x="1310" y="328"/>
                  </a:lnTo>
                  <a:lnTo>
                    <a:pt x="1307" y="327"/>
                  </a:lnTo>
                  <a:lnTo>
                    <a:pt x="1304" y="327"/>
                  </a:lnTo>
                  <a:lnTo>
                    <a:pt x="1303" y="325"/>
                  </a:lnTo>
                  <a:lnTo>
                    <a:pt x="1301" y="320"/>
                  </a:lnTo>
                  <a:lnTo>
                    <a:pt x="1300" y="316"/>
                  </a:lnTo>
                  <a:lnTo>
                    <a:pt x="1298" y="313"/>
                  </a:lnTo>
                  <a:lnTo>
                    <a:pt x="1298" y="313"/>
                  </a:lnTo>
                  <a:lnTo>
                    <a:pt x="1293" y="311"/>
                  </a:lnTo>
                  <a:lnTo>
                    <a:pt x="1292" y="311"/>
                  </a:lnTo>
                  <a:lnTo>
                    <a:pt x="1289" y="310"/>
                  </a:lnTo>
                  <a:lnTo>
                    <a:pt x="1286" y="310"/>
                  </a:lnTo>
                  <a:lnTo>
                    <a:pt x="1284" y="311"/>
                  </a:lnTo>
                  <a:lnTo>
                    <a:pt x="1281" y="313"/>
                  </a:lnTo>
                  <a:lnTo>
                    <a:pt x="1278" y="311"/>
                  </a:lnTo>
                  <a:lnTo>
                    <a:pt x="1275" y="310"/>
                  </a:lnTo>
                  <a:lnTo>
                    <a:pt x="1273" y="308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67" y="296"/>
                  </a:lnTo>
                  <a:lnTo>
                    <a:pt x="1264" y="296"/>
                  </a:lnTo>
                  <a:lnTo>
                    <a:pt x="1264" y="297"/>
                  </a:lnTo>
                  <a:lnTo>
                    <a:pt x="1261" y="300"/>
                  </a:lnTo>
                  <a:lnTo>
                    <a:pt x="1260" y="302"/>
                  </a:lnTo>
                  <a:lnTo>
                    <a:pt x="1258" y="302"/>
                  </a:lnTo>
                  <a:lnTo>
                    <a:pt x="1252" y="304"/>
                  </a:lnTo>
                  <a:lnTo>
                    <a:pt x="1249" y="300"/>
                  </a:lnTo>
                  <a:lnTo>
                    <a:pt x="1247" y="299"/>
                  </a:lnTo>
                  <a:lnTo>
                    <a:pt x="1246" y="296"/>
                  </a:lnTo>
                  <a:lnTo>
                    <a:pt x="1238" y="294"/>
                  </a:lnTo>
                  <a:lnTo>
                    <a:pt x="1233" y="290"/>
                  </a:lnTo>
                  <a:lnTo>
                    <a:pt x="1232" y="290"/>
                  </a:lnTo>
                  <a:lnTo>
                    <a:pt x="1232" y="290"/>
                  </a:lnTo>
                  <a:lnTo>
                    <a:pt x="1232" y="287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0" y="285"/>
                  </a:lnTo>
                  <a:lnTo>
                    <a:pt x="1229" y="285"/>
                  </a:lnTo>
                  <a:lnTo>
                    <a:pt x="1229" y="287"/>
                  </a:lnTo>
                  <a:lnTo>
                    <a:pt x="1227" y="287"/>
                  </a:lnTo>
                  <a:lnTo>
                    <a:pt x="1224" y="285"/>
                  </a:lnTo>
                  <a:lnTo>
                    <a:pt x="1218" y="287"/>
                  </a:lnTo>
                  <a:lnTo>
                    <a:pt x="1216" y="285"/>
                  </a:lnTo>
                  <a:lnTo>
                    <a:pt x="1215" y="283"/>
                  </a:lnTo>
                  <a:lnTo>
                    <a:pt x="1213" y="283"/>
                  </a:lnTo>
                  <a:lnTo>
                    <a:pt x="1210" y="283"/>
                  </a:lnTo>
                  <a:lnTo>
                    <a:pt x="1209" y="282"/>
                  </a:lnTo>
                  <a:lnTo>
                    <a:pt x="1207" y="282"/>
                  </a:lnTo>
                  <a:lnTo>
                    <a:pt x="1206" y="274"/>
                  </a:lnTo>
                  <a:lnTo>
                    <a:pt x="1204" y="273"/>
                  </a:lnTo>
                  <a:lnTo>
                    <a:pt x="1203" y="273"/>
                  </a:lnTo>
                  <a:lnTo>
                    <a:pt x="1201" y="274"/>
                  </a:lnTo>
                  <a:lnTo>
                    <a:pt x="1196" y="273"/>
                  </a:lnTo>
                  <a:lnTo>
                    <a:pt x="1195" y="274"/>
                  </a:lnTo>
                  <a:lnTo>
                    <a:pt x="1193" y="277"/>
                  </a:lnTo>
                  <a:lnTo>
                    <a:pt x="1195" y="282"/>
                  </a:lnTo>
                  <a:lnTo>
                    <a:pt x="1193" y="287"/>
                  </a:lnTo>
                  <a:lnTo>
                    <a:pt x="1190" y="290"/>
                  </a:lnTo>
                  <a:lnTo>
                    <a:pt x="1190" y="290"/>
                  </a:lnTo>
                  <a:lnTo>
                    <a:pt x="1189" y="288"/>
                  </a:lnTo>
                  <a:lnTo>
                    <a:pt x="1187" y="288"/>
                  </a:lnTo>
                  <a:lnTo>
                    <a:pt x="1187" y="288"/>
                  </a:lnTo>
                  <a:lnTo>
                    <a:pt x="1184" y="291"/>
                  </a:lnTo>
                  <a:lnTo>
                    <a:pt x="1181" y="293"/>
                  </a:lnTo>
                  <a:lnTo>
                    <a:pt x="1181" y="291"/>
                  </a:lnTo>
                  <a:lnTo>
                    <a:pt x="1181" y="290"/>
                  </a:lnTo>
                  <a:lnTo>
                    <a:pt x="1179" y="288"/>
                  </a:lnTo>
                  <a:lnTo>
                    <a:pt x="1179" y="287"/>
                  </a:lnTo>
                  <a:lnTo>
                    <a:pt x="1178" y="283"/>
                  </a:lnTo>
                  <a:lnTo>
                    <a:pt x="1175" y="280"/>
                  </a:lnTo>
                  <a:lnTo>
                    <a:pt x="1173" y="277"/>
                  </a:lnTo>
                  <a:lnTo>
                    <a:pt x="1170" y="276"/>
                  </a:lnTo>
                  <a:lnTo>
                    <a:pt x="1164" y="273"/>
                  </a:lnTo>
                  <a:lnTo>
                    <a:pt x="1161" y="271"/>
                  </a:lnTo>
                  <a:lnTo>
                    <a:pt x="1155" y="260"/>
                  </a:lnTo>
                  <a:lnTo>
                    <a:pt x="1152" y="257"/>
                  </a:lnTo>
                  <a:lnTo>
                    <a:pt x="1152" y="257"/>
                  </a:lnTo>
                  <a:lnTo>
                    <a:pt x="1152" y="256"/>
                  </a:lnTo>
                  <a:lnTo>
                    <a:pt x="1152" y="254"/>
                  </a:lnTo>
                  <a:lnTo>
                    <a:pt x="1152" y="251"/>
                  </a:lnTo>
                  <a:lnTo>
                    <a:pt x="1152" y="247"/>
                  </a:lnTo>
                  <a:lnTo>
                    <a:pt x="1150" y="245"/>
                  </a:lnTo>
                  <a:lnTo>
                    <a:pt x="1143" y="240"/>
                  </a:lnTo>
                  <a:lnTo>
                    <a:pt x="1143" y="237"/>
                  </a:lnTo>
                  <a:lnTo>
                    <a:pt x="1141" y="234"/>
                  </a:lnTo>
                  <a:lnTo>
                    <a:pt x="1139" y="231"/>
                  </a:lnTo>
                  <a:lnTo>
                    <a:pt x="1138" y="230"/>
                  </a:lnTo>
                  <a:lnTo>
                    <a:pt x="1130" y="231"/>
                  </a:lnTo>
                  <a:lnTo>
                    <a:pt x="1129" y="233"/>
                  </a:lnTo>
                  <a:lnTo>
                    <a:pt x="1124" y="237"/>
                  </a:lnTo>
                  <a:lnTo>
                    <a:pt x="1122" y="239"/>
                  </a:lnTo>
                  <a:lnTo>
                    <a:pt x="1112" y="242"/>
                  </a:lnTo>
                  <a:lnTo>
                    <a:pt x="1106" y="240"/>
                  </a:lnTo>
                  <a:lnTo>
                    <a:pt x="1101" y="242"/>
                  </a:lnTo>
                  <a:lnTo>
                    <a:pt x="1096" y="243"/>
                  </a:lnTo>
                  <a:lnTo>
                    <a:pt x="1084" y="250"/>
                  </a:lnTo>
                  <a:lnTo>
                    <a:pt x="1082" y="251"/>
                  </a:lnTo>
                  <a:lnTo>
                    <a:pt x="1082" y="253"/>
                  </a:lnTo>
                  <a:lnTo>
                    <a:pt x="1081" y="254"/>
                  </a:lnTo>
                  <a:lnTo>
                    <a:pt x="1079" y="256"/>
                  </a:lnTo>
                  <a:lnTo>
                    <a:pt x="1079" y="257"/>
                  </a:lnTo>
                  <a:lnTo>
                    <a:pt x="1076" y="257"/>
                  </a:lnTo>
                  <a:lnTo>
                    <a:pt x="1075" y="256"/>
                  </a:lnTo>
                  <a:lnTo>
                    <a:pt x="1073" y="256"/>
                  </a:lnTo>
                  <a:lnTo>
                    <a:pt x="1073" y="256"/>
                  </a:lnTo>
                  <a:lnTo>
                    <a:pt x="1072" y="254"/>
                  </a:lnTo>
                  <a:lnTo>
                    <a:pt x="1073" y="253"/>
                  </a:lnTo>
                  <a:lnTo>
                    <a:pt x="1073" y="250"/>
                  </a:lnTo>
                  <a:lnTo>
                    <a:pt x="1073" y="250"/>
                  </a:lnTo>
                  <a:lnTo>
                    <a:pt x="1073" y="250"/>
                  </a:lnTo>
                  <a:lnTo>
                    <a:pt x="1072" y="248"/>
                  </a:lnTo>
                  <a:lnTo>
                    <a:pt x="1072" y="248"/>
                  </a:lnTo>
                  <a:lnTo>
                    <a:pt x="1069" y="248"/>
                  </a:lnTo>
                  <a:lnTo>
                    <a:pt x="1067" y="247"/>
                  </a:lnTo>
                  <a:lnTo>
                    <a:pt x="1065" y="247"/>
                  </a:lnTo>
                  <a:lnTo>
                    <a:pt x="1064" y="245"/>
                  </a:lnTo>
                  <a:lnTo>
                    <a:pt x="1062" y="245"/>
                  </a:lnTo>
                  <a:lnTo>
                    <a:pt x="1062" y="245"/>
                  </a:lnTo>
                  <a:lnTo>
                    <a:pt x="1061" y="245"/>
                  </a:lnTo>
                  <a:lnTo>
                    <a:pt x="1059" y="247"/>
                  </a:lnTo>
                  <a:lnTo>
                    <a:pt x="1058" y="248"/>
                  </a:lnTo>
                  <a:lnTo>
                    <a:pt x="1056" y="248"/>
                  </a:lnTo>
                  <a:lnTo>
                    <a:pt x="1055" y="248"/>
                  </a:lnTo>
                  <a:lnTo>
                    <a:pt x="1053" y="248"/>
                  </a:lnTo>
                  <a:lnTo>
                    <a:pt x="1045" y="236"/>
                  </a:lnTo>
                  <a:lnTo>
                    <a:pt x="1044" y="234"/>
                  </a:lnTo>
                  <a:lnTo>
                    <a:pt x="1042" y="233"/>
                  </a:lnTo>
                  <a:lnTo>
                    <a:pt x="1041" y="231"/>
                  </a:lnTo>
                  <a:lnTo>
                    <a:pt x="1027" y="231"/>
                  </a:lnTo>
                  <a:lnTo>
                    <a:pt x="1021" y="231"/>
                  </a:lnTo>
                  <a:lnTo>
                    <a:pt x="1019" y="231"/>
                  </a:lnTo>
                  <a:lnTo>
                    <a:pt x="1018" y="233"/>
                  </a:lnTo>
                  <a:lnTo>
                    <a:pt x="1016" y="234"/>
                  </a:lnTo>
                  <a:lnTo>
                    <a:pt x="1016" y="236"/>
                  </a:lnTo>
                  <a:lnTo>
                    <a:pt x="1015" y="236"/>
                  </a:lnTo>
                  <a:lnTo>
                    <a:pt x="1013" y="236"/>
                  </a:lnTo>
                  <a:lnTo>
                    <a:pt x="1013" y="236"/>
                  </a:lnTo>
                  <a:lnTo>
                    <a:pt x="1012" y="237"/>
                  </a:lnTo>
                  <a:lnTo>
                    <a:pt x="1012" y="239"/>
                  </a:lnTo>
                  <a:lnTo>
                    <a:pt x="1010" y="240"/>
                  </a:lnTo>
                  <a:lnTo>
                    <a:pt x="1010" y="240"/>
                  </a:lnTo>
                  <a:lnTo>
                    <a:pt x="1009" y="240"/>
                  </a:lnTo>
                  <a:lnTo>
                    <a:pt x="1007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2" y="239"/>
                  </a:lnTo>
                  <a:lnTo>
                    <a:pt x="1001" y="237"/>
                  </a:lnTo>
                  <a:lnTo>
                    <a:pt x="1001" y="236"/>
                  </a:lnTo>
                  <a:lnTo>
                    <a:pt x="1001" y="233"/>
                  </a:lnTo>
                  <a:lnTo>
                    <a:pt x="999" y="230"/>
                  </a:lnTo>
                  <a:lnTo>
                    <a:pt x="999" y="228"/>
                  </a:lnTo>
                  <a:lnTo>
                    <a:pt x="998" y="227"/>
                  </a:lnTo>
                  <a:lnTo>
                    <a:pt x="996" y="227"/>
                  </a:lnTo>
                  <a:lnTo>
                    <a:pt x="995" y="227"/>
                  </a:lnTo>
                  <a:lnTo>
                    <a:pt x="992" y="225"/>
                  </a:lnTo>
                  <a:lnTo>
                    <a:pt x="990" y="222"/>
                  </a:lnTo>
                  <a:lnTo>
                    <a:pt x="987" y="208"/>
                  </a:lnTo>
                  <a:lnTo>
                    <a:pt x="987" y="207"/>
                  </a:lnTo>
                  <a:lnTo>
                    <a:pt x="987" y="205"/>
                  </a:lnTo>
                  <a:lnTo>
                    <a:pt x="993" y="203"/>
                  </a:lnTo>
                  <a:lnTo>
                    <a:pt x="992" y="200"/>
                  </a:lnTo>
                  <a:lnTo>
                    <a:pt x="992" y="197"/>
                  </a:lnTo>
                  <a:lnTo>
                    <a:pt x="992" y="196"/>
                  </a:lnTo>
                  <a:lnTo>
                    <a:pt x="992" y="191"/>
                  </a:lnTo>
                  <a:lnTo>
                    <a:pt x="990" y="191"/>
                  </a:lnTo>
                  <a:lnTo>
                    <a:pt x="990" y="190"/>
                  </a:lnTo>
                  <a:lnTo>
                    <a:pt x="987" y="188"/>
                  </a:lnTo>
                  <a:lnTo>
                    <a:pt x="987" y="188"/>
                  </a:lnTo>
                  <a:lnTo>
                    <a:pt x="987" y="186"/>
                  </a:lnTo>
                  <a:lnTo>
                    <a:pt x="987" y="185"/>
                  </a:lnTo>
                  <a:lnTo>
                    <a:pt x="987" y="183"/>
                  </a:lnTo>
                  <a:lnTo>
                    <a:pt x="985" y="182"/>
                  </a:lnTo>
                  <a:lnTo>
                    <a:pt x="984" y="180"/>
                  </a:lnTo>
                  <a:lnTo>
                    <a:pt x="984" y="179"/>
                  </a:lnTo>
                  <a:lnTo>
                    <a:pt x="984" y="177"/>
                  </a:lnTo>
                  <a:lnTo>
                    <a:pt x="984" y="176"/>
                  </a:lnTo>
                  <a:lnTo>
                    <a:pt x="984" y="174"/>
                  </a:lnTo>
                  <a:lnTo>
                    <a:pt x="982" y="173"/>
                  </a:lnTo>
                  <a:lnTo>
                    <a:pt x="982" y="171"/>
                  </a:lnTo>
                  <a:lnTo>
                    <a:pt x="981" y="171"/>
                  </a:lnTo>
                  <a:lnTo>
                    <a:pt x="979" y="171"/>
                  </a:lnTo>
                  <a:lnTo>
                    <a:pt x="979" y="170"/>
                  </a:lnTo>
                  <a:lnTo>
                    <a:pt x="979" y="166"/>
                  </a:lnTo>
                  <a:lnTo>
                    <a:pt x="979" y="165"/>
                  </a:lnTo>
                  <a:lnTo>
                    <a:pt x="982" y="163"/>
                  </a:lnTo>
                  <a:lnTo>
                    <a:pt x="984" y="163"/>
                  </a:lnTo>
                  <a:lnTo>
                    <a:pt x="985" y="160"/>
                  </a:lnTo>
                  <a:lnTo>
                    <a:pt x="984" y="159"/>
                  </a:lnTo>
                  <a:lnTo>
                    <a:pt x="982" y="159"/>
                  </a:lnTo>
                  <a:lnTo>
                    <a:pt x="981" y="159"/>
                  </a:lnTo>
                  <a:lnTo>
                    <a:pt x="979" y="159"/>
                  </a:lnTo>
                  <a:lnTo>
                    <a:pt x="973" y="159"/>
                  </a:lnTo>
                  <a:lnTo>
                    <a:pt x="972" y="159"/>
                  </a:lnTo>
                  <a:lnTo>
                    <a:pt x="968" y="157"/>
                  </a:lnTo>
                  <a:lnTo>
                    <a:pt x="967" y="153"/>
                  </a:lnTo>
                  <a:lnTo>
                    <a:pt x="965" y="142"/>
                  </a:lnTo>
                  <a:lnTo>
                    <a:pt x="965" y="140"/>
                  </a:lnTo>
                  <a:lnTo>
                    <a:pt x="964" y="139"/>
                  </a:lnTo>
                  <a:lnTo>
                    <a:pt x="962" y="139"/>
                  </a:lnTo>
                  <a:lnTo>
                    <a:pt x="961" y="139"/>
                  </a:lnTo>
                  <a:lnTo>
                    <a:pt x="959" y="140"/>
                  </a:lnTo>
                  <a:lnTo>
                    <a:pt x="958" y="140"/>
                  </a:lnTo>
                  <a:lnTo>
                    <a:pt x="956" y="139"/>
                  </a:lnTo>
                  <a:lnTo>
                    <a:pt x="956" y="139"/>
                  </a:lnTo>
                  <a:lnTo>
                    <a:pt x="955" y="139"/>
                  </a:lnTo>
                  <a:lnTo>
                    <a:pt x="952" y="140"/>
                  </a:lnTo>
                  <a:lnTo>
                    <a:pt x="945" y="143"/>
                  </a:lnTo>
                  <a:lnTo>
                    <a:pt x="939" y="145"/>
                  </a:lnTo>
                  <a:lnTo>
                    <a:pt x="935" y="143"/>
                  </a:lnTo>
                  <a:lnTo>
                    <a:pt x="933" y="143"/>
                  </a:lnTo>
                  <a:lnTo>
                    <a:pt x="931" y="142"/>
                  </a:lnTo>
                  <a:lnTo>
                    <a:pt x="931" y="140"/>
                  </a:lnTo>
                  <a:lnTo>
                    <a:pt x="930" y="139"/>
                  </a:lnTo>
                  <a:lnTo>
                    <a:pt x="930" y="137"/>
                  </a:lnTo>
                  <a:lnTo>
                    <a:pt x="928" y="136"/>
                  </a:lnTo>
                  <a:lnTo>
                    <a:pt x="927" y="136"/>
                  </a:lnTo>
                  <a:lnTo>
                    <a:pt x="922" y="137"/>
                  </a:lnTo>
                  <a:lnTo>
                    <a:pt x="919" y="136"/>
                  </a:lnTo>
                  <a:lnTo>
                    <a:pt x="915" y="134"/>
                  </a:lnTo>
                  <a:lnTo>
                    <a:pt x="911" y="134"/>
                  </a:lnTo>
                  <a:lnTo>
                    <a:pt x="908" y="134"/>
                  </a:lnTo>
                  <a:lnTo>
                    <a:pt x="907" y="136"/>
                  </a:lnTo>
                  <a:lnTo>
                    <a:pt x="905" y="137"/>
                  </a:lnTo>
                  <a:lnTo>
                    <a:pt x="904" y="137"/>
                  </a:lnTo>
                  <a:lnTo>
                    <a:pt x="898" y="134"/>
                  </a:lnTo>
                  <a:lnTo>
                    <a:pt x="902" y="131"/>
                  </a:lnTo>
                  <a:lnTo>
                    <a:pt x="905" y="128"/>
                  </a:lnTo>
                  <a:lnTo>
                    <a:pt x="907" y="125"/>
                  </a:lnTo>
                  <a:lnTo>
                    <a:pt x="907" y="120"/>
                  </a:lnTo>
                  <a:lnTo>
                    <a:pt x="905" y="120"/>
                  </a:lnTo>
                  <a:lnTo>
                    <a:pt x="904" y="120"/>
                  </a:lnTo>
                  <a:lnTo>
                    <a:pt x="902" y="120"/>
                  </a:lnTo>
                  <a:lnTo>
                    <a:pt x="901" y="120"/>
                  </a:lnTo>
                  <a:lnTo>
                    <a:pt x="901" y="119"/>
                  </a:lnTo>
                  <a:lnTo>
                    <a:pt x="899" y="119"/>
                  </a:lnTo>
                  <a:lnTo>
                    <a:pt x="898" y="117"/>
                  </a:lnTo>
                  <a:lnTo>
                    <a:pt x="898" y="116"/>
                  </a:lnTo>
                  <a:lnTo>
                    <a:pt x="898" y="116"/>
                  </a:lnTo>
                  <a:lnTo>
                    <a:pt x="899" y="116"/>
                  </a:lnTo>
                  <a:lnTo>
                    <a:pt x="901" y="114"/>
                  </a:lnTo>
                  <a:lnTo>
                    <a:pt x="901" y="113"/>
                  </a:lnTo>
                  <a:lnTo>
                    <a:pt x="901" y="113"/>
                  </a:lnTo>
                  <a:lnTo>
                    <a:pt x="899" y="111"/>
                  </a:lnTo>
                  <a:lnTo>
                    <a:pt x="899" y="109"/>
                  </a:lnTo>
                  <a:lnTo>
                    <a:pt x="899" y="108"/>
                  </a:lnTo>
                  <a:lnTo>
                    <a:pt x="901" y="106"/>
                  </a:lnTo>
                  <a:lnTo>
                    <a:pt x="901" y="105"/>
                  </a:lnTo>
                  <a:lnTo>
                    <a:pt x="901" y="103"/>
                  </a:lnTo>
                  <a:lnTo>
                    <a:pt x="901" y="100"/>
                  </a:lnTo>
                  <a:lnTo>
                    <a:pt x="899" y="99"/>
                  </a:lnTo>
                  <a:lnTo>
                    <a:pt x="896" y="96"/>
                  </a:lnTo>
                  <a:lnTo>
                    <a:pt x="895" y="94"/>
                  </a:lnTo>
                  <a:lnTo>
                    <a:pt x="895" y="94"/>
                  </a:lnTo>
                  <a:lnTo>
                    <a:pt x="895" y="91"/>
                  </a:lnTo>
                  <a:lnTo>
                    <a:pt x="895" y="89"/>
                  </a:lnTo>
                  <a:lnTo>
                    <a:pt x="893" y="89"/>
                  </a:lnTo>
                  <a:lnTo>
                    <a:pt x="890" y="88"/>
                  </a:lnTo>
                  <a:lnTo>
                    <a:pt x="890" y="88"/>
                  </a:lnTo>
                  <a:lnTo>
                    <a:pt x="890" y="85"/>
                  </a:lnTo>
                  <a:lnTo>
                    <a:pt x="893" y="83"/>
                  </a:lnTo>
                  <a:lnTo>
                    <a:pt x="907" y="80"/>
                  </a:lnTo>
                  <a:lnTo>
                    <a:pt x="910" y="80"/>
                  </a:lnTo>
                  <a:lnTo>
                    <a:pt x="911" y="80"/>
                  </a:lnTo>
                  <a:lnTo>
                    <a:pt x="915" y="76"/>
                  </a:lnTo>
                  <a:lnTo>
                    <a:pt x="915" y="71"/>
                  </a:lnTo>
                  <a:lnTo>
                    <a:pt x="913" y="66"/>
                  </a:lnTo>
                  <a:lnTo>
                    <a:pt x="911" y="65"/>
                  </a:lnTo>
                  <a:lnTo>
                    <a:pt x="910" y="63"/>
                  </a:lnTo>
                  <a:lnTo>
                    <a:pt x="908" y="62"/>
                  </a:lnTo>
                  <a:lnTo>
                    <a:pt x="905" y="60"/>
                  </a:lnTo>
                  <a:lnTo>
                    <a:pt x="904" y="59"/>
                  </a:lnTo>
                  <a:lnTo>
                    <a:pt x="904" y="59"/>
                  </a:lnTo>
                  <a:lnTo>
                    <a:pt x="902" y="60"/>
                  </a:lnTo>
                  <a:lnTo>
                    <a:pt x="901" y="59"/>
                  </a:lnTo>
                  <a:lnTo>
                    <a:pt x="901" y="59"/>
                  </a:lnTo>
                  <a:lnTo>
                    <a:pt x="901" y="57"/>
                  </a:lnTo>
                  <a:lnTo>
                    <a:pt x="901" y="57"/>
                  </a:lnTo>
                  <a:lnTo>
                    <a:pt x="901" y="56"/>
                  </a:lnTo>
                  <a:lnTo>
                    <a:pt x="899" y="56"/>
                  </a:lnTo>
                  <a:lnTo>
                    <a:pt x="899" y="56"/>
                  </a:lnTo>
                  <a:lnTo>
                    <a:pt x="896" y="51"/>
                  </a:lnTo>
                  <a:lnTo>
                    <a:pt x="895" y="51"/>
                  </a:lnTo>
                  <a:lnTo>
                    <a:pt x="891" y="51"/>
                  </a:lnTo>
                  <a:lnTo>
                    <a:pt x="891" y="49"/>
                  </a:lnTo>
                  <a:lnTo>
                    <a:pt x="891" y="48"/>
                  </a:lnTo>
                  <a:lnTo>
                    <a:pt x="891" y="45"/>
                  </a:lnTo>
                  <a:lnTo>
                    <a:pt x="890" y="43"/>
                  </a:lnTo>
                  <a:lnTo>
                    <a:pt x="888" y="40"/>
                  </a:lnTo>
                  <a:lnTo>
                    <a:pt x="888" y="39"/>
                  </a:lnTo>
                  <a:lnTo>
                    <a:pt x="888" y="34"/>
                  </a:lnTo>
                  <a:lnTo>
                    <a:pt x="888" y="32"/>
                  </a:lnTo>
                  <a:lnTo>
                    <a:pt x="888" y="31"/>
                  </a:lnTo>
                  <a:lnTo>
                    <a:pt x="890" y="29"/>
                  </a:lnTo>
                  <a:lnTo>
                    <a:pt x="890" y="28"/>
                  </a:lnTo>
                  <a:lnTo>
                    <a:pt x="890" y="26"/>
                  </a:lnTo>
                  <a:lnTo>
                    <a:pt x="888" y="25"/>
                  </a:lnTo>
                  <a:lnTo>
                    <a:pt x="888" y="23"/>
                  </a:lnTo>
                  <a:lnTo>
                    <a:pt x="887" y="22"/>
                  </a:lnTo>
                  <a:lnTo>
                    <a:pt x="885" y="20"/>
                  </a:lnTo>
                  <a:lnTo>
                    <a:pt x="881" y="17"/>
                  </a:lnTo>
                  <a:lnTo>
                    <a:pt x="879" y="16"/>
                  </a:lnTo>
                  <a:lnTo>
                    <a:pt x="878" y="12"/>
                  </a:lnTo>
                  <a:lnTo>
                    <a:pt x="876" y="9"/>
                  </a:lnTo>
                  <a:lnTo>
                    <a:pt x="873" y="8"/>
                  </a:lnTo>
                  <a:lnTo>
                    <a:pt x="871" y="6"/>
                  </a:lnTo>
                  <a:lnTo>
                    <a:pt x="871" y="5"/>
                  </a:lnTo>
                  <a:lnTo>
                    <a:pt x="870" y="3"/>
                  </a:lnTo>
                  <a:lnTo>
                    <a:pt x="870" y="2"/>
                  </a:lnTo>
                  <a:lnTo>
                    <a:pt x="867" y="0"/>
                  </a:lnTo>
                  <a:lnTo>
                    <a:pt x="864" y="0"/>
                  </a:lnTo>
                  <a:lnTo>
                    <a:pt x="861" y="2"/>
                  </a:lnTo>
                  <a:lnTo>
                    <a:pt x="854" y="5"/>
                  </a:lnTo>
                  <a:lnTo>
                    <a:pt x="848" y="9"/>
                  </a:lnTo>
                  <a:lnTo>
                    <a:pt x="847" y="9"/>
                  </a:lnTo>
                  <a:lnTo>
                    <a:pt x="847" y="8"/>
                  </a:lnTo>
                  <a:lnTo>
                    <a:pt x="847" y="3"/>
                  </a:lnTo>
                  <a:lnTo>
                    <a:pt x="845" y="2"/>
                  </a:lnTo>
                  <a:lnTo>
                    <a:pt x="844" y="2"/>
                  </a:lnTo>
                  <a:lnTo>
                    <a:pt x="844" y="3"/>
                  </a:lnTo>
                  <a:lnTo>
                    <a:pt x="842" y="3"/>
                  </a:lnTo>
                  <a:lnTo>
                    <a:pt x="841" y="3"/>
                  </a:lnTo>
                  <a:lnTo>
                    <a:pt x="839" y="3"/>
                  </a:lnTo>
                  <a:lnTo>
                    <a:pt x="839" y="3"/>
                  </a:lnTo>
                  <a:lnTo>
                    <a:pt x="838" y="2"/>
                  </a:lnTo>
                  <a:lnTo>
                    <a:pt x="836" y="2"/>
                  </a:lnTo>
                  <a:lnTo>
                    <a:pt x="831" y="2"/>
                  </a:lnTo>
                  <a:lnTo>
                    <a:pt x="824" y="0"/>
                  </a:lnTo>
                  <a:lnTo>
                    <a:pt x="824" y="0"/>
                  </a:lnTo>
                  <a:lnTo>
                    <a:pt x="822" y="0"/>
                  </a:lnTo>
                  <a:lnTo>
                    <a:pt x="821" y="3"/>
                  </a:lnTo>
                  <a:lnTo>
                    <a:pt x="819" y="5"/>
                  </a:lnTo>
                  <a:lnTo>
                    <a:pt x="818" y="5"/>
                  </a:lnTo>
                  <a:lnTo>
                    <a:pt x="818" y="5"/>
                  </a:lnTo>
                  <a:lnTo>
                    <a:pt x="816" y="6"/>
                  </a:lnTo>
                  <a:lnTo>
                    <a:pt x="816" y="8"/>
                  </a:lnTo>
                  <a:lnTo>
                    <a:pt x="814" y="8"/>
                  </a:lnTo>
                  <a:lnTo>
                    <a:pt x="814" y="8"/>
                  </a:lnTo>
                  <a:lnTo>
                    <a:pt x="813" y="8"/>
                  </a:lnTo>
                  <a:lnTo>
                    <a:pt x="811" y="8"/>
                  </a:lnTo>
                  <a:lnTo>
                    <a:pt x="804" y="14"/>
                  </a:lnTo>
                  <a:lnTo>
                    <a:pt x="802" y="16"/>
                  </a:lnTo>
                  <a:lnTo>
                    <a:pt x="801" y="16"/>
                  </a:lnTo>
                  <a:lnTo>
                    <a:pt x="799" y="14"/>
                  </a:lnTo>
                  <a:lnTo>
                    <a:pt x="798" y="12"/>
                  </a:lnTo>
                  <a:lnTo>
                    <a:pt x="796" y="12"/>
                  </a:lnTo>
                  <a:lnTo>
                    <a:pt x="791" y="14"/>
                  </a:lnTo>
                  <a:lnTo>
                    <a:pt x="788" y="14"/>
                  </a:lnTo>
                  <a:lnTo>
                    <a:pt x="774" y="6"/>
                  </a:lnTo>
                  <a:lnTo>
                    <a:pt x="771" y="8"/>
                  </a:lnTo>
                  <a:lnTo>
                    <a:pt x="764" y="5"/>
                  </a:lnTo>
                  <a:lnTo>
                    <a:pt x="762" y="6"/>
                  </a:lnTo>
                  <a:lnTo>
                    <a:pt x="761" y="9"/>
                  </a:lnTo>
                  <a:lnTo>
                    <a:pt x="761" y="11"/>
                  </a:lnTo>
                  <a:lnTo>
                    <a:pt x="762" y="14"/>
                  </a:lnTo>
                  <a:lnTo>
                    <a:pt x="762" y="14"/>
                  </a:lnTo>
                  <a:lnTo>
                    <a:pt x="762" y="16"/>
                  </a:lnTo>
                  <a:lnTo>
                    <a:pt x="761" y="17"/>
                  </a:lnTo>
                  <a:lnTo>
                    <a:pt x="761" y="17"/>
                  </a:lnTo>
                  <a:lnTo>
                    <a:pt x="759" y="19"/>
                  </a:lnTo>
                  <a:lnTo>
                    <a:pt x="759" y="20"/>
                  </a:lnTo>
                  <a:lnTo>
                    <a:pt x="757" y="28"/>
                  </a:lnTo>
                  <a:lnTo>
                    <a:pt x="756" y="32"/>
                  </a:lnTo>
                  <a:lnTo>
                    <a:pt x="753" y="34"/>
                  </a:lnTo>
                  <a:lnTo>
                    <a:pt x="742" y="40"/>
                  </a:lnTo>
                  <a:lnTo>
                    <a:pt x="741" y="40"/>
                  </a:lnTo>
                  <a:lnTo>
                    <a:pt x="736" y="39"/>
                  </a:lnTo>
                  <a:lnTo>
                    <a:pt x="733" y="39"/>
                  </a:lnTo>
                  <a:lnTo>
                    <a:pt x="730" y="40"/>
                  </a:lnTo>
                  <a:lnTo>
                    <a:pt x="728" y="42"/>
                  </a:lnTo>
                  <a:lnTo>
                    <a:pt x="727" y="40"/>
                  </a:lnTo>
                  <a:lnTo>
                    <a:pt x="727" y="39"/>
                  </a:lnTo>
                  <a:lnTo>
                    <a:pt x="727" y="36"/>
                  </a:lnTo>
                  <a:lnTo>
                    <a:pt x="727" y="34"/>
                  </a:lnTo>
                  <a:lnTo>
                    <a:pt x="725" y="32"/>
                  </a:lnTo>
                  <a:lnTo>
                    <a:pt x="722" y="32"/>
                  </a:lnTo>
                  <a:lnTo>
                    <a:pt x="717" y="32"/>
                  </a:lnTo>
                  <a:lnTo>
                    <a:pt x="708" y="32"/>
                  </a:lnTo>
                  <a:lnTo>
                    <a:pt x="696" y="31"/>
                  </a:lnTo>
                  <a:lnTo>
                    <a:pt x="690" y="31"/>
                  </a:lnTo>
                  <a:lnTo>
                    <a:pt x="684" y="32"/>
                  </a:lnTo>
                  <a:lnTo>
                    <a:pt x="682" y="34"/>
                  </a:lnTo>
                  <a:lnTo>
                    <a:pt x="680" y="37"/>
                  </a:lnTo>
                  <a:lnTo>
                    <a:pt x="679" y="39"/>
                  </a:lnTo>
                  <a:lnTo>
                    <a:pt x="677" y="40"/>
                  </a:lnTo>
                  <a:lnTo>
                    <a:pt x="676" y="39"/>
                  </a:lnTo>
                  <a:lnTo>
                    <a:pt x="673" y="36"/>
                  </a:lnTo>
                  <a:lnTo>
                    <a:pt x="671" y="36"/>
                  </a:lnTo>
                  <a:lnTo>
                    <a:pt x="668" y="36"/>
                  </a:lnTo>
                  <a:lnTo>
                    <a:pt x="657" y="36"/>
                  </a:lnTo>
                  <a:lnTo>
                    <a:pt x="656" y="36"/>
                  </a:lnTo>
                  <a:lnTo>
                    <a:pt x="654" y="37"/>
                  </a:lnTo>
                  <a:lnTo>
                    <a:pt x="654" y="39"/>
                  </a:lnTo>
                  <a:lnTo>
                    <a:pt x="654" y="40"/>
                  </a:lnTo>
                  <a:lnTo>
                    <a:pt x="654" y="40"/>
                  </a:lnTo>
                  <a:lnTo>
                    <a:pt x="654" y="42"/>
                  </a:lnTo>
                  <a:lnTo>
                    <a:pt x="654" y="42"/>
                  </a:lnTo>
                  <a:lnTo>
                    <a:pt x="656" y="42"/>
                  </a:lnTo>
                  <a:lnTo>
                    <a:pt x="657" y="43"/>
                  </a:lnTo>
                  <a:lnTo>
                    <a:pt x="656" y="45"/>
                  </a:lnTo>
                  <a:lnTo>
                    <a:pt x="654" y="45"/>
                  </a:lnTo>
                  <a:lnTo>
                    <a:pt x="654" y="45"/>
                  </a:lnTo>
                  <a:lnTo>
                    <a:pt x="653" y="45"/>
                  </a:lnTo>
                  <a:lnTo>
                    <a:pt x="653" y="45"/>
                  </a:lnTo>
                  <a:lnTo>
                    <a:pt x="653" y="45"/>
                  </a:lnTo>
                  <a:lnTo>
                    <a:pt x="651" y="46"/>
                  </a:lnTo>
                  <a:lnTo>
                    <a:pt x="651" y="46"/>
                  </a:lnTo>
                  <a:lnTo>
                    <a:pt x="651" y="48"/>
                  </a:lnTo>
                  <a:lnTo>
                    <a:pt x="651" y="48"/>
                  </a:lnTo>
                  <a:lnTo>
                    <a:pt x="651" y="49"/>
                  </a:lnTo>
                  <a:lnTo>
                    <a:pt x="650" y="49"/>
                  </a:lnTo>
                  <a:lnTo>
                    <a:pt x="650" y="51"/>
                  </a:lnTo>
                  <a:lnTo>
                    <a:pt x="648" y="51"/>
                  </a:lnTo>
                  <a:lnTo>
                    <a:pt x="647" y="53"/>
                  </a:lnTo>
                  <a:lnTo>
                    <a:pt x="647" y="53"/>
                  </a:lnTo>
                  <a:lnTo>
                    <a:pt x="647" y="53"/>
                  </a:lnTo>
                  <a:lnTo>
                    <a:pt x="647" y="54"/>
                  </a:lnTo>
                  <a:lnTo>
                    <a:pt x="647" y="54"/>
                  </a:lnTo>
                  <a:lnTo>
                    <a:pt x="645" y="56"/>
                  </a:lnTo>
                  <a:lnTo>
                    <a:pt x="645" y="57"/>
                  </a:lnTo>
                  <a:lnTo>
                    <a:pt x="643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0" y="57"/>
                  </a:lnTo>
                  <a:lnTo>
                    <a:pt x="640" y="59"/>
                  </a:lnTo>
                  <a:lnTo>
                    <a:pt x="640" y="60"/>
                  </a:lnTo>
                  <a:lnTo>
                    <a:pt x="639" y="60"/>
                  </a:lnTo>
                  <a:lnTo>
                    <a:pt x="639" y="62"/>
                  </a:lnTo>
                  <a:lnTo>
                    <a:pt x="639" y="62"/>
                  </a:lnTo>
                  <a:lnTo>
                    <a:pt x="637" y="62"/>
                  </a:lnTo>
                  <a:lnTo>
                    <a:pt x="637" y="63"/>
                  </a:lnTo>
                  <a:lnTo>
                    <a:pt x="636" y="65"/>
                  </a:lnTo>
                  <a:lnTo>
                    <a:pt x="636" y="66"/>
                  </a:lnTo>
                  <a:lnTo>
                    <a:pt x="636" y="66"/>
                  </a:lnTo>
                  <a:lnTo>
                    <a:pt x="636" y="66"/>
                  </a:lnTo>
                  <a:lnTo>
                    <a:pt x="636" y="68"/>
                  </a:lnTo>
                  <a:lnTo>
                    <a:pt x="636" y="69"/>
                  </a:lnTo>
                  <a:lnTo>
                    <a:pt x="634" y="71"/>
                  </a:lnTo>
                  <a:lnTo>
                    <a:pt x="633" y="73"/>
                  </a:lnTo>
                  <a:lnTo>
                    <a:pt x="633" y="73"/>
                  </a:lnTo>
                  <a:lnTo>
                    <a:pt x="634" y="74"/>
                  </a:lnTo>
                  <a:lnTo>
                    <a:pt x="634" y="74"/>
                  </a:lnTo>
                  <a:lnTo>
                    <a:pt x="634" y="76"/>
                  </a:lnTo>
                  <a:lnTo>
                    <a:pt x="633" y="76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3" y="80"/>
                  </a:lnTo>
                  <a:lnTo>
                    <a:pt x="631" y="80"/>
                  </a:lnTo>
                  <a:lnTo>
                    <a:pt x="630" y="80"/>
                  </a:lnTo>
                  <a:lnTo>
                    <a:pt x="628" y="80"/>
                  </a:lnTo>
                  <a:lnTo>
                    <a:pt x="630" y="82"/>
                  </a:lnTo>
                  <a:lnTo>
                    <a:pt x="628" y="85"/>
                  </a:lnTo>
                  <a:lnTo>
                    <a:pt x="628" y="86"/>
                  </a:lnTo>
                  <a:lnTo>
                    <a:pt x="628" y="86"/>
                  </a:lnTo>
                  <a:lnTo>
                    <a:pt x="628" y="88"/>
                  </a:lnTo>
                  <a:lnTo>
                    <a:pt x="627" y="88"/>
                  </a:lnTo>
                  <a:lnTo>
                    <a:pt x="627" y="88"/>
                  </a:lnTo>
                  <a:lnTo>
                    <a:pt x="628" y="89"/>
                  </a:lnTo>
                  <a:lnTo>
                    <a:pt x="627" y="89"/>
                  </a:lnTo>
                  <a:lnTo>
                    <a:pt x="625" y="93"/>
                  </a:lnTo>
                  <a:lnTo>
                    <a:pt x="625" y="93"/>
                  </a:lnTo>
                  <a:lnTo>
                    <a:pt x="627" y="94"/>
                  </a:lnTo>
                  <a:lnTo>
                    <a:pt x="627" y="94"/>
                  </a:lnTo>
                  <a:lnTo>
                    <a:pt x="627" y="96"/>
                  </a:lnTo>
                  <a:lnTo>
                    <a:pt x="627" y="96"/>
                  </a:lnTo>
                  <a:lnTo>
                    <a:pt x="625" y="96"/>
                  </a:lnTo>
                  <a:lnTo>
                    <a:pt x="625" y="96"/>
                  </a:lnTo>
                  <a:lnTo>
                    <a:pt x="625" y="96"/>
                  </a:lnTo>
                  <a:lnTo>
                    <a:pt x="625" y="97"/>
                  </a:lnTo>
                  <a:lnTo>
                    <a:pt x="627" y="99"/>
                  </a:lnTo>
                  <a:lnTo>
                    <a:pt x="628" y="99"/>
                  </a:lnTo>
                  <a:lnTo>
                    <a:pt x="630" y="99"/>
                  </a:lnTo>
                  <a:lnTo>
                    <a:pt x="630" y="100"/>
                  </a:lnTo>
                  <a:lnTo>
                    <a:pt x="628" y="102"/>
                  </a:lnTo>
                  <a:lnTo>
                    <a:pt x="628" y="102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5"/>
                  </a:lnTo>
                  <a:lnTo>
                    <a:pt x="630" y="105"/>
                  </a:lnTo>
                  <a:lnTo>
                    <a:pt x="630" y="106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3" y="108"/>
                  </a:lnTo>
                  <a:lnTo>
                    <a:pt x="633" y="109"/>
                  </a:lnTo>
                  <a:lnTo>
                    <a:pt x="631" y="109"/>
                  </a:lnTo>
                  <a:lnTo>
                    <a:pt x="630" y="109"/>
                  </a:lnTo>
                  <a:lnTo>
                    <a:pt x="630" y="109"/>
                  </a:lnTo>
                  <a:lnTo>
                    <a:pt x="630" y="111"/>
                  </a:lnTo>
                  <a:lnTo>
                    <a:pt x="630" y="113"/>
                  </a:lnTo>
                  <a:lnTo>
                    <a:pt x="631" y="114"/>
                  </a:lnTo>
                  <a:lnTo>
                    <a:pt x="631" y="114"/>
                  </a:lnTo>
                  <a:lnTo>
                    <a:pt x="633" y="114"/>
                  </a:lnTo>
                  <a:lnTo>
                    <a:pt x="633" y="116"/>
                  </a:lnTo>
                  <a:lnTo>
                    <a:pt x="633" y="119"/>
                  </a:lnTo>
                  <a:lnTo>
                    <a:pt x="634" y="119"/>
                  </a:lnTo>
                  <a:lnTo>
                    <a:pt x="634" y="120"/>
                  </a:lnTo>
                  <a:lnTo>
                    <a:pt x="634" y="120"/>
                  </a:lnTo>
                  <a:lnTo>
                    <a:pt x="633" y="120"/>
                  </a:lnTo>
                  <a:lnTo>
                    <a:pt x="634" y="123"/>
                  </a:lnTo>
                  <a:lnTo>
                    <a:pt x="631" y="126"/>
                  </a:lnTo>
                  <a:lnTo>
                    <a:pt x="630" y="128"/>
                  </a:lnTo>
                  <a:lnTo>
                    <a:pt x="630" y="130"/>
                  </a:lnTo>
                  <a:lnTo>
                    <a:pt x="628" y="133"/>
                  </a:lnTo>
                  <a:lnTo>
                    <a:pt x="628" y="133"/>
                  </a:lnTo>
                  <a:lnTo>
                    <a:pt x="628" y="136"/>
                  </a:lnTo>
                  <a:lnTo>
                    <a:pt x="628" y="136"/>
                  </a:lnTo>
                  <a:lnTo>
                    <a:pt x="627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5" y="134"/>
                  </a:lnTo>
                  <a:lnTo>
                    <a:pt x="623" y="133"/>
                  </a:lnTo>
                  <a:lnTo>
                    <a:pt x="623" y="133"/>
                  </a:lnTo>
                  <a:lnTo>
                    <a:pt x="622" y="133"/>
                  </a:lnTo>
                  <a:lnTo>
                    <a:pt x="620" y="133"/>
                  </a:lnTo>
                  <a:lnTo>
                    <a:pt x="619" y="130"/>
                  </a:lnTo>
                  <a:lnTo>
                    <a:pt x="617" y="130"/>
                  </a:lnTo>
                  <a:lnTo>
                    <a:pt x="617" y="130"/>
                  </a:lnTo>
                  <a:lnTo>
                    <a:pt x="614" y="130"/>
                  </a:lnTo>
                  <a:lnTo>
                    <a:pt x="614" y="128"/>
                  </a:lnTo>
                  <a:lnTo>
                    <a:pt x="613" y="128"/>
                  </a:lnTo>
                  <a:lnTo>
                    <a:pt x="610" y="125"/>
                  </a:lnTo>
                  <a:lnTo>
                    <a:pt x="610" y="123"/>
                  </a:lnTo>
                  <a:lnTo>
                    <a:pt x="610" y="123"/>
                  </a:lnTo>
                  <a:lnTo>
                    <a:pt x="611" y="120"/>
                  </a:lnTo>
                  <a:lnTo>
                    <a:pt x="611" y="120"/>
                  </a:lnTo>
                  <a:lnTo>
                    <a:pt x="611" y="119"/>
                  </a:lnTo>
                  <a:lnTo>
                    <a:pt x="611" y="117"/>
                  </a:lnTo>
                  <a:lnTo>
                    <a:pt x="611" y="117"/>
                  </a:lnTo>
                  <a:lnTo>
                    <a:pt x="610" y="116"/>
                  </a:lnTo>
                  <a:lnTo>
                    <a:pt x="610" y="116"/>
                  </a:lnTo>
                  <a:lnTo>
                    <a:pt x="605" y="114"/>
                  </a:lnTo>
                  <a:lnTo>
                    <a:pt x="603" y="113"/>
                  </a:lnTo>
                  <a:lnTo>
                    <a:pt x="602" y="108"/>
                  </a:lnTo>
                  <a:lnTo>
                    <a:pt x="599" y="106"/>
                  </a:lnTo>
                  <a:lnTo>
                    <a:pt x="597" y="106"/>
                  </a:lnTo>
                  <a:lnTo>
                    <a:pt x="586" y="106"/>
                  </a:lnTo>
                  <a:lnTo>
                    <a:pt x="585" y="106"/>
                  </a:lnTo>
                  <a:lnTo>
                    <a:pt x="580" y="109"/>
                  </a:lnTo>
                  <a:lnTo>
                    <a:pt x="580" y="109"/>
                  </a:lnTo>
                  <a:lnTo>
                    <a:pt x="579" y="109"/>
                  </a:lnTo>
                  <a:lnTo>
                    <a:pt x="577" y="108"/>
                  </a:lnTo>
                  <a:lnTo>
                    <a:pt x="577" y="109"/>
                  </a:lnTo>
                  <a:lnTo>
                    <a:pt x="576" y="111"/>
                  </a:lnTo>
                  <a:lnTo>
                    <a:pt x="574" y="113"/>
                  </a:lnTo>
                  <a:lnTo>
                    <a:pt x="573" y="113"/>
                  </a:lnTo>
                  <a:lnTo>
                    <a:pt x="566" y="111"/>
                  </a:lnTo>
                  <a:lnTo>
                    <a:pt x="565" y="111"/>
                  </a:lnTo>
                  <a:lnTo>
                    <a:pt x="565" y="108"/>
                  </a:lnTo>
                  <a:lnTo>
                    <a:pt x="563" y="106"/>
                  </a:lnTo>
                  <a:lnTo>
                    <a:pt x="562" y="105"/>
                  </a:lnTo>
                  <a:lnTo>
                    <a:pt x="560" y="105"/>
                  </a:lnTo>
                  <a:lnTo>
                    <a:pt x="559" y="105"/>
                  </a:lnTo>
                  <a:lnTo>
                    <a:pt x="557" y="106"/>
                  </a:lnTo>
                  <a:lnTo>
                    <a:pt x="556" y="108"/>
                  </a:lnTo>
                  <a:lnTo>
                    <a:pt x="556" y="109"/>
                  </a:lnTo>
                  <a:lnTo>
                    <a:pt x="554" y="111"/>
                  </a:lnTo>
                  <a:lnTo>
                    <a:pt x="553" y="111"/>
                  </a:lnTo>
                  <a:lnTo>
                    <a:pt x="550" y="111"/>
                  </a:lnTo>
                  <a:lnTo>
                    <a:pt x="550" y="113"/>
                  </a:lnTo>
                  <a:lnTo>
                    <a:pt x="548" y="113"/>
                  </a:lnTo>
                  <a:lnTo>
                    <a:pt x="548" y="116"/>
                  </a:lnTo>
                  <a:lnTo>
                    <a:pt x="546" y="119"/>
                  </a:lnTo>
                  <a:lnTo>
                    <a:pt x="545" y="119"/>
                  </a:lnTo>
                  <a:lnTo>
                    <a:pt x="542" y="117"/>
                  </a:lnTo>
                  <a:lnTo>
                    <a:pt x="540" y="117"/>
                  </a:lnTo>
                  <a:lnTo>
                    <a:pt x="537" y="119"/>
                  </a:lnTo>
                  <a:lnTo>
                    <a:pt x="537" y="120"/>
                  </a:lnTo>
                  <a:lnTo>
                    <a:pt x="536" y="120"/>
                  </a:lnTo>
                  <a:lnTo>
                    <a:pt x="534" y="119"/>
                  </a:lnTo>
                  <a:lnTo>
                    <a:pt x="533" y="117"/>
                  </a:lnTo>
                  <a:lnTo>
                    <a:pt x="533" y="114"/>
                  </a:lnTo>
                  <a:lnTo>
                    <a:pt x="531" y="113"/>
                  </a:lnTo>
                  <a:lnTo>
                    <a:pt x="530" y="111"/>
                  </a:lnTo>
                  <a:lnTo>
                    <a:pt x="528" y="109"/>
                  </a:lnTo>
                  <a:lnTo>
                    <a:pt x="528" y="108"/>
                  </a:lnTo>
                  <a:lnTo>
                    <a:pt x="530" y="105"/>
                  </a:lnTo>
                  <a:lnTo>
                    <a:pt x="528" y="102"/>
                  </a:lnTo>
                  <a:lnTo>
                    <a:pt x="528" y="100"/>
                  </a:lnTo>
                  <a:lnTo>
                    <a:pt x="525" y="97"/>
                  </a:lnTo>
                  <a:lnTo>
                    <a:pt x="523" y="93"/>
                  </a:lnTo>
                  <a:lnTo>
                    <a:pt x="523" y="91"/>
                  </a:lnTo>
                  <a:lnTo>
                    <a:pt x="520" y="89"/>
                  </a:lnTo>
                  <a:lnTo>
                    <a:pt x="517" y="89"/>
                  </a:lnTo>
                  <a:lnTo>
                    <a:pt x="516" y="89"/>
                  </a:lnTo>
                  <a:lnTo>
                    <a:pt x="516" y="89"/>
                  </a:lnTo>
                  <a:lnTo>
                    <a:pt x="514" y="91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8" y="97"/>
                  </a:lnTo>
                  <a:lnTo>
                    <a:pt x="503" y="97"/>
                  </a:lnTo>
                  <a:lnTo>
                    <a:pt x="502" y="97"/>
                  </a:lnTo>
                  <a:lnTo>
                    <a:pt x="499" y="99"/>
                  </a:lnTo>
                  <a:lnTo>
                    <a:pt x="497" y="100"/>
                  </a:lnTo>
                  <a:lnTo>
                    <a:pt x="494" y="103"/>
                  </a:lnTo>
                  <a:lnTo>
                    <a:pt x="493" y="106"/>
                  </a:lnTo>
                  <a:lnTo>
                    <a:pt x="493" y="108"/>
                  </a:lnTo>
                  <a:lnTo>
                    <a:pt x="493" y="113"/>
                  </a:lnTo>
                  <a:lnTo>
                    <a:pt x="493" y="114"/>
                  </a:lnTo>
                  <a:lnTo>
                    <a:pt x="491" y="116"/>
                  </a:lnTo>
                  <a:lnTo>
                    <a:pt x="491" y="116"/>
                  </a:lnTo>
                  <a:lnTo>
                    <a:pt x="489" y="113"/>
                  </a:lnTo>
                  <a:lnTo>
                    <a:pt x="489" y="111"/>
                  </a:lnTo>
                  <a:lnTo>
                    <a:pt x="488" y="111"/>
                  </a:lnTo>
                  <a:lnTo>
                    <a:pt x="488" y="113"/>
                  </a:lnTo>
                  <a:lnTo>
                    <a:pt x="486" y="113"/>
                  </a:lnTo>
                  <a:lnTo>
                    <a:pt x="485" y="111"/>
                  </a:lnTo>
                  <a:lnTo>
                    <a:pt x="485" y="111"/>
                  </a:lnTo>
                  <a:lnTo>
                    <a:pt x="485" y="109"/>
                  </a:lnTo>
                  <a:lnTo>
                    <a:pt x="483" y="102"/>
                  </a:lnTo>
                  <a:lnTo>
                    <a:pt x="483" y="100"/>
                  </a:lnTo>
                  <a:lnTo>
                    <a:pt x="482" y="99"/>
                  </a:lnTo>
                  <a:lnTo>
                    <a:pt x="480" y="97"/>
                  </a:lnTo>
                  <a:lnTo>
                    <a:pt x="474" y="96"/>
                  </a:lnTo>
                  <a:lnTo>
                    <a:pt x="471" y="96"/>
                  </a:lnTo>
                  <a:lnTo>
                    <a:pt x="469" y="97"/>
                  </a:lnTo>
                  <a:lnTo>
                    <a:pt x="466" y="99"/>
                  </a:lnTo>
                  <a:lnTo>
                    <a:pt x="463" y="100"/>
                  </a:lnTo>
                  <a:lnTo>
                    <a:pt x="463" y="102"/>
                  </a:lnTo>
                  <a:lnTo>
                    <a:pt x="462" y="102"/>
                  </a:lnTo>
                  <a:lnTo>
                    <a:pt x="462" y="100"/>
                  </a:lnTo>
                  <a:lnTo>
                    <a:pt x="460" y="97"/>
                  </a:lnTo>
                  <a:lnTo>
                    <a:pt x="460" y="96"/>
                  </a:lnTo>
                  <a:lnTo>
                    <a:pt x="459" y="94"/>
                  </a:lnTo>
                  <a:lnTo>
                    <a:pt x="457" y="93"/>
                  </a:lnTo>
                  <a:lnTo>
                    <a:pt x="457" y="93"/>
                  </a:lnTo>
                  <a:lnTo>
                    <a:pt x="456" y="91"/>
                  </a:lnTo>
                  <a:lnTo>
                    <a:pt x="456" y="89"/>
                  </a:lnTo>
                  <a:lnTo>
                    <a:pt x="456" y="89"/>
                  </a:lnTo>
                  <a:lnTo>
                    <a:pt x="456" y="88"/>
                  </a:lnTo>
                  <a:lnTo>
                    <a:pt x="454" y="86"/>
                  </a:lnTo>
                  <a:lnTo>
                    <a:pt x="452" y="86"/>
                  </a:lnTo>
                  <a:lnTo>
                    <a:pt x="451" y="86"/>
                  </a:lnTo>
                  <a:lnTo>
                    <a:pt x="449" y="88"/>
                  </a:lnTo>
                  <a:lnTo>
                    <a:pt x="448" y="91"/>
                  </a:lnTo>
                  <a:lnTo>
                    <a:pt x="446" y="96"/>
                  </a:lnTo>
                  <a:lnTo>
                    <a:pt x="443" y="97"/>
                  </a:lnTo>
                  <a:lnTo>
                    <a:pt x="442" y="97"/>
                  </a:lnTo>
                  <a:lnTo>
                    <a:pt x="436" y="97"/>
                  </a:lnTo>
                  <a:lnTo>
                    <a:pt x="434" y="97"/>
                  </a:lnTo>
                  <a:lnTo>
                    <a:pt x="432" y="97"/>
                  </a:lnTo>
                  <a:lnTo>
                    <a:pt x="428" y="91"/>
                  </a:lnTo>
                  <a:lnTo>
                    <a:pt x="426" y="91"/>
                  </a:lnTo>
                  <a:lnTo>
                    <a:pt x="425" y="91"/>
                  </a:lnTo>
                  <a:lnTo>
                    <a:pt x="423" y="93"/>
                  </a:lnTo>
                  <a:lnTo>
                    <a:pt x="422" y="94"/>
                  </a:lnTo>
                  <a:lnTo>
                    <a:pt x="422" y="97"/>
                  </a:lnTo>
                  <a:lnTo>
                    <a:pt x="422" y="99"/>
                  </a:lnTo>
                  <a:lnTo>
                    <a:pt x="422" y="100"/>
                  </a:lnTo>
                  <a:lnTo>
                    <a:pt x="422" y="100"/>
                  </a:lnTo>
                  <a:lnTo>
                    <a:pt x="422" y="102"/>
                  </a:lnTo>
                  <a:lnTo>
                    <a:pt x="422" y="103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6" y="109"/>
                  </a:lnTo>
                  <a:lnTo>
                    <a:pt x="416" y="108"/>
                  </a:lnTo>
                  <a:lnTo>
                    <a:pt x="414" y="108"/>
                  </a:lnTo>
                  <a:lnTo>
                    <a:pt x="412" y="106"/>
                  </a:lnTo>
                  <a:lnTo>
                    <a:pt x="412" y="105"/>
                  </a:lnTo>
                  <a:lnTo>
                    <a:pt x="412" y="105"/>
                  </a:lnTo>
                  <a:lnTo>
                    <a:pt x="414" y="99"/>
                  </a:lnTo>
                  <a:lnTo>
                    <a:pt x="416" y="96"/>
                  </a:lnTo>
                  <a:lnTo>
                    <a:pt x="414" y="94"/>
                  </a:lnTo>
                  <a:lnTo>
                    <a:pt x="412" y="93"/>
                  </a:lnTo>
                  <a:lnTo>
                    <a:pt x="409" y="93"/>
                  </a:lnTo>
                  <a:lnTo>
                    <a:pt x="400" y="89"/>
                  </a:lnTo>
                  <a:lnTo>
                    <a:pt x="400" y="89"/>
                  </a:lnTo>
                  <a:lnTo>
                    <a:pt x="399" y="89"/>
                  </a:lnTo>
                  <a:lnTo>
                    <a:pt x="397" y="91"/>
                  </a:lnTo>
                  <a:lnTo>
                    <a:pt x="396" y="93"/>
                  </a:lnTo>
                  <a:lnTo>
                    <a:pt x="392" y="94"/>
                  </a:lnTo>
                  <a:lnTo>
                    <a:pt x="391" y="94"/>
                  </a:lnTo>
                  <a:lnTo>
                    <a:pt x="388" y="93"/>
                  </a:lnTo>
                  <a:lnTo>
                    <a:pt x="385" y="94"/>
                  </a:lnTo>
                  <a:lnTo>
                    <a:pt x="383" y="94"/>
                  </a:lnTo>
                  <a:lnTo>
                    <a:pt x="382" y="93"/>
                  </a:lnTo>
                  <a:lnTo>
                    <a:pt x="382" y="91"/>
                  </a:lnTo>
                  <a:lnTo>
                    <a:pt x="383" y="88"/>
                  </a:lnTo>
                  <a:lnTo>
                    <a:pt x="383" y="86"/>
                  </a:lnTo>
                  <a:lnTo>
                    <a:pt x="382" y="86"/>
                  </a:lnTo>
                  <a:lnTo>
                    <a:pt x="380" y="86"/>
                  </a:lnTo>
                  <a:lnTo>
                    <a:pt x="379" y="86"/>
                  </a:lnTo>
                  <a:lnTo>
                    <a:pt x="377" y="85"/>
                  </a:lnTo>
                  <a:lnTo>
                    <a:pt x="375" y="82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5" y="76"/>
                  </a:lnTo>
                  <a:lnTo>
                    <a:pt x="374" y="74"/>
                  </a:lnTo>
                  <a:lnTo>
                    <a:pt x="371" y="73"/>
                  </a:lnTo>
                  <a:lnTo>
                    <a:pt x="365" y="73"/>
                  </a:lnTo>
                  <a:lnTo>
                    <a:pt x="357" y="76"/>
                  </a:lnTo>
                  <a:lnTo>
                    <a:pt x="352" y="74"/>
                  </a:lnTo>
                  <a:lnTo>
                    <a:pt x="339" y="68"/>
                  </a:lnTo>
                  <a:lnTo>
                    <a:pt x="322" y="68"/>
                  </a:lnTo>
                  <a:lnTo>
                    <a:pt x="320" y="68"/>
                  </a:lnTo>
                  <a:lnTo>
                    <a:pt x="320" y="66"/>
                  </a:lnTo>
                  <a:lnTo>
                    <a:pt x="320" y="65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19" y="62"/>
                  </a:lnTo>
                  <a:lnTo>
                    <a:pt x="302" y="62"/>
                  </a:lnTo>
                  <a:lnTo>
                    <a:pt x="298" y="60"/>
                  </a:lnTo>
                  <a:lnTo>
                    <a:pt x="294" y="57"/>
                  </a:lnTo>
                  <a:lnTo>
                    <a:pt x="292" y="56"/>
                  </a:lnTo>
                  <a:lnTo>
                    <a:pt x="286" y="56"/>
                  </a:lnTo>
                  <a:lnTo>
                    <a:pt x="271" y="53"/>
                  </a:lnTo>
                  <a:lnTo>
                    <a:pt x="265" y="54"/>
                  </a:lnTo>
                  <a:lnTo>
                    <a:pt x="255" y="54"/>
                  </a:lnTo>
                  <a:lnTo>
                    <a:pt x="240" y="54"/>
                  </a:lnTo>
                  <a:lnTo>
                    <a:pt x="228" y="51"/>
                  </a:lnTo>
                  <a:lnTo>
                    <a:pt x="225" y="51"/>
                  </a:lnTo>
                  <a:lnTo>
                    <a:pt x="221" y="53"/>
                  </a:lnTo>
                  <a:lnTo>
                    <a:pt x="214" y="56"/>
                  </a:lnTo>
                  <a:lnTo>
                    <a:pt x="194" y="59"/>
                  </a:lnTo>
                  <a:lnTo>
                    <a:pt x="192" y="59"/>
                  </a:lnTo>
                  <a:lnTo>
                    <a:pt x="188" y="57"/>
                  </a:lnTo>
                  <a:lnTo>
                    <a:pt x="169" y="59"/>
                  </a:lnTo>
                  <a:lnTo>
                    <a:pt x="168" y="60"/>
                  </a:lnTo>
                  <a:lnTo>
                    <a:pt x="166" y="62"/>
                  </a:lnTo>
                  <a:lnTo>
                    <a:pt x="163" y="65"/>
                  </a:lnTo>
                  <a:lnTo>
                    <a:pt x="161" y="68"/>
                  </a:lnTo>
                  <a:lnTo>
                    <a:pt x="160" y="76"/>
                  </a:lnTo>
                  <a:lnTo>
                    <a:pt x="158" y="79"/>
                  </a:lnTo>
                  <a:lnTo>
                    <a:pt x="149" y="85"/>
                  </a:lnTo>
                  <a:lnTo>
                    <a:pt x="138" y="94"/>
                  </a:lnTo>
                  <a:lnTo>
                    <a:pt x="135" y="94"/>
                  </a:lnTo>
                  <a:lnTo>
                    <a:pt x="132" y="93"/>
                  </a:lnTo>
                  <a:lnTo>
                    <a:pt x="131" y="89"/>
                  </a:lnTo>
                  <a:lnTo>
                    <a:pt x="128" y="89"/>
                  </a:lnTo>
                  <a:lnTo>
                    <a:pt x="126" y="89"/>
                  </a:lnTo>
                  <a:lnTo>
                    <a:pt x="121" y="88"/>
                  </a:lnTo>
                  <a:lnTo>
                    <a:pt x="118" y="86"/>
                  </a:lnTo>
                  <a:lnTo>
                    <a:pt x="112" y="89"/>
                  </a:lnTo>
                  <a:lnTo>
                    <a:pt x="111" y="89"/>
                  </a:lnTo>
                  <a:lnTo>
                    <a:pt x="111" y="91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94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2" y="103"/>
                  </a:lnTo>
                  <a:lnTo>
                    <a:pt x="111" y="103"/>
                  </a:lnTo>
                  <a:lnTo>
                    <a:pt x="111" y="102"/>
                  </a:lnTo>
                  <a:lnTo>
                    <a:pt x="111" y="103"/>
                  </a:lnTo>
                  <a:lnTo>
                    <a:pt x="111" y="105"/>
                  </a:lnTo>
                  <a:lnTo>
                    <a:pt x="112" y="105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4" y="109"/>
                  </a:lnTo>
                  <a:lnTo>
                    <a:pt x="114" y="109"/>
                  </a:lnTo>
                  <a:lnTo>
                    <a:pt x="117" y="114"/>
                  </a:lnTo>
                  <a:lnTo>
                    <a:pt x="117" y="116"/>
                  </a:lnTo>
                  <a:lnTo>
                    <a:pt x="117" y="116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4" y="122"/>
                  </a:lnTo>
                  <a:lnTo>
                    <a:pt x="112" y="123"/>
                  </a:lnTo>
                  <a:lnTo>
                    <a:pt x="112" y="125"/>
                  </a:lnTo>
                  <a:lnTo>
                    <a:pt x="112" y="128"/>
                  </a:lnTo>
                  <a:lnTo>
                    <a:pt x="114" y="128"/>
                  </a:lnTo>
                  <a:lnTo>
                    <a:pt x="115" y="128"/>
                  </a:lnTo>
                  <a:lnTo>
                    <a:pt x="117" y="130"/>
                  </a:lnTo>
                  <a:lnTo>
                    <a:pt x="120" y="139"/>
                  </a:lnTo>
                  <a:lnTo>
                    <a:pt x="121" y="140"/>
                  </a:lnTo>
                  <a:lnTo>
                    <a:pt x="126" y="143"/>
                  </a:lnTo>
                  <a:lnTo>
                    <a:pt x="129" y="146"/>
                  </a:lnTo>
                  <a:lnTo>
                    <a:pt x="131" y="148"/>
                  </a:lnTo>
                  <a:lnTo>
                    <a:pt x="129" y="148"/>
                  </a:lnTo>
                  <a:lnTo>
                    <a:pt x="129" y="150"/>
                  </a:lnTo>
                  <a:lnTo>
                    <a:pt x="129" y="151"/>
                  </a:lnTo>
                  <a:lnTo>
                    <a:pt x="132" y="154"/>
                  </a:lnTo>
                  <a:lnTo>
                    <a:pt x="132" y="156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2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5" y="165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8"/>
                  </a:lnTo>
                  <a:lnTo>
                    <a:pt x="137" y="170"/>
                  </a:lnTo>
                  <a:lnTo>
                    <a:pt x="138" y="171"/>
                  </a:lnTo>
                  <a:lnTo>
                    <a:pt x="143" y="176"/>
                  </a:lnTo>
                  <a:lnTo>
                    <a:pt x="149" y="179"/>
                  </a:lnTo>
                  <a:lnTo>
                    <a:pt x="151" y="180"/>
                  </a:lnTo>
                  <a:lnTo>
                    <a:pt x="149" y="183"/>
                  </a:lnTo>
                  <a:lnTo>
                    <a:pt x="148" y="183"/>
                  </a:lnTo>
                  <a:lnTo>
                    <a:pt x="144" y="183"/>
                  </a:lnTo>
                  <a:lnTo>
                    <a:pt x="143" y="183"/>
                  </a:lnTo>
                  <a:lnTo>
                    <a:pt x="141" y="183"/>
                  </a:lnTo>
                  <a:lnTo>
                    <a:pt x="138" y="183"/>
                  </a:lnTo>
                  <a:lnTo>
                    <a:pt x="137" y="185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7" y="190"/>
                  </a:lnTo>
                  <a:lnTo>
                    <a:pt x="140" y="191"/>
                  </a:lnTo>
                  <a:lnTo>
                    <a:pt x="141" y="191"/>
                  </a:lnTo>
                  <a:lnTo>
                    <a:pt x="141" y="193"/>
                  </a:lnTo>
                  <a:lnTo>
                    <a:pt x="140" y="194"/>
                  </a:lnTo>
                  <a:lnTo>
                    <a:pt x="141" y="196"/>
                  </a:lnTo>
                  <a:lnTo>
                    <a:pt x="143" y="197"/>
                  </a:lnTo>
                  <a:lnTo>
                    <a:pt x="146" y="197"/>
                  </a:lnTo>
                  <a:lnTo>
                    <a:pt x="144" y="200"/>
                  </a:lnTo>
                  <a:lnTo>
                    <a:pt x="146" y="203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46" y="210"/>
                  </a:lnTo>
                  <a:lnTo>
                    <a:pt x="146" y="216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4" y="220"/>
                  </a:lnTo>
                  <a:lnTo>
                    <a:pt x="140" y="223"/>
                  </a:lnTo>
                  <a:lnTo>
                    <a:pt x="140" y="225"/>
                  </a:lnTo>
                  <a:lnTo>
                    <a:pt x="140" y="227"/>
                  </a:lnTo>
                  <a:lnTo>
                    <a:pt x="140" y="228"/>
                  </a:lnTo>
                  <a:lnTo>
                    <a:pt x="140" y="230"/>
                  </a:lnTo>
                  <a:lnTo>
                    <a:pt x="138" y="234"/>
                  </a:lnTo>
                  <a:lnTo>
                    <a:pt x="134" y="236"/>
                  </a:lnTo>
                  <a:lnTo>
                    <a:pt x="121" y="236"/>
                  </a:lnTo>
                  <a:lnTo>
                    <a:pt x="118" y="236"/>
                  </a:lnTo>
                  <a:lnTo>
                    <a:pt x="117" y="237"/>
                  </a:lnTo>
                  <a:lnTo>
                    <a:pt x="115" y="237"/>
                  </a:lnTo>
                  <a:lnTo>
                    <a:pt x="115" y="239"/>
                  </a:lnTo>
                  <a:lnTo>
                    <a:pt x="114" y="242"/>
                  </a:lnTo>
                  <a:lnTo>
                    <a:pt x="114" y="243"/>
                  </a:lnTo>
                  <a:lnTo>
                    <a:pt x="114" y="245"/>
                  </a:lnTo>
                  <a:lnTo>
                    <a:pt x="107" y="251"/>
                  </a:lnTo>
                  <a:lnTo>
                    <a:pt x="104" y="253"/>
                  </a:lnTo>
                  <a:lnTo>
                    <a:pt x="104" y="253"/>
                  </a:lnTo>
                  <a:lnTo>
                    <a:pt x="104" y="253"/>
                  </a:lnTo>
                  <a:lnTo>
                    <a:pt x="101" y="256"/>
                  </a:lnTo>
                  <a:lnTo>
                    <a:pt x="97" y="257"/>
                  </a:lnTo>
                  <a:lnTo>
                    <a:pt x="80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72" y="285"/>
                  </a:lnTo>
                  <a:lnTo>
                    <a:pt x="64" y="297"/>
                  </a:lnTo>
                  <a:lnTo>
                    <a:pt x="61" y="300"/>
                  </a:lnTo>
                  <a:lnTo>
                    <a:pt x="61" y="302"/>
                  </a:lnTo>
                  <a:lnTo>
                    <a:pt x="60" y="304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58" y="305"/>
                  </a:lnTo>
                  <a:lnTo>
                    <a:pt x="57" y="307"/>
                  </a:lnTo>
                  <a:lnTo>
                    <a:pt x="57" y="307"/>
                  </a:lnTo>
                  <a:lnTo>
                    <a:pt x="52" y="316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49" y="317"/>
                  </a:lnTo>
                  <a:lnTo>
                    <a:pt x="47" y="317"/>
                  </a:lnTo>
                  <a:lnTo>
                    <a:pt x="47" y="319"/>
                  </a:lnTo>
                  <a:lnTo>
                    <a:pt x="46" y="322"/>
                  </a:lnTo>
                  <a:lnTo>
                    <a:pt x="40" y="330"/>
                  </a:lnTo>
                  <a:lnTo>
                    <a:pt x="38" y="334"/>
                  </a:lnTo>
                  <a:lnTo>
                    <a:pt x="40" y="339"/>
                  </a:lnTo>
                  <a:lnTo>
                    <a:pt x="40" y="340"/>
                  </a:lnTo>
                  <a:lnTo>
                    <a:pt x="41" y="345"/>
                  </a:lnTo>
                  <a:lnTo>
                    <a:pt x="41" y="347"/>
                  </a:lnTo>
                  <a:lnTo>
                    <a:pt x="41" y="347"/>
                  </a:lnTo>
                  <a:lnTo>
                    <a:pt x="43" y="348"/>
                  </a:lnTo>
                  <a:lnTo>
                    <a:pt x="44" y="350"/>
                  </a:lnTo>
                  <a:lnTo>
                    <a:pt x="44" y="351"/>
                  </a:lnTo>
                  <a:lnTo>
                    <a:pt x="44" y="353"/>
                  </a:lnTo>
                  <a:lnTo>
                    <a:pt x="46" y="364"/>
                  </a:lnTo>
                  <a:lnTo>
                    <a:pt x="46" y="365"/>
                  </a:lnTo>
                  <a:lnTo>
                    <a:pt x="44" y="368"/>
                  </a:lnTo>
                  <a:lnTo>
                    <a:pt x="43" y="373"/>
                  </a:lnTo>
                  <a:lnTo>
                    <a:pt x="41" y="374"/>
                  </a:lnTo>
                  <a:lnTo>
                    <a:pt x="41" y="376"/>
                  </a:lnTo>
                  <a:lnTo>
                    <a:pt x="41" y="377"/>
                  </a:lnTo>
                  <a:lnTo>
                    <a:pt x="43" y="377"/>
                  </a:lnTo>
                  <a:lnTo>
                    <a:pt x="43" y="376"/>
                  </a:lnTo>
                  <a:lnTo>
                    <a:pt x="44" y="376"/>
                  </a:lnTo>
                  <a:lnTo>
                    <a:pt x="44" y="376"/>
                  </a:lnTo>
                  <a:lnTo>
                    <a:pt x="44" y="376"/>
                  </a:lnTo>
                  <a:lnTo>
                    <a:pt x="46" y="379"/>
                  </a:lnTo>
                  <a:lnTo>
                    <a:pt x="49" y="381"/>
                  </a:lnTo>
                  <a:lnTo>
                    <a:pt x="51" y="382"/>
                  </a:lnTo>
                  <a:lnTo>
                    <a:pt x="54" y="384"/>
                  </a:lnTo>
                  <a:lnTo>
                    <a:pt x="54" y="385"/>
                  </a:lnTo>
                  <a:lnTo>
                    <a:pt x="54" y="387"/>
                  </a:lnTo>
                  <a:lnTo>
                    <a:pt x="54" y="388"/>
                  </a:lnTo>
                  <a:lnTo>
                    <a:pt x="54" y="390"/>
                  </a:lnTo>
                  <a:lnTo>
                    <a:pt x="54" y="391"/>
                  </a:lnTo>
                  <a:lnTo>
                    <a:pt x="55" y="393"/>
                  </a:lnTo>
                  <a:lnTo>
                    <a:pt x="55" y="393"/>
                  </a:lnTo>
                  <a:lnTo>
                    <a:pt x="55" y="394"/>
                  </a:lnTo>
                  <a:lnTo>
                    <a:pt x="54" y="396"/>
                  </a:lnTo>
                  <a:lnTo>
                    <a:pt x="52" y="394"/>
                  </a:lnTo>
                  <a:lnTo>
                    <a:pt x="51" y="393"/>
                  </a:lnTo>
                  <a:lnTo>
                    <a:pt x="49" y="393"/>
                  </a:lnTo>
                  <a:lnTo>
                    <a:pt x="49" y="393"/>
                  </a:lnTo>
                  <a:lnTo>
                    <a:pt x="47" y="390"/>
                  </a:lnTo>
                  <a:lnTo>
                    <a:pt x="47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1" y="390"/>
                  </a:lnTo>
                  <a:lnTo>
                    <a:pt x="40" y="390"/>
                  </a:lnTo>
                  <a:lnTo>
                    <a:pt x="38" y="390"/>
                  </a:lnTo>
                  <a:lnTo>
                    <a:pt x="37" y="388"/>
                  </a:lnTo>
                  <a:lnTo>
                    <a:pt x="34" y="385"/>
                  </a:lnTo>
                  <a:lnTo>
                    <a:pt x="32" y="385"/>
                  </a:lnTo>
                  <a:lnTo>
                    <a:pt x="30" y="387"/>
                  </a:lnTo>
                  <a:lnTo>
                    <a:pt x="30" y="388"/>
                  </a:lnTo>
                  <a:lnTo>
                    <a:pt x="29" y="391"/>
                  </a:lnTo>
                  <a:lnTo>
                    <a:pt x="29" y="394"/>
                  </a:lnTo>
                  <a:lnTo>
                    <a:pt x="29" y="396"/>
                  </a:lnTo>
                  <a:lnTo>
                    <a:pt x="27" y="396"/>
                  </a:lnTo>
                  <a:lnTo>
                    <a:pt x="26" y="397"/>
                  </a:lnTo>
                  <a:lnTo>
                    <a:pt x="24" y="397"/>
                  </a:lnTo>
                  <a:lnTo>
                    <a:pt x="23" y="402"/>
                  </a:lnTo>
                  <a:lnTo>
                    <a:pt x="21" y="405"/>
                  </a:lnTo>
                  <a:lnTo>
                    <a:pt x="21" y="405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8"/>
                  </a:lnTo>
                  <a:lnTo>
                    <a:pt x="18" y="410"/>
                  </a:lnTo>
                  <a:lnTo>
                    <a:pt x="18" y="411"/>
                  </a:lnTo>
                  <a:lnTo>
                    <a:pt x="18" y="411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18" y="414"/>
                  </a:lnTo>
                  <a:lnTo>
                    <a:pt x="18" y="417"/>
                  </a:lnTo>
                  <a:lnTo>
                    <a:pt x="18" y="419"/>
                  </a:lnTo>
                  <a:lnTo>
                    <a:pt x="17" y="421"/>
                  </a:lnTo>
                  <a:lnTo>
                    <a:pt x="17" y="421"/>
                  </a:lnTo>
                  <a:lnTo>
                    <a:pt x="15" y="422"/>
                  </a:lnTo>
                  <a:lnTo>
                    <a:pt x="15" y="422"/>
                  </a:lnTo>
                  <a:lnTo>
                    <a:pt x="15" y="424"/>
                  </a:lnTo>
                  <a:lnTo>
                    <a:pt x="15" y="427"/>
                  </a:lnTo>
                  <a:lnTo>
                    <a:pt x="15" y="428"/>
                  </a:lnTo>
                  <a:lnTo>
                    <a:pt x="14" y="431"/>
                  </a:lnTo>
                  <a:lnTo>
                    <a:pt x="12" y="433"/>
                  </a:lnTo>
                  <a:lnTo>
                    <a:pt x="12" y="433"/>
                  </a:lnTo>
                  <a:lnTo>
                    <a:pt x="9" y="433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7" y="437"/>
                  </a:lnTo>
                  <a:lnTo>
                    <a:pt x="1" y="442"/>
                  </a:lnTo>
                  <a:lnTo>
                    <a:pt x="1" y="444"/>
                  </a:lnTo>
                  <a:lnTo>
                    <a:pt x="1" y="445"/>
                  </a:lnTo>
                  <a:lnTo>
                    <a:pt x="1" y="450"/>
                  </a:lnTo>
                  <a:lnTo>
                    <a:pt x="1" y="451"/>
                  </a:lnTo>
                  <a:lnTo>
                    <a:pt x="0" y="453"/>
                  </a:lnTo>
                  <a:lnTo>
                    <a:pt x="0" y="462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1"/>
                  </a:lnTo>
                  <a:lnTo>
                    <a:pt x="6" y="461"/>
                  </a:lnTo>
                  <a:lnTo>
                    <a:pt x="7" y="461"/>
                  </a:lnTo>
                  <a:lnTo>
                    <a:pt x="10" y="462"/>
                  </a:lnTo>
                  <a:lnTo>
                    <a:pt x="9" y="465"/>
                  </a:lnTo>
                  <a:lnTo>
                    <a:pt x="9" y="467"/>
                  </a:lnTo>
                  <a:lnTo>
                    <a:pt x="12" y="467"/>
                  </a:lnTo>
                  <a:lnTo>
                    <a:pt x="12" y="467"/>
                  </a:lnTo>
                  <a:lnTo>
                    <a:pt x="12" y="468"/>
                  </a:lnTo>
                  <a:lnTo>
                    <a:pt x="12" y="468"/>
                  </a:lnTo>
                  <a:lnTo>
                    <a:pt x="12" y="470"/>
                  </a:lnTo>
                  <a:lnTo>
                    <a:pt x="12" y="471"/>
                  </a:lnTo>
                  <a:lnTo>
                    <a:pt x="14" y="474"/>
                  </a:lnTo>
                  <a:lnTo>
                    <a:pt x="17" y="479"/>
                  </a:lnTo>
                  <a:lnTo>
                    <a:pt x="18" y="481"/>
                  </a:lnTo>
                  <a:lnTo>
                    <a:pt x="18" y="481"/>
                  </a:lnTo>
                  <a:lnTo>
                    <a:pt x="18" y="481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1" y="481"/>
                  </a:lnTo>
                  <a:lnTo>
                    <a:pt x="23" y="481"/>
                  </a:lnTo>
                  <a:lnTo>
                    <a:pt x="24" y="481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32" y="487"/>
                  </a:lnTo>
                  <a:lnTo>
                    <a:pt x="34" y="490"/>
                  </a:lnTo>
                  <a:lnTo>
                    <a:pt x="34" y="493"/>
                  </a:lnTo>
                  <a:lnTo>
                    <a:pt x="35" y="496"/>
                  </a:lnTo>
                  <a:lnTo>
                    <a:pt x="35" y="496"/>
                  </a:lnTo>
                  <a:lnTo>
                    <a:pt x="35" y="496"/>
                  </a:lnTo>
                  <a:lnTo>
                    <a:pt x="37" y="496"/>
                  </a:lnTo>
                  <a:lnTo>
                    <a:pt x="43" y="496"/>
                  </a:lnTo>
                  <a:lnTo>
                    <a:pt x="43" y="494"/>
                  </a:lnTo>
                  <a:lnTo>
                    <a:pt x="44" y="494"/>
                  </a:lnTo>
                  <a:lnTo>
                    <a:pt x="46" y="494"/>
                  </a:lnTo>
                  <a:lnTo>
                    <a:pt x="47" y="494"/>
                  </a:lnTo>
                  <a:lnTo>
                    <a:pt x="47" y="494"/>
                  </a:lnTo>
                  <a:lnTo>
                    <a:pt x="51" y="496"/>
                  </a:lnTo>
                  <a:lnTo>
                    <a:pt x="52" y="499"/>
                  </a:lnTo>
                  <a:lnTo>
                    <a:pt x="54" y="501"/>
                  </a:lnTo>
                  <a:lnTo>
                    <a:pt x="54" y="502"/>
                  </a:lnTo>
                  <a:lnTo>
                    <a:pt x="55" y="504"/>
                  </a:lnTo>
                  <a:lnTo>
                    <a:pt x="55" y="505"/>
                  </a:lnTo>
                  <a:lnTo>
                    <a:pt x="54" y="505"/>
                  </a:lnTo>
                  <a:lnTo>
                    <a:pt x="54" y="507"/>
                  </a:lnTo>
                  <a:lnTo>
                    <a:pt x="52" y="510"/>
                  </a:lnTo>
                  <a:lnTo>
                    <a:pt x="54" y="510"/>
                  </a:lnTo>
                  <a:lnTo>
                    <a:pt x="55" y="513"/>
                  </a:lnTo>
                  <a:lnTo>
                    <a:pt x="57" y="513"/>
                  </a:lnTo>
                  <a:lnTo>
                    <a:pt x="58" y="511"/>
                  </a:lnTo>
                  <a:lnTo>
                    <a:pt x="60" y="510"/>
                  </a:lnTo>
                  <a:lnTo>
                    <a:pt x="58" y="507"/>
                  </a:lnTo>
                  <a:lnTo>
                    <a:pt x="60" y="507"/>
                  </a:lnTo>
                  <a:lnTo>
                    <a:pt x="60" y="507"/>
                  </a:lnTo>
                  <a:lnTo>
                    <a:pt x="61" y="507"/>
                  </a:lnTo>
                  <a:lnTo>
                    <a:pt x="63" y="508"/>
                  </a:lnTo>
                  <a:lnTo>
                    <a:pt x="64" y="508"/>
                  </a:lnTo>
                  <a:lnTo>
                    <a:pt x="66" y="508"/>
                  </a:lnTo>
                  <a:lnTo>
                    <a:pt x="66" y="508"/>
                  </a:lnTo>
                  <a:lnTo>
                    <a:pt x="69" y="505"/>
                  </a:lnTo>
                  <a:lnTo>
                    <a:pt x="71" y="504"/>
                  </a:lnTo>
                  <a:lnTo>
                    <a:pt x="72" y="499"/>
                  </a:lnTo>
                  <a:lnTo>
                    <a:pt x="74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83" y="498"/>
                  </a:lnTo>
                  <a:lnTo>
                    <a:pt x="83" y="499"/>
                  </a:lnTo>
                  <a:lnTo>
                    <a:pt x="86" y="502"/>
                  </a:lnTo>
                  <a:lnTo>
                    <a:pt x="91" y="505"/>
                  </a:lnTo>
                  <a:lnTo>
                    <a:pt x="92" y="507"/>
                  </a:lnTo>
                  <a:lnTo>
                    <a:pt x="92" y="508"/>
                  </a:lnTo>
                  <a:lnTo>
                    <a:pt x="92" y="508"/>
                  </a:lnTo>
                  <a:lnTo>
                    <a:pt x="94" y="508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5" y="507"/>
                  </a:lnTo>
                  <a:lnTo>
                    <a:pt x="100" y="510"/>
                  </a:lnTo>
                  <a:lnTo>
                    <a:pt x="101" y="510"/>
                  </a:lnTo>
                  <a:lnTo>
                    <a:pt x="101" y="510"/>
                  </a:lnTo>
                  <a:lnTo>
                    <a:pt x="101" y="510"/>
                  </a:lnTo>
                  <a:lnTo>
                    <a:pt x="101" y="508"/>
                  </a:lnTo>
                  <a:lnTo>
                    <a:pt x="103" y="508"/>
                  </a:lnTo>
                  <a:lnTo>
                    <a:pt x="103" y="508"/>
                  </a:lnTo>
                  <a:lnTo>
                    <a:pt x="103" y="507"/>
                  </a:lnTo>
                  <a:lnTo>
                    <a:pt x="104" y="507"/>
                  </a:lnTo>
                  <a:lnTo>
                    <a:pt x="107" y="507"/>
                  </a:lnTo>
                  <a:lnTo>
                    <a:pt x="107" y="507"/>
                  </a:lnTo>
                  <a:lnTo>
                    <a:pt x="114" y="507"/>
                  </a:lnTo>
                  <a:lnTo>
                    <a:pt x="117" y="508"/>
                  </a:lnTo>
                  <a:lnTo>
                    <a:pt x="118" y="508"/>
                  </a:lnTo>
                  <a:lnTo>
                    <a:pt x="123" y="508"/>
                  </a:lnTo>
                  <a:lnTo>
                    <a:pt x="124" y="508"/>
                  </a:lnTo>
                  <a:lnTo>
                    <a:pt x="128" y="513"/>
                  </a:lnTo>
                  <a:lnTo>
                    <a:pt x="129" y="514"/>
                  </a:lnTo>
                  <a:lnTo>
                    <a:pt x="131" y="514"/>
                  </a:lnTo>
                  <a:lnTo>
                    <a:pt x="138" y="511"/>
                  </a:lnTo>
                  <a:lnTo>
                    <a:pt x="140" y="511"/>
                  </a:lnTo>
                  <a:lnTo>
                    <a:pt x="141" y="511"/>
                  </a:lnTo>
                  <a:lnTo>
                    <a:pt x="144" y="513"/>
                  </a:lnTo>
                  <a:lnTo>
                    <a:pt x="146" y="513"/>
                  </a:lnTo>
                  <a:lnTo>
                    <a:pt x="149" y="516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5" y="518"/>
                  </a:lnTo>
                  <a:lnTo>
                    <a:pt x="157" y="518"/>
                  </a:lnTo>
                  <a:lnTo>
                    <a:pt x="161" y="516"/>
                  </a:lnTo>
                  <a:lnTo>
                    <a:pt x="164" y="516"/>
                  </a:lnTo>
                  <a:lnTo>
                    <a:pt x="168" y="513"/>
                  </a:lnTo>
                  <a:lnTo>
                    <a:pt x="169" y="511"/>
                  </a:lnTo>
                  <a:lnTo>
                    <a:pt x="171" y="511"/>
                  </a:lnTo>
                  <a:lnTo>
                    <a:pt x="175" y="513"/>
                  </a:lnTo>
                  <a:lnTo>
                    <a:pt x="180" y="513"/>
                  </a:lnTo>
                  <a:lnTo>
                    <a:pt x="181" y="513"/>
                  </a:lnTo>
                  <a:lnTo>
                    <a:pt x="181" y="514"/>
                  </a:lnTo>
                  <a:lnTo>
                    <a:pt x="185" y="516"/>
                  </a:lnTo>
                  <a:lnTo>
                    <a:pt x="186" y="518"/>
                  </a:lnTo>
                  <a:lnTo>
                    <a:pt x="188" y="519"/>
                  </a:lnTo>
                  <a:lnTo>
                    <a:pt x="188" y="521"/>
                  </a:lnTo>
                  <a:lnTo>
                    <a:pt x="188" y="522"/>
                  </a:lnTo>
                  <a:lnTo>
                    <a:pt x="189" y="524"/>
                  </a:lnTo>
                  <a:lnTo>
                    <a:pt x="191" y="524"/>
                  </a:lnTo>
                  <a:lnTo>
                    <a:pt x="192" y="527"/>
                  </a:lnTo>
                  <a:lnTo>
                    <a:pt x="198" y="528"/>
                  </a:lnTo>
                  <a:lnTo>
                    <a:pt x="200" y="530"/>
                  </a:lnTo>
                  <a:lnTo>
                    <a:pt x="200" y="531"/>
                  </a:lnTo>
                  <a:lnTo>
                    <a:pt x="203" y="534"/>
                  </a:lnTo>
                  <a:lnTo>
                    <a:pt x="205" y="538"/>
                  </a:lnTo>
                  <a:lnTo>
                    <a:pt x="206" y="539"/>
                  </a:lnTo>
                  <a:lnTo>
                    <a:pt x="209" y="539"/>
                  </a:lnTo>
                  <a:lnTo>
                    <a:pt x="209" y="538"/>
                  </a:lnTo>
                  <a:lnTo>
                    <a:pt x="215" y="538"/>
                  </a:lnTo>
                  <a:lnTo>
                    <a:pt x="220" y="534"/>
                  </a:lnTo>
                  <a:lnTo>
                    <a:pt x="220" y="534"/>
                  </a:lnTo>
                  <a:lnTo>
                    <a:pt x="220" y="534"/>
                  </a:lnTo>
                  <a:lnTo>
                    <a:pt x="223" y="533"/>
                  </a:lnTo>
                  <a:lnTo>
                    <a:pt x="231" y="521"/>
                  </a:lnTo>
                  <a:lnTo>
                    <a:pt x="234" y="518"/>
                  </a:lnTo>
                  <a:lnTo>
                    <a:pt x="269" y="514"/>
                  </a:lnTo>
                  <a:lnTo>
                    <a:pt x="275" y="511"/>
                  </a:lnTo>
                  <a:lnTo>
                    <a:pt x="278" y="511"/>
                  </a:lnTo>
                  <a:lnTo>
                    <a:pt x="282" y="510"/>
                  </a:lnTo>
                  <a:lnTo>
                    <a:pt x="282" y="510"/>
                  </a:lnTo>
                  <a:lnTo>
                    <a:pt x="286" y="511"/>
                  </a:lnTo>
                  <a:lnTo>
                    <a:pt x="291" y="510"/>
                  </a:lnTo>
                  <a:lnTo>
                    <a:pt x="295" y="510"/>
                  </a:lnTo>
                  <a:lnTo>
                    <a:pt x="297" y="510"/>
                  </a:lnTo>
                  <a:lnTo>
                    <a:pt x="302" y="507"/>
                  </a:lnTo>
                  <a:lnTo>
                    <a:pt x="302" y="507"/>
                  </a:lnTo>
                  <a:lnTo>
                    <a:pt x="303" y="502"/>
                  </a:lnTo>
                  <a:lnTo>
                    <a:pt x="305" y="502"/>
                  </a:lnTo>
                  <a:lnTo>
                    <a:pt x="306" y="499"/>
                  </a:lnTo>
                  <a:lnTo>
                    <a:pt x="308" y="499"/>
                  </a:lnTo>
                  <a:lnTo>
                    <a:pt x="308" y="496"/>
                  </a:lnTo>
                  <a:lnTo>
                    <a:pt x="309" y="493"/>
                  </a:lnTo>
                  <a:lnTo>
                    <a:pt x="311" y="490"/>
                  </a:lnTo>
                  <a:lnTo>
                    <a:pt x="311" y="487"/>
                  </a:lnTo>
                  <a:lnTo>
                    <a:pt x="311" y="484"/>
                  </a:lnTo>
                  <a:lnTo>
                    <a:pt x="311" y="484"/>
                  </a:lnTo>
                  <a:lnTo>
                    <a:pt x="312" y="484"/>
                  </a:lnTo>
                  <a:lnTo>
                    <a:pt x="314" y="484"/>
                  </a:lnTo>
                  <a:lnTo>
                    <a:pt x="317" y="482"/>
                  </a:lnTo>
                  <a:lnTo>
                    <a:pt x="319" y="482"/>
                  </a:lnTo>
                  <a:lnTo>
                    <a:pt x="322" y="482"/>
                  </a:lnTo>
                  <a:lnTo>
                    <a:pt x="323" y="481"/>
                  </a:lnTo>
                  <a:lnTo>
                    <a:pt x="332" y="479"/>
                  </a:lnTo>
                  <a:lnTo>
                    <a:pt x="334" y="478"/>
                  </a:lnTo>
                  <a:lnTo>
                    <a:pt x="334" y="478"/>
                  </a:lnTo>
                  <a:lnTo>
                    <a:pt x="335" y="476"/>
                  </a:lnTo>
                  <a:lnTo>
                    <a:pt x="335" y="474"/>
                  </a:lnTo>
                  <a:lnTo>
                    <a:pt x="339" y="473"/>
                  </a:lnTo>
                  <a:lnTo>
                    <a:pt x="339" y="471"/>
                  </a:lnTo>
                  <a:lnTo>
                    <a:pt x="339" y="470"/>
                  </a:lnTo>
                  <a:lnTo>
                    <a:pt x="340" y="471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3" y="474"/>
                  </a:lnTo>
                  <a:lnTo>
                    <a:pt x="345" y="474"/>
                  </a:lnTo>
                  <a:lnTo>
                    <a:pt x="346" y="474"/>
                  </a:lnTo>
                  <a:lnTo>
                    <a:pt x="346" y="474"/>
                  </a:lnTo>
                  <a:lnTo>
                    <a:pt x="348" y="473"/>
                  </a:lnTo>
                  <a:lnTo>
                    <a:pt x="348" y="470"/>
                  </a:lnTo>
                  <a:lnTo>
                    <a:pt x="346" y="468"/>
                  </a:lnTo>
                  <a:lnTo>
                    <a:pt x="346" y="467"/>
                  </a:lnTo>
                  <a:lnTo>
                    <a:pt x="346" y="467"/>
                  </a:lnTo>
                  <a:lnTo>
                    <a:pt x="346" y="465"/>
                  </a:lnTo>
                  <a:lnTo>
                    <a:pt x="348" y="465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4"/>
                  </a:lnTo>
                  <a:lnTo>
                    <a:pt x="351" y="464"/>
                  </a:lnTo>
                  <a:lnTo>
                    <a:pt x="351" y="464"/>
                  </a:lnTo>
                  <a:lnTo>
                    <a:pt x="354" y="464"/>
                  </a:lnTo>
                  <a:lnTo>
                    <a:pt x="355" y="467"/>
                  </a:lnTo>
                  <a:lnTo>
                    <a:pt x="359" y="468"/>
                  </a:lnTo>
                  <a:lnTo>
                    <a:pt x="362" y="467"/>
                  </a:lnTo>
                  <a:lnTo>
                    <a:pt x="362" y="467"/>
                  </a:lnTo>
                  <a:lnTo>
                    <a:pt x="363" y="467"/>
                  </a:lnTo>
                  <a:lnTo>
                    <a:pt x="363" y="467"/>
                  </a:lnTo>
                  <a:lnTo>
                    <a:pt x="363" y="467"/>
                  </a:lnTo>
                  <a:lnTo>
                    <a:pt x="365" y="467"/>
                  </a:lnTo>
                  <a:lnTo>
                    <a:pt x="365" y="467"/>
                  </a:lnTo>
                  <a:lnTo>
                    <a:pt x="365" y="467"/>
                  </a:lnTo>
                  <a:lnTo>
                    <a:pt x="365" y="465"/>
                  </a:lnTo>
                  <a:lnTo>
                    <a:pt x="365" y="465"/>
                  </a:lnTo>
                  <a:lnTo>
                    <a:pt x="365" y="464"/>
                  </a:lnTo>
                  <a:lnTo>
                    <a:pt x="365" y="464"/>
                  </a:lnTo>
                  <a:lnTo>
                    <a:pt x="365" y="462"/>
                  </a:lnTo>
                  <a:lnTo>
                    <a:pt x="366" y="462"/>
                  </a:lnTo>
                  <a:lnTo>
                    <a:pt x="366" y="462"/>
                  </a:lnTo>
                  <a:lnTo>
                    <a:pt x="368" y="464"/>
                  </a:lnTo>
                  <a:lnTo>
                    <a:pt x="375" y="467"/>
                  </a:lnTo>
                  <a:lnTo>
                    <a:pt x="379" y="467"/>
                  </a:lnTo>
                  <a:lnTo>
                    <a:pt x="382" y="465"/>
                  </a:lnTo>
                  <a:lnTo>
                    <a:pt x="382" y="465"/>
                  </a:lnTo>
                  <a:lnTo>
                    <a:pt x="386" y="459"/>
                  </a:lnTo>
                  <a:lnTo>
                    <a:pt x="388" y="458"/>
                  </a:lnTo>
                  <a:lnTo>
                    <a:pt x="389" y="459"/>
                  </a:lnTo>
                  <a:lnTo>
                    <a:pt x="392" y="461"/>
                  </a:lnTo>
                  <a:lnTo>
                    <a:pt x="392" y="461"/>
                  </a:lnTo>
                  <a:lnTo>
                    <a:pt x="394" y="461"/>
                  </a:lnTo>
                  <a:lnTo>
                    <a:pt x="399" y="456"/>
                  </a:lnTo>
                  <a:lnTo>
                    <a:pt x="400" y="454"/>
                  </a:lnTo>
                  <a:lnTo>
                    <a:pt x="403" y="454"/>
                  </a:lnTo>
                  <a:lnTo>
                    <a:pt x="405" y="454"/>
                  </a:lnTo>
                  <a:lnTo>
                    <a:pt x="406" y="453"/>
                  </a:lnTo>
                  <a:lnTo>
                    <a:pt x="408" y="453"/>
                  </a:lnTo>
                  <a:lnTo>
                    <a:pt x="408" y="456"/>
                  </a:lnTo>
                  <a:lnTo>
                    <a:pt x="409" y="456"/>
                  </a:lnTo>
                  <a:lnTo>
                    <a:pt x="419" y="456"/>
                  </a:lnTo>
                  <a:lnTo>
                    <a:pt x="422" y="458"/>
                  </a:lnTo>
                  <a:lnTo>
                    <a:pt x="426" y="461"/>
                  </a:lnTo>
                  <a:lnTo>
                    <a:pt x="428" y="462"/>
                  </a:lnTo>
                  <a:lnTo>
                    <a:pt x="429" y="465"/>
                  </a:lnTo>
                  <a:lnTo>
                    <a:pt x="429" y="465"/>
                  </a:lnTo>
                  <a:lnTo>
                    <a:pt x="429" y="467"/>
                  </a:lnTo>
                  <a:lnTo>
                    <a:pt x="432" y="468"/>
                  </a:lnTo>
                  <a:lnTo>
                    <a:pt x="434" y="470"/>
                  </a:lnTo>
                  <a:lnTo>
                    <a:pt x="437" y="470"/>
                  </a:lnTo>
                  <a:lnTo>
                    <a:pt x="442" y="471"/>
                  </a:lnTo>
                  <a:lnTo>
                    <a:pt x="443" y="471"/>
                  </a:lnTo>
                  <a:lnTo>
                    <a:pt x="445" y="473"/>
                  </a:lnTo>
                  <a:lnTo>
                    <a:pt x="445" y="474"/>
                  </a:lnTo>
                  <a:lnTo>
                    <a:pt x="443" y="479"/>
                  </a:lnTo>
                  <a:lnTo>
                    <a:pt x="445" y="481"/>
                  </a:lnTo>
                  <a:lnTo>
                    <a:pt x="446" y="481"/>
                  </a:lnTo>
                  <a:lnTo>
                    <a:pt x="446" y="481"/>
                  </a:lnTo>
                  <a:lnTo>
                    <a:pt x="449" y="478"/>
                  </a:lnTo>
                  <a:lnTo>
                    <a:pt x="451" y="478"/>
                  </a:lnTo>
                  <a:lnTo>
                    <a:pt x="451" y="479"/>
                  </a:lnTo>
                  <a:lnTo>
                    <a:pt x="451" y="482"/>
                  </a:lnTo>
                  <a:lnTo>
                    <a:pt x="452" y="484"/>
                  </a:lnTo>
                  <a:lnTo>
                    <a:pt x="454" y="484"/>
                  </a:lnTo>
                  <a:lnTo>
                    <a:pt x="456" y="484"/>
                  </a:lnTo>
                  <a:lnTo>
                    <a:pt x="457" y="482"/>
                  </a:lnTo>
                  <a:lnTo>
                    <a:pt x="457" y="481"/>
                  </a:lnTo>
                  <a:lnTo>
                    <a:pt x="459" y="481"/>
                  </a:lnTo>
                  <a:lnTo>
                    <a:pt x="463" y="481"/>
                  </a:lnTo>
                  <a:lnTo>
                    <a:pt x="463" y="481"/>
                  </a:lnTo>
                  <a:lnTo>
                    <a:pt x="465" y="481"/>
                  </a:lnTo>
                  <a:lnTo>
                    <a:pt x="465" y="484"/>
                  </a:lnTo>
                  <a:lnTo>
                    <a:pt x="465" y="485"/>
                  </a:lnTo>
                  <a:lnTo>
                    <a:pt x="463" y="487"/>
                  </a:lnTo>
                  <a:lnTo>
                    <a:pt x="462" y="487"/>
                  </a:lnTo>
                  <a:lnTo>
                    <a:pt x="462" y="488"/>
                  </a:lnTo>
                  <a:lnTo>
                    <a:pt x="460" y="490"/>
                  </a:lnTo>
                  <a:lnTo>
                    <a:pt x="460" y="491"/>
                  </a:lnTo>
                  <a:lnTo>
                    <a:pt x="462" y="493"/>
                  </a:lnTo>
                  <a:lnTo>
                    <a:pt x="463" y="493"/>
                  </a:lnTo>
                  <a:lnTo>
                    <a:pt x="465" y="491"/>
                  </a:lnTo>
                  <a:lnTo>
                    <a:pt x="465" y="490"/>
                  </a:lnTo>
                  <a:lnTo>
                    <a:pt x="466" y="488"/>
                  </a:lnTo>
                  <a:lnTo>
                    <a:pt x="468" y="488"/>
                  </a:lnTo>
                  <a:lnTo>
                    <a:pt x="469" y="488"/>
                  </a:lnTo>
                  <a:lnTo>
                    <a:pt x="469" y="490"/>
                  </a:lnTo>
                  <a:lnTo>
                    <a:pt x="469" y="491"/>
                  </a:lnTo>
                  <a:lnTo>
                    <a:pt x="468" y="493"/>
                  </a:lnTo>
                  <a:lnTo>
                    <a:pt x="471" y="498"/>
                  </a:lnTo>
                  <a:lnTo>
                    <a:pt x="471" y="499"/>
                  </a:lnTo>
                  <a:lnTo>
                    <a:pt x="473" y="499"/>
                  </a:lnTo>
                  <a:lnTo>
                    <a:pt x="474" y="499"/>
                  </a:lnTo>
                  <a:lnTo>
                    <a:pt x="474" y="499"/>
                  </a:lnTo>
                  <a:lnTo>
                    <a:pt x="474" y="496"/>
                  </a:lnTo>
                  <a:lnTo>
                    <a:pt x="474" y="494"/>
                  </a:lnTo>
                  <a:lnTo>
                    <a:pt x="474" y="494"/>
                  </a:lnTo>
                  <a:lnTo>
                    <a:pt x="474" y="494"/>
                  </a:lnTo>
                  <a:lnTo>
                    <a:pt x="476" y="490"/>
                  </a:lnTo>
                  <a:lnTo>
                    <a:pt x="477" y="490"/>
                  </a:lnTo>
                  <a:lnTo>
                    <a:pt x="480" y="490"/>
                  </a:lnTo>
                  <a:lnTo>
                    <a:pt x="486" y="493"/>
                  </a:lnTo>
                  <a:lnTo>
                    <a:pt x="493" y="493"/>
                  </a:lnTo>
                  <a:lnTo>
                    <a:pt x="494" y="493"/>
                  </a:lnTo>
                  <a:lnTo>
                    <a:pt x="497" y="494"/>
                  </a:lnTo>
                  <a:lnTo>
                    <a:pt x="497" y="496"/>
                  </a:lnTo>
                  <a:lnTo>
                    <a:pt x="497" y="496"/>
                  </a:lnTo>
                  <a:lnTo>
                    <a:pt x="497" y="498"/>
                  </a:lnTo>
                  <a:lnTo>
                    <a:pt x="497" y="498"/>
                  </a:lnTo>
                  <a:lnTo>
                    <a:pt x="499" y="501"/>
                  </a:lnTo>
                  <a:lnTo>
                    <a:pt x="499" y="504"/>
                  </a:lnTo>
                  <a:lnTo>
                    <a:pt x="499" y="504"/>
                  </a:lnTo>
                  <a:lnTo>
                    <a:pt x="500" y="505"/>
                  </a:lnTo>
                  <a:lnTo>
                    <a:pt x="500" y="505"/>
                  </a:lnTo>
                  <a:lnTo>
                    <a:pt x="502" y="507"/>
                  </a:lnTo>
                  <a:lnTo>
                    <a:pt x="503" y="510"/>
                  </a:lnTo>
                  <a:lnTo>
                    <a:pt x="505" y="511"/>
                  </a:lnTo>
                  <a:lnTo>
                    <a:pt x="506" y="513"/>
                  </a:lnTo>
                  <a:lnTo>
                    <a:pt x="508" y="514"/>
                  </a:lnTo>
                  <a:lnTo>
                    <a:pt x="509" y="514"/>
                  </a:lnTo>
                  <a:lnTo>
                    <a:pt x="513" y="514"/>
                  </a:lnTo>
                  <a:lnTo>
                    <a:pt x="516" y="510"/>
                  </a:lnTo>
                  <a:lnTo>
                    <a:pt x="519" y="508"/>
                  </a:lnTo>
                  <a:lnTo>
                    <a:pt x="520" y="508"/>
                  </a:lnTo>
                  <a:lnTo>
                    <a:pt x="520" y="510"/>
                  </a:lnTo>
                  <a:lnTo>
                    <a:pt x="522" y="510"/>
                  </a:lnTo>
                  <a:lnTo>
                    <a:pt x="523" y="511"/>
                  </a:lnTo>
                  <a:lnTo>
                    <a:pt x="523" y="513"/>
                  </a:lnTo>
                  <a:lnTo>
                    <a:pt x="523" y="518"/>
                  </a:lnTo>
                  <a:lnTo>
                    <a:pt x="525" y="519"/>
                  </a:lnTo>
                  <a:lnTo>
                    <a:pt x="525" y="519"/>
                  </a:lnTo>
                  <a:lnTo>
                    <a:pt x="528" y="521"/>
                  </a:lnTo>
                  <a:lnTo>
                    <a:pt x="530" y="521"/>
                  </a:lnTo>
                  <a:lnTo>
                    <a:pt x="530" y="522"/>
                  </a:lnTo>
                  <a:lnTo>
                    <a:pt x="528" y="524"/>
                  </a:lnTo>
                  <a:lnTo>
                    <a:pt x="526" y="525"/>
                  </a:lnTo>
                  <a:lnTo>
                    <a:pt x="525" y="527"/>
                  </a:lnTo>
                  <a:lnTo>
                    <a:pt x="525" y="528"/>
                  </a:lnTo>
                  <a:lnTo>
                    <a:pt x="525" y="530"/>
                  </a:lnTo>
                  <a:lnTo>
                    <a:pt x="525" y="531"/>
                  </a:lnTo>
                  <a:lnTo>
                    <a:pt x="528" y="531"/>
                  </a:lnTo>
                  <a:lnTo>
                    <a:pt x="530" y="533"/>
                  </a:lnTo>
                  <a:lnTo>
                    <a:pt x="530" y="534"/>
                  </a:lnTo>
                  <a:lnTo>
                    <a:pt x="528" y="534"/>
                  </a:lnTo>
                  <a:lnTo>
                    <a:pt x="526" y="538"/>
                  </a:lnTo>
                  <a:lnTo>
                    <a:pt x="526" y="542"/>
                  </a:lnTo>
                  <a:lnTo>
                    <a:pt x="526" y="545"/>
                  </a:lnTo>
                  <a:lnTo>
                    <a:pt x="525" y="550"/>
                  </a:lnTo>
                  <a:lnTo>
                    <a:pt x="523" y="553"/>
                  </a:lnTo>
                  <a:lnTo>
                    <a:pt x="522" y="556"/>
                  </a:lnTo>
                  <a:lnTo>
                    <a:pt x="520" y="558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4"/>
                  </a:lnTo>
                  <a:lnTo>
                    <a:pt x="522" y="564"/>
                  </a:lnTo>
                  <a:lnTo>
                    <a:pt x="523" y="567"/>
                  </a:lnTo>
                  <a:lnTo>
                    <a:pt x="523" y="568"/>
                  </a:lnTo>
                  <a:lnTo>
                    <a:pt x="525" y="570"/>
                  </a:lnTo>
                  <a:lnTo>
                    <a:pt x="526" y="568"/>
                  </a:lnTo>
                  <a:lnTo>
                    <a:pt x="526" y="568"/>
                  </a:lnTo>
                  <a:lnTo>
                    <a:pt x="528" y="567"/>
                  </a:lnTo>
                  <a:lnTo>
                    <a:pt x="530" y="568"/>
                  </a:lnTo>
                  <a:lnTo>
                    <a:pt x="531" y="570"/>
                  </a:lnTo>
                  <a:lnTo>
                    <a:pt x="533" y="571"/>
                  </a:lnTo>
                  <a:lnTo>
                    <a:pt x="533" y="573"/>
                  </a:lnTo>
                  <a:lnTo>
                    <a:pt x="534" y="575"/>
                  </a:lnTo>
                  <a:lnTo>
                    <a:pt x="534" y="576"/>
                  </a:lnTo>
                  <a:lnTo>
                    <a:pt x="536" y="576"/>
                  </a:lnTo>
                  <a:lnTo>
                    <a:pt x="536" y="576"/>
                  </a:lnTo>
                  <a:lnTo>
                    <a:pt x="537" y="576"/>
                  </a:lnTo>
                  <a:lnTo>
                    <a:pt x="539" y="578"/>
                  </a:lnTo>
                  <a:lnTo>
                    <a:pt x="539" y="579"/>
                  </a:lnTo>
                  <a:lnTo>
                    <a:pt x="539" y="581"/>
                  </a:lnTo>
                  <a:lnTo>
                    <a:pt x="539" y="582"/>
                  </a:lnTo>
                  <a:lnTo>
                    <a:pt x="539" y="584"/>
                  </a:lnTo>
                  <a:lnTo>
                    <a:pt x="540" y="585"/>
                  </a:lnTo>
                  <a:lnTo>
                    <a:pt x="540" y="585"/>
                  </a:lnTo>
                  <a:lnTo>
                    <a:pt x="542" y="587"/>
                  </a:lnTo>
                  <a:lnTo>
                    <a:pt x="543" y="587"/>
                  </a:lnTo>
                  <a:lnTo>
                    <a:pt x="545" y="585"/>
                  </a:lnTo>
                  <a:lnTo>
                    <a:pt x="546" y="585"/>
                  </a:lnTo>
                  <a:lnTo>
                    <a:pt x="546" y="584"/>
                  </a:lnTo>
                  <a:lnTo>
                    <a:pt x="546" y="581"/>
                  </a:lnTo>
                  <a:lnTo>
                    <a:pt x="548" y="579"/>
                  </a:lnTo>
                  <a:lnTo>
                    <a:pt x="550" y="579"/>
                  </a:lnTo>
                  <a:lnTo>
                    <a:pt x="551" y="579"/>
                  </a:lnTo>
                  <a:lnTo>
                    <a:pt x="551" y="581"/>
                  </a:lnTo>
                  <a:lnTo>
                    <a:pt x="553" y="581"/>
                  </a:lnTo>
                  <a:lnTo>
                    <a:pt x="554" y="584"/>
                  </a:lnTo>
                  <a:lnTo>
                    <a:pt x="554" y="585"/>
                  </a:lnTo>
                  <a:lnTo>
                    <a:pt x="554" y="588"/>
                  </a:lnTo>
                  <a:lnTo>
                    <a:pt x="554" y="590"/>
                  </a:lnTo>
                  <a:lnTo>
                    <a:pt x="553" y="591"/>
                  </a:lnTo>
                  <a:lnTo>
                    <a:pt x="553" y="593"/>
                  </a:lnTo>
                  <a:lnTo>
                    <a:pt x="553" y="599"/>
                  </a:lnTo>
                  <a:lnTo>
                    <a:pt x="553" y="602"/>
                  </a:lnTo>
                  <a:lnTo>
                    <a:pt x="551" y="604"/>
                  </a:lnTo>
                  <a:lnTo>
                    <a:pt x="550" y="604"/>
                  </a:lnTo>
                  <a:lnTo>
                    <a:pt x="548" y="604"/>
                  </a:lnTo>
                  <a:lnTo>
                    <a:pt x="548" y="604"/>
                  </a:lnTo>
                  <a:lnTo>
                    <a:pt x="546" y="604"/>
                  </a:lnTo>
                  <a:lnTo>
                    <a:pt x="548" y="605"/>
                  </a:lnTo>
                  <a:lnTo>
                    <a:pt x="548" y="605"/>
                  </a:lnTo>
                  <a:lnTo>
                    <a:pt x="550" y="610"/>
                  </a:lnTo>
                  <a:lnTo>
                    <a:pt x="551" y="610"/>
                  </a:lnTo>
                  <a:lnTo>
                    <a:pt x="551" y="610"/>
                  </a:lnTo>
                  <a:lnTo>
                    <a:pt x="551" y="608"/>
                  </a:lnTo>
                  <a:lnTo>
                    <a:pt x="553" y="607"/>
                  </a:lnTo>
                  <a:lnTo>
                    <a:pt x="554" y="607"/>
                  </a:lnTo>
                  <a:lnTo>
                    <a:pt x="556" y="607"/>
                  </a:lnTo>
                  <a:lnTo>
                    <a:pt x="556" y="608"/>
                  </a:lnTo>
                  <a:lnTo>
                    <a:pt x="557" y="610"/>
                  </a:lnTo>
                  <a:lnTo>
                    <a:pt x="557" y="611"/>
                  </a:lnTo>
                  <a:lnTo>
                    <a:pt x="556" y="613"/>
                  </a:lnTo>
                  <a:lnTo>
                    <a:pt x="556" y="615"/>
                  </a:lnTo>
                  <a:lnTo>
                    <a:pt x="554" y="615"/>
                  </a:lnTo>
                  <a:lnTo>
                    <a:pt x="554" y="619"/>
                  </a:lnTo>
                  <a:lnTo>
                    <a:pt x="554" y="621"/>
                  </a:lnTo>
                  <a:lnTo>
                    <a:pt x="553" y="621"/>
                  </a:lnTo>
                  <a:lnTo>
                    <a:pt x="553" y="622"/>
                  </a:lnTo>
                  <a:lnTo>
                    <a:pt x="554" y="624"/>
                  </a:lnTo>
                  <a:lnTo>
                    <a:pt x="554" y="624"/>
                  </a:lnTo>
                  <a:lnTo>
                    <a:pt x="556" y="624"/>
                  </a:lnTo>
                  <a:lnTo>
                    <a:pt x="557" y="624"/>
                  </a:lnTo>
                  <a:lnTo>
                    <a:pt x="559" y="625"/>
                  </a:lnTo>
                  <a:lnTo>
                    <a:pt x="559" y="625"/>
                  </a:lnTo>
                  <a:lnTo>
                    <a:pt x="560" y="627"/>
                  </a:lnTo>
                  <a:lnTo>
                    <a:pt x="562" y="627"/>
                  </a:lnTo>
                  <a:lnTo>
                    <a:pt x="563" y="627"/>
                  </a:lnTo>
                  <a:lnTo>
                    <a:pt x="565" y="628"/>
                  </a:lnTo>
                  <a:lnTo>
                    <a:pt x="566" y="632"/>
                  </a:lnTo>
                  <a:lnTo>
                    <a:pt x="568" y="632"/>
                  </a:lnTo>
                  <a:lnTo>
                    <a:pt x="570" y="633"/>
                  </a:lnTo>
                  <a:lnTo>
                    <a:pt x="573" y="632"/>
                  </a:lnTo>
                  <a:lnTo>
                    <a:pt x="574" y="633"/>
                  </a:lnTo>
                  <a:lnTo>
                    <a:pt x="577" y="635"/>
                  </a:lnTo>
                  <a:lnTo>
                    <a:pt x="577" y="635"/>
                  </a:lnTo>
                  <a:lnTo>
                    <a:pt x="577" y="638"/>
                  </a:lnTo>
                  <a:lnTo>
                    <a:pt x="577" y="638"/>
                  </a:lnTo>
                  <a:lnTo>
                    <a:pt x="579" y="638"/>
                  </a:lnTo>
                  <a:lnTo>
                    <a:pt x="579" y="638"/>
                  </a:lnTo>
                  <a:lnTo>
                    <a:pt x="580" y="636"/>
                  </a:lnTo>
                  <a:lnTo>
                    <a:pt x="580" y="638"/>
                  </a:lnTo>
                  <a:lnTo>
                    <a:pt x="580" y="638"/>
                  </a:lnTo>
                  <a:lnTo>
                    <a:pt x="580" y="641"/>
                  </a:lnTo>
                  <a:lnTo>
                    <a:pt x="580" y="641"/>
                  </a:lnTo>
                  <a:lnTo>
                    <a:pt x="582" y="642"/>
                  </a:lnTo>
                  <a:lnTo>
                    <a:pt x="582" y="644"/>
                  </a:lnTo>
                  <a:lnTo>
                    <a:pt x="582" y="644"/>
                  </a:lnTo>
                  <a:lnTo>
                    <a:pt x="582" y="647"/>
                  </a:lnTo>
                  <a:lnTo>
                    <a:pt x="582" y="653"/>
                  </a:lnTo>
                  <a:lnTo>
                    <a:pt x="582" y="655"/>
                  </a:lnTo>
                  <a:lnTo>
                    <a:pt x="582" y="656"/>
                  </a:lnTo>
                  <a:lnTo>
                    <a:pt x="580" y="656"/>
                  </a:lnTo>
                  <a:lnTo>
                    <a:pt x="580" y="658"/>
                  </a:lnTo>
                  <a:lnTo>
                    <a:pt x="582" y="659"/>
                  </a:lnTo>
                  <a:lnTo>
                    <a:pt x="582" y="661"/>
                  </a:lnTo>
                  <a:lnTo>
                    <a:pt x="582" y="662"/>
                  </a:lnTo>
                  <a:lnTo>
                    <a:pt x="582" y="664"/>
                  </a:lnTo>
                  <a:lnTo>
                    <a:pt x="580" y="665"/>
                  </a:lnTo>
                  <a:lnTo>
                    <a:pt x="579" y="665"/>
                  </a:lnTo>
                  <a:lnTo>
                    <a:pt x="579" y="667"/>
                  </a:lnTo>
                  <a:lnTo>
                    <a:pt x="580" y="668"/>
                  </a:lnTo>
                  <a:lnTo>
                    <a:pt x="583" y="670"/>
                  </a:lnTo>
                  <a:lnTo>
                    <a:pt x="583" y="670"/>
                  </a:lnTo>
                  <a:lnTo>
                    <a:pt x="583" y="672"/>
                  </a:lnTo>
                  <a:lnTo>
                    <a:pt x="583" y="672"/>
                  </a:lnTo>
                  <a:lnTo>
                    <a:pt x="585" y="672"/>
                  </a:lnTo>
                  <a:lnTo>
                    <a:pt x="585" y="672"/>
                  </a:lnTo>
                  <a:lnTo>
                    <a:pt x="585" y="672"/>
                  </a:lnTo>
                  <a:lnTo>
                    <a:pt x="586" y="672"/>
                  </a:lnTo>
                  <a:lnTo>
                    <a:pt x="586" y="672"/>
                  </a:lnTo>
                  <a:lnTo>
                    <a:pt x="588" y="675"/>
                  </a:lnTo>
                  <a:lnTo>
                    <a:pt x="586" y="675"/>
                  </a:lnTo>
                  <a:lnTo>
                    <a:pt x="591" y="678"/>
                  </a:lnTo>
                  <a:lnTo>
                    <a:pt x="591" y="679"/>
                  </a:lnTo>
                  <a:lnTo>
                    <a:pt x="593" y="678"/>
                  </a:lnTo>
                  <a:lnTo>
                    <a:pt x="594" y="678"/>
                  </a:lnTo>
                  <a:lnTo>
                    <a:pt x="594" y="678"/>
                  </a:lnTo>
                  <a:lnTo>
                    <a:pt x="596" y="679"/>
                  </a:lnTo>
                  <a:lnTo>
                    <a:pt x="594" y="682"/>
                  </a:lnTo>
                  <a:lnTo>
                    <a:pt x="593" y="684"/>
                  </a:lnTo>
                  <a:lnTo>
                    <a:pt x="590" y="685"/>
                  </a:lnTo>
                  <a:lnTo>
                    <a:pt x="580" y="684"/>
                  </a:lnTo>
                  <a:lnTo>
                    <a:pt x="579" y="684"/>
                  </a:lnTo>
                  <a:lnTo>
                    <a:pt x="577" y="685"/>
                  </a:lnTo>
                  <a:lnTo>
                    <a:pt x="574" y="688"/>
                  </a:lnTo>
                  <a:lnTo>
                    <a:pt x="573" y="688"/>
                  </a:lnTo>
                  <a:lnTo>
                    <a:pt x="571" y="687"/>
                  </a:lnTo>
                  <a:lnTo>
                    <a:pt x="571" y="685"/>
                  </a:lnTo>
                  <a:lnTo>
                    <a:pt x="571" y="684"/>
                  </a:lnTo>
                  <a:lnTo>
                    <a:pt x="571" y="682"/>
                  </a:lnTo>
                  <a:lnTo>
                    <a:pt x="571" y="682"/>
                  </a:lnTo>
                  <a:lnTo>
                    <a:pt x="570" y="679"/>
                  </a:lnTo>
                  <a:lnTo>
                    <a:pt x="566" y="676"/>
                  </a:lnTo>
                  <a:lnTo>
                    <a:pt x="565" y="675"/>
                  </a:lnTo>
                  <a:lnTo>
                    <a:pt x="565" y="676"/>
                  </a:lnTo>
                  <a:lnTo>
                    <a:pt x="563" y="679"/>
                  </a:lnTo>
                  <a:lnTo>
                    <a:pt x="562" y="679"/>
                  </a:lnTo>
                  <a:lnTo>
                    <a:pt x="560" y="679"/>
                  </a:lnTo>
                  <a:lnTo>
                    <a:pt x="560" y="679"/>
                  </a:lnTo>
                  <a:lnTo>
                    <a:pt x="560" y="682"/>
                  </a:lnTo>
                  <a:lnTo>
                    <a:pt x="560" y="684"/>
                  </a:lnTo>
                  <a:lnTo>
                    <a:pt x="559" y="685"/>
                  </a:lnTo>
                  <a:lnTo>
                    <a:pt x="557" y="685"/>
                  </a:lnTo>
                  <a:lnTo>
                    <a:pt x="556" y="685"/>
                  </a:lnTo>
                  <a:lnTo>
                    <a:pt x="556" y="685"/>
                  </a:lnTo>
                  <a:lnTo>
                    <a:pt x="554" y="684"/>
                  </a:lnTo>
                  <a:lnTo>
                    <a:pt x="553" y="681"/>
                  </a:lnTo>
                  <a:lnTo>
                    <a:pt x="553" y="681"/>
                  </a:lnTo>
                  <a:lnTo>
                    <a:pt x="551" y="679"/>
                  </a:lnTo>
                  <a:lnTo>
                    <a:pt x="548" y="679"/>
                  </a:lnTo>
                  <a:lnTo>
                    <a:pt x="548" y="679"/>
                  </a:lnTo>
                  <a:lnTo>
                    <a:pt x="546" y="678"/>
                  </a:lnTo>
                  <a:lnTo>
                    <a:pt x="546" y="678"/>
                  </a:lnTo>
                  <a:lnTo>
                    <a:pt x="546" y="676"/>
                  </a:lnTo>
                  <a:lnTo>
                    <a:pt x="548" y="676"/>
                  </a:lnTo>
                  <a:lnTo>
                    <a:pt x="548" y="675"/>
                  </a:lnTo>
                  <a:lnTo>
                    <a:pt x="548" y="675"/>
                  </a:lnTo>
                  <a:lnTo>
                    <a:pt x="548" y="673"/>
                  </a:lnTo>
                  <a:lnTo>
                    <a:pt x="548" y="673"/>
                  </a:lnTo>
                  <a:lnTo>
                    <a:pt x="546" y="673"/>
                  </a:lnTo>
                  <a:lnTo>
                    <a:pt x="545" y="673"/>
                  </a:lnTo>
                  <a:lnTo>
                    <a:pt x="545" y="673"/>
                  </a:lnTo>
                  <a:lnTo>
                    <a:pt x="543" y="675"/>
                  </a:lnTo>
                  <a:lnTo>
                    <a:pt x="540" y="679"/>
                  </a:lnTo>
                  <a:lnTo>
                    <a:pt x="539" y="679"/>
                  </a:lnTo>
                  <a:lnTo>
                    <a:pt x="537" y="678"/>
                  </a:lnTo>
                  <a:lnTo>
                    <a:pt x="536" y="675"/>
                  </a:lnTo>
                  <a:lnTo>
                    <a:pt x="534" y="673"/>
                  </a:lnTo>
                  <a:lnTo>
                    <a:pt x="533" y="676"/>
                  </a:lnTo>
                  <a:lnTo>
                    <a:pt x="533" y="678"/>
                  </a:lnTo>
                  <a:lnTo>
                    <a:pt x="533" y="679"/>
                  </a:lnTo>
                  <a:lnTo>
                    <a:pt x="533" y="681"/>
                  </a:lnTo>
                  <a:lnTo>
                    <a:pt x="533" y="682"/>
                  </a:lnTo>
                  <a:lnTo>
                    <a:pt x="533" y="682"/>
                  </a:lnTo>
                  <a:lnTo>
                    <a:pt x="533" y="682"/>
                  </a:lnTo>
                  <a:lnTo>
                    <a:pt x="531" y="682"/>
                  </a:lnTo>
                  <a:lnTo>
                    <a:pt x="528" y="685"/>
                  </a:lnTo>
                  <a:lnTo>
                    <a:pt x="526" y="685"/>
                  </a:lnTo>
                  <a:lnTo>
                    <a:pt x="525" y="685"/>
                  </a:lnTo>
                  <a:lnTo>
                    <a:pt x="525" y="684"/>
                  </a:lnTo>
                  <a:lnTo>
                    <a:pt x="526" y="682"/>
                  </a:lnTo>
                  <a:lnTo>
                    <a:pt x="526" y="682"/>
                  </a:lnTo>
                  <a:lnTo>
                    <a:pt x="526" y="681"/>
                  </a:lnTo>
                  <a:lnTo>
                    <a:pt x="526" y="679"/>
                  </a:lnTo>
                  <a:lnTo>
                    <a:pt x="526" y="670"/>
                  </a:lnTo>
                  <a:lnTo>
                    <a:pt x="526" y="668"/>
                  </a:lnTo>
                  <a:lnTo>
                    <a:pt x="525" y="667"/>
                  </a:lnTo>
                  <a:lnTo>
                    <a:pt x="523" y="667"/>
                  </a:lnTo>
                  <a:lnTo>
                    <a:pt x="517" y="670"/>
                  </a:lnTo>
                  <a:lnTo>
                    <a:pt x="516" y="672"/>
                  </a:lnTo>
                  <a:lnTo>
                    <a:pt x="513" y="672"/>
                  </a:lnTo>
                  <a:lnTo>
                    <a:pt x="508" y="676"/>
                  </a:lnTo>
                  <a:lnTo>
                    <a:pt x="506" y="678"/>
                  </a:lnTo>
                  <a:lnTo>
                    <a:pt x="506" y="681"/>
                  </a:lnTo>
                  <a:lnTo>
                    <a:pt x="506" y="685"/>
                  </a:lnTo>
                  <a:lnTo>
                    <a:pt x="508" y="690"/>
                  </a:lnTo>
                  <a:lnTo>
                    <a:pt x="508" y="692"/>
                  </a:lnTo>
                  <a:lnTo>
                    <a:pt x="506" y="693"/>
                  </a:lnTo>
                  <a:lnTo>
                    <a:pt x="506" y="695"/>
                  </a:lnTo>
                  <a:lnTo>
                    <a:pt x="506" y="696"/>
                  </a:lnTo>
                  <a:lnTo>
                    <a:pt x="508" y="698"/>
                  </a:lnTo>
                  <a:lnTo>
                    <a:pt x="508" y="698"/>
                  </a:lnTo>
                  <a:lnTo>
                    <a:pt x="511" y="701"/>
                  </a:lnTo>
                  <a:lnTo>
                    <a:pt x="513" y="702"/>
                  </a:lnTo>
                  <a:lnTo>
                    <a:pt x="513" y="705"/>
                  </a:lnTo>
                  <a:lnTo>
                    <a:pt x="513" y="707"/>
                  </a:lnTo>
                  <a:lnTo>
                    <a:pt x="509" y="710"/>
                  </a:lnTo>
                  <a:lnTo>
                    <a:pt x="508" y="713"/>
                  </a:lnTo>
                  <a:lnTo>
                    <a:pt x="506" y="715"/>
                  </a:lnTo>
                  <a:lnTo>
                    <a:pt x="508" y="718"/>
                  </a:lnTo>
                  <a:lnTo>
                    <a:pt x="508" y="722"/>
                  </a:lnTo>
                  <a:lnTo>
                    <a:pt x="508" y="724"/>
                  </a:lnTo>
                  <a:lnTo>
                    <a:pt x="506" y="725"/>
                  </a:lnTo>
                  <a:lnTo>
                    <a:pt x="494" y="729"/>
                  </a:lnTo>
                  <a:lnTo>
                    <a:pt x="493" y="730"/>
                  </a:lnTo>
                  <a:lnTo>
                    <a:pt x="491" y="732"/>
                  </a:lnTo>
                  <a:lnTo>
                    <a:pt x="491" y="733"/>
                  </a:lnTo>
                  <a:lnTo>
                    <a:pt x="493" y="736"/>
                  </a:lnTo>
                  <a:lnTo>
                    <a:pt x="493" y="738"/>
                  </a:lnTo>
                  <a:lnTo>
                    <a:pt x="493" y="741"/>
                  </a:lnTo>
                  <a:lnTo>
                    <a:pt x="493" y="742"/>
                  </a:lnTo>
                  <a:lnTo>
                    <a:pt x="491" y="742"/>
                  </a:lnTo>
                  <a:lnTo>
                    <a:pt x="489" y="744"/>
                  </a:lnTo>
                  <a:lnTo>
                    <a:pt x="488" y="744"/>
                  </a:lnTo>
                  <a:lnTo>
                    <a:pt x="486" y="744"/>
                  </a:lnTo>
                  <a:lnTo>
                    <a:pt x="486" y="745"/>
                  </a:lnTo>
                  <a:lnTo>
                    <a:pt x="488" y="745"/>
                  </a:lnTo>
                  <a:lnTo>
                    <a:pt x="488" y="747"/>
                  </a:lnTo>
                  <a:lnTo>
                    <a:pt x="486" y="749"/>
                  </a:lnTo>
                  <a:lnTo>
                    <a:pt x="485" y="749"/>
                  </a:lnTo>
                  <a:lnTo>
                    <a:pt x="480" y="750"/>
                  </a:lnTo>
                  <a:lnTo>
                    <a:pt x="479" y="752"/>
                  </a:lnTo>
                  <a:lnTo>
                    <a:pt x="479" y="753"/>
                  </a:lnTo>
                  <a:lnTo>
                    <a:pt x="479" y="753"/>
                  </a:lnTo>
                  <a:lnTo>
                    <a:pt x="479" y="755"/>
                  </a:lnTo>
                  <a:lnTo>
                    <a:pt x="477" y="755"/>
                  </a:lnTo>
                  <a:lnTo>
                    <a:pt x="476" y="756"/>
                  </a:lnTo>
                  <a:lnTo>
                    <a:pt x="474" y="758"/>
                  </a:lnTo>
                  <a:lnTo>
                    <a:pt x="473" y="759"/>
                  </a:lnTo>
                  <a:lnTo>
                    <a:pt x="473" y="761"/>
                  </a:lnTo>
                  <a:lnTo>
                    <a:pt x="473" y="761"/>
                  </a:lnTo>
                  <a:lnTo>
                    <a:pt x="474" y="762"/>
                  </a:lnTo>
                  <a:lnTo>
                    <a:pt x="476" y="764"/>
                  </a:lnTo>
                  <a:lnTo>
                    <a:pt x="476" y="765"/>
                  </a:lnTo>
                  <a:lnTo>
                    <a:pt x="476" y="765"/>
                  </a:lnTo>
                  <a:lnTo>
                    <a:pt x="476" y="767"/>
                  </a:lnTo>
                  <a:lnTo>
                    <a:pt x="477" y="769"/>
                  </a:lnTo>
                  <a:lnTo>
                    <a:pt x="476" y="770"/>
                  </a:lnTo>
                  <a:lnTo>
                    <a:pt x="474" y="770"/>
                  </a:lnTo>
                  <a:lnTo>
                    <a:pt x="474" y="770"/>
                  </a:lnTo>
                  <a:lnTo>
                    <a:pt x="474" y="772"/>
                  </a:lnTo>
                  <a:lnTo>
                    <a:pt x="474" y="772"/>
                  </a:lnTo>
                  <a:lnTo>
                    <a:pt x="474" y="772"/>
                  </a:lnTo>
                  <a:lnTo>
                    <a:pt x="476" y="775"/>
                  </a:lnTo>
                  <a:lnTo>
                    <a:pt x="474" y="776"/>
                  </a:lnTo>
                  <a:lnTo>
                    <a:pt x="473" y="778"/>
                  </a:lnTo>
                  <a:lnTo>
                    <a:pt x="468" y="778"/>
                  </a:lnTo>
                  <a:lnTo>
                    <a:pt x="463" y="776"/>
                  </a:lnTo>
                  <a:lnTo>
                    <a:pt x="457" y="775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52" y="779"/>
                  </a:lnTo>
                  <a:lnTo>
                    <a:pt x="452" y="781"/>
                  </a:lnTo>
                  <a:lnTo>
                    <a:pt x="452" y="781"/>
                  </a:lnTo>
                  <a:lnTo>
                    <a:pt x="452" y="782"/>
                  </a:lnTo>
                  <a:lnTo>
                    <a:pt x="452" y="782"/>
                  </a:lnTo>
                  <a:lnTo>
                    <a:pt x="456" y="782"/>
                  </a:lnTo>
                  <a:lnTo>
                    <a:pt x="457" y="784"/>
                  </a:lnTo>
                  <a:lnTo>
                    <a:pt x="459" y="786"/>
                  </a:lnTo>
                  <a:lnTo>
                    <a:pt x="459" y="789"/>
                  </a:lnTo>
                  <a:lnTo>
                    <a:pt x="460" y="793"/>
                  </a:lnTo>
                  <a:lnTo>
                    <a:pt x="462" y="796"/>
                  </a:lnTo>
                  <a:lnTo>
                    <a:pt x="463" y="798"/>
                  </a:lnTo>
                  <a:lnTo>
                    <a:pt x="465" y="798"/>
                  </a:lnTo>
                  <a:lnTo>
                    <a:pt x="468" y="799"/>
                  </a:lnTo>
                  <a:lnTo>
                    <a:pt x="474" y="801"/>
                  </a:lnTo>
                  <a:lnTo>
                    <a:pt x="480" y="804"/>
                  </a:lnTo>
                  <a:lnTo>
                    <a:pt x="489" y="807"/>
                  </a:lnTo>
                  <a:lnTo>
                    <a:pt x="493" y="806"/>
                  </a:lnTo>
                  <a:lnTo>
                    <a:pt x="496" y="806"/>
                  </a:lnTo>
                  <a:lnTo>
                    <a:pt x="496" y="806"/>
                  </a:lnTo>
                  <a:lnTo>
                    <a:pt x="497" y="804"/>
                  </a:lnTo>
                  <a:lnTo>
                    <a:pt x="494" y="804"/>
                  </a:lnTo>
                  <a:lnTo>
                    <a:pt x="494" y="802"/>
                  </a:lnTo>
                  <a:lnTo>
                    <a:pt x="494" y="802"/>
                  </a:lnTo>
                  <a:lnTo>
                    <a:pt x="494" y="801"/>
                  </a:lnTo>
                  <a:lnTo>
                    <a:pt x="494" y="801"/>
                  </a:lnTo>
                  <a:lnTo>
                    <a:pt x="496" y="799"/>
                  </a:lnTo>
                  <a:lnTo>
                    <a:pt x="496" y="798"/>
                  </a:lnTo>
                  <a:lnTo>
                    <a:pt x="496" y="796"/>
                  </a:lnTo>
                  <a:lnTo>
                    <a:pt x="499" y="796"/>
                  </a:lnTo>
                  <a:lnTo>
                    <a:pt x="499" y="796"/>
                  </a:lnTo>
                  <a:lnTo>
                    <a:pt x="502" y="798"/>
                  </a:lnTo>
                  <a:lnTo>
                    <a:pt x="503" y="798"/>
                  </a:lnTo>
                  <a:lnTo>
                    <a:pt x="503" y="799"/>
                  </a:lnTo>
                  <a:lnTo>
                    <a:pt x="505" y="799"/>
                  </a:lnTo>
                  <a:lnTo>
                    <a:pt x="506" y="801"/>
                  </a:lnTo>
                  <a:lnTo>
                    <a:pt x="508" y="801"/>
                  </a:lnTo>
                  <a:lnTo>
                    <a:pt x="508" y="799"/>
                  </a:lnTo>
                  <a:lnTo>
                    <a:pt x="508" y="798"/>
                  </a:lnTo>
                  <a:lnTo>
                    <a:pt x="509" y="796"/>
                  </a:lnTo>
                  <a:lnTo>
                    <a:pt x="509" y="796"/>
                  </a:lnTo>
                  <a:lnTo>
                    <a:pt x="511" y="796"/>
                  </a:lnTo>
                  <a:lnTo>
                    <a:pt x="513" y="796"/>
                  </a:lnTo>
                  <a:lnTo>
                    <a:pt x="513" y="795"/>
                  </a:lnTo>
                  <a:lnTo>
                    <a:pt x="517" y="792"/>
                  </a:lnTo>
                  <a:lnTo>
                    <a:pt x="520" y="792"/>
                  </a:lnTo>
                  <a:lnTo>
                    <a:pt x="522" y="790"/>
                  </a:lnTo>
                  <a:lnTo>
                    <a:pt x="522" y="790"/>
                  </a:lnTo>
                  <a:lnTo>
                    <a:pt x="523" y="790"/>
                  </a:lnTo>
                  <a:lnTo>
                    <a:pt x="525" y="789"/>
                  </a:lnTo>
                  <a:lnTo>
                    <a:pt x="525" y="789"/>
                  </a:lnTo>
                  <a:lnTo>
                    <a:pt x="525" y="789"/>
                  </a:lnTo>
                  <a:lnTo>
                    <a:pt x="526" y="787"/>
                  </a:lnTo>
                  <a:lnTo>
                    <a:pt x="526" y="787"/>
                  </a:lnTo>
                  <a:lnTo>
                    <a:pt x="528" y="786"/>
                  </a:lnTo>
                  <a:lnTo>
                    <a:pt x="530" y="786"/>
                  </a:lnTo>
                  <a:lnTo>
                    <a:pt x="531" y="786"/>
                  </a:lnTo>
                  <a:lnTo>
                    <a:pt x="533" y="786"/>
                  </a:lnTo>
                  <a:lnTo>
                    <a:pt x="533" y="786"/>
                  </a:lnTo>
                  <a:lnTo>
                    <a:pt x="534" y="786"/>
                  </a:lnTo>
                  <a:lnTo>
                    <a:pt x="534" y="784"/>
                  </a:lnTo>
                  <a:lnTo>
                    <a:pt x="536" y="784"/>
                  </a:lnTo>
                  <a:lnTo>
                    <a:pt x="536" y="784"/>
                  </a:lnTo>
                  <a:lnTo>
                    <a:pt x="536" y="784"/>
                  </a:lnTo>
                  <a:lnTo>
                    <a:pt x="537" y="784"/>
                  </a:lnTo>
                  <a:lnTo>
                    <a:pt x="537" y="784"/>
                  </a:lnTo>
                  <a:lnTo>
                    <a:pt x="543" y="786"/>
                  </a:lnTo>
                  <a:lnTo>
                    <a:pt x="554" y="789"/>
                  </a:lnTo>
                  <a:lnTo>
                    <a:pt x="557" y="792"/>
                  </a:lnTo>
                  <a:lnTo>
                    <a:pt x="559" y="792"/>
                  </a:lnTo>
                  <a:lnTo>
                    <a:pt x="560" y="793"/>
                  </a:lnTo>
                  <a:lnTo>
                    <a:pt x="562" y="798"/>
                  </a:lnTo>
                  <a:lnTo>
                    <a:pt x="562" y="801"/>
                  </a:lnTo>
                  <a:lnTo>
                    <a:pt x="560" y="804"/>
                  </a:lnTo>
                  <a:lnTo>
                    <a:pt x="562" y="806"/>
                  </a:lnTo>
                  <a:lnTo>
                    <a:pt x="562" y="806"/>
                  </a:lnTo>
                  <a:lnTo>
                    <a:pt x="562" y="807"/>
                  </a:lnTo>
                  <a:lnTo>
                    <a:pt x="560" y="807"/>
                  </a:lnTo>
                  <a:lnTo>
                    <a:pt x="560" y="807"/>
                  </a:lnTo>
                  <a:lnTo>
                    <a:pt x="562" y="807"/>
                  </a:lnTo>
                  <a:lnTo>
                    <a:pt x="563" y="807"/>
                  </a:lnTo>
                  <a:lnTo>
                    <a:pt x="565" y="807"/>
                  </a:lnTo>
                  <a:lnTo>
                    <a:pt x="566" y="806"/>
                  </a:lnTo>
                  <a:lnTo>
                    <a:pt x="566" y="806"/>
                  </a:lnTo>
                  <a:lnTo>
                    <a:pt x="566" y="806"/>
                  </a:lnTo>
                  <a:lnTo>
                    <a:pt x="566" y="804"/>
                  </a:lnTo>
                  <a:lnTo>
                    <a:pt x="566" y="802"/>
                  </a:lnTo>
                  <a:lnTo>
                    <a:pt x="566" y="801"/>
                  </a:lnTo>
                  <a:lnTo>
                    <a:pt x="566" y="799"/>
                  </a:lnTo>
                  <a:lnTo>
                    <a:pt x="568" y="798"/>
                  </a:lnTo>
                  <a:lnTo>
                    <a:pt x="568" y="798"/>
                  </a:lnTo>
                  <a:lnTo>
                    <a:pt x="568" y="796"/>
                  </a:lnTo>
                  <a:lnTo>
                    <a:pt x="568" y="792"/>
                  </a:lnTo>
                  <a:lnTo>
                    <a:pt x="568" y="790"/>
                  </a:lnTo>
                  <a:lnTo>
                    <a:pt x="566" y="787"/>
                  </a:lnTo>
                  <a:lnTo>
                    <a:pt x="566" y="787"/>
                  </a:lnTo>
                  <a:lnTo>
                    <a:pt x="568" y="787"/>
                  </a:lnTo>
                  <a:lnTo>
                    <a:pt x="568" y="786"/>
                  </a:lnTo>
                  <a:lnTo>
                    <a:pt x="568" y="782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5" y="781"/>
                  </a:lnTo>
                  <a:lnTo>
                    <a:pt x="565" y="782"/>
                  </a:lnTo>
                  <a:lnTo>
                    <a:pt x="565" y="784"/>
                  </a:lnTo>
                  <a:lnTo>
                    <a:pt x="565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2" y="782"/>
                  </a:lnTo>
                  <a:lnTo>
                    <a:pt x="562" y="782"/>
                  </a:lnTo>
                  <a:lnTo>
                    <a:pt x="562" y="782"/>
                  </a:lnTo>
                  <a:lnTo>
                    <a:pt x="562" y="779"/>
                  </a:lnTo>
                  <a:lnTo>
                    <a:pt x="560" y="781"/>
                  </a:lnTo>
                  <a:lnTo>
                    <a:pt x="560" y="781"/>
                  </a:lnTo>
                  <a:lnTo>
                    <a:pt x="560" y="782"/>
                  </a:lnTo>
                  <a:lnTo>
                    <a:pt x="560" y="784"/>
                  </a:lnTo>
                  <a:lnTo>
                    <a:pt x="559" y="784"/>
                  </a:lnTo>
                  <a:lnTo>
                    <a:pt x="559" y="782"/>
                  </a:lnTo>
                  <a:lnTo>
                    <a:pt x="557" y="782"/>
                  </a:lnTo>
                  <a:lnTo>
                    <a:pt x="557" y="779"/>
                  </a:lnTo>
                  <a:lnTo>
                    <a:pt x="557" y="779"/>
                  </a:lnTo>
                  <a:lnTo>
                    <a:pt x="557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6"/>
                  </a:lnTo>
                  <a:lnTo>
                    <a:pt x="560" y="776"/>
                  </a:lnTo>
                  <a:lnTo>
                    <a:pt x="560" y="775"/>
                  </a:lnTo>
                  <a:lnTo>
                    <a:pt x="563" y="772"/>
                  </a:lnTo>
                  <a:lnTo>
                    <a:pt x="565" y="770"/>
                  </a:lnTo>
                  <a:lnTo>
                    <a:pt x="562" y="772"/>
                  </a:lnTo>
                  <a:lnTo>
                    <a:pt x="562" y="773"/>
                  </a:lnTo>
                  <a:lnTo>
                    <a:pt x="560" y="773"/>
                  </a:lnTo>
                  <a:lnTo>
                    <a:pt x="559" y="773"/>
                  </a:lnTo>
                  <a:lnTo>
                    <a:pt x="557" y="772"/>
                  </a:lnTo>
                  <a:lnTo>
                    <a:pt x="556" y="772"/>
                  </a:lnTo>
                  <a:lnTo>
                    <a:pt x="556" y="767"/>
                  </a:lnTo>
                  <a:lnTo>
                    <a:pt x="556" y="761"/>
                  </a:lnTo>
                  <a:lnTo>
                    <a:pt x="557" y="758"/>
                  </a:lnTo>
                  <a:lnTo>
                    <a:pt x="559" y="755"/>
                  </a:lnTo>
                  <a:lnTo>
                    <a:pt x="559" y="755"/>
                  </a:lnTo>
                  <a:lnTo>
                    <a:pt x="559" y="753"/>
                  </a:lnTo>
                  <a:lnTo>
                    <a:pt x="557" y="753"/>
                  </a:lnTo>
                  <a:lnTo>
                    <a:pt x="559" y="752"/>
                  </a:lnTo>
                  <a:lnTo>
                    <a:pt x="559" y="750"/>
                  </a:lnTo>
                  <a:lnTo>
                    <a:pt x="560" y="747"/>
                  </a:lnTo>
                  <a:lnTo>
                    <a:pt x="560" y="747"/>
                  </a:lnTo>
                  <a:lnTo>
                    <a:pt x="560" y="747"/>
                  </a:lnTo>
                  <a:lnTo>
                    <a:pt x="559" y="745"/>
                  </a:lnTo>
                  <a:lnTo>
                    <a:pt x="559" y="744"/>
                  </a:lnTo>
                  <a:lnTo>
                    <a:pt x="559" y="744"/>
                  </a:lnTo>
                  <a:lnTo>
                    <a:pt x="559" y="742"/>
                  </a:lnTo>
                  <a:lnTo>
                    <a:pt x="559" y="742"/>
                  </a:lnTo>
                  <a:lnTo>
                    <a:pt x="560" y="744"/>
                  </a:lnTo>
                  <a:lnTo>
                    <a:pt x="560" y="744"/>
                  </a:lnTo>
                  <a:lnTo>
                    <a:pt x="562" y="745"/>
                  </a:lnTo>
                  <a:lnTo>
                    <a:pt x="562" y="745"/>
                  </a:lnTo>
                  <a:lnTo>
                    <a:pt x="562" y="745"/>
                  </a:lnTo>
                  <a:lnTo>
                    <a:pt x="563" y="747"/>
                  </a:lnTo>
                  <a:lnTo>
                    <a:pt x="563" y="747"/>
                  </a:lnTo>
                  <a:lnTo>
                    <a:pt x="563" y="749"/>
                  </a:lnTo>
                  <a:lnTo>
                    <a:pt x="563" y="749"/>
                  </a:lnTo>
                  <a:lnTo>
                    <a:pt x="562" y="752"/>
                  </a:lnTo>
                  <a:lnTo>
                    <a:pt x="563" y="756"/>
                  </a:lnTo>
                  <a:lnTo>
                    <a:pt x="562" y="756"/>
                  </a:lnTo>
                  <a:lnTo>
                    <a:pt x="563" y="758"/>
                  </a:lnTo>
                  <a:lnTo>
                    <a:pt x="565" y="759"/>
                  </a:lnTo>
                  <a:lnTo>
                    <a:pt x="566" y="762"/>
                  </a:lnTo>
                  <a:lnTo>
                    <a:pt x="566" y="765"/>
                  </a:lnTo>
                  <a:lnTo>
                    <a:pt x="566" y="764"/>
                  </a:lnTo>
                  <a:lnTo>
                    <a:pt x="570" y="764"/>
                  </a:lnTo>
                  <a:lnTo>
                    <a:pt x="571" y="764"/>
                  </a:lnTo>
                  <a:lnTo>
                    <a:pt x="570" y="762"/>
                  </a:lnTo>
                  <a:lnTo>
                    <a:pt x="570" y="762"/>
                  </a:lnTo>
                  <a:lnTo>
                    <a:pt x="570" y="762"/>
                  </a:lnTo>
                  <a:lnTo>
                    <a:pt x="571" y="761"/>
                  </a:lnTo>
                  <a:lnTo>
                    <a:pt x="573" y="762"/>
                  </a:lnTo>
                  <a:lnTo>
                    <a:pt x="573" y="761"/>
                  </a:lnTo>
                  <a:lnTo>
                    <a:pt x="574" y="761"/>
                  </a:lnTo>
                  <a:lnTo>
                    <a:pt x="576" y="759"/>
                  </a:lnTo>
                  <a:lnTo>
                    <a:pt x="576" y="759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3" y="756"/>
                  </a:lnTo>
                  <a:lnTo>
                    <a:pt x="571" y="756"/>
                  </a:lnTo>
                  <a:lnTo>
                    <a:pt x="571" y="755"/>
                  </a:lnTo>
                  <a:lnTo>
                    <a:pt x="571" y="752"/>
                  </a:lnTo>
                  <a:lnTo>
                    <a:pt x="573" y="752"/>
                  </a:lnTo>
                  <a:lnTo>
                    <a:pt x="576" y="752"/>
                  </a:lnTo>
                  <a:lnTo>
                    <a:pt x="577" y="752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9" y="750"/>
                  </a:lnTo>
                  <a:lnTo>
                    <a:pt x="579" y="750"/>
                  </a:lnTo>
                  <a:lnTo>
                    <a:pt x="579" y="750"/>
                  </a:lnTo>
                  <a:lnTo>
                    <a:pt x="579" y="752"/>
                  </a:lnTo>
                  <a:lnTo>
                    <a:pt x="580" y="752"/>
                  </a:lnTo>
                  <a:lnTo>
                    <a:pt x="580" y="753"/>
                  </a:lnTo>
                  <a:lnTo>
                    <a:pt x="580" y="753"/>
                  </a:lnTo>
                  <a:lnTo>
                    <a:pt x="582" y="752"/>
                  </a:lnTo>
                  <a:lnTo>
                    <a:pt x="580" y="750"/>
                  </a:lnTo>
                  <a:lnTo>
                    <a:pt x="580" y="749"/>
                  </a:lnTo>
                  <a:lnTo>
                    <a:pt x="580" y="747"/>
                  </a:lnTo>
                  <a:lnTo>
                    <a:pt x="580" y="745"/>
                  </a:lnTo>
                  <a:lnTo>
                    <a:pt x="580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0" y="745"/>
                  </a:lnTo>
                  <a:lnTo>
                    <a:pt x="580" y="747"/>
                  </a:lnTo>
                  <a:lnTo>
                    <a:pt x="582" y="747"/>
                  </a:lnTo>
                  <a:lnTo>
                    <a:pt x="582" y="749"/>
                  </a:lnTo>
                  <a:lnTo>
                    <a:pt x="583" y="747"/>
                  </a:lnTo>
                  <a:lnTo>
                    <a:pt x="583" y="744"/>
                  </a:lnTo>
                  <a:lnTo>
                    <a:pt x="583" y="741"/>
                  </a:lnTo>
                  <a:lnTo>
                    <a:pt x="585" y="741"/>
                  </a:lnTo>
                  <a:lnTo>
                    <a:pt x="586" y="741"/>
                  </a:lnTo>
                  <a:lnTo>
                    <a:pt x="591" y="744"/>
                  </a:lnTo>
                  <a:lnTo>
                    <a:pt x="591" y="744"/>
                  </a:lnTo>
                  <a:lnTo>
                    <a:pt x="591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4" y="742"/>
                  </a:lnTo>
                  <a:lnTo>
                    <a:pt x="594" y="742"/>
                  </a:lnTo>
                  <a:lnTo>
                    <a:pt x="594" y="739"/>
                  </a:lnTo>
                  <a:lnTo>
                    <a:pt x="594" y="738"/>
                  </a:lnTo>
                  <a:lnTo>
                    <a:pt x="594" y="736"/>
                  </a:lnTo>
                  <a:lnTo>
                    <a:pt x="596" y="736"/>
                  </a:lnTo>
                  <a:lnTo>
                    <a:pt x="596" y="736"/>
                  </a:lnTo>
                  <a:lnTo>
                    <a:pt x="597" y="742"/>
                  </a:lnTo>
                  <a:lnTo>
                    <a:pt x="596" y="744"/>
                  </a:lnTo>
                  <a:lnTo>
                    <a:pt x="602" y="739"/>
                  </a:lnTo>
                  <a:lnTo>
                    <a:pt x="605" y="736"/>
                  </a:lnTo>
                  <a:lnTo>
                    <a:pt x="614" y="724"/>
                  </a:lnTo>
                  <a:lnTo>
                    <a:pt x="623" y="716"/>
                  </a:lnTo>
                  <a:lnTo>
                    <a:pt x="623" y="715"/>
                  </a:lnTo>
                  <a:lnTo>
                    <a:pt x="625" y="710"/>
                  </a:lnTo>
                  <a:lnTo>
                    <a:pt x="625" y="709"/>
                  </a:lnTo>
                  <a:lnTo>
                    <a:pt x="627" y="709"/>
                  </a:lnTo>
                  <a:lnTo>
                    <a:pt x="628" y="707"/>
                  </a:lnTo>
                  <a:lnTo>
                    <a:pt x="630" y="704"/>
                  </a:lnTo>
                  <a:lnTo>
                    <a:pt x="634" y="696"/>
                  </a:lnTo>
                  <a:lnTo>
                    <a:pt x="637" y="692"/>
                  </a:lnTo>
                  <a:lnTo>
                    <a:pt x="637" y="692"/>
                  </a:lnTo>
                  <a:lnTo>
                    <a:pt x="637" y="690"/>
                  </a:lnTo>
                  <a:lnTo>
                    <a:pt x="637" y="688"/>
                  </a:lnTo>
                  <a:lnTo>
                    <a:pt x="634" y="688"/>
                  </a:lnTo>
                  <a:lnTo>
                    <a:pt x="634" y="687"/>
                  </a:lnTo>
                  <a:lnTo>
                    <a:pt x="636" y="687"/>
                  </a:lnTo>
                  <a:lnTo>
                    <a:pt x="639" y="687"/>
                  </a:lnTo>
                  <a:lnTo>
                    <a:pt x="640" y="685"/>
                  </a:lnTo>
                  <a:lnTo>
                    <a:pt x="643" y="682"/>
                  </a:lnTo>
                  <a:lnTo>
                    <a:pt x="643" y="681"/>
                  </a:lnTo>
                  <a:lnTo>
                    <a:pt x="645" y="678"/>
                  </a:lnTo>
                  <a:lnTo>
                    <a:pt x="645" y="678"/>
                  </a:lnTo>
                  <a:lnTo>
                    <a:pt x="645" y="678"/>
                  </a:lnTo>
                  <a:lnTo>
                    <a:pt x="645" y="676"/>
                  </a:lnTo>
                  <a:lnTo>
                    <a:pt x="645" y="676"/>
                  </a:lnTo>
                  <a:lnTo>
                    <a:pt x="645" y="676"/>
                  </a:lnTo>
                  <a:lnTo>
                    <a:pt x="645" y="675"/>
                  </a:lnTo>
                  <a:lnTo>
                    <a:pt x="645" y="675"/>
                  </a:lnTo>
                  <a:lnTo>
                    <a:pt x="643" y="673"/>
                  </a:lnTo>
                  <a:lnTo>
                    <a:pt x="642" y="670"/>
                  </a:lnTo>
                  <a:lnTo>
                    <a:pt x="642" y="668"/>
                  </a:lnTo>
                  <a:lnTo>
                    <a:pt x="643" y="668"/>
                  </a:lnTo>
                  <a:lnTo>
                    <a:pt x="645" y="665"/>
                  </a:lnTo>
                  <a:lnTo>
                    <a:pt x="647" y="664"/>
                  </a:lnTo>
                  <a:lnTo>
                    <a:pt x="647" y="664"/>
                  </a:lnTo>
                  <a:lnTo>
                    <a:pt x="650" y="665"/>
                  </a:lnTo>
                  <a:lnTo>
                    <a:pt x="651" y="665"/>
                  </a:lnTo>
                  <a:lnTo>
                    <a:pt x="654" y="662"/>
                  </a:lnTo>
                  <a:lnTo>
                    <a:pt x="656" y="661"/>
                  </a:lnTo>
                  <a:lnTo>
                    <a:pt x="657" y="662"/>
                  </a:lnTo>
                  <a:lnTo>
                    <a:pt x="657" y="662"/>
                  </a:lnTo>
                  <a:lnTo>
                    <a:pt x="659" y="661"/>
                  </a:lnTo>
                  <a:lnTo>
                    <a:pt x="660" y="659"/>
                  </a:lnTo>
                  <a:lnTo>
                    <a:pt x="662" y="659"/>
                  </a:lnTo>
                  <a:lnTo>
                    <a:pt x="665" y="659"/>
                  </a:lnTo>
                  <a:lnTo>
                    <a:pt x="668" y="658"/>
                  </a:lnTo>
                  <a:lnTo>
                    <a:pt x="673" y="656"/>
                  </a:lnTo>
                  <a:lnTo>
                    <a:pt x="674" y="656"/>
                  </a:lnTo>
                  <a:lnTo>
                    <a:pt x="679" y="658"/>
                  </a:lnTo>
                  <a:lnTo>
                    <a:pt x="680" y="659"/>
                  </a:lnTo>
                  <a:lnTo>
                    <a:pt x="682" y="658"/>
                  </a:lnTo>
                  <a:lnTo>
                    <a:pt x="682" y="659"/>
                  </a:lnTo>
                  <a:lnTo>
                    <a:pt x="685" y="659"/>
                  </a:lnTo>
                  <a:lnTo>
                    <a:pt x="685" y="659"/>
                  </a:lnTo>
                  <a:lnTo>
                    <a:pt x="687" y="659"/>
                  </a:lnTo>
                  <a:lnTo>
                    <a:pt x="690" y="658"/>
                  </a:lnTo>
                  <a:lnTo>
                    <a:pt x="691" y="656"/>
                  </a:lnTo>
                  <a:lnTo>
                    <a:pt x="693" y="656"/>
                  </a:lnTo>
                  <a:lnTo>
                    <a:pt x="694" y="652"/>
                  </a:lnTo>
                  <a:lnTo>
                    <a:pt x="696" y="652"/>
                  </a:lnTo>
                  <a:lnTo>
                    <a:pt x="696" y="650"/>
                  </a:lnTo>
                  <a:lnTo>
                    <a:pt x="697" y="648"/>
                  </a:lnTo>
                  <a:lnTo>
                    <a:pt x="699" y="647"/>
                  </a:lnTo>
                  <a:lnTo>
                    <a:pt x="697" y="647"/>
                  </a:lnTo>
                  <a:lnTo>
                    <a:pt x="696" y="644"/>
                  </a:lnTo>
                  <a:lnTo>
                    <a:pt x="694" y="644"/>
                  </a:lnTo>
                  <a:lnTo>
                    <a:pt x="694" y="644"/>
                  </a:lnTo>
                  <a:lnTo>
                    <a:pt x="694" y="642"/>
                  </a:lnTo>
                  <a:lnTo>
                    <a:pt x="694" y="641"/>
                  </a:lnTo>
                  <a:lnTo>
                    <a:pt x="693" y="638"/>
                  </a:lnTo>
                  <a:lnTo>
                    <a:pt x="694" y="639"/>
                  </a:lnTo>
                  <a:lnTo>
                    <a:pt x="696" y="641"/>
                  </a:lnTo>
                  <a:lnTo>
                    <a:pt x="696" y="642"/>
                  </a:lnTo>
                  <a:lnTo>
                    <a:pt x="697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700" y="641"/>
                  </a:lnTo>
                  <a:lnTo>
                    <a:pt x="702" y="641"/>
                  </a:lnTo>
                  <a:lnTo>
                    <a:pt x="702" y="641"/>
                  </a:lnTo>
                  <a:lnTo>
                    <a:pt x="704" y="639"/>
                  </a:lnTo>
                  <a:lnTo>
                    <a:pt x="704" y="639"/>
                  </a:lnTo>
                  <a:lnTo>
                    <a:pt x="705" y="638"/>
                  </a:lnTo>
                  <a:lnTo>
                    <a:pt x="705" y="636"/>
                  </a:lnTo>
                  <a:lnTo>
                    <a:pt x="705" y="636"/>
                  </a:lnTo>
                  <a:lnTo>
                    <a:pt x="707" y="636"/>
                  </a:lnTo>
                  <a:lnTo>
                    <a:pt x="704" y="642"/>
                  </a:lnTo>
                  <a:lnTo>
                    <a:pt x="702" y="642"/>
                  </a:lnTo>
                  <a:lnTo>
                    <a:pt x="702" y="644"/>
                  </a:lnTo>
                  <a:lnTo>
                    <a:pt x="700" y="647"/>
                  </a:lnTo>
                  <a:lnTo>
                    <a:pt x="697" y="653"/>
                  </a:lnTo>
                  <a:lnTo>
                    <a:pt x="696" y="655"/>
                  </a:lnTo>
                  <a:lnTo>
                    <a:pt x="697" y="656"/>
                  </a:lnTo>
                  <a:lnTo>
                    <a:pt x="697" y="656"/>
                  </a:lnTo>
                  <a:lnTo>
                    <a:pt x="697" y="658"/>
                  </a:lnTo>
                  <a:lnTo>
                    <a:pt x="699" y="656"/>
                  </a:lnTo>
                  <a:lnTo>
                    <a:pt x="700" y="658"/>
                  </a:lnTo>
                  <a:lnTo>
                    <a:pt x="702" y="658"/>
                  </a:lnTo>
                  <a:lnTo>
                    <a:pt x="702" y="658"/>
                  </a:lnTo>
                  <a:lnTo>
                    <a:pt x="704" y="658"/>
                  </a:lnTo>
                  <a:lnTo>
                    <a:pt x="705" y="656"/>
                  </a:lnTo>
                  <a:lnTo>
                    <a:pt x="705" y="655"/>
                  </a:lnTo>
                  <a:lnTo>
                    <a:pt x="707" y="655"/>
                  </a:lnTo>
                  <a:lnTo>
                    <a:pt x="711" y="655"/>
                  </a:lnTo>
                  <a:lnTo>
                    <a:pt x="717" y="658"/>
                  </a:lnTo>
                  <a:lnTo>
                    <a:pt x="720" y="658"/>
                  </a:lnTo>
                  <a:lnTo>
                    <a:pt x="725" y="656"/>
                  </a:lnTo>
                  <a:lnTo>
                    <a:pt x="725" y="656"/>
                  </a:lnTo>
                  <a:lnTo>
                    <a:pt x="727" y="655"/>
                  </a:lnTo>
                  <a:lnTo>
                    <a:pt x="728" y="655"/>
                  </a:lnTo>
                  <a:lnTo>
                    <a:pt x="728" y="653"/>
                  </a:lnTo>
                  <a:lnTo>
                    <a:pt x="728" y="653"/>
                  </a:lnTo>
                  <a:lnTo>
                    <a:pt x="728" y="652"/>
                  </a:lnTo>
                  <a:lnTo>
                    <a:pt x="728" y="650"/>
                  </a:lnTo>
                  <a:lnTo>
                    <a:pt x="728" y="645"/>
                  </a:lnTo>
                  <a:lnTo>
                    <a:pt x="728" y="644"/>
                  </a:lnTo>
                  <a:lnTo>
                    <a:pt x="725" y="641"/>
                  </a:lnTo>
                  <a:lnTo>
                    <a:pt x="725" y="638"/>
                  </a:lnTo>
                  <a:lnTo>
                    <a:pt x="725" y="635"/>
                  </a:lnTo>
                  <a:lnTo>
                    <a:pt x="728" y="633"/>
                  </a:lnTo>
                  <a:lnTo>
                    <a:pt x="730" y="633"/>
                  </a:lnTo>
                  <a:lnTo>
                    <a:pt x="731" y="632"/>
                  </a:lnTo>
                  <a:lnTo>
                    <a:pt x="733" y="628"/>
                  </a:lnTo>
                  <a:lnTo>
                    <a:pt x="733" y="625"/>
                  </a:lnTo>
                  <a:lnTo>
                    <a:pt x="733" y="624"/>
                  </a:lnTo>
                  <a:lnTo>
                    <a:pt x="731" y="624"/>
                  </a:lnTo>
                  <a:lnTo>
                    <a:pt x="730" y="625"/>
                  </a:lnTo>
                  <a:lnTo>
                    <a:pt x="728" y="625"/>
                  </a:lnTo>
                  <a:lnTo>
                    <a:pt x="728" y="622"/>
                  </a:lnTo>
                  <a:lnTo>
                    <a:pt x="728" y="621"/>
                  </a:lnTo>
                  <a:lnTo>
                    <a:pt x="728" y="619"/>
                  </a:lnTo>
                  <a:lnTo>
                    <a:pt x="731" y="616"/>
                  </a:lnTo>
                  <a:lnTo>
                    <a:pt x="728" y="616"/>
                  </a:lnTo>
                  <a:lnTo>
                    <a:pt x="725" y="616"/>
                  </a:lnTo>
                  <a:lnTo>
                    <a:pt x="724" y="616"/>
                  </a:lnTo>
                  <a:lnTo>
                    <a:pt x="724" y="611"/>
                  </a:lnTo>
                  <a:lnTo>
                    <a:pt x="724" y="610"/>
                  </a:lnTo>
                  <a:lnTo>
                    <a:pt x="725" y="608"/>
                  </a:lnTo>
                  <a:lnTo>
                    <a:pt x="725" y="607"/>
                  </a:lnTo>
                  <a:lnTo>
                    <a:pt x="725" y="605"/>
                  </a:lnTo>
                  <a:lnTo>
                    <a:pt x="724" y="605"/>
                  </a:lnTo>
                  <a:lnTo>
                    <a:pt x="724" y="605"/>
                  </a:lnTo>
                  <a:lnTo>
                    <a:pt x="724" y="604"/>
                  </a:lnTo>
                  <a:lnTo>
                    <a:pt x="722" y="604"/>
                  </a:lnTo>
                  <a:lnTo>
                    <a:pt x="720" y="604"/>
                  </a:lnTo>
                  <a:lnTo>
                    <a:pt x="722" y="598"/>
                  </a:lnTo>
                  <a:lnTo>
                    <a:pt x="720" y="596"/>
                  </a:lnTo>
                  <a:lnTo>
                    <a:pt x="717" y="595"/>
                  </a:lnTo>
                  <a:lnTo>
                    <a:pt x="716" y="595"/>
                  </a:lnTo>
                  <a:lnTo>
                    <a:pt x="714" y="593"/>
                  </a:lnTo>
                  <a:lnTo>
                    <a:pt x="714" y="591"/>
                  </a:lnTo>
                  <a:lnTo>
                    <a:pt x="714" y="591"/>
                  </a:lnTo>
                  <a:lnTo>
                    <a:pt x="716" y="588"/>
                  </a:lnTo>
                  <a:lnTo>
                    <a:pt x="716" y="588"/>
                  </a:lnTo>
                  <a:lnTo>
                    <a:pt x="716" y="588"/>
                  </a:lnTo>
                  <a:lnTo>
                    <a:pt x="716" y="590"/>
                  </a:lnTo>
                  <a:lnTo>
                    <a:pt x="716" y="591"/>
                  </a:lnTo>
                  <a:lnTo>
                    <a:pt x="717" y="593"/>
                  </a:lnTo>
                  <a:lnTo>
                    <a:pt x="722" y="595"/>
                  </a:lnTo>
                  <a:lnTo>
                    <a:pt x="722" y="596"/>
                  </a:lnTo>
                  <a:lnTo>
                    <a:pt x="722" y="598"/>
                  </a:lnTo>
                  <a:lnTo>
                    <a:pt x="722" y="598"/>
                  </a:lnTo>
                  <a:lnTo>
                    <a:pt x="724" y="601"/>
                  </a:lnTo>
                  <a:lnTo>
                    <a:pt x="724" y="602"/>
                  </a:lnTo>
                  <a:lnTo>
                    <a:pt x="724" y="602"/>
                  </a:lnTo>
                  <a:lnTo>
                    <a:pt x="725" y="602"/>
                  </a:lnTo>
                  <a:lnTo>
                    <a:pt x="727" y="604"/>
                  </a:lnTo>
                  <a:lnTo>
                    <a:pt x="727" y="607"/>
                  </a:lnTo>
                  <a:lnTo>
                    <a:pt x="727" y="608"/>
                  </a:lnTo>
                  <a:lnTo>
                    <a:pt x="725" y="613"/>
                  </a:lnTo>
                  <a:lnTo>
                    <a:pt x="727" y="615"/>
                  </a:lnTo>
                  <a:lnTo>
                    <a:pt x="728" y="615"/>
                  </a:lnTo>
                  <a:lnTo>
                    <a:pt x="731" y="615"/>
                  </a:lnTo>
                  <a:lnTo>
                    <a:pt x="733" y="615"/>
                  </a:lnTo>
                  <a:lnTo>
                    <a:pt x="733" y="616"/>
                  </a:lnTo>
                  <a:lnTo>
                    <a:pt x="733" y="616"/>
                  </a:lnTo>
                  <a:lnTo>
                    <a:pt x="730" y="621"/>
                  </a:lnTo>
                  <a:lnTo>
                    <a:pt x="730" y="622"/>
                  </a:lnTo>
                  <a:lnTo>
                    <a:pt x="731" y="622"/>
                  </a:lnTo>
                  <a:lnTo>
                    <a:pt x="734" y="624"/>
                  </a:lnTo>
                  <a:lnTo>
                    <a:pt x="736" y="624"/>
                  </a:lnTo>
                  <a:lnTo>
                    <a:pt x="736" y="625"/>
                  </a:lnTo>
                  <a:lnTo>
                    <a:pt x="736" y="628"/>
                  </a:lnTo>
                  <a:lnTo>
                    <a:pt x="734" y="632"/>
                  </a:lnTo>
                  <a:lnTo>
                    <a:pt x="731" y="635"/>
                  </a:lnTo>
                  <a:lnTo>
                    <a:pt x="730" y="638"/>
                  </a:lnTo>
                  <a:lnTo>
                    <a:pt x="731" y="642"/>
                  </a:lnTo>
                  <a:lnTo>
                    <a:pt x="731" y="645"/>
                  </a:lnTo>
                  <a:lnTo>
                    <a:pt x="733" y="647"/>
                  </a:lnTo>
                  <a:lnTo>
                    <a:pt x="733" y="648"/>
                  </a:lnTo>
                  <a:lnTo>
                    <a:pt x="733" y="650"/>
                  </a:lnTo>
                  <a:lnTo>
                    <a:pt x="733" y="652"/>
                  </a:lnTo>
                  <a:lnTo>
                    <a:pt x="734" y="653"/>
                  </a:lnTo>
                  <a:lnTo>
                    <a:pt x="736" y="656"/>
                  </a:lnTo>
                  <a:lnTo>
                    <a:pt x="737" y="656"/>
                  </a:lnTo>
                  <a:lnTo>
                    <a:pt x="737" y="658"/>
                  </a:lnTo>
                  <a:lnTo>
                    <a:pt x="742" y="658"/>
                  </a:lnTo>
                  <a:lnTo>
                    <a:pt x="744" y="659"/>
                  </a:lnTo>
                  <a:lnTo>
                    <a:pt x="745" y="664"/>
                  </a:lnTo>
                  <a:lnTo>
                    <a:pt x="745" y="664"/>
                  </a:lnTo>
                  <a:lnTo>
                    <a:pt x="748" y="662"/>
                  </a:lnTo>
                  <a:lnTo>
                    <a:pt x="748" y="662"/>
                  </a:lnTo>
                  <a:lnTo>
                    <a:pt x="750" y="661"/>
                  </a:lnTo>
                  <a:lnTo>
                    <a:pt x="751" y="661"/>
                  </a:lnTo>
                  <a:lnTo>
                    <a:pt x="751" y="661"/>
                  </a:lnTo>
                  <a:lnTo>
                    <a:pt x="753" y="659"/>
                  </a:lnTo>
                  <a:lnTo>
                    <a:pt x="753" y="659"/>
                  </a:lnTo>
                  <a:lnTo>
                    <a:pt x="754" y="659"/>
                  </a:lnTo>
                  <a:lnTo>
                    <a:pt x="754" y="661"/>
                  </a:lnTo>
                  <a:lnTo>
                    <a:pt x="761" y="664"/>
                  </a:lnTo>
                  <a:lnTo>
                    <a:pt x="765" y="664"/>
                  </a:lnTo>
                  <a:lnTo>
                    <a:pt x="776" y="658"/>
                  </a:lnTo>
                  <a:lnTo>
                    <a:pt x="777" y="658"/>
                  </a:lnTo>
                  <a:lnTo>
                    <a:pt x="779" y="656"/>
                  </a:lnTo>
                  <a:lnTo>
                    <a:pt x="781" y="656"/>
                  </a:lnTo>
                  <a:lnTo>
                    <a:pt x="784" y="655"/>
                  </a:lnTo>
                  <a:lnTo>
                    <a:pt x="782" y="656"/>
                  </a:lnTo>
                  <a:lnTo>
                    <a:pt x="781" y="658"/>
                  </a:lnTo>
                  <a:lnTo>
                    <a:pt x="781" y="658"/>
                  </a:lnTo>
                  <a:lnTo>
                    <a:pt x="779" y="659"/>
                  </a:lnTo>
                  <a:lnTo>
                    <a:pt x="777" y="661"/>
                  </a:lnTo>
                  <a:lnTo>
                    <a:pt x="774" y="661"/>
                  </a:lnTo>
                  <a:lnTo>
                    <a:pt x="773" y="662"/>
                  </a:lnTo>
                  <a:lnTo>
                    <a:pt x="767" y="665"/>
                  </a:lnTo>
                  <a:lnTo>
                    <a:pt x="765" y="668"/>
                  </a:lnTo>
                  <a:lnTo>
                    <a:pt x="767" y="672"/>
                  </a:lnTo>
                  <a:lnTo>
                    <a:pt x="765" y="673"/>
                  </a:lnTo>
                  <a:lnTo>
                    <a:pt x="762" y="675"/>
                  </a:lnTo>
                  <a:lnTo>
                    <a:pt x="759" y="675"/>
                  </a:lnTo>
                  <a:lnTo>
                    <a:pt x="756" y="675"/>
                  </a:lnTo>
                  <a:lnTo>
                    <a:pt x="751" y="672"/>
                  </a:lnTo>
                  <a:lnTo>
                    <a:pt x="744" y="670"/>
                  </a:lnTo>
                  <a:lnTo>
                    <a:pt x="742" y="670"/>
                  </a:lnTo>
                  <a:lnTo>
                    <a:pt x="737" y="670"/>
                  </a:lnTo>
                  <a:lnTo>
                    <a:pt x="731" y="668"/>
                  </a:lnTo>
                  <a:lnTo>
                    <a:pt x="725" y="668"/>
                  </a:lnTo>
                  <a:lnTo>
                    <a:pt x="724" y="668"/>
                  </a:lnTo>
                  <a:lnTo>
                    <a:pt x="724" y="668"/>
                  </a:lnTo>
                  <a:lnTo>
                    <a:pt x="719" y="665"/>
                  </a:lnTo>
                  <a:lnTo>
                    <a:pt x="717" y="665"/>
                  </a:lnTo>
                  <a:lnTo>
                    <a:pt x="704" y="665"/>
                  </a:lnTo>
                  <a:lnTo>
                    <a:pt x="702" y="665"/>
                  </a:lnTo>
                  <a:lnTo>
                    <a:pt x="700" y="664"/>
                  </a:lnTo>
                  <a:lnTo>
                    <a:pt x="699" y="661"/>
                  </a:lnTo>
                  <a:lnTo>
                    <a:pt x="699" y="664"/>
                  </a:lnTo>
                  <a:lnTo>
                    <a:pt x="708" y="673"/>
                  </a:lnTo>
                  <a:lnTo>
                    <a:pt x="710" y="673"/>
                  </a:lnTo>
                  <a:lnTo>
                    <a:pt x="710" y="673"/>
                  </a:lnTo>
                  <a:lnTo>
                    <a:pt x="711" y="678"/>
                  </a:lnTo>
                  <a:lnTo>
                    <a:pt x="711" y="675"/>
                  </a:lnTo>
                  <a:lnTo>
                    <a:pt x="711" y="675"/>
                  </a:lnTo>
                  <a:lnTo>
                    <a:pt x="711" y="673"/>
                  </a:lnTo>
                  <a:lnTo>
                    <a:pt x="713" y="673"/>
                  </a:lnTo>
                  <a:lnTo>
                    <a:pt x="713" y="672"/>
                  </a:lnTo>
                  <a:lnTo>
                    <a:pt x="714" y="670"/>
                  </a:lnTo>
                  <a:lnTo>
                    <a:pt x="716" y="670"/>
                  </a:lnTo>
                  <a:lnTo>
                    <a:pt x="717" y="672"/>
                  </a:lnTo>
                  <a:lnTo>
                    <a:pt x="728" y="676"/>
                  </a:lnTo>
                  <a:lnTo>
                    <a:pt x="731" y="676"/>
                  </a:lnTo>
                  <a:lnTo>
                    <a:pt x="734" y="676"/>
                  </a:lnTo>
                  <a:lnTo>
                    <a:pt x="736" y="676"/>
                  </a:lnTo>
                  <a:lnTo>
                    <a:pt x="739" y="681"/>
                  </a:lnTo>
                  <a:lnTo>
                    <a:pt x="739" y="682"/>
                  </a:lnTo>
                  <a:lnTo>
                    <a:pt x="739" y="682"/>
                  </a:lnTo>
                  <a:lnTo>
                    <a:pt x="737" y="682"/>
                  </a:lnTo>
                  <a:lnTo>
                    <a:pt x="737" y="682"/>
                  </a:lnTo>
                  <a:lnTo>
                    <a:pt x="733" y="687"/>
                  </a:lnTo>
                  <a:lnTo>
                    <a:pt x="733" y="687"/>
                  </a:lnTo>
                  <a:lnTo>
                    <a:pt x="727" y="688"/>
                  </a:lnTo>
                  <a:lnTo>
                    <a:pt x="724" y="687"/>
                  </a:lnTo>
                  <a:lnTo>
                    <a:pt x="722" y="687"/>
                  </a:lnTo>
                  <a:lnTo>
                    <a:pt x="720" y="688"/>
                  </a:lnTo>
                  <a:lnTo>
                    <a:pt x="719" y="688"/>
                  </a:lnTo>
                  <a:lnTo>
                    <a:pt x="717" y="690"/>
                  </a:lnTo>
                  <a:lnTo>
                    <a:pt x="717" y="692"/>
                  </a:lnTo>
                  <a:lnTo>
                    <a:pt x="719" y="693"/>
                  </a:lnTo>
                  <a:lnTo>
                    <a:pt x="720" y="695"/>
                  </a:lnTo>
                  <a:lnTo>
                    <a:pt x="722" y="695"/>
                  </a:lnTo>
                  <a:lnTo>
                    <a:pt x="727" y="695"/>
                  </a:lnTo>
                  <a:lnTo>
                    <a:pt x="727" y="695"/>
                  </a:lnTo>
                  <a:lnTo>
                    <a:pt x="727" y="693"/>
                  </a:lnTo>
                  <a:lnTo>
                    <a:pt x="727" y="692"/>
                  </a:lnTo>
                  <a:lnTo>
                    <a:pt x="727" y="690"/>
                  </a:lnTo>
                  <a:lnTo>
                    <a:pt x="733" y="695"/>
                  </a:lnTo>
                  <a:lnTo>
                    <a:pt x="736" y="696"/>
                  </a:lnTo>
                  <a:lnTo>
                    <a:pt x="739" y="696"/>
                  </a:lnTo>
                  <a:lnTo>
                    <a:pt x="741" y="698"/>
                  </a:lnTo>
                  <a:lnTo>
                    <a:pt x="744" y="701"/>
                  </a:lnTo>
                  <a:lnTo>
                    <a:pt x="745" y="702"/>
                  </a:lnTo>
                  <a:lnTo>
                    <a:pt x="745" y="702"/>
                  </a:lnTo>
                  <a:lnTo>
                    <a:pt x="748" y="704"/>
                  </a:lnTo>
                  <a:lnTo>
                    <a:pt x="751" y="704"/>
                  </a:lnTo>
                  <a:lnTo>
                    <a:pt x="753" y="704"/>
                  </a:lnTo>
                  <a:lnTo>
                    <a:pt x="754" y="702"/>
                  </a:lnTo>
                  <a:lnTo>
                    <a:pt x="754" y="704"/>
                  </a:lnTo>
                  <a:lnTo>
                    <a:pt x="754" y="704"/>
                  </a:lnTo>
                  <a:lnTo>
                    <a:pt x="753" y="705"/>
                  </a:lnTo>
                  <a:lnTo>
                    <a:pt x="753" y="705"/>
                  </a:lnTo>
                  <a:lnTo>
                    <a:pt x="754" y="707"/>
                  </a:lnTo>
                  <a:lnTo>
                    <a:pt x="754" y="709"/>
                  </a:lnTo>
                  <a:lnTo>
                    <a:pt x="754" y="709"/>
                  </a:lnTo>
                  <a:lnTo>
                    <a:pt x="754" y="710"/>
                  </a:lnTo>
                  <a:lnTo>
                    <a:pt x="754" y="710"/>
                  </a:lnTo>
                  <a:lnTo>
                    <a:pt x="754" y="712"/>
                  </a:lnTo>
                  <a:lnTo>
                    <a:pt x="756" y="710"/>
                  </a:lnTo>
                  <a:lnTo>
                    <a:pt x="757" y="712"/>
                  </a:lnTo>
                  <a:lnTo>
                    <a:pt x="773" y="716"/>
                  </a:lnTo>
                  <a:lnTo>
                    <a:pt x="776" y="716"/>
                  </a:lnTo>
                  <a:lnTo>
                    <a:pt x="776" y="715"/>
                  </a:lnTo>
                  <a:lnTo>
                    <a:pt x="777" y="715"/>
                  </a:lnTo>
                  <a:lnTo>
                    <a:pt x="777" y="713"/>
                  </a:lnTo>
                  <a:lnTo>
                    <a:pt x="779" y="713"/>
                  </a:lnTo>
                  <a:lnTo>
                    <a:pt x="788" y="712"/>
                  </a:lnTo>
                  <a:lnTo>
                    <a:pt x="791" y="710"/>
                  </a:lnTo>
                  <a:lnTo>
                    <a:pt x="791" y="710"/>
                  </a:lnTo>
                  <a:lnTo>
                    <a:pt x="794" y="710"/>
                  </a:lnTo>
                  <a:lnTo>
                    <a:pt x="798" y="712"/>
                  </a:lnTo>
                  <a:lnTo>
                    <a:pt x="799" y="712"/>
                  </a:lnTo>
                  <a:lnTo>
                    <a:pt x="801" y="712"/>
                  </a:lnTo>
                  <a:lnTo>
                    <a:pt x="801" y="712"/>
                  </a:lnTo>
                  <a:lnTo>
                    <a:pt x="802" y="712"/>
                  </a:lnTo>
                  <a:lnTo>
                    <a:pt x="802" y="712"/>
                  </a:lnTo>
                  <a:lnTo>
                    <a:pt x="804" y="712"/>
                  </a:lnTo>
                  <a:lnTo>
                    <a:pt x="811" y="710"/>
                  </a:lnTo>
                  <a:lnTo>
                    <a:pt x="811" y="710"/>
                  </a:lnTo>
                  <a:lnTo>
                    <a:pt x="811" y="707"/>
                  </a:lnTo>
                  <a:lnTo>
                    <a:pt x="816" y="709"/>
                  </a:lnTo>
                  <a:lnTo>
                    <a:pt x="818" y="710"/>
                  </a:lnTo>
                  <a:lnTo>
                    <a:pt x="818" y="710"/>
                  </a:lnTo>
                  <a:lnTo>
                    <a:pt x="819" y="710"/>
                  </a:lnTo>
                  <a:lnTo>
                    <a:pt x="819" y="710"/>
                  </a:lnTo>
                  <a:lnTo>
                    <a:pt x="821" y="709"/>
                  </a:lnTo>
                  <a:lnTo>
                    <a:pt x="822" y="709"/>
                  </a:lnTo>
                  <a:lnTo>
                    <a:pt x="824" y="705"/>
                  </a:lnTo>
                  <a:lnTo>
                    <a:pt x="825" y="702"/>
                  </a:lnTo>
                  <a:lnTo>
                    <a:pt x="827" y="701"/>
                  </a:lnTo>
                  <a:lnTo>
                    <a:pt x="827" y="709"/>
                  </a:lnTo>
                  <a:lnTo>
                    <a:pt x="825" y="709"/>
                  </a:lnTo>
                  <a:lnTo>
                    <a:pt x="825" y="710"/>
                  </a:lnTo>
                  <a:lnTo>
                    <a:pt x="831" y="710"/>
                  </a:lnTo>
                  <a:lnTo>
                    <a:pt x="833" y="710"/>
                  </a:lnTo>
                  <a:lnTo>
                    <a:pt x="833" y="712"/>
                  </a:lnTo>
                  <a:lnTo>
                    <a:pt x="833" y="713"/>
                  </a:lnTo>
                  <a:lnTo>
                    <a:pt x="831" y="715"/>
                  </a:lnTo>
                  <a:lnTo>
                    <a:pt x="831" y="715"/>
                  </a:lnTo>
                  <a:lnTo>
                    <a:pt x="831" y="715"/>
                  </a:lnTo>
                  <a:lnTo>
                    <a:pt x="833" y="715"/>
                  </a:lnTo>
                  <a:lnTo>
                    <a:pt x="833" y="715"/>
                  </a:lnTo>
                  <a:lnTo>
                    <a:pt x="834" y="713"/>
                  </a:lnTo>
                  <a:lnTo>
                    <a:pt x="836" y="713"/>
                  </a:lnTo>
                  <a:lnTo>
                    <a:pt x="838" y="715"/>
                  </a:lnTo>
                  <a:lnTo>
                    <a:pt x="841" y="718"/>
                  </a:lnTo>
                  <a:lnTo>
                    <a:pt x="841" y="719"/>
                  </a:lnTo>
                  <a:lnTo>
                    <a:pt x="845" y="719"/>
                  </a:lnTo>
                  <a:lnTo>
                    <a:pt x="847" y="719"/>
                  </a:lnTo>
                  <a:lnTo>
                    <a:pt x="848" y="719"/>
                  </a:lnTo>
                  <a:lnTo>
                    <a:pt x="847" y="718"/>
                  </a:lnTo>
                  <a:lnTo>
                    <a:pt x="847" y="716"/>
                  </a:lnTo>
                  <a:lnTo>
                    <a:pt x="848" y="715"/>
                  </a:lnTo>
                  <a:lnTo>
                    <a:pt x="851" y="715"/>
                  </a:lnTo>
                  <a:lnTo>
                    <a:pt x="851" y="715"/>
                  </a:lnTo>
                  <a:lnTo>
                    <a:pt x="848" y="713"/>
                  </a:lnTo>
                  <a:lnTo>
                    <a:pt x="848" y="712"/>
                  </a:lnTo>
                  <a:lnTo>
                    <a:pt x="850" y="710"/>
                  </a:lnTo>
                  <a:lnTo>
                    <a:pt x="851" y="709"/>
                  </a:lnTo>
                  <a:lnTo>
                    <a:pt x="854" y="709"/>
                  </a:lnTo>
                  <a:lnTo>
                    <a:pt x="854" y="709"/>
                  </a:lnTo>
                  <a:lnTo>
                    <a:pt x="858" y="713"/>
                  </a:lnTo>
                  <a:lnTo>
                    <a:pt x="858" y="715"/>
                  </a:lnTo>
                  <a:lnTo>
                    <a:pt x="858" y="716"/>
                  </a:lnTo>
                  <a:lnTo>
                    <a:pt x="856" y="718"/>
                  </a:lnTo>
                  <a:lnTo>
                    <a:pt x="856" y="718"/>
                  </a:lnTo>
                  <a:lnTo>
                    <a:pt x="858" y="722"/>
                  </a:lnTo>
                  <a:lnTo>
                    <a:pt x="858" y="722"/>
                  </a:lnTo>
                  <a:lnTo>
                    <a:pt x="858" y="724"/>
                  </a:lnTo>
                  <a:lnTo>
                    <a:pt x="856" y="725"/>
                  </a:lnTo>
                  <a:lnTo>
                    <a:pt x="856" y="725"/>
                  </a:lnTo>
                  <a:lnTo>
                    <a:pt x="858" y="725"/>
                  </a:lnTo>
                  <a:lnTo>
                    <a:pt x="858" y="727"/>
                  </a:lnTo>
                  <a:lnTo>
                    <a:pt x="858" y="729"/>
                  </a:lnTo>
                  <a:lnTo>
                    <a:pt x="856" y="730"/>
                  </a:lnTo>
                  <a:lnTo>
                    <a:pt x="856" y="730"/>
                  </a:lnTo>
                  <a:lnTo>
                    <a:pt x="858" y="730"/>
                  </a:lnTo>
                  <a:lnTo>
                    <a:pt x="858" y="730"/>
                  </a:lnTo>
                  <a:lnTo>
                    <a:pt x="859" y="729"/>
                  </a:lnTo>
                  <a:lnTo>
                    <a:pt x="861" y="729"/>
                  </a:lnTo>
                  <a:lnTo>
                    <a:pt x="865" y="730"/>
                  </a:lnTo>
                  <a:lnTo>
                    <a:pt x="865" y="730"/>
                  </a:lnTo>
                  <a:lnTo>
                    <a:pt x="867" y="732"/>
                  </a:lnTo>
                  <a:lnTo>
                    <a:pt x="865" y="733"/>
                  </a:lnTo>
                  <a:lnTo>
                    <a:pt x="864" y="733"/>
                  </a:lnTo>
                  <a:lnTo>
                    <a:pt x="862" y="735"/>
                  </a:lnTo>
                  <a:lnTo>
                    <a:pt x="861" y="733"/>
                  </a:lnTo>
                  <a:lnTo>
                    <a:pt x="861" y="736"/>
                  </a:lnTo>
                  <a:lnTo>
                    <a:pt x="861" y="738"/>
                  </a:lnTo>
                  <a:lnTo>
                    <a:pt x="861" y="739"/>
                  </a:lnTo>
                  <a:lnTo>
                    <a:pt x="859" y="739"/>
                  </a:lnTo>
                  <a:lnTo>
                    <a:pt x="859" y="739"/>
                  </a:lnTo>
                  <a:lnTo>
                    <a:pt x="858" y="739"/>
                  </a:lnTo>
                  <a:lnTo>
                    <a:pt x="858" y="738"/>
                  </a:lnTo>
                  <a:lnTo>
                    <a:pt x="858" y="738"/>
                  </a:lnTo>
                  <a:lnTo>
                    <a:pt x="856" y="738"/>
                  </a:lnTo>
                  <a:lnTo>
                    <a:pt x="856" y="738"/>
                  </a:lnTo>
                  <a:lnTo>
                    <a:pt x="854" y="738"/>
                  </a:lnTo>
                  <a:lnTo>
                    <a:pt x="854" y="738"/>
                  </a:lnTo>
                  <a:lnTo>
                    <a:pt x="853" y="738"/>
                  </a:lnTo>
                  <a:lnTo>
                    <a:pt x="851" y="741"/>
                  </a:lnTo>
                  <a:lnTo>
                    <a:pt x="848" y="741"/>
                  </a:lnTo>
                  <a:lnTo>
                    <a:pt x="848" y="741"/>
                  </a:lnTo>
                  <a:lnTo>
                    <a:pt x="847" y="741"/>
                  </a:lnTo>
                  <a:lnTo>
                    <a:pt x="845" y="741"/>
                  </a:lnTo>
                  <a:lnTo>
                    <a:pt x="845" y="739"/>
                  </a:lnTo>
                  <a:lnTo>
                    <a:pt x="844" y="741"/>
                  </a:lnTo>
                  <a:lnTo>
                    <a:pt x="841" y="742"/>
                  </a:lnTo>
                  <a:lnTo>
                    <a:pt x="841" y="742"/>
                  </a:lnTo>
                  <a:lnTo>
                    <a:pt x="838" y="745"/>
                  </a:lnTo>
                  <a:lnTo>
                    <a:pt x="838" y="745"/>
                  </a:lnTo>
                  <a:lnTo>
                    <a:pt x="834" y="747"/>
                  </a:lnTo>
                  <a:lnTo>
                    <a:pt x="830" y="750"/>
                  </a:lnTo>
                  <a:lnTo>
                    <a:pt x="827" y="752"/>
                  </a:lnTo>
                  <a:lnTo>
                    <a:pt x="824" y="750"/>
                  </a:lnTo>
                  <a:lnTo>
                    <a:pt x="822" y="749"/>
                  </a:lnTo>
                  <a:lnTo>
                    <a:pt x="822" y="747"/>
                  </a:lnTo>
                  <a:lnTo>
                    <a:pt x="822" y="749"/>
                  </a:lnTo>
                  <a:lnTo>
                    <a:pt x="821" y="749"/>
                  </a:lnTo>
                  <a:lnTo>
                    <a:pt x="822" y="750"/>
                  </a:lnTo>
                  <a:lnTo>
                    <a:pt x="822" y="750"/>
                  </a:lnTo>
                  <a:lnTo>
                    <a:pt x="822" y="750"/>
                  </a:lnTo>
                  <a:lnTo>
                    <a:pt x="822" y="752"/>
                  </a:lnTo>
                  <a:lnTo>
                    <a:pt x="822" y="753"/>
                  </a:lnTo>
                  <a:lnTo>
                    <a:pt x="805" y="761"/>
                  </a:lnTo>
                  <a:lnTo>
                    <a:pt x="799" y="764"/>
                  </a:lnTo>
                  <a:lnTo>
                    <a:pt x="798" y="765"/>
                  </a:lnTo>
                  <a:lnTo>
                    <a:pt x="798" y="767"/>
                  </a:lnTo>
                  <a:lnTo>
                    <a:pt x="796" y="767"/>
                  </a:lnTo>
                  <a:lnTo>
                    <a:pt x="796" y="769"/>
                  </a:lnTo>
                  <a:lnTo>
                    <a:pt x="796" y="769"/>
                  </a:lnTo>
                  <a:lnTo>
                    <a:pt x="798" y="770"/>
                  </a:lnTo>
                  <a:lnTo>
                    <a:pt x="796" y="772"/>
                  </a:lnTo>
                  <a:lnTo>
                    <a:pt x="796" y="772"/>
                  </a:lnTo>
                  <a:lnTo>
                    <a:pt x="794" y="772"/>
                  </a:lnTo>
                  <a:lnTo>
                    <a:pt x="793" y="770"/>
                  </a:lnTo>
                  <a:lnTo>
                    <a:pt x="793" y="770"/>
                  </a:lnTo>
                  <a:lnTo>
                    <a:pt x="791" y="770"/>
                  </a:lnTo>
                  <a:lnTo>
                    <a:pt x="791" y="772"/>
                  </a:lnTo>
                  <a:lnTo>
                    <a:pt x="790" y="772"/>
                  </a:lnTo>
                  <a:lnTo>
                    <a:pt x="790" y="773"/>
                  </a:lnTo>
                  <a:lnTo>
                    <a:pt x="788" y="773"/>
                  </a:lnTo>
                  <a:lnTo>
                    <a:pt x="787" y="775"/>
                  </a:lnTo>
                  <a:lnTo>
                    <a:pt x="787" y="775"/>
                  </a:lnTo>
                  <a:lnTo>
                    <a:pt x="784" y="775"/>
                  </a:lnTo>
                  <a:lnTo>
                    <a:pt x="784" y="775"/>
                  </a:lnTo>
                  <a:lnTo>
                    <a:pt x="774" y="782"/>
                  </a:lnTo>
                  <a:lnTo>
                    <a:pt x="771" y="784"/>
                  </a:lnTo>
                  <a:lnTo>
                    <a:pt x="771" y="787"/>
                  </a:lnTo>
                  <a:lnTo>
                    <a:pt x="771" y="789"/>
                  </a:lnTo>
                  <a:lnTo>
                    <a:pt x="773" y="795"/>
                  </a:lnTo>
                  <a:lnTo>
                    <a:pt x="774" y="795"/>
                  </a:lnTo>
                  <a:lnTo>
                    <a:pt x="777" y="796"/>
                  </a:lnTo>
                  <a:lnTo>
                    <a:pt x="779" y="796"/>
                  </a:lnTo>
                  <a:lnTo>
                    <a:pt x="784" y="796"/>
                  </a:lnTo>
                  <a:lnTo>
                    <a:pt x="785" y="796"/>
                  </a:lnTo>
                  <a:lnTo>
                    <a:pt x="788" y="793"/>
                  </a:lnTo>
                  <a:lnTo>
                    <a:pt x="790" y="792"/>
                  </a:lnTo>
                  <a:lnTo>
                    <a:pt x="791" y="792"/>
                  </a:lnTo>
                  <a:lnTo>
                    <a:pt x="802" y="793"/>
                  </a:lnTo>
                  <a:lnTo>
                    <a:pt x="805" y="795"/>
                  </a:lnTo>
                  <a:lnTo>
                    <a:pt x="808" y="796"/>
                  </a:lnTo>
                  <a:lnTo>
                    <a:pt x="813" y="801"/>
                  </a:lnTo>
                  <a:lnTo>
                    <a:pt x="813" y="801"/>
                  </a:lnTo>
                  <a:lnTo>
                    <a:pt x="814" y="801"/>
                  </a:lnTo>
                  <a:lnTo>
                    <a:pt x="816" y="802"/>
                  </a:lnTo>
                  <a:lnTo>
                    <a:pt x="816" y="804"/>
                  </a:lnTo>
                  <a:lnTo>
                    <a:pt x="818" y="804"/>
                  </a:lnTo>
                  <a:lnTo>
                    <a:pt x="819" y="806"/>
                  </a:lnTo>
                  <a:lnTo>
                    <a:pt x="821" y="809"/>
                  </a:lnTo>
                  <a:lnTo>
                    <a:pt x="822" y="810"/>
                  </a:lnTo>
                  <a:lnTo>
                    <a:pt x="825" y="810"/>
                  </a:lnTo>
                  <a:lnTo>
                    <a:pt x="827" y="812"/>
                  </a:lnTo>
                  <a:lnTo>
                    <a:pt x="828" y="813"/>
                  </a:lnTo>
                  <a:lnTo>
                    <a:pt x="828" y="813"/>
                  </a:lnTo>
                  <a:lnTo>
                    <a:pt x="830" y="813"/>
                  </a:lnTo>
                  <a:lnTo>
                    <a:pt x="833" y="812"/>
                  </a:lnTo>
                  <a:lnTo>
                    <a:pt x="836" y="810"/>
                  </a:lnTo>
                  <a:lnTo>
                    <a:pt x="839" y="810"/>
                  </a:lnTo>
                  <a:lnTo>
                    <a:pt x="841" y="810"/>
                  </a:lnTo>
                  <a:lnTo>
                    <a:pt x="844" y="815"/>
                  </a:lnTo>
                  <a:lnTo>
                    <a:pt x="850" y="818"/>
                  </a:lnTo>
                  <a:lnTo>
                    <a:pt x="851" y="821"/>
                  </a:lnTo>
                  <a:lnTo>
                    <a:pt x="853" y="824"/>
                  </a:lnTo>
                  <a:lnTo>
                    <a:pt x="853" y="827"/>
                  </a:lnTo>
                  <a:lnTo>
                    <a:pt x="853" y="829"/>
                  </a:lnTo>
                  <a:lnTo>
                    <a:pt x="854" y="832"/>
                  </a:lnTo>
                  <a:lnTo>
                    <a:pt x="854" y="832"/>
                  </a:lnTo>
                  <a:lnTo>
                    <a:pt x="854" y="833"/>
                  </a:lnTo>
                  <a:lnTo>
                    <a:pt x="856" y="838"/>
                  </a:lnTo>
                  <a:lnTo>
                    <a:pt x="856" y="839"/>
                  </a:lnTo>
                  <a:lnTo>
                    <a:pt x="856" y="842"/>
                  </a:lnTo>
                  <a:lnTo>
                    <a:pt x="854" y="844"/>
                  </a:lnTo>
                  <a:lnTo>
                    <a:pt x="854" y="846"/>
                  </a:lnTo>
                  <a:lnTo>
                    <a:pt x="851" y="846"/>
                  </a:lnTo>
                  <a:lnTo>
                    <a:pt x="850" y="847"/>
                  </a:lnTo>
                  <a:lnTo>
                    <a:pt x="850" y="849"/>
                  </a:lnTo>
                  <a:lnTo>
                    <a:pt x="848" y="852"/>
                  </a:lnTo>
                  <a:lnTo>
                    <a:pt x="848" y="852"/>
                  </a:lnTo>
                  <a:lnTo>
                    <a:pt x="848" y="852"/>
                  </a:lnTo>
                  <a:lnTo>
                    <a:pt x="848" y="853"/>
                  </a:lnTo>
                  <a:lnTo>
                    <a:pt x="848" y="855"/>
                  </a:lnTo>
                  <a:lnTo>
                    <a:pt x="848" y="856"/>
                  </a:lnTo>
                  <a:lnTo>
                    <a:pt x="850" y="858"/>
                  </a:lnTo>
                  <a:lnTo>
                    <a:pt x="850" y="861"/>
                  </a:lnTo>
                  <a:lnTo>
                    <a:pt x="850" y="862"/>
                  </a:lnTo>
                  <a:lnTo>
                    <a:pt x="850" y="864"/>
                  </a:lnTo>
                  <a:lnTo>
                    <a:pt x="850" y="864"/>
                  </a:lnTo>
                  <a:lnTo>
                    <a:pt x="848" y="866"/>
                  </a:lnTo>
                  <a:lnTo>
                    <a:pt x="848" y="867"/>
                  </a:lnTo>
                  <a:lnTo>
                    <a:pt x="848" y="869"/>
                  </a:lnTo>
                  <a:lnTo>
                    <a:pt x="848" y="869"/>
                  </a:lnTo>
                  <a:lnTo>
                    <a:pt x="851" y="870"/>
                  </a:lnTo>
                  <a:lnTo>
                    <a:pt x="851" y="870"/>
                  </a:lnTo>
                  <a:lnTo>
                    <a:pt x="850" y="870"/>
                  </a:lnTo>
                  <a:lnTo>
                    <a:pt x="847" y="870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4" y="872"/>
                  </a:lnTo>
                  <a:lnTo>
                    <a:pt x="842" y="872"/>
                  </a:lnTo>
                  <a:lnTo>
                    <a:pt x="842" y="872"/>
                  </a:lnTo>
                  <a:lnTo>
                    <a:pt x="841" y="873"/>
                  </a:lnTo>
                  <a:lnTo>
                    <a:pt x="839" y="873"/>
                  </a:lnTo>
                  <a:lnTo>
                    <a:pt x="838" y="873"/>
                  </a:lnTo>
                  <a:lnTo>
                    <a:pt x="838" y="873"/>
                  </a:lnTo>
                  <a:lnTo>
                    <a:pt x="838" y="873"/>
                  </a:lnTo>
                  <a:lnTo>
                    <a:pt x="838" y="875"/>
                  </a:lnTo>
                  <a:lnTo>
                    <a:pt x="838" y="876"/>
                  </a:lnTo>
                  <a:lnTo>
                    <a:pt x="845" y="881"/>
                  </a:lnTo>
                  <a:lnTo>
                    <a:pt x="847" y="883"/>
                  </a:lnTo>
                  <a:lnTo>
                    <a:pt x="848" y="884"/>
                  </a:lnTo>
                  <a:lnTo>
                    <a:pt x="850" y="884"/>
                  </a:lnTo>
                  <a:lnTo>
                    <a:pt x="851" y="883"/>
                  </a:lnTo>
                  <a:lnTo>
                    <a:pt x="853" y="883"/>
                  </a:lnTo>
                  <a:lnTo>
                    <a:pt x="853" y="884"/>
                  </a:lnTo>
                  <a:lnTo>
                    <a:pt x="856" y="887"/>
                  </a:lnTo>
                  <a:lnTo>
                    <a:pt x="856" y="887"/>
                  </a:lnTo>
                  <a:lnTo>
                    <a:pt x="856" y="889"/>
                  </a:lnTo>
                  <a:lnTo>
                    <a:pt x="858" y="890"/>
                  </a:lnTo>
                  <a:lnTo>
                    <a:pt x="864" y="893"/>
                  </a:lnTo>
                  <a:lnTo>
                    <a:pt x="865" y="893"/>
                  </a:lnTo>
                  <a:lnTo>
                    <a:pt x="870" y="893"/>
                  </a:lnTo>
                  <a:lnTo>
                    <a:pt x="870" y="893"/>
                  </a:lnTo>
                  <a:lnTo>
                    <a:pt x="871" y="893"/>
                  </a:lnTo>
                  <a:lnTo>
                    <a:pt x="873" y="893"/>
                  </a:lnTo>
                  <a:lnTo>
                    <a:pt x="878" y="895"/>
                  </a:lnTo>
                  <a:lnTo>
                    <a:pt x="879" y="895"/>
                  </a:lnTo>
                  <a:lnTo>
                    <a:pt x="881" y="895"/>
                  </a:lnTo>
                  <a:lnTo>
                    <a:pt x="888" y="890"/>
                  </a:lnTo>
                  <a:lnTo>
                    <a:pt x="890" y="890"/>
                  </a:lnTo>
                  <a:lnTo>
                    <a:pt x="891" y="890"/>
                  </a:lnTo>
                  <a:lnTo>
                    <a:pt x="895" y="889"/>
                  </a:lnTo>
                  <a:lnTo>
                    <a:pt x="895" y="887"/>
                  </a:lnTo>
                  <a:lnTo>
                    <a:pt x="896" y="886"/>
                  </a:lnTo>
                  <a:lnTo>
                    <a:pt x="896" y="884"/>
                  </a:lnTo>
                  <a:lnTo>
                    <a:pt x="898" y="883"/>
                  </a:lnTo>
                  <a:lnTo>
                    <a:pt x="901" y="883"/>
                  </a:lnTo>
                  <a:lnTo>
                    <a:pt x="902" y="881"/>
                  </a:lnTo>
                  <a:lnTo>
                    <a:pt x="904" y="879"/>
                  </a:lnTo>
                  <a:lnTo>
                    <a:pt x="904" y="879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5" y="878"/>
                  </a:lnTo>
                  <a:lnTo>
                    <a:pt x="907" y="878"/>
                  </a:lnTo>
                  <a:lnTo>
                    <a:pt x="908" y="878"/>
                  </a:lnTo>
                  <a:lnTo>
                    <a:pt x="908" y="878"/>
                  </a:lnTo>
                  <a:lnTo>
                    <a:pt x="910" y="876"/>
                  </a:lnTo>
                  <a:lnTo>
                    <a:pt x="911" y="869"/>
                  </a:lnTo>
                  <a:lnTo>
                    <a:pt x="915" y="864"/>
                  </a:lnTo>
                  <a:lnTo>
                    <a:pt x="916" y="864"/>
                  </a:lnTo>
                  <a:lnTo>
                    <a:pt x="916" y="862"/>
                  </a:lnTo>
                  <a:lnTo>
                    <a:pt x="919" y="858"/>
                  </a:lnTo>
                  <a:lnTo>
                    <a:pt x="919" y="858"/>
                  </a:lnTo>
                  <a:lnTo>
                    <a:pt x="919" y="858"/>
                  </a:lnTo>
                  <a:lnTo>
                    <a:pt x="919" y="859"/>
                  </a:lnTo>
                  <a:lnTo>
                    <a:pt x="919" y="859"/>
                  </a:lnTo>
                  <a:lnTo>
                    <a:pt x="921" y="858"/>
                  </a:lnTo>
                  <a:lnTo>
                    <a:pt x="924" y="856"/>
                  </a:lnTo>
                  <a:lnTo>
                    <a:pt x="930" y="855"/>
                  </a:lnTo>
                  <a:lnTo>
                    <a:pt x="933" y="853"/>
                  </a:lnTo>
                  <a:lnTo>
                    <a:pt x="938" y="850"/>
                  </a:lnTo>
                  <a:lnTo>
                    <a:pt x="941" y="849"/>
                  </a:lnTo>
                  <a:lnTo>
                    <a:pt x="945" y="850"/>
                  </a:lnTo>
                  <a:lnTo>
                    <a:pt x="947" y="850"/>
                  </a:lnTo>
                  <a:lnTo>
                    <a:pt x="948" y="849"/>
                  </a:lnTo>
                  <a:lnTo>
                    <a:pt x="950" y="849"/>
                  </a:lnTo>
                  <a:lnTo>
                    <a:pt x="952" y="849"/>
                  </a:lnTo>
                  <a:lnTo>
                    <a:pt x="952" y="849"/>
                  </a:lnTo>
                  <a:lnTo>
                    <a:pt x="953" y="849"/>
                  </a:lnTo>
                  <a:lnTo>
                    <a:pt x="953" y="847"/>
                  </a:lnTo>
                  <a:lnTo>
                    <a:pt x="955" y="847"/>
                  </a:lnTo>
                  <a:lnTo>
                    <a:pt x="955" y="847"/>
                  </a:lnTo>
                  <a:lnTo>
                    <a:pt x="958" y="847"/>
                  </a:lnTo>
                  <a:lnTo>
                    <a:pt x="959" y="847"/>
                  </a:lnTo>
                  <a:lnTo>
                    <a:pt x="959" y="849"/>
                  </a:lnTo>
                  <a:lnTo>
                    <a:pt x="961" y="850"/>
                  </a:lnTo>
                  <a:lnTo>
                    <a:pt x="961" y="852"/>
                  </a:lnTo>
                  <a:lnTo>
                    <a:pt x="964" y="852"/>
                  </a:lnTo>
                  <a:lnTo>
                    <a:pt x="967" y="849"/>
                  </a:lnTo>
                  <a:lnTo>
                    <a:pt x="968" y="844"/>
                  </a:lnTo>
                  <a:lnTo>
                    <a:pt x="970" y="841"/>
                  </a:lnTo>
                  <a:lnTo>
                    <a:pt x="972" y="839"/>
                  </a:lnTo>
                  <a:lnTo>
                    <a:pt x="975" y="839"/>
                  </a:lnTo>
                  <a:lnTo>
                    <a:pt x="976" y="838"/>
                  </a:lnTo>
                  <a:lnTo>
                    <a:pt x="978" y="835"/>
                  </a:lnTo>
                  <a:lnTo>
                    <a:pt x="979" y="833"/>
                  </a:lnTo>
                  <a:lnTo>
                    <a:pt x="981" y="835"/>
                  </a:lnTo>
                  <a:lnTo>
                    <a:pt x="981" y="835"/>
                  </a:lnTo>
                  <a:lnTo>
                    <a:pt x="982" y="833"/>
                  </a:lnTo>
                  <a:lnTo>
                    <a:pt x="982" y="833"/>
                  </a:lnTo>
                  <a:lnTo>
                    <a:pt x="985" y="836"/>
                  </a:lnTo>
                  <a:lnTo>
                    <a:pt x="985" y="833"/>
                  </a:lnTo>
                  <a:lnTo>
                    <a:pt x="985" y="832"/>
                  </a:lnTo>
                  <a:lnTo>
                    <a:pt x="987" y="830"/>
                  </a:lnTo>
                  <a:lnTo>
                    <a:pt x="987" y="830"/>
                  </a:lnTo>
                  <a:lnTo>
                    <a:pt x="990" y="830"/>
                  </a:lnTo>
                  <a:lnTo>
                    <a:pt x="990" y="830"/>
                  </a:lnTo>
                  <a:lnTo>
                    <a:pt x="990" y="829"/>
                  </a:lnTo>
                  <a:lnTo>
                    <a:pt x="988" y="829"/>
                  </a:lnTo>
                  <a:lnTo>
                    <a:pt x="988" y="827"/>
                  </a:lnTo>
                  <a:lnTo>
                    <a:pt x="988" y="827"/>
                  </a:lnTo>
                  <a:lnTo>
                    <a:pt x="988" y="826"/>
                  </a:lnTo>
                  <a:lnTo>
                    <a:pt x="988" y="826"/>
                  </a:lnTo>
                  <a:lnTo>
                    <a:pt x="988" y="824"/>
                  </a:lnTo>
                  <a:lnTo>
                    <a:pt x="990" y="822"/>
                  </a:lnTo>
                  <a:lnTo>
                    <a:pt x="993" y="819"/>
                  </a:lnTo>
                  <a:lnTo>
                    <a:pt x="996" y="818"/>
                  </a:lnTo>
                  <a:lnTo>
                    <a:pt x="999" y="818"/>
                  </a:lnTo>
                  <a:lnTo>
                    <a:pt x="1002" y="818"/>
                  </a:lnTo>
                  <a:lnTo>
                    <a:pt x="1005" y="818"/>
                  </a:lnTo>
                  <a:lnTo>
                    <a:pt x="1012" y="821"/>
                  </a:lnTo>
                  <a:lnTo>
                    <a:pt x="1016" y="824"/>
                  </a:lnTo>
                  <a:lnTo>
                    <a:pt x="1016" y="824"/>
                  </a:lnTo>
                  <a:lnTo>
                    <a:pt x="1019" y="827"/>
                  </a:lnTo>
                  <a:lnTo>
                    <a:pt x="1019" y="829"/>
                  </a:lnTo>
                  <a:lnTo>
                    <a:pt x="1019" y="830"/>
                  </a:lnTo>
                  <a:lnTo>
                    <a:pt x="1021" y="832"/>
                  </a:lnTo>
                  <a:lnTo>
                    <a:pt x="1027" y="830"/>
                  </a:lnTo>
                  <a:lnTo>
                    <a:pt x="1032" y="830"/>
                  </a:lnTo>
                  <a:lnTo>
                    <a:pt x="1033" y="829"/>
                  </a:lnTo>
                  <a:lnTo>
                    <a:pt x="1035" y="827"/>
                  </a:lnTo>
                  <a:lnTo>
                    <a:pt x="1036" y="826"/>
                  </a:lnTo>
                  <a:lnTo>
                    <a:pt x="1039" y="826"/>
                  </a:lnTo>
                  <a:lnTo>
                    <a:pt x="1039" y="826"/>
                  </a:lnTo>
                  <a:lnTo>
                    <a:pt x="1042" y="829"/>
                  </a:lnTo>
                  <a:lnTo>
                    <a:pt x="1050" y="830"/>
                  </a:lnTo>
                  <a:lnTo>
                    <a:pt x="1052" y="829"/>
                  </a:lnTo>
                  <a:lnTo>
                    <a:pt x="1052" y="829"/>
                  </a:lnTo>
                  <a:lnTo>
                    <a:pt x="1052" y="827"/>
                  </a:lnTo>
                  <a:lnTo>
                    <a:pt x="1052" y="826"/>
                  </a:lnTo>
                  <a:lnTo>
                    <a:pt x="1053" y="826"/>
                  </a:lnTo>
                  <a:lnTo>
                    <a:pt x="1053" y="826"/>
                  </a:lnTo>
                  <a:lnTo>
                    <a:pt x="1061" y="826"/>
                  </a:lnTo>
                  <a:lnTo>
                    <a:pt x="1065" y="822"/>
                  </a:lnTo>
                  <a:lnTo>
                    <a:pt x="1067" y="822"/>
                  </a:lnTo>
                  <a:lnTo>
                    <a:pt x="1067" y="821"/>
                  </a:lnTo>
                  <a:lnTo>
                    <a:pt x="1065" y="819"/>
                  </a:lnTo>
                  <a:lnTo>
                    <a:pt x="1064" y="816"/>
                  </a:lnTo>
                  <a:lnTo>
                    <a:pt x="1064" y="815"/>
                  </a:lnTo>
                  <a:lnTo>
                    <a:pt x="1064" y="812"/>
                  </a:lnTo>
                  <a:lnTo>
                    <a:pt x="1064" y="806"/>
                  </a:lnTo>
                  <a:lnTo>
                    <a:pt x="1064" y="804"/>
                  </a:lnTo>
                  <a:lnTo>
                    <a:pt x="1065" y="801"/>
                  </a:lnTo>
                  <a:lnTo>
                    <a:pt x="1067" y="801"/>
                  </a:lnTo>
                  <a:lnTo>
                    <a:pt x="1067" y="799"/>
                  </a:lnTo>
                  <a:lnTo>
                    <a:pt x="1069" y="799"/>
                  </a:lnTo>
                  <a:lnTo>
                    <a:pt x="1069" y="799"/>
                  </a:lnTo>
                  <a:lnTo>
                    <a:pt x="1070" y="799"/>
                  </a:lnTo>
                  <a:lnTo>
                    <a:pt x="1070" y="798"/>
                  </a:lnTo>
                  <a:lnTo>
                    <a:pt x="1069" y="798"/>
                  </a:lnTo>
                  <a:lnTo>
                    <a:pt x="1069" y="796"/>
                  </a:lnTo>
                  <a:lnTo>
                    <a:pt x="1069" y="795"/>
                  </a:lnTo>
                  <a:lnTo>
                    <a:pt x="1070" y="793"/>
                  </a:lnTo>
                  <a:lnTo>
                    <a:pt x="1072" y="793"/>
                  </a:lnTo>
                  <a:lnTo>
                    <a:pt x="1073" y="793"/>
                  </a:lnTo>
                  <a:lnTo>
                    <a:pt x="1076" y="795"/>
                  </a:lnTo>
                  <a:lnTo>
                    <a:pt x="1076" y="795"/>
                  </a:lnTo>
                  <a:lnTo>
                    <a:pt x="1078" y="795"/>
                  </a:lnTo>
                  <a:lnTo>
                    <a:pt x="1079" y="795"/>
                  </a:lnTo>
                  <a:lnTo>
                    <a:pt x="1081" y="793"/>
                  </a:lnTo>
                  <a:lnTo>
                    <a:pt x="1079" y="790"/>
                  </a:lnTo>
                  <a:lnTo>
                    <a:pt x="1078" y="787"/>
                  </a:lnTo>
                  <a:lnTo>
                    <a:pt x="1078" y="786"/>
                  </a:lnTo>
                  <a:lnTo>
                    <a:pt x="1076" y="786"/>
                  </a:lnTo>
                  <a:lnTo>
                    <a:pt x="1075" y="786"/>
                  </a:lnTo>
                  <a:lnTo>
                    <a:pt x="1073" y="787"/>
                  </a:lnTo>
                  <a:lnTo>
                    <a:pt x="1073" y="787"/>
                  </a:lnTo>
                  <a:lnTo>
                    <a:pt x="1072" y="786"/>
                  </a:lnTo>
                  <a:lnTo>
                    <a:pt x="1069" y="784"/>
                  </a:lnTo>
                  <a:lnTo>
                    <a:pt x="1069" y="784"/>
                  </a:lnTo>
                  <a:lnTo>
                    <a:pt x="1064" y="784"/>
                  </a:lnTo>
                  <a:lnTo>
                    <a:pt x="1062" y="784"/>
                  </a:lnTo>
                  <a:lnTo>
                    <a:pt x="1059" y="782"/>
                  </a:lnTo>
                  <a:lnTo>
                    <a:pt x="1058" y="782"/>
                  </a:lnTo>
                  <a:lnTo>
                    <a:pt x="1058" y="782"/>
                  </a:lnTo>
                  <a:lnTo>
                    <a:pt x="1056" y="782"/>
                  </a:lnTo>
                  <a:lnTo>
                    <a:pt x="1056" y="784"/>
                  </a:lnTo>
                  <a:lnTo>
                    <a:pt x="1055" y="784"/>
                  </a:lnTo>
                  <a:lnTo>
                    <a:pt x="1056" y="782"/>
                  </a:lnTo>
                  <a:lnTo>
                    <a:pt x="1055" y="781"/>
                  </a:lnTo>
                  <a:lnTo>
                    <a:pt x="1053" y="779"/>
                  </a:lnTo>
                  <a:lnTo>
                    <a:pt x="1053" y="781"/>
                  </a:lnTo>
                  <a:lnTo>
                    <a:pt x="1052" y="781"/>
                  </a:lnTo>
                  <a:lnTo>
                    <a:pt x="1042" y="781"/>
                  </a:lnTo>
                  <a:lnTo>
                    <a:pt x="1041" y="782"/>
                  </a:lnTo>
                  <a:lnTo>
                    <a:pt x="1039" y="784"/>
                  </a:lnTo>
                  <a:lnTo>
                    <a:pt x="1038" y="786"/>
                  </a:lnTo>
                  <a:lnTo>
                    <a:pt x="1038" y="786"/>
                  </a:lnTo>
                  <a:lnTo>
                    <a:pt x="1036" y="789"/>
                  </a:lnTo>
                  <a:lnTo>
                    <a:pt x="1035" y="792"/>
                  </a:lnTo>
                  <a:lnTo>
                    <a:pt x="1032" y="792"/>
                  </a:lnTo>
                  <a:lnTo>
                    <a:pt x="1029" y="792"/>
                  </a:lnTo>
                  <a:lnTo>
                    <a:pt x="1024" y="787"/>
                  </a:lnTo>
                  <a:lnTo>
                    <a:pt x="1022" y="787"/>
                  </a:lnTo>
                  <a:lnTo>
                    <a:pt x="1021" y="786"/>
                  </a:lnTo>
                  <a:lnTo>
                    <a:pt x="1022" y="784"/>
                  </a:lnTo>
                  <a:lnTo>
                    <a:pt x="1022" y="782"/>
                  </a:lnTo>
                  <a:lnTo>
                    <a:pt x="1022" y="781"/>
                  </a:lnTo>
                  <a:lnTo>
                    <a:pt x="1021" y="781"/>
                  </a:lnTo>
                  <a:lnTo>
                    <a:pt x="1019" y="781"/>
                  </a:lnTo>
                  <a:lnTo>
                    <a:pt x="1018" y="782"/>
                  </a:lnTo>
                  <a:lnTo>
                    <a:pt x="1018" y="786"/>
                  </a:lnTo>
                  <a:lnTo>
                    <a:pt x="1018" y="787"/>
                  </a:lnTo>
                  <a:lnTo>
                    <a:pt x="1018" y="787"/>
                  </a:lnTo>
                  <a:lnTo>
                    <a:pt x="1016" y="789"/>
                  </a:lnTo>
                  <a:lnTo>
                    <a:pt x="1016" y="789"/>
                  </a:lnTo>
                  <a:lnTo>
                    <a:pt x="1015" y="790"/>
                  </a:lnTo>
                  <a:lnTo>
                    <a:pt x="1015" y="790"/>
                  </a:lnTo>
                  <a:lnTo>
                    <a:pt x="1015" y="792"/>
                  </a:lnTo>
                  <a:lnTo>
                    <a:pt x="1013" y="792"/>
                  </a:lnTo>
                  <a:lnTo>
                    <a:pt x="1012" y="795"/>
                  </a:lnTo>
                  <a:lnTo>
                    <a:pt x="1010" y="795"/>
                  </a:lnTo>
                  <a:lnTo>
                    <a:pt x="996" y="799"/>
                  </a:lnTo>
                  <a:lnTo>
                    <a:pt x="995" y="799"/>
                  </a:lnTo>
                  <a:lnTo>
                    <a:pt x="982" y="792"/>
                  </a:lnTo>
                  <a:lnTo>
                    <a:pt x="962" y="759"/>
                  </a:lnTo>
                  <a:lnTo>
                    <a:pt x="955" y="747"/>
                  </a:lnTo>
                  <a:lnTo>
                    <a:pt x="952" y="736"/>
                  </a:lnTo>
                  <a:lnTo>
                    <a:pt x="950" y="735"/>
                  </a:lnTo>
                  <a:lnTo>
                    <a:pt x="950" y="733"/>
                  </a:lnTo>
                  <a:lnTo>
                    <a:pt x="948" y="732"/>
                  </a:lnTo>
                  <a:lnTo>
                    <a:pt x="947" y="719"/>
                  </a:lnTo>
                  <a:lnTo>
                    <a:pt x="945" y="718"/>
                  </a:lnTo>
                  <a:lnTo>
                    <a:pt x="945" y="716"/>
                  </a:lnTo>
                  <a:lnTo>
                    <a:pt x="945" y="709"/>
                  </a:lnTo>
                  <a:lnTo>
                    <a:pt x="944" y="707"/>
                  </a:lnTo>
                  <a:lnTo>
                    <a:pt x="944" y="707"/>
                  </a:lnTo>
                  <a:lnTo>
                    <a:pt x="944" y="705"/>
                  </a:lnTo>
                  <a:lnTo>
                    <a:pt x="945" y="704"/>
                  </a:lnTo>
                  <a:lnTo>
                    <a:pt x="945" y="702"/>
                  </a:lnTo>
                  <a:lnTo>
                    <a:pt x="947" y="702"/>
                  </a:lnTo>
                  <a:lnTo>
                    <a:pt x="950" y="701"/>
                  </a:lnTo>
                  <a:lnTo>
                    <a:pt x="950" y="699"/>
                  </a:lnTo>
                  <a:lnTo>
                    <a:pt x="950" y="698"/>
                  </a:lnTo>
                  <a:lnTo>
                    <a:pt x="950" y="698"/>
                  </a:lnTo>
                  <a:lnTo>
                    <a:pt x="952" y="698"/>
                  </a:lnTo>
                  <a:lnTo>
                    <a:pt x="952" y="698"/>
                  </a:lnTo>
                  <a:lnTo>
                    <a:pt x="952" y="698"/>
                  </a:lnTo>
                  <a:lnTo>
                    <a:pt x="952" y="699"/>
                  </a:lnTo>
                  <a:lnTo>
                    <a:pt x="953" y="699"/>
                  </a:lnTo>
                  <a:lnTo>
                    <a:pt x="953" y="699"/>
                  </a:lnTo>
                  <a:lnTo>
                    <a:pt x="961" y="698"/>
                  </a:lnTo>
                  <a:lnTo>
                    <a:pt x="964" y="695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72" y="685"/>
                  </a:lnTo>
                  <a:lnTo>
                    <a:pt x="973" y="684"/>
                  </a:lnTo>
                  <a:lnTo>
                    <a:pt x="975" y="682"/>
                  </a:lnTo>
                  <a:lnTo>
                    <a:pt x="975" y="681"/>
                  </a:lnTo>
                  <a:lnTo>
                    <a:pt x="975" y="679"/>
                  </a:lnTo>
                  <a:lnTo>
                    <a:pt x="973" y="679"/>
                  </a:lnTo>
                  <a:lnTo>
                    <a:pt x="973" y="678"/>
                  </a:lnTo>
                  <a:lnTo>
                    <a:pt x="973" y="676"/>
                  </a:lnTo>
                  <a:lnTo>
                    <a:pt x="972" y="673"/>
                  </a:lnTo>
                  <a:lnTo>
                    <a:pt x="970" y="672"/>
                  </a:lnTo>
                  <a:lnTo>
                    <a:pt x="973" y="670"/>
                  </a:lnTo>
                  <a:lnTo>
                    <a:pt x="973" y="672"/>
                  </a:lnTo>
                  <a:lnTo>
                    <a:pt x="973" y="673"/>
                  </a:lnTo>
                  <a:lnTo>
                    <a:pt x="975" y="675"/>
                  </a:lnTo>
                  <a:lnTo>
                    <a:pt x="976" y="676"/>
                  </a:lnTo>
                  <a:lnTo>
                    <a:pt x="976" y="676"/>
                  </a:lnTo>
                  <a:lnTo>
                    <a:pt x="978" y="676"/>
                  </a:lnTo>
                  <a:lnTo>
                    <a:pt x="978" y="678"/>
                  </a:lnTo>
                  <a:lnTo>
                    <a:pt x="979" y="678"/>
                  </a:lnTo>
                  <a:lnTo>
                    <a:pt x="979" y="678"/>
                  </a:lnTo>
                  <a:lnTo>
                    <a:pt x="978" y="681"/>
                  </a:lnTo>
                  <a:lnTo>
                    <a:pt x="978" y="684"/>
                  </a:lnTo>
                  <a:lnTo>
                    <a:pt x="978" y="687"/>
                  </a:lnTo>
                  <a:lnTo>
                    <a:pt x="981" y="688"/>
                  </a:lnTo>
                  <a:lnTo>
                    <a:pt x="981" y="688"/>
                  </a:lnTo>
                  <a:lnTo>
                    <a:pt x="982" y="687"/>
                  </a:lnTo>
                  <a:lnTo>
                    <a:pt x="984" y="685"/>
                  </a:lnTo>
                  <a:lnTo>
                    <a:pt x="984" y="688"/>
                  </a:lnTo>
                  <a:lnTo>
                    <a:pt x="982" y="690"/>
                  </a:lnTo>
                  <a:lnTo>
                    <a:pt x="981" y="693"/>
                  </a:lnTo>
                  <a:lnTo>
                    <a:pt x="978" y="696"/>
                  </a:lnTo>
                  <a:lnTo>
                    <a:pt x="978" y="699"/>
                  </a:lnTo>
                  <a:lnTo>
                    <a:pt x="975" y="701"/>
                  </a:lnTo>
                  <a:lnTo>
                    <a:pt x="973" y="705"/>
                  </a:lnTo>
                  <a:lnTo>
                    <a:pt x="970" y="707"/>
                  </a:lnTo>
                  <a:lnTo>
                    <a:pt x="962" y="709"/>
                  </a:lnTo>
                  <a:lnTo>
                    <a:pt x="962" y="710"/>
                  </a:lnTo>
                  <a:lnTo>
                    <a:pt x="962" y="710"/>
                  </a:lnTo>
                  <a:lnTo>
                    <a:pt x="959" y="712"/>
                  </a:lnTo>
                  <a:lnTo>
                    <a:pt x="958" y="715"/>
                  </a:lnTo>
                  <a:lnTo>
                    <a:pt x="958" y="716"/>
                  </a:lnTo>
                  <a:lnTo>
                    <a:pt x="958" y="716"/>
                  </a:lnTo>
                  <a:lnTo>
                    <a:pt x="961" y="715"/>
                  </a:lnTo>
                  <a:lnTo>
                    <a:pt x="962" y="713"/>
                  </a:lnTo>
                  <a:lnTo>
                    <a:pt x="965" y="713"/>
                  </a:lnTo>
                  <a:lnTo>
                    <a:pt x="967" y="712"/>
                  </a:lnTo>
                  <a:lnTo>
                    <a:pt x="970" y="710"/>
                  </a:lnTo>
                  <a:lnTo>
                    <a:pt x="972" y="709"/>
                  </a:lnTo>
                  <a:lnTo>
                    <a:pt x="975" y="707"/>
                  </a:lnTo>
                  <a:lnTo>
                    <a:pt x="978" y="698"/>
                  </a:lnTo>
                  <a:lnTo>
                    <a:pt x="979" y="698"/>
                  </a:lnTo>
                  <a:lnTo>
                    <a:pt x="979" y="696"/>
                  </a:lnTo>
                  <a:lnTo>
                    <a:pt x="987" y="685"/>
                  </a:lnTo>
                  <a:lnTo>
                    <a:pt x="988" y="684"/>
                  </a:lnTo>
                  <a:lnTo>
                    <a:pt x="990" y="682"/>
                  </a:lnTo>
                  <a:lnTo>
                    <a:pt x="992" y="681"/>
                  </a:lnTo>
                  <a:lnTo>
                    <a:pt x="993" y="678"/>
                  </a:lnTo>
                  <a:lnTo>
                    <a:pt x="995" y="676"/>
                  </a:lnTo>
                  <a:lnTo>
                    <a:pt x="996" y="675"/>
                  </a:lnTo>
                  <a:lnTo>
                    <a:pt x="1005" y="672"/>
                  </a:lnTo>
                  <a:lnTo>
                    <a:pt x="1007" y="668"/>
                  </a:lnTo>
                  <a:lnTo>
                    <a:pt x="1013" y="662"/>
                  </a:lnTo>
                  <a:lnTo>
                    <a:pt x="1016" y="659"/>
                  </a:lnTo>
                  <a:lnTo>
                    <a:pt x="1019" y="658"/>
                  </a:lnTo>
                  <a:lnTo>
                    <a:pt x="1025" y="655"/>
                  </a:lnTo>
                  <a:lnTo>
                    <a:pt x="1027" y="655"/>
                  </a:lnTo>
                  <a:lnTo>
                    <a:pt x="1038" y="653"/>
                  </a:lnTo>
                  <a:lnTo>
                    <a:pt x="1042" y="653"/>
                  </a:lnTo>
                  <a:lnTo>
                    <a:pt x="1045" y="653"/>
                  </a:lnTo>
                  <a:lnTo>
                    <a:pt x="1047" y="653"/>
                  </a:lnTo>
                  <a:lnTo>
                    <a:pt x="1049" y="653"/>
                  </a:lnTo>
                  <a:lnTo>
                    <a:pt x="1049" y="653"/>
                  </a:lnTo>
                  <a:lnTo>
                    <a:pt x="1049" y="655"/>
                  </a:lnTo>
                  <a:lnTo>
                    <a:pt x="1050" y="656"/>
                  </a:lnTo>
                  <a:lnTo>
                    <a:pt x="1050" y="656"/>
                  </a:lnTo>
                  <a:lnTo>
                    <a:pt x="1052" y="656"/>
                  </a:lnTo>
                  <a:lnTo>
                    <a:pt x="1052" y="656"/>
                  </a:lnTo>
                  <a:lnTo>
                    <a:pt x="1052" y="658"/>
                  </a:lnTo>
                  <a:lnTo>
                    <a:pt x="1050" y="658"/>
                  </a:lnTo>
                  <a:lnTo>
                    <a:pt x="1052" y="659"/>
                  </a:lnTo>
                  <a:lnTo>
                    <a:pt x="1052" y="659"/>
                  </a:lnTo>
                  <a:lnTo>
                    <a:pt x="1052" y="658"/>
                  </a:lnTo>
                  <a:lnTo>
                    <a:pt x="1052" y="658"/>
                  </a:lnTo>
                  <a:lnTo>
                    <a:pt x="1053" y="658"/>
                  </a:lnTo>
                  <a:lnTo>
                    <a:pt x="1053" y="658"/>
                  </a:lnTo>
                  <a:lnTo>
                    <a:pt x="1053" y="659"/>
                  </a:lnTo>
                  <a:lnTo>
                    <a:pt x="1053" y="659"/>
                  </a:lnTo>
                  <a:lnTo>
                    <a:pt x="1055" y="656"/>
                  </a:lnTo>
                  <a:lnTo>
                    <a:pt x="1055" y="653"/>
                  </a:lnTo>
                  <a:lnTo>
                    <a:pt x="1061" y="648"/>
                  </a:lnTo>
                  <a:lnTo>
                    <a:pt x="1062" y="647"/>
                  </a:lnTo>
                  <a:lnTo>
                    <a:pt x="1065" y="645"/>
                  </a:lnTo>
                  <a:lnTo>
                    <a:pt x="1069" y="645"/>
                  </a:lnTo>
                  <a:lnTo>
                    <a:pt x="1072" y="642"/>
                  </a:lnTo>
                  <a:lnTo>
                    <a:pt x="1076" y="642"/>
                  </a:lnTo>
                  <a:lnTo>
                    <a:pt x="1078" y="642"/>
                  </a:lnTo>
                  <a:lnTo>
                    <a:pt x="1078" y="642"/>
                  </a:lnTo>
                  <a:lnTo>
                    <a:pt x="1079" y="641"/>
                  </a:lnTo>
                  <a:lnTo>
                    <a:pt x="1079" y="641"/>
                  </a:lnTo>
                  <a:lnTo>
                    <a:pt x="1082" y="641"/>
                  </a:lnTo>
                  <a:lnTo>
                    <a:pt x="1084" y="641"/>
                  </a:lnTo>
                  <a:lnTo>
                    <a:pt x="1084" y="641"/>
                  </a:lnTo>
                  <a:lnTo>
                    <a:pt x="1086" y="641"/>
                  </a:lnTo>
                  <a:lnTo>
                    <a:pt x="1089" y="642"/>
                  </a:lnTo>
                  <a:lnTo>
                    <a:pt x="1089" y="642"/>
                  </a:lnTo>
                  <a:lnTo>
                    <a:pt x="1092" y="645"/>
                  </a:lnTo>
                  <a:lnTo>
                    <a:pt x="1093" y="647"/>
                  </a:lnTo>
                  <a:lnTo>
                    <a:pt x="1093" y="648"/>
                  </a:lnTo>
                  <a:lnTo>
                    <a:pt x="1092" y="652"/>
                  </a:lnTo>
                  <a:lnTo>
                    <a:pt x="1090" y="655"/>
                  </a:lnTo>
                  <a:lnTo>
                    <a:pt x="1089" y="655"/>
                  </a:lnTo>
                  <a:lnTo>
                    <a:pt x="1089" y="655"/>
                  </a:lnTo>
                  <a:lnTo>
                    <a:pt x="1089" y="656"/>
                  </a:lnTo>
                  <a:lnTo>
                    <a:pt x="1090" y="656"/>
                  </a:lnTo>
                  <a:lnTo>
                    <a:pt x="1092" y="655"/>
                  </a:lnTo>
                  <a:lnTo>
                    <a:pt x="1093" y="652"/>
                  </a:lnTo>
                  <a:lnTo>
                    <a:pt x="1093" y="648"/>
                  </a:lnTo>
                  <a:lnTo>
                    <a:pt x="1095" y="645"/>
                  </a:lnTo>
                  <a:lnTo>
                    <a:pt x="1096" y="644"/>
                  </a:lnTo>
                  <a:lnTo>
                    <a:pt x="1096" y="641"/>
                  </a:lnTo>
                  <a:lnTo>
                    <a:pt x="1096" y="638"/>
                  </a:lnTo>
                  <a:lnTo>
                    <a:pt x="1099" y="638"/>
                  </a:lnTo>
                  <a:lnTo>
                    <a:pt x="1102" y="635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109" y="630"/>
                  </a:lnTo>
                  <a:lnTo>
                    <a:pt x="1109" y="630"/>
                  </a:lnTo>
                  <a:lnTo>
                    <a:pt x="1110" y="630"/>
                  </a:lnTo>
                  <a:lnTo>
                    <a:pt x="1119" y="627"/>
                  </a:lnTo>
                  <a:lnTo>
                    <a:pt x="1122" y="624"/>
                  </a:lnTo>
                  <a:lnTo>
                    <a:pt x="1124" y="624"/>
                  </a:lnTo>
                  <a:lnTo>
                    <a:pt x="1127" y="624"/>
                  </a:lnTo>
                  <a:lnTo>
                    <a:pt x="1129" y="625"/>
                  </a:lnTo>
                  <a:lnTo>
                    <a:pt x="1130" y="627"/>
                  </a:lnTo>
                  <a:lnTo>
                    <a:pt x="1130" y="630"/>
                  </a:lnTo>
                  <a:lnTo>
                    <a:pt x="1132" y="630"/>
                  </a:lnTo>
                  <a:lnTo>
                    <a:pt x="1133" y="627"/>
                  </a:lnTo>
                  <a:lnTo>
                    <a:pt x="1135" y="624"/>
                  </a:lnTo>
                  <a:lnTo>
                    <a:pt x="1143" y="613"/>
                  </a:lnTo>
                  <a:lnTo>
                    <a:pt x="1149" y="608"/>
                  </a:lnTo>
                  <a:lnTo>
                    <a:pt x="1150" y="607"/>
                  </a:lnTo>
                  <a:lnTo>
                    <a:pt x="1159" y="608"/>
                  </a:lnTo>
                  <a:lnTo>
                    <a:pt x="1164" y="608"/>
                  </a:lnTo>
                  <a:lnTo>
                    <a:pt x="1172" y="605"/>
                  </a:lnTo>
                  <a:lnTo>
                    <a:pt x="1178" y="607"/>
                  </a:lnTo>
                  <a:lnTo>
                    <a:pt x="1179" y="607"/>
                  </a:lnTo>
                  <a:lnTo>
                    <a:pt x="1181" y="607"/>
                  </a:lnTo>
                  <a:lnTo>
                    <a:pt x="1184" y="608"/>
                  </a:lnTo>
                  <a:lnTo>
                    <a:pt x="1184" y="607"/>
                  </a:lnTo>
                  <a:lnTo>
                    <a:pt x="1186" y="607"/>
                  </a:lnTo>
                  <a:lnTo>
                    <a:pt x="1187" y="605"/>
                  </a:lnTo>
                  <a:lnTo>
                    <a:pt x="1187" y="605"/>
                  </a:lnTo>
                  <a:lnTo>
                    <a:pt x="1189" y="608"/>
                  </a:lnTo>
                  <a:lnTo>
                    <a:pt x="1192" y="608"/>
                  </a:lnTo>
                  <a:lnTo>
                    <a:pt x="1192" y="610"/>
                  </a:lnTo>
                  <a:lnTo>
                    <a:pt x="1190" y="613"/>
                  </a:lnTo>
                  <a:lnTo>
                    <a:pt x="1192" y="613"/>
                  </a:lnTo>
                  <a:lnTo>
                    <a:pt x="1196" y="607"/>
                  </a:lnTo>
                  <a:lnTo>
                    <a:pt x="1198" y="605"/>
                  </a:lnTo>
                  <a:lnTo>
                    <a:pt x="1198" y="605"/>
                  </a:lnTo>
                  <a:lnTo>
                    <a:pt x="1196" y="602"/>
                  </a:lnTo>
                  <a:lnTo>
                    <a:pt x="1196" y="599"/>
                  </a:lnTo>
                  <a:lnTo>
                    <a:pt x="1196" y="596"/>
                  </a:lnTo>
                  <a:lnTo>
                    <a:pt x="1198" y="593"/>
                  </a:lnTo>
                  <a:lnTo>
                    <a:pt x="1199" y="591"/>
                  </a:lnTo>
                  <a:lnTo>
                    <a:pt x="1201" y="591"/>
                  </a:lnTo>
                  <a:lnTo>
                    <a:pt x="1203" y="590"/>
                  </a:lnTo>
                  <a:lnTo>
                    <a:pt x="1204" y="588"/>
                  </a:lnTo>
                  <a:lnTo>
                    <a:pt x="1204" y="587"/>
                  </a:lnTo>
                  <a:lnTo>
                    <a:pt x="1204" y="585"/>
                  </a:lnTo>
                  <a:lnTo>
                    <a:pt x="1203" y="585"/>
                  </a:lnTo>
                  <a:lnTo>
                    <a:pt x="1201" y="585"/>
                  </a:lnTo>
                  <a:lnTo>
                    <a:pt x="1198" y="585"/>
                  </a:lnTo>
                  <a:lnTo>
                    <a:pt x="1196" y="585"/>
                  </a:lnTo>
                  <a:lnTo>
                    <a:pt x="1196" y="584"/>
                  </a:lnTo>
                  <a:lnTo>
                    <a:pt x="1196" y="582"/>
                  </a:lnTo>
                  <a:lnTo>
                    <a:pt x="1196" y="581"/>
                  </a:lnTo>
                  <a:lnTo>
                    <a:pt x="1199" y="578"/>
                  </a:lnTo>
                  <a:lnTo>
                    <a:pt x="1201" y="573"/>
                  </a:lnTo>
                  <a:lnTo>
                    <a:pt x="1201" y="570"/>
                  </a:lnTo>
                  <a:lnTo>
                    <a:pt x="1201" y="562"/>
                  </a:lnTo>
                  <a:lnTo>
                    <a:pt x="1203" y="559"/>
                  </a:lnTo>
                  <a:lnTo>
                    <a:pt x="1204" y="555"/>
                  </a:lnTo>
                  <a:lnTo>
                    <a:pt x="1206" y="551"/>
                  </a:lnTo>
                  <a:lnTo>
                    <a:pt x="1207" y="550"/>
                  </a:lnTo>
                  <a:lnTo>
                    <a:pt x="1224" y="548"/>
                  </a:lnTo>
                  <a:lnTo>
                    <a:pt x="1226" y="547"/>
                  </a:lnTo>
                  <a:lnTo>
                    <a:pt x="1227" y="545"/>
                  </a:lnTo>
                  <a:lnTo>
                    <a:pt x="1230" y="542"/>
                  </a:lnTo>
                  <a:lnTo>
                    <a:pt x="1230" y="542"/>
                  </a:lnTo>
                  <a:lnTo>
                    <a:pt x="1232" y="542"/>
                  </a:lnTo>
                  <a:lnTo>
                    <a:pt x="1235" y="542"/>
                  </a:lnTo>
                  <a:lnTo>
                    <a:pt x="1236" y="542"/>
                  </a:lnTo>
                  <a:lnTo>
                    <a:pt x="1236" y="541"/>
                  </a:lnTo>
                  <a:lnTo>
                    <a:pt x="1238" y="536"/>
                  </a:lnTo>
                  <a:lnTo>
                    <a:pt x="1240" y="531"/>
                  </a:lnTo>
                  <a:lnTo>
                    <a:pt x="1241" y="527"/>
                  </a:lnTo>
                  <a:lnTo>
                    <a:pt x="1244" y="524"/>
                  </a:lnTo>
                  <a:lnTo>
                    <a:pt x="1247" y="522"/>
                  </a:lnTo>
                  <a:lnTo>
                    <a:pt x="1260" y="522"/>
                  </a:lnTo>
                  <a:lnTo>
                    <a:pt x="1260" y="522"/>
                  </a:lnTo>
                  <a:lnTo>
                    <a:pt x="1263" y="525"/>
                  </a:lnTo>
                  <a:lnTo>
                    <a:pt x="1264" y="525"/>
                  </a:lnTo>
                  <a:lnTo>
                    <a:pt x="1266" y="525"/>
                  </a:lnTo>
                  <a:lnTo>
                    <a:pt x="1269" y="525"/>
                  </a:lnTo>
                  <a:lnTo>
                    <a:pt x="1280" y="524"/>
                  </a:lnTo>
                  <a:lnTo>
                    <a:pt x="1281" y="524"/>
                  </a:lnTo>
                  <a:lnTo>
                    <a:pt x="1284" y="525"/>
                  </a:lnTo>
                  <a:lnTo>
                    <a:pt x="1286" y="527"/>
                  </a:lnTo>
                  <a:lnTo>
                    <a:pt x="1287" y="527"/>
                  </a:lnTo>
                  <a:lnTo>
                    <a:pt x="1290" y="525"/>
                  </a:lnTo>
                  <a:lnTo>
                    <a:pt x="1292" y="525"/>
                  </a:lnTo>
                  <a:lnTo>
                    <a:pt x="1293" y="527"/>
                  </a:lnTo>
                  <a:lnTo>
                    <a:pt x="1298" y="525"/>
                  </a:lnTo>
                  <a:lnTo>
                    <a:pt x="1301" y="525"/>
                  </a:lnTo>
                  <a:lnTo>
                    <a:pt x="1309" y="528"/>
                  </a:lnTo>
                  <a:lnTo>
                    <a:pt x="1310" y="527"/>
                  </a:lnTo>
                  <a:lnTo>
                    <a:pt x="1312" y="525"/>
                  </a:lnTo>
                  <a:lnTo>
                    <a:pt x="1313" y="522"/>
                  </a:lnTo>
                  <a:lnTo>
                    <a:pt x="1315" y="519"/>
                  </a:lnTo>
                  <a:lnTo>
                    <a:pt x="1315" y="519"/>
                  </a:lnTo>
                  <a:lnTo>
                    <a:pt x="1313" y="518"/>
                  </a:lnTo>
                  <a:lnTo>
                    <a:pt x="1313" y="516"/>
                  </a:lnTo>
                  <a:lnTo>
                    <a:pt x="1313" y="516"/>
                  </a:lnTo>
                  <a:lnTo>
                    <a:pt x="1315" y="513"/>
                  </a:lnTo>
                  <a:lnTo>
                    <a:pt x="1315" y="513"/>
                  </a:lnTo>
                  <a:lnTo>
                    <a:pt x="1315" y="511"/>
                  </a:lnTo>
                  <a:lnTo>
                    <a:pt x="1315" y="510"/>
                  </a:lnTo>
                  <a:lnTo>
                    <a:pt x="1313" y="507"/>
                  </a:lnTo>
                  <a:lnTo>
                    <a:pt x="1313" y="507"/>
                  </a:lnTo>
                  <a:lnTo>
                    <a:pt x="1313" y="505"/>
                  </a:lnTo>
                  <a:lnTo>
                    <a:pt x="1313" y="505"/>
                  </a:lnTo>
                  <a:lnTo>
                    <a:pt x="1313" y="504"/>
                  </a:lnTo>
                  <a:lnTo>
                    <a:pt x="1313" y="504"/>
                  </a:lnTo>
                  <a:lnTo>
                    <a:pt x="1318" y="502"/>
                  </a:lnTo>
                  <a:lnTo>
                    <a:pt x="1318" y="502"/>
                  </a:lnTo>
                  <a:lnTo>
                    <a:pt x="1320" y="502"/>
                  </a:lnTo>
                  <a:lnTo>
                    <a:pt x="1320" y="502"/>
                  </a:lnTo>
                  <a:lnTo>
                    <a:pt x="1318" y="498"/>
                  </a:lnTo>
                  <a:lnTo>
                    <a:pt x="1318" y="496"/>
                  </a:lnTo>
                  <a:lnTo>
                    <a:pt x="1320" y="493"/>
                  </a:lnTo>
                  <a:lnTo>
                    <a:pt x="1323" y="487"/>
                  </a:lnTo>
                  <a:lnTo>
                    <a:pt x="1324" y="485"/>
                  </a:lnTo>
                  <a:lnTo>
                    <a:pt x="1327" y="482"/>
                  </a:lnTo>
                  <a:lnTo>
                    <a:pt x="1329" y="481"/>
                  </a:lnTo>
                  <a:lnTo>
                    <a:pt x="1330" y="479"/>
                  </a:lnTo>
                  <a:lnTo>
                    <a:pt x="1330" y="476"/>
                  </a:lnTo>
                  <a:lnTo>
                    <a:pt x="1329" y="474"/>
                  </a:lnTo>
                  <a:lnTo>
                    <a:pt x="1327" y="474"/>
                  </a:lnTo>
                  <a:lnTo>
                    <a:pt x="1324" y="476"/>
                  </a:lnTo>
                  <a:lnTo>
                    <a:pt x="1323" y="476"/>
                  </a:lnTo>
                  <a:lnTo>
                    <a:pt x="1317" y="473"/>
                  </a:lnTo>
                  <a:lnTo>
                    <a:pt x="1323" y="468"/>
                  </a:lnTo>
                  <a:lnTo>
                    <a:pt x="1323" y="467"/>
                  </a:lnTo>
                  <a:lnTo>
                    <a:pt x="1324" y="465"/>
                  </a:lnTo>
                  <a:lnTo>
                    <a:pt x="1324" y="464"/>
                  </a:lnTo>
                  <a:lnTo>
                    <a:pt x="1324" y="462"/>
                  </a:lnTo>
                  <a:lnTo>
                    <a:pt x="1323" y="459"/>
                  </a:lnTo>
                  <a:lnTo>
                    <a:pt x="1321" y="454"/>
                  </a:lnTo>
                  <a:lnTo>
                    <a:pt x="1320" y="454"/>
                  </a:lnTo>
                  <a:lnTo>
                    <a:pt x="1320" y="453"/>
                  </a:lnTo>
                  <a:lnTo>
                    <a:pt x="1318" y="451"/>
                  </a:lnTo>
                  <a:lnTo>
                    <a:pt x="1320" y="451"/>
                  </a:lnTo>
                  <a:lnTo>
                    <a:pt x="1320" y="451"/>
                  </a:lnTo>
                  <a:lnTo>
                    <a:pt x="1321" y="451"/>
                  </a:lnTo>
                  <a:lnTo>
                    <a:pt x="1321" y="450"/>
                  </a:lnTo>
                  <a:lnTo>
                    <a:pt x="1321" y="450"/>
                  </a:lnTo>
                  <a:lnTo>
                    <a:pt x="1321" y="450"/>
                  </a:lnTo>
                  <a:lnTo>
                    <a:pt x="1321" y="448"/>
                  </a:lnTo>
                  <a:lnTo>
                    <a:pt x="1320" y="448"/>
                  </a:lnTo>
                  <a:lnTo>
                    <a:pt x="1320" y="445"/>
                  </a:lnTo>
                  <a:lnTo>
                    <a:pt x="1318" y="442"/>
                  </a:lnTo>
                  <a:lnTo>
                    <a:pt x="1317" y="442"/>
                  </a:lnTo>
                  <a:lnTo>
                    <a:pt x="1307" y="441"/>
                  </a:lnTo>
                  <a:lnTo>
                    <a:pt x="1306" y="441"/>
                  </a:lnTo>
                  <a:lnTo>
                    <a:pt x="1303" y="441"/>
                  </a:lnTo>
                  <a:lnTo>
                    <a:pt x="1304" y="439"/>
                  </a:lnTo>
                  <a:lnTo>
                    <a:pt x="1309" y="424"/>
                  </a:lnTo>
                  <a:lnTo>
                    <a:pt x="1309" y="422"/>
                  </a:lnTo>
                  <a:lnTo>
                    <a:pt x="1310" y="422"/>
                  </a:lnTo>
                  <a:lnTo>
                    <a:pt x="1312" y="421"/>
                  </a:lnTo>
                  <a:lnTo>
                    <a:pt x="1312" y="419"/>
                  </a:lnTo>
                  <a:lnTo>
                    <a:pt x="1312" y="417"/>
                  </a:lnTo>
                  <a:lnTo>
                    <a:pt x="1313" y="416"/>
                  </a:lnTo>
                  <a:lnTo>
                    <a:pt x="1317" y="416"/>
                  </a:lnTo>
                  <a:lnTo>
                    <a:pt x="1318" y="416"/>
                  </a:lnTo>
                  <a:lnTo>
                    <a:pt x="1326" y="419"/>
                  </a:lnTo>
                  <a:lnTo>
                    <a:pt x="1329" y="419"/>
                  </a:lnTo>
                  <a:lnTo>
                    <a:pt x="1332" y="416"/>
                  </a:lnTo>
                  <a:lnTo>
                    <a:pt x="1333" y="414"/>
                  </a:lnTo>
                  <a:lnTo>
                    <a:pt x="1335" y="411"/>
                  </a:lnTo>
                  <a:lnTo>
                    <a:pt x="1335" y="410"/>
                  </a:lnTo>
                  <a:lnTo>
                    <a:pt x="1333" y="408"/>
                  </a:lnTo>
                  <a:lnTo>
                    <a:pt x="1332" y="407"/>
                  </a:lnTo>
                  <a:lnTo>
                    <a:pt x="1330" y="408"/>
                  </a:lnTo>
                  <a:lnTo>
                    <a:pt x="1329" y="411"/>
                  </a:lnTo>
                  <a:lnTo>
                    <a:pt x="1327" y="411"/>
                  </a:lnTo>
                  <a:lnTo>
                    <a:pt x="1326" y="411"/>
                  </a:lnTo>
                  <a:lnTo>
                    <a:pt x="1324" y="410"/>
                  </a:lnTo>
                  <a:lnTo>
                    <a:pt x="1324" y="408"/>
                  </a:lnTo>
                  <a:lnTo>
                    <a:pt x="1323" y="408"/>
                  </a:lnTo>
                  <a:lnTo>
                    <a:pt x="1320" y="408"/>
                  </a:lnTo>
                  <a:lnTo>
                    <a:pt x="1315" y="407"/>
                  </a:lnTo>
                  <a:lnTo>
                    <a:pt x="1312" y="407"/>
                  </a:lnTo>
                  <a:lnTo>
                    <a:pt x="1312" y="405"/>
                  </a:lnTo>
                  <a:lnTo>
                    <a:pt x="1312" y="404"/>
                  </a:lnTo>
                  <a:lnTo>
                    <a:pt x="1310" y="402"/>
                  </a:lnTo>
                  <a:lnTo>
                    <a:pt x="1309" y="401"/>
                  </a:lnTo>
                  <a:lnTo>
                    <a:pt x="1307" y="399"/>
                  </a:lnTo>
                  <a:lnTo>
                    <a:pt x="1306" y="397"/>
                  </a:lnTo>
                  <a:lnTo>
                    <a:pt x="1307" y="393"/>
                  </a:lnTo>
                  <a:lnTo>
                    <a:pt x="1309" y="391"/>
                  </a:lnTo>
                  <a:lnTo>
                    <a:pt x="1312" y="391"/>
                  </a:lnTo>
                  <a:lnTo>
                    <a:pt x="1318" y="390"/>
                  </a:lnTo>
                  <a:lnTo>
                    <a:pt x="1320" y="390"/>
                  </a:lnTo>
                  <a:lnTo>
                    <a:pt x="1323" y="390"/>
                  </a:lnTo>
                  <a:lnTo>
                    <a:pt x="1324" y="390"/>
                  </a:lnTo>
                  <a:lnTo>
                    <a:pt x="1324" y="390"/>
                  </a:lnTo>
                  <a:lnTo>
                    <a:pt x="1324" y="388"/>
                  </a:lnTo>
                  <a:lnTo>
                    <a:pt x="1326" y="385"/>
                  </a:lnTo>
                  <a:lnTo>
                    <a:pt x="1326" y="384"/>
                  </a:lnTo>
                  <a:lnTo>
                    <a:pt x="1327" y="381"/>
                  </a:lnTo>
                  <a:lnTo>
                    <a:pt x="1329" y="379"/>
                  </a:lnTo>
                  <a:lnTo>
                    <a:pt x="1333" y="376"/>
                  </a:lnTo>
                  <a:lnTo>
                    <a:pt x="1335" y="374"/>
                  </a:lnTo>
                  <a:lnTo>
                    <a:pt x="1338" y="370"/>
                  </a:lnTo>
                  <a:lnTo>
                    <a:pt x="1338" y="368"/>
                  </a:lnTo>
                  <a:lnTo>
                    <a:pt x="1341" y="368"/>
                  </a:lnTo>
                  <a:lnTo>
                    <a:pt x="1341" y="367"/>
                  </a:lnTo>
                  <a:lnTo>
                    <a:pt x="1341" y="362"/>
                  </a:lnTo>
                  <a:lnTo>
                    <a:pt x="1343" y="359"/>
                  </a:lnTo>
                  <a:lnTo>
                    <a:pt x="1343" y="357"/>
                  </a:lnTo>
                  <a:lnTo>
                    <a:pt x="1341" y="35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gray">
            <a:xfrm>
              <a:off x="8299450" y="6207126"/>
              <a:ext cx="2132013" cy="1420813"/>
            </a:xfrm>
            <a:custGeom>
              <a:avLst/>
              <a:gdLst>
                <a:gd name="T0" fmla="*/ 742 w 1343"/>
                <a:gd name="T1" fmla="*/ 707 h 895"/>
                <a:gd name="T2" fmla="*/ 1264 w 1343"/>
                <a:gd name="T3" fmla="*/ 297 h 895"/>
                <a:gd name="T4" fmla="*/ 1178 w 1343"/>
                <a:gd name="T5" fmla="*/ 283 h 895"/>
                <a:gd name="T6" fmla="*/ 1064 w 1343"/>
                <a:gd name="T7" fmla="*/ 245 h 895"/>
                <a:gd name="T8" fmla="*/ 992 w 1343"/>
                <a:gd name="T9" fmla="*/ 196 h 895"/>
                <a:gd name="T10" fmla="*/ 933 w 1343"/>
                <a:gd name="T11" fmla="*/ 143 h 895"/>
                <a:gd name="T12" fmla="*/ 890 w 1343"/>
                <a:gd name="T13" fmla="*/ 88 h 895"/>
                <a:gd name="T14" fmla="*/ 873 w 1343"/>
                <a:gd name="T15" fmla="*/ 8 h 895"/>
                <a:gd name="T16" fmla="*/ 762 w 1343"/>
                <a:gd name="T17" fmla="*/ 6 h 895"/>
                <a:gd name="T18" fmla="*/ 657 w 1343"/>
                <a:gd name="T19" fmla="*/ 43 h 895"/>
                <a:gd name="T20" fmla="*/ 633 w 1343"/>
                <a:gd name="T21" fmla="*/ 79 h 895"/>
                <a:gd name="T22" fmla="*/ 633 w 1343"/>
                <a:gd name="T23" fmla="*/ 116 h 895"/>
                <a:gd name="T24" fmla="*/ 579 w 1343"/>
                <a:gd name="T25" fmla="*/ 109 h 895"/>
                <a:gd name="T26" fmla="*/ 511 w 1343"/>
                <a:gd name="T27" fmla="*/ 94 h 895"/>
                <a:gd name="T28" fmla="*/ 448 w 1343"/>
                <a:gd name="T29" fmla="*/ 91 h 895"/>
                <a:gd name="T30" fmla="*/ 379 w 1343"/>
                <a:gd name="T31" fmla="*/ 86 h 895"/>
                <a:gd name="T32" fmla="*/ 128 w 1343"/>
                <a:gd name="T33" fmla="*/ 89 h 895"/>
                <a:gd name="T34" fmla="*/ 134 w 1343"/>
                <a:gd name="T35" fmla="*/ 162 h 895"/>
                <a:gd name="T36" fmla="*/ 134 w 1343"/>
                <a:gd name="T37" fmla="*/ 236 h 895"/>
                <a:gd name="T38" fmla="*/ 46 w 1343"/>
                <a:gd name="T39" fmla="*/ 365 h 895"/>
                <a:gd name="T40" fmla="*/ 21 w 1343"/>
                <a:gd name="T41" fmla="*/ 405 h 895"/>
                <a:gd name="T42" fmla="*/ 12 w 1343"/>
                <a:gd name="T43" fmla="*/ 468 h 895"/>
                <a:gd name="T44" fmla="*/ 60 w 1343"/>
                <a:gd name="T45" fmla="*/ 507 h 895"/>
                <a:gd name="T46" fmla="*/ 141 w 1343"/>
                <a:gd name="T47" fmla="*/ 511 h 895"/>
                <a:gd name="T48" fmla="*/ 295 w 1343"/>
                <a:gd name="T49" fmla="*/ 510 h 895"/>
                <a:gd name="T50" fmla="*/ 351 w 1343"/>
                <a:gd name="T51" fmla="*/ 464 h 895"/>
                <a:gd name="T52" fmla="*/ 437 w 1343"/>
                <a:gd name="T53" fmla="*/ 470 h 895"/>
                <a:gd name="T54" fmla="*/ 474 w 1343"/>
                <a:gd name="T55" fmla="*/ 494 h 895"/>
                <a:gd name="T56" fmla="*/ 526 w 1343"/>
                <a:gd name="T57" fmla="*/ 538 h 895"/>
                <a:gd name="T58" fmla="*/ 554 w 1343"/>
                <a:gd name="T59" fmla="*/ 588 h 895"/>
                <a:gd name="T60" fmla="*/ 577 w 1343"/>
                <a:gd name="T61" fmla="*/ 638 h 895"/>
                <a:gd name="T62" fmla="*/ 579 w 1343"/>
                <a:gd name="T63" fmla="*/ 684 h 895"/>
                <a:gd name="T64" fmla="*/ 533 w 1343"/>
                <a:gd name="T65" fmla="*/ 678 h 895"/>
                <a:gd name="T66" fmla="*/ 491 w 1343"/>
                <a:gd name="T67" fmla="*/ 733 h 895"/>
                <a:gd name="T68" fmla="*/ 452 w 1343"/>
                <a:gd name="T69" fmla="*/ 781 h 895"/>
                <a:gd name="T70" fmla="*/ 525 w 1343"/>
                <a:gd name="T71" fmla="*/ 789 h 895"/>
                <a:gd name="T72" fmla="*/ 568 w 1343"/>
                <a:gd name="T73" fmla="*/ 787 h 895"/>
                <a:gd name="T74" fmla="*/ 559 w 1343"/>
                <a:gd name="T75" fmla="*/ 752 h 895"/>
                <a:gd name="T76" fmla="*/ 577 w 1343"/>
                <a:gd name="T77" fmla="*/ 750 h 895"/>
                <a:gd name="T78" fmla="*/ 605 w 1343"/>
                <a:gd name="T79" fmla="*/ 736 h 895"/>
                <a:gd name="T80" fmla="*/ 673 w 1343"/>
                <a:gd name="T81" fmla="*/ 656 h 895"/>
                <a:gd name="T82" fmla="*/ 697 w 1343"/>
                <a:gd name="T83" fmla="*/ 656 h 895"/>
                <a:gd name="T84" fmla="*/ 725 w 1343"/>
                <a:gd name="T85" fmla="*/ 605 h 895"/>
                <a:gd name="T86" fmla="*/ 731 w 1343"/>
                <a:gd name="T87" fmla="*/ 642 h 895"/>
                <a:gd name="T88" fmla="*/ 737 w 1343"/>
                <a:gd name="T89" fmla="*/ 670 h 895"/>
                <a:gd name="T90" fmla="*/ 727 w 1343"/>
                <a:gd name="T91" fmla="*/ 693 h 895"/>
                <a:gd name="T92" fmla="*/ 818 w 1343"/>
                <a:gd name="T93" fmla="*/ 710 h 895"/>
                <a:gd name="T94" fmla="*/ 858 w 1343"/>
                <a:gd name="T95" fmla="*/ 724 h 895"/>
                <a:gd name="T96" fmla="*/ 822 w 1343"/>
                <a:gd name="T97" fmla="*/ 749 h 895"/>
                <a:gd name="T98" fmla="*/ 813 w 1343"/>
                <a:gd name="T99" fmla="*/ 801 h 895"/>
                <a:gd name="T100" fmla="*/ 848 w 1343"/>
                <a:gd name="T101" fmla="*/ 867 h 895"/>
                <a:gd name="T102" fmla="*/ 901 w 1343"/>
                <a:gd name="T103" fmla="*/ 883 h 895"/>
                <a:gd name="T104" fmla="*/ 972 w 1343"/>
                <a:gd name="T105" fmla="*/ 839 h 895"/>
                <a:gd name="T106" fmla="*/ 1052 w 1343"/>
                <a:gd name="T107" fmla="*/ 827 h 895"/>
                <a:gd name="T108" fmla="*/ 1056 w 1343"/>
                <a:gd name="T109" fmla="*/ 782 h 895"/>
                <a:gd name="T110" fmla="*/ 945 w 1343"/>
                <a:gd name="T111" fmla="*/ 718 h 895"/>
                <a:gd name="T112" fmla="*/ 981 w 1343"/>
                <a:gd name="T113" fmla="*/ 688 h 895"/>
                <a:gd name="T114" fmla="*/ 1049 w 1343"/>
                <a:gd name="T115" fmla="*/ 653 h 895"/>
                <a:gd name="T116" fmla="*/ 1096 w 1343"/>
                <a:gd name="T117" fmla="*/ 644 h 895"/>
                <a:gd name="T118" fmla="*/ 1201 w 1343"/>
                <a:gd name="T119" fmla="*/ 591 h 895"/>
                <a:gd name="T120" fmla="*/ 1293 w 1343"/>
                <a:gd name="T121" fmla="*/ 527 h 895"/>
                <a:gd name="T122" fmla="*/ 1320 w 1343"/>
                <a:gd name="T123" fmla="*/ 454 h 895"/>
                <a:gd name="T124" fmla="*/ 1310 w 1343"/>
                <a:gd name="T125" fmla="*/ 40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3" h="895">
                  <a:moveTo>
                    <a:pt x="580" y="758"/>
                  </a:moveTo>
                  <a:lnTo>
                    <a:pt x="579" y="758"/>
                  </a:lnTo>
                  <a:lnTo>
                    <a:pt x="577" y="761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3" y="762"/>
                  </a:lnTo>
                  <a:lnTo>
                    <a:pt x="573" y="762"/>
                  </a:lnTo>
                  <a:lnTo>
                    <a:pt x="573" y="764"/>
                  </a:lnTo>
                  <a:lnTo>
                    <a:pt x="571" y="764"/>
                  </a:lnTo>
                  <a:lnTo>
                    <a:pt x="570" y="765"/>
                  </a:lnTo>
                  <a:lnTo>
                    <a:pt x="566" y="769"/>
                  </a:lnTo>
                  <a:lnTo>
                    <a:pt x="571" y="765"/>
                  </a:lnTo>
                  <a:lnTo>
                    <a:pt x="579" y="759"/>
                  </a:lnTo>
                  <a:lnTo>
                    <a:pt x="596" y="744"/>
                  </a:lnTo>
                  <a:lnTo>
                    <a:pt x="591" y="747"/>
                  </a:lnTo>
                  <a:lnTo>
                    <a:pt x="580" y="758"/>
                  </a:lnTo>
                  <a:close/>
                  <a:moveTo>
                    <a:pt x="814" y="722"/>
                  </a:moveTo>
                  <a:lnTo>
                    <a:pt x="813" y="721"/>
                  </a:lnTo>
                  <a:lnTo>
                    <a:pt x="810" y="721"/>
                  </a:lnTo>
                  <a:lnTo>
                    <a:pt x="808" y="719"/>
                  </a:lnTo>
                  <a:lnTo>
                    <a:pt x="808" y="719"/>
                  </a:lnTo>
                  <a:lnTo>
                    <a:pt x="807" y="719"/>
                  </a:lnTo>
                  <a:lnTo>
                    <a:pt x="804" y="721"/>
                  </a:lnTo>
                  <a:lnTo>
                    <a:pt x="801" y="718"/>
                  </a:lnTo>
                  <a:lnTo>
                    <a:pt x="799" y="718"/>
                  </a:lnTo>
                  <a:lnTo>
                    <a:pt x="793" y="719"/>
                  </a:lnTo>
                  <a:lnTo>
                    <a:pt x="782" y="718"/>
                  </a:lnTo>
                  <a:lnTo>
                    <a:pt x="782" y="718"/>
                  </a:lnTo>
                  <a:lnTo>
                    <a:pt x="782" y="718"/>
                  </a:lnTo>
                  <a:lnTo>
                    <a:pt x="781" y="718"/>
                  </a:lnTo>
                  <a:lnTo>
                    <a:pt x="813" y="722"/>
                  </a:lnTo>
                  <a:lnTo>
                    <a:pt x="814" y="722"/>
                  </a:lnTo>
                  <a:close/>
                  <a:moveTo>
                    <a:pt x="741" y="705"/>
                  </a:moveTo>
                  <a:lnTo>
                    <a:pt x="731" y="702"/>
                  </a:lnTo>
                  <a:lnTo>
                    <a:pt x="707" y="696"/>
                  </a:lnTo>
                  <a:lnTo>
                    <a:pt x="704" y="695"/>
                  </a:lnTo>
                  <a:lnTo>
                    <a:pt x="702" y="693"/>
                  </a:lnTo>
                  <a:lnTo>
                    <a:pt x="700" y="690"/>
                  </a:lnTo>
                  <a:lnTo>
                    <a:pt x="699" y="685"/>
                  </a:lnTo>
                  <a:lnTo>
                    <a:pt x="697" y="684"/>
                  </a:lnTo>
                  <a:lnTo>
                    <a:pt x="697" y="687"/>
                  </a:lnTo>
                  <a:lnTo>
                    <a:pt x="699" y="688"/>
                  </a:lnTo>
                  <a:lnTo>
                    <a:pt x="699" y="692"/>
                  </a:lnTo>
                  <a:lnTo>
                    <a:pt x="702" y="695"/>
                  </a:lnTo>
                  <a:lnTo>
                    <a:pt x="704" y="696"/>
                  </a:lnTo>
                  <a:lnTo>
                    <a:pt x="716" y="701"/>
                  </a:lnTo>
                  <a:lnTo>
                    <a:pt x="742" y="707"/>
                  </a:lnTo>
                  <a:lnTo>
                    <a:pt x="745" y="709"/>
                  </a:lnTo>
                  <a:lnTo>
                    <a:pt x="747" y="709"/>
                  </a:lnTo>
                  <a:lnTo>
                    <a:pt x="747" y="707"/>
                  </a:lnTo>
                  <a:lnTo>
                    <a:pt x="741" y="705"/>
                  </a:lnTo>
                  <a:close/>
                  <a:moveTo>
                    <a:pt x="1341" y="354"/>
                  </a:moveTo>
                  <a:lnTo>
                    <a:pt x="1338" y="351"/>
                  </a:lnTo>
                  <a:lnTo>
                    <a:pt x="1335" y="347"/>
                  </a:lnTo>
                  <a:lnTo>
                    <a:pt x="1333" y="344"/>
                  </a:lnTo>
                  <a:lnTo>
                    <a:pt x="1333" y="339"/>
                  </a:lnTo>
                  <a:lnTo>
                    <a:pt x="1335" y="336"/>
                  </a:lnTo>
                  <a:lnTo>
                    <a:pt x="1337" y="334"/>
                  </a:lnTo>
                  <a:lnTo>
                    <a:pt x="1338" y="333"/>
                  </a:lnTo>
                  <a:lnTo>
                    <a:pt x="1340" y="331"/>
                  </a:lnTo>
                  <a:lnTo>
                    <a:pt x="1340" y="328"/>
                  </a:lnTo>
                  <a:lnTo>
                    <a:pt x="1340" y="328"/>
                  </a:lnTo>
                  <a:lnTo>
                    <a:pt x="1340" y="328"/>
                  </a:lnTo>
                  <a:lnTo>
                    <a:pt x="1332" y="325"/>
                  </a:lnTo>
                  <a:lnTo>
                    <a:pt x="1330" y="325"/>
                  </a:lnTo>
                  <a:lnTo>
                    <a:pt x="1329" y="327"/>
                  </a:lnTo>
                  <a:lnTo>
                    <a:pt x="1324" y="331"/>
                  </a:lnTo>
                  <a:lnTo>
                    <a:pt x="1323" y="331"/>
                  </a:lnTo>
                  <a:lnTo>
                    <a:pt x="1320" y="333"/>
                  </a:lnTo>
                  <a:lnTo>
                    <a:pt x="1318" y="333"/>
                  </a:lnTo>
                  <a:lnTo>
                    <a:pt x="1317" y="333"/>
                  </a:lnTo>
                  <a:lnTo>
                    <a:pt x="1315" y="333"/>
                  </a:lnTo>
                  <a:lnTo>
                    <a:pt x="1310" y="328"/>
                  </a:lnTo>
                  <a:lnTo>
                    <a:pt x="1307" y="327"/>
                  </a:lnTo>
                  <a:lnTo>
                    <a:pt x="1304" y="327"/>
                  </a:lnTo>
                  <a:lnTo>
                    <a:pt x="1303" y="325"/>
                  </a:lnTo>
                  <a:lnTo>
                    <a:pt x="1301" y="320"/>
                  </a:lnTo>
                  <a:lnTo>
                    <a:pt x="1300" y="316"/>
                  </a:lnTo>
                  <a:lnTo>
                    <a:pt x="1298" y="313"/>
                  </a:lnTo>
                  <a:lnTo>
                    <a:pt x="1298" y="313"/>
                  </a:lnTo>
                  <a:lnTo>
                    <a:pt x="1293" y="311"/>
                  </a:lnTo>
                  <a:lnTo>
                    <a:pt x="1292" y="311"/>
                  </a:lnTo>
                  <a:lnTo>
                    <a:pt x="1289" y="310"/>
                  </a:lnTo>
                  <a:lnTo>
                    <a:pt x="1286" y="310"/>
                  </a:lnTo>
                  <a:lnTo>
                    <a:pt x="1284" y="311"/>
                  </a:lnTo>
                  <a:lnTo>
                    <a:pt x="1281" y="313"/>
                  </a:lnTo>
                  <a:lnTo>
                    <a:pt x="1278" y="311"/>
                  </a:lnTo>
                  <a:lnTo>
                    <a:pt x="1275" y="310"/>
                  </a:lnTo>
                  <a:lnTo>
                    <a:pt x="1273" y="308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67" y="296"/>
                  </a:lnTo>
                  <a:lnTo>
                    <a:pt x="1264" y="296"/>
                  </a:lnTo>
                  <a:lnTo>
                    <a:pt x="1264" y="297"/>
                  </a:lnTo>
                  <a:lnTo>
                    <a:pt x="1261" y="300"/>
                  </a:lnTo>
                  <a:lnTo>
                    <a:pt x="1260" y="302"/>
                  </a:lnTo>
                  <a:lnTo>
                    <a:pt x="1258" y="302"/>
                  </a:lnTo>
                  <a:lnTo>
                    <a:pt x="1252" y="304"/>
                  </a:lnTo>
                  <a:lnTo>
                    <a:pt x="1249" y="300"/>
                  </a:lnTo>
                  <a:lnTo>
                    <a:pt x="1247" y="299"/>
                  </a:lnTo>
                  <a:lnTo>
                    <a:pt x="1246" y="296"/>
                  </a:lnTo>
                  <a:lnTo>
                    <a:pt x="1238" y="294"/>
                  </a:lnTo>
                  <a:lnTo>
                    <a:pt x="1233" y="290"/>
                  </a:lnTo>
                  <a:lnTo>
                    <a:pt x="1232" y="290"/>
                  </a:lnTo>
                  <a:lnTo>
                    <a:pt x="1232" y="290"/>
                  </a:lnTo>
                  <a:lnTo>
                    <a:pt x="1232" y="287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0" y="285"/>
                  </a:lnTo>
                  <a:lnTo>
                    <a:pt x="1229" y="285"/>
                  </a:lnTo>
                  <a:lnTo>
                    <a:pt x="1229" y="287"/>
                  </a:lnTo>
                  <a:lnTo>
                    <a:pt x="1227" y="287"/>
                  </a:lnTo>
                  <a:lnTo>
                    <a:pt x="1224" y="285"/>
                  </a:lnTo>
                  <a:lnTo>
                    <a:pt x="1218" y="287"/>
                  </a:lnTo>
                  <a:lnTo>
                    <a:pt x="1216" y="285"/>
                  </a:lnTo>
                  <a:lnTo>
                    <a:pt x="1215" y="283"/>
                  </a:lnTo>
                  <a:lnTo>
                    <a:pt x="1213" y="283"/>
                  </a:lnTo>
                  <a:lnTo>
                    <a:pt x="1210" y="283"/>
                  </a:lnTo>
                  <a:lnTo>
                    <a:pt x="1209" y="282"/>
                  </a:lnTo>
                  <a:lnTo>
                    <a:pt x="1207" y="282"/>
                  </a:lnTo>
                  <a:lnTo>
                    <a:pt x="1206" y="274"/>
                  </a:lnTo>
                  <a:lnTo>
                    <a:pt x="1204" y="273"/>
                  </a:lnTo>
                  <a:lnTo>
                    <a:pt x="1203" y="273"/>
                  </a:lnTo>
                  <a:lnTo>
                    <a:pt x="1201" y="274"/>
                  </a:lnTo>
                  <a:lnTo>
                    <a:pt x="1196" y="273"/>
                  </a:lnTo>
                  <a:lnTo>
                    <a:pt x="1195" y="274"/>
                  </a:lnTo>
                  <a:lnTo>
                    <a:pt x="1193" y="277"/>
                  </a:lnTo>
                  <a:lnTo>
                    <a:pt x="1195" y="282"/>
                  </a:lnTo>
                  <a:lnTo>
                    <a:pt x="1193" y="287"/>
                  </a:lnTo>
                  <a:lnTo>
                    <a:pt x="1190" y="290"/>
                  </a:lnTo>
                  <a:lnTo>
                    <a:pt x="1190" y="290"/>
                  </a:lnTo>
                  <a:lnTo>
                    <a:pt x="1189" y="288"/>
                  </a:lnTo>
                  <a:lnTo>
                    <a:pt x="1187" y="288"/>
                  </a:lnTo>
                  <a:lnTo>
                    <a:pt x="1187" y="288"/>
                  </a:lnTo>
                  <a:lnTo>
                    <a:pt x="1184" y="291"/>
                  </a:lnTo>
                  <a:lnTo>
                    <a:pt x="1181" y="293"/>
                  </a:lnTo>
                  <a:lnTo>
                    <a:pt x="1181" y="291"/>
                  </a:lnTo>
                  <a:lnTo>
                    <a:pt x="1181" y="290"/>
                  </a:lnTo>
                  <a:lnTo>
                    <a:pt x="1179" y="288"/>
                  </a:lnTo>
                  <a:lnTo>
                    <a:pt x="1179" y="287"/>
                  </a:lnTo>
                  <a:lnTo>
                    <a:pt x="1178" y="283"/>
                  </a:lnTo>
                  <a:lnTo>
                    <a:pt x="1175" y="280"/>
                  </a:lnTo>
                  <a:lnTo>
                    <a:pt x="1173" y="277"/>
                  </a:lnTo>
                  <a:lnTo>
                    <a:pt x="1170" y="276"/>
                  </a:lnTo>
                  <a:lnTo>
                    <a:pt x="1164" y="273"/>
                  </a:lnTo>
                  <a:lnTo>
                    <a:pt x="1161" y="271"/>
                  </a:lnTo>
                  <a:lnTo>
                    <a:pt x="1155" y="260"/>
                  </a:lnTo>
                  <a:lnTo>
                    <a:pt x="1152" y="257"/>
                  </a:lnTo>
                  <a:lnTo>
                    <a:pt x="1152" y="257"/>
                  </a:lnTo>
                  <a:lnTo>
                    <a:pt x="1152" y="256"/>
                  </a:lnTo>
                  <a:lnTo>
                    <a:pt x="1152" y="254"/>
                  </a:lnTo>
                  <a:lnTo>
                    <a:pt x="1152" y="251"/>
                  </a:lnTo>
                  <a:lnTo>
                    <a:pt x="1152" y="247"/>
                  </a:lnTo>
                  <a:lnTo>
                    <a:pt x="1150" y="245"/>
                  </a:lnTo>
                  <a:lnTo>
                    <a:pt x="1143" y="240"/>
                  </a:lnTo>
                  <a:lnTo>
                    <a:pt x="1143" y="237"/>
                  </a:lnTo>
                  <a:lnTo>
                    <a:pt x="1141" y="234"/>
                  </a:lnTo>
                  <a:lnTo>
                    <a:pt x="1139" y="231"/>
                  </a:lnTo>
                  <a:lnTo>
                    <a:pt x="1138" y="230"/>
                  </a:lnTo>
                  <a:lnTo>
                    <a:pt x="1130" y="231"/>
                  </a:lnTo>
                  <a:lnTo>
                    <a:pt x="1129" y="233"/>
                  </a:lnTo>
                  <a:lnTo>
                    <a:pt x="1124" y="237"/>
                  </a:lnTo>
                  <a:lnTo>
                    <a:pt x="1122" y="239"/>
                  </a:lnTo>
                  <a:lnTo>
                    <a:pt x="1112" y="242"/>
                  </a:lnTo>
                  <a:lnTo>
                    <a:pt x="1106" y="240"/>
                  </a:lnTo>
                  <a:lnTo>
                    <a:pt x="1101" y="242"/>
                  </a:lnTo>
                  <a:lnTo>
                    <a:pt x="1096" y="243"/>
                  </a:lnTo>
                  <a:lnTo>
                    <a:pt x="1084" y="250"/>
                  </a:lnTo>
                  <a:lnTo>
                    <a:pt x="1082" y="251"/>
                  </a:lnTo>
                  <a:lnTo>
                    <a:pt x="1082" y="253"/>
                  </a:lnTo>
                  <a:lnTo>
                    <a:pt x="1081" y="254"/>
                  </a:lnTo>
                  <a:lnTo>
                    <a:pt x="1079" y="256"/>
                  </a:lnTo>
                  <a:lnTo>
                    <a:pt x="1079" y="257"/>
                  </a:lnTo>
                  <a:lnTo>
                    <a:pt x="1076" y="257"/>
                  </a:lnTo>
                  <a:lnTo>
                    <a:pt x="1075" y="256"/>
                  </a:lnTo>
                  <a:lnTo>
                    <a:pt x="1073" y="256"/>
                  </a:lnTo>
                  <a:lnTo>
                    <a:pt x="1073" y="256"/>
                  </a:lnTo>
                  <a:lnTo>
                    <a:pt x="1072" y="254"/>
                  </a:lnTo>
                  <a:lnTo>
                    <a:pt x="1073" y="253"/>
                  </a:lnTo>
                  <a:lnTo>
                    <a:pt x="1073" y="250"/>
                  </a:lnTo>
                  <a:lnTo>
                    <a:pt x="1073" y="250"/>
                  </a:lnTo>
                  <a:lnTo>
                    <a:pt x="1073" y="250"/>
                  </a:lnTo>
                  <a:lnTo>
                    <a:pt x="1072" y="248"/>
                  </a:lnTo>
                  <a:lnTo>
                    <a:pt x="1072" y="248"/>
                  </a:lnTo>
                  <a:lnTo>
                    <a:pt x="1069" y="248"/>
                  </a:lnTo>
                  <a:lnTo>
                    <a:pt x="1067" y="247"/>
                  </a:lnTo>
                  <a:lnTo>
                    <a:pt x="1065" y="247"/>
                  </a:lnTo>
                  <a:lnTo>
                    <a:pt x="1064" y="245"/>
                  </a:lnTo>
                  <a:lnTo>
                    <a:pt x="1062" y="245"/>
                  </a:lnTo>
                  <a:lnTo>
                    <a:pt x="1062" y="245"/>
                  </a:lnTo>
                  <a:lnTo>
                    <a:pt x="1061" y="245"/>
                  </a:lnTo>
                  <a:lnTo>
                    <a:pt x="1059" y="247"/>
                  </a:lnTo>
                  <a:lnTo>
                    <a:pt x="1058" y="248"/>
                  </a:lnTo>
                  <a:lnTo>
                    <a:pt x="1056" y="248"/>
                  </a:lnTo>
                  <a:lnTo>
                    <a:pt x="1055" y="248"/>
                  </a:lnTo>
                  <a:lnTo>
                    <a:pt x="1053" y="248"/>
                  </a:lnTo>
                  <a:lnTo>
                    <a:pt x="1045" y="236"/>
                  </a:lnTo>
                  <a:lnTo>
                    <a:pt x="1044" y="234"/>
                  </a:lnTo>
                  <a:lnTo>
                    <a:pt x="1042" y="233"/>
                  </a:lnTo>
                  <a:lnTo>
                    <a:pt x="1041" y="231"/>
                  </a:lnTo>
                  <a:lnTo>
                    <a:pt x="1027" y="231"/>
                  </a:lnTo>
                  <a:lnTo>
                    <a:pt x="1021" y="231"/>
                  </a:lnTo>
                  <a:lnTo>
                    <a:pt x="1019" y="231"/>
                  </a:lnTo>
                  <a:lnTo>
                    <a:pt x="1018" y="233"/>
                  </a:lnTo>
                  <a:lnTo>
                    <a:pt x="1016" y="234"/>
                  </a:lnTo>
                  <a:lnTo>
                    <a:pt x="1016" y="236"/>
                  </a:lnTo>
                  <a:lnTo>
                    <a:pt x="1015" y="236"/>
                  </a:lnTo>
                  <a:lnTo>
                    <a:pt x="1013" y="236"/>
                  </a:lnTo>
                  <a:lnTo>
                    <a:pt x="1013" y="236"/>
                  </a:lnTo>
                  <a:lnTo>
                    <a:pt x="1012" y="237"/>
                  </a:lnTo>
                  <a:lnTo>
                    <a:pt x="1012" y="239"/>
                  </a:lnTo>
                  <a:lnTo>
                    <a:pt x="1010" y="240"/>
                  </a:lnTo>
                  <a:lnTo>
                    <a:pt x="1010" y="240"/>
                  </a:lnTo>
                  <a:lnTo>
                    <a:pt x="1009" y="240"/>
                  </a:lnTo>
                  <a:lnTo>
                    <a:pt x="1007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2" y="239"/>
                  </a:lnTo>
                  <a:lnTo>
                    <a:pt x="1001" y="237"/>
                  </a:lnTo>
                  <a:lnTo>
                    <a:pt x="1001" y="236"/>
                  </a:lnTo>
                  <a:lnTo>
                    <a:pt x="1001" y="233"/>
                  </a:lnTo>
                  <a:lnTo>
                    <a:pt x="999" y="230"/>
                  </a:lnTo>
                  <a:lnTo>
                    <a:pt x="999" y="228"/>
                  </a:lnTo>
                  <a:lnTo>
                    <a:pt x="998" y="227"/>
                  </a:lnTo>
                  <a:lnTo>
                    <a:pt x="996" y="227"/>
                  </a:lnTo>
                  <a:lnTo>
                    <a:pt x="995" y="227"/>
                  </a:lnTo>
                  <a:lnTo>
                    <a:pt x="992" y="225"/>
                  </a:lnTo>
                  <a:lnTo>
                    <a:pt x="990" y="222"/>
                  </a:lnTo>
                  <a:lnTo>
                    <a:pt x="987" y="208"/>
                  </a:lnTo>
                  <a:lnTo>
                    <a:pt x="987" y="207"/>
                  </a:lnTo>
                  <a:lnTo>
                    <a:pt x="987" y="205"/>
                  </a:lnTo>
                  <a:lnTo>
                    <a:pt x="993" y="203"/>
                  </a:lnTo>
                  <a:lnTo>
                    <a:pt x="992" y="200"/>
                  </a:lnTo>
                  <a:lnTo>
                    <a:pt x="992" y="197"/>
                  </a:lnTo>
                  <a:lnTo>
                    <a:pt x="992" y="196"/>
                  </a:lnTo>
                  <a:lnTo>
                    <a:pt x="992" y="191"/>
                  </a:lnTo>
                  <a:lnTo>
                    <a:pt x="990" y="191"/>
                  </a:lnTo>
                  <a:lnTo>
                    <a:pt x="990" y="190"/>
                  </a:lnTo>
                  <a:lnTo>
                    <a:pt x="987" y="188"/>
                  </a:lnTo>
                  <a:lnTo>
                    <a:pt x="987" y="188"/>
                  </a:lnTo>
                  <a:lnTo>
                    <a:pt x="987" y="186"/>
                  </a:lnTo>
                  <a:lnTo>
                    <a:pt x="987" y="185"/>
                  </a:lnTo>
                  <a:lnTo>
                    <a:pt x="987" y="183"/>
                  </a:lnTo>
                  <a:lnTo>
                    <a:pt x="985" y="182"/>
                  </a:lnTo>
                  <a:lnTo>
                    <a:pt x="984" y="180"/>
                  </a:lnTo>
                  <a:lnTo>
                    <a:pt x="984" y="179"/>
                  </a:lnTo>
                  <a:lnTo>
                    <a:pt x="984" y="177"/>
                  </a:lnTo>
                  <a:lnTo>
                    <a:pt x="984" y="176"/>
                  </a:lnTo>
                  <a:lnTo>
                    <a:pt x="984" y="174"/>
                  </a:lnTo>
                  <a:lnTo>
                    <a:pt x="982" y="173"/>
                  </a:lnTo>
                  <a:lnTo>
                    <a:pt x="982" y="171"/>
                  </a:lnTo>
                  <a:lnTo>
                    <a:pt x="981" y="171"/>
                  </a:lnTo>
                  <a:lnTo>
                    <a:pt x="979" y="171"/>
                  </a:lnTo>
                  <a:lnTo>
                    <a:pt x="979" y="170"/>
                  </a:lnTo>
                  <a:lnTo>
                    <a:pt x="979" y="166"/>
                  </a:lnTo>
                  <a:lnTo>
                    <a:pt x="979" y="165"/>
                  </a:lnTo>
                  <a:lnTo>
                    <a:pt x="982" y="163"/>
                  </a:lnTo>
                  <a:lnTo>
                    <a:pt x="984" y="163"/>
                  </a:lnTo>
                  <a:lnTo>
                    <a:pt x="985" y="160"/>
                  </a:lnTo>
                  <a:lnTo>
                    <a:pt x="984" y="159"/>
                  </a:lnTo>
                  <a:lnTo>
                    <a:pt x="982" y="159"/>
                  </a:lnTo>
                  <a:lnTo>
                    <a:pt x="981" y="159"/>
                  </a:lnTo>
                  <a:lnTo>
                    <a:pt x="979" y="159"/>
                  </a:lnTo>
                  <a:lnTo>
                    <a:pt x="973" y="159"/>
                  </a:lnTo>
                  <a:lnTo>
                    <a:pt x="972" y="159"/>
                  </a:lnTo>
                  <a:lnTo>
                    <a:pt x="968" y="157"/>
                  </a:lnTo>
                  <a:lnTo>
                    <a:pt x="967" y="153"/>
                  </a:lnTo>
                  <a:lnTo>
                    <a:pt x="965" y="142"/>
                  </a:lnTo>
                  <a:lnTo>
                    <a:pt x="965" y="140"/>
                  </a:lnTo>
                  <a:lnTo>
                    <a:pt x="964" y="139"/>
                  </a:lnTo>
                  <a:lnTo>
                    <a:pt x="962" y="139"/>
                  </a:lnTo>
                  <a:lnTo>
                    <a:pt x="961" y="139"/>
                  </a:lnTo>
                  <a:lnTo>
                    <a:pt x="959" y="140"/>
                  </a:lnTo>
                  <a:lnTo>
                    <a:pt x="958" y="140"/>
                  </a:lnTo>
                  <a:lnTo>
                    <a:pt x="956" y="139"/>
                  </a:lnTo>
                  <a:lnTo>
                    <a:pt x="956" y="139"/>
                  </a:lnTo>
                  <a:lnTo>
                    <a:pt x="955" y="139"/>
                  </a:lnTo>
                  <a:lnTo>
                    <a:pt x="952" y="140"/>
                  </a:lnTo>
                  <a:lnTo>
                    <a:pt x="945" y="143"/>
                  </a:lnTo>
                  <a:lnTo>
                    <a:pt x="939" y="145"/>
                  </a:lnTo>
                  <a:lnTo>
                    <a:pt x="935" y="143"/>
                  </a:lnTo>
                  <a:lnTo>
                    <a:pt x="933" y="143"/>
                  </a:lnTo>
                  <a:lnTo>
                    <a:pt x="931" y="142"/>
                  </a:lnTo>
                  <a:lnTo>
                    <a:pt x="931" y="140"/>
                  </a:lnTo>
                  <a:lnTo>
                    <a:pt x="930" y="139"/>
                  </a:lnTo>
                  <a:lnTo>
                    <a:pt x="930" y="137"/>
                  </a:lnTo>
                  <a:lnTo>
                    <a:pt x="928" y="136"/>
                  </a:lnTo>
                  <a:lnTo>
                    <a:pt x="927" y="136"/>
                  </a:lnTo>
                  <a:lnTo>
                    <a:pt x="922" y="137"/>
                  </a:lnTo>
                  <a:lnTo>
                    <a:pt x="919" y="136"/>
                  </a:lnTo>
                  <a:lnTo>
                    <a:pt x="915" y="134"/>
                  </a:lnTo>
                  <a:lnTo>
                    <a:pt x="911" y="134"/>
                  </a:lnTo>
                  <a:lnTo>
                    <a:pt x="908" y="134"/>
                  </a:lnTo>
                  <a:lnTo>
                    <a:pt x="907" y="136"/>
                  </a:lnTo>
                  <a:lnTo>
                    <a:pt x="905" y="137"/>
                  </a:lnTo>
                  <a:lnTo>
                    <a:pt x="904" y="137"/>
                  </a:lnTo>
                  <a:lnTo>
                    <a:pt x="898" y="134"/>
                  </a:lnTo>
                  <a:lnTo>
                    <a:pt x="902" y="131"/>
                  </a:lnTo>
                  <a:lnTo>
                    <a:pt x="905" y="128"/>
                  </a:lnTo>
                  <a:lnTo>
                    <a:pt x="907" y="125"/>
                  </a:lnTo>
                  <a:lnTo>
                    <a:pt x="907" y="120"/>
                  </a:lnTo>
                  <a:lnTo>
                    <a:pt x="905" y="120"/>
                  </a:lnTo>
                  <a:lnTo>
                    <a:pt x="904" y="120"/>
                  </a:lnTo>
                  <a:lnTo>
                    <a:pt x="902" y="120"/>
                  </a:lnTo>
                  <a:lnTo>
                    <a:pt x="901" y="120"/>
                  </a:lnTo>
                  <a:lnTo>
                    <a:pt x="901" y="119"/>
                  </a:lnTo>
                  <a:lnTo>
                    <a:pt x="899" y="119"/>
                  </a:lnTo>
                  <a:lnTo>
                    <a:pt x="898" y="117"/>
                  </a:lnTo>
                  <a:lnTo>
                    <a:pt x="898" y="116"/>
                  </a:lnTo>
                  <a:lnTo>
                    <a:pt x="898" y="116"/>
                  </a:lnTo>
                  <a:lnTo>
                    <a:pt x="899" y="116"/>
                  </a:lnTo>
                  <a:lnTo>
                    <a:pt x="901" y="114"/>
                  </a:lnTo>
                  <a:lnTo>
                    <a:pt x="901" y="113"/>
                  </a:lnTo>
                  <a:lnTo>
                    <a:pt x="901" y="113"/>
                  </a:lnTo>
                  <a:lnTo>
                    <a:pt x="899" y="111"/>
                  </a:lnTo>
                  <a:lnTo>
                    <a:pt x="899" y="109"/>
                  </a:lnTo>
                  <a:lnTo>
                    <a:pt x="899" y="108"/>
                  </a:lnTo>
                  <a:lnTo>
                    <a:pt x="901" y="106"/>
                  </a:lnTo>
                  <a:lnTo>
                    <a:pt x="901" y="105"/>
                  </a:lnTo>
                  <a:lnTo>
                    <a:pt x="901" y="103"/>
                  </a:lnTo>
                  <a:lnTo>
                    <a:pt x="901" y="100"/>
                  </a:lnTo>
                  <a:lnTo>
                    <a:pt x="899" y="99"/>
                  </a:lnTo>
                  <a:lnTo>
                    <a:pt x="896" y="96"/>
                  </a:lnTo>
                  <a:lnTo>
                    <a:pt x="895" y="94"/>
                  </a:lnTo>
                  <a:lnTo>
                    <a:pt x="895" y="94"/>
                  </a:lnTo>
                  <a:lnTo>
                    <a:pt x="895" y="91"/>
                  </a:lnTo>
                  <a:lnTo>
                    <a:pt x="895" y="89"/>
                  </a:lnTo>
                  <a:lnTo>
                    <a:pt x="893" y="89"/>
                  </a:lnTo>
                  <a:lnTo>
                    <a:pt x="890" y="88"/>
                  </a:lnTo>
                  <a:lnTo>
                    <a:pt x="890" y="88"/>
                  </a:lnTo>
                  <a:lnTo>
                    <a:pt x="890" y="85"/>
                  </a:lnTo>
                  <a:lnTo>
                    <a:pt x="893" y="83"/>
                  </a:lnTo>
                  <a:lnTo>
                    <a:pt x="907" y="80"/>
                  </a:lnTo>
                  <a:lnTo>
                    <a:pt x="910" y="80"/>
                  </a:lnTo>
                  <a:lnTo>
                    <a:pt x="911" y="80"/>
                  </a:lnTo>
                  <a:lnTo>
                    <a:pt x="915" y="76"/>
                  </a:lnTo>
                  <a:lnTo>
                    <a:pt x="915" y="71"/>
                  </a:lnTo>
                  <a:lnTo>
                    <a:pt x="913" y="66"/>
                  </a:lnTo>
                  <a:lnTo>
                    <a:pt x="911" y="65"/>
                  </a:lnTo>
                  <a:lnTo>
                    <a:pt x="910" y="63"/>
                  </a:lnTo>
                  <a:lnTo>
                    <a:pt x="908" y="62"/>
                  </a:lnTo>
                  <a:lnTo>
                    <a:pt x="905" y="60"/>
                  </a:lnTo>
                  <a:lnTo>
                    <a:pt x="904" y="59"/>
                  </a:lnTo>
                  <a:lnTo>
                    <a:pt x="904" y="59"/>
                  </a:lnTo>
                  <a:lnTo>
                    <a:pt x="902" y="60"/>
                  </a:lnTo>
                  <a:lnTo>
                    <a:pt x="901" y="59"/>
                  </a:lnTo>
                  <a:lnTo>
                    <a:pt x="901" y="59"/>
                  </a:lnTo>
                  <a:lnTo>
                    <a:pt x="901" y="57"/>
                  </a:lnTo>
                  <a:lnTo>
                    <a:pt x="901" y="57"/>
                  </a:lnTo>
                  <a:lnTo>
                    <a:pt x="901" y="56"/>
                  </a:lnTo>
                  <a:lnTo>
                    <a:pt x="899" y="56"/>
                  </a:lnTo>
                  <a:lnTo>
                    <a:pt x="899" y="56"/>
                  </a:lnTo>
                  <a:lnTo>
                    <a:pt x="896" y="51"/>
                  </a:lnTo>
                  <a:lnTo>
                    <a:pt x="895" y="51"/>
                  </a:lnTo>
                  <a:lnTo>
                    <a:pt x="891" y="51"/>
                  </a:lnTo>
                  <a:lnTo>
                    <a:pt x="891" y="49"/>
                  </a:lnTo>
                  <a:lnTo>
                    <a:pt x="891" y="48"/>
                  </a:lnTo>
                  <a:lnTo>
                    <a:pt x="891" y="45"/>
                  </a:lnTo>
                  <a:lnTo>
                    <a:pt x="890" y="43"/>
                  </a:lnTo>
                  <a:lnTo>
                    <a:pt x="888" y="40"/>
                  </a:lnTo>
                  <a:lnTo>
                    <a:pt x="888" y="39"/>
                  </a:lnTo>
                  <a:lnTo>
                    <a:pt x="888" y="34"/>
                  </a:lnTo>
                  <a:lnTo>
                    <a:pt x="888" y="32"/>
                  </a:lnTo>
                  <a:lnTo>
                    <a:pt x="888" y="31"/>
                  </a:lnTo>
                  <a:lnTo>
                    <a:pt x="890" y="29"/>
                  </a:lnTo>
                  <a:lnTo>
                    <a:pt x="890" y="28"/>
                  </a:lnTo>
                  <a:lnTo>
                    <a:pt x="890" y="26"/>
                  </a:lnTo>
                  <a:lnTo>
                    <a:pt x="888" y="25"/>
                  </a:lnTo>
                  <a:lnTo>
                    <a:pt x="888" y="23"/>
                  </a:lnTo>
                  <a:lnTo>
                    <a:pt x="887" y="22"/>
                  </a:lnTo>
                  <a:lnTo>
                    <a:pt x="885" y="20"/>
                  </a:lnTo>
                  <a:lnTo>
                    <a:pt x="881" y="17"/>
                  </a:lnTo>
                  <a:lnTo>
                    <a:pt x="879" y="16"/>
                  </a:lnTo>
                  <a:lnTo>
                    <a:pt x="878" y="12"/>
                  </a:lnTo>
                  <a:lnTo>
                    <a:pt x="876" y="9"/>
                  </a:lnTo>
                  <a:lnTo>
                    <a:pt x="873" y="8"/>
                  </a:lnTo>
                  <a:lnTo>
                    <a:pt x="871" y="6"/>
                  </a:lnTo>
                  <a:lnTo>
                    <a:pt x="871" y="5"/>
                  </a:lnTo>
                  <a:lnTo>
                    <a:pt x="870" y="3"/>
                  </a:lnTo>
                  <a:lnTo>
                    <a:pt x="870" y="2"/>
                  </a:lnTo>
                  <a:lnTo>
                    <a:pt x="867" y="0"/>
                  </a:lnTo>
                  <a:lnTo>
                    <a:pt x="864" y="0"/>
                  </a:lnTo>
                  <a:lnTo>
                    <a:pt x="861" y="2"/>
                  </a:lnTo>
                  <a:lnTo>
                    <a:pt x="854" y="5"/>
                  </a:lnTo>
                  <a:lnTo>
                    <a:pt x="848" y="9"/>
                  </a:lnTo>
                  <a:lnTo>
                    <a:pt x="847" y="9"/>
                  </a:lnTo>
                  <a:lnTo>
                    <a:pt x="847" y="8"/>
                  </a:lnTo>
                  <a:lnTo>
                    <a:pt x="847" y="3"/>
                  </a:lnTo>
                  <a:lnTo>
                    <a:pt x="845" y="2"/>
                  </a:lnTo>
                  <a:lnTo>
                    <a:pt x="844" y="2"/>
                  </a:lnTo>
                  <a:lnTo>
                    <a:pt x="844" y="3"/>
                  </a:lnTo>
                  <a:lnTo>
                    <a:pt x="842" y="3"/>
                  </a:lnTo>
                  <a:lnTo>
                    <a:pt x="841" y="3"/>
                  </a:lnTo>
                  <a:lnTo>
                    <a:pt x="839" y="3"/>
                  </a:lnTo>
                  <a:lnTo>
                    <a:pt x="839" y="3"/>
                  </a:lnTo>
                  <a:lnTo>
                    <a:pt x="838" y="2"/>
                  </a:lnTo>
                  <a:lnTo>
                    <a:pt x="836" y="2"/>
                  </a:lnTo>
                  <a:lnTo>
                    <a:pt x="831" y="2"/>
                  </a:lnTo>
                  <a:lnTo>
                    <a:pt x="824" y="0"/>
                  </a:lnTo>
                  <a:lnTo>
                    <a:pt x="824" y="0"/>
                  </a:lnTo>
                  <a:lnTo>
                    <a:pt x="822" y="0"/>
                  </a:lnTo>
                  <a:lnTo>
                    <a:pt x="821" y="3"/>
                  </a:lnTo>
                  <a:lnTo>
                    <a:pt x="819" y="5"/>
                  </a:lnTo>
                  <a:lnTo>
                    <a:pt x="818" y="5"/>
                  </a:lnTo>
                  <a:lnTo>
                    <a:pt x="818" y="5"/>
                  </a:lnTo>
                  <a:lnTo>
                    <a:pt x="816" y="6"/>
                  </a:lnTo>
                  <a:lnTo>
                    <a:pt x="816" y="8"/>
                  </a:lnTo>
                  <a:lnTo>
                    <a:pt x="814" y="8"/>
                  </a:lnTo>
                  <a:lnTo>
                    <a:pt x="814" y="8"/>
                  </a:lnTo>
                  <a:lnTo>
                    <a:pt x="813" y="8"/>
                  </a:lnTo>
                  <a:lnTo>
                    <a:pt x="811" y="8"/>
                  </a:lnTo>
                  <a:lnTo>
                    <a:pt x="804" y="14"/>
                  </a:lnTo>
                  <a:lnTo>
                    <a:pt x="802" y="16"/>
                  </a:lnTo>
                  <a:lnTo>
                    <a:pt x="801" y="16"/>
                  </a:lnTo>
                  <a:lnTo>
                    <a:pt x="799" y="14"/>
                  </a:lnTo>
                  <a:lnTo>
                    <a:pt x="798" y="12"/>
                  </a:lnTo>
                  <a:lnTo>
                    <a:pt x="796" y="12"/>
                  </a:lnTo>
                  <a:lnTo>
                    <a:pt x="791" y="14"/>
                  </a:lnTo>
                  <a:lnTo>
                    <a:pt x="788" y="14"/>
                  </a:lnTo>
                  <a:lnTo>
                    <a:pt x="774" y="6"/>
                  </a:lnTo>
                  <a:lnTo>
                    <a:pt x="771" y="8"/>
                  </a:lnTo>
                  <a:lnTo>
                    <a:pt x="764" y="5"/>
                  </a:lnTo>
                  <a:lnTo>
                    <a:pt x="762" y="6"/>
                  </a:lnTo>
                  <a:lnTo>
                    <a:pt x="761" y="9"/>
                  </a:lnTo>
                  <a:lnTo>
                    <a:pt x="761" y="11"/>
                  </a:lnTo>
                  <a:lnTo>
                    <a:pt x="762" y="14"/>
                  </a:lnTo>
                  <a:lnTo>
                    <a:pt x="762" y="14"/>
                  </a:lnTo>
                  <a:lnTo>
                    <a:pt x="762" y="16"/>
                  </a:lnTo>
                  <a:lnTo>
                    <a:pt x="761" y="17"/>
                  </a:lnTo>
                  <a:lnTo>
                    <a:pt x="761" y="17"/>
                  </a:lnTo>
                  <a:lnTo>
                    <a:pt x="759" y="19"/>
                  </a:lnTo>
                  <a:lnTo>
                    <a:pt x="759" y="20"/>
                  </a:lnTo>
                  <a:lnTo>
                    <a:pt x="757" y="28"/>
                  </a:lnTo>
                  <a:lnTo>
                    <a:pt x="756" y="32"/>
                  </a:lnTo>
                  <a:lnTo>
                    <a:pt x="753" y="34"/>
                  </a:lnTo>
                  <a:lnTo>
                    <a:pt x="742" y="40"/>
                  </a:lnTo>
                  <a:lnTo>
                    <a:pt x="741" y="40"/>
                  </a:lnTo>
                  <a:lnTo>
                    <a:pt x="736" y="39"/>
                  </a:lnTo>
                  <a:lnTo>
                    <a:pt x="733" y="39"/>
                  </a:lnTo>
                  <a:lnTo>
                    <a:pt x="730" y="40"/>
                  </a:lnTo>
                  <a:lnTo>
                    <a:pt x="728" y="42"/>
                  </a:lnTo>
                  <a:lnTo>
                    <a:pt x="727" y="40"/>
                  </a:lnTo>
                  <a:lnTo>
                    <a:pt x="727" y="39"/>
                  </a:lnTo>
                  <a:lnTo>
                    <a:pt x="727" y="36"/>
                  </a:lnTo>
                  <a:lnTo>
                    <a:pt x="727" y="34"/>
                  </a:lnTo>
                  <a:lnTo>
                    <a:pt x="725" y="32"/>
                  </a:lnTo>
                  <a:lnTo>
                    <a:pt x="722" y="32"/>
                  </a:lnTo>
                  <a:lnTo>
                    <a:pt x="717" y="32"/>
                  </a:lnTo>
                  <a:lnTo>
                    <a:pt x="708" y="32"/>
                  </a:lnTo>
                  <a:lnTo>
                    <a:pt x="696" y="31"/>
                  </a:lnTo>
                  <a:lnTo>
                    <a:pt x="690" y="31"/>
                  </a:lnTo>
                  <a:lnTo>
                    <a:pt x="684" y="32"/>
                  </a:lnTo>
                  <a:lnTo>
                    <a:pt x="682" y="34"/>
                  </a:lnTo>
                  <a:lnTo>
                    <a:pt x="680" y="37"/>
                  </a:lnTo>
                  <a:lnTo>
                    <a:pt x="679" y="39"/>
                  </a:lnTo>
                  <a:lnTo>
                    <a:pt x="677" y="40"/>
                  </a:lnTo>
                  <a:lnTo>
                    <a:pt x="676" y="39"/>
                  </a:lnTo>
                  <a:lnTo>
                    <a:pt x="673" y="36"/>
                  </a:lnTo>
                  <a:lnTo>
                    <a:pt x="671" y="36"/>
                  </a:lnTo>
                  <a:lnTo>
                    <a:pt x="668" y="36"/>
                  </a:lnTo>
                  <a:lnTo>
                    <a:pt x="657" y="36"/>
                  </a:lnTo>
                  <a:lnTo>
                    <a:pt x="656" y="36"/>
                  </a:lnTo>
                  <a:lnTo>
                    <a:pt x="654" y="37"/>
                  </a:lnTo>
                  <a:lnTo>
                    <a:pt x="654" y="39"/>
                  </a:lnTo>
                  <a:lnTo>
                    <a:pt x="654" y="40"/>
                  </a:lnTo>
                  <a:lnTo>
                    <a:pt x="654" y="40"/>
                  </a:lnTo>
                  <a:lnTo>
                    <a:pt x="654" y="42"/>
                  </a:lnTo>
                  <a:lnTo>
                    <a:pt x="654" y="42"/>
                  </a:lnTo>
                  <a:lnTo>
                    <a:pt x="656" y="42"/>
                  </a:lnTo>
                  <a:lnTo>
                    <a:pt x="657" y="43"/>
                  </a:lnTo>
                  <a:lnTo>
                    <a:pt x="656" y="45"/>
                  </a:lnTo>
                  <a:lnTo>
                    <a:pt x="654" y="45"/>
                  </a:lnTo>
                  <a:lnTo>
                    <a:pt x="654" y="45"/>
                  </a:lnTo>
                  <a:lnTo>
                    <a:pt x="653" y="45"/>
                  </a:lnTo>
                  <a:lnTo>
                    <a:pt x="653" y="45"/>
                  </a:lnTo>
                  <a:lnTo>
                    <a:pt x="653" y="45"/>
                  </a:lnTo>
                  <a:lnTo>
                    <a:pt x="651" y="46"/>
                  </a:lnTo>
                  <a:lnTo>
                    <a:pt x="651" y="46"/>
                  </a:lnTo>
                  <a:lnTo>
                    <a:pt x="651" y="48"/>
                  </a:lnTo>
                  <a:lnTo>
                    <a:pt x="651" y="48"/>
                  </a:lnTo>
                  <a:lnTo>
                    <a:pt x="651" y="49"/>
                  </a:lnTo>
                  <a:lnTo>
                    <a:pt x="650" y="49"/>
                  </a:lnTo>
                  <a:lnTo>
                    <a:pt x="650" y="51"/>
                  </a:lnTo>
                  <a:lnTo>
                    <a:pt x="648" y="51"/>
                  </a:lnTo>
                  <a:lnTo>
                    <a:pt x="647" y="53"/>
                  </a:lnTo>
                  <a:lnTo>
                    <a:pt x="647" y="53"/>
                  </a:lnTo>
                  <a:lnTo>
                    <a:pt x="647" y="53"/>
                  </a:lnTo>
                  <a:lnTo>
                    <a:pt x="647" y="54"/>
                  </a:lnTo>
                  <a:lnTo>
                    <a:pt x="647" y="54"/>
                  </a:lnTo>
                  <a:lnTo>
                    <a:pt x="645" y="56"/>
                  </a:lnTo>
                  <a:lnTo>
                    <a:pt x="645" y="57"/>
                  </a:lnTo>
                  <a:lnTo>
                    <a:pt x="643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0" y="57"/>
                  </a:lnTo>
                  <a:lnTo>
                    <a:pt x="640" y="59"/>
                  </a:lnTo>
                  <a:lnTo>
                    <a:pt x="640" y="60"/>
                  </a:lnTo>
                  <a:lnTo>
                    <a:pt x="639" y="60"/>
                  </a:lnTo>
                  <a:lnTo>
                    <a:pt x="639" y="62"/>
                  </a:lnTo>
                  <a:lnTo>
                    <a:pt x="639" y="62"/>
                  </a:lnTo>
                  <a:lnTo>
                    <a:pt x="637" y="62"/>
                  </a:lnTo>
                  <a:lnTo>
                    <a:pt x="637" y="63"/>
                  </a:lnTo>
                  <a:lnTo>
                    <a:pt x="636" y="65"/>
                  </a:lnTo>
                  <a:lnTo>
                    <a:pt x="636" y="66"/>
                  </a:lnTo>
                  <a:lnTo>
                    <a:pt x="636" y="66"/>
                  </a:lnTo>
                  <a:lnTo>
                    <a:pt x="636" y="66"/>
                  </a:lnTo>
                  <a:lnTo>
                    <a:pt x="636" y="68"/>
                  </a:lnTo>
                  <a:lnTo>
                    <a:pt x="636" y="69"/>
                  </a:lnTo>
                  <a:lnTo>
                    <a:pt x="634" y="71"/>
                  </a:lnTo>
                  <a:lnTo>
                    <a:pt x="633" y="73"/>
                  </a:lnTo>
                  <a:lnTo>
                    <a:pt x="633" y="73"/>
                  </a:lnTo>
                  <a:lnTo>
                    <a:pt x="634" y="74"/>
                  </a:lnTo>
                  <a:lnTo>
                    <a:pt x="634" y="74"/>
                  </a:lnTo>
                  <a:lnTo>
                    <a:pt x="634" y="76"/>
                  </a:lnTo>
                  <a:lnTo>
                    <a:pt x="633" y="76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3" y="80"/>
                  </a:lnTo>
                  <a:lnTo>
                    <a:pt x="631" y="80"/>
                  </a:lnTo>
                  <a:lnTo>
                    <a:pt x="630" y="80"/>
                  </a:lnTo>
                  <a:lnTo>
                    <a:pt x="628" y="80"/>
                  </a:lnTo>
                  <a:lnTo>
                    <a:pt x="630" y="82"/>
                  </a:lnTo>
                  <a:lnTo>
                    <a:pt x="628" y="85"/>
                  </a:lnTo>
                  <a:lnTo>
                    <a:pt x="628" y="86"/>
                  </a:lnTo>
                  <a:lnTo>
                    <a:pt x="628" y="86"/>
                  </a:lnTo>
                  <a:lnTo>
                    <a:pt x="628" y="88"/>
                  </a:lnTo>
                  <a:lnTo>
                    <a:pt x="627" y="88"/>
                  </a:lnTo>
                  <a:lnTo>
                    <a:pt x="627" y="88"/>
                  </a:lnTo>
                  <a:lnTo>
                    <a:pt x="628" y="89"/>
                  </a:lnTo>
                  <a:lnTo>
                    <a:pt x="627" y="89"/>
                  </a:lnTo>
                  <a:lnTo>
                    <a:pt x="625" y="93"/>
                  </a:lnTo>
                  <a:lnTo>
                    <a:pt x="625" y="93"/>
                  </a:lnTo>
                  <a:lnTo>
                    <a:pt x="627" y="94"/>
                  </a:lnTo>
                  <a:lnTo>
                    <a:pt x="627" y="94"/>
                  </a:lnTo>
                  <a:lnTo>
                    <a:pt x="627" y="96"/>
                  </a:lnTo>
                  <a:lnTo>
                    <a:pt x="627" y="96"/>
                  </a:lnTo>
                  <a:lnTo>
                    <a:pt x="625" y="96"/>
                  </a:lnTo>
                  <a:lnTo>
                    <a:pt x="625" y="96"/>
                  </a:lnTo>
                  <a:lnTo>
                    <a:pt x="625" y="96"/>
                  </a:lnTo>
                  <a:lnTo>
                    <a:pt x="625" y="97"/>
                  </a:lnTo>
                  <a:lnTo>
                    <a:pt x="627" y="99"/>
                  </a:lnTo>
                  <a:lnTo>
                    <a:pt x="628" y="99"/>
                  </a:lnTo>
                  <a:lnTo>
                    <a:pt x="630" y="99"/>
                  </a:lnTo>
                  <a:lnTo>
                    <a:pt x="630" y="100"/>
                  </a:lnTo>
                  <a:lnTo>
                    <a:pt x="628" y="102"/>
                  </a:lnTo>
                  <a:lnTo>
                    <a:pt x="628" y="102"/>
                  </a:lnTo>
                  <a:lnTo>
                    <a:pt x="630" y="102"/>
                  </a:lnTo>
                  <a:lnTo>
                    <a:pt x="630" y="103"/>
                  </a:lnTo>
                  <a:lnTo>
                    <a:pt x="630" y="105"/>
                  </a:lnTo>
                  <a:lnTo>
                    <a:pt x="630" y="105"/>
                  </a:lnTo>
                  <a:lnTo>
                    <a:pt x="630" y="106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3" y="108"/>
                  </a:lnTo>
                  <a:lnTo>
                    <a:pt x="633" y="109"/>
                  </a:lnTo>
                  <a:lnTo>
                    <a:pt x="631" y="109"/>
                  </a:lnTo>
                  <a:lnTo>
                    <a:pt x="630" y="109"/>
                  </a:lnTo>
                  <a:lnTo>
                    <a:pt x="630" y="109"/>
                  </a:lnTo>
                  <a:lnTo>
                    <a:pt x="630" y="111"/>
                  </a:lnTo>
                  <a:lnTo>
                    <a:pt x="630" y="113"/>
                  </a:lnTo>
                  <a:lnTo>
                    <a:pt x="631" y="114"/>
                  </a:lnTo>
                  <a:lnTo>
                    <a:pt x="631" y="114"/>
                  </a:lnTo>
                  <a:lnTo>
                    <a:pt x="633" y="114"/>
                  </a:lnTo>
                  <a:lnTo>
                    <a:pt x="633" y="116"/>
                  </a:lnTo>
                  <a:lnTo>
                    <a:pt x="633" y="119"/>
                  </a:lnTo>
                  <a:lnTo>
                    <a:pt x="634" y="119"/>
                  </a:lnTo>
                  <a:lnTo>
                    <a:pt x="634" y="120"/>
                  </a:lnTo>
                  <a:lnTo>
                    <a:pt x="634" y="120"/>
                  </a:lnTo>
                  <a:lnTo>
                    <a:pt x="633" y="120"/>
                  </a:lnTo>
                  <a:lnTo>
                    <a:pt x="634" y="123"/>
                  </a:lnTo>
                  <a:lnTo>
                    <a:pt x="631" y="126"/>
                  </a:lnTo>
                  <a:lnTo>
                    <a:pt x="630" y="128"/>
                  </a:lnTo>
                  <a:lnTo>
                    <a:pt x="630" y="130"/>
                  </a:lnTo>
                  <a:lnTo>
                    <a:pt x="628" y="133"/>
                  </a:lnTo>
                  <a:lnTo>
                    <a:pt x="628" y="133"/>
                  </a:lnTo>
                  <a:lnTo>
                    <a:pt x="628" y="136"/>
                  </a:lnTo>
                  <a:lnTo>
                    <a:pt x="628" y="136"/>
                  </a:lnTo>
                  <a:lnTo>
                    <a:pt x="627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5" y="134"/>
                  </a:lnTo>
                  <a:lnTo>
                    <a:pt x="623" y="133"/>
                  </a:lnTo>
                  <a:lnTo>
                    <a:pt x="623" y="133"/>
                  </a:lnTo>
                  <a:lnTo>
                    <a:pt x="622" y="133"/>
                  </a:lnTo>
                  <a:lnTo>
                    <a:pt x="620" y="133"/>
                  </a:lnTo>
                  <a:lnTo>
                    <a:pt x="619" y="130"/>
                  </a:lnTo>
                  <a:lnTo>
                    <a:pt x="617" y="130"/>
                  </a:lnTo>
                  <a:lnTo>
                    <a:pt x="617" y="130"/>
                  </a:lnTo>
                  <a:lnTo>
                    <a:pt x="614" y="130"/>
                  </a:lnTo>
                  <a:lnTo>
                    <a:pt x="614" y="128"/>
                  </a:lnTo>
                  <a:lnTo>
                    <a:pt x="613" y="128"/>
                  </a:lnTo>
                  <a:lnTo>
                    <a:pt x="610" y="125"/>
                  </a:lnTo>
                  <a:lnTo>
                    <a:pt x="610" y="123"/>
                  </a:lnTo>
                  <a:lnTo>
                    <a:pt x="610" y="123"/>
                  </a:lnTo>
                  <a:lnTo>
                    <a:pt x="611" y="120"/>
                  </a:lnTo>
                  <a:lnTo>
                    <a:pt x="611" y="120"/>
                  </a:lnTo>
                  <a:lnTo>
                    <a:pt x="611" y="119"/>
                  </a:lnTo>
                  <a:lnTo>
                    <a:pt x="611" y="117"/>
                  </a:lnTo>
                  <a:lnTo>
                    <a:pt x="611" y="117"/>
                  </a:lnTo>
                  <a:lnTo>
                    <a:pt x="610" y="116"/>
                  </a:lnTo>
                  <a:lnTo>
                    <a:pt x="610" y="116"/>
                  </a:lnTo>
                  <a:lnTo>
                    <a:pt x="605" y="114"/>
                  </a:lnTo>
                  <a:lnTo>
                    <a:pt x="603" y="113"/>
                  </a:lnTo>
                  <a:lnTo>
                    <a:pt x="602" y="108"/>
                  </a:lnTo>
                  <a:lnTo>
                    <a:pt x="599" y="106"/>
                  </a:lnTo>
                  <a:lnTo>
                    <a:pt x="597" y="106"/>
                  </a:lnTo>
                  <a:lnTo>
                    <a:pt x="586" y="106"/>
                  </a:lnTo>
                  <a:lnTo>
                    <a:pt x="585" y="106"/>
                  </a:lnTo>
                  <a:lnTo>
                    <a:pt x="580" y="109"/>
                  </a:lnTo>
                  <a:lnTo>
                    <a:pt x="580" y="109"/>
                  </a:lnTo>
                  <a:lnTo>
                    <a:pt x="579" y="109"/>
                  </a:lnTo>
                  <a:lnTo>
                    <a:pt x="577" y="108"/>
                  </a:lnTo>
                  <a:lnTo>
                    <a:pt x="577" y="109"/>
                  </a:lnTo>
                  <a:lnTo>
                    <a:pt x="576" y="111"/>
                  </a:lnTo>
                  <a:lnTo>
                    <a:pt x="574" y="113"/>
                  </a:lnTo>
                  <a:lnTo>
                    <a:pt x="573" y="113"/>
                  </a:lnTo>
                  <a:lnTo>
                    <a:pt x="566" y="111"/>
                  </a:lnTo>
                  <a:lnTo>
                    <a:pt x="565" y="111"/>
                  </a:lnTo>
                  <a:lnTo>
                    <a:pt x="565" y="108"/>
                  </a:lnTo>
                  <a:lnTo>
                    <a:pt x="563" y="106"/>
                  </a:lnTo>
                  <a:lnTo>
                    <a:pt x="562" y="105"/>
                  </a:lnTo>
                  <a:lnTo>
                    <a:pt x="560" y="105"/>
                  </a:lnTo>
                  <a:lnTo>
                    <a:pt x="559" y="105"/>
                  </a:lnTo>
                  <a:lnTo>
                    <a:pt x="557" y="106"/>
                  </a:lnTo>
                  <a:lnTo>
                    <a:pt x="556" y="108"/>
                  </a:lnTo>
                  <a:lnTo>
                    <a:pt x="556" y="109"/>
                  </a:lnTo>
                  <a:lnTo>
                    <a:pt x="554" y="111"/>
                  </a:lnTo>
                  <a:lnTo>
                    <a:pt x="553" y="111"/>
                  </a:lnTo>
                  <a:lnTo>
                    <a:pt x="550" y="111"/>
                  </a:lnTo>
                  <a:lnTo>
                    <a:pt x="550" y="113"/>
                  </a:lnTo>
                  <a:lnTo>
                    <a:pt x="548" y="113"/>
                  </a:lnTo>
                  <a:lnTo>
                    <a:pt x="548" y="116"/>
                  </a:lnTo>
                  <a:lnTo>
                    <a:pt x="546" y="119"/>
                  </a:lnTo>
                  <a:lnTo>
                    <a:pt x="545" y="119"/>
                  </a:lnTo>
                  <a:lnTo>
                    <a:pt x="542" y="117"/>
                  </a:lnTo>
                  <a:lnTo>
                    <a:pt x="540" y="117"/>
                  </a:lnTo>
                  <a:lnTo>
                    <a:pt x="537" y="119"/>
                  </a:lnTo>
                  <a:lnTo>
                    <a:pt x="537" y="120"/>
                  </a:lnTo>
                  <a:lnTo>
                    <a:pt x="536" y="120"/>
                  </a:lnTo>
                  <a:lnTo>
                    <a:pt x="534" y="119"/>
                  </a:lnTo>
                  <a:lnTo>
                    <a:pt x="533" y="117"/>
                  </a:lnTo>
                  <a:lnTo>
                    <a:pt x="533" y="114"/>
                  </a:lnTo>
                  <a:lnTo>
                    <a:pt x="531" y="113"/>
                  </a:lnTo>
                  <a:lnTo>
                    <a:pt x="530" y="111"/>
                  </a:lnTo>
                  <a:lnTo>
                    <a:pt x="528" y="109"/>
                  </a:lnTo>
                  <a:lnTo>
                    <a:pt x="528" y="108"/>
                  </a:lnTo>
                  <a:lnTo>
                    <a:pt x="530" y="105"/>
                  </a:lnTo>
                  <a:lnTo>
                    <a:pt x="528" y="102"/>
                  </a:lnTo>
                  <a:lnTo>
                    <a:pt x="528" y="100"/>
                  </a:lnTo>
                  <a:lnTo>
                    <a:pt x="525" y="97"/>
                  </a:lnTo>
                  <a:lnTo>
                    <a:pt x="523" y="93"/>
                  </a:lnTo>
                  <a:lnTo>
                    <a:pt x="523" y="91"/>
                  </a:lnTo>
                  <a:lnTo>
                    <a:pt x="520" y="89"/>
                  </a:lnTo>
                  <a:lnTo>
                    <a:pt x="517" y="89"/>
                  </a:lnTo>
                  <a:lnTo>
                    <a:pt x="516" y="89"/>
                  </a:lnTo>
                  <a:lnTo>
                    <a:pt x="516" y="89"/>
                  </a:lnTo>
                  <a:lnTo>
                    <a:pt x="514" y="91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8" y="97"/>
                  </a:lnTo>
                  <a:lnTo>
                    <a:pt x="503" y="97"/>
                  </a:lnTo>
                  <a:lnTo>
                    <a:pt x="502" y="97"/>
                  </a:lnTo>
                  <a:lnTo>
                    <a:pt x="499" y="99"/>
                  </a:lnTo>
                  <a:lnTo>
                    <a:pt x="497" y="100"/>
                  </a:lnTo>
                  <a:lnTo>
                    <a:pt x="494" y="103"/>
                  </a:lnTo>
                  <a:lnTo>
                    <a:pt x="493" y="106"/>
                  </a:lnTo>
                  <a:lnTo>
                    <a:pt x="493" y="108"/>
                  </a:lnTo>
                  <a:lnTo>
                    <a:pt x="493" y="113"/>
                  </a:lnTo>
                  <a:lnTo>
                    <a:pt x="493" y="114"/>
                  </a:lnTo>
                  <a:lnTo>
                    <a:pt x="491" y="116"/>
                  </a:lnTo>
                  <a:lnTo>
                    <a:pt x="491" y="116"/>
                  </a:lnTo>
                  <a:lnTo>
                    <a:pt x="489" y="113"/>
                  </a:lnTo>
                  <a:lnTo>
                    <a:pt x="489" y="111"/>
                  </a:lnTo>
                  <a:lnTo>
                    <a:pt x="488" y="111"/>
                  </a:lnTo>
                  <a:lnTo>
                    <a:pt x="488" y="113"/>
                  </a:lnTo>
                  <a:lnTo>
                    <a:pt x="486" y="113"/>
                  </a:lnTo>
                  <a:lnTo>
                    <a:pt x="485" y="111"/>
                  </a:lnTo>
                  <a:lnTo>
                    <a:pt x="485" y="111"/>
                  </a:lnTo>
                  <a:lnTo>
                    <a:pt x="485" y="109"/>
                  </a:lnTo>
                  <a:lnTo>
                    <a:pt x="483" y="102"/>
                  </a:lnTo>
                  <a:lnTo>
                    <a:pt x="483" y="100"/>
                  </a:lnTo>
                  <a:lnTo>
                    <a:pt x="482" y="99"/>
                  </a:lnTo>
                  <a:lnTo>
                    <a:pt x="480" y="97"/>
                  </a:lnTo>
                  <a:lnTo>
                    <a:pt x="474" y="96"/>
                  </a:lnTo>
                  <a:lnTo>
                    <a:pt x="471" y="96"/>
                  </a:lnTo>
                  <a:lnTo>
                    <a:pt x="469" y="97"/>
                  </a:lnTo>
                  <a:lnTo>
                    <a:pt x="466" y="99"/>
                  </a:lnTo>
                  <a:lnTo>
                    <a:pt x="463" y="100"/>
                  </a:lnTo>
                  <a:lnTo>
                    <a:pt x="463" y="102"/>
                  </a:lnTo>
                  <a:lnTo>
                    <a:pt x="462" y="102"/>
                  </a:lnTo>
                  <a:lnTo>
                    <a:pt x="462" y="100"/>
                  </a:lnTo>
                  <a:lnTo>
                    <a:pt x="460" y="97"/>
                  </a:lnTo>
                  <a:lnTo>
                    <a:pt x="460" y="96"/>
                  </a:lnTo>
                  <a:lnTo>
                    <a:pt x="459" y="94"/>
                  </a:lnTo>
                  <a:lnTo>
                    <a:pt x="457" y="93"/>
                  </a:lnTo>
                  <a:lnTo>
                    <a:pt x="457" y="93"/>
                  </a:lnTo>
                  <a:lnTo>
                    <a:pt x="456" y="91"/>
                  </a:lnTo>
                  <a:lnTo>
                    <a:pt x="456" y="89"/>
                  </a:lnTo>
                  <a:lnTo>
                    <a:pt x="456" y="89"/>
                  </a:lnTo>
                  <a:lnTo>
                    <a:pt x="456" y="88"/>
                  </a:lnTo>
                  <a:lnTo>
                    <a:pt x="454" y="86"/>
                  </a:lnTo>
                  <a:lnTo>
                    <a:pt x="452" y="86"/>
                  </a:lnTo>
                  <a:lnTo>
                    <a:pt x="451" y="86"/>
                  </a:lnTo>
                  <a:lnTo>
                    <a:pt x="449" y="88"/>
                  </a:lnTo>
                  <a:lnTo>
                    <a:pt x="448" y="91"/>
                  </a:lnTo>
                  <a:lnTo>
                    <a:pt x="446" y="96"/>
                  </a:lnTo>
                  <a:lnTo>
                    <a:pt x="443" y="97"/>
                  </a:lnTo>
                  <a:lnTo>
                    <a:pt x="442" y="97"/>
                  </a:lnTo>
                  <a:lnTo>
                    <a:pt x="436" y="97"/>
                  </a:lnTo>
                  <a:lnTo>
                    <a:pt x="434" y="97"/>
                  </a:lnTo>
                  <a:lnTo>
                    <a:pt x="432" y="97"/>
                  </a:lnTo>
                  <a:lnTo>
                    <a:pt x="428" y="91"/>
                  </a:lnTo>
                  <a:lnTo>
                    <a:pt x="426" y="91"/>
                  </a:lnTo>
                  <a:lnTo>
                    <a:pt x="425" y="91"/>
                  </a:lnTo>
                  <a:lnTo>
                    <a:pt x="423" y="93"/>
                  </a:lnTo>
                  <a:lnTo>
                    <a:pt x="422" y="94"/>
                  </a:lnTo>
                  <a:lnTo>
                    <a:pt x="422" y="97"/>
                  </a:lnTo>
                  <a:lnTo>
                    <a:pt x="422" y="99"/>
                  </a:lnTo>
                  <a:lnTo>
                    <a:pt x="422" y="100"/>
                  </a:lnTo>
                  <a:lnTo>
                    <a:pt x="422" y="100"/>
                  </a:lnTo>
                  <a:lnTo>
                    <a:pt x="422" y="102"/>
                  </a:lnTo>
                  <a:lnTo>
                    <a:pt x="422" y="103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6" y="109"/>
                  </a:lnTo>
                  <a:lnTo>
                    <a:pt x="416" y="108"/>
                  </a:lnTo>
                  <a:lnTo>
                    <a:pt x="414" y="108"/>
                  </a:lnTo>
                  <a:lnTo>
                    <a:pt x="412" y="106"/>
                  </a:lnTo>
                  <a:lnTo>
                    <a:pt x="412" y="105"/>
                  </a:lnTo>
                  <a:lnTo>
                    <a:pt x="412" y="105"/>
                  </a:lnTo>
                  <a:lnTo>
                    <a:pt x="414" y="99"/>
                  </a:lnTo>
                  <a:lnTo>
                    <a:pt x="416" y="96"/>
                  </a:lnTo>
                  <a:lnTo>
                    <a:pt x="414" y="94"/>
                  </a:lnTo>
                  <a:lnTo>
                    <a:pt x="412" y="93"/>
                  </a:lnTo>
                  <a:lnTo>
                    <a:pt x="409" y="93"/>
                  </a:lnTo>
                  <a:lnTo>
                    <a:pt x="400" y="89"/>
                  </a:lnTo>
                  <a:lnTo>
                    <a:pt x="400" y="89"/>
                  </a:lnTo>
                  <a:lnTo>
                    <a:pt x="399" y="89"/>
                  </a:lnTo>
                  <a:lnTo>
                    <a:pt x="397" y="91"/>
                  </a:lnTo>
                  <a:lnTo>
                    <a:pt x="396" y="93"/>
                  </a:lnTo>
                  <a:lnTo>
                    <a:pt x="392" y="94"/>
                  </a:lnTo>
                  <a:lnTo>
                    <a:pt x="391" y="94"/>
                  </a:lnTo>
                  <a:lnTo>
                    <a:pt x="388" y="93"/>
                  </a:lnTo>
                  <a:lnTo>
                    <a:pt x="385" y="94"/>
                  </a:lnTo>
                  <a:lnTo>
                    <a:pt x="383" y="94"/>
                  </a:lnTo>
                  <a:lnTo>
                    <a:pt x="382" y="93"/>
                  </a:lnTo>
                  <a:lnTo>
                    <a:pt x="382" y="91"/>
                  </a:lnTo>
                  <a:lnTo>
                    <a:pt x="383" y="88"/>
                  </a:lnTo>
                  <a:lnTo>
                    <a:pt x="383" y="86"/>
                  </a:lnTo>
                  <a:lnTo>
                    <a:pt x="382" y="86"/>
                  </a:lnTo>
                  <a:lnTo>
                    <a:pt x="380" y="86"/>
                  </a:lnTo>
                  <a:lnTo>
                    <a:pt x="379" y="86"/>
                  </a:lnTo>
                  <a:lnTo>
                    <a:pt x="377" y="85"/>
                  </a:lnTo>
                  <a:lnTo>
                    <a:pt x="375" y="82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5" y="76"/>
                  </a:lnTo>
                  <a:lnTo>
                    <a:pt x="374" y="74"/>
                  </a:lnTo>
                  <a:lnTo>
                    <a:pt x="371" y="73"/>
                  </a:lnTo>
                  <a:lnTo>
                    <a:pt x="365" y="73"/>
                  </a:lnTo>
                  <a:lnTo>
                    <a:pt x="357" y="76"/>
                  </a:lnTo>
                  <a:lnTo>
                    <a:pt x="352" y="74"/>
                  </a:lnTo>
                  <a:lnTo>
                    <a:pt x="339" y="68"/>
                  </a:lnTo>
                  <a:lnTo>
                    <a:pt x="322" y="68"/>
                  </a:lnTo>
                  <a:lnTo>
                    <a:pt x="320" y="68"/>
                  </a:lnTo>
                  <a:lnTo>
                    <a:pt x="320" y="66"/>
                  </a:lnTo>
                  <a:lnTo>
                    <a:pt x="320" y="65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19" y="62"/>
                  </a:lnTo>
                  <a:lnTo>
                    <a:pt x="302" y="62"/>
                  </a:lnTo>
                  <a:lnTo>
                    <a:pt x="298" y="60"/>
                  </a:lnTo>
                  <a:lnTo>
                    <a:pt x="294" y="57"/>
                  </a:lnTo>
                  <a:lnTo>
                    <a:pt x="292" y="56"/>
                  </a:lnTo>
                  <a:lnTo>
                    <a:pt x="286" y="56"/>
                  </a:lnTo>
                  <a:lnTo>
                    <a:pt x="271" y="53"/>
                  </a:lnTo>
                  <a:lnTo>
                    <a:pt x="265" y="54"/>
                  </a:lnTo>
                  <a:lnTo>
                    <a:pt x="255" y="54"/>
                  </a:lnTo>
                  <a:lnTo>
                    <a:pt x="240" y="54"/>
                  </a:lnTo>
                  <a:lnTo>
                    <a:pt x="228" y="51"/>
                  </a:lnTo>
                  <a:lnTo>
                    <a:pt x="225" y="51"/>
                  </a:lnTo>
                  <a:lnTo>
                    <a:pt x="221" y="53"/>
                  </a:lnTo>
                  <a:lnTo>
                    <a:pt x="214" y="56"/>
                  </a:lnTo>
                  <a:lnTo>
                    <a:pt x="194" y="59"/>
                  </a:lnTo>
                  <a:lnTo>
                    <a:pt x="192" y="59"/>
                  </a:lnTo>
                  <a:lnTo>
                    <a:pt x="188" y="57"/>
                  </a:lnTo>
                  <a:lnTo>
                    <a:pt x="169" y="59"/>
                  </a:lnTo>
                  <a:lnTo>
                    <a:pt x="168" y="60"/>
                  </a:lnTo>
                  <a:lnTo>
                    <a:pt x="166" y="62"/>
                  </a:lnTo>
                  <a:lnTo>
                    <a:pt x="163" y="65"/>
                  </a:lnTo>
                  <a:lnTo>
                    <a:pt x="161" y="68"/>
                  </a:lnTo>
                  <a:lnTo>
                    <a:pt x="160" y="76"/>
                  </a:lnTo>
                  <a:lnTo>
                    <a:pt x="158" y="79"/>
                  </a:lnTo>
                  <a:lnTo>
                    <a:pt x="149" y="85"/>
                  </a:lnTo>
                  <a:lnTo>
                    <a:pt x="138" y="94"/>
                  </a:lnTo>
                  <a:lnTo>
                    <a:pt x="135" y="94"/>
                  </a:lnTo>
                  <a:lnTo>
                    <a:pt x="132" y="93"/>
                  </a:lnTo>
                  <a:lnTo>
                    <a:pt x="131" y="89"/>
                  </a:lnTo>
                  <a:lnTo>
                    <a:pt x="128" y="89"/>
                  </a:lnTo>
                  <a:lnTo>
                    <a:pt x="126" y="89"/>
                  </a:lnTo>
                  <a:lnTo>
                    <a:pt x="121" y="88"/>
                  </a:lnTo>
                  <a:lnTo>
                    <a:pt x="118" y="86"/>
                  </a:lnTo>
                  <a:lnTo>
                    <a:pt x="112" y="89"/>
                  </a:lnTo>
                  <a:lnTo>
                    <a:pt x="111" y="89"/>
                  </a:lnTo>
                  <a:lnTo>
                    <a:pt x="111" y="91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94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2" y="103"/>
                  </a:lnTo>
                  <a:lnTo>
                    <a:pt x="111" y="103"/>
                  </a:lnTo>
                  <a:lnTo>
                    <a:pt x="111" y="102"/>
                  </a:lnTo>
                  <a:lnTo>
                    <a:pt x="111" y="103"/>
                  </a:lnTo>
                  <a:lnTo>
                    <a:pt x="111" y="105"/>
                  </a:lnTo>
                  <a:lnTo>
                    <a:pt x="112" y="105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4" y="109"/>
                  </a:lnTo>
                  <a:lnTo>
                    <a:pt x="114" y="109"/>
                  </a:lnTo>
                  <a:lnTo>
                    <a:pt x="117" y="114"/>
                  </a:lnTo>
                  <a:lnTo>
                    <a:pt x="117" y="116"/>
                  </a:lnTo>
                  <a:lnTo>
                    <a:pt x="117" y="116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4" y="122"/>
                  </a:lnTo>
                  <a:lnTo>
                    <a:pt x="112" y="123"/>
                  </a:lnTo>
                  <a:lnTo>
                    <a:pt x="112" y="125"/>
                  </a:lnTo>
                  <a:lnTo>
                    <a:pt x="112" y="128"/>
                  </a:lnTo>
                  <a:lnTo>
                    <a:pt x="114" y="128"/>
                  </a:lnTo>
                  <a:lnTo>
                    <a:pt x="115" y="128"/>
                  </a:lnTo>
                  <a:lnTo>
                    <a:pt x="117" y="130"/>
                  </a:lnTo>
                  <a:lnTo>
                    <a:pt x="120" y="139"/>
                  </a:lnTo>
                  <a:lnTo>
                    <a:pt x="121" y="140"/>
                  </a:lnTo>
                  <a:lnTo>
                    <a:pt x="126" y="143"/>
                  </a:lnTo>
                  <a:lnTo>
                    <a:pt x="129" y="146"/>
                  </a:lnTo>
                  <a:lnTo>
                    <a:pt x="131" y="148"/>
                  </a:lnTo>
                  <a:lnTo>
                    <a:pt x="129" y="148"/>
                  </a:lnTo>
                  <a:lnTo>
                    <a:pt x="129" y="150"/>
                  </a:lnTo>
                  <a:lnTo>
                    <a:pt x="129" y="151"/>
                  </a:lnTo>
                  <a:lnTo>
                    <a:pt x="132" y="154"/>
                  </a:lnTo>
                  <a:lnTo>
                    <a:pt x="132" y="156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2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5" y="165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8"/>
                  </a:lnTo>
                  <a:lnTo>
                    <a:pt x="137" y="170"/>
                  </a:lnTo>
                  <a:lnTo>
                    <a:pt x="138" y="171"/>
                  </a:lnTo>
                  <a:lnTo>
                    <a:pt x="143" y="176"/>
                  </a:lnTo>
                  <a:lnTo>
                    <a:pt x="149" y="179"/>
                  </a:lnTo>
                  <a:lnTo>
                    <a:pt x="151" y="180"/>
                  </a:lnTo>
                  <a:lnTo>
                    <a:pt x="149" y="183"/>
                  </a:lnTo>
                  <a:lnTo>
                    <a:pt x="148" y="183"/>
                  </a:lnTo>
                  <a:lnTo>
                    <a:pt x="144" y="183"/>
                  </a:lnTo>
                  <a:lnTo>
                    <a:pt x="143" y="183"/>
                  </a:lnTo>
                  <a:lnTo>
                    <a:pt x="141" y="183"/>
                  </a:lnTo>
                  <a:lnTo>
                    <a:pt x="138" y="183"/>
                  </a:lnTo>
                  <a:lnTo>
                    <a:pt x="137" y="185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7" y="190"/>
                  </a:lnTo>
                  <a:lnTo>
                    <a:pt x="140" y="191"/>
                  </a:lnTo>
                  <a:lnTo>
                    <a:pt x="141" y="191"/>
                  </a:lnTo>
                  <a:lnTo>
                    <a:pt x="141" y="193"/>
                  </a:lnTo>
                  <a:lnTo>
                    <a:pt x="140" y="194"/>
                  </a:lnTo>
                  <a:lnTo>
                    <a:pt x="141" y="196"/>
                  </a:lnTo>
                  <a:lnTo>
                    <a:pt x="143" y="197"/>
                  </a:lnTo>
                  <a:lnTo>
                    <a:pt x="146" y="197"/>
                  </a:lnTo>
                  <a:lnTo>
                    <a:pt x="144" y="200"/>
                  </a:lnTo>
                  <a:lnTo>
                    <a:pt x="146" y="203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46" y="210"/>
                  </a:lnTo>
                  <a:lnTo>
                    <a:pt x="146" y="216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4" y="220"/>
                  </a:lnTo>
                  <a:lnTo>
                    <a:pt x="140" y="223"/>
                  </a:lnTo>
                  <a:lnTo>
                    <a:pt x="140" y="225"/>
                  </a:lnTo>
                  <a:lnTo>
                    <a:pt x="140" y="227"/>
                  </a:lnTo>
                  <a:lnTo>
                    <a:pt x="140" y="228"/>
                  </a:lnTo>
                  <a:lnTo>
                    <a:pt x="140" y="230"/>
                  </a:lnTo>
                  <a:lnTo>
                    <a:pt x="138" y="234"/>
                  </a:lnTo>
                  <a:lnTo>
                    <a:pt x="134" y="236"/>
                  </a:lnTo>
                  <a:lnTo>
                    <a:pt x="121" y="236"/>
                  </a:lnTo>
                  <a:lnTo>
                    <a:pt x="118" y="236"/>
                  </a:lnTo>
                  <a:lnTo>
                    <a:pt x="117" y="237"/>
                  </a:lnTo>
                  <a:lnTo>
                    <a:pt x="115" y="237"/>
                  </a:lnTo>
                  <a:lnTo>
                    <a:pt x="115" y="239"/>
                  </a:lnTo>
                  <a:lnTo>
                    <a:pt x="114" y="242"/>
                  </a:lnTo>
                  <a:lnTo>
                    <a:pt x="114" y="243"/>
                  </a:lnTo>
                  <a:lnTo>
                    <a:pt x="114" y="245"/>
                  </a:lnTo>
                  <a:lnTo>
                    <a:pt x="107" y="251"/>
                  </a:lnTo>
                  <a:lnTo>
                    <a:pt x="104" y="253"/>
                  </a:lnTo>
                  <a:lnTo>
                    <a:pt x="104" y="253"/>
                  </a:lnTo>
                  <a:lnTo>
                    <a:pt x="104" y="253"/>
                  </a:lnTo>
                  <a:lnTo>
                    <a:pt x="101" y="256"/>
                  </a:lnTo>
                  <a:lnTo>
                    <a:pt x="97" y="257"/>
                  </a:lnTo>
                  <a:lnTo>
                    <a:pt x="80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72" y="285"/>
                  </a:lnTo>
                  <a:lnTo>
                    <a:pt x="64" y="297"/>
                  </a:lnTo>
                  <a:lnTo>
                    <a:pt x="61" y="300"/>
                  </a:lnTo>
                  <a:lnTo>
                    <a:pt x="61" y="302"/>
                  </a:lnTo>
                  <a:lnTo>
                    <a:pt x="60" y="304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58" y="305"/>
                  </a:lnTo>
                  <a:lnTo>
                    <a:pt x="57" y="307"/>
                  </a:lnTo>
                  <a:lnTo>
                    <a:pt x="57" y="307"/>
                  </a:lnTo>
                  <a:lnTo>
                    <a:pt x="52" y="316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49" y="317"/>
                  </a:lnTo>
                  <a:lnTo>
                    <a:pt x="47" y="317"/>
                  </a:lnTo>
                  <a:lnTo>
                    <a:pt x="47" y="319"/>
                  </a:lnTo>
                  <a:lnTo>
                    <a:pt x="46" y="322"/>
                  </a:lnTo>
                  <a:lnTo>
                    <a:pt x="40" y="330"/>
                  </a:lnTo>
                  <a:lnTo>
                    <a:pt x="38" y="334"/>
                  </a:lnTo>
                  <a:lnTo>
                    <a:pt x="40" y="339"/>
                  </a:lnTo>
                  <a:lnTo>
                    <a:pt x="40" y="340"/>
                  </a:lnTo>
                  <a:lnTo>
                    <a:pt x="41" y="345"/>
                  </a:lnTo>
                  <a:lnTo>
                    <a:pt x="41" y="347"/>
                  </a:lnTo>
                  <a:lnTo>
                    <a:pt x="41" y="347"/>
                  </a:lnTo>
                  <a:lnTo>
                    <a:pt x="43" y="348"/>
                  </a:lnTo>
                  <a:lnTo>
                    <a:pt x="44" y="350"/>
                  </a:lnTo>
                  <a:lnTo>
                    <a:pt x="44" y="351"/>
                  </a:lnTo>
                  <a:lnTo>
                    <a:pt x="44" y="353"/>
                  </a:lnTo>
                  <a:lnTo>
                    <a:pt x="46" y="364"/>
                  </a:lnTo>
                  <a:lnTo>
                    <a:pt x="46" y="365"/>
                  </a:lnTo>
                  <a:lnTo>
                    <a:pt x="44" y="368"/>
                  </a:lnTo>
                  <a:lnTo>
                    <a:pt x="43" y="373"/>
                  </a:lnTo>
                  <a:lnTo>
                    <a:pt x="41" y="374"/>
                  </a:lnTo>
                  <a:lnTo>
                    <a:pt x="41" y="376"/>
                  </a:lnTo>
                  <a:lnTo>
                    <a:pt x="41" y="377"/>
                  </a:lnTo>
                  <a:lnTo>
                    <a:pt x="43" y="377"/>
                  </a:lnTo>
                  <a:lnTo>
                    <a:pt x="43" y="376"/>
                  </a:lnTo>
                  <a:lnTo>
                    <a:pt x="44" y="376"/>
                  </a:lnTo>
                  <a:lnTo>
                    <a:pt x="44" y="376"/>
                  </a:lnTo>
                  <a:lnTo>
                    <a:pt x="44" y="376"/>
                  </a:lnTo>
                  <a:lnTo>
                    <a:pt x="46" y="379"/>
                  </a:lnTo>
                  <a:lnTo>
                    <a:pt x="49" y="381"/>
                  </a:lnTo>
                  <a:lnTo>
                    <a:pt x="51" y="382"/>
                  </a:lnTo>
                  <a:lnTo>
                    <a:pt x="54" y="384"/>
                  </a:lnTo>
                  <a:lnTo>
                    <a:pt x="54" y="385"/>
                  </a:lnTo>
                  <a:lnTo>
                    <a:pt x="54" y="387"/>
                  </a:lnTo>
                  <a:lnTo>
                    <a:pt x="54" y="388"/>
                  </a:lnTo>
                  <a:lnTo>
                    <a:pt x="54" y="390"/>
                  </a:lnTo>
                  <a:lnTo>
                    <a:pt x="54" y="391"/>
                  </a:lnTo>
                  <a:lnTo>
                    <a:pt x="55" y="393"/>
                  </a:lnTo>
                  <a:lnTo>
                    <a:pt x="55" y="393"/>
                  </a:lnTo>
                  <a:lnTo>
                    <a:pt x="55" y="394"/>
                  </a:lnTo>
                  <a:lnTo>
                    <a:pt x="54" y="396"/>
                  </a:lnTo>
                  <a:lnTo>
                    <a:pt x="52" y="394"/>
                  </a:lnTo>
                  <a:lnTo>
                    <a:pt x="51" y="393"/>
                  </a:lnTo>
                  <a:lnTo>
                    <a:pt x="49" y="393"/>
                  </a:lnTo>
                  <a:lnTo>
                    <a:pt x="49" y="393"/>
                  </a:lnTo>
                  <a:lnTo>
                    <a:pt x="47" y="390"/>
                  </a:lnTo>
                  <a:lnTo>
                    <a:pt x="47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1" y="390"/>
                  </a:lnTo>
                  <a:lnTo>
                    <a:pt x="40" y="390"/>
                  </a:lnTo>
                  <a:lnTo>
                    <a:pt x="38" y="390"/>
                  </a:lnTo>
                  <a:lnTo>
                    <a:pt x="37" y="388"/>
                  </a:lnTo>
                  <a:lnTo>
                    <a:pt x="34" y="385"/>
                  </a:lnTo>
                  <a:lnTo>
                    <a:pt x="32" y="385"/>
                  </a:lnTo>
                  <a:lnTo>
                    <a:pt x="30" y="387"/>
                  </a:lnTo>
                  <a:lnTo>
                    <a:pt x="30" y="388"/>
                  </a:lnTo>
                  <a:lnTo>
                    <a:pt x="29" y="391"/>
                  </a:lnTo>
                  <a:lnTo>
                    <a:pt x="29" y="394"/>
                  </a:lnTo>
                  <a:lnTo>
                    <a:pt x="29" y="396"/>
                  </a:lnTo>
                  <a:lnTo>
                    <a:pt x="27" y="396"/>
                  </a:lnTo>
                  <a:lnTo>
                    <a:pt x="26" y="397"/>
                  </a:lnTo>
                  <a:lnTo>
                    <a:pt x="24" y="397"/>
                  </a:lnTo>
                  <a:lnTo>
                    <a:pt x="23" y="402"/>
                  </a:lnTo>
                  <a:lnTo>
                    <a:pt x="21" y="405"/>
                  </a:lnTo>
                  <a:lnTo>
                    <a:pt x="21" y="405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8"/>
                  </a:lnTo>
                  <a:lnTo>
                    <a:pt x="18" y="410"/>
                  </a:lnTo>
                  <a:lnTo>
                    <a:pt x="18" y="411"/>
                  </a:lnTo>
                  <a:lnTo>
                    <a:pt x="18" y="411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18" y="414"/>
                  </a:lnTo>
                  <a:lnTo>
                    <a:pt x="18" y="417"/>
                  </a:lnTo>
                  <a:lnTo>
                    <a:pt x="18" y="419"/>
                  </a:lnTo>
                  <a:lnTo>
                    <a:pt x="17" y="421"/>
                  </a:lnTo>
                  <a:lnTo>
                    <a:pt x="17" y="421"/>
                  </a:lnTo>
                  <a:lnTo>
                    <a:pt x="15" y="422"/>
                  </a:lnTo>
                  <a:lnTo>
                    <a:pt x="15" y="422"/>
                  </a:lnTo>
                  <a:lnTo>
                    <a:pt x="15" y="424"/>
                  </a:lnTo>
                  <a:lnTo>
                    <a:pt x="15" y="427"/>
                  </a:lnTo>
                  <a:lnTo>
                    <a:pt x="15" y="428"/>
                  </a:lnTo>
                  <a:lnTo>
                    <a:pt x="14" y="431"/>
                  </a:lnTo>
                  <a:lnTo>
                    <a:pt x="12" y="433"/>
                  </a:lnTo>
                  <a:lnTo>
                    <a:pt x="12" y="433"/>
                  </a:lnTo>
                  <a:lnTo>
                    <a:pt x="9" y="433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7" y="437"/>
                  </a:lnTo>
                  <a:lnTo>
                    <a:pt x="1" y="442"/>
                  </a:lnTo>
                  <a:lnTo>
                    <a:pt x="1" y="444"/>
                  </a:lnTo>
                  <a:lnTo>
                    <a:pt x="1" y="445"/>
                  </a:lnTo>
                  <a:lnTo>
                    <a:pt x="1" y="450"/>
                  </a:lnTo>
                  <a:lnTo>
                    <a:pt x="1" y="451"/>
                  </a:lnTo>
                  <a:lnTo>
                    <a:pt x="0" y="453"/>
                  </a:lnTo>
                  <a:lnTo>
                    <a:pt x="0" y="462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1"/>
                  </a:lnTo>
                  <a:lnTo>
                    <a:pt x="6" y="461"/>
                  </a:lnTo>
                  <a:lnTo>
                    <a:pt x="7" y="461"/>
                  </a:lnTo>
                  <a:lnTo>
                    <a:pt x="10" y="462"/>
                  </a:lnTo>
                  <a:lnTo>
                    <a:pt x="9" y="465"/>
                  </a:lnTo>
                  <a:lnTo>
                    <a:pt x="9" y="467"/>
                  </a:lnTo>
                  <a:lnTo>
                    <a:pt x="12" y="467"/>
                  </a:lnTo>
                  <a:lnTo>
                    <a:pt x="12" y="467"/>
                  </a:lnTo>
                  <a:lnTo>
                    <a:pt x="12" y="468"/>
                  </a:lnTo>
                  <a:lnTo>
                    <a:pt x="12" y="468"/>
                  </a:lnTo>
                  <a:lnTo>
                    <a:pt x="12" y="470"/>
                  </a:lnTo>
                  <a:lnTo>
                    <a:pt x="12" y="471"/>
                  </a:lnTo>
                  <a:lnTo>
                    <a:pt x="14" y="474"/>
                  </a:lnTo>
                  <a:lnTo>
                    <a:pt x="17" y="479"/>
                  </a:lnTo>
                  <a:lnTo>
                    <a:pt x="18" y="481"/>
                  </a:lnTo>
                  <a:lnTo>
                    <a:pt x="18" y="481"/>
                  </a:lnTo>
                  <a:lnTo>
                    <a:pt x="18" y="481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0" y="479"/>
                  </a:lnTo>
                  <a:lnTo>
                    <a:pt x="21" y="481"/>
                  </a:lnTo>
                  <a:lnTo>
                    <a:pt x="23" y="481"/>
                  </a:lnTo>
                  <a:lnTo>
                    <a:pt x="24" y="481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26" y="479"/>
                  </a:lnTo>
                  <a:lnTo>
                    <a:pt x="32" y="487"/>
                  </a:lnTo>
                  <a:lnTo>
                    <a:pt x="34" y="490"/>
                  </a:lnTo>
                  <a:lnTo>
                    <a:pt x="34" y="493"/>
                  </a:lnTo>
                  <a:lnTo>
                    <a:pt x="35" y="496"/>
                  </a:lnTo>
                  <a:lnTo>
                    <a:pt x="35" y="496"/>
                  </a:lnTo>
                  <a:lnTo>
                    <a:pt x="35" y="496"/>
                  </a:lnTo>
                  <a:lnTo>
                    <a:pt x="37" y="496"/>
                  </a:lnTo>
                  <a:lnTo>
                    <a:pt x="43" y="496"/>
                  </a:lnTo>
                  <a:lnTo>
                    <a:pt x="43" y="494"/>
                  </a:lnTo>
                  <a:lnTo>
                    <a:pt x="44" y="494"/>
                  </a:lnTo>
                  <a:lnTo>
                    <a:pt x="46" y="494"/>
                  </a:lnTo>
                  <a:lnTo>
                    <a:pt x="47" y="494"/>
                  </a:lnTo>
                  <a:lnTo>
                    <a:pt x="47" y="494"/>
                  </a:lnTo>
                  <a:lnTo>
                    <a:pt x="51" y="496"/>
                  </a:lnTo>
                  <a:lnTo>
                    <a:pt x="52" y="499"/>
                  </a:lnTo>
                  <a:lnTo>
                    <a:pt x="54" y="501"/>
                  </a:lnTo>
                  <a:lnTo>
                    <a:pt x="54" y="502"/>
                  </a:lnTo>
                  <a:lnTo>
                    <a:pt x="55" y="504"/>
                  </a:lnTo>
                  <a:lnTo>
                    <a:pt x="55" y="505"/>
                  </a:lnTo>
                  <a:lnTo>
                    <a:pt x="54" y="505"/>
                  </a:lnTo>
                  <a:lnTo>
                    <a:pt x="54" y="507"/>
                  </a:lnTo>
                  <a:lnTo>
                    <a:pt x="52" y="510"/>
                  </a:lnTo>
                  <a:lnTo>
                    <a:pt x="54" y="510"/>
                  </a:lnTo>
                  <a:lnTo>
                    <a:pt x="55" y="513"/>
                  </a:lnTo>
                  <a:lnTo>
                    <a:pt x="57" y="513"/>
                  </a:lnTo>
                  <a:lnTo>
                    <a:pt x="58" y="511"/>
                  </a:lnTo>
                  <a:lnTo>
                    <a:pt x="60" y="510"/>
                  </a:lnTo>
                  <a:lnTo>
                    <a:pt x="58" y="507"/>
                  </a:lnTo>
                  <a:lnTo>
                    <a:pt x="60" y="507"/>
                  </a:lnTo>
                  <a:lnTo>
                    <a:pt x="60" y="507"/>
                  </a:lnTo>
                  <a:lnTo>
                    <a:pt x="61" y="507"/>
                  </a:lnTo>
                  <a:lnTo>
                    <a:pt x="63" y="508"/>
                  </a:lnTo>
                  <a:lnTo>
                    <a:pt x="64" y="508"/>
                  </a:lnTo>
                  <a:lnTo>
                    <a:pt x="66" y="508"/>
                  </a:lnTo>
                  <a:lnTo>
                    <a:pt x="66" y="508"/>
                  </a:lnTo>
                  <a:lnTo>
                    <a:pt x="69" y="505"/>
                  </a:lnTo>
                  <a:lnTo>
                    <a:pt x="71" y="504"/>
                  </a:lnTo>
                  <a:lnTo>
                    <a:pt x="72" y="499"/>
                  </a:lnTo>
                  <a:lnTo>
                    <a:pt x="74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83" y="498"/>
                  </a:lnTo>
                  <a:lnTo>
                    <a:pt x="83" y="499"/>
                  </a:lnTo>
                  <a:lnTo>
                    <a:pt x="86" y="502"/>
                  </a:lnTo>
                  <a:lnTo>
                    <a:pt x="91" y="505"/>
                  </a:lnTo>
                  <a:lnTo>
                    <a:pt x="92" y="507"/>
                  </a:lnTo>
                  <a:lnTo>
                    <a:pt x="92" y="508"/>
                  </a:lnTo>
                  <a:lnTo>
                    <a:pt x="92" y="508"/>
                  </a:lnTo>
                  <a:lnTo>
                    <a:pt x="94" y="508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4" y="507"/>
                  </a:lnTo>
                  <a:lnTo>
                    <a:pt x="95" y="507"/>
                  </a:lnTo>
                  <a:lnTo>
                    <a:pt x="100" y="510"/>
                  </a:lnTo>
                  <a:lnTo>
                    <a:pt x="101" y="510"/>
                  </a:lnTo>
                  <a:lnTo>
                    <a:pt x="101" y="510"/>
                  </a:lnTo>
                  <a:lnTo>
                    <a:pt x="101" y="510"/>
                  </a:lnTo>
                  <a:lnTo>
                    <a:pt x="101" y="508"/>
                  </a:lnTo>
                  <a:lnTo>
                    <a:pt x="103" y="508"/>
                  </a:lnTo>
                  <a:lnTo>
                    <a:pt x="103" y="508"/>
                  </a:lnTo>
                  <a:lnTo>
                    <a:pt x="103" y="507"/>
                  </a:lnTo>
                  <a:lnTo>
                    <a:pt x="104" y="507"/>
                  </a:lnTo>
                  <a:lnTo>
                    <a:pt x="107" y="507"/>
                  </a:lnTo>
                  <a:lnTo>
                    <a:pt x="107" y="507"/>
                  </a:lnTo>
                  <a:lnTo>
                    <a:pt x="114" y="507"/>
                  </a:lnTo>
                  <a:lnTo>
                    <a:pt x="117" y="508"/>
                  </a:lnTo>
                  <a:lnTo>
                    <a:pt x="118" y="508"/>
                  </a:lnTo>
                  <a:lnTo>
                    <a:pt x="123" y="508"/>
                  </a:lnTo>
                  <a:lnTo>
                    <a:pt x="124" y="508"/>
                  </a:lnTo>
                  <a:lnTo>
                    <a:pt x="128" y="513"/>
                  </a:lnTo>
                  <a:lnTo>
                    <a:pt x="129" y="514"/>
                  </a:lnTo>
                  <a:lnTo>
                    <a:pt x="131" y="514"/>
                  </a:lnTo>
                  <a:lnTo>
                    <a:pt x="138" y="511"/>
                  </a:lnTo>
                  <a:lnTo>
                    <a:pt x="140" y="511"/>
                  </a:lnTo>
                  <a:lnTo>
                    <a:pt x="141" y="511"/>
                  </a:lnTo>
                  <a:lnTo>
                    <a:pt x="144" y="513"/>
                  </a:lnTo>
                  <a:lnTo>
                    <a:pt x="146" y="513"/>
                  </a:lnTo>
                  <a:lnTo>
                    <a:pt x="149" y="516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5" y="518"/>
                  </a:lnTo>
                  <a:lnTo>
                    <a:pt x="157" y="518"/>
                  </a:lnTo>
                  <a:lnTo>
                    <a:pt x="161" y="516"/>
                  </a:lnTo>
                  <a:lnTo>
                    <a:pt x="164" y="516"/>
                  </a:lnTo>
                  <a:lnTo>
                    <a:pt x="168" y="513"/>
                  </a:lnTo>
                  <a:lnTo>
                    <a:pt x="169" y="511"/>
                  </a:lnTo>
                  <a:lnTo>
                    <a:pt x="171" y="511"/>
                  </a:lnTo>
                  <a:lnTo>
                    <a:pt x="175" y="513"/>
                  </a:lnTo>
                  <a:lnTo>
                    <a:pt x="180" y="513"/>
                  </a:lnTo>
                  <a:lnTo>
                    <a:pt x="181" y="513"/>
                  </a:lnTo>
                  <a:lnTo>
                    <a:pt x="181" y="514"/>
                  </a:lnTo>
                  <a:lnTo>
                    <a:pt x="185" y="516"/>
                  </a:lnTo>
                  <a:lnTo>
                    <a:pt x="186" y="518"/>
                  </a:lnTo>
                  <a:lnTo>
                    <a:pt x="188" y="519"/>
                  </a:lnTo>
                  <a:lnTo>
                    <a:pt x="188" y="521"/>
                  </a:lnTo>
                  <a:lnTo>
                    <a:pt x="188" y="522"/>
                  </a:lnTo>
                  <a:lnTo>
                    <a:pt x="189" y="524"/>
                  </a:lnTo>
                  <a:lnTo>
                    <a:pt x="191" y="524"/>
                  </a:lnTo>
                  <a:lnTo>
                    <a:pt x="192" y="527"/>
                  </a:lnTo>
                  <a:lnTo>
                    <a:pt x="198" y="528"/>
                  </a:lnTo>
                  <a:lnTo>
                    <a:pt x="200" y="530"/>
                  </a:lnTo>
                  <a:lnTo>
                    <a:pt x="200" y="531"/>
                  </a:lnTo>
                  <a:lnTo>
                    <a:pt x="203" y="534"/>
                  </a:lnTo>
                  <a:lnTo>
                    <a:pt x="205" y="538"/>
                  </a:lnTo>
                  <a:lnTo>
                    <a:pt x="206" y="539"/>
                  </a:lnTo>
                  <a:lnTo>
                    <a:pt x="209" y="539"/>
                  </a:lnTo>
                  <a:lnTo>
                    <a:pt x="209" y="538"/>
                  </a:lnTo>
                  <a:lnTo>
                    <a:pt x="215" y="538"/>
                  </a:lnTo>
                  <a:lnTo>
                    <a:pt x="220" y="534"/>
                  </a:lnTo>
                  <a:lnTo>
                    <a:pt x="220" y="534"/>
                  </a:lnTo>
                  <a:lnTo>
                    <a:pt x="220" y="534"/>
                  </a:lnTo>
                  <a:lnTo>
                    <a:pt x="223" y="533"/>
                  </a:lnTo>
                  <a:lnTo>
                    <a:pt x="231" y="521"/>
                  </a:lnTo>
                  <a:lnTo>
                    <a:pt x="234" y="518"/>
                  </a:lnTo>
                  <a:lnTo>
                    <a:pt x="269" y="514"/>
                  </a:lnTo>
                  <a:lnTo>
                    <a:pt x="275" y="511"/>
                  </a:lnTo>
                  <a:lnTo>
                    <a:pt x="278" y="511"/>
                  </a:lnTo>
                  <a:lnTo>
                    <a:pt x="282" y="510"/>
                  </a:lnTo>
                  <a:lnTo>
                    <a:pt x="282" y="510"/>
                  </a:lnTo>
                  <a:lnTo>
                    <a:pt x="286" y="511"/>
                  </a:lnTo>
                  <a:lnTo>
                    <a:pt x="291" y="510"/>
                  </a:lnTo>
                  <a:lnTo>
                    <a:pt x="295" y="510"/>
                  </a:lnTo>
                  <a:lnTo>
                    <a:pt x="297" y="510"/>
                  </a:lnTo>
                  <a:lnTo>
                    <a:pt x="302" y="507"/>
                  </a:lnTo>
                  <a:lnTo>
                    <a:pt x="302" y="507"/>
                  </a:lnTo>
                  <a:lnTo>
                    <a:pt x="303" y="502"/>
                  </a:lnTo>
                  <a:lnTo>
                    <a:pt x="305" y="502"/>
                  </a:lnTo>
                  <a:lnTo>
                    <a:pt x="306" y="499"/>
                  </a:lnTo>
                  <a:lnTo>
                    <a:pt x="308" y="499"/>
                  </a:lnTo>
                  <a:lnTo>
                    <a:pt x="308" y="496"/>
                  </a:lnTo>
                  <a:lnTo>
                    <a:pt x="309" y="493"/>
                  </a:lnTo>
                  <a:lnTo>
                    <a:pt x="311" y="490"/>
                  </a:lnTo>
                  <a:lnTo>
                    <a:pt x="311" y="487"/>
                  </a:lnTo>
                  <a:lnTo>
                    <a:pt x="311" y="484"/>
                  </a:lnTo>
                  <a:lnTo>
                    <a:pt x="311" y="484"/>
                  </a:lnTo>
                  <a:lnTo>
                    <a:pt x="312" y="484"/>
                  </a:lnTo>
                  <a:lnTo>
                    <a:pt x="314" y="484"/>
                  </a:lnTo>
                  <a:lnTo>
                    <a:pt x="317" y="482"/>
                  </a:lnTo>
                  <a:lnTo>
                    <a:pt x="319" y="482"/>
                  </a:lnTo>
                  <a:lnTo>
                    <a:pt x="322" y="482"/>
                  </a:lnTo>
                  <a:lnTo>
                    <a:pt x="323" y="481"/>
                  </a:lnTo>
                  <a:lnTo>
                    <a:pt x="332" y="479"/>
                  </a:lnTo>
                  <a:lnTo>
                    <a:pt x="334" y="478"/>
                  </a:lnTo>
                  <a:lnTo>
                    <a:pt x="334" y="478"/>
                  </a:lnTo>
                  <a:lnTo>
                    <a:pt x="335" y="476"/>
                  </a:lnTo>
                  <a:lnTo>
                    <a:pt x="335" y="474"/>
                  </a:lnTo>
                  <a:lnTo>
                    <a:pt x="339" y="473"/>
                  </a:lnTo>
                  <a:lnTo>
                    <a:pt x="339" y="471"/>
                  </a:lnTo>
                  <a:lnTo>
                    <a:pt x="339" y="470"/>
                  </a:lnTo>
                  <a:lnTo>
                    <a:pt x="340" y="471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3" y="474"/>
                  </a:lnTo>
                  <a:lnTo>
                    <a:pt x="345" y="474"/>
                  </a:lnTo>
                  <a:lnTo>
                    <a:pt x="346" y="474"/>
                  </a:lnTo>
                  <a:lnTo>
                    <a:pt x="346" y="474"/>
                  </a:lnTo>
                  <a:lnTo>
                    <a:pt x="348" y="473"/>
                  </a:lnTo>
                  <a:lnTo>
                    <a:pt x="348" y="470"/>
                  </a:lnTo>
                  <a:lnTo>
                    <a:pt x="346" y="468"/>
                  </a:lnTo>
                  <a:lnTo>
                    <a:pt x="346" y="467"/>
                  </a:lnTo>
                  <a:lnTo>
                    <a:pt x="346" y="467"/>
                  </a:lnTo>
                  <a:lnTo>
                    <a:pt x="346" y="465"/>
                  </a:lnTo>
                  <a:lnTo>
                    <a:pt x="348" y="465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5"/>
                  </a:lnTo>
                  <a:lnTo>
                    <a:pt x="349" y="464"/>
                  </a:lnTo>
                  <a:lnTo>
                    <a:pt x="351" y="464"/>
                  </a:lnTo>
                  <a:lnTo>
                    <a:pt x="351" y="464"/>
                  </a:lnTo>
                  <a:lnTo>
                    <a:pt x="354" y="464"/>
                  </a:lnTo>
                  <a:lnTo>
                    <a:pt x="355" y="467"/>
                  </a:lnTo>
                  <a:lnTo>
                    <a:pt x="359" y="468"/>
                  </a:lnTo>
                  <a:lnTo>
                    <a:pt x="362" y="467"/>
                  </a:lnTo>
                  <a:lnTo>
                    <a:pt x="362" y="467"/>
                  </a:lnTo>
                  <a:lnTo>
                    <a:pt x="363" y="467"/>
                  </a:lnTo>
                  <a:lnTo>
                    <a:pt x="363" y="467"/>
                  </a:lnTo>
                  <a:lnTo>
                    <a:pt x="363" y="467"/>
                  </a:lnTo>
                  <a:lnTo>
                    <a:pt x="365" y="467"/>
                  </a:lnTo>
                  <a:lnTo>
                    <a:pt x="365" y="467"/>
                  </a:lnTo>
                  <a:lnTo>
                    <a:pt x="365" y="467"/>
                  </a:lnTo>
                  <a:lnTo>
                    <a:pt x="365" y="465"/>
                  </a:lnTo>
                  <a:lnTo>
                    <a:pt x="365" y="465"/>
                  </a:lnTo>
                  <a:lnTo>
                    <a:pt x="365" y="464"/>
                  </a:lnTo>
                  <a:lnTo>
                    <a:pt x="365" y="464"/>
                  </a:lnTo>
                  <a:lnTo>
                    <a:pt x="365" y="462"/>
                  </a:lnTo>
                  <a:lnTo>
                    <a:pt x="366" y="462"/>
                  </a:lnTo>
                  <a:lnTo>
                    <a:pt x="366" y="462"/>
                  </a:lnTo>
                  <a:lnTo>
                    <a:pt x="368" y="464"/>
                  </a:lnTo>
                  <a:lnTo>
                    <a:pt x="375" y="467"/>
                  </a:lnTo>
                  <a:lnTo>
                    <a:pt x="379" y="467"/>
                  </a:lnTo>
                  <a:lnTo>
                    <a:pt x="382" y="465"/>
                  </a:lnTo>
                  <a:lnTo>
                    <a:pt x="382" y="465"/>
                  </a:lnTo>
                  <a:lnTo>
                    <a:pt x="386" y="459"/>
                  </a:lnTo>
                  <a:lnTo>
                    <a:pt x="388" y="458"/>
                  </a:lnTo>
                  <a:lnTo>
                    <a:pt x="389" y="459"/>
                  </a:lnTo>
                  <a:lnTo>
                    <a:pt x="392" y="461"/>
                  </a:lnTo>
                  <a:lnTo>
                    <a:pt x="392" y="461"/>
                  </a:lnTo>
                  <a:lnTo>
                    <a:pt x="394" y="461"/>
                  </a:lnTo>
                  <a:lnTo>
                    <a:pt x="399" y="456"/>
                  </a:lnTo>
                  <a:lnTo>
                    <a:pt x="400" y="454"/>
                  </a:lnTo>
                  <a:lnTo>
                    <a:pt x="403" y="454"/>
                  </a:lnTo>
                  <a:lnTo>
                    <a:pt x="405" y="454"/>
                  </a:lnTo>
                  <a:lnTo>
                    <a:pt x="406" y="453"/>
                  </a:lnTo>
                  <a:lnTo>
                    <a:pt x="408" y="453"/>
                  </a:lnTo>
                  <a:lnTo>
                    <a:pt x="408" y="456"/>
                  </a:lnTo>
                  <a:lnTo>
                    <a:pt x="409" y="456"/>
                  </a:lnTo>
                  <a:lnTo>
                    <a:pt x="419" y="456"/>
                  </a:lnTo>
                  <a:lnTo>
                    <a:pt x="422" y="458"/>
                  </a:lnTo>
                  <a:lnTo>
                    <a:pt x="426" y="461"/>
                  </a:lnTo>
                  <a:lnTo>
                    <a:pt x="428" y="462"/>
                  </a:lnTo>
                  <a:lnTo>
                    <a:pt x="429" y="465"/>
                  </a:lnTo>
                  <a:lnTo>
                    <a:pt x="429" y="465"/>
                  </a:lnTo>
                  <a:lnTo>
                    <a:pt x="429" y="467"/>
                  </a:lnTo>
                  <a:lnTo>
                    <a:pt x="432" y="468"/>
                  </a:lnTo>
                  <a:lnTo>
                    <a:pt x="434" y="470"/>
                  </a:lnTo>
                  <a:lnTo>
                    <a:pt x="437" y="470"/>
                  </a:lnTo>
                  <a:lnTo>
                    <a:pt x="442" y="471"/>
                  </a:lnTo>
                  <a:lnTo>
                    <a:pt x="443" y="471"/>
                  </a:lnTo>
                  <a:lnTo>
                    <a:pt x="445" y="473"/>
                  </a:lnTo>
                  <a:lnTo>
                    <a:pt x="445" y="474"/>
                  </a:lnTo>
                  <a:lnTo>
                    <a:pt x="443" y="479"/>
                  </a:lnTo>
                  <a:lnTo>
                    <a:pt x="445" y="481"/>
                  </a:lnTo>
                  <a:lnTo>
                    <a:pt x="446" y="481"/>
                  </a:lnTo>
                  <a:lnTo>
                    <a:pt x="446" y="481"/>
                  </a:lnTo>
                  <a:lnTo>
                    <a:pt x="449" y="478"/>
                  </a:lnTo>
                  <a:lnTo>
                    <a:pt x="451" y="478"/>
                  </a:lnTo>
                  <a:lnTo>
                    <a:pt x="451" y="479"/>
                  </a:lnTo>
                  <a:lnTo>
                    <a:pt x="451" y="482"/>
                  </a:lnTo>
                  <a:lnTo>
                    <a:pt x="452" y="484"/>
                  </a:lnTo>
                  <a:lnTo>
                    <a:pt x="454" y="484"/>
                  </a:lnTo>
                  <a:lnTo>
                    <a:pt x="456" y="484"/>
                  </a:lnTo>
                  <a:lnTo>
                    <a:pt x="457" y="482"/>
                  </a:lnTo>
                  <a:lnTo>
                    <a:pt x="457" y="481"/>
                  </a:lnTo>
                  <a:lnTo>
                    <a:pt x="459" y="481"/>
                  </a:lnTo>
                  <a:lnTo>
                    <a:pt x="463" y="481"/>
                  </a:lnTo>
                  <a:lnTo>
                    <a:pt x="463" y="481"/>
                  </a:lnTo>
                  <a:lnTo>
                    <a:pt x="465" y="481"/>
                  </a:lnTo>
                  <a:lnTo>
                    <a:pt x="465" y="484"/>
                  </a:lnTo>
                  <a:lnTo>
                    <a:pt x="465" y="485"/>
                  </a:lnTo>
                  <a:lnTo>
                    <a:pt x="463" y="487"/>
                  </a:lnTo>
                  <a:lnTo>
                    <a:pt x="462" y="487"/>
                  </a:lnTo>
                  <a:lnTo>
                    <a:pt x="462" y="488"/>
                  </a:lnTo>
                  <a:lnTo>
                    <a:pt x="460" y="490"/>
                  </a:lnTo>
                  <a:lnTo>
                    <a:pt x="460" y="491"/>
                  </a:lnTo>
                  <a:lnTo>
                    <a:pt x="462" y="493"/>
                  </a:lnTo>
                  <a:lnTo>
                    <a:pt x="463" y="493"/>
                  </a:lnTo>
                  <a:lnTo>
                    <a:pt x="465" y="491"/>
                  </a:lnTo>
                  <a:lnTo>
                    <a:pt x="465" y="490"/>
                  </a:lnTo>
                  <a:lnTo>
                    <a:pt x="466" y="488"/>
                  </a:lnTo>
                  <a:lnTo>
                    <a:pt x="468" y="488"/>
                  </a:lnTo>
                  <a:lnTo>
                    <a:pt x="469" y="488"/>
                  </a:lnTo>
                  <a:lnTo>
                    <a:pt x="469" y="490"/>
                  </a:lnTo>
                  <a:lnTo>
                    <a:pt x="469" y="491"/>
                  </a:lnTo>
                  <a:lnTo>
                    <a:pt x="468" y="493"/>
                  </a:lnTo>
                  <a:lnTo>
                    <a:pt x="471" y="498"/>
                  </a:lnTo>
                  <a:lnTo>
                    <a:pt x="471" y="499"/>
                  </a:lnTo>
                  <a:lnTo>
                    <a:pt x="473" y="499"/>
                  </a:lnTo>
                  <a:lnTo>
                    <a:pt x="474" y="499"/>
                  </a:lnTo>
                  <a:lnTo>
                    <a:pt x="474" y="499"/>
                  </a:lnTo>
                  <a:lnTo>
                    <a:pt x="474" y="496"/>
                  </a:lnTo>
                  <a:lnTo>
                    <a:pt x="474" y="494"/>
                  </a:lnTo>
                  <a:lnTo>
                    <a:pt x="474" y="494"/>
                  </a:lnTo>
                  <a:lnTo>
                    <a:pt x="474" y="494"/>
                  </a:lnTo>
                  <a:lnTo>
                    <a:pt x="476" y="490"/>
                  </a:lnTo>
                  <a:lnTo>
                    <a:pt x="477" y="490"/>
                  </a:lnTo>
                  <a:lnTo>
                    <a:pt x="480" y="490"/>
                  </a:lnTo>
                  <a:lnTo>
                    <a:pt x="486" y="493"/>
                  </a:lnTo>
                  <a:lnTo>
                    <a:pt x="493" y="493"/>
                  </a:lnTo>
                  <a:lnTo>
                    <a:pt x="494" y="493"/>
                  </a:lnTo>
                  <a:lnTo>
                    <a:pt x="497" y="494"/>
                  </a:lnTo>
                  <a:lnTo>
                    <a:pt x="497" y="496"/>
                  </a:lnTo>
                  <a:lnTo>
                    <a:pt x="497" y="496"/>
                  </a:lnTo>
                  <a:lnTo>
                    <a:pt x="497" y="498"/>
                  </a:lnTo>
                  <a:lnTo>
                    <a:pt x="497" y="498"/>
                  </a:lnTo>
                  <a:lnTo>
                    <a:pt x="499" y="501"/>
                  </a:lnTo>
                  <a:lnTo>
                    <a:pt x="499" y="504"/>
                  </a:lnTo>
                  <a:lnTo>
                    <a:pt x="499" y="504"/>
                  </a:lnTo>
                  <a:lnTo>
                    <a:pt x="500" y="505"/>
                  </a:lnTo>
                  <a:lnTo>
                    <a:pt x="500" y="505"/>
                  </a:lnTo>
                  <a:lnTo>
                    <a:pt x="502" y="507"/>
                  </a:lnTo>
                  <a:lnTo>
                    <a:pt x="503" y="510"/>
                  </a:lnTo>
                  <a:lnTo>
                    <a:pt x="505" y="511"/>
                  </a:lnTo>
                  <a:lnTo>
                    <a:pt x="506" y="513"/>
                  </a:lnTo>
                  <a:lnTo>
                    <a:pt x="508" y="514"/>
                  </a:lnTo>
                  <a:lnTo>
                    <a:pt x="509" y="514"/>
                  </a:lnTo>
                  <a:lnTo>
                    <a:pt x="513" y="514"/>
                  </a:lnTo>
                  <a:lnTo>
                    <a:pt x="516" y="510"/>
                  </a:lnTo>
                  <a:lnTo>
                    <a:pt x="519" y="508"/>
                  </a:lnTo>
                  <a:lnTo>
                    <a:pt x="520" y="508"/>
                  </a:lnTo>
                  <a:lnTo>
                    <a:pt x="520" y="510"/>
                  </a:lnTo>
                  <a:lnTo>
                    <a:pt x="522" y="510"/>
                  </a:lnTo>
                  <a:lnTo>
                    <a:pt x="523" y="511"/>
                  </a:lnTo>
                  <a:lnTo>
                    <a:pt x="523" y="513"/>
                  </a:lnTo>
                  <a:lnTo>
                    <a:pt x="523" y="518"/>
                  </a:lnTo>
                  <a:lnTo>
                    <a:pt x="525" y="519"/>
                  </a:lnTo>
                  <a:lnTo>
                    <a:pt x="525" y="519"/>
                  </a:lnTo>
                  <a:lnTo>
                    <a:pt x="528" y="521"/>
                  </a:lnTo>
                  <a:lnTo>
                    <a:pt x="530" y="521"/>
                  </a:lnTo>
                  <a:lnTo>
                    <a:pt x="530" y="522"/>
                  </a:lnTo>
                  <a:lnTo>
                    <a:pt x="528" y="524"/>
                  </a:lnTo>
                  <a:lnTo>
                    <a:pt x="526" y="525"/>
                  </a:lnTo>
                  <a:lnTo>
                    <a:pt x="525" y="527"/>
                  </a:lnTo>
                  <a:lnTo>
                    <a:pt x="525" y="528"/>
                  </a:lnTo>
                  <a:lnTo>
                    <a:pt x="525" y="530"/>
                  </a:lnTo>
                  <a:lnTo>
                    <a:pt x="525" y="531"/>
                  </a:lnTo>
                  <a:lnTo>
                    <a:pt x="528" y="531"/>
                  </a:lnTo>
                  <a:lnTo>
                    <a:pt x="530" y="533"/>
                  </a:lnTo>
                  <a:lnTo>
                    <a:pt x="530" y="534"/>
                  </a:lnTo>
                  <a:lnTo>
                    <a:pt x="528" y="534"/>
                  </a:lnTo>
                  <a:lnTo>
                    <a:pt x="526" y="538"/>
                  </a:lnTo>
                  <a:lnTo>
                    <a:pt x="526" y="542"/>
                  </a:lnTo>
                  <a:lnTo>
                    <a:pt x="526" y="545"/>
                  </a:lnTo>
                  <a:lnTo>
                    <a:pt x="525" y="550"/>
                  </a:lnTo>
                  <a:lnTo>
                    <a:pt x="523" y="553"/>
                  </a:lnTo>
                  <a:lnTo>
                    <a:pt x="522" y="556"/>
                  </a:lnTo>
                  <a:lnTo>
                    <a:pt x="520" y="558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4"/>
                  </a:lnTo>
                  <a:lnTo>
                    <a:pt x="522" y="564"/>
                  </a:lnTo>
                  <a:lnTo>
                    <a:pt x="523" y="567"/>
                  </a:lnTo>
                  <a:lnTo>
                    <a:pt x="523" y="568"/>
                  </a:lnTo>
                  <a:lnTo>
                    <a:pt x="525" y="570"/>
                  </a:lnTo>
                  <a:lnTo>
                    <a:pt x="526" y="568"/>
                  </a:lnTo>
                  <a:lnTo>
                    <a:pt x="526" y="568"/>
                  </a:lnTo>
                  <a:lnTo>
                    <a:pt x="528" y="567"/>
                  </a:lnTo>
                  <a:lnTo>
                    <a:pt x="530" y="568"/>
                  </a:lnTo>
                  <a:lnTo>
                    <a:pt x="531" y="570"/>
                  </a:lnTo>
                  <a:lnTo>
                    <a:pt x="533" y="571"/>
                  </a:lnTo>
                  <a:lnTo>
                    <a:pt x="533" y="573"/>
                  </a:lnTo>
                  <a:lnTo>
                    <a:pt x="534" y="575"/>
                  </a:lnTo>
                  <a:lnTo>
                    <a:pt x="534" y="576"/>
                  </a:lnTo>
                  <a:lnTo>
                    <a:pt x="536" y="576"/>
                  </a:lnTo>
                  <a:lnTo>
                    <a:pt x="536" y="576"/>
                  </a:lnTo>
                  <a:lnTo>
                    <a:pt x="537" y="576"/>
                  </a:lnTo>
                  <a:lnTo>
                    <a:pt x="539" y="578"/>
                  </a:lnTo>
                  <a:lnTo>
                    <a:pt x="539" y="579"/>
                  </a:lnTo>
                  <a:lnTo>
                    <a:pt x="539" y="581"/>
                  </a:lnTo>
                  <a:lnTo>
                    <a:pt x="539" y="582"/>
                  </a:lnTo>
                  <a:lnTo>
                    <a:pt x="539" y="584"/>
                  </a:lnTo>
                  <a:lnTo>
                    <a:pt x="540" y="585"/>
                  </a:lnTo>
                  <a:lnTo>
                    <a:pt x="540" y="585"/>
                  </a:lnTo>
                  <a:lnTo>
                    <a:pt x="542" y="587"/>
                  </a:lnTo>
                  <a:lnTo>
                    <a:pt x="543" y="587"/>
                  </a:lnTo>
                  <a:lnTo>
                    <a:pt x="545" y="585"/>
                  </a:lnTo>
                  <a:lnTo>
                    <a:pt x="546" y="585"/>
                  </a:lnTo>
                  <a:lnTo>
                    <a:pt x="546" y="584"/>
                  </a:lnTo>
                  <a:lnTo>
                    <a:pt x="546" y="581"/>
                  </a:lnTo>
                  <a:lnTo>
                    <a:pt x="548" y="579"/>
                  </a:lnTo>
                  <a:lnTo>
                    <a:pt x="550" y="579"/>
                  </a:lnTo>
                  <a:lnTo>
                    <a:pt x="551" y="579"/>
                  </a:lnTo>
                  <a:lnTo>
                    <a:pt x="551" y="581"/>
                  </a:lnTo>
                  <a:lnTo>
                    <a:pt x="553" y="581"/>
                  </a:lnTo>
                  <a:lnTo>
                    <a:pt x="554" y="584"/>
                  </a:lnTo>
                  <a:lnTo>
                    <a:pt x="554" y="585"/>
                  </a:lnTo>
                  <a:lnTo>
                    <a:pt x="554" y="588"/>
                  </a:lnTo>
                  <a:lnTo>
                    <a:pt x="554" y="590"/>
                  </a:lnTo>
                  <a:lnTo>
                    <a:pt x="553" y="591"/>
                  </a:lnTo>
                  <a:lnTo>
                    <a:pt x="553" y="593"/>
                  </a:lnTo>
                  <a:lnTo>
                    <a:pt x="553" y="599"/>
                  </a:lnTo>
                  <a:lnTo>
                    <a:pt x="553" y="602"/>
                  </a:lnTo>
                  <a:lnTo>
                    <a:pt x="551" y="604"/>
                  </a:lnTo>
                  <a:lnTo>
                    <a:pt x="550" y="604"/>
                  </a:lnTo>
                  <a:lnTo>
                    <a:pt x="548" y="604"/>
                  </a:lnTo>
                  <a:lnTo>
                    <a:pt x="548" y="604"/>
                  </a:lnTo>
                  <a:lnTo>
                    <a:pt x="546" y="604"/>
                  </a:lnTo>
                  <a:lnTo>
                    <a:pt x="548" y="605"/>
                  </a:lnTo>
                  <a:lnTo>
                    <a:pt x="548" y="605"/>
                  </a:lnTo>
                  <a:lnTo>
                    <a:pt x="550" y="610"/>
                  </a:lnTo>
                  <a:lnTo>
                    <a:pt x="551" y="610"/>
                  </a:lnTo>
                  <a:lnTo>
                    <a:pt x="551" y="610"/>
                  </a:lnTo>
                  <a:lnTo>
                    <a:pt x="551" y="608"/>
                  </a:lnTo>
                  <a:lnTo>
                    <a:pt x="553" y="607"/>
                  </a:lnTo>
                  <a:lnTo>
                    <a:pt x="554" y="607"/>
                  </a:lnTo>
                  <a:lnTo>
                    <a:pt x="556" y="607"/>
                  </a:lnTo>
                  <a:lnTo>
                    <a:pt x="556" y="608"/>
                  </a:lnTo>
                  <a:lnTo>
                    <a:pt x="557" y="610"/>
                  </a:lnTo>
                  <a:lnTo>
                    <a:pt x="557" y="611"/>
                  </a:lnTo>
                  <a:lnTo>
                    <a:pt x="556" y="613"/>
                  </a:lnTo>
                  <a:lnTo>
                    <a:pt x="556" y="615"/>
                  </a:lnTo>
                  <a:lnTo>
                    <a:pt x="554" y="615"/>
                  </a:lnTo>
                  <a:lnTo>
                    <a:pt x="554" y="619"/>
                  </a:lnTo>
                  <a:lnTo>
                    <a:pt x="554" y="621"/>
                  </a:lnTo>
                  <a:lnTo>
                    <a:pt x="553" y="621"/>
                  </a:lnTo>
                  <a:lnTo>
                    <a:pt x="553" y="622"/>
                  </a:lnTo>
                  <a:lnTo>
                    <a:pt x="554" y="624"/>
                  </a:lnTo>
                  <a:lnTo>
                    <a:pt x="554" y="624"/>
                  </a:lnTo>
                  <a:lnTo>
                    <a:pt x="556" y="624"/>
                  </a:lnTo>
                  <a:lnTo>
                    <a:pt x="557" y="624"/>
                  </a:lnTo>
                  <a:lnTo>
                    <a:pt x="559" y="625"/>
                  </a:lnTo>
                  <a:lnTo>
                    <a:pt x="559" y="625"/>
                  </a:lnTo>
                  <a:lnTo>
                    <a:pt x="560" y="627"/>
                  </a:lnTo>
                  <a:lnTo>
                    <a:pt x="562" y="627"/>
                  </a:lnTo>
                  <a:lnTo>
                    <a:pt x="563" y="627"/>
                  </a:lnTo>
                  <a:lnTo>
                    <a:pt x="565" y="628"/>
                  </a:lnTo>
                  <a:lnTo>
                    <a:pt x="566" y="632"/>
                  </a:lnTo>
                  <a:lnTo>
                    <a:pt x="568" y="632"/>
                  </a:lnTo>
                  <a:lnTo>
                    <a:pt x="570" y="633"/>
                  </a:lnTo>
                  <a:lnTo>
                    <a:pt x="573" y="632"/>
                  </a:lnTo>
                  <a:lnTo>
                    <a:pt x="574" y="633"/>
                  </a:lnTo>
                  <a:lnTo>
                    <a:pt x="577" y="635"/>
                  </a:lnTo>
                  <a:lnTo>
                    <a:pt x="577" y="635"/>
                  </a:lnTo>
                  <a:lnTo>
                    <a:pt x="577" y="638"/>
                  </a:lnTo>
                  <a:lnTo>
                    <a:pt x="577" y="638"/>
                  </a:lnTo>
                  <a:lnTo>
                    <a:pt x="579" y="638"/>
                  </a:lnTo>
                  <a:lnTo>
                    <a:pt x="579" y="638"/>
                  </a:lnTo>
                  <a:lnTo>
                    <a:pt x="580" y="636"/>
                  </a:lnTo>
                  <a:lnTo>
                    <a:pt x="580" y="638"/>
                  </a:lnTo>
                  <a:lnTo>
                    <a:pt x="580" y="638"/>
                  </a:lnTo>
                  <a:lnTo>
                    <a:pt x="580" y="641"/>
                  </a:lnTo>
                  <a:lnTo>
                    <a:pt x="580" y="641"/>
                  </a:lnTo>
                  <a:lnTo>
                    <a:pt x="582" y="642"/>
                  </a:lnTo>
                  <a:lnTo>
                    <a:pt x="582" y="644"/>
                  </a:lnTo>
                  <a:lnTo>
                    <a:pt x="582" y="644"/>
                  </a:lnTo>
                  <a:lnTo>
                    <a:pt x="582" y="647"/>
                  </a:lnTo>
                  <a:lnTo>
                    <a:pt x="582" y="653"/>
                  </a:lnTo>
                  <a:lnTo>
                    <a:pt x="582" y="655"/>
                  </a:lnTo>
                  <a:lnTo>
                    <a:pt x="582" y="656"/>
                  </a:lnTo>
                  <a:lnTo>
                    <a:pt x="580" y="656"/>
                  </a:lnTo>
                  <a:lnTo>
                    <a:pt x="580" y="658"/>
                  </a:lnTo>
                  <a:lnTo>
                    <a:pt x="582" y="659"/>
                  </a:lnTo>
                  <a:lnTo>
                    <a:pt x="582" y="661"/>
                  </a:lnTo>
                  <a:lnTo>
                    <a:pt x="582" y="662"/>
                  </a:lnTo>
                  <a:lnTo>
                    <a:pt x="582" y="664"/>
                  </a:lnTo>
                  <a:lnTo>
                    <a:pt x="580" y="665"/>
                  </a:lnTo>
                  <a:lnTo>
                    <a:pt x="579" y="665"/>
                  </a:lnTo>
                  <a:lnTo>
                    <a:pt x="579" y="667"/>
                  </a:lnTo>
                  <a:lnTo>
                    <a:pt x="580" y="668"/>
                  </a:lnTo>
                  <a:lnTo>
                    <a:pt x="583" y="670"/>
                  </a:lnTo>
                  <a:lnTo>
                    <a:pt x="583" y="670"/>
                  </a:lnTo>
                  <a:lnTo>
                    <a:pt x="583" y="672"/>
                  </a:lnTo>
                  <a:lnTo>
                    <a:pt x="583" y="672"/>
                  </a:lnTo>
                  <a:lnTo>
                    <a:pt x="585" y="672"/>
                  </a:lnTo>
                  <a:lnTo>
                    <a:pt x="585" y="672"/>
                  </a:lnTo>
                  <a:lnTo>
                    <a:pt x="585" y="672"/>
                  </a:lnTo>
                  <a:lnTo>
                    <a:pt x="586" y="672"/>
                  </a:lnTo>
                  <a:lnTo>
                    <a:pt x="586" y="672"/>
                  </a:lnTo>
                  <a:lnTo>
                    <a:pt x="588" y="675"/>
                  </a:lnTo>
                  <a:lnTo>
                    <a:pt x="586" y="675"/>
                  </a:lnTo>
                  <a:lnTo>
                    <a:pt x="591" y="678"/>
                  </a:lnTo>
                  <a:lnTo>
                    <a:pt x="591" y="679"/>
                  </a:lnTo>
                  <a:lnTo>
                    <a:pt x="593" y="678"/>
                  </a:lnTo>
                  <a:lnTo>
                    <a:pt x="594" y="678"/>
                  </a:lnTo>
                  <a:lnTo>
                    <a:pt x="594" y="678"/>
                  </a:lnTo>
                  <a:lnTo>
                    <a:pt x="596" y="679"/>
                  </a:lnTo>
                  <a:lnTo>
                    <a:pt x="594" y="682"/>
                  </a:lnTo>
                  <a:lnTo>
                    <a:pt x="593" y="684"/>
                  </a:lnTo>
                  <a:lnTo>
                    <a:pt x="590" y="685"/>
                  </a:lnTo>
                  <a:lnTo>
                    <a:pt x="580" y="684"/>
                  </a:lnTo>
                  <a:lnTo>
                    <a:pt x="579" y="684"/>
                  </a:lnTo>
                  <a:lnTo>
                    <a:pt x="577" y="685"/>
                  </a:lnTo>
                  <a:lnTo>
                    <a:pt x="574" y="688"/>
                  </a:lnTo>
                  <a:lnTo>
                    <a:pt x="573" y="688"/>
                  </a:lnTo>
                  <a:lnTo>
                    <a:pt x="571" y="687"/>
                  </a:lnTo>
                  <a:lnTo>
                    <a:pt x="571" y="685"/>
                  </a:lnTo>
                  <a:lnTo>
                    <a:pt x="571" y="684"/>
                  </a:lnTo>
                  <a:lnTo>
                    <a:pt x="571" y="682"/>
                  </a:lnTo>
                  <a:lnTo>
                    <a:pt x="571" y="682"/>
                  </a:lnTo>
                  <a:lnTo>
                    <a:pt x="570" y="679"/>
                  </a:lnTo>
                  <a:lnTo>
                    <a:pt x="566" y="676"/>
                  </a:lnTo>
                  <a:lnTo>
                    <a:pt x="565" y="675"/>
                  </a:lnTo>
                  <a:lnTo>
                    <a:pt x="565" y="676"/>
                  </a:lnTo>
                  <a:lnTo>
                    <a:pt x="563" y="679"/>
                  </a:lnTo>
                  <a:lnTo>
                    <a:pt x="562" y="679"/>
                  </a:lnTo>
                  <a:lnTo>
                    <a:pt x="560" y="679"/>
                  </a:lnTo>
                  <a:lnTo>
                    <a:pt x="560" y="679"/>
                  </a:lnTo>
                  <a:lnTo>
                    <a:pt x="560" y="682"/>
                  </a:lnTo>
                  <a:lnTo>
                    <a:pt x="560" y="684"/>
                  </a:lnTo>
                  <a:lnTo>
                    <a:pt x="559" y="685"/>
                  </a:lnTo>
                  <a:lnTo>
                    <a:pt x="557" y="685"/>
                  </a:lnTo>
                  <a:lnTo>
                    <a:pt x="556" y="685"/>
                  </a:lnTo>
                  <a:lnTo>
                    <a:pt x="556" y="685"/>
                  </a:lnTo>
                  <a:lnTo>
                    <a:pt x="554" y="684"/>
                  </a:lnTo>
                  <a:lnTo>
                    <a:pt x="553" y="681"/>
                  </a:lnTo>
                  <a:lnTo>
                    <a:pt x="553" y="681"/>
                  </a:lnTo>
                  <a:lnTo>
                    <a:pt x="551" y="679"/>
                  </a:lnTo>
                  <a:lnTo>
                    <a:pt x="548" y="679"/>
                  </a:lnTo>
                  <a:lnTo>
                    <a:pt x="548" y="679"/>
                  </a:lnTo>
                  <a:lnTo>
                    <a:pt x="546" y="678"/>
                  </a:lnTo>
                  <a:lnTo>
                    <a:pt x="546" y="678"/>
                  </a:lnTo>
                  <a:lnTo>
                    <a:pt x="546" y="676"/>
                  </a:lnTo>
                  <a:lnTo>
                    <a:pt x="548" y="676"/>
                  </a:lnTo>
                  <a:lnTo>
                    <a:pt x="548" y="675"/>
                  </a:lnTo>
                  <a:lnTo>
                    <a:pt x="548" y="675"/>
                  </a:lnTo>
                  <a:lnTo>
                    <a:pt x="548" y="673"/>
                  </a:lnTo>
                  <a:lnTo>
                    <a:pt x="548" y="673"/>
                  </a:lnTo>
                  <a:lnTo>
                    <a:pt x="546" y="673"/>
                  </a:lnTo>
                  <a:lnTo>
                    <a:pt x="545" y="673"/>
                  </a:lnTo>
                  <a:lnTo>
                    <a:pt x="545" y="673"/>
                  </a:lnTo>
                  <a:lnTo>
                    <a:pt x="543" y="675"/>
                  </a:lnTo>
                  <a:lnTo>
                    <a:pt x="540" y="679"/>
                  </a:lnTo>
                  <a:lnTo>
                    <a:pt x="539" y="679"/>
                  </a:lnTo>
                  <a:lnTo>
                    <a:pt x="537" y="678"/>
                  </a:lnTo>
                  <a:lnTo>
                    <a:pt x="536" y="675"/>
                  </a:lnTo>
                  <a:lnTo>
                    <a:pt x="534" y="673"/>
                  </a:lnTo>
                  <a:lnTo>
                    <a:pt x="533" y="676"/>
                  </a:lnTo>
                  <a:lnTo>
                    <a:pt x="533" y="678"/>
                  </a:lnTo>
                  <a:lnTo>
                    <a:pt x="533" y="679"/>
                  </a:lnTo>
                  <a:lnTo>
                    <a:pt x="533" y="681"/>
                  </a:lnTo>
                  <a:lnTo>
                    <a:pt x="533" y="682"/>
                  </a:lnTo>
                  <a:lnTo>
                    <a:pt x="533" y="682"/>
                  </a:lnTo>
                  <a:lnTo>
                    <a:pt x="533" y="682"/>
                  </a:lnTo>
                  <a:lnTo>
                    <a:pt x="531" y="682"/>
                  </a:lnTo>
                  <a:lnTo>
                    <a:pt x="528" y="685"/>
                  </a:lnTo>
                  <a:lnTo>
                    <a:pt x="526" y="685"/>
                  </a:lnTo>
                  <a:lnTo>
                    <a:pt x="525" y="685"/>
                  </a:lnTo>
                  <a:lnTo>
                    <a:pt x="525" y="684"/>
                  </a:lnTo>
                  <a:lnTo>
                    <a:pt x="526" y="682"/>
                  </a:lnTo>
                  <a:lnTo>
                    <a:pt x="526" y="682"/>
                  </a:lnTo>
                  <a:lnTo>
                    <a:pt x="526" y="681"/>
                  </a:lnTo>
                  <a:lnTo>
                    <a:pt x="526" y="679"/>
                  </a:lnTo>
                  <a:lnTo>
                    <a:pt x="526" y="670"/>
                  </a:lnTo>
                  <a:lnTo>
                    <a:pt x="526" y="668"/>
                  </a:lnTo>
                  <a:lnTo>
                    <a:pt x="525" y="667"/>
                  </a:lnTo>
                  <a:lnTo>
                    <a:pt x="523" y="667"/>
                  </a:lnTo>
                  <a:lnTo>
                    <a:pt x="517" y="670"/>
                  </a:lnTo>
                  <a:lnTo>
                    <a:pt x="516" y="672"/>
                  </a:lnTo>
                  <a:lnTo>
                    <a:pt x="513" y="672"/>
                  </a:lnTo>
                  <a:lnTo>
                    <a:pt x="508" y="676"/>
                  </a:lnTo>
                  <a:lnTo>
                    <a:pt x="506" y="678"/>
                  </a:lnTo>
                  <a:lnTo>
                    <a:pt x="506" y="681"/>
                  </a:lnTo>
                  <a:lnTo>
                    <a:pt x="506" y="685"/>
                  </a:lnTo>
                  <a:lnTo>
                    <a:pt x="508" y="690"/>
                  </a:lnTo>
                  <a:lnTo>
                    <a:pt x="508" y="692"/>
                  </a:lnTo>
                  <a:lnTo>
                    <a:pt x="506" y="693"/>
                  </a:lnTo>
                  <a:lnTo>
                    <a:pt x="506" y="695"/>
                  </a:lnTo>
                  <a:lnTo>
                    <a:pt x="506" y="696"/>
                  </a:lnTo>
                  <a:lnTo>
                    <a:pt x="508" y="698"/>
                  </a:lnTo>
                  <a:lnTo>
                    <a:pt x="508" y="698"/>
                  </a:lnTo>
                  <a:lnTo>
                    <a:pt x="511" y="701"/>
                  </a:lnTo>
                  <a:lnTo>
                    <a:pt x="513" y="702"/>
                  </a:lnTo>
                  <a:lnTo>
                    <a:pt x="513" y="705"/>
                  </a:lnTo>
                  <a:lnTo>
                    <a:pt x="513" y="707"/>
                  </a:lnTo>
                  <a:lnTo>
                    <a:pt x="509" y="710"/>
                  </a:lnTo>
                  <a:lnTo>
                    <a:pt x="508" y="713"/>
                  </a:lnTo>
                  <a:lnTo>
                    <a:pt x="506" y="715"/>
                  </a:lnTo>
                  <a:lnTo>
                    <a:pt x="508" y="718"/>
                  </a:lnTo>
                  <a:lnTo>
                    <a:pt x="508" y="722"/>
                  </a:lnTo>
                  <a:lnTo>
                    <a:pt x="508" y="724"/>
                  </a:lnTo>
                  <a:lnTo>
                    <a:pt x="506" y="725"/>
                  </a:lnTo>
                  <a:lnTo>
                    <a:pt x="494" y="729"/>
                  </a:lnTo>
                  <a:lnTo>
                    <a:pt x="493" y="730"/>
                  </a:lnTo>
                  <a:lnTo>
                    <a:pt x="491" y="732"/>
                  </a:lnTo>
                  <a:lnTo>
                    <a:pt x="491" y="733"/>
                  </a:lnTo>
                  <a:lnTo>
                    <a:pt x="493" y="736"/>
                  </a:lnTo>
                  <a:lnTo>
                    <a:pt x="493" y="738"/>
                  </a:lnTo>
                  <a:lnTo>
                    <a:pt x="493" y="741"/>
                  </a:lnTo>
                  <a:lnTo>
                    <a:pt x="493" y="742"/>
                  </a:lnTo>
                  <a:lnTo>
                    <a:pt x="491" y="742"/>
                  </a:lnTo>
                  <a:lnTo>
                    <a:pt x="489" y="744"/>
                  </a:lnTo>
                  <a:lnTo>
                    <a:pt x="488" y="744"/>
                  </a:lnTo>
                  <a:lnTo>
                    <a:pt x="486" y="744"/>
                  </a:lnTo>
                  <a:lnTo>
                    <a:pt x="486" y="745"/>
                  </a:lnTo>
                  <a:lnTo>
                    <a:pt x="488" y="745"/>
                  </a:lnTo>
                  <a:lnTo>
                    <a:pt x="488" y="747"/>
                  </a:lnTo>
                  <a:lnTo>
                    <a:pt x="486" y="749"/>
                  </a:lnTo>
                  <a:lnTo>
                    <a:pt x="485" y="749"/>
                  </a:lnTo>
                  <a:lnTo>
                    <a:pt x="480" y="750"/>
                  </a:lnTo>
                  <a:lnTo>
                    <a:pt x="479" y="752"/>
                  </a:lnTo>
                  <a:lnTo>
                    <a:pt x="479" y="753"/>
                  </a:lnTo>
                  <a:lnTo>
                    <a:pt x="479" y="753"/>
                  </a:lnTo>
                  <a:lnTo>
                    <a:pt x="479" y="755"/>
                  </a:lnTo>
                  <a:lnTo>
                    <a:pt x="477" y="755"/>
                  </a:lnTo>
                  <a:lnTo>
                    <a:pt x="476" y="756"/>
                  </a:lnTo>
                  <a:lnTo>
                    <a:pt x="474" y="758"/>
                  </a:lnTo>
                  <a:lnTo>
                    <a:pt x="473" y="759"/>
                  </a:lnTo>
                  <a:lnTo>
                    <a:pt x="473" y="761"/>
                  </a:lnTo>
                  <a:lnTo>
                    <a:pt x="473" y="761"/>
                  </a:lnTo>
                  <a:lnTo>
                    <a:pt x="474" y="762"/>
                  </a:lnTo>
                  <a:lnTo>
                    <a:pt x="476" y="764"/>
                  </a:lnTo>
                  <a:lnTo>
                    <a:pt x="476" y="765"/>
                  </a:lnTo>
                  <a:lnTo>
                    <a:pt x="476" y="765"/>
                  </a:lnTo>
                  <a:lnTo>
                    <a:pt x="476" y="767"/>
                  </a:lnTo>
                  <a:lnTo>
                    <a:pt x="477" y="769"/>
                  </a:lnTo>
                  <a:lnTo>
                    <a:pt x="476" y="770"/>
                  </a:lnTo>
                  <a:lnTo>
                    <a:pt x="474" y="770"/>
                  </a:lnTo>
                  <a:lnTo>
                    <a:pt x="474" y="770"/>
                  </a:lnTo>
                  <a:lnTo>
                    <a:pt x="474" y="772"/>
                  </a:lnTo>
                  <a:lnTo>
                    <a:pt x="474" y="772"/>
                  </a:lnTo>
                  <a:lnTo>
                    <a:pt x="474" y="772"/>
                  </a:lnTo>
                  <a:lnTo>
                    <a:pt x="476" y="775"/>
                  </a:lnTo>
                  <a:lnTo>
                    <a:pt x="474" y="776"/>
                  </a:lnTo>
                  <a:lnTo>
                    <a:pt x="473" y="778"/>
                  </a:lnTo>
                  <a:lnTo>
                    <a:pt x="468" y="778"/>
                  </a:lnTo>
                  <a:lnTo>
                    <a:pt x="463" y="776"/>
                  </a:lnTo>
                  <a:lnTo>
                    <a:pt x="457" y="775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52" y="779"/>
                  </a:lnTo>
                  <a:lnTo>
                    <a:pt x="452" y="781"/>
                  </a:lnTo>
                  <a:lnTo>
                    <a:pt x="452" y="781"/>
                  </a:lnTo>
                  <a:lnTo>
                    <a:pt x="452" y="782"/>
                  </a:lnTo>
                  <a:lnTo>
                    <a:pt x="452" y="782"/>
                  </a:lnTo>
                  <a:lnTo>
                    <a:pt x="456" y="782"/>
                  </a:lnTo>
                  <a:lnTo>
                    <a:pt x="457" y="784"/>
                  </a:lnTo>
                  <a:lnTo>
                    <a:pt x="459" y="786"/>
                  </a:lnTo>
                  <a:lnTo>
                    <a:pt x="459" y="789"/>
                  </a:lnTo>
                  <a:lnTo>
                    <a:pt x="460" y="793"/>
                  </a:lnTo>
                  <a:lnTo>
                    <a:pt x="462" y="796"/>
                  </a:lnTo>
                  <a:lnTo>
                    <a:pt x="463" y="798"/>
                  </a:lnTo>
                  <a:lnTo>
                    <a:pt x="465" y="798"/>
                  </a:lnTo>
                  <a:lnTo>
                    <a:pt x="468" y="799"/>
                  </a:lnTo>
                  <a:lnTo>
                    <a:pt x="474" y="801"/>
                  </a:lnTo>
                  <a:lnTo>
                    <a:pt x="480" y="804"/>
                  </a:lnTo>
                  <a:lnTo>
                    <a:pt x="489" y="807"/>
                  </a:lnTo>
                  <a:lnTo>
                    <a:pt x="493" y="806"/>
                  </a:lnTo>
                  <a:lnTo>
                    <a:pt x="496" y="806"/>
                  </a:lnTo>
                  <a:lnTo>
                    <a:pt x="496" y="806"/>
                  </a:lnTo>
                  <a:lnTo>
                    <a:pt x="497" y="804"/>
                  </a:lnTo>
                  <a:lnTo>
                    <a:pt x="494" y="804"/>
                  </a:lnTo>
                  <a:lnTo>
                    <a:pt x="494" y="802"/>
                  </a:lnTo>
                  <a:lnTo>
                    <a:pt x="494" y="802"/>
                  </a:lnTo>
                  <a:lnTo>
                    <a:pt x="494" y="801"/>
                  </a:lnTo>
                  <a:lnTo>
                    <a:pt x="494" y="801"/>
                  </a:lnTo>
                  <a:lnTo>
                    <a:pt x="496" y="799"/>
                  </a:lnTo>
                  <a:lnTo>
                    <a:pt x="496" y="798"/>
                  </a:lnTo>
                  <a:lnTo>
                    <a:pt x="496" y="796"/>
                  </a:lnTo>
                  <a:lnTo>
                    <a:pt x="499" y="796"/>
                  </a:lnTo>
                  <a:lnTo>
                    <a:pt x="499" y="796"/>
                  </a:lnTo>
                  <a:lnTo>
                    <a:pt x="502" y="798"/>
                  </a:lnTo>
                  <a:lnTo>
                    <a:pt x="503" y="798"/>
                  </a:lnTo>
                  <a:lnTo>
                    <a:pt x="503" y="799"/>
                  </a:lnTo>
                  <a:lnTo>
                    <a:pt x="505" y="799"/>
                  </a:lnTo>
                  <a:lnTo>
                    <a:pt x="506" y="801"/>
                  </a:lnTo>
                  <a:lnTo>
                    <a:pt x="508" y="801"/>
                  </a:lnTo>
                  <a:lnTo>
                    <a:pt x="508" y="799"/>
                  </a:lnTo>
                  <a:lnTo>
                    <a:pt x="508" y="798"/>
                  </a:lnTo>
                  <a:lnTo>
                    <a:pt x="509" y="796"/>
                  </a:lnTo>
                  <a:lnTo>
                    <a:pt x="509" y="796"/>
                  </a:lnTo>
                  <a:lnTo>
                    <a:pt x="511" y="796"/>
                  </a:lnTo>
                  <a:lnTo>
                    <a:pt x="513" y="796"/>
                  </a:lnTo>
                  <a:lnTo>
                    <a:pt x="513" y="795"/>
                  </a:lnTo>
                  <a:lnTo>
                    <a:pt x="517" y="792"/>
                  </a:lnTo>
                  <a:lnTo>
                    <a:pt x="520" y="792"/>
                  </a:lnTo>
                  <a:lnTo>
                    <a:pt x="522" y="790"/>
                  </a:lnTo>
                  <a:lnTo>
                    <a:pt x="522" y="790"/>
                  </a:lnTo>
                  <a:lnTo>
                    <a:pt x="523" y="790"/>
                  </a:lnTo>
                  <a:lnTo>
                    <a:pt x="525" y="789"/>
                  </a:lnTo>
                  <a:lnTo>
                    <a:pt x="525" y="789"/>
                  </a:lnTo>
                  <a:lnTo>
                    <a:pt x="525" y="789"/>
                  </a:lnTo>
                  <a:lnTo>
                    <a:pt x="526" y="787"/>
                  </a:lnTo>
                  <a:lnTo>
                    <a:pt x="526" y="787"/>
                  </a:lnTo>
                  <a:lnTo>
                    <a:pt x="528" y="786"/>
                  </a:lnTo>
                  <a:lnTo>
                    <a:pt x="530" y="786"/>
                  </a:lnTo>
                  <a:lnTo>
                    <a:pt x="531" y="786"/>
                  </a:lnTo>
                  <a:lnTo>
                    <a:pt x="533" y="786"/>
                  </a:lnTo>
                  <a:lnTo>
                    <a:pt x="533" y="786"/>
                  </a:lnTo>
                  <a:lnTo>
                    <a:pt x="534" y="786"/>
                  </a:lnTo>
                  <a:lnTo>
                    <a:pt x="534" y="784"/>
                  </a:lnTo>
                  <a:lnTo>
                    <a:pt x="536" y="784"/>
                  </a:lnTo>
                  <a:lnTo>
                    <a:pt x="536" y="784"/>
                  </a:lnTo>
                  <a:lnTo>
                    <a:pt x="536" y="784"/>
                  </a:lnTo>
                  <a:lnTo>
                    <a:pt x="537" y="784"/>
                  </a:lnTo>
                  <a:lnTo>
                    <a:pt x="537" y="784"/>
                  </a:lnTo>
                  <a:lnTo>
                    <a:pt x="543" y="786"/>
                  </a:lnTo>
                  <a:lnTo>
                    <a:pt x="554" y="789"/>
                  </a:lnTo>
                  <a:lnTo>
                    <a:pt x="557" y="792"/>
                  </a:lnTo>
                  <a:lnTo>
                    <a:pt x="559" y="792"/>
                  </a:lnTo>
                  <a:lnTo>
                    <a:pt x="560" y="793"/>
                  </a:lnTo>
                  <a:lnTo>
                    <a:pt x="562" y="798"/>
                  </a:lnTo>
                  <a:lnTo>
                    <a:pt x="562" y="801"/>
                  </a:lnTo>
                  <a:lnTo>
                    <a:pt x="560" y="804"/>
                  </a:lnTo>
                  <a:lnTo>
                    <a:pt x="562" y="806"/>
                  </a:lnTo>
                  <a:lnTo>
                    <a:pt x="562" y="806"/>
                  </a:lnTo>
                  <a:lnTo>
                    <a:pt x="562" y="807"/>
                  </a:lnTo>
                  <a:lnTo>
                    <a:pt x="560" y="807"/>
                  </a:lnTo>
                  <a:lnTo>
                    <a:pt x="560" y="807"/>
                  </a:lnTo>
                  <a:lnTo>
                    <a:pt x="562" y="807"/>
                  </a:lnTo>
                  <a:lnTo>
                    <a:pt x="563" y="807"/>
                  </a:lnTo>
                  <a:lnTo>
                    <a:pt x="565" y="807"/>
                  </a:lnTo>
                  <a:lnTo>
                    <a:pt x="566" y="806"/>
                  </a:lnTo>
                  <a:lnTo>
                    <a:pt x="566" y="806"/>
                  </a:lnTo>
                  <a:lnTo>
                    <a:pt x="566" y="806"/>
                  </a:lnTo>
                  <a:lnTo>
                    <a:pt x="566" y="804"/>
                  </a:lnTo>
                  <a:lnTo>
                    <a:pt x="566" y="802"/>
                  </a:lnTo>
                  <a:lnTo>
                    <a:pt x="566" y="801"/>
                  </a:lnTo>
                  <a:lnTo>
                    <a:pt x="566" y="799"/>
                  </a:lnTo>
                  <a:lnTo>
                    <a:pt x="568" y="798"/>
                  </a:lnTo>
                  <a:lnTo>
                    <a:pt x="568" y="798"/>
                  </a:lnTo>
                  <a:lnTo>
                    <a:pt x="568" y="796"/>
                  </a:lnTo>
                  <a:lnTo>
                    <a:pt x="568" y="792"/>
                  </a:lnTo>
                  <a:lnTo>
                    <a:pt x="568" y="790"/>
                  </a:lnTo>
                  <a:lnTo>
                    <a:pt x="566" y="787"/>
                  </a:lnTo>
                  <a:lnTo>
                    <a:pt x="566" y="787"/>
                  </a:lnTo>
                  <a:lnTo>
                    <a:pt x="568" y="787"/>
                  </a:lnTo>
                  <a:lnTo>
                    <a:pt x="568" y="786"/>
                  </a:lnTo>
                  <a:lnTo>
                    <a:pt x="568" y="782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5" y="781"/>
                  </a:lnTo>
                  <a:lnTo>
                    <a:pt x="565" y="782"/>
                  </a:lnTo>
                  <a:lnTo>
                    <a:pt x="565" y="784"/>
                  </a:lnTo>
                  <a:lnTo>
                    <a:pt x="565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3" y="782"/>
                  </a:lnTo>
                  <a:lnTo>
                    <a:pt x="562" y="782"/>
                  </a:lnTo>
                  <a:lnTo>
                    <a:pt x="562" y="782"/>
                  </a:lnTo>
                  <a:lnTo>
                    <a:pt x="562" y="782"/>
                  </a:lnTo>
                  <a:lnTo>
                    <a:pt x="562" y="779"/>
                  </a:lnTo>
                  <a:lnTo>
                    <a:pt x="560" y="781"/>
                  </a:lnTo>
                  <a:lnTo>
                    <a:pt x="560" y="781"/>
                  </a:lnTo>
                  <a:lnTo>
                    <a:pt x="560" y="782"/>
                  </a:lnTo>
                  <a:lnTo>
                    <a:pt x="560" y="784"/>
                  </a:lnTo>
                  <a:lnTo>
                    <a:pt x="559" y="784"/>
                  </a:lnTo>
                  <a:lnTo>
                    <a:pt x="559" y="782"/>
                  </a:lnTo>
                  <a:lnTo>
                    <a:pt x="557" y="782"/>
                  </a:lnTo>
                  <a:lnTo>
                    <a:pt x="557" y="779"/>
                  </a:lnTo>
                  <a:lnTo>
                    <a:pt x="557" y="779"/>
                  </a:lnTo>
                  <a:lnTo>
                    <a:pt x="557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6"/>
                  </a:lnTo>
                  <a:lnTo>
                    <a:pt x="560" y="776"/>
                  </a:lnTo>
                  <a:lnTo>
                    <a:pt x="560" y="775"/>
                  </a:lnTo>
                  <a:lnTo>
                    <a:pt x="563" y="772"/>
                  </a:lnTo>
                  <a:lnTo>
                    <a:pt x="565" y="770"/>
                  </a:lnTo>
                  <a:lnTo>
                    <a:pt x="562" y="772"/>
                  </a:lnTo>
                  <a:lnTo>
                    <a:pt x="562" y="773"/>
                  </a:lnTo>
                  <a:lnTo>
                    <a:pt x="560" y="773"/>
                  </a:lnTo>
                  <a:lnTo>
                    <a:pt x="559" y="773"/>
                  </a:lnTo>
                  <a:lnTo>
                    <a:pt x="557" y="772"/>
                  </a:lnTo>
                  <a:lnTo>
                    <a:pt x="556" y="772"/>
                  </a:lnTo>
                  <a:lnTo>
                    <a:pt x="556" y="767"/>
                  </a:lnTo>
                  <a:lnTo>
                    <a:pt x="556" y="761"/>
                  </a:lnTo>
                  <a:lnTo>
                    <a:pt x="557" y="758"/>
                  </a:lnTo>
                  <a:lnTo>
                    <a:pt x="559" y="755"/>
                  </a:lnTo>
                  <a:lnTo>
                    <a:pt x="559" y="755"/>
                  </a:lnTo>
                  <a:lnTo>
                    <a:pt x="559" y="753"/>
                  </a:lnTo>
                  <a:lnTo>
                    <a:pt x="557" y="753"/>
                  </a:lnTo>
                  <a:lnTo>
                    <a:pt x="559" y="752"/>
                  </a:lnTo>
                  <a:lnTo>
                    <a:pt x="559" y="750"/>
                  </a:lnTo>
                  <a:lnTo>
                    <a:pt x="560" y="747"/>
                  </a:lnTo>
                  <a:lnTo>
                    <a:pt x="560" y="747"/>
                  </a:lnTo>
                  <a:lnTo>
                    <a:pt x="560" y="747"/>
                  </a:lnTo>
                  <a:lnTo>
                    <a:pt x="559" y="745"/>
                  </a:lnTo>
                  <a:lnTo>
                    <a:pt x="559" y="744"/>
                  </a:lnTo>
                  <a:lnTo>
                    <a:pt x="559" y="744"/>
                  </a:lnTo>
                  <a:lnTo>
                    <a:pt x="559" y="742"/>
                  </a:lnTo>
                  <a:lnTo>
                    <a:pt x="559" y="742"/>
                  </a:lnTo>
                  <a:lnTo>
                    <a:pt x="560" y="744"/>
                  </a:lnTo>
                  <a:lnTo>
                    <a:pt x="560" y="744"/>
                  </a:lnTo>
                  <a:lnTo>
                    <a:pt x="562" y="745"/>
                  </a:lnTo>
                  <a:lnTo>
                    <a:pt x="562" y="745"/>
                  </a:lnTo>
                  <a:lnTo>
                    <a:pt x="562" y="745"/>
                  </a:lnTo>
                  <a:lnTo>
                    <a:pt x="563" y="747"/>
                  </a:lnTo>
                  <a:lnTo>
                    <a:pt x="563" y="747"/>
                  </a:lnTo>
                  <a:lnTo>
                    <a:pt x="563" y="749"/>
                  </a:lnTo>
                  <a:lnTo>
                    <a:pt x="563" y="749"/>
                  </a:lnTo>
                  <a:lnTo>
                    <a:pt x="562" y="752"/>
                  </a:lnTo>
                  <a:lnTo>
                    <a:pt x="563" y="756"/>
                  </a:lnTo>
                  <a:lnTo>
                    <a:pt x="562" y="756"/>
                  </a:lnTo>
                  <a:lnTo>
                    <a:pt x="563" y="758"/>
                  </a:lnTo>
                  <a:lnTo>
                    <a:pt x="565" y="759"/>
                  </a:lnTo>
                  <a:lnTo>
                    <a:pt x="566" y="762"/>
                  </a:lnTo>
                  <a:lnTo>
                    <a:pt x="566" y="765"/>
                  </a:lnTo>
                  <a:lnTo>
                    <a:pt x="566" y="764"/>
                  </a:lnTo>
                  <a:lnTo>
                    <a:pt x="570" y="764"/>
                  </a:lnTo>
                  <a:lnTo>
                    <a:pt x="571" y="764"/>
                  </a:lnTo>
                  <a:lnTo>
                    <a:pt x="570" y="762"/>
                  </a:lnTo>
                  <a:lnTo>
                    <a:pt x="570" y="762"/>
                  </a:lnTo>
                  <a:lnTo>
                    <a:pt x="570" y="762"/>
                  </a:lnTo>
                  <a:lnTo>
                    <a:pt x="571" y="761"/>
                  </a:lnTo>
                  <a:lnTo>
                    <a:pt x="573" y="762"/>
                  </a:lnTo>
                  <a:lnTo>
                    <a:pt x="573" y="761"/>
                  </a:lnTo>
                  <a:lnTo>
                    <a:pt x="574" y="761"/>
                  </a:lnTo>
                  <a:lnTo>
                    <a:pt x="576" y="759"/>
                  </a:lnTo>
                  <a:lnTo>
                    <a:pt x="576" y="759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3" y="756"/>
                  </a:lnTo>
                  <a:lnTo>
                    <a:pt x="571" y="756"/>
                  </a:lnTo>
                  <a:lnTo>
                    <a:pt x="571" y="755"/>
                  </a:lnTo>
                  <a:lnTo>
                    <a:pt x="571" y="752"/>
                  </a:lnTo>
                  <a:lnTo>
                    <a:pt x="573" y="752"/>
                  </a:lnTo>
                  <a:lnTo>
                    <a:pt x="576" y="752"/>
                  </a:lnTo>
                  <a:lnTo>
                    <a:pt x="577" y="752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7" y="750"/>
                  </a:lnTo>
                  <a:lnTo>
                    <a:pt x="579" y="750"/>
                  </a:lnTo>
                  <a:lnTo>
                    <a:pt x="579" y="750"/>
                  </a:lnTo>
                  <a:lnTo>
                    <a:pt x="579" y="750"/>
                  </a:lnTo>
                  <a:lnTo>
                    <a:pt x="579" y="752"/>
                  </a:lnTo>
                  <a:lnTo>
                    <a:pt x="580" y="752"/>
                  </a:lnTo>
                  <a:lnTo>
                    <a:pt x="580" y="753"/>
                  </a:lnTo>
                  <a:lnTo>
                    <a:pt x="580" y="753"/>
                  </a:lnTo>
                  <a:lnTo>
                    <a:pt x="582" y="752"/>
                  </a:lnTo>
                  <a:lnTo>
                    <a:pt x="580" y="750"/>
                  </a:lnTo>
                  <a:lnTo>
                    <a:pt x="580" y="749"/>
                  </a:lnTo>
                  <a:lnTo>
                    <a:pt x="580" y="747"/>
                  </a:lnTo>
                  <a:lnTo>
                    <a:pt x="580" y="745"/>
                  </a:lnTo>
                  <a:lnTo>
                    <a:pt x="580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0" y="745"/>
                  </a:lnTo>
                  <a:lnTo>
                    <a:pt x="580" y="747"/>
                  </a:lnTo>
                  <a:lnTo>
                    <a:pt x="582" y="747"/>
                  </a:lnTo>
                  <a:lnTo>
                    <a:pt x="582" y="749"/>
                  </a:lnTo>
                  <a:lnTo>
                    <a:pt x="583" y="747"/>
                  </a:lnTo>
                  <a:lnTo>
                    <a:pt x="583" y="744"/>
                  </a:lnTo>
                  <a:lnTo>
                    <a:pt x="583" y="741"/>
                  </a:lnTo>
                  <a:lnTo>
                    <a:pt x="585" y="741"/>
                  </a:lnTo>
                  <a:lnTo>
                    <a:pt x="586" y="741"/>
                  </a:lnTo>
                  <a:lnTo>
                    <a:pt x="591" y="744"/>
                  </a:lnTo>
                  <a:lnTo>
                    <a:pt x="591" y="744"/>
                  </a:lnTo>
                  <a:lnTo>
                    <a:pt x="591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4" y="742"/>
                  </a:lnTo>
                  <a:lnTo>
                    <a:pt x="594" y="742"/>
                  </a:lnTo>
                  <a:lnTo>
                    <a:pt x="594" y="739"/>
                  </a:lnTo>
                  <a:lnTo>
                    <a:pt x="594" y="738"/>
                  </a:lnTo>
                  <a:lnTo>
                    <a:pt x="594" y="736"/>
                  </a:lnTo>
                  <a:lnTo>
                    <a:pt x="596" y="736"/>
                  </a:lnTo>
                  <a:lnTo>
                    <a:pt x="596" y="736"/>
                  </a:lnTo>
                  <a:lnTo>
                    <a:pt x="597" y="742"/>
                  </a:lnTo>
                  <a:lnTo>
                    <a:pt x="596" y="744"/>
                  </a:lnTo>
                  <a:lnTo>
                    <a:pt x="602" y="739"/>
                  </a:lnTo>
                  <a:lnTo>
                    <a:pt x="605" y="736"/>
                  </a:lnTo>
                  <a:lnTo>
                    <a:pt x="614" y="724"/>
                  </a:lnTo>
                  <a:lnTo>
                    <a:pt x="623" y="716"/>
                  </a:lnTo>
                  <a:lnTo>
                    <a:pt x="623" y="715"/>
                  </a:lnTo>
                  <a:lnTo>
                    <a:pt x="625" y="710"/>
                  </a:lnTo>
                  <a:lnTo>
                    <a:pt x="625" y="709"/>
                  </a:lnTo>
                  <a:lnTo>
                    <a:pt x="627" y="709"/>
                  </a:lnTo>
                  <a:lnTo>
                    <a:pt x="628" y="707"/>
                  </a:lnTo>
                  <a:lnTo>
                    <a:pt x="630" y="704"/>
                  </a:lnTo>
                  <a:lnTo>
                    <a:pt x="634" y="696"/>
                  </a:lnTo>
                  <a:lnTo>
                    <a:pt x="637" y="692"/>
                  </a:lnTo>
                  <a:lnTo>
                    <a:pt x="637" y="692"/>
                  </a:lnTo>
                  <a:lnTo>
                    <a:pt x="637" y="690"/>
                  </a:lnTo>
                  <a:lnTo>
                    <a:pt x="637" y="688"/>
                  </a:lnTo>
                  <a:lnTo>
                    <a:pt x="634" y="688"/>
                  </a:lnTo>
                  <a:lnTo>
                    <a:pt x="634" y="687"/>
                  </a:lnTo>
                  <a:lnTo>
                    <a:pt x="636" y="687"/>
                  </a:lnTo>
                  <a:lnTo>
                    <a:pt x="639" y="687"/>
                  </a:lnTo>
                  <a:lnTo>
                    <a:pt x="640" y="685"/>
                  </a:lnTo>
                  <a:lnTo>
                    <a:pt x="643" y="682"/>
                  </a:lnTo>
                  <a:lnTo>
                    <a:pt x="643" y="681"/>
                  </a:lnTo>
                  <a:lnTo>
                    <a:pt x="645" y="678"/>
                  </a:lnTo>
                  <a:lnTo>
                    <a:pt x="645" y="678"/>
                  </a:lnTo>
                  <a:lnTo>
                    <a:pt x="645" y="678"/>
                  </a:lnTo>
                  <a:lnTo>
                    <a:pt x="645" y="676"/>
                  </a:lnTo>
                  <a:lnTo>
                    <a:pt x="645" y="676"/>
                  </a:lnTo>
                  <a:lnTo>
                    <a:pt x="645" y="676"/>
                  </a:lnTo>
                  <a:lnTo>
                    <a:pt x="645" y="675"/>
                  </a:lnTo>
                  <a:lnTo>
                    <a:pt x="645" y="675"/>
                  </a:lnTo>
                  <a:lnTo>
                    <a:pt x="643" y="673"/>
                  </a:lnTo>
                  <a:lnTo>
                    <a:pt x="642" y="670"/>
                  </a:lnTo>
                  <a:lnTo>
                    <a:pt x="642" y="668"/>
                  </a:lnTo>
                  <a:lnTo>
                    <a:pt x="643" y="668"/>
                  </a:lnTo>
                  <a:lnTo>
                    <a:pt x="645" y="665"/>
                  </a:lnTo>
                  <a:lnTo>
                    <a:pt x="647" y="664"/>
                  </a:lnTo>
                  <a:lnTo>
                    <a:pt x="647" y="664"/>
                  </a:lnTo>
                  <a:lnTo>
                    <a:pt x="650" y="665"/>
                  </a:lnTo>
                  <a:lnTo>
                    <a:pt x="651" y="665"/>
                  </a:lnTo>
                  <a:lnTo>
                    <a:pt x="654" y="662"/>
                  </a:lnTo>
                  <a:lnTo>
                    <a:pt x="656" y="661"/>
                  </a:lnTo>
                  <a:lnTo>
                    <a:pt x="657" y="662"/>
                  </a:lnTo>
                  <a:lnTo>
                    <a:pt x="657" y="662"/>
                  </a:lnTo>
                  <a:lnTo>
                    <a:pt x="659" y="661"/>
                  </a:lnTo>
                  <a:lnTo>
                    <a:pt x="660" y="659"/>
                  </a:lnTo>
                  <a:lnTo>
                    <a:pt x="662" y="659"/>
                  </a:lnTo>
                  <a:lnTo>
                    <a:pt x="665" y="659"/>
                  </a:lnTo>
                  <a:lnTo>
                    <a:pt x="668" y="658"/>
                  </a:lnTo>
                  <a:lnTo>
                    <a:pt x="673" y="656"/>
                  </a:lnTo>
                  <a:lnTo>
                    <a:pt x="674" y="656"/>
                  </a:lnTo>
                  <a:lnTo>
                    <a:pt x="679" y="658"/>
                  </a:lnTo>
                  <a:lnTo>
                    <a:pt x="680" y="659"/>
                  </a:lnTo>
                  <a:lnTo>
                    <a:pt x="682" y="658"/>
                  </a:lnTo>
                  <a:lnTo>
                    <a:pt x="682" y="659"/>
                  </a:lnTo>
                  <a:lnTo>
                    <a:pt x="685" y="659"/>
                  </a:lnTo>
                  <a:lnTo>
                    <a:pt x="685" y="659"/>
                  </a:lnTo>
                  <a:lnTo>
                    <a:pt x="687" y="659"/>
                  </a:lnTo>
                  <a:lnTo>
                    <a:pt x="690" y="658"/>
                  </a:lnTo>
                  <a:lnTo>
                    <a:pt x="691" y="656"/>
                  </a:lnTo>
                  <a:lnTo>
                    <a:pt x="693" y="656"/>
                  </a:lnTo>
                  <a:lnTo>
                    <a:pt x="694" y="652"/>
                  </a:lnTo>
                  <a:lnTo>
                    <a:pt x="696" y="652"/>
                  </a:lnTo>
                  <a:lnTo>
                    <a:pt x="696" y="650"/>
                  </a:lnTo>
                  <a:lnTo>
                    <a:pt x="697" y="648"/>
                  </a:lnTo>
                  <a:lnTo>
                    <a:pt x="699" y="647"/>
                  </a:lnTo>
                  <a:lnTo>
                    <a:pt x="697" y="647"/>
                  </a:lnTo>
                  <a:lnTo>
                    <a:pt x="696" y="644"/>
                  </a:lnTo>
                  <a:lnTo>
                    <a:pt x="694" y="644"/>
                  </a:lnTo>
                  <a:lnTo>
                    <a:pt x="694" y="644"/>
                  </a:lnTo>
                  <a:lnTo>
                    <a:pt x="694" y="642"/>
                  </a:lnTo>
                  <a:lnTo>
                    <a:pt x="694" y="641"/>
                  </a:lnTo>
                  <a:lnTo>
                    <a:pt x="693" y="638"/>
                  </a:lnTo>
                  <a:lnTo>
                    <a:pt x="694" y="639"/>
                  </a:lnTo>
                  <a:lnTo>
                    <a:pt x="696" y="641"/>
                  </a:lnTo>
                  <a:lnTo>
                    <a:pt x="696" y="642"/>
                  </a:lnTo>
                  <a:lnTo>
                    <a:pt x="697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699" y="644"/>
                  </a:lnTo>
                  <a:lnTo>
                    <a:pt x="700" y="641"/>
                  </a:lnTo>
                  <a:lnTo>
                    <a:pt x="702" y="641"/>
                  </a:lnTo>
                  <a:lnTo>
                    <a:pt x="702" y="641"/>
                  </a:lnTo>
                  <a:lnTo>
                    <a:pt x="704" y="639"/>
                  </a:lnTo>
                  <a:lnTo>
                    <a:pt x="704" y="639"/>
                  </a:lnTo>
                  <a:lnTo>
                    <a:pt x="705" y="638"/>
                  </a:lnTo>
                  <a:lnTo>
                    <a:pt x="705" y="636"/>
                  </a:lnTo>
                  <a:lnTo>
                    <a:pt x="705" y="636"/>
                  </a:lnTo>
                  <a:lnTo>
                    <a:pt x="707" y="636"/>
                  </a:lnTo>
                  <a:lnTo>
                    <a:pt x="704" y="642"/>
                  </a:lnTo>
                  <a:lnTo>
                    <a:pt x="702" y="642"/>
                  </a:lnTo>
                  <a:lnTo>
                    <a:pt x="702" y="644"/>
                  </a:lnTo>
                  <a:lnTo>
                    <a:pt x="700" y="647"/>
                  </a:lnTo>
                  <a:lnTo>
                    <a:pt x="697" y="653"/>
                  </a:lnTo>
                  <a:lnTo>
                    <a:pt x="696" y="655"/>
                  </a:lnTo>
                  <a:lnTo>
                    <a:pt x="697" y="656"/>
                  </a:lnTo>
                  <a:lnTo>
                    <a:pt x="697" y="656"/>
                  </a:lnTo>
                  <a:lnTo>
                    <a:pt x="697" y="658"/>
                  </a:lnTo>
                  <a:lnTo>
                    <a:pt x="699" y="656"/>
                  </a:lnTo>
                  <a:lnTo>
                    <a:pt x="700" y="658"/>
                  </a:lnTo>
                  <a:lnTo>
                    <a:pt x="702" y="658"/>
                  </a:lnTo>
                  <a:lnTo>
                    <a:pt x="702" y="658"/>
                  </a:lnTo>
                  <a:lnTo>
                    <a:pt x="704" y="658"/>
                  </a:lnTo>
                  <a:lnTo>
                    <a:pt x="705" y="656"/>
                  </a:lnTo>
                  <a:lnTo>
                    <a:pt x="705" y="655"/>
                  </a:lnTo>
                  <a:lnTo>
                    <a:pt x="707" y="655"/>
                  </a:lnTo>
                  <a:lnTo>
                    <a:pt x="711" y="655"/>
                  </a:lnTo>
                  <a:lnTo>
                    <a:pt x="717" y="658"/>
                  </a:lnTo>
                  <a:lnTo>
                    <a:pt x="720" y="658"/>
                  </a:lnTo>
                  <a:lnTo>
                    <a:pt x="725" y="656"/>
                  </a:lnTo>
                  <a:lnTo>
                    <a:pt x="725" y="656"/>
                  </a:lnTo>
                  <a:lnTo>
                    <a:pt x="727" y="655"/>
                  </a:lnTo>
                  <a:lnTo>
                    <a:pt x="728" y="655"/>
                  </a:lnTo>
                  <a:lnTo>
                    <a:pt x="728" y="653"/>
                  </a:lnTo>
                  <a:lnTo>
                    <a:pt x="728" y="653"/>
                  </a:lnTo>
                  <a:lnTo>
                    <a:pt x="728" y="652"/>
                  </a:lnTo>
                  <a:lnTo>
                    <a:pt x="728" y="650"/>
                  </a:lnTo>
                  <a:lnTo>
                    <a:pt x="728" y="645"/>
                  </a:lnTo>
                  <a:lnTo>
                    <a:pt x="728" y="644"/>
                  </a:lnTo>
                  <a:lnTo>
                    <a:pt x="725" y="641"/>
                  </a:lnTo>
                  <a:lnTo>
                    <a:pt x="725" y="638"/>
                  </a:lnTo>
                  <a:lnTo>
                    <a:pt x="725" y="635"/>
                  </a:lnTo>
                  <a:lnTo>
                    <a:pt x="728" y="633"/>
                  </a:lnTo>
                  <a:lnTo>
                    <a:pt x="730" y="633"/>
                  </a:lnTo>
                  <a:lnTo>
                    <a:pt x="731" y="632"/>
                  </a:lnTo>
                  <a:lnTo>
                    <a:pt x="733" y="628"/>
                  </a:lnTo>
                  <a:lnTo>
                    <a:pt x="733" y="625"/>
                  </a:lnTo>
                  <a:lnTo>
                    <a:pt x="733" y="624"/>
                  </a:lnTo>
                  <a:lnTo>
                    <a:pt x="731" y="624"/>
                  </a:lnTo>
                  <a:lnTo>
                    <a:pt x="730" y="625"/>
                  </a:lnTo>
                  <a:lnTo>
                    <a:pt x="728" y="625"/>
                  </a:lnTo>
                  <a:lnTo>
                    <a:pt x="728" y="622"/>
                  </a:lnTo>
                  <a:lnTo>
                    <a:pt x="728" y="621"/>
                  </a:lnTo>
                  <a:lnTo>
                    <a:pt x="728" y="619"/>
                  </a:lnTo>
                  <a:lnTo>
                    <a:pt x="731" y="616"/>
                  </a:lnTo>
                  <a:lnTo>
                    <a:pt x="728" y="616"/>
                  </a:lnTo>
                  <a:lnTo>
                    <a:pt x="725" y="616"/>
                  </a:lnTo>
                  <a:lnTo>
                    <a:pt x="724" y="616"/>
                  </a:lnTo>
                  <a:lnTo>
                    <a:pt x="724" y="611"/>
                  </a:lnTo>
                  <a:lnTo>
                    <a:pt x="724" y="610"/>
                  </a:lnTo>
                  <a:lnTo>
                    <a:pt x="725" y="608"/>
                  </a:lnTo>
                  <a:lnTo>
                    <a:pt x="725" y="607"/>
                  </a:lnTo>
                  <a:lnTo>
                    <a:pt x="725" y="605"/>
                  </a:lnTo>
                  <a:lnTo>
                    <a:pt x="724" y="605"/>
                  </a:lnTo>
                  <a:lnTo>
                    <a:pt x="724" y="605"/>
                  </a:lnTo>
                  <a:lnTo>
                    <a:pt x="724" y="604"/>
                  </a:lnTo>
                  <a:lnTo>
                    <a:pt x="722" y="604"/>
                  </a:lnTo>
                  <a:lnTo>
                    <a:pt x="720" y="604"/>
                  </a:lnTo>
                  <a:lnTo>
                    <a:pt x="722" y="598"/>
                  </a:lnTo>
                  <a:lnTo>
                    <a:pt x="720" y="596"/>
                  </a:lnTo>
                  <a:lnTo>
                    <a:pt x="717" y="595"/>
                  </a:lnTo>
                  <a:lnTo>
                    <a:pt x="716" y="595"/>
                  </a:lnTo>
                  <a:lnTo>
                    <a:pt x="714" y="593"/>
                  </a:lnTo>
                  <a:lnTo>
                    <a:pt x="714" y="591"/>
                  </a:lnTo>
                  <a:lnTo>
                    <a:pt x="714" y="591"/>
                  </a:lnTo>
                  <a:lnTo>
                    <a:pt x="716" y="588"/>
                  </a:lnTo>
                  <a:lnTo>
                    <a:pt x="716" y="588"/>
                  </a:lnTo>
                  <a:lnTo>
                    <a:pt x="716" y="588"/>
                  </a:lnTo>
                  <a:lnTo>
                    <a:pt x="716" y="590"/>
                  </a:lnTo>
                  <a:lnTo>
                    <a:pt x="716" y="591"/>
                  </a:lnTo>
                  <a:lnTo>
                    <a:pt x="717" y="593"/>
                  </a:lnTo>
                  <a:lnTo>
                    <a:pt x="722" y="595"/>
                  </a:lnTo>
                  <a:lnTo>
                    <a:pt x="722" y="596"/>
                  </a:lnTo>
                  <a:lnTo>
                    <a:pt x="722" y="598"/>
                  </a:lnTo>
                  <a:lnTo>
                    <a:pt x="722" y="598"/>
                  </a:lnTo>
                  <a:lnTo>
                    <a:pt x="724" y="601"/>
                  </a:lnTo>
                  <a:lnTo>
                    <a:pt x="724" y="602"/>
                  </a:lnTo>
                  <a:lnTo>
                    <a:pt x="724" y="602"/>
                  </a:lnTo>
                  <a:lnTo>
                    <a:pt x="725" y="602"/>
                  </a:lnTo>
                  <a:lnTo>
                    <a:pt x="727" y="604"/>
                  </a:lnTo>
                  <a:lnTo>
                    <a:pt x="727" y="607"/>
                  </a:lnTo>
                  <a:lnTo>
                    <a:pt x="727" y="608"/>
                  </a:lnTo>
                  <a:lnTo>
                    <a:pt x="725" y="613"/>
                  </a:lnTo>
                  <a:lnTo>
                    <a:pt x="727" y="615"/>
                  </a:lnTo>
                  <a:lnTo>
                    <a:pt x="728" y="615"/>
                  </a:lnTo>
                  <a:lnTo>
                    <a:pt x="731" y="615"/>
                  </a:lnTo>
                  <a:lnTo>
                    <a:pt x="733" y="615"/>
                  </a:lnTo>
                  <a:lnTo>
                    <a:pt x="733" y="616"/>
                  </a:lnTo>
                  <a:lnTo>
                    <a:pt x="733" y="616"/>
                  </a:lnTo>
                  <a:lnTo>
                    <a:pt x="730" y="621"/>
                  </a:lnTo>
                  <a:lnTo>
                    <a:pt x="730" y="622"/>
                  </a:lnTo>
                  <a:lnTo>
                    <a:pt x="731" y="622"/>
                  </a:lnTo>
                  <a:lnTo>
                    <a:pt x="734" y="624"/>
                  </a:lnTo>
                  <a:lnTo>
                    <a:pt x="736" y="624"/>
                  </a:lnTo>
                  <a:lnTo>
                    <a:pt x="736" y="625"/>
                  </a:lnTo>
                  <a:lnTo>
                    <a:pt x="736" y="628"/>
                  </a:lnTo>
                  <a:lnTo>
                    <a:pt x="734" y="632"/>
                  </a:lnTo>
                  <a:lnTo>
                    <a:pt x="731" y="635"/>
                  </a:lnTo>
                  <a:lnTo>
                    <a:pt x="730" y="638"/>
                  </a:lnTo>
                  <a:lnTo>
                    <a:pt x="731" y="642"/>
                  </a:lnTo>
                  <a:lnTo>
                    <a:pt x="731" y="645"/>
                  </a:lnTo>
                  <a:lnTo>
                    <a:pt x="733" y="647"/>
                  </a:lnTo>
                  <a:lnTo>
                    <a:pt x="733" y="648"/>
                  </a:lnTo>
                  <a:lnTo>
                    <a:pt x="733" y="650"/>
                  </a:lnTo>
                  <a:lnTo>
                    <a:pt x="733" y="652"/>
                  </a:lnTo>
                  <a:lnTo>
                    <a:pt x="734" y="653"/>
                  </a:lnTo>
                  <a:lnTo>
                    <a:pt x="736" y="656"/>
                  </a:lnTo>
                  <a:lnTo>
                    <a:pt x="737" y="656"/>
                  </a:lnTo>
                  <a:lnTo>
                    <a:pt x="737" y="658"/>
                  </a:lnTo>
                  <a:lnTo>
                    <a:pt x="742" y="658"/>
                  </a:lnTo>
                  <a:lnTo>
                    <a:pt x="744" y="659"/>
                  </a:lnTo>
                  <a:lnTo>
                    <a:pt x="745" y="664"/>
                  </a:lnTo>
                  <a:lnTo>
                    <a:pt x="745" y="664"/>
                  </a:lnTo>
                  <a:lnTo>
                    <a:pt x="748" y="662"/>
                  </a:lnTo>
                  <a:lnTo>
                    <a:pt x="748" y="662"/>
                  </a:lnTo>
                  <a:lnTo>
                    <a:pt x="750" y="661"/>
                  </a:lnTo>
                  <a:lnTo>
                    <a:pt x="751" y="661"/>
                  </a:lnTo>
                  <a:lnTo>
                    <a:pt x="751" y="661"/>
                  </a:lnTo>
                  <a:lnTo>
                    <a:pt x="753" y="659"/>
                  </a:lnTo>
                  <a:lnTo>
                    <a:pt x="753" y="659"/>
                  </a:lnTo>
                  <a:lnTo>
                    <a:pt x="754" y="659"/>
                  </a:lnTo>
                  <a:lnTo>
                    <a:pt x="754" y="661"/>
                  </a:lnTo>
                  <a:lnTo>
                    <a:pt x="761" y="664"/>
                  </a:lnTo>
                  <a:lnTo>
                    <a:pt x="765" y="664"/>
                  </a:lnTo>
                  <a:lnTo>
                    <a:pt x="776" y="658"/>
                  </a:lnTo>
                  <a:lnTo>
                    <a:pt x="777" y="658"/>
                  </a:lnTo>
                  <a:lnTo>
                    <a:pt x="779" y="656"/>
                  </a:lnTo>
                  <a:lnTo>
                    <a:pt x="781" y="656"/>
                  </a:lnTo>
                  <a:lnTo>
                    <a:pt x="784" y="655"/>
                  </a:lnTo>
                  <a:lnTo>
                    <a:pt x="782" y="656"/>
                  </a:lnTo>
                  <a:lnTo>
                    <a:pt x="781" y="658"/>
                  </a:lnTo>
                  <a:lnTo>
                    <a:pt x="781" y="658"/>
                  </a:lnTo>
                  <a:lnTo>
                    <a:pt x="779" y="659"/>
                  </a:lnTo>
                  <a:lnTo>
                    <a:pt x="777" y="661"/>
                  </a:lnTo>
                  <a:lnTo>
                    <a:pt x="774" y="661"/>
                  </a:lnTo>
                  <a:lnTo>
                    <a:pt x="773" y="662"/>
                  </a:lnTo>
                  <a:lnTo>
                    <a:pt x="767" y="665"/>
                  </a:lnTo>
                  <a:lnTo>
                    <a:pt x="765" y="668"/>
                  </a:lnTo>
                  <a:lnTo>
                    <a:pt x="767" y="672"/>
                  </a:lnTo>
                  <a:lnTo>
                    <a:pt x="765" y="673"/>
                  </a:lnTo>
                  <a:lnTo>
                    <a:pt x="762" y="675"/>
                  </a:lnTo>
                  <a:lnTo>
                    <a:pt x="759" y="675"/>
                  </a:lnTo>
                  <a:lnTo>
                    <a:pt x="756" y="675"/>
                  </a:lnTo>
                  <a:lnTo>
                    <a:pt x="751" y="672"/>
                  </a:lnTo>
                  <a:lnTo>
                    <a:pt x="744" y="670"/>
                  </a:lnTo>
                  <a:lnTo>
                    <a:pt x="742" y="670"/>
                  </a:lnTo>
                  <a:lnTo>
                    <a:pt x="737" y="670"/>
                  </a:lnTo>
                  <a:lnTo>
                    <a:pt x="731" y="668"/>
                  </a:lnTo>
                  <a:lnTo>
                    <a:pt x="725" y="668"/>
                  </a:lnTo>
                  <a:lnTo>
                    <a:pt x="724" y="668"/>
                  </a:lnTo>
                  <a:lnTo>
                    <a:pt x="724" y="668"/>
                  </a:lnTo>
                  <a:lnTo>
                    <a:pt x="719" y="665"/>
                  </a:lnTo>
                  <a:lnTo>
                    <a:pt x="717" y="665"/>
                  </a:lnTo>
                  <a:lnTo>
                    <a:pt x="704" y="665"/>
                  </a:lnTo>
                  <a:lnTo>
                    <a:pt x="702" y="665"/>
                  </a:lnTo>
                  <a:lnTo>
                    <a:pt x="700" y="664"/>
                  </a:lnTo>
                  <a:lnTo>
                    <a:pt x="699" y="661"/>
                  </a:lnTo>
                  <a:lnTo>
                    <a:pt x="699" y="664"/>
                  </a:lnTo>
                  <a:lnTo>
                    <a:pt x="708" y="673"/>
                  </a:lnTo>
                  <a:lnTo>
                    <a:pt x="710" y="673"/>
                  </a:lnTo>
                  <a:lnTo>
                    <a:pt x="710" y="673"/>
                  </a:lnTo>
                  <a:lnTo>
                    <a:pt x="711" y="678"/>
                  </a:lnTo>
                  <a:lnTo>
                    <a:pt x="711" y="675"/>
                  </a:lnTo>
                  <a:lnTo>
                    <a:pt x="711" y="675"/>
                  </a:lnTo>
                  <a:lnTo>
                    <a:pt x="711" y="673"/>
                  </a:lnTo>
                  <a:lnTo>
                    <a:pt x="713" y="673"/>
                  </a:lnTo>
                  <a:lnTo>
                    <a:pt x="713" y="672"/>
                  </a:lnTo>
                  <a:lnTo>
                    <a:pt x="714" y="670"/>
                  </a:lnTo>
                  <a:lnTo>
                    <a:pt x="716" y="670"/>
                  </a:lnTo>
                  <a:lnTo>
                    <a:pt x="717" y="672"/>
                  </a:lnTo>
                  <a:lnTo>
                    <a:pt x="728" y="676"/>
                  </a:lnTo>
                  <a:lnTo>
                    <a:pt x="731" y="676"/>
                  </a:lnTo>
                  <a:lnTo>
                    <a:pt x="734" y="676"/>
                  </a:lnTo>
                  <a:lnTo>
                    <a:pt x="736" y="676"/>
                  </a:lnTo>
                  <a:lnTo>
                    <a:pt x="739" y="681"/>
                  </a:lnTo>
                  <a:lnTo>
                    <a:pt x="739" y="682"/>
                  </a:lnTo>
                  <a:lnTo>
                    <a:pt x="739" y="682"/>
                  </a:lnTo>
                  <a:lnTo>
                    <a:pt x="737" y="682"/>
                  </a:lnTo>
                  <a:lnTo>
                    <a:pt x="737" y="682"/>
                  </a:lnTo>
                  <a:lnTo>
                    <a:pt x="733" y="687"/>
                  </a:lnTo>
                  <a:lnTo>
                    <a:pt x="733" y="687"/>
                  </a:lnTo>
                  <a:lnTo>
                    <a:pt x="727" y="688"/>
                  </a:lnTo>
                  <a:lnTo>
                    <a:pt x="724" y="687"/>
                  </a:lnTo>
                  <a:lnTo>
                    <a:pt x="722" y="687"/>
                  </a:lnTo>
                  <a:lnTo>
                    <a:pt x="720" y="688"/>
                  </a:lnTo>
                  <a:lnTo>
                    <a:pt x="719" y="688"/>
                  </a:lnTo>
                  <a:lnTo>
                    <a:pt x="717" y="690"/>
                  </a:lnTo>
                  <a:lnTo>
                    <a:pt x="717" y="692"/>
                  </a:lnTo>
                  <a:lnTo>
                    <a:pt x="719" y="693"/>
                  </a:lnTo>
                  <a:lnTo>
                    <a:pt x="720" y="695"/>
                  </a:lnTo>
                  <a:lnTo>
                    <a:pt x="722" y="695"/>
                  </a:lnTo>
                  <a:lnTo>
                    <a:pt x="727" y="695"/>
                  </a:lnTo>
                  <a:lnTo>
                    <a:pt x="727" y="695"/>
                  </a:lnTo>
                  <a:lnTo>
                    <a:pt x="727" y="693"/>
                  </a:lnTo>
                  <a:lnTo>
                    <a:pt x="727" y="692"/>
                  </a:lnTo>
                  <a:lnTo>
                    <a:pt x="727" y="690"/>
                  </a:lnTo>
                  <a:lnTo>
                    <a:pt x="733" y="695"/>
                  </a:lnTo>
                  <a:lnTo>
                    <a:pt x="736" y="696"/>
                  </a:lnTo>
                  <a:lnTo>
                    <a:pt x="739" y="696"/>
                  </a:lnTo>
                  <a:lnTo>
                    <a:pt x="741" y="698"/>
                  </a:lnTo>
                  <a:lnTo>
                    <a:pt x="744" y="701"/>
                  </a:lnTo>
                  <a:lnTo>
                    <a:pt x="745" y="702"/>
                  </a:lnTo>
                  <a:lnTo>
                    <a:pt x="745" y="702"/>
                  </a:lnTo>
                  <a:lnTo>
                    <a:pt x="748" y="704"/>
                  </a:lnTo>
                  <a:lnTo>
                    <a:pt x="751" y="704"/>
                  </a:lnTo>
                  <a:lnTo>
                    <a:pt x="753" y="704"/>
                  </a:lnTo>
                  <a:lnTo>
                    <a:pt x="754" y="702"/>
                  </a:lnTo>
                  <a:lnTo>
                    <a:pt x="754" y="704"/>
                  </a:lnTo>
                  <a:lnTo>
                    <a:pt x="754" y="704"/>
                  </a:lnTo>
                  <a:lnTo>
                    <a:pt x="753" y="705"/>
                  </a:lnTo>
                  <a:lnTo>
                    <a:pt x="753" y="705"/>
                  </a:lnTo>
                  <a:lnTo>
                    <a:pt x="754" y="707"/>
                  </a:lnTo>
                  <a:lnTo>
                    <a:pt x="754" y="709"/>
                  </a:lnTo>
                  <a:lnTo>
                    <a:pt x="754" y="709"/>
                  </a:lnTo>
                  <a:lnTo>
                    <a:pt x="754" y="710"/>
                  </a:lnTo>
                  <a:lnTo>
                    <a:pt x="754" y="710"/>
                  </a:lnTo>
                  <a:lnTo>
                    <a:pt x="754" y="712"/>
                  </a:lnTo>
                  <a:lnTo>
                    <a:pt x="756" y="710"/>
                  </a:lnTo>
                  <a:lnTo>
                    <a:pt x="757" y="712"/>
                  </a:lnTo>
                  <a:lnTo>
                    <a:pt x="773" y="716"/>
                  </a:lnTo>
                  <a:lnTo>
                    <a:pt x="776" y="716"/>
                  </a:lnTo>
                  <a:lnTo>
                    <a:pt x="776" y="715"/>
                  </a:lnTo>
                  <a:lnTo>
                    <a:pt x="777" y="715"/>
                  </a:lnTo>
                  <a:lnTo>
                    <a:pt x="777" y="713"/>
                  </a:lnTo>
                  <a:lnTo>
                    <a:pt x="779" y="713"/>
                  </a:lnTo>
                  <a:lnTo>
                    <a:pt x="788" y="712"/>
                  </a:lnTo>
                  <a:lnTo>
                    <a:pt x="791" y="710"/>
                  </a:lnTo>
                  <a:lnTo>
                    <a:pt x="791" y="710"/>
                  </a:lnTo>
                  <a:lnTo>
                    <a:pt x="794" y="710"/>
                  </a:lnTo>
                  <a:lnTo>
                    <a:pt x="798" y="712"/>
                  </a:lnTo>
                  <a:lnTo>
                    <a:pt x="799" y="712"/>
                  </a:lnTo>
                  <a:lnTo>
                    <a:pt x="801" y="712"/>
                  </a:lnTo>
                  <a:lnTo>
                    <a:pt x="801" y="712"/>
                  </a:lnTo>
                  <a:lnTo>
                    <a:pt x="802" y="712"/>
                  </a:lnTo>
                  <a:lnTo>
                    <a:pt x="802" y="712"/>
                  </a:lnTo>
                  <a:lnTo>
                    <a:pt x="804" y="712"/>
                  </a:lnTo>
                  <a:lnTo>
                    <a:pt x="811" y="710"/>
                  </a:lnTo>
                  <a:lnTo>
                    <a:pt x="811" y="710"/>
                  </a:lnTo>
                  <a:lnTo>
                    <a:pt x="811" y="707"/>
                  </a:lnTo>
                  <a:lnTo>
                    <a:pt x="816" y="709"/>
                  </a:lnTo>
                  <a:lnTo>
                    <a:pt x="818" y="710"/>
                  </a:lnTo>
                  <a:lnTo>
                    <a:pt x="818" y="710"/>
                  </a:lnTo>
                  <a:lnTo>
                    <a:pt x="819" y="710"/>
                  </a:lnTo>
                  <a:lnTo>
                    <a:pt x="819" y="710"/>
                  </a:lnTo>
                  <a:lnTo>
                    <a:pt x="821" y="709"/>
                  </a:lnTo>
                  <a:lnTo>
                    <a:pt x="822" y="709"/>
                  </a:lnTo>
                  <a:lnTo>
                    <a:pt x="824" y="705"/>
                  </a:lnTo>
                  <a:lnTo>
                    <a:pt x="825" y="702"/>
                  </a:lnTo>
                  <a:lnTo>
                    <a:pt x="827" y="701"/>
                  </a:lnTo>
                  <a:lnTo>
                    <a:pt x="827" y="709"/>
                  </a:lnTo>
                  <a:lnTo>
                    <a:pt x="825" y="709"/>
                  </a:lnTo>
                  <a:lnTo>
                    <a:pt x="825" y="710"/>
                  </a:lnTo>
                  <a:lnTo>
                    <a:pt x="831" y="710"/>
                  </a:lnTo>
                  <a:lnTo>
                    <a:pt x="833" y="710"/>
                  </a:lnTo>
                  <a:lnTo>
                    <a:pt x="833" y="712"/>
                  </a:lnTo>
                  <a:lnTo>
                    <a:pt x="833" y="713"/>
                  </a:lnTo>
                  <a:lnTo>
                    <a:pt x="831" y="715"/>
                  </a:lnTo>
                  <a:lnTo>
                    <a:pt x="831" y="715"/>
                  </a:lnTo>
                  <a:lnTo>
                    <a:pt x="831" y="715"/>
                  </a:lnTo>
                  <a:lnTo>
                    <a:pt x="833" y="715"/>
                  </a:lnTo>
                  <a:lnTo>
                    <a:pt x="833" y="715"/>
                  </a:lnTo>
                  <a:lnTo>
                    <a:pt x="834" y="713"/>
                  </a:lnTo>
                  <a:lnTo>
                    <a:pt x="836" y="713"/>
                  </a:lnTo>
                  <a:lnTo>
                    <a:pt x="838" y="715"/>
                  </a:lnTo>
                  <a:lnTo>
                    <a:pt x="841" y="718"/>
                  </a:lnTo>
                  <a:lnTo>
                    <a:pt x="841" y="719"/>
                  </a:lnTo>
                  <a:lnTo>
                    <a:pt x="845" y="719"/>
                  </a:lnTo>
                  <a:lnTo>
                    <a:pt x="847" y="719"/>
                  </a:lnTo>
                  <a:lnTo>
                    <a:pt x="848" y="719"/>
                  </a:lnTo>
                  <a:lnTo>
                    <a:pt x="847" y="718"/>
                  </a:lnTo>
                  <a:lnTo>
                    <a:pt x="847" y="716"/>
                  </a:lnTo>
                  <a:lnTo>
                    <a:pt x="848" y="715"/>
                  </a:lnTo>
                  <a:lnTo>
                    <a:pt x="851" y="715"/>
                  </a:lnTo>
                  <a:lnTo>
                    <a:pt x="851" y="715"/>
                  </a:lnTo>
                  <a:lnTo>
                    <a:pt x="848" y="713"/>
                  </a:lnTo>
                  <a:lnTo>
                    <a:pt x="848" y="712"/>
                  </a:lnTo>
                  <a:lnTo>
                    <a:pt x="850" y="710"/>
                  </a:lnTo>
                  <a:lnTo>
                    <a:pt x="851" y="709"/>
                  </a:lnTo>
                  <a:lnTo>
                    <a:pt x="854" y="709"/>
                  </a:lnTo>
                  <a:lnTo>
                    <a:pt x="854" y="709"/>
                  </a:lnTo>
                  <a:lnTo>
                    <a:pt x="858" y="713"/>
                  </a:lnTo>
                  <a:lnTo>
                    <a:pt x="858" y="715"/>
                  </a:lnTo>
                  <a:lnTo>
                    <a:pt x="858" y="716"/>
                  </a:lnTo>
                  <a:lnTo>
                    <a:pt x="856" y="718"/>
                  </a:lnTo>
                  <a:lnTo>
                    <a:pt x="856" y="718"/>
                  </a:lnTo>
                  <a:lnTo>
                    <a:pt x="858" y="722"/>
                  </a:lnTo>
                  <a:lnTo>
                    <a:pt x="858" y="722"/>
                  </a:lnTo>
                  <a:lnTo>
                    <a:pt x="858" y="724"/>
                  </a:lnTo>
                  <a:lnTo>
                    <a:pt x="856" y="725"/>
                  </a:lnTo>
                  <a:lnTo>
                    <a:pt x="856" y="725"/>
                  </a:lnTo>
                  <a:lnTo>
                    <a:pt x="858" y="725"/>
                  </a:lnTo>
                  <a:lnTo>
                    <a:pt x="858" y="727"/>
                  </a:lnTo>
                  <a:lnTo>
                    <a:pt x="858" y="729"/>
                  </a:lnTo>
                  <a:lnTo>
                    <a:pt x="856" y="730"/>
                  </a:lnTo>
                  <a:lnTo>
                    <a:pt x="856" y="730"/>
                  </a:lnTo>
                  <a:lnTo>
                    <a:pt x="858" y="730"/>
                  </a:lnTo>
                  <a:lnTo>
                    <a:pt x="858" y="730"/>
                  </a:lnTo>
                  <a:lnTo>
                    <a:pt x="859" y="729"/>
                  </a:lnTo>
                  <a:lnTo>
                    <a:pt x="861" y="729"/>
                  </a:lnTo>
                  <a:lnTo>
                    <a:pt x="865" y="730"/>
                  </a:lnTo>
                  <a:lnTo>
                    <a:pt x="865" y="730"/>
                  </a:lnTo>
                  <a:lnTo>
                    <a:pt x="867" y="732"/>
                  </a:lnTo>
                  <a:lnTo>
                    <a:pt x="865" y="733"/>
                  </a:lnTo>
                  <a:lnTo>
                    <a:pt x="864" y="733"/>
                  </a:lnTo>
                  <a:lnTo>
                    <a:pt x="862" y="735"/>
                  </a:lnTo>
                  <a:lnTo>
                    <a:pt x="861" y="733"/>
                  </a:lnTo>
                  <a:lnTo>
                    <a:pt x="861" y="736"/>
                  </a:lnTo>
                  <a:lnTo>
                    <a:pt x="861" y="738"/>
                  </a:lnTo>
                  <a:lnTo>
                    <a:pt x="861" y="739"/>
                  </a:lnTo>
                  <a:lnTo>
                    <a:pt x="859" y="739"/>
                  </a:lnTo>
                  <a:lnTo>
                    <a:pt x="859" y="739"/>
                  </a:lnTo>
                  <a:lnTo>
                    <a:pt x="858" y="739"/>
                  </a:lnTo>
                  <a:lnTo>
                    <a:pt x="858" y="738"/>
                  </a:lnTo>
                  <a:lnTo>
                    <a:pt x="858" y="738"/>
                  </a:lnTo>
                  <a:lnTo>
                    <a:pt x="856" y="738"/>
                  </a:lnTo>
                  <a:lnTo>
                    <a:pt x="856" y="738"/>
                  </a:lnTo>
                  <a:lnTo>
                    <a:pt x="854" y="738"/>
                  </a:lnTo>
                  <a:lnTo>
                    <a:pt x="854" y="738"/>
                  </a:lnTo>
                  <a:lnTo>
                    <a:pt x="853" y="738"/>
                  </a:lnTo>
                  <a:lnTo>
                    <a:pt x="851" y="741"/>
                  </a:lnTo>
                  <a:lnTo>
                    <a:pt x="848" y="741"/>
                  </a:lnTo>
                  <a:lnTo>
                    <a:pt x="848" y="741"/>
                  </a:lnTo>
                  <a:lnTo>
                    <a:pt x="847" y="741"/>
                  </a:lnTo>
                  <a:lnTo>
                    <a:pt x="845" y="741"/>
                  </a:lnTo>
                  <a:lnTo>
                    <a:pt x="845" y="739"/>
                  </a:lnTo>
                  <a:lnTo>
                    <a:pt x="844" y="741"/>
                  </a:lnTo>
                  <a:lnTo>
                    <a:pt x="841" y="742"/>
                  </a:lnTo>
                  <a:lnTo>
                    <a:pt x="841" y="742"/>
                  </a:lnTo>
                  <a:lnTo>
                    <a:pt x="838" y="745"/>
                  </a:lnTo>
                  <a:lnTo>
                    <a:pt x="838" y="745"/>
                  </a:lnTo>
                  <a:lnTo>
                    <a:pt x="834" y="747"/>
                  </a:lnTo>
                  <a:lnTo>
                    <a:pt x="830" y="750"/>
                  </a:lnTo>
                  <a:lnTo>
                    <a:pt x="827" y="752"/>
                  </a:lnTo>
                  <a:lnTo>
                    <a:pt x="824" y="750"/>
                  </a:lnTo>
                  <a:lnTo>
                    <a:pt x="822" y="749"/>
                  </a:lnTo>
                  <a:lnTo>
                    <a:pt x="822" y="747"/>
                  </a:lnTo>
                  <a:lnTo>
                    <a:pt x="822" y="749"/>
                  </a:lnTo>
                  <a:lnTo>
                    <a:pt x="821" y="749"/>
                  </a:lnTo>
                  <a:lnTo>
                    <a:pt x="822" y="750"/>
                  </a:lnTo>
                  <a:lnTo>
                    <a:pt x="822" y="750"/>
                  </a:lnTo>
                  <a:lnTo>
                    <a:pt x="822" y="750"/>
                  </a:lnTo>
                  <a:lnTo>
                    <a:pt x="822" y="752"/>
                  </a:lnTo>
                  <a:lnTo>
                    <a:pt x="822" y="753"/>
                  </a:lnTo>
                  <a:lnTo>
                    <a:pt x="805" y="761"/>
                  </a:lnTo>
                  <a:lnTo>
                    <a:pt x="799" y="764"/>
                  </a:lnTo>
                  <a:lnTo>
                    <a:pt x="798" y="765"/>
                  </a:lnTo>
                  <a:lnTo>
                    <a:pt x="798" y="767"/>
                  </a:lnTo>
                  <a:lnTo>
                    <a:pt x="796" y="767"/>
                  </a:lnTo>
                  <a:lnTo>
                    <a:pt x="796" y="769"/>
                  </a:lnTo>
                  <a:lnTo>
                    <a:pt x="796" y="769"/>
                  </a:lnTo>
                  <a:lnTo>
                    <a:pt x="798" y="770"/>
                  </a:lnTo>
                  <a:lnTo>
                    <a:pt x="796" y="772"/>
                  </a:lnTo>
                  <a:lnTo>
                    <a:pt x="796" y="772"/>
                  </a:lnTo>
                  <a:lnTo>
                    <a:pt x="794" y="772"/>
                  </a:lnTo>
                  <a:lnTo>
                    <a:pt x="793" y="770"/>
                  </a:lnTo>
                  <a:lnTo>
                    <a:pt x="793" y="770"/>
                  </a:lnTo>
                  <a:lnTo>
                    <a:pt x="791" y="770"/>
                  </a:lnTo>
                  <a:lnTo>
                    <a:pt x="791" y="772"/>
                  </a:lnTo>
                  <a:lnTo>
                    <a:pt x="790" y="772"/>
                  </a:lnTo>
                  <a:lnTo>
                    <a:pt x="790" y="773"/>
                  </a:lnTo>
                  <a:lnTo>
                    <a:pt x="788" y="773"/>
                  </a:lnTo>
                  <a:lnTo>
                    <a:pt x="787" y="775"/>
                  </a:lnTo>
                  <a:lnTo>
                    <a:pt x="787" y="775"/>
                  </a:lnTo>
                  <a:lnTo>
                    <a:pt x="784" y="775"/>
                  </a:lnTo>
                  <a:lnTo>
                    <a:pt x="784" y="775"/>
                  </a:lnTo>
                  <a:lnTo>
                    <a:pt x="774" y="782"/>
                  </a:lnTo>
                  <a:lnTo>
                    <a:pt x="771" y="784"/>
                  </a:lnTo>
                  <a:lnTo>
                    <a:pt x="771" y="787"/>
                  </a:lnTo>
                  <a:lnTo>
                    <a:pt x="771" y="789"/>
                  </a:lnTo>
                  <a:lnTo>
                    <a:pt x="773" y="795"/>
                  </a:lnTo>
                  <a:lnTo>
                    <a:pt x="774" y="795"/>
                  </a:lnTo>
                  <a:lnTo>
                    <a:pt x="777" y="796"/>
                  </a:lnTo>
                  <a:lnTo>
                    <a:pt x="779" y="796"/>
                  </a:lnTo>
                  <a:lnTo>
                    <a:pt x="784" y="796"/>
                  </a:lnTo>
                  <a:lnTo>
                    <a:pt x="785" y="796"/>
                  </a:lnTo>
                  <a:lnTo>
                    <a:pt x="788" y="793"/>
                  </a:lnTo>
                  <a:lnTo>
                    <a:pt x="790" y="792"/>
                  </a:lnTo>
                  <a:lnTo>
                    <a:pt x="791" y="792"/>
                  </a:lnTo>
                  <a:lnTo>
                    <a:pt x="802" y="793"/>
                  </a:lnTo>
                  <a:lnTo>
                    <a:pt x="805" y="795"/>
                  </a:lnTo>
                  <a:lnTo>
                    <a:pt x="808" y="796"/>
                  </a:lnTo>
                  <a:lnTo>
                    <a:pt x="813" y="801"/>
                  </a:lnTo>
                  <a:lnTo>
                    <a:pt x="813" y="801"/>
                  </a:lnTo>
                  <a:lnTo>
                    <a:pt x="814" y="801"/>
                  </a:lnTo>
                  <a:lnTo>
                    <a:pt x="816" y="802"/>
                  </a:lnTo>
                  <a:lnTo>
                    <a:pt x="816" y="804"/>
                  </a:lnTo>
                  <a:lnTo>
                    <a:pt x="818" y="804"/>
                  </a:lnTo>
                  <a:lnTo>
                    <a:pt x="819" y="806"/>
                  </a:lnTo>
                  <a:lnTo>
                    <a:pt x="821" y="809"/>
                  </a:lnTo>
                  <a:lnTo>
                    <a:pt x="822" y="810"/>
                  </a:lnTo>
                  <a:lnTo>
                    <a:pt x="825" y="810"/>
                  </a:lnTo>
                  <a:lnTo>
                    <a:pt x="827" y="812"/>
                  </a:lnTo>
                  <a:lnTo>
                    <a:pt x="828" y="813"/>
                  </a:lnTo>
                  <a:lnTo>
                    <a:pt x="828" y="813"/>
                  </a:lnTo>
                  <a:lnTo>
                    <a:pt x="830" y="813"/>
                  </a:lnTo>
                  <a:lnTo>
                    <a:pt x="833" y="812"/>
                  </a:lnTo>
                  <a:lnTo>
                    <a:pt x="836" y="810"/>
                  </a:lnTo>
                  <a:lnTo>
                    <a:pt x="839" y="810"/>
                  </a:lnTo>
                  <a:lnTo>
                    <a:pt x="841" y="810"/>
                  </a:lnTo>
                  <a:lnTo>
                    <a:pt x="844" y="815"/>
                  </a:lnTo>
                  <a:lnTo>
                    <a:pt x="850" y="818"/>
                  </a:lnTo>
                  <a:lnTo>
                    <a:pt x="851" y="821"/>
                  </a:lnTo>
                  <a:lnTo>
                    <a:pt x="853" y="824"/>
                  </a:lnTo>
                  <a:lnTo>
                    <a:pt x="853" y="827"/>
                  </a:lnTo>
                  <a:lnTo>
                    <a:pt x="853" y="829"/>
                  </a:lnTo>
                  <a:lnTo>
                    <a:pt x="854" y="832"/>
                  </a:lnTo>
                  <a:lnTo>
                    <a:pt x="854" y="832"/>
                  </a:lnTo>
                  <a:lnTo>
                    <a:pt x="854" y="833"/>
                  </a:lnTo>
                  <a:lnTo>
                    <a:pt x="856" y="838"/>
                  </a:lnTo>
                  <a:lnTo>
                    <a:pt x="856" y="839"/>
                  </a:lnTo>
                  <a:lnTo>
                    <a:pt x="856" y="842"/>
                  </a:lnTo>
                  <a:lnTo>
                    <a:pt x="854" y="844"/>
                  </a:lnTo>
                  <a:lnTo>
                    <a:pt x="854" y="846"/>
                  </a:lnTo>
                  <a:lnTo>
                    <a:pt x="851" y="846"/>
                  </a:lnTo>
                  <a:lnTo>
                    <a:pt x="850" y="847"/>
                  </a:lnTo>
                  <a:lnTo>
                    <a:pt x="850" y="849"/>
                  </a:lnTo>
                  <a:lnTo>
                    <a:pt x="848" y="852"/>
                  </a:lnTo>
                  <a:lnTo>
                    <a:pt x="848" y="852"/>
                  </a:lnTo>
                  <a:lnTo>
                    <a:pt x="848" y="852"/>
                  </a:lnTo>
                  <a:lnTo>
                    <a:pt x="848" y="853"/>
                  </a:lnTo>
                  <a:lnTo>
                    <a:pt x="848" y="855"/>
                  </a:lnTo>
                  <a:lnTo>
                    <a:pt x="848" y="856"/>
                  </a:lnTo>
                  <a:lnTo>
                    <a:pt x="850" y="858"/>
                  </a:lnTo>
                  <a:lnTo>
                    <a:pt x="850" y="861"/>
                  </a:lnTo>
                  <a:lnTo>
                    <a:pt x="850" y="862"/>
                  </a:lnTo>
                  <a:lnTo>
                    <a:pt x="850" y="864"/>
                  </a:lnTo>
                  <a:lnTo>
                    <a:pt x="850" y="864"/>
                  </a:lnTo>
                  <a:lnTo>
                    <a:pt x="848" y="866"/>
                  </a:lnTo>
                  <a:lnTo>
                    <a:pt x="848" y="867"/>
                  </a:lnTo>
                  <a:lnTo>
                    <a:pt x="848" y="869"/>
                  </a:lnTo>
                  <a:lnTo>
                    <a:pt x="848" y="869"/>
                  </a:lnTo>
                  <a:lnTo>
                    <a:pt x="851" y="870"/>
                  </a:lnTo>
                  <a:lnTo>
                    <a:pt x="851" y="870"/>
                  </a:lnTo>
                  <a:lnTo>
                    <a:pt x="850" y="870"/>
                  </a:lnTo>
                  <a:lnTo>
                    <a:pt x="847" y="870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4" y="872"/>
                  </a:lnTo>
                  <a:lnTo>
                    <a:pt x="842" y="872"/>
                  </a:lnTo>
                  <a:lnTo>
                    <a:pt x="842" y="872"/>
                  </a:lnTo>
                  <a:lnTo>
                    <a:pt x="841" y="873"/>
                  </a:lnTo>
                  <a:lnTo>
                    <a:pt x="839" y="873"/>
                  </a:lnTo>
                  <a:lnTo>
                    <a:pt x="838" y="873"/>
                  </a:lnTo>
                  <a:lnTo>
                    <a:pt x="838" y="873"/>
                  </a:lnTo>
                  <a:lnTo>
                    <a:pt x="838" y="873"/>
                  </a:lnTo>
                  <a:lnTo>
                    <a:pt x="838" y="875"/>
                  </a:lnTo>
                  <a:lnTo>
                    <a:pt x="838" y="876"/>
                  </a:lnTo>
                  <a:lnTo>
                    <a:pt x="845" y="881"/>
                  </a:lnTo>
                  <a:lnTo>
                    <a:pt x="847" y="883"/>
                  </a:lnTo>
                  <a:lnTo>
                    <a:pt x="848" y="884"/>
                  </a:lnTo>
                  <a:lnTo>
                    <a:pt x="850" y="884"/>
                  </a:lnTo>
                  <a:lnTo>
                    <a:pt x="851" y="883"/>
                  </a:lnTo>
                  <a:lnTo>
                    <a:pt x="853" y="883"/>
                  </a:lnTo>
                  <a:lnTo>
                    <a:pt x="853" y="884"/>
                  </a:lnTo>
                  <a:lnTo>
                    <a:pt x="856" y="887"/>
                  </a:lnTo>
                  <a:lnTo>
                    <a:pt x="856" y="887"/>
                  </a:lnTo>
                  <a:lnTo>
                    <a:pt x="856" y="889"/>
                  </a:lnTo>
                  <a:lnTo>
                    <a:pt x="858" y="890"/>
                  </a:lnTo>
                  <a:lnTo>
                    <a:pt x="864" y="893"/>
                  </a:lnTo>
                  <a:lnTo>
                    <a:pt x="865" y="893"/>
                  </a:lnTo>
                  <a:lnTo>
                    <a:pt x="870" y="893"/>
                  </a:lnTo>
                  <a:lnTo>
                    <a:pt x="870" y="893"/>
                  </a:lnTo>
                  <a:lnTo>
                    <a:pt x="871" y="893"/>
                  </a:lnTo>
                  <a:lnTo>
                    <a:pt x="873" y="893"/>
                  </a:lnTo>
                  <a:lnTo>
                    <a:pt x="878" y="895"/>
                  </a:lnTo>
                  <a:lnTo>
                    <a:pt x="879" y="895"/>
                  </a:lnTo>
                  <a:lnTo>
                    <a:pt x="881" y="895"/>
                  </a:lnTo>
                  <a:lnTo>
                    <a:pt x="888" y="890"/>
                  </a:lnTo>
                  <a:lnTo>
                    <a:pt x="890" y="890"/>
                  </a:lnTo>
                  <a:lnTo>
                    <a:pt x="891" y="890"/>
                  </a:lnTo>
                  <a:lnTo>
                    <a:pt x="895" y="889"/>
                  </a:lnTo>
                  <a:lnTo>
                    <a:pt x="895" y="887"/>
                  </a:lnTo>
                  <a:lnTo>
                    <a:pt x="896" y="886"/>
                  </a:lnTo>
                  <a:lnTo>
                    <a:pt x="896" y="884"/>
                  </a:lnTo>
                  <a:lnTo>
                    <a:pt x="898" y="883"/>
                  </a:lnTo>
                  <a:lnTo>
                    <a:pt x="901" y="883"/>
                  </a:lnTo>
                  <a:lnTo>
                    <a:pt x="902" y="881"/>
                  </a:lnTo>
                  <a:lnTo>
                    <a:pt x="904" y="879"/>
                  </a:lnTo>
                  <a:lnTo>
                    <a:pt x="904" y="879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4" y="878"/>
                  </a:lnTo>
                  <a:lnTo>
                    <a:pt x="905" y="878"/>
                  </a:lnTo>
                  <a:lnTo>
                    <a:pt x="907" y="878"/>
                  </a:lnTo>
                  <a:lnTo>
                    <a:pt x="908" y="878"/>
                  </a:lnTo>
                  <a:lnTo>
                    <a:pt x="908" y="878"/>
                  </a:lnTo>
                  <a:lnTo>
                    <a:pt x="910" y="876"/>
                  </a:lnTo>
                  <a:lnTo>
                    <a:pt x="911" y="869"/>
                  </a:lnTo>
                  <a:lnTo>
                    <a:pt x="915" y="864"/>
                  </a:lnTo>
                  <a:lnTo>
                    <a:pt x="916" y="864"/>
                  </a:lnTo>
                  <a:lnTo>
                    <a:pt x="916" y="862"/>
                  </a:lnTo>
                  <a:lnTo>
                    <a:pt x="919" y="858"/>
                  </a:lnTo>
                  <a:lnTo>
                    <a:pt x="919" y="858"/>
                  </a:lnTo>
                  <a:lnTo>
                    <a:pt x="919" y="858"/>
                  </a:lnTo>
                  <a:lnTo>
                    <a:pt x="919" y="859"/>
                  </a:lnTo>
                  <a:lnTo>
                    <a:pt x="919" y="859"/>
                  </a:lnTo>
                  <a:lnTo>
                    <a:pt x="921" y="858"/>
                  </a:lnTo>
                  <a:lnTo>
                    <a:pt x="924" y="856"/>
                  </a:lnTo>
                  <a:lnTo>
                    <a:pt x="930" y="855"/>
                  </a:lnTo>
                  <a:lnTo>
                    <a:pt x="933" y="853"/>
                  </a:lnTo>
                  <a:lnTo>
                    <a:pt x="938" y="850"/>
                  </a:lnTo>
                  <a:lnTo>
                    <a:pt x="941" y="849"/>
                  </a:lnTo>
                  <a:lnTo>
                    <a:pt x="945" y="850"/>
                  </a:lnTo>
                  <a:lnTo>
                    <a:pt x="947" y="850"/>
                  </a:lnTo>
                  <a:lnTo>
                    <a:pt x="948" y="849"/>
                  </a:lnTo>
                  <a:lnTo>
                    <a:pt x="950" y="849"/>
                  </a:lnTo>
                  <a:lnTo>
                    <a:pt x="952" y="849"/>
                  </a:lnTo>
                  <a:lnTo>
                    <a:pt x="952" y="849"/>
                  </a:lnTo>
                  <a:lnTo>
                    <a:pt x="953" y="849"/>
                  </a:lnTo>
                  <a:lnTo>
                    <a:pt x="953" y="847"/>
                  </a:lnTo>
                  <a:lnTo>
                    <a:pt x="955" y="847"/>
                  </a:lnTo>
                  <a:lnTo>
                    <a:pt x="955" y="847"/>
                  </a:lnTo>
                  <a:lnTo>
                    <a:pt x="958" y="847"/>
                  </a:lnTo>
                  <a:lnTo>
                    <a:pt x="959" y="847"/>
                  </a:lnTo>
                  <a:lnTo>
                    <a:pt x="959" y="849"/>
                  </a:lnTo>
                  <a:lnTo>
                    <a:pt x="961" y="850"/>
                  </a:lnTo>
                  <a:lnTo>
                    <a:pt x="961" y="852"/>
                  </a:lnTo>
                  <a:lnTo>
                    <a:pt x="964" y="852"/>
                  </a:lnTo>
                  <a:lnTo>
                    <a:pt x="967" y="849"/>
                  </a:lnTo>
                  <a:lnTo>
                    <a:pt x="968" y="844"/>
                  </a:lnTo>
                  <a:lnTo>
                    <a:pt x="970" y="841"/>
                  </a:lnTo>
                  <a:lnTo>
                    <a:pt x="972" y="839"/>
                  </a:lnTo>
                  <a:lnTo>
                    <a:pt x="975" y="839"/>
                  </a:lnTo>
                  <a:lnTo>
                    <a:pt x="976" y="838"/>
                  </a:lnTo>
                  <a:lnTo>
                    <a:pt x="978" y="835"/>
                  </a:lnTo>
                  <a:lnTo>
                    <a:pt x="979" y="833"/>
                  </a:lnTo>
                  <a:lnTo>
                    <a:pt x="981" y="835"/>
                  </a:lnTo>
                  <a:lnTo>
                    <a:pt x="981" y="835"/>
                  </a:lnTo>
                  <a:lnTo>
                    <a:pt x="982" y="833"/>
                  </a:lnTo>
                  <a:lnTo>
                    <a:pt x="982" y="833"/>
                  </a:lnTo>
                  <a:lnTo>
                    <a:pt x="985" y="836"/>
                  </a:lnTo>
                  <a:lnTo>
                    <a:pt x="985" y="833"/>
                  </a:lnTo>
                  <a:lnTo>
                    <a:pt x="985" y="832"/>
                  </a:lnTo>
                  <a:lnTo>
                    <a:pt x="987" y="830"/>
                  </a:lnTo>
                  <a:lnTo>
                    <a:pt x="987" y="830"/>
                  </a:lnTo>
                  <a:lnTo>
                    <a:pt x="990" y="830"/>
                  </a:lnTo>
                  <a:lnTo>
                    <a:pt x="990" y="830"/>
                  </a:lnTo>
                  <a:lnTo>
                    <a:pt x="990" y="829"/>
                  </a:lnTo>
                  <a:lnTo>
                    <a:pt x="988" y="829"/>
                  </a:lnTo>
                  <a:lnTo>
                    <a:pt x="988" y="827"/>
                  </a:lnTo>
                  <a:lnTo>
                    <a:pt x="988" y="827"/>
                  </a:lnTo>
                  <a:lnTo>
                    <a:pt x="988" y="826"/>
                  </a:lnTo>
                  <a:lnTo>
                    <a:pt x="988" y="826"/>
                  </a:lnTo>
                  <a:lnTo>
                    <a:pt x="988" y="824"/>
                  </a:lnTo>
                  <a:lnTo>
                    <a:pt x="990" y="822"/>
                  </a:lnTo>
                  <a:lnTo>
                    <a:pt x="993" y="819"/>
                  </a:lnTo>
                  <a:lnTo>
                    <a:pt x="996" y="818"/>
                  </a:lnTo>
                  <a:lnTo>
                    <a:pt x="999" y="818"/>
                  </a:lnTo>
                  <a:lnTo>
                    <a:pt x="1002" y="818"/>
                  </a:lnTo>
                  <a:lnTo>
                    <a:pt x="1005" y="818"/>
                  </a:lnTo>
                  <a:lnTo>
                    <a:pt x="1012" y="821"/>
                  </a:lnTo>
                  <a:lnTo>
                    <a:pt x="1016" y="824"/>
                  </a:lnTo>
                  <a:lnTo>
                    <a:pt x="1016" y="824"/>
                  </a:lnTo>
                  <a:lnTo>
                    <a:pt x="1019" y="827"/>
                  </a:lnTo>
                  <a:lnTo>
                    <a:pt x="1019" y="829"/>
                  </a:lnTo>
                  <a:lnTo>
                    <a:pt x="1019" y="830"/>
                  </a:lnTo>
                  <a:lnTo>
                    <a:pt x="1021" y="832"/>
                  </a:lnTo>
                  <a:lnTo>
                    <a:pt x="1027" y="830"/>
                  </a:lnTo>
                  <a:lnTo>
                    <a:pt x="1032" y="830"/>
                  </a:lnTo>
                  <a:lnTo>
                    <a:pt x="1033" y="829"/>
                  </a:lnTo>
                  <a:lnTo>
                    <a:pt x="1035" y="827"/>
                  </a:lnTo>
                  <a:lnTo>
                    <a:pt x="1036" y="826"/>
                  </a:lnTo>
                  <a:lnTo>
                    <a:pt x="1039" y="826"/>
                  </a:lnTo>
                  <a:lnTo>
                    <a:pt x="1039" y="826"/>
                  </a:lnTo>
                  <a:lnTo>
                    <a:pt x="1042" y="829"/>
                  </a:lnTo>
                  <a:lnTo>
                    <a:pt x="1050" y="830"/>
                  </a:lnTo>
                  <a:lnTo>
                    <a:pt x="1052" y="829"/>
                  </a:lnTo>
                  <a:lnTo>
                    <a:pt x="1052" y="829"/>
                  </a:lnTo>
                  <a:lnTo>
                    <a:pt x="1052" y="827"/>
                  </a:lnTo>
                  <a:lnTo>
                    <a:pt x="1052" y="826"/>
                  </a:lnTo>
                  <a:lnTo>
                    <a:pt x="1053" y="826"/>
                  </a:lnTo>
                  <a:lnTo>
                    <a:pt x="1053" y="826"/>
                  </a:lnTo>
                  <a:lnTo>
                    <a:pt x="1061" y="826"/>
                  </a:lnTo>
                  <a:lnTo>
                    <a:pt x="1065" y="822"/>
                  </a:lnTo>
                  <a:lnTo>
                    <a:pt x="1067" y="822"/>
                  </a:lnTo>
                  <a:lnTo>
                    <a:pt x="1067" y="821"/>
                  </a:lnTo>
                  <a:lnTo>
                    <a:pt x="1065" y="819"/>
                  </a:lnTo>
                  <a:lnTo>
                    <a:pt x="1064" y="816"/>
                  </a:lnTo>
                  <a:lnTo>
                    <a:pt x="1064" y="815"/>
                  </a:lnTo>
                  <a:lnTo>
                    <a:pt x="1064" y="812"/>
                  </a:lnTo>
                  <a:lnTo>
                    <a:pt x="1064" y="806"/>
                  </a:lnTo>
                  <a:lnTo>
                    <a:pt x="1064" y="804"/>
                  </a:lnTo>
                  <a:lnTo>
                    <a:pt x="1065" y="801"/>
                  </a:lnTo>
                  <a:lnTo>
                    <a:pt x="1067" y="801"/>
                  </a:lnTo>
                  <a:lnTo>
                    <a:pt x="1067" y="799"/>
                  </a:lnTo>
                  <a:lnTo>
                    <a:pt x="1069" y="799"/>
                  </a:lnTo>
                  <a:lnTo>
                    <a:pt x="1069" y="799"/>
                  </a:lnTo>
                  <a:lnTo>
                    <a:pt x="1070" y="799"/>
                  </a:lnTo>
                  <a:lnTo>
                    <a:pt x="1070" y="798"/>
                  </a:lnTo>
                  <a:lnTo>
                    <a:pt x="1069" y="798"/>
                  </a:lnTo>
                  <a:lnTo>
                    <a:pt x="1069" y="796"/>
                  </a:lnTo>
                  <a:lnTo>
                    <a:pt x="1069" y="795"/>
                  </a:lnTo>
                  <a:lnTo>
                    <a:pt x="1070" y="793"/>
                  </a:lnTo>
                  <a:lnTo>
                    <a:pt x="1072" y="793"/>
                  </a:lnTo>
                  <a:lnTo>
                    <a:pt x="1073" y="793"/>
                  </a:lnTo>
                  <a:lnTo>
                    <a:pt x="1076" y="795"/>
                  </a:lnTo>
                  <a:lnTo>
                    <a:pt x="1076" y="795"/>
                  </a:lnTo>
                  <a:lnTo>
                    <a:pt x="1078" y="795"/>
                  </a:lnTo>
                  <a:lnTo>
                    <a:pt x="1079" y="795"/>
                  </a:lnTo>
                  <a:lnTo>
                    <a:pt x="1081" y="793"/>
                  </a:lnTo>
                  <a:lnTo>
                    <a:pt x="1079" y="790"/>
                  </a:lnTo>
                  <a:lnTo>
                    <a:pt x="1078" y="787"/>
                  </a:lnTo>
                  <a:lnTo>
                    <a:pt x="1078" y="786"/>
                  </a:lnTo>
                  <a:lnTo>
                    <a:pt x="1076" y="786"/>
                  </a:lnTo>
                  <a:lnTo>
                    <a:pt x="1075" y="786"/>
                  </a:lnTo>
                  <a:lnTo>
                    <a:pt x="1073" y="787"/>
                  </a:lnTo>
                  <a:lnTo>
                    <a:pt x="1073" y="787"/>
                  </a:lnTo>
                  <a:lnTo>
                    <a:pt x="1072" y="786"/>
                  </a:lnTo>
                  <a:lnTo>
                    <a:pt x="1069" y="784"/>
                  </a:lnTo>
                  <a:lnTo>
                    <a:pt x="1069" y="784"/>
                  </a:lnTo>
                  <a:lnTo>
                    <a:pt x="1064" y="784"/>
                  </a:lnTo>
                  <a:lnTo>
                    <a:pt x="1062" y="784"/>
                  </a:lnTo>
                  <a:lnTo>
                    <a:pt x="1059" y="782"/>
                  </a:lnTo>
                  <a:lnTo>
                    <a:pt x="1058" y="782"/>
                  </a:lnTo>
                  <a:lnTo>
                    <a:pt x="1058" y="782"/>
                  </a:lnTo>
                  <a:lnTo>
                    <a:pt x="1056" y="782"/>
                  </a:lnTo>
                  <a:lnTo>
                    <a:pt x="1056" y="784"/>
                  </a:lnTo>
                  <a:lnTo>
                    <a:pt x="1055" y="784"/>
                  </a:lnTo>
                  <a:lnTo>
                    <a:pt x="1056" y="782"/>
                  </a:lnTo>
                  <a:lnTo>
                    <a:pt x="1055" y="781"/>
                  </a:lnTo>
                  <a:lnTo>
                    <a:pt x="1053" y="779"/>
                  </a:lnTo>
                  <a:lnTo>
                    <a:pt x="1053" y="781"/>
                  </a:lnTo>
                  <a:lnTo>
                    <a:pt x="1052" y="781"/>
                  </a:lnTo>
                  <a:lnTo>
                    <a:pt x="1042" y="781"/>
                  </a:lnTo>
                  <a:lnTo>
                    <a:pt x="1041" y="782"/>
                  </a:lnTo>
                  <a:lnTo>
                    <a:pt x="1039" y="784"/>
                  </a:lnTo>
                  <a:lnTo>
                    <a:pt x="1038" y="786"/>
                  </a:lnTo>
                  <a:lnTo>
                    <a:pt x="1038" y="786"/>
                  </a:lnTo>
                  <a:lnTo>
                    <a:pt x="1036" y="789"/>
                  </a:lnTo>
                  <a:lnTo>
                    <a:pt x="1035" y="792"/>
                  </a:lnTo>
                  <a:lnTo>
                    <a:pt x="1032" y="792"/>
                  </a:lnTo>
                  <a:lnTo>
                    <a:pt x="1029" y="792"/>
                  </a:lnTo>
                  <a:lnTo>
                    <a:pt x="1024" y="787"/>
                  </a:lnTo>
                  <a:lnTo>
                    <a:pt x="1022" y="787"/>
                  </a:lnTo>
                  <a:lnTo>
                    <a:pt x="1021" y="786"/>
                  </a:lnTo>
                  <a:lnTo>
                    <a:pt x="1022" y="784"/>
                  </a:lnTo>
                  <a:lnTo>
                    <a:pt x="1022" y="782"/>
                  </a:lnTo>
                  <a:lnTo>
                    <a:pt x="1022" y="781"/>
                  </a:lnTo>
                  <a:lnTo>
                    <a:pt x="1021" y="781"/>
                  </a:lnTo>
                  <a:lnTo>
                    <a:pt x="1019" y="781"/>
                  </a:lnTo>
                  <a:lnTo>
                    <a:pt x="1018" y="782"/>
                  </a:lnTo>
                  <a:lnTo>
                    <a:pt x="1018" y="786"/>
                  </a:lnTo>
                  <a:lnTo>
                    <a:pt x="1018" y="787"/>
                  </a:lnTo>
                  <a:lnTo>
                    <a:pt x="1018" y="787"/>
                  </a:lnTo>
                  <a:lnTo>
                    <a:pt x="1016" y="789"/>
                  </a:lnTo>
                  <a:lnTo>
                    <a:pt x="1016" y="789"/>
                  </a:lnTo>
                  <a:lnTo>
                    <a:pt x="1015" y="790"/>
                  </a:lnTo>
                  <a:lnTo>
                    <a:pt x="1015" y="790"/>
                  </a:lnTo>
                  <a:lnTo>
                    <a:pt x="1015" y="792"/>
                  </a:lnTo>
                  <a:lnTo>
                    <a:pt x="1013" y="792"/>
                  </a:lnTo>
                  <a:lnTo>
                    <a:pt x="1012" y="795"/>
                  </a:lnTo>
                  <a:lnTo>
                    <a:pt x="1010" y="795"/>
                  </a:lnTo>
                  <a:lnTo>
                    <a:pt x="996" y="799"/>
                  </a:lnTo>
                  <a:lnTo>
                    <a:pt x="995" y="799"/>
                  </a:lnTo>
                  <a:lnTo>
                    <a:pt x="982" y="792"/>
                  </a:lnTo>
                  <a:lnTo>
                    <a:pt x="962" y="759"/>
                  </a:lnTo>
                  <a:lnTo>
                    <a:pt x="955" y="747"/>
                  </a:lnTo>
                  <a:lnTo>
                    <a:pt x="952" y="736"/>
                  </a:lnTo>
                  <a:lnTo>
                    <a:pt x="950" y="735"/>
                  </a:lnTo>
                  <a:lnTo>
                    <a:pt x="950" y="733"/>
                  </a:lnTo>
                  <a:lnTo>
                    <a:pt x="948" y="732"/>
                  </a:lnTo>
                  <a:lnTo>
                    <a:pt x="947" y="719"/>
                  </a:lnTo>
                  <a:lnTo>
                    <a:pt x="945" y="718"/>
                  </a:lnTo>
                  <a:lnTo>
                    <a:pt x="945" y="716"/>
                  </a:lnTo>
                  <a:lnTo>
                    <a:pt x="945" y="709"/>
                  </a:lnTo>
                  <a:lnTo>
                    <a:pt x="944" y="707"/>
                  </a:lnTo>
                  <a:lnTo>
                    <a:pt x="944" y="707"/>
                  </a:lnTo>
                  <a:lnTo>
                    <a:pt x="944" y="705"/>
                  </a:lnTo>
                  <a:lnTo>
                    <a:pt x="945" y="704"/>
                  </a:lnTo>
                  <a:lnTo>
                    <a:pt x="945" y="702"/>
                  </a:lnTo>
                  <a:lnTo>
                    <a:pt x="947" y="702"/>
                  </a:lnTo>
                  <a:lnTo>
                    <a:pt x="950" y="701"/>
                  </a:lnTo>
                  <a:lnTo>
                    <a:pt x="950" y="699"/>
                  </a:lnTo>
                  <a:lnTo>
                    <a:pt x="950" y="698"/>
                  </a:lnTo>
                  <a:lnTo>
                    <a:pt x="950" y="698"/>
                  </a:lnTo>
                  <a:lnTo>
                    <a:pt x="952" y="698"/>
                  </a:lnTo>
                  <a:lnTo>
                    <a:pt x="952" y="698"/>
                  </a:lnTo>
                  <a:lnTo>
                    <a:pt x="952" y="698"/>
                  </a:lnTo>
                  <a:lnTo>
                    <a:pt x="952" y="699"/>
                  </a:lnTo>
                  <a:lnTo>
                    <a:pt x="953" y="699"/>
                  </a:lnTo>
                  <a:lnTo>
                    <a:pt x="953" y="699"/>
                  </a:lnTo>
                  <a:lnTo>
                    <a:pt x="961" y="698"/>
                  </a:lnTo>
                  <a:lnTo>
                    <a:pt x="964" y="695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72" y="685"/>
                  </a:lnTo>
                  <a:lnTo>
                    <a:pt x="973" y="684"/>
                  </a:lnTo>
                  <a:lnTo>
                    <a:pt x="975" y="682"/>
                  </a:lnTo>
                  <a:lnTo>
                    <a:pt x="975" y="681"/>
                  </a:lnTo>
                  <a:lnTo>
                    <a:pt x="975" y="679"/>
                  </a:lnTo>
                  <a:lnTo>
                    <a:pt x="973" y="679"/>
                  </a:lnTo>
                  <a:lnTo>
                    <a:pt x="973" y="678"/>
                  </a:lnTo>
                  <a:lnTo>
                    <a:pt x="973" y="676"/>
                  </a:lnTo>
                  <a:lnTo>
                    <a:pt x="972" y="673"/>
                  </a:lnTo>
                  <a:lnTo>
                    <a:pt x="970" y="672"/>
                  </a:lnTo>
                  <a:lnTo>
                    <a:pt x="973" y="670"/>
                  </a:lnTo>
                  <a:lnTo>
                    <a:pt x="973" y="672"/>
                  </a:lnTo>
                  <a:lnTo>
                    <a:pt x="973" y="673"/>
                  </a:lnTo>
                  <a:lnTo>
                    <a:pt x="975" y="675"/>
                  </a:lnTo>
                  <a:lnTo>
                    <a:pt x="976" y="676"/>
                  </a:lnTo>
                  <a:lnTo>
                    <a:pt x="976" y="676"/>
                  </a:lnTo>
                  <a:lnTo>
                    <a:pt x="978" y="676"/>
                  </a:lnTo>
                  <a:lnTo>
                    <a:pt x="978" y="678"/>
                  </a:lnTo>
                  <a:lnTo>
                    <a:pt x="979" y="678"/>
                  </a:lnTo>
                  <a:lnTo>
                    <a:pt x="979" y="678"/>
                  </a:lnTo>
                  <a:lnTo>
                    <a:pt x="978" y="681"/>
                  </a:lnTo>
                  <a:lnTo>
                    <a:pt x="978" y="684"/>
                  </a:lnTo>
                  <a:lnTo>
                    <a:pt x="978" y="687"/>
                  </a:lnTo>
                  <a:lnTo>
                    <a:pt x="981" y="688"/>
                  </a:lnTo>
                  <a:lnTo>
                    <a:pt x="981" y="688"/>
                  </a:lnTo>
                  <a:lnTo>
                    <a:pt x="982" y="687"/>
                  </a:lnTo>
                  <a:lnTo>
                    <a:pt x="984" y="685"/>
                  </a:lnTo>
                  <a:lnTo>
                    <a:pt x="984" y="688"/>
                  </a:lnTo>
                  <a:lnTo>
                    <a:pt x="982" y="690"/>
                  </a:lnTo>
                  <a:lnTo>
                    <a:pt x="981" y="693"/>
                  </a:lnTo>
                  <a:lnTo>
                    <a:pt x="978" y="696"/>
                  </a:lnTo>
                  <a:lnTo>
                    <a:pt x="978" y="699"/>
                  </a:lnTo>
                  <a:lnTo>
                    <a:pt x="975" y="701"/>
                  </a:lnTo>
                  <a:lnTo>
                    <a:pt x="973" y="705"/>
                  </a:lnTo>
                  <a:lnTo>
                    <a:pt x="970" y="707"/>
                  </a:lnTo>
                  <a:lnTo>
                    <a:pt x="962" y="709"/>
                  </a:lnTo>
                  <a:lnTo>
                    <a:pt x="962" y="710"/>
                  </a:lnTo>
                  <a:lnTo>
                    <a:pt x="962" y="710"/>
                  </a:lnTo>
                  <a:lnTo>
                    <a:pt x="959" y="712"/>
                  </a:lnTo>
                  <a:lnTo>
                    <a:pt x="958" y="715"/>
                  </a:lnTo>
                  <a:lnTo>
                    <a:pt x="958" y="716"/>
                  </a:lnTo>
                  <a:lnTo>
                    <a:pt x="958" y="716"/>
                  </a:lnTo>
                  <a:lnTo>
                    <a:pt x="961" y="715"/>
                  </a:lnTo>
                  <a:lnTo>
                    <a:pt x="962" y="713"/>
                  </a:lnTo>
                  <a:lnTo>
                    <a:pt x="965" y="713"/>
                  </a:lnTo>
                  <a:lnTo>
                    <a:pt x="967" y="712"/>
                  </a:lnTo>
                  <a:lnTo>
                    <a:pt x="970" y="710"/>
                  </a:lnTo>
                  <a:lnTo>
                    <a:pt x="972" y="709"/>
                  </a:lnTo>
                  <a:lnTo>
                    <a:pt x="975" y="707"/>
                  </a:lnTo>
                  <a:lnTo>
                    <a:pt x="978" y="698"/>
                  </a:lnTo>
                  <a:lnTo>
                    <a:pt x="979" y="698"/>
                  </a:lnTo>
                  <a:lnTo>
                    <a:pt x="979" y="696"/>
                  </a:lnTo>
                  <a:lnTo>
                    <a:pt x="987" y="685"/>
                  </a:lnTo>
                  <a:lnTo>
                    <a:pt x="988" y="684"/>
                  </a:lnTo>
                  <a:lnTo>
                    <a:pt x="990" y="682"/>
                  </a:lnTo>
                  <a:lnTo>
                    <a:pt x="992" y="681"/>
                  </a:lnTo>
                  <a:lnTo>
                    <a:pt x="993" y="678"/>
                  </a:lnTo>
                  <a:lnTo>
                    <a:pt x="995" y="676"/>
                  </a:lnTo>
                  <a:lnTo>
                    <a:pt x="996" y="675"/>
                  </a:lnTo>
                  <a:lnTo>
                    <a:pt x="1005" y="672"/>
                  </a:lnTo>
                  <a:lnTo>
                    <a:pt x="1007" y="668"/>
                  </a:lnTo>
                  <a:lnTo>
                    <a:pt x="1013" y="662"/>
                  </a:lnTo>
                  <a:lnTo>
                    <a:pt x="1016" y="659"/>
                  </a:lnTo>
                  <a:lnTo>
                    <a:pt x="1019" y="658"/>
                  </a:lnTo>
                  <a:lnTo>
                    <a:pt x="1025" y="655"/>
                  </a:lnTo>
                  <a:lnTo>
                    <a:pt x="1027" y="655"/>
                  </a:lnTo>
                  <a:lnTo>
                    <a:pt x="1038" y="653"/>
                  </a:lnTo>
                  <a:lnTo>
                    <a:pt x="1042" y="653"/>
                  </a:lnTo>
                  <a:lnTo>
                    <a:pt x="1045" y="653"/>
                  </a:lnTo>
                  <a:lnTo>
                    <a:pt x="1047" y="653"/>
                  </a:lnTo>
                  <a:lnTo>
                    <a:pt x="1049" y="653"/>
                  </a:lnTo>
                  <a:lnTo>
                    <a:pt x="1049" y="653"/>
                  </a:lnTo>
                  <a:lnTo>
                    <a:pt x="1049" y="655"/>
                  </a:lnTo>
                  <a:lnTo>
                    <a:pt x="1050" y="656"/>
                  </a:lnTo>
                  <a:lnTo>
                    <a:pt x="1050" y="656"/>
                  </a:lnTo>
                  <a:lnTo>
                    <a:pt x="1052" y="656"/>
                  </a:lnTo>
                  <a:lnTo>
                    <a:pt x="1052" y="656"/>
                  </a:lnTo>
                  <a:lnTo>
                    <a:pt x="1052" y="658"/>
                  </a:lnTo>
                  <a:lnTo>
                    <a:pt x="1050" y="658"/>
                  </a:lnTo>
                  <a:lnTo>
                    <a:pt x="1052" y="659"/>
                  </a:lnTo>
                  <a:lnTo>
                    <a:pt x="1052" y="659"/>
                  </a:lnTo>
                  <a:lnTo>
                    <a:pt x="1052" y="658"/>
                  </a:lnTo>
                  <a:lnTo>
                    <a:pt x="1052" y="658"/>
                  </a:lnTo>
                  <a:lnTo>
                    <a:pt x="1053" y="658"/>
                  </a:lnTo>
                  <a:lnTo>
                    <a:pt x="1053" y="658"/>
                  </a:lnTo>
                  <a:lnTo>
                    <a:pt x="1053" y="659"/>
                  </a:lnTo>
                  <a:lnTo>
                    <a:pt x="1053" y="659"/>
                  </a:lnTo>
                  <a:lnTo>
                    <a:pt x="1055" y="656"/>
                  </a:lnTo>
                  <a:lnTo>
                    <a:pt x="1055" y="653"/>
                  </a:lnTo>
                  <a:lnTo>
                    <a:pt x="1061" y="648"/>
                  </a:lnTo>
                  <a:lnTo>
                    <a:pt x="1062" y="647"/>
                  </a:lnTo>
                  <a:lnTo>
                    <a:pt x="1065" y="645"/>
                  </a:lnTo>
                  <a:lnTo>
                    <a:pt x="1069" y="645"/>
                  </a:lnTo>
                  <a:lnTo>
                    <a:pt x="1072" y="642"/>
                  </a:lnTo>
                  <a:lnTo>
                    <a:pt x="1076" y="642"/>
                  </a:lnTo>
                  <a:lnTo>
                    <a:pt x="1078" y="642"/>
                  </a:lnTo>
                  <a:lnTo>
                    <a:pt x="1078" y="642"/>
                  </a:lnTo>
                  <a:lnTo>
                    <a:pt x="1079" y="641"/>
                  </a:lnTo>
                  <a:lnTo>
                    <a:pt x="1079" y="641"/>
                  </a:lnTo>
                  <a:lnTo>
                    <a:pt x="1082" y="641"/>
                  </a:lnTo>
                  <a:lnTo>
                    <a:pt x="1084" y="641"/>
                  </a:lnTo>
                  <a:lnTo>
                    <a:pt x="1084" y="641"/>
                  </a:lnTo>
                  <a:lnTo>
                    <a:pt x="1086" y="641"/>
                  </a:lnTo>
                  <a:lnTo>
                    <a:pt x="1089" y="642"/>
                  </a:lnTo>
                  <a:lnTo>
                    <a:pt x="1089" y="642"/>
                  </a:lnTo>
                  <a:lnTo>
                    <a:pt x="1092" y="645"/>
                  </a:lnTo>
                  <a:lnTo>
                    <a:pt x="1093" y="647"/>
                  </a:lnTo>
                  <a:lnTo>
                    <a:pt x="1093" y="648"/>
                  </a:lnTo>
                  <a:lnTo>
                    <a:pt x="1092" y="652"/>
                  </a:lnTo>
                  <a:lnTo>
                    <a:pt x="1090" y="655"/>
                  </a:lnTo>
                  <a:lnTo>
                    <a:pt x="1089" y="655"/>
                  </a:lnTo>
                  <a:lnTo>
                    <a:pt x="1089" y="655"/>
                  </a:lnTo>
                  <a:lnTo>
                    <a:pt x="1089" y="656"/>
                  </a:lnTo>
                  <a:lnTo>
                    <a:pt x="1090" y="656"/>
                  </a:lnTo>
                  <a:lnTo>
                    <a:pt x="1092" y="655"/>
                  </a:lnTo>
                  <a:lnTo>
                    <a:pt x="1093" y="652"/>
                  </a:lnTo>
                  <a:lnTo>
                    <a:pt x="1093" y="648"/>
                  </a:lnTo>
                  <a:lnTo>
                    <a:pt x="1095" y="645"/>
                  </a:lnTo>
                  <a:lnTo>
                    <a:pt x="1096" y="644"/>
                  </a:lnTo>
                  <a:lnTo>
                    <a:pt x="1096" y="641"/>
                  </a:lnTo>
                  <a:lnTo>
                    <a:pt x="1096" y="638"/>
                  </a:lnTo>
                  <a:lnTo>
                    <a:pt x="1099" y="638"/>
                  </a:lnTo>
                  <a:lnTo>
                    <a:pt x="1102" y="635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109" y="630"/>
                  </a:lnTo>
                  <a:lnTo>
                    <a:pt x="1109" y="630"/>
                  </a:lnTo>
                  <a:lnTo>
                    <a:pt x="1110" y="630"/>
                  </a:lnTo>
                  <a:lnTo>
                    <a:pt x="1119" y="627"/>
                  </a:lnTo>
                  <a:lnTo>
                    <a:pt x="1122" y="624"/>
                  </a:lnTo>
                  <a:lnTo>
                    <a:pt x="1124" y="624"/>
                  </a:lnTo>
                  <a:lnTo>
                    <a:pt x="1127" y="624"/>
                  </a:lnTo>
                  <a:lnTo>
                    <a:pt x="1129" y="625"/>
                  </a:lnTo>
                  <a:lnTo>
                    <a:pt x="1130" y="627"/>
                  </a:lnTo>
                  <a:lnTo>
                    <a:pt x="1130" y="630"/>
                  </a:lnTo>
                  <a:lnTo>
                    <a:pt x="1132" y="630"/>
                  </a:lnTo>
                  <a:lnTo>
                    <a:pt x="1133" y="627"/>
                  </a:lnTo>
                  <a:lnTo>
                    <a:pt x="1135" y="624"/>
                  </a:lnTo>
                  <a:lnTo>
                    <a:pt x="1143" y="613"/>
                  </a:lnTo>
                  <a:lnTo>
                    <a:pt x="1149" y="608"/>
                  </a:lnTo>
                  <a:lnTo>
                    <a:pt x="1150" y="607"/>
                  </a:lnTo>
                  <a:lnTo>
                    <a:pt x="1159" y="608"/>
                  </a:lnTo>
                  <a:lnTo>
                    <a:pt x="1164" y="608"/>
                  </a:lnTo>
                  <a:lnTo>
                    <a:pt x="1172" y="605"/>
                  </a:lnTo>
                  <a:lnTo>
                    <a:pt x="1178" y="607"/>
                  </a:lnTo>
                  <a:lnTo>
                    <a:pt x="1179" y="607"/>
                  </a:lnTo>
                  <a:lnTo>
                    <a:pt x="1181" y="607"/>
                  </a:lnTo>
                  <a:lnTo>
                    <a:pt x="1184" y="608"/>
                  </a:lnTo>
                  <a:lnTo>
                    <a:pt x="1184" y="607"/>
                  </a:lnTo>
                  <a:lnTo>
                    <a:pt x="1186" y="607"/>
                  </a:lnTo>
                  <a:lnTo>
                    <a:pt x="1187" y="605"/>
                  </a:lnTo>
                  <a:lnTo>
                    <a:pt x="1187" y="605"/>
                  </a:lnTo>
                  <a:lnTo>
                    <a:pt x="1189" y="608"/>
                  </a:lnTo>
                  <a:lnTo>
                    <a:pt x="1192" y="608"/>
                  </a:lnTo>
                  <a:lnTo>
                    <a:pt x="1192" y="610"/>
                  </a:lnTo>
                  <a:lnTo>
                    <a:pt x="1190" y="613"/>
                  </a:lnTo>
                  <a:lnTo>
                    <a:pt x="1192" y="613"/>
                  </a:lnTo>
                  <a:lnTo>
                    <a:pt x="1196" y="607"/>
                  </a:lnTo>
                  <a:lnTo>
                    <a:pt x="1198" y="605"/>
                  </a:lnTo>
                  <a:lnTo>
                    <a:pt x="1198" y="605"/>
                  </a:lnTo>
                  <a:lnTo>
                    <a:pt x="1196" y="602"/>
                  </a:lnTo>
                  <a:lnTo>
                    <a:pt x="1196" y="599"/>
                  </a:lnTo>
                  <a:lnTo>
                    <a:pt x="1196" y="596"/>
                  </a:lnTo>
                  <a:lnTo>
                    <a:pt x="1198" y="593"/>
                  </a:lnTo>
                  <a:lnTo>
                    <a:pt x="1199" y="591"/>
                  </a:lnTo>
                  <a:lnTo>
                    <a:pt x="1201" y="591"/>
                  </a:lnTo>
                  <a:lnTo>
                    <a:pt x="1203" y="590"/>
                  </a:lnTo>
                  <a:lnTo>
                    <a:pt x="1204" y="588"/>
                  </a:lnTo>
                  <a:lnTo>
                    <a:pt x="1204" y="587"/>
                  </a:lnTo>
                  <a:lnTo>
                    <a:pt x="1204" y="585"/>
                  </a:lnTo>
                  <a:lnTo>
                    <a:pt x="1203" y="585"/>
                  </a:lnTo>
                  <a:lnTo>
                    <a:pt x="1201" y="585"/>
                  </a:lnTo>
                  <a:lnTo>
                    <a:pt x="1198" y="585"/>
                  </a:lnTo>
                  <a:lnTo>
                    <a:pt x="1196" y="585"/>
                  </a:lnTo>
                  <a:lnTo>
                    <a:pt x="1196" y="584"/>
                  </a:lnTo>
                  <a:lnTo>
                    <a:pt x="1196" y="582"/>
                  </a:lnTo>
                  <a:lnTo>
                    <a:pt x="1196" y="581"/>
                  </a:lnTo>
                  <a:lnTo>
                    <a:pt x="1199" y="578"/>
                  </a:lnTo>
                  <a:lnTo>
                    <a:pt x="1201" y="573"/>
                  </a:lnTo>
                  <a:lnTo>
                    <a:pt x="1201" y="570"/>
                  </a:lnTo>
                  <a:lnTo>
                    <a:pt x="1201" y="562"/>
                  </a:lnTo>
                  <a:lnTo>
                    <a:pt x="1203" y="559"/>
                  </a:lnTo>
                  <a:lnTo>
                    <a:pt x="1204" y="555"/>
                  </a:lnTo>
                  <a:lnTo>
                    <a:pt x="1206" y="551"/>
                  </a:lnTo>
                  <a:lnTo>
                    <a:pt x="1207" y="550"/>
                  </a:lnTo>
                  <a:lnTo>
                    <a:pt x="1224" y="548"/>
                  </a:lnTo>
                  <a:lnTo>
                    <a:pt x="1226" y="547"/>
                  </a:lnTo>
                  <a:lnTo>
                    <a:pt x="1227" y="545"/>
                  </a:lnTo>
                  <a:lnTo>
                    <a:pt x="1230" y="542"/>
                  </a:lnTo>
                  <a:lnTo>
                    <a:pt x="1230" y="542"/>
                  </a:lnTo>
                  <a:lnTo>
                    <a:pt x="1232" y="542"/>
                  </a:lnTo>
                  <a:lnTo>
                    <a:pt x="1235" y="542"/>
                  </a:lnTo>
                  <a:lnTo>
                    <a:pt x="1236" y="542"/>
                  </a:lnTo>
                  <a:lnTo>
                    <a:pt x="1236" y="541"/>
                  </a:lnTo>
                  <a:lnTo>
                    <a:pt x="1238" y="536"/>
                  </a:lnTo>
                  <a:lnTo>
                    <a:pt x="1240" y="531"/>
                  </a:lnTo>
                  <a:lnTo>
                    <a:pt x="1241" y="527"/>
                  </a:lnTo>
                  <a:lnTo>
                    <a:pt x="1244" y="524"/>
                  </a:lnTo>
                  <a:lnTo>
                    <a:pt x="1247" y="522"/>
                  </a:lnTo>
                  <a:lnTo>
                    <a:pt x="1260" y="522"/>
                  </a:lnTo>
                  <a:lnTo>
                    <a:pt x="1260" y="522"/>
                  </a:lnTo>
                  <a:lnTo>
                    <a:pt x="1263" y="525"/>
                  </a:lnTo>
                  <a:lnTo>
                    <a:pt x="1264" y="525"/>
                  </a:lnTo>
                  <a:lnTo>
                    <a:pt x="1266" y="525"/>
                  </a:lnTo>
                  <a:lnTo>
                    <a:pt x="1269" y="525"/>
                  </a:lnTo>
                  <a:lnTo>
                    <a:pt x="1280" y="524"/>
                  </a:lnTo>
                  <a:lnTo>
                    <a:pt x="1281" y="524"/>
                  </a:lnTo>
                  <a:lnTo>
                    <a:pt x="1284" y="525"/>
                  </a:lnTo>
                  <a:lnTo>
                    <a:pt x="1286" y="527"/>
                  </a:lnTo>
                  <a:lnTo>
                    <a:pt x="1287" y="527"/>
                  </a:lnTo>
                  <a:lnTo>
                    <a:pt x="1290" y="525"/>
                  </a:lnTo>
                  <a:lnTo>
                    <a:pt x="1292" y="525"/>
                  </a:lnTo>
                  <a:lnTo>
                    <a:pt x="1293" y="527"/>
                  </a:lnTo>
                  <a:lnTo>
                    <a:pt x="1298" y="525"/>
                  </a:lnTo>
                  <a:lnTo>
                    <a:pt x="1301" y="525"/>
                  </a:lnTo>
                  <a:lnTo>
                    <a:pt x="1309" y="528"/>
                  </a:lnTo>
                  <a:lnTo>
                    <a:pt x="1310" y="527"/>
                  </a:lnTo>
                  <a:lnTo>
                    <a:pt x="1312" y="525"/>
                  </a:lnTo>
                  <a:lnTo>
                    <a:pt x="1313" y="522"/>
                  </a:lnTo>
                  <a:lnTo>
                    <a:pt x="1315" y="519"/>
                  </a:lnTo>
                  <a:lnTo>
                    <a:pt x="1315" y="519"/>
                  </a:lnTo>
                  <a:lnTo>
                    <a:pt x="1313" y="518"/>
                  </a:lnTo>
                  <a:lnTo>
                    <a:pt x="1313" y="516"/>
                  </a:lnTo>
                  <a:lnTo>
                    <a:pt x="1313" y="516"/>
                  </a:lnTo>
                  <a:lnTo>
                    <a:pt x="1315" y="513"/>
                  </a:lnTo>
                  <a:lnTo>
                    <a:pt x="1315" y="513"/>
                  </a:lnTo>
                  <a:lnTo>
                    <a:pt x="1315" y="511"/>
                  </a:lnTo>
                  <a:lnTo>
                    <a:pt x="1315" y="510"/>
                  </a:lnTo>
                  <a:lnTo>
                    <a:pt x="1313" y="507"/>
                  </a:lnTo>
                  <a:lnTo>
                    <a:pt x="1313" y="507"/>
                  </a:lnTo>
                  <a:lnTo>
                    <a:pt x="1313" y="505"/>
                  </a:lnTo>
                  <a:lnTo>
                    <a:pt x="1313" y="505"/>
                  </a:lnTo>
                  <a:lnTo>
                    <a:pt x="1313" y="504"/>
                  </a:lnTo>
                  <a:lnTo>
                    <a:pt x="1313" y="504"/>
                  </a:lnTo>
                  <a:lnTo>
                    <a:pt x="1318" y="502"/>
                  </a:lnTo>
                  <a:lnTo>
                    <a:pt x="1318" y="502"/>
                  </a:lnTo>
                  <a:lnTo>
                    <a:pt x="1320" y="502"/>
                  </a:lnTo>
                  <a:lnTo>
                    <a:pt x="1320" y="502"/>
                  </a:lnTo>
                  <a:lnTo>
                    <a:pt x="1318" y="498"/>
                  </a:lnTo>
                  <a:lnTo>
                    <a:pt x="1318" y="496"/>
                  </a:lnTo>
                  <a:lnTo>
                    <a:pt x="1320" y="493"/>
                  </a:lnTo>
                  <a:lnTo>
                    <a:pt x="1323" y="487"/>
                  </a:lnTo>
                  <a:lnTo>
                    <a:pt x="1324" y="485"/>
                  </a:lnTo>
                  <a:lnTo>
                    <a:pt x="1327" y="482"/>
                  </a:lnTo>
                  <a:lnTo>
                    <a:pt x="1329" y="481"/>
                  </a:lnTo>
                  <a:lnTo>
                    <a:pt x="1330" y="479"/>
                  </a:lnTo>
                  <a:lnTo>
                    <a:pt x="1330" y="476"/>
                  </a:lnTo>
                  <a:lnTo>
                    <a:pt x="1329" y="474"/>
                  </a:lnTo>
                  <a:lnTo>
                    <a:pt x="1327" y="474"/>
                  </a:lnTo>
                  <a:lnTo>
                    <a:pt x="1324" y="476"/>
                  </a:lnTo>
                  <a:lnTo>
                    <a:pt x="1323" y="476"/>
                  </a:lnTo>
                  <a:lnTo>
                    <a:pt x="1317" y="473"/>
                  </a:lnTo>
                  <a:lnTo>
                    <a:pt x="1323" y="468"/>
                  </a:lnTo>
                  <a:lnTo>
                    <a:pt x="1323" y="467"/>
                  </a:lnTo>
                  <a:lnTo>
                    <a:pt x="1324" y="465"/>
                  </a:lnTo>
                  <a:lnTo>
                    <a:pt x="1324" y="464"/>
                  </a:lnTo>
                  <a:lnTo>
                    <a:pt x="1324" y="462"/>
                  </a:lnTo>
                  <a:lnTo>
                    <a:pt x="1323" y="459"/>
                  </a:lnTo>
                  <a:lnTo>
                    <a:pt x="1321" y="454"/>
                  </a:lnTo>
                  <a:lnTo>
                    <a:pt x="1320" y="454"/>
                  </a:lnTo>
                  <a:lnTo>
                    <a:pt x="1320" y="453"/>
                  </a:lnTo>
                  <a:lnTo>
                    <a:pt x="1318" y="451"/>
                  </a:lnTo>
                  <a:lnTo>
                    <a:pt x="1320" y="451"/>
                  </a:lnTo>
                  <a:lnTo>
                    <a:pt x="1320" y="451"/>
                  </a:lnTo>
                  <a:lnTo>
                    <a:pt x="1321" y="451"/>
                  </a:lnTo>
                  <a:lnTo>
                    <a:pt x="1321" y="450"/>
                  </a:lnTo>
                  <a:lnTo>
                    <a:pt x="1321" y="450"/>
                  </a:lnTo>
                  <a:lnTo>
                    <a:pt x="1321" y="450"/>
                  </a:lnTo>
                  <a:lnTo>
                    <a:pt x="1321" y="448"/>
                  </a:lnTo>
                  <a:lnTo>
                    <a:pt x="1320" y="448"/>
                  </a:lnTo>
                  <a:lnTo>
                    <a:pt x="1320" y="445"/>
                  </a:lnTo>
                  <a:lnTo>
                    <a:pt x="1318" y="442"/>
                  </a:lnTo>
                  <a:lnTo>
                    <a:pt x="1317" y="442"/>
                  </a:lnTo>
                  <a:lnTo>
                    <a:pt x="1307" y="441"/>
                  </a:lnTo>
                  <a:lnTo>
                    <a:pt x="1306" y="441"/>
                  </a:lnTo>
                  <a:lnTo>
                    <a:pt x="1303" y="441"/>
                  </a:lnTo>
                  <a:lnTo>
                    <a:pt x="1304" y="439"/>
                  </a:lnTo>
                  <a:lnTo>
                    <a:pt x="1309" y="424"/>
                  </a:lnTo>
                  <a:lnTo>
                    <a:pt x="1309" y="422"/>
                  </a:lnTo>
                  <a:lnTo>
                    <a:pt x="1310" y="422"/>
                  </a:lnTo>
                  <a:lnTo>
                    <a:pt x="1312" y="421"/>
                  </a:lnTo>
                  <a:lnTo>
                    <a:pt x="1312" y="419"/>
                  </a:lnTo>
                  <a:lnTo>
                    <a:pt x="1312" y="417"/>
                  </a:lnTo>
                  <a:lnTo>
                    <a:pt x="1313" y="416"/>
                  </a:lnTo>
                  <a:lnTo>
                    <a:pt x="1317" y="416"/>
                  </a:lnTo>
                  <a:lnTo>
                    <a:pt x="1318" y="416"/>
                  </a:lnTo>
                  <a:lnTo>
                    <a:pt x="1326" y="419"/>
                  </a:lnTo>
                  <a:lnTo>
                    <a:pt x="1329" y="419"/>
                  </a:lnTo>
                  <a:lnTo>
                    <a:pt x="1332" y="416"/>
                  </a:lnTo>
                  <a:lnTo>
                    <a:pt x="1333" y="414"/>
                  </a:lnTo>
                  <a:lnTo>
                    <a:pt x="1335" y="411"/>
                  </a:lnTo>
                  <a:lnTo>
                    <a:pt x="1335" y="410"/>
                  </a:lnTo>
                  <a:lnTo>
                    <a:pt x="1333" y="408"/>
                  </a:lnTo>
                  <a:lnTo>
                    <a:pt x="1332" y="407"/>
                  </a:lnTo>
                  <a:lnTo>
                    <a:pt x="1330" y="408"/>
                  </a:lnTo>
                  <a:lnTo>
                    <a:pt x="1329" y="411"/>
                  </a:lnTo>
                  <a:lnTo>
                    <a:pt x="1327" y="411"/>
                  </a:lnTo>
                  <a:lnTo>
                    <a:pt x="1326" y="411"/>
                  </a:lnTo>
                  <a:lnTo>
                    <a:pt x="1324" y="410"/>
                  </a:lnTo>
                  <a:lnTo>
                    <a:pt x="1324" y="408"/>
                  </a:lnTo>
                  <a:lnTo>
                    <a:pt x="1323" y="408"/>
                  </a:lnTo>
                  <a:lnTo>
                    <a:pt x="1320" y="408"/>
                  </a:lnTo>
                  <a:lnTo>
                    <a:pt x="1315" y="407"/>
                  </a:lnTo>
                  <a:lnTo>
                    <a:pt x="1312" y="407"/>
                  </a:lnTo>
                  <a:lnTo>
                    <a:pt x="1312" y="405"/>
                  </a:lnTo>
                  <a:lnTo>
                    <a:pt x="1312" y="404"/>
                  </a:lnTo>
                  <a:lnTo>
                    <a:pt x="1310" y="402"/>
                  </a:lnTo>
                  <a:lnTo>
                    <a:pt x="1309" y="401"/>
                  </a:lnTo>
                  <a:lnTo>
                    <a:pt x="1307" y="399"/>
                  </a:lnTo>
                  <a:lnTo>
                    <a:pt x="1306" y="397"/>
                  </a:lnTo>
                  <a:lnTo>
                    <a:pt x="1307" y="393"/>
                  </a:lnTo>
                  <a:lnTo>
                    <a:pt x="1309" y="391"/>
                  </a:lnTo>
                  <a:lnTo>
                    <a:pt x="1312" y="391"/>
                  </a:lnTo>
                  <a:lnTo>
                    <a:pt x="1318" y="390"/>
                  </a:lnTo>
                  <a:lnTo>
                    <a:pt x="1320" y="390"/>
                  </a:lnTo>
                  <a:lnTo>
                    <a:pt x="1323" y="390"/>
                  </a:lnTo>
                  <a:lnTo>
                    <a:pt x="1324" y="390"/>
                  </a:lnTo>
                  <a:lnTo>
                    <a:pt x="1324" y="390"/>
                  </a:lnTo>
                  <a:lnTo>
                    <a:pt x="1324" y="388"/>
                  </a:lnTo>
                  <a:lnTo>
                    <a:pt x="1326" y="385"/>
                  </a:lnTo>
                  <a:lnTo>
                    <a:pt x="1326" y="384"/>
                  </a:lnTo>
                  <a:lnTo>
                    <a:pt x="1327" y="381"/>
                  </a:lnTo>
                  <a:lnTo>
                    <a:pt x="1329" y="379"/>
                  </a:lnTo>
                  <a:lnTo>
                    <a:pt x="1333" y="376"/>
                  </a:lnTo>
                  <a:lnTo>
                    <a:pt x="1335" y="374"/>
                  </a:lnTo>
                  <a:lnTo>
                    <a:pt x="1338" y="370"/>
                  </a:lnTo>
                  <a:lnTo>
                    <a:pt x="1338" y="368"/>
                  </a:lnTo>
                  <a:lnTo>
                    <a:pt x="1341" y="368"/>
                  </a:lnTo>
                  <a:lnTo>
                    <a:pt x="1341" y="367"/>
                  </a:lnTo>
                  <a:lnTo>
                    <a:pt x="1341" y="362"/>
                  </a:lnTo>
                  <a:lnTo>
                    <a:pt x="1343" y="359"/>
                  </a:lnTo>
                  <a:lnTo>
                    <a:pt x="1343" y="357"/>
                  </a:lnTo>
                  <a:lnTo>
                    <a:pt x="1341" y="35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8"/>
            <p:cNvSpPr>
              <a:spLocks noEditPoints="1"/>
            </p:cNvSpPr>
            <p:nvPr/>
          </p:nvSpPr>
          <p:spPr bwMode="gray">
            <a:xfrm>
              <a:off x="8716963" y="7996238"/>
              <a:ext cx="2262188" cy="950913"/>
            </a:xfrm>
            <a:custGeom>
              <a:avLst/>
              <a:gdLst>
                <a:gd name="T0" fmla="*/ 143 w 1425"/>
                <a:gd name="T1" fmla="*/ 161 h 599"/>
                <a:gd name="T2" fmla="*/ 69 w 1425"/>
                <a:gd name="T3" fmla="*/ 145 h 599"/>
                <a:gd name="T4" fmla="*/ 52 w 1425"/>
                <a:gd name="T5" fmla="*/ 191 h 599"/>
                <a:gd name="T6" fmla="*/ 163 w 1425"/>
                <a:gd name="T7" fmla="*/ 111 h 599"/>
                <a:gd name="T8" fmla="*/ 243 w 1425"/>
                <a:gd name="T9" fmla="*/ 110 h 599"/>
                <a:gd name="T10" fmla="*/ 180 w 1425"/>
                <a:gd name="T11" fmla="*/ 43 h 599"/>
                <a:gd name="T12" fmla="*/ 142 w 1425"/>
                <a:gd name="T13" fmla="*/ 17 h 599"/>
                <a:gd name="T14" fmla="*/ 80 w 1425"/>
                <a:gd name="T15" fmla="*/ 14 h 599"/>
                <a:gd name="T16" fmla="*/ 68 w 1425"/>
                <a:gd name="T17" fmla="*/ 76 h 599"/>
                <a:gd name="T18" fmla="*/ 42 w 1425"/>
                <a:gd name="T19" fmla="*/ 120 h 599"/>
                <a:gd name="T20" fmla="*/ 1397 w 1425"/>
                <a:gd name="T21" fmla="*/ 416 h 599"/>
                <a:gd name="T22" fmla="*/ 1386 w 1425"/>
                <a:gd name="T23" fmla="*/ 361 h 599"/>
                <a:gd name="T24" fmla="*/ 1369 w 1425"/>
                <a:gd name="T25" fmla="*/ 273 h 599"/>
                <a:gd name="T26" fmla="*/ 1409 w 1425"/>
                <a:gd name="T27" fmla="*/ 224 h 599"/>
                <a:gd name="T28" fmla="*/ 1338 w 1425"/>
                <a:gd name="T29" fmla="*/ 154 h 599"/>
                <a:gd name="T30" fmla="*/ 1281 w 1425"/>
                <a:gd name="T31" fmla="*/ 62 h 599"/>
                <a:gd name="T32" fmla="*/ 1194 w 1425"/>
                <a:gd name="T33" fmla="*/ 60 h 599"/>
                <a:gd name="T34" fmla="*/ 1058 w 1425"/>
                <a:gd name="T35" fmla="*/ 113 h 599"/>
                <a:gd name="T36" fmla="*/ 953 w 1425"/>
                <a:gd name="T37" fmla="*/ 117 h 599"/>
                <a:gd name="T38" fmla="*/ 846 w 1425"/>
                <a:gd name="T39" fmla="*/ 82 h 599"/>
                <a:gd name="T40" fmla="*/ 764 w 1425"/>
                <a:gd name="T41" fmla="*/ 45 h 599"/>
                <a:gd name="T42" fmla="*/ 698 w 1425"/>
                <a:gd name="T43" fmla="*/ 2 h 599"/>
                <a:gd name="T44" fmla="*/ 502 w 1425"/>
                <a:gd name="T45" fmla="*/ 36 h 599"/>
                <a:gd name="T46" fmla="*/ 379 w 1425"/>
                <a:gd name="T47" fmla="*/ 100 h 599"/>
                <a:gd name="T48" fmla="*/ 270 w 1425"/>
                <a:gd name="T49" fmla="*/ 125 h 599"/>
                <a:gd name="T50" fmla="*/ 283 w 1425"/>
                <a:gd name="T51" fmla="*/ 137 h 599"/>
                <a:gd name="T52" fmla="*/ 222 w 1425"/>
                <a:gd name="T53" fmla="*/ 171 h 599"/>
                <a:gd name="T54" fmla="*/ 160 w 1425"/>
                <a:gd name="T55" fmla="*/ 173 h 599"/>
                <a:gd name="T56" fmla="*/ 56 w 1425"/>
                <a:gd name="T57" fmla="*/ 191 h 599"/>
                <a:gd name="T58" fmla="*/ 46 w 1425"/>
                <a:gd name="T59" fmla="*/ 256 h 599"/>
                <a:gd name="T60" fmla="*/ 80 w 1425"/>
                <a:gd name="T61" fmla="*/ 279 h 599"/>
                <a:gd name="T62" fmla="*/ 92 w 1425"/>
                <a:gd name="T63" fmla="*/ 321 h 599"/>
                <a:gd name="T64" fmla="*/ 86 w 1425"/>
                <a:gd name="T65" fmla="*/ 347 h 599"/>
                <a:gd name="T66" fmla="*/ 77 w 1425"/>
                <a:gd name="T67" fmla="*/ 368 h 599"/>
                <a:gd name="T68" fmla="*/ 57 w 1425"/>
                <a:gd name="T69" fmla="*/ 353 h 599"/>
                <a:gd name="T70" fmla="*/ 54 w 1425"/>
                <a:gd name="T71" fmla="*/ 376 h 599"/>
                <a:gd name="T72" fmla="*/ 92 w 1425"/>
                <a:gd name="T73" fmla="*/ 391 h 599"/>
                <a:gd name="T74" fmla="*/ 114 w 1425"/>
                <a:gd name="T75" fmla="*/ 444 h 599"/>
                <a:gd name="T76" fmla="*/ 134 w 1425"/>
                <a:gd name="T77" fmla="*/ 465 h 599"/>
                <a:gd name="T78" fmla="*/ 133 w 1425"/>
                <a:gd name="T79" fmla="*/ 479 h 599"/>
                <a:gd name="T80" fmla="*/ 123 w 1425"/>
                <a:gd name="T81" fmla="*/ 493 h 599"/>
                <a:gd name="T82" fmla="*/ 173 w 1425"/>
                <a:gd name="T83" fmla="*/ 487 h 599"/>
                <a:gd name="T84" fmla="*/ 177 w 1425"/>
                <a:gd name="T85" fmla="*/ 498 h 599"/>
                <a:gd name="T86" fmla="*/ 131 w 1425"/>
                <a:gd name="T87" fmla="*/ 515 h 599"/>
                <a:gd name="T88" fmla="*/ 166 w 1425"/>
                <a:gd name="T89" fmla="*/ 515 h 599"/>
                <a:gd name="T90" fmla="*/ 177 w 1425"/>
                <a:gd name="T91" fmla="*/ 519 h 599"/>
                <a:gd name="T92" fmla="*/ 193 w 1425"/>
                <a:gd name="T93" fmla="*/ 513 h 599"/>
                <a:gd name="T94" fmla="*/ 214 w 1425"/>
                <a:gd name="T95" fmla="*/ 510 h 599"/>
                <a:gd name="T96" fmla="*/ 239 w 1425"/>
                <a:gd name="T97" fmla="*/ 524 h 599"/>
                <a:gd name="T98" fmla="*/ 259 w 1425"/>
                <a:gd name="T99" fmla="*/ 542 h 599"/>
                <a:gd name="T100" fmla="*/ 296 w 1425"/>
                <a:gd name="T101" fmla="*/ 567 h 599"/>
                <a:gd name="T102" fmla="*/ 333 w 1425"/>
                <a:gd name="T103" fmla="*/ 559 h 599"/>
                <a:gd name="T104" fmla="*/ 367 w 1425"/>
                <a:gd name="T105" fmla="*/ 510 h 599"/>
                <a:gd name="T106" fmla="*/ 499 w 1425"/>
                <a:gd name="T107" fmla="*/ 567 h 599"/>
                <a:gd name="T108" fmla="*/ 598 w 1425"/>
                <a:gd name="T109" fmla="*/ 570 h 599"/>
                <a:gd name="T110" fmla="*/ 665 w 1425"/>
                <a:gd name="T111" fmla="*/ 510 h 599"/>
                <a:gd name="T112" fmla="*/ 741 w 1425"/>
                <a:gd name="T113" fmla="*/ 522 h 599"/>
                <a:gd name="T114" fmla="*/ 786 w 1425"/>
                <a:gd name="T115" fmla="*/ 521 h 599"/>
                <a:gd name="T116" fmla="*/ 781 w 1425"/>
                <a:gd name="T117" fmla="*/ 599 h 599"/>
                <a:gd name="T118" fmla="*/ 810 w 1425"/>
                <a:gd name="T119" fmla="*/ 545 h 599"/>
                <a:gd name="T120" fmla="*/ 972 w 1425"/>
                <a:gd name="T121" fmla="*/ 519 h 599"/>
                <a:gd name="T122" fmla="*/ 1251 w 1425"/>
                <a:gd name="T123" fmla="*/ 479 h 599"/>
                <a:gd name="T124" fmla="*/ 1365 w 1425"/>
                <a:gd name="T125" fmla="*/ 462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25" h="599">
                  <a:moveTo>
                    <a:pt x="31" y="227"/>
                  </a:moveTo>
                  <a:lnTo>
                    <a:pt x="31" y="222"/>
                  </a:lnTo>
                  <a:lnTo>
                    <a:pt x="31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8" y="222"/>
                  </a:lnTo>
                  <a:lnTo>
                    <a:pt x="26" y="222"/>
                  </a:lnTo>
                  <a:lnTo>
                    <a:pt x="25" y="222"/>
                  </a:lnTo>
                  <a:lnTo>
                    <a:pt x="23" y="222"/>
                  </a:lnTo>
                  <a:lnTo>
                    <a:pt x="25" y="224"/>
                  </a:lnTo>
                  <a:lnTo>
                    <a:pt x="25" y="225"/>
                  </a:lnTo>
                  <a:lnTo>
                    <a:pt x="28" y="225"/>
                  </a:lnTo>
                  <a:lnTo>
                    <a:pt x="29" y="227"/>
                  </a:lnTo>
                  <a:lnTo>
                    <a:pt x="31" y="227"/>
                  </a:lnTo>
                  <a:lnTo>
                    <a:pt x="31" y="227"/>
                  </a:lnTo>
                  <a:close/>
                  <a:moveTo>
                    <a:pt x="26" y="193"/>
                  </a:moveTo>
                  <a:lnTo>
                    <a:pt x="26" y="190"/>
                  </a:lnTo>
                  <a:lnTo>
                    <a:pt x="26" y="190"/>
                  </a:lnTo>
                  <a:lnTo>
                    <a:pt x="25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3" y="190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3" y="187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2" y="185"/>
                  </a:lnTo>
                  <a:lnTo>
                    <a:pt x="22" y="185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4"/>
                  </a:lnTo>
                  <a:lnTo>
                    <a:pt x="19" y="184"/>
                  </a:lnTo>
                  <a:lnTo>
                    <a:pt x="12" y="185"/>
                  </a:lnTo>
                  <a:lnTo>
                    <a:pt x="8" y="187"/>
                  </a:lnTo>
                  <a:lnTo>
                    <a:pt x="5" y="188"/>
                  </a:lnTo>
                  <a:lnTo>
                    <a:pt x="2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3" y="196"/>
                  </a:lnTo>
                  <a:lnTo>
                    <a:pt x="3" y="196"/>
                  </a:lnTo>
                  <a:lnTo>
                    <a:pt x="5" y="196"/>
                  </a:lnTo>
                  <a:lnTo>
                    <a:pt x="6" y="197"/>
                  </a:lnTo>
                  <a:lnTo>
                    <a:pt x="8" y="197"/>
                  </a:lnTo>
                  <a:lnTo>
                    <a:pt x="14" y="196"/>
                  </a:lnTo>
                  <a:lnTo>
                    <a:pt x="19" y="194"/>
                  </a:lnTo>
                  <a:lnTo>
                    <a:pt x="23" y="194"/>
                  </a:lnTo>
                  <a:lnTo>
                    <a:pt x="25" y="193"/>
                  </a:lnTo>
                  <a:lnTo>
                    <a:pt x="26" y="193"/>
                  </a:lnTo>
                  <a:close/>
                  <a:moveTo>
                    <a:pt x="148" y="159"/>
                  </a:moveTo>
                  <a:lnTo>
                    <a:pt x="148" y="159"/>
                  </a:lnTo>
                  <a:lnTo>
                    <a:pt x="145" y="157"/>
                  </a:lnTo>
                  <a:lnTo>
                    <a:pt x="145" y="159"/>
                  </a:lnTo>
                  <a:lnTo>
                    <a:pt x="143" y="159"/>
                  </a:lnTo>
                  <a:lnTo>
                    <a:pt x="143" y="161"/>
                  </a:lnTo>
                  <a:lnTo>
                    <a:pt x="143" y="162"/>
                  </a:lnTo>
                  <a:lnTo>
                    <a:pt x="145" y="162"/>
                  </a:lnTo>
                  <a:lnTo>
                    <a:pt x="145" y="162"/>
                  </a:lnTo>
                  <a:lnTo>
                    <a:pt x="146" y="162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6" y="162"/>
                  </a:lnTo>
                  <a:lnTo>
                    <a:pt x="148" y="161"/>
                  </a:lnTo>
                  <a:lnTo>
                    <a:pt x="148" y="159"/>
                  </a:lnTo>
                  <a:close/>
                  <a:moveTo>
                    <a:pt x="149" y="147"/>
                  </a:moveTo>
                  <a:lnTo>
                    <a:pt x="153" y="147"/>
                  </a:lnTo>
                  <a:lnTo>
                    <a:pt x="154" y="145"/>
                  </a:lnTo>
                  <a:lnTo>
                    <a:pt x="154" y="144"/>
                  </a:lnTo>
                  <a:lnTo>
                    <a:pt x="153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6" y="142"/>
                  </a:lnTo>
                  <a:lnTo>
                    <a:pt x="145" y="142"/>
                  </a:lnTo>
                  <a:lnTo>
                    <a:pt x="143" y="142"/>
                  </a:lnTo>
                  <a:lnTo>
                    <a:pt x="142" y="144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39" y="144"/>
                  </a:lnTo>
                  <a:lnTo>
                    <a:pt x="139" y="145"/>
                  </a:lnTo>
                  <a:lnTo>
                    <a:pt x="139" y="145"/>
                  </a:lnTo>
                  <a:lnTo>
                    <a:pt x="140" y="147"/>
                  </a:lnTo>
                  <a:lnTo>
                    <a:pt x="140" y="148"/>
                  </a:lnTo>
                  <a:lnTo>
                    <a:pt x="140" y="150"/>
                  </a:lnTo>
                  <a:lnTo>
                    <a:pt x="142" y="150"/>
                  </a:lnTo>
                  <a:lnTo>
                    <a:pt x="143" y="150"/>
                  </a:lnTo>
                  <a:lnTo>
                    <a:pt x="145" y="151"/>
                  </a:lnTo>
                  <a:lnTo>
                    <a:pt x="146" y="150"/>
                  </a:lnTo>
                  <a:lnTo>
                    <a:pt x="149" y="148"/>
                  </a:lnTo>
                  <a:lnTo>
                    <a:pt x="149" y="147"/>
                  </a:lnTo>
                  <a:close/>
                  <a:moveTo>
                    <a:pt x="29" y="139"/>
                  </a:moveTo>
                  <a:lnTo>
                    <a:pt x="29" y="140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31" y="145"/>
                  </a:lnTo>
                  <a:lnTo>
                    <a:pt x="31" y="147"/>
                  </a:lnTo>
                  <a:lnTo>
                    <a:pt x="32" y="148"/>
                  </a:lnTo>
                  <a:lnTo>
                    <a:pt x="34" y="148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57" y="147"/>
                  </a:lnTo>
                  <a:lnTo>
                    <a:pt x="59" y="147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3" y="148"/>
                  </a:lnTo>
                  <a:lnTo>
                    <a:pt x="69" y="145"/>
                  </a:lnTo>
                  <a:lnTo>
                    <a:pt x="71" y="145"/>
                  </a:lnTo>
                  <a:lnTo>
                    <a:pt x="76" y="145"/>
                  </a:lnTo>
                  <a:lnTo>
                    <a:pt x="77" y="144"/>
                  </a:lnTo>
                  <a:lnTo>
                    <a:pt x="79" y="144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5" y="144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3" y="151"/>
                  </a:lnTo>
                  <a:lnTo>
                    <a:pt x="82" y="153"/>
                  </a:lnTo>
                  <a:lnTo>
                    <a:pt x="80" y="151"/>
                  </a:lnTo>
                  <a:lnTo>
                    <a:pt x="79" y="153"/>
                  </a:lnTo>
                  <a:lnTo>
                    <a:pt x="77" y="156"/>
                  </a:lnTo>
                  <a:lnTo>
                    <a:pt x="76" y="156"/>
                  </a:lnTo>
                  <a:lnTo>
                    <a:pt x="76" y="157"/>
                  </a:lnTo>
                  <a:lnTo>
                    <a:pt x="71" y="156"/>
                  </a:lnTo>
                  <a:lnTo>
                    <a:pt x="69" y="157"/>
                  </a:lnTo>
                  <a:lnTo>
                    <a:pt x="68" y="157"/>
                  </a:lnTo>
                  <a:lnTo>
                    <a:pt x="65" y="159"/>
                  </a:lnTo>
                  <a:lnTo>
                    <a:pt x="62" y="162"/>
                  </a:lnTo>
                  <a:lnTo>
                    <a:pt x="57" y="164"/>
                  </a:lnTo>
                  <a:lnTo>
                    <a:pt x="54" y="167"/>
                  </a:lnTo>
                  <a:lnTo>
                    <a:pt x="51" y="170"/>
                  </a:lnTo>
                  <a:lnTo>
                    <a:pt x="49" y="171"/>
                  </a:lnTo>
                  <a:lnTo>
                    <a:pt x="48" y="171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4"/>
                  </a:lnTo>
                  <a:lnTo>
                    <a:pt x="42" y="174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3" y="176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3" y="179"/>
                  </a:lnTo>
                  <a:lnTo>
                    <a:pt x="45" y="182"/>
                  </a:lnTo>
                  <a:lnTo>
                    <a:pt x="46" y="184"/>
                  </a:lnTo>
                  <a:lnTo>
                    <a:pt x="45" y="188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6"/>
                  </a:lnTo>
                  <a:lnTo>
                    <a:pt x="40" y="197"/>
                  </a:lnTo>
                  <a:lnTo>
                    <a:pt x="39" y="199"/>
                  </a:lnTo>
                  <a:lnTo>
                    <a:pt x="39" y="199"/>
                  </a:lnTo>
                  <a:lnTo>
                    <a:pt x="37" y="201"/>
                  </a:lnTo>
                  <a:lnTo>
                    <a:pt x="37" y="201"/>
                  </a:lnTo>
                  <a:lnTo>
                    <a:pt x="37" y="202"/>
                  </a:lnTo>
                  <a:lnTo>
                    <a:pt x="39" y="202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6" y="197"/>
                  </a:lnTo>
                  <a:lnTo>
                    <a:pt x="49" y="196"/>
                  </a:lnTo>
                  <a:lnTo>
                    <a:pt x="49" y="194"/>
                  </a:lnTo>
                  <a:lnTo>
                    <a:pt x="54" y="191"/>
                  </a:lnTo>
                  <a:lnTo>
                    <a:pt x="52" y="191"/>
                  </a:lnTo>
                  <a:lnTo>
                    <a:pt x="51" y="190"/>
                  </a:lnTo>
                  <a:lnTo>
                    <a:pt x="51" y="187"/>
                  </a:lnTo>
                  <a:lnTo>
                    <a:pt x="52" y="187"/>
                  </a:lnTo>
                  <a:lnTo>
                    <a:pt x="54" y="187"/>
                  </a:lnTo>
                  <a:lnTo>
                    <a:pt x="56" y="185"/>
                  </a:lnTo>
                  <a:lnTo>
                    <a:pt x="57" y="184"/>
                  </a:lnTo>
                  <a:lnTo>
                    <a:pt x="59" y="184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2" y="179"/>
                  </a:lnTo>
                  <a:lnTo>
                    <a:pt x="63" y="177"/>
                  </a:lnTo>
                  <a:lnTo>
                    <a:pt x="65" y="177"/>
                  </a:lnTo>
                  <a:lnTo>
                    <a:pt x="66" y="177"/>
                  </a:lnTo>
                  <a:lnTo>
                    <a:pt x="69" y="173"/>
                  </a:lnTo>
                  <a:lnTo>
                    <a:pt x="71" y="171"/>
                  </a:lnTo>
                  <a:lnTo>
                    <a:pt x="71" y="170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4" y="167"/>
                  </a:lnTo>
                  <a:lnTo>
                    <a:pt x="76" y="165"/>
                  </a:lnTo>
                  <a:lnTo>
                    <a:pt x="76" y="162"/>
                  </a:lnTo>
                  <a:lnTo>
                    <a:pt x="77" y="162"/>
                  </a:lnTo>
                  <a:lnTo>
                    <a:pt x="79" y="162"/>
                  </a:lnTo>
                  <a:lnTo>
                    <a:pt x="80" y="159"/>
                  </a:lnTo>
                  <a:lnTo>
                    <a:pt x="82" y="159"/>
                  </a:lnTo>
                  <a:lnTo>
                    <a:pt x="86" y="157"/>
                  </a:lnTo>
                  <a:lnTo>
                    <a:pt x="88" y="157"/>
                  </a:lnTo>
                  <a:lnTo>
                    <a:pt x="89" y="156"/>
                  </a:lnTo>
                  <a:lnTo>
                    <a:pt x="92" y="153"/>
                  </a:lnTo>
                  <a:lnTo>
                    <a:pt x="96" y="153"/>
                  </a:lnTo>
                  <a:lnTo>
                    <a:pt x="97" y="153"/>
                  </a:lnTo>
                  <a:lnTo>
                    <a:pt x="99" y="151"/>
                  </a:lnTo>
                  <a:lnTo>
                    <a:pt x="100" y="151"/>
                  </a:lnTo>
                  <a:lnTo>
                    <a:pt x="102" y="148"/>
                  </a:lnTo>
                  <a:lnTo>
                    <a:pt x="103" y="147"/>
                  </a:lnTo>
                  <a:lnTo>
                    <a:pt x="105" y="147"/>
                  </a:lnTo>
                  <a:lnTo>
                    <a:pt x="108" y="147"/>
                  </a:lnTo>
                  <a:lnTo>
                    <a:pt x="111" y="145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4" y="145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22" y="139"/>
                  </a:lnTo>
                  <a:lnTo>
                    <a:pt x="125" y="133"/>
                  </a:lnTo>
                  <a:lnTo>
                    <a:pt x="131" y="125"/>
                  </a:lnTo>
                  <a:lnTo>
                    <a:pt x="133" y="122"/>
                  </a:lnTo>
                  <a:lnTo>
                    <a:pt x="136" y="114"/>
                  </a:lnTo>
                  <a:lnTo>
                    <a:pt x="137" y="111"/>
                  </a:lnTo>
                  <a:lnTo>
                    <a:pt x="139" y="110"/>
                  </a:lnTo>
                  <a:lnTo>
                    <a:pt x="154" y="108"/>
                  </a:lnTo>
                  <a:lnTo>
                    <a:pt x="157" y="108"/>
                  </a:lnTo>
                  <a:lnTo>
                    <a:pt x="160" y="108"/>
                  </a:lnTo>
                  <a:lnTo>
                    <a:pt x="162" y="110"/>
                  </a:lnTo>
                  <a:lnTo>
                    <a:pt x="163" y="111"/>
                  </a:lnTo>
                  <a:lnTo>
                    <a:pt x="163" y="111"/>
                  </a:lnTo>
                  <a:lnTo>
                    <a:pt x="169" y="111"/>
                  </a:lnTo>
                  <a:lnTo>
                    <a:pt x="171" y="111"/>
                  </a:lnTo>
                  <a:lnTo>
                    <a:pt x="171" y="111"/>
                  </a:lnTo>
                  <a:lnTo>
                    <a:pt x="171" y="110"/>
                  </a:lnTo>
                  <a:lnTo>
                    <a:pt x="173" y="107"/>
                  </a:lnTo>
                  <a:lnTo>
                    <a:pt x="174" y="107"/>
                  </a:lnTo>
                  <a:lnTo>
                    <a:pt x="176" y="105"/>
                  </a:lnTo>
                  <a:lnTo>
                    <a:pt x="177" y="105"/>
                  </a:lnTo>
                  <a:lnTo>
                    <a:pt x="177" y="104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3" y="102"/>
                  </a:lnTo>
                  <a:lnTo>
                    <a:pt x="186" y="100"/>
                  </a:lnTo>
                  <a:lnTo>
                    <a:pt x="188" y="100"/>
                  </a:lnTo>
                  <a:lnTo>
                    <a:pt x="188" y="102"/>
                  </a:lnTo>
                  <a:lnTo>
                    <a:pt x="189" y="102"/>
                  </a:lnTo>
                  <a:lnTo>
                    <a:pt x="191" y="100"/>
                  </a:lnTo>
                  <a:lnTo>
                    <a:pt x="193" y="100"/>
                  </a:lnTo>
                  <a:lnTo>
                    <a:pt x="193" y="102"/>
                  </a:lnTo>
                  <a:lnTo>
                    <a:pt x="194" y="102"/>
                  </a:lnTo>
                  <a:lnTo>
                    <a:pt x="196" y="102"/>
                  </a:lnTo>
                  <a:lnTo>
                    <a:pt x="199" y="102"/>
                  </a:lnTo>
                  <a:lnTo>
                    <a:pt x="205" y="105"/>
                  </a:lnTo>
                  <a:lnTo>
                    <a:pt x="206" y="105"/>
                  </a:lnTo>
                  <a:lnTo>
                    <a:pt x="208" y="107"/>
                  </a:lnTo>
                  <a:lnTo>
                    <a:pt x="213" y="110"/>
                  </a:lnTo>
                  <a:lnTo>
                    <a:pt x="214" y="110"/>
                  </a:lnTo>
                  <a:lnTo>
                    <a:pt x="216" y="110"/>
                  </a:lnTo>
                  <a:lnTo>
                    <a:pt x="216" y="108"/>
                  </a:lnTo>
                  <a:lnTo>
                    <a:pt x="216" y="107"/>
                  </a:lnTo>
                  <a:lnTo>
                    <a:pt x="216" y="105"/>
                  </a:lnTo>
                  <a:lnTo>
                    <a:pt x="216" y="104"/>
                  </a:lnTo>
                  <a:lnTo>
                    <a:pt x="214" y="102"/>
                  </a:lnTo>
                  <a:lnTo>
                    <a:pt x="214" y="100"/>
                  </a:lnTo>
                  <a:lnTo>
                    <a:pt x="216" y="100"/>
                  </a:lnTo>
                  <a:lnTo>
                    <a:pt x="217" y="102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8"/>
                  </a:lnTo>
                  <a:lnTo>
                    <a:pt x="219" y="111"/>
                  </a:lnTo>
                  <a:lnTo>
                    <a:pt x="220" y="113"/>
                  </a:lnTo>
                  <a:lnTo>
                    <a:pt x="230" y="111"/>
                  </a:lnTo>
                  <a:lnTo>
                    <a:pt x="231" y="111"/>
                  </a:lnTo>
                  <a:lnTo>
                    <a:pt x="233" y="111"/>
                  </a:lnTo>
                  <a:lnTo>
                    <a:pt x="233" y="113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9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10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8" y="110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8" y="105"/>
                  </a:lnTo>
                  <a:lnTo>
                    <a:pt x="250" y="105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3" y="100"/>
                  </a:lnTo>
                  <a:lnTo>
                    <a:pt x="253" y="99"/>
                  </a:lnTo>
                  <a:lnTo>
                    <a:pt x="253" y="97"/>
                  </a:lnTo>
                  <a:lnTo>
                    <a:pt x="254" y="97"/>
                  </a:lnTo>
                  <a:lnTo>
                    <a:pt x="254" y="97"/>
                  </a:lnTo>
                  <a:lnTo>
                    <a:pt x="254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4"/>
                  </a:lnTo>
                  <a:lnTo>
                    <a:pt x="251" y="93"/>
                  </a:lnTo>
                  <a:lnTo>
                    <a:pt x="253" y="93"/>
                  </a:lnTo>
                  <a:lnTo>
                    <a:pt x="254" y="91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7" y="87"/>
                  </a:lnTo>
                  <a:lnTo>
                    <a:pt x="256" y="85"/>
                  </a:lnTo>
                  <a:lnTo>
                    <a:pt x="254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5"/>
                  </a:lnTo>
                  <a:lnTo>
                    <a:pt x="251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42" y="84"/>
                  </a:lnTo>
                  <a:lnTo>
                    <a:pt x="219" y="71"/>
                  </a:lnTo>
                  <a:lnTo>
                    <a:pt x="203" y="65"/>
                  </a:lnTo>
                  <a:lnTo>
                    <a:pt x="191" y="57"/>
                  </a:lnTo>
                  <a:lnTo>
                    <a:pt x="188" y="54"/>
                  </a:lnTo>
                  <a:lnTo>
                    <a:pt x="186" y="51"/>
                  </a:lnTo>
                  <a:lnTo>
                    <a:pt x="185" y="50"/>
                  </a:lnTo>
                  <a:lnTo>
                    <a:pt x="183" y="48"/>
                  </a:lnTo>
                  <a:lnTo>
                    <a:pt x="182" y="47"/>
                  </a:lnTo>
                  <a:lnTo>
                    <a:pt x="180" y="45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80" y="40"/>
                  </a:lnTo>
                  <a:lnTo>
                    <a:pt x="179" y="40"/>
                  </a:lnTo>
                  <a:lnTo>
                    <a:pt x="179" y="39"/>
                  </a:lnTo>
                  <a:lnTo>
                    <a:pt x="177" y="37"/>
                  </a:lnTo>
                  <a:lnTo>
                    <a:pt x="176" y="33"/>
                  </a:lnTo>
                  <a:lnTo>
                    <a:pt x="174" y="31"/>
                  </a:lnTo>
                  <a:lnTo>
                    <a:pt x="173" y="30"/>
                  </a:lnTo>
                  <a:lnTo>
                    <a:pt x="173" y="28"/>
                  </a:lnTo>
                  <a:lnTo>
                    <a:pt x="171" y="25"/>
                  </a:lnTo>
                  <a:lnTo>
                    <a:pt x="173" y="23"/>
                  </a:lnTo>
                  <a:lnTo>
                    <a:pt x="173" y="22"/>
                  </a:lnTo>
                  <a:lnTo>
                    <a:pt x="174" y="20"/>
                  </a:lnTo>
                  <a:lnTo>
                    <a:pt x="174" y="20"/>
                  </a:lnTo>
                  <a:lnTo>
                    <a:pt x="176" y="22"/>
                  </a:lnTo>
                  <a:lnTo>
                    <a:pt x="177" y="22"/>
                  </a:lnTo>
                  <a:lnTo>
                    <a:pt x="177" y="20"/>
                  </a:lnTo>
                  <a:lnTo>
                    <a:pt x="177" y="20"/>
                  </a:lnTo>
                  <a:lnTo>
                    <a:pt x="177" y="19"/>
                  </a:lnTo>
                  <a:lnTo>
                    <a:pt x="177" y="19"/>
                  </a:lnTo>
                  <a:lnTo>
                    <a:pt x="177" y="19"/>
                  </a:lnTo>
                  <a:lnTo>
                    <a:pt x="177" y="17"/>
                  </a:lnTo>
                  <a:lnTo>
                    <a:pt x="176" y="13"/>
                  </a:lnTo>
                  <a:lnTo>
                    <a:pt x="173" y="13"/>
                  </a:lnTo>
                  <a:lnTo>
                    <a:pt x="171" y="11"/>
                  </a:lnTo>
                  <a:lnTo>
                    <a:pt x="168" y="13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11"/>
                  </a:lnTo>
                  <a:lnTo>
                    <a:pt x="162" y="11"/>
                  </a:lnTo>
                  <a:lnTo>
                    <a:pt x="162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3"/>
                  </a:lnTo>
                  <a:lnTo>
                    <a:pt x="160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59" y="16"/>
                  </a:lnTo>
                  <a:lnTo>
                    <a:pt x="157" y="16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45" y="14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3" y="16"/>
                  </a:lnTo>
                  <a:lnTo>
                    <a:pt x="143" y="17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0" y="20"/>
                  </a:lnTo>
                  <a:lnTo>
                    <a:pt x="139" y="19"/>
                  </a:lnTo>
                  <a:lnTo>
                    <a:pt x="137" y="17"/>
                  </a:lnTo>
                  <a:lnTo>
                    <a:pt x="137" y="16"/>
                  </a:lnTo>
                  <a:lnTo>
                    <a:pt x="131" y="13"/>
                  </a:lnTo>
                  <a:lnTo>
                    <a:pt x="129" y="11"/>
                  </a:lnTo>
                  <a:lnTo>
                    <a:pt x="128" y="10"/>
                  </a:lnTo>
                  <a:lnTo>
                    <a:pt x="125" y="5"/>
                  </a:lnTo>
                  <a:lnTo>
                    <a:pt x="122" y="2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6" y="0"/>
                  </a:lnTo>
                  <a:lnTo>
                    <a:pt x="116" y="2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1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6" y="2"/>
                  </a:lnTo>
                  <a:lnTo>
                    <a:pt x="105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2" y="3"/>
                  </a:lnTo>
                  <a:lnTo>
                    <a:pt x="100" y="7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6" y="10"/>
                  </a:lnTo>
                  <a:lnTo>
                    <a:pt x="96" y="11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9" y="14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69" y="14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5"/>
                  </a:lnTo>
                  <a:lnTo>
                    <a:pt x="65" y="27"/>
                  </a:lnTo>
                  <a:lnTo>
                    <a:pt x="65" y="28"/>
                  </a:lnTo>
                  <a:lnTo>
                    <a:pt x="62" y="28"/>
                  </a:lnTo>
                  <a:lnTo>
                    <a:pt x="54" y="28"/>
                  </a:lnTo>
                  <a:lnTo>
                    <a:pt x="51" y="31"/>
                  </a:lnTo>
                  <a:lnTo>
                    <a:pt x="49" y="34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6" y="40"/>
                  </a:lnTo>
                  <a:lnTo>
                    <a:pt x="59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3"/>
                  </a:lnTo>
                  <a:lnTo>
                    <a:pt x="60" y="45"/>
                  </a:lnTo>
                  <a:lnTo>
                    <a:pt x="65" y="48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9" y="48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1" y="57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2" y="68"/>
                  </a:lnTo>
                  <a:lnTo>
                    <a:pt x="72" y="70"/>
                  </a:lnTo>
                  <a:lnTo>
                    <a:pt x="72" y="71"/>
                  </a:lnTo>
                  <a:lnTo>
                    <a:pt x="72" y="74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69" y="77"/>
                  </a:lnTo>
                  <a:lnTo>
                    <a:pt x="68" y="76"/>
                  </a:lnTo>
                  <a:lnTo>
                    <a:pt x="66" y="76"/>
                  </a:lnTo>
                  <a:lnTo>
                    <a:pt x="65" y="74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59" y="82"/>
                  </a:lnTo>
                  <a:lnTo>
                    <a:pt x="56" y="84"/>
                  </a:lnTo>
                  <a:lnTo>
                    <a:pt x="54" y="84"/>
                  </a:lnTo>
                  <a:lnTo>
                    <a:pt x="49" y="84"/>
                  </a:lnTo>
                  <a:lnTo>
                    <a:pt x="49" y="85"/>
                  </a:lnTo>
                  <a:lnTo>
                    <a:pt x="51" y="87"/>
                  </a:lnTo>
                  <a:lnTo>
                    <a:pt x="49" y="88"/>
                  </a:lnTo>
                  <a:lnTo>
                    <a:pt x="49" y="91"/>
                  </a:lnTo>
                  <a:lnTo>
                    <a:pt x="49" y="93"/>
                  </a:lnTo>
                  <a:lnTo>
                    <a:pt x="51" y="94"/>
                  </a:lnTo>
                  <a:lnTo>
                    <a:pt x="49" y="96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51" y="97"/>
                  </a:lnTo>
                  <a:lnTo>
                    <a:pt x="49" y="100"/>
                  </a:lnTo>
                  <a:lnTo>
                    <a:pt x="49" y="102"/>
                  </a:lnTo>
                  <a:lnTo>
                    <a:pt x="51" y="104"/>
                  </a:lnTo>
                  <a:lnTo>
                    <a:pt x="51" y="105"/>
                  </a:lnTo>
                  <a:lnTo>
                    <a:pt x="52" y="107"/>
                  </a:lnTo>
                  <a:lnTo>
                    <a:pt x="54" y="107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49" y="110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9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2" y="119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37" y="128"/>
                  </a:lnTo>
                  <a:lnTo>
                    <a:pt x="35" y="130"/>
                  </a:lnTo>
                  <a:lnTo>
                    <a:pt x="35" y="131"/>
                  </a:lnTo>
                  <a:lnTo>
                    <a:pt x="34" y="134"/>
                  </a:lnTo>
                  <a:lnTo>
                    <a:pt x="31" y="134"/>
                  </a:lnTo>
                  <a:lnTo>
                    <a:pt x="29" y="134"/>
                  </a:lnTo>
                  <a:lnTo>
                    <a:pt x="28" y="134"/>
                  </a:lnTo>
                  <a:lnTo>
                    <a:pt x="28" y="136"/>
                  </a:lnTo>
                  <a:lnTo>
                    <a:pt x="29" y="136"/>
                  </a:lnTo>
                  <a:lnTo>
                    <a:pt x="29" y="139"/>
                  </a:lnTo>
                  <a:close/>
                  <a:moveTo>
                    <a:pt x="1419" y="459"/>
                  </a:moveTo>
                  <a:lnTo>
                    <a:pt x="1419" y="458"/>
                  </a:lnTo>
                  <a:lnTo>
                    <a:pt x="1419" y="456"/>
                  </a:lnTo>
                  <a:lnTo>
                    <a:pt x="1417" y="456"/>
                  </a:lnTo>
                  <a:lnTo>
                    <a:pt x="1414" y="456"/>
                  </a:lnTo>
                  <a:lnTo>
                    <a:pt x="1414" y="455"/>
                  </a:lnTo>
                  <a:lnTo>
                    <a:pt x="1412" y="453"/>
                  </a:lnTo>
                  <a:lnTo>
                    <a:pt x="1412" y="452"/>
                  </a:lnTo>
                  <a:lnTo>
                    <a:pt x="1409" y="452"/>
                  </a:lnTo>
                  <a:lnTo>
                    <a:pt x="1408" y="452"/>
                  </a:lnTo>
                  <a:lnTo>
                    <a:pt x="1408" y="450"/>
                  </a:lnTo>
                  <a:lnTo>
                    <a:pt x="1408" y="447"/>
                  </a:lnTo>
                  <a:lnTo>
                    <a:pt x="1408" y="445"/>
                  </a:lnTo>
                  <a:lnTo>
                    <a:pt x="1408" y="445"/>
                  </a:lnTo>
                  <a:lnTo>
                    <a:pt x="1408" y="442"/>
                  </a:lnTo>
                  <a:lnTo>
                    <a:pt x="1408" y="441"/>
                  </a:lnTo>
                  <a:lnTo>
                    <a:pt x="1408" y="438"/>
                  </a:lnTo>
                  <a:lnTo>
                    <a:pt x="1409" y="436"/>
                  </a:lnTo>
                  <a:lnTo>
                    <a:pt x="1409" y="435"/>
                  </a:lnTo>
                  <a:lnTo>
                    <a:pt x="1408" y="433"/>
                  </a:lnTo>
                  <a:lnTo>
                    <a:pt x="1406" y="432"/>
                  </a:lnTo>
                  <a:lnTo>
                    <a:pt x="1406" y="428"/>
                  </a:lnTo>
                  <a:lnTo>
                    <a:pt x="1406" y="428"/>
                  </a:lnTo>
                  <a:lnTo>
                    <a:pt x="1409" y="427"/>
                  </a:lnTo>
                  <a:lnTo>
                    <a:pt x="1409" y="425"/>
                  </a:lnTo>
                  <a:lnTo>
                    <a:pt x="1409" y="424"/>
                  </a:lnTo>
                  <a:lnTo>
                    <a:pt x="1408" y="421"/>
                  </a:lnTo>
                  <a:lnTo>
                    <a:pt x="1405" y="419"/>
                  </a:lnTo>
                  <a:lnTo>
                    <a:pt x="1403" y="418"/>
                  </a:lnTo>
                  <a:lnTo>
                    <a:pt x="1402" y="418"/>
                  </a:lnTo>
                  <a:lnTo>
                    <a:pt x="1400" y="419"/>
                  </a:lnTo>
                  <a:lnTo>
                    <a:pt x="1399" y="419"/>
                  </a:lnTo>
                  <a:lnTo>
                    <a:pt x="1399" y="419"/>
                  </a:lnTo>
                  <a:lnTo>
                    <a:pt x="1397" y="418"/>
                  </a:lnTo>
                  <a:lnTo>
                    <a:pt x="1397" y="418"/>
                  </a:lnTo>
                  <a:lnTo>
                    <a:pt x="1397" y="416"/>
                  </a:lnTo>
                  <a:lnTo>
                    <a:pt x="1397" y="416"/>
                  </a:lnTo>
                  <a:lnTo>
                    <a:pt x="1397" y="415"/>
                  </a:lnTo>
                  <a:lnTo>
                    <a:pt x="1397" y="415"/>
                  </a:lnTo>
                  <a:lnTo>
                    <a:pt x="1395" y="416"/>
                  </a:lnTo>
                  <a:lnTo>
                    <a:pt x="1395" y="415"/>
                  </a:lnTo>
                  <a:lnTo>
                    <a:pt x="1394" y="415"/>
                  </a:lnTo>
                  <a:lnTo>
                    <a:pt x="1394" y="413"/>
                  </a:lnTo>
                  <a:lnTo>
                    <a:pt x="1394" y="412"/>
                  </a:lnTo>
                  <a:lnTo>
                    <a:pt x="1394" y="412"/>
                  </a:lnTo>
                  <a:lnTo>
                    <a:pt x="1392" y="410"/>
                  </a:lnTo>
                  <a:lnTo>
                    <a:pt x="1389" y="410"/>
                  </a:lnTo>
                  <a:lnTo>
                    <a:pt x="1389" y="408"/>
                  </a:lnTo>
                  <a:lnTo>
                    <a:pt x="1385" y="410"/>
                  </a:lnTo>
                  <a:lnTo>
                    <a:pt x="1382" y="408"/>
                  </a:lnTo>
                  <a:lnTo>
                    <a:pt x="1380" y="407"/>
                  </a:lnTo>
                  <a:lnTo>
                    <a:pt x="1380" y="407"/>
                  </a:lnTo>
                  <a:lnTo>
                    <a:pt x="1380" y="405"/>
                  </a:lnTo>
                  <a:lnTo>
                    <a:pt x="1382" y="405"/>
                  </a:lnTo>
                  <a:lnTo>
                    <a:pt x="1382" y="404"/>
                  </a:lnTo>
                  <a:lnTo>
                    <a:pt x="1382" y="402"/>
                  </a:lnTo>
                  <a:lnTo>
                    <a:pt x="1382" y="402"/>
                  </a:lnTo>
                  <a:lnTo>
                    <a:pt x="1382" y="401"/>
                  </a:lnTo>
                  <a:lnTo>
                    <a:pt x="1382" y="399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6"/>
                  </a:lnTo>
                  <a:lnTo>
                    <a:pt x="1385" y="395"/>
                  </a:lnTo>
                  <a:lnTo>
                    <a:pt x="1386" y="393"/>
                  </a:lnTo>
                  <a:lnTo>
                    <a:pt x="1386" y="391"/>
                  </a:lnTo>
                  <a:lnTo>
                    <a:pt x="1388" y="390"/>
                  </a:lnTo>
                  <a:lnTo>
                    <a:pt x="1388" y="390"/>
                  </a:lnTo>
                  <a:lnTo>
                    <a:pt x="1389" y="388"/>
                  </a:lnTo>
                  <a:lnTo>
                    <a:pt x="1391" y="388"/>
                  </a:lnTo>
                  <a:lnTo>
                    <a:pt x="1389" y="387"/>
                  </a:lnTo>
                  <a:lnTo>
                    <a:pt x="1389" y="385"/>
                  </a:lnTo>
                  <a:lnTo>
                    <a:pt x="1391" y="385"/>
                  </a:lnTo>
                  <a:lnTo>
                    <a:pt x="1392" y="384"/>
                  </a:lnTo>
                  <a:lnTo>
                    <a:pt x="1392" y="384"/>
                  </a:lnTo>
                  <a:lnTo>
                    <a:pt x="1392" y="382"/>
                  </a:lnTo>
                  <a:lnTo>
                    <a:pt x="1394" y="381"/>
                  </a:lnTo>
                  <a:lnTo>
                    <a:pt x="1394" y="379"/>
                  </a:lnTo>
                  <a:lnTo>
                    <a:pt x="1392" y="375"/>
                  </a:lnTo>
                  <a:lnTo>
                    <a:pt x="1395" y="371"/>
                  </a:lnTo>
                  <a:lnTo>
                    <a:pt x="1399" y="370"/>
                  </a:lnTo>
                  <a:lnTo>
                    <a:pt x="1400" y="367"/>
                  </a:lnTo>
                  <a:lnTo>
                    <a:pt x="1400" y="365"/>
                  </a:lnTo>
                  <a:lnTo>
                    <a:pt x="1399" y="364"/>
                  </a:lnTo>
                  <a:lnTo>
                    <a:pt x="1399" y="362"/>
                  </a:lnTo>
                  <a:lnTo>
                    <a:pt x="1397" y="362"/>
                  </a:lnTo>
                  <a:lnTo>
                    <a:pt x="1395" y="361"/>
                  </a:lnTo>
                  <a:lnTo>
                    <a:pt x="1395" y="362"/>
                  </a:lnTo>
                  <a:lnTo>
                    <a:pt x="1392" y="364"/>
                  </a:lnTo>
                  <a:lnTo>
                    <a:pt x="1389" y="362"/>
                  </a:lnTo>
                  <a:lnTo>
                    <a:pt x="1388" y="362"/>
                  </a:lnTo>
                  <a:lnTo>
                    <a:pt x="1386" y="361"/>
                  </a:lnTo>
                  <a:lnTo>
                    <a:pt x="1386" y="361"/>
                  </a:lnTo>
                  <a:lnTo>
                    <a:pt x="1386" y="359"/>
                  </a:lnTo>
                  <a:lnTo>
                    <a:pt x="1388" y="358"/>
                  </a:lnTo>
                  <a:lnTo>
                    <a:pt x="1386" y="356"/>
                  </a:lnTo>
                  <a:lnTo>
                    <a:pt x="1386" y="355"/>
                  </a:lnTo>
                  <a:lnTo>
                    <a:pt x="1388" y="351"/>
                  </a:lnTo>
                  <a:lnTo>
                    <a:pt x="1388" y="350"/>
                  </a:lnTo>
                  <a:lnTo>
                    <a:pt x="1388" y="344"/>
                  </a:lnTo>
                  <a:lnTo>
                    <a:pt x="1388" y="341"/>
                  </a:lnTo>
                  <a:lnTo>
                    <a:pt x="1388" y="339"/>
                  </a:lnTo>
                  <a:lnTo>
                    <a:pt x="1386" y="338"/>
                  </a:lnTo>
                  <a:lnTo>
                    <a:pt x="1386" y="336"/>
                  </a:lnTo>
                  <a:lnTo>
                    <a:pt x="1386" y="336"/>
                  </a:lnTo>
                  <a:lnTo>
                    <a:pt x="1385" y="336"/>
                  </a:lnTo>
                  <a:lnTo>
                    <a:pt x="1383" y="335"/>
                  </a:lnTo>
                  <a:lnTo>
                    <a:pt x="1383" y="335"/>
                  </a:lnTo>
                  <a:lnTo>
                    <a:pt x="1385" y="335"/>
                  </a:lnTo>
                  <a:lnTo>
                    <a:pt x="1385" y="333"/>
                  </a:lnTo>
                  <a:lnTo>
                    <a:pt x="1385" y="331"/>
                  </a:lnTo>
                  <a:lnTo>
                    <a:pt x="1385" y="330"/>
                  </a:lnTo>
                  <a:lnTo>
                    <a:pt x="1383" y="330"/>
                  </a:lnTo>
                  <a:lnTo>
                    <a:pt x="1385" y="327"/>
                  </a:lnTo>
                  <a:lnTo>
                    <a:pt x="1386" y="321"/>
                  </a:lnTo>
                  <a:lnTo>
                    <a:pt x="1386" y="318"/>
                  </a:lnTo>
                  <a:lnTo>
                    <a:pt x="1382" y="316"/>
                  </a:lnTo>
                  <a:lnTo>
                    <a:pt x="1380" y="314"/>
                  </a:lnTo>
                  <a:lnTo>
                    <a:pt x="1380" y="313"/>
                  </a:lnTo>
                  <a:lnTo>
                    <a:pt x="1379" y="311"/>
                  </a:lnTo>
                  <a:lnTo>
                    <a:pt x="1379" y="310"/>
                  </a:lnTo>
                  <a:lnTo>
                    <a:pt x="1379" y="310"/>
                  </a:lnTo>
                  <a:lnTo>
                    <a:pt x="1379" y="308"/>
                  </a:lnTo>
                  <a:lnTo>
                    <a:pt x="1379" y="308"/>
                  </a:lnTo>
                  <a:lnTo>
                    <a:pt x="1379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7" y="305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7" y="302"/>
                  </a:lnTo>
                  <a:lnTo>
                    <a:pt x="1379" y="301"/>
                  </a:lnTo>
                  <a:lnTo>
                    <a:pt x="1379" y="299"/>
                  </a:lnTo>
                  <a:lnTo>
                    <a:pt x="1379" y="296"/>
                  </a:lnTo>
                  <a:lnTo>
                    <a:pt x="1379" y="294"/>
                  </a:lnTo>
                  <a:lnTo>
                    <a:pt x="1380" y="291"/>
                  </a:lnTo>
                  <a:lnTo>
                    <a:pt x="1379" y="288"/>
                  </a:lnTo>
                  <a:lnTo>
                    <a:pt x="1377" y="287"/>
                  </a:lnTo>
                  <a:lnTo>
                    <a:pt x="1372" y="285"/>
                  </a:lnTo>
                  <a:lnTo>
                    <a:pt x="1371" y="284"/>
                  </a:lnTo>
                  <a:lnTo>
                    <a:pt x="1371" y="282"/>
                  </a:lnTo>
                  <a:lnTo>
                    <a:pt x="1371" y="281"/>
                  </a:lnTo>
                  <a:lnTo>
                    <a:pt x="1371" y="281"/>
                  </a:lnTo>
                  <a:lnTo>
                    <a:pt x="1371" y="278"/>
                  </a:lnTo>
                  <a:lnTo>
                    <a:pt x="1371" y="278"/>
                  </a:lnTo>
                  <a:lnTo>
                    <a:pt x="1371" y="276"/>
                  </a:lnTo>
                  <a:lnTo>
                    <a:pt x="1371" y="276"/>
                  </a:lnTo>
                  <a:lnTo>
                    <a:pt x="1371" y="276"/>
                  </a:lnTo>
                  <a:lnTo>
                    <a:pt x="1369" y="273"/>
                  </a:lnTo>
                  <a:lnTo>
                    <a:pt x="1369" y="271"/>
                  </a:lnTo>
                  <a:lnTo>
                    <a:pt x="1369" y="270"/>
                  </a:lnTo>
                  <a:lnTo>
                    <a:pt x="1369" y="270"/>
                  </a:lnTo>
                  <a:lnTo>
                    <a:pt x="1366" y="268"/>
                  </a:lnTo>
                  <a:lnTo>
                    <a:pt x="1366" y="267"/>
                  </a:lnTo>
                  <a:lnTo>
                    <a:pt x="1368" y="265"/>
                  </a:lnTo>
                  <a:lnTo>
                    <a:pt x="1369" y="265"/>
                  </a:lnTo>
                  <a:lnTo>
                    <a:pt x="1369" y="264"/>
                  </a:lnTo>
                  <a:lnTo>
                    <a:pt x="1371" y="264"/>
                  </a:lnTo>
                  <a:lnTo>
                    <a:pt x="1372" y="265"/>
                  </a:lnTo>
                  <a:lnTo>
                    <a:pt x="1374" y="264"/>
                  </a:lnTo>
                  <a:lnTo>
                    <a:pt x="1379" y="264"/>
                  </a:lnTo>
                  <a:lnTo>
                    <a:pt x="1380" y="264"/>
                  </a:lnTo>
                  <a:lnTo>
                    <a:pt x="1385" y="267"/>
                  </a:lnTo>
                  <a:lnTo>
                    <a:pt x="1388" y="267"/>
                  </a:lnTo>
                  <a:lnTo>
                    <a:pt x="1389" y="265"/>
                  </a:lnTo>
                  <a:lnTo>
                    <a:pt x="1392" y="264"/>
                  </a:lnTo>
                  <a:lnTo>
                    <a:pt x="1394" y="264"/>
                  </a:lnTo>
                  <a:lnTo>
                    <a:pt x="1395" y="261"/>
                  </a:lnTo>
                  <a:lnTo>
                    <a:pt x="1395" y="259"/>
                  </a:lnTo>
                  <a:lnTo>
                    <a:pt x="1395" y="258"/>
                  </a:lnTo>
                  <a:lnTo>
                    <a:pt x="1395" y="256"/>
                  </a:lnTo>
                  <a:lnTo>
                    <a:pt x="1395" y="256"/>
                  </a:lnTo>
                  <a:lnTo>
                    <a:pt x="1395" y="256"/>
                  </a:lnTo>
                  <a:lnTo>
                    <a:pt x="1397" y="254"/>
                  </a:lnTo>
                  <a:lnTo>
                    <a:pt x="1397" y="253"/>
                  </a:lnTo>
                  <a:lnTo>
                    <a:pt x="1395" y="251"/>
                  </a:lnTo>
                  <a:lnTo>
                    <a:pt x="1395" y="250"/>
                  </a:lnTo>
                  <a:lnTo>
                    <a:pt x="1395" y="248"/>
                  </a:lnTo>
                  <a:lnTo>
                    <a:pt x="1397" y="248"/>
                  </a:lnTo>
                  <a:lnTo>
                    <a:pt x="1399" y="242"/>
                  </a:lnTo>
                  <a:lnTo>
                    <a:pt x="1400" y="242"/>
                  </a:lnTo>
                  <a:lnTo>
                    <a:pt x="1400" y="241"/>
                  </a:lnTo>
                  <a:lnTo>
                    <a:pt x="1400" y="241"/>
                  </a:lnTo>
                  <a:lnTo>
                    <a:pt x="1399" y="238"/>
                  </a:lnTo>
                  <a:lnTo>
                    <a:pt x="1400" y="236"/>
                  </a:lnTo>
                  <a:lnTo>
                    <a:pt x="1408" y="230"/>
                  </a:lnTo>
                  <a:lnTo>
                    <a:pt x="1409" y="228"/>
                  </a:lnTo>
                  <a:lnTo>
                    <a:pt x="1411" y="230"/>
                  </a:lnTo>
                  <a:lnTo>
                    <a:pt x="1412" y="233"/>
                  </a:lnTo>
                  <a:lnTo>
                    <a:pt x="1414" y="234"/>
                  </a:lnTo>
                  <a:lnTo>
                    <a:pt x="1419" y="236"/>
                  </a:lnTo>
                  <a:lnTo>
                    <a:pt x="1420" y="238"/>
                  </a:lnTo>
                  <a:lnTo>
                    <a:pt x="1425" y="242"/>
                  </a:lnTo>
                  <a:lnTo>
                    <a:pt x="1425" y="241"/>
                  </a:lnTo>
                  <a:lnTo>
                    <a:pt x="1423" y="236"/>
                  </a:lnTo>
                  <a:lnTo>
                    <a:pt x="1423" y="236"/>
                  </a:lnTo>
                  <a:lnTo>
                    <a:pt x="1422" y="233"/>
                  </a:lnTo>
                  <a:lnTo>
                    <a:pt x="1417" y="227"/>
                  </a:lnTo>
                  <a:lnTo>
                    <a:pt x="1417" y="227"/>
                  </a:lnTo>
                  <a:lnTo>
                    <a:pt x="1417" y="227"/>
                  </a:lnTo>
                  <a:lnTo>
                    <a:pt x="1415" y="227"/>
                  </a:lnTo>
                  <a:lnTo>
                    <a:pt x="1415" y="227"/>
                  </a:lnTo>
                  <a:lnTo>
                    <a:pt x="1415" y="227"/>
                  </a:lnTo>
                  <a:lnTo>
                    <a:pt x="1414" y="225"/>
                  </a:lnTo>
                  <a:lnTo>
                    <a:pt x="1411" y="222"/>
                  </a:lnTo>
                  <a:lnTo>
                    <a:pt x="1409" y="224"/>
                  </a:lnTo>
                  <a:lnTo>
                    <a:pt x="1409" y="222"/>
                  </a:lnTo>
                  <a:lnTo>
                    <a:pt x="1409" y="221"/>
                  </a:lnTo>
                  <a:lnTo>
                    <a:pt x="1409" y="221"/>
                  </a:lnTo>
                  <a:lnTo>
                    <a:pt x="1408" y="219"/>
                  </a:lnTo>
                  <a:lnTo>
                    <a:pt x="1408" y="219"/>
                  </a:lnTo>
                  <a:lnTo>
                    <a:pt x="1408" y="217"/>
                  </a:lnTo>
                  <a:lnTo>
                    <a:pt x="1406" y="216"/>
                  </a:lnTo>
                  <a:lnTo>
                    <a:pt x="1406" y="216"/>
                  </a:lnTo>
                  <a:lnTo>
                    <a:pt x="1405" y="213"/>
                  </a:lnTo>
                  <a:lnTo>
                    <a:pt x="1400" y="210"/>
                  </a:lnTo>
                  <a:lnTo>
                    <a:pt x="1394" y="205"/>
                  </a:lnTo>
                  <a:lnTo>
                    <a:pt x="1389" y="204"/>
                  </a:lnTo>
                  <a:lnTo>
                    <a:pt x="1386" y="202"/>
                  </a:lnTo>
                  <a:lnTo>
                    <a:pt x="1385" y="202"/>
                  </a:lnTo>
                  <a:lnTo>
                    <a:pt x="1380" y="204"/>
                  </a:lnTo>
                  <a:lnTo>
                    <a:pt x="1379" y="204"/>
                  </a:lnTo>
                  <a:lnTo>
                    <a:pt x="1377" y="204"/>
                  </a:lnTo>
                  <a:lnTo>
                    <a:pt x="1375" y="205"/>
                  </a:lnTo>
                  <a:lnTo>
                    <a:pt x="1375" y="204"/>
                  </a:lnTo>
                  <a:lnTo>
                    <a:pt x="1374" y="204"/>
                  </a:lnTo>
                  <a:lnTo>
                    <a:pt x="1374" y="204"/>
                  </a:lnTo>
                  <a:lnTo>
                    <a:pt x="1371" y="204"/>
                  </a:lnTo>
                  <a:lnTo>
                    <a:pt x="1369" y="205"/>
                  </a:lnTo>
                  <a:lnTo>
                    <a:pt x="1368" y="205"/>
                  </a:lnTo>
                  <a:lnTo>
                    <a:pt x="1359" y="204"/>
                  </a:lnTo>
                  <a:lnTo>
                    <a:pt x="1351" y="201"/>
                  </a:lnTo>
                  <a:lnTo>
                    <a:pt x="1345" y="197"/>
                  </a:lnTo>
                  <a:lnTo>
                    <a:pt x="1340" y="196"/>
                  </a:lnTo>
                  <a:lnTo>
                    <a:pt x="1340" y="193"/>
                  </a:lnTo>
                  <a:lnTo>
                    <a:pt x="1340" y="193"/>
                  </a:lnTo>
                  <a:lnTo>
                    <a:pt x="1345" y="191"/>
                  </a:lnTo>
                  <a:lnTo>
                    <a:pt x="1345" y="190"/>
                  </a:lnTo>
                  <a:lnTo>
                    <a:pt x="1345" y="190"/>
                  </a:lnTo>
                  <a:lnTo>
                    <a:pt x="1342" y="187"/>
                  </a:lnTo>
                  <a:lnTo>
                    <a:pt x="1342" y="185"/>
                  </a:lnTo>
                  <a:lnTo>
                    <a:pt x="1343" y="184"/>
                  </a:lnTo>
                  <a:lnTo>
                    <a:pt x="1342" y="184"/>
                  </a:lnTo>
                  <a:lnTo>
                    <a:pt x="1342" y="181"/>
                  </a:lnTo>
                  <a:lnTo>
                    <a:pt x="1338" y="176"/>
                  </a:lnTo>
                  <a:lnTo>
                    <a:pt x="1335" y="174"/>
                  </a:lnTo>
                  <a:lnTo>
                    <a:pt x="1335" y="173"/>
                  </a:lnTo>
                  <a:lnTo>
                    <a:pt x="1335" y="171"/>
                  </a:lnTo>
                  <a:lnTo>
                    <a:pt x="1337" y="170"/>
                  </a:lnTo>
                  <a:lnTo>
                    <a:pt x="1337" y="167"/>
                  </a:lnTo>
                  <a:lnTo>
                    <a:pt x="1337" y="167"/>
                  </a:lnTo>
                  <a:lnTo>
                    <a:pt x="1337" y="165"/>
                  </a:lnTo>
                  <a:lnTo>
                    <a:pt x="1334" y="164"/>
                  </a:lnTo>
                  <a:lnTo>
                    <a:pt x="1332" y="162"/>
                  </a:lnTo>
                  <a:lnTo>
                    <a:pt x="1332" y="161"/>
                  </a:lnTo>
                  <a:lnTo>
                    <a:pt x="1335" y="157"/>
                  </a:lnTo>
                  <a:lnTo>
                    <a:pt x="1337" y="156"/>
                  </a:lnTo>
                  <a:lnTo>
                    <a:pt x="1338" y="156"/>
                  </a:lnTo>
                  <a:lnTo>
                    <a:pt x="1338" y="156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40" y="156"/>
                  </a:lnTo>
                  <a:lnTo>
                    <a:pt x="1340" y="153"/>
                  </a:lnTo>
                  <a:lnTo>
                    <a:pt x="1340" y="151"/>
                  </a:lnTo>
                  <a:lnTo>
                    <a:pt x="1343" y="147"/>
                  </a:lnTo>
                  <a:lnTo>
                    <a:pt x="1343" y="145"/>
                  </a:lnTo>
                  <a:lnTo>
                    <a:pt x="1343" y="144"/>
                  </a:lnTo>
                  <a:lnTo>
                    <a:pt x="1345" y="142"/>
                  </a:lnTo>
                  <a:lnTo>
                    <a:pt x="1345" y="140"/>
                  </a:lnTo>
                  <a:lnTo>
                    <a:pt x="1345" y="134"/>
                  </a:lnTo>
                  <a:lnTo>
                    <a:pt x="1345" y="133"/>
                  </a:lnTo>
                  <a:lnTo>
                    <a:pt x="1345" y="131"/>
                  </a:lnTo>
                  <a:lnTo>
                    <a:pt x="1340" y="125"/>
                  </a:lnTo>
                  <a:lnTo>
                    <a:pt x="1340" y="124"/>
                  </a:lnTo>
                  <a:lnTo>
                    <a:pt x="1340" y="122"/>
                  </a:lnTo>
                  <a:lnTo>
                    <a:pt x="1340" y="119"/>
                  </a:lnTo>
                  <a:lnTo>
                    <a:pt x="1338" y="117"/>
                  </a:lnTo>
                  <a:lnTo>
                    <a:pt x="1338" y="116"/>
                  </a:lnTo>
                  <a:lnTo>
                    <a:pt x="1335" y="113"/>
                  </a:lnTo>
                  <a:lnTo>
                    <a:pt x="1332" y="110"/>
                  </a:lnTo>
                  <a:lnTo>
                    <a:pt x="1329" y="108"/>
                  </a:lnTo>
                  <a:lnTo>
                    <a:pt x="1326" y="108"/>
                  </a:lnTo>
                  <a:lnTo>
                    <a:pt x="1325" y="107"/>
                  </a:lnTo>
                  <a:lnTo>
                    <a:pt x="1325" y="104"/>
                  </a:lnTo>
                  <a:lnTo>
                    <a:pt x="1323" y="100"/>
                  </a:lnTo>
                  <a:lnTo>
                    <a:pt x="1323" y="99"/>
                  </a:lnTo>
                  <a:lnTo>
                    <a:pt x="1325" y="96"/>
                  </a:lnTo>
                  <a:lnTo>
                    <a:pt x="1323" y="94"/>
                  </a:lnTo>
                  <a:lnTo>
                    <a:pt x="1322" y="91"/>
                  </a:lnTo>
                  <a:lnTo>
                    <a:pt x="1320" y="91"/>
                  </a:lnTo>
                  <a:lnTo>
                    <a:pt x="1317" y="90"/>
                  </a:lnTo>
                  <a:lnTo>
                    <a:pt x="1315" y="90"/>
                  </a:lnTo>
                  <a:lnTo>
                    <a:pt x="1308" y="93"/>
                  </a:lnTo>
                  <a:lnTo>
                    <a:pt x="1308" y="91"/>
                  </a:lnTo>
                  <a:lnTo>
                    <a:pt x="1305" y="87"/>
                  </a:lnTo>
                  <a:lnTo>
                    <a:pt x="1303" y="85"/>
                  </a:lnTo>
                  <a:lnTo>
                    <a:pt x="1302" y="85"/>
                  </a:lnTo>
                  <a:lnTo>
                    <a:pt x="1300" y="85"/>
                  </a:lnTo>
                  <a:lnTo>
                    <a:pt x="1298" y="85"/>
                  </a:lnTo>
                  <a:lnTo>
                    <a:pt x="1303" y="82"/>
                  </a:lnTo>
                  <a:lnTo>
                    <a:pt x="1303" y="82"/>
                  </a:lnTo>
                  <a:lnTo>
                    <a:pt x="1305" y="80"/>
                  </a:lnTo>
                  <a:lnTo>
                    <a:pt x="1305" y="80"/>
                  </a:lnTo>
                  <a:lnTo>
                    <a:pt x="1303" y="79"/>
                  </a:lnTo>
                  <a:lnTo>
                    <a:pt x="1300" y="79"/>
                  </a:lnTo>
                  <a:lnTo>
                    <a:pt x="1297" y="76"/>
                  </a:lnTo>
                  <a:lnTo>
                    <a:pt x="1291" y="71"/>
                  </a:lnTo>
                  <a:lnTo>
                    <a:pt x="1291" y="70"/>
                  </a:lnTo>
                  <a:lnTo>
                    <a:pt x="1288" y="67"/>
                  </a:lnTo>
                  <a:lnTo>
                    <a:pt x="1288" y="65"/>
                  </a:lnTo>
                  <a:lnTo>
                    <a:pt x="1286" y="65"/>
                  </a:lnTo>
                  <a:lnTo>
                    <a:pt x="1286" y="65"/>
                  </a:lnTo>
                  <a:lnTo>
                    <a:pt x="1286" y="65"/>
                  </a:lnTo>
                  <a:lnTo>
                    <a:pt x="1286" y="63"/>
                  </a:lnTo>
                  <a:lnTo>
                    <a:pt x="1283" y="63"/>
                  </a:lnTo>
                  <a:lnTo>
                    <a:pt x="1283" y="63"/>
                  </a:lnTo>
                  <a:lnTo>
                    <a:pt x="1281" y="62"/>
                  </a:lnTo>
                  <a:lnTo>
                    <a:pt x="1281" y="60"/>
                  </a:lnTo>
                  <a:lnTo>
                    <a:pt x="1281" y="60"/>
                  </a:lnTo>
                  <a:lnTo>
                    <a:pt x="1280" y="60"/>
                  </a:lnTo>
                  <a:lnTo>
                    <a:pt x="1278" y="62"/>
                  </a:lnTo>
                  <a:lnTo>
                    <a:pt x="1277" y="62"/>
                  </a:lnTo>
                  <a:lnTo>
                    <a:pt x="1275" y="60"/>
                  </a:lnTo>
                  <a:lnTo>
                    <a:pt x="1274" y="59"/>
                  </a:lnTo>
                  <a:lnTo>
                    <a:pt x="1274" y="59"/>
                  </a:lnTo>
                  <a:lnTo>
                    <a:pt x="1275" y="57"/>
                  </a:lnTo>
                  <a:lnTo>
                    <a:pt x="1277" y="56"/>
                  </a:lnTo>
                  <a:lnTo>
                    <a:pt x="1277" y="56"/>
                  </a:lnTo>
                  <a:lnTo>
                    <a:pt x="1277" y="54"/>
                  </a:lnTo>
                  <a:lnTo>
                    <a:pt x="1277" y="54"/>
                  </a:lnTo>
                  <a:lnTo>
                    <a:pt x="1277" y="53"/>
                  </a:lnTo>
                  <a:lnTo>
                    <a:pt x="1277" y="53"/>
                  </a:lnTo>
                  <a:lnTo>
                    <a:pt x="1266" y="51"/>
                  </a:lnTo>
                  <a:lnTo>
                    <a:pt x="1261" y="51"/>
                  </a:lnTo>
                  <a:lnTo>
                    <a:pt x="1260" y="51"/>
                  </a:lnTo>
                  <a:lnTo>
                    <a:pt x="1260" y="53"/>
                  </a:lnTo>
                  <a:lnTo>
                    <a:pt x="1260" y="53"/>
                  </a:lnTo>
                  <a:lnTo>
                    <a:pt x="1258" y="53"/>
                  </a:lnTo>
                  <a:lnTo>
                    <a:pt x="1258" y="54"/>
                  </a:lnTo>
                  <a:lnTo>
                    <a:pt x="1257" y="59"/>
                  </a:lnTo>
                  <a:lnTo>
                    <a:pt x="1257" y="60"/>
                  </a:lnTo>
                  <a:lnTo>
                    <a:pt x="1255" y="62"/>
                  </a:lnTo>
                  <a:lnTo>
                    <a:pt x="1252" y="65"/>
                  </a:lnTo>
                  <a:lnTo>
                    <a:pt x="1251" y="67"/>
                  </a:lnTo>
                  <a:lnTo>
                    <a:pt x="1251" y="67"/>
                  </a:lnTo>
                  <a:lnTo>
                    <a:pt x="1249" y="67"/>
                  </a:lnTo>
                  <a:lnTo>
                    <a:pt x="1235" y="62"/>
                  </a:lnTo>
                  <a:lnTo>
                    <a:pt x="1232" y="62"/>
                  </a:lnTo>
                  <a:lnTo>
                    <a:pt x="1231" y="62"/>
                  </a:lnTo>
                  <a:lnTo>
                    <a:pt x="1229" y="60"/>
                  </a:lnTo>
                  <a:lnTo>
                    <a:pt x="1228" y="60"/>
                  </a:lnTo>
                  <a:lnTo>
                    <a:pt x="1228" y="60"/>
                  </a:lnTo>
                  <a:lnTo>
                    <a:pt x="1225" y="60"/>
                  </a:lnTo>
                  <a:lnTo>
                    <a:pt x="1223" y="60"/>
                  </a:lnTo>
                  <a:lnTo>
                    <a:pt x="1223" y="60"/>
                  </a:lnTo>
                  <a:lnTo>
                    <a:pt x="1221" y="60"/>
                  </a:lnTo>
                  <a:lnTo>
                    <a:pt x="1220" y="60"/>
                  </a:lnTo>
                  <a:lnTo>
                    <a:pt x="1218" y="62"/>
                  </a:lnTo>
                  <a:lnTo>
                    <a:pt x="1212" y="59"/>
                  </a:lnTo>
                  <a:lnTo>
                    <a:pt x="1209" y="60"/>
                  </a:lnTo>
                  <a:lnTo>
                    <a:pt x="1209" y="62"/>
                  </a:lnTo>
                  <a:lnTo>
                    <a:pt x="1206" y="65"/>
                  </a:lnTo>
                  <a:lnTo>
                    <a:pt x="1203" y="67"/>
                  </a:lnTo>
                  <a:lnTo>
                    <a:pt x="1203" y="68"/>
                  </a:lnTo>
                  <a:lnTo>
                    <a:pt x="1201" y="67"/>
                  </a:lnTo>
                  <a:lnTo>
                    <a:pt x="1198" y="65"/>
                  </a:lnTo>
                  <a:lnTo>
                    <a:pt x="1198" y="63"/>
                  </a:lnTo>
                  <a:lnTo>
                    <a:pt x="1195" y="63"/>
                  </a:lnTo>
                  <a:lnTo>
                    <a:pt x="1195" y="63"/>
                  </a:lnTo>
                  <a:lnTo>
                    <a:pt x="1194" y="63"/>
                  </a:lnTo>
                  <a:lnTo>
                    <a:pt x="1194" y="62"/>
                  </a:lnTo>
                  <a:lnTo>
                    <a:pt x="1194" y="62"/>
                  </a:lnTo>
                  <a:lnTo>
                    <a:pt x="1194" y="60"/>
                  </a:lnTo>
                  <a:lnTo>
                    <a:pt x="1194" y="60"/>
                  </a:lnTo>
                  <a:lnTo>
                    <a:pt x="1192" y="62"/>
                  </a:lnTo>
                  <a:lnTo>
                    <a:pt x="1189" y="62"/>
                  </a:lnTo>
                  <a:lnTo>
                    <a:pt x="1189" y="62"/>
                  </a:lnTo>
                  <a:lnTo>
                    <a:pt x="1181" y="59"/>
                  </a:lnTo>
                  <a:lnTo>
                    <a:pt x="1180" y="60"/>
                  </a:lnTo>
                  <a:lnTo>
                    <a:pt x="1175" y="63"/>
                  </a:lnTo>
                  <a:lnTo>
                    <a:pt x="1175" y="65"/>
                  </a:lnTo>
                  <a:lnTo>
                    <a:pt x="1174" y="67"/>
                  </a:lnTo>
                  <a:lnTo>
                    <a:pt x="1174" y="70"/>
                  </a:lnTo>
                  <a:lnTo>
                    <a:pt x="1172" y="71"/>
                  </a:lnTo>
                  <a:lnTo>
                    <a:pt x="1171" y="71"/>
                  </a:lnTo>
                  <a:lnTo>
                    <a:pt x="1171" y="73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4"/>
                  </a:lnTo>
                  <a:lnTo>
                    <a:pt x="1163" y="74"/>
                  </a:lnTo>
                  <a:lnTo>
                    <a:pt x="1157" y="80"/>
                  </a:lnTo>
                  <a:lnTo>
                    <a:pt x="1155" y="80"/>
                  </a:lnTo>
                  <a:lnTo>
                    <a:pt x="1154" y="80"/>
                  </a:lnTo>
                  <a:lnTo>
                    <a:pt x="1151" y="80"/>
                  </a:lnTo>
                  <a:lnTo>
                    <a:pt x="1149" y="82"/>
                  </a:lnTo>
                  <a:lnTo>
                    <a:pt x="1146" y="85"/>
                  </a:lnTo>
                  <a:lnTo>
                    <a:pt x="1146" y="87"/>
                  </a:lnTo>
                  <a:lnTo>
                    <a:pt x="1143" y="87"/>
                  </a:lnTo>
                  <a:lnTo>
                    <a:pt x="1141" y="88"/>
                  </a:lnTo>
                  <a:lnTo>
                    <a:pt x="1140" y="88"/>
                  </a:lnTo>
                  <a:lnTo>
                    <a:pt x="1140" y="88"/>
                  </a:lnTo>
                  <a:lnTo>
                    <a:pt x="1137" y="90"/>
                  </a:lnTo>
                  <a:lnTo>
                    <a:pt x="1134" y="91"/>
                  </a:lnTo>
                  <a:lnTo>
                    <a:pt x="1131" y="90"/>
                  </a:lnTo>
                  <a:lnTo>
                    <a:pt x="1131" y="90"/>
                  </a:lnTo>
                  <a:lnTo>
                    <a:pt x="1129" y="90"/>
                  </a:lnTo>
                  <a:lnTo>
                    <a:pt x="1124" y="94"/>
                  </a:lnTo>
                  <a:lnTo>
                    <a:pt x="1120" y="99"/>
                  </a:lnTo>
                  <a:lnTo>
                    <a:pt x="1118" y="100"/>
                  </a:lnTo>
                  <a:lnTo>
                    <a:pt x="1118" y="100"/>
                  </a:lnTo>
                  <a:lnTo>
                    <a:pt x="1115" y="100"/>
                  </a:lnTo>
                  <a:lnTo>
                    <a:pt x="1114" y="100"/>
                  </a:lnTo>
                  <a:lnTo>
                    <a:pt x="1112" y="104"/>
                  </a:lnTo>
                  <a:lnTo>
                    <a:pt x="1109" y="105"/>
                  </a:lnTo>
                  <a:lnTo>
                    <a:pt x="1107" y="105"/>
                  </a:lnTo>
                  <a:lnTo>
                    <a:pt x="1104" y="105"/>
                  </a:lnTo>
                  <a:lnTo>
                    <a:pt x="1103" y="104"/>
                  </a:lnTo>
                  <a:lnTo>
                    <a:pt x="1091" y="113"/>
                  </a:lnTo>
                  <a:lnTo>
                    <a:pt x="1086" y="113"/>
                  </a:lnTo>
                  <a:lnTo>
                    <a:pt x="1084" y="114"/>
                  </a:lnTo>
                  <a:lnTo>
                    <a:pt x="1083" y="116"/>
                  </a:lnTo>
                  <a:lnTo>
                    <a:pt x="1080" y="116"/>
                  </a:lnTo>
                  <a:lnTo>
                    <a:pt x="1078" y="117"/>
                  </a:lnTo>
                  <a:lnTo>
                    <a:pt x="1077" y="117"/>
                  </a:lnTo>
                  <a:lnTo>
                    <a:pt x="1074" y="116"/>
                  </a:lnTo>
                  <a:lnTo>
                    <a:pt x="1072" y="114"/>
                  </a:lnTo>
                  <a:lnTo>
                    <a:pt x="1067" y="111"/>
                  </a:lnTo>
                  <a:lnTo>
                    <a:pt x="1066" y="111"/>
                  </a:lnTo>
                  <a:lnTo>
                    <a:pt x="1061" y="113"/>
                  </a:lnTo>
                  <a:lnTo>
                    <a:pt x="1060" y="114"/>
                  </a:lnTo>
                  <a:lnTo>
                    <a:pt x="1058" y="113"/>
                  </a:lnTo>
                  <a:lnTo>
                    <a:pt x="1057" y="113"/>
                  </a:lnTo>
                  <a:lnTo>
                    <a:pt x="1052" y="110"/>
                  </a:lnTo>
                  <a:lnTo>
                    <a:pt x="1052" y="108"/>
                  </a:lnTo>
                  <a:lnTo>
                    <a:pt x="1050" y="110"/>
                  </a:lnTo>
                  <a:lnTo>
                    <a:pt x="1049" y="108"/>
                  </a:lnTo>
                  <a:lnTo>
                    <a:pt x="1047" y="108"/>
                  </a:lnTo>
                  <a:lnTo>
                    <a:pt x="1046" y="108"/>
                  </a:lnTo>
                  <a:lnTo>
                    <a:pt x="1044" y="108"/>
                  </a:lnTo>
                  <a:lnTo>
                    <a:pt x="1043" y="108"/>
                  </a:lnTo>
                  <a:lnTo>
                    <a:pt x="1040" y="108"/>
                  </a:lnTo>
                  <a:lnTo>
                    <a:pt x="1037" y="107"/>
                  </a:lnTo>
                  <a:lnTo>
                    <a:pt x="1034" y="104"/>
                  </a:lnTo>
                  <a:lnTo>
                    <a:pt x="1030" y="100"/>
                  </a:lnTo>
                  <a:lnTo>
                    <a:pt x="1030" y="99"/>
                  </a:lnTo>
                  <a:lnTo>
                    <a:pt x="1026" y="97"/>
                  </a:lnTo>
                  <a:lnTo>
                    <a:pt x="1024" y="99"/>
                  </a:lnTo>
                  <a:lnTo>
                    <a:pt x="1024" y="99"/>
                  </a:lnTo>
                  <a:lnTo>
                    <a:pt x="1024" y="99"/>
                  </a:lnTo>
                  <a:lnTo>
                    <a:pt x="1023" y="99"/>
                  </a:lnTo>
                  <a:lnTo>
                    <a:pt x="1020" y="102"/>
                  </a:lnTo>
                  <a:lnTo>
                    <a:pt x="1018" y="102"/>
                  </a:lnTo>
                  <a:lnTo>
                    <a:pt x="1017" y="102"/>
                  </a:lnTo>
                  <a:lnTo>
                    <a:pt x="1015" y="104"/>
                  </a:lnTo>
                  <a:lnTo>
                    <a:pt x="1014" y="104"/>
                  </a:lnTo>
                  <a:lnTo>
                    <a:pt x="1012" y="104"/>
                  </a:lnTo>
                  <a:lnTo>
                    <a:pt x="1009" y="102"/>
                  </a:lnTo>
                  <a:lnTo>
                    <a:pt x="1009" y="102"/>
                  </a:lnTo>
                  <a:lnTo>
                    <a:pt x="1006" y="102"/>
                  </a:lnTo>
                  <a:lnTo>
                    <a:pt x="1004" y="102"/>
                  </a:lnTo>
                  <a:lnTo>
                    <a:pt x="1003" y="104"/>
                  </a:lnTo>
                  <a:lnTo>
                    <a:pt x="1003" y="104"/>
                  </a:lnTo>
                  <a:lnTo>
                    <a:pt x="997" y="105"/>
                  </a:lnTo>
                  <a:lnTo>
                    <a:pt x="987" y="105"/>
                  </a:lnTo>
                  <a:lnTo>
                    <a:pt x="986" y="105"/>
                  </a:lnTo>
                  <a:lnTo>
                    <a:pt x="986" y="107"/>
                  </a:lnTo>
                  <a:lnTo>
                    <a:pt x="984" y="107"/>
                  </a:lnTo>
                  <a:lnTo>
                    <a:pt x="978" y="108"/>
                  </a:lnTo>
                  <a:lnTo>
                    <a:pt x="977" y="110"/>
                  </a:lnTo>
                  <a:lnTo>
                    <a:pt x="977" y="110"/>
                  </a:lnTo>
                  <a:lnTo>
                    <a:pt x="977" y="110"/>
                  </a:lnTo>
                  <a:lnTo>
                    <a:pt x="975" y="111"/>
                  </a:lnTo>
                  <a:lnTo>
                    <a:pt x="973" y="111"/>
                  </a:lnTo>
                  <a:lnTo>
                    <a:pt x="973" y="113"/>
                  </a:lnTo>
                  <a:lnTo>
                    <a:pt x="972" y="113"/>
                  </a:lnTo>
                  <a:lnTo>
                    <a:pt x="972" y="114"/>
                  </a:lnTo>
                  <a:lnTo>
                    <a:pt x="972" y="114"/>
                  </a:lnTo>
                  <a:lnTo>
                    <a:pt x="970" y="114"/>
                  </a:lnTo>
                  <a:lnTo>
                    <a:pt x="969" y="114"/>
                  </a:lnTo>
                  <a:lnTo>
                    <a:pt x="969" y="114"/>
                  </a:lnTo>
                  <a:lnTo>
                    <a:pt x="967" y="111"/>
                  </a:lnTo>
                  <a:lnTo>
                    <a:pt x="967" y="111"/>
                  </a:lnTo>
                  <a:lnTo>
                    <a:pt x="966" y="111"/>
                  </a:lnTo>
                  <a:lnTo>
                    <a:pt x="964" y="113"/>
                  </a:lnTo>
                  <a:lnTo>
                    <a:pt x="963" y="113"/>
                  </a:lnTo>
                  <a:lnTo>
                    <a:pt x="960" y="116"/>
                  </a:lnTo>
                  <a:lnTo>
                    <a:pt x="960" y="116"/>
                  </a:lnTo>
                  <a:lnTo>
                    <a:pt x="953" y="117"/>
                  </a:lnTo>
                  <a:lnTo>
                    <a:pt x="952" y="117"/>
                  </a:lnTo>
                  <a:lnTo>
                    <a:pt x="950" y="117"/>
                  </a:lnTo>
                  <a:lnTo>
                    <a:pt x="947" y="116"/>
                  </a:lnTo>
                  <a:lnTo>
                    <a:pt x="944" y="117"/>
                  </a:lnTo>
                  <a:lnTo>
                    <a:pt x="943" y="117"/>
                  </a:lnTo>
                  <a:lnTo>
                    <a:pt x="940" y="114"/>
                  </a:lnTo>
                  <a:lnTo>
                    <a:pt x="938" y="114"/>
                  </a:lnTo>
                  <a:lnTo>
                    <a:pt x="935" y="114"/>
                  </a:lnTo>
                  <a:lnTo>
                    <a:pt x="933" y="114"/>
                  </a:lnTo>
                  <a:lnTo>
                    <a:pt x="930" y="114"/>
                  </a:lnTo>
                  <a:lnTo>
                    <a:pt x="926" y="113"/>
                  </a:lnTo>
                  <a:lnTo>
                    <a:pt x="918" y="110"/>
                  </a:lnTo>
                  <a:lnTo>
                    <a:pt x="913" y="110"/>
                  </a:lnTo>
                  <a:lnTo>
                    <a:pt x="910" y="111"/>
                  </a:lnTo>
                  <a:lnTo>
                    <a:pt x="910" y="108"/>
                  </a:lnTo>
                  <a:lnTo>
                    <a:pt x="909" y="108"/>
                  </a:lnTo>
                  <a:lnTo>
                    <a:pt x="907" y="107"/>
                  </a:lnTo>
                  <a:lnTo>
                    <a:pt x="904" y="105"/>
                  </a:lnTo>
                  <a:lnTo>
                    <a:pt x="903" y="104"/>
                  </a:lnTo>
                  <a:lnTo>
                    <a:pt x="903" y="97"/>
                  </a:lnTo>
                  <a:lnTo>
                    <a:pt x="901" y="97"/>
                  </a:lnTo>
                  <a:lnTo>
                    <a:pt x="900" y="97"/>
                  </a:lnTo>
                  <a:lnTo>
                    <a:pt x="900" y="97"/>
                  </a:lnTo>
                  <a:lnTo>
                    <a:pt x="898" y="97"/>
                  </a:lnTo>
                  <a:lnTo>
                    <a:pt x="896" y="97"/>
                  </a:lnTo>
                  <a:lnTo>
                    <a:pt x="895" y="96"/>
                  </a:lnTo>
                  <a:lnTo>
                    <a:pt x="895" y="96"/>
                  </a:lnTo>
                  <a:lnTo>
                    <a:pt x="893" y="97"/>
                  </a:lnTo>
                  <a:lnTo>
                    <a:pt x="892" y="99"/>
                  </a:lnTo>
                  <a:lnTo>
                    <a:pt x="890" y="100"/>
                  </a:lnTo>
                  <a:lnTo>
                    <a:pt x="890" y="104"/>
                  </a:lnTo>
                  <a:lnTo>
                    <a:pt x="889" y="104"/>
                  </a:lnTo>
                  <a:lnTo>
                    <a:pt x="889" y="105"/>
                  </a:lnTo>
                  <a:lnTo>
                    <a:pt x="887" y="105"/>
                  </a:lnTo>
                  <a:lnTo>
                    <a:pt x="887" y="105"/>
                  </a:lnTo>
                  <a:lnTo>
                    <a:pt x="886" y="105"/>
                  </a:lnTo>
                  <a:lnTo>
                    <a:pt x="883" y="105"/>
                  </a:lnTo>
                  <a:lnTo>
                    <a:pt x="881" y="105"/>
                  </a:lnTo>
                  <a:lnTo>
                    <a:pt x="880" y="104"/>
                  </a:lnTo>
                  <a:lnTo>
                    <a:pt x="880" y="102"/>
                  </a:lnTo>
                  <a:lnTo>
                    <a:pt x="876" y="102"/>
                  </a:lnTo>
                  <a:lnTo>
                    <a:pt x="875" y="100"/>
                  </a:lnTo>
                  <a:lnTo>
                    <a:pt x="873" y="99"/>
                  </a:lnTo>
                  <a:lnTo>
                    <a:pt x="872" y="97"/>
                  </a:lnTo>
                  <a:lnTo>
                    <a:pt x="870" y="97"/>
                  </a:lnTo>
                  <a:lnTo>
                    <a:pt x="869" y="97"/>
                  </a:lnTo>
                  <a:lnTo>
                    <a:pt x="869" y="97"/>
                  </a:lnTo>
                  <a:lnTo>
                    <a:pt x="867" y="96"/>
                  </a:lnTo>
                  <a:lnTo>
                    <a:pt x="864" y="94"/>
                  </a:lnTo>
                  <a:lnTo>
                    <a:pt x="855" y="94"/>
                  </a:lnTo>
                  <a:lnTo>
                    <a:pt x="853" y="94"/>
                  </a:lnTo>
                  <a:lnTo>
                    <a:pt x="850" y="93"/>
                  </a:lnTo>
                  <a:lnTo>
                    <a:pt x="849" y="91"/>
                  </a:lnTo>
                  <a:lnTo>
                    <a:pt x="847" y="91"/>
                  </a:lnTo>
                  <a:lnTo>
                    <a:pt x="847" y="90"/>
                  </a:lnTo>
                  <a:lnTo>
                    <a:pt x="847" y="85"/>
                  </a:lnTo>
                  <a:lnTo>
                    <a:pt x="846" y="82"/>
                  </a:lnTo>
                  <a:lnTo>
                    <a:pt x="843" y="80"/>
                  </a:lnTo>
                  <a:lnTo>
                    <a:pt x="832" y="74"/>
                  </a:lnTo>
                  <a:lnTo>
                    <a:pt x="826" y="73"/>
                  </a:lnTo>
                  <a:lnTo>
                    <a:pt x="819" y="73"/>
                  </a:lnTo>
                  <a:lnTo>
                    <a:pt x="818" y="73"/>
                  </a:lnTo>
                  <a:lnTo>
                    <a:pt x="816" y="73"/>
                  </a:lnTo>
                  <a:lnTo>
                    <a:pt x="816" y="73"/>
                  </a:lnTo>
                  <a:lnTo>
                    <a:pt x="815" y="73"/>
                  </a:lnTo>
                  <a:lnTo>
                    <a:pt x="815" y="73"/>
                  </a:lnTo>
                  <a:lnTo>
                    <a:pt x="815" y="76"/>
                  </a:lnTo>
                  <a:lnTo>
                    <a:pt x="815" y="76"/>
                  </a:lnTo>
                  <a:lnTo>
                    <a:pt x="815" y="76"/>
                  </a:lnTo>
                  <a:lnTo>
                    <a:pt x="813" y="77"/>
                  </a:lnTo>
                  <a:lnTo>
                    <a:pt x="813" y="79"/>
                  </a:lnTo>
                  <a:lnTo>
                    <a:pt x="812" y="80"/>
                  </a:lnTo>
                  <a:lnTo>
                    <a:pt x="809" y="84"/>
                  </a:lnTo>
                  <a:lnTo>
                    <a:pt x="806" y="85"/>
                  </a:lnTo>
                  <a:lnTo>
                    <a:pt x="804" y="85"/>
                  </a:lnTo>
                  <a:lnTo>
                    <a:pt x="802" y="85"/>
                  </a:lnTo>
                  <a:lnTo>
                    <a:pt x="801" y="85"/>
                  </a:lnTo>
                  <a:lnTo>
                    <a:pt x="799" y="84"/>
                  </a:lnTo>
                  <a:lnTo>
                    <a:pt x="799" y="84"/>
                  </a:lnTo>
                  <a:lnTo>
                    <a:pt x="799" y="84"/>
                  </a:lnTo>
                  <a:lnTo>
                    <a:pt x="798" y="82"/>
                  </a:lnTo>
                  <a:lnTo>
                    <a:pt x="798" y="82"/>
                  </a:lnTo>
                  <a:lnTo>
                    <a:pt x="796" y="82"/>
                  </a:lnTo>
                  <a:lnTo>
                    <a:pt x="796" y="82"/>
                  </a:lnTo>
                  <a:lnTo>
                    <a:pt x="795" y="80"/>
                  </a:lnTo>
                  <a:lnTo>
                    <a:pt x="795" y="79"/>
                  </a:lnTo>
                  <a:lnTo>
                    <a:pt x="795" y="79"/>
                  </a:lnTo>
                  <a:lnTo>
                    <a:pt x="795" y="77"/>
                  </a:lnTo>
                  <a:lnTo>
                    <a:pt x="795" y="77"/>
                  </a:lnTo>
                  <a:lnTo>
                    <a:pt x="792" y="77"/>
                  </a:lnTo>
                  <a:lnTo>
                    <a:pt x="789" y="74"/>
                  </a:lnTo>
                  <a:lnTo>
                    <a:pt x="787" y="74"/>
                  </a:lnTo>
                  <a:lnTo>
                    <a:pt x="786" y="70"/>
                  </a:lnTo>
                  <a:lnTo>
                    <a:pt x="782" y="68"/>
                  </a:lnTo>
                  <a:lnTo>
                    <a:pt x="779" y="63"/>
                  </a:lnTo>
                  <a:lnTo>
                    <a:pt x="779" y="62"/>
                  </a:lnTo>
                  <a:lnTo>
                    <a:pt x="779" y="60"/>
                  </a:lnTo>
                  <a:lnTo>
                    <a:pt x="779" y="57"/>
                  </a:lnTo>
                  <a:lnTo>
                    <a:pt x="779" y="57"/>
                  </a:lnTo>
                  <a:lnTo>
                    <a:pt x="779" y="56"/>
                  </a:lnTo>
                  <a:lnTo>
                    <a:pt x="779" y="54"/>
                  </a:lnTo>
                  <a:lnTo>
                    <a:pt x="779" y="50"/>
                  </a:lnTo>
                  <a:lnTo>
                    <a:pt x="779" y="47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3" y="42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7"/>
                  </a:lnTo>
                  <a:lnTo>
                    <a:pt x="766" y="39"/>
                  </a:lnTo>
                  <a:lnTo>
                    <a:pt x="766" y="40"/>
                  </a:lnTo>
                  <a:lnTo>
                    <a:pt x="764" y="43"/>
                  </a:lnTo>
                  <a:lnTo>
                    <a:pt x="764" y="45"/>
                  </a:lnTo>
                  <a:lnTo>
                    <a:pt x="764" y="45"/>
                  </a:lnTo>
                  <a:lnTo>
                    <a:pt x="762" y="43"/>
                  </a:lnTo>
                  <a:lnTo>
                    <a:pt x="764" y="40"/>
                  </a:lnTo>
                  <a:lnTo>
                    <a:pt x="764" y="39"/>
                  </a:lnTo>
                  <a:lnTo>
                    <a:pt x="766" y="39"/>
                  </a:lnTo>
                  <a:lnTo>
                    <a:pt x="766" y="39"/>
                  </a:lnTo>
                  <a:lnTo>
                    <a:pt x="766" y="37"/>
                  </a:lnTo>
                  <a:lnTo>
                    <a:pt x="767" y="37"/>
                  </a:lnTo>
                  <a:lnTo>
                    <a:pt x="767" y="36"/>
                  </a:lnTo>
                  <a:lnTo>
                    <a:pt x="766" y="37"/>
                  </a:lnTo>
                  <a:lnTo>
                    <a:pt x="762" y="39"/>
                  </a:lnTo>
                  <a:lnTo>
                    <a:pt x="759" y="40"/>
                  </a:lnTo>
                  <a:lnTo>
                    <a:pt x="758" y="40"/>
                  </a:lnTo>
                  <a:lnTo>
                    <a:pt x="750" y="43"/>
                  </a:lnTo>
                  <a:lnTo>
                    <a:pt x="746" y="45"/>
                  </a:lnTo>
                  <a:lnTo>
                    <a:pt x="742" y="47"/>
                  </a:lnTo>
                  <a:lnTo>
                    <a:pt x="741" y="47"/>
                  </a:lnTo>
                  <a:lnTo>
                    <a:pt x="738" y="47"/>
                  </a:lnTo>
                  <a:lnTo>
                    <a:pt x="735" y="47"/>
                  </a:lnTo>
                  <a:lnTo>
                    <a:pt x="732" y="45"/>
                  </a:lnTo>
                  <a:lnTo>
                    <a:pt x="729" y="43"/>
                  </a:lnTo>
                  <a:lnTo>
                    <a:pt x="727" y="42"/>
                  </a:lnTo>
                  <a:lnTo>
                    <a:pt x="725" y="40"/>
                  </a:lnTo>
                  <a:lnTo>
                    <a:pt x="722" y="40"/>
                  </a:lnTo>
                  <a:lnTo>
                    <a:pt x="718" y="39"/>
                  </a:lnTo>
                  <a:lnTo>
                    <a:pt x="716" y="37"/>
                  </a:lnTo>
                  <a:lnTo>
                    <a:pt x="715" y="34"/>
                  </a:lnTo>
                  <a:lnTo>
                    <a:pt x="712" y="34"/>
                  </a:lnTo>
                  <a:lnTo>
                    <a:pt x="712" y="33"/>
                  </a:lnTo>
                  <a:lnTo>
                    <a:pt x="710" y="31"/>
                  </a:lnTo>
                  <a:lnTo>
                    <a:pt x="710" y="30"/>
                  </a:lnTo>
                  <a:lnTo>
                    <a:pt x="712" y="30"/>
                  </a:lnTo>
                  <a:lnTo>
                    <a:pt x="712" y="30"/>
                  </a:lnTo>
                  <a:lnTo>
                    <a:pt x="707" y="25"/>
                  </a:lnTo>
                  <a:lnTo>
                    <a:pt x="704" y="22"/>
                  </a:lnTo>
                  <a:lnTo>
                    <a:pt x="702" y="19"/>
                  </a:lnTo>
                  <a:lnTo>
                    <a:pt x="702" y="17"/>
                  </a:lnTo>
                  <a:lnTo>
                    <a:pt x="702" y="16"/>
                  </a:lnTo>
                  <a:lnTo>
                    <a:pt x="702" y="13"/>
                  </a:lnTo>
                  <a:lnTo>
                    <a:pt x="704" y="11"/>
                  </a:lnTo>
                  <a:lnTo>
                    <a:pt x="704" y="10"/>
                  </a:lnTo>
                  <a:lnTo>
                    <a:pt x="705" y="8"/>
                  </a:lnTo>
                  <a:lnTo>
                    <a:pt x="707" y="8"/>
                  </a:lnTo>
                  <a:lnTo>
                    <a:pt x="712" y="8"/>
                  </a:lnTo>
                  <a:lnTo>
                    <a:pt x="712" y="8"/>
                  </a:lnTo>
                  <a:lnTo>
                    <a:pt x="710" y="7"/>
                  </a:lnTo>
                  <a:lnTo>
                    <a:pt x="709" y="7"/>
                  </a:lnTo>
                  <a:lnTo>
                    <a:pt x="709" y="5"/>
                  </a:lnTo>
                  <a:lnTo>
                    <a:pt x="707" y="7"/>
                  </a:lnTo>
                  <a:lnTo>
                    <a:pt x="705" y="7"/>
                  </a:lnTo>
                  <a:lnTo>
                    <a:pt x="705" y="8"/>
                  </a:lnTo>
                  <a:lnTo>
                    <a:pt x="702" y="8"/>
                  </a:lnTo>
                  <a:lnTo>
                    <a:pt x="701" y="7"/>
                  </a:lnTo>
                  <a:lnTo>
                    <a:pt x="699" y="5"/>
                  </a:lnTo>
                  <a:lnTo>
                    <a:pt x="699" y="5"/>
                  </a:lnTo>
                  <a:lnTo>
                    <a:pt x="699" y="3"/>
                  </a:lnTo>
                  <a:lnTo>
                    <a:pt x="698" y="3"/>
                  </a:lnTo>
                  <a:lnTo>
                    <a:pt x="698" y="2"/>
                  </a:lnTo>
                  <a:lnTo>
                    <a:pt x="698" y="0"/>
                  </a:lnTo>
                  <a:lnTo>
                    <a:pt x="696" y="0"/>
                  </a:lnTo>
                  <a:lnTo>
                    <a:pt x="696" y="0"/>
                  </a:lnTo>
                  <a:lnTo>
                    <a:pt x="696" y="0"/>
                  </a:lnTo>
                  <a:lnTo>
                    <a:pt x="696" y="2"/>
                  </a:lnTo>
                  <a:lnTo>
                    <a:pt x="695" y="0"/>
                  </a:lnTo>
                  <a:lnTo>
                    <a:pt x="693" y="0"/>
                  </a:lnTo>
                  <a:lnTo>
                    <a:pt x="692" y="0"/>
                  </a:lnTo>
                  <a:lnTo>
                    <a:pt x="692" y="3"/>
                  </a:lnTo>
                  <a:lnTo>
                    <a:pt x="689" y="7"/>
                  </a:lnTo>
                  <a:lnTo>
                    <a:pt x="687" y="10"/>
                  </a:lnTo>
                  <a:lnTo>
                    <a:pt x="684" y="11"/>
                  </a:lnTo>
                  <a:lnTo>
                    <a:pt x="681" y="13"/>
                  </a:lnTo>
                  <a:lnTo>
                    <a:pt x="681" y="14"/>
                  </a:lnTo>
                  <a:lnTo>
                    <a:pt x="676" y="16"/>
                  </a:lnTo>
                  <a:lnTo>
                    <a:pt x="673" y="16"/>
                  </a:lnTo>
                  <a:lnTo>
                    <a:pt x="662" y="14"/>
                  </a:lnTo>
                  <a:lnTo>
                    <a:pt x="661" y="14"/>
                  </a:lnTo>
                  <a:lnTo>
                    <a:pt x="658" y="13"/>
                  </a:lnTo>
                  <a:lnTo>
                    <a:pt x="656" y="13"/>
                  </a:lnTo>
                  <a:lnTo>
                    <a:pt x="655" y="13"/>
                  </a:lnTo>
                  <a:lnTo>
                    <a:pt x="645" y="16"/>
                  </a:lnTo>
                  <a:lnTo>
                    <a:pt x="621" y="11"/>
                  </a:lnTo>
                  <a:lnTo>
                    <a:pt x="612" y="13"/>
                  </a:lnTo>
                  <a:lnTo>
                    <a:pt x="610" y="11"/>
                  </a:lnTo>
                  <a:lnTo>
                    <a:pt x="608" y="13"/>
                  </a:lnTo>
                  <a:lnTo>
                    <a:pt x="591" y="11"/>
                  </a:lnTo>
                  <a:lnTo>
                    <a:pt x="588" y="10"/>
                  </a:lnTo>
                  <a:lnTo>
                    <a:pt x="587" y="10"/>
                  </a:lnTo>
                  <a:lnTo>
                    <a:pt x="579" y="10"/>
                  </a:lnTo>
                  <a:lnTo>
                    <a:pt x="573" y="8"/>
                  </a:lnTo>
                  <a:lnTo>
                    <a:pt x="570" y="8"/>
                  </a:lnTo>
                  <a:lnTo>
                    <a:pt x="559" y="14"/>
                  </a:lnTo>
                  <a:lnTo>
                    <a:pt x="547" y="19"/>
                  </a:lnTo>
                  <a:lnTo>
                    <a:pt x="544" y="20"/>
                  </a:lnTo>
                  <a:lnTo>
                    <a:pt x="541" y="22"/>
                  </a:lnTo>
                  <a:lnTo>
                    <a:pt x="536" y="23"/>
                  </a:lnTo>
                  <a:lnTo>
                    <a:pt x="535" y="23"/>
                  </a:lnTo>
                  <a:lnTo>
                    <a:pt x="533" y="23"/>
                  </a:lnTo>
                  <a:lnTo>
                    <a:pt x="531" y="23"/>
                  </a:lnTo>
                  <a:lnTo>
                    <a:pt x="530" y="25"/>
                  </a:lnTo>
                  <a:lnTo>
                    <a:pt x="528" y="23"/>
                  </a:lnTo>
                  <a:lnTo>
                    <a:pt x="527" y="25"/>
                  </a:lnTo>
                  <a:lnTo>
                    <a:pt x="522" y="27"/>
                  </a:lnTo>
                  <a:lnTo>
                    <a:pt x="521" y="27"/>
                  </a:lnTo>
                  <a:lnTo>
                    <a:pt x="519" y="25"/>
                  </a:lnTo>
                  <a:lnTo>
                    <a:pt x="518" y="27"/>
                  </a:lnTo>
                  <a:lnTo>
                    <a:pt x="516" y="28"/>
                  </a:lnTo>
                  <a:lnTo>
                    <a:pt x="514" y="30"/>
                  </a:lnTo>
                  <a:lnTo>
                    <a:pt x="514" y="28"/>
                  </a:lnTo>
                  <a:lnTo>
                    <a:pt x="513" y="28"/>
                  </a:lnTo>
                  <a:lnTo>
                    <a:pt x="511" y="30"/>
                  </a:lnTo>
                  <a:lnTo>
                    <a:pt x="511" y="30"/>
                  </a:lnTo>
                  <a:lnTo>
                    <a:pt x="505" y="33"/>
                  </a:lnTo>
                  <a:lnTo>
                    <a:pt x="505" y="33"/>
                  </a:lnTo>
                  <a:lnTo>
                    <a:pt x="504" y="36"/>
                  </a:lnTo>
                  <a:lnTo>
                    <a:pt x="502" y="36"/>
                  </a:lnTo>
                  <a:lnTo>
                    <a:pt x="502" y="36"/>
                  </a:lnTo>
                  <a:lnTo>
                    <a:pt x="501" y="34"/>
                  </a:lnTo>
                  <a:lnTo>
                    <a:pt x="501" y="34"/>
                  </a:lnTo>
                  <a:lnTo>
                    <a:pt x="501" y="34"/>
                  </a:lnTo>
                  <a:lnTo>
                    <a:pt x="501" y="36"/>
                  </a:lnTo>
                  <a:lnTo>
                    <a:pt x="499" y="36"/>
                  </a:lnTo>
                  <a:lnTo>
                    <a:pt x="499" y="36"/>
                  </a:lnTo>
                  <a:lnTo>
                    <a:pt x="499" y="36"/>
                  </a:lnTo>
                  <a:lnTo>
                    <a:pt x="498" y="37"/>
                  </a:lnTo>
                  <a:lnTo>
                    <a:pt x="494" y="37"/>
                  </a:lnTo>
                  <a:lnTo>
                    <a:pt x="491" y="37"/>
                  </a:lnTo>
                  <a:lnTo>
                    <a:pt x="490" y="40"/>
                  </a:lnTo>
                  <a:lnTo>
                    <a:pt x="490" y="40"/>
                  </a:lnTo>
                  <a:lnTo>
                    <a:pt x="485" y="47"/>
                  </a:lnTo>
                  <a:lnTo>
                    <a:pt x="484" y="48"/>
                  </a:lnTo>
                  <a:lnTo>
                    <a:pt x="482" y="50"/>
                  </a:lnTo>
                  <a:lnTo>
                    <a:pt x="474" y="53"/>
                  </a:lnTo>
                  <a:lnTo>
                    <a:pt x="474" y="53"/>
                  </a:lnTo>
                  <a:lnTo>
                    <a:pt x="471" y="54"/>
                  </a:lnTo>
                  <a:lnTo>
                    <a:pt x="462" y="59"/>
                  </a:lnTo>
                  <a:lnTo>
                    <a:pt x="447" y="70"/>
                  </a:lnTo>
                  <a:lnTo>
                    <a:pt x="436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3" y="77"/>
                  </a:lnTo>
                  <a:lnTo>
                    <a:pt x="433" y="77"/>
                  </a:lnTo>
                  <a:lnTo>
                    <a:pt x="430" y="77"/>
                  </a:lnTo>
                  <a:lnTo>
                    <a:pt x="428" y="77"/>
                  </a:lnTo>
                  <a:lnTo>
                    <a:pt x="427" y="79"/>
                  </a:lnTo>
                  <a:lnTo>
                    <a:pt x="427" y="80"/>
                  </a:lnTo>
                  <a:lnTo>
                    <a:pt x="428" y="80"/>
                  </a:lnTo>
                  <a:lnTo>
                    <a:pt x="428" y="82"/>
                  </a:lnTo>
                  <a:lnTo>
                    <a:pt x="428" y="82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8" y="88"/>
                  </a:lnTo>
                  <a:lnTo>
                    <a:pt x="427" y="90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2" y="96"/>
                  </a:lnTo>
                  <a:lnTo>
                    <a:pt x="419" y="97"/>
                  </a:lnTo>
                  <a:lnTo>
                    <a:pt x="416" y="99"/>
                  </a:lnTo>
                  <a:lnTo>
                    <a:pt x="416" y="99"/>
                  </a:lnTo>
                  <a:lnTo>
                    <a:pt x="416" y="99"/>
                  </a:lnTo>
                  <a:lnTo>
                    <a:pt x="416" y="100"/>
                  </a:lnTo>
                  <a:lnTo>
                    <a:pt x="414" y="100"/>
                  </a:lnTo>
                  <a:lnTo>
                    <a:pt x="414" y="100"/>
                  </a:lnTo>
                  <a:lnTo>
                    <a:pt x="414" y="99"/>
                  </a:lnTo>
                  <a:lnTo>
                    <a:pt x="413" y="99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8" y="99"/>
                  </a:lnTo>
                  <a:lnTo>
                    <a:pt x="407" y="99"/>
                  </a:lnTo>
                  <a:lnTo>
                    <a:pt x="407" y="100"/>
                  </a:lnTo>
                  <a:lnTo>
                    <a:pt x="404" y="100"/>
                  </a:lnTo>
                  <a:lnTo>
                    <a:pt x="385" y="102"/>
                  </a:lnTo>
                  <a:lnTo>
                    <a:pt x="379" y="100"/>
                  </a:lnTo>
                  <a:lnTo>
                    <a:pt x="377" y="99"/>
                  </a:lnTo>
                  <a:lnTo>
                    <a:pt x="376" y="97"/>
                  </a:lnTo>
                  <a:lnTo>
                    <a:pt x="351" y="91"/>
                  </a:lnTo>
                  <a:lnTo>
                    <a:pt x="348" y="90"/>
                  </a:lnTo>
                  <a:lnTo>
                    <a:pt x="345" y="88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0" y="90"/>
                  </a:lnTo>
                  <a:lnTo>
                    <a:pt x="340" y="91"/>
                  </a:lnTo>
                  <a:lnTo>
                    <a:pt x="340" y="93"/>
                  </a:lnTo>
                  <a:lnTo>
                    <a:pt x="339" y="93"/>
                  </a:lnTo>
                  <a:lnTo>
                    <a:pt x="339" y="93"/>
                  </a:lnTo>
                  <a:lnTo>
                    <a:pt x="336" y="94"/>
                  </a:lnTo>
                  <a:lnTo>
                    <a:pt x="336" y="94"/>
                  </a:lnTo>
                  <a:lnTo>
                    <a:pt x="333" y="94"/>
                  </a:lnTo>
                  <a:lnTo>
                    <a:pt x="314" y="94"/>
                  </a:lnTo>
                  <a:lnTo>
                    <a:pt x="294" y="91"/>
                  </a:lnTo>
                  <a:lnTo>
                    <a:pt x="280" y="88"/>
                  </a:lnTo>
                  <a:lnTo>
                    <a:pt x="267" y="85"/>
                  </a:lnTo>
                  <a:lnTo>
                    <a:pt x="265" y="85"/>
                  </a:lnTo>
                  <a:lnTo>
                    <a:pt x="263" y="87"/>
                  </a:lnTo>
                  <a:lnTo>
                    <a:pt x="263" y="87"/>
                  </a:lnTo>
                  <a:lnTo>
                    <a:pt x="262" y="87"/>
                  </a:lnTo>
                  <a:lnTo>
                    <a:pt x="259" y="88"/>
                  </a:lnTo>
                  <a:lnTo>
                    <a:pt x="256" y="91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4" y="97"/>
                  </a:lnTo>
                  <a:lnTo>
                    <a:pt x="253" y="102"/>
                  </a:lnTo>
                  <a:lnTo>
                    <a:pt x="253" y="104"/>
                  </a:lnTo>
                  <a:lnTo>
                    <a:pt x="251" y="105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4" y="113"/>
                  </a:lnTo>
                  <a:lnTo>
                    <a:pt x="256" y="114"/>
                  </a:lnTo>
                  <a:lnTo>
                    <a:pt x="257" y="116"/>
                  </a:lnTo>
                  <a:lnTo>
                    <a:pt x="259" y="117"/>
                  </a:lnTo>
                  <a:lnTo>
                    <a:pt x="263" y="119"/>
                  </a:lnTo>
                  <a:lnTo>
                    <a:pt x="265" y="120"/>
                  </a:lnTo>
                  <a:lnTo>
                    <a:pt x="267" y="120"/>
                  </a:lnTo>
                  <a:lnTo>
                    <a:pt x="268" y="122"/>
                  </a:lnTo>
                  <a:lnTo>
                    <a:pt x="268" y="122"/>
                  </a:lnTo>
                  <a:lnTo>
                    <a:pt x="270" y="124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7"/>
                  </a:lnTo>
                  <a:lnTo>
                    <a:pt x="268" y="127"/>
                  </a:lnTo>
                  <a:lnTo>
                    <a:pt x="268" y="127"/>
                  </a:lnTo>
                  <a:lnTo>
                    <a:pt x="268" y="127"/>
                  </a:lnTo>
                  <a:lnTo>
                    <a:pt x="268" y="128"/>
                  </a:lnTo>
                  <a:lnTo>
                    <a:pt x="270" y="127"/>
                  </a:lnTo>
                  <a:lnTo>
                    <a:pt x="271" y="127"/>
                  </a:lnTo>
                  <a:lnTo>
                    <a:pt x="271" y="127"/>
                  </a:lnTo>
                  <a:lnTo>
                    <a:pt x="271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8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99" y="130"/>
                  </a:lnTo>
                  <a:lnTo>
                    <a:pt x="300" y="131"/>
                  </a:lnTo>
                  <a:lnTo>
                    <a:pt x="302" y="131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5" y="133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8" y="133"/>
                  </a:lnTo>
                  <a:lnTo>
                    <a:pt x="308" y="133"/>
                  </a:lnTo>
                  <a:lnTo>
                    <a:pt x="310" y="133"/>
                  </a:lnTo>
                  <a:lnTo>
                    <a:pt x="314" y="133"/>
                  </a:lnTo>
                  <a:lnTo>
                    <a:pt x="317" y="133"/>
                  </a:lnTo>
                  <a:lnTo>
                    <a:pt x="319" y="136"/>
                  </a:lnTo>
                  <a:lnTo>
                    <a:pt x="317" y="137"/>
                  </a:lnTo>
                  <a:lnTo>
                    <a:pt x="316" y="137"/>
                  </a:lnTo>
                  <a:lnTo>
                    <a:pt x="313" y="136"/>
                  </a:lnTo>
                  <a:lnTo>
                    <a:pt x="305" y="136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0" y="137"/>
                  </a:lnTo>
                  <a:lnTo>
                    <a:pt x="288" y="136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5" y="136"/>
                  </a:lnTo>
                  <a:lnTo>
                    <a:pt x="285" y="136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2" y="139"/>
                  </a:lnTo>
                  <a:lnTo>
                    <a:pt x="282" y="139"/>
                  </a:lnTo>
                  <a:lnTo>
                    <a:pt x="280" y="139"/>
                  </a:lnTo>
                  <a:lnTo>
                    <a:pt x="280" y="140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6" y="139"/>
                  </a:lnTo>
                  <a:lnTo>
                    <a:pt x="273" y="140"/>
                  </a:lnTo>
                  <a:lnTo>
                    <a:pt x="270" y="142"/>
                  </a:lnTo>
                  <a:lnTo>
                    <a:pt x="248" y="144"/>
                  </a:lnTo>
                  <a:lnTo>
                    <a:pt x="246" y="145"/>
                  </a:lnTo>
                  <a:lnTo>
                    <a:pt x="243" y="148"/>
                  </a:lnTo>
                  <a:lnTo>
                    <a:pt x="240" y="150"/>
                  </a:lnTo>
                  <a:lnTo>
                    <a:pt x="236" y="151"/>
                  </a:lnTo>
                  <a:lnTo>
                    <a:pt x="233" y="153"/>
                  </a:lnTo>
                  <a:lnTo>
                    <a:pt x="231" y="156"/>
                  </a:lnTo>
                  <a:lnTo>
                    <a:pt x="236" y="157"/>
                  </a:lnTo>
                  <a:lnTo>
                    <a:pt x="242" y="161"/>
                  </a:lnTo>
                  <a:lnTo>
                    <a:pt x="246" y="162"/>
                  </a:lnTo>
                  <a:lnTo>
                    <a:pt x="246" y="162"/>
                  </a:lnTo>
                  <a:lnTo>
                    <a:pt x="250" y="161"/>
                  </a:lnTo>
                  <a:lnTo>
                    <a:pt x="250" y="161"/>
                  </a:lnTo>
                  <a:lnTo>
                    <a:pt x="254" y="161"/>
                  </a:lnTo>
                  <a:lnTo>
                    <a:pt x="256" y="161"/>
                  </a:lnTo>
                  <a:lnTo>
                    <a:pt x="257" y="162"/>
                  </a:lnTo>
                  <a:lnTo>
                    <a:pt x="259" y="164"/>
                  </a:lnTo>
                  <a:lnTo>
                    <a:pt x="260" y="165"/>
                  </a:lnTo>
                  <a:lnTo>
                    <a:pt x="259" y="165"/>
                  </a:lnTo>
                  <a:lnTo>
                    <a:pt x="257" y="165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4" y="167"/>
                  </a:lnTo>
                  <a:lnTo>
                    <a:pt x="254" y="168"/>
                  </a:lnTo>
                  <a:lnTo>
                    <a:pt x="254" y="170"/>
                  </a:lnTo>
                  <a:lnTo>
                    <a:pt x="253" y="171"/>
                  </a:lnTo>
                  <a:lnTo>
                    <a:pt x="251" y="171"/>
                  </a:lnTo>
                  <a:lnTo>
                    <a:pt x="245" y="171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37" y="168"/>
                  </a:lnTo>
                  <a:lnTo>
                    <a:pt x="236" y="168"/>
                  </a:lnTo>
                  <a:lnTo>
                    <a:pt x="233" y="168"/>
                  </a:lnTo>
                  <a:lnTo>
                    <a:pt x="231" y="168"/>
                  </a:lnTo>
                  <a:lnTo>
                    <a:pt x="231" y="168"/>
                  </a:lnTo>
                  <a:lnTo>
                    <a:pt x="230" y="170"/>
                  </a:lnTo>
                  <a:lnTo>
                    <a:pt x="225" y="170"/>
                  </a:lnTo>
                  <a:lnTo>
                    <a:pt x="225" y="170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19" y="170"/>
                  </a:lnTo>
                  <a:lnTo>
                    <a:pt x="214" y="168"/>
                  </a:lnTo>
                  <a:lnTo>
                    <a:pt x="211" y="168"/>
                  </a:lnTo>
                  <a:lnTo>
                    <a:pt x="208" y="170"/>
                  </a:lnTo>
                  <a:lnTo>
                    <a:pt x="208" y="168"/>
                  </a:lnTo>
                  <a:lnTo>
                    <a:pt x="210" y="168"/>
                  </a:lnTo>
                  <a:lnTo>
                    <a:pt x="210" y="168"/>
                  </a:lnTo>
                  <a:lnTo>
                    <a:pt x="211" y="168"/>
                  </a:lnTo>
                  <a:lnTo>
                    <a:pt x="203" y="168"/>
                  </a:lnTo>
                  <a:lnTo>
                    <a:pt x="200" y="167"/>
                  </a:lnTo>
                  <a:lnTo>
                    <a:pt x="182" y="168"/>
                  </a:lnTo>
                  <a:lnTo>
                    <a:pt x="176" y="171"/>
                  </a:lnTo>
                  <a:lnTo>
                    <a:pt x="169" y="171"/>
                  </a:lnTo>
                  <a:lnTo>
                    <a:pt x="168" y="170"/>
                  </a:lnTo>
                  <a:lnTo>
                    <a:pt x="166" y="168"/>
                  </a:lnTo>
                  <a:lnTo>
                    <a:pt x="169" y="167"/>
                  </a:lnTo>
                  <a:lnTo>
                    <a:pt x="176" y="164"/>
                  </a:lnTo>
                  <a:lnTo>
                    <a:pt x="177" y="161"/>
                  </a:lnTo>
                  <a:lnTo>
                    <a:pt x="176" y="159"/>
                  </a:lnTo>
                  <a:lnTo>
                    <a:pt x="173" y="157"/>
                  </a:lnTo>
                  <a:lnTo>
                    <a:pt x="160" y="156"/>
                  </a:lnTo>
                  <a:lnTo>
                    <a:pt x="159" y="156"/>
                  </a:lnTo>
                  <a:lnTo>
                    <a:pt x="159" y="156"/>
                  </a:lnTo>
                  <a:lnTo>
                    <a:pt x="159" y="157"/>
                  </a:lnTo>
                  <a:lnTo>
                    <a:pt x="157" y="156"/>
                  </a:lnTo>
                  <a:lnTo>
                    <a:pt x="157" y="156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6" y="156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3" y="157"/>
                  </a:lnTo>
                  <a:lnTo>
                    <a:pt x="151" y="157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59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6" y="162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6" y="165"/>
                  </a:lnTo>
                  <a:lnTo>
                    <a:pt x="156" y="165"/>
                  </a:lnTo>
                  <a:lnTo>
                    <a:pt x="157" y="165"/>
                  </a:lnTo>
                  <a:lnTo>
                    <a:pt x="157" y="167"/>
                  </a:lnTo>
                  <a:lnTo>
                    <a:pt x="157" y="167"/>
                  </a:lnTo>
                  <a:lnTo>
                    <a:pt x="159" y="167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60" y="168"/>
                  </a:lnTo>
                  <a:lnTo>
                    <a:pt x="165" y="170"/>
                  </a:lnTo>
                  <a:lnTo>
                    <a:pt x="165" y="170"/>
                  </a:lnTo>
                  <a:lnTo>
                    <a:pt x="165" y="171"/>
                  </a:lnTo>
                  <a:lnTo>
                    <a:pt x="160" y="173"/>
                  </a:lnTo>
                  <a:lnTo>
                    <a:pt x="159" y="176"/>
                  </a:lnTo>
                  <a:lnTo>
                    <a:pt x="157" y="176"/>
                  </a:lnTo>
                  <a:lnTo>
                    <a:pt x="154" y="176"/>
                  </a:lnTo>
                  <a:lnTo>
                    <a:pt x="153" y="176"/>
                  </a:lnTo>
                  <a:lnTo>
                    <a:pt x="151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5" y="174"/>
                  </a:lnTo>
                  <a:lnTo>
                    <a:pt x="145" y="174"/>
                  </a:lnTo>
                  <a:lnTo>
                    <a:pt x="142" y="176"/>
                  </a:lnTo>
                  <a:lnTo>
                    <a:pt x="140" y="177"/>
                  </a:lnTo>
                  <a:lnTo>
                    <a:pt x="139" y="177"/>
                  </a:lnTo>
                  <a:lnTo>
                    <a:pt x="134" y="176"/>
                  </a:lnTo>
                  <a:lnTo>
                    <a:pt x="129" y="173"/>
                  </a:lnTo>
                  <a:lnTo>
                    <a:pt x="125" y="171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4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0" y="161"/>
                  </a:lnTo>
                  <a:lnTo>
                    <a:pt x="117" y="162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111" y="162"/>
                  </a:lnTo>
                  <a:lnTo>
                    <a:pt x="106" y="162"/>
                  </a:lnTo>
                  <a:lnTo>
                    <a:pt x="105" y="165"/>
                  </a:lnTo>
                  <a:lnTo>
                    <a:pt x="103" y="167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92" y="167"/>
                  </a:lnTo>
                  <a:lnTo>
                    <a:pt x="89" y="168"/>
                  </a:lnTo>
                  <a:lnTo>
                    <a:pt x="83" y="167"/>
                  </a:lnTo>
                  <a:lnTo>
                    <a:pt x="80" y="168"/>
                  </a:lnTo>
                  <a:lnTo>
                    <a:pt x="79" y="168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8" y="181"/>
                  </a:lnTo>
                  <a:lnTo>
                    <a:pt x="68" y="181"/>
                  </a:lnTo>
                  <a:lnTo>
                    <a:pt x="68" y="181"/>
                  </a:lnTo>
                  <a:lnTo>
                    <a:pt x="63" y="185"/>
                  </a:lnTo>
                  <a:lnTo>
                    <a:pt x="63" y="187"/>
                  </a:lnTo>
                  <a:lnTo>
                    <a:pt x="60" y="187"/>
                  </a:lnTo>
                  <a:lnTo>
                    <a:pt x="59" y="188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6" y="190"/>
                  </a:lnTo>
                  <a:lnTo>
                    <a:pt x="56" y="191"/>
                  </a:lnTo>
                  <a:lnTo>
                    <a:pt x="56" y="193"/>
                  </a:lnTo>
                  <a:lnTo>
                    <a:pt x="56" y="194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2" y="199"/>
                  </a:lnTo>
                  <a:lnTo>
                    <a:pt x="52" y="199"/>
                  </a:lnTo>
                  <a:lnTo>
                    <a:pt x="52" y="201"/>
                  </a:lnTo>
                  <a:lnTo>
                    <a:pt x="51" y="202"/>
                  </a:lnTo>
                  <a:lnTo>
                    <a:pt x="48" y="205"/>
                  </a:lnTo>
                  <a:lnTo>
                    <a:pt x="48" y="205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37" y="210"/>
                  </a:lnTo>
                  <a:lnTo>
                    <a:pt x="37" y="210"/>
                  </a:lnTo>
                  <a:lnTo>
                    <a:pt x="37" y="211"/>
                  </a:lnTo>
                  <a:lnTo>
                    <a:pt x="37" y="213"/>
                  </a:lnTo>
                  <a:lnTo>
                    <a:pt x="37" y="213"/>
                  </a:lnTo>
                  <a:lnTo>
                    <a:pt x="37" y="214"/>
                  </a:lnTo>
                  <a:lnTo>
                    <a:pt x="37" y="216"/>
                  </a:lnTo>
                  <a:lnTo>
                    <a:pt x="37" y="216"/>
                  </a:lnTo>
                  <a:lnTo>
                    <a:pt x="35" y="221"/>
                  </a:lnTo>
                  <a:lnTo>
                    <a:pt x="35" y="222"/>
                  </a:lnTo>
                  <a:lnTo>
                    <a:pt x="37" y="222"/>
                  </a:lnTo>
                  <a:lnTo>
                    <a:pt x="37" y="224"/>
                  </a:lnTo>
                  <a:lnTo>
                    <a:pt x="37" y="227"/>
                  </a:lnTo>
                  <a:lnTo>
                    <a:pt x="37" y="228"/>
                  </a:lnTo>
                  <a:lnTo>
                    <a:pt x="35" y="228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31"/>
                  </a:lnTo>
                  <a:lnTo>
                    <a:pt x="37" y="234"/>
                  </a:lnTo>
                  <a:lnTo>
                    <a:pt x="37" y="236"/>
                  </a:lnTo>
                  <a:lnTo>
                    <a:pt x="37" y="241"/>
                  </a:lnTo>
                  <a:lnTo>
                    <a:pt x="37" y="242"/>
                  </a:lnTo>
                  <a:lnTo>
                    <a:pt x="34" y="245"/>
                  </a:lnTo>
                  <a:lnTo>
                    <a:pt x="32" y="250"/>
                  </a:lnTo>
                  <a:lnTo>
                    <a:pt x="31" y="254"/>
                  </a:lnTo>
                  <a:lnTo>
                    <a:pt x="31" y="258"/>
                  </a:lnTo>
                  <a:lnTo>
                    <a:pt x="34" y="259"/>
                  </a:lnTo>
                  <a:lnTo>
                    <a:pt x="37" y="259"/>
                  </a:lnTo>
                  <a:lnTo>
                    <a:pt x="43" y="258"/>
                  </a:lnTo>
                  <a:lnTo>
                    <a:pt x="43" y="258"/>
                  </a:lnTo>
                  <a:lnTo>
                    <a:pt x="43" y="258"/>
                  </a:lnTo>
                  <a:lnTo>
                    <a:pt x="45" y="258"/>
                  </a:lnTo>
                  <a:lnTo>
                    <a:pt x="45" y="258"/>
                  </a:lnTo>
                  <a:lnTo>
                    <a:pt x="45" y="256"/>
                  </a:lnTo>
                  <a:lnTo>
                    <a:pt x="46" y="256"/>
                  </a:lnTo>
                  <a:lnTo>
                    <a:pt x="46" y="256"/>
                  </a:lnTo>
                  <a:lnTo>
                    <a:pt x="48" y="256"/>
                  </a:lnTo>
                  <a:lnTo>
                    <a:pt x="51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6" y="254"/>
                  </a:lnTo>
                  <a:lnTo>
                    <a:pt x="57" y="254"/>
                  </a:lnTo>
                  <a:lnTo>
                    <a:pt x="57" y="253"/>
                  </a:lnTo>
                  <a:lnTo>
                    <a:pt x="59" y="253"/>
                  </a:lnTo>
                  <a:lnTo>
                    <a:pt x="76" y="250"/>
                  </a:lnTo>
                  <a:lnTo>
                    <a:pt x="85" y="248"/>
                  </a:lnTo>
                  <a:lnTo>
                    <a:pt x="88" y="250"/>
                  </a:lnTo>
                  <a:lnTo>
                    <a:pt x="89" y="248"/>
                  </a:lnTo>
                  <a:lnTo>
                    <a:pt x="89" y="247"/>
                  </a:lnTo>
                  <a:lnTo>
                    <a:pt x="92" y="247"/>
                  </a:lnTo>
                  <a:lnTo>
                    <a:pt x="94" y="247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51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89" y="258"/>
                  </a:lnTo>
                  <a:lnTo>
                    <a:pt x="89" y="259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8" y="261"/>
                  </a:lnTo>
                  <a:lnTo>
                    <a:pt x="85" y="261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6" y="265"/>
                  </a:lnTo>
                  <a:lnTo>
                    <a:pt x="79" y="270"/>
                  </a:lnTo>
                  <a:lnTo>
                    <a:pt x="77" y="273"/>
                  </a:lnTo>
                  <a:lnTo>
                    <a:pt x="76" y="273"/>
                  </a:lnTo>
                  <a:lnTo>
                    <a:pt x="76" y="273"/>
                  </a:lnTo>
                  <a:lnTo>
                    <a:pt x="76" y="274"/>
                  </a:lnTo>
                  <a:lnTo>
                    <a:pt x="76" y="276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4" y="273"/>
                  </a:lnTo>
                  <a:lnTo>
                    <a:pt x="74" y="273"/>
                  </a:lnTo>
                  <a:lnTo>
                    <a:pt x="74" y="273"/>
                  </a:lnTo>
                  <a:lnTo>
                    <a:pt x="72" y="273"/>
                  </a:lnTo>
                  <a:lnTo>
                    <a:pt x="72" y="274"/>
                  </a:lnTo>
                  <a:lnTo>
                    <a:pt x="71" y="276"/>
                  </a:lnTo>
                  <a:lnTo>
                    <a:pt x="71" y="276"/>
                  </a:lnTo>
                  <a:lnTo>
                    <a:pt x="72" y="278"/>
                  </a:lnTo>
                  <a:lnTo>
                    <a:pt x="74" y="278"/>
                  </a:lnTo>
                  <a:lnTo>
                    <a:pt x="77" y="278"/>
                  </a:lnTo>
                  <a:lnTo>
                    <a:pt x="79" y="278"/>
                  </a:lnTo>
                  <a:lnTo>
                    <a:pt x="80" y="279"/>
                  </a:lnTo>
                  <a:lnTo>
                    <a:pt x="80" y="281"/>
                  </a:lnTo>
                  <a:lnTo>
                    <a:pt x="80" y="282"/>
                  </a:lnTo>
                  <a:lnTo>
                    <a:pt x="80" y="284"/>
                  </a:lnTo>
                  <a:lnTo>
                    <a:pt x="82" y="285"/>
                  </a:lnTo>
                  <a:lnTo>
                    <a:pt x="83" y="287"/>
                  </a:lnTo>
                  <a:lnTo>
                    <a:pt x="83" y="287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9" y="291"/>
                  </a:lnTo>
                  <a:lnTo>
                    <a:pt x="91" y="294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89" y="298"/>
                  </a:lnTo>
                  <a:lnTo>
                    <a:pt x="86" y="298"/>
                  </a:lnTo>
                  <a:lnTo>
                    <a:pt x="85" y="299"/>
                  </a:lnTo>
                  <a:lnTo>
                    <a:pt x="85" y="301"/>
                  </a:lnTo>
                  <a:lnTo>
                    <a:pt x="86" y="301"/>
                  </a:lnTo>
                  <a:lnTo>
                    <a:pt x="86" y="301"/>
                  </a:lnTo>
                  <a:lnTo>
                    <a:pt x="86" y="301"/>
                  </a:lnTo>
                  <a:lnTo>
                    <a:pt x="85" y="302"/>
                  </a:lnTo>
                  <a:lnTo>
                    <a:pt x="85" y="305"/>
                  </a:lnTo>
                  <a:lnTo>
                    <a:pt x="85" y="307"/>
                  </a:lnTo>
                  <a:lnTo>
                    <a:pt x="86" y="308"/>
                  </a:lnTo>
                  <a:lnTo>
                    <a:pt x="88" y="308"/>
                  </a:lnTo>
                  <a:lnTo>
                    <a:pt x="89" y="310"/>
                  </a:lnTo>
                  <a:lnTo>
                    <a:pt x="89" y="311"/>
                  </a:lnTo>
                  <a:lnTo>
                    <a:pt x="91" y="311"/>
                  </a:lnTo>
                  <a:lnTo>
                    <a:pt x="94" y="310"/>
                  </a:lnTo>
                  <a:lnTo>
                    <a:pt x="94" y="308"/>
                  </a:lnTo>
                  <a:lnTo>
                    <a:pt x="96" y="310"/>
                  </a:lnTo>
                  <a:lnTo>
                    <a:pt x="96" y="310"/>
                  </a:lnTo>
                  <a:lnTo>
                    <a:pt x="96" y="308"/>
                  </a:lnTo>
                  <a:lnTo>
                    <a:pt x="97" y="308"/>
                  </a:lnTo>
                  <a:lnTo>
                    <a:pt x="97" y="308"/>
                  </a:lnTo>
                  <a:lnTo>
                    <a:pt x="99" y="310"/>
                  </a:lnTo>
                  <a:lnTo>
                    <a:pt x="99" y="310"/>
                  </a:lnTo>
                  <a:lnTo>
                    <a:pt x="100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3" y="308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3" y="313"/>
                  </a:lnTo>
                  <a:lnTo>
                    <a:pt x="105" y="313"/>
                  </a:lnTo>
                  <a:lnTo>
                    <a:pt x="103" y="314"/>
                  </a:lnTo>
                  <a:lnTo>
                    <a:pt x="102" y="316"/>
                  </a:lnTo>
                  <a:lnTo>
                    <a:pt x="100" y="314"/>
                  </a:lnTo>
                  <a:lnTo>
                    <a:pt x="100" y="316"/>
                  </a:lnTo>
                  <a:lnTo>
                    <a:pt x="99" y="316"/>
                  </a:lnTo>
                  <a:lnTo>
                    <a:pt x="99" y="318"/>
                  </a:lnTo>
                  <a:lnTo>
                    <a:pt x="97" y="318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2" y="321"/>
                  </a:lnTo>
                  <a:lnTo>
                    <a:pt x="92" y="321"/>
                  </a:lnTo>
                  <a:lnTo>
                    <a:pt x="94" y="324"/>
                  </a:lnTo>
                  <a:lnTo>
                    <a:pt x="94" y="322"/>
                  </a:lnTo>
                  <a:lnTo>
                    <a:pt x="96" y="324"/>
                  </a:lnTo>
                  <a:lnTo>
                    <a:pt x="96" y="325"/>
                  </a:lnTo>
                  <a:lnTo>
                    <a:pt x="96" y="325"/>
                  </a:lnTo>
                  <a:lnTo>
                    <a:pt x="94" y="327"/>
                  </a:lnTo>
                  <a:lnTo>
                    <a:pt x="94" y="325"/>
                  </a:lnTo>
                  <a:lnTo>
                    <a:pt x="94" y="325"/>
                  </a:lnTo>
                  <a:lnTo>
                    <a:pt x="92" y="327"/>
                  </a:lnTo>
                  <a:lnTo>
                    <a:pt x="92" y="327"/>
                  </a:lnTo>
                  <a:lnTo>
                    <a:pt x="92" y="328"/>
                  </a:lnTo>
                  <a:lnTo>
                    <a:pt x="91" y="328"/>
                  </a:lnTo>
                  <a:lnTo>
                    <a:pt x="91" y="328"/>
                  </a:lnTo>
                  <a:lnTo>
                    <a:pt x="89" y="327"/>
                  </a:lnTo>
                  <a:lnTo>
                    <a:pt x="88" y="327"/>
                  </a:lnTo>
                  <a:lnTo>
                    <a:pt x="88" y="327"/>
                  </a:lnTo>
                  <a:lnTo>
                    <a:pt x="86" y="327"/>
                  </a:lnTo>
                  <a:lnTo>
                    <a:pt x="86" y="327"/>
                  </a:lnTo>
                  <a:lnTo>
                    <a:pt x="86" y="327"/>
                  </a:lnTo>
                  <a:lnTo>
                    <a:pt x="86" y="325"/>
                  </a:lnTo>
                  <a:lnTo>
                    <a:pt x="85" y="327"/>
                  </a:lnTo>
                  <a:lnTo>
                    <a:pt x="80" y="328"/>
                  </a:lnTo>
                  <a:lnTo>
                    <a:pt x="79" y="330"/>
                  </a:lnTo>
                  <a:lnTo>
                    <a:pt x="79" y="331"/>
                  </a:lnTo>
                  <a:lnTo>
                    <a:pt x="80" y="333"/>
                  </a:lnTo>
                  <a:lnTo>
                    <a:pt x="82" y="335"/>
                  </a:lnTo>
                  <a:lnTo>
                    <a:pt x="80" y="335"/>
                  </a:lnTo>
                  <a:lnTo>
                    <a:pt x="80" y="335"/>
                  </a:lnTo>
                  <a:lnTo>
                    <a:pt x="79" y="335"/>
                  </a:lnTo>
                  <a:lnTo>
                    <a:pt x="79" y="336"/>
                  </a:lnTo>
                  <a:lnTo>
                    <a:pt x="80" y="336"/>
                  </a:lnTo>
                  <a:lnTo>
                    <a:pt x="80" y="338"/>
                  </a:lnTo>
                  <a:lnTo>
                    <a:pt x="82" y="338"/>
                  </a:lnTo>
                  <a:lnTo>
                    <a:pt x="82" y="338"/>
                  </a:lnTo>
                  <a:lnTo>
                    <a:pt x="82" y="339"/>
                  </a:lnTo>
                  <a:lnTo>
                    <a:pt x="82" y="339"/>
                  </a:lnTo>
                  <a:lnTo>
                    <a:pt x="82" y="339"/>
                  </a:lnTo>
                  <a:lnTo>
                    <a:pt x="83" y="339"/>
                  </a:lnTo>
                  <a:lnTo>
                    <a:pt x="85" y="339"/>
                  </a:lnTo>
                  <a:lnTo>
                    <a:pt x="85" y="341"/>
                  </a:lnTo>
                  <a:lnTo>
                    <a:pt x="85" y="341"/>
                  </a:lnTo>
                  <a:lnTo>
                    <a:pt x="86" y="341"/>
                  </a:lnTo>
                  <a:lnTo>
                    <a:pt x="86" y="341"/>
                  </a:lnTo>
                  <a:lnTo>
                    <a:pt x="88" y="341"/>
                  </a:lnTo>
                  <a:lnTo>
                    <a:pt x="88" y="341"/>
                  </a:lnTo>
                  <a:lnTo>
                    <a:pt x="88" y="342"/>
                  </a:lnTo>
                  <a:lnTo>
                    <a:pt x="88" y="344"/>
                  </a:lnTo>
                  <a:lnTo>
                    <a:pt x="88" y="345"/>
                  </a:lnTo>
                  <a:lnTo>
                    <a:pt x="89" y="347"/>
                  </a:lnTo>
                  <a:lnTo>
                    <a:pt x="89" y="347"/>
                  </a:lnTo>
                  <a:lnTo>
                    <a:pt x="91" y="348"/>
                  </a:lnTo>
                  <a:lnTo>
                    <a:pt x="91" y="348"/>
                  </a:lnTo>
                  <a:lnTo>
                    <a:pt x="91" y="350"/>
                  </a:lnTo>
                  <a:lnTo>
                    <a:pt x="91" y="350"/>
                  </a:lnTo>
                  <a:lnTo>
                    <a:pt x="88" y="348"/>
                  </a:lnTo>
                  <a:lnTo>
                    <a:pt x="86" y="347"/>
                  </a:lnTo>
                  <a:lnTo>
                    <a:pt x="86" y="347"/>
                  </a:lnTo>
                  <a:lnTo>
                    <a:pt x="86" y="348"/>
                  </a:lnTo>
                  <a:lnTo>
                    <a:pt x="88" y="348"/>
                  </a:lnTo>
                  <a:lnTo>
                    <a:pt x="89" y="350"/>
                  </a:lnTo>
                  <a:lnTo>
                    <a:pt x="91" y="350"/>
                  </a:lnTo>
                  <a:lnTo>
                    <a:pt x="92" y="351"/>
                  </a:lnTo>
                  <a:lnTo>
                    <a:pt x="94" y="355"/>
                  </a:lnTo>
                  <a:lnTo>
                    <a:pt x="96" y="356"/>
                  </a:lnTo>
                  <a:lnTo>
                    <a:pt x="96" y="356"/>
                  </a:lnTo>
                  <a:lnTo>
                    <a:pt x="96" y="356"/>
                  </a:lnTo>
                  <a:lnTo>
                    <a:pt x="97" y="356"/>
                  </a:lnTo>
                  <a:lnTo>
                    <a:pt x="102" y="355"/>
                  </a:lnTo>
                  <a:lnTo>
                    <a:pt x="103" y="353"/>
                  </a:lnTo>
                  <a:lnTo>
                    <a:pt x="105" y="355"/>
                  </a:lnTo>
                  <a:lnTo>
                    <a:pt x="106" y="355"/>
                  </a:lnTo>
                  <a:lnTo>
                    <a:pt x="108" y="355"/>
                  </a:lnTo>
                  <a:lnTo>
                    <a:pt x="109" y="355"/>
                  </a:lnTo>
                  <a:lnTo>
                    <a:pt x="111" y="355"/>
                  </a:lnTo>
                  <a:lnTo>
                    <a:pt x="111" y="355"/>
                  </a:lnTo>
                  <a:lnTo>
                    <a:pt x="111" y="355"/>
                  </a:lnTo>
                  <a:lnTo>
                    <a:pt x="112" y="355"/>
                  </a:lnTo>
                  <a:lnTo>
                    <a:pt x="112" y="356"/>
                  </a:lnTo>
                  <a:lnTo>
                    <a:pt x="109" y="356"/>
                  </a:lnTo>
                  <a:lnTo>
                    <a:pt x="108" y="358"/>
                  </a:lnTo>
                  <a:lnTo>
                    <a:pt x="106" y="359"/>
                  </a:lnTo>
                  <a:lnTo>
                    <a:pt x="105" y="359"/>
                  </a:lnTo>
                  <a:lnTo>
                    <a:pt x="103" y="359"/>
                  </a:lnTo>
                  <a:lnTo>
                    <a:pt x="103" y="359"/>
                  </a:lnTo>
                  <a:lnTo>
                    <a:pt x="103" y="359"/>
                  </a:lnTo>
                  <a:lnTo>
                    <a:pt x="102" y="359"/>
                  </a:lnTo>
                  <a:lnTo>
                    <a:pt x="102" y="359"/>
                  </a:lnTo>
                  <a:lnTo>
                    <a:pt x="100" y="359"/>
                  </a:lnTo>
                  <a:lnTo>
                    <a:pt x="100" y="359"/>
                  </a:lnTo>
                  <a:lnTo>
                    <a:pt x="99" y="359"/>
                  </a:lnTo>
                  <a:lnTo>
                    <a:pt x="99" y="359"/>
                  </a:lnTo>
                  <a:lnTo>
                    <a:pt x="97" y="361"/>
                  </a:lnTo>
                  <a:lnTo>
                    <a:pt x="94" y="362"/>
                  </a:lnTo>
                  <a:lnTo>
                    <a:pt x="88" y="362"/>
                  </a:lnTo>
                  <a:lnTo>
                    <a:pt x="86" y="362"/>
                  </a:lnTo>
                  <a:lnTo>
                    <a:pt x="86" y="364"/>
                  </a:lnTo>
                  <a:lnTo>
                    <a:pt x="85" y="364"/>
                  </a:lnTo>
                  <a:lnTo>
                    <a:pt x="83" y="362"/>
                  </a:lnTo>
                  <a:lnTo>
                    <a:pt x="83" y="362"/>
                  </a:lnTo>
                  <a:lnTo>
                    <a:pt x="83" y="362"/>
                  </a:lnTo>
                  <a:lnTo>
                    <a:pt x="82" y="364"/>
                  </a:lnTo>
                  <a:lnTo>
                    <a:pt x="82" y="359"/>
                  </a:lnTo>
                  <a:lnTo>
                    <a:pt x="80" y="358"/>
                  </a:lnTo>
                  <a:lnTo>
                    <a:pt x="79" y="356"/>
                  </a:lnTo>
                  <a:lnTo>
                    <a:pt x="79" y="356"/>
                  </a:lnTo>
                  <a:lnTo>
                    <a:pt x="79" y="358"/>
                  </a:lnTo>
                  <a:lnTo>
                    <a:pt x="77" y="358"/>
                  </a:lnTo>
                  <a:lnTo>
                    <a:pt x="77" y="358"/>
                  </a:lnTo>
                  <a:lnTo>
                    <a:pt x="76" y="359"/>
                  </a:lnTo>
                  <a:lnTo>
                    <a:pt x="76" y="361"/>
                  </a:lnTo>
                  <a:lnTo>
                    <a:pt x="76" y="365"/>
                  </a:lnTo>
                  <a:lnTo>
                    <a:pt x="77" y="365"/>
                  </a:lnTo>
                  <a:lnTo>
                    <a:pt x="77" y="367"/>
                  </a:lnTo>
                  <a:lnTo>
                    <a:pt x="77" y="368"/>
                  </a:lnTo>
                  <a:lnTo>
                    <a:pt x="76" y="368"/>
                  </a:lnTo>
                  <a:lnTo>
                    <a:pt x="74" y="367"/>
                  </a:lnTo>
                  <a:lnTo>
                    <a:pt x="72" y="362"/>
                  </a:lnTo>
                  <a:lnTo>
                    <a:pt x="72" y="361"/>
                  </a:lnTo>
                  <a:lnTo>
                    <a:pt x="71" y="359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71" y="356"/>
                  </a:lnTo>
                  <a:lnTo>
                    <a:pt x="71" y="355"/>
                  </a:lnTo>
                  <a:lnTo>
                    <a:pt x="69" y="355"/>
                  </a:lnTo>
                  <a:lnTo>
                    <a:pt x="69" y="353"/>
                  </a:lnTo>
                  <a:lnTo>
                    <a:pt x="71" y="353"/>
                  </a:lnTo>
                  <a:lnTo>
                    <a:pt x="71" y="353"/>
                  </a:lnTo>
                  <a:lnTo>
                    <a:pt x="72" y="355"/>
                  </a:lnTo>
                  <a:lnTo>
                    <a:pt x="72" y="355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1"/>
                  </a:lnTo>
                  <a:lnTo>
                    <a:pt x="72" y="350"/>
                  </a:lnTo>
                  <a:lnTo>
                    <a:pt x="72" y="350"/>
                  </a:lnTo>
                  <a:lnTo>
                    <a:pt x="72" y="348"/>
                  </a:lnTo>
                  <a:lnTo>
                    <a:pt x="72" y="348"/>
                  </a:lnTo>
                  <a:lnTo>
                    <a:pt x="71" y="347"/>
                  </a:lnTo>
                  <a:lnTo>
                    <a:pt x="71" y="347"/>
                  </a:lnTo>
                  <a:lnTo>
                    <a:pt x="69" y="344"/>
                  </a:lnTo>
                  <a:lnTo>
                    <a:pt x="66" y="342"/>
                  </a:lnTo>
                  <a:lnTo>
                    <a:pt x="66" y="341"/>
                  </a:lnTo>
                  <a:lnTo>
                    <a:pt x="65" y="339"/>
                  </a:lnTo>
                  <a:lnTo>
                    <a:pt x="63" y="336"/>
                  </a:lnTo>
                  <a:lnTo>
                    <a:pt x="62" y="335"/>
                  </a:lnTo>
                  <a:lnTo>
                    <a:pt x="60" y="335"/>
                  </a:lnTo>
                  <a:lnTo>
                    <a:pt x="59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4" y="335"/>
                  </a:lnTo>
                  <a:lnTo>
                    <a:pt x="52" y="335"/>
                  </a:lnTo>
                  <a:lnTo>
                    <a:pt x="52" y="335"/>
                  </a:lnTo>
                  <a:lnTo>
                    <a:pt x="51" y="336"/>
                  </a:lnTo>
                  <a:lnTo>
                    <a:pt x="51" y="338"/>
                  </a:lnTo>
                  <a:lnTo>
                    <a:pt x="51" y="339"/>
                  </a:lnTo>
                  <a:lnTo>
                    <a:pt x="52" y="342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7"/>
                  </a:lnTo>
                  <a:lnTo>
                    <a:pt x="54" y="347"/>
                  </a:lnTo>
                  <a:lnTo>
                    <a:pt x="52" y="347"/>
                  </a:lnTo>
                  <a:lnTo>
                    <a:pt x="56" y="350"/>
                  </a:lnTo>
                  <a:lnTo>
                    <a:pt x="56" y="351"/>
                  </a:lnTo>
                  <a:lnTo>
                    <a:pt x="56" y="353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6" y="355"/>
                  </a:lnTo>
                  <a:lnTo>
                    <a:pt x="57" y="353"/>
                  </a:lnTo>
                  <a:lnTo>
                    <a:pt x="57" y="353"/>
                  </a:lnTo>
                  <a:lnTo>
                    <a:pt x="59" y="353"/>
                  </a:lnTo>
                  <a:lnTo>
                    <a:pt x="59" y="353"/>
                  </a:lnTo>
                  <a:lnTo>
                    <a:pt x="60" y="355"/>
                  </a:lnTo>
                  <a:lnTo>
                    <a:pt x="63" y="356"/>
                  </a:lnTo>
                  <a:lnTo>
                    <a:pt x="63" y="356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0" y="358"/>
                  </a:lnTo>
                  <a:lnTo>
                    <a:pt x="59" y="358"/>
                  </a:lnTo>
                  <a:lnTo>
                    <a:pt x="59" y="358"/>
                  </a:lnTo>
                  <a:lnTo>
                    <a:pt x="60" y="359"/>
                  </a:lnTo>
                  <a:lnTo>
                    <a:pt x="60" y="361"/>
                  </a:lnTo>
                  <a:lnTo>
                    <a:pt x="60" y="362"/>
                  </a:lnTo>
                  <a:lnTo>
                    <a:pt x="60" y="364"/>
                  </a:lnTo>
                  <a:lnTo>
                    <a:pt x="59" y="364"/>
                  </a:lnTo>
                  <a:lnTo>
                    <a:pt x="57" y="365"/>
                  </a:lnTo>
                  <a:lnTo>
                    <a:pt x="57" y="365"/>
                  </a:lnTo>
                  <a:lnTo>
                    <a:pt x="56" y="365"/>
                  </a:lnTo>
                  <a:lnTo>
                    <a:pt x="56" y="365"/>
                  </a:lnTo>
                  <a:lnTo>
                    <a:pt x="54" y="365"/>
                  </a:lnTo>
                  <a:lnTo>
                    <a:pt x="54" y="365"/>
                  </a:lnTo>
                  <a:lnTo>
                    <a:pt x="54" y="367"/>
                  </a:lnTo>
                  <a:lnTo>
                    <a:pt x="54" y="367"/>
                  </a:lnTo>
                  <a:lnTo>
                    <a:pt x="52" y="368"/>
                  </a:lnTo>
                  <a:lnTo>
                    <a:pt x="52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49" y="367"/>
                  </a:lnTo>
                  <a:lnTo>
                    <a:pt x="49" y="367"/>
                  </a:lnTo>
                  <a:lnTo>
                    <a:pt x="49" y="365"/>
                  </a:lnTo>
                  <a:lnTo>
                    <a:pt x="49" y="365"/>
                  </a:lnTo>
                  <a:lnTo>
                    <a:pt x="49" y="365"/>
                  </a:lnTo>
                  <a:lnTo>
                    <a:pt x="49" y="364"/>
                  </a:lnTo>
                  <a:lnTo>
                    <a:pt x="49" y="362"/>
                  </a:lnTo>
                  <a:lnTo>
                    <a:pt x="49" y="362"/>
                  </a:lnTo>
                  <a:lnTo>
                    <a:pt x="49" y="362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8" y="364"/>
                  </a:lnTo>
                  <a:lnTo>
                    <a:pt x="48" y="362"/>
                  </a:lnTo>
                  <a:lnTo>
                    <a:pt x="46" y="364"/>
                  </a:lnTo>
                  <a:lnTo>
                    <a:pt x="46" y="365"/>
                  </a:lnTo>
                  <a:lnTo>
                    <a:pt x="48" y="367"/>
                  </a:lnTo>
                  <a:lnTo>
                    <a:pt x="48" y="367"/>
                  </a:lnTo>
                  <a:lnTo>
                    <a:pt x="46" y="367"/>
                  </a:lnTo>
                  <a:lnTo>
                    <a:pt x="46" y="368"/>
                  </a:lnTo>
                  <a:lnTo>
                    <a:pt x="45" y="370"/>
                  </a:lnTo>
                  <a:lnTo>
                    <a:pt x="43" y="370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6" y="373"/>
                  </a:lnTo>
                  <a:lnTo>
                    <a:pt x="48" y="373"/>
                  </a:lnTo>
                  <a:lnTo>
                    <a:pt x="49" y="375"/>
                  </a:lnTo>
                  <a:lnTo>
                    <a:pt x="52" y="376"/>
                  </a:lnTo>
                  <a:lnTo>
                    <a:pt x="54" y="376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5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6" y="378"/>
                  </a:lnTo>
                  <a:lnTo>
                    <a:pt x="57" y="379"/>
                  </a:lnTo>
                  <a:lnTo>
                    <a:pt x="57" y="379"/>
                  </a:lnTo>
                  <a:lnTo>
                    <a:pt x="57" y="378"/>
                  </a:lnTo>
                  <a:lnTo>
                    <a:pt x="57" y="376"/>
                  </a:lnTo>
                  <a:lnTo>
                    <a:pt x="59" y="378"/>
                  </a:lnTo>
                  <a:lnTo>
                    <a:pt x="60" y="379"/>
                  </a:lnTo>
                  <a:lnTo>
                    <a:pt x="62" y="381"/>
                  </a:lnTo>
                  <a:lnTo>
                    <a:pt x="63" y="381"/>
                  </a:lnTo>
                  <a:lnTo>
                    <a:pt x="63" y="382"/>
                  </a:lnTo>
                  <a:lnTo>
                    <a:pt x="63" y="382"/>
                  </a:lnTo>
                  <a:lnTo>
                    <a:pt x="65" y="384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68" y="385"/>
                  </a:lnTo>
                  <a:lnTo>
                    <a:pt x="68" y="384"/>
                  </a:lnTo>
                  <a:lnTo>
                    <a:pt x="68" y="385"/>
                  </a:lnTo>
                  <a:lnTo>
                    <a:pt x="69" y="387"/>
                  </a:lnTo>
                  <a:lnTo>
                    <a:pt x="69" y="388"/>
                  </a:lnTo>
                  <a:lnTo>
                    <a:pt x="71" y="387"/>
                  </a:lnTo>
                  <a:lnTo>
                    <a:pt x="71" y="387"/>
                  </a:lnTo>
                  <a:lnTo>
                    <a:pt x="71" y="385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2" y="378"/>
                  </a:lnTo>
                  <a:lnTo>
                    <a:pt x="74" y="378"/>
                  </a:lnTo>
                  <a:lnTo>
                    <a:pt x="79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2" y="378"/>
                  </a:lnTo>
                  <a:lnTo>
                    <a:pt x="83" y="378"/>
                  </a:lnTo>
                  <a:lnTo>
                    <a:pt x="83" y="381"/>
                  </a:lnTo>
                  <a:lnTo>
                    <a:pt x="83" y="382"/>
                  </a:lnTo>
                  <a:lnTo>
                    <a:pt x="85" y="381"/>
                  </a:lnTo>
                  <a:lnTo>
                    <a:pt x="85" y="382"/>
                  </a:lnTo>
                  <a:lnTo>
                    <a:pt x="86" y="384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8"/>
                  </a:lnTo>
                  <a:lnTo>
                    <a:pt x="88" y="388"/>
                  </a:lnTo>
                  <a:lnTo>
                    <a:pt x="88" y="390"/>
                  </a:lnTo>
                  <a:lnTo>
                    <a:pt x="89" y="393"/>
                  </a:lnTo>
                  <a:lnTo>
                    <a:pt x="91" y="395"/>
                  </a:lnTo>
                  <a:lnTo>
                    <a:pt x="91" y="395"/>
                  </a:lnTo>
                  <a:lnTo>
                    <a:pt x="91" y="393"/>
                  </a:lnTo>
                  <a:lnTo>
                    <a:pt x="91" y="393"/>
                  </a:lnTo>
                  <a:lnTo>
                    <a:pt x="92" y="391"/>
                  </a:lnTo>
                  <a:lnTo>
                    <a:pt x="92" y="391"/>
                  </a:lnTo>
                  <a:lnTo>
                    <a:pt x="94" y="391"/>
                  </a:lnTo>
                  <a:lnTo>
                    <a:pt x="96" y="391"/>
                  </a:lnTo>
                  <a:lnTo>
                    <a:pt x="99" y="391"/>
                  </a:lnTo>
                  <a:lnTo>
                    <a:pt x="102" y="393"/>
                  </a:lnTo>
                  <a:lnTo>
                    <a:pt x="103" y="393"/>
                  </a:lnTo>
                  <a:lnTo>
                    <a:pt x="105" y="393"/>
                  </a:lnTo>
                  <a:lnTo>
                    <a:pt x="105" y="395"/>
                  </a:lnTo>
                  <a:lnTo>
                    <a:pt x="105" y="396"/>
                  </a:lnTo>
                  <a:lnTo>
                    <a:pt x="105" y="396"/>
                  </a:lnTo>
                  <a:lnTo>
                    <a:pt x="106" y="396"/>
                  </a:lnTo>
                  <a:lnTo>
                    <a:pt x="106" y="396"/>
                  </a:lnTo>
                  <a:lnTo>
                    <a:pt x="108" y="396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398"/>
                  </a:lnTo>
                  <a:lnTo>
                    <a:pt x="111" y="399"/>
                  </a:lnTo>
                  <a:lnTo>
                    <a:pt x="112" y="399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20" y="402"/>
                  </a:lnTo>
                  <a:lnTo>
                    <a:pt x="120" y="404"/>
                  </a:lnTo>
                  <a:lnTo>
                    <a:pt x="119" y="405"/>
                  </a:lnTo>
                  <a:lnTo>
                    <a:pt x="120" y="405"/>
                  </a:lnTo>
                  <a:lnTo>
                    <a:pt x="120" y="407"/>
                  </a:lnTo>
                  <a:lnTo>
                    <a:pt x="119" y="407"/>
                  </a:lnTo>
                  <a:lnTo>
                    <a:pt x="119" y="408"/>
                  </a:lnTo>
                  <a:lnTo>
                    <a:pt x="119" y="408"/>
                  </a:lnTo>
                  <a:lnTo>
                    <a:pt x="117" y="410"/>
                  </a:lnTo>
                  <a:lnTo>
                    <a:pt x="117" y="410"/>
                  </a:lnTo>
                  <a:lnTo>
                    <a:pt x="117" y="412"/>
                  </a:lnTo>
                  <a:lnTo>
                    <a:pt x="117" y="413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21"/>
                  </a:lnTo>
                  <a:lnTo>
                    <a:pt x="119" y="421"/>
                  </a:lnTo>
                  <a:lnTo>
                    <a:pt x="117" y="424"/>
                  </a:lnTo>
                  <a:lnTo>
                    <a:pt x="116" y="424"/>
                  </a:lnTo>
                  <a:lnTo>
                    <a:pt x="109" y="427"/>
                  </a:lnTo>
                  <a:lnTo>
                    <a:pt x="108" y="427"/>
                  </a:lnTo>
                  <a:lnTo>
                    <a:pt x="103" y="427"/>
                  </a:lnTo>
                  <a:lnTo>
                    <a:pt x="102" y="427"/>
                  </a:lnTo>
                  <a:lnTo>
                    <a:pt x="100" y="428"/>
                  </a:lnTo>
                  <a:lnTo>
                    <a:pt x="103" y="430"/>
                  </a:lnTo>
                  <a:lnTo>
                    <a:pt x="109" y="432"/>
                  </a:lnTo>
                  <a:lnTo>
                    <a:pt x="114" y="435"/>
                  </a:lnTo>
                  <a:lnTo>
                    <a:pt x="116" y="435"/>
                  </a:lnTo>
                  <a:lnTo>
                    <a:pt x="116" y="436"/>
                  </a:lnTo>
                  <a:lnTo>
                    <a:pt x="116" y="438"/>
                  </a:lnTo>
                  <a:lnTo>
                    <a:pt x="114" y="439"/>
                  </a:lnTo>
                  <a:lnTo>
                    <a:pt x="114" y="439"/>
                  </a:lnTo>
                  <a:lnTo>
                    <a:pt x="112" y="441"/>
                  </a:lnTo>
                  <a:lnTo>
                    <a:pt x="114" y="441"/>
                  </a:lnTo>
                  <a:lnTo>
                    <a:pt x="114" y="441"/>
                  </a:lnTo>
                  <a:lnTo>
                    <a:pt x="114" y="442"/>
                  </a:lnTo>
                  <a:lnTo>
                    <a:pt x="114" y="444"/>
                  </a:lnTo>
                  <a:lnTo>
                    <a:pt x="114" y="444"/>
                  </a:lnTo>
                  <a:lnTo>
                    <a:pt x="114" y="445"/>
                  </a:lnTo>
                  <a:lnTo>
                    <a:pt x="112" y="447"/>
                  </a:lnTo>
                  <a:lnTo>
                    <a:pt x="114" y="447"/>
                  </a:lnTo>
                  <a:lnTo>
                    <a:pt x="114" y="447"/>
                  </a:lnTo>
                  <a:lnTo>
                    <a:pt x="114" y="447"/>
                  </a:lnTo>
                  <a:lnTo>
                    <a:pt x="116" y="447"/>
                  </a:lnTo>
                  <a:lnTo>
                    <a:pt x="116" y="447"/>
                  </a:lnTo>
                  <a:lnTo>
                    <a:pt x="116" y="450"/>
                  </a:lnTo>
                  <a:lnTo>
                    <a:pt x="117" y="453"/>
                  </a:lnTo>
                  <a:lnTo>
                    <a:pt x="117" y="453"/>
                  </a:lnTo>
                  <a:lnTo>
                    <a:pt x="116" y="453"/>
                  </a:lnTo>
                  <a:lnTo>
                    <a:pt x="116" y="453"/>
                  </a:lnTo>
                  <a:lnTo>
                    <a:pt x="116" y="455"/>
                  </a:lnTo>
                  <a:lnTo>
                    <a:pt x="116" y="456"/>
                  </a:lnTo>
                  <a:lnTo>
                    <a:pt x="114" y="456"/>
                  </a:lnTo>
                  <a:lnTo>
                    <a:pt x="114" y="458"/>
                  </a:lnTo>
                  <a:lnTo>
                    <a:pt x="114" y="458"/>
                  </a:lnTo>
                  <a:lnTo>
                    <a:pt x="114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9"/>
                  </a:lnTo>
                  <a:lnTo>
                    <a:pt x="117" y="459"/>
                  </a:lnTo>
                  <a:lnTo>
                    <a:pt x="117" y="459"/>
                  </a:lnTo>
                  <a:lnTo>
                    <a:pt x="117" y="459"/>
                  </a:lnTo>
                  <a:lnTo>
                    <a:pt x="119" y="459"/>
                  </a:lnTo>
                  <a:lnTo>
                    <a:pt x="119" y="459"/>
                  </a:lnTo>
                  <a:lnTo>
                    <a:pt x="120" y="458"/>
                  </a:lnTo>
                  <a:lnTo>
                    <a:pt x="125" y="458"/>
                  </a:lnTo>
                  <a:lnTo>
                    <a:pt x="125" y="458"/>
                  </a:lnTo>
                  <a:lnTo>
                    <a:pt x="123" y="458"/>
                  </a:lnTo>
                  <a:lnTo>
                    <a:pt x="123" y="456"/>
                  </a:lnTo>
                  <a:lnTo>
                    <a:pt x="125" y="456"/>
                  </a:lnTo>
                  <a:lnTo>
                    <a:pt x="126" y="456"/>
                  </a:lnTo>
                  <a:lnTo>
                    <a:pt x="126" y="455"/>
                  </a:lnTo>
                  <a:lnTo>
                    <a:pt x="128" y="453"/>
                  </a:lnTo>
                  <a:lnTo>
                    <a:pt x="128" y="453"/>
                  </a:lnTo>
                  <a:lnTo>
                    <a:pt x="129" y="453"/>
                  </a:lnTo>
                  <a:lnTo>
                    <a:pt x="129" y="453"/>
                  </a:lnTo>
                  <a:lnTo>
                    <a:pt x="131" y="453"/>
                  </a:lnTo>
                  <a:lnTo>
                    <a:pt x="133" y="455"/>
                  </a:lnTo>
                  <a:lnTo>
                    <a:pt x="131" y="455"/>
                  </a:lnTo>
                  <a:lnTo>
                    <a:pt x="129" y="456"/>
                  </a:lnTo>
                  <a:lnTo>
                    <a:pt x="129" y="459"/>
                  </a:lnTo>
                  <a:lnTo>
                    <a:pt x="129" y="461"/>
                  </a:lnTo>
                  <a:lnTo>
                    <a:pt x="131" y="462"/>
                  </a:lnTo>
                  <a:lnTo>
                    <a:pt x="133" y="462"/>
                  </a:lnTo>
                  <a:lnTo>
                    <a:pt x="134" y="461"/>
                  </a:lnTo>
                  <a:lnTo>
                    <a:pt x="136" y="459"/>
                  </a:lnTo>
                  <a:lnTo>
                    <a:pt x="136" y="459"/>
                  </a:lnTo>
                  <a:lnTo>
                    <a:pt x="136" y="461"/>
                  </a:lnTo>
                  <a:lnTo>
                    <a:pt x="136" y="462"/>
                  </a:lnTo>
                  <a:lnTo>
                    <a:pt x="136" y="462"/>
                  </a:lnTo>
                  <a:lnTo>
                    <a:pt x="136" y="464"/>
                  </a:lnTo>
                  <a:lnTo>
                    <a:pt x="134" y="465"/>
                  </a:lnTo>
                  <a:lnTo>
                    <a:pt x="134" y="465"/>
                  </a:lnTo>
                  <a:lnTo>
                    <a:pt x="134" y="467"/>
                  </a:lnTo>
                  <a:lnTo>
                    <a:pt x="134" y="467"/>
                  </a:lnTo>
                  <a:lnTo>
                    <a:pt x="136" y="467"/>
                  </a:lnTo>
                  <a:lnTo>
                    <a:pt x="136" y="467"/>
                  </a:lnTo>
                  <a:lnTo>
                    <a:pt x="136" y="465"/>
                  </a:lnTo>
                  <a:lnTo>
                    <a:pt x="137" y="465"/>
                  </a:lnTo>
                  <a:lnTo>
                    <a:pt x="139" y="467"/>
                  </a:lnTo>
                  <a:lnTo>
                    <a:pt x="139" y="468"/>
                  </a:lnTo>
                  <a:lnTo>
                    <a:pt x="137" y="468"/>
                  </a:lnTo>
                  <a:lnTo>
                    <a:pt x="139" y="470"/>
                  </a:lnTo>
                  <a:lnTo>
                    <a:pt x="139" y="468"/>
                  </a:lnTo>
                  <a:lnTo>
                    <a:pt x="140" y="467"/>
                  </a:lnTo>
                  <a:lnTo>
                    <a:pt x="140" y="467"/>
                  </a:lnTo>
                  <a:lnTo>
                    <a:pt x="140" y="465"/>
                  </a:lnTo>
                  <a:lnTo>
                    <a:pt x="142" y="465"/>
                  </a:lnTo>
                  <a:lnTo>
                    <a:pt x="143" y="465"/>
                  </a:lnTo>
                  <a:lnTo>
                    <a:pt x="143" y="465"/>
                  </a:lnTo>
                  <a:lnTo>
                    <a:pt x="143" y="465"/>
                  </a:lnTo>
                  <a:lnTo>
                    <a:pt x="143" y="464"/>
                  </a:lnTo>
                  <a:lnTo>
                    <a:pt x="145" y="465"/>
                  </a:lnTo>
                  <a:lnTo>
                    <a:pt x="145" y="465"/>
                  </a:lnTo>
                  <a:lnTo>
                    <a:pt x="146" y="465"/>
                  </a:lnTo>
                  <a:lnTo>
                    <a:pt x="145" y="465"/>
                  </a:lnTo>
                  <a:lnTo>
                    <a:pt x="145" y="467"/>
                  </a:lnTo>
                  <a:lnTo>
                    <a:pt x="145" y="468"/>
                  </a:lnTo>
                  <a:lnTo>
                    <a:pt x="145" y="468"/>
                  </a:lnTo>
                  <a:lnTo>
                    <a:pt x="143" y="468"/>
                  </a:lnTo>
                  <a:lnTo>
                    <a:pt x="143" y="470"/>
                  </a:lnTo>
                  <a:lnTo>
                    <a:pt x="143" y="472"/>
                  </a:lnTo>
                  <a:lnTo>
                    <a:pt x="143" y="472"/>
                  </a:lnTo>
                  <a:lnTo>
                    <a:pt x="145" y="472"/>
                  </a:lnTo>
                  <a:lnTo>
                    <a:pt x="143" y="473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43" y="473"/>
                  </a:lnTo>
                  <a:lnTo>
                    <a:pt x="143" y="472"/>
                  </a:lnTo>
                  <a:lnTo>
                    <a:pt x="139" y="473"/>
                  </a:lnTo>
                  <a:lnTo>
                    <a:pt x="139" y="473"/>
                  </a:lnTo>
                  <a:lnTo>
                    <a:pt x="140" y="475"/>
                  </a:lnTo>
                  <a:lnTo>
                    <a:pt x="140" y="476"/>
                  </a:lnTo>
                  <a:lnTo>
                    <a:pt x="142" y="479"/>
                  </a:lnTo>
                  <a:lnTo>
                    <a:pt x="142" y="478"/>
                  </a:lnTo>
                  <a:lnTo>
                    <a:pt x="142" y="478"/>
                  </a:lnTo>
                  <a:lnTo>
                    <a:pt x="143" y="478"/>
                  </a:lnTo>
                  <a:lnTo>
                    <a:pt x="143" y="479"/>
                  </a:lnTo>
                  <a:lnTo>
                    <a:pt x="142" y="479"/>
                  </a:lnTo>
                  <a:lnTo>
                    <a:pt x="140" y="479"/>
                  </a:lnTo>
                  <a:lnTo>
                    <a:pt x="139" y="479"/>
                  </a:lnTo>
                  <a:lnTo>
                    <a:pt x="139" y="481"/>
                  </a:lnTo>
                  <a:lnTo>
                    <a:pt x="137" y="481"/>
                  </a:lnTo>
                  <a:lnTo>
                    <a:pt x="136" y="482"/>
                  </a:lnTo>
                  <a:lnTo>
                    <a:pt x="134" y="482"/>
                  </a:lnTo>
                  <a:lnTo>
                    <a:pt x="133" y="482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1" y="479"/>
                  </a:lnTo>
                  <a:lnTo>
                    <a:pt x="131" y="479"/>
                  </a:lnTo>
                  <a:lnTo>
                    <a:pt x="131" y="479"/>
                  </a:lnTo>
                  <a:lnTo>
                    <a:pt x="129" y="479"/>
                  </a:lnTo>
                  <a:lnTo>
                    <a:pt x="129" y="479"/>
                  </a:lnTo>
                  <a:lnTo>
                    <a:pt x="128" y="479"/>
                  </a:lnTo>
                  <a:lnTo>
                    <a:pt x="128" y="478"/>
                  </a:lnTo>
                  <a:lnTo>
                    <a:pt x="128" y="476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6"/>
                  </a:lnTo>
                  <a:lnTo>
                    <a:pt x="126" y="478"/>
                  </a:lnTo>
                  <a:lnTo>
                    <a:pt x="126" y="478"/>
                  </a:lnTo>
                  <a:lnTo>
                    <a:pt x="126" y="479"/>
                  </a:lnTo>
                  <a:lnTo>
                    <a:pt x="125" y="479"/>
                  </a:lnTo>
                  <a:lnTo>
                    <a:pt x="125" y="478"/>
                  </a:lnTo>
                  <a:lnTo>
                    <a:pt x="125" y="476"/>
                  </a:lnTo>
                  <a:lnTo>
                    <a:pt x="125" y="476"/>
                  </a:lnTo>
                  <a:lnTo>
                    <a:pt x="123" y="476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9"/>
                  </a:lnTo>
                  <a:lnTo>
                    <a:pt x="123" y="479"/>
                  </a:lnTo>
                  <a:lnTo>
                    <a:pt x="122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9" y="479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20" y="481"/>
                  </a:lnTo>
                  <a:lnTo>
                    <a:pt x="120" y="479"/>
                  </a:lnTo>
                  <a:lnTo>
                    <a:pt x="122" y="481"/>
                  </a:lnTo>
                  <a:lnTo>
                    <a:pt x="122" y="481"/>
                  </a:lnTo>
                  <a:lnTo>
                    <a:pt x="120" y="482"/>
                  </a:lnTo>
                  <a:lnTo>
                    <a:pt x="119" y="482"/>
                  </a:lnTo>
                  <a:lnTo>
                    <a:pt x="119" y="484"/>
                  </a:lnTo>
                  <a:lnTo>
                    <a:pt x="117" y="484"/>
                  </a:lnTo>
                  <a:lnTo>
                    <a:pt x="117" y="485"/>
                  </a:lnTo>
                  <a:lnTo>
                    <a:pt x="117" y="487"/>
                  </a:lnTo>
                  <a:lnTo>
                    <a:pt x="117" y="487"/>
                  </a:lnTo>
                  <a:lnTo>
                    <a:pt x="119" y="489"/>
                  </a:lnTo>
                  <a:lnTo>
                    <a:pt x="119" y="492"/>
                  </a:lnTo>
                  <a:lnTo>
                    <a:pt x="119" y="493"/>
                  </a:lnTo>
                  <a:lnTo>
                    <a:pt x="119" y="495"/>
                  </a:lnTo>
                  <a:lnTo>
                    <a:pt x="120" y="495"/>
                  </a:lnTo>
                  <a:lnTo>
                    <a:pt x="122" y="495"/>
                  </a:lnTo>
                  <a:lnTo>
                    <a:pt x="122" y="495"/>
                  </a:lnTo>
                  <a:lnTo>
                    <a:pt x="122" y="495"/>
                  </a:lnTo>
                  <a:lnTo>
                    <a:pt x="123" y="495"/>
                  </a:lnTo>
                  <a:lnTo>
                    <a:pt x="122" y="495"/>
                  </a:lnTo>
                  <a:lnTo>
                    <a:pt x="122" y="493"/>
                  </a:lnTo>
                  <a:lnTo>
                    <a:pt x="123" y="493"/>
                  </a:lnTo>
                  <a:lnTo>
                    <a:pt x="125" y="492"/>
                  </a:lnTo>
                  <a:lnTo>
                    <a:pt x="125" y="492"/>
                  </a:lnTo>
                  <a:lnTo>
                    <a:pt x="125" y="490"/>
                  </a:lnTo>
                  <a:lnTo>
                    <a:pt x="125" y="490"/>
                  </a:lnTo>
                  <a:lnTo>
                    <a:pt x="125" y="489"/>
                  </a:lnTo>
                  <a:lnTo>
                    <a:pt x="126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2"/>
                  </a:lnTo>
                  <a:lnTo>
                    <a:pt x="128" y="492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90"/>
                  </a:lnTo>
                  <a:lnTo>
                    <a:pt x="131" y="489"/>
                  </a:lnTo>
                  <a:lnTo>
                    <a:pt x="133" y="489"/>
                  </a:lnTo>
                  <a:lnTo>
                    <a:pt x="133" y="489"/>
                  </a:lnTo>
                  <a:lnTo>
                    <a:pt x="134" y="490"/>
                  </a:lnTo>
                  <a:lnTo>
                    <a:pt x="136" y="492"/>
                  </a:lnTo>
                  <a:lnTo>
                    <a:pt x="136" y="492"/>
                  </a:lnTo>
                  <a:lnTo>
                    <a:pt x="139" y="492"/>
                  </a:lnTo>
                  <a:lnTo>
                    <a:pt x="139" y="492"/>
                  </a:lnTo>
                  <a:lnTo>
                    <a:pt x="140" y="492"/>
                  </a:lnTo>
                  <a:lnTo>
                    <a:pt x="142" y="493"/>
                  </a:lnTo>
                  <a:lnTo>
                    <a:pt x="142" y="492"/>
                  </a:lnTo>
                  <a:lnTo>
                    <a:pt x="143" y="492"/>
                  </a:lnTo>
                  <a:lnTo>
                    <a:pt x="146" y="492"/>
                  </a:lnTo>
                  <a:lnTo>
                    <a:pt x="146" y="493"/>
                  </a:lnTo>
                  <a:lnTo>
                    <a:pt x="148" y="492"/>
                  </a:lnTo>
                  <a:lnTo>
                    <a:pt x="151" y="490"/>
                  </a:lnTo>
                  <a:lnTo>
                    <a:pt x="154" y="490"/>
                  </a:lnTo>
                  <a:lnTo>
                    <a:pt x="154" y="492"/>
                  </a:lnTo>
                  <a:lnTo>
                    <a:pt x="156" y="492"/>
                  </a:lnTo>
                  <a:lnTo>
                    <a:pt x="157" y="492"/>
                  </a:lnTo>
                  <a:lnTo>
                    <a:pt x="157" y="492"/>
                  </a:lnTo>
                  <a:lnTo>
                    <a:pt x="157" y="492"/>
                  </a:lnTo>
                  <a:lnTo>
                    <a:pt x="159" y="490"/>
                  </a:lnTo>
                  <a:lnTo>
                    <a:pt x="159" y="490"/>
                  </a:lnTo>
                  <a:lnTo>
                    <a:pt x="159" y="490"/>
                  </a:lnTo>
                  <a:lnTo>
                    <a:pt x="160" y="490"/>
                  </a:lnTo>
                  <a:lnTo>
                    <a:pt x="166" y="489"/>
                  </a:lnTo>
                  <a:lnTo>
                    <a:pt x="168" y="489"/>
                  </a:lnTo>
                  <a:lnTo>
                    <a:pt x="169" y="489"/>
                  </a:lnTo>
                  <a:lnTo>
                    <a:pt x="171" y="489"/>
                  </a:lnTo>
                  <a:lnTo>
                    <a:pt x="171" y="489"/>
                  </a:lnTo>
                  <a:lnTo>
                    <a:pt x="173" y="489"/>
                  </a:lnTo>
                  <a:lnTo>
                    <a:pt x="173" y="487"/>
                  </a:lnTo>
                  <a:lnTo>
                    <a:pt x="182" y="489"/>
                  </a:lnTo>
                  <a:lnTo>
                    <a:pt x="182" y="490"/>
                  </a:lnTo>
                  <a:lnTo>
                    <a:pt x="182" y="489"/>
                  </a:lnTo>
                  <a:lnTo>
                    <a:pt x="182" y="489"/>
                  </a:lnTo>
                  <a:lnTo>
                    <a:pt x="183" y="487"/>
                  </a:lnTo>
                  <a:lnTo>
                    <a:pt x="186" y="487"/>
                  </a:lnTo>
                  <a:lnTo>
                    <a:pt x="197" y="485"/>
                  </a:lnTo>
                  <a:lnTo>
                    <a:pt x="197" y="487"/>
                  </a:lnTo>
                  <a:lnTo>
                    <a:pt x="199" y="487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197" y="489"/>
                  </a:lnTo>
                  <a:lnTo>
                    <a:pt x="193" y="490"/>
                  </a:lnTo>
                  <a:lnTo>
                    <a:pt x="193" y="492"/>
                  </a:lnTo>
                  <a:lnTo>
                    <a:pt x="193" y="492"/>
                  </a:lnTo>
                  <a:lnTo>
                    <a:pt x="191" y="492"/>
                  </a:lnTo>
                  <a:lnTo>
                    <a:pt x="189" y="492"/>
                  </a:lnTo>
                  <a:lnTo>
                    <a:pt x="189" y="492"/>
                  </a:lnTo>
                  <a:lnTo>
                    <a:pt x="189" y="493"/>
                  </a:lnTo>
                  <a:lnTo>
                    <a:pt x="189" y="493"/>
                  </a:lnTo>
                  <a:lnTo>
                    <a:pt x="189" y="493"/>
                  </a:lnTo>
                  <a:lnTo>
                    <a:pt x="189" y="495"/>
                  </a:lnTo>
                  <a:lnTo>
                    <a:pt x="188" y="496"/>
                  </a:lnTo>
                  <a:lnTo>
                    <a:pt x="188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9"/>
                  </a:lnTo>
                  <a:lnTo>
                    <a:pt x="186" y="499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5" y="498"/>
                  </a:lnTo>
                  <a:lnTo>
                    <a:pt x="185" y="498"/>
                  </a:lnTo>
                  <a:lnTo>
                    <a:pt x="183" y="496"/>
                  </a:lnTo>
                  <a:lnTo>
                    <a:pt x="182" y="498"/>
                  </a:lnTo>
                  <a:lnTo>
                    <a:pt x="182" y="498"/>
                  </a:lnTo>
                  <a:lnTo>
                    <a:pt x="182" y="496"/>
                  </a:lnTo>
                  <a:lnTo>
                    <a:pt x="182" y="496"/>
                  </a:lnTo>
                  <a:lnTo>
                    <a:pt x="180" y="496"/>
                  </a:lnTo>
                  <a:lnTo>
                    <a:pt x="180" y="498"/>
                  </a:lnTo>
                  <a:lnTo>
                    <a:pt x="180" y="496"/>
                  </a:lnTo>
                  <a:lnTo>
                    <a:pt x="179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6" y="498"/>
                  </a:lnTo>
                  <a:lnTo>
                    <a:pt x="177" y="498"/>
                  </a:lnTo>
                  <a:lnTo>
                    <a:pt x="177" y="498"/>
                  </a:lnTo>
                  <a:lnTo>
                    <a:pt x="177" y="499"/>
                  </a:lnTo>
                  <a:lnTo>
                    <a:pt x="177" y="499"/>
                  </a:lnTo>
                  <a:lnTo>
                    <a:pt x="177" y="499"/>
                  </a:lnTo>
                  <a:lnTo>
                    <a:pt x="176" y="499"/>
                  </a:lnTo>
                  <a:lnTo>
                    <a:pt x="176" y="499"/>
                  </a:lnTo>
                  <a:lnTo>
                    <a:pt x="177" y="501"/>
                  </a:lnTo>
                  <a:lnTo>
                    <a:pt x="179" y="502"/>
                  </a:lnTo>
                  <a:lnTo>
                    <a:pt x="179" y="502"/>
                  </a:lnTo>
                  <a:lnTo>
                    <a:pt x="177" y="504"/>
                  </a:lnTo>
                  <a:lnTo>
                    <a:pt x="177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4" y="504"/>
                  </a:lnTo>
                  <a:lnTo>
                    <a:pt x="176" y="505"/>
                  </a:lnTo>
                  <a:lnTo>
                    <a:pt x="176" y="505"/>
                  </a:lnTo>
                  <a:lnTo>
                    <a:pt x="176" y="507"/>
                  </a:lnTo>
                  <a:lnTo>
                    <a:pt x="176" y="505"/>
                  </a:lnTo>
                  <a:lnTo>
                    <a:pt x="174" y="507"/>
                  </a:lnTo>
                  <a:lnTo>
                    <a:pt x="176" y="507"/>
                  </a:lnTo>
                  <a:lnTo>
                    <a:pt x="177" y="507"/>
                  </a:lnTo>
                  <a:lnTo>
                    <a:pt x="177" y="507"/>
                  </a:lnTo>
                  <a:lnTo>
                    <a:pt x="179" y="509"/>
                  </a:lnTo>
                  <a:lnTo>
                    <a:pt x="177" y="510"/>
                  </a:lnTo>
                  <a:lnTo>
                    <a:pt x="177" y="510"/>
                  </a:lnTo>
                  <a:lnTo>
                    <a:pt x="176" y="512"/>
                  </a:lnTo>
                  <a:lnTo>
                    <a:pt x="176" y="510"/>
                  </a:lnTo>
                  <a:lnTo>
                    <a:pt x="174" y="510"/>
                  </a:lnTo>
                  <a:lnTo>
                    <a:pt x="171" y="510"/>
                  </a:lnTo>
                  <a:lnTo>
                    <a:pt x="169" y="510"/>
                  </a:lnTo>
                  <a:lnTo>
                    <a:pt x="168" y="510"/>
                  </a:lnTo>
                  <a:lnTo>
                    <a:pt x="166" y="509"/>
                  </a:lnTo>
                  <a:lnTo>
                    <a:pt x="166" y="509"/>
                  </a:lnTo>
                  <a:lnTo>
                    <a:pt x="166" y="509"/>
                  </a:lnTo>
                  <a:lnTo>
                    <a:pt x="159" y="509"/>
                  </a:lnTo>
                  <a:lnTo>
                    <a:pt x="159" y="510"/>
                  </a:lnTo>
                  <a:lnTo>
                    <a:pt x="156" y="512"/>
                  </a:lnTo>
                  <a:lnTo>
                    <a:pt x="156" y="512"/>
                  </a:lnTo>
                  <a:lnTo>
                    <a:pt x="154" y="512"/>
                  </a:lnTo>
                  <a:lnTo>
                    <a:pt x="154" y="512"/>
                  </a:lnTo>
                  <a:lnTo>
                    <a:pt x="153" y="510"/>
                  </a:lnTo>
                  <a:lnTo>
                    <a:pt x="151" y="512"/>
                  </a:lnTo>
                  <a:lnTo>
                    <a:pt x="148" y="509"/>
                  </a:lnTo>
                  <a:lnTo>
                    <a:pt x="146" y="509"/>
                  </a:lnTo>
                  <a:lnTo>
                    <a:pt x="146" y="510"/>
                  </a:lnTo>
                  <a:lnTo>
                    <a:pt x="146" y="512"/>
                  </a:lnTo>
                  <a:lnTo>
                    <a:pt x="145" y="513"/>
                  </a:lnTo>
                  <a:lnTo>
                    <a:pt x="143" y="513"/>
                  </a:lnTo>
                  <a:lnTo>
                    <a:pt x="142" y="513"/>
                  </a:lnTo>
                  <a:lnTo>
                    <a:pt x="136" y="513"/>
                  </a:lnTo>
                  <a:lnTo>
                    <a:pt x="134" y="513"/>
                  </a:lnTo>
                  <a:lnTo>
                    <a:pt x="133" y="513"/>
                  </a:lnTo>
                  <a:lnTo>
                    <a:pt x="133" y="515"/>
                  </a:lnTo>
                  <a:lnTo>
                    <a:pt x="131" y="515"/>
                  </a:lnTo>
                  <a:lnTo>
                    <a:pt x="131" y="516"/>
                  </a:lnTo>
                  <a:lnTo>
                    <a:pt x="131" y="518"/>
                  </a:lnTo>
                  <a:lnTo>
                    <a:pt x="129" y="518"/>
                  </a:lnTo>
                  <a:lnTo>
                    <a:pt x="128" y="518"/>
                  </a:lnTo>
                  <a:lnTo>
                    <a:pt x="128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8" y="519"/>
                  </a:lnTo>
                  <a:lnTo>
                    <a:pt x="128" y="519"/>
                  </a:lnTo>
                  <a:lnTo>
                    <a:pt x="126" y="519"/>
                  </a:lnTo>
                  <a:lnTo>
                    <a:pt x="126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9" y="521"/>
                  </a:lnTo>
                  <a:lnTo>
                    <a:pt x="129" y="521"/>
                  </a:lnTo>
                  <a:lnTo>
                    <a:pt x="129" y="522"/>
                  </a:lnTo>
                  <a:lnTo>
                    <a:pt x="131" y="521"/>
                  </a:lnTo>
                  <a:lnTo>
                    <a:pt x="131" y="521"/>
                  </a:lnTo>
                  <a:lnTo>
                    <a:pt x="133" y="522"/>
                  </a:lnTo>
                  <a:lnTo>
                    <a:pt x="134" y="522"/>
                  </a:lnTo>
                  <a:lnTo>
                    <a:pt x="134" y="522"/>
                  </a:lnTo>
                  <a:lnTo>
                    <a:pt x="136" y="524"/>
                  </a:lnTo>
                  <a:lnTo>
                    <a:pt x="136" y="522"/>
                  </a:lnTo>
                  <a:lnTo>
                    <a:pt x="136" y="522"/>
                  </a:lnTo>
                  <a:lnTo>
                    <a:pt x="136" y="522"/>
                  </a:lnTo>
                  <a:lnTo>
                    <a:pt x="142" y="519"/>
                  </a:lnTo>
                  <a:lnTo>
                    <a:pt x="142" y="521"/>
                  </a:lnTo>
                  <a:lnTo>
                    <a:pt x="142" y="521"/>
                  </a:lnTo>
                  <a:lnTo>
                    <a:pt x="143" y="521"/>
                  </a:lnTo>
                  <a:lnTo>
                    <a:pt x="145" y="521"/>
                  </a:lnTo>
                  <a:lnTo>
                    <a:pt x="146" y="521"/>
                  </a:lnTo>
                  <a:lnTo>
                    <a:pt x="148" y="521"/>
                  </a:lnTo>
                  <a:lnTo>
                    <a:pt x="149" y="522"/>
                  </a:lnTo>
                  <a:lnTo>
                    <a:pt x="149" y="521"/>
                  </a:lnTo>
                  <a:lnTo>
                    <a:pt x="151" y="518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4" y="513"/>
                  </a:lnTo>
                  <a:lnTo>
                    <a:pt x="154" y="513"/>
                  </a:lnTo>
                  <a:lnTo>
                    <a:pt x="156" y="513"/>
                  </a:lnTo>
                  <a:lnTo>
                    <a:pt x="157" y="513"/>
                  </a:lnTo>
                  <a:lnTo>
                    <a:pt x="157" y="513"/>
                  </a:lnTo>
                  <a:lnTo>
                    <a:pt x="159" y="513"/>
                  </a:lnTo>
                  <a:lnTo>
                    <a:pt x="159" y="513"/>
                  </a:lnTo>
                  <a:lnTo>
                    <a:pt x="160" y="513"/>
                  </a:lnTo>
                  <a:lnTo>
                    <a:pt x="162" y="513"/>
                  </a:lnTo>
                  <a:lnTo>
                    <a:pt x="163" y="515"/>
                  </a:lnTo>
                  <a:lnTo>
                    <a:pt x="163" y="515"/>
                  </a:lnTo>
                  <a:lnTo>
                    <a:pt x="163" y="515"/>
                  </a:lnTo>
                  <a:lnTo>
                    <a:pt x="165" y="513"/>
                  </a:lnTo>
                  <a:lnTo>
                    <a:pt x="165" y="515"/>
                  </a:lnTo>
                  <a:lnTo>
                    <a:pt x="165" y="515"/>
                  </a:lnTo>
                  <a:lnTo>
                    <a:pt x="166" y="515"/>
                  </a:lnTo>
                  <a:lnTo>
                    <a:pt x="166" y="515"/>
                  </a:lnTo>
                  <a:lnTo>
                    <a:pt x="166" y="513"/>
                  </a:lnTo>
                  <a:lnTo>
                    <a:pt x="168" y="513"/>
                  </a:lnTo>
                  <a:lnTo>
                    <a:pt x="168" y="515"/>
                  </a:lnTo>
                  <a:lnTo>
                    <a:pt x="169" y="515"/>
                  </a:lnTo>
                  <a:lnTo>
                    <a:pt x="169" y="513"/>
                  </a:lnTo>
                  <a:lnTo>
                    <a:pt x="171" y="513"/>
                  </a:lnTo>
                  <a:lnTo>
                    <a:pt x="171" y="515"/>
                  </a:lnTo>
                  <a:lnTo>
                    <a:pt x="171" y="515"/>
                  </a:lnTo>
                  <a:lnTo>
                    <a:pt x="173" y="513"/>
                  </a:lnTo>
                  <a:lnTo>
                    <a:pt x="176" y="513"/>
                  </a:lnTo>
                  <a:lnTo>
                    <a:pt x="177" y="512"/>
                  </a:lnTo>
                  <a:lnTo>
                    <a:pt x="177" y="513"/>
                  </a:lnTo>
                  <a:lnTo>
                    <a:pt x="177" y="513"/>
                  </a:lnTo>
                  <a:lnTo>
                    <a:pt x="179" y="512"/>
                  </a:lnTo>
                  <a:lnTo>
                    <a:pt x="180" y="510"/>
                  </a:lnTo>
                  <a:lnTo>
                    <a:pt x="182" y="509"/>
                  </a:lnTo>
                  <a:lnTo>
                    <a:pt x="182" y="509"/>
                  </a:lnTo>
                  <a:lnTo>
                    <a:pt x="183" y="510"/>
                  </a:lnTo>
                  <a:lnTo>
                    <a:pt x="183" y="510"/>
                  </a:lnTo>
                  <a:lnTo>
                    <a:pt x="183" y="512"/>
                  </a:lnTo>
                  <a:lnTo>
                    <a:pt x="183" y="513"/>
                  </a:lnTo>
                  <a:lnTo>
                    <a:pt x="183" y="513"/>
                  </a:lnTo>
                  <a:lnTo>
                    <a:pt x="183" y="512"/>
                  </a:lnTo>
                  <a:lnTo>
                    <a:pt x="182" y="512"/>
                  </a:lnTo>
                  <a:lnTo>
                    <a:pt x="182" y="513"/>
                  </a:lnTo>
                  <a:lnTo>
                    <a:pt x="180" y="513"/>
                  </a:lnTo>
                  <a:lnTo>
                    <a:pt x="180" y="513"/>
                  </a:lnTo>
                  <a:lnTo>
                    <a:pt x="180" y="515"/>
                  </a:lnTo>
                  <a:lnTo>
                    <a:pt x="180" y="515"/>
                  </a:lnTo>
                  <a:lnTo>
                    <a:pt x="182" y="515"/>
                  </a:lnTo>
                  <a:lnTo>
                    <a:pt x="183" y="516"/>
                  </a:lnTo>
                  <a:lnTo>
                    <a:pt x="183" y="516"/>
                  </a:lnTo>
                  <a:lnTo>
                    <a:pt x="182" y="518"/>
                  </a:lnTo>
                  <a:lnTo>
                    <a:pt x="180" y="518"/>
                  </a:lnTo>
                  <a:lnTo>
                    <a:pt x="180" y="516"/>
                  </a:lnTo>
                  <a:lnTo>
                    <a:pt x="180" y="516"/>
                  </a:lnTo>
                  <a:lnTo>
                    <a:pt x="177" y="516"/>
                  </a:lnTo>
                  <a:lnTo>
                    <a:pt x="177" y="516"/>
                  </a:lnTo>
                  <a:lnTo>
                    <a:pt x="177" y="518"/>
                  </a:lnTo>
                  <a:lnTo>
                    <a:pt x="177" y="518"/>
                  </a:lnTo>
                  <a:lnTo>
                    <a:pt x="176" y="518"/>
                  </a:lnTo>
                  <a:lnTo>
                    <a:pt x="176" y="518"/>
                  </a:lnTo>
                  <a:lnTo>
                    <a:pt x="174" y="518"/>
                  </a:lnTo>
                  <a:lnTo>
                    <a:pt x="174" y="519"/>
                  </a:lnTo>
                  <a:lnTo>
                    <a:pt x="173" y="519"/>
                  </a:lnTo>
                  <a:lnTo>
                    <a:pt x="171" y="519"/>
                  </a:lnTo>
                  <a:lnTo>
                    <a:pt x="173" y="521"/>
                  </a:lnTo>
                  <a:lnTo>
                    <a:pt x="173" y="52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6" y="521"/>
                  </a:lnTo>
                  <a:lnTo>
                    <a:pt x="176" y="521"/>
                  </a:lnTo>
                  <a:lnTo>
                    <a:pt x="177" y="521"/>
                  </a:lnTo>
                  <a:lnTo>
                    <a:pt x="177" y="519"/>
                  </a:lnTo>
                  <a:lnTo>
                    <a:pt x="177" y="519"/>
                  </a:lnTo>
                  <a:lnTo>
                    <a:pt x="177" y="519"/>
                  </a:lnTo>
                  <a:lnTo>
                    <a:pt x="179" y="521"/>
                  </a:lnTo>
                  <a:lnTo>
                    <a:pt x="179" y="522"/>
                  </a:lnTo>
                  <a:lnTo>
                    <a:pt x="179" y="522"/>
                  </a:lnTo>
                  <a:lnTo>
                    <a:pt x="177" y="524"/>
                  </a:lnTo>
                  <a:lnTo>
                    <a:pt x="177" y="524"/>
                  </a:lnTo>
                  <a:lnTo>
                    <a:pt x="179" y="524"/>
                  </a:lnTo>
                  <a:lnTo>
                    <a:pt x="180" y="522"/>
                  </a:lnTo>
                  <a:lnTo>
                    <a:pt x="180" y="524"/>
                  </a:lnTo>
                  <a:lnTo>
                    <a:pt x="180" y="525"/>
                  </a:lnTo>
                  <a:lnTo>
                    <a:pt x="179" y="525"/>
                  </a:lnTo>
                  <a:lnTo>
                    <a:pt x="179" y="527"/>
                  </a:lnTo>
                  <a:lnTo>
                    <a:pt x="177" y="527"/>
                  </a:lnTo>
                  <a:lnTo>
                    <a:pt x="171" y="527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73" y="529"/>
                  </a:lnTo>
                  <a:lnTo>
                    <a:pt x="173" y="529"/>
                  </a:lnTo>
                  <a:lnTo>
                    <a:pt x="173" y="530"/>
                  </a:lnTo>
                  <a:lnTo>
                    <a:pt x="171" y="530"/>
                  </a:lnTo>
                  <a:lnTo>
                    <a:pt x="173" y="532"/>
                  </a:lnTo>
                  <a:lnTo>
                    <a:pt x="174" y="532"/>
                  </a:lnTo>
                  <a:lnTo>
                    <a:pt x="174" y="532"/>
                  </a:lnTo>
                  <a:lnTo>
                    <a:pt x="176" y="530"/>
                  </a:lnTo>
                  <a:lnTo>
                    <a:pt x="176" y="532"/>
                  </a:lnTo>
                  <a:lnTo>
                    <a:pt x="176" y="532"/>
                  </a:lnTo>
                  <a:lnTo>
                    <a:pt x="177" y="532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9" y="530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80" y="529"/>
                  </a:lnTo>
                  <a:lnTo>
                    <a:pt x="182" y="527"/>
                  </a:lnTo>
                  <a:lnTo>
                    <a:pt x="183" y="525"/>
                  </a:lnTo>
                  <a:lnTo>
                    <a:pt x="185" y="524"/>
                  </a:lnTo>
                  <a:lnTo>
                    <a:pt x="186" y="521"/>
                  </a:lnTo>
                  <a:lnTo>
                    <a:pt x="188" y="521"/>
                  </a:lnTo>
                  <a:lnTo>
                    <a:pt x="191" y="519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6"/>
                  </a:lnTo>
                  <a:lnTo>
                    <a:pt x="193" y="518"/>
                  </a:lnTo>
                  <a:lnTo>
                    <a:pt x="193" y="518"/>
                  </a:lnTo>
                  <a:lnTo>
                    <a:pt x="193" y="516"/>
                  </a:lnTo>
                  <a:lnTo>
                    <a:pt x="194" y="516"/>
                  </a:lnTo>
                  <a:lnTo>
                    <a:pt x="196" y="516"/>
                  </a:lnTo>
                  <a:lnTo>
                    <a:pt x="196" y="516"/>
                  </a:lnTo>
                  <a:lnTo>
                    <a:pt x="196" y="515"/>
                  </a:lnTo>
                  <a:lnTo>
                    <a:pt x="193" y="513"/>
                  </a:lnTo>
                  <a:lnTo>
                    <a:pt x="193" y="510"/>
                  </a:lnTo>
                  <a:lnTo>
                    <a:pt x="193" y="510"/>
                  </a:lnTo>
                  <a:lnTo>
                    <a:pt x="191" y="509"/>
                  </a:lnTo>
                  <a:lnTo>
                    <a:pt x="193" y="507"/>
                  </a:lnTo>
                  <a:lnTo>
                    <a:pt x="193" y="505"/>
                  </a:lnTo>
                  <a:lnTo>
                    <a:pt x="194" y="504"/>
                  </a:lnTo>
                  <a:lnTo>
                    <a:pt x="196" y="505"/>
                  </a:lnTo>
                  <a:lnTo>
                    <a:pt x="197" y="505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7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10"/>
                  </a:lnTo>
                  <a:lnTo>
                    <a:pt x="196" y="510"/>
                  </a:lnTo>
                  <a:lnTo>
                    <a:pt x="197" y="510"/>
                  </a:lnTo>
                  <a:lnTo>
                    <a:pt x="197" y="510"/>
                  </a:lnTo>
                  <a:lnTo>
                    <a:pt x="197" y="509"/>
                  </a:lnTo>
                  <a:lnTo>
                    <a:pt x="197" y="509"/>
                  </a:lnTo>
                  <a:lnTo>
                    <a:pt x="199" y="509"/>
                  </a:lnTo>
                  <a:lnTo>
                    <a:pt x="202" y="510"/>
                  </a:lnTo>
                  <a:lnTo>
                    <a:pt x="203" y="510"/>
                  </a:lnTo>
                  <a:lnTo>
                    <a:pt x="205" y="510"/>
                  </a:lnTo>
                  <a:lnTo>
                    <a:pt x="205" y="509"/>
                  </a:lnTo>
                  <a:lnTo>
                    <a:pt x="206" y="507"/>
                  </a:lnTo>
                  <a:lnTo>
                    <a:pt x="205" y="505"/>
                  </a:lnTo>
                  <a:lnTo>
                    <a:pt x="205" y="505"/>
                  </a:lnTo>
                  <a:lnTo>
                    <a:pt x="203" y="505"/>
                  </a:lnTo>
                  <a:lnTo>
                    <a:pt x="203" y="505"/>
                  </a:lnTo>
                  <a:lnTo>
                    <a:pt x="203" y="505"/>
                  </a:lnTo>
                  <a:lnTo>
                    <a:pt x="202" y="505"/>
                  </a:lnTo>
                  <a:lnTo>
                    <a:pt x="202" y="504"/>
                  </a:lnTo>
                  <a:lnTo>
                    <a:pt x="203" y="504"/>
                  </a:lnTo>
                  <a:lnTo>
                    <a:pt x="205" y="504"/>
                  </a:lnTo>
                  <a:lnTo>
                    <a:pt x="206" y="504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10" y="504"/>
                  </a:lnTo>
                  <a:lnTo>
                    <a:pt x="210" y="504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7"/>
                  </a:lnTo>
                  <a:lnTo>
                    <a:pt x="208" y="507"/>
                  </a:lnTo>
                  <a:lnTo>
                    <a:pt x="210" y="509"/>
                  </a:lnTo>
                  <a:lnTo>
                    <a:pt x="211" y="509"/>
                  </a:lnTo>
                  <a:lnTo>
                    <a:pt x="211" y="509"/>
                  </a:lnTo>
                  <a:lnTo>
                    <a:pt x="211" y="509"/>
                  </a:lnTo>
                  <a:lnTo>
                    <a:pt x="211" y="510"/>
                  </a:lnTo>
                  <a:lnTo>
                    <a:pt x="213" y="510"/>
                  </a:lnTo>
                  <a:lnTo>
                    <a:pt x="213" y="510"/>
                  </a:lnTo>
                  <a:lnTo>
                    <a:pt x="214" y="510"/>
                  </a:lnTo>
                  <a:lnTo>
                    <a:pt x="213" y="509"/>
                  </a:lnTo>
                  <a:lnTo>
                    <a:pt x="214" y="507"/>
                  </a:lnTo>
                  <a:lnTo>
                    <a:pt x="217" y="507"/>
                  </a:lnTo>
                  <a:lnTo>
                    <a:pt x="219" y="509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20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20" y="509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20" y="510"/>
                  </a:lnTo>
                  <a:lnTo>
                    <a:pt x="220" y="513"/>
                  </a:lnTo>
                  <a:lnTo>
                    <a:pt x="220" y="515"/>
                  </a:lnTo>
                  <a:lnTo>
                    <a:pt x="219" y="516"/>
                  </a:lnTo>
                  <a:lnTo>
                    <a:pt x="220" y="518"/>
                  </a:lnTo>
                  <a:lnTo>
                    <a:pt x="220" y="519"/>
                  </a:lnTo>
                  <a:lnTo>
                    <a:pt x="222" y="518"/>
                  </a:lnTo>
                  <a:lnTo>
                    <a:pt x="222" y="516"/>
                  </a:lnTo>
                  <a:lnTo>
                    <a:pt x="223" y="518"/>
                  </a:lnTo>
                  <a:lnTo>
                    <a:pt x="223" y="519"/>
                  </a:lnTo>
                  <a:lnTo>
                    <a:pt x="225" y="519"/>
                  </a:lnTo>
                  <a:lnTo>
                    <a:pt x="226" y="518"/>
                  </a:lnTo>
                  <a:lnTo>
                    <a:pt x="230" y="519"/>
                  </a:lnTo>
                  <a:lnTo>
                    <a:pt x="233" y="521"/>
                  </a:lnTo>
                  <a:lnTo>
                    <a:pt x="233" y="524"/>
                  </a:lnTo>
                  <a:lnTo>
                    <a:pt x="234" y="522"/>
                  </a:lnTo>
                  <a:lnTo>
                    <a:pt x="234" y="522"/>
                  </a:lnTo>
                  <a:lnTo>
                    <a:pt x="236" y="524"/>
                  </a:lnTo>
                  <a:lnTo>
                    <a:pt x="237" y="524"/>
                  </a:lnTo>
                  <a:lnTo>
                    <a:pt x="237" y="525"/>
                  </a:lnTo>
                  <a:lnTo>
                    <a:pt x="236" y="525"/>
                  </a:lnTo>
                  <a:lnTo>
                    <a:pt x="236" y="525"/>
                  </a:lnTo>
                  <a:lnTo>
                    <a:pt x="236" y="527"/>
                  </a:lnTo>
                  <a:lnTo>
                    <a:pt x="236" y="527"/>
                  </a:lnTo>
                  <a:lnTo>
                    <a:pt x="237" y="529"/>
                  </a:lnTo>
                  <a:lnTo>
                    <a:pt x="239" y="529"/>
                  </a:lnTo>
                  <a:lnTo>
                    <a:pt x="239" y="527"/>
                  </a:lnTo>
                  <a:lnTo>
                    <a:pt x="239" y="527"/>
                  </a:lnTo>
                  <a:lnTo>
                    <a:pt x="240" y="525"/>
                  </a:lnTo>
                  <a:lnTo>
                    <a:pt x="240" y="524"/>
                  </a:lnTo>
                  <a:lnTo>
                    <a:pt x="242" y="522"/>
                  </a:lnTo>
                  <a:lnTo>
                    <a:pt x="240" y="521"/>
                  </a:lnTo>
                  <a:lnTo>
                    <a:pt x="240" y="522"/>
                  </a:lnTo>
                  <a:lnTo>
                    <a:pt x="240" y="524"/>
                  </a:lnTo>
                  <a:lnTo>
                    <a:pt x="240" y="524"/>
                  </a:lnTo>
                  <a:lnTo>
                    <a:pt x="239" y="525"/>
                  </a:lnTo>
                  <a:lnTo>
                    <a:pt x="239" y="525"/>
                  </a:lnTo>
                  <a:lnTo>
                    <a:pt x="239" y="524"/>
                  </a:lnTo>
                  <a:lnTo>
                    <a:pt x="237" y="524"/>
                  </a:lnTo>
                  <a:lnTo>
                    <a:pt x="239" y="524"/>
                  </a:lnTo>
                  <a:lnTo>
                    <a:pt x="239" y="522"/>
                  </a:lnTo>
                  <a:lnTo>
                    <a:pt x="237" y="522"/>
                  </a:lnTo>
                  <a:lnTo>
                    <a:pt x="237" y="522"/>
                  </a:lnTo>
                  <a:lnTo>
                    <a:pt x="239" y="522"/>
                  </a:lnTo>
                  <a:lnTo>
                    <a:pt x="239" y="521"/>
                  </a:lnTo>
                  <a:lnTo>
                    <a:pt x="239" y="521"/>
                  </a:lnTo>
                  <a:lnTo>
                    <a:pt x="239" y="519"/>
                  </a:lnTo>
                  <a:lnTo>
                    <a:pt x="239" y="519"/>
                  </a:lnTo>
                  <a:lnTo>
                    <a:pt x="240" y="519"/>
                  </a:lnTo>
                  <a:lnTo>
                    <a:pt x="240" y="519"/>
                  </a:lnTo>
                  <a:lnTo>
                    <a:pt x="240" y="518"/>
                  </a:lnTo>
                  <a:lnTo>
                    <a:pt x="240" y="518"/>
                  </a:lnTo>
                  <a:lnTo>
                    <a:pt x="240" y="518"/>
                  </a:lnTo>
                  <a:lnTo>
                    <a:pt x="242" y="516"/>
                  </a:lnTo>
                  <a:lnTo>
                    <a:pt x="243" y="515"/>
                  </a:lnTo>
                  <a:lnTo>
                    <a:pt x="243" y="515"/>
                  </a:lnTo>
                  <a:lnTo>
                    <a:pt x="245" y="515"/>
                  </a:lnTo>
                  <a:lnTo>
                    <a:pt x="245" y="516"/>
                  </a:lnTo>
                  <a:lnTo>
                    <a:pt x="251" y="519"/>
                  </a:lnTo>
                  <a:lnTo>
                    <a:pt x="256" y="522"/>
                  </a:lnTo>
                  <a:lnTo>
                    <a:pt x="256" y="522"/>
                  </a:lnTo>
                  <a:lnTo>
                    <a:pt x="257" y="522"/>
                  </a:lnTo>
                  <a:lnTo>
                    <a:pt x="257" y="524"/>
                  </a:lnTo>
                  <a:lnTo>
                    <a:pt x="257" y="525"/>
                  </a:lnTo>
                  <a:lnTo>
                    <a:pt x="257" y="525"/>
                  </a:lnTo>
                  <a:lnTo>
                    <a:pt x="256" y="525"/>
                  </a:lnTo>
                  <a:lnTo>
                    <a:pt x="256" y="525"/>
                  </a:lnTo>
                  <a:lnTo>
                    <a:pt x="256" y="524"/>
                  </a:lnTo>
                  <a:lnTo>
                    <a:pt x="256" y="524"/>
                  </a:lnTo>
                  <a:lnTo>
                    <a:pt x="254" y="524"/>
                  </a:lnTo>
                  <a:lnTo>
                    <a:pt x="254" y="525"/>
                  </a:lnTo>
                  <a:lnTo>
                    <a:pt x="253" y="527"/>
                  </a:lnTo>
                  <a:lnTo>
                    <a:pt x="251" y="525"/>
                  </a:lnTo>
                  <a:lnTo>
                    <a:pt x="251" y="527"/>
                  </a:lnTo>
                  <a:lnTo>
                    <a:pt x="251" y="529"/>
                  </a:lnTo>
                  <a:lnTo>
                    <a:pt x="250" y="529"/>
                  </a:lnTo>
                  <a:lnTo>
                    <a:pt x="251" y="530"/>
                  </a:lnTo>
                  <a:lnTo>
                    <a:pt x="251" y="532"/>
                  </a:lnTo>
                  <a:lnTo>
                    <a:pt x="251" y="532"/>
                  </a:lnTo>
                  <a:lnTo>
                    <a:pt x="250" y="533"/>
                  </a:lnTo>
                  <a:lnTo>
                    <a:pt x="251" y="533"/>
                  </a:lnTo>
                  <a:lnTo>
                    <a:pt x="254" y="532"/>
                  </a:lnTo>
                  <a:lnTo>
                    <a:pt x="256" y="533"/>
                  </a:lnTo>
                  <a:lnTo>
                    <a:pt x="256" y="533"/>
                  </a:lnTo>
                  <a:lnTo>
                    <a:pt x="257" y="532"/>
                  </a:lnTo>
                  <a:lnTo>
                    <a:pt x="257" y="533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6" y="539"/>
                  </a:lnTo>
                  <a:lnTo>
                    <a:pt x="256" y="539"/>
                  </a:lnTo>
                  <a:lnTo>
                    <a:pt x="257" y="541"/>
                  </a:lnTo>
                  <a:lnTo>
                    <a:pt x="257" y="541"/>
                  </a:lnTo>
                  <a:lnTo>
                    <a:pt x="259" y="542"/>
                  </a:lnTo>
                  <a:lnTo>
                    <a:pt x="257" y="544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7" y="545"/>
                  </a:lnTo>
                  <a:lnTo>
                    <a:pt x="257" y="545"/>
                  </a:lnTo>
                  <a:lnTo>
                    <a:pt x="256" y="547"/>
                  </a:lnTo>
                  <a:lnTo>
                    <a:pt x="256" y="547"/>
                  </a:lnTo>
                  <a:lnTo>
                    <a:pt x="257" y="547"/>
                  </a:lnTo>
                  <a:lnTo>
                    <a:pt x="257" y="547"/>
                  </a:lnTo>
                  <a:lnTo>
                    <a:pt x="257" y="549"/>
                  </a:lnTo>
                  <a:lnTo>
                    <a:pt x="257" y="549"/>
                  </a:lnTo>
                  <a:lnTo>
                    <a:pt x="259" y="549"/>
                  </a:lnTo>
                  <a:lnTo>
                    <a:pt x="259" y="549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60" y="550"/>
                  </a:lnTo>
                  <a:lnTo>
                    <a:pt x="262" y="552"/>
                  </a:lnTo>
                  <a:lnTo>
                    <a:pt x="267" y="553"/>
                  </a:lnTo>
                  <a:lnTo>
                    <a:pt x="267" y="555"/>
                  </a:lnTo>
                  <a:lnTo>
                    <a:pt x="268" y="556"/>
                  </a:lnTo>
                  <a:lnTo>
                    <a:pt x="268" y="556"/>
                  </a:lnTo>
                  <a:lnTo>
                    <a:pt x="273" y="561"/>
                  </a:lnTo>
                  <a:lnTo>
                    <a:pt x="273" y="559"/>
                  </a:lnTo>
                  <a:lnTo>
                    <a:pt x="274" y="561"/>
                  </a:lnTo>
                  <a:lnTo>
                    <a:pt x="274" y="561"/>
                  </a:lnTo>
                  <a:lnTo>
                    <a:pt x="274" y="562"/>
                  </a:lnTo>
                  <a:lnTo>
                    <a:pt x="276" y="561"/>
                  </a:lnTo>
                  <a:lnTo>
                    <a:pt x="276" y="561"/>
                  </a:lnTo>
                  <a:lnTo>
                    <a:pt x="276" y="561"/>
                  </a:lnTo>
                  <a:lnTo>
                    <a:pt x="276" y="559"/>
                  </a:lnTo>
                  <a:lnTo>
                    <a:pt x="277" y="559"/>
                  </a:lnTo>
                  <a:lnTo>
                    <a:pt x="277" y="559"/>
                  </a:lnTo>
                  <a:lnTo>
                    <a:pt x="277" y="559"/>
                  </a:lnTo>
                  <a:lnTo>
                    <a:pt x="277" y="558"/>
                  </a:lnTo>
                  <a:lnTo>
                    <a:pt x="279" y="559"/>
                  </a:lnTo>
                  <a:lnTo>
                    <a:pt x="279" y="559"/>
                  </a:lnTo>
                  <a:lnTo>
                    <a:pt x="279" y="559"/>
                  </a:lnTo>
                  <a:lnTo>
                    <a:pt x="279" y="558"/>
                  </a:lnTo>
                  <a:lnTo>
                    <a:pt x="279" y="561"/>
                  </a:lnTo>
                  <a:lnTo>
                    <a:pt x="280" y="562"/>
                  </a:lnTo>
                  <a:lnTo>
                    <a:pt x="280" y="561"/>
                  </a:lnTo>
                  <a:lnTo>
                    <a:pt x="285" y="564"/>
                  </a:lnTo>
                  <a:lnTo>
                    <a:pt x="288" y="564"/>
                  </a:lnTo>
                  <a:lnTo>
                    <a:pt x="294" y="564"/>
                  </a:lnTo>
                  <a:lnTo>
                    <a:pt x="296" y="565"/>
                  </a:lnTo>
                  <a:lnTo>
                    <a:pt x="294" y="565"/>
                  </a:lnTo>
                  <a:lnTo>
                    <a:pt x="294" y="565"/>
                  </a:lnTo>
                  <a:lnTo>
                    <a:pt x="293" y="565"/>
                  </a:lnTo>
                  <a:lnTo>
                    <a:pt x="293" y="565"/>
                  </a:lnTo>
                  <a:lnTo>
                    <a:pt x="293" y="565"/>
                  </a:lnTo>
                  <a:lnTo>
                    <a:pt x="296" y="565"/>
                  </a:lnTo>
                  <a:lnTo>
                    <a:pt x="296" y="565"/>
                  </a:lnTo>
                  <a:lnTo>
                    <a:pt x="296" y="567"/>
                  </a:lnTo>
                  <a:lnTo>
                    <a:pt x="296" y="567"/>
                  </a:lnTo>
                  <a:lnTo>
                    <a:pt x="296" y="567"/>
                  </a:lnTo>
                  <a:lnTo>
                    <a:pt x="296" y="569"/>
                  </a:lnTo>
                  <a:lnTo>
                    <a:pt x="299" y="570"/>
                  </a:lnTo>
                  <a:lnTo>
                    <a:pt x="299" y="572"/>
                  </a:lnTo>
                  <a:lnTo>
                    <a:pt x="300" y="570"/>
                  </a:lnTo>
                  <a:lnTo>
                    <a:pt x="300" y="570"/>
                  </a:lnTo>
                  <a:lnTo>
                    <a:pt x="300" y="570"/>
                  </a:lnTo>
                  <a:lnTo>
                    <a:pt x="300" y="569"/>
                  </a:lnTo>
                  <a:lnTo>
                    <a:pt x="300" y="569"/>
                  </a:lnTo>
                  <a:lnTo>
                    <a:pt x="302" y="569"/>
                  </a:lnTo>
                  <a:lnTo>
                    <a:pt x="302" y="569"/>
                  </a:lnTo>
                  <a:lnTo>
                    <a:pt x="303" y="569"/>
                  </a:lnTo>
                  <a:lnTo>
                    <a:pt x="303" y="569"/>
                  </a:lnTo>
                  <a:lnTo>
                    <a:pt x="305" y="569"/>
                  </a:lnTo>
                  <a:lnTo>
                    <a:pt x="305" y="569"/>
                  </a:lnTo>
                  <a:lnTo>
                    <a:pt x="305" y="569"/>
                  </a:lnTo>
                  <a:lnTo>
                    <a:pt x="307" y="569"/>
                  </a:lnTo>
                  <a:lnTo>
                    <a:pt x="307" y="569"/>
                  </a:lnTo>
                  <a:lnTo>
                    <a:pt x="307" y="569"/>
                  </a:lnTo>
                  <a:lnTo>
                    <a:pt x="305" y="570"/>
                  </a:lnTo>
                  <a:lnTo>
                    <a:pt x="305" y="570"/>
                  </a:lnTo>
                  <a:lnTo>
                    <a:pt x="305" y="570"/>
                  </a:lnTo>
                  <a:lnTo>
                    <a:pt x="307" y="570"/>
                  </a:lnTo>
                  <a:lnTo>
                    <a:pt x="308" y="570"/>
                  </a:lnTo>
                  <a:lnTo>
                    <a:pt x="310" y="569"/>
                  </a:lnTo>
                  <a:lnTo>
                    <a:pt x="310" y="569"/>
                  </a:lnTo>
                  <a:lnTo>
                    <a:pt x="308" y="569"/>
                  </a:lnTo>
                  <a:lnTo>
                    <a:pt x="308" y="567"/>
                  </a:lnTo>
                  <a:lnTo>
                    <a:pt x="310" y="567"/>
                  </a:lnTo>
                  <a:lnTo>
                    <a:pt x="311" y="567"/>
                  </a:lnTo>
                  <a:lnTo>
                    <a:pt x="311" y="567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4" y="565"/>
                  </a:lnTo>
                  <a:lnTo>
                    <a:pt x="316" y="564"/>
                  </a:lnTo>
                  <a:lnTo>
                    <a:pt x="316" y="562"/>
                  </a:lnTo>
                  <a:lnTo>
                    <a:pt x="317" y="562"/>
                  </a:lnTo>
                  <a:lnTo>
                    <a:pt x="317" y="562"/>
                  </a:lnTo>
                  <a:lnTo>
                    <a:pt x="319" y="562"/>
                  </a:lnTo>
                  <a:lnTo>
                    <a:pt x="319" y="564"/>
                  </a:lnTo>
                  <a:lnTo>
                    <a:pt x="320" y="564"/>
                  </a:lnTo>
                  <a:lnTo>
                    <a:pt x="320" y="562"/>
                  </a:lnTo>
                  <a:lnTo>
                    <a:pt x="322" y="562"/>
                  </a:lnTo>
                  <a:lnTo>
                    <a:pt x="327" y="561"/>
                  </a:lnTo>
                  <a:lnTo>
                    <a:pt x="327" y="559"/>
                  </a:lnTo>
                  <a:lnTo>
                    <a:pt x="325" y="559"/>
                  </a:lnTo>
                  <a:lnTo>
                    <a:pt x="327" y="559"/>
                  </a:lnTo>
                  <a:lnTo>
                    <a:pt x="328" y="559"/>
                  </a:lnTo>
                  <a:lnTo>
                    <a:pt x="328" y="561"/>
                  </a:lnTo>
                  <a:lnTo>
                    <a:pt x="328" y="561"/>
                  </a:lnTo>
                  <a:lnTo>
                    <a:pt x="331" y="561"/>
                  </a:lnTo>
                  <a:lnTo>
                    <a:pt x="331" y="561"/>
                  </a:lnTo>
                  <a:lnTo>
                    <a:pt x="331" y="559"/>
                  </a:lnTo>
                  <a:lnTo>
                    <a:pt x="333" y="561"/>
                  </a:lnTo>
                  <a:lnTo>
                    <a:pt x="333" y="559"/>
                  </a:lnTo>
                  <a:lnTo>
                    <a:pt x="333" y="558"/>
                  </a:lnTo>
                  <a:lnTo>
                    <a:pt x="333" y="559"/>
                  </a:lnTo>
                  <a:lnTo>
                    <a:pt x="333" y="559"/>
                  </a:lnTo>
                  <a:lnTo>
                    <a:pt x="334" y="559"/>
                  </a:lnTo>
                  <a:lnTo>
                    <a:pt x="334" y="558"/>
                  </a:lnTo>
                  <a:lnTo>
                    <a:pt x="334" y="556"/>
                  </a:lnTo>
                  <a:lnTo>
                    <a:pt x="334" y="556"/>
                  </a:lnTo>
                  <a:lnTo>
                    <a:pt x="340" y="555"/>
                  </a:lnTo>
                  <a:lnTo>
                    <a:pt x="342" y="555"/>
                  </a:lnTo>
                  <a:lnTo>
                    <a:pt x="350" y="558"/>
                  </a:lnTo>
                  <a:lnTo>
                    <a:pt x="351" y="558"/>
                  </a:lnTo>
                  <a:lnTo>
                    <a:pt x="353" y="559"/>
                  </a:lnTo>
                  <a:lnTo>
                    <a:pt x="353" y="561"/>
                  </a:lnTo>
                  <a:lnTo>
                    <a:pt x="353" y="564"/>
                  </a:lnTo>
                  <a:lnTo>
                    <a:pt x="354" y="562"/>
                  </a:lnTo>
                  <a:lnTo>
                    <a:pt x="356" y="561"/>
                  </a:lnTo>
                  <a:lnTo>
                    <a:pt x="357" y="559"/>
                  </a:lnTo>
                  <a:lnTo>
                    <a:pt x="357" y="558"/>
                  </a:lnTo>
                  <a:lnTo>
                    <a:pt x="359" y="558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7" y="556"/>
                  </a:lnTo>
                  <a:lnTo>
                    <a:pt x="359" y="555"/>
                  </a:lnTo>
                  <a:lnTo>
                    <a:pt x="360" y="553"/>
                  </a:lnTo>
                  <a:lnTo>
                    <a:pt x="362" y="552"/>
                  </a:lnTo>
                  <a:lnTo>
                    <a:pt x="360" y="552"/>
                  </a:lnTo>
                  <a:lnTo>
                    <a:pt x="360" y="550"/>
                  </a:lnTo>
                  <a:lnTo>
                    <a:pt x="359" y="549"/>
                  </a:lnTo>
                  <a:lnTo>
                    <a:pt x="359" y="549"/>
                  </a:lnTo>
                  <a:lnTo>
                    <a:pt x="359" y="545"/>
                  </a:lnTo>
                  <a:lnTo>
                    <a:pt x="359" y="544"/>
                  </a:lnTo>
                  <a:lnTo>
                    <a:pt x="359" y="544"/>
                  </a:lnTo>
                  <a:lnTo>
                    <a:pt x="360" y="541"/>
                  </a:lnTo>
                  <a:lnTo>
                    <a:pt x="362" y="538"/>
                  </a:lnTo>
                  <a:lnTo>
                    <a:pt x="364" y="536"/>
                  </a:lnTo>
                  <a:lnTo>
                    <a:pt x="365" y="535"/>
                  </a:lnTo>
                  <a:lnTo>
                    <a:pt x="365" y="533"/>
                  </a:lnTo>
                  <a:lnTo>
                    <a:pt x="367" y="530"/>
                  </a:lnTo>
                  <a:lnTo>
                    <a:pt x="367" y="529"/>
                  </a:lnTo>
                  <a:lnTo>
                    <a:pt x="367" y="529"/>
                  </a:lnTo>
                  <a:lnTo>
                    <a:pt x="365" y="529"/>
                  </a:lnTo>
                  <a:lnTo>
                    <a:pt x="365" y="527"/>
                  </a:lnTo>
                  <a:lnTo>
                    <a:pt x="365" y="525"/>
                  </a:lnTo>
                  <a:lnTo>
                    <a:pt x="365" y="524"/>
                  </a:lnTo>
                  <a:lnTo>
                    <a:pt x="365" y="522"/>
                  </a:lnTo>
                  <a:lnTo>
                    <a:pt x="365" y="522"/>
                  </a:lnTo>
                  <a:lnTo>
                    <a:pt x="365" y="521"/>
                  </a:lnTo>
                  <a:lnTo>
                    <a:pt x="367" y="521"/>
                  </a:lnTo>
                  <a:lnTo>
                    <a:pt x="367" y="519"/>
                  </a:lnTo>
                  <a:lnTo>
                    <a:pt x="365" y="519"/>
                  </a:lnTo>
                  <a:lnTo>
                    <a:pt x="365" y="518"/>
                  </a:lnTo>
                  <a:lnTo>
                    <a:pt x="365" y="515"/>
                  </a:lnTo>
                  <a:lnTo>
                    <a:pt x="365" y="512"/>
                  </a:lnTo>
                  <a:lnTo>
                    <a:pt x="367" y="510"/>
                  </a:lnTo>
                  <a:lnTo>
                    <a:pt x="367" y="509"/>
                  </a:lnTo>
                  <a:lnTo>
                    <a:pt x="368" y="505"/>
                  </a:lnTo>
                  <a:lnTo>
                    <a:pt x="370" y="504"/>
                  </a:lnTo>
                  <a:lnTo>
                    <a:pt x="374" y="501"/>
                  </a:lnTo>
                  <a:lnTo>
                    <a:pt x="377" y="504"/>
                  </a:lnTo>
                  <a:lnTo>
                    <a:pt x="379" y="504"/>
                  </a:lnTo>
                  <a:lnTo>
                    <a:pt x="380" y="505"/>
                  </a:lnTo>
                  <a:lnTo>
                    <a:pt x="393" y="504"/>
                  </a:lnTo>
                  <a:lnTo>
                    <a:pt x="424" y="509"/>
                  </a:lnTo>
                  <a:lnTo>
                    <a:pt x="425" y="510"/>
                  </a:lnTo>
                  <a:lnTo>
                    <a:pt x="425" y="513"/>
                  </a:lnTo>
                  <a:lnTo>
                    <a:pt x="428" y="513"/>
                  </a:lnTo>
                  <a:lnTo>
                    <a:pt x="442" y="519"/>
                  </a:lnTo>
                  <a:lnTo>
                    <a:pt x="444" y="521"/>
                  </a:lnTo>
                  <a:lnTo>
                    <a:pt x="444" y="521"/>
                  </a:lnTo>
                  <a:lnTo>
                    <a:pt x="450" y="524"/>
                  </a:lnTo>
                  <a:lnTo>
                    <a:pt x="451" y="524"/>
                  </a:lnTo>
                  <a:lnTo>
                    <a:pt x="453" y="524"/>
                  </a:lnTo>
                  <a:lnTo>
                    <a:pt x="453" y="525"/>
                  </a:lnTo>
                  <a:lnTo>
                    <a:pt x="454" y="527"/>
                  </a:lnTo>
                  <a:lnTo>
                    <a:pt x="457" y="529"/>
                  </a:lnTo>
                  <a:lnTo>
                    <a:pt x="459" y="529"/>
                  </a:lnTo>
                  <a:lnTo>
                    <a:pt x="459" y="529"/>
                  </a:lnTo>
                  <a:lnTo>
                    <a:pt x="462" y="529"/>
                  </a:lnTo>
                  <a:lnTo>
                    <a:pt x="464" y="530"/>
                  </a:lnTo>
                  <a:lnTo>
                    <a:pt x="465" y="530"/>
                  </a:lnTo>
                  <a:lnTo>
                    <a:pt x="465" y="532"/>
                  </a:lnTo>
                  <a:lnTo>
                    <a:pt x="467" y="532"/>
                  </a:lnTo>
                  <a:lnTo>
                    <a:pt x="470" y="532"/>
                  </a:lnTo>
                  <a:lnTo>
                    <a:pt x="470" y="532"/>
                  </a:lnTo>
                  <a:lnTo>
                    <a:pt x="470" y="532"/>
                  </a:lnTo>
                  <a:lnTo>
                    <a:pt x="471" y="533"/>
                  </a:lnTo>
                  <a:lnTo>
                    <a:pt x="471" y="533"/>
                  </a:lnTo>
                  <a:lnTo>
                    <a:pt x="473" y="533"/>
                  </a:lnTo>
                  <a:lnTo>
                    <a:pt x="473" y="533"/>
                  </a:lnTo>
                  <a:lnTo>
                    <a:pt x="474" y="533"/>
                  </a:lnTo>
                  <a:lnTo>
                    <a:pt x="479" y="538"/>
                  </a:lnTo>
                  <a:lnTo>
                    <a:pt x="479" y="538"/>
                  </a:lnTo>
                  <a:lnTo>
                    <a:pt x="481" y="539"/>
                  </a:lnTo>
                  <a:lnTo>
                    <a:pt x="482" y="542"/>
                  </a:lnTo>
                  <a:lnTo>
                    <a:pt x="482" y="542"/>
                  </a:lnTo>
                  <a:lnTo>
                    <a:pt x="484" y="544"/>
                  </a:lnTo>
                  <a:lnTo>
                    <a:pt x="484" y="544"/>
                  </a:lnTo>
                  <a:lnTo>
                    <a:pt x="484" y="545"/>
                  </a:lnTo>
                  <a:lnTo>
                    <a:pt x="485" y="545"/>
                  </a:lnTo>
                  <a:lnTo>
                    <a:pt x="485" y="547"/>
                  </a:lnTo>
                  <a:lnTo>
                    <a:pt x="485" y="547"/>
                  </a:lnTo>
                  <a:lnTo>
                    <a:pt x="487" y="550"/>
                  </a:lnTo>
                  <a:lnTo>
                    <a:pt x="491" y="555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3" y="559"/>
                  </a:lnTo>
                  <a:lnTo>
                    <a:pt x="493" y="561"/>
                  </a:lnTo>
                  <a:lnTo>
                    <a:pt x="494" y="561"/>
                  </a:lnTo>
                  <a:lnTo>
                    <a:pt x="494" y="562"/>
                  </a:lnTo>
                  <a:lnTo>
                    <a:pt x="496" y="562"/>
                  </a:lnTo>
                  <a:lnTo>
                    <a:pt x="499" y="567"/>
                  </a:lnTo>
                  <a:lnTo>
                    <a:pt x="501" y="567"/>
                  </a:lnTo>
                  <a:lnTo>
                    <a:pt x="502" y="569"/>
                  </a:lnTo>
                  <a:lnTo>
                    <a:pt x="504" y="569"/>
                  </a:lnTo>
                  <a:lnTo>
                    <a:pt x="504" y="570"/>
                  </a:lnTo>
                  <a:lnTo>
                    <a:pt x="505" y="570"/>
                  </a:lnTo>
                  <a:lnTo>
                    <a:pt x="510" y="573"/>
                  </a:lnTo>
                  <a:lnTo>
                    <a:pt x="511" y="575"/>
                  </a:lnTo>
                  <a:lnTo>
                    <a:pt x="514" y="575"/>
                  </a:lnTo>
                  <a:lnTo>
                    <a:pt x="514" y="575"/>
                  </a:lnTo>
                  <a:lnTo>
                    <a:pt x="519" y="578"/>
                  </a:lnTo>
                  <a:lnTo>
                    <a:pt x="522" y="579"/>
                  </a:lnTo>
                  <a:lnTo>
                    <a:pt x="528" y="581"/>
                  </a:lnTo>
                  <a:lnTo>
                    <a:pt x="531" y="581"/>
                  </a:lnTo>
                  <a:lnTo>
                    <a:pt x="536" y="578"/>
                  </a:lnTo>
                  <a:lnTo>
                    <a:pt x="536" y="576"/>
                  </a:lnTo>
                  <a:lnTo>
                    <a:pt x="538" y="576"/>
                  </a:lnTo>
                  <a:lnTo>
                    <a:pt x="542" y="573"/>
                  </a:lnTo>
                  <a:lnTo>
                    <a:pt x="544" y="573"/>
                  </a:lnTo>
                  <a:lnTo>
                    <a:pt x="548" y="575"/>
                  </a:lnTo>
                  <a:lnTo>
                    <a:pt x="551" y="575"/>
                  </a:lnTo>
                  <a:lnTo>
                    <a:pt x="551" y="575"/>
                  </a:lnTo>
                  <a:lnTo>
                    <a:pt x="553" y="575"/>
                  </a:lnTo>
                  <a:lnTo>
                    <a:pt x="553" y="575"/>
                  </a:lnTo>
                  <a:lnTo>
                    <a:pt x="553" y="575"/>
                  </a:lnTo>
                  <a:lnTo>
                    <a:pt x="555" y="575"/>
                  </a:lnTo>
                  <a:lnTo>
                    <a:pt x="555" y="573"/>
                  </a:lnTo>
                  <a:lnTo>
                    <a:pt x="556" y="572"/>
                  </a:lnTo>
                  <a:lnTo>
                    <a:pt x="556" y="572"/>
                  </a:lnTo>
                  <a:lnTo>
                    <a:pt x="558" y="570"/>
                  </a:lnTo>
                  <a:lnTo>
                    <a:pt x="559" y="570"/>
                  </a:lnTo>
                  <a:lnTo>
                    <a:pt x="561" y="572"/>
                  </a:lnTo>
                  <a:lnTo>
                    <a:pt x="561" y="572"/>
                  </a:lnTo>
                  <a:lnTo>
                    <a:pt x="562" y="572"/>
                  </a:lnTo>
                  <a:lnTo>
                    <a:pt x="564" y="572"/>
                  </a:lnTo>
                  <a:lnTo>
                    <a:pt x="568" y="572"/>
                  </a:lnTo>
                  <a:lnTo>
                    <a:pt x="570" y="572"/>
                  </a:lnTo>
                  <a:lnTo>
                    <a:pt x="571" y="569"/>
                  </a:lnTo>
                  <a:lnTo>
                    <a:pt x="573" y="570"/>
                  </a:lnTo>
                  <a:lnTo>
                    <a:pt x="575" y="570"/>
                  </a:lnTo>
                  <a:lnTo>
                    <a:pt x="576" y="570"/>
                  </a:lnTo>
                  <a:lnTo>
                    <a:pt x="579" y="569"/>
                  </a:lnTo>
                  <a:lnTo>
                    <a:pt x="581" y="569"/>
                  </a:lnTo>
                  <a:lnTo>
                    <a:pt x="582" y="569"/>
                  </a:lnTo>
                  <a:lnTo>
                    <a:pt x="585" y="570"/>
                  </a:lnTo>
                  <a:lnTo>
                    <a:pt x="587" y="570"/>
                  </a:lnTo>
                  <a:lnTo>
                    <a:pt x="587" y="570"/>
                  </a:lnTo>
                  <a:lnTo>
                    <a:pt x="585" y="572"/>
                  </a:lnTo>
                  <a:lnTo>
                    <a:pt x="587" y="572"/>
                  </a:lnTo>
                  <a:lnTo>
                    <a:pt x="588" y="570"/>
                  </a:lnTo>
                  <a:lnTo>
                    <a:pt x="591" y="567"/>
                  </a:lnTo>
                  <a:lnTo>
                    <a:pt x="593" y="565"/>
                  </a:lnTo>
                  <a:lnTo>
                    <a:pt x="593" y="565"/>
                  </a:lnTo>
                  <a:lnTo>
                    <a:pt x="595" y="565"/>
                  </a:lnTo>
                  <a:lnTo>
                    <a:pt x="595" y="565"/>
                  </a:lnTo>
                  <a:lnTo>
                    <a:pt x="596" y="567"/>
                  </a:lnTo>
                  <a:lnTo>
                    <a:pt x="598" y="570"/>
                  </a:lnTo>
                  <a:lnTo>
                    <a:pt x="598" y="570"/>
                  </a:lnTo>
                  <a:lnTo>
                    <a:pt x="598" y="570"/>
                  </a:lnTo>
                  <a:lnTo>
                    <a:pt x="599" y="567"/>
                  </a:lnTo>
                  <a:lnTo>
                    <a:pt x="599" y="567"/>
                  </a:lnTo>
                  <a:lnTo>
                    <a:pt x="601" y="564"/>
                  </a:lnTo>
                  <a:lnTo>
                    <a:pt x="602" y="564"/>
                  </a:lnTo>
                  <a:lnTo>
                    <a:pt x="604" y="562"/>
                  </a:lnTo>
                  <a:lnTo>
                    <a:pt x="605" y="562"/>
                  </a:lnTo>
                  <a:lnTo>
                    <a:pt x="605" y="562"/>
                  </a:lnTo>
                  <a:lnTo>
                    <a:pt x="607" y="559"/>
                  </a:lnTo>
                  <a:lnTo>
                    <a:pt x="608" y="559"/>
                  </a:lnTo>
                  <a:lnTo>
                    <a:pt x="607" y="559"/>
                  </a:lnTo>
                  <a:lnTo>
                    <a:pt x="607" y="559"/>
                  </a:lnTo>
                  <a:lnTo>
                    <a:pt x="607" y="558"/>
                  </a:lnTo>
                  <a:lnTo>
                    <a:pt x="608" y="558"/>
                  </a:lnTo>
                  <a:lnTo>
                    <a:pt x="608" y="558"/>
                  </a:lnTo>
                  <a:lnTo>
                    <a:pt x="610" y="555"/>
                  </a:lnTo>
                  <a:lnTo>
                    <a:pt x="612" y="555"/>
                  </a:lnTo>
                  <a:lnTo>
                    <a:pt x="612" y="555"/>
                  </a:lnTo>
                  <a:lnTo>
                    <a:pt x="613" y="555"/>
                  </a:lnTo>
                  <a:lnTo>
                    <a:pt x="615" y="555"/>
                  </a:lnTo>
                  <a:lnTo>
                    <a:pt x="616" y="556"/>
                  </a:lnTo>
                  <a:lnTo>
                    <a:pt x="616" y="559"/>
                  </a:lnTo>
                  <a:lnTo>
                    <a:pt x="618" y="561"/>
                  </a:lnTo>
                  <a:lnTo>
                    <a:pt x="616" y="562"/>
                  </a:lnTo>
                  <a:lnTo>
                    <a:pt x="616" y="564"/>
                  </a:lnTo>
                  <a:lnTo>
                    <a:pt x="618" y="564"/>
                  </a:lnTo>
                  <a:lnTo>
                    <a:pt x="618" y="562"/>
                  </a:lnTo>
                  <a:lnTo>
                    <a:pt x="618" y="562"/>
                  </a:lnTo>
                  <a:lnTo>
                    <a:pt x="619" y="561"/>
                  </a:lnTo>
                  <a:lnTo>
                    <a:pt x="619" y="559"/>
                  </a:lnTo>
                  <a:lnTo>
                    <a:pt x="621" y="558"/>
                  </a:lnTo>
                  <a:lnTo>
                    <a:pt x="621" y="556"/>
                  </a:lnTo>
                  <a:lnTo>
                    <a:pt x="621" y="558"/>
                  </a:lnTo>
                  <a:lnTo>
                    <a:pt x="621" y="558"/>
                  </a:lnTo>
                  <a:lnTo>
                    <a:pt x="621" y="555"/>
                  </a:lnTo>
                  <a:lnTo>
                    <a:pt x="622" y="555"/>
                  </a:lnTo>
                  <a:lnTo>
                    <a:pt x="625" y="555"/>
                  </a:lnTo>
                  <a:lnTo>
                    <a:pt x="627" y="553"/>
                  </a:lnTo>
                  <a:lnTo>
                    <a:pt x="627" y="550"/>
                  </a:lnTo>
                  <a:lnTo>
                    <a:pt x="627" y="547"/>
                  </a:lnTo>
                  <a:lnTo>
                    <a:pt x="627" y="545"/>
                  </a:lnTo>
                  <a:lnTo>
                    <a:pt x="628" y="544"/>
                  </a:lnTo>
                  <a:lnTo>
                    <a:pt x="632" y="541"/>
                  </a:lnTo>
                  <a:lnTo>
                    <a:pt x="633" y="541"/>
                  </a:lnTo>
                  <a:lnTo>
                    <a:pt x="635" y="539"/>
                  </a:lnTo>
                  <a:lnTo>
                    <a:pt x="635" y="539"/>
                  </a:lnTo>
                  <a:lnTo>
                    <a:pt x="635" y="538"/>
                  </a:lnTo>
                  <a:lnTo>
                    <a:pt x="641" y="529"/>
                  </a:lnTo>
                  <a:lnTo>
                    <a:pt x="644" y="527"/>
                  </a:lnTo>
                  <a:lnTo>
                    <a:pt x="652" y="522"/>
                  </a:lnTo>
                  <a:lnTo>
                    <a:pt x="658" y="516"/>
                  </a:lnTo>
                  <a:lnTo>
                    <a:pt x="661" y="515"/>
                  </a:lnTo>
                  <a:lnTo>
                    <a:pt x="661" y="515"/>
                  </a:lnTo>
                  <a:lnTo>
                    <a:pt x="662" y="513"/>
                  </a:lnTo>
                  <a:lnTo>
                    <a:pt x="662" y="513"/>
                  </a:lnTo>
                  <a:lnTo>
                    <a:pt x="664" y="512"/>
                  </a:lnTo>
                  <a:lnTo>
                    <a:pt x="665" y="510"/>
                  </a:lnTo>
                  <a:lnTo>
                    <a:pt x="667" y="510"/>
                  </a:lnTo>
                  <a:lnTo>
                    <a:pt x="673" y="509"/>
                  </a:lnTo>
                  <a:lnTo>
                    <a:pt x="676" y="507"/>
                  </a:lnTo>
                  <a:lnTo>
                    <a:pt x="678" y="509"/>
                  </a:lnTo>
                  <a:lnTo>
                    <a:pt x="678" y="509"/>
                  </a:lnTo>
                  <a:lnTo>
                    <a:pt x="684" y="512"/>
                  </a:lnTo>
                  <a:lnTo>
                    <a:pt x="687" y="515"/>
                  </a:lnTo>
                  <a:lnTo>
                    <a:pt x="689" y="515"/>
                  </a:lnTo>
                  <a:lnTo>
                    <a:pt x="689" y="516"/>
                  </a:lnTo>
                  <a:lnTo>
                    <a:pt x="689" y="516"/>
                  </a:lnTo>
                  <a:lnTo>
                    <a:pt x="689" y="516"/>
                  </a:lnTo>
                  <a:lnTo>
                    <a:pt x="690" y="516"/>
                  </a:lnTo>
                  <a:lnTo>
                    <a:pt x="690" y="516"/>
                  </a:lnTo>
                  <a:lnTo>
                    <a:pt x="692" y="516"/>
                  </a:lnTo>
                  <a:lnTo>
                    <a:pt x="693" y="516"/>
                  </a:lnTo>
                  <a:lnTo>
                    <a:pt x="695" y="516"/>
                  </a:lnTo>
                  <a:lnTo>
                    <a:pt x="696" y="518"/>
                  </a:lnTo>
                  <a:lnTo>
                    <a:pt x="698" y="519"/>
                  </a:lnTo>
                  <a:lnTo>
                    <a:pt x="718" y="530"/>
                  </a:lnTo>
                  <a:lnTo>
                    <a:pt x="718" y="530"/>
                  </a:lnTo>
                  <a:lnTo>
                    <a:pt x="719" y="532"/>
                  </a:lnTo>
                  <a:lnTo>
                    <a:pt x="721" y="533"/>
                  </a:lnTo>
                  <a:lnTo>
                    <a:pt x="721" y="533"/>
                  </a:lnTo>
                  <a:lnTo>
                    <a:pt x="721" y="533"/>
                  </a:lnTo>
                  <a:lnTo>
                    <a:pt x="724" y="532"/>
                  </a:lnTo>
                  <a:lnTo>
                    <a:pt x="725" y="532"/>
                  </a:lnTo>
                  <a:lnTo>
                    <a:pt x="725" y="530"/>
                  </a:lnTo>
                  <a:lnTo>
                    <a:pt x="725" y="530"/>
                  </a:lnTo>
                  <a:lnTo>
                    <a:pt x="725" y="530"/>
                  </a:lnTo>
                  <a:lnTo>
                    <a:pt x="729" y="529"/>
                  </a:lnTo>
                  <a:lnTo>
                    <a:pt x="729" y="529"/>
                  </a:lnTo>
                  <a:lnTo>
                    <a:pt x="732" y="529"/>
                  </a:lnTo>
                  <a:lnTo>
                    <a:pt x="735" y="530"/>
                  </a:lnTo>
                  <a:lnTo>
                    <a:pt x="732" y="529"/>
                  </a:lnTo>
                  <a:lnTo>
                    <a:pt x="732" y="529"/>
                  </a:lnTo>
                  <a:lnTo>
                    <a:pt x="732" y="529"/>
                  </a:lnTo>
                  <a:lnTo>
                    <a:pt x="732" y="527"/>
                  </a:lnTo>
                  <a:lnTo>
                    <a:pt x="732" y="527"/>
                  </a:lnTo>
                  <a:lnTo>
                    <a:pt x="733" y="527"/>
                  </a:lnTo>
                  <a:lnTo>
                    <a:pt x="733" y="527"/>
                  </a:lnTo>
                  <a:lnTo>
                    <a:pt x="736" y="529"/>
                  </a:lnTo>
                  <a:lnTo>
                    <a:pt x="736" y="529"/>
                  </a:lnTo>
                  <a:lnTo>
                    <a:pt x="739" y="529"/>
                  </a:lnTo>
                  <a:lnTo>
                    <a:pt x="739" y="529"/>
                  </a:lnTo>
                  <a:lnTo>
                    <a:pt x="741" y="529"/>
                  </a:lnTo>
                  <a:lnTo>
                    <a:pt x="742" y="527"/>
                  </a:lnTo>
                  <a:lnTo>
                    <a:pt x="742" y="527"/>
                  </a:lnTo>
                  <a:lnTo>
                    <a:pt x="742" y="525"/>
                  </a:lnTo>
                  <a:lnTo>
                    <a:pt x="742" y="525"/>
                  </a:lnTo>
                  <a:lnTo>
                    <a:pt x="742" y="524"/>
                  </a:lnTo>
                  <a:lnTo>
                    <a:pt x="744" y="524"/>
                  </a:lnTo>
                  <a:lnTo>
                    <a:pt x="744" y="522"/>
                  </a:lnTo>
                  <a:lnTo>
                    <a:pt x="744" y="521"/>
                  </a:lnTo>
                  <a:lnTo>
                    <a:pt x="747" y="518"/>
                  </a:lnTo>
                  <a:lnTo>
                    <a:pt x="746" y="518"/>
                  </a:lnTo>
                  <a:lnTo>
                    <a:pt x="746" y="519"/>
                  </a:lnTo>
                  <a:lnTo>
                    <a:pt x="741" y="522"/>
                  </a:lnTo>
                  <a:lnTo>
                    <a:pt x="741" y="524"/>
                  </a:lnTo>
                  <a:lnTo>
                    <a:pt x="741" y="522"/>
                  </a:lnTo>
                  <a:lnTo>
                    <a:pt x="742" y="521"/>
                  </a:lnTo>
                  <a:lnTo>
                    <a:pt x="744" y="519"/>
                  </a:lnTo>
                  <a:lnTo>
                    <a:pt x="749" y="516"/>
                  </a:lnTo>
                  <a:lnTo>
                    <a:pt x="747" y="516"/>
                  </a:lnTo>
                  <a:lnTo>
                    <a:pt x="747" y="516"/>
                  </a:lnTo>
                  <a:lnTo>
                    <a:pt x="746" y="518"/>
                  </a:lnTo>
                  <a:lnTo>
                    <a:pt x="746" y="518"/>
                  </a:lnTo>
                  <a:lnTo>
                    <a:pt x="744" y="518"/>
                  </a:lnTo>
                  <a:lnTo>
                    <a:pt x="744" y="516"/>
                  </a:lnTo>
                  <a:lnTo>
                    <a:pt x="744" y="516"/>
                  </a:lnTo>
                  <a:lnTo>
                    <a:pt x="742" y="516"/>
                  </a:lnTo>
                  <a:lnTo>
                    <a:pt x="742" y="516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2" y="519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1" y="518"/>
                  </a:lnTo>
                  <a:lnTo>
                    <a:pt x="741" y="519"/>
                  </a:lnTo>
                  <a:lnTo>
                    <a:pt x="739" y="518"/>
                  </a:lnTo>
                  <a:lnTo>
                    <a:pt x="738" y="519"/>
                  </a:lnTo>
                  <a:lnTo>
                    <a:pt x="738" y="519"/>
                  </a:lnTo>
                  <a:lnTo>
                    <a:pt x="739" y="518"/>
                  </a:lnTo>
                  <a:lnTo>
                    <a:pt x="739" y="516"/>
                  </a:lnTo>
                  <a:lnTo>
                    <a:pt x="741" y="515"/>
                  </a:lnTo>
                  <a:lnTo>
                    <a:pt x="741" y="515"/>
                  </a:lnTo>
                  <a:lnTo>
                    <a:pt x="741" y="516"/>
                  </a:lnTo>
                  <a:lnTo>
                    <a:pt x="741" y="516"/>
                  </a:lnTo>
                  <a:lnTo>
                    <a:pt x="741" y="516"/>
                  </a:lnTo>
                  <a:lnTo>
                    <a:pt x="742" y="516"/>
                  </a:lnTo>
                  <a:lnTo>
                    <a:pt x="742" y="515"/>
                  </a:lnTo>
                  <a:lnTo>
                    <a:pt x="744" y="513"/>
                  </a:lnTo>
                  <a:lnTo>
                    <a:pt x="746" y="513"/>
                  </a:lnTo>
                  <a:lnTo>
                    <a:pt x="753" y="513"/>
                  </a:lnTo>
                  <a:lnTo>
                    <a:pt x="755" y="512"/>
                  </a:lnTo>
                  <a:lnTo>
                    <a:pt x="756" y="510"/>
                  </a:lnTo>
                  <a:lnTo>
                    <a:pt x="759" y="509"/>
                  </a:lnTo>
                  <a:lnTo>
                    <a:pt x="759" y="507"/>
                  </a:lnTo>
                  <a:lnTo>
                    <a:pt x="761" y="507"/>
                  </a:lnTo>
                  <a:lnTo>
                    <a:pt x="762" y="505"/>
                  </a:lnTo>
                  <a:lnTo>
                    <a:pt x="766" y="501"/>
                  </a:lnTo>
                  <a:lnTo>
                    <a:pt x="769" y="499"/>
                  </a:lnTo>
                  <a:lnTo>
                    <a:pt x="772" y="498"/>
                  </a:lnTo>
                  <a:lnTo>
                    <a:pt x="775" y="498"/>
                  </a:lnTo>
                  <a:lnTo>
                    <a:pt x="776" y="501"/>
                  </a:lnTo>
                  <a:lnTo>
                    <a:pt x="779" y="502"/>
                  </a:lnTo>
                  <a:lnTo>
                    <a:pt x="784" y="509"/>
                  </a:lnTo>
                  <a:lnTo>
                    <a:pt x="784" y="512"/>
                  </a:lnTo>
                  <a:lnTo>
                    <a:pt x="786" y="512"/>
                  </a:lnTo>
                  <a:lnTo>
                    <a:pt x="786" y="518"/>
                  </a:lnTo>
                  <a:lnTo>
                    <a:pt x="786" y="519"/>
                  </a:lnTo>
                  <a:lnTo>
                    <a:pt x="786" y="519"/>
                  </a:lnTo>
                  <a:lnTo>
                    <a:pt x="786" y="521"/>
                  </a:lnTo>
                  <a:lnTo>
                    <a:pt x="786" y="521"/>
                  </a:lnTo>
                  <a:lnTo>
                    <a:pt x="786" y="522"/>
                  </a:lnTo>
                  <a:lnTo>
                    <a:pt x="786" y="524"/>
                  </a:lnTo>
                  <a:lnTo>
                    <a:pt x="784" y="525"/>
                  </a:lnTo>
                  <a:lnTo>
                    <a:pt x="784" y="527"/>
                  </a:lnTo>
                  <a:lnTo>
                    <a:pt x="782" y="529"/>
                  </a:lnTo>
                  <a:lnTo>
                    <a:pt x="782" y="529"/>
                  </a:lnTo>
                  <a:lnTo>
                    <a:pt x="773" y="533"/>
                  </a:lnTo>
                  <a:lnTo>
                    <a:pt x="773" y="533"/>
                  </a:lnTo>
                  <a:lnTo>
                    <a:pt x="773" y="535"/>
                  </a:lnTo>
                  <a:lnTo>
                    <a:pt x="769" y="539"/>
                  </a:lnTo>
                  <a:lnTo>
                    <a:pt x="769" y="539"/>
                  </a:lnTo>
                  <a:lnTo>
                    <a:pt x="766" y="541"/>
                  </a:lnTo>
                  <a:lnTo>
                    <a:pt x="766" y="541"/>
                  </a:lnTo>
                  <a:lnTo>
                    <a:pt x="764" y="541"/>
                  </a:lnTo>
                  <a:lnTo>
                    <a:pt x="764" y="542"/>
                  </a:lnTo>
                  <a:lnTo>
                    <a:pt x="764" y="544"/>
                  </a:lnTo>
                  <a:lnTo>
                    <a:pt x="762" y="544"/>
                  </a:lnTo>
                  <a:lnTo>
                    <a:pt x="762" y="545"/>
                  </a:lnTo>
                  <a:lnTo>
                    <a:pt x="761" y="545"/>
                  </a:lnTo>
                  <a:lnTo>
                    <a:pt x="761" y="547"/>
                  </a:lnTo>
                  <a:lnTo>
                    <a:pt x="759" y="549"/>
                  </a:lnTo>
                  <a:lnTo>
                    <a:pt x="759" y="549"/>
                  </a:lnTo>
                  <a:lnTo>
                    <a:pt x="758" y="549"/>
                  </a:lnTo>
                  <a:lnTo>
                    <a:pt x="758" y="550"/>
                  </a:lnTo>
                  <a:lnTo>
                    <a:pt x="756" y="550"/>
                  </a:lnTo>
                  <a:lnTo>
                    <a:pt x="756" y="550"/>
                  </a:lnTo>
                  <a:lnTo>
                    <a:pt x="755" y="553"/>
                  </a:lnTo>
                  <a:lnTo>
                    <a:pt x="753" y="555"/>
                  </a:lnTo>
                  <a:lnTo>
                    <a:pt x="755" y="558"/>
                  </a:lnTo>
                  <a:lnTo>
                    <a:pt x="756" y="558"/>
                  </a:lnTo>
                  <a:lnTo>
                    <a:pt x="756" y="559"/>
                  </a:lnTo>
                  <a:lnTo>
                    <a:pt x="758" y="561"/>
                  </a:lnTo>
                  <a:lnTo>
                    <a:pt x="759" y="564"/>
                  </a:lnTo>
                  <a:lnTo>
                    <a:pt x="759" y="565"/>
                  </a:lnTo>
                  <a:lnTo>
                    <a:pt x="761" y="567"/>
                  </a:lnTo>
                  <a:lnTo>
                    <a:pt x="766" y="575"/>
                  </a:lnTo>
                  <a:lnTo>
                    <a:pt x="769" y="581"/>
                  </a:lnTo>
                  <a:lnTo>
                    <a:pt x="769" y="582"/>
                  </a:lnTo>
                  <a:lnTo>
                    <a:pt x="767" y="584"/>
                  </a:lnTo>
                  <a:lnTo>
                    <a:pt x="764" y="589"/>
                  </a:lnTo>
                  <a:lnTo>
                    <a:pt x="762" y="590"/>
                  </a:lnTo>
                  <a:lnTo>
                    <a:pt x="762" y="590"/>
                  </a:lnTo>
                  <a:lnTo>
                    <a:pt x="764" y="590"/>
                  </a:lnTo>
                  <a:lnTo>
                    <a:pt x="766" y="590"/>
                  </a:lnTo>
                  <a:lnTo>
                    <a:pt x="767" y="590"/>
                  </a:lnTo>
                  <a:lnTo>
                    <a:pt x="769" y="590"/>
                  </a:lnTo>
                  <a:lnTo>
                    <a:pt x="769" y="590"/>
                  </a:lnTo>
                  <a:lnTo>
                    <a:pt x="769" y="592"/>
                  </a:lnTo>
                  <a:lnTo>
                    <a:pt x="769" y="593"/>
                  </a:lnTo>
                  <a:lnTo>
                    <a:pt x="769" y="595"/>
                  </a:lnTo>
                  <a:lnTo>
                    <a:pt x="770" y="595"/>
                  </a:lnTo>
                  <a:lnTo>
                    <a:pt x="772" y="595"/>
                  </a:lnTo>
                  <a:lnTo>
                    <a:pt x="773" y="595"/>
                  </a:lnTo>
                  <a:lnTo>
                    <a:pt x="776" y="596"/>
                  </a:lnTo>
                  <a:lnTo>
                    <a:pt x="779" y="599"/>
                  </a:lnTo>
                  <a:lnTo>
                    <a:pt x="781" y="599"/>
                  </a:lnTo>
                  <a:lnTo>
                    <a:pt x="781" y="599"/>
                  </a:lnTo>
                  <a:lnTo>
                    <a:pt x="782" y="596"/>
                  </a:lnTo>
                  <a:lnTo>
                    <a:pt x="782" y="590"/>
                  </a:lnTo>
                  <a:lnTo>
                    <a:pt x="784" y="587"/>
                  </a:lnTo>
                  <a:lnTo>
                    <a:pt x="787" y="587"/>
                  </a:lnTo>
                  <a:lnTo>
                    <a:pt x="789" y="587"/>
                  </a:lnTo>
                  <a:lnTo>
                    <a:pt x="790" y="587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2" y="582"/>
                  </a:lnTo>
                  <a:lnTo>
                    <a:pt x="795" y="584"/>
                  </a:lnTo>
                  <a:lnTo>
                    <a:pt x="796" y="584"/>
                  </a:lnTo>
                  <a:lnTo>
                    <a:pt x="796" y="581"/>
                  </a:lnTo>
                  <a:lnTo>
                    <a:pt x="796" y="567"/>
                  </a:lnTo>
                  <a:lnTo>
                    <a:pt x="796" y="567"/>
                  </a:lnTo>
                  <a:lnTo>
                    <a:pt x="796" y="565"/>
                  </a:lnTo>
                  <a:lnTo>
                    <a:pt x="798" y="565"/>
                  </a:lnTo>
                  <a:lnTo>
                    <a:pt x="798" y="564"/>
                  </a:lnTo>
                  <a:lnTo>
                    <a:pt x="796" y="562"/>
                  </a:lnTo>
                  <a:lnTo>
                    <a:pt x="798" y="562"/>
                  </a:lnTo>
                  <a:lnTo>
                    <a:pt x="798" y="564"/>
                  </a:lnTo>
                  <a:lnTo>
                    <a:pt x="799" y="564"/>
                  </a:lnTo>
                  <a:lnTo>
                    <a:pt x="801" y="564"/>
                  </a:lnTo>
                  <a:lnTo>
                    <a:pt x="802" y="564"/>
                  </a:lnTo>
                  <a:lnTo>
                    <a:pt x="802" y="565"/>
                  </a:lnTo>
                  <a:lnTo>
                    <a:pt x="804" y="565"/>
                  </a:lnTo>
                  <a:lnTo>
                    <a:pt x="804" y="564"/>
                  </a:lnTo>
                  <a:lnTo>
                    <a:pt x="804" y="564"/>
                  </a:lnTo>
                  <a:lnTo>
                    <a:pt x="804" y="564"/>
                  </a:lnTo>
                  <a:lnTo>
                    <a:pt x="804" y="562"/>
                  </a:lnTo>
                  <a:lnTo>
                    <a:pt x="806" y="562"/>
                  </a:lnTo>
                  <a:lnTo>
                    <a:pt x="807" y="562"/>
                  </a:lnTo>
                  <a:lnTo>
                    <a:pt x="813" y="562"/>
                  </a:lnTo>
                  <a:lnTo>
                    <a:pt x="813" y="562"/>
                  </a:lnTo>
                  <a:lnTo>
                    <a:pt x="819" y="562"/>
                  </a:lnTo>
                  <a:lnTo>
                    <a:pt x="819" y="561"/>
                  </a:lnTo>
                  <a:lnTo>
                    <a:pt x="819" y="559"/>
                  </a:lnTo>
                  <a:lnTo>
                    <a:pt x="819" y="558"/>
                  </a:lnTo>
                  <a:lnTo>
                    <a:pt x="819" y="556"/>
                  </a:lnTo>
                  <a:lnTo>
                    <a:pt x="818" y="555"/>
                  </a:lnTo>
                  <a:lnTo>
                    <a:pt x="818" y="555"/>
                  </a:lnTo>
                  <a:lnTo>
                    <a:pt x="818" y="555"/>
                  </a:lnTo>
                  <a:lnTo>
                    <a:pt x="816" y="553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2"/>
                  </a:lnTo>
                  <a:lnTo>
                    <a:pt x="813" y="550"/>
                  </a:lnTo>
                  <a:lnTo>
                    <a:pt x="813" y="550"/>
                  </a:lnTo>
                  <a:lnTo>
                    <a:pt x="813" y="549"/>
                  </a:lnTo>
                  <a:lnTo>
                    <a:pt x="813" y="549"/>
                  </a:lnTo>
                  <a:lnTo>
                    <a:pt x="813" y="547"/>
                  </a:lnTo>
                  <a:lnTo>
                    <a:pt x="813" y="547"/>
                  </a:lnTo>
                  <a:lnTo>
                    <a:pt x="812" y="547"/>
                  </a:lnTo>
                  <a:lnTo>
                    <a:pt x="812" y="547"/>
                  </a:lnTo>
                  <a:lnTo>
                    <a:pt x="810" y="545"/>
                  </a:lnTo>
                  <a:lnTo>
                    <a:pt x="810" y="541"/>
                  </a:lnTo>
                  <a:lnTo>
                    <a:pt x="809" y="539"/>
                  </a:lnTo>
                  <a:lnTo>
                    <a:pt x="810" y="538"/>
                  </a:lnTo>
                  <a:lnTo>
                    <a:pt x="812" y="535"/>
                  </a:lnTo>
                  <a:lnTo>
                    <a:pt x="812" y="530"/>
                  </a:lnTo>
                  <a:lnTo>
                    <a:pt x="812" y="525"/>
                  </a:lnTo>
                  <a:lnTo>
                    <a:pt x="813" y="522"/>
                  </a:lnTo>
                  <a:lnTo>
                    <a:pt x="815" y="519"/>
                  </a:lnTo>
                  <a:lnTo>
                    <a:pt x="815" y="518"/>
                  </a:lnTo>
                  <a:lnTo>
                    <a:pt x="815" y="516"/>
                  </a:lnTo>
                  <a:lnTo>
                    <a:pt x="815" y="515"/>
                  </a:lnTo>
                  <a:lnTo>
                    <a:pt x="816" y="513"/>
                  </a:lnTo>
                  <a:lnTo>
                    <a:pt x="816" y="512"/>
                  </a:lnTo>
                  <a:lnTo>
                    <a:pt x="818" y="509"/>
                  </a:lnTo>
                  <a:lnTo>
                    <a:pt x="818" y="507"/>
                  </a:lnTo>
                  <a:lnTo>
                    <a:pt x="818" y="507"/>
                  </a:lnTo>
                  <a:lnTo>
                    <a:pt x="819" y="507"/>
                  </a:lnTo>
                  <a:lnTo>
                    <a:pt x="819" y="507"/>
                  </a:lnTo>
                  <a:lnTo>
                    <a:pt x="833" y="512"/>
                  </a:lnTo>
                  <a:lnTo>
                    <a:pt x="838" y="512"/>
                  </a:lnTo>
                  <a:lnTo>
                    <a:pt x="839" y="512"/>
                  </a:lnTo>
                  <a:lnTo>
                    <a:pt x="839" y="513"/>
                  </a:lnTo>
                  <a:lnTo>
                    <a:pt x="841" y="513"/>
                  </a:lnTo>
                  <a:lnTo>
                    <a:pt x="843" y="515"/>
                  </a:lnTo>
                  <a:lnTo>
                    <a:pt x="846" y="516"/>
                  </a:lnTo>
                  <a:lnTo>
                    <a:pt x="846" y="518"/>
                  </a:lnTo>
                  <a:lnTo>
                    <a:pt x="846" y="519"/>
                  </a:lnTo>
                  <a:lnTo>
                    <a:pt x="846" y="522"/>
                  </a:lnTo>
                  <a:lnTo>
                    <a:pt x="846" y="524"/>
                  </a:lnTo>
                  <a:lnTo>
                    <a:pt x="847" y="525"/>
                  </a:lnTo>
                  <a:lnTo>
                    <a:pt x="849" y="525"/>
                  </a:lnTo>
                  <a:lnTo>
                    <a:pt x="849" y="525"/>
                  </a:lnTo>
                  <a:lnTo>
                    <a:pt x="849" y="525"/>
                  </a:lnTo>
                  <a:lnTo>
                    <a:pt x="850" y="524"/>
                  </a:lnTo>
                  <a:lnTo>
                    <a:pt x="852" y="524"/>
                  </a:lnTo>
                  <a:lnTo>
                    <a:pt x="853" y="524"/>
                  </a:lnTo>
                  <a:lnTo>
                    <a:pt x="855" y="524"/>
                  </a:lnTo>
                  <a:lnTo>
                    <a:pt x="856" y="524"/>
                  </a:lnTo>
                  <a:lnTo>
                    <a:pt x="861" y="522"/>
                  </a:lnTo>
                  <a:lnTo>
                    <a:pt x="863" y="522"/>
                  </a:lnTo>
                  <a:lnTo>
                    <a:pt x="875" y="525"/>
                  </a:lnTo>
                  <a:lnTo>
                    <a:pt x="878" y="525"/>
                  </a:lnTo>
                  <a:lnTo>
                    <a:pt x="889" y="518"/>
                  </a:lnTo>
                  <a:lnTo>
                    <a:pt x="893" y="516"/>
                  </a:lnTo>
                  <a:lnTo>
                    <a:pt x="906" y="513"/>
                  </a:lnTo>
                  <a:lnTo>
                    <a:pt x="916" y="507"/>
                  </a:lnTo>
                  <a:lnTo>
                    <a:pt x="920" y="507"/>
                  </a:lnTo>
                  <a:lnTo>
                    <a:pt x="921" y="505"/>
                  </a:lnTo>
                  <a:lnTo>
                    <a:pt x="927" y="501"/>
                  </a:lnTo>
                  <a:lnTo>
                    <a:pt x="933" y="499"/>
                  </a:lnTo>
                  <a:lnTo>
                    <a:pt x="935" y="499"/>
                  </a:lnTo>
                  <a:lnTo>
                    <a:pt x="940" y="499"/>
                  </a:lnTo>
                  <a:lnTo>
                    <a:pt x="955" y="504"/>
                  </a:lnTo>
                  <a:lnTo>
                    <a:pt x="958" y="507"/>
                  </a:lnTo>
                  <a:lnTo>
                    <a:pt x="966" y="515"/>
                  </a:lnTo>
                  <a:lnTo>
                    <a:pt x="969" y="516"/>
                  </a:lnTo>
                  <a:lnTo>
                    <a:pt x="972" y="519"/>
                  </a:lnTo>
                  <a:lnTo>
                    <a:pt x="978" y="519"/>
                  </a:lnTo>
                  <a:lnTo>
                    <a:pt x="990" y="519"/>
                  </a:lnTo>
                  <a:lnTo>
                    <a:pt x="992" y="519"/>
                  </a:lnTo>
                  <a:lnTo>
                    <a:pt x="995" y="519"/>
                  </a:lnTo>
                  <a:lnTo>
                    <a:pt x="1007" y="522"/>
                  </a:lnTo>
                  <a:lnTo>
                    <a:pt x="1010" y="522"/>
                  </a:lnTo>
                  <a:lnTo>
                    <a:pt x="1026" y="519"/>
                  </a:lnTo>
                  <a:lnTo>
                    <a:pt x="1050" y="515"/>
                  </a:lnTo>
                  <a:lnTo>
                    <a:pt x="1066" y="509"/>
                  </a:lnTo>
                  <a:lnTo>
                    <a:pt x="1074" y="504"/>
                  </a:lnTo>
                  <a:lnTo>
                    <a:pt x="1077" y="504"/>
                  </a:lnTo>
                  <a:lnTo>
                    <a:pt x="1078" y="502"/>
                  </a:lnTo>
                  <a:lnTo>
                    <a:pt x="1081" y="502"/>
                  </a:lnTo>
                  <a:lnTo>
                    <a:pt x="1087" y="498"/>
                  </a:lnTo>
                  <a:lnTo>
                    <a:pt x="1097" y="492"/>
                  </a:lnTo>
                  <a:lnTo>
                    <a:pt x="1098" y="490"/>
                  </a:lnTo>
                  <a:lnTo>
                    <a:pt x="1100" y="490"/>
                  </a:lnTo>
                  <a:lnTo>
                    <a:pt x="1101" y="490"/>
                  </a:lnTo>
                  <a:lnTo>
                    <a:pt x="1103" y="490"/>
                  </a:lnTo>
                  <a:lnTo>
                    <a:pt x="1107" y="489"/>
                  </a:lnTo>
                  <a:lnTo>
                    <a:pt x="1117" y="482"/>
                  </a:lnTo>
                  <a:lnTo>
                    <a:pt x="1120" y="481"/>
                  </a:lnTo>
                  <a:lnTo>
                    <a:pt x="1134" y="479"/>
                  </a:lnTo>
                  <a:lnTo>
                    <a:pt x="1152" y="482"/>
                  </a:lnTo>
                  <a:lnTo>
                    <a:pt x="1155" y="484"/>
                  </a:lnTo>
                  <a:lnTo>
                    <a:pt x="1157" y="485"/>
                  </a:lnTo>
                  <a:lnTo>
                    <a:pt x="1178" y="484"/>
                  </a:lnTo>
                  <a:lnTo>
                    <a:pt x="1209" y="476"/>
                  </a:lnTo>
                  <a:lnTo>
                    <a:pt x="1217" y="475"/>
                  </a:lnTo>
                  <a:lnTo>
                    <a:pt x="1220" y="473"/>
                  </a:lnTo>
                  <a:lnTo>
                    <a:pt x="1226" y="467"/>
                  </a:lnTo>
                  <a:lnTo>
                    <a:pt x="1229" y="462"/>
                  </a:lnTo>
                  <a:lnTo>
                    <a:pt x="1231" y="462"/>
                  </a:lnTo>
                  <a:lnTo>
                    <a:pt x="1232" y="461"/>
                  </a:lnTo>
                  <a:lnTo>
                    <a:pt x="1234" y="462"/>
                  </a:lnTo>
                  <a:lnTo>
                    <a:pt x="1234" y="462"/>
                  </a:lnTo>
                  <a:lnTo>
                    <a:pt x="1234" y="464"/>
                  </a:lnTo>
                  <a:lnTo>
                    <a:pt x="1234" y="464"/>
                  </a:lnTo>
                  <a:lnTo>
                    <a:pt x="1234" y="464"/>
                  </a:lnTo>
                  <a:lnTo>
                    <a:pt x="1237" y="465"/>
                  </a:lnTo>
                  <a:lnTo>
                    <a:pt x="1237" y="465"/>
                  </a:lnTo>
                  <a:lnTo>
                    <a:pt x="1237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5"/>
                  </a:lnTo>
                  <a:lnTo>
                    <a:pt x="1238" y="465"/>
                  </a:lnTo>
                  <a:lnTo>
                    <a:pt x="1240" y="467"/>
                  </a:lnTo>
                  <a:lnTo>
                    <a:pt x="1241" y="468"/>
                  </a:lnTo>
                  <a:lnTo>
                    <a:pt x="1243" y="468"/>
                  </a:lnTo>
                  <a:lnTo>
                    <a:pt x="1243" y="470"/>
                  </a:lnTo>
                  <a:lnTo>
                    <a:pt x="1241" y="475"/>
                  </a:lnTo>
                  <a:lnTo>
                    <a:pt x="1243" y="476"/>
                  </a:lnTo>
                  <a:lnTo>
                    <a:pt x="1243" y="476"/>
                  </a:lnTo>
                  <a:lnTo>
                    <a:pt x="1243" y="478"/>
                  </a:lnTo>
                  <a:lnTo>
                    <a:pt x="1243" y="481"/>
                  </a:lnTo>
                  <a:lnTo>
                    <a:pt x="1246" y="481"/>
                  </a:lnTo>
                  <a:lnTo>
                    <a:pt x="1251" y="479"/>
                  </a:lnTo>
                  <a:lnTo>
                    <a:pt x="1257" y="478"/>
                  </a:lnTo>
                  <a:lnTo>
                    <a:pt x="1258" y="478"/>
                  </a:lnTo>
                  <a:lnTo>
                    <a:pt x="1258" y="476"/>
                  </a:lnTo>
                  <a:lnTo>
                    <a:pt x="1260" y="475"/>
                  </a:lnTo>
                  <a:lnTo>
                    <a:pt x="1269" y="461"/>
                  </a:lnTo>
                  <a:lnTo>
                    <a:pt x="1269" y="459"/>
                  </a:lnTo>
                  <a:lnTo>
                    <a:pt x="1269" y="459"/>
                  </a:lnTo>
                  <a:lnTo>
                    <a:pt x="1269" y="459"/>
                  </a:lnTo>
                  <a:lnTo>
                    <a:pt x="1269" y="458"/>
                  </a:lnTo>
                  <a:lnTo>
                    <a:pt x="1271" y="458"/>
                  </a:lnTo>
                  <a:lnTo>
                    <a:pt x="1274" y="456"/>
                  </a:lnTo>
                  <a:lnTo>
                    <a:pt x="1275" y="456"/>
                  </a:lnTo>
                  <a:lnTo>
                    <a:pt x="1275" y="456"/>
                  </a:lnTo>
                  <a:lnTo>
                    <a:pt x="1277" y="456"/>
                  </a:lnTo>
                  <a:lnTo>
                    <a:pt x="1277" y="458"/>
                  </a:lnTo>
                  <a:lnTo>
                    <a:pt x="1277" y="459"/>
                  </a:lnTo>
                  <a:lnTo>
                    <a:pt x="1283" y="461"/>
                  </a:lnTo>
                  <a:lnTo>
                    <a:pt x="1286" y="461"/>
                  </a:lnTo>
                  <a:lnTo>
                    <a:pt x="1289" y="459"/>
                  </a:lnTo>
                  <a:lnTo>
                    <a:pt x="1291" y="459"/>
                  </a:lnTo>
                  <a:lnTo>
                    <a:pt x="1294" y="458"/>
                  </a:lnTo>
                  <a:lnTo>
                    <a:pt x="1297" y="456"/>
                  </a:lnTo>
                  <a:lnTo>
                    <a:pt x="1300" y="456"/>
                  </a:lnTo>
                  <a:lnTo>
                    <a:pt x="1302" y="456"/>
                  </a:lnTo>
                  <a:lnTo>
                    <a:pt x="1311" y="462"/>
                  </a:lnTo>
                  <a:lnTo>
                    <a:pt x="1311" y="462"/>
                  </a:lnTo>
                  <a:lnTo>
                    <a:pt x="1312" y="462"/>
                  </a:lnTo>
                  <a:lnTo>
                    <a:pt x="1312" y="462"/>
                  </a:lnTo>
                  <a:lnTo>
                    <a:pt x="1312" y="461"/>
                  </a:lnTo>
                  <a:lnTo>
                    <a:pt x="1314" y="461"/>
                  </a:lnTo>
                  <a:lnTo>
                    <a:pt x="1315" y="461"/>
                  </a:lnTo>
                  <a:lnTo>
                    <a:pt x="1315" y="461"/>
                  </a:lnTo>
                  <a:lnTo>
                    <a:pt x="1318" y="462"/>
                  </a:lnTo>
                  <a:lnTo>
                    <a:pt x="1318" y="464"/>
                  </a:lnTo>
                  <a:lnTo>
                    <a:pt x="1322" y="465"/>
                  </a:lnTo>
                  <a:lnTo>
                    <a:pt x="1326" y="468"/>
                  </a:lnTo>
                  <a:lnTo>
                    <a:pt x="1326" y="468"/>
                  </a:lnTo>
                  <a:lnTo>
                    <a:pt x="1328" y="468"/>
                  </a:lnTo>
                  <a:lnTo>
                    <a:pt x="1329" y="467"/>
                  </a:lnTo>
                  <a:lnTo>
                    <a:pt x="1331" y="467"/>
                  </a:lnTo>
                  <a:lnTo>
                    <a:pt x="1331" y="467"/>
                  </a:lnTo>
                  <a:lnTo>
                    <a:pt x="1332" y="468"/>
                  </a:lnTo>
                  <a:lnTo>
                    <a:pt x="1334" y="468"/>
                  </a:lnTo>
                  <a:lnTo>
                    <a:pt x="1335" y="470"/>
                  </a:lnTo>
                  <a:lnTo>
                    <a:pt x="1337" y="470"/>
                  </a:lnTo>
                  <a:lnTo>
                    <a:pt x="1345" y="468"/>
                  </a:lnTo>
                  <a:lnTo>
                    <a:pt x="1346" y="470"/>
                  </a:lnTo>
                  <a:lnTo>
                    <a:pt x="1348" y="470"/>
                  </a:lnTo>
                  <a:lnTo>
                    <a:pt x="1349" y="470"/>
                  </a:lnTo>
                  <a:lnTo>
                    <a:pt x="1351" y="472"/>
                  </a:lnTo>
                  <a:lnTo>
                    <a:pt x="1351" y="472"/>
                  </a:lnTo>
                  <a:lnTo>
                    <a:pt x="1352" y="472"/>
                  </a:lnTo>
                  <a:lnTo>
                    <a:pt x="1354" y="470"/>
                  </a:lnTo>
                  <a:lnTo>
                    <a:pt x="1357" y="470"/>
                  </a:lnTo>
                  <a:lnTo>
                    <a:pt x="1360" y="467"/>
                  </a:lnTo>
                  <a:lnTo>
                    <a:pt x="1362" y="464"/>
                  </a:lnTo>
                  <a:lnTo>
                    <a:pt x="1365" y="462"/>
                  </a:lnTo>
                  <a:lnTo>
                    <a:pt x="1368" y="461"/>
                  </a:lnTo>
                  <a:lnTo>
                    <a:pt x="1371" y="462"/>
                  </a:lnTo>
                  <a:lnTo>
                    <a:pt x="1372" y="462"/>
                  </a:lnTo>
                  <a:lnTo>
                    <a:pt x="1379" y="465"/>
                  </a:lnTo>
                  <a:lnTo>
                    <a:pt x="1380" y="465"/>
                  </a:lnTo>
                  <a:lnTo>
                    <a:pt x="1382" y="467"/>
                  </a:lnTo>
                  <a:lnTo>
                    <a:pt x="1383" y="468"/>
                  </a:lnTo>
                  <a:lnTo>
                    <a:pt x="1383" y="472"/>
                  </a:lnTo>
                  <a:lnTo>
                    <a:pt x="1383" y="473"/>
                  </a:lnTo>
                  <a:lnTo>
                    <a:pt x="1385" y="475"/>
                  </a:lnTo>
                  <a:lnTo>
                    <a:pt x="1383" y="475"/>
                  </a:lnTo>
                  <a:lnTo>
                    <a:pt x="1383" y="476"/>
                  </a:lnTo>
                  <a:lnTo>
                    <a:pt x="1383" y="476"/>
                  </a:lnTo>
                  <a:lnTo>
                    <a:pt x="1382" y="476"/>
                  </a:lnTo>
                  <a:lnTo>
                    <a:pt x="1380" y="478"/>
                  </a:lnTo>
                  <a:lnTo>
                    <a:pt x="1380" y="479"/>
                  </a:lnTo>
                  <a:lnTo>
                    <a:pt x="1379" y="481"/>
                  </a:lnTo>
                  <a:lnTo>
                    <a:pt x="1379" y="482"/>
                  </a:lnTo>
                  <a:lnTo>
                    <a:pt x="1380" y="485"/>
                  </a:lnTo>
                  <a:lnTo>
                    <a:pt x="1382" y="492"/>
                  </a:lnTo>
                  <a:lnTo>
                    <a:pt x="1383" y="493"/>
                  </a:lnTo>
                  <a:lnTo>
                    <a:pt x="1383" y="493"/>
                  </a:lnTo>
                  <a:lnTo>
                    <a:pt x="1386" y="493"/>
                  </a:lnTo>
                  <a:lnTo>
                    <a:pt x="1388" y="493"/>
                  </a:lnTo>
                  <a:lnTo>
                    <a:pt x="1388" y="493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0"/>
                  </a:lnTo>
                  <a:lnTo>
                    <a:pt x="1391" y="489"/>
                  </a:lnTo>
                  <a:lnTo>
                    <a:pt x="1391" y="487"/>
                  </a:lnTo>
                  <a:lnTo>
                    <a:pt x="1397" y="485"/>
                  </a:lnTo>
                  <a:lnTo>
                    <a:pt x="1399" y="484"/>
                  </a:lnTo>
                  <a:lnTo>
                    <a:pt x="1402" y="482"/>
                  </a:lnTo>
                  <a:lnTo>
                    <a:pt x="1403" y="481"/>
                  </a:lnTo>
                  <a:lnTo>
                    <a:pt x="1406" y="478"/>
                  </a:lnTo>
                  <a:lnTo>
                    <a:pt x="1408" y="475"/>
                  </a:lnTo>
                  <a:lnTo>
                    <a:pt x="1411" y="475"/>
                  </a:lnTo>
                  <a:lnTo>
                    <a:pt x="1412" y="475"/>
                  </a:lnTo>
                  <a:lnTo>
                    <a:pt x="1420" y="475"/>
                  </a:lnTo>
                  <a:lnTo>
                    <a:pt x="1422" y="476"/>
                  </a:lnTo>
                  <a:lnTo>
                    <a:pt x="1422" y="478"/>
                  </a:lnTo>
                  <a:lnTo>
                    <a:pt x="1423" y="476"/>
                  </a:lnTo>
                  <a:lnTo>
                    <a:pt x="1422" y="475"/>
                  </a:lnTo>
                  <a:lnTo>
                    <a:pt x="1422" y="473"/>
                  </a:lnTo>
                  <a:lnTo>
                    <a:pt x="1422" y="472"/>
                  </a:lnTo>
                  <a:lnTo>
                    <a:pt x="1422" y="468"/>
                  </a:lnTo>
                  <a:lnTo>
                    <a:pt x="1423" y="468"/>
                  </a:lnTo>
                  <a:lnTo>
                    <a:pt x="1423" y="468"/>
                  </a:lnTo>
                  <a:lnTo>
                    <a:pt x="1425" y="467"/>
                  </a:lnTo>
                  <a:lnTo>
                    <a:pt x="1425" y="464"/>
                  </a:lnTo>
                  <a:lnTo>
                    <a:pt x="1423" y="462"/>
                  </a:lnTo>
                  <a:lnTo>
                    <a:pt x="1419" y="459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9"/>
            <p:cNvSpPr>
              <a:spLocks noEditPoints="1"/>
            </p:cNvSpPr>
            <p:nvPr/>
          </p:nvSpPr>
          <p:spPr bwMode="gray">
            <a:xfrm>
              <a:off x="8716963" y="7996238"/>
              <a:ext cx="2262188" cy="950913"/>
            </a:xfrm>
            <a:custGeom>
              <a:avLst/>
              <a:gdLst>
                <a:gd name="T0" fmla="*/ 143 w 1425"/>
                <a:gd name="T1" fmla="*/ 161 h 599"/>
                <a:gd name="T2" fmla="*/ 69 w 1425"/>
                <a:gd name="T3" fmla="*/ 145 h 599"/>
                <a:gd name="T4" fmla="*/ 52 w 1425"/>
                <a:gd name="T5" fmla="*/ 191 h 599"/>
                <a:gd name="T6" fmla="*/ 163 w 1425"/>
                <a:gd name="T7" fmla="*/ 111 h 599"/>
                <a:gd name="T8" fmla="*/ 243 w 1425"/>
                <a:gd name="T9" fmla="*/ 110 h 599"/>
                <a:gd name="T10" fmla="*/ 180 w 1425"/>
                <a:gd name="T11" fmla="*/ 43 h 599"/>
                <a:gd name="T12" fmla="*/ 142 w 1425"/>
                <a:gd name="T13" fmla="*/ 17 h 599"/>
                <a:gd name="T14" fmla="*/ 80 w 1425"/>
                <a:gd name="T15" fmla="*/ 14 h 599"/>
                <a:gd name="T16" fmla="*/ 68 w 1425"/>
                <a:gd name="T17" fmla="*/ 76 h 599"/>
                <a:gd name="T18" fmla="*/ 42 w 1425"/>
                <a:gd name="T19" fmla="*/ 120 h 599"/>
                <a:gd name="T20" fmla="*/ 1397 w 1425"/>
                <a:gd name="T21" fmla="*/ 416 h 599"/>
                <a:gd name="T22" fmla="*/ 1386 w 1425"/>
                <a:gd name="T23" fmla="*/ 361 h 599"/>
                <a:gd name="T24" fmla="*/ 1369 w 1425"/>
                <a:gd name="T25" fmla="*/ 273 h 599"/>
                <a:gd name="T26" fmla="*/ 1409 w 1425"/>
                <a:gd name="T27" fmla="*/ 224 h 599"/>
                <a:gd name="T28" fmla="*/ 1338 w 1425"/>
                <a:gd name="T29" fmla="*/ 154 h 599"/>
                <a:gd name="T30" fmla="*/ 1281 w 1425"/>
                <a:gd name="T31" fmla="*/ 62 h 599"/>
                <a:gd name="T32" fmla="*/ 1194 w 1425"/>
                <a:gd name="T33" fmla="*/ 60 h 599"/>
                <a:gd name="T34" fmla="*/ 1058 w 1425"/>
                <a:gd name="T35" fmla="*/ 113 h 599"/>
                <a:gd name="T36" fmla="*/ 953 w 1425"/>
                <a:gd name="T37" fmla="*/ 117 h 599"/>
                <a:gd name="T38" fmla="*/ 846 w 1425"/>
                <a:gd name="T39" fmla="*/ 82 h 599"/>
                <a:gd name="T40" fmla="*/ 764 w 1425"/>
                <a:gd name="T41" fmla="*/ 45 h 599"/>
                <a:gd name="T42" fmla="*/ 698 w 1425"/>
                <a:gd name="T43" fmla="*/ 2 h 599"/>
                <a:gd name="T44" fmla="*/ 502 w 1425"/>
                <a:gd name="T45" fmla="*/ 36 h 599"/>
                <a:gd name="T46" fmla="*/ 379 w 1425"/>
                <a:gd name="T47" fmla="*/ 100 h 599"/>
                <a:gd name="T48" fmla="*/ 270 w 1425"/>
                <a:gd name="T49" fmla="*/ 125 h 599"/>
                <a:gd name="T50" fmla="*/ 283 w 1425"/>
                <a:gd name="T51" fmla="*/ 137 h 599"/>
                <a:gd name="T52" fmla="*/ 222 w 1425"/>
                <a:gd name="T53" fmla="*/ 171 h 599"/>
                <a:gd name="T54" fmla="*/ 160 w 1425"/>
                <a:gd name="T55" fmla="*/ 173 h 599"/>
                <a:gd name="T56" fmla="*/ 56 w 1425"/>
                <a:gd name="T57" fmla="*/ 191 h 599"/>
                <a:gd name="T58" fmla="*/ 46 w 1425"/>
                <a:gd name="T59" fmla="*/ 256 h 599"/>
                <a:gd name="T60" fmla="*/ 80 w 1425"/>
                <a:gd name="T61" fmla="*/ 279 h 599"/>
                <a:gd name="T62" fmla="*/ 92 w 1425"/>
                <a:gd name="T63" fmla="*/ 321 h 599"/>
                <a:gd name="T64" fmla="*/ 86 w 1425"/>
                <a:gd name="T65" fmla="*/ 347 h 599"/>
                <a:gd name="T66" fmla="*/ 77 w 1425"/>
                <a:gd name="T67" fmla="*/ 368 h 599"/>
                <a:gd name="T68" fmla="*/ 57 w 1425"/>
                <a:gd name="T69" fmla="*/ 353 h 599"/>
                <a:gd name="T70" fmla="*/ 54 w 1425"/>
                <a:gd name="T71" fmla="*/ 376 h 599"/>
                <a:gd name="T72" fmla="*/ 92 w 1425"/>
                <a:gd name="T73" fmla="*/ 391 h 599"/>
                <a:gd name="T74" fmla="*/ 114 w 1425"/>
                <a:gd name="T75" fmla="*/ 444 h 599"/>
                <a:gd name="T76" fmla="*/ 134 w 1425"/>
                <a:gd name="T77" fmla="*/ 465 h 599"/>
                <a:gd name="T78" fmla="*/ 133 w 1425"/>
                <a:gd name="T79" fmla="*/ 479 h 599"/>
                <a:gd name="T80" fmla="*/ 123 w 1425"/>
                <a:gd name="T81" fmla="*/ 493 h 599"/>
                <a:gd name="T82" fmla="*/ 173 w 1425"/>
                <a:gd name="T83" fmla="*/ 487 h 599"/>
                <a:gd name="T84" fmla="*/ 177 w 1425"/>
                <a:gd name="T85" fmla="*/ 498 h 599"/>
                <a:gd name="T86" fmla="*/ 131 w 1425"/>
                <a:gd name="T87" fmla="*/ 515 h 599"/>
                <a:gd name="T88" fmla="*/ 166 w 1425"/>
                <a:gd name="T89" fmla="*/ 515 h 599"/>
                <a:gd name="T90" fmla="*/ 177 w 1425"/>
                <a:gd name="T91" fmla="*/ 519 h 599"/>
                <a:gd name="T92" fmla="*/ 193 w 1425"/>
                <a:gd name="T93" fmla="*/ 513 h 599"/>
                <a:gd name="T94" fmla="*/ 214 w 1425"/>
                <a:gd name="T95" fmla="*/ 510 h 599"/>
                <a:gd name="T96" fmla="*/ 239 w 1425"/>
                <a:gd name="T97" fmla="*/ 524 h 599"/>
                <a:gd name="T98" fmla="*/ 259 w 1425"/>
                <a:gd name="T99" fmla="*/ 542 h 599"/>
                <a:gd name="T100" fmla="*/ 296 w 1425"/>
                <a:gd name="T101" fmla="*/ 567 h 599"/>
                <a:gd name="T102" fmla="*/ 333 w 1425"/>
                <a:gd name="T103" fmla="*/ 559 h 599"/>
                <a:gd name="T104" fmla="*/ 367 w 1425"/>
                <a:gd name="T105" fmla="*/ 510 h 599"/>
                <a:gd name="T106" fmla="*/ 499 w 1425"/>
                <a:gd name="T107" fmla="*/ 567 h 599"/>
                <a:gd name="T108" fmla="*/ 598 w 1425"/>
                <a:gd name="T109" fmla="*/ 570 h 599"/>
                <a:gd name="T110" fmla="*/ 665 w 1425"/>
                <a:gd name="T111" fmla="*/ 510 h 599"/>
                <a:gd name="T112" fmla="*/ 741 w 1425"/>
                <a:gd name="T113" fmla="*/ 522 h 599"/>
                <a:gd name="T114" fmla="*/ 786 w 1425"/>
                <a:gd name="T115" fmla="*/ 521 h 599"/>
                <a:gd name="T116" fmla="*/ 781 w 1425"/>
                <a:gd name="T117" fmla="*/ 599 h 599"/>
                <a:gd name="T118" fmla="*/ 810 w 1425"/>
                <a:gd name="T119" fmla="*/ 545 h 599"/>
                <a:gd name="T120" fmla="*/ 972 w 1425"/>
                <a:gd name="T121" fmla="*/ 519 h 599"/>
                <a:gd name="T122" fmla="*/ 1251 w 1425"/>
                <a:gd name="T123" fmla="*/ 479 h 599"/>
                <a:gd name="T124" fmla="*/ 1365 w 1425"/>
                <a:gd name="T125" fmla="*/ 462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25" h="599">
                  <a:moveTo>
                    <a:pt x="31" y="227"/>
                  </a:moveTo>
                  <a:lnTo>
                    <a:pt x="31" y="222"/>
                  </a:lnTo>
                  <a:lnTo>
                    <a:pt x="31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8" y="222"/>
                  </a:lnTo>
                  <a:lnTo>
                    <a:pt x="26" y="222"/>
                  </a:lnTo>
                  <a:lnTo>
                    <a:pt x="25" y="222"/>
                  </a:lnTo>
                  <a:lnTo>
                    <a:pt x="23" y="222"/>
                  </a:lnTo>
                  <a:lnTo>
                    <a:pt x="25" y="224"/>
                  </a:lnTo>
                  <a:lnTo>
                    <a:pt x="25" y="225"/>
                  </a:lnTo>
                  <a:lnTo>
                    <a:pt x="28" y="225"/>
                  </a:lnTo>
                  <a:lnTo>
                    <a:pt x="29" y="227"/>
                  </a:lnTo>
                  <a:lnTo>
                    <a:pt x="31" y="227"/>
                  </a:lnTo>
                  <a:lnTo>
                    <a:pt x="31" y="227"/>
                  </a:lnTo>
                  <a:close/>
                  <a:moveTo>
                    <a:pt x="26" y="193"/>
                  </a:moveTo>
                  <a:lnTo>
                    <a:pt x="26" y="190"/>
                  </a:lnTo>
                  <a:lnTo>
                    <a:pt x="26" y="190"/>
                  </a:lnTo>
                  <a:lnTo>
                    <a:pt x="25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3" y="190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3" y="187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2" y="185"/>
                  </a:lnTo>
                  <a:lnTo>
                    <a:pt x="22" y="185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4"/>
                  </a:lnTo>
                  <a:lnTo>
                    <a:pt x="19" y="184"/>
                  </a:lnTo>
                  <a:lnTo>
                    <a:pt x="12" y="185"/>
                  </a:lnTo>
                  <a:lnTo>
                    <a:pt x="8" y="187"/>
                  </a:lnTo>
                  <a:lnTo>
                    <a:pt x="5" y="188"/>
                  </a:lnTo>
                  <a:lnTo>
                    <a:pt x="2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3" y="196"/>
                  </a:lnTo>
                  <a:lnTo>
                    <a:pt x="3" y="196"/>
                  </a:lnTo>
                  <a:lnTo>
                    <a:pt x="5" y="196"/>
                  </a:lnTo>
                  <a:lnTo>
                    <a:pt x="6" y="197"/>
                  </a:lnTo>
                  <a:lnTo>
                    <a:pt x="8" y="197"/>
                  </a:lnTo>
                  <a:lnTo>
                    <a:pt x="14" y="196"/>
                  </a:lnTo>
                  <a:lnTo>
                    <a:pt x="19" y="194"/>
                  </a:lnTo>
                  <a:lnTo>
                    <a:pt x="23" y="194"/>
                  </a:lnTo>
                  <a:lnTo>
                    <a:pt x="25" y="193"/>
                  </a:lnTo>
                  <a:lnTo>
                    <a:pt x="26" y="193"/>
                  </a:lnTo>
                  <a:close/>
                  <a:moveTo>
                    <a:pt x="148" y="159"/>
                  </a:moveTo>
                  <a:lnTo>
                    <a:pt x="148" y="159"/>
                  </a:lnTo>
                  <a:lnTo>
                    <a:pt x="145" y="157"/>
                  </a:lnTo>
                  <a:lnTo>
                    <a:pt x="145" y="159"/>
                  </a:lnTo>
                  <a:lnTo>
                    <a:pt x="143" y="159"/>
                  </a:lnTo>
                  <a:lnTo>
                    <a:pt x="143" y="161"/>
                  </a:lnTo>
                  <a:lnTo>
                    <a:pt x="143" y="162"/>
                  </a:lnTo>
                  <a:lnTo>
                    <a:pt x="145" y="162"/>
                  </a:lnTo>
                  <a:lnTo>
                    <a:pt x="145" y="162"/>
                  </a:lnTo>
                  <a:lnTo>
                    <a:pt x="146" y="162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6" y="162"/>
                  </a:lnTo>
                  <a:lnTo>
                    <a:pt x="148" y="161"/>
                  </a:lnTo>
                  <a:lnTo>
                    <a:pt x="148" y="159"/>
                  </a:lnTo>
                  <a:close/>
                  <a:moveTo>
                    <a:pt x="149" y="147"/>
                  </a:moveTo>
                  <a:lnTo>
                    <a:pt x="153" y="147"/>
                  </a:lnTo>
                  <a:lnTo>
                    <a:pt x="154" y="145"/>
                  </a:lnTo>
                  <a:lnTo>
                    <a:pt x="154" y="144"/>
                  </a:lnTo>
                  <a:lnTo>
                    <a:pt x="153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6" y="142"/>
                  </a:lnTo>
                  <a:lnTo>
                    <a:pt x="145" y="142"/>
                  </a:lnTo>
                  <a:lnTo>
                    <a:pt x="143" y="142"/>
                  </a:lnTo>
                  <a:lnTo>
                    <a:pt x="142" y="144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39" y="144"/>
                  </a:lnTo>
                  <a:lnTo>
                    <a:pt x="139" y="145"/>
                  </a:lnTo>
                  <a:lnTo>
                    <a:pt x="139" y="145"/>
                  </a:lnTo>
                  <a:lnTo>
                    <a:pt x="140" y="147"/>
                  </a:lnTo>
                  <a:lnTo>
                    <a:pt x="140" y="148"/>
                  </a:lnTo>
                  <a:lnTo>
                    <a:pt x="140" y="150"/>
                  </a:lnTo>
                  <a:lnTo>
                    <a:pt x="142" y="150"/>
                  </a:lnTo>
                  <a:lnTo>
                    <a:pt x="143" y="150"/>
                  </a:lnTo>
                  <a:lnTo>
                    <a:pt x="145" y="151"/>
                  </a:lnTo>
                  <a:lnTo>
                    <a:pt x="146" y="150"/>
                  </a:lnTo>
                  <a:lnTo>
                    <a:pt x="149" y="148"/>
                  </a:lnTo>
                  <a:lnTo>
                    <a:pt x="149" y="147"/>
                  </a:lnTo>
                  <a:close/>
                  <a:moveTo>
                    <a:pt x="29" y="139"/>
                  </a:moveTo>
                  <a:lnTo>
                    <a:pt x="29" y="140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31" y="145"/>
                  </a:lnTo>
                  <a:lnTo>
                    <a:pt x="31" y="147"/>
                  </a:lnTo>
                  <a:lnTo>
                    <a:pt x="32" y="148"/>
                  </a:lnTo>
                  <a:lnTo>
                    <a:pt x="34" y="148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57" y="147"/>
                  </a:lnTo>
                  <a:lnTo>
                    <a:pt x="59" y="147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3" y="148"/>
                  </a:lnTo>
                  <a:lnTo>
                    <a:pt x="69" y="145"/>
                  </a:lnTo>
                  <a:lnTo>
                    <a:pt x="71" y="145"/>
                  </a:lnTo>
                  <a:lnTo>
                    <a:pt x="76" y="145"/>
                  </a:lnTo>
                  <a:lnTo>
                    <a:pt x="77" y="144"/>
                  </a:lnTo>
                  <a:lnTo>
                    <a:pt x="79" y="144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5" y="144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3" y="151"/>
                  </a:lnTo>
                  <a:lnTo>
                    <a:pt x="82" y="153"/>
                  </a:lnTo>
                  <a:lnTo>
                    <a:pt x="80" y="151"/>
                  </a:lnTo>
                  <a:lnTo>
                    <a:pt x="79" y="153"/>
                  </a:lnTo>
                  <a:lnTo>
                    <a:pt x="77" y="156"/>
                  </a:lnTo>
                  <a:lnTo>
                    <a:pt x="76" y="156"/>
                  </a:lnTo>
                  <a:lnTo>
                    <a:pt x="76" y="157"/>
                  </a:lnTo>
                  <a:lnTo>
                    <a:pt x="71" y="156"/>
                  </a:lnTo>
                  <a:lnTo>
                    <a:pt x="69" y="157"/>
                  </a:lnTo>
                  <a:lnTo>
                    <a:pt x="68" y="157"/>
                  </a:lnTo>
                  <a:lnTo>
                    <a:pt x="65" y="159"/>
                  </a:lnTo>
                  <a:lnTo>
                    <a:pt x="62" y="162"/>
                  </a:lnTo>
                  <a:lnTo>
                    <a:pt x="57" y="164"/>
                  </a:lnTo>
                  <a:lnTo>
                    <a:pt x="54" y="167"/>
                  </a:lnTo>
                  <a:lnTo>
                    <a:pt x="51" y="170"/>
                  </a:lnTo>
                  <a:lnTo>
                    <a:pt x="49" y="171"/>
                  </a:lnTo>
                  <a:lnTo>
                    <a:pt x="48" y="171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4"/>
                  </a:lnTo>
                  <a:lnTo>
                    <a:pt x="42" y="174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3" y="176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3" y="179"/>
                  </a:lnTo>
                  <a:lnTo>
                    <a:pt x="45" y="182"/>
                  </a:lnTo>
                  <a:lnTo>
                    <a:pt x="46" y="184"/>
                  </a:lnTo>
                  <a:lnTo>
                    <a:pt x="45" y="188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6"/>
                  </a:lnTo>
                  <a:lnTo>
                    <a:pt x="40" y="197"/>
                  </a:lnTo>
                  <a:lnTo>
                    <a:pt x="39" y="199"/>
                  </a:lnTo>
                  <a:lnTo>
                    <a:pt x="39" y="199"/>
                  </a:lnTo>
                  <a:lnTo>
                    <a:pt x="37" y="201"/>
                  </a:lnTo>
                  <a:lnTo>
                    <a:pt x="37" y="201"/>
                  </a:lnTo>
                  <a:lnTo>
                    <a:pt x="37" y="202"/>
                  </a:lnTo>
                  <a:lnTo>
                    <a:pt x="39" y="202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6" y="197"/>
                  </a:lnTo>
                  <a:lnTo>
                    <a:pt x="49" y="196"/>
                  </a:lnTo>
                  <a:lnTo>
                    <a:pt x="49" y="194"/>
                  </a:lnTo>
                  <a:lnTo>
                    <a:pt x="54" y="191"/>
                  </a:lnTo>
                  <a:lnTo>
                    <a:pt x="52" y="191"/>
                  </a:lnTo>
                  <a:lnTo>
                    <a:pt x="51" y="190"/>
                  </a:lnTo>
                  <a:lnTo>
                    <a:pt x="51" y="187"/>
                  </a:lnTo>
                  <a:lnTo>
                    <a:pt x="52" y="187"/>
                  </a:lnTo>
                  <a:lnTo>
                    <a:pt x="54" y="187"/>
                  </a:lnTo>
                  <a:lnTo>
                    <a:pt x="56" y="185"/>
                  </a:lnTo>
                  <a:lnTo>
                    <a:pt x="57" y="184"/>
                  </a:lnTo>
                  <a:lnTo>
                    <a:pt x="59" y="184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2" y="179"/>
                  </a:lnTo>
                  <a:lnTo>
                    <a:pt x="63" y="177"/>
                  </a:lnTo>
                  <a:lnTo>
                    <a:pt x="65" y="177"/>
                  </a:lnTo>
                  <a:lnTo>
                    <a:pt x="66" y="177"/>
                  </a:lnTo>
                  <a:lnTo>
                    <a:pt x="69" y="173"/>
                  </a:lnTo>
                  <a:lnTo>
                    <a:pt x="71" y="171"/>
                  </a:lnTo>
                  <a:lnTo>
                    <a:pt x="71" y="170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4" y="167"/>
                  </a:lnTo>
                  <a:lnTo>
                    <a:pt x="76" y="165"/>
                  </a:lnTo>
                  <a:lnTo>
                    <a:pt x="76" y="162"/>
                  </a:lnTo>
                  <a:lnTo>
                    <a:pt x="77" y="162"/>
                  </a:lnTo>
                  <a:lnTo>
                    <a:pt x="79" y="162"/>
                  </a:lnTo>
                  <a:lnTo>
                    <a:pt x="80" y="159"/>
                  </a:lnTo>
                  <a:lnTo>
                    <a:pt x="82" y="159"/>
                  </a:lnTo>
                  <a:lnTo>
                    <a:pt x="86" y="157"/>
                  </a:lnTo>
                  <a:lnTo>
                    <a:pt x="88" y="157"/>
                  </a:lnTo>
                  <a:lnTo>
                    <a:pt x="89" y="156"/>
                  </a:lnTo>
                  <a:lnTo>
                    <a:pt x="92" y="153"/>
                  </a:lnTo>
                  <a:lnTo>
                    <a:pt x="96" y="153"/>
                  </a:lnTo>
                  <a:lnTo>
                    <a:pt x="97" y="153"/>
                  </a:lnTo>
                  <a:lnTo>
                    <a:pt x="99" y="151"/>
                  </a:lnTo>
                  <a:lnTo>
                    <a:pt x="100" y="151"/>
                  </a:lnTo>
                  <a:lnTo>
                    <a:pt x="102" y="148"/>
                  </a:lnTo>
                  <a:lnTo>
                    <a:pt x="103" y="147"/>
                  </a:lnTo>
                  <a:lnTo>
                    <a:pt x="105" y="147"/>
                  </a:lnTo>
                  <a:lnTo>
                    <a:pt x="108" y="147"/>
                  </a:lnTo>
                  <a:lnTo>
                    <a:pt x="111" y="145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4" y="145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22" y="139"/>
                  </a:lnTo>
                  <a:lnTo>
                    <a:pt x="125" y="133"/>
                  </a:lnTo>
                  <a:lnTo>
                    <a:pt x="131" y="125"/>
                  </a:lnTo>
                  <a:lnTo>
                    <a:pt x="133" y="122"/>
                  </a:lnTo>
                  <a:lnTo>
                    <a:pt x="136" y="114"/>
                  </a:lnTo>
                  <a:lnTo>
                    <a:pt x="137" y="111"/>
                  </a:lnTo>
                  <a:lnTo>
                    <a:pt x="139" y="110"/>
                  </a:lnTo>
                  <a:lnTo>
                    <a:pt x="154" y="108"/>
                  </a:lnTo>
                  <a:lnTo>
                    <a:pt x="157" y="108"/>
                  </a:lnTo>
                  <a:lnTo>
                    <a:pt x="160" y="108"/>
                  </a:lnTo>
                  <a:lnTo>
                    <a:pt x="162" y="110"/>
                  </a:lnTo>
                  <a:lnTo>
                    <a:pt x="163" y="111"/>
                  </a:lnTo>
                  <a:lnTo>
                    <a:pt x="163" y="111"/>
                  </a:lnTo>
                  <a:lnTo>
                    <a:pt x="169" y="111"/>
                  </a:lnTo>
                  <a:lnTo>
                    <a:pt x="171" y="111"/>
                  </a:lnTo>
                  <a:lnTo>
                    <a:pt x="171" y="111"/>
                  </a:lnTo>
                  <a:lnTo>
                    <a:pt x="171" y="110"/>
                  </a:lnTo>
                  <a:lnTo>
                    <a:pt x="173" y="107"/>
                  </a:lnTo>
                  <a:lnTo>
                    <a:pt x="174" y="107"/>
                  </a:lnTo>
                  <a:lnTo>
                    <a:pt x="176" y="105"/>
                  </a:lnTo>
                  <a:lnTo>
                    <a:pt x="177" y="105"/>
                  </a:lnTo>
                  <a:lnTo>
                    <a:pt x="177" y="104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3" y="102"/>
                  </a:lnTo>
                  <a:lnTo>
                    <a:pt x="186" y="100"/>
                  </a:lnTo>
                  <a:lnTo>
                    <a:pt x="188" y="100"/>
                  </a:lnTo>
                  <a:lnTo>
                    <a:pt x="188" y="102"/>
                  </a:lnTo>
                  <a:lnTo>
                    <a:pt x="189" y="102"/>
                  </a:lnTo>
                  <a:lnTo>
                    <a:pt x="191" y="100"/>
                  </a:lnTo>
                  <a:lnTo>
                    <a:pt x="193" y="100"/>
                  </a:lnTo>
                  <a:lnTo>
                    <a:pt x="193" y="102"/>
                  </a:lnTo>
                  <a:lnTo>
                    <a:pt x="194" y="102"/>
                  </a:lnTo>
                  <a:lnTo>
                    <a:pt x="196" y="102"/>
                  </a:lnTo>
                  <a:lnTo>
                    <a:pt x="199" y="102"/>
                  </a:lnTo>
                  <a:lnTo>
                    <a:pt x="205" y="105"/>
                  </a:lnTo>
                  <a:lnTo>
                    <a:pt x="206" y="105"/>
                  </a:lnTo>
                  <a:lnTo>
                    <a:pt x="208" y="107"/>
                  </a:lnTo>
                  <a:lnTo>
                    <a:pt x="213" y="110"/>
                  </a:lnTo>
                  <a:lnTo>
                    <a:pt x="214" y="110"/>
                  </a:lnTo>
                  <a:lnTo>
                    <a:pt x="216" y="110"/>
                  </a:lnTo>
                  <a:lnTo>
                    <a:pt x="216" y="108"/>
                  </a:lnTo>
                  <a:lnTo>
                    <a:pt x="216" y="107"/>
                  </a:lnTo>
                  <a:lnTo>
                    <a:pt x="216" y="105"/>
                  </a:lnTo>
                  <a:lnTo>
                    <a:pt x="216" y="104"/>
                  </a:lnTo>
                  <a:lnTo>
                    <a:pt x="214" y="102"/>
                  </a:lnTo>
                  <a:lnTo>
                    <a:pt x="214" y="100"/>
                  </a:lnTo>
                  <a:lnTo>
                    <a:pt x="216" y="100"/>
                  </a:lnTo>
                  <a:lnTo>
                    <a:pt x="217" y="102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8"/>
                  </a:lnTo>
                  <a:lnTo>
                    <a:pt x="219" y="111"/>
                  </a:lnTo>
                  <a:lnTo>
                    <a:pt x="220" y="113"/>
                  </a:lnTo>
                  <a:lnTo>
                    <a:pt x="230" y="111"/>
                  </a:lnTo>
                  <a:lnTo>
                    <a:pt x="231" y="111"/>
                  </a:lnTo>
                  <a:lnTo>
                    <a:pt x="233" y="111"/>
                  </a:lnTo>
                  <a:lnTo>
                    <a:pt x="233" y="113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7" y="113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9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10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8" y="110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8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8" y="105"/>
                  </a:lnTo>
                  <a:lnTo>
                    <a:pt x="250" y="105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3" y="100"/>
                  </a:lnTo>
                  <a:lnTo>
                    <a:pt x="253" y="99"/>
                  </a:lnTo>
                  <a:lnTo>
                    <a:pt x="253" y="97"/>
                  </a:lnTo>
                  <a:lnTo>
                    <a:pt x="254" y="97"/>
                  </a:lnTo>
                  <a:lnTo>
                    <a:pt x="254" y="97"/>
                  </a:lnTo>
                  <a:lnTo>
                    <a:pt x="254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4"/>
                  </a:lnTo>
                  <a:lnTo>
                    <a:pt x="251" y="93"/>
                  </a:lnTo>
                  <a:lnTo>
                    <a:pt x="253" y="93"/>
                  </a:lnTo>
                  <a:lnTo>
                    <a:pt x="254" y="91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7" y="87"/>
                  </a:lnTo>
                  <a:lnTo>
                    <a:pt x="256" y="85"/>
                  </a:lnTo>
                  <a:lnTo>
                    <a:pt x="254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5"/>
                  </a:lnTo>
                  <a:lnTo>
                    <a:pt x="251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50" y="85"/>
                  </a:lnTo>
                  <a:lnTo>
                    <a:pt x="242" y="84"/>
                  </a:lnTo>
                  <a:lnTo>
                    <a:pt x="219" y="71"/>
                  </a:lnTo>
                  <a:lnTo>
                    <a:pt x="203" y="65"/>
                  </a:lnTo>
                  <a:lnTo>
                    <a:pt x="191" y="57"/>
                  </a:lnTo>
                  <a:lnTo>
                    <a:pt x="188" y="54"/>
                  </a:lnTo>
                  <a:lnTo>
                    <a:pt x="186" y="51"/>
                  </a:lnTo>
                  <a:lnTo>
                    <a:pt x="185" y="50"/>
                  </a:lnTo>
                  <a:lnTo>
                    <a:pt x="183" y="48"/>
                  </a:lnTo>
                  <a:lnTo>
                    <a:pt x="182" y="47"/>
                  </a:lnTo>
                  <a:lnTo>
                    <a:pt x="180" y="45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80" y="40"/>
                  </a:lnTo>
                  <a:lnTo>
                    <a:pt x="179" y="40"/>
                  </a:lnTo>
                  <a:lnTo>
                    <a:pt x="179" y="39"/>
                  </a:lnTo>
                  <a:lnTo>
                    <a:pt x="177" y="37"/>
                  </a:lnTo>
                  <a:lnTo>
                    <a:pt x="176" y="33"/>
                  </a:lnTo>
                  <a:lnTo>
                    <a:pt x="174" y="31"/>
                  </a:lnTo>
                  <a:lnTo>
                    <a:pt x="173" y="30"/>
                  </a:lnTo>
                  <a:lnTo>
                    <a:pt x="173" y="28"/>
                  </a:lnTo>
                  <a:lnTo>
                    <a:pt x="171" y="25"/>
                  </a:lnTo>
                  <a:lnTo>
                    <a:pt x="173" y="23"/>
                  </a:lnTo>
                  <a:lnTo>
                    <a:pt x="173" y="22"/>
                  </a:lnTo>
                  <a:lnTo>
                    <a:pt x="174" y="20"/>
                  </a:lnTo>
                  <a:lnTo>
                    <a:pt x="174" y="20"/>
                  </a:lnTo>
                  <a:lnTo>
                    <a:pt x="176" y="22"/>
                  </a:lnTo>
                  <a:lnTo>
                    <a:pt x="177" y="22"/>
                  </a:lnTo>
                  <a:lnTo>
                    <a:pt x="177" y="20"/>
                  </a:lnTo>
                  <a:lnTo>
                    <a:pt x="177" y="20"/>
                  </a:lnTo>
                  <a:lnTo>
                    <a:pt x="177" y="19"/>
                  </a:lnTo>
                  <a:lnTo>
                    <a:pt x="177" y="19"/>
                  </a:lnTo>
                  <a:lnTo>
                    <a:pt x="177" y="19"/>
                  </a:lnTo>
                  <a:lnTo>
                    <a:pt x="177" y="17"/>
                  </a:lnTo>
                  <a:lnTo>
                    <a:pt x="176" y="13"/>
                  </a:lnTo>
                  <a:lnTo>
                    <a:pt x="173" y="13"/>
                  </a:lnTo>
                  <a:lnTo>
                    <a:pt x="171" y="11"/>
                  </a:lnTo>
                  <a:lnTo>
                    <a:pt x="168" y="13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11"/>
                  </a:lnTo>
                  <a:lnTo>
                    <a:pt x="162" y="11"/>
                  </a:lnTo>
                  <a:lnTo>
                    <a:pt x="162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3"/>
                  </a:lnTo>
                  <a:lnTo>
                    <a:pt x="160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59" y="16"/>
                  </a:lnTo>
                  <a:lnTo>
                    <a:pt x="157" y="16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45" y="14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3" y="16"/>
                  </a:lnTo>
                  <a:lnTo>
                    <a:pt x="143" y="17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0" y="20"/>
                  </a:lnTo>
                  <a:lnTo>
                    <a:pt x="139" y="19"/>
                  </a:lnTo>
                  <a:lnTo>
                    <a:pt x="137" y="17"/>
                  </a:lnTo>
                  <a:lnTo>
                    <a:pt x="137" y="16"/>
                  </a:lnTo>
                  <a:lnTo>
                    <a:pt x="131" y="13"/>
                  </a:lnTo>
                  <a:lnTo>
                    <a:pt x="129" y="11"/>
                  </a:lnTo>
                  <a:lnTo>
                    <a:pt x="128" y="10"/>
                  </a:lnTo>
                  <a:lnTo>
                    <a:pt x="125" y="5"/>
                  </a:lnTo>
                  <a:lnTo>
                    <a:pt x="122" y="2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6" y="0"/>
                  </a:lnTo>
                  <a:lnTo>
                    <a:pt x="116" y="2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1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6" y="2"/>
                  </a:lnTo>
                  <a:lnTo>
                    <a:pt x="105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2" y="3"/>
                  </a:lnTo>
                  <a:lnTo>
                    <a:pt x="100" y="7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6" y="10"/>
                  </a:lnTo>
                  <a:lnTo>
                    <a:pt x="96" y="11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9" y="14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69" y="14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5"/>
                  </a:lnTo>
                  <a:lnTo>
                    <a:pt x="65" y="27"/>
                  </a:lnTo>
                  <a:lnTo>
                    <a:pt x="65" y="28"/>
                  </a:lnTo>
                  <a:lnTo>
                    <a:pt x="62" y="28"/>
                  </a:lnTo>
                  <a:lnTo>
                    <a:pt x="54" y="28"/>
                  </a:lnTo>
                  <a:lnTo>
                    <a:pt x="51" y="31"/>
                  </a:lnTo>
                  <a:lnTo>
                    <a:pt x="49" y="34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6" y="40"/>
                  </a:lnTo>
                  <a:lnTo>
                    <a:pt x="59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3"/>
                  </a:lnTo>
                  <a:lnTo>
                    <a:pt x="60" y="45"/>
                  </a:lnTo>
                  <a:lnTo>
                    <a:pt x="65" y="48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9" y="48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1" y="57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2" y="68"/>
                  </a:lnTo>
                  <a:lnTo>
                    <a:pt x="72" y="70"/>
                  </a:lnTo>
                  <a:lnTo>
                    <a:pt x="72" y="71"/>
                  </a:lnTo>
                  <a:lnTo>
                    <a:pt x="72" y="74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69" y="77"/>
                  </a:lnTo>
                  <a:lnTo>
                    <a:pt x="68" y="76"/>
                  </a:lnTo>
                  <a:lnTo>
                    <a:pt x="66" y="76"/>
                  </a:lnTo>
                  <a:lnTo>
                    <a:pt x="65" y="74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59" y="82"/>
                  </a:lnTo>
                  <a:lnTo>
                    <a:pt x="56" y="84"/>
                  </a:lnTo>
                  <a:lnTo>
                    <a:pt x="54" y="84"/>
                  </a:lnTo>
                  <a:lnTo>
                    <a:pt x="49" y="84"/>
                  </a:lnTo>
                  <a:lnTo>
                    <a:pt x="49" y="85"/>
                  </a:lnTo>
                  <a:lnTo>
                    <a:pt x="51" y="87"/>
                  </a:lnTo>
                  <a:lnTo>
                    <a:pt x="49" y="88"/>
                  </a:lnTo>
                  <a:lnTo>
                    <a:pt x="49" y="91"/>
                  </a:lnTo>
                  <a:lnTo>
                    <a:pt x="49" y="93"/>
                  </a:lnTo>
                  <a:lnTo>
                    <a:pt x="51" y="94"/>
                  </a:lnTo>
                  <a:lnTo>
                    <a:pt x="49" y="96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51" y="97"/>
                  </a:lnTo>
                  <a:lnTo>
                    <a:pt x="49" y="100"/>
                  </a:lnTo>
                  <a:lnTo>
                    <a:pt x="49" y="102"/>
                  </a:lnTo>
                  <a:lnTo>
                    <a:pt x="51" y="104"/>
                  </a:lnTo>
                  <a:lnTo>
                    <a:pt x="51" y="105"/>
                  </a:lnTo>
                  <a:lnTo>
                    <a:pt x="52" y="107"/>
                  </a:lnTo>
                  <a:lnTo>
                    <a:pt x="54" y="107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49" y="110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9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2" y="119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37" y="128"/>
                  </a:lnTo>
                  <a:lnTo>
                    <a:pt x="35" y="130"/>
                  </a:lnTo>
                  <a:lnTo>
                    <a:pt x="35" y="131"/>
                  </a:lnTo>
                  <a:lnTo>
                    <a:pt x="34" y="134"/>
                  </a:lnTo>
                  <a:lnTo>
                    <a:pt x="31" y="134"/>
                  </a:lnTo>
                  <a:lnTo>
                    <a:pt x="29" y="134"/>
                  </a:lnTo>
                  <a:lnTo>
                    <a:pt x="28" y="134"/>
                  </a:lnTo>
                  <a:lnTo>
                    <a:pt x="28" y="136"/>
                  </a:lnTo>
                  <a:lnTo>
                    <a:pt x="29" y="136"/>
                  </a:lnTo>
                  <a:lnTo>
                    <a:pt x="29" y="139"/>
                  </a:lnTo>
                  <a:close/>
                  <a:moveTo>
                    <a:pt x="1419" y="459"/>
                  </a:moveTo>
                  <a:lnTo>
                    <a:pt x="1419" y="458"/>
                  </a:lnTo>
                  <a:lnTo>
                    <a:pt x="1419" y="456"/>
                  </a:lnTo>
                  <a:lnTo>
                    <a:pt x="1417" y="456"/>
                  </a:lnTo>
                  <a:lnTo>
                    <a:pt x="1414" y="456"/>
                  </a:lnTo>
                  <a:lnTo>
                    <a:pt x="1414" y="455"/>
                  </a:lnTo>
                  <a:lnTo>
                    <a:pt x="1412" y="453"/>
                  </a:lnTo>
                  <a:lnTo>
                    <a:pt x="1412" y="452"/>
                  </a:lnTo>
                  <a:lnTo>
                    <a:pt x="1409" y="452"/>
                  </a:lnTo>
                  <a:lnTo>
                    <a:pt x="1408" y="452"/>
                  </a:lnTo>
                  <a:lnTo>
                    <a:pt x="1408" y="450"/>
                  </a:lnTo>
                  <a:lnTo>
                    <a:pt x="1408" y="447"/>
                  </a:lnTo>
                  <a:lnTo>
                    <a:pt x="1408" y="445"/>
                  </a:lnTo>
                  <a:lnTo>
                    <a:pt x="1408" y="445"/>
                  </a:lnTo>
                  <a:lnTo>
                    <a:pt x="1408" y="442"/>
                  </a:lnTo>
                  <a:lnTo>
                    <a:pt x="1408" y="441"/>
                  </a:lnTo>
                  <a:lnTo>
                    <a:pt x="1408" y="438"/>
                  </a:lnTo>
                  <a:lnTo>
                    <a:pt x="1409" y="436"/>
                  </a:lnTo>
                  <a:lnTo>
                    <a:pt x="1409" y="435"/>
                  </a:lnTo>
                  <a:lnTo>
                    <a:pt x="1408" y="433"/>
                  </a:lnTo>
                  <a:lnTo>
                    <a:pt x="1406" y="432"/>
                  </a:lnTo>
                  <a:lnTo>
                    <a:pt x="1406" y="428"/>
                  </a:lnTo>
                  <a:lnTo>
                    <a:pt x="1406" y="428"/>
                  </a:lnTo>
                  <a:lnTo>
                    <a:pt x="1409" y="427"/>
                  </a:lnTo>
                  <a:lnTo>
                    <a:pt x="1409" y="425"/>
                  </a:lnTo>
                  <a:lnTo>
                    <a:pt x="1409" y="424"/>
                  </a:lnTo>
                  <a:lnTo>
                    <a:pt x="1408" y="421"/>
                  </a:lnTo>
                  <a:lnTo>
                    <a:pt x="1405" y="419"/>
                  </a:lnTo>
                  <a:lnTo>
                    <a:pt x="1403" y="418"/>
                  </a:lnTo>
                  <a:lnTo>
                    <a:pt x="1402" y="418"/>
                  </a:lnTo>
                  <a:lnTo>
                    <a:pt x="1400" y="419"/>
                  </a:lnTo>
                  <a:lnTo>
                    <a:pt x="1399" y="419"/>
                  </a:lnTo>
                  <a:lnTo>
                    <a:pt x="1399" y="419"/>
                  </a:lnTo>
                  <a:lnTo>
                    <a:pt x="1397" y="418"/>
                  </a:lnTo>
                  <a:lnTo>
                    <a:pt x="1397" y="418"/>
                  </a:lnTo>
                  <a:lnTo>
                    <a:pt x="1397" y="416"/>
                  </a:lnTo>
                  <a:lnTo>
                    <a:pt x="1397" y="416"/>
                  </a:lnTo>
                  <a:lnTo>
                    <a:pt x="1397" y="415"/>
                  </a:lnTo>
                  <a:lnTo>
                    <a:pt x="1397" y="415"/>
                  </a:lnTo>
                  <a:lnTo>
                    <a:pt x="1395" y="416"/>
                  </a:lnTo>
                  <a:lnTo>
                    <a:pt x="1395" y="415"/>
                  </a:lnTo>
                  <a:lnTo>
                    <a:pt x="1394" y="415"/>
                  </a:lnTo>
                  <a:lnTo>
                    <a:pt x="1394" y="413"/>
                  </a:lnTo>
                  <a:lnTo>
                    <a:pt x="1394" y="412"/>
                  </a:lnTo>
                  <a:lnTo>
                    <a:pt x="1394" y="412"/>
                  </a:lnTo>
                  <a:lnTo>
                    <a:pt x="1392" y="410"/>
                  </a:lnTo>
                  <a:lnTo>
                    <a:pt x="1389" y="410"/>
                  </a:lnTo>
                  <a:lnTo>
                    <a:pt x="1389" y="408"/>
                  </a:lnTo>
                  <a:lnTo>
                    <a:pt x="1385" y="410"/>
                  </a:lnTo>
                  <a:lnTo>
                    <a:pt x="1382" y="408"/>
                  </a:lnTo>
                  <a:lnTo>
                    <a:pt x="1380" y="407"/>
                  </a:lnTo>
                  <a:lnTo>
                    <a:pt x="1380" y="407"/>
                  </a:lnTo>
                  <a:lnTo>
                    <a:pt x="1380" y="405"/>
                  </a:lnTo>
                  <a:lnTo>
                    <a:pt x="1382" y="405"/>
                  </a:lnTo>
                  <a:lnTo>
                    <a:pt x="1382" y="404"/>
                  </a:lnTo>
                  <a:lnTo>
                    <a:pt x="1382" y="402"/>
                  </a:lnTo>
                  <a:lnTo>
                    <a:pt x="1382" y="402"/>
                  </a:lnTo>
                  <a:lnTo>
                    <a:pt x="1382" y="401"/>
                  </a:lnTo>
                  <a:lnTo>
                    <a:pt x="1382" y="399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8"/>
                  </a:lnTo>
                  <a:lnTo>
                    <a:pt x="1383" y="396"/>
                  </a:lnTo>
                  <a:lnTo>
                    <a:pt x="1385" y="395"/>
                  </a:lnTo>
                  <a:lnTo>
                    <a:pt x="1386" y="393"/>
                  </a:lnTo>
                  <a:lnTo>
                    <a:pt x="1386" y="391"/>
                  </a:lnTo>
                  <a:lnTo>
                    <a:pt x="1388" y="390"/>
                  </a:lnTo>
                  <a:lnTo>
                    <a:pt x="1388" y="390"/>
                  </a:lnTo>
                  <a:lnTo>
                    <a:pt x="1389" y="388"/>
                  </a:lnTo>
                  <a:lnTo>
                    <a:pt x="1391" y="388"/>
                  </a:lnTo>
                  <a:lnTo>
                    <a:pt x="1389" y="387"/>
                  </a:lnTo>
                  <a:lnTo>
                    <a:pt x="1389" y="385"/>
                  </a:lnTo>
                  <a:lnTo>
                    <a:pt x="1391" y="385"/>
                  </a:lnTo>
                  <a:lnTo>
                    <a:pt x="1392" y="384"/>
                  </a:lnTo>
                  <a:lnTo>
                    <a:pt x="1392" y="384"/>
                  </a:lnTo>
                  <a:lnTo>
                    <a:pt x="1392" y="382"/>
                  </a:lnTo>
                  <a:lnTo>
                    <a:pt x="1394" y="381"/>
                  </a:lnTo>
                  <a:lnTo>
                    <a:pt x="1394" y="379"/>
                  </a:lnTo>
                  <a:lnTo>
                    <a:pt x="1392" y="375"/>
                  </a:lnTo>
                  <a:lnTo>
                    <a:pt x="1395" y="371"/>
                  </a:lnTo>
                  <a:lnTo>
                    <a:pt x="1399" y="370"/>
                  </a:lnTo>
                  <a:lnTo>
                    <a:pt x="1400" y="367"/>
                  </a:lnTo>
                  <a:lnTo>
                    <a:pt x="1400" y="365"/>
                  </a:lnTo>
                  <a:lnTo>
                    <a:pt x="1399" y="364"/>
                  </a:lnTo>
                  <a:lnTo>
                    <a:pt x="1399" y="362"/>
                  </a:lnTo>
                  <a:lnTo>
                    <a:pt x="1397" y="362"/>
                  </a:lnTo>
                  <a:lnTo>
                    <a:pt x="1395" y="361"/>
                  </a:lnTo>
                  <a:lnTo>
                    <a:pt x="1395" y="362"/>
                  </a:lnTo>
                  <a:lnTo>
                    <a:pt x="1392" y="364"/>
                  </a:lnTo>
                  <a:lnTo>
                    <a:pt x="1389" y="362"/>
                  </a:lnTo>
                  <a:lnTo>
                    <a:pt x="1388" y="362"/>
                  </a:lnTo>
                  <a:lnTo>
                    <a:pt x="1386" y="361"/>
                  </a:lnTo>
                  <a:lnTo>
                    <a:pt x="1386" y="361"/>
                  </a:lnTo>
                  <a:lnTo>
                    <a:pt x="1386" y="359"/>
                  </a:lnTo>
                  <a:lnTo>
                    <a:pt x="1388" y="358"/>
                  </a:lnTo>
                  <a:lnTo>
                    <a:pt x="1386" y="356"/>
                  </a:lnTo>
                  <a:lnTo>
                    <a:pt x="1386" y="355"/>
                  </a:lnTo>
                  <a:lnTo>
                    <a:pt x="1388" y="351"/>
                  </a:lnTo>
                  <a:lnTo>
                    <a:pt x="1388" y="350"/>
                  </a:lnTo>
                  <a:lnTo>
                    <a:pt x="1388" y="344"/>
                  </a:lnTo>
                  <a:lnTo>
                    <a:pt x="1388" y="341"/>
                  </a:lnTo>
                  <a:lnTo>
                    <a:pt x="1388" y="339"/>
                  </a:lnTo>
                  <a:lnTo>
                    <a:pt x="1386" y="338"/>
                  </a:lnTo>
                  <a:lnTo>
                    <a:pt x="1386" y="336"/>
                  </a:lnTo>
                  <a:lnTo>
                    <a:pt x="1386" y="336"/>
                  </a:lnTo>
                  <a:lnTo>
                    <a:pt x="1385" y="336"/>
                  </a:lnTo>
                  <a:lnTo>
                    <a:pt x="1383" y="335"/>
                  </a:lnTo>
                  <a:lnTo>
                    <a:pt x="1383" y="335"/>
                  </a:lnTo>
                  <a:lnTo>
                    <a:pt x="1385" y="335"/>
                  </a:lnTo>
                  <a:lnTo>
                    <a:pt x="1385" y="333"/>
                  </a:lnTo>
                  <a:lnTo>
                    <a:pt x="1385" y="331"/>
                  </a:lnTo>
                  <a:lnTo>
                    <a:pt x="1385" y="330"/>
                  </a:lnTo>
                  <a:lnTo>
                    <a:pt x="1383" y="330"/>
                  </a:lnTo>
                  <a:lnTo>
                    <a:pt x="1385" y="327"/>
                  </a:lnTo>
                  <a:lnTo>
                    <a:pt x="1386" y="321"/>
                  </a:lnTo>
                  <a:lnTo>
                    <a:pt x="1386" y="318"/>
                  </a:lnTo>
                  <a:lnTo>
                    <a:pt x="1382" y="316"/>
                  </a:lnTo>
                  <a:lnTo>
                    <a:pt x="1380" y="314"/>
                  </a:lnTo>
                  <a:lnTo>
                    <a:pt x="1380" y="313"/>
                  </a:lnTo>
                  <a:lnTo>
                    <a:pt x="1379" y="311"/>
                  </a:lnTo>
                  <a:lnTo>
                    <a:pt x="1379" y="310"/>
                  </a:lnTo>
                  <a:lnTo>
                    <a:pt x="1379" y="310"/>
                  </a:lnTo>
                  <a:lnTo>
                    <a:pt x="1379" y="308"/>
                  </a:lnTo>
                  <a:lnTo>
                    <a:pt x="1379" y="308"/>
                  </a:lnTo>
                  <a:lnTo>
                    <a:pt x="1379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7" y="305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7" y="302"/>
                  </a:lnTo>
                  <a:lnTo>
                    <a:pt x="1379" y="301"/>
                  </a:lnTo>
                  <a:lnTo>
                    <a:pt x="1379" y="299"/>
                  </a:lnTo>
                  <a:lnTo>
                    <a:pt x="1379" y="296"/>
                  </a:lnTo>
                  <a:lnTo>
                    <a:pt x="1379" y="294"/>
                  </a:lnTo>
                  <a:lnTo>
                    <a:pt x="1380" y="291"/>
                  </a:lnTo>
                  <a:lnTo>
                    <a:pt x="1379" y="288"/>
                  </a:lnTo>
                  <a:lnTo>
                    <a:pt x="1377" y="287"/>
                  </a:lnTo>
                  <a:lnTo>
                    <a:pt x="1372" y="285"/>
                  </a:lnTo>
                  <a:lnTo>
                    <a:pt x="1371" y="284"/>
                  </a:lnTo>
                  <a:lnTo>
                    <a:pt x="1371" y="282"/>
                  </a:lnTo>
                  <a:lnTo>
                    <a:pt x="1371" y="281"/>
                  </a:lnTo>
                  <a:lnTo>
                    <a:pt x="1371" y="281"/>
                  </a:lnTo>
                  <a:lnTo>
                    <a:pt x="1371" y="278"/>
                  </a:lnTo>
                  <a:lnTo>
                    <a:pt x="1371" y="278"/>
                  </a:lnTo>
                  <a:lnTo>
                    <a:pt x="1371" y="276"/>
                  </a:lnTo>
                  <a:lnTo>
                    <a:pt x="1371" y="276"/>
                  </a:lnTo>
                  <a:lnTo>
                    <a:pt x="1371" y="276"/>
                  </a:lnTo>
                  <a:lnTo>
                    <a:pt x="1369" y="273"/>
                  </a:lnTo>
                  <a:lnTo>
                    <a:pt x="1369" y="271"/>
                  </a:lnTo>
                  <a:lnTo>
                    <a:pt x="1369" y="270"/>
                  </a:lnTo>
                  <a:lnTo>
                    <a:pt x="1369" y="270"/>
                  </a:lnTo>
                  <a:lnTo>
                    <a:pt x="1366" y="268"/>
                  </a:lnTo>
                  <a:lnTo>
                    <a:pt x="1366" y="267"/>
                  </a:lnTo>
                  <a:lnTo>
                    <a:pt x="1368" y="265"/>
                  </a:lnTo>
                  <a:lnTo>
                    <a:pt x="1369" y="265"/>
                  </a:lnTo>
                  <a:lnTo>
                    <a:pt x="1369" y="264"/>
                  </a:lnTo>
                  <a:lnTo>
                    <a:pt x="1371" y="264"/>
                  </a:lnTo>
                  <a:lnTo>
                    <a:pt x="1372" y="265"/>
                  </a:lnTo>
                  <a:lnTo>
                    <a:pt x="1374" y="264"/>
                  </a:lnTo>
                  <a:lnTo>
                    <a:pt x="1379" y="264"/>
                  </a:lnTo>
                  <a:lnTo>
                    <a:pt x="1380" y="264"/>
                  </a:lnTo>
                  <a:lnTo>
                    <a:pt x="1385" y="267"/>
                  </a:lnTo>
                  <a:lnTo>
                    <a:pt x="1388" y="267"/>
                  </a:lnTo>
                  <a:lnTo>
                    <a:pt x="1389" y="265"/>
                  </a:lnTo>
                  <a:lnTo>
                    <a:pt x="1392" y="264"/>
                  </a:lnTo>
                  <a:lnTo>
                    <a:pt x="1394" y="264"/>
                  </a:lnTo>
                  <a:lnTo>
                    <a:pt x="1395" y="261"/>
                  </a:lnTo>
                  <a:lnTo>
                    <a:pt x="1395" y="259"/>
                  </a:lnTo>
                  <a:lnTo>
                    <a:pt x="1395" y="258"/>
                  </a:lnTo>
                  <a:lnTo>
                    <a:pt x="1395" y="256"/>
                  </a:lnTo>
                  <a:lnTo>
                    <a:pt x="1395" y="256"/>
                  </a:lnTo>
                  <a:lnTo>
                    <a:pt x="1395" y="256"/>
                  </a:lnTo>
                  <a:lnTo>
                    <a:pt x="1397" y="254"/>
                  </a:lnTo>
                  <a:lnTo>
                    <a:pt x="1397" y="253"/>
                  </a:lnTo>
                  <a:lnTo>
                    <a:pt x="1395" y="251"/>
                  </a:lnTo>
                  <a:lnTo>
                    <a:pt x="1395" y="250"/>
                  </a:lnTo>
                  <a:lnTo>
                    <a:pt x="1395" y="248"/>
                  </a:lnTo>
                  <a:lnTo>
                    <a:pt x="1397" y="248"/>
                  </a:lnTo>
                  <a:lnTo>
                    <a:pt x="1399" y="242"/>
                  </a:lnTo>
                  <a:lnTo>
                    <a:pt x="1400" y="242"/>
                  </a:lnTo>
                  <a:lnTo>
                    <a:pt x="1400" y="241"/>
                  </a:lnTo>
                  <a:lnTo>
                    <a:pt x="1400" y="241"/>
                  </a:lnTo>
                  <a:lnTo>
                    <a:pt x="1399" y="238"/>
                  </a:lnTo>
                  <a:lnTo>
                    <a:pt x="1400" y="236"/>
                  </a:lnTo>
                  <a:lnTo>
                    <a:pt x="1408" y="230"/>
                  </a:lnTo>
                  <a:lnTo>
                    <a:pt x="1409" y="228"/>
                  </a:lnTo>
                  <a:lnTo>
                    <a:pt x="1411" y="230"/>
                  </a:lnTo>
                  <a:lnTo>
                    <a:pt x="1412" y="233"/>
                  </a:lnTo>
                  <a:lnTo>
                    <a:pt x="1414" y="234"/>
                  </a:lnTo>
                  <a:lnTo>
                    <a:pt x="1419" y="236"/>
                  </a:lnTo>
                  <a:lnTo>
                    <a:pt x="1420" y="238"/>
                  </a:lnTo>
                  <a:lnTo>
                    <a:pt x="1425" y="242"/>
                  </a:lnTo>
                  <a:lnTo>
                    <a:pt x="1425" y="241"/>
                  </a:lnTo>
                  <a:lnTo>
                    <a:pt x="1423" y="236"/>
                  </a:lnTo>
                  <a:lnTo>
                    <a:pt x="1423" y="236"/>
                  </a:lnTo>
                  <a:lnTo>
                    <a:pt x="1422" y="233"/>
                  </a:lnTo>
                  <a:lnTo>
                    <a:pt x="1417" y="227"/>
                  </a:lnTo>
                  <a:lnTo>
                    <a:pt x="1417" y="227"/>
                  </a:lnTo>
                  <a:lnTo>
                    <a:pt x="1417" y="227"/>
                  </a:lnTo>
                  <a:lnTo>
                    <a:pt x="1415" y="227"/>
                  </a:lnTo>
                  <a:lnTo>
                    <a:pt x="1415" y="227"/>
                  </a:lnTo>
                  <a:lnTo>
                    <a:pt x="1415" y="227"/>
                  </a:lnTo>
                  <a:lnTo>
                    <a:pt x="1414" y="225"/>
                  </a:lnTo>
                  <a:lnTo>
                    <a:pt x="1411" y="222"/>
                  </a:lnTo>
                  <a:lnTo>
                    <a:pt x="1409" y="224"/>
                  </a:lnTo>
                  <a:lnTo>
                    <a:pt x="1409" y="222"/>
                  </a:lnTo>
                  <a:lnTo>
                    <a:pt x="1409" y="221"/>
                  </a:lnTo>
                  <a:lnTo>
                    <a:pt x="1409" y="221"/>
                  </a:lnTo>
                  <a:lnTo>
                    <a:pt x="1408" y="219"/>
                  </a:lnTo>
                  <a:lnTo>
                    <a:pt x="1408" y="219"/>
                  </a:lnTo>
                  <a:lnTo>
                    <a:pt x="1408" y="217"/>
                  </a:lnTo>
                  <a:lnTo>
                    <a:pt x="1406" y="216"/>
                  </a:lnTo>
                  <a:lnTo>
                    <a:pt x="1406" y="216"/>
                  </a:lnTo>
                  <a:lnTo>
                    <a:pt x="1405" y="213"/>
                  </a:lnTo>
                  <a:lnTo>
                    <a:pt x="1400" y="210"/>
                  </a:lnTo>
                  <a:lnTo>
                    <a:pt x="1394" y="205"/>
                  </a:lnTo>
                  <a:lnTo>
                    <a:pt x="1389" y="204"/>
                  </a:lnTo>
                  <a:lnTo>
                    <a:pt x="1386" y="202"/>
                  </a:lnTo>
                  <a:lnTo>
                    <a:pt x="1385" y="202"/>
                  </a:lnTo>
                  <a:lnTo>
                    <a:pt x="1380" y="204"/>
                  </a:lnTo>
                  <a:lnTo>
                    <a:pt x="1379" y="204"/>
                  </a:lnTo>
                  <a:lnTo>
                    <a:pt x="1377" y="204"/>
                  </a:lnTo>
                  <a:lnTo>
                    <a:pt x="1375" y="205"/>
                  </a:lnTo>
                  <a:lnTo>
                    <a:pt x="1375" y="204"/>
                  </a:lnTo>
                  <a:lnTo>
                    <a:pt x="1374" y="204"/>
                  </a:lnTo>
                  <a:lnTo>
                    <a:pt x="1374" y="204"/>
                  </a:lnTo>
                  <a:lnTo>
                    <a:pt x="1371" y="204"/>
                  </a:lnTo>
                  <a:lnTo>
                    <a:pt x="1369" y="205"/>
                  </a:lnTo>
                  <a:lnTo>
                    <a:pt x="1368" y="205"/>
                  </a:lnTo>
                  <a:lnTo>
                    <a:pt x="1359" y="204"/>
                  </a:lnTo>
                  <a:lnTo>
                    <a:pt x="1351" y="201"/>
                  </a:lnTo>
                  <a:lnTo>
                    <a:pt x="1345" y="197"/>
                  </a:lnTo>
                  <a:lnTo>
                    <a:pt x="1340" y="196"/>
                  </a:lnTo>
                  <a:lnTo>
                    <a:pt x="1340" y="193"/>
                  </a:lnTo>
                  <a:lnTo>
                    <a:pt x="1340" y="193"/>
                  </a:lnTo>
                  <a:lnTo>
                    <a:pt x="1345" y="191"/>
                  </a:lnTo>
                  <a:lnTo>
                    <a:pt x="1345" y="190"/>
                  </a:lnTo>
                  <a:lnTo>
                    <a:pt x="1345" y="190"/>
                  </a:lnTo>
                  <a:lnTo>
                    <a:pt x="1342" y="187"/>
                  </a:lnTo>
                  <a:lnTo>
                    <a:pt x="1342" y="185"/>
                  </a:lnTo>
                  <a:lnTo>
                    <a:pt x="1343" y="184"/>
                  </a:lnTo>
                  <a:lnTo>
                    <a:pt x="1342" y="184"/>
                  </a:lnTo>
                  <a:lnTo>
                    <a:pt x="1342" y="181"/>
                  </a:lnTo>
                  <a:lnTo>
                    <a:pt x="1338" y="176"/>
                  </a:lnTo>
                  <a:lnTo>
                    <a:pt x="1335" y="174"/>
                  </a:lnTo>
                  <a:lnTo>
                    <a:pt x="1335" y="173"/>
                  </a:lnTo>
                  <a:lnTo>
                    <a:pt x="1335" y="171"/>
                  </a:lnTo>
                  <a:lnTo>
                    <a:pt x="1337" y="170"/>
                  </a:lnTo>
                  <a:lnTo>
                    <a:pt x="1337" y="167"/>
                  </a:lnTo>
                  <a:lnTo>
                    <a:pt x="1337" y="167"/>
                  </a:lnTo>
                  <a:lnTo>
                    <a:pt x="1337" y="165"/>
                  </a:lnTo>
                  <a:lnTo>
                    <a:pt x="1334" y="164"/>
                  </a:lnTo>
                  <a:lnTo>
                    <a:pt x="1332" y="162"/>
                  </a:lnTo>
                  <a:lnTo>
                    <a:pt x="1332" y="161"/>
                  </a:lnTo>
                  <a:lnTo>
                    <a:pt x="1335" y="157"/>
                  </a:lnTo>
                  <a:lnTo>
                    <a:pt x="1337" y="156"/>
                  </a:lnTo>
                  <a:lnTo>
                    <a:pt x="1338" y="156"/>
                  </a:lnTo>
                  <a:lnTo>
                    <a:pt x="1338" y="156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38" y="154"/>
                  </a:lnTo>
                  <a:lnTo>
                    <a:pt x="1340" y="156"/>
                  </a:lnTo>
                  <a:lnTo>
                    <a:pt x="1340" y="153"/>
                  </a:lnTo>
                  <a:lnTo>
                    <a:pt x="1340" y="151"/>
                  </a:lnTo>
                  <a:lnTo>
                    <a:pt x="1343" y="147"/>
                  </a:lnTo>
                  <a:lnTo>
                    <a:pt x="1343" y="145"/>
                  </a:lnTo>
                  <a:lnTo>
                    <a:pt x="1343" y="144"/>
                  </a:lnTo>
                  <a:lnTo>
                    <a:pt x="1345" y="142"/>
                  </a:lnTo>
                  <a:lnTo>
                    <a:pt x="1345" y="140"/>
                  </a:lnTo>
                  <a:lnTo>
                    <a:pt x="1345" y="134"/>
                  </a:lnTo>
                  <a:lnTo>
                    <a:pt x="1345" y="133"/>
                  </a:lnTo>
                  <a:lnTo>
                    <a:pt x="1345" y="131"/>
                  </a:lnTo>
                  <a:lnTo>
                    <a:pt x="1340" y="125"/>
                  </a:lnTo>
                  <a:lnTo>
                    <a:pt x="1340" y="124"/>
                  </a:lnTo>
                  <a:lnTo>
                    <a:pt x="1340" y="122"/>
                  </a:lnTo>
                  <a:lnTo>
                    <a:pt x="1340" y="119"/>
                  </a:lnTo>
                  <a:lnTo>
                    <a:pt x="1338" y="117"/>
                  </a:lnTo>
                  <a:lnTo>
                    <a:pt x="1338" y="116"/>
                  </a:lnTo>
                  <a:lnTo>
                    <a:pt x="1335" y="113"/>
                  </a:lnTo>
                  <a:lnTo>
                    <a:pt x="1332" y="110"/>
                  </a:lnTo>
                  <a:lnTo>
                    <a:pt x="1329" y="108"/>
                  </a:lnTo>
                  <a:lnTo>
                    <a:pt x="1326" y="108"/>
                  </a:lnTo>
                  <a:lnTo>
                    <a:pt x="1325" y="107"/>
                  </a:lnTo>
                  <a:lnTo>
                    <a:pt x="1325" y="104"/>
                  </a:lnTo>
                  <a:lnTo>
                    <a:pt x="1323" y="100"/>
                  </a:lnTo>
                  <a:lnTo>
                    <a:pt x="1323" y="99"/>
                  </a:lnTo>
                  <a:lnTo>
                    <a:pt x="1325" y="96"/>
                  </a:lnTo>
                  <a:lnTo>
                    <a:pt x="1323" y="94"/>
                  </a:lnTo>
                  <a:lnTo>
                    <a:pt x="1322" y="91"/>
                  </a:lnTo>
                  <a:lnTo>
                    <a:pt x="1320" y="91"/>
                  </a:lnTo>
                  <a:lnTo>
                    <a:pt x="1317" y="90"/>
                  </a:lnTo>
                  <a:lnTo>
                    <a:pt x="1315" y="90"/>
                  </a:lnTo>
                  <a:lnTo>
                    <a:pt x="1308" y="93"/>
                  </a:lnTo>
                  <a:lnTo>
                    <a:pt x="1308" y="91"/>
                  </a:lnTo>
                  <a:lnTo>
                    <a:pt x="1305" y="87"/>
                  </a:lnTo>
                  <a:lnTo>
                    <a:pt x="1303" y="85"/>
                  </a:lnTo>
                  <a:lnTo>
                    <a:pt x="1302" y="85"/>
                  </a:lnTo>
                  <a:lnTo>
                    <a:pt x="1300" y="85"/>
                  </a:lnTo>
                  <a:lnTo>
                    <a:pt x="1298" y="85"/>
                  </a:lnTo>
                  <a:lnTo>
                    <a:pt x="1303" y="82"/>
                  </a:lnTo>
                  <a:lnTo>
                    <a:pt x="1303" y="82"/>
                  </a:lnTo>
                  <a:lnTo>
                    <a:pt x="1305" y="80"/>
                  </a:lnTo>
                  <a:lnTo>
                    <a:pt x="1305" y="80"/>
                  </a:lnTo>
                  <a:lnTo>
                    <a:pt x="1303" y="79"/>
                  </a:lnTo>
                  <a:lnTo>
                    <a:pt x="1300" y="79"/>
                  </a:lnTo>
                  <a:lnTo>
                    <a:pt x="1297" y="76"/>
                  </a:lnTo>
                  <a:lnTo>
                    <a:pt x="1291" y="71"/>
                  </a:lnTo>
                  <a:lnTo>
                    <a:pt x="1291" y="70"/>
                  </a:lnTo>
                  <a:lnTo>
                    <a:pt x="1288" y="67"/>
                  </a:lnTo>
                  <a:lnTo>
                    <a:pt x="1288" y="65"/>
                  </a:lnTo>
                  <a:lnTo>
                    <a:pt x="1286" y="65"/>
                  </a:lnTo>
                  <a:lnTo>
                    <a:pt x="1286" y="65"/>
                  </a:lnTo>
                  <a:lnTo>
                    <a:pt x="1286" y="65"/>
                  </a:lnTo>
                  <a:lnTo>
                    <a:pt x="1286" y="63"/>
                  </a:lnTo>
                  <a:lnTo>
                    <a:pt x="1283" y="63"/>
                  </a:lnTo>
                  <a:lnTo>
                    <a:pt x="1283" y="63"/>
                  </a:lnTo>
                  <a:lnTo>
                    <a:pt x="1281" y="62"/>
                  </a:lnTo>
                  <a:lnTo>
                    <a:pt x="1281" y="60"/>
                  </a:lnTo>
                  <a:lnTo>
                    <a:pt x="1281" y="60"/>
                  </a:lnTo>
                  <a:lnTo>
                    <a:pt x="1280" y="60"/>
                  </a:lnTo>
                  <a:lnTo>
                    <a:pt x="1278" y="62"/>
                  </a:lnTo>
                  <a:lnTo>
                    <a:pt x="1277" y="62"/>
                  </a:lnTo>
                  <a:lnTo>
                    <a:pt x="1275" y="60"/>
                  </a:lnTo>
                  <a:lnTo>
                    <a:pt x="1274" y="59"/>
                  </a:lnTo>
                  <a:lnTo>
                    <a:pt x="1274" y="59"/>
                  </a:lnTo>
                  <a:lnTo>
                    <a:pt x="1275" y="57"/>
                  </a:lnTo>
                  <a:lnTo>
                    <a:pt x="1277" y="56"/>
                  </a:lnTo>
                  <a:lnTo>
                    <a:pt x="1277" y="56"/>
                  </a:lnTo>
                  <a:lnTo>
                    <a:pt x="1277" y="54"/>
                  </a:lnTo>
                  <a:lnTo>
                    <a:pt x="1277" y="54"/>
                  </a:lnTo>
                  <a:lnTo>
                    <a:pt x="1277" y="53"/>
                  </a:lnTo>
                  <a:lnTo>
                    <a:pt x="1277" y="53"/>
                  </a:lnTo>
                  <a:lnTo>
                    <a:pt x="1266" y="51"/>
                  </a:lnTo>
                  <a:lnTo>
                    <a:pt x="1261" y="51"/>
                  </a:lnTo>
                  <a:lnTo>
                    <a:pt x="1260" y="51"/>
                  </a:lnTo>
                  <a:lnTo>
                    <a:pt x="1260" y="53"/>
                  </a:lnTo>
                  <a:lnTo>
                    <a:pt x="1260" y="53"/>
                  </a:lnTo>
                  <a:lnTo>
                    <a:pt x="1258" y="53"/>
                  </a:lnTo>
                  <a:lnTo>
                    <a:pt x="1258" y="54"/>
                  </a:lnTo>
                  <a:lnTo>
                    <a:pt x="1257" y="59"/>
                  </a:lnTo>
                  <a:lnTo>
                    <a:pt x="1257" y="60"/>
                  </a:lnTo>
                  <a:lnTo>
                    <a:pt x="1255" y="62"/>
                  </a:lnTo>
                  <a:lnTo>
                    <a:pt x="1252" y="65"/>
                  </a:lnTo>
                  <a:lnTo>
                    <a:pt x="1251" y="67"/>
                  </a:lnTo>
                  <a:lnTo>
                    <a:pt x="1251" y="67"/>
                  </a:lnTo>
                  <a:lnTo>
                    <a:pt x="1249" y="67"/>
                  </a:lnTo>
                  <a:lnTo>
                    <a:pt x="1235" y="62"/>
                  </a:lnTo>
                  <a:lnTo>
                    <a:pt x="1232" y="62"/>
                  </a:lnTo>
                  <a:lnTo>
                    <a:pt x="1231" y="62"/>
                  </a:lnTo>
                  <a:lnTo>
                    <a:pt x="1229" y="60"/>
                  </a:lnTo>
                  <a:lnTo>
                    <a:pt x="1228" y="60"/>
                  </a:lnTo>
                  <a:lnTo>
                    <a:pt x="1228" y="60"/>
                  </a:lnTo>
                  <a:lnTo>
                    <a:pt x="1225" y="60"/>
                  </a:lnTo>
                  <a:lnTo>
                    <a:pt x="1223" y="60"/>
                  </a:lnTo>
                  <a:lnTo>
                    <a:pt x="1223" y="60"/>
                  </a:lnTo>
                  <a:lnTo>
                    <a:pt x="1221" y="60"/>
                  </a:lnTo>
                  <a:lnTo>
                    <a:pt x="1220" y="60"/>
                  </a:lnTo>
                  <a:lnTo>
                    <a:pt x="1218" y="62"/>
                  </a:lnTo>
                  <a:lnTo>
                    <a:pt x="1212" y="59"/>
                  </a:lnTo>
                  <a:lnTo>
                    <a:pt x="1209" y="60"/>
                  </a:lnTo>
                  <a:lnTo>
                    <a:pt x="1209" y="62"/>
                  </a:lnTo>
                  <a:lnTo>
                    <a:pt x="1206" y="65"/>
                  </a:lnTo>
                  <a:lnTo>
                    <a:pt x="1203" y="67"/>
                  </a:lnTo>
                  <a:lnTo>
                    <a:pt x="1203" y="68"/>
                  </a:lnTo>
                  <a:lnTo>
                    <a:pt x="1201" y="67"/>
                  </a:lnTo>
                  <a:lnTo>
                    <a:pt x="1198" y="65"/>
                  </a:lnTo>
                  <a:lnTo>
                    <a:pt x="1198" y="63"/>
                  </a:lnTo>
                  <a:lnTo>
                    <a:pt x="1195" y="63"/>
                  </a:lnTo>
                  <a:lnTo>
                    <a:pt x="1195" y="63"/>
                  </a:lnTo>
                  <a:lnTo>
                    <a:pt x="1194" y="63"/>
                  </a:lnTo>
                  <a:lnTo>
                    <a:pt x="1194" y="62"/>
                  </a:lnTo>
                  <a:lnTo>
                    <a:pt x="1194" y="62"/>
                  </a:lnTo>
                  <a:lnTo>
                    <a:pt x="1194" y="60"/>
                  </a:lnTo>
                  <a:lnTo>
                    <a:pt x="1194" y="60"/>
                  </a:lnTo>
                  <a:lnTo>
                    <a:pt x="1192" y="62"/>
                  </a:lnTo>
                  <a:lnTo>
                    <a:pt x="1189" y="62"/>
                  </a:lnTo>
                  <a:lnTo>
                    <a:pt x="1189" y="62"/>
                  </a:lnTo>
                  <a:lnTo>
                    <a:pt x="1181" y="59"/>
                  </a:lnTo>
                  <a:lnTo>
                    <a:pt x="1180" y="60"/>
                  </a:lnTo>
                  <a:lnTo>
                    <a:pt x="1175" y="63"/>
                  </a:lnTo>
                  <a:lnTo>
                    <a:pt x="1175" y="65"/>
                  </a:lnTo>
                  <a:lnTo>
                    <a:pt x="1174" y="67"/>
                  </a:lnTo>
                  <a:lnTo>
                    <a:pt x="1174" y="70"/>
                  </a:lnTo>
                  <a:lnTo>
                    <a:pt x="1172" y="71"/>
                  </a:lnTo>
                  <a:lnTo>
                    <a:pt x="1171" y="71"/>
                  </a:lnTo>
                  <a:lnTo>
                    <a:pt x="1171" y="73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4"/>
                  </a:lnTo>
                  <a:lnTo>
                    <a:pt x="1163" y="74"/>
                  </a:lnTo>
                  <a:lnTo>
                    <a:pt x="1157" y="80"/>
                  </a:lnTo>
                  <a:lnTo>
                    <a:pt x="1155" y="80"/>
                  </a:lnTo>
                  <a:lnTo>
                    <a:pt x="1154" y="80"/>
                  </a:lnTo>
                  <a:lnTo>
                    <a:pt x="1151" y="80"/>
                  </a:lnTo>
                  <a:lnTo>
                    <a:pt x="1149" y="82"/>
                  </a:lnTo>
                  <a:lnTo>
                    <a:pt x="1146" y="85"/>
                  </a:lnTo>
                  <a:lnTo>
                    <a:pt x="1146" y="87"/>
                  </a:lnTo>
                  <a:lnTo>
                    <a:pt x="1143" y="87"/>
                  </a:lnTo>
                  <a:lnTo>
                    <a:pt x="1141" y="88"/>
                  </a:lnTo>
                  <a:lnTo>
                    <a:pt x="1140" y="88"/>
                  </a:lnTo>
                  <a:lnTo>
                    <a:pt x="1140" y="88"/>
                  </a:lnTo>
                  <a:lnTo>
                    <a:pt x="1137" y="90"/>
                  </a:lnTo>
                  <a:lnTo>
                    <a:pt x="1134" y="91"/>
                  </a:lnTo>
                  <a:lnTo>
                    <a:pt x="1131" y="90"/>
                  </a:lnTo>
                  <a:lnTo>
                    <a:pt x="1131" y="90"/>
                  </a:lnTo>
                  <a:lnTo>
                    <a:pt x="1129" y="90"/>
                  </a:lnTo>
                  <a:lnTo>
                    <a:pt x="1124" y="94"/>
                  </a:lnTo>
                  <a:lnTo>
                    <a:pt x="1120" y="99"/>
                  </a:lnTo>
                  <a:lnTo>
                    <a:pt x="1118" y="100"/>
                  </a:lnTo>
                  <a:lnTo>
                    <a:pt x="1118" y="100"/>
                  </a:lnTo>
                  <a:lnTo>
                    <a:pt x="1115" y="100"/>
                  </a:lnTo>
                  <a:lnTo>
                    <a:pt x="1114" y="100"/>
                  </a:lnTo>
                  <a:lnTo>
                    <a:pt x="1112" y="104"/>
                  </a:lnTo>
                  <a:lnTo>
                    <a:pt x="1109" y="105"/>
                  </a:lnTo>
                  <a:lnTo>
                    <a:pt x="1107" y="105"/>
                  </a:lnTo>
                  <a:lnTo>
                    <a:pt x="1104" y="105"/>
                  </a:lnTo>
                  <a:lnTo>
                    <a:pt x="1103" y="104"/>
                  </a:lnTo>
                  <a:lnTo>
                    <a:pt x="1091" y="113"/>
                  </a:lnTo>
                  <a:lnTo>
                    <a:pt x="1086" y="113"/>
                  </a:lnTo>
                  <a:lnTo>
                    <a:pt x="1084" y="114"/>
                  </a:lnTo>
                  <a:lnTo>
                    <a:pt x="1083" y="116"/>
                  </a:lnTo>
                  <a:lnTo>
                    <a:pt x="1080" y="116"/>
                  </a:lnTo>
                  <a:lnTo>
                    <a:pt x="1078" y="117"/>
                  </a:lnTo>
                  <a:lnTo>
                    <a:pt x="1077" y="117"/>
                  </a:lnTo>
                  <a:lnTo>
                    <a:pt x="1074" y="116"/>
                  </a:lnTo>
                  <a:lnTo>
                    <a:pt x="1072" y="114"/>
                  </a:lnTo>
                  <a:lnTo>
                    <a:pt x="1067" y="111"/>
                  </a:lnTo>
                  <a:lnTo>
                    <a:pt x="1066" y="111"/>
                  </a:lnTo>
                  <a:lnTo>
                    <a:pt x="1061" y="113"/>
                  </a:lnTo>
                  <a:lnTo>
                    <a:pt x="1060" y="114"/>
                  </a:lnTo>
                  <a:lnTo>
                    <a:pt x="1058" y="113"/>
                  </a:lnTo>
                  <a:lnTo>
                    <a:pt x="1057" y="113"/>
                  </a:lnTo>
                  <a:lnTo>
                    <a:pt x="1052" y="110"/>
                  </a:lnTo>
                  <a:lnTo>
                    <a:pt x="1052" y="108"/>
                  </a:lnTo>
                  <a:lnTo>
                    <a:pt x="1050" y="110"/>
                  </a:lnTo>
                  <a:lnTo>
                    <a:pt x="1049" y="108"/>
                  </a:lnTo>
                  <a:lnTo>
                    <a:pt x="1047" y="108"/>
                  </a:lnTo>
                  <a:lnTo>
                    <a:pt x="1046" y="108"/>
                  </a:lnTo>
                  <a:lnTo>
                    <a:pt x="1044" y="108"/>
                  </a:lnTo>
                  <a:lnTo>
                    <a:pt x="1043" y="108"/>
                  </a:lnTo>
                  <a:lnTo>
                    <a:pt x="1040" y="108"/>
                  </a:lnTo>
                  <a:lnTo>
                    <a:pt x="1037" y="107"/>
                  </a:lnTo>
                  <a:lnTo>
                    <a:pt x="1034" y="104"/>
                  </a:lnTo>
                  <a:lnTo>
                    <a:pt x="1030" y="100"/>
                  </a:lnTo>
                  <a:lnTo>
                    <a:pt x="1030" y="99"/>
                  </a:lnTo>
                  <a:lnTo>
                    <a:pt x="1026" y="97"/>
                  </a:lnTo>
                  <a:lnTo>
                    <a:pt x="1024" y="99"/>
                  </a:lnTo>
                  <a:lnTo>
                    <a:pt x="1024" y="99"/>
                  </a:lnTo>
                  <a:lnTo>
                    <a:pt x="1024" y="99"/>
                  </a:lnTo>
                  <a:lnTo>
                    <a:pt x="1023" y="99"/>
                  </a:lnTo>
                  <a:lnTo>
                    <a:pt x="1020" y="102"/>
                  </a:lnTo>
                  <a:lnTo>
                    <a:pt x="1018" y="102"/>
                  </a:lnTo>
                  <a:lnTo>
                    <a:pt x="1017" y="102"/>
                  </a:lnTo>
                  <a:lnTo>
                    <a:pt x="1015" y="104"/>
                  </a:lnTo>
                  <a:lnTo>
                    <a:pt x="1014" y="104"/>
                  </a:lnTo>
                  <a:lnTo>
                    <a:pt x="1012" y="104"/>
                  </a:lnTo>
                  <a:lnTo>
                    <a:pt x="1009" y="102"/>
                  </a:lnTo>
                  <a:lnTo>
                    <a:pt x="1009" y="102"/>
                  </a:lnTo>
                  <a:lnTo>
                    <a:pt x="1006" y="102"/>
                  </a:lnTo>
                  <a:lnTo>
                    <a:pt x="1004" y="102"/>
                  </a:lnTo>
                  <a:lnTo>
                    <a:pt x="1003" y="104"/>
                  </a:lnTo>
                  <a:lnTo>
                    <a:pt x="1003" y="104"/>
                  </a:lnTo>
                  <a:lnTo>
                    <a:pt x="997" y="105"/>
                  </a:lnTo>
                  <a:lnTo>
                    <a:pt x="987" y="105"/>
                  </a:lnTo>
                  <a:lnTo>
                    <a:pt x="986" y="105"/>
                  </a:lnTo>
                  <a:lnTo>
                    <a:pt x="986" y="107"/>
                  </a:lnTo>
                  <a:lnTo>
                    <a:pt x="984" y="107"/>
                  </a:lnTo>
                  <a:lnTo>
                    <a:pt x="978" y="108"/>
                  </a:lnTo>
                  <a:lnTo>
                    <a:pt x="977" y="110"/>
                  </a:lnTo>
                  <a:lnTo>
                    <a:pt x="977" y="110"/>
                  </a:lnTo>
                  <a:lnTo>
                    <a:pt x="977" y="110"/>
                  </a:lnTo>
                  <a:lnTo>
                    <a:pt x="975" y="111"/>
                  </a:lnTo>
                  <a:lnTo>
                    <a:pt x="973" y="111"/>
                  </a:lnTo>
                  <a:lnTo>
                    <a:pt x="973" y="113"/>
                  </a:lnTo>
                  <a:lnTo>
                    <a:pt x="972" y="113"/>
                  </a:lnTo>
                  <a:lnTo>
                    <a:pt x="972" y="114"/>
                  </a:lnTo>
                  <a:lnTo>
                    <a:pt x="972" y="114"/>
                  </a:lnTo>
                  <a:lnTo>
                    <a:pt x="970" y="114"/>
                  </a:lnTo>
                  <a:lnTo>
                    <a:pt x="969" y="114"/>
                  </a:lnTo>
                  <a:lnTo>
                    <a:pt x="969" y="114"/>
                  </a:lnTo>
                  <a:lnTo>
                    <a:pt x="967" y="111"/>
                  </a:lnTo>
                  <a:lnTo>
                    <a:pt x="967" y="111"/>
                  </a:lnTo>
                  <a:lnTo>
                    <a:pt x="966" y="111"/>
                  </a:lnTo>
                  <a:lnTo>
                    <a:pt x="964" y="113"/>
                  </a:lnTo>
                  <a:lnTo>
                    <a:pt x="963" y="113"/>
                  </a:lnTo>
                  <a:lnTo>
                    <a:pt x="960" y="116"/>
                  </a:lnTo>
                  <a:lnTo>
                    <a:pt x="960" y="116"/>
                  </a:lnTo>
                  <a:lnTo>
                    <a:pt x="953" y="117"/>
                  </a:lnTo>
                  <a:lnTo>
                    <a:pt x="952" y="117"/>
                  </a:lnTo>
                  <a:lnTo>
                    <a:pt x="950" y="117"/>
                  </a:lnTo>
                  <a:lnTo>
                    <a:pt x="947" y="116"/>
                  </a:lnTo>
                  <a:lnTo>
                    <a:pt x="944" y="117"/>
                  </a:lnTo>
                  <a:lnTo>
                    <a:pt x="943" y="117"/>
                  </a:lnTo>
                  <a:lnTo>
                    <a:pt x="940" y="114"/>
                  </a:lnTo>
                  <a:lnTo>
                    <a:pt x="938" y="114"/>
                  </a:lnTo>
                  <a:lnTo>
                    <a:pt x="935" y="114"/>
                  </a:lnTo>
                  <a:lnTo>
                    <a:pt x="933" y="114"/>
                  </a:lnTo>
                  <a:lnTo>
                    <a:pt x="930" y="114"/>
                  </a:lnTo>
                  <a:lnTo>
                    <a:pt x="926" y="113"/>
                  </a:lnTo>
                  <a:lnTo>
                    <a:pt x="918" y="110"/>
                  </a:lnTo>
                  <a:lnTo>
                    <a:pt x="913" y="110"/>
                  </a:lnTo>
                  <a:lnTo>
                    <a:pt x="910" y="111"/>
                  </a:lnTo>
                  <a:lnTo>
                    <a:pt x="910" y="108"/>
                  </a:lnTo>
                  <a:lnTo>
                    <a:pt x="909" y="108"/>
                  </a:lnTo>
                  <a:lnTo>
                    <a:pt x="907" y="107"/>
                  </a:lnTo>
                  <a:lnTo>
                    <a:pt x="904" y="105"/>
                  </a:lnTo>
                  <a:lnTo>
                    <a:pt x="903" y="104"/>
                  </a:lnTo>
                  <a:lnTo>
                    <a:pt x="903" y="97"/>
                  </a:lnTo>
                  <a:lnTo>
                    <a:pt x="901" y="97"/>
                  </a:lnTo>
                  <a:lnTo>
                    <a:pt x="900" y="97"/>
                  </a:lnTo>
                  <a:lnTo>
                    <a:pt x="900" y="97"/>
                  </a:lnTo>
                  <a:lnTo>
                    <a:pt x="898" y="97"/>
                  </a:lnTo>
                  <a:lnTo>
                    <a:pt x="896" y="97"/>
                  </a:lnTo>
                  <a:lnTo>
                    <a:pt x="895" y="96"/>
                  </a:lnTo>
                  <a:lnTo>
                    <a:pt x="895" y="96"/>
                  </a:lnTo>
                  <a:lnTo>
                    <a:pt x="893" y="97"/>
                  </a:lnTo>
                  <a:lnTo>
                    <a:pt x="892" y="99"/>
                  </a:lnTo>
                  <a:lnTo>
                    <a:pt x="890" y="100"/>
                  </a:lnTo>
                  <a:lnTo>
                    <a:pt x="890" y="104"/>
                  </a:lnTo>
                  <a:lnTo>
                    <a:pt x="889" y="104"/>
                  </a:lnTo>
                  <a:lnTo>
                    <a:pt x="889" y="105"/>
                  </a:lnTo>
                  <a:lnTo>
                    <a:pt x="887" y="105"/>
                  </a:lnTo>
                  <a:lnTo>
                    <a:pt x="887" y="105"/>
                  </a:lnTo>
                  <a:lnTo>
                    <a:pt x="886" y="105"/>
                  </a:lnTo>
                  <a:lnTo>
                    <a:pt x="883" y="105"/>
                  </a:lnTo>
                  <a:lnTo>
                    <a:pt x="881" y="105"/>
                  </a:lnTo>
                  <a:lnTo>
                    <a:pt x="880" y="104"/>
                  </a:lnTo>
                  <a:lnTo>
                    <a:pt x="880" y="102"/>
                  </a:lnTo>
                  <a:lnTo>
                    <a:pt x="876" y="102"/>
                  </a:lnTo>
                  <a:lnTo>
                    <a:pt x="875" y="100"/>
                  </a:lnTo>
                  <a:lnTo>
                    <a:pt x="873" y="99"/>
                  </a:lnTo>
                  <a:lnTo>
                    <a:pt x="872" y="97"/>
                  </a:lnTo>
                  <a:lnTo>
                    <a:pt x="870" y="97"/>
                  </a:lnTo>
                  <a:lnTo>
                    <a:pt x="869" y="97"/>
                  </a:lnTo>
                  <a:lnTo>
                    <a:pt x="869" y="97"/>
                  </a:lnTo>
                  <a:lnTo>
                    <a:pt x="867" y="96"/>
                  </a:lnTo>
                  <a:lnTo>
                    <a:pt x="864" y="94"/>
                  </a:lnTo>
                  <a:lnTo>
                    <a:pt x="855" y="94"/>
                  </a:lnTo>
                  <a:lnTo>
                    <a:pt x="853" y="94"/>
                  </a:lnTo>
                  <a:lnTo>
                    <a:pt x="850" y="93"/>
                  </a:lnTo>
                  <a:lnTo>
                    <a:pt x="849" y="91"/>
                  </a:lnTo>
                  <a:lnTo>
                    <a:pt x="847" y="91"/>
                  </a:lnTo>
                  <a:lnTo>
                    <a:pt x="847" y="90"/>
                  </a:lnTo>
                  <a:lnTo>
                    <a:pt x="847" y="85"/>
                  </a:lnTo>
                  <a:lnTo>
                    <a:pt x="846" y="82"/>
                  </a:lnTo>
                  <a:lnTo>
                    <a:pt x="843" y="80"/>
                  </a:lnTo>
                  <a:lnTo>
                    <a:pt x="832" y="74"/>
                  </a:lnTo>
                  <a:lnTo>
                    <a:pt x="826" y="73"/>
                  </a:lnTo>
                  <a:lnTo>
                    <a:pt x="819" y="73"/>
                  </a:lnTo>
                  <a:lnTo>
                    <a:pt x="818" y="73"/>
                  </a:lnTo>
                  <a:lnTo>
                    <a:pt x="816" y="73"/>
                  </a:lnTo>
                  <a:lnTo>
                    <a:pt x="816" y="73"/>
                  </a:lnTo>
                  <a:lnTo>
                    <a:pt x="815" y="73"/>
                  </a:lnTo>
                  <a:lnTo>
                    <a:pt x="815" y="73"/>
                  </a:lnTo>
                  <a:lnTo>
                    <a:pt x="815" y="76"/>
                  </a:lnTo>
                  <a:lnTo>
                    <a:pt x="815" y="76"/>
                  </a:lnTo>
                  <a:lnTo>
                    <a:pt x="815" y="76"/>
                  </a:lnTo>
                  <a:lnTo>
                    <a:pt x="813" y="77"/>
                  </a:lnTo>
                  <a:lnTo>
                    <a:pt x="813" y="79"/>
                  </a:lnTo>
                  <a:lnTo>
                    <a:pt x="812" y="80"/>
                  </a:lnTo>
                  <a:lnTo>
                    <a:pt x="809" y="84"/>
                  </a:lnTo>
                  <a:lnTo>
                    <a:pt x="806" y="85"/>
                  </a:lnTo>
                  <a:lnTo>
                    <a:pt x="804" y="85"/>
                  </a:lnTo>
                  <a:lnTo>
                    <a:pt x="802" y="85"/>
                  </a:lnTo>
                  <a:lnTo>
                    <a:pt x="801" y="85"/>
                  </a:lnTo>
                  <a:lnTo>
                    <a:pt x="799" y="84"/>
                  </a:lnTo>
                  <a:lnTo>
                    <a:pt x="799" y="84"/>
                  </a:lnTo>
                  <a:lnTo>
                    <a:pt x="799" y="84"/>
                  </a:lnTo>
                  <a:lnTo>
                    <a:pt x="798" y="82"/>
                  </a:lnTo>
                  <a:lnTo>
                    <a:pt x="798" y="82"/>
                  </a:lnTo>
                  <a:lnTo>
                    <a:pt x="796" y="82"/>
                  </a:lnTo>
                  <a:lnTo>
                    <a:pt x="796" y="82"/>
                  </a:lnTo>
                  <a:lnTo>
                    <a:pt x="795" y="80"/>
                  </a:lnTo>
                  <a:lnTo>
                    <a:pt x="795" y="79"/>
                  </a:lnTo>
                  <a:lnTo>
                    <a:pt x="795" y="79"/>
                  </a:lnTo>
                  <a:lnTo>
                    <a:pt x="795" y="77"/>
                  </a:lnTo>
                  <a:lnTo>
                    <a:pt x="795" y="77"/>
                  </a:lnTo>
                  <a:lnTo>
                    <a:pt x="792" y="77"/>
                  </a:lnTo>
                  <a:lnTo>
                    <a:pt x="789" y="74"/>
                  </a:lnTo>
                  <a:lnTo>
                    <a:pt x="787" y="74"/>
                  </a:lnTo>
                  <a:lnTo>
                    <a:pt x="786" y="70"/>
                  </a:lnTo>
                  <a:lnTo>
                    <a:pt x="782" y="68"/>
                  </a:lnTo>
                  <a:lnTo>
                    <a:pt x="779" y="63"/>
                  </a:lnTo>
                  <a:lnTo>
                    <a:pt x="779" y="62"/>
                  </a:lnTo>
                  <a:lnTo>
                    <a:pt x="779" y="60"/>
                  </a:lnTo>
                  <a:lnTo>
                    <a:pt x="779" y="57"/>
                  </a:lnTo>
                  <a:lnTo>
                    <a:pt x="779" y="57"/>
                  </a:lnTo>
                  <a:lnTo>
                    <a:pt x="779" y="56"/>
                  </a:lnTo>
                  <a:lnTo>
                    <a:pt x="779" y="54"/>
                  </a:lnTo>
                  <a:lnTo>
                    <a:pt x="779" y="50"/>
                  </a:lnTo>
                  <a:lnTo>
                    <a:pt x="779" y="47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3" y="42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7"/>
                  </a:lnTo>
                  <a:lnTo>
                    <a:pt x="766" y="39"/>
                  </a:lnTo>
                  <a:lnTo>
                    <a:pt x="766" y="40"/>
                  </a:lnTo>
                  <a:lnTo>
                    <a:pt x="764" y="43"/>
                  </a:lnTo>
                  <a:lnTo>
                    <a:pt x="764" y="45"/>
                  </a:lnTo>
                  <a:lnTo>
                    <a:pt x="764" y="45"/>
                  </a:lnTo>
                  <a:lnTo>
                    <a:pt x="762" y="43"/>
                  </a:lnTo>
                  <a:lnTo>
                    <a:pt x="764" y="40"/>
                  </a:lnTo>
                  <a:lnTo>
                    <a:pt x="764" y="39"/>
                  </a:lnTo>
                  <a:lnTo>
                    <a:pt x="766" y="39"/>
                  </a:lnTo>
                  <a:lnTo>
                    <a:pt x="766" y="39"/>
                  </a:lnTo>
                  <a:lnTo>
                    <a:pt x="766" y="37"/>
                  </a:lnTo>
                  <a:lnTo>
                    <a:pt x="767" y="37"/>
                  </a:lnTo>
                  <a:lnTo>
                    <a:pt x="767" y="36"/>
                  </a:lnTo>
                  <a:lnTo>
                    <a:pt x="766" y="37"/>
                  </a:lnTo>
                  <a:lnTo>
                    <a:pt x="762" y="39"/>
                  </a:lnTo>
                  <a:lnTo>
                    <a:pt x="759" y="40"/>
                  </a:lnTo>
                  <a:lnTo>
                    <a:pt x="758" y="40"/>
                  </a:lnTo>
                  <a:lnTo>
                    <a:pt x="750" y="43"/>
                  </a:lnTo>
                  <a:lnTo>
                    <a:pt x="746" y="45"/>
                  </a:lnTo>
                  <a:lnTo>
                    <a:pt x="742" y="47"/>
                  </a:lnTo>
                  <a:lnTo>
                    <a:pt x="741" y="47"/>
                  </a:lnTo>
                  <a:lnTo>
                    <a:pt x="738" y="47"/>
                  </a:lnTo>
                  <a:lnTo>
                    <a:pt x="735" y="47"/>
                  </a:lnTo>
                  <a:lnTo>
                    <a:pt x="732" y="45"/>
                  </a:lnTo>
                  <a:lnTo>
                    <a:pt x="729" y="43"/>
                  </a:lnTo>
                  <a:lnTo>
                    <a:pt x="727" y="42"/>
                  </a:lnTo>
                  <a:lnTo>
                    <a:pt x="725" y="40"/>
                  </a:lnTo>
                  <a:lnTo>
                    <a:pt x="722" y="40"/>
                  </a:lnTo>
                  <a:lnTo>
                    <a:pt x="718" y="39"/>
                  </a:lnTo>
                  <a:lnTo>
                    <a:pt x="716" y="37"/>
                  </a:lnTo>
                  <a:lnTo>
                    <a:pt x="715" y="34"/>
                  </a:lnTo>
                  <a:lnTo>
                    <a:pt x="712" y="34"/>
                  </a:lnTo>
                  <a:lnTo>
                    <a:pt x="712" y="33"/>
                  </a:lnTo>
                  <a:lnTo>
                    <a:pt x="710" y="31"/>
                  </a:lnTo>
                  <a:lnTo>
                    <a:pt x="710" y="30"/>
                  </a:lnTo>
                  <a:lnTo>
                    <a:pt x="712" y="30"/>
                  </a:lnTo>
                  <a:lnTo>
                    <a:pt x="712" y="30"/>
                  </a:lnTo>
                  <a:lnTo>
                    <a:pt x="707" y="25"/>
                  </a:lnTo>
                  <a:lnTo>
                    <a:pt x="704" y="22"/>
                  </a:lnTo>
                  <a:lnTo>
                    <a:pt x="702" y="19"/>
                  </a:lnTo>
                  <a:lnTo>
                    <a:pt x="702" y="17"/>
                  </a:lnTo>
                  <a:lnTo>
                    <a:pt x="702" y="16"/>
                  </a:lnTo>
                  <a:lnTo>
                    <a:pt x="702" y="13"/>
                  </a:lnTo>
                  <a:lnTo>
                    <a:pt x="704" y="11"/>
                  </a:lnTo>
                  <a:lnTo>
                    <a:pt x="704" y="10"/>
                  </a:lnTo>
                  <a:lnTo>
                    <a:pt x="705" y="8"/>
                  </a:lnTo>
                  <a:lnTo>
                    <a:pt x="707" y="8"/>
                  </a:lnTo>
                  <a:lnTo>
                    <a:pt x="712" y="8"/>
                  </a:lnTo>
                  <a:lnTo>
                    <a:pt x="712" y="8"/>
                  </a:lnTo>
                  <a:lnTo>
                    <a:pt x="710" y="7"/>
                  </a:lnTo>
                  <a:lnTo>
                    <a:pt x="709" y="7"/>
                  </a:lnTo>
                  <a:lnTo>
                    <a:pt x="709" y="5"/>
                  </a:lnTo>
                  <a:lnTo>
                    <a:pt x="707" y="7"/>
                  </a:lnTo>
                  <a:lnTo>
                    <a:pt x="705" y="7"/>
                  </a:lnTo>
                  <a:lnTo>
                    <a:pt x="705" y="8"/>
                  </a:lnTo>
                  <a:lnTo>
                    <a:pt x="702" y="8"/>
                  </a:lnTo>
                  <a:lnTo>
                    <a:pt x="701" y="7"/>
                  </a:lnTo>
                  <a:lnTo>
                    <a:pt x="699" y="5"/>
                  </a:lnTo>
                  <a:lnTo>
                    <a:pt x="699" y="5"/>
                  </a:lnTo>
                  <a:lnTo>
                    <a:pt x="699" y="3"/>
                  </a:lnTo>
                  <a:lnTo>
                    <a:pt x="698" y="3"/>
                  </a:lnTo>
                  <a:lnTo>
                    <a:pt x="698" y="2"/>
                  </a:lnTo>
                  <a:lnTo>
                    <a:pt x="698" y="0"/>
                  </a:lnTo>
                  <a:lnTo>
                    <a:pt x="696" y="0"/>
                  </a:lnTo>
                  <a:lnTo>
                    <a:pt x="696" y="0"/>
                  </a:lnTo>
                  <a:lnTo>
                    <a:pt x="696" y="0"/>
                  </a:lnTo>
                  <a:lnTo>
                    <a:pt x="696" y="2"/>
                  </a:lnTo>
                  <a:lnTo>
                    <a:pt x="695" y="0"/>
                  </a:lnTo>
                  <a:lnTo>
                    <a:pt x="693" y="0"/>
                  </a:lnTo>
                  <a:lnTo>
                    <a:pt x="692" y="0"/>
                  </a:lnTo>
                  <a:lnTo>
                    <a:pt x="692" y="3"/>
                  </a:lnTo>
                  <a:lnTo>
                    <a:pt x="689" y="7"/>
                  </a:lnTo>
                  <a:lnTo>
                    <a:pt x="687" y="10"/>
                  </a:lnTo>
                  <a:lnTo>
                    <a:pt x="684" y="11"/>
                  </a:lnTo>
                  <a:lnTo>
                    <a:pt x="681" y="13"/>
                  </a:lnTo>
                  <a:lnTo>
                    <a:pt x="681" y="14"/>
                  </a:lnTo>
                  <a:lnTo>
                    <a:pt x="676" y="16"/>
                  </a:lnTo>
                  <a:lnTo>
                    <a:pt x="673" y="16"/>
                  </a:lnTo>
                  <a:lnTo>
                    <a:pt x="662" y="14"/>
                  </a:lnTo>
                  <a:lnTo>
                    <a:pt x="661" y="14"/>
                  </a:lnTo>
                  <a:lnTo>
                    <a:pt x="658" y="13"/>
                  </a:lnTo>
                  <a:lnTo>
                    <a:pt x="656" y="13"/>
                  </a:lnTo>
                  <a:lnTo>
                    <a:pt x="655" y="13"/>
                  </a:lnTo>
                  <a:lnTo>
                    <a:pt x="645" y="16"/>
                  </a:lnTo>
                  <a:lnTo>
                    <a:pt x="621" y="11"/>
                  </a:lnTo>
                  <a:lnTo>
                    <a:pt x="612" y="13"/>
                  </a:lnTo>
                  <a:lnTo>
                    <a:pt x="610" y="11"/>
                  </a:lnTo>
                  <a:lnTo>
                    <a:pt x="608" y="13"/>
                  </a:lnTo>
                  <a:lnTo>
                    <a:pt x="591" y="11"/>
                  </a:lnTo>
                  <a:lnTo>
                    <a:pt x="588" y="10"/>
                  </a:lnTo>
                  <a:lnTo>
                    <a:pt x="587" y="10"/>
                  </a:lnTo>
                  <a:lnTo>
                    <a:pt x="579" y="10"/>
                  </a:lnTo>
                  <a:lnTo>
                    <a:pt x="573" y="8"/>
                  </a:lnTo>
                  <a:lnTo>
                    <a:pt x="570" y="8"/>
                  </a:lnTo>
                  <a:lnTo>
                    <a:pt x="559" y="14"/>
                  </a:lnTo>
                  <a:lnTo>
                    <a:pt x="547" y="19"/>
                  </a:lnTo>
                  <a:lnTo>
                    <a:pt x="544" y="20"/>
                  </a:lnTo>
                  <a:lnTo>
                    <a:pt x="541" y="22"/>
                  </a:lnTo>
                  <a:lnTo>
                    <a:pt x="536" y="23"/>
                  </a:lnTo>
                  <a:lnTo>
                    <a:pt x="535" y="23"/>
                  </a:lnTo>
                  <a:lnTo>
                    <a:pt x="533" y="23"/>
                  </a:lnTo>
                  <a:lnTo>
                    <a:pt x="531" y="23"/>
                  </a:lnTo>
                  <a:lnTo>
                    <a:pt x="530" y="25"/>
                  </a:lnTo>
                  <a:lnTo>
                    <a:pt x="528" y="23"/>
                  </a:lnTo>
                  <a:lnTo>
                    <a:pt x="527" y="25"/>
                  </a:lnTo>
                  <a:lnTo>
                    <a:pt x="522" y="27"/>
                  </a:lnTo>
                  <a:lnTo>
                    <a:pt x="521" y="27"/>
                  </a:lnTo>
                  <a:lnTo>
                    <a:pt x="519" y="25"/>
                  </a:lnTo>
                  <a:lnTo>
                    <a:pt x="518" y="27"/>
                  </a:lnTo>
                  <a:lnTo>
                    <a:pt x="516" y="28"/>
                  </a:lnTo>
                  <a:lnTo>
                    <a:pt x="514" y="30"/>
                  </a:lnTo>
                  <a:lnTo>
                    <a:pt x="514" y="28"/>
                  </a:lnTo>
                  <a:lnTo>
                    <a:pt x="513" y="28"/>
                  </a:lnTo>
                  <a:lnTo>
                    <a:pt x="511" y="30"/>
                  </a:lnTo>
                  <a:lnTo>
                    <a:pt x="511" y="30"/>
                  </a:lnTo>
                  <a:lnTo>
                    <a:pt x="505" y="33"/>
                  </a:lnTo>
                  <a:lnTo>
                    <a:pt x="505" y="33"/>
                  </a:lnTo>
                  <a:lnTo>
                    <a:pt x="504" y="36"/>
                  </a:lnTo>
                  <a:lnTo>
                    <a:pt x="502" y="36"/>
                  </a:lnTo>
                  <a:lnTo>
                    <a:pt x="502" y="36"/>
                  </a:lnTo>
                  <a:lnTo>
                    <a:pt x="501" y="34"/>
                  </a:lnTo>
                  <a:lnTo>
                    <a:pt x="501" y="34"/>
                  </a:lnTo>
                  <a:lnTo>
                    <a:pt x="501" y="34"/>
                  </a:lnTo>
                  <a:lnTo>
                    <a:pt x="501" y="36"/>
                  </a:lnTo>
                  <a:lnTo>
                    <a:pt x="499" y="36"/>
                  </a:lnTo>
                  <a:lnTo>
                    <a:pt x="499" y="36"/>
                  </a:lnTo>
                  <a:lnTo>
                    <a:pt x="499" y="36"/>
                  </a:lnTo>
                  <a:lnTo>
                    <a:pt x="498" y="37"/>
                  </a:lnTo>
                  <a:lnTo>
                    <a:pt x="494" y="37"/>
                  </a:lnTo>
                  <a:lnTo>
                    <a:pt x="491" y="37"/>
                  </a:lnTo>
                  <a:lnTo>
                    <a:pt x="490" y="40"/>
                  </a:lnTo>
                  <a:lnTo>
                    <a:pt x="490" y="40"/>
                  </a:lnTo>
                  <a:lnTo>
                    <a:pt x="485" y="47"/>
                  </a:lnTo>
                  <a:lnTo>
                    <a:pt x="484" y="48"/>
                  </a:lnTo>
                  <a:lnTo>
                    <a:pt x="482" y="50"/>
                  </a:lnTo>
                  <a:lnTo>
                    <a:pt x="474" y="53"/>
                  </a:lnTo>
                  <a:lnTo>
                    <a:pt x="474" y="53"/>
                  </a:lnTo>
                  <a:lnTo>
                    <a:pt x="471" y="54"/>
                  </a:lnTo>
                  <a:lnTo>
                    <a:pt x="462" y="59"/>
                  </a:lnTo>
                  <a:lnTo>
                    <a:pt x="447" y="70"/>
                  </a:lnTo>
                  <a:lnTo>
                    <a:pt x="436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3" y="77"/>
                  </a:lnTo>
                  <a:lnTo>
                    <a:pt x="433" y="77"/>
                  </a:lnTo>
                  <a:lnTo>
                    <a:pt x="430" y="77"/>
                  </a:lnTo>
                  <a:lnTo>
                    <a:pt x="428" y="77"/>
                  </a:lnTo>
                  <a:lnTo>
                    <a:pt x="427" y="79"/>
                  </a:lnTo>
                  <a:lnTo>
                    <a:pt x="427" y="80"/>
                  </a:lnTo>
                  <a:lnTo>
                    <a:pt x="428" y="80"/>
                  </a:lnTo>
                  <a:lnTo>
                    <a:pt x="428" y="82"/>
                  </a:lnTo>
                  <a:lnTo>
                    <a:pt x="428" y="82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8" y="88"/>
                  </a:lnTo>
                  <a:lnTo>
                    <a:pt x="427" y="90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2" y="96"/>
                  </a:lnTo>
                  <a:lnTo>
                    <a:pt x="419" y="97"/>
                  </a:lnTo>
                  <a:lnTo>
                    <a:pt x="416" y="99"/>
                  </a:lnTo>
                  <a:lnTo>
                    <a:pt x="416" y="99"/>
                  </a:lnTo>
                  <a:lnTo>
                    <a:pt x="416" y="99"/>
                  </a:lnTo>
                  <a:lnTo>
                    <a:pt x="416" y="100"/>
                  </a:lnTo>
                  <a:lnTo>
                    <a:pt x="414" y="100"/>
                  </a:lnTo>
                  <a:lnTo>
                    <a:pt x="414" y="100"/>
                  </a:lnTo>
                  <a:lnTo>
                    <a:pt x="414" y="99"/>
                  </a:lnTo>
                  <a:lnTo>
                    <a:pt x="413" y="99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8" y="99"/>
                  </a:lnTo>
                  <a:lnTo>
                    <a:pt x="407" y="99"/>
                  </a:lnTo>
                  <a:lnTo>
                    <a:pt x="407" y="100"/>
                  </a:lnTo>
                  <a:lnTo>
                    <a:pt x="404" y="100"/>
                  </a:lnTo>
                  <a:lnTo>
                    <a:pt x="385" y="102"/>
                  </a:lnTo>
                  <a:lnTo>
                    <a:pt x="379" y="100"/>
                  </a:lnTo>
                  <a:lnTo>
                    <a:pt x="377" y="99"/>
                  </a:lnTo>
                  <a:lnTo>
                    <a:pt x="376" y="97"/>
                  </a:lnTo>
                  <a:lnTo>
                    <a:pt x="351" y="91"/>
                  </a:lnTo>
                  <a:lnTo>
                    <a:pt x="348" y="90"/>
                  </a:lnTo>
                  <a:lnTo>
                    <a:pt x="345" y="88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2" y="90"/>
                  </a:lnTo>
                  <a:lnTo>
                    <a:pt x="342" y="91"/>
                  </a:lnTo>
                  <a:lnTo>
                    <a:pt x="340" y="90"/>
                  </a:lnTo>
                  <a:lnTo>
                    <a:pt x="340" y="91"/>
                  </a:lnTo>
                  <a:lnTo>
                    <a:pt x="340" y="93"/>
                  </a:lnTo>
                  <a:lnTo>
                    <a:pt x="339" y="93"/>
                  </a:lnTo>
                  <a:lnTo>
                    <a:pt x="339" y="93"/>
                  </a:lnTo>
                  <a:lnTo>
                    <a:pt x="336" y="94"/>
                  </a:lnTo>
                  <a:lnTo>
                    <a:pt x="336" y="94"/>
                  </a:lnTo>
                  <a:lnTo>
                    <a:pt x="333" y="94"/>
                  </a:lnTo>
                  <a:lnTo>
                    <a:pt x="314" y="94"/>
                  </a:lnTo>
                  <a:lnTo>
                    <a:pt x="294" y="91"/>
                  </a:lnTo>
                  <a:lnTo>
                    <a:pt x="280" y="88"/>
                  </a:lnTo>
                  <a:lnTo>
                    <a:pt x="267" y="85"/>
                  </a:lnTo>
                  <a:lnTo>
                    <a:pt x="265" y="85"/>
                  </a:lnTo>
                  <a:lnTo>
                    <a:pt x="263" y="87"/>
                  </a:lnTo>
                  <a:lnTo>
                    <a:pt x="263" y="87"/>
                  </a:lnTo>
                  <a:lnTo>
                    <a:pt x="262" y="87"/>
                  </a:lnTo>
                  <a:lnTo>
                    <a:pt x="259" y="88"/>
                  </a:lnTo>
                  <a:lnTo>
                    <a:pt x="256" y="91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4" y="97"/>
                  </a:lnTo>
                  <a:lnTo>
                    <a:pt x="253" y="102"/>
                  </a:lnTo>
                  <a:lnTo>
                    <a:pt x="253" y="104"/>
                  </a:lnTo>
                  <a:lnTo>
                    <a:pt x="251" y="105"/>
                  </a:lnTo>
                  <a:lnTo>
                    <a:pt x="250" y="107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1" y="111"/>
                  </a:lnTo>
                  <a:lnTo>
                    <a:pt x="254" y="113"/>
                  </a:lnTo>
                  <a:lnTo>
                    <a:pt x="256" y="114"/>
                  </a:lnTo>
                  <a:lnTo>
                    <a:pt x="257" y="116"/>
                  </a:lnTo>
                  <a:lnTo>
                    <a:pt x="259" y="117"/>
                  </a:lnTo>
                  <a:lnTo>
                    <a:pt x="263" y="119"/>
                  </a:lnTo>
                  <a:lnTo>
                    <a:pt x="265" y="120"/>
                  </a:lnTo>
                  <a:lnTo>
                    <a:pt x="267" y="120"/>
                  </a:lnTo>
                  <a:lnTo>
                    <a:pt x="268" y="122"/>
                  </a:lnTo>
                  <a:lnTo>
                    <a:pt x="268" y="122"/>
                  </a:lnTo>
                  <a:lnTo>
                    <a:pt x="270" y="124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7"/>
                  </a:lnTo>
                  <a:lnTo>
                    <a:pt x="268" y="127"/>
                  </a:lnTo>
                  <a:lnTo>
                    <a:pt x="268" y="127"/>
                  </a:lnTo>
                  <a:lnTo>
                    <a:pt x="268" y="127"/>
                  </a:lnTo>
                  <a:lnTo>
                    <a:pt x="268" y="128"/>
                  </a:lnTo>
                  <a:lnTo>
                    <a:pt x="270" y="127"/>
                  </a:lnTo>
                  <a:lnTo>
                    <a:pt x="271" y="127"/>
                  </a:lnTo>
                  <a:lnTo>
                    <a:pt x="271" y="127"/>
                  </a:lnTo>
                  <a:lnTo>
                    <a:pt x="271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8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99" y="130"/>
                  </a:lnTo>
                  <a:lnTo>
                    <a:pt x="300" y="131"/>
                  </a:lnTo>
                  <a:lnTo>
                    <a:pt x="302" y="131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5" y="133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8" y="133"/>
                  </a:lnTo>
                  <a:lnTo>
                    <a:pt x="308" y="133"/>
                  </a:lnTo>
                  <a:lnTo>
                    <a:pt x="310" y="133"/>
                  </a:lnTo>
                  <a:lnTo>
                    <a:pt x="314" y="133"/>
                  </a:lnTo>
                  <a:lnTo>
                    <a:pt x="317" y="133"/>
                  </a:lnTo>
                  <a:lnTo>
                    <a:pt x="319" y="136"/>
                  </a:lnTo>
                  <a:lnTo>
                    <a:pt x="317" y="137"/>
                  </a:lnTo>
                  <a:lnTo>
                    <a:pt x="316" y="137"/>
                  </a:lnTo>
                  <a:lnTo>
                    <a:pt x="313" y="136"/>
                  </a:lnTo>
                  <a:lnTo>
                    <a:pt x="305" y="136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0" y="137"/>
                  </a:lnTo>
                  <a:lnTo>
                    <a:pt x="288" y="136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5" y="136"/>
                  </a:lnTo>
                  <a:lnTo>
                    <a:pt x="285" y="136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2" y="139"/>
                  </a:lnTo>
                  <a:lnTo>
                    <a:pt x="282" y="139"/>
                  </a:lnTo>
                  <a:lnTo>
                    <a:pt x="280" y="139"/>
                  </a:lnTo>
                  <a:lnTo>
                    <a:pt x="280" y="140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6" y="139"/>
                  </a:lnTo>
                  <a:lnTo>
                    <a:pt x="273" y="140"/>
                  </a:lnTo>
                  <a:lnTo>
                    <a:pt x="270" y="142"/>
                  </a:lnTo>
                  <a:lnTo>
                    <a:pt x="248" y="144"/>
                  </a:lnTo>
                  <a:lnTo>
                    <a:pt x="246" y="145"/>
                  </a:lnTo>
                  <a:lnTo>
                    <a:pt x="243" y="148"/>
                  </a:lnTo>
                  <a:lnTo>
                    <a:pt x="240" y="150"/>
                  </a:lnTo>
                  <a:lnTo>
                    <a:pt x="236" y="151"/>
                  </a:lnTo>
                  <a:lnTo>
                    <a:pt x="233" y="153"/>
                  </a:lnTo>
                  <a:lnTo>
                    <a:pt x="231" y="156"/>
                  </a:lnTo>
                  <a:lnTo>
                    <a:pt x="236" y="157"/>
                  </a:lnTo>
                  <a:lnTo>
                    <a:pt x="242" y="161"/>
                  </a:lnTo>
                  <a:lnTo>
                    <a:pt x="246" y="162"/>
                  </a:lnTo>
                  <a:lnTo>
                    <a:pt x="246" y="162"/>
                  </a:lnTo>
                  <a:lnTo>
                    <a:pt x="250" y="161"/>
                  </a:lnTo>
                  <a:lnTo>
                    <a:pt x="250" y="161"/>
                  </a:lnTo>
                  <a:lnTo>
                    <a:pt x="254" y="161"/>
                  </a:lnTo>
                  <a:lnTo>
                    <a:pt x="256" y="161"/>
                  </a:lnTo>
                  <a:lnTo>
                    <a:pt x="257" y="162"/>
                  </a:lnTo>
                  <a:lnTo>
                    <a:pt x="259" y="164"/>
                  </a:lnTo>
                  <a:lnTo>
                    <a:pt x="260" y="165"/>
                  </a:lnTo>
                  <a:lnTo>
                    <a:pt x="259" y="165"/>
                  </a:lnTo>
                  <a:lnTo>
                    <a:pt x="257" y="165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4" y="167"/>
                  </a:lnTo>
                  <a:lnTo>
                    <a:pt x="254" y="168"/>
                  </a:lnTo>
                  <a:lnTo>
                    <a:pt x="254" y="170"/>
                  </a:lnTo>
                  <a:lnTo>
                    <a:pt x="253" y="171"/>
                  </a:lnTo>
                  <a:lnTo>
                    <a:pt x="251" y="171"/>
                  </a:lnTo>
                  <a:lnTo>
                    <a:pt x="245" y="171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37" y="168"/>
                  </a:lnTo>
                  <a:lnTo>
                    <a:pt x="236" y="168"/>
                  </a:lnTo>
                  <a:lnTo>
                    <a:pt x="233" y="168"/>
                  </a:lnTo>
                  <a:lnTo>
                    <a:pt x="231" y="168"/>
                  </a:lnTo>
                  <a:lnTo>
                    <a:pt x="231" y="168"/>
                  </a:lnTo>
                  <a:lnTo>
                    <a:pt x="230" y="170"/>
                  </a:lnTo>
                  <a:lnTo>
                    <a:pt x="225" y="170"/>
                  </a:lnTo>
                  <a:lnTo>
                    <a:pt x="225" y="170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19" y="170"/>
                  </a:lnTo>
                  <a:lnTo>
                    <a:pt x="214" y="168"/>
                  </a:lnTo>
                  <a:lnTo>
                    <a:pt x="211" y="168"/>
                  </a:lnTo>
                  <a:lnTo>
                    <a:pt x="208" y="170"/>
                  </a:lnTo>
                  <a:lnTo>
                    <a:pt x="208" y="168"/>
                  </a:lnTo>
                  <a:lnTo>
                    <a:pt x="210" y="168"/>
                  </a:lnTo>
                  <a:lnTo>
                    <a:pt x="210" y="168"/>
                  </a:lnTo>
                  <a:lnTo>
                    <a:pt x="211" y="168"/>
                  </a:lnTo>
                  <a:lnTo>
                    <a:pt x="203" y="168"/>
                  </a:lnTo>
                  <a:lnTo>
                    <a:pt x="200" y="167"/>
                  </a:lnTo>
                  <a:lnTo>
                    <a:pt x="182" y="168"/>
                  </a:lnTo>
                  <a:lnTo>
                    <a:pt x="176" y="171"/>
                  </a:lnTo>
                  <a:lnTo>
                    <a:pt x="169" y="171"/>
                  </a:lnTo>
                  <a:lnTo>
                    <a:pt x="168" y="170"/>
                  </a:lnTo>
                  <a:lnTo>
                    <a:pt x="166" y="168"/>
                  </a:lnTo>
                  <a:lnTo>
                    <a:pt x="169" y="167"/>
                  </a:lnTo>
                  <a:lnTo>
                    <a:pt x="176" y="164"/>
                  </a:lnTo>
                  <a:lnTo>
                    <a:pt x="177" y="161"/>
                  </a:lnTo>
                  <a:lnTo>
                    <a:pt x="176" y="159"/>
                  </a:lnTo>
                  <a:lnTo>
                    <a:pt x="173" y="157"/>
                  </a:lnTo>
                  <a:lnTo>
                    <a:pt x="160" y="156"/>
                  </a:lnTo>
                  <a:lnTo>
                    <a:pt x="159" y="156"/>
                  </a:lnTo>
                  <a:lnTo>
                    <a:pt x="159" y="156"/>
                  </a:lnTo>
                  <a:lnTo>
                    <a:pt x="159" y="157"/>
                  </a:lnTo>
                  <a:lnTo>
                    <a:pt x="157" y="156"/>
                  </a:lnTo>
                  <a:lnTo>
                    <a:pt x="157" y="156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6" y="156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3" y="157"/>
                  </a:lnTo>
                  <a:lnTo>
                    <a:pt x="151" y="157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59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6" y="162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6" y="165"/>
                  </a:lnTo>
                  <a:lnTo>
                    <a:pt x="156" y="165"/>
                  </a:lnTo>
                  <a:lnTo>
                    <a:pt x="157" y="165"/>
                  </a:lnTo>
                  <a:lnTo>
                    <a:pt x="157" y="167"/>
                  </a:lnTo>
                  <a:lnTo>
                    <a:pt x="157" y="167"/>
                  </a:lnTo>
                  <a:lnTo>
                    <a:pt x="159" y="167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60" y="168"/>
                  </a:lnTo>
                  <a:lnTo>
                    <a:pt x="165" y="170"/>
                  </a:lnTo>
                  <a:lnTo>
                    <a:pt x="165" y="170"/>
                  </a:lnTo>
                  <a:lnTo>
                    <a:pt x="165" y="171"/>
                  </a:lnTo>
                  <a:lnTo>
                    <a:pt x="160" y="173"/>
                  </a:lnTo>
                  <a:lnTo>
                    <a:pt x="159" y="176"/>
                  </a:lnTo>
                  <a:lnTo>
                    <a:pt x="157" y="176"/>
                  </a:lnTo>
                  <a:lnTo>
                    <a:pt x="154" y="176"/>
                  </a:lnTo>
                  <a:lnTo>
                    <a:pt x="153" y="176"/>
                  </a:lnTo>
                  <a:lnTo>
                    <a:pt x="151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5" y="174"/>
                  </a:lnTo>
                  <a:lnTo>
                    <a:pt x="145" y="174"/>
                  </a:lnTo>
                  <a:lnTo>
                    <a:pt x="142" y="176"/>
                  </a:lnTo>
                  <a:lnTo>
                    <a:pt x="140" y="177"/>
                  </a:lnTo>
                  <a:lnTo>
                    <a:pt x="139" y="177"/>
                  </a:lnTo>
                  <a:lnTo>
                    <a:pt x="134" y="176"/>
                  </a:lnTo>
                  <a:lnTo>
                    <a:pt x="129" y="173"/>
                  </a:lnTo>
                  <a:lnTo>
                    <a:pt x="125" y="171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4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0" y="161"/>
                  </a:lnTo>
                  <a:lnTo>
                    <a:pt x="117" y="162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111" y="162"/>
                  </a:lnTo>
                  <a:lnTo>
                    <a:pt x="106" y="162"/>
                  </a:lnTo>
                  <a:lnTo>
                    <a:pt x="105" y="165"/>
                  </a:lnTo>
                  <a:lnTo>
                    <a:pt x="103" y="167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92" y="167"/>
                  </a:lnTo>
                  <a:lnTo>
                    <a:pt x="89" y="168"/>
                  </a:lnTo>
                  <a:lnTo>
                    <a:pt x="83" y="167"/>
                  </a:lnTo>
                  <a:lnTo>
                    <a:pt x="80" y="168"/>
                  </a:lnTo>
                  <a:lnTo>
                    <a:pt x="79" y="168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8" y="181"/>
                  </a:lnTo>
                  <a:lnTo>
                    <a:pt x="68" y="181"/>
                  </a:lnTo>
                  <a:lnTo>
                    <a:pt x="68" y="181"/>
                  </a:lnTo>
                  <a:lnTo>
                    <a:pt x="63" y="185"/>
                  </a:lnTo>
                  <a:lnTo>
                    <a:pt x="63" y="187"/>
                  </a:lnTo>
                  <a:lnTo>
                    <a:pt x="60" y="187"/>
                  </a:lnTo>
                  <a:lnTo>
                    <a:pt x="59" y="188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6" y="190"/>
                  </a:lnTo>
                  <a:lnTo>
                    <a:pt x="56" y="191"/>
                  </a:lnTo>
                  <a:lnTo>
                    <a:pt x="56" y="193"/>
                  </a:lnTo>
                  <a:lnTo>
                    <a:pt x="56" y="194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2" y="199"/>
                  </a:lnTo>
                  <a:lnTo>
                    <a:pt x="52" y="199"/>
                  </a:lnTo>
                  <a:lnTo>
                    <a:pt x="52" y="201"/>
                  </a:lnTo>
                  <a:lnTo>
                    <a:pt x="51" y="202"/>
                  </a:lnTo>
                  <a:lnTo>
                    <a:pt x="48" y="205"/>
                  </a:lnTo>
                  <a:lnTo>
                    <a:pt x="48" y="205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37" y="210"/>
                  </a:lnTo>
                  <a:lnTo>
                    <a:pt x="37" y="210"/>
                  </a:lnTo>
                  <a:lnTo>
                    <a:pt x="37" y="211"/>
                  </a:lnTo>
                  <a:lnTo>
                    <a:pt x="37" y="213"/>
                  </a:lnTo>
                  <a:lnTo>
                    <a:pt x="37" y="213"/>
                  </a:lnTo>
                  <a:lnTo>
                    <a:pt x="37" y="214"/>
                  </a:lnTo>
                  <a:lnTo>
                    <a:pt x="37" y="216"/>
                  </a:lnTo>
                  <a:lnTo>
                    <a:pt x="37" y="216"/>
                  </a:lnTo>
                  <a:lnTo>
                    <a:pt x="35" y="221"/>
                  </a:lnTo>
                  <a:lnTo>
                    <a:pt x="35" y="222"/>
                  </a:lnTo>
                  <a:lnTo>
                    <a:pt x="37" y="222"/>
                  </a:lnTo>
                  <a:lnTo>
                    <a:pt x="37" y="224"/>
                  </a:lnTo>
                  <a:lnTo>
                    <a:pt x="37" y="227"/>
                  </a:lnTo>
                  <a:lnTo>
                    <a:pt x="37" y="228"/>
                  </a:lnTo>
                  <a:lnTo>
                    <a:pt x="35" y="228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31"/>
                  </a:lnTo>
                  <a:lnTo>
                    <a:pt x="37" y="234"/>
                  </a:lnTo>
                  <a:lnTo>
                    <a:pt x="37" y="236"/>
                  </a:lnTo>
                  <a:lnTo>
                    <a:pt x="37" y="241"/>
                  </a:lnTo>
                  <a:lnTo>
                    <a:pt x="37" y="242"/>
                  </a:lnTo>
                  <a:lnTo>
                    <a:pt x="34" y="245"/>
                  </a:lnTo>
                  <a:lnTo>
                    <a:pt x="32" y="250"/>
                  </a:lnTo>
                  <a:lnTo>
                    <a:pt x="31" y="254"/>
                  </a:lnTo>
                  <a:lnTo>
                    <a:pt x="31" y="258"/>
                  </a:lnTo>
                  <a:lnTo>
                    <a:pt x="34" y="259"/>
                  </a:lnTo>
                  <a:lnTo>
                    <a:pt x="37" y="259"/>
                  </a:lnTo>
                  <a:lnTo>
                    <a:pt x="43" y="258"/>
                  </a:lnTo>
                  <a:lnTo>
                    <a:pt x="43" y="258"/>
                  </a:lnTo>
                  <a:lnTo>
                    <a:pt x="43" y="258"/>
                  </a:lnTo>
                  <a:lnTo>
                    <a:pt x="45" y="258"/>
                  </a:lnTo>
                  <a:lnTo>
                    <a:pt x="45" y="258"/>
                  </a:lnTo>
                  <a:lnTo>
                    <a:pt x="45" y="256"/>
                  </a:lnTo>
                  <a:lnTo>
                    <a:pt x="46" y="256"/>
                  </a:lnTo>
                  <a:lnTo>
                    <a:pt x="46" y="256"/>
                  </a:lnTo>
                  <a:lnTo>
                    <a:pt x="48" y="256"/>
                  </a:lnTo>
                  <a:lnTo>
                    <a:pt x="51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6" y="254"/>
                  </a:lnTo>
                  <a:lnTo>
                    <a:pt x="57" y="254"/>
                  </a:lnTo>
                  <a:lnTo>
                    <a:pt x="57" y="253"/>
                  </a:lnTo>
                  <a:lnTo>
                    <a:pt x="59" y="253"/>
                  </a:lnTo>
                  <a:lnTo>
                    <a:pt x="76" y="250"/>
                  </a:lnTo>
                  <a:lnTo>
                    <a:pt x="85" y="248"/>
                  </a:lnTo>
                  <a:lnTo>
                    <a:pt x="88" y="250"/>
                  </a:lnTo>
                  <a:lnTo>
                    <a:pt x="89" y="248"/>
                  </a:lnTo>
                  <a:lnTo>
                    <a:pt x="89" y="247"/>
                  </a:lnTo>
                  <a:lnTo>
                    <a:pt x="92" y="247"/>
                  </a:lnTo>
                  <a:lnTo>
                    <a:pt x="94" y="247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51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89" y="258"/>
                  </a:lnTo>
                  <a:lnTo>
                    <a:pt x="89" y="259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8" y="261"/>
                  </a:lnTo>
                  <a:lnTo>
                    <a:pt x="85" y="261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6" y="265"/>
                  </a:lnTo>
                  <a:lnTo>
                    <a:pt x="79" y="270"/>
                  </a:lnTo>
                  <a:lnTo>
                    <a:pt x="77" y="273"/>
                  </a:lnTo>
                  <a:lnTo>
                    <a:pt x="76" y="273"/>
                  </a:lnTo>
                  <a:lnTo>
                    <a:pt x="76" y="273"/>
                  </a:lnTo>
                  <a:lnTo>
                    <a:pt x="76" y="274"/>
                  </a:lnTo>
                  <a:lnTo>
                    <a:pt x="76" y="276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4" y="273"/>
                  </a:lnTo>
                  <a:lnTo>
                    <a:pt x="74" y="273"/>
                  </a:lnTo>
                  <a:lnTo>
                    <a:pt x="74" y="273"/>
                  </a:lnTo>
                  <a:lnTo>
                    <a:pt x="72" y="273"/>
                  </a:lnTo>
                  <a:lnTo>
                    <a:pt x="72" y="274"/>
                  </a:lnTo>
                  <a:lnTo>
                    <a:pt x="71" y="276"/>
                  </a:lnTo>
                  <a:lnTo>
                    <a:pt x="71" y="276"/>
                  </a:lnTo>
                  <a:lnTo>
                    <a:pt x="72" y="278"/>
                  </a:lnTo>
                  <a:lnTo>
                    <a:pt x="74" y="278"/>
                  </a:lnTo>
                  <a:lnTo>
                    <a:pt x="77" y="278"/>
                  </a:lnTo>
                  <a:lnTo>
                    <a:pt x="79" y="278"/>
                  </a:lnTo>
                  <a:lnTo>
                    <a:pt x="80" y="279"/>
                  </a:lnTo>
                  <a:lnTo>
                    <a:pt x="80" y="281"/>
                  </a:lnTo>
                  <a:lnTo>
                    <a:pt x="80" y="282"/>
                  </a:lnTo>
                  <a:lnTo>
                    <a:pt x="80" y="284"/>
                  </a:lnTo>
                  <a:lnTo>
                    <a:pt x="82" y="285"/>
                  </a:lnTo>
                  <a:lnTo>
                    <a:pt x="83" y="287"/>
                  </a:lnTo>
                  <a:lnTo>
                    <a:pt x="83" y="287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9" y="291"/>
                  </a:lnTo>
                  <a:lnTo>
                    <a:pt x="91" y="294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89" y="298"/>
                  </a:lnTo>
                  <a:lnTo>
                    <a:pt x="86" y="298"/>
                  </a:lnTo>
                  <a:lnTo>
                    <a:pt x="85" y="299"/>
                  </a:lnTo>
                  <a:lnTo>
                    <a:pt x="85" y="301"/>
                  </a:lnTo>
                  <a:lnTo>
                    <a:pt x="86" y="301"/>
                  </a:lnTo>
                  <a:lnTo>
                    <a:pt x="86" y="301"/>
                  </a:lnTo>
                  <a:lnTo>
                    <a:pt x="86" y="301"/>
                  </a:lnTo>
                  <a:lnTo>
                    <a:pt x="85" y="302"/>
                  </a:lnTo>
                  <a:lnTo>
                    <a:pt x="85" y="305"/>
                  </a:lnTo>
                  <a:lnTo>
                    <a:pt x="85" y="307"/>
                  </a:lnTo>
                  <a:lnTo>
                    <a:pt x="86" y="308"/>
                  </a:lnTo>
                  <a:lnTo>
                    <a:pt x="88" y="308"/>
                  </a:lnTo>
                  <a:lnTo>
                    <a:pt x="89" y="310"/>
                  </a:lnTo>
                  <a:lnTo>
                    <a:pt x="89" y="311"/>
                  </a:lnTo>
                  <a:lnTo>
                    <a:pt x="91" y="311"/>
                  </a:lnTo>
                  <a:lnTo>
                    <a:pt x="94" y="310"/>
                  </a:lnTo>
                  <a:lnTo>
                    <a:pt x="94" y="308"/>
                  </a:lnTo>
                  <a:lnTo>
                    <a:pt x="96" y="310"/>
                  </a:lnTo>
                  <a:lnTo>
                    <a:pt x="96" y="310"/>
                  </a:lnTo>
                  <a:lnTo>
                    <a:pt x="96" y="308"/>
                  </a:lnTo>
                  <a:lnTo>
                    <a:pt x="97" y="308"/>
                  </a:lnTo>
                  <a:lnTo>
                    <a:pt x="97" y="308"/>
                  </a:lnTo>
                  <a:lnTo>
                    <a:pt x="99" y="310"/>
                  </a:lnTo>
                  <a:lnTo>
                    <a:pt x="99" y="310"/>
                  </a:lnTo>
                  <a:lnTo>
                    <a:pt x="100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3" y="308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3" y="313"/>
                  </a:lnTo>
                  <a:lnTo>
                    <a:pt x="105" y="313"/>
                  </a:lnTo>
                  <a:lnTo>
                    <a:pt x="103" y="314"/>
                  </a:lnTo>
                  <a:lnTo>
                    <a:pt x="102" y="316"/>
                  </a:lnTo>
                  <a:lnTo>
                    <a:pt x="100" y="314"/>
                  </a:lnTo>
                  <a:lnTo>
                    <a:pt x="100" y="316"/>
                  </a:lnTo>
                  <a:lnTo>
                    <a:pt x="99" y="316"/>
                  </a:lnTo>
                  <a:lnTo>
                    <a:pt x="99" y="318"/>
                  </a:lnTo>
                  <a:lnTo>
                    <a:pt x="97" y="318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2" y="321"/>
                  </a:lnTo>
                  <a:lnTo>
                    <a:pt x="92" y="321"/>
                  </a:lnTo>
                  <a:lnTo>
                    <a:pt x="94" y="324"/>
                  </a:lnTo>
                  <a:lnTo>
                    <a:pt x="94" y="322"/>
                  </a:lnTo>
                  <a:lnTo>
                    <a:pt x="96" y="324"/>
                  </a:lnTo>
                  <a:lnTo>
                    <a:pt x="96" y="325"/>
                  </a:lnTo>
                  <a:lnTo>
                    <a:pt x="96" y="325"/>
                  </a:lnTo>
                  <a:lnTo>
                    <a:pt x="94" y="327"/>
                  </a:lnTo>
                  <a:lnTo>
                    <a:pt x="94" y="325"/>
                  </a:lnTo>
                  <a:lnTo>
                    <a:pt x="94" y="325"/>
                  </a:lnTo>
                  <a:lnTo>
                    <a:pt x="92" y="327"/>
                  </a:lnTo>
                  <a:lnTo>
                    <a:pt x="92" y="327"/>
                  </a:lnTo>
                  <a:lnTo>
                    <a:pt x="92" y="328"/>
                  </a:lnTo>
                  <a:lnTo>
                    <a:pt x="91" y="328"/>
                  </a:lnTo>
                  <a:lnTo>
                    <a:pt x="91" y="328"/>
                  </a:lnTo>
                  <a:lnTo>
                    <a:pt x="89" y="327"/>
                  </a:lnTo>
                  <a:lnTo>
                    <a:pt x="88" y="327"/>
                  </a:lnTo>
                  <a:lnTo>
                    <a:pt x="88" y="327"/>
                  </a:lnTo>
                  <a:lnTo>
                    <a:pt x="86" y="327"/>
                  </a:lnTo>
                  <a:lnTo>
                    <a:pt x="86" y="327"/>
                  </a:lnTo>
                  <a:lnTo>
                    <a:pt x="86" y="327"/>
                  </a:lnTo>
                  <a:lnTo>
                    <a:pt x="86" y="325"/>
                  </a:lnTo>
                  <a:lnTo>
                    <a:pt x="85" y="327"/>
                  </a:lnTo>
                  <a:lnTo>
                    <a:pt x="80" y="328"/>
                  </a:lnTo>
                  <a:lnTo>
                    <a:pt x="79" y="330"/>
                  </a:lnTo>
                  <a:lnTo>
                    <a:pt x="79" y="331"/>
                  </a:lnTo>
                  <a:lnTo>
                    <a:pt x="80" y="333"/>
                  </a:lnTo>
                  <a:lnTo>
                    <a:pt x="82" y="335"/>
                  </a:lnTo>
                  <a:lnTo>
                    <a:pt x="80" y="335"/>
                  </a:lnTo>
                  <a:lnTo>
                    <a:pt x="80" y="335"/>
                  </a:lnTo>
                  <a:lnTo>
                    <a:pt x="79" y="335"/>
                  </a:lnTo>
                  <a:lnTo>
                    <a:pt x="79" y="336"/>
                  </a:lnTo>
                  <a:lnTo>
                    <a:pt x="80" y="336"/>
                  </a:lnTo>
                  <a:lnTo>
                    <a:pt x="80" y="338"/>
                  </a:lnTo>
                  <a:lnTo>
                    <a:pt x="82" y="338"/>
                  </a:lnTo>
                  <a:lnTo>
                    <a:pt x="82" y="338"/>
                  </a:lnTo>
                  <a:lnTo>
                    <a:pt x="82" y="339"/>
                  </a:lnTo>
                  <a:lnTo>
                    <a:pt x="82" y="339"/>
                  </a:lnTo>
                  <a:lnTo>
                    <a:pt x="82" y="339"/>
                  </a:lnTo>
                  <a:lnTo>
                    <a:pt x="83" y="339"/>
                  </a:lnTo>
                  <a:lnTo>
                    <a:pt x="85" y="339"/>
                  </a:lnTo>
                  <a:lnTo>
                    <a:pt x="85" y="341"/>
                  </a:lnTo>
                  <a:lnTo>
                    <a:pt x="85" y="341"/>
                  </a:lnTo>
                  <a:lnTo>
                    <a:pt x="86" y="341"/>
                  </a:lnTo>
                  <a:lnTo>
                    <a:pt x="86" y="341"/>
                  </a:lnTo>
                  <a:lnTo>
                    <a:pt x="88" y="341"/>
                  </a:lnTo>
                  <a:lnTo>
                    <a:pt x="88" y="341"/>
                  </a:lnTo>
                  <a:lnTo>
                    <a:pt x="88" y="342"/>
                  </a:lnTo>
                  <a:lnTo>
                    <a:pt x="88" y="344"/>
                  </a:lnTo>
                  <a:lnTo>
                    <a:pt x="88" y="345"/>
                  </a:lnTo>
                  <a:lnTo>
                    <a:pt x="89" y="347"/>
                  </a:lnTo>
                  <a:lnTo>
                    <a:pt x="89" y="347"/>
                  </a:lnTo>
                  <a:lnTo>
                    <a:pt x="91" y="348"/>
                  </a:lnTo>
                  <a:lnTo>
                    <a:pt x="91" y="348"/>
                  </a:lnTo>
                  <a:lnTo>
                    <a:pt x="91" y="350"/>
                  </a:lnTo>
                  <a:lnTo>
                    <a:pt x="91" y="350"/>
                  </a:lnTo>
                  <a:lnTo>
                    <a:pt x="88" y="348"/>
                  </a:lnTo>
                  <a:lnTo>
                    <a:pt x="86" y="347"/>
                  </a:lnTo>
                  <a:lnTo>
                    <a:pt x="86" y="347"/>
                  </a:lnTo>
                  <a:lnTo>
                    <a:pt x="86" y="348"/>
                  </a:lnTo>
                  <a:lnTo>
                    <a:pt x="88" y="348"/>
                  </a:lnTo>
                  <a:lnTo>
                    <a:pt x="89" y="350"/>
                  </a:lnTo>
                  <a:lnTo>
                    <a:pt x="91" y="350"/>
                  </a:lnTo>
                  <a:lnTo>
                    <a:pt x="92" y="351"/>
                  </a:lnTo>
                  <a:lnTo>
                    <a:pt x="94" y="355"/>
                  </a:lnTo>
                  <a:lnTo>
                    <a:pt x="96" y="356"/>
                  </a:lnTo>
                  <a:lnTo>
                    <a:pt x="96" y="356"/>
                  </a:lnTo>
                  <a:lnTo>
                    <a:pt x="96" y="356"/>
                  </a:lnTo>
                  <a:lnTo>
                    <a:pt x="97" y="356"/>
                  </a:lnTo>
                  <a:lnTo>
                    <a:pt x="102" y="355"/>
                  </a:lnTo>
                  <a:lnTo>
                    <a:pt x="103" y="353"/>
                  </a:lnTo>
                  <a:lnTo>
                    <a:pt x="105" y="355"/>
                  </a:lnTo>
                  <a:lnTo>
                    <a:pt x="106" y="355"/>
                  </a:lnTo>
                  <a:lnTo>
                    <a:pt x="108" y="355"/>
                  </a:lnTo>
                  <a:lnTo>
                    <a:pt x="109" y="355"/>
                  </a:lnTo>
                  <a:lnTo>
                    <a:pt x="111" y="355"/>
                  </a:lnTo>
                  <a:lnTo>
                    <a:pt x="111" y="355"/>
                  </a:lnTo>
                  <a:lnTo>
                    <a:pt x="111" y="355"/>
                  </a:lnTo>
                  <a:lnTo>
                    <a:pt x="112" y="355"/>
                  </a:lnTo>
                  <a:lnTo>
                    <a:pt x="112" y="356"/>
                  </a:lnTo>
                  <a:lnTo>
                    <a:pt x="109" y="356"/>
                  </a:lnTo>
                  <a:lnTo>
                    <a:pt x="108" y="358"/>
                  </a:lnTo>
                  <a:lnTo>
                    <a:pt x="106" y="359"/>
                  </a:lnTo>
                  <a:lnTo>
                    <a:pt x="105" y="359"/>
                  </a:lnTo>
                  <a:lnTo>
                    <a:pt x="103" y="359"/>
                  </a:lnTo>
                  <a:lnTo>
                    <a:pt x="103" y="359"/>
                  </a:lnTo>
                  <a:lnTo>
                    <a:pt x="103" y="359"/>
                  </a:lnTo>
                  <a:lnTo>
                    <a:pt x="102" y="359"/>
                  </a:lnTo>
                  <a:lnTo>
                    <a:pt x="102" y="359"/>
                  </a:lnTo>
                  <a:lnTo>
                    <a:pt x="100" y="359"/>
                  </a:lnTo>
                  <a:lnTo>
                    <a:pt x="100" y="359"/>
                  </a:lnTo>
                  <a:lnTo>
                    <a:pt x="99" y="359"/>
                  </a:lnTo>
                  <a:lnTo>
                    <a:pt x="99" y="359"/>
                  </a:lnTo>
                  <a:lnTo>
                    <a:pt x="97" y="361"/>
                  </a:lnTo>
                  <a:lnTo>
                    <a:pt x="94" y="362"/>
                  </a:lnTo>
                  <a:lnTo>
                    <a:pt x="88" y="362"/>
                  </a:lnTo>
                  <a:lnTo>
                    <a:pt x="86" y="362"/>
                  </a:lnTo>
                  <a:lnTo>
                    <a:pt x="86" y="364"/>
                  </a:lnTo>
                  <a:lnTo>
                    <a:pt x="85" y="364"/>
                  </a:lnTo>
                  <a:lnTo>
                    <a:pt x="83" y="362"/>
                  </a:lnTo>
                  <a:lnTo>
                    <a:pt x="83" y="362"/>
                  </a:lnTo>
                  <a:lnTo>
                    <a:pt x="83" y="362"/>
                  </a:lnTo>
                  <a:lnTo>
                    <a:pt x="82" y="364"/>
                  </a:lnTo>
                  <a:lnTo>
                    <a:pt x="82" y="359"/>
                  </a:lnTo>
                  <a:lnTo>
                    <a:pt x="80" y="358"/>
                  </a:lnTo>
                  <a:lnTo>
                    <a:pt x="79" y="356"/>
                  </a:lnTo>
                  <a:lnTo>
                    <a:pt x="79" y="356"/>
                  </a:lnTo>
                  <a:lnTo>
                    <a:pt x="79" y="358"/>
                  </a:lnTo>
                  <a:lnTo>
                    <a:pt x="77" y="358"/>
                  </a:lnTo>
                  <a:lnTo>
                    <a:pt x="77" y="358"/>
                  </a:lnTo>
                  <a:lnTo>
                    <a:pt x="76" y="359"/>
                  </a:lnTo>
                  <a:lnTo>
                    <a:pt x="76" y="361"/>
                  </a:lnTo>
                  <a:lnTo>
                    <a:pt x="76" y="365"/>
                  </a:lnTo>
                  <a:lnTo>
                    <a:pt x="77" y="365"/>
                  </a:lnTo>
                  <a:lnTo>
                    <a:pt x="77" y="367"/>
                  </a:lnTo>
                  <a:lnTo>
                    <a:pt x="77" y="368"/>
                  </a:lnTo>
                  <a:lnTo>
                    <a:pt x="76" y="368"/>
                  </a:lnTo>
                  <a:lnTo>
                    <a:pt x="74" y="367"/>
                  </a:lnTo>
                  <a:lnTo>
                    <a:pt x="72" y="362"/>
                  </a:lnTo>
                  <a:lnTo>
                    <a:pt x="72" y="361"/>
                  </a:lnTo>
                  <a:lnTo>
                    <a:pt x="71" y="359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71" y="356"/>
                  </a:lnTo>
                  <a:lnTo>
                    <a:pt x="71" y="355"/>
                  </a:lnTo>
                  <a:lnTo>
                    <a:pt x="69" y="355"/>
                  </a:lnTo>
                  <a:lnTo>
                    <a:pt x="69" y="353"/>
                  </a:lnTo>
                  <a:lnTo>
                    <a:pt x="71" y="353"/>
                  </a:lnTo>
                  <a:lnTo>
                    <a:pt x="71" y="353"/>
                  </a:lnTo>
                  <a:lnTo>
                    <a:pt x="72" y="355"/>
                  </a:lnTo>
                  <a:lnTo>
                    <a:pt x="72" y="355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1"/>
                  </a:lnTo>
                  <a:lnTo>
                    <a:pt x="72" y="350"/>
                  </a:lnTo>
                  <a:lnTo>
                    <a:pt x="72" y="350"/>
                  </a:lnTo>
                  <a:lnTo>
                    <a:pt x="72" y="348"/>
                  </a:lnTo>
                  <a:lnTo>
                    <a:pt x="72" y="348"/>
                  </a:lnTo>
                  <a:lnTo>
                    <a:pt x="71" y="347"/>
                  </a:lnTo>
                  <a:lnTo>
                    <a:pt x="71" y="347"/>
                  </a:lnTo>
                  <a:lnTo>
                    <a:pt x="69" y="344"/>
                  </a:lnTo>
                  <a:lnTo>
                    <a:pt x="66" y="342"/>
                  </a:lnTo>
                  <a:lnTo>
                    <a:pt x="66" y="341"/>
                  </a:lnTo>
                  <a:lnTo>
                    <a:pt x="65" y="339"/>
                  </a:lnTo>
                  <a:lnTo>
                    <a:pt x="63" y="336"/>
                  </a:lnTo>
                  <a:lnTo>
                    <a:pt x="62" y="335"/>
                  </a:lnTo>
                  <a:lnTo>
                    <a:pt x="60" y="335"/>
                  </a:lnTo>
                  <a:lnTo>
                    <a:pt x="59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4" y="335"/>
                  </a:lnTo>
                  <a:lnTo>
                    <a:pt x="52" y="335"/>
                  </a:lnTo>
                  <a:lnTo>
                    <a:pt x="52" y="335"/>
                  </a:lnTo>
                  <a:lnTo>
                    <a:pt x="51" y="336"/>
                  </a:lnTo>
                  <a:lnTo>
                    <a:pt x="51" y="338"/>
                  </a:lnTo>
                  <a:lnTo>
                    <a:pt x="51" y="339"/>
                  </a:lnTo>
                  <a:lnTo>
                    <a:pt x="52" y="342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7"/>
                  </a:lnTo>
                  <a:lnTo>
                    <a:pt x="54" y="347"/>
                  </a:lnTo>
                  <a:lnTo>
                    <a:pt x="52" y="347"/>
                  </a:lnTo>
                  <a:lnTo>
                    <a:pt x="56" y="350"/>
                  </a:lnTo>
                  <a:lnTo>
                    <a:pt x="56" y="351"/>
                  </a:lnTo>
                  <a:lnTo>
                    <a:pt x="56" y="353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6" y="355"/>
                  </a:lnTo>
                  <a:lnTo>
                    <a:pt x="57" y="353"/>
                  </a:lnTo>
                  <a:lnTo>
                    <a:pt x="57" y="353"/>
                  </a:lnTo>
                  <a:lnTo>
                    <a:pt x="59" y="353"/>
                  </a:lnTo>
                  <a:lnTo>
                    <a:pt x="59" y="353"/>
                  </a:lnTo>
                  <a:lnTo>
                    <a:pt x="60" y="355"/>
                  </a:lnTo>
                  <a:lnTo>
                    <a:pt x="63" y="356"/>
                  </a:lnTo>
                  <a:lnTo>
                    <a:pt x="63" y="356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0" y="358"/>
                  </a:lnTo>
                  <a:lnTo>
                    <a:pt x="59" y="358"/>
                  </a:lnTo>
                  <a:lnTo>
                    <a:pt x="59" y="358"/>
                  </a:lnTo>
                  <a:lnTo>
                    <a:pt x="60" y="359"/>
                  </a:lnTo>
                  <a:lnTo>
                    <a:pt x="60" y="361"/>
                  </a:lnTo>
                  <a:lnTo>
                    <a:pt x="60" y="362"/>
                  </a:lnTo>
                  <a:lnTo>
                    <a:pt x="60" y="364"/>
                  </a:lnTo>
                  <a:lnTo>
                    <a:pt x="59" y="364"/>
                  </a:lnTo>
                  <a:lnTo>
                    <a:pt x="57" y="365"/>
                  </a:lnTo>
                  <a:lnTo>
                    <a:pt x="57" y="365"/>
                  </a:lnTo>
                  <a:lnTo>
                    <a:pt x="56" y="365"/>
                  </a:lnTo>
                  <a:lnTo>
                    <a:pt x="56" y="365"/>
                  </a:lnTo>
                  <a:lnTo>
                    <a:pt x="54" y="365"/>
                  </a:lnTo>
                  <a:lnTo>
                    <a:pt x="54" y="365"/>
                  </a:lnTo>
                  <a:lnTo>
                    <a:pt x="54" y="367"/>
                  </a:lnTo>
                  <a:lnTo>
                    <a:pt x="54" y="367"/>
                  </a:lnTo>
                  <a:lnTo>
                    <a:pt x="52" y="368"/>
                  </a:lnTo>
                  <a:lnTo>
                    <a:pt x="52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51" y="367"/>
                  </a:lnTo>
                  <a:lnTo>
                    <a:pt x="49" y="367"/>
                  </a:lnTo>
                  <a:lnTo>
                    <a:pt x="49" y="367"/>
                  </a:lnTo>
                  <a:lnTo>
                    <a:pt x="49" y="365"/>
                  </a:lnTo>
                  <a:lnTo>
                    <a:pt x="49" y="365"/>
                  </a:lnTo>
                  <a:lnTo>
                    <a:pt x="49" y="365"/>
                  </a:lnTo>
                  <a:lnTo>
                    <a:pt x="49" y="364"/>
                  </a:lnTo>
                  <a:lnTo>
                    <a:pt x="49" y="362"/>
                  </a:lnTo>
                  <a:lnTo>
                    <a:pt x="49" y="362"/>
                  </a:lnTo>
                  <a:lnTo>
                    <a:pt x="49" y="362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8" y="364"/>
                  </a:lnTo>
                  <a:lnTo>
                    <a:pt x="48" y="362"/>
                  </a:lnTo>
                  <a:lnTo>
                    <a:pt x="46" y="364"/>
                  </a:lnTo>
                  <a:lnTo>
                    <a:pt x="46" y="365"/>
                  </a:lnTo>
                  <a:lnTo>
                    <a:pt x="48" y="367"/>
                  </a:lnTo>
                  <a:lnTo>
                    <a:pt x="48" y="367"/>
                  </a:lnTo>
                  <a:lnTo>
                    <a:pt x="46" y="367"/>
                  </a:lnTo>
                  <a:lnTo>
                    <a:pt x="46" y="368"/>
                  </a:lnTo>
                  <a:lnTo>
                    <a:pt x="45" y="370"/>
                  </a:lnTo>
                  <a:lnTo>
                    <a:pt x="43" y="370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6" y="373"/>
                  </a:lnTo>
                  <a:lnTo>
                    <a:pt x="48" y="373"/>
                  </a:lnTo>
                  <a:lnTo>
                    <a:pt x="49" y="375"/>
                  </a:lnTo>
                  <a:lnTo>
                    <a:pt x="52" y="376"/>
                  </a:lnTo>
                  <a:lnTo>
                    <a:pt x="54" y="376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5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6" y="378"/>
                  </a:lnTo>
                  <a:lnTo>
                    <a:pt x="57" y="379"/>
                  </a:lnTo>
                  <a:lnTo>
                    <a:pt x="57" y="379"/>
                  </a:lnTo>
                  <a:lnTo>
                    <a:pt x="57" y="378"/>
                  </a:lnTo>
                  <a:lnTo>
                    <a:pt x="57" y="376"/>
                  </a:lnTo>
                  <a:lnTo>
                    <a:pt x="59" y="378"/>
                  </a:lnTo>
                  <a:lnTo>
                    <a:pt x="60" y="379"/>
                  </a:lnTo>
                  <a:lnTo>
                    <a:pt x="62" y="381"/>
                  </a:lnTo>
                  <a:lnTo>
                    <a:pt x="63" y="381"/>
                  </a:lnTo>
                  <a:lnTo>
                    <a:pt x="63" y="382"/>
                  </a:lnTo>
                  <a:lnTo>
                    <a:pt x="63" y="382"/>
                  </a:lnTo>
                  <a:lnTo>
                    <a:pt x="65" y="384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68" y="385"/>
                  </a:lnTo>
                  <a:lnTo>
                    <a:pt x="68" y="384"/>
                  </a:lnTo>
                  <a:lnTo>
                    <a:pt x="68" y="385"/>
                  </a:lnTo>
                  <a:lnTo>
                    <a:pt x="69" y="387"/>
                  </a:lnTo>
                  <a:lnTo>
                    <a:pt x="69" y="388"/>
                  </a:lnTo>
                  <a:lnTo>
                    <a:pt x="71" y="387"/>
                  </a:lnTo>
                  <a:lnTo>
                    <a:pt x="71" y="387"/>
                  </a:lnTo>
                  <a:lnTo>
                    <a:pt x="71" y="385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72" y="378"/>
                  </a:lnTo>
                  <a:lnTo>
                    <a:pt x="74" y="378"/>
                  </a:lnTo>
                  <a:lnTo>
                    <a:pt x="79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2" y="378"/>
                  </a:lnTo>
                  <a:lnTo>
                    <a:pt x="83" y="378"/>
                  </a:lnTo>
                  <a:lnTo>
                    <a:pt x="83" y="381"/>
                  </a:lnTo>
                  <a:lnTo>
                    <a:pt x="83" y="382"/>
                  </a:lnTo>
                  <a:lnTo>
                    <a:pt x="85" y="381"/>
                  </a:lnTo>
                  <a:lnTo>
                    <a:pt x="85" y="382"/>
                  </a:lnTo>
                  <a:lnTo>
                    <a:pt x="86" y="384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8"/>
                  </a:lnTo>
                  <a:lnTo>
                    <a:pt x="88" y="388"/>
                  </a:lnTo>
                  <a:lnTo>
                    <a:pt x="88" y="390"/>
                  </a:lnTo>
                  <a:lnTo>
                    <a:pt x="89" y="393"/>
                  </a:lnTo>
                  <a:lnTo>
                    <a:pt x="91" y="395"/>
                  </a:lnTo>
                  <a:lnTo>
                    <a:pt x="91" y="395"/>
                  </a:lnTo>
                  <a:lnTo>
                    <a:pt x="91" y="393"/>
                  </a:lnTo>
                  <a:lnTo>
                    <a:pt x="91" y="393"/>
                  </a:lnTo>
                  <a:lnTo>
                    <a:pt x="92" y="391"/>
                  </a:lnTo>
                  <a:lnTo>
                    <a:pt x="92" y="391"/>
                  </a:lnTo>
                  <a:lnTo>
                    <a:pt x="94" y="391"/>
                  </a:lnTo>
                  <a:lnTo>
                    <a:pt x="96" y="391"/>
                  </a:lnTo>
                  <a:lnTo>
                    <a:pt x="99" y="391"/>
                  </a:lnTo>
                  <a:lnTo>
                    <a:pt x="102" y="393"/>
                  </a:lnTo>
                  <a:lnTo>
                    <a:pt x="103" y="393"/>
                  </a:lnTo>
                  <a:lnTo>
                    <a:pt x="105" y="393"/>
                  </a:lnTo>
                  <a:lnTo>
                    <a:pt x="105" y="395"/>
                  </a:lnTo>
                  <a:lnTo>
                    <a:pt x="105" y="396"/>
                  </a:lnTo>
                  <a:lnTo>
                    <a:pt x="105" y="396"/>
                  </a:lnTo>
                  <a:lnTo>
                    <a:pt x="106" y="396"/>
                  </a:lnTo>
                  <a:lnTo>
                    <a:pt x="106" y="396"/>
                  </a:lnTo>
                  <a:lnTo>
                    <a:pt x="108" y="396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398"/>
                  </a:lnTo>
                  <a:lnTo>
                    <a:pt x="111" y="399"/>
                  </a:lnTo>
                  <a:lnTo>
                    <a:pt x="112" y="399"/>
                  </a:lnTo>
                  <a:lnTo>
                    <a:pt x="116" y="399"/>
                  </a:lnTo>
                  <a:lnTo>
                    <a:pt x="117" y="399"/>
                  </a:lnTo>
                  <a:lnTo>
                    <a:pt x="120" y="402"/>
                  </a:lnTo>
                  <a:lnTo>
                    <a:pt x="120" y="404"/>
                  </a:lnTo>
                  <a:lnTo>
                    <a:pt x="119" y="405"/>
                  </a:lnTo>
                  <a:lnTo>
                    <a:pt x="120" y="405"/>
                  </a:lnTo>
                  <a:lnTo>
                    <a:pt x="120" y="407"/>
                  </a:lnTo>
                  <a:lnTo>
                    <a:pt x="119" y="407"/>
                  </a:lnTo>
                  <a:lnTo>
                    <a:pt x="119" y="408"/>
                  </a:lnTo>
                  <a:lnTo>
                    <a:pt x="119" y="408"/>
                  </a:lnTo>
                  <a:lnTo>
                    <a:pt x="117" y="410"/>
                  </a:lnTo>
                  <a:lnTo>
                    <a:pt x="117" y="410"/>
                  </a:lnTo>
                  <a:lnTo>
                    <a:pt x="117" y="412"/>
                  </a:lnTo>
                  <a:lnTo>
                    <a:pt x="117" y="413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21"/>
                  </a:lnTo>
                  <a:lnTo>
                    <a:pt x="119" y="421"/>
                  </a:lnTo>
                  <a:lnTo>
                    <a:pt x="117" y="424"/>
                  </a:lnTo>
                  <a:lnTo>
                    <a:pt x="116" y="424"/>
                  </a:lnTo>
                  <a:lnTo>
                    <a:pt x="109" y="427"/>
                  </a:lnTo>
                  <a:lnTo>
                    <a:pt x="108" y="427"/>
                  </a:lnTo>
                  <a:lnTo>
                    <a:pt x="103" y="427"/>
                  </a:lnTo>
                  <a:lnTo>
                    <a:pt x="102" y="427"/>
                  </a:lnTo>
                  <a:lnTo>
                    <a:pt x="100" y="428"/>
                  </a:lnTo>
                  <a:lnTo>
                    <a:pt x="103" y="430"/>
                  </a:lnTo>
                  <a:lnTo>
                    <a:pt x="109" y="432"/>
                  </a:lnTo>
                  <a:lnTo>
                    <a:pt x="114" y="435"/>
                  </a:lnTo>
                  <a:lnTo>
                    <a:pt x="116" y="435"/>
                  </a:lnTo>
                  <a:lnTo>
                    <a:pt x="116" y="436"/>
                  </a:lnTo>
                  <a:lnTo>
                    <a:pt x="116" y="438"/>
                  </a:lnTo>
                  <a:lnTo>
                    <a:pt x="114" y="439"/>
                  </a:lnTo>
                  <a:lnTo>
                    <a:pt x="114" y="439"/>
                  </a:lnTo>
                  <a:lnTo>
                    <a:pt x="112" y="441"/>
                  </a:lnTo>
                  <a:lnTo>
                    <a:pt x="114" y="441"/>
                  </a:lnTo>
                  <a:lnTo>
                    <a:pt x="114" y="441"/>
                  </a:lnTo>
                  <a:lnTo>
                    <a:pt x="114" y="442"/>
                  </a:lnTo>
                  <a:lnTo>
                    <a:pt x="114" y="444"/>
                  </a:lnTo>
                  <a:lnTo>
                    <a:pt x="114" y="444"/>
                  </a:lnTo>
                  <a:lnTo>
                    <a:pt x="114" y="445"/>
                  </a:lnTo>
                  <a:lnTo>
                    <a:pt x="112" y="447"/>
                  </a:lnTo>
                  <a:lnTo>
                    <a:pt x="114" y="447"/>
                  </a:lnTo>
                  <a:lnTo>
                    <a:pt x="114" y="447"/>
                  </a:lnTo>
                  <a:lnTo>
                    <a:pt x="114" y="447"/>
                  </a:lnTo>
                  <a:lnTo>
                    <a:pt x="116" y="447"/>
                  </a:lnTo>
                  <a:lnTo>
                    <a:pt x="116" y="447"/>
                  </a:lnTo>
                  <a:lnTo>
                    <a:pt x="116" y="450"/>
                  </a:lnTo>
                  <a:lnTo>
                    <a:pt x="117" y="453"/>
                  </a:lnTo>
                  <a:lnTo>
                    <a:pt x="117" y="453"/>
                  </a:lnTo>
                  <a:lnTo>
                    <a:pt x="116" y="453"/>
                  </a:lnTo>
                  <a:lnTo>
                    <a:pt x="116" y="453"/>
                  </a:lnTo>
                  <a:lnTo>
                    <a:pt x="116" y="455"/>
                  </a:lnTo>
                  <a:lnTo>
                    <a:pt x="116" y="456"/>
                  </a:lnTo>
                  <a:lnTo>
                    <a:pt x="114" y="456"/>
                  </a:lnTo>
                  <a:lnTo>
                    <a:pt x="114" y="458"/>
                  </a:lnTo>
                  <a:lnTo>
                    <a:pt x="114" y="458"/>
                  </a:lnTo>
                  <a:lnTo>
                    <a:pt x="114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8"/>
                  </a:lnTo>
                  <a:lnTo>
                    <a:pt x="116" y="459"/>
                  </a:lnTo>
                  <a:lnTo>
                    <a:pt x="117" y="459"/>
                  </a:lnTo>
                  <a:lnTo>
                    <a:pt x="117" y="459"/>
                  </a:lnTo>
                  <a:lnTo>
                    <a:pt x="117" y="459"/>
                  </a:lnTo>
                  <a:lnTo>
                    <a:pt x="119" y="459"/>
                  </a:lnTo>
                  <a:lnTo>
                    <a:pt x="119" y="459"/>
                  </a:lnTo>
                  <a:lnTo>
                    <a:pt x="120" y="458"/>
                  </a:lnTo>
                  <a:lnTo>
                    <a:pt x="125" y="458"/>
                  </a:lnTo>
                  <a:lnTo>
                    <a:pt x="125" y="458"/>
                  </a:lnTo>
                  <a:lnTo>
                    <a:pt x="123" y="458"/>
                  </a:lnTo>
                  <a:lnTo>
                    <a:pt x="123" y="456"/>
                  </a:lnTo>
                  <a:lnTo>
                    <a:pt x="125" y="456"/>
                  </a:lnTo>
                  <a:lnTo>
                    <a:pt x="126" y="456"/>
                  </a:lnTo>
                  <a:lnTo>
                    <a:pt x="126" y="455"/>
                  </a:lnTo>
                  <a:lnTo>
                    <a:pt x="128" y="453"/>
                  </a:lnTo>
                  <a:lnTo>
                    <a:pt x="128" y="453"/>
                  </a:lnTo>
                  <a:lnTo>
                    <a:pt x="129" y="453"/>
                  </a:lnTo>
                  <a:lnTo>
                    <a:pt x="129" y="453"/>
                  </a:lnTo>
                  <a:lnTo>
                    <a:pt x="131" y="453"/>
                  </a:lnTo>
                  <a:lnTo>
                    <a:pt x="133" y="455"/>
                  </a:lnTo>
                  <a:lnTo>
                    <a:pt x="131" y="455"/>
                  </a:lnTo>
                  <a:lnTo>
                    <a:pt x="129" y="456"/>
                  </a:lnTo>
                  <a:lnTo>
                    <a:pt x="129" y="459"/>
                  </a:lnTo>
                  <a:lnTo>
                    <a:pt x="129" y="461"/>
                  </a:lnTo>
                  <a:lnTo>
                    <a:pt x="131" y="462"/>
                  </a:lnTo>
                  <a:lnTo>
                    <a:pt x="133" y="462"/>
                  </a:lnTo>
                  <a:lnTo>
                    <a:pt x="134" y="461"/>
                  </a:lnTo>
                  <a:lnTo>
                    <a:pt x="136" y="459"/>
                  </a:lnTo>
                  <a:lnTo>
                    <a:pt x="136" y="459"/>
                  </a:lnTo>
                  <a:lnTo>
                    <a:pt x="136" y="461"/>
                  </a:lnTo>
                  <a:lnTo>
                    <a:pt x="136" y="462"/>
                  </a:lnTo>
                  <a:lnTo>
                    <a:pt x="136" y="462"/>
                  </a:lnTo>
                  <a:lnTo>
                    <a:pt x="136" y="464"/>
                  </a:lnTo>
                  <a:lnTo>
                    <a:pt x="134" y="465"/>
                  </a:lnTo>
                  <a:lnTo>
                    <a:pt x="134" y="465"/>
                  </a:lnTo>
                  <a:lnTo>
                    <a:pt x="134" y="467"/>
                  </a:lnTo>
                  <a:lnTo>
                    <a:pt x="134" y="467"/>
                  </a:lnTo>
                  <a:lnTo>
                    <a:pt x="136" y="467"/>
                  </a:lnTo>
                  <a:lnTo>
                    <a:pt x="136" y="467"/>
                  </a:lnTo>
                  <a:lnTo>
                    <a:pt x="136" y="465"/>
                  </a:lnTo>
                  <a:lnTo>
                    <a:pt x="137" y="465"/>
                  </a:lnTo>
                  <a:lnTo>
                    <a:pt x="139" y="467"/>
                  </a:lnTo>
                  <a:lnTo>
                    <a:pt x="139" y="468"/>
                  </a:lnTo>
                  <a:lnTo>
                    <a:pt x="137" y="468"/>
                  </a:lnTo>
                  <a:lnTo>
                    <a:pt x="139" y="470"/>
                  </a:lnTo>
                  <a:lnTo>
                    <a:pt x="139" y="468"/>
                  </a:lnTo>
                  <a:lnTo>
                    <a:pt x="140" y="467"/>
                  </a:lnTo>
                  <a:lnTo>
                    <a:pt x="140" y="467"/>
                  </a:lnTo>
                  <a:lnTo>
                    <a:pt x="140" y="465"/>
                  </a:lnTo>
                  <a:lnTo>
                    <a:pt x="142" y="465"/>
                  </a:lnTo>
                  <a:lnTo>
                    <a:pt x="143" y="465"/>
                  </a:lnTo>
                  <a:lnTo>
                    <a:pt x="143" y="465"/>
                  </a:lnTo>
                  <a:lnTo>
                    <a:pt x="143" y="465"/>
                  </a:lnTo>
                  <a:lnTo>
                    <a:pt x="143" y="464"/>
                  </a:lnTo>
                  <a:lnTo>
                    <a:pt x="145" y="465"/>
                  </a:lnTo>
                  <a:lnTo>
                    <a:pt x="145" y="465"/>
                  </a:lnTo>
                  <a:lnTo>
                    <a:pt x="146" y="465"/>
                  </a:lnTo>
                  <a:lnTo>
                    <a:pt x="145" y="465"/>
                  </a:lnTo>
                  <a:lnTo>
                    <a:pt x="145" y="467"/>
                  </a:lnTo>
                  <a:lnTo>
                    <a:pt x="145" y="468"/>
                  </a:lnTo>
                  <a:lnTo>
                    <a:pt x="145" y="468"/>
                  </a:lnTo>
                  <a:lnTo>
                    <a:pt x="143" y="468"/>
                  </a:lnTo>
                  <a:lnTo>
                    <a:pt x="143" y="470"/>
                  </a:lnTo>
                  <a:lnTo>
                    <a:pt x="143" y="472"/>
                  </a:lnTo>
                  <a:lnTo>
                    <a:pt x="143" y="472"/>
                  </a:lnTo>
                  <a:lnTo>
                    <a:pt x="145" y="472"/>
                  </a:lnTo>
                  <a:lnTo>
                    <a:pt x="143" y="473"/>
                  </a:lnTo>
                  <a:lnTo>
                    <a:pt x="143" y="475"/>
                  </a:lnTo>
                  <a:lnTo>
                    <a:pt x="143" y="475"/>
                  </a:lnTo>
                  <a:lnTo>
                    <a:pt x="143" y="473"/>
                  </a:lnTo>
                  <a:lnTo>
                    <a:pt x="143" y="472"/>
                  </a:lnTo>
                  <a:lnTo>
                    <a:pt x="139" y="473"/>
                  </a:lnTo>
                  <a:lnTo>
                    <a:pt x="139" y="473"/>
                  </a:lnTo>
                  <a:lnTo>
                    <a:pt x="140" y="475"/>
                  </a:lnTo>
                  <a:lnTo>
                    <a:pt x="140" y="476"/>
                  </a:lnTo>
                  <a:lnTo>
                    <a:pt x="142" y="479"/>
                  </a:lnTo>
                  <a:lnTo>
                    <a:pt x="142" y="478"/>
                  </a:lnTo>
                  <a:lnTo>
                    <a:pt x="142" y="478"/>
                  </a:lnTo>
                  <a:lnTo>
                    <a:pt x="143" y="478"/>
                  </a:lnTo>
                  <a:lnTo>
                    <a:pt x="143" y="479"/>
                  </a:lnTo>
                  <a:lnTo>
                    <a:pt x="142" y="479"/>
                  </a:lnTo>
                  <a:lnTo>
                    <a:pt x="140" y="479"/>
                  </a:lnTo>
                  <a:lnTo>
                    <a:pt x="139" y="479"/>
                  </a:lnTo>
                  <a:lnTo>
                    <a:pt x="139" y="481"/>
                  </a:lnTo>
                  <a:lnTo>
                    <a:pt x="137" y="481"/>
                  </a:lnTo>
                  <a:lnTo>
                    <a:pt x="136" y="482"/>
                  </a:lnTo>
                  <a:lnTo>
                    <a:pt x="134" y="482"/>
                  </a:lnTo>
                  <a:lnTo>
                    <a:pt x="133" y="482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3" y="479"/>
                  </a:lnTo>
                  <a:lnTo>
                    <a:pt x="131" y="479"/>
                  </a:lnTo>
                  <a:lnTo>
                    <a:pt x="131" y="479"/>
                  </a:lnTo>
                  <a:lnTo>
                    <a:pt x="131" y="479"/>
                  </a:lnTo>
                  <a:lnTo>
                    <a:pt x="129" y="479"/>
                  </a:lnTo>
                  <a:lnTo>
                    <a:pt x="129" y="479"/>
                  </a:lnTo>
                  <a:lnTo>
                    <a:pt x="128" y="479"/>
                  </a:lnTo>
                  <a:lnTo>
                    <a:pt x="128" y="478"/>
                  </a:lnTo>
                  <a:lnTo>
                    <a:pt x="128" y="476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8"/>
                  </a:lnTo>
                  <a:lnTo>
                    <a:pt x="128" y="476"/>
                  </a:lnTo>
                  <a:lnTo>
                    <a:pt x="126" y="478"/>
                  </a:lnTo>
                  <a:lnTo>
                    <a:pt x="126" y="478"/>
                  </a:lnTo>
                  <a:lnTo>
                    <a:pt x="126" y="479"/>
                  </a:lnTo>
                  <a:lnTo>
                    <a:pt x="125" y="479"/>
                  </a:lnTo>
                  <a:lnTo>
                    <a:pt x="125" y="478"/>
                  </a:lnTo>
                  <a:lnTo>
                    <a:pt x="125" y="476"/>
                  </a:lnTo>
                  <a:lnTo>
                    <a:pt x="125" y="476"/>
                  </a:lnTo>
                  <a:lnTo>
                    <a:pt x="123" y="476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9"/>
                  </a:lnTo>
                  <a:lnTo>
                    <a:pt x="123" y="479"/>
                  </a:lnTo>
                  <a:lnTo>
                    <a:pt x="122" y="479"/>
                  </a:lnTo>
                  <a:lnTo>
                    <a:pt x="120" y="479"/>
                  </a:lnTo>
                  <a:lnTo>
                    <a:pt x="119" y="479"/>
                  </a:lnTo>
                  <a:lnTo>
                    <a:pt x="119" y="479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20" y="481"/>
                  </a:lnTo>
                  <a:lnTo>
                    <a:pt x="120" y="479"/>
                  </a:lnTo>
                  <a:lnTo>
                    <a:pt x="122" y="481"/>
                  </a:lnTo>
                  <a:lnTo>
                    <a:pt x="122" y="481"/>
                  </a:lnTo>
                  <a:lnTo>
                    <a:pt x="120" y="482"/>
                  </a:lnTo>
                  <a:lnTo>
                    <a:pt x="119" y="482"/>
                  </a:lnTo>
                  <a:lnTo>
                    <a:pt x="119" y="484"/>
                  </a:lnTo>
                  <a:lnTo>
                    <a:pt x="117" y="484"/>
                  </a:lnTo>
                  <a:lnTo>
                    <a:pt x="117" y="485"/>
                  </a:lnTo>
                  <a:lnTo>
                    <a:pt x="117" y="487"/>
                  </a:lnTo>
                  <a:lnTo>
                    <a:pt x="117" y="487"/>
                  </a:lnTo>
                  <a:lnTo>
                    <a:pt x="119" y="489"/>
                  </a:lnTo>
                  <a:lnTo>
                    <a:pt x="119" y="492"/>
                  </a:lnTo>
                  <a:lnTo>
                    <a:pt x="119" y="493"/>
                  </a:lnTo>
                  <a:lnTo>
                    <a:pt x="119" y="495"/>
                  </a:lnTo>
                  <a:lnTo>
                    <a:pt x="120" y="495"/>
                  </a:lnTo>
                  <a:lnTo>
                    <a:pt x="122" y="495"/>
                  </a:lnTo>
                  <a:lnTo>
                    <a:pt x="122" y="495"/>
                  </a:lnTo>
                  <a:lnTo>
                    <a:pt x="122" y="495"/>
                  </a:lnTo>
                  <a:lnTo>
                    <a:pt x="123" y="495"/>
                  </a:lnTo>
                  <a:lnTo>
                    <a:pt x="122" y="495"/>
                  </a:lnTo>
                  <a:lnTo>
                    <a:pt x="122" y="493"/>
                  </a:lnTo>
                  <a:lnTo>
                    <a:pt x="123" y="493"/>
                  </a:lnTo>
                  <a:lnTo>
                    <a:pt x="125" y="492"/>
                  </a:lnTo>
                  <a:lnTo>
                    <a:pt x="125" y="492"/>
                  </a:lnTo>
                  <a:lnTo>
                    <a:pt x="125" y="490"/>
                  </a:lnTo>
                  <a:lnTo>
                    <a:pt x="125" y="490"/>
                  </a:lnTo>
                  <a:lnTo>
                    <a:pt x="125" y="489"/>
                  </a:lnTo>
                  <a:lnTo>
                    <a:pt x="126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89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0"/>
                  </a:lnTo>
                  <a:lnTo>
                    <a:pt x="128" y="492"/>
                  </a:lnTo>
                  <a:lnTo>
                    <a:pt x="128" y="492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89"/>
                  </a:lnTo>
                  <a:lnTo>
                    <a:pt x="129" y="490"/>
                  </a:lnTo>
                  <a:lnTo>
                    <a:pt x="131" y="489"/>
                  </a:lnTo>
                  <a:lnTo>
                    <a:pt x="133" y="489"/>
                  </a:lnTo>
                  <a:lnTo>
                    <a:pt x="133" y="489"/>
                  </a:lnTo>
                  <a:lnTo>
                    <a:pt x="134" y="490"/>
                  </a:lnTo>
                  <a:lnTo>
                    <a:pt x="136" y="492"/>
                  </a:lnTo>
                  <a:lnTo>
                    <a:pt x="136" y="492"/>
                  </a:lnTo>
                  <a:lnTo>
                    <a:pt x="139" y="492"/>
                  </a:lnTo>
                  <a:lnTo>
                    <a:pt x="139" y="492"/>
                  </a:lnTo>
                  <a:lnTo>
                    <a:pt x="140" y="492"/>
                  </a:lnTo>
                  <a:lnTo>
                    <a:pt x="142" y="493"/>
                  </a:lnTo>
                  <a:lnTo>
                    <a:pt x="142" y="492"/>
                  </a:lnTo>
                  <a:lnTo>
                    <a:pt x="143" y="492"/>
                  </a:lnTo>
                  <a:lnTo>
                    <a:pt x="146" y="492"/>
                  </a:lnTo>
                  <a:lnTo>
                    <a:pt x="146" y="493"/>
                  </a:lnTo>
                  <a:lnTo>
                    <a:pt x="148" y="492"/>
                  </a:lnTo>
                  <a:lnTo>
                    <a:pt x="151" y="490"/>
                  </a:lnTo>
                  <a:lnTo>
                    <a:pt x="154" y="490"/>
                  </a:lnTo>
                  <a:lnTo>
                    <a:pt x="154" y="492"/>
                  </a:lnTo>
                  <a:lnTo>
                    <a:pt x="156" y="492"/>
                  </a:lnTo>
                  <a:lnTo>
                    <a:pt x="157" y="492"/>
                  </a:lnTo>
                  <a:lnTo>
                    <a:pt x="157" y="492"/>
                  </a:lnTo>
                  <a:lnTo>
                    <a:pt x="157" y="492"/>
                  </a:lnTo>
                  <a:lnTo>
                    <a:pt x="159" y="490"/>
                  </a:lnTo>
                  <a:lnTo>
                    <a:pt x="159" y="490"/>
                  </a:lnTo>
                  <a:lnTo>
                    <a:pt x="159" y="490"/>
                  </a:lnTo>
                  <a:lnTo>
                    <a:pt x="160" y="490"/>
                  </a:lnTo>
                  <a:lnTo>
                    <a:pt x="166" y="489"/>
                  </a:lnTo>
                  <a:lnTo>
                    <a:pt x="168" y="489"/>
                  </a:lnTo>
                  <a:lnTo>
                    <a:pt x="169" y="489"/>
                  </a:lnTo>
                  <a:lnTo>
                    <a:pt x="171" y="489"/>
                  </a:lnTo>
                  <a:lnTo>
                    <a:pt x="171" y="489"/>
                  </a:lnTo>
                  <a:lnTo>
                    <a:pt x="173" y="489"/>
                  </a:lnTo>
                  <a:lnTo>
                    <a:pt x="173" y="487"/>
                  </a:lnTo>
                  <a:lnTo>
                    <a:pt x="182" y="489"/>
                  </a:lnTo>
                  <a:lnTo>
                    <a:pt x="182" y="490"/>
                  </a:lnTo>
                  <a:lnTo>
                    <a:pt x="182" y="489"/>
                  </a:lnTo>
                  <a:lnTo>
                    <a:pt x="182" y="489"/>
                  </a:lnTo>
                  <a:lnTo>
                    <a:pt x="183" y="487"/>
                  </a:lnTo>
                  <a:lnTo>
                    <a:pt x="186" y="487"/>
                  </a:lnTo>
                  <a:lnTo>
                    <a:pt x="197" y="485"/>
                  </a:lnTo>
                  <a:lnTo>
                    <a:pt x="197" y="487"/>
                  </a:lnTo>
                  <a:lnTo>
                    <a:pt x="199" y="487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197" y="489"/>
                  </a:lnTo>
                  <a:lnTo>
                    <a:pt x="193" y="490"/>
                  </a:lnTo>
                  <a:lnTo>
                    <a:pt x="193" y="492"/>
                  </a:lnTo>
                  <a:lnTo>
                    <a:pt x="193" y="492"/>
                  </a:lnTo>
                  <a:lnTo>
                    <a:pt x="191" y="492"/>
                  </a:lnTo>
                  <a:lnTo>
                    <a:pt x="189" y="492"/>
                  </a:lnTo>
                  <a:lnTo>
                    <a:pt x="189" y="492"/>
                  </a:lnTo>
                  <a:lnTo>
                    <a:pt x="189" y="493"/>
                  </a:lnTo>
                  <a:lnTo>
                    <a:pt x="189" y="493"/>
                  </a:lnTo>
                  <a:lnTo>
                    <a:pt x="189" y="493"/>
                  </a:lnTo>
                  <a:lnTo>
                    <a:pt x="189" y="495"/>
                  </a:lnTo>
                  <a:lnTo>
                    <a:pt x="188" y="496"/>
                  </a:lnTo>
                  <a:lnTo>
                    <a:pt x="188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6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6" y="499"/>
                  </a:lnTo>
                  <a:lnTo>
                    <a:pt x="186" y="499"/>
                  </a:lnTo>
                  <a:lnTo>
                    <a:pt x="186" y="498"/>
                  </a:lnTo>
                  <a:lnTo>
                    <a:pt x="186" y="498"/>
                  </a:lnTo>
                  <a:lnTo>
                    <a:pt x="185" y="498"/>
                  </a:lnTo>
                  <a:lnTo>
                    <a:pt x="185" y="498"/>
                  </a:lnTo>
                  <a:lnTo>
                    <a:pt x="183" y="496"/>
                  </a:lnTo>
                  <a:lnTo>
                    <a:pt x="182" y="498"/>
                  </a:lnTo>
                  <a:lnTo>
                    <a:pt x="182" y="498"/>
                  </a:lnTo>
                  <a:lnTo>
                    <a:pt x="182" y="496"/>
                  </a:lnTo>
                  <a:lnTo>
                    <a:pt x="182" y="496"/>
                  </a:lnTo>
                  <a:lnTo>
                    <a:pt x="180" y="496"/>
                  </a:lnTo>
                  <a:lnTo>
                    <a:pt x="180" y="498"/>
                  </a:lnTo>
                  <a:lnTo>
                    <a:pt x="180" y="496"/>
                  </a:lnTo>
                  <a:lnTo>
                    <a:pt x="179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6" y="498"/>
                  </a:lnTo>
                  <a:lnTo>
                    <a:pt x="177" y="498"/>
                  </a:lnTo>
                  <a:lnTo>
                    <a:pt x="177" y="498"/>
                  </a:lnTo>
                  <a:lnTo>
                    <a:pt x="177" y="499"/>
                  </a:lnTo>
                  <a:lnTo>
                    <a:pt x="177" y="499"/>
                  </a:lnTo>
                  <a:lnTo>
                    <a:pt x="177" y="499"/>
                  </a:lnTo>
                  <a:lnTo>
                    <a:pt x="176" y="499"/>
                  </a:lnTo>
                  <a:lnTo>
                    <a:pt x="176" y="499"/>
                  </a:lnTo>
                  <a:lnTo>
                    <a:pt x="177" y="501"/>
                  </a:lnTo>
                  <a:lnTo>
                    <a:pt x="179" y="502"/>
                  </a:lnTo>
                  <a:lnTo>
                    <a:pt x="179" y="502"/>
                  </a:lnTo>
                  <a:lnTo>
                    <a:pt x="177" y="504"/>
                  </a:lnTo>
                  <a:lnTo>
                    <a:pt x="177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6" y="504"/>
                  </a:lnTo>
                  <a:lnTo>
                    <a:pt x="174" y="504"/>
                  </a:lnTo>
                  <a:lnTo>
                    <a:pt x="176" y="505"/>
                  </a:lnTo>
                  <a:lnTo>
                    <a:pt x="176" y="505"/>
                  </a:lnTo>
                  <a:lnTo>
                    <a:pt x="176" y="507"/>
                  </a:lnTo>
                  <a:lnTo>
                    <a:pt x="176" y="505"/>
                  </a:lnTo>
                  <a:lnTo>
                    <a:pt x="174" y="507"/>
                  </a:lnTo>
                  <a:lnTo>
                    <a:pt x="176" y="507"/>
                  </a:lnTo>
                  <a:lnTo>
                    <a:pt x="177" y="507"/>
                  </a:lnTo>
                  <a:lnTo>
                    <a:pt x="177" y="507"/>
                  </a:lnTo>
                  <a:lnTo>
                    <a:pt x="179" y="509"/>
                  </a:lnTo>
                  <a:lnTo>
                    <a:pt x="177" y="510"/>
                  </a:lnTo>
                  <a:lnTo>
                    <a:pt x="177" y="510"/>
                  </a:lnTo>
                  <a:lnTo>
                    <a:pt x="176" y="512"/>
                  </a:lnTo>
                  <a:lnTo>
                    <a:pt x="176" y="510"/>
                  </a:lnTo>
                  <a:lnTo>
                    <a:pt x="174" y="510"/>
                  </a:lnTo>
                  <a:lnTo>
                    <a:pt x="171" y="510"/>
                  </a:lnTo>
                  <a:lnTo>
                    <a:pt x="169" y="510"/>
                  </a:lnTo>
                  <a:lnTo>
                    <a:pt x="168" y="510"/>
                  </a:lnTo>
                  <a:lnTo>
                    <a:pt x="166" y="509"/>
                  </a:lnTo>
                  <a:lnTo>
                    <a:pt x="166" y="509"/>
                  </a:lnTo>
                  <a:lnTo>
                    <a:pt x="166" y="509"/>
                  </a:lnTo>
                  <a:lnTo>
                    <a:pt x="159" y="509"/>
                  </a:lnTo>
                  <a:lnTo>
                    <a:pt x="159" y="510"/>
                  </a:lnTo>
                  <a:lnTo>
                    <a:pt x="156" y="512"/>
                  </a:lnTo>
                  <a:lnTo>
                    <a:pt x="156" y="512"/>
                  </a:lnTo>
                  <a:lnTo>
                    <a:pt x="154" y="512"/>
                  </a:lnTo>
                  <a:lnTo>
                    <a:pt x="154" y="512"/>
                  </a:lnTo>
                  <a:lnTo>
                    <a:pt x="153" y="510"/>
                  </a:lnTo>
                  <a:lnTo>
                    <a:pt x="151" y="512"/>
                  </a:lnTo>
                  <a:lnTo>
                    <a:pt x="148" y="509"/>
                  </a:lnTo>
                  <a:lnTo>
                    <a:pt x="146" y="509"/>
                  </a:lnTo>
                  <a:lnTo>
                    <a:pt x="146" y="510"/>
                  </a:lnTo>
                  <a:lnTo>
                    <a:pt x="146" y="512"/>
                  </a:lnTo>
                  <a:lnTo>
                    <a:pt x="145" y="513"/>
                  </a:lnTo>
                  <a:lnTo>
                    <a:pt x="143" y="513"/>
                  </a:lnTo>
                  <a:lnTo>
                    <a:pt x="142" y="513"/>
                  </a:lnTo>
                  <a:lnTo>
                    <a:pt x="136" y="513"/>
                  </a:lnTo>
                  <a:lnTo>
                    <a:pt x="134" y="513"/>
                  </a:lnTo>
                  <a:lnTo>
                    <a:pt x="133" y="513"/>
                  </a:lnTo>
                  <a:lnTo>
                    <a:pt x="133" y="515"/>
                  </a:lnTo>
                  <a:lnTo>
                    <a:pt x="131" y="515"/>
                  </a:lnTo>
                  <a:lnTo>
                    <a:pt x="131" y="516"/>
                  </a:lnTo>
                  <a:lnTo>
                    <a:pt x="131" y="518"/>
                  </a:lnTo>
                  <a:lnTo>
                    <a:pt x="129" y="518"/>
                  </a:lnTo>
                  <a:lnTo>
                    <a:pt x="128" y="518"/>
                  </a:lnTo>
                  <a:lnTo>
                    <a:pt x="128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8" y="519"/>
                  </a:lnTo>
                  <a:lnTo>
                    <a:pt x="128" y="519"/>
                  </a:lnTo>
                  <a:lnTo>
                    <a:pt x="126" y="519"/>
                  </a:lnTo>
                  <a:lnTo>
                    <a:pt x="126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9" y="521"/>
                  </a:lnTo>
                  <a:lnTo>
                    <a:pt x="129" y="521"/>
                  </a:lnTo>
                  <a:lnTo>
                    <a:pt x="129" y="522"/>
                  </a:lnTo>
                  <a:lnTo>
                    <a:pt x="131" y="521"/>
                  </a:lnTo>
                  <a:lnTo>
                    <a:pt x="131" y="521"/>
                  </a:lnTo>
                  <a:lnTo>
                    <a:pt x="133" y="522"/>
                  </a:lnTo>
                  <a:lnTo>
                    <a:pt x="134" y="522"/>
                  </a:lnTo>
                  <a:lnTo>
                    <a:pt x="134" y="522"/>
                  </a:lnTo>
                  <a:lnTo>
                    <a:pt x="136" y="524"/>
                  </a:lnTo>
                  <a:lnTo>
                    <a:pt x="136" y="522"/>
                  </a:lnTo>
                  <a:lnTo>
                    <a:pt x="136" y="522"/>
                  </a:lnTo>
                  <a:lnTo>
                    <a:pt x="136" y="522"/>
                  </a:lnTo>
                  <a:lnTo>
                    <a:pt x="142" y="519"/>
                  </a:lnTo>
                  <a:lnTo>
                    <a:pt x="142" y="521"/>
                  </a:lnTo>
                  <a:lnTo>
                    <a:pt x="142" y="521"/>
                  </a:lnTo>
                  <a:lnTo>
                    <a:pt x="143" y="521"/>
                  </a:lnTo>
                  <a:lnTo>
                    <a:pt x="145" y="521"/>
                  </a:lnTo>
                  <a:lnTo>
                    <a:pt x="146" y="521"/>
                  </a:lnTo>
                  <a:lnTo>
                    <a:pt x="148" y="521"/>
                  </a:lnTo>
                  <a:lnTo>
                    <a:pt x="149" y="522"/>
                  </a:lnTo>
                  <a:lnTo>
                    <a:pt x="149" y="521"/>
                  </a:lnTo>
                  <a:lnTo>
                    <a:pt x="151" y="518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1" y="516"/>
                  </a:lnTo>
                  <a:lnTo>
                    <a:pt x="154" y="513"/>
                  </a:lnTo>
                  <a:lnTo>
                    <a:pt x="154" y="513"/>
                  </a:lnTo>
                  <a:lnTo>
                    <a:pt x="156" y="513"/>
                  </a:lnTo>
                  <a:lnTo>
                    <a:pt x="157" y="513"/>
                  </a:lnTo>
                  <a:lnTo>
                    <a:pt x="157" y="513"/>
                  </a:lnTo>
                  <a:lnTo>
                    <a:pt x="159" y="513"/>
                  </a:lnTo>
                  <a:lnTo>
                    <a:pt x="159" y="513"/>
                  </a:lnTo>
                  <a:lnTo>
                    <a:pt x="160" y="513"/>
                  </a:lnTo>
                  <a:lnTo>
                    <a:pt x="162" y="513"/>
                  </a:lnTo>
                  <a:lnTo>
                    <a:pt x="163" y="515"/>
                  </a:lnTo>
                  <a:lnTo>
                    <a:pt x="163" y="515"/>
                  </a:lnTo>
                  <a:lnTo>
                    <a:pt x="163" y="515"/>
                  </a:lnTo>
                  <a:lnTo>
                    <a:pt x="165" y="513"/>
                  </a:lnTo>
                  <a:lnTo>
                    <a:pt x="165" y="515"/>
                  </a:lnTo>
                  <a:lnTo>
                    <a:pt x="165" y="515"/>
                  </a:lnTo>
                  <a:lnTo>
                    <a:pt x="166" y="515"/>
                  </a:lnTo>
                  <a:lnTo>
                    <a:pt x="166" y="515"/>
                  </a:lnTo>
                  <a:lnTo>
                    <a:pt x="166" y="513"/>
                  </a:lnTo>
                  <a:lnTo>
                    <a:pt x="168" y="513"/>
                  </a:lnTo>
                  <a:lnTo>
                    <a:pt x="168" y="515"/>
                  </a:lnTo>
                  <a:lnTo>
                    <a:pt x="169" y="515"/>
                  </a:lnTo>
                  <a:lnTo>
                    <a:pt x="169" y="513"/>
                  </a:lnTo>
                  <a:lnTo>
                    <a:pt x="171" y="513"/>
                  </a:lnTo>
                  <a:lnTo>
                    <a:pt x="171" y="515"/>
                  </a:lnTo>
                  <a:lnTo>
                    <a:pt x="171" y="515"/>
                  </a:lnTo>
                  <a:lnTo>
                    <a:pt x="173" y="513"/>
                  </a:lnTo>
                  <a:lnTo>
                    <a:pt x="176" y="513"/>
                  </a:lnTo>
                  <a:lnTo>
                    <a:pt x="177" y="512"/>
                  </a:lnTo>
                  <a:lnTo>
                    <a:pt x="177" y="513"/>
                  </a:lnTo>
                  <a:lnTo>
                    <a:pt x="177" y="513"/>
                  </a:lnTo>
                  <a:lnTo>
                    <a:pt x="179" y="512"/>
                  </a:lnTo>
                  <a:lnTo>
                    <a:pt x="180" y="510"/>
                  </a:lnTo>
                  <a:lnTo>
                    <a:pt x="182" y="509"/>
                  </a:lnTo>
                  <a:lnTo>
                    <a:pt x="182" y="509"/>
                  </a:lnTo>
                  <a:lnTo>
                    <a:pt x="183" y="510"/>
                  </a:lnTo>
                  <a:lnTo>
                    <a:pt x="183" y="510"/>
                  </a:lnTo>
                  <a:lnTo>
                    <a:pt x="183" y="512"/>
                  </a:lnTo>
                  <a:lnTo>
                    <a:pt x="183" y="513"/>
                  </a:lnTo>
                  <a:lnTo>
                    <a:pt x="183" y="513"/>
                  </a:lnTo>
                  <a:lnTo>
                    <a:pt x="183" y="512"/>
                  </a:lnTo>
                  <a:lnTo>
                    <a:pt x="182" y="512"/>
                  </a:lnTo>
                  <a:lnTo>
                    <a:pt x="182" y="513"/>
                  </a:lnTo>
                  <a:lnTo>
                    <a:pt x="180" y="513"/>
                  </a:lnTo>
                  <a:lnTo>
                    <a:pt x="180" y="513"/>
                  </a:lnTo>
                  <a:lnTo>
                    <a:pt x="180" y="515"/>
                  </a:lnTo>
                  <a:lnTo>
                    <a:pt x="180" y="515"/>
                  </a:lnTo>
                  <a:lnTo>
                    <a:pt x="182" y="515"/>
                  </a:lnTo>
                  <a:lnTo>
                    <a:pt x="183" y="516"/>
                  </a:lnTo>
                  <a:lnTo>
                    <a:pt x="183" y="516"/>
                  </a:lnTo>
                  <a:lnTo>
                    <a:pt x="182" y="518"/>
                  </a:lnTo>
                  <a:lnTo>
                    <a:pt x="180" y="518"/>
                  </a:lnTo>
                  <a:lnTo>
                    <a:pt x="180" y="516"/>
                  </a:lnTo>
                  <a:lnTo>
                    <a:pt x="180" y="516"/>
                  </a:lnTo>
                  <a:lnTo>
                    <a:pt x="177" y="516"/>
                  </a:lnTo>
                  <a:lnTo>
                    <a:pt x="177" y="516"/>
                  </a:lnTo>
                  <a:lnTo>
                    <a:pt x="177" y="518"/>
                  </a:lnTo>
                  <a:lnTo>
                    <a:pt x="177" y="518"/>
                  </a:lnTo>
                  <a:lnTo>
                    <a:pt x="176" y="518"/>
                  </a:lnTo>
                  <a:lnTo>
                    <a:pt x="176" y="518"/>
                  </a:lnTo>
                  <a:lnTo>
                    <a:pt x="174" y="518"/>
                  </a:lnTo>
                  <a:lnTo>
                    <a:pt x="174" y="519"/>
                  </a:lnTo>
                  <a:lnTo>
                    <a:pt x="173" y="519"/>
                  </a:lnTo>
                  <a:lnTo>
                    <a:pt x="171" y="519"/>
                  </a:lnTo>
                  <a:lnTo>
                    <a:pt x="173" y="521"/>
                  </a:lnTo>
                  <a:lnTo>
                    <a:pt x="173" y="52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6" y="521"/>
                  </a:lnTo>
                  <a:lnTo>
                    <a:pt x="176" y="521"/>
                  </a:lnTo>
                  <a:lnTo>
                    <a:pt x="177" y="521"/>
                  </a:lnTo>
                  <a:lnTo>
                    <a:pt x="177" y="519"/>
                  </a:lnTo>
                  <a:lnTo>
                    <a:pt x="177" y="519"/>
                  </a:lnTo>
                  <a:lnTo>
                    <a:pt x="177" y="519"/>
                  </a:lnTo>
                  <a:lnTo>
                    <a:pt x="179" y="521"/>
                  </a:lnTo>
                  <a:lnTo>
                    <a:pt x="179" y="522"/>
                  </a:lnTo>
                  <a:lnTo>
                    <a:pt x="179" y="522"/>
                  </a:lnTo>
                  <a:lnTo>
                    <a:pt x="177" y="524"/>
                  </a:lnTo>
                  <a:lnTo>
                    <a:pt x="177" y="524"/>
                  </a:lnTo>
                  <a:lnTo>
                    <a:pt x="179" y="524"/>
                  </a:lnTo>
                  <a:lnTo>
                    <a:pt x="180" y="522"/>
                  </a:lnTo>
                  <a:lnTo>
                    <a:pt x="180" y="524"/>
                  </a:lnTo>
                  <a:lnTo>
                    <a:pt x="180" y="525"/>
                  </a:lnTo>
                  <a:lnTo>
                    <a:pt x="179" y="525"/>
                  </a:lnTo>
                  <a:lnTo>
                    <a:pt x="179" y="527"/>
                  </a:lnTo>
                  <a:lnTo>
                    <a:pt x="177" y="527"/>
                  </a:lnTo>
                  <a:lnTo>
                    <a:pt x="171" y="527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73" y="529"/>
                  </a:lnTo>
                  <a:lnTo>
                    <a:pt x="173" y="529"/>
                  </a:lnTo>
                  <a:lnTo>
                    <a:pt x="173" y="530"/>
                  </a:lnTo>
                  <a:lnTo>
                    <a:pt x="171" y="530"/>
                  </a:lnTo>
                  <a:lnTo>
                    <a:pt x="173" y="532"/>
                  </a:lnTo>
                  <a:lnTo>
                    <a:pt x="174" y="532"/>
                  </a:lnTo>
                  <a:lnTo>
                    <a:pt x="174" y="532"/>
                  </a:lnTo>
                  <a:lnTo>
                    <a:pt x="176" y="530"/>
                  </a:lnTo>
                  <a:lnTo>
                    <a:pt x="176" y="532"/>
                  </a:lnTo>
                  <a:lnTo>
                    <a:pt x="176" y="532"/>
                  </a:lnTo>
                  <a:lnTo>
                    <a:pt x="177" y="532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7" y="530"/>
                  </a:lnTo>
                  <a:lnTo>
                    <a:pt x="179" y="530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80" y="529"/>
                  </a:lnTo>
                  <a:lnTo>
                    <a:pt x="182" y="527"/>
                  </a:lnTo>
                  <a:lnTo>
                    <a:pt x="183" y="525"/>
                  </a:lnTo>
                  <a:lnTo>
                    <a:pt x="185" y="524"/>
                  </a:lnTo>
                  <a:lnTo>
                    <a:pt x="186" y="521"/>
                  </a:lnTo>
                  <a:lnTo>
                    <a:pt x="188" y="521"/>
                  </a:lnTo>
                  <a:lnTo>
                    <a:pt x="191" y="519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8"/>
                  </a:lnTo>
                  <a:lnTo>
                    <a:pt x="191" y="516"/>
                  </a:lnTo>
                  <a:lnTo>
                    <a:pt x="193" y="518"/>
                  </a:lnTo>
                  <a:lnTo>
                    <a:pt x="193" y="518"/>
                  </a:lnTo>
                  <a:lnTo>
                    <a:pt x="193" y="516"/>
                  </a:lnTo>
                  <a:lnTo>
                    <a:pt x="194" y="516"/>
                  </a:lnTo>
                  <a:lnTo>
                    <a:pt x="196" y="516"/>
                  </a:lnTo>
                  <a:lnTo>
                    <a:pt x="196" y="516"/>
                  </a:lnTo>
                  <a:lnTo>
                    <a:pt x="196" y="515"/>
                  </a:lnTo>
                  <a:lnTo>
                    <a:pt x="193" y="513"/>
                  </a:lnTo>
                  <a:lnTo>
                    <a:pt x="193" y="510"/>
                  </a:lnTo>
                  <a:lnTo>
                    <a:pt x="193" y="510"/>
                  </a:lnTo>
                  <a:lnTo>
                    <a:pt x="191" y="509"/>
                  </a:lnTo>
                  <a:lnTo>
                    <a:pt x="193" y="507"/>
                  </a:lnTo>
                  <a:lnTo>
                    <a:pt x="193" y="505"/>
                  </a:lnTo>
                  <a:lnTo>
                    <a:pt x="194" y="504"/>
                  </a:lnTo>
                  <a:lnTo>
                    <a:pt x="196" y="505"/>
                  </a:lnTo>
                  <a:lnTo>
                    <a:pt x="197" y="505"/>
                  </a:lnTo>
                  <a:lnTo>
                    <a:pt x="197" y="507"/>
                  </a:lnTo>
                  <a:lnTo>
                    <a:pt x="197" y="507"/>
                  </a:lnTo>
                  <a:lnTo>
                    <a:pt x="196" y="507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10"/>
                  </a:lnTo>
                  <a:lnTo>
                    <a:pt x="196" y="510"/>
                  </a:lnTo>
                  <a:lnTo>
                    <a:pt x="197" y="510"/>
                  </a:lnTo>
                  <a:lnTo>
                    <a:pt x="197" y="510"/>
                  </a:lnTo>
                  <a:lnTo>
                    <a:pt x="197" y="509"/>
                  </a:lnTo>
                  <a:lnTo>
                    <a:pt x="197" y="509"/>
                  </a:lnTo>
                  <a:lnTo>
                    <a:pt x="199" y="509"/>
                  </a:lnTo>
                  <a:lnTo>
                    <a:pt x="202" y="510"/>
                  </a:lnTo>
                  <a:lnTo>
                    <a:pt x="203" y="510"/>
                  </a:lnTo>
                  <a:lnTo>
                    <a:pt x="205" y="510"/>
                  </a:lnTo>
                  <a:lnTo>
                    <a:pt x="205" y="509"/>
                  </a:lnTo>
                  <a:lnTo>
                    <a:pt x="206" y="507"/>
                  </a:lnTo>
                  <a:lnTo>
                    <a:pt x="205" y="505"/>
                  </a:lnTo>
                  <a:lnTo>
                    <a:pt x="205" y="505"/>
                  </a:lnTo>
                  <a:lnTo>
                    <a:pt x="203" y="505"/>
                  </a:lnTo>
                  <a:lnTo>
                    <a:pt x="203" y="505"/>
                  </a:lnTo>
                  <a:lnTo>
                    <a:pt x="203" y="505"/>
                  </a:lnTo>
                  <a:lnTo>
                    <a:pt x="202" y="505"/>
                  </a:lnTo>
                  <a:lnTo>
                    <a:pt x="202" y="504"/>
                  </a:lnTo>
                  <a:lnTo>
                    <a:pt x="203" y="504"/>
                  </a:lnTo>
                  <a:lnTo>
                    <a:pt x="205" y="504"/>
                  </a:lnTo>
                  <a:lnTo>
                    <a:pt x="206" y="504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2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10" y="504"/>
                  </a:lnTo>
                  <a:lnTo>
                    <a:pt x="210" y="504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7"/>
                  </a:lnTo>
                  <a:lnTo>
                    <a:pt x="208" y="507"/>
                  </a:lnTo>
                  <a:lnTo>
                    <a:pt x="210" y="509"/>
                  </a:lnTo>
                  <a:lnTo>
                    <a:pt x="211" y="509"/>
                  </a:lnTo>
                  <a:lnTo>
                    <a:pt x="211" y="509"/>
                  </a:lnTo>
                  <a:lnTo>
                    <a:pt x="211" y="509"/>
                  </a:lnTo>
                  <a:lnTo>
                    <a:pt x="211" y="510"/>
                  </a:lnTo>
                  <a:lnTo>
                    <a:pt x="213" y="510"/>
                  </a:lnTo>
                  <a:lnTo>
                    <a:pt x="213" y="510"/>
                  </a:lnTo>
                  <a:lnTo>
                    <a:pt x="214" y="510"/>
                  </a:lnTo>
                  <a:lnTo>
                    <a:pt x="213" y="509"/>
                  </a:lnTo>
                  <a:lnTo>
                    <a:pt x="214" y="507"/>
                  </a:lnTo>
                  <a:lnTo>
                    <a:pt x="217" y="507"/>
                  </a:lnTo>
                  <a:lnTo>
                    <a:pt x="219" y="509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20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19" y="509"/>
                  </a:lnTo>
                  <a:lnTo>
                    <a:pt x="220" y="509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20" y="510"/>
                  </a:lnTo>
                  <a:lnTo>
                    <a:pt x="220" y="513"/>
                  </a:lnTo>
                  <a:lnTo>
                    <a:pt x="220" y="515"/>
                  </a:lnTo>
                  <a:lnTo>
                    <a:pt x="219" y="516"/>
                  </a:lnTo>
                  <a:lnTo>
                    <a:pt x="220" y="518"/>
                  </a:lnTo>
                  <a:lnTo>
                    <a:pt x="220" y="519"/>
                  </a:lnTo>
                  <a:lnTo>
                    <a:pt x="222" y="518"/>
                  </a:lnTo>
                  <a:lnTo>
                    <a:pt x="222" y="516"/>
                  </a:lnTo>
                  <a:lnTo>
                    <a:pt x="223" y="518"/>
                  </a:lnTo>
                  <a:lnTo>
                    <a:pt x="223" y="519"/>
                  </a:lnTo>
                  <a:lnTo>
                    <a:pt x="225" y="519"/>
                  </a:lnTo>
                  <a:lnTo>
                    <a:pt x="226" y="518"/>
                  </a:lnTo>
                  <a:lnTo>
                    <a:pt x="230" y="519"/>
                  </a:lnTo>
                  <a:lnTo>
                    <a:pt x="233" y="521"/>
                  </a:lnTo>
                  <a:lnTo>
                    <a:pt x="233" y="524"/>
                  </a:lnTo>
                  <a:lnTo>
                    <a:pt x="234" y="522"/>
                  </a:lnTo>
                  <a:lnTo>
                    <a:pt x="234" y="522"/>
                  </a:lnTo>
                  <a:lnTo>
                    <a:pt x="236" y="524"/>
                  </a:lnTo>
                  <a:lnTo>
                    <a:pt x="237" y="524"/>
                  </a:lnTo>
                  <a:lnTo>
                    <a:pt x="237" y="525"/>
                  </a:lnTo>
                  <a:lnTo>
                    <a:pt x="236" y="525"/>
                  </a:lnTo>
                  <a:lnTo>
                    <a:pt x="236" y="525"/>
                  </a:lnTo>
                  <a:lnTo>
                    <a:pt x="236" y="527"/>
                  </a:lnTo>
                  <a:lnTo>
                    <a:pt x="236" y="527"/>
                  </a:lnTo>
                  <a:lnTo>
                    <a:pt x="237" y="529"/>
                  </a:lnTo>
                  <a:lnTo>
                    <a:pt x="239" y="529"/>
                  </a:lnTo>
                  <a:lnTo>
                    <a:pt x="239" y="527"/>
                  </a:lnTo>
                  <a:lnTo>
                    <a:pt x="239" y="527"/>
                  </a:lnTo>
                  <a:lnTo>
                    <a:pt x="240" y="525"/>
                  </a:lnTo>
                  <a:lnTo>
                    <a:pt x="240" y="524"/>
                  </a:lnTo>
                  <a:lnTo>
                    <a:pt x="242" y="522"/>
                  </a:lnTo>
                  <a:lnTo>
                    <a:pt x="240" y="521"/>
                  </a:lnTo>
                  <a:lnTo>
                    <a:pt x="240" y="522"/>
                  </a:lnTo>
                  <a:lnTo>
                    <a:pt x="240" y="524"/>
                  </a:lnTo>
                  <a:lnTo>
                    <a:pt x="240" y="524"/>
                  </a:lnTo>
                  <a:lnTo>
                    <a:pt x="239" y="525"/>
                  </a:lnTo>
                  <a:lnTo>
                    <a:pt x="239" y="525"/>
                  </a:lnTo>
                  <a:lnTo>
                    <a:pt x="239" y="524"/>
                  </a:lnTo>
                  <a:lnTo>
                    <a:pt x="237" y="524"/>
                  </a:lnTo>
                  <a:lnTo>
                    <a:pt x="239" y="524"/>
                  </a:lnTo>
                  <a:lnTo>
                    <a:pt x="239" y="522"/>
                  </a:lnTo>
                  <a:lnTo>
                    <a:pt x="237" y="522"/>
                  </a:lnTo>
                  <a:lnTo>
                    <a:pt x="237" y="522"/>
                  </a:lnTo>
                  <a:lnTo>
                    <a:pt x="239" y="522"/>
                  </a:lnTo>
                  <a:lnTo>
                    <a:pt x="239" y="521"/>
                  </a:lnTo>
                  <a:lnTo>
                    <a:pt x="239" y="521"/>
                  </a:lnTo>
                  <a:lnTo>
                    <a:pt x="239" y="519"/>
                  </a:lnTo>
                  <a:lnTo>
                    <a:pt x="239" y="519"/>
                  </a:lnTo>
                  <a:lnTo>
                    <a:pt x="240" y="519"/>
                  </a:lnTo>
                  <a:lnTo>
                    <a:pt x="240" y="519"/>
                  </a:lnTo>
                  <a:lnTo>
                    <a:pt x="240" y="518"/>
                  </a:lnTo>
                  <a:lnTo>
                    <a:pt x="240" y="518"/>
                  </a:lnTo>
                  <a:lnTo>
                    <a:pt x="240" y="518"/>
                  </a:lnTo>
                  <a:lnTo>
                    <a:pt x="242" y="516"/>
                  </a:lnTo>
                  <a:lnTo>
                    <a:pt x="243" y="515"/>
                  </a:lnTo>
                  <a:lnTo>
                    <a:pt x="243" y="515"/>
                  </a:lnTo>
                  <a:lnTo>
                    <a:pt x="245" y="515"/>
                  </a:lnTo>
                  <a:lnTo>
                    <a:pt x="245" y="516"/>
                  </a:lnTo>
                  <a:lnTo>
                    <a:pt x="251" y="519"/>
                  </a:lnTo>
                  <a:lnTo>
                    <a:pt x="256" y="522"/>
                  </a:lnTo>
                  <a:lnTo>
                    <a:pt x="256" y="522"/>
                  </a:lnTo>
                  <a:lnTo>
                    <a:pt x="257" y="522"/>
                  </a:lnTo>
                  <a:lnTo>
                    <a:pt x="257" y="524"/>
                  </a:lnTo>
                  <a:lnTo>
                    <a:pt x="257" y="525"/>
                  </a:lnTo>
                  <a:lnTo>
                    <a:pt x="257" y="525"/>
                  </a:lnTo>
                  <a:lnTo>
                    <a:pt x="256" y="525"/>
                  </a:lnTo>
                  <a:lnTo>
                    <a:pt x="256" y="525"/>
                  </a:lnTo>
                  <a:lnTo>
                    <a:pt x="256" y="524"/>
                  </a:lnTo>
                  <a:lnTo>
                    <a:pt x="256" y="524"/>
                  </a:lnTo>
                  <a:lnTo>
                    <a:pt x="254" y="524"/>
                  </a:lnTo>
                  <a:lnTo>
                    <a:pt x="254" y="525"/>
                  </a:lnTo>
                  <a:lnTo>
                    <a:pt x="253" y="527"/>
                  </a:lnTo>
                  <a:lnTo>
                    <a:pt x="251" y="525"/>
                  </a:lnTo>
                  <a:lnTo>
                    <a:pt x="251" y="527"/>
                  </a:lnTo>
                  <a:lnTo>
                    <a:pt x="251" y="529"/>
                  </a:lnTo>
                  <a:lnTo>
                    <a:pt x="250" y="529"/>
                  </a:lnTo>
                  <a:lnTo>
                    <a:pt x="251" y="530"/>
                  </a:lnTo>
                  <a:lnTo>
                    <a:pt x="251" y="532"/>
                  </a:lnTo>
                  <a:lnTo>
                    <a:pt x="251" y="532"/>
                  </a:lnTo>
                  <a:lnTo>
                    <a:pt x="250" y="533"/>
                  </a:lnTo>
                  <a:lnTo>
                    <a:pt x="251" y="533"/>
                  </a:lnTo>
                  <a:lnTo>
                    <a:pt x="254" y="532"/>
                  </a:lnTo>
                  <a:lnTo>
                    <a:pt x="256" y="533"/>
                  </a:lnTo>
                  <a:lnTo>
                    <a:pt x="256" y="533"/>
                  </a:lnTo>
                  <a:lnTo>
                    <a:pt x="257" y="532"/>
                  </a:lnTo>
                  <a:lnTo>
                    <a:pt x="257" y="533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7" y="538"/>
                  </a:lnTo>
                  <a:lnTo>
                    <a:pt x="256" y="539"/>
                  </a:lnTo>
                  <a:lnTo>
                    <a:pt x="256" y="539"/>
                  </a:lnTo>
                  <a:lnTo>
                    <a:pt x="257" y="541"/>
                  </a:lnTo>
                  <a:lnTo>
                    <a:pt x="257" y="541"/>
                  </a:lnTo>
                  <a:lnTo>
                    <a:pt x="259" y="542"/>
                  </a:lnTo>
                  <a:lnTo>
                    <a:pt x="257" y="544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9" y="545"/>
                  </a:lnTo>
                  <a:lnTo>
                    <a:pt x="257" y="545"/>
                  </a:lnTo>
                  <a:lnTo>
                    <a:pt x="257" y="545"/>
                  </a:lnTo>
                  <a:lnTo>
                    <a:pt x="256" y="547"/>
                  </a:lnTo>
                  <a:lnTo>
                    <a:pt x="256" y="547"/>
                  </a:lnTo>
                  <a:lnTo>
                    <a:pt x="257" y="547"/>
                  </a:lnTo>
                  <a:lnTo>
                    <a:pt x="257" y="547"/>
                  </a:lnTo>
                  <a:lnTo>
                    <a:pt x="257" y="549"/>
                  </a:lnTo>
                  <a:lnTo>
                    <a:pt x="257" y="549"/>
                  </a:lnTo>
                  <a:lnTo>
                    <a:pt x="259" y="549"/>
                  </a:lnTo>
                  <a:lnTo>
                    <a:pt x="259" y="549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60" y="550"/>
                  </a:lnTo>
                  <a:lnTo>
                    <a:pt x="262" y="552"/>
                  </a:lnTo>
                  <a:lnTo>
                    <a:pt x="267" y="553"/>
                  </a:lnTo>
                  <a:lnTo>
                    <a:pt x="267" y="555"/>
                  </a:lnTo>
                  <a:lnTo>
                    <a:pt x="268" y="556"/>
                  </a:lnTo>
                  <a:lnTo>
                    <a:pt x="268" y="556"/>
                  </a:lnTo>
                  <a:lnTo>
                    <a:pt x="273" y="561"/>
                  </a:lnTo>
                  <a:lnTo>
                    <a:pt x="273" y="559"/>
                  </a:lnTo>
                  <a:lnTo>
                    <a:pt x="274" y="561"/>
                  </a:lnTo>
                  <a:lnTo>
                    <a:pt x="274" y="561"/>
                  </a:lnTo>
                  <a:lnTo>
                    <a:pt x="274" y="562"/>
                  </a:lnTo>
                  <a:lnTo>
                    <a:pt x="276" y="561"/>
                  </a:lnTo>
                  <a:lnTo>
                    <a:pt x="276" y="561"/>
                  </a:lnTo>
                  <a:lnTo>
                    <a:pt x="276" y="561"/>
                  </a:lnTo>
                  <a:lnTo>
                    <a:pt x="276" y="559"/>
                  </a:lnTo>
                  <a:lnTo>
                    <a:pt x="277" y="559"/>
                  </a:lnTo>
                  <a:lnTo>
                    <a:pt x="277" y="559"/>
                  </a:lnTo>
                  <a:lnTo>
                    <a:pt x="277" y="559"/>
                  </a:lnTo>
                  <a:lnTo>
                    <a:pt x="277" y="558"/>
                  </a:lnTo>
                  <a:lnTo>
                    <a:pt x="279" y="559"/>
                  </a:lnTo>
                  <a:lnTo>
                    <a:pt x="279" y="559"/>
                  </a:lnTo>
                  <a:lnTo>
                    <a:pt x="279" y="559"/>
                  </a:lnTo>
                  <a:lnTo>
                    <a:pt x="279" y="558"/>
                  </a:lnTo>
                  <a:lnTo>
                    <a:pt x="279" y="561"/>
                  </a:lnTo>
                  <a:lnTo>
                    <a:pt x="280" y="562"/>
                  </a:lnTo>
                  <a:lnTo>
                    <a:pt x="280" y="561"/>
                  </a:lnTo>
                  <a:lnTo>
                    <a:pt x="285" y="564"/>
                  </a:lnTo>
                  <a:lnTo>
                    <a:pt x="288" y="564"/>
                  </a:lnTo>
                  <a:lnTo>
                    <a:pt x="294" y="564"/>
                  </a:lnTo>
                  <a:lnTo>
                    <a:pt x="296" y="565"/>
                  </a:lnTo>
                  <a:lnTo>
                    <a:pt x="294" y="565"/>
                  </a:lnTo>
                  <a:lnTo>
                    <a:pt x="294" y="565"/>
                  </a:lnTo>
                  <a:lnTo>
                    <a:pt x="293" y="565"/>
                  </a:lnTo>
                  <a:lnTo>
                    <a:pt x="293" y="565"/>
                  </a:lnTo>
                  <a:lnTo>
                    <a:pt x="293" y="565"/>
                  </a:lnTo>
                  <a:lnTo>
                    <a:pt x="296" y="565"/>
                  </a:lnTo>
                  <a:lnTo>
                    <a:pt x="296" y="565"/>
                  </a:lnTo>
                  <a:lnTo>
                    <a:pt x="296" y="567"/>
                  </a:lnTo>
                  <a:lnTo>
                    <a:pt x="296" y="567"/>
                  </a:lnTo>
                  <a:lnTo>
                    <a:pt x="296" y="567"/>
                  </a:lnTo>
                  <a:lnTo>
                    <a:pt x="296" y="569"/>
                  </a:lnTo>
                  <a:lnTo>
                    <a:pt x="299" y="570"/>
                  </a:lnTo>
                  <a:lnTo>
                    <a:pt x="299" y="572"/>
                  </a:lnTo>
                  <a:lnTo>
                    <a:pt x="300" y="570"/>
                  </a:lnTo>
                  <a:lnTo>
                    <a:pt x="300" y="570"/>
                  </a:lnTo>
                  <a:lnTo>
                    <a:pt x="300" y="570"/>
                  </a:lnTo>
                  <a:lnTo>
                    <a:pt x="300" y="569"/>
                  </a:lnTo>
                  <a:lnTo>
                    <a:pt x="300" y="569"/>
                  </a:lnTo>
                  <a:lnTo>
                    <a:pt x="302" y="569"/>
                  </a:lnTo>
                  <a:lnTo>
                    <a:pt x="302" y="569"/>
                  </a:lnTo>
                  <a:lnTo>
                    <a:pt x="303" y="569"/>
                  </a:lnTo>
                  <a:lnTo>
                    <a:pt x="303" y="569"/>
                  </a:lnTo>
                  <a:lnTo>
                    <a:pt x="305" y="569"/>
                  </a:lnTo>
                  <a:lnTo>
                    <a:pt x="305" y="569"/>
                  </a:lnTo>
                  <a:lnTo>
                    <a:pt x="305" y="569"/>
                  </a:lnTo>
                  <a:lnTo>
                    <a:pt x="307" y="569"/>
                  </a:lnTo>
                  <a:lnTo>
                    <a:pt x="307" y="569"/>
                  </a:lnTo>
                  <a:lnTo>
                    <a:pt x="307" y="569"/>
                  </a:lnTo>
                  <a:lnTo>
                    <a:pt x="305" y="570"/>
                  </a:lnTo>
                  <a:lnTo>
                    <a:pt x="305" y="570"/>
                  </a:lnTo>
                  <a:lnTo>
                    <a:pt x="305" y="570"/>
                  </a:lnTo>
                  <a:lnTo>
                    <a:pt x="307" y="570"/>
                  </a:lnTo>
                  <a:lnTo>
                    <a:pt x="308" y="570"/>
                  </a:lnTo>
                  <a:lnTo>
                    <a:pt x="310" y="569"/>
                  </a:lnTo>
                  <a:lnTo>
                    <a:pt x="310" y="569"/>
                  </a:lnTo>
                  <a:lnTo>
                    <a:pt x="308" y="569"/>
                  </a:lnTo>
                  <a:lnTo>
                    <a:pt x="308" y="567"/>
                  </a:lnTo>
                  <a:lnTo>
                    <a:pt x="310" y="567"/>
                  </a:lnTo>
                  <a:lnTo>
                    <a:pt x="311" y="567"/>
                  </a:lnTo>
                  <a:lnTo>
                    <a:pt x="311" y="567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1" y="565"/>
                  </a:lnTo>
                  <a:lnTo>
                    <a:pt x="314" y="565"/>
                  </a:lnTo>
                  <a:lnTo>
                    <a:pt x="316" y="564"/>
                  </a:lnTo>
                  <a:lnTo>
                    <a:pt x="316" y="562"/>
                  </a:lnTo>
                  <a:lnTo>
                    <a:pt x="317" y="562"/>
                  </a:lnTo>
                  <a:lnTo>
                    <a:pt x="317" y="562"/>
                  </a:lnTo>
                  <a:lnTo>
                    <a:pt x="319" y="562"/>
                  </a:lnTo>
                  <a:lnTo>
                    <a:pt x="319" y="564"/>
                  </a:lnTo>
                  <a:lnTo>
                    <a:pt x="320" y="564"/>
                  </a:lnTo>
                  <a:lnTo>
                    <a:pt x="320" y="562"/>
                  </a:lnTo>
                  <a:lnTo>
                    <a:pt x="322" y="562"/>
                  </a:lnTo>
                  <a:lnTo>
                    <a:pt x="327" y="561"/>
                  </a:lnTo>
                  <a:lnTo>
                    <a:pt x="327" y="559"/>
                  </a:lnTo>
                  <a:lnTo>
                    <a:pt x="325" y="559"/>
                  </a:lnTo>
                  <a:lnTo>
                    <a:pt x="327" y="559"/>
                  </a:lnTo>
                  <a:lnTo>
                    <a:pt x="328" y="559"/>
                  </a:lnTo>
                  <a:lnTo>
                    <a:pt x="328" y="561"/>
                  </a:lnTo>
                  <a:lnTo>
                    <a:pt x="328" y="561"/>
                  </a:lnTo>
                  <a:lnTo>
                    <a:pt x="331" y="561"/>
                  </a:lnTo>
                  <a:lnTo>
                    <a:pt x="331" y="561"/>
                  </a:lnTo>
                  <a:lnTo>
                    <a:pt x="331" y="559"/>
                  </a:lnTo>
                  <a:lnTo>
                    <a:pt x="333" y="561"/>
                  </a:lnTo>
                  <a:lnTo>
                    <a:pt x="333" y="559"/>
                  </a:lnTo>
                  <a:lnTo>
                    <a:pt x="333" y="558"/>
                  </a:lnTo>
                  <a:lnTo>
                    <a:pt x="333" y="559"/>
                  </a:lnTo>
                  <a:lnTo>
                    <a:pt x="333" y="559"/>
                  </a:lnTo>
                  <a:lnTo>
                    <a:pt x="334" y="559"/>
                  </a:lnTo>
                  <a:lnTo>
                    <a:pt x="334" y="558"/>
                  </a:lnTo>
                  <a:lnTo>
                    <a:pt x="334" y="556"/>
                  </a:lnTo>
                  <a:lnTo>
                    <a:pt x="334" y="556"/>
                  </a:lnTo>
                  <a:lnTo>
                    <a:pt x="340" y="555"/>
                  </a:lnTo>
                  <a:lnTo>
                    <a:pt x="342" y="555"/>
                  </a:lnTo>
                  <a:lnTo>
                    <a:pt x="350" y="558"/>
                  </a:lnTo>
                  <a:lnTo>
                    <a:pt x="351" y="558"/>
                  </a:lnTo>
                  <a:lnTo>
                    <a:pt x="353" y="559"/>
                  </a:lnTo>
                  <a:lnTo>
                    <a:pt x="353" y="561"/>
                  </a:lnTo>
                  <a:lnTo>
                    <a:pt x="353" y="564"/>
                  </a:lnTo>
                  <a:lnTo>
                    <a:pt x="354" y="562"/>
                  </a:lnTo>
                  <a:lnTo>
                    <a:pt x="356" y="561"/>
                  </a:lnTo>
                  <a:lnTo>
                    <a:pt x="357" y="559"/>
                  </a:lnTo>
                  <a:lnTo>
                    <a:pt x="357" y="558"/>
                  </a:lnTo>
                  <a:lnTo>
                    <a:pt x="359" y="558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9" y="556"/>
                  </a:lnTo>
                  <a:lnTo>
                    <a:pt x="357" y="556"/>
                  </a:lnTo>
                  <a:lnTo>
                    <a:pt x="359" y="555"/>
                  </a:lnTo>
                  <a:lnTo>
                    <a:pt x="360" y="553"/>
                  </a:lnTo>
                  <a:lnTo>
                    <a:pt x="362" y="552"/>
                  </a:lnTo>
                  <a:lnTo>
                    <a:pt x="360" y="552"/>
                  </a:lnTo>
                  <a:lnTo>
                    <a:pt x="360" y="550"/>
                  </a:lnTo>
                  <a:lnTo>
                    <a:pt x="359" y="549"/>
                  </a:lnTo>
                  <a:lnTo>
                    <a:pt x="359" y="549"/>
                  </a:lnTo>
                  <a:lnTo>
                    <a:pt x="359" y="545"/>
                  </a:lnTo>
                  <a:lnTo>
                    <a:pt x="359" y="544"/>
                  </a:lnTo>
                  <a:lnTo>
                    <a:pt x="359" y="544"/>
                  </a:lnTo>
                  <a:lnTo>
                    <a:pt x="360" y="541"/>
                  </a:lnTo>
                  <a:lnTo>
                    <a:pt x="362" y="538"/>
                  </a:lnTo>
                  <a:lnTo>
                    <a:pt x="364" y="536"/>
                  </a:lnTo>
                  <a:lnTo>
                    <a:pt x="365" y="535"/>
                  </a:lnTo>
                  <a:lnTo>
                    <a:pt x="365" y="533"/>
                  </a:lnTo>
                  <a:lnTo>
                    <a:pt x="367" y="530"/>
                  </a:lnTo>
                  <a:lnTo>
                    <a:pt x="367" y="529"/>
                  </a:lnTo>
                  <a:lnTo>
                    <a:pt x="367" y="529"/>
                  </a:lnTo>
                  <a:lnTo>
                    <a:pt x="365" y="529"/>
                  </a:lnTo>
                  <a:lnTo>
                    <a:pt x="365" y="527"/>
                  </a:lnTo>
                  <a:lnTo>
                    <a:pt x="365" y="525"/>
                  </a:lnTo>
                  <a:lnTo>
                    <a:pt x="365" y="524"/>
                  </a:lnTo>
                  <a:lnTo>
                    <a:pt x="365" y="522"/>
                  </a:lnTo>
                  <a:lnTo>
                    <a:pt x="365" y="522"/>
                  </a:lnTo>
                  <a:lnTo>
                    <a:pt x="365" y="521"/>
                  </a:lnTo>
                  <a:lnTo>
                    <a:pt x="367" y="521"/>
                  </a:lnTo>
                  <a:lnTo>
                    <a:pt x="367" y="519"/>
                  </a:lnTo>
                  <a:lnTo>
                    <a:pt x="365" y="519"/>
                  </a:lnTo>
                  <a:lnTo>
                    <a:pt x="365" y="518"/>
                  </a:lnTo>
                  <a:lnTo>
                    <a:pt x="365" y="515"/>
                  </a:lnTo>
                  <a:lnTo>
                    <a:pt x="365" y="512"/>
                  </a:lnTo>
                  <a:lnTo>
                    <a:pt x="367" y="510"/>
                  </a:lnTo>
                  <a:lnTo>
                    <a:pt x="367" y="509"/>
                  </a:lnTo>
                  <a:lnTo>
                    <a:pt x="368" y="505"/>
                  </a:lnTo>
                  <a:lnTo>
                    <a:pt x="370" y="504"/>
                  </a:lnTo>
                  <a:lnTo>
                    <a:pt x="374" y="501"/>
                  </a:lnTo>
                  <a:lnTo>
                    <a:pt x="377" y="504"/>
                  </a:lnTo>
                  <a:lnTo>
                    <a:pt x="379" y="504"/>
                  </a:lnTo>
                  <a:lnTo>
                    <a:pt x="380" y="505"/>
                  </a:lnTo>
                  <a:lnTo>
                    <a:pt x="393" y="504"/>
                  </a:lnTo>
                  <a:lnTo>
                    <a:pt x="424" y="509"/>
                  </a:lnTo>
                  <a:lnTo>
                    <a:pt x="425" y="510"/>
                  </a:lnTo>
                  <a:lnTo>
                    <a:pt x="425" y="513"/>
                  </a:lnTo>
                  <a:lnTo>
                    <a:pt x="428" y="513"/>
                  </a:lnTo>
                  <a:lnTo>
                    <a:pt x="442" y="519"/>
                  </a:lnTo>
                  <a:lnTo>
                    <a:pt x="444" y="521"/>
                  </a:lnTo>
                  <a:lnTo>
                    <a:pt x="444" y="521"/>
                  </a:lnTo>
                  <a:lnTo>
                    <a:pt x="450" y="524"/>
                  </a:lnTo>
                  <a:lnTo>
                    <a:pt x="451" y="524"/>
                  </a:lnTo>
                  <a:lnTo>
                    <a:pt x="453" y="524"/>
                  </a:lnTo>
                  <a:lnTo>
                    <a:pt x="453" y="525"/>
                  </a:lnTo>
                  <a:lnTo>
                    <a:pt x="454" y="527"/>
                  </a:lnTo>
                  <a:lnTo>
                    <a:pt x="457" y="529"/>
                  </a:lnTo>
                  <a:lnTo>
                    <a:pt x="459" y="529"/>
                  </a:lnTo>
                  <a:lnTo>
                    <a:pt x="459" y="529"/>
                  </a:lnTo>
                  <a:lnTo>
                    <a:pt x="462" y="529"/>
                  </a:lnTo>
                  <a:lnTo>
                    <a:pt x="464" y="530"/>
                  </a:lnTo>
                  <a:lnTo>
                    <a:pt x="465" y="530"/>
                  </a:lnTo>
                  <a:lnTo>
                    <a:pt x="465" y="532"/>
                  </a:lnTo>
                  <a:lnTo>
                    <a:pt x="467" y="532"/>
                  </a:lnTo>
                  <a:lnTo>
                    <a:pt x="470" y="532"/>
                  </a:lnTo>
                  <a:lnTo>
                    <a:pt x="470" y="532"/>
                  </a:lnTo>
                  <a:lnTo>
                    <a:pt x="470" y="532"/>
                  </a:lnTo>
                  <a:lnTo>
                    <a:pt x="471" y="533"/>
                  </a:lnTo>
                  <a:lnTo>
                    <a:pt x="471" y="533"/>
                  </a:lnTo>
                  <a:lnTo>
                    <a:pt x="473" y="533"/>
                  </a:lnTo>
                  <a:lnTo>
                    <a:pt x="473" y="533"/>
                  </a:lnTo>
                  <a:lnTo>
                    <a:pt x="474" y="533"/>
                  </a:lnTo>
                  <a:lnTo>
                    <a:pt x="479" y="538"/>
                  </a:lnTo>
                  <a:lnTo>
                    <a:pt x="479" y="538"/>
                  </a:lnTo>
                  <a:lnTo>
                    <a:pt x="481" y="539"/>
                  </a:lnTo>
                  <a:lnTo>
                    <a:pt x="482" y="542"/>
                  </a:lnTo>
                  <a:lnTo>
                    <a:pt x="482" y="542"/>
                  </a:lnTo>
                  <a:lnTo>
                    <a:pt x="484" y="544"/>
                  </a:lnTo>
                  <a:lnTo>
                    <a:pt x="484" y="544"/>
                  </a:lnTo>
                  <a:lnTo>
                    <a:pt x="484" y="545"/>
                  </a:lnTo>
                  <a:lnTo>
                    <a:pt x="485" y="545"/>
                  </a:lnTo>
                  <a:lnTo>
                    <a:pt x="485" y="547"/>
                  </a:lnTo>
                  <a:lnTo>
                    <a:pt x="485" y="547"/>
                  </a:lnTo>
                  <a:lnTo>
                    <a:pt x="487" y="550"/>
                  </a:lnTo>
                  <a:lnTo>
                    <a:pt x="491" y="555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3" y="559"/>
                  </a:lnTo>
                  <a:lnTo>
                    <a:pt x="493" y="561"/>
                  </a:lnTo>
                  <a:lnTo>
                    <a:pt x="494" y="561"/>
                  </a:lnTo>
                  <a:lnTo>
                    <a:pt x="494" y="562"/>
                  </a:lnTo>
                  <a:lnTo>
                    <a:pt x="496" y="562"/>
                  </a:lnTo>
                  <a:lnTo>
                    <a:pt x="499" y="567"/>
                  </a:lnTo>
                  <a:lnTo>
                    <a:pt x="501" y="567"/>
                  </a:lnTo>
                  <a:lnTo>
                    <a:pt x="502" y="569"/>
                  </a:lnTo>
                  <a:lnTo>
                    <a:pt x="504" y="569"/>
                  </a:lnTo>
                  <a:lnTo>
                    <a:pt x="504" y="570"/>
                  </a:lnTo>
                  <a:lnTo>
                    <a:pt x="505" y="570"/>
                  </a:lnTo>
                  <a:lnTo>
                    <a:pt x="510" y="573"/>
                  </a:lnTo>
                  <a:lnTo>
                    <a:pt x="511" y="575"/>
                  </a:lnTo>
                  <a:lnTo>
                    <a:pt x="514" y="575"/>
                  </a:lnTo>
                  <a:lnTo>
                    <a:pt x="514" y="575"/>
                  </a:lnTo>
                  <a:lnTo>
                    <a:pt x="519" y="578"/>
                  </a:lnTo>
                  <a:lnTo>
                    <a:pt x="522" y="579"/>
                  </a:lnTo>
                  <a:lnTo>
                    <a:pt x="528" y="581"/>
                  </a:lnTo>
                  <a:lnTo>
                    <a:pt x="531" y="581"/>
                  </a:lnTo>
                  <a:lnTo>
                    <a:pt x="536" y="578"/>
                  </a:lnTo>
                  <a:lnTo>
                    <a:pt x="536" y="576"/>
                  </a:lnTo>
                  <a:lnTo>
                    <a:pt x="538" y="576"/>
                  </a:lnTo>
                  <a:lnTo>
                    <a:pt x="542" y="573"/>
                  </a:lnTo>
                  <a:lnTo>
                    <a:pt x="544" y="573"/>
                  </a:lnTo>
                  <a:lnTo>
                    <a:pt x="548" y="575"/>
                  </a:lnTo>
                  <a:lnTo>
                    <a:pt x="551" y="575"/>
                  </a:lnTo>
                  <a:lnTo>
                    <a:pt x="551" y="575"/>
                  </a:lnTo>
                  <a:lnTo>
                    <a:pt x="553" y="575"/>
                  </a:lnTo>
                  <a:lnTo>
                    <a:pt x="553" y="575"/>
                  </a:lnTo>
                  <a:lnTo>
                    <a:pt x="553" y="575"/>
                  </a:lnTo>
                  <a:lnTo>
                    <a:pt x="555" y="575"/>
                  </a:lnTo>
                  <a:lnTo>
                    <a:pt x="555" y="573"/>
                  </a:lnTo>
                  <a:lnTo>
                    <a:pt x="556" y="572"/>
                  </a:lnTo>
                  <a:lnTo>
                    <a:pt x="556" y="572"/>
                  </a:lnTo>
                  <a:lnTo>
                    <a:pt x="558" y="570"/>
                  </a:lnTo>
                  <a:lnTo>
                    <a:pt x="559" y="570"/>
                  </a:lnTo>
                  <a:lnTo>
                    <a:pt x="561" y="572"/>
                  </a:lnTo>
                  <a:lnTo>
                    <a:pt x="561" y="572"/>
                  </a:lnTo>
                  <a:lnTo>
                    <a:pt x="562" y="572"/>
                  </a:lnTo>
                  <a:lnTo>
                    <a:pt x="564" y="572"/>
                  </a:lnTo>
                  <a:lnTo>
                    <a:pt x="568" y="572"/>
                  </a:lnTo>
                  <a:lnTo>
                    <a:pt x="570" y="572"/>
                  </a:lnTo>
                  <a:lnTo>
                    <a:pt x="571" y="569"/>
                  </a:lnTo>
                  <a:lnTo>
                    <a:pt x="573" y="570"/>
                  </a:lnTo>
                  <a:lnTo>
                    <a:pt x="575" y="570"/>
                  </a:lnTo>
                  <a:lnTo>
                    <a:pt x="576" y="570"/>
                  </a:lnTo>
                  <a:lnTo>
                    <a:pt x="579" y="569"/>
                  </a:lnTo>
                  <a:lnTo>
                    <a:pt x="581" y="569"/>
                  </a:lnTo>
                  <a:lnTo>
                    <a:pt x="582" y="569"/>
                  </a:lnTo>
                  <a:lnTo>
                    <a:pt x="585" y="570"/>
                  </a:lnTo>
                  <a:lnTo>
                    <a:pt x="587" y="570"/>
                  </a:lnTo>
                  <a:lnTo>
                    <a:pt x="587" y="570"/>
                  </a:lnTo>
                  <a:lnTo>
                    <a:pt x="585" y="572"/>
                  </a:lnTo>
                  <a:lnTo>
                    <a:pt x="587" y="572"/>
                  </a:lnTo>
                  <a:lnTo>
                    <a:pt x="588" y="570"/>
                  </a:lnTo>
                  <a:lnTo>
                    <a:pt x="591" y="567"/>
                  </a:lnTo>
                  <a:lnTo>
                    <a:pt x="593" y="565"/>
                  </a:lnTo>
                  <a:lnTo>
                    <a:pt x="593" y="565"/>
                  </a:lnTo>
                  <a:lnTo>
                    <a:pt x="595" y="565"/>
                  </a:lnTo>
                  <a:lnTo>
                    <a:pt x="595" y="565"/>
                  </a:lnTo>
                  <a:lnTo>
                    <a:pt x="596" y="567"/>
                  </a:lnTo>
                  <a:lnTo>
                    <a:pt x="598" y="570"/>
                  </a:lnTo>
                  <a:lnTo>
                    <a:pt x="598" y="570"/>
                  </a:lnTo>
                  <a:lnTo>
                    <a:pt x="598" y="570"/>
                  </a:lnTo>
                  <a:lnTo>
                    <a:pt x="599" y="567"/>
                  </a:lnTo>
                  <a:lnTo>
                    <a:pt x="599" y="567"/>
                  </a:lnTo>
                  <a:lnTo>
                    <a:pt x="601" y="564"/>
                  </a:lnTo>
                  <a:lnTo>
                    <a:pt x="602" y="564"/>
                  </a:lnTo>
                  <a:lnTo>
                    <a:pt x="604" y="562"/>
                  </a:lnTo>
                  <a:lnTo>
                    <a:pt x="605" y="562"/>
                  </a:lnTo>
                  <a:lnTo>
                    <a:pt x="605" y="562"/>
                  </a:lnTo>
                  <a:lnTo>
                    <a:pt x="607" y="559"/>
                  </a:lnTo>
                  <a:lnTo>
                    <a:pt x="608" y="559"/>
                  </a:lnTo>
                  <a:lnTo>
                    <a:pt x="607" y="559"/>
                  </a:lnTo>
                  <a:lnTo>
                    <a:pt x="607" y="559"/>
                  </a:lnTo>
                  <a:lnTo>
                    <a:pt x="607" y="558"/>
                  </a:lnTo>
                  <a:lnTo>
                    <a:pt x="608" y="558"/>
                  </a:lnTo>
                  <a:lnTo>
                    <a:pt x="608" y="558"/>
                  </a:lnTo>
                  <a:lnTo>
                    <a:pt x="610" y="555"/>
                  </a:lnTo>
                  <a:lnTo>
                    <a:pt x="612" y="555"/>
                  </a:lnTo>
                  <a:lnTo>
                    <a:pt x="612" y="555"/>
                  </a:lnTo>
                  <a:lnTo>
                    <a:pt x="613" y="555"/>
                  </a:lnTo>
                  <a:lnTo>
                    <a:pt x="615" y="555"/>
                  </a:lnTo>
                  <a:lnTo>
                    <a:pt x="616" y="556"/>
                  </a:lnTo>
                  <a:lnTo>
                    <a:pt x="616" y="559"/>
                  </a:lnTo>
                  <a:lnTo>
                    <a:pt x="618" y="561"/>
                  </a:lnTo>
                  <a:lnTo>
                    <a:pt x="616" y="562"/>
                  </a:lnTo>
                  <a:lnTo>
                    <a:pt x="616" y="564"/>
                  </a:lnTo>
                  <a:lnTo>
                    <a:pt x="618" y="564"/>
                  </a:lnTo>
                  <a:lnTo>
                    <a:pt x="618" y="562"/>
                  </a:lnTo>
                  <a:lnTo>
                    <a:pt x="618" y="562"/>
                  </a:lnTo>
                  <a:lnTo>
                    <a:pt x="619" y="561"/>
                  </a:lnTo>
                  <a:lnTo>
                    <a:pt x="619" y="559"/>
                  </a:lnTo>
                  <a:lnTo>
                    <a:pt x="621" y="558"/>
                  </a:lnTo>
                  <a:lnTo>
                    <a:pt x="621" y="556"/>
                  </a:lnTo>
                  <a:lnTo>
                    <a:pt x="621" y="558"/>
                  </a:lnTo>
                  <a:lnTo>
                    <a:pt x="621" y="558"/>
                  </a:lnTo>
                  <a:lnTo>
                    <a:pt x="621" y="555"/>
                  </a:lnTo>
                  <a:lnTo>
                    <a:pt x="622" y="555"/>
                  </a:lnTo>
                  <a:lnTo>
                    <a:pt x="625" y="555"/>
                  </a:lnTo>
                  <a:lnTo>
                    <a:pt x="627" y="553"/>
                  </a:lnTo>
                  <a:lnTo>
                    <a:pt x="627" y="550"/>
                  </a:lnTo>
                  <a:lnTo>
                    <a:pt x="627" y="547"/>
                  </a:lnTo>
                  <a:lnTo>
                    <a:pt x="627" y="545"/>
                  </a:lnTo>
                  <a:lnTo>
                    <a:pt x="628" y="544"/>
                  </a:lnTo>
                  <a:lnTo>
                    <a:pt x="632" y="541"/>
                  </a:lnTo>
                  <a:lnTo>
                    <a:pt x="633" y="541"/>
                  </a:lnTo>
                  <a:lnTo>
                    <a:pt x="635" y="539"/>
                  </a:lnTo>
                  <a:lnTo>
                    <a:pt x="635" y="539"/>
                  </a:lnTo>
                  <a:lnTo>
                    <a:pt x="635" y="538"/>
                  </a:lnTo>
                  <a:lnTo>
                    <a:pt x="641" y="529"/>
                  </a:lnTo>
                  <a:lnTo>
                    <a:pt x="644" y="527"/>
                  </a:lnTo>
                  <a:lnTo>
                    <a:pt x="652" y="522"/>
                  </a:lnTo>
                  <a:lnTo>
                    <a:pt x="658" y="516"/>
                  </a:lnTo>
                  <a:lnTo>
                    <a:pt x="661" y="515"/>
                  </a:lnTo>
                  <a:lnTo>
                    <a:pt x="661" y="515"/>
                  </a:lnTo>
                  <a:lnTo>
                    <a:pt x="662" y="513"/>
                  </a:lnTo>
                  <a:lnTo>
                    <a:pt x="662" y="513"/>
                  </a:lnTo>
                  <a:lnTo>
                    <a:pt x="664" y="512"/>
                  </a:lnTo>
                  <a:lnTo>
                    <a:pt x="665" y="510"/>
                  </a:lnTo>
                  <a:lnTo>
                    <a:pt x="667" y="510"/>
                  </a:lnTo>
                  <a:lnTo>
                    <a:pt x="673" y="509"/>
                  </a:lnTo>
                  <a:lnTo>
                    <a:pt x="676" y="507"/>
                  </a:lnTo>
                  <a:lnTo>
                    <a:pt x="678" y="509"/>
                  </a:lnTo>
                  <a:lnTo>
                    <a:pt x="678" y="509"/>
                  </a:lnTo>
                  <a:lnTo>
                    <a:pt x="684" y="512"/>
                  </a:lnTo>
                  <a:lnTo>
                    <a:pt x="687" y="515"/>
                  </a:lnTo>
                  <a:lnTo>
                    <a:pt x="689" y="515"/>
                  </a:lnTo>
                  <a:lnTo>
                    <a:pt x="689" y="516"/>
                  </a:lnTo>
                  <a:lnTo>
                    <a:pt x="689" y="516"/>
                  </a:lnTo>
                  <a:lnTo>
                    <a:pt x="689" y="516"/>
                  </a:lnTo>
                  <a:lnTo>
                    <a:pt x="690" y="516"/>
                  </a:lnTo>
                  <a:lnTo>
                    <a:pt x="690" y="516"/>
                  </a:lnTo>
                  <a:lnTo>
                    <a:pt x="692" y="516"/>
                  </a:lnTo>
                  <a:lnTo>
                    <a:pt x="693" y="516"/>
                  </a:lnTo>
                  <a:lnTo>
                    <a:pt x="695" y="516"/>
                  </a:lnTo>
                  <a:lnTo>
                    <a:pt x="696" y="518"/>
                  </a:lnTo>
                  <a:lnTo>
                    <a:pt x="698" y="519"/>
                  </a:lnTo>
                  <a:lnTo>
                    <a:pt x="718" y="530"/>
                  </a:lnTo>
                  <a:lnTo>
                    <a:pt x="718" y="530"/>
                  </a:lnTo>
                  <a:lnTo>
                    <a:pt x="719" y="532"/>
                  </a:lnTo>
                  <a:lnTo>
                    <a:pt x="721" y="533"/>
                  </a:lnTo>
                  <a:lnTo>
                    <a:pt x="721" y="533"/>
                  </a:lnTo>
                  <a:lnTo>
                    <a:pt x="721" y="533"/>
                  </a:lnTo>
                  <a:lnTo>
                    <a:pt x="724" y="532"/>
                  </a:lnTo>
                  <a:lnTo>
                    <a:pt x="725" y="532"/>
                  </a:lnTo>
                  <a:lnTo>
                    <a:pt x="725" y="530"/>
                  </a:lnTo>
                  <a:lnTo>
                    <a:pt x="725" y="530"/>
                  </a:lnTo>
                  <a:lnTo>
                    <a:pt x="725" y="530"/>
                  </a:lnTo>
                  <a:lnTo>
                    <a:pt x="729" y="529"/>
                  </a:lnTo>
                  <a:lnTo>
                    <a:pt x="729" y="529"/>
                  </a:lnTo>
                  <a:lnTo>
                    <a:pt x="732" y="529"/>
                  </a:lnTo>
                  <a:lnTo>
                    <a:pt x="735" y="530"/>
                  </a:lnTo>
                  <a:lnTo>
                    <a:pt x="732" y="529"/>
                  </a:lnTo>
                  <a:lnTo>
                    <a:pt x="732" y="529"/>
                  </a:lnTo>
                  <a:lnTo>
                    <a:pt x="732" y="529"/>
                  </a:lnTo>
                  <a:lnTo>
                    <a:pt x="732" y="527"/>
                  </a:lnTo>
                  <a:lnTo>
                    <a:pt x="732" y="527"/>
                  </a:lnTo>
                  <a:lnTo>
                    <a:pt x="733" y="527"/>
                  </a:lnTo>
                  <a:lnTo>
                    <a:pt x="733" y="527"/>
                  </a:lnTo>
                  <a:lnTo>
                    <a:pt x="736" y="529"/>
                  </a:lnTo>
                  <a:lnTo>
                    <a:pt x="736" y="529"/>
                  </a:lnTo>
                  <a:lnTo>
                    <a:pt x="739" y="529"/>
                  </a:lnTo>
                  <a:lnTo>
                    <a:pt x="739" y="529"/>
                  </a:lnTo>
                  <a:lnTo>
                    <a:pt x="741" y="529"/>
                  </a:lnTo>
                  <a:lnTo>
                    <a:pt x="742" y="527"/>
                  </a:lnTo>
                  <a:lnTo>
                    <a:pt x="742" y="527"/>
                  </a:lnTo>
                  <a:lnTo>
                    <a:pt x="742" y="525"/>
                  </a:lnTo>
                  <a:lnTo>
                    <a:pt x="742" y="525"/>
                  </a:lnTo>
                  <a:lnTo>
                    <a:pt x="742" y="524"/>
                  </a:lnTo>
                  <a:lnTo>
                    <a:pt x="744" y="524"/>
                  </a:lnTo>
                  <a:lnTo>
                    <a:pt x="744" y="522"/>
                  </a:lnTo>
                  <a:lnTo>
                    <a:pt x="744" y="521"/>
                  </a:lnTo>
                  <a:lnTo>
                    <a:pt x="747" y="518"/>
                  </a:lnTo>
                  <a:lnTo>
                    <a:pt x="746" y="518"/>
                  </a:lnTo>
                  <a:lnTo>
                    <a:pt x="746" y="519"/>
                  </a:lnTo>
                  <a:lnTo>
                    <a:pt x="741" y="522"/>
                  </a:lnTo>
                  <a:lnTo>
                    <a:pt x="741" y="524"/>
                  </a:lnTo>
                  <a:lnTo>
                    <a:pt x="741" y="522"/>
                  </a:lnTo>
                  <a:lnTo>
                    <a:pt x="742" y="521"/>
                  </a:lnTo>
                  <a:lnTo>
                    <a:pt x="744" y="519"/>
                  </a:lnTo>
                  <a:lnTo>
                    <a:pt x="749" y="516"/>
                  </a:lnTo>
                  <a:lnTo>
                    <a:pt x="747" y="516"/>
                  </a:lnTo>
                  <a:lnTo>
                    <a:pt x="747" y="516"/>
                  </a:lnTo>
                  <a:lnTo>
                    <a:pt x="746" y="518"/>
                  </a:lnTo>
                  <a:lnTo>
                    <a:pt x="746" y="518"/>
                  </a:lnTo>
                  <a:lnTo>
                    <a:pt x="744" y="518"/>
                  </a:lnTo>
                  <a:lnTo>
                    <a:pt x="744" y="516"/>
                  </a:lnTo>
                  <a:lnTo>
                    <a:pt x="744" y="516"/>
                  </a:lnTo>
                  <a:lnTo>
                    <a:pt x="742" y="516"/>
                  </a:lnTo>
                  <a:lnTo>
                    <a:pt x="742" y="516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2" y="519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2" y="518"/>
                  </a:lnTo>
                  <a:lnTo>
                    <a:pt x="741" y="518"/>
                  </a:lnTo>
                  <a:lnTo>
                    <a:pt x="741" y="519"/>
                  </a:lnTo>
                  <a:lnTo>
                    <a:pt x="739" y="518"/>
                  </a:lnTo>
                  <a:lnTo>
                    <a:pt x="738" y="519"/>
                  </a:lnTo>
                  <a:lnTo>
                    <a:pt x="738" y="519"/>
                  </a:lnTo>
                  <a:lnTo>
                    <a:pt x="739" y="518"/>
                  </a:lnTo>
                  <a:lnTo>
                    <a:pt x="739" y="516"/>
                  </a:lnTo>
                  <a:lnTo>
                    <a:pt x="741" y="515"/>
                  </a:lnTo>
                  <a:lnTo>
                    <a:pt x="741" y="515"/>
                  </a:lnTo>
                  <a:lnTo>
                    <a:pt x="741" y="516"/>
                  </a:lnTo>
                  <a:lnTo>
                    <a:pt x="741" y="516"/>
                  </a:lnTo>
                  <a:lnTo>
                    <a:pt x="741" y="516"/>
                  </a:lnTo>
                  <a:lnTo>
                    <a:pt x="742" y="516"/>
                  </a:lnTo>
                  <a:lnTo>
                    <a:pt x="742" y="515"/>
                  </a:lnTo>
                  <a:lnTo>
                    <a:pt x="744" y="513"/>
                  </a:lnTo>
                  <a:lnTo>
                    <a:pt x="746" y="513"/>
                  </a:lnTo>
                  <a:lnTo>
                    <a:pt x="753" y="513"/>
                  </a:lnTo>
                  <a:lnTo>
                    <a:pt x="755" y="512"/>
                  </a:lnTo>
                  <a:lnTo>
                    <a:pt x="756" y="510"/>
                  </a:lnTo>
                  <a:lnTo>
                    <a:pt x="759" y="509"/>
                  </a:lnTo>
                  <a:lnTo>
                    <a:pt x="759" y="507"/>
                  </a:lnTo>
                  <a:lnTo>
                    <a:pt x="761" y="507"/>
                  </a:lnTo>
                  <a:lnTo>
                    <a:pt x="762" y="505"/>
                  </a:lnTo>
                  <a:lnTo>
                    <a:pt x="766" y="501"/>
                  </a:lnTo>
                  <a:lnTo>
                    <a:pt x="769" y="499"/>
                  </a:lnTo>
                  <a:lnTo>
                    <a:pt x="772" y="498"/>
                  </a:lnTo>
                  <a:lnTo>
                    <a:pt x="775" y="498"/>
                  </a:lnTo>
                  <a:lnTo>
                    <a:pt x="776" y="501"/>
                  </a:lnTo>
                  <a:lnTo>
                    <a:pt x="779" y="502"/>
                  </a:lnTo>
                  <a:lnTo>
                    <a:pt x="784" y="509"/>
                  </a:lnTo>
                  <a:lnTo>
                    <a:pt x="784" y="512"/>
                  </a:lnTo>
                  <a:lnTo>
                    <a:pt x="786" y="512"/>
                  </a:lnTo>
                  <a:lnTo>
                    <a:pt x="786" y="518"/>
                  </a:lnTo>
                  <a:lnTo>
                    <a:pt x="786" y="519"/>
                  </a:lnTo>
                  <a:lnTo>
                    <a:pt x="786" y="519"/>
                  </a:lnTo>
                  <a:lnTo>
                    <a:pt x="786" y="521"/>
                  </a:lnTo>
                  <a:lnTo>
                    <a:pt x="786" y="521"/>
                  </a:lnTo>
                  <a:lnTo>
                    <a:pt x="786" y="522"/>
                  </a:lnTo>
                  <a:lnTo>
                    <a:pt x="786" y="524"/>
                  </a:lnTo>
                  <a:lnTo>
                    <a:pt x="784" y="525"/>
                  </a:lnTo>
                  <a:lnTo>
                    <a:pt x="784" y="527"/>
                  </a:lnTo>
                  <a:lnTo>
                    <a:pt x="782" y="529"/>
                  </a:lnTo>
                  <a:lnTo>
                    <a:pt x="782" y="529"/>
                  </a:lnTo>
                  <a:lnTo>
                    <a:pt x="773" y="533"/>
                  </a:lnTo>
                  <a:lnTo>
                    <a:pt x="773" y="533"/>
                  </a:lnTo>
                  <a:lnTo>
                    <a:pt x="773" y="535"/>
                  </a:lnTo>
                  <a:lnTo>
                    <a:pt x="769" y="539"/>
                  </a:lnTo>
                  <a:lnTo>
                    <a:pt x="769" y="539"/>
                  </a:lnTo>
                  <a:lnTo>
                    <a:pt x="766" y="541"/>
                  </a:lnTo>
                  <a:lnTo>
                    <a:pt x="766" y="541"/>
                  </a:lnTo>
                  <a:lnTo>
                    <a:pt x="764" y="541"/>
                  </a:lnTo>
                  <a:lnTo>
                    <a:pt x="764" y="542"/>
                  </a:lnTo>
                  <a:lnTo>
                    <a:pt x="764" y="544"/>
                  </a:lnTo>
                  <a:lnTo>
                    <a:pt x="762" y="544"/>
                  </a:lnTo>
                  <a:lnTo>
                    <a:pt x="762" y="545"/>
                  </a:lnTo>
                  <a:lnTo>
                    <a:pt x="761" y="545"/>
                  </a:lnTo>
                  <a:lnTo>
                    <a:pt x="761" y="547"/>
                  </a:lnTo>
                  <a:lnTo>
                    <a:pt x="759" y="549"/>
                  </a:lnTo>
                  <a:lnTo>
                    <a:pt x="759" y="549"/>
                  </a:lnTo>
                  <a:lnTo>
                    <a:pt x="758" y="549"/>
                  </a:lnTo>
                  <a:lnTo>
                    <a:pt x="758" y="550"/>
                  </a:lnTo>
                  <a:lnTo>
                    <a:pt x="756" y="550"/>
                  </a:lnTo>
                  <a:lnTo>
                    <a:pt x="756" y="550"/>
                  </a:lnTo>
                  <a:lnTo>
                    <a:pt x="755" y="553"/>
                  </a:lnTo>
                  <a:lnTo>
                    <a:pt x="753" y="555"/>
                  </a:lnTo>
                  <a:lnTo>
                    <a:pt x="755" y="558"/>
                  </a:lnTo>
                  <a:lnTo>
                    <a:pt x="756" y="558"/>
                  </a:lnTo>
                  <a:lnTo>
                    <a:pt x="756" y="559"/>
                  </a:lnTo>
                  <a:lnTo>
                    <a:pt x="758" y="561"/>
                  </a:lnTo>
                  <a:lnTo>
                    <a:pt x="759" y="564"/>
                  </a:lnTo>
                  <a:lnTo>
                    <a:pt x="759" y="565"/>
                  </a:lnTo>
                  <a:lnTo>
                    <a:pt x="761" y="567"/>
                  </a:lnTo>
                  <a:lnTo>
                    <a:pt x="766" y="575"/>
                  </a:lnTo>
                  <a:lnTo>
                    <a:pt x="769" y="581"/>
                  </a:lnTo>
                  <a:lnTo>
                    <a:pt x="769" y="582"/>
                  </a:lnTo>
                  <a:lnTo>
                    <a:pt x="767" y="584"/>
                  </a:lnTo>
                  <a:lnTo>
                    <a:pt x="764" y="589"/>
                  </a:lnTo>
                  <a:lnTo>
                    <a:pt x="762" y="590"/>
                  </a:lnTo>
                  <a:lnTo>
                    <a:pt x="762" y="590"/>
                  </a:lnTo>
                  <a:lnTo>
                    <a:pt x="764" y="590"/>
                  </a:lnTo>
                  <a:lnTo>
                    <a:pt x="766" y="590"/>
                  </a:lnTo>
                  <a:lnTo>
                    <a:pt x="767" y="590"/>
                  </a:lnTo>
                  <a:lnTo>
                    <a:pt x="769" y="590"/>
                  </a:lnTo>
                  <a:lnTo>
                    <a:pt x="769" y="590"/>
                  </a:lnTo>
                  <a:lnTo>
                    <a:pt x="769" y="592"/>
                  </a:lnTo>
                  <a:lnTo>
                    <a:pt x="769" y="593"/>
                  </a:lnTo>
                  <a:lnTo>
                    <a:pt x="769" y="595"/>
                  </a:lnTo>
                  <a:lnTo>
                    <a:pt x="770" y="595"/>
                  </a:lnTo>
                  <a:lnTo>
                    <a:pt x="772" y="595"/>
                  </a:lnTo>
                  <a:lnTo>
                    <a:pt x="773" y="595"/>
                  </a:lnTo>
                  <a:lnTo>
                    <a:pt x="776" y="596"/>
                  </a:lnTo>
                  <a:lnTo>
                    <a:pt x="779" y="599"/>
                  </a:lnTo>
                  <a:lnTo>
                    <a:pt x="781" y="599"/>
                  </a:lnTo>
                  <a:lnTo>
                    <a:pt x="781" y="599"/>
                  </a:lnTo>
                  <a:lnTo>
                    <a:pt x="782" y="596"/>
                  </a:lnTo>
                  <a:lnTo>
                    <a:pt x="782" y="590"/>
                  </a:lnTo>
                  <a:lnTo>
                    <a:pt x="784" y="587"/>
                  </a:lnTo>
                  <a:lnTo>
                    <a:pt x="787" y="587"/>
                  </a:lnTo>
                  <a:lnTo>
                    <a:pt x="789" y="587"/>
                  </a:lnTo>
                  <a:lnTo>
                    <a:pt x="790" y="587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0" y="584"/>
                  </a:lnTo>
                  <a:lnTo>
                    <a:pt x="792" y="582"/>
                  </a:lnTo>
                  <a:lnTo>
                    <a:pt x="795" y="584"/>
                  </a:lnTo>
                  <a:lnTo>
                    <a:pt x="796" y="584"/>
                  </a:lnTo>
                  <a:lnTo>
                    <a:pt x="796" y="581"/>
                  </a:lnTo>
                  <a:lnTo>
                    <a:pt x="796" y="567"/>
                  </a:lnTo>
                  <a:lnTo>
                    <a:pt x="796" y="567"/>
                  </a:lnTo>
                  <a:lnTo>
                    <a:pt x="796" y="565"/>
                  </a:lnTo>
                  <a:lnTo>
                    <a:pt x="798" y="565"/>
                  </a:lnTo>
                  <a:lnTo>
                    <a:pt x="798" y="564"/>
                  </a:lnTo>
                  <a:lnTo>
                    <a:pt x="796" y="562"/>
                  </a:lnTo>
                  <a:lnTo>
                    <a:pt x="798" y="562"/>
                  </a:lnTo>
                  <a:lnTo>
                    <a:pt x="798" y="564"/>
                  </a:lnTo>
                  <a:lnTo>
                    <a:pt x="799" y="564"/>
                  </a:lnTo>
                  <a:lnTo>
                    <a:pt x="801" y="564"/>
                  </a:lnTo>
                  <a:lnTo>
                    <a:pt x="802" y="564"/>
                  </a:lnTo>
                  <a:lnTo>
                    <a:pt x="802" y="565"/>
                  </a:lnTo>
                  <a:lnTo>
                    <a:pt x="804" y="565"/>
                  </a:lnTo>
                  <a:lnTo>
                    <a:pt x="804" y="564"/>
                  </a:lnTo>
                  <a:lnTo>
                    <a:pt x="804" y="564"/>
                  </a:lnTo>
                  <a:lnTo>
                    <a:pt x="804" y="564"/>
                  </a:lnTo>
                  <a:lnTo>
                    <a:pt x="804" y="562"/>
                  </a:lnTo>
                  <a:lnTo>
                    <a:pt x="806" y="562"/>
                  </a:lnTo>
                  <a:lnTo>
                    <a:pt x="807" y="562"/>
                  </a:lnTo>
                  <a:lnTo>
                    <a:pt x="813" y="562"/>
                  </a:lnTo>
                  <a:lnTo>
                    <a:pt x="813" y="562"/>
                  </a:lnTo>
                  <a:lnTo>
                    <a:pt x="819" y="562"/>
                  </a:lnTo>
                  <a:lnTo>
                    <a:pt x="819" y="561"/>
                  </a:lnTo>
                  <a:lnTo>
                    <a:pt x="819" y="559"/>
                  </a:lnTo>
                  <a:lnTo>
                    <a:pt x="819" y="558"/>
                  </a:lnTo>
                  <a:lnTo>
                    <a:pt x="819" y="556"/>
                  </a:lnTo>
                  <a:lnTo>
                    <a:pt x="818" y="555"/>
                  </a:lnTo>
                  <a:lnTo>
                    <a:pt x="818" y="555"/>
                  </a:lnTo>
                  <a:lnTo>
                    <a:pt x="818" y="555"/>
                  </a:lnTo>
                  <a:lnTo>
                    <a:pt x="816" y="553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2"/>
                  </a:lnTo>
                  <a:lnTo>
                    <a:pt x="813" y="550"/>
                  </a:lnTo>
                  <a:lnTo>
                    <a:pt x="813" y="550"/>
                  </a:lnTo>
                  <a:lnTo>
                    <a:pt x="813" y="549"/>
                  </a:lnTo>
                  <a:lnTo>
                    <a:pt x="813" y="549"/>
                  </a:lnTo>
                  <a:lnTo>
                    <a:pt x="813" y="547"/>
                  </a:lnTo>
                  <a:lnTo>
                    <a:pt x="813" y="547"/>
                  </a:lnTo>
                  <a:lnTo>
                    <a:pt x="812" y="547"/>
                  </a:lnTo>
                  <a:lnTo>
                    <a:pt x="812" y="547"/>
                  </a:lnTo>
                  <a:lnTo>
                    <a:pt x="810" y="545"/>
                  </a:lnTo>
                  <a:lnTo>
                    <a:pt x="810" y="541"/>
                  </a:lnTo>
                  <a:lnTo>
                    <a:pt x="809" y="539"/>
                  </a:lnTo>
                  <a:lnTo>
                    <a:pt x="810" y="538"/>
                  </a:lnTo>
                  <a:lnTo>
                    <a:pt x="812" y="535"/>
                  </a:lnTo>
                  <a:lnTo>
                    <a:pt x="812" y="530"/>
                  </a:lnTo>
                  <a:lnTo>
                    <a:pt x="812" y="525"/>
                  </a:lnTo>
                  <a:lnTo>
                    <a:pt x="813" y="522"/>
                  </a:lnTo>
                  <a:lnTo>
                    <a:pt x="815" y="519"/>
                  </a:lnTo>
                  <a:lnTo>
                    <a:pt x="815" y="518"/>
                  </a:lnTo>
                  <a:lnTo>
                    <a:pt x="815" y="516"/>
                  </a:lnTo>
                  <a:lnTo>
                    <a:pt x="815" y="515"/>
                  </a:lnTo>
                  <a:lnTo>
                    <a:pt x="816" y="513"/>
                  </a:lnTo>
                  <a:lnTo>
                    <a:pt x="816" y="512"/>
                  </a:lnTo>
                  <a:lnTo>
                    <a:pt x="818" y="509"/>
                  </a:lnTo>
                  <a:lnTo>
                    <a:pt x="818" y="507"/>
                  </a:lnTo>
                  <a:lnTo>
                    <a:pt x="818" y="507"/>
                  </a:lnTo>
                  <a:lnTo>
                    <a:pt x="819" y="507"/>
                  </a:lnTo>
                  <a:lnTo>
                    <a:pt x="819" y="507"/>
                  </a:lnTo>
                  <a:lnTo>
                    <a:pt x="833" y="512"/>
                  </a:lnTo>
                  <a:lnTo>
                    <a:pt x="838" y="512"/>
                  </a:lnTo>
                  <a:lnTo>
                    <a:pt x="839" y="512"/>
                  </a:lnTo>
                  <a:lnTo>
                    <a:pt x="839" y="513"/>
                  </a:lnTo>
                  <a:lnTo>
                    <a:pt x="841" y="513"/>
                  </a:lnTo>
                  <a:lnTo>
                    <a:pt x="843" y="515"/>
                  </a:lnTo>
                  <a:lnTo>
                    <a:pt x="846" y="516"/>
                  </a:lnTo>
                  <a:lnTo>
                    <a:pt x="846" y="518"/>
                  </a:lnTo>
                  <a:lnTo>
                    <a:pt x="846" y="519"/>
                  </a:lnTo>
                  <a:lnTo>
                    <a:pt x="846" y="522"/>
                  </a:lnTo>
                  <a:lnTo>
                    <a:pt x="846" y="524"/>
                  </a:lnTo>
                  <a:lnTo>
                    <a:pt x="847" y="525"/>
                  </a:lnTo>
                  <a:lnTo>
                    <a:pt x="849" y="525"/>
                  </a:lnTo>
                  <a:lnTo>
                    <a:pt x="849" y="525"/>
                  </a:lnTo>
                  <a:lnTo>
                    <a:pt x="849" y="525"/>
                  </a:lnTo>
                  <a:lnTo>
                    <a:pt x="850" y="524"/>
                  </a:lnTo>
                  <a:lnTo>
                    <a:pt x="852" y="524"/>
                  </a:lnTo>
                  <a:lnTo>
                    <a:pt x="853" y="524"/>
                  </a:lnTo>
                  <a:lnTo>
                    <a:pt x="855" y="524"/>
                  </a:lnTo>
                  <a:lnTo>
                    <a:pt x="856" y="524"/>
                  </a:lnTo>
                  <a:lnTo>
                    <a:pt x="861" y="522"/>
                  </a:lnTo>
                  <a:lnTo>
                    <a:pt x="863" y="522"/>
                  </a:lnTo>
                  <a:lnTo>
                    <a:pt x="875" y="525"/>
                  </a:lnTo>
                  <a:lnTo>
                    <a:pt x="878" y="525"/>
                  </a:lnTo>
                  <a:lnTo>
                    <a:pt x="889" y="518"/>
                  </a:lnTo>
                  <a:lnTo>
                    <a:pt x="893" y="516"/>
                  </a:lnTo>
                  <a:lnTo>
                    <a:pt x="906" y="513"/>
                  </a:lnTo>
                  <a:lnTo>
                    <a:pt x="916" y="507"/>
                  </a:lnTo>
                  <a:lnTo>
                    <a:pt x="920" y="507"/>
                  </a:lnTo>
                  <a:lnTo>
                    <a:pt x="921" y="505"/>
                  </a:lnTo>
                  <a:lnTo>
                    <a:pt x="927" y="501"/>
                  </a:lnTo>
                  <a:lnTo>
                    <a:pt x="933" y="499"/>
                  </a:lnTo>
                  <a:lnTo>
                    <a:pt x="935" y="499"/>
                  </a:lnTo>
                  <a:lnTo>
                    <a:pt x="940" y="499"/>
                  </a:lnTo>
                  <a:lnTo>
                    <a:pt x="955" y="504"/>
                  </a:lnTo>
                  <a:lnTo>
                    <a:pt x="958" y="507"/>
                  </a:lnTo>
                  <a:lnTo>
                    <a:pt x="966" y="515"/>
                  </a:lnTo>
                  <a:lnTo>
                    <a:pt x="969" y="516"/>
                  </a:lnTo>
                  <a:lnTo>
                    <a:pt x="972" y="519"/>
                  </a:lnTo>
                  <a:lnTo>
                    <a:pt x="978" y="519"/>
                  </a:lnTo>
                  <a:lnTo>
                    <a:pt x="990" y="519"/>
                  </a:lnTo>
                  <a:lnTo>
                    <a:pt x="992" y="519"/>
                  </a:lnTo>
                  <a:lnTo>
                    <a:pt x="995" y="519"/>
                  </a:lnTo>
                  <a:lnTo>
                    <a:pt x="1007" y="522"/>
                  </a:lnTo>
                  <a:lnTo>
                    <a:pt x="1010" y="522"/>
                  </a:lnTo>
                  <a:lnTo>
                    <a:pt x="1026" y="519"/>
                  </a:lnTo>
                  <a:lnTo>
                    <a:pt x="1050" y="515"/>
                  </a:lnTo>
                  <a:lnTo>
                    <a:pt x="1066" y="509"/>
                  </a:lnTo>
                  <a:lnTo>
                    <a:pt x="1074" y="504"/>
                  </a:lnTo>
                  <a:lnTo>
                    <a:pt x="1077" y="504"/>
                  </a:lnTo>
                  <a:lnTo>
                    <a:pt x="1078" y="502"/>
                  </a:lnTo>
                  <a:lnTo>
                    <a:pt x="1081" y="502"/>
                  </a:lnTo>
                  <a:lnTo>
                    <a:pt x="1087" y="498"/>
                  </a:lnTo>
                  <a:lnTo>
                    <a:pt x="1097" y="492"/>
                  </a:lnTo>
                  <a:lnTo>
                    <a:pt x="1098" y="490"/>
                  </a:lnTo>
                  <a:lnTo>
                    <a:pt x="1100" y="490"/>
                  </a:lnTo>
                  <a:lnTo>
                    <a:pt x="1101" y="490"/>
                  </a:lnTo>
                  <a:lnTo>
                    <a:pt x="1103" y="490"/>
                  </a:lnTo>
                  <a:lnTo>
                    <a:pt x="1107" y="489"/>
                  </a:lnTo>
                  <a:lnTo>
                    <a:pt x="1117" y="482"/>
                  </a:lnTo>
                  <a:lnTo>
                    <a:pt x="1120" y="481"/>
                  </a:lnTo>
                  <a:lnTo>
                    <a:pt x="1134" y="479"/>
                  </a:lnTo>
                  <a:lnTo>
                    <a:pt x="1152" y="482"/>
                  </a:lnTo>
                  <a:lnTo>
                    <a:pt x="1155" y="484"/>
                  </a:lnTo>
                  <a:lnTo>
                    <a:pt x="1157" y="485"/>
                  </a:lnTo>
                  <a:lnTo>
                    <a:pt x="1178" y="484"/>
                  </a:lnTo>
                  <a:lnTo>
                    <a:pt x="1209" y="476"/>
                  </a:lnTo>
                  <a:lnTo>
                    <a:pt x="1217" y="475"/>
                  </a:lnTo>
                  <a:lnTo>
                    <a:pt x="1220" y="473"/>
                  </a:lnTo>
                  <a:lnTo>
                    <a:pt x="1226" y="467"/>
                  </a:lnTo>
                  <a:lnTo>
                    <a:pt x="1229" y="462"/>
                  </a:lnTo>
                  <a:lnTo>
                    <a:pt x="1231" y="462"/>
                  </a:lnTo>
                  <a:lnTo>
                    <a:pt x="1232" y="461"/>
                  </a:lnTo>
                  <a:lnTo>
                    <a:pt x="1234" y="462"/>
                  </a:lnTo>
                  <a:lnTo>
                    <a:pt x="1234" y="462"/>
                  </a:lnTo>
                  <a:lnTo>
                    <a:pt x="1234" y="464"/>
                  </a:lnTo>
                  <a:lnTo>
                    <a:pt x="1234" y="464"/>
                  </a:lnTo>
                  <a:lnTo>
                    <a:pt x="1234" y="464"/>
                  </a:lnTo>
                  <a:lnTo>
                    <a:pt x="1237" y="465"/>
                  </a:lnTo>
                  <a:lnTo>
                    <a:pt x="1237" y="465"/>
                  </a:lnTo>
                  <a:lnTo>
                    <a:pt x="1237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5"/>
                  </a:lnTo>
                  <a:lnTo>
                    <a:pt x="1238" y="465"/>
                  </a:lnTo>
                  <a:lnTo>
                    <a:pt x="1240" y="467"/>
                  </a:lnTo>
                  <a:lnTo>
                    <a:pt x="1241" y="468"/>
                  </a:lnTo>
                  <a:lnTo>
                    <a:pt x="1243" y="468"/>
                  </a:lnTo>
                  <a:lnTo>
                    <a:pt x="1243" y="470"/>
                  </a:lnTo>
                  <a:lnTo>
                    <a:pt x="1241" y="475"/>
                  </a:lnTo>
                  <a:lnTo>
                    <a:pt x="1243" y="476"/>
                  </a:lnTo>
                  <a:lnTo>
                    <a:pt x="1243" y="476"/>
                  </a:lnTo>
                  <a:lnTo>
                    <a:pt x="1243" y="478"/>
                  </a:lnTo>
                  <a:lnTo>
                    <a:pt x="1243" y="481"/>
                  </a:lnTo>
                  <a:lnTo>
                    <a:pt x="1246" y="481"/>
                  </a:lnTo>
                  <a:lnTo>
                    <a:pt x="1251" y="479"/>
                  </a:lnTo>
                  <a:lnTo>
                    <a:pt x="1257" y="478"/>
                  </a:lnTo>
                  <a:lnTo>
                    <a:pt x="1258" y="478"/>
                  </a:lnTo>
                  <a:lnTo>
                    <a:pt x="1258" y="476"/>
                  </a:lnTo>
                  <a:lnTo>
                    <a:pt x="1260" y="475"/>
                  </a:lnTo>
                  <a:lnTo>
                    <a:pt x="1269" y="461"/>
                  </a:lnTo>
                  <a:lnTo>
                    <a:pt x="1269" y="459"/>
                  </a:lnTo>
                  <a:lnTo>
                    <a:pt x="1269" y="459"/>
                  </a:lnTo>
                  <a:lnTo>
                    <a:pt x="1269" y="459"/>
                  </a:lnTo>
                  <a:lnTo>
                    <a:pt x="1269" y="458"/>
                  </a:lnTo>
                  <a:lnTo>
                    <a:pt x="1271" y="458"/>
                  </a:lnTo>
                  <a:lnTo>
                    <a:pt x="1274" y="456"/>
                  </a:lnTo>
                  <a:lnTo>
                    <a:pt x="1275" y="456"/>
                  </a:lnTo>
                  <a:lnTo>
                    <a:pt x="1275" y="456"/>
                  </a:lnTo>
                  <a:lnTo>
                    <a:pt x="1277" y="456"/>
                  </a:lnTo>
                  <a:lnTo>
                    <a:pt x="1277" y="458"/>
                  </a:lnTo>
                  <a:lnTo>
                    <a:pt x="1277" y="459"/>
                  </a:lnTo>
                  <a:lnTo>
                    <a:pt x="1283" y="461"/>
                  </a:lnTo>
                  <a:lnTo>
                    <a:pt x="1286" y="461"/>
                  </a:lnTo>
                  <a:lnTo>
                    <a:pt x="1289" y="459"/>
                  </a:lnTo>
                  <a:lnTo>
                    <a:pt x="1291" y="459"/>
                  </a:lnTo>
                  <a:lnTo>
                    <a:pt x="1294" y="458"/>
                  </a:lnTo>
                  <a:lnTo>
                    <a:pt x="1297" y="456"/>
                  </a:lnTo>
                  <a:lnTo>
                    <a:pt x="1300" y="456"/>
                  </a:lnTo>
                  <a:lnTo>
                    <a:pt x="1302" y="456"/>
                  </a:lnTo>
                  <a:lnTo>
                    <a:pt x="1311" y="462"/>
                  </a:lnTo>
                  <a:lnTo>
                    <a:pt x="1311" y="462"/>
                  </a:lnTo>
                  <a:lnTo>
                    <a:pt x="1312" y="462"/>
                  </a:lnTo>
                  <a:lnTo>
                    <a:pt x="1312" y="462"/>
                  </a:lnTo>
                  <a:lnTo>
                    <a:pt x="1312" y="461"/>
                  </a:lnTo>
                  <a:lnTo>
                    <a:pt x="1314" y="461"/>
                  </a:lnTo>
                  <a:lnTo>
                    <a:pt x="1315" y="461"/>
                  </a:lnTo>
                  <a:lnTo>
                    <a:pt x="1315" y="461"/>
                  </a:lnTo>
                  <a:lnTo>
                    <a:pt x="1318" y="462"/>
                  </a:lnTo>
                  <a:lnTo>
                    <a:pt x="1318" y="464"/>
                  </a:lnTo>
                  <a:lnTo>
                    <a:pt x="1322" y="465"/>
                  </a:lnTo>
                  <a:lnTo>
                    <a:pt x="1326" y="468"/>
                  </a:lnTo>
                  <a:lnTo>
                    <a:pt x="1326" y="468"/>
                  </a:lnTo>
                  <a:lnTo>
                    <a:pt x="1328" y="468"/>
                  </a:lnTo>
                  <a:lnTo>
                    <a:pt x="1329" y="467"/>
                  </a:lnTo>
                  <a:lnTo>
                    <a:pt x="1331" y="467"/>
                  </a:lnTo>
                  <a:lnTo>
                    <a:pt x="1331" y="467"/>
                  </a:lnTo>
                  <a:lnTo>
                    <a:pt x="1332" y="468"/>
                  </a:lnTo>
                  <a:lnTo>
                    <a:pt x="1334" y="468"/>
                  </a:lnTo>
                  <a:lnTo>
                    <a:pt x="1335" y="470"/>
                  </a:lnTo>
                  <a:lnTo>
                    <a:pt x="1337" y="470"/>
                  </a:lnTo>
                  <a:lnTo>
                    <a:pt x="1345" y="468"/>
                  </a:lnTo>
                  <a:lnTo>
                    <a:pt x="1346" y="470"/>
                  </a:lnTo>
                  <a:lnTo>
                    <a:pt x="1348" y="470"/>
                  </a:lnTo>
                  <a:lnTo>
                    <a:pt x="1349" y="470"/>
                  </a:lnTo>
                  <a:lnTo>
                    <a:pt x="1351" y="472"/>
                  </a:lnTo>
                  <a:lnTo>
                    <a:pt x="1351" y="472"/>
                  </a:lnTo>
                  <a:lnTo>
                    <a:pt x="1352" y="472"/>
                  </a:lnTo>
                  <a:lnTo>
                    <a:pt x="1354" y="470"/>
                  </a:lnTo>
                  <a:lnTo>
                    <a:pt x="1357" y="470"/>
                  </a:lnTo>
                  <a:lnTo>
                    <a:pt x="1360" y="467"/>
                  </a:lnTo>
                  <a:lnTo>
                    <a:pt x="1362" y="464"/>
                  </a:lnTo>
                  <a:lnTo>
                    <a:pt x="1365" y="462"/>
                  </a:lnTo>
                  <a:lnTo>
                    <a:pt x="1368" y="461"/>
                  </a:lnTo>
                  <a:lnTo>
                    <a:pt x="1371" y="462"/>
                  </a:lnTo>
                  <a:lnTo>
                    <a:pt x="1372" y="462"/>
                  </a:lnTo>
                  <a:lnTo>
                    <a:pt x="1379" y="465"/>
                  </a:lnTo>
                  <a:lnTo>
                    <a:pt x="1380" y="465"/>
                  </a:lnTo>
                  <a:lnTo>
                    <a:pt x="1382" y="467"/>
                  </a:lnTo>
                  <a:lnTo>
                    <a:pt x="1383" y="468"/>
                  </a:lnTo>
                  <a:lnTo>
                    <a:pt x="1383" y="472"/>
                  </a:lnTo>
                  <a:lnTo>
                    <a:pt x="1383" y="473"/>
                  </a:lnTo>
                  <a:lnTo>
                    <a:pt x="1385" y="475"/>
                  </a:lnTo>
                  <a:lnTo>
                    <a:pt x="1383" y="475"/>
                  </a:lnTo>
                  <a:lnTo>
                    <a:pt x="1383" y="476"/>
                  </a:lnTo>
                  <a:lnTo>
                    <a:pt x="1383" y="476"/>
                  </a:lnTo>
                  <a:lnTo>
                    <a:pt x="1382" y="476"/>
                  </a:lnTo>
                  <a:lnTo>
                    <a:pt x="1380" y="478"/>
                  </a:lnTo>
                  <a:lnTo>
                    <a:pt x="1380" y="479"/>
                  </a:lnTo>
                  <a:lnTo>
                    <a:pt x="1379" y="481"/>
                  </a:lnTo>
                  <a:lnTo>
                    <a:pt x="1379" y="482"/>
                  </a:lnTo>
                  <a:lnTo>
                    <a:pt x="1380" y="485"/>
                  </a:lnTo>
                  <a:lnTo>
                    <a:pt x="1382" y="492"/>
                  </a:lnTo>
                  <a:lnTo>
                    <a:pt x="1383" y="493"/>
                  </a:lnTo>
                  <a:lnTo>
                    <a:pt x="1383" y="493"/>
                  </a:lnTo>
                  <a:lnTo>
                    <a:pt x="1386" y="493"/>
                  </a:lnTo>
                  <a:lnTo>
                    <a:pt x="1388" y="493"/>
                  </a:lnTo>
                  <a:lnTo>
                    <a:pt x="1388" y="493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2"/>
                  </a:lnTo>
                  <a:lnTo>
                    <a:pt x="1389" y="490"/>
                  </a:lnTo>
                  <a:lnTo>
                    <a:pt x="1391" y="489"/>
                  </a:lnTo>
                  <a:lnTo>
                    <a:pt x="1391" y="487"/>
                  </a:lnTo>
                  <a:lnTo>
                    <a:pt x="1397" y="485"/>
                  </a:lnTo>
                  <a:lnTo>
                    <a:pt x="1399" y="484"/>
                  </a:lnTo>
                  <a:lnTo>
                    <a:pt x="1402" y="482"/>
                  </a:lnTo>
                  <a:lnTo>
                    <a:pt x="1403" y="481"/>
                  </a:lnTo>
                  <a:lnTo>
                    <a:pt x="1406" y="478"/>
                  </a:lnTo>
                  <a:lnTo>
                    <a:pt x="1408" y="475"/>
                  </a:lnTo>
                  <a:lnTo>
                    <a:pt x="1411" y="475"/>
                  </a:lnTo>
                  <a:lnTo>
                    <a:pt x="1412" y="475"/>
                  </a:lnTo>
                  <a:lnTo>
                    <a:pt x="1420" y="475"/>
                  </a:lnTo>
                  <a:lnTo>
                    <a:pt x="1422" y="476"/>
                  </a:lnTo>
                  <a:lnTo>
                    <a:pt x="1422" y="478"/>
                  </a:lnTo>
                  <a:lnTo>
                    <a:pt x="1423" y="476"/>
                  </a:lnTo>
                  <a:lnTo>
                    <a:pt x="1422" y="475"/>
                  </a:lnTo>
                  <a:lnTo>
                    <a:pt x="1422" y="473"/>
                  </a:lnTo>
                  <a:lnTo>
                    <a:pt x="1422" y="472"/>
                  </a:lnTo>
                  <a:lnTo>
                    <a:pt x="1422" y="468"/>
                  </a:lnTo>
                  <a:lnTo>
                    <a:pt x="1423" y="468"/>
                  </a:lnTo>
                  <a:lnTo>
                    <a:pt x="1423" y="468"/>
                  </a:lnTo>
                  <a:lnTo>
                    <a:pt x="1425" y="467"/>
                  </a:lnTo>
                  <a:lnTo>
                    <a:pt x="1425" y="464"/>
                  </a:lnTo>
                  <a:lnTo>
                    <a:pt x="1423" y="462"/>
                  </a:lnTo>
                  <a:lnTo>
                    <a:pt x="1419" y="459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gray">
            <a:xfrm>
              <a:off x="6232525" y="1339851"/>
              <a:ext cx="3125788" cy="3703638"/>
            </a:xfrm>
            <a:custGeom>
              <a:avLst/>
              <a:gdLst>
                <a:gd name="T0" fmla="*/ 43 w 1969"/>
                <a:gd name="T1" fmla="*/ 2070 h 2333"/>
                <a:gd name="T2" fmla="*/ 36 w 1969"/>
                <a:gd name="T3" fmla="*/ 2013 h 2333"/>
                <a:gd name="T4" fmla="*/ 17 w 1969"/>
                <a:gd name="T5" fmla="*/ 1913 h 2333"/>
                <a:gd name="T6" fmla="*/ 86 w 1969"/>
                <a:gd name="T7" fmla="*/ 1700 h 2333"/>
                <a:gd name="T8" fmla="*/ 231 w 1969"/>
                <a:gd name="T9" fmla="*/ 1569 h 2333"/>
                <a:gd name="T10" fmla="*/ 334 w 1969"/>
                <a:gd name="T11" fmla="*/ 1480 h 2333"/>
                <a:gd name="T12" fmla="*/ 499 w 1969"/>
                <a:gd name="T13" fmla="*/ 1301 h 2333"/>
                <a:gd name="T14" fmla="*/ 565 w 1969"/>
                <a:gd name="T15" fmla="*/ 1149 h 2333"/>
                <a:gd name="T16" fmla="*/ 616 w 1969"/>
                <a:gd name="T17" fmla="*/ 984 h 2333"/>
                <a:gd name="T18" fmla="*/ 626 w 1969"/>
                <a:gd name="T19" fmla="*/ 696 h 2333"/>
                <a:gd name="T20" fmla="*/ 701 w 1969"/>
                <a:gd name="T21" fmla="*/ 638 h 2333"/>
                <a:gd name="T22" fmla="*/ 875 w 1969"/>
                <a:gd name="T23" fmla="*/ 570 h 2333"/>
                <a:gd name="T24" fmla="*/ 760 w 1969"/>
                <a:gd name="T25" fmla="*/ 496 h 2333"/>
                <a:gd name="T26" fmla="*/ 864 w 1969"/>
                <a:gd name="T27" fmla="*/ 505 h 2333"/>
                <a:gd name="T28" fmla="*/ 747 w 1969"/>
                <a:gd name="T29" fmla="*/ 538 h 2333"/>
                <a:gd name="T30" fmla="*/ 947 w 1969"/>
                <a:gd name="T31" fmla="*/ 464 h 2333"/>
                <a:gd name="T32" fmla="*/ 969 w 1969"/>
                <a:gd name="T33" fmla="*/ 347 h 2333"/>
                <a:gd name="T34" fmla="*/ 1058 w 1969"/>
                <a:gd name="T35" fmla="*/ 290 h 2333"/>
                <a:gd name="T36" fmla="*/ 1214 w 1969"/>
                <a:gd name="T37" fmla="*/ 273 h 2333"/>
                <a:gd name="T38" fmla="*/ 1202 w 1969"/>
                <a:gd name="T39" fmla="*/ 248 h 2333"/>
                <a:gd name="T40" fmla="*/ 1340 w 1969"/>
                <a:gd name="T41" fmla="*/ 179 h 2333"/>
                <a:gd name="T42" fmla="*/ 1308 w 1969"/>
                <a:gd name="T43" fmla="*/ 140 h 2333"/>
                <a:gd name="T44" fmla="*/ 1349 w 1969"/>
                <a:gd name="T45" fmla="*/ 117 h 2333"/>
                <a:gd name="T46" fmla="*/ 1870 w 1969"/>
                <a:gd name="T47" fmla="*/ 114 h 2333"/>
                <a:gd name="T48" fmla="*/ 1725 w 1969"/>
                <a:gd name="T49" fmla="*/ 91 h 2333"/>
                <a:gd name="T50" fmla="*/ 1668 w 1969"/>
                <a:gd name="T51" fmla="*/ 154 h 2333"/>
                <a:gd name="T52" fmla="*/ 1534 w 1969"/>
                <a:gd name="T53" fmla="*/ 136 h 2333"/>
                <a:gd name="T54" fmla="*/ 1460 w 1969"/>
                <a:gd name="T55" fmla="*/ 148 h 2333"/>
                <a:gd name="T56" fmla="*/ 1263 w 1969"/>
                <a:gd name="T57" fmla="*/ 202 h 2333"/>
                <a:gd name="T58" fmla="*/ 1205 w 1969"/>
                <a:gd name="T59" fmla="*/ 365 h 2333"/>
                <a:gd name="T60" fmla="*/ 1089 w 1969"/>
                <a:gd name="T61" fmla="*/ 364 h 2333"/>
                <a:gd name="T62" fmla="*/ 1000 w 1969"/>
                <a:gd name="T63" fmla="*/ 436 h 2333"/>
                <a:gd name="T64" fmla="*/ 943 w 1969"/>
                <a:gd name="T65" fmla="*/ 632 h 2333"/>
                <a:gd name="T66" fmla="*/ 852 w 1969"/>
                <a:gd name="T67" fmla="*/ 664 h 2333"/>
                <a:gd name="T68" fmla="*/ 758 w 1969"/>
                <a:gd name="T69" fmla="*/ 722 h 2333"/>
                <a:gd name="T70" fmla="*/ 761 w 1969"/>
                <a:gd name="T71" fmla="*/ 779 h 2333"/>
                <a:gd name="T72" fmla="*/ 732 w 1969"/>
                <a:gd name="T73" fmla="*/ 841 h 2333"/>
                <a:gd name="T74" fmla="*/ 664 w 1969"/>
                <a:gd name="T75" fmla="*/ 960 h 2333"/>
                <a:gd name="T76" fmla="*/ 616 w 1969"/>
                <a:gd name="T77" fmla="*/ 1046 h 2333"/>
                <a:gd name="T78" fmla="*/ 573 w 1969"/>
                <a:gd name="T79" fmla="*/ 1183 h 2333"/>
                <a:gd name="T80" fmla="*/ 552 w 1969"/>
                <a:gd name="T81" fmla="*/ 1243 h 2333"/>
                <a:gd name="T82" fmla="*/ 462 w 1969"/>
                <a:gd name="T83" fmla="*/ 1345 h 2333"/>
                <a:gd name="T84" fmla="*/ 396 w 1969"/>
                <a:gd name="T85" fmla="*/ 1448 h 2333"/>
                <a:gd name="T86" fmla="*/ 461 w 1969"/>
                <a:gd name="T87" fmla="*/ 1485 h 2333"/>
                <a:gd name="T88" fmla="*/ 321 w 1969"/>
                <a:gd name="T89" fmla="*/ 1540 h 2333"/>
                <a:gd name="T90" fmla="*/ 197 w 1969"/>
                <a:gd name="T91" fmla="*/ 1574 h 2333"/>
                <a:gd name="T92" fmla="*/ 157 w 1969"/>
                <a:gd name="T93" fmla="*/ 1662 h 2333"/>
                <a:gd name="T94" fmla="*/ 37 w 1969"/>
                <a:gd name="T95" fmla="*/ 1705 h 2333"/>
                <a:gd name="T96" fmla="*/ 37 w 1969"/>
                <a:gd name="T97" fmla="*/ 1780 h 2333"/>
                <a:gd name="T98" fmla="*/ 39 w 1969"/>
                <a:gd name="T99" fmla="*/ 1873 h 2333"/>
                <a:gd name="T100" fmla="*/ 184 w 1969"/>
                <a:gd name="T101" fmla="*/ 1913 h 2333"/>
                <a:gd name="T102" fmla="*/ 59 w 1969"/>
                <a:gd name="T103" fmla="*/ 1940 h 2333"/>
                <a:gd name="T104" fmla="*/ 68 w 1969"/>
                <a:gd name="T105" fmla="*/ 2021 h 2333"/>
                <a:gd name="T106" fmla="*/ 111 w 1969"/>
                <a:gd name="T107" fmla="*/ 2027 h 2333"/>
                <a:gd name="T108" fmla="*/ 56 w 1969"/>
                <a:gd name="T109" fmla="*/ 2147 h 2333"/>
                <a:gd name="T110" fmla="*/ 102 w 1969"/>
                <a:gd name="T111" fmla="*/ 2168 h 2333"/>
                <a:gd name="T112" fmla="*/ 157 w 1969"/>
                <a:gd name="T113" fmla="*/ 2315 h 2333"/>
                <a:gd name="T114" fmla="*/ 336 w 1969"/>
                <a:gd name="T115" fmla="*/ 2232 h 2333"/>
                <a:gd name="T116" fmla="*/ 416 w 1969"/>
                <a:gd name="T117" fmla="*/ 2084 h 2333"/>
                <a:gd name="T118" fmla="*/ 533 w 1969"/>
                <a:gd name="T119" fmla="*/ 2156 h 2333"/>
                <a:gd name="T120" fmla="*/ 1171 w 1969"/>
                <a:gd name="T121" fmla="*/ 513 h 2333"/>
                <a:gd name="T122" fmla="*/ 1815 w 1969"/>
                <a:gd name="T123" fmla="*/ 465 h 2333"/>
                <a:gd name="T124" fmla="*/ 1865 w 1969"/>
                <a:gd name="T125" fmla="*/ 267 h 2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69" h="2333">
                  <a:moveTo>
                    <a:pt x="479" y="2178"/>
                  </a:moveTo>
                  <a:lnTo>
                    <a:pt x="479" y="2178"/>
                  </a:lnTo>
                  <a:lnTo>
                    <a:pt x="479" y="2179"/>
                  </a:lnTo>
                  <a:lnTo>
                    <a:pt x="478" y="2179"/>
                  </a:lnTo>
                  <a:lnTo>
                    <a:pt x="476" y="2179"/>
                  </a:lnTo>
                  <a:lnTo>
                    <a:pt x="476" y="2178"/>
                  </a:lnTo>
                  <a:lnTo>
                    <a:pt x="476" y="2176"/>
                  </a:lnTo>
                  <a:lnTo>
                    <a:pt x="475" y="2176"/>
                  </a:lnTo>
                  <a:lnTo>
                    <a:pt x="473" y="2178"/>
                  </a:lnTo>
                  <a:lnTo>
                    <a:pt x="473" y="2179"/>
                  </a:lnTo>
                  <a:lnTo>
                    <a:pt x="473" y="2181"/>
                  </a:lnTo>
                  <a:lnTo>
                    <a:pt x="473" y="2182"/>
                  </a:lnTo>
                  <a:lnTo>
                    <a:pt x="473" y="2185"/>
                  </a:lnTo>
                  <a:lnTo>
                    <a:pt x="473" y="2185"/>
                  </a:lnTo>
                  <a:lnTo>
                    <a:pt x="475" y="2185"/>
                  </a:lnTo>
                  <a:lnTo>
                    <a:pt x="475" y="2185"/>
                  </a:lnTo>
                  <a:lnTo>
                    <a:pt x="475" y="2187"/>
                  </a:lnTo>
                  <a:lnTo>
                    <a:pt x="475" y="2187"/>
                  </a:lnTo>
                  <a:lnTo>
                    <a:pt x="476" y="2187"/>
                  </a:lnTo>
                  <a:lnTo>
                    <a:pt x="478" y="2185"/>
                  </a:lnTo>
                  <a:lnTo>
                    <a:pt x="478" y="2184"/>
                  </a:lnTo>
                  <a:lnTo>
                    <a:pt x="478" y="2184"/>
                  </a:lnTo>
                  <a:lnTo>
                    <a:pt x="478" y="2182"/>
                  </a:lnTo>
                  <a:lnTo>
                    <a:pt x="478" y="2182"/>
                  </a:lnTo>
                  <a:lnTo>
                    <a:pt x="479" y="2181"/>
                  </a:lnTo>
                  <a:lnTo>
                    <a:pt x="479" y="2179"/>
                  </a:lnTo>
                  <a:lnTo>
                    <a:pt x="479" y="2178"/>
                  </a:lnTo>
                  <a:lnTo>
                    <a:pt x="479" y="2178"/>
                  </a:lnTo>
                  <a:lnTo>
                    <a:pt x="479" y="2178"/>
                  </a:lnTo>
                  <a:close/>
                  <a:moveTo>
                    <a:pt x="467" y="2173"/>
                  </a:moveTo>
                  <a:lnTo>
                    <a:pt x="465" y="2173"/>
                  </a:lnTo>
                  <a:lnTo>
                    <a:pt x="464" y="2175"/>
                  </a:lnTo>
                  <a:lnTo>
                    <a:pt x="462" y="2175"/>
                  </a:lnTo>
                  <a:lnTo>
                    <a:pt x="462" y="2175"/>
                  </a:lnTo>
                  <a:lnTo>
                    <a:pt x="464" y="2175"/>
                  </a:lnTo>
                  <a:lnTo>
                    <a:pt x="464" y="2175"/>
                  </a:lnTo>
                  <a:lnTo>
                    <a:pt x="464" y="2173"/>
                  </a:lnTo>
                  <a:lnTo>
                    <a:pt x="464" y="2173"/>
                  </a:lnTo>
                  <a:lnTo>
                    <a:pt x="462" y="2173"/>
                  </a:lnTo>
                  <a:lnTo>
                    <a:pt x="462" y="2173"/>
                  </a:lnTo>
                  <a:lnTo>
                    <a:pt x="461" y="2175"/>
                  </a:lnTo>
                  <a:lnTo>
                    <a:pt x="461" y="2175"/>
                  </a:lnTo>
                  <a:lnTo>
                    <a:pt x="462" y="2178"/>
                  </a:lnTo>
                  <a:lnTo>
                    <a:pt x="462" y="2178"/>
                  </a:lnTo>
                  <a:lnTo>
                    <a:pt x="462" y="2179"/>
                  </a:lnTo>
                  <a:lnTo>
                    <a:pt x="462" y="2179"/>
                  </a:lnTo>
                  <a:lnTo>
                    <a:pt x="464" y="2179"/>
                  </a:lnTo>
                  <a:lnTo>
                    <a:pt x="464" y="2179"/>
                  </a:lnTo>
                  <a:lnTo>
                    <a:pt x="464" y="2179"/>
                  </a:lnTo>
                  <a:lnTo>
                    <a:pt x="465" y="2179"/>
                  </a:lnTo>
                  <a:lnTo>
                    <a:pt x="467" y="2176"/>
                  </a:lnTo>
                  <a:lnTo>
                    <a:pt x="467" y="2175"/>
                  </a:lnTo>
                  <a:lnTo>
                    <a:pt x="467" y="2173"/>
                  </a:lnTo>
                  <a:lnTo>
                    <a:pt x="467" y="2173"/>
                  </a:lnTo>
                  <a:close/>
                  <a:moveTo>
                    <a:pt x="83" y="2179"/>
                  </a:moveTo>
                  <a:lnTo>
                    <a:pt x="85" y="2178"/>
                  </a:lnTo>
                  <a:lnTo>
                    <a:pt x="85" y="2175"/>
                  </a:lnTo>
                  <a:lnTo>
                    <a:pt x="85" y="2173"/>
                  </a:lnTo>
                  <a:lnTo>
                    <a:pt x="83" y="2173"/>
                  </a:lnTo>
                  <a:lnTo>
                    <a:pt x="82" y="2171"/>
                  </a:lnTo>
                  <a:lnTo>
                    <a:pt x="80" y="2171"/>
                  </a:lnTo>
                  <a:lnTo>
                    <a:pt x="79" y="2171"/>
                  </a:lnTo>
                  <a:lnTo>
                    <a:pt x="77" y="2171"/>
                  </a:lnTo>
                  <a:lnTo>
                    <a:pt x="76" y="2170"/>
                  </a:lnTo>
                  <a:lnTo>
                    <a:pt x="74" y="2170"/>
                  </a:lnTo>
                  <a:lnTo>
                    <a:pt x="73" y="2170"/>
                  </a:lnTo>
                  <a:lnTo>
                    <a:pt x="73" y="2170"/>
                  </a:lnTo>
                  <a:lnTo>
                    <a:pt x="71" y="2170"/>
                  </a:lnTo>
                  <a:lnTo>
                    <a:pt x="71" y="2171"/>
                  </a:lnTo>
                  <a:lnTo>
                    <a:pt x="70" y="2171"/>
                  </a:lnTo>
                  <a:lnTo>
                    <a:pt x="71" y="2173"/>
                  </a:lnTo>
                  <a:lnTo>
                    <a:pt x="77" y="2175"/>
                  </a:lnTo>
                  <a:lnTo>
                    <a:pt x="83" y="2179"/>
                  </a:lnTo>
                  <a:close/>
                  <a:moveTo>
                    <a:pt x="62" y="2159"/>
                  </a:moveTo>
                  <a:lnTo>
                    <a:pt x="60" y="2158"/>
                  </a:lnTo>
                  <a:lnTo>
                    <a:pt x="60" y="2156"/>
                  </a:lnTo>
                  <a:lnTo>
                    <a:pt x="59" y="2156"/>
                  </a:lnTo>
                  <a:lnTo>
                    <a:pt x="59" y="2156"/>
                  </a:lnTo>
                  <a:lnTo>
                    <a:pt x="57" y="2155"/>
                  </a:lnTo>
                  <a:lnTo>
                    <a:pt x="57" y="2155"/>
                  </a:lnTo>
                  <a:lnTo>
                    <a:pt x="56" y="2155"/>
                  </a:lnTo>
                  <a:lnTo>
                    <a:pt x="56" y="2156"/>
                  </a:lnTo>
                  <a:lnTo>
                    <a:pt x="56" y="2156"/>
                  </a:lnTo>
                  <a:lnTo>
                    <a:pt x="54" y="2158"/>
                  </a:lnTo>
                  <a:lnTo>
                    <a:pt x="56" y="2159"/>
                  </a:lnTo>
                  <a:lnTo>
                    <a:pt x="56" y="2161"/>
                  </a:lnTo>
                  <a:lnTo>
                    <a:pt x="56" y="2162"/>
                  </a:lnTo>
                  <a:lnTo>
                    <a:pt x="59" y="2164"/>
                  </a:lnTo>
                  <a:lnTo>
                    <a:pt x="59" y="2164"/>
                  </a:lnTo>
                  <a:lnTo>
                    <a:pt x="59" y="2165"/>
                  </a:lnTo>
                  <a:lnTo>
                    <a:pt x="59" y="2165"/>
                  </a:lnTo>
                  <a:lnTo>
                    <a:pt x="59" y="2165"/>
                  </a:lnTo>
                  <a:lnTo>
                    <a:pt x="59" y="2167"/>
                  </a:lnTo>
                  <a:lnTo>
                    <a:pt x="60" y="2167"/>
                  </a:lnTo>
                  <a:lnTo>
                    <a:pt x="60" y="2165"/>
                  </a:lnTo>
                  <a:lnTo>
                    <a:pt x="62" y="2164"/>
                  </a:lnTo>
                  <a:lnTo>
                    <a:pt x="62" y="2161"/>
                  </a:lnTo>
                  <a:lnTo>
                    <a:pt x="62" y="2161"/>
                  </a:lnTo>
                  <a:lnTo>
                    <a:pt x="62" y="2159"/>
                  </a:lnTo>
                  <a:close/>
                  <a:moveTo>
                    <a:pt x="105" y="2155"/>
                  </a:moveTo>
                  <a:lnTo>
                    <a:pt x="108" y="2151"/>
                  </a:lnTo>
                  <a:lnTo>
                    <a:pt x="108" y="2150"/>
                  </a:lnTo>
                  <a:lnTo>
                    <a:pt x="106" y="2148"/>
                  </a:lnTo>
                  <a:lnTo>
                    <a:pt x="102" y="2147"/>
                  </a:lnTo>
                  <a:lnTo>
                    <a:pt x="100" y="2147"/>
                  </a:lnTo>
                  <a:lnTo>
                    <a:pt x="97" y="2148"/>
                  </a:lnTo>
                  <a:lnTo>
                    <a:pt x="96" y="2150"/>
                  </a:lnTo>
                  <a:lnTo>
                    <a:pt x="96" y="2155"/>
                  </a:lnTo>
                  <a:lnTo>
                    <a:pt x="99" y="2156"/>
                  </a:lnTo>
                  <a:lnTo>
                    <a:pt x="102" y="2156"/>
                  </a:lnTo>
                  <a:lnTo>
                    <a:pt x="105" y="2155"/>
                  </a:lnTo>
                  <a:close/>
                  <a:moveTo>
                    <a:pt x="50" y="2148"/>
                  </a:moveTo>
                  <a:lnTo>
                    <a:pt x="48" y="2147"/>
                  </a:lnTo>
                  <a:lnTo>
                    <a:pt x="48" y="2147"/>
                  </a:lnTo>
                  <a:lnTo>
                    <a:pt x="48" y="2145"/>
                  </a:lnTo>
                  <a:lnTo>
                    <a:pt x="48" y="2144"/>
                  </a:lnTo>
                  <a:lnTo>
                    <a:pt x="48" y="2144"/>
                  </a:lnTo>
                  <a:lnTo>
                    <a:pt x="48" y="2142"/>
                  </a:lnTo>
                  <a:lnTo>
                    <a:pt x="46" y="2141"/>
                  </a:lnTo>
                  <a:lnTo>
                    <a:pt x="46" y="2141"/>
                  </a:lnTo>
                  <a:lnTo>
                    <a:pt x="46" y="2139"/>
                  </a:lnTo>
                  <a:lnTo>
                    <a:pt x="45" y="2136"/>
                  </a:lnTo>
                  <a:lnTo>
                    <a:pt x="42" y="2130"/>
                  </a:lnTo>
                  <a:lnTo>
                    <a:pt x="40" y="2130"/>
                  </a:lnTo>
                  <a:lnTo>
                    <a:pt x="40" y="2131"/>
                  </a:lnTo>
                  <a:lnTo>
                    <a:pt x="40" y="2135"/>
                  </a:lnTo>
                  <a:lnTo>
                    <a:pt x="42" y="2135"/>
                  </a:lnTo>
                  <a:lnTo>
                    <a:pt x="42" y="2138"/>
                  </a:lnTo>
                  <a:lnTo>
                    <a:pt x="40" y="2138"/>
                  </a:lnTo>
                  <a:lnTo>
                    <a:pt x="40" y="2139"/>
                  </a:lnTo>
                  <a:lnTo>
                    <a:pt x="40" y="2141"/>
                  </a:lnTo>
                  <a:lnTo>
                    <a:pt x="40" y="2144"/>
                  </a:lnTo>
                  <a:lnTo>
                    <a:pt x="43" y="2148"/>
                  </a:lnTo>
                  <a:lnTo>
                    <a:pt x="40" y="2147"/>
                  </a:lnTo>
                  <a:lnTo>
                    <a:pt x="39" y="2150"/>
                  </a:lnTo>
                  <a:lnTo>
                    <a:pt x="40" y="2150"/>
                  </a:lnTo>
                  <a:lnTo>
                    <a:pt x="40" y="2151"/>
                  </a:lnTo>
                  <a:lnTo>
                    <a:pt x="40" y="2155"/>
                  </a:lnTo>
                  <a:lnTo>
                    <a:pt x="39" y="2158"/>
                  </a:lnTo>
                  <a:lnTo>
                    <a:pt x="39" y="2161"/>
                  </a:lnTo>
                  <a:lnTo>
                    <a:pt x="40" y="2165"/>
                  </a:lnTo>
                  <a:lnTo>
                    <a:pt x="40" y="2167"/>
                  </a:lnTo>
                  <a:lnTo>
                    <a:pt x="42" y="2168"/>
                  </a:lnTo>
                  <a:lnTo>
                    <a:pt x="45" y="2170"/>
                  </a:lnTo>
                  <a:lnTo>
                    <a:pt x="46" y="2167"/>
                  </a:lnTo>
                  <a:lnTo>
                    <a:pt x="50" y="2165"/>
                  </a:lnTo>
                  <a:lnTo>
                    <a:pt x="50" y="2159"/>
                  </a:lnTo>
                  <a:lnTo>
                    <a:pt x="51" y="2156"/>
                  </a:lnTo>
                  <a:lnTo>
                    <a:pt x="51" y="2153"/>
                  </a:lnTo>
                  <a:lnTo>
                    <a:pt x="50" y="2150"/>
                  </a:lnTo>
                  <a:lnTo>
                    <a:pt x="50" y="2148"/>
                  </a:lnTo>
                  <a:close/>
                  <a:moveTo>
                    <a:pt x="40" y="2102"/>
                  </a:moveTo>
                  <a:lnTo>
                    <a:pt x="42" y="2101"/>
                  </a:lnTo>
                  <a:lnTo>
                    <a:pt x="42" y="2101"/>
                  </a:lnTo>
                  <a:lnTo>
                    <a:pt x="42" y="2099"/>
                  </a:lnTo>
                  <a:lnTo>
                    <a:pt x="42" y="2098"/>
                  </a:lnTo>
                  <a:lnTo>
                    <a:pt x="42" y="2096"/>
                  </a:lnTo>
                  <a:lnTo>
                    <a:pt x="42" y="2096"/>
                  </a:lnTo>
                  <a:lnTo>
                    <a:pt x="40" y="2094"/>
                  </a:lnTo>
                  <a:lnTo>
                    <a:pt x="42" y="2093"/>
                  </a:lnTo>
                  <a:lnTo>
                    <a:pt x="42" y="2090"/>
                  </a:lnTo>
                  <a:lnTo>
                    <a:pt x="42" y="2091"/>
                  </a:lnTo>
                  <a:lnTo>
                    <a:pt x="40" y="2093"/>
                  </a:lnTo>
                  <a:lnTo>
                    <a:pt x="39" y="2094"/>
                  </a:lnTo>
                  <a:lnTo>
                    <a:pt x="39" y="2091"/>
                  </a:lnTo>
                  <a:lnTo>
                    <a:pt x="39" y="2090"/>
                  </a:lnTo>
                  <a:lnTo>
                    <a:pt x="40" y="2087"/>
                  </a:lnTo>
                  <a:lnTo>
                    <a:pt x="42" y="2085"/>
                  </a:lnTo>
                  <a:lnTo>
                    <a:pt x="42" y="2084"/>
                  </a:lnTo>
                  <a:lnTo>
                    <a:pt x="42" y="2084"/>
                  </a:lnTo>
                  <a:lnTo>
                    <a:pt x="40" y="2082"/>
                  </a:lnTo>
                  <a:lnTo>
                    <a:pt x="42" y="2081"/>
                  </a:lnTo>
                  <a:lnTo>
                    <a:pt x="42" y="2081"/>
                  </a:lnTo>
                  <a:lnTo>
                    <a:pt x="42" y="2079"/>
                  </a:lnTo>
                  <a:lnTo>
                    <a:pt x="43" y="2079"/>
                  </a:lnTo>
                  <a:lnTo>
                    <a:pt x="43" y="2079"/>
                  </a:lnTo>
                  <a:lnTo>
                    <a:pt x="45" y="2081"/>
                  </a:lnTo>
                  <a:lnTo>
                    <a:pt x="46" y="2082"/>
                  </a:lnTo>
                  <a:lnTo>
                    <a:pt x="48" y="2082"/>
                  </a:lnTo>
                  <a:lnTo>
                    <a:pt x="46" y="2081"/>
                  </a:lnTo>
                  <a:lnTo>
                    <a:pt x="48" y="2081"/>
                  </a:lnTo>
                  <a:lnTo>
                    <a:pt x="50" y="2082"/>
                  </a:lnTo>
                  <a:lnTo>
                    <a:pt x="50" y="2085"/>
                  </a:lnTo>
                  <a:lnTo>
                    <a:pt x="50" y="2087"/>
                  </a:lnTo>
                  <a:lnTo>
                    <a:pt x="48" y="2088"/>
                  </a:lnTo>
                  <a:lnTo>
                    <a:pt x="46" y="2088"/>
                  </a:lnTo>
                  <a:lnTo>
                    <a:pt x="46" y="2090"/>
                  </a:lnTo>
                  <a:lnTo>
                    <a:pt x="48" y="2090"/>
                  </a:lnTo>
                  <a:lnTo>
                    <a:pt x="50" y="2088"/>
                  </a:lnTo>
                  <a:lnTo>
                    <a:pt x="53" y="2087"/>
                  </a:lnTo>
                  <a:lnTo>
                    <a:pt x="51" y="2084"/>
                  </a:lnTo>
                  <a:lnTo>
                    <a:pt x="51" y="2079"/>
                  </a:lnTo>
                  <a:lnTo>
                    <a:pt x="50" y="2079"/>
                  </a:lnTo>
                  <a:lnTo>
                    <a:pt x="48" y="2078"/>
                  </a:lnTo>
                  <a:lnTo>
                    <a:pt x="48" y="2076"/>
                  </a:lnTo>
                  <a:lnTo>
                    <a:pt x="46" y="2073"/>
                  </a:lnTo>
                  <a:lnTo>
                    <a:pt x="45" y="2071"/>
                  </a:lnTo>
                  <a:lnTo>
                    <a:pt x="45" y="2071"/>
                  </a:lnTo>
                  <a:lnTo>
                    <a:pt x="43" y="2071"/>
                  </a:lnTo>
                  <a:lnTo>
                    <a:pt x="43" y="2070"/>
                  </a:lnTo>
                  <a:lnTo>
                    <a:pt x="43" y="2068"/>
                  </a:lnTo>
                  <a:lnTo>
                    <a:pt x="43" y="2068"/>
                  </a:lnTo>
                  <a:lnTo>
                    <a:pt x="42" y="2068"/>
                  </a:lnTo>
                  <a:lnTo>
                    <a:pt x="42" y="2068"/>
                  </a:lnTo>
                  <a:lnTo>
                    <a:pt x="39" y="2065"/>
                  </a:lnTo>
                  <a:lnTo>
                    <a:pt x="39" y="2064"/>
                  </a:lnTo>
                  <a:lnTo>
                    <a:pt x="39" y="2062"/>
                  </a:lnTo>
                  <a:lnTo>
                    <a:pt x="36" y="2062"/>
                  </a:lnTo>
                  <a:lnTo>
                    <a:pt x="36" y="2062"/>
                  </a:lnTo>
                  <a:lnTo>
                    <a:pt x="34" y="2062"/>
                  </a:lnTo>
                  <a:lnTo>
                    <a:pt x="37" y="2067"/>
                  </a:lnTo>
                  <a:lnTo>
                    <a:pt x="37" y="2068"/>
                  </a:lnTo>
                  <a:lnTo>
                    <a:pt x="37" y="2068"/>
                  </a:lnTo>
                  <a:lnTo>
                    <a:pt x="37" y="2068"/>
                  </a:lnTo>
                  <a:lnTo>
                    <a:pt x="36" y="2068"/>
                  </a:lnTo>
                  <a:lnTo>
                    <a:pt x="36" y="2070"/>
                  </a:lnTo>
                  <a:lnTo>
                    <a:pt x="36" y="2070"/>
                  </a:lnTo>
                  <a:lnTo>
                    <a:pt x="34" y="2068"/>
                  </a:lnTo>
                  <a:lnTo>
                    <a:pt x="34" y="2068"/>
                  </a:lnTo>
                  <a:lnTo>
                    <a:pt x="34" y="2071"/>
                  </a:lnTo>
                  <a:lnTo>
                    <a:pt x="34" y="2073"/>
                  </a:lnTo>
                  <a:lnTo>
                    <a:pt x="33" y="2073"/>
                  </a:lnTo>
                  <a:lnTo>
                    <a:pt x="33" y="2076"/>
                  </a:lnTo>
                  <a:lnTo>
                    <a:pt x="33" y="2078"/>
                  </a:lnTo>
                  <a:lnTo>
                    <a:pt x="34" y="2079"/>
                  </a:lnTo>
                  <a:lnTo>
                    <a:pt x="34" y="2078"/>
                  </a:lnTo>
                  <a:lnTo>
                    <a:pt x="36" y="2076"/>
                  </a:lnTo>
                  <a:lnTo>
                    <a:pt x="36" y="2079"/>
                  </a:lnTo>
                  <a:lnTo>
                    <a:pt x="37" y="2079"/>
                  </a:lnTo>
                  <a:lnTo>
                    <a:pt x="40" y="2079"/>
                  </a:lnTo>
                  <a:lnTo>
                    <a:pt x="39" y="2082"/>
                  </a:lnTo>
                  <a:lnTo>
                    <a:pt x="37" y="2085"/>
                  </a:lnTo>
                  <a:lnTo>
                    <a:pt x="36" y="2090"/>
                  </a:lnTo>
                  <a:lnTo>
                    <a:pt x="36" y="2094"/>
                  </a:lnTo>
                  <a:lnTo>
                    <a:pt x="36" y="2098"/>
                  </a:lnTo>
                  <a:lnTo>
                    <a:pt x="36" y="2099"/>
                  </a:lnTo>
                  <a:lnTo>
                    <a:pt x="37" y="2101"/>
                  </a:lnTo>
                  <a:lnTo>
                    <a:pt x="37" y="2102"/>
                  </a:lnTo>
                  <a:lnTo>
                    <a:pt x="39" y="2104"/>
                  </a:lnTo>
                  <a:lnTo>
                    <a:pt x="39" y="2104"/>
                  </a:lnTo>
                  <a:lnTo>
                    <a:pt x="39" y="2104"/>
                  </a:lnTo>
                  <a:lnTo>
                    <a:pt x="40" y="2102"/>
                  </a:lnTo>
                  <a:lnTo>
                    <a:pt x="40" y="2102"/>
                  </a:lnTo>
                  <a:close/>
                  <a:moveTo>
                    <a:pt x="53" y="2047"/>
                  </a:moveTo>
                  <a:lnTo>
                    <a:pt x="51" y="2047"/>
                  </a:lnTo>
                  <a:lnTo>
                    <a:pt x="50" y="2047"/>
                  </a:lnTo>
                  <a:lnTo>
                    <a:pt x="50" y="2047"/>
                  </a:lnTo>
                  <a:lnTo>
                    <a:pt x="50" y="2047"/>
                  </a:lnTo>
                  <a:lnTo>
                    <a:pt x="48" y="2048"/>
                  </a:lnTo>
                  <a:lnTo>
                    <a:pt x="48" y="2050"/>
                  </a:lnTo>
                  <a:lnTo>
                    <a:pt x="48" y="2050"/>
                  </a:lnTo>
                  <a:lnTo>
                    <a:pt x="50" y="2050"/>
                  </a:lnTo>
                  <a:lnTo>
                    <a:pt x="48" y="2053"/>
                  </a:lnTo>
                  <a:lnTo>
                    <a:pt x="45" y="2056"/>
                  </a:lnTo>
                  <a:lnTo>
                    <a:pt x="46" y="2058"/>
                  </a:lnTo>
                  <a:lnTo>
                    <a:pt x="46" y="2059"/>
                  </a:lnTo>
                  <a:lnTo>
                    <a:pt x="46" y="2061"/>
                  </a:lnTo>
                  <a:lnTo>
                    <a:pt x="46" y="2062"/>
                  </a:lnTo>
                  <a:lnTo>
                    <a:pt x="48" y="2064"/>
                  </a:lnTo>
                  <a:lnTo>
                    <a:pt x="48" y="2065"/>
                  </a:lnTo>
                  <a:lnTo>
                    <a:pt x="50" y="2071"/>
                  </a:lnTo>
                  <a:lnTo>
                    <a:pt x="50" y="2073"/>
                  </a:lnTo>
                  <a:lnTo>
                    <a:pt x="50" y="2074"/>
                  </a:lnTo>
                  <a:lnTo>
                    <a:pt x="51" y="2076"/>
                  </a:lnTo>
                  <a:lnTo>
                    <a:pt x="53" y="2076"/>
                  </a:lnTo>
                  <a:lnTo>
                    <a:pt x="53" y="2076"/>
                  </a:lnTo>
                  <a:lnTo>
                    <a:pt x="54" y="2076"/>
                  </a:lnTo>
                  <a:lnTo>
                    <a:pt x="54" y="2074"/>
                  </a:lnTo>
                  <a:lnTo>
                    <a:pt x="56" y="2074"/>
                  </a:lnTo>
                  <a:lnTo>
                    <a:pt x="56" y="2074"/>
                  </a:lnTo>
                  <a:lnTo>
                    <a:pt x="57" y="2074"/>
                  </a:lnTo>
                  <a:lnTo>
                    <a:pt x="57" y="2076"/>
                  </a:lnTo>
                  <a:lnTo>
                    <a:pt x="57" y="2078"/>
                  </a:lnTo>
                  <a:lnTo>
                    <a:pt x="56" y="2078"/>
                  </a:lnTo>
                  <a:lnTo>
                    <a:pt x="54" y="2076"/>
                  </a:lnTo>
                  <a:lnTo>
                    <a:pt x="54" y="2078"/>
                  </a:lnTo>
                  <a:lnTo>
                    <a:pt x="54" y="2078"/>
                  </a:lnTo>
                  <a:lnTo>
                    <a:pt x="56" y="2079"/>
                  </a:lnTo>
                  <a:lnTo>
                    <a:pt x="59" y="2079"/>
                  </a:lnTo>
                  <a:lnTo>
                    <a:pt x="63" y="2074"/>
                  </a:lnTo>
                  <a:lnTo>
                    <a:pt x="63" y="2073"/>
                  </a:lnTo>
                  <a:lnTo>
                    <a:pt x="63" y="2070"/>
                  </a:lnTo>
                  <a:lnTo>
                    <a:pt x="63" y="2065"/>
                  </a:lnTo>
                  <a:lnTo>
                    <a:pt x="63" y="2064"/>
                  </a:lnTo>
                  <a:lnTo>
                    <a:pt x="62" y="2061"/>
                  </a:lnTo>
                  <a:lnTo>
                    <a:pt x="60" y="2056"/>
                  </a:lnTo>
                  <a:lnTo>
                    <a:pt x="59" y="2053"/>
                  </a:lnTo>
                  <a:lnTo>
                    <a:pt x="56" y="2050"/>
                  </a:lnTo>
                  <a:lnTo>
                    <a:pt x="53" y="2048"/>
                  </a:lnTo>
                  <a:lnTo>
                    <a:pt x="53" y="2047"/>
                  </a:lnTo>
                  <a:close/>
                  <a:moveTo>
                    <a:pt x="54" y="2042"/>
                  </a:moveTo>
                  <a:lnTo>
                    <a:pt x="54" y="2044"/>
                  </a:lnTo>
                  <a:lnTo>
                    <a:pt x="54" y="2047"/>
                  </a:lnTo>
                  <a:lnTo>
                    <a:pt x="56" y="2048"/>
                  </a:lnTo>
                  <a:lnTo>
                    <a:pt x="57" y="2050"/>
                  </a:lnTo>
                  <a:lnTo>
                    <a:pt x="59" y="2050"/>
                  </a:lnTo>
                  <a:lnTo>
                    <a:pt x="60" y="2050"/>
                  </a:lnTo>
                  <a:lnTo>
                    <a:pt x="60" y="2050"/>
                  </a:lnTo>
                  <a:lnTo>
                    <a:pt x="62" y="2048"/>
                  </a:lnTo>
                  <a:lnTo>
                    <a:pt x="62" y="2048"/>
                  </a:lnTo>
                  <a:lnTo>
                    <a:pt x="63" y="2050"/>
                  </a:lnTo>
                  <a:lnTo>
                    <a:pt x="63" y="2056"/>
                  </a:lnTo>
                  <a:lnTo>
                    <a:pt x="65" y="2058"/>
                  </a:lnTo>
                  <a:lnTo>
                    <a:pt x="66" y="2058"/>
                  </a:lnTo>
                  <a:lnTo>
                    <a:pt x="70" y="2054"/>
                  </a:lnTo>
                  <a:lnTo>
                    <a:pt x="71" y="2054"/>
                  </a:lnTo>
                  <a:lnTo>
                    <a:pt x="73" y="2056"/>
                  </a:lnTo>
                  <a:lnTo>
                    <a:pt x="74" y="2056"/>
                  </a:lnTo>
                  <a:lnTo>
                    <a:pt x="73" y="2053"/>
                  </a:lnTo>
                  <a:lnTo>
                    <a:pt x="73" y="2050"/>
                  </a:lnTo>
                  <a:lnTo>
                    <a:pt x="73" y="2048"/>
                  </a:lnTo>
                  <a:lnTo>
                    <a:pt x="76" y="2044"/>
                  </a:lnTo>
                  <a:lnTo>
                    <a:pt x="76" y="2041"/>
                  </a:lnTo>
                  <a:lnTo>
                    <a:pt x="76" y="2033"/>
                  </a:lnTo>
                  <a:lnTo>
                    <a:pt x="76" y="2031"/>
                  </a:lnTo>
                  <a:lnTo>
                    <a:pt x="76" y="2031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1" y="2034"/>
                  </a:lnTo>
                  <a:lnTo>
                    <a:pt x="71" y="2034"/>
                  </a:lnTo>
                  <a:lnTo>
                    <a:pt x="71" y="2034"/>
                  </a:lnTo>
                  <a:lnTo>
                    <a:pt x="70" y="2033"/>
                  </a:lnTo>
                  <a:lnTo>
                    <a:pt x="70" y="2033"/>
                  </a:lnTo>
                  <a:lnTo>
                    <a:pt x="65" y="2034"/>
                  </a:lnTo>
                  <a:lnTo>
                    <a:pt x="65" y="2034"/>
                  </a:lnTo>
                  <a:lnTo>
                    <a:pt x="63" y="2036"/>
                  </a:lnTo>
                  <a:lnTo>
                    <a:pt x="63" y="2036"/>
                  </a:lnTo>
                  <a:lnTo>
                    <a:pt x="63" y="2036"/>
                  </a:lnTo>
                  <a:lnTo>
                    <a:pt x="62" y="2036"/>
                  </a:lnTo>
                  <a:lnTo>
                    <a:pt x="62" y="2036"/>
                  </a:lnTo>
                  <a:lnTo>
                    <a:pt x="62" y="2036"/>
                  </a:lnTo>
                  <a:lnTo>
                    <a:pt x="60" y="2036"/>
                  </a:lnTo>
                  <a:lnTo>
                    <a:pt x="60" y="2038"/>
                  </a:lnTo>
                  <a:lnTo>
                    <a:pt x="60" y="2039"/>
                  </a:lnTo>
                  <a:lnTo>
                    <a:pt x="60" y="2039"/>
                  </a:lnTo>
                  <a:lnTo>
                    <a:pt x="60" y="2042"/>
                  </a:lnTo>
                  <a:lnTo>
                    <a:pt x="60" y="2042"/>
                  </a:lnTo>
                  <a:lnTo>
                    <a:pt x="54" y="2042"/>
                  </a:lnTo>
                  <a:close/>
                  <a:moveTo>
                    <a:pt x="43" y="2038"/>
                  </a:moveTo>
                  <a:lnTo>
                    <a:pt x="43" y="2038"/>
                  </a:lnTo>
                  <a:lnTo>
                    <a:pt x="43" y="2036"/>
                  </a:lnTo>
                  <a:lnTo>
                    <a:pt x="43" y="2034"/>
                  </a:lnTo>
                  <a:lnTo>
                    <a:pt x="43" y="2033"/>
                  </a:lnTo>
                  <a:lnTo>
                    <a:pt x="42" y="2031"/>
                  </a:lnTo>
                  <a:lnTo>
                    <a:pt x="42" y="2030"/>
                  </a:lnTo>
                  <a:lnTo>
                    <a:pt x="42" y="2030"/>
                  </a:lnTo>
                  <a:lnTo>
                    <a:pt x="42" y="2031"/>
                  </a:lnTo>
                  <a:lnTo>
                    <a:pt x="40" y="2033"/>
                  </a:lnTo>
                  <a:lnTo>
                    <a:pt x="40" y="2034"/>
                  </a:lnTo>
                  <a:lnTo>
                    <a:pt x="40" y="2036"/>
                  </a:lnTo>
                  <a:lnTo>
                    <a:pt x="40" y="2036"/>
                  </a:lnTo>
                  <a:lnTo>
                    <a:pt x="42" y="2038"/>
                  </a:lnTo>
                  <a:lnTo>
                    <a:pt x="42" y="2039"/>
                  </a:lnTo>
                  <a:lnTo>
                    <a:pt x="42" y="2039"/>
                  </a:lnTo>
                  <a:lnTo>
                    <a:pt x="42" y="2041"/>
                  </a:lnTo>
                  <a:lnTo>
                    <a:pt x="43" y="2042"/>
                  </a:lnTo>
                  <a:lnTo>
                    <a:pt x="43" y="2042"/>
                  </a:lnTo>
                  <a:lnTo>
                    <a:pt x="45" y="2042"/>
                  </a:lnTo>
                  <a:lnTo>
                    <a:pt x="45" y="2042"/>
                  </a:lnTo>
                  <a:lnTo>
                    <a:pt x="45" y="2044"/>
                  </a:lnTo>
                  <a:lnTo>
                    <a:pt x="46" y="2044"/>
                  </a:lnTo>
                  <a:lnTo>
                    <a:pt x="46" y="2044"/>
                  </a:lnTo>
                  <a:lnTo>
                    <a:pt x="48" y="2042"/>
                  </a:lnTo>
                  <a:lnTo>
                    <a:pt x="48" y="2041"/>
                  </a:lnTo>
                  <a:lnTo>
                    <a:pt x="50" y="2039"/>
                  </a:lnTo>
                  <a:lnTo>
                    <a:pt x="50" y="2038"/>
                  </a:lnTo>
                  <a:lnTo>
                    <a:pt x="50" y="2036"/>
                  </a:lnTo>
                  <a:lnTo>
                    <a:pt x="50" y="2036"/>
                  </a:lnTo>
                  <a:lnTo>
                    <a:pt x="50" y="2034"/>
                  </a:lnTo>
                  <a:lnTo>
                    <a:pt x="48" y="2031"/>
                  </a:lnTo>
                  <a:lnTo>
                    <a:pt x="48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5" y="2030"/>
                  </a:lnTo>
                  <a:lnTo>
                    <a:pt x="45" y="2030"/>
                  </a:lnTo>
                  <a:lnTo>
                    <a:pt x="46" y="2030"/>
                  </a:lnTo>
                  <a:lnTo>
                    <a:pt x="45" y="2028"/>
                  </a:lnTo>
                  <a:lnTo>
                    <a:pt x="43" y="2027"/>
                  </a:lnTo>
                  <a:lnTo>
                    <a:pt x="43" y="2025"/>
                  </a:lnTo>
                  <a:lnTo>
                    <a:pt x="43" y="2025"/>
                  </a:lnTo>
                  <a:lnTo>
                    <a:pt x="42" y="2025"/>
                  </a:lnTo>
                  <a:lnTo>
                    <a:pt x="42" y="2027"/>
                  </a:lnTo>
                  <a:lnTo>
                    <a:pt x="43" y="2030"/>
                  </a:lnTo>
                  <a:lnTo>
                    <a:pt x="43" y="2030"/>
                  </a:lnTo>
                  <a:lnTo>
                    <a:pt x="43" y="2030"/>
                  </a:lnTo>
                  <a:lnTo>
                    <a:pt x="43" y="2031"/>
                  </a:lnTo>
                  <a:lnTo>
                    <a:pt x="43" y="2033"/>
                  </a:lnTo>
                  <a:lnTo>
                    <a:pt x="45" y="2034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3" y="2038"/>
                  </a:lnTo>
                  <a:close/>
                  <a:moveTo>
                    <a:pt x="34" y="2014"/>
                  </a:moveTo>
                  <a:lnTo>
                    <a:pt x="36" y="2013"/>
                  </a:lnTo>
                  <a:lnTo>
                    <a:pt x="36" y="2011"/>
                  </a:lnTo>
                  <a:lnTo>
                    <a:pt x="36" y="2008"/>
                  </a:lnTo>
                  <a:lnTo>
                    <a:pt x="34" y="2007"/>
                  </a:lnTo>
                  <a:lnTo>
                    <a:pt x="34" y="2005"/>
                  </a:lnTo>
                  <a:lnTo>
                    <a:pt x="33" y="2004"/>
                  </a:lnTo>
                  <a:lnTo>
                    <a:pt x="31" y="2002"/>
                  </a:lnTo>
                  <a:lnTo>
                    <a:pt x="31" y="2001"/>
                  </a:lnTo>
                  <a:lnTo>
                    <a:pt x="33" y="2001"/>
                  </a:lnTo>
                  <a:lnTo>
                    <a:pt x="34" y="1999"/>
                  </a:lnTo>
                  <a:lnTo>
                    <a:pt x="34" y="1996"/>
                  </a:lnTo>
                  <a:lnTo>
                    <a:pt x="33" y="1991"/>
                  </a:lnTo>
                  <a:lnTo>
                    <a:pt x="26" y="1984"/>
                  </a:lnTo>
                  <a:lnTo>
                    <a:pt x="25" y="1977"/>
                  </a:lnTo>
                  <a:lnTo>
                    <a:pt x="25" y="1977"/>
                  </a:lnTo>
                  <a:lnTo>
                    <a:pt x="25" y="1977"/>
                  </a:lnTo>
                  <a:lnTo>
                    <a:pt x="23" y="1977"/>
                  </a:lnTo>
                  <a:lnTo>
                    <a:pt x="23" y="1979"/>
                  </a:lnTo>
                  <a:lnTo>
                    <a:pt x="23" y="1982"/>
                  </a:lnTo>
                  <a:lnTo>
                    <a:pt x="23" y="1984"/>
                  </a:lnTo>
                  <a:lnTo>
                    <a:pt x="25" y="1985"/>
                  </a:lnTo>
                  <a:lnTo>
                    <a:pt x="25" y="1985"/>
                  </a:lnTo>
                  <a:lnTo>
                    <a:pt x="23" y="1988"/>
                  </a:lnTo>
                  <a:lnTo>
                    <a:pt x="25" y="1990"/>
                  </a:lnTo>
                  <a:lnTo>
                    <a:pt x="25" y="1993"/>
                  </a:lnTo>
                  <a:lnTo>
                    <a:pt x="25" y="1994"/>
                  </a:lnTo>
                  <a:lnTo>
                    <a:pt x="26" y="1994"/>
                  </a:lnTo>
                  <a:lnTo>
                    <a:pt x="28" y="1996"/>
                  </a:lnTo>
                  <a:lnTo>
                    <a:pt x="28" y="1997"/>
                  </a:lnTo>
                  <a:lnTo>
                    <a:pt x="29" y="1996"/>
                  </a:lnTo>
                  <a:lnTo>
                    <a:pt x="28" y="2001"/>
                  </a:lnTo>
                  <a:lnTo>
                    <a:pt x="28" y="1999"/>
                  </a:lnTo>
                  <a:lnTo>
                    <a:pt x="26" y="1999"/>
                  </a:lnTo>
                  <a:lnTo>
                    <a:pt x="22" y="1999"/>
                  </a:lnTo>
                  <a:lnTo>
                    <a:pt x="22" y="2001"/>
                  </a:lnTo>
                  <a:lnTo>
                    <a:pt x="22" y="2002"/>
                  </a:lnTo>
                  <a:lnTo>
                    <a:pt x="23" y="2005"/>
                  </a:lnTo>
                  <a:lnTo>
                    <a:pt x="25" y="2007"/>
                  </a:lnTo>
                  <a:lnTo>
                    <a:pt x="26" y="2010"/>
                  </a:lnTo>
                  <a:lnTo>
                    <a:pt x="28" y="2010"/>
                  </a:lnTo>
                  <a:lnTo>
                    <a:pt x="28" y="2007"/>
                  </a:lnTo>
                  <a:lnTo>
                    <a:pt x="29" y="2008"/>
                  </a:lnTo>
                  <a:lnTo>
                    <a:pt x="31" y="2010"/>
                  </a:lnTo>
                  <a:lnTo>
                    <a:pt x="31" y="2011"/>
                  </a:lnTo>
                  <a:lnTo>
                    <a:pt x="31" y="2014"/>
                  </a:lnTo>
                  <a:lnTo>
                    <a:pt x="31" y="2014"/>
                  </a:lnTo>
                  <a:lnTo>
                    <a:pt x="33" y="2014"/>
                  </a:lnTo>
                  <a:lnTo>
                    <a:pt x="34" y="2014"/>
                  </a:lnTo>
                  <a:close/>
                  <a:moveTo>
                    <a:pt x="36" y="1979"/>
                  </a:moveTo>
                  <a:lnTo>
                    <a:pt x="36" y="1982"/>
                  </a:lnTo>
                  <a:lnTo>
                    <a:pt x="36" y="1984"/>
                  </a:lnTo>
                  <a:lnTo>
                    <a:pt x="37" y="1984"/>
                  </a:lnTo>
                  <a:lnTo>
                    <a:pt x="42" y="1981"/>
                  </a:lnTo>
                  <a:lnTo>
                    <a:pt x="42" y="1979"/>
                  </a:lnTo>
                  <a:lnTo>
                    <a:pt x="42" y="1976"/>
                  </a:lnTo>
                  <a:lnTo>
                    <a:pt x="42" y="1973"/>
                  </a:lnTo>
                  <a:lnTo>
                    <a:pt x="39" y="1968"/>
                  </a:lnTo>
                  <a:lnTo>
                    <a:pt x="29" y="1965"/>
                  </a:lnTo>
                  <a:lnTo>
                    <a:pt x="25" y="1961"/>
                  </a:lnTo>
                  <a:lnTo>
                    <a:pt x="25" y="1961"/>
                  </a:lnTo>
                  <a:lnTo>
                    <a:pt x="25" y="1961"/>
                  </a:lnTo>
                  <a:lnTo>
                    <a:pt x="23" y="1959"/>
                  </a:lnTo>
                  <a:lnTo>
                    <a:pt x="25" y="1965"/>
                  </a:lnTo>
                  <a:lnTo>
                    <a:pt x="26" y="1967"/>
                  </a:lnTo>
                  <a:lnTo>
                    <a:pt x="28" y="1968"/>
                  </a:lnTo>
                  <a:lnTo>
                    <a:pt x="28" y="1968"/>
                  </a:lnTo>
                  <a:lnTo>
                    <a:pt x="29" y="1968"/>
                  </a:lnTo>
                  <a:lnTo>
                    <a:pt x="29" y="1967"/>
                  </a:lnTo>
                  <a:lnTo>
                    <a:pt x="31" y="1968"/>
                  </a:lnTo>
                  <a:lnTo>
                    <a:pt x="31" y="1970"/>
                  </a:lnTo>
                  <a:lnTo>
                    <a:pt x="31" y="1971"/>
                  </a:lnTo>
                  <a:lnTo>
                    <a:pt x="31" y="1971"/>
                  </a:lnTo>
                  <a:lnTo>
                    <a:pt x="33" y="1971"/>
                  </a:lnTo>
                  <a:lnTo>
                    <a:pt x="33" y="1973"/>
                  </a:lnTo>
                  <a:lnTo>
                    <a:pt x="33" y="1973"/>
                  </a:lnTo>
                  <a:lnTo>
                    <a:pt x="33" y="1973"/>
                  </a:lnTo>
                  <a:lnTo>
                    <a:pt x="31" y="1973"/>
                  </a:lnTo>
                  <a:lnTo>
                    <a:pt x="33" y="1974"/>
                  </a:lnTo>
                  <a:lnTo>
                    <a:pt x="37" y="1977"/>
                  </a:lnTo>
                  <a:lnTo>
                    <a:pt x="36" y="1977"/>
                  </a:lnTo>
                  <a:lnTo>
                    <a:pt x="36" y="1979"/>
                  </a:lnTo>
                  <a:close/>
                  <a:moveTo>
                    <a:pt x="16" y="1948"/>
                  </a:moveTo>
                  <a:lnTo>
                    <a:pt x="14" y="1948"/>
                  </a:lnTo>
                  <a:lnTo>
                    <a:pt x="14" y="1948"/>
                  </a:lnTo>
                  <a:lnTo>
                    <a:pt x="14" y="1948"/>
                  </a:lnTo>
                  <a:lnTo>
                    <a:pt x="14" y="1948"/>
                  </a:lnTo>
                  <a:lnTo>
                    <a:pt x="14" y="1947"/>
                  </a:lnTo>
                  <a:lnTo>
                    <a:pt x="14" y="1947"/>
                  </a:lnTo>
                  <a:lnTo>
                    <a:pt x="14" y="1947"/>
                  </a:lnTo>
                  <a:lnTo>
                    <a:pt x="14" y="1945"/>
                  </a:lnTo>
                  <a:lnTo>
                    <a:pt x="14" y="1945"/>
                  </a:lnTo>
                  <a:lnTo>
                    <a:pt x="13" y="1944"/>
                  </a:lnTo>
                  <a:lnTo>
                    <a:pt x="13" y="1944"/>
                  </a:lnTo>
                  <a:lnTo>
                    <a:pt x="11" y="1944"/>
                  </a:lnTo>
                  <a:lnTo>
                    <a:pt x="11" y="1945"/>
                  </a:lnTo>
                  <a:lnTo>
                    <a:pt x="11" y="1945"/>
                  </a:lnTo>
                  <a:lnTo>
                    <a:pt x="11" y="1947"/>
                  </a:lnTo>
                  <a:lnTo>
                    <a:pt x="11" y="1947"/>
                  </a:lnTo>
                  <a:lnTo>
                    <a:pt x="11" y="1948"/>
                  </a:lnTo>
                  <a:lnTo>
                    <a:pt x="11" y="1950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3"/>
                  </a:lnTo>
                  <a:lnTo>
                    <a:pt x="11" y="1953"/>
                  </a:lnTo>
                  <a:lnTo>
                    <a:pt x="11" y="1953"/>
                  </a:lnTo>
                  <a:lnTo>
                    <a:pt x="11" y="1954"/>
                  </a:lnTo>
                  <a:lnTo>
                    <a:pt x="13" y="1954"/>
                  </a:lnTo>
                  <a:lnTo>
                    <a:pt x="14" y="1956"/>
                  </a:lnTo>
                  <a:lnTo>
                    <a:pt x="14" y="1956"/>
                  </a:lnTo>
                  <a:lnTo>
                    <a:pt x="16" y="1954"/>
                  </a:lnTo>
                  <a:lnTo>
                    <a:pt x="16" y="1953"/>
                  </a:lnTo>
                  <a:lnTo>
                    <a:pt x="16" y="1951"/>
                  </a:lnTo>
                  <a:lnTo>
                    <a:pt x="16" y="1951"/>
                  </a:lnTo>
                  <a:lnTo>
                    <a:pt x="16" y="1950"/>
                  </a:lnTo>
                  <a:lnTo>
                    <a:pt x="16" y="1948"/>
                  </a:lnTo>
                  <a:close/>
                  <a:moveTo>
                    <a:pt x="79" y="1951"/>
                  </a:moveTo>
                  <a:lnTo>
                    <a:pt x="79" y="1942"/>
                  </a:lnTo>
                  <a:lnTo>
                    <a:pt x="76" y="1939"/>
                  </a:lnTo>
                  <a:lnTo>
                    <a:pt x="74" y="1939"/>
                  </a:lnTo>
                  <a:lnTo>
                    <a:pt x="73" y="1940"/>
                  </a:lnTo>
                  <a:lnTo>
                    <a:pt x="71" y="1942"/>
                  </a:lnTo>
                  <a:lnTo>
                    <a:pt x="71" y="1944"/>
                  </a:lnTo>
                  <a:lnTo>
                    <a:pt x="71" y="1947"/>
                  </a:lnTo>
                  <a:lnTo>
                    <a:pt x="70" y="1948"/>
                  </a:lnTo>
                  <a:lnTo>
                    <a:pt x="70" y="1950"/>
                  </a:lnTo>
                  <a:lnTo>
                    <a:pt x="68" y="1951"/>
                  </a:lnTo>
                  <a:lnTo>
                    <a:pt x="66" y="1953"/>
                  </a:lnTo>
                  <a:lnTo>
                    <a:pt x="62" y="1954"/>
                  </a:lnTo>
                  <a:lnTo>
                    <a:pt x="59" y="1956"/>
                  </a:lnTo>
                  <a:lnTo>
                    <a:pt x="59" y="1957"/>
                  </a:lnTo>
                  <a:lnTo>
                    <a:pt x="57" y="1959"/>
                  </a:lnTo>
                  <a:lnTo>
                    <a:pt x="57" y="1959"/>
                  </a:lnTo>
                  <a:lnTo>
                    <a:pt x="56" y="1961"/>
                  </a:lnTo>
                  <a:lnTo>
                    <a:pt x="53" y="1961"/>
                  </a:lnTo>
                  <a:lnTo>
                    <a:pt x="51" y="1961"/>
                  </a:lnTo>
                  <a:lnTo>
                    <a:pt x="56" y="1967"/>
                  </a:lnTo>
                  <a:lnTo>
                    <a:pt x="59" y="1971"/>
                  </a:lnTo>
                  <a:lnTo>
                    <a:pt x="60" y="1973"/>
                  </a:lnTo>
                  <a:lnTo>
                    <a:pt x="60" y="1973"/>
                  </a:lnTo>
                  <a:lnTo>
                    <a:pt x="63" y="1976"/>
                  </a:lnTo>
                  <a:lnTo>
                    <a:pt x="65" y="1977"/>
                  </a:lnTo>
                  <a:lnTo>
                    <a:pt x="66" y="1977"/>
                  </a:lnTo>
                  <a:lnTo>
                    <a:pt x="73" y="1977"/>
                  </a:lnTo>
                  <a:lnTo>
                    <a:pt x="73" y="1976"/>
                  </a:lnTo>
                  <a:lnTo>
                    <a:pt x="73" y="1974"/>
                  </a:lnTo>
                  <a:lnTo>
                    <a:pt x="73" y="1973"/>
                  </a:lnTo>
                  <a:lnTo>
                    <a:pt x="74" y="1973"/>
                  </a:lnTo>
                  <a:lnTo>
                    <a:pt x="76" y="1973"/>
                  </a:lnTo>
                  <a:lnTo>
                    <a:pt x="77" y="1973"/>
                  </a:lnTo>
                  <a:lnTo>
                    <a:pt x="77" y="1971"/>
                  </a:lnTo>
                  <a:lnTo>
                    <a:pt x="77" y="1964"/>
                  </a:lnTo>
                  <a:lnTo>
                    <a:pt x="77" y="1961"/>
                  </a:lnTo>
                  <a:lnTo>
                    <a:pt x="77" y="1954"/>
                  </a:lnTo>
                  <a:lnTo>
                    <a:pt x="79" y="1951"/>
                  </a:lnTo>
                  <a:close/>
                  <a:moveTo>
                    <a:pt x="22" y="1913"/>
                  </a:moveTo>
                  <a:lnTo>
                    <a:pt x="22" y="1913"/>
                  </a:lnTo>
                  <a:lnTo>
                    <a:pt x="22" y="1913"/>
                  </a:lnTo>
                  <a:lnTo>
                    <a:pt x="20" y="1913"/>
                  </a:lnTo>
                  <a:lnTo>
                    <a:pt x="22" y="1911"/>
                  </a:lnTo>
                  <a:lnTo>
                    <a:pt x="22" y="1911"/>
                  </a:lnTo>
                  <a:lnTo>
                    <a:pt x="19" y="1907"/>
                  </a:lnTo>
                  <a:lnTo>
                    <a:pt x="19" y="1905"/>
                  </a:lnTo>
                  <a:lnTo>
                    <a:pt x="17" y="1905"/>
                  </a:lnTo>
                  <a:lnTo>
                    <a:pt x="17" y="1904"/>
                  </a:lnTo>
                  <a:lnTo>
                    <a:pt x="17" y="1904"/>
                  </a:lnTo>
                  <a:lnTo>
                    <a:pt x="19" y="1904"/>
                  </a:lnTo>
                  <a:lnTo>
                    <a:pt x="19" y="1904"/>
                  </a:lnTo>
                  <a:lnTo>
                    <a:pt x="17" y="1902"/>
                  </a:lnTo>
                  <a:lnTo>
                    <a:pt x="16" y="1902"/>
                  </a:lnTo>
                  <a:lnTo>
                    <a:pt x="14" y="1904"/>
                  </a:lnTo>
                  <a:lnTo>
                    <a:pt x="14" y="1904"/>
                  </a:lnTo>
                  <a:lnTo>
                    <a:pt x="14" y="1902"/>
                  </a:lnTo>
                  <a:lnTo>
                    <a:pt x="16" y="1902"/>
                  </a:lnTo>
                  <a:lnTo>
                    <a:pt x="14" y="1900"/>
                  </a:lnTo>
                  <a:lnTo>
                    <a:pt x="11" y="1902"/>
                  </a:lnTo>
                  <a:lnTo>
                    <a:pt x="11" y="1902"/>
                  </a:lnTo>
                  <a:lnTo>
                    <a:pt x="11" y="1904"/>
                  </a:lnTo>
                  <a:lnTo>
                    <a:pt x="11" y="1904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3" y="1905"/>
                  </a:lnTo>
                  <a:lnTo>
                    <a:pt x="13" y="1905"/>
                  </a:lnTo>
                  <a:lnTo>
                    <a:pt x="13" y="1905"/>
                  </a:lnTo>
                  <a:lnTo>
                    <a:pt x="14" y="1905"/>
                  </a:lnTo>
                  <a:lnTo>
                    <a:pt x="14" y="1905"/>
                  </a:lnTo>
                  <a:lnTo>
                    <a:pt x="14" y="1905"/>
                  </a:lnTo>
                  <a:lnTo>
                    <a:pt x="14" y="1907"/>
                  </a:lnTo>
                  <a:lnTo>
                    <a:pt x="14" y="1907"/>
                  </a:lnTo>
                  <a:lnTo>
                    <a:pt x="14" y="1908"/>
                  </a:lnTo>
                  <a:lnTo>
                    <a:pt x="16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1"/>
                  </a:lnTo>
                  <a:lnTo>
                    <a:pt x="17" y="1913"/>
                  </a:lnTo>
                  <a:lnTo>
                    <a:pt x="19" y="1914"/>
                  </a:lnTo>
                  <a:lnTo>
                    <a:pt x="20" y="1914"/>
                  </a:lnTo>
                  <a:lnTo>
                    <a:pt x="22" y="1914"/>
                  </a:lnTo>
                  <a:lnTo>
                    <a:pt x="22" y="1914"/>
                  </a:lnTo>
                  <a:lnTo>
                    <a:pt x="22" y="1913"/>
                  </a:lnTo>
                  <a:close/>
                  <a:moveTo>
                    <a:pt x="6" y="1887"/>
                  </a:moveTo>
                  <a:lnTo>
                    <a:pt x="5" y="1885"/>
                  </a:lnTo>
                  <a:lnTo>
                    <a:pt x="5" y="1884"/>
                  </a:lnTo>
                  <a:lnTo>
                    <a:pt x="6" y="1884"/>
                  </a:lnTo>
                  <a:lnTo>
                    <a:pt x="5" y="1882"/>
                  </a:lnTo>
                  <a:lnTo>
                    <a:pt x="5" y="1880"/>
                  </a:lnTo>
                  <a:lnTo>
                    <a:pt x="5" y="1879"/>
                  </a:lnTo>
                  <a:lnTo>
                    <a:pt x="3" y="1879"/>
                  </a:lnTo>
                  <a:lnTo>
                    <a:pt x="3" y="1880"/>
                  </a:lnTo>
                  <a:lnTo>
                    <a:pt x="3" y="1880"/>
                  </a:lnTo>
                  <a:lnTo>
                    <a:pt x="2" y="1882"/>
                  </a:lnTo>
                  <a:lnTo>
                    <a:pt x="2" y="1882"/>
                  </a:lnTo>
                  <a:lnTo>
                    <a:pt x="2" y="1882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5"/>
                  </a:lnTo>
                  <a:lnTo>
                    <a:pt x="0" y="1887"/>
                  </a:lnTo>
                  <a:lnTo>
                    <a:pt x="0" y="1888"/>
                  </a:lnTo>
                  <a:lnTo>
                    <a:pt x="2" y="1890"/>
                  </a:lnTo>
                  <a:lnTo>
                    <a:pt x="2" y="1890"/>
                  </a:lnTo>
                  <a:lnTo>
                    <a:pt x="2" y="1890"/>
                  </a:lnTo>
                  <a:lnTo>
                    <a:pt x="2" y="1891"/>
                  </a:lnTo>
                  <a:lnTo>
                    <a:pt x="3" y="1893"/>
                  </a:lnTo>
                  <a:lnTo>
                    <a:pt x="3" y="1893"/>
                  </a:lnTo>
                  <a:lnTo>
                    <a:pt x="3" y="1891"/>
                  </a:lnTo>
                  <a:lnTo>
                    <a:pt x="5" y="1891"/>
                  </a:lnTo>
                  <a:lnTo>
                    <a:pt x="5" y="1890"/>
                  </a:lnTo>
                  <a:lnTo>
                    <a:pt x="5" y="1890"/>
                  </a:lnTo>
                  <a:lnTo>
                    <a:pt x="5" y="1891"/>
                  </a:lnTo>
                  <a:lnTo>
                    <a:pt x="5" y="1891"/>
                  </a:lnTo>
                  <a:lnTo>
                    <a:pt x="5" y="1893"/>
                  </a:lnTo>
                  <a:lnTo>
                    <a:pt x="5" y="1894"/>
                  </a:lnTo>
                  <a:lnTo>
                    <a:pt x="6" y="1894"/>
                  </a:lnTo>
                  <a:lnTo>
                    <a:pt x="6" y="1893"/>
                  </a:lnTo>
                  <a:lnTo>
                    <a:pt x="8" y="1890"/>
                  </a:lnTo>
                  <a:lnTo>
                    <a:pt x="8" y="1888"/>
                  </a:lnTo>
                  <a:lnTo>
                    <a:pt x="6" y="1887"/>
                  </a:lnTo>
                  <a:lnTo>
                    <a:pt x="6" y="1887"/>
                  </a:lnTo>
                  <a:close/>
                  <a:moveTo>
                    <a:pt x="11" y="1873"/>
                  </a:moveTo>
                  <a:lnTo>
                    <a:pt x="11" y="1874"/>
                  </a:lnTo>
                  <a:lnTo>
                    <a:pt x="11" y="1879"/>
                  </a:lnTo>
                  <a:lnTo>
                    <a:pt x="11" y="1882"/>
                  </a:lnTo>
                  <a:lnTo>
                    <a:pt x="13" y="1885"/>
                  </a:lnTo>
                  <a:lnTo>
                    <a:pt x="13" y="1884"/>
                  </a:lnTo>
                  <a:lnTo>
                    <a:pt x="13" y="1884"/>
                  </a:lnTo>
                  <a:lnTo>
                    <a:pt x="13" y="1882"/>
                  </a:lnTo>
                  <a:lnTo>
                    <a:pt x="14" y="1880"/>
                  </a:lnTo>
                  <a:lnTo>
                    <a:pt x="14" y="1880"/>
                  </a:lnTo>
                  <a:lnTo>
                    <a:pt x="16" y="1877"/>
                  </a:lnTo>
                  <a:lnTo>
                    <a:pt x="16" y="1877"/>
                  </a:lnTo>
                  <a:lnTo>
                    <a:pt x="17" y="1879"/>
                  </a:lnTo>
                  <a:lnTo>
                    <a:pt x="19" y="1882"/>
                  </a:lnTo>
                  <a:lnTo>
                    <a:pt x="19" y="1884"/>
                  </a:lnTo>
                  <a:lnTo>
                    <a:pt x="20" y="1882"/>
                  </a:lnTo>
                  <a:lnTo>
                    <a:pt x="22" y="1880"/>
                  </a:lnTo>
                  <a:lnTo>
                    <a:pt x="25" y="1877"/>
                  </a:lnTo>
                  <a:lnTo>
                    <a:pt x="26" y="1876"/>
                  </a:lnTo>
                  <a:lnTo>
                    <a:pt x="26" y="1874"/>
                  </a:lnTo>
                  <a:lnTo>
                    <a:pt x="23" y="1865"/>
                  </a:lnTo>
                  <a:lnTo>
                    <a:pt x="23" y="1864"/>
                  </a:lnTo>
                  <a:lnTo>
                    <a:pt x="23" y="1864"/>
                  </a:lnTo>
                  <a:lnTo>
                    <a:pt x="22" y="1862"/>
                  </a:lnTo>
                  <a:lnTo>
                    <a:pt x="20" y="1864"/>
                  </a:lnTo>
                  <a:lnTo>
                    <a:pt x="22" y="1864"/>
                  </a:lnTo>
                  <a:lnTo>
                    <a:pt x="22" y="1865"/>
                  </a:lnTo>
                  <a:lnTo>
                    <a:pt x="22" y="1865"/>
                  </a:lnTo>
                  <a:lnTo>
                    <a:pt x="22" y="1865"/>
                  </a:lnTo>
                  <a:lnTo>
                    <a:pt x="20" y="1867"/>
                  </a:lnTo>
                  <a:lnTo>
                    <a:pt x="20" y="1867"/>
                  </a:lnTo>
                  <a:lnTo>
                    <a:pt x="19" y="1867"/>
                  </a:lnTo>
                  <a:lnTo>
                    <a:pt x="20" y="1867"/>
                  </a:lnTo>
                  <a:lnTo>
                    <a:pt x="20" y="1868"/>
                  </a:lnTo>
                  <a:lnTo>
                    <a:pt x="20" y="1870"/>
                  </a:lnTo>
                  <a:lnTo>
                    <a:pt x="20" y="1871"/>
                  </a:lnTo>
                  <a:lnTo>
                    <a:pt x="19" y="1871"/>
                  </a:lnTo>
                  <a:lnTo>
                    <a:pt x="19" y="1870"/>
                  </a:lnTo>
                  <a:lnTo>
                    <a:pt x="19" y="1867"/>
                  </a:lnTo>
                  <a:lnTo>
                    <a:pt x="17" y="1862"/>
                  </a:lnTo>
                  <a:lnTo>
                    <a:pt x="17" y="1860"/>
                  </a:lnTo>
                  <a:lnTo>
                    <a:pt x="16" y="1862"/>
                  </a:lnTo>
                  <a:lnTo>
                    <a:pt x="17" y="1870"/>
                  </a:lnTo>
                  <a:lnTo>
                    <a:pt x="17" y="1871"/>
                  </a:lnTo>
                  <a:lnTo>
                    <a:pt x="17" y="1874"/>
                  </a:lnTo>
                  <a:lnTo>
                    <a:pt x="16" y="1873"/>
                  </a:lnTo>
                  <a:lnTo>
                    <a:pt x="14" y="1867"/>
                  </a:lnTo>
                  <a:lnTo>
                    <a:pt x="14" y="1868"/>
                  </a:lnTo>
                  <a:lnTo>
                    <a:pt x="11" y="1868"/>
                  </a:lnTo>
                  <a:lnTo>
                    <a:pt x="11" y="1870"/>
                  </a:lnTo>
                  <a:lnTo>
                    <a:pt x="11" y="1871"/>
                  </a:lnTo>
                  <a:lnTo>
                    <a:pt x="11" y="1873"/>
                  </a:lnTo>
                  <a:close/>
                  <a:moveTo>
                    <a:pt x="17" y="1782"/>
                  </a:moveTo>
                  <a:lnTo>
                    <a:pt x="17" y="1782"/>
                  </a:lnTo>
                  <a:lnTo>
                    <a:pt x="16" y="1783"/>
                  </a:lnTo>
                  <a:lnTo>
                    <a:pt x="16" y="1783"/>
                  </a:lnTo>
                  <a:lnTo>
                    <a:pt x="14" y="1783"/>
                  </a:lnTo>
                  <a:lnTo>
                    <a:pt x="14" y="1785"/>
                  </a:lnTo>
                  <a:lnTo>
                    <a:pt x="14" y="1785"/>
                  </a:lnTo>
                  <a:lnTo>
                    <a:pt x="14" y="1787"/>
                  </a:lnTo>
                  <a:lnTo>
                    <a:pt x="14" y="1788"/>
                  </a:lnTo>
                  <a:lnTo>
                    <a:pt x="16" y="1788"/>
                  </a:lnTo>
                  <a:lnTo>
                    <a:pt x="16" y="1790"/>
                  </a:lnTo>
                  <a:lnTo>
                    <a:pt x="16" y="1790"/>
                  </a:lnTo>
                  <a:lnTo>
                    <a:pt x="16" y="1790"/>
                  </a:lnTo>
                  <a:lnTo>
                    <a:pt x="17" y="1790"/>
                  </a:lnTo>
                  <a:lnTo>
                    <a:pt x="19" y="1790"/>
                  </a:lnTo>
                  <a:lnTo>
                    <a:pt x="19" y="1790"/>
                  </a:lnTo>
                  <a:lnTo>
                    <a:pt x="19" y="1790"/>
                  </a:lnTo>
                  <a:lnTo>
                    <a:pt x="20" y="1791"/>
                  </a:lnTo>
                  <a:lnTo>
                    <a:pt x="20" y="1791"/>
                  </a:lnTo>
                  <a:lnTo>
                    <a:pt x="20" y="1790"/>
                  </a:lnTo>
                  <a:lnTo>
                    <a:pt x="20" y="1788"/>
                  </a:lnTo>
                  <a:lnTo>
                    <a:pt x="19" y="1787"/>
                  </a:lnTo>
                  <a:lnTo>
                    <a:pt x="19" y="1785"/>
                  </a:lnTo>
                  <a:lnTo>
                    <a:pt x="19" y="1785"/>
                  </a:lnTo>
                  <a:lnTo>
                    <a:pt x="17" y="1783"/>
                  </a:lnTo>
                  <a:lnTo>
                    <a:pt x="17" y="1782"/>
                  </a:lnTo>
                  <a:lnTo>
                    <a:pt x="17" y="1782"/>
                  </a:lnTo>
                  <a:close/>
                  <a:moveTo>
                    <a:pt x="19" y="1763"/>
                  </a:moveTo>
                  <a:lnTo>
                    <a:pt x="22" y="1763"/>
                  </a:lnTo>
                  <a:lnTo>
                    <a:pt x="20" y="1765"/>
                  </a:lnTo>
                  <a:lnTo>
                    <a:pt x="20" y="1766"/>
                  </a:lnTo>
                  <a:lnTo>
                    <a:pt x="19" y="1766"/>
                  </a:lnTo>
                  <a:lnTo>
                    <a:pt x="19" y="1766"/>
                  </a:lnTo>
                  <a:lnTo>
                    <a:pt x="17" y="1766"/>
                  </a:lnTo>
                  <a:lnTo>
                    <a:pt x="17" y="1768"/>
                  </a:lnTo>
                  <a:lnTo>
                    <a:pt x="19" y="1771"/>
                  </a:lnTo>
                  <a:lnTo>
                    <a:pt x="20" y="1771"/>
                  </a:lnTo>
                  <a:lnTo>
                    <a:pt x="28" y="1768"/>
                  </a:lnTo>
                  <a:lnTo>
                    <a:pt x="31" y="1766"/>
                  </a:lnTo>
                  <a:lnTo>
                    <a:pt x="34" y="1763"/>
                  </a:lnTo>
                  <a:lnTo>
                    <a:pt x="36" y="1759"/>
                  </a:lnTo>
                  <a:lnTo>
                    <a:pt x="37" y="1760"/>
                  </a:lnTo>
                  <a:lnTo>
                    <a:pt x="37" y="1762"/>
                  </a:lnTo>
                  <a:lnTo>
                    <a:pt x="37" y="1763"/>
                  </a:lnTo>
                  <a:lnTo>
                    <a:pt x="36" y="1765"/>
                  </a:lnTo>
                  <a:lnTo>
                    <a:pt x="40" y="1763"/>
                  </a:lnTo>
                  <a:lnTo>
                    <a:pt x="42" y="1763"/>
                  </a:lnTo>
                  <a:lnTo>
                    <a:pt x="43" y="1760"/>
                  </a:lnTo>
                  <a:lnTo>
                    <a:pt x="23" y="1753"/>
                  </a:lnTo>
                  <a:lnTo>
                    <a:pt x="20" y="1753"/>
                  </a:lnTo>
                  <a:lnTo>
                    <a:pt x="17" y="1754"/>
                  </a:lnTo>
                  <a:lnTo>
                    <a:pt x="17" y="1757"/>
                  </a:lnTo>
                  <a:lnTo>
                    <a:pt x="16" y="1759"/>
                  </a:lnTo>
                  <a:lnTo>
                    <a:pt x="14" y="1760"/>
                  </a:lnTo>
                  <a:lnTo>
                    <a:pt x="13" y="1762"/>
                  </a:lnTo>
                  <a:lnTo>
                    <a:pt x="14" y="1762"/>
                  </a:lnTo>
                  <a:lnTo>
                    <a:pt x="19" y="1763"/>
                  </a:lnTo>
                  <a:close/>
                  <a:moveTo>
                    <a:pt x="26" y="1736"/>
                  </a:moveTo>
                  <a:lnTo>
                    <a:pt x="26" y="1736"/>
                  </a:lnTo>
                  <a:lnTo>
                    <a:pt x="26" y="1737"/>
                  </a:lnTo>
                  <a:lnTo>
                    <a:pt x="31" y="1740"/>
                  </a:lnTo>
                  <a:lnTo>
                    <a:pt x="31" y="1743"/>
                  </a:lnTo>
                  <a:lnTo>
                    <a:pt x="31" y="1743"/>
                  </a:lnTo>
                  <a:lnTo>
                    <a:pt x="29" y="1743"/>
                  </a:lnTo>
                  <a:lnTo>
                    <a:pt x="29" y="1742"/>
                  </a:lnTo>
                  <a:lnTo>
                    <a:pt x="28" y="1743"/>
                  </a:lnTo>
                  <a:lnTo>
                    <a:pt x="28" y="1743"/>
                  </a:lnTo>
                  <a:lnTo>
                    <a:pt x="28" y="1745"/>
                  </a:lnTo>
                  <a:lnTo>
                    <a:pt x="28" y="1746"/>
                  </a:lnTo>
                  <a:lnTo>
                    <a:pt x="29" y="1746"/>
                  </a:lnTo>
                  <a:lnTo>
                    <a:pt x="29" y="1746"/>
                  </a:lnTo>
                  <a:lnTo>
                    <a:pt x="33" y="1748"/>
                  </a:lnTo>
                  <a:lnTo>
                    <a:pt x="34" y="1748"/>
                  </a:lnTo>
                  <a:lnTo>
                    <a:pt x="36" y="1746"/>
                  </a:lnTo>
                  <a:lnTo>
                    <a:pt x="36" y="1745"/>
                  </a:lnTo>
                  <a:lnTo>
                    <a:pt x="36" y="1743"/>
                  </a:lnTo>
                  <a:lnTo>
                    <a:pt x="37" y="1742"/>
                  </a:lnTo>
                  <a:lnTo>
                    <a:pt x="37" y="1740"/>
                  </a:lnTo>
                  <a:lnTo>
                    <a:pt x="37" y="1739"/>
                  </a:lnTo>
                  <a:lnTo>
                    <a:pt x="39" y="1737"/>
                  </a:lnTo>
                  <a:lnTo>
                    <a:pt x="37" y="1733"/>
                  </a:lnTo>
                  <a:lnTo>
                    <a:pt x="36" y="1733"/>
                  </a:lnTo>
                  <a:lnTo>
                    <a:pt x="34" y="1733"/>
                  </a:lnTo>
                  <a:lnTo>
                    <a:pt x="34" y="1734"/>
                  </a:lnTo>
                  <a:lnTo>
                    <a:pt x="33" y="1734"/>
                  </a:lnTo>
                  <a:lnTo>
                    <a:pt x="33" y="1736"/>
                  </a:lnTo>
                  <a:lnTo>
                    <a:pt x="33" y="1736"/>
                  </a:lnTo>
                  <a:lnTo>
                    <a:pt x="28" y="1731"/>
                  </a:lnTo>
                  <a:lnTo>
                    <a:pt x="26" y="1731"/>
                  </a:lnTo>
                  <a:lnTo>
                    <a:pt x="26" y="1731"/>
                  </a:lnTo>
                  <a:lnTo>
                    <a:pt x="26" y="1733"/>
                  </a:lnTo>
                  <a:lnTo>
                    <a:pt x="26" y="1734"/>
                  </a:lnTo>
                  <a:lnTo>
                    <a:pt x="26" y="1736"/>
                  </a:lnTo>
                  <a:close/>
                  <a:moveTo>
                    <a:pt x="65" y="1703"/>
                  </a:moveTo>
                  <a:lnTo>
                    <a:pt x="66" y="1703"/>
                  </a:lnTo>
                  <a:lnTo>
                    <a:pt x="66" y="1705"/>
                  </a:lnTo>
                  <a:lnTo>
                    <a:pt x="66" y="1705"/>
                  </a:lnTo>
                  <a:lnTo>
                    <a:pt x="68" y="1706"/>
                  </a:lnTo>
                  <a:lnTo>
                    <a:pt x="79" y="1706"/>
                  </a:lnTo>
                  <a:lnTo>
                    <a:pt x="85" y="1703"/>
                  </a:lnTo>
                  <a:lnTo>
                    <a:pt x="86" y="1702"/>
                  </a:lnTo>
                  <a:lnTo>
                    <a:pt x="86" y="1702"/>
                  </a:lnTo>
                  <a:lnTo>
                    <a:pt x="86" y="1700"/>
                  </a:lnTo>
                  <a:lnTo>
                    <a:pt x="86" y="1700"/>
                  </a:lnTo>
                  <a:lnTo>
                    <a:pt x="85" y="1699"/>
                  </a:lnTo>
                  <a:lnTo>
                    <a:pt x="85" y="1699"/>
                  </a:lnTo>
                  <a:lnTo>
                    <a:pt x="85" y="1697"/>
                  </a:lnTo>
                  <a:lnTo>
                    <a:pt x="85" y="1697"/>
                  </a:lnTo>
                  <a:lnTo>
                    <a:pt x="85" y="1696"/>
                  </a:lnTo>
                  <a:lnTo>
                    <a:pt x="86" y="1694"/>
                  </a:lnTo>
                  <a:lnTo>
                    <a:pt x="86" y="1694"/>
                  </a:lnTo>
                  <a:lnTo>
                    <a:pt x="86" y="1693"/>
                  </a:lnTo>
                  <a:lnTo>
                    <a:pt x="85" y="1691"/>
                  </a:lnTo>
                  <a:lnTo>
                    <a:pt x="82" y="1693"/>
                  </a:lnTo>
                  <a:lnTo>
                    <a:pt x="80" y="1691"/>
                  </a:lnTo>
                  <a:lnTo>
                    <a:pt x="80" y="1691"/>
                  </a:lnTo>
                  <a:lnTo>
                    <a:pt x="80" y="1689"/>
                  </a:lnTo>
                  <a:lnTo>
                    <a:pt x="79" y="1689"/>
                  </a:lnTo>
                  <a:lnTo>
                    <a:pt x="79" y="1688"/>
                  </a:lnTo>
                  <a:lnTo>
                    <a:pt x="79" y="1689"/>
                  </a:lnTo>
                  <a:lnTo>
                    <a:pt x="77" y="1689"/>
                  </a:lnTo>
                  <a:lnTo>
                    <a:pt x="77" y="1689"/>
                  </a:lnTo>
                  <a:lnTo>
                    <a:pt x="71" y="1689"/>
                  </a:lnTo>
                  <a:lnTo>
                    <a:pt x="70" y="1689"/>
                  </a:lnTo>
                  <a:lnTo>
                    <a:pt x="68" y="1693"/>
                  </a:lnTo>
                  <a:lnTo>
                    <a:pt x="68" y="1694"/>
                  </a:lnTo>
                  <a:lnTo>
                    <a:pt x="68" y="1694"/>
                  </a:lnTo>
                  <a:lnTo>
                    <a:pt x="68" y="1694"/>
                  </a:lnTo>
                  <a:lnTo>
                    <a:pt x="68" y="1696"/>
                  </a:lnTo>
                  <a:lnTo>
                    <a:pt x="66" y="1696"/>
                  </a:lnTo>
                  <a:lnTo>
                    <a:pt x="66" y="1697"/>
                  </a:lnTo>
                  <a:lnTo>
                    <a:pt x="65" y="1697"/>
                  </a:lnTo>
                  <a:lnTo>
                    <a:pt x="66" y="1699"/>
                  </a:lnTo>
                  <a:lnTo>
                    <a:pt x="70" y="1699"/>
                  </a:lnTo>
                  <a:lnTo>
                    <a:pt x="71" y="1700"/>
                  </a:lnTo>
                  <a:lnTo>
                    <a:pt x="73" y="1700"/>
                  </a:lnTo>
                  <a:lnTo>
                    <a:pt x="70" y="1702"/>
                  </a:lnTo>
                  <a:lnTo>
                    <a:pt x="65" y="1700"/>
                  </a:lnTo>
                  <a:lnTo>
                    <a:pt x="65" y="1702"/>
                  </a:lnTo>
                  <a:lnTo>
                    <a:pt x="65" y="1703"/>
                  </a:lnTo>
                  <a:close/>
                  <a:moveTo>
                    <a:pt x="74" y="1685"/>
                  </a:moveTo>
                  <a:lnTo>
                    <a:pt x="76" y="1685"/>
                  </a:lnTo>
                  <a:lnTo>
                    <a:pt x="76" y="1685"/>
                  </a:lnTo>
                  <a:lnTo>
                    <a:pt x="76" y="1685"/>
                  </a:lnTo>
                  <a:lnTo>
                    <a:pt x="77" y="1683"/>
                  </a:lnTo>
                  <a:lnTo>
                    <a:pt x="77" y="1685"/>
                  </a:lnTo>
                  <a:lnTo>
                    <a:pt x="77" y="1685"/>
                  </a:lnTo>
                  <a:lnTo>
                    <a:pt x="79" y="1685"/>
                  </a:lnTo>
                  <a:lnTo>
                    <a:pt x="82" y="1685"/>
                  </a:lnTo>
                  <a:lnTo>
                    <a:pt x="82" y="1683"/>
                  </a:lnTo>
                  <a:lnTo>
                    <a:pt x="82" y="1683"/>
                  </a:lnTo>
                  <a:lnTo>
                    <a:pt x="82" y="1683"/>
                  </a:lnTo>
                  <a:lnTo>
                    <a:pt x="82" y="1680"/>
                  </a:lnTo>
                  <a:lnTo>
                    <a:pt x="82" y="1679"/>
                  </a:lnTo>
                  <a:lnTo>
                    <a:pt x="82" y="1679"/>
                  </a:lnTo>
                  <a:lnTo>
                    <a:pt x="80" y="1679"/>
                  </a:lnTo>
                  <a:lnTo>
                    <a:pt x="80" y="1679"/>
                  </a:lnTo>
                  <a:lnTo>
                    <a:pt x="80" y="1679"/>
                  </a:lnTo>
                  <a:lnTo>
                    <a:pt x="79" y="1679"/>
                  </a:lnTo>
                  <a:lnTo>
                    <a:pt x="77" y="1679"/>
                  </a:lnTo>
                  <a:lnTo>
                    <a:pt x="77" y="1680"/>
                  </a:lnTo>
                  <a:lnTo>
                    <a:pt x="77" y="1682"/>
                  </a:lnTo>
                  <a:lnTo>
                    <a:pt x="77" y="1682"/>
                  </a:lnTo>
                  <a:lnTo>
                    <a:pt x="76" y="1682"/>
                  </a:lnTo>
                  <a:lnTo>
                    <a:pt x="74" y="1682"/>
                  </a:lnTo>
                  <a:lnTo>
                    <a:pt x="73" y="1683"/>
                  </a:lnTo>
                  <a:lnTo>
                    <a:pt x="71" y="1685"/>
                  </a:lnTo>
                  <a:lnTo>
                    <a:pt x="73" y="1685"/>
                  </a:lnTo>
                  <a:lnTo>
                    <a:pt x="74" y="1685"/>
                  </a:lnTo>
                  <a:close/>
                  <a:moveTo>
                    <a:pt x="65" y="1682"/>
                  </a:moveTo>
                  <a:lnTo>
                    <a:pt x="65" y="1682"/>
                  </a:lnTo>
                  <a:lnTo>
                    <a:pt x="65" y="1683"/>
                  </a:lnTo>
                  <a:lnTo>
                    <a:pt x="68" y="1683"/>
                  </a:lnTo>
                  <a:lnTo>
                    <a:pt x="70" y="1683"/>
                  </a:lnTo>
                  <a:lnTo>
                    <a:pt x="71" y="1682"/>
                  </a:lnTo>
                  <a:lnTo>
                    <a:pt x="71" y="1682"/>
                  </a:lnTo>
                  <a:lnTo>
                    <a:pt x="71" y="1680"/>
                  </a:lnTo>
                  <a:lnTo>
                    <a:pt x="70" y="1679"/>
                  </a:lnTo>
                  <a:lnTo>
                    <a:pt x="70" y="1679"/>
                  </a:lnTo>
                  <a:lnTo>
                    <a:pt x="68" y="1677"/>
                  </a:lnTo>
                  <a:lnTo>
                    <a:pt x="66" y="1677"/>
                  </a:lnTo>
                  <a:lnTo>
                    <a:pt x="65" y="1679"/>
                  </a:lnTo>
                  <a:lnTo>
                    <a:pt x="65" y="1680"/>
                  </a:lnTo>
                  <a:lnTo>
                    <a:pt x="65" y="1682"/>
                  </a:lnTo>
                  <a:close/>
                  <a:moveTo>
                    <a:pt x="88" y="1683"/>
                  </a:moveTo>
                  <a:lnTo>
                    <a:pt x="90" y="1686"/>
                  </a:lnTo>
                  <a:lnTo>
                    <a:pt x="90" y="1691"/>
                  </a:lnTo>
                  <a:lnTo>
                    <a:pt x="90" y="1691"/>
                  </a:lnTo>
                  <a:lnTo>
                    <a:pt x="90" y="1691"/>
                  </a:lnTo>
                  <a:lnTo>
                    <a:pt x="90" y="1693"/>
                  </a:lnTo>
                  <a:lnTo>
                    <a:pt x="90" y="1694"/>
                  </a:lnTo>
                  <a:lnTo>
                    <a:pt x="88" y="1696"/>
                  </a:lnTo>
                  <a:lnTo>
                    <a:pt x="88" y="1697"/>
                  </a:lnTo>
                  <a:lnTo>
                    <a:pt x="93" y="1696"/>
                  </a:lnTo>
                  <a:lnTo>
                    <a:pt x="103" y="1683"/>
                  </a:lnTo>
                  <a:lnTo>
                    <a:pt x="105" y="1682"/>
                  </a:lnTo>
                  <a:lnTo>
                    <a:pt x="106" y="1682"/>
                  </a:lnTo>
                  <a:lnTo>
                    <a:pt x="106" y="1682"/>
                  </a:lnTo>
                  <a:lnTo>
                    <a:pt x="106" y="1680"/>
                  </a:lnTo>
                  <a:lnTo>
                    <a:pt x="103" y="1679"/>
                  </a:lnTo>
                  <a:lnTo>
                    <a:pt x="102" y="1679"/>
                  </a:lnTo>
                  <a:lnTo>
                    <a:pt x="102" y="1679"/>
                  </a:lnTo>
                  <a:lnTo>
                    <a:pt x="100" y="1677"/>
                  </a:lnTo>
                  <a:lnTo>
                    <a:pt x="100" y="1676"/>
                  </a:lnTo>
                  <a:lnTo>
                    <a:pt x="100" y="1673"/>
                  </a:lnTo>
                  <a:lnTo>
                    <a:pt x="99" y="1669"/>
                  </a:lnTo>
                  <a:lnTo>
                    <a:pt x="97" y="1668"/>
                  </a:lnTo>
                  <a:lnTo>
                    <a:pt x="96" y="1668"/>
                  </a:lnTo>
                  <a:lnTo>
                    <a:pt x="93" y="1669"/>
                  </a:lnTo>
                  <a:lnTo>
                    <a:pt x="91" y="1669"/>
                  </a:lnTo>
                  <a:lnTo>
                    <a:pt x="90" y="1673"/>
                  </a:lnTo>
                  <a:lnTo>
                    <a:pt x="88" y="1676"/>
                  </a:lnTo>
                  <a:lnTo>
                    <a:pt x="86" y="1679"/>
                  </a:lnTo>
                  <a:lnTo>
                    <a:pt x="88" y="1682"/>
                  </a:lnTo>
                  <a:lnTo>
                    <a:pt x="88" y="1683"/>
                  </a:lnTo>
                  <a:close/>
                  <a:moveTo>
                    <a:pt x="114" y="1673"/>
                  </a:moveTo>
                  <a:lnTo>
                    <a:pt x="125" y="1673"/>
                  </a:lnTo>
                  <a:lnTo>
                    <a:pt x="125" y="1671"/>
                  </a:lnTo>
                  <a:lnTo>
                    <a:pt x="125" y="1671"/>
                  </a:lnTo>
                  <a:lnTo>
                    <a:pt x="125" y="1671"/>
                  </a:lnTo>
                  <a:lnTo>
                    <a:pt x="127" y="1671"/>
                  </a:lnTo>
                  <a:lnTo>
                    <a:pt x="125" y="1669"/>
                  </a:lnTo>
                  <a:lnTo>
                    <a:pt x="123" y="1668"/>
                  </a:lnTo>
                  <a:lnTo>
                    <a:pt x="120" y="1669"/>
                  </a:lnTo>
                  <a:lnTo>
                    <a:pt x="117" y="1666"/>
                  </a:lnTo>
                  <a:lnTo>
                    <a:pt x="116" y="1665"/>
                  </a:lnTo>
                  <a:lnTo>
                    <a:pt x="103" y="1666"/>
                  </a:lnTo>
                  <a:lnTo>
                    <a:pt x="108" y="1673"/>
                  </a:lnTo>
                  <a:lnTo>
                    <a:pt x="114" y="1673"/>
                  </a:lnTo>
                  <a:close/>
                  <a:moveTo>
                    <a:pt x="151" y="1628"/>
                  </a:moveTo>
                  <a:lnTo>
                    <a:pt x="151" y="1629"/>
                  </a:lnTo>
                  <a:lnTo>
                    <a:pt x="151" y="1631"/>
                  </a:lnTo>
                  <a:lnTo>
                    <a:pt x="151" y="1631"/>
                  </a:lnTo>
                  <a:lnTo>
                    <a:pt x="153" y="1631"/>
                  </a:lnTo>
                  <a:lnTo>
                    <a:pt x="157" y="1628"/>
                  </a:lnTo>
                  <a:lnTo>
                    <a:pt x="170" y="1625"/>
                  </a:lnTo>
                  <a:lnTo>
                    <a:pt x="170" y="1622"/>
                  </a:lnTo>
                  <a:lnTo>
                    <a:pt x="168" y="1619"/>
                  </a:lnTo>
                  <a:lnTo>
                    <a:pt x="167" y="1617"/>
                  </a:lnTo>
                  <a:lnTo>
                    <a:pt x="165" y="1617"/>
                  </a:lnTo>
                  <a:lnTo>
                    <a:pt x="157" y="1620"/>
                  </a:lnTo>
                  <a:lnTo>
                    <a:pt x="154" y="1620"/>
                  </a:lnTo>
                  <a:lnTo>
                    <a:pt x="156" y="1619"/>
                  </a:lnTo>
                  <a:lnTo>
                    <a:pt x="154" y="1619"/>
                  </a:lnTo>
                  <a:lnTo>
                    <a:pt x="153" y="1620"/>
                  </a:lnTo>
                  <a:lnTo>
                    <a:pt x="151" y="1622"/>
                  </a:lnTo>
                  <a:lnTo>
                    <a:pt x="153" y="1625"/>
                  </a:lnTo>
                  <a:lnTo>
                    <a:pt x="151" y="1625"/>
                  </a:lnTo>
                  <a:lnTo>
                    <a:pt x="151" y="1626"/>
                  </a:lnTo>
                  <a:lnTo>
                    <a:pt x="150" y="1626"/>
                  </a:lnTo>
                  <a:lnTo>
                    <a:pt x="150" y="1626"/>
                  </a:lnTo>
                  <a:lnTo>
                    <a:pt x="150" y="1628"/>
                  </a:lnTo>
                  <a:lnTo>
                    <a:pt x="150" y="1628"/>
                  </a:lnTo>
                  <a:lnTo>
                    <a:pt x="151" y="1628"/>
                  </a:lnTo>
                  <a:close/>
                  <a:moveTo>
                    <a:pt x="163" y="1609"/>
                  </a:moveTo>
                  <a:lnTo>
                    <a:pt x="167" y="1611"/>
                  </a:lnTo>
                  <a:lnTo>
                    <a:pt x="168" y="1612"/>
                  </a:lnTo>
                  <a:lnTo>
                    <a:pt x="168" y="1611"/>
                  </a:lnTo>
                  <a:lnTo>
                    <a:pt x="168" y="1609"/>
                  </a:lnTo>
                  <a:lnTo>
                    <a:pt x="168" y="1608"/>
                  </a:lnTo>
                  <a:lnTo>
                    <a:pt x="168" y="1608"/>
                  </a:lnTo>
                  <a:lnTo>
                    <a:pt x="167" y="1606"/>
                  </a:lnTo>
                  <a:lnTo>
                    <a:pt x="168" y="1605"/>
                  </a:lnTo>
                  <a:lnTo>
                    <a:pt x="171" y="1603"/>
                  </a:lnTo>
                  <a:lnTo>
                    <a:pt x="171" y="1602"/>
                  </a:lnTo>
                  <a:lnTo>
                    <a:pt x="170" y="1599"/>
                  </a:lnTo>
                  <a:lnTo>
                    <a:pt x="168" y="1599"/>
                  </a:lnTo>
                  <a:lnTo>
                    <a:pt x="165" y="1600"/>
                  </a:lnTo>
                  <a:lnTo>
                    <a:pt x="163" y="1602"/>
                  </a:lnTo>
                  <a:lnTo>
                    <a:pt x="162" y="1599"/>
                  </a:lnTo>
                  <a:lnTo>
                    <a:pt x="160" y="1599"/>
                  </a:lnTo>
                  <a:lnTo>
                    <a:pt x="159" y="1600"/>
                  </a:lnTo>
                  <a:lnTo>
                    <a:pt x="159" y="1602"/>
                  </a:lnTo>
                  <a:lnTo>
                    <a:pt x="160" y="1603"/>
                  </a:lnTo>
                  <a:lnTo>
                    <a:pt x="162" y="1605"/>
                  </a:lnTo>
                  <a:lnTo>
                    <a:pt x="160" y="1605"/>
                  </a:lnTo>
                  <a:lnTo>
                    <a:pt x="159" y="1605"/>
                  </a:lnTo>
                  <a:lnTo>
                    <a:pt x="159" y="1605"/>
                  </a:lnTo>
                  <a:lnTo>
                    <a:pt x="160" y="1606"/>
                  </a:lnTo>
                  <a:lnTo>
                    <a:pt x="163" y="1609"/>
                  </a:lnTo>
                  <a:close/>
                  <a:moveTo>
                    <a:pt x="231" y="1569"/>
                  </a:moveTo>
                  <a:lnTo>
                    <a:pt x="233" y="1571"/>
                  </a:lnTo>
                  <a:lnTo>
                    <a:pt x="233" y="1572"/>
                  </a:lnTo>
                  <a:lnTo>
                    <a:pt x="234" y="1572"/>
                  </a:lnTo>
                  <a:lnTo>
                    <a:pt x="234" y="1572"/>
                  </a:lnTo>
                  <a:lnTo>
                    <a:pt x="236" y="1571"/>
                  </a:lnTo>
                  <a:lnTo>
                    <a:pt x="239" y="1571"/>
                  </a:lnTo>
                  <a:lnTo>
                    <a:pt x="240" y="1568"/>
                  </a:lnTo>
                  <a:lnTo>
                    <a:pt x="242" y="1565"/>
                  </a:lnTo>
                  <a:lnTo>
                    <a:pt x="244" y="1562"/>
                  </a:lnTo>
                  <a:lnTo>
                    <a:pt x="242" y="1559"/>
                  </a:lnTo>
                  <a:lnTo>
                    <a:pt x="239" y="1560"/>
                  </a:lnTo>
                  <a:lnTo>
                    <a:pt x="234" y="1562"/>
                  </a:lnTo>
                  <a:lnTo>
                    <a:pt x="230" y="1560"/>
                  </a:lnTo>
                  <a:lnTo>
                    <a:pt x="230" y="1560"/>
                  </a:lnTo>
                  <a:lnTo>
                    <a:pt x="230" y="1560"/>
                  </a:lnTo>
                  <a:lnTo>
                    <a:pt x="228" y="1562"/>
                  </a:lnTo>
                  <a:lnTo>
                    <a:pt x="228" y="1562"/>
                  </a:lnTo>
                  <a:lnTo>
                    <a:pt x="228" y="1563"/>
                  </a:lnTo>
                  <a:lnTo>
                    <a:pt x="228" y="1565"/>
                  </a:lnTo>
                  <a:lnTo>
                    <a:pt x="227" y="1565"/>
                  </a:lnTo>
                  <a:lnTo>
                    <a:pt x="227" y="1566"/>
                  </a:lnTo>
                  <a:lnTo>
                    <a:pt x="231" y="1569"/>
                  </a:lnTo>
                  <a:lnTo>
                    <a:pt x="231" y="1569"/>
                  </a:lnTo>
                  <a:close/>
                  <a:moveTo>
                    <a:pt x="205" y="1579"/>
                  </a:moveTo>
                  <a:lnTo>
                    <a:pt x="210" y="1582"/>
                  </a:lnTo>
                  <a:lnTo>
                    <a:pt x="211" y="1582"/>
                  </a:lnTo>
                  <a:lnTo>
                    <a:pt x="213" y="1585"/>
                  </a:lnTo>
                  <a:lnTo>
                    <a:pt x="213" y="1585"/>
                  </a:lnTo>
                  <a:lnTo>
                    <a:pt x="214" y="1585"/>
                  </a:lnTo>
                  <a:lnTo>
                    <a:pt x="214" y="1585"/>
                  </a:lnTo>
                  <a:lnTo>
                    <a:pt x="220" y="1580"/>
                  </a:lnTo>
                  <a:lnTo>
                    <a:pt x="220" y="1579"/>
                  </a:lnTo>
                  <a:lnTo>
                    <a:pt x="222" y="1577"/>
                  </a:lnTo>
                  <a:lnTo>
                    <a:pt x="225" y="1577"/>
                  </a:lnTo>
                  <a:lnTo>
                    <a:pt x="227" y="1576"/>
                  </a:lnTo>
                  <a:lnTo>
                    <a:pt x="228" y="1574"/>
                  </a:lnTo>
                  <a:lnTo>
                    <a:pt x="228" y="1574"/>
                  </a:lnTo>
                  <a:lnTo>
                    <a:pt x="227" y="1572"/>
                  </a:lnTo>
                  <a:lnTo>
                    <a:pt x="225" y="1568"/>
                  </a:lnTo>
                  <a:lnTo>
                    <a:pt x="224" y="1566"/>
                  </a:lnTo>
                  <a:lnTo>
                    <a:pt x="224" y="1566"/>
                  </a:lnTo>
                  <a:lnTo>
                    <a:pt x="224" y="1565"/>
                  </a:lnTo>
                  <a:lnTo>
                    <a:pt x="224" y="1562"/>
                  </a:lnTo>
                  <a:lnTo>
                    <a:pt x="224" y="1560"/>
                  </a:lnTo>
                  <a:lnTo>
                    <a:pt x="224" y="1557"/>
                  </a:lnTo>
                  <a:lnTo>
                    <a:pt x="224" y="1557"/>
                  </a:lnTo>
                  <a:lnTo>
                    <a:pt x="222" y="1556"/>
                  </a:lnTo>
                  <a:lnTo>
                    <a:pt x="219" y="1557"/>
                  </a:lnTo>
                  <a:lnTo>
                    <a:pt x="220" y="1560"/>
                  </a:lnTo>
                  <a:lnTo>
                    <a:pt x="220" y="1563"/>
                  </a:lnTo>
                  <a:lnTo>
                    <a:pt x="220" y="1565"/>
                  </a:lnTo>
                  <a:lnTo>
                    <a:pt x="219" y="1565"/>
                  </a:lnTo>
                  <a:lnTo>
                    <a:pt x="219" y="1566"/>
                  </a:lnTo>
                  <a:lnTo>
                    <a:pt x="217" y="1568"/>
                  </a:lnTo>
                  <a:lnTo>
                    <a:pt x="219" y="1568"/>
                  </a:lnTo>
                  <a:lnTo>
                    <a:pt x="219" y="1569"/>
                  </a:lnTo>
                  <a:lnTo>
                    <a:pt x="219" y="1571"/>
                  </a:lnTo>
                  <a:lnTo>
                    <a:pt x="217" y="1572"/>
                  </a:lnTo>
                  <a:lnTo>
                    <a:pt x="214" y="1568"/>
                  </a:lnTo>
                  <a:lnTo>
                    <a:pt x="213" y="1566"/>
                  </a:lnTo>
                  <a:lnTo>
                    <a:pt x="211" y="1566"/>
                  </a:lnTo>
                  <a:lnTo>
                    <a:pt x="213" y="1565"/>
                  </a:lnTo>
                  <a:lnTo>
                    <a:pt x="207" y="1565"/>
                  </a:lnTo>
                  <a:lnTo>
                    <a:pt x="205" y="1565"/>
                  </a:lnTo>
                  <a:lnTo>
                    <a:pt x="205" y="1566"/>
                  </a:lnTo>
                  <a:lnTo>
                    <a:pt x="207" y="1566"/>
                  </a:lnTo>
                  <a:lnTo>
                    <a:pt x="207" y="1566"/>
                  </a:lnTo>
                  <a:lnTo>
                    <a:pt x="208" y="1568"/>
                  </a:lnTo>
                  <a:lnTo>
                    <a:pt x="207" y="1568"/>
                  </a:lnTo>
                  <a:lnTo>
                    <a:pt x="207" y="1569"/>
                  </a:lnTo>
                  <a:lnTo>
                    <a:pt x="207" y="1571"/>
                  </a:lnTo>
                  <a:lnTo>
                    <a:pt x="208" y="1572"/>
                  </a:lnTo>
                  <a:lnTo>
                    <a:pt x="205" y="1574"/>
                  </a:lnTo>
                  <a:lnTo>
                    <a:pt x="204" y="1574"/>
                  </a:lnTo>
                  <a:lnTo>
                    <a:pt x="204" y="1576"/>
                  </a:lnTo>
                  <a:lnTo>
                    <a:pt x="204" y="1577"/>
                  </a:lnTo>
                  <a:lnTo>
                    <a:pt x="205" y="1579"/>
                  </a:lnTo>
                  <a:close/>
                  <a:moveTo>
                    <a:pt x="262" y="1540"/>
                  </a:moveTo>
                  <a:lnTo>
                    <a:pt x="264" y="1542"/>
                  </a:lnTo>
                  <a:lnTo>
                    <a:pt x="264" y="1542"/>
                  </a:lnTo>
                  <a:lnTo>
                    <a:pt x="265" y="1546"/>
                  </a:lnTo>
                  <a:lnTo>
                    <a:pt x="265" y="1548"/>
                  </a:lnTo>
                  <a:lnTo>
                    <a:pt x="265" y="1549"/>
                  </a:lnTo>
                  <a:lnTo>
                    <a:pt x="267" y="1549"/>
                  </a:lnTo>
                  <a:lnTo>
                    <a:pt x="273" y="1548"/>
                  </a:lnTo>
                  <a:lnTo>
                    <a:pt x="274" y="1548"/>
                  </a:lnTo>
                  <a:lnTo>
                    <a:pt x="274" y="1546"/>
                  </a:lnTo>
                  <a:lnTo>
                    <a:pt x="274" y="1546"/>
                  </a:lnTo>
                  <a:lnTo>
                    <a:pt x="273" y="1545"/>
                  </a:lnTo>
                  <a:lnTo>
                    <a:pt x="271" y="1543"/>
                  </a:lnTo>
                  <a:lnTo>
                    <a:pt x="271" y="1543"/>
                  </a:lnTo>
                  <a:lnTo>
                    <a:pt x="268" y="1539"/>
                  </a:lnTo>
                  <a:lnTo>
                    <a:pt x="265" y="1539"/>
                  </a:lnTo>
                  <a:lnTo>
                    <a:pt x="264" y="1539"/>
                  </a:lnTo>
                  <a:lnTo>
                    <a:pt x="264" y="1539"/>
                  </a:lnTo>
                  <a:lnTo>
                    <a:pt x="262" y="1540"/>
                  </a:lnTo>
                  <a:close/>
                  <a:moveTo>
                    <a:pt x="262" y="1540"/>
                  </a:moveTo>
                  <a:lnTo>
                    <a:pt x="261" y="1537"/>
                  </a:lnTo>
                  <a:lnTo>
                    <a:pt x="259" y="1536"/>
                  </a:lnTo>
                  <a:lnTo>
                    <a:pt x="256" y="1536"/>
                  </a:lnTo>
                  <a:lnTo>
                    <a:pt x="254" y="1537"/>
                  </a:lnTo>
                  <a:lnTo>
                    <a:pt x="250" y="1543"/>
                  </a:lnTo>
                  <a:lnTo>
                    <a:pt x="245" y="1545"/>
                  </a:lnTo>
                  <a:lnTo>
                    <a:pt x="245" y="1546"/>
                  </a:lnTo>
                  <a:lnTo>
                    <a:pt x="248" y="1552"/>
                  </a:lnTo>
                  <a:lnTo>
                    <a:pt x="251" y="1552"/>
                  </a:lnTo>
                  <a:lnTo>
                    <a:pt x="264" y="1549"/>
                  </a:lnTo>
                  <a:lnTo>
                    <a:pt x="264" y="1548"/>
                  </a:lnTo>
                  <a:lnTo>
                    <a:pt x="264" y="1548"/>
                  </a:lnTo>
                  <a:lnTo>
                    <a:pt x="262" y="1546"/>
                  </a:lnTo>
                  <a:lnTo>
                    <a:pt x="264" y="1545"/>
                  </a:lnTo>
                  <a:lnTo>
                    <a:pt x="262" y="1540"/>
                  </a:lnTo>
                  <a:close/>
                  <a:moveTo>
                    <a:pt x="276" y="1546"/>
                  </a:moveTo>
                  <a:lnTo>
                    <a:pt x="277" y="1548"/>
                  </a:lnTo>
                  <a:lnTo>
                    <a:pt x="282" y="1549"/>
                  </a:lnTo>
                  <a:lnTo>
                    <a:pt x="293" y="1546"/>
                  </a:lnTo>
                  <a:lnTo>
                    <a:pt x="293" y="1543"/>
                  </a:lnTo>
                  <a:lnTo>
                    <a:pt x="291" y="1540"/>
                  </a:lnTo>
                  <a:lnTo>
                    <a:pt x="287" y="1536"/>
                  </a:lnTo>
                  <a:lnTo>
                    <a:pt x="285" y="1531"/>
                  </a:lnTo>
                  <a:lnTo>
                    <a:pt x="284" y="1529"/>
                  </a:lnTo>
                  <a:lnTo>
                    <a:pt x="282" y="1528"/>
                  </a:lnTo>
                  <a:lnTo>
                    <a:pt x="281" y="1529"/>
                  </a:lnTo>
                  <a:lnTo>
                    <a:pt x="281" y="1531"/>
                  </a:lnTo>
                  <a:lnTo>
                    <a:pt x="281" y="1534"/>
                  </a:lnTo>
                  <a:lnTo>
                    <a:pt x="281" y="1536"/>
                  </a:lnTo>
                  <a:lnTo>
                    <a:pt x="279" y="1539"/>
                  </a:lnTo>
                  <a:lnTo>
                    <a:pt x="279" y="1537"/>
                  </a:lnTo>
                  <a:lnTo>
                    <a:pt x="277" y="1534"/>
                  </a:lnTo>
                  <a:lnTo>
                    <a:pt x="276" y="1531"/>
                  </a:lnTo>
                  <a:lnTo>
                    <a:pt x="276" y="1531"/>
                  </a:lnTo>
                  <a:lnTo>
                    <a:pt x="276" y="1532"/>
                  </a:lnTo>
                  <a:lnTo>
                    <a:pt x="274" y="1532"/>
                  </a:lnTo>
                  <a:lnTo>
                    <a:pt x="274" y="1532"/>
                  </a:lnTo>
                  <a:lnTo>
                    <a:pt x="273" y="1531"/>
                  </a:lnTo>
                  <a:lnTo>
                    <a:pt x="273" y="1531"/>
                  </a:lnTo>
                  <a:lnTo>
                    <a:pt x="271" y="1529"/>
                  </a:lnTo>
                  <a:lnTo>
                    <a:pt x="271" y="1531"/>
                  </a:lnTo>
                  <a:lnTo>
                    <a:pt x="271" y="1531"/>
                  </a:lnTo>
                  <a:lnTo>
                    <a:pt x="270" y="1536"/>
                  </a:lnTo>
                  <a:lnTo>
                    <a:pt x="270" y="1537"/>
                  </a:lnTo>
                  <a:lnTo>
                    <a:pt x="271" y="1540"/>
                  </a:lnTo>
                  <a:lnTo>
                    <a:pt x="276" y="1546"/>
                  </a:lnTo>
                  <a:close/>
                  <a:moveTo>
                    <a:pt x="234" y="1509"/>
                  </a:moveTo>
                  <a:lnTo>
                    <a:pt x="234" y="1512"/>
                  </a:lnTo>
                  <a:lnTo>
                    <a:pt x="236" y="1514"/>
                  </a:lnTo>
                  <a:lnTo>
                    <a:pt x="248" y="1517"/>
                  </a:lnTo>
                  <a:lnTo>
                    <a:pt x="250" y="1519"/>
                  </a:lnTo>
                  <a:lnTo>
                    <a:pt x="245" y="1519"/>
                  </a:lnTo>
                  <a:lnTo>
                    <a:pt x="244" y="1519"/>
                  </a:lnTo>
                  <a:lnTo>
                    <a:pt x="245" y="1520"/>
                  </a:lnTo>
                  <a:lnTo>
                    <a:pt x="248" y="1522"/>
                  </a:lnTo>
                  <a:lnTo>
                    <a:pt x="248" y="1523"/>
                  </a:lnTo>
                  <a:lnTo>
                    <a:pt x="250" y="1523"/>
                  </a:lnTo>
                  <a:lnTo>
                    <a:pt x="251" y="1522"/>
                  </a:lnTo>
                  <a:lnTo>
                    <a:pt x="253" y="1522"/>
                  </a:lnTo>
                  <a:lnTo>
                    <a:pt x="256" y="1522"/>
                  </a:lnTo>
                  <a:lnTo>
                    <a:pt x="257" y="1522"/>
                  </a:lnTo>
                  <a:lnTo>
                    <a:pt x="257" y="1520"/>
                  </a:lnTo>
                  <a:lnTo>
                    <a:pt x="257" y="1519"/>
                  </a:lnTo>
                  <a:lnTo>
                    <a:pt x="259" y="1519"/>
                  </a:lnTo>
                  <a:lnTo>
                    <a:pt x="261" y="1517"/>
                  </a:lnTo>
                  <a:lnTo>
                    <a:pt x="262" y="1515"/>
                  </a:lnTo>
                  <a:lnTo>
                    <a:pt x="264" y="1511"/>
                  </a:lnTo>
                  <a:lnTo>
                    <a:pt x="264" y="1508"/>
                  </a:lnTo>
                  <a:lnTo>
                    <a:pt x="259" y="1505"/>
                  </a:lnTo>
                  <a:lnTo>
                    <a:pt x="257" y="1499"/>
                  </a:lnTo>
                  <a:lnTo>
                    <a:pt x="256" y="1497"/>
                  </a:lnTo>
                  <a:lnTo>
                    <a:pt x="251" y="1497"/>
                  </a:lnTo>
                  <a:lnTo>
                    <a:pt x="248" y="1499"/>
                  </a:lnTo>
                  <a:lnTo>
                    <a:pt x="245" y="1503"/>
                  </a:lnTo>
                  <a:lnTo>
                    <a:pt x="242" y="1505"/>
                  </a:lnTo>
                  <a:lnTo>
                    <a:pt x="237" y="1505"/>
                  </a:lnTo>
                  <a:lnTo>
                    <a:pt x="236" y="1506"/>
                  </a:lnTo>
                  <a:lnTo>
                    <a:pt x="234" y="1508"/>
                  </a:lnTo>
                  <a:lnTo>
                    <a:pt x="234" y="1509"/>
                  </a:lnTo>
                  <a:lnTo>
                    <a:pt x="234" y="1509"/>
                  </a:lnTo>
                  <a:close/>
                  <a:moveTo>
                    <a:pt x="296" y="1474"/>
                  </a:moveTo>
                  <a:lnTo>
                    <a:pt x="293" y="1474"/>
                  </a:lnTo>
                  <a:lnTo>
                    <a:pt x="293" y="1474"/>
                  </a:lnTo>
                  <a:lnTo>
                    <a:pt x="291" y="1475"/>
                  </a:lnTo>
                  <a:lnTo>
                    <a:pt x="294" y="1479"/>
                  </a:lnTo>
                  <a:lnTo>
                    <a:pt x="301" y="1480"/>
                  </a:lnTo>
                  <a:lnTo>
                    <a:pt x="304" y="1482"/>
                  </a:lnTo>
                  <a:lnTo>
                    <a:pt x="304" y="1482"/>
                  </a:lnTo>
                  <a:lnTo>
                    <a:pt x="302" y="1482"/>
                  </a:lnTo>
                  <a:lnTo>
                    <a:pt x="296" y="1482"/>
                  </a:lnTo>
                  <a:lnTo>
                    <a:pt x="282" y="1483"/>
                  </a:lnTo>
                  <a:lnTo>
                    <a:pt x="281" y="1483"/>
                  </a:lnTo>
                  <a:lnTo>
                    <a:pt x="274" y="1491"/>
                  </a:lnTo>
                  <a:lnTo>
                    <a:pt x="273" y="1492"/>
                  </a:lnTo>
                  <a:lnTo>
                    <a:pt x="271" y="1495"/>
                  </a:lnTo>
                  <a:lnTo>
                    <a:pt x="271" y="1499"/>
                  </a:lnTo>
                  <a:lnTo>
                    <a:pt x="271" y="1499"/>
                  </a:lnTo>
                  <a:lnTo>
                    <a:pt x="271" y="1500"/>
                  </a:lnTo>
                  <a:lnTo>
                    <a:pt x="271" y="1502"/>
                  </a:lnTo>
                  <a:lnTo>
                    <a:pt x="273" y="1502"/>
                  </a:lnTo>
                  <a:lnTo>
                    <a:pt x="273" y="1502"/>
                  </a:lnTo>
                  <a:lnTo>
                    <a:pt x="274" y="1502"/>
                  </a:lnTo>
                  <a:lnTo>
                    <a:pt x="274" y="1502"/>
                  </a:lnTo>
                  <a:lnTo>
                    <a:pt x="274" y="1500"/>
                  </a:lnTo>
                  <a:lnTo>
                    <a:pt x="274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9" y="1503"/>
                  </a:lnTo>
                  <a:lnTo>
                    <a:pt x="281" y="1505"/>
                  </a:lnTo>
                  <a:lnTo>
                    <a:pt x="285" y="1505"/>
                  </a:lnTo>
                  <a:lnTo>
                    <a:pt x="288" y="1503"/>
                  </a:lnTo>
                  <a:lnTo>
                    <a:pt x="293" y="1500"/>
                  </a:lnTo>
                  <a:lnTo>
                    <a:pt x="299" y="1499"/>
                  </a:lnTo>
                  <a:lnTo>
                    <a:pt x="304" y="1495"/>
                  </a:lnTo>
                  <a:lnTo>
                    <a:pt x="314" y="1495"/>
                  </a:lnTo>
                  <a:lnTo>
                    <a:pt x="333" y="1488"/>
                  </a:lnTo>
                  <a:lnTo>
                    <a:pt x="336" y="1483"/>
                  </a:lnTo>
                  <a:lnTo>
                    <a:pt x="338" y="1483"/>
                  </a:lnTo>
                  <a:lnTo>
                    <a:pt x="338" y="1482"/>
                  </a:lnTo>
                  <a:lnTo>
                    <a:pt x="334" y="1482"/>
                  </a:lnTo>
                  <a:lnTo>
                    <a:pt x="334" y="1482"/>
                  </a:lnTo>
                  <a:lnTo>
                    <a:pt x="334" y="1480"/>
                  </a:lnTo>
                  <a:lnTo>
                    <a:pt x="334" y="1480"/>
                  </a:lnTo>
                  <a:lnTo>
                    <a:pt x="334" y="1479"/>
                  </a:lnTo>
                  <a:lnTo>
                    <a:pt x="331" y="1475"/>
                  </a:lnTo>
                  <a:lnTo>
                    <a:pt x="328" y="1475"/>
                  </a:lnTo>
                  <a:lnTo>
                    <a:pt x="325" y="1477"/>
                  </a:lnTo>
                  <a:lnTo>
                    <a:pt x="324" y="1477"/>
                  </a:lnTo>
                  <a:lnTo>
                    <a:pt x="322" y="1472"/>
                  </a:lnTo>
                  <a:lnTo>
                    <a:pt x="322" y="1472"/>
                  </a:lnTo>
                  <a:lnTo>
                    <a:pt x="322" y="1471"/>
                  </a:lnTo>
                  <a:lnTo>
                    <a:pt x="322" y="1471"/>
                  </a:lnTo>
                  <a:lnTo>
                    <a:pt x="322" y="1469"/>
                  </a:lnTo>
                  <a:lnTo>
                    <a:pt x="322" y="1469"/>
                  </a:lnTo>
                  <a:lnTo>
                    <a:pt x="324" y="1469"/>
                  </a:lnTo>
                  <a:lnTo>
                    <a:pt x="322" y="1466"/>
                  </a:lnTo>
                  <a:lnTo>
                    <a:pt x="321" y="1466"/>
                  </a:lnTo>
                  <a:lnTo>
                    <a:pt x="319" y="1468"/>
                  </a:lnTo>
                  <a:lnTo>
                    <a:pt x="316" y="1468"/>
                  </a:lnTo>
                  <a:lnTo>
                    <a:pt x="314" y="1468"/>
                  </a:lnTo>
                  <a:lnTo>
                    <a:pt x="314" y="1469"/>
                  </a:lnTo>
                  <a:lnTo>
                    <a:pt x="314" y="1471"/>
                  </a:lnTo>
                  <a:lnTo>
                    <a:pt x="314" y="1472"/>
                  </a:lnTo>
                  <a:lnTo>
                    <a:pt x="313" y="1474"/>
                  </a:lnTo>
                  <a:lnTo>
                    <a:pt x="313" y="1474"/>
                  </a:lnTo>
                  <a:lnTo>
                    <a:pt x="311" y="1469"/>
                  </a:lnTo>
                  <a:lnTo>
                    <a:pt x="308" y="1469"/>
                  </a:lnTo>
                  <a:lnTo>
                    <a:pt x="296" y="1474"/>
                  </a:lnTo>
                  <a:close/>
                  <a:moveTo>
                    <a:pt x="330" y="1474"/>
                  </a:moveTo>
                  <a:lnTo>
                    <a:pt x="333" y="1472"/>
                  </a:lnTo>
                  <a:lnTo>
                    <a:pt x="334" y="1471"/>
                  </a:lnTo>
                  <a:lnTo>
                    <a:pt x="336" y="1471"/>
                  </a:lnTo>
                  <a:lnTo>
                    <a:pt x="338" y="1469"/>
                  </a:lnTo>
                  <a:lnTo>
                    <a:pt x="338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4" y="1468"/>
                  </a:lnTo>
                  <a:lnTo>
                    <a:pt x="333" y="1468"/>
                  </a:lnTo>
                  <a:lnTo>
                    <a:pt x="333" y="1466"/>
                  </a:lnTo>
                  <a:lnTo>
                    <a:pt x="333" y="1466"/>
                  </a:lnTo>
                  <a:lnTo>
                    <a:pt x="331" y="1466"/>
                  </a:lnTo>
                  <a:lnTo>
                    <a:pt x="328" y="1466"/>
                  </a:lnTo>
                  <a:lnTo>
                    <a:pt x="328" y="1466"/>
                  </a:lnTo>
                  <a:lnTo>
                    <a:pt x="328" y="1468"/>
                  </a:lnTo>
                  <a:lnTo>
                    <a:pt x="328" y="1468"/>
                  </a:lnTo>
                  <a:lnTo>
                    <a:pt x="327" y="1469"/>
                  </a:lnTo>
                  <a:lnTo>
                    <a:pt x="327" y="1469"/>
                  </a:lnTo>
                  <a:lnTo>
                    <a:pt x="327" y="1471"/>
                  </a:lnTo>
                  <a:lnTo>
                    <a:pt x="327" y="1471"/>
                  </a:lnTo>
                  <a:lnTo>
                    <a:pt x="325" y="1472"/>
                  </a:lnTo>
                  <a:lnTo>
                    <a:pt x="327" y="1474"/>
                  </a:lnTo>
                  <a:lnTo>
                    <a:pt x="330" y="1474"/>
                  </a:lnTo>
                  <a:close/>
                  <a:moveTo>
                    <a:pt x="273" y="1465"/>
                  </a:moveTo>
                  <a:lnTo>
                    <a:pt x="276" y="1465"/>
                  </a:lnTo>
                  <a:lnTo>
                    <a:pt x="277" y="1465"/>
                  </a:lnTo>
                  <a:lnTo>
                    <a:pt x="281" y="1462"/>
                  </a:lnTo>
                  <a:lnTo>
                    <a:pt x="284" y="1462"/>
                  </a:lnTo>
                  <a:lnTo>
                    <a:pt x="284" y="1463"/>
                  </a:lnTo>
                  <a:lnTo>
                    <a:pt x="285" y="1462"/>
                  </a:lnTo>
                  <a:lnTo>
                    <a:pt x="290" y="1460"/>
                  </a:lnTo>
                  <a:lnTo>
                    <a:pt x="284" y="1465"/>
                  </a:lnTo>
                  <a:lnTo>
                    <a:pt x="285" y="1465"/>
                  </a:lnTo>
                  <a:lnTo>
                    <a:pt x="291" y="1463"/>
                  </a:lnTo>
                  <a:lnTo>
                    <a:pt x="305" y="1462"/>
                  </a:lnTo>
                  <a:lnTo>
                    <a:pt x="310" y="1460"/>
                  </a:lnTo>
                  <a:lnTo>
                    <a:pt x="311" y="1455"/>
                  </a:lnTo>
                  <a:lnTo>
                    <a:pt x="311" y="1454"/>
                  </a:lnTo>
                  <a:lnTo>
                    <a:pt x="311" y="1452"/>
                  </a:lnTo>
                  <a:lnTo>
                    <a:pt x="311" y="1451"/>
                  </a:lnTo>
                  <a:lnTo>
                    <a:pt x="311" y="1449"/>
                  </a:lnTo>
                  <a:lnTo>
                    <a:pt x="311" y="1446"/>
                  </a:lnTo>
                  <a:lnTo>
                    <a:pt x="310" y="1445"/>
                  </a:lnTo>
                  <a:lnTo>
                    <a:pt x="310" y="1443"/>
                  </a:lnTo>
                  <a:lnTo>
                    <a:pt x="310" y="1443"/>
                  </a:lnTo>
                  <a:lnTo>
                    <a:pt x="310" y="1442"/>
                  </a:lnTo>
                  <a:lnTo>
                    <a:pt x="310" y="1442"/>
                  </a:lnTo>
                  <a:lnTo>
                    <a:pt x="310" y="1440"/>
                  </a:lnTo>
                  <a:lnTo>
                    <a:pt x="310" y="1440"/>
                  </a:lnTo>
                  <a:lnTo>
                    <a:pt x="308" y="1440"/>
                  </a:lnTo>
                  <a:lnTo>
                    <a:pt x="307" y="1442"/>
                  </a:lnTo>
                  <a:lnTo>
                    <a:pt x="307" y="1442"/>
                  </a:lnTo>
                  <a:lnTo>
                    <a:pt x="305" y="1442"/>
                  </a:lnTo>
                  <a:lnTo>
                    <a:pt x="301" y="1446"/>
                  </a:lnTo>
                  <a:lnTo>
                    <a:pt x="301" y="1448"/>
                  </a:lnTo>
                  <a:lnTo>
                    <a:pt x="302" y="1448"/>
                  </a:lnTo>
                  <a:lnTo>
                    <a:pt x="304" y="1446"/>
                  </a:lnTo>
                  <a:lnTo>
                    <a:pt x="304" y="1446"/>
                  </a:lnTo>
                  <a:lnTo>
                    <a:pt x="305" y="1446"/>
                  </a:lnTo>
                  <a:lnTo>
                    <a:pt x="288" y="1455"/>
                  </a:lnTo>
                  <a:lnTo>
                    <a:pt x="274" y="1459"/>
                  </a:lnTo>
                  <a:lnTo>
                    <a:pt x="270" y="1462"/>
                  </a:lnTo>
                  <a:lnTo>
                    <a:pt x="271" y="1465"/>
                  </a:lnTo>
                  <a:lnTo>
                    <a:pt x="273" y="1465"/>
                  </a:lnTo>
                  <a:close/>
                  <a:moveTo>
                    <a:pt x="388" y="1405"/>
                  </a:moveTo>
                  <a:lnTo>
                    <a:pt x="390" y="1405"/>
                  </a:lnTo>
                  <a:lnTo>
                    <a:pt x="390" y="1405"/>
                  </a:lnTo>
                  <a:lnTo>
                    <a:pt x="390" y="1406"/>
                  </a:lnTo>
                  <a:lnTo>
                    <a:pt x="390" y="1406"/>
                  </a:lnTo>
                  <a:lnTo>
                    <a:pt x="388" y="1406"/>
                  </a:lnTo>
                  <a:lnTo>
                    <a:pt x="388" y="1408"/>
                  </a:lnTo>
                  <a:lnTo>
                    <a:pt x="390" y="1408"/>
                  </a:lnTo>
                  <a:lnTo>
                    <a:pt x="390" y="1408"/>
                  </a:lnTo>
                  <a:lnTo>
                    <a:pt x="391" y="1409"/>
                  </a:lnTo>
                  <a:lnTo>
                    <a:pt x="393" y="1409"/>
                  </a:lnTo>
                  <a:lnTo>
                    <a:pt x="395" y="1408"/>
                  </a:lnTo>
                  <a:lnTo>
                    <a:pt x="395" y="1406"/>
                  </a:lnTo>
                  <a:lnTo>
                    <a:pt x="395" y="1405"/>
                  </a:lnTo>
                  <a:lnTo>
                    <a:pt x="395" y="1405"/>
                  </a:lnTo>
                  <a:lnTo>
                    <a:pt x="393" y="1405"/>
                  </a:lnTo>
                  <a:lnTo>
                    <a:pt x="393" y="1403"/>
                  </a:lnTo>
                  <a:lnTo>
                    <a:pt x="393" y="1403"/>
                  </a:lnTo>
                  <a:lnTo>
                    <a:pt x="391" y="1402"/>
                  </a:lnTo>
                  <a:lnTo>
                    <a:pt x="391" y="1400"/>
                  </a:lnTo>
                  <a:lnTo>
                    <a:pt x="390" y="1402"/>
                  </a:lnTo>
                  <a:lnTo>
                    <a:pt x="390" y="1403"/>
                  </a:lnTo>
                  <a:lnTo>
                    <a:pt x="388" y="1403"/>
                  </a:lnTo>
                  <a:lnTo>
                    <a:pt x="387" y="1403"/>
                  </a:lnTo>
                  <a:lnTo>
                    <a:pt x="388" y="1405"/>
                  </a:lnTo>
                  <a:lnTo>
                    <a:pt x="388" y="1405"/>
                  </a:lnTo>
                  <a:close/>
                  <a:moveTo>
                    <a:pt x="499" y="1309"/>
                  </a:moveTo>
                  <a:lnTo>
                    <a:pt x="499" y="1311"/>
                  </a:lnTo>
                  <a:lnTo>
                    <a:pt x="499" y="1312"/>
                  </a:lnTo>
                  <a:lnTo>
                    <a:pt x="502" y="1314"/>
                  </a:lnTo>
                  <a:lnTo>
                    <a:pt x="504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8" y="1314"/>
                  </a:lnTo>
                  <a:lnTo>
                    <a:pt x="510" y="1314"/>
                  </a:lnTo>
                  <a:lnTo>
                    <a:pt x="510" y="1312"/>
                  </a:lnTo>
                  <a:lnTo>
                    <a:pt x="508" y="1311"/>
                  </a:lnTo>
                  <a:lnTo>
                    <a:pt x="508" y="1308"/>
                  </a:lnTo>
                  <a:lnTo>
                    <a:pt x="507" y="1308"/>
                  </a:lnTo>
                  <a:lnTo>
                    <a:pt x="507" y="1306"/>
                  </a:lnTo>
                  <a:lnTo>
                    <a:pt x="504" y="1301"/>
                  </a:lnTo>
                  <a:lnTo>
                    <a:pt x="502" y="1301"/>
                  </a:lnTo>
                  <a:lnTo>
                    <a:pt x="502" y="1303"/>
                  </a:lnTo>
                  <a:lnTo>
                    <a:pt x="502" y="1305"/>
                  </a:lnTo>
                  <a:lnTo>
                    <a:pt x="501" y="1300"/>
                  </a:lnTo>
                  <a:lnTo>
                    <a:pt x="501" y="1301"/>
                  </a:lnTo>
                  <a:lnTo>
                    <a:pt x="501" y="1306"/>
                  </a:lnTo>
                  <a:lnTo>
                    <a:pt x="501" y="1308"/>
                  </a:lnTo>
                  <a:lnTo>
                    <a:pt x="499" y="1308"/>
                  </a:lnTo>
                  <a:lnTo>
                    <a:pt x="499" y="1309"/>
                  </a:lnTo>
                  <a:close/>
                  <a:moveTo>
                    <a:pt x="484" y="1311"/>
                  </a:moveTo>
                  <a:lnTo>
                    <a:pt x="484" y="1314"/>
                  </a:lnTo>
                  <a:lnTo>
                    <a:pt x="487" y="1321"/>
                  </a:lnTo>
                  <a:lnTo>
                    <a:pt x="492" y="1320"/>
                  </a:lnTo>
                  <a:lnTo>
                    <a:pt x="495" y="1321"/>
                  </a:lnTo>
                  <a:lnTo>
                    <a:pt x="496" y="1325"/>
                  </a:lnTo>
                  <a:lnTo>
                    <a:pt x="498" y="1326"/>
                  </a:lnTo>
                  <a:lnTo>
                    <a:pt x="502" y="1326"/>
                  </a:lnTo>
                  <a:lnTo>
                    <a:pt x="504" y="1328"/>
                  </a:lnTo>
                  <a:lnTo>
                    <a:pt x="505" y="1325"/>
                  </a:lnTo>
                  <a:lnTo>
                    <a:pt x="507" y="1321"/>
                  </a:lnTo>
                  <a:lnTo>
                    <a:pt x="507" y="1321"/>
                  </a:lnTo>
                  <a:lnTo>
                    <a:pt x="505" y="1317"/>
                  </a:lnTo>
                  <a:lnTo>
                    <a:pt x="496" y="1317"/>
                  </a:lnTo>
                  <a:lnTo>
                    <a:pt x="495" y="1314"/>
                  </a:lnTo>
                  <a:lnTo>
                    <a:pt x="493" y="1308"/>
                  </a:lnTo>
                  <a:lnTo>
                    <a:pt x="490" y="1305"/>
                  </a:lnTo>
                  <a:lnTo>
                    <a:pt x="484" y="1300"/>
                  </a:lnTo>
                  <a:lnTo>
                    <a:pt x="481" y="1298"/>
                  </a:lnTo>
                  <a:lnTo>
                    <a:pt x="479" y="1297"/>
                  </a:lnTo>
                  <a:lnTo>
                    <a:pt x="479" y="1297"/>
                  </a:lnTo>
                  <a:lnTo>
                    <a:pt x="478" y="1298"/>
                  </a:lnTo>
                  <a:lnTo>
                    <a:pt x="476" y="1301"/>
                  </a:lnTo>
                  <a:lnTo>
                    <a:pt x="476" y="1303"/>
                  </a:lnTo>
                  <a:lnTo>
                    <a:pt x="476" y="1306"/>
                  </a:lnTo>
                  <a:lnTo>
                    <a:pt x="479" y="1308"/>
                  </a:lnTo>
                  <a:lnTo>
                    <a:pt x="488" y="1306"/>
                  </a:lnTo>
                  <a:lnTo>
                    <a:pt x="490" y="1311"/>
                  </a:lnTo>
                  <a:lnTo>
                    <a:pt x="487" y="1311"/>
                  </a:lnTo>
                  <a:lnTo>
                    <a:pt x="484" y="1311"/>
                  </a:lnTo>
                  <a:close/>
                  <a:moveTo>
                    <a:pt x="496" y="1291"/>
                  </a:moveTo>
                  <a:lnTo>
                    <a:pt x="487" y="1294"/>
                  </a:lnTo>
                  <a:lnTo>
                    <a:pt x="487" y="1294"/>
                  </a:lnTo>
                  <a:lnTo>
                    <a:pt x="487" y="1295"/>
                  </a:lnTo>
                  <a:lnTo>
                    <a:pt x="485" y="1295"/>
                  </a:lnTo>
                  <a:lnTo>
                    <a:pt x="487" y="1295"/>
                  </a:lnTo>
                  <a:lnTo>
                    <a:pt x="487" y="1297"/>
                  </a:lnTo>
                  <a:lnTo>
                    <a:pt x="487" y="1298"/>
                  </a:lnTo>
                  <a:lnTo>
                    <a:pt x="487" y="1300"/>
                  </a:lnTo>
                  <a:lnTo>
                    <a:pt x="490" y="1300"/>
                  </a:lnTo>
                  <a:lnTo>
                    <a:pt x="490" y="1300"/>
                  </a:lnTo>
                  <a:lnTo>
                    <a:pt x="492" y="1300"/>
                  </a:lnTo>
                  <a:lnTo>
                    <a:pt x="492" y="1300"/>
                  </a:lnTo>
                  <a:lnTo>
                    <a:pt x="492" y="1300"/>
                  </a:lnTo>
                  <a:lnTo>
                    <a:pt x="493" y="1300"/>
                  </a:lnTo>
                  <a:lnTo>
                    <a:pt x="493" y="1301"/>
                  </a:lnTo>
                  <a:lnTo>
                    <a:pt x="495" y="1305"/>
                  </a:lnTo>
                  <a:lnTo>
                    <a:pt x="496" y="1306"/>
                  </a:lnTo>
                  <a:lnTo>
                    <a:pt x="496" y="1306"/>
                  </a:lnTo>
                  <a:lnTo>
                    <a:pt x="498" y="1306"/>
                  </a:lnTo>
                  <a:lnTo>
                    <a:pt x="498" y="1305"/>
                  </a:lnTo>
                  <a:lnTo>
                    <a:pt x="498" y="1303"/>
                  </a:lnTo>
                  <a:lnTo>
                    <a:pt x="498" y="1303"/>
                  </a:lnTo>
                  <a:lnTo>
                    <a:pt x="499" y="1303"/>
                  </a:lnTo>
                  <a:lnTo>
                    <a:pt x="499" y="1301"/>
                  </a:lnTo>
                  <a:lnTo>
                    <a:pt x="499" y="1301"/>
                  </a:lnTo>
                  <a:lnTo>
                    <a:pt x="499" y="1300"/>
                  </a:lnTo>
                  <a:lnTo>
                    <a:pt x="499" y="1297"/>
                  </a:lnTo>
                  <a:lnTo>
                    <a:pt x="501" y="1294"/>
                  </a:lnTo>
                  <a:lnTo>
                    <a:pt x="499" y="1292"/>
                  </a:lnTo>
                  <a:lnTo>
                    <a:pt x="498" y="1292"/>
                  </a:lnTo>
                  <a:lnTo>
                    <a:pt x="498" y="1291"/>
                  </a:lnTo>
                  <a:lnTo>
                    <a:pt x="496" y="1291"/>
                  </a:lnTo>
                  <a:close/>
                  <a:moveTo>
                    <a:pt x="481" y="1244"/>
                  </a:moveTo>
                  <a:lnTo>
                    <a:pt x="461" y="1261"/>
                  </a:lnTo>
                  <a:lnTo>
                    <a:pt x="461" y="1263"/>
                  </a:lnTo>
                  <a:lnTo>
                    <a:pt x="462" y="1263"/>
                  </a:lnTo>
                  <a:lnTo>
                    <a:pt x="464" y="1261"/>
                  </a:lnTo>
                  <a:lnTo>
                    <a:pt x="467" y="1261"/>
                  </a:lnTo>
                  <a:lnTo>
                    <a:pt x="468" y="1258"/>
                  </a:lnTo>
                  <a:lnTo>
                    <a:pt x="475" y="1254"/>
                  </a:lnTo>
                  <a:lnTo>
                    <a:pt x="479" y="1254"/>
                  </a:lnTo>
                  <a:lnTo>
                    <a:pt x="481" y="1254"/>
                  </a:lnTo>
                  <a:lnTo>
                    <a:pt x="481" y="1255"/>
                  </a:lnTo>
                  <a:lnTo>
                    <a:pt x="479" y="1258"/>
                  </a:lnTo>
                  <a:lnTo>
                    <a:pt x="478" y="1260"/>
                  </a:lnTo>
                  <a:lnTo>
                    <a:pt x="478" y="1261"/>
                  </a:lnTo>
                  <a:lnTo>
                    <a:pt x="478" y="1263"/>
                  </a:lnTo>
                  <a:lnTo>
                    <a:pt x="478" y="1261"/>
                  </a:lnTo>
                  <a:lnTo>
                    <a:pt x="479" y="1261"/>
                  </a:lnTo>
                  <a:lnTo>
                    <a:pt x="479" y="1261"/>
                  </a:lnTo>
                  <a:lnTo>
                    <a:pt x="481" y="1263"/>
                  </a:lnTo>
                  <a:lnTo>
                    <a:pt x="479" y="1263"/>
                  </a:lnTo>
                  <a:lnTo>
                    <a:pt x="479" y="1264"/>
                  </a:lnTo>
                  <a:lnTo>
                    <a:pt x="484" y="1264"/>
                  </a:lnTo>
                  <a:lnTo>
                    <a:pt x="487" y="1263"/>
                  </a:lnTo>
                  <a:lnTo>
                    <a:pt x="490" y="1260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4"/>
                  </a:lnTo>
                  <a:lnTo>
                    <a:pt x="488" y="1252"/>
                  </a:lnTo>
                  <a:lnTo>
                    <a:pt x="488" y="1251"/>
                  </a:lnTo>
                  <a:lnTo>
                    <a:pt x="488" y="1249"/>
                  </a:lnTo>
                  <a:lnTo>
                    <a:pt x="487" y="1248"/>
                  </a:lnTo>
                  <a:lnTo>
                    <a:pt x="485" y="1248"/>
                  </a:lnTo>
                  <a:lnTo>
                    <a:pt x="484" y="1246"/>
                  </a:lnTo>
                  <a:lnTo>
                    <a:pt x="482" y="1244"/>
                  </a:lnTo>
                  <a:lnTo>
                    <a:pt x="481" y="1244"/>
                  </a:lnTo>
                  <a:lnTo>
                    <a:pt x="481" y="1244"/>
                  </a:lnTo>
                  <a:close/>
                  <a:moveTo>
                    <a:pt x="455" y="1261"/>
                  </a:moveTo>
                  <a:lnTo>
                    <a:pt x="455" y="1263"/>
                  </a:lnTo>
                  <a:lnTo>
                    <a:pt x="459" y="1260"/>
                  </a:lnTo>
                  <a:lnTo>
                    <a:pt x="462" y="1258"/>
                  </a:lnTo>
                  <a:lnTo>
                    <a:pt x="465" y="1252"/>
                  </a:lnTo>
                  <a:lnTo>
                    <a:pt x="472" y="1251"/>
                  </a:lnTo>
                  <a:lnTo>
                    <a:pt x="481" y="1241"/>
                  </a:lnTo>
                  <a:lnTo>
                    <a:pt x="482" y="1241"/>
                  </a:lnTo>
                  <a:lnTo>
                    <a:pt x="482" y="1241"/>
                  </a:lnTo>
                  <a:lnTo>
                    <a:pt x="482" y="1241"/>
                  </a:lnTo>
                  <a:lnTo>
                    <a:pt x="481" y="1238"/>
                  </a:lnTo>
                  <a:lnTo>
                    <a:pt x="478" y="1238"/>
                  </a:lnTo>
                  <a:lnTo>
                    <a:pt x="476" y="1238"/>
                  </a:lnTo>
                  <a:lnTo>
                    <a:pt x="476" y="1241"/>
                  </a:lnTo>
                  <a:lnTo>
                    <a:pt x="472" y="1243"/>
                  </a:lnTo>
                  <a:lnTo>
                    <a:pt x="468" y="1246"/>
                  </a:lnTo>
                  <a:lnTo>
                    <a:pt x="464" y="1249"/>
                  </a:lnTo>
                  <a:lnTo>
                    <a:pt x="462" y="1249"/>
                  </a:lnTo>
                  <a:lnTo>
                    <a:pt x="458" y="1249"/>
                  </a:lnTo>
                  <a:lnTo>
                    <a:pt x="456" y="1251"/>
                  </a:lnTo>
                  <a:lnTo>
                    <a:pt x="455" y="1254"/>
                  </a:lnTo>
                  <a:lnTo>
                    <a:pt x="455" y="1255"/>
                  </a:lnTo>
                  <a:lnTo>
                    <a:pt x="453" y="1258"/>
                  </a:lnTo>
                  <a:lnTo>
                    <a:pt x="451" y="1260"/>
                  </a:lnTo>
                  <a:lnTo>
                    <a:pt x="455" y="1260"/>
                  </a:lnTo>
                  <a:lnTo>
                    <a:pt x="455" y="1261"/>
                  </a:lnTo>
                  <a:close/>
                  <a:moveTo>
                    <a:pt x="516" y="1229"/>
                  </a:moveTo>
                  <a:lnTo>
                    <a:pt x="518" y="1228"/>
                  </a:lnTo>
                  <a:lnTo>
                    <a:pt x="521" y="1226"/>
                  </a:lnTo>
                  <a:lnTo>
                    <a:pt x="522" y="1224"/>
                  </a:lnTo>
                  <a:lnTo>
                    <a:pt x="522" y="1224"/>
                  </a:lnTo>
                  <a:lnTo>
                    <a:pt x="522" y="1226"/>
                  </a:lnTo>
                  <a:lnTo>
                    <a:pt x="522" y="1226"/>
                  </a:lnTo>
                  <a:lnTo>
                    <a:pt x="522" y="1228"/>
                  </a:lnTo>
                  <a:lnTo>
                    <a:pt x="522" y="1228"/>
                  </a:lnTo>
                  <a:lnTo>
                    <a:pt x="522" y="1229"/>
                  </a:lnTo>
                  <a:lnTo>
                    <a:pt x="524" y="1228"/>
                  </a:lnTo>
                  <a:lnTo>
                    <a:pt x="524" y="1228"/>
                  </a:lnTo>
                  <a:lnTo>
                    <a:pt x="525" y="1226"/>
                  </a:lnTo>
                  <a:lnTo>
                    <a:pt x="525" y="1224"/>
                  </a:lnTo>
                  <a:lnTo>
                    <a:pt x="525" y="1224"/>
                  </a:lnTo>
                  <a:lnTo>
                    <a:pt x="524" y="1224"/>
                  </a:lnTo>
                  <a:lnTo>
                    <a:pt x="524" y="1223"/>
                  </a:lnTo>
                  <a:lnTo>
                    <a:pt x="525" y="1223"/>
                  </a:lnTo>
                  <a:lnTo>
                    <a:pt x="527" y="1221"/>
                  </a:lnTo>
                  <a:lnTo>
                    <a:pt x="529" y="1220"/>
                  </a:lnTo>
                  <a:lnTo>
                    <a:pt x="530" y="1218"/>
                  </a:lnTo>
                  <a:lnTo>
                    <a:pt x="532" y="1217"/>
                  </a:lnTo>
                  <a:lnTo>
                    <a:pt x="532" y="1215"/>
                  </a:lnTo>
                  <a:lnTo>
                    <a:pt x="530" y="1215"/>
                  </a:lnTo>
                  <a:lnTo>
                    <a:pt x="529" y="1215"/>
                  </a:lnTo>
                  <a:lnTo>
                    <a:pt x="529" y="1217"/>
                  </a:lnTo>
                  <a:lnTo>
                    <a:pt x="529" y="1217"/>
                  </a:lnTo>
                  <a:lnTo>
                    <a:pt x="527" y="1217"/>
                  </a:lnTo>
                  <a:lnTo>
                    <a:pt x="527" y="1217"/>
                  </a:lnTo>
                  <a:lnTo>
                    <a:pt x="527" y="1217"/>
                  </a:lnTo>
                  <a:lnTo>
                    <a:pt x="525" y="1215"/>
                  </a:lnTo>
                  <a:lnTo>
                    <a:pt x="522" y="1215"/>
                  </a:lnTo>
                  <a:lnTo>
                    <a:pt x="516" y="1217"/>
                  </a:lnTo>
                  <a:lnTo>
                    <a:pt x="516" y="1218"/>
                  </a:lnTo>
                  <a:lnTo>
                    <a:pt x="515" y="1220"/>
                  </a:lnTo>
                  <a:lnTo>
                    <a:pt x="513" y="1220"/>
                  </a:lnTo>
                  <a:lnTo>
                    <a:pt x="513" y="1221"/>
                  </a:lnTo>
                  <a:lnTo>
                    <a:pt x="513" y="1223"/>
                  </a:lnTo>
                  <a:lnTo>
                    <a:pt x="513" y="1224"/>
                  </a:lnTo>
                  <a:lnTo>
                    <a:pt x="513" y="1224"/>
                  </a:lnTo>
                  <a:lnTo>
                    <a:pt x="513" y="1226"/>
                  </a:lnTo>
                  <a:lnTo>
                    <a:pt x="512" y="1226"/>
                  </a:lnTo>
                  <a:lnTo>
                    <a:pt x="512" y="1226"/>
                  </a:lnTo>
                  <a:lnTo>
                    <a:pt x="515" y="1229"/>
                  </a:lnTo>
                  <a:lnTo>
                    <a:pt x="516" y="1229"/>
                  </a:lnTo>
                  <a:close/>
                  <a:moveTo>
                    <a:pt x="547" y="1221"/>
                  </a:moveTo>
                  <a:lnTo>
                    <a:pt x="547" y="1221"/>
                  </a:lnTo>
                  <a:lnTo>
                    <a:pt x="549" y="1223"/>
                  </a:lnTo>
                  <a:lnTo>
                    <a:pt x="552" y="1224"/>
                  </a:lnTo>
                  <a:lnTo>
                    <a:pt x="553" y="1224"/>
                  </a:lnTo>
                  <a:lnTo>
                    <a:pt x="555" y="1224"/>
                  </a:lnTo>
                  <a:lnTo>
                    <a:pt x="558" y="1226"/>
                  </a:lnTo>
                  <a:lnTo>
                    <a:pt x="559" y="1226"/>
                  </a:lnTo>
                  <a:lnTo>
                    <a:pt x="565" y="1224"/>
                  </a:lnTo>
                  <a:lnTo>
                    <a:pt x="569" y="1221"/>
                  </a:lnTo>
                  <a:lnTo>
                    <a:pt x="570" y="1220"/>
                  </a:lnTo>
                  <a:lnTo>
                    <a:pt x="572" y="1217"/>
                  </a:lnTo>
                  <a:lnTo>
                    <a:pt x="569" y="1215"/>
                  </a:lnTo>
                  <a:lnTo>
                    <a:pt x="567" y="1215"/>
                  </a:lnTo>
                  <a:lnTo>
                    <a:pt x="565" y="1214"/>
                  </a:lnTo>
                  <a:lnTo>
                    <a:pt x="567" y="1211"/>
                  </a:lnTo>
                  <a:lnTo>
                    <a:pt x="569" y="1208"/>
                  </a:lnTo>
                  <a:lnTo>
                    <a:pt x="565" y="1204"/>
                  </a:lnTo>
                  <a:lnTo>
                    <a:pt x="564" y="1200"/>
                  </a:lnTo>
                  <a:lnTo>
                    <a:pt x="562" y="1198"/>
                  </a:lnTo>
                  <a:lnTo>
                    <a:pt x="561" y="1198"/>
                  </a:lnTo>
                  <a:lnTo>
                    <a:pt x="558" y="1200"/>
                  </a:lnTo>
                  <a:lnTo>
                    <a:pt x="556" y="1203"/>
                  </a:lnTo>
                  <a:lnTo>
                    <a:pt x="555" y="1204"/>
                  </a:lnTo>
                  <a:lnTo>
                    <a:pt x="555" y="1206"/>
                  </a:lnTo>
                  <a:lnTo>
                    <a:pt x="555" y="1208"/>
                  </a:lnTo>
                  <a:lnTo>
                    <a:pt x="555" y="1211"/>
                  </a:lnTo>
                  <a:lnTo>
                    <a:pt x="555" y="1211"/>
                  </a:lnTo>
                  <a:lnTo>
                    <a:pt x="555" y="1212"/>
                  </a:lnTo>
                  <a:lnTo>
                    <a:pt x="555" y="1214"/>
                  </a:lnTo>
                  <a:lnTo>
                    <a:pt x="556" y="1214"/>
                  </a:lnTo>
                  <a:lnTo>
                    <a:pt x="558" y="1214"/>
                  </a:lnTo>
                  <a:lnTo>
                    <a:pt x="555" y="1214"/>
                  </a:lnTo>
                  <a:lnTo>
                    <a:pt x="553" y="1215"/>
                  </a:lnTo>
                  <a:lnTo>
                    <a:pt x="552" y="1217"/>
                  </a:lnTo>
                  <a:lnTo>
                    <a:pt x="552" y="1218"/>
                  </a:lnTo>
                  <a:lnTo>
                    <a:pt x="552" y="1220"/>
                  </a:lnTo>
                  <a:lnTo>
                    <a:pt x="552" y="1221"/>
                  </a:lnTo>
                  <a:lnTo>
                    <a:pt x="550" y="1221"/>
                  </a:lnTo>
                  <a:lnTo>
                    <a:pt x="547" y="1221"/>
                  </a:lnTo>
                  <a:close/>
                  <a:moveTo>
                    <a:pt x="562" y="1192"/>
                  </a:moveTo>
                  <a:lnTo>
                    <a:pt x="562" y="1192"/>
                  </a:lnTo>
                  <a:lnTo>
                    <a:pt x="564" y="1187"/>
                  </a:lnTo>
                  <a:lnTo>
                    <a:pt x="565" y="1187"/>
                  </a:lnTo>
                  <a:lnTo>
                    <a:pt x="567" y="1186"/>
                  </a:lnTo>
                  <a:lnTo>
                    <a:pt x="565" y="1184"/>
                  </a:lnTo>
                  <a:lnTo>
                    <a:pt x="564" y="1183"/>
                  </a:lnTo>
                  <a:lnTo>
                    <a:pt x="564" y="1183"/>
                  </a:lnTo>
                  <a:lnTo>
                    <a:pt x="564" y="1180"/>
                  </a:lnTo>
                  <a:lnTo>
                    <a:pt x="564" y="1178"/>
                  </a:lnTo>
                  <a:lnTo>
                    <a:pt x="565" y="1180"/>
                  </a:lnTo>
                  <a:lnTo>
                    <a:pt x="573" y="1177"/>
                  </a:lnTo>
                  <a:lnTo>
                    <a:pt x="575" y="1177"/>
                  </a:lnTo>
                  <a:lnTo>
                    <a:pt x="575" y="1175"/>
                  </a:lnTo>
                  <a:lnTo>
                    <a:pt x="576" y="1174"/>
                  </a:lnTo>
                  <a:lnTo>
                    <a:pt x="578" y="1172"/>
                  </a:lnTo>
                  <a:lnTo>
                    <a:pt x="581" y="1171"/>
                  </a:lnTo>
                  <a:lnTo>
                    <a:pt x="582" y="1169"/>
                  </a:lnTo>
                  <a:lnTo>
                    <a:pt x="584" y="1167"/>
                  </a:lnTo>
                  <a:lnTo>
                    <a:pt x="585" y="1166"/>
                  </a:lnTo>
                  <a:lnTo>
                    <a:pt x="584" y="1166"/>
                  </a:lnTo>
                  <a:lnTo>
                    <a:pt x="584" y="1164"/>
                  </a:lnTo>
                  <a:lnTo>
                    <a:pt x="582" y="1163"/>
                  </a:lnTo>
                  <a:lnTo>
                    <a:pt x="581" y="1161"/>
                  </a:lnTo>
                  <a:lnTo>
                    <a:pt x="581" y="1158"/>
                  </a:lnTo>
                  <a:lnTo>
                    <a:pt x="581" y="1155"/>
                  </a:lnTo>
                  <a:lnTo>
                    <a:pt x="581" y="1154"/>
                  </a:lnTo>
                  <a:lnTo>
                    <a:pt x="578" y="1146"/>
                  </a:lnTo>
                  <a:lnTo>
                    <a:pt x="576" y="1144"/>
                  </a:lnTo>
                  <a:lnTo>
                    <a:pt x="573" y="1143"/>
                  </a:lnTo>
                  <a:lnTo>
                    <a:pt x="572" y="1141"/>
                  </a:lnTo>
                  <a:lnTo>
                    <a:pt x="572" y="1140"/>
                  </a:lnTo>
                  <a:lnTo>
                    <a:pt x="570" y="1135"/>
                  </a:lnTo>
                  <a:lnTo>
                    <a:pt x="569" y="1132"/>
                  </a:lnTo>
                  <a:lnTo>
                    <a:pt x="567" y="1134"/>
                  </a:lnTo>
                  <a:lnTo>
                    <a:pt x="565" y="1137"/>
                  </a:lnTo>
                  <a:lnTo>
                    <a:pt x="565" y="1138"/>
                  </a:lnTo>
                  <a:lnTo>
                    <a:pt x="565" y="1138"/>
                  </a:lnTo>
                  <a:lnTo>
                    <a:pt x="565" y="1140"/>
                  </a:lnTo>
                  <a:lnTo>
                    <a:pt x="567" y="1140"/>
                  </a:lnTo>
                  <a:lnTo>
                    <a:pt x="565" y="1143"/>
                  </a:lnTo>
                  <a:lnTo>
                    <a:pt x="565" y="1144"/>
                  </a:lnTo>
                  <a:lnTo>
                    <a:pt x="564" y="1149"/>
                  </a:lnTo>
                  <a:lnTo>
                    <a:pt x="565" y="1149"/>
                  </a:lnTo>
                  <a:lnTo>
                    <a:pt x="562" y="1152"/>
                  </a:lnTo>
                  <a:lnTo>
                    <a:pt x="565" y="1154"/>
                  </a:lnTo>
                  <a:lnTo>
                    <a:pt x="567" y="1152"/>
                  </a:lnTo>
                  <a:lnTo>
                    <a:pt x="572" y="1149"/>
                  </a:lnTo>
                  <a:lnTo>
                    <a:pt x="572" y="1149"/>
                  </a:lnTo>
                  <a:lnTo>
                    <a:pt x="572" y="1151"/>
                  </a:lnTo>
                  <a:lnTo>
                    <a:pt x="572" y="1152"/>
                  </a:lnTo>
                  <a:lnTo>
                    <a:pt x="573" y="1154"/>
                  </a:lnTo>
                  <a:lnTo>
                    <a:pt x="569" y="1157"/>
                  </a:lnTo>
                  <a:lnTo>
                    <a:pt x="564" y="1161"/>
                  </a:lnTo>
                  <a:lnTo>
                    <a:pt x="561" y="1164"/>
                  </a:lnTo>
                  <a:lnTo>
                    <a:pt x="559" y="1166"/>
                  </a:lnTo>
                  <a:lnTo>
                    <a:pt x="561" y="1167"/>
                  </a:lnTo>
                  <a:lnTo>
                    <a:pt x="561" y="1167"/>
                  </a:lnTo>
                  <a:lnTo>
                    <a:pt x="561" y="1167"/>
                  </a:lnTo>
                  <a:lnTo>
                    <a:pt x="562" y="1167"/>
                  </a:lnTo>
                  <a:lnTo>
                    <a:pt x="564" y="1167"/>
                  </a:lnTo>
                  <a:lnTo>
                    <a:pt x="564" y="1169"/>
                  </a:lnTo>
                  <a:lnTo>
                    <a:pt x="562" y="1171"/>
                  </a:lnTo>
                  <a:lnTo>
                    <a:pt x="562" y="1174"/>
                  </a:lnTo>
                  <a:lnTo>
                    <a:pt x="561" y="1174"/>
                  </a:lnTo>
                  <a:lnTo>
                    <a:pt x="561" y="1174"/>
                  </a:lnTo>
                  <a:lnTo>
                    <a:pt x="559" y="1172"/>
                  </a:lnTo>
                  <a:lnTo>
                    <a:pt x="559" y="1172"/>
                  </a:lnTo>
                  <a:lnTo>
                    <a:pt x="558" y="1174"/>
                  </a:lnTo>
                  <a:lnTo>
                    <a:pt x="556" y="1175"/>
                  </a:lnTo>
                  <a:lnTo>
                    <a:pt x="555" y="1178"/>
                  </a:lnTo>
                  <a:lnTo>
                    <a:pt x="555" y="1181"/>
                  </a:lnTo>
                  <a:lnTo>
                    <a:pt x="555" y="1183"/>
                  </a:lnTo>
                  <a:lnTo>
                    <a:pt x="556" y="1183"/>
                  </a:lnTo>
                  <a:lnTo>
                    <a:pt x="556" y="1183"/>
                  </a:lnTo>
                  <a:lnTo>
                    <a:pt x="558" y="1183"/>
                  </a:lnTo>
                  <a:lnTo>
                    <a:pt x="555" y="1191"/>
                  </a:lnTo>
                  <a:lnTo>
                    <a:pt x="553" y="1195"/>
                  </a:lnTo>
                  <a:lnTo>
                    <a:pt x="552" y="1197"/>
                  </a:lnTo>
                  <a:lnTo>
                    <a:pt x="555" y="1198"/>
                  </a:lnTo>
                  <a:lnTo>
                    <a:pt x="562" y="1192"/>
                  </a:lnTo>
                  <a:close/>
                  <a:moveTo>
                    <a:pt x="536" y="1127"/>
                  </a:moveTo>
                  <a:lnTo>
                    <a:pt x="538" y="1127"/>
                  </a:lnTo>
                  <a:lnTo>
                    <a:pt x="536" y="1129"/>
                  </a:lnTo>
                  <a:lnTo>
                    <a:pt x="538" y="1129"/>
                  </a:lnTo>
                  <a:lnTo>
                    <a:pt x="538" y="1129"/>
                  </a:lnTo>
                  <a:lnTo>
                    <a:pt x="539" y="1129"/>
                  </a:lnTo>
                  <a:lnTo>
                    <a:pt x="539" y="1129"/>
                  </a:lnTo>
                  <a:lnTo>
                    <a:pt x="541" y="1129"/>
                  </a:lnTo>
                  <a:lnTo>
                    <a:pt x="541" y="1131"/>
                  </a:lnTo>
                  <a:lnTo>
                    <a:pt x="541" y="1131"/>
                  </a:lnTo>
                  <a:lnTo>
                    <a:pt x="542" y="1131"/>
                  </a:lnTo>
                  <a:lnTo>
                    <a:pt x="542" y="1131"/>
                  </a:lnTo>
                  <a:lnTo>
                    <a:pt x="545" y="1126"/>
                  </a:lnTo>
                  <a:lnTo>
                    <a:pt x="545" y="1124"/>
                  </a:lnTo>
                  <a:lnTo>
                    <a:pt x="547" y="1121"/>
                  </a:lnTo>
                  <a:lnTo>
                    <a:pt x="545" y="1120"/>
                  </a:lnTo>
                  <a:lnTo>
                    <a:pt x="545" y="1118"/>
                  </a:lnTo>
                  <a:lnTo>
                    <a:pt x="547" y="1117"/>
                  </a:lnTo>
                  <a:lnTo>
                    <a:pt x="549" y="1115"/>
                  </a:lnTo>
                  <a:lnTo>
                    <a:pt x="549" y="1114"/>
                  </a:lnTo>
                  <a:lnTo>
                    <a:pt x="549" y="1112"/>
                  </a:lnTo>
                  <a:lnTo>
                    <a:pt x="547" y="1112"/>
                  </a:lnTo>
                  <a:lnTo>
                    <a:pt x="545" y="1112"/>
                  </a:lnTo>
                  <a:lnTo>
                    <a:pt x="544" y="1112"/>
                  </a:lnTo>
                  <a:lnTo>
                    <a:pt x="542" y="1110"/>
                  </a:lnTo>
                  <a:lnTo>
                    <a:pt x="539" y="1110"/>
                  </a:lnTo>
                  <a:lnTo>
                    <a:pt x="535" y="1112"/>
                  </a:lnTo>
                  <a:lnTo>
                    <a:pt x="533" y="1115"/>
                  </a:lnTo>
                  <a:lnTo>
                    <a:pt x="532" y="1118"/>
                  </a:lnTo>
                  <a:lnTo>
                    <a:pt x="530" y="1123"/>
                  </a:lnTo>
                  <a:lnTo>
                    <a:pt x="530" y="1126"/>
                  </a:lnTo>
                  <a:lnTo>
                    <a:pt x="532" y="1127"/>
                  </a:lnTo>
                  <a:lnTo>
                    <a:pt x="536" y="1127"/>
                  </a:lnTo>
                  <a:close/>
                  <a:moveTo>
                    <a:pt x="582" y="1078"/>
                  </a:moveTo>
                  <a:lnTo>
                    <a:pt x="581" y="1080"/>
                  </a:lnTo>
                  <a:lnTo>
                    <a:pt x="579" y="1080"/>
                  </a:lnTo>
                  <a:lnTo>
                    <a:pt x="582" y="1080"/>
                  </a:lnTo>
                  <a:lnTo>
                    <a:pt x="584" y="1078"/>
                  </a:lnTo>
                  <a:lnTo>
                    <a:pt x="595" y="1067"/>
                  </a:lnTo>
                  <a:lnTo>
                    <a:pt x="598" y="1066"/>
                  </a:lnTo>
                  <a:lnTo>
                    <a:pt x="602" y="1061"/>
                  </a:lnTo>
                  <a:lnTo>
                    <a:pt x="612" y="1057"/>
                  </a:lnTo>
                  <a:lnTo>
                    <a:pt x="615" y="1057"/>
                  </a:lnTo>
                  <a:lnTo>
                    <a:pt x="615" y="1054"/>
                  </a:lnTo>
                  <a:lnTo>
                    <a:pt x="612" y="1052"/>
                  </a:lnTo>
                  <a:lnTo>
                    <a:pt x="607" y="1052"/>
                  </a:lnTo>
                  <a:lnTo>
                    <a:pt x="602" y="1055"/>
                  </a:lnTo>
                  <a:lnTo>
                    <a:pt x="599" y="1057"/>
                  </a:lnTo>
                  <a:lnTo>
                    <a:pt x="599" y="1058"/>
                  </a:lnTo>
                  <a:lnTo>
                    <a:pt x="596" y="1060"/>
                  </a:lnTo>
                  <a:lnTo>
                    <a:pt x="595" y="1061"/>
                  </a:lnTo>
                  <a:lnTo>
                    <a:pt x="593" y="1061"/>
                  </a:lnTo>
                  <a:lnTo>
                    <a:pt x="593" y="1061"/>
                  </a:lnTo>
                  <a:lnTo>
                    <a:pt x="595" y="1058"/>
                  </a:lnTo>
                  <a:lnTo>
                    <a:pt x="596" y="1054"/>
                  </a:lnTo>
                  <a:lnTo>
                    <a:pt x="595" y="1052"/>
                  </a:lnTo>
                  <a:lnTo>
                    <a:pt x="593" y="1054"/>
                  </a:lnTo>
                  <a:lnTo>
                    <a:pt x="584" y="1058"/>
                  </a:lnTo>
                  <a:lnTo>
                    <a:pt x="582" y="1060"/>
                  </a:lnTo>
                  <a:lnTo>
                    <a:pt x="582" y="1063"/>
                  </a:lnTo>
                  <a:lnTo>
                    <a:pt x="581" y="1067"/>
                  </a:lnTo>
                  <a:lnTo>
                    <a:pt x="579" y="1069"/>
                  </a:lnTo>
                  <a:lnTo>
                    <a:pt x="576" y="1074"/>
                  </a:lnTo>
                  <a:lnTo>
                    <a:pt x="575" y="1077"/>
                  </a:lnTo>
                  <a:lnTo>
                    <a:pt x="584" y="1075"/>
                  </a:lnTo>
                  <a:lnTo>
                    <a:pt x="582" y="1077"/>
                  </a:lnTo>
                  <a:lnTo>
                    <a:pt x="582" y="1078"/>
                  </a:lnTo>
                  <a:close/>
                  <a:moveTo>
                    <a:pt x="590" y="1043"/>
                  </a:moveTo>
                  <a:lnTo>
                    <a:pt x="592" y="1041"/>
                  </a:lnTo>
                  <a:lnTo>
                    <a:pt x="593" y="1041"/>
                  </a:lnTo>
                  <a:lnTo>
                    <a:pt x="596" y="1040"/>
                  </a:lnTo>
                  <a:lnTo>
                    <a:pt x="596" y="1040"/>
                  </a:lnTo>
                  <a:lnTo>
                    <a:pt x="596" y="1038"/>
                  </a:lnTo>
                  <a:lnTo>
                    <a:pt x="596" y="1037"/>
                  </a:lnTo>
                  <a:lnTo>
                    <a:pt x="595" y="1035"/>
                  </a:lnTo>
                  <a:lnTo>
                    <a:pt x="592" y="1037"/>
                  </a:lnTo>
                  <a:lnTo>
                    <a:pt x="592" y="1035"/>
                  </a:lnTo>
                  <a:lnTo>
                    <a:pt x="593" y="1035"/>
                  </a:lnTo>
                  <a:lnTo>
                    <a:pt x="595" y="1033"/>
                  </a:lnTo>
                  <a:lnTo>
                    <a:pt x="589" y="1033"/>
                  </a:lnTo>
                  <a:lnTo>
                    <a:pt x="589" y="1032"/>
                  </a:lnTo>
                  <a:lnTo>
                    <a:pt x="592" y="1030"/>
                  </a:lnTo>
                  <a:lnTo>
                    <a:pt x="593" y="1027"/>
                  </a:lnTo>
                  <a:lnTo>
                    <a:pt x="593" y="1026"/>
                  </a:lnTo>
                  <a:lnTo>
                    <a:pt x="593" y="1024"/>
                  </a:lnTo>
                  <a:lnTo>
                    <a:pt x="593" y="1021"/>
                  </a:lnTo>
                  <a:lnTo>
                    <a:pt x="592" y="1020"/>
                  </a:lnTo>
                  <a:lnTo>
                    <a:pt x="592" y="1018"/>
                  </a:lnTo>
                  <a:lnTo>
                    <a:pt x="590" y="1017"/>
                  </a:lnTo>
                  <a:lnTo>
                    <a:pt x="589" y="1017"/>
                  </a:lnTo>
                  <a:lnTo>
                    <a:pt x="589" y="1020"/>
                  </a:lnTo>
                  <a:lnTo>
                    <a:pt x="587" y="1020"/>
                  </a:lnTo>
                  <a:lnTo>
                    <a:pt x="587" y="1021"/>
                  </a:lnTo>
                  <a:lnTo>
                    <a:pt x="579" y="1026"/>
                  </a:lnTo>
                  <a:lnTo>
                    <a:pt x="579" y="1026"/>
                  </a:lnTo>
                  <a:lnTo>
                    <a:pt x="582" y="1024"/>
                  </a:lnTo>
                  <a:lnTo>
                    <a:pt x="585" y="1024"/>
                  </a:lnTo>
                  <a:lnTo>
                    <a:pt x="589" y="1026"/>
                  </a:lnTo>
                  <a:lnTo>
                    <a:pt x="590" y="1027"/>
                  </a:lnTo>
                  <a:lnTo>
                    <a:pt x="587" y="1030"/>
                  </a:lnTo>
                  <a:lnTo>
                    <a:pt x="584" y="1032"/>
                  </a:lnTo>
                  <a:lnTo>
                    <a:pt x="584" y="1033"/>
                  </a:lnTo>
                  <a:lnTo>
                    <a:pt x="584" y="1035"/>
                  </a:lnTo>
                  <a:lnTo>
                    <a:pt x="582" y="1037"/>
                  </a:lnTo>
                  <a:lnTo>
                    <a:pt x="582" y="1037"/>
                  </a:lnTo>
                  <a:lnTo>
                    <a:pt x="578" y="1038"/>
                  </a:lnTo>
                  <a:lnTo>
                    <a:pt x="576" y="1038"/>
                  </a:lnTo>
                  <a:lnTo>
                    <a:pt x="575" y="1041"/>
                  </a:lnTo>
                  <a:lnTo>
                    <a:pt x="573" y="1041"/>
                  </a:lnTo>
                  <a:lnTo>
                    <a:pt x="573" y="1043"/>
                  </a:lnTo>
                  <a:lnTo>
                    <a:pt x="575" y="1043"/>
                  </a:lnTo>
                  <a:lnTo>
                    <a:pt x="578" y="1041"/>
                  </a:lnTo>
                  <a:lnTo>
                    <a:pt x="579" y="1040"/>
                  </a:lnTo>
                  <a:lnTo>
                    <a:pt x="579" y="1041"/>
                  </a:lnTo>
                  <a:lnTo>
                    <a:pt x="579" y="1043"/>
                  </a:lnTo>
                  <a:lnTo>
                    <a:pt x="578" y="1044"/>
                  </a:lnTo>
                  <a:lnTo>
                    <a:pt x="576" y="1046"/>
                  </a:lnTo>
                  <a:lnTo>
                    <a:pt x="575" y="1047"/>
                  </a:lnTo>
                  <a:lnTo>
                    <a:pt x="575" y="1047"/>
                  </a:lnTo>
                  <a:lnTo>
                    <a:pt x="573" y="1049"/>
                  </a:lnTo>
                  <a:lnTo>
                    <a:pt x="570" y="1054"/>
                  </a:lnTo>
                  <a:lnTo>
                    <a:pt x="587" y="1046"/>
                  </a:lnTo>
                  <a:lnTo>
                    <a:pt x="590" y="1043"/>
                  </a:lnTo>
                  <a:close/>
                  <a:moveTo>
                    <a:pt x="601" y="1012"/>
                  </a:moveTo>
                  <a:lnTo>
                    <a:pt x="602" y="1012"/>
                  </a:lnTo>
                  <a:lnTo>
                    <a:pt x="604" y="1013"/>
                  </a:lnTo>
                  <a:lnTo>
                    <a:pt x="604" y="1017"/>
                  </a:lnTo>
                  <a:lnTo>
                    <a:pt x="607" y="1017"/>
                  </a:lnTo>
                  <a:lnTo>
                    <a:pt x="609" y="1015"/>
                  </a:lnTo>
                  <a:lnTo>
                    <a:pt x="610" y="1017"/>
                  </a:lnTo>
                  <a:lnTo>
                    <a:pt x="612" y="1015"/>
                  </a:lnTo>
                  <a:lnTo>
                    <a:pt x="612" y="1013"/>
                  </a:lnTo>
                  <a:lnTo>
                    <a:pt x="613" y="1013"/>
                  </a:lnTo>
                  <a:lnTo>
                    <a:pt x="613" y="1012"/>
                  </a:lnTo>
                  <a:lnTo>
                    <a:pt x="615" y="1009"/>
                  </a:lnTo>
                  <a:lnTo>
                    <a:pt x="613" y="1006"/>
                  </a:lnTo>
                  <a:lnTo>
                    <a:pt x="613" y="1004"/>
                  </a:lnTo>
                  <a:lnTo>
                    <a:pt x="613" y="1004"/>
                  </a:lnTo>
                  <a:lnTo>
                    <a:pt x="613" y="1003"/>
                  </a:lnTo>
                  <a:lnTo>
                    <a:pt x="612" y="1003"/>
                  </a:lnTo>
                  <a:lnTo>
                    <a:pt x="610" y="1003"/>
                  </a:lnTo>
                  <a:lnTo>
                    <a:pt x="610" y="1003"/>
                  </a:lnTo>
                  <a:lnTo>
                    <a:pt x="610" y="1003"/>
                  </a:lnTo>
                  <a:lnTo>
                    <a:pt x="610" y="1001"/>
                  </a:lnTo>
                  <a:lnTo>
                    <a:pt x="609" y="1003"/>
                  </a:lnTo>
                  <a:lnTo>
                    <a:pt x="609" y="1001"/>
                  </a:lnTo>
                  <a:lnTo>
                    <a:pt x="607" y="1000"/>
                  </a:lnTo>
                  <a:lnTo>
                    <a:pt x="607" y="1000"/>
                  </a:lnTo>
                  <a:lnTo>
                    <a:pt x="607" y="1001"/>
                  </a:lnTo>
                  <a:lnTo>
                    <a:pt x="607" y="1001"/>
                  </a:lnTo>
                  <a:lnTo>
                    <a:pt x="607" y="1003"/>
                  </a:lnTo>
                  <a:lnTo>
                    <a:pt x="604" y="1006"/>
                  </a:lnTo>
                  <a:lnTo>
                    <a:pt x="602" y="1007"/>
                  </a:lnTo>
                  <a:lnTo>
                    <a:pt x="601" y="1009"/>
                  </a:lnTo>
                  <a:lnTo>
                    <a:pt x="601" y="1010"/>
                  </a:lnTo>
                  <a:lnTo>
                    <a:pt x="601" y="1012"/>
                  </a:lnTo>
                  <a:lnTo>
                    <a:pt x="601" y="1012"/>
                  </a:lnTo>
                  <a:lnTo>
                    <a:pt x="601" y="1012"/>
                  </a:lnTo>
                  <a:close/>
                  <a:moveTo>
                    <a:pt x="615" y="981"/>
                  </a:moveTo>
                  <a:lnTo>
                    <a:pt x="615" y="980"/>
                  </a:lnTo>
                  <a:lnTo>
                    <a:pt x="615" y="983"/>
                  </a:lnTo>
                  <a:lnTo>
                    <a:pt x="616" y="983"/>
                  </a:lnTo>
                  <a:lnTo>
                    <a:pt x="616" y="984"/>
                  </a:lnTo>
                  <a:lnTo>
                    <a:pt x="618" y="986"/>
                  </a:lnTo>
                  <a:lnTo>
                    <a:pt x="618" y="984"/>
                  </a:lnTo>
                  <a:lnTo>
                    <a:pt x="619" y="981"/>
                  </a:lnTo>
                  <a:lnTo>
                    <a:pt x="619" y="977"/>
                  </a:lnTo>
                  <a:lnTo>
                    <a:pt x="619" y="973"/>
                  </a:lnTo>
                  <a:lnTo>
                    <a:pt x="619" y="972"/>
                  </a:lnTo>
                  <a:lnTo>
                    <a:pt x="618" y="972"/>
                  </a:lnTo>
                  <a:lnTo>
                    <a:pt x="618" y="972"/>
                  </a:lnTo>
                  <a:lnTo>
                    <a:pt x="618" y="973"/>
                  </a:lnTo>
                  <a:lnTo>
                    <a:pt x="618" y="975"/>
                  </a:lnTo>
                  <a:lnTo>
                    <a:pt x="616" y="977"/>
                  </a:lnTo>
                  <a:lnTo>
                    <a:pt x="616" y="978"/>
                  </a:lnTo>
                  <a:lnTo>
                    <a:pt x="616" y="977"/>
                  </a:lnTo>
                  <a:lnTo>
                    <a:pt x="616" y="975"/>
                  </a:lnTo>
                  <a:lnTo>
                    <a:pt x="615" y="975"/>
                  </a:lnTo>
                  <a:lnTo>
                    <a:pt x="615" y="973"/>
                  </a:lnTo>
                  <a:lnTo>
                    <a:pt x="615" y="973"/>
                  </a:lnTo>
                  <a:lnTo>
                    <a:pt x="615" y="972"/>
                  </a:lnTo>
                  <a:lnTo>
                    <a:pt x="610" y="975"/>
                  </a:lnTo>
                  <a:lnTo>
                    <a:pt x="609" y="975"/>
                  </a:lnTo>
                  <a:lnTo>
                    <a:pt x="609" y="977"/>
                  </a:lnTo>
                  <a:lnTo>
                    <a:pt x="610" y="977"/>
                  </a:lnTo>
                  <a:lnTo>
                    <a:pt x="610" y="978"/>
                  </a:lnTo>
                  <a:lnTo>
                    <a:pt x="612" y="981"/>
                  </a:lnTo>
                  <a:lnTo>
                    <a:pt x="610" y="983"/>
                  </a:lnTo>
                  <a:lnTo>
                    <a:pt x="609" y="986"/>
                  </a:lnTo>
                  <a:lnTo>
                    <a:pt x="607" y="986"/>
                  </a:lnTo>
                  <a:lnTo>
                    <a:pt x="609" y="987"/>
                  </a:lnTo>
                  <a:lnTo>
                    <a:pt x="610" y="987"/>
                  </a:lnTo>
                  <a:lnTo>
                    <a:pt x="610" y="989"/>
                  </a:lnTo>
                  <a:lnTo>
                    <a:pt x="610" y="989"/>
                  </a:lnTo>
                  <a:lnTo>
                    <a:pt x="612" y="989"/>
                  </a:lnTo>
                  <a:lnTo>
                    <a:pt x="612" y="989"/>
                  </a:lnTo>
                  <a:lnTo>
                    <a:pt x="613" y="990"/>
                  </a:lnTo>
                  <a:lnTo>
                    <a:pt x="613" y="990"/>
                  </a:lnTo>
                  <a:lnTo>
                    <a:pt x="615" y="992"/>
                  </a:lnTo>
                  <a:lnTo>
                    <a:pt x="615" y="990"/>
                  </a:lnTo>
                  <a:lnTo>
                    <a:pt x="613" y="987"/>
                  </a:lnTo>
                  <a:lnTo>
                    <a:pt x="613" y="984"/>
                  </a:lnTo>
                  <a:lnTo>
                    <a:pt x="613" y="983"/>
                  </a:lnTo>
                  <a:lnTo>
                    <a:pt x="615" y="981"/>
                  </a:lnTo>
                  <a:close/>
                  <a:moveTo>
                    <a:pt x="715" y="849"/>
                  </a:moveTo>
                  <a:lnTo>
                    <a:pt x="716" y="844"/>
                  </a:lnTo>
                  <a:lnTo>
                    <a:pt x="718" y="838"/>
                  </a:lnTo>
                  <a:lnTo>
                    <a:pt x="715" y="836"/>
                  </a:lnTo>
                  <a:lnTo>
                    <a:pt x="713" y="841"/>
                  </a:lnTo>
                  <a:lnTo>
                    <a:pt x="712" y="846"/>
                  </a:lnTo>
                  <a:lnTo>
                    <a:pt x="710" y="849"/>
                  </a:lnTo>
                  <a:lnTo>
                    <a:pt x="709" y="850"/>
                  </a:lnTo>
                  <a:lnTo>
                    <a:pt x="707" y="849"/>
                  </a:lnTo>
                  <a:lnTo>
                    <a:pt x="703" y="844"/>
                  </a:lnTo>
                  <a:lnTo>
                    <a:pt x="701" y="846"/>
                  </a:lnTo>
                  <a:lnTo>
                    <a:pt x="701" y="847"/>
                  </a:lnTo>
                  <a:lnTo>
                    <a:pt x="699" y="852"/>
                  </a:lnTo>
                  <a:lnTo>
                    <a:pt x="698" y="853"/>
                  </a:lnTo>
                  <a:lnTo>
                    <a:pt x="696" y="855"/>
                  </a:lnTo>
                  <a:lnTo>
                    <a:pt x="696" y="855"/>
                  </a:lnTo>
                  <a:lnTo>
                    <a:pt x="703" y="856"/>
                  </a:lnTo>
                  <a:lnTo>
                    <a:pt x="704" y="858"/>
                  </a:lnTo>
                  <a:lnTo>
                    <a:pt x="707" y="864"/>
                  </a:lnTo>
                  <a:lnTo>
                    <a:pt x="707" y="864"/>
                  </a:lnTo>
                  <a:lnTo>
                    <a:pt x="709" y="866"/>
                  </a:lnTo>
                  <a:lnTo>
                    <a:pt x="709" y="869"/>
                  </a:lnTo>
                  <a:lnTo>
                    <a:pt x="709" y="870"/>
                  </a:lnTo>
                  <a:lnTo>
                    <a:pt x="710" y="870"/>
                  </a:lnTo>
                  <a:lnTo>
                    <a:pt x="712" y="870"/>
                  </a:lnTo>
                  <a:lnTo>
                    <a:pt x="712" y="869"/>
                  </a:lnTo>
                  <a:lnTo>
                    <a:pt x="712" y="869"/>
                  </a:lnTo>
                  <a:lnTo>
                    <a:pt x="712" y="867"/>
                  </a:lnTo>
                  <a:lnTo>
                    <a:pt x="712" y="866"/>
                  </a:lnTo>
                  <a:lnTo>
                    <a:pt x="713" y="864"/>
                  </a:lnTo>
                  <a:lnTo>
                    <a:pt x="713" y="861"/>
                  </a:lnTo>
                  <a:lnTo>
                    <a:pt x="712" y="855"/>
                  </a:lnTo>
                  <a:lnTo>
                    <a:pt x="713" y="852"/>
                  </a:lnTo>
                  <a:lnTo>
                    <a:pt x="715" y="849"/>
                  </a:lnTo>
                  <a:close/>
                  <a:moveTo>
                    <a:pt x="718" y="798"/>
                  </a:moveTo>
                  <a:lnTo>
                    <a:pt x="724" y="795"/>
                  </a:lnTo>
                  <a:lnTo>
                    <a:pt x="726" y="793"/>
                  </a:lnTo>
                  <a:lnTo>
                    <a:pt x="727" y="792"/>
                  </a:lnTo>
                  <a:lnTo>
                    <a:pt x="729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7"/>
                  </a:lnTo>
                  <a:lnTo>
                    <a:pt x="727" y="787"/>
                  </a:lnTo>
                  <a:lnTo>
                    <a:pt x="726" y="786"/>
                  </a:lnTo>
                  <a:lnTo>
                    <a:pt x="724" y="786"/>
                  </a:lnTo>
                  <a:lnTo>
                    <a:pt x="719" y="789"/>
                  </a:lnTo>
                  <a:lnTo>
                    <a:pt x="718" y="792"/>
                  </a:lnTo>
                  <a:lnTo>
                    <a:pt x="716" y="793"/>
                  </a:lnTo>
                  <a:lnTo>
                    <a:pt x="716" y="795"/>
                  </a:lnTo>
                  <a:lnTo>
                    <a:pt x="715" y="795"/>
                  </a:lnTo>
                  <a:lnTo>
                    <a:pt x="715" y="795"/>
                  </a:lnTo>
                  <a:lnTo>
                    <a:pt x="715" y="796"/>
                  </a:lnTo>
                  <a:lnTo>
                    <a:pt x="713" y="796"/>
                  </a:lnTo>
                  <a:lnTo>
                    <a:pt x="713" y="798"/>
                  </a:lnTo>
                  <a:lnTo>
                    <a:pt x="715" y="798"/>
                  </a:lnTo>
                  <a:lnTo>
                    <a:pt x="716" y="798"/>
                  </a:lnTo>
                  <a:lnTo>
                    <a:pt x="718" y="798"/>
                  </a:lnTo>
                  <a:lnTo>
                    <a:pt x="718" y="798"/>
                  </a:lnTo>
                  <a:close/>
                  <a:moveTo>
                    <a:pt x="769" y="685"/>
                  </a:moveTo>
                  <a:lnTo>
                    <a:pt x="769" y="687"/>
                  </a:lnTo>
                  <a:lnTo>
                    <a:pt x="769" y="690"/>
                  </a:lnTo>
                  <a:lnTo>
                    <a:pt x="769" y="693"/>
                  </a:lnTo>
                  <a:lnTo>
                    <a:pt x="770" y="693"/>
                  </a:lnTo>
                  <a:lnTo>
                    <a:pt x="773" y="692"/>
                  </a:lnTo>
                  <a:lnTo>
                    <a:pt x="780" y="693"/>
                  </a:lnTo>
                  <a:lnTo>
                    <a:pt x="783" y="693"/>
                  </a:lnTo>
                  <a:lnTo>
                    <a:pt x="784" y="693"/>
                  </a:lnTo>
                  <a:lnTo>
                    <a:pt x="789" y="692"/>
                  </a:lnTo>
                  <a:lnTo>
                    <a:pt x="790" y="692"/>
                  </a:lnTo>
                  <a:lnTo>
                    <a:pt x="790" y="693"/>
                  </a:lnTo>
                  <a:lnTo>
                    <a:pt x="793" y="690"/>
                  </a:lnTo>
                  <a:lnTo>
                    <a:pt x="793" y="689"/>
                  </a:lnTo>
                  <a:lnTo>
                    <a:pt x="793" y="687"/>
                  </a:lnTo>
                  <a:lnTo>
                    <a:pt x="793" y="687"/>
                  </a:lnTo>
                  <a:lnTo>
                    <a:pt x="792" y="687"/>
                  </a:lnTo>
                  <a:lnTo>
                    <a:pt x="792" y="689"/>
                  </a:lnTo>
                  <a:lnTo>
                    <a:pt x="790" y="690"/>
                  </a:lnTo>
                  <a:lnTo>
                    <a:pt x="790" y="687"/>
                  </a:lnTo>
                  <a:lnTo>
                    <a:pt x="790" y="687"/>
                  </a:lnTo>
                  <a:lnTo>
                    <a:pt x="789" y="687"/>
                  </a:lnTo>
                  <a:lnTo>
                    <a:pt x="789" y="687"/>
                  </a:lnTo>
                  <a:lnTo>
                    <a:pt x="787" y="685"/>
                  </a:lnTo>
                  <a:lnTo>
                    <a:pt x="784" y="685"/>
                  </a:lnTo>
                  <a:lnTo>
                    <a:pt x="781" y="684"/>
                  </a:lnTo>
                  <a:lnTo>
                    <a:pt x="780" y="681"/>
                  </a:lnTo>
                  <a:lnTo>
                    <a:pt x="780" y="679"/>
                  </a:lnTo>
                  <a:lnTo>
                    <a:pt x="780" y="679"/>
                  </a:lnTo>
                  <a:lnTo>
                    <a:pt x="780" y="676"/>
                  </a:lnTo>
                  <a:lnTo>
                    <a:pt x="780" y="676"/>
                  </a:lnTo>
                  <a:lnTo>
                    <a:pt x="780" y="676"/>
                  </a:lnTo>
                  <a:lnTo>
                    <a:pt x="778" y="678"/>
                  </a:lnTo>
                  <a:lnTo>
                    <a:pt x="776" y="679"/>
                  </a:lnTo>
                  <a:lnTo>
                    <a:pt x="776" y="681"/>
                  </a:lnTo>
                  <a:lnTo>
                    <a:pt x="775" y="682"/>
                  </a:lnTo>
                  <a:lnTo>
                    <a:pt x="775" y="682"/>
                  </a:lnTo>
                  <a:lnTo>
                    <a:pt x="773" y="682"/>
                  </a:lnTo>
                  <a:lnTo>
                    <a:pt x="770" y="681"/>
                  </a:lnTo>
                  <a:lnTo>
                    <a:pt x="769" y="682"/>
                  </a:lnTo>
                  <a:lnTo>
                    <a:pt x="770" y="682"/>
                  </a:lnTo>
                  <a:lnTo>
                    <a:pt x="770" y="684"/>
                  </a:lnTo>
                  <a:lnTo>
                    <a:pt x="769" y="685"/>
                  </a:lnTo>
                  <a:close/>
                  <a:moveTo>
                    <a:pt x="809" y="676"/>
                  </a:moveTo>
                  <a:lnTo>
                    <a:pt x="809" y="678"/>
                  </a:lnTo>
                  <a:lnTo>
                    <a:pt x="810" y="678"/>
                  </a:lnTo>
                  <a:lnTo>
                    <a:pt x="818" y="679"/>
                  </a:lnTo>
                  <a:lnTo>
                    <a:pt x="820" y="678"/>
                  </a:lnTo>
                  <a:lnTo>
                    <a:pt x="821" y="678"/>
                  </a:lnTo>
                  <a:lnTo>
                    <a:pt x="823" y="678"/>
                  </a:lnTo>
                  <a:lnTo>
                    <a:pt x="824" y="673"/>
                  </a:lnTo>
                  <a:lnTo>
                    <a:pt x="826" y="673"/>
                  </a:lnTo>
                  <a:lnTo>
                    <a:pt x="830" y="678"/>
                  </a:lnTo>
                  <a:lnTo>
                    <a:pt x="833" y="679"/>
                  </a:lnTo>
                  <a:lnTo>
                    <a:pt x="837" y="679"/>
                  </a:lnTo>
                  <a:lnTo>
                    <a:pt x="840" y="678"/>
                  </a:lnTo>
                  <a:lnTo>
                    <a:pt x="841" y="676"/>
                  </a:lnTo>
                  <a:lnTo>
                    <a:pt x="841" y="675"/>
                  </a:lnTo>
                  <a:lnTo>
                    <a:pt x="841" y="675"/>
                  </a:lnTo>
                  <a:lnTo>
                    <a:pt x="840" y="673"/>
                  </a:lnTo>
                  <a:lnTo>
                    <a:pt x="838" y="672"/>
                  </a:lnTo>
                  <a:lnTo>
                    <a:pt x="835" y="670"/>
                  </a:lnTo>
                  <a:lnTo>
                    <a:pt x="813" y="672"/>
                  </a:lnTo>
                  <a:lnTo>
                    <a:pt x="812" y="672"/>
                  </a:lnTo>
                  <a:lnTo>
                    <a:pt x="810" y="673"/>
                  </a:lnTo>
                  <a:lnTo>
                    <a:pt x="809" y="675"/>
                  </a:lnTo>
                  <a:lnTo>
                    <a:pt x="809" y="675"/>
                  </a:lnTo>
                  <a:lnTo>
                    <a:pt x="807" y="675"/>
                  </a:lnTo>
                  <a:lnTo>
                    <a:pt x="807" y="675"/>
                  </a:lnTo>
                  <a:lnTo>
                    <a:pt x="809" y="676"/>
                  </a:lnTo>
                  <a:lnTo>
                    <a:pt x="809" y="676"/>
                  </a:lnTo>
                  <a:close/>
                  <a:moveTo>
                    <a:pt x="790" y="675"/>
                  </a:moveTo>
                  <a:lnTo>
                    <a:pt x="789" y="670"/>
                  </a:lnTo>
                  <a:lnTo>
                    <a:pt x="789" y="669"/>
                  </a:lnTo>
                  <a:lnTo>
                    <a:pt x="787" y="669"/>
                  </a:lnTo>
                  <a:lnTo>
                    <a:pt x="787" y="670"/>
                  </a:lnTo>
                  <a:lnTo>
                    <a:pt x="787" y="672"/>
                  </a:lnTo>
                  <a:lnTo>
                    <a:pt x="786" y="672"/>
                  </a:lnTo>
                  <a:lnTo>
                    <a:pt x="784" y="673"/>
                  </a:lnTo>
                  <a:lnTo>
                    <a:pt x="784" y="675"/>
                  </a:lnTo>
                  <a:lnTo>
                    <a:pt x="784" y="676"/>
                  </a:lnTo>
                  <a:lnTo>
                    <a:pt x="783" y="676"/>
                  </a:lnTo>
                  <a:lnTo>
                    <a:pt x="783" y="678"/>
                  </a:lnTo>
                  <a:lnTo>
                    <a:pt x="784" y="679"/>
                  </a:lnTo>
                  <a:lnTo>
                    <a:pt x="784" y="681"/>
                  </a:lnTo>
                  <a:lnTo>
                    <a:pt x="786" y="682"/>
                  </a:lnTo>
                  <a:lnTo>
                    <a:pt x="792" y="682"/>
                  </a:lnTo>
                  <a:lnTo>
                    <a:pt x="793" y="681"/>
                  </a:lnTo>
                  <a:lnTo>
                    <a:pt x="792" y="676"/>
                  </a:lnTo>
                  <a:lnTo>
                    <a:pt x="790" y="675"/>
                  </a:lnTo>
                  <a:close/>
                  <a:moveTo>
                    <a:pt x="613" y="710"/>
                  </a:moveTo>
                  <a:lnTo>
                    <a:pt x="613" y="707"/>
                  </a:lnTo>
                  <a:lnTo>
                    <a:pt x="615" y="704"/>
                  </a:lnTo>
                  <a:lnTo>
                    <a:pt x="622" y="701"/>
                  </a:lnTo>
                  <a:lnTo>
                    <a:pt x="624" y="699"/>
                  </a:lnTo>
                  <a:lnTo>
                    <a:pt x="624" y="699"/>
                  </a:lnTo>
                  <a:lnTo>
                    <a:pt x="624" y="698"/>
                  </a:lnTo>
                  <a:lnTo>
                    <a:pt x="624" y="698"/>
                  </a:lnTo>
                  <a:lnTo>
                    <a:pt x="626" y="696"/>
                  </a:lnTo>
                  <a:lnTo>
                    <a:pt x="626" y="695"/>
                  </a:lnTo>
                  <a:lnTo>
                    <a:pt x="626" y="693"/>
                  </a:lnTo>
                  <a:lnTo>
                    <a:pt x="626" y="692"/>
                  </a:lnTo>
                  <a:lnTo>
                    <a:pt x="624" y="690"/>
                  </a:lnTo>
                  <a:lnTo>
                    <a:pt x="621" y="690"/>
                  </a:lnTo>
                  <a:lnTo>
                    <a:pt x="621" y="689"/>
                  </a:lnTo>
                  <a:lnTo>
                    <a:pt x="619" y="687"/>
                  </a:lnTo>
                  <a:lnTo>
                    <a:pt x="619" y="687"/>
                  </a:lnTo>
                  <a:lnTo>
                    <a:pt x="621" y="685"/>
                  </a:lnTo>
                  <a:lnTo>
                    <a:pt x="621" y="687"/>
                  </a:lnTo>
                  <a:lnTo>
                    <a:pt x="621" y="682"/>
                  </a:lnTo>
                  <a:lnTo>
                    <a:pt x="622" y="682"/>
                  </a:lnTo>
                  <a:lnTo>
                    <a:pt x="626" y="687"/>
                  </a:lnTo>
                  <a:lnTo>
                    <a:pt x="627" y="689"/>
                  </a:lnTo>
                  <a:lnTo>
                    <a:pt x="630" y="687"/>
                  </a:lnTo>
                  <a:lnTo>
                    <a:pt x="632" y="687"/>
                  </a:lnTo>
                  <a:lnTo>
                    <a:pt x="632" y="685"/>
                  </a:lnTo>
                  <a:lnTo>
                    <a:pt x="632" y="682"/>
                  </a:lnTo>
                  <a:lnTo>
                    <a:pt x="632" y="679"/>
                  </a:lnTo>
                  <a:lnTo>
                    <a:pt x="632" y="675"/>
                  </a:lnTo>
                  <a:lnTo>
                    <a:pt x="630" y="670"/>
                  </a:lnTo>
                  <a:lnTo>
                    <a:pt x="630" y="672"/>
                  </a:lnTo>
                  <a:lnTo>
                    <a:pt x="629" y="673"/>
                  </a:lnTo>
                  <a:lnTo>
                    <a:pt x="629" y="675"/>
                  </a:lnTo>
                  <a:lnTo>
                    <a:pt x="627" y="673"/>
                  </a:lnTo>
                  <a:lnTo>
                    <a:pt x="626" y="673"/>
                  </a:lnTo>
                  <a:lnTo>
                    <a:pt x="626" y="672"/>
                  </a:lnTo>
                  <a:lnTo>
                    <a:pt x="627" y="670"/>
                  </a:lnTo>
                  <a:lnTo>
                    <a:pt x="629" y="669"/>
                  </a:lnTo>
                  <a:lnTo>
                    <a:pt x="630" y="669"/>
                  </a:lnTo>
                  <a:lnTo>
                    <a:pt x="632" y="669"/>
                  </a:lnTo>
                  <a:lnTo>
                    <a:pt x="633" y="665"/>
                  </a:lnTo>
                  <a:lnTo>
                    <a:pt x="630" y="665"/>
                  </a:lnTo>
                  <a:lnTo>
                    <a:pt x="630" y="664"/>
                  </a:lnTo>
                  <a:lnTo>
                    <a:pt x="630" y="664"/>
                  </a:lnTo>
                  <a:lnTo>
                    <a:pt x="632" y="664"/>
                  </a:lnTo>
                  <a:lnTo>
                    <a:pt x="632" y="662"/>
                  </a:lnTo>
                  <a:lnTo>
                    <a:pt x="633" y="661"/>
                  </a:lnTo>
                  <a:lnTo>
                    <a:pt x="635" y="661"/>
                  </a:lnTo>
                  <a:lnTo>
                    <a:pt x="635" y="659"/>
                  </a:lnTo>
                  <a:lnTo>
                    <a:pt x="629" y="655"/>
                  </a:lnTo>
                  <a:lnTo>
                    <a:pt x="627" y="655"/>
                  </a:lnTo>
                  <a:lnTo>
                    <a:pt x="627" y="656"/>
                  </a:lnTo>
                  <a:lnTo>
                    <a:pt x="627" y="658"/>
                  </a:lnTo>
                  <a:lnTo>
                    <a:pt x="627" y="658"/>
                  </a:lnTo>
                  <a:lnTo>
                    <a:pt x="629" y="659"/>
                  </a:lnTo>
                  <a:lnTo>
                    <a:pt x="627" y="662"/>
                  </a:lnTo>
                  <a:lnTo>
                    <a:pt x="626" y="662"/>
                  </a:lnTo>
                  <a:lnTo>
                    <a:pt x="624" y="664"/>
                  </a:lnTo>
                  <a:lnTo>
                    <a:pt x="622" y="667"/>
                  </a:lnTo>
                  <a:lnTo>
                    <a:pt x="621" y="669"/>
                  </a:lnTo>
                  <a:lnTo>
                    <a:pt x="618" y="678"/>
                  </a:lnTo>
                  <a:lnTo>
                    <a:pt x="618" y="679"/>
                  </a:lnTo>
                  <a:lnTo>
                    <a:pt x="618" y="682"/>
                  </a:lnTo>
                  <a:lnTo>
                    <a:pt x="618" y="682"/>
                  </a:lnTo>
                  <a:lnTo>
                    <a:pt x="616" y="684"/>
                  </a:lnTo>
                  <a:lnTo>
                    <a:pt x="615" y="684"/>
                  </a:lnTo>
                  <a:lnTo>
                    <a:pt x="615" y="684"/>
                  </a:lnTo>
                  <a:lnTo>
                    <a:pt x="615" y="685"/>
                  </a:lnTo>
                  <a:lnTo>
                    <a:pt x="615" y="690"/>
                  </a:lnTo>
                  <a:lnTo>
                    <a:pt x="613" y="693"/>
                  </a:lnTo>
                  <a:lnTo>
                    <a:pt x="612" y="696"/>
                  </a:lnTo>
                  <a:lnTo>
                    <a:pt x="612" y="698"/>
                  </a:lnTo>
                  <a:lnTo>
                    <a:pt x="610" y="699"/>
                  </a:lnTo>
                  <a:lnTo>
                    <a:pt x="610" y="701"/>
                  </a:lnTo>
                  <a:lnTo>
                    <a:pt x="612" y="704"/>
                  </a:lnTo>
                  <a:lnTo>
                    <a:pt x="612" y="704"/>
                  </a:lnTo>
                  <a:lnTo>
                    <a:pt x="612" y="706"/>
                  </a:lnTo>
                  <a:lnTo>
                    <a:pt x="610" y="707"/>
                  </a:lnTo>
                  <a:lnTo>
                    <a:pt x="607" y="712"/>
                  </a:lnTo>
                  <a:lnTo>
                    <a:pt x="607" y="713"/>
                  </a:lnTo>
                  <a:lnTo>
                    <a:pt x="610" y="713"/>
                  </a:lnTo>
                  <a:lnTo>
                    <a:pt x="613" y="710"/>
                  </a:lnTo>
                  <a:close/>
                  <a:moveTo>
                    <a:pt x="635" y="675"/>
                  </a:moveTo>
                  <a:lnTo>
                    <a:pt x="636" y="675"/>
                  </a:lnTo>
                  <a:lnTo>
                    <a:pt x="636" y="673"/>
                  </a:lnTo>
                  <a:lnTo>
                    <a:pt x="636" y="670"/>
                  </a:lnTo>
                  <a:lnTo>
                    <a:pt x="638" y="670"/>
                  </a:lnTo>
                  <a:lnTo>
                    <a:pt x="638" y="669"/>
                  </a:lnTo>
                  <a:lnTo>
                    <a:pt x="639" y="670"/>
                  </a:lnTo>
                  <a:lnTo>
                    <a:pt x="639" y="672"/>
                  </a:lnTo>
                  <a:lnTo>
                    <a:pt x="639" y="676"/>
                  </a:lnTo>
                  <a:lnTo>
                    <a:pt x="641" y="679"/>
                  </a:lnTo>
                  <a:lnTo>
                    <a:pt x="642" y="676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9" y="673"/>
                  </a:lnTo>
                  <a:lnTo>
                    <a:pt x="650" y="673"/>
                  </a:lnTo>
                  <a:lnTo>
                    <a:pt x="650" y="672"/>
                  </a:lnTo>
                  <a:lnTo>
                    <a:pt x="650" y="667"/>
                  </a:lnTo>
                  <a:lnTo>
                    <a:pt x="650" y="665"/>
                  </a:lnTo>
                  <a:lnTo>
                    <a:pt x="652" y="664"/>
                  </a:lnTo>
                  <a:lnTo>
                    <a:pt x="653" y="659"/>
                  </a:lnTo>
                  <a:lnTo>
                    <a:pt x="655" y="652"/>
                  </a:lnTo>
                  <a:lnTo>
                    <a:pt x="655" y="650"/>
                  </a:lnTo>
                  <a:lnTo>
                    <a:pt x="653" y="647"/>
                  </a:lnTo>
                  <a:lnTo>
                    <a:pt x="652" y="647"/>
                  </a:lnTo>
                  <a:lnTo>
                    <a:pt x="647" y="645"/>
                  </a:lnTo>
                  <a:lnTo>
                    <a:pt x="644" y="645"/>
                  </a:lnTo>
                  <a:lnTo>
                    <a:pt x="644" y="650"/>
                  </a:lnTo>
                  <a:lnTo>
                    <a:pt x="644" y="653"/>
                  </a:lnTo>
                  <a:lnTo>
                    <a:pt x="646" y="655"/>
                  </a:lnTo>
                  <a:lnTo>
                    <a:pt x="647" y="659"/>
                  </a:lnTo>
                  <a:lnTo>
                    <a:pt x="647" y="664"/>
                  </a:lnTo>
                  <a:lnTo>
                    <a:pt x="646" y="664"/>
                  </a:lnTo>
                  <a:lnTo>
                    <a:pt x="644" y="662"/>
                  </a:lnTo>
                  <a:lnTo>
                    <a:pt x="642" y="658"/>
                  </a:lnTo>
                  <a:lnTo>
                    <a:pt x="641" y="656"/>
                  </a:lnTo>
                  <a:lnTo>
                    <a:pt x="641" y="658"/>
                  </a:lnTo>
                  <a:lnTo>
                    <a:pt x="636" y="664"/>
                  </a:lnTo>
                  <a:lnTo>
                    <a:pt x="635" y="665"/>
                  </a:lnTo>
                  <a:lnTo>
                    <a:pt x="635" y="669"/>
                  </a:lnTo>
                  <a:lnTo>
                    <a:pt x="635" y="672"/>
                  </a:lnTo>
                  <a:lnTo>
                    <a:pt x="635" y="673"/>
                  </a:lnTo>
                  <a:lnTo>
                    <a:pt x="635" y="675"/>
                  </a:lnTo>
                  <a:close/>
                  <a:moveTo>
                    <a:pt x="758" y="622"/>
                  </a:moveTo>
                  <a:lnTo>
                    <a:pt x="756" y="627"/>
                  </a:lnTo>
                  <a:lnTo>
                    <a:pt x="758" y="630"/>
                  </a:lnTo>
                  <a:lnTo>
                    <a:pt x="760" y="630"/>
                  </a:lnTo>
                  <a:lnTo>
                    <a:pt x="763" y="632"/>
                  </a:lnTo>
                  <a:lnTo>
                    <a:pt x="764" y="627"/>
                  </a:lnTo>
                  <a:lnTo>
                    <a:pt x="767" y="621"/>
                  </a:lnTo>
                  <a:lnTo>
                    <a:pt x="767" y="616"/>
                  </a:lnTo>
                  <a:lnTo>
                    <a:pt x="763" y="616"/>
                  </a:lnTo>
                  <a:lnTo>
                    <a:pt x="758" y="622"/>
                  </a:lnTo>
                  <a:close/>
                  <a:moveTo>
                    <a:pt x="701" y="616"/>
                  </a:moveTo>
                  <a:lnTo>
                    <a:pt x="706" y="616"/>
                  </a:lnTo>
                  <a:lnTo>
                    <a:pt x="707" y="616"/>
                  </a:lnTo>
                  <a:lnTo>
                    <a:pt x="707" y="619"/>
                  </a:lnTo>
                  <a:lnTo>
                    <a:pt x="707" y="621"/>
                  </a:lnTo>
                  <a:lnTo>
                    <a:pt x="709" y="624"/>
                  </a:lnTo>
                  <a:lnTo>
                    <a:pt x="712" y="627"/>
                  </a:lnTo>
                  <a:lnTo>
                    <a:pt x="715" y="625"/>
                  </a:lnTo>
                  <a:lnTo>
                    <a:pt x="716" y="619"/>
                  </a:lnTo>
                  <a:lnTo>
                    <a:pt x="715" y="613"/>
                  </a:lnTo>
                  <a:lnTo>
                    <a:pt x="712" y="613"/>
                  </a:lnTo>
                  <a:lnTo>
                    <a:pt x="710" y="612"/>
                  </a:lnTo>
                  <a:lnTo>
                    <a:pt x="707" y="608"/>
                  </a:lnTo>
                  <a:lnTo>
                    <a:pt x="706" y="608"/>
                  </a:lnTo>
                  <a:lnTo>
                    <a:pt x="703" y="610"/>
                  </a:lnTo>
                  <a:lnTo>
                    <a:pt x="703" y="613"/>
                  </a:lnTo>
                  <a:lnTo>
                    <a:pt x="699" y="613"/>
                  </a:lnTo>
                  <a:lnTo>
                    <a:pt x="701" y="616"/>
                  </a:lnTo>
                  <a:close/>
                  <a:moveTo>
                    <a:pt x="656" y="662"/>
                  </a:moveTo>
                  <a:lnTo>
                    <a:pt x="661" y="669"/>
                  </a:lnTo>
                  <a:lnTo>
                    <a:pt x="661" y="667"/>
                  </a:lnTo>
                  <a:lnTo>
                    <a:pt x="663" y="665"/>
                  </a:lnTo>
                  <a:lnTo>
                    <a:pt x="663" y="662"/>
                  </a:lnTo>
                  <a:lnTo>
                    <a:pt x="664" y="662"/>
                  </a:lnTo>
                  <a:lnTo>
                    <a:pt x="664" y="661"/>
                  </a:lnTo>
                  <a:lnTo>
                    <a:pt x="664" y="659"/>
                  </a:lnTo>
                  <a:lnTo>
                    <a:pt x="664" y="659"/>
                  </a:lnTo>
                  <a:lnTo>
                    <a:pt x="664" y="659"/>
                  </a:lnTo>
                  <a:lnTo>
                    <a:pt x="663" y="658"/>
                  </a:lnTo>
                  <a:lnTo>
                    <a:pt x="663" y="656"/>
                  </a:lnTo>
                  <a:lnTo>
                    <a:pt x="663" y="656"/>
                  </a:lnTo>
                  <a:lnTo>
                    <a:pt x="664" y="652"/>
                  </a:lnTo>
                  <a:lnTo>
                    <a:pt x="667" y="652"/>
                  </a:lnTo>
                  <a:lnTo>
                    <a:pt x="669" y="655"/>
                  </a:lnTo>
                  <a:lnTo>
                    <a:pt x="669" y="659"/>
                  </a:lnTo>
                  <a:lnTo>
                    <a:pt x="669" y="659"/>
                  </a:lnTo>
                  <a:lnTo>
                    <a:pt x="670" y="661"/>
                  </a:lnTo>
                  <a:lnTo>
                    <a:pt x="670" y="661"/>
                  </a:lnTo>
                  <a:lnTo>
                    <a:pt x="670" y="662"/>
                  </a:lnTo>
                  <a:lnTo>
                    <a:pt x="672" y="662"/>
                  </a:lnTo>
                  <a:lnTo>
                    <a:pt x="673" y="662"/>
                  </a:lnTo>
                  <a:lnTo>
                    <a:pt x="675" y="662"/>
                  </a:lnTo>
                  <a:lnTo>
                    <a:pt x="676" y="661"/>
                  </a:lnTo>
                  <a:lnTo>
                    <a:pt x="675" y="659"/>
                  </a:lnTo>
                  <a:lnTo>
                    <a:pt x="675" y="659"/>
                  </a:lnTo>
                  <a:lnTo>
                    <a:pt x="675" y="656"/>
                  </a:lnTo>
                  <a:lnTo>
                    <a:pt x="675" y="655"/>
                  </a:lnTo>
                  <a:lnTo>
                    <a:pt x="675" y="653"/>
                  </a:lnTo>
                  <a:lnTo>
                    <a:pt x="676" y="652"/>
                  </a:lnTo>
                  <a:lnTo>
                    <a:pt x="678" y="652"/>
                  </a:lnTo>
                  <a:lnTo>
                    <a:pt x="678" y="652"/>
                  </a:lnTo>
                  <a:lnTo>
                    <a:pt x="678" y="655"/>
                  </a:lnTo>
                  <a:lnTo>
                    <a:pt x="679" y="655"/>
                  </a:lnTo>
                  <a:lnTo>
                    <a:pt x="679" y="656"/>
                  </a:lnTo>
                  <a:lnTo>
                    <a:pt x="684" y="655"/>
                  </a:lnTo>
                  <a:lnTo>
                    <a:pt x="686" y="653"/>
                  </a:lnTo>
                  <a:lnTo>
                    <a:pt x="686" y="652"/>
                  </a:lnTo>
                  <a:lnTo>
                    <a:pt x="686" y="650"/>
                  </a:lnTo>
                  <a:lnTo>
                    <a:pt x="684" y="647"/>
                  </a:lnTo>
                  <a:lnTo>
                    <a:pt x="681" y="647"/>
                  </a:lnTo>
                  <a:lnTo>
                    <a:pt x="679" y="644"/>
                  </a:lnTo>
                  <a:lnTo>
                    <a:pt x="686" y="644"/>
                  </a:lnTo>
                  <a:lnTo>
                    <a:pt x="686" y="644"/>
                  </a:lnTo>
                  <a:lnTo>
                    <a:pt x="687" y="642"/>
                  </a:lnTo>
                  <a:lnTo>
                    <a:pt x="687" y="641"/>
                  </a:lnTo>
                  <a:lnTo>
                    <a:pt x="687" y="639"/>
                  </a:lnTo>
                  <a:lnTo>
                    <a:pt x="689" y="641"/>
                  </a:lnTo>
                  <a:lnTo>
                    <a:pt x="690" y="642"/>
                  </a:lnTo>
                  <a:lnTo>
                    <a:pt x="690" y="642"/>
                  </a:lnTo>
                  <a:lnTo>
                    <a:pt x="692" y="642"/>
                  </a:lnTo>
                  <a:lnTo>
                    <a:pt x="692" y="641"/>
                  </a:lnTo>
                  <a:lnTo>
                    <a:pt x="693" y="641"/>
                  </a:lnTo>
                  <a:lnTo>
                    <a:pt x="699" y="639"/>
                  </a:lnTo>
                  <a:lnTo>
                    <a:pt x="699" y="639"/>
                  </a:lnTo>
                  <a:lnTo>
                    <a:pt x="701" y="638"/>
                  </a:lnTo>
                  <a:lnTo>
                    <a:pt x="701" y="636"/>
                  </a:lnTo>
                  <a:lnTo>
                    <a:pt x="706" y="635"/>
                  </a:lnTo>
                  <a:lnTo>
                    <a:pt x="709" y="625"/>
                  </a:lnTo>
                  <a:lnTo>
                    <a:pt x="706" y="621"/>
                  </a:lnTo>
                  <a:lnTo>
                    <a:pt x="704" y="619"/>
                  </a:lnTo>
                  <a:lnTo>
                    <a:pt x="699" y="624"/>
                  </a:lnTo>
                  <a:lnTo>
                    <a:pt x="696" y="624"/>
                  </a:lnTo>
                  <a:lnTo>
                    <a:pt x="695" y="622"/>
                  </a:lnTo>
                  <a:lnTo>
                    <a:pt x="698" y="618"/>
                  </a:lnTo>
                  <a:lnTo>
                    <a:pt x="696" y="608"/>
                  </a:lnTo>
                  <a:lnTo>
                    <a:pt x="690" y="608"/>
                  </a:lnTo>
                  <a:lnTo>
                    <a:pt x="687" y="612"/>
                  </a:lnTo>
                  <a:lnTo>
                    <a:pt x="686" y="616"/>
                  </a:lnTo>
                  <a:lnTo>
                    <a:pt x="684" y="618"/>
                  </a:lnTo>
                  <a:lnTo>
                    <a:pt x="684" y="619"/>
                  </a:lnTo>
                  <a:lnTo>
                    <a:pt x="683" y="621"/>
                  </a:lnTo>
                  <a:lnTo>
                    <a:pt x="683" y="622"/>
                  </a:lnTo>
                  <a:lnTo>
                    <a:pt x="681" y="622"/>
                  </a:lnTo>
                  <a:lnTo>
                    <a:pt x="679" y="621"/>
                  </a:lnTo>
                  <a:lnTo>
                    <a:pt x="678" y="619"/>
                  </a:lnTo>
                  <a:lnTo>
                    <a:pt x="676" y="621"/>
                  </a:lnTo>
                  <a:lnTo>
                    <a:pt x="676" y="621"/>
                  </a:lnTo>
                  <a:lnTo>
                    <a:pt x="675" y="621"/>
                  </a:lnTo>
                  <a:lnTo>
                    <a:pt x="673" y="618"/>
                  </a:lnTo>
                  <a:lnTo>
                    <a:pt x="673" y="618"/>
                  </a:lnTo>
                  <a:lnTo>
                    <a:pt x="672" y="618"/>
                  </a:lnTo>
                  <a:lnTo>
                    <a:pt x="670" y="618"/>
                  </a:lnTo>
                  <a:lnTo>
                    <a:pt x="659" y="627"/>
                  </a:lnTo>
                  <a:lnTo>
                    <a:pt x="664" y="629"/>
                  </a:lnTo>
                  <a:lnTo>
                    <a:pt x="666" y="629"/>
                  </a:lnTo>
                  <a:lnTo>
                    <a:pt x="667" y="630"/>
                  </a:lnTo>
                  <a:lnTo>
                    <a:pt x="669" y="630"/>
                  </a:lnTo>
                  <a:lnTo>
                    <a:pt x="666" y="633"/>
                  </a:lnTo>
                  <a:lnTo>
                    <a:pt x="661" y="635"/>
                  </a:lnTo>
                  <a:lnTo>
                    <a:pt x="658" y="639"/>
                  </a:lnTo>
                  <a:lnTo>
                    <a:pt x="661" y="641"/>
                  </a:lnTo>
                  <a:lnTo>
                    <a:pt x="663" y="641"/>
                  </a:lnTo>
                  <a:lnTo>
                    <a:pt x="658" y="642"/>
                  </a:lnTo>
                  <a:lnTo>
                    <a:pt x="659" y="644"/>
                  </a:lnTo>
                  <a:lnTo>
                    <a:pt x="659" y="644"/>
                  </a:lnTo>
                  <a:lnTo>
                    <a:pt x="661" y="644"/>
                  </a:lnTo>
                  <a:lnTo>
                    <a:pt x="661" y="645"/>
                  </a:lnTo>
                  <a:lnTo>
                    <a:pt x="659" y="647"/>
                  </a:lnTo>
                  <a:lnTo>
                    <a:pt x="659" y="649"/>
                  </a:lnTo>
                  <a:lnTo>
                    <a:pt x="658" y="649"/>
                  </a:lnTo>
                  <a:lnTo>
                    <a:pt x="658" y="650"/>
                  </a:lnTo>
                  <a:lnTo>
                    <a:pt x="661" y="649"/>
                  </a:lnTo>
                  <a:lnTo>
                    <a:pt x="664" y="644"/>
                  </a:lnTo>
                  <a:lnTo>
                    <a:pt x="666" y="644"/>
                  </a:lnTo>
                  <a:lnTo>
                    <a:pt x="658" y="655"/>
                  </a:lnTo>
                  <a:lnTo>
                    <a:pt x="656" y="662"/>
                  </a:lnTo>
                  <a:close/>
                  <a:moveTo>
                    <a:pt x="718" y="629"/>
                  </a:moveTo>
                  <a:lnTo>
                    <a:pt x="719" y="629"/>
                  </a:lnTo>
                  <a:lnTo>
                    <a:pt x="724" y="627"/>
                  </a:lnTo>
                  <a:lnTo>
                    <a:pt x="721" y="630"/>
                  </a:lnTo>
                  <a:lnTo>
                    <a:pt x="715" y="632"/>
                  </a:lnTo>
                  <a:lnTo>
                    <a:pt x="712" y="636"/>
                  </a:lnTo>
                  <a:lnTo>
                    <a:pt x="712" y="638"/>
                  </a:lnTo>
                  <a:lnTo>
                    <a:pt x="712" y="638"/>
                  </a:lnTo>
                  <a:lnTo>
                    <a:pt x="713" y="639"/>
                  </a:lnTo>
                  <a:lnTo>
                    <a:pt x="713" y="639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2" y="642"/>
                  </a:lnTo>
                  <a:lnTo>
                    <a:pt x="712" y="645"/>
                  </a:lnTo>
                  <a:lnTo>
                    <a:pt x="713" y="645"/>
                  </a:lnTo>
                  <a:lnTo>
                    <a:pt x="715" y="644"/>
                  </a:lnTo>
                  <a:lnTo>
                    <a:pt x="718" y="642"/>
                  </a:lnTo>
                  <a:lnTo>
                    <a:pt x="719" y="642"/>
                  </a:lnTo>
                  <a:lnTo>
                    <a:pt x="721" y="641"/>
                  </a:lnTo>
                  <a:lnTo>
                    <a:pt x="721" y="641"/>
                  </a:lnTo>
                  <a:lnTo>
                    <a:pt x="721" y="639"/>
                  </a:lnTo>
                  <a:lnTo>
                    <a:pt x="723" y="639"/>
                  </a:lnTo>
                  <a:lnTo>
                    <a:pt x="724" y="639"/>
                  </a:lnTo>
                  <a:lnTo>
                    <a:pt x="726" y="639"/>
                  </a:lnTo>
                  <a:lnTo>
                    <a:pt x="726" y="639"/>
                  </a:lnTo>
                  <a:lnTo>
                    <a:pt x="727" y="638"/>
                  </a:lnTo>
                  <a:lnTo>
                    <a:pt x="729" y="638"/>
                  </a:lnTo>
                  <a:lnTo>
                    <a:pt x="733" y="636"/>
                  </a:lnTo>
                  <a:lnTo>
                    <a:pt x="736" y="636"/>
                  </a:lnTo>
                  <a:lnTo>
                    <a:pt x="738" y="633"/>
                  </a:lnTo>
                  <a:lnTo>
                    <a:pt x="740" y="632"/>
                  </a:lnTo>
                  <a:lnTo>
                    <a:pt x="743" y="632"/>
                  </a:lnTo>
                  <a:lnTo>
                    <a:pt x="746" y="629"/>
                  </a:lnTo>
                  <a:lnTo>
                    <a:pt x="747" y="625"/>
                  </a:lnTo>
                  <a:lnTo>
                    <a:pt x="744" y="624"/>
                  </a:lnTo>
                  <a:lnTo>
                    <a:pt x="743" y="624"/>
                  </a:lnTo>
                  <a:lnTo>
                    <a:pt x="744" y="622"/>
                  </a:lnTo>
                  <a:lnTo>
                    <a:pt x="744" y="622"/>
                  </a:lnTo>
                  <a:lnTo>
                    <a:pt x="746" y="621"/>
                  </a:lnTo>
                  <a:lnTo>
                    <a:pt x="747" y="621"/>
                  </a:lnTo>
                  <a:lnTo>
                    <a:pt x="749" y="619"/>
                  </a:lnTo>
                  <a:lnTo>
                    <a:pt x="749" y="616"/>
                  </a:lnTo>
                  <a:lnTo>
                    <a:pt x="749" y="615"/>
                  </a:lnTo>
                  <a:lnTo>
                    <a:pt x="750" y="610"/>
                  </a:lnTo>
                  <a:lnTo>
                    <a:pt x="750" y="608"/>
                  </a:lnTo>
                  <a:lnTo>
                    <a:pt x="752" y="608"/>
                  </a:lnTo>
                  <a:lnTo>
                    <a:pt x="752" y="610"/>
                  </a:lnTo>
                  <a:lnTo>
                    <a:pt x="752" y="612"/>
                  </a:lnTo>
                  <a:lnTo>
                    <a:pt x="753" y="613"/>
                  </a:lnTo>
                  <a:lnTo>
                    <a:pt x="755" y="613"/>
                  </a:lnTo>
                  <a:lnTo>
                    <a:pt x="752" y="616"/>
                  </a:lnTo>
                  <a:lnTo>
                    <a:pt x="750" y="621"/>
                  </a:lnTo>
                  <a:lnTo>
                    <a:pt x="750" y="624"/>
                  </a:lnTo>
                  <a:lnTo>
                    <a:pt x="752" y="625"/>
                  </a:lnTo>
                  <a:lnTo>
                    <a:pt x="753" y="624"/>
                  </a:lnTo>
                  <a:lnTo>
                    <a:pt x="767" y="610"/>
                  </a:lnTo>
                  <a:lnTo>
                    <a:pt x="770" y="608"/>
                  </a:lnTo>
                  <a:lnTo>
                    <a:pt x="769" y="607"/>
                  </a:lnTo>
                  <a:lnTo>
                    <a:pt x="767" y="605"/>
                  </a:lnTo>
                  <a:lnTo>
                    <a:pt x="772" y="602"/>
                  </a:lnTo>
                  <a:lnTo>
                    <a:pt x="772" y="602"/>
                  </a:lnTo>
                  <a:lnTo>
                    <a:pt x="772" y="601"/>
                  </a:lnTo>
                  <a:lnTo>
                    <a:pt x="772" y="601"/>
                  </a:lnTo>
                  <a:lnTo>
                    <a:pt x="772" y="601"/>
                  </a:lnTo>
                  <a:lnTo>
                    <a:pt x="773" y="601"/>
                  </a:lnTo>
                  <a:lnTo>
                    <a:pt x="773" y="602"/>
                  </a:lnTo>
                  <a:lnTo>
                    <a:pt x="772" y="604"/>
                  </a:lnTo>
                  <a:lnTo>
                    <a:pt x="772" y="604"/>
                  </a:lnTo>
                  <a:lnTo>
                    <a:pt x="773" y="604"/>
                  </a:lnTo>
                  <a:lnTo>
                    <a:pt x="783" y="588"/>
                  </a:lnTo>
                  <a:lnTo>
                    <a:pt x="784" y="585"/>
                  </a:lnTo>
                  <a:lnTo>
                    <a:pt x="780" y="585"/>
                  </a:lnTo>
                  <a:lnTo>
                    <a:pt x="776" y="585"/>
                  </a:lnTo>
                  <a:lnTo>
                    <a:pt x="772" y="590"/>
                  </a:lnTo>
                  <a:lnTo>
                    <a:pt x="766" y="588"/>
                  </a:lnTo>
                  <a:lnTo>
                    <a:pt x="764" y="588"/>
                  </a:lnTo>
                  <a:lnTo>
                    <a:pt x="763" y="592"/>
                  </a:lnTo>
                  <a:lnTo>
                    <a:pt x="763" y="599"/>
                  </a:lnTo>
                  <a:lnTo>
                    <a:pt x="761" y="601"/>
                  </a:lnTo>
                  <a:lnTo>
                    <a:pt x="760" y="601"/>
                  </a:lnTo>
                  <a:lnTo>
                    <a:pt x="755" y="605"/>
                  </a:lnTo>
                  <a:lnTo>
                    <a:pt x="753" y="605"/>
                  </a:lnTo>
                  <a:lnTo>
                    <a:pt x="753" y="604"/>
                  </a:lnTo>
                  <a:lnTo>
                    <a:pt x="758" y="598"/>
                  </a:lnTo>
                  <a:lnTo>
                    <a:pt x="758" y="596"/>
                  </a:lnTo>
                  <a:lnTo>
                    <a:pt x="758" y="595"/>
                  </a:lnTo>
                  <a:lnTo>
                    <a:pt x="758" y="592"/>
                  </a:lnTo>
                  <a:lnTo>
                    <a:pt x="756" y="590"/>
                  </a:lnTo>
                  <a:lnTo>
                    <a:pt x="753" y="588"/>
                  </a:lnTo>
                  <a:lnTo>
                    <a:pt x="752" y="588"/>
                  </a:lnTo>
                  <a:lnTo>
                    <a:pt x="750" y="590"/>
                  </a:lnTo>
                  <a:lnTo>
                    <a:pt x="750" y="592"/>
                  </a:lnTo>
                  <a:lnTo>
                    <a:pt x="749" y="593"/>
                  </a:lnTo>
                  <a:lnTo>
                    <a:pt x="750" y="598"/>
                  </a:lnTo>
                  <a:lnTo>
                    <a:pt x="750" y="601"/>
                  </a:lnTo>
                  <a:lnTo>
                    <a:pt x="749" y="599"/>
                  </a:lnTo>
                  <a:lnTo>
                    <a:pt x="747" y="596"/>
                  </a:lnTo>
                  <a:lnTo>
                    <a:pt x="747" y="595"/>
                  </a:lnTo>
                  <a:lnTo>
                    <a:pt x="747" y="593"/>
                  </a:lnTo>
                  <a:lnTo>
                    <a:pt x="746" y="590"/>
                  </a:lnTo>
                  <a:lnTo>
                    <a:pt x="738" y="595"/>
                  </a:lnTo>
                  <a:lnTo>
                    <a:pt x="738" y="598"/>
                  </a:lnTo>
                  <a:lnTo>
                    <a:pt x="740" y="599"/>
                  </a:lnTo>
                  <a:lnTo>
                    <a:pt x="741" y="602"/>
                  </a:lnTo>
                  <a:lnTo>
                    <a:pt x="740" y="602"/>
                  </a:lnTo>
                  <a:lnTo>
                    <a:pt x="735" y="599"/>
                  </a:lnTo>
                  <a:lnTo>
                    <a:pt x="733" y="599"/>
                  </a:lnTo>
                  <a:lnTo>
                    <a:pt x="726" y="601"/>
                  </a:lnTo>
                  <a:lnTo>
                    <a:pt x="726" y="602"/>
                  </a:lnTo>
                  <a:lnTo>
                    <a:pt x="730" y="604"/>
                  </a:lnTo>
                  <a:lnTo>
                    <a:pt x="729" y="607"/>
                  </a:lnTo>
                  <a:lnTo>
                    <a:pt x="730" y="608"/>
                  </a:lnTo>
                  <a:lnTo>
                    <a:pt x="730" y="608"/>
                  </a:lnTo>
                  <a:lnTo>
                    <a:pt x="732" y="607"/>
                  </a:lnTo>
                  <a:lnTo>
                    <a:pt x="733" y="610"/>
                  </a:lnTo>
                  <a:lnTo>
                    <a:pt x="733" y="613"/>
                  </a:lnTo>
                  <a:lnTo>
                    <a:pt x="733" y="615"/>
                  </a:lnTo>
                  <a:lnTo>
                    <a:pt x="732" y="615"/>
                  </a:lnTo>
                  <a:lnTo>
                    <a:pt x="730" y="613"/>
                  </a:lnTo>
                  <a:lnTo>
                    <a:pt x="730" y="612"/>
                  </a:lnTo>
                  <a:lnTo>
                    <a:pt x="730" y="613"/>
                  </a:lnTo>
                  <a:lnTo>
                    <a:pt x="729" y="615"/>
                  </a:lnTo>
                  <a:lnTo>
                    <a:pt x="729" y="616"/>
                  </a:lnTo>
                  <a:lnTo>
                    <a:pt x="727" y="616"/>
                  </a:lnTo>
                  <a:lnTo>
                    <a:pt x="729" y="618"/>
                  </a:lnTo>
                  <a:lnTo>
                    <a:pt x="729" y="619"/>
                  </a:lnTo>
                  <a:lnTo>
                    <a:pt x="726" y="619"/>
                  </a:lnTo>
                  <a:lnTo>
                    <a:pt x="724" y="612"/>
                  </a:lnTo>
                  <a:lnTo>
                    <a:pt x="721" y="612"/>
                  </a:lnTo>
                  <a:lnTo>
                    <a:pt x="719" y="613"/>
                  </a:lnTo>
                  <a:lnTo>
                    <a:pt x="719" y="618"/>
                  </a:lnTo>
                  <a:lnTo>
                    <a:pt x="719" y="621"/>
                  </a:lnTo>
                  <a:lnTo>
                    <a:pt x="721" y="624"/>
                  </a:lnTo>
                  <a:lnTo>
                    <a:pt x="718" y="624"/>
                  </a:lnTo>
                  <a:lnTo>
                    <a:pt x="716" y="624"/>
                  </a:lnTo>
                  <a:lnTo>
                    <a:pt x="716" y="625"/>
                  </a:lnTo>
                  <a:lnTo>
                    <a:pt x="718" y="629"/>
                  </a:lnTo>
                  <a:close/>
                  <a:moveTo>
                    <a:pt x="878" y="584"/>
                  </a:moveTo>
                  <a:lnTo>
                    <a:pt x="881" y="582"/>
                  </a:lnTo>
                  <a:lnTo>
                    <a:pt x="880" y="581"/>
                  </a:lnTo>
                  <a:lnTo>
                    <a:pt x="878" y="579"/>
                  </a:lnTo>
                  <a:lnTo>
                    <a:pt x="877" y="578"/>
                  </a:lnTo>
                  <a:lnTo>
                    <a:pt x="877" y="576"/>
                  </a:lnTo>
                  <a:lnTo>
                    <a:pt x="877" y="573"/>
                  </a:lnTo>
                  <a:lnTo>
                    <a:pt x="877" y="572"/>
                  </a:lnTo>
                  <a:lnTo>
                    <a:pt x="875" y="572"/>
                  </a:lnTo>
                  <a:lnTo>
                    <a:pt x="875" y="570"/>
                  </a:lnTo>
                  <a:lnTo>
                    <a:pt x="872" y="568"/>
                  </a:lnTo>
                  <a:lnTo>
                    <a:pt x="872" y="568"/>
                  </a:lnTo>
                  <a:lnTo>
                    <a:pt x="863" y="572"/>
                  </a:lnTo>
                  <a:lnTo>
                    <a:pt x="860" y="573"/>
                  </a:lnTo>
                  <a:lnTo>
                    <a:pt x="858" y="576"/>
                  </a:lnTo>
                  <a:lnTo>
                    <a:pt x="857" y="582"/>
                  </a:lnTo>
                  <a:lnTo>
                    <a:pt x="855" y="588"/>
                  </a:lnTo>
                  <a:lnTo>
                    <a:pt x="857" y="590"/>
                  </a:lnTo>
                  <a:lnTo>
                    <a:pt x="858" y="590"/>
                  </a:lnTo>
                  <a:lnTo>
                    <a:pt x="858" y="590"/>
                  </a:lnTo>
                  <a:lnTo>
                    <a:pt x="855" y="593"/>
                  </a:lnTo>
                  <a:lnTo>
                    <a:pt x="853" y="596"/>
                  </a:lnTo>
                  <a:lnTo>
                    <a:pt x="855" y="599"/>
                  </a:lnTo>
                  <a:lnTo>
                    <a:pt x="855" y="601"/>
                  </a:lnTo>
                  <a:lnTo>
                    <a:pt x="857" y="599"/>
                  </a:lnTo>
                  <a:lnTo>
                    <a:pt x="860" y="596"/>
                  </a:lnTo>
                  <a:lnTo>
                    <a:pt x="863" y="595"/>
                  </a:lnTo>
                  <a:lnTo>
                    <a:pt x="875" y="593"/>
                  </a:lnTo>
                  <a:lnTo>
                    <a:pt x="877" y="592"/>
                  </a:lnTo>
                  <a:lnTo>
                    <a:pt x="877" y="590"/>
                  </a:lnTo>
                  <a:lnTo>
                    <a:pt x="875" y="587"/>
                  </a:lnTo>
                  <a:lnTo>
                    <a:pt x="874" y="587"/>
                  </a:lnTo>
                  <a:lnTo>
                    <a:pt x="875" y="584"/>
                  </a:lnTo>
                  <a:lnTo>
                    <a:pt x="878" y="584"/>
                  </a:lnTo>
                  <a:close/>
                  <a:moveTo>
                    <a:pt x="755" y="561"/>
                  </a:moveTo>
                  <a:lnTo>
                    <a:pt x="750" y="561"/>
                  </a:lnTo>
                  <a:lnTo>
                    <a:pt x="747" y="558"/>
                  </a:lnTo>
                  <a:lnTo>
                    <a:pt x="743" y="561"/>
                  </a:lnTo>
                  <a:lnTo>
                    <a:pt x="743" y="564"/>
                  </a:lnTo>
                  <a:lnTo>
                    <a:pt x="744" y="567"/>
                  </a:lnTo>
                  <a:lnTo>
                    <a:pt x="746" y="570"/>
                  </a:lnTo>
                  <a:lnTo>
                    <a:pt x="749" y="573"/>
                  </a:lnTo>
                  <a:lnTo>
                    <a:pt x="750" y="578"/>
                  </a:lnTo>
                  <a:lnTo>
                    <a:pt x="753" y="576"/>
                  </a:lnTo>
                  <a:lnTo>
                    <a:pt x="763" y="576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7" y="575"/>
                  </a:lnTo>
                  <a:lnTo>
                    <a:pt x="767" y="575"/>
                  </a:lnTo>
                  <a:lnTo>
                    <a:pt x="767" y="575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0"/>
                  </a:lnTo>
                  <a:lnTo>
                    <a:pt x="769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4"/>
                  </a:lnTo>
                  <a:lnTo>
                    <a:pt x="766" y="564"/>
                  </a:lnTo>
                  <a:lnTo>
                    <a:pt x="761" y="562"/>
                  </a:lnTo>
                  <a:lnTo>
                    <a:pt x="755" y="561"/>
                  </a:lnTo>
                  <a:close/>
                  <a:moveTo>
                    <a:pt x="924" y="511"/>
                  </a:moveTo>
                  <a:lnTo>
                    <a:pt x="923" y="505"/>
                  </a:lnTo>
                  <a:lnTo>
                    <a:pt x="921" y="504"/>
                  </a:lnTo>
                  <a:lnTo>
                    <a:pt x="921" y="502"/>
                  </a:lnTo>
                  <a:lnTo>
                    <a:pt x="920" y="502"/>
                  </a:lnTo>
                  <a:lnTo>
                    <a:pt x="918" y="505"/>
                  </a:lnTo>
                  <a:lnTo>
                    <a:pt x="914" y="515"/>
                  </a:lnTo>
                  <a:lnTo>
                    <a:pt x="910" y="518"/>
                  </a:lnTo>
                  <a:lnTo>
                    <a:pt x="909" y="519"/>
                  </a:lnTo>
                  <a:lnTo>
                    <a:pt x="907" y="521"/>
                  </a:lnTo>
                  <a:lnTo>
                    <a:pt x="907" y="524"/>
                  </a:lnTo>
                  <a:lnTo>
                    <a:pt x="907" y="525"/>
                  </a:lnTo>
                  <a:lnTo>
                    <a:pt x="907" y="527"/>
                  </a:lnTo>
                  <a:lnTo>
                    <a:pt x="906" y="527"/>
                  </a:lnTo>
                  <a:lnTo>
                    <a:pt x="909" y="530"/>
                  </a:lnTo>
                  <a:lnTo>
                    <a:pt x="927" y="522"/>
                  </a:lnTo>
                  <a:lnTo>
                    <a:pt x="930" y="521"/>
                  </a:lnTo>
                  <a:lnTo>
                    <a:pt x="930" y="518"/>
                  </a:lnTo>
                  <a:lnTo>
                    <a:pt x="926" y="511"/>
                  </a:lnTo>
                  <a:lnTo>
                    <a:pt x="924" y="511"/>
                  </a:lnTo>
                  <a:close/>
                  <a:moveTo>
                    <a:pt x="934" y="504"/>
                  </a:moveTo>
                  <a:lnTo>
                    <a:pt x="934" y="511"/>
                  </a:lnTo>
                  <a:lnTo>
                    <a:pt x="935" y="513"/>
                  </a:lnTo>
                  <a:lnTo>
                    <a:pt x="937" y="516"/>
                  </a:lnTo>
                  <a:lnTo>
                    <a:pt x="940" y="516"/>
                  </a:lnTo>
                  <a:lnTo>
                    <a:pt x="943" y="513"/>
                  </a:lnTo>
                  <a:lnTo>
                    <a:pt x="946" y="507"/>
                  </a:lnTo>
                  <a:lnTo>
                    <a:pt x="954" y="501"/>
                  </a:lnTo>
                  <a:lnTo>
                    <a:pt x="951" y="496"/>
                  </a:lnTo>
                  <a:lnTo>
                    <a:pt x="947" y="491"/>
                  </a:lnTo>
                  <a:lnTo>
                    <a:pt x="944" y="490"/>
                  </a:lnTo>
                  <a:lnTo>
                    <a:pt x="937" y="490"/>
                  </a:lnTo>
                  <a:lnTo>
                    <a:pt x="935" y="491"/>
                  </a:lnTo>
                  <a:lnTo>
                    <a:pt x="935" y="495"/>
                  </a:lnTo>
                  <a:lnTo>
                    <a:pt x="937" y="498"/>
                  </a:lnTo>
                  <a:lnTo>
                    <a:pt x="940" y="501"/>
                  </a:lnTo>
                  <a:lnTo>
                    <a:pt x="941" y="502"/>
                  </a:lnTo>
                  <a:lnTo>
                    <a:pt x="940" y="502"/>
                  </a:lnTo>
                  <a:lnTo>
                    <a:pt x="937" y="502"/>
                  </a:lnTo>
                  <a:lnTo>
                    <a:pt x="935" y="499"/>
                  </a:lnTo>
                  <a:lnTo>
                    <a:pt x="934" y="496"/>
                  </a:lnTo>
                  <a:lnTo>
                    <a:pt x="930" y="490"/>
                  </a:lnTo>
                  <a:lnTo>
                    <a:pt x="927" y="488"/>
                  </a:lnTo>
                  <a:lnTo>
                    <a:pt x="926" y="491"/>
                  </a:lnTo>
                  <a:lnTo>
                    <a:pt x="927" y="495"/>
                  </a:lnTo>
                  <a:lnTo>
                    <a:pt x="929" y="496"/>
                  </a:lnTo>
                  <a:lnTo>
                    <a:pt x="932" y="501"/>
                  </a:lnTo>
                  <a:lnTo>
                    <a:pt x="934" y="504"/>
                  </a:lnTo>
                  <a:close/>
                  <a:moveTo>
                    <a:pt x="760" y="496"/>
                  </a:moveTo>
                  <a:lnTo>
                    <a:pt x="761" y="498"/>
                  </a:lnTo>
                  <a:lnTo>
                    <a:pt x="763" y="499"/>
                  </a:lnTo>
                  <a:lnTo>
                    <a:pt x="764" y="499"/>
                  </a:lnTo>
                  <a:lnTo>
                    <a:pt x="769" y="499"/>
                  </a:lnTo>
                  <a:lnTo>
                    <a:pt x="770" y="498"/>
                  </a:lnTo>
                  <a:lnTo>
                    <a:pt x="772" y="493"/>
                  </a:lnTo>
                  <a:lnTo>
                    <a:pt x="770" y="490"/>
                  </a:lnTo>
                  <a:lnTo>
                    <a:pt x="769" y="488"/>
                  </a:lnTo>
                  <a:lnTo>
                    <a:pt x="764" y="487"/>
                  </a:lnTo>
                  <a:lnTo>
                    <a:pt x="763" y="488"/>
                  </a:lnTo>
                  <a:lnTo>
                    <a:pt x="761" y="488"/>
                  </a:lnTo>
                  <a:lnTo>
                    <a:pt x="761" y="490"/>
                  </a:lnTo>
                  <a:lnTo>
                    <a:pt x="761" y="491"/>
                  </a:lnTo>
                  <a:lnTo>
                    <a:pt x="761" y="493"/>
                  </a:lnTo>
                  <a:lnTo>
                    <a:pt x="760" y="496"/>
                  </a:lnTo>
                  <a:lnTo>
                    <a:pt x="760" y="496"/>
                  </a:lnTo>
                  <a:close/>
                  <a:moveTo>
                    <a:pt x="804" y="561"/>
                  </a:moveTo>
                  <a:lnTo>
                    <a:pt x="806" y="564"/>
                  </a:lnTo>
                  <a:lnTo>
                    <a:pt x="804" y="564"/>
                  </a:lnTo>
                  <a:lnTo>
                    <a:pt x="801" y="559"/>
                  </a:lnTo>
                  <a:lnTo>
                    <a:pt x="801" y="558"/>
                  </a:lnTo>
                  <a:lnTo>
                    <a:pt x="795" y="559"/>
                  </a:lnTo>
                  <a:lnTo>
                    <a:pt x="795" y="562"/>
                  </a:lnTo>
                  <a:lnTo>
                    <a:pt x="795" y="564"/>
                  </a:lnTo>
                  <a:lnTo>
                    <a:pt x="792" y="562"/>
                  </a:lnTo>
                  <a:lnTo>
                    <a:pt x="789" y="562"/>
                  </a:lnTo>
                  <a:lnTo>
                    <a:pt x="787" y="564"/>
                  </a:lnTo>
                  <a:lnTo>
                    <a:pt x="786" y="567"/>
                  </a:lnTo>
                  <a:lnTo>
                    <a:pt x="784" y="572"/>
                  </a:lnTo>
                  <a:lnTo>
                    <a:pt x="792" y="573"/>
                  </a:lnTo>
                  <a:lnTo>
                    <a:pt x="792" y="573"/>
                  </a:lnTo>
                  <a:lnTo>
                    <a:pt x="792" y="575"/>
                  </a:lnTo>
                  <a:lnTo>
                    <a:pt x="792" y="576"/>
                  </a:lnTo>
                  <a:lnTo>
                    <a:pt x="792" y="576"/>
                  </a:lnTo>
                  <a:lnTo>
                    <a:pt x="797" y="578"/>
                  </a:lnTo>
                  <a:lnTo>
                    <a:pt x="792" y="578"/>
                  </a:lnTo>
                  <a:lnTo>
                    <a:pt x="790" y="578"/>
                  </a:lnTo>
                  <a:lnTo>
                    <a:pt x="789" y="581"/>
                  </a:lnTo>
                  <a:lnTo>
                    <a:pt x="790" y="582"/>
                  </a:lnTo>
                  <a:lnTo>
                    <a:pt x="797" y="582"/>
                  </a:lnTo>
                  <a:lnTo>
                    <a:pt x="798" y="584"/>
                  </a:lnTo>
                  <a:lnTo>
                    <a:pt x="792" y="584"/>
                  </a:lnTo>
                  <a:lnTo>
                    <a:pt x="790" y="584"/>
                  </a:lnTo>
                  <a:lnTo>
                    <a:pt x="787" y="587"/>
                  </a:lnTo>
                  <a:lnTo>
                    <a:pt x="786" y="588"/>
                  </a:lnTo>
                  <a:lnTo>
                    <a:pt x="781" y="598"/>
                  </a:lnTo>
                  <a:lnTo>
                    <a:pt x="780" y="601"/>
                  </a:lnTo>
                  <a:lnTo>
                    <a:pt x="776" y="608"/>
                  </a:lnTo>
                  <a:lnTo>
                    <a:pt x="775" y="610"/>
                  </a:lnTo>
                  <a:lnTo>
                    <a:pt x="773" y="610"/>
                  </a:lnTo>
                  <a:lnTo>
                    <a:pt x="772" y="613"/>
                  </a:lnTo>
                  <a:lnTo>
                    <a:pt x="770" y="616"/>
                  </a:lnTo>
                  <a:lnTo>
                    <a:pt x="772" y="619"/>
                  </a:lnTo>
                  <a:lnTo>
                    <a:pt x="772" y="621"/>
                  </a:lnTo>
                  <a:lnTo>
                    <a:pt x="772" y="621"/>
                  </a:lnTo>
                  <a:lnTo>
                    <a:pt x="770" y="622"/>
                  </a:lnTo>
                  <a:lnTo>
                    <a:pt x="770" y="622"/>
                  </a:lnTo>
                  <a:lnTo>
                    <a:pt x="772" y="625"/>
                  </a:lnTo>
                  <a:lnTo>
                    <a:pt x="775" y="625"/>
                  </a:lnTo>
                  <a:lnTo>
                    <a:pt x="778" y="622"/>
                  </a:lnTo>
                  <a:lnTo>
                    <a:pt x="780" y="619"/>
                  </a:lnTo>
                  <a:lnTo>
                    <a:pt x="781" y="615"/>
                  </a:lnTo>
                  <a:lnTo>
                    <a:pt x="783" y="613"/>
                  </a:lnTo>
                  <a:lnTo>
                    <a:pt x="787" y="608"/>
                  </a:lnTo>
                  <a:lnTo>
                    <a:pt x="789" y="608"/>
                  </a:lnTo>
                  <a:lnTo>
                    <a:pt x="789" y="607"/>
                  </a:lnTo>
                  <a:lnTo>
                    <a:pt x="787" y="605"/>
                  </a:lnTo>
                  <a:lnTo>
                    <a:pt x="786" y="605"/>
                  </a:lnTo>
                  <a:lnTo>
                    <a:pt x="787" y="602"/>
                  </a:lnTo>
                  <a:lnTo>
                    <a:pt x="792" y="601"/>
                  </a:lnTo>
                  <a:lnTo>
                    <a:pt x="795" y="596"/>
                  </a:lnTo>
                  <a:lnTo>
                    <a:pt x="798" y="595"/>
                  </a:lnTo>
                  <a:lnTo>
                    <a:pt x="800" y="593"/>
                  </a:lnTo>
                  <a:lnTo>
                    <a:pt x="800" y="593"/>
                  </a:lnTo>
                  <a:lnTo>
                    <a:pt x="800" y="592"/>
                  </a:lnTo>
                  <a:lnTo>
                    <a:pt x="801" y="593"/>
                  </a:lnTo>
                  <a:lnTo>
                    <a:pt x="803" y="593"/>
                  </a:lnTo>
                  <a:lnTo>
                    <a:pt x="804" y="592"/>
                  </a:lnTo>
                  <a:lnTo>
                    <a:pt x="812" y="582"/>
                  </a:lnTo>
                  <a:lnTo>
                    <a:pt x="812" y="581"/>
                  </a:lnTo>
                  <a:lnTo>
                    <a:pt x="812" y="578"/>
                  </a:lnTo>
                  <a:lnTo>
                    <a:pt x="812" y="573"/>
                  </a:lnTo>
                  <a:lnTo>
                    <a:pt x="812" y="573"/>
                  </a:lnTo>
                  <a:lnTo>
                    <a:pt x="813" y="573"/>
                  </a:lnTo>
                  <a:lnTo>
                    <a:pt x="813" y="575"/>
                  </a:lnTo>
                  <a:lnTo>
                    <a:pt x="815" y="578"/>
                  </a:lnTo>
                  <a:lnTo>
                    <a:pt x="815" y="578"/>
                  </a:lnTo>
                  <a:lnTo>
                    <a:pt x="817" y="581"/>
                  </a:lnTo>
                  <a:lnTo>
                    <a:pt x="813" y="584"/>
                  </a:lnTo>
                  <a:lnTo>
                    <a:pt x="809" y="592"/>
                  </a:lnTo>
                  <a:lnTo>
                    <a:pt x="807" y="595"/>
                  </a:lnTo>
                  <a:lnTo>
                    <a:pt x="801" y="598"/>
                  </a:lnTo>
                  <a:lnTo>
                    <a:pt x="800" y="599"/>
                  </a:lnTo>
                  <a:lnTo>
                    <a:pt x="798" y="605"/>
                  </a:lnTo>
                  <a:lnTo>
                    <a:pt x="797" y="607"/>
                  </a:lnTo>
                  <a:lnTo>
                    <a:pt x="795" y="605"/>
                  </a:lnTo>
                  <a:lnTo>
                    <a:pt x="797" y="610"/>
                  </a:lnTo>
                  <a:lnTo>
                    <a:pt x="800" y="610"/>
                  </a:lnTo>
                  <a:lnTo>
                    <a:pt x="810" y="608"/>
                  </a:lnTo>
                  <a:lnTo>
                    <a:pt x="812" y="608"/>
                  </a:lnTo>
                  <a:lnTo>
                    <a:pt x="813" y="612"/>
                  </a:lnTo>
                  <a:lnTo>
                    <a:pt x="817" y="613"/>
                  </a:lnTo>
                  <a:lnTo>
                    <a:pt x="817" y="615"/>
                  </a:lnTo>
                  <a:lnTo>
                    <a:pt x="815" y="615"/>
                  </a:lnTo>
                  <a:lnTo>
                    <a:pt x="815" y="615"/>
                  </a:lnTo>
                  <a:lnTo>
                    <a:pt x="817" y="615"/>
                  </a:lnTo>
                  <a:lnTo>
                    <a:pt x="818" y="616"/>
                  </a:lnTo>
                  <a:lnTo>
                    <a:pt x="820" y="615"/>
                  </a:lnTo>
                  <a:lnTo>
                    <a:pt x="820" y="613"/>
                  </a:lnTo>
                  <a:lnTo>
                    <a:pt x="823" y="607"/>
                  </a:lnTo>
                  <a:lnTo>
                    <a:pt x="824" y="604"/>
                  </a:lnTo>
                  <a:lnTo>
                    <a:pt x="823" y="604"/>
                  </a:lnTo>
                  <a:lnTo>
                    <a:pt x="823" y="604"/>
                  </a:lnTo>
                  <a:lnTo>
                    <a:pt x="821" y="604"/>
                  </a:lnTo>
                  <a:lnTo>
                    <a:pt x="821" y="602"/>
                  </a:lnTo>
                  <a:lnTo>
                    <a:pt x="821" y="602"/>
                  </a:lnTo>
                  <a:lnTo>
                    <a:pt x="823" y="601"/>
                  </a:lnTo>
                  <a:lnTo>
                    <a:pt x="826" y="601"/>
                  </a:lnTo>
                  <a:lnTo>
                    <a:pt x="826" y="601"/>
                  </a:lnTo>
                  <a:lnTo>
                    <a:pt x="826" y="598"/>
                  </a:lnTo>
                  <a:lnTo>
                    <a:pt x="824" y="598"/>
                  </a:lnTo>
                  <a:lnTo>
                    <a:pt x="826" y="596"/>
                  </a:lnTo>
                  <a:lnTo>
                    <a:pt x="826" y="593"/>
                  </a:lnTo>
                  <a:lnTo>
                    <a:pt x="827" y="590"/>
                  </a:lnTo>
                  <a:lnTo>
                    <a:pt x="827" y="592"/>
                  </a:lnTo>
                  <a:lnTo>
                    <a:pt x="829" y="593"/>
                  </a:lnTo>
                  <a:lnTo>
                    <a:pt x="829" y="596"/>
                  </a:lnTo>
                  <a:lnTo>
                    <a:pt x="830" y="598"/>
                  </a:lnTo>
                  <a:lnTo>
                    <a:pt x="832" y="598"/>
                  </a:lnTo>
                  <a:lnTo>
                    <a:pt x="832" y="595"/>
                  </a:lnTo>
                  <a:lnTo>
                    <a:pt x="829" y="592"/>
                  </a:lnTo>
                  <a:lnTo>
                    <a:pt x="829" y="590"/>
                  </a:lnTo>
                  <a:lnTo>
                    <a:pt x="829" y="588"/>
                  </a:lnTo>
                  <a:lnTo>
                    <a:pt x="830" y="588"/>
                  </a:lnTo>
                  <a:lnTo>
                    <a:pt x="832" y="590"/>
                  </a:lnTo>
                  <a:lnTo>
                    <a:pt x="832" y="592"/>
                  </a:lnTo>
                  <a:lnTo>
                    <a:pt x="835" y="588"/>
                  </a:lnTo>
                  <a:lnTo>
                    <a:pt x="835" y="587"/>
                  </a:lnTo>
                  <a:lnTo>
                    <a:pt x="835" y="585"/>
                  </a:lnTo>
                  <a:lnTo>
                    <a:pt x="835" y="582"/>
                  </a:lnTo>
                  <a:lnTo>
                    <a:pt x="835" y="581"/>
                  </a:lnTo>
                  <a:lnTo>
                    <a:pt x="835" y="578"/>
                  </a:lnTo>
                  <a:lnTo>
                    <a:pt x="837" y="576"/>
                  </a:lnTo>
                  <a:lnTo>
                    <a:pt x="837" y="581"/>
                  </a:lnTo>
                  <a:lnTo>
                    <a:pt x="837" y="582"/>
                  </a:lnTo>
                  <a:lnTo>
                    <a:pt x="837" y="584"/>
                  </a:lnTo>
                  <a:lnTo>
                    <a:pt x="837" y="587"/>
                  </a:lnTo>
                  <a:lnTo>
                    <a:pt x="837" y="590"/>
                  </a:lnTo>
                  <a:lnTo>
                    <a:pt x="837" y="593"/>
                  </a:lnTo>
                  <a:lnTo>
                    <a:pt x="837" y="596"/>
                  </a:lnTo>
                  <a:lnTo>
                    <a:pt x="837" y="599"/>
                  </a:lnTo>
                  <a:lnTo>
                    <a:pt x="837" y="602"/>
                  </a:lnTo>
                  <a:lnTo>
                    <a:pt x="838" y="602"/>
                  </a:lnTo>
                  <a:lnTo>
                    <a:pt x="841" y="599"/>
                  </a:lnTo>
                  <a:lnTo>
                    <a:pt x="843" y="598"/>
                  </a:lnTo>
                  <a:lnTo>
                    <a:pt x="846" y="590"/>
                  </a:lnTo>
                  <a:lnTo>
                    <a:pt x="847" y="587"/>
                  </a:lnTo>
                  <a:lnTo>
                    <a:pt x="850" y="582"/>
                  </a:lnTo>
                  <a:lnTo>
                    <a:pt x="850" y="578"/>
                  </a:lnTo>
                  <a:lnTo>
                    <a:pt x="852" y="573"/>
                  </a:lnTo>
                  <a:lnTo>
                    <a:pt x="853" y="568"/>
                  </a:lnTo>
                  <a:lnTo>
                    <a:pt x="853" y="568"/>
                  </a:lnTo>
                  <a:lnTo>
                    <a:pt x="855" y="568"/>
                  </a:lnTo>
                  <a:lnTo>
                    <a:pt x="855" y="570"/>
                  </a:lnTo>
                  <a:lnTo>
                    <a:pt x="857" y="572"/>
                  </a:lnTo>
                  <a:lnTo>
                    <a:pt x="858" y="570"/>
                  </a:lnTo>
                  <a:lnTo>
                    <a:pt x="863" y="565"/>
                  </a:lnTo>
                  <a:lnTo>
                    <a:pt x="872" y="564"/>
                  </a:lnTo>
                  <a:lnTo>
                    <a:pt x="877" y="564"/>
                  </a:lnTo>
                  <a:lnTo>
                    <a:pt x="880" y="565"/>
                  </a:lnTo>
                  <a:lnTo>
                    <a:pt x="881" y="565"/>
                  </a:lnTo>
                  <a:lnTo>
                    <a:pt x="883" y="565"/>
                  </a:lnTo>
                  <a:lnTo>
                    <a:pt x="883" y="562"/>
                  </a:lnTo>
                  <a:lnTo>
                    <a:pt x="883" y="561"/>
                  </a:lnTo>
                  <a:lnTo>
                    <a:pt x="883" y="559"/>
                  </a:lnTo>
                  <a:lnTo>
                    <a:pt x="883" y="559"/>
                  </a:lnTo>
                  <a:lnTo>
                    <a:pt x="883" y="556"/>
                  </a:lnTo>
                  <a:lnTo>
                    <a:pt x="883" y="555"/>
                  </a:lnTo>
                  <a:lnTo>
                    <a:pt x="883" y="553"/>
                  </a:lnTo>
                  <a:lnTo>
                    <a:pt x="884" y="552"/>
                  </a:lnTo>
                  <a:lnTo>
                    <a:pt x="884" y="550"/>
                  </a:lnTo>
                  <a:lnTo>
                    <a:pt x="886" y="548"/>
                  </a:lnTo>
                  <a:lnTo>
                    <a:pt x="887" y="544"/>
                  </a:lnTo>
                  <a:lnTo>
                    <a:pt x="887" y="541"/>
                  </a:lnTo>
                  <a:lnTo>
                    <a:pt x="886" y="539"/>
                  </a:lnTo>
                  <a:lnTo>
                    <a:pt x="887" y="535"/>
                  </a:lnTo>
                  <a:lnTo>
                    <a:pt x="889" y="533"/>
                  </a:lnTo>
                  <a:lnTo>
                    <a:pt x="886" y="530"/>
                  </a:lnTo>
                  <a:lnTo>
                    <a:pt x="886" y="527"/>
                  </a:lnTo>
                  <a:lnTo>
                    <a:pt x="884" y="524"/>
                  </a:lnTo>
                  <a:lnTo>
                    <a:pt x="884" y="522"/>
                  </a:lnTo>
                  <a:lnTo>
                    <a:pt x="887" y="521"/>
                  </a:lnTo>
                  <a:lnTo>
                    <a:pt x="886" y="518"/>
                  </a:lnTo>
                  <a:lnTo>
                    <a:pt x="886" y="516"/>
                  </a:lnTo>
                  <a:lnTo>
                    <a:pt x="884" y="516"/>
                  </a:lnTo>
                  <a:lnTo>
                    <a:pt x="883" y="516"/>
                  </a:lnTo>
                  <a:lnTo>
                    <a:pt x="883" y="513"/>
                  </a:lnTo>
                  <a:lnTo>
                    <a:pt x="886" y="511"/>
                  </a:lnTo>
                  <a:lnTo>
                    <a:pt x="887" y="510"/>
                  </a:lnTo>
                  <a:lnTo>
                    <a:pt x="886" y="508"/>
                  </a:lnTo>
                  <a:lnTo>
                    <a:pt x="880" y="511"/>
                  </a:lnTo>
                  <a:lnTo>
                    <a:pt x="878" y="508"/>
                  </a:lnTo>
                  <a:lnTo>
                    <a:pt x="878" y="505"/>
                  </a:lnTo>
                  <a:lnTo>
                    <a:pt x="878" y="504"/>
                  </a:lnTo>
                  <a:lnTo>
                    <a:pt x="878" y="504"/>
                  </a:lnTo>
                  <a:lnTo>
                    <a:pt x="875" y="504"/>
                  </a:lnTo>
                  <a:lnTo>
                    <a:pt x="869" y="499"/>
                  </a:lnTo>
                  <a:lnTo>
                    <a:pt x="864" y="493"/>
                  </a:lnTo>
                  <a:lnTo>
                    <a:pt x="864" y="493"/>
                  </a:lnTo>
                  <a:lnTo>
                    <a:pt x="864" y="498"/>
                  </a:lnTo>
                  <a:lnTo>
                    <a:pt x="866" y="501"/>
                  </a:lnTo>
                  <a:lnTo>
                    <a:pt x="867" y="504"/>
                  </a:lnTo>
                  <a:lnTo>
                    <a:pt x="867" y="505"/>
                  </a:lnTo>
                  <a:lnTo>
                    <a:pt x="867" y="505"/>
                  </a:lnTo>
                  <a:lnTo>
                    <a:pt x="866" y="507"/>
                  </a:lnTo>
                  <a:lnTo>
                    <a:pt x="864" y="505"/>
                  </a:lnTo>
                  <a:lnTo>
                    <a:pt x="863" y="502"/>
                  </a:lnTo>
                  <a:lnTo>
                    <a:pt x="861" y="502"/>
                  </a:lnTo>
                  <a:lnTo>
                    <a:pt x="860" y="502"/>
                  </a:lnTo>
                  <a:lnTo>
                    <a:pt x="853" y="507"/>
                  </a:lnTo>
                  <a:lnTo>
                    <a:pt x="853" y="508"/>
                  </a:lnTo>
                  <a:lnTo>
                    <a:pt x="852" y="511"/>
                  </a:lnTo>
                  <a:lnTo>
                    <a:pt x="853" y="515"/>
                  </a:lnTo>
                  <a:lnTo>
                    <a:pt x="853" y="516"/>
                  </a:lnTo>
                  <a:lnTo>
                    <a:pt x="855" y="518"/>
                  </a:lnTo>
                  <a:lnTo>
                    <a:pt x="860" y="521"/>
                  </a:lnTo>
                  <a:lnTo>
                    <a:pt x="861" y="522"/>
                  </a:lnTo>
                  <a:lnTo>
                    <a:pt x="861" y="527"/>
                  </a:lnTo>
                  <a:lnTo>
                    <a:pt x="853" y="527"/>
                  </a:lnTo>
                  <a:lnTo>
                    <a:pt x="852" y="527"/>
                  </a:lnTo>
                  <a:lnTo>
                    <a:pt x="850" y="528"/>
                  </a:lnTo>
                  <a:lnTo>
                    <a:pt x="849" y="531"/>
                  </a:lnTo>
                  <a:lnTo>
                    <a:pt x="849" y="533"/>
                  </a:lnTo>
                  <a:lnTo>
                    <a:pt x="849" y="535"/>
                  </a:lnTo>
                  <a:lnTo>
                    <a:pt x="849" y="536"/>
                  </a:lnTo>
                  <a:lnTo>
                    <a:pt x="850" y="536"/>
                  </a:lnTo>
                  <a:lnTo>
                    <a:pt x="852" y="541"/>
                  </a:lnTo>
                  <a:lnTo>
                    <a:pt x="852" y="544"/>
                  </a:lnTo>
                  <a:lnTo>
                    <a:pt x="852" y="547"/>
                  </a:lnTo>
                  <a:lnTo>
                    <a:pt x="850" y="548"/>
                  </a:lnTo>
                  <a:lnTo>
                    <a:pt x="849" y="547"/>
                  </a:lnTo>
                  <a:lnTo>
                    <a:pt x="847" y="541"/>
                  </a:lnTo>
                  <a:lnTo>
                    <a:pt x="846" y="539"/>
                  </a:lnTo>
                  <a:lnTo>
                    <a:pt x="844" y="541"/>
                  </a:lnTo>
                  <a:lnTo>
                    <a:pt x="841" y="544"/>
                  </a:lnTo>
                  <a:lnTo>
                    <a:pt x="835" y="548"/>
                  </a:lnTo>
                  <a:lnTo>
                    <a:pt x="833" y="550"/>
                  </a:lnTo>
                  <a:lnTo>
                    <a:pt x="832" y="553"/>
                  </a:lnTo>
                  <a:lnTo>
                    <a:pt x="832" y="556"/>
                  </a:lnTo>
                  <a:lnTo>
                    <a:pt x="832" y="559"/>
                  </a:lnTo>
                  <a:lnTo>
                    <a:pt x="832" y="562"/>
                  </a:lnTo>
                  <a:lnTo>
                    <a:pt x="830" y="565"/>
                  </a:lnTo>
                  <a:lnTo>
                    <a:pt x="829" y="567"/>
                  </a:lnTo>
                  <a:lnTo>
                    <a:pt x="826" y="570"/>
                  </a:lnTo>
                  <a:lnTo>
                    <a:pt x="827" y="567"/>
                  </a:lnTo>
                  <a:lnTo>
                    <a:pt x="829" y="565"/>
                  </a:lnTo>
                  <a:lnTo>
                    <a:pt x="829" y="562"/>
                  </a:lnTo>
                  <a:lnTo>
                    <a:pt x="829" y="559"/>
                  </a:lnTo>
                  <a:lnTo>
                    <a:pt x="829" y="558"/>
                  </a:lnTo>
                  <a:lnTo>
                    <a:pt x="829" y="555"/>
                  </a:lnTo>
                  <a:lnTo>
                    <a:pt x="829" y="552"/>
                  </a:lnTo>
                  <a:lnTo>
                    <a:pt x="829" y="548"/>
                  </a:lnTo>
                  <a:lnTo>
                    <a:pt x="830" y="547"/>
                  </a:lnTo>
                  <a:lnTo>
                    <a:pt x="835" y="545"/>
                  </a:lnTo>
                  <a:lnTo>
                    <a:pt x="837" y="544"/>
                  </a:lnTo>
                  <a:lnTo>
                    <a:pt x="837" y="544"/>
                  </a:lnTo>
                  <a:lnTo>
                    <a:pt x="838" y="541"/>
                  </a:lnTo>
                  <a:lnTo>
                    <a:pt x="838" y="539"/>
                  </a:lnTo>
                  <a:lnTo>
                    <a:pt x="840" y="539"/>
                  </a:lnTo>
                  <a:lnTo>
                    <a:pt x="840" y="539"/>
                  </a:lnTo>
                  <a:lnTo>
                    <a:pt x="841" y="538"/>
                  </a:lnTo>
                  <a:lnTo>
                    <a:pt x="841" y="536"/>
                  </a:lnTo>
                  <a:lnTo>
                    <a:pt x="843" y="535"/>
                  </a:lnTo>
                  <a:lnTo>
                    <a:pt x="844" y="528"/>
                  </a:lnTo>
                  <a:lnTo>
                    <a:pt x="844" y="525"/>
                  </a:lnTo>
                  <a:lnTo>
                    <a:pt x="846" y="522"/>
                  </a:lnTo>
                  <a:lnTo>
                    <a:pt x="844" y="518"/>
                  </a:lnTo>
                  <a:lnTo>
                    <a:pt x="843" y="516"/>
                  </a:lnTo>
                  <a:lnTo>
                    <a:pt x="841" y="518"/>
                  </a:lnTo>
                  <a:lnTo>
                    <a:pt x="838" y="522"/>
                  </a:lnTo>
                  <a:lnTo>
                    <a:pt x="835" y="525"/>
                  </a:lnTo>
                  <a:lnTo>
                    <a:pt x="832" y="527"/>
                  </a:lnTo>
                  <a:lnTo>
                    <a:pt x="827" y="527"/>
                  </a:lnTo>
                  <a:lnTo>
                    <a:pt x="833" y="524"/>
                  </a:lnTo>
                  <a:lnTo>
                    <a:pt x="833" y="521"/>
                  </a:lnTo>
                  <a:lnTo>
                    <a:pt x="835" y="519"/>
                  </a:lnTo>
                  <a:lnTo>
                    <a:pt x="835" y="518"/>
                  </a:lnTo>
                  <a:lnTo>
                    <a:pt x="837" y="516"/>
                  </a:lnTo>
                  <a:lnTo>
                    <a:pt x="837" y="515"/>
                  </a:lnTo>
                  <a:lnTo>
                    <a:pt x="837" y="511"/>
                  </a:lnTo>
                  <a:lnTo>
                    <a:pt x="837" y="511"/>
                  </a:lnTo>
                  <a:lnTo>
                    <a:pt x="840" y="501"/>
                  </a:lnTo>
                  <a:lnTo>
                    <a:pt x="840" y="496"/>
                  </a:lnTo>
                  <a:lnTo>
                    <a:pt x="840" y="495"/>
                  </a:lnTo>
                  <a:lnTo>
                    <a:pt x="838" y="493"/>
                  </a:lnTo>
                  <a:lnTo>
                    <a:pt x="838" y="490"/>
                  </a:lnTo>
                  <a:lnTo>
                    <a:pt x="838" y="487"/>
                  </a:lnTo>
                  <a:lnTo>
                    <a:pt x="840" y="484"/>
                  </a:lnTo>
                  <a:lnTo>
                    <a:pt x="840" y="482"/>
                  </a:lnTo>
                  <a:lnTo>
                    <a:pt x="840" y="481"/>
                  </a:lnTo>
                  <a:lnTo>
                    <a:pt x="837" y="479"/>
                  </a:lnTo>
                  <a:lnTo>
                    <a:pt x="835" y="479"/>
                  </a:lnTo>
                  <a:lnTo>
                    <a:pt x="829" y="482"/>
                  </a:lnTo>
                  <a:lnTo>
                    <a:pt x="821" y="481"/>
                  </a:lnTo>
                  <a:lnTo>
                    <a:pt x="820" y="482"/>
                  </a:lnTo>
                  <a:lnTo>
                    <a:pt x="818" y="484"/>
                  </a:lnTo>
                  <a:lnTo>
                    <a:pt x="817" y="490"/>
                  </a:lnTo>
                  <a:lnTo>
                    <a:pt x="817" y="493"/>
                  </a:lnTo>
                  <a:lnTo>
                    <a:pt x="817" y="493"/>
                  </a:lnTo>
                  <a:lnTo>
                    <a:pt x="817" y="493"/>
                  </a:lnTo>
                  <a:lnTo>
                    <a:pt x="818" y="495"/>
                  </a:lnTo>
                  <a:lnTo>
                    <a:pt x="818" y="496"/>
                  </a:lnTo>
                  <a:lnTo>
                    <a:pt x="815" y="498"/>
                  </a:lnTo>
                  <a:lnTo>
                    <a:pt x="812" y="499"/>
                  </a:lnTo>
                  <a:lnTo>
                    <a:pt x="812" y="504"/>
                  </a:lnTo>
                  <a:lnTo>
                    <a:pt x="813" y="507"/>
                  </a:lnTo>
                  <a:lnTo>
                    <a:pt x="815" y="507"/>
                  </a:lnTo>
                  <a:lnTo>
                    <a:pt x="818" y="508"/>
                  </a:lnTo>
                  <a:lnTo>
                    <a:pt x="820" y="510"/>
                  </a:lnTo>
                  <a:lnTo>
                    <a:pt x="817" y="510"/>
                  </a:lnTo>
                  <a:lnTo>
                    <a:pt x="813" y="508"/>
                  </a:lnTo>
                  <a:lnTo>
                    <a:pt x="810" y="510"/>
                  </a:lnTo>
                  <a:lnTo>
                    <a:pt x="810" y="510"/>
                  </a:lnTo>
                  <a:lnTo>
                    <a:pt x="810" y="511"/>
                  </a:lnTo>
                  <a:lnTo>
                    <a:pt x="809" y="513"/>
                  </a:lnTo>
                  <a:lnTo>
                    <a:pt x="809" y="513"/>
                  </a:lnTo>
                  <a:lnTo>
                    <a:pt x="807" y="513"/>
                  </a:lnTo>
                  <a:lnTo>
                    <a:pt x="806" y="513"/>
                  </a:lnTo>
                  <a:lnTo>
                    <a:pt x="806" y="511"/>
                  </a:lnTo>
                  <a:lnTo>
                    <a:pt x="806" y="515"/>
                  </a:lnTo>
                  <a:lnTo>
                    <a:pt x="806" y="521"/>
                  </a:lnTo>
                  <a:lnTo>
                    <a:pt x="806" y="524"/>
                  </a:lnTo>
                  <a:lnTo>
                    <a:pt x="807" y="525"/>
                  </a:lnTo>
                  <a:lnTo>
                    <a:pt x="809" y="525"/>
                  </a:lnTo>
                  <a:lnTo>
                    <a:pt x="820" y="525"/>
                  </a:lnTo>
                  <a:lnTo>
                    <a:pt x="821" y="527"/>
                  </a:lnTo>
                  <a:lnTo>
                    <a:pt x="821" y="528"/>
                  </a:lnTo>
                  <a:lnTo>
                    <a:pt x="821" y="531"/>
                  </a:lnTo>
                  <a:lnTo>
                    <a:pt x="821" y="531"/>
                  </a:lnTo>
                  <a:lnTo>
                    <a:pt x="823" y="533"/>
                  </a:lnTo>
                  <a:lnTo>
                    <a:pt x="824" y="535"/>
                  </a:lnTo>
                  <a:lnTo>
                    <a:pt x="821" y="531"/>
                  </a:lnTo>
                  <a:lnTo>
                    <a:pt x="820" y="530"/>
                  </a:lnTo>
                  <a:lnTo>
                    <a:pt x="818" y="528"/>
                  </a:lnTo>
                  <a:lnTo>
                    <a:pt x="817" y="527"/>
                  </a:lnTo>
                  <a:lnTo>
                    <a:pt x="815" y="528"/>
                  </a:lnTo>
                  <a:lnTo>
                    <a:pt x="815" y="528"/>
                  </a:lnTo>
                  <a:lnTo>
                    <a:pt x="813" y="528"/>
                  </a:lnTo>
                  <a:lnTo>
                    <a:pt x="804" y="528"/>
                  </a:lnTo>
                  <a:lnTo>
                    <a:pt x="804" y="530"/>
                  </a:lnTo>
                  <a:lnTo>
                    <a:pt x="804" y="533"/>
                  </a:lnTo>
                  <a:lnTo>
                    <a:pt x="804" y="539"/>
                  </a:lnTo>
                  <a:lnTo>
                    <a:pt x="806" y="542"/>
                  </a:lnTo>
                  <a:lnTo>
                    <a:pt x="807" y="544"/>
                  </a:lnTo>
                  <a:lnTo>
                    <a:pt x="809" y="547"/>
                  </a:lnTo>
                  <a:lnTo>
                    <a:pt x="810" y="548"/>
                  </a:lnTo>
                  <a:lnTo>
                    <a:pt x="813" y="548"/>
                  </a:lnTo>
                  <a:lnTo>
                    <a:pt x="815" y="548"/>
                  </a:lnTo>
                  <a:lnTo>
                    <a:pt x="815" y="550"/>
                  </a:lnTo>
                  <a:lnTo>
                    <a:pt x="817" y="552"/>
                  </a:lnTo>
                  <a:lnTo>
                    <a:pt x="817" y="553"/>
                  </a:lnTo>
                  <a:lnTo>
                    <a:pt x="818" y="553"/>
                  </a:lnTo>
                  <a:lnTo>
                    <a:pt x="817" y="555"/>
                  </a:lnTo>
                  <a:lnTo>
                    <a:pt x="817" y="555"/>
                  </a:lnTo>
                  <a:lnTo>
                    <a:pt x="815" y="555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0"/>
                  </a:lnTo>
                  <a:lnTo>
                    <a:pt x="812" y="550"/>
                  </a:lnTo>
                  <a:lnTo>
                    <a:pt x="804" y="552"/>
                  </a:lnTo>
                  <a:lnTo>
                    <a:pt x="804" y="553"/>
                  </a:lnTo>
                  <a:lnTo>
                    <a:pt x="804" y="553"/>
                  </a:lnTo>
                  <a:lnTo>
                    <a:pt x="806" y="556"/>
                  </a:lnTo>
                  <a:lnTo>
                    <a:pt x="804" y="556"/>
                  </a:lnTo>
                  <a:lnTo>
                    <a:pt x="801" y="555"/>
                  </a:lnTo>
                  <a:lnTo>
                    <a:pt x="801" y="555"/>
                  </a:lnTo>
                  <a:lnTo>
                    <a:pt x="804" y="561"/>
                  </a:lnTo>
                  <a:close/>
                  <a:moveTo>
                    <a:pt x="872" y="487"/>
                  </a:moveTo>
                  <a:lnTo>
                    <a:pt x="875" y="493"/>
                  </a:lnTo>
                  <a:lnTo>
                    <a:pt x="878" y="496"/>
                  </a:lnTo>
                  <a:lnTo>
                    <a:pt x="881" y="496"/>
                  </a:lnTo>
                  <a:lnTo>
                    <a:pt x="887" y="496"/>
                  </a:lnTo>
                  <a:lnTo>
                    <a:pt x="889" y="495"/>
                  </a:lnTo>
                  <a:lnTo>
                    <a:pt x="889" y="490"/>
                  </a:lnTo>
                  <a:lnTo>
                    <a:pt x="890" y="487"/>
                  </a:lnTo>
                  <a:lnTo>
                    <a:pt x="890" y="484"/>
                  </a:lnTo>
                  <a:lnTo>
                    <a:pt x="889" y="481"/>
                  </a:lnTo>
                  <a:lnTo>
                    <a:pt x="887" y="479"/>
                  </a:lnTo>
                  <a:lnTo>
                    <a:pt x="884" y="481"/>
                  </a:lnTo>
                  <a:lnTo>
                    <a:pt x="881" y="481"/>
                  </a:lnTo>
                  <a:lnTo>
                    <a:pt x="877" y="479"/>
                  </a:lnTo>
                  <a:lnTo>
                    <a:pt x="872" y="475"/>
                  </a:lnTo>
                  <a:lnTo>
                    <a:pt x="869" y="475"/>
                  </a:lnTo>
                  <a:lnTo>
                    <a:pt x="866" y="479"/>
                  </a:lnTo>
                  <a:lnTo>
                    <a:pt x="867" y="482"/>
                  </a:lnTo>
                  <a:lnTo>
                    <a:pt x="872" y="487"/>
                  </a:lnTo>
                  <a:close/>
                  <a:moveTo>
                    <a:pt x="726" y="542"/>
                  </a:moveTo>
                  <a:lnTo>
                    <a:pt x="727" y="542"/>
                  </a:lnTo>
                  <a:lnTo>
                    <a:pt x="727" y="542"/>
                  </a:lnTo>
                  <a:lnTo>
                    <a:pt x="727" y="541"/>
                  </a:lnTo>
                  <a:lnTo>
                    <a:pt x="729" y="541"/>
                  </a:lnTo>
                  <a:lnTo>
                    <a:pt x="729" y="542"/>
                  </a:lnTo>
                  <a:lnTo>
                    <a:pt x="729" y="544"/>
                  </a:lnTo>
                  <a:lnTo>
                    <a:pt x="727" y="548"/>
                  </a:lnTo>
                  <a:lnTo>
                    <a:pt x="729" y="552"/>
                  </a:lnTo>
                  <a:lnTo>
                    <a:pt x="729" y="553"/>
                  </a:lnTo>
                  <a:lnTo>
                    <a:pt x="733" y="555"/>
                  </a:lnTo>
                  <a:lnTo>
                    <a:pt x="736" y="553"/>
                  </a:lnTo>
                  <a:lnTo>
                    <a:pt x="738" y="550"/>
                  </a:lnTo>
                  <a:lnTo>
                    <a:pt x="738" y="550"/>
                  </a:lnTo>
                  <a:lnTo>
                    <a:pt x="743" y="550"/>
                  </a:lnTo>
                  <a:lnTo>
                    <a:pt x="743" y="550"/>
                  </a:lnTo>
                  <a:lnTo>
                    <a:pt x="744" y="545"/>
                  </a:lnTo>
                  <a:lnTo>
                    <a:pt x="744" y="544"/>
                  </a:lnTo>
                  <a:lnTo>
                    <a:pt x="746" y="541"/>
                  </a:lnTo>
                  <a:lnTo>
                    <a:pt x="747" y="538"/>
                  </a:lnTo>
                  <a:lnTo>
                    <a:pt x="747" y="533"/>
                  </a:lnTo>
                  <a:lnTo>
                    <a:pt x="749" y="538"/>
                  </a:lnTo>
                  <a:lnTo>
                    <a:pt x="750" y="541"/>
                  </a:lnTo>
                  <a:lnTo>
                    <a:pt x="753" y="542"/>
                  </a:lnTo>
                  <a:lnTo>
                    <a:pt x="755" y="541"/>
                  </a:lnTo>
                  <a:lnTo>
                    <a:pt x="755" y="538"/>
                  </a:lnTo>
                  <a:lnTo>
                    <a:pt x="756" y="535"/>
                  </a:lnTo>
                  <a:lnTo>
                    <a:pt x="756" y="533"/>
                  </a:lnTo>
                  <a:lnTo>
                    <a:pt x="758" y="531"/>
                  </a:lnTo>
                  <a:lnTo>
                    <a:pt x="758" y="533"/>
                  </a:lnTo>
                  <a:lnTo>
                    <a:pt x="758" y="536"/>
                  </a:lnTo>
                  <a:lnTo>
                    <a:pt x="756" y="539"/>
                  </a:lnTo>
                  <a:lnTo>
                    <a:pt x="758" y="541"/>
                  </a:lnTo>
                  <a:lnTo>
                    <a:pt x="761" y="538"/>
                  </a:lnTo>
                  <a:lnTo>
                    <a:pt x="763" y="538"/>
                  </a:lnTo>
                  <a:lnTo>
                    <a:pt x="764" y="539"/>
                  </a:lnTo>
                  <a:lnTo>
                    <a:pt x="766" y="536"/>
                  </a:lnTo>
                  <a:lnTo>
                    <a:pt x="767" y="531"/>
                  </a:lnTo>
                  <a:lnTo>
                    <a:pt x="769" y="528"/>
                  </a:lnTo>
                  <a:lnTo>
                    <a:pt x="769" y="530"/>
                  </a:lnTo>
                  <a:lnTo>
                    <a:pt x="769" y="531"/>
                  </a:lnTo>
                  <a:lnTo>
                    <a:pt x="769" y="531"/>
                  </a:lnTo>
                  <a:lnTo>
                    <a:pt x="769" y="533"/>
                  </a:lnTo>
                  <a:lnTo>
                    <a:pt x="770" y="535"/>
                  </a:lnTo>
                  <a:lnTo>
                    <a:pt x="773" y="533"/>
                  </a:lnTo>
                  <a:lnTo>
                    <a:pt x="775" y="528"/>
                  </a:lnTo>
                  <a:lnTo>
                    <a:pt x="776" y="525"/>
                  </a:lnTo>
                  <a:lnTo>
                    <a:pt x="772" y="522"/>
                  </a:lnTo>
                  <a:lnTo>
                    <a:pt x="770" y="522"/>
                  </a:lnTo>
                  <a:lnTo>
                    <a:pt x="773" y="521"/>
                  </a:lnTo>
                  <a:lnTo>
                    <a:pt x="783" y="524"/>
                  </a:lnTo>
                  <a:lnTo>
                    <a:pt x="783" y="527"/>
                  </a:lnTo>
                  <a:lnTo>
                    <a:pt x="783" y="530"/>
                  </a:lnTo>
                  <a:lnTo>
                    <a:pt x="783" y="531"/>
                  </a:lnTo>
                  <a:lnTo>
                    <a:pt x="784" y="535"/>
                  </a:lnTo>
                  <a:lnTo>
                    <a:pt x="781" y="536"/>
                  </a:lnTo>
                  <a:lnTo>
                    <a:pt x="778" y="536"/>
                  </a:lnTo>
                  <a:lnTo>
                    <a:pt x="776" y="538"/>
                  </a:lnTo>
                  <a:lnTo>
                    <a:pt x="775" y="539"/>
                  </a:lnTo>
                  <a:lnTo>
                    <a:pt x="775" y="539"/>
                  </a:lnTo>
                  <a:lnTo>
                    <a:pt x="775" y="541"/>
                  </a:lnTo>
                  <a:lnTo>
                    <a:pt x="773" y="542"/>
                  </a:lnTo>
                  <a:lnTo>
                    <a:pt x="769" y="542"/>
                  </a:lnTo>
                  <a:lnTo>
                    <a:pt x="767" y="542"/>
                  </a:lnTo>
                  <a:lnTo>
                    <a:pt x="763" y="545"/>
                  </a:lnTo>
                  <a:lnTo>
                    <a:pt x="760" y="547"/>
                  </a:lnTo>
                  <a:lnTo>
                    <a:pt x="758" y="547"/>
                  </a:lnTo>
                  <a:lnTo>
                    <a:pt x="756" y="552"/>
                  </a:lnTo>
                  <a:lnTo>
                    <a:pt x="756" y="552"/>
                  </a:lnTo>
                  <a:lnTo>
                    <a:pt x="756" y="553"/>
                  </a:lnTo>
                  <a:lnTo>
                    <a:pt x="761" y="555"/>
                  </a:lnTo>
                  <a:lnTo>
                    <a:pt x="761" y="555"/>
                  </a:lnTo>
                  <a:lnTo>
                    <a:pt x="760" y="556"/>
                  </a:lnTo>
                  <a:lnTo>
                    <a:pt x="760" y="558"/>
                  </a:lnTo>
                  <a:lnTo>
                    <a:pt x="763" y="559"/>
                  </a:lnTo>
                  <a:lnTo>
                    <a:pt x="776" y="559"/>
                  </a:lnTo>
                  <a:lnTo>
                    <a:pt x="797" y="544"/>
                  </a:lnTo>
                  <a:lnTo>
                    <a:pt x="800" y="541"/>
                  </a:lnTo>
                  <a:lnTo>
                    <a:pt x="801" y="536"/>
                  </a:lnTo>
                  <a:lnTo>
                    <a:pt x="801" y="528"/>
                  </a:lnTo>
                  <a:lnTo>
                    <a:pt x="798" y="525"/>
                  </a:lnTo>
                  <a:lnTo>
                    <a:pt x="795" y="524"/>
                  </a:lnTo>
                  <a:lnTo>
                    <a:pt x="792" y="522"/>
                  </a:lnTo>
                  <a:lnTo>
                    <a:pt x="792" y="521"/>
                  </a:lnTo>
                  <a:lnTo>
                    <a:pt x="793" y="519"/>
                  </a:lnTo>
                  <a:lnTo>
                    <a:pt x="792" y="516"/>
                  </a:lnTo>
                  <a:lnTo>
                    <a:pt x="792" y="515"/>
                  </a:lnTo>
                  <a:lnTo>
                    <a:pt x="792" y="513"/>
                  </a:lnTo>
                  <a:lnTo>
                    <a:pt x="793" y="513"/>
                  </a:lnTo>
                  <a:lnTo>
                    <a:pt x="797" y="515"/>
                  </a:lnTo>
                  <a:lnTo>
                    <a:pt x="798" y="513"/>
                  </a:lnTo>
                  <a:lnTo>
                    <a:pt x="798" y="511"/>
                  </a:lnTo>
                  <a:lnTo>
                    <a:pt x="800" y="507"/>
                  </a:lnTo>
                  <a:lnTo>
                    <a:pt x="800" y="504"/>
                  </a:lnTo>
                  <a:lnTo>
                    <a:pt x="797" y="505"/>
                  </a:lnTo>
                  <a:lnTo>
                    <a:pt x="797" y="504"/>
                  </a:lnTo>
                  <a:lnTo>
                    <a:pt x="797" y="502"/>
                  </a:lnTo>
                  <a:lnTo>
                    <a:pt x="797" y="502"/>
                  </a:lnTo>
                  <a:lnTo>
                    <a:pt x="795" y="502"/>
                  </a:lnTo>
                  <a:lnTo>
                    <a:pt x="795" y="502"/>
                  </a:lnTo>
                  <a:lnTo>
                    <a:pt x="793" y="505"/>
                  </a:lnTo>
                  <a:lnTo>
                    <a:pt x="789" y="510"/>
                  </a:lnTo>
                  <a:lnTo>
                    <a:pt x="792" y="504"/>
                  </a:lnTo>
                  <a:lnTo>
                    <a:pt x="792" y="501"/>
                  </a:lnTo>
                  <a:lnTo>
                    <a:pt x="793" y="493"/>
                  </a:lnTo>
                  <a:lnTo>
                    <a:pt x="792" y="490"/>
                  </a:lnTo>
                  <a:lnTo>
                    <a:pt x="787" y="498"/>
                  </a:lnTo>
                  <a:lnTo>
                    <a:pt x="786" y="496"/>
                  </a:lnTo>
                  <a:lnTo>
                    <a:pt x="786" y="495"/>
                  </a:lnTo>
                  <a:lnTo>
                    <a:pt x="787" y="493"/>
                  </a:lnTo>
                  <a:lnTo>
                    <a:pt x="789" y="491"/>
                  </a:lnTo>
                  <a:lnTo>
                    <a:pt x="787" y="488"/>
                  </a:lnTo>
                  <a:lnTo>
                    <a:pt x="787" y="488"/>
                  </a:lnTo>
                  <a:lnTo>
                    <a:pt x="786" y="488"/>
                  </a:lnTo>
                  <a:lnTo>
                    <a:pt x="786" y="487"/>
                  </a:lnTo>
                  <a:lnTo>
                    <a:pt x="786" y="487"/>
                  </a:lnTo>
                  <a:lnTo>
                    <a:pt x="787" y="485"/>
                  </a:lnTo>
                  <a:lnTo>
                    <a:pt x="786" y="485"/>
                  </a:lnTo>
                  <a:lnTo>
                    <a:pt x="783" y="481"/>
                  </a:lnTo>
                  <a:lnTo>
                    <a:pt x="784" y="479"/>
                  </a:lnTo>
                  <a:lnTo>
                    <a:pt x="784" y="476"/>
                  </a:lnTo>
                  <a:lnTo>
                    <a:pt x="783" y="473"/>
                  </a:lnTo>
                  <a:lnTo>
                    <a:pt x="781" y="470"/>
                  </a:lnTo>
                  <a:lnTo>
                    <a:pt x="781" y="470"/>
                  </a:lnTo>
                  <a:lnTo>
                    <a:pt x="780" y="470"/>
                  </a:lnTo>
                  <a:lnTo>
                    <a:pt x="778" y="471"/>
                  </a:lnTo>
                  <a:lnTo>
                    <a:pt x="772" y="478"/>
                  </a:lnTo>
                  <a:lnTo>
                    <a:pt x="772" y="481"/>
                  </a:lnTo>
                  <a:lnTo>
                    <a:pt x="773" y="484"/>
                  </a:lnTo>
                  <a:lnTo>
                    <a:pt x="773" y="487"/>
                  </a:lnTo>
                  <a:lnTo>
                    <a:pt x="776" y="491"/>
                  </a:lnTo>
                  <a:lnTo>
                    <a:pt x="776" y="495"/>
                  </a:lnTo>
                  <a:lnTo>
                    <a:pt x="776" y="498"/>
                  </a:lnTo>
                  <a:lnTo>
                    <a:pt x="778" y="501"/>
                  </a:lnTo>
                  <a:lnTo>
                    <a:pt x="780" y="502"/>
                  </a:lnTo>
                  <a:lnTo>
                    <a:pt x="783" y="505"/>
                  </a:lnTo>
                  <a:lnTo>
                    <a:pt x="783" y="511"/>
                  </a:lnTo>
                  <a:lnTo>
                    <a:pt x="781" y="508"/>
                  </a:lnTo>
                  <a:lnTo>
                    <a:pt x="778" y="505"/>
                  </a:lnTo>
                  <a:lnTo>
                    <a:pt x="775" y="504"/>
                  </a:lnTo>
                  <a:lnTo>
                    <a:pt x="773" y="510"/>
                  </a:lnTo>
                  <a:lnTo>
                    <a:pt x="773" y="510"/>
                  </a:lnTo>
                  <a:lnTo>
                    <a:pt x="773" y="511"/>
                  </a:lnTo>
                  <a:lnTo>
                    <a:pt x="773" y="513"/>
                  </a:lnTo>
                  <a:lnTo>
                    <a:pt x="773" y="515"/>
                  </a:lnTo>
                  <a:lnTo>
                    <a:pt x="772" y="516"/>
                  </a:lnTo>
                  <a:lnTo>
                    <a:pt x="772" y="515"/>
                  </a:lnTo>
                  <a:lnTo>
                    <a:pt x="770" y="511"/>
                  </a:lnTo>
                  <a:lnTo>
                    <a:pt x="770" y="510"/>
                  </a:lnTo>
                  <a:lnTo>
                    <a:pt x="770" y="507"/>
                  </a:lnTo>
                  <a:lnTo>
                    <a:pt x="770" y="505"/>
                  </a:lnTo>
                  <a:lnTo>
                    <a:pt x="770" y="504"/>
                  </a:lnTo>
                  <a:lnTo>
                    <a:pt x="767" y="501"/>
                  </a:lnTo>
                  <a:lnTo>
                    <a:pt x="767" y="502"/>
                  </a:lnTo>
                  <a:lnTo>
                    <a:pt x="764" y="505"/>
                  </a:lnTo>
                  <a:lnTo>
                    <a:pt x="767" y="511"/>
                  </a:lnTo>
                  <a:lnTo>
                    <a:pt x="767" y="513"/>
                  </a:lnTo>
                  <a:lnTo>
                    <a:pt x="767" y="515"/>
                  </a:lnTo>
                  <a:lnTo>
                    <a:pt x="767" y="516"/>
                  </a:lnTo>
                  <a:lnTo>
                    <a:pt x="767" y="518"/>
                  </a:lnTo>
                  <a:lnTo>
                    <a:pt x="766" y="519"/>
                  </a:lnTo>
                  <a:lnTo>
                    <a:pt x="764" y="522"/>
                  </a:lnTo>
                  <a:lnTo>
                    <a:pt x="764" y="524"/>
                  </a:lnTo>
                  <a:lnTo>
                    <a:pt x="763" y="522"/>
                  </a:lnTo>
                  <a:lnTo>
                    <a:pt x="763" y="521"/>
                  </a:lnTo>
                  <a:lnTo>
                    <a:pt x="763" y="518"/>
                  </a:lnTo>
                  <a:lnTo>
                    <a:pt x="763" y="516"/>
                  </a:lnTo>
                  <a:lnTo>
                    <a:pt x="760" y="515"/>
                  </a:lnTo>
                  <a:lnTo>
                    <a:pt x="756" y="516"/>
                  </a:lnTo>
                  <a:lnTo>
                    <a:pt x="750" y="522"/>
                  </a:lnTo>
                  <a:lnTo>
                    <a:pt x="749" y="524"/>
                  </a:lnTo>
                  <a:lnTo>
                    <a:pt x="747" y="521"/>
                  </a:lnTo>
                  <a:lnTo>
                    <a:pt x="749" y="511"/>
                  </a:lnTo>
                  <a:lnTo>
                    <a:pt x="747" y="511"/>
                  </a:lnTo>
                  <a:lnTo>
                    <a:pt x="747" y="510"/>
                  </a:lnTo>
                  <a:lnTo>
                    <a:pt x="747" y="508"/>
                  </a:lnTo>
                  <a:lnTo>
                    <a:pt x="746" y="507"/>
                  </a:lnTo>
                  <a:lnTo>
                    <a:pt x="744" y="508"/>
                  </a:lnTo>
                  <a:lnTo>
                    <a:pt x="743" y="510"/>
                  </a:lnTo>
                  <a:lnTo>
                    <a:pt x="743" y="513"/>
                  </a:lnTo>
                  <a:lnTo>
                    <a:pt x="743" y="515"/>
                  </a:lnTo>
                  <a:lnTo>
                    <a:pt x="744" y="516"/>
                  </a:lnTo>
                  <a:lnTo>
                    <a:pt x="743" y="518"/>
                  </a:lnTo>
                  <a:lnTo>
                    <a:pt x="743" y="519"/>
                  </a:lnTo>
                  <a:lnTo>
                    <a:pt x="741" y="521"/>
                  </a:lnTo>
                  <a:lnTo>
                    <a:pt x="741" y="525"/>
                  </a:lnTo>
                  <a:lnTo>
                    <a:pt x="741" y="525"/>
                  </a:lnTo>
                  <a:lnTo>
                    <a:pt x="743" y="525"/>
                  </a:lnTo>
                  <a:lnTo>
                    <a:pt x="743" y="527"/>
                  </a:lnTo>
                  <a:lnTo>
                    <a:pt x="743" y="527"/>
                  </a:lnTo>
                  <a:lnTo>
                    <a:pt x="743" y="528"/>
                  </a:lnTo>
                  <a:lnTo>
                    <a:pt x="741" y="527"/>
                  </a:lnTo>
                  <a:lnTo>
                    <a:pt x="740" y="525"/>
                  </a:lnTo>
                  <a:lnTo>
                    <a:pt x="738" y="524"/>
                  </a:lnTo>
                  <a:lnTo>
                    <a:pt x="738" y="521"/>
                  </a:lnTo>
                  <a:lnTo>
                    <a:pt x="738" y="516"/>
                  </a:lnTo>
                  <a:lnTo>
                    <a:pt x="738" y="513"/>
                  </a:lnTo>
                  <a:lnTo>
                    <a:pt x="736" y="513"/>
                  </a:lnTo>
                  <a:lnTo>
                    <a:pt x="733" y="515"/>
                  </a:lnTo>
                  <a:lnTo>
                    <a:pt x="730" y="519"/>
                  </a:lnTo>
                  <a:lnTo>
                    <a:pt x="730" y="524"/>
                  </a:lnTo>
                  <a:lnTo>
                    <a:pt x="735" y="527"/>
                  </a:lnTo>
                  <a:lnTo>
                    <a:pt x="738" y="527"/>
                  </a:lnTo>
                  <a:lnTo>
                    <a:pt x="738" y="527"/>
                  </a:lnTo>
                  <a:lnTo>
                    <a:pt x="732" y="530"/>
                  </a:lnTo>
                  <a:lnTo>
                    <a:pt x="729" y="531"/>
                  </a:lnTo>
                  <a:lnTo>
                    <a:pt x="729" y="535"/>
                  </a:lnTo>
                  <a:lnTo>
                    <a:pt x="726" y="535"/>
                  </a:lnTo>
                  <a:lnTo>
                    <a:pt x="726" y="536"/>
                  </a:lnTo>
                  <a:lnTo>
                    <a:pt x="724" y="538"/>
                  </a:lnTo>
                  <a:lnTo>
                    <a:pt x="726" y="541"/>
                  </a:lnTo>
                  <a:lnTo>
                    <a:pt x="726" y="542"/>
                  </a:lnTo>
                  <a:close/>
                  <a:moveTo>
                    <a:pt x="963" y="454"/>
                  </a:moveTo>
                  <a:lnTo>
                    <a:pt x="963" y="454"/>
                  </a:lnTo>
                  <a:lnTo>
                    <a:pt x="961" y="454"/>
                  </a:lnTo>
                  <a:lnTo>
                    <a:pt x="961" y="454"/>
                  </a:lnTo>
                  <a:lnTo>
                    <a:pt x="954" y="456"/>
                  </a:lnTo>
                  <a:lnTo>
                    <a:pt x="952" y="456"/>
                  </a:lnTo>
                  <a:lnTo>
                    <a:pt x="949" y="459"/>
                  </a:lnTo>
                  <a:lnTo>
                    <a:pt x="947" y="464"/>
                  </a:lnTo>
                  <a:lnTo>
                    <a:pt x="946" y="465"/>
                  </a:lnTo>
                  <a:lnTo>
                    <a:pt x="946" y="468"/>
                  </a:lnTo>
                  <a:lnTo>
                    <a:pt x="946" y="470"/>
                  </a:lnTo>
                  <a:lnTo>
                    <a:pt x="946" y="471"/>
                  </a:lnTo>
                  <a:lnTo>
                    <a:pt x="946" y="473"/>
                  </a:lnTo>
                  <a:lnTo>
                    <a:pt x="946" y="475"/>
                  </a:lnTo>
                  <a:lnTo>
                    <a:pt x="949" y="475"/>
                  </a:lnTo>
                  <a:lnTo>
                    <a:pt x="951" y="475"/>
                  </a:lnTo>
                  <a:lnTo>
                    <a:pt x="952" y="475"/>
                  </a:lnTo>
                  <a:lnTo>
                    <a:pt x="954" y="470"/>
                  </a:lnTo>
                  <a:lnTo>
                    <a:pt x="954" y="467"/>
                  </a:lnTo>
                  <a:lnTo>
                    <a:pt x="955" y="465"/>
                  </a:lnTo>
                  <a:lnTo>
                    <a:pt x="958" y="465"/>
                  </a:lnTo>
                  <a:lnTo>
                    <a:pt x="960" y="464"/>
                  </a:lnTo>
                  <a:lnTo>
                    <a:pt x="960" y="462"/>
                  </a:lnTo>
                  <a:lnTo>
                    <a:pt x="961" y="461"/>
                  </a:lnTo>
                  <a:lnTo>
                    <a:pt x="961" y="459"/>
                  </a:lnTo>
                  <a:lnTo>
                    <a:pt x="961" y="458"/>
                  </a:lnTo>
                  <a:lnTo>
                    <a:pt x="961" y="456"/>
                  </a:lnTo>
                  <a:lnTo>
                    <a:pt x="963" y="454"/>
                  </a:lnTo>
                  <a:close/>
                  <a:moveTo>
                    <a:pt x="803" y="491"/>
                  </a:moveTo>
                  <a:lnTo>
                    <a:pt x="804" y="498"/>
                  </a:lnTo>
                  <a:lnTo>
                    <a:pt x="806" y="498"/>
                  </a:lnTo>
                  <a:lnTo>
                    <a:pt x="809" y="495"/>
                  </a:lnTo>
                  <a:lnTo>
                    <a:pt x="810" y="491"/>
                  </a:lnTo>
                  <a:lnTo>
                    <a:pt x="813" y="484"/>
                  </a:lnTo>
                  <a:lnTo>
                    <a:pt x="813" y="481"/>
                  </a:lnTo>
                  <a:lnTo>
                    <a:pt x="813" y="478"/>
                  </a:lnTo>
                  <a:lnTo>
                    <a:pt x="813" y="475"/>
                  </a:lnTo>
                  <a:lnTo>
                    <a:pt x="812" y="473"/>
                  </a:lnTo>
                  <a:lnTo>
                    <a:pt x="810" y="471"/>
                  </a:lnTo>
                  <a:lnTo>
                    <a:pt x="812" y="470"/>
                  </a:lnTo>
                  <a:lnTo>
                    <a:pt x="813" y="470"/>
                  </a:lnTo>
                  <a:lnTo>
                    <a:pt x="817" y="475"/>
                  </a:lnTo>
                  <a:lnTo>
                    <a:pt x="818" y="476"/>
                  </a:lnTo>
                  <a:lnTo>
                    <a:pt x="827" y="471"/>
                  </a:lnTo>
                  <a:lnTo>
                    <a:pt x="832" y="468"/>
                  </a:lnTo>
                  <a:lnTo>
                    <a:pt x="835" y="467"/>
                  </a:lnTo>
                  <a:lnTo>
                    <a:pt x="835" y="465"/>
                  </a:lnTo>
                  <a:lnTo>
                    <a:pt x="837" y="464"/>
                  </a:lnTo>
                  <a:lnTo>
                    <a:pt x="837" y="462"/>
                  </a:lnTo>
                  <a:lnTo>
                    <a:pt x="837" y="461"/>
                  </a:lnTo>
                  <a:lnTo>
                    <a:pt x="837" y="461"/>
                  </a:lnTo>
                  <a:lnTo>
                    <a:pt x="838" y="459"/>
                  </a:lnTo>
                  <a:lnTo>
                    <a:pt x="840" y="458"/>
                  </a:lnTo>
                  <a:lnTo>
                    <a:pt x="840" y="458"/>
                  </a:lnTo>
                  <a:lnTo>
                    <a:pt x="841" y="453"/>
                  </a:lnTo>
                  <a:lnTo>
                    <a:pt x="841" y="451"/>
                  </a:lnTo>
                  <a:lnTo>
                    <a:pt x="843" y="451"/>
                  </a:lnTo>
                  <a:lnTo>
                    <a:pt x="844" y="450"/>
                  </a:lnTo>
                  <a:lnTo>
                    <a:pt x="847" y="445"/>
                  </a:lnTo>
                  <a:lnTo>
                    <a:pt x="850" y="442"/>
                  </a:lnTo>
                  <a:lnTo>
                    <a:pt x="852" y="441"/>
                  </a:lnTo>
                  <a:lnTo>
                    <a:pt x="852" y="438"/>
                  </a:lnTo>
                  <a:lnTo>
                    <a:pt x="853" y="428"/>
                  </a:lnTo>
                  <a:lnTo>
                    <a:pt x="855" y="425"/>
                  </a:lnTo>
                  <a:lnTo>
                    <a:pt x="855" y="421"/>
                  </a:lnTo>
                  <a:lnTo>
                    <a:pt x="857" y="418"/>
                  </a:lnTo>
                  <a:lnTo>
                    <a:pt x="857" y="413"/>
                  </a:lnTo>
                  <a:lnTo>
                    <a:pt x="855" y="408"/>
                  </a:lnTo>
                  <a:lnTo>
                    <a:pt x="853" y="407"/>
                  </a:lnTo>
                  <a:lnTo>
                    <a:pt x="844" y="413"/>
                  </a:lnTo>
                  <a:lnTo>
                    <a:pt x="841" y="418"/>
                  </a:lnTo>
                  <a:lnTo>
                    <a:pt x="840" y="419"/>
                  </a:lnTo>
                  <a:lnTo>
                    <a:pt x="837" y="421"/>
                  </a:lnTo>
                  <a:lnTo>
                    <a:pt x="835" y="421"/>
                  </a:lnTo>
                  <a:lnTo>
                    <a:pt x="837" y="422"/>
                  </a:lnTo>
                  <a:lnTo>
                    <a:pt x="837" y="424"/>
                  </a:lnTo>
                  <a:lnTo>
                    <a:pt x="837" y="425"/>
                  </a:lnTo>
                  <a:lnTo>
                    <a:pt x="833" y="427"/>
                  </a:lnTo>
                  <a:lnTo>
                    <a:pt x="830" y="439"/>
                  </a:lnTo>
                  <a:lnTo>
                    <a:pt x="827" y="442"/>
                  </a:lnTo>
                  <a:lnTo>
                    <a:pt x="821" y="444"/>
                  </a:lnTo>
                  <a:lnTo>
                    <a:pt x="817" y="447"/>
                  </a:lnTo>
                  <a:lnTo>
                    <a:pt x="813" y="451"/>
                  </a:lnTo>
                  <a:lnTo>
                    <a:pt x="812" y="456"/>
                  </a:lnTo>
                  <a:lnTo>
                    <a:pt x="810" y="462"/>
                  </a:lnTo>
                  <a:lnTo>
                    <a:pt x="806" y="470"/>
                  </a:lnTo>
                  <a:lnTo>
                    <a:pt x="806" y="473"/>
                  </a:lnTo>
                  <a:lnTo>
                    <a:pt x="804" y="478"/>
                  </a:lnTo>
                  <a:lnTo>
                    <a:pt x="803" y="481"/>
                  </a:lnTo>
                  <a:lnTo>
                    <a:pt x="803" y="484"/>
                  </a:lnTo>
                  <a:lnTo>
                    <a:pt x="803" y="487"/>
                  </a:lnTo>
                  <a:lnTo>
                    <a:pt x="803" y="488"/>
                  </a:lnTo>
                  <a:lnTo>
                    <a:pt x="803" y="491"/>
                  </a:lnTo>
                  <a:close/>
                  <a:moveTo>
                    <a:pt x="906" y="459"/>
                  </a:moveTo>
                  <a:lnTo>
                    <a:pt x="907" y="462"/>
                  </a:lnTo>
                  <a:lnTo>
                    <a:pt x="929" y="456"/>
                  </a:lnTo>
                  <a:lnTo>
                    <a:pt x="930" y="458"/>
                  </a:lnTo>
                  <a:lnTo>
                    <a:pt x="929" y="459"/>
                  </a:lnTo>
                  <a:lnTo>
                    <a:pt x="927" y="459"/>
                  </a:lnTo>
                  <a:lnTo>
                    <a:pt x="927" y="461"/>
                  </a:lnTo>
                  <a:lnTo>
                    <a:pt x="926" y="462"/>
                  </a:lnTo>
                  <a:lnTo>
                    <a:pt x="927" y="462"/>
                  </a:lnTo>
                  <a:lnTo>
                    <a:pt x="927" y="464"/>
                  </a:lnTo>
                  <a:lnTo>
                    <a:pt x="926" y="464"/>
                  </a:lnTo>
                  <a:lnTo>
                    <a:pt x="924" y="465"/>
                  </a:lnTo>
                  <a:lnTo>
                    <a:pt x="923" y="467"/>
                  </a:lnTo>
                  <a:lnTo>
                    <a:pt x="923" y="470"/>
                  </a:lnTo>
                  <a:lnTo>
                    <a:pt x="926" y="471"/>
                  </a:lnTo>
                  <a:lnTo>
                    <a:pt x="930" y="470"/>
                  </a:lnTo>
                  <a:lnTo>
                    <a:pt x="934" y="468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4" y="464"/>
                  </a:lnTo>
                  <a:lnTo>
                    <a:pt x="932" y="462"/>
                  </a:lnTo>
                  <a:lnTo>
                    <a:pt x="934" y="456"/>
                  </a:lnTo>
                  <a:lnTo>
                    <a:pt x="938" y="451"/>
                  </a:lnTo>
                  <a:lnTo>
                    <a:pt x="949" y="441"/>
                  </a:lnTo>
                  <a:lnTo>
                    <a:pt x="952" y="436"/>
                  </a:lnTo>
                  <a:lnTo>
                    <a:pt x="954" y="433"/>
                  </a:lnTo>
                  <a:lnTo>
                    <a:pt x="955" y="431"/>
                  </a:lnTo>
                  <a:lnTo>
                    <a:pt x="957" y="431"/>
                  </a:lnTo>
                  <a:lnTo>
                    <a:pt x="960" y="431"/>
                  </a:lnTo>
                  <a:lnTo>
                    <a:pt x="958" y="436"/>
                  </a:lnTo>
                  <a:lnTo>
                    <a:pt x="957" y="438"/>
                  </a:lnTo>
                  <a:lnTo>
                    <a:pt x="957" y="441"/>
                  </a:lnTo>
                  <a:lnTo>
                    <a:pt x="958" y="441"/>
                  </a:lnTo>
                  <a:lnTo>
                    <a:pt x="966" y="441"/>
                  </a:lnTo>
                  <a:lnTo>
                    <a:pt x="974" y="438"/>
                  </a:lnTo>
                  <a:lnTo>
                    <a:pt x="981" y="438"/>
                  </a:lnTo>
                  <a:lnTo>
                    <a:pt x="992" y="436"/>
                  </a:lnTo>
                  <a:lnTo>
                    <a:pt x="994" y="434"/>
                  </a:lnTo>
                  <a:lnTo>
                    <a:pt x="995" y="431"/>
                  </a:lnTo>
                  <a:lnTo>
                    <a:pt x="994" y="431"/>
                  </a:lnTo>
                  <a:lnTo>
                    <a:pt x="992" y="431"/>
                  </a:lnTo>
                  <a:lnTo>
                    <a:pt x="991" y="430"/>
                  </a:lnTo>
                  <a:lnTo>
                    <a:pt x="991" y="427"/>
                  </a:lnTo>
                  <a:lnTo>
                    <a:pt x="989" y="425"/>
                  </a:lnTo>
                  <a:lnTo>
                    <a:pt x="989" y="424"/>
                  </a:lnTo>
                  <a:lnTo>
                    <a:pt x="986" y="422"/>
                  </a:lnTo>
                  <a:lnTo>
                    <a:pt x="986" y="421"/>
                  </a:lnTo>
                  <a:lnTo>
                    <a:pt x="989" y="422"/>
                  </a:lnTo>
                  <a:lnTo>
                    <a:pt x="991" y="421"/>
                  </a:lnTo>
                  <a:lnTo>
                    <a:pt x="992" y="418"/>
                  </a:lnTo>
                  <a:lnTo>
                    <a:pt x="992" y="418"/>
                  </a:lnTo>
                  <a:lnTo>
                    <a:pt x="991" y="414"/>
                  </a:lnTo>
                  <a:lnTo>
                    <a:pt x="989" y="414"/>
                  </a:lnTo>
                  <a:lnTo>
                    <a:pt x="989" y="411"/>
                  </a:lnTo>
                  <a:lnTo>
                    <a:pt x="989" y="410"/>
                  </a:lnTo>
                  <a:lnTo>
                    <a:pt x="989" y="408"/>
                  </a:lnTo>
                  <a:lnTo>
                    <a:pt x="987" y="407"/>
                  </a:lnTo>
                  <a:lnTo>
                    <a:pt x="989" y="404"/>
                  </a:lnTo>
                  <a:lnTo>
                    <a:pt x="992" y="401"/>
                  </a:lnTo>
                  <a:lnTo>
                    <a:pt x="995" y="399"/>
                  </a:lnTo>
                  <a:lnTo>
                    <a:pt x="1000" y="401"/>
                  </a:lnTo>
                  <a:lnTo>
                    <a:pt x="1001" y="399"/>
                  </a:lnTo>
                  <a:lnTo>
                    <a:pt x="1001" y="398"/>
                  </a:lnTo>
                  <a:lnTo>
                    <a:pt x="1001" y="396"/>
                  </a:lnTo>
                  <a:lnTo>
                    <a:pt x="1001" y="394"/>
                  </a:lnTo>
                  <a:lnTo>
                    <a:pt x="1001" y="393"/>
                  </a:lnTo>
                  <a:lnTo>
                    <a:pt x="1001" y="391"/>
                  </a:lnTo>
                  <a:lnTo>
                    <a:pt x="1000" y="384"/>
                  </a:lnTo>
                  <a:lnTo>
                    <a:pt x="1000" y="381"/>
                  </a:lnTo>
                  <a:lnTo>
                    <a:pt x="998" y="381"/>
                  </a:lnTo>
                  <a:lnTo>
                    <a:pt x="997" y="381"/>
                  </a:lnTo>
                  <a:lnTo>
                    <a:pt x="995" y="382"/>
                  </a:lnTo>
                  <a:lnTo>
                    <a:pt x="995" y="385"/>
                  </a:lnTo>
                  <a:lnTo>
                    <a:pt x="995" y="387"/>
                  </a:lnTo>
                  <a:lnTo>
                    <a:pt x="994" y="387"/>
                  </a:lnTo>
                  <a:lnTo>
                    <a:pt x="991" y="384"/>
                  </a:lnTo>
                  <a:lnTo>
                    <a:pt x="994" y="379"/>
                  </a:lnTo>
                  <a:lnTo>
                    <a:pt x="994" y="376"/>
                  </a:lnTo>
                  <a:lnTo>
                    <a:pt x="994" y="371"/>
                  </a:lnTo>
                  <a:lnTo>
                    <a:pt x="997" y="371"/>
                  </a:lnTo>
                  <a:lnTo>
                    <a:pt x="998" y="371"/>
                  </a:lnTo>
                  <a:lnTo>
                    <a:pt x="998" y="368"/>
                  </a:lnTo>
                  <a:lnTo>
                    <a:pt x="992" y="364"/>
                  </a:lnTo>
                  <a:lnTo>
                    <a:pt x="991" y="364"/>
                  </a:lnTo>
                  <a:lnTo>
                    <a:pt x="991" y="364"/>
                  </a:lnTo>
                  <a:lnTo>
                    <a:pt x="989" y="367"/>
                  </a:lnTo>
                  <a:lnTo>
                    <a:pt x="986" y="368"/>
                  </a:lnTo>
                  <a:lnTo>
                    <a:pt x="986" y="370"/>
                  </a:lnTo>
                  <a:lnTo>
                    <a:pt x="986" y="374"/>
                  </a:lnTo>
                  <a:lnTo>
                    <a:pt x="984" y="378"/>
                  </a:lnTo>
                  <a:lnTo>
                    <a:pt x="983" y="379"/>
                  </a:lnTo>
                  <a:lnTo>
                    <a:pt x="983" y="379"/>
                  </a:lnTo>
                  <a:lnTo>
                    <a:pt x="981" y="378"/>
                  </a:lnTo>
                  <a:lnTo>
                    <a:pt x="981" y="376"/>
                  </a:lnTo>
                  <a:lnTo>
                    <a:pt x="983" y="371"/>
                  </a:lnTo>
                  <a:lnTo>
                    <a:pt x="983" y="370"/>
                  </a:lnTo>
                  <a:lnTo>
                    <a:pt x="983" y="368"/>
                  </a:lnTo>
                  <a:lnTo>
                    <a:pt x="983" y="368"/>
                  </a:lnTo>
                  <a:lnTo>
                    <a:pt x="984" y="367"/>
                  </a:lnTo>
                  <a:lnTo>
                    <a:pt x="984" y="365"/>
                  </a:lnTo>
                  <a:lnTo>
                    <a:pt x="986" y="362"/>
                  </a:lnTo>
                  <a:lnTo>
                    <a:pt x="987" y="361"/>
                  </a:lnTo>
                  <a:lnTo>
                    <a:pt x="986" y="353"/>
                  </a:lnTo>
                  <a:lnTo>
                    <a:pt x="984" y="350"/>
                  </a:lnTo>
                  <a:lnTo>
                    <a:pt x="983" y="348"/>
                  </a:lnTo>
                  <a:lnTo>
                    <a:pt x="981" y="350"/>
                  </a:lnTo>
                  <a:lnTo>
                    <a:pt x="980" y="351"/>
                  </a:lnTo>
                  <a:lnTo>
                    <a:pt x="978" y="357"/>
                  </a:lnTo>
                  <a:lnTo>
                    <a:pt x="977" y="359"/>
                  </a:lnTo>
                  <a:lnTo>
                    <a:pt x="975" y="357"/>
                  </a:lnTo>
                  <a:lnTo>
                    <a:pt x="974" y="350"/>
                  </a:lnTo>
                  <a:lnTo>
                    <a:pt x="972" y="348"/>
                  </a:lnTo>
                  <a:lnTo>
                    <a:pt x="972" y="347"/>
                  </a:lnTo>
                  <a:lnTo>
                    <a:pt x="971" y="347"/>
                  </a:lnTo>
                  <a:lnTo>
                    <a:pt x="969" y="347"/>
                  </a:lnTo>
                  <a:lnTo>
                    <a:pt x="969" y="348"/>
                  </a:lnTo>
                  <a:lnTo>
                    <a:pt x="969" y="348"/>
                  </a:lnTo>
                  <a:lnTo>
                    <a:pt x="969" y="350"/>
                  </a:lnTo>
                  <a:lnTo>
                    <a:pt x="969" y="351"/>
                  </a:lnTo>
                  <a:lnTo>
                    <a:pt x="969" y="353"/>
                  </a:lnTo>
                  <a:lnTo>
                    <a:pt x="969" y="357"/>
                  </a:lnTo>
                  <a:lnTo>
                    <a:pt x="971" y="359"/>
                  </a:lnTo>
                  <a:lnTo>
                    <a:pt x="971" y="361"/>
                  </a:lnTo>
                  <a:lnTo>
                    <a:pt x="972" y="362"/>
                  </a:lnTo>
                  <a:lnTo>
                    <a:pt x="972" y="364"/>
                  </a:lnTo>
                  <a:lnTo>
                    <a:pt x="971" y="367"/>
                  </a:lnTo>
                  <a:lnTo>
                    <a:pt x="969" y="367"/>
                  </a:lnTo>
                  <a:lnTo>
                    <a:pt x="967" y="365"/>
                  </a:lnTo>
                  <a:lnTo>
                    <a:pt x="966" y="365"/>
                  </a:lnTo>
                  <a:lnTo>
                    <a:pt x="961" y="353"/>
                  </a:lnTo>
                  <a:lnTo>
                    <a:pt x="958" y="347"/>
                  </a:lnTo>
                  <a:lnTo>
                    <a:pt x="955" y="347"/>
                  </a:lnTo>
                  <a:lnTo>
                    <a:pt x="955" y="348"/>
                  </a:lnTo>
                  <a:lnTo>
                    <a:pt x="955" y="350"/>
                  </a:lnTo>
                  <a:lnTo>
                    <a:pt x="955" y="351"/>
                  </a:lnTo>
                  <a:lnTo>
                    <a:pt x="955" y="353"/>
                  </a:lnTo>
                  <a:lnTo>
                    <a:pt x="955" y="356"/>
                  </a:lnTo>
                  <a:lnTo>
                    <a:pt x="955" y="357"/>
                  </a:lnTo>
                  <a:lnTo>
                    <a:pt x="957" y="359"/>
                  </a:lnTo>
                  <a:lnTo>
                    <a:pt x="963" y="364"/>
                  </a:lnTo>
                  <a:lnTo>
                    <a:pt x="963" y="364"/>
                  </a:lnTo>
                  <a:lnTo>
                    <a:pt x="964" y="368"/>
                  </a:lnTo>
                  <a:lnTo>
                    <a:pt x="964" y="370"/>
                  </a:lnTo>
                  <a:lnTo>
                    <a:pt x="964" y="371"/>
                  </a:lnTo>
                  <a:lnTo>
                    <a:pt x="966" y="373"/>
                  </a:lnTo>
                  <a:lnTo>
                    <a:pt x="969" y="374"/>
                  </a:lnTo>
                  <a:lnTo>
                    <a:pt x="969" y="376"/>
                  </a:lnTo>
                  <a:lnTo>
                    <a:pt x="964" y="376"/>
                  </a:lnTo>
                  <a:lnTo>
                    <a:pt x="964" y="374"/>
                  </a:lnTo>
                  <a:lnTo>
                    <a:pt x="960" y="370"/>
                  </a:lnTo>
                  <a:lnTo>
                    <a:pt x="958" y="370"/>
                  </a:lnTo>
                  <a:lnTo>
                    <a:pt x="957" y="368"/>
                  </a:lnTo>
                  <a:lnTo>
                    <a:pt x="955" y="368"/>
                  </a:lnTo>
                  <a:lnTo>
                    <a:pt x="955" y="365"/>
                  </a:lnTo>
                  <a:lnTo>
                    <a:pt x="954" y="365"/>
                  </a:lnTo>
                  <a:lnTo>
                    <a:pt x="952" y="364"/>
                  </a:lnTo>
                  <a:lnTo>
                    <a:pt x="951" y="364"/>
                  </a:lnTo>
                  <a:lnTo>
                    <a:pt x="947" y="361"/>
                  </a:lnTo>
                  <a:lnTo>
                    <a:pt x="946" y="361"/>
                  </a:lnTo>
                  <a:lnTo>
                    <a:pt x="944" y="361"/>
                  </a:lnTo>
                  <a:lnTo>
                    <a:pt x="943" y="364"/>
                  </a:lnTo>
                  <a:lnTo>
                    <a:pt x="944" y="364"/>
                  </a:lnTo>
                  <a:lnTo>
                    <a:pt x="947" y="370"/>
                  </a:lnTo>
                  <a:lnTo>
                    <a:pt x="949" y="371"/>
                  </a:lnTo>
                  <a:lnTo>
                    <a:pt x="947" y="373"/>
                  </a:lnTo>
                  <a:lnTo>
                    <a:pt x="943" y="371"/>
                  </a:lnTo>
                  <a:lnTo>
                    <a:pt x="943" y="373"/>
                  </a:lnTo>
                  <a:lnTo>
                    <a:pt x="944" y="376"/>
                  </a:lnTo>
                  <a:lnTo>
                    <a:pt x="943" y="376"/>
                  </a:lnTo>
                  <a:lnTo>
                    <a:pt x="941" y="374"/>
                  </a:lnTo>
                  <a:lnTo>
                    <a:pt x="940" y="373"/>
                  </a:lnTo>
                  <a:lnTo>
                    <a:pt x="938" y="368"/>
                  </a:lnTo>
                  <a:lnTo>
                    <a:pt x="937" y="368"/>
                  </a:lnTo>
                  <a:lnTo>
                    <a:pt x="934" y="367"/>
                  </a:lnTo>
                  <a:lnTo>
                    <a:pt x="938" y="378"/>
                  </a:lnTo>
                  <a:lnTo>
                    <a:pt x="944" y="381"/>
                  </a:lnTo>
                  <a:lnTo>
                    <a:pt x="957" y="384"/>
                  </a:lnTo>
                  <a:lnTo>
                    <a:pt x="954" y="387"/>
                  </a:lnTo>
                  <a:lnTo>
                    <a:pt x="941" y="387"/>
                  </a:lnTo>
                  <a:lnTo>
                    <a:pt x="943" y="387"/>
                  </a:lnTo>
                  <a:lnTo>
                    <a:pt x="944" y="391"/>
                  </a:lnTo>
                  <a:lnTo>
                    <a:pt x="947" y="391"/>
                  </a:lnTo>
                  <a:lnTo>
                    <a:pt x="949" y="393"/>
                  </a:lnTo>
                  <a:lnTo>
                    <a:pt x="951" y="396"/>
                  </a:lnTo>
                  <a:lnTo>
                    <a:pt x="947" y="396"/>
                  </a:lnTo>
                  <a:lnTo>
                    <a:pt x="941" y="391"/>
                  </a:lnTo>
                  <a:lnTo>
                    <a:pt x="930" y="390"/>
                  </a:lnTo>
                  <a:lnTo>
                    <a:pt x="929" y="390"/>
                  </a:lnTo>
                  <a:lnTo>
                    <a:pt x="927" y="391"/>
                  </a:lnTo>
                  <a:lnTo>
                    <a:pt x="926" y="393"/>
                  </a:lnTo>
                  <a:lnTo>
                    <a:pt x="924" y="391"/>
                  </a:lnTo>
                  <a:lnTo>
                    <a:pt x="923" y="390"/>
                  </a:lnTo>
                  <a:lnTo>
                    <a:pt x="921" y="390"/>
                  </a:lnTo>
                  <a:lnTo>
                    <a:pt x="921" y="390"/>
                  </a:lnTo>
                  <a:lnTo>
                    <a:pt x="921" y="391"/>
                  </a:lnTo>
                  <a:lnTo>
                    <a:pt x="920" y="393"/>
                  </a:lnTo>
                  <a:lnTo>
                    <a:pt x="920" y="391"/>
                  </a:lnTo>
                  <a:lnTo>
                    <a:pt x="918" y="391"/>
                  </a:lnTo>
                  <a:lnTo>
                    <a:pt x="917" y="390"/>
                  </a:lnTo>
                  <a:lnTo>
                    <a:pt x="915" y="390"/>
                  </a:lnTo>
                  <a:lnTo>
                    <a:pt x="915" y="391"/>
                  </a:lnTo>
                  <a:lnTo>
                    <a:pt x="915" y="393"/>
                  </a:lnTo>
                  <a:lnTo>
                    <a:pt x="915" y="393"/>
                  </a:lnTo>
                  <a:lnTo>
                    <a:pt x="914" y="396"/>
                  </a:lnTo>
                  <a:lnTo>
                    <a:pt x="912" y="396"/>
                  </a:lnTo>
                  <a:lnTo>
                    <a:pt x="910" y="396"/>
                  </a:lnTo>
                  <a:lnTo>
                    <a:pt x="910" y="398"/>
                  </a:lnTo>
                  <a:lnTo>
                    <a:pt x="918" y="399"/>
                  </a:lnTo>
                  <a:lnTo>
                    <a:pt x="924" y="398"/>
                  </a:lnTo>
                  <a:lnTo>
                    <a:pt x="926" y="398"/>
                  </a:lnTo>
                  <a:lnTo>
                    <a:pt x="929" y="399"/>
                  </a:lnTo>
                  <a:lnTo>
                    <a:pt x="926" y="399"/>
                  </a:lnTo>
                  <a:lnTo>
                    <a:pt x="924" y="401"/>
                  </a:lnTo>
                  <a:lnTo>
                    <a:pt x="923" y="401"/>
                  </a:lnTo>
                  <a:lnTo>
                    <a:pt x="924" y="404"/>
                  </a:lnTo>
                  <a:lnTo>
                    <a:pt x="926" y="404"/>
                  </a:lnTo>
                  <a:lnTo>
                    <a:pt x="929" y="404"/>
                  </a:lnTo>
                  <a:lnTo>
                    <a:pt x="927" y="405"/>
                  </a:lnTo>
                  <a:lnTo>
                    <a:pt x="929" y="407"/>
                  </a:lnTo>
                  <a:lnTo>
                    <a:pt x="930" y="408"/>
                  </a:lnTo>
                  <a:lnTo>
                    <a:pt x="914" y="407"/>
                  </a:lnTo>
                  <a:lnTo>
                    <a:pt x="912" y="408"/>
                  </a:lnTo>
                  <a:lnTo>
                    <a:pt x="914" y="411"/>
                  </a:lnTo>
                  <a:lnTo>
                    <a:pt x="915" y="411"/>
                  </a:lnTo>
                  <a:lnTo>
                    <a:pt x="921" y="411"/>
                  </a:lnTo>
                  <a:lnTo>
                    <a:pt x="920" y="413"/>
                  </a:lnTo>
                  <a:lnTo>
                    <a:pt x="920" y="413"/>
                  </a:lnTo>
                  <a:lnTo>
                    <a:pt x="918" y="414"/>
                  </a:lnTo>
                  <a:lnTo>
                    <a:pt x="918" y="416"/>
                  </a:lnTo>
                  <a:lnTo>
                    <a:pt x="923" y="418"/>
                  </a:lnTo>
                  <a:lnTo>
                    <a:pt x="926" y="418"/>
                  </a:lnTo>
                  <a:lnTo>
                    <a:pt x="926" y="414"/>
                  </a:lnTo>
                  <a:lnTo>
                    <a:pt x="927" y="413"/>
                  </a:lnTo>
                  <a:lnTo>
                    <a:pt x="927" y="414"/>
                  </a:lnTo>
                  <a:lnTo>
                    <a:pt x="929" y="418"/>
                  </a:lnTo>
                  <a:lnTo>
                    <a:pt x="929" y="418"/>
                  </a:lnTo>
                  <a:lnTo>
                    <a:pt x="929" y="419"/>
                  </a:lnTo>
                  <a:lnTo>
                    <a:pt x="929" y="419"/>
                  </a:lnTo>
                  <a:lnTo>
                    <a:pt x="929" y="421"/>
                  </a:lnTo>
                  <a:lnTo>
                    <a:pt x="929" y="421"/>
                  </a:lnTo>
                  <a:lnTo>
                    <a:pt x="929" y="421"/>
                  </a:lnTo>
                  <a:lnTo>
                    <a:pt x="930" y="419"/>
                  </a:lnTo>
                  <a:lnTo>
                    <a:pt x="927" y="425"/>
                  </a:lnTo>
                  <a:lnTo>
                    <a:pt x="917" y="424"/>
                  </a:lnTo>
                  <a:lnTo>
                    <a:pt x="910" y="427"/>
                  </a:lnTo>
                  <a:lnTo>
                    <a:pt x="912" y="427"/>
                  </a:lnTo>
                  <a:lnTo>
                    <a:pt x="912" y="427"/>
                  </a:lnTo>
                  <a:lnTo>
                    <a:pt x="914" y="428"/>
                  </a:lnTo>
                  <a:lnTo>
                    <a:pt x="914" y="430"/>
                  </a:lnTo>
                  <a:lnTo>
                    <a:pt x="914" y="430"/>
                  </a:lnTo>
                  <a:lnTo>
                    <a:pt x="914" y="431"/>
                  </a:lnTo>
                  <a:lnTo>
                    <a:pt x="912" y="431"/>
                  </a:lnTo>
                  <a:lnTo>
                    <a:pt x="912" y="433"/>
                  </a:lnTo>
                  <a:lnTo>
                    <a:pt x="918" y="433"/>
                  </a:lnTo>
                  <a:lnTo>
                    <a:pt x="924" y="436"/>
                  </a:lnTo>
                  <a:lnTo>
                    <a:pt x="926" y="434"/>
                  </a:lnTo>
                  <a:lnTo>
                    <a:pt x="934" y="431"/>
                  </a:lnTo>
                  <a:lnTo>
                    <a:pt x="930" y="434"/>
                  </a:lnTo>
                  <a:lnTo>
                    <a:pt x="924" y="439"/>
                  </a:lnTo>
                  <a:lnTo>
                    <a:pt x="924" y="441"/>
                  </a:lnTo>
                  <a:lnTo>
                    <a:pt x="924" y="441"/>
                  </a:lnTo>
                  <a:lnTo>
                    <a:pt x="924" y="442"/>
                  </a:lnTo>
                  <a:lnTo>
                    <a:pt x="926" y="442"/>
                  </a:lnTo>
                  <a:lnTo>
                    <a:pt x="924" y="445"/>
                  </a:lnTo>
                  <a:lnTo>
                    <a:pt x="923" y="445"/>
                  </a:lnTo>
                  <a:lnTo>
                    <a:pt x="920" y="444"/>
                  </a:lnTo>
                  <a:lnTo>
                    <a:pt x="912" y="447"/>
                  </a:lnTo>
                  <a:lnTo>
                    <a:pt x="912" y="451"/>
                  </a:lnTo>
                  <a:lnTo>
                    <a:pt x="910" y="451"/>
                  </a:lnTo>
                  <a:lnTo>
                    <a:pt x="906" y="448"/>
                  </a:lnTo>
                  <a:lnTo>
                    <a:pt x="904" y="450"/>
                  </a:lnTo>
                  <a:lnTo>
                    <a:pt x="903" y="454"/>
                  </a:lnTo>
                  <a:lnTo>
                    <a:pt x="904" y="459"/>
                  </a:lnTo>
                  <a:lnTo>
                    <a:pt x="906" y="459"/>
                  </a:lnTo>
                  <a:close/>
                  <a:moveTo>
                    <a:pt x="998" y="353"/>
                  </a:moveTo>
                  <a:lnTo>
                    <a:pt x="1003" y="353"/>
                  </a:lnTo>
                  <a:lnTo>
                    <a:pt x="1004" y="354"/>
                  </a:lnTo>
                  <a:lnTo>
                    <a:pt x="1008" y="359"/>
                  </a:lnTo>
                  <a:lnTo>
                    <a:pt x="1009" y="362"/>
                  </a:lnTo>
                  <a:lnTo>
                    <a:pt x="1014" y="362"/>
                  </a:lnTo>
                  <a:lnTo>
                    <a:pt x="1031" y="356"/>
                  </a:lnTo>
                  <a:lnTo>
                    <a:pt x="1037" y="356"/>
                  </a:lnTo>
                  <a:lnTo>
                    <a:pt x="1038" y="354"/>
                  </a:lnTo>
                  <a:lnTo>
                    <a:pt x="1040" y="353"/>
                  </a:lnTo>
                  <a:lnTo>
                    <a:pt x="1041" y="351"/>
                  </a:lnTo>
                  <a:lnTo>
                    <a:pt x="1049" y="354"/>
                  </a:lnTo>
                  <a:lnTo>
                    <a:pt x="1052" y="353"/>
                  </a:lnTo>
                  <a:lnTo>
                    <a:pt x="1055" y="348"/>
                  </a:lnTo>
                  <a:lnTo>
                    <a:pt x="1057" y="345"/>
                  </a:lnTo>
                  <a:lnTo>
                    <a:pt x="1057" y="342"/>
                  </a:lnTo>
                  <a:lnTo>
                    <a:pt x="1055" y="341"/>
                  </a:lnTo>
                  <a:lnTo>
                    <a:pt x="1054" y="341"/>
                  </a:lnTo>
                  <a:lnTo>
                    <a:pt x="1052" y="339"/>
                  </a:lnTo>
                  <a:lnTo>
                    <a:pt x="1052" y="337"/>
                  </a:lnTo>
                  <a:lnTo>
                    <a:pt x="1052" y="334"/>
                  </a:lnTo>
                  <a:lnTo>
                    <a:pt x="1054" y="333"/>
                  </a:lnTo>
                  <a:lnTo>
                    <a:pt x="1054" y="331"/>
                  </a:lnTo>
                  <a:lnTo>
                    <a:pt x="1055" y="330"/>
                  </a:lnTo>
                  <a:lnTo>
                    <a:pt x="1057" y="328"/>
                  </a:lnTo>
                  <a:lnTo>
                    <a:pt x="1060" y="327"/>
                  </a:lnTo>
                  <a:lnTo>
                    <a:pt x="1063" y="325"/>
                  </a:lnTo>
                  <a:lnTo>
                    <a:pt x="1068" y="319"/>
                  </a:lnTo>
                  <a:lnTo>
                    <a:pt x="1072" y="316"/>
                  </a:lnTo>
                  <a:lnTo>
                    <a:pt x="1074" y="311"/>
                  </a:lnTo>
                  <a:lnTo>
                    <a:pt x="1074" y="307"/>
                  </a:lnTo>
                  <a:lnTo>
                    <a:pt x="1072" y="304"/>
                  </a:lnTo>
                  <a:lnTo>
                    <a:pt x="1071" y="301"/>
                  </a:lnTo>
                  <a:lnTo>
                    <a:pt x="1069" y="297"/>
                  </a:lnTo>
                  <a:lnTo>
                    <a:pt x="1068" y="296"/>
                  </a:lnTo>
                  <a:lnTo>
                    <a:pt x="1061" y="293"/>
                  </a:lnTo>
                  <a:lnTo>
                    <a:pt x="1058" y="294"/>
                  </a:lnTo>
                  <a:lnTo>
                    <a:pt x="1057" y="294"/>
                  </a:lnTo>
                  <a:lnTo>
                    <a:pt x="1058" y="291"/>
                  </a:lnTo>
                  <a:lnTo>
                    <a:pt x="1058" y="291"/>
                  </a:lnTo>
                  <a:lnTo>
                    <a:pt x="1058" y="290"/>
                  </a:lnTo>
                  <a:lnTo>
                    <a:pt x="1057" y="287"/>
                  </a:lnTo>
                  <a:lnTo>
                    <a:pt x="1055" y="285"/>
                  </a:lnTo>
                  <a:lnTo>
                    <a:pt x="1054" y="285"/>
                  </a:lnTo>
                  <a:lnTo>
                    <a:pt x="1054" y="287"/>
                  </a:lnTo>
                  <a:lnTo>
                    <a:pt x="1054" y="288"/>
                  </a:lnTo>
                  <a:lnTo>
                    <a:pt x="1052" y="288"/>
                  </a:lnTo>
                  <a:lnTo>
                    <a:pt x="1048" y="287"/>
                  </a:lnTo>
                  <a:lnTo>
                    <a:pt x="1046" y="285"/>
                  </a:lnTo>
                  <a:lnTo>
                    <a:pt x="1044" y="291"/>
                  </a:lnTo>
                  <a:lnTo>
                    <a:pt x="1044" y="294"/>
                  </a:lnTo>
                  <a:lnTo>
                    <a:pt x="1046" y="296"/>
                  </a:lnTo>
                  <a:lnTo>
                    <a:pt x="1052" y="305"/>
                  </a:lnTo>
                  <a:lnTo>
                    <a:pt x="1054" y="307"/>
                  </a:lnTo>
                  <a:lnTo>
                    <a:pt x="1051" y="314"/>
                  </a:lnTo>
                  <a:lnTo>
                    <a:pt x="1049" y="321"/>
                  </a:lnTo>
                  <a:lnTo>
                    <a:pt x="1049" y="324"/>
                  </a:lnTo>
                  <a:lnTo>
                    <a:pt x="1051" y="327"/>
                  </a:lnTo>
                  <a:lnTo>
                    <a:pt x="1052" y="328"/>
                  </a:lnTo>
                  <a:lnTo>
                    <a:pt x="1048" y="328"/>
                  </a:lnTo>
                  <a:lnTo>
                    <a:pt x="1044" y="322"/>
                  </a:lnTo>
                  <a:lnTo>
                    <a:pt x="1043" y="313"/>
                  </a:lnTo>
                  <a:lnTo>
                    <a:pt x="1043" y="304"/>
                  </a:lnTo>
                  <a:lnTo>
                    <a:pt x="1038" y="304"/>
                  </a:lnTo>
                  <a:lnTo>
                    <a:pt x="1037" y="305"/>
                  </a:lnTo>
                  <a:lnTo>
                    <a:pt x="1034" y="308"/>
                  </a:lnTo>
                  <a:lnTo>
                    <a:pt x="1034" y="311"/>
                  </a:lnTo>
                  <a:lnTo>
                    <a:pt x="1034" y="314"/>
                  </a:lnTo>
                  <a:lnTo>
                    <a:pt x="1032" y="314"/>
                  </a:lnTo>
                  <a:lnTo>
                    <a:pt x="1031" y="314"/>
                  </a:lnTo>
                  <a:lnTo>
                    <a:pt x="1031" y="313"/>
                  </a:lnTo>
                  <a:lnTo>
                    <a:pt x="1031" y="311"/>
                  </a:lnTo>
                  <a:lnTo>
                    <a:pt x="1031" y="308"/>
                  </a:lnTo>
                  <a:lnTo>
                    <a:pt x="1029" y="308"/>
                  </a:lnTo>
                  <a:lnTo>
                    <a:pt x="1028" y="310"/>
                  </a:lnTo>
                  <a:lnTo>
                    <a:pt x="1026" y="308"/>
                  </a:lnTo>
                  <a:lnTo>
                    <a:pt x="1024" y="305"/>
                  </a:lnTo>
                  <a:lnTo>
                    <a:pt x="1024" y="305"/>
                  </a:lnTo>
                  <a:lnTo>
                    <a:pt x="1023" y="305"/>
                  </a:lnTo>
                  <a:lnTo>
                    <a:pt x="1021" y="305"/>
                  </a:lnTo>
                  <a:lnTo>
                    <a:pt x="1020" y="308"/>
                  </a:lnTo>
                  <a:lnTo>
                    <a:pt x="1018" y="311"/>
                  </a:lnTo>
                  <a:lnTo>
                    <a:pt x="1020" y="314"/>
                  </a:lnTo>
                  <a:lnTo>
                    <a:pt x="1021" y="319"/>
                  </a:lnTo>
                  <a:lnTo>
                    <a:pt x="1023" y="321"/>
                  </a:lnTo>
                  <a:lnTo>
                    <a:pt x="1038" y="324"/>
                  </a:lnTo>
                  <a:lnTo>
                    <a:pt x="1041" y="325"/>
                  </a:lnTo>
                  <a:lnTo>
                    <a:pt x="1040" y="327"/>
                  </a:lnTo>
                  <a:lnTo>
                    <a:pt x="1031" y="324"/>
                  </a:lnTo>
                  <a:lnTo>
                    <a:pt x="1021" y="324"/>
                  </a:lnTo>
                  <a:lnTo>
                    <a:pt x="1018" y="324"/>
                  </a:lnTo>
                  <a:lnTo>
                    <a:pt x="1018" y="324"/>
                  </a:lnTo>
                  <a:lnTo>
                    <a:pt x="1011" y="322"/>
                  </a:lnTo>
                  <a:lnTo>
                    <a:pt x="1009" y="324"/>
                  </a:lnTo>
                  <a:lnTo>
                    <a:pt x="1017" y="339"/>
                  </a:lnTo>
                  <a:lnTo>
                    <a:pt x="1017" y="339"/>
                  </a:lnTo>
                  <a:lnTo>
                    <a:pt x="1018" y="339"/>
                  </a:lnTo>
                  <a:lnTo>
                    <a:pt x="1024" y="337"/>
                  </a:lnTo>
                  <a:lnTo>
                    <a:pt x="1023" y="339"/>
                  </a:lnTo>
                  <a:lnTo>
                    <a:pt x="1021" y="341"/>
                  </a:lnTo>
                  <a:lnTo>
                    <a:pt x="1021" y="342"/>
                  </a:lnTo>
                  <a:lnTo>
                    <a:pt x="1020" y="342"/>
                  </a:lnTo>
                  <a:lnTo>
                    <a:pt x="1018" y="344"/>
                  </a:lnTo>
                  <a:lnTo>
                    <a:pt x="1018" y="344"/>
                  </a:lnTo>
                  <a:lnTo>
                    <a:pt x="1018" y="345"/>
                  </a:lnTo>
                  <a:lnTo>
                    <a:pt x="1017" y="348"/>
                  </a:lnTo>
                  <a:lnTo>
                    <a:pt x="1017" y="348"/>
                  </a:lnTo>
                  <a:lnTo>
                    <a:pt x="1015" y="348"/>
                  </a:lnTo>
                  <a:lnTo>
                    <a:pt x="1015" y="347"/>
                  </a:lnTo>
                  <a:lnTo>
                    <a:pt x="1015" y="345"/>
                  </a:lnTo>
                  <a:lnTo>
                    <a:pt x="1015" y="345"/>
                  </a:lnTo>
                  <a:lnTo>
                    <a:pt x="1015" y="344"/>
                  </a:lnTo>
                  <a:lnTo>
                    <a:pt x="1014" y="342"/>
                  </a:lnTo>
                  <a:lnTo>
                    <a:pt x="1012" y="341"/>
                  </a:lnTo>
                  <a:lnTo>
                    <a:pt x="1004" y="339"/>
                  </a:lnTo>
                  <a:lnTo>
                    <a:pt x="1003" y="339"/>
                  </a:lnTo>
                  <a:lnTo>
                    <a:pt x="1001" y="342"/>
                  </a:lnTo>
                  <a:lnTo>
                    <a:pt x="1001" y="342"/>
                  </a:lnTo>
                  <a:lnTo>
                    <a:pt x="1000" y="342"/>
                  </a:lnTo>
                  <a:lnTo>
                    <a:pt x="998" y="341"/>
                  </a:lnTo>
                  <a:lnTo>
                    <a:pt x="998" y="341"/>
                  </a:lnTo>
                  <a:lnTo>
                    <a:pt x="997" y="339"/>
                  </a:lnTo>
                  <a:lnTo>
                    <a:pt x="997" y="342"/>
                  </a:lnTo>
                  <a:lnTo>
                    <a:pt x="997" y="342"/>
                  </a:lnTo>
                  <a:lnTo>
                    <a:pt x="997" y="344"/>
                  </a:lnTo>
                  <a:lnTo>
                    <a:pt x="995" y="347"/>
                  </a:lnTo>
                  <a:lnTo>
                    <a:pt x="994" y="348"/>
                  </a:lnTo>
                  <a:lnTo>
                    <a:pt x="997" y="351"/>
                  </a:lnTo>
                  <a:lnTo>
                    <a:pt x="998" y="353"/>
                  </a:lnTo>
                  <a:close/>
                  <a:moveTo>
                    <a:pt x="1195" y="285"/>
                  </a:moveTo>
                  <a:lnTo>
                    <a:pt x="1197" y="284"/>
                  </a:lnTo>
                  <a:lnTo>
                    <a:pt x="1197" y="284"/>
                  </a:lnTo>
                  <a:lnTo>
                    <a:pt x="1197" y="284"/>
                  </a:lnTo>
                  <a:lnTo>
                    <a:pt x="1197" y="282"/>
                  </a:lnTo>
                  <a:lnTo>
                    <a:pt x="1197" y="280"/>
                  </a:lnTo>
                  <a:lnTo>
                    <a:pt x="1188" y="282"/>
                  </a:lnTo>
                  <a:lnTo>
                    <a:pt x="1186" y="282"/>
                  </a:lnTo>
                  <a:lnTo>
                    <a:pt x="1186" y="284"/>
                  </a:lnTo>
                  <a:lnTo>
                    <a:pt x="1185" y="285"/>
                  </a:lnTo>
                  <a:lnTo>
                    <a:pt x="1185" y="287"/>
                  </a:lnTo>
                  <a:lnTo>
                    <a:pt x="1185" y="288"/>
                  </a:lnTo>
                  <a:lnTo>
                    <a:pt x="1183" y="293"/>
                  </a:lnTo>
                  <a:lnTo>
                    <a:pt x="1183" y="296"/>
                  </a:lnTo>
                  <a:lnTo>
                    <a:pt x="1183" y="299"/>
                  </a:lnTo>
                  <a:lnTo>
                    <a:pt x="1183" y="301"/>
                  </a:lnTo>
                  <a:lnTo>
                    <a:pt x="1185" y="304"/>
                  </a:lnTo>
                  <a:lnTo>
                    <a:pt x="1189" y="305"/>
                  </a:lnTo>
                  <a:lnTo>
                    <a:pt x="1192" y="304"/>
                  </a:lnTo>
                  <a:lnTo>
                    <a:pt x="1197" y="301"/>
                  </a:lnTo>
                  <a:lnTo>
                    <a:pt x="1197" y="296"/>
                  </a:lnTo>
                  <a:lnTo>
                    <a:pt x="1195" y="291"/>
                  </a:lnTo>
                  <a:lnTo>
                    <a:pt x="1195" y="287"/>
                  </a:lnTo>
                  <a:lnTo>
                    <a:pt x="1195" y="285"/>
                  </a:lnTo>
                  <a:lnTo>
                    <a:pt x="1195" y="285"/>
                  </a:lnTo>
                  <a:close/>
                  <a:moveTo>
                    <a:pt x="1878" y="307"/>
                  </a:moveTo>
                  <a:lnTo>
                    <a:pt x="1879" y="308"/>
                  </a:lnTo>
                  <a:lnTo>
                    <a:pt x="1881" y="308"/>
                  </a:lnTo>
                  <a:lnTo>
                    <a:pt x="1882" y="308"/>
                  </a:lnTo>
                  <a:lnTo>
                    <a:pt x="1887" y="304"/>
                  </a:lnTo>
                  <a:lnTo>
                    <a:pt x="1892" y="302"/>
                  </a:lnTo>
                  <a:lnTo>
                    <a:pt x="1895" y="301"/>
                  </a:lnTo>
                  <a:lnTo>
                    <a:pt x="1896" y="297"/>
                  </a:lnTo>
                  <a:lnTo>
                    <a:pt x="1896" y="296"/>
                  </a:lnTo>
                  <a:lnTo>
                    <a:pt x="1890" y="297"/>
                  </a:lnTo>
                  <a:lnTo>
                    <a:pt x="1890" y="296"/>
                  </a:lnTo>
                  <a:lnTo>
                    <a:pt x="1890" y="293"/>
                  </a:lnTo>
                  <a:lnTo>
                    <a:pt x="1890" y="293"/>
                  </a:lnTo>
                  <a:lnTo>
                    <a:pt x="1888" y="290"/>
                  </a:lnTo>
                  <a:lnTo>
                    <a:pt x="1888" y="290"/>
                  </a:lnTo>
                  <a:lnTo>
                    <a:pt x="1888" y="288"/>
                  </a:lnTo>
                  <a:lnTo>
                    <a:pt x="1888" y="285"/>
                  </a:lnTo>
                  <a:lnTo>
                    <a:pt x="1887" y="284"/>
                  </a:lnTo>
                  <a:lnTo>
                    <a:pt x="1885" y="282"/>
                  </a:lnTo>
                  <a:lnTo>
                    <a:pt x="1879" y="279"/>
                  </a:lnTo>
                  <a:lnTo>
                    <a:pt x="1876" y="280"/>
                  </a:lnTo>
                  <a:lnTo>
                    <a:pt x="1875" y="284"/>
                  </a:lnTo>
                  <a:lnTo>
                    <a:pt x="1873" y="290"/>
                  </a:lnTo>
                  <a:lnTo>
                    <a:pt x="1876" y="296"/>
                  </a:lnTo>
                  <a:lnTo>
                    <a:pt x="1873" y="299"/>
                  </a:lnTo>
                  <a:lnTo>
                    <a:pt x="1868" y="307"/>
                  </a:lnTo>
                  <a:lnTo>
                    <a:pt x="1867" y="311"/>
                  </a:lnTo>
                  <a:lnTo>
                    <a:pt x="1873" y="313"/>
                  </a:lnTo>
                  <a:lnTo>
                    <a:pt x="1876" y="311"/>
                  </a:lnTo>
                  <a:lnTo>
                    <a:pt x="1876" y="308"/>
                  </a:lnTo>
                  <a:lnTo>
                    <a:pt x="1876" y="307"/>
                  </a:lnTo>
                  <a:lnTo>
                    <a:pt x="1876" y="305"/>
                  </a:lnTo>
                  <a:lnTo>
                    <a:pt x="1878" y="307"/>
                  </a:lnTo>
                  <a:close/>
                  <a:moveTo>
                    <a:pt x="1269" y="276"/>
                  </a:moveTo>
                  <a:lnTo>
                    <a:pt x="1269" y="276"/>
                  </a:lnTo>
                  <a:lnTo>
                    <a:pt x="1271" y="276"/>
                  </a:lnTo>
                  <a:lnTo>
                    <a:pt x="1271" y="274"/>
                  </a:lnTo>
                  <a:lnTo>
                    <a:pt x="1272" y="274"/>
                  </a:lnTo>
                  <a:lnTo>
                    <a:pt x="1272" y="271"/>
                  </a:lnTo>
                  <a:lnTo>
                    <a:pt x="1271" y="271"/>
                  </a:lnTo>
                  <a:lnTo>
                    <a:pt x="1271" y="270"/>
                  </a:lnTo>
                  <a:lnTo>
                    <a:pt x="1269" y="271"/>
                  </a:lnTo>
                  <a:lnTo>
                    <a:pt x="1268" y="271"/>
                  </a:lnTo>
                  <a:lnTo>
                    <a:pt x="1268" y="274"/>
                  </a:lnTo>
                  <a:lnTo>
                    <a:pt x="1268" y="274"/>
                  </a:lnTo>
                  <a:lnTo>
                    <a:pt x="1269" y="276"/>
                  </a:lnTo>
                  <a:close/>
                  <a:moveTo>
                    <a:pt x="1129" y="259"/>
                  </a:moveTo>
                  <a:lnTo>
                    <a:pt x="1126" y="259"/>
                  </a:lnTo>
                  <a:lnTo>
                    <a:pt x="1125" y="262"/>
                  </a:lnTo>
                  <a:lnTo>
                    <a:pt x="1123" y="265"/>
                  </a:lnTo>
                  <a:lnTo>
                    <a:pt x="1121" y="268"/>
                  </a:lnTo>
                  <a:lnTo>
                    <a:pt x="1114" y="274"/>
                  </a:lnTo>
                  <a:lnTo>
                    <a:pt x="1109" y="277"/>
                  </a:lnTo>
                  <a:lnTo>
                    <a:pt x="1109" y="277"/>
                  </a:lnTo>
                  <a:lnTo>
                    <a:pt x="1108" y="284"/>
                  </a:lnTo>
                  <a:lnTo>
                    <a:pt x="1101" y="291"/>
                  </a:lnTo>
                  <a:lnTo>
                    <a:pt x="1101" y="296"/>
                  </a:lnTo>
                  <a:lnTo>
                    <a:pt x="1105" y="296"/>
                  </a:lnTo>
                  <a:lnTo>
                    <a:pt x="1120" y="291"/>
                  </a:lnTo>
                  <a:lnTo>
                    <a:pt x="1123" y="290"/>
                  </a:lnTo>
                  <a:lnTo>
                    <a:pt x="1126" y="284"/>
                  </a:lnTo>
                  <a:lnTo>
                    <a:pt x="1128" y="277"/>
                  </a:lnTo>
                  <a:lnTo>
                    <a:pt x="1131" y="271"/>
                  </a:lnTo>
                  <a:lnTo>
                    <a:pt x="1132" y="267"/>
                  </a:lnTo>
                  <a:lnTo>
                    <a:pt x="1131" y="262"/>
                  </a:lnTo>
                  <a:lnTo>
                    <a:pt x="1129" y="260"/>
                  </a:lnTo>
                  <a:lnTo>
                    <a:pt x="1129" y="259"/>
                  </a:lnTo>
                  <a:close/>
                  <a:moveTo>
                    <a:pt x="1140" y="254"/>
                  </a:moveTo>
                  <a:lnTo>
                    <a:pt x="1137" y="256"/>
                  </a:lnTo>
                  <a:lnTo>
                    <a:pt x="1137" y="257"/>
                  </a:lnTo>
                  <a:lnTo>
                    <a:pt x="1137" y="257"/>
                  </a:lnTo>
                  <a:lnTo>
                    <a:pt x="1137" y="257"/>
                  </a:lnTo>
                  <a:lnTo>
                    <a:pt x="1140" y="259"/>
                  </a:lnTo>
                  <a:lnTo>
                    <a:pt x="1143" y="257"/>
                  </a:lnTo>
                  <a:lnTo>
                    <a:pt x="1142" y="256"/>
                  </a:lnTo>
                  <a:lnTo>
                    <a:pt x="1140" y="254"/>
                  </a:lnTo>
                  <a:close/>
                  <a:moveTo>
                    <a:pt x="1208" y="251"/>
                  </a:moveTo>
                  <a:lnTo>
                    <a:pt x="1205" y="251"/>
                  </a:lnTo>
                  <a:lnTo>
                    <a:pt x="1203" y="253"/>
                  </a:lnTo>
                  <a:lnTo>
                    <a:pt x="1202" y="256"/>
                  </a:lnTo>
                  <a:lnTo>
                    <a:pt x="1200" y="260"/>
                  </a:lnTo>
                  <a:lnTo>
                    <a:pt x="1200" y="264"/>
                  </a:lnTo>
                  <a:lnTo>
                    <a:pt x="1202" y="267"/>
                  </a:lnTo>
                  <a:lnTo>
                    <a:pt x="1203" y="271"/>
                  </a:lnTo>
                  <a:lnTo>
                    <a:pt x="1206" y="274"/>
                  </a:lnTo>
                  <a:lnTo>
                    <a:pt x="1209" y="274"/>
                  </a:lnTo>
                  <a:lnTo>
                    <a:pt x="1214" y="273"/>
                  </a:lnTo>
                  <a:lnTo>
                    <a:pt x="1217" y="268"/>
                  </a:lnTo>
                  <a:lnTo>
                    <a:pt x="1217" y="265"/>
                  </a:lnTo>
                  <a:lnTo>
                    <a:pt x="1226" y="259"/>
                  </a:lnTo>
                  <a:lnTo>
                    <a:pt x="1215" y="260"/>
                  </a:lnTo>
                  <a:lnTo>
                    <a:pt x="1214" y="259"/>
                  </a:lnTo>
                  <a:lnTo>
                    <a:pt x="1209" y="253"/>
                  </a:lnTo>
                  <a:lnTo>
                    <a:pt x="1208" y="251"/>
                  </a:lnTo>
                  <a:close/>
                  <a:moveTo>
                    <a:pt x="1222" y="253"/>
                  </a:moveTo>
                  <a:lnTo>
                    <a:pt x="1222" y="247"/>
                  </a:lnTo>
                  <a:lnTo>
                    <a:pt x="1220" y="247"/>
                  </a:lnTo>
                  <a:lnTo>
                    <a:pt x="1217" y="250"/>
                  </a:lnTo>
                  <a:lnTo>
                    <a:pt x="1215" y="253"/>
                  </a:lnTo>
                  <a:lnTo>
                    <a:pt x="1215" y="256"/>
                  </a:lnTo>
                  <a:lnTo>
                    <a:pt x="1220" y="254"/>
                  </a:lnTo>
                  <a:lnTo>
                    <a:pt x="1222" y="253"/>
                  </a:lnTo>
                  <a:close/>
                  <a:moveTo>
                    <a:pt x="1060" y="256"/>
                  </a:moveTo>
                  <a:lnTo>
                    <a:pt x="1058" y="257"/>
                  </a:lnTo>
                  <a:lnTo>
                    <a:pt x="1057" y="260"/>
                  </a:lnTo>
                  <a:lnTo>
                    <a:pt x="1058" y="265"/>
                  </a:lnTo>
                  <a:lnTo>
                    <a:pt x="1060" y="267"/>
                  </a:lnTo>
                  <a:lnTo>
                    <a:pt x="1064" y="267"/>
                  </a:lnTo>
                  <a:lnTo>
                    <a:pt x="1063" y="268"/>
                  </a:lnTo>
                  <a:lnTo>
                    <a:pt x="1060" y="273"/>
                  </a:lnTo>
                  <a:lnTo>
                    <a:pt x="1060" y="273"/>
                  </a:lnTo>
                  <a:lnTo>
                    <a:pt x="1052" y="270"/>
                  </a:lnTo>
                  <a:lnTo>
                    <a:pt x="1049" y="271"/>
                  </a:lnTo>
                  <a:lnTo>
                    <a:pt x="1049" y="276"/>
                  </a:lnTo>
                  <a:lnTo>
                    <a:pt x="1052" y="279"/>
                  </a:lnTo>
                  <a:lnTo>
                    <a:pt x="1057" y="282"/>
                  </a:lnTo>
                  <a:lnTo>
                    <a:pt x="1072" y="296"/>
                  </a:lnTo>
                  <a:lnTo>
                    <a:pt x="1074" y="297"/>
                  </a:lnTo>
                  <a:lnTo>
                    <a:pt x="1075" y="304"/>
                  </a:lnTo>
                  <a:lnTo>
                    <a:pt x="1078" y="307"/>
                  </a:lnTo>
                  <a:lnTo>
                    <a:pt x="1094" y="301"/>
                  </a:lnTo>
                  <a:lnTo>
                    <a:pt x="1097" y="299"/>
                  </a:lnTo>
                  <a:lnTo>
                    <a:pt x="1100" y="296"/>
                  </a:lnTo>
                  <a:lnTo>
                    <a:pt x="1100" y="294"/>
                  </a:lnTo>
                  <a:lnTo>
                    <a:pt x="1100" y="293"/>
                  </a:lnTo>
                  <a:lnTo>
                    <a:pt x="1100" y="291"/>
                  </a:lnTo>
                  <a:lnTo>
                    <a:pt x="1101" y="288"/>
                  </a:lnTo>
                  <a:lnTo>
                    <a:pt x="1105" y="285"/>
                  </a:lnTo>
                  <a:lnTo>
                    <a:pt x="1105" y="284"/>
                  </a:lnTo>
                  <a:lnTo>
                    <a:pt x="1106" y="282"/>
                  </a:lnTo>
                  <a:lnTo>
                    <a:pt x="1108" y="280"/>
                  </a:lnTo>
                  <a:lnTo>
                    <a:pt x="1108" y="279"/>
                  </a:lnTo>
                  <a:lnTo>
                    <a:pt x="1108" y="277"/>
                  </a:lnTo>
                  <a:lnTo>
                    <a:pt x="1108" y="276"/>
                  </a:lnTo>
                  <a:lnTo>
                    <a:pt x="1108" y="274"/>
                  </a:lnTo>
                  <a:lnTo>
                    <a:pt x="1109" y="273"/>
                  </a:lnTo>
                  <a:lnTo>
                    <a:pt x="1109" y="271"/>
                  </a:lnTo>
                  <a:lnTo>
                    <a:pt x="1117" y="267"/>
                  </a:lnTo>
                  <a:lnTo>
                    <a:pt x="1120" y="264"/>
                  </a:lnTo>
                  <a:lnTo>
                    <a:pt x="1120" y="259"/>
                  </a:lnTo>
                  <a:lnTo>
                    <a:pt x="1118" y="257"/>
                  </a:lnTo>
                  <a:lnTo>
                    <a:pt x="1118" y="256"/>
                  </a:lnTo>
                  <a:lnTo>
                    <a:pt x="1117" y="256"/>
                  </a:lnTo>
                  <a:lnTo>
                    <a:pt x="1115" y="257"/>
                  </a:lnTo>
                  <a:lnTo>
                    <a:pt x="1114" y="259"/>
                  </a:lnTo>
                  <a:lnTo>
                    <a:pt x="1114" y="260"/>
                  </a:lnTo>
                  <a:lnTo>
                    <a:pt x="1112" y="262"/>
                  </a:lnTo>
                  <a:lnTo>
                    <a:pt x="1112" y="260"/>
                  </a:lnTo>
                  <a:lnTo>
                    <a:pt x="1112" y="257"/>
                  </a:lnTo>
                  <a:lnTo>
                    <a:pt x="1112" y="256"/>
                  </a:lnTo>
                  <a:lnTo>
                    <a:pt x="1112" y="253"/>
                  </a:lnTo>
                  <a:lnTo>
                    <a:pt x="1112" y="250"/>
                  </a:lnTo>
                  <a:lnTo>
                    <a:pt x="1111" y="248"/>
                  </a:lnTo>
                  <a:lnTo>
                    <a:pt x="1109" y="248"/>
                  </a:lnTo>
                  <a:lnTo>
                    <a:pt x="1105" y="251"/>
                  </a:lnTo>
                  <a:lnTo>
                    <a:pt x="1101" y="253"/>
                  </a:lnTo>
                  <a:lnTo>
                    <a:pt x="1100" y="257"/>
                  </a:lnTo>
                  <a:lnTo>
                    <a:pt x="1100" y="264"/>
                  </a:lnTo>
                  <a:lnTo>
                    <a:pt x="1098" y="262"/>
                  </a:lnTo>
                  <a:lnTo>
                    <a:pt x="1094" y="257"/>
                  </a:lnTo>
                  <a:lnTo>
                    <a:pt x="1091" y="254"/>
                  </a:lnTo>
                  <a:lnTo>
                    <a:pt x="1091" y="250"/>
                  </a:lnTo>
                  <a:lnTo>
                    <a:pt x="1092" y="247"/>
                  </a:lnTo>
                  <a:lnTo>
                    <a:pt x="1094" y="244"/>
                  </a:lnTo>
                  <a:lnTo>
                    <a:pt x="1091" y="242"/>
                  </a:lnTo>
                  <a:lnTo>
                    <a:pt x="1089" y="244"/>
                  </a:lnTo>
                  <a:lnTo>
                    <a:pt x="1088" y="247"/>
                  </a:lnTo>
                  <a:lnTo>
                    <a:pt x="1086" y="247"/>
                  </a:lnTo>
                  <a:lnTo>
                    <a:pt x="1086" y="245"/>
                  </a:lnTo>
                  <a:lnTo>
                    <a:pt x="1086" y="242"/>
                  </a:lnTo>
                  <a:lnTo>
                    <a:pt x="1086" y="240"/>
                  </a:lnTo>
                  <a:lnTo>
                    <a:pt x="1085" y="239"/>
                  </a:lnTo>
                  <a:lnTo>
                    <a:pt x="1078" y="245"/>
                  </a:lnTo>
                  <a:lnTo>
                    <a:pt x="1077" y="245"/>
                  </a:lnTo>
                  <a:lnTo>
                    <a:pt x="1075" y="245"/>
                  </a:lnTo>
                  <a:lnTo>
                    <a:pt x="1074" y="244"/>
                  </a:lnTo>
                  <a:lnTo>
                    <a:pt x="1074" y="247"/>
                  </a:lnTo>
                  <a:lnTo>
                    <a:pt x="1075" y="250"/>
                  </a:lnTo>
                  <a:lnTo>
                    <a:pt x="1077" y="251"/>
                  </a:lnTo>
                  <a:lnTo>
                    <a:pt x="1078" y="254"/>
                  </a:lnTo>
                  <a:lnTo>
                    <a:pt x="1075" y="257"/>
                  </a:lnTo>
                  <a:lnTo>
                    <a:pt x="1074" y="257"/>
                  </a:lnTo>
                  <a:lnTo>
                    <a:pt x="1074" y="256"/>
                  </a:lnTo>
                  <a:lnTo>
                    <a:pt x="1072" y="254"/>
                  </a:lnTo>
                  <a:lnTo>
                    <a:pt x="1072" y="253"/>
                  </a:lnTo>
                  <a:lnTo>
                    <a:pt x="1071" y="253"/>
                  </a:lnTo>
                  <a:lnTo>
                    <a:pt x="1071" y="253"/>
                  </a:lnTo>
                  <a:lnTo>
                    <a:pt x="1069" y="254"/>
                  </a:lnTo>
                  <a:lnTo>
                    <a:pt x="1068" y="256"/>
                  </a:lnTo>
                  <a:lnTo>
                    <a:pt x="1064" y="254"/>
                  </a:lnTo>
                  <a:lnTo>
                    <a:pt x="1060" y="256"/>
                  </a:lnTo>
                  <a:close/>
                  <a:moveTo>
                    <a:pt x="1044" y="254"/>
                  </a:moveTo>
                  <a:lnTo>
                    <a:pt x="1046" y="254"/>
                  </a:lnTo>
                  <a:lnTo>
                    <a:pt x="1046" y="256"/>
                  </a:lnTo>
                  <a:lnTo>
                    <a:pt x="1044" y="257"/>
                  </a:lnTo>
                  <a:lnTo>
                    <a:pt x="1044" y="260"/>
                  </a:lnTo>
                  <a:lnTo>
                    <a:pt x="1046" y="264"/>
                  </a:lnTo>
                  <a:lnTo>
                    <a:pt x="1048" y="264"/>
                  </a:lnTo>
                  <a:lnTo>
                    <a:pt x="1048" y="264"/>
                  </a:lnTo>
                  <a:lnTo>
                    <a:pt x="1048" y="264"/>
                  </a:lnTo>
                  <a:lnTo>
                    <a:pt x="1048" y="262"/>
                  </a:lnTo>
                  <a:lnTo>
                    <a:pt x="1049" y="260"/>
                  </a:lnTo>
                  <a:lnTo>
                    <a:pt x="1052" y="256"/>
                  </a:lnTo>
                  <a:lnTo>
                    <a:pt x="1057" y="253"/>
                  </a:lnTo>
                  <a:lnTo>
                    <a:pt x="1063" y="251"/>
                  </a:lnTo>
                  <a:lnTo>
                    <a:pt x="1064" y="250"/>
                  </a:lnTo>
                  <a:lnTo>
                    <a:pt x="1066" y="247"/>
                  </a:lnTo>
                  <a:lnTo>
                    <a:pt x="1068" y="245"/>
                  </a:lnTo>
                  <a:lnTo>
                    <a:pt x="1068" y="242"/>
                  </a:lnTo>
                  <a:lnTo>
                    <a:pt x="1063" y="239"/>
                  </a:lnTo>
                  <a:lnTo>
                    <a:pt x="1063" y="237"/>
                  </a:lnTo>
                  <a:lnTo>
                    <a:pt x="1061" y="237"/>
                  </a:lnTo>
                  <a:lnTo>
                    <a:pt x="1057" y="245"/>
                  </a:lnTo>
                  <a:lnTo>
                    <a:pt x="1055" y="247"/>
                  </a:lnTo>
                  <a:lnTo>
                    <a:pt x="1055" y="248"/>
                  </a:lnTo>
                  <a:lnTo>
                    <a:pt x="1054" y="247"/>
                  </a:lnTo>
                  <a:lnTo>
                    <a:pt x="1054" y="242"/>
                  </a:lnTo>
                  <a:lnTo>
                    <a:pt x="1052" y="239"/>
                  </a:lnTo>
                  <a:lnTo>
                    <a:pt x="1051" y="236"/>
                  </a:lnTo>
                  <a:lnTo>
                    <a:pt x="1049" y="236"/>
                  </a:lnTo>
                  <a:lnTo>
                    <a:pt x="1048" y="236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2"/>
                  </a:lnTo>
                  <a:lnTo>
                    <a:pt x="1048" y="242"/>
                  </a:lnTo>
                  <a:lnTo>
                    <a:pt x="1048" y="244"/>
                  </a:lnTo>
                  <a:lnTo>
                    <a:pt x="1044" y="247"/>
                  </a:lnTo>
                  <a:lnTo>
                    <a:pt x="1043" y="250"/>
                  </a:lnTo>
                  <a:lnTo>
                    <a:pt x="1044" y="253"/>
                  </a:lnTo>
                  <a:lnTo>
                    <a:pt x="1044" y="254"/>
                  </a:lnTo>
                  <a:close/>
                  <a:moveTo>
                    <a:pt x="1203" y="234"/>
                  </a:moveTo>
                  <a:lnTo>
                    <a:pt x="1203" y="240"/>
                  </a:lnTo>
                  <a:lnTo>
                    <a:pt x="1203" y="244"/>
                  </a:lnTo>
                  <a:lnTo>
                    <a:pt x="1205" y="245"/>
                  </a:lnTo>
                  <a:lnTo>
                    <a:pt x="1208" y="245"/>
                  </a:lnTo>
                  <a:lnTo>
                    <a:pt x="1211" y="244"/>
                  </a:lnTo>
                  <a:lnTo>
                    <a:pt x="1212" y="240"/>
                  </a:lnTo>
                  <a:lnTo>
                    <a:pt x="1212" y="237"/>
                  </a:lnTo>
                  <a:lnTo>
                    <a:pt x="1208" y="230"/>
                  </a:lnTo>
                  <a:lnTo>
                    <a:pt x="1206" y="228"/>
                  </a:lnTo>
                  <a:lnTo>
                    <a:pt x="1203" y="230"/>
                  </a:lnTo>
                  <a:lnTo>
                    <a:pt x="1203" y="234"/>
                  </a:lnTo>
                  <a:close/>
                  <a:moveTo>
                    <a:pt x="1095" y="236"/>
                  </a:moveTo>
                  <a:lnTo>
                    <a:pt x="1100" y="237"/>
                  </a:lnTo>
                  <a:lnTo>
                    <a:pt x="1106" y="240"/>
                  </a:lnTo>
                  <a:lnTo>
                    <a:pt x="1109" y="240"/>
                  </a:lnTo>
                  <a:lnTo>
                    <a:pt x="1111" y="240"/>
                  </a:lnTo>
                  <a:lnTo>
                    <a:pt x="1112" y="239"/>
                  </a:lnTo>
                  <a:lnTo>
                    <a:pt x="1112" y="236"/>
                  </a:lnTo>
                  <a:lnTo>
                    <a:pt x="1111" y="234"/>
                  </a:lnTo>
                  <a:lnTo>
                    <a:pt x="1103" y="227"/>
                  </a:lnTo>
                  <a:lnTo>
                    <a:pt x="1100" y="225"/>
                  </a:lnTo>
                  <a:lnTo>
                    <a:pt x="1097" y="227"/>
                  </a:lnTo>
                  <a:lnTo>
                    <a:pt x="1094" y="230"/>
                  </a:lnTo>
                  <a:lnTo>
                    <a:pt x="1094" y="233"/>
                  </a:lnTo>
                  <a:lnTo>
                    <a:pt x="1095" y="234"/>
                  </a:lnTo>
                  <a:lnTo>
                    <a:pt x="1095" y="236"/>
                  </a:lnTo>
                  <a:close/>
                  <a:moveTo>
                    <a:pt x="1174" y="242"/>
                  </a:moveTo>
                  <a:lnTo>
                    <a:pt x="1174" y="244"/>
                  </a:lnTo>
                  <a:lnTo>
                    <a:pt x="1175" y="245"/>
                  </a:lnTo>
                  <a:lnTo>
                    <a:pt x="1177" y="247"/>
                  </a:lnTo>
                  <a:lnTo>
                    <a:pt x="1178" y="247"/>
                  </a:lnTo>
                  <a:lnTo>
                    <a:pt x="1182" y="248"/>
                  </a:lnTo>
                  <a:lnTo>
                    <a:pt x="1183" y="247"/>
                  </a:lnTo>
                  <a:lnTo>
                    <a:pt x="1182" y="244"/>
                  </a:lnTo>
                  <a:lnTo>
                    <a:pt x="1186" y="244"/>
                  </a:lnTo>
                  <a:lnTo>
                    <a:pt x="1185" y="240"/>
                  </a:lnTo>
                  <a:lnTo>
                    <a:pt x="1186" y="237"/>
                  </a:lnTo>
                  <a:lnTo>
                    <a:pt x="1186" y="237"/>
                  </a:lnTo>
                  <a:lnTo>
                    <a:pt x="1188" y="237"/>
                  </a:lnTo>
                  <a:lnTo>
                    <a:pt x="1188" y="239"/>
                  </a:lnTo>
                  <a:lnTo>
                    <a:pt x="1188" y="242"/>
                  </a:lnTo>
                  <a:lnTo>
                    <a:pt x="1188" y="247"/>
                  </a:lnTo>
                  <a:lnTo>
                    <a:pt x="1188" y="248"/>
                  </a:lnTo>
                  <a:lnTo>
                    <a:pt x="1188" y="250"/>
                  </a:lnTo>
                  <a:lnTo>
                    <a:pt x="1188" y="251"/>
                  </a:lnTo>
                  <a:lnTo>
                    <a:pt x="1188" y="251"/>
                  </a:lnTo>
                  <a:lnTo>
                    <a:pt x="1189" y="251"/>
                  </a:lnTo>
                  <a:lnTo>
                    <a:pt x="1191" y="250"/>
                  </a:lnTo>
                  <a:lnTo>
                    <a:pt x="1192" y="250"/>
                  </a:lnTo>
                  <a:lnTo>
                    <a:pt x="1192" y="248"/>
                  </a:lnTo>
                  <a:lnTo>
                    <a:pt x="1194" y="245"/>
                  </a:lnTo>
                  <a:lnTo>
                    <a:pt x="1195" y="245"/>
                  </a:lnTo>
                  <a:lnTo>
                    <a:pt x="1195" y="245"/>
                  </a:lnTo>
                  <a:lnTo>
                    <a:pt x="1197" y="247"/>
                  </a:lnTo>
                  <a:lnTo>
                    <a:pt x="1198" y="248"/>
                  </a:lnTo>
                  <a:lnTo>
                    <a:pt x="1202" y="248"/>
                  </a:lnTo>
                  <a:lnTo>
                    <a:pt x="1202" y="247"/>
                  </a:lnTo>
                  <a:lnTo>
                    <a:pt x="1203" y="247"/>
                  </a:lnTo>
                  <a:lnTo>
                    <a:pt x="1203" y="244"/>
                  </a:lnTo>
                  <a:lnTo>
                    <a:pt x="1203" y="240"/>
                  </a:lnTo>
                  <a:lnTo>
                    <a:pt x="1203" y="240"/>
                  </a:lnTo>
                  <a:lnTo>
                    <a:pt x="1202" y="237"/>
                  </a:lnTo>
                  <a:lnTo>
                    <a:pt x="1202" y="236"/>
                  </a:lnTo>
                  <a:lnTo>
                    <a:pt x="1202" y="234"/>
                  </a:lnTo>
                  <a:lnTo>
                    <a:pt x="1202" y="233"/>
                  </a:lnTo>
                  <a:lnTo>
                    <a:pt x="1202" y="230"/>
                  </a:lnTo>
                  <a:lnTo>
                    <a:pt x="1203" y="227"/>
                  </a:lnTo>
                  <a:lnTo>
                    <a:pt x="1203" y="224"/>
                  </a:lnTo>
                  <a:lnTo>
                    <a:pt x="1205" y="217"/>
                  </a:lnTo>
                  <a:lnTo>
                    <a:pt x="1205" y="214"/>
                  </a:lnTo>
                  <a:lnTo>
                    <a:pt x="1203" y="213"/>
                  </a:lnTo>
                  <a:lnTo>
                    <a:pt x="1202" y="211"/>
                  </a:lnTo>
                  <a:lnTo>
                    <a:pt x="1198" y="208"/>
                  </a:lnTo>
                  <a:lnTo>
                    <a:pt x="1188" y="210"/>
                  </a:lnTo>
                  <a:lnTo>
                    <a:pt x="1185" y="210"/>
                  </a:lnTo>
                  <a:lnTo>
                    <a:pt x="1185" y="211"/>
                  </a:lnTo>
                  <a:lnTo>
                    <a:pt x="1185" y="211"/>
                  </a:lnTo>
                  <a:lnTo>
                    <a:pt x="1185" y="213"/>
                  </a:lnTo>
                  <a:lnTo>
                    <a:pt x="1185" y="214"/>
                  </a:lnTo>
                  <a:lnTo>
                    <a:pt x="1185" y="216"/>
                  </a:lnTo>
                  <a:lnTo>
                    <a:pt x="1183" y="216"/>
                  </a:lnTo>
                  <a:lnTo>
                    <a:pt x="1178" y="217"/>
                  </a:lnTo>
                  <a:lnTo>
                    <a:pt x="1177" y="220"/>
                  </a:lnTo>
                  <a:lnTo>
                    <a:pt x="1174" y="224"/>
                  </a:lnTo>
                  <a:lnTo>
                    <a:pt x="1174" y="228"/>
                  </a:lnTo>
                  <a:lnTo>
                    <a:pt x="1172" y="234"/>
                  </a:lnTo>
                  <a:lnTo>
                    <a:pt x="1172" y="237"/>
                  </a:lnTo>
                  <a:lnTo>
                    <a:pt x="1172" y="239"/>
                  </a:lnTo>
                  <a:lnTo>
                    <a:pt x="1172" y="239"/>
                  </a:lnTo>
                  <a:lnTo>
                    <a:pt x="1174" y="242"/>
                  </a:lnTo>
                  <a:close/>
                  <a:moveTo>
                    <a:pt x="1072" y="230"/>
                  </a:moveTo>
                  <a:lnTo>
                    <a:pt x="1077" y="236"/>
                  </a:lnTo>
                  <a:lnTo>
                    <a:pt x="1080" y="236"/>
                  </a:lnTo>
                  <a:lnTo>
                    <a:pt x="1081" y="236"/>
                  </a:lnTo>
                  <a:lnTo>
                    <a:pt x="1086" y="231"/>
                  </a:lnTo>
                  <a:lnTo>
                    <a:pt x="1086" y="230"/>
                  </a:lnTo>
                  <a:lnTo>
                    <a:pt x="1086" y="230"/>
                  </a:lnTo>
                  <a:lnTo>
                    <a:pt x="1086" y="228"/>
                  </a:lnTo>
                  <a:lnTo>
                    <a:pt x="1086" y="227"/>
                  </a:lnTo>
                  <a:lnTo>
                    <a:pt x="1086" y="225"/>
                  </a:lnTo>
                  <a:lnTo>
                    <a:pt x="1088" y="222"/>
                  </a:lnTo>
                  <a:lnTo>
                    <a:pt x="1088" y="220"/>
                  </a:lnTo>
                  <a:lnTo>
                    <a:pt x="1088" y="219"/>
                  </a:lnTo>
                  <a:lnTo>
                    <a:pt x="1088" y="217"/>
                  </a:lnTo>
                  <a:lnTo>
                    <a:pt x="1086" y="214"/>
                  </a:lnTo>
                  <a:lnTo>
                    <a:pt x="1086" y="213"/>
                  </a:lnTo>
                  <a:lnTo>
                    <a:pt x="1086" y="210"/>
                  </a:lnTo>
                  <a:lnTo>
                    <a:pt x="1085" y="207"/>
                  </a:lnTo>
                  <a:lnTo>
                    <a:pt x="1085" y="205"/>
                  </a:lnTo>
                  <a:lnTo>
                    <a:pt x="1085" y="205"/>
                  </a:lnTo>
                  <a:lnTo>
                    <a:pt x="1083" y="205"/>
                  </a:lnTo>
                  <a:lnTo>
                    <a:pt x="1083" y="205"/>
                  </a:lnTo>
                  <a:lnTo>
                    <a:pt x="1083" y="205"/>
                  </a:lnTo>
                  <a:lnTo>
                    <a:pt x="1081" y="205"/>
                  </a:lnTo>
                  <a:lnTo>
                    <a:pt x="1081" y="207"/>
                  </a:lnTo>
                  <a:lnTo>
                    <a:pt x="1081" y="208"/>
                  </a:lnTo>
                  <a:lnTo>
                    <a:pt x="1081" y="208"/>
                  </a:lnTo>
                  <a:lnTo>
                    <a:pt x="1080" y="208"/>
                  </a:lnTo>
                  <a:lnTo>
                    <a:pt x="1080" y="208"/>
                  </a:lnTo>
                  <a:lnTo>
                    <a:pt x="1080" y="208"/>
                  </a:lnTo>
                  <a:lnTo>
                    <a:pt x="1077" y="208"/>
                  </a:lnTo>
                  <a:lnTo>
                    <a:pt x="1075" y="208"/>
                  </a:lnTo>
                  <a:lnTo>
                    <a:pt x="1075" y="210"/>
                  </a:lnTo>
                  <a:lnTo>
                    <a:pt x="1077" y="210"/>
                  </a:lnTo>
                  <a:lnTo>
                    <a:pt x="1077" y="211"/>
                  </a:lnTo>
                  <a:lnTo>
                    <a:pt x="1078" y="213"/>
                  </a:lnTo>
                  <a:lnTo>
                    <a:pt x="1077" y="213"/>
                  </a:lnTo>
                  <a:lnTo>
                    <a:pt x="1078" y="214"/>
                  </a:lnTo>
                  <a:lnTo>
                    <a:pt x="1080" y="216"/>
                  </a:lnTo>
                  <a:lnTo>
                    <a:pt x="1080" y="217"/>
                  </a:lnTo>
                  <a:lnTo>
                    <a:pt x="1078" y="219"/>
                  </a:lnTo>
                  <a:lnTo>
                    <a:pt x="1077" y="220"/>
                  </a:lnTo>
                  <a:lnTo>
                    <a:pt x="1077" y="227"/>
                  </a:lnTo>
                  <a:lnTo>
                    <a:pt x="1075" y="227"/>
                  </a:lnTo>
                  <a:lnTo>
                    <a:pt x="1075" y="224"/>
                  </a:lnTo>
                  <a:lnTo>
                    <a:pt x="1074" y="224"/>
                  </a:lnTo>
                  <a:lnTo>
                    <a:pt x="1072" y="224"/>
                  </a:lnTo>
                  <a:lnTo>
                    <a:pt x="1069" y="227"/>
                  </a:lnTo>
                  <a:lnTo>
                    <a:pt x="1069" y="228"/>
                  </a:lnTo>
                  <a:lnTo>
                    <a:pt x="1069" y="228"/>
                  </a:lnTo>
                  <a:lnTo>
                    <a:pt x="1072" y="230"/>
                  </a:lnTo>
                  <a:close/>
                  <a:moveTo>
                    <a:pt x="1117" y="213"/>
                  </a:moveTo>
                  <a:lnTo>
                    <a:pt x="1118" y="216"/>
                  </a:lnTo>
                  <a:lnTo>
                    <a:pt x="1120" y="217"/>
                  </a:lnTo>
                  <a:lnTo>
                    <a:pt x="1120" y="219"/>
                  </a:lnTo>
                  <a:lnTo>
                    <a:pt x="1121" y="220"/>
                  </a:lnTo>
                  <a:lnTo>
                    <a:pt x="1123" y="228"/>
                  </a:lnTo>
                  <a:lnTo>
                    <a:pt x="1125" y="230"/>
                  </a:lnTo>
                  <a:lnTo>
                    <a:pt x="1125" y="230"/>
                  </a:lnTo>
                  <a:lnTo>
                    <a:pt x="1125" y="231"/>
                  </a:lnTo>
                  <a:lnTo>
                    <a:pt x="1125" y="234"/>
                  </a:lnTo>
                  <a:lnTo>
                    <a:pt x="1125" y="240"/>
                  </a:lnTo>
                  <a:lnTo>
                    <a:pt x="1125" y="242"/>
                  </a:lnTo>
                  <a:lnTo>
                    <a:pt x="1128" y="247"/>
                  </a:lnTo>
                  <a:lnTo>
                    <a:pt x="1131" y="248"/>
                  </a:lnTo>
                  <a:lnTo>
                    <a:pt x="1142" y="248"/>
                  </a:lnTo>
                  <a:lnTo>
                    <a:pt x="1145" y="245"/>
                  </a:lnTo>
                  <a:lnTo>
                    <a:pt x="1146" y="244"/>
                  </a:lnTo>
                  <a:lnTo>
                    <a:pt x="1146" y="242"/>
                  </a:lnTo>
                  <a:lnTo>
                    <a:pt x="1146" y="240"/>
                  </a:lnTo>
                  <a:lnTo>
                    <a:pt x="1148" y="239"/>
                  </a:lnTo>
                  <a:lnTo>
                    <a:pt x="1155" y="236"/>
                  </a:lnTo>
                  <a:lnTo>
                    <a:pt x="1155" y="234"/>
                  </a:lnTo>
                  <a:lnTo>
                    <a:pt x="1152" y="234"/>
                  </a:lnTo>
                  <a:lnTo>
                    <a:pt x="1142" y="228"/>
                  </a:lnTo>
                  <a:lnTo>
                    <a:pt x="1140" y="227"/>
                  </a:lnTo>
                  <a:lnTo>
                    <a:pt x="1138" y="225"/>
                  </a:lnTo>
                  <a:lnTo>
                    <a:pt x="1138" y="222"/>
                  </a:lnTo>
                  <a:lnTo>
                    <a:pt x="1140" y="217"/>
                  </a:lnTo>
                  <a:lnTo>
                    <a:pt x="1135" y="214"/>
                  </a:lnTo>
                  <a:lnTo>
                    <a:pt x="1134" y="213"/>
                  </a:lnTo>
                  <a:lnTo>
                    <a:pt x="1134" y="214"/>
                  </a:lnTo>
                  <a:lnTo>
                    <a:pt x="1132" y="220"/>
                  </a:lnTo>
                  <a:lnTo>
                    <a:pt x="1132" y="222"/>
                  </a:lnTo>
                  <a:lnTo>
                    <a:pt x="1129" y="224"/>
                  </a:lnTo>
                  <a:lnTo>
                    <a:pt x="1129" y="220"/>
                  </a:lnTo>
                  <a:lnTo>
                    <a:pt x="1128" y="214"/>
                  </a:lnTo>
                  <a:lnTo>
                    <a:pt x="1126" y="213"/>
                  </a:lnTo>
                  <a:lnTo>
                    <a:pt x="1125" y="211"/>
                  </a:lnTo>
                  <a:lnTo>
                    <a:pt x="1123" y="210"/>
                  </a:lnTo>
                  <a:lnTo>
                    <a:pt x="1123" y="208"/>
                  </a:lnTo>
                  <a:lnTo>
                    <a:pt x="1121" y="207"/>
                  </a:lnTo>
                  <a:lnTo>
                    <a:pt x="1121" y="203"/>
                  </a:lnTo>
                  <a:lnTo>
                    <a:pt x="1121" y="200"/>
                  </a:lnTo>
                  <a:lnTo>
                    <a:pt x="1120" y="199"/>
                  </a:lnTo>
                  <a:lnTo>
                    <a:pt x="1120" y="197"/>
                  </a:lnTo>
                  <a:lnTo>
                    <a:pt x="1115" y="199"/>
                  </a:lnTo>
                  <a:lnTo>
                    <a:pt x="1112" y="202"/>
                  </a:lnTo>
                  <a:lnTo>
                    <a:pt x="1114" y="205"/>
                  </a:lnTo>
                  <a:lnTo>
                    <a:pt x="1114" y="207"/>
                  </a:lnTo>
                  <a:lnTo>
                    <a:pt x="1111" y="205"/>
                  </a:lnTo>
                  <a:lnTo>
                    <a:pt x="1111" y="205"/>
                  </a:lnTo>
                  <a:lnTo>
                    <a:pt x="1109" y="207"/>
                  </a:lnTo>
                  <a:lnTo>
                    <a:pt x="1111" y="210"/>
                  </a:lnTo>
                  <a:lnTo>
                    <a:pt x="1117" y="213"/>
                  </a:lnTo>
                  <a:close/>
                  <a:moveTo>
                    <a:pt x="1271" y="203"/>
                  </a:moveTo>
                  <a:lnTo>
                    <a:pt x="1271" y="203"/>
                  </a:lnTo>
                  <a:lnTo>
                    <a:pt x="1272" y="202"/>
                  </a:lnTo>
                  <a:lnTo>
                    <a:pt x="1274" y="200"/>
                  </a:lnTo>
                  <a:lnTo>
                    <a:pt x="1276" y="197"/>
                  </a:lnTo>
                  <a:lnTo>
                    <a:pt x="1277" y="190"/>
                  </a:lnTo>
                  <a:lnTo>
                    <a:pt x="1277" y="185"/>
                  </a:lnTo>
                  <a:lnTo>
                    <a:pt x="1277" y="182"/>
                  </a:lnTo>
                  <a:lnTo>
                    <a:pt x="1272" y="177"/>
                  </a:lnTo>
                  <a:lnTo>
                    <a:pt x="1272" y="177"/>
                  </a:lnTo>
                  <a:lnTo>
                    <a:pt x="1271" y="176"/>
                  </a:lnTo>
                  <a:lnTo>
                    <a:pt x="1271" y="176"/>
                  </a:lnTo>
                  <a:lnTo>
                    <a:pt x="1271" y="177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80"/>
                  </a:lnTo>
                  <a:lnTo>
                    <a:pt x="1269" y="183"/>
                  </a:lnTo>
                  <a:lnTo>
                    <a:pt x="1269" y="187"/>
                  </a:lnTo>
                  <a:lnTo>
                    <a:pt x="1269" y="193"/>
                  </a:lnTo>
                  <a:lnTo>
                    <a:pt x="1268" y="199"/>
                  </a:lnTo>
                  <a:lnTo>
                    <a:pt x="1269" y="202"/>
                  </a:lnTo>
                  <a:lnTo>
                    <a:pt x="1271" y="203"/>
                  </a:lnTo>
                  <a:close/>
                  <a:moveTo>
                    <a:pt x="1326" y="185"/>
                  </a:moveTo>
                  <a:lnTo>
                    <a:pt x="1325" y="182"/>
                  </a:lnTo>
                  <a:lnTo>
                    <a:pt x="1323" y="182"/>
                  </a:lnTo>
                  <a:lnTo>
                    <a:pt x="1322" y="182"/>
                  </a:lnTo>
                  <a:lnTo>
                    <a:pt x="1320" y="185"/>
                  </a:lnTo>
                  <a:lnTo>
                    <a:pt x="1320" y="188"/>
                  </a:lnTo>
                  <a:lnTo>
                    <a:pt x="1320" y="190"/>
                  </a:lnTo>
                  <a:lnTo>
                    <a:pt x="1326" y="197"/>
                  </a:lnTo>
                  <a:lnTo>
                    <a:pt x="1346" y="205"/>
                  </a:lnTo>
                  <a:lnTo>
                    <a:pt x="1366" y="207"/>
                  </a:lnTo>
                  <a:lnTo>
                    <a:pt x="1368" y="205"/>
                  </a:lnTo>
                  <a:lnTo>
                    <a:pt x="1368" y="202"/>
                  </a:lnTo>
                  <a:lnTo>
                    <a:pt x="1368" y="199"/>
                  </a:lnTo>
                  <a:lnTo>
                    <a:pt x="1366" y="196"/>
                  </a:lnTo>
                  <a:lnTo>
                    <a:pt x="1365" y="196"/>
                  </a:lnTo>
                  <a:lnTo>
                    <a:pt x="1363" y="194"/>
                  </a:lnTo>
                  <a:lnTo>
                    <a:pt x="1362" y="194"/>
                  </a:lnTo>
                  <a:lnTo>
                    <a:pt x="1362" y="193"/>
                  </a:lnTo>
                  <a:lnTo>
                    <a:pt x="1362" y="191"/>
                  </a:lnTo>
                  <a:lnTo>
                    <a:pt x="1363" y="190"/>
                  </a:lnTo>
                  <a:lnTo>
                    <a:pt x="1363" y="190"/>
                  </a:lnTo>
                  <a:lnTo>
                    <a:pt x="1354" y="188"/>
                  </a:lnTo>
                  <a:lnTo>
                    <a:pt x="1353" y="185"/>
                  </a:lnTo>
                  <a:lnTo>
                    <a:pt x="1353" y="180"/>
                  </a:lnTo>
                  <a:lnTo>
                    <a:pt x="1351" y="176"/>
                  </a:lnTo>
                  <a:lnTo>
                    <a:pt x="1349" y="174"/>
                  </a:lnTo>
                  <a:lnTo>
                    <a:pt x="1346" y="176"/>
                  </a:lnTo>
                  <a:lnTo>
                    <a:pt x="1348" y="180"/>
                  </a:lnTo>
                  <a:lnTo>
                    <a:pt x="1346" y="185"/>
                  </a:lnTo>
                  <a:lnTo>
                    <a:pt x="1346" y="187"/>
                  </a:lnTo>
                  <a:lnTo>
                    <a:pt x="1345" y="183"/>
                  </a:lnTo>
                  <a:lnTo>
                    <a:pt x="1345" y="180"/>
                  </a:lnTo>
                  <a:lnTo>
                    <a:pt x="1345" y="176"/>
                  </a:lnTo>
                  <a:lnTo>
                    <a:pt x="1343" y="174"/>
                  </a:lnTo>
                  <a:lnTo>
                    <a:pt x="1343" y="173"/>
                  </a:lnTo>
                  <a:lnTo>
                    <a:pt x="1342" y="174"/>
                  </a:lnTo>
                  <a:lnTo>
                    <a:pt x="1340" y="176"/>
                  </a:lnTo>
                  <a:lnTo>
                    <a:pt x="1340" y="179"/>
                  </a:lnTo>
                  <a:lnTo>
                    <a:pt x="1340" y="179"/>
                  </a:lnTo>
                  <a:lnTo>
                    <a:pt x="1340" y="176"/>
                  </a:lnTo>
                  <a:lnTo>
                    <a:pt x="1339" y="176"/>
                  </a:lnTo>
                  <a:lnTo>
                    <a:pt x="1337" y="177"/>
                  </a:lnTo>
                  <a:lnTo>
                    <a:pt x="1337" y="180"/>
                  </a:lnTo>
                  <a:lnTo>
                    <a:pt x="1336" y="177"/>
                  </a:lnTo>
                  <a:lnTo>
                    <a:pt x="1332" y="180"/>
                  </a:lnTo>
                  <a:lnTo>
                    <a:pt x="1328" y="176"/>
                  </a:lnTo>
                  <a:lnTo>
                    <a:pt x="1328" y="177"/>
                  </a:lnTo>
                  <a:lnTo>
                    <a:pt x="1328" y="180"/>
                  </a:lnTo>
                  <a:lnTo>
                    <a:pt x="1328" y="183"/>
                  </a:lnTo>
                  <a:lnTo>
                    <a:pt x="1328" y="185"/>
                  </a:lnTo>
                  <a:lnTo>
                    <a:pt x="1329" y="190"/>
                  </a:lnTo>
                  <a:lnTo>
                    <a:pt x="1328" y="187"/>
                  </a:lnTo>
                  <a:lnTo>
                    <a:pt x="1326" y="185"/>
                  </a:lnTo>
                  <a:close/>
                  <a:moveTo>
                    <a:pt x="1396" y="125"/>
                  </a:moveTo>
                  <a:lnTo>
                    <a:pt x="1397" y="125"/>
                  </a:lnTo>
                  <a:lnTo>
                    <a:pt x="1400" y="127"/>
                  </a:lnTo>
                  <a:lnTo>
                    <a:pt x="1400" y="128"/>
                  </a:lnTo>
                  <a:lnTo>
                    <a:pt x="1400" y="131"/>
                  </a:lnTo>
                  <a:lnTo>
                    <a:pt x="1399" y="131"/>
                  </a:lnTo>
                  <a:lnTo>
                    <a:pt x="1403" y="134"/>
                  </a:lnTo>
                  <a:lnTo>
                    <a:pt x="1405" y="137"/>
                  </a:lnTo>
                  <a:lnTo>
                    <a:pt x="1406" y="140"/>
                  </a:lnTo>
                  <a:lnTo>
                    <a:pt x="1405" y="140"/>
                  </a:lnTo>
                  <a:lnTo>
                    <a:pt x="1397" y="137"/>
                  </a:lnTo>
                  <a:lnTo>
                    <a:pt x="1396" y="140"/>
                  </a:lnTo>
                  <a:lnTo>
                    <a:pt x="1396" y="142"/>
                  </a:lnTo>
                  <a:lnTo>
                    <a:pt x="1397" y="143"/>
                  </a:lnTo>
                  <a:lnTo>
                    <a:pt x="1396" y="143"/>
                  </a:lnTo>
                  <a:lnTo>
                    <a:pt x="1393" y="140"/>
                  </a:lnTo>
                  <a:lnTo>
                    <a:pt x="1391" y="139"/>
                  </a:lnTo>
                  <a:lnTo>
                    <a:pt x="1389" y="139"/>
                  </a:lnTo>
                  <a:lnTo>
                    <a:pt x="1389" y="140"/>
                  </a:lnTo>
                  <a:lnTo>
                    <a:pt x="1389" y="143"/>
                  </a:lnTo>
                  <a:lnTo>
                    <a:pt x="1391" y="143"/>
                  </a:lnTo>
                  <a:lnTo>
                    <a:pt x="1389" y="147"/>
                  </a:lnTo>
                  <a:lnTo>
                    <a:pt x="1388" y="154"/>
                  </a:lnTo>
                  <a:lnTo>
                    <a:pt x="1388" y="156"/>
                  </a:lnTo>
                  <a:lnTo>
                    <a:pt x="1386" y="154"/>
                  </a:lnTo>
                  <a:lnTo>
                    <a:pt x="1386" y="153"/>
                  </a:lnTo>
                  <a:lnTo>
                    <a:pt x="1386" y="150"/>
                  </a:lnTo>
                  <a:lnTo>
                    <a:pt x="1388" y="147"/>
                  </a:lnTo>
                  <a:lnTo>
                    <a:pt x="1386" y="142"/>
                  </a:lnTo>
                  <a:lnTo>
                    <a:pt x="1385" y="140"/>
                  </a:lnTo>
                  <a:lnTo>
                    <a:pt x="1383" y="139"/>
                  </a:lnTo>
                  <a:lnTo>
                    <a:pt x="1382" y="139"/>
                  </a:lnTo>
                  <a:lnTo>
                    <a:pt x="1380" y="140"/>
                  </a:lnTo>
                  <a:lnTo>
                    <a:pt x="1380" y="142"/>
                  </a:lnTo>
                  <a:lnTo>
                    <a:pt x="1382" y="143"/>
                  </a:lnTo>
                  <a:lnTo>
                    <a:pt x="1383" y="145"/>
                  </a:lnTo>
                  <a:lnTo>
                    <a:pt x="1383" y="147"/>
                  </a:lnTo>
                  <a:lnTo>
                    <a:pt x="1382" y="148"/>
                  </a:lnTo>
                  <a:lnTo>
                    <a:pt x="1380" y="150"/>
                  </a:lnTo>
                  <a:lnTo>
                    <a:pt x="1379" y="151"/>
                  </a:lnTo>
                  <a:lnTo>
                    <a:pt x="1377" y="148"/>
                  </a:lnTo>
                  <a:lnTo>
                    <a:pt x="1376" y="147"/>
                  </a:lnTo>
                  <a:lnTo>
                    <a:pt x="1368" y="151"/>
                  </a:lnTo>
                  <a:lnTo>
                    <a:pt x="1368" y="153"/>
                  </a:lnTo>
                  <a:lnTo>
                    <a:pt x="1368" y="154"/>
                  </a:lnTo>
                  <a:lnTo>
                    <a:pt x="1366" y="156"/>
                  </a:lnTo>
                  <a:lnTo>
                    <a:pt x="1366" y="156"/>
                  </a:lnTo>
                  <a:lnTo>
                    <a:pt x="1365" y="156"/>
                  </a:lnTo>
                  <a:lnTo>
                    <a:pt x="1365" y="156"/>
                  </a:lnTo>
                  <a:lnTo>
                    <a:pt x="1365" y="157"/>
                  </a:lnTo>
                  <a:lnTo>
                    <a:pt x="1363" y="159"/>
                  </a:lnTo>
                  <a:lnTo>
                    <a:pt x="1363" y="159"/>
                  </a:lnTo>
                  <a:lnTo>
                    <a:pt x="1363" y="159"/>
                  </a:lnTo>
                  <a:lnTo>
                    <a:pt x="1362" y="159"/>
                  </a:lnTo>
                  <a:lnTo>
                    <a:pt x="1362" y="160"/>
                  </a:lnTo>
                  <a:lnTo>
                    <a:pt x="1359" y="162"/>
                  </a:lnTo>
                  <a:lnTo>
                    <a:pt x="1359" y="162"/>
                  </a:lnTo>
                  <a:lnTo>
                    <a:pt x="1360" y="165"/>
                  </a:lnTo>
                  <a:lnTo>
                    <a:pt x="1360" y="167"/>
                  </a:lnTo>
                  <a:lnTo>
                    <a:pt x="1365" y="168"/>
                  </a:lnTo>
                  <a:lnTo>
                    <a:pt x="1362" y="171"/>
                  </a:lnTo>
                  <a:lnTo>
                    <a:pt x="1359" y="170"/>
                  </a:lnTo>
                  <a:lnTo>
                    <a:pt x="1356" y="171"/>
                  </a:lnTo>
                  <a:lnTo>
                    <a:pt x="1357" y="173"/>
                  </a:lnTo>
                  <a:lnTo>
                    <a:pt x="1362" y="180"/>
                  </a:lnTo>
                  <a:lnTo>
                    <a:pt x="1363" y="182"/>
                  </a:lnTo>
                  <a:lnTo>
                    <a:pt x="1365" y="182"/>
                  </a:lnTo>
                  <a:lnTo>
                    <a:pt x="1365" y="182"/>
                  </a:lnTo>
                  <a:lnTo>
                    <a:pt x="1366" y="182"/>
                  </a:lnTo>
                  <a:lnTo>
                    <a:pt x="1368" y="183"/>
                  </a:lnTo>
                  <a:lnTo>
                    <a:pt x="1369" y="187"/>
                  </a:lnTo>
                  <a:lnTo>
                    <a:pt x="1373" y="182"/>
                  </a:lnTo>
                  <a:lnTo>
                    <a:pt x="1377" y="170"/>
                  </a:lnTo>
                  <a:lnTo>
                    <a:pt x="1377" y="173"/>
                  </a:lnTo>
                  <a:lnTo>
                    <a:pt x="1377" y="176"/>
                  </a:lnTo>
                  <a:lnTo>
                    <a:pt x="1377" y="179"/>
                  </a:lnTo>
                  <a:lnTo>
                    <a:pt x="1376" y="182"/>
                  </a:lnTo>
                  <a:lnTo>
                    <a:pt x="1374" y="188"/>
                  </a:lnTo>
                  <a:lnTo>
                    <a:pt x="1373" y="194"/>
                  </a:lnTo>
                  <a:lnTo>
                    <a:pt x="1374" y="199"/>
                  </a:lnTo>
                  <a:lnTo>
                    <a:pt x="1379" y="200"/>
                  </a:lnTo>
                  <a:lnTo>
                    <a:pt x="1383" y="199"/>
                  </a:lnTo>
                  <a:lnTo>
                    <a:pt x="1396" y="191"/>
                  </a:lnTo>
                  <a:lnTo>
                    <a:pt x="1394" y="190"/>
                  </a:lnTo>
                  <a:lnTo>
                    <a:pt x="1393" y="188"/>
                  </a:lnTo>
                  <a:lnTo>
                    <a:pt x="1391" y="188"/>
                  </a:lnTo>
                  <a:lnTo>
                    <a:pt x="1388" y="188"/>
                  </a:lnTo>
                  <a:lnTo>
                    <a:pt x="1391" y="185"/>
                  </a:lnTo>
                  <a:lnTo>
                    <a:pt x="1397" y="183"/>
                  </a:lnTo>
                  <a:lnTo>
                    <a:pt x="1411" y="170"/>
                  </a:lnTo>
                  <a:lnTo>
                    <a:pt x="1414" y="165"/>
                  </a:lnTo>
                  <a:lnTo>
                    <a:pt x="1416" y="157"/>
                  </a:lnTo>
                  <a:lnTo>
                    <a:pt x="1416" y="157"/>
                  </a:lnTo>
                  <a:lnTo>
                    <a:pt x="1414" y="154"/>
                  </a:lnTo>
                  <a:lnTo>
                    <a:pt x="1414" y="153"/>
                  </a:lnTo>
                  <a:lnTo>
                    <a:pt x="1414" y="153"/>
                  </a:lnTo>
                  <a:lnTo>
                    <a:pt x="1416" y="151"/>
                  </a:lnTo>
                  <a:lnTo>
                    <a:pt x="1416" y="150"/>
                  </a:lnTo>
                  <a:lnTo>
                    <a:pt x="1414" y="148"/>
                  </a:lnTo>
                  <a:lnTo>
                    <a:pt x="1413" y="148"/>
                  </a:lnTo>
                  <a:lnTo>
                    <a:pt x="1411" y="147"/>
                  </a:lnTo>
                  <a:lnTo>
                    <a:pt x="1409" y="143"/>
                  </a:lnTo>
                  <a:lnTo>
                    <a:pt x="1409" y="140"/>
                  </a:lnTo>
                  <a:lnTo>
                    <a:pt x="1411" y="139"/>
                  </a:lnTo>
                  <a:lnTo>
                    <a:pt x="1411" y="136"/>
                  </a:lnTo>
                  <a:lnTo>
                    <a:pt x="1411" y="133"/>
                  </a:lnTo>
                  <a:lnTo>
                    <a:pt x="1409" y="128"/>
                  </a:lnTo>
                  <a:lnTo>
                    <a:pt x="1408" y="127"/>
                  </a:lnTo>
                  <a:lnTo>
                    <a:pt x="1409" y="125"/>
                  </a:lnTo>
                  <a:lnTo>
                    <a:pt x="1408" y="123"/>
                  </a:lnTo>
                  <a:lnTo>
                    <a:pt x="1405" y="127"/>
                  </a:lnTo>
                  <a:lnTo>
                    <a:pt x="1405" y="125"/>
                  </a:lnTo>
                  <a:lnTo>
                    <a:pt x="1403" y="123"/>
                  </a:lnTo>
                  <a:lnTo>
                    <a:pt x="1402" y="122"/>
                  </a:lnTo>
                  <a:lnTo>
                    <a:pt x="1396" y="125"/>
                  </a:lnTo>
                  <a:close/>
                  <a:moveTo>
                    <a:pt x="1419" y="113"/>
                  </a:moveTo>
                  <a:lnTo>
                    <a:pt x="1417" y="116"/>
                  </a:lnTo>
                  <a:lnTo>
                    <a:pt x="1417" y="116"/>
                  </a:lnTo>
                  <a:lnTo>
                    <a:pt x="1416" y="117"/>
                  </a:lnTo>
                  <a:lnTo>
                    <a:pt x="1417" y="120"/>
                  </a:lnTo>
                  <a:lnTo>
                    <a:pt x="1417" y="122"/>
                  </a:lnTo>
                  <a:lnTo>
                    <a:pt x="1417" y="125"/>
                  </a:lnTo>
                  <a:lnTo>
                    <a:pt x="1414" y="128"/>
                  </a:lnTo>
                  <a:lnTo>
                    <a:pt x="1419" y="128"/>
                  </a:lnTo>
                  <a:lnTo>
                    <a:pt x="1419" y="130"/>
                  </a:lnTo>
                  <a:lnTo>
                    <a:pt x="1419" y="131"/>
                  </a:lnTo>
                  <a:lnTo>
                    <a:pt x="1419" y="133"/>
                  </a:lnTo>
                  <a:lnTo>
                    <a:pt x="1419" y="134"/>
                  </a:lnTo>
                  <a:lnTo>
                    <a:pt x="1420" y="137"/>
                  </a:lnTo>
                  <a:lnTo>
                    <a:pt x="1422" y="142"/>
                  </a:lnTo>
                  <a:lnTo>
                    <a:pt x="1423" y="145"/>
                  </a:lnTo>
                  <a:lnTo>
                    <a:pt x="1426" y="148"/>
                  </a:lnTo>
                  <a:lnTo>
                    <a:pt x="1431" y="148"/>
                  </a:lnTo>
                  <a:lnTo>
                    <a:pt x="1436" y="145"/>
                  </a:lnTo>
                  <a:lnTo>
                    <a:pt x="1442" y="136"/>
                  </a:lnTo>
                  <a:lnTo>
                    <a:pt x="1450" y="131"/>
                  </a:lnTo>
                  <a:lnTo>
                    <a:pt x="1451" y="123"/>
                  </a:lnTo>
                  <a:lnTo>
                    <a:pt x="1448" y="120"/>
                  </a:lnTo>
                  <a:lnTo>
                    <a:pt x="1446" y="117"/>
                  </a:lnTo>
                  <a:lnTo>
                    <a:pt x="1446" y="114"/>
                  </a:lnTo>
                  <a:lnTo>
                    <a:pt x="1446" y="113"/>
                  </a:lnTo>
                  <a:lnTo>
                    <a:pt x="1445" y="111"/>
                  </a:lnTo>
                  <a:lnTo>
                    <a:pt x="1445" y="110"/>
                  </a:lnTo>
                  <a:lnTo>
                    <a:pt x="1443" y="108"/>
                  </a:lnTo>
                  <a:lnTo>
                    <a:pt x="1440" y="105"/>
                  </a:lnTo>
                  <a:lnTo>
                    <a:pt x="1439" y="103"/>
                  </a:lnTo>
                  <a:lnTo>
                    <a:pt x="1431" y="103"/>
                  </a:lnTo>
                  <a:lnTo>
                    <a:pt x="1431" y="103"/>
                  </a:lnTo>
                  <a:lnTo>
                    <a:pt x="1430" y="105"/>
                  </a:lnTo>
                  <a:lnTo>
                    <a:pt x="1430" y="105"/>
                  </a:lnTo>
                  <a:lnTo>
                    <a:pt x="1428" y="103"/>
                  </a:lnTo>
                  <a:lnTo>
                    <a:pt x="1428" y="103"/>
                  </a:lnTo>
                  <a:lnTo>
                    <a:pt x="1430" y="103"/>
                  </a:lnTo>
                  <a:lnTo>
                    <a:pt x="1430" y="102"/>
                  </a:lnTo>
                  <a:lnTo>
                    <a:pt x="1430" y="100"/>
                  </a:lnTo>
                  <a:lnTo>
                    <a:pt x="1430" y="100"/>
                  </a:lnTo>
                  <a:lnTo>
                    <a:pt x="1428" y="99"/>
                  </a:lnTo>
                  <a:lnTo>
                    <a:pt x="1430" y="97"/>
                  </a:lnTo>
                  <a:lnTo>
                    <a:pt x="1430" y="96"/>
                  </a:lnTo>
                  <a:lnTo>
                    <a:pt x="1428" y="94"/>
                  </a:lnTo>
                  <a:lnTo>
                    <a:pt x="1420" y="94"/>
                  </a:lnTo>
                  <a:lnTo>
                    <a:pt x="1419" y="96"/>
                  </a:lnTo>
                  <a:lnTo>
                    <a:pt x="1417" y="100"/>
                  </a:lnTo>
                  <a:lnTo>
                    <a:pt x="1416" y="103"/>
                  </a:lnTo>
                  <a:lnTo>
                    <a:pt x="1414" y="105"/>
                  </a:lnTo>
                  <a:lnTo>
                    <a:pt x="1414" y="108"/>
                  </a:lnTo>
                  <a:lnTo>
                    <a:pt x="1414" y="110"/>
                  </a:lnTo>
                  <a:lnTo>
                    <a:pt x="1419" y="113"/>
                  </a:lnTo>
                  <a:close/>
                  <a:moveTo>
                    <a:pt x="1292" y="120"/>
                  </a:moveTo>
                  <a:lnTo>
                    <a:pt x="1299" y="120"/>
                  </a:lnTo>
                  <a:lnTo>
                    <a:pt x="1297" y="123"/>
                  </a:lnTo>
                  <a:lnTo>
                    <a:pt x="1294" y="125"/>
                  </a:lnTo>
                  <a:lnTo>
                    <a:pt x="1294" y="128"/>
                  </a:lnTo>
                  <a:lnTo>
                    <a:pt x="1296" y="130"/>
                  </a:lnTo>
                  <a:lnTo>
                    <a:pt x="1297" y="130"/>
                  </a:lnTo>
                  <a:lnTo>
                    <a:pt x="1299" y="130"/>
                  </a:lnTo>
                  <a:lnTo>
                    <a:pt x="1299" y="128"/>
                  </a:lnTo>
                  <a:lnTo>
                    <a:pt x="1300" y="127"/>
                  </a:lnTo>
                  <a:lnTo>
                    <a:pt x="1317" y="125"/>
                  </a:lnTo>
                  <a:lnTo>
                    <a:pt x="1316" y="128"/>
                  </a:lnTo>
                  <a:lnTo>
                    <a:pt x="1309" y="133"/>
                  </a:lnTo>
                  <a:lnTo>
                    <a:pt x="1311" y="134"/>
                  </a:lnTo>
                  <a:lnTo>
                    <a:pt x="1312" y="134"/>
                  </a:lnTo>
                  <a:lnTo>
                    <a:pt x="1311" y="137"/>
                  </a:lnTo>
                  <a:lnTo>
                    <a:pt x="1308" y="140"/>
                  </a:lnTo>
                  <a:lnTo>
                    <a:pt x="1306" y="143"/>
                  </a:lnTo>
                  <a:lnTo>
                    <a:pt x="1305" y="148"/>
                  </a:lnTo>
                  <a:lnTo>
                    <a:pt x="1303" y="151"/>
                  </a:lnTo>
                  <a:lnTo>
                    <a:pt x="1303" y="154"/>
                  </a:lnTo>
                  <a:lnTo>
                    <a:pt x="1305" y="157"/>
                  </a:lnTo>
                  <a:lnTo>
                    <a:pt x="1306" y="157"/>
                  </a:lnTo>
                  <a:lnTo>
                    <a:pt x="1309" y="154"/>
                  </a:lnTo>
                  <a:lnTo>
                    <a:pt x="1311" y="153"/>
                  </a:lnTo>
                  <a:lnTo>
                    <a:pt x="1312" y="143"/>
                  </a:lnTo>
                  <a:lnTo>
                    <a:pt x="1314" y="142"/>
                  </a:lnTo>
                  <a:lnTo>
                    <a:pt x="1316" y="143"/>
                  </a:lnTo>
                  <a:lnTo>
                    <a:pt x="1314" y="148"/>
                  </a:lnTo>
                  <a:lnTo>
                    <a:pt x="1316" y="150"/>
                  </a:lnTo>
                  <a:lnTo>
                    <a:pt x="1319" y="151"/>
                  </a:lnTo>
                  <a:lnTo>
                    <a:pt x="1320" y="150"/>
                  </a:lnTo>
                  <a:lnTo>
                    <a:pt x="1322" y="148"/>
                  </a:lnTo>
                  <a:lnTo>
                    <a:pt x="1323" y="148"/>
                  </a:lnTo>
                  <a:lnTo>
                    <a:pt x="1323" y="148"/>
                  </a:lnTo>
                  <a:lnTo>
                    <a:pt x="1325" y="150"/>
                  </a:lnTo>
                  <a:lnTo>
                    <a:pt x="1326" y="151"/>
                  </a:lnTo>
                  <a:lnTo>
                    <a:pt x="1328" y="151"/>
                  </a:lnTo>
                  <a:lnTo>
                    <a:pt x="1328" y="150"/>
                  </a:lnTo>
                  <a:lnTo>
                    <a:pt x="1329" y="143"/>
                  </a:lnTo>
                  <a:lnTo>
                    <a:pt x="1331" y="145"/>
                  </a:lnTo>
                  <a:lnTo>
                    <a:pt x="1334" y="150"/>
                  </a:lnTo>
                  <a:lnTo>
                    <a:pt x="1336" y="150"/>
                  </a:lnTo>
                  <a:lnTo>
                    <a:pt x="1336" y="148"/>
                  </a:lnTo>
                  <a:lnTo>
                    <a:pt x="1336" y="147"/>
                  </a:lnTo>
                  <a:lnTo>
                    <a:pt x="1337" y="143"/>
                  </a:lnTo>
                  <a:lnTo>
                    <a:pt x="1337" y="143"/>
                  </a:lnTo>
                  <a:lnTo>
                    <a:pt x="1337" y="145"/>
                  </a:lnTo>
                  <a:lnTo>
                    <a:pt x="1339" y="145"/>
                  </a:lnTo>
                  <a:lnTo>
                    <a:pt x="1339" y="145"/>
                  </a:lnTo>
                  <a:lnTo>
                    <a:pt x="1340" y="145"/>
                  </a:lnTo>
                  <a:lnTo>
                    <a:pt x="1340" y="143"/>
                  </a:lnTo>
                  <a:lnTo>
                    <a:pt x="1339" y="140"/>
                  </a:lnTo>
                  <a:lnTo>
                    <a:pt x="1340" y="139"/>
                  </a:lnTo>
                  <a:lnTo>
                    <a:pt x="1340" y="136"/>
                  </a:lnTo>
                  <a:lnTo>
                    <a:pt x="1343" y="136"/>
                  </a:lnTo>
                  <a:lnTo>
                    <a:pt x="1351" y="139"/>
                  </a:lnTo>
                  <a:lnTo>
                    <a:pt x="1349" y="142"/>
                  </a:lnTo>
                  <a:lnTo>
                    <a:pt x="1349" y="143"/>
                  </a:lnTo>
                  <a:lnTo>
                    <a:pt x="1349" y="145"/>
                  </a:lnTo>
                  <a:lnTo>
                    <a:pt x="1351" y="145"/>
                  </a:lnTo>
                  <a:lnTo>
                    <a:pt x="1353" y="145"/>
                  </a:lnTo>
                  <a:lnTo>
                    <a:pt x="1354" y="140"/>
                  </a:lnTo>
                  <a:lnTo>
                    <a:pt x="1354" y="139"/>
                  </a:lnTo>
                  <a:lnTo>
                    <a:pt x="1356" y="139"/>
                  </a:lnTo>
                  <a:lnTo>
                    <a:pt x="1357" y="142"/>
                  </a:lnTo>
                  <a:lnTo>
                    <a:pt x="1359" y="142"/>
                  </a:lnTo>
                  <a:lnTo>
                    <a:pt x="1360" y="142"/>
                  </a:lnTo>
                  <a:lnTo>
                    <a:pt x="1360" y="140"/>
                  </a:lnTo>
                  <a:lnTo>
                    <a:pt x="1362" y="139"/>
                  </a:lnTo>
                  <a:lnTo>
                    <a:pt x="1362" y="137"/>
                  </a:lnTo>
                  <a:lnTo>
                    <a:pt x="1359" y="134"/>
                  </a:lnTo>
                  <a:lnTo>
                    <a:pt x="1359" y="133"/>
                  </a:lnTo>
                  <a:lnTo>
                    <a:pt x="1360" y="133"/>
                  </a:lnTo>
                  <a:lnTo>
                    <a:pt x="1363" y="136"/>
                  </a:lnTo>
                  <a:lnTo>
                    <a:pt x="1365" y="136"/>
                  </a:lnTo>
                  <a:lnTo>
                    <a:pt x="1366" y="134"/>
                  </a:lnTo>
                  <a:lnTo>
                    <a:pt x="1368" y="131"/>
                  </a:lnTo>
                  <a:lnTo>
                    <a:pt x="1368" y="130"/>
                  </a:lnTo>
                  <a:lnTo>
                    <a:pt x="1366" y="128"/>
                  </a:lnTo>
                  <a:lnTo>
                    <a:pt x="1368" y="128"/>
                  </a:lnTo>
                  <a:lnTo>
                    <a:pt x="1371" y="130"/>
                  </a:lnTo>
                  <a:lnTo>
                    <a:pt x="1374" y="131"/>
                  </a:lnTo>
                  <a:lnTo>
                    <a:pt x="1376" y="125"/>
                  </a:lnTo>
                  <a:lnTo>
                    <a:pt x="1371" y="122"/>
                  </a:lnTo>
                  <a:lnTo>
                    <a:pt x="1373" y="122"/>
                  </a:lnTo>
                  <a:lnTo>
                    <a:pt x="1376" y="123"/>
                  </a:lnTo>
                  <a:lnTo>
                    <a:pt x="1377" y="122"/>
                  </a:lnTo>
                  <a:lnTo>
                    <a:pt x="1379" y="120"/>
                  </a:lnTo>
                  <a:lnTo>
                    <a:pt x="1380" y="117"/>
                  </a:lnTo>
                  <a:lnTo>
                    <a:pt x="1380" y="116"/>
                  </a:lnTo>
                  <a:lnTo>
                    <a:pt x="1379" y="116"/>
                  </a:lnTo>
                  <a:lnTo>
                    <a:pt x="1377" y="116"/>
                  </a:lnTo>
                  <a:lnTo>
                    <a:pt x="1377" y="113"/>
                  </a:lnTo>
                  <a:lnTo>
                    <a:pt x="1377" y="113"/>
                  </a:lnTo>
                  <a:lnTo>
                    <a:pt x="1379" y="111"/>
                  </a:lnTo>
                  <a:lnTo>
                    <a:pt x="1379" y="111"/>
                  </a:lnTo>
                  <a:lnTo>
                    <a:pt x="1379" y="106"/>
                  </a:lnTo>
                  <a:lnTo>
                    <a:pt x="1379" y="106"/>
                  </a:lnTo>
                  <a:lnTo>
                    <a:pt x="1380" y="108"/>
                  </a:lnTo>
                  <a:lnTo>
                    <a:pt x="1388" y="110"/>
                  </a:lnTo>
                  <a:lnTo>
                    <a:pt x="1386" y="110"/>
                  </a:lnTo>
                  <a:lnTo>
                    <a:pt x="1386" y="106"/>
                  </a:lnTo>
                  <a:lnTo>
                    <a:pt x="1388" y="105"/>
                  </a:lnTo>
                  <a:lnTo>
                    <a:pt x="1389" y="103"/>
                  </a:lnTo>
                  <a:lnTo>
                    <a:pt x="1389" y="103"/>
                  </a:lnTo>
                  <a:lnTo>
                    <a:pt x="1391" y="103"/>
                  </a:lnTo>
                  <a:lnTo>
                    <a:pt x="1391" y="103"/>
                  </a:lnTo>
                  <a:lnTo>
                    <a:pt x="1391" y="102"/>
                  </a:lnTo>
                  <a:lnTo>
                    <a:pt x="1391" y="96"/>
                  </a:lnTo>
                  <a:lnTo>
                    <a:pt x="1391" y="94"/>
                  </a:lnTo>
                  <a:lnTo>
                    <a:pt x="1393" y="94"/>
                  </a:lnTo>
                  <a:lnTo>
                    <a:pt x="1396" y="96"/>
                  </a:lnTo>
                  <a:lnTo>
                    <a:pt x="1397" y="96"/>
                  </a:lnTo>
                  <a:lnTo>
                    <a:pt x="1397" y="96"/>
                  </a:lnTo>
                  <a:lnTo>
                    <a:pt x="1397" y="93"/>
                  </a:lnTo>
                  <a:lnTo>
                    <a:pt x="1397" y="91"/>
                  </a:lnTo>
                  <a:lnTo>
                    <a:pt x="1399" y="91"/>
                  </a:lnTo>
                  <a:lnTo>
                    <a:pt x="1400" y="91"/>
                  </a:lnTo>
                  <a:lnTo>
                    <a:pt x="1400" y="90"/>
                  </a:lnTo>
                  <a:lnTo>
                    <a:pt x="1399" y="90"/>
                  </a:lnTo>
                  <a:lnTo>
                    <a:pt x="1397" y="88"/>
                  </a:lnTo>
                  <a:lnTo>
                    <a:pt x="1396" y="86"/>
                  </a:lnTo>
                  <a:lnTo>
                    <a:pt x="1397" y="85"/>
                  </a:lnTo>
                  <a:lnTo>
                    <a:pt x="1402" y="85"/>
                  </a:lnTo>
                  <a:lnTo>
                    <a:pt x="1403" y="83"/>
                  </a:lnTo>
                  <a:lnTo>
                    <a:pt x="1402" y="83"/>
                  </a:lnTo>
                  <a:lnTo>
                    <a:pt x="1400" y="82"/>
                  </a:lnTo>
                  <a:lnTo>
                    <a:pt x="1400" y="80"/>
                  </a:lnTo>
                  <a:lnTo>
                    <a:pt x="1400" y="77"/>
                  </a:lnTo>
                  <a:lnTo>
                    <a:pt x="1399" y="77"/>
                  </a:lnTo>
                  <a:lnTo>
                    <a:pt x="1397" y="74"/>
                  </a:lnTo>
                  <a:lnTo>
                    <a:pt x="1396" y="73"/>
                  </a:lnTo>
                  <a:lnTo>
                    <a:pt x="1394" y="70"/>
                  </a:lnTo>
                  <a:lnTo>
                    <a:pt x="1394" y="68"/>
                  </a:lnTo>
                  <a:lnTo>
                    <a:pt x="1393" y="68"/>
                  </a:lnTo>
                  <a:lnTo>
                    <a:pt x="1391" y="68"/>
                  </a:lnTo>
                  <a:lnTo>
                    <a:pt x="1391" y="70"/>
                  </a:lnTo>
                  <a:lnTo>
                    <a:pt x="1391" y="71"/>
                  </a:lnTo>
                  <a:lnTo>
                    <a:pt x="1391" y="74"/>
                  </a:lnTo>
                  <a:lnTo>
                    <a:pt x="1391" y="77"/>
                  </a:lnTo>
                  <a:lnTo>
                    <a:pt x="1391" y="79"/>
                  </a:lnTo>
                  <a:lnTo>
                    <a:pt x="1393" y="83"/>
                  </a:lnTo>
                  <a:lnTo>
                    <a:pt x="1393" y="86"/>
                  </a:lnTo>
                  <a:lnTo>
                    <a:pt x="1391" y="88"/>
                  </a:lnTo>
                  <a:lnTo>
                    <a:pt x="1388" y="88"/>
                  </a:lnTo>
                  <a:lnTo>
                    <a:pt x="1388" y="88"/>
                  </a:lnTo>
                  <a:lnTo>
                    <a:pt x="1385" y="86"/>
                  </a:lnTo>
                  <a:lnTo>
                    <a:pt x="1382" y="80"/>
                  </a:lnTo>
                  <a:lnTo>
                    <a:pt x="1379" y="77"/>
                  </a:lnTo>
                  <a:lnTo>
                    <a:pt x="1379" y="79"/>
                  </a:lnTo>
                  <a:lnTo>
                    <a:pt x="1380" y="80"/>
                  </a:lnTo>
                  <a:lnTo>
                    <a:pt x="1380" y="83"/>
                  </a:lnTo>
                  <a:lnTo>
                    <a:pt x="1380" y="85"/>
                  </a:lnTo>
                  <a:lnTo>
                    <a:pt x="1379" y="85"/>
                  </a:lnTo>
                  <a:lnTo>
                    <a:pt x="1377" y="85"/>
                  </a:lnTo>
                  <a:lnTo>
                    <a:pt x="1374" y="80"/>
                  </a:lnTo>
                  <a:lnTo>
                    <a:pt x="1373" y="80"/>
                  </a:lnTo>
                  <a:lnTo>
                    <a:pt x="1373" y="82"/>
                  </a:lnTo>
                  <a:lnTo>
                    <a:pt x="1373" y="83"/>
                  </a:lnTo>
                  <a:lnTo>
                    <a:pt x="1374" y="83"/>
                  </a:lnTo>
                  <a:lnTo>
                    <a:pt x="1374" y="83"/>
                  </a:lnTo>
                  <a:lnTo>
                    <a:pt x="1371" y="83"/>
                  </a:lnTo>
                  <a:lnTo>
                    <a:pt x="1369" y="85"/>
                  </a:lnTo>
                  <a:lnTo>
                    <a:pt x="1371" y="90"/>
                  </a:lnTo>
                  <a:lnTo>
                    <a:pt x="1373" y="91"/>
                  </a:lnTo>
                  <a:lnTo>
                    <a:pt x="1377" y="93"/>
                  </a:lnTo>
                  <a:lnTo>
                    <a:pt x="1377" y="94"/>
                  </a:lnTo>
                  <a:lnTo>
                    <a:pt x="1377" y="94"/>
                  </a:lnTo>
                  <a:lnTo>
                    <a:pt x="1377" y="96"/>
                  </a:lnTo>
                  <a:lnTo>
                    <a:pt x="1377" y="96"/>
                  </a:lnTo>
                  <a:lnTo>
                    <a:pt x="1379" y="96"/>
                  </a:lnTo>
                  <a:lnTo>
                    <a:pt x="1380" y="97"/>
                  </a:lnTo>
                  <a:lnTo>
                    <a:pt x="1380" y="97"/>
                  </a:lnTo>
                  <a:lnTo>
                    <a:pt x="1379" y="99"/>
                  </a:lnTo>
                  <a:lnTo>
                    <a:pt x="1374" y="97"/>
                  </a:lnTo>
                  <a:lnTo>
                    <a:pt x="1374" y="99"/>
                  </a:lnTo>
                  <a:lnTo>
                    <a:pt x="1374" y="100"/>
                  </a:lnTo>
                  <a:lnTo>
                    <a:pt x="1376" y="102"/>
                  </a:lnTo>
                  <a:lnTo>
                    <a:pt x="1376" y="103"/>
                  </a:lnTo>
                  <a:lnTo>
                    <a:pt x="1374" y="103"/>
                  </a:lnTo>
                  <a:lnTo>
                    <a:pt x="1371" y="100"/>
                  </a:lnTo>
                  <a:lnTo>
                    <a:pt x="1369" y="100"/>
                  </a:lnTo>
                  <a:lnTo>
                    <a:pt x="1369" y="105"/>
                  </a:lnTo>
                  <a:lnTo>
                    <a:pt x="1368" y="108"/>
                  </a:lnTo>
                  <a:lnTo>
                    <a:pt x="1366" y="108"/>
                  </a:lnTo>
                  <a:lnTo>
                    <a:pt x="1365" y="110"/>
                  </a:lnTo>
                  <a:lnTo>
                    <a:pt x="1366" y="113"/>
                  </a:lnTo>
                  <a:lnTo>
                    <a:pt x="1365" y="114"/>
                  </a:lnTo>
                  <a:lnTo>
                    <a:pt x="1363" y="113"/>
                  </a:lnTo>
                  <a:lnTo>
                    <a:pt x="1360" y="110"/>
                  </a:lnTo>
                  <a:lnTo>
                    <a:pt x="1359" y="106"/>
                  </a:lnTo>
                  <a:lnTo>
                    <a:pt x="1362" y="103"/>
                  </a:lnTo>
                  <a:lnTo>
                    <a:pt x="1362" y="102"/>
                  </a:lnTo>
                  <a:lnTo>
                    <a:pt x="1362" y="100"/>
                  </a:lnTo>
                  <a:lnTo>
                    <a:pt x="1360" y="99"/>
                  </a:lnTo>
                  <a:lnTo>
                    <a:pt x="1357" y="100"/>
                  </a:lnTo>
                  <a:lnTo>
                    <a:pt x="1356" y="100"/>
                  </a:lnTo>
                  <a:lnTo>
                    <a:pt x="1356" y="99"/>
                  </a:lnTo>
                  <a:lnTo>
                    <a:pt x="1357" y="99"/>
                  </a:lnTo>
                  <a:lnTo>
                    <a:pt x="1356" y="96"/>
                  </a:lnTo>
                  <a:lnTo>
                    <a:pt x="1353" y="96"/>
                  </a:lnTo>
                  <a:lnTo>
                    <a:pt x="1351" y="94"/>
                  </a:lnTo>
                  <a:lnTo>
                    <a:pt x="1353" y="94"/>
                  </a:lnTo>
                  <a:lnTo>
                    <a:pt x="1353" y="91"/>
                  </a:lnTo>
                  <a:lnTo>
                    <a:pt x="1348" y="94"/>
                  </a:lnTo>
                  <a:lnTo>
                    <a:pt x="1346" y="94"/>
                  </a:lnTo>
                  <a:lnTo>
                    <a:pt x="1346" y="96"/>
                  </a:lnTo>
                  <a:lnTo>
                    <a:pt x="1346" y="97"/>
                  </a:lnTo>
                  <a:lnTo>
                    <a:pt x="1346" y="99"/>
                  </a:lnTo>
                  <a:lnTo>
                    <a:pt x="1348" y="103"/>
                  </a:lnTo>
                  <a:lnTo>
                    <a:pt x="1351" y="105"/>
                  </a:lnTo>
                  <a:lnTo>
                    <a:pt x="1351" y="106"/>
                  </a:lnTo>
                  <a:lnTo>
                    <a:pt x="1351" y="111"/>
                  </a:lnTo>
                  <a:lnTo>
                    <a:pt x="1353" y="114"/>
                  </a:lnTo>
                  <a:lnTo>
                    <a:pt x="1354" y="117"/>
                  </a:lnTo>
                  <a:lnTo>
                    <a:pt x="1349" y="117"/>
                  </a:lnTo>
                  <a:lnTo>
                    <a:pt x="1348" y="117"/>
                  </a:lnTo>
                  <a:lnTo>
                    <a:pt x="1348" y="120"/>
                  </a:lnTo>
                  <a:lnTo>
                    <a:pt x="1348" y="123"/>
                  </a:lnTo>
                  <a:lnTo>
                    <a:pt x="1346" y="127"/>
                  </a:lnTo>
                  <a:lnTo>
                    <a:pt x="1346" y="128"/>
                  </a:lnTo>
                  <a:lnTo>
                    <a:pt x="1346" y="127"/>
                  </a:lnTo>
                  <a:lnTo>
                    <a:pt x="1345" y="123"/>
                  </a:lnTo>
                  <a:lnTo>
                    <a:pt x="1345" y="120"/>
                  </a:lnTo>
                  <a:lnTo>
                    <a:pt x="1345" y="117"/>
                  </a:lnTo>
                  <a:lnTo>
                    <a:pt x="1343" y="114"/>
                  </a:lnTo>
                  <a:lnTo>
                    <a:pt x="1342" y="116"/>
                  </a:lnTo>
                  <a:lnTo>
                    <a:pt x="1342" y="117"/>
                  </a:lnTo>
                  <a:lnTo>
                    <a:pt x="1340" y="120"/>
                  </a:lnTo>
                  <a:lnTo>
                    <a:pt x="1337" y="119"/>
                  </a:lnTo>
                  <a:lnTo>
                    <a:pt x="1337" y="116"/>
                  </a:lnTo>
                  <a:lnTo>
                    <a:pt x="1337" y="114"/>
                  </a:lnTo>
                  <a:lnTo>
                    <a:pt x="1340" y="113"/>
                  </a:lnTo>
                  <a:lnTo>
                    <a:pt x="1342" y="110"/>
                  </a:lnTo>
                  <a:lnTo>
                    <a:pt x="1342" y="108"/>
                  </a:lnTo>
                  <a:lnTo>
                    <a:pt x="1334" y="103"/>
                  </a:lnTo>
                  <a:lnTo>
                    <a:pt x="1332" y="102"/>
                  </a:lnTo>
                  <a:lnTo>
                    <a:pt x="1331" y="102"/>
                  </a:lnTo>
                  <a:lnTo>
                    <a:pt x="1329" y="103"/>
                  </a:lnTo>
                  <a:lnTo>
                    <a:pt x="1329" y="106"/>
                  </a:lnTo>
                  <a:lnTo>
                    <a:pt x="1329" y="108"/>
                  </a:lnTo>
                  <a:lnTo>
                    <a:pt x="1331" y="110"/>
                  </a:lnTo>
                  <a:lnTo>
                    <a:pt x="1329" y="111"/>
                  </a:lnTo>
                  <a:lnTo>
                    <a:pt x="1328" y="111"/>
                  </a:lnTo>
                  <a:lnTo>
                    <a:pt x="1326" y="110"/>
                  </a:lnTo>
                  <a:lnTo>
                    <a:pt x="1325" y="108"/>
                  </a:lnTo>
                  <a:lnTo>
                    <a:pt x="1323" y="105"/>
                  </a:lnTo>
                  <a:lnTo>
                    <a:pt x="1323" y="103"/>
                  </a:lnTo>
                  <a:lnTo>
                    <a:pt x="1323" y="103"/>
                  </a:lnTo>
                  <a:lnTo>
                    <a:pt x="1322" y="103"/>
                  </a:lnTo>
                  <a:lnTo>
                    <a:pt x="1320" y="106"/>
                  </a:lnTo>
                  <a:lnTo>
                    <a:pt x="1322" y="111"/>
                  </a:lnTo>
                  <a:lnTo>
                    <a:pt x="1322" y="117"/>
                  </a:lnTo>
                  <a:lnTo>
                    <a:pt x="1323" y="120"/>
                  </a:lnTo>
                  <a:lnTo>
                    <a:pt x="1323" y="122"/>
                  </a:lnTo>
                  <a:lnTo>
                    <a:pt x="1317" y="114"/>
                  </a:lnTo>
                  <a:lnTo>
                    <a:pt x="1312" y="111"/>
                  </a:lnTo>
                  <a:lnTo>
                    <a:pt x="1309" y="111"/>
                  </a:lnTo>
                  <a:lnTo>
                    <a:pt x="1311" y="113"/>
                  </a:lnTo>
                  <a:lnTo>
                    <a:pt x="1311" y="114"/>
                  </a:lnTo>
                  <a:lnTo>
                    <a:pt x="1311" y="117"/>
                  </a:lnTo>
                  <a:lnTo>
                    <a:pt x="1311" y="119"/>
                  </a:lnTo>
                  <a:lnTo>
                    <a:pt x="1309" y="120"/>
                  </a:lnTo>
                  <a:lnTo>
                    <a:pt x="1306" y="120"/>
                  </a:lnTo>
                  <a:lnTo>
                    <a:pt x="1296" y="114"/>
                  </a:lnTo>
                  <a:lnTo>
                    <a:pt x="1291" y="114"/>
                  </a:lnTo>
                  <a:lnTo>
                    <a:pt x="1289" y="117"/>
                  </a:lnTo>
                  <a:lnTo>
                    <a:pt x="1291" y="120"/>
                  </a:lnTo>
                  <a:lnTo>
                    <a:pt x="1292" y="120"/>
                  </a:lnTo>
                  <a:close/>
                  <a:moveTo>
                    <a:pt x="1437" y="43"/>
                  </a:moveTo>
                  <a:lnTo>
                    <a:pt x="1442" y="42"/>
                  </a:lnTo>
                  <a:lnTo>
                    <a:pt x="1445" y="43"/>
                  </a:lnTo>
                  <a:lnTo>
                    <a:pt x="1442" y="45"/>
                  </a:lnTo>
                  <a:lnTo>
                    <a:pt x="1437" y="46"/>
                  </a:lnTo>
                  <a:lnTo>
                    <a:pt x="1434" y="48"/>
                  </a:lnTo>
                  <a:lnTo>
                    <a:pt x="1440" y="51"/>
                  </a:lnTo>
                  <a:lnTo>
                    <a:pt x="1442" y="54"/>
                  </a:lnTo>
                  <a:lnTo>
                    <a:pt x="1442" y="56"/>
                  </a:lnTo>
                  <a:lnTo>
                    <a:pt x="1443" y="57"/>
                  </a:lnTo>
                  <a:lnTo>
                    <a:pt x="1445" y="57"/>
                  </a:lnTo>
                  <a:lnTo>
                    <a:pt x="1448" y="57"/>
                  </a:lnTo>
                  <a:lnTo>
                    <a:pt x="1448" y="56"/>
                  </a:lnTo>
                  <a:lnTo>
                    <a:pt x="1448" y="54"/>
                  </a:lnTo>
                  <a:lnTo>
                    <a:pt x="1450" y="53"/>
                  </a:lnTo>
                  <a:lnTo>
                    <a:pt x="1451" y="53"/>
                  </a:lnTo>
                  <a:lnTo>
                    <a:pt x="1453" y="54"/>
                  </a:lnTo>
                  <a:lnTo>
                    <a:pt x="1453" y="54"/>
                  </a:lnTo>
                  <a:lnTo>
                    <a:pt x="1454" y="53"/>
                  </a:lnTo>
                  <a:lnTo>
                    <a:pt x="1454" y="51"/>
                  </a:lnTo>
                  <a:lnTo>
                    <a:pt x="1456" y="51"/>
                  </a:lnTo>
                  <a:lnTo>
                    <a:pt x="1456" y="51"/>
                  </a:lnTo>
                  <a:lnTo>
                    <a:pt x="1457" y="50"/>
                  </a:lnTo>
                  <a:lnTo>
                    <a:pt x="1457" y="48"/>
                  </a:lnTo>
                  <a:lnTo>
                    <a:pt x="1460" y="48"/>
                  </a:lnTo>
                  <a:lnTo>
                    <a:pt x="1457" y="45"/>
                  </a:lnTo>
                  <a:lnTo>
                    <a:pt x="1446" y="46"/>
                  </a:lnTo>
                  <a:lnTo>
                    <a:pt x="1448" y="45"/>
                  </a:lnTo>
                  <a:lnTo>
                    <a:pt x="1448" y="43"/>
                  </a:lnTo>
                  <a:lnTo>
                    <a:pt x="1448" y="43"/>
                  </a:lnTo>
                  <a:lnTo>
                    <a:pt x="1448" y="42"/>
                  </a:lnTo>
                  <a:lnTo>
                    <a:pt x="1446" y="42"/>
                  </a:lnTo>
                  <a:lnTo>
                    <a:pt x="1450" y="39"/>
                  </a:lnTo>
                  <a:lnTo>
                    <a:pt x="1456" y="40"/>
                  </a:lnTo>
                  <a:lnTo>
                    <a:pt x="1459" y="39"/>
                  </a:lnTo>
                  <a:lnTo>
                    <a:pt x="1456" y="37"/>
                  </a:lnTo>
                  <a:lnTo>
                    <a:pt x="1450" y="37"/>
                  </a:lnTo>
                  <a:lnTo>
                    <a:pt x="1446" y="36"/>
                  </a:lnTo>
                  <a:lnTo>
                    <a:pt x="1448" y="34"/>
                  </a:lnTo>
                  <a:lnTo>
                    <a:pt x="1448" y="33"/>
                  </a:lnTo>
                  <a:lnTo>
                    <a:pt x="1439" y="31"/>
                  </a:lnTo>
                  <a:lnTo>
                    <a:pt x="1436" y="34"/>
                  </a:lnTo>
                  <a:lnTo>
                    <a:pt x="1436" y="34"/>
                  </a:lnTo>
                  <a:lnTo>
                    <a:pt x="1437" y="36"/>
                  </a:lnTo>
                  <a:lnTo>
                    <a:pt x="1437" y="37"/>
                  </a:lnTo>
                  <a:lnTo>
                    <a:pt x="1434" y="37"/>
                  </a:lnTo>
                  <a:lnTo>
                    <a:pt x="1433" y="39"/>
                  </a:lnTo>
                  <a:lnTo>
                    <a:pt x="1434" y="42"/>
                  </a:lnTo>
                  <a:lnTo>
                    <a:pt x="1437" y="43"/>
                  </a:lnTo>
                  <a:close/>
                  <a:moveTo>
                    <a:pt x="1491" y="28"/>
                  </a:moveTo>
                  <a:lnTo>
                    <a:pt x="1493" y="29"/>
                  </a:lnTo>
                  <a:lnTo>
                    <a:pt x="1494" y="31"/>
                  </a:lnTo>
                  <a:lnTo>
                    <a:pt x="1496" y="31"/>
                  </a:lnTo>
                  <a:lnTo>
                    <a:pt x="1497" y="33"/>
                  </a:lnTo>
                  <a:lnTo>
                    <a:pt x="1499" y="31"/>
                  </a:lnTo>
                  <a:lnTo>
                    <a:pt x="1500" y="26"/>
                  </a:lnTo>
                  <a:lnTo>
                    <a:pt x="1500" y="25"/>
                  </a:lnTo>
                  <a:lnTo>
                    <a:pt x="1499" y="25"/>
                  </a:lnTo>
                  <a:lnTo>
                    <a:pt x="1500" y="22"/>
                  </a:lnTo>
                  <a:lnTo>
                    <a:pt x="1502" y="20"/>
                  </a:lnTo>
                  <a:lnTo>
                    <a:pt x="1503" y="20"/>
                  </a:lnTo>
                  <a:lnTo>
                    <a:pt x="1502" y="19"/>
                  </a:lnTo>
                  <a:lnTo>
                    <a:pt x="1502" y="19"/>
                  </a:lnTo>
                  <a:lnTo>
                    <a:pt x="1503" y="16"/>
                  </a:lnTo>
                  <a:lnTo>
                    <a:pt x="1503" y="16"/>
                  </a:lnTo>
                  <a:lnTo>
                    <a:pt x="1502" y="16"/>
                  </a:lnTo>
                  <a:lnTo>
                    <a:pt x="1502" y="16"/>
                  </a:lnTo>
                  <a:lnTo>
                    <a:pt x="1500" y="17"/>
                  </a:lnTo>
                  <a:lnTo>
                    <a:pt x="1499" y="16"/>
                  </a:lnTo>
                  <a:lnTo>
                    <a:pt x="1499" y="16"/>
                  </a:lnTo>
                  <a:lnTo>
                    <a:pt x="1499" y="16"/>
                  </a:lnTo>
                  <a:lnTo>
                    <a:pt x="1499" y="14"/>
                  </a:lnTo>
                  <a:lnTo>
                    <a:pt x="1497" y="13"/>
                  </a:lnTo>
                  <a:lnTo>
                    <a:pt x="1494" y="13"/>
                  </a:lnTo>
                  <a:lnTo>
                    <a:pt x="1494" y="16"/>
                  </a:lnTo>
                  <a:lnTo>
                    <a:pt x="1496" y="19"/>
                  </a:lnTo>
                  <a:lnTo>
                    <a:pt x="1496" y="20"/>
                  </a:lnTo>
                  <a:lnTo>
                    <a:pt x="1496" y="22"/>
                  </a:lnTo>
                  <a:lnTo>
                    <a:pt x="1496" y="22"/>
                  </a:lnTo>
                  <a:lnTo>
                    <a:pt x="1494" y="22"/>
                  </a:lnTo>
                  <a:lnTo>
                    <a:pt x="1494" y="22"/>
                  </a:lnTo>
                  <a:lnTo>
                    <a:pt x="1494" y="20"/>
                  </a:lnTo>
                  <a:lnTo>
                    <a:pt x="1493" y="19"/>
                  </a:lnTo>
                  <a:lnTo>
                    <a:pt x="1491" y="17"/>
                  </a:lnTo>
                  <a:lnTo>
                    <a:pt x="1490" y="19"/>
                  </a:lnTo>
                  <a:lnTo>
                    <a:pt x="1488" y="22"/>
                  </a:lnTo>
                  <a:lnTo>
                    <a:pt x="1487" y="25"/>
                  </a:lnTo>
                  <a:lnTo>
                    <a:pt x="1488" y="26"/>
                  </a:lnTo>
                  <a:lnTo>
                    <a:pt x="1491" y="28"/>
                  </a:lnTo>
                  <a:close/>
                  <a:moveTo>
                    <a:pt x="1967" y="194"/>
                  </a:moveTo>
                  <a:lnTo>
                    <a:pt x="1967" y="193"/>
                  </a:lnTo>
                  <a:lnTo>
                    <a:pt x="1966" y="191"/>
                  </a:lnTo>
                  <a:lnTo>
                    <a:pt x="1964" y="190"/>
                  </a:lnTo>
                  <a:lnTo>
                    <a:pt x="1964" y="187"/>
                  </a:lnTo>
                  <a:lnTo>
                    <a:pt x="1966" y="183"/>
                  </a:lnTo>
                  <a:lnTo>
                    <a:pt x="1966" y="182"/>
                  </a:lnTo>
                  <a:lnTo>
                    <a:pt x="1967" y="180"/>
                  </a:lnTo>
                  <a:lnTo>
                    <a:pt x="1962" y="171"/>
                  </a:lnTo>
                  <a:lnTo>
                    <a:pt x="1961" y="170"/>
                  </a:lnTo>
                  <a:lnTo>
                    <a:pt x="1961" y="168"/>
                  </a:lnTo>
                  <a:lnTo>
                    <a:pt x="1959" y="162"/>
                  </a:lnTo>
                  <a:lnTo>
                    <a:pt x="1956" y="160"/>
                  </a:lnTo>
                  <a:lnTo>
                    <a:pt x="1950" y="165"/>
                  </a:lnTo>
                  <a:lnTo>
                    <a:pt x="1950" y="167"/>
                  </a:lnTo>
                  <a:lnTo>
                    <a:pt x="1949" y="170"/>
                  </a:lnTo>
                  <a:lnTo>
                    <a:pt x="1947" y="168"/>
                  </a:lnTo>
                  <a:lnTo>
                    <a:pt x="1944" y="163"/>
                  </a:lnTo>
                  <a:lnTo>
                    <a:pt x="1942" y="157"/>
                  </a:lnTo>
                  <a:lnTo>
                    <a:pt x="1930" y="147"/>
                  </a:lnTo>
                  <a:lnTo>
                    <a:pt x="1933" y="143"/>
                  </a:lnTo>
                  <a:lnTo>
                    <a:pt x="1932" y="142"/>
                  </a:lnTo>
                  <a:lnTo>
                    <a:pt x="1925" y="137"/>
                  </a:lnTo>
                  <a:lnTo>
                    <a:pt x="1922" y="137"/>
                  </a:lnTo>
                  <a:lnTo>
                    <a:pt x="1901" y="145"/>
                  </a:lnTo>
                  <a:lnTo>
                    <a:pt x="1888" y="142"/>
                  </a:lnTo>
                  <a:lnTo>
                    <a:pt x="1888" y="140"/>
                  </a:lnTo>
                  <a:lnTo>
                    <a:pt x="1892" y="140"/>
                  </a:lnTo>
                  <a:lnTo>
                    <a:pt x="1898" y="143"/>
                  </a:lnTo>
                  <a:lnTo>
                    <a:pt x="1901" y="143"/>
                  </a:lnTo>
                  <a:lnTo>
                    <a:pt x="1899" y="142"/>
                  </a:lnTo>
                  <a:lnTo>
                    <a:pt x="1899" y="140"/>
                  </a:lnTo>
                  <a:lnTo>
                    <a:pt x="1898" y="140"/>
                  </a:lnTo>
                  <a:lnTo>
                    <a:pt x="1898" y="140"/>
                  </a:lnTo>
                  <a:lnTo>
                    <a:pt x="1898" y="139"/>
                  </a:lnTo>
                  <a:lnTo>
                    <a:pt x="1899" y="137"/>
                  </a:lnTo>
                  <a:lnTo>
                    <a:pt x="1909" y="136"/>
                  </a:lnTo>
                  <a:lnTo>
                    <a:pt x="1913" y="131"/>
                  </a:lnTo>
                  <a:lnTo>
                    <a:pt x="1915" y="130"/>
                  </a:lnTo>
                  <a:lnTo>
                    <a:pt x="1913" y="127"/>
                  </a:lnTo>
                  <a:lnTo>
                    <a:pt x="1905" y="120"/>
                  </a:lnTo>
                  <a:lnTo>
                    <a:pt x="1898" y="119"/>
                  </a:lnTo>
                  <a:lnTo>
                    <a:pt x="1895" y="117"/>
                  </a:lnTo>
                  <a:lnTo>
                    <a:pt x="1899" y="116"/>
                  </a:lnTo>
                  <a:lnTo>
                    <a:pt x="1902" y="114"/>
                  </a:lnTo>
                  <a:lnTo>
                    <a:pt x="1904" y="110"/>
                  </a:lnTo>
                  <a:lnTo>
                    <a:pt x="1896" y="103"/>
                  </a:lnTo>
                  <a:lnTo>
                    <a:pt x="1893" y="102"/>
                  </a:lnTo>
                  <a:lnTo>
                    <a:pt x="1887" y="103"/>
                  </a:lnTo>
                  <a:lnTo>
                    <a:pt x="1885" y="105"/>
                  </a:lnTo>
                  <a:lnTo>
                    <a:pt x="1878" y="114"/>
                  </a:lnTo>
                  <a:lnTo>
                    <a:pt x="1878" y="116"/>
                  </a:lnTo>
                  <a:lnTo>
                    <a:pt x="1876" y="117"/>
                  </a:lnTo>
                  <a:lnTo>
                    <a:pt x="1876" y="119"/>
                  </a:lnTo>
                  <a:lnTo>
                    <a:pt x="1875" y="120"/>
                  </a:lnTo>
                  <a:lnTo>
                    <a:pt x="1864" y="123"/>
                  </a:lnTo>
                  <a:lnTo>
                    <a:pt x="1865" y="119"/>
                  </a:lnTo>
                  <a:lnTo>
                    <a:pt x="1870" y="114"/>
                  </a:lnTo>
                  <a:lnTo>
                    <a:pt x="1872" y="108"/>
                  </a:lnTo>
                  <a:lnTo>
                    <a:pt x="1872" y="100"/>
                  </a:lnTo>
                  <a:lnTo>
                    <a:pt x="1868" y="96"/>
                  </a:lnTo>
                  <a:lnTo>
                    <a:pt x="1865" y="96"/>
                  </a:lnTo>
                  <a:lnTo>
                    <a:pt x="1852" y="105"/>
                  </a:lnTo>
                  <a:lnTo>
                    <a:pt x="1842" y="106"/>
                  </a:lnTo>
                  <a:lnTo>
                    <a:pt x="1841" y="108"/>
                  </a:lnTo>
                  <a:lnTo>
                    <a:pt x="1838" y="114"/>
                  </a:lnTo>
                  <a:lnTo>
                    <a:pt x="1836" y="116"/>
                  </a:lnTo>
                  <a:lnTo>
                    <a:pt x="1835" y="114"/>
                  </a:lnTo>
                  <a:lnTo>
                    <a:pt x="1836" y="111"/>
                  </a:lnTo>
                  <a:lnTo>
                    <a:pt x="1835" y="111"/>
                  </a:lnTo>
                  <a:lnTo>
                    <a:pt x="1835" y="111"/>
                  </a:lnTo>
                  <a:lnTo>
                    <a:pt x="1835" y="110"/>
                  </a:lnTo>
                  <a:lnTo>
                    <a:pt x="1836" y="108"/>
                  </a:lnTo>
                  <a:lnTo>
                    <a:pt x="1838" y="108"/>
                  </a:lnTo>
                  <a:lnTo>
                    <a:pt x="1839" y="106"/>
                  </a:lnTo>
                  <a:lnTo>
                    <a:pt x="1841" y="103"/>
                  </a:lnTo>
                  <a:lnTo>
                    <a:pt x="1839" y="103"/>
                  </a:lnTo>
                  <a:lnTo>
                    <a:pt x="1839" y="103"/>
                  </a:lnTo>
                  <a:lnTo>
                    <a:pt x="1838" y="103"/>
                  </a:lnTo>
                  <a:lnTo>
                    <a:pt x="1838" y="100"/>
                  </a:lnTo>
                  <a:lnTo>
                    <a:pt x="1841" y="100"/>
                  </a:lnTo>
                  <a:lnTo>
                    <a:pt x="1844" y="99"/>
                  </a:lnTo>
                  <a:lnTo>
                    <a:pt x="1845" y="97"/>
                  </a:lnTo>
                  <a:lnTo>
                    <a:pt x="1838" y="97"/>
                  </a:lnTo>
                  <a:lnTo>
                    <a:pt x="1836" y="96"/>
                  </a:lnTo>
                  <a:lnTo>
                    <a:pt x="1842" y="90"/>
                  </a:lnTo>
                  <a:lnTo>
                    <a:pt x="1844" y="86"/>
                  </a:lnTo>
                  <a:lnTo>
                    <a:pt x="1842" y="85"/>
                  </a:lnTo>
                  <a:lnTo>
                    <a:pt x="1836" y="83"/>
                  </a:lnTo>
                  <a:lnTo>
                    <a:pt x="1835" y="82"/>
                  </a:lnTo>
                  <a:lnTo>
                    <a:pt x="1835" y="80"/>
                  </a:lnTo>
                  <a:lnTo>
                    <a:pt x="1833" y="80"/>
                  </a:lnTo>
                  <a:lnTo>
                    <a:pt x="1833" y="79"/>
                  </a:lnTo>
                  <a:lnTo>
                    <a:pt x="1833" y="76"/>
                  </a:lnTo>
                  <a:lnTo>
                    <a:pt x="1833" y="74"/>
                  </a:lnTo>
                  <a:lnTo>
                    <a:pt x="1830" y="71"/>
                  </a:lnTo>
                  <a:lnTo>
                    <a:pt x="1818" y="70"/>
                  </a:lnTo>
                  <a:lnTo>
                    <a:pt x="1818" y="68"/>
                  </a:lnTo>
                  <a:lnTo>
                    <a:pt x="1821" y="68"/>
                  </a:lnTo>
                  <a:lnTo>
                    <a:pt x="1821" y="66"/>
                  </a:lnTo>
                  <a:lnTo>
                    <a:pt x="1819" y="65"/>
                  </a:lnTo>
                  <a:lnTo>
                    <a:pt x="1818" y="65"/>
                  </a:lnTo>
                  <a:lnTo>
                    <a:pt x="1798" y="66"/>
                  </a:lnTo>
                  <a:lnTo>
                    <a:pt x="1796" y="68"/>
                  </a:lnTo>
                  <a:lnTo>
                    <a:pt x="1793" y="73"/>
                  </a:lnTo>
                  <a:lnTo>
                    <a:pt x="1791" y="77"/>
                  </a:lnTo>
                  <a:lnTo>
                    <a:pt x="1787" y="85"/>
                  </a:lnTo>
                  <a:lnTo>
                    <a:pt x="1781" y="94"/>
                  </a:lnTo>
                  <a:lnTo>
                    <a:pt x="1779" y="100"/>
                  </a:lnTo>
                  <a:lnTo>
                    <a:pt x="1779" y="103"/>
                  </a:lnTo>
                  <a:lnTo>
                    <a:pt x="1782" y="105"/>
                  </a:lnTo>
                  <a:lnTo>
                    <a:pt x="1785" y="108"/>
                  </a:lnTo>
                  <a:lnTo>
                    <a:pt x="1785" y="111"/>
                  </a:lnTo>
                  <a:lnTo>
                    <a:pt x="1785" y="111"/>
                  </a:lnTo>
                  <a:lnTo>
                    <a:pt x="1782" y="111"/>
                  </a:lnTo>
                  <a:lnTo>
                    <a:pt x="1779" y="110"/>
                  </a:lnTo>
                  <a:lnTo>
                    <a:pt x="1778" y="111"/>
                  </a:lnTo>
                  <a:lnTo>
                    <a:pt x="1776" y="113"/>
                  </a:lnTo>
                  <a:lnTo>
                    <a:pt x="1776" y="116"/>
                  </a:lnTo>
                  <a:lnTo>
                    <a:pt x="1775" y="120"/>
                  </a:lnTo>
                  <a:lnTo>
                    <a:pt x="1775" y="122"/>
                  </a:lnTo>
                  <a:lnTo>
                    <a:pt x="1768" y="137"/>
                  </a:lnTo>
                  <a:lnTo>
                    <a:pt x="1768" y="140"/>
                  </a:lnTo>
                  <a:lnTo>
                    <a:pt x="1770" y="140"/>
                  </a:lnTo>
                  <a:lnTo>
                    <a:pt x="1773" y="147"/>
                  </a:lnTo>
                  <a:lnTo>
                    <a:pt x="1775" y="148"/>
                  </a:lnTo>
                  <a:lnTo>
                    <a:pt x="1781" y="148"/>
                  </a:lnTo>
                  <a:lnTo>
                    <a:pt x="1781" y="150"/>
                  </a:lnTo>
                  <a:lnTo>
                    <a:pt x="1778" y="151"/>
                  </a:lnTo>
                  <a:lnTo>
                    <a:pt x="1778" y="153"/>
                  </a:lnTo>
                  <a:lnTo>
                    <a:pt x="1776" y="154"/>
                  </a:lnTo>
                  <a:lnTo>
                    <a:pt x="1776" y="156"/>
                  </a:lnTo>
                  <a:lnTo>
                    <a:pt x="1778" y="159"/>
                  </a:lnTo>
                  <a:lnTo>
                    <a:pt x="1778" y="160"/>
                  </a:lnTo>
                  <a:lnTo>
                    <a:pt x="1778" y="162"/>
                  </a:lnTo>
                  <a:lnTo>
                    <a:pt x="1776" y="163"/>
                  </a:lnTo>
                  <a:lnTo>
                    <a:pt x="1775" y="160"/>
                  </a:lnTo>
                  <a:lnTo>
                    <a:pt x="1773" y="157"/>
                  </a:lnTo>
                  <a:lnTo>
                    <a:pt x="1773" y="153"/>
                  </a:lnTo>
                  <a:lnTo>
                    <a:pt x="1771" y="151"/>
                  </a:lnTo>
                  <a:lnTo>
                    <a:pt x="1768" y="153"/>
                  </a:lnTo>
                  <a:lnTo>
                    <a:pt x="1765" y="154"/>
                  </a:lnTo>
                  <a:lnTo>
                    <a:pt x="1764" y="157"/>
                  </a:lnTo>
                  <a:lnTo>
                    <a:pt x="1764" y="159"/>
                  </a:lnTo>
                  <a:lnTo>
                    <a:pt x="1764" y="162"/>
                  </a:lnTo>
                  <a:lnTo>
                    <a:pt x="1764" y="163"/>
                  </a:lnTo>
                  <a:lnTo>
                    <a:pt x="1761" y="165"/>
                  </a:lnTo>
                  <a:lnTo>
                    <a:pt x="1759" y="168"/>
                  </a:lnTo>
                  <a:lnTo>
                    <a:pt x="1758" y="170"/>
                  </a:lnTo>
                  <a:lnTo>
                    <a:pt x="1756" y="173"/>
                  </a:lnTo>
                  <a:lnTo>
                    <a:pt x="1756" y="176"/>
                  </a:lnTo>
                  <a:lnTo>
                    <a:pt x="1756" y="180"/>
                  </a:lnTo>
                  <a:lnTo>
                    <a:pt x="1756" y="185"/>
                  </a:lnTo>
                  <a:lnTo>
                    <a:pt x="1756" y="188"/>
                  </a:lnTo>
                  <a:lnTo>
                    <a:pt x="1754" y="194"/>
                  </a:lnTo>
                  <a:lnTo>
                    <a:pt x="1753" y="199"/>
                  </a:lnTo>
                  <a:lnTo>
                    <a:pt x="1754" y="203"/>
                  </a:lnTo>
                  <a:lnTo>
                    <a:pt x="1754" y="205"/>
                  </a:lnTo>
                  <a:lnTo>
                    <a:pt x="1754" y="207"/>
                  </a:lnTo>
                  <a:lnTo>
                    <a:pt x="1754" y="211"/>
                  </a:lnTo>
                  <a:lnTo>
                    <a:pt x="1754" y="213"/>
                  </a:lnTo>
                  <a:lnTo>
                    <a:pt x="1754" y="217"/>
                  </a:lnTo>
                  <a:lnTo>
                    <a:pt x="1756" y="220"/>
                  </a:lnTo>
                  <a:lnTo>
                    <a:pt x="1756" y="222"/>
                  </a:lnTo>
                  <a:lnTo>
                    <a:pt x="1756" y="227"/>
                  </a:lnTo>
                  <a:lnTo>
                    <a:pt x="1753" y="236"/>
                  </a:lnTo>
                  <a:lnTo>
                    <a:pt x="1748" y="244"/>
                  </a:lnTo>
                  <a:lnTo>
                    <a:pt x="1744" y="247"/>
                  </a:lnTo>
                  <a:lnTo>
                    <a:pt x="1741" y="245"/>
                  </a:lnTo>
                  <a:lnTo>
                    <a:pt x="1742" y="245"/>
                  </a:lnTo>
                  <a:lnTo>
                    <a:pt x="1744" y="244"/>
                  </a:lnTo>
                  <a:lnTo>
                    <a:pt x="1747" y="242"/>
                  </a:lnTo>
                  <a:lnTo>
                    <a:pt x="1750" y="236"/>
                  </a:lnTo>
                  <a:lnTo>
                    <a:pt x="1750" y="234"/>
                  </a:lnTo>
                  <a:lnTo>
                    <a:pt x="1751" y="231"/>
                  </a:lnTo>
                  <a:lnTo>
                    <a:pt x="1753" y="227"/>
                  </a:lnTo>
                  <a:lnTo>
                    <a:pt x="1753" y="220"/>
                  </a:lnTo>
                  <a:lnTo>
                    <a:pt x="1751" y="207"/>
                  </a:lnTo>
                  <a:lnTo>
                    <a:pt x="1751" y="199"/>
                  </a:lnTo>
                  <a:lnTo>
                    <a:pt x="1751" y="191"/>
                  </a:lnTo>
                  <a:lnTo>
                    <a:pt x="1751" y="188"/>
                  </a:lnTo>
                  <a:lnTo>
                    <a:pt x="1751" y="183"/>
                  </a:lnTo>
                  <a:lnTo>
                    <a:pt x="1751" y="180"/>
                  </a:lnTo>
                  <a:lnTo>
                    <a:pt x="1751" y="177"/>
                  </a:lnTo>
                  <a:lnTo>
                    <a:pt x="1751" y="174"/>
                  </a:lnTo>
                  <a:lnTo>
                    <a:pt x="1754" y="168"/>
                  </a:lnTo>
                  <a:lnTo>
                    <a:pt x="1758" y="162"/>
                  </a:lnTo>
                  <a:lnTo>
                    <a:pt x="1759" y="157"/>
                  </a:lnTo>
                  <a:lnTo>
                    <a:pt x="1761" y="156"/>
                  </a:lnTo>
                  <a:lnTo>
                    <a:pt x="1762" y="154"/>
                  </a:lnTo>
                  <a:lnTo>
                    <a:pt x="1764" y="151"/>
                  </a:lnTo>
                  <a:lnTo>
                    <a:pt x="1764" y="147"/>
                  </a:lnTo>
                  <a:lnTo>
                    <a:pt x="1761" y="147"/>
                  </a:lnTo>
                  <a:lnTo>
                    <a:pt x="1758" y="148"/>
                  </a:lnTo>
                  <a:lnTo>
                    <a:pt x="1754" y="151"/>
                  </a:lnTo>
                  <a:lnTo>
                    <a:pt x="1753" y="156"/>
                  </a:lnTo>
                  <a:lnTo>
                    <a:pt x="1750" y="162"/>
                  </a:lnTo>
                  <a:lnTo>
                    <a:pt x="1748" y="163"/>
                  </a:lnTo>
                  <a:lnTo>
                    <a:pt x="1747" y="162"/>
                  </a:lnTo>
                  <a:lnTo>
                    <a:pt x="1747" y="160"/>
                  </a:lnTo>
                  <a:lnTo>
                    <a:pt x="1747" y="159"/>
                  </a:lnTo>
                  <a:lnTo>
                    <a:pt x="1748" y="157"/>
                  </a:lnTo>
                  <a:lnTo>
                    <a:pt x="1748" y="157"/>
                  </a:lnTo>
                  <a:lnTo>
                    <a:pt x="1748" y="159"/>
                  </a:lnTo>
                  <a:lnTo>
                    <a:pt x="1745" y="162"/>
                  </a:lnTo>
                  <a:lnTo>
                    <a:pt x="1742" y="163"/>
                  </a:lnTo>
                  <a:lnTo>
                    <a:pt x="1742" y="163"/>
                  </a:lnTo>
                  <a:lnTo>
                    <a:pt x="1744" y="159"/>
                  </a:lnTo>
                  <a:lnTo>
                    <a:pt x="1745" y="156"/>
                  </a:lnTo>
                  <a:lnTo>
                    <a:pt x="1753" y="150"/>
                  </a:lnTo>
                  <a:lnTo>
                    <a:pt x="1744" y="153"/>
                  </a:lnTo>
                  <a:lnTo>
                    <a:pt x="1734" y="157"/>
                  </a:lnTo>
                  <a:lnTo>
                    <a:pt x="1736" y="154"/>
                  </a:lnTo>
                  <a:lnTo>
                    <a:pt x="1738" y="151"/>
                  </a:lnTo>
                  <a:lnTo>
                    <a:pt x="1734" y="153"/>
                  </a:lnTo>
                  <a:lnTo>
                    <a:pt x="1734" y="154"/>
                  </a:lnTo>
                  <a:lnTo>
                    <a:pt x="1733" y="156"/>
                  </a:lnTo>
                  <a:lnTo>
                    <a:pt x="1731" y="163"/>
                  </a:lnTo>
                  <a:lnTo>
                    <a:pt x="1730" y="167"/>
                  </a:lnTo>
                  <a:lnTo>
                    <a:pt x="1730" y="160"/>
                  </a:lnTo>
                  <a:lnTo>
                    <a:pt x="1728" y="157"/>
                  </a:lnTo>
                  <a:lnTo>
                    <a:pt x="1728" y="154"/>
                  </a:lnTo>
                  <a:lnTo>
                    <a:pt x="1730" y="151"/>
                  </a:lnTo>
                  <a:lnTo>
                    <a:pt x="1733" y="148"/>
                  </a:lnTo>
                  <a:lnTo>
                    <a:pt x="1739" y="145"/>
                  </a:lnTo>
                  <a:lnTo>
                    <a:pt x="1742" y="142"/>
                  </a:lnTo>
                  <a:lnTo>
                    <a:pt x="1744" y="139"/>
                  </a:lnTo>
                  <a:lnTo>
                    <a:pt x="1751" y="131"/>
                  </a:lnTo>
                  <a:lnTo>
                    <a:pt x="1756" y="125"/>
                  </a:lnTo>
                  <a:lnTo>
                    <a:pt x="1761" y="116"/>
                  </a:lnTo>
                  <a:lnTo>
                    <a:pt x="1762" y="105"/>
                  </a:lnTo>
                  <a:lnTo>
                    <a:pt x="1761" y="102"/>
                  </a:lnTo>
                  <a:lnTo>
                    <a:pt x="1758" y="102"/>
                  </a:lnTo>
                  <a:lnTo>
                    <a:pt x="1750" y="111"/>
                  </a:lnTo>
                  <a:lnTo>
                    <a:pt x="1724" y="125"/>
                  </a:lnTo>
                  <a:lnTo>
                    <a:pt x="1713" y="127"/>
                  </a:lnTo>
                  <a:lnTo>
                    <a:pt x="1714" y="125"/>
                  </a:lnTo>
                  <a:lnTo>
                    <a:pt x="1719" y="123"/>
                  </a:lnTo>
                  <a:lnTo>
                    <a:pt x="1721" y="122"/>
                  </a:lnTo>
                  <a:lnTo>
                    <a:pt x="1724" y="120"/>
                  </a:lnTo>
                  <a:lnTo>
                    <a:pt x="1730" y="114"/>
                  </a:lnTo>
                  <a:lnTo>
                    <a:pt x="1730" y="114"/>
                  </a:lnTo>
                  <a:lnTo>
                    <a:pt x="1730" y="113"/>
                  </a:lnTo>
                  <a:lnTo>
                    <a:pt x="1734" y="108"/>
                  </a:lnTo>
                  <a:lnTo>
                    <a:pt x="1745" y="105"/>
                  </a:lnTo>
                  <a:lnTo>
                    <a:pt x="1748" y="97"/>
                  </a:lnTo>
                  <a:lnTo>
                    <a:pt x="1747" y="96"/>
                  </a:lnTo>
                  <a:lnTo>
                    <a:pt x="1745" y="96"/>
                  </a:lnTo>
                  <a:lnTo>
                    <a:pt x="1739" y="96"/>
                  </a:lnTo>
                  <a:lnTo>
                    <a:pt x="1739" y="96"/>
                  </a:lnTo>
                  <a:lnTo>
                    <a:pt x="1739" y="94"/>
                  </a:lnTo>
                  <a:lnTo>
                    <a:pt x="1738" y="93"/>
                  </a:lnTo>
                  <a:lnTo>
                    <a:pt x="1731" y="91"/>
                  </a:lnTo>
                  <a:lnTo>
                    <a:pt x="1728" y="91"/>
                  </a:lnTo>
                  <a:lnTo>
                    <a:pt x="1722" y="96"/>
                  </a:lnTo>
                  <a:lnTo>
                    <a:pt x="1724" y="93"/>
                  </a:lnTo>
                  <a:lnTo>
                    <a:pt x="1724" y="93"/>
                  </a:lnTo>
                  <a:lnTo>
                    <a:pt x="1725" y="91"/>
                  </a:lnTo>
                  <a:lnTo>
                    <a:pt x="1727" y="90"/>
                  </a:lnTo>
                  <a:lnTo>
                    <a:pt x="1725" y="88"/>
                  </a:lnTo>
                  <a:lnTo>
                    <a:pt x="1722" y="88"/>
                  </a:lnTo>
                  <a:lnTo>
                    <a:pt x="1721" y="85"/>
                  </a:lnTo>
                  <a:lnTo>
                    <a:pt x="1722" y="85"/>
                  </a:lnTo>
                  <a:lnTo>
                    <a:pt x="1724" y="83"/>
                  </a:lnTo>
                  <a:lnTo>
                    <a:pt x="1725" y="85"/>
                  </a:lnTo>
                  <a:lnTo>
                    <a:pt x="1725" y="85"/>
                  </a:lnTo>
                  <a:lnTo>
                    <a:pt x="1736" y="83"/>
                  </a:lnTo>
                  <a:lnTo>
                    <a:pt x="1736" y="82"/>
                  </a:lnTo>
                  <a:lnTo>
                    <a:pt x="1738" y="82"/>
                  </a:lnTo>
                  <a:lnTo>
                    <a:pt x="1738" y="80"/>
                  </a:lnTo>
                  <a:lnTo>
                    <a:pt x="1739" y="80"/>
                  </a:lnTo>
                  <a:lnTo>
                    <a:pt x="1741" y="80"/>
                  </a:lnTo>
                  <a:lnTo>
                    <a:pt x="1741" y="83"/>
                  </a:lnTo>
                  <a:lnTo>
                    <a:pt x="1741" y="85"/>
                  </a:lnTo>
                  <a:lnTo>
                    <a:pt x="1744" y="83"/>
                  </a:lnTo>
                  <a:lnTo>
                    <a:pt x="1745" y="83"/>
                  </a:lnTo>
                  <a:lnTo>
                    <a:pt x="1750" y="86"/>
                  </a:lnTo>
                  <a:lnTo>
                    <a:pt x="1753" y="86"/>
                  </a:lnTo>
                  <a:lnTo>
                    <a:pt x="1756" y="86"/>
                  </a:lnTo>
                  <a:lnTo>
                    <a:pt x="1759" y="85"/>
                  </a:lnTo>
                  <a:lnTo>
                    <a:pt x="1762" y="80"/>
                  </a:lnTo>
                  <a:lnTo>
                    <a:pt x="1759" y="79"/>
                  </a:lnTo>
                  <a:lnTo>
                    <a:pt x="1758" y="77"/>
                  </a:lnTo>
                  <a:lnTo>
                    <a:pt x="1756" y="76"/>
                  </a:lnTo>
                  <a:lnTo>
                    <a:pt x="1767" y="77"/>
                  </a:lnTo>
                  <a:lnTo>
                    <a:pt x="1765" y="76"/>
                  </a:lnTo>
                  <a:lnTo>
                    <a:pt x="1765" y="76"/>
                  </a:lnTo>
                  <a:lnTo>
                    <a:pt x="1765" y="74"/>
                  </a:lnTo>
                  <a:lnTo>
                    <a:pt x="1765" y="74"/>
                  </a:lnTo>
                  <a:lnTo>
                    <a:pt x="1765" y="73"/>
                  </a:lnTo>
                  <a:lnTo>
                    <a:pt x="1768" y="73"/>
                  </a:lnTo>
                  <a:lnTo>
                    <a:pt x="1770" y="71"/>
                  </a:lnTo>
                  <a:lnTo>
                    <a:pt x="1773" y="68"/>
                  </a:lnTo>
                  <a:lnTo>
                    <a:pt x="1771" y="66"/>
                  </a:lnTo>
                  <a:lnTo>
                    <a:pt x="1770" y="66"/>
                  </a:lnTo>
                  <a:lnTo>
                    <a:pt x="1768" y="66"/>
                  </a:lnTo>
                  <a:lnTo>
                    <a:pt x="1767" y="63"/>
                  </a:lnTo>
                  <a:lnTo>
                    <a:pt x="1771" y="65"/>
                  </a:lnTo>
                  <a:lnTo>
                    <a:pt x="1775" y="63"/>
                  </a:lnTo>
                  <a:lnTo>
                    <a:pt x="1776" y="59"/>
                  </a:lnTo>
                  <a:lnTo>
                    <a:pt x="1778" y="56"/>
                  </a:lnTo>
                  <a:lnTo>
                    <a:pt x="1779" y="51"/>
                  </a:lnTo>
                  <a:lnTo>
                    <a:pt x="1779" y="48"/>
                  </a:lnTo>
                  <a:lnTo>
                    <a:pt x="1779" y="45"/>
                  </a:lnTo>
                  <a:lnTo>
                    <a:pt x="1781" y="43"/>
                  </a:lnTo>
                  <a:lnTo>
                    <a:pt x="1779" y="42"/>
                  </a:lnTo>
                  <a:lnTo>
                    <a:pt x="1779" y="42"/>
                  </a:lnTo>
                  <a:lnTo>
                    <a:pt x="1779" y="42"/>
                  </a:lnTo>
                  <a:lnTo>
                    <a:pt x="1776" y="37"/>
                  </a:lnTo>
                  <a:lnTo>
                    <a:pt x="1765" y="37"/>
                  </a:lnTo>
                  <a:lnTo>
                    <a:pt x="1756" y="43"/>
                  </a:lnTo>
                  <a:lnTo>
                    <a:pt x="1754" y="42"/>
                  </a:lnTo>
                  <a:lnTo>
                    <a:pt x="1756" y="40"/>
                  </a:lnTo>
                  <a:lnTo>
                    <a:pt x="1756" y="39"/>
                  </a:lnTo>
                  <a:lnTo>
                    <a:pt x="1756" y="37"/>
                  </a:lnTo>
                  <a:lnTo>
                    <a:pt x="1758" y="36"/>
                  </a:lnTo>
                  <a:lnTo>
                    <a:pt x="1754" y="39"/>
                  </a:lnTo>
                  <a:lnTo>
                    <a:pt x="1753" y="39"/>
                  </a:lnTo>
                  <a:lnTo>
                    <a:pt x="1753" y="37"/>
                  </a:lnTo>
                  <a:lnTo>
                    <a:pt x="1754" y="36"/>
                  </a:lnTo>
                  <a:lnTo>
                    <a:pt x="1754" y="34"/>
                  </a:lnTo>
                  <a:lnTo>
                    <a:pt x="1756" y="34"/>
                  </a:lnTo>
                  <a:lnTo>
                    <a:pt x="1754" y="34"/>
                  </a:lnTo>
                  <a:lnTo>
                    <a:pt x="1754" y="31"/>
                  </a:lnTo>
                  <a:lnTo>
                    <a:pt x="1756" y="31"/>
                  </a:lnTo>
                  <a:lnTo>
                    <a:pt x="1758" y="29"/>
                  </a:lnTo>
                  <a:lnTo>
                    <a:pt x="1759" y="25"/>
                  </a:lnTo>
                  <a:lnTo>
                    <a:pt x="1758" y="22"/>
                  </a:lnTo>
                  <a:lnTo>
                    <a:pt x="1756" y="20"/>
                  </a:lnTo>
                  <a:lnTo>
                    <a:pt x="1754" y="19"/>
                  </a:lnTo>
                  <a:lnTo>
                    <a:pt x="1753" y="19"/>
                  </a:lnTo>
                  <a:lnTo>
                    <a:pt x="1751" y="19"/>
                  </a:lnTo>
                  <a:lnTo>
                    <a:pt x="1750" y="20"/>
                  </a:lnTo>
                  <a:lnTo>
                    <a:pt x="1745" y="28"/>
                  </a:lnTo>
                  <a:lnTo>
                    <a:pt x="1745" y="28"/>
                  </a:lnTo>
                  <a:lnTo>
                    <a:pt x="1744" y="28"/>
                  </a:lnTo>
                  <a:lnTo>
                    <a:pt x="1744" y="26"/>
                  </a:lnTo>
                  <a:lnTo>
                    <a:pt x="1744" y="25"/>
                  </a:lnTo>
                  <a:lnTo>
                    <a:pt x="1744" y="23"/>
                  </a:lnTo>
                  <a:lnTo>
                    <a:pt x="1744" y="23"/>
                  </a:lnTo>
                  <a:lnTo>
                    <a:pt x="1742" y="22"/>
                  </a:lnTo>
                  <a:lnTo>
                    <a:pt x="1741" y="22"/>
                  </a:lnTo>
                  <a:lnTo>
                    <a:pt x="1739" y="23"/>
                  </a:lnTo>
                  <a:lnTo>
                    <a:pt x="1738" y="25"/>
                  </a:lnTo>
                  <a:lnTo>
                    <a:pt x="1736" y="26"/>
                  </a:lnTo>
                  <a:lnTo>
                    <a:pt x="1730" y="29"/>
                  </a:lnTo>
                  <a:lnTo>
                    <a:pt x="1728" y="28"/>
                  </a:lnTo>
                  <a:lnTo>
                    <a:pt x="1725" y="25"/>
                  </a:lnTo>
                  <a:lnTo>
                    <a:pt x="1724" y="25"/>
                  </a:lnTo>
                  <a:lnTo>
                    <a:pt x="1719" y="23"/>
                  </a:lnTo>
                  <a:lnTo>
                    <a:pt x="1716" y="23"/>
                  </a:lnTo>
                  <a:lnTo>
                    <a:pt x="1719" y="17"/>
                  </a:lnTo>
                  <a:lnTo>
                    <a:pt x="1718" y="14"/>
                  </a:lnTo>
                  <a:lnTo>
                    <a:pt x="1713" y="8"/>
                  </a:lnTo>
                  <a:lnTo>
                    <a:pt x="1713" y="16"/>
                  </a:lnTo>
                  <a:lnTo>
                    <a:pt x="1710" y="17"/>
                  </a:lnTo>
                  <a:lnTo>
                    <a:pt x="1707" y="16"/>
                  </a:lnTo>
                  <a:lnTo>
                    <a:pt x="1705" y="19"/>
                  </a:lnTo>
                  <a:lnTo>
                    <a:pt x="1704" y="20"/>
                  </a:lnTo>
                  <a:lnTo>
                    <a:pt x="1704" y="22"/>
                  </a:lnTo>
                  <a:lnTo>
                    <a:pt x="1704" y="25"/>
                  </a:lnTo>
                  <a:lnTo>
                    <a:pt x="1704" y="28"/>
                  </a:lnTo>
                  <a:lnTo>
                    <a:pt x="1704" y="31"/>
                  </a:lnTo>
                  <a:lnTo>
                    <a:pt x="1705" y="33"/>
                  </a:lnTo>
                  <a:lnTo>
                    <a:pt x="1708" y="34"/>
                  </a:lnTo>
                  <a:lnTo>
                    <a:pt x="1707" y="36"/>
                  </a:lnTo>
                  <a:lnTo>
                    <a:pt x="1707" y="39"/>
                  </a:lnTo>
                  <a:lnTo>
                    <a:pt x="1707" y="42"/>
                  </a:lnTo>
                  <a:lnTo>
                    <a:pt x="1708" y="45"/>
                  </a:lnTo>
                  <a:lnTo>
                    <a:pt x="1707" y="48"/>
                  </a:lnTo>
                  <a:lnTo>
                    <a:pt x="1704" y="48"/>
                  </a:lnTo>
                  <a:lnTo>
                    <a:pt x="1702" y="45"/>
                  </a:lnTo>
                  <a:lnTo>
                    <a:pt x="1702" y="39"/>
                  </a:lnTo>
                  <a:lnTo>
                    <a:pt x="1701" y="36"/>
                  </a:lnTo>
                  <a:lnTo>
                    <a:pt x="1684" y="31"/>
                  </a:lnTo>
                  <a:lnTo>
                    <a:pt x="1681" y="34"/>
                  </a:lnTo>
                  <a:lnTo>
                    <a:pt x="1682" y="39"/>
                  </a:lnTo>
                  <a:lnTo>
                    <a:pt x="1684" y="40"/>
                  </a:lnTo>
                  <a:lnTo>
                    <a:pt x="1687" y="42"/>
                  </a:lnTo>
                  <a:lnTo>
                    <a:pt x="1688" y="43"/>
                  </a:lnTo>
                  <a:lnTo>
                    <a:pt x="1690" y="46"/>
                  </a:lnTo>
                  <a:lnTo>
                    <a:pt x="1690" y="48"/>
                  </a:lnTo>
                  <a:lnTo>
                    <a:pt x="1691" y="51"/>
                  </a:lnTo>
                  <a:lnTo>
                    <a:pt x="1677" y="45"/>
                  </a:lnTo>
                  <a:lnTo>
                    <a:pt x="1676" y="46"/>
                  </a:lnTo>
                  <a:lnTo>
                    <a:pt x="1674" y="50"/>
                  </a:lnTo>
                  <a:lnTo>
                    <a:pt x="1674" y="56"/>
                  </a:lnTo>
                  <a:lnTo>
                    <a:pt x="1676" y="59"/>
                  </a:lnTo>
                  <a:lnTo>
                    <a:pt x="1679" y="62"/>
                  </a:lnTo>
                  <a:lnTo>
                    <a:pt x="1690" y="65"/>
                  </a:lnTo>
                  <a:lnTo>
                    <a:pt x="1691" y="63"/>
                  </a:lnTo>
                  <a:lnTo>
                    <a:pt x="1693" y="62"/>
                  </a:lnTo>
                  <a:lnTo>
                    <a:pt x="1694" y="59"/>
                  </a:lnTo>
                  <a:lnTo>
                    <a:pt x="1696" y="57"/>
                  </a:lnTo>
                  <a:lnTo>
                    <a:pt x="1694" y="59"/>
                  </a:lnTo>
                  <a:lnTo>
                    <a:pt x="1693" y="62"/>
                  </a:lnTo>
                  <a:lnTo>
                    <a:pt x="1693" y="65"/>
                  </a:lnTo>
                  <a:lnTo>
                    <a:pt x="1694" y="66"/>
                  </a:lnTo>
                  <a:lnTo>
                    <a:pt x="1696" y="66"/>
                  </a:lnTo>
                  <a:lnTo>
                    <a:pt x="1698" y="65"/>
                  </a:lnTo>
                  <a:lnTo>
                    <a:pt x="1699" y="65"/>
                  </a:lnTo>
                  <a:lnTo>
                    <a:pt x="1699" y="65"/>
                  </a:lnTo>
                  <a:lnTo>
                    <a:pt x="1699" y="66"/>
                  </a:lnTo>
                  <a:lnTo>
                    <a:pt x="1699" y="68"/>
                  </a:lnTo>
                  <a:lnTo>
                    <a:pt x="1699" y="68"/>
                  </a:lnTo>
                  <a:lnTo>
                    <a:pt x="1701" y="68"/>
                  </a:lnTo>
                  <a:lnTo>
                    <a:pt x="1702" y="68"/>
                  </a:lnTo>
                  <a:lnTo>
                    <a:pt x="1702" y="70"/>
                  </a:lnTo>
                  <a:lnTo>
                    <a:pt x="1704" y="71"/>
                  </a:lnTo>
                  <a:lnTo>
                    <a:pt x="1705" y="73"/>
                  </a:lnTo>
                  <a:lnTo>
                    <a:pt x="1704" y="74"/>
                  </a:lnTo>
                  <a:lnTo>
                    <a:pt x="1702" y="76"/>
                  </a:lnTo>
                  <a:lnTo>
                    <a:pt x="1702" y="76"/>
                  </a:lnTo>
                  <a:lnTo>
                    <a:pt x="1701" y="76"/>
                  </a:lnTo>
                  <a:lnTo>
                    <a:pt x="1701" y="77"/>
                  </a:lnTo>
                  <a:lnTo>
                    <a:pt x="1711" y="82"/>
                  </a:lnTo>
                  <a:lnTo>
                    <a:pt x="1691" y="77"/>
                  </a:lnTo>
                  <a:lnTo>
                    <a:pt x="1688" y="77"/>
                  </a:lnTo>
                  <a:lnTo>
                    <a:pt x="1688" y="79"/>
                  </a:lnTo>
                  <a:lnTo>
                    <a:pt x="1687" y="85"/>
                  </a:lnTo>
                  <a:lnTo>
                    <a:pt x="1685" y="90"/>
                  </a:lnTo>
                  <a:lnTo>
                    <a:pt x="1687" y="91"/>
                  </a:lnTo>
                  <a:lnTo>
                    <a:pt x="1688" y="93"/>
                  </a:lnTo>
                  <a:lnTo>
                    <a:pt x="1690" y="93"/>
                  </a:lnTo>
                  <a:lnTo>
                    <a:pt x="1690" y="96"/>
                  </a:lnTo>
                  <a:lnTo>
                    <a:pt x="1688" y="97"/>
                  </a:lnTo>
                  <a:lnTo>
                    <a:pt x="1687" y="96"/>
                  </a:lnTo>
                  <a:lnTo>
                    <a:pt x="1674" y="97"/>
                  </a:lnTo>
                  <a:lnTo>
                    <a:pt x="1673" y="99"/>
                  </a:lnTo>
                  <a:lnTo>
                    <a:pt x="1671" y="105"/>
                  </a:lnTo>
                  <a:lnTo>
                    <a:pt x="1673" y="106"/>
                  </a:lnTo>
                  <a:lnTo>
                    <a:pt x="1674" y="108"/>
                  </a:lnTo>
                  <a:lnTo>
                    <a:pt x="1676" y="110"/>
                  </a:lnTo>
                  <a:lnTo>
                    <a:pt x="1673" y="116"/>
                  </a:lnTo>
                  <a:lnTo>
                    <a:pt x="1673" y="119"/>
                  </a:lnTo>
                  <a:lnTo>
                    <a:pt x="1674" y="122"/>
                  </a:lnTo>
                  <a:lnTo>
                    <a:pt x="1682" y="128"/>
                  </a:lnTo>
                  <a:lnTo>
                    <a:pt x="1685" y="131"/>
                  </a:lnTo>
                  <a:lnTo>
                    <a:pt x="1682" y="131"/>
                  </a:lnTo>
                  <a:lnTo>
                    <a:pt x="1677" y="128"/>
                  </a:lnTo>
                  <a:lnTo>
                    <a:pt x="1674" y="128"/>
                  </a:lnTo>
                  <a:lnTo>
                    <a:pt x="1673" y="128"/>
                  </a:lnTo>
                  <a:lnTo>
                    <a:pt x="1673" y="128"/>
                  </a:lnTo>
                  <a:lnTo>
                    <a:pt x="1671" y="127"/>
                  </a:lnTo>
                  <a:lnTo>
                    <a:pt x="1671" y="125"/>
                  </a:lnTo>
                  <a:lnTo>
                    <a:pt x="1668" y="127"/>
                  </a:lnTo>
                  <a:lnTo>
                    <a:pt x="1667" y="128"/>
                  </a:lnTo>
                  <a:lnTo>
                    <a:pt x="1664" y="133"/>
                  </a:lnTo>
                  <a:lnTo>
                    <a:pt x="1662" y="136"/>
                  </a:lnTo>
                  <a:lnTo>
                    <a:pt x="1664" y="136"/>
                  </a:lnTo>
                  <a:lnTo>
                    <a:pt x="1665" y="137"/>
                  </a:lnTo>
                  <a:lnTo>
                    <a:pt x="1665" y="140"/>
                  </a:lnTo>
                  <a:lnTo>
                    <a:pt x="1664" y="140"/>
                  </a:lnTo>
                  <a:lnTo>
                    <a:pt x="1662" y="142"/>
                  </a:lnTo>
                  <a:lnTo>
                    <a:pt x="1664" y="145"/>
                  </a:lnTo>
                  <a:lnTo>
                    <a:pt x="1667" y="150"/>
                  </a:lnTo>
                  <a:lnTo>
                    <a:pt x="1668" y="153"/>
                  </a:lnTo>
                  <a:lnTo>
                    <a:pt x="1668" y="154"/>
                  </a:lnTo>
                  <a:lnTo>
                    <a:pt x="1671" y="156"/>
                  </a:lnTo>
                  <a:lnTo>
                    <a:pt x="1673" y="157"/>
                  </a:lnTo>
                  <a:lnTo>
                    <a:pt x="1670" y="156"/>
                  </a:lnTo>
                  <a:lnTo>
                    <a:pt x="1668" y="156"/>
                  </a:lnTo>
                  <a:lnTo>
                    <a:pt x="1661" y="159"/>
                  </a:lnTo>
                  <a:lnTo>
                    <a:pt x="1659" y="157"/>
                  </a:lnTo>
                  <a:lnTo>
                    <a:pt x="1661" y="154"/>
                  </a:lnTo>
                  <a:lnTo>
                    <a:pt x="1651" y="156"/>
                  </a:lnTo>
                  <a:lnTo>
                    <a:pt x="1650" y="157"/>
                  </a:lnTo>
                  <a:lnTo>
                    <a:pt x="1650" y="160"/>
                  </a:lnTo>
                  <a:lnTo>
                    <a:pt x="1648" y="165"/>
                  </a:lnTo>
                  <a:lnTo>
                    <a:pt x="1647" y="167"/>
                  </a:lnTo>
                  <a:lnTo>
                    <a:pt x="1644" y="168"/>
                  </a:lnTo>
                  <a:lnTo>
                    <a:pt x="1642" y="168"/>
                  </a:lnTo>
                  <a:lnTo>
                    <a:pt x="1639" y="167"/>
                  </a:lnTo>
                  <a:lnTo>
                    <a:pt x="1639" y="167"/>
                  </a:lnTo>
                  <a:lnTo>
                    <a:pt x="1637" y="170"/>
                  </a:lnTo>
                  <a:lnTo>
                    <a:pt x="1637" y="171"/>
                  </a:lnTo>
                  <a:lnTo>
                    <a:pt x="1637" y="173"/>
                  </a:lnTo>
                  <a:lnTo>
                    <a:pt x="1639" y="177"/>
                  </a:lnTo>
                  <a:lnTo>
                    <a:pt x="1637" y="177"/>
                  </a:lnTo>
                  <a:lnTo>
                    <a:pt x="1636" y="177"/>
                  </a:lnTo>
                  <a:lnTo>
                    <a:pt x="1634" y="177"/>
                  </a:lnTo>
                  <a:lnTo>
                    <a:pt x="1634" y="179"/>
                  </a:lnTo>
                  <a:lnTo>
                    <a:pt x="1633" y="180"/>
                  </a:lnTo>
                  <a:lnTo>
                    <a:pt x="1633" y="182"/>
                  </a:lnTo>
                  <a:lnTo>
                    <a:pt x="1633" y="182"/>
                  </a:lnTo>
                  <a:lnTo>
                    <a:pt x="1631" y="183"/>
                  </a:lnTo>
                  <a:lnTo>
                    <a:pt x="1628" y="182"/>
                  </a:lnTo>
                  <a:lnTo>
                    <a:pt x="1628" y="180"/>
                  </a:lnTo>
                  <a:lnTo>
                    <a:pt x="1628" y="179"/>
                  </a:lnTo>
                  <a:lnTo>
                    <a:pt x="1628" y="177"/>
                  </a:lnTo>
                  <a:lnTo>
                    <a:pt x="1628" y="177"/>
                  </a:lnTo>
                  <a:lnTo>
                    <a:pt x="1628" y="176"/>
                  </a:lnTo>
                  <a:lnTo>
                    <a:pt x="1630" y="173"/>
                  </a:lnTo>
                  <a:lnTo>
                    <a:pt x="1630" y="171"/>
                  </a:lnTo>
                  <a:lnTo>
                    <a:pt x="1630" y="170"/>
                  </a:lnTo>
                  <a:lnTo>
                    <a:pt x="1628" y="168"/>
                  </a:lnTo>
                  <a:lnTo>
                    <a:pt x="1628" y="167"/>
                  </a:lnTo>
                  <a:lnTo>
                    <a:pt x="1630" y="162"/>
                  </a:lnTo>
                  <a:lnTo>
                    <a:pt x="1631" y="159"/>
                  </a:lnTo>
                  <a:lnTo>
                    <a:pt x="1633" y="156"/>
                  </a:lnTo>
                  <a:lnTo>
                    <a:pt x="1633" y="153"/>
                  </a:lnTo>
                  <a:lnTo>
                    <a:pt x="1633" y="151"/>
                  </a:lnTo>
                  <a:lnTo>
                    <a:pt x="1631" y="150"/>
                  </a:lnTo>
                  <a:lnTo>
                    <a:pt x="1631" y="147"/>
                  </a:lnTo>
                  <a:lnTo>
                    <a:pt x="1633" y="145"/>
                  </a:lnTo>
                  <a:lnTo>
                    <a:pt x="1634" y="142"/>
                  </a:lnTo>
                  <a:lnTo>
                    <a:pt x="1636" y="140"/>
                  </a:lnTo>
                  <a:lnTo>
                    <a:pt x="1634" y="137"/>
                  </a:lnTo>
                  <a:lnTo>
                    <a:pt x="1639" y="119"/>
                  </a:lnTo>
                  <a:lnTo>
                    <a:pt x="1637" y="117"/>
                  </a:lnTo>
                  <a:lnTo>
                    <a:pt x="1630" y="114"/>
                  </a:lnTo>
                  <a:lnTo>
                    <a:pt x="1628" y="114"/>
                  </a:lnTo>
                  <a:lnTo>
                    <a:pt x="1619" y="120"/>
                  </a:lnTo>
                  <a:lnTo>
                    <a:pt x="1616" y="117"/>
                  </a:lnTo>
                  <a:lnTo>
                    <a:pt x="1637" y="105"/>
                  </a:lnTo>
                  <a:lnTo>
                    <a:pt x="1642" y="97"/>
                  </a:lnTo>
                  <a:lnTo>
                    <a:pt x="1642" y="94"/>
                  </a:lnTo>
                  <a:lnTo>
                    <a:pt x="1642" y="90"/>
                  </a:lnTo>
                  <a:lnTo>
                    <a:pt x="1642" y="85"/>
                  </a:lnTo>
                  <a:lnTo>
                    <a:pt x="1644" y="82"/>
                  </a:lnTo>
                  <a:lnTo>
                    <a:pt x="1645" y="80"/>
                  </a:lnTo>
                  <a:lnTo>
                    <a:pt x="1645" y="77"/>
                  </a:lnTo>
                  <a:lnTo>
                    <a:pt x="1645" y="76"/>
                  </a:lnTo>
                  <a:lnTo>
                    <a:pt x="1645" y="74"/>
                  </a:lnTo>
                  <a:lnTo>
                    <a:pt x="1644" y="76"/>
                  </a:lnTo>
                  <a:lnTo>
                    <a:pt x="1642" y="77"/>
                  </a:lnTo>
                  <a:lnTo>
                    <a:pt x="1642" y="77"/>
                  </a:lnTo>
                  <a:lnTo>
                    <a:pt x="1641" y="77"/>
                  </a:lnTo>
                  <a:lnTo>
                    <a:pt x="1641" y="76"/>
                  </a:lnTo>
                  <a:lnTo>
                    <a:pt x="1641" y="74"/>
                  </a:lnTo>
                  <a:lnTo>
                    <a:pt x="1639" y="73"/>
                  </a:lnTo>
                  <a:lnTo>
                    <a:pt x="1641" y="70"/>
                  </a:lnTo>
                  <a:lnTo>
                    <a:pt x="1641" y="70"/>
                  </a:lnTo>
                  <a:lnTo>
                    <a:pt x="1642" y="68"/>
                  </a:lnTo>
                  <a:lnTo>
                    <a:pt x="1644" y="68"/>
                  </a:lnTo>
                  <a:lnTo>
                    <a:pt x="1644" y="65"/>
                  </a:lnTo>
                  <a:lnTo>
                    <a:pt x="1645" y="63"/>
                  </a:lnTo>
                  <a:lnTo>
                    <a:pt x="1645" y="62"/>
                  </a:lnTo>
                  <a:lnTo>
                    <a:pt x="1645" y="59"/>
                  </a:lnTo>
                  <a:lnTo>
                    <a:pt x="1644" y="59"/>
                  </a:lnTo>
                  <a:lnTo>
                    <a:pt x="1644" y="57"/>
                  </a:lnTo>
                  <a:lnTo>
                    <a:pt x="1644" y="54"/>
                  </a:lnTo>
                  <a:lnTo>
                    <a:pt x="1641" y="51"/>
                  </a:lnTo>
                  <a:lnTo>
                    <a:pt x="1642" y="48"/>
                  </a:lnTo>
                  <a:lnTo>
                    <a:pt x="1642" y="48"/>
                  </a:lnTo>
                  <a:lnTo>
                    <a:pt x="1636" y="50"/>
                  </a:lnTo>
                  <a:lnTo>
                    <a:pt x="1617" y="68"/>
                  </a:lnTo>
                  <a:lnTo>
                    <a:pt x="1613" y="76"/>
                  </a:lnTo>
                  <a:lnTo>
                    <a:pt x="1610" y="83"/>
                  </a:lnTo>
                  <a:lnTo>
                    <a:pt x="1605" y="90"/>
                  </a:lnTo>
                  <a:lnTo>
                    <a:pt x="1602" y="93"/>
                  </a:lnTo>
                  <a:lnTo>
                    <a:pt x="1602" y="94"/>
                  </a:lnTo>
                  <a:lnTo>
                    <a:pt x="1600" y="99"/>
                  </a:lnTo>
                  <a:lnTo>
                    <a:pt x="1600" y="100"/>
                  </a:lnTo>
                  <a:lnTo>
                    <a:pt x="1599" y="102"/>
                  </a:lnTo>
                  <a:lnTo>
                    <a:pt x="1596" y="102"/>
                  </a:lnTo>
                  <a:lnTo>
                    <a:pt x="1596" y="103"/>
                  </a:lnTo>
                  <a:lnTo>
                    <a:pt x="1594" y="108"/>
                  </a:lnTo>
                  <a:lnTo>
                    <a:pt x="1591" y="122"/>
                  </a:lnTo>
                  <a:lnTo>
                    <a:pt x="1590" y="127"/>
                  </a:lnTo>
                  <a:lnTo>
                    <a:pt x="1587" y="131"/>
                  </a:lnTo>
                  <a:lnTo>
                    <a:pt x="1585" y="134"/>
                  </a:lnTo>
                  <a:lnTo>
                    <a:pt x="1582" y="134"/>
                  </a:lnTo>
                  <a:lnTo>
                    <a:pt x="1580" y="136"/>
                  </a:lnTo>
                  <a:lnTo>
                    <a:pt x="1565" y="163"/>
                  </a:lnTo>
                  <a:lnTo>
                    <a:pt x="1548" y="185"/>
                  </a:lnTo>
                  <a:lnTo>
                    <a:pt x="1548" y="190"/>
                  </a:lnTo>
                  <a:lnTo>
                    <a:pt x="1554" y="193"/>
                  </a:lnTo>
                  <a:lnTo>
                    <a:pt x="1556" y="196"/>
                  </a:lnTo>
                  <a:lnTo>
                    <a:pt x="1554" y="200"/>
                  </a:lnTo>
                  <a:lnTo>
                    <a:pt x="1550" y="207"/>
                  </a:lnTo>
                  <a:lnTo>
                    <a:pt x="1548" y="210"/>
                  </a:lnTo>
                  <a:lnTo>
                    <a:pt x="1548" y="213"/>
                  </a:lnTo>
                  <a:lnTo>
                    <a:pt x="1547" y="214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43" y="219"/>
                  </a:lnTo>
                  <a:lnTo>
                    <a:pt x="1542" y="219"/>
                  </a:lnTo>
                  <a:lnTo>
                    <a:pt x="1540" y="220"/>
                  </a:lnTo>
                  <a:lnTo>
                    <a:pt x="1539" y="224"/>
                  </a:lnTo>
                  <a:lnTo>
                    <a:pt x="1536" y="234"/>
                  </a:lnTo>
                  <a:lnTo>
                    <a:pt x="1534" y="239"/>
                  </a:lnTo>
                  <a:lnTo>
                    <a:pt x="1533" y="240"/>
                  </a:lnTo>
                  <a:lnTo>
                    <a:pt x="1531" y="240"/>
                  </a:lnTo>
                  <a:lnTo>
                    <a:pt x="1528" y="244"/>
                  </a:lnTo>
                  <a:lnTo>
                    <a:pt x="1527" y="244"/>
                  </a:lnTo>
                  <a:lnTo>
                    <a:pt x="1525" y="242"/>
                  </a:lnTo>
                  <a:lnTo>
                    <a:pt x="1523" y="240"/>
                  </a:lnTo>
                  <a:lnTo>
                    <a:pt x="1523" y="239"/>
                  </a:lnTo>
                  <a:lnTo>
                    <a:pt x="1522" y="237"/>
                  </a:lnTo>
                  <a:lnTo>
                    <a:pt x="1522" y="236"/>
                  </a:lnTo>
                  <a:lnTo>
                    <a:pt x="1523" y="234"/>
                  </a:lnTo>
                  <a:lnTo>
                    <a:pt x="1527" y="233"/>
                  </a:lnTo>
                  <a:lnTo>
                    <a:pt x="1525" y="231"/>
                  </a:lnTo>
                  <a:lnTo>
                    <a:pt x="1523" y="233"/>
                  </a:lnTo>
                  <a:lnTo>
                    <a:pt x="1522" y="233"/>
                  </a:lnTo>
                  <a:lnTo>
                    <a:pt x="1522" y="233"/>
                  </a:lnTo>
                  <a:lnTo>
                    <a:pt x="1522" y="228"/>
                  </a:lnTo>
                  <a:lnTo>
                    <a:pt x="1523" y="227"/>
                  </a:lnTo>
                  <a:lnTo>
                    <a:pt x="1517" y="230"/>
                  </a:lnTo>
                  <a:lnTo>
                    <a:pt x="1517" y="231"/>
                  </a:lnTo>
                  <a:lnTo>
                    <a:pt x="1516" y="234"/>
                  </a:lnTo>
                  <a:lnTo>
                    <a:pt x="1517" y="237"/>
                  </a:lnTo>
                  <a:lnTo>
                    <a:pt x="1517" y="239"/>
                  </a:lnTo>
                  <a:lnTo>
                    <a:pt x="1519" y="240"/>
                  </a:lnTo>
                  <a:lnTo>
                    <a:pt x="1519" y="247"/>
                  </a:lnTo>
                  <a:lnTo>
                    <a:pt x="1516" y="247"/>
                  </a:lnTo>
                  <a:lnTo>
                    <a:pt x="1513" y="244"/>
                  </a:lnTo>
                  <a:lnTo>
                    <a:pt x="1511" y="239"/>
                  </a:lnTo>
                  <a:lnTo>
                    <a:pt x="1511" y="228"/>
                  </a:lnTo>
                  <a:lnTo>
                    <a:pt x="1511" y="227"/>
                  </a:lnTo>
                  <a:lnTo>
                    <a:pt x="1513" y="224"/>
                  </a:lnTo>
                  <a:lnTo>
                    <a:pt x="1514" y="222"/>
                  </a:lnTo>
                  <a:lnTo>
                    <a:pt x="1513" y="219"/>
                  </a:lnTo>
                  <a:lnTo>
                    <a:pt x="1513" y="217"/>
                  </a:lnTo>
                  <a:lnTo>
                    <a:pt x="1514" y="216"/>
                  </a:lnTo>
                  <a:lnTo>
                    <a:pt x="1514" y="214"/>
                  </a:lnTo>
                  <a:lnTo>
                    <a:pt x="1514" y="213"/>
                  </a:lnTo>
                  <a:lnTo>
                    <a:pt x="1514" y="211"/>
                  </a:lnTo>
                  <a:lnTo>
                    <a:pt x="1514" y="211"/>
                  </a:lnTo>
                  <a:lnTo>
                    <a:pt x="1516" y="210"/>
                  </a:lnTo>
                  <a:lnTo>
                    <a:pt x="1516" y="210"/>
                  </a:lnTo>
                  <a:lnTo>
                    <a:pt x="1516" y="208"/>
                  </a:lnTo>
                  <a:lnTo>
                    <a:pt x="1517" y="207"/>
                  </a:lnTo>
                  <a:lnTo>
                    <a:pt x="1517" y="207"/>
                  </a:lnTo>
                  <a:lnTo>
                    <a:pt x="1520" y="205"/>
                  </a:lnTo>
                  <a:lnTo>
                    <a:pt x="1531" y="193"/>
                  </a:lnTo>
                  <a:lnTo>
                    <a:pt x="1531" y="191"/>
                  </a:lnTo>
                  <a:lnTo>
                    <a:pt x="1531" y="188"/>
                  </a:lnTo>
                  <a:lnTo>
                    <a:pt x="1530" y="187"/>
                  </a:lnTo>
                  <a:lnTo>
                    <a:pt x="1528" y="188"/>
                  </a:lnTo>
                  <a:lnTo>
                    <a:pt x="1527" y="190"/>
                  </a:lnTo>
                  <a:lnTo>
                    <a:pt x="1525" y="191"/>
                  </a:lnTo>
                  <a:lnTo>
                    <a:pt x="1523" y="190"/>
                  </a:lnTo>
                  <a:lnTo>
                    <a:pt x="1523" y="187"/>
                  </a:lnTo>
                  <a:lnTo>
                    <a:pt x="1525" y="185"/>
                  </a:lnTo>
                  <a:lnTo>
                    <a:pt x="1527" y="183"/>
                  </a:lnTo>
                  <a:lnTo>
                    <a:pt x="1523" y="183"/>
                  </a:lnTo>
                  <a:lnTo>
                    <a:pt x="1523" y="183"/>
                  </a:lnTo>
                  <a:lnTo>
                    <a:pt x="1522" y="182"/>
                  </a:lnTo>
                  <a:lnTo>
                    <a:pt x="1528" y="174"/>
                  </a:lnTo>
                  <a:lnTo>
                    <a:pt x="1531" y="173"/>
                  </a:lnTo>
                  <a:lnTo>
                    <a:pt x="1534" y="176"/>
                  </a:lnTo>
                  <a:lnTo>
                    <a:pt x="1536" y="174"/>
                  </a:lnTo>
                  <a:lnTo>
                    <a:pt x="1536" y="171"/>
                  </a:lnTo>
                  <a:lnTo>
                    <a:pt x="1534" y="165"/>
                  </a:lnTo>
                  <a:lnTo>
                    <a:pt x="1534" y="162"/>
                  </a:lnTo>
                  <a:lnTo>
                    <a:pt x="1536" y="160"/>
                  </a:lnTo>
                  <a:lnTo>
                    <a:pt x="1537" y="160"/>
                  </a:lnTo>
                  <a:lnTo>
                    <a:pt x="1534" y="156"/>
                  </a:lnTo>
                  <a:lnTo>
                    <a:pt x="1523" y="157"/>
                  </a:lnTo>
                  <a:lnTo>
                    <a:pt x="1520" y="153"/>
                  </a:lnTo>
                  <a:lnTo>
                    <a:pt x="1534" y="154"/>
                  </a:lnTo>
                  <a:lnTo>
                    <a:pt x="1537" y="148"/>
                  </a:lnTo>
                  <a:lnTo>
                    <a:pt x="1534" y="145"/>
                  </a:lnTo>
                  <a:lnTo>
                    <a:pt x="1522" y="150"/>
                  </a:lnTo>
                  <a:lnTo>
                    <a:pt x="1523" y="145"/>
                  </a:lnTo>
                  <a:lnTo>
                    <a:pt x="1534" y="136"/>
                  </a:lnTo>
                  <a:lnTo>
                    <a:pt x="1534" y="134"/>
                  </a:lnTo>
                  <a:lnTo>
                    <a:pt x="1537" y="130"/>
                  </a:lnTo>
                  <a:lnTo>
                    <a:pt x="1539" y="128"/>
                  </a:lnTo>
                  <a:lnTo>
                    <a:pt x="1542" y="127"/>
                  </a:lnTo>
                  <a:lnTo>
                    <a:pt x="1548" y="119"/>
                  </a:lnTo>
                  <a:lnTo>
                    <a:pt x="1550" y="114"/>
                  </a:lnTo>
                  <a:lnTo>
                    <a:pt x="1554" y="113"/>
                  </a:lnTo>
                  <a:lnTo>
                    <a:pt x="1557" y="106"/>
                  </a:lnTo>
                  <a:lnTo>
                    <a:pt x="1560" y="105"/>
                  </a:lnTo>
                  <a:lnTo>
                    <a:pt x="1562" y="103"/>
                  </a:lnTo>
                  <a:lnTo>
                    <a:pt x="1564" y="100"/>
                  </a:lnTo>
                  <a:lnTo>
                    <a:pt x="1565" y="97"/>
                  </a:lnTo>
                  <a:lnTo>
                    <a:pt x="1564" y="94"/>
                  </a:lnTo>
                  <a:lnTo>
                    <a:pt x="1564" y="93"/>
                  </a:lnTo>
                  <a:lnTo>
                    <a:pt x="1562" y="91"/>
                  </a:lnTo>
                  <a:lnTo>
                    <a:pt x="1570" y="90"/>
                  </a:lnTo>
                  <a:lnTo>
                    <a:pt x="1571" y="86"/>
                  </a:lnTo>
                  <a:lnTo>
                    <a:pt x="1576" y="80"/>
                  </a:lnTo>
                  <a:lnTo>
                    <a:pt x="1577" y="77"/>
                  </a:lnTo>
                  <a:lnTo>
                    <a:pt x="1580" y="76"/>
                  </a:lnTo>
                  <a:lnTo>
                    <a:pt x="1582" y="73"/>
                  </a:lnTo>
                  <a:lnTo>
                    <a:pt x="1585" y="71"/>
                  </a:lnTo>
                  <a:lnTo>
                    <a:pt x="1585" y="70"/>
                  </a:lnTo>
                  <a:lnTo>
                    <a:pt x="1584" y="66"/>
                  </a:lnTo>
                  <a:lnTo>
                    <a:pt x="1584" y="65"/>
                  </a:lnTo>
                  <a:lnTo>
                    <a:pt x="1582" y="62"/>
                  </a:lnTo>
                  <a:lnTo>
                    <a:pt x="1579" y="62"/>
                  </a:lnTo>
                  <a:lnTo>
                    <a:pt x="1577" y="63"/>
                  </a:lnTo>
                  <a:lnTo>
                    <a:pt x="1574" y="65"/>
                  </a:lnTo>
                  <a:lnTo>
                    <a:pt x="1574" y="66"/>
                  </a:lnTo>
                  <a:lnTo>
                    <a:pt x="1574" y="68"/>
                  </a:lnTo>
                  <a:lnTo>
                    <a:pt x="1573" y="70"/>
                  </a:lnTo>
                  <a:lnTo>
                    <a:pt x="1573" y="70"/>
                  </a:lnTo>
                  <a:lnTo>
                    <a:pt x="1571" y="70"/>
                  </a:lnTo>
                  <a:lnTo>
                    <a:pt x="1571" y="68"/>
                  </a:lnTo>
                  <a:lnTo>
                    <a:pt x="1570" y="66"/>
                  </a:lnTo>
                  <a:lnTo>
                    <a:pt x="1570" y="65"/>
                  </a:lnTo>
                  <a:lnTo>
                    <a:pt x="1568" y="62"/>
                  </a:lnTo>
                  <a:lnTo>
                    <a:pt x="1565" y="62"/>
                  </a:lnTo>
                  <a:lnTo>
                    <a:pt x="1562" y="63"/>
                  </a:lnTo>
                  <a:lnTo>
                    <a:pt x="1560" y="65"/>
                  </a:lnTo>
                  <a:lnTo>
                    <a:pt x="1557" y="71"/>
                  </a:lnTo>
                  <a:lnTo>
                    <a:pt x="1557" y="71"/>
                  </a:lnTo>
                  <a:lnTo>
                    <a:pt x="1556" y="71"/>
                  </a:lnTo>
                  <a:lnTo>
                    <a:pt x="1554" y="68"/>
                  </a:lnTo>
                  <a:lnTo>
                    <a:pt x="1554" y="68"/>
                  </a:lnTo>
                  <a:lnTo>
                    <a:pt x="1551" y="73"/>
                  </a:lnTo>
                  <a:lnTo>
                    <a:pt x="1548" y="74"/>
                  </a:lnTo>
                  <a:lnTo>
                    <a:pt x="1548" y="70"/>
                  </a:lnTo>
                  <a:lnTo>
                    <a:pt x="1550" y="70"/>
                  </a:lnTo>
                  <a:lnTo>
                    <a:pt x="1553" y="65"/>
                  </a:lnTo>
                  <a:lnTo>
                    <a:pt x="1554" y="63"/>
                  </a:lnTo>
                  <a:lnTo>
                    <a:pt x="1556" y="62"/>
                  </a:lnTo>
                  <a:lnTo>
                    <a:pt x="1556" y="59"/>
                  </a:lnTo>
                  <a:lnTo>
                    <a:pt x="1556" y="56"/>
                  </a:lnTo>
                  <a:lnTo>
                    <a:pt x="1547" y="46"/>
                  </a:lnTo>
                  <a:lnTo>
                    <a:pt x="1543" y="43"/>
                  </a:lnTo>
                  <a:lnTo>
                    <a:pt x="1542" y="48"/>
                  </a:lnTo>
                  <a:lnTo>
                    <a:pt x="1542" y="51"/>
                  </a:lnTo>
                  <a:lnTo>
                    <a:pt x="1542" y="54"/>
                  </a:lnTo>
                  <a:lnTo>
                    <a:pt x="1543" y="57"/>
                  </a:lnTo>
                  <a:lnTo>
                    <a:pt x="1545" y="59"/>
                  </a:lnTo>
                  <a:lnTo>
                    <a:pt x="1545" y="60"/>
                  </a:lnTo>
                  <a:lnTo>
                    <a:pt x="1545" y="63"/>
                  </a:lnTo>
                  <a:lnTo>
                    <a:pt x="1542" y="79"/>
                  </a:lnTo>
                  <a:lnTo>
                    <a:pt x="1542" y="80"/>
                  </a:lnTo>
                  <a:lnTo>
                    <a:pt x="1539" y="80"/>
                  </a:lnTo>
                  <a:lnTo>
                    <a:pt x="1537" y="80"/>
                  </a:lnTo>
                  <a:lnTo>
                    <a:pt x="1537" y="82"/>
                  </a:lnTo>
                  <a:lnTo>
                    <a:pt x="1536" y="83"/>
                  </a:lnTo>
                  <a:lnTo>
                    <a:pt x="1536" y="85"/>
                  </a:lnTo>
                  <a:lnTo>
                    <a:pt x="1534" y="85"/>
                  </a:lnTo>
                  <a:lnTo>
                    <a:pt x="1534" y="85"/>
                  </a:lnTo>
                  <a:lnTo>
                    <a:pt x="1536" y="77"/>
                  </a:lnTo>
                  <a:lnTo>
                    <a:pt x="1534" y="70"/>
                  </a:lnTo>
                  <a:lnTo>
                    <a:pt x="1533" y="66"/>
                  </a:lnTo>
                  <a:lnTo>
                    <a:pt x="1530" y="60"/>
                  </a:lnTo>
                  <a:lnTo>
                    <a:pt x="1528" y="59"/>
                  </a:lnTo>
                  <a:lnTo>
                    <a:pt x="1528" y="59"/>
                  </a:lnTo>
                  <a:lnTo>
                    <a:pt x="1528" y="57"/>
                  </a:lnTo>
                  <a:lnTo>
                    <a:pt x="1527" y="56"/>
                  </a:lnTo>
                  <a:lnTo>
                    <a:pt x="1527" y="56"/>
                  </a:lnTo>
                  <a:lnTo>
                    <a:pt x="1527" y="56"/>
                  </a:lnTo>
                  <a:lnTo>
                    <a:pt x="1523" y="59"/>
                  </a:lnTo>
                  <a:lnTo>
                    <a:pt x="1522" y="63"/>
                  </a:lnTo>
                  <a:lnTo>
                    <a:pt x="1520" y="66"/>
                  </a:lnTo>
                  <a:lnTo>
                    <a:pt x="1520" y="71"/>
                  </a:lnTo>
                  <a:lnTo>
                    <a:pt x="1519" y="70"/>
                  </a:lnTo>
                  <a:lnTo>
                    <a:pt x="1516" y="70"/>
                  </a:lnTo>
                  <a:lnTo>
                    <a:pt x="1514" y="68"/>
                  </a:lnTo>
                  <a:lnTo>
                    <a:pt x="1514" y="66"/>
                  </a:lnTo>
                  <a:lnTo>
                    <a:pt x="1511" y="68"/>
                  </a:lnTo>
                  <a:lnTo>
                    <a:pt x="1510" y="66"/>
                  </a:lnTo>
                  <a:lnTo>
                    <a:pt x="1513" y="65"/>
                  </a:lnTo>
                  <a:lnTo>
                    <a:pt x="1516" y="62"/>
                  </a:lnTo>
                  <a:lnTo>
                    <a:pt x="1517" y="59"/>
                  </a:lnTo>
                  <a:lnTo>
                    <a:pt x="1520" y="54"/>
                  </a:lnTo>
                  <a:lnTo>
                    <a:pt x="1520" y="48"/>
                  </a:lnTo>
                  <a:lnTo>
                    <a:pt x="1519" y="45"/>
                  </a:lnTo>
                  <a:lnTo>
                    <a:pt x="1516" y="45"/>
                  </a:lnTo>
                  <a:lnTo>
                    <a:pt x="1514" y="46"/>
                  </a:lnTo>
                  <a:lnTo>
                    <a:pt x="1514" y="48"/>
                  </a:lnTo>
                  <a:lnTo>
                    <a:pt x="1514" y="50"/>
                  </a:lnTo>
                  <a:lnTo>
                    <a:pt x="1514" y="54"/>
                  </a:lnTo>
                  <a:lnTo>
                    <a:pt x="1514" y="57"/>
                  </a:lnTo>
                  <a:lnTo>
                    <a:pt x="1502" y="59"/>
                  </a:lnTo>
                  <a:lnTo>
                    <a:pt x="1503" y="57"/>
                  </a:lnTo>
                  <a:lnTo>
                    <a:pt x="1505" y="56"/>
                  </a:lnTo>
                  <a:lnTo>
                    <a:pt x="1505" y="54"/>
                  </a:lnTo>
                  <a:lnTo>
                    <a:pt x="1505" y="51"/>
                  </a:lnTo>
                  <a:lnTo>
                    <a:pt x="1503" y="51"/>
                  </a:lnTo>
                  <a:lnTo>
                    <a:pt x="1502" y="50"/>
                  </a:lnTo>
                  <a:lnTo>
                    <a:pt x="1500" y="48"/>
                  </a:lnTo>
                  <a:lnTo>
                    <a:pt x="1500" y="46"/>
                  </a:lnTo>
                  <a:lnTo>
                    <a:pt x="1500" y="45"/>
                  </a:lnTo>
                  <a:lnTo>
                    <a:pt x="1499" y="45"/>
                  </a:lnTo>
                  <a:lnTo>
                    <a:pt x="1491" y="43"/>
                  </a:lnTo>
                  <a:lnTo>
                    <a:pt x="1488" y="43"/>
                  </a:lnTo>
                  <a:lnTo>
                    <a:pt x="1487" y="45"/>
                  </a:lnTo>
                  <a:lnTo>
                    <a:pt x="1485" y="46"/>
                  </a:lnTo>
                  <a:lnTo>
                    <a:pt x="1487" y="48"/>
                  </a:lnTo>
                  <a:lnTo>
                    <a:pt x="1490" y="48"/>
                  </a:lnTo>
                  <a:lnTo>
                    <a:pt x="1490" y="50"/>
                  </a:lnTo>
                  <a:lnTo>
                    <a:pt x="1488" y="50"/>
                  </a:lnTo>
                  <a:lnTo>
                    <a:pt x="1487" y="50"/>
                  </a:lnTo>
                  <a:lnTo>
                    <a:pt x="1485" y="51"/>
                  </a:lnTo>
                  <a:lnTo>
                    <a:pt x="1483" y="53"/>
                  </a:lnTo>
                  <a:lnTo>
                    <a:pt x="1485" y="56"/>
                  </a:lnTo>
                  <a:lnTo>
                    <a:pt x="1485" y="56"/>
                  </a:lnTo>
                  <a:lnTo>
                    <a:pt x="1488" y="59"/>
                  </a:lnTo>
                  <a:lnTo>
                    <a:pt x="1488" y="59"/>
                  </a:lnTo>
                  <a:lnTo>
                    <a:pt x="1487" y="62"/>
                  </a:lnTo>
                  <a:lnTo>
                    <a:pt x="1490" y="62"/>
                  </a:lnTo>
                  <a:lnTo>
                    <a:pt x="1496" y="66"/>
                  </a:lnTo>
                  <a:lnTo>
                    <a:pt x="1494" y="70"/>
                  </a:lnTo>
                  <a:lnTo>
                    <a:pt x="1493" y="70"/>
                  </a:lnTo>
                  <a:lnTo>
                    <a:pt x="1490" y="68"/>
                  </a:lnTo>
                  <a:lnTo>
                    <a:pt x="1488" y="68"/>
                  </a:lnTo>
                  <a:lnTo>
                    <a:pt x="1487" y="70"/>
                  </a:lnTo>
                  <a:lnTo>
                    <a:pt x="1487" y="71"/>
                  </a:lnTo>
                  <a:lnTo>
                    <a:pt x="1487" y="74"/>
                  </a:lnTo>
                  <a:lnTo>
                    <a:pt x="1487" y="77"/>
                  </a:lnTo>
                  <a:lnTo>
                    <a:pt x="1488" y="80"/>
                  </a:lnTo>
                  <a:lnTo>
                    <a:pt x="1490" y="82"/>
                  </a:lnTo>
                  <a:lnTo>
                    <a:pt x="1490" y="83"/>
                  </a:lnTo>
                  <a:lnTo>
                    <a:pt x="1488" y="88"/>
                  </a:lnTo>
                  <a:lnTo>
                    <a:pt x="1487" y="88"/>
                  </a:lnTo>
                  <a:lnTo>
                    <a:pt x="1483" y="83"/>
                  </a:lnTo>
                  <a:lnTo>
                    <a:pt x="1480" y="80"/>
                  </a:lnTo>
                  <a:lnTo>
                    <a:pt x="1476" y="79"/>
                  </a:lnTo>
                  <a:lnTo>
                    <a:pt x="1476" y="76"/>
                  </a:lnTo>
                  <a:lnTo>
                    <a:pt x="1476" y="74"/>
                  </a:lnTo>
                  <a:lnTo>
                    <a:pt x="1471" y="73"/>
                  </a:lnTo>
                  <a:lnTo>
                    <a:pt x="1473" y="71"/>
                  </a:lnTo>
                  <a:lnTo>
                    <a:pt x="1471" y="68"/>
                  </a:lnTo>
                  <a:lnTo>
                    <a:pt x="1468" y="70"/>
                  </a:lnTo>
                  <a:lnTo>
                    <a:pt x="1462" y="74"/>
                  </a:lnTo>
                  <a:lnTo>
                    <a:pt x="1462" y="79"/>
                  </a:lnTo>
                  <a:lnTo>
                    <a:pt x="1462" y="83"/>
                  </a:lnTo>
                  <a:lnTo>
                    <a:pt x="1460" y="86"/>
                  </a:lnTo>
                  <a:lnTo>
                    <a:pt x="1462" y="90"/>
                  </a:lnTo>
                  <a:lnTo>
                    <a:pt x="1463" y="91"/>
                  </a:lnTo>
                  <a:lnTo>
                    <a:pt x="1468" y="91"/>
                  </a:lnTo>
                  <a:lnTo>
                    <a:pt x="1476" y="94"/>
                  </a:lnTo>
                  <a:lnTo>
                    <a:pt x="1480" y="94"/>
                  </a:lnTo>
                  <a:lnTo>
                    <a:pt x="1480" y="94"/>
                  </a:lnTo>
                  <a:lnTo>
                    <a:pt x="1482" y="96"/>
                  </a:lnTo>
                  <a:lnTo>
                    <a:pt x="1483" y="99"/>
                  </a:lnTo>
                  <a:lnTo>
                    <a:pt x="1485" y="100"/>
                  </a:lnTo>
                  <a:lnTo>
                    <a:pt x="1490" y="103"/>
                  </a:lnTo>
                  <a:lnTo>
                    <a:pt x="1490" y="105"/>
                  </a:lnTo>
                  <a:lnTo>
                    <a:pt x="1490" y="105"/>
                  </a:lnTo>
                  <a:lnTo>
                    <a:pt x="1491" y="108"/>
                  </a:lnTo>
                  <a:lnTo>
                    <a:pt x="1496" y="114"/>
                  </a:lnTo>
                  <a:lnTo>
                    <a:pt x="1496" y="119"/>
                  </a:lnTo>
                  <a:lnTo>
                    <a:pt x="1496" y="123"/>
                  </a:lnTo>
                  <a:lnTo>
                    <a:pt x="1493" y="125"/>
                  </a:lnTo>
                  <a:lnTo>
                    <a:pt x="1490" y="125"/>
                  </a:lnTo>
                  <a:lnTo>
                    <a:pt x="1487" y="122"/>
                  </a:lnTo>
                  <a:lnTo>
                    <a:pt x="1479" y="111"/>
                  </a:lnTo>
                  <a:lnTo>
                    <a:pt x="1477" y="110"/>
                  </a:lnTo>
                  <a:lnTo>
                    <a:pt x="1471" y="110"/>
                  </a:lnTo>
                  <a:lnTo>
                    <a:pt x="1470" y="108"/>
                  </a:lnTo>
                  <a:lnTo>
                    <a:pt x="1468" y="108"/>
                  </a:lnTo>
                  <a:lnTo>
                    <a:pt x="1466" y="110"/>
                  </a:lnTo>
                  <a:lnTo>
                    <a:pt x="1463" y="113"/>
                  </a:lnTo>
                  <a:lnTo>
                    <a:pt x="1462" y="116"/>
                  </a:lnTo>
                  <a:lnTo>
                    <a:pt x="1462" y="117"/>
                  </a:lnTo>
                  <a:lnTo>
                    <a:pt x="1462" y="123"/>
                  </a:lnTo>
                  <a:lnTo>
                    <a:pt x="1462" y="125"/>
                  </a:lnTo>
                  <a:lnTo>
                    <a:pt x="1460" y="127"/>
                  </a:lnTo>
                  <a:lnTo>
                    <a:pt x="1460" y="128"/>
                  </a:lnTo>
                  <a:lnTo>
                    <a:pt x="1460" y="128"/>
                  </a:lnTo>
                  <a:lnTo>
                    <a:pt x="1459" y="128"/>
                  </a:lnTo>
                  <a:lnTo>
                    <a:pt x="1457" y="131"/>
                  </a:lnTo>
                  <a:lnTo>
                    <a:pt x="1450" y="140"/>
                  </a:lnTo>
                  <a:lnTo>
                    <a:pt x="1450" y="142"/>
                  </a:lnTo>
                  <a:lnTo>
                    <a:pt x="1450" y="142"/>
                  </a:lnTo>
                  <a:lnTo>
                    <a:pt x="1459" y="145"/>
                  </a:lnTo>
                  <a:lnTo>
                    <a:pt x="1460" y="148"/>
                  </a:lnTo>
                  <a:lnTo>
                    <a:pt x="1465" y="154"/>
                  </a:lnTo>
                  <a:lnTo>
                    <a:pt x="1466" y="156"/>
                  </a:lnTo>
                  <a:lnTo>
                    <a:pt x="1468" y="157"/>
                  </a:lnTo>
                  <a:lnTo>
                    <a:pt x="1468" y="159"/>
                  </a:lnTo>
                  <a:lnTo>
                    <a:pt x="1468" y="160"/>
                  </a:lnTo>
                  <a:lnTo>
                    <a:pt x="1466" y="159"/>
                  </a:lnTo>
                  <a:lnTo>
                    <a:pt x="1465" y="157"/>
                  </a:lnTo>
                  <a:lnTo>
                    <a:pt x="1463" y="156"/>
                  </a:lnTo>
                  <a:lnTo>
                    <a:pt x="1456" y="153"/>
                  </a:lnTo>
                  <a:lnTo>
                    <a:pt x="1436" y="148"/>
                  </a:lnTo>
                  <a:lnTo>
                    <a:pt x="1430" y="151"/>
                  </a:lnTo>
                  <a:lnTo>
                    <a:pt x="1428" y="154"/>
                  </a:lnTo>
                  <a:lnTo>
                    <a:pt x="1423" y="162"/>
                  </a:lnTo>
                  <a:lnTo>
                    <a:pt x="1414" y="170"/>
                  </a:lnTo>
                  <a:lnTo>
                    <a:pt x="1411" y="176"/>
                  </a:lnTo>
                  <a:lnTo>
                    <a:pt x="1409" y="177"/>
                  </a:lnTo>
                  <a:lnTo>
                    <a:pt x="1406" y="179"/>
                  </a:lnTo>
                  <a:lnTo>
                    <a:pt x="1405" y="180"/>
                  </a:lnTo>
                  <a:lnTo>
                    <a:pt x="1403" y="188"/>
                  </a:lnTo>
                  <a:lnTo>
                    <a:pt x="1402" y="191"/>
                  </a:lnTo>
                  <a:lnTo>
                    <a:pt x="1403" y="191"/>
                  </a:lnTo>
                  <a:lnTo>
                    <a:pt x="1406" y="190"/>
                  </a:lnTo>
                  <a:lnTo>
                    <a:pt x="1408" y="190"/>
                  </a:lnTo>
                  <a:lnTo>
                    <a:pt x="1405" y="194"/>
                  </a:lnTo>
                  <a:lnTo>
                    <a:pt x="1405" y="196"/>
                  </a:lnTo>
                  <a:lnTo>
                    <a:pt x="1413" y="194"/>
                  </a:lnTo>
                  <a:lnTo>
                    <a:pt x="1409" y="197"/>
                  </a:lnTo>
                  <a:lnTo>
                    <a:pt x="1397" y="199"/>
                  </a:lnTo>
                  <a:lnTo>
                    <a:pt x="1389" y="205"/>
                  </a:lnTo>
                  <a:lnTo>
                    <a:pt x="1388" y="207"/>
                  </a:lnTo>
                  <a:lnTo>
                    <a:pt x="1402" y="205"/>
                  </a:lnTo>
                  <a:lnTo>
                    <a:pt x="1405" y="205"/>
                  </a:lnTo>
                  <a:lnTo>
                    <a:pt x="1406" y="207"/>
                  </a:lnTo>
                  <a:lnTo>
                    <a:pt x="1405" y="207"/>
                  </a:lnTo>
                  <a:lnTo>
                    <a:pt x="1405" y="208"/>
                  </a:lnTo>
                  <a:lnTo>
                    <a:pt x="1403" y="210"/>
                  </a:lnTo>
                  <a:lnTo>
                    <a:pt x="1399" y="210"/>
                  </a:lnTo>
                  <a:lnTo>
                    <a:pt x="1396" y="211"/>
                  </a:lnTo>
                  <a:lnTo>
                    <a:pt x="1388" y="211"/>
                  </a:lnTo>
                  <a:lnTo>
                    <a:pt x="1385" y="213"/>
                  </a:lnTo>
                  <a:lnTo>
                    <a:pt x="1388" y="217"/>
                  </a:lnTo>
                  <a:lnTo>
                    <a:pt x="1391" y="219"/>
                  </a:lnTo>
                  <a:lnTo>
                    <a:pt x="1399" y="217"/>
                  </a:lnTo>
                  <a:lnTo>
                    <a:pt x="1397" y="220"/>
                  </a:lnTo>
                  <a:lnTo>
                    <a:pt x="1391" y="222"/>
                  </a:lnTo>
                  <a:lnTo>
                    <a:pt x="1389" y="224"/>
                  </a:lnTo>
                  <a:lnTo>
                    <a:pt x="1391" y="227"/>
                  </a:lnTo>
                  <a:lnTo>
                    <a:pt x="1396" y="228"/>
                  </a:lnTo>
                  <a:lnTo>
                    <a:pt x="1397" y="230"/>
                  </a:lnTo>
                  <a:lnTo>
                    <a:pt x="1396" y="234"/>
                  </a:lnTo>
                  <a:lnTo>
                    <a:pt x="1394" y="236"/>
                  </a:lnTo>
                  <a:lnTo>
                    <a:pt x="1388" y="236"/>
                  </a:lnTo>
                  <a:lnTo>
                    <a:pt x="1386" y="237"/>
                  </a:lnTo>
                  <a:lnTo>
                    <a:pt x="1385" y="239"/>
                  </a:lnTo>
                  <a:lnTo>
                    <a:pt x="1383" y="239"/>
                  </a:lnTo>
                  <a:lnTo>
                    <a:pt x="1382" y="239"/>
                  </a:lnTo>
                  <a:lnTo>
                    <a:pt x="1380" y="240"/>
                  </a:lnTo>
                  <a:lnTo>
                    <a:pt x="1388" y="251"/>
                  </a:lnTo>
                  <a:lnTo>
                    <a:pt x="1389" y="251"/>
                  </a:lnTo>
                  <a:lnTo>
                    <a:pt x="1403" y="253"/>
                  </a:lnTo>
                  <a:lnTo>
                    <a:pt x="1406" y="256"/>
                  </a:lnTo>
                  <a:lnTo>
                    <a:pt x="1406" y="257"/>
                  </a:lnTo>
                  <a:lnTo>
                    <a:pt x="1405" y="257"/>
                  </a:lnTo>
                  <a:lnTo>
                    <a:pt x="1403" y="259"/>
                  </a:lnTo>
                  <a:lnTo>
                    <a:pt x="1402" y="262"/>
                  </a:lnTo>
                  <a:lnTo>
                    <a:pt x="1402" y="264"/>
                  </a:lnTo>
                  <a:lnTo>
                    <a:pt x="1399" y="265"/>
                  </a:lnTo>
                  <a:lnTo>
                    <a:pt x="1391" y="271"/>
                  </a:lnTo>
                  <a:lnTo>
                    <a:pt x="1389" y="271"/>
                  </a:lnTo>
                  <a:lnTo>
                    <a:pt x="1389" y="271"/>
                  </a:lnTo>
                  <a:lnTo>
                    <a:pt x="1393" y="267"/>
                  </a:lnTo>
                  <a:lnTo>
                    <a:pt x="1393" y="265"/>
                  </a:lnTo>
                  <a:lnTo>
                    <a:pt x="1393" y="265"/>
                  </a:lnTo>
                  <a:lnTo>
                    <a:pt x="1391" y="264"/>
                  </a:lnTo>
                  <a:lnTo>
                    <a:pt x="1391" y="262"/>
                  </a:lnTo>
                  <a:lnTo>
                    <a:pt x="1391" y="262"/>
                  </a:lnTo>
                  <a:lnTo>
                    <a:pt x="1389" y="262"/>
                  </a:lnTo>
                  <a:lnTo>
                    <a:pt x="1388" y="262"/>
                  </a:lnTo>
                  <a:lnTo>
                    <a:pt x="1379" y="271"/>
                  </a:lnTo>
                  <a:lnTo>
                    <a:pt x="1376" y="273"/>
                  </a:lnTo>
                  <a:lnTo>
                    <a:pt x="1374" y="270"/>
                  </a:lnTo>
                  <a:lnTo>
                    <a:pt x="1376" y="270"/>
                  </a:lnTo>
                  <a:lnTo>
                    <a:pt x="1376" y="270"/>
                  </a:lnTo>
                  <a:lnTo>
                    <a:pt x="1377" y="268"/>
                  </a:lnTo>
                  <a:lnTo>
                    <a:pt x="1379" y="267"/>
                  </a:lnTo>
                  <a:lnTo>
                    <a:pt x="1376" y="264"/>
                  </a:lnTo>
                  <a:lnTo>
                    <a:pt x="1376" y="260"/>
                  </a:lnTo>
                  <a:lnTo>
                    <a:pt x="1376" y="257"/>
                  </a:lnTo>
                  <a:lnTo>
                    <a:pt x="1377" y="253"/>
                  </a:lnTo>
                  <a:lnTo>
                    <a:pt x="1376" y="251"/>
                  </a:lnTo>
                  <a:lnTo>
                    <a:pt x="1373" y="251"/>
                  </a:lnTo>
                  <a:lnTo>
                    <a:pt x="1371" y="254"/>
                  </a:lnTo>
                  <a:lnTo>
                    <a:pt x="1369" y="254"/>
                  </a:lnTo>
                  <a:lnTo>
                    <a:pt x="1368" y="253"/>
                  </a:lnTo>
                  <a:lnTo>
                    <a:pt x="1368" y="250"/>
                  </a:lnTo>
                  <a:lnTo>
                    <a:pt x="1366" y="247"/>
                  </a:lnTo>
                  <a:lnTo>
                    <a:pt x="1366" y="242"/>
                  </a:lnTo>
                  <a:lnTo>
                    <a:pt x="1366" y="239"/>
                  </a:lnTo>
                  <a:lnTo>
                    <a:pt x="1368" y="236"/>
                  </a:lnTo>
                  <a:lnTo>
                    <a:pt x="1368" y="228"/>
                  </a:lnTo>
                  <a:lnTo>
                    <a:pt x="1365" y="228"/>
                  </a:lnTo>
                  <a:lnTo>
                    <a:pt x="1357" y="237"/>
                  </a:lnTo>
                  <a:lnTo>
                    <a:pt x="1346" y="240"/>
                  </a:lnTo>
                  <a:lnTo>
                    <a:pt x="1340" y="244"/>
                  </a:lnTo>
                  <a:lnTo>
                    <a:pt x="1322" y="247"/>
                  </a:lnTo>
                  <a:lnTo>
                    <a:pt x="1319" y="251"/>
                  </a:lnTo>
                  <a:lnTo>
                    <a:pt x="1317" y="251"/>
                  </a:lnTo>
                  <a:lnTo>
                    <a:pt x="1316" y="253"/>
                  </a:lnTo>
                  <a:lnTo>
                    <a:pt x="1314" y="251"/>
                  </a:lnTo>
                  <a:lnTo>
                    <a:pt x="1322" y="247"/>
                  </a:lnTo>
                  <a:lnTo>
                    <a:pt x="1325" y="242"/>
                  </a:lnTo>
                  <a:lnTo>
                    <a:pt x="1328" y="240"/>
                  </a:lnTo>
                  <a:lnTo>
                    <a:pt x="1334" y="242"/>
                  </a:lnTo>
                  <a:lnTo>
                    <a:pt x="1348" y="239"/>
                  </a:lnTo>
                  <a:lnTo>
                    <a:pt x="1353" y="236"/>
                  </a:lnTo>
                  <a:lnTo>
                    <a:pt x="1354" y="234"/>
                  </a:lnTo>
                  <a:lnTo>
                    <a:pt x="1357" y="233"/>
                  </a:lnTo>
                  <a:lnTo>
                    <a:pt x="1365" y="219"/>
                  </a:lnTo>
                  <a:lnTo>
                    <a:pt x="1365" y="217"/>
                  </a:lnTo>
                  <a:lnTo>
                    <a:pt x="1365" y="216"/>
                  </a:lnTo>
                  <a:lnTo>
                    <a:pt x="1343" y="211"/>
                  </a:lnTo>
                  <a:lnTo>
                    <a:pt x="1337" y="213"/>
                  </a:lnTo>
                  <a:lnTo>
                    <a:pt x="1337" y="213"/>
                  </a:lnTo>
                  <a:lnTo>
                    <a:pt x="1337" y="210"/>
                  </a:lnTo>
                  <a:lnTo>
                    <a:pt x="1336" y="208"/>
                  </a:lnTo>
                  <a:lnTo>
                    <a:pt x="1336" y="208"/>
                  </a:lnTo>
                  <a:lnTo>
                    <a:pt x="1334" y="208"/>
                  </a:lnTo>
                  <a:lnTo>
                    <a:pt x="1334" y="208"/>
                  </a:lnTo>
                  <a:lnTo>
                    <a:pt x="1331" y="205"/>
                  </a:lnTo>
                  <a:lnTo>
                    <a:pt x="1328" y="203"/>
                  </a:lnTo>
                  <a:lnTo>
                    <a:pt x="1325" y="203"/>
                  </a:lnTo>
                  <a:lnTo>
                    <a:pt x="1322" y="203"/>
                  </a:lnTo>
                  <a:lnTo>
                    <a:pt x="1320" y="207"/>
                  </a:lnTo>
                  <a:lnTo>
                    <a:pt x="1320" y="207"/>
                  </a:lnTo>
                  <a:lnTo>
                    <a:pt x="1319" y="213"/>
                  </a:lnTo>
                  <a:lnTo>
                    <a:pt x="1317" y="222"/>
                  </a:lnTo>
                  <a:lnTo>
                    <a:pt x="1317" y="224"/>
                  </a:lnTo>
                  <a:lnTo>
                    <a:pt x="1331" y="228"/>
                  </a:lnTo>
                  <a:lnTo>
                    <a:pt x="1332" y="230"/>
                  </a:lnTo>
                  <a:lnTo>
                    <a:pt x="1334" y="233"/>
                  </a:lnTo>
                  <a:lnTo>
                    <a:pt x="1331" y="234"/>
                  </a:lnTo>
                  <a:lnTo>
                    <a:pt x="1323" y="228"/>
                  </a:lnTo>
                  <a:lnTo>
                    <a:pt x="1312" y="231"/>
                  </a:lnTo>
                  <a:lnTo>
                    <a:pt x="1309" y="230"/>
                  </a:lnTo>
                  <a:lnTo>
                    <a:pt x="1311" y="228"/>
                  </a:lnTo>
                  <a:lnTo>
                    <a:pt x="1312" y="227"/>
                  </a:lnTo>
                  <a:lnTo>
                    <a:pt x="1314" y="224"/>
                  </a:lnTo>
                  <a:lnTo>
                    <a:pt x="1314" y="220"/>
                  </a:lnTo>
                  <a:lnTo>
                    <a:pt x="1312" y="216"/>
                  </a:lnTo>
                  <a:lnTo>
                    <a:pt x="1312" y="213"/>
                  </a:lnTo>
                  <a:lnTo>
                    <a:pt x="1311" y="211"/>
                  </a:lnTo>
                  <a:lnTo>
                    <a:pt x="1312" y="208"/>
                  </a:lnTo>
                  <a:lnTo>
                    <a:pt x="1316" y="205"/>
                  </a:lnTo>
                  <a:lnTo>
                    <a:pt x="1316" y="200"/>
                  </a:lnTo>
                  <a:lnTo>
                    <a:pt x="1316" y="197"/>
                  </a:lnTo>
                  <a:lnTo>
                    <a:pt x="1312" y="196"/>
                  </a:lnTo>
                  <a:lnTo>
                    <a:pt x="1303" y="199"/>
                  </a:lnTo>
                  <a:lnTo>
                    <a:pt x="1303" y="203"/>
                  </a:lnTo>
                  <a:lnTo>
                    <a:pt x="1303" y="207"/>
                  </a:lnTo>
                  <a:lnTo>
                    <a:pt x="1303" y="210"/>
                  </a:lnTo>
                  <a:lnTo>
                    <a:pt x="1302" y="210"/>
                  </a:lnTo>
                  <a:lnTo>
                    <a:pt x="1300" y="207"/>
                  </a:lnTo>
                  <a:lnTo>
                    <a:pt x="1300" y="196"/>
                  </a:lnTo>
                  <a:lnTo>
                    <a:pt x="1300" y="194"/>
                  </a:lnTo>
                  <a:lnTo>
                    <a:pt x="1300" y="193"/>
                  </a:lnTo>
                  <a:lnTo>
                    <a:pt x="1299" y="194"/>
                  </a:lnTo>
                  <a:lnTo>
                    <a:pt x="1292" y="197"/>
                  </a:lnTo>
                  <a:lnTo>
                    <a:pt x="1291" y="199"/>
                  </a:lnTo>
                  <a:lnTo>
                    <a:pt x="1292" y="196"/>
                  </a:lnTo>
                  <a:lnTo>
                    <a:pt x="1294" y="193"/>
                  </a:lnTo>
                  <a:lnTo>
                    <a:pt x="1296" y="191"/>
                  </a:lnTo>
                  <a:lnTo>
                    <a:pt x="1294" y="190"/>
                  </a:lnTo>
                  <a:lnTo>
                    <a:pt x="1291" y="190"/>
                  </a:lnTo>
                  <a:lnTo>
                    <a:pt x="1279" y="202"/>
                  </a:lnTo>
                  <a:lnTo>
                    <a:pt x="1279" y="205"/>
                  </a:lnTo>
                  <a:lnTo>
                    <a:pt x="1279" y="208"/>
                  </a:lnTo>
                  <a:lnTo>
                    <a:pt x="1280" y="211"/>
                  </a:lnTo>
                  <a:lnTo>
                    <a:pt x="1283" y="213"/>
                  </a:lnTo>
                  <a:lnTo>
                    <a:pt x="1285" y="216"/>
                  </a:lnTo>
                  <a:lnTo>
                    <a:pt x="1285" y="214"/>
                  </a:lnTo>
                  <a:lnTo>
                    <a:pt x="1283" y="214"/>
                  </a:lnTo>
                  <a:lnTo>
                    <a:pt x="1283" y="216"/>
                  </a:lnTo>
                  <a:lnTo>
                    <a:pt x="1282" y="216"/>
                  </a:lnTo>
                  <a:lnTo>
                    <a:pt x="1282" y="219"/>
                  </a:lnTo>
                  <a:lnTo>
                    <a:pt x="1282" y="219"/>
                  </a:lnTo>
                  <a:lnTo>
                    <a:pt x="1283" y="219"/>
                  </a:lnTo>
                  <a:lnTo>
                    <a:pt x="1283" y="219"/>
                  </a:lnTo>
                  <a:lnTo>
                    <a:pt x="1283" y="222"/>
                  </a:lnTo>
                  <a:lnTo>
                    <a:pt x="1283" y="224"/>
                  </a:lnTo>
                  <a:lnTo>
                    <a:pt x="1283" y="225"/>
                  </a:lnTo>
                  <a:lnTo>
                    <a:pt x="1283" y="228"/>
                  </a:lnTo>
                  <a:lnTo>
                    <a:pt x="1280" y="224"/>
                  </a:lnTo>
                  <a:lnTo>
                    <a:pt x="1279" y="222"/>
                  </a:lnTo>
                  <a:lnTo>
                    <a:pt x="1279" y="219"/>
                  </a:lnTo>
                  <a:lnTo>
                    <a:pt x="1279" y="217"/>
                  </a:lnTo>
                  <a:lnTo>
                    <a:pt x="1277" y="216"/>
                  </a:lnTo>
                  <a:lnTo>
                    <a:pt x="1271" y="207"/>
                  </a:lnTo>
                  <a:lnTo>
                    <a:pt x="1269" y="205"/>
                  </a:lnTo>
                  <a:lnTo>
                    <a:pt x="1265" y="203"/>
                  </a:lnTo>
                  <a:lnTo>
                    <a:pt x="1263" y="202"/>
                  </a:lnTo>
                  <a:lnTo>
                    <a:pt x="1262" y="197"/>
                  </a:lnTo>
                  <a:lnTo>
                    <a:pt x="1262" y="196"/>
                  </a:lnTo>
                  <a:lnTo>
                    <a:pt x="1262" y="193"/>
                  </a:lnTo>
                  <a:lnTo>
                    <a:pt x="1262" y="193"/>
                  </a:lnTo>
                  <a:lnTo>
                    <a:pt x="1260" y="191"/>
                  </a:lnTo>
                  <a:lnTo>
                    <a:pt x="1259" y="190"/>
                  </a:lnTo>
                  <a:lnTo>
                    <a:pt x="1259" y="191"/>
                  </a:lnTo>
                  <a:lnTo>
                    <a:pt x="1257" y="194"/>
                  </a:lnTo>
                  <a:lnTo>
                    <a:pt x="1255" y="196"/>
                  </a:lnTo>
                  <a:lnTo>
                    <a:pt x="1255" y="199"/>
                  </a:lnTo>
                  <a:lnTo>
                    <a:pt x="1255" y="202"/>
                  </a:lnTo>
                  <a:lnTo>
                    <a:pt x="1255" y="205"/>
                  </a:lnTo>
                  <a:lnTo>
                    <a:pt x="1255" y="205"/>
                  </a:lnTo>
                  <a:lnTo>
                    <a:pt x="1255" y="208"/>
                  </a:lnTo>
                  <a:lnTo>
                    <a:pt x="1254" y="210"/>
                  </a:lnTo>
                  <a:lnTo>
                    <a:pt x="1254" y="211"/>
                  </a:lnTo>
                  <a:lnTo>
                    <a:pt x="1255" y="213"/>
                  </a:lnTo>
                  <a:lnTo>
                    <a:pt x="1255" y="213"/>
                  </a:lnTo>
                  <a:lnTo>
                    <a:pt x="1254" y="216"/>
                  </a:lnTo>
                  <a:lnTo>
                    <a:pt x="1251" y="208"/>
                  </a:lnTo>
                  <a:lnTo>
                    <a:pt x="1251" y="207"/>
                  </a:lnTo>
                  <a:lnTo>
                    <a:pt x="1251" y="202"/>
                  </a:lnTo>
                  <a:lnTo>
                    <a:pt x="1248" y="202"/>
                  </a:lnTo>
                  <a:lnTo>
                    <a:pt x="1243" y="207"/>
                  </a:lnTo>
                  <a:lnTo>
                    <a:pt x="1242" y="207"/>
                  </a:lnTo>
                  <a:lnTo>
                    <a:pt x="1239" y="208"/>
                  </a:lnTo>
                  <a:lnTo>
                    <a:pt x="1235" y="211"/>
                  </a:lnTo>
                  <a:lnTo>
                    <a:pt x="1235" y="211"/>
                  </a:lnTo>
                  <a:lnTo>
                    <a:pt x="1234" y="216"/>
                  </a:lnTo>
                  <a:lnTo>
                    <a:pt x="1234" y="216"/>
                  </a:lnTo>
                  <a:lnTo>
                    <a:pt x="1237" y="217"/>
                  </a:lnTo>
                  <a:lnTo>
                    <a:pt x="1237" y="219"/>
                  </a:lnTo>
                  <a:lnTo>
                    <a:pt x="1239" y="220"/>
                  </a:lnTo>
                  <a:lnTo>
                    <a:pt x="1239" y="222"/>
                  </a:lnTo>
                  <a:lnTo>
                    <a:pt x="1240" y="224"/>
                  </a:lnTo>
                  <a:lnTo>
                    <a:pt x="1242" y="224"/>
                  </a:lnTo>
                  <a:lnTo>
                    <a:pt x="1245" y="225"/>
                  </a:lnTo>
                  <a:lnTo>
                    <a:pt x="1255" y="222"/>
                  </a:lnTo>
                  <a:lnTo>
                    <a:pt x="1254" y="224"/>
                  </a:lnTo>
                  <a:lnTo>
                    <a:pt x="1252" y="227"/>
                  </a:lnTo>
                  <a:lnTo>
                    <a:pt x="1251" y="228"/>
                  </a:lnTo>
                  <a:lnTo>
                    <a:pt x="1251" y="231"/>
                  </a:lnTo>
                  <a:lnTo>
                    <a:pt x="1252" y="237"/>
                  </a:lnTo>
                  <a:lnTo>
                    <a:pt x="1254" y="239"/>
                  </a:lnTo>
                  <a:lnTo>
                    <a:pt x="1257" y="240"/>
                  </a:lnTo>
                  <a:lnTo>
                    <a:pt x="1263" y="239"/>
                  </a:lnTo>
                  <a:lnTo>
                    <a:pt x="1265" y="240"/>
                  </a:lnTo>
                  <a:lnTo>
                    <a:pt x="1269" y="247"/>
                  </a:lnTo>
                  <a:lnTo>
                    <a:pt x="1271" y="248"/>
                  </a:lnTo>
                  <a:lnTo>
                    <a:pt x="1279" y="245"/>
                  </a:lnTo>
                  <a:lnTo>
                    <a:pt x="1279" y="245"/>
                  </a:lnTo>
                  <a:lnTo>
                    <a:pt x="1280" y="240"/>
                  </a:lnTo>
                  <a:lnTo>
                    <a:pt x="1280" y="240"/>
                  </a:lnTo>
                  <a:lnTo>
                    <a:pt x="1289" y="242"/>
                  </a:lnTo>
                  <a:lnTo>
                    <a:pt x="1291" y="240"/>
                  </a:lnTo>
                  <a:lnTo>
                    <a:pt x="1292" y="239"/>
                  </a:lnTo>
                  <a:lnTo>
                    <a:pt x="1294" y="237"/>
                  </a:lnTo>
                  <a:lnTo>
                    <a:pt x="1300" y="234"/>
                  </a:lnTo>
                  <a:lnTo>
                    <a:pt x="1300" y="237"/>
                  </a:lnTo>
                  <a:lnTo>
                    <a:pt x="1299" y="239"/>
                  </a:lnTo>
                  <a:lnTo>
                    <a:pt x="1297" y="242"/>
                  </a:lnTo>
                  <a:lnTo>
                    <a:pt x="1294" y="247"/>
                  </a:lnTo>
                  <a:lnTo>
                    <a:pt x="1292" y="247"/>
                  </a:lnTo>
                  <a:lnTo>
                    <a:pt x="1291" y="248"/>
                  </a:lnTo>
                  <a:lnTo>
                    <a:pt x="1280" y="248"/>
                  </a:lnTo>
                  <a:lnTo>
                    <a:pt x="1277" y="253"/>
                  </a:lnTo>
                  <a:lnTo>
                    <a:pt x="1283" y="257"/>
                  </a:lnTo>
                  <a:lnTo>
                    <a:pt x="1289" y="257"/>
                  </a:lnTo>
                  <a:lnTo>
                    <a:pt x="1302" y="254"/>
                  </a:lnTo>
                  <a:lnTo>
                    <a:pt x="1302" y="256"/>
                  </a:lnTo>
                  <a:lnTo>
                    <a:pt x="1300" y="256"/>
                  </a:lnTo>
                  <a:lnTo>
                    <a:pt x="1297" y="257"/>
                  </a:lnTo>
                  <a:lnTo>
                    <a:pt x="1297" y="257"/>
                  </a:lnTo>
                  <a:lnTo>
                    <a:pt x="1297" y="264"/>
                  </a:lnTo>
                  <a:lnTo>
                    <a:pt x="1297" y="270"/>
                  </a:lnTo>
                  <a:lnTo>
                    <a:pt x="1297" y="274"/>
                  </a:lnTo>
                  <a:lnTo>
                    <a:pt x="1294" y="270"/>
                  </a:lnTo>
                  <a:lnTo>
                    <a:pt x="1296" y="267"/>
                  </a:lnTo>
                  <a:lnTo>
                    <a:pt x="1296" y="265"/>
                  </a:lnTo>
                  <a:lnTo>
                    <a:pt x="1294" y="264"/>
                  </a:lnTo>
                  <a:lnTo>
                    <a:pt x="1294" y="264"/>
                  </a:lnTo>
                  <a:lnTo>
                    <a:pt x="1291" y="264"/>
                  </a:lnTo>
                  <a:lnTo>
                    <a:pt x="1288" y="264"/>
                  </a:lnTo>
                  <a:lnTo>
                    <a:pt x="1288" y="264"/>
                  </a:lnTo>
                  <a:lnTo>
                    <a:pt x="1286" y="265"/>
                  </a:lnTo>
                  <a:lnTo>
                    <a:pt x="1286" y="267"/>
                  </a:lnTo>
                  <a:lnTo>
                    <a:pt x="1288" y="268"/>
                  </a:lnTo>
                  <a:lnTo>
                    <a:pt x="1288" y="268"/>
                  </a:lnTo>
                  <a:lnTo>
                    <a:pt x="1286" y="273"/>
                  </a:lnTo>
                  <a:lnTo>
                    <a:pt x="1286" y="274"/>
                  </a:lnTo>
                  <a:lnTo>
                    <a:pt x="1286" y="277"/>
                  </a:lnTo>
                  <a:lnTo>
                    <a:pt x="1288" y="280"/>
                  </a:lnTo>
                  <a:lnTo>
                    <a:pt x="1288" y="284"/>
                  </a:lnTo>
                  <a:lnTo>
                    <a:pt x="1288" y="287"/>
                  </a:lnTo>
                  <a:lnTo>
                    <a:pt x="1288" y="288"/>
                  </a:lnTo>
                  <a:lnTo>
                    <a:pt x="1292" y="290"/>
                  </a:lnTo>
                  <a:lnTo>
                    <a:pt x="1294" y="291"/>
                  </a:lnTo>
                  <a:lnTo>
                    <a:pt x="1294" y="294"/>
                  </a:lnTo>
                  <a:lnTo>
                    <a:pt x="1292" y="296"/>
                  </a:lnTo>
                  <a:lnTo>
                    <a:pt x="1288" y="294"/>
                  </a:lnTo>
                  <a:lnTo>
                    <a:pt x="1286" y="296"/>
                  </a:lnTo>
                  <a:lnTo>
                    <a:pt x="1294" y="301"/>
                  </a:lnTo>
                  <a:lnTo>
                    <a:pt x="1297" y="305"/>
                  </a:lnTo>
                  <a:lnTo>
                    <a:pt x="1297" y="310"/>
                  </a:lnTo>
                  <a:lnTo>
                    <a:pt x="1299" y="313"/>
                  </a:lnTo>
                  <a:lnTo>
                    <a:pt x="1300" y="314"/>
                  </a:lnTo>
                  <a:lnTo>
                    <a:pt x="1299" y="317"/>
                  </a:lnTo>
                  <a:lnTo>
                    <a:pt x="1297" y="319"/>
                  </a:lnTo>
                  <a:lnTo>
                    <a:pt x="1294" y="317"/>
                  </a:lnTo>
                  <a:lnTo>
                    <a:pt x="1292" y="317"/>
                  </a:lnTo>
                  <a:lnTo>
                    <a:pt x="1291" y="314"/>
                  </a:lnTo>
                  <a:lnTo>
                    <a:pt x="1294" y="316"/>
                  </a:lnTo>
                  <a:lnTo>
                    <a:pt x="1296" y="316"/>
                  </a:lnTo>
                  <a:lnTo>
                    <a:pt x="1297" y="314"/>
                  </a:lnTo>
                  <a:lnTo>
                    <a:pt x="1289" y="308"/>
                  </a:lnTo>
                  <a:lnTo>
                    <a:pt x="1288" y="307"/>
                  </a:lnTo>
                  <a:lnTo>
                    <a:pt x="1288" y="302"/>
                  </a:lnTo>
                  <a:lnTo>
                    <a:pt x="1285" y="299"/>
                  </a:lnTo>
                  <a:lnTo>
                    <a:pt x="1274" y="287"/>
                  </a:lnTo>
                  <a:lnTo>
                    <a:pt x="1269" y="285"/>
                  </a:lnTo>
                  <a:lnTo>
                    <a:pt x="1266" y="282"/>
                  </a:lnTo>
                  <a:lnTo>
                    <a:pt x="1263" y="280"/>
                  </a:lnTo>
                  <a:lnTo>
                    <a:pt x="1262" y="276"/>
                  </a:lnTo>
                  <a:lnTo>
                    <a:pt x="1263" y="270"/>
                  </a:lnTo>
                  <a:lnTo>
                    <a:pt x="1260" y="268"/>
                  </a:lnTo>
                  <a:lnTo>
                    <a:pt x="1260" y="267"/>
                  </a:lnTo>
                  <a:lnTo>
                    <a:pt x="1260" y="264"/>
                  </a:lnTo>
                  <a:lnTo>
                    <a:pt x="1248" y="254"/>
                  </a:lnTo>
                  <a:lnTo>
                    <a:pt x="1243" y="254"/>
                  </a:lnTo>
                  <a:lnTo>
                    <a:pt x="1240" y="256"/>
                  </a:lnTo>
                  <a:lnTo>
                    <a:pt x="1237" y="260"/>
                  </a:lnTo>
                  <a:lnTo>
                    <a:pt x="1235" y="267"/>
                  </a:lnTo>
                  <a:lnTo>
                    <a:pt x="1234" y="274"/>
                  </a:lnTo>
                  <a:lnTo>
                    <a:pt x="1235" y="274"/>
                  </a:lnTo>
                  <a:lnTo>
                    <a:pt x="1239" y="276"/>
                  </a:lnTo>
                  <a:lnTo>
                    <a:pt x="1240" y="277"/>
                  </a:lnTo>
                  <a:lnTo>
                    <a:pt x="1242" y="280"/>
                  </a:lnTo>
                  <a:lnTo>
                    <a:pt x="1234" y="280"/>
                  </a:lnTo>
                  <a:lnTo>
                    <a:pt x="1235" y="291"/>
                  </a:lnTo>
                  <a:lnTo>
                    <a:pt x="1234" y="294"/>
                  </a:lnTo>
                  <a:lnTo>
                    <a:pt x="1234" y="297"/>
                  </a:lnTo>
                  <a:lnTo>
                    <a:pt x="1231" y="299"/>
                  </a:lnTo>
                  <a:lnTo>
                    <a:pt x="1229" y="301"/>
                  </a:lnTo>
                  <a:lnTo>
                    <a:pt x="1228" y="302"/>
                  </a:lnTo>
                  <a:lnTo>
                    <a:pt x="1229" y="299"/>
                  </a:lnTo>
                  <a:lnTo>
                    <a:pt x="1231" y="293"/>
                  </a:lnTo>
                  <a:lnTo>
                    <a:pt x="1232" y="288"/>
                  </a:lnTo>
                  <a:lnTo>
                    <a:pt x="1231" y="288"/>
                  </a:lnTo>
                  <a:lnTo>
                    <a:pt x="1225" y="290"/>
                  </a:lnTo>
                  <a:lnTo>
                    <a:pt x="1223" y="291"/>
                  </a:lnTo>
                  <a:lnTo>
                    <a:pt x="1223" y="294"/>
                  </a:lnTo>
                  <a:lnTo>
                    <a:pt x="1222" y="297"/>
                  </a:lnTo>
                  <a:lnTo>
                    <a:pt x="1220" y="299"/>
                  </a:lnTo>
                  <a:lnTo>
                    <a:pt x="1219" y="299"/>
                  </a:lnTo>
                  <a:lnTo>
                    <a:pt x="1219" y="301"/>
                  </a:lnTo>
                  <a:lnTo>
                    <a:pt x="1220" y="302"/>
                  </a:lnTo>
                  <a:lnTo>
                    <a:pt x="1222" y="305"/>
                  </a:lnTo>
                  <a:lnTo>
                    <a:pt x="1220" y="307"/>
                  </a:lnTo>
                  <a:lnTo>
                    <a:pt x="1217" y="305"/>
                  </a:lnTo>
                  <a:lnTo>
                    <a:pt x="1214" y="301"/>
                  </a:lnTo>
                  <a:lnTo>
                    <a:pt x="1214" y="299"/>
                  </a:lnTo>
                  <a:lnTo>
                    <a:pt x="1214" y="297"/>
                  </a:lnTo>
                  <a:lnTo>
                    <a:pt x="1215" y="297"/>
                  </a:lnTo>
                  <a:lnTo>
                    <a:pt x="1215" y="297"/>
                  </a:lnTo>
                  <a:lnTo>
                    <a:pt x="1215" y="294"/>
                  </a:lnTo>
                  <a:lnTo>
                    <a:pt x="1214" y="293"/>
                  </a:lnTo>
                  <a:lnTo>
                    <a:pt x="1212" y="293"/>
                  </a:lnTo>
                  <a:lnTo>
                    <a:pt x="1211" y="293"/>
                  </a:lnTo>
                  <a:lnTo>
                    <a:pt x="1211" y="291"/>
                  </a:lnTo>
                  <a:lnTo>
                    <a:pt x="1212" y="290"/>
                  </a:lnTo>
                  <a:lnTo>
                    <a:pt x="1217" y="282"/>
                  </a:lnTo>
                  <a:lnTo>
                    <a:pt x="1225" y="273"/>
                  </a:lnTo>
                  <a:lnTo>
                    <a:pt x="1225" y="271"/>
                  </a:lnTo>
                  <a:lnTo>
                    <a:pt x="1222" y="273"/>
                  </a:lnTo>
                  <a:lnTo>
                    <a:pt x="1205" y="287"/>
                  </a:lnTo>
                  <a:lnTo>
                    <a:pt x="1203" y="287"/>
                  </a:lnTo>
                  <a:lnTo>
                    <a:pt x="1203" y="290"/>
                  </a:lnTo>
                  <a:lnTo>
                    <a:pt x="1205" y="293"/>
                  </a:lnTo>
                  <a:lnTo>
                    <a:pt x="1205" y="294"/>
                  </a:lnTo>
                  <a:lnTo>
                    <a:pt x="1205" y="297"/>
                  </a:lnTo>
                  <a:lnTo>
                    <a:pt x="1203" y="302"/>
                  </a:lnTo>
                  <a:lnTo>
                    <a:pt x="1202" y="304"/>
                  </a:lnTo>
                  <a:lnTo>
                    <a:pt x="1191" y="310"/>
                  </a:lnTo>
                  <a:lnTo>
                    <a:pt x="1182" y="310"/>
                  </a:lnTo>
                  <a:lnTo>
                    <a:pt x="1180" y="311"/>
                  </a:lnTo>
                  <a:lnTo>
                    <a:pt x="1180" y="313"/>
                  </a:lnTo>
                  <a:lnTo>
                    <a:pt x="1182" y="314"/>
                  </a:lnTo>
                  <a:lnTo>
                    <a:pt x="1183" y="319"/>
                  </a:lnTo>
                  <a:lnTo>
                    <a:pt x="1185" y="324"/>
                  </a:lnTo>
                  <a:lnTo>
                    <a:pt x="1183" y="330"/>
                  </a:lnTo>
                  <a:lnTo>
                    <a:pt x="1180" y="336"/>
                  </a:lnTo>
                  <a:lnTo>
                    <a:pt x="1180" y="339"/>
                  </a:lnTo>
                  <a:lnTo>
                    <a:pt x="1180" y="341"/>
                  </a:lnTo>
                  <a:lnTo>
                    <a:pt x="1183" y="345"/>
                  </a:lnTo>
                  <a:lnTo>
                    <a:pt x="1191" y="348"/>
                  </a:lnTo>
                  <a:lnTo>
                    <a:pt x="1192" y="350"/>
                  </a:lnTo>
                  <a:lnTo>
                    <a:pt x="1192" y="351"/>
                  </a:lnTo>
                  <a:lnTo>
                    <a:pt x="1194" y="357"/>
                  </a:lnTo>
                  <a:lnTo>
                    <a:pt x="1197" y="362"/>
                  </a:lnTo>
                  <a:lnTo>
                    <a:pt x="1205" y="365"/>
                  </a:lnTo>
                  <a:lnTo>
                    <a:pt x="1208" y="368"/>
                  </a:lnTo>
                  <a:lnTo>
                    <a:pt x="1206" y="370"/>
                  </a:lnTo>
                  <a:lnTo>
                    <a:pt x="1205" y="370"/>
                  </a:lnTo>
                  <a:lnTo>
                    <a:pt x="1203" y="368"/>
                  </a:lnTo>
                  <a:lnTo>
                    <a:pt x="1203" y="367"/>
                  </a:lnTo>
                  <a:lnTo>
                    <a:pt x="1192" y="364"/>
                  </a:lnTo>
                  <a:lnTo>
                    <a:pt x="1186" y="359"/>
                  </a:lnTo>
                  <a:lnTo>
                    <a:pt x="1183" y="354"/>
                  </a:lnTo>
                  <a:lnTo>
                    <a:pt x="1182" y="353"/>
                  </a:lnTo>
                  <a:lnTo>
                    <a:pt x="1180" y="351"/>
                  </a:lnTo>
                  <a:lnTo>
                    <a:pt x="1180" y="351"/>
                  </a:lnTo>
                  <a:lnTo>
                    <a:pt x="1178" y="353"/>
                  </a:lnTo>
                  <a:lnTo>
                    <a:pt x="1178" y="354"/>
                  </a:lnTo>
                  <a:lnTo>
                    <a:pt x="1177" y="356"/>
                  </a:lnTo>
                  <a:lnTo>
                    <a:pt x="1177" y="357"/>
                  </a:lnTo>
                  <a:lnTo>
                    <a:pt x="1177" y="364"/>
                  </a:lnTo>
                  <a:lnTo>
                    <a:pt x="1175" y="367"/>
                  </a:lnTo>
                  <a:lnTo>
                    <a:pt x="1171" y="371"/>
                  </a:lnTo>
                  <a:lnTo>
                    <a:pt x="1169" y="374"/>
                  </a:lnTo>
                  <a:lnTo>
                    <a:pt x="1165" y="391"/>
                  </a:lnTo>
                  <a:lnTo>
                    <a:pt x="1163" y="391"/>
                  </a:lnTo>
                  <a:lnTo>
                    <a:pt x="1160" y="393"/>
                  </a:lnTo>
                  <a:lnTo>
                    <a:pt x="1149" y="402"/>
                  </a:lnTo>
                  <a:lnTo>
                    <a:pt x="1148" y="405"/>
                  </a:lnTo>
                  <a:lnTo>
                    <a:pt x="1146" y="410"/>
                  </a:lnTo>
                  <a:lnTo>
                    <a:pt x="1143" y="413"/>
                  </a:lnTo>
                  <a:lnTo>
                    <a:pt x="1142" y="416"/>
                  </a:lnTo>
                  <a:lnTo>
                    <a:pt x="1140" y="418"/>
                  </a:lnTo>
                  <a:lnTo>
                    <a:pt x="1137" y="418"/>
                  </a:lnTo>
                  <a:lnTo>
                    <a:pt x="1138" y="413"/>
                  </a:lnTo>
                  <a:lnTo>
                    <a:pt x="1143" y="405"/>
                  </a:lnTo>
                  <a:lnTo>
                    <a:pt x="1143" y="404"/>
                  </a:lnTo>
                  <a:lnTo>
                    <a:pt x="1143" y="402"/>
                  </a:lnTo>
                  <a:lnTo>
                    <a:pt x="1142" y="402"/>
                  </a:lnTo>
                  <a:lnTo>
                    <a:pt x="1143" y="401"/>
                  </a:lnTo>
                  <a:lnTo>
                    <a:pt x="1148" y="398"/>
                  </a:lnTo>
                  <a:lnTo>
                    <a:pt x="1152" y="393"/>
                  </a:lnTo>
                  <a:lnTo>
                    <a:pt x="1157" y="390"/>
                  </a:lnTo>
                  <a:lnTo>
                    <a:pt x="1158" y="387"/>
                  </a:lnTo>
                  <a:lnTo>
                    <a:pt x="1158" y="381"/>
                  </a:lnTo>
                  <a:lnTo>
                    <a:pt x="1160" y="374"/>
                  </a:lnTo>
                  <a:lnTo>
                    <a:pt x="1162" y="376"/>
                  </a:lnTo>
                  <a:lnTo>
                    <a:pt x="1163" y="374"/>
                  </a:lnTo>
                  <a:lnTo>
                    <a:pt x="1165" y="371"/>
                  </a:lnTo>
                  <a:lnTo>
                    <a:pt x="1163" y="367"/>
                  </a:lnTo>
                  <a:lnTo>
                    <a:pt x="1163" y="364"/>
                  </a:lnTo>
                  <a:lnTo>
                    <a:pt x="1165" y="362"/>
                  </a:lnTo>
                  <a:lnTo>
                    <a:pt x="1165" y="361"/>
                  </a:lnTo>
                  <a:lnTo>
                    <a:pt x="1166" y="359"/>
                  </a:lnTo>
                  <a:lnTo>
                    <a:pt x="1165" y="356"/>
                  </a:lnTo>
                  <a:lnTo>
                    <a:pt x="1165" y="353"/>
                  </a:lnTo>
                  <a:lnTo>
                    <a:pt x="1168" y="351"/>
                  </a:lnTo>
                  <a:lnTo>
                    <a:pt x="1171" y="350"/>
                  </a:lnTo>
                  <a:lnTo>
                    <a:pt x="1172" y="350"/>
                  </a:lnTo>
                  <a:lnTo>
                    <a:pt x="1172" y="347"/>
                  </a:lnTo>
                  <a:lnTo>
                    <a:pt x="1172" y="345"/>
                  </a:lnTo>
                  <a:lnTo>
                    <a:pt x="1172" y="342"/>
                  </a:lnTo>
                  <a:lnTo>
                    <a:pt x="1172" y="339"/>
                  </a:lnTo>
                  <a:lnTo>
                    <a:pt x="1172" y="337"/>
                  </a:lnTo>
                  <a:lnTo>
                    <a:pt x="1168" y="333"/>
                  </a:lnTo>
                  <a:lnTo>
                    <a:pt x="1168" y="331"/>
                  </a:lnTo>
                  <a:lnTo>
                    <a:pt x="1168" y="330"/>
                  </a:lnTo>
                  <a:lnTo>
                    <a:pt x="1168" y="328"/>
                  </a:lnTo>
                  <a:lnTo>
                    <a:pt x="1169" y="321"/>
                  </a:lnTo>
                  <a:lnTo>
                    <a:pt x="1169" y="317"/>
                  </a:lnTo>
                  <a:lnTo>
                    <a:pt x="1169" y="316"/>
                  </a:lnTo>
                  <a:lnTo>
                    <a:pt x="1171" y="313"/>
                  </a:lnTo>
                  <a:lnTo>
                    <a:pt x="1171" y="311"/>
                  </a:lnTo>
                  <a:lnTo>
                    <a:pt x="1171" y="308"/>
                  </a:lnTo>
                  <a:lnTo>
                    <a:pt x="1171" y="307"/>
                  </a:lnTo>
                  <a:lnTo>
                    <a:pt x="1172" y="305"/>
                  </a:lnTo>
                  <a:lnTo>
                    <a:pt x="1172" y="304"/>
                  </a:lnTo>
                  <a:lnTo>
                    <a:pt x="1174" y="301"/>
                  </a:lnTo>
                  <a:lnTo>
                    <a:pt x="1174" y="296"/>
                  </a:lnTo>
                  <a:lnTo>
                    <a:pt x="1174" y="294"/>
                  </a:lnTo>
                  <a:lnTo>
                    <a:pt x="1174" y="291"/>
                  </a:lnTo>
                  <a:lnTo>
                    <a:pt x="1175" y="290"/>
                  </a:lnTo>
                  <a:lnTo>
                    <a:pt x="1175" y="287"/>
                  </a:lnTo>
                  <a:lnTo>
                    <a:pt x="1175" y="285"/>
                  </a:lnTo>
                  <a:lnTo>
                    <a:pt x="1168" y="268"/>
                  </a:lnTo>
                  <a:lnTo>
                    <a:pt x="1166" y="267"/>
                  </a:lnTo>
                  <a:lnTo>
                    <a:pt x="1163" y="268"/>
                  </a:lnTo>
                  <a:lnTo>
                    <a:pt x="1162" y="273"/>
                  </a:lnTo>
                  <a:lnTo>
                    <a:pt x="1158" y="276"/>
                  </a:lnTo>
                  <a:lnTo>
                    <a:pt x="1158" y="277"/>
                  </a:lnTo>
                  <a:lnTo>
                    <a:pt x="1158" y="287"/>
                  </a:lnTo>
                  <a:lnTo>
                    <a:pt x="1158" y="291"/>
                  </a:lnTo>
                  <a:lnTo>
                    <a:pt x="1158" y="291"/>
                  </a:lnTo>
                  <a:lnTo>
                    <a:pt x="1158" y="290"/>
                  </a:lnTo>
                  <a:lnTo>
                    <a:pt x="1157" y="288"/>
                  </a:lnTo>
                  <a:lnTo>
                    <a:pt x="1157" y="287"/>
                  </a:lnTo>
                  <a:lnTo>
                    <a:pt x="1155" y="284"/>
                  </a:lnTo>
                  <a:lnTo>
                    <a:pt x="1155" y="277"/>
                  </a:lnTo>
                  <a:lnTo>
                    <a:pt x="1157" y="276"/>
                  </a:lnTo>
                  <a:lnTo>
                    <a:pt x="1157" y="276"/>
                  </a:lnTo>
                  <a:lnTo>
                    <a:pt x="1155" y="273"/>
                  </a:lnTo>
                  <a:lnTo>
                    <a:pt x="1155" y="274"/>
                  </a:lnTo>
                  <a:lnTo>
                    <a:pt x="1154" y="277"/>
                  </a:lnTo>
                  <a:lnTo>
                    <a:pt x="1152" y="287"/>
                  </a:lnTo>
                  <a:lnTo>
                    <a:pt x="1149" y="294"/>
                  </a:lnTo>
                  <a:lnTo>
                    <a:pt x="1146" y="307"/>
                  </a:lnTo>
                  <a:lnTo>
                    <a:pt x="1145" y="311"/>
                  </a:lnTo>
                  <a:lnTo>
                    <a:pt x="1142" y="311"/>
                  </a:lnTo>
                  <a:lnTo>
                    <a:pt x="1143" y="305"/>
                  </a:lnTo>
                  <a:lnTo>
                    <a:pt x="1143" y="299"/>
                  </a:lnTo>
                  <a:lnTo>
                    <a:pt x="1145" y="296"/>
                  </a:lnTo>
                  <a:lnTo>
                    <a:pt x="1145" y="294"/>
                  </a:lnTo>
                  <a:lnTo>
                    <a:pt x="1143" y="296"/>
                  </a:lnTo>
                  <a:lnTo>
                    <a:pt x="1142" y="297"/>
                  </a:lnTo>
                  <a:lnTo>
                    <a:pt x="1140" y="305"/>
                  </a:lnTo>
                  <a:lnTo>
                    <a:pt x="1138" y="307"/>
                  </a:lnTo>
                  <a:lnTo>
                    <a:pt x="1135" y="310"/>
                  </a:lnTo>
                  <a:lnTo>
                    <a:pt x="1134" y="311"/>
                  </a:lnTo>
                  <a:lnTo>
                    <a:pt x="1134" y="316"/>
                  </a:lnTo>
                  <a:lnTo>
                    <a:pt x="1134" y="319"/>
                  </a:lnTo>
                  <a:lnTo>
                    <a:pt x="1131" y="321"/>
                  </a:lnTo>
                  <a:lnTo>
                    <a:pt x="1131" y="324"/>
                  </a:lnTo>
                  <a:lnTo>
                    <a:pt x="1131" y="328"/>
                  </a:lnTo>
                  <a:lnTo>
                    <a:pt x="1131" y="330"/>
                  </a:lnTo>
                  <a:lnTo>
                    <a:pt x="1131" y="331"/>
                  </a:lnTo>
                  <a:lnTo>
                    <a:pt x="1132" y="334"/>
                  </a:lnTo>
                  <a:lnTo>
                    <a:pt x="1132" y="336"/>
                  </a:lnTo>
                  <a:lnTo>
                    <a:pt x="1132" y="341"/>
                  </a:lnTo>
                  <a:lnTo>
                    <a:pt x="1135" y="342"/>
                  </a:lnTo>
                  <a:lnTo>
                    <a:pt x="1138" y="344"/>
                  </a:lnTo>
                  <a:lnTo>
                    <a:pt x="1140" y="345"/>
                  </a:lnTo>
                  <a:lnTo>
                    <a:pt x="1143" y="347"/>
                  </a:lnTo>
                  <a:lnTo>
                    <a:pt x="1146" y="350"/>
                  </a:lnTo>
                  <a:lnTo>
                    <a:pt x="1149" y="350"/>
                  </a:lnTo>
                  <a:lnTo>
                    <a:pt x="1152" y="350"/>
                  </a:lnTo>
                  <a:lnTo>
                    <a:pt x="1148" y="351"/>
                  </a:lnTo>
                  <a:lnTo>
                    <a:pt x="1143" y="350"/>
                  </a:lnTo>
                  <a:lnTo>
                    <a:pt x="1138" y="345"/>
                  </a:lnTo>
                  <a:lnTo>
                    <a:pt x="1129" y="344"/>
                  </a:lnTo>
                  <a:lnTo>
                    <a:pt x="1126" y="344"/>
                  </a:lnTo>
                  <a:lnTo>
                    <a:pt x="1125" y="344"/>
                  </a:lnTo>
                  <a:lnTo>
                    <a:pt x="1125" y="345"/>
                  </a:lnTo>
                  <a:lnTo>
                    <a:pt x="1125" y="345"/>
                  </a:lnTo>
                  <a:lnTo>
                    <a:pt x="1125" y="347"/>
                  </a:lnTo>
                  <a:lnTo>
                    <a:pt x="1126" y="347"/>
                  </a:lnTo>
                  <a:lnTo>
                    <a:pt x="1121" y="362"/>
                  </a:lnTo>
                  <a:lnTo>
                    <a:pt x="1123" y="365"/>
                  </a:lnTo>
                  <a:lnTo>
                    <a:pt x="1123" y="370"/>
                  </a:lnTo>
                  <a:lnTo>
                    <a:pt x="1121" y="376"/>
                  </a:lnTo>
                  <a:lnTo>
                    <a:pt x="1120" y="379"/>
                  </a:lnTo>
                  <a:lnTo>
                    <a:pt x="1109" y="390"/>
                  </a:lnTo>
                  <a:lnTo>
                    <a:pt x="1111" y="385"/>
                  </a:lnTo>
                  <a:lnTo>
                    <a:pt x="1112" y="381"/>
                  </a:lnTo>
                  <a:lnTo>
                    <a:pt x="1115" y="379"/>
                  </a:lnTo>
                  <a:lnTo>
                    <a:pt x="1117" y="378"/>
                  </a:lnTo>
                  <a:lnTo>
                    <a:pt x="1117" y="376"/>
                  </a:lnTo>
                  <a:lnTo>
                    <a:pt x="1117" y="374"/>
                  </a:lnTo>
                  <a:lnTo>
                    <a:pt x="1117" y="371"/>
                  </a:lnTo>
                  <a:lnTo>
                    <a:pt x="1115" y="368"/>
                  </a:lnTo>
                  <a:lnTo>
                    <a:pt x="1115" y="367"/>
                  </a:lnTo>
                  <a:lnTo>
                    <a:pt x="1115" y="364"/>
                  </a:lnTo>
                  <a:lnTo>
                    <a:pt x="1117" y="362"/>
                  </a:lnTo>
                  <a:lnTo>
                    <a:pt x="1117" y="359"/>
                  </a:lnTo>
                  <a:lnTo>
                    <a:pt x="1121" y="348"/>
                  </a:lnTo>
                  <a:lnTo>
                    <a:pt x="1123" y="344"/>
                  </a:lnTo>
                  <a:lnTo>
                    <a:pt x="1123" y="337"/>
                  </a:lnTo>
                  <a:lnTo>
                    <a:pt x="1123" y="334"/>
                  </a:lnTo>
                  <a:lnTo>
                    <a:pt x="1121" y="333"/>
                  </a:lnTo>
                  <a:lnTo>
                    <a:pt x="1120" y="330"/>
                  </a:lnTo>
                  <a:lnTo>
                    <a:pt x="1120" y="328"/>
                  </a:lnTo>
                  <a:lnTo>
                    <a:pt x="1121" y="324"/>
                  </a:lnTo>
                  <a:lnTo>
                    <a:pt x="1123" y="321"/>
                  </a:lnTo>
                  <a:lnTo>
                    <a:pt x="1125" y="317"/>
                  </a:lnTo>
                  <a:lnTo>
                    <a:pt x="1125" y="314"/>
                  </a:lnTo>
                  <a:lnTo>
                    <a:pt x="1123" y="313"/>
                  </a:lnTo>
                  <a:lnTo>
                    <a:pt x="1126" y="307"/>
                  </a:lnTo>
                  <a:lnTo>
                    <a:pt x="1128" y="305"/>
                  </a:lnTo>
                  <a:lnTo>
                    <a:pt x="1128" y="304"/>
                  </a:lnTo>
                  <a:lnTo>
                    <a:pt x="1125" y="301"/>
                  </a:lnTo>
                  <a:lnTo>
                    <a:pt x="1111" y="304"/>
                  </a:lnTo>
                  <a:lnTo>
                    <a:pt x="1105" y="308"/>
                  </a:lnTo>
                  <a:lnTo>
                    <a:pt x="1103" y="308"/>
                  </a:lnTo>
                  <a:lnTo>
                    <a:pt x="1091" y="308"/>
                  </a:lnTo>
                  <a:lnTo>
                    <a:pt x="1088" y="308"/>
                  </a:lnTo>
                  <a:lnTo>
                    <a:pt x="1086" y="310"/>
                  </a:lnTo>
                  <a:lnTo>
                    <a:pt x="1085" y="314"/>
                  </a:lnTo>
                  <a:lnTo>
                    <a:pt x="1083" y="314"/>
                  </a:lnTo>
                  <a:lnTo>
                    <a:pt x="1080" y="316"/>
                  </a:lnTo>
                  <a:lnTo>
                    <a:pt x="1078" y="316"/>
                  </a:lnTo>
                  <a:lnTo>
                    <a:pt x="1077" y="317"/>
                  </a:lnTo>
                  <a:lnTo>
                    <a:pt x="1075" y="327"/>
                  </a:lnTo>
                  <a:lnTo>
                    <a:pt x="1064" y="344"/>
                  </a:lnTo>
                  <a:lnTo>
                    <a:pt x="1066" y="354"/>
                  </a:lnTo>
                  <a:lnTo>
                    <a:pt x="1068" y="357"/>
                  </a:lnTo>
                  <a:lnTo>
                    <a:pt x="1069" y="359"/>
                  </a:lnTo>
                  <a:lnTo>
                    <a:pt x="1071" y="361"/>
                  </a:lnTo>
                  <a:lnTo>
                    <a:pt x="1072" y="359"/>
                  </a:lnTo>
                  <a:lnTo>
                    <a:pt x="1074" y="357"/>
                  </a:lnTo>
                  <a:lnTo>
                    <a:pt x="1077" y="356"/>
                  </a:lnTo>
                  <a:lnTo>
                    <a:pt x="1080" y="354"/>
                  </a:lnTo>
                  <a:lnTo>
                    <a:pt x="1086" y="353"/>
                  </a:lnTo>
                  <a:lnTo>
                    <a:pt x="1086" y="357"/>
                  </a:lnTo>
                  <a:lnTo>
                    <a:pt x="1088" y="359"/>
                  </a:lnTo>
                  <a:lnTo>
                    <a:pt x="1088" y="361"/>
                  </a:lnTo>
                  <a:lnTo>
                    <a:pt x="1089" y="364"/>
                  </a:lnTo>
                  <a:lnTo>
                    <a:pt x="1088" y="362"/>
                  </a:lnTo>
                  <a:lnTo>
                    <a:pt x="1086" y="362"/>
                  </a:lnTo>
                  <a:lnTo>
                    <a:pt x="1086" y="361"/>
                  </a:lnTo>
                  <a:lnTo>
                    <a:pt x="1083" y="357"/>
                  </a:lnTo>
                  <a:lnTo>
                    <a:pt x="1083" y="357"/>
                  </a:lnTo>
                  <a:lnTo>
                    <a:pt x="1074" y="361"/>
                  </a:lnTo>
                  <a:lnTo>
                    <a:pt x="1072" y="364"/>
                  </a:lnTo>
                  <a:lnTo>
                    <a:pt x="1069" y="367"/>
                  </a:lnTo>
                  <a:lnTo>
                    <a:pt x="1069" y="371"/>
                  </a:lnTo>
                  <a:lnTo>
                    <a:pt x="1069" y="376"/>
                  </a:lnTo>
                  <a:lnTo>
                    <a:pt x="1071" y="379"/>
                  </a:lnTo>
                  <a:lnTo>
                    <a:pt x="1072" y="381"/>
                  </a:lnTo>
                  <a:lnTo>
                    <a:pt x="1074" y="381"/>
                  </a:lnTo>
                  <a:lnTo>
                    <a:pt x="1075" y="382"/>
                  </a:lnTo>
                  <a:lnTo>
                    <a:pt x="1075" y="384"/>
                  </a:lnTo>
                  <a:lnTo>
                    <a:pt x="1075" y="384"/>
                  </a:lnTo>
                  <a:lnTo>
                    <a:pt x="1075" y="385"/>
                  </a:lnTo>
                  <a:lnTo>
                    <a:pt x="1075" y="387"/>
                  </a:lnTo>
                  <a:lnTo>
                    <a:pt x="1077" y="391"/>
                  </a:lnTo>
                  <a:lnTo>
                    <a:pt x="1078" y="393"/>
                  </a:lnTo>
                  <a:lnTo>
                    <a:pt x="1081" y="394"/>
                  </a:lnTo>
                  <a:lnTo>
                    <a:pt x="1091" y="393"/>
                  </a:lnTo>
                  <a:lnTo>
                    <a:pt x="1094" y="393"/>
                  </a:lnTo>
                  <a:lnTo>
                    <a:pt x="1095" y="394"/>
                  </a:lnTo>
                  <a:lnTo>
                    <a:pt x="1101" y="402"/>
                  </a:lnTo>
                  <a:lnTo>
                    <a:pt x="1103" y="405"/>
                  </a:lnTo>
                  <a:lnTo>
                    <a:pt x="1103" y="407"/>
                  </a:lnTo>
                  <a:lnTo>
                    <a:pt x="1103" y="408"/>
                  </a:lnTo>
                  <a:lnTo>
                    <a:pt x="1103" y="411"/>
                  </a:lnTo>
                  <a:lnTo>
                    <a:pt x="1101" y="411"/>
                  </a:lnTo>
                  <a:lnTo>
                    <a:pt x="1101" y="414"/>
                  </a:lnTo>
                  <a:lnTo>
                    <a:pt x="1103" y="419"/>
                  </a:lnTo>
                  <a:lnTo>
                    <a:pt x="1105" y="421"/>
                  </a:lnTo>
                  <a:lnTo>
                    <a:pt x="1106" y="422"/>
                  </a:lnTo>
                  <a:lnTo>
                    <a:pt x="1108" y="425"/>
                  </a:lnTo>
                  <a:lnTo>
                    <a:pt x="1105" y="427"/>
                  </a:lnTo>
                  <a:lnTo>
                    <a:pt x="1100" y="422"/>
                  </a:lnTo>
                  <a:lnTo>
                    <a:pt x="1097" y="422"/>
                  </a:lnTo>
                  <a:lnTo>
                    <a:pt x="1097" y="424"/>
                  </a:lnTo>
                  <a:lnTo>
                    <a:pt x="1094" y="427"/>
                  </a:lnTo>
                  <a:lnTo>
                    <a:pt x="1092" y="427"/>
                  </a:lnTo>
                  <a:lnTo>
                    <a:pt x="1092" y="427"/>
                  </a:lnTo>
                  <a:lnTo>
                    <a:pt x="1089" y="424"/>
                  </a:lnTo>
                  <a:lnTo>
                    <a:pt x="1088" y="422"/>
                  </a:lnTo>
                  <a:lnTo>
                    <a:pt x="1089" y="421"/>
                  </a:lnTo>
                  <a:lnTo>
                    <a:pt x="1089" y="418"/>
                  </a:lnTo>
                  <a:lnTo>
                    <a:pt x="1088" y="416"/>
                  </a:lnTo>
                  <a:lnTo>
                    <a:pt x="1086" y="418"/>
                  </a:lnTo>
                  <a:lnTo>
                    <a:pt x="1086" y="418"/>
                  </a:lnTo>
                  <a:lnTo>
                    <a:pt x="1085" y="421"/>
                  </a:lnTo>
                  <a:lnTo>
                    <a:pt x="1083" y="421"/>
                  </a:lnTo>
                  <a:lnTo>
                    <a:pt x="1083" y="421"/>
                  </a:lnTo>
                  <a:lnTo>
                    <a:pt x="1081" y="419"/>
                  </a:lnTo>
                  <a:lnTo>
                    <a:pt x="1081" y="418"/>
                  </a:lnTo>
                  <a:lnTo>
                    <a:pt x="1083" y="416"/>
                  </a:lnTo>
                  <a:lnTo>
                    <a:pt x="1085" y="414"/>
                  </a:lnTo>
                  <a:lnTo>
                    <a:pt x="1086" y="414"/>
                  </a:lnTo>
                  <a:lnTo>
                    <a:pt x="1091" y="416"/>
                  </a:lnTo>
                  <a:lnTo>
                    <a:pt x="1095" y="413"/>
                  </a:lnTo>
                  <a:lnTo>
                    <a:pt x="1097" y="410"/>
                  </a:lnTo>
                  <a:lnTo>
                    <a:pt x="1097" y="405"/>
                  </a:lnTo>
                  <a:lnTo>
                    <a:pt x="1095" y="401"/>
                  </a:lnTo>
                  <a:lnTo>
                    <a:pt x="1080" y="399"/>
                  </a:lnTo>
                  <a:lnTo>
                    <a:pt x="1078" y="398"/>
                  </a:lnTo>
                  <a:lnTo>
                    <a:pt x="1074" y="393"/>
                  </a:lnTo>
                  <a:lnTo>
                    <a:pt x="1071" y="390"/>
                  </a:lnTo>
                  <a:lnTo>
                    <a:pt x="1069" y="388"/>
                  </a:lnTo>
                  <a:lnTo>
                    <a:pt x="1069" y="384"/>
                  </a:lnTo>
                  <a:lnTo>
                    <a:pt x="1064" y="379"/>
                  </a:lnTo>
                  <a:lnTo>
                    <a:pt x="1063" y="378"/>
                  </a:lnTo>
                  <a:lnTo>
                    <a:pt x="1063" y="376"/>
                  </a:lnTo>
                  <a:lnTo>
                    <a:pt x="1063" y="371"/>
                  </a:lnTo>
                  <a:lnTo>
                    <a:pt x="1063" y="370"/>
                  </a:lnTo>
                  <a:lnTo>
                    <a:pt x="1061" y="368"/>
                  </a:lnTo>
                  <a:lnTo>
                    <a:pt x="1060" y="368"/>
                  </a:lnTo>
                  <a:lnTo>
                    <a:pt x="1058" y="367"/>
                  </a:lnTo>
                  <a:lnTo>
                    <a:pt x="1058" y="367"/>
                  </a:lnTo>
                  <a:lnTo>
                    <a:pt x="1058" y="367"/>
                  </a:lnTo>
                  <a:lnTo>
                    <a:pt x="1058" y="365"/>
                  </a:lnTo>
                  <a:lnTo>
                    <a:pt x="1058" y="364"/>
                  </a:lnTo>
                  <a:lnTo>
                    <a:pt x="1060" y="362"/>
                  </a:lnTo>
                  <a:lnTo>
                    <a:pt x="1058" y="357"/>
                  </a:lnTo>
                  <a:lnTo>
                    <a:pt x="1058" y="357"/>
                  </a:lnTo>
                  <a:lnTo>
                    <a:pt x="1041" y="359"/>
                  </a:lnTo>
                  <a:lnTo>
                    <a:pt x="1037" y="362"/>
                  </a:lnTo>
                  <a:lnTo>
                    <a:pt x="1032" y="364"/>
                  </a:lnTo>
                  <a:lnTo>
                    <a:pt x="1031" y="365"/>
                  </a:lnTo>
                  <a:lnTo>
                    <a:pt x="1029" y="367"/>
                  </a:lnTo>
                  <a:lnTo>
                    <a:pt x="1031" y="371"/>
                  </a:lnTo>
                  <a:lnTo>
                    <a:pt x="1031" y="373"/>
                  </a:lnTo>
                  <a:lnTo>
                    <a:pt x="1029" y="373"/>
                  </a:lnTo>
                  <a:lnTo>
                    <a:pt x="1029" y="376"/>
                  </a:lnTo>
                  <a:lnTo>
                    <a:pt x="1029" y="378"/>
                  </a:lnTo>
                  <a:lnTo>
                    <a:pt x="1029" y="379"/>
                  </a:lnTo>
                  <a:lnTo>
                    <a:pt x="1031" y="381"/>
                  </a:lnTo>
                  <a:lnTo>
                    <a:pt x="1034" y="381"/>
                  </a:lnTo>
                  <a:lnTo>
                    <a:pt x="1037" y="382"/>
                  </a:lnTo>
                  <a:lnTo>
                    <a:pt x="1038" y="382"/>
                  </a:lnTo>
                  <a:lnTo>
                    <a:pt x="1038" y="385"/>
                  </a:lnTo>
                  <a:lnTo>
                    <a:pt x="1040" y="387"/>
                  </a:lnTo>
                  <a:lnTo>
                    <a:pt x="1040" y="390"/>
                  </a:lnTo>
                  <a:lnTo>
                    <a:pt x="1040" y="391"/>
                  </a:lnTo>
                  <a:lnTo>
                    <a:pt x="1040" y="393"/>
                  </a:lnTo>
                  <a:lnTo>
                    <a:pt x="1041" y="393"/>
                  </a:lnTo>
                  <a:lnTo>
                    <a:pt x="1044" y="396"/>
                  </a:lnTo>
                  <a:lnTo>
                    <a:pt x="1064" y="404"/>
                  </a:lnTo>
                  <a:lnTo>
                    <a:pt x="1066" y="404"/>
                  </a:lnTo>
                  <a:lnTo>
                    <a:pt x="1068" y="408"/>
                  </a:lnTo>
                  <a:lnTo>
                    <a:pt x="1069" y="410"/>
                  </a:lnTo>
                  <a:lnTo>
                    <a:pt x="1069" y="410"/>
                  </a:lnTo>
                  <a:lnTo>
                    <a:pt x="1071" y="410"/>
                  </a:lnTo>
                  <a:lnTo>
                    <a:pt x="1071" y="411"/>
                  </a:lnTo>
                  <a:lnTo>
                    <a:pt x="1071" y="413"/>
                  </a:lnTo>
                  <a:lnTo>
                    <a:pt x="1069" y="413"/>
                  </a:lnTo>
                  <a:lnTo>
                    <a:pt x="1064" y="411"/>
                  </a:lnTo>
                  <a:lnTo>
                    <a:pt x="1058" y="407"/>
                  </a:lnTo>
                  <a:lnTo>
                    <a:pt x="1057" y="405"/>
                  </a:lnTo>
                  <a:lnTo>
                    <a:pt x="1049" y="405"/>
                  </a:lnTo>
                  <a:lnTo>
                    <a:pt x="1046" y="407"/>
                  </a:lnTo>
                  <a:lnTo>
                    <a:pt x="1044" y="410"/>
                  </a:lnTo>
                  <a:lnTo>
                    <a:pt x="1046" y="411"/>
                  </a:lnTo>
                  <a:lnTo>
                    <a:pt x="1046" y="411"/>
                  </a:lnTo>
                  <a:lnTo>
                    <a:pt x="1048" y="413"/>
                  </a:lnTo>
                  <a:lnTo>
                    <a:pt x="1048" y="416"/>
                  </a:lnTo>
                  <a:lnTo>
                    <a:pt x="1048" y="418"/>
                  </a:lnTo>
                  <a:lnTo>
                    <a:pt x="1046" y="418"/>
                  </a:lnTo>
                  <a:lnTo>
                    <a:pt x="1046" y="416"/>
                  </a:lnTo>
                  <a:lnTo>
                    <a:pt x="1044" y="414"/>
                  </a:lnTo>
                  <a:lnTo>
                    <a:pt x="1043" y="413"/>
                  </a:lnTo>
                  <a:lnTo>
                    <a:pt x="1041" y="411"/>
                  </a:lnTo>
                  <a:lnTo>
                    <a:pt x="1040" y="410"/>
                  </a:lnTo>
                  <a:lnTo>
                    <a:pt x="1038" y="407"/>
                  </a:lnTo>
                  <a:lnTo>
                    <a:pt x="1038" y="404"/>
                  </a:lnTo>
                  <a:lnTo>
                    <a:pt x="1038" y="399"/>
                  </a:lnTo>
                  <a:lnTo>
                    <a:pt x="1037" y="396"/>
                  </a:lnTo>
                  <a:lnTo>
                    <a:pt x="1035" y="398"/>
                  </a:lnTo>
                  <a:lnTo>
                    <a:pt x="1035" y="401"/>
                  </a:lnTo>
                  <a:lnTo>
                    <a:pt x="1035" y="404"/>
                  </a:lnTo>
                  <a:lnTo>
                    <a:pt x="1035" y="411"/>
                  </a:lnTo>
                  <a:lnTo>
                    <a:pt x="1034" y="414"/>
                  </a:lnTo>
                  <a:lnTo>
                    <a:pt x="1034" y="419"/>
                  </a:lnTo>
                  <a:lnTo>
                    <a:pt x="1032" y="424"/>
                  </a:lnTo>
                  <a:lnTo>
                    <a:pt x="1032" y="422"/>
                  </a:lnTo>
                  <a:lnTo>
                    <a:pt x="1032" y="421"/>
                  </a:lnTo>
                  <a:lnTo>
                    <a:pt x="1032" y="419"/>
                  </a:lnTo>
                  <a:lnTo>
                    <a:pt x="1032" y="418"/>
                  </a:lnTo>
                  <a:lnTo>
                    <a:pt x="1034" y="416"/>
                  </a:lnTo>
                  <a:lnTo>
                    <a:pt x="1032" y="414"/>
                  </a:lnTo>
                  <a:lnTo>
                    <a:pt x="1032" y="413"/>
                  </a:lnTo>
                  <a:lnTo>
                    <a:pt x="1032" y="408"/>
                  </a:lnTo>
                  <a:lnTo>
                    <a:pt x="1032" y="402"/>
                  </a:lnTo>
                  <a:lnTo>
                    <a:pt x="1032" y="399"/>
                  </a:lnTo>
                  <a:lnTo>
                    <a:pt x="1032" y="396"/>
                  </a:lnTo>
                  <a:lnTo>
                    <a:pt x="1031" y="393"/>
                  </a:lnTo>
                  <a:lnTo>
                    <a:pt x="1029" y="391"/>
                  </a:lnTo>
                  <a:lnTo>
                    <a:pt x="1028" y="391"/>
                  </a:lnTo>
                  <a:lnTo>
                    <a:pt x="1021" y="391"/>
                  </a:lnTo>
                  <a:lnTo>
                    <a:pt x="1021" y="391"/>
                  </a:lnTo>
                  <a:lnTo>
                    <a:pt x="1021" y="391"/>
                  </a:lnTo>
                  <a:lnTo>
                    <a:pt x="1023" y="388"/>
                  </a:lnTo>
                  <a:lnTo>
                    <a:pt x="1023" y="387"/>
                  </a:lnTo>
                  <a:lnTo>
                    <a:pt x="1023" y="385"/>
                  </a:lnTo>
                  <a:lnTo>
                    <a:pt x="1023" y="382"/>
                  </a:lnTo>
                  <a:lnTo>
                    <a:pt x="1020" y="374"/>
                  </a:lnTo>
                  <a:lnTo>
                    <a:pt x="1018" y="373"/>
                  </a:lnTo>
                  <a:lnTo>
                    <a:pt x="1017" y="371"/>
                  </a:lnTo>
                  <a:lnTo>
                    <a:pt x="1015" y="370"/>
                  </a:lnTo>
                  <a:lnTo>
                    <a:pt x="1014" y="371"/>
                  </a:lnTo>
                  <a:lnTo>
                    <a:pt x="1014" y="371"/>
                  </a:lnTo>
                  <a:lnTo>
                    <a:pt x="1014" y="373"/>
                  </a:lnTo>
                  <a:lnTo>
                    <a:pt x="1012" y="373"/>
                  </a:lnTo>
                  <a:lnTo>
                    <a:pt x="1009" y="374"/>
                  </a:lnTo>
                  <a:lnTo>
                    <a:pt x="1008" y="376"/>
                  </a:lnTo>
                  <a:lnTo>
                    <a:pt x="1006" y="376"/>
                  </a:lnTo>
                  <a:lnTo>
                    <a:pt x="1006" y="378"/>
                  </a:lnTo>
                  <a:lnTo>
                    <a:pt x="1006" y="379"/>
                  </a:lnTo>
                  <a:lnTo>
                    <a:pt x="1006" y="381"/>
                  </a:lnTo>
                  <a:lnTo>
                    <a:pt x="1008" y="381"/>
                  </a:lnTo>
                  <a:lnTo>
                    <a:pt x="1008" y="382"/>
                  </a:lnTo>
                  <a:lnTo>
                    <a:pt x="1008" y="385"/>
                  </a:lnTo>
                  <a:lnTo>
                    <a:pt x="1008" y="385"/>
                  </a:lnTo>
                  <a:lnTo>
                    <a:pt x="1008" y="387"/>
                  </a:lnTo>
                  <a:lnTo>
                    <a:pt x="1008" y="388"/>
                  </a:lnTo>
                  <a:lnTo>
                    <a:pt x="1008" y="390"/>
                  </a:lnTo>
                  <a:lnTo>
                    <a:pt x="1006" y="393"/>
                  </a:lnTo>
                  <a:lnTo>
                    <a:pt x="1004" y="396"/>
                  </a:lnTo>
                  <a:lnTo>
                    <a:pt x="1004" y="399"/>
                  </a:lnTo>
                  <a:lnTo>
                    <a:pt x="1003" y="404"/>
                  </a:lnTo>
                  <a:lnTo>
                    <a:pt x="998" y="407"/>
                  </a:lnTo>
                  <a:lnTo>
                    <a:pt x="995" y="410"/>
                  </a:lnTo>
                  <a:lnTo>
                    <a:pt x="995" y="413"/>
                  </a:lnTo>
                  <a:lnTo>
                    <a:pt x="995" y="421"/>
                  </a:lnTo>
                  <a:lnTo>
                    <a:pt x="994" y="424"/>
                  </a:lnTo>
                  <a:lnTo>
                    <a:pt x="995" y="425"/>
                  </a:lnTo>
                  <a:lnTo>
                    <a:pt x="1000" y="424"/>
                  </a:lnTo>
                  <a:lnTo>
                    <a:pt x="1003" y="425"/>
                  </a:lnTo>
                  <a:lnTo>
                    <a:pt x="1001" y="428"/>
                  </a:lnTo>
                  <a:lnTo>
                    <a:pt x="1001" y="430"/>
                  </a:lnTo>
                  <a:lnTo>
                    <a:pt x="1000" y="431"/>
                  </a:lnTo>
                  <a:lnTo>
                    <a:pt x="1000" y="436"/>
                  </a:lnTo>
                  <a:lnTo>
                    <a:pt x="1001" y="438"/>
                  </a:lnTo>
                  <a:lnTo>
                    <a:pt x="1006" y="441"/>
                  </a:lnTo>
                  <a:lnTo>
                    <a:pt x="997" y="441"/>
                  </a:lnTo>
                  <a:lnTo>
                    <a:pt x="992" y="442"/>
                  </a:lnTo>
                  <a:lnTo>
                    <a:pt x="984" y="448"/>
                  </a:lnTo>
                  <a:lnTo>
                    <a:pt x="969" y="448"/>
                  </a:lnTo>
                  <a:lnTo>
                    <a:pt x="967" y="451"/>
                  </a:lnTo>
                  <a:lnTo>
                    <a:pt x="967" y="451"/>
                  </a:lnTo>
                  <a:lnTo>
                    <a:pt x="971" y="453"/>
                  </a:lnTo>
                  <a:lnTo>
                    <a:pt x="971" y="454"/>
                  </a:lnTo>
                  <a:lnTo>
                    <a:pt x="969" y="456"/>
                  </a:lnTo>
                  <a:lnTo>
                    <a:pt x="966" y="461"/>
                  </a:lnTo>
                  <a:lnTo>
                    <a:pt x="961" y="467"/>
                  </a:lnTo>
                  <a:lnTo>
                    <a:pt x="957" y="475"/>
                  </a:lnTo>
                  <a:lnTo>
                    <a:pt x="957" y="476"/>
                  </a:lnTo>
                  <a:lnTo>
                    <a:pt x="958" y="475"/>
                  </a:lnTo>
                  <a:lnTo>
                    <a:pt x="960" y="476"/>
                  </a:lnTo>
                  <a:lnTo>
                    <a:pt x="960" y="478"/>
                  </a:lnTo>
                  <a:lnTo>
                    <a:pt x="960" y="481"/>
                  </a:lnTo>
                  <a:lnTo>
                    <a:pt x="960" y="482"/>
                  </a:lnTo>
                  <a:lnTo>
                    <a:pt x="957" y="482"/>
                  </a:lnTo>
                  <a:lnTo>
                    <a:pt x="957" y="484"/>
                  </a:lnTo>
                  <a:lnTo>
                    <a:pt x="952" y="491"/>
                  </a:lnTo>
                  <a:lnTo>
                    <a:pt x="952" y="495"/>
                  </a:lnTo>
                  <a:lnTo>
                    <a:pt x="954" y="495"/>
                  </a:lnTo>
                  <a:lnTo>
                    <a:pt x="960" y="490"/>
                  </a:lnTo>
                  <a:lnTo>
                    <a:pt x="974" y="487"/>
                  </a:lnTo>
                  <a:lnTo>
                    <a:pt x="974" y="490"/>
                  </a:lnTo>
                  <a:lnTo>
                    <a:pt x="974" y="491"/>
                  </a:lnTo>
                  <a:lnTo>
                    <a:pt x="981" y="495"/>
                  </a:lnTo>
                  <a:lnTo>
                    <a:pt x="984" y="499"/>
                  </a:lnTo>
                  <a:lnTo>
                    <a:pt x="981" y="501"/>
                  </a:lnTo>
                  <a:lnTo>
                    <a:pt x="980" y="501"/>
                  </a:lnTo>
                  <a:lnTo>
                    <a:pt x="978" y="499"/>
                  </a:lnTo>
                  <a:lnTo>
                    <a:pt x="975" y="498"/>
                  </a:lnTo>
                  <a:lnTo>
                    <a:pt x="974" y="496"/>
                  </a:lnTo>
                  <a:lnTo>
                    <a:pt x="974" y="495"/>
                  </a:lnTo>
                  <a:lnTo>
                    <a:pt x="972" y="496"/>
                  </a:lnTo>
                  <a:lnTo>
                    <a:pt x="969" y="498"/>
                  </a:lnTo>
                  <a:lnTo>
                    <a:pt x="967" y="499"/>
                  </a:lnTo>
                  <a:lnTo>
                    <a:pt x="966" y="499"/>
                  </a:lnTo>
                  <a:lnTo>
                    <a:pt x="961" y="505"/>
                  </a:lnTo>
                  <a:lnTo>
                    <a:pt x="955" y="508"/>
                  </a:lnTo>
                  <a:lnTo>
                    <a:pt x="969" y="515"/>
                  </a:lnTo>
                  <a:lnTo>
                    <a:pt x="975" y="516"/>
                  </a:lnTo>
                  <a:lnTo>
                    <a:pt x="978" y="519"/>
                  </a:lnTo>
                  <a:lnTo>
                    <a:pt x="978" y="525"/>
                  </a:lnTo>
                  <a:lnTo>
                    <a:pt x="974" y="519"/>
                  </a:lnTo>
                  <a:lnTo>
                    <a:pt x="963" y="516"/>
                  </a:lnTo>
                  <a:lnTo>
                    <a:pt x="955" y="511"/>
                  </a:lnTo>
                  <a:lnTo>
                    <a:pt x="952" y="513"/>
                  </a:lnTo>
                  <a:lnTo>
                    <a:pt x="949" y="515"/>
                  </a:lnTo>
                  <a:lnTo>
                    <a:pt x="944" y="518"/>
                  </a:lnTo>
                  <a:lnTo>
                    <a:pt x="940" y="521"/>
                  </a:lnTo>
                  <a:lnTo>
                    <a:pt x="938" y="524"/>
                  </a:lnTo>
                  <a:lnTo>
                    <a:pt x="941" y="527"/>
                  </a:lnTo>
                  <a:lnTo>
                    <a:pt x="944" y="528"/>
                  </a:lnTo>
                  <a:lnTo>
                    <a:pt x="946" y="527"/>
                  </a:lnTo>
                  <a:lnTo>
                    <a:pt x="947" y="524"/>
                  </a:lnTo>
                  <a:lnTo>
                    <a:pt x="951" y="525"/>
                  </a:lnTo>
                  <a:lnTo>
                    <a:pt x="952" y="528"/>
                  </a:lnTo>
                  <a:lnTo>
                    <a:pt x="954" y="531"/>
                  </a:lnTo>
                  <a:lnTo>
                    <a:pt x="957" y="536"/>
                  </a:lnTo>
                  <a:lnTo>
                    <a:pt x="966" y="539"/>
                  </a:lnTo>
                  <a:lnTo>
                    <a:pt x="971" y="542"/>
                  </a:lnTo>
                  <a:lnTo>
                    <a:pt x="969" y="544"/>
                  </a:lnTo>
                  <a:lnTo>
                    <a:pt x="963" y="541"/>
                  </a:lnTo>
                  <a:lnTo>
                    <a:pt x="957" y="542"/>
                  </a:lnTo>
                  <a:lnTo>
                    <a:pt x="955" y="542"/>
                  </a:lnTo>
                  <a:lnTo>
                    <a:pt x="954" y="541"/>
                  </a:lnTo>
                  <a:lnTo>
                    <a:pt x="952" y="539"/>
                  </a:lnTo>
                  <a:lnTo>
                    <a:pt x="951" y="538"/>
                  </a:lnTo>
                  <a:lnTo>
                    <a:pt x="947" y="533"/>
                  </a:lnTo>
                  <a:lnTo>
                    <a:pt x="946" y="533"/>
                  </a:lnTo>
                  <a:lnTo>
                    <a:pt x="944" y="533"/>
                  </a:lnTo>
                  <a:lnTo>
                    <a:pt x="943" y="533"/>
                  </a:lnTo>
                  <a:lnTo>
                    <a:pt x="940" y="531"/>
                  </a:lnTo>
                  <a:lnTo>
                    <a:pt x="938" y="530"/>
                  </a:lnTo>
                  <a:lnTo>
                    <a:pt x="935" y="533"/>
                  </a:lnTo>
                  <a:lnTo>
                    <a:pt x="929" y="535"/>
                  </a:lnTo>
                  <a:lnTo>
                    <a:pt x="929" y="536"/>
                  </a:lnTo>
                  <a:lnTo>
                    <a:pt x="927" y="536"/>
                  </a:lnTo>
                  <a:lnTo>
                    <a:pt x="927" y="538"/>
                  </a:lnTo>
                  <a:lnTo>
                    <a:pt x="927" y="539"/>
                  </a:lnTo>
                  <a:lnTo>
                    <a:pt x="927" y="541"/>
                  </a:lnTo>
                  <a:lnTo>
                    <a:pt x="929" y="542"/>
                  </a:lnTo>
                  <a:lnTo>
                    <a:pt x="929" y="542"/>
                  </a:lnTo>
                  <a:lnTo>
                    <a:pt x="930" y="544"/>
                  </a:lnTo>
                  <a:lnTo>
                    <a:pt x="930" y="544"/>
                  </a:lnTo>
                  <a:lnTo>
                    <a:pt x="934" y="545"/>
                  </a:lnTo>
                  <a:lnTo>
                    <a:pt x="934" y="545"/>
                  </a:lnTo>
                  <a:lnTo>
                    <a:pt x="934" y="547"/>
                  </a:lnTo>
                  <a:lnTo>
                    <a:pt x="932" y="548"/>
                  </a:lnTo>
                  <a:lnTo>
                    <a:pt x="932" y="548"/>
                  </a:lnTo>
                  <a:lnTo>
                    <a:pt x="930" y="548"/>
                  </a:lnTo>
                  <a:lnTo>
                    <a:pt x="927" y="547"/>
                  </a:lnTo>
                  <a:lnTo>
                    <a:pt x="926" y="545"/>
                  </a:lnTo>
                  <a:lnTo>
                    <a:pt x="926" y="545"/>
                  </a:lnTo>
                  <a:lnTo>
                    <a:pt x="926" y="544"/>
                  </a:lnTo>
                  <a:lnTo>
                    <a:pt x="926" y="542"/>
                  </a:lnTo>
                  <a:lnTo>
                    <a:pt x="924" y="539"/>
                  </a:lnTo>
                  <a:lnTo>
                    <a:pt x="921" y="536"/>
                  </a:lnTo>
                  <a:lnTo>
                    <a:pt x="920" y="533"/>
                  </a:lnTo>
                  <a:lnTo>
                    <a:pt x="917" y="535"/>
                  </a:lnTo>
                  <a:lnTo>
                    <a:pt x="915" y="536"/>
                  </a:lnTo>
                  <a:lnTo>
                    <a:pt x="906" y="539"/>
                  </a:lnTo>
                  <a:lnTo>
                    <a:pt x="898" y="545"/>
                  </a:lnTo>
                  <a:lnTo>
                    <a:pt x="892" y="547"/>
                  </a:lnTo>
                  <a:lnTo>
                    <a:pt x="890" y="550"/>
                  </a:lnTo>
                  <a:lnTo>
                    <a:pt x="889" y="553"/>
                  </a:lnTo>
                  <a:lnTo>
                    <a:pt x="887" y="558"/>
                  </a:lnTo>
                  <a:lnTo>
                    <a:pt x="887" y="559"/>
                  </a:lnTo>
                  <a:lnTo>
                    <a:pt x="889" y="562"/>
                  </a:lnTo>
                  <a:lnTo>
                    <a:pt x="889" y="562"/>
                  </a:lnTo>
                  <a:lnTo>
                    <a:pt x="890" y="564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4" y="567"/>
                  </a:lnTo>
                  <a:lnTo>
                    <a:pt x="892" y="568"/>
                  </a:lnTo>
                  <a:lnTo>
                    <a:pt x="890" y="570"/>
                  </a:lnTo>
                  <a:lnTo>
                    <a:pt x="889" y="568"/>
                  </a:lnTo>
                  <a:lnTo>
                    <a:pt x="886" y="567"/>
                  </a:lnTo>
                  <a:lnTo>
                    <a:pt x="881" y="570"/>
                  </a:lnTo>
                  <a:lnTo>
                    <a:pt x="881" y="572"/>
                  </a:lnTo>
                  <a:lnTo>
                    <a:pt x="880" y="573"/>
                  </a:lnTo>
                  <a:lnTo>
                    <a:pt x="881" y="575"/>
                  </a:lnTo>
                  <a:lnTo>
                    <a:pt x="881" y="576"/>
                  </a:lnTo>
                  <a:lnTo>
                    <a:pt x="883" y="578"/>
                  </a:lnTo>
                  <a:lnTo>
                    <a:pt x="883" y="581"/>
                  </a:lnTo>
                  <a:lnTo>
                    <a:pt x="883" y="582"/>
                  </a:lnTo>
                  <a:lnTo>
                    <a:pt x="883" y="585"/>
                  </a:lnTo>
                  <a:lnTo>
                    <a:pt x="884" y="587"/>
                  </a:lnTo>
                  <a:lnTo>
                    <a:pt x="886" y="588"/>
                  </a:lnTo>
                  <a:lnTo>
                    <a:pt x="895" y="588"/>
                  </a:lnTo>
                  <a:lnTo>
                    <a:pt x="901" y="585"/>
                  </a:lnTo>
                  <a:lnTo>
                    <a:pt x="909" y="585"/>
                  </a:lnTo>
                  <a:lnTo>
                    <a:pt x="912" y="582"/>
                  </a:lnTo>
                  <a:lnTo>
                    <a:pt x="914" y="581"/>
                  </a:lnTo>
                  <a:lnTo>
                    <a:pt x="918" y="575"/>
                  </a:lnTo>
                  <a:lnTo>
                    <a:pt x="920" y="573"/>
                  </a:lnTo>
                  <a:lnTo>
                    <a:pt x="920" y="575"/>
                  </a:lnTo>
                  <a:lnTo>
                    <a:pt x="921" y="576"/>
                  </a:lnTo>
                  <a:lnTo>
                    <a:pt x="923" y="576"/>
                  </a:lnTo>
                  <a:lnTo>
                    <a:pt x="924" y="576"/>
                  </a:lnTo>
                  <a:lnTo>
                    <a:pt x="926" y="578"/>
                  </a:lnTo>
                  <a:lnTo>
                    <a:pt x="927" y="579"/>
                  </a:lnTo>
                  <a:lnTo>
                    <a:pt x="927" y="582"/>
                  </a:lnTo>
                  <a:lnTo>
                    <a:pt x="926" y="584"/>
                  </a:lnTo>
                  <a:lnTo>
                    <a:pt x="921" y="585"/>
                  </a:lnTo>
                  <a:lnTo>
                    <a:pt x="920" y="587"/>
                  </a:lnTo>
                  <a:lnTo>
                    <a:pt x="924" y="588"/>
                  </a:lnTo>
                  <a:lnTo>
                    <a:pt x="940" y="585"/>
                  </a:lnTo>
                  <a:lnTo>
                    <a:pt x="944" y="578"/>
                  </a:lnTo>
                  <a:lnTo>
                    <a:pt x="947" y="575"/>
                  </a:lnTo>
                  <a:lnTo>
                    <a:pt x="954" y="575"/>
                  </a:lnTo>
                  <a:lnTo>
                    <a:pt x="957" y="572"/>
                  </a:lnTo>
                  <a:lnTo>
                    <a:pt x="960" y="570"/>
                  </a:lnTo>
                  <a:lnTo>
                    <a:pt x="961" y="570"/>
                  </a:lnTo>
                  <a:lnTo>
                    <a:pt x="961" y="572"/>
                  </a:lnTo>
                  <a:lnTo>
                    <a:pt x="955" y="587"/>
                  </a:lnTo>
                  <a:lnTo>
                    <a:pt x="966" y="585"/>
                  </a:lnTo>
                  <a:lnTo>
                    <a:pt x="981" y="596"/>
                  </a:lnTo>
                  <a:lnTo>
                    <a:pt x="984" y="598"/>
                  </a:lnTo>
                  <a:lnTo>
                    <a:pt x="981" y="599"/>
                  </a:lnTo>
                  <a:lnTo>
                    <a:pt x="974" y="593"/>
                  </a:lnTo>
                  <a:lnTo>
                    <a:pt x="960" y="590"/>
                  </a:lnTo>
                  <a:lnTo>
                    <a:pt x="949" y="592"/>
                  </a:lnTo>
                  <a:lnTo>
                    <a:pt x="947" y="593"/>
                  </a:lnTo>
                  <a:lnTo>
                    <a:pt x="961" y="601"/>
                  </a:lnTo>
                  <a:lnTo>
                    <a:pt x="963" y="604"/>
                  </a:lnTo>
                  <a:lnTo>
                    <a:pt x="957" y="602"/>
                  </a:lnTo>
                  <a:lnTo>
                    <a:pt x="944" y="595"/>
                  </a:lnTo>
                  <a:lnTo>
                    <a:pt x="938" y="595"/>
                  </a:lnTo>
                  <a:lnTo>
                    <a:pt x="940" y="596"/>
                  </a:lnTo>
                  <a:lnTo>
                    <a:pt x="940" y="598"/>
                  </a:lnTo>
                  <a:lnTo>
                    <a:pt x="938" y="599"/>
                  </a:lnTo>
                  <a:lnTo>
                    <a:pt x="937" y="601"/>
                  </a:lnTo>
                  <a:lnTo>
                    <a:pt x="935" y="601"/>
                  </a:lnTo>
                  <a:lnTo>
                    <a:pt x="937" y="605"/>
                  </a:lnTo>
                  <a:lnTo>
                    <a:pt x="937" y="608"/>
                  </a:lnTo>
                  <a:lnTo>
                    <a:pt x="938" y="610"/>
                  </a:lnTo>
                  <a:lnTo>
                    <a:pt x="940" y="612"/>
                  </a:lnTo>
                  <a:lnTo>
                    <a:pt x="940" y="615"/>
                  </a:lnTo>
                  <a:lnTo>
                    <a:pt x="946" y="619"/>
                  </a:lnTo>
                  <a:lnTo>
                    <a:pt x="949" y="622"/>
                  </a:lnTo>
                  <a:lnTo>
                    <a:pt x="952" y="629"/>
                  </a:lnTo>
                  <a:lnTo>
                    <a:pt x="947" y="630"/>
                  </a:lnTo>
                  <a:lnTo>
                    <a:pt x="946" y="632"/>
                  </a:lnTo>
                  <a:lnTo>
                    <a:pt x="946" y="633"/>
                  </a:lnTo>
                  <a:lnTo>
                    <a:pt x="947" y="636"/>
                  </a:lnTo>
                  <a:lnTo>
                    <a:pt x="947" y="639"/>
                  </a:lnTo>
                  <a:lnTo>
                    <a:pt x="947" y="642"/>
                  </a:lnTo>
                  <a:lnTo>
                    <a:pt x="944" y="642"/>
                  </a:lnTo>
                  <a:lnTo>
                    <a:pt x="944" y="642"/>
                  </a:lnTo>
                  <a:lnTo>
                    <a:pt x="944" y="641"/>
                  </a:lnTo>
                  <a:lnTo>
                    <a:pt x="944" y="638"/>
                  </a:lnTo>
                  <a:lnTo>
                    <a:pt x="944" y="635"/>
                  </a:lnTo>
                  <a:lnTo>
                    <a:pt x="944" y="633"/>
                  </a:lnTo>
                  <a:lnTo>
                    <a:pt x="944" y="633"/>
                  </a:lnTo>
                  <a:lnTo>
                    <a:pt x="943" y="632"/>
                  </a:lnTo>
                  <a:lnTo>
                    <a:pt x="943" y="630"/>
                  </a:lnTo>
                  <a:lnTo>
                    <a:pt x="943" y="629"/>
                  </a:lnTo>
                  <a:lnTo>
                    <a:pt x="944" y="625"/>
                  </a:lnTo>
                  <a:lnTo>
                    <a:pt x="937" y="619"/>
                  </a:lnTo>
                  <a:lnTo>
                    <a:pt x="935" y="616"/>
                  </a:lnTo>
                  <a:lnTo>
                    <a:pt x="935" y="615"/>
                  </a:lnTo>
                  <a:lnTo>
                    <a:pt x="934" y="608"/>
                  </a:lnTo>
                  <a:lnTo>
                    <a:pt x="934" y="607"/>
                  </a:lnTo>
                  <a:lnTo>
                    <a:pt x="930" y="602"/>
                  </a:lnTo>
                  <a:lnTo>
                    <a:pt x="929" y="601"/>
                  </a:lnTo>
                  <a:lnTo>
                    <a:pt x="924" y="604"/>
                  </a:lnTo>
                  <a:lnTo>
                    <a:pt x="923" y="604"/>
                  </a:lnTo>
                  <a:lnTo>
                    <a:pt x="920" y="607"/>
                  </a:lnTo>
                  <a:lnTo>
                    <a:pt x="909" y="612"/>
                  </a:lnTo>
                  <a:lnTo>
                    <a:pt x="907" y="612"/>
                  </a:lnTo>
                  <a:lnTo>
                    <a:pt x="907" y="610"/>
                  </a:lnTo>
                  <a:lnTo>
                    <a:pt x="910" y="605"/>
                  </a:lnTo>
                  <a:lnTo>
                    <a:pt x="910" y="605"/>
                  </a:lnTo>
                  <a:lnTo>
                    <a:pt x="910" y="601"/>
                  </a:lnTo>
                  <a:lnTo>
                    <a:pt x="909" y="601"/>
                  </a:lnTo>
                  <a:lnTo>
                    <a:pt x="906" y="601"/>
                  </a:lnTo>
                  <a:lnTo>
                    <a:pt x="900" y="596"/>
                  </a:lnTo>
                  <a:lnTo>
                    <a:pt x="898" y="595"/>
                  </a:lnTo>
                  <a:lnTo>
                    <a:pt x="877" y="598"/>
                  </a:lnTo>
                  <a:lnTo>
                    <a:pt x="872" y="602"/>
                  </a:lnTo>
                  <a:lnTo>
                    <a:pt x="866" y="604"/>
                  </a:lnTo>
                  <a:lnTo>
                    <a:pt x="863" y="605"/>
                  </a:lnTo>
                  <a:lnTo>
                    <a:pt x="863" y="607"/>
                  </a:lnTo>
                  <a:lnTo>
                    <a:pt x="866" y="607"/>
                  </a:lnTo>
                  <a:lnTo>
                    <a:pt x="867" y="607"/>
                  </a:lnTo>
                  <a:lnTo>
                    <a:pt x="864" y="610"/>
                  </a:lnTo>
                  <a:lnTo>
                    <a:pt x="866" y="612"/>
                  </a:lnTo>
                  <a:lnTo>
                    <a:pt x="869" y="610"/>
                  </a:lnTo>
                  <a:lnTo>
                    <a:pt x="870" y="612"/>
                  </a:lnTo>
                  <a:lnTo>
                    <a:pt x="872" y="613"/>
                  </a:lnTo>
                  <a:lnTo>
                    <a:pt x="877" y="616"/>
                  </a:lnTo>
                  <a:lnTo>
                    <a:pt x="884" y="618"/>
                  </a:lnTo>
                  <a:lnTo>
                    <a:pt x="887" y="621"/>
                  </a:lnTo>
                  <a:lnTo>
                    <a:pt x="890" y="625"/>
                  </a:lnTo>
                  <a:lnTo>
                    <a:pt x="890" y="629"/>
                  </a:lnTo>
                  <a:lnTo>
                    <a:pt x="892" y="632"/>
                  </a:lnTo>
                  <a:lnTo>
                    <a:pt x="894" y="636"/>
                  </a:lnTo>
                  <a:lnTo>
                    <a:pt x="900" y="641"/>
                  </a:lnTo>
                  <a:lnTo>
                    <a:pt x="901" y="642"/>
                  </a:lnTo>
                  <a:lnTo>
                    <a:pt x="901" y="644"/>
                  </a:lnTo>
                  <a:lnTo>
                    <a:pt x="906" y="650"/>
                  </a:lnTo>
                  <a:lnTo>
                    <a:pt x="903" y="650"/>
                  </a:lnTo>
                  <a:lnTo>
                    <a:pt x="901" y="649"/>
                  </a:lnTo>
                  <a:lnTo>
                    <a:pt x="887" y="638"/>
                  </a:lnTo>
                  <a:lnTo>
                    <a:pt x="887" y="630"/>
                  </a:lnTo>
                  <a:lnTo>
                    <a:pt x="884" y="625"/>
                  </a:lnTo>
                  <a:lnTo>
                    <a:pt x="875" y="621"/>
                  </a:lnTo>
                  <a:lnTo>
                    <a:pt x="875" y="619"/>
                  </a:lnTo>
                  <a:lnTo>
                    <a:pt x="870" y="621"/>
                  </a:lnTo>
                  <a:lnTo>
                    <a:pt x="869" y="619"/>
                  </a:lnTo>
                  <a:lnTo>
                    <a:pt x="869" y="619"/>
                  </a:lnTo>
                  <a:lnTo>
                    <a:pt x="869" y="616"/>
                  </a:lnTo>
                  <a:lnTo>
                    <a:pt x="867" y="615"/>
                  </a:lnTo>
                  <a:lnTo>
                    <a:pt x="867" y="615"/>
                  </a:lnTo>
                  <a:lnTo>
                    <a:pt x="866" y="615"/>
                  </a:lnTo>
                  <a:lnTo>
                    <a:pt x="866" y="615"/>
                  </a:lnTo>
                  <a:lnTo>
                    <a:pt x="864" y="615"/>
                  </a:lnTo>
                  <a:lnTo>
                    <a:pt x="863" y="615"/>
                  </a:lnTo>
                  <a:lnTo>
                    <a:pt x="860" y="613"/>
                  </a:lnTo>
                  <a:lnTo>
                    <a:pt x="858" y="613"/>
                  </a:lnTo>
                  <a:lnTo>
                    <a:pt x="857" y="613"/>
                  </a:lnTo>
                  <a:lnTo>
                    <a:pt x="855" y="618"/>
                  </a:lnTo>
                  <a:lnTo>
                    <a:pt x="853" y="619"/>
                  </a:lnTo>
                  <a:lnTo>
                    <a:pt x="855" y="621"/>
                  </a:lnTo>
                  <a:lnTo>
                    <a:pt x="860" y="624"/>
                  </a:lnTo>
                  <a:lnTo>
                    <a:pt x="870" y="625"/>
                  </a:lnTo>
                  <a:lnTo>
                    <a:pt x="872" y="627"/>
                  </a:lnTo>
                  <a:lnTo>
                    <a:pt x="872" y="629"/>
                  </a:lnTo>
                  <a:lnTo>
                    <a:pt x="872" y="630"/>
                  </a:lnTo>
                  <a:lnTo>
                    <a:pt x="872" y="630"/>
                  </a:lnTo>
                  <a:lnTo>
                    <a:pt x="861" y="632"/>
                  </a:lnTo>
                  <a:lnTo>
                    <a:pt x="860" y="632"/>
                  </a:lnTo>
                  <a:lnTo>
                    <a:pt x="858" y="633"/>
                  </a:lnTo>
                  <a:lnTo>
                    <a:pt x="858" y="635"/>
                  </a:lnTo>
                  <a:lnTo>
                    <a:pt x="877" y="635"/>
                  </a:lnTo>
                  <a:lnTo>
                    <a:pt x="877" y="633"/>
                  </a:lnTo>
                  <a:lnTo>
                    <a:pt x="878" y="632"/>
                  </a:lnTo>
                  <a:lnTo>
                    <a:pt x="880" y="630"/>
                  </a:lnTo>
                  <a:lnTo>
                    <a:pt x="880" y="632"/>
                  </a:lnTo>
                  <a:lnTo>
                    <a:pt x="880" y="635"/>
                  </a:lnTo>
                  <a:lnTo>
                    <a:pt x="881" y="636"/>
                  </a:lnTo>
                  <a:lnTo>
                    <a:pt x="881" y="636"/>
                  </a:lnTo>
                  <a:lnTo>
                    <a:pt x="886" y="641"/>
                  </a:lnTo>
                  <a:lnTo>
                    <a:pt x="889" y="641"/>
                  </a:lnTo>
                  <a:lnTo>
                    <a:pt x="890" y="642"/>
                  </a:lnTo>
                  <a:lnTo>
                    <a:pt x="886" y="642"/>
                  </a:lnTo>
                  <a:lnTo>
                    <a:pt x="877" y="639"/>
                  </a:lnTo>
                  <a:lnTo>
                    <a:pt x="877" y="639"/>
                  </a:lnTo>
                  <a:lnTo>
                    <a:pt x="880" y="641"/>
                  </a:lnTo>
                  <a:lnTo>
                    <a:pt x="880" y="642"/>
                  </a:lnTo>
                  <a:lnTo>
                    <a:pt x="881" y="645"/>
                  </a:lnTo>
                  <a:lnTo>
                    <a:pt x="880" y="645"/>
                  </a:lnTo>
                  <a:lnTo>
                    <a:pt x="878" y="644"/>
                  </a:lnTo>
                  <a:lnTo>
                    <a:pt x="877" y="644"/>
                  </a:lnTo>
                  <a:lnTo>
                    <a:pt x="875" y="645"/>
                  </a:lnTo>
                  <a:lnTo>
                    <a:pt x="877" y="647"/>
                  </a:lnTo>
                  <a:lnTo>
                    <a:pt x="877" y="647"/>
                  </a:lnTo>
                  <a:lnTo>
                    <a:pt x="875" y="649"/>
                  </a:lnTo>
                  <a:lnTo>
                    <a:pt x="872" y="647"/>
                  </a:lnTo>
                  <a:lnTo>
                    <a:pt x="869" y="652"/>
                  </a:lnTo>
                  <a:lnTo>
                    <a:pt x="867" y="652"/>
                  </a:lnTo>
                  <a:lnTo>
                    <a:pt x="864" y="650"/>
                  </a:lnTo>
                  <a:lnTo>
                    <a:pt x="864" y="652"/>
                  </a:lnTo>
                  <a:lnTo>
                    <a:pt x="866" y="653"/>
                  </a:lnTo>
                  <a:lnTo>
                    <a:pt x="869" y="653"/>
                  </a:lnTo>
                  <a:lnTo>
                    <a:pt x="867" y="656"/>
                  </a:lnTo>
                  <a:lnTo>
                    <a:pt x="867" y="658"/>
                  </a:lnTo>
                  <a:lnTo>
                    <a:pt x="872" y="659"/>
                  </a:lnTo>
                  <a:lnTo>
                    <a:pt x="880" y="653"/>
                  </a:lnTo>
                  <a:lnTo>
                    <a:pt x="883" y="653"/>
                  </a:lnTo>
                  <a:lnTo>
                    <a:pt x="884" y="653"/>
                  </a:lnTo>
                  <a:lnTo>
                    <a:pt x="887" y="658"/>
                  </a:lnTo>
                  <a:lnTo>
                    <a:pt x="889" y="659"/>
                  </a:lnTo>
                  <a:lnTo>
                    <a:pt x="897" y="662"/>
                  </a:lnTo>
                  <a:lnTo>
                    <a:pt x="897" y="662"/>
                  </a:lnTo>
                  <a:lnTo>
                    <a:pt x="895" y="664"/>
                  </a:lnTo>
                  <a:lnTo>
                    <a:pt x="897" y="664"/>
                  </a:lnTo>
                  <a:lnTo>
                    <a:pt x="897" y="664"/>
                  </a:lnTo>
                  <a:lnTo>
                    <a:pt x="895" y="665"/>
                  </a:lnTo>
                  <a:lnTo>
                    <a:pt x="887" y="662"/>
                  </a:lnTo>
                  <a:lnTo>
                    <a:pt x="883" y="658"/>
                  </a:lnTo>
                  <a:lnTo>
                    <a:pt x="880" y="658"/>
                  </a:lnTo>
                  <a:lnTo>
                    <a:pt x="880" y="659"/>
                  </a:lnTo>
                  <a:lnTo>
                    <a:pt x="878" y="661"/>
                  </a:lnTo>
                  <a:lnTo>
                    <a:pt x="878" y="662"/>
                  </a:lnTo>
                  <a:lnTo>
                    <a:pt x="877" y="662"/>
                  </a:lnTo>
                  <a:lnTo>
                    <a:pt x="875" y="664"/>
                  </a:lnTo>
                  <a:lnTo>
                    <a:pt x="874" y="667"/>
                  </a:lnTo>
                  <a:lnTo>
                    <a:pt x="874" y="670"/>
                  </a:lnTo>
                  <a:lnTo>
                    <a:pt x="883" y="673"/>
                  </a:lnTo>
                  <a:lnTo>
                    <a:pt x="881" y="676"/>
                  </a:lnTo>
                  <a:lnTo>
                    <a:pt x="880" y="678"/>
                  </a:lnTo>
                  <a:lnTo>
                    <a:pt x="880" y="681"/>
                  </a:lnTo>
                  <a:lnTo>
                    <a:pt x="881" y="682"/>
                  </a:lnTo>
                  <a:lnTo>
                    <a:pt x="884" y="682"/>
                  </a:lnTo>
                  <a:lnTo>
                    <a:pt x="886" y="684"/>
                  </a:lnTo>
                  <a:lnTo>
                    <a:pt x="884" y="684"/>
                  </a:lnTo>
                  <a:lnTo>
                    <a:pt x="881" y="684"/>
                  </a:lnTo>
                  <a:lnTo>
                    <a:pt x="880" y="684"/>
                  </a:lnTo>
                  <a:lnTo>
                    <a:pt x="878" y="681"/>
                  </a:lnTo>
                  <a:lnTo>
                    <a:pt x="875" y="676"/>
                  </a:lnTo>
                  <a:lnTo>
                    <a:pt x="874" y="675"/>
                  </a:lnTo>
                  <a:lnTo>
                    <a:pt x="872" y="675"/>
                  </a:lnTo>
                  <a:lnTo>
                    <a:pt x="870" y="676"/>
                  </a:lnTo>
                  <a:lnTo>
                    <a:pt x="870" y="678"/>
                  </a:lnTo>
                  <a:lnTo>
                    <a:pt x="874" y="681"/>
                  </a:lnTo>
                  <a:lnTo>
                    <a:pt x="875" y="684"/>
                  </a:lnTo>
                  <a:lnTo>
                    <a:pt x="877" y="685"/>
                  </a:lnTo>
                  <a:lnTo>
                    <a:pt x="880" y="687"/>
                  </a:lnTo>
                  <a:lnTo>
                    <a:pt x="881" y="687"/>
                  </a:lnTo>
                  <a:lnTo>
                    <a:pt x="880" y="689"/>
                  </a:lnTo>
                  <a:lnTo>
                    <a:pt x="880" y="690"/>
                  </a:lnTo>
                  <a:lnTo>
                    <a:pt x="880" y="690"/>
                  </a:lnTo>
                  <a:lnTo>
                    <a:pt x="880" y="693"/>
                  </a:lnTo>
                  <a:lnTo>
                    <a:pt x="880" y="695"/>
                  </a:lnTo>
                  <a:lnTo>
                    <a:pt x="881" y="696"/>
                  </a:lnTo>
                  <a:lnTo>
                    <a:pt x="880" y="696"/>
                  </a:lnTo>
                  <a:lnTo>
                    <a:pt x="877" y="695"/>
                  </a:lnTo>
                  <a:lnTo>
                    <a:pt x="877" y="692"/>
                  </a:lnTo>
                  <a:lnTo>
                    <a:pt x="869" y="678"/>
                  </a:lnTo>
                  <a:lnTo>
                    <a:pt x="866" y="675"/>
                  </a:lnTo>
                  <a:lnTo>
                    <a:pt x="864" y="675"/>
                  </a:lnTo>
                  <a:lnTo>
                    <a:pt x="861" y="675"/>
                  </a:lnTo>
                  <a:lnTo>
                    <a:pt x="864" y="678"/>
                  </a:lnTo>
                  <a:lnTo>
                    <a:pt x="866" y="679"/>
                  </a:lnTo>
                  <a:lnTo>
                    <a:pt x="866" y="681"/>
                  </a:lnTo>
                  <a:lnTo>
                    <a:pt x="866" y="682"/>
                  </a:lnTo>
                  <a:lnTo>
                    <a:pt x="866" y="687"/>
                  </a:lnTo>
                  <a:lnTo>
                    <a:pt x="866" y="690"/>
                  </a:lnTo>
                  <a:lnTo>
                    <a:pt x="866" y="692"/>
                  </a:lnTo>
                  <a:lnTo>
                    <a:pt x="864" y="695"/>
                  </a:lnTo>
                  <a:lnTo>
                    <a:pt x="864" y="696"/>
                  </a:lnTo>
                  <a:lnTo>
                    <a:pt x="866" y="698"/>
                  </a:lnTo>
                  <a:lnTo>
                    <a:pt x="869" y="701"/>
                  </a:lnTo>
                  <a:lnTo>
                    <a:pt x="880" y="706"/>
                  </a:lnTo>
                  <a:lnTo>
                    <a:pt x="878" y="709"/>
                  </a:lnTo>
                  <a:lnTo>
                    <a:pt x="880" y="712"/>
                  </a:lnTo>
                  <a:lnTo>
                    <a:pt x="883" y="713"/>
                  </a:lnTo>
                  <a:lnTo>
                    <a:pt x="884" y="715"/>
                  </a:lnTo>
                  <a:lnTo>
                    <a:pt x="881" y="716"/>
                  </a:lnTo>
                  <a:lnTo>
                    <a:pt x="878" y="715"/>
                  </a:lnTo>
                  <a:lnTo>
                    <a:pt x="869" y="704"/>
                  </a:lnTo>
                  <a:lnTo>
                    <a:pt x="867" y="702"/>
                  </a:lnTo>
                  <a:lnTo>
                    <a:pt x="867" y="701"/>
                  </a:lnTo>
                  <a:lnTo>
                    <a:pt x="863" y="699"/>
                  </a:lnTo>
                  <a:lnTo>
                    <a:pt x="863" y="698"/>
                  </a:lnTo>
                  <a:lnTo>
                    <a:pt x="861" y="693"/>
                  </a:lnTo>
                  <a:lnTo>
                    <a:pt x="861" y="689"/>
                  </a:lnTo>
                  <a:lnTo>
                    <a:pt x="861" y="684"/>
                  </a:lnTo>
                  <a:lnTo>
                    <a:pt x="860" y="679"/>
                  </a:lnTo>
                  <a:lnTo>
                    <a:pt x="858" y="676"/>
                  </a:lnTo>
                  <a:lnTo>
                    <a:pt x="849" y="670"/>
                  </a:lnTo>
                  <a:lnTo>
                    <a:pt x="850" y="669"/>
                  </a:lnTo>
                  <a:lnTo>
                    <a:pt x="850" y="667"/>
                  </a:lnTo>
                  <a:lnTo>
                    <a:pt x="852" y="664"/>
                  </a:lnTo>
                  <a:lnTo>
                    <a:pt x="852" y="661"/>
                  </a:lnTo>
                  <a:lnTo>
                    <a:pt x="852" y="656"/>
                  </a:lnTo>
                  <a:lnTo>
                    <a:pt x="850" y="653"/>
                  </a:lnTo>
                  <a:lnTo>
                    <a:pt x="852" y="652"/>
                  </a:lnTo>
                  <a:lnTo>
                    <a:pt x="853" y="647"/>
                  </a:lnTo>
                  <a:lnTo>
                    <a:pt x="853" y="644"/>
                  </a:lnTo>
                  <a:lnTo>
                    <a:pt x="853" y="641"/>
                  </a:lnTo>
                  <a:lnTo>
                    <a:pt x="852" y="642"/>
                  </a:lnTo>
                  <a:lnTo>
                    <a:pt x="850" y="644"/>
                  </a:lnTo>
                  <a:lnTo>
                    <a:pt x="849" y="644"/>
                  </a:lnTo>
                  <a:lnTo>
                    <a:pt x="847" y="639"/>
                  </a:lnTo>
                  <a:lnTo>
                    <a:pt x="849" y="639"/>
                  </a:lnTo>
                  <a:lnTo>
                    <a:pt x="849" y="639"/>
                  </a:lnTo>
                  <a:lnTo>
                    <a:pt x="850" y="638"/>
                  </a:lnTo>
                  <a:lnTo>
                    <a:pt x="850" y="636"/>
                  </a:lnTo>
                  <a:lnTo>
                    <a:pt x="849" y="633"/>
                  </a:lnTo>
                  <a:lnTo>
                    <a:pt x="849" y="630"/>
                  </a:lnTo>
                  <a:lnTo>
                    <a:pt x="849" y="627"/>
                  </a:lnTo>
                  <a:lnTo>
                    <a:pt x="847" y="625"/>
                  </a:lnTo>
                  <a:lnTo>
                    <a:pt x="844" y="625"/>
                  </a:lnTo>
                  <a:lnTo>
                    <a:pt x="843" y="627"/>
                  </a:lnTo>
                  <a:lnTo>
                    <a:pt x="843" y="629"/>
                  </a:lnTo>
                  <a:lnTo>
                    <a:pt x="841" y="630"/>
                  </a:lnTo>
                  <a:lnTo>
                    <a:pt x="841" y="632"/>
                  </a:lnTo>
                  <a:lnTo>
                    <a:pt x="843" y="633"/>
                  </a:lnTo>
                  <a:lnTo>
                    <a:pt x="843" y="635"/>
                  </a:lnTo>
                  <a:lnTo>
                    <a:pt x="841" y="639"/>
                  </a:lnTo>
                  <a:lnTo>
                    <a:pt x="840" y="639"/>
                  </a:lnTo>
                  <a:lnTo>
                    <a:pt x="838" y="638"/>
                  </a:lnTo>
                  <a:lnTo>
                    <a:pt x="837" y="639"/>
                  </a:lnTo>
                  <a:lnTo>
                    <a:pt x="837" y="642"/>
                  </a:lnTo>
                  <a:lnTo>
                    <a:pt x="838" y="645"/>
                  </a:lnTo>
                  <a:lnTo>
                    <a:pt x="840" y="650"/>
                  </a:lnTo>
                  <a:lnTo>
                    <a:pt x="840" y="650"/>
                  </a:lnTo>
                  <a:lnTo>
                    <a:pt x="838" y="652"/>
                  </a:lnTo>
                  <a:lnTo>
                    <a:pt x="835" y="655"/>
                  </a:lnTo>
                  <a:lnTo>
                    <a:pt x="833" y="656"/>
                  </a:lnTo>
                  <a:lnTo>
                    <a:pt x="833" y="658"/>
                  </a:lnTo>
                  <a:lnTo>
                    <a:pt x="829" y="658"/>
                  </a:lnTo>
                  <a:lnTo>
                    <a:pt x="829" y="658"/>
                  </a:lnTo>
                  <a:lnTo>
                    <a:pt x="829" y="659"/>
                  </a:lnTo>
                  <a:lnTo>
                    <a:pt x="829" y="659"/>
                  </a:lnTo>
                  <a:lnTo>
                    <a:pt x="827" y="661"/>
                  </a:lnTo>
                  <a:lnTo>
                    <a:pt x="826" y="661"/>
                  </a:lnTo>
                  <a:lnTo>
                    <a:pt x="821" y="661"/>
                  </a:lnTo>
                  <a:lnTo>
                    <a:pt x="820" y="662"/>
                  </a:lnTo>
                  <a:lnTo>
                    <a:pt x="821" y="665"/>
                  </a:lnTo>
                  <a:lnTo>
                    <a:pt x="820" y="665"/>
                  </a:lnTo>
                  <a:lnTo>
                    <a:pt x="820" y="665"/>
                  </a:lnTo>
                  <a:lnTo>
                    <a:pt x="818" y="665"/>
                  </a:lnTo>
                  <a:lnTo>
                    <a:pt x="818" y="664"/>
                  </a:lnTo>
                  <a:lnTo>
                    <a:pt x="818" y="662"/>
                  </a:lnTo>
                  <a:lnTo>
                    <a:pt x="818" y="661"/>
                  </a:lnTo>
                  <a:lnTo>
                    <a:pt x="818" y="659"/>
                  </a:lnTo>
                  <a:lnTo>
                    <a:pt x="818" y="658"/>
                  </a:lnTo>
                  <a:lnTo>
                    <a:pt x="820" y="656"/>
                  </a:lnTo>
                  <a:lnTo>
                    <a:pt x="824" y="659"/>
                  </a:lnTo>
                  <a:lnTo>
                    <a:pt x="826" y="658"/>
                  </a:lnTo>
                  <a:lnTo>
                    <a:pt x="826" y="656"/>
                  </a:lnTo>
                  <a:lnTo>
                    <a:pt x="826" y="653"/>
                  </a:lnTo>
                  <a:lnTo>
                    <a:pt x="824" y="652"/>
                  </a:lnTo>
                  <a:lnTo>
                    <a:pt x="824" y="652"/>
                  </a:lnTo>
                  <a:lnTo>
                    <a:pt x="824" y="650"/>
                  </a:lnTo>
                  <a:lnTo>
                    <a:pt x="826" y="649"/>
                  </a:lnTo>
                  <a:lnTo>
                    <a:pt x="824" y="647"/>
                  </a:lnTo>
                  <a:lnTo>
                    <a:pt x="821" y="647"/>
                  </a:lnTo>
                  <a:lnTo>
                    <a:pt x="821" y="645"/>
                  </a:lnTo>
                  <a:lnTo>
                    <a:pt x="821" y="645"/>
                  </a:lnTo>
                  <a:lnTo>
                    <a:pt x="821" y="644"/>
                  </a:lnTo>
                  <a:lnTo>
                    <a:pt x="821" y="644"/>
                  </a:lnTo>
                  <a:lnTo>
                    <a:pt x="821" y="642"/>
                  </a:lnTo>
                  <a:lnTo>
                    <a:pt x="820" y="642"/>
                  </a:lnTo>
                  <a:lnTo>
                    <a:pt x="818" y="642"/>
                  </a:lnTo>
                  <a:lnTo>
                    <a:pt x="820" y="647"/>
                  </a:lnTo>
                  <a:lnTo>
                    <a:pt x="818" y="649"/>
                  </a:lnTo>
                  <a:lnTo>
                    <a:pt x="815" y="653"/>
                  </a:lnTo>
                  <a:lnTo>
                    <a:pt x="815" y="653"/>
                  </a:lnTo>
                  <a:lnTo>
                    <a:pt x="812" y="653"/>
                  </a:lnTo>
                  <a:lnTo>
                    <a:pt x="812" y="655"/>
                  </a:lnTo>
                  <a:lnTo>
                    <a:pt x="810" y="658"/>
                  </a:lnTo>
                  <a:lnTo>
                    <a:pt x="810" y="658"/>
                  </a:lnTo>
                  <a:lnTo>
                    <a:pt x="809" y="656"/>
                  </a:lnTo>
                  <a:lnTo>
                    <a:pt x="809" y="655"/>
                  </a:lnTo>
                  <a:lnTo>
                    <a:pt x="809" y="653"/>
                  </a:lnTo>
                  <a:lnTo>
                    <a:pt x="809" y="650"/>
                  </a:lnTo>
                  <a:lnTo>
                    <a:pt x="806" y="652"/>
                  </a:lnTo>
                  <a:lnTo>
                    <a:pt x="801" y="655"/>
                  </a:lnTo>
                  <a:lnTo>
                    <a:pt x="798" y="661"/>
                  </a:lnTo>
                  <a:lnTo>
                    <a:pt x="797" y="664"/>
                  </a:lnTo>
                  <a:lnTo>
                    <a:pt x="795" y="665"/>
                  </a:lnTo>
                  <a:lnTo>
                    <a:pt x="795" y="665"/>
                  </a:lnTo>
                  <a:lnTo>
                    <a:pt x="793" y="667"/>
                  </a:lnTo>
                  <a:lnTo>
                    <a:pt x="792" y="669"/>
                  </a:lnTo>
                  <a:lnTo>
                    <a:pt x="795" y="673"/>
                  </a:lnTo>
                  <a:lnTo>
                    <a:pt x="798" y="676"/>
                  </a:lnTo>
                  <a:lnTo>
                    <a:pt x="801" y="676"/>
                  </a:lnTo>
                  <a:lnTo>
                    <a:pt x="804" y="675"/>
                  </a:lnTo>
                  <a:lnTo>
                    <a:pt x="803" y="673"/>
                  </a:lnTo>
                  <a:lnTo>
                    <a:pt x="801" y="675"/>
                  </a:lnTo>
                  <a:lnTo>
                    <a:pt x="801" y="673"/>
                  </a:lnTo>
                  <a:lnTo>
                    <a:pt x="800" y="672"/>
                  </a:lnTo>
                  <a:lnTo>
                    <a:pt x="810" y="664"/>
                  </a:lnTo>
                  <a:lnTo>
                    <a:pt x="810" y="662"/>
                  </a:lnTo>
                  <a:lnTo>
                    <a:pt x="812" y="661"/>
                  </a:lnTo>
                  <a:lnTo>
                    <a:pt x="813" y="661"/>
                  </a:lnTo>
                  <a:lnTo>
                    <a:pt x="815" y="664"/>
                  </a:lnTo>
                  <a:lnTo>
                    <a:pt x="815" y="665"/>
                  </a:lnTo>
                  <a:lnTo>
                    <a:pt x="815" y="667"/>
                  </a:lnTo>
                  <a:lnTo>
                    <a:pt x="817" y="669"/>
                  </a:lnTo>
                  <a:lnTo>
                    <a:pt x="830" y="669"/>
                  </a:lnTo>
                  <a:lnTo>
                    <a:pt x="832" y="667"/>
                  </a:lnTo>
                  <a:lnTo>
                    <a:pt x="833" y="665"/>
                  </a:lnTo>
                  <a:lnTo>
                    <a:pt x="835" y="662"/>
                  </a:lnTo>
                  <a:lnTo>
                    <a:pt x="837" y="662"/>
                  </a:lnTo>
                  <a:lnTo>
                    <a:pt x="838" y="662"/>
                  </a:lnTo>
                  <a:lnTo>
                    <a:pt x="838" y="664"/>
                  </a:lnTo>
                  <a:lnTo>
                    <a:pt x="835" y="667"/>
                  </a:lnTo>
                  <a:lnTo>
                    <a:pt x="835" y="669"/>
                  </a:lnTo>
                  <a:lnTo>
                    <a:pt x="838" y="672"/>
                  </a:lnTo>
                  <a:lnTo>
                    <a:pt x="850" y="673"/>
                  </a:lnTo>
                  <a:lnTo>
                    <a:pt x="850" y="675"/>
                  </a:lnTo>
                  <a:lnTo>
                    <a:pt x="846" y="673"/>
                  </a:lnTo>
                  <a:lnTo>
                    <a:pt x="844" y="675"/>
                  </a:lnTo>
                  <a:lnTo>
                    <a:pt x="843" y="676"/>
                  </a:lnTo>
                  <a:lnTo>
                    <a:pt x="843" y="676"/>
                  </a:lnTo>
                  <a:lnTo>
                    <a:pt x="843" y="681"/>
                  </a:lnTo>
                  <a:lnTo>
                    <a:pt x="841" y="682"/>
                  </a:lnTo>
                  <a:lnTo>
                    <a:pt x="841" y="684"/>
                  </a:lnTo>
                  <a:lnTo>
                    <a:pt x="837" y="689"/>
                  </a:lnTo>
                  <a:lnTo>
                    <a:pt x="837" y="690"/>
                  </a:lnTo>
                  <a:lnTo>
                    <a:pt x="835" y="695"/>
                  </a:lnTo>
                  <a:lnTo>
                    <a:pt x="835" y="696"/>
                  </a:lnTo>
                  <a:lnTo>
                    <a:pt x="835" y="696"/>
                  </a:lnTo>
                  <a:lnTo>
                    <a:pt x="833" y="696"/>
                  </a:lnTo>
                  <a:lnTo>
                    <a:pt x="833" y="693"/>
                  </a:lnTo>
                  <a:lnTo>
                    <a:pt x="833" y="690"/>
                  </a:lnTo>
                  <a:lnTo>
                    <a:pt x="832" y="689"/>
                  </a:lnTo>
                  <a:lnTo>
                    <a:pt x="830" y="685"/>
                  </a:lnTo>
                  <a:lnTo>
                    <a:pt x="827" y="685"/>
                  </a:lnTo>
                  <a:lnTo>
                    <a:pt x="817" y="690"/>
                  </a:lnTo>
                  <a:lnTo>
                    <a:pt x="817" y="693"/>
                  </a:lnTo>
                  <a:lnTo>
                    <a:pt x="815" y="693"/>
                  </a:lnTo>
                  <a:lnTo>
                    <a:pt x="813" y="695"/>
                  </a:lnTo>
                  <a:lnTo>
                    <a:pt x="812" y="696"/>
                  </a:lnTo>
                  <a:lnTo>
                    <a:pt x="812" y="698"/>
                  </a:lnTo>
                  <a:lnTo>
                    <a:pt x="810" y="701"/>
                  </a:lnTo>
                  <a:lnTo>
                    <a:pt x="810" y="702"/>
                  </a:lnTo>
                  <a:lnTo>
                    <a:pt x="812" y="704"/>
                  </a:lnTo>
                  <a:lnTo>
                    <a:pt x="810" y="706"/>
                  </a:lnTo>
                  <a:lnTo>
                    <a:pt x="810" y="706"/>
                  </a:lnTo>
                  <a:lnTo>
                    <a:pt x="810" y="704"/>
                  </a:lnTo>
                  <a:lnTo>
                    <a:pt x="809" y="702"/>
                  </a:lnTo>
                  <a:lnTo>
                    <a:pt x="809" y="701"/>
                  </a:lnTo>
                  <a:lnTo>
                    <a:pt x="809" y="699"/>
                  </a:lnTo>
                  <a:lnTo>
                    <a:pt x="809" y="699"/>
                  </a:lnTo>
                  <a:lnTo>
                    <a:pt x="810" y="698"/>
                  </a:lnTo>
                  <a:lnTo>
                    <a:pt x="812" y="693"/>
                  </a:lnTo>
                  <a:lnTo>
                    <a:pt x="812" y="692"/>
                  </a:lnTo>
                  <a:lnTo>
                    <a:pt x="807" y="692"/>
                  </a:lnTo>
                  <a:lnTo>
                    <a:pt x="798" y="698"/>
                  </a:lnTo>
                  <a:lnTo>
                    <a:pt x="797" y="698"/>
                  </a:lnTo>
                  <a:lnTo>
                    <a:pt x="797" y="696"/>
                  </a:lnTo>
                  <a:lnTo>
                    <a:pt x="793" y="698"/>
                  </a:lnTo>
                  <a:lnTo>
                    <a:pt x="786" y="710"/>
                  </a:lnTo>
                  <a:lnTo>
                    <a:pt x="786" y="706"/>
                  </a:lnTo>
                  <a:lnTo>
                    <a:pt x="786" y="704"/>
                  </a:lnTo>
                  <a:lnTo>
                    <a:pt x="787" y="702"/>
                  </a:lnTo>
                  <a:lnTo>
                    <a:pt x="789" y="701"/>
                  </a:lnTo>
                  <a:lnTo>
                    <a:pt x="786" y="698"/>
                  </a:lnTo>
                  <a:lnTo>
                    <a:pt x="778" y="698"/>
                  </a:lnTo>
                  <a:lnTo>
                    <a:pt x="773" y="696"/>
                  </a:lnTo>
                  <a:lnTo>
                    <a:pt x="772" y="696"/>
                  </a:lnTo>
                  <a:lnTo>
                    <a:pt x="767" y="698"/>
                  </a:lnTo>
                  <a:lnTo>
                    <a:pt x="764" y="701"/>
                  </a:lnTo>
                  <a:lnTo>
                    <a:pt x="763" y="704"/>
                  </a:lnTo>
                  <a:lnTo>
                    <a:pt x="761" y="706"/>
                  </a:lnTo>
                  <a:lnTo>
                    <a:pt x="761" y="706"/>
                  </a:lnTo>
                  <a:lnTo>
                    <a:pt x="760" y="706"/>
                  </a:lnTo>
                  <a:lnTo>
                    <a:pt x="760" y="707"/>
                  </a:lnTo>
                  <a:lnTo>
                    <a:pt x="776" y="704"/>
                  </a:lnTo>
                  <a:lnTo>
                    <a:pt x="780" y="706"/>
                  </a:lnTo>
                  <a:lnTo>
                    <a:pt x="776" y="709"/>
                  </a:lnTo>
                  <a:lnTo>
                    <a:pt x="769" y="709"/>
                  </a:lnTo>
                  <a:lnTo>
                    <a:pt x="763" y="712"/>
                  </a:lnTo>
                  <a:lnTo>
                    <a:pt x="756" y="710"/>
                  </a:lnTo>
                  <a:lnTo>
                    <a:pt x="755" y="712"/>
                  </a:lnTo>
                  <a:lnTo>
                    <a:pt x="755" y="712"/>
                  </a:lnTo>
                  <a:lnTo>
                    <a:pt x="753" y="715"/>
                  </a:lnTo>
                  <a:lnTo>
                    <a:pt x="753" y="716"/>
                  </a:lnTo>
                  <a:lnTo>
                    <a:pt x="755" y="718"/>
                  </a:lnTo>
                  <a:lnTo>
                    <a:pt x="755" y="718"/>
                  </a:lnTo>
                  <a:lnTo>
                    <a:pt x="755" y="719"/>
                  </a:lnTo>
                  <a:lnTo>
                    <a:pt x="756" y="716"/>
                  </a:lnTo>
                  <a:lnTo>
                    <a:pt x="758" y="716"/>
                  </a:lnTo>
                  <a:lnTo>
                    <a:pt x="760" y="718"/>
                  </a:lnTo>
                  <a:lnTo>
                    <a:pt x="758" y="721"/>
                  </a:lnTo>
                  <a:lnTo>
                    <a:pt x="760" y="721"/>
                  </a:lnTo>
                  <a:lnTo>
                    <a:pt x="760" y="721"/>
                  </a:lnTo>
                  <a:lnTo>
                    <a:pt x="760" y="722"/>
                  </a:lnTo>
                  <a:lnTo>
                    <a:pt x="758" y="722"/>
                  </a:lnTo>
                  <a:lnTo>
                    <a:pt x="763" y="721"/>
                  </a:lnTo>
                  <a:lnTo>
                    <a:pt x="773" y="719"/>
                  </a:lnTo>
                  <a:lnTo>
                    <a:pt x="772" y="721"/>
                  </a:lnTo>
                  <a:lnTo>
                    <a:pt x="770" y="721"/>
                  </a:lnTo>
                  <a:lnTo>
                    <a:pt x="772" y="726"/>
                  </a:lnTo>
                  <a:lnTo>
                    <a:pt x="775" y="727"/>
                  </a:lnTo>
                  <a:lnTo>
                    <a:pt x="778" y="726"/>
                  </a:lnTo>
                  <a:lnTo>
                    <a:pt x="780" y="727"/>
                  </a:lnTo>
                  <a:lnTo>
                    <a:pt x="763" y="729"/>
                  </a:lnTo>
                  <a:lnTo>
                    <a:pt x="761" y="730"/>
                  </a:lnTo>
                  <a:lnTo>
                    <a:pt x="760" y="730"/>
                  </a:lnTo>
                  <a:lnTo>
                    <a:pt x="758" y="730"/>
                  </a:lnTo>
                  <a:lnTo>
                    <a:pt x="756" y="730"/>
                  </a:lnTo>
                  <a:lnTo>
                    <a:pt x="755" y="732"/>
                  </a:lnTo>
                  <a:lnTo>
                    <a:pt x="763" y="733"/>
                  </a:lnTo>
                  <a:lnTo>
                    <a:pt x="763" y="735"/>
                  </a:lnTo>
                  <a:lnTo>
                    <a:pt x="750" y="742"/>
                  </a:lnTo>
                  <a:lnTo>
                    <a:pt x="753" y="746"/>
                  </a:lnTo>
                  <a:lnTo>
                    <a:pt x="756" y="746"/>
                  </a:lnTo>
                  <a:lnTo>
                    <a:pt x="760" y="747"/>
                  </a:lnTo>
                  <a:lnTo>
                    <a:pt x="766" y="744"/>
                  </a:lnTo>
                  <a:lnTo>
                    <a:pt x="767" y="744"/>
                  </a:lnTo>
                  <a:lnTo>
                    <a:pt x="767" y="742"/>
                  </a:lnTo>
                  <a:lnTo>
                    <a:pt x="775" y="739"/>
                  </a:lnTo>
                  <a:lnTo>
                    <a:pt x="784" y="733"/>
                  </a:lnTo>
                  <a:lnTo>
                    <a:pt x="784" y="732"/>
                  </a:lnTo>
                  <a:lnTo>
                    <a:pt x="786" y="732"/>
                  </a:lnTo>
                  <a:lnTo>
                    <a:pt x="787" y="727"/>
                  </a:lnTo>
                  <a:lnTo>
                    <a:pt x="790" y="726"/>
                  </a:lnTo>
                  <a:lnTo>
                    <a:pt x="795" y="721"/>
                  </a:lnTo>
                  <a:lnTo>
                    <a:pt x="800" y="715"/>
                  </a:lnTo>
                  <a:lnTo>
                    <a:pt x="800" y="713"/>
                  </a:lnTo>
                  <a:lnTo>
                    <a:pt x="798" y="707"/>
                  </a:lnTo>
                  <a:lnTo>
                    <a:pt x="798" y="706"/>
                  </a:lnTo>
                  <a:lnTo>
                    <a:pt x="800" y="702"/>
                  </a:lnTo>
                  <a:lnTo>
                    <a:pt x="800" y="704"/>
                  </a:lnTo>
                  <a:lnTo>
                    <a:pt x="801" y="710"/>
                  </a:lnTo>
                  <a:lnTo>
                    <a:pt x="803" y="707"/>
                  </a:lnTo>
                  <a:lnTo>
                    <a:pt x="803" y="704"/>
                  </a:lnTo>
                  <a:lnTo>
                    <a:pt x="804" y="704"/>
                  </a:lnTo>
                  <a:lnTo>
                    <a:pt x="804" y="707"/>
                  </a:lnTo>
                  <a:lnTo>
                    <a:pt x="804" y="709"/>
                  </a:lnTo>
                  <a:lnTo>
                    <a:pt x="803" y="713"/>
                  </a:lnTo>
                  <a:lnTo>
                    <a:pt x="803" y="716"/>
                  </a:lnTo>
                  <a:lnTo>
                    <a:pt x="815" y="721"/>
                  </a:lnTo>
                  <a:lnTo>
                    <a:pt x="817" y="721"/>
                  </a:lnTo>
                  <a:lnTo>
                    <a:pt x="821" y="716"/>
                  </a:lnTo>
                  <a:lnTo>
                    <a:pt x="821" y="716"/>
                  </a:lnTo>
                  <a:lnTo>
                    <a:pt x="823" y="716"/>
                  </a:lnTo>
                  <a:lnTo>
                    <a:pt x="821" y="718"/>
                  </a:lnTo>
                  <a:lnTo>
                    <a:pt x="820" y="719"/>
                  </a:lnTo>
                  <a:lnTo>
                    <a:pt x="820" y="721"/>
                  </a:lnTo>
                  <a:lnTo>
                    <a:pt x="818" y="722"/>
                  </a:lnTo>
                  <a:lnTo>
                    <a:pt x="821" y="722"/>
                  </a:lnTo>
                  <a:lnTo>
                    <a:pt x="830" y="730"/>
                  </a:lnTo>
                  <a:lnTo>
                    <a:pt x="830" y="730"/>
                  </a:lnTo>
                  <a:lnTo>
                    <a:pt x="830" y="732"/>
                  </a:lnTo>
                  <a:lnTo>
                    <a:pt x="829" y="733"/>
                  </a:lnTo>
                  <a:lnTo>
                    <a:pt x="830" y="735"/>
                  </a:lnTo>
                  <a:lnTo>
                    <a:pt x="832" y="736"/>
                  </a:lnTo>
                  <a:lnTo>
                    <a:pt x="832" y="736"/>
                  </a:lnTo>
                  <a:lnTo>
                    <a:pt x="833" y="736"/>
                  </a:lnTo>
                  <a:lnTo>
                    <a:pt x="832" y="739"/>
                  </a:lnTo>
                  <a:lnTo>
                    <a:pt x="830" y="739"/>
                  </a:lnTo>
                  <a:lnTo>
                    <a:pt x="821" y="729"/>
                  </a:lnTo>
                  <a:lnTo>
                    <a:pt x="817" y="726"/>
                  </a:lnTo>
                  <a:lnTo>
                    <a:pt x="801" y="727"/>
                  </a:lnTo>
                  <a:lnTo>
                    <a:pt x="801" y="729"/>
                  </a:lnTo>
                  <a:lnTo>
                    <a:pt x="806" y="733"/>
                  </a:lnTo>
                  <a:lnTo>
                    <a:pt x="807" y="735"/>
                  </a:lnTo>
                  <a:lnTo>
                    <a:pt x="812" y="733"/>
                  </a:lnTo>
                  <a:lnTo>
                    <a:pt x="815" y="735"/>
                  </a:lnTo>
                  <a:lnTo>
                    <a:pt x="821" y="739"/>
                  </a:lnTo>
                  <a:lnTo>
                    <a:pt x="810" y="736"/>
                  </a:lnTo>
                  <a:lnTo>
                    <a:pt x="810" y="738"/>
                  </a:lnTo>
                  <a:lnTo>
                    <a:pt x="812" y="741"/>
                  </a:lnTo>
                  <a:lnTo>
                    <a:pt x="803" y="738"/>
                  </a:lnTo>
                  <a:lnTo>
                    <a:pt x="798" y="733"/>
                  </a:lnTo>
                  <a:lnTo>
                    <a:pt x="797" y="732"/>
                  </a:lnTo>
                  <a:lnTo>
                    <a:pt x="795" y="730"/>
                  </a:lnTo>
                  <a:lnTo>
                    <a:pt x="793" y="732"/>
                  </a:lnTo>
                  <a:lnTo>
                    <a:pt x="793" y="732"/>
                  </a:lnTo>
                  <a:lnTo>
                    <a:pt x="792" y="736"/>
                  </a:lnTo>
                  <a:lnTo>
                    <a:pt x="793" y="738"/>
                  </a:lnTo>
                  <a:lnTo>
                    <a:pt x="793" y="738"/>
                  </a:lnTo>
                  <a:lnTo>
                    <a:pt x="797" y="738"/>
                  </a:lnTo>
                  <a:lnTo>
                    <a:pt x="786" y="746"/>
                  </a:lnTo>
                  <a:lnTo>
                    <a:pt x="784" y="752"/>
                  </a:lnTo>
                  <a:lnTo>
                    <a:pt x="786" y="753"/>
                  </a:lnTo>
                  <a:lnTo>
                    <a:pt x="787" y="752"/>
                  </a:lnTo>
                  <a:lnTo>
                    <a:pt x="792" y="750"/>
                  </a:lnTo>
                  <a:lnTo>
                    <a:pt x="793" y="750"/>
                  </a:lnTo>
                  <a:lnTo>
                    <a:pt x="797" y="753"/>
                  </a:lnTo>
                  <a:lnTo>
                    <a:pt x="798" y="753"/>
                  </a:lnTo>
                  <a:lnTo>
                    <a:pt x="800" y="752"/>
                  </a:lnTo>
                  <a:lnTo>
                    <a:pt x="800" y="752"/>
                  </a:lnTo>
                  <a:lnTo>
                    <a:pt x="800" y="750"/>
                  </a:lnTo>
                  <a:lnTo>
                    <a:pt x="800" y="749"/>
                  </a:lnTo>
                  <a:lnTo>
                    <a:pt x="801" y="749"/>
                  </a:lnTo>
                  <a:lnTo>
                    <a:pt x="803" y="750"/>
                  </a:lnTo>
                  <a:lnTo>
                    <a:pt x="804" y="752"/>
                  </a:lnTo>
                  <a:lnTo>
                    <a:pt x="803" y="753"/>
                  </a:lnTo>
                  <a:lnTo>
                    <a:pt x="803" y="753"/>
                  </a:lnTo>
                  <a:lnTo>
                    <a:pt x="806" y="759"/>
                  </a:lnTo>
                  <a:lnTo>
                    <a:pt x="806" y="761"/>
                  </a:lnTo>
                  <a:lnTo>
                    <a:pt x="804" y="762"/>
                  </a:lnTo>
                  <a:lnTo>
                    <a:pt x="804" y="762"/>
                  </a:lnTo>
                  <a:lnTo>
                    <a:pt x="803" y="759"/>
                  </a:lnTo>
                  <a:lnTo>
                    <a:pt x="803" y="758"/>
                  </a:lnTo>
                  <a:lnTo>
                    <a:pt x="800" y="758"/>
                  </a:lnTo>
                  <a:lnTo>
                    <a:pt x="795" y="756"/>
                  </a:lnTo>
                  <a:lnTo>
                    <a:pt x="792" y="756"/>
                  </a:lnTo>
                  <a:lnTo>
                    <a:pt x="789" y="758"/>
                  </a:lnTo>
                  <a:lnTo>
                    <a:pt x="790" y="759"/>
                  </a:lnTo>
                  <a:lnTo>
                    <a:pt x="790" y="759"/>
                  </a:lnTo>
                  <a:lnTo>
                    <a:pt x="789" y="761"/>
                  </a:lnTo>
                  <a:lnTo>
                    <a:pt x="789" y="762"/>
                  </a:lnTo>
                  <a:lnTo>
                    <a:pt x="789" y="767"/>
                  </a:lnTo>
                  <a:lnTo>
                    <a:pt x="789" y="769"/>
                  </a:lnTo>
                  <a:lnTo>
                    <a:pt x="792" y="770"/>
                  </a:lnTo>
                  <a:lnTo>
                    <a:pt x="809" y="772"/>
                  </a:lnTo>
                  <a:lnTo>
                    <a:pt x="813" y="772"/>
                  </a:lnTo>
                  <a:lnTo>
                    <a:pt x="821" y="764"/>
                  </a:lnTo>
                  <a:lnTo>
                    <a:pt x="837" y="759"/>
                  </a:lnTo>
                  <a:lnTo>
                    <a:pt x="838" y="762"/>
                  </a:lnTo>
                  <a:lnTo>
                    <a:pt x="830" y="764"/>
                  </a:lnTo>
                  <a:lnTo>
                    <a:pt x="817" y="772"/>
                  </a:lnTo>
                  <a:lnTo>
                    <a:pt x="813" y="775"/>
                  </a:lnTo>
                  <a:lnTo>
                    <a:pt x="810" y="781"/>
                  </a:lnTo>
                  <a:lnTo>
                    <a:pt x="812" y="781"/>
                  </a:lnTo>
                  <a:lnTo>
                    <a:pt x="812" y="782"/>
                  </a:lnTo>
                  <a:lnTo>
                    <a:pt x="815" y="781"/>
                  </a:lnTo>
                  <a:lnTo>
                    <a:pt x="813" y="784"/>
                  </a:lnTo>
                  <a:lnTo>
                    <a:pt x="810" y="786"/>
                  </a:lnTo>
                  <a:lnTo>
                    <a:pt x="810" y="789"/>
                  </a:lnTo>
                  <a:lnTo>
                    <a:pt x="813" y="792"/>
                  </a:lnTo>
                  <a:lnTo>
                    <a:pt x="815" y="795"/>
                  </a:lnTo>
                  <a:lnTo>
                    <a:pt x="817" y="796"/>
                  </a:lnTo>
                  <a:lnTo>
                    <a:pt x="817" y="798"/>
                  </a:lnTo>
                  <a:lnTo>
                    <a:pt x="818" y="803"/>
                  </a:lnTo>
                  <a:lnTo>
                    <a:pt x="818" y="804"/>
                  </a:lnTo>
                  <a:lnTo>
                    <a:pt x="818" y="806"/>
                  </a:lnTo>
                  <a:lnTo>
                    <a:pt x="818" y="807"/>
                  </a:lnTo>
                  <a:lnTo>
                    <a:pt x="820" y="809"/>
                  </a:lnTo>
                  <a:lnTo>
                    <a:pt x="823" y="810"/>
                  </a:lnTo>
                  <a:lnTo>
                    <a:pt x="824" y="812"/>
                  </a:lnTo>
                  <a:lnTo>
                    <a:pt x="821" y="818"/>
                  </a:lnTo>
                  <a:lnTo>
                    <a:pt x="818" y="818"/>
                  </a:lnTo>
                  <a:lnTo>
                    <a:pt x="817" y="816"/>
                  </a:lnTo>
                  <a:lnTo>
                    <a:pt x="817" y="815"/>
                  </a:lnTo>
                  <a:lnTo>
                    <a:pt x="820" y="813"/>
                  </a:lnTo>
                  <a:lnTo>
                    <a:pt x="820" y="812"/>
                  </a:lnTo>
                  <a:lnTo>
                    <a:pt x="817" y="810"/>
                  </a:lnTo>
                  <a:lnTo>
                    <a:pt x="815" y="807"/>
                  </a:lnTo>
                  <a:lnTo>
                    <a:pt x="812" y="803"/>
                  </a:lnTo>
                  <a:lnTo>
                    <a:pt x="812" y="803"/>
                  </a:lnTo>
                  <a:lnTo>
                    <a:pt x="812" y="801"/>
                  </a:lnTo>
                  <a:lnTo>
                    <a:pt x="812" y="799"/>
                  </a:lnTo>
                  <a:lnTo>
                    <a:pt x="812" y="798"/>
                  </a:lnTo>
                  <a:lnTo>
                    <a:pt x="807" y="787"/>
                  </a:lnTo>
                  <a:lnTo>
                    <a:pt x="807" y="784"/>
                  </a:lnTo>
                  <a:lnTo>
                    <a:pt x="807" y="781"/>
                  </a:lnTo>
                  <a:lnTo>
                    <a:pt x="803" y="778"/>
                  </a:lnTo>
                  <a:lnTo>
                    <a:pt x="800" y="776"/>
                  </a:lnTo>
                  <a:lnTo>
                    <a:pt x="789" y="778"/>
                  </a:lnTo>
                  <a:lnTo>
                    <a:pt x="789" y="779"/>
                  </a:lnTo>
                  <a:lnTo>
                    <a:pt x="789" y="779"/>
                  </a:lnTo>
                  <a:lnTo>
                    <a:pt x="789" y="781"/>
                  </a:lnTo>
                  <a:lnTo>
                    <a:pt x="787" y="782"/>
                  </a:lnTo>
                  <a:lnTo>
                    <a:pt x="787" y="784"/>
                  </a:lnTo>
                  <a:lnTo>
                    <a:pt x="787" y="784"/>
                  </a:lnTo>
                  <a:lnTo>
                    <a:pt x="786" y="786"/>
                  </a:lnTo>
                  <a:lnTo>
                    <a:pt x="783" y="789"/>
                  </a:lnTo>
                  <a:lnTo>
                    <a:pt x="781" y="790"/>
                  </a:lnTo>
                  <a:lnTo>
                    <a:pt x="783" y="787"/>
                  </a:lnTo>
                  <a:lnTo>
                    <a:pt x="783" y="784"/>
                  </a:lnTo>
                  <a:lnTo>
                    <a:pt x="784" y="782"/>
                  </a:lnTo>
                  <a:lnTo>
                    <a:pt x="784" y="781"/>
                  </a:lnTo>
                  <a:lnTo>
                    <a:pt x="783" y="779"/>
                  </a:lnTo>
                  <a:lnTo>
                    <a:pt x="783" y="779"/>
                  </a:lnTo>
                  <a:lnTo>
                    <a:pt x="783" y="778"/>
                  </a:lnTo>
                  <a:lnTo>
                    <a:pt x="786" y="778"/>
                  </a:lnTo>
                  <a:lnTo>
                    <a:pt x="786" y="778"/>
                  </a:lnTo>
                  <a:lnTo>
                    <a:pt x="787" y="776"/>
                  </a:lnTo>
                  <a:lnTo>
                    <a:pt x="787" y="775"/>
                  </a:lnTo>
                  <a:lnTo>
                    <a:pt x="786" y="775"/>
                  </a:lnTo>
                  <a:lnTo>
                    <a:pt x="786" y="773"/>
                  </a:lnTo>
                  <a:lnTo>
                    <a:pt x="786" y="772"/>
                  </a:lnTo>
                  <a:lnTo>
                    <a:pt x="786" y="772"/>
                  </a:lnTo>
                  <a:lnTo>
                    <a:pt x="784" y="770"/>
                  </a:lnTo>
                  <a:lnTo>
                    <a:pt x="783" y="772"/>
                  </a:lnTo>
                  <a:lnTo>
                    <a:pt x="783" y="773"/>
                  </a:lnTo>
                  <a:lnTo>
                    <a:pt x="781" y="773"/>
                  </a:lnTo>
                  <a:lnTo>
                    <a:pt x="780" y="773"/>
                  </a:lnTo>
                  <a:lnTo>
                    <a:pt x="778" y="775"/>
                  </a:lnTo>
                  <a:lnTo>
                    <a:pt x="775" y="776"/>
                  </a:lnTo>
                  <a:lnTo>
                    <a:pt x="775" y="778"/>
                  </a:lnTo>
                  <a:lnTo>
                    <a:pt x="772" y="781"/>
                  </a:lnTo>
                  <a:lnTo>
                    <a:pt x="770" y="781"/>
                  </a:lnTo>
                  <a:lnTo>
                    <a:pt x="761" y="779"/>
                  </a:lnTo>
                  <a:lnTo>
                    <a:pt x="758" y="779"/>
                  </a:lnTo>
                  <a:lnTo>
                    <a:pt x="763" y="776"/>
                  </a:lnTo>
                  <a:lnTo>
                    <a:pt x="772" y="776"/>
                  </a:lnTo>
                  <a:lnTo>
                    <a:pt x="775" y="772"/>
                  </a:lnTo>
                  <a:lnTo>
                    <a:pt x="773" y="770"/>
                  </a:lnTo>
                  <a:lnTo>
                    <a:pt x="772" y="766"/>
                  </a:lnTo>
                  <a:lnTo>
                    <a:pt x="770" y="764"/>
                  </a:lnTo>
                  <a:lnTo>
                    <a:pt x="772" y="762"/>
                  </a:lnTo>
                  <a:lnTo>
                    <a:pt x="773" y="762"/>
                  </a:lnTo>
                  <a:lnTo>
                    <a:pt x="775" y="764"/>
                  </a:lnTo>
                  <a:lnTo>
                    <a:pt x="778" y="766"/>
                  </a:lnTo>
                  <a:lnTo>
                    <a:pt x="778" y="769"/>
                  </a:lnTo>
                  <a:lnTo>
                    <a:pt x="780" y="769"/>
                  </a:lnTo>
                  <a:lnTo>
                    <a:pt x="781" y="769"/>
                  </a:lnTo>
                  <a:lnTo>
                    <a:pt x="783" y="769"/>
                  </a:lnTo>
                  <a:lnTo>
                    <a:pt x="783" y="767"/>
                  </a:lnTo>
                  <a:lnTo>
                    <a:pt x="783" y="764"/>
                  </a:lnTo>
                  <a:lnTo>
                    <a:pt x="780" y="762"/>
                  </a:lnTo>
                  <a:lnTo>
                    <a:pt x="778" y="759"/>
                  </a:lnTo>
                  <a:lnTo>
                    <a:pt x="776" y="759"/>
                  </a:lnTo>
                  <a:lnTo>
                    <a:pt x="770" y="761"/>
                  </a:lnTo>
                  <a:lnTo>
                    <a:pt x="756" y="769"/>
                  </a:lnTo>
                  <a:lnTo>
                    <a:pt x="753" y="772"/>
                  </a:lnTo>
                  <a:lnTo>
                    <a:pt x="752" y="773"/>
                  </a:lnTo>
                  <a:lnTo>
                    <a:pt x="750" y="776"/>
                  </a:lnTo>
                  <a:lnTo>
                    <a:pt x="752" y="776"/>
                  </a:lnTo>
                  <a:lnTo>
                    <a:pt x="753" y="776"/>
                  </a:lnTo>
                  <a:lnTo>
                    <a:pt x="753" y="778"/>
                  </a:lnTo>
                  <a:lnTo>
                    <a:pt x="755" y="779"/>
                  </a:lnTo>
                  <a:lnTo>
                    <a:pt x="753" y="781"/>
                  </a:lnTo>
                  <a:lnTo>
                    <a:pt x="755" y="781"/>
                  </a:lnTo>
                  <a:lnTo>
                    <a:pt x="758" y="781"/>
                  </a:lnTo>
                  <a:lnTo>
                    <a:pt x="760" y="781"/>
                  </a:lnTo>
                  <a:lnTo>
                    <a:pt x="758" y="784"/>
                  </a:lnTo>
                  <a:lnTo>
                    <a:pt x="758" y="784"/>
                  </a:lnTo>
                  <a:lnTo>
                    <a:pt x="767" y="786"/>
                  </a:lnTo>
                  <a:lnTo>
                    <a:pt x="775" y="784"/>
                  </a:lnTo>
                  <a:lnTo>
                    <a:pt x="770" y="789"/>
                  </a:lnTo>
                  <a:lnTo>
                    <a:pt x="767" y="790"/>
                  </a:lnTo>
                  <a:lnTo>
                    <a:pt x="764" y="792"/>
                  </a:lnTo>
                  <a:lnTo>
                    <a:pt x="763" y="793"/>
                  </a:lnTo>
                  <a:lnTo>
                    <a:pt x="761" y="796"/>
                  </a:lnTo>
                  <a:lnTo>
                    <a:pt x="758" y="798"/>
                  </a:lnTo>
                  <a:lnTo>
                    <a:pt x="756" y="796"/>
                  </a:lnTo>
                  <a:lnTo>
                    <a:pt x="756" y="793"/>
                  </a:lnTo>
                  <a:lnTo>
                    <a:pt x="758" y="793"/>
                  </a:lnTo>
                  <a:lnTo>
                    <a:pt x="758" y="792"/>
                  </a:lnTo>
                  <a:lnTo>
                    <a:pt x="756" y="789"/>
                  </a:lnTo>
                  <a:lnTo>
                    <a:pt x="755" y="789"/>
                  </a:lnTo>
                  <a:lnTo>
                    <a:pt x="752" y="790"/>
                  </a:lnTo>
                  <a:lnTo>
                    <a:pt x="746" y="789"/>
                  </a:lnTo>
                  <a:lnTo>
                    <a:pt x="743" y="790"/>
                  </a:lnTo>
                  <a:lnTo>
                    <a:pt x="743" y="792"/>
                  </a:lnTo>
                  <a:lnTo>
                    <a:pt x="741" y="793"/>
                  </a:lnTo>
                  <a:lnTo>
                    <a:pt x="741" y="793"/>
                  </a:lnTo>
                  <a:lnTo>
                    <a:pt x="740" y="793"/>
                  </a:lnTo>
                  <a:lnTo>
                    <a:pt x="740" y="795"/>
                  </a:lnTo>
                  <a:lnTo>
                    <a:pt x="743" y="795"/>
                  </a:lnTo>
                  <a:lnTo>
                    <a:pt x="743" y="796"/>
                  </a:lnTo>
                  <a:lnTo>
                    <a:pt x="741" y="798"/>
                  </a:lnTo>
                  <a:lnTo>
                    <a:pt x="733" y="809"/>
                  </a:lnTo>
                  <a:lnTo>
                    <a:pt x="730" y="813"/>
                  </a:lnTo>
                  <a:lnTo>
                    <a:pt x="729" y="816"/>
                  </a:lnTo>
                  <a:lnTo>
                    <a:pt x="727" y="816"/>
                  </a:lnTo>
                  <a:lnTo>
                    <a:pt x="727" y="819"/>
                  </a:lnTo>
                  <a:lnTo>
                    <a:pt x="726" y="821"/>
                  </a:lnTo>
                  <a:lnTo>
                    <a:pt x="721" y="824"/>
                  </a:lnTo>
                  <a:lnTo>
                    <a:pt x="723" y="826"/>
                  </a:lnTo>
                  <a:lnTo>
                    <a:pt x="724" y="824"/>
                  </a:lnTo>
                  <a:lnTo>
                    <a:pt x="726" y="824"/>
                  </a:lnTo>
                  <a:lnTo>
                    <a:pt x="727" y="823"/>
                  </a:lnTo>
                  <a:lnTo>
                    <a:pt x="740" y="823"/>
                  </a:lnTo>
                  <a:lnTo>
                    <a:pt x="743" y="819"/>
                  </a:lnTo>
                  <a:lnTo>
                    <a:pt x="746" y="818"/>
                  </a:lnTo>
                  <a:lnTo>
                    <a:pt x="747" y="816"/>
                  </a:lnTo>
                  <a:lnTo>
                    <a:pt x="749" y="818"/>
                  </a:lnTo>
                  <a:lnTo>
                    <a:pt x="749" y="819"/>
                  </a:lnTo>
                  <a:lnTo>
                    <a:pt x="749" y="823"/>
                  </a:lnTo>
                  <a:lnTo>
                    <a:pt x="747" y="826"/>
                  </a:lnTo>
                  <a:lnTo>
                    <a:pt x="743" y="829"/>
                  </a:lnTo>
                  <a:lnTo>
                    <a:pt x="747" y="829"/>
                  </a:lnTo>
                  <a:lnTo>
                    <a:pt x="758" y="824"/>
                  </a:lnTo>
                  <a:lnTo>
                    <a:pt x="760" y="821"/>
                  </a:lnTo>
                  <a:lnTo>
                    <a:pt x="758" y="821"/>
                  </a:lnTo>
                  <a:lnTo>
                    <a:pt x="755" y="819"/>
                  </a:lnTo>
                  <a:lnTo>
                    <a:pt x="755" y="819"/>
                  </a:lnTo>
                  <a:lnTo>
                    <a:pt x="764" y="818"/>
                  </a:lnTo>
                  <a:lnTo>
                    <a:pt x="770" y="819"/>
                  </a:lnTo>
                  <a:lnTo>
                    <a:pt x="770" y="818"/>
                  </a:lnTo>
                  <a:lnTo>
                    <a:pt x="772" y="818"/>
                  </a:lnTo>
                  <a:lnTo>
                    <a:pt x="772" y="816"/>
                  </a:lnTo>
                  <a:lnTo>
                    <a:pt x="772" y="815"/>
                  </a:lnTo>
                  <a:lnTo>
                    <a:pt x="772" y="815"/>
                  </a:lnTo>
                  <a:lnTo>
                    <a:pt x="773" y="813"/>
                  </a:lnTo>
                  <a:lnTo>
                    <a:pt x="775" y="813"/>
                  </a:lnTo>
                  <a:lnTo>
                    <a:pt x="781" y="810"/>
                  </a:lnTo>
                  <a:lnTo>
                    <a:pt x="784" y="810"/>
                  </a:lnTo>
                  <a:lnTo>
                    <a:pt x="783" y="818"/>
                  </a:lnTo>
                  <a:lnTo>
                    <a:pt x="781" y="819"/>
                  </a:lnTo>
                  <a:lnTo>
                    <a:pt x="780" y="819"/>
                  </a:lnTo>
                  <a:lnTo>
                    <a:pt x="778" y="819"/>
                  </a:lnTo>
                  <a:lnTo>
                    <a:pt x="776" y="821"/>
                  </a:lnTo>
                  <a:lnTo>
                    <a:pt x="776" y="823"/>
                  </a:lnTo>
                  <a:lnTo>
                    <a:pt x="787" y="826"/>
                  </a:lnTo>
                  <a:lnTo>
                    <a:pt x="789" y="826"/>
                  </a:lnTo>
                  <a:lnTo>
                    <a:pt x="790" y="824"/>
                  </a:lnTo>
                  <a:lnTo>
                    <a:pt x="792" y="824"/>
                  </a:lnTo>
                  <a:lnTo>
                    <a:pt x="792" y="823"/>
                  </a:lnTo>
                  <a:lnTo>
                    <a:pt x="797" y="824"/>
                  </a:lnTo>
                  <a:lnTo>
                    <a:pt x="797" y="827"/>
                  </a:lnTo>
                  <a:lnTo>
                    <a:pt x="795" y="827"/>
                  </a:lnTo>
                  <a:lnTo>
                    <a:pt x="792" y="829"/>
                  </a:lnTo>
                  <a:lnTo>
                    <a:pt x="790" y="829"/>
                  </a:lnTo>
                  <a:lnTo>
                    <a:pt x="793" y="832"/>
                  </a:lnTo>
                  <a:lnTo>
                    <a:pt x="795" y="830"/>
                  </a:lnTo>
                  <a:lnTo>
                    <a:pt x="798" y="827"/>
                  </a:lnTo>
                  <a:lnTo>
                    <a:pt x="800" y="826"/>
                  </a:lnTo>
                  <a:lnTo>
                    <a:pt x="801" y="826"/>
                  </a:lnTo>
                  <a:lnTo>
                    <a:pt x="812" y="829"/>
                  </a:lnTo>
                  <a:lnTo>
                    <a:pt x="817" y="832"/>
                  </a:lnTo>
                  <a:lnTo>
                    <a:pt x="824" y="829"/>
                  </a:lnTo>
                  <a:lnTo>
                    <a:pt x="823" y="830"/>
                  </a:lnTo>
                  <a:lnTo>
                    <a:pt x="824" y="833"/>
                  </a:lnTo>
                  <a:lnTo>
                    <a:pt x="826" y="833"/>
                  </a:lnTo>
                  <a:lnTo>
                    <a:pt x="826" y="835"/>
                  </a:lnTo>
                  <a:lnTo>
                    <a:pt x="826" y="838"/>
                  </a:lnTo>
                  <a:lnTo>
                    <a:pt x="824" y="838"/>
                  </a:lnTo>
                  <a:lnTo>
                    <a:pt x="806" y="830"/>
                  </a:lnTo>
                  <a:lnTo>
                    <a:pt x="803" y="830"/>
                  </a:lnTo>
                  <a:lnTo>
                    <a:pt x="800" y="832"/>
                  </a:lnTo>
                  <a:lnTo>
                    <a:pt x="801" y="835"/>
                  </a:lnTo>
                  <a:lnTo>
                    <a:pt x="806" y="838"/>
                  </a:lnTo>
                  <a:lnTo>
                    <a:pt x="807" y="841"/>
                  </a:lnTo>
                  <a:lnTo>
                    <a:pt x="807" y="841"/>
                  </a:lnTo>
                  <a:lnTo>
                    <a:pt x="806" y="843"/>
                  </a:lnTo>
                  <a:lnTo>
                    <a:pt x="804" y="847"/>
                  </a:lnTo>
                  <a:lnTo>
                    <a:pt x="804" y="850"/>
                  </a:lnTo>
                  <a:lnTo>
                    <a:pt x="804" y="852"/>
                  </a:lnTo>
                  <a:lnTo>
                    <a:pt x="806" y="853"/>
                  </a:lnTo>
                  <a:lnTo>
                    <a:pt x="807" y="855"/>
                  </a:lnTo>
                  <a:lnTo>
                    <a:pt x="809" y="856"/>
                  </a:lnTo>
                  <a:lnTo>
                    <a:pt x="806" y="856"/>
                  </a:lnTo>
                  <a:lnTo>
                    <a:pt x="804" y="856"/>
                  </a:lnTo>
                  <a:lnTo>
                    <a:pt x="801" y="855"/>
                  </a:lnTo>
                  <a:lnTo>
                    <a:pt x="800" y="852"/>
                  </a:lnTo>
                  <a:lnTo>
                    <a:pt x="801" y="847"/>
                  </a:lnTo>
                  <a:lnTo>
                    <a:pt x="801" y="843"/>
                  </a:lnTo>
                  <a:lnTo>
                    <a:pt x="800" y="841"/>
                  </a:lnTo>
                  <a:lnTo>
                    <a:pt x="798" y="838"/>
                  </a:lnTo>
                  <a:lnTo>
                    <a:pt x="793" y="838"/>
                  </a:lnTo>
                  <a:lnTo>
                    <a:pt x="792" y="838"/>
                  </a:lnTo>
                  <a:lnTo>
                    <a:pt x="789" y="835"/>
                  </a:lnTo>
                  <a:lnTo>
                    <a:pt x="787" y="833"/>
                  </a:lnTo>
                  <a:lnTo>
                    <a:pt x="783" y="833"/>
                  </a:lnTo>
                  <a:lnTo>
                    <a:pt x="781" y="833"/>
                  </a:lnTo>
                  <a:lnTo>
                    <a:pt x="778" y="830"/>
                  </a:lnTo>
                  <a:lnTo>
                    <a:pt x="776" y="830"/>
                  </a:lnTo>
                  <a:lnTo>
                    <a:pt x="773" y="832"/>
                  </a:lnTo>
                  <a:lnTo>
                    <a:pt x="772" y="833"/>
                  </a:lnTo>
                  <a:lnTo>
                    <a:pt x="767" y="839"/>
                  </a:lnTo>
                  <a:lnTo>
                    <a:pt x="766" y="841"/>
                  </a:lnTo>
                  <a:lnTo>
                    <a:pt x="767" y="843"/>
                  </a:lnTo>
                  <a:lnTo>
                    <a:pt x="770" y="846"/>
                  </a:lnTo>
                  <a:lnTo>
                    <a:pt x="772" y="849"/>
                  </a:lnTo>
                  <a:lnTo>
                    <a:pt x="772" y="850"/>
                  </a:lnTo>
                  <a:lnTo>
                    <a:pt x="770" y="852"/>
                  </a:lnTo>
                  <a:lnTo>
                    <a:pt x="769" y="850"/>
                  </a:lnTo>
                  <a:lnTo>
                    <a:pt x="767" y="847"/>
                  </a:lnTo>
                  <a:lnTo>
                    <a:pt x="764" y="843"/>
                  </a:lnTo>
                  <a:lnTo>
                    <a:pt x="763" y="841"/>
                  </a:lnTo>
                  <a:lnTo>
                    <a:pt x="764" y="838"/>
                  </a:lnTo>
                  <a:lnTo>
                    <a:pt x="766" y="838"/>
                  </a:lnTo>
                  <a:lnTo>
                    <a:pt x="766" y="836"/>
                  </a:lnTo>
                  <a:lnTo>
                    <a:pt x="766" y="832"/>
                  </a:lnTo>
                  <a:lnTo>
                    <a:pt x="767" y="832"/>
                  </a:lnTo>
                  <a:lnTo>
                    <a:pt x="770" y="830"/>
                  </a:lnTo>
                  <a:lnTo>
                    <a:pt x="770" y="829"/>
                  </a:lnTo>
                  <a:lnTo>
                    <a:pt x="763" y="830"/>
                  </a:lnTo>
                  <a:lnTo>
                    <a:pt x="755" y="829"/>
                  </a:lnTo>
                  <a:lnTo>
                    <a:pt x="753" y="830"/>
                  </a:lnTo>
                  <a:lnTo>
                    <a:pt x="752" y="832"/>
                  </a:lnTo>
                  <a:lnTo>
                    <a:pt x="749" y="833"/>
                  </a:lnTo>
                  <a:lnTo>
                    <a:pt x="747" y="835"/>
                  </a:lnTo>
                  <a:lnTo>
                    <a:pt x="746" y="835"/>
                  </a:lnTo>
                  <a:lnTo>
                    <a:pt x="744" y="833"/>
                  </a:lnTo>
                  <a:lnTo>
                    <a:pt x="743" y="832"/>
                  </a:lnTo>
                  <a:lnTo>
                    <a:pt x="740" y="832"/>
                  </a:lnTo>
                  <a:lnTo>
                    <a:pt x="736" y="833"/>
                  </a:lnTo>
                  <a:lnTo>
                    <a:pt x="735" y="836"/>
                  </a:lnTo>
                  <a:lnTo>
                    <a:pt x="746" y="836"/>
                  </a:lnTo>
                  <a:lnTo>
                    <a:pt x="750" y="839"/>
                  </a:lnTo>
                  <a:lnTo>
                    <a:pt x="752" y="841"/>
                  </a:lnTo>
                  <a:lnTo>
                    <a:pt x="752" y="843"/>
                  </a:lnTo>
                  <a:lnTo>
                    <a:pt x="753" y="844"/>
                  </a:lnTo>
                  <a:lnTo>
                    <a:pt x="753" y="847"/>
                  </a:lnTo>
                  <a:lnTo>
                    <a:pt x="752" y="847"/>
                  </a:lnTo>
                  <a:lnTo>
                    <a:pt x="752" y="847"/>
                  </a:lnTo>
                  <a:lnTo>
                    <a:pt x="750" y="841"/>
                  </a:lnTo>
                  <a:lnTo>
                    <a:pt x="747" y="839"/>
                  </a:lnTo>
                  <a:lnTo>
                    <a:pt x="732" y="841"/>
                  </a:lnTo>
                  <a:lnTo>
                    <a:pt x="732" y="843"/>
                  </a:lnTo>
                  <a:lnTo>
                    <a:pt x="732" y="843"/>
                  </a:lnTo>
                  <a:lnTo>
                    <a:pt x="732" y="843"/>
                  </a:lnTo>
                  <a:lnTo>
                    <a:pt x="732" y="844"/>
                  </a:lnTo>
                  <a:lnTo>
                    <a:pt x="732" y="846"/>
                  </a:lnTo>
                  <a:lnTo>
                    <a:pt x="730" y="849"/>
                  </a:lnTo>
                  <a:lnTo>
                    <a:pt x="729" y="849"/>
                  </a:lnTo>
                  <a:lnTo>
                    <a:pt x="727" y="847"/>
                  </a:lnTo>
                  <a:lnTo>
                    <a:pt x="727" y="846"/>
                  </a:lnTo>
                  <a:lnTo>
                    <a:pt x="729" y="843"/>
                  </a:lnTo>
                  <a:lnTo>
                    <a:pt x="730" y="839"/>
                  </a:lnTo>
                  <a:lnTo>
                    <a:pt x="730" y="838"/>
                  </a:lnTo>
                  <a:lnTo>
                    <a:pt x="724" y="839"/>
                  </a:lnTo>
                  <a:lnTo>
                    <a:pt x="723" y="841"/>
                  </a:lnTo>
                  <a:lnTo>
                    <a:pt x="721" y="843"/>
                  </a:lnTo>
                  <a:lnTo>
                    <a:pt x="721" y="844"/>
                  </a:lnTo>
                  <a:lnTo>
                    <a:pt x="723" y="847"/>
                  </a:lnTo>
                  <a:lnTo>
                    <a:pt x="721" y="849"/>
                  </a:lnTo>
                  <a:lnTo>
                    <a:pt x="719" y="852"/>
                  </a:lnTo>
                  <a:lnTo>
                    <a:pt x="718" y="853"/>
                  </a:lnTo>
                  <a:lnTo>
                    <a:pt x="716" y="855"/>
                  </a:lnTo>
                  <a:lnTo>
                    <a:pt x="718" y="856"/>
                  </a:lnTo>
                  <a:lnTo>
                    <a:pt x="726" y="855"/>
                  </a:lnTo>
                  <a:lnTo>
                    <a:pt x="733" y="858"/>
                  </a:lnTo>
                  <a:lnTo>
                    <a:pt x="738" y="858"/>
                  </a:lnTo>
                  <a:lnTo>
                    <a:pt x="740" y="859"/>
                  </a:lnTo>
                  <a:lnTo>
                    <a:pt x="741" y="863"/>
                  </a:lnTo>
                  <a:lnTo>
                    <a:pt x="741" y="866"/>
                  </a:lnTo>
                  <a:lnTo>
                    <a:pt x="740" y="867"/>
                  </a:lnTo>
                  <a:lnTo>
                    <a:pt x="738" y="867"/>
                  </a:lnTo>
                  <a:lnTo>
                    <a:pt x="738" y="864"/>
                  </a:lnTo>
                  <a:lnTo>
                    <a:pt x="738" y="861"/>
                  </a:lnTo>
                  <a:lnTo>
                    <a:pt x="736" y="861"/>
                  </a:lnTo>
                  <a:lnTo>
                    <a:pt x="733" y="863"/>
                  </a:lnTo>
                  <a:lnTo>
                    <a:pt x="732" y="861"/>
                  </a:lnTo>
                  <a:lnTo>
                    <a:pt x="729" y="859"/>
                  </a:lnTo>
                  <a:lnTo>
                    <a:pt x="729" y="858"/>
                  </a:lnTo>
                  <a:lnTo>
                    <a:pt x="716" y="859"/>
                  </a:lnTo>
                  <a:lnTo>
                    <a:pt x="715" y="861"/>
                  </a:lnTo>
                  <a:lnTo>
                    <a:pt x="716" y="863"/>
                  </a:lnTo>
                  <a:lnTo>
                    <a:pt x="716" y="866"/>
                  </a:lnTo>
                  <a:lnTo>
                    <a:pt x="716" y="870"/>
                  </a:lnTo>
                  <a:lnTo>
                    <a:pt x="713" y="872"/>
                  </a:lnTo>
                  <a:lnTo>
                    <a:pt x="713" y="872"/>
                  </a:lnTo>
                  <a:lnTo>
                    <a:pt x="713" y="873"/>
                  </a:lnTo>
                  <a:lnTo>
                    <a:pt x="713" y="873"/>
                  </a:lnTo>
                  <a:lnTo>
                    <a:pt x="713" y="873"/>
                  </a:lnTo>
                  <a:lnTo>
                    <a:pt x="712" y="875"/>
                  </a:lnTo>
                  <a:lnTo>
                    <a:pt x="712" y="875"/>
                  </a:lnTo>
                  <a:lnTo>
                    <a:pt x="710" y="875"/>
                  </a:lnTo>
                  <a:lnTo>
                    <a:pt x="709" y="875"/>
                  </a:lnTo>
                  <a:lnTo>
                    <a:pt x="709" y="876"/>
                  </a:lnTo>
                  <a:lnTo>
                    <a:pt x="706" y="872"/>
                  </a:lnTo>
                  <a:lnTo>
                    <a:pt x="704" y="870"/>
                  </a:lnTo>
                  <a:lnTo>
                    <a:pt x="703" y="864"/>
                  </a:lnTo>
                  <a:lnTo>
                    <a:pt x="703" y="863"/>
                  </a:lnTo>
                  <a:lnTo>
                    <a:pt x="703" y="863"/>
                  </a:lnTo>
                  <a:lnTo>
                    <a:pt x="703" y="859"/>
                  </a:lnTo>
                  <a:lnTo>
                    <a:pt x="701" y="859"/>
                  </a:lnTo>
                  <a:lnTo>
                    <a:pt x="699" y="859"/>
                  </a:lnTo>
                  <a:lnTo>
                    <a:pt x="699" y="861"/>
                  </a:lnTo>
                  <a:lnTo>
                    <a:pt x="698" y="864"/>
                  </a:lnTo>
                  <a:lnTo>
                    <a:pt x="698" y="866"/>
                  </a:lnTo>
                  <a:lnTo>
                    <a:pt x="699" y="869"/>
                  </a:lnTo>
                  <a:lnTo>
                    <a:pt x="699" y="872"/>
                  </a:lnTo>
                  <a:lnTo>
                    <a:pt x="699" y="873"/>
                  </a:lnTo>
                  <a:lnTo>
                    <a:pt x="699" y="876"/>
                  </a:lnTo>
                  <a:lnTo>
                    <a:pt x="698" y="876"/>
                  </a:lnTo>
                  <a:lnTo>
                    <a:pt x="696" y="876"/>
                  </a:lnTo>
                  <a:lnTo>
                    <a:pt x="696" y="876"/>
                  </a:lnTo>
                  <a:lnTo>
                    <a:pt x="696" y="878"/>
                  </a:lnTo>
                  <a:lnTo>
                    <a:pt x="695" y="878"/>
                  </a:lnTo>
                  <a:lnTo>
                    <a:pt x="695" y="880"/>
                  </a:lnTo>
                  <a:lnTo>
                    <a:pt x="692" y="883"/>
                  </a:lnTo>
                  <a:lnTo>
                    <a:pt x="693" y="884"/>
                  </a:lnTo>
                  <a:lnTo>
                    <a:pt x="693" y="884"/>
                  </a:lnTo>
                  <a:lnTo>
                    <a:pt x="692" y="886"/>
                  </a:lnTo>
                  <a:lnTo>
                    <a:pt x="690" y="884"/>
                  </a:lnTo>
                  <a:lnTo>
                    <a:pt x="689" y="880"/>
                  </a:lnTo>
                  <a:lnTo>
                    <a:pt x="690" y="878"/>
                  </a:lnTo>
                  <a:lnTo>
                    <a:pt x="692" y="876"/>
                  </a:lnTo>
                  <a:lnTo>
                    <a:pt x="693" y="875"/>
                  </a:lnTo>
                  <a:lnTo>
                    <a:pt x="695" y="872"/>
                  </a:lnTo>
                  <a:lnTo>
                    <a:pt x="692" y="872"/>
                  </a:lnTo>
                  <a:lnTo>
                    <a:pt x="690" y="872"/>
                  </a:lnTo>
                  <a:lnTo>
                    <a:pt x="690" y="872"/>
                  </a:lnTo>
                  <a:lnTo>
                    <a:pt x="689" y="872"/>
                  </a:lnTo>
                  <a:lnTo>
                    <a:pt x="689" y="873"/>
                  </a:lnTo>
                  <a:lnTo>
                    <a:pt x="687" y="876"/>
                  </a:lnTo>
                  <a:lnTo>
                    <a:pt x="687" y="876"/>
                  </a:lnTo>
                  <a:lnTo>
                    <a:pt x="686" y="876"/>
                  </a:lnTo>
                  <a:lnTo>
                    <a:pt x="679" y="876"/>
                  </a:lnTo>
                  <a:lnTo>
                    <a:pt x="679" y="878"/>
                  </a:lnTo>
                  <a:lnTo>
                    <a:pt x="679" y="880"/>
                  </a:lnTo>
                  <a:lnTo>
                    <a:pt x="681" y="881"/>
                  </a:lnTo>
                  <a:lnTo>
                    <a:pt x="678" y="883"/>
                  </a:lnTo>
                  <a:lnTo>
                    <a:pt x="666" y="883"/>
                  </a:lnTo>
                  <a:lnTo>
                    <a:pt x="664" y="883"/>
                  </a:lnTo>
                  <a:lnTo>
                    <a:pt x="663" y="886"/>
                  </a:lnTo>
                  <a:lnTo>
                    <a:pt x="661" y="889"/>
                  </a:lnTo>
                  <a:lnTo>
                    <a:pt x="663" y="889"/>
                  </a:lnTo>
                  <a:lnTo>
                    <a:pt x="667" y="889"/>
                  </a:lnTo>
                  <a:lnTo>
                    <a:pt x="669" y="889"/>
                  </a:lnTo>
                  <a:lnTo>
                    <a:pt x="670" y="890"/>
                  </a:lnTo>
                  <a:lnTo>
                    <a:pt x="670" y="893"/>
                  </a:lnTo>
                  <a:lnTo>
                    <a:pt x="670" y="895"/>
                  </a:lnTo>
                  <a:lnTo>
                    <a:pt x="672" y="896"/>
                  </a:lnTo>
                  <a:lnTo>
                    <a:pt x="673" y="896"/>
                  </a:lnTo>
                  <a:lnTo>
                    <a:pt x="675" y="898"/>
                  </a:lnTo>
                  <a:lnTo>
                    <a:pt x="675" y="898"/>
                  </a:lnTo>
                  <a:lnTo>
                    <a:pt x="673" y="898"/>
                  </a:lnTo>
                  <a:lnTo>
                    <a:pt x="673" y="898"/>
                  </a:lnTo>
                  <a:lnTo>
                    <a:pt x="673" y="901"/>
                  </a:lnTo>
                  <a:lnTo>
                    <a:pt x="675" y="903"/>
                  </a:lnTo>
                  <a:lnTo>
                    <a:pt x="678" y="901"/>
                  </a:lnTo>
                  <a:lnTo>
                    <a:pt x="679" y="903"/>
                  </a:lnTo>
                  <a:lnTo>
                    <a:pt x="681" y="906"/>
                  </a:lnTo>
                  <a:lnTo>
                    <a:pt x="683" y="906"/>
                  </a:lnTo>
                  <a:lnTo>
                    <a:pt x="693" y="909"/>
                  </a:lnTo>
                  <a:lnTo>
                    <a:pt x="696" y="910"/>
                  </a:lnTo>
                  <a:lnTo>
                    <a:pt x="679" y="910"/>
                  </a:lnTo>
                  <a:lnTo>
                    <a:pt x="673" y="907"/>
                  </a:lnTo>
                  <a:lnTo>
                    <a:pt x="669" y="906"/>
                  </a:lnTo>
                  <a:lnTo>
                    <a:pt x="663" y="907"/>
                  </a:lnTo>
                  <a:lnTo>
                    <a:pt x="661" y="912"/>
                  </a:lnTo>
                  <a:lnTo>
                    <a:pt x="663" y="913"/>
                  </a:lnTo>
                  <a:lnTo>
                    <a:pt x="664" y="913"/>
                  </a:lnTo>
                  <a:lnTo>
                    <a:pt x="664" y="912"/>
                  </a:lnTo>
                  <a:lnTo>
                    <a:pt x="676" y="913"/>
                  </a:lnTo>
                  <a:lnTo>
                    <a:pt x="678" y="915"/>
                  </a:lnTo>
                  <a:lnTo>
                    <a:pt x="676" y="918"/>
                  </a:lnTo>
                  <a:lnTo>
                    <a:pt x="666" y="915"/>
                  </a:lnTo>
                  <a:lnTo>
                    <a:pt x="664" y="916"/>
                  </a:lnTo>
                  <a:lnTo>
                    <a:pt x="663" y="920"/>
                  </a:lnTo>
                  <a:lnTo>
                    <a:pt x="663" y="923"/>
                  </a:lnTo>
                  <a:lnTo>
                    <a:pt x="666" y="924"/>
                  </a:lnTo>
                  <a:lnTo>
                    <a:pt x="669" y="924"/>
                  </a:lnTo>
                  <a:lnTo>
                    <a:pt x="673" y="921"/>
                  </a:lnTo>
                  <a:lnTo>
                    <a:pt x="675" y="921"/>
                  </a:lnTo>
                  <a:lnTo>
                    <a:pt x="689" y="921"/>
                  </a:lnTo>
                  <a:lnTo>
                    <a:pt x="686" y="924"/>
                  </a:lnTo>
                  <a:lnTo>
                    <a:pt x="683" y="924"/>
                  </a:lnTo>
                  <a:lnTo>
                    <a:pt x="675" y="924"/>
                  </a:lnTo>
                  <a:lnTo>
                    <a:pt x="675" y="926"/>
                  </a:lnTo>
                  <a:lnTo>
                    <a:pt x="676" y="927"/>
                  </a:lnTo>
                  <a:lnTo>
                    <a:pt x="673" y="929"/>
                  </a:lnTo>
                  <a:lnTo>
                    <a:pt x="663" y="929"/>
                  </a:lnTo>
                  <a:lnTo>
                    <a:pt x="661" y="927"/>
                  </a:lnTo>
                  <a:lnTo>
                    <a:pt x="659" y="926"/>
                  </a:lnTo>
                  <a:lnTo>
                    <a:pt x="659" y="924"/>
                  </a:lnTo>
                  <a:lnTo>
                    <a:pt x="641" y="923"/>
                  </a:lnTo>
                  <a:lnTo>
                    <a:pt x="639" y="924"/>
                  </a:lnTo>
                  <a:lnTo>
                    <a:pt x="642" y="927"/>
                  </a:lnTo>
                  <a:lnTo>
                    <a:pt x="658" y="932"/>
                  </a:lnTo>
                  <a:lnTo>
                    <a:pt x="661" y="935"/>
                  </a:lnTo>
                  <a:lnTo>
                    <a:pt x="663" y="938"/>
                  </a:lnTo>
                  <a:lnTo>
                    <a:pt x="661" y="938"/>
                  </a:lnTo>
                  <a:lnTo>
                    <a:pt x="656" y="935"/>
                  </a:lnTo>
                  <a:lnTo>
                    <a:pt x="655" y="935"/>
                  </a:lnTo>
                  <a:lnTo>
                    <a:pt x="650" y="936"/>
                  </a:lnTo>
                  <a:lnTo>
                    <a:pt x="649" y="938"/>
                  </a:lnTo>
                  <a:lnTo>
                    <a:pt x="647" y="936"/>
                  </a:lnTo>
                  <a:lnTo>
                    <a:pt x="646" y="935"/>
                  </a:lnTo>
                  <a:lnTo>
                    <a:pt x="644" y="935"/>
                  </a:lnTo>
                  <a:lnTo>
                    <a:pt x="642" y="935"/>
                  </a:lnTo>
                  <a:lnTo>
                    <a:pt x="639" y="935"/>
                  </a:lnTo>
                  <a:lnTo>
                    <a:pt x="638" y="933"/>
                  </a:lnTo>
                  <a:lnTo>
                    <a:pt x="636" y="933"/>
                  </a:lnTo>
                  <a:lnTo>
                    <a:pt x="635" y="936"/>
                  </a:lnTo>
                  <a:lnTo>
                    <a:pt x="641" y="940"/>
                  </a:lnTo>
                  <a:lnTo>
                    <a:pt x="650" y="940"/>
                  </a:lnTo>
                  <a:lnTo>
                    <a:pt x="653" y="941"/>
                  </a:lnTo>
                  <a:lnTo>
                    <a:pt x="650" y="943"/>
                  </a:lnTo>
                  <a:lnTo>
                    <a:pt x="647" y="941"/>
                  </a:lnTo>
                  <a:lnTo>
                    <a:pt x="644" y="943"/>
                  </a:lnTo>
                  <a:lnTo>
                    <a:pt x="641" y="943"/>
                  </a:lnTo>
                  <a:lnTo>
                    <a:pt x="639" y="944"/>
                  </a:lnTo>
                  <a:lnTo>
                    <a:pt x="641" y="946"/>
                  </a:lnTo>
                  <a:lnTo>
                    <a:pt x="641" y="946"/>
                  </a:lnTo>
                  <a:lnTo>
                    <a:pt x="639" y="949"/>
                  </a:lnTo>
                  <a:lnTo>
                    <a:pt x="638" y="950"/>
                  </a:lnTo>
                  <a:lnTo>
                    <a:pt x="638" y="953"/>
                  </a:lnTo>
                  <a:lnTo>
                    <a:pt x="641" y="955"/>
                  </a:lnTo>
                  <a:lnTo>
                    <a:pt x="642" y="955"/>
                  </a:lnTo>
                  <a:lnTo>
                    <a:pt x="647" y="953"/>
                  </a:lnTo>
                  <a:lnTo>
                    <a:pt x="652" y="953"/>
                  </a:lnTo>
                  <a:lnTo>
                    <a:pt x="653" y="953"/>
                  </a:lnTo>
                  <a:lnTo>
                    <a:pt x="658" y="946"/>
                  </a:lnTo>
                  <a:lnTo>
                    <a:pt x="659" y="944"/>
                  </a:lnTo>
                  <a:lnTo>
                    <a:pt x="673" y="943"/>
                  </a:lnTo>
                  <a:lnTo>
                    <a:pt x="676" y="944"/>
                  </a:lnTo>
                  <a:lnTo>
                    <a:pt x="667" y="944"/>
                  </a:lnTo>
                  <a:lnTo>
                    <a:pt x="661" y="949"/>
                  </a:lnTo>
                  <a:lnTo>
                    <a:pt x="656" y="952"/>
                  </a:lnTo>
                  <a:lnTo>
                    <a:pt x="658" y="955"/>
                  </a:lnTo>
                  <a:lnTo>
                    <a:pt x="669" y="958"/>
                  </a:lnTo>
                  <a:lnTo>
                    <a:pt x="670" y="958"/>
                  </a:lnTo>
                  <a:lnTo>
                    <a:pt x="672" y="961"/>
                  </a:lnTo>
                  <a:lnTo>
                    <a:pt x="669" y="961"/>
                  </a:lnTo>
                  <a:lnTo>
                    <a:pt x="664" y="960"/>
                  </a:lnTo>
                  <a:lnTo>
                    <a:pt x="661" y="957"/>
                  </a:lnTo>
                  <a:lnTo>
                    <a:pt x="659" y="955"/>
                  </a:lnTo>
                  <a:lnTo>
                    <a:pt x="658" y="957"/>
                  </a:lnTo>
                  <a:lnTo>
                    <a:pt x="655" y="957"/>
                  </a:lnTo>
                  <a:lnTo>
                    <a:pt x="649" y="957"/>
                  </a:lnTo>
                  <a:lnTo>
                    <a:pt x="647" y="957"/>
                  </a:lnTo>
                  <a:lnTo>
                    <a:pt x="644" y="960"/>
                  </a:lnTo>
                  <a:lnTo>
                    <a:pt x="642" y="961"/>
                  </a:lnTo>
                  <a:lnTo>
                    <a:pt x="642" y="961"/>
                  </a:lnTo>
                  <a:lnTo>
                    <a:pt x="644" y="963"/>
                  </a:lnTo>
                  <a:lnTo>
                    <a:pt x="644" y="964"/>
                  </a:lnTo>
                  <a:lnTo>
                    <a:pt x="642" y="967"/>
                  </a:lnTo>
                  <a:lnTo>
                    <a:pt x="642" y="970"/>
                  </a:lnTo>
                  <a:lnTo>
                    <a:pt x="644" y="972"/>
                  </a:lnTo>
                  <a:lnTo>
                    <a:pt x="652" y="970"/>
                  </a:lnTo>
                  <a:lnTo>
                    <a:pt x="650" y="973"/>
                  </a:lnTo>
                  <a:lnTo>
                    <a:pt x="639" y="973"/>
                  </a:lnTo>
                  <a:lnTo>
                    <a:pt x="639" y="972"/>
                  </a:lnTo>
                  <a:lnTo>
                    <a:pt x="639" y="970"/>
                  </a:lnTo>
                  <a:lnTo>
                    <a:pt x="639" y="969"/>
                  </a:lnTo>
                  <a:lnTo>
                    <a:pt x="639" y="966"/>
                  </a:lnTo>
                  <a:lnTo>
                    <a:pt x="639" y="964"/>
                  </a:lnTo>
                  <a:lnTo>
                    <a:pt x="638" y="963"/>
                  </a:lnTo>
                  <a:lnTo>
                    <a:pt x="636" y="961"/>
                  </a:lnTo>
                  <a:lnTo>
                    <a:pt x="632" y="958"/>
                  </a:lnTo>
                  <a:lnTo>
                    <a:pt x="630" y="957"/>
                  </a:lnTo>
                  <a:lnTo>
                    <a:pt x="630" y="957"/>
                  </a:lnTo>
                  <a:lnTo>
                    <a:pt x="621" y="961"/>
                  </a:lnTo>
                  <a:lnTo>
                    <a:pt x="622" y="963"/>
                  </a:lnTo>
                  <a:lnTo>
                    <a:pt x="624" y="964"/>
                  </a:lnTo>
                  <a:lnTo>
                    <a:pt x="626" y="964"/>
                  </a:lnTo>
                  <a:lnTo>
                    <a:pt x="627" y="964"/>
                  </a:lnTo>
                  <a:lnTo>
                    <a:pt x="629" y="964"/>
                  </a:lnTo>
                  <a:lnTo>
                    <a:pt x="629" y="966"/>
                  </a:lnTo>
                  <a:lnTo>
                    <a:pt x="629" y="967"/>
                  </a:lnTo>
                  <a:lnTo>
                    <a:pt x="630" y="969"/>
                  </a:lnTo>
                  <a:lnTo>
                    <a:pt x="632" y="970"/>
                  </a:lnTo>
                  <a:lnTo>
                    <a:pt x="633" y="970"/>
                  </a:lnTo>
                  <a:lnTo>
                    <a:pt x="635" y="970"/>
                  </a:lnTo>
                  <a:lnTo>
                    <a:pt x="635" y="972"/>
                  </a:lnTo>
                  <a:lnTo>
                    <a:pt x="632" y="972"/>
                  </a:lnTo>
                  <a:lnTo>
                    <a:pt x="632" y="972"/>
                  </a:lnTo>
                  <a:lnTo>
                    <a:pt x="630" y="973"/>
                  </a:lnTo>
                  <a:lnTo>
                    <a:pt x="633" y="975"/>
                  </a:lnTo>
                  <a:lnTo>
                    <a:pt x="635" y="977"/>
                  </a:lnTo>
                  <a:lnTo>
                    <a:pt x="635" y="978"/>
                  </a:lnTo>
                  <a:lnTo>
                    <a:pt x="635" y="980"/>
                  </a:lnTo>
                  <a:lnTo>
                    <a:pt x="635" y="980"/>
                  </a:lnTo>
                  <a:lnTo>
                    <a:pt x="635" y="981"/>
                  </a:lnTo>
                  <a:lnTo>
                    <a:pt x="633" y="986"/>
                  </a:lnTo>
                  <a:lnTo>
                    <a:pt x="622" y="990"/>
                  </a:lnTo>
                  <a:lnTo>
                    <a:pt x="624" y="995"/>
                  </a:lnTo>
                  <a:lnTo>
                    <a:pt x="626" y="998"/>
                  </a:lnTo>
                  <a:lnTo>
                    <a:pt x="627" y="1000"/>
                  </a:lnTo>
                  <a:lnTo>
                    <a:pt x="630" y="998"/>
                  </a:lnTo>
                  <a:lnTo>
                    <a:pt x="632" y="997"/>
                  </a:lnTo>
                  <a:lnTo>
                    <a:pt x="633" y="997"/>
                  </a:lnTo>
                  <a:lnTo>
                    <a:pt x="635" y="997"/>
                  </a:lnTo>
                  <a:lnTo>
                    <a:pt x="635" y="998"/>
                  </a:lnTo>
                  <a:lnTo>
                    <a:pt x="633" y="1000"/>
                  </a:lnTo>
                  <a:lnTo>
                    <a:pt x="633" y="1001"/>
                  </a:lnTo>
                  <a:lnTo>
                    <a:pt x="635" y="1001"/>
                  </a:lnTo>
                  <a:lnTo>
                    <a:pt x="638" y="1003"/>
                  </a:lnTo>
                  <a:lnTo>
                    <a:pt x="639" y="1003"/>
                  </a:lnTo>
                  <a:lnTo>
                    <a:pt x="646" y="998"/>
                  </a:lnTo>
                  <a:lnTo>
                    <a:pt x="647" y="997"/>
                  </a:lnTo>
                  <a:lnTo>
                    <a:pt x="647" y="997"/>
                  </a:lnTo>
                  <a:lnTo>
                    <a:pt x="647" y="995"/>
                  </a:lnTo>
                  <a:lnTo>
                    <a:pt x="646" y="992"/>
                  </a:lnTo>
                  <a:lnTo>
                    <a:pt x="646" y="989"/>
                  </a:lnTo>
                  <a:lnTo>
                    <a:pt x="646" y="987"/>
                  </a:lnTo>
                  <a:lnTo>
                    <a:pt x="647" y="989"/>
                  </a:lnTo>
                  <a:lnTo>
                    <a:pt x="649" y="990"/>
                  </a:lnTo>
                  <a:lnTo>
                    <a:pt x="649" y="993"/>
                  </a:lnTo>
                  <a:lnTo>
                    <a:pt x="649" y="993"/>
                  </a:lnTo>
                  <a:lnTo>
                    <a:pt x="650" y="995"/>
                  </a:lnTo>
                  <a:lnTo>
                    <a:pt x="650" y="995"/>
                  </a:lnTo>
                  <a:lnTo>
                    <a:pt x="653" y="993"/>
                  </a:lnTo>
                  <a:lnTo>
                    <a:pt x="655" y="993"/>
                  </a:lnTo>
                  <a:lnTo>
                    <a:pt x="656" y="995"/>
                  </a:lnTo>
                  <a:lnTo>
                    <a:pt x="653" y="995"/>
                  </a:lnTo>
                  <a:lnTo>
                    <a:pt x="653" y="997"/>
                  </a:lnTo>
                  <a:lnTo>
                    <a:pt x="653" y="998"/>
                  </a:lnTo>
                  <a:lnTo>
                    <a:pt x="659" y="998"/>
                  </a:lnTo>
                  <a:lnTo>
                    <a:pt x="663" y="1000"/>
                  </a:lnTo>
                  <a:lnTo>
                    <a:pt x="659" y="1001"/>
                  </a:lnTo>
                  <a:lnTo>
                    <a:pt x="647" y="1001"/>
                  </a:lnTo>
                  <a:lnTo>
                    <a:pt x="635" y="1009"/>
                  </a:lnTo>
                  <a:lnTo>
                    <a:pt x="632" y="1012"/>
                  </a:lnTo>
                  <a:lnTo>
                    <a:pt x="630" y="1015"/>
                  </a:lnTo>
                  <a:lnTo>
                    <a:pt x="629" y="1017"/>
                  </a:lnTo>
                  <a:lnTo>
                    <a:pt x="627" y="1018"/>
                  </a:lnTo>
                  <a:lnTo>
                    <a:pt x="626" y="1021"/>
                  </a:lnTo>
                  <a:lnTo>
                    <a:pt x="626" y="1024"/>
                  </a:lnTo>
                  <a:lnTo>
                    <a:pt x="627" y="1024"/>
                  </a:lnTo>
                  <a:lnTo>
                    <a:pt x="638" y="1020"/>
                  </a:lnTo>
                  <a:lnTo>
                    <a:pt x="644" y="1012"/>
                  </a:lnTo>
                  <a:lnTo>
                    <a:pt x="647" y="1012"/>
                  </a:lnTo>
                  <a:lnTo>
                    <a:pt x="653" y="1012"/>
                  </a:lnTo>
                  <a:lnTo>
                    <a:pt x="658" y="1010"/>
                  </a:lnTo>
                  <a:lnTo>
                    <a:pt x="659" y="1009"/>
                  </a:lnTo>
                  <a:lnTo>
                    <a:pt x="664" y="1004"/>
                  </a:lnTo>
                  <a:lnTo>
                    <a:pt x="666" y="1004"/>
                  </a:lnTo>
                  <a:lnTo>
                    <a:pt x="666" y="1004"/>
                  </a:lnTo>
                  <a:lnTo>
                    <a:pt x="667" y="1004"/>
                  </a:lnTo>
                  <a:lnTo>
                    <a:pt x="669" y="1006"/>
                  </a:lnTo>
                  <a:lnTo>
                    <a:pt x="669" y="1006"/>
                  </a:lnTo>
                  <a:lnTo>
                    <a:pt x="666" y="1009"/>
                  </a:lnTo>
                  <a:lnTo>
                    <a:pt x="667" y="1012"/>
                  </a:lnTo>
                  <a:lnTo>
                    <a:pt x="669" y="1012"/>
                  </a:lnTo>
                  <a:lnTo>
                    <a:pt x="675" y="1010"/>
                  </a:lnTo>
                  <a:lnTo>
                    <a:pt x="676" y="1009"/>
                  </a:lnTo>
                  <a:lnTo>
                    <a:pt x="678" y="1006"/>
                  </a:lnTo>
                  <a:lnTo>
                    <a:pt x="678" y="1004"/>
                  </a:lnTo>
                  <a:lnTo>
                    <a:pt x="678" y="1003"/>
                  </a:lnTo>
                  <a:lnTo>
                    <a:pt x="679" y="1003"/>
                  </a:lnTo>
                  <a:lnTo>
                    <a:pt x="681" y="1004"/>
                  </a:lnTo>
                  <a:lnTo>
                    <a:pt x="683" y="1006"/>
                  </a:lnTo>
                  <a:lnTo>
                    <a:pt x="690" y="1007"/>
                  </a:lnTo>
                  <a:lnTo>
                    <a:pt x="690" y="1007"/>
                  </a:lnTo>
                  <a:lnTo>
                    <a:pt x="692" y="1003"/>
                  </a:lnTo>
                  <a:lnTo>
                    <a:pt x="695" y="1001"/>
                  </a:lnTo>
                  <a:lnTo>
                    <a:pt x="701" y="998"/>
                  </a:lnTo>
                  <a:lnTo>
                    <a:pt x="704" y="995"/>
                  </a:lnTo>
                  <a:lnTo>
                    <a:pt x="707" y="993"/>
                  </a:lnTo>
                  <a:lnTo>
                    <a:pt x="707" y="995"/>
                  </a:lnTo>
                  <a:lnTo>
                    <a:pt x="707" y="998"/>
                  </a:lnTo>
                  <a:lnTo>
                    <a:pt x="706" y="1001"/>
                  </a:lnTo>
                  <a:lnTo>
                    <a:pt x="704" y="1003"/>
                  </a:lnTo>
                  <a:lnTo>
                    <a:pt x="701" y="1004"/>
                  </a:lnTo>
                  <a:lnTo>
                    <a:pt x="699" y="1006"/>
                  </a:lnTo>
                  <a:lnTo>
                    <a:pt x="698" y="1007"/>
                  </a:lnTo>
                  <a:lnTo>
                    <a:pt x="696" y="1009"/>
                  </a:lnTo>
                  <a:lnTo>
                    <a:pt x="696" y="1010"/>
                  </a:lnTo>
                  <a:lnTo>
                    <a:pt x="696" y="1012"/>
                  </a:lnTo>
                  <a:lnTo>
                    <a:pt x="695" y="1013"/>
                  </a:lnTo>
                  <a:lnTo>
                    <a:pt x="684" y="1017"/>
                  </a:lnTo>
                  <a:lnTo>
                    <a:pt x="681" y="1020"/>
                  </a:lnTo>
                  <a:lnTo>
                    <a:pt x="679" y="1020"/>
                  </a:lnTo>
                  <a:lnTo>
                    <a:pt x="679" y="1018"/>
                  </a:lnTo>
                  <a:lnTo>
                    <a:pt x="683" y="1015"/>
                  </a:lnTo>
                  <a:lnTo>
                    <a:pt x="683" y="1013"/>
                  </a:lnTo>
                  <a:lnTo>
                    <a:pt x="679" y="1012"/>
                  </a:lnTo>
                  <a:lnTo>
                    <a:pt x="675" y="1013"/>
                  </a:lnTo>
                  <a:lnTo>
                    <a:pt x="670" y="1017"/>
                  </a:lnTo>
                  <a:lnTo>
                    <a:pt x="667" y="1023"/>
                  </a:lnTo>
                  <a:lnTo>
                    <a:pt x="675" y="1026"/>
                  </a:lnTo>
                  <a:lnTo>
                    <a:pt x="681" y="1024"/>
                  </a:lnTo>
                  <a:lnTo>
                    <a:pt x="684" y="1026"/>
                  </a:lnTo>
                  <a:lnTo>
                    <a:pt x="684" y="1026"/>
                  </a:lnTo>
                  <a:lnTo>
                    <a:pt x="684" y="1027"/>
                  </a:lnTo>
                  <a:lnTo>
                    <a:pt x="684" y="1029"/>
                  </a:lnTo>
                  <a:lnTo>
                    <a:pt x="684" y="1030"/>
                  </a:lnTo>
                  <a:lnTo>
                    <a:pt x="681" y="1029"/>
                  </a:lnTo>
                  <a:lnTo>
                    <a:pt x="679" y="1027"/>
                  </a:lnTo>
                  <a:lnTo>
                    <a:pt x="679" y="1026"/>
                  </a:lnTo>
                  <a:lnTo>
                    <a:pt x="678" y="1026"/>
                  </a:lnTo>
                  <a:lnTo>
                    <a:pt x="675" y="1027"/>
                  </a:lnTo>
                  <a:lnTo>
                    <a:pt x="670" y="1027"/>
                  </a:lnTo>
                  <a:lnTo>
                    <a:pt x="669" y="1029"/>
                  </a:lnTo>
                  <a:lnTo>
                    <a:pt x="667" y="1030"/>
                  </a:lnTo>
                  <a:lnTo>
                    <a:pt x="666" y="1035"/>
                  </a:lnTo>
                  <a:lnTo>
                    <a:pt x="664" y="1037"/>
                  </a:lnTo>
                  <a:lnTo>
                    <a:pt x="663" y="1037"/>
                  </a:lnTo>
                  <a:lnTo>
                    <a:pt x="663" y="1037"/>
                  </a:lnTo>
                  <a:lnTo>
                    <a:pt x="663" y="1035"/>
                  </a:lnTo>
                  <a:lnTo>
                    <a:pt x="663" y="1032"/>
                  </a:lnTo>
                  <a:lnTo>
                    <a:pt x="663" y="1029"/>
                  </a:lnTo>
                  <a:lnTo>
                    <a:pt x="666" y="1026"/>
                  </a:lnTo>
                  <a:lnTo>
                    <a:pt x="666" y="1023"/>
                  </a:lnTo>
                  <a:lnTo>
                    <a:pt x="659" y="1023"/>
                  </a:lnTo>
                  <a:lnTo>
                    <a:pt x="659" y="1021"/>
                  </a:lnTo>
                  <a:lnTo>
                    <a:pt x="661" y="1021"/>
                  </a:lnTo>
                  <a:lnTo>
                    <a:pt x="664" y="1020"/>
                  </a:lnTo>
                  <a:lnTo>
                    <a:pt x="666" y="1017"/>
                  </a:lnTo>
                  <a:lnTo>
                    <a:pt x="664" y="1013"/>
                  </a:lnTo>
                  <a:lnTo>
                    <a:pt x="661" y="1013"/>
                  </a:lnTo>
                  <a:lnTo>
                    <a:pt x="646" y="1017"/>
                  </a:lnTo>
                  <a:lnTo>
                    <a:pt x="639" y="1023"/>
                  </a:lnTo>
                  <a:lnTo>
                    <a:pt x="635" y="1024"/>
                  </a:lnTo>
                  <a:lnTo>
                    <a:pt x="635" y="1026"/>
                  </a:lnTo>
                  <a:lnTo>
                    <a:pt x="630" y="1027"/>
                  </a:lnTo>
                  <a:lnTo>
                    <a:pt x="630" y="1029"/>
                  </a:lnTo>
                  <a:lnTo>
                    <a:pt x="629" y="1030"/>
                  </a:lnTo>
                  <a:lnTo>
                    <a:pt x="629" y="1030"/>
                  </a:lnTo>
                  <a:lnTo>
                    <a:pt x="626" y="1029"/>
                  </a:lnTo>
                  <a:lnTo>
                    <a:pt x="613" y="1032"/>
                  </a:lnTo>
                  <a:lnTo>
                    <a:pt x="609" y="1035"/>
                  </a:lnTo>
                  <a:lnTo>
                    <a:pt x="606" y="1037"/>
                  </a:lnTo>
                  <a:lnTo>
                    <a:pt x="604" y="1038"/>
                  </a:lnTo>
                  <a:lnTo>
                    <a:pt x="599" y="1043"/>
                  </a:lnTo>
                  <a:lnTo>
                    <a:pt x="598" y="1046"/>
                  </a:lnTo>
                  <a:lnTo>
                    <a:pt x="599" y="1046"/>
                  </a:lnTo>
                  <a:lnTo>
                    <a:pt x="601" y="1046"/>
                  </a:lnTo>
                  <a:lnTo>
                    <a:pt x="602" y="1046"/>
                  </a:lnTo>
                  <a:lnTo>
                    <a:pt x="601" y="1047"/>
                  </a:lnTo>
                  <a:lnTo>
                    <a:pt x="601" y="1047"/>
                  </a:lnTo>
                  <a:lnTo>
                    <a:pt x="601" y="1049"/>
                  </a:lnTo>
                  <a:lnTo>
                    <a:pt x="601" y="1049"/>
                  </a:lnTo>
                  <a:lnTo>
                    <a:pt x="616" y="1046"/>
                  </a:lnTo>
                  <a:lnTo>
                    <a:pt x="622" y="1041"/>
                  </a:lnTo>
                  <a:lnTo>
                    <a:pt x="626" y="1041"/>
                  </a:lnTo>
                  <a:lnTo>
                    <a:pt x="624" y="1044"/>
                  </a:lnTo>
                  <a:lnTo>
                    <a:pt x="621" y="1047"/>
                  </a:lnTo>
                  <a:lnTo>
                    <a:pt x="619" y="1050"/>
                  </a:lnTo>
                  <a:lnTo>
                    <a:pt x="619" y="1052"/>
                  </a:lnTo>
                  <a:lnTo>
                    <a:pt x="619" y="1055"/>
                  </a:lnTo>
                  <a:lnTo>
                    <a:pt x="618" y="1057"/>
                  </a:lnTo>
                  <a:lnTo>
                    <a:pt x="616" y="1058"/>
                  </a:lnTo>
                  <a:lnTo>
                    <a:pt x="618" y="1061"/>
                  </a:lnTo>
                  <a:lnTo>
                    <a:pt x="621" y="1064"/>
                  </a:lnTo>
                  <a:lnTo>
                    <a:pt x="626" y="1066"/>
                  </a:lnTo>
                  <a:lnTo>
                    <a:pt x="630" y="1066"/>
                  </a:lnTo>
                  <a:lnTo>
                    <a:pt x="632" y="1067"/>
                  </a:lnTo>
                  <a:lnTo>
                    <a:pt x="632" y="1069"/>
                  </a:lnTo>
                  <a:lnTo>
                    <a:pt x="632" y="1070"/>
                  </a:lnTo>
                  <a:lnTo>
                    <a:pt x="633" y="1074"/>
                  </a:lnTo>
                  <a:lnTo>
                    <a:pt x="633" y="1077"/>
                  </a:lnTo>
                  <a:lnTo>
                    <a:pt x="635" y="1080"/>
                  </a:lnTo>
                  <a:lnTo>
                    <a:pt x="636" y="1083"/>
                  </a:lnTo>
                  <a:lnTo>
                    <a:pt x="635" y="1084"/>
                  </a:lnTo>
                  <a:lnTo>
                    <a:pt x="632" y="1080"/>
                  </a:lnTo>
                  <a:lnTo>
                    <a:pt x="632" y="1078"/>
                  </a:lnTo>
                  <a:lnTo>
                    <a:pt x="632" y="1077"/>
                  </a:lnTo>
                  <a:lnTo>
                    <a:pt x="632" y="1077"/>
                  </a:lnTo>
                  <a:lnTo>
                    <a:pt x="632" y="1077"/>
                  </a:lnTo>
                  <a:lnTo>
                    <a:pt x="630" y="1077"/>
                  </a:lnTo>
                  <a:lnTo>
                    <a:pt x="630" y="1077"/>
                  </a:lnTo>
                  <a:lnTo>
                    <a:pt x="630" y="1077"/>
                  </a:lnTo>
                  <a:lnTo>
                    <a:pt x="629" y="1077"/>
                  </a:lnTo>
                  <a:lnTo>
                    <a:pt x="627" y="1075"/>
                  </a:lnTo>
                  <a:lnTo>
                    <a:pt x="627" y="1074"/>
                  </a:lnTo>
                  <a:lnTo>
                    <a:pt x="626" y="1072"/>
                  </a:lnTo>
                  <a:lnTo>
                    <a:pt x="626" y="1070"/>
                  </a:lnTo>
                  <a:lnTo>
                    <a:pt x="624" y="1069"/>
                  </a:lnTo>
                  <a:lnTo>
                    <a:pt x="621" y="1070"/>
                  </a:lnTo>
                  <a:lnTo>
                    <a:pt x="619" y="1070"/>
                  </a:lnTo>
                  <a:lnTo>
                    <a:pt x="619" y="1069"/>
                  </a:lnTo>
                  <a:lnTo>
                    <a:pt x="618" y="1067"/>
                  </a:lnTo>
                  <a:lnTo>
                    <a:pt x="616" y="1066"/>
                  </a:lnTo>
                  <a:lnTo>
                    <a:pt x="612" y="1063"/>
                  </a:lnTo>
                  <a:lnTo>
                    <a:pt x="609" y="1063"/>
                  </a:lnTo>
                  <a:lnTo>
                    <a:pt x="607" y="1063"/>
                  </a:lnTo>
                  <a:lnTo>
                    <a:pt x="599" y="1070"/>
                  </a:lnTo>
                  <a:lnTo>
                    <a:pt x="598" y="1074"/>
                  </a:lnTo>
                  <a:lnTo>
                    <a:pt x="596" y="1077"/>
                  </a:lnTo>
                  <a:lnTo>
                    <a:pt x="596" y="1078"/>
                  </a:lnTo>
                  <a:lnTo>
                    <a:pt x="596" y="1080"/>
                  </a:lnTo>
                  <a:lnTo>
                    <a:pt x="595" y="1081"/>
                  </a:lnTo>
                  <a:lnTo>
                    <a:pt x="595" y="1083"/>
                  </a:lnTo>
                  <a:lnTo>
                    <a:pt x="595" y="1083"/>
                  </a:lnTo>
                  <a:lnTo>
                    <a:pt x="593" y="1084"/>
                  </a:lnTo>
                  <a:lnTo>
                    <a:pt x="593" y="1087"/>
                  </a:lnTo>
                  <a:lnTo>
                    <a:pt x="593" y="1087"/>
                  </a:lnTo>
                  <a:lnTo>
                    <a:pt x="595" y="1089"/>
                  </a:lnTo>
                  <a:lnTo>
                    <a:pt x="598" y="1087"/>
                  </a:lnTo>
                  <a:lnTo>
                    <a:pt x="599" y="1087"/>
                  </a:lnTo>
                  <a:lnTo>
                    <a:pt x="601" y="1089"/>
                  </a:lnTo>
                  <a:lnTo>
                    <a:pt x="601" y="1094"/>
                  </a:lnTo>
                  <a:lnTo>
                    <a:pt x="601" y="1095"/>
                  </a:lnTo>
                  <a:lnTo>
                    <a:pt x="599" y="1095"/>
                  </a:lnTo>
                  <a:lnTo>
                    <a:pt x="599" y="1094"/>
                  </a:lnTo>
                  <a:lnTo>
                    <a:pt x="598" y="1092"/>
                  </a:lnTo>
                  <a:lnTo>
                    <a:pt x="598" y="1092"/>
                  </a:lnTo>
                  <a:lnTo>
                    <a:pt x="596" y="1092"/>
                  </a:lnTo>
                  <a:lnTo>
                    <a:pt x="595" y="1092"/>
                  </a:lnTo>
                  <a:lnTo>
                    <a:pt x="593" y="1095"/>
                  </a:lnTo>
                  <a:lnTo>
                    <a:pt x="590" y="1100"/>
                  </a:lnTo>
                  <a:lnTo>
                    <a:pt x="590" y="1101"/>
                  </a:lnTo>
                  <a:lnTo>
                    <a:pt x="590" y="1106"/>
                  </a:lnTo>
                  <a:lnTo>
                    <a:pt x="592" y="1106"/>
                  </a:lnTo>
                  <a:lnTo>
                    <a:pt x="595" y="1109"/>
                  </a:lnTo>
                  <a:lnTo>
                    <a:pt x="596" y="1109"/>
                  </a:lnTo>
                  <a:lnTo>
                    <a:pt x="596" y="1110"/>
                  </a:lnTo>
                  <a:lnTo>
                    <a:pt x="596" y="1114"/>
                  </a:lnTo>
                  <a:lnTo>
                    <a:pt x="598" y="1115"/>
                  </a:lnTo>
                  <a:lnTo>
                    <a:pt x="598" y="1117"/>
                  </a:lnTo>
                  <a:lnTo>
                    <a:pt x="599" y="1118"/>
                  </a:lnTo>
                  <a:lnTo>
                    <a:pt x="599" y="1118"/>
                  </a:lnTo>
                  <a:lnTo>
                    <a:pt x="602" y="1118"/>
                  </a:lnTo>
                  <a:lnTo>
                    <a:pt x="604" y="1120"/>
                  </a:lnTo>
                  <a:lnTo>
                    <a:pt x="606" y="1121"/>
                  </a:lnTo>
                  <a:lnTo>
                    <a:pt x="607" y="1123"/>
                  </a:lnTo>
                  <a:lnTo>
                    <a:pt x="606" y="1123"/>
                  </a:lnTo>
                  <a:lnTo>
                    <a:pt x="604" y="1124"/>
                  </a:lnTo>
                  <a:lnTo>
                    <a:pt x="602" y="1124"/>
                  </a:lnTo>
                  <a:lnTo>
                    <a:pt x="601" y="1121"/>
                  </a:lnTo>
                  <a:lnTo>
                    <a:pt x="599" y="1121"/>
                  </a:lnTo>
                  <a:lnTo>
                    <a:pt x="596" y="1123"/>
                  </a:lnTo>
                  <a:lnTo>
                    <a:pt x="593" y="1120"/>
                  </a:lnTo>
                  <a:lnTo>
                    <a:pt x="593" y="1120"/>
                  </a:lnTo>
                  <a:lnTo>
                    <a:pt x="593" y="1118"/>
                  </a:lnTo>
                  <a:lnTo>
                    <a:pt x="593" y="1117"/>
                  </a:lnTo>
                  <a:lnTo>
                    <a:pt x="595" y="1115"/>
                  </a:lnTo>
                  <a:lnTo>
                    <a:pt x="595" y="1114"/>
                  </a:lnTo>
                  <a:lnTo>
                    <a:pt x="592" y="1114"/>
                  </a:lnTo>
                  <a:lnTo>
                    <a:pt x="592" y="1114"/>
                  </a:lnTo>
                  <a:lnTo>
                    <a:pt x="592" y="1112"/>
                  </a:lnTo>
                  <a:lnTo>
                    <a:pt x="592" y="1110"/>
                  </a:lnTo>
                  <a:lnTo>
                    <a:pt x="592" y="1109"/>
                  </a:lnTo>
                  <a:lnTo>
                    <a:pt x="590" y="1107"/>
                  </a:lnTo>
                  <a:lnTo>
                    <a:pt x="589" y="1106"/>
                  </a:lnTo>
                  <a:lnTo>
                    <a:pt x="587" y="1106"/>
                  </a:lnTo>
                  <a:lnTo>
                    <a:pt x="585" y="1106"/>
                  </a:lnTo>
                  <a:lnTo>
                    <a:pt x="584" y="1107"/>
                  </a:lnTo>
                  <a:lnTo>
                    <a:pt x="582" y="1109"/>
                  </a:lnTo>
                  <a:lnTo>
                    <a:pt x="581" y="1109"/>
                  </a:lnTo>
                  <a:lnTo>
                    <a:pt x="581" y="1110"/>
                  </a:lnTo>
                  <a:lnTo>
                    <a:pt x="579" y="1112"/>
                  </a:lnTo>
                  <a:lnTo>
                    <a:pt x="579" y="1115"/>
                  </a:lnTo>
                  <a:lnTo>
                    <a:pt x="578" y="1117"/>
                  </a:lnTo>
                  <a:lnTo>
                    <a:pt x="575" y="1120"/>
                  </a:lnTo>
                  <a:lnTo>
                    <a:pt x="575" y="1123"/>
                  </a:lnTo>
                  <a:lnTo>
                    <a:pt x="575" y="1124"/>
                  </a:lnTo>
                  <a:lnTo>
                    <a:pt x="575" y="1126"/>
                  </a:lnTo>
                  <a:lnTo>
                    <a:pt x="575" y="1127"/>
                  </a:lnTo>
                  <a:lnTo>
                    <a:pt x="575" y="1129"/>
                  </a:lnTo>
                  <a:lnTo>
                    <a:pt x="575" y="1131"/>
                  </a:lnTo>
                  <a:lnTo>
                    <a:pt x="576" y="1131"/>
                  </a:lnTo>
                  <a:lnTo>
                    <a:pt x="578" y="1131"/>
                  </a:lnTo>
                  <a:lnTo>
                    <a:pt x="579" y="1131"/>
                  </a:lnTo>
                  <a:lnTo>
                    <a:pt x="578" y="1134"/>
                  </a:lnTo>
                  <a:lnTo>
                    <a:pt x="578" y="1138"/>
                  </a:lnTo>
                  <a:lnTo>
                    <a:pt x="578" y="1141"/>
                  </a:lnTo>
                  <a:lnTo>
                    <a:pt x="581" y="1143"/>
                  </a:lnTo>
                  <a:lnTo>
                    <a:pt x="582" y="1141"/>
                  </a:lnTo>
                  <a:lnTo>
                    <a:pt x="585" y="1134"/>
                  </a:lnTo>
                  <a:lnTo>
                    <a:pt x="587" y="1132"/>
                  </a:lnTo>
                  <a:lnTo>
                    <a:pt x="587" y="1137"/>
                  </a:lnTo>
                  <a:lnTo>
                    <a:pt x="585" y="1138"/>
                  </a:lnTo>
                  <a:lnTo>
                    <a:pt x="584" y="1140"/>
                  </a:lnTo>
                  <a:lnTo>
                    <a:pt x="582" y="1143"/>
                  </a:lnTo>
                  <a:lnTo>
                    <a:pt x="585" y="1146"/>
                  </a:lnTo>
                  <a:lnTo>
                    <a:pt x="589" y="1141"/>
                  </a:lnTo>
                  <a:lnTo>
                    <a:pt x="589" y="1135"/>
                  </a:lnTo>
                  <a:lnTo>
                    <a:pt x="590" y="1131"/>
                  </a:lnTo>
                  <a:lnTo>
                    <a:pt x="590" y="1135"/>
                  </a:lnTo>
                  <a:lnTo>
                    <a:pt x="592" y="1138"/>
                  </a:lnTo>
                  <a:lnTo>
                    <a:pt x="592" y="1141"/>
                  </a:lnTo>
                  <a:lnTo>
                    <a:pt x="593" y="1143"/>
                  </a:lnTo>
                  <a:lnTo>
                    <a:pt x="592" y="1143"/>
                  </a:lnTo>
                  <a:lnTo>
                    <a:pt x="590" y="1144"/>
                  </a:lnTo>
                  <a:lnTo>
                    <a:pt x="590" y="1144"/>
                  </a:lnTo>
                  <a:lnTo>
                    <a:pt x="592" y="1147"/>
                  </a:lnTo>
                  <a:lnTo>
                    <a:pt x="592" y="1149"/>
                  </a:lnTo>
                  <a:lnTo>
                    <a:pt x="595" y="1149"/>
                  </a:lnTo>
                  <a:lnTo>
                    <a:pt x="596" y="1151"/>
                  </a:lnTo>
                  <a:lnTo>
                    <a:pt x="596" y="1151"/>
                  </a:lnTo>
                  <a:lnTo>
                    <a:pt x="595" y="1152"/>
                  </a:lnTo>
                  <a:lnTo>
                    <a:pt x="593" y="1154"/>
                  </a:lnTo>
                  <a:lnTo>
                    <a:pt x="593" y="1155"/>
                  </a:lnTo>
                  <a:lnTo>
                    <a:pt x="602" y="1154"/>
                  </a:lnTo>
                  <a:lnTo>
                    <a:pt x="606" y="1155"/>
                  </a:lnTo>
                  <a:lnTo>
                    <a:pt x="596" y="1157"/>
                  </a:lnTo>
                  <a:lnTo>
                    <a:pt x="595" y="1160"/>
                  </a:lnTo>
                  <a:lnTo>
                    <a:pt x="596" y="1163"/>
                  </a:lnTo>
                  <a:lnTo>
                    <a:pt x="601" y="1171"/>
                  </a:lnTo>
                  <a:lnTo>
                    <a:pt x="599" y="1169"/>
                  </a:lnTo>
                  <a:lnTo>
                    <a:pt x="595" y="1161"/>
                  </a:lnTo>
                  <a:lnTo>
                    <a:pt x="593" y="1160"/>
                  </a:lnTo>
                  <a:lnTo>
                    <a:pt x="592" y="1160"/>
                  </a:lnTo>
                  <a:lnTo>
                    <a:pt x="592" y="1161"/>
                  </a:lnTo>
                  <a:lnTo>
                    <a:pt x="590" y="1161"/>
                  </a:lnTo>
                  <a:lnTo>
                    <a:pt x="590" y="1161"/>
                  </a:lnTo>
                  <a:lnTo>
                    <a:pt x="590" y="1160"/>
                  </a:lnTo>
                  <a:lnTo>
                    <a:pt x="590" y="1158"/>
                  </a:lnTo>
                  <a:lnTo>
                    <a:pt x="590" y="1158"/>
                  </a:lnTo>
                  <a:lnTo>
                    <a:pt x="589" y="1157"/>
                  </a:lnTo>
                  <a:lnTo>
                    <a:pt x="587" y="1157"/>
                  </a:lnTo>
                  <a:lnTo>
                    <a:pt x="584" y="1157"/>
                  </a:lnTo>
                  <a:lnTo>
                    <a:pt x="584" y="1160"/>
                  </a:lnTo>
                  <a:lnTo>
                    <a:pt x="587" y="1163"/>
                  </a:lnTo>
                  <a:lnTo>
                    <a:pt x="587" y="1164"/>
                  </a:lnTo>
                  <a:lnTo>
                    <a:pt x="587" y="1166"/>
                  </a:lnTo>
                  <a:lnTo>
                    <a:pt x="589" y="1171"/>
                  </a:lnTo>
                  <a:lnTo>
                    <a:pt x="589" y="1172"/>
                  </a:lnTo>
                  <a:lnTo>
                    <a:pt x="592" y="1172"/>
                  </a:lnTo>
                  <a:lnTo>
                    <a:pt x="595" y="1172"/>
                  </a:lnTo>
                  <a:lnTo>
                    <a:pt x="598" y="1174"/>
                  </a:lnTo>
                  <a:lnTo>
                    <a:pt x="599" y="1178"/>
                  </a:lnTo>
                  <a:lnTo>
                    <a:pt x="598" y="1180"/>
                  </a:lnTo>
                  <a:lnTo>
                    <a:pt x="596" y="1178"/>
                  </a:lnTo>
                  <a:lnTo>
                    <a:pt x="596" y="1177"/>
                  </a:lnTo>
                  <a:lnTo>
                    <a:pt x="595" y="1175"/>
                  </a:lnTo>
                  <a:lnTo>
                    <a:pt x="593" y="1174"/>
                  </a:lnTo>
                  <a:lnTo>
                    <a:pt x="587" y="1174"/>
                  </a:lnTo>
                  <a:lnTo>
                    <a:pt x="585" y="1172"/>
                  </a:lnTo>
                  <a:lnTo>
                    <a:pt x="585" y="1172"/>
                  </a:lnTo>
                  <a:lnTo>
                    <a:pt x="585" y="1171"/>
                  </a:lnTo>
                  <a:lnTo>
                    <a:pt x="585" y="1171"/>
                  </a:lnTo>
                  <a:lnTo>
                    <a:pt x="584" y="1171"/>
                  </a:lnTo>
                  <a:lnTo>
                    <a:pt x="581" y="1175"/>
                  </a:lnTo>
                  <a:lnTo>
                    <a:pt x="579" y="1177"/>
                  </a:lnTo>
                  <a:lnTo>
                    <a:pt x="578" y="1180"/>
                  </a:lnTo>
                  <a:lnTo>
                    <a:pt x="582" y="1177"/>
                  </a:lnTo>
                  <a:lnTo>
                    <a:pt x="584" y="1177"/>
                  </a:lnTo>
                  <a:lnTo>
                    <a:pt x="581" y="1181"/>
                  </a:lnTo>
                  <a:lnTo>
                    <a:pt x="579" y="1181"/>
                  </a:lnTo>
                  <a:lnTo>
                    <a:pt x="576" y="1181"/>
                  </a:lnTo>
                  <a:lnTo>
                    <a:pt x="573" y="1183"/>
                  </a:lnTo>
                  <a:lnTo>
                    <a:pt x="573" y="1184"/>
                  </a:lnTo>
                  <a:lnTo>
                    <a:pt x="572" y="1187"/>
                  </a:lnTo>
                  <a:lnTo>
                    <a:pt x="570" y="1189"/>
                  </a:lnTo>
                  <a:lnTo>
                    <a:pt x="567" y="1192"/>
                  </a:lnTo>
                  <a:lnTo>
                    <a:pt x="567" y="1195"/>
                  </a:lnTo>
                  <a:lnTo>
                    <a:pt x="569" y="1195"/>
                  </a:lnTo>
                  <a:lnTo>
                    <a:pt x="570" y="1194"/>
                  </a:lnTo>
                  <a:lnTo>
                    <a:pt x="572" y="1191"/>
                  </a:lnTo>
                  <a:lnTo>
                    <a:pt x="573" y="1189"/>
                  </a:lnTo>
                  <a:lnTo>
                    <a:pt x="581" y="1187"/>
                  </a:lnTo>
                  <a:lnTo>
                    <a:pt x="582" y="1189"/>
                  </a:lnTo>
                  <a:lnTo>
                    <a:pt x="582" y="1189"/>
                  </a:lnTo>
                  <a:lnTo>
                    <a:pt x="582" y="1191"/>
                  </a:lnTo>
                  <a:lnTo>
                    <a:pt x="584" y="1191"/>
                  </a:lnTo>
                  <a:lnTo>
                    <a:pt x="585" y="1189"/>
                  </a:lnTo>
                  <a:lnTo>
                    <a:pt x="587" y="1189"/>
                  </a:lnTo>
                  <a:lnTo>
                    <a:pt x="592" y="1191"/>
                  </a:lnTo>
                  <a:lnTo>
                    <a:pt x="599" y="1189"/>
                  </a:lnTo>
                  <a:lnTo>
                    <a:pt x="601" y="1191"/>
                  </a:lnTo>
                  <a:lnTo>
                    <a:pt x="598" y="1192"/>
                  </a:lnTo>
                  <a:lnTo>
                    <a:pt x="587" y="1192"/>
                  </a:lnTo>
                  <a:lnTo>
                    <a:pt x="585" y="1194"/>
                  </a:lnTo>
                  <a:lnTo>
                    <a:pt x="584" y="1194"/>
                  </a:lnTo>
                  <a:lnTo>
                    <a:pt x="579" y="1192"/>
                  </a:lnTo>
                  <a:lnTo>
                    <a:pt x="578" y="1192"/>
                  </a:lnTo>
                  <a:lnTo>
                    <a:pt x="578" y="1194"/>
                  </a:lnTo>
                  <a:lnTo>
                    <a:pt x="575" y="1197"/>
                  </a:lnTo>
                  <a:lnTo>
                    <a:pt x="575" y="1197"/>
                  </a:lnTo>
                  <a:lnTo>
                    <a:pt x="576" y="1197"/>
                  </a:lnTo>
                  <a:lnTo>
                    <a:pt x="579" y="1195"/>
                  </a:lnTo>
                  <a:lnTo>
                    <a:pt x="581" y="1197"/>
                  </a:lnTo>
                  <a:lnTo>
                    <a:pt x="581" y="1197"/>
                  </a:lnTo>
                  <a:lnTo>
                    <a:pt x="581" y="1198"/>
                  </a:lnTo>
                  <a:lnTo>
                    <a:pt x="581" y="1198"/>
                  </a:lnTo>
                  <a:lnTo>
                    <a:pt x="581" y="1200"/>
                  </a:lnTo>
                  <a:lnTo>
                    <a:pt x="582" y="1200"/>
                  </a:lnTo>
                  <a:lnTo>
                    <a:pt x="584" y="1201"/>
                  </a:lnTo>
                  <a:lnTo>
                    <a:pt x="585" y="1201"/>
                  </a:lnTo>
                  <a:lnTo>
                    <a:pt x="582" y="1204"/>
                  </a:lnTo>
                  <a:lnTo>
                    <a:pt x="576" y="1204"/>
                  </a:lnTo>
                  <a:lnTo>
                    <a:pt x="575" y="1209"/>
                  </a:lnTo>
                  <a:lnTo>
                    <a:pt x="578" y="1211"/>
                  </a:lnTo>
                  <a:lnTo>
                    <a:pt x="579" y="1212"/>
                  </a:lnTo>
                  <a:lnTo>
                    <a:pt x="585" y="1211"/>
                  </a:lnTo>
                  <a:lnTo>
                    <a:pt x="587" y="1211"/>
                  </a:lnTo>
                  <a:lnTo>
                    <a:pt x="589" y="1208"/>
                  </a:lnTo>
                  <a:lnTo>
                    <a:pt x="589" y="1208"/>
                  </a:lnTo>
                  <a:lnTo>
                    <a:pt x="590" y="1206"/>
                  </a:lnTo>
                  <a:lnTo>
                    <a:pt x="598" y="1201"/>
                  </a:lnTo>
                  <a:lnTo>
                    <a:pt x="610" y="1187"/>
                  </a:lnTo>
                  <a:lnTo>
                    <a:pt x="612" y="1184"/>
                  </a:lnTo>
                  <a:lnTo>
                    <a:pt x="612" y="1184"/>
                  </a:lnTo>
                  <a:lnTo>
                    <a:pt x="615" y="1181"/>
                  </a:lnTo>
                  <a:lnTo>
                    <a:pt x="618" y="1177"/>
                  </a:lnTo>
                  <a:lnTo>
                    <a:pt x="618" y="1178"/>
                  </a:lnTo>
                  <a:lnTo>
                    <a:pt x="618" y="1181"/>
                  </a:lnTo>
                  <a:lnTo>
                    <a:pt x="610" y="1191"/>
                  </a:lnTo>
                  <a:lnTo>
                    <a:pt x="609" y="1192"/>
                  </a:lnTo>
                  <a:lnTo>
                    <a:pt x="609" y="1194"/>
                  </a:lnTo>
                  <a:lnTo>
                    <a:pt x="607" y="1195"/>
                  </a:lnTo>
                  <a:lnTo>
                    <a:pt x="607" y="1197"/>
                  </a:lnTo>
                  <a:lnTo>
                    <a:pt x="607" y="1198"/>
                  </a:lnTo>
                  <a:lnTo>
                    <a:pt x="606" y="1198"/>
                  </a:lnTo>
                  <a:lnTo>
                    <a:pt x="601" y="1203"/>
                  </a:lnTo>
                  <a:lnTo>
                    <a:pt x="598" y="1208"/>
                  </a:lnTo>
                  <a:lnTo>
                    <a:pt x="596" y="1209"/>
                  </a:lnTo>
                  <a:lnTo>
                    <a:pt x="595" y="1209"/>
                  </a:lnTo>
                  <a:lnTo>
                    <a:pt x="595" y="1209"/>
                  </a:lnTo>
                  <a:lnTo>
                    <a:pt x="593" y="1212"/>
                  </a:lnTo>
                  <a:lnTo>
                    <a:pt x="593" y="1212"/>
                  </a:lnTo>
                  <a:lnTo>
                    <a:pt x="595" y="1212"/>
                  </a:lnTo>
                  <a:lnTo>
                    <a:pt x="595" y="1214"/>
                  </a:lnTo>
                  <a:lnTo>
                    <a:pt x="593" y="1214"/>
                  </a:lnTo>
                  <a:lnTo>
                    <a:pt x="585" y="1215"/>
                  </a:lnTo>
                  <a:lnTo>
                    <a:pt x="584" y="1217"/>
                  </a:lnTo>
                  <a:lnTo>
                    <a:pt x="582" y="1220"/>
                  </a:lnTo>
                  <a:lnTo>
                    <a:pt x="581" y="1221"/>
                  </a:lnTo>
                  <a:lnTo>
                    <a:pt x="575" y="1220"/>
                  </a:lnTo>
                  <a:lnTo>
                    <a:pt x="573" y="1221"/>
                  </a:lnTo>
                  <a:lnTo>
                    <a:pt x="569" y="1226"/>
                  </a:lnTo>
                  <a:lnTo>
                    <a:pt x="562" y="1228"/>
                  </a:lnTo>
                  <a:lnTo>
                    <a:pt x="562" y="1228"/>
                  </a:lnTo>
                  <a:lnTo>
                    <a:pt x="562" y="1231"/>
                  </a:lnTo>
                  <a:lnTo>
                    <a:pt x="562" y="1232"/>
                  </a:lnTo>
                  <a:lnTo>
                    <a:pt x="562" y="1232"/>
                  </a:lnTo>
                  <a:lnTo>
                    <a:pt x="564" y="1234"/>
                  </a:lnTo>
                  <a:lnTo>
                    <a:pt x="564" y="1235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1" y="1237"/>
                  </a:lnTo>
                  <a:lnTo>
                    <a:pt x="561" y="1235"/>
                  </a:lnTo>
                  <a:lnTo>
                    <a:pt x="561" y="1234"/>
                  </a:lnTo>
                  <a:lnTo>
                    <a:pt x="561" y="1234"/>
                  </a:lnTo>
                  <a:lnTo>
                    <a:pt x="561" y="1234"/>
                  </a:lnTo>
                  <a:lnTo>
                    <a:pt x="561" y="1231"/>
                  </a:lnTo>
                  <a:lnTo>
                    <a:pt x="559" y="1229"/>
                  </a:lnTo>
                  <a:lnTo>
                    <a:pt x="558" y="1228"/>
                  </a:lnTo>
                  <a:lnTo>
                    <a:pt x="556" y="1228"/>
                  </a:lnTo>
                  <a:lnTo>
                    <a:pt x="556" y="1228"/>
                  </a:lnTo>
                  <a:lnTo>
                    <a:pt x="555" y="1229"/>
                  </a:lnTo>
                  <a:lnTo>
                    <a:pt x="553" y="1229"/>
                  </a:lnTo>
                  <a:lnTo>
                    <a:pt x="553" y="1228"/>
                  </a:lnTo>
                  <a:lnTo>
                    <a:pt x="553" y="1228"/>
                  </a:lnTo>
                  <a:lnTo>
                    <a:pt x="553" y="1226"/>
                  </a:lnTo>
                  <a:lnTo>
                    <a:pt x="552" y="1224"/>
                  </a:lnTo>
                  <a:lnTo>
                    <a:pt x="552" y="1226"/>
                  </a:lnTo>
                  <a:lnTo>
                    <a:pt x="552" y="1228"/>
                  </a:lnTo>
                  <a:lnTo>
                    <a:pt x="550" y="1229"/>
                  </a:lnTo>
                  <a:lnTo>
                    <a:pt x="550" y="1231"/>
                  </a:lnTo>
                  <a:lnTo>
                    <a:pt x="549" y="1231"/>
                  </a:lnTo>
                  <a:lnTo>
                    <a:pt x="549" y="1229"/>
                  </a:lnTo>
                  <a:lnTo>
                    <a:pt x="549" y="1228"/>
                  </a:lnTo>
                  <a:lnTo>
                    <a:pt x="549" y="1226"/>
                  </a:lnTo>
                  <a:lnTo>
                    <a:pt x="547" y="1224"/>
                  </a:lnTo>
                  <a:lnTo>
                    <a:pt x="544" y="1224"/>
                  </a:lnTo>
                  <a:lnTo>
                    <a:pt x="541" y="1228"/>
                  </a:lnTo>
                  <a:lnTo>
                    <a:pt x="539" y="1229"/>
                  </a:lnTo>
                  <a:lnTo>
                    <a:pt x="535" y="1234"/>
                  </a:lnTo>
                  <a:lnTo>
                    <a:pt x="533" y="1235"/>
                  </a:lnTo>
                  <a:lnTo>
                    <a:pt x="533" y="1237"/>
                  </a:lnTo>
                  <a:lnTo>
                    <a:pt x="535" y="1238"/>
                  </a:lnTo>
                  <a:lnTo>
                    <a:pt x="536" y="1238"/>
                  </a:lnTo>
                  <a:lnTo>
                    <a:pt x="535" y="1240"/>
                  </a:lnTo>
                  <a:lnTo>
                    <a:pt x="532" y="1240"/>
                  </a:lnTo>
                  <a:lnTo>
                    <a:pt x="530" y="1241"/>
                  </a:lnTo>
                  <a:lnTo>
                    <a:pt x="527" y="1243"/>
                  </a:lnTo>
                  <a:lnTo>
                    <a:pt x="522" y="1244"/>
                  </a:lnTo>
                  <a:lnTo>
                    <a:pt x="522" y="1244"/>
                  </a:lnTo>
                  <a:lnTo>
                    <a:pt x="521" y="1243"/>
                  </a:lnTo>
                  <a:lnTo>
                    <a:pt x="521" y="1241"/>
                  </a:lnTo>
                  <a:lnTo>
                    <a:pt x="519" y="1243"/>
                  </a:lnTo>
                  <a:lnTo>
                    <a:pt x="519" y="1244"/>
                  </a:lnTo>
                  <a:lnTo>
                    <a:pt x="521" y="1244"/>
                  </a:lnTo>
                  <a:lnTo>
                    <a:pt x="521" y="1246"/>
                  </a:lnTo>
                  <a:lnTo>
                    <a:pt x="519" y="1246"/>
                  </a:lnTo>
                  <a:lnTo>
                    <a:pt x="516" y="1244"/>
                  </a:lnTo>
                  <a:lnTo>
                    <a:pt x="515" y="1244"/>
                  </a:lnTo>
                  <a:lnTo>
                    <a:pt x="510" y="1246"/>
                  </a:lnTo>
                  <a:lnTo>
                    <a:pt x="508" y="1248"/>
                  </a:lnTo>
                  <a:lnTo>
                    <a:pt x="513" y="1252"/>
                  </a:lnTo>
                  <a:lnTo>
                    <a:pt x="513" y="1252"/>
                  </a:lnTo>
                  <a:lnTo>
                    <a:pt x="515" y="1252"/>
                  </a:lnTo>
                  <a:lnTo>
                    <a:pt x="516" y="1249"/>
                  </a:lnTo>
                  <a:lnTo>
                    <a:pt x="518" y="1249"/>
                  </a:lnTo>
                  <a:lnTo>
                    <a:pt x="518" y="1251"/>
                  </a:lnTo>
                  <a:lnTo>
                    <a:pt x="516" y="1252"/>
                  </a:lnTo>
                  <a:lnTo>
                    <a:pt x="515" y="1254"/>
                  </a:lnTo>
                  <a:lnTo>
                    <a:pt x="513" y="1254"/>
                  </a:lnTo>
                  <a:lnTo>
                    <a:pt x="512" y="1254"/>
                  </a:lnTo>
                  <a:lnTo>
                    <a:pt x="507" y="1249"/>
                  </a:lnTo>
                  <a:lnTo>
                    <a:pt x="505" y="1249"/>
                  </a:lnTo>
                  <a:lnTo>
                    <a:pt x="504" y="1249"/>
                  </a:lnTo>
                  <a:lnTo>
                    <a:pt x="493" y="1258"/>
                  </a:lnTo>
                  <a:lnTo>
                    <a:pt x="492" y="1261"/>
                  </a:lnTo>
                  <a:lnTo>
                    <a:pt x="518" y="1255"/>
                  </a:lnTo>
                  <a:lnTo>
                    <a:pt x="524" y="1252"/>
                  </a:lnTo>
                  <a:lnTo>
                    <a:pt x="525" y="1252"/>
                  </a:lnTo>
                  <a:lnTo>
                    <a:pt x="522" y="1255"/>
                  </a:lnTo>
                  <a:lnTo>
                    <a:pt x="513" y="1260"/>
                  </a:lnTo>
                  <a:lnTo>
                    <a:pt x="495" y="1263"/>
                  </a:lnTo>
                  <a:lnTo>
                    <a:pt x="493" y="1264"/>
                  </a:lnTo>
                  <a:lnTo>
                    <a:pt x="492" y="1268"/>
                  </a:lnTo>
                  <a:lnTo>
                    <a:pt x="493" y="1268"/>
                  </a:lnTo>
                  <a:lnTo>
                    <a:pt x="496" y="1268"/>
                  </a:lnTo>
                  <a:lnTo>
                    <a:pt x="499" y="1271"/>
                  </a:lnTo>
                  <a:lnTo>
                    <a:pt x="505" y="1269"/>
                  </a:lnTo>
                  <a:lnTo>
                    <a:pt x="505" y="1269"/>
                  </a:lnTo>
                  <a:lnTo>
                    <a:pt x="501" y="1277"/>
                  </a:lnTo>
                  <a:lnTo>
                    <a:pt x="499" y="1277"/>
                  </a:lnTo>
                  <a:lnTo>
                    <a:pt x="499" y="1277"/>
                  </a:lnTo>
                  <a:lnTo>
                    <a:pt x="496" y="1278"/>
                  </a:lnTo>
                  <a:lnTo>
                    <a:pt x="492" y="1281"/>
                  </a:lnTo>
                  <a:lnTo>
                    <a:pt x="492" y="1281"/>
                  </a:lnTo>
                  <a:lnTo>
                    <a:pt x="493" y="1283"/>
                  </a:lnTo>
                  <a:lnTo>
                    <a:pt x="502" y="1280"/>
                  </a:lnTo>
                  <a:lnTo>
                    <a:pt x="504" y="1278"/>
                  </a:lnTo>
                  <a:lnTo>
                    <a:pt x="505" y="1277"/>
                  </a:lnTo>
                  <a:lnTo>
                    <a:pt x="507" y="1274"/>
                  </a:lnTo>
                  <a:lnTo>
                    <a:pt x="508" y="1271"/>
                  </a:lnTo>
                  <a:lnTo>
                    <a:pt x="508" y="1269"/>
                  </a:lnTo>
                  <a:lnTo>
                    <a:pt x="510" y="1269"/>
                  </a:lnTo>
                  <a:lnTo>
                    <a:pt x="513" y="1269"/>
                  </a:lnTo>
                  <a:lnTo>
                    <a:pt x="515" y="1268"/>
                  </a:lnTo>
                  <a:lnTo>
                    <a:pt x="519" y="1263"/>
                  </a:lnTo>
                  <a:lnTo>
                    <a:pt x="519" y="1263"/>
                  </a:lnTo>
                  <a:lnTo>
                    <a:pt x="519" y="1260"/>
                  </a:lnTo>
                  <a:lnTo>
                    <a:pt x="519" y="1258"/>
                  </a:lnTo>
                  <a:lnTo>
                    <a:pt x="529" y="1255"/>
                  </a:lnTo>
                  <a:lnTo>
                    <a:pt x="541" y="1244"/>
                  </a:lnTo>
                  <a:lnTo>
                    <a:pt x="547" y="1244"/>
                  </a:lnTo>
                  <a:lnTo>
                    <a:pt x="549" y="1244"/>
                  </a:lnTo>
                  <a:lnTo>
                    <a:pt x="550" y="1241"/>
                  </a:lnTo>
                  <a:lnTo>
                    <a:pt x="552" y="1241"/>
                  </a:lnTo>
                  <a:lnTo>
                    <a:pt x="559" y="1241"/>
                  </a:lnTo>
                  <a:lnTo>
                    <a:pt x="562" y="1243"/>
                  </a:lnTo>
                  <a:lnTo>
                    <a:pt x="565" y="1248"/>
                  </a:lnTo>
                  <a:lnTo>
                    <a:pt x="553" y="1243"/>
                  </a:lnTo>
                  <a:lnTo>
                    <a:pt x="552" y="1243"/>
                  </a:lnTo>
                  <a:lnTo>
                    <a:pt x="550" y="1246"/>
                  </a:lnTo>
                  <a:lnTo>
                    <a:pt x="549" y="1248"/>
                  </a:lnTo>
                  <a:lnTo>
                    <a:pt x="547" y="1249"/>
                  </a:lnTo>
                  <a:lnTo>
                    <a:pt x="542" y="1249"/>
                  </a:lnTo>
                  <a:lnTo>
                    <a:pt x="535" y="1255"/>
                  </a:lnTo>
                  <a:lnTo>
                    <a:pt x="530" y="1255"/>
                  </a:lnTo>
                  <a:lnTo>
                    <a:pt x="529" y="1257"/>
                  </a:lnTo>
                  <a:lnTo>
                    <a:pt x="527" y="1258"/>
                  </a:lnTo>
                  <a:lnTo>
                    <a:pt x="527" y="1261"/>
                  </a:lnTo>
                  <a:lnTo>
                    <a:pt x="522" y="1263"/>
                  </a:lnTo>
                  <a:lnTo>
                    <a:pt x="524" y="1264"/>
                  </a:lnTo>
                  <a:lnTo>
                    <a:pt x="527" y="1264"/>
                  </a:lnTo>
                  <a:lnTo>
                    <a:pt x="532" y="1261"/>
                  </a:lnTo>
                  <a:lnTo>
                    <a:pt x="532" y="1263"/>
                  </a:lnTo>
                  <a:lnTo>
                    <a:pt x="532" y="1263"/>
                  </a:lnTo>
                  <a:lnTo>
                    <a:pt x="532" y="1264"/>
                  </a:lnTo>
                  <a:lnTo>
                    <a:pt x="532" y="1264"/>
                  </a:lnTo>
                  <a:lnTo>
                    <a:pt x="524" y="1266"/>
                  </a:lnTo>
                  <a:lnTo>
                    <a:pt x="521" y="1268"/>
                  </a:lnTo>
                  <a:lnTo>
                    <a:pt x="524" y="1268"/>
                  </a:lnTo>
                  <a:lnTo>
                    <a:pt x="527" y="1269"/>
                  </a:lnTo>
                  <a:lnTo>
                    <a:pt x="529" y="1269"/>
                  </a:lnTo>
                  <a:lnTo>
                    <a:pt x="529" y="1271"/>
                  </a:lnTo>
                  <a:lnTo>
                    <a:pt x="536" y="1271"/>
                  </a:lnTo>
                  <a:lnTo>
                    <a:pt x="536" y="1272"/>
                  </a:lnTo>
                  <a:lnTo>
                    <a:pt x="535" y="1272"/>
                  </a:lnTo>
                  <a:lnTo>
                    <a:pt x="533" y="1274"/>
                  </a:lnTo>
                  <a:lnTo>
                    <a:pt x="515" y="1277"/>
                  </a:lnTo>
                  <a:lnTo>
                    <a:pt x="516" y="1278"/>
                  </a:lnTo>
                  <a:lnTo>
                    <a:pt x="518" y="1278"/>
                  </a:lnTo>
                  <a:lnTo>
                    <a:pt x="518" y="1278"/>
                  </a:lnTo>
                  <a:lnTo>
                    <a:pt x="518" y="1280"/>
                  </a:lnTo>
                  <a:lnTo>
                    <a:pt x="519" y="1281"/>
                  </a:lnTo>
                  <a:lnTo>
                    <a:pt x="519" y="1281"/>
                  </a:lnTo>
                  <a:lnTo>
                    <a:pt x="518" y="1283"/>
                  </a:lnTo>
                  <a:lnTo>
                    <a:pt x="515" y="1281"/>
                  </a:lnTo>
                  <a:lnTo>
                    <a:pt x="513" y="1281"/>
                  </a:lnTo>
                  <a:lnTo>
                    <a:pt x="510" y="1285"/>
                  </a:lnTo>
                  <a:lnTo>
                    <a:pt x="505" y="1286"/>
                  </a:lnTo>
                  <a:lnTo>
                    <a:pt x="502" y="1288"/>
                  </a:lnTo>
                  <a:lnTo>
                    <a:pt x="504" y="1288"/>
                  </a:lnTo>
                  <a:lnTo>
                    <a:pt x="504" y="1288"/>
                  </a:lnTo>
                  <a:lnTo>
                    <a:pt x="505" y="1289"/>
                  </a:lnTo>
                  <a:lnTo>
                    <a:pt x="505" y="1289"/>
                  </a:lnTo>
                  <a:lnTo>
                    <a:pt x="505" y="1291"/>
                  </a:lnTo>
                  <a:lnTo>
                    <a:pt x="504" y="1291"/>
                  </a:lnTo>
                  <a:lnTo>
                    <a:pt x="504" y="1291"/>
                  </a:lnTo>
                  <a:lnTo>
                    <a:pt x="502" y="1291"/>
                  </a:lnTo>
                  <a:lnTo>
                    <a:pt x="502" y="1294"/>
                  </a:lnTo>
                  <a:lnTo>
                    <a:pt x="504" y="1295"/>
                  </a:lnTo>
                  <a:lnTo>
                    <a:pt x="504" y="1297"/>
                  </a:lnTo>
                  <a:lnTo>
                    <a:pt x="505" y="1297"/>
                  </a:lnTo>
                  <a:lnTo>
                    <a:pt x="505" y="1298"/>
                  </a:lnTo>
                  <a:lnTo>
                    <a:pt x="505" y="1300"/>
                  </a:lnTo>
                  <a:lnTo>
                    <a:pt x="505" y="1300"/>
                  </a:lnTo>
                  <a:lnTo>
                    <a:pt x="507" y="1301"/>
                  </a:lnTo>
                  <a:lnTo>
                    <a:pt x="507" y="1303"/>
                  </a:lnTo>
                  <a:lnTo>
                    <a:pt x="508" y="1305"/>
                  </a:lnTo>
                  <a:lnTo>
                    <a:pt x="510" y="1306"/>
                  </a:lnTo>
                  <a:lnTo>
                    <a:pt x="510" y="1308"/>
                  </a:lnTo>
                  <a:lnTo>
                    <a:pt x="512" y="1311"/>
                  </a:lnTo>
                  <a:lnTo>
                    <a:pt x="515" y="1312"/>
                  </a:lnTo>
                  <a:lnTo>
                    <a:pt x="516" y="1311"/>
                  </a:lnTo>
                  <a:lnTo>
                    <a:pt x="518" y="1306"/>
                  </a:lnTo>
                  <a:lnTo>
                    <a:pt x="518" y="1306"/>
                  </a:lnTo>
                  <a:lnTo>
                    <a:pt x="516" y="1306"/>
                  </a:lnTo>
                  <a:lnTo>
                    <a:pt x="516" y="1306"/>
                  </a:lnTo>
                  <a:lnTo>
                    <a:pt x="515" y="1306"/>
                  </a:lnTo>
                  <a:lnTo>
                    <a:pt x="516" y="1305"/>
                  </a:lnTo>
                  <a:lnTo>
                    <a:pt x="518" y="1301"/>
                  </a:lnTo>
                  <a:lnTo>
                    <a:pt x="519" y="1301"/>
                  </a:lnTo>
                  <a:lnTo>
                    <a:pt x="521" y="1301"/>
                  </a:lnTo>
                  <a:lnTo>
                    <a:pt x="521" y="1303"/>
                  </a:lnTo>
                  <a:lnTo>
                    <a:pt x="521" y="1306"/>
                  </a:lnTo>
                  <a:lnTo>
                    <a:pt x="521" y="1308"/>
                  </a:lnTo>
                  <a:lnTo>
                    <a:pt x="521" y="1309"/>
                  </a:lnTo>
                  <a:lnTo>
                    <a:pt x="522" y="1308"/>
                  </a:lnTo>
                  <a:lnTo>
                    <a:pt x="532" y="1306"/>
                  </a:lnTo>
                  <a:lnTo>
                    <a:pt x="530" y="1309"/>
                  </a:lnTo>
                  <a:lnTo>
                    <a:pt x="522" y="1311"/>
                  </a:lnTo>
                  <a:lnTo>
                    <a:pt x="516" y="1317"/>
                  </a:lnTo>
                  <a:lnTo>
                    <a:pt x="515" y="1317"/>
                  </a:lnTo>
                  <a:lnTo>
                    <a:pt x="515" y="1315"/>
                  </a:lnTo>
                  <a:lnTo>
                    <a:pt x="516" y="1314"/>
                  </a:lnTo>
                  <a:lnTo>
                    <a:pt x="512" y="1315"/>
                  </a:lnTo>
                  <a:lnTo>
                    <a:pt x="512" y="1317"/>
                  </a:lnTo>
                  <a:lnTo>
                    <a:pt x="512" y="1317"/>
                  </a:lnTo>
                  <a:lnTo>
                    <a:pt x="513" y="1318"/>
                  </a:lnTo>
                  <a:lnTo>
                    <a:pt x="513" y="1318"/>
                  </a:lnTo>
                  <a:lnTo>
                    <a:pt x="513" y="1320"/>
                  </a:lnTo>
                  <a:lnTo>
                    <a:pt x="513" y="1320"/>
                  </a:lnTo>
                  <a:lnTo>
                    <a:pt x="508" y="1320"/>
                  </a:lnTo>
                  <a:lnTo>
                    <a:pt x="508" y="1321"/>
                  </a:lnTo>
                  <a:lnTo>
                    <a:pt x="507" y="1325"/>
                  </a:lnTo>
                  <a:lnTo>
                    <a:pt x="507" y="1328"/>
                  </a:lnTo>
                  <a:lnTo>
                    <a:pt x="505" y="1329"/>
                  </a:lnTo>
                  <a:lnTo>
                    <a:pt x="522" y="1326"/>
                  </a:lnTo>
                  <a:lnTo>
                    <a:pt x="519" y="1329"/>
                  </a:lnTo>
                  <a:lnTo>
                    <a:pt x="512" y="1329"/>
                  </a:lnTo>
                  <a:lnTo>
                    <a:pt x="508" y="1332"/>
                  </a:lnTo>
                  <a:lnTo>
                    <a:pt x="507" y="1334"/>
                  </a:lnTo>
                  <a:lnTo>
                    <a:pt x="507" y="1334"/>
                  </a:lnTo>
                  <a:lnTo>
                    <a:pt x="505" y="1334"/>
                  </a:lnTo>
                  <a:lnTo>
                    <a:pt x="504" y="1332"/>
                  </a:lnTo>
                  <a:lnTo>
                    <a:pt x="504" y="1332"/>
                  </a:lnTo>
                  <a:lnTo>
                    <a:pt x="504" y="1332"/>
                  </a:lnTo>
                  <a:lnTo>
                    <a:pt x="501" y="1337"/>
                  </a:lnTo>
                  <a:lnTo>
                    <a:pt x="501" y="1338"/>
                  </a:lnTo>
                  <a:lnTo>
                    <a:pt x="501" y="1338"/>
                  </a:lnTo>
                  <a:lnTo>
                    <a:pt x="502" y="1340"/>
                  </a:lnTo>
                  <a:lnTo>
                    <a:pt x="502" y="1341"/>
                  </a:lnTo>
                  <a:lnTo>
                    <a:pt x="496" y="1346"/>
                  </a:lnTo>
                  <a:lnTo>
                    <a:pt x="493" y="1351"/>
                  </a:lnTo>
                  <a:lnTo>
                    <a:pt x="492" y="1354"/>
                  </a:lnTo>
                  <a:lnTo>
                    <a:pt x="490" y="1354"/>
                  </a:lnTo>
                  <a:lnTo>
                    <a:pt x="493" y="1346"/>
                  </a:lnTo>
                  <a:lnTo>
                    <a:pt x="498" y="1341"/>
                  </a:lnTo>
                  <a:lnTo>
                    <a:pt x="498" y="1338"/>
                  </a:lnTo>
                  <a:lnTo>
                    <a:pt x="499" y="1335"/>
                  </a:lnTo>
                  <a:lnTo>
                    <a:pt x="498" y="1334"/>
                  </a:lnTo>
                  <a:lnTo>
                    <a:pt x="496" y="1332"/>
                  </a:lnTo>
                  <a:lnTo>
                    <a:pt x="493" y="1331"/>
                  </a:lnTo>
                  <a:lnTo>
                    <a:pt x="492" y="1332"/>
                  </a:lnTo>
                  <a:lnTo>
                    <a:pt x="487" y="1334"/>
                  </a:lnTo>
                  <a:lnTo>
                    <a:pt x="485" y="1332"/>
                  </a:lnTo>
                  <a:lnTo>
                    <a:pt x="487" y="1329"/>
                  </a:lnTo>
                  <a:lnTo>
                    <a:pt x="487" y="1328"/>
                  </a:lnTo>
                  <a:lnTo>
                    <a:pt x="485" y="1325"/>
                  </a:lnTo>
                  <a:lnTo>
                    <a:pt x="481" y="1320"/>
                  </a:lnTo>
                  <a:lnTo>
                    <a:pt x="479" y="1320"/>
                  </a:lnTo>
                  <a:lnTo>
                    <a:pt x="479" y="1320"/>
                  </a:lnTo>
                  <a:lnTo>
                    <a:pt x="478" y="1317"/>
                  </a:lnTo>
                  <a:lnTo>
                    <a:pt x="478" y="1315"/>
                  </a:lnTo>
                  <a:lnTo>
                    <a:pt x="478" y="1312"/>
                  </a:lnTo>
                  <a:lnTo>
                    <a:pt x="478" y="1311"/>
                  </a:lnTo>
                  <a:lnTo>
                    <a:pt x="478" y="1309"/>
                  </a:lnTo>
                  <a:lnTo>
                    <a:pt x="473" y="1308"/>
                  </a:lnTo>
                  <a:lnTo>
                    <a:pt x="472" y="1306"/>
                  </a:lnTo>
                  <a:lnTo>
                    <a:pt x="470" y="1306"/>
                  </a:lnTo>
                  <a:lnTo>
                    <a:pt x="470" y="1306"/>
                  </a:lnTo>
                  <a:lnTo>
                    <a:pt x="470" y="1306"/>
                  </a:lnTo>
                  <a:lnTo>
                    <a:pt x="470" y="1308"/>
                  </a:lnTo>
                  <a:lnTo>
                    <a:pt x="470" y="1308"/>
                  </a:lnTo>
                  <a:lnTo>
                    <a:pt x="468" y="1309"/>
                  </a:lnTo>
                  <a:lnTo>
                    <a:pt x="468" y="1309"/>
                  </a:lnTo>
                  <a:lnTo>
                    <a:pt x="467" y="1309"/>
                  </a:lnTo>
                  <a:lnTo>
                    <a:pt x="467" y="1311"/>
                  </a:lnTo>
                  <a:lnTo>
                    <a:pt x="468" y="1311"/>
                  </a:lnTo>
                  <a:lnTo>
                    <a:pt x="468" y="1312"/>
                  </a:lnTo>
                  <a:lnTo>
                    <a:pt x="470" y="1314"/>
                  </a:lnTo>
                  <a:lnTo>
                    <a:pt x="470" y="1314"/>
                  </a:lnTo>
                  <a:lnTo>
                    <a:pt x="470" y="1317"/>
                  </a:lnTo>
                  <a:lnTo>
                    <a:pt x="470" y="1318"/>
                  </a:lnTo>
                  <a:lnTo>
                    <a:pt x="470" y="1320"/>
                  </a:lnTo>
                  <a:lnTo>
                    <a:pt x="472" y="1321"/>
                  </a:lnTo>
                  <a:lnTo>
                    <a:pt x="472" y="1321"/>
                  </a:lnTo>
                  <a:lnTo>
                    <a:pt x="468" y="1321"/>
                  </a:lnTo>
                  <a:lnTo>
                    <a:pt x="468" y="1321"/>
                  </a:lnTo>
                  <a:lnTo>
                    <a:pt x="468" y="1321"/>
                  </a:lnTo>
                  <a:lnTo>
                    <a:pt x="468" y="1323"/>
                  </a:lnTo>
                  <a:lnTo>
                    <a:pt x="470" y="1326"/>
                  </a:lnTo>
                  <a:lnTo>
                    <a:pt x="470" y="1326"/>
                  </a:lnTo>
                  <a:lnTo>
                    <a:pt x="468" y="1326"/>
                  </a:lnTo>
                  <a:lnTo>
                    <a:pt x="468" y="1325"/>
                  </a:lnTo>
                  <a:lnTo>
                    <a:pt x="467" y="1325"/>
                  </a:lnTo>
                  <a:lnTo>
                    <a:pt x="467" y="1325"/>
                  </a:lnTo>
                  <a:lnTo>
                    <a:pt x="467" y="1326"/>
                  </a:lnTo>
                  <a:lnTo>
                    <a:pt x="465" y="1328"/>
                  </a:lnTo>
                  <a:lnTo>
                    <a:pt x="465" y="1328"/>
                  </a:lnTo>
                  <a:lnTo>
                    <a:pt x="464" y="1325"/>
                  </a:lnTo>
                  <a:lnTo>
                    <a:pt x="462" y="1323"/>
                  </a:lnTo>
                  <a:lnTo>
                    <a:pt x="461" y="1321"/>
                  </a:lnTo>
                  <a:lnTo>
                    <a:pt x="459" y="1321"/>
                  </a:lnTo>
                  <a:lnTo>
                    <a:pt x="459" y="1323"/>
                  </a:lnTo>
                  <a:lnTo>
                    <a:pt x="461" y="1325"/>
                  </a:lnTo>
                  <a:lnTo>
                    <a:pt x="461" y="1326"/>
                  </a:lnTo>
                  <a:lnTo>
                    <a:pt x="462" y="1329"/>
                  </a:lnTo>
                  <a:lnTo>
                    <a:pt x="461" y="1329"/>
                  </a:lnTo>
                  <a:lnTo>
                    <a:pt x="459" y="1328"/>
                  </a:lnTo>
                  <a:lnTo>
                    <a:pt x="458" y="1326"/>
                  </a:lnTo>
                  <a:lnTo>
                    <a:pt x="456" y="1326"/>
                  </a:lnTo>
                  <a:lnTo>
                    <a:pt x="456" y="1328"/>
                  </a:lnTo>
                  <a:lnTo>
                    <a:pt x="455" y="1328"/>
                  </a:lnTo>
                  <a:lnTo>
                    <a:pt x="455" y="1329"/>
                  </a:lnTo>
                  <a:lnTo>
                    <a:pt x="455" y="1329"/>
                  </a:lnTo>
                  <a:lnTo>
                    <a:pt x="455" y="1329"/>
                  </a:lnTo>
                  <a:lnTo>
                    <a:pt x="453" y="1328"/>
                  </a:lnTo>
                  <a:lnTo>
                    <a:pt x="451" y="1328"/>
                  </a:lnTo>
                  <a:lnTo>
                    <a:pt x="450" y="1329"/>
                  </a:lnTo>
                  <a:lnTo>
                    <a:pt x="448" y="1331"/>
                  </a:lnTo>
                  <a:lnTo>
                    <a:pt x="448" y="1332"/>
                  </a:lnTo>
                  <a:lnTo>
                    <a:pt x="448" y="1332"/>
                  </a:lnTo>
                  <a:lnTo>
                    <a:pt x="450" y="1334"/>
                  </a:lnTo>
                  <a:lnTo>
                    <a:pt x="455" y="1332"/>
                  </a:lnTo>
                  <a:lnTo>
                    <a:pt x="456" y="1334"/>
                  </a:lnTo>
                  <a:lnTo>
                    <a:pt x="458" y="1335"/>
                  </a:lnTo>
                  <a:lnTo>
                    <a:pt x="459" y="1337"/>
                  </a:lnTo>
                  <a:lnTo>
                    <a:pt x="458" y="1338"/>
                  </a:lnTo>
                  <a:lnTo>
                    <a:pt x="459" y="1340"/>
                  </a:lnTo>
                  <a:lnTo>
                    <a:pt x="462" y="1345"/>
                  </a:lnTo>
                  <a:lnTo>
                    <a:pt x="461" y="1346"/>
                  </a:lnTo>
                  <a:lnTo>
                    <a:pt x="459" y="1346"/>
                  </a:lnTo>
                  <a:lnTo>
                    <a:pt x="455" y="1341"/>
                  </a:lnTo>
                  <a:lnTo>
                    <a:pt x="455" y="1341"/>
                  </a:lnTo>
                  <a:lnTo>
                    <a:pt x="455" y="1340"/>
                  </a:lnTo>
                  <a:lnTo>
                    <a:pt x="455" y="1338"/>
                  </a:lnTo>
                  <a:lnTo>
                    <a:pt x="453" y="1338"/>
                  </a:lnTo>
                  <a:lnTo>
                    <a:pt x="453" y="1337"/>
                  </a:lnTo>
                  <a:lnTo>
                    <a:pt x="448" y="1337"/>
                  </a:lnTo>
                  <a:lnTo>
                    <a:pt x="448" y="1337"/>
                  </a:lnTo>
                  <a:lnTo>
                    <a:pt x="447" y="1334"/>
                  </a:lnTo>
                  <a:lnTo>
                    <a:pt x="447" y="1334"/>
                  </a:lnTo>
                  <a:lnTo>
                    <a:pt x="445" y="1334"/>
                  </a:lnTo>
                  <a:lnTo>
                    <a:pt x="445" y="1332"/>
                  </a:lnTo>
                  <a:lnTo>
                    <a:pt x="444" y="1332"/>
                  </a:lnTo>
                  <a:lnTo>
                    <a:pt x="444" y="1332"/>
                  </a:lnTo>
                  <a:lnTo>
                    <a:pt x="444" y="1334"/>
                  </a:lnTo>
                  <a:lnTo>
                    <a:pt x="442" y="1335"/>
                  </a:lnTo>
                  <a:lnTo>
                    <a:pt x="442" y="1335"/>
                  </a:lnTo>
                  <a:lnTo>
                    <a:pt x="444" y="1335"/>
                  </a:lnTo>
                  <a:lnTo>
                    <a:pt x="444" y="1337"/>
                  </a:lnTo>
                  <a:lnTo>
                    <a:pt x="444" y="1335"/>
                  </a:lnTo>
                  <a:lnTo>
                    <a:pt x="445" y="1337"/>
                  </a:lnTo>
                  <a:lnTo>
                    <a:pt x="445" y="1338"/>
                  </a:lnTo>
                  <a:lnTo>
                    <a:pt x="445" y="1341"/>
                  </a:lnTo>
                  <a:lnTo>
                    <a:pt x="444" y="1340"/>
                  </a:lnTo>
                  <a:lnTo>
                    <a:pt x="439" y="1335"/>
                  </a:lnTo>
                  <a:lnTo>
                    <a:pt x="438" y="1335"/>
                  </a:lnTo>
                  <a:lnTo>
                    <a:pt x="436" y="1335"/>
                  </a:lnTo>
                  <a:lnTo>
                    <a:pt x="435" y="1337"/>
                  </a:lnTo>
                  <a:lnTo>
                    <a:pt x="435" y="1338"/>
                  </a:lnTo>
                  <a:lnTo>
                    <a:pt x="433" y="1340"/>
                  </a:lnTo>
                  <a:lnTo>
                    <a:pt x="441" y="1340"/>
                  </a:lnTo>
                  <a:lnTo>
                    <a:pt x="441" y="1340"/>
                  </a:lnTo>
                  <a:lnTo>
                    <a:pt x="441" y="1341"/>
                  </a:lnTo>
                  <a:lnTo>
                    <a:pt x="441" y="1341"/>
                  </a:lnTo>
                  <a:lnTo>
                    <a:pt x="442" y="1341"/>
                  </a:lnTo>
                  <a:lnTo>
                    <a:pt x="442" y="1341"/>
                  </a:lnTo>
                  <a:lnTo>
                    <a:pt x="444" y="1343"/>
                  </a:lnTo>
                  <a:lnTo>
                    <a:pt x="444" y="1343"/>
                  </a:lnTo>
                  <a:lnTo>
                    <a:pt x="444" y="1345"/>
                  </a:lnTo>
                  <a:lnTo>
                    <a:pt x="444" y="1346"/>
                  </a:lnTo>
                  <a:lnTo>
                    <a:pt x="445" y="1348"/>
                  </a:lnTo>
                  <a:lnTo>
                    <a:pt x="447" y="1346"/>
                  </a:lnTo>
                  <a:lnTo>
                    <a:pt x="447" y="1348"/>
                  </a:lnTo>
                  <a:lnTo>
                    <a:pt x="445" y="1349"/>
                  </a:lnTo>
                  <a:lnTo>
                    <a:pt x="444" y="1349"/>
                  </a:lnTo>
                  <a:lnTo>
                    <a:pt x="441" y="1346"/>
                  </a:lnTo>
                  <a:lnTo>
                    <a:pt x="439" y="1346"/>
                  </a:lnTo>
                  <a:lnTo>
                    <a:pt x="436" y="1346"/>
                  </a:lnTo>
                  <a:lnTo>
                    <a:pt x="436" y="1346"/>
                  </a:lnTo>
                  <a:lnTo>
                    <a:pt x="439" y="1349"/>
                  </a:lnTo>
                  <a:lnTo>
                    <a:pt x="441" y="1351"/>
                  </a:lnTo>
                  <a:lnTo>
                    <a:pt x="441" y="1352"/>
                  </a:lnTo>
                  <a:lnTo>
                    <a:pt x="438" y="1349"/>
                  </a:lnTo>
                  <a:lnTo>
                    <a:pt x="436" y="1348"/>
                  </a:lnTo>
                  <a:lnTo>
                    <a:pt x="435" y="1348"/>
                  </a:lnTo>
                  <a:lnTo>
                    <a:pt x="435" y="1349"/>
                  </a:lnTo>
                  <a:lnTo>
                    <a:pt x="435" y="1349"/>
                  </a:lnTo>
                  <a:lnTo>
                    <a:pt x="433" y="1349"/>
                  </a:lnTo>
                  <a:lnTo>
                    <a:pt x="433" y="1352"/>
                  </a:lnTo>
                  <a:lnTo>
                    <a:pt x="433" y="1355"/>
                  </a:lnTo>
                  <a:lnTo>
                    <a:pt x="433" y="1357"/>
                  </a:lnTo>
                  <a:lnTo>
                    <a:pt x="436" y="1357"/>
                  </a:lnTo>
                  <a:lnTo>
                    <a:pt x="436" y="1358"/>
                  </a:lnTo>
                  <a:lnTo>
                    <a:pt x="435" y="1358"/>
                  </a:lnTo>
                  <a:lnTo>
                    <a:pt x="433" y="1358"/>
                  </a:lnTo>
                  <a:lnTo>
                    <a:pt x="433" y="1360"/>
                  </a:lnTo>
                  <a:lnTo>
                    <a:pt x="431" y="1360"/>
                  </a:lnTo>
                  <a:lnTo>
                    <a:pt x="430" y="1360"/>
                  </a:lnTo>
                  <a:lnTo>
                    <a:pt x="428" y="1360"/>
                  </a:lnTo>
                  <a:lnTo>
                    <a:pt x="428" y="1361"/>
                  </a:lnTo>
                  <a:lnTo>
                    <a:pt x="428" y="1363"/>
                  </a:lnTo>
                  <a:lnTo>
                    <a:pt x="425" y="1361"/>
                  </a:lnTo>
                  <a:lnTo>
                    <a:pt x="424" y="1361"/>
                  </a:lnTo>
                  <a:lnTo>
                    <a:pt x="424" y="1365"/>
                  </a:lnTo>
                  <a:lnTo>
                    <a:pt x="424" y="1365"/>
                  </a:lnTo>
                  <a:lnTo>
                    <a:pt x="421" y="1366"/>
                  </a:lnTo>
                  <a:lnTo>
                    <a:pt x="418" y="1368"/>
                  </a:lnTo>
                  <a:lnTo>
                    <a:pt x="418" y="1369"/>
                  </a:lnTo>
                  <a:lnTo>
                    <a:pt x="424" y="1371"/>
                  </a:lnTo>
                  <a:lnTo>
                    <a:pt x="427" y="1374"/>
                  </a:lnTo>
                  <a:lnTo>
                    <a:pt x="427" y="1377"/>
                  </a:lnTo>
                  <a:lnTo>
                    <a:pt x="427" y="1377"/>
                  </a:lnTo>
                  <a:lnTo>
                    <a:pt x="422" y="1374"/>
                  </a:lnTo>
                  <a:lnTo>
                    <a:pt x="421" y="1374"/>
                  </a:lnTo>
                  <a:lnTo>
                    <a:pt x="418" y="1374"/>
                  </a:lnTo>
                  <a:lnTo>
                    <a:pt x="416" y="1374"/>
                  </a:lnTo>
                  <a:lnTo>
                    <a:pt x="416" y="1374"/>
                  </a:lnTo>
                  <a:lnTo>
                    <a:pt x="416" y="1375"/>
                  </a:lnTo>
                  <a:lnTo>
                    <a:pt x="416" y="1375"/>
                  </a:lnTo>
                  <a:lnTo>
                    <a:pt x="416" y="1375"/>
                  </a:lnTo>
                  <a:lnTo>
                    <a:pt x="415" y="1375"/>
                  </a:lnTo>
                  <a:lnTo>
                    <a:pt x="413" y="1375"/>
                  </a:lnTo>
                  <a:lnTo>
                    <a:pt x="411" y="1375"/>
                  </a:lnTo>
                  <a:lnTo>
                    <a:pt x="411" y="1375"/>
                  </a:lnTo>
                  <a:lnTo>
                    <a:pt x="411" y="1375"/>
                  </a:lnTo>
                  <a:lnTo>
                    <a:pt x="413" y="1377"/>
                  </a:lnTo>
                  <a:lnTo>
                    <a:pt x="413" y="1377"/>
                  </a:lnTo>
                  <a:lnTo>
                    <a:pt x="413" y="1378"/>
                  </a:lnTo>
                  <a:lnTo>
                    <a:pt x="413" y="1380"/>
                  </a:lnTo>
                  <a:lnTo>
                    <a:pt x="413" y="1382"/>
                  </a:lnTo>
                  <a:lnTo>
                    <a:pt x="415" y="1382"/>
                  </a:lnTo>
                  <a:lnTo>
                    <a:pt x="411" y="1382"/>
                  </a:lnTo>
                  <a:lnTo>
                    <a:pt x="411" y="1383"/>
                  </a:lnTo>
                  <a:lnTo>
                    <a:pt x="411" y="1383"/>
                  </a:lnTo>
                  <a:lnTo>
                    <a:pt x="411" y="1386"/>
                  </a:lnTo>
                  <a:lnTo>
                    <a:pt x="410" y="1385"/>
                  </a:lnTo>
                  <a:lnTo>
                    <a:pt x="408" y="1385"/>
                  </a:lnTo>
                  <a:lnTo>
                    <a:pt x="408" y="1386"/>
                  </a:lnTo>
                  <a:lnTo>
                    <a:pt x="407" y="1389"/>
                  </a:lnTo>
                  <a:lnTo>
                    <a:pt x="413" y="1389"/>
                  </a:lnTo>
                  <a:lnTo>
                    <a:pt x="415" y="1388"/>
                  </a:lnTo>
                  <a:lnTo>
                    <a:pt x="415" y="1391"/>
                  </a:lnTo>
                  <a:lnTo>
                    <a:pt x="413" y="1392"/>
                  </a:lnTo>
                  <a:lnTo>
                    <a:pt x="407" y="1394"/>
                  </a:lnTo>
                  <a:lnTo>
                    <a:pt x="407" y="1394"/>
                  </a:lnTo>
                  <a:lnTo>
                    <a:pt x="405" y="1392"/>
                  </a:lnTo>
                  <a:lnTo>
                    <a:pt x="402" y="1389"/>
                  </a:lnTo>
                  <a:lnTo>
                    <a:pt x="401" y="1389"/>
                  </a:lnTo>
                  <a:lnTo>
                    <a:pt x="399" y="1391"/>
                  </a:lnTo>
                  <a:lnTo>
                    <a:pt x="399" y="1392"/>
                  </a:lnTo>
                  <a:lnTo>
                    <a:pt x="399" y="1395"/>
                  </a:lnTo>
                  <a:lnTo>
                    <a:pt x="401" y="1397"/>
                  </a:lnTo>
                  <a:lnTo>
                    <a:pt x="401" y="1398"/>
                  </a:lnTo>
                  <a:lnTo>
                    <a:pt x="401" y="1400"/>
                  </a:lnTo>
                  <a:lnTo>
                    <a:pt x="401" y="1402"/>
                  </a:lnTo>
                  <a:lnTo>
                    <a:pt x="401" y="1403"/>
                  </a:lnTo>
                  <a:lnTo>
                    <a:pt x="399" y="1403"/>
                  </a:lnTo>
                  <a:lnTo>
                    <a:pt x="399" y="1405"/>
                  </a:lnTo>
                  <a:lnTo>
                    <a:pt x="398" y="1408"/>
                  </a:lnTo>
                  <a:lnTo>
                    <a:pt x="398" y="1409"/>
                  </a:lnTo>
                  <a:lnTo>
                    <a:pt x="398" y="1412"/>
                  </a:lnTo>
                  <a:lnTo>
                    <a:pt x="395" y="1414"/>
                  </a:lnTo>
                  <a:lnTo>
                    <a:pt x="395" y="1415"/>
                  </a:lnTo>
                  <a:lnTo>
                    <a:pt x="396" y="1415"/>
                  </a:lnTo>
                  <a:lnTo>
                    <a:pt x="399" y="1415"/>
                  </a:lnTo>
                  <a:lnTo>
                    <a:pt x="404" y="1411"/>
                  </a:lnTo>
                  <a:lnTo>
                    <a:pt x="404" y="1412"/>
                  </a:lnTo>
                  <a:lnTo>
                    <a:pt x="404" y="1412"/>
                  </a:lnTo>
                  <a:lnTo>
                    <a:pt x="405" y="1414"/>
                  </a:lnTo>
                  <a:lnTo>
                    <a:pt x="405" y="1412"/>
                  </a:lnTo>
                  <a:lnTo>
                    <a:pt x="407" y="1412"/>
                  </a:lnTo>
                  <a:lnTo>
                    <a:pt x="407" y="1411"/>
                  </a:lnTo>
                  <a:lnTo>
                    <a:pt x="408" y="1411"/>
                  </a:lnTo>
                  <a:lnTo>
                    <a:pt x="405" y="1414"/>
                  </a:lnTo>
                  <a:lnTo>
                    <a:pt x="398" y="1418"/>
                  </a:lnTo>
                  <a:lnTo>
                    <a:pt x="395" y="1423"/>
                  </a:lnTo>
                  <a:lnTo>
                    <a:pt x="396" y="1423"/>
                  </a:lnTo>
                  <a:lnTo>
                    <a:pt x="399" y="1422"/>
                  </a:lnTo>
                  <a:lnTo>
                    <a:pt x="401" y="1420"/>
                  </a:lnTo>
                  <a:lnTo>
                    <a:pt x="404" y="1418"/>
                  </a:lnTo>
                  <a:lnTo>
                    <a:pt x="407" y="1417"/>
                  </a:lnTo>
                  <a:lnTo>
                    <a:pt x="408" y="1415"/>
                  </a:lnTo>
                  <a:lnTo>
                    <a:pt x="410" y="1415"/>
                  </a:lnTo>
                  <a:lnTo>
                    <a:pt x="411" y="1415"/>
                  </a:lnTo>
                  <a:lnTo>
                    <a:pt x="411" y="1415"/>
                  </a:lnTo>
                  <a:lnTo>
                    <a:pt x="415" y="1420"/>
                  </a:lnTo>
                  <a:lnTo>
                    <a:pt x="411" y="1420"/>
                  </a:lnTo>
                  <a:lnTo>
                    <a:pt x="408" y="1418"/>
                  </a:lnTo>
                  <a:lnTo>
                    <a:pt x="404" y="1423"/>
                  </a:lnTo>
                  <a:lnTo>
                    <a:pt x="398" y="1425"/>
                  </a:lnTo>
                  <a:lnTo>
                    <a:pt x="395" y="1428"/>
                  </a:lnTo>
                  <a:lnTo>
                    <a:pt x="393" y="1429"/>
                  </a:lnTo>
                  <a:lnTo>
                    <a:pt x="391" y="1428"/>
                  </a:lnTo>
                  <a:lnTo>
                    <a:pt x="393" y="1428"/>
                  </a:lnTo>
                  <a:lnTo>
                    <a:pt x="393" y="1428"/>
                  </a:lnTo>
                  <a:lnTo>
                    <a:pt x="393" y="1426"/>
                  </a:lnTo>
                  <a:lnTo>
                    <a:pt x="391" y="1425"/>
                  </a:lnTo>
                  <a:lnTo>
                    <a:pt x="384" y="1429"/>
                  </a:lnTo>
                  <a:lnTo>
                    <a:pt x="385" y="1431"/>
                  </a:lnTo>
                  <a:lnTo>
                    <a:pt x="387" y="1431"/>
                  </a:lnTo>
                  <a:lnTo>
                    <a:pt x="390" y="1431"/>
                  </a:lnTo>
                  <a:lnTo>
                    <a:pt x="390" y="1432"/>
                  </a:lnTo>
                  <a:lnTo>
                    <a:pt x="387" y="1432"/>
                  </a:lnTo>
                  <a:lnTo>
                    <a:pt x="374" y="1440"/>
                  </a:lnTo>
                  <a:lnTo>
                    <a:pt x="365" y="1446"/>
                  </a:lnTo>
                  <a:lnTo>
                    <a:pt x="368" y="1449"/>
                  </a:lnTo>
                  <a:lnTo>
                    <a:pt x="382" y="1446"/>
                  </a:lnTo>
                  <a:lnTo>
                    <a:pt x="382" y="1448"/>
                  </a:lnTo>
                  <a:lnTo>
                    <a:pt x="378" y="1449"/>
                  </a:lnTo>
                  <a:lnTo>
                    <a:pt x="365" y="1455"/>
                  </a:lnTo>
                  <a:lnTo>
                    <a:pt x="365" y="1455"/>
                  </a:lnTo>
                  <a:lnTo>
                    <a:pt x="367" y="1459"/>
                  </a:lnTo>
                  <a:lnTo>
                    <a:pt x="365" y="1462"/>
                  </a:lnTo>
                  <a:lnTo>
                    <a:pt x="365" y="1465"/>
                  </a:lnTo>
                  <a:lnTo>
                    <a:pt x="368" y="1465"/>
                  </a:lnTo>
                  <a:lnTo>
                    <a:pt x="371" y="1462"/>
                  </a:lnTo>
                  <a:lnTo>
                    <a:pt x="371" y="1462"/>
                  </a:lnTo>
                  <a:lnTo>
                    <a:pt x="371" y="1462"/>
                  </a:lnTo>
                  <a:lnTo>
                    <a:pt x="373" y="1462"/>
                  </a:lnTo>
                  <a:lnTo>
                    <a:pt x="373" y="1462"/>
                  </a:lnTo>
                  <a:lnTo>
                    <a:pt x="373" y="1462"/>
                  </a:lnTo>
                  <a:lnTo>
                    <a:pt x="373" y="1460"/>
                  </a:lnTo>
                  <a:lnTo>
                    <a:pt x="373" y="1460"/>
                  </a:lnTo>
                  <a:lnTo>
                    <a:pt x="379" y="1459"/>
                  </a:lnTo>
                  <a:lnTo>
                    <a:pt x="382" y="1455"/>
                  </a:lnTo>
                  <a:lnTo>
                    <a:pt x="388" y="1454"/>
                  </a:lnTo>
                  <a:lnTo>
                    <a:pt x="391" y="1449"/>
                  </a:lnTo>
                  <a:lnTo>
                    <a:pt x="396" y="1448"/>
                  </a:lnTo>
                  <a:lnTo>
                    <a:pt x="398" y="1448"/>
                  </a:lnTo>
                  <a:lnTo>
                    <a:pt x="399" y="1448"/>
                  </a:lnTo>
                  <a:lnTo>
                    <a:pt x="401" y="1446"/>
                  </a:lnTo>
                  <a:lnTo>
                    <a:pt x="401" y="1445"/>
                  </a:lnTo>
                  <a:lnTo>
                    <a:pt x="402" y="1446"/>
                  </a:lnTo>
                  <a:lnTo>
                    <a:pt x="401" y="1448"/>
                  </a:lnTo>
                  <a:lnTo>
                    <a:pt x="401" y="1448"/>
                  </a:lnTo>
                  <a:lnTo>
                    <a:pt x="399" y="1449"/>
                  </a:lnTo>
                  <a:lnTo>
                    <a:pt x="399" y="1452"/>
                  </a:lnTo>
                  <a:lnTo>
                    <a:pt x="401" y="1451"/>
                  </a:lnTo>
                  <a:lnTo>
                    <a:pt x="405" y="1448"/>
                  </a:lnTo>
                  <a:lnTo>
                    <a:pt x="407" y="1448"/>
                  </a:lnTo>
                  <a:lnTo>
                    <a:pt x="404" y="1451"/>
                  </a:lnTo>
                  <a:lnTo>
                    <a:pt x="402" y="1454"/>
                  </a:lnTo>
                  <a:lnTo>
                    <a:pt x="399" y="1455"/>
                  </a:lnTo>
                  <a:lnTo>
                    <a:pt x="393" y="1457"/>
                  </a:lnTo>
                  <a:lnTo>
                    <a:pt x="387" y="1460"/>
                  </a:lnTo>
                  <a:lnTo>
                    <a:pt x="384" y="1460"/>
                  </a:lnTo>
                  <a:lnTo>
                    <a:pt x="384" y="1463"/>
                  </a:lnTo>
                  <a:lnTo>
                    <a:pt x="385" y="1463"/>
                  </a:lnTo>
                  <a:lnTo>
                    <a:pt x="384" y="1463"/>
                  </a:lnTo>
                  <a:lnTo>
                    <a:pt x="384" y="1465"/>
                  </a:lnTo>
                  <a:lnTo>
                    <a:pt x="384" y="1465"/>
                  </a:lnTo>
                  <a:lnTo>
                    <a:pt x="384" y="1465"/>
                  </a:lnTo>
                  <a:lnTo>
                    <a:pt x="385" y="1466"/>
                  </a:lnTo>
                  <a:lnTo>
                    <a:pt x="387" y="1468"/>
                  </a:lnTo>
                  <a:lnTo>
                    <a:pt x="387" y="1469"/>
                  </a:lnTo>
                  <a:lnTo>
                    <a:pt x="385" y="1469"/>
                  </a:lnTo>
                  <a:lnTo>
                    <a:pt x="385" y="1472"/>
                  </a:lnTo>
                  <a:lnTo>
                    <a:pt x="385" y="1474"/>
                  </a:lnTo>
                  <a:lnTo>
                    <a:pt x="387" y="1475"/>
                  </a:lnTo>
                  <a:lnTo>
                    <a:pt x="388" y="1477"/>
                  </a:lnTo>
                  <a:lnTo>
                    <a:pt x="390" y="1477"/>
                  </a:lnTo>
                  <a:lnTo>
                    <a:pt x="391" y="1479"/>
                  </a:lnTo>
                  <a:lnTo>
                    <a:pt x="391" y="1479"/>
                  </a:lnTo>
                  <a:lnTo>
                    <a:pt x="391" y="1480"/>
                  </a:lnTo>
                  <a:lnTo>
                    <a:pt x="391" y="1483"/>
                  </a:lnTo>
                  <a:lnTo>
                    <a:pt x="393" y="1488"/>
                  </a:lnTo>
                  <a:lnTo>
                    <a:pt x="393" y="1491"/>
                  </a:lnTo>
                  <a:lnTo>
                    <a:pt x="396" y="1492"/>
                  </a:lnTo>
                  <a:lnTo>
                    <a:pt x="396" y="1492"/>
                  </a:lnTo>
                  <a:lnTo>
                    <a:pt x="396" y="1492"/>
                  </a:lnTo>
                  <a:lnTo>
                    <a:pt x="398" y="1494"/>
                  </a:lnTo>
                  <a:lnTo>
                    <a:pt x="398" y="1494"/>
                  </a:lnTo>
                  <a:lnTo>
                    <a:pt x="398" y="1494"/>
                  </a:lnTo>
                  <a:lnTo>
                    <a:pt x="399" y="1494"/>
                  </a:lnTo>
                  <a:lnTo>
                    <a:pt x="399" y="1492"/>
                  </a:lnTo>
                  <a:lnTo>
                    <a:pt x="402" y="1492"/>
                  </a:lnTo>
                  <a:lnTo>
                    <a:pt x="405" y="1492"/>
                  </a:lnTo>
                  <a:lnTo>
                    <a:pt x="411" y="1486"/>
                  </a:lnTo>
                  <a:lnTo>
                    <a:pt x="413" y="1486"/>
                  </a:lnTo>
                  <a:lnTo>
                    <a:pt x="415" y="1486"/>
                  </a:lnTo>
                  <a:lnTo>
                    <a:pt x="416" y="1483"/>
                  </a:lnTo>
                  <a:lnTo>
                    <a:pt x="418" y="1483"/>
                  </a:lnTo>
                  <a:lnTo>
                    <a:pt x="422" y="1483"/>
                  </a:lnTo>
                  <a:lnTo>
                    <a:pt x="424" y="1482"/>
                  </a:lnTo>
                  <a:lnTo>
                    <a:pt x="427" y="1480"/>
                  </a:lnTo>
                  <a:lnTo>
                    <a:pt x="428" y="1480"/>
                  </a:lnTo>
                  <a:lnTo>
                    <a:pt x="430" y="1480"/>
                  </a:lnTo>
                  <a:lnTo>
                    <a:pt x="439" y="1472"/>
                  </a:lnTo>
                  <a:lnTo>
                    <a:pt x="441" y="1472"/>
                  </a:lnTo>
                  <a:lnTo>
                    <a:pt x="444" y="1471"/>
                  </a:lnTo>
                  <a:lnTo>
                    <a:pt x="445" y="1469"/>
                  </a:lnTo>
                  <a:lnTo>
                    <a:pt x="447" y="1465"/>
                  </a:lnTo>
                  <a:lnTo>
                    <a:pt x="447" y="1463"/>
                  </a:lnTo>
                  <a:lnTo>
                    <a:pt x="448" y="1462"/>
                  </a:lnTo>
                  <a:lnTo>
                    <a:pt x="455" y="1462"/>
                  </a:lnTo>
                  <a:lnTo>
                    <a:pt x="459" y="1455"/>
                  </a:lnTo>
                  <a:lnTo>
                    <a:pt x="467" y="1454"/>
                  </a:lnTo>
                  <a:lnTo>
                    <a:pt x="470" y="1451"/>
                  </a:lnTo>
                  <a:lnTo>
                    <a:pt x="470" y="1451"/>
                  </a:lnTo>
                  <a:lnTo>
                    <a:pt x="472" y="1449"/>
                  </a:lnTo>
                  <a:lnTo>
                    <a:pt x="472" y="1448"/>
                  </a:lnTo>
                  <a:lnTo>
                    <a:pt x="472" y="1446"/>
                  </a:lnTo>
                  <a:lnTo>
                    <a:pt x="473" y="1443"/>
                  </a:lnTo>
                  <a:lnTo>
                    <a:pt x="473" y="1443"/>
                  </a:lnTo>
                  <a:lnTo>
                    <a:pt x="475" y="1440"/>
                  </a:lnTo>
                  <a:lnTo>
                    <a:pt x="476" y="1438"/>
                  </a:lnTo>
                  <a:lnTo>
                    <a:pt x="478" y="1437"/>
                  </a:lnTo>
                  <a:lnTo>
                    <a:pt x="479" y="1437"/>
                  </a:lnTo>
                  <a:lnTo>
                    <a:pt x="478" y="1432"/>
                  </a:lnTo>
                  <a:lnTo>
                    <a:pt x="476" y="1431"/>
                  </a:lnTo>
                  <a:lnTo>
                    <a:pt x="473" y="1429"/>
                  </a:lnTo>
                  <a:lnTo>
                    <a:pt x="468" y="1426"/>
                  </a:lnTo>
                  <a:lnTo>
                    <a:pt x="467" y="1426"/>
                  </a:lnTo>
                  <a:lnTo>
                    <a:pt x="456" y="1434"/>
                  </a:lnTo>
                  <a:lnTo>
                    <a:pt x="451" y="1435"/>
                  </a:lnTo>
                  <a:lnTo>
                    <a:pt x="450" y="1435"/>
                  </a:lnTo>
                  <a:lnTo>
                    <a:pt x="447" y="1440"/>
                  </a:lnTo>
                  <a:lnTo>
                    <a:pt x="445" y="1440"/>
                  </a:lnTo>
                  <a:lnTo>
                    <a:pt x="444" y="1442"/>
                  </a:lnTo>
                  <a:lnTo>
                    <a:pt x="442" y="1442"/>
                  </a:lnTo>
                  <a:lnTo>
                    <a:pt x="444" y="1438"/>
                  </a:lnTo>
                  <a:lnTo>
                    <a:pt x="447" y="1437"/>
                  </a:lnTo>
                  <a:lnTo>
                    <a:pt x="450" y="1432"/>
                  </a:lnTo>
                  <a:lnTo>
                    <a:pt x="453" y="1431"/>
                  </a:lnTo>
                  <a:lnTo>
                    <a:pt x="461" y="1428"/>
                  </a:lnTo>
                  <a:lnTo>
                    <a:pt x="464" y="1426"/>
                  </a:lnTo>
                  <a:lnTo>
                    <a:pt x="465" y="1425"/>
                  </a:lnTo>
                  <a:lnTo>
                    <a:pt x="467" y="1422"/>
                  </a:lnTo>
                  <a:lnTo>
                    <a:pt x="468" y="1420"/>
                  </a:lnTo>
                  <a:lnTo>
                    <a:pt x="472" y="1417"/>
                  </a:lnTo>
                  <a:lnTo>
                    <a:pt x="487" y="1408"/>
                  </a:lnTo>
                  <a:lnTo>
                    <a:pt x="488" y="1405"/>
                  </a:lnTo>
                  <a:lnTo>
                    <a:pt x="488" y="1405"/>
                  </a:lnTo>
                  <a:lnTo>
                    <a:pt x="490" y="1397"/>
                  </a:lnTo>
                  <a:lnTo>
                    <a:pt x="496" y="1391"/>
                  </a:lnTo>
                  <a:lnTo>
                    <a:pt x="498" y="1389"/>
                  </a:lnTo>
                  <a:lnTo>
                    <a:pt x="501" y="1389"/>
                  </a:lnTo>
                  <a:lnTo>
                    <a:pt x="499" y="1391"/>
                  </a:lnTo>
                  <a:lnTo>
                    <a:pt x="495" y="1395"/>
                  </a:lnTo>
                  <a:lnTo>
                    <a:pt x="493" y="1397"/>
                  </a:lnTo>
                  <a:lnTo>
                    <a:pt x="492" y="1398"/>
                  </a:lnTo>
                  <a:lnTo>
                    <a:pt x="492" y="1400"/>
                  </a:lnTo>
                  <a:lnTo>
                    <a:pt x="493" y="1403"/>
                  </a:lnTo>
                  <a:lnTo>
                    <a:pt x="493" y="1403"/>
                  </a:lnTo>
                  <a:lnTo>
                    <a:pt x="501" y="1405"/>
                  </a:lnTo>
                  <a:lnTo>
                    <a:pt x="505" y="1405"/>
                  </a:lnTo>
                  <a:lnTo>
                    <a:pt x="507" y="1405"/>
                  </a:lnTo>
                  <a:lnTo>
                    <a:pt x="507" y="1406"/>
                  </a:lnTo>
                  <a:lnTo>
                    <a:pt x="510" y="1405"/>
                  </a:lnTo>
                  <a:lnTo>
                    <a:pt x="510" y="1408"/>
                  </a:lnTo>
                  <a:lnTo>
                    <a:pt x="508" y="1409"/>
                  </a:lnTo>
                  <a:lnTo>
                    <a:pt x="505" y="1412"/>
                  </a:lnTo>
                  <a:lnTo>
                    <a:pt x="496" y="1415"/>
                  </a:lnTo>
                  <a:lnTo>
                    <a:pt x="490" y="1418"/>
                  </a:lnTo>
                  <a:lnTo>
                    <a:pt x="490" y="1420"/>
                  </a:lnTo>
                  <a:lnTo>
                    <a:pt x="488" y="1423"/>
                  </a:lnTo>
                  <a:lnTo>
                    <a:pt x="487" y="1425"/>
                  </a:lnTo>
                  <a:lnTo>
                    <a:pt x="482" y="1426"/>
                  </a:lnTo>
                  <a:lnTo>
                    <a:pt x="481" y="1426"/>
                  </a:lnTo>
                  <a:lnTo>
                    <a:pt x="481" y="1428"/>
                  </a:lnTo>
                  <a:lnTo>
                    <a:pt x="481" y="1429"/>
                  </a:lnTo>
                  <a:lnTo>
                    <a:pt x="481" y="1431"/>
                  </a:lnTo>
                  <a:lnTo>
                    <a:pt x="481" y="1432"/>
                  </a:lnTo>
                  <a:lnTo>
                    <a:pt x="481" y="1434"/>
                  </a:lnTo>
                  <a:lnTo>
                    <a:pt x="482" y="1434"/>
                  </a:lnTo>
                  <a:lnTo>
                    <a:pt x="492" y="1431"/>
                  </a:lnTo>
                  <a:lnTo>
                    <a:pt x="495" y="1431"/>
                  </a:lnTo>
                  <a:lnTo>
                    <a:pt x="496" y="1432"/>
                  </a:lnTo>
                  <a:lnTo>
                    <a:pt x="498" y="1434"/>
                  </a:lnTo>
                  <a:lnTo>
                    <a:pt x="499" y="1434"/>
                  </a:lnTo>
                  <a:lnTo>
                    <a:pt x="504" y="1434"/>
                  </a:lnTo>
                  <a:lnTo>
                    <a:pt x="505" y="1437"/>
                  </a:lnTo>
                  <a:lnTo>
                    <a:pt x="505" y="1437"/>
                  </a:lnTo>
                  <a:lnTo>
                    <a:pt x="505" y="1438"/>
                  </a:lnTo>
                  <a:lnTo>
                    <a:pt x="505" y="1438"/>
                  </a:lnTo>
                  <a:lnTo>
                    <a:pt x="505" y="1438"/>
                  </a:lnTo>
                  <a:lnTo>
                    <a:pt x="507" y="1440"/>
                  </a:lnTo>
                  <a:lnTo>
                    <a:pt x="508" y="1440"/>
                  </a:lnTo>
                  <a:lnTo>
                    <a:pt x="508" y="1443"/>
                  </a:lnTo>
                  <a:lnTo>
                    <a:pt x="507" y="1445"/>
                  </a:lnTo>
                  <a:lnTo>
                    <a:pt x="507" y="1445"/>
                  </a:lnTo>
                  <a:lnTo>
                    <a:pt x="499" y="1445"/>
                  </a:lnTo>
                  <a:lnTo>
                    <a:pt x="493" y="1446"/>
                  </a:lnTo>
                  <a:lnTo>
                    <a:pt x="492" y="1449"/>
                  </a:lnTo>
                  <a:lnTo>
                    <a:pt x="488" y="1454"/>
                  </a:lnTo>
                  <a:lnTo>
                    <a:pt x="487" y="1455"/>
                  </a:lnTo>
                  <a:lnTo>
                    <a:pt x="485" y="1457"/>
                  </a:lnTo>
                  <a:lnTo>
                    <a:pt x="482" y="1459"/>
                  </a:lnTo>
                  <a:lnTo>
                    <a:pt x="479" y="1459"/>
                  </a:lnTo>
                  <a:lnTo>
                    <a:pt x="478" y="1457"/>
                  </a:lnTo>
                  <a:lnTo>
                    <a:pt x="476" y="1457"/>
                  </a:lnTo>
                  <a:lnTo>
                    <a:pt x="467" y="1462"/>
                  </a:lnTo>
                  <a:lnTo>
                    <a:pt x="464" y="1468"/>
                  </a:lnTo>
                  <a:lnTo>
                    <a:pt x="462" y="1469"/>
                  </a:lnTo>
                  <a:lnTo>
                    <a:pt x="458" y="1471"/>
                  </a:lnTo>
                  <a:lnTo>
                    <a:pt x="456" y="1472"/>
                  </a:lnTo>
                  <a:lnTo>
                    <a:pt x="453" y="1474"/>
                  </a:lnTo>
                  <a:lnTo>
                    <a:pt x="453" y="1475"/>
                  </a:lnTo>
                  <a:lnTo>
                    <a:pt x="453" y="1475"/>
                  </a:lnTo>
                  <a:lnTo>
                    <a:pt x="453" y="1477"/>
                  </a:lnTo>
                  <a:lnTo>
                    <a:pt x="451" y="1477"/>
                  </a:lnTo>
                  <a:lnTo>
                    <a:pt x="451" y="1479"/>
                  </a:lnTo>
                  <a:lnTo>
                    <a:pt x="451" y="1479"/>
                  </a:lnTo>
                  <a:lnTo>
                    <a:pt x="451" y="1479"/>
                  </a:lnTo>
                  <a:lnTo>
                    <a:pt x="450" y="1480"/>
                  </a:lnTo>
                  <a:lnTo>
                    <a:pt x="450" y="1482"/>
                  </a:lnTo>
                  <a:lnTo>
                    <a:pt x="450" y="1483"/>
                  </a:lnTo>
                  <a:lnTo>
                    <a:pt x="448" y="1483"/>
                  </a:lnTo>
                  <a:lnTo>
                    <a:pt x="448" y="1485"/>
                  </a:lnTo>
                  <a:lnTo>
                    <a:pt x="448" y="1485"/>
                  </a:lnTo>
                  <a:lnTo>
                    <a:pt x="450" y="1485"/>
                  </a:lnTo>
                  <a:lnTo>
                    <a:pt x="451" y="1483"/>
                  </a:lnTo>
                  <a:lnTo>
                    <a:pt x="453" y="1482"/>
                  </a:lnTo>
                  <a:lnTo>
                    <a:pt x="453" y="1482"/>
                  </a:lnTo>
                  <a:lnTo>
                    <a:pt x="456" y="1480"/>
                  </a:lnTo>
                  <a:lnTo>
                    <a:pt x="458" y="1480"/>
                  </a:lnTo>
                  <a:lnTo>
                    <a:pt x="461" y="1477"/>
                  </a:lnTo>
                  <a:lnTo>
                    <a:pt x="462" y="1477"/>
                  </a:lnTo>
                  <a:lnTo>
                    <a:pt x="468" y="1475"/>
                  </a:lnTo>
                  <a:lnTo>
                    <a:pt x="467" y="1479"/>
                  </a:lnTo>
                  <a:lnTo>
                    <a:pt x="465" y="1479"/>
                  </a:lnTo>
                  <a:lnTo>
                    <a:pt x="464" y="1479"/>
                  </a:lnTo>
                  <a:lnTo>
                    <a:pt x="464" y="1480"/>
                  </a:lnTo>
                  <a:lnTo>
                    <a:pt x="462" y="1482"/>
                  </a:lnTo>
                  <a:lnTo>
                    <a:pt x="464" y="1482"/>
                  </a:lnTo>
                  <a:lnTo>
                    <a:pt x="468" y="1483"/>
                  </a:lnTo>
                  <a:lnTo>
                    <a:pt x="468" y="1483"/>
                  </a:lnTo>
                  <a:lnTo>
                    <a:pt x="461" y="1485"/>
                  </a:lnTo>
                  <a:lnTo>
                    <a:pt x="458" y="1486"/>
                  </a:lnTo>
                  <a:lnTo>
                    <a:pt x="456" y="1489"/>
                  </a:lnTo>
                  <a:lnTo>
                    <a:pt x="458" y="1495"/>
                  </a:lnTo>
                  <a:lnTo>
                    <a:pt x="461" y="1497"/>
                  </a:lnTo>
                  <a:lnTo>
                    <a:pt x="467" y="1499"/>
                  </a:lnTo>
                  <a:lnTo>
                    <a:pt x="467" y="1500"/>
                  </a:lnTo>
                  <a:lnTo>
                    <a:pt x="465" y="1502"/>
                  </a:lnTo>
                  <a:lnTo>
                    <a:pt x="464" y="1502"/>
                  </a:lnTo>
                  <a:lnTo>
                    <a:pt x="464" y="1502"/>
                  </a:lnTo>
                  <a:lnTo>
                    <a:pt x="462" y="1502"/>
                  </a:lnTo>
                  <a:lnTo>
                    <a:pt x="461" y="1503"/>
                  </a:lnTo>
                  <a:lnTo>
                    <a:pt x="459" y="1506"/>
                  </a:lnTo>
                  <a:lnTo>
                    <a:pt x="459" y="1506"/>
                  </a:lnTo>
                  <a:lnTo>
                    <a:pt x="458" y="1506"/>
                  </a:lnTo>
                  <a:lnTo>
                    <a:pt x="456" y="1503"/>
                  </a:lnTo>
                  <a:lnTo>
                    <a:pt x="451" y="1502"/>
                  </a:lnTo>
                  <a:lnTo>
                    <a:pt x="450" y="1500"/>
                  </a:lnTo>
                  <a:lnTo>
                    <a:pt x="442" y="1505"/>
                  </a:lnTo>
                  <a:lnTo>
                    <a:pt x="439" y="1503"/>
                  </a:lnTo>
                  <a:lnTo>
                    <a:pt x="438" y="1502"/>
                  </a:lnTo>
                  <a:lnTo>
                    <a:pt x="435" y="1500"/>
                  </a:lnTo>
                  <a:lnTo>
                    <a:pt x="433" y="1500"/>
                  </a:lnTo>
                  <a:lnTo>
                    <a:pt x="430" y="1500"/>
                  </a:lnTo>
                  <a:lnTo>
                    <a:pt x="428" y="1502"/>
                  </a:lnTo>
                  <a:lnTo>
                    <a:pt x="427" y="1503"/>
                  </a:lnTo>
                  <a:lnTo>
                    <a:pt x="425" y="1502"/>
                  </a:lnTo>
                  <a:lnTo>
                    <a:pt x="422" y="1499"/>
                  </a:lnTo>
                  <a:lnTo>
                    <a:pt x="422" y="1499"/>
                  </a:lnTo>
                  <a:lnTo>
                    <a:pt x="411" y="1500"/>
                  </a:lnTo>
                  <a:lnTo>
                    <a:pt x="407" y="1503"/>
                  </a:lnTo>
                  <a:lnTo>
                    <a:pt x="405" y="1505"/>
                  </a:lnTo>
                  <a:lnTo>
                    <a:pt x="404" y="1508"/>
                  </a:lnTo>
                  <a:lnTo>
                    <a:pt x="402" y="1508"/>
                  </a:lnTo>
                  <a:lnTo>
                    <a:pt x="402" y="1508"/>
                  </a:lnTo>
                  <a:lnTo>
                    <a:pt x="402" y="1511"/>
                  </a:lnTo>
                  <a:lnTo>
                    <a:pt x="402" y="1512"/>
                  </a:lnTo>
                  <a:lnTo>
                    <a:pt x="404" y="1514"/>
                  </a:lnTo>
                  <a:lnTo>
                    <a:pt x="404" y="1515"/>
                  </a:lnTo>
                  <a:lnTo>
                    <a:pt x="405" y="1515"/>
                  </a:lnTo>
                  <a:lnTo>
                    <a:pt x="418" y="1519"/>
                  </a:lnTo>
                  <a:lnTo>
                    <a:pt x="419" y="1520"/>
                  </a:lnTo>
                  <a:lnTo>
                    <a:pt x="419" y="1522"/>
                  </a:lnTo>
                  <a:lnTo>
                    <a:pt x="419" y="1522"/>
                  </a:lnTo>
                  <a:lnTo>
                    <a:pt x="419" y="1522"/>
                  </a:lnTo>
                  <a:lnTo>
                    <a:pt x="419" y="1523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9"/>
                  </a:lnTo>
                  <a:lnTo>
                    <a:pt x="419" y="1531"/>
                  </a:lnTo>
                  <a:lnTo>
                    <a:pt x="419" y="1531"/>
                  </a:lnTo>
                  <a:lnTo>
                    <a:pt x="418" y="1523"/>
                  </a:lnTo>
                  <a:lnTo>
                    <a:pt x="418" y="1522"/>
                  </a:lnTo>
                  <a:lnTo>
                    <a:pt x="415" y="1522"/>
                  </a:lnTo>
                  <a:lnTo>
                    <a:pt x="410" y="1522"/>
                  </a:lnTo>
                  <a:lnTo>
                    <a:pt x="407" y="1522"/>
                  </a:lnTo>
                  <a:lnTo>
                    <a:pt x="402" y="1517"/>
                  </a:lnTo>
                  <a:lnTo>
                    <a:pt x="401" y="1515"/>
                  </a:lnTo>
                  <a:lnTo>
                    <a:pt x="398" y="1515"/>
                  </a:lnTo>
                  <a:lnTo>
                    <a:pt x="395" y="1519"/>
                  </a:lnTo>
                  <a:lnTo>
                    <a:pt x="391" y="1522"/>
                  </a:lnTo>
                  <a:lnTo>
                    <a:pt x="388" y="1522"/>
                  </a:lnTo>
                  <a:lnTo>
                    <a:pt x="387" y="1522"/>
                  </a:lnTo>
                  <a:lnTo>
                    <a:pt x="395" y="1514"/>
                  </a:lnTo>
                  <a:lnTo>
                    <a:pt x="395" y="1511"/>
                  </a:lnTo>
                  <a:lnTo>
                    <a:pt x="396" y="1505"/>
                  </a:lnTo>
                  <a:lnTo>
                    <a:pt x="395" y="1502"/>
                  </a:lnTo>
                  <a:lnTo>
                    <a:pt x="391" y="1497"/>
                  </a:lnTo>
                  <a:lnTo>
                    <a:pt x="385" y="1491"/>
                  </a:lnTo>
                  <a:lnTo>
                    <a:pt x="385" y="1488"/>
                  </a:lnTo>
                  <a:lnTo>
                    <a:pt x="385" y="1485"/>
                  </a:lnTo>
                  <a:lnTo>
                    <a:pt x="384" y="1482"/>
                  </a:lnTo>
                  <a:lnTo>
                    <a:pt x="384" y="1480"/>
                  </a:lnTo>
                  <a:lnTo>
                    <a:pt x="379" y="1475"/>
                  </a:lnTo>
                  <a:lnTo>
                    <a:pt x="378" y="1472"/>
                  </a:lnTo>
                  <a:lnTo>
                    <a:pt x="379" y="1469"/>
                  </a:lnTo>
                  <a:lnTo>
                    <a:pt x="376" y="1469"/>
                  </a:lnTo>
                  <a:lnTo>
                    <a:pt x="374" y="1469"/>
                  </a:lnTo>
                  <a:lnTo>
                    <a:pt x="370" y="1474"/>
                  </a:lnTo>
                  <a:lnTo>
                    <a:pt x="365" y="1474"/>
                  </a:lnTo>
                  <a:lnTo>
                    <a:pt x="364" y="1475"/>
                  </a:lnTo>
                  <a:lnTo>
                    <a:pt x="361" y="1479"/>
                  </a:lnTo>
                  <a:lnTo>
                    <a:pt x="364" y="1479"/>
                  </a:lnTo>
                  <a:lnTo>
                    <a:pt x="365" y="1480"/>
                  </a:lnTo>
                  <a:lnTo>
                    <a:pt x="367" y="1482"/>
                  </a:lnTo>
                  <a:lnTo>
                    <a:pt x="367" y="1486"/>
                  </a:lnTo>
                  <a:lnTo>
                    <a:pt x="367" y="1485"/>
                  </a:lnTo>
                  <a:lnTo>
                    <a:pt x="365" y="1482"/>
                  </a:lnTo>
                  <a:lnTo>
                    <a:pt x="364" y="1480"/>
                  </a:lnTo>
                  <a:lnTo>
                    <a:pt x="362" y="1480"/>
                  </a:lnTo>
                  <a:lnTo>
                    <a:pt x="361" y="1482"/>
                  </a:lnTo>
                  <a:lnTo>
                    <a:pt x="359" y="1483"/>
                  </a:lnTo>
                  <a:lnTo>
                    <a:pt x="356" y="1489"/>
                  </a:lnTo>
                  <a:lnTo>
                    <a:pt x="354" y="1489"/>
                  </a:lnTo>
                  <a:lnTo>
                    <a:pt x="353" y="1489"/>
                  </a:lnTo>
                  <a:lnTo>
                    <a:pt x="353" y="1488"/>
                  </a:lnTo>
                  <a:lnTo>
                    <a:pt x="353" y="1486"/>
                  </a:lnTo>
                  <a:lnTo>
                    <a:pt x="353" y="1483"/>
                  </a:lnTo>
                  <a:lnTo>
                    <a:pt x="353" y="1483"/>
                  </a:lnTo>
                  <a:lnTo>
                    <a:pt x="351" y="1482"/>
                  </a:lnTo>
                  <a:lnTo>
                    <a:pt x="350" y="1483"/>
                  </a:lnTo>
                  <a:lnTo>
                    <a:pt x="348" y="1486"/>
                  </a:lnTo>
                  <a:lnTo>
                    <a:pt x="347" y="1488"/>
                  </a:lnTo>
                  <a:lnTo>
                    <a:pt x="345" y="1488"/>
                  </a:lnTo>
                  <a:lnTo>
                    <a:pt x="344" y="1486"/>
                  </a:lnTo>
                  <a:lnTo>
                    <a:pt x="342" y="1488"/>
                  </a:lnTo>
                  <a:lnTo>
                    <a:pt x="342" y="1491"/>
                  </a:lnTo>
                  <a:lnTo>
                    <a:pt x="339" y="1491"/>
                  </a:lnTo>
                  <a:lnTo>
                    <a:pt x="336" y="1492"/>
                  </a:lnTo>
                  <a:lnTo>
                    <a:pt x="336" y="1495"/>
                  </a:lnTo>
                  <a:lnTo>
                    <a:pt x="338" y="1499"/>
                  </a:lnTo>
                  <a:lnTo>
                    <a:pt x="341" y="1500"/>
                  </a:lnTo>
                  <a:lnTo>
                    <a:pt x="347" y="1500"/>
                  </a:lnTo>
                  <a:lnTo>
                    <a:pt x="345" y="1499"/>
                  </a:lnTo>
                  <a:lnTo>
                    <a:pt x="345" y="1497"/>
                  </a:lnTo>
                  <a:lnTo>
                    <a:pt x="344" y="1495"/>
                  </a:lnTo>
                  <a:lnTo>
                    <a:pt x="344" y="1492"/>
                  </a:lnTo>
                  <a:lnTo>
                    <a:pt x="345" y="1494"/>
                  </a:lnTo>
                  <a:lnTo>
                    <a:pt x="345" y="1495"/>
                  </a:lnTo>
                  <a:lnTo>
                    <a:pt x="345" y="1497"/>
                  </a:lnTo>
                  <a:lnTo>
                    <a:pt x="347" y="1497"/>
                  </a:lnTo>
                  <a:lnTo>
                    <a:pt x="350" y="1499"/>
                  </a:lnTo>
                  <a:lnTo>
                    <a:pt x="351" y="1499"/>
                  </a:lnTo>
                  <a:lnTo>
                    <a:pt x="359" y="1497"/>
                  </a:lnTo>
                  <a:lnTo>
                    <a:pt x="359" y="1495"/>
                  </a:lnTo>
                  <a:lnTo>
                    <a:pt x="361" y="1495"/>
                  </a:lnTo>
                  <a:lnTo>
                    <a:pt x="361" y="1495"/>
                  </a:lnTo>
                  <a:lnTo>
                    <a:pt x="361" y="1497"/>
                  </a:lnTo>
                  <a:lnTo>
                    <a:pt x="361" y="1497"/>
                  </a:lnTo>
                  <a:lnTo>
                    <a:pt x="338" y="1503"/>
                  </a:lnTo>
                  <a:lnTo>
                    <a:pt x="338" y="1506"/>
                  </a:lnTo>
                  <a:lnTo>
                    <a:pt x="338" y="1509"/>
                  </a:lnTo>
                  <a:lnTo>
                    <a:pt x="339" y="1512"/>
                  </a:lnTo>
                  <a:lnTo>
                    <a:pt x="341" y="1514"/>
                  </a:lnTo>
                  <a:lnTo>
                    <a:pt x="341" y="1514"/>
                  </a:lnTo>
                  <a:lnTo>
                    <a:pt x="342" y="1514"/>
                  </a:lnTo>
                  <a:lnTo>
                    <a:pt x="344" y="1512"/>
                  </a:lnTo>
                  <a:lnTo>
                    <a:pt x="354" y="1512"/>
                  </a:lnTo>
                  <a:lnTo>
                    <a:pt x="358" y="1509"/>
                  </a:lnTo>
                  <a:lnTo>
                    <a:pt x="361" y="1509"/>
                  </a:lnTo>
                  <a:lnTo>
                    <a:pt x="358" y="1512"/>
                  </a:lnTo>
                  <a:lnTo>
                    <a:pt x="344" y="1515"/>
                  </a:lnTo>
                  <a:lnTo>
                    <a:pt x="339" y="1520"/>
                  </a:lnTo>
                  <a:lnTo>
                    <a:pt x="336" y="1522"/>
                  </a:lnTo>
                  <a:lnTo>
                    <a:pt x="334" y="1523"/>
                  </a:lnTo>
                  <a:lnTo>
                    <a:pt x="331" y="1528"/>
                  </a:lnTo>
                  <a:lnTo>
                    <a:pt x="331" y="1523"/>
                  </a:lnTo>
                  <a:lnTo>
                    <a:pt x="333" y="1519"/>
                  </a:lnTo>
                  <a:lnTo>
                    <a:pt x="334" y="1515"/>
                  </a:lnTo>
                  <a:lnTo>
                    <a:pt x="336" y="1514"/>
                  </a:lnTo>
                  <a:lnTo>
                    <a:pt x="334" y="1512"/>
                  </a:lnTo>
                  <a:lnTo>
                    <a:pt x="334" y="1511"/>
                  </a:lnTo>
                  <a:lnTo>
                    <a:pt x="334" y="1508"/>
                  </a:lnTo>
                  <a:lnTo>
                    <a:pt x="333" y="1506"/>
                  </a:lnTo>
                  <a:lnTo>
                    <a:pt x="328" y="1500"/>
                  </a:lnTo>
                  <a:lnTo>
                    <a:pt x="327" y="1499"/>
                  </a:lnTo>
                  <a:lnTo>
                    <a:pt x="325" y="1499"/>
                  </a:lnTo>
                  <a:lnTo>
                    <a:pt x="325" y="1499"/>
                  </a:lnTo>
                  <a:lnTo>
                    <a:pt x="322" y="1502"/>
                  </a:lnTo>
                  <a:lnTo>
                    <a:pt x="322" y="1505"/>
                  </a:lnTo>
                  <a:lnTo>
                    <a:pt x="322" y="1505"/>
                  </a:lnTo>
                  <a:lnTo>
                    <a:pt x="325" y="1505"/>
                  </a:lnTo>
                  <a:lnTo>
                    <a:pt x="325" y="1506"/>
                  </a:lnTo>
                  <a:lnTo>
                    <a:pt x="322" y="1506"/>
                  </a:lnTo>
                  <a:lnTo>
                    <a:pt x="319" y="1506"/>
                  </a:lnTo>
                  <a:lnTo>
                    <a:pt x="316" y="1506"/>
                  </a:lnTo>
                  <a:lnTo>
                    <a:pt x="316" y="1509"/>
                  </a:lnTo>
                  <a:lnTo>
                    <a:pt x="314" y="1508"/>
                  </a:lnTo>
                  <a:lnTo>
                    <a:pt x="313" y="1506"/>
                  </a:lnTo>
                  <a:lnTo>
                    <a:pt x="311" y="1505"/>
                  </a:lnTo>
                  <a:lnTo>
                    <a:pt x="310" y="1505"/>
                  </a:lnTo>
                  <a:lnTo>
                    <a:pt x="308" y="1505"/>
                  </a:lnTo>
                  <a:lnTo>
                    <a:pt x="307" y="1505"/>
                  </a:lnTo>
                  <a:lnTo>
                    <a:pt x="305" y="1508"/>
                  </a:lnTo>
                  <a:lnTo>
                    <a:pt x="304" y="1508"/>
                  </a:lnTo>
                  <a:lnTo>
                    <a:pt x="301" y="1506"/>
                  </a:lnTo>
                  <a:lnTo>
                    <a:pt x="299" y="1508"/>
                  </a:lnTo>
                  <a:lnTo>
                    <a:pt x="297" y="1511"/>
                  </a:lnTo>
                  <a:lnTo>
                    <a:pt x="301" y="1512"/>
                  </a:lnTo>
                  <a:lnTo>
                    <a:pt x="301" y="1514"/>
                  </a:lnTo>
                  <a:lnTo>
                    <a:pt x="302" y="1515"/>
                  </a:lnTo>
                  <a:lnTo>
                    <a:pt x="302" y="1517"/>
                  </a:lnTo>
                  <a:lnTo>
                    <a:pt x="304" y="1517"/>
                  </a:lnTo>
                  <a:lnTo>
                    <a:pt x="305" y="1519"/>
                  </a:lnTo>
                  <a:lnTo>
                    <a:pt x="307" y="1519"/>
                  </a:lnTo>
                  <a:lnTo>
                    <a:pt x="305" y="1520"/>
                  </a:lnTo>
                  <a:lnTo>
                    <a:pt x="302" y="1522"/>
                  </a:lnTo>
                  <a:lnTo>
                    <a:pt x="288" y="1525"/>
                  </a:lnTo>
                  <a:lnTo>
                    <a:pt x="285" y="1528"/>
                  </a:lnTo>
                  <a:lnTo>
                    <a:pt x="288" y="1528"/>
                  </a:lnTo>
                  <a:lnTo>
                    <a:pt x="290" y="1529"/>
                  </a:lnTo>
                  <a:lnTo>
                    <a:pt x="293" y="1534"/>
                  </a:lnTo>
                  <a:lnTo>
                    <a:pt x="294" y="1537"/>
                  </a:lnTo>
                  <a:lnTo>
                    <a:pt x="294" y="1539"/>
                  </a:lnTo>
                  <a:lnTo>
                    <a:pt x="296" y="1542"/>
                  </a:lnTo>
                  <a:lnTo>
                    <a:pt x="296" y="1542"/>
                  </a:lnTo>
                  <a:lnTo>
                    <a:pt x="299" y="1542"/>
                  </a:lnTo>
                  <a:lnTo>
                    <a:pt x="314" y="1540"/>
                  </a:lnTo>
                  <a:lnTo>
                    <a:pt x="321" y="1540"/>
                  </a:lnTo>
                  <a:lnTo>
                    <a:pt x="313" y="1542"/>
                  </a:lnTo>
                  <a:lnTo>
                    <a:pt x="296" y="1546"/>
                  </a:lnTo>
                  <a:lnTo>
                    <a:pt x="293" y="1546"/>
                  </a:lnTo>
                  <a:lnTo>
                    <a:pt x="293" y="1549"/>
                  </a:lnTo>
                  <a:lnTo>
                    <a:pt x="293" y="1552"/>
                  </a:lnTo>
                  <a:lnTo>
                    <a:pt x="296" y="1554"/>
                  </a:lnTo>
                  <a:lnTo>
                    <a:pt x="297" y="1557"/>
                  </a:lnTo>
                  <a:lnTo>
                    <a:pt x="291" y="1554"/>
                  </a:lnTo>
                  <a:lnTo>
                    <a:pt x="268" y="1551"/>
                  </a:lnTo>
                  <a:lnTo>
                    <a:pt x="268" y="1552"/>
                  </a:lnTo>
                  <a:lnTo>
                    <a:pt x="271" y="1554"/>
                  </a:lnTo>
                  <a:lnTo>
                    <a:pt x="273" y="1556"/>
                  </a:lnTo>
                  <a:lnTo>
                    <a:pt x="274" y="1557"/>
                  </a:lnTo>
                  <a:lnTo>
                    <a:pt x="273" y="1559"/>
                  </a:lnTo>
                  <a:lnTo>
                    <a:pt x="274" y="1560"/>
                  </a:lnTo>
                  <a:lnTo>
                    <a:pt x="274" y="1560"/>
                  </a:lnTo>
                  <a:lnTo>
                    <a:pt x="274" y="1562"/>
                  </a:lnTo>
                  <a:lnTo>
                    <a:pt x="274" y="1562"/>
                  </a:lnTo>
                  <a:lnTo>
                    <a:pt x="273" y="1563"/>
                  </a:lnTo>
                  <a:lnTo>
                    <a:pt x="271" y="1563"/>
                  </a:lnTo>
                  <a:lnTo>
                    <a:pt x="271" y="1562"/>
                  </a:lnTo>
                  <a:lnTo>
                    <a:pt x="271" y="1560"/>
                  </a:lnTo>
                  <a:lnTo>
                    <a:pt x="271" y="1560"/>
                  </a:lnTo>
                  <a:lnTo>
                    <a:pt x="270" y="1559"/>
                  </a:lnTo>
                  <a:lnTo>
                    <a:pt x="268" y="1556"/>
                  </a:lnTo>
                  <a:lnTo>
                    <a:pt x="267" y="1554"/>
                  </a:lnTo>
                  <a:lnTo>
                    <a:pt x="264" y="1554"/>
                  </a:lnTo>
                  <a:lnTo>
                    <a:pt x="262" y="1557"/>
                  </a:lnTo>
                  <a:lnTo>
                    <a:pt x="264" y="1559"/>
                  </a:lnTo>
                  <a:lnTo>
                    <a:pt x="265" y="1560"/>
                  </a:lnTo>
                  <a:lnTo>
                    <a:pt x="267" y="1563"/>
                  </a:lnTo>
                  <a:lnTo>
                    <a:pt x="267" y="1565"/>
                  </a:lnTo>
                  <a:lnTo>
                    <a:pt x="267" y="1565"/>
                  </a:lnTo>
                  <a:lnTo>
                    <a:pt x="267" y="1565"/>
                  </a:lnTo>
                  <a:lnTo>
                    <a:pt x="267" y="1566"/>
                  </a:lnTo>
                  <a:lnTo>
                    <a:pt x="267" y="1568"/>
                  </a:lnTo>
                  <a:lnTo>
                    <a:pt x="267" y="1569"/>
                  </a:lnTo>
                  <a:lnTo>
                    <a:pt x="267" y="1569"/>
                  </a:lnTo>
                  <a:lnTo>
                    <a:pt x="268" y="1571"/>
                  </a:lnTo>
                  <a:lnTo>
                    <a:pt x="270" y="1572"/>
                  </a:lnTo>
                  <a:lnTo>
                    <a:pt x="273" y="1572"/>
                  </a:lnTo>
                  <a:lnTo>
                    <a:pt x="282" y="1571"/>
                  </a:lnTo>
                  <a:lnTo>
                    <a:pt x="285" y="1572"/>
                  </a:lnTo>
                  <a:lnTo>
                    <a:pt x="282" y="1574"/>
                  </a:lnTo>
                  <a:lnTo>
                    <a:pt x="276" y="1574"/>
                  </a:lnTo>
                  <a:lnTo>
                    <a:pt x="274" y="1576"/>
                  </a:lnTo>
                  <a:lnTo>
                    <a:pt x="276" y="1577"/>
                  </a:lnTo>
                  <a:lnTo>
                    <a:pt x="276" y="1577"/>
                  </a:lnTo>
                  <a:lnTo>
                    <a:pt x="277" y="1577"/>
                  </a:lnTo>
                  <a:lnTo>
                    <a:pt x="277" y="1580"/>
                  </a:lnTo>
                  <a:lnTo>
                    <a:pt x="277" y="1580"/>
                  </a:lnTo>
                  <a:lnTo>
                    <a:pt x="279" y="1580"/>
                  </a:lnTo>
                  <a:lnTo>
                    <a:pt x="287" y="1577"/>
                  </a:lnTo>
                  <a:lnTo>
                    <a:pt x="291" y="1572"/>
                  </a:lnTo>
                  <a:lnTo>
                    <a:pt x="294" y="1572"/>
                  </a:lnTo>
                  <a:lnTo>
                    <a:pt x="290" y="1576"/>
                  </a:lnTo>
                  <a:lnTo>
                    <a:pt x="290" y="1577"/>
                  </a:lnTo>
                  <a:lnTo>
                    <a:pt x="291" y="1579"/>
                  </a:lnTo>
                  <a:lnTo>
                    <a:pt x="293" y="1579"/>
                  </a:lnTo>
                  <a:lnTo>
                    <a:pt x="297" y="1577"/>
                  </a:lnTo>
                  <a:lnTo>
                    <a:pt x="301" y="1579"/>
                  </a:lnTo>
                  <a:lnTo>
                    <a:pt x="297" y="1580"/>
                  </a:lnTo>
                  <a:lnTo>
                    <a:pt x="281" y="1582"/>
                  </a:lnTo>
                  <a:lnTo>
                    <a:pt x="282" y="1585"/>
                  </a:lnTo>
                  <a:lnTo>
                    <a:pt x="285" y="1591"/>
                  </a:lnTo>
                  <a:lnTo>
                    <a:pt x="287" y="1592"/>
                  </a:lnTo>
                  <a:lnTo>
                    <a:pt x="288" y="1592"/>
                  </a:lnTo>
                  <a:lnTo>
                    <a:pt x="294" y="1594"/>
                  </a:lnTo>
                  <a:lnTo>
                    <a:pt x="296" y="1596"/>
                  </a:lnTo>
                  <a:lnTo>
                    <a:pt x="302" y="1605"/>
                  </a:lnTo>
                  <a:lnTo>
                    <a:pt x="301" y="1603"/>
                  </a:lnTo>
                  <a:lnTo>
                    <a:pt x="299" y="1602"/>
                  </a:lnTo>
                  <a:lnTo>
                    <a:pt x="297" y="1602"/>
                  </a:lnTo>
                  <a:lnTo>
                    <a:pt x="296" y="1600"/>
                  </a:lnTo>
                  <a:lnTo>
                    <a:pt x="296" y="1599"/>
                  </a:lnTo>
                  <a:lnTo>
                    <a:pt x="294" y="1597"/>
                  </a:lnTo>
                  <a:lnTo>
                    <a:pt x="293" y="1596"/>
                  </a:lnTo>
                  <a:lnTo>
                    <a:pt x="284" y="1592"/>
                  </a:lnTo>
                  <a:lnTo>
                    <a:pt x="282" y="1592"/>
                  </a:lnTo>
                  <a:lnTo>
                    <a:pt x="284" y="1594"/>
                  </a:lnTo>
                  <a:lnTo>
                    <a:pt x="290" y="1597"/>
                  </a:lnTo>
                  <a:lnTo>
                    <a:pt x="290" y="1600"/>
                  </a:lnTo>
                  <a:lnTo>
                    <a:pt x="290" y="1600"/>
                  </a:lnTo>
                  <a:lnTo>
                    <a:pt x="287" y="1600"/>
                  </a:lnTo>
                  <a:lnTo>
                    <a:pt x="281" y="1594"/>
                  </a:lnTo>
                  <a:lnTo>
                    <a:pt x="279" y="1594"/>
                  </a:lnTo>
                  <a:lnTo>
                    <a:pt x="277" y="1594"/>
                  </a:lnTo>
                  <a:lnTo>
                    <a:pt x="276" y="1594"/>
                  </a:lnTo>
                  <a:lnTo>
                    <a:pt x="274" y="1596"/>
                  </a:lnTo>
                  <a:lnTo>
                    <a:pt x="274" y="1594"/>
                  </a:lnTo>
                  <a:lnTo>
                    <a:pt x="276" y="1589"/>
                  </a:lnTo>
                  <a:lnTo>
                    <a:pt x="274" y="1586"/>
                  </a:lnTo>
                  <a:lnTo>
                    <a:pt x="273" y="1585"/>
                  </a:lnTo>
                  <a:lnTo>
                    <a:pt x="276" y="1582"/>
                  </a:lnTo>
                  <a:lnTo>
                    <a:pt x="276" y="1580"/>
                  </a:lnTo>
                  <a:lnTo>
                    <a:pt x="274" y="1580"/>
                  </a:lnTo>
                  <a:lnTo>
                    <a:pt x="274" y="1579"/>
                  </a:lnTo>
                  <a:lnTo>
                    <a:pt x="273" y="1579"/>
                  </a:lnTo>
                  <a:lnTo>
                    <a:pt x="273" y="1579"/>
                  </a:lnTo>
                  <a:lnTo>
                    <a:pt x="271" y="1579"/>
                  </a:lnTo>
                  <a:lnTo>
                    <a:pt x="270" y="1576"/>
                  </a:lnTo>
                  <a:lnTo>
                    <a:pt x="268" y="1574"/>
                  </a:lnTo>
                  <a:lnTo>
                    <a:pt x="264" y="1572"/>
                  </a:lnTo>
                  <a:lnTo>
                    <a:pt x="262" y="1571"/>
                  </a:lnTo>
                  <a:lnTo>
                    <a:pt x="261" y="1569"/>
                  </a:lnTo>
                  <a:lnTo>
                    <a:pt x="261" y="1568"/>
                  </a:lnTo>
                  <a:lnTo>
                    <a:pt x="261" y="1562"/>
                  </a:lnTo>
                  <a:lnTo>
                    <a:pt x="259" y="1560"/>
                  </a:lnTo>
                  <a:lnTo>
                    <a:pt x="257" y="1559"/>
                  </a:lnTo>
                  <a:lnTo>
                    <a:pt x="256" y="1557"/>
                  </a:lnTo>
                  <a:lnTo>
                    <a:pt x="254" y="1557"/>
                  </a:lnTo>
                  <a:lnTo>
                    <a:pt x="253" y="1557"/>
                  </a:lnTo>
                  <a:lnTo>
                    <a:pt x="251" y="1559"/>
                  </a:lnTo>
                  <a:lnTo>
                    <a:pt x="250" y="1560"/>
                  </a:lnTo>
                  <a:lnTo>
                    <a:pt x="248" y="1562"/>
                  </a:lnTo>
                  <a:lnTo>
                    <a:pt x="247" y="1568"/>
                  </a:lnTo>
                  <a:lnTo>
                    <a:pt x="245" y="1569"/>
                  </a:lnTo>
                  <a:lnTo>
                    <a:pt x="242" y="1572"/>
                  </a:lnTo>
                  <a:lnTo>
                    <a:pt x="240" y="1574"/>
                  </a:lnTo>
                  <a:lnTo>
                    <a:pt x="242" y="1576"/>
                  </a:lnTo>
                  <a:lnTo>
                    <a:pt x="244" y="1576"/>
                  </a:lnTo>
                  <a:lnTo>
                    <a:pt x="247" y="1576"/>
                  </a:lnTo>
                  <a:lnTo>
                    <a:pt x="248" y="1574"/>
                  </a:lnTo>
                  <a:lnTo>
                    <a:pt x="248" y="1572"/>
                  </a:lnTo>
                  <a:lnTo>
                    <a:pt x="247" y="1572"/>
                  </a:lnTo>
                  <a:lnTo>
                    <a:pt x="247" y="1572"/>
                  </a:lnTo>
                  <a:lnTo>
                    <a:pt x="247" y="1572"/>
                  </a:lnTo>
                  <a:lnTo>
                    <a:pt x="247" y="1571"/>
                  </a:lnTo>
                  <a:lnTo>
                    <a:pt x="247" y="1571"/>
                  </a:lnTo>
                  <a:lnTo>
                    <a:pt x="248" y="1571"/>
                  </a:lnTo>
                  <a:lnTo>
                    <a:pt x="248" y="1571"/>
                  </a:lnTo>
                  <a:lnTo>
                    <a:pt x="250" y="1572"/>
                  </a:lnTo>
                  <a:lnTo>
                    <a:pt x="250" y="1574"/>
                  </a:lnTo>
                  <a:lnTo>
                    <a:pt x="250" y="1574"/>
                  </a:lnTo>
                  <a:lnTo>
                    <a:pt x="257" y="1580"/>
                  </a:lnTo>
                  <a:lnTo>
                    <a:pt x="261" y="1582"/>
                  </a:lnTo>
                  <a:lnTo>
                    <a:pt x="261" y="1583"/>
                  </a:lnTo>
                  <a:lnTo>
                    <a:pt x="262" y="1585"/>
                  </a:lnTo>
                  <a:lnTo>
                    <a:pt x="262" y="1586"/>
                  </a:lnTo>
                  <a:lnTo>
                    <a:pt x="262" y="1588"/>
                  </a:lnTo>
                  <a:lnTo>
                    <a:pt x="264" y="1588"/>
                  </a:lnTo>
                  <a:lnTo>
                    <a:pt x="264" y="1589"/>
                  </a:lnTo>
                  <a:lnTo>
                    <a:pt x="265" y="1589"/>
                  </a:lnTo>
                  <a:lnTo>
                    <a:pt x="265" y="1589"/>
                  </a:lnTo>
                  <a:lnTo>
                    <a:pt x="265" y="1591"/>
                  </a:lnTo>
                  <a:lnTo>
                    <a:pt x="264" y="1591"/>
                  </a:lnTo>
                  <a:lnTo>
                    <a:pt x="264" y="1592"/>
                  </a:lnTo>
                  <a:lnTo>
                    <a:pt x="262" y="1596"/>
                  </a:lnTo>
                  <a:lnTo>
                    <a:pt x="264" y="1599"/>
                  </a:lnTo>
                  <a:lnTo>
                    <a:pt x="264" y="1600"/>
                  </a:lnTo>
                  <a:lnTo>
                    <a:pt x="268" y="1605"/>
                  </a:lnTo>
                  <a:lnTo>
                    <a:pt x="274" y="1608"/>
                  </a:lnTo>
                  <a:lnTo>
                    <a:pt x="279" y="1612"/>
                  </a:lnTo>
                  <a:lnTo>
                    <a:pt x="284" y="1616"/>
                  </a:lnTo>
                  <a:lnTo>
                    <a:pt x="291" y="1622"/>
                  </a:lnTo>
                  <a:lnTo>
                    <a:pt x="293" y="1623"/>
                  </a:lnTo>
                  <a:lnTo>
                    <a:pt x="293" y="1628"/>
                  </a:lnTo>
                  <a:lnTo>
                    <a:pt x="291" y="1631"/>
                  </a:lnTo>
                  <a:lnTo>
                    <a:pt x="290" y="1626"/>
                  </a:lnTo>
                  <a:lnTo>
                    <a:pt x="288" y="1623"/>
                  </a:lnTo>
                  <a:lnTo>
                    <a:pt x="287" y="1622"/>
                  </a:lnTo>
                  <a:lnTo>
                    <a:pt x="284" y="1622"/>
                  </a:lnTo>
                  <a:lnTo>
                    <a:pt x="281" y="1620"/>
                  </a:lnTo>
                  <a:lnTo>
                    <a:pt x="274" y="1612"/>
                  </a:lnTo>
                  <a:lnTo>
                    <a:pt x="271" y="1611"/>
                  </a:lnTo>
                  <a:lnTo>
                    <a:pt x="264" y="1608"/>
                  </a:lnTo>
                  <a:lnTo>
                    <a:pt x="262" y="1606"/>
                  </a:lnTo>
                  <a:lnTo>
                    <a:pt x="261" y="1602"/>
                  </a:lnTo>
                  <a:lnTo>
                    <a:pt x="259" y="1597"/>
                  </a:lnTo>
                  <a:lnTo>
                    <a:pt x="259" y="1592"/>
                  </a:lnTo>
                  <a:lnTo>
                    <a:pt x="259" y="1589"/>
                  </a:lnTo>
                  <a:lnTo>
                    <a:pt x="257" y="1588"/>
                  </a:lnTo>
                  <a:lnTo>
                    <a:pt x="257" y="1586"/>
                  </a:lnTo>
                  <a:lnTo>
                    <a:pt x="257" y="1586"/>
                  </a:lnTo>
                  <a:lnTo>
                    <a:pt x="256" y="1585"/>
                  </a:lnTo>
                  <a:lnTo>
                    <a:pt x="256" y="1583"/>
                  </a:lnTo>
                  <a:lnTo>
                    <a:pt x="248" y="1579"/>
                  </a:lnTo>
                  <a:lnTo>
                    <a:pt x="245" y="1579"/>
                  </a:lnTo>
                  <a:lnTo>
                    <a:pt x="242" y="1583"/>
                  </a:lnTo>
                  <a:lnTo>
                    <a:pt x="242" y="1583"/>
                  </a:lnTo>
                  <a:lnTo>
                    <a:pt x="239" y="1583"/>
                  </a:lnTo>
                  <a:lnTo>
                    <a:pt x="237" y="1583"/>
                  </a:lnTo>
                  <a:lnTo>
                    <a:pt x="228" y="1589"/>
                  </a:lnTo>
                  <a:lnTo>
                    <a:pt x="225" y="1589"/>
                  </a:lnTo>
                  <a:lnTo>
                    <a:pt x="231" y="1585"/>
                  </a:lnTo>
                  <a:lnTo>
                    <a:pt x="233" y="1583"/>
                  </a:lnTo>
                  <a:lnTo>
                    <a:pt x="233" y="1582"/>
                  </a:lnTo>
                  <a:lnTo>
                    <a:pt x="234" y="1580"/>
                  </a:lnTo>
                  <a:lnTo>
                    <a:pt x="233" y="1579"/>
                  </a:lnTo>
                  <a:lnTo>
                    <a:pt x="227" y="1579"/>
                  </a:lnTo>
                  <a:lnTo>
                    <a:pt x="225" y="1579"/>
                  </a:lnTo>
                  <a:lnTo>
                    <a:pt x="222" y="1582"/>
                  </a:lnTo>
                  <a:lnTo>
                    <a:pt x="217" y="1586"/>
                  </a:lnTo>
                  <a:lnTo>
                    <a:pt x="213" y="1589"/>
                  </a:lnTo>
                  <a:lnTo>
                    <a:pt x="208" y="1589"/>
                  </a:lnTo>
                  <a:lnTo>
                    <a:pt x="208" y="1585"/>
                  </a:lnTo>
                  <a:lnTo>
                    <a:pt x="207" y="1583"/>
                  </a:lnTo>
                  <a:lnTo>
                    <a:pt x="204" y="1580"/>
                  </a:lnTo>
                  <a:lnTo>
                    <a:pt x="202" y="1579"/>
                  </a:lnTo>
                  <a:lnTo>
                    <a:pt x="197" y="1574"/>
                  </a:lnTo>
                  <a:lnTo>
                    <a:pt x="196" y="1572"/>
                  </a:lnTo>
                  <a:lnTo>
                    <a:pt x="193" y="1572"/>
                  </a:lnTo>
                  <a:lnTo>
                    <a:pt x="188" y="1576"/>
                  </a:lnTo>
                  <a:lnTo>
                    <a:pt x="184" y="1577"/>
                  </a:lnTo>
                  <a:lnTo>
                    <a:pt x="182" y="1579"/>
                  </a:lnTo>
                  <a:lnTo>
                    <a:pt x="176" y="1583"/>
                  </a:lnTo>
                  <a:lnTo>
                    <a:pt x="170" y="1586"/>
                  </a:lnTo>
                  <a:lnTo>
                    <a:pt x="168" y="1588"/>
                  </a:lnTo>
                  <a:lnTo>
                    <a:pt x="167" y="1589"/>
                  </a:lnTo>
                  <a:lnTo>
                    <a:pt x="171" y="1589"/>
                  </a:lnTo>
                  <a:lnTo>
                    <a:pt x="171" y="1591"/>
                  </a:lnTo>
                  <a:lnTo>
                    <a:pt x="173" y="1594"/>
                  </a:lnTo>
                  <a:lnTo>
                    <a:pt x="176" y="1600"/>
                  </a:lnTo>
                  <a:lnTo>
                    <a:pt x="177" y="1602"/>
                  </a:lnTo>
                  <a:lnTo>
                    <a:pt x="185" y="1600"/>
                  </a:lnTo>
                  <a:lnTo>
                    <a:pt x="187" y="1602"/>
                  </a:lnTo>
                  <a:lnTo>
                    <a:pt x="190" y="1605"/>
                  </a:lnTo>
                  <a:lnTo>
                    <a:pt x="191" y="1606"/>
                  </a:lnTo>
                  <a:lnTo>
                    <a:pt x="180" y="1603"/>
                  </a:lnTo>
                  <a:lnTo>
                    <a:pt x="176" y="1606"/>
                  </a:lnTo>
                  <a:lnTo>
                    <a:pt x="174" y="1608"/>
                  </a:lnTo>
                  <a:lnTo>
                    <a:pt x="173" y="1611"/>
                  </a:lnTo>
                  <a:lnTo>
                    <a:pt x="173" y="1612"/>
                  </a:lnTo>
                  <a:lnTo>
                    <a:pt x="173" y="1614"/>
                  </a:lnTo>
                  <a:lnTo>
                    <a:pt x="174" y="1614"/>
                  </a:lnTo>
                  <a:lnTo>
                    <a:pt x="174" y="1616"/>
                  </a:lnTo>
                  <a:lnTo>
                    <a:pt x="174" y="1617"/>
                  </a:lnTo>
                  <a:lnTo>
                    <a:pt x="174" y="1619"/>
                  </a:lnTo>
                  <a:lnTo>
                    <a:pt x="173" y="1619"/>
                  </a:lnTo>
                  <a:lnTo>
                    <a:pt x="173" y="1619"/>
                  </a:lnTo>
                  <a:lnTo>
                    <a:pt x="174" y="1620"/>
                  </a:lnTo>
                  <a:lnTo>
                    <a:pt x="199" y="1617"/>
                  </a:lnTo>
                  <a:lnTo>
                    <a:pt x="202" y="1616"/>
                  </a:lnTo>
                  <a:lnTo>
                    <a:pt x="205" y="1616"/>
                  </a:lnTo>
                  <a:lnTo>
                    <a:pt x="207" y="1614"/>
                  </a:lnTo>
                  <a:lnTo>
                    <a:pt x="210" y="1612"/>
                  </a:lnTo>
                  <a:lnTo>
                    <a:pt x="220" y="1609"/>
                  </a:lnTo>
                  <a:lnTo>
                    <a:pt x="225" y="1609"/>
                  </a:lnTo>
                  <a:lnTo>
                    <a:pt x="227" y="1609"/>
                  </a:lnTo>
                  <a:lnTo>
                    <a:pt x="211" y="1614"/>
                  </a:lnTo>
                  <a:lnTo>
                    <a:pt x="205" y="1619"/>
                  </a:lnTo>
                  <a:lnTo>
                    <a:pt x="204" y="1619"/>
                  </a:lnTo>
                  <a:lnTo>
                    <a:pt x="205" y="1620"/>
                  </a:lnTo>
                  <a:lnTo>
                    <a:pt x="205" y="1622"/>
                  </a:lnTo>
                  <a:lnTo>
                    <a:pt x="205" y="1623"/>
                  </a:lnTo>
                  <a:lnTo>
                    <a:pt x="202" y="1625"/>
                  </a:lnTo>
                  <a:lnTo>
                    <a:pt x="205" y="1626"/>
                  </a:lnTo>
                  <a:lnTo>
                    <a:pt x="213" y="1626"/>
                  </a:lnTo>
                  <a:lnTo>
                    <a:pt x="214" y="1626"/>
                  </a:lnTo>
                  <a:lnTo>
                    <a:pt x="224" y="1620"/>
                  </a:lnTo>
                  <a:lnTo>
                    <a:pt x="240" y="1616"/>
                  </a:lnTo>
                  <a:lnTo>
                    <a:pt x="244" y="1614"/>
                  </a:lnTo>
                  <a:lnTo>
                    <a:pt x="250" y="1612"/>
                  </a:lnTo>
                  <a:lnTo>
                    <a:pt x="254" y="1611"/>
                  </a:lnTo>
                  <a:lnTo>
                    <a:pt x="256" y="1611"/>
                  </a:lnTo>
                  <a:lnTo>
                    <a:pt x="256" y="1612"/>
                  </a:lnTo>
                  <a:lnTo>
                    <a:pt x="254" y="1614"/>
                  </a:lnTo>
                  <a:lnTo>
                    <a:pt x="254" y="1614"/>
                  </a:lnTo>
                  <a:lnTo>
                    <a:pt x="253" y="1614"/>
                  </a:lnTo>
                  <a:lnTo>
                    <a:pt x="254" y="1619"/>
                  </a:lnTo>
                  <a:lnTo>
                    <a:pt x="261" y="1622"/>
                  </a:lnTo>
                  <a:lnTo>
                    <a:pt x="261" y="1626"/>
                  </a:lnTo>
                  <a:lnTo>
                    <a:pt x="259" y="1625"/>
                  </a:lnTo>
                  <a:lnTo>
                    <a:pt x="253" y="1620"/>
                  </a:lnTo>
                  <a:lnTo>
                    <a:pt x="251" y="1619"/>
                  </a:lnTo>
                  <a:lnTo>
                    <a:pt x="250" y="1619"/>
                  </a:lnTo>
                  <a:lnTo>
                    <a:pt x="247" y="1619"/>
                  </a:lnTo>
                  <a:lnTo>
                    <a:pt x="237" y="1619"/>
                  </a:lnTo>
                  <a:lnTo>
                    <a:pt x="222" y="1625"/>
                  </a:lnTo>
                  <a:lnTo>
                    <a:pt x="219" y="1628"/>
                  </a:lnTo>
                  <a:lnTo>
                    <a:pt x="214" y="1628"/>
                  </a:lnTo>
                  <a:lnTo>
                    <a:pt x="214" y="1629"/>
                  </a:lnTo>
                  <a:lnTo>
                    <a:pt x="214" y="1633"/>
                  </a:lnTo>
                  <a:lnTo>
                    <a:pt x="216" y="1639"/>
                  </a:lnTo>
                  <a:lnTo>
                    <a:pt x="216" y="1642"/>
                  </a:lnTo>
                  <a:lnTo>
                    <a:pt x="214" y="1643"/>
                  </a:lnTo>
                  <a:lnTo>
                    <a:pt x="213" y="1642"/>
                  </a:lnTo>
                  <a:lnTo>
                    <a:pt x="213" y="1637"/>
                  </a:lnTo>
                  <a:lnTo>
                    <a:pt x="211" y="1634"/>
                  </a:lnTo>
                  <a:lnTo>
                    <a:pt x="208" y="1633"/>
                  </a:lnTo>
                  <a:lnTo>
                    <a:pt x="207" y="1636"/>
                  </a:lnTo>
                  <a:lnTo>
                    <a:pt x="207" y="1639"/>
                  </a:lnTo>
                  <a:lnTo>
                    <a:pt x="207" y="1640"/>
                  </a:lnTo>
                  <a:lnTo>
                    <a:pt x="208" y="1643"/>
                  </a:lnTo>
                  <a:lnTo>
                    <a:pt x="210" y="1645"/>
                  </a:lnTo>
                  <a:lnTo>
                    <a:pt x="213" y="1646"/>
                  </a:lnTo>
                  <a:lnTo>
                    <a:pt x="231" y="1643"/>
                  </a:lnTo>
                  <a:lnTo>
                    <a:pt x="234" y="1645"/>
                  </a:lnTo>
                  <a:lnTo>
                    <a:pt x="219" y="1648"/>
                  </a:lnTo>
                  <a:lnTo>
                    <a:pt x="219" y="1648"/>
                  </a:lnTo>
                  <a:lnTo>
                    <a:pt x="217" y="1649"/>
                  </a:lnTo>
                  <a:lnTo>
                    <a:pt x="217" y="1653"/>
                  </a:lnTo>
                  <a:lnTo>
                    <a:pt x="217" y="1654"/>
                  </a:lnTo>
                  <a:lnTo>
                    <a:pt x="216" y="1656"/>
                  </a:lnTo>
                  <a:lnTo>
                    <a:pt x="216" y="1656"/>
                  </a:lnTo>
                  <a:lnTo>
                    <a:pt x="214" y="1653"/>
                  </a:lnTo>
                  <a:lnTo>
                    <a:pt x="214" y="1649"/>
                  </a:lnTo>
                  <a:lnTo>
                    <a:pt x="213" y="1649"/>
                  </a:lnTo>
                  <a:lnTo>
                    <a:pt x="208" y="1649"/>
                  </a:lnTo>
                  <a:lnTo>
                    <a:pt x="204" y="1642"/>
                  </a:lnTo>
                  <a:lnTo>
                    <a:pt x="199" y="1640"/>
                  </a:lnTo>
                  <a:lnTo>
                    <a:pt x="191" y="1639"/>
                  </a:lnTo>
                  <a:lnTo>
                    <a:pt x="188" y="1636"/>
                  </a:lnTo>
                  <a:lnTo>
                    <a:pt x="188" y="1636"/>
                  </a:lnTo>
                  <a:lnTo>
                    <a:pt x="185" y="1640"/>
                  </a:lnTo>
                  <a:lnTo>
                    <a:pt x="187" y="1642"/>
                  </a:lnTo>
                  <a:lnTo>
                    <a:pt x="187" y="1643"/>
                  </a:lnTo>
                  <a:lnTo>
                    <a:pt x="187" y="1645"/>
                  </a:lnTo>
                  <a:lnTo>
                    <a:pt x="187" y="1646"/>
                  </a:lnTo>
                  <a:lnTo>
                    <a:pt x="187" y="1649"/>
                  </a:lnTo>
                  <a:lnTo>
                    <a:pt x="185" y="1651"/>
                  </a:lnTo>
                  <a:lnTo>
                    <a:pt x="185" y="1651"/>
                  </a:lnTo>
                  <a:lnTo>
                    <a:pt x="185" y="1648"/>
                  </a:lnTo>
                  <a:lnTo>
                    <a:pt x="184" y="1643"/>
                  </a:lnTo>
                  <a:lnTo>
                    <a:pt x="184" y="1640"/>
                  </a:lnTo>
                  <a:lnTo>
                    <a:pt x="184" y="1639"/>
                  </a:lnTo>
                  <a:lnTo>
                    <a:pt x="179" y="1639"/>
                  </a:lnTo>
                  <a:lnTo>
                    <a:pt x="179" y="1637"/>
                  </a:lnTo>
                  <a:lnTo>
                    <a:pt x="180" y="1637"/>
                  </a:lnTo>
                  <a:lnTo>
                    <a:pt x="180" y="1636"/>
                  </a:lnTo>
                  <a:lnTo>
                    <a:pt x="182" y="1634"/>
                  </a:lnTo>
                  <a:lnTo>
                    <a:pt x="182" y="1633"/>
                  </a:lnTo>
                  <a:lnTo>
                    <a:pt x="171" y="1631"/>
                  </a:lnTo>
                  <a:lnTo>
                    <a:pt x="168" y="1634"/>
                  </a:lnTo>
                  <a:lnTo>
                    <a:pt x="168" y="1636"/>
                  </a:lnTo>
                  <a:lnTo>
                    <a:pt x="168" y="1636"/>
                  </a:lnTo>
                  <a:lnTo>
                    <a:pt x="170" y="1637"/>
                  </a:lnTo>
                  <a:lnTo>
                    <a:pt x="171" y="1637"/>
                  </a:lnTo>
                  <a:lnTo>
                    <a:pt x="170" y="1639"/>
                  </a:lnTo>
                  <a:lnTo>
                    <a:pt x="170" y="1640"/>
                  </a:lnTo>
                  <a:lnTo>
                    <a:pt x="170" y="1642"/>
                  </a:lnTo>
                  <a:lnTo>
                    <a:pt x="170" y="1642"/>
                  </a:lnTo>
                  <a:lnTo>
                    <a:pt x="170" y="1643"/>
                  </a:lnTo>
                  <a:lnTo>
                    <a:pt x="170" y="1645"/>
                  </a:lnTo>
                  <a:lnTo>
                    <a:pt x="168" y="1645"/>
                  </a:lnTo>
                  <a:lnTo>
                    <a:pt x="168" y="1643"/>
                  </a:lnTo>
                  <a:lnTo>
                    <a:pt x="168" y="1643"/>
                  </a:lnTo>
                  <a:lnTo>
                    <a:pt x="168" y="1642"/>
                  </a:lnTo>
                  <a:lnTo>
                    <a:pt x="167" y="1640"/>
                  </a:lnTo>
                  <a:lnTo>
                    <a:pt x="159" y="1633"/>
                  </a:lnTo>
                  <a:lnTo>
                    <a:pt x="157" y="1631"/>
                  </a:lnTo>
                  <a:lnTo>
                    <a:pt x="156" y="1633"/>
                  </a:lnTo>
                  <a:lnTo>
                    <a:pt x="153" y="1636"/>
                  </a:lnTo>
                  <a:lnTo>
                    <a:pt x="150" y="1639"/>
                  </a:lnTo>
                  <a:lnTo>
                    <a:pt x="150" y="1637"/>
                  </a:lnTo>
                  <a:lnTo>
                    <a:pt x="148" y="1637"/>
                  </a:lnTo>
                  <a:lnTo>
                    <a:pt x="148" y="1637"/>
                  </a:lnTo>
                  <a:lnTo>
                    <a:pt x="147" y="1639"/>
                  </a:lnTo>
                  <a:lnTo>
                    <a:pt x="148" y="1640"/>
                  </a:lnTo>
                  <a:lnTo>
                    <a:pt x="148" y="1642"/>
                  </a:lnTo>
                  <a:lnTo>
                    <a:pt x="147" y="1646"/>
                  </a:lnTo>
                  <a:lnTo>
                    <a:pt x="147" y="1646"/>
                  </a:lnTo>
                  <a:lnTo>
                    <a:pt x="147" y="1643"/>
                  </a:lnTo>
                  <a:lnTo>
                    <a:pt x="145" y="1640"/>
                  </a:lnTo>
                  <a:lnTo>
                    <a:pt x="143" y="1639"/>
                  </a:lnTo>
                  <a:lnTo>
                    <a:pt x="142" y="1639"/>
                  </a:lnTo>
                  <a:lnTo>
                    <a:pt x="125" y="1639"/>
                  </a:lnTo>
                  <a:lnTo>
                    <a:pt x="123" y="1640"/>
                  </a:lnTo>
                  <a:lnTo>
                    <a:pt x="122" y="1642"/>
                  </a:lnTo>
                  <a:lnTo>
                    <a:pt x="120" y="1643"/>
                  </a:lnTo>
                  <a:lnTo>
                    <a:pt x="120" y="1645"/>
                  </a:lnTo>
                  <a:lnTo>
                    <a:pt x="120" y="1646"/>
                  </a:lnTo>
                  <a:lnTo>
                    <a:pt x="120" y="1646"/>
                  </a:lnTo>
                  <a:lnTo>
                    <a:pt x="122" y="1648"/>
                  </a:lnTo>
                  <a:lnTo>
                    <a:pt x="120" y="1649"/>
                  </a:lnTo>
                  <a:lnTo>
                    <a:pt x="120" y="1651"/>
                  </a:lnTo>
                  <a:lnTo>
                    <a:pt x="122" y="1651"/>
                  </a:lnTo>
                  <a:lnTo>
                    <a:pt x="122" y="1651"/>
                  </a:lnTo>
                  <a:lnTo>
                    <a:pt x="120" y="1653"/>
                  </a:lnTo>
                  <a:lnTo>
                    <a:pt x="140" y="1651"/>
                  </a:lnTo>
                  <a:lnTo>
                    <a:pt x="143" y="1653"/>
                  </a:lnTo>
                  <a:lnTo>
                    <a:pt x="142" y="1653"/>
                  </a:lnTo>
                  <a:lnTo>
                    <a:pt x="137" y="1654"/>
                  </a:lnTo>
                  <a:lnTo>
                    <a:pt x="137" y="1654"/>
                  </a:lnTo>
                  <a:lnTo>
                    <a:pt x="143" y="1656"/>
                  </a:lnTo>
                  <a:lnTo>
                    <a:pt x="147" y="1654"/>
                  </a:lnTo>
                  <a:lnTo>
                    <a:pt x="150" y="1656"/>
                  </a:lnTo>
                  <a:lnTo>
                    <a:pt x="151" y="1657"/>
                  </a:lnTo>
                  <a:lnTo>
                    <a:pt x="151" y="1657"/>
                  </a:lnTo>
                  <a:lnTo>
                    <a:pt x="143" y="1657"/>
                  </a:lnTo>
                  <a:lnTo>
                    <a:pt x="140" y="1657"/>
                  </a:lnTo>
                  <a:lnTo>
                    <a:pt x="136" y="1656"/>
                  </a:lnTo>
                  <a:lnTo>
                    <a:pt x="133" y="1657"/>
                  </a:lnTo>
                  <a:lnTo>
                    <a:pt x="133" y="1659"/>
                  </a:lnTo>
                  <a:lnTo>
                    <a:pt x="127" y="1662"/>
                  </a:lnTo>
                  <a:lnTo>
                    <a:pt x="120" y="1662"/>
                  </a:lnTo>
                  <a:lnTo>
                    <a:pt x="117" y="1663"/>
                  </a:lnTo>
                  <a:lnTo>
                    <a:pt x="119" y="1665"/>
                  </a:lnTo>
                  <a:lnTo>
                    <a:pt x="120" y="1665"/>
                  </a:lnTo>
                  <a:lnTo>
                    <a:pt x="122" y="1663"/>
                  </a:lnTo>
                  <a:lnTo>
                    <a:pt x="123" y="1663"/>
                  </a:lnTo>
                  <a:lnTo>
                    <a:pt x="125" y="1663"/>
                  </a:lnTo>
                  <a:lnTo>
                    <a:pt x="127" y="1666"/>
                  </a:lnTo>
                  <a:lnTo>
                    <a:pt x="128" y="1668"/>
                  </a:lnTo>
                  <a:lnTo>
                    <a:pt x="131" y="1668"/>
                  </a:lnTo>
                  <a:lnTo>
                    <a:pt x="137" y="1668"/>
                  </a:lnTo>
                  <a:lnTo>
                    <a:pt x="153" y="1660"/>
                  </a:lnTo>
                  <a:lnTo>
                    <a:pt x="160" y="1660"/>
                  </a:lnTo>
                  <a:lnTo>
                    <a:pt x="159" y="1662"/>
                  </a:lnTo>
                  <a:lnTo>
                    <a:pt x="157" y="1662"/>
                  </a:lnTo>
                  <a:lnTo>
                    <a:pt x="159" y="1663"/>
                  </a:lnTo>
                  <a:lnTo>
                    <a:pt x="162" y="1663"/>
                  </a:lnTo>
                  <a:lnTo>
                    <a:pt x="163" y="1663"/>
                  </a:lnTo>
                  <a:lnTo>
                    <a:pt x="165" y="1663"/>
                  </a:lnTo>
                  <a:lnTo>
                    <a:pt x="174" y="1677"/>
                  </a:lnTo>
                  <a:lnTo>
                    <a:pt x="173" y="1677"/>
                  </a:lnTo>
                  <a:lnTo>
                    <a:pt x="171" y="1677"/>
                  </a:lnTo>
                  <a:lnTo>
                    <a:pt x="170" y="1677"/>
                  </a:lnTo>
                  <a:lnTo>
                    <a:pt x="173" y="1685"/>
                  </a:lnTo>
                  <a:lnTo>
                    <a:pt x="177" y="1688"/>
                  </a:lnTo>
                  <a:lnTo>
                    <a:pt x="188" y="1691"/>
                  </a:lnTo>
                  <a:lnTo>
                    <a:pt x="197" y="1689"/>
                  </a:lnTo>
                  <a:lnTo>
                    <a:pt x="200" y="1689"/>
                  </a:lnTo>
                  <a:lnTo>
                    <a:pt x="200" y="1691"/>
                  </a:lnTo>
                  <a:lnTo>
                    <a:pt x="204" y="1693"/>
                  </a:lnTo>
                  <a:lnTo>
                    <a:pt x="207" y="1699"/>
                  </a:lnTo>
                  <a:lnTo>
                    <a:pt x="207" y="1700"/>
                  </a:lnTo>
                  <a:lnTo>
                    <a:pt x="205" y="1699"/>
                  </a:lnTo>
                  <a:lnTo>
                    <a:pt x="204" y="1697"/>
                  </a:lnTo>
                  <a:lnTo>
                    <a:pt x="202" y="1696"/>
                  </a:lnTo>
                  <a:lnTo>
                    <a:pt x="200" y="1694"/>
                  </a:lnTo>
                  <a:lnTo>
                    <a:pt x="199" y="1691"/>
                  </a:lnTo>
                  <a:lnTo>
                    <a:pt x="197" y="1691"/>
                  </a:lnTo>
                  <a:lnTo>
                    <a:pt x="194" y="1693"/>
                  </a:lnTo>
                  <a:lnTo>
                    <a:pt x="193" y="1696"/>
                  </a:lnTo>
                  <a:lnTo>
                    <a:pt x="191" y="1697"/>
                  </a:lnTo>
                  <a:lnTo>
                    <a:pt x="184" y="1693"/>
                  </a:lnTo>
                  <a:lnTo>
                    <a:pt x="179" y="1693"/>
                  </a:lnTo>
                  <a:lnTo>
                    <a:pt x="179" y="1693"/>
                  </a:lnTo>
                  <a:lnTo>
                    <a:pt x="177" y="1694"/>
                  </a:lnTo>
                  <a:lnTo>
                    <a:pt x="177" y="1696"/>
                  </a:lnTo>
                  <a:lnTo>
                    <a:pt x="179" y="1705"/>
                  </a:lnTo>
                  <a:lnTo>
                    <a:pt x="179" y="1708"/>
                  </a:lnTo>
                  <a:lnTo>
                    <a:pt x="177" y="1710"/>
                  </a:lnTo>
                  <a:lnTo>
                    <a:pt x="174" y="1714"/>
                  </a:lnTo>
                  <a:lnTo>
                    <a:pt x="174" y="1716"/>
                  </a:lnTo>
                  <a:lnTo>
                    <a:pt x="174" y="1719"/>
                  </a:lnTo>
                  <a:lnTo>
                    <a:pt x="177" y="1720"/>
                  </a:lnTo>
                  <a:lnTo>
                    <a:pt x="187" y="1716"/>
                  </a:lnTo>
                  <a:lnTo>
                    <a:pt x="190" y="1720"/>
                  </a:lnTo>
                  <a:lnTo>
                    <a:pt x="187" y="1719"/>
                  </a:lnTo>
                  <a:lnTo>
                    <a:pt x="187" y="1717"/>
                  </a:lnTo>
                  <a:lnTo>
                    <a:pt x="185" y="1719"/>
                  </a:lnTo>
                  <a:lnTo>
                    <a:pt x="184" y="1720"/>
                  </a:lnTo>
                  <a:lnTo>
                    <a:pt x="177" y="1722"/>
                  </a:lnTo>
                  <a:lnTo>
                    <a:pt x="174" y="1722"/>
                  </a:lnTo>
                  <a:lnTo>
                    <a:pt x="173" y="1720"/>
                  </a:lnTo>
                  <a:lnTo>
                    <a:pt x="171" y="1717"/>
                  </a:lnTo>
                  <a:lnTo>
                    <a:pt x="171" y="1714"/>
                  </a:lnTo>
                  <a:lnTo>
                    <a:pt x="176" y="1708"/>
                  </a:lnTo>
                  <a:lnTo>
                    <a:pt x="176" y="1705"/>
                  </a:lnTo>
                  <a:lnTo>
                    <a:pt x="176" y="1703"/>
                  </a:lnTo>
                  <a:lnTo>
                    <a:pt x="176" y="1696"/>
                  </a:lnTo>
                  <a:lnTo>
                    <a:pt x="176" y="1694"/>
                  </a:lnTo>
                  <a:lnTo>
                    <a:pt x="174" y="1693"/>
                  </a:lnTo>
                  <a:lnTo>
                    <a:pt x="174" y="1691"/>
                  </a:lnTo>
                  <a:lnTo>
                    <a:pt x="167" y="1682"/>
                  </a:lnTo>
                  <a:lnTo>
                    <a:pt x="167" y="1680"/>
                  </a:lnTo>
                  <a:lnTo>
                    <a:pt x="167" y="1676"/>
                  </a:lnTo>
                  <a:lnTo>
                    <a:pt x="167" y="1673"/>
                  </a:lnTo>
                  <a:lnTo>
                    <a:pt x="167" y="1669"/>
                  </a:lnTo>
                  <a:lnTo>
                    <a:pt x="157" y="1668"/>
                  </a:lnTo>
                  <a:lnTo>
                    <a:pt x="156" y="1665"/>
                  </a:lnTo>
                  <a:lnTo>
                    <a:pt x="154" y="1665"/>
                  </a:lnTo>
                  <a:lnTo>
                    <a:pt x="153" y="1665"/>
                  </a:lnTo>
                  <a:lnTo>
                    <a:pt x="150" y="1666"/>
                  </a:lnTo>
                  <a:lnTo>
                    <a:pt x="143" y="1669"/>
                  </a:lnTo>
                  <a:lnTo>
                    <a:pt x="142" y="1671"/>
                  </a:lnTo>
                  <a:lnTo>
                    <a:pt x="142" y="1673"/>
                  </a:lnTo>
                  <a:lnTo>
                    <a:pt x="143" y="1673"/>
                  </a:lnTo>
                  <a:lnTo>
                    <a:pt x="143" y="1674"/>
                  </a:lnTo>
                  <a:lnTo>
                    <a:pt x="143" y="1677"/>
                  </a:lnTo>
                  <a:lnTo>
                    <a:pt x="143" y="1680"/>
                  </a:lnTo>
                  <a:lnTo>
                    <a:pt x="140" y="1676"/>
                  </a:lnTo>
                  <a:lnTo>
                    <a:pt x="140" y="1674"/>
                  </a:lnTo>
                  <a:lnTo>
                    <a:pt x="139" y="1673"/>
                  </a:lnTo>
                  <a:lnTo>
                    <a:pt x="137" y="1673"/>
                  </a:lnTo>
                  <a:lnTo>
                    <a:pt x="134" y="1673"/>
                  </a:lnTo>
                  <a:lnTo>
                    <a:pt x="131" y="1674"/>
                  </a:lnTo>
                  <a:lnTo>
                    <a:pt x="130" y="1679"/>
                  </a:lnTo>
                  <a:lnTo>
                    <a:pt x="131" y="1683"/>
                  </a:lnTo>
                  <a:lnTo>
                    <a:pt x="133" y="1686"/>
                  </a:lnTo>
                  <a:lnTo>
                    <a:pt x="139" y="1696"/>
                  </a:lnTo>
                  <a:lnTo>
                    <a:pt x="145" y="1711"/>
                  </a:lnTo>
                  <a:lnTo>
                    <a:pt x="145" y="1714"/>
                  </a:lnTo>
                  <a:lnTo>
                    <a:pt x="140" y="1719"/>
                  </a:lnTo>
                  <a:lnTo>
                    <a:pt x="143" y="1714"/>
                  </a:lnTo>
                  <a:lnTo>
                    <a:pt x="143" y="1713"/>
                  </a:lnTo>
                  <a:lnTo>
                    <a:pt x="142" y="1710"/>
                  </a:lnTo>
                  <a:lnTo>
                    <a:pt x="137" y="1700"/>
                  </a:lnTo>
                  <a:lnTo>
                    <a:pt x="136" y="1697"/>
                  </a:lnTo>
                  <a:lnTo>
                    <a:pt x="133" y="1694"/>
                  </a:lnTo>
                  <a:lnTo>
                    <a:pt x="131" y="1693"/>
                  </a:lnTo>
                  <a:lnTo>
                    <a:pt x="130" y="1686"/>
                  </a:lnTo>
                  <a:lnTo>
                    <a:pt x="127" y="1682"/>
                  </a:lnTo>
                  <a:lnTo>
                    <a:pt x="127" y="1680"/>
                  </a:lnTo>
                  <a:lnTo>
                    <a:pt x="125" y="1677"/>
                  </a:lnTo>
                  <a:lnTo>
                    <a:pt x="120" y="1679"/>
                  </a:lnTo>
                  <a:lnTo>
                    <a:pt x="111" y="1685"/>
                  </a:lnTo>
                  <a:lnTo>
                    <a:pt x="108" y="1685"/>
                  </a:lnTo>
                  <a:lnTo>
                    <a:pt x="103" y="1688"/>
                  </a:lnTo>
                  <a:lnTo>
                    <a:pt x="100" y="1693"/>
                  </a:lnTo>
                  <a:lnTo>
                    <a:pt x="97" y="1697"/>
                  </a:lnTo>
                  <a:lnTo>
                    <a:pt x="99" y="1697"/>
                  </a:lnTo>
                  <a:lnTo>
                    <a:pt x="99" y="1699"/>
                  </a:lnTo>
                  <a:lnTo>
                    <a:pt x="100" y="1700"/>
                  </a:lnTo>
                  <a:lnTo>
                    <a:pt x="100" y="1702"/>
                  </a:lnTo>
                  <a:lnTo>
                    <a:pt x="103" y="1702"/>
                  </a:lnTo>
                  <a:lnTo>
                    <a:pt x="105" y="1703"/>
                  </a:lnTo>
                  <a:lnTo>
                    <a:pt x="106" y="1703"/>
                  </a:lnTo>
                  <a:lnTo>
                    <a:pt x="102" y="1703"/>
                  </a:lnTo>
                  <a:lnTo>
                    <a:pt x="100" y="1703"/>
                  </a:lnTo>
                  <a:lnTo>
                    <a:pt x="99" y="1700"/>
                  </a:lnTo>
                  <a:lnTo>
                    <a:pt x="97" y="1700"/>
                  </a:lnTo>
                  <a:lnTo>
                    <a:pt x="96" y="1700"/>
                  </a:lnTo>
                  <a:lnTo>
                    <a:pt x="96" y="1703"/>
                  </a:lnTo>
                  <a:lnTo>
                    <a:pt x="96" y="1705"/>
                  </a:lnTo>
                  <a:lnTo>
                    <a:pt x="100" y="1706"/>
                  </a:lnTo>
                  <a:lnTo>
                    <a:pt x="103" y="1713"/>
                  </a:lnTo>
                  <a:lnTo>
                    <a:pt x="105" y="1714"/>
                  </a:lnTo>
                  <a:lnTo>
                    <a:pt x="105" y="1714"/>
                  </a:lnTo>
                  <a:lnTo>
                    <a:pt x="106" y="1719"/>
                  </a:lnTo>
                  <a:lnTo>
                    <a:pt x="108" y="1719"/>
                  </a:lnTo>
                  <a:lnTo>
                    <a:pt x="128" y="1725"/>
                  </a:lnTo>
                  <a:lnTo>
                    <a:pt x="128" y="1726"/>
                  </a:lnTo>
                  <a:lnTo>
                    <a:pt x="117" y="1723"/>
                  </a:lnTo>
                  <a:lnTo>
                    <a:pt x="111" y="1723"/>
                  </a:lnTo>
                  <a:lnTo>
                    <a:pt x="108" y="1725"/>
                  </a:lnTo>
                  <a:lnTo>
                    <a:pt x="105" y="1725"/>
                  </a:lnTo>
                  <a:lnTo>
                    <a:pt x="105" y="1723"/>
                  </a:lnTo>
                  <a:lnTo>
                    <a:pt x="105" y="1720"/>
                  </a:lnTo>
                  <a:lnTo>
                    <a:pt x="99" y="1714"/>
                  </a:lnTo>
                  <a:lnTo>
                    <a:pt x="97" y="1714"/>
                  </a:lnTo>
                  <a:lnTo>
                    <a:pt x="97" y="1722"/>
                  </a:lnTo>
                  <a:lnTo>
                    <a:pt x="94" y="1726"/>
                  </a:lnTo>
                  <a:lnTo>
                    <a:pt x="90" y="1733"/>
                  </a:lnTo>
                  <a:lnTo>
                    <a:pt x="91" y="1728"/>
                  </a:lnTo>
                  <a:lnTo>
                    <a:pt x="94" y="1722"/>
                  </a:lnTo>
                  <a:lnTo>
                    <a:pt x="96" y="1717"/>
                  </a:lnTo>
                  <a:lnTo>
                    <a:pt x="96" y="1713"/>
                  </a:lnTo>
                  <a:lnTo>
                    <a:pt x="96" y="1711"/>
                  </a:lnTo>
                  <a:lnTo>
                    <a:pt x="96" y="1708"/>
                  </a:lnTo>
                  <a:lnTo>
                    <a:pt x="94" y="1706"/>
                  </a:lnTo>
                  <a:lnTo>
                    <a:pt x="93" y="1705"/>
                  </a:lnTo>
                  <a:lnTo>
                    <a:pt x="91" y="1703"/>
                  </a:lnTo>
                  <a:lnTo>
                    <a:pt x="90" y="1705"/>
                  </a:lnTo>
                  <a:lnTo>
                    <a:pt x="85" y="1708"/>
                  </a:lnTo>
                  <a:lnTo>
                    <a:pt x="85" y="1708"/>
                  </a:lnTo>
                  <a:lnTo>
                    <a:pt x="80" y="1708"/>
                  </a:lnTo>
                  <a:lnTo>
                    <a:pt x="77" y="1708"/>
                  </a:lnTo>
                  <a:lnTo>
                    <a:pt x="77" y="1710"/>
                  </a:lnTo>
                  <a:lnTo>
                    <a:pt x="77" y="1714"/>
                  </a:lnTo>
                  <a:lnTo>
                    <a:pt x="79" y="1717"/>
                  </a:lnTo>
                  <a:lnTo>
                    <a:pt x="82" y="1720"/>
                  </a:lnTo>
                  <a:lnTo>
                    <a:pt x="83" y="1722"/>
                  </a:lnTo>
                  <a:lnTo>
                    <a:pt x="79" y="1719"/>
                  </a:lnTo>
                  <a:lnTo>
                    <a:pt x="76" y="1717"/>
                  </a:lnTo>
                  <a:lnTo>
                    <a:pt x="76" y="1716"/>
                  </a:lnTo>
                  <a:lnTo>
                    <a:pt x="76" y="1713"/>
                  </a:lnTo>
                  <a:lnTo>
                    <a:pt x="74" y="1711"/>
                  </a:lnTo>
                  <a:lnTo>
                    <a:pt x="73" y="1710"/>
                  </a:lnTo>
                  <a:lnTo>
                    <a:pt x="66" y="1710"/>
                  </a:lnTo>
                  <a:lnTo>
                    <a:pt x="62" y="1706"/>
                  </a:lnTo>
                  <a:lnTo>
                    <a:pt x="60" y="1706"/>
                  </a:lnTo>
                  <a:lnTo>
                    <a:pt x="59" y="1706"/>
                  </a:lnTo>
                  <a:lnTo>
                    <a:pt x="59" y="1708"/>
                  </a:lnTo>
                  <a:lnTo>
                    <a:pt x="57" y="1711"/>
                  </a:lnTo>
                  <a:lnTo>
                    <a:pt x="56" y="1716"/>
                  </a:lnTo>
                  <a:lnTo>
                    <a:pt x="56" y="1717"/>
                  </a:lnTo>
                  <a:lnTo>
                    <a:pt x="57" y="1719"/>
                  </a:lnTo>
                  <a:lnTo>
                    <a:pt x="59" y="1719"/>
                  </a:lnTo>
                  <a:lnTo>
                    <a:pt x="70" y="1722"/>
                  </a:lnTo>
                  <a:lnTo>
                    <a:pt x="71" y="1725"/>
                  </a:lnTo>
                  <a:lnTo>
                    <a:pt x="70" y="1725"/>
                  </a:lnTo>
                  <a:lnTo>
                    <a:pt x="68" y="1723"/>
                  </a:lnTo>
                  <a:lnTo>
                    <a:pt x="68" y="1723"/>
                  </a:lnTo>
                  <a:lnTo>
                    <a:pt x="66" y="1723"/>
                  </a:lnTo>
                  <a:lnTo>
                    <a:pt x="66" y="1725"/>
                  </a:lnTo>
                  <a:lnTo>
                    <a:pt x="66" y="1725"/>
                  </a:lnTo>
                  <a:lnTo>
                    <a:pt x="63" y="1733"/>
                  </a:lnTo>
                  <a:lnTo>
                    <a:pt x="63" y="1734"/>
                  </a:lnTo>
                  <a:lnTo>
                    <a:pt x="62" y="1736"/>
                  </a:lnTo>
                  <a:lnTo>
                    <a:pt x="62" y="1736"/>
                  </a:lnTo>
                  <a:lnTo>
                    <a:pt x="60" y="1726"/>
                  </a:lnTo>
                  <a:lnTo>
                    <a:pt x="56" y="1722"/>
                  </a:lnTo>
                  <a:lnTo>
                    <a:pt x="51" y="1720"/>
                  </a:lnTo>
                  <a:lnTo>
                    <a:pt x="46" y="1714"/>
                  </a:lnTo>
                  <a:lnTo>
                    <a:pt x="46" y="1714"/>
                  </a:lnTo>
                  <a:lnTo>
                    <a:pt x="48" y="1713"/>
                  </a:lnTo>
                  <a:lnTo>
                    <a:pt x="48" y="1711"/>
                  </a:lnTo>
                  <a:lnTo>
                    <a:pt x="48" y="1710"/>
                  </a:lnTo>
                  <a:lnTo>
                    <a:pt x="46" y="1710"/>
                  </a:lnTo>
                  <a:lnTo>
                    <a:pt x="46" y="1710"/>
                  </a:lnTo>
                  <a:lnTo>
                    <a:pt x="46" y="1710"/>
                  </a:lnTo>
                  <a:lnTo>
                    <a:pt x="45" y="1708"/>
                  </a:lnTo>
                  <a:lnTo>
                    <a:pt x="42" y="1705"/>
                  </a:lnTo>
                  <a:lnTo>
                    <a:pt x="40" y="1703"/>
                  </a:lnTo>
                  <a:lnTo>
                    <a:pt x="39" y="1702"/>
                  </a:lnTo>
                  <a:lnTo>
                    <a:pt x="37" y="1703"/>
                  </a:lnTo>
                  <a:lnTo>
                    <a:pt x="37" y="1705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6" y="1706"/>
                  </a:lnTo>
                  <a:lnTo>
                    <a:pt x="34" y="1706"/>
                  </a:lnTo>
                  <a:lnTo>
                    <a:pt x="33" y="1706"/>
                  </a:lnTo>
                  <a:lnTo>
                    <a:pt x="33" y="1706"/>
                  </a:lnTo>
                  <a:lnTo>
                    <a:pt x="33" y="1708"/>
                  </a:lnTo>
                  <a:lnTo>
                    <a:pt x="33" y="1706"/>
                  </a:lnTo>
                  <a:lnTo>
                    <a:pt x="33" y="1708"/>
                  </a:lnTo>
                  <a:lnTo>
                    <a:pt x="34" y="1710"/>
                  </a:lnTo>
                  <a:lnTo>
                    <a:pt x="34" y="1710"/>
                  </a:lnTo>
                  <a:lnTo>
                    <a:pt x="33" y="1710"/>
                  </a:lnTo>
                  <a:lnTo>
                    <a:pt x="33" y="1710"/>
                  </a:lnTo>
                  <a:lnTo>
                    <a:pt x="33" y="1711"/>
                  </a:lnTo>
                  <a:lnTo>
                    <a:pt x="33" y="1713"/>
                  </a:lnTo>
                  <a:lnTo>
                    <a:pt x="36" y="1714"/>
                  </a:lnTo>
                  <a:lnTo>
                    <a:pt x="36" y="1716"/>
                  </a:lnTo>
                  <a:lnTo>
                    <a:pt x="36" y="1717"/>
                  </a:lnTo>
                  <a:lnTo>
                    <a:pt x="34" y="1717"/>
                  </a:lnTo>
                  <a:lnTo>
                    <a:pt x="34" y="1717"/>
                  </a:lnTo>
                  <a:lnTo>
                    <a:pt x="36" y="1719"/>
                  </a:lnTo>
                  <a:lnTo>
                    <a:pt x="42" y="1720"/>
                  </a:lnTo>
                  <a:lnTo>
                    <a:pt x="50" y="1725"/>
                  </a:lnTo>
                  <a:lnTo>
                    <a:pt x="50" y="1728"/>
                  </a:lnTo>
                  <a:lnTo>
                    <a:pt x="51" y="1730"/>
                  </a:lnTo>
                  <a:lnTo>
                    <a:pt x="53" y="1731"/>
                  </a:lnTo>
                  <a:lnTo>
                    <a:pt x="54" y="1731"/>
                  </a:lnTo>
                  <a:lnTo>
                    <a:pt x="56" y="1731"/>
                  </a:lnTo>
                  <a:lnTo>
                    <a:pt x="57" y="1733"/>
                  </a:lnTo>
                  <a:lnTo>
                    <a:pt x="56" y="1734"/>
                  </a:lnTo>
                  <a:lnTo>
                    <a:pt x="53" y="1734"/>
                  </a:lnTo>
                  <a:lnTo>
                    <a:pt x="50" y="1733"/>
                  </a:lnTo>
                  <a:lnTo>
                    <a:pt x="50" y="1736"/>
                  </a:lnTo>
                  <a:lnTo>
                    <a:pt x="48" y="1737"/>
                  </a:lnTo>
                  <a:lnTo>
                    <a:pt x="45" y="1740"/>
                  </a:lnTo>
                  <a:lnTo>
                    <a:pt x="45" y="1740"/>
                  </a:lnTo>
                  <a:lnTo>
                    <a:pt x="45" y="1742"/>
                  </a:lnTo>
                  <a:lnTo>
                    <a:pt x="45" y="1743"/>
                  </a:lnTo>
                  <a:lnTo>
                    <a:pt x="43" y="1743"/>
                  </a:lnTo>
                  <a:lnTo>
                    <a:pt x="43" y="1743"/>
                  </a:lnTo>
                  <a:lnTo>
                    <a:pt x="42" y="1742"/>
                  </a:lnTo>
                  <a:lnTo>
                    <a:pt x="42" y="1740"/>
                  </a:lnTo>
                  <a:lnTo>
                    <a:pt x="42" y="1742"/>
                  </a:lnTo>
                  <a:lnTo>
                    <a:pt x="40" y="1742"/>
                  </a:lnTo>
                  <a:lnTo>
                    <a:pt x="40" y="1743"/>
                  </a:lnTo>
                  <a:lnTo>
                    <a:pt x="40" y="1743"/>
                  </a:lnTo>
                  <a:lnTo>
                    <a:pt x="39" y="1742"/>
                  </a:lnTo>
                  <a:lnTo>
                    <a:pt x="39" y="1740"/>
                  </a:lnTo>
                  <a:lnTo>
                    <a:pt x="39" y="1740"/>
                  </a:lnTo>
                  <a:lnTo>
                    <a:pt x="37" y="1740"/>
                  </a:lnTo>
                  <a:lnTo>
                    <a:pt x="37" y="1742"/>
                  </a:lnTo>
                  <a:lnTo>
                    <a:pt x="36" y="1745"/>
                  </a:lnTo>
                  <a:lnTo>
                    <a:pt x="36" y="1748"/>
                  </a:lnTo>
                  <a:lnTo>
                    <a:pt x="34" y="1750"/>
                  </a:lnTo>
                  <a:lnTo>
                    <a:pt x="37" y="1753"/>
                  </a:lnTo>
                  <a:lnTo>
                    <a:pt x="39" y="1753"/>
                  </a:lnTo>
                  <a:lnTo>
                    <a:pt x="40" y="1753"/>
                  </a:lnTo>
                  <a:lnTo>
                    <a:pt x="42" y="1750"/>
                  </a:lnTo>
                  <a:lnTo>
                    <a:pt x="43" y="1750"/>
                  </a:lnTo>
                  <a:lnTo>
                    <a:pt x="48" y="1751"/>
                  </a:lnTo>
                  <a:lnTo>
                    <a:pt x="50" y="1750"/>
                  </a:lnTo>
                  <a:lnTo>
                    <a:pt x="53" y="1748"/>
                  </a:lnTo>
                  <a:lnTo>
                    <a:pt x="59" y="1746"/>
                  </a:lnTo>
                  <a:lnTo>
                    <a:pt x="59" y="1746"/>
                  </a:lnTo>
                  <a:lnTo>
                    <a:pt x="60" y="1748"/>
                  </a:lnTo>
                  <a:lnTo>
                    <a:pt x="60" y="1748"/>
                  </a:lnTo>
                  <a:lnTo>
                    <a:pt x="65" y="1746"/>
                  </a:lnTo>
                  <a:lnTo>
                    <a:pt x="74" y="1748"/>
                  </a:lnTo>
                  <a:lnTo>
                    <a:pt x="99" y="1750"/>
                  </a:lnTo>
                  <a:lnTo>
                    <a:pt x="99" y="1751"/>
                  </a:lnTo>
                  <a:lnTo>
                    <a:pt x="96" y="1751"/>
                  </a:lnTo>
                  <a:lnTo>
                    <a:pt x="82" y="1753"/>
                  </a:lnTo>
                  <a:lnTo>
                    <a:pt x="82" y="1754"/>
                  </a:lnTo>
                  <a:lnTo>
                    <a:pt x="86" y="1759"/>
                  </a:lnTo>
                  <a:lnTo>
                    <a:pt x="86" y="1759"/>
                  </a:lnTo>
                  <a:lnTo>
                    <a:pt x="86" y="1759"/>
                  </a:lnTo>
                  <a:lnTo>
                    <a:pt x="88" y="1757"/>
                  </a:lnTo>
                  <a:lnTo>
                    <a:pt x="88" y="1757"/>
                  </a:lnTo>
                  <a:lnTo>
                    <a:pt x="90" y="1757"/>
                  </a:lnTo>
                  <a:lnTo>
                    <a:pt x="91" y="1756"/>
                  </a:lnTo>
                  <a:lnTo>
                    <a:pt x="93" y="1754"/>
                  </a:lnTo>
                  <a:lnTo>
                    <a:pt x="94" y="1756"/>
                  </a:lnTo>
                  <a:lnTo>
                    <a:pt x="99" y="1757"/>
                  </a:lnTo>
                  <a:lnTo>
                    <a:pt x="103" y="1757"/>
                  </a:lnTo>
                  <a:lnTo>
                    <a:pt x="103" y="1757"/>
                  </a:lnTo>
                  <a:lnTo>
                    <a:pt x="108" y="1760"/>
                  </a:lnTo>
                  <a:lnTo>
                    <a:pt x="108" y="1760"/>
                  </a:lnTo>
                  <a:lnTo>
                    <a:pt x="120" y="1759"/>
                  </a:lnTo>
                  <a:lnTo>
                    <a:pt x="137" y="1763"/>
                  </a:lnTo>
                  <a:lnTo>
                    <a:pt x="139" y="1762"/>
                  </a:lnTo>
                  <a:lnTo>
                    <a:pt x="140" y="1760"/>
                  </a:lnTo>
                  <a:lnTo>
                    <a:pt x="142" y="1757"/>
                  </a:lnTo>
                  <a:lnTo>
                    <a:pt x="142" y="1756"/>
                  </a:lnTo>
                  <a:lnTo>
                    <a:pt x="150" y="1754"/>
                  </a:lnTo>
                  <a:lnTo>
                    <a:pt x="151" y="1754"/>
                  </a:lnTo>
                  <a:lnTo>
                    <a:pt x="151" y="1753"/>
                  </a:lnTo>
                  <a:lnTo>
                    <a:pt x="151" y="1753"/>
                  </a:lnTo>
                  <a:lnTo>
                    <a:pt x="153" y="1753"/>
                  </a:lnTo>
                  <a:lnTo>
                    <a:pt x="153" y="1754"/>
                  </a:lnTo>
                  <a:lnTo>
                    <a:pt x="153" y="1754"/>
                  </a:lnTo>
                  <a:lnTo>
                    <a:pt x="157" y="1756"/>
                  </a:lnTo>
                  <a:lnTo>
                    <a:pt x="157" y="1757"/>
                  </a:lnTo>
                  <a:lnTo>
                    <a:pt x="159" y="1757"/>
                  </a:lnTo>
                  <a:lnTo>
                    <a:pt x="160" y="1756"/>
                  </a:lnTo>
                  <a:lnTo>
                    <a:pt x="162" y="1756"/>
                  </a:lnTo>
                  <a:lnTo>
                    <a:pt x="162" y="1757"/>
                  </a:lnTo>
                  <a:lnTo>
                    <a:pt x="162" y="1757"/>
                  </a:lnTo>
                  <a:lnTo>
                    <a:pt x="160" y="1759"/>
                  </a:lnTo>
                  <a:lnTo>
                    <a:pt x="160" y="1760"/>
                  </a:lnTo>
                  <a:lnTo>
                    <a:pt x="159" y="1762"/>
                  </a:lnTo>
                  <a:lnTo>
                    <a:pt x="159" y="1760"/>
                  </a:lnTo>
                  <a:lnTo>
                    <a:pt x="157" y="1760"/>
                  </a:lnTo>
                  <a:lnTo>
                    <a:pt x="157" y="1759"/>
                  </a:lnTo>
                  <a:lnTo>
                    <a:pt x="154" y="1759"/>
                  </a:lnTo>
                  <a:lnTo>
                    <a:pt x="151" y="1757"/>
                  </a:lnTo>
                  <a:lnTo>
                    <a:pt x="150" y="1756"/>
                  </a:lnTo>
                  <a:lnTo>
                    <a:pt x="147" y="1756"/>
                  </a:lnTo>
                  <a:lnTo>
                    <a:pt x="145" y="1757"/>
                  </a:lnTo>
                  <a:lnTo>
                    <a:pt x="143" y="1759"/>
                  </a:lnTo>
                  <a:lnTo>
                    <a:pt x="142" y="1760"/>
                  </a:lnTo>
                  <a:lnTo>
                    <a:pt x="140" y="1763"/>
                  </a:lnTo>
                  <a:lnTo>
                    <a:pt x="140" y="1766"/>
                  </a:lnTo>
                  <a:lnTo>
                    <a:pt x="139" y="1766"/>
                  </a:lnTo>
                  <a:lnTo>
                    <a:pt x="137" y="1768"/>
                  </a:lnTo>
                  <a:lnTo>
                    <a:pt x="130" y="1766"/>
                  </a:lnTo>
                  <a:lnTo>
                    <a:pt x="128" y="1766"/>
                  </a:lnTo>
                  <a:lnTo>
                    <a:pt x="125" y="1763"/>
                  </a:lnTo>
                  <a:lnTo>
                    <a:pt x="123" y="1762"/>
                  </a:lnTo>
                  <a:lnTo>
                    <a:pt x="105" y="1762"/>
                  </a:lnTo>
                  <a:lnTo>
                    <a:pt x="105" y="1763"/>
                  </a:lnTo>
                  <a:lnTo>
                    <a:pt x="106" y="1763"/>
                  </a:lnTo>
                  <a:lnTo>
                    <a:pt x="108" y="1765"/>
                  </a:lnTo>
                  <a:lnTo>
                    <a:pt x="110" y="1766"/>
                  </a:lnTo>
                  <a:lnTo>
                    <a:pt x="111" y="1768"/>
                  </a:lnTo>
                  <a:lnTo>
                    <a:pt x="111" y="1770"/>
                  </a:lnTo>
                  <a:lnTo>
                    <a:pt x="113" y="1770"/>
                  </a:lnTo>
                  <a:lnTo>
                    <a:pt x="114" y="1771"/>
                  </a:lnTo>
                  <a:lnTo>
                    <a:pt x="114" y="1773"/>
                  </a:lnTo>
                  <a:lnTo>
                    <a:pt x="111" y="1773"/>
                  </a:lnTo>
                  <a:lnTo>
                    <a:pt x="108" y="1771"/>
                  </a:lnTo>
                  <a:lnTo>
                    <a:pt x="105" y="1766"/>
                  </a:lnTo>
                  <a:lnTo>
                    <a:pt x="102" y="1763"/>
                  </a:lnTo>
                  <a:lnTo>
                    <a:pt x="100" y="1762"/>
                  </a:lnTo>
                  <a:lnTo>
                    <a:pt x="99" y="1763"/>
                  </a:lnTo>
                  <a:lnTo>
                    <a:pt x="99" y="1765"/>
                  </a:lnTo>
                  <a:lnTo>
                    <a:pt x="97" y="1770"/>
                  </a:lnTo>
                  <a:lnTo>
                    <a:pt x="97" y="1773"/>
                  </a:lnTo>
                  <a:lnTo>
                    <a:pt x="96" y="1774"/>
                  </a:lnTo>
                  <a:lnTo>
                    <a:pt x="96" y="1776"/>
                  </a:lnTo>
                  <a:lnTo>
                    <a:pt x="94" y="1777"/>
                  </a:lnTo>
                  <a:lnTo>
                    <a:pt x="94" y="1776"/>
                  </a:lnTo>
                  <a:lnTo>
                    <a:pt x="96" y="1771"/>
                  </a:lnTo>
                  <a:lnTo>
                    <a:pt x="97" y="1765"/>
                  </a:lnTo>
                  <a:lnTo>
                    <a:pt x="97" y="1763"/>
                  </a:lnTo>
                  <a:lnTo>
                    <a:pt x="97" y="1762"/>
                  </a:lnTo>
                  <a:lnTo>
                    <a:pt x="97" y="1760"/>
                  </a:lnTo>
                  <a:lnTo>
                    <a:pt x="96" y="1760"/>
                  </a:lnTo>
                  <a:lnTo>
                    <a:pt x="82" y="1762"/>
                  </a:lnTo>
                  <a:lnTo>
                    <a:pt x="76" y="1765"/>
                  </a:lnTo>
                  <a:lnTo>
                    <a:pt x="73" y="1765"/>
                  </a:lnTo>
                  <a:lnTo>
                    <a:pt x="74" y="1762"/>
                  </a:lnTo>
                  <a:lnTo>
                    <a:pt x="77" y="1762"/>
                  </a:lnTo>
                  <a:lnTo>
                    <a:pt x="80" y="1762"/>
                  </a:lnTo>
                  <a:lnTo>
                    <a:pt x="82" y="1760"/>
                  </a:lnTo>
                  <a:lnTo>
                    <a:pt x="80" y="1759"/>
                  </a:lnTo>
                  <a:lnTo>
                    <a:pt x="79" y="1756"/>
                  </a:lnTo>
                  <a:lnTo>
                    <a:pt x="77" y="1754"/>
                  </a:lnTo>
                  <a:lnTo>
                    <a:pt x="74" y="1754"/>
                  </a:lnTo>
                  <a:lnTo>
                    <a:pt x="71" y="1753"/>
                  </a:lnTo>
                  <a:lnTo>
                    <a:pt x="70" y="1753"/>
                  </a:lnTo>
                  <a:lnTo>
                    <a:pt x="66" y="1753"/>
                  </a:lnTo>
                  <a:lnTo>
                    <a:pt x="66" y="1753"/>
                  </a:lnTo>
                  <a:lnTo>
                    <a:pt x="63" y="1751"/>
                  </a:lnTo>
                  <a:lnTo>
                    <a:pt x="56" y="1751"/>
                  </a:lnTo>
                  <a:lnTo>
                    <a:pt x="54" y="1751"/>
                  </a:lnTo>
                  <a:lnTo>
                    <a:pt x="50" y="1757"/>
                  </a:lnTo>
                  <a:lnTo>
                    <a:pt x="48" y="1759"/>
                  </a:lnTo>
                  <a:lnTo>
                    <a:pt x="48" y="1760"/>
                  </a:lnTo>
                  <a:lnTo>
                    <a:pt x="50" y="1760"/>
                  </a:lnTo>
                  <a:lnTo>
                    <a:pt x="51" y="1760"/>
                  </a:lnTo>
                  <a:lnTo>
                    <a:pt x="53" y="1762"/>
                  </a:lnTo>
                  <a:lnTo>
                    <a:pt x="50" y="1762"/>
                  </a:lnTo>
                  <a:lnTo>
                    <a:pt x="46" y="1762"/>
                  </a:lnTo>
                  <a:lnTo>
                    <a:pt x="46" y="1763"/>
                  </a:lnTo>
                  <a:lnTo>
                    <a:pt x="46" y="1763"/>
                  </a:lnTo>
                  <a:lnTo>
                    <a:pt x="46" y="1763"/>
                  </a:lnTo>
                  <a:lnTo>
                    <a:pt x="45" y="1765"/>
                  </a:lnTo>
                  <a:lnTo>
                    <a:pt x="37" y="1770"/>
                  </a:lnTo>
                  <a:lnTo>
                    <a:pt x="34" y="1770"/>
                  </a:lnTo>
                  <a:lnTo>
                    <a:pt x="33" y="1773"/>
                  </a:lnTo>
                  <a:lnTo>
                    <a:pt x="31" y="1774"/>
                  </a:lnTo>
                  <a:lnTo>
                    <a:pt x="40" y="1773"/>
                  </a:lnTo>
                  <a:lnTo>
                    <a:pt x="37" y="1774"/>
                  </a:lnTo>
                  <a:lnTo>
                    <a:pt x="36" y="1776"/>
                  </a:lnTo>
                  <a:lnTo>
                    <a:pt x="37" y="1777"/>
                  </a:lnTo>
                  <a:lnTo>
                    <a:pt x="39" y="1780"/>
                  </a:lnTo>
                  <a:lnTo>
                    <a:pt x="37" y="1780"/>
                  </a:lnTo>
                  <a:lnTo>
                    <a:pt x="37" y="1780"/>
                  </a:lnTo>
                  <a:lnTo>
                    <a:pt x="36" y="1780"/>
                  </a:lnTo>
                  <a:lnTo>
                    <a:pt x="36" y="1780"/>
                  </a:lnTo>
                  <a:lnTo>
                    <a:pt x="34" y="1779"/>
                  </a:lnTo>
                  <a:lnTo>
                    <a:pt x="34" y="1779"/>
                  </a:lnTo>
                  <a:lnTo>
                    <a:pt x="33" y="1779"/>
                  </a:lnTo>
                  <a:lnTo>
                    <a:pt x="33" y="1779"/>
                  </a:lnTo>
                  <a:lnTo>
                    <a:pt x="33" y="1779"/>
                  </a:lnTo>
                  <a:lnTo>
                    <a:pt x="33" y="1777"/>
                  </a:lnTo>
                  <a:lnTo>
                    <a:pt x="33" y="1777"/>
                  </a:lnTo>
                  <a:lnTo>
                    <a:pt x="33" y="1776"/>
                  </a:lnTo>
                  <a:lnTo>
                    <a:pt x="31" y="1776"/>
                  </a:lnTo>
                  <a:lnTo>
                    <a:pt x="29" y="1776"/>
                  </a:lnTo>
                  <a:lnTo>
                    <a:pt x="26" y="1776"/>
                  </a:lnTo>
                  <a:lnTo>
                    <a:pt x="26" y="1776"/>
                  </a:lnTo>
                  <a:lnTo>
                    <a:pt x="25" y="1777"/>
                  </a:lnTo>
                  <a:lnTo>
                    <a:pt x="25" y="1779"/>
                  </a:lnTo>
                  <a:lnTo>
                    <a:pt x="25" y="1779"/>
                  </a:lnTo>
                  <a:lnTo>
                    <a:pt x="26" y="1779"/>
                  </a:lnTo>
                  <a:lnTo>
                    <a:pt x="26" y="1780"/>
                  </a:lnTo>
                  <a:lnTo>
                    <a:pt x="25" y="1780"/>
                  </a:lnTo>
                  <a:lnTo>
                    <a:pt x="23" y="1780"/>
                  </a:lnTo>
                  <a:lnTo>
                    <a:pt x="23" y="1782"/>
                  </a:lnTo>
                  <a:lnTo>
                    <a:pt x="25" y="1783"/>
                  </a:lnTo>
                  <a:lnTo>
                    <a:pt x="23" y="1785"/>
                  </a:lnTo>
                  <a:lnTo>
                    <a:pt x="23" y="1785"/>
                  </a:lnTo>
                  <a:lnTo>
                    <a:pt x="22" y="1787"/>
                  </a:lnTo>
                  <a:lnTo>
                    <a:pt x="23" y="1790"/>
                  </a:lnTo>
                  <a:lnTo>
                    <a:pt x="23" y="1793"/>
                  </a:lnTo>
                  <a:lnTo>
                    <a:pt x="25" y="1794"/>
                  </a:lnTo>
                  <a:lnTo>
                    <a:pt x="26" y="1794"/>
                  </a:lnTo>
                  <a:lnTo>
                    <a:pt x="43" y="1794"/>
                  </a:lnTo>
                  <a:lnTo>
                    <a:pt x="45" y="1794"/>
                  </a:lnTo>
                  <a:lnTo>
                    <a:pt x="48" y="1793"/>
                  </a:lnTo>
                  <a:lnTo>
                    <a:pt x="53" y="1793"/>
                  </a:lnTo>
                  <a:lnTo>
                    <a:pt x="51" y="1794"/>
                  </a:lnTo>
                  <a:lnTo>
                    <a:pt x="46" y="1797"/>
                  </a:lnTo>
                  <a:lnTo>
                    <a:pt x="53" y="1799"/>
                  </a:lnTo>
                  <a:lnTo>
                    <a:pt x="59" y="1800"/>
                  </a:lnTo>
                  <a:lnTo>
                    <a:pt x="57" y="1802"/>
                  </a:lnTo>
                  <a:lnTo>
                    <a:pt x="50" y="1802"/>
                  </a:lnTo>
                  <a:lnTo>
                    <a:pt x="50" y="1800"/>
                  </a:lnTo>
                  <a:lnTo>
                    <a:pt x="51" y="1800"/>
                  </a:lnTo>
                  <a:lnTo>
                    <a:pt x="53" y="1800"/>
                  </a:lnTo>
                  <a:lnTo>
                    <a:pt x="37" y="1800"/>
                  </a:lnTo>
                  <a:lnTo>
                    <a:pt x="40" y="1802"/>
                  </a:lnTo>
                  <a:lnTo>
                    <a:pt x="51" y="1805"/>
                  </a:lnTo>
                  <a:lnTo>
                    <a:pt x="54" y="1805"/>
                  </a:lnTo>
                  <a:lnTo>
                    <a:pt x="54" y="1807"/>
                  </a:lnTo>
                  <a:lnTo>
                    <a:pt x="45" y="1807"/>
                  </a:lnTo>
                  <a:lnTo>
                    <a:pt x="43" y="1808"/>
                  </a:lnTo>
                  <a:lnTo>
                    <a:pt x="42" y="1808"/>
                  </a:lnTo>
                  <a:lnTo>
                    <a:pt x="39" y="1807"/>
                  </a:lnTo>
                  <a:lnTo>
                    <a:pt x="37" y="1807"/>
                  </a:lnTo>
                  <a:lnTo>
                    <a:pt x="37" y="1808"/>
                  </a:lnTo>
                  <a:lnTo>
                    <a:pt x="37" y="1808"/>
                  </a:lnTo>
                  <a:lnTo>
                    <a:pt x="37" y="1808"/>
                  </a:lnTo>
                  <a:lnTo>
                    <a:pt x="37" y="1811"/>
                  </a:lnTo>
                  <a:lnTo>
                    <a:pt x="40" y="1813"/>
                  </a:lnTo>
                  <a:lnTo>
                    <a:pt x="46" y="1816"/>
                  </a:lnTo>
                  <a:lnTo>
                    <a:pt x="48" y="1819"/>
                  </a:lnTo>
                  <a:lnTo>
                    <a:pt x="57" y="1817"/>
                  </a:lnTo>
                  <a:lnTo>
                    <a:pt x="60" y="1819"/>
                  </a:lnTo>
                  <a:lnTo>
                    <a:pt x="59" y="1820"/>
                  </a:lnTo>
                  <a:lnTo>
                    <a:pt x="62" y="1822"/>
                  </a:lnTo>
                  <a:lnTo>
                    <a:pt x="63" y="1822"/>
                  </a:lnTo>
                  <a:lnTo>
                    <a:pt x="66" y="1820"/>
                  </a:lnTo>
                  <a:lnTo>
                    <a:pt x="70" y="1820"/>
                  </a:lnTo>
                  <a:lnTo>
                    <a:pt x="71" y="1820"/>
                  </a:lnTo>
                  <a:lnTo>
                    <a:pt x="73" y="1817"/>
                  </a:lnTo>
                  <a:lnTo>
                    <a:pt x="74" y="1816"/>
                  </a:lnTo>
                  <a:lnTo>
                    <a:pt x="76" y="1816"/>
                  </a:lnTo>
                  <a:lnTo>
                    <a:pt x="80" y="1816"/>
                  </a:lnTo>
                  <a:lnTo>
                    <a:pt x="82" y="1816"/>
                  </a:lnTo>
                  <a:lnTo>
                    <a:pt x="85" y="1820"/>
                  </a:lnTo>
                  <a:lnTo>
                    <a:pt x="86" y="1822"/>
                  </a:lnTo>
                  <a:lnTo>
                    <a:pt x="86" y="1822"/>
                  </a:lnTo>
                  <a:lnTo>
                    <a:pt x="85" y="1822"/>
                  </a:lnTo>
                  <a:lnTo>
                    <a:pt x="85" y="1822"/>
                  </a:lnTo>
                  <a:lnTo>
                    <a:pt x="83" y="1819"/>
                  </a:lnTo>
                  <a:lnTo>
                    <a:pt x="82" y="1817"/>
                  </a:lnTo>
                  <a:lnTo>
                    <a:pt x="80" y="1817"/>
                  </a:lnTo>
                  <a:lnTo>
                    <a:pt x="77" y="1817"/>
                  </a:lnTo>
                  <a:lnTo>
                    <a:pt x="76" y="1817"/>
                  </a:lnTo>
                  <a:lnTo>
                    <a:pt x="74" y="1819"/>
                  </a:lnTo>
                  <a:lnTo>
                    <a:pt x="74" y="1820"/>
                  </a:lnTo>
                  <a:lnTo>
                    <a:pt x="73" y="1822"/>
                  </a:lnTo>
                  <a:lnTo>
                    <a:pt x="71" y="1822"/>
                  </a:lnTo>
                  <a:lnTo>
                    <a:pt x="68" y="1823"/>
                  </a:lnTo>
                  <a:lnTo>
                    <a:pt x="66" y="1823"/>
                  </a:lnTo>
                  <a:lnTo>
                    <a:pt x="68" y="1825"/>
                  </a:lnTo>
                  <a:lnTo>
                    <a:pt x="65" y="1827"/>
                  </a:lnTo>
                  <a:lnTo>
                    <a:pt x="63" y="1825"/>
                  </a:lnTo>
                  <a:lnTo>
                    <a:pt x="53" y="1820"/>
                  </a:lnTo>
                  <a:lnTo>
                    <a:pt x="50" y="1823"/>
                  </a:lnTo>
                  <a:lnTo>
                    <a:pt x="46" y="1822"/>
                  </a:lnTo>
                  <a:lnTo>
                    <a:pt x="43" y="1820"/>
                  </a:lnTo>
                  <a:lnTo>
                    <a:pt x="40" y="1819"/>
                  </a:lnTo>
                  <a:lnTo>
                    <a:pt x="40" y="1820"/>
                  </a:lnTo>
                  <a:lnTo>
                    <a:pt x="39" y="1822"/>
                  </a:lnTo>
                  <a:lnTo>
                    <a:pt x="31" y="1823"/>
                  </a:lnTo>
                  <a:lnTo>
                    <a:pt x="23" y="1828"/>
                  </a:lnTo>
                  <a:lnTo>
                    <a:pt x="23" y="1830"/>
                  </a:lnTo>
                  <a:lnTo>
                    <a:pt x="26" y="1828"/>
                  </a:lnTo>
                  <a:lnTo>
                    <a:pt x="29" y="1828"/>
                  </a:lnTo>
                  <a:lnTo>
                    <a:pt x="33" y="1828"/>
                  </a:lnTo>
                  <a:lnTo>
                    <a:pt x="34" y="1828"/>
                  </a:lnTo>
                  <a:lnTo>
                    <a:pt x="36" y="1825"/>
                  </a:lnTo>
                  <a:lnTo>
                    <a:pt x="36" y="1827"/>
                  </a:lnTo>
                  <a:lnTo>
                    <a:pt x="36" y="1827"/>
                  </a:lnTo>
                  <a:lnTo>
                    <a:pt x="36" y="1827"/>
                  </a:lnTo>
                  <a:lnTo>
                    <a:pt x="36" y="1828"/>
                  </a:lnTo>
                  <a:lnTo>
                    <a:pt x="33" y="1828"/>
                  </a:lnTo>
                  <a:lnTo>
                    <a:pt x="33" y="1830"/>
                  </a:lnTo>
                  <a:lnTo>
                    <a:pt x="33" y="1830"/>
                  </a:lnTo>
                  <a:lnTo>
                    <a:pt x="33" y="1833"/>
                  </a:lnTo>
                  <a:lnTo>
                    <a:pt x="33" y="1833"/>
                  </a:lnTo>
                  <a:lnTo>
                    <a:pt x="31" y="1834"/>
                  </a:lnTo>
                  <a:lnTo>
                    <a:pt x="31" y="1834"/>
                  </a:lnTo>
                  <a:lnTo>
                    <a:pt x="31" y="1831"/>
                  </a:lnTo>
                  <a:lnTo>
                    <a:pt x="29" y="1830"/>
                  </a:lnTo>
                  <a:lnTo>
                    <a:pt x="29" y="1830"/>
                  </a:lnTo>
                  <a:lnTo>
                    <a:pt x="28" y="1831"/>
                  </a:lnTo>
                  <a:lnTo>
                    <a:pt x="26" y="1834"/>
                  </a:lnTo>
                  <a:lnTo>
                    <a:pt x="26" y="1836"/>
                  </a:lnTo>
                  <a:lnTo>
                    <a:pt x="28" y="1839"/>
                  </a:lnTo>
                  <a:lnTo>
                    <a:pt x="29" y="1840"/>
                  </a:lnTo>
                  <a:lnTo>
                    <a:pt x="29" y="1842"/>
                  </a:lnTo>
                  <a:lnTo>
                    <a:pt x="31" y="1842"/>
                  </a:lnTo>
                  <a:lnTo>
                    <a:pt x="34" y="1842"/>
                  </a:lnTo>
                  <a:lnTo>
                    <a:pt x="36" y="1840"/>
                  </a:lnTo>
                  <a:lnTo>
                    <a:pt x="39" y="1837"/>
                  </a:lnTo>
                  <a:lnTo>
                    <a:pt x="39" y="1837"/>
                  </a:lnTo>
                  <a:lnTo>
                    <a:pt x="68" y="1834"/>
                  </a:lnTo>
                  <a:lnTo>
                    <a:pt x="71" y="1834"/>
                  </a:lnTo>
                  <a:lnTo>
                    <a:pt x="74" y="1836"/>
                  </a:lnTo>
                  <a:lnTo>
                    <a:pt x="60" y="1836"/>
                  </a:lnTo>
                  <a:lnTo>
                    <a:pt x="46" y="1839"/>
                  </a:lnTo>
                  <a:lnTo>
                    <a:pt x="46" y="1840"/>
                  </a:lnTo>
                  <a:lnTo>
                    <a:pt x="50" y="1842"/>
                  </a:lnTo>
                  <a:lnTo>
                    <a:pt x="51" y="1843"/>
                  </a:lnTo>
                  <a:lnTo>
                    <a:pt x="51" y="1845"/>
                  </a:lnTo>
                  <a:lnTo>
                    <a:pt x="51" y="1848"/>
                  </a:lnTo>
                  <a:lnTo>
                    <a:pt x="53" y="1851"/>
                  </a:lnTo>
                  <a:lnTo>
                    <a:pt x="51" y="1853"/>
                  </a:lnTo>
                  <a:lnTo>
                    <a:pt x="51" y="1853"/>
                  </a:lnTo>
                  <a:lnTo>
                    <a:pt x="50" y="1851"/>
                  </a:lnTo>
                  <a:lnTo>
                    <a:pt x="50" y="1847"/>
                  </a:lnTo>
                  <a:lnTo>
                    <a:pt x="48" y="1843"/>
                  </a:lnTo>
                  <a:lnTo>
                    <a:pt x="48" y="1842"/>
                  </a:lnTo>
                  <a:lnTo>
                    <a:pt x="46" y="1842"/>
                  </a:lnTo>
                  <a:lnTo>
                    <a:pt x="45" y="1840"/>
                  </a:lnTo>
                  <a:lnTo>
                    <a:pt x="43" y="1840"/>
                  </a:lnTo>
                  <a:lnTo>
                    <a:pt x="42" y="1839"/>
                  </a:lnTo>
                  <a:lnTo>
                    <a:pt x="40" y="1840"/>
                  </a:lnTo>
                  <a:lnTo>
                    <a:pt x="39" y="1845"/>
                  </a:lnTo>
                  <a:lnTo>
                    <a:pt x="37" y="1845"/>
                  </a:lnTo>
                  <a:lnTo>
                    <a:pt x="34" y="1845"/>
                  </a:lnTo>
                  <a:lnTo>
                    <a:pt x="34" y="1845"/>
                  </a:lnTo>
                  <a:lnTo>
                    <a:pt x="33" y="1847"/>
                  </a:lnTo>
                  <a:lnTo>
                    <a:pt x="31" y="1847"/>
                  </a:lnTo>
                  <a:lnTo>
                    <a:pt x="29" y="1847"/>
                  </a:lnTo>
                  <a:lnTo>
                    <a:pt x="28" y="1848"/>
                  </a:lnTo>
                  <a:lnTo>
                    <a:pt x="25" y="1850"/>
                  </a:lnTo>
                  <a:lnTo>
                    <a:pt x="25" y="1851"/>
                  </a:lnTo>
                  <a:lnTo>
                    <a:pt x="23" y="1853"/>
                  </a:lnTo>
                  <a:lnTo>
                    <a:pt x="25" y="1853"/>
                  </a:lnTo>
                  <a:lnTo>
                    <a:pt x="25" y="1853"/>
                  </a:lnTo>
                  <a:lnTo>
                    <a:pt x="26" y="1853"/>
                  </a:lnTo>
                  <a:lnTo>
                    <a:pt x="26" y="1854"/>
                  </a:lnTo>
                  <a:lnTo>
                    <a:pt x="28" y="1856"/>
                  </a:lnTo>
                  <a:lnTo>
                    <a:pt x="29" y="1856"/>
                  </a:lnTo>
                  <a:lnTo>
                    <a:pt x="31" y="1854"/>
                  </a:lnTo>
                  <a:lnTo>
                    <a:pt x="31" y="1856"/>
                  </a:lnTo>
                  <a:lnTo>
                    <a:pt x="29" y="1857"/>
                  </a:lnTo>
                  <a:lnTo>
                    <a:pt x="28" y="1857"/>
                  </a:lnTo>
                  <a:lnTo>
                    <a:pt x="26" y="1857"/>
                  </a:lnTo>
                  <a:lnTo>
                    <a:pt x="28" y="1859"/>
                  </a:lnTo>
                  <a:lnTo>
                    <a:pt x="37" y="1857"/>
                  </a:lnTo>
                  <a:lnTo>
                    <a:pt x="39" y="1859"/>
                  </a:lnTo>
                  <a:lnTo>
                    <a:pt x="42" y="1860"/>
                  </a:lnTo>
                  <a:lnTo>
                    <a:pt x="45" y="1864"/>
                  </a:lnTo>
                  <a:lnTo>
                    <a:pt x="43" y="1864"/>
                  </a:lnTo>
                  <a:lnTo>
                    <a:pt x="43" y="1865"/>
                  </a:lnTo>
                  <a:lnTo>
                    <a:pt x="43" y="1867"/>
                  </a:lnTo>
                  <a:lnTo>
                    <a:pt x="43" y="1867"/>
                  </a:lnTo>
                  <a:lnTo>
                    <a:pt x="36" y="1864"/>
                  </a:lnTo>
                  <a:lnTo>
                    <a:pt x="31" y="1864"/>
                  </a:lnTo>
                  <a:lnTo>
                    <a:pt x="29" y="1867"/>
                  </a:lnTo>
                  <a:lnTo>
                    <a:pt x="31" y="1868"/>
                  </a:lnTo>
                  <a:lnTo>
                    <a:pt x="36" y="1870"/>
                  </a:lnTo>
                  <a:lnTo>
                    <a:pt x="37" y="1870"/>
                  </a:lnTo>
                  <a:lnTo>
                    <a:pt x="39" y="1868"/>
                  </a:lnTo>
                  <a:lnTo>
                    <a:pt x="40" y="1868"/>
                  </a:lnTo>
                  <a:lnTo>
                    <a:pt x="42" y="1870"/>
                  </a:lnTo>
                  <a:lnTo>
                    <a:pt x="43" y="1870"/>
                  </a:lnTo>
                  <a:lnTo>
                    <a:pt x="42" y="1871"/>
                  </a:lnTo>
                  <a:lnTo>
                    <a:pt x="40" y="1871"/>
                  </a:lnTo>
                  <a:lnTo>
                    <a:pt x="40" y="1871"/>
                  </a:lnTo>
                  <a:lnTo>
                    <a:pt x="39" y="1873"/>
                  </a:lnTo>
                  <a:lnTo>
                    <a:pt x="39" y="1873"/>
                  </a:lnTo>
                  <a:lnTo>
                    <a:pt x="40" y="1873"/>
                  </a:lnTo>
                  <a:lnTo>
                    <a:pt x="40" y="1876"/>
                  </a:lnTo>
                  <a:lnTo>
                    <a:pt x="42" y="1876"/>
                  </a:lnTo>
                  <a:lnTo>
                    <a:pt x="42" y="1876"/>
                  </a:lnTo>
                  <a:lnTo>
                    <a:pt x="42" y="1876"/>
                  </a:lnTo>
                  <a:lnTo>
                    <a:pt x="46" y="1876"/>
                  </a:lnTo>
                  <a:lnTo>
                    <a:pt x="48" y="1874"/>
                  </a:lnTo>
                  <a:lnTo>
                    <a:pt x="50" y="1873"/>
                  </a:lnTo>
                  <a:lnTo>
                    <a:pt x="51" y="1877"/>
                  </a:lnTo>
                  <a:lnTo>
                    <a:pt x="56" y="1880"/>
                  </a:lnTo>
                  <a:lnTo>
                    <a:pt x="59" y="1880"/>
                  </a:lnTo>
                  <a:lnTo>
                    <a:pt x="62" y="1877"/>
                  </a:lnTo>
                  <a:lnTo>
                    <a:pt x="66" y="1873"/>
                  </a:lnTo>
                  <a:lnTo>
                    <a:pt x="68" y="1871"/>
                  </a:lnTo>
                  <a:lnTo>
                    <a:pt x="77" y="1870"/>
                  </a:lnTo>
                  <a:lnTo>
                    <a:pt x="79" y="1870"/>
                  </a:lnTo>
                  <a:lnTo>
                    <a:pt x="79" y="1868"/>
                  </a:lnTo>
                  <a:lnTo>
                    <a:pt x="80" y="1868"/>
                  </a:lnTo>
                  <a:lnTo>
                    <a:pt x="82" y="1868"/>
                  </a:lnTo>
                  <a:lnTo>
                    <a:pt x="83" y="1868"/>
                  </a:lnTo>
                  <a:lnTo>
                    <a:pt x="83" y="1867"/>
                  </a:lnTo>
                  <a:lnTo>
                    <a:pt x="83" y="1864"/>
                  </a:lnTo>
                  <a:lnTo>
                    <a:pt x="85" y="1864"/>
                  </a:lnTo>
                  <a:lnTo>
                    <a:pt x="85" y="1862"/>
                  </a:lnTo>
                  <a:lnTo>
                    <a:pt x="85" y="1864"/>
                  </a:lnTo>
                  <a:lnTo>
                    <a:pt x="85" y="1867"/>
                  </a:lnTo>
                  <a:lnTo>
                    <a:pt x="86" y="1868"/>
                  </a:lnTo>
                  <a:lnTo>
                    <a:pt x="93" y="1868"/>
                  </a:lnTo>
                  <a:lnTo>
                    <a:pt x="97" y="1867"/>
                  </a:lnTo>
                  <a:lnTo>
                    <a:pt x="103" y="1860"/>
                  </a:lnTo>
                  <a:lnTo>
                    <a:pt x="103" y="1864"/>
                  </a:lnTo>
                  <a:lnTo>
                    <a:pt x="102" y="1865"/>
                  </a:lnTo>
                  <a:lnTo>
                    <a:pt x="99" y="1867"/>
                  </a:lnTo>
                  <a:lnTo>
                    <a:pt x="102" y="1870"/>
                  </a:lnTo>
                  <a:lnTo>
                    <a:pt x="106" y="1870"/>
                  </a:lnTo>
                  <a:lnTo>
                    <a:pt x="111" y="1868"/>
                  </a:lnTo>
                  <a:lnTo>
                    <a:pt x="114" y="1864"/>
                  </a:lnTo>
                  <a:lnTo>
                    <a:pt x="116" y="1870"/>
                  </a:lnTo>
                  <a:lnTo>
                    <a:pt x="122" y="1873"/>
                  </a:lnTo>
                  <a:lnTo>
                    <a:pt x="130" y="1874"/>
                  </a:lnTo>
                  <a:lnTo>
                    <a:pt x="134" y="1874"/>
                  </a:lnTo>
                  <a:lnTo>
                    <a:pt x="137" y="1873"/>
                  </a:lnTo>
                  <a:lnTo>
                    <a:pt x="139" y="1871"/>
                  </a:lnTo>
                  <a:lnTo>
                    <a:pt x="139" y="1870"/>
                  </a:lnTo>
                  <a:lnTo>
                    <a:pt x="139" y="1868"/>
                  </a:lnTo>
                  <a:lnTo>
                    <a:pt x="139" y="1867"/>
                  </a:lnTo>
                  <a:lnTo>
                    <a:pt x="139" y="1865"/>
                  </a:lnTo>
                  <a:lnTo>
                    <a:pt x="139" y="1862"/>
                  </a:lnTo>
                  <a:lnTo>
                    <a:pt x="137" y="1862"/>
                  </a:lnTo>
                  <a:lnTo>
                    <a:pt x="137" y="1862"/>
                  </a:lnTo>
                  <a:lnTo>
                    <a:pt x="136" y="1860"/>
                  </a:lnTo>
                  <a:lnTo>
                    <a:pt x="136" y="1860"/>
                  </a:lnTo>
                  <a:lnTo>
                    <a:pt x="142" y="1860"/>
                  </a:lnTo>
                  <a:lnTo>
                    <a:pt x="140" y="1859"/>
                  </a:lnTo>
                  <a:lnTo>
                    <a:pt x="140" y="1859"/>
                  </a:lnTo>
                  <a:lnTo>
                    <a:pt x="140" y="1857"/>
                  </a:lnTo>
                  <a:lnTo>
                    <a:pt x="140" y="1856"/>
                  </a:lnTo>
                  <a:lnTo>
                    <a:pt x="139" y="1854"/>
                  </a:lnTo>
                  <a:lnTo>
                    <a:pt x="139" y="1851"/>
                  </a:lnTo>
                  <a:lnTo>
                    <a:pt x="139" y="1851"/>
                  </a:lnTo>
                  <a:lnTo>
                    <a:pt x="139" y="1850"/>
                  </a:lnTo>
                  <a:lnTo>
                    <a:pt x="140" y="1848"/>
                  </a:lnTo>
                  <a:lnTo>
                    <a:pt x="140" y="1848"/>
                  </a:lnTo>
                  <a:lnTo>
                    <a:pt x="142" y="1848"/>
                  </a:lnTo>
                  <a:lnTo>
                    <a:pt x="142" y="1851"/>
                  </a:lnTo>
                  <a:lnTo>
                    <a:pt x="143" y="1851"/>
                  </a:lnTo>
                  <a:lnTo>
                    <a:pt x="147" y="1850"/>
                  </a:lnTo>
                  <a:lnTo>
                    <a:pt x="148" y="1845"/>
                  </a:lnTo>
                  <a:lnTo>
                    <a:pt x="153" y="1831"/>
                  </a:lnTo>
                  <a:lnTo>
                    <a:pt x="154" y="1830"/>
                  </a:lnTo>
                  <a:lnTo>
                    <a:pt x="154" y="1831"/>
                  </a:lnTo>
                  <a:lnTo>
                    <a:pt x="154" y="1833"/>
                  </a:lnTo>
                  <a:lnTo>
                    <a:pt x="154" y="1834"/>
                  </a:lnTo>
                  <a:lnTo>
                    <a:pt x="154" y="1834"/>
                  </a:lnTo>
                  <a:lnTo>
                    <a:pt x="154" y="1834"/>
                  </a:lnTo>
                  <a:lnTo>
                    <a:pt x="153" y="1837"/>
                  </a:lnTo>
                  <a:lnTo>
                    <a:pt x="153" y="1839"/>
                  </a:lnTo>
                  <a:lnTo>
                    <a:pt x="153" y="1840"/>
                  </a:lnTo>
                  <a:lnTo>
                    <a:pt x="151" y="1842"/>
                  </a:lnTo>
                  <a:lnTo>
                    <a:pt x="151" y="1843"/>
                  </a:lnTo>
                  <a:lnTo>
                    <a:pt x="148" y="1851"/>
                  </a:lnTo>
                  <a:lnTo>
                    <a:pt x="147" y="1853"/>
                  </a:lnTo>
                  <a:lnTo>
                    <a:pt x="143" y="1856"/>
                  </a:lnTo>
                  <a:lnTo>
                    <a:pt x="143" y="1857"/>
                  </a:lnTo>
                  <a:lnTo>
                    <a:pt x="151" y="1862"/>
                  </a:lnTo>
                  <a:lnTo>
                    <a:pt x="162" y="1865"/>
                  </a:lnTo>
                  <a:lnTo>
                    <a:pt x="168" y="1867"/>
                  </a:lnTo>
                  <a:lnTo>
                    <a:pt x="170" y="1867"/>
                  </a:lnTo>
                  <a:lnTo>
                    <a:pt x="173" y="1867"/>
                  </a:lnTo>
                  <a:lnTo>
                    <a:pt x="176" y="1864"/>
                  </a:lnTo>
                  <a:lnTo>
                    <a:pt x="174" y="1867"/>
                  </a:lnTo>
                  <a:lnTo>
                    <a:pt x="171" y="1868"/>
                  </a:lnTo>
                  <a:lnTo>
                    <a:pt x="170" y="1871"/>
                  </a:lnTo>
                  <a:lnTo>
                    <a:pt x="171" y="1874"/>
                  </a:lnTo>
                  <a:lnTo>
                    <a:pt x="173" y="1876"/>
                  </a:lnTo>
                  <a:lnTo>
                    <a:pt x="174" y="1874"/>
                  </a:lnTo>
                  <a:lnTo>
                    <a:pt x="176" y="1873"/>
                  </a:lnTo>
                  <a:lnTo>
                    <a:pt x="187" y="1870"/>
                  </a:lnTo>
                  <a:lnTo>
                    <a:pt x="187" y="1870"/>
                  </a:lnTo>
                  <a:lnTo>
                    <a:pt x="187" y="1868"/>
                  </a:lnTo>
                  <a:lnTo>
                    <a:pt x="188" y="1868"/>
                  </a:lnTo>
                  <a:lnTo>
                    <a:pt x="188" y="1867"/>
                  </a:lnTo>
                  <a:lnTo>
                    <a:pt x="188" y="1867"/>
                  </a:lnTo>
                  <a:lnTo>
                    <a:pt x="188" y="1865"/>
                  </a:lnTo>
                  <a:lnTo>
                    <a:pt x="191" y="1864"/>
                  </a:lnTo>
                  <a:lnTo>
                    <a:pt x="193" y="1864"/>
                  </a:lnTo>
                  <a:lnTo>
                    <a:pt x="193" y="1865"/>
                  </a:lnTo>
                  <a:lnTo>
                    <a:pt x="194" y="1865"/>
                  </a:lnTo>
                  <a:lnTo>
                    <a:pt x="194" y="1867"/>
                  </a:lnTo>
                  <a:lnTo>
                    <a:pt x="197" y="1867"/>
                  </a:lnTo>
                  <a:lnTo>
                    <a:pt x="197" y="1867"/>
                  </a:lnTo>
                  <a:lnTo>
                    <a:pt x="199" y="1867"/>
                  </a:lnTo>
                  <a:lnTo>
                    <a:pt x="199" y="1867"/>
                  </a:lnTo>
                  <a:lnTo>
                    <a:pt x="202" y="1864"/>
                  </a:lnTo>
                  <a:lnTo>
                    <a:pt x="200" y="1862"/>
                  </a:lnTo>
                  <a:lnTo>
                    <a:pt x="200" y="1860"/>
                  </a:lnTo>
                  <a:lnTo>
                    <a:pt x="199" y="1859"/>
                  </a:lnTo>
                  <a:lnTo>
                    <a:pt x="197" y="1853"/>
                  </a:lnTo>
                  <a:lnTo>
                    <a:pt x="197" y="1850"/>
                  </a:lnTo>
                  <a:lnTo>
                    <a:pt x="196" y="1848"/>
                  </a:lnTo>
                  <a:lnTo>
                    <a:pt x="194" y="1847"/>
                  </a:lnTo>
                  <a:lnTo>
                    <a:pt x="194" y="1845"/>
                  </a:lnTo>
                  <a:lnTo>
                    <a:pt x="199" y="1839"/>
                  </a:lnTo>
                  <a:lnTo>
                    <a:pt x="199" y="1836"/>
                  </a:lnTo>
                  <a:lnTo>
                    <a:pt x="197" y="1834"/>
                  </a:lnTo>
                  <a:lnTo>
                    <a:pt x="197" y="1833"/>
                  </a:lnTo>
                  <a:lnTo>
                    <a:pt x="196" y="1831"/>
                  </a:lnTo>
                  <a:lnTo>
                    <a:pt x="197" y="1831"/>
                  </a:lnTo>
                  <a:lnTo>
                    <a:pt x="200" y="1833"/>
                  </a:lnTo>
                  <a:lnTo>
                    <a:pt x="202" y="1833"/>
                  </a:lnTo>
                  <a:lnTo>
                    <a:pt x="213" y="1820"/>
                  </a:lnTo>
                  <a:lnTo>
                    <a:pt x="219" y="1817"/>
                  </a:lnTo>
                  <a:lnTo>
                    <a:pt x="217" y="1820"/>
                  </a:lnTo>
                  <a:lnTo>
                    <a:pt x="216" y="1822"/>
                  </a:lnTo>
                  <a:lnTo>
                    <a:pt x="214" y="1823"/>
                  </a:lnTo>
                  <a:lnTo>
                    <a:pt x="213" y="1823"/>
                  </a:lnTo>
                  <a:lnTo>
                    <a:pt x="211" y="1825"/>
                  </a:lnTo>
                  <a:lnTo>
                    <a:pt x="210" y="1827"/>
                  </a:lnTo>
                  <a:lnTo>
                    <a:pt x="208" y="1830"/>
                  </a:lnTo>
                  <a:lnTo>
                    <a:pt x="207" y="1831"/>
                  </a:lnTo>
                  <a:lnTo>
                    <a:pt x="204" y="1834"/>
                  </a:lnTo>
                  <a:lnTo>
                    <a:pt x="204" y="1836"/>
                  </a:lnTo>
                  <a:lnTo>
                    <a:pt x="204" y="1839"/>
                  </a:lnTo>
                  <a:lnTo>
                    <a:pt x="202" y="1842"/>
                  </a:lnTo>
                  <a:lnTo>
                    <a:pt x="199" y="1845"/>
                  </a:lnTo>
                  <a:lnTo>
                    <a:pt x="199" y="1848"/>
                  </a:lnTo>
                  <a:lnTo>
                    <a:pt x="199" y="1848"/>
                  </a:lnTo>
                  <a:lnTo>
                    <a:pt x="200" y="1850"/>
                  </a:lnTo>
                  <a:lnTo>
                    <a:pt x="200" y="1850"/>
                  </a:lnTo>
                  <a:lnTo>
                    <a:pt x="200" y="1851"/>
                  </a:lnTo>
                  <a:lnTo>
                    <a:pt x="200" y="1853"/>
                  </a:lnTo>
                  <a:lnTo>
                    <a:pt x="202" y="1856"/>
                  </a:lnTo>
                  <a:lnTo>
                    <a:pt x="202" y="1859"/>
                  </a:lnTo>
                  <a:lnTo>
                    <a:pt x="202" y="1860"/>
                  </a:lnTo>
                  <a:lnTo>
                    <a:pt x="205" y="1862"/>
                  </a:lnTo>
                  <a:lnTo>
                    <a:pt x="210" y="1862"/>
                  </a:lnTo>
                  <a:lnTo>
                    <a:pt x="220" y="1859"/>
                  </a:lnTo>
                  <a:lnTo>
                    <a:pt x="224" y="1857"/>
                  </a:lnTo>
                  <a:lnTo>
                    <a:pt x="225" y="1857"/>
                  </a:lnTo>
                  <a:lnTo>
                    <a:pt x="228" y="1856"/>
                  </a:lnTo>
                  <a:lnTo>
                    <a:pt x="225" y="1860"/>
                  </a:lnTo>
                  <a:lnTo>
                    <a:pt x="220" y="1862"/>
                  </a:lnTo>
                  <a:lnTo>
                    <a:pt x="210" y="1862"/>
                  </a:lnTo>
                  <a:lnTo>
                    <a:pt x="208" y="1864"/>
                  </a:lnTo>
                  <a:lnTo>
                    <a:pt x="207" y="1865"/>
                  </a:lnTo>
                  <a:lnTo>
                    <a:pt x="207" y="1867"/>
                  </a:lnTo>
                  <a:lnTo>
                    <a:pt x="202" y="1868"/>
                  </a:lnTo>
                  <a:lnTo>
                    <a:pt x="202" y="1870"/>
                  </a:lnTo>
                  <a:lnTo>
                    <a:pt x="202" y="1871"/>
                  </a:lnTo>
                  <a:lnTo>
                    <a:pt x="205" y="1874"/>
                  </a:lnTo>
                  <a:lnTo>
                    <a:pt x="205" y="1874"/>
                  </a:lnTo>
                  <a:lnTo>
                    <a:pt x="207" y="1876"/>
                  </a:lnTo>
                  <a:lnTo>
                    <a:pt x="208" y="1876"/>
                  </a:lnTo>
                  <a:lnTo>
                    <a:pt x="208" y="1877"/>
                  </a:lnTo>
                  <a:lnTo>
                    <a:pt x="204" y="1876"/>
                  </a:lnTo>
                  <a:lnTo>
                    <a:pt x="200" y="1874"/>
                  </a:lnTo>
                  <a:lnTo>
                    <a:pt x="199" y="1873"/>
                  </a:lnTo>
                  <a:lnTo>
                    <a:pt x="199" y="1873"/>
                  </a:lnTo>
                  <a:lnTo>
                    <a:pt x="193" y="1871"/>
                  </a:lnTo>
                  <a:lnTo>
                    <a:pt x="191" y="1871"/>
                  </a:lnTo>
                  <a:lnTo>
                    <a:pt x="190" y="1873"/>
                  </a:lnTo>
                  <a:lnTo>
                    <a:pt x="188" y="1876"/>
                  </a:lnTo>
                  <a:lnTo>
                    <a:pt x="180" y="1876"/>
                  </a:lnTo>
                  <a:lnTo>
                    <a:pt x="177" y="1877"/>
                  </a:lnTo>
                  <a:lnTo>
                    <a:pt x="176" y="1877"/>
                  </a:lnTo>
                  <a:lnTo>
                    <a:pt x="176" y="1879"/>
                  </a:lnTo>
                  <a:lnTo>
                    <a:pt x="176" y="1880"/>
                  </a:lnTo>
                  <a:lnTo>
                    <a:pt x="177" y="1884"/>
                  </a:lnTo>
                  <a:lnTo>
                    <a:pt x="177" y="1885"/>
                  </a:lnTo>
                  <a:lnTo>
                    <a:pt x="179" y="1887"/>
                  </a:lnTo>
                  <a:lnTo>
                    <a:pt x="179" y="1888"/>
                  </a:lnTo>
                  <a:lnTo>
                    <a:pt x="182" y="1896"/>
                  </a:lnTo>
                  <a:lnTo>
                    <a:pt x="182" y="1897"/>
                  </a:lnTo>
                  <a:lnTo>
                    <a:pt x="184" y="1899"/>
                  </a:lnTo>
                  <a:lnTo>
                    <a:pt x="187" y="1899"/>
                  </a:lnTo>
                  <a:lnTo>
                    <a:pt x="188" y="1900"/>
                  </a:lnTo>
                  <a:lnTo>
                    <a:pt x="188" y="1904"/>
                  </a:lnTo>
                  <a:lnTo>
                    <a:pt x="188" y="1908"/>
                  </a:lnTo>
                  <a:lnTo>
                    <a:pt x="185" y="1911"/>
                  </a:lnTo>
                  <a:lnTo>
                    <a:pt x="184" y="1913"/>
                  </a:lnTo>
                  <a:lnTo>
                    <a:pt x="185" y="1905"/>
                  </a:lnTo>
                  <a:lnTo>
                    <a:pt x="185" y="1904"/>
                  </a:lnTo>
                  <a:lnTo>
                    <a:pt x="185" y="1902"/>
                  </a:lnTo>
                  <a:lnTo>
                    <a:pt x="179" y="1897"/>
                  </a:lnTo>
                  <a:lnTo>
                    <a:pt x="177" y="1897"/>
                  </a:lnTo>
                  <a:lnTo>
                    <a:pt x="173" y="1897"/>
                  </a:lnTo>
                  <a:lnTo>
                    <a:pt x="167" y="1902"/>
                  </a:lnTo>
                  <a:lnTo>
                    <a:pt x="171" y="1896"/>
                  </a:lnTo>
                  <a:lnTo>
                    <a:pt x="174" y="1894"/>
                  </a:lnTo>
                  <a:lnTo>
                    <a:pt x="174" y="1894"/>
                  </a:lnTo>
                  <a:lnTo>
                    <a:pt x="176" y="1893"/>
                  </a:lnTo>
                  <a:lnTo>
                    <a:pt x="176" y="1891"/>
                  </a:lnTo>
                  <a:lnTo>
                    <a:pt x="176" y="1890"/>
                  </a:lnTo>
                  <a:lnTo>
                    <a:pt x="176" y="1888"/>
                  </a:lnTo>
                  <a:lnTo>
                    <a:pt x="174" y="1885"/>
                  </a:lnTo>
                  <a:lnTo>
                    <a:pt x="173" y="1880"/>
                  </a:lnTo>
                  <a:lnTo>
                    <a:pt x="173" y="1879"/>
                  </a:lnTo>
                  <a:lnTo>
                    <a:pt x="171" y="1879"/>
                  </a:lnTo>
                  <a:lnTo>
                    <a:pt x="167" y="1879"/>
                  </a:lnTo>
                  <a:lnTo>
                    <a:pt x="167" y="1879"/>
                  </a:lnTo>
                  <a:lnTo>
                    <a:pt x="165" y="1877"/>
                  </a:lnTo>
                  <a:lnTo>
                    <a:pt x="165" y="1876"/>
                  </a:lnTo>
                  <a:lnTo>
                    <a:pt x="165" y="1874"/>
                  </a:lnTo>
                  <a:lnTo>
                    <a:pt x="165" y="1873"/>
                  </a:lnTo>
                  <a:lnTo>
                    <a:pt x="165" y="1871"/>
                  </a:lnTo>
                  <a:lnTo>
                    <a:pt x="163" y="1871"/>
                  </a:lnTo>
                  <a:lnTo>
                    <a:pt x="160" y="1870"/>
                  </a:lnTo>
                  <a:lnTo>
                    <a:pt x="150" y="1868"/>
                  </a:lnTo>
                  <a:lnTo>
                    <a:pt x="148" y="1868"/>
                  </a:lnTo>
                  <a:lnTo>
                    <a:pt x="147" y="1865"/>
                  </a:lnTo>
                  <a:lnTo>
                    <a:pt x="147" y="1865"/>
                  </a:lnTo>
                  <a:lnTo>
                    <a:pt x="145" y="1867"/>
                  </a:lnTo>
                  <a:lnTo>
                    <a:pt x="145" y="1870"/>
                  </a:lnTo>
                  <a:lnTo>
                    <a:pt x="143" y="1874"/>
                  </a:lnTo>
                  <a:lnTo>
                    <a:pt x="142" y="1876"/>
                  </a:lnTo>
                  <a:lnTo>
                    <a:pt x="140" y="1877"/>
                  </a:lnTo>
                  <a:lnTo>
                    <a:pt x="136" y="1879"/>
                  </a:lnTo>
                  <a:lnTo>
                    <a:pt x="134" y="1880"/>
                  </a:lnTo>
                  <a:lnTo>
                    <a:pt x="133" y="1882"/>
                  </a:lnTo>
                  <a:lnTo>
                    <a:pt x="130" y="1885"/>
                  </a:lnTo>
                  <a:lnTo>
                    <a:pt x="130" y="1887"/>
                  </a:lnTo>
                  <a:lnTo>
                    <a:pt x="130" y="1888"/>
                  </a:lnTo>
                  <a:lnTo>
                    <a:pt x="130" y="1890"/>
                  </a:lnTo>
                  <a:lnTo>
                    <a:pt x="128" y="1891"/>
                  </a:lnTo>
                  <a:lnTo>
                    <a:pt x="127" y="1890"/>
                  </a:lnTo>
                  <a:lnTo>
                    <a:pt x="127" y="1888"/>
                  </a:lnTo>
                  <a:lnTo>
                    <a:pt x="128" y="1885"/>
                  </a:lnTo>
                  <a:lnTo>
                    <a:pt x="130" y="1884"/>
                  </a:lnTo>
                  <a:lnTo>
                    <a:pt x="128" y="1882"/>
                  </a:lnTo>
                  <a:lnTo>
                    <a:pt x="127" y="1882"/>
                  </a:lnTo>
                  <a:lnTo>
                    <a:pt x="127" y="1882"/>
                  </a:lnTo>
                  <a:lnTo>
                    <a:pt x="125" y="1882"/>
                  </a:lnTo>
                  <a:lnTo>
                    <a:pt x="123" y="1882"/>
                  </a:lnTo>
                  <a:lnTo>
                    <a:pt x="123" y="1884"/>
                  </a:lnTo>
                  <a:lnTo>
                    <a:pt x="122" y="1885"/>
                  </a:lnTo>
                  <a:lnTo>
                    <a:pt x="119" y="1885"/>
                  </a:lnTo>
                  <a:lnTo>
                    <a:pt x="122" y="1884"/>
                  </a:lnTo>
                  <a:lnTo>
                    <a:pt x="122" y="1880"/>
                  </a:lnTo>
                  <a:lnTo>
                    <a:pt x="120" y="1877"/>
                  </a:lnTo>
                  <a:lnTo>
                    <a:pt x="119" y="1877"/>
                  </a:lnTo>
                  <a:lnTo>
                    <a:pt x="116" y="1876"/>
                  </a:lnTo>
                  <a:lnTo>
                    <a:pt x="111" y="1874"/>
                  </a:lnTo>
                  <a:lnTo>
                    <a:pt x="108" y="1873"/>
                  </a:lnTo>
                  <a:lnTo>
                    <a:pt x="103" y="1874"/>
                  </a:lnTo>
                  <a:lnTo>
                    <a:pt x="102" y="1874"/>
                  </a:lnTo>
                  <a:lnTo>
                    <a:pt x="100" y="1874"/>
                  </a:lnTo>
                  <a:lnTo>
                    <a:pt x="93" y="1873"/>
                  </a:lnTo>
                  <a:lnTo>
                    <a:pt x="91" y="1874"/>
                  </a:lnTo>
                  <a:lnTo>
                    <a:pt x="90" y="1876"/>
                  </a:lnTo>
                  <a:lnTo>
                    <a:pt x="90" y="1876"/>
                  </a:lnTo>
                  <a:lnTo>
                    <a:pt x="90" y="1877"/>
                  </a:lnTo>
                  <a:lnTo>
                    <a:pt x="88" y="1877"/>
                  </a:lnTo>
                  <a:lnTo>
                    <a:pt x="88" y="1879"/>
                  </a:lnTo>
                  <a:lnTo>
                    <a:pt x="86" y="1880"/>
                  </a:lnTo>
                  <a:lnTo>
                    <a:pt x="86" y="1882"/>
                  </a:lnTo>
                  <a:lnTo>
                    <a:pt x="85" y="1882"/>
                  </a:lnTo>
                  <a:lnTo>
                    <a:pt x="85" y="1880"/>
                  </a:lnTo>
                  <a:lnTo>
                    <a:pt x="86" y="1876"/>
                  </a:lnTo>
                  <a:lnTo>
                    <a:pt x="85" y="1874"/>
                  </a:lnTo>
                  <a:lnTo>
                    <a:pt x="82" y="1876"/>
                  </a:lnTo>
                  <a:lnTo>
                    <a:pt x="79" y="1877"/>
                  </a:lnTo>
                  <a:lnTo>
                    <a:pt x="77" y="1879"/>
                  </a:lnTo>
                  <a:lnTo>
                    <a:pt x="76" y="1877"/>
                  </a:lnTo>
                  <a:lnTo>
                    <a:pt x="74" y="1877"/>
                  </a:lnTo>
                  <a:lnTo>
                    <a:pt x="71" y="1879"/>
                  </a:lnTo>
                  <a:lnTo>
                    <a:pt x="71" y="1879"/>
                  </a:lnTo>
                  <a:lnTo>
                    <a:pt x="73" y="1880"/>
                  </a:lnTo>
                  <a:lnTo>
                    <a:pt x="74" y="1882"/>
                  </a:lnTo>
                  <a:lnTo>
                    <a:pt x="74" y="1884"/>
                  </a:lnTo>
                  <a:lnTo>
                    <a:pt x="73" y="1882"/>
                  </a:lnTo>
                  <a:lnTo>
                    <a:pt x="70" y="1882"/>
                  </a:lnTo>
                  <a:lnTo>
                    <a:pt x="66" y="1880"/>
                  </a:lnTo>
                  <a:lnTo>
                    <a:pt x="63" y="1884"/>
                  </a:lnTo>
                  <a:lnTo>
                    <a:pt x="62" y="1884"/>
                  </a:lnTo>
                  <a:lnTo>
                    <a:pt x="62" y="1885"/>
                  </a:lnTo>
                  <a:lnTo>
                    <a:pt x="60" y="1887"/>
                  </a:lnTo>
                  <a:lnTo>
                    <a:pt x="60" y="1888"/>
                  </a:lnTo>
                  <a:lnTo>
                    <a:pt x="62" y="1890"/>
                  </a:lnTo>
                  <a:lnTo>
                    <a:pt x="62" y="1891"/>
                  </a:lnTo>
                  <a:lnTo>
                    <a:pt x="62" y="1893"/>
                  </a:lnTo>
                  <a:lnTo>
                    <a:pt x="60" y="1893"/>
                  </a:lnTo>
                  <a:lnTo>
                    <a:pt x="60" y="1891"/>
                  </a:lnTo>
                  <a:lnTo>
                    <a:pt x="60" y="1890"/>
                  </a:lnTo>
                  <a:lnTo>
                    <a:pt x="59" y="1888"/>
                  </a:lnTo>
                  <a:lnTo>
                    <a:pt x="59" y="1888"/>
                  </a:lnTo>
                  <a:lnTo>
                    <a:pt x="54" y="1888"/>
                  </a:lnTo>
                  <a:lnTo>
                    <a:pt x="50" y="1887"/>
                  </a:lnTo>
                  <a:lnTo>
                    <a:pt x="48" y="1887"/>
                  </a:lnTo>
                  <a:lnTo>
                    <a:pt x="42" y="1882"/>
                  </a:lnTo>
                  <a:lnTo>
                    <a:pt x="37" y="1880"/>
                  </a:lnTo>
                  <a:lnTo>
                    <a:pt x="33" y="1880"/>
                  </a:lnTo>
                  <a:lnTo>
                    <a:pt x="28" y="1885"/>
                  </a:lnTo>
                  <a:lnTo>
                    <a:pt x="28" y="1887"/>
                  </a:lnTo>
                  <a:lnTo>
                    <a:pt x="26" y="1890"/>
                  </a:lnTo>
                  <a:lnTo>
                    <a:pt x="28" y="1893"/>
                  </a:lnTo>
                  <a:lnTo>
                    <a:pt x="28" y="1894"/>
                  </a:lnTo>
                  <a:lnTo>
                    <a:pt x="28" y="1896"/>
                  </a:lnTo>
                  <a:lnTo>
                    <a:pt x="33" y="1896"/>
                  </a:lnTo>
                  <a:lnTo>
                    <a:pt x="34" y="1896"/>
                  </a:lnTo>
                  <a:lnTo>
                    <a:pt x="36" y="1894"/>
                  </a:lnTo>
                  <a:lnTo>
                    <a:pt x="37" y="1894"/>
                  </a:lnTo>
                  <a:lnTo>
                    <a:pt x="37" y="1894"/>
                  </a:lnTo>
                  <a:lnTo>
                    <a:pt x="37" y="1894"/>
                  </a:lnTo>
                  <a:lnTo>
                    <a:pt x="37" y="1893"/>
                  </a:lnTo>
                  <a:lnTo>
                    <a:pt x="37" y="1896"/>
                  </a:lnTo>
                  <a:lnTo>
                    <a:pt x="37" y="1897"/>
                  </a:lnTo>
                  <a:lnTo>
                    <a:pt x="36" y="1897"/>
                  </a:lnTo>
                  <a:lnTo>
                    <a:pt x="34" y="1900"/>
                  </a:lnTo>
                  <a:lnTo>
                    <a:pt x="34" y="1902"/>
                  </a:lnTo>
                  <a:lnTo>
                    <a:pt x="34" y="1908"/>
                  </a:lnTo>
                  <a:lnTo>
                    <a:pt x="34" y="1911"/>
                  </a:lnTo>
                  <a:lnTo>
                    <a:pt x="34" y="1911"/>
                  </a:lnTo>
                  <a:lnTo>
                    <a:pt x="33" y="1910"/>
                  </a:lnTo>
                  <a:lnTo>
                    <a:pt x="33" y="1907"/>
                  </a:lnTo>
                  <a:lnTo>
                    <a:pt x="33" y="1902"/>
                  </a:lnTo>
                  <a:lnTo>
                    <a:pt x="33" y="1900"/>
                  </a:lnTo>
                  <a:lnTo>
                    <a:pt x="31" y="1899"/>
                  </a:lnTo>
                  <a:lnTo>
                    <a:pt x="29" y="1897"/>
                  </a:lnTo>
                  <a:lnTo>
                    <a:pt x="28" y="1897"/>
                  </a:lnTo>
                  <a:lnTo>
                    <a:pt x="26" y="1897"/>
                  </a:lnTo>
                  <a:lnTo>
                    <a:pt x="25" y="1900"/>
                  </a:lnTo>
                  <a:lnTo>
                    <a:pt x="26" y="1900"/>
                  </a:lnTo>
                  <a:lnTo>
                    <a:pt x="28" y="1902"/>
                  </a:lnTo>
                  <a:lnTo>
                    <a:pt x="28" y="1904"/>
                  </a:lnTo>
                  <a:lnTo>
                    <a:pt x="28" y="1905"/>
                  </a:lnTo>
                  <a:lnTo>
                    <a:pt x="28" y="1907"/>
                  </a:lnTo>
                  <a:lnTo>
                    <a:pt x="28" y="1907"/>
                  </a:lnTo>
                  <a:lnTo>
                    <a:pt x="28" y="1908"/>
                  </a:lnTo>
                  <a:lnTo>
                    <a:pt x="29" y="1910"/>
                  </a:lnTo>
                  <a:lnTo>
                    <a:pt x="29" y="1914"/>
                  </a:lnTo>
                  <a:lnTo>
                    <a:pt x="31" y="1916"/>
                  </a:lnTo>
                  <a:lnTo>
                    <a:pt x="33" y="1917"/>
                  </a:lnTo>
                  <a:lnTo>
                    <a:pt x="36" y="1917"/>
                  </a:lnTo>
                  <a:lnTo>
                    <a:pt x="37" y="1917"/>
                  </a:lnTo>
                  <a:lnTo>
                    <a:pt x="36" y="1919"/>
                  </a:lnTo>
                  <a:lnTo>
                    <a:pt x="37" y="1920"/>
                  </a:lnTo>
                  <a:lnTo>
                    <a:pt x="39" y="1920"/>
                  </a:lnTo>
                  <a:lnTo>
                    <a:pt x="39" y="1917"/>
                  </a:lnTo>
                  <a:lnTo>
                    <a:pt x="39" y="1914"/>
                  </a:lnTo>
                  <a:lnTo>
                    <a:pt x="40" y="1919"/>
                  </a:lnTo>
                  <a:lnTo>
                    <a:pt x="45" y="1920"/>
                  </a:lnTo>
                  <a:lnTo>
                    <a:pt x="48" y="1919"/>
                  </a:lnTo>
                  <a:lnTo>
                    <a:pt x="51" y="1916"/>
                  </a:lnTo>
                  <a:lnTo>
                    <a:pt x="51" y="1913"/>
                  </a:lnTo>
                  <a:lnTo>
                    <a:pt x="53" y="1911"/>
                  </a:lnTo>
                  <a:lnTo>
                    <a:pt x="57" y="1910"/>
                  </a:lnTo>
                  <a:lnTo>
                    <a:pt x="62" y="1907"/>
                  </a:lnTo>
                  <a:lnTo>
                    <a:pt x="63" y="1907"/>
                  </a:lnTo>
                  <a:lnTo>
                    <a:pt x="62" y="1908"/>
                  </a:lnTo>
                  <a:lnTo>
                    <a:pt x="62" y="1910"/>
                  </a:lnTo>
                  <a:lnTo>
                    <a:pt x="65" y="1911"/>
                  </a:lnTo>
                  <a:lnTo>
                    <a:pt x="66" y="1911"/>
                  </a:lnTo>
                  <a:lnTo>
                    <a:pt x="65" y="1913"/>
                  </a:lnTo>
                  <a:lnTo>
                    <a:pt x="63" y="1913"/>
                  </a:lnTo>
                  <a:lnTo>
                    <a:pt x="63" y="1913"/>
                  </a:lnTo>
                  <a:lnTo>
                    <a:pt x="62" y="1913"/>
                  </a:lnTo>
                  <a:lnTo>
                    <a:pt x="60" y="1913"/>
                  </a:lnTo>
                  <a:lnTo>
                    <a:pt x="59" y="1913"/>
                  </a:lnTo>
                  <a:lnTo>
                    <a:pt x="54" y="1914"/>
                  </a:lnTo>
                  <a:lnTo>
                    <a:pt x="53" y="1917"/>
                  </a:lnTo>
                  <a:lnTo>
                    <a:pt x="53" y="1920"/>
                  </a:lnTo>
                  <a:lnTo>
                    <a:pt x="51" y="1922"/>
                  </a:lnTo>
                  <a:lnTo>
                    <a:pt x="48" y="1924"/>
                  </a:lnTo>
                  <a:lnTo>
                    <a:pt x="46" y="1924"/>
                  </a:lnTo>
                  <a:lnTo>
                    <a:pt x="45" y="1927"/>
                  </a:lnTo>
                  <a:lnTo>
                    <a:pt x="45" y="1927"/>
                  </a:lnTo>
                  <a:lnTo>
                    <a:pt x="45" y="1928"/>
                  </a:lnTo>
                  <a:lnTo>
                    <a:pt x="45" y="1928"/>
                  </a:lnTo>
                  <a:lnTo>
                    <a:pt x="46" y="1928"/>
                  </a:lnTo>
                  <a:lnTo>
                    <a:pt x="48" y="1931"/>
                  </a:lnTo>
                  <a:lnTo>
                    <a:pt x="50" y="1931"/>
                  </a:lnTo>
                  <a:lnTo>
                    <a:pt x="53" y="1931"/>
                  </a:lnTo>
                  <a:lnTo>
                    <a:pt x="54" y="1931"/>
                  </a:lnTo>
                  <a:lnTo>
                    <a:pt x="54" y="1933"/>
                  </a:lnTo>
                  <a:lnTo>
                    <a:pt x="54" y="1934"/>
                  </a:lnTo>
                  <a:lnTo>
                    <a:pt x="54" y="1936"/>
                  </a:lnTo>
                  <a:lnTo>
                    <a:pt x="56" y="1936"/>
                  </a:lnTo>
                  <a:lnTo>
                    <a:pt x="57" y="1937"/>
                  </a:lnTo>
                  <a:lnTo>
                    <a:pt x="57" y="1939"/>
                  </a:lnTo>
                  <a:lnTo>
                    <a:pt x="59" y="1940"/>
                  </a:lnTo>
                  <a:lnTo>
                    <a:pt x="59" y="1942"/>
                  </a:lnTo>
                  <a:lnTo>
                    <a:pt x="59" y="1944"/>
                  </a:lnTo>
                  <a:lnTo>
                    <a:pt x="59" y="1944"/>
                  </a:lnTo>
                  <a:lnTo>
                    <a:pt x="56" y="1940"/>
                  </a:lnTo>
                  <a:lnTo>
                    <a:pt x="56" y="1940"/>
                  </a:lnTo>
                  <a:lnTo>
                    <a:pt x="54" y="1942"/>
                  </a:lnTo>
                  <a:lnTo>
                    <a:pt x="56" y="1944"/>
                  </a:lnTo>
                  <a:lnTo>
                    <a:pt x="59" y="1947"/>
                  </a:lnTo>
                  <a:lnTo>
                    <a:pt x="59" y="1948"/>
                  </a:lnTo>
                  <a:lnTo>
                    <a:pt x="57" y="1948"/>
                  </a:lnTo>
                  <a:lnTo>
                    <a:pt x="54" y="1945"/>
                  </a:lnTo>
                  <a:lnTo>
                    <a:pt x="53" y="1944"/>
                  </a:lnTo>
                  <a:lnTo>
                    <a:pt x="53" y="1945"/>
                  </a:lnTo>
                  <a:lnTo>
                    <a:pt x="54" y="1947"/>
                  </a:lnTo>
                  <a:lnTo>
                    <a:pt x="54" y="1947"/>
                  </a:lnTo>
                  <a:lnTo>
                    <a:pt x="54" y="1948"/>
                  </a:lnTo>
                  <a:lnTo>
                    <a:pt x="53" y="1947"/>
                  </a:lnTo>
                  <a:lnTo>
                    <a:pt x="51" y="1945"/>
                  </a:lnTo>
                  <a:lnTo>
                    <a:pt x="50" y="1942"/>
                  </a:lnTo>
                  <a:lnTo>
                    <a:pt x="50" y="1939"/>
                  </a:lnTo>
                  <a:lnTo>
                    <a:pt x="50" y="1936"/>
                  </a:lnTo>
                  <a:lnTo>
                    <a:pt x="48" y="1934"/>
                  </a:lnTo>
                  <a:lnTo>
                    <a:pt x="40" y="1931"/>
                  </a:lnTo>
                  <a:lnTo>
                    <a:pt x="37" y="1930"/>
                  </a:lnTo>
                  <a:lnTo>
                    <a:pt x="36" y="1927"/>
                  </a:lnTo>
                  <a:lnTo>
                    <a:pt x="31" y="1927"/>
                  </a:lnTo>
                  <a:lnTo>
                    <a:pt x="28" y="1922"/>
                  </a:lnTo>
                  <a:lnTo>
                    <a:pt x="25" y="1922"/>
                  </a:lnTo>
                  <a:lnTo>
                    <a:pt x="23" y="1922"/>
                  </a:lnTo>
                  <a:lnTo>
                    <a:pt x="22" y="1922"/>
                  </a:lnTo>
                  <a:lnTo>
                    <a:pt x="23" y="1924"/>
                  </a:lnTo>
                  <a:lnTo>
                    <a:pt x="26" y="1925"/>
                  </a:lnTo>
                  <a:lnTo>
                    <a:pt x="29" y="1931"/>
                  </a:lnTo>
                  <a:lnTo>
                    <a:pt x="31" y="1933"/>
                  </a:lnTo>
                  <a:lnTo>
                    <a:pt x="34" y="1933"/>
                  </a:lnTo>
                  <a:lnTo>
                    <a:pt x="36" y="1934"/>
                  </a:lnTo>
                  <a:lnTo>
                    <a:pt x="37" y="1937"/>
                  </a:lnTo>
                  <a:lnTo>
                    <a:pt x="34" y="1936"/>
                  </a:lnTo>
                  <a:lnTo>
                    <a:pt x="33" y="1936"/>
                  </a:lnTo>
                  <a:lnTo>
                    <a:pt x="39" y="1942"/>
                  </a:lnTo>
                  <a:lnTo>
                    <a:pt x="43" y="1950"/>
                  </a:lnTo>
                  <a:lnTo>
                    <a:pt x="43" y="1951"/>
                  </a:lnTo>
                  <a:lnTo>
                    <a:pt x="39" y="1945"/>
                  </a:lnTo>
                  <a:lnTo>
                    <a:pt x="36" y="1944"/>
                  </a:lnTo>
                  <a:lnTo>
                    <a:pt x="33" y="1944"/>
                  </a:lnTo>
                  <a:lnTo>
                    <a:pt x="34" y="1945"/>
                  </a:lnTo>
                  <a:lnTo>
                    <a:pt x="39" y="1951"/>
                  </a:lnTo>
                  <a:lnTo>
                    <a:pt x="40" y="1954"/>
                  </a:lnTo>
                  <a:lnTo>
                    <a:pt x="43" y="1957"/>
                  </a:lnTo>
                  <a:lnTo>
                    <a:pt x="45" y="1959"/>
                  </a:lnTo>
                  <a:lnTo>
                    <a:pt x="48" y="1959"/>
                  </a:lnTo>
                  <a:lnTo>
                    <a:pt x="50" y="1959"/>
                  </a:lnTo>
                  <a:lnTo>
                    <a:pt x="54" y="1956"/>
                  </a:lnTo>
                  <a:lnTo>
                    <a:pt x="60" y="1951"/>
                  </a:lnTo>
                  <a:lnTo>
                    <a:pt x="65" y="1950"/>
                  </a:lnTo>
                  <a:lnTo>
                    <a:pt x="66" y="1948"/>
                  </a:lnTo>
                  <a:lnTo>
                    <a:pt x="66" y="1947"/>
                  </a:lnTo>
                  <a:lnTo>
                    <a:pt x="66" y="1940"/>
                  </a:lnTo>
                  <a:lnTo>
                    <a:pt x="66" y="1939"/>
                  </a:lnTo>
                  <a:lnTo>
                    <a:pt x="70" y="1939"/>
                  </a:lnTo>
                  <a:lnTo>
                    <a:pt x="71" y="1939"/>
                  </a:lnTo>
                  <a:lnTo>
                    <a:pt x="71" y="1937"/>
                  </a:lnTo>
                  <a:lnTo>
                    <a:pt x="73" y="1936"/>
                  </a:lnTo>
                  <a:lnTo>
                    <a:pt x="74" y="1936"/>
                  </a:lnTo>
                  <a:lnTo>
                    <a:pt x="76" y="1934"/>
                  </a:lnTo>
                  <a:lnTo>
                    <a:pt x="76" y="1931"/>
                  </a:lnTo>
                  <a:lnTo>
                    <a:pt x="77" y="1930"/>
                  </a:lnTo>
                  <a:lnTo>
                    <a:pt x="79" y="1930"/>
                  </a:lnTo>
                  <a:lnTo>
                    <a:pt x="77" y="1931"/>
                  </a:lnTo>
                  <a:lnTo>
                    <a:pt x="77" y="1934"/>
                  </a:lnTo>
                  <a:lnTo>
                    <a:pt x="76" y="1936"/>
                  </a:lnTo>
                  <a:lnTo>
                    <a:pt x="76" y="1937"/>
                  </a:lnTo>
                  <a:lnTo>
                    <a:pt x="80" y="1937"/>
                  </a:lnTo>
                  <a:lnTo>
                    <a:pt x="80" y="1937"/>
                  </a:lnTo>
                  <a:lnTo>
                    <a:pt x="83" y="1936"/>
                  </a:lnTo>
                  <a:lnTo>
                    <a:pt x="82" y="1937"/>
                  </a:lnTo>
                  <a:lnTo>
                    <a:pt x="80" y="1940"/>
                  </a:lnTo>
                  <a:lnTo>
                    <a:pt x="80" y="1944"/>
                  </a:lnTo>
                  <a:lnTo>
                    <a:pt x="82" y="1945"/>
                  </a:lnTo>
                  <a:lnTo>
                    <a:pt x="80" y="1947"/>
                  </a:lnTo>
                  <a:lnTo>
                    <a:pt x="80" y="1953"/>
                  </a:lnTo>
                  <a:lnTo>
                    <a:pt x="79" y="1959"/>
                  </a:lnTo>
                  <a:lnTo>
                    <a:pt x="80" y="1964"/>
                  </a:lnTo>
                  <a:lnTo>
                    <a:pt x="80" y="1968"/>
                  </a:lnTo>
                  <a:lnTo>
                    <a:pt x="80" y="1971"/>
                  </a:lnTo>
                  <a:lnTo>
                    <a:pt x="80" y="1973"/>
                  </a:lnTo>
                  <a:lnTo>
                    <a:pt x="79" y="1974"/>
                  </a:lnTo>
                  <a:lnTo>
                    <a:pt x="77" y="1974"/>
                  </a:lnTo>
                  <a:lnTo>
                    <a:pt x="76" y="1976"/>
                  </a:lnTo>
                  <a:lnTo>
                    <a:pt x="76" y="1979"/>
                  </a:lnTo>
                  <a:lnTo>
                    <a:pt x="73" y="1981"/>
                  </a:lnTo>
                  <a:lnTo>
                    <a:pt x="70" y="1981"/>
                  </a:lnTo>
                  <a:lnTo>
                    <a:pt x="66" y="1981"/>
                  </a:lnTo>
                  <a:lnTo>
                    <a:pt x="62" y="1977"/>
                  </a:lnTo>
                  <a:lnTo>
                    <a:pt x="60" y="1976"/>
                  </a:lnTo>
                  <a:lnTo>
                    <a:pt x="57" y="1971"/>
                  </a:lnTo>
                  <a:lnTo>
                    <a:pt x="56" y="1970"/>
                  </a:lnTo>
                  <a:lnTo>
                    <a:pt x="54" y="1970"/>
                  </a:lnTo>
                  <a:lnTo>
                    <a:pt x="53" y="1967"/>
                  </a:lnTo>
                  <a:lnTo>
                    <a:pt x="50" y="1964"/>
                  </a:lnTo>
                  <a:lnTo>
                    <a:pt x="48" y="1965"/>
                  </a:lnTo>
                  <a:lnTo>
                    <a:pt x="45" y="1970"/>
                  </a:lnTo>
                  <a:lnTo>
                    <a:pt x="45" y="1973"/>
                  </a:lnTo>
                  <a:lnTo>
                    <a:pt x="46" y="1976"/>
                  </a:lnTo>
                  <a:lnTo>
                    <a:pt x="46" y="1976"/>
                  </a:lnTo>
                  <a:lnTo>
                    <a:pt x="45" y="1979"/>
                  </a:lnTo>
                  <a:lnTo>
                    <a:pt x="48" y="1984"/>
                  </a:lnTo>
                  <a:lnTo>
                    <a:pt x="50" y="1984"/>
                  </a:lnTo>
                  <a:lnTo>
                    <a:pt x="46" y="1985"/>
                  </a:lnTo>
                  <a:lnTo>
                    <a:pt x="40" y="1985"/>
                  </a:lnTo>
                  <a:lnTo>
                    <a:pt x="37" y="1988"/>
                  </a:lnTo>
                  <a:lnTo>
                    <a:pt x="37" y="1991"/>
                  </a:lnTo>
                  <a:lnTo>
                    <a:pt x="37" y="1991"/>
                  </a:lnTo>
                  <a:lnTo>
                    <a:pt x="39" y="1993"/>
                  </a:lnTo>
                  <a:lnTo>
                    <a:pt x="42" y="1993"/>
                  </a:lnTo>
                  <a:lnTo>
                    <a:pt x="43" y="1993"/>
                  </a:lnTo>
                  <a:lnTo>
                    <a:pt x="43" y="1996"/>
                  </a:lnTo>
                  <a:lnTo>
                    <a:pt x="42" y="1994"/>
                  </a:lnTo>
                  <a:lnTo>
                    <a:pt x="40" y="1994"/>
                  </a:lnTo>
                  <a:lnTo>
                    <a:pt x="40" y="1996"/>
                  </a:lnTo>
                  <a:lnTo>
                    <a:pt x="39" y="1997"/>
                  </a:lnTo>
                  <a:lnTo>
                    <a:pt x="39" y="1999"/>
                  </a:lnTo>
                  <a:lnTo>
                    <a:pt x="39" y="2001"/>
                  </a:lnTo>
                  <a:lnTo>
                    <a:pt x="40" y="2002"/>
                  </a:lnTo>
                  <a:lnTo>
                    <a:pt x="48" y="2004"/>
                  </a:lnTo>
                  <a:lnTo>
                    <a:pt x="50" y="2004"/>
                  </a:lnTo>
                  <a:lnTo>
                    <a:pt x="50" y="2007"/>
                  </a:lnTo>
                  <a:lnTo>
                    <a:pt x="43" y="2011"/>
                  </a:lnTo>
                  <a:lnTo>
                    <a:pt x="45" y="2013"/>
                  </a:lnTo>
                  <a:lnTo>
                    <a:pt x="51" y="2010"/>
                  </a:lnTo>
                  <a:lnTo>
                    <a:pt x="53" y="2011"/>
                  </a:lnTo>
                  <a:lnTo>
                    <a:pt x="53" y="2011"/>
                  </a:lnTo>
                  <a:lnTo>
                    <a:pt x="51" y="2013"/>
                  </a:lnTo>
                  <a:lnTo>
                    <a:pt x="50" y="2013"/>
                  </a:lnTo>
                  <a:lnTo>
                    <a:pt x="50" y="2014"/>
                  </a:lnTo>
                  <a:lnTo>
                    <a:pt x="51" y="2016"/>
                  </a:lnTo>
                  <a:lnTo>
                    <a:pt x="54" y="2017"/>
                  </a:lnTo>
                  <a:lnTo>
                    <a:pt x="54" y="2019"/>
                  </a:lnTo>
                  <a:lnTo>
                    <a:pt x="54" y="2019"/>
                  </a:lnTo>
                  <a:lnTo>
                    <a:pt x="53" y="2021"/>
                  </a:lnTo>
                  <a:lnTo>
                    <a:pt x="56" y="2022"/>
                  </a:lnTo>
                  <a:lnTo>
                    <a:pt x="57" y="2024"/>
                  </a:lnTo>
                  <a:lnTo>
                    <a:pt x="57" y="2022"/>
                  </a:lnTo>
                  <a:lnTo>
                    <a:pt x="59" y="2021"/>
                  </a:lnTo>
                  <a:lnTo>
                    <a:pt x="59" y="2019"/>
                  </a:lnTo>
                  <a:lnTo>
                    <a:pt x="59" y="2017"/>
                  </a:lnTo>
                  <a:lnTo>
                    <a:pt x="62" y="2016"/>
                  </a:lnTo>
                  <a:lnTo>
                    <a:pt x="65" y="2011"/>
                  </a:lnTo>
                  <a:lnTo>
                    <a:pt x="66" y="2011"/>
                  </a:lnTo>
                  <a:lnTo>
                    <a:pt x="66" y="2008"/>
                  </a:lnTo>
                  <a:lnTo>
                    <a:pt x="70" y="2001"/>
                  </a:lnTo>
                  <a:lnTo>
                    <a:pt x="70" y="2001"/>
                  </a:lnTo>
                  <a:lnTo>
                    <a:pt x="71" y="1997"/>
                  </a:lnTo>
                  <a:lnTo>
                    <a:pt x="71" y="1993"/>
                  </a:lnTo>
                  <a:lnTo>
                    <a:pt x="73" y="1990"/>
                  </a:lnTo>
                  <a:lnTo>
                    <a:pt x="74" y="1988"/>
                  </a:lnTo>
                  <a:lnTo>
                    <a:pt x="74" y="1988"/>
                  </a:lnTo>
                  <a:lnTo>
                    <a:pt x="74" y="1990"/>
                  </a:lnTo>
                  <a:lnTo>
                    <a:pt x="74" y="1991"/>
                  </a:lnTo>
                  <a:lnTo>
                    <a:pt x="76" y="1990"/>
                  </a:lnTo>
                  <a:lnTo>
                    <a:pt x="76" y="1988"/>
                  </a:lnTo>
                  <a:lnTo>
                    <a:pt x="77" y="1987"/>
                  </a:lnTo>
                  <a:lnTo>
                    <a:pt x="79" y="1987"/>
                  </a:lnTo>
                  <a:lnTo>
                    <a:pt x="79" y="1987"/>
                  </a:lnTo>
                  <a:lnTo>
                    <a:pt x="80" y="1985"/>
                  </a:lnTo>
                  <a:lnTo>
                    <a:pt x="82" y="1985"/>
                  </a:lnTo>
                  <a:lnTo>
                    <a:pt x="82" y="1987"/>
                  </a:lnTo>
                  <a:lnTo>
                    <a:pt x="80" y="1988"/>
                  </a:lnTo>
                  <a:lnTo>
                    <a:pt x="77" y="1990"/>
                  </a:lnTo>
                  <a:lnTo>
                    <a:pt x="77" y="1990"/>
                  </a:lnTo>
                  <a:lnTo>
                    <a:pt x="76" y="1991"/>
                  </a:lnTo>
                  <a:lnTo>
                    <a:pt x="76" y="1993"/>
                  </a:lnTo>
                  <a:lnTo>
                    <a:pt x="76" y="1994"/>
                  </a:lnTo>
                  <a:lnTo>
                    <a:pt x="76" y="1996"/>
                  </a:lnTo>
                  <a:lnTo>
                    <a:pt x="74" y="1996"/>
                  </a:lnTo>
                  <a:lnTo>
                    <a:pt x="73" y="2001"/>
                  </a:lnTo>
                  <a:lnTo>
                    <a:pt x="73" y="2002"/>
                  </a:lnTo>
                  <a:lnTo>
                    <a:pt x="71" y="2004"/>
                  </a:lnTo>
                  <a:lnTo>
                    <a:pt x="71" y="2004"/>
                  </a:lnTo>
                  <a:lnTo>
                    <a:pt x="70" y="2005"/>
                  </a:lnTo>
                  <a:lnTo>
                    <a:pt x="70" y="2008"/>
                  </a:lnTo>
                  <a:lnTo>
                    <a:pt x="71" y="2007"/>
                  </a:lnTo>
                  <a:lnTo>
                    <a:pt x="71" y="2004"/>
                  </a:lnTo>
                  <a:lnTo>
                    <a:pt x="73" y="2002"/>
                  </a:lnTo>
                  <a:lnTo>
                    <a:pt x="74" y="2002"/>
                  </a:lnTo>
                  <a:lnTo>
                    <a:pt x="74" y="2004"/>
                  </a:lnTo>
                  <a:lnTo>
                    <a:pt x="74" y="2005"/>
                  </a:lnTo>
                  <a:lnTo>
                    <a:pt x="71" y="2008"/>
                  </a:lnTo>
                  <a:lnTo>
                    <a:pt x="73" y="2008"/>
                  </a:lnTo>
                  <a:lnTo>
                    <a:pt x="80" y="2008"/>
                  </a:lnTo>
                  <a:lnTo>
                    <a:pt x="80" y="2008"/>
                  </a:lnTo>
                  <a:lnTo>
                    <a:pt x="77" y="2010"/>
                  </a:lnTo>
                  <a:lnTo>
                    <a:pt x="71" y="2013"/>
                  </a:lnTo>
                  <a:lnTo>
                    <a:pt x="70" y="2013"/>
                  </a:lnTo>
                  <a:lnTo>
                    <a:pt x="70" y="2014"/>
                  </a:lnTo>
                  <a:lnTo>
                    <a:pt x="70" y="2014"/>
                  </a:lnTo>
                  <a:lnTo>
                    <a:pt x="70" y="2017"/>
                  </a:lnTo>
                  <a:lnTo>
                    <a:pt x="68" y="2019"/>
                  </a:lnTo>
                  <a:lnTo>
                    <a:pt x="68" y="2019"/>
                  </a:lnTo>
                  <a:lnTo>
                    <a:pt x="68" y="2021"/>
                  </a:lnTo>
                  <a:lnTo>
                    <a:pt x="70" y="2022"/>
                  </a:lnTo>
                  <a:lnTo>
                    <a:pt x="71" y="2022"/>
                  </a:lnTo>
                  <a:lnTo>
                    <a:pt x="73" y="2021"/>
                  </a:lnTo>
                  <a:lnTo>
                    <a:pt x="74" y="2021"/>
                  </a:lnTo>
                  <a:lnTo>
                    <a:pt x="76" y="2021"/>
                  </a:lnTo>
                  <a:lnTo>
                    <a:pt x="76" y="2021"/>
                  </a:lnTo>
                  <a:lnTo>
                    <a:pt x="76" y="2017"/>
                  </a:lnTo>
                  <a:lnTo>
                    <a:pt x="76" y="2017"/>
                  </a:lnTo>
                  <a:lnTo>
                    <a:pt x="77" y="2014"/>
                  </a:lnTo>
                  <a:lnTo>
                    <a:pt x="80" y="2013"/>
                  </a:lnTo>
                  <a:lnTo>
                    <a:pt x="83" y="2011"/>
                  </a:lnTo>
                  <a:lnTo>
                    <a:pt x="86" y="2011"/>
                  </a:lnTo>
                  <a:lnTo>
                    <a:pt x="86" y="2013"/>
                  </a:lnTo>
                  <a:lnTo>
                    <a:pt x="80" y="2016"/>
                  </a:lnTo>
                  <a:lnTo>
                    <a:pt x="80" y="2017"/>
                  </a:lnTo>
                  <a:lnTo>
                    <a:pt x="79" y="2019"/>
                  </a:lnTo>
                  <a:lnTo>
                    <a:pt x="82" y="2024"/>
                  </a:lnTo>
                  <a:lnTo>
                    <a:pt x="80" y="2025"/>
                  </a:lnTo>
                  <a:lnTo>
                    <a:pt x="80" y="2027"/>
                  </a:lnTo>
                  <a:lnTo>
                    <a:pt x="79" y="2028"/>
                  </a:lnTo>
                  <a:lnTo>
                    <a:pt x="80" y="2028"/>
                  </a:lnTo>
                  <a:lnTo>
                    <a:pt x="80" y="2030"/>
                  </a:lnTo>
                  <a:lnTo>
                    <a:pt x="80" y="2031"/>
                  </a:lnTo>
                  <a:lnTo>
                    <a:pt x="82" y="2031"/>
                  </a:lnTo>
                  <a:lnTo>
                    <a:pt x="82" y="2031"/>
                  </a:lnTo>
                  <a:lnTo>
                    <a:pt x="82" y="2030"/>
                  </a:lnTo>
                  <a:lnTo>
                    <a:pt x="83" y="2030"/>
                  </a:lnTo>
                  <a:lnTo>
                    <a:pt x="83" y="2030"/>
                  </a:lnTo>
                  <a:lnTo>
                    <a:pt x="86" y="2030"/>
                  </a:lnTo>
                  <a:lnTo>
                    <a:pt x="86" y="2031"/>
                  </a:lnTo>
                  <a:lnTo>
                    <a:pt x="85" y="2033"/>
                  </a:lnTo>
                  <a:lnTo>
                    <a:pt x="83" y="2034"/>
                  </a:lnTo>
                  <a:lnTo>
                    <a:pt x="82" y="2034"/>
                  </a:lnTo>
                  <a:lnTo>
                    <a:pt x="79" y="2033"/>
                  </a:lnTo>
                  <a:lnTo>
                    <a:pt x="79" y="2034"/>
                  </a:lnTo>
                  <a:lnTo>
                    <a:pt x="77" y="2038"/>
                  </a:lnTo>
                  <a:lnTo>
                    <a:pt x="79" y="2038"/>
                  </a:lnTo>
                  <a:lnTo>
                    <a:pt x="79" y="2039"/>
                  </a:lnTo>
                  <a:lnTo>
                    <a:pt x="79" y="2039"/>
                  </a:lnTo>
                  <a:lnTo>
                    <a:pt x="79" y="2041"/>
                  </a:lnTo>
                  <a:lnTo>
                    <a:pt x="79" y="2042"/>
                  </a:lnTo>
                  <a:lnTo>
                    <a:pt x="82" y="2044"/>
                  </a:lnTo>
                  <a:lnTo>
                    <a:pt x="83" y="2045"/>
                  </a:lnTo>
                  <a:lnTo>
                    <a:pt x="85" y="2039"/>
                  </a:lnTo>
                  <a:lnTo>
                    <a:pt x="86" y="2041"/>
                  </a:lnTo>
                  <a:lnTo>
                    <a:pt x="85" y="2042"/>
                  </a:lnTo>
                  <a:lnTo>
                    <a:pt x="85" y="2042"/>
                  </a:lnTo>
                  <a:lnTo>
                    <a:pt x="88" y="2042"/>
                  </a:lnTo>
                  <a:lnTo>
                    <a:pt x="91" y="2039"/>
                  </a:lnTo>
                  <a:lnTo>
                    <a:pt x="93" y="2036"/>
                  </a:lnTo>
                  <a:lnTo>
                    <a:pt x="91" y="2030"/>
                  </a:lnTo>
                  <a:lnTo>
                    <a:pt x="91" y="2022"/>
                  </a:lnTo>
                  <a:lnTo>
                    <a:pt x="90" y="2021"/>
                  </a:lnTo>
                  <a:lnTo>
                    <a:pt x="91" y="2019"/>
                  </a:lnTo>
                  <a:lnTo>
                    <a:pt x="93" y="2019"/>
                  </a:lnTo>
                  <a:lnTo>
                    <a:pt x="93" y="2019"/>
                  </a:lnTo>
                  <a:lnTo>
                    <a:pt x="94" y="2019"/>
                  </a:lnTo>
                  <a:lnTo>
                    <a:pt x="96" y="2017"/>
                  </a:lnTo>
                  <a:lnTo>
                    <a:pt x="96" y="2014"/>
                  </a:lnTo>
                  <a:lnTo>
                    <a:pt x="99" y="2011"/>
                  </a:lnTo>
                  <a:lnTo>
                    <a:pt x="100" y="2008"/>
                  </a:lnTo>
                  <a:lnTo>
                    <a:pt x="100" y="2005"/>
                  </a:lnTo>
                  <a:lnTo>
                    <a:pt x="100" y="2004"/>
                  </a:lnTo>
                  <a:lnTo>
                    <a:pt x="102" y="2002"/>
                  </a:lnTo>
                  <a:lnTo>
                    <a:pt x="103" y="2004"/>
                  </a:lnTo>
                  <a:lnTo>
                    <a:pt x="108" y="2005"/>
                  </a:lnTo>
                  <a:lnTo>
                    <a:pt x="110" y="2007"/>
                  </a:lnTo>
                  <a:lnTo>
                    <a:pt x="111" y="2007"/>
                  </a:lnTo>
                  <a:lnTo>
                    <a:pt x="111" y="2005"/>
                  </a:lnTo>
                  <a:lnTo>
                    <a:pt x="113" y="2004"/>
                  </a:lnTo>
                  <a:lnTo>
                    <a:pt x="113" y="2001"/>
                  </a:lnTo>
                  <a:lnTo>
                    <a:pt x="113" y="1999"/>
                  </a:lnTo>
                  <a:lnTo>
                    <a:pt x="113" y="1999"/>
                  </a:lnTo>
                  <a:lnTo>
                    <a:pt x="111" y="1997"/>
                  </a:lnTo>
                  <a:lnTo>
                    <a:pt x="113" y="1996"/>
                  </a:lnTo>
                  <a:lnTo>
                    <a:pt x="114" y="1993"/>
                  </a:lnTo>
                  <a:lnTo>
                    <a:pt x="116" y="1990"/>
                  </a:lnTo>
                  <a:lnTo>
                    <a:pt x="111" y="1990"/>
                  </a:lnTo>
                  <a:lnTo>
                    <a:pt x="110" y="1988"/>
                  </a:lnTo>
                  <a:lnTo>
                    <a:pt x="111" y="1987"/>
                  </a:lnTo>
                  <a:lnTo>
                    <a:pt x="114" y="1987"/>
                  </a:lnTo>
                  <a:lnTo>
                    <a:pt x="116" y="1985"/>
                  </a:lnTo>
                  <a:lnTo>
                    <a:pt x="119" y="1987"/>
                  </a:lnTo>
                  <a:lnTo>
                    <a:pt x="119" y="1987"/>
                  </a:lnTo>
                  <a:lnTo>
                    <a:pt x="119" y="1985"/>
                  </a:lnTo>
                  <a:lnTo>
                    <a:pt x="119" y="1984"/>
                  </a:lnTo>
                  <a:lnTo>
                    <a:pt x="117" y="1982"/>
                  </a:lnTo>
                  <a:lnTo>
                    <a:pt x="116" y="1979"/>
                  </a:lnTo>
                  <a:lnTo>
                    <a:pt x="116" y="1977"/>
                  </a:lnTo>
                  <a:lnTo>
                    <a:pt x="114" y="1976"/>
                  </a:lnTo>
                  <a:lnTo>
                    <a:pt x="114" y="1974"/>
                  </a:lnTo>
                  <a:lnTo>
                    <a:pt x="114" y="1973"/>
                  </a:lnTo>
                  <a:lnTo>
                    <a:pt x="116" y="1973"/>
                  </a:lnTo>
                  <a:lnTo>
                    <a:pt x="116" y="1974"/>
                  </a:lnTo>
                  <a:lnTo>
                    <a:pt x="117" y="1979"/>
                  </a:lnTo>
                  <a:lnTo>
                    <a:pt x="119" y="1982"/>
                  </a:lnTo>
                  <a:lnTo>
                    <a:pt x="120" y="1984"/>
                  </a:lnTo>
                  <a:lnTo>
                    <a:pt x="122" y="1985"/>
                  </a:lnTo>
                  <a:lnTo>
                    <a:pt x="123" y="1985"/>
                  </a:lnTo>
                  <a:lnTo>
                    <a:pt x="125" y="1984"/>
                  </a:lnTo>
                  <a:lnTo>
                    <a:pt x="130" y="1979"/>
                  </a:lnTo>
                  <a:lnTo>
                    <a:pt x="131" y="1979"/>
                  </a:lnTo>
                  <a:lnTo>
                    <a:pt x="133" y="1977"/>
                  </a:lnTo>
                  <a:lnTo>
                    <a:pt x="137" y="1976"/>
                  </a:lnTo>
                  <a:lnTo>
                    <a:pt x="139" y="1976"/>
                  </a:lnTo>
                  <a:lnTo>
                    <a:pt x="143" y="1974"/>
                  </a:lnTo>
                  <a:lnTo>
                    <a:pt x="150" y="1967"/>
                  </a:lnTo>
                  <a:lnTo>
                    <a:pt x="153" y="1965"/>
                  </a:lnTo>
                  <a:lnTo>
                    <a:pt x="151" y="1968"/>
                  </a:lnTo>
                  <a:lnTo>
                    <a:pt x="147" y="1973"/>
                  </a:lnTo>
                  <a:lnTo>
                    <a:pt x="145" y="1977"/>
                  </a:lnTo>
                  <a:lnTo>
                    <a:pt x="147" y="1979"/>
                  </a:lnTo>
                  <a:lnTo>
                    <a:pt x="148" y="1979"/>
                  </a:lnTo>
                  <a:lnTo>
                    <a:pt x="150" y="1979"/>
                  </a:lnTo>
                  <a:lnTo>
                    <a:pt x="151" y="1977"/>
                  </a:lnTo>
                  <a:lnTo>
                    <a:pt x="156" y="1973"/>
                  </a:lnTo>
                  <a:lnTo>
                    <a:pt x="159" y="1970"/>
                  </a:lnTo>
                  <a:lnTo>
                    <a:pt x="163" y="1968"/>
                  </a:lnTo>
                  <a:lnTo>
                    <a:pt x="165" y="1968"/>
                  </a:lnTo>
                  <a:lnTo>
                    <a:pt x="168" y="1964"/>
                  </a:lnTo>
                  <a:lnTo>
                    <a:pt x="170" y="1961"/>
                  </a:lnTo>
                  <a:lnTo>
                    <a:pt x="173" y="1957"/>
                  </a:lnTo>
                  <a:lnTo>
                    <a:pt x="174" y="1954"/>
                  </a:lnTo>
                  <a:lnTo>
                    <a:pt x="177" y="1954"/>
                  </a:lnTo>
                  <a:lnTo>
                    <a:pt x="173" y="1962"/>
                  </a:lnTo>
                  <a:lnTo>
                    <a:pt x="173" y="1962"/>
                  </a:lnTo>
                  <a:lnTo>
                    <a:pt x="171" y="1962"/>
                  </a:lnTo>
                  <a:lnTo>
                    <a:pt x="171" y="1964"/>
                  </a:lnTo>
                  <a:lnTo>
                    <a:pt x="171" y="1965"/>
                  </a:lnTo>
                  <a:lnTo>
                    <a:pt x="170" y="1965"/>
                  </a:lnTo>
                  <a:lnTo>
                    <a:pt x="170" y="1967"/>
                  </a:lnTo>
                  <a:lnTo>
                    <a:pt x="170" y="1967"/>
                  </a:lnTo>
                  <a:lnTo>
                    <a:pt x="168" y="1967"/>
                  </a:lnTo>
                  <a:lnTo>
                    <a:pt x="168" y="1967"/>
                  </a:lnTo>
                  <a:lnTo>
                    <a:pt x="184" y="1967"/>
                  </a:lnTo>
                  <a:lnTo>
                    <a:pt x="182" y="1971"/>
                  </a:lnTo>
                  <a:lnTo>
                    <a:pt x="179" y="1971"/>
                  </a:lnTo>
                  <a:lnTo>
                    <a:pt x="171" y="1970"/>
                  </a:lnTo>
                  <a:lnTo>
                    <a:pt x="160" y="1973"/>
                  </a:lnTo>
                  <a:lnTo>
                    <a:pt x="160" y="1973"/>
                  </a:lnTo>
                  <a:lnTo>
                    <a:pt x="159" y="1974"/>
                  </a:lnTo>
                  <a:lnTo>
                    <a:pt x="157" y="1976"/>
                  </a:lnTo>
                  <a:lnTo>
                    <a:pt x="154" y="1982"/>
                  </a:lnTo>
                  <a:lnTo>
                    <a:pt x="154" y="1984"/>
                  </a:lnTo>
                  <a:lnTo>
                    <a:pt x="151" y="1985"/>
                  </a:lnTo>
                  <a:lnTo>
                    <a:pt x="150" y="1987"/>
                  </a:lnTo>
                  <a:lnTo>
                    <a:pt x="148" y="1990"/>
                  </a:lnTo>
                  <a:lnTo>
                    <a:pt x="145" y="1999"/>
                  </a:lnTo>
                  <a:lnTo>
                    <a:pt x="143" y="2002"/>
                  </a:lnTo>
                  <a:lnTo>
                    <a:pt x="145" y="2007"/>
                  </a:lnTo>
                  <a:lnTo>
                    <a:pt x="145" y="2008"/>
                  </a:lnTo>
                  <a:lnTo>
                    <a:pt x="145" y="2010"/>
                  </a:lnTo>
                  <a:lnTo>
                    <a:pt x="142" y="2016"/>
                  </a:lnTo>
                  <a:lnTo>
                    <a:pt x="140" y="2019"/>
                  </a:lnTo>
                  <a:lnTo>
                    <a:pt x="140" y="2024"/>
                  </a:lnTo>
                  <a:lnTo>
                    <a:pt x="140" y="2031"/>
                  </a:lnTo>
                  <a:lnTo>
                    <a:pt x="140" y="2031"/>
                  </a:lnTo>
                  <a:lnTo>
                    <a:pt x="139" y="2027"/>
                  </a:lnTo>
                  <a:lnTo>
                    <a:pt x="139" y="2024"/>
                  </a:lnTo>
                  <a:lnTo>
                    <a:pt x="139" y="2021"/>
                  </a:lnTo>
                  <a:lnTo>
                    <a:pt x="140" y="2016"/>
                  </a:lnTo>
                  <a:lnTo>
                    <a:pt x="140" y="2004"/>
                  </a:lnTo>
                  <a:lnTo>
                    <a:pt x="142" y="2002"/>
                  </a:lnTo>
                  <a:lnTo>
                    <a:pt x="143" y="1999"/>
                  </a:lnTo>
                  <a:lnTo>
                    <a:pt x="145" y="1997"/>
                  </a:lnTo>
                  <a:lnTo>
                    <a:pt x="143" y="1994"/>
                  </a:lnTo>
                  <a:lnTo>
                    <a:pt x="145" y="1988"/>
                  </a:lnTo>
                  <a:lnTo>
                    <a:pt x="150" y="1981"/>
                  </a:lnTo>
                  <a:lnTo>
                    <a:pt x="143" y="1979"/>
                  </a:lnTo>
                  <a:lnTo>
                    <a:pt x="142" y="1977"/>
                  </a:lnTo>
                  <a:lnTo>
                    <a:pt x="139" y="1979"/>
                  </a:lnTo>
                  <a:lnTo>
                    <a:pt x="137" y="1981"/>
                  </a:lnTo>
                  <a:lnTo>
                    <a:pt x="134" y="1985"/>
                  </a:lnTo>
                  <a:lnTo>
                    <a:pt x="133" y="1987"/>
                  </a:lnTo>
                  <a:lnTo>
                    <a:pt x="130" y="1987"/>
                  </a:lnTo>
                  <a:lnTo>
                    <a:pt x="128" y="1988"/>
                  </a:lnTo>
                  <a:lnTo>
                    <a:pt x="127" y="1988"/>
                  </a:lnTo>
                  <a:lnTo>
                    <a:pt x="127" y="1990"/>
                  </a:lnTo>
                  <a:lnTo>
                    <a:pt x="127" y="1990"/>
                  </a:lnTo>
                  <a:lnTo>
                    <a:pt x="127" y="1990"/>
                  </a:lnTo>
                  <a:lnTo>
                    <a:pt x="127" y="1991"/>
                  </a:lnTo>
                  <a:lnTo>
                    <a:pt x="127" y="1991"/>
                  </a:lnTo>
                  <a:lnTo>
                    <a:pt x="127" y="1991"/>
                  </a:lnTo>
                  <a:lnTo>
                    <a:pt x="125" y="1993"/>
                  </a:lnTo>
                  <a:lnTo>
                    <a:pt x="125" y="1993"/>
                  </a:lnTo>
                  <a:lnTo>
                    <a:pt x="123" y="1996"/>
                  </a:lnTo>
                  <a:lnTo>
                    <a:pt x="122" y="1996"/>
                  </a:lnTo>
                  <a:lnTo>
                    <a:pt x="120" y="1997"/>
                  </a:lnTo>
                  <a:lnTo>
                    <a:pt x="116" y="1999"/>
                  </a:lnTo>
                  <a:lnTo>
                    <a:pt x="117" y="2001"/>
                  </a:lnTo>
                  <a:lnTo>
                    <a:pt x="117" y="2002"/>
                  </a:lnTo>
                  <a:lnTo>
                    <a:pt x="114" y="2005"/>
                  </a:lnTo>
                  <a:lnTo>
                    <a:pt x="114" y="2007"/>
                  </a:lnTo>
                  <a:lnTo>
                    <a:pt x="113" y="2010"/>
                  </a:lnTo>
                  <a:lnTo>
                    <a:pt x="113" y="2011"/>
                  </a:lnTo>
                  <a:lnTo>
                    <a:pt x="106" y="2013"/>
                  </a:lnTo>
                  <a:lnTo>
                    <a:pt x="108" y="2017"/>
                  </a:lnTo>
                  <a:lnTo>
                    <a:pt x="110" y="2024"/>
                  </a:lnTo>
                  <a:lnTo>
                    <a:pt x="110" y="2027"/>
                  </a:lnTo>
                  <a:lnTo>
                    <a:pt x="111" y="2027"/>
                  </a:lnTo>
                  <a:lnTo>
                    <a:pt x="114" y="2027"/>
                  </a:lnTo>
                  <a:lnTo>
                    <a:pt x="116" y="2025"/>
                  </a:lnTo>
                  <a:lnTo>
                    <a:pt x="117" y="2022"/>
                  </a:lnTo>
                  <a:lnTo>
                    <a:pt x="117" y="2022"/>
                  </a:lnTo>
                  <a:lnTo>
                    <a:pt x="119" y="2021"/>
                  </a:lnTo>
                  <a:lnTo>
                    <a:pt x="120" y="2019"/>
                  </a:lnTo>
                  <a:lnTo>
                    <a:pt x="120" y="2019"/>
                  </a:lnTo>
                  <a:lnTo>
                    <a:pt x="120" y="2021"/>
                  </a:lnTo>
                  <a:lnTo>
                    <a:pt x="120" y="2022"/>
                  </a:lnTo>
                  <a:lnTo>
                    <a:pt x="122" y="2024"/>
                  </a:lnTo>
                  <a:lnTo>
                    <a:pt x="123" y="2024"/>
                  </a:lnTo>
                  <a:lnTo>
                    <a:pt x="123" y="2025"/>
                  </a:lnTo>
                  <a:lnTo>
                    <a:pt x="108" y="2030"/>
                  </a:lnTo>
                  <a:lnTo>
                    <a:pt x="102" y="2034"/>
                  </a:lnTo>
                  <a:lnTo>
                    <a:pt x="97" y="2044"/>
                  </a:lnTo>
                  <a:lnTo>
                    <a:pt x="100" y="2045"/>
                  </a:lnTo>
                  <a:lnTo>
                    <a:pt x="100" y="2045"/>
                  </a:lnTo>
                  <a:lnTo>
                    <a:pt x="100" y="2047"/>
                  </a:lnTo>
                  <a:lnTo>
                    <a:pt x="100" y="2048"/>
                  </a:lnTo>
                  <a:lnTo>
                    <a:pt x="99" y="2050"/>
                  </a:lnTo>
                  <a:lnTo>
                    <a:pt x="99" y="2050"/>
                  </a:lnTo>
                  <a:lnTo>
                    <a:pt x="91" y="2050"/>
                  </a:lnTo>
                  <a:lnTo>
                    <a:pt x="88" y="2051"/>
                  </a:lnTo>
                  <a:lnTo>
                    <a:pt x="85" y="2053"/>
                  </a:lnTo>
                  <a:lnTo>
                    <a:pt x="82" y="2056"/>
                  </a:lnTo>
                  <a:lnTo>
                    <a:pt x="82" y="2061"/>
                  </a:lnTo>
                  <a:lnTo>
                    <a:pt x="79" y="2064"/>
                  </a:lnTo>
                  <a:lnTo>
                    <a:pt x="77" y="2065"/>
                  </a:lnTo>
                  <a:lnTo>
                    <a:pt x="76" y="2065"/>
                  </a:lnTo>
                  <a:lnTo>
                    <a:pt x="76" y="2067"/>
                  </a:lnTo>
                  <a:lnTo>
                    <a:pt x="77" y="2067"/>
                  </a:lnTo>
                  <a:lnTo>
                    <a:pt x="79" y="2065"/>
                  </a:lnTo>
                  <a:lnTo>
                    <a:pt x="80" y="2064"/>
                  </a:lnTo>
                  <a:lnTo>
                    <a:pt x="80" y="2067"/>
                  </a:lnTo>
                  <a:lnTo>
                    <a:pt x="80" y="2068"/>
                  </a:lnTo>
                  <a:lnTo>
                    <a:pt x="82" y="2068"/>
                  </a:lnTo>
                  <a:lnTo>
                    <a:pt x="83" y="2070"/>
                  </a:lnTo>
                  <a:lnTo>
                    <a:pt x="86" y="2074"/>
                  </a:lnTo>
                  <a:lnTo>
                    <a:pt x="86" y="2076"/>
                  </a:lnTo>
                  <a:lnTo>
                    <a:pt x="90" y="2078"/>
                  </a:lnTo>
                  <a:lnTo>
                    <a:pt x="91" y="2076"/>
                  </a:lnTo>
                  <a:lnTo>
                    <a:pt x="93" y="2076"/>
                  </a:lnTo>
                  <a:lnTo>
                    <a:pt x="96" y="2074"/>
                  </a:lnTo>
                  <a:lnTo>
                    <a:pt x="96" y="2073"/>
                  </a:lnTo>
                  <a:lnTo>
                    <a:pt x="96" y="2070"/>
                  </a:lnTo>
                  <a:lnTo>
                    <a:pt x="96" y="2067"/>
                  </a:lnTo>
                  <a:lnTo>
                    <a:pt x="97" y="2065"/>
                  </a:lnTo>
                  <a:lnTo>
                    <a:pt x="99" y="2064"/>
                  </a:lnTo>
                  <a:lnTo>
                    <a:pt x="99" y="2065"/>
                  </a:lnTo>
                  <a:lnTo>
                    <a:pt x="99" y="2067"/>
                  </a:lnTo>
                  <a:lnTo>
                    <a:pt x="99" y="2070"/>
                  </a:lnTo>
                  <a:lnTo>
                    <a:pt x="99" y="2071"/>
                  </a:lnTo>
                  <a:lnTo>
                    <a:pt x="97" y="2073"/>
                  </a:lnTo>
                  <a:lnTo>
                    <a:pt x="96" y="2073"/>
                  </a:lnTo>
                  <a:lnTo>
                    <a:pt x="96" y="2076"/>
                  </a:lnTo>
                  <a:lnTo>
                    <a:pt x="97" y="2078"/>
                  </a:lnTo>
                  <a:lnTo>
                    <a:pt x="99" y="2079"/>
                  </a:lnTo>
                  <a:lnTo>
                    <a:pt x="102" y="2079"/>
                  </a:lnTo>
                  <a:lnTo>
                    <a:pt x="103" y="2079"/>
                  </a:lnTo>
                  <a:lnTo>
                    <a:pt x="103" y="2078"/>
                  </a:lnTo>
                  <a:lnTo>
                    <a:pt x="111" y="2071"/>
                  </a:lnTo>
                  <a:lnTo>
                    <a:pt x="119" y="2067"/>
                  </a:lnTo>
                  <a:lnTo>
                    <a:pt x="125" y="2065"/>
                  </a:lnTo>
                  <a:lnTo>
                    <a:pt x="123" y="2067"/>
                  </a:lnTo>
                  <a:lnTo>
                    <a:pt x="117" y="2068"/>
                  </a:lnTo>
                  <a:lnTo>
                    <a:pt x="117" y="2070"/>
                  </a:lnTo>
                  <a:lnTo>
                    <a:pt x="116" y="2071"/>
                  </a:lnTo>
                  <a:lnTo>
                    <a:pt x="116" y="2071"/>
                  </a:lnTo>
                  <a:lnTo>
                    <a:pt x="114" y="2071"/>
                  </a:lnTo>
                  <a:lnTo>
                    <a:pt x="114" y="2073"/>
                  </a:lnTo>
                  <a:lnTo>
                    <a:pt x="113" y="2073"/>
                  </a:lnTo>
                  <a:lnTo>
                    <a:pt x="103" y="2081"/>
                  </a:lnTo>
                  <a:lnTo>
                    <a:pt x="100" y="2082"/>
                  </a:lnTo>
                  <a:lnTo>
                    <a:pt x="96" y="2081"/>
                  </a:lnTo>
                  <a:lnTo>
                    <a:pt x="96" y="2081"/>
                  </a:lnTo>
                  <a:lnTo>
                    <a:pt x="96" y="2079"/>
                  </a:lnTo>
                  <a:lnTo>
                    <a:pt x="94" y="2079"/>
                  </a:lnTo>
                  <a:lnTo>
                    <a:pt x="94" y="2078"/>
                  </a:lnTo>
                  <a:lnTo>
                    <a:pt x="94" y="2079"/>
                  </a:lnTo>
                  <a:lnTo>
                    <a:pt x="93" y="2079"/>
                  </a:lnTo>
                  <a:lnTo>
                    <a:pt x="93" y="2081"/>
                  </a:lnTo>
                  <a:lnTo>
                    <a:pt x="93" y="2082"/>
                  </a:lnTo>
                  <a:lnTo>
                    <a:pt x="93" y="2082"/>
                  </a:lnTo>
                  <a:lnTo>
                    <a:pt x="88" y="2084"/>
                  </a:lnTo>
                  <a:lnTo>
                    <a:pt x="86" y="2084"/>
                  </a:lnTo>
                  <a:lnTo>
                    <a:pt x="86" y="2085"/>
                  </a:lnTo>
                  <a:lnTo>
                    <a:pt x="86" y="2087"/>
                  </a:lnTo>
                  <a:lnTo>
                    <a:pt x="83" y="2090"/>
                  </a:lnTo>
                  <a:lnTo>
                    <a:pt x="82" y="2091"/>
                  </a:lnTo>
                  <a:lnTo>
                    <a:pt x="83" y="2093"/>
                  </a:lnTo>
                  <a:lnTo>
                    <a:pt x="85" y="2093"/>
                  </a:lnTo>
                  <a:lnTo>
                    <a:pt x="93" y="2091"/>
                  </a:lnTo>
                  <a:lnTo>
                    <a:pt x="93" y="2094"/>
                  </a:lnTo>
                  <a:lnTo>
                    <a:pt x="88" y="2093"/>
                  </a:lnTo>
                  <a:lnTo>
                    <a:pt x="85" y="2094"/>
                  </a:lnTo>
                  <a:lnTo>
                    <a:pt x="83" y="2096"/>
                  </a:lnTo>
                  <a:lnTo>
                    <a:pt x="83" y="2096"/>
                  </a:lnTo>
                  <a:lnTo>
                    <a:pt x="83" y="2099"/>
                  </a:lnTo>
                  <a:lnTo>
                    <a:pt x="83" y="2101"/>
                  </a:lnTo>
                  <a:lnTo>
                    <a:pt x="83" y="2101"/>
                  </a:lnTo>
                  <a:lnTo>
                    <a:pt x="82" y="2101"/>
                  </a:lnTo>
                  <a:lnTo>
                    <a:pt x="80" y="2101"/>
                  </a:lnTo>
                  <a:lnTo>
                    <a:pt x="80" y="2098"/>
                  </a:lnTo>
                  <a:lnTo>
                    <a:pt x="82" y="2094"/>
                  </a:lnTo>
                  <a:lnTo>
                    <a:pt x="80" y="2093"/>
                  </a:lnTo>
                  <a:lnTo>
                    <a:pt x="79" y="2091"/>
                  </a:lnTo>
                  <a:lnTo>
                    <a:pt x="74" y="2091"/>
                  </a:lnTo>
                  <a:lnTo>
                    <a:pt x="73" y="2091"/>
                  </a:lnTo>
                  <a:lnTo>
                    <a:pt x="70" y="2090"/>
                  </a:lnTo>
                  <a:lnTo>
                    <a:pt x="70" y="2091"/>
                  </a:lnTo>
                  <a:lnTo>
                    <a:pt x="68" y="2093"/>
                  </a:lnTo>
                  <a:lnTo>
                    <a:pt x="66" y="2096"/>
                  </a:lnTo>
                  <a:lnTo>
                    <a:pt x="66" y="2099"/>
                  </a:lnTo>
                  <a:lnTo>
                    <a:pt x="66" y="2101"/>
                  </a:lnTo>
                  <a:lnTo>
                    <a:pt x="66" y="2102"/>
                  </a:lnTo>
                  <a:lnTo>
                    <a:pt x="66" y="2105"/>
                  </a:lnTo>
                  <a:lnTo>
                    <a:pt x="66" y="2108"/>
                  </a:lnTo>
                  <a:lnTo>
                    <a:pt x="66" y="2108"/>
                  </a:lnTo>
                  <a:lnTo>
                    <a:pt x="65" y="2111"/>
                  </a:lnTo>
                  <a:lnTo>
                    <a:pt x="65" y="2111"/>
                  </a:lnTo>
                  <a:lnTo>
                    <a:pt x="60" y="2115"/>
                  </a:lnTo>
                  <a:lnTo>
                    <a:pt x="59" y="2115"/>
                  </a:lnTo>
                  <a:lnTo>
                    <a:pt x="59" y="2116"/>
                  </a:lnTo>
                  <a:lnTo>
                    <a:pt x="57" y="2116"/>
                  </a:lnTo>
                  <a:lnTo>
                    <a:pt x="57" y="2116"/>
                  </a:lnTo>
                  <a:lnTo>
                    <a:pt x="57" y="2115"/>
                  </a:lnTo>
                  <a:lnTo>
                    <a:pt x="57" y="2113"/>
                  </a:lnTo>
                  <a:lnTo>
                    <a:pt x="57" y="2111"/>
                  </a:lnTo>
                  <a:lnTo>
                    <a:pt x="57" y="2110"/>
                  </a:lnTo>
                  <a:lnTo>
                    <a:pt x="59" y="2110"/>
                  </a:lnTo>
                  <a:lnTo>
                    <a:pt x="59" y="2110"/>
                  </a:lnTo>
                  <a:lnTo>
                    <a:pt x="60" y="2110"/>
                  </a:lnTo>
                  <a:lnTo>
                    <a:pt x="60" y="2110"/>
                  </a:lnTo>
                  <a:lnTo>
                    <a:pt x="60" y="2108"/>
                  </a:lnTo>
                  <a:lnTo>
                    <a:pt x="62" y="2108"/>
                  </a:lnTo>
                  <a:lnTo>
                    <a:pt x="63" y="2107"/>
                  </a:lnTo>
                  <a:lnTo>
                    <a:pt x="63" y="2105"/>
                  </a:lnTo>
                  <a:lnTo>
                    <a:pt x="63" y="2104"/>
                  </a:lnTo>
                  <a:lnTo>
                    <a:pt x="63" y="2102"/>
                  </a:lnTo>
                  <a:lnTo>
                    <a:pt x="63" y="2101"/>
                  </a:lnTo>
                  <a:lnTo>
                    <a:pt x="63" y="2099"/>
                  </a:lnTo>
                  <a:lnTo>
                    <a:pt x="63" y="2098"/>
                  </a:lnTo>
                  <a:lnTo>
                    <a:pt x="63" y="2094"/>
                  </a:lnTo>
                  <a:lnTo>
                    <a:pt x="65" y="2091"/>
                  </a:lnTo>
                  <a:lnTo>
                    <a:pt x="65" y="2088"/>
                  </a:lnTo>
                  <a:lnTo>
                    <a:pt x="65" y="2087"/>
                  </a:lnTo>
                  <a:lnTo>
                    <a:pt x="63" y="2085"/>
                  </a:lnTo>
                  <a:lnTo>
                    <a:pt x="63" y="2085"/>
                  </a:lnTo>
                  <a:lnTo>
                    <a:pt x="63" y="2084"/>
                  </a:lnTo>
                  <a:lnTo>
                    <a:pt x="63" y="2084"/>
                  </a:lnTo>
                  <a:lnTo>
                    <a:pt x="63" y="2082"/>
                  </a:lnTo>
                  <a:lnTo>
                    <a:pt x="59" y="2087"/>
                  </a:lnTo>
                  <a:lnTo>
                    <a:pt x="57" y="2090"/>
                  </a:lnTo>
                  <a:lnTo>
                    <a:pt x="57" y="2091"/>
                  </a:lnTo>
                  <a:lnTo>
                    <a:pt x="57" y="2093"/>
                  </a:lnTo>
                  <a:lnTo>
                    <a:pt x="57" y="2094"/>
                  </a:lnTo>
                  <a:lnTo>
                    <a:pt x="59" y="2098"/>
                  </a:lnTo>
                  <a:lnTo>
                    <a:pt x="59" y="2099"/>
                  </a:lnTo>
                  <a:lnTo>
                    <a:pt x="57" y="2101"/>
                  </a:lnTo>
                  <a:lnTo>
                    <a:pt x="57" y="2104"/>
                  </a:lnTo>
                  <a:lnTo>
                    <a:pt x="57" y="2102"/>
                  </a:lnTo>
                  <a:lnTo>
                    <a:pt x="56" y="2096"/>
                  </a:lnTo>
                  <a:lnTo>
                    <a:pt x="56" y="2094"/>
                  </a:lnTo>
                  <a:lnTo>
                    <a:pt x="54" y="2094"/>
                  </a:lnTo>
                  <a:lnTo>
                    <a:pt x="53" y="2094"/>
                  </a:lnTo>
                  <a:lnTo>
                    <a:pt x="51" y="2096"/>
                  </a:lnTo>
                  <a:lnTo>
                    <a:pt x="50" y="2098"/>
                  </a:lnTo>
                  <a:lnTo>
                    <a:pt x="48" y="2102"/>
                  </a:lnTo>
                  <a:lnTo>
                    <a:pt x="45" y="2108"/>
                  </a:lnTo>
                  <a:lnTo>
                    <a:pt x="43" y="2110"/>
                  </a:lnTo>
                  <a:lnTo>
                    <a:pt x="42" y="2110"/>
                  </a:lnTo>
                  <a:lnTo>
                    <a:pt x="42" y="2111"/>
                  </a:lnTo>
                  <a:lnTo>
                    <a:pt x="45" y="2113"/>
                  </a:lnTo>
                  <a:lnTo>
                    <a:pt x="45" y="2113"/>
                  </a:lnTo>
                  <a:lnTo>
                    <a:pt x="43" y="2113"/>
                  </a:lnTo>
                  <a:lnTo>
                    <a:pt x="42" y="2113"/>
                  </a:lnTo>
                  <a:lnTo>
                    <a:pt x="40" y="2115"/>
                  </a:lnTo>
                  <a:lnTo>
                    <a:pt x="40" y="2115"/>
                  </a:lnTo>
                  <a:lnTo>
                    <a:pt x="40" y="2116"/>
                  </a:lnTo>
                  <a:lnTo>
                    <a:pt x="40" y="2116"/>
                  </a:lnTo>
                  <a:lnTo>
                    <a:pt x="40" y="2118"/>
                  </a:lnTo>
                  <a:lnTo>
                    <a:pt x="42" y="2122"/>
                  </a:lnTo>
                  <a:lnTo>
                    <a:pt x="42" y="2125"/>
                  </a:lnTo>
                  <a:lnTo>
                    <a:pt x="42" y="2127"/>
                  </a:lnTo>
                  <a:lnTo>
                    <a:pt x="43" y="2128"/>
                  </a:lnTo>
                  <a:lnTo>
                    <a:pt x="50" y="2139"/>
                  </a:lnTo>
                  <a:lnTo>
                    <a:pt x="51" y="2138"/>
                  </a:lnTo>
                  <a:lnTo>
                    <a:pt x="51" y="2138"/>
                  </a:lnTo>
                  <a:lnTo>
                    <a:pt x="51" y="2130"/>
                  </a:lnTo>
                  <a:lnTo>
                    <a:pt x="53" y="2130"/>
                  </a:lnTo>
                  <a:lnTo>
                    <a:pt x="53" y="2130"/>
                  </a:lnTo>
                  <a:lnTo>
                    <a:pt x="53" y="2130"/>
                  </a:lnTo>
                  <a:lnTo>
                    <a:pt x="54" y="2131"/>
                  </a:lnTo>
                  <a:lnTo>
                    <a:pt x="54" y="2133"/>
                  </a:lnTo>
                  <a:lnTo>
                    <a:pt x="53" y="2136"/>
                  </a:lnTo>
                  <a:lnTo>
                    <a:pt x="53" y="2138"/>
                  </a:lnTo>
                  <a:lnTo>
                    <a:pt x="54" y="2141"/>
                  </a:lnTo>
                  <a:lnTo>
                    <a:pt x="54" y="2144"/>
                  </a:lnTo>
                  <a:lnTo>
                    <a:pt x="54" y="2145"/>
                  </a:lnTo>
                  <a:lnTo>
                    <a:pt x="56" y="2147"/>
                  </a:lnTo>
                  <a:lnTo>
                    <a:pt x="56" y="2147"/>
                  </a:lnTo>
                  <a:lnTo>
                    <a:pt x="57" y="2147"/>
                  </a:lnTo>
                  <a:lnTo>
                    <a:pt x="57" y="2145"/>
                  </a:lnTo>
                  <a:lnTo>
                    <a:pt x="57" y="2144"/>
                  </a:lnTo>
                  <a:lnTo>
                    <a:pt x="57" y="2138"/>
                  </a:lnTo>
                  <a:lnTo>
                    <a:pt x="57" y="2135"/>
                  </a:lnTo>
                  <a:lnTo>
                    <a:pt x="57" y="2131"/>
                  </a:lnTo>
                  <a:lnTo>
                    <a:pt x="59" y="2131"/>
                  </a:lnTo>
                  <a:lnTo>
                    <a:pt x="60" y="2133"/>
                  </a:lnTo>
                  <a:lnTo>
                    <a:pt x="60" y="2136"/>
                  </a:lnTo>
                  <a:lnTo>
                    <a:pt x="59" y="2139"/>
                  </a:lnTo>
                  <a:lnTo>
                    <a:pt x="59" y="2142"/>
                  </a:lnTo>
                  <a:lnTo>
                    <a:pt x="59" y="2145"/>
                  </a:lnTo>
                  <a:lnTo>
                    <a:pt x="60" y="2148"/>
                  </a:lnTo>
                  <a:lnTo>
                    <a:pt x="62" y="2150"/>
                  </a:lnTo>
                  <a:lnTo>
                    <a:pt x="65" y="2150"/>
                  </a:lnTo>
                  <a:lnTo>
                    <a:pt x="66" y="2148"/>
                  </a:lnTo>
                  <a:lnTo>
                    <a:pt x="68" y="2147"/>
                  </a:lnTo>
                  <a:lnTo>
                    <a:pt x="70" y="2144"/>
                  </a:lnTo>
                  <a:lnTo>
                    <a:pt x="70" y="2141"/>
                  </a:lnTo>
                  <a:lnTo>
                    <a:pt x="70" y="2135"/>
                  </a:lnTo>
                  <a:lnTo>
                    <a:pt x="71" y="2131"/>
                  </a:lnTo>
                  <a:lnTo>
                    <a:pt x="70" y="2131"/>
                  </a:lnTo>
                  <a:lnTo>
                    <a:pt x="70" y="2130"/>
                  </a:lnTo>
                  <a:lnTo>
                    <a:pt x="68" y="2130"/>
                  </a:lnTo>
                  <a:lnTo>
                    <a:pt x="71" y="2128"/>
                  </a:lnTo>
                  <a:lnTo>
                    <a:pt x="73" y="2133"/>
                  </a:lnTo>
                  <a:lnTo>
                    <a:pt x="73" y="2138"/>
                  </a:lnTo>
                  <a:lnTo>
                    <a:pt x="76" y="2141"/>
                  </a:lnTo>
                  <a:lnTo>
                    <a:pt x="76" y="2142"/>
                  </a:lnTo>
                  <a:lnTo>
                    <a:pt x="74" y="2142"/>
                  </a:lnTo>
                  <a:lnTo>
                    <a:pt x="73" y="2144"/>
                  </a:lnTo>
                  <a:lnTo>
                    <a:pt x="73" y="2145"/>
                  </a:lnTo>
                  <a:lnTo>
                    <a:pt x="73" y="2147"/>
                  </a:lnTo>
                  <a:lnTo>
                    <a:pt x="73" y="2147"/>
                  </a:lnTo>
                  <a:lnTo>
                    <a:pt x="77" y="2145"/>
                  </a:lnTo>
                  <a:lnTo>
                    <a:pt x="77" y="2145"/>
                  </a:lnTo>
                  <a:lnTo>
                    <a:pt x="77" y="2144"/>
                  </a:lnTo>
                  <a:lnTo>
                    <a:pt x="79" y="2144"/>
                  </a:lnTo>
                  <a:lnTo>
                    <a:pt x="79" y="2142"/>
                  </a:lnTo>
                  <a:lnTo>
                    <a:pt x="79" y="2141"/>
                  </a:lnTo>
                  <a:lnTo>
                    <a:pt x="79" y="2141"/>
                  </a:lnTo>
                  <a:lnTo>
                    <a:pt x="79" y="2141"/>
                  </a:lnTo>
                  <a:lnTo>
                    <a:pt x="82" y="2141"/>
                  </a:lnTo>
                  <a:lnTo>
                    <a:pt x="83" y="2141"/>
                  </a:lnTo>
                  <a:lnTo>
                    <a:pt x="83" y="2139"/>
                  </a:lnTo>
                  <a:lnTo>
                    <a:pt x="85" y="2139"/>
                  </a:lnTo>
                  <a:lnTo>
                    <a:pt x="90" y="2139"/>
                  </a:lnTo>
                  <a:lnTo>
                    <a:pt x="91" y="2139"/>
                  </a:lnTo>
                  <a:lnTo>
                    <a:pt x="91" y="2135"/>
                  </a:lnTo>
                  <a:lnTo>
                    <a:pt x="91" y="2133"/>
                  </a:lnTo>
                  <a:lnTo>
                    <a:pt x="86" y="2128"/>
                  </a:lnTo>
                  <a:lnTo>
                    <a:pt x="85" y="2127"/>
                  </a:lnTo>
                  <a:lnTo>
                    <a:pt x="83" y="2127"/>
                  </a:lnTo>
                  <a:lnTo>
                    <a:pt x="82" y="2127"/>
                  </a:lnTo>
                  <a:lnTo>
                    <a:pt x="76" y="2130"/>
                  </a:lnTo>
                  <a:lnTo>
                    <a:pt x="76" y="2130"/>
                  </a:lnTo>
                  <a:lnTo>
                    <a:pt x="79" y="2127"/>
                  </a:lnTo>
                  <a:lnTo>
                    <a:pt x="80" y="2125"/>
                  </a:lnTo>
                  <a:lnTo>
                    <a:pt x="80" y="2121"/>
                  </a:lnTo>
                  <a:lnTo>
                    <a:pt x="80" y="2124"/>
                  </a:lnTo>
                  <a:lnTo>
                    <a:pt x="82" y="2125"/>
                  </a:lnTo>
                  <a:lnTo>
                    <a:pt x="85" y="2124"/>
                  </a:lnTo>
                  <a:lnTo>
                    <a:pt x="86" y="2122"/>
                  </a:lnTo>
                  <a:lnTo>
                    <a:pt x="86" y="2119"/>
                  </a:lnTo>
                  <a:lnTo>
                    <a:pt x="86" y="2118"/>
                  </a:lnTo>
                  <a:lnTo>
                    <a:pt x="85" y="2113"/>
                  </a:lnTo>
                  <a:lnTo>
                    <a:pt x="85" y="2113"/>
                  </a:lnTo>
                  <a:lnTo>
                    <a:pt x="86" y="2111"/>
                  </a:lnTo>
                  <a:lnTo>
                    <a:pt x="88" y="2111"/>
                  </a:lnTo>
                  <a:lnTo>
                    <a:pt x="88" y="2111"/>
                  </a:lnTo>
                  <a:lnTo>
                    <a:pt x="90" y="2115"/>
                  </a:lnTo>
                  <a:lnTo>
                    <a:pt x="90" y="2115"/>
                  </a:lnTo>
                  <a:lnTo>
                    <a:pt x="90" y="2116"/>
                  </a:lnTo>
                  <a:lnTo>
                    <a:pt x="91" y="2118"/>
                  </a:lnTo>
                  <a:lnTo>
                    <a:pt x="91" y="2119"/>
                  </a:lnTo>
                  <a:lnTo>
                    <a:pt x="93" y="2119"/>
                  </a:lnTo>
                  <a:lnTo>
                    <a:pt x="94" y="2121"/>
                  </a:lnTo>
                  <a:lnTo>
                    <a:pt x="103" y="2121"/>
                  </a:lnTo>
                  <a:lnTo>
                    <a:pt x="106" y="2119"/>
                  </a:lnTo>
                  <a:lnTo>
                    <a:pt x="110" y="2118"/>
                  </a:lnTo>
                  <a:lnTo>
                    <a:pt x="111" y="2119"/>
                  </a:lnTo>
                  <a:lnTo>
                    <a:pt x="113" y="2121"/>
                  </a:lnTo>
                  <a:lnTo>
                    <a:pt x="96" y="2125"/>
                  </a:lnTo>
                  <a:lnTo>
                    <a:pt x="93" y="2125"/>
                  </a:lnTo>
                  <a:lnTo>
                    <a:pt x="93" y="2127"/>
                  </a:lnTo>
                  <a:lnTo>
                    <a:pt x="93" y="2128"/>
                  </a:lnTo>
                  <a:lnTo>
                    <a:pt x="93" y="2130"/>
                  </a:lnTo>
                  <a:lnTo>
                    <a:pt x="93" y="2131"/>
                  </a:lnTo>
                  <a:lnTo>
                    <a:pt x="93" y="2133"/>
                  </a:lnTo>
                  <a:lnTo>
                    <a:pt x="94" y="2133"/>
                  </a:lnTo>
                  <a:lnTo>
                    <a:pt x="94" y="2135"/>
                  </a:lnTo>
                  <a:lnTo>
                    <a:pt x="94" y="2136"/>
                  </a:lnTo>
                  <a:lnTo>
                    <a:pt x="96" y="2138"/>
                  </a:lnTo>
                  <a:lnTo>
                    <a:pt x="97" y="2138"/>
                  </a:lnTo>
                  <a:lnTo>
                    <a:pt x="100" y="2135"/>
                  </a:lnTo>
                  <a:lnTo>
                    <a:pt x="100" y="2133"/>
                  </a:lnTo>
                  <a:lnTo>
                    <a:pt x="100" y="2131"/>
                  </a:lnTo>
                  <a:lnTo>
                    <a:pt x="100" y="2131"/>
                  </a:lnTo>
                  <a:lnTo>
                    <a:pt x="99" y="2131"/>
                  </a:lnTo>
                  <a:lnTo>
                    <a:pt x="99" y="2130"/>
                  </a:lnTo>
                  <a:lnTo>
                    <a:pt x="99" y="2130"/>
                  </a:lnTo>
                  <a:lnTo>
                    <a:pt x="100" y="2130"/>
                  </a:lnTo>
                  <a:lnTo>
                    <a:pt x="100" y="2130"/>
                  </a:lnTo>
                  <a:lnTo>
                    <a:pt x="100" y="2127"/>
                  </a:lnTo>
                  <a:lnTo>
                    <a:pt x="102" y="2127"/>
                  </a:lnTo>
                  <a:lnTo>
                    <a:pt x="102" y="2130"/>
                  </a:lnTo>
                  <a:lnTo>
                    <a:pt x="103" y="2131"/>
                  </a:lnTo>
                  <a:lnTo>
                    <a:pt x="105" y="2131"/>
                  </a:lnTo>
                  <a:lnTo>
                    <a:pt x="106" y="2128"/>
                  </a:lnTo>
                  <a:lnTo>
                    <a:pt x="108" y="2127"/>
                  </a:lnTo>
                  <a:lnTo>
                    <a:pt x="111" y="2124"/>
                  </a:lnTo>
                  <a:lnTo>
                    <a:pt x="113" y="2122"/>
                  </a:lnTo>
                  <a:lnTo>
                    <a:pt x="114" y="2122"/>
                  </a:lnTo>
                  <a:lnTo>
                    <a:pt x="116" y="2115"/>
                  </a:lnTo>
                  <a:lnTo>
                    <a:pt x="117" y="2113"/>
                  </a:lnTo>
                  <a:lnTo>
                    <a:pt x="119" y="2110"/>
                  </a:lnTo>
                  <a:lnTo>
                    <a:pt x="120" y="2108"/>
                  </a:lnTo>
                  <a:lnTo>
                    <a:pt x="120" y="2107"/>
                  </a:lnTo>
                  <a:lnTo>
                    <a:pt x="120" y="2102"/>
                  </a:lnTo>
                  <a:lnTo>
                    <a:pt x="122" y="2099"/>
                  </a:lnTo>
                  <a:lnTo>
                    <a:pt x="122" y="2094"/>
                  </a:lnTo>
                  <a:lnTo>
                    <a:pt x="125" y="2094"/>
                  </a:lnTo>
                  <a:lnTo>
                    <a:pt x="123" y="2096"/>
                  </a:lnTo>
                  <a:lnTo>
                    <a:pt x="123" y="2098"/>
                  </a:lnTo>
                  <a:lnTo>
                    <a:pt x="122" y="2101"/>
                  </a:lnTo>
                  <a:lnTo>
                    <a:pt x="122" y="2104"/>
                  </a:lnTo>
                  <a:lnTo>
                    <a:pt x="122" y="2107"/>
                  </a:lnTo>
                  <a:lnTo>
                    <a:pt x="120" y="2108"/>
                  </a:lnTo>
                  <a:lnTo>
                    <a:pt x="120" y="2111"/>
                  </a:lnTo>
                  <a:lnTo>
                    <a:pt x="119" y="2113"/>
                  </a:lnTo>
                  <a:lnTo>
                    <a:pt x="122" y="2113"/>
                  </a:lnTo>
                  <a:lnTo>
                    <a:pt x="127" y="2108"/>
                  </a:lnTo>
                  <a:lnTo>
                    <a:pt x="139" y="2107"/>
                  </a:lnTo>
                  <a:lnTo>
                    <a:pt x="142" y="2108"/>
                  </a:lnTo>
                  <a:lnTo>
                    <a:pt x="133" y="2110"/>
                  </a:lnTo>
                  <a:lnTo>
                    <a:pt x="119" y="2116"/>
                  </a:lnTo>
                  <a:lnTo>
                    <a:pt x="117" y="2118"/>
                  </a:lnTo>
                  <a:lnTo>
                    <a:pt x="117" y="2119"/>
                  </a:lnTo>
                  <a:lnTo>
                    <a:pt x="117" y="2122"/>
                  </a:lnTo>
                  <a:lnTo>
                    <a:pt x="117" y="2122"/>
                  </a:lnTo>
                  <a:lnTo>
                    <a:pt x="116" y="2125"/>
                  </a:lnTo>
                  <a:lnTo>
                    <a:pt x="116" y="2125"/>
                  </a:lnTo>
                  <a:lnTo>
                    <a:pt x="116" y="2127"/>
                  </a:lnTo>
                  <a:lnTo>
                    <a:pt x="116" y="2127"/>
                  </a:lnTo>
                  <a:lnTo>
                    <a:pt x="114" y="2125"/>
                  </a:lnTo>
                  <a:lnTo>
                    <a:pt x="114" y="2125"/>
                  </a:lnTo>
                  <a:lnTo>
                    <a:pt x="113" y="2127"/>
                  </a:lnTo>
                  <a:lnTo>
                    <a:pt x="111" y="2128"/>
                  </a:lnTo>
                  <a:lnTo>
                    <a:pt x="106" y="2131"/>
                  </a:lnTo>
                  <a:lnTo>
                    <a:pt x="105" y="2133"/>
                  </a:lnTo>
                  <a:lnTo>
                    <a:pt x="105" y="2135"/>
                  </a:lnTo>
                  <a:lnTo>
                    <a:pt x="103" y="2135"/>
                  </a:lnTo>
                  <a:lnTo>
                    <a:pt x="103" y="2136"/>
                  </a:lnTo>
                  <a:lnTo>
                    <a:pt x="102" y="2138"/>
                  </a:lnTo>
                  <a:lnTo>
                    <a:pt x="102" y="2139"/>
                  </a:lnTo>
                  <a:lnTo>
                    <a:pt x="100" y="2141"/>
                  </a:lnTo>
                  <a:lnTo>
                    <a:pt x="100" y="2141"/>
                  </a:lnTo>
                  <a:lnTo>
                    <a:pt x="102" y="2142"/>
                  </a:lnTo>
                  <a:lnTo>
                    <a:pt x="103" y="2142"/>
                  </a:lnTo>
                  <a:lnTo>
                    <a:pt x="105" y="2141"/>
                  </a:lnTo>
                  <a:lnTo>
                    <a:pt x="105" y="2138"/>
                  </a:lnTo>
                  <a:lnTo>
                    <a:pt x="106" y="2141"/>
                  </a:lnTo>
                  <a:lnTo>
                    <a:pt x="106" y="2142"/>
                  </a:lnTo>
                  <a:lnTo>
                    <a:pt x="106" y="2142"/>
                  </a:lnTo>
                  <a:lnTo>
                    <a:pt x="108" y="2144"/>
                  </a:lnTo>
                  <a:lnTo>
                    <a:pt x="110" y="2144"/>
                  </a:lnTo>
                  <a:lnTo>
                    <a:pt x="110" y="2144"/>
                  </a:lnTo>
                  <a:lnTo>
                    <a:pt x="111" y="2144"/>
                  </a:lnTo>
                  <a:lnTo>
                    <a:pt x="111" y="2142"/>
                  </a:lnTo>
                  <a:lnTo>
                    <a:pt x="113" y="2141"/>
                  </a:lnTo>
                  <a:lnTo>
                    <a:pt x="113" y="2141"/>
                  </a:lnTo>
                  <a:lnTo>
                    <a:pt x="113" y="2141"/>
                  </a:lnTo>
                  <a:lnTo>
                    <a:pt x="114" y="2142"/>
                  </a:lnTo>
                  <a:lnTo>
                    <a:pt x="114" y="2144"/>
                  </a:lnTo>
                  <a:lnTo>
                    <a:pt x="116" y="2142"/>
                  </a:lnTo>
                  <a:lnTo>
                    <a:pt x="116" y="2141"/>
                  </a:lnTo>
                  <a:lnTo>
                    <a:pt x="116" y="2139"/>
                  </a:lnTo>
                  <a:lnTo>
                    <a:pt x="116" y="2139"/>
                  </a:lnTo>
                  <a:lnTo>
                    <a:pt x="117" y="2141"/>
                  </a:lnTo>
                  <a:lnTo>
                    <a:pt x="119" y="2142"/>
                  </a:lnTo>
                  <a:lnTo>
                    <a:pt x="119" y="2144"/>
                  </a:lnTo>
                  <a:lnTo>
                    <a:pt x="119" y="2144"/>
                  </a:lnTo>
                  <a:lnTo>
                    <a:pt x="108" y="2145"/>
                  </a:lnTo>
                  <a:lnTo>
                    <a:pt x="110" y="2150"/>
                  </a:lnTo>
                  <a:lnTo>
                    <a:pt x="113" y="2151"/>
                  </a:lnTo>
                  <a:lnTo>
                    <a:pt x="116" y="2150"/>
                  </a:lnTo>
                  <a:lnTo>
                    <a:pt x="125" y="2142"/>
                  </a:lnTo>
                  <a:lnTo>
                    <a:pt x="127" y="2142"/>
                  </a:lnTo>
                  <a:lnTo>
                    <a:pt x="136" y="2142"/>
                  </a:lnTo>
                  <a:lnTo>
                    <a:pt x="136" y="2144"/>
                  </a:lnTo>
                  <a:lnTo>
                    <a:pt x="128" y="2142"/>
                  </a:lnTo>
                  <a:lnTo>
                    <a:pt x="125" y="2144"/>
                  </a:lnTo>
                  <a:lnTo>
                    <a:pt x="120" y="2150"/>
                  </a:lnTo>
                  <a:lnTo>
                    <a:pt x="114" y="2151"/>
                  </a:lnTo>
                  <a:lnTo>
                    <a:pt x="111" y="2156"/>
                  </a:lnTo>
                  <a:lnTo>
                    <a:pt x="106" y="2158"/>
                  </a:lnTo>
                  <a:lnTo>
                    <a:pt x="106" y="2159"/>
                  </a:lnTo>
                  <a:lnTo>
                    <a:pt x="103" y="2164"/>
                  </a:lnTo>
                  <a:lnTo>
                    <a:pt x="102" y="2168"/>
                  </a:lnTo>
                  <a:lnTo>
                    <a:pt x="105" y="2168"/>
                  </a:lnTo>
                  <a:lnTo>
                    <a:pt x="108" y="2167"/>
                  </a:lnTo>
                  <a:lnTo>
                    <a:pt x="111" y="2168"/>
                  </a:lnTo>
                  <a:lnTo>
                    <a:pt x="110" y="2168"/>
                  </a:lnTo>
                  <a:lnTo>
                    <a:pt x="105" y="2170"/>
                  </a:lnTo>
                  <a:lnTo>
                    <a:pt x="103" y="2171"/>
                  </a:lnTo>
                  <a:lnTo>
                    <a:pt x="96" y="2173"/>
                  </a:lnTo>
                  <a:lnTo>
                    <a:pt x="93" y="2175"/>
                  </a:lnTo>
                  <a:lnTo>
                    <a:pt x="91" y="2178"/>
                  </a:lnTo>
                  <a:lnTo>
                    <a:pt x="93" y="2181"/>
                  </a:lnTo>
                  <a:lnTo>
                    <a:pt x="93" y="2182"/>
                  </a:lnTo>
                  <a:lnTo>
                    <a:pt x="94" y="2185"/>
                  </a:lnTo>
                  <a:lnTo>
                    <a:pt x="96" y="2187"/>
                  </a:lnTo>
                  <a:lnTo>
                    <a:pt x="97" y="2187"/>
                  </a:lnTo>
                  <a:lnTo>
                    <a:pt x="100" y="2185"/>
                  </a:lnTo>
                  <a:lnTo>
                    <a:pt x="102" y="2185"/>
                  </a:lnTo>
                  <a:lnTo>
                    <a:pt x="103" y="2187"/>
                  </a:lnTo>
                  <a:lnTo>
                    <a:pt x="103" y="2188"/>
                  </a:lnTo>
                  <a:lnTo>
                    <a:pt x="105" y="2190"/>
                  </a:lnTo>
                  <a:lnTo>
                    <a:pt x="103" y="2190"/>
                  </a:lnTo>
                  <a:lnTo>
                    <a:pt x="102" y="2191"/>
                  </a:lnTo>
                  <a:lnTo>
                    <a:pt x="100" y="2191"/>
                  </a:lnTo>
                  <a:lnTo>
                    <a:pt x="99" y="2195"/>
                  </a:lnTo>
                  <a:lnTo>
                    <a:pt x="100" y="2196"/>
                  </a:lnTo>
                  <a:lnTo>
                    <a:pt x="103" y="2204"/>
                  </a:lnTo>
                  <a:lnTo>
                    <a:pt x="111" y="2191"/>
                  </a:lnTo>
                  <a:lnTo>
                    <a:pt x="113" y="2190"/>
                  </a:lnTo>
                  <a:lnTo>
                    <a:pt x="123" y="2187"/>
                  </a:lnTo>
                  <a:lnTo>
                    <a:pt x="128" y="2185"/>
                  </a:lnTo>
                  <a:lnTo>
                    <a:pt x="148" y="2181"/>
                  </a:lnTo>
                  <a:lnTo>
                    <a:pt x="148" y="2182"/>
                  </a:lnTo>
                  <a:lnTo>
                    <a:pt x="116" y="2191"/>
                  </a:lnTo>
                  <a:lnTo>
                    <a:pt x="111" y="2195"/>
                  </a:lnTo>
                  <a:lnTo>
                    <a:pt x="110" y="2196"/>
                  </a:lnTo>
                  <a:lnTo>
                    <a:pt x="106" y="2199"/>
                  </a:lnTo>
                  <a:lnTo>
                    <a:pt x="106" y="2202"/>
                  </a:lnTo>
                  <a:lnTo>
                    <a:pt x="105" y="2204"/>
                  </a:lnTo>
                  <a:lnTo>
                    <a:pt x="106" y="2205"/>
                  </a:lnTo>
                  <a:lnTo>
                    <a:pt x="108" y="2208"/>
                  </a:lnTo>
                  <a:lnTo>
                    <a:pt x="110" y="2210"/>
                  </a:lnTo>
                  <a:lnTo>
                    <a:pt x="110" y="2210"/>
                  </a:lnTo>
                  <a:lnTo>
                    <a:pt x="117" y="2212"/>
                  </a:lnTo>
                  <a:lnTo>
                    <a:pt x="119" y="2213"/>
                  </a:lnTo>
                  <a:lnTo>
                    <a:pt x="111" y="2213"/>
                  </a:lnTo>
                  <a:lnTo>
                    <a:pt x="108" y="2212"/>
                  </a:lnTo>
                  <a:lnTo>
                    <a:pt x="99" y="2204"/>
                  </a:lnTo>
                  <a:lnTo>
                    <a:pt x="99" y="2202"/>
                  </a:lnTo>
                  <a:lnTo>
                    <a:pt x="96" y="2199"/>
                  </a:lnTo>
                  <a:lnTo>
                    <a:pt x="96" y="2198"/>
                  </a:lnTo>
                  <a:lnTo>
                    <a:pt x="93" y="2196"/>
                  </a:lnTo>
                  <a:lnTo>
                    <a:pt x="91" y="2195"/>
                  </a:lnTo>
                  <a:lnTo>
                    <a:pt x="91" y="2195"/>
                  </a:lnTo>
                  <a:lnTo>
                    <a:pt x="88" y="2195"/>
                  </a:lnTo>
                  <a:lnTo>
                    <a:pt x="88" y="2196"/>
                  </a:lnTo>
                  <a:lnTo>
                    <a:pt x="88" y="2198"/>
                  </a:lnTo>
                  <a:lnTo>
                    <a:pt x="88" y="2199"/>
                  </a:lnTo>
                  <a:lnTo>
                    <a:pt x="86" y="2199"/>
                  </a:lnTo>
                  <a:lnTo>
                    <a:pt x="83" y="2199"/>
                  </a:lnTo>
                  <a:lnTo>
                    <a:pt x="82" y="2199"/>
                  </a:lnTo>
                  <a:lnTo>
                    <a:pt x="80" y="2208"/>
                  </a:lnTo>
                  <a:lnTo>
                    <a:pt x="79" y="2205"/>
                  </a:lnTo>
                  <a:lnTo>
                    <a:pt x="79" y="2201"/>
                  </a:lnTo>
                  <a:lnTo>
                    <a:pt x="79" y="2196"/>
                  </a:lnTo>
                  <a:lnTo>
                    <a:pt x="80" y="2193"/>
                  </a:lnTo>
                  <a:lnTo>
                    <a:pt x="68" y="2184"/>
                  </a:lnTo>
                  <a:lnTo>
                    <a:pt x="68" y="2188"/>
                  </a:lnTo>
                  <a:lnTo>
                    <a:pt x="66" y="2190"/>
                  </a:lnTo>
                  <a:lnTo>
                    <a:pt x="66" y="2191"/>
                  </a:lnTo>
                  <a:lnTo>
                    <a:pt x="66" y="2191"/>
                  </a:lnTo>
                  <a:lnTo>
                    <a:pt x="70" y="2191"/>
                  </a:lnTo>
                  <a:lnTo>
                    <a:pt x="71" y="2193"/>
                  </a:lnTo>
                  <a:lnTo>
                    <a:pt x="70" y="2191"/>
                  </a:lnTo>
                  <a:lnTo>
                    <a:pt x="70" y="2191"/>
                  </a:lnTo>
                  <a:lnTo>
                    <a:pt x="68" y="2193"/>
                  </a:lnTo>
                  <a:lnTo>
                    <a:pt x="68" y="2193"/>
                  </a:lnTo>
                  <a:lnTo>
                    <a:pt x="71" y="2196"/>
                  </a:lnTo>
                  <a:lnTo>
                    <a:pt x="73" y="2199"/>
                  </a:lnTo>
                  <a:lnTo>
                    <a:pt x="74" y="2201"/>
                  </a:lnTo>
                  <a:lnTo>
                    <a:pt x="73" y="2202"/>
                  </a:lnTo>
                  <a:lnTo>
                    <a:pt x="71" y="2202"/>
                  </a:lnTo>
                  <a:lnTo>
                    <a:pt x="70" y="2198"/>
                  </a:lnTo>
                  <a:lnTo>
                    <a:pt x="68" y="2198"/>
                  </a:lnTo>
                  <a:lnTo>
                    <a:pt x="68" y="2196"/>
                  </a:lnTo>
                  <a:lnTo>
                    <a:pt x="66" y="2196"/>
                  </a:lnTo>
                  <a:lnTo>
                    <a:pt x="66" y="2198"/>
                  </a:lnTo>
                  <a:lnTo>
                    <a:pt x="68" y="2199"/>
                  </a:lnTo>
                  <a:lnTo>
                    <a:pt x="68" y="2201"/>
                  </a:lnTo>
                  <a:lnTo>
                    <a:pt x="68" y="2202"/>
                  </a:lnTo>
                  <a:lnTo>
                    <a:pt x="68" y="2204"/>
                  </a:lnTo>
                  <a:lnTo>
                    <a:pt x="70" y="2204"/>
                  </a:lnTo>
                  <a:lnTo>
                    <a:pt x="70" y="2205"/>
                  </a:lnTo>
                  <a:lnTo>
                    <a:pt x="70" y="2207"/>
                  </a:lnTo>
                  <a:lnTo>
                    <a:pt x="68" y="2207"/>
                  </a:lnTo>
                  <a:lnTo>
                    <a:pt x="66" y="2207"/>
                  </a:lnTo>
                  <a:lnTo>
                    <a:pt x="66" y="2208"/>
                  </a:lnTo>
                  <a:lnTo>
                    <a:pt x="66" y="2210"/>
                  </a:lnTo>
                  <a:lnTo>
                    <a:pt x="66" y="2213"/>
                  </a:lnTo>
                  <a:lnTo>
                    <a:pt x="66" y="2216"/>
                  </a:lnTo>
                  <a:lnTo>
                    <a:pt x="66" y="2219"/>
                  </a:lnTo>
                  <a:lnTo>
                    <a:pt x="66" y="2221"/>
                  </a:lnTo>
                  <a:lnTo>
                    <a:pt x="63" y="2224"/>
                  </a:lnTo>
                  <a:lnTo>
                    <a:pt x="62" y="2225"/>
                  </a:lnTo>
                  <a:lnTo>
                    <a:pt x="65" y="2228"/>
                  </a:lnTo>
                  <a:lnTo>
                    <a:pt x="65" y="2230"/>
                  </a:lnTo>
                  <a:lnTo>
                    <a:pt x="66" y="2233"/>
                  </a:lnTo>
                  <a:lnTo>
                    <a:pt x="68" y="2238"/>
                  </a:lnTo>
                  <a:lnTo>
                    <a:pt x="70" y="2242"/>
                  </a:lnTo>
                  <a:lnTo>
                    <a:pt x="73" y="2248"/>
                  </a:lnTo>
                  <a:lnTo>
                    <a:pt x="76" y="2252"/>
                  </a:lnTo>
                  <a:lnTo>
                    <a:pt x="76" y="2255"/>
                  </a:lnTo>
                  <a:lnTo>
                    <a:pt x="79" y="2258"/>
                  </a:lnTo>
                  <a:lnTo>
                    <a:pt x="82" y="2258"/>
                  </a:lnTo>
                  <a:lnTo>
                    <a:pt x="85" y="2258"/>
                  </a:lnTo>
                  <a:lnTo>
                    <a:pt x="86" y="2262"/>
                  </a:lnTo>
                  <a:lnTo>
                    <a:pt x="90" y="2264"/>
                  </a:lnTo>
                  <a:lnTo>
                    <a:pt x="96" y="2264"/>
                  </a:lnTo>
                  <a:lnTo>
                    <a:pt x="97" y="2264"/>
                  </a:lnTo>
                  <a:lnTo>
                    <a:pt x="99" y="2265"/>
                  </a:lnTo>
                  <a:lnTo>
                    <a:pt x="99" y="2267"/>
                  </a:lnTo>
                  <a:lnTo>
                    <a:pt x="99" y="2268"/>
                  </a:lnTo>
                  <a:lnTo>
                    <a:pt x="99" y="2270"/>
                  </a:lnTo>
                  <a:lnTo>
                    <a:pt x="99" y="2272"/>
                  </a:lnTo>
                  <a:lnTo>
                    <a:pt x="100" y="2273"/>
                  </a:lnTo>
                  <a:lnTo>
                    <a:pt x="100" y="2275"/>
                  </a:lnTo>
                  <a:lnTo>
                    <a:pt x="102" y="2276"/>
                  </a:lnTo>
                  <a:lnTo>
                    <a:pt x="102" y="2278"/>
                  </a:lnTo>
                  <a:lnTo>
                    <a:pt x="103" y="2278"/>
                  </a:lnTo>
                  <a:lnTo>
                    <a:pt x="105" y="2278"/>
                  </a:lnTo>
                  <a:lnTo>
                    <a:pt x="106" y="2279"/>
                  </a:lnTo>
                  <a:lnTo>
                    <a:pt x="108" y="2281"/>
                  </a:lnTo>
                  <a:lnTo>
                    <a:pt x="111" y="2284"/>
                  </a:lnTo>
                  <a:lnTo>
                    <a:pt x="116" y="2284"/>
                  </a:lnTo>
                  <a:lnTo>
                    <a:pt x="117" y="2285"/>
                  </a:lnTo>
                  <a:lnTo>
                    <a:pt x="119" y="2287"/>
                  </a:lnTo>
                  <a:lnTo>
                    <a:pt x="120" y="2287"/>
                  </a:lnTo>
                  <a:lnTo>
                    <a:pt x="120" y="2287"/>
                  </a:lnTo>
                  <a:lnTo>
                    <a:pt x="122" y="2287"/>
                  </a:lnTo>
                  <a:lnTo>
                    <a:pt x="123" y="2289"/>
                  </a:lnTo>
                  <a:lnTo>
                    <a:pt x="127" y="2292"/>
                  </a:lnTo>
                  <a:lnTo>
                    <a:pt x="131" y="2293"/>
                  </a:lnTo>
                  <a:lnTo>
                    <a:pt x="139" y="2295"/>
                  </a:lnTo>
                  <a:lnTo>
                    <a:pt x="143" y="2298"/>
                  </a:lnTo>
                  <a:lnTo>
                    <a:pt x="148" y="2298"/>
                  </a:lnTo>
                  <a:lnTo>
                    <a:pt x="148" y="2295"/>
                  </a:lnTo>
                  <a:lnTo>
                    <a:pt x="148" y="2287"/>
                  </a:lnTo>
                  <a:lnTo>
                    <a:pt x="150" y="2287"/>
                  </a:lnTo>
                  <a:lnTo>
                    <a:pt x="151" y="2285"/>
                  </a:lnTo>
                  <a:lnTo>
                    <a:pt x="153" y="2285"/>
                  </a:lnTo>
                  <a:lnTo>
                    <a:pt x="154" y="2287"/>
                  </a:lnTo>
                  <a:lnTo>
                    <a:pt x="153" y="2290"/>
                  </a:lnTo>
                  <a:lnTo>
                    <a:pt x="151" y="2289"/>
                  </a:lnTo>
                  <a:lnTo>
                    <a:pt x="150" y="2289"/>
                  </a:lnTo>
                  <a:lnTo>
                    <a:pt x="150" y="2290"/>
                  </a:lnTo>
                  <a:lnTo>
                    <a:pt x="148" y="2293"/>
                  </a:lnTo>
                  <a:lnTo>
                    <a:pt x="150" y="2295"/>
                  </a:lnTo>
                  <a:lnTo>
                    <a:pt x="151" y="2299"/>
                  </a:lnTo>
                  <a:lnTo>
                    <a:pt x="153" y="2301"/>
                  </a:lnTo>
                  <a:lnTo>
                    <a:pt x="153" y="2301"/>
                  </a:lnTo>
                  <a:lnTo>
                    <a:pt x="157" y="2296"/>
                  </a:lnTo>
                  <a:lnTo>
                    <a:pt x="160" y="2293"/>
                  </a:lnTo>
                  <a:lnTo>
                    <a:pt x="163" y="2293"/>
                  </a:lnTo>
                  <a:lnTo>
                    <a:pt x="165" y="2293"/>
                  </a:lnTo>
                  <a:lnTo>
                    <a:pt x="159" y="2298"/>
                  </a:lnTo>
                  <a:lnTo>
                    <a:pt x="156" y="2301"/>
                  </a:lnTo>
                  <a:lnTo>
                    <a:pt x="151" y="2302"/>
                  </a:lnTo>
                  <a:lnTo>
                    <a:pt x="150" y="2305"/>
                  </a:lnTo>
                  <a:lnTo>
                    <a:pt x="151" y="2305"/>
                  </a:lnTo>
                  <a:lnTo>
                    <a:pt x="151" y="2305"/>
                  </a:lnTo>
                  <a:lnTo>
                    <a:pt x="150" y="2307"/>
                  </a:lnTo>
                  <a:lnTo>
                    <a:pt x="145" y="2307"/>
                  </a:lnTo>
                  <a:lnTo>
                    <a:pt x="145" y="2309"/>
                  </a:lnTo>
                  <a:lnTo>
                    <a:pt x="145" y="2312"/>
                  </a:lnTo>
                  <a:lnTo>
                    <a:pt x="143" y="2313"/>
                  </a:lnTo>
                  <a:lnTo>
                    <a:pt x="142" y="2315"/>
                  </a:lnTo>
                  <a:lnTo>
                    <a:pt x="140" y="2315"/>
                  </a:lnTo>
                  <a:lnTo>
                    <a:pt x="142" y="2316"/>
                  </a:lnTo>
                  <a:lnTo>
                    <a:pt x="145" y="2321"/>
                  </a:lnTo>
                  <a:lnTo>
                    <a:pt x="148" y="2322"/>
                  </a:lnTo>
                  <a:lnTo>
                    <a:pt x="156" y="2322"/>
                  </a:lnTo>
                  <a:lnTo>
                    <a:pt x="156" y="2322"/>
                  </a:lnTo>
                  <a:lnTo>
                    <a:pt x="157" y="2324"/>
                  </a:lnTo>
                  <a:lnTo>
                    <a:pt x="159" y="2324"/>
                  </a:lnTo>
                  <a:lnTo>
                    <a:pt x="159" y="2322"/>
                  </a:lnTo>
                  <a:lnTo>
                    <a:pt x="159" y="2322"/>
                  </a:lnTo>
                  <a:lnTo>
                    <a:pt x="159" y="2321"/>
                  </a:lnTo>
                  <a:lnTo>
                    <a:pt x="157" y="2319"/>
                  </a:lnTo>
                  <a:lnTo>
                    <a:pt x="156" y="2319"/>
                  </a:lnTo>
                  <a:lnTo>
                    <a:pt x="156" y="2318"/>
                  </a:lnTo>
                  <a:lnTo>
                    <a:pt x="154" y="2316"/>
                  </a:lnTo>
                  <a:lnTo>
                    <a:pt x="154" y="2316"/>
                  </a:lnTo>
                  <a:lnTo>
                    <a:pt x="154" y="2315"/>
                  </a:lnTo>
                  <a:lnTo>
                    <a:pt x="153" y="2315"/>
                  </a:lnTo>
                  <a:lnTo>
                    <a:pt x="153" y="2313"/>
                  </a:lnTo>
                  <a:lnTo>
                    <a:pt x="156" y="2305"/>
                  </a:lnTo>
                  <a:lnTo>
                    <a:pt x="156" y="2307"/>
                  </a:lnTo>
                  <a:lnTo>
                    <a:pt x="156" y="2310"/>
                  </a:lnTo>
                  <a:lnTo>
                    <a:pt x="156" y="2312"/>
                  </a:lnTo>
                  <a:lnTo>
                    <a:pt x="154" y="2313"/>
                  </a:lnTo>
                  <a:lnTo>
                    <a:pt x="156" y="2315"/>
                  </a:lnTo>
                  <a:lnTo>
                    <a:pt x="157" y="2315"/>
                  </a:lnTo>
                  <a:lnTo>
                    <a:pt x="162" y="2315"/>
                  </a:lnTo>
                  <a:lnTo>
                    <a:pt x="162" y="2313"/>
                  </a:lnTo>
                  <a:lnTo>
                    <a:pt x="159" y="2305"/>
                  </a:lnTo>
                  <a:lnTo>
                    <a:pt x="160" y="2307"/>
                  </a:lnTo>
                  <a:lnTo>
                    <a:pt x="165" y="2312"/>
                  </a:lnTo>
                  <a:lnTo>
                    <a:pt x="167" y="2313"/>
                  </a:lnTo>
                  <a:lnTo>
                    <a:pt x="168" y="2313"/>
                  </a:lnTo>
                  <a:lnTo>
                    <a:pt x="173" y="2312"/>
                  </a:lnTo>
                  <a:lnTo>
                    <a:pt x="174" y="2312"/>
                  </a:lnTo>
                  <a:lnTo>
                    <a:pt x="174" y="2315"/>
                  </a:lnTo>
                  <a:lnTo>
                    <a:pt x="173" y="2315"/>
                  </a:lnTo>
                  <a:lnTo>
                    <a:pt x="167" y="2315"/>
                  </a:lnTo>
                  <a:lnTo>
                    <a:pt x="165" y="2316"/>
                  </a:lnTo>
                  <a:lnTo>
                    <a:pt x="162" y="2318"/>
                  </a:lnTo>
                  <a:lnTo>
                    <a:pt x="162" y="2319"/>
                  </a:lnTo>
                  <a:lnTo>
                    <a:pt x="163" y="2319"/>
                  </a:lnTo>
                  <a:lnTo>
                    <a:pt x="165" y="2321"/>
                  </a:lnTo>
                  <a:lnTo>
                    <a:pt x="167" y="2321"/>
                  </a:lnTo>
                  <a:lnTo>
                    <a:pt x="167" y="2319"/>
                  </a:lnTo>
                  <a:lnTo>
                    <a:pt x="168" y="2318"/>
                  </a:lnTo>
                  <a:lnTo>
                    <a:pt x="170" y="2318"/>
                  </a:lnTo>
                  <a:lnTo>
                    <a:pt x="170" y="2319"/>
                  </a:lnTo>
                  <a:lnTo>
                    <a:pt x="170" y="2321"/>
                  </a:lnTo>
                  <a:lnTo>
                    <a:pt x="168" y="2322"/>
                  </a:lnTo>
                  <a:lnTo>
                    <a:pt x="168" y="2324"/>
                  </a:lnTo>
                  <a:lnTo>
                    <a:pt x="170" y="2322"/>
                  </a:lnTo>
                  <a:lnTo>
                    <a:pt x="174" y="2316"/>
                  </a:lnTo>
                  <a:lnTo>
                    <a:pt x="176" y="2318"/>
                  </a:lnTo>
                  <a:lnTo>
                    <a:pt x="174" y="2319"/>
                  </a:lnTo>
                  <a:lnTo>
                    <a:pt x="173" y="2324"/>
                  </a:lnTo>
                  <a:lnTo>
                    <a:pt x="171" y="2325"/>
                  </a:lnTo>
                  <a:lnTo>
                    <a:pt x="173" y="2325"/>
                  </a:lnTo>
                  <a:lnTo>
                    <a:pt x="179" y="2322"/>
                  </a:lnTo>
                  <a:lnTo>
                    <a:pt x="179" y="2322"/>
                  </a:lnTo>
                  <a:lnTo>
                    <a:pt x="180" y="2321"/>
                  </a:lnTo>
                  <a:lnTo>
                    <a:pt x="185" y="2318"/>
                  </a:lnTo>
                  <a:lnTo>
                    <a:pt x="187" y="2318"/>
                  </a:lnTo>
                  <a:lnTo>
                    <a:pt x="187" y="2319"/>
                  </a:lnTo>
                  <a:lnTo>
                    <a:pt x="187" y="2319"/>
                  </a:lnTo>
                  <a:lnTo>
                    <a:pt x="185" y="2322"/>
                  </a:lnTo>
                  <a:lnTo>
                    <a:pt x="185" y="2324"/>
                  </a:lnTo>
                  <a:lnTo>
                    <a:pt x="184" y="2322"/>
                  </a:lnTo>
                  <a:lnTo>
                    <a:pt x="184" y="2322"/>
                  </a:lnTo>
                  <a:lnTo>
                    <a:pt x="182" y="2322"/>
                  </a:lnTo>
                  <a:lnTo>
                    <a:pt x="182" y="2322"/>
                  </a:lnTo>
                  <a:lnTo>
                    <a:pt x="180" y="2324"/>
                  </a:lnTo>
                  <a:lnTo>
                    <a:pt x="177" y="2325"/>
                  </a:lnTo>
                  <a:lnTo>
                    <a:pt x="176" y="2327"/>
                  </a:lnTo>
                  <a:lnTo>
                    <a:pt x="176" y="2330"/>
                  </a:lnTo>
                  <a:lnTo>
                    <a:pt x="176" y="2332"/>
                  </a:lnTo>
                  <a:lnTo>
                    <a:pt x="176" y="2333"/>
                  </a:lnTo>
                  <a:lnTo>
                    <a:pt x="177" y="2333"/>
                  </a:lnTo>
                  <a:lnTo>
                    <a:pt x="180" y="2332"/>
                  </a:lnTo>
                  <a:lnTo>
                    <a:pt x="180" y="2332"/>
                  </a:lnTo>
                  <a:lnTo>
                    <a:pt x="182" y="2332"/>
                  </a:lnTo>
                  <a:lnTo>
                    <a:pt x="182" y="2330"/>
                  </a:lnTo>
                  <a:lnTo>
                    <a:pt x="182" y="2329"/>
                  </a:lnTo>
                  <a:lnTo>
                    <a:pt x="182" y="2329"/>
                  </a:lnTo>
                  <a:lnTo>
                    <a:pt x="182" y="2329"/>
                  </a:lnTo>
                  <a:lnTo>
                    <a:pt x="182" y="2327"/>
                  </a:lnTo>
                  <a:lnTo>
                    <a:pt x="182" y="2327"/>
                  </a:lnTo>
                  <a:lnTo>
                    <a:pt x="187" y="2325"/>
                  </a:lnTo>
                  <a:lnTo>
                    <a:pt x="188" y="2325"/>
                  </a:lnTo>
                  <a:lnTo>
                    <a:pt x="188" y="2327"/>
                  </a:lnTo>
                  <a:lnTo>
                    <a:pt x="190" y="2325"/>
                  </a:lnTo>
                  <a:lnTo>
                    <a:pt x="194" y="2324"/>
                  </a:lnTo>
                  <a:lnTo>
                    <a:pt x="194" y="2325"/>
                  </a:lnTo>
                  <a:lnTo>
                    <a:pt x="196" y="2327"/>
                  </a:lnTo>
                  <a:lnTo>
                    <a:pt x="205" y="2329"/>
                  </a:lnTo>
                  <a:lnTo>
                    <a:pt x="219" y="2329"/>
                  </a:lnTo>
                  <a:lnTo>
                    <a:pt x="219" y="2329"/>
                  </a:lnTo>
                  <a:lnTo>
                    <a:pt x="219" y="2327"/>
                  </a:lnTo>
                  <a:lnTo>
                    <a:pt x="219" y="2325"/>
                  </a:lnTo>
                  <a:lnTo>
                    <a:pt x="220" y="2329"/>
                  </a:lnTo>
                  <a:lnTo>
                    <a:pt x="222" y="2329"/>
                  </a:lnTo>
                  <a:lnTo>
                    <a:pt x="222" y="2327"/>
                  </a:lnTo>
                  <a:lnTo>
                    <a:pt x="222" y="2324"/>
                  </a:lnTo>
                  <a:lnTo>
                    <a:pt x="224" y="2325"/>
                  </a:lnTo>
                  <a:lnTo>
                    <a:pt x="224" y="2325"/>
                  </a:lnTo>
                  <a:lnTo>
                    <a:pt x="225" y="2325"/>
                  </a:lnTo>
                  <a:lnTo>
                    <a:pt x="225" y="2322"/>
                  </a:lnTo>
                  <a:lnTo>
                    <a:pt x="225" y="2322"/>
                  </a:lnTo>
                  <a:lnTo>
                    <a:pt x="228" y="2324"/>
                  </a:lnTo>
                  <a:lnTo>
                    <a:pt x="230" y="2324"/>
                  </a:lnTo>
                  <a:lnTo>
                    <a:pt x="231" y="2322"/>
                  </a:lnTo>
                  <a:lnTo>
                    <a:pt x="244" y="2321"/>
                  </a:lnTo>
                  <a:lnTo>
                    <a:pt x="247" y="2319"/>
                  </a:lnTo>
                  <a:lnTo>
                    <a:pt x="245" y="2316"/>
                  </a:lnTo>
                  <a:lnTo>
                    <a:pt x="247" y="2315"/>
                  </a:lnTo>
                  <a:lnTo>
                    <a:pt x="251" y="2312"/>
                  </a:lnTo>
                  <a:lnTo>
                    <a:pt x="251" y="2309"/>
                  </a:lnTo>
                  <a:lnTo>
                    <a:pt x="253" y="2305"/>
                  </a:lnTo>
                  <a:lnTo>
                    <a:pt x="251" y="2304"/>
                  </a:lnTo>
                  <a:lnTo>
                    <a:pt x="251" y="2301"/>
                  </a:lnTo>
                  <a:lnTo>
                    <a:pt x="253" y="2301"/>
                  </a:lnTo>
                  <a:lnTo>
                    <a:pt x="254" y="2302"/>
                  </a:lnTo>
                  <a:lnTo>
                    <a:pt x="254" y="2307"/>
                  </a:lnTo>
                  <a:lnTo>
                    <a:pt x="256" y="2309"/>
                  </a:lnTo>
                  <a:lnTo>
                    <a:pt x="256" y="2310"/>
                  </a:lnTo>
                  <a:lnTo>
                    <a:pt x="254" y="2312"/>
                  </a:lnTo>
                  <a:lnTo>
                    <a:pt x="253" y="2312"/>
                  </a:lnTo>
                  <a:lnTo>
                    <a:pt x="253" y="2313"/>
                  </a:lnTo>
                  <a:lnTo>
                    <a:pt x="254" y="2315"/>
                  </a:lnTo>
                  <a:lnTo>
                    <a:pt x="254" y="2316"/>
                  </a:lnTo>
                  <a:lnTo>
                    <a:pt x="254" y="2316"/>
                  </a:lnTo>
                  <a:lnTo>
                    <a:pt x="257" y="2316"/>
                  </a:lnTo>
                  <a:lnTo>
                    <a:pt x="259" y="2318"/>
                  </a:lnTo>
                  <a:lnTo>
                    <a:pt x="259" y="2318"/>
                  </a:lnTo>
                  <a:lnTo>
                    <a:pt x="261" y="2316"/>
                  </a:lnTo>
                  <a:lnTo>
                    <a:pt x="262" y="2312"/>
                  </a:lnTo>
                  <a:lnTo>
                    <a:pt x="264" y="2312"/>
                  </a:lnTo>
                  <a:lnTo>
                    <a:pt x="264" y="2313"/>
                  </a:lnTo>
                  <a:lnTo>
                    <a:pt x="265" y="2315"/>
                  </a:lnTo>
                  <a:lnTo>
                    <a:pt x="267" y="2313"/>
                  </a:lnTo>
                  <a:lnTo>
                    <a:pt x="267" y="2312"/>
                  </a:lnTo>
                  <a:lnTo>
                    <a:pt x="267" y="2310"/>
                  </a:lnTo>
                  <a:lnTo>
                    <a:pt x="267" y="2310"/>
                  </a:lnTo>
                  <a:lnTo>
                    <a:pt x="267" y="2309"/>
                  </a:lnTo>
                  <a:lnTo>
                    <a:pt x="268" y="2307"/>
                  </a:lnTo>
                  <a:lnTo>
                    <a:pt x="270" y="2307"/>
                  </a:lnTo>
                  <a:lnTo>
                    <a:pt x="270" y="2304"/>
                  </a:lnTo>
                  <a:lnTo>
                    <a:pt x="270" y="2304"/>
                  </a:lnTo>
                  <a:lnTo>
                    <a:pt x="268" y="2304"/>
                  </a:lnTo>
                  <a:lnTo>
                    <a:pt x="268" y="2304"/>
                  </a:lnTo>
                  <a:lnTo>
                    <a:pt x="270" y="2302"/>
                  </a:lnTo>
                  <a:lnTo>
                    <a:pt x="273" y="2302"/>
                  </a:lnTo>
                  <a:lnTo>
                    <a:pt x="273" y="2301"/>
                  </a:lnTo>
                  <a:lnTo>
                    <a:pt x="274" y="2299"/>
                  </a:lnTo>
                  <a:lnTo>
                    <a:pt x="276" y="2298"/>
                  </a:lnTo>
                  <a:lnTo>
                    <a:pt x="276" y="2298"/>
                  </a:lnTo>
                  <a:lnTo>
                    <a:pt x="279" y="2298"/>
                  </a:lnTo>
                  <a:lnTo>
                    <a:pt x="281" y="2298"/>
                  </a:lnTo>
                  <a:lnTo>
                    <a:pt x="281" y="2296"/>
                  </a:lnTo>
                  <a:lnTo>
                    <a:pt x="281" y="2295"/>
                  </a:lnTo>
                  <a:lnTo>
                    <a:pt x="281" y="2293"/>
                  </a:lnTo>
                  <a:lnTo>
                    <a:pt x="282" y="2293"/>
                  </a:lnTo>
                  <a:lnTo>
                    <a:pt x="282" y="2296"/>
                  </a:lnTo>
                  <a:lnTo>
                    <a:pt x="284" y="2295"/>
                  </a:lnTo>
                  <a:lnTo>
                    <a:pt x="285" y="2295"/>
                  </a:lnTo>
                  <a:lnTo>
                    <a:pt x="288" y="2296"/>
                  </a:lnTo>
                  <a:lnTo>
                    <a:pt x="288" y="2293"/>
                  </a:lnTo>
                  <a:lnTo>
                    <a:pt x="288" y="2292"/>
                  </a:lnTo>
                  <a:lnTo>
                    <a:pt x="288" y="2290"/>
                  </a:lnTo>
                  <a:lnTo>
                    <a:pt x="291" y="2287"/>
                  </a:lnTo>
                  <a:lnTo>
                    <a:pt x="293" y="2282"/>
                  </a:lnTo>
                  <a:lnTo>
                    <a:pt x="294" y="2284"/>
                  </a:lnTo>
                  <a:lnTo>
                    <a:pt x="294" y="2285"/>
                  </a:lnTo>
                  <a:lnTo>
                    <a:pt x="294" y="2285"/>
                  </a:lnTo>
                  <a:lnTo>
                    <a:pt x="296" y="2285"/>
                  </a:lnTo>
                  <a:lnTo>
                    <a:pt x="296" y="2284"/>
                  </a:lnTo>
                  <a:lnTo>
                    <a:pt x="297" y="2282"/>
                  </a:lnTo>
                  <a:lnTo>
                    <a:pt x="297" y="2281"/>
                  </a:lnTo>
                  <a:lnTo>
                    <a:pt x="297" y="2281"/>
                  </a:lnTo>
                  <a:lnTo>
                    <a:pt x="299" y="2281"/>
                  </a:lnTo>
                  <a:lnTo>
                    <a:pt x="301" y="2279"/>
                  </a:lnTo>
                  <a:lnTo>
                    <a:pt x="301" y="2279"/>
                  </a:lnTo>
                  <a:lnTo>
                    <a:pt x="304" y="2278"/>
                  </a:lnTo>
                  <a:lnTo>
                    <a:pt x="304" y="2276"/>
                  </a:lnTo>
                  <a:lnTo>
                    <a:pt x="305" y="2275"/>
                  </a:lnTo>
                  <a:lnTo>
                    <a:pt x="305" y="2273"/>
                  </a:lnTo>
                  <a:lnTo>
                    <a:pt x="307" y="2272"/>
                  </a:lnTo>
                  <a:lnTo>
                    <a:pt x="308" y="2270"/>
                  </a:lnTo>
                  <a:lnTo>
                    <a:pt x="310" y="2270"/>
                  </a:lnTo>
                  <a:lnTo>
                    <a:pt x="311" y="2268"/>
                  </a:lnTo>
                  <a:lnTo>
                    <a:pt x="313" y="2265"/>
                  </a:lnTo>
                  <a:lnTo>
                    <a:pt x="318" y="2261"/>
                  </a:lnTo>
                  <a:lnTo>
                    <a:pt x="319" y="2259"/>
                  </a:lnTo>
                  <a:lnTo>
                    <a:pt x="321" y="2258"/>
                  </a:lnTo>
                  <a:lnTo>
                    <a:pt x="321" y="2255"/>
                  </a:lnTo>
                  <a:lnTo>
                    <a:pt x="321" y="2252"/>
                  </a:lnTo>
                  <a:lnTo>
                    <a:pt x="321" y="2250"/>
                  </a:lnTo>
                  <a:lnTo>
                    <a:pt x="321" y="2248"/>
                  </a:lnTo>
                  <a:lnTo>
                    <a:pt x="319" y="2247"/>
                  </a:lnTo>
                  <a:lnTo>
                    <a:pt x="318" y="2245"/>
                  </a:lnTo>
                  <a:lnTo>
                    <a:pt x="319" y="2245"/>
                  </a:lnTo>
                  <a:lnTo>
                    <a:pt x="321" y="2247"/>
                  </a:lnTo>
                  <a:lnTo>
                    <a:pt x="321" y="2247"/>
                  </a:lnTo>
                  <a:lnTo>
                    <a:pt x="322" y="2248"/>
                  </a:lnTo>
                  <a:lnTo>
                    <a:pt x="322" y="2248"/>
                  </a:lnTo>
                  <a:lnTo>
                    <a:pt x="324" y="2248"/>
                  </a:lnTo>
                  <a:lnTo>
                    <a:pt x="324" y="2248"/>
                  </a:lnTo>
                  <a:lnTo>
                    <a:pt x="324" y="2247"/>
                  </a:lnTo>
                  <a:lnTo>
                    <a:pt x="324" y="2247"/>
                  </a:lnTo>
                  <a:lnTo>
                    <a:pt x="327" y="2247"/>
                  </a:lnTo>
                  <a:lnTo>
                    <a:pt x="331" y="2245"/>
                  </a:lnTo>
                  <a:lnTo>
                    <a:pt x="336" y="2241"/>
                  </a:lnTo>
                  <a:lnTo>
                    <a:pt x="339" y="2238"/>
                  </a:lnTo>
                  <a:lnTo>
                    <a:pt x="339" y="2236"/>
                  </a:lnTo>
                  <a:lnTo>
                    <a:pt x="338" y="2235"/>
                  </a:lnTo>
                  <a:lnTo>
                    <a:pt x="336" y="2235"/>
                  </a:lnTo>
                  <a:lnTo>
                    <a:pt x="331" y="2235"/>
                  </a:lnTo>
                  <a:lnTo>
                    <a:pt x="330" y="2235"/>
                  </a:lnTo>
                  <a:lnTo>
                    <a:pt x="331" y="2235"/>
                  </a:lnTo>
                  <a:lnTo>
                    <a:pt x="339" y="2235"/>
                  </a:lnTo>
                  <a:lnTo>
                    <a:pt x="341" y="2232"/>
                  </a:lnTo>
                  <a:lnTo>
                    <a:pt x="341" y="2230"/>
                  </a:lnTo>
                  <a:lnTo>
                    <a:pt x="333" y="2227"/>
                  </a:lnTo>
                  <a:lnTo>
                    <a:pt x="333" y="2228"/>
                  </a:lnTo>
                  <a:lnTo>
                    <a:pt x="338" y="2230"/>
                  </a:lnTo>
                  <a:lnTo>
                    <a:pt x="336" y="2232"/>
                  </a:lnTo>
                  <a:lnTo>
                    <a:pt x="330" y="2230"/>
                  </a:lnTo>
                  <a:lnTo>
                    <a:pt x="328" y="2228"/>
                  </a:lnTo>
                  <a:lnTo>
                    <a:pt x="330" y="2228"/>
                  </a:lnTo>
                  <a:lnTo>
                    <a:pt x="330" y="2227"/>
                  </a:lnTo>
                  <a:lnTo>
                    <a:pt x="331" y="2227"/>
                  </a:lnTo>
                  <a:lnTo>
                    <a:pt x="344" y="2228"/>
                  </a:lnTo>
                  <a:lnTo>
                    <a:pt x="347" y="2227"/>
                  </a:lnTo>
                  <a:lnTo>
                    <a:pt x="350" y="2225"/>
                  </a:lnTo>
                  <a:lnTo>
                    <a:pt x="351" y="2224"/>
                  </a:lnTo>
                  <a:lnTo>
                    <a:pt x="353" y="2221"/>
                  </a:lnTo>
                  <a:lnTo>
                    <a:pt x="354" y="2221"/>
                  </a:lnTo>
                  <a:lnTo>
                    <a:pt x="354" y="2219"/>
                  </a:lnTo>
                  <a:lnTo>
                    <a:pt x="354" y="2218"/>
                  </a:lnTo>
                  <a:lnTo>
                    <a:pt x="353" y="2219"/>
                  </a:lnTo>
                  <a:lnTo>
                    <a:pt x="351" y="2219"/>
                  </a:lnTo>
                  <a:lnTo>
                    <a:pt x="353" y="2218"/>
                  </a:lnTo>
                  <a:lnTo>
                    <a:pt x="358" y="2216"/>
                  </a:lnTo>
                  <a:lnTo>
                    <a:pt x="358" y="2213"/>
                  </a:lnTo>
                  <a:lnTo>
                    <a:pt x="356" y="2213"/>
                  </a:lnTo>
                  <a:lnTo>
                    <a:pt x="354" y="2212"/>
                  </a:lnTo>
                  <a:lnTo>
                    <a:pt x="353" y="2212"/>
                  </a:lnTo>
                  <a:lnTo>
                    <a:pt x="351" y="2213"/>
                  </a:lnTo>
                  <a:lnTo>
                    <a:pt x="348" y="2215"/>
                  </a:lnTo>
                  <a:lnTo>
                    <a:pt x="348" y="2215"/>
                  </a:lnTo>
                  <a:lnTo>
                    <a:pt x="347" y="2215"/>
                  </a:lnTo>
                  <a:lnTo>
                    <a:pt x="345" y="2213"/>
                  </a:lnTo>
                  <a:lnTo>
                    <a:pt x="345" y="2213"/>
                  </a:lnTo>
                  <a:lnTo>
                    <a:pt x="347" y="2208"/>
                  </a:lnTo>
                  <a:lnTo>
                    <a:pt x="347" y="2207"/>
                  </a:lnTo>
                  <a:lnTo>
                    <a:pt x="348" y="2208"/>
                  </a:lnTo>
                  <a:lnTo>
                    <a:pt x="350" y="2210"/>
                  </a:lnTo>
                  <a:lnTo>
                    <a:pt x="353" y="2208"/>
                  </a:lnTo>
                  <a:lnTo>
                    <a:pt x="354" y="2208"/>
                  </a:lnTo>
                  <a:lnTo>
                    <a:pt x="354" y="2207"/>
                  </a:lnTo>
                  <a:lnTo>
                    <a:pt x="354" y="2207"/>
                  </a:lnTo>
                  <a:lnTo>
                    <a:pt x="354" y="2205"/>
                  </a:lnTo>
                  <a:lnTo>
                    <a:pt x="354" y="2205"/>
                  </a:lnTo>
                  <a:lnTo>
                    <a:pt x="353" y="2205"/>
                  </a:lnTo>
                  <a:lnTo>
                    <a:pt x="351" y="2207"/>
                  </a:lnTo>
                  <a:lnTo>
                    <a:pt x="353" y="2205"/>
                  </a:lnTo>
                  <a:lnTo>
                    <a:pt x="354" y="2204"/>
                  </a:lnTo>
                  <a:lnTo>
                    <a:pt x="356" y="2205"/>
                  </a:lnTo>
                  <a:lnTo>
                    <a:pt x="358" y="2207"/>
                  </a:lnTo>
                  <a:lnTo>
                    <a:pt x="359" y="2204"/>
                  </a:lnTo>
                  <a:lnTo>
                    <a:pt x="359" y="2204"/>
                  </a:lnTo>
                  <a:lnTo>
                    <a:pt x="362" y="2205"/>
                  </a:lnTo>
                  <a:lnTo>
                    <a:pt x="364" y="2204"/>
                  </a:lnTo>
                  <a:lnTo>
                    <a:pt x="362" y="2202"/>
                  </a:lnTo>
                  <a:lnTo>
                    <a:pt x="359" y="2199"/>
                  </a:lnTo>
                  <a:lnTo>
                    <a:pt x="367" y="2201"/>
                  </a:lnTo>
                  <a:lnTo>
                    <a:pt x="370" y="2199"/>
                  </a:lnTo>
                  <a:lnTo>
                    <a:pt x="370" y="2199"/>
                  </a:lnTo>
                  <a:lnTo>
                    <a:pt x="368" y="2199"/>
                  </a:lnTo>
                  <a:lnTo>
                    <a:pt x="368" y="2198"/>
                  </a:lnTo>
                  <a:lnTo>
                    <a:pt x="374" y="2196"/>
                  </a:lnTo>
                  <a:lnTo>
                    <a:pt x="376" y="2196"/>
                  </a:lnTo>
                  <a:lnTo>
                    <a:pt x="376" y="2195"/>
                  </a:lnTo>
                  <a:lnTo>
                    <a:pt x="374" y="2193"/>
                  </a:lnTo>
                  <a:lnTo>
                    <a:pt x="374" y="2193"/>
                  </a:lnTo>
                  <a:lnTo>
                    <a:pt x="373" y="2193"/>
                  </a:lnTo>
                  <a:lnTo>
                    <a:pt x="373" y="2191"/>
                  </a:lnTo>
                  <a:lnTo>
                    <a:pt x="376" y="2191"/>
                  </a:lnTo>
                  <a:lnTo>
                    <a:pt x="376" y="2191"/>
                  </a:lnTo>
                  <a:lnTo>
                    <a:pt x="378" y="2190"/>
                  </a:lnTo>
                  <a:lnTo>
                    <a:pt x="378" y="2190"/>
                  </a:lnTo>
                  <a:lnTo>
                    <a:pt x="378" y="2191"/>
                  </a:lnTo>
                  <a:lnTo>
                    <a:pt x="378" y="2191"/>
                  </a:lnTo>
                  <a:lnTo>
                    <a:pt x="379" y="2191"/>
                  </a:lnTo>
                  <a:lnTo>
                    <a:pt x="379" y="2187"/>
                  </a:lnTo>
                  <a:lnTo>
                    <a:pt x="376" y="2185"/>
                  </a:lnTo>
                  <a:lnTo>
                    <a:pt x="373" y="2184"/>
                  </a:lnTo>
                  <a:lnTo>
                    <a:pt x="371" y="2182"/>
                  </a:lnTo>
                  <a:lnTo>
                    <a:pt x="371" y="2179"/>
                  </a:lnTo>
                  <a:lnTo>
                    <a:pt x="367" y="2175"/>
                  </a:lnTo>
                  <a:lnTo>
                    <a:pt x="365" y="2171"/>
                  </a:lnTo>
                  <a:lnTo>
                    <a:pt x="370" y="2173"/>
                  </a:lnTo>
                  <a:lnTo>
                    <a:pt x="371" y="2170"/>
                  </a:lnTo>
                  <a:lnTo>
                    <a:pt x="373" y="2171"/>
                  </a:lnTo>
                  <a:lnTo>
                    <a:pt x="373" y="2173"/>
                  </a:lnTo>
                  <a:lnTo>
                    <a:pt x="371" y="2175"/>
                  </a:lnTo>
                  <a:lnTo>
                    <a:pt x="373" y="2175"/>
                  </a:lnTo>
                  <a:lnTo>
                    <a:pt x="373" y="2176"/>
                  </a:lnTo>
                  <a:lnTo>
                    <a:pt x="373" y="2178"/>
                  </a:lnTo>
                  <a:lnTo>
                    <a:pt x="373" y="2179"/>
                  </a:lnTo>
                  <a:lnTo>
                    <a:pt x="374" y="2181"/>
                  </a:lnTo>
                  <a:lnTo>
                    <a:pt x="374" y="2182"/>
                  </a:lnTo>
                  <a:lnTo>
                    <a:pt x="376" y="2182"/>
                  </a:lnTo>
                  <a:lnTo>
                    <a:pt x="376" y="2181"/>
                  </a:lnTo>
                  <a:lnTo>
                    <a:pt x="376" y="2178"/>
                  </a:lnTo>
                  <a:lnTo>
                    <a:pt x="376" y="2176"/>
                  </a:lnTo>
                  <a:lnTo>
                    <a:pt x="378" y="2178"/>
                  </a:lnTo>
                  <a:lnTo>
                    <a:pt x="378" y="2178"/>
                  </a:lnTo>
                  <a:lnTo>
                    <a:pt x="378" y="2179"/>
                  </a:lnTo>
                  <a:lnTo>
                    <a:pt x="378" y="2181"/>
                  </a:lnTo>
                  <a:lnTo>
                    <a:pt x="378" y="2181"/>
                  </a:lnTo>
                  <a:lnTo>
                    <a:pt x="378" y="2181"/>
                  </a:lnTo>
                  <a:lnTo>
                    <a:pt x="379" y="2181"/>
                  </a:lnTo>
                  <a:lnTo>
                    <a:pt x="381" y="2184"/>
                  </a:lnTo>
                  <a:lnTo>
                    <a:pt x="381" y="2185"/>
                  </a:lnTo>
                  <a:lnTo>
                    <a:pt x="382" y="2182"/>
                  </a:lnTo>
                  <a:lnTo>
                    <a:pt x="382" y="2182"/>
                  </a:lnTo>
                  <a:lnTo>
                    <a:pt x="385" y="2185"/>
                  </a:lnTo>
                  <a:lnTo>
                    <a:pt x="387" y="2188"/>
                  </a:lnTo>
                  <a:lnTo>
                    <a:pt x="388" y="2191"/>
                  </a:lnTo>
                  <a:lnTo>
                    <a:pt x="387" y="2193"/>
                  </a:lnTo>
                  <a:lnTo>
                    <a:pt x="385" y="2195"/>
                  </a:lnTo>
                  <a:lnTo>
                    <a:pt x="388" y="2196"/>
                  </a:lnTo>
                  <a:lnTo>
                    <a:pt x="396" y="2196"/>
                  </a:lnTo>
                  <a:lnTo>
                    <a:pt x="398" y="2195"/>
                  </a:lnTo>
                  <a:lnTo>
                    <a:pt x="401" y="2193"/>
                  </a:lnTo>
                  <a:lnTo>
                    <a:pt x="402" y="2190"/>
                  </a:lnTo>
                  <a:lnTo>
                    <a:pt x="401" y="2185"/>
                  </a:lnTo>
                  <a:lnTo>
                    <a:pt x="402" y="2185"/>
                  </a:lnTo>
                  <a:lnTo>
                    <a:pt x="404" y="2187"/>
                  </a:lnTo>
                  <a:lnTo>
                    <a:pt x="404" y="2187"/>
                  </a:lnTo>
                  <a:lnTo>
                    <a:pt x="405" y="2187"/>
                  </a:lnTo>
                  <a:lnTo>
                    <a:pt x="407" y="2184"/>
                  </a:lnTo>
                  <a:lnTo>
                    <a:pt x="408" y="2184"/>
                  </a:lnTo>
                  <a:lnTo>
                    <a:pt x="410" y="2182"/>
                  </a:lnTo>
                  <a:lnTo>
                    <a:pt x="411" y="2182"/>
                  </a:lnTo>
                  <a:lnTo>
                    <a:pt x="411" y="2184"/>
                  </a:lnTo>
                  <a:lnTo>
                    <a:pt x="411" y="2185"/>
                  </a:lnTo>
                  <a:lnTo>
                    <a:pt x="408" y="2187"/>
                  </a:lnTo>
                  <a:lnTo>
                    <a:pt x="408" y="2188"/>
                  </a:lnTo>
                  <a:lnTo>
                    <a:pt x="410" y="2190"/>
                  </a:lnTo>
                  <a:lnTo>
                    <a:pt x="411" y="2188"/>
                  </a:lnTo>
                  <a:lnTo>
                    <a:pt x="415" y="2187"/>
                  </a:lnTo>
                  <a:lnTo>
                    <a:pt x="416" y="2185"/>
                  </a:lnTo>
                  <a:lnTo>
                    <a:pt x="416" y="2184"/>
                  </a:lnTo>
                  <a:lnTo>
                    <a:pt x="416" y="2182"/>
                  </a:lnTo>
                  <a:lnTo>
                    <a:pt x="415" y="2181"/>
                  </a:lnTo>
                  <a:lnTo>
                    <a:pt x="415" y="2181"/>
                  </a:lnTo>
                  <a:lnTo>
                    <a:pt x="415" y="2178"/>
                  </a:lnTo>
                  <a:lnTo>
                    <a:pt x="416" y="2175"/>
                  </a:lnTo>
                  <a:lnTo>
                    <a:pt x="416" y="2173"/>
                  </a:lnTo>
                  <a:lnTo>
                    <a:pt x="416" y="2173"/>
                  </a:lnTo>
                  <a:lnTo>
                    <a:pt x="419" y="2182"/>
                  </a:lnTo>
                  <a:lnTo>
                    <a:pt x="419" y="2184"/>
                  </a:lnTo>
                  <a:lnTo>
                    <a:pt x="419" y="2182"/>
                  </a:lnTo>
                  <a:lnTo>
                    <a:pt x="419" y="2176"/>
                  </a:lnTo>
                  <a:lnTo>
                    <a:pt x="419" y="2173"/>
                  </a:lnTo>
                  <a:lnTo>
                    <a:pt x="421" y="2175"/>
                  </a:lnTo>
                  <a:lnTo>
                    <a:pt x="421" y="2178"/>
                  </a:lnTo>
                  <a:lnTo>
                    <a:pt x="421" y="2179"/>
                  </a:lnTo>
                  <a:lnTo>
                    <a:pt x="422" y="2181"/>
                  </a:lnTo>
                  <a:lnTo>
                    <a:pt x="421" y="2178"/>
                  </a:lnTo>
                  <a:lnTo>
                    <a:pt x="421" y="2173"/>
                  </a:lnTo>
                  <a:lnTo>
                    <a:pt x="421" y="2170"/>
                  </a:lnTo>
                  <a:lnTo>
                    <a:pt x="422" y="2171"/>
                  </a:lnTo>
                  <a:lnTo>
                    <a:pt x="422" y="2170"/>
                  </a:lnTo>
                  <a:lnTo>
                    <a:pt x="422" y="2167"/>
                  </a:lnTo>
                  <a:lnTo>
                    <a:pt x="422" y="2164"/>
                  </a:lnTo>
                  <a:lnTo>
                    <a:pt x="424" y="2161"/>
                  </a:lnTo>
                  <a:lnTo>
                    <a:pt x="424" y="2159"/>
                  </a:lnTo>
                  <a:lnTo>
                    <a:pt x="424" y="2159"/>
                  </a:lnTo>
                  <a:lnTo>
                    <a:pt x="425" y="2158"/>
                  </a:lnTo>
                  <a:lnTo>
                    <a:pt x="427" y="2158"/>
                  </a:lnTo>
                  <a:lnTo>
                    <a:pt x="425" y="2155"/>
                  </a:lnTo>
                  <a:lnTo>
                    <a:pt x="425" y="2155"/>
                  </a:lnTo>
                  <a:lnTo>
                    <a:pt x="425" y="2151"/>
                  </a:lnTo>
                  <a:lnTo>
                    <a:pt x="425" y="2150"/>
                  </a:lnTo>
                  <a:lnTo>
                    <a:pt x="427" y="2150"/>
                  </a:lnTo>
                  <a:lnTo>
                    <a:pt x="430" y="2151"/>
                  </a:lnTo>
                  <a:lnTo>
                    <a:pt x="433" y="2153"/>
                  </a:lnTo>
                  <a:lnTo>
                    <a:pt x="435" y="2153"/>
                  </a:lnTo>
                  <a:lnTo>
                    <a:pt x="435" y="2151"/>
                  </a:lnTo>
                  <a:lnTo>
                    <a:pt x="436" y="2148"/>
                  </a:lnTo>
                  <a:lnTo>
                    <a:pt x="436" y="2147"/>
                  </a:lnTo>
                  <a:lnTo>
                    <a:pt x="438" y="2145"/>
                  </a:lnTo>
                  <a:lnTo>
                    <a:pt x="436" y="2144"/>
                  </a:lnTo>
                  <a:lnTo>
                    <a:pt x="433" y="2141"/>
                  </a:lnTo>
                  <a:lnTo>
                    <a:pt x="431" y="2139"/>
                  </a:lnTo>
                  <a:lnTo>
                    <a:pt x="433" y="2136"/>
                  </a:lnTo>
                  <a:lnTo>
                    <a:pt x="435" y="2133"/>
                  </a:lnTo>
                  <a:lnTo>
                    <a:pt x="435" y="2130"/>
                  </a:lnTo>
                  <a:lnTo>
                    <a:pt x="435" y="2127"/>
                  </a:lnTo>
                  <a:lnTo>
                    <a:pt x="433" y="2125"/>
                  </a:lnTo>
                  <a:lnTo>
                    <a:pt x="427" y="2124"/>
                  </a:lnTo>
                  <a:lnTo>
                    <a:pt x="424" y="2118"/>
                  </a:lnTo>
                  <a:lnTo>
                    <a:pt x="422" y="2116"/>
                  </a:lnTo>
                  <a:lnTo>
                    <a:pt x="421" y="2116"/>
                  </a:lnTo>
                  <a:lnTo>
                    <a:pt x="419" y="2113"/>
                  </a:lnTo>
                  <a:lnTo>
                    <a:pt x="418" y="2110"/>
                  </a:lnTo>
                  <a:lnTo>
                    <a:pt x="416" y="2108"/>
                  </a:lnTo>
                  <a:lnTo>
                    <a:pt x="419" y="2108"/>
                  </a:lnTo>
                  <a:lnTo>
                    <a:pt x="424" y="2111"/>
                  </a:lnTo>
                  <a:lnTo>
                    <a:pt x="427" y="2113"/>
                  </a:lnTo>
                  <a:lnTo>
                    <a:pt x="427" y="2111"/>
                  </a:lnTo>
                  <a:lnTo>
                    <a:pt x="428" y="2108"/>
                  </a:lnTo>
                  <a:lnTo>
                    <a:pt x="428" y="2104"/>
                  </a:lnTo>
                  <a:lnTo>
                    <a:pt x="428" y="2101"/>
                  </a:lnTo>
                  <a:lnTo>
                    <a:pt x="428" y="2096"/>
                  </a:lnTo>
                  <a:lnTo>
                    <a:pt x="427" y="2093"/>
                  </a:lnTo>
                  <a:lnTo>
                    <a:pt x="425" y="2091"/>
                  </a:lnTo>
                  <a:lnTo>
                    <a:pt x="421" y="2088"/>
                  </a:lnTo>
                  <a:lnTo>
                    <a:pt x="421" y="2088"/>
                  </a:lnTo>
                  <a:lnTo>
                    <a:pt x="419" y="2088"/>
                  </a:lnTo>
                  <a:lnTo>
                    <a:pt x="418" y="2087"/>
                  </a:lnTo>
                  <a:lnTo>
                    <a:pt x="416" y="2085"/>
                  </a:lnTo>
                  <a:lnTo>
                    <a:pt x="416" y="2084"/>
                  </a:lnTo>
                  <a:lnTo>
                    <a:pt x="418" y="2082"/>
                  </a:lnTo>
                  <a:lnTo>
                    <a:pt x="419" y="2082"/>
                  </a:lnTo>
                  <a:lnTo>
                    <a:pt x="421" y="2082"/>
                  </a:lnTo>
                  <a:lnTo>
                    <a:pt x="424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7" y="2087"/>
                  </a:lnTo>
                  <a:lnTo>
                    <a:pt x="427" y="2087"/>
                  </a:lnTo>
                  <a:lnTo>
                    <a:pt x="428" y="2090"/>
                  </a:lnTo>
                  <a:lnTo>
                    <a:pt x="428" y="2090"/>
                  </a:lnTo>
                  <a:lnTo>
                    <a:pt x="430" y="2091"/>
                  </a:lnTo>
                  <a:lnTo>
                    <a:pt x="430" y="2093"/>
                  </a:lnTo>
                  <a:lnTo>
                    <a:pt x="430" y="2096"/>
                  </a:lnTo>
                  <a:lnTo>
                    <a:pt x="431" y="2101"/>
                  </a:lnTo>
                  <a:lnTo>
                    <a:pt x="431" y="2102"/>
                  </a:lnTo>
                  <a:lnTo>
                    <a:pt x="430" y="2108"/>
                  </a:lnTo>
                  <a:lnTo>
                    <a:pt x="430" y="2111"/>
                  </a:lnTo>
                  <a:lnTo>
                    <a:pt x="431" y="2115"/>
                  </a:lnTo>
                  <a:lnTo>
                    <a:pt x="435" y="2115"/>
                  </a:lnTo>
                  <a:lnTo>
                    <a:pt x="439" y="2111"/>
                  </a:lnTo>
                  <a:lnTo>
                    <a:pt x="444" y="2107"/>
                  </a:lnTo>
                  <a:lnTo>
                    <a:pt x="445" y="2101"/>
                  </a:lnTo>
                  <a:lnTo>
                    <a:pt x="444" y="2099"/>
                  </a:lnTo>
                  <a:lnTo>
                    <a:pt x="444" y="2096"/>
                  </a:lnTo>
                  <a:lnTo>
                    <a:pt x="442" y="2093"/>
                  </a:lnTo>
                  <a:lnTo>
                    <a:pt x="441" y="2091"/>
                  </a:lnTo>
                  <a:lnTo>
                    <a:pt x="439" y="2091"/>
                  </a:lnTo>
                  <a:lnTo>
                    <a:pt x="438" y="2090"/>
                  </a:lnTo>
                  <a:lnTo>
                    <a:pt x="436" y="2087"/>
                  </a:lnTo>
                  <a:lnTo>
                    <a:pt x="436" y="2082"/>
                  </a:lnTo>
                  <a:lnTo>
                    <a:pt x="435" y="2079"/>
                  </a:lnTo>
                  <a:lnTo>
                    <a:pt x="435" y="2074"/>
                  </a:lnTo>
                  <a:lnTo>
                    <a:pt x="436" y="2073"/>
                  </a:lnTo>
                  <a:lnTo>
                    <a:pt x="436" y="2070"/>
                  </a:lnTo>
                  <a:lnTo>
                    <a:pt x="436" y="2068"/>
                  </a:lnTo>
                  <a:lnTo>
                    <a:pt x="435" y="2067"/>
                  </a:lnTo>
                  <a:lnTo>
                    <a:pt x="435" y="2065"/>
                  </a:lnTo>
                  <a:lnTo>
                    <a:pt x="438" y="2062"/>
                  </a:lnTo>
                  <a:lnTo>
                    <a:pt x="439" y="2061"/>
                  </a:lnTo>
                  <a:lnTo>
                    <a:pt x="441" y="2061"/>
                  </a:lnTo>
                  <a:lnTo>
                    <a:pt x="444" y="2061"/>
                  </a:lnTo>
                  <a:lnTo>
                    <a:pt x="444" y="2061"/>
                  </a:lnTo>
                  <a:lnTo>
                    <a:pt x="445" y="2059"/>
                  </a:lnTo>
                  <a:lnTo>
                    <a:pt x="445" y="2059"/>
                  </a:lnTo>
                  <a:lnTo>
                    <a:pt x="448" y="2059"/>
                  </a:lnTo>
                  <a:lnTo>
                    <a:pt x="450" y="2059"/>
                  </a:lnTo>
                  <a:lnTo>
                    <a:pt x="450" y="2058"/>
                  </a:lnTo>
                  <a:lnTo>
                    <a:pt x="450" y="2056"/>
                  </a:lnTo>
                  <a:lnTo>
                    <a:pt x="451" y="2058"/>
                  </a:lnTo>
                  <a:lnTo>
                    <a:pt x="455" y="2059"/>
                  </a:lnTo>
                  <a:lnTo>
                    <a:pt x="455" y="2059"/>
                  </a:lnTo>
                  <a:lnTo>
                    <a:pt x="455" y="2061"/>
                  </a:lnTo>
                  <a:lnTo>
                    <a:pt x="456" y="2065"/>
                  </a:lnTo>
                  <a:lnTo>
                    <a:pt x="455" y="2071"/>
                  </a:lnTo>
                  <a:lnTo>
                    <a:pt x="453" y="2076"/>
                  </a:lnTo>
                  <a:lnTo>
                    <a:pt x="453" y="2082"/>
                  </a:lnTo>
                  <a:lnTo>
                    <a:pt x="451" y="2076"/>
                  </a:lnTo>
                  <a:lnTo>
                    <a:pt x="450" y="2068"/>
                  </a:lnTo>
                  <a:lnTo>
                    <a:pt x="448" y="2064"/>
                  </a:lnTo>
                  <a:lnTo>
                    <a:pt x="445" y="2068"/>
                  </a:lnTo>
                  <a:lnTo>
                    <a:pt x="444" y="2071"/>
                  </a:lnTo>
                  <a:lnTo>
                    <a:pt x="442" y="2078"/>
                  </a:lnTo>
                  <a:lnTo>
                    <a:pt x="441" y="2081"/>
                  </a:lnTo>
                  <a:lnTo>
                    <a:pt x="441" y="2084"/>
                  </a:lnTo>
                  <a:lnTo>
                    <a:pt x="442" y="2088"/>
                  </a:lnTo>
                  <a:lnTo>
                    <a:pt x="444" y="2090"/>
                  </a:lnTo>
                  <a:lnTo>
                    <a:pt x="445" y="2088"/>
                  </a:lnTo>
                  <a:lnTo>
                    <a:pt x="445" y="2093"/>
                  </a:lnTo>
                  <a:lnTo>
                    <a:pt x="445" y="2096"/>
                  </a:lnTo>
                  <a:lnTo>
                    <a:pt x="447" y="2101"/>
                  </a:lnTo>
                  <a:lnTo>
                    <a:pt x="448" y="2104"/>
                  </a:lnTo>
                  <a:lnTo>
                    <a:pt x="447" y="2107"/>
                  </a:lnTo>
                  <a:lnTo>
                    <a:pt x="447" y="2110"/>
                  </a:lnTo>
                  <a:lnTo>
                    <a:pt x="447" y="2113"/>
                  </a:lnTo>
                  <a:lnTo>
                    <a:pt x="448" y="2116"/>
                  </a:lnTo>
                  <a:lnTo>
                    <a:pt x="450" y="2118"/>
                  </a:lnTo>
                  <a:lnTo>
                    <a:pt x="450" y="2119"/>
                  </a:lnTo>
                  <a:lnTo>
                    <a:pt x="450" y="2119"/>
                  </a:lnTo>
                  <a:lnTo>
                    <a:pt x="450" y="2122"/>
                  </a:lnTo>
                  <a:lnTo>
                    <a:pt x="450" y="2124"/>
                  </a:lnTo>
                  <a:lnTo>
                    <a:pt x="450" y="2125"/>
                  </a:lnTo>
                  <a:lnTo>
                    <a:pt x="448" y="2125"/>
                  </a:lnTo>
                  <a:lnTo>
                    <a:pt x="447" y="2125"/>
                  </a:lnTo>
                  <a:lnTo>
                    <a:pt x="448" y="2121"/>
                  </a:lnTo>
                  <a:lnTo>
                    <a:pt x="448" y="2119"/>
                  </a:lnTo>
                  <a:lnTo>
                    <a:pt x="448" y="2118"/>
                  </a:lnTo>
                  <a:lnTo>
                    <a:pt x="447" y="2118"/>
                  </a:lnTo>
                  <a:lnTo>
                    <a:pt x="445" y="2121"/>
                  </a:lnTo>
                  <a:lnTo>
                    <a:pt x="444" y="2124"/>
                  </a:lnTo>
                  <a:lnTo>
                    <a:pt x="444" y="2127"/>
                  </a:lnTo>
                  <a:lnTo>
                    <a:pt x="444" y="2128"/>
                  </a:lnTo>
                  <a:lnTo>
                    <a:pt x="447" y="2130"/>
                  </a:lnTo>
                  <a:lnTo>
                    <a:pt x="448" y="2130"/>
                  </a:lnTo>
                  <a:lnTo>
                    <a:pt x="448" y="2131"/>
                  </a:lnTo>
                  <a:lnTo>
                    <a:pt x="448" y="2133"/>
                  </a:lnTo>
                  <a:lnTo>
                    <a:pt x="447" y="2135"/>
                  </a:lnTo>
                  <a:lnTo>
                    <a:pt x="448" y="2138"/>
                  </a:lnTo>
                  <a:lnTo>
                    <a:pt x="448" y="2141"/>
                  </a:lnTo>
                  <a:lnTo>
                    <a:pt x="450" y="2144"/>
                  </a:lnTo>
                  <a:lnTo>
                    <a:pt x="451" y="2145"/>
                  </a:lnTo>
                  <a:lnTo>
                    <a:pt x="451" y="2144"/>
                  </a:lnTo>
                  <a:lnTo>
                    <a:pt x="453" y="2142"/>
                  </a:lnTo>
                  <a:lnTo>
                    <a:pt x="453" y="2141"/>
                  </a:lnTo>
                  <a:lnTo>
                    <a:pt x="455" y="2142"/>
                  </a:lnTo>
                  <a:lnTo>
                    <a:pt x="455" y="2142"/>
                  </a:lnTo>
                  <a:lnTo>
                    <a:pt x="456" y="2144"/>
                  </a:lnTo>
                  <a:lnTo>
                    <a:pt x="458" y="2144"/>
                  </a:lnTo>
                  <a:lnTo>
                    <a:pt x="456" y="2147"/>
                  </a:lnTo>
                  <a:lnTo>
                    <a:pt x="455" y="2151"/>
                  </a:lnTo>
                  <a:lnTo>
                    <a:pt x="453" y="2155"/>
                  </a:lnTo>
                  <a:lnTo>
                    <a:pt x="455" y="2158"/>
                  </a:lnTo>
                  <a:lnTo>
                    <a:pt x="455" y="2158"/>
                  </a:lnTo>
                  <a:lnTo>
                    <a:pt x="456" y="2155"/>
                  </a:lnTo>
                  <a:lnTo>
                    <a:pt x="456" y="2153"/>
                  </a:lnTo>
                  <a:lnTo>
                    <a:pt x="456" y="2156"/>
                  </a:lnTo>
                  <a:lnTo>
                    <a:pt x="458" y="2159"/>
                  </a:lnTo>
                  <a:lnTo>
                    <a:pt x="458" y="2162"/>
                  </a:lnTo>
                  <a:lnTo>
                    <a:pt x="459" y="2162"/>
                  </a:lnTo>
                  <a:lnTo>
                    <a:pt x="461" y="2165"/>
                  </a:lnTo>
                  <a:lnTo>
                    <a:pt x="462" y="2167"/>
                  </a:lnTo>
                  <a:lnTo>
                    <a:pt x="462" y="2165"/>
                  </a:lnTo>
                  <a:lnTo>
                    <a:pt x="462" y="2164"/>
                  </a:lnTo>
                  <a:lnTo>
                    <a:pt x="462" y="2164"/>
                  </a:lnTo>
                  <a:lnTo>
                    <a:pt x="464" y="2164"/>
                  </a:lnTo>
                  <a:lnTo>
                    <a:pt x="464" y="2162"/>
                  </a:lnTo>
                  <a:lnTo>
                    <a:pt x="465" y="2162"/>
                  </a:lnTo>
                  <a:lnTo>
                    <a:pt x="467" y="2161"/>
                  </a:lnTo>
                  <a:lnTo>
                    <a:pt x="465" y="2164"/>
                  </a:lnTo>
                  <a:lnTo>
                    <a:pt x="467" y="2165"/>
                  </a:lnTo>
                  <a:lnTo>
                    <a:pt x="467" y="2168"/>
                  </a:lnTo>
                  <a:lnTo>
                    <a:pt x="467" y="2168"/>
                  </a:lnTo>
                  <a:lnTo>
                    <a:pt x="468" y="2170"/>
                  </a:lnTo>
                  <a:lnTo>
                    <a:pt x="470" y="2168"/>
                  </a:lnTo>
                  <a:lnTo>
                    <a:pt x="470" y="2165"/>
                  </a:lnTo>
                  <a:lnTo>
                    <a:pt x="468" y="2164"/>
                  </a:lnTo>
                  <a:lnTo>
                    <a:pt x="470" y="2164"/>
                  </a:lnTo>
                  <a:lnTo>
                    <a:pt x="473" y="2164"/>
                  </a:lnTo>
                  <a:lnTo>
                    <a:pt x="473" y="2165"/>
                  </a:lnTo>
                  <a:lnTo>
                    <a:pt x="475" y="2167"/>
                  </a:lnTo>
                  <a:lnTo>
                    <a:pt x="476" y="2167"/>
                  </a:lnTo>
                  <a:lnTo>
                    <a:pt x="476" y="2168"/>
                  </a:lnTo>
                  <a:lnTo>
                    <a:pt x="476" y="2171"/>
                  </a:lnTo>
                  <a:lnTo>
                    <a:pt x="481" y="2171"/>
                  </a:lnTo>
                  <a:lnTo>
                    <a:pt x="481" y="2170"/>
                  </a:lnTo>
                  <a:lnTo>
                    <a:pt x="481" y="2168"/>
                  </a:lnTo>
                  <a:lnTo>
                    <a:pt x="481" y="2164"/>
                  </a:lnTo>
                  <a:lnTo>
                    <a:pt x="481" y="2168"/>
                  </a:lnTo>
                  <a:lnTo>
                    <a:pt x="482" y="2168"/>
                  </a:lnTo>
                  <a:lnTo>
                    <a:pt x="484" y="2168"/>
                  </a:lnTo>
                  <a:lnTo>
                    <a:pt x="484" y="2168"/>
                  </a:lnTo>
                  <a:lnTo>
                    <a:pt x="485" y="2165"/>
                  </a:lnTo>
                  <a:lnTo>
                    <a:pt x="485" y="2164"/>
                  </a:lnTo>
                  <a:lnTo>
                    <a:pt x="484" y="2164"/>
                  </a:lnTo>
                  <a:lnTo>
                    <a:pt x="485" y="2162"/>
                  </a:lnTo>
                  <a:lnTo>
                    <a:pt x="487" y="2161"/>
                  </a:lnTo>
                  <a:lnTo>
                    <a:pt x="487" y="2162"/>
                  </a:lnTo>
                  <a:lnTo>
                    <a:pt x="487" y="2162"/>
                  </a:lnTo>
                  <a:lnTo>
                    <a:pt x="487" y="2164"/>
                  </a:lnTo>
                  <a:lnTo>
                    <a:pt x="487" y="2165"/>
                  </a:lnTo>
                  <a:lnTo>
                    <a:pt x="487" y="2165"/>
                  </a:lnTo>
                  <a:lnTo>
                    <a:pt x="487" y="2167"/>
                  </a:lnTo>
                  <a:lnTo>
                    <a:pt x="488" y="2167"/>
                  </a:lnTo>
                  <a:lnTo>
                    <a:pt x="488" y="2167"/>
                  </a:lnTo>
                  <a:lnTo>
                    <a:pt x="488" y="2167"/>
                  </a:lnTo>
                  <a:lnTo>
                    <a:pt x="488" y="2168"/>
                  </a:lnTo>
                  <a:lnTo>
                    <a:pt x="488" y="2168"/>
                  </a:lnTo>
                  <a:lnTo>
                    <a:pt x="487" y="2168"/>
                  </a:lnTo>
                  <a:lnTo>
                    <a:pt x="487" y="2170"/>
                  </a:lnTo>
                  <a:lnTo>
                    <a:pt x="487" y="2170"/>
                  </a:lnTo>
                  <a:lnTo>
                    <a:pt x="487" y="2173"/>
                  </a:lnTo>
                  <a:lnTo>
                    <a:pt x="490" y="2173"/>
                  </a:lnTo>
                  <a:lnTo>
                    <a:pt x="496" y="2173"/>
                  </a:lnTo>
                  <a:lnTo>
                    <a:pt x="499" y="2173"/>
                  </a:lnTo>
                  <a:lnTo>
                    <a:pt x="501" y="2175"/>
                  </a:lnTo>
                  <a:lnTo>
                    <a:pt x="502" y="2178"/>
                  </a:lnTo>
                  <a:lnTo>
                    <a:pt x="502" y="2179"/>
                  </a:lnTo>
                  <a:lnTo>
                    <a:pt x="504" y="2182"/>
                  </a:lnTo>
                  <a:lnTo>
                    <a:pt x="504" y="2184"/>
                  </a:lnTo>
                  <a:lnTo>
                    <a:pt x="505" y="2190"/>
                  </a:lnTo>
                  <a:lnTo>
                    <a:pt x="505" y="2191"/>
                  </a:lnTo>
                  <a:lnTo>
                    <a:pt x="505" y="2191"/>
                  </a:lnTo>
                  <a:lnTo>
                    <a:pt x="505" y="2191"/>
                  </a:lnTo>
                  <a:lnTo>
                    <a:pt x="507" y="2191"/>
                  </a:lnTo>
                  <a:lnTo>
                    <a:pt x="507" y="2195"/>
                  </a:lnTo>
                  <a:lnTo>
                    <a:pt x="507" y="2204"/>
                  </a:lnTo>
                  <a:lnTo>
                    <a:pt x="510" y="2205"/>
                  </a:lnTo>
                  <a:lnTo>
                    <a:pt x="515" y="2207"/>
                  </a:lnTo>
                  <a:lnTo>
                    <a:pt x="519" y="2205"/>
                  </a:lnTo>
                  <a:lnTo>
                    <a:pt x="522" y="2201"/>
                  </a:lnTo>
                  <a:lnTo>
                    <a:pt x="525" y="2193"/>
                  </a:lnTo>
                  <a:lnTo>
                    <a:pt x="525" y="2190"/>
                  </a:lnTo>
                  <a:lnTo>
                    <a:pt x="527" y="2187"/>
                  </a:lnTo>
                  <a:lnTo>
                    <a:pt x="529" y="2181"/>
                  </a:lnTo>
                  <a:lnTo>
                    <a:pt x="529" y="2176"/>
                  </a:lnTo>
                  <a:lnTo>
                    <a:pt x="530" y="2170"/>
                  </a:lnTo>
                  <a:lnTo>
                    <a:pt x="532" y="2161"/>
                  </a:lnTo>
                  <a:lnTo>
                    <a:pt x="532" y="2158"/>
                  </a:lnTo>
                  <a:lnTo>
                    <a:pt x="533" y="2156"/>
                  </a:lnTo>
                  <a:lnTo>
                    <a:pt x="535" y="2153"/>
                  </a:lnTo>
                  <a:lnTo>
                    <a:pt x="535" y="2153"/>
                  </a:lnTo>
                  <a:lnTo>
                    <a:pt x="535" y="2150"/>
                  </a:lnTo>
                  <a:lnTo>
                    <a:pt x="533" y="2147"/>
                  </a:lnTo>
                  <a:lnTo>
                    <a:pt x="532" y="2138"/>
                  </a:lnTo>
                  <a:lnTo>
                    <a:pt x="524" y="2108"/>
                  </a:lnTo>
                  <a:lnTo>
                    <a:pt x="524" y="2105"/>
                  </a:lnTo>
                  <a:lnTo>
                    <a:pt x="524" y="2101"/>
                  </a:lnTo>
                  <a:lnTo>
                    <a:pt x="525" y="2099"/>
                  </a:lnTo>
                  <a:lnTo>
                    <a:pt x="535" y="2093"/>
                  </a:lnTo>
                  <a:lnTo>
                    <a:pt x="538" y="2091"/>
                  </a:lnTo>
                  <a:lnTo>
                    <a:pt x="539" y="2087"/>
                  </a:lnTo>
                  <a:lnTo>
                    <a:pt x="541" y="2085"/>
                  </a:lnTo>
                  <a:lnTo>
                    <a:pt x="541" y="2082"/>
                  </a:lnTo>
                  <a:lnTo>
                    <a:pt x="541" y="2078"/>
                  </a:lnTo>
                  <a:lnTo>
                    <a:pt x="541" y="2074"/>
                  </a:lnTo>
                  <a:lnTo>
                    <a:pt x="539" y="2073"/>
                  </a:lnTo>
                  <a:lnTo>
                    <a:pt x="539" y="2071"/>
                  </a:lnTo>
                  <a:lnTo>
                    <a:pt x="538" y="2070"/>
                  </a:lnTo>
                  <a:lnTo>
                    <a:pt x="536" y="2067"/>
                  </a:lnTo>
                  <a:lnTo>
                    <a:pt x="536" y="2062"/>
                  </a:lnTo>
                  <a:lnTo>
                    <a:pt x="539" y="2061"/>
                  </a:lnTo>
                  <a:lnTo>
                    <a:pt x="539" y="2059"/>
                  </a:lnTo>
                  <a:lnTo>
                    <a:pt x="544" y="2058"/>
                  </a:lnTo>
                  <a:lnTo>
                    <a:pt x="556" y="2059"/>
                  </a:lnTo>
                  <a:lnTo>
                    <a:pt x="559" y="2058"/>
                  </a:lnTo>
                  <a:lnTo>
                    <a:pt x="570" y="2050"/>
                  </a:lnTo>
                  <a:lnTo>
                    <a:pt x="581" y="2036"/>
                  </a:lnTo>
                  <a:lnTo>
                    <a:pt x="584" y="2031"/>
                  </a:lnTo>
                  <a:lnTo>
                    <a:pt x="585" y="2025"/>
                  </a:lnTo>
                  <a:lnTo>
                    <a:pt x="587" y="2019"/>
                  </a:lnTo>
                  <a:lnTo>
                    <a:pt x="587" y="2014"/>
                  </a:lnTo>
                  <a:lnTo>
                    <a:pt x="585" y="2004"/>
                  </a:lnTo>
                  <a:lnTo>
                    <a:pt x="584" y="1999"/>
                  </a:lnTo>
                  <a:lnTo>
                    <a:pt x="584" y="1996"/>
                  </a:lnTo>
                  <a:lnTo>
                    <a:pt x="585" y="1994"/>
                  </a:lnTo>
                  <a:lnTo>
                    <a:pt x="590" y="1990"/>
                  </a:lnTo>
                  <a:lnTo>
                    <a:pt x="592" y="1987"/>
                  </a:lnTo>
                  <a:lnTo>
                    <a:pt x="592" y="1984"/>
                  </a:lnTo>
                  <a:lnTo>
                    <a:pt x="593" y="1981"/>
                  </a:lnTo>
                  <a:lnTo>
                    <a:pt x="593" y="1974"/>
                  </a:lnTo>
                  <a:lnTo>
                    <a:pt x="593" y="1970"/>
                  </a:lnTo>
                  <a:lnTo>
                    <a:pt x="592" y="1967"/>
                  </a:lnTo>
                  <a:lnTo>
                    <a:pt x="584" y="1945"/>
                  </a:lnTo>
                  <a:lnTo>
                    <a:pt x="576" y="1930"/>
                  </a:lnTo>
                  <a:lnTo>
                    <a:pt x="575" y="1924"/>
                  </a:lnTo>
                  <a:lnTo>
                    <a:pt x="573" y="1919"/>
                  </a:lnTo>
                  <a:lnTo>
                    <a:pt x="572" y="1907"/>
                  </a:lnTo>
                  <a:lnTo>
                    <a:pt x="570" y="1902"/>
                  </a:lnTo>
                  <a:lnTo>
                    <a:pt x="567" y="1896"/>
                  </a:lnTo>
                  <a:lnTo>
                    <a:pt x="567" y="1891"/>
                  </a:lnTo>
                  <a:lnTo>
                    <a:pt x="569" y="1890"/>
                  </a:lnTo>
                  <a:lnTo>
                    <a:pt x="585" y="1885"/>
                  </a:lnTo>
                  <a:lnTo>
                    <a:pt x="590" y="1885"/>
                  </a:lnTo>
                  <a:lnTo>
                    <a:pt x="599" y="1887"/>
                  </a:lnTo>
                  <a:lnTo>
                    <a:pt x="601" y="1885"/>
                  </a:lnTo>
                  <a:lnTo>
                    <a:pt x="601" y="1884"/>
                  </a:lnTo>
                  <a:lnTo>
                    <a:pt x="601" y="1884"/>
                  </a:lnTo>
                  <a:lnTo>
                    <a:pt x="602" y="1873"/>
                  </a:lnTo>
                  <a:lnTo>
                    <a:pt x="602" y="1870"/>
                  </a:lnTo>
                  <a:lnTo>
                    <a:pt x="604" y="1870"/>
                  </a:lnTo>
                  <a:lnTo>
                    <a:pt x="609" y="1860"/>
                  </a:lnTo>
                  <a:lnTo>
                    <a:pt x="610" y="1857"/>
                  </a:lnTo>
                  <a:lnTo>
                    <a:pt x="612" y="1853"/>
                  </a:lnTo>
                  <a:lnTo>
                    <a:pt x="615" y="1839"/>
                  </a:lnTo>
                  <a:lnTo>
                    <a:pt x="615" y="1836"/>
                  </a:lnTo>
                  <a:lnTo>
                    <a:pt x="613" y="1834"/>
                  </a:lnTo>
                  <a:lnTo>
                    <a:pt x="593" y="1808"/>
                  </a:lnTo>
                  <a:lnTo>
                    <a:pt x="592" y="1805"/>
                  </a:lnTo>
                  <a:lnTo>
                    <a:pt x="589" y="1805"/>
                  </a:lnTo>
                  <a:lnTo>
                    <a:pt x="584" y="1803"/>
                  </a:lnTo>
                  <a:lnTo>
                    <a:pt x="581" y="1803"/>
                  </a:lnTo>
                  <a:lnTo>
                    <a:pt x="579" y="1802"/>
                  </a:lnTo>
                  <a:lnTo>
                    <a:pt x="573" y="1794"/>
                  </a:lnTo>
                  <a:lnTo>
                    <a:pt x="570" y="1791"/>
                  </a:lnTo>
                  <a:lnTo>
                    <a:pt x="561" y="1782"/>
                  </a:lnTo>
                  <a:lnTo>
                    <a:pt x="559" y="1780"/>
                  </a:lnTo>
                  <a:lnTo>
                    <a:pt x="565" y="1740"/>
                  </a:lnTo>
                  <a:lnTo>
                    <a:pt x="572" y="1699"/>
                  </a:lnTo>
                  <a:lnTo>
                    <a:pt x="572" y="1693"/>
                  </a:lnTo>
                  <a:lnTo>
                    <a:pt x="572" y="1691"/>
                  </a:lnTo>
                  <a:lnTo>
                    <a:pt x="570" y="1683"/>
                  </a:lnTo>
                  <a:lnTo>
                    <a:pt x="569" y="1682"/>
                  </a:lnTo>
                  <a:lnTo>
                    <a:pt x="555" y="1643"/>
                  </a:lnTo>
                  <a:lnTo>
                    <a:pt x="555" y="1640"/>
                  </a:lnTo>
                  <a:lnTo>
                    <a:pt x="556" y="1636"/>
                  </a:lnTo>
                  <a:lnTo>
                    <a:pt x="558" y="1626"/>
                  </a:lnTo>
                  <a:lnTo>
                    <a:pt x="559" y="1623"/>
                  </a:lnTo>
                  <a:lnTo>
                    <a:pt x="559" y="1619"/>
                  </a:lnTo>
                  <a:lnTo>
                    <a:pt x="555" y="1594"/>
                  </a:lnTo>
                  <a:lnTo>
                    <a:pt x="555" y="1591"/>
                  </a:lnTo>
                  <a:lnTo>
                    <a:pt x="556" y="1588"/>
                  </a:lnTo>
                  <a:lnTo>
                    <a:pt x="564" y="1576"/>
                  </a:lnTo>
                  <a:lnTo>
                    <a:pt x="553" y="1542"/>
                  </a:lnTo>
                  <a:lnTo>
                    <a:pt x="547" y="1528"/>
                  </a:lnTo>
                  <a:lnTo>
                    <a:pt x="564" y="1500"/>
                  </a:lnTo>
                  <a:lnTo>
                    <a:pt x="564" y="1497"/>
                  </a:lnTo>
                  <a:lnTo>
                    <a:pt x="564" y="1494"/>
                  </a:lnTo>
                  <a:lnTo>
                    <a:pt x="561" y="1477"/>
                  </a:lnTo>
                  <a:lnTo>
                    <a:pt x="570" y="1466"/>
                  </a:lnTo>
                  <a:lnTo>
                    <a:pt x="584" y="1442"/>
                  </a:lnTo>
                  <a:lnTo>
                    <a:pt x="599" y="1417"/>
                  </a:lnTo>
                  <a:lnTo>
                    <a:pt x="604" y="1411"/>
                  </a:lnTo>
                  <a:lnTo>
                    <a:pt x="621" y="1398"/>
                  </a:lnTo>
                  <a:lnTo>
                    <a:pt x="639" y="1394"/>
                  </a:lnTo>
                  <a:lnTo>
                    <a:pt x="666" y="1400"/>
                  </a:lnTo>
                  <a:lnTo>
                    <a:pt x="692" y="1408"/>
                  </a:lnTo>
                  <a:lnTo>
                    <a:pt x="695" y="1408"/>
                  </a:lnTo>
                  <a:lnTo>
                    <a:pt x="695" y="1406"/>
                  </a:lnTo>
                  <a:lnTo>
                    <a:pt x="707" y="1380"/>
                  </a:lnTo>
                  <a:lnTo>
                    <a:pt x="709" y="1377"/>
                  </a:lnTo>
                  <a:lnTo>
                    <a:pt x="709" y="1374"/>
                  </a:lnTo>
                  <a:lnTo>
                    <a:pt x="706" y="1334"/>
                  </a:lnTo>
                  <a:lnTo>
                    <a:pt x="704" y="1329"/>
                  </a:lnTo>
                  <a:lnTo>
                    <a:pt x="701" y="1328"/>
                  </a:lnTo>
                  <a:lnTo>
                    <a:pt x="695" y="1326"/>
                  </a:lnTo>
                  <a:lnTo>
                    <a:pt x="692" y="1325"/>
                  </a:lnTo>
                  <a:lnTo>
                    <a:pt x="670" y="1309"/>
                  </a:lnTo>
                  <a:lnTo>
                    <a:pt x="690" y="1274"/>
                  </a:lnTo>
                  <a:lnTo>
                    <a:pt x="710" y="1238"/>
                  </a:lnTo>
                  <a:lnTo>
                    <a:pt x="710" y="1238"/>
                  </a:lnTo>
                  <a:lnTo>
                    <a:pt x="719" y="1221"/>
                  </a:lnTo>
                  <a:lnTo>
                    <a:pt x="721" y="1217"/>
                  </a:lnTo>
                  <a:lnTo>
                    <a:pt x="721" y="1215"/>
                  </a:lnTo>
                  <a:lnTo>
                    <a:pt x="723" y="1215"/>
                  </a:lnTo>
                  <a:lnTo>
                    <a:pt x="724" y="1198"/>
                  </a:lnTo>
                  <a:lnTo>
                    <a:pt x="726" y="1194"/>
                  </a:lnTo>
                  <a:lnTo>
                    <a:pt x="727" y="1191"/>
                  </a:lnTo>
                  <a:lnTo>
                    <a:pt x="733" y="1184"/>
                  </a:lnTo>
                  <a:lnTo>
                    <a:pt x="735" y="1180"/>
                  </a:lnTo>
                  <a:lnTo>
                    <a:pt x="735" y="1172"/>
                  </a:lnTo>
                  <a:lnTo>
                    <a:pt x="735" y="1163"/>
                  </a:lnTo>
                  <a:lnTo>
                    <a:pt x="735" y="1154"/>
                  </a:lnTo>
                  <a:lnTo>
                    <a:pt x="738" y="1110"/>
                  </a:lnTo>
                  <a:lnTo>
                    <a:pt x="740" y="1109"/>
                  </a:lnTo>
                  <a:lnTo>
                    <a:pt x="744" y="1097"/>
                  </a:lnTo>
                  <a:lnTo>
                    <a:pt x="746" y="1094"/>
                  </a:lnTo>
                  <a:lnTo>
                    <a:pt x="744" y="1086"/>
                  </a:lnTo>
                  <a:lnTo>
                    <a:pt x="736" y="1033"/>
                  </a:lnTo>
                  <a:lnTo>
                    <a:pt x="756" y="1032"/>
                  </a:lnTo>
                  <a:lnTo>
                    <a:pt x="775" y="1029"/>
                  </a:lnTo>
                  <a:lnTo>
                    <a:pt x="807" y="1006"/>
                  </a:lnTo>
                  <a:lnTo>
                    <a:pt x="807" y="1004"/>
                  </a:lnTo>
                  <a:lnTo>
                    <a:pt x="807" y="1000"/>
                  </a:lnTo>
                  <a:lnTo>
                    <a:pt x="807" y="993"/>
                  </a:lnTo>
                  <a:lnTo>
                    <a:pt x="807" y="992"/>
                  </a:lnTo>
                  <a:lnTo>
                    <a:pt x="803" y="972"/>
                  </a:lnTo>
                  <a:lnTo>
                    <a:pt x="803" y="966"/>
                  </a:lnTo>
                  <a:lnTo>
                    <a:pt x="821" y="946"/>
                  </a:lnTo>
                  <a:lnTo>
                    <a:pt x="849" y="892"/>
                  </a:lnTo>
                  <a:lnTo>
                    <a:pt x="855" y="883"/>
                  </a:lnTo>
                  <a:lnTo>
                    <a:pt x="869" y="869"/>
                  </a:lnTo>
                  <a:lnTo>
                    <a:pt x="874" y="866"/>
                  </a:lnTo>
                  <a:lnTo>
                    <a:pt x="875" y="864"/>
                  </a:lnTo>
                  <a:lnTo>
                    <a:pt x="877" y="861"/>
                  </a:lnTo>
                  <a:lnTo>
                    <a:pt x="878" y="835"/>
                  </a:lnTo>
                  <a:lnTo>
                    <a:pt x="878" y="832"/>
                  </a:lnTo>
                  <a:lnTo>
                    <a:pt x="855" y="789"/>
                  </a:lnTo>
                  <a:lnTo>
                    <a:pt x="860" y="775"/>
                  </a:lnTo>
                  <a:lnTo>
                    <a:pt x="861" y="773"/>
                  </a:lnTo>
                  <a:lnTo>
                    <a:pt x="874" y="770"/>
                  </a:lnTo>
                  <a:lnTo>
                    <a:pt x="878" y="767"/>
                  </a:lnTo>
                  <a:lnTo>
                    <a:pt x="881" y="762"/>
                  </a:lnTo>
                  <a:lnTo>
                    <a:pt x="889" y="750"/>
                  </a:lnTo>
                  <a:lnTo>
                    <a:pt x="890" y="746"/>
                  </a:lnTo>
                  <a:lnTo>
                    <a:pt x="903" y="701"/>
                  </a:lnTo>
                  <a:lnTo>
                    <a:pt x="904" y="696"/>
                  </a:lnTo>
                  <a:lnTo>
                    <a:pt x="906" y="693"/>
                  </a:lnTo>
                  <a:lnTo>
                    <a:pt x="937" y="669"/>
                  </a:lnTo>
                  <a:lnTo>
                    <a:pt x="943" y="656"/>
                  </a:lnTo>
                  <a:lnTo>
                    <a:pt x="944" y="655"/>
                  </a:lnTo>
                  <a:lnTo>
                    <a:pt x="966" y="669"/>
                  </a:lnTo>
                  <a:lnTo>
                    <a:pt x="987" y="682"/>
                  </a:lnTo>
                  <a:lnTo>
                    <a:pt x="989" y="681"/>
                  </a:lnTo>
                  <a:lnTo>
                    <a:pt x="991" y="678"/>
                  </a:lnTo>
                  <a:lnTo>
                    <a:pt x="994" y="673"/>
                  </a:lnTo>
                  <a:lnTo>
                    <a:pt x="1008" y="644"/>
                  </a:lnTo>
                  <a:lnTo>
                    <a:pt x="1009" y="636"/>
                  </a:lnTo>
                  <a:lnTo>
                    <a:pt x="1004" y="596"/>
                  </a:lnTo>
                  <a:lnTo>
                    <a:pt x="1004" y="590"/>
                  </a:lnTo>
                  <a:lnTo>
                    <a:pt x="1006" y="572"/>
                  </a:lnTo>
                  <a:lnTo>
                    <a:pt x="1006" y="570"/>
                  </a:lnTo>
                  <a:lnTo>
                    <a:pt x="1008" y="568"/>
                  </a:lnTo>
                  <a:lnTo>
                    <a:pt x="1009" y="568"/>
                  </a:lnTo>
                  <a:lnTo>
                    <a:pt x="1028" y="561"/>
                  </a:lnTo>
                  <a:lnTo>
                    <a:pt x="1031" y="562"/>
                  </a:lnTo>
                  <a:lnTo>
                    <a:pt x="1043" y="576"/>
                  </a:lnTo>
                  <a:lnTo>
                    <a:pt x="1048" y="576"/>
                  </a:lnTo>
                  <a:lnTo>
                    <a:pt x="1072" y="575"/>
                  </a:lnTo>
                  <a:lnTo>
                    <a:pt x="1105" y="592"/>
                  </a:lnTo>
                  <a:lnTo>
                    <a:pt x="1138" y="605"/>
                  </a:lnTo>
                  <a:lnTo>
                    <a:pt x="1142" y="605"/>
                  </a:lnTo>
                  <a:lnTo>
                    <a:pt x="1145" y="604"/>
                  </a:lnTo>
                  <a:lnTo>
                    <a:pt x="1162" y="581"/>
                  </a:lnTo>
                  <a:lnTo>
                    <a:pt x="1142" y="567"/>
                  </a:lnTo>
                  <a:lnTo>
                    <a:pt x="1155" y="555"/>
                  </a:lnTo>
                  <a:lnTo>
                    <a:pt x="1162" y="544"/>
                  </a:lnTo>
                  <a:lnTo>
                    <a:pt x="1169" y="521"/>
                  </a:lnTo>
                  <a:lnTo>
                    <a:pt x="1169" y="518"/>
                  </a:lnTo>
                  <a:lnTo>
                    <a:pt x="1171" y="513"/>
                  </a:lnTo>
                  <a:lnTo>
                    <a:pt x="1169" y="495"/>
                  </a:lnTo>
                  <a:lnTo>
                    <a:pt x="1169" y="491"/>
                  </a:lnTo>
                  <a:lnTo>
                    <a:pt x="1151" y="468"/>
                  </a:lnTo>
                  <a:lnTo>
                    <a:pt x="1171" y="467"/>
                  </a:lnTo>
                  <a:lnTo>
                    <a:pt x="1189" y="465"/>
                  </a:lnTo>
                  <a:lnTo>
                    <a:pt x="1197" y="453"/>
                  </a:lnTo>
                  <a:lnTo>
                    <a:pt x="1198" y="451"/>
                  </a:lnTo>
                  <a:lnTo>
                    <a:pt x="1220" y="465"/>
                  </a:lnTo>
                  <a:lnTo>
                    <a:pt x="1223" y="465"/>
                  </a:lnTo>
                  <a:lnTo>
                    <a:pt x="1225" y="464"/>
                  </a:lnTo>
                  <a:lnTo>
                    <a:pt x="1229" y="454"/>
                  </a:lnTo>
                  <a:lnTo>
                    <a:pt x="1220" y="436"/>
                  </a:lnTo>
                  <a:lnTo>
                    <a:pt x="1223" y="428"/>
                  </a:lnTo>
                  <a:lnTo>
                    <a:pt x="1225" y="425"/>
                  </a:lnTo>
                  <a:lnTo>
                    <a:pt x="1225" y="424"/>
                  </a:lnTo>
                  <a:lnTo>
                    <a:pt x="1242" y="411"/>
                  </a:lnTo>
                  <a:lnTo>
                    <a:pt x="1266" y="416"/>
                  </a:lnTo>
                  <a:lnTo>
                    <a:pt x="1268" y="418"/>
                  </a:lnTo>
                  <a:lnTo>
                    <a:pt x="1288" y="459"/>
                  </a:lnTo>
                  <a:lnTo>
                    <a:pt x="1294" y="470"/>
                  </a:lnTo>
                  <a:lnTo>
                    <a:pt x="1305" y="482"/>
                  </a:lnTo>
                  <a:lnTo>
                    <a:pt x="1305" y="485"/>
                  </a:lnTo>
                  <a:lnTo>
                    <a:pt x="1306" y="490"/>
                  </a:lnTo>
                  <a:lnTo>
                    <a:pt x="1308" y="491"/>
                  </a:lnTo>
                  <a:lnTo>
                    <a:pt x="1312" y="502"/>
                  </a:lnTo>
                  <a:lnTo>
                    <a:pt x="1319" y="507"/>
                  </a:lnTo>
                  <a:lnTo>
                    <a:pt x="1320" y="510"/>
                  </a:lnTo>
                  <a:lnTo>
                    <a:pt x="1322" y="528"/>
                  </a:lnTo>
                  <a:lnTo>
                    <a:pt x="1323" y="531"/>
                  </a:lnTo>
                  <a:lnTo>
                    <a:pt x="1325" y="533"/>
                  </a:lnTo>
                  <a:lnTo>
                    <a:pt x="1332" y="530"/>
                  </a:lnTo>
                  <a:lnTo>
                    <a:pt x="1336" y="530"/>
                  </a:lnTo>
                  <a:lnTo>
                    <a:pt x="1337" y="530"/>
                  </a:lnTo>
                  <a:lnTo>
                    <a:pt x="1356" y="539"/>
                  </a:lnTo>
                  <a:lnTo>
                    <a:pt x="1368" y="538"/>
                  </a:lnTo>
                  <a:lnTo>
                    <a:pt x="1373" y="539"/>
                  </a:lnTo>
                  <a:lnTo>
                    <a:pt x="1374" y="541"/>
                  </a:lnTo>
                  <a:lnTo>
                    <a:pt x="1380" y="552"/>
                  </a:lnTo>
                  <a:lnTo>
                    <a:pt x="1382" y="552"/>
                  </a:lnTo>
                  <a:lnTo>
                    <a:pt x="1403" y="538"/>
                  </a:lnTo>
                  <a:lnTo>
                    <a:pt x="1414" y="536"/>
                  </a:lnTo>
                  <a:lnTo>
                    <a:pt x="1422" y="531"/>
                  </a:lnTo>
                  <a:lnTo>
                    <a:pt x="1423" y="524"/>
                  </a:lnTo>
                  <a:lnTo>
                    <a:pt x="1425" y="515"/>
                  </a:lnTo>
                  <a:lnTo>
                    <a:pt x="1431" y="511"/>
                  </a:lnTo>
                  <a:lnTo>
                    <a:pt x="1436" y="511"/>
                  </a:lnTo>
                  <a:lnTo>
                    <a:pt x="1451" y="519"/>
                  </a:lnTo>
                  <a:lnTo>
                    <a:pt x="1454" y="524"/>
                  </a:lnTo>
                  <a:lnTo>
                    <a:pt x="1456" y="525"/>
                  </a:lnTo>
                  <a:lnTo>
                    <a:pt x="1466" y="533"/>
                  </a:lnTo>
                  <a:lnTo>
                    <a:pt x="1477" y="538"/>
                  </a:lnTo>
                  <a:lnTo>
                    <a:pt x="1491" y="542"/>
                  </a:lnTo>
                  <a:lnTo>
                    <a:pt x="1497" y="547"/>
                  </a:lnTo>
                  <a:lnTo>
                    <a:pt x="1503" y="556"/>
                  </a:lnTo>
                  <a:lnTo>
                    <a:pt x="1505" y="562"/>
                  </a:lnTo>
                  <a:lnTo>
                    <a:pt x="1507" y="564"/>
                  </a:lnTo>
                  <a:lnTo>
                    <a:pt x="1508" y="564"/>
                  </a:lnTo>
                  <a:lnTo>
                    <a:pt x="1511" y="561"/>
                  </a:lnTo>
                  <a:lnTo>
                    <a:pt x="1511" y="558"/>
                  </a:lnTo>
                  <a:lnTo>
                    <a:pt x="1513" y="555"/>
                  </a:lnTo>
                  <a:lnTo>
                    <a:pt x="1514" y="552"/>
                  </a:lnTo>
                  <a:lnTo>
                    <a:pt x="1516" y="553"/>
                  </a:lnTo>
                  <a:lnTo>
                    <a:pt x="1520" y="548"/>
                  </a:lnTo>
                  <a:lnTo>
                    <a:pt x="1523" y="548"/>
                  </a:lnTo>
                  <a:lnTo>
                    <a:pt x="1525" y="547"/>
                  </a:lnTo>
                  <a:lnTo>
                    <a:pt x="1525" y="545"/>
                  </a:lnTo>
                  <a:lnTo>
                    <a:pt x="1527" y="541"/>
                  </a:lnTo>
                  <a:lnTo>
                    <a:pt x="1525" y="539"/>
                  </a:lnTo>
                  <a:lnTo>
                    <a:pt x="1525" y="538"/>
                  </a:lnTo>
                  <a:lnTo>
                    <a:pt x="1527" y="538"/>
                  </a:lnTo>
                  <a:lnTo>
                    <a:pt x="1527" y="536"/>
                  </a:lnTo>
                  <a:lnTo>
                    <a:pt x="1527" y="527"/>
                  </a:lnTo>
                  <a:lnTo>
                    <a:pt x="1527" y="522"/>
                  </a:lnTo>
                  <a:lnTo>
                    <a:pt x="1528" y="518"/>
                  </a:lnTo>
                  <a:lnTo>
                    <a:pt x="1531" y="511"/>
                  </a:lnTo>
                  <a:lnTo>
                    <a:pt x="1545" y="499"/>
                  </a:lnTo>
                  <a:lnTo>
                    <a:pt x="1548" y="498"/>
                  </a:lnTo>
                  <a:lnTo>
                    <a:pt x="1551" y="496"/>
                  </a:lnTo>
                  <a:lnTo>
                    <a:pt x="1560" y="499"/>
                  </a:lnTo>
                  <a:lnTo>
                    <a:pt x="1562" y="499"/>
                  </a:lnTo>
                  <a:lnTo>
                    <a:pt x="1565" y="498"/>
                  </a:lnTo>
                  <a:lnTo>
                    <a:pt x="1565" y="495"/>
                  </a:lnTo>
                  <a:lnTo>
                    <a:pt x="1567" y="491"/>
                  </a:lnTo>
                  <a:lnTo>
                    <a:pt x="1568" y="488"/>
                  </a:lnTo>
                  <a:lnTo>
                    <a:pt x="1570" y="485"/>
                  </a:lnTo>
                  <a:lnTo>
                    <a:pt x="1571" y="482"/>
                  </a:lnTo>
                  <a:lnTo>
                    <a:pt x="1571" y="481"/>
                  </a:lnTo>
                  <a:lnTo>
                    <a:pt x="1571" y="478"/>
                  </a:lnTo>
                  <a:lnTo>
                    <a:pt x="1576" y="475"/>
                  </a:lnTo>
                  <a:lnTo>
                    <a:pt x="1576" y="471"/>
                  </a:lnTo>
                  <a:lnTo>
                    <a:pt x="1576" y="470"/>
                  </a:lnTo>
                  <a:lnTo>
                    <a:pt x="1574" y="470"/>
                  </a:lnTo>
                  <a:lnTo>
                    <a:pt x="1573" y="468"/>
                  </a:lnTo>
                  <a:lnTo>
                    <a:pt x="1573" y="467"/>
                  </a:lnTo>
                  <a:lnTo>
                    <a:pt x="1573" y="465"/>
                  </a:lnTo>
                  <a:lnTo>
                    <a:pt x="1573" y="465"/>
                  </a:lnTo>
                  <a:lnTo>
                    <a:pt x="1573" y="464"/>
                  </a:lnTo>
                  <a:lnTo>
                    <a:pt x="1571" y="461"/>
                  </a:lnTo>
                  <a:lnTo>
                    <a:pt x="1571" y="459"/>
                  </a:lnTo>
                  <a:lnTo>
                    <a:pt x="1573" y="458"/>
                  </a:lnTo>
                  <a:lnTo>
                    <a:pt x="1573" y="456"/>
                  </a:lnTo>
                  <a:lnTo>
                    <a:pt x="1573" y="448"/>
                  </a:lnTo>
                  <a:lnTo>
                    <a:pt x="1573" y="448"/>
                  </a:lnTo>
                  <a:lnTo>
                    <a:pt x="1573" y="447"/>
                  </a:lnTo>
                  <a:lnTo>
                    <a:pt x="1573" y="447"/>
                  </a:lnTo>
                  <a:lnTo>
                    <a:pt x="1573" y="445"/>
                  </a:lnTo>
                  <a:lnTo>
                    <a:pt x="1573" y="444"/>
                  </a:lnTo>
                  <a:lnTo>
                    <a:pt x="1573" y="439"/>
                  </a:lnTo>
                  <a:lnTo>
                    <a:pt x="1571" y="439"/>
                  </a:lnTo>
                  <a:lnTo>
                    <a:pt x="1571" y="433"/>
                  </a:lnTo>
                  <a:lnTo>
                    <a:pt x="1571" y="427"/>
                  </a:lnTo>
                  <a:lnTo>
                    <a:pt x="1573" y="410"/>
                  </a:lnTo>
                  <a:lnTo>
                    <a:pt x="1574" y="408"/>
                  </a:lnTo>
                  <a:lnTo>
                    <a:pt x="1580" y="396"/>
                  </a:lnTo>
                  <a:lnTo>
                    <a:pt x="1580" y="394"/>
                  </a:lnTo>
                  <a:lnTo>
                    <a:pt x="1579" y="385"/>
                  </a:lnTo>
                  <a:lnTo>
                    <a:pt x="1580" y="381"/>
                  </a:lnTo>
                  <a:lnTo>
                    <a:pt x="1580" y="379"/>
                  </a:lnTo>
                  <a:lnTo>
                    <a:pt x="1582" y="378"/>
                  </a:lnTo>
                  <a:lnTo>
                    <a:pt x="1582" y="373"/>
                  </a:lnTo>
                  <a:lnTo>
                    <a:pt x="1582" y="370"/>
                  </a:lnTo>
                  <a:lnTo>
                    <a:pt x="1584" y="368"/>
                  </a:lnTo>
                  <a:lnTo>
                    <a:pt x="1584" y="367"/>
                  </a:lnTo>
                  <a:lnTo>
                    <a:pt x="1582" y="365"/>
                  </a:lnTo>
                  <a:lnTo>
                    <a:pt x="1582" y="364"/>
                  </a:lnTo>
                  <a:lnTo>
                    <a:pt x="1584" y="361"/>
                  </a:lnTo>
                  <a:lnTo>
                    <a:pt x="1587" y="357"/>
                  </a:lnTo>
                  <a:lnTo>
                    <a:pt x="1590" y="354"/>
                  </a:lnTo>
                  <a:lnTo>
                    <a:pt x="1591" y="350"/>
                  </a:lnTo>
                  <a:lnTo>
                    <a:pt x="1591" y="345"/>
                  </a:lnTo>
                  <a:lnTo>
                    <a:pt x="1588" y="339"/>
                  </a:lnTo>
                  <a:lnTo>
                    <a:pt x="1588" y="337"/>
                  </a:lnTo>
                  <a:lnTo>
                    <a:pt x="1588" y="336"/>
                  </a:lnTo>
                  <a:lnTo>
                    <a:pt x="1588" y="333"/>
                  </a:lnTo>
                  <a:lnTo>
                    <a:pt x="1588" y="331"/>
                  </a:lnTo>
                  <a:lnTo>
                    <a:pt x="1591" y="328"/>
                  </a:lnTo>
                  <a:lnTo>
                    <a:pt x="1593" y="327"/>
                  </a:lnTo>
                  <a:lnTo>
                    <a:pt x="1604" y="324"/>
                  </a:lnTo>
                  <a:lnTo>
                    <a:pt x="1605" y="322"/>
                  </a:lnTo>
                  <a:lnTo>
                    <a:pt x="1607" y="321"/>
                  </a:lnTo>
                  <a:lnTo>
                    <a:pt x="1607" y="319"/>
                  </a:lnTo>
                  <a:lnTo>
                    <a:pt x="1610" y="313"/>
                  </a:lnTo>
                  <a:lnTo>
                    <a:pt x="1614" y="305"/>
                  </a:lnTo>
                  <a:lnTo>
                    <a:pt x="1622" y="296"/>
                  </a:lnTo>
                  <a:lnTo>
                    <a:pt x="1624" y="291"/>
                  </a:lnTo>
                  <a:lnTo>
                    <a:pt x="1622" y="288"/>
                  </a:lnTo>
                  <a:lnTo>
                    <a:pt x="1624" y="287"/>
                  </a:lnTo>
                  <a:lnTo>
                    <a:pt x="1627" y="282"/>
                  </a:lnTo>
                  <a:lnTo>
                    <a:pt x="1628" y="279"/>
                  </a:lnTo>
                  <a:lnTo>
                    <a:pt x="1630" y="277"/>
                  </a:lnTo>
                  <a:lnTo>
                    <a:pt x="1644" y="274"/>
                  </a:lnTo>
                  <a:lnTo>
                    <a:pt x="1648" y="276"/>
                  </a:lnTo>
                  <a:lnTo>
                    <a:pt x="1654" y="274"/>
                  </a:lnTo>
                  <a:lnTo>
                    <a:pt x="1657" y="274"/>
                  </a:lnTo>
                  <a:lnTo>
                    <a:pt x="1661" y="277"/>
                  </a:lnTo>
                  <a:lnTo>
                    <a:pt x="1664" y="277"/>
                  </a:lnTo>
                  <a:lnTo>
                    <a:pt x="1665" y="277"/>
                  </a:lnTo>
                  <a:lnTo>
                    <a:pt x="1671" y="282"/>
                  </a:lnTo>
                  <a:lnTo>
                    <a:pt x="1673" y="282"/>
                  </a:lnTo>
                  <a:lnTo>
                    <a:pt x="1688" y="276"/>
                  </a:lnTo>
                  <a:lnTo>
                    <a:pt x="1691" y="271"/>
                  </a:lnTo>
                  <a:lnTo>
                    <a:pt x="1690" y="271"/>
                  </a:lnTo>
                  <a:lnTo>
                    <a:pt x="1690" y="270"/>
                  </a:lnTo>
                  <a:lnTo>
                    <a:pt x="1688" y="270"/>
                  </a:lnTo>
                  <a:lnTo>
                    <a:pt x="1690" y="268"/>
                  </a:lnTo>
                  <a:lnTo>
                    <a:pt x="1691" y="267"/>
                  </a:lnTo>
                  <a:lnTo>
                    <a:pt x="1691" y="267"/>
                  </a:lnTo>
                  <a:lnTo>
                    <a:pt x="1693" y="267"/>
                  </a:lnTo>
                  <a:lnTo>
                    <a:pt x="1698" y="260"/>
                  </a:lnTo>
                  <a:lnTo>
                    <a:pt x="1707" y="256"/>
                  </a:lnTo>
                  <a:lnTo>
                    <a:pt x="1707" y="251"/>
                  </a:lnTo>
                  <a:lnTo>
                    <a:pt x="1710" y="247"/>
                  </a:lnTo>
                  <a:lnTo>
                    <a:pt x="1714" y="245"/>
                  </a:lnTo>
                  <a:lnTo>
                    <a:pt x="1724" y="248"/>
                  </a:lnTo>
                  <a:lnTo>
                    <a:pt x="1730" y="244"/>
                  </a:lnTo>
                  <a:lnTo>
                    <a:pt x="1731" y="245"/>
                  </a:lnTo>
                  <a:lnTo>
                    <a:pt x="1734" y="250"/>
                  </a:lnTo>
                  <a:lnTo>
                    <a:pt x="1738" y="259"/>
                  </a:lnTo>
                  <a:lnTo>
                    <a:pt x="1751" y="284"/>
                  </a:lnTo>
                  <a:lnTo>
                    <a:pt x="1753" y="285"/>
                  </a:lnTo>
                  <a:lnTo>
                    <a:pt x="1767" y="291"/>
                  </a:lnTo>
                  <a:lnTo>
                    <a:pt x="1767" y="299"/>
                  </a:lnTo>
                  <a:lnTo>
                    <a:pt x="1770" y="304"/>
                  </a:lnTo>
                  <a:lnTo>
                    <a:pt x="1771" y="305"/>
                  </a:lnTo>
                  <a:lnTo>
                    <a:pt x="1775" y="307"/>
                  </a:lnTo>
                  <a:lnTo>
                    <a:pt x="1799" y="319"/>
                  </a:lnTo>
                  <a:lnTo>
                    <a:pt x="1824" y="331"/>
                  </a:lnTo>
                  <a:lnTo>
                    <a:pt x="1825" y="333"/>
                  </a:lnTo>
                  <a:lnTo>
                    <a:pt x="1828" y="350"/>
                  </a:lnTo>
                  <a:lnTo>
                    <a:pt x="1839" y="376"/>
                  </a:lnTo>
                  <a:lnTo>
                    <a:pt x="1830" y="394"/>
                  </a:lnTo>
                  <a:lnTo>
                    <a:pt x="1804" y="428"/>
                  </a:lnTo>
                  <a:lnTo>
                    <a:pt x="1802" y="430"/>
                  </a:lnTo>
                  <a:lnTo>
                    <a:pt x="1802" y="436"/>
                  </a:lnTo>
                  <a:lnTo>
                    <a:pt x="1801" y="451"/>
                  </a:lnTo>
                  <a:lnTo>
                    <a:pt x="1801" y="454"/>
                  </a:lnTo>
                  <a:lnTo>
                    <a:pt x="1802" y="456"/>
                  </a:lnTo>
                  <a:lnTo>
                    <a:pt x="1810" y="467"/>
                  </a:lnTo>
                  <a:lnTo>
                    <a:pt x="1811" y="465"/>
                  </a:lnTo>
                  <a:lnTo>
                    <a:pt x="1815" y="465"/>
                  </a:lnTo>
                  <a:lnTo>
                    <a:pt x="1819" y="465"/>
                  </a:lnTo>
                  <a:lnTo>
                    <a:pt x="1822" y="464"/>
                  </a:lnTo>
                  <a:lnTo>
                    <a:pt x="1827" y="459"/>
                  </a:lnTo>
                  <a:lnTo>
                    <a:pt x="1830" y="453"/>
                  </a:lnTo>
                  <a:lnTo>
                    <a:pt x="1832" y="448"/>
                  </a:lnTo>
                  <a:lnTo>
                    <a:pt x="1833" y="445"/>
                  </a:lnTo>
                  <a:lnTo>
                    <a:pt x="1833" y="438"/>
                  </a:lnTo>
                  <a:lnTo>
                    <a:pt x="1835" y="436"/>
                  </a:lnTo>
                  <a:lnTo>
                    <a:pt x="1836" y="433"/>
                  </a:lnTo>
                  <a:lnTo>
                    <a:pt x="1836" y="431"/>
                  </a:lnTo>
                  <a:lnTo>
                    <a:pt x="1836" y="430"/>
                  </a:lnTo>
                  <a:lnTo>
                    <a:pt x="1836" y="427"/>
                  </a:lnTo>
                  <a:lnTo>
                    <a:pt x="1836" y="425"/>
                  </a:lnTo>
                  <a:lnTo>
                    <a:pt x="1838" y="424"/>
                  </a:lnTo>
                  <a:lnTo>
                    <a:pt x="1838" y="418"/>
                  </a:lnTo>
                  <a:lnTo>
                    <a:pt x="1839" y="414"/>
                  </a:lnTo>
                  <a:lnTo>
                    <a:pt x="1842" y="410"/>
                  </a:lnTo>
                  <a:lnTo>
                    <a:pt x="1845" y="408"/>
                  </a:lnTo>
                  <a:lnTo>
                    <a:pt x="1859" y="407"/>
                  </a:lnTo>
                  <a:lnTo>
                    <a:pt x="1862" y="405"/>
                  </a:lnTo>
                  <a:lnTo>
                    <a:pt x="1868" y="399"/>
                  </a:lnTo>
                  <a:lnTo>
                    <a:pt x="1870" y="399"/>
                  </a:lnTo>
                  <a:lnTo>
                    <a:pt x="1881" y="398"/>
                  </a:lnTo>
                  <a:lnTo>
                    <a:pt x="1884" y="396"/>
                  </a:lnTo>
                  <a:lnTo>
                    <a:pt x="1885" y="394"/>
                  </a:lnTo>
                  <a:lnTo>
                    <a:pt x="1888" y="390"/>
                  </a:lnTo>
                  <a:lnTo>
                    <a:pt x="1898" y="381"/>
                  </a:lnTo>
                  <a:lnTo>
                    <a:pt x="1898" y="378"/>
                  </a:lnTo>
                  <a:lnTo>
                    <a:pt x="1899" y="376"/>
                  </a:lnTo>
                  <a:lnTo>
                    <a:pt x="1899" y="373"/>
                  </a:lnTo>
                  <a:lnTo>
                    <a:pt x="1899" y="370"/>
                  </a:lnTo>
                  <a:lnTo>
                    <a:pt x="1899" y="367"/>
                  </a:lnTo>
                  <a:lnTo>
                    <a:pt x="1901" y="365"/>
                  </a:lnTo>
                  <a:lnTo>
                    <a:pt x="1902" y="364"/>
                  </a:lnTo>
                  <a:lnTo>
                    <a:pt x="1904" y="362"/>
                  </a:lnTo>
                  <a:lnTo>
                    <a:pt x="1905" y="359"/>
                  </a:lnTo>
                  <a:lnTo>
                    <a:pt x="1905" y="356"/>
                  </a:lnTo>
                  <a:lnTo>
                    <a:pt x="1905" y="351"/>
                  </a:lnTo>
                  <a:lnTo>
                    <a:pt x="1904" y="347"/>
                  </a:lnTo>
                  <a:lnTo>
                    <a:pt x="1904" y="345"/>
                  </a:lnTo>
                  <a:lnTo>
                    <a:pt x="1899" y="342"/>
                  </a:lnTo>
                  <a:lnTo>
                    <a:pt x="1898" y="341"/>
                  </a:lnTo>
                  <a:lnTo>
                    <a:pt x="1896" y="339"/>
                  </a:lnTo>
                  <a:lnTo>
                    <a:pt x="1899" y="339"/>
                  </a:lnTo>
                  <a:lnTo>
                    <a:pt x="1902" y="337"/>
                  </a:lnTo>
                  <a:lnTo>
                    <a:pt x="1905" y="339"/>
                  </a:lnTo>
                  <a:lnTo>
                    <a:pt x="1910" y="342"/>
                  </a:lnTo>
                  <a:lnTo>
                    <a:pt x="1924" y="359"/>
                  </a:lnTo>
                  <a:lnTo>
                    <a:pt x="1925" y="361"/>
                  </a:lnTo>
                  <a:lnTo>
                    <a:pt x="1944" y="364"/>
                  </a:lnTo>
                  <a:lnTo>
                    <a:pt x="1952" y="362"/>
                  </a:lnTo>
                  <a:lnTo>
                    <a:pt x="1955" y="359"/>
                  </a:lnTo>
                  <a:lnTo>
                    <a:pt x="1958" y="351"/>
                  </a:lnTo>
                  <a:lnTo>
                    <a:pt x="1958" y="348"/>
                  </a:lnTo>
                  <a:lnTo>
                    <a:pt x="1958" y="331"/>
                  </a:lnTo>
                  <a:lnTo>
                    <a:pt x="1955" y="328"/>
                  </a:lnTo>
                  <a:lnTo>
                    <a:pt x="1953" y="325"/>
                  </a:lnTo>
                  <a:lnTo>
                    <a:pt x="1953" y="324"/>
                  </a:lnTo>
                  <a:lnTo>
                    <a:pt x="1953" y="321"/>
                  </a:lnTo>
                  <a:lnTo>
                    <a:pt x="1953" y="317"/>
                  </a:lnTo>
                  <a:lnTo>
                    <a:pt x="1953" y="314"/>
                  </a:lnTo>
                  <a:lnTo>
                    <a:pt x="1952" y="311"/>
                  </a:lnTo>
                  <a:lnTo>
                    <a:pt x="1950" y="302"/>
                  </a:lnTo>
                  <a:lnTo>
                    <a:pt x="1947" y="307"/>
                  </a:lnTo>
                  <a:lnTo>
                    <a:pt x="1947" y="307"/>
                  </a:lnTo>
                  <a:lnTo>
                    <a:pt x="1944" y="308"/>
                  </a:lnTo>
                  <a:lnTo>
                    <a:pt x="1942" y="310"/>
                  </a:lnTo>
                  <a:lnTo>
                    <a:pt x="1941" y="310"/>
                  </a:lnTo>
                  <a:lnTo>
                    <a:pt x="1941" y="310"/>
                  </a:lnTo>
                  <a:lnTo>
                    <a:pt x="1941" y="308"/>
                  </a:lnTo>
                  <a:lnTo>
                    <a:pt x="1941" y="305"/>
                  </a:lnTo>
                  <a:lnTo>
                    <a:pt x="1942" y="305"/>
                  </a:lnTo>
                  <a:lnTo>
                    <a:pt x="1941" y="302"/>
                  </a:lnTo>
                  <a:lnTo>
                    <a:pt x="1924" y="301"/>
                  </a:lnTo>
                  <a:lnTo>
                    <a:pt x="1922" y="302"/>
                  </a:lnTo>
                  <a:lnTo>
                    <a:pt x="1922" y="307"/>
                  </a:lnTo>
                  <a:lnTo>
                    <a:pt x="1922" y="308"/>
                  </a:lnTo>
                  <a:lnTo>
                    <a:pt x="1922" y="310"/>
                  </a:lnTo>
                  <a:lnTo>
                    <a:pt x="1922" y="311"/>
                  </a:lnTo>
                  <a:lnTo>
                    <a:pt x="1922" y="314"/>
                  </a:lnTo>
                  <a:lnTo>
                    <a:pt x="1922" y="316"/>
                  </a:lnTo>
                  <a:lnTo>
                    <a:pt x="1922" y="316"/>
                  </a:lnTo>
                  <a:lnTo>
                    <a:pt x="1922" y="317"/>
                  </a:lnTo>
                  <a:lnTo>
                    <a:pt x="1921" y="319"/>
                  </a:lnTo>
                  <a:lnTo>
                    <a:pt x="1921" y="319"/>
                  </a:lnTo>
                  <a:lnTo>
                    <a:pt x="1922" y="322"/>
                  </a:lnTo>
                  <a:lnTo>
                    <a:pt x="1921" y="328"/>
                  </a:lnTo>
                  <a:lnTo>
                    <a:pt x="1921" y="330"/>
                  </a:lnTo>
                  <a:lnTo>
                    <a:pt x="1919" y="331"/>
                  </a:lnTo>
                  <a:lnTo>
                    <a:pt x="1915" y="333"/>
                  </a:lnTo>
                  <a:lnTo>
                    <a:pt x="1913" y="331"/>
                  </a:lnTo>
                  <a:lnTo>
                    <a:pt x="1916" y="330"/>
                  </a:lnTo>
                  <a:lnTo>
                    <a:pt x="1919" y="325"/>
                  </a:lnTo>
                  <a:lnTo>
                    <a:pt x="1919" y="317"/>
                  </a:lnTo>
                  <a:lnTo>
                    <a:pt x="1919" y="308"/>
                  </a:lnTo>
                  <a:lnTo>
                    <a:pt x="1919" y="308"/>
                  </a:lnTo>
                  <a:lnTo>
                    <a:pt x="1918" y="304"/>
                  </a:lnTo>
                  <a:lnTo>
                    <a:pt x="1918" y="301"/>
                  </a:lnTo>
                  <a:lnTo>
                    <a:pt x="1918" y="299"/>
                  </a:lnTo>
                  <a:lnTo>
                    <a:pt x="1918" y="297"/>
                  </a:lnTo>
                  <a:lnTo>
                    <a:pt x="1918" y="296"/>
                  </a:lnTo>
                  <a:lnTo>
                    <a:pt x="1916" y="294"/>
                  </a:lnTo>
                  <a:lnTo>
                    <a:pt x="1910" y="296"/>
                  </a:lnTo>
                  <a:lnTo>
                    <a:pt x="1909" y="294"/>
                  </a:lnTo>
                  <a:lnTo>
                    <a:pt x="1912" y="291"/>
                  </a:lnTo>
                  <a:lnTo>
                    <a:pt x="1912" y="290"/>
                  </a:lnTo>
                  <a:lnTo>
                    <a:pt x="1910" y="287"/>
                  </a:lnTo>
                  <a:lnTo>
                    <a:pt x="1910" y="285"/>
                  </a:lnTo>
                  <a:lnTo>
                    <a:pt x="1905" y="287"/>
                  </a:lnTo>
                  <a:lnTo>
                    <a:pt x="1901" y="287"/>
                  </a:lnTo>
                  <a:lnTo>
                    <a:pt x="1901" y="290"/>
                  </a:lnTo>
                  <a:lnTo>
                    <a:pt x="1901" y="294"/>
                  </a:lnTo>
                  <a:lnTo>
                    <a:pt x="1901" y="299"/>
                  </a:lnTo>
                  <a:lnTo>
                    <a:pt x="1899" y="302"/>
                  </a:lnTo>
                  <a:lnTo>
                    <a:pt x="1901" y="304"/>
                  </a:lnTo>
                  <a:lnTo>
                    <a:pt x="1902" y="305"/>
                  </a:lnTo>
                  <a:lnTo>
                    <a:pt x="1904" y="307"/>
                  </a:lnTo>
                  <a:lnTo>
                    <a:pt x="1904" y="310"/>
                  </a:lnTo>
                  <a:lnTo>
                    <a:pt x="1902" y="311"/>
                  </a:lnTo>
                  <a:lnTo>
                    <a:pt x="1898" y="313"/>
                  </a:lnTo>
                  <a:lnTo>
                    <a:pt x="1896" y="313"/>
                  </a:lnTo>
                  <a:lnTo>
                    <a:pt x="1898" y="316"/>
                  </a:lnTo>
                  <a:lnTo>
                    <a:pt x="1901" y="324"/>
                  </a:lnTo>
                  <a:lnTo>
                    <a:pt x="1901" y="325"/>
                  </a:lnTo>
                  <a:lnTo>
                    <a:pt x="1902" y="327"/>
                  </a:lnTo>
                  <a:lnTo>
                    <a:pt x="1902" y="328"/>
                  </a:lnTo>
                  <a:lnTo>
                    <a:pt x="1901" y="328"/>
                  </a:lnTo>
                  <a:lnTo>
                    <a:pt x="1896" y="324"/>
                  </a:lnTo>
                  <a:lnTo>
                    <a:pt x="1896" y="322"/>
                  </a:lnTo>
                  <a:lnTo>
                    <a:pt x="1895" y="317"/>
                  </a:lnTo>
                  <a:lnTo>
                    <a:pt x="1893" y="317"/>
                  </a:lnTo>
                  <a:lnTo>
                    <a:pt x="1890" y="321"/>
                  </a:lnTo>
                  <a:lnTo>
                    <a:pt x="1887" y="322"/>
                  </a:lnTo>
                  <a:lnTo>
                    <a:pt x="1884" y="324"/>
                  </a:lnTo>
                  <a:lnTo>
                    <a:pt x="1884" y="328"/>
                  </a:lnTo>
                  <a:lnTo>
                    <a:pt x="1884" y="324"/>
                  </a:lnTo>
                  <a:lnTo>
                    <a:pt x="1885" y="322"/>
                  </a:lnTo>
                  <a:lnTo>
                    <a:pt x="1888" y="321"/>
                  </a:lnTo>
                  <a:lnTo>
                    <a:pt x="1890" y="317"/>
                  </a:lnTo>
                  <a:lnTo>
                    <a:pt x="1892" y="313"/>
                  </a:lnTo>
                  <a:lnTo>
                    <a:pt x="1893" y="310"/>
                  </a:lnTo>
                  <a:lnTo>
                    <a:pt x="1890" y="310"/>
                  </a:lnTo>
                  <a:lnTo>
                    <a:pt x="1887" y="311"/>
                  </a:lnTo>
                  <a:lnTo>
                    <a:pt x="1881" y="317"/>
                  </a:lnTo>
                  <a:lnTo>
                    <a:pt x="1881" y="317"/>
                  </a:lnTo>
                  <a:lnTo>
                    <a:pt x="1875" y="316"/>
                  </a:lnTo>
                  <a:lnTo>
                    <a:pt x="1867" y="316"/>
                  </a:lnTo>
                  <a:lnTo>
                    <a:pt x="1864" y="317"/>
                  </a:lnTo>
                  <a:lnTo>
                    <a:pt x="1856" y="327"/>
                  </a:lnTo>
                  <a:lnTo>
                    <a:pt x="1853" y="331"/>
                  </a:lnTo>
                  <a:lnTo>
                    <a:pt x="1853" y="333"/>
                  </a:lnTo>
                  <a:lnTo>
                    <a:pt x="1850" y="334"/>
                  </a:lnTo>
                  <a:lnTo>
                    <a:pt x="1852" y="330"/>
                  </a:lnTo>
                  <a:lnTo>
                    <a:pt x="1853" y="327"/>
                  </a:lnTo>
                  <a:lnTo>
                    <a:pt x="1855" y="324"/>
                  </a:lnTo>
                  <a:lnTo>
                    <a:pt x="1852" y="324"/>
                  </a:lnTo>
                  <a:lnTo>
                    <a:pt x="1853" y="322"/>
                  </a:lnTo>
                  <a:lnTo>
                    <a:pt x="1856" y="322"/>
                  </a:lnTo>
                  <a:lnTo>
                    <a:pt x="1858" y="321"/>
                  </a:lnTo>
                  <a:lnTo>
                    <a:pt x="1859" y="319"/>
                  </a:lnTo>
                  <a:lnTo>
                    <a:pt x="1859" y="316"/>
                  </a:lnTo>
                  <a:lnTo>
                    <a:pt x="1861" y="314"/>
                  </a:lnTo>
                  <a:lnTo>
                    <a:pt x="1862" y="313"/>
                  </a:lnTo>
                  <a:lnTo>
                    <a:pt x="1862" y="311"/>
                  </a:lnTo>
                  <a:lnTo>
                    <a:pt x="1862" y="310"/>
                  </a:lnTo>
                  <a:lnTo>
                    <a:pt x="1865" y="305"/>
                  </a:lnTo>
                  <a:lnTo>
                    <a:pt x="1868" y="304"/>
                  </a:lnTo>
                  <a:lnTo>
                    <a:pt x="1870" y="297"/>
                  </a:lnTo>
                  <a:lnTo>
                    <a:pt x="1872" y="296"/>
                  </a:lnTo>
                  <a:lnTo>
                    <a:pt x="1868" y="290"/>
                  </a:lnTo>
                  <a:lnTo>
                    <a:pt x="1868" y="287"/>
                  </a:lnTo>
                  <a:lnTo>
                    <a:pt x="1868" y="285"/>
                  </a:lnTo>
                  <a:lnTo>
                    <a:pt x="1868" y="284"/>
                  </a:lnTo>
                  <a:lnTo>
                    <a:pt x="1868" y="280"/>
                  </a:lnTo>
                  <a:lnTo>
                    <a:pt x="1867" y="279"/>
                  </a:lnTo>
                  <a:lnTo>
                    <a:pt x="1864" y="282"/>
                  </a:lnTo>
                  <a:lnTo>
                    <a:pt x="1861" y="280"/>
                  </a:lnTo>
                  <a:lnTo>
                    <a:pt x="1859" y="282"/>
                  </a:lnTo>
                  <a:lnTo>
                    <a:pt x="1858" y="282"/>
                  </a:lnTo>
                  <a:lnTo>
                    <a:pt x="1856" y="280"/>
                  </a:lnTo>
                  <a:lnTo>
                    <a:pt x="1856" y="279"/>
                  </a:lnTo>
                  <a:lnTo>
                    <a:pt x="1855" y="279"/>
                  </a:lnTo>
                  <a:lnTo>
                    <a:pt x="1853" y="279"/>
                  </a:lnTo>
                  <a:lnTo>
                    <a:pt x="1852" y="280"/>
                  </a:lnTo>
                  <a:lnTo>
                    <a:pt x="1848" y="285"/>
                  </a:lnTo>
                  <a:lnTo>
                    <a:pt x="1845" y="290"/>
                  </a:lnTo>
                  <a:lnTo>
                    <a:pt x="1844" y="291"/>
                  </a:lnTo>
                  <a:lnTo>
                    <a:pt x="1841" y="291"/>
                  </a:lnTo>
                  <a:lnTo>
                    <a:pt x="1842" y="290"/>
                  </a:lnTo>
                  <a:lnTo>
                    <a:pt x="1844" y="288"/>
                  </a:lnTo>
                  <a:lnTo>
                    <a:pt x="1844" y="288"/>
                  </a:lnTo>
                  <a:lnTo>
                    <a:pt x="1844" y="287"/>
                  </a:lnTo>
                  <a:lnTo>
                    <a:pt x="1844" y="285"/>
                  </a:lnTo>
                  <a:lnTo>
                    <a:pt x="1845" y="285"/>
                  </a:lnTo>
                  <a:lnTo>
                    <a:pt x="1847" y="282"/>
                  </a:lnTo>
                  <a:lnTo>
                    <a:pt x="1850" y="280"/>
                  </a:lnTo>
                  <a:lnTo>
                    <a:pt x="1853" y="277"/>
                  </a:lnTo>
                  <a:lnTo>
                    <a:pt x="1856" y="274"/>
                  </a:lnTo>
                  <a:lnTo>
                    <a:pt x="1862" y="268"/>
                  </a:lnTo>
                  <a:lnTo>
                    <a:pt x="1865" y="267"/>
                  </a:lnTo>
                  <a:lnTo>
                    <a:pt x="1842" y="259"/>
                  </a:lnTo>
                  <a:lnTo>
                    <a:pt x="1839" y="257"/>
                  </a:lnTo>
                  <a:lnTo>
                    <a:pt x="1825" y="259"/>
                  </a:lnTo>
                  <a:lnTo>
                    <a:pt x="1824" y="257"/>
                  </a:lnTo>
                  <a:lnTo>
                    <a:pt x="1827" y="253"/>
                  </a:lnTo>
                  <a:lnTo>
                    <a:pt x="1828" y="253"/>
                  </a:lnTo>
                  <a:lnTo>
                    <a:pt x="1827" y="251"/>
                  </a:lnTo>
                  <a:lnTo>
                    <a:pt x="1825" y="251"/>
                  </a:lnTo>
                  <a:lnTo>
                    <a:pt x="1822" y="251"/>
                  </a:lnTo>
                  <a:lnTo>
                    <a:pt x="1824" y="250"/>
                  </a:lnTo>
                  <a:lnTo>
                    <a:pt x="1824" y="248"/>
                  </a:lnTo>
                  <a:lnTo>
                    <a:pt x="1813" y="248"/>
                  </a:lnTo>
                  <a:lnTo>
                    <a:pt x="1808" y="245"/>
                  </a:lnTo>
                  <a:lnTo>
                    <a:pt x="1793" y="242"/>
                  </a:lnTo>
                  <a:lnTo>
                    <a:pt x="1796" y="240"/>
                  </a:lnTo>
                  <a:lnTo>
                    <a:pt x="1802" y="240"/>
                  </a:lnTo>
                  <a:lnTo>
                    <a:pt x="1802" y="239"/>
                  </a:lnTo>
                  <a:lnTo>
                    <a:pt x="1801" y="239"/>
                  </a:lnTo>
                  <a:lnTo>
                    <a:pt x="1798" y="236"/>
                  </a:lnTo>
                  <a:lnTo>
                    <a:pt x="1796" y="236"/>
                  </a:lnTo>
                  <a:lnTo>
                    <a:pt x="1793" y="239"/>
                  </a:lnTo>
                  <a:lnTo>
                    <a:pt x="1788" y="239"/>
                  </a:lnTo>
                  <a:lnTo>
                    <a:pt x="1785" y="237"/>
                  </a:lnTo>
                  <a:lnTo>
                    <a:pt x="1785" y="234"/>
                  </a:lnTo>
                  <a:lnTo>
                    <a:pt x="1787" y="234"/>
                  </a:lnTo>
                  <a:lnTo>
                    <a:pt x="1790" y="231"/>
                  </a:lnTo>
                  <a:lnTo>
                    <a:pt x="1793" y="228"/>
                  </a:lnTo>
                  <a:lnTo>
                    <a:pt x="1795" y="224"/>
                  </a:lnTo>
                  <a:lnTo>
                    <a:pt x="1784" y="225"/>
                  </a:lnTo>
                  <a:lnTo>
                    <a:pt x="1785" y="222"/>
                  </a:lnTo>
                  <a:lnTo>
                    <a:pt x="1788" y="220"/>
                  </a:lnTo>
                  <a:lnTo>
                    <a:pt x="1810" y="228"/>
                  </a:lnTo>
                  <a:lnTo>
                    <a:pt x="1830" y="234"/>
                  </a:lnTo>
                  <a:lnTo>
                    <a:pt x="1830" y="234"/>
                  </a:lnTo>
                  <a:lnTo>
                    <a:pt x="1865" y="240"/>
                  </a:lnTo>
                  <a:lnTo>
                    <a:pt x="1899" y="245"/>
                  </a:lnTo>
                  <a:lnTo>
                    <a:pt x="1898" y="245"/>
                  </a:lnTo>
                  <a:lnTo>
                    <a:pt x="1896" y="244"/>
                  </a:lnTo>
                  <a:lnTo>
                    <a:pt x="1898" y="242"/>
                  </a:lnTo>
                  <a:lnTo>
                    <a:pt x="1899" y="240"/>
                  </a:lnTo>
                  <a:lnTo>
                    <a:pt x="1912" y="234"/>
                  </a:lnTo>
                  <a:lnTo>
                    <a:pt x="1915" y="233"/>
                  </a:lnTo>
                  <a:lnTo>
                    <a:pt x="1916" y="227"/>
                  </a:lnTo>
                  <a:lnTo>
                    <a:pt x="1915" y="225"/>
                  </a:lnTo>
                  <a:lnTo>
                    <a:pt x="1915" y="224"/>
                  </a:lnTo>
                  <a:lnTo>
                    <a:pt x="1916" y="220"/>
                  </a:lnTo>
                  <a:lnTo>
                    <a:pt x="1918" y="217"/>
                  </a:lnTo>
                  <a:lnTo>
                    <a:pt x="1924" y="216"/>
                  </a:lnTo>
                  <a:lnTo>
                    <a:pt x="1927" y="213"/>
                  </a:lnTo>
                  <a:lnTo>
                    <a:pt x="1927" y="208"/>
                  </a:lnTo>
                  <a:lnTo>
                    <a:pt x="1929" y="207"/>
                  </a:lnTo>
                  <a:lnTo>
                    <a:pt x="1958" y="203"/>
                  </a:lnTo>
                  <a:lnTo>
                    <a:pt x="1966" y="199"/>
                  </a:lnTo>
                  <a:lnTo>
                    <a:pt x="1969" y="199"/>
                  </a:lnTo>
                  <a:lnTo>
                    <a:pt x="1967" y="194"/>
                  </a:lnTo>
                  <a:close/>
                  <a:moveTo>
                    <a:pt x="1537" y="33"/>
                  </a:moveTo>
                  <a:lnTo>
                    <a:pt x="1539" y="36"/>
                  </a:lnTo>
                  <a:lnTo>
                    <a:pt x="1540" y="36"/>
                  </a:lnTo>
                  <a:lnTo>
                    <a:pt x="1550" y="31"/>
                  </a:lnTo>
                  <a:lnTo>
                    <a:pt x="1551" y="31"/>
                  </a:lnTo>
                  <a:lnTo>
                    <a:pt x="1553" y="33"/>
                  </a:lnTo>
                  <a:lnTo>
                    <a:pt x="1557" y="34"/>
                  </a:lnTo>
                  <a:lnTo>
                    <a:pt x="1556" y="37"/>
                  </a:lnTo>
                  <a:lnTo>
                    <a:pt x="1547" y="42"/>
                  </a:lnTo>
                  <a:lnTo>
                    <a:pt x="1550" y="43"/>
                  </a:lnTo>
                  <a:lnTo>
                    <a:pt x="1553" y="46"/>
                  </a:lnTo>
                  <a:lnTo>
                    <a:pt x="1554" y="51"/>
                  </a:lnTo>
                  <a:lnTo>
                    <a:pt x="1556" y="53"/>
                  </a:lnTo>
                  <a:lnTo>
                    <a:pt x="1557" y="54"/>
                  </a:lnTo>
                  <a:lnTo>
                    <a:pt x="1560" y="53"/>
                  </a:lnTo>
                  <a:lnTo>
                    <a:pt x="1565" y="50"/>
                  </a:lnTo>
                  <a:lnTo>
                    <a:pt x="1571" y="51"/>
                  </a:lnTo>
                  <a:lnTo>
                    <a:pt x="1571" y="50"/>
                  </a:lnTo>
                  <a:lnTo>
                    <a:pt x="1571" y="50"/>
                  </a:lnTo>
                  <a:lnTo>
                    <a:pt x="1570" y="48"/>
                  </a:lnTo>
                  <a:lnTo>
                    <a:pt x="1570" y="43"/>
                  </a:lnTo>
                  <a:lnTo>
                    <a:pt x="1571" y="43"/>
                  </a:lnTo>
                  <a:lnTo>
                    <a:pt x="1576" y="46"/>
                  </a:lnTo>
                  <a:lnTo>
                    <a:pt x="1584" y="46"/>
                  </a:lnTo>
                  <a:lnTo>
                    <a:pt x="1585" y="45"/>
                  </a:lnTo>
                  <a:lnTo>
                    <a:pt x="1587" y="43"/>
                  </a:lnTo>
                  <a:lnTo>
                    <a:pt x="1588" y="43"/>
                  </a:lnTo>
                  <a:lnTo>
                    <a:pt x="1596" y="43"/>
                  </a:lnTo>
                  <a:lnTo>
                    <a:pt x="1597" y="42"/>
                  </a:lnTo>
                  <a:lnTo>
                    <a:pt x="1597" y="40"/>
                  </a:lnTo>
                  <a:lnTo>
                    <a:pt x="1599" y="39"/>
                  </a:lnTo>
                  <a:lnTo>
                    <a:pt x="1604" y="37"/>
                  </a:lnTo>
                  <a:lnTo>
                    <a:pt x="1605" y="34"/>
                  </a:lnTo>
                  <a:lnTo>
                    <a:pt x="1607" y="31"/>
                  </a:lnTo>
                  <a:lnTo>
                    <a:pt x="1605" y="26"/>
                  </a:lnTo>
                  <a:lnTo>
                    <a:pt x="1604" y="26"/>
                  </a:lnTo>
                  <a:lnTo>
                    <a:pt x="1600" y="29"/>
                  </a:lnTo>
                  <a:lnTo>
                    <a:pt x="1599" y="29"/>
                  </a:lnTo>
                  <a:lnTo>
                    <a:pt x="1596" y="36"/>
                  </a:lnTo>
                  <a:lnTo>
                    <a:pt x="1594" y="37"/>
                  </a:lnTo>
                  <a:lnTo>
                    <a:pt x="1593" y="37"/>
                  </a:lnTo>
                  <a:lnTo>
                    <a:pt x="1590" y="39"/>
                  </a:lnTo>
                  <a:lnTo>
                    <a:pt x="1587" y="37"/>
                  </a:lnTo>
                  <a:lnTo>
                    <a:pt x="1585" y="36"/>
                  </a:lnTo>
                  <a:lnTo>
                    <a:pt x="1585" y="36"/>
                  </a:lnTo>
                  <a:lnTo>
                    <a:pt x="1588" y="34"/>
                  </a:lnTo>
                  <a:lnTo>
                    <a:pt x="1588" y="29"/>
                  </a:lnTo>
                  <a:lnTo>
                    <a:pt x="1587" y="29"/>
                  </a:lnTo>
                  <a:lnTo>
                    <a:pt x="1585" y="28"/>
                  </a:lnTo>
                  <a:lnTo>
                    <a:pt x="1584" y="28"/>
                  </a:lnTo>
                  <a:lnTo>
                    <a:pt x="1582" y="26"/>
                  </a:lnTo>
                  <a:lnTo>
                    <a:pt x="1585" y="25"/>
                  </a:lnTo>
                  <a:lnTo>
                    <a:pt x="1590" y="22"/>
                  </a:lnTo>
                  <a:lnTo>
                    <a:pt x="1593" y="17"/>
                  </a:lnTo>
                  <a:lnTo>
                    <a:pt x="1593" y="11"/>
                  </a:lnTo>
                  <a:lnTo>
                    <a:pt x="1591" y="9"/>
                  </a:lnTo>
                  <a:lnTo>
                    <a:pt x="1587" y="13"/>
                  </a:lnTo>
                  <a:lnTo>
                    <a:pt x="1585" y="13"/>
                  </a:lnTo>
                  <a:lnTo>
                    <a:pt x="1585" y="13"/>
                  </a:lnTo>
                  <a:lnTo>
                    <a:pt x="1582" y="16"/>
                  </a:lnTo>
                  <a:lnTo>
                    <a:pt x="1582" y="16"/>
                  </a:lnTo>
                  <a:lnTo>
                    <a:pt x="1582" y="11"/>
                  </a:lnTo>
                  <a:lnTo>
                    <a:pt x="1580" y="13"/>
                  </a:lnTo>
                  <a:lnTo>
                    <a:pt x="1576" y="16"/>
                  </a:lnTo>
                  <a:lnTo>
                    <a:pt x="1574" y="14"/>
                  </a:lnTo>
                  <a:lnTo>
                    <a:pt x="1574" y="13"/>
                  </a:lnTo>
                  <a:lnTo>
                    <a:pt x="1576" y="5"/>
                  </a:lnTo>
                  <a:lnTo>
                    <a:pt x="1576" y="2"/>
                  </a:lnTo>
                  <a:lnTo>
                    <a:pt x="1567" y="5"/>
                  </a:lnTo>
                  <a:lnTo>
                    <a:pt x="1567" y="0"/>
                  </a:lnTo>
                  <a:lnTo>
                    <a:pt x="1565" y="0"/>
                  </a:lnTo>
                  <a:lnTo>
                    <a:pt x="1565" y="0"/>
                  </a:lnTo>
                  <a:lnTo>
                    <a:pt x="1564" y="2"/>
                  </a:lnTo>
                  <a:lnTo>
                    <a:pt x="1562" y="3"/>
                  </a:lnTo>
                  <a:lnTo>
                    <a:pt x="1560" y="5"/>
                  </a:lnTo>
                  <a:lnTo>
                    <a:pt x="1557" y="3"/>
                  </a:lnTo>
                  <a:lnTo>
                    <a:pt x="1557" y="5"/>
                  </a:lnTo>
                  <a:lnTo>
                    <a:pt x="1567" y="17"/>
                  </a:lnTo>
                  <a:lnTo>
                    <a:pt x="1568" y="19"/>
                  </a:lnTo>
                  <a:lnTo>
                    <a:pt x="1570" y="22"/>
                  </a:lnTo>
                  <a:lnTo>
                    <a:pt x="1570" y="26"/>
                  </a:lnTo>
                  <a:lnTo>
                    <a:pt x="1568" y="23"/>
                  </a:lnTo>
                  <a:lnTo>
                    <a:pt x="1564" y="19"/>
                  </a:lnTo>
                  <a:lnTo>
                    <a:pt x="1560" y="20"/>
                  </a:lnTo>
                  <a:lnTo>
                    <a:pt x="1559" y="19"/>
                  </a:lnTo>
                  <a:lnTo>
                    <a:pt x="1557" y="17"/>
                  </a:lnTo>
                  <a:lnTo>
                    <a:pt x="1557" y="17"/>
                  </a:lnTo>
                  <a:lnTo>
                    <a:pt x="1554" y="17"/>
                  </a:lnTo>
                  <a:lnTo>
                    <a:pt x="1553" y="14"/>
                  </a:lnTo>
                  <a:lnTo>
                    <a:pt x="1551" y="14"/>
                  </a:lnTo>
                  <a:lnTo>
                    <a:pt x="1550" y="17"/>
                  </a:lnTo>
                  <a:lnTo>
                    <a:pt x="1550" y="17"/>
                  </a:lnTo>
                  <a:lnTo>
                    <a:pt x="1551" y="19"/>
                  </a:lnTo>
                  <a:lnTo>
                    <a:pt x="1551" y="20"/>
                  </a:lnTo>
                  <a:lnTo>
                    <a:pt x="1550" y="22"/>
                  </a:lnTo>
                  <a:lnTo>
                    <a:pt x="1548" y="20"/>
                  </a:lnTo>
                  <a:lnTo>
                    <a:pt x="1547" y="19"/>
                  </a:lnTo>
                  <a:lnTo>
                    <a:pt x="1545" y="19"/>
                  </a:lnTo>
                  <a:lnTo>
                    <a:pt x="1542" y="19"/>
                  </a:lnTo>
                  <a:lnTo>
                    <a:pt x="1540" y="20"/>
                  </a:lnTo>
                  <a:lnTo>
                    <a:pt x="1539" y="22"/>
                  </a:lnTo>
                  <a:lnTo>
                    <a:pt x="1542" y="23"/>
                  </a:lnTo>
                  <a:lnTo>
                    <a:pt x="1537" y="28"/>
                  </a:lnTo>
                  <a:lnTo>
                    <a:pt x="1537" y="29"/>
                  </a:lnTo>
                  <a:lnTo>
                    <a:pt x="1537" y="31"/>
                  </a:lnTo>
                  <a:lnTo>
                    <a:pt x="1537" y="3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gray">
            <a:xfrm>
              <a:off x="6232525" y="1339851"/>
              <a:ext cx="3125788" cy="3703638"/>
            </a:xfrm>
            <a:custGeom>
              <a:avLst/>
              <a:gdLst>
                <a:gd name="T0" fmla="*/ 43 w 1969"/>
                <a:gd name="T1" fmla="*/ 2070 h 2333"/>
                <a:gd name="T2" fmla="*/ 36 w 1969"/>
                <a:gd name="T3" fmla="*/ 2013 h 2333"/>
                <a:gd name="T4" fmla="*/ 17 w 1969"/>
                <a:gd name="T5" fmla="*/ 1913 h 2333"/>
                <a:gd name="T6" fmla="*/ 86 w 1969"/>
                <a:gd name="T7" fmla="*/ 1700 h 2333"/>
                <a:gd name="T8" fmla="*/ 231 w 1969"/>
                <a:gd name="T9" fmla="*/ 1569 h 2333"/>
                <a:gd name="T10" fmla="*/ 334 w 1969"/>
                <a:gd name="T11" fmla="*/ 1480 h 2333"/>
                <a:gd name="T12" fmla="*/ 499 w 1969"/>
                <a:gd name="T13" fmla="*/ 1301 h 2333"/>
                <a:gd name="T14" fmla="*/ 565 w 1969"/>
                <a:gd name="T15" fmla="*/ 1149 h 2333"/>
                <a:gd name="T16" fmla="*/ 616 w 1969"/>
                <a:gd name="T17" fmla="*/ 984 h 2333"/>
                <a:gd name="T18" fmla="*/ 626 w 1969"/>
                <a:gd name="T19" fmla="*/ 696 h 2333"/>
                <a:gd name="T20" fmla="*/ 701 w 1969"/>
                <a:gd name="T21" fmla="*/ 638 h 2333"/>
                <a:gd name="T22" fmla="*/ 875 w 1969"/>
                <a:gd name="T23" fmla="*/ 570 h 2333"/>
                <a:gd name="T24" fmla="*/ 760 w 1969"/>
                <a:gd name="T25" fmla="*/ 496 h 2333"/>
                <a:gd name="T26" fmla="*/ 864 w 1969"/>
                <a:gd name="T27" fmla="*/ 505 h 2333"/>
                <a:gd name="T28" fmla="*/ 747 w 1969"/>
                <a:gd name="T29" fmla="*/ 538 h 2333"/>
                <a:gd name="T30" fmla="*/ 947 w 1969"/>
                <a:gd name="T31" fmla="*/ 464 h 2333"/>
                <a:gd name="T32" fmla="*/ 969 w 1969"/>
                <a:gd name="T33" fmla="*/ 347 h 2333"/>
                <a:gd name="T34" fmla="*/ 1058 w 1969"/>
                <a:gd name="T35" fmla="*/ 290 h 2333"/>
                <a:gd name="T36" fmla="*/ 1214 w 1969"/>
                <a:gd name="T37" fmla="*/ 273 h 2333"/>
                <a:gd name="T38" fmla="*/ 1202 w 1969"/>
                <a:gd name="T39" fmla="*/ 248 h 2333"/>
                <a:gd name="T40" fmla="*/ 1340 w 1969"/>
                <a:gd name="T41" fmla="*/ 179 h 2333"/>
                <a:gd name="T42" fmla="*/ 1308 w 1969"/>
                <a:gd name="T43" fmla="*/ 140 h 2333"/>
                <a:gd name="T44" fmla="*/ 1349 w 1969"/>
                <a:gd name="T45" fmla="*/ 117 h 2333"/>
                <a:gd name="T46" fmla="*/ 1870 w 1969"/>
                <a:gd name="T47" fmla="*/ 114 h 2333"/>
                <a:gd name="T48" fmla="*/ 1725 w 1969"/>
                <a:gd name="T49" fmla="*/ 91 h 2333"/>
                <a:gd name="T50" fmla="*/ 1668 w 1969"/>
                <a:gd name="T51" fmla="*/ 154 h 2333"/>
                <a:gd name="T52" fmla="*/ 1534 w 1969"/>
                <a:gd name="T53" fmla="*/ 136 h 2333"/>
                <a:gd name="T54" fmla="*/ 1460 w 1969"/>
                <a:gd name="T55" fmla="*/ 148 h 2333"/>
                <a:gd name="T56" fmla="*/ 1263 w 1969"/>
                <a:gd name="T57" fmla="*/ 202 h 2333"/>
                <a:gd name="T58" fmla="*/ 1205 w 1969"/>
                <a:gd name="T59" fmla="*/ 365 h 2333"/>
                <a:gd name="T60" fmla="*/ 1089 w 1969"/>
                <a:gd name="T61" fmla="*/ 364 h 2333"/>
                <a:gd name="T62" fmla="*/ 1000 w 1969"/>
                <a:gd name="T63" fmla="*/ 436 h 2333"/>
                <a:gd name="T64" fmla="*/ 943 w 1969"/>
                <a:gd name="T65" fmla="*/ 632 h 2333"/>
                <a:gd name="T66" fmla="*/ 852 w 1969"/>
                <a:gd name="T67" fmla="*/ 664 h 2333"/>
                <a:gd name="T68" fmla="*/ 758 w 1969"/>
                <a:gd name="T69" fmla="*/ 722 h 2333"/>
                <a:gd name="T70" fmla="*/ 761 w 1969"/>
                <a:gd name="T71" fmla="*/ 779 h 2333"/>
                <a:gd name="T72" fmla="*/ 732 w 1969"/>
                <a:gd name="T73" fmla="*/ 841 h 2333"/>
                <a:gd name="T74" fmla="*/ 664 w 1969"/>
                <a:gd name="T75" fmla="*/ 960 h 2333"/>
                <a:gd name="T76" fmla="*/ 616 w 1969"/>
                <a:gd name="T77" fmla="*/ 1046 h 2333"/>
                <a:gd name="T78" fmla="*/ 573 w 1969"/>
                <a:gd name="T79" fmla="*/ 1183 h 2333"/>
                <a:gd name="T80" fmla="*/ 552 w 1969"/>
                <a:gd name="T81" fmla="*/ 1243 h 2333"/>
                <a:gd name="T82" fmla="*/ 462 w 1969"/>
                <a:gd name="T83" fmla="*/ 1345 h 2333"/>
                <a:gd name="T84" fmla="*/ 396 w 1969"/>
                <a:gd name="T85" fmla="*/ 1448 h 2333"/>
                <a:gd name="T86" fmla="*/ 461 w 1969"/>
                <a:gd name="T87" fmla="*/ 1485 h 2333"/>
                <a:gd name="T88" fmla="*/ 321 w 1969"/>
                <a:gd name="T89" fmla="*/ 1540 h 2333"/>
                <a:gd name="T90" fmla="*/ 197 w 1969"/>
                <a:gd name="T91" fmla="*/ 1574 h 2333"/>
                <a:gd name="T92" fmla="*/ 157 w 1969"/>
                <a:gd name="T93" fmla="*/ 1662 h 2333"/>
                <a:gd name="T94" fmla="*/ 37 w 1969"/>
                <a:gd name="T95" fmla="*/ 1705 h 2333"/>
                <a:gd name="T96" fmla="*/ 37 w 1969"/>
                <a:gd name="T97" fmla="*/ 1780 h 2333"/>
                <a:gd name="T98" fmla="*/ 39 w 1969"/>
                <a:gd name="T99" fmla="*/ 1873 h 2333"/>
                <a:gd name="T100" fmla="*/ 184 w 1969"/>
                <a:gd name="T101" fmla="*/ 1913 h 2333"/>
                <a:gd name="T102" fmla="*/ 59 w 1969"/>
                <a:gd name="T103" fmla="*/ 1940 h 2333"/>
                <a:gd name="T104" fmla="*/ 68 w 1969"/>
                <a:gd name="T105" fmla="*/ 2021 h 2333"/>
                <a:gd name="T106" fmla="*/ 111 w 1969"/>
                <a:gd name="T107" fmla="*/ 2027 h 2333"/>
                <a:gd name="T108" fmla="*/ 56 w 1969"/>
                <a:gd name="T109" fmla="*/ 2147 h 2333"/>
                <a:gd name="T110" fmla="*/ 102 w 1969"/>
                <a:gd name="T111" fmla="*/ 2168 h 2333"/>
                <a:gd name="T112" fmla="*/ 157 w 1969"/>
                <a:gd name="T113" fmla="*/ 2315 h 2333"/>
                <a:gd name="T114" fmla="*/ 336 w 1969"/>
                <a:gd name="T115" fmla="*/ 2232 h 2333"/>
                <a:gd name="T116" fmla="*/ 416 w 1969"/>
                <a:gd name="T117" fmla="*/ 2084 h 2333"/>
                <a:gd name="T118" fmla="*/ 533 w 1969"/>
                <a:gd name="T119" fmla="*/ 2156 h 2333"/>
                <a:gd name="T120" fmla="*/ 1171 w 1969"/>
                <a:gd name="T121" fmla="*/ 513 h 2333"/>
                <a:gd name="T122" fmla="*/ 1815 w 1969"/>
                <a:gd name="T123" fmla="*/ 465 h 2333"/>
                <a:gd name="T124" fmla="*/ 1865 w 1969"/>
                <a:gd name="T125" fmla="*/ 267 h 2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69" h="2333">
                  <a:moveTo>
                    <a:pt x="479" y="2178"/>
                  </a:moveTo>
                  <a:lnTo>
                    <a:pt x="479" y="2178"/>
                  </a:lnTo>
                  <a:lnTo>
                    <a:pt x="479" y="2179"/>
                  </a:lnTo>
                  <a:lnTo>
                    <a:pt x="478" y="2179"/>
                  </a:lnTo>
                  <a:lnTo>
                    <a:pt x="476" y="2179"/>
                  </a:lnTo>
                  <a:lnTo>
                    <a:pt x="476" y="2178"/>
                  </a:lnTo>
                  <a:lnTo>
                    <a:pt x="476" y="2176"/>
                  </a:lnTo>
                  <a:lnTo>
                    <a:pt x="475" y="2176"/>
                  </a:lnTo>
                  <a:lnTo>
                    <a:pt x="473" y="2178"/>
                  </a:lnTo>
                  <a:lnTo>
                    <a:pt x="473" y="2179"/>
                  </a:lnTo>
                  <a:lnTo>
                    <a:pt x="473" y="2181"/>
                  </a:lnTo>
                  <a:lnTo>
                    <a:pt x="473" y="2182"/>
                  </a:lnTo>
                  <a:lnTo>
                    <a:pt x="473" y="2185"/>
                  </a:lnTo>
                  <a:lnTo>
                    <a:pt x="473" y="2185"/>
                  </a:lnTo>
                  <a:lnTo>
                    <a:pt x="475" y="2185"/>
                  </a:lnTo>
                  <a:lnTo>
                    <a:pt x="475" y="2185"/>
                  </a:lnTo>
                  <a:lnTo>
                    <a:pt x="475" y="2187"/>
                  </a:lnTo>
                  <a:lnTo>
                    <a:pt x="475" y="2187"/>
                  </a:lnTo>
                  <a:lnTo>
                    <a:pt x="476" y="2187"/>
                  </a:lnTo>
                  <a:lnTo>
                    <a:pt x="478" y="2185"/>
                  </a:lnTo>
                  <a:lnTo>
                    <a:pt x="478" y="2184"/>
                  </a:lnTo>
                  <a:lnTo>
                    <a:pt x="478" y="2184"/>
                  </a:lnTo>
                  <a:lnTo>
                    <a:pt x="478" y="2182"/>
                  </a:lnTo>
                  <a:lnTo>
                    <a:pt x="478" y="2182"/>
                  </a:lnTo>
                  <a:lnTo>
                    <a:pt x="479" y="2181"/>
                  </a:lnTo>
                  <a:lnTo>
                    <a:pt x="479" y="2179"/>
                  </a:lnTo>
                  <a:lnTo>
                    <a:pt x="479" y="2178"/>
                  </a:lnTo>
                  <a:lnTo>
                    <a:pt x="479" y="2178"/>
                  </a:lnTo>
                  <a:lnTo>
                    <a:pt x="479" y="2178"/>
                  </a:lnTo>
                  <a:close/>
                  <a:moveTo>
                    <a:pt x="467" y="2173"/>
                  </a:moveTo>
                  <a:lnTo>
                    <a:pt x="465" y="2173"/>
                  </a:lnTo>
                  <a:lnTo>
                    <a:pt x="464" y="2175"/>
                  </a:lnTo>
                  <a:lnTo>
                    <a:pt x="462" y="2175"/>
                  </a:lnTo>
                  <a:lnTo>
                    <a:pt x="462" y="2175"/>
                  </a:lnTo>
                  <a:lnTo>
                    <a:pt x="464" y="2175"/>
                  </a:lnTo>
                  <a:lnTo>
                    <a:pt x="464" y="2175"/>
                  </a:lnTo>
                  <a:lnTo>
                    <a:pt x="464" y="2173"/>
                  </a:lnTo>
                  <a:lnTo>
                    <a:pt x="464" y="2173"/>
                  </a:lnTo>
                  <a:lnTo>
                    <a:pt x="462" y="2173"/>
                  </a:lnTo>
                  <a:lnTo>
                    <a:pt x="462" y="2173"/>
                  </a:lnTo>
                  <a:lnTo>
                    <a:pt x="461" y="2175"/>
                  </a:lnTo>
                  <a:lnTo>
                    <a:pt x="461" y="2175"/>
                  </a:lnTo>
                  <a:lnTo>
                    <a:pt x="462" y="2178"/>
                  </a:lnTo>
                  <a:lnTo>
                    <a:pt x="462" y="2178"/>
                  </a:lnTo>
                  <a:lnTo>
                    <a:pt x="462" y="2179"/>
                  </a:lnTo>
                  <a:lnTo>
                    <a:pt x="462" y="2179"/>
                  </a:lnTo>
                  <a:lnTo>
                    <a:pt x="464" y="2179"/>
                  </a:lnTo>
                  <a:lnTo>
                    <a:pt x="464" y="2179"/>
                  </a:lnTo>
                  <a:lnTo>
                    <a:pt x="464" y="2179"/>
                  </a:lnTo>
                  <a:lnTo>
                    <a:pt x="465" y="2179"/>
                  </a:lnTo>
                  <a:lnTo>
                    <a:pt x="467" y="2176"/>
                  </a:lnTo>
                  <a:lnTo>
                    <a:pt x="467" y="2175"/>
                  </a:lnTo>
                  <a:lnTo>
                    <a:pt x="467" y="2173"/>
                  </a:lnTo>
                  <a:lnTo>
                    <a:pt x="467" y="2173"/>
                  </a:lnTo>
                  <a:close/>
                  <a:moveTo>
                    <a:pt x="83" y="2179"/>
                  </a:moveTo>
                  <a:lnTo>
                    <a:pt x="85" y="2178"/>
                  </a:lnTo>
                  <a:lnTo>
                    <a:pt x="85" y="2175"/>
                  </a:lnTo>
                  <a:lnTo>
                    <a:pt x="85" y="2173"/>
                  </a:lnTo>
                  <a:lnTo>
                    <a:pt x="83" y="2173"/>
                  </a:lnTo>
                  <a:lnTo>
                    <a:pt x="82" y="2171"/>
                  </a:lnTo>
                  <a:lnTo>
                    <a:pt x="80" y="2171"/>
                  </a:lnTo>
                  <a:lnTo>
                    <a:pt x="79" y="2171"/>
                  </a:lnTo>
                  <a:lnTo>
                    <a:pt x="77" y="2171"/>
                  </a:lnTo>
                  <a:lnTo>
                    <a:pt x="76" y="2170"/>
                  </a:lnTo>
                  <a:lnTo>
                    <a:pt x="74" y="2170"/>
                  </a:lnTo>
                  <a:lnTo>
                    <a:pt x="73" y="2170"/>
                  </a:lnTo>
                  <a:lnTo>
                    <a:pt x="73" y="2170"/>
                  </a:lnTo>
                  <a:lnTo>
                    <a:pt x="71" y="2170"/>
                  </a:lnTo>
                  <a:lnTo>
                    <a:pt x="71" y="2171"/>
                  </a:lnTo>
                  <a:lnTo>
                    <a:pt x="70" y="2171"/>
                  </a:lnTo>
                  <a:lnTo>
                    <a:pt x="71" y="2173"/>
                  </a:lnTo>
                  <a:lnTo>
                    <a:pt x="77" y="2175"/>
                  </a:lnTo>
                  <a:lnTo>
                    <a:pt x="83" y="2179"/>
                  </a:lnTo>
                  <a:close/>
                  <a:moveTo>
                    <a:pt x="62" y="2159"/>
                  </a:moveTo>
                  <a:lnTo>
                    <a:pt x="60" y="2158"/>
                  </a:lnTo>
                  <a:lnTo>
                    <a:pt x="60" y="2156"/>
                  </a:lnTo>
                  <a:lnTo>
                    <a:pt x="59" y="2156"/>
                  </a:lnTo>
                  <a:lnTo>
                    <a:pt x="59" y="2156"/>
                  </a:lnTo>
                  <a:lnTo>
                    <a:pt x="57" y="2155"/>
                  </a:lnTo>
                  <a:lnTo>
                    <a:pt x="57" y="2155"/>
                  </a:lnTo>
                  <a:lnTo>
                    <a:pt x="56" y="2155"/>
                  </a:lnTo>
                  <a:lnTo>
                    <a:pt x="56" y="2156"/>
                  </a:lnTo>
                  <a:lnTo>
                    <a:pt x="56" y="2156"/>
                  </a:lnTo>
                  <a:lnTo>
                    <a:pt x="54" y="2158"/>
                  </a:lnTo>
                  <a:lnTo>
                    <a:pt x="56" y="2159"/>
                  </a:lnTo>
                  <a:lnTo>
                    <a:pt x="56" y="2161"/>
                  </a:lnTo>
                  <a:lnTo>
                    <a:pt x="56" y="2162"/>
                  </a:lnTo>
                  <a:lnTo>
                    <a:pt x="59" y="2164"/>
                  </a:lnTo>
                  <a:lnTo>
                    <a:pt x="59" y="2164"/>
                  </a:lnTo>
                  <a:lnTo>
                    <a:pt x="59" y="2165"/>
                  </a:lnTo>
                  <a:lnTo>
                    <a:pt x="59" y="2165"/>
                  </a:lnTo>
                  <a:lnTo>
                    <a:pt x="59" y="2165"/>
                  </a:lnTo>
                  <a:lnTo>
                    <a:pt x="59" y="2167"/>
                  </a:lnTo>
                  <a:lnTo>
                    <a:pt x="60" y="2167"/>
                  </a:lnTo>
                  <a:lnTo>
                    <a:pt x="60" y="2165"/>
                  </a:lnTo>
                  <a:lnTo>
                    <a:pt x="62" y="2164"/>
                  </a:lnTo>
                  <a:lnTo>
                    <a:pt x="62" y="2161"/>
                  </a:lnTo>
                  <a:lnTo>
                    <a:pt x="62" y="2161"/>
                  </a:lnTo>
                  <a:lnTo>
                    <a:pt x="62" y="2159"/>
                  </a:lnTo>
                  <a:close/>
                  <a:moveTo>
                    <a:pt x="105" y="2155"/>
                  </a:moveTo>
                  <a:lnTo>
                    <a:pt x="108" y="2151"/>
                  </a:lnTo>
                  <a:lnTo>
                    <a:pt x="108" y="2150"/>
                  </a:lnTo>
                  <a:lnTo>
                    <a:pt x="106" y="2148"/>
                  </a:lnTo>
                  <a:lnTo>
                    <a:pt x="102" y="2147"/>
                  </a:lnTo>
                  <a:lnTo>
                    <a:pt x="100" y="2147"/>
                  </a:lnTo>
                  <a:lnTo>
                    <a:pt x="97" y="2148"/>
                  </a:lnTo>
                  <a:lnTo>
                    <a:pt x="96" y="2150"/>
                  </a:lnTo>
                  <a:lnTo>
                    <a:pt x="96" y="2155"/>
                  </a:lnTo>
                  <a:lnTo>
                    <a:pt x="99" y="2156"/>
                  </a:lnTo>
                  <a:lnTo>
                    <a:pt x="102" y="2156"/>
                  </a:lnTo>
                  <a:lnTo>
                    <a:pt x="105" y="2155"/>
                  </a:lnTo>
                  <a:close/>
                  <a:moveTo>
                    <a:pt x="50" y="2148"/>
                  </a:moveTo>
                  <a:lnTo>
                    <a:pt x="48" y="2147"/>
                  </a:lnTo>
                  <a:lnTo>
                    <a:pt x="48" y="2147"/>
                  </a:lnTo>
                  <a:lnTo>
                    <a:pt x="48" y="2145"/>
                  </a:lnTo>
                  <a:lnTo>
                    <a:pt x="48" y="2144"/>
                  </a:lnTo>
                  <a:lnTo>
                    <a:pt x="48" y="2144"/>
                  </a:lnTo>
                  <a:lnTo>
                    <a:pt x="48" y="2142"/>
                  </a:lnTo>
                  <a:lnTo>
                    <a:pt x="46" y="2141"/>
                  </a:lnTo>
                  <a:lnTo>
                    <a:pt x="46" y="2141"/>
                  </a:lnTo>
                  <a:lnTo>
                    <a:pt x="46" y="2139"/>
                  </a:lnTo>
                  <a:lnTo>
                    <a:pt x="45" y="2136"/>
                  </a:lnTo>
                  <a:lnTo>
                    <a:pt x="42" y="2130"/>
                  </a:lnTo>
                  <a:lnTo>
                    <a:pt x="40" y="2130"/>
                  </a:lnTo>
                  <a:lnTo>
                    <a:pt x="40" y="2131"/>
                  </a:lnTo>
                  <a:lnTo>
                    <a:pt x="40" y="2135"/>
                  </a:lnTo>
                  <a:lnTo>
                    <a:pt x="42" y="2135"/>
                  </a:lnTo>
                  <a:lnTo>
                    <a:pt x="42" y="2138"/>
                  </a:lnTo>
                  <a:lnTo>
                    <a:pt x="40" y="2138"/>
                  </a:lnTo>
                  <a:lnTo>
                    <a:pt x="40" y="2139"/>
                  </a:lnTo>
                  <a:lnTo>
                    <a:pt x="40" y="2141"/>
                  </a:lnTo>
                  <a:lnTo>
                    <a:pt x="40" y="2144"/>
                  </a:lnTo>
                  <a:lnTo>
                    <a:pt x="43" y="2148"/>
                  </a:lnTo>
                  <a:lnTo>
                    <a:pt x="40" y="2147"/>
                  </a:lnTo>
                  <a:lnTo>
                    <a:pt x="39" y="2150"/>
                  </a:lnTo>
                  <a:lnTo>
                    <a:pt x="40" y="2150"/>
                  </a:lnTo>
                  <a:lnTo>
                    <a:pt x="40" y="2151"/>
                  </a:lnTo>
                  <a:lnTo>
                    <a:pt x="40" y="2155"/>
                  </a:lnTo>
                  <a:lnTo>
                    <a:pt x="39" y="2158"/>
                  </a:lnTo>
                  <a:lnTo>
                    <a:pt x="39" y="2161"/>
                  </a:lnTo>
                  <a:lnTo>
                    <a:pt x="40" y="2165"/>
                  </a:lnTo>
                  <a:lnTo>
                    <a:pt x="40" y="2167"/>
                  </a:lnTo>
                  <a:lnTo>
                    <a:pt x="42" y="2168"/>
                  </a:lnTo>
                  <a:lnTo>
                    <a:pt x="45" y="2170"/>
                  </a:lnTo>
                  <a:lnTo>
                    <a:pt x="46" y="2167"/>
                  </a:lnTo>
                  <a:lnTo>
                    <a:pt x="50" y="2165"/>
                  </a:lnTo>
                  <a:lnTo>
                    <a:pt x="50" y="2159"/>
                  </a:lnTo>
                  <a:lnTo>
                    <a:pt x="51" y="2156"/>
                  </a:lnTo>
                  <a:lnTo>
                    <a:pt x="51" y="2153"/>
                  </a:lnTo>
                  <a:lnTo>
                    <a:pt x="50" y="2150"/>
                  </a:lnTo>
                  <a:lnTo>
                    <a:pt x="50" y="2148"/>
                  </a:lnTo>
                  <a:close/>
                  <a:moveTo>
                    <a:pt x="40" y="2102"/>
                  </a:moveTo>
                  <a:lnTo>
                    <a:pt x="42" y="2101"/>
                  </a:lnTo>
                  <a:lnTo>
                    <a:pt x="42" y="2101"/>
                  </a:lnTo>
                  <a:lnTo>
                    <a:pt x="42" y="2099"/>
                  </a:lnTo>
                  <a:lnTo>
                    <a:pt x="42" y="2098"/>
                  </a:lnTo>
                  <a:lnTo>
                    <a:pt x="42" y="2096"/>
                  </a:lnTo>
                  <a:lnTo>
                    <a:pt x="42" y="2096"/>
                  </a:lnTo>
                  <a:lnTo>
                    <a:pt x="40" y="2094"/>
                  </a:lnTo>
                  <a:lnTo>
                    <a:pt x="42" y="2093"/>
                  </a:lnTo>
                  <a:lnTo>
                    <a:pt x="42" y="2090"/>
                  </a:lnTo>
                  <a:lnTo>
                    <a:pt x="42" y="2091"/>
                  </a:lnTo>
                  <a:lnTo>
                    <a:pt x="40" y="2093"/>
                  </a:lnTo>
                  <a:lnTo>
                    <a:pt x="39" y="2094"/>
                  </a:lnTo>
                  <a:lnTo>
                    <a:pt x="39" y="2091"/>
                  </a:lnTo>
                  <a:lnTo>
                    <a:pt x="39" y="2090"/>
                  </a:lnTo>
                  <a:lnTo>
                    <a:pt x="40" y="2087"/>
                  </a:lnTo>
                  <a:lnTo>
                    <a:pt x="42" y="2085"/>
                  </a:lnTo>
                  <a:lnTo>
                    <a:pt x="42" y="2084"/>
                  </a:lnTo>
                  <a:lnTo>
                    <a:pt x="42" y="2084"/>
                  </a:lnTo>
                  <a:lnTo>
                    <a:pt x="40" y="2082"/>
                  </a:lnTo>
                  <a:lnTo>
                    <a:pt x="42" y="2081"/>
                  </a:lnTo>
                  <a:lnTo>
                    <a:pt x="42" y="2081"/>
                  </a:lnTo>
                  <a:lnTo>
                    <a:pt x="42" y="2079"/>
                  </a:lnTo>
                  <a:lnTo>
                    <a:pt x="43" y="2079"/>
                  </a:lnTo>
                  <a:lnTo>
                    <a:pt x="43" y="2079"/>
                  </a:lnTo>
                  <a:lnTo>
                    <a:pt x="45" y="2081"/>
                  </a:lnTo>
                  <a:lnTo>
                    <a:pt x="46" y="2082"/>
                  </a:lnTo>
                  <a:lnTo>
                    <a:pt x="48" y="2082"/>
                  </a:lnTo>
                  <a:lnTo>
                    <a:pt x="46" y="2081"/>
                  </a:lnTo>
                  <a:lnTo>
                    <a:pt x="48" y="2081"/>
                  </a:lnTo>
                  <a:lnTo>
                    <a:pt x="50" y="2082"/>
                  </a:lnTo>
                  <a:lnTo>
                    <a:pt x="50" y="2085"/>
                  </a:lnTo>
                  <a:lnTo>
                    <a:pt x="50" y="2087"/>
                  </a:lnTo>
                  <a:lnTo>
                    <a:pt x="48" y="2088"/>
                  </a:lnTo>
                  <a:lnTo>
                    <a:pt x="46" y="2088"/>
                  </a:lnTo>
                  <a:lnTo>
                    <a:pt x="46" y="2090"/>
                  </a:lnTo>
                  <a:lnTo>
                    <a:pt x="48" y="2090"/>
                  </a:lnTo>
                  <a:lnTo>
                    <a:pt x="50" y="2088"/>
                  </a:lnTo>
                  <a:lnTo>
                    <a:pt x="53" y="2087"/>
                  </a:lnTo>
                  <a:lnTo>
                    <a:pt x="51" y="2084"/>
                  </a:lnTo>
                  <a:lnTo>
                    <a:pt x="51" y="2079"/>
                  </a:lnTo>
                  <a:lnTo>
                    <a:pt x="50" y="2079"/>
                  </a:lnTo>
                  <a:lnTo>
                    <a:pt x="48" y="2078"/>
                  </a:lnTo>
                  <a:lnTo>
                    <a:pt x="48" y="2076"/>
                  </a:lnTo>
                  <a:lnTo>
                    <a:pt x="46" y="2073"/>
                  </a:lnTo>
                  <a:lnTo>
                    <a:pt x="45" y="2071"/>
                  </a:lnTo>
                  <a:lnTo>
                    <a:pt x="45" y="2071"/>
                  </a:lnTo>
                  <a:lnTo>
                    <a:pt x="43" y="2071"/>
                  </a:lnTo>
                  <a:lnTo>
                    <a:pt x="43" y="2070"/>
                  </a:lnTo>
                  <a:lnTo>
                    <a:pt x="43" y="2068"/>
                  </a:lnTo>
                  <a:lnTo>
                    <a:pt x="43" y="2068"/>
                  </a:lnTo>
                  <a:lnTo>
                    <a:pt x="42" y="2068"/>
                  </a:lnTo>
                  <a:lnTo>
                    <a:pt x="42" y="2068"/>
                  </a:lnTo>
                  <a:lnTo>
                    <a:pt x="39" y="2065"/>
                  </a:lnTo>
                  <a:lnTo>
                    <a:pt x="39" y="2064"/>
                  </a:lnTo>
                  <a:lnTo>
                    <a:pt x="39" y="2062"/>
                  </a:lnTo>
                  <a:lnTo>
                    <a:pt x="36" y="2062"/>
                  </a:lnTo>
                  <a:lnTo>
                    <a:pt x="36" y="2062"/>
                  </a:lnTo>
                  <a:lnTo>
                    <a:pt x="34" y="2062"/>
                  </a:lnTo>
                  <a:lnTo>
                    <a:pt x="37" y="2067"/>
                  </a:lnTo>
                  <a:lnTo>
                    <a:pt x="37" y="2068"/>
                  </a:lnTo>
                  <a:lnTo>
                    <a:pt x="37" y="2068"/>
                  </a:lnTo>
                  <a:lnTo>
                    <a:pt x="37" y="2068"/>
                  </a:lnTo>
                  <a:lnTo>
                    <a:pt x="36" y="2068"/>
                  </a:lnTo>
                  <a:lnTo>
                    <a:pt x="36" y="2070"/>
                  </a:lnTo>
                  <a:lnTo>
                    <a:pt x="36" y="2070"/>
                  </a:lnTo>
                  <a:lnTo>
                    <a:pt x="34" y="2068"/>
                  </a:lnTo>
                  <a:lnTo>
                    <a:pt x="34" y="2068"/>
                  </a:lnTo>
                  <a:lnTo>
                    <a:pt x="34" y="2071"/>
                  </a:lnTo>
                  <a:lnTo>
                    <a:pt x="34" y="2073"/>
                  </a:lnTo>
                  <a:lnTo>
                    <a:pt x="33" y="2073"/>
                  </a:lnTo>
                  <a:lnTo>
                    <a:pt x="33" y="2076"/>
                  </a:lnTo>
                  <a:lnTo>
                    <a:pt x="33" y="2078"/>
                  </a:lnTo>
                  <a:lnTo>
                    <a:pt x="34" y="2079"/>
                  </a:lnTo>
                  <a:lnTo>
                    <a:pt x="34" y="2078"/>
                  </a:lnTo>
                  <a:lnTo>
                    <a:pt x="36" y="2076"/>
                  </a:lnTo>
                  <a:lnTo>
                    <a:pt x="36" y="2079"/>
                  </a:lnTo>
                  <a:lnTo>
                    <a:pt x="37" y="2079"/>
                  </a:lnTo>
                  <a:lnTo>
                    <a:pt x="40" y="2079"/>
                  </a:lnTo>
                  <a:lnTo>
                    <a:pt x="39" y="2082"/>
                  </a:lnTo>
                  <a:lnTo>
                    <a:pt x="37" y="2085"/>
                  </a:lnTo>
                  <a:lnTo>
                    <a:pt x="36" y="2090"/>
                  </a:lnTo>
                  <a:lnTo>
                    <a:pt x="36" y="2094"/>
                  </a:lnTo>
                  <a:lnTo>
                    <a:pt x="36" y="2098"/>
                  </a:lnTo>
                  <a:lnTo>
                    <a:pt x="36" y="2099"/>
                  </a:lnTo>
                  <a:lnTo>
                    <a:pt x="37" y="2101"/>
                  </a:lnTo>
                  <a:lnTo>
                    <a:pt x="37" y="2102"/>
                  </a:lnTo>
                  <a:lnTo>
                    <a:pt x="39" y="2104"/>
                  </a:lnTo>
                  <a:lnTo>
                    <a:pt x="39" y="2104"/>
                  </a:lnTo>
                  <a:lnTo>
                    <a:pt x="39" y="2104"/>
                  </a:lnTo>
                  <a:lnTo>
                    <a:pt x="40" y="2102"/>
                  </a:lnTo>
                  <a:lnTo>
                    <a:pt x="40" y="2102"/>
                  </a:lnTo>
                  <a:close/>
                  <a:moveTo>
                    <a:pt x="53" y="2047"/>
                  </a:moveTo>
                  <a:lnTo>
                    <a:pt x="51" y="2047"/>
                  </a:lnTo>
                  <a:lnTo>
                    <a:pt x="50" y="2047"/>
                  </a:lnTo>
                  <a:lnTo>
                    <a:pt x="50" y="2047"/>
                  </a:lnTo>
                  <a:lnTo>
                    <a:pt x="50" y="2047"/>
                  </a:lnTo>
                  <a:lnTo>
                    <a:pt x="48" y="2048"/>
                  </a:lnTo>
                  <a:lnTo>
                    <a:pt x="48" y="2050"/>
                  </a:lnTo>
                  <a:lnTo>
                    <a:pt x="48" y="2050"/>
                  </a:lnTo>
                  <a:lnTo>
                    <a:pt x="50" y="2050"/>
                  </a:lnTo>
                  <a:lnTo>
                    <a:pt x="48" y="2053"/>
                  </a:lnTo>
                  <a:lnTo>
                    <a:pt x="45" y="2056"/>
                  </a:lnTo>
                  <a:lnTo>
                    <a:pt x="46" y="2058"/>
                  </a:lnTo>
                  <a:lnTo>
                    <a:pt x="46" y="2059"/>
                  </a:lnTo>
                  <a:lnTo>
                    <a:pt x="46" y="2061"/>
                  </a:lnTo>
                  <a:lnTo>
                    <a:pt x="46" y="2062"/>
                  </a:lnTo>
                  <a:lnTo>
                    <a:pt x="48" y="2064"/>
                  </a:lnTo>
                  <a:lnTo>
                    <a:pt x="48" y="2065"/>
                  </a:lnTo>
                  <a:lnTo>
                    <a:pt x="50" y="2071"/>
                  </a:lnTo>
                  <a:lnTo>
                    <a:pt x="50" y="2073"/>
                  </a:lnTo>
                  <a:lnTo>
                    <a:pt x="50" y="2074"/>
                  </a:lnTo>
                  <a:lnTo>
                    <a:pt x="51" y="2076"/>
                  </a:lnTo>
                  <a:lnTo>
                    <a:pt x="53" y="2076"/>
                  </a:lnTo>
                  <a:lnTo>
                    <a:pt x="53" y="2076"/>
                  </a:lnTo>
                  <a:lnTo>
                    <a:pt x="54" y="2076"/>
                  </a:lnTo>
                  <a:lnTo>
                    <a:pt x="54" y="2074"/>
                  </a:lnTo>
                  <a:lnTo>
                    <a:pt x="56" y="2074"/>
                  </a:lnTo>
                  <a:lnTo>
                    <a:pt x="56" y="2074"/>
                  </a:lnTo>
                  <a:lnTo>
                    <a:pt x="57" y="2074"/>
                  </a:lnTo>
                  <a:lnTo>
                    <a:pt x="57" y="2076"/>
                  </a:lnTo>
                  <a:lnTo>
                    <a:pt x="57" y="2078"/>
                  </a:lnTo>
                  <a:lnTo>
                    <a:pt x="56" y="2078"/>
                  </a:lnTo>
                  <a:lnTo>
                    <a:pt x="54" y="2076"/>
                  </a:lnTo>
                  <a:lnTo>
                    <a:pt x="54" y="2078"/>
                  </a:lnTo>
                  <a:lnTo>
                    <a:pt x="54" y="2078"/>
                  </a:lnTo>
                  <a:lnTo>
                    <a:pt x="56" y="2079"/>
                  </a:lnTo>
                  <a:lnTo>
                    <a:pt x="59" y="2079"/>
                  </a:lnTo>
                  <a:lnTo>
                    <a:pt x="63" y="2074"/>
                  </a:lnTo>
                  <a:lnTo>
                    <a:pt x="63" y="2073"/>
                  </a:lnTo>
                  <a:lnTo>
                    <a:pt x="63" y="2070"/>
                  </a:lnTo>
                  <a:lnTo>
                    <a:pt x="63" y="2065"/>
                  </a:lnTo>
                  <a:lnTo>
                    <a:pt x="63" y="2064"/>
                  </a:lnTo>
                  <a:lnTo>
                    <a:pt x="62" y="2061"/>
                  </a:lnTo>
                  <a:lnTo>
                    <a:pt x="60" y="2056"/>
                  </a:lnTo>
                  <a:lnTo>
                    <a:pt x="59" y="2053"/>
                  </a:lnTo>
                  <a:lnTo>
                    <a:pt x="56" y="2050"/>
                  </a:lnTo>
                  <a:lnTo>
                    <a:pt x="53" y="2048"/>
                  </a:lnTo>
                  <a:lnTo>
                    <a:pt x="53" y="2047"/>
                  </a:lnTo>
                  <a:close/>
                  <a:moveTo>
                    <a:pt x="54" y="2042"/>
                  </a:moveTo>
                  <a:lnTo>
                    <a:pt x="54" y="2044"/>
                  </a:lnTo>
                  <a:lnTo>
                    <a:pt x="54" y="2047"/>
                  </a:lnTo>
                  <a:lnTo>
                    <a:pt x="56" y="2048"/>
                  </a:lnTo>
                  <a:lnTo>
                    <a:pt x="57" y="2050"/>
                  </a:lnTo>
                  <a:lnTo>
                    <a:pt x="59" y="2050"/>
                  </a:lnTo>
                  <a:lnTo>
                    <a:pt x="60" y="2050"/>
                  </a:lnTo>
                  <a:lnTo>
                    <a:pt x="60" y="2050"/>
                  </a:lnTo>
                  <a:lnTo>
                    <a:pt x="62" y="2048"/>
                  </a:lnTo>
                  <a:lnTo>
                    <a:pt x="62" y="2048"/>
                  </a:lnTo>
                  <a:lnTo>
                    <a:pt x="63" y="2050"/>
                  </a:lnTo>
                  <a:lnTo>
                    <a:pt x="63" y="2056"/>
                  </a:lnTo>
                  <a:lnTo>
                    <a:pt x="65" y="2058"/>
                  </a:lnTo>
                  <a:lnTo>
                    <a:pt x="66" y="2058"/>
                  </a:lnTo>
                  <a:lnTo>
                    <a:pt x="70" y="2054"/>
                  </a:lnTo>
                  <a:lnTo>
                    <a:pt x="71" y="2054"/>
                  </a:lnTo>
                  <a:lnTo>
                    <a:pt x="73" y="2056"/>
                  </a:lnTo>
                  <a:lnTo>
                    <a:pt x="74" y="2056"/>
                  </a:lnTo>
                  <a:lnTo>
                    <a:pt x="73" y="2053"/>
                  </a:lnTo>
                  <a:lnTo>
                    <a:pt x="73" y="2050"/>
                  </a:lnTo>
                  <a:lnTo>
                    <a:pt x="73" y="2048"/>
                  </a:lnTo>
                  <a:lnTo>
                    <a:pt x="76" y="2044"/>
                  </a:lnTo>
                  <a:lnTo>
                    <a:pt x="76" y="2041"/>
                  </a:lnTo>
                  <a:lnTo>
                    <a:pt x="76" y="2033"/>
                  </a:lnTo>
                  <a:lnTo>
                    <a:pt x="76" y="2031"/>
                  </a:lnTo>
                  <a:lnTo>
                    <a:pt x="76" y="2031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3" y="2033"/>
                  </a:lnTo>
                  <a:lnTo>
                    <a:pt x="71" y="2034"/>
                  </a:lnTo>
                  <a:lnTo>
                    <a:pt x="71" y="2034"/>
                  </a:lnTo>
                  <a:lnTo>
                    <a:pt x="71" y="2034"/>
                  </a:lnTo>
                  <a:lnTo>
                    <a:pt x="70" y="2033"/>
                  </a:lnTo>
                  <a:lnTo>
                    <a:pt x="70" y="2033"/>
                  </a:lnTo>
                  <a:lnTo>
                    <a:pt x="65" y="2034"/>
                  </a:lnTo>
                  <a:lnTo>
                    <a:pt x="65" y="2034"/>
                  </a:lnTo>
                  <a:lnTo>
                    <a:pt x="63" y="2036"/>
                  </a:lnTo>
                  <a:lnTo>
                    <a:pt x="63" y="2036"/>
                  </a:lnTo>
                  <a:lnTo>
                    <a:pt x="63" y="2036"/>
                  </a:lnTo>
                  <a:lnTo>
                    <a:pt x="62" y="2036"/>
                  </a:lnTo>
                  <a:lnTo>
                    <a:pt x="62" y="2036"/>
                  </a:lnTo>
                  <a:lnTo>
                    <a:pt x="62" y="2036"/>
                  </a:lnTo>
                  <a:lnTo>
                    <a:pt x="60" y="2036"/>
                  </a:lnTo>
                  <a:lnTo>
                    <a:pt x="60" y="2038"/>
                  </a:lnTo>
                  <a:lnTo>
                    <a:pt x="60" y="2039"/>
                  </a:lnTo>
                  <a:lnTo>
                    <a:pt x="60" y="2039"/>
                  </a:lnTo>
                  <a:lnTo>
                    <a:pt x="60" y="2042"/>
                  </a:lnTo>
                  <a:lnTo>
                    <a:pt x="60" y="2042"/>
                  </a:lnTo>
                  <a:lnTo>
                    <a:pt x="54" y="2042"/>
                  </a:lnTo>
                  <a:close/>
                  <a:moveTo>
                    <a:pt x="43" y="2038"/>
                  </a:moveTo>
                  <a:lnTo>
                    <a:pt x="43" y="2038"/>
                  </a:lnTo>
                  <a:lnTo>
                    <a:pt x="43" y="2036"/>
                  </a:lnTo>
                  <a:lnTo>
                    <a:pt x="43" y="2034"/>
                  </a:lnTo>
                  <a:lnTo>
                    <a:pt x="43" y="2033"/>
                  </a:lnTo>
                  <a:lnTo>
                    <a:pt x="42" y="2031"/>
                  </a:lnTo>
                  <a:lnTo>
                    <a:pt x="42" y="2030"/>
                  </a:lnTo>
                  <a:lnTo>
                    <a:pt x="42" y="2030"/>
                  </a:lnTo>
                  <a:lnTo>
                    <a:pt x="42" y="2031"/>
                  </a:lnTo>
                  <a:lnTo>
                    <a:pt x="40" y="2033"/>
                  </a:lnTo>
                  <a:lnTo>
                    <a:pt x="40" y="2034"/>
                  </a:lnTo>
                  <a:lnTo>
                    <a:pt x="40" y="2036"/>
                  </a:lnTo>
                  <a:lnTo>
                    <a:pt x="40" y="2036"/>
                  </a:lnTo>
                  <a:lnTo>
                    <a:pt x="42" y="2038"/>
                  </a:lnTo>
                  <a:lnTo>
                    <a:pt x="42" y="2039"/>
                  </a:lnTo>
                  <a:lnTo>
                    <a:pt x="42" y="2039"/>
                  </a:lnTo>
                  <a:lnTo>
                    <a:pt x="42" y="2041"/>
                  </a:lnTo>
                  <a:lnTo>
                    <a:pt x="43" y="2042"/>
                  </a:lnTo>
                  <a:lnTo>
                    <a:pt x="43" y="2042"/>
                  </a:lnTo>
                  <a:lnTo>
                    <a:pt x="45" y="2042"/>
                  </a:lnTo>
                  <a:lnTo>
                    <a:pt x="45" y="2042"/>
                  </a:lnTo>
                  <a:lnTo>
                    <a:pt x="45" y="2044"/>
                  </a:lnTo>
                  <a:lnTo>
                    <a:pt x="46" y="2044"/>
                  </a:lnTo>
                  <a:lnTo>
                    <a:pt x="46" y="2044"/>
                  </a:lnTo>
                  <a:lnTo>
                    <a:pt x="48" y="2042"/>
                  </a:lnTo>
                  <a:lnTo>
                    <a:pt x="48" y="2041"/>
                  </a:lnTo>
                  <a:lnTo>
                    <a:pt x="50" y="2039"/>
                  </a:lnTo>
                  <a:lnTo>
                    <a:pt x="50" y="2038"/>
                  </a:lnTo>
                  <a:lnTo>
                    <a:pt x="50" y="2036"/>
                  </a:lnTo>
                  <a:lnTo>
                    <a:pt x="50" y="2036"/>
                  </a:lnTo>
                  <a:lnTo>
                    <a:pt x="50" y="2034"/>
                  </a:lnTo>
                  <a:lnTo>
                    <a:pt x="48" y="2031"/>
                  </a:lnTo>
                  <a:lnTo>
                    <a:pt x="48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6" y="2031"/>
                  </a:lnTo>
                  <a:lnTo>
                    <a:pt x="45" y="2030"/>
                  </a:lnTo>
                  <a:lnTo>
                    <a:pt x="45" y="2030"/>
                  </a:lnTo>
                  <a:lnTo>
                    <a:pt x="46" y="2030"/>
                  </a:lnTo>
                  <a:lnTo>
                    <a:pt x="45" y="2028"/>
                  </a:lnTo>
                  <a:lnTo>
                    <a:pt x="43" y="2027"/>
                  </a:lnTo>
                  <a:lnTo>
                    <a:pt x="43" y="2025"/>
                  </a:lnTo>
                  <a:lnTo>
                    <a:pt x="43" y="2025"/>
                  </a:lnTo>
                  <a:lnTo>
                    <a:pt x="42" y="2025"/>
                  </a:lnTo>
                  <a:lnTo>
                    <a:pt x="42" y="2027"/>
                  </a:lnTo>
                  <a:lnTo>
                    <a:pt x="43" y="2030"/>
                  </a:lnTo>
                  <a:lnTo>
                    <a:pt x="43" y="2030"/>
                  </a:lnTo>
                  <a:lnTo>
                    <a:pt x="43" y="2030"/>
                  </a:lnTo>
                  <a:lnTo>
                    <a:pt x="43" y="2031"/>
                  </a:lnTo>
                  <a:lnTo>
                    <a:pt x="43" y="2033"/>
                  </a:lnTo>
                  <a:lnTo>
                    <a:pt x="45" y="2034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5" y="2036"/>
                  </a:lnTo>
                  <a:lnTo>
                    <a:pt x="43" y="2038"/>
                  </a:lnTo>
                  <a:close/>
                  <a:moveTo>
                    <a:pt x="34" y="2014"/>
                  </a:moveTo>
                  <a:lnTo>
                    <a:pt x="36" y="2013"/>
                  </a:lnTo>
                  <a:lnTo>
                    <a:pt x="36" y="2011"/>
                  </a:lnTo>
                  <a:lnTo>
                    <a:pt x="36" y="2008"/>
                  </a:lnTo>
                  <a:lnTo>
                    <a:pt x="34" y="2007"/>
                  </a:lnTo>
                  <a:lnTo>
                    <a:pt x="34" y="2005"/>
                  </a:lnTo>
                  <a:lnTo>
                    <a:pt x="33" y="2004"/>
                  </a:lnTo>
                  <a:lnTo>
                    <a:pt x="31" y="2002"/>
                  </a:lnTo>
                  <a:lnTo>
                    <a:pt x="31" y="2001"/>
                  </a:lnTo>
                  <a:lnTo>
                    <a:pt x="33" y="2001"/>
                  </a:lnTo>
                  <a:lnTo>
                    <a:pt x="34" y="1999"/>
                  </a:lnTo>
                  <a:lnTo>
                    <a:pt x="34" y="1996"/>
                  </a:lnTo>
                  <a:lnTo>
                    <a:pt x="33" y="1991"/>
                  </a:lnTo>
                  <a:lnTo>
                    <a:pt x="26" y="1984"/>
                  </a:lnTo>
                  <a:lnTo>
                    <a:pt x="25" y="1977"/>
                  </a:lnTo>
                  <a:lnTo>
                    <a:pt x="25" y="1977"/>
                  </a:lnTo>
                  <a:lnTo>
                    <a:pt x="25" y="1977"/>
                  </a:lnTo>
                  <a:lnTo>
                    <a:pt x="23" y="1977"/>
                  </a:lnTo>
                  <a:lnTo>
                    <a:pt x="23" y="1979"/>
                  </a:lnTo>
                  <a:lnTo>
                    <a:pt x="23" y="1982"/>
                  </a:lnTo>
                  <a:lnTo>
                    <a:pt x="23" y="1984"/>
                  </a:lnTo>
                  <a:lnTo>
                    <a:pt x="25" y="1985"/>
                  </a:lnTo>
                  <a:lnTo>
                    <a:pt x="25" y="1985"/>
                  </a:lnTo>
                  <a:lnTo>
                    <a:pt x="23" y="1988"/>
                  </a:lnTo>
                  <a:lnTo>
                    <a:pt x="25" y="1990"/>
                  </a:lnTo>
                  <a:lnTo>
                    <a:pt x="25" y="1993"/>
                  </a:lnTo>
                  <a:lnTo>
                    <a:pt x="25" y="1994"/>
                  </a:lnTo>
                  <a:lnTo>
                    <a:pt x="26" y="1994"/>
                  </a:lnTo>
                  <a:lnTo>
                    <a:pt x="28" y="1996"/>
                  </a:lnTo>
                  <a:lnTo>
                    <a:pt x="28" y="1997"/>
                  </a:lnTo>
                  <a:lnTo>
                    <a:pt x="29" y="1996"/>
                  </a:lnTo>
                  <a:lnTo>
                    <a:pt x="28" y="2001"/>
                  </a:lnTo>
                  <a:lnTo>
                    <a:pt x="28" y="1999"/>
                  </a:lnTo>
                  <a:lnTo>
                    <a:pt x="26" y="1999"/>
                  </a:lnTo>
                  <a:lnTo>
                    <a:pt x="22" y="1999"/>
                  </a:lnTo>
                  <a:lnTo>
                    <a:pt x="22" y="2001"/>
                  </a:lnTo>
                  <a:lnTo>
                    <a:pt x="22" y="2002"/>
                  </a:lnTo>
                  <a:lnTo>
                    <a:pt x="23" y="2005"/>
                  </a:lnTo>
                  <a:lnTo>
                    <a:pt x="25" y="2007"/>
                  </a:lnTo>
                  <a:lnTo>
                    <a:pt x="26" y="2010"/>
                  </a:lnTo>
                  <a:lnTo>
                    <a:pt x="28" y="2010"/>
                  </a:lnTo>
                  <a:lnTo>
                    <a:pt x="28" y="2007"/>
                  </a:lnTo>
                  <a:lnTo>
                    <a:pt x="29" y="2008"/>
                  </a:lnTo>
                  <a:lnTo>
                    <a:pt x="31" y="2010"/>
                  </a:lnTo>
                  <a:lnTo>
                    <a:pt x="31" y="2011"/>
                  </a:lnTo>
                  <a:lnTo>
                    <a:pt x="31" y="2014"/>
                  </a:lnTo>
                  <a:lnTo>
                    <a:pt x="31" y="2014"/>
                  </a:lnTo>
                  <a:lnTo>
                    <a:pt x="33" y="2014"/>
                  </a:lnTo>
                  <a:lnTo>
                    <a:pt x="34" y="2014"/>
                  </a:lnTo>
                  <a:close/>
                  <a:moveTo>
                    <a:pt x="36" y="1979"/>
                  </a:moveTo>
                  <a:lnTo>
                    <a:pt x="36" y="1982"/>
                  </a:lnTo>
                  <a:lnTo>
                    <a:pt x="36" y="1984"/>
                  </a:lnTo>
                  <a:lnTo>
                    <a:pt x="37" y="1984"/>
                  </a:lnTo>
                  <a:lnTo>
                    <a:pt x="42" y="1981"/>
                  </a:lnTo>
                  <a:lnTo>
                    <a:pt x="42" y="1979"/>
                  </a:lnTo>
                  <a:lnTo>
                    <a:pt x="42" y="1976"/>
                  </a:lnTo>
                  <a:lnTo>
                    <a:pt x="42" y="1973"/>
                  </a:lnTo>
                  <a:lnTo>
                    <a:pt x="39" y="1968"/>
                  </a:lnTo>
                  <a:lnTo>
                    <a:pt x="29" y="1965"/>
                  </a:lnTo>
                  <a:lnTo>
                    <a:pt x="25" y="1961"/>
                  </a:lnTo>
                  <a:lnTo>
                    <a:pt x="25" y="1961"/>
                  </a:lnTo>
                  <a:lnTo>
                    <a:pt x="25" y="1961"/>
                  </a:lnTo>
                  <a:lnTo>
                    <a:pt x="23" y="1959"/>
                  </a:lnTo>
                  <a:lnTo>
                    <a:pt x="25" y="1965"/>
                  </a:lnTo>
                  <a:lnTo>
                    <a:pt x="26" y="1967"/>
                  </a:lnTo>
                  <a:lnTo>
                    <a:pt x="28" y="1968"/>
                  </a:lnTo>
                  <a:lnTo>
                    <a:pt x="28" y="1968"/>
                  </a:lnTo>
                  <a:lnTo>
                    <a:pt x="29" y="1968"/>
                  </a:lnTo>
                  <a:lnTo>
                    <a:pt x="29" y="1967"/>
                  </a:lnTo>
                  <a:lnTo>
                    <a:pt x="31" y="1968"/>
                  </a:lnTo>
                  <a:lnTo>
                    <a:pt x="31" y="1970"/>
                  </a:lnTo>
                  <a:lnTo>
                    <a:pt x="31" y="1971"/>
                  </a:lnTo>
                  <a:lnTo>
                    <a:pt x="31" y="1971"/>
                  </a:lnTo>
                  <a:lnTo>
                    <a:pt x="33" y="1971"/>
                  </a:lnTo>
                  <a:lnTo>
                    <a:pt x="33" y="1973"/>
                  </a:lnTo>
                  <a:lnTo>
                    <a:pt x="33" y="1973"/>
                  </a:lnTo>
                  <a:lnTo>
                    <a:pt x="33" y="1973"/>
                  </a:lnTo>
                  <a:lnTo>
                    <a:pt x="31" y="1973"/>
                  </a:lnTo>
                  <a:lnTo>
                    <a:pt x="33" y="1974"/>
                  </a:lnTo>
                  <a:lnTo>
                    <a:pt x="37" y="1977"/>
                  </a:lnTo>
                  <a:lnTo>
                    <a:pt x="36" y="1977"/>
                  </a:lnTo>
                  <a:lnTo>
                    <a:pt x="36" y="1979"/>
                  </a:lnTo>
                  <a:close/>
                  <a:moveTo>
                    <a:pt x="16" y="1948"/>
                  </a:moveTo>
                  <a:lnTo>
                    <a:pt x="14" y="1948"/>
                  </a:lnTo>
                  <a:lnTo>
                    <a:pt x="14" y="1948"/>
                  </a:lnTo>
                  <a:lnTo>
                    <a:pt x="14" y="1948"/>
                  </a:lnTo>
                  <a:lnTo>
                    <a:pt x="14" y="1948"/>
                  </a:lnTo>
                  <a:lnTo>
                    <a:pt x="14" y="1947"/>
                  </a:lnTo>
                  <a:lnTo>
                    <a:pt x="14" y="1947"/>
                  </a:lnTo>
                  <a:lnTo>
                    <a:pt x="14" y="1947"/>
                  </a:lnTo>
                  <a:lnTo>
                    <a:pt x="14" y="1945"/>
                  </a:lnTo>
                  <a:lnTo>
                    <a:pt x="14" y="1945"/>
                  </a:lnTo>
                  <a:lnTo>
                    <a:pt x="13" y="1944"/>
                  </a:lnTo>
                  <a:lnTo>
                    <a:pt x="13" y="1944"/>
                  </a:lnTo>
                  <a:lnTo>
                    <a:pt x="11" y="1944"/>
                  </a:lnTo>
                  <a:lnTo>
                    <a:pt x="11" y="1945"/>
                  </a:lnTo>
                  <a:lnTo>
                    <a:pt x="11" y="1945"/>
                  </a:lnTo>
                  <a:lnTo>
                    <a:pt x="11" y="1947"/>
                  </a:lnTo>
                  <a:lnTo>
                    <a:pt x="11" y="1947"/>
                  </a:lnTo>
                  <a:lnTo>
                    <a:pt x="11" y="1948"/>
                  </a:lnTo>
                  <a:lnTo>
                    <a:pt x="11" y="1950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1"/>
                  </a:lnTo>
                  <a:lnTo>
                    <a:pt x="11" y="1953"/>
                  </a:lnTo>
                  <a:lnTo>
                    <a:pt x="11" y="1953"/>
                  </a:lnTo>
                  <a:lnTo>
                    <a:pt x="11" y="1953"/>
                  </a:lnTo>
                  <a:lnTo>
                    <a:pt x="11" y="1954"/>
                  </a:lnTo>
                  <a:lnTo>
                    <a:pt x="13" y="1954"/>
                  </a:lnTo>
                  <a:lnTo>
                    <a:pt x="14" y="1956"/>
                  </a:lnTo>
                  <a:lnTo>
                    <a:pt x="14" y="1956"/>
                  </a:lnTo>
                  <a:lnTo>
                    <a:pt x="16" y="1954"/>
                  </a:lnTo>
                  <a:lnTo>
                    <a:pt x="16" y="1953"/>
                  </a:lnTo>
                  <a:lnTo>
                    <a:pt x="16" y="1951"/>
                  </a:lnTo>
                  <a:lnTo>
                    <a:pt x="16" y="1951"/>
                  </a:lnTo>
                  <a:lnTo>
                    <a:pt x="16" y="1950"/>
                  </a:lnTo>
                  <a:lnTo>
                    <a:pt x="16" y="1948"/>
                  </a:lnTo>
                  <a:close/>
                  <a:moveTo>
                    <a:pt x="79" y="1951"/>
                  </a:moveTo>
                  <a:lnTo>
                    <a:pt x="79" y="1942"/>
                  </a:lnTo>
                  <a:lnTo>
                    <a:pt x="76" y="1939"/>
                  </a:lnTo>
                  <a:lnTo>
                    <a:pt x="74" y="1939"/>
                  </a:lnTo>
                  <a:lnTo>
                    <a:pt x="73" y="1940"/>
                  </a:lnTo>
                  <a:lnTo>
                    <a:pt x="71" y="1942"/>
                  </a:lnTo>
                  <a:lnTo>
                    <a:pt x="71" y="1944"/>
                  </a:lnTo>
                  <a:lnTo>
                    <a:pt x="71" y="1947"/>
                  </a:lnTo>
                  <a:lnTo>
                    <a:pt x="70" y="1948"/>
                  </a:lnTo>
                  <a:lnTo>
                    <a:pt x="70" y="1950"/>
                  </a:lnTo>
                  <a:lnTo>
                    <a:pt x="68" y="1951"/>
                  </a:lnTo>
                  <a:lnTo>
                    <a:pt x="66" y="1953"/>
                  </a:lnTo>
                  <a:lnTo>
                    <a:pt x="62" y="1954"/>
                  </a:lnTo>
                  <a:lnTo>
                    <a:pt x="59" y="1956"/>
                  </a:lnTo>
                  <a:lnTo>
                    <a:pt x="59" y="1957"/>
                  </a:lnTo>
                  <a:lnTo>
                    <a:pt x="57" y="1959"/>
                  </a:lnTo>
                  <a:lnTo>
                    <a:pt x="57" y="1959"/>
                  </a:lnTo>
                  <a:lnTo>
                    <a:pt x="56" y="1961"/>
                  </a:lnTo>
                  <a:lnTo>
                    <a:pt x="53" y="1961"/>
                  </a:lnTo>
                  <a:lnTo>
                    <a:pt x="51" y="1961"/>
                  </a:lnTo>
                  <a:lnTo>
                    <a:pt x="56" y="1967"/>
                  </a:lnTo>
                  <a:lnTo>
                    <a:pt x="59" y="1971"/>
                  </a:lnTo>
                  <a:lnTo>
                    <a:pt x="60" y="1973"/>
                  </a:lnTo>
                  <a:lnTo>
                    <a:pt x="60" y="1973"/>
                  </a:lnTo>
                  <a:lnTo>
                    <a:pt x="63" y="1976"/>
                  </a:lnTo>
                  <a:lnTo>
                    <a:pt x="65" y="1977"/>
                  </a:lnTo>
                  <a:lnTo>
                    <a:pt x="66" y="1977"/>
                  </a:lnTo>
                  <a:lnTo>
                    <a:pt x="73" y="1977"/>
                  </a:lnTo>
                  <a:lnTo>
                    <a:pt x="73" y="1976"/>
                  </a:lnTo>
                  <a:lnTo>
                    <a:pt x="73" y="1974"/>
                  </a:lnTo>
                  <a:lnTo>
                    <a:pt x="73" y="1973"/>
                  </a:lnTo>
                  <a:lnTo>
                    <a:pt x="74" y="1973"/>
                  </a:lnTo>
                  <a:lnTo>
                    <a:pt x="76" y="1973"/>
                  </a:lnTo>
                  <a:lnTo>
                    <a:pt x="77" y="1973"/>
                  </a:lnTo>
                  <a:lnTo>
                    <a:pt x="77" y="1971"/>
                  </a:lnTo>
                  <a:lnTo>
                    <a:pt x="77" y="1964"/>
                  </a:lnTo>
                  <a:lnTo>
                    <a:pt x="77" y="1961"/>
                  </a:lnTo>
                  <a:lnTo>
                    <a:pt x="77" y="1954"/>
                  </a:lnTo>
                  <a:lnTo>
                    <a:pt x="79" y="1951"/>
                  </a:lnTo>
                  <a:close/>
                  <a:moveTo>
                    <a:pt x="22" y="1913"/>
                  </a:moveTo>
                  <a:lnTo>
                    <a:pt x="22" y="1913"/>
                  </a:lnTo>
                  <a:lnTo>
                    <a:pt x="22" y="1913"/>
                  </a:lnTo>
                  <a:lnTo>
                    <a:pt x="20" y="1913"/>
                  </a:lnTo>
                  <a:lnTo>
                    <a:pt x="22" y="1911"/>
                  </a:lnTo>
                  <a:lnTo>
                    <a:pt x="22" y="1911"/>
                  </a:lnTo>
                  <a:lnTo>
                    <a:pt x="19" y="1907"/>
                  </a:lnTo>
                  <a:lnTo>
                    <a:pt x="19" y="1905"/>
                  </a:lnTo>
                  <a:lnTo>
                    <a:pt x="17" y="1905"/>
                  </a:lnTo>
                  <a:lnTo>
                    <a:pt x="17" y="1904"/>
                  </a:lnTo>
                  <a:lnTo>
                    <a:pt x="17" y="1904"/>
                  </a:lnTo>
                  <a:lnTo>
                    <a:pt x="19" y="1904"/>
                  </a:lnTo>
                  <a:lnTo>
                    <a:pt x="19" y="1904"/>
                  </a:lnTo>
                  <a:lnTo>
                    <a:pt x="17" y="1902"/>
                  </a:lnTo>
                  <a:lnTo>
                    <a:pt x="16" y="1902"/>
                  </a:lnTo>
                  <a:lnTo>
                    <a:pt x="14" y="1904"/>
                  </a:lnTo>
                  <a:lnTo>
                    <a:pt x="14" y="1904"/>
                  </a:lnTo>
                  <a:lnTo>
                    <a:pt x="14" y="1902"/>
                  </a:lnTo>
                  <a:lnTo>
                    <a:pt x="16" y="1902"/>
                  </a:lnTo>
                  <a:lnTo>
                    <a:pt x="14" y="1900"/>
                  </a:lnTo>
                  <a:lnTo>
                    <a:pt x="11" y="1902"/>
                  </a:lnTo>
                  <a:lnTo>
                    <a:pt x="11" y="1902"/>
                  </a:lnTo>
                  <a:lnTo>
                    <a:pt x="11" y="1904"/>
                  </a:lnTo>
                  <a:lnTo>
                    <a:pt x="11" y="1904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1" y="1905"/>
                  </a:lnTo>
                  <a:lnTo>
                    <a:pt x="13" y="1905"/>
                  </a:lnTo>
                  <a:lnTo>
                    <a:pt x="13" y="1905"/>
                  </a:lnTo>
                  <a:lnTo>
                    <a:pt x="13" y="1905"/>
                  </a:lnTo>
                  <a:lnTo>
                    <a:pt x="14" y="1905"/>
                  </a:lnTo>
                  <a:lnTo>
                    <a:pt x="14" y="1905"/>
                  </a:lnTo>
                  <a:lnTo>
                    <a:pt x="14" y="1905"/>
                  </a:lnTo>
                  <a:lnTo>
                    <a:pt x="14" y="1907"/>
                  </a:lnTo>
                  <a:lnTo>
                    <a:pt x="14" y="1907"/>
                  </a:lnTo>
                  <a:lnTo>
                    <a:pt x="14" y="1908"/>
                  </a:lnTo>
                  <a:lnTo>
                    <a:pt x="16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0"/>
                  </a:lnTo>
                  <a:lnTo>
                    <a:pt x="17" y="1911"/>
                  </a:lnTo>
                  <a:lnTo>
                    <a:pt x="17" y="1913"/>
                  </a:lnTo>
                  <a:lnTo>
                    <a:pt x="19" y="1914"/>
                  </a:lnTo>
                  <a:lnTo>
                    <a:pt x="20" y="1914"/>
                  </a:lnTo>
                  <a:lnTo>
                    <a:pt x="22" y="1914"/>
                  </a:lnTo>
                  <a:lnTo>
                    <a:pt x="22" y="1914"/>
                  </a:lnTo>
                  <a:lnTo>
                    <a:pt x="22" y="1913"/>
                  </a:lnTo>
                  <a:close/>
                  <a:moveTo>
                    <a:pt x="6" y="1887"/>
                  </a:moveTo>
                  <a:lnTo>
                    <a:pt x="5" y="1885"/>
                  </a:lnTo>
                  <a:lnTo>
                    <a:pt x="5" y="1884"/>
                  </a:lnTo>
                  <a:lnTo>
                    <a:pt x="6" y="1884"/>
                  </a:lnTo>
                  <a:lnTo>
                    <a:pt x="5" y="1882"/>
                  </a:lnTo>
                  <a:lnTo>
                    <a:pt x="5" y="1880"/>
                  </a:lnTo>
                  <a:lnTo>
                    <a:pt x="5" y="1879"/>
                  </a:lnTo>
                  <a:lnTo>
                    <a:pt x="3" y="1879"/>
                  </a:lnTo>
                  <a:lnTo>
                    <a:pt x="3" y="1880"/>
                  </a:lnTo>
                  <a:lnTo>
                    <a:pt x="3" y="1880"/>
                  </a:lnTo>
                  <a:lnTo>
                    <a:pt x="2" y="1882"/>
                  </a:lnTo>
                  <a:lnTo>
                    <a:pt x="2" y="1882"/>
                  </a:lnTo>
                  <a:lnTo>
                    <a:pt x="2" y="1882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0" y="1885"/>
                  </a:lnTo>
                  <a:lnTo>
                    <a:pt x="0" y="1887"/>
                  </a:lnTo>
                  <a:lnTo>
                    <a:pt x="0" y="1888"/>
                  </a:lnTo>
                  <a:lnTo>
                    <a:pt x="2" y="1890"/>
                  </a:lnTo>
                  <a:lnTo>
                    <a:pt x="2" y="1890"/>
                  </a:lnTo>
                  <a:lnTo>
                    <a:pt x="2" y="1890"/>
                  </a:lnTo>
                  <a:lnTo>
                    <a:pt x="2" y="1891"/>
                  </a:lnTo>
                  <a:lnTo>
                    <a:pt x="3" y="1893"/>
                  </a:lnTo>
                  <a:lnTo>
                    <a:pt x="3" y="1893"/>
                  </a:lnTo>
                  <a:lnTo>
                    <a:pt x="3" y="1891"/>
                  </a:lnTo>
                  <a:lnTo>
                    <a:pt x="5" y="1891"/>
                  </a:lnTo>
                  <a:lnTo>
                    <a:pt x="5" y="1890"/>
                  </a:lnTo>
                  <a:lnTo>
                    <a:pt x="5" y="1890"/>
                  </a:lnTo>
                  <a:lnTo>
                    <a:pt x="5" y="1891"/>
                  </a:lnTo>
                  <a:lnTo>
                    <a:pt x="5" y="1891"/>
                  </a:lnTo>
                  <a:lnTo>
                    <a:pt x="5" y="1893"/>
                  </a:lnTo>
                  <a:lnTo>
                    <a:pt x="5" y="1894"/>
                  </a:lnTo>
                  <a:lnTo>
                    <a:pt x="6" y="1894"/>
                  </a:lnTo>
                  <a:lnTo>
                    <a:pt x="6" y="1893"/>
                  </a:lnTo>
                  <a:lnTo>
                    <a:pt x="8" y="1890"/>
                  </a:lnTo>
                  <a:lnTo>
                    <a:pt x="8" y="1888"/>
                  </a:lnTo>
                  <a:lnTo>
                    <a:pt x="6" y="1887"/>
                  </a:lnTo>
                  <a:lnTo>
                    <a:pt x="6" y="1887"/>
                  </a:lnTo>
                  <a:close/>
                  <a:moveTo>
                    <a:pt x="11" y="1873"/>
                  </a:moveTo>
                  <a:lnTo>
                    <a:pt x="11" y="1874"/>
                  </a:lnTo>
                  <a:lnTo>
                    <a:pt x="11" y="1879"/>
                  </a:lnTo>
                  <a:lnTo>
                    <a:pt x="11" y="1882"/>
                  </a:lnTo>
                  <a:lnTo>
                    <a:pt x="13" y="1885"/>
                  </a:lnTo>
                  <a:lnTo>
                    <a:pt x="13" y="1884"/>
                  </a:lnTo>
                  <a:lnTo>
                    <a:pt x="13" y="1884"/>
                  </a:lnTo>
                  <a:lnTo>
                    <a:pt x="13" y="1882"/>
                  </a:lnTo>
                  <a:lnTo>
                    <a:pt x="14" y="1880"/>
                  </a:lnTo>
                  <a:lnTo>
                    <a:pt x="14" y="1880"/>
                  </a:lnTo>
                  <a:lnTo>
                    <a:pt x="16" y="1877"/>
                  </a:lnTo>
                  <a:lnTo>
                    <a:pt x="16" y="1877"/>
                  </a:lnTo>
                  <a:lnTo>
                    <a:pt x="17" y="1879"/>
                  </a:lnTo>
                  <a:lnTo>
                    <a:pt x="19" y="1882"/>
                  </a:lnTo>
                  <a:lnTo>
                    <a:pt x="19" y="1884"/>
                  </a:lnTo>
                  <a:lnTo>
                    <a:pt x="20" y="1882"/>
                  </a:lnTo>
                  <a:lnTo>
                    <a:pt x="22" y="1880"/>
                  </a:lnTo>
                  <a:lnTo>
                    <a:pt x="25" y="1877"/>
                  </a:lnTo>
                  <a:lnTo>
                    <a:pt x="26" y="1876"/>
                  </a:lnTo>
                  <a:lnTo>
                    <a:pt x="26" y="1874"/>
                  </a:lnTo>
                  <a:lnTo>
                    <a:pt x="23" y="1865"/>
                  </a:lnTo>
                  <a:lnTo>
                    <a:pt x="23" y="1864"/>
                  </a:lnTo>
                  <a:lnTo>
                    <a:pt x="23" y="1864"/>
                  </a:lnTo>
                  <a:lnTo>
                    <a:pt x="22" y="1862"/>
                  </a:lnTo>
                  <a:lnTo>
                    <a:pt x="20" y="1864"/>
                  </a:lnTo>
                  <a:lnTo>
                    <a:pt x="22" y="1864"/>
                  </a:lnTo>
                  <a:lnTo>
                    <a:pt x="22" y="1865"/>
                  </a:lnTo>
                  <a:lnTo>
                    <a:pt x="22" y="1865"/>
                  </a:lnTo>
                  <a:lnTo>
                    <a:pt x="22" y="1865"/>
                  </a:lnTo>
                  <a:lnTo>
                    <a:pt x="20" y="1867"/>
                  </a:lnTo>
                  <a:lnTo>
                    <a:pt x="20" y="1867"/>
                  </a:lnTo>
                  <a:lnTo>
                    <a:pt x="19" y="1867"/>
                  </a:lnTo>
                  <a:lnTo>
                    <a:pt x="20" y="1867"/>
                  </a:lnTo>
                  <a:lnTo>
                    <a:pt x="20" y="1868"/>
                  </a:lnTo>
                  <a:lnTo>
                    <a:pt x="20" y="1870"/>
                  </a:lnTo>
                  <a:lnTo>
                    <a:pt x="20" y="1871"/>
                  </a:lnTo>
                  <a:lnTo>
                    <a:pt x="19" y="1871"/>
                  </a:lnTo>
                  <a:lnTo>
                    <a:pt x="19" y="1870"/>
                  </a:lnTo>
                  <a:lnTo>
                    <a:pt x="19" y="1867"/>
                  </a:lnTo>
                  <a:lnTo>
                    <a:pt x="17" y="1862"/>
                  </a:lnTo>
                  <a:lnTo>
                    <a:pt x="17" y="1860"/>
                  </a:lnTo>
                  <a:lnTo>
                    <a:pt x="16" y="1862"/>
                  </a:lnTo>
                  <a:lnTo>
                    <a:pt x="17" y="1870"/>
                  </a:lnTo>
                  <a:lnTo>
                    <a:pt x="17" y="1871"/>
                  </a:lnTo>
                  <a:lnTo>
                    <a:pt x="17" y="1874"/>
                  </a:lnTo>
                  <a:lnTo>
                    <a:pt x="16" y="1873"/>
                  </a:lnTo>
                  <a:lnTo>
                    <a:pt x="14" y="1867"/>
                  </a:lnTo>
                  <a:lnTo>
                    <a:pt x="14" y="1868"/>
                  </a:lnTo>
                  <a:lnTo>
                    <a:pt x="11" y="1868"/>
                  </a:lnTo>
                  <a:lnTo>
                    <a:pt x="11" y="1870"/>
                  </a:lnTo>
                  <a:lnTo>
                    <a:pt x="11" y="1871"/>
                  </a:lnTo>
                  <a:lnTo>
                    <a:pt x="11" y="1873"/>
                  </a:lnTo>
                  <a:close/>
                  <a:moveTo>
                    <a:pt x="17" y="1782"/>
                  </a:moveTo>
                  <a:lnTo>
                    <a:pt x="17" y="1782"/>
                  </a:lnTo>
                  <a:lnTo>
                    <a:pt x="16" y="1783"/>
                  </a:lnTo>
                  <a:lnTo>
                    <a:pt x="16" y="1783"/>
                  </a:lnTo>
                  <a:lnTo>
                    <a:pt x="14" y="1783"/>
                  </a:lnTo>
                  <a:lnTo>
                    <a:pt x="14" y="1785"/>
                  </a:lnTo>
                  <a:lnTo>
                    <a:pt x="14" y="1785"/>
                  </a:lnTo>
                  <a:lnTo>
                    <a:pt x="14" y="1787"/>
                  </a:lnTo>
                  <a:lnTo>
                    <a:pt x="14" y="1788"/>
                  </a:lnTo>
                  <a:lnTo>
                    <a:pt x="16" y="1788"/>
                  </a:lnTo>
                  <a:lnTo>
                    <a:pt x="16" y="1790"/>
                  </a:lnTo>
                  <a:lnTo>
                    <a:pt x="16" y="1790"/>
                  </a:lnTo>
                  <a:lnTo>
                    <a:pt x="16" y="1790"/>
                  </a:lnTo>
                  <a:lnTo>
                    <a:pt x="17" y="1790"/>
                  </a:lnTo>
                  <a:lnTo>
                    <a:pt x="19" y="1790"/>
                  </a:lnTo>
                  <a:lnTo>
                    <a:pt x="19" y="1790"/>
                  </a:lnTo>
                  <a:lnTo>
                    <a:pt x="19" y="1790"/>
                  </a:lnTo>
                  <a:lnTo>
                    <a:pt x="20" y="1791"/>
                  </a:lnTo>
                  <a:lnTo>
                    <a:pt x="20" y="1791"/>
                  </a:lnTo>
                  <a:lnTo>
                    <a:pt x="20" y="1790"/>
                  </a:lnTo>
                  <a:lnTo>
                    <a:pt x="20" y="1788"/>
                  </a:lnTo>
                  <a:lnTo>
                    <a:pt x="19" y="1787"/>
                  </a:lnTo>
                  <a:lnTo>
                    <a:pt x="19" y="1785"/>
                  </a:lnTo>
                  <a:lnTo>
                    <a:pt x="19" y="1785"/>
                  </a:lnTo>
                  <a:lnTo>
                    <a:pt x="17" y="1783"/>
                  </a:lnTo>
                  <a:lnTo>
                    <a:pt x="17" y="1782"/>
                  </a:lnTo>
                  <a:lnTo>
                    <a:pt x="17" y="1782"/>
                  </a:lnTo>
                  <a:close/>
                  <a:moveTo>
                    <a:pt x="19" y="1763"/>
                  </a:moveTo>
                  <a:lnTo>
                    <a:pt x="22" y="1763"/>
                  </a:lnTo>
                  <a:lnTo>
                    <a:pt x="20" y="1765"/>
                  </a:lnTo>
                  <a:lnTo>
                    <a:pt x="20" y="1766"/>
                  </a:lnTo>
                  <a:lnTo>
                    <a:pt x="19" y="1766"/>
                  </a:lnTo>
                  <a:lnTo>
                    <a:pt x="19" y="1766"/>
                  </a:lnTo>
                  <a:lnTo>
                    <a:pt x="17" y="1766"/>
                  </a:lnTo>
                  <a:lnTo>
                    <a:pt x="17" y="1768"/>
                  </a:lnTo>
                  <a:lnTo>
                    <a:pt x="19" y="1771"/>
                  </a:lnTo>
                  <a:lnTo>
                    <a:pt x="20" y="1771"/>
                  </a:lnTo>
                  <a:lnTo>
                    <a:pt x="28" y="1768"/>
                  </a:lnTo>
                  <a:lnTo>
                    <a:pt x="31" y="1766"/>
                  </a:lnTo>
                  <a:lnTo>
                    <a:pt x="34" y="1763"/>
                  </a:lnTo>
                  <a:lnTo>
                    <a:pt x="36" y="1759"/>
                  </a:lnTo>
                  <a:lnTo>
                    <a:pt x="37" y="1760"/>
                  </a:lnTo>
                  <a:lnTo>
                    <a:pt x="37" y="1762"/>
                  </a:lnTo>
                  <a:lnTo>
                    <a:pt x="37" y="1763"/>
                  </a:lnTo>
                  <a:lnTo>
                    <a:pt x="36" y="1765"/>
                  </a:lnTo>
                  <a:lnTo>
                    <a:pt x="40" y="1763"/>
                  </a:lnTo>
                  <a:lnTo>
                    <a:pt x="42" y="1763"/>
                  </a:lnTo>
                  <a:lnTo>
                    <a:pt x="43" y="1760"/>
                  </a:lnTo>
                  <a:lnTo>
                    <a:pt x="23" y="1753"/>
                  </a:lnTo>
                  <a:lnTo>
                    <a:pt x="20" y="1753"/>
                  </a:lnTo>
                  <a:lnTo>
                    <a:pt x="17" y="1754"/>
                  </a:lnTo>
                  <a:lnTo>
                    <a:pt x="17" y="1757"/>
                  </a:lnTo>
                  <a:lnTo>
                    <a:pt x="16" y="1759"/>
                  </a:lnTo>
                  <a:lnTo>
                    <a:pt x="14" y="1760"/>
                  </a:lnTo>
                  <a:lnTo>
                    <a:pt x="13" y="1762"/>
                  </a:lnTo>
                  <a:lnTo>
                    <a:pt x="14" y="1762"/>
                  </a:lnTo>
                  <a:lnTo>
                    <a:pt x="19" y="1763"/>
                  </a:lnTo>
                  <a:close/>
                  <a:moveTo>
                    <a:pt x="26" y="1736"/>
                  </a:moveTo>
                  <a:lnTo>
                    <a:pt x="26" y="1736"/>
                  </a:lnTo>
                  <a:lnTo>
                    <a:pt x="26" y="1737"/>
                  </a:lnTo>
                  <a:lnTo>
                    <a:pt x="31" y="1740"/>
                  </a:lnTo>
                  <a:lnTo>
                    <a:pt x="31" y="1743"/>
                  </a:lnTo>
                  <a:lnTo>
                    <a:pt x="31" y="1743"/>
                  </a:lnTo>
                  <a:lnTo>
                    <a:pt x="29" y="1743"/>
                  </a:lnTo>
                  <a:lnTo>
                    <a:pt x="29" y="1742"/>
                  </a:lnTo>
                  <a:lnTo>
                    <a:pt x="28" y="1743"/>
                  </a:lnTo>
                  <a:lnTo>
                    <a:pt x="28" y="1743"/>
                  </a:lnTo>
                  <a:lnTo>
                    <a:pt x="28" y="1745"/>
                  </a:lnTo>
                  <a:lnTo>
                    <a:pt x="28" y="1746"/>
                  </a:lnTo>
                  <a:lnTo>
                    <a:pt x="29" y="1746"/>
                  </a:lnTo>
                  <a:lnTo>
                    <a:pt x="29" y="1746"/>
                  </a:lnTo>
                  <a:lnTo>
                    <a:pt x="33" y="1748"/>
                  </a:lnTo>
                  <a:lnTo>
                    <a:pt x="34" y="1748"/>
                  </a:lnTo>
                  <a:lnTo>
                    <a:pt x="36" y="1746"/>
                  </a:lnTo>
                  <a:lnTo>
                    <a:pt x="36" y="1745"/>
                  </a:lnTo>
                  <a:lnTo>
                    <a:pt x="36" y="1743"/>
                  </a:lnTo>
                  <a:lnTo>
                    <a:pt x="37" y="1742"/>
                  </a:lnTo>
                  <a:lnTo>
                    <a:pt x="37" y="1740"/>
                  </a:lnTo>
                  <a:lnTo>
                    <a:pt x="37" y="1739"/>
                  </a:lnTo>
                  <a:lnTo>
                    <a:pt x="39" y="1737"/>
                  </a:lnTo>
                  <a:lnTo>
                    <a:pt x="37" y="1733"/>
                  </a:lnTo>
                  <a:lnTo>
                    <a:pt x="36" y="1733"/>
                  </a:lnTo>
                  <a:lnTo>
                    <a:pt x="34" y="1733"/>
                  </a:lnTo>
                  <a:lnTo>
                    <a:pt x="34" y="1734"/>
                  </a:lnTo>
                  <a:lnTo>
                    <a:pt x="33" y="1734"/>
                  </a:lnTo>
                  <a:lnTo>
                    <a:pt x="33" y="1736"/>
                  </a:lnTo>
                  <a:lnTo>
                    <a:pt x="33" y="1736"/>
                  </a:lnTo>
                  <a:lnTo>
                    <a:pt x="28" y="1731"/>
                  </a:lnTo>
                  <a:lnTo>
                    <a:pt x="26" y="1731"/>
                  </a:lnTo>
                  <a:lnTo>
                    <a:pt x="26" y="1731"/>
                  </a:lnTo>
                  <a:lnTo>
                    <a:pt x="26" y="1733"/>
                  </a:lnTo>
                  <a:lnTo>
                    <a:pt x="26" y="1734"/>
                  </a:lnTo>
                  <a:lnTo>
                    <a:pt x="26" y="1736"/>
                  </a:lnTo>
                  <a:close/>
                  <a:moveTo>
                    <a:pt x="65" y="1703"/>
                  </a:moveTo>
                  <a:lnTo>
                    <a:pt x="66" y="1703"/>
                  </a:lnTo>
                  <a:lnTo>
                    <a:pt x="66" y="1705"/>
                  </a:lnTo>
                  <a:lnTo>
                    <a:pt x="66" y="1705"/>
                  </a:lnTo>
                  <a:lnTo>
                    <a:pt x="68" y="1706"/>
                  </a:lnTo>
                  <a:lnTo>
                    <a:pt x="79" y="1706"/>
                  </a:lnTo>
                  <a:lnTo>
                    <a:pt x="85" y="1703"/>
                  </a:lnTo>
                  <a:lnTo>
                    <a:pt x="86" y="1702"/>
                  </a:lnTo>
                  <a:lnTo>
                    <a:pt x="86" y="1702"/>
                  </a:lnTo>
                  <a:lnTo>
                    <a:pt x="86" y="1700"/>
                  </a:lnTo>
                  <a:lnTo>
                    <a:pt x="86" y="1700"/>
                  </a:lnTo>
                  <a:lnTo>
                    <a:pt x="85" y="1699"/>
                  </a:lnTo>
                  <a:lnTo>
                    <a:pt x="85" y="1699"/>
                  </a:lnTo>
                  <a:lnTo>
                    <a:pt x="85" y="1697"/>
                  </a:lnTo>
                  <a:lnTo>
                    <a:pt x="85" y="1697"/>
                  </a:lnTo>
                  <a:lnTo>
                    <a:pt x="85" y="1696"/>
                  </a:lnTo>
                  <a:lnTo>
                    <a:pt x="86" y="1694"/>
                  </a:lnTo>
                  <a:lnTo>
                    <a:pt x="86" y="1694"/>
                  </a:lnTo>
                  <a:lnTo>
                    <a:pt x="86" y="1693"/>
                  </a:lnTo>
                  <a:lnTo>
                    <a:pt x="85" y="1691"/>
                  </a:lnTo>
                  <a:lnTo>
                    <a:pt x="82" y="1693"/>
                  </a:lnTo>
                  <a:lnTo>
                    <a:pt x="80" y="1691"/>
                  </a:lnTo>
                  <a:lnTo>
                    <a:pt x="80" y="1691"/>
                  </a:lnTo>
                  <a:lnTo>
                    <a:pt x="80" y="1689"/>
                  </a:lnTo>
                  <a:lnTo>
                    <a:pt x="79" y="1689"/>
                  </a:lnTo>
                  <a:lnTo>
                    <a:pt x="79" y="1688"/>
                  </a:lnTo>
                  <a:lnTo>
                    <a:pt x="79" y="1689"/>
                  </a:lnTo>
                  <a:lnTo>
                    <a:pt x="77" y="1689"/>
                  </a:lnTo>
                  <a:lnTo>
                    <a:pt x="77" y="1689"/>
                  </a:lnTo>
                  <a:lnTo>
                    <a:pt x="71" y="1689"/>
                  </a:lnTo>
                  <a:lnTo>
                    <a:pt x="70" y="1689"/>
                  </a:lnTo>
                  <a:lnTo>
                    <a:pt x="68" y="1693"/>
                  </a:lnTo>
                  <a:lnTo>
                    <a:pt x="68" y="1694"/>
                  </a:lnTo>
                  <a:lnTo>
                    <a:pt x="68" y="1694"/>
                  </a:lnTo>
                  <a:lnTo>
                    <a:pt x="68" y="1694"/>
                  </a:lnTo>
                  <a:lnTo>
                    <a:pt x="68" y="1696"/>
                  </a:lnTo>
                  <a:lnTo>
                    <a:pt x="66" y="1696"/>
                  </a:lnTo>
                  <a:lnTo>
                    <a:pt x="66" y="1697"/>
                  </a:lnTo>
                  <a:lnTo>
                    <a:pt x="65" y="1697"/>
                  </a:lnTo>
                  <a:lnTo>
                    <a:pt x="66" y="1699"/>
                  </a:lnTo>
                  <a:lnTo>
                    <a:pt x="70" y="1699"/>
                  </a:lnTo>
                  <a:lnTo>
                    <a:pt x="71" y="1700"/>
                  </a:lnTo>
                  <a:lnTo>
                    <a:pt x="73" y="1700"/>
                  </a:lnTo>
                  <a:lnTo>
                    <a:pt x="70" y="1702"/>
                  </a:lnTo>
                  <a:lnTo>
                    <a:pt x="65" y="1700"/>
                  </a:lnTo>
                  <a:lnTo>
                    <a:pt x="65" y="1702"/>
                  </a:lnTo>
                  <a:lnTo>
                    <a:pt x="65" y="1703"/>
                  </a:lnTo>
                  <a:close/>
                  <a:moveTo>
                    <a:pt x="74" y="1685"/>
                  </a:moveTo>
                  <a:lnTo>
                    <a:pt x="76" y="1685"/>
                  </a:lnTo>
                  <a:lnTo>
                    <a:pt x="76" y="1685"/>
                  </a:lnTo>
                  <a:lnTo>
                    <a:pt x="76" y="1685"/>
                  </a:lnTo>
                  <a:lnTo>
                    <a:pt x="77" y="1683"/>
                  </a:lnTo>
                  <a:lnTo>
                    <a:pt x="77" y="1685"/>
                  </a:lnTo>
                  <a:lnTo>
                    <a:pt x="77" y="1685"/>
                  </a:lnTo>
                  <a:lnTo>
                    <a:pt x="79" y="1685"/>
                  </a:lnTo>
                  <a:lnTo>
                    <a:pt x="82" y="1685"/>
                  </a:lnTo>
                  <a:lnTo>
                    <a:pt x="82" y="1683"/>
                  </a:lnTo>
                  <a:lnTo>
                    <a:pt x="82" y="1683"/>
                  </a:lnTo>
                  <a:lnTo>
                    <a:pt x="82" y="1683"/>
                  </a:lnTo>
                  <a:lnTo>
                    <a:pt x="82" y="1680"/>
                  </a:lnTo>
                  <a:lnTo>
                    <a:pt x="82" y="1679"/>
                  </a:lnTo>
                  <a:lnTo>
                    <a:pt x="82" y="1679"/>
                  </a:lnTo>
                  <a:lnTo>
                    <a:pt x="80" y="1679"/>
                  </a:lnTo>
                  <a:lnTo>
                    <a:pt x="80" y="1679"/>
                  </a:lnTo>
                  <a:lnTo>
                    <a:pt x="80" y="1679"/>
                  </a:lnTo>
                  <a:lnTo>
                    <a:pt x="79" y="1679"/>
                  </a:lnTo>
                  <a:lnTo>
                    <a:pt x="77" y="1679"/>
                  </a:lnTo>
                  <a:lnTo>
                    <a:pt x="77" y="1680"/>
                  </a:lnTo>
                  <a:lnTo>
                    <a:pt x="77" y="1682"/>
                  </a:lnTo>
                  <a:lnTo>
                    <a:pt x="77" y="1682"/>
                  </a:lnTo>
                  <a:lnTo>
                    <a:pt x="76" y="1682"/>
                  </a:lnTo>
                  <a:lnTo>
                    <a:pt x="74" y="1682"/>
                  </a:lnTo>
                  <a:lnTo>
                    <a:pt x="73" y="1683"/>
                  </a:lnTo>
                  <a:lnTo>
                    <a:pt x="71" y="1685"/>
                  </a:lnTo>
                  <a:lnTo>
                    <a:pt x="73" y="1685"/>
                  </a:lnTo>
                  <a:lnTo>
                    <a:pt x="74" y="1685"/>
                  </a:lnTo>
                  <a:close/>
                  <a:moveTo>
                    <a:pt x="65" y="1682"/>
                  </a:moveTo>
                  <a:lnTo>
                    <a:pt x="65" y="1682"/>
                  </a:lnTo>
                  <a:lnTo>
                    <a:pt x="65" y="1683"/>
                  </a:lnTo>
                  <a:lnTo>
                    <a:pt x="68" y="1683"/>
                  </a:lnTo>
                  <a:lnTo>
                    <a:pt x="70" y="1683"/>
                  </a:lnTo>
                  <a:lnTo>
                    <a:pt x="71" y="1682"/>
                  </a:lnTo>
                  <a:lnTo>
                    <a:pt x="71" y="1682"/>
                  </a:lnTo>
                  <a:lnTo>
                    <a:pt x="71" y="1680"/>
                  </a:lnTo>
                  <a:lnTo>
                    <a:pt x="70" y="1679"/>
                  </a:lnTo>
                  <a:lnTo>
                    <a:pt x="70" y="1679"/>
                  </a:lnTo>
                  <a:lnTo>
                    <a:pt x="68" y="1677"/>
                  </a:lnTo>
                  <a:lnTo>
                    <a:pt x="66" y="1677"/>
                  </a:lnTo>
                  <a:lnTo>
                    <a:pt x="65" y="1679"/>
                  </a:lnTo>
                  <a:lnTo>
                    <a:pt x="65" y="1680"/>
                  </a:lnTo>
                  <a:lnTo>
                    <a:pt x="65" y="1682"/>
                  </a:lnTo>
                  <a:close/>
                  <a:moveTo>
                    <a:pt x="88" y="1683"/>
                  </a:moveTo>
                  <a:lnTo>
                    <a:pt x="90" y="1686"/>
                  </a:lnTo>
                  <a:lnTo>
                    <a:pt x="90" y="1691"/>
                  </a:lnTo>
                  <a:lnTo>
                    <a:pt x="90" y="1691"/>
                  </a:lnTo>
                  <a:lnTo>
                    <a:pt x="90" y="1691"/>
                  </a:lnTo>
                  <a:lnTo>
                    <a:pt x="90" y="1693"/>
                  </a:lnTo>
                  <a:lnTo>
                    <a:pt x="90" y="1694"/>
                  </a:lnTo>
                  <a:lnTo>
                    <a:pt x="88" y="1696"/>
                  </a:lnTo>
                  <a:lnTo>
                    <a:pt x="88" y="1697"/>
                  </a:lnTo>
                  <a:lnTo>
                    <a:pt x="93" y="1696"/>
                  </a:lnTo>
                  <a:lnTo>
                    <a:pt x="103" y="1683"/>
                  </a:lnTo>
                  <a:lnTo>
                    <a:pt x="105" y="1682"/>
                  </a:lnTo>
                  <a:lnTo>
                    <a:pt x="106" y="1682"/>
                  </a:lnTo>
                  <a:lnTo>
                    <a:pt x="106" y="1682"/>
                  </a:lnTo>
                  <a:lnTo>
                    <a:pt x="106" y="1680"/>
                  </a:lnTo>
                  <a:lnTo>
                    <a:pt x="103" y="1679"/>
                  </a:lnTo>
                  <a:lnTo>
                    <a:pt x="102" y="1679"/>
                  </a:lnTo>
                  <a:lnTo>
                    <a:pt x="102" y="1679"/>
                  </a:lnTo>
                  <a:lnTo>
                    <a:pt x="100" y="1677"/>
                  </a:lnTo>
                  <a:lnTo>
                    <a:pt x="100" y="1676"/>
                  </a:lnTo>
                  <a:lnTo>
                    <a:pt x="100" y="1673"/>
                  </a:lnTo>
                  <a:lnTo>
                    <a:pt x="99" y="1669"/>
                  </a:lnTo>
                  <a:lnTo>
                    <a:pt x="97" y="1668"/>
                  </a:lnTo>
                  <a:lnTo>
                    <a:pt x="96" y="1668"/>
                  </a:lnTo>
                  <a:lnTo>
                    <a:pt x="93" y="1669"/>
                  </a:lnTo>
                  <a:lnTo>
                    <a:pt x="91" y="1669"/>
                  </a:lnTo>
                  <a:lnTo>
                    <a:pt x="90" y="1673"/>
                  </a:lnTo>
                  <a:lnTo>
                    <a:pt x="88" y="1676"/>
                  </a:lnTo>
                  <a:lnTo>
                    <a:pt x="86" y="1679"/>
                  </a:lnTo>
                  <a:lnTo>
                    <a:pt x="88" y="1682"/>
                  </a:lnTo>
                  <a:lnTo>
                    <a:pt x="88" y="1683"/>
                  </a:lnTo>
                  <a:close/>
                  <a:moveTo>
                    <a:pt x="114" y="1673"/>
                  </a:moveTo>
                  <a:lnTo>
                    <a:pt x="125" y="1673"/>
                  </a:lnTo>
                  <a:lnTo>
                    <a:pt x="125" y="1671"/>
                  </a:lnTo>
                  <a:lnTo>
                    <a:pt x="125" y="1671"/>
                  </a:lnTo>
                  <a:lnTo>
                    <a:pt x="125" y="1671"/>
                  </a:lnTo>
                  <a:lnTo>
                    <a:pt x="127" y="1671"/>
                  </a:lnTo>
                  <a:lnTo>
                    <a:pt x="125" y="1669"/>
                  </a:lnTo>
                  <a:lnTo>
                    <a:pt x="123" y="1668"/>
                  </a:lnTo>
                  <a:lnTo>
                    <a:pt x="120" y="1669"/>
                  </a:lnTo>
                  <a:lnTo>
                    <a:pt x="117" y="1666"/>
                  </a:lnTo>
                  <a:lnTo>
                    <a:pt x="116" y="1665"/>
                  </a:lnTo>
                  <a:lnTo>
                    <a:pt x="103" y="1666"/>
                  </a:lnTo>
                  <a:lnTo>
                    <a:pt x="108" y="1673"/>
                  </a:lnTo>
                  <a:lnTo>
                    <a:pt x="114" y="1673"/>
                  </a:lnTo>
                  <a:close/>
                  <a:moveTo>
                    <a:pt x="151" y="1628"/>
                  </a:moveTo>
                  <a:lnTo>
                    <a:pt x="151" y="1629"/>
                  </a:lnTo>
                  <a:lnTo>
                    <a:pt x="151" y="1631"/>
                  </a:lnTo>
                  <a:lnTo>
                    <a:pt x="151" y="1631"/>
                  </a:lnTo>
                  <a:lnTo>
                    <a:pt x="153" y="1631"/>
                  </a:lnTo>
                  <a:lnTo>
                    <a:pt x="157" y="1628"/>
                  </a:lnTo>
                  <a:lnTo>
                    <a:pt x="170" y="1625"/>
                  </a:lnTo>
                  <a:lnTo>
                    <a:pt x="170" y="1622"/>
                  </a:lnTo>
                  <a:lnTo>
                    <a:pt x="168" y="1619"/>
                  </a:lnTo>
                  <a:lnTo>
                    <a:pt x="167" y="1617"/>
                  </a:lnTo>
                  <a:lnTo>
                    <a:pt x="165" y="1617"/>
                  </a:lnTo>
                  <a:lnTo>
                    <a:pt x="157" y="1620"/>
                  </a:lnTo>
                  <a:lnTo>
                    <a:pt x="154" y="1620"/>
                  </a:lnTo>
                  <a:lnTo>
                    <a:pt x="156" y="1619"/>
                  </a:lnTo>
                  <a:lnTo>
                    <a:pt x="154" y="1619"/>
                  </a:lnTo>
                  <a:lnTo>
                    <a:pt x="153" y="1620"/>
                  </a:lnTo>
                  <a:lnTo>
                    <a:pt x="151" y="1622"/>
                  </a:lnTo>
                  <a:lnTo>
                    <a:pt x="153" y="1625"/>
                  </a:lnTo>
                  <a:lnTo>
                    <a:pt x="151" y="1625"/>
                  </a:lnTo>
                  <a:lnTo>
                    <a:pt x="151" y="1626"/>
                  </a:lnTo>
                  <a:lnTo>
                    <a:pt x="150" y="1626"/>
                  </a:lnTo>
                  <a:lnTo>
                    <a:pt x="150" y="1626"/>
                  </a:lnTo>
                  <a:lnTo>
                    <a:pt x="150" y="1628"/>
                  </a:lnTo>
                  <a:lnTo>
                    <a:pt x="150" y="1628"/>
                  </a:lnTo>
                  <a:lnTo>
                    <a:pt x="151" y="1628"/>
                  </a:lnTo>
                  <a:close/>
                  <a:moveTo>
                    <a:pt x="163" y="1609"/>
                  </a:moveTo>
                  <a:lnTo>
                    <a:pt x="167" y="1611"/>
                  </a:lnTo>
                  <a:lnTo>
                    <a:pt x="168" y="1612"/>
                  </a:lnTo>
                  <a:lnTo>
                    <a:pt x="168" y="1611"/>
                  </a:lnTo>
                  <a:lnTo>
                    <a:pt x="168" y="1609"/>
                  </a:lnTo>
                  <a:lnTo>
                    <a:pt x="168" y="1608"/>
                  </a:lnTo>
                  <a:lnTo>
                    <a:pt x="168" y="1608"/>
                  </a:lnTo>
                  <a:lnTo>
                    <a:pt x="167" y="1606"/>
                  </a:lnTo>
                  <a:lnTo>
                    <a:pt x="168" y="1605"/>
                  </a:lnTo>
                  <a:lnTo>
                    <a:pt x="171" y="1603"/>
                  </a:lnTo>
                  <a:lnTo>
                    <a:pt x="171" y="1602"/>
                  </a:lnTo>
                  <a:lnTo>
                    <a:pt x="170" y="1599"/>
                  </a:lnTo>
                  <a:lnTo>
                    <a:pt x="168" y="1599"/>
                  </a:lnTo>
                  <a:lnTo>
                    <a:pt x="165" y="1600"/>
                  </a:lnTo>
                  <a:lnTo>
                    <a:pt x="163" y="1602"/>
                  </a:lnTo>
                  <a:lnTo>
                    <a:pt x="162" y="1599"/>
                  </a:lnTo>
                  <a:lnTo>
                    <a:pt x="160" y="1599"/>
                  </a:lnTo>
                  <a:lnTo>
                    <a:pt x="159" y="1600"/>
                  </a:lnTo>
                  <a:lnTo>
                    <a:pt x="159" y="1602"/>
                  </a:lnTo>
                  <a:lnTo>
                    <a:pt x="160" y="1603"/>
                  </a:lnTo>
                  <a:lnTo>
                    <a:pt x="162" y="1605"/>
                  </a:lnTo>
                  <a:lnTo>
                    <a:pt x="160" y="1605"/>
                  </a:lnTo>
                  <a:lnTo>
                    <a:pt x="159" y="1605"/>
                  </a:lnTo>
                  <a:lnTo>
                    <a:pt x="159" y="1605"/>
                  </a:lnTo>
                  <a:lnTo>
                    <a:pt x="160" y="1606"/>
                  </a:lnTo>
                  <a:lnTo>
                    <a:pt x="163" y="1609"/>
                  </a:lnTo>
                  <a:close/>
                  <a:moveTo>
                    <a:pt x="231" y="1569"/>
                  </a:moveTo>
                  <a:lnTo>
                    <a:pt x="233" y="1571"/>
                  </a:lnTo>
                  <a:lnTo>
                    <a:pt x="233" y="1572"/>
                  </a:lnTo>
                  <a:lnTo>
                    <a:pt x="234" y="1572"/>
                  </a:lnTo>
                  <a:lnTo>
                    <a:pt x="234" y="1572"/>
                  </a:lnTo>
                  <a:lnTo>
                    <a:pt x="236" y="1571"/>
                  </a:lnTo>
                  <a:lnTo>
                    <a:pt x="239" y="1571"/>
                  </a:lnTo>
                  <a:lnTo>
                    <a:pt x="240" y="1568"/>
                  </a:lnTo>
                  <a:lnTo>
                    <a:pt x="242" y="1565"/>
                  </a:lnTo>
                  <a:lnTo>
                    <a:pt x="244" y="1562"/>
                  </a:lnTo>
                  <a:lnTo>
                    <a:pt x="242" y="1559"/>
                  </a:lnTo>
                  <a:lnTo>
                    <a:pt x="239" y="1560"/>
                  </a:lnTo>
                  <a:lnTo>
                    <a:pt x="234" y="1562"/>
                  </a:lnTo>
                  <a:lnTo>
                    <a:pt x="230" y="1560"/>
                  </a:lnTo>
                  <a:lnTo>
                    <a:pt x="230" y="1560"/>
                  </a:lnTo>
                  <a:lnTo>
                    <a:pt x="230" y="1560"/>
                  </a:lnTo>
                  <a:lnTo>
                    <a:pt x="228" y="1562"/>
                  </a:lnTo>
                  <a:lnTo>
                    <a:pt x="228" y="1562"/>
                  </a:lnTo>
                  <a:lnTo>
                    <a:pt x="228" y="1563"/>
                  </a:lnTo>
                  <a:lnTo>
                    <a:pt x="228" y="1565"/>
                  </a:lnTo>
                  <a:lnTo>
                    <a:pt x="227" y="1565"/>
                  </a:lnTo>
                  <a:lnTo>
                    <a:pt x="227" y="1566"/>
                  </a:lnTo>
                  <a:lnTo>
                    <a:pt x="231" y="1569"/>
                  </a:lnTo>
                  <a:lnTo>
                    <a:pt x="231" y="1569"/>
                  </a:lnTo>
                  <a:close/>
                  <a:moveTo>
                    <a:pt x="205" y="1579"/>
                  </a:moveTo>
                  <a:lnTo>
                    <a:pt x="210" y="1582"/>
                  </a:lnTo>
                  <a:lnTo>
                    <a:pt x="211" y="1582"/>
                  </a:lnTo>
                  <a:lnTo>
                    <a:pt x="213" y="1585"/>
                  </a:lnTo>
                  <a:lnTo>
                    <a:pt x="213" y="1585"/>
                  </a:lnTo>
                  <a:lnTo>
                    <a:pt x="214" y="1585"/>
                  </a:lnTo>
                  <a:lnTo>
                    <a:pt x="214" y="1585"/>
                  </a:lnTo>
                  <a:lnTo>
                    <a:pt x="220" y="1580"/>
                  </a:lnTo>
                  <a:lnTo>
                    <a:pt x="220" y="1579"/>
                  </a:lnTo>
                  <a:lnTo>
                    <a:pt x="222" y="1577"/>
                  </a:lnTo>
                  <a:lnTo>
                    <a:pt x="225" y="1577"/>
                  </a:lnTo>
                  <a:lnTo>
                    <a:pt x="227" y="1576"/>
                  </a:lnTo>
                  <a:lnTo>
                    <a:pt x="228" y="1574"/>
                  </a:lnTo>
                  <a:lnTo>
                    <a:pt x="228" y="1574"/>
                  </a:lnTo>
                  <a:lnTo>
                    <a:pt x="227" y="1572"/>
                  </a:lnTo>
                  <a:lnTo>
                    <a:pt x="225" y="1568"/>
                  </a:lnTo>
                  <a:lnTo>
                    <a:pt x="224" y="1566"/>
                  </a:lnTo>
                  <a:lnTo>
                    <a:pt x="224" y="1566"/>
                  </a:lnTo>
                  <a:lnTo>
                    <a:pt x="224" y="1565"/>
                  </a:lnTo>
                  <a:lnTo>
                    <a:pt x="224" y="1562"/>
                  </a:lnTo>
                  <a:lnTo>
                    <a:pt x="224" y="1560"/>
                  </a:lnTo>
                  <a:lnTo>
                    <a:pt x="224" y="1557"/>
                  </a:lnTo>
                  <a:lnTo>
                    <a:pt x="224" y="1557"/>
                  </a:lnTo>
                  <a:lnTo>
                    <a:pt x="222" y="1556"/>
                  </a:lnTo>
                  <a:lnTo>
                    <a:pt x="219" y="1557"/>
                  </a:lnTo>
                  <a:lnTo>
                    <a:pt x="220" y="1560"/>
                  </a:lnTo>
                  <a:lnTo>
                    <a:pt x="220" y="1563"/>
                  </a:lnTo>
                  <a:lnTo>
                    <a:pt x="220" y="1565"/>
                  </a:lnTo>
                  <a:lnTo>
                    <a:pt x="219" y="1565"/>
                  </a:lnTo>
                  <a:lnTo>
                    <a:pt x="219" y="1566"/>
                  </a:lnTo>
                  <a:lnTo>
                    <a:pt x="217" y="1568"/>
                  </a:lnTo>
                  <a:lnTo>
                    <a:pt x="219" y="1568"/>
                  </a:lnTo>
                  <a:lnTo>
                    <a:pt x="219" y="1569"/>
                  </a:lnTo>
                  <a:lnTo>
                    <a:pt x="219" y="1571"/>
                  </a:lnTo>
                  <a:lnTo>
                    <a:pt x="217" y="1572"/>
                  </a:lnTo>
                  <a:lnTo>
                    <a:pt x="214" y="1568"/>
                  </a:lnTo>
                  <a:lnTo>
                    <a:pt x="213" y="1566"/>
                  </a:lnTo>
                  <a:lnTo>
                    <a:pt x="211" y="1566"/>
                  </a:lnTo>
                  <a:lnTo>
                    <a:pt x="213" y="1565"/>
                  </a:lnTo>
                  <a:lnTo>
                    <a:pt x="207" y="1565"/>
                  </a:lnTo>
                  <a:lnTo>
                    <a:pt x="205" y="1565"/>
                  </a:lnTo>
                  <a:lnTo>
                    <a:pt x="205" y="1566"/>
                  </a:lnTo>
                  <a:lnTo>
                    <a:pt x="207" y="1566"/>
                  </a:lnTo>
                  <a:lnTo>
                    <a:pt x="207" y="1566"/>
                  </a:lnTo>
                  <a:lnTo>
                    <a:pt x="208" y="1568"/>
                  </a:lnTo>
                  <a:lnTo>
                    <a:pt x="207" y="1568"/>
                  </a:lnTo>
                  <a:lnTo>
                    <a:pt x="207" y="1569"/>
                  </a:lnTo>
                  <a:lnTo>
                    <a:pt x="207" y="1571"/>
                  </a:lnTo>
                  <a:lnTo>
                    <a:pt x="208" y="1572"/>
                  </a:lnTo>
                  <a:lnTo>
                    <a:pt x="205" y="1574"/>
                  </a:lnTo>
                  <a:lnTo>
                    <a:pt x="204" y="1574"/>
                  </a:lnTo>
                  <a:lnTo>
                    <a:pt x="204" y="1576"/>
                  </a:lnTo>
                  <a:lnTo>
                    <a:pt x="204" y="1577"/>
                  </a:lnTo>
                  <a:lnTo>
                    <a:pt x="205" y="1579"/>
                  </a:lnTo>
                  <a:close/>
                  <a:moveTo>
                    <a:pt x="262" y="1540"/>
                  </a:moveTo>
                  <a:lnTo>
                    <a:pt x="264" y="1542"/>
                  </a:lnTo>
                  <a:lnTo>
                    <a:pt x="264" y="1542"/>
                  </a:lnTo>
                  <a:lnTo>
                    <a:pt x="265" y="1546"/>
                  </a:lnTo>
                  <a:lnTo>
                    <a:pt x="265" y="1548"/>
                  </a:lnTo>
                  <a:lnTo>
                    <a:pt x="265" y="1549"/>
                  </a:lnTo>
                  <a:lnTo>
                    <a:pt x="267" y="1549"/>
                  </a:lnTo>
                  <a:lnTo>
                    <a:pt x="273" y="1548"/>
                  </a:lnTo>
                  <a:lnTo>
                    <a:pt x="274" y="1548"/>
                  </a:lnTo>
                  <a:lnTo>
                    <a:pt x="274" y="1546"/>
                  </a:lnTo>
                  <a:lnTo>
                    <a:pt x="274" y="1546"/>
                  </a:lnTo>
                  <a:lnTo>
                    <a:pt x="273" y="1545"/>
                  </a:lnTo>
                  <a:lnTo>
                    <a:pt x="271" y="1543"/>
                  </a:lnTo>
                  <a:lnTo>
                    <a:pt x="271" y="1543"/>
                  </a:lnTo>
                  <a:lnTo>
                    <a:pt x="268" y="1539"/>
                  </a:lnTo>
                  <a:lnTo>
                    <a:pt x="265" y="1539"/>
                  </a:lnTo>
                  <a:lnTo>
                    <a:pt x="264" y="1539"/>
                  </a:lnTo>
                  <a:lnTo>
                    <a:pt x="264" y="1539"/>
                  </a:lnTo>
                  <a:lnTo>
                    <a:pt x="262" y="1540"/>
                  </a:lnTo>
                  <a:close/>
                  <a:moveTo>
                    <a:pt x="262" y="1540"/>
                  </a:moveTo>
                  <a:lnTo>
                    <a:pt x="261" y="1537"/>
                  </a:lnTo>
                  <a:lnTo>
                    <a:pt x="259" y="1536"/>
                  </a:lnTo>
                  <a:lnTo>
                    <a:pt x="256" y="1536"/>
                  </a:lnTo>
                  <a:lnTo>
                    <a:pt x="254" y="1537"/>
                  </a:lnTo>
                  <a:lnTo>
                    <a:pt x="250" y="1543"/>
                  </a:lnTo>
                  <a:lnTo>
                    <a:pt x="245" y="1545"/>
                  </a:lnTo>
                  <a:lnTo>
                    <a:pt x="245" y="1546"/>
                  </a:lnTo>
                  <a:lnTo>
                    <a:pt x="248" y="1552"/>
                  </a:lnTo>
                  <a:lnTo>
                    <a:pt x="251" y="1552"/>
                  </a:lnTo>
                  <a:lnTo>
                    <a:pt x="264" y="1549"/>
                  </a:lnTo>
                  <a:lnTo>
                    <a:pt x="264" y="1548"/>
                  </a:lnTo>
                  <a:lnTo>
                    <a:pt x="264" y="1548"/>
                  </a:lnTo>
                  <a:lnTo>
                    <a:pt x="262" y="1546"/>
                  </a:lnTo>
                  <a:lnTo>
                    <a:pt x="264" y="1545"/>
                  </a:lnTo>
                  <a:lnTo>
                    <a:pt x="262" y="1540"/>
                  </a:lnTo>
                  <a:close/>
                  <a:moveTo>
                    <a:pt x="276" y="1546"/>
                  </a:moveTo>
                  <a:lnTo>
                    <a:pt x="277" y="1548"/>
                  </a:lnTo>
                  <a:lnTo>
                    <a:pt x="282" y="1549"/>
                  </a:lnTo>
                  <a:lnTo>
                    <a:pt x="293" y="1546"/>
                  </a:lnTo>
                  <a:lnTo>
                    <a:pt x="293" y="1543"/>
                  </a:lnTo>
                  <a:lnTo>
                    <a:pt x="291" y="1540"/>
                  </a:lnTo>
                  <a:lnTo>
                    <a:pt x="287" y="1536"/>
                  </a:lnTo>
                  <a:lnTo>
                    <a:pt x="285" y="1531"/>
                  </a:lnTo>
                  <a:lnTo>
                    <a:pt x="284" y="1529"/>
                  </a:lnTo>
                  <a:lnTo>
                    <a:pt x="282" y="1528"/>
                  </a:lnTo>
                  <a:lnTo>
                    <a:pt x="281" y="1529"/>
                  </a:lnTo>
                  <a:lnTo>
                    <a:pt x="281" y="1531"/>
                  </a:lnTo>
                  <a:lnTo>
                    <a:pt x="281" y="1534"/>
                  </a:lnTo>
                  <a:lnTo>
                    <a:pt x="281" y="1536"/>
                  </a:lnTo>
                  <a:lnTo>
                    <a:pt x="279" y="1539"/>
                  </a:lnTo>
                  <a:lnTo>
                    <a:pt x="279" y="1537"/>
                  </a:lnTo>
                  <a:lnTo>
                    <a:pt x="277" y="1534"/>
                  </a:lnTo>
                  <a:lnTo>
                    <a:pt x="276" y="1531"/>
                  </a:lnTo>
                  <a:lnTo>
                    <a:pt x="276" y="1531"/>
                  </a:lnTo>
                  <a:lnTo>
                    <a:pt x="276" y="1532"/>
                  </a:lnTo>
                  <a:lnTo>
                    <a:pt x="274" y="1532"/>
                  </a:lnTo>
                  <a:lnTo>
                    <a:pt x="274" y="1532"/>
                  </a:lnTo>
                  <a:lnTo>
                    <a:pt x="273" y="1531"/>
                  </a:lnTo>
                  <a:lnTo>
                    <a:pt x="273" y="1531"/>
                  </a:lnTo>
                  <a:lnTo>
                    <a:pt x="271" y="1529"/>
                  </a:lnTo>
                  <a:lnTo>
                    <a:pt x="271" y="1531"/>
                  </a:lnTo>
                  <a:lnTo>
                    <a:pt x="271" y="1531"/>
                  </a:lnTo>
                  <a:lnTo>
                    <a:pt x="270" y="1536"/>
                  </a:lnTo>
                  <a:lnTo>
                    <a:pt x="270" y="1537"/>
                  </a:lnTo>
                  <a:lnTo>
                    <a:pt x="271" y="1540"/>
                  </a:lnTo>
                  <a:lnTo>
                    <a:pt x="276" y="1546"/>
                  </a:lnTo>
                  <a:close/>
                  <a:moveTo>
                    <a:pt x="234" y="1509"/>
                  </a:moveTo>
                  <a:lnTo>
                    <a:pt x="234" y="1512"/>
                  </a:lnTo>
                  <a:lnTo>
                    <a:pt x="236" y="1514"/>
                  </a:lnTo>
                  <a:lnTo>
                    <a:pt x="248" y="1517"/>
                  </a:lnTo>
                  <a:lnTo>
                    <a:pt x="250" y="1519"/>
                  </a:lnTo>
                  <a:lnTo>
                    <a:pt x="245" y="1519"/>
                  </a:lnTo>
                  <a:lnTo>
                    <a:pt x="244" y="1519"/>
                  </a:lnTo>
                  <a:lnTo>
                    <a:pt x="245" y="1520"/>
                  </a:lnTo>
                  <a:lnTo>
                    <a:pt x="248" y="1522"/>
                  </a:lnTo>
                  <a:lnTo>
                    <a:pt x="248" y="1523"/>
                  </a:lnTo>
                  <a:lnTo>
                    <a:pt x="250" y="1523"/>
                  </a:lnTo>
                  <a:lnTo>
                    <a:pt x="251" y="1522"/>
                  </a:lnTo>
                  <a:lnTo>
                    <a:pt x="253" y="1522"/>
                  </a:lnTo>
                  <a:lnTo>
                    <a:pt x="256" y="1522"/>
                  </a:lnTo>
                  <a:lnTo>
                    <a:pt x="257" y="1522"/>
                  </a:lnTo>
                  <a:lnTo>
                    <a:pt x="257" y="1520"/>
                  </a:lnTo>
                  <a:lnTo>
                    <a:pt x="257" y="1519"/>
                  </a:lnTo>
                  <a:lnTo>
                    <a:pt x="259" y="1519"/>
                  </a:lnTo>
                  <a:lnTo>
                    <a:pt x="261" y="1517"/>
                  </a:lnTo>
                  <a:lnTo>
                    <a:pt x="262" y="1515"/>
                  </a:lnTo>
                  <a:lnTo>
                    <a:pt x="264" y="1511"/>
                  </a:lnTo>
                  <a:lnTo>
                    <a:pt x="264" y="1508"/>
                  </a:lnTo>
                  <a:lnTo>
                    <a:pt x="259" y="1505"/>
                  </a:lnTo>
                  <a:lnTo>
                    <a:pt x="257" y="1499"/>
                  </a:lnTo>
                  <a:lnTo>
                    <a:pt x="256" y="1497"/>
                  </a:lnTo>
                  <a:lnTo>
                    <a:pt x="251" y="1497"/>
                  </a:lnTo>
                  <a:lnTo>
                    <a:pt x="248" y="1499"/>
                  </a:lnTo>
                  <a:lnTo>
                    <a:pt x="245" y="1503"/>
                  </a:lnTo>
                  <a:lnTo>
                    <a:pt x="242" y="1505"/>
                  </a:lnTo>
                  <a:lnTo>
                    <a:pt x="237" y="1505"/>
                  </a:lnTo>
                  <a:lnTo>
                    <a:pt x="236" y="1506"/>
                  </a:lnTo>
                  <a:lnTo>
                    <a:pt x="234" y="1508"/>
                  </a:lnTo>
                  <a:lnTo>
                    <a:pt x="234" y="1509"/>
                  </a:lnTo>
                  <a:lnTo>
                    <a:pt x="234" y="1509"/>
                  </a:lnTo>
                  <a:close/>
                  <a:moveTo>
                    <a:pt x="296" y="1474"/>
                  </a:moveTo>
                  <a:lnTo>
                    <a:pt x="293" y="1474"/>
                  </a:lnTo>
                  <a:lnTo>
                    <a:pt x="293" y="1474"/>
                  </a:lnTo>
                  <a:lnTo>
                    <a:pt x="291" y="1475"/>
                  </a:lnTo>
                  <a:lnTo>
                    <a:pt x="294" y="1479"/>
                  </a:lnTo>
                  <a:lnTo>
                    <a:pt x="301" y="1480"/>
                  </a:lnTo>
                  <a:lnTo>
                    <a:pt x="304" y="1482"/>
                  </a:lnTo>
                  <a:lnTo>
                    <a:pt x="304" y="1482"/>
                  </a:lnTo>
                  <a:lnTo>
                    <a:pt x="302" y="1482"/>
                  </a:lnTo>
                  <a:lnTo>
                    <a:pt x="296" y="1482"/>
                  </a:lnTo>
                  <a:lnTo>
                    <a:pt x="282" y="1483"/>
                  </a:lnTo>
                  <a:lnTo>
                    <a:pt x="281" y="1483"/>
                  </a:lnTo>
                  <a:lnTo>
                    <a:pt x="274" y="1491"/>
                  </a:lnTo>
                  <a:lnTo>
                    <a:pt x="273" y="1492"/>
                  </a:lnTo>
                  <a:lnTo>
                    <a:pt x="271" y="1495"/>
                  </a:lnTo>
                  <a:lnTo>
                    <a:pt x="271" y="1499"/>
                  </a:lnTo>
                  <a:lnTo>
                    <a:pt x="271" y="1499"/>
                  </a:lnTo>
                  <a:lnTo>
                    <a:pt x="271" y="1500"/>
                  </a:lnTo>
                  <a:lnTo>
                    <a:pt x="271" y="1502"/>
                  </a:lnTo>
                  <a:lnTo>
                    <a:pt x="273" y="1502"/>
                  </a:lnTo>
                  <a:lnTo>
                    <a:pt x="273" y="1502"/>
                  </a:lnTo>
                  <a:lnTo>
                    <a:pt x="274" y="1502"/>
                  </a:lnTo>
                  <a:lnTo>
                    <a:pt x="274" y="1502"/>
                  </a:lnTo>
                  <a:lnTo>
                    <a:pt x="274" y="1500"/>
                  </a:lnTo>
                  <a:lnTo>
                    <a:pt x="274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6" y="1500"/>
                  </a:lnTo>
                  <a:lnTo>
                    <a:pt x="279" y="1503"/>
                  </a:lnTo>
                  <a:lnTo>
                    <a:pt x="281" y="1505"/>
                  </a:lnTo>
                  <a:lnTo>
                    <a:pt x="285" y="1505"/>
                  </a:lnTo>
                  <a:lnTo>
                    <a:pt x="288" y="1503"/>
                  </a:lnTo>
                  <a:lnTo>
                    <a:pt x="293" y="1500"/>
                  </a:lnTo>
                  <a:lnTo>
                    <a:pt x="299" y="1499"/>
                  </a:lnTo>
                  <a:lnTo>
                    <a:pt x="304" y="1495"/>
                  </a:lnTo>
                  <a:lnTo>
                    <a:pt x="314" y="1495"/>
                  </a:lnTo>
                  <a:lnTo>
                    <a:pt x="333" y="1488"/>
                  </a:lnTo>
                  <a:lnTo>
                    <a:pt x="336" y="1483"/>
                  </a:lnTo>
                  <a:lnTo>
                    <a:pt x="338" y="1483"/>
                  </a:lnTo>
                  <a:lnTo>
                    <a:pt x="338" y="1482"/>
                  </a:lnTo>
                  <a:lnTo>
                    <a:pt x="334" y="1482"/>
                  </a:lnTo>
                  <a:lnTo>
                    <a:pt x="334" y="1482"/>
                  </a:lnTo>
                  <a:lnTo>
                    <a:pt x="334" y="1480"/>
                  </a:lnTo>
                  <a:lnTo>
                    <a:pt x="334" y="1480"/>
                  </a:lnTo>
                  <a:lnTo>
                    <a:pt x="334" y="1479"/>
                  </a:lnTo>
                  <a:lnTo>
                    <a:pt x="331" y="1475"/>
                  </a:lnTo>
                  <a:lnTo>
                    <a:pt x="328" y="1475"/>
                  </a:lnTo>
                  <a:lnTo>
                    <a:pt x="325" y="1477"/>
                  </a:lnTo>
                  <a:lnTo>
                    <a:pt x="324" y="1477"/>
                  </a:lnTo>
                  <a:lnTo>
                    <a:pt x="322" y="1472"/>
                  </a:lnTo>
                  <a:lnTo>
                    <a:pt x="322" y="1472"/>
                  </a:lnTo>
                  <a:lnTo>
                    <a:pt x="322" y="1471"/>
                  </a:lnTo>
                  <a:lnTo>
                    <a:pt x="322" y="1471"/>
                  </a:lnTo>
                  <a:lnTo>
                    <a:pt x="322" y="1469"/>
                  </a:lnTo>
                  <a:lnTo>
                    <a:pt x="322" y="1469"/>
                  </a:lnTo>
                  <a:lnTo>
                    <a:pt x="324" y="1469"/>
                  </a:lnTo>
                  <a:lnTo>
                    <a:pt x="322" y="1466"/>
                  </a:lnTo>
                  <a:lnTo>
                    <a:pt x="321" y="1466"/>
                  </a:lnTo>
                  <a:lnTo>
                    <a:pt x="319" y="1468"/>
                  </a:lnTo>
                  <a:lnTo>
                    <a:pt x="316" y="1468"/>
                  </a:lnTo>
                  <a:lnTo>
                    <a:pt x="314" y="1468"/>
                  </a:lnTo>
                  <a:lnTo>
                    <a:pt x="314" y="1469"/>
                  </a:lnTo>
                  <a:lnTo>
                    <a:pt x="314" y="1471"/>
                  </a:lnTo>
                  <a:lnTo>
                    <a:pt x="314" y="1472"/>
                  </a:lnTo>
                  <a:lnTo>
                    <a:pt x="313" y="1474"/>
                  </a:lnTo>
                  <a:lnTo>
                    <a:pt x="313" y="1474"/>
                  </a:lnTo>
                  <a:lnTo>
                    <a:pt x="311" y="1469"/>
                  </a:lnTo>
                  <a:lnTo>
                    <a:pt x="308" y="1469"/>
                  </a:lnTo>
                  <a:lnTo>
                    <a:pt x="296" y="1474"/>
                  </a:lnTo>
                  <a:close/>
                  <a:moveTo>
                    <a:pt x="330" y="1474"/>
                  </a:moveTo>
                  <a:lnTo>
                    <a:pt x="333" y="1472"/>
                  </a:lnTo>
                  <a:lnTo>
                    <a:pt x="334" y="1471"/>
                  </a:lnTo>
                  <a:lnTo>
                    <a:pt x="336" y="1471"/>
                  </a:lnTo>
                  <a:lnTo>
                    <a:pt x="338" y="1469"/>
                  </a:lnTo>
                  <a:lnTo>
                    <a:pt x="338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6" y="1468"/>
                  </a:lnTo>
                  <a:lnTo>
                    <a:pt x="334" y="1468"/>
                  </a:lnTo>
                  <a:lnTo>
                    <a:pt x="333" y="1468"/>
                  </a:lnTo>
                  <a:lnTo>
                    <a:pt x="333" y="1466"/>
                  </a:lnTo>
                  <a:lnTo>
                    <a:pt x="333" y="1466"/>
                  </a:lnTo>
                  <a:lnTo>
                    <a:pt x="331" y="1466"/>
                  </a:lnTo>
                  <a:lnTo>
                    <a:pt x="328" y="1466"/>
                  </a:lnTo>
                  <a:lnTo>
                    <a:pt x="328" y="1466"/>
                  </a:lnTo>
                  <a:lnTo>
                    <a:pt x="328" y="1468"/>
                  </a:lnTo>
                  <a:lnTo>
                    <a:pt x="328" y="1468"/>
                  </a:lnTo>
                  <a:lnTo>
                    <a:pt x="327" y="1469"/>
                  </a:lnTo>
                  <a:lnTo>
                    <a:pt x="327" y="1469"/>
                  </a:lnTo>
                  <a:lnTo>
                    <a:pt x="327" y="1471"/>
                  </a:lnTo>
                  <a:lnTo>
                    <a:pt x="327" y="1471"/>
                  </a:lnTo>
                  <a:lnTo>
                    <a:pt x="325" y="1472"/>
                  </a:lnTo>
                  <a:lnTo>
                    <a:pt x="327" y="1474"/>
                  </a:lnTo>
                  <a:lnTo>
                    <a:pt x="330" y="1474"/>
                  </a:lnTo>
                  <a:close/>
                  <a:moveTo>
                    <a:pt x="273" y="1465"/>
                  </a:moveTo>
                  <a:lnTo>
                    <a:pt x="276" y="1465"/>
                  </a:lnTo>
                  <a:lnTo>
                    <a:pt x="277" y="1465"/>
                  </a:lnTo>
                  <a:lnTo>
                    <a:pt x="281" y="1462"/>
                  </a:lnTo>
                  <a:lnTo>
                    <a:pt x="284" y="1462"/>
                  </a:lnTo>
                  <a:lnTo>
                    <a:pt x="284" y="1463"/>
                  </a:lnTo>
                  <a:lnTo>
                    <a:pt x="285" y="1462"/>
                  </a:lnTo>
                  <a:lnTo>
                    <a:pt x="290" y="1460"/>
                  </a:lnTo>
                  <a:lnTo>
                    <a:pt x="284" y="1465"/>
                  </a:lnTo>
                  <a:lnTo>
                    <a:pt x="285" y="1465"/>
                  </a:lnTo>
                  <a:lnTo>
                    <a:pt x="291" y="1463"/>
                  </a:lnTo>
                  <a:lnTo>
                    <a:pt x="305" y="1462"/>
                  </a:lnTo>
                  <a:lnTo>
                    <a:pt x="310" y="1460"/>
                  </a:lnTo>
                  <a:lnTo>
                    <a:pt x="311" y="1455"/>
                  </a:lnTo>
                  <a:lnTo>
                    <a:pt x="311" y="1454"/>
                  </a:lnTo>
                  <a:lnTo>
                    <a:pt x="311" y="1452"/>
                  </a:lnTo>
                  <a:lnTo>
                    <a:pt x="311" y="1451"/>
                  </a:lnTo>
                  <a:lnTo>
                    <a:pt x="311" y="1449"/>
                  </a:lnTo>
                  <a:lnTo>
                    <a:pt x="311" y="1446"/>
                  </a:lnTo>
                  <a:lnTo>
                    <a:pt x="310" y="1445"/>
                  </a:lnTo>
                  <a:lnTo>
                    <a:pt x="310" y="1443"/>
                  </a:lnTo>
                  <a:lnTo>
                    <a:pt x="310" y="1443"/>
                  </a:lnTo>
                  <a:lnTo>
                    <a:pt x="310" y="1442"/>
                  </a:lnTo>
                  <a:lnTo>
                    <a:pt x="310" y="1442"/>
                  </a:lnTo>
                  <a:lnTo>
                    <a:pt x="310" y="1440"/>
                  </a:lnTo>
                  <a:lnTo>
                    <a:pt x="310" y="1440"/>
                  </a:lnTo>
                  <a:lnTo>
                    <a:pt x="308" y="1440"/>
                  </a:lnTo>
                  <a:lnTo>
                    <a:pt x="307" y="1442"/>
                  </a:lnTo>
                  <a:lnTo>
                    <a:pt x="307" y="1442"/>
                  </a:lnTo>
                  <a:lnTo>
                    <a:pt x="305" y="1442"/>
                  </a:lnTo>
                  <a:lnTo>
                    <a:pt x="301" y="1446"/>
                  </a:lnTo>
                  <a:lnTo>
                    <a:pt x="301" y="1448"/>
                  </a:lnTo>
                  <a:lnTo>
                    <a:pt x="302" y="1448"/>
                  </a:lnTo>
                  <a:lnTo>
                    <a:pt x="304" y="1446"/>
                  </a:lnTo>
                  <a:lnTo>
                    <a:pt x="304" y="1446"/>
                  </a:lnTo>
                  <a:lnTo>
                    <a:pt x="305" y="1446"/>
                  </a:lnTo>
                  <a:lnTo>
                    <a:pt x="288" y="1455"/>
                  </a:lnTo>
                  <a:lnTo>
                    <a:pt x="274" y="1459"/>
                  </a:lnTo>
                  <a:lnTo>
                    <a:pt x="270" y="1462"/>
                  </a:lnTo>
                  <a:lnTo>
                    <a:pt x="271" y="1465"/>
                  </a:lnTo>
                  <a:lnTo>
                    <a:pt x="273" y="1465"/>
                  </a:lnTo>
                  <a:close/>
                  <a:moveTo>
                    <a:pt x="388" y="1405"/>
                  </a:moveTo>
                  <a:lnTo>
                    <a:pt x="390" y="1405"/>
                  </a:lnTo>
                  <a:lnTo>
                    <a:pt x="390" y="1405"/>
                  </a:lnTo>
                  <a:lnTo>
                    <a:pt x="390" y="1406"/>
                  </a:lnTo>
                  <a:lnTo>
                    <a:pt x="390" y="1406"/>
                  </a:lnTo>
                  <a:lnTo>
                    <a:pt x="388" y="1406"/>
                  </a:lnTo>
                  <a:lnTo>
                    <a:pt x="388" y="1408"/>
                  </a:lnTo>
                  <a:lnTo>
                    <a:pt x="390" y="1408"/>
                  </a:lnTo>
                  <a:lnTo>
                    <a:pt x="390" y="1408"/>
                  </a:lnTo>
                  <a:lnTo>
                    <a:pt x="391" y="1409"/>
                  </a:lnTo>
                  <a:lnTo>
                    <a:pt x="393" y="1409"/>
                  </a:lnTo>
                  <a:lnTo>
                    <a:pt x="395" y="1408"/>
                  </a:lnTo>
                  <a:lnTo>
                    <a:pt x="395" y="1406"/>
                  </a:lnTo>
                  <a:lnTo>
                    <a:pt x="395" y="1405"/>
                  </a:lnTo>
                  <a:lnTo>
                    <a:pt x="395" y="1405"/>
                  </a:lnTo>
                  <a:lnTo>
                    <a:pt x="393" y="1405"/>
                  </a:lnTo>
                  <a:lnTo>
                    <a:pt x="393" y="1403"/>
                  </a:lnTo>
                  <a:lnTo>
                    <a:pt x="393" y="1403"/>
                  </a:lnTo>
                  <a:lnTo>
                    <a:pt x="391" y="1402"/>
                  </a:lnTo>
                  <a:lnTo>
                    <a:pt x="391" y="1400"/>
                  </a:lnTo>
                  <a:lnTo>
                    <a:pt x="390" y="1402"/>
                  </a:lnTo>
                  <a:lnTo>
                    <a:pt x="390" y="1403"/>
                  </a:lnTo>
                  <a:lnTo>
                    <a:pt x="388" y="1403"/>
                  </a:lnTo>
                  <a:lnTo>
                    <a:pt x="387" y="1403"/>
                  </a:lnTo>
                  <a:lnTo>
                    <a:pt x="388" y="1405"/>
                  </a:lnTo>
                  <a:lnTo>
                    <a:pt x="388" y="1405"/>
                  </a:lnTo>
                  <a:close/>
                  <a:moveTo>
                    <a:pt x="499" y="1309"/>
                  </a:moveTo>
                  <a:lnTo>
                    <a:pt x="499" y="1311"/>
                  </a:lnTo>
                  <a:lnTo>
                    <a:pt x="499" y="1312"/>
                  </a:lnTo>
                  <a:lnTo>
                    <a:pt x="502" y="1314"/>
                  </a:lnTo>
                  <a:lnTo>
                    <a:pt x="504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5" y="1315"/>
                  </a:lnTo>
                  <a:lnTo>
                    <a:pt x="508" y="1314"/>
                  </a:lnTo>
                  <a:lnTo>
                    <a:pt x="510" y="1314"/>
                  </a:lnTo>
                  <a:lnTo>
                    <a:pt x="510" y="1312"/>
                  </a:lnTo>
                  <a:lnTo>
                    <a:pt x="508" y="1311"/>
                  </a:lnTo>
                  <a:lnTo>
                    <a:pt x="508" y="1308"/>
                  </a:lnTo>
                  <a:lnTo>
                    <a:pt x="507" y="1308"/>
                  </a:lnTo>
                  <a:lnTo>
                    <a:pt x="507" y="1306"/>
                  </a:lnTo>
                  <a:lnTo>
                    <a:pt x="504" y="1301"/>
                  </a:lnTo>
                  <a:lnTo>
                    <a:pt x="502" y="1301"/>
                  </a:lnTo>
                  <a:lnTo>
                    <a:pt x="502" y="1303"/>
                  </a:lnTo>
                  <a:lnTo>
                    <a:pt x="502" y="1305"/>
                  </a:lnTo>
                  <a:lnTo>
                    <a:pt x="501" y="1300"/>
                  </a:lnTo>
                  <a:lnTo>
                    <a:pt x="501" y="1301"/>
                  </a:lnTo>
                  <a:lnTo>
                    <a:pt x="501" y="1306"/>
                  </a:lnTo>
                  <a:lnTo>
                    <a:pt x="501" y="1308"/>
                  </a:lnTo>
                  <a:lnTo>
                    <a:pt x="499" y="1308"/>
                  </a:lnTo>
                  <a:lnTo>
                    <a:pt x="499" y="1309"/>
                  </a:lnTo>
                  <a:close/>
                  <a:moveTo>
                    <a:pt x="484" y="1311"/>
                  </a:moveTo>
                  <a:lnTo>
                    <a:pt x="484" y="1314"/>
                  </a:lnTo>
                  <a:lnTo>
                    <a:pt x="487" y="1321"/>
                  </a:lnTo>
                  <a:lnTo>
                    <a:pt x="492" y="1320"/>
                  </a:lnTo>
                  <a:lnTo>
                    <a:pt x="495" y="1321"/>
                  </a:lnTo>
                  <a:lnTo>
                    <a:pt x="496" y="1325"/>
                  </a:lnTo>
                  <a:lnTo>
                    <a:pt x="498" y="1326"/>
                  </a:lnTo>
                  <a:lnTo>
                    <a:pt x="502" y="1326"/>
                  </a:lnTo>
                  <a:lnTo>
                    <a:pt x="504" y="1328"/>
                  </a:lnTo>
                  <a:lnTo>
                    <a:pt x="505" y="1325"/>
                  </a:lnTo>
                  <a:lnTo>
                    <a:pt x="507" y="1321"/>
                  </a:lnTo>
                  <a:lnTo>
                    <a:pt x="507" y="1321"/>
                  </a:lnTo>
                  <a:lnTo>
                    <a:pt x="505" y="1317"/>
                  </a:lnTo>
                  <a:lnTo>
                    <a:pt x="496" y="1317"/>
                  </a:lnTo>
                  <a:lnTo>
                    <a:pt x="495" y="1314"/>
                  </a:lnTo>
                  <a:lnTo>
                    <a:pt x="493" y="1308"/>
                  </a:lnTo>
                  <a:lnTo>
                    <a:pt x="490" y="1305"/>
                  </a:lnTo>
                  <a:lnTo>
                    <a:pt x="484" y="1300"/>
                  </a:lnTo>
                  <a:lnTo>
                    <a:pt x="481" y="1298"/>
                  </a:lnTo>
                  <a:lnTo>
                    <a:pt x="479" y="1297"/>
                  </a:lnTo>
                  <a:lnTo>
                    <a:pt x="479" y="1297"/>
                  </a:lnTo>
                  <a:lnTo>
                    <a:pt x="478" y="1298"/>
                  </a:lnTo>
                  <a:lnTo>
                    <a:pt x="476" y="1301"/>
                  </a:lnTo>
                  <a:lnTo>
                    <a:pt x="476" y="1303"/>
                  </a:lnTo>
                  <a:lnTo>
                    <a:pt x="476" y="1306"/>
                  </a:lnTo>
                  <a:lnTo>
                    <a:pt x="479" y="1308"/>
                  </a:lnTo>
                  <a:lnTo>
                    <a:pt x="488" y="1306"/>
                  </a:lnTo>
                  <a:lnTo>
                    <a:pt x="490" y="1311"/>
                  </a:lnTo>
                  <a:lnTo>
                    <a:pt x="487" y="1311"/>
                  </a:lnTo>
                  <a:lnTo>
                    <a:pt x="484" y="1311"/>
                  </a:lnTo>
                  <a:close/>
                  <a:moveTo>
                    <a:pt x="496" y="1291"/>
                  </a:moveTo>
                  <a:lnTo>
                    <a:pt x="487" y="1294"/>
                  </a:lnTo>
                  <a:lnTo>
                    <a:pt x="487" y="1294"/>
                  </a:lnTo>
                  <a:lnTo>
                    <a:pt x="487" y="1295"/>
                  </a:lnTo>
                  <a:lnTo>
                    <a:pt x="485" y="1295"/>
                  </a:lnTo>
                  <a:lnTo>
                    <a:pt x="487" y="1295"/>
                  </a:lnTo>
                  <a:lnTo>
                    <a:pt x="487" y="1297"/>
                  </a:lnTo>
                  <a:lnTo>
                    <a:pt x="487" y="1298"/>
                  </a:lnTo>
                  <a:lnTo>
                    <a:pt x="487" y="1300"/>
                  </a:lnTo>
                  <a:lnTo>
                    <a:pt x="490" y="1300"/>
                  </a:lnTo>
                  <a:lnTo>
                    <a:pt x="490" y="1300"/>
                  </a:lnTo>
                  <a:lnTo>
                    <a:pt x="492" y="1300"/>
                  </a:lnTo>
                  <a:lnTo>
                    <a:pt x="492" y="1300"/>
                  </a:lnTo>
                  <a:lnTo>
                    <a:pt x="492" y="1300"/>
                  </a:lnTo>
                  <a:lnTo>
                    <a:pt x="493" y="1300"/>
                  </a:lnTo>
                  <a:lnTo>
                    <a:pt x="493" y="1301"/>
                  </a:lnTo>
                  <a:lnTo>
                    <a:pt x="495" y="1305"/>
                  </a:lnTo>
                  <a:lnTo>
                    <a:pt x="496" y="1306"/>
                  </a:lnTo>
                  <a:lnTo>
                    <a:pt x="496" y="1306"/>
                  </a:lnTo>
                  <a:lnTo>
                    <a:pt x="498" y="1306"/>
                  </a:lnTo>
                  <a:lnTo>
                    <a:pt x="498" y="1305"/>
                  </a:lnTo>
                  <a:lnTo>
                    <a:pt x="498" y="1303"/>
                  </a:lnTo>
                  <a:lnTo>
                    <a:pt x="498" y="1303"/>
                  </a:lnTo>
                  <a:lnTo>
                    <a:pt x="499" y="1303"/>
                  </a:lnTo>
                  <a:lnTo>
                    <a:pt x="499" y="1301"/>
                  </a:lnTo>
                  <a:lnTo>
                    <a:pt x="499" y="1301"/>
                  </a:lnTo>
                  <a:lnTo>
                    <a:pt x="499" y="1300"/>
                  </a:lnTo>
                  <a:lnTo>
                    <a:pt x="499" y="1297"/>
                  </a:lnTo>
                  <a:lnTo>
                    <a:pt x="501" y="1294"/>
                  </a:lnTo>
                  <a:lnTo>
                    <a:pt x="499" y="1292"/>
                  </a:lnTo>
                  <a:lnTo>
                    <a:pt x="498" y="1292"/>
                  </a:lnTo>
                  <a:lnTo>
                    <a:pt x="498" y="1291"/>
                  </a:lnTo>
                  <a:lnTo>
                    <a:pt x="496" y="1291"/>
                  </a:lnTo>
                  <a:close/>
                  <a:moveTo>
                    <a:pt x="481" y="1244"/>
                  </a:moveTo>
                  <a:lnTo>
                    <a:pt x="461" y="1261"/>
                  </a:lnTo>
                  <a:lnTo>
                    <a:pt x="461" y="1263"/>
                  </a:lnTo>
                  <a:lnTo>
                    <a:pt x="462" y="1263"/>
                  </a:lnTo>
                  <a:lnTo>
                    <a:pt x="464" y="1261"/>
                  </a:lnTo>
                  <a:lnTo>
                    <a:pt x="467" y="1261"/>
                  </a:lnTo>
                  <a:lnTo>
                    <a:pt x="468" y="1258"/>
                  </a:lnTo>
                  <a:lnTo>
                    <a:pt x="475" y="1254"/>
                  </a:lnTo>
                  <a:lnTo>
                    <a:pt x="479" y="1254"/>
                  </a:lnTo>
                  <a:lnTo>
                    <a:pt x="481" y="1254"/>
                  </a:lnTo>
                  <a:lnTo>
                    <a:pt x="481" y="1255"/>
                  </a:lnTo>
                  <a:lnTo>
                    <a:pt x="479" y="1258"/>
                  </a:lnTo>
                  <a:lnTo>
                    <a:pt x="478" y="1260"/>
                  </a:lnTo>
                  <a:lnTo>
                    <a:pt x="478" y="1261"/>
                  </a:lnTo>
                  <a:lnTo>
                    <a:pt x="478" y="1263"/>
                  </a:lnTo>
                  <a:lnTo>
                    <a:pt x="478" y="1261"/>
                  </a:lnTo>
                  <a:lnTo>
                    <a:pt x="479" y="1261"/>
                  </a:lnTo>
                  <a:lnTo>
                    <a:pt x="479" y="1261"/>
                  </a:lnTo>
                  <a:lnTo>
                    <a:pt x="481" y="1263"/>
                  </a:lnTo>
                  <a:lnTo>
                    <a:pt x="479" y="1263"/>
                  </a:lnTo>
                  <a:lnTo>
                    <a:pt x="479" y="1264"/>
                  </a:lnTo>
                  <a:lnTo>
                    <a:pt x="484" y="1264"/>
                  </a:lnTo>
                  <a:lnTo>
                    <a:pt x="487" y="1263"/>
                  </a:lnTo>
                  <a:lnTo>
                    <a:pt x="490" y="1260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5"/>
                  </a:lnTo>
                  <a:lnTo>
                    <a:pt x="493" y="1254"/>
                  </a:lnTo>
                  <a:lnTo>
                    <a:pt x="488" y="1252"/>
                  </a:lnTo>
                  <a:lnTo>
                    <a:pt x="488" y="1251"/>
                  </a:lnTo>
                  <a:lnTo>
                    <a:pt x="488" y="1249"/>
                  </a:lnTo>
                  <a:lnTo>
                    <a:pt x="487" y="1248"/>
                  </a:lnTo>
                  <a:lnTo>
                    <a:pt x="485" y="1248"/>
                  </a:lnTo>
                  <a:lnTo>
                    <a:pt x="484" y="1246"/>
                  </a:lnTo>
                  <a:lnTo>
                    <a:pt x="482" y="1244"/>
                  </a:lnTo>
                  <a:lnTo>
                    <a:pt x="481" y="1244"/>
                  </a:lnTo>
                  <a:lnTo>
                    <a:pt x="481" y="1244"/>
                  </a:lnTo>
                  <a:close/>
                  <a:moveTo>
                    <a:pt x="455" y="1261"/>
                  </a:moveTo>
                  <a:lnTo>
                    <a:pt x="455" y="1263"/>
                  </a:lnTo>
                  <a:lnTo>
                    <a:pt x="459" y="1260"/>
                  </a:lnTo>
                  <a:lnTo>
                    <a:pt x="462" y="1258"/>
                  </a:lnTo>
                  <a:lnTo>
                    <a:pt x="465" y="1252"/>
                  </a:lnTo>
                  <a:lnTo>
                    <a:pt x="472" y="1251"/>
                  </a:lnTo>
                  <a:lnTo>
                    <a:pt x="481" y="1241"/>
                  </a:lnTo>
                  <a:lnTo>
                    <a:pt x="482" y="1241"/>
                  </a:lnTo>
                  <a:lnTo>
                    <a:pt x="482" y="1241"/>
                  </a:lnTo>
                  <a:lnTo>
                    <a:pt x="482" y="1241"/>
                  </a:lnTo>
                  <a:lnTo>
                    <a:pt x="481" y="1238"/>
                  </a:lnTo>
                  <a:lnTo>
                    <a:pt x="478" y="1238"/>
                  </a:lnTo>
                  <a:lnTo>
                    <a:pt x="476" y="1238"/>
                  </a:lnTo>
                  <a:lnTo>
                    <a:pt x="476" y="1241"/>
                  </a:lnTo>
                  <a:lnTo>
                    <a:pt x="472" y="1243"/>
                  </a:lnTo>
                  <a:lnTo>
                    <a:pt x="468" y="1246"/>
                  </a:lnTo>
                  <a:lnTo>
                    <a:pt x="464" y="1249"/>
                  </a:lnTo>
                  <a:lnTo>
                    <a:pt x="462" y="1249"/>
                  </a:lnTo>
                  <a:lnTo>
                    <a:pt x="458" y="1249"/>
                  </a:lnTo>
                  <a:lnTo>
                    <a:pt x="456" y="1251"/>
                  </a:lnTo>
                  <a:lnTo>
                    <a:pt x="455" y="1254"/>
                  </a:lnTo>
                  <a:lnTo>
                    <a:pt x="455" y="1255"/>
                  </a:lnTo>
                  <a:lnTo>
                    <a:pt x="453" y="1258"/>
                  </a:lnTo>
                  <a:lnTo>
                    <a:pt x="451" y="1260"/>
                  </a:lnTo>
                  <a:lnTo>
                    <a:pt x="455" y="1260"/>
                  </a:lnTo>
                  <a:lnTo>
                    <a:pt x="455" y="1261"/>
                  </a:lnTo>
                  <a:close/>
                  <a:moveTo>
                    <a:pt x="516" y="1229"/>
                  </a:moveTo>
                  <a:lnTo>
                    <a:pt x="518" y="1228"/>
                  </a:lnTo>
                  <a:lnTo>
                    <a:pt x="521" y="1226"/>
                  </a:lnTo>
                  <a:lnTo>
                    <a:pt x="522" y="1224"/>
                  </a:lnTo>
                  <a:lnTo>
                    <a:pt x="522" y="1224"/>
                  </a:lnTo>
                  <a:lnTo>
                    <a:pt x="522" y="1226"/>
                  </a:lnTo>
                  <a:lnTo>
                    <a:pt x="522" y="1226"/>
                  </a:lnTo>
                  <a:lnTo>
                    <a:pt x="522" y="1228"/>
                  </a:lnTo>
                  <a:lnTo>
                    <a:pt x="522" y="1228"/>
                  </a:lnTo>
                  <a:lnTo>
                    <a:pt x="522" y="1229"/>
                  </a:lnTo>
                  <a:lnTo>
                    <a:pt x="524" y="1228"/>
                  </a:lnTo>
                  <a:lnTo>
                    <a:pt x="524" y="1228"/>
                  </a:lnTo>
                  <a:lnTo>
                    <a:pt x="525" y="1226"/>
                  </a:lnTo>
                  <a:lnTo>
                    <a:pt x="525" y="1224"/>
                  </a:lnTo>
                  <a:lnTo>
                    <a:pt x="525" y="1224"/>
                  </a:lnTo>
                  <a:lnTo>
                    <a:pt x="524" y="1224"/>
                  </a:lnTo>
                  <a:lnTo>
                    <a:pt x="524" y="1223"/>
                  </a:lnTo>
                  <a:lnTo>
                    <a:pt x="525" y="1223"/>
                  </a:lnTo>
                  <a:lnTo>
                    <a:pt x="527" y="1221"/>
                  </a:lnTo>
                  <a:lnTo>
                    <a:pt x="529" y="1220"/>
                  </a:lnTo>
                  <a:lnTo>
                    <a:pt x="530" y="1218"/>
                  </a:lnTo>
                  <a:lnTo>
                    <a:pt x="532" y="1217"/>
                  </a:lnTo>
                  <a:lnTo>
                    <a:pt x="532" y="1215"/>
                  </a:lnTo>
                  <a:lnTo>
                    <a:pt x="530" y="1215"/>
                  </a:lnTo>
                  <a:lnTo>
                    <a:pt x="529" y="1215"/>
                  </a:lnTo>
                  <a:lnTo>
                    <a:pt x="529" y="1217"/>
                  </a:lnTo>
                  <a:lnTo>
                    <a:pt x="529" y="1217"/>
                  </a:lnTo>
                  <a:lnTo>
                    <a:pt x="527" y="1217"/>
                  </a:lnTo>
                  <a:lnTo>
                    <a:pt x="527" y="1217"/>
                  </a:lnTo>
                  <a:lnTo>
                    <a:pt x="527" y="1217"/>
                  </a:lnTo>
                  <a:lnTo>
                    <a:pt x="525" y="1215"/>
                  </a:lnTo>
                  <a:lnTo>
                    <a:pt x="522" y="1215"/>
                  </a:lnTo>
                  <a:lnTo>
                    <a:pt x="516" y="1217"/>
                  </a:lnTo>
                  <a:lnTo>
                    <a:pt x="516" y="1218"/>
                  </a:lnTo>
                  <a:lnTo>
                    <a:pt x="515" y="1220"/>
                  </a:lnTo>
                  <a:lnTo>
                    <a:pt x="513" y="1220"/>
                  </a:lnTo>
                  <a:lnTo>
                    <a:pt x="513" y="1221"/>
                  </a:lnTo>
                  <a:lnTo>
                    <a:pt x="513" y="1223"/>
                  </a:lnTo>
                  <a:lnTo>
                    <a:pt x="513" y="1224"/>
                  </a:lnTo>
                  <a:lnTo>
                    <a:pt x="513" y="1224"/>
                  </a:lnTo>
                  <a:lnTo>
                    <a:pt x="513" y="1226"/>
                  </a:lnTo>
                  <a:lnTo>
                    <a:pt x="512" y="1226"/>
                  </a:lnTo>
                  <a:lnTo>
                    <a:pt x="512" y="1226"/>
                  </a:lnTo>
                  <a:lnTo>
                    <a:pt x="515" y="1229"/>
                  </a:lnTo>
                  <a:lnTo>
                    <a:pt x="516" y="1229"/>
                  </a:lnTo>
                  <a:close/>
                  <a:moveTo>
                    <a:pt x="547" y="1221"/>
                  </a:moveTo>
                  <a:lnTo>
                    <a:pt x="547" y="1221"/>
                  </a:lnTo>
                  <a:lnTo>
                    <a:pt x="549" y="1223"/>
                  </a:lnTo>
                  <a:lnTo>
                    <a:pt x="552" y="1224"/>
                  </a:lnTo>
                  <a:lnTo>
                    <a:pt x="553" y="1224"/>
                  </a:lnTo>
                  <a:lnTo>
                    <a:pt x="555" y="1224"/>
                  </a:lnTo>
                  <a:lnTo>
                    <a:pt x="558" y="1226"/>
                  </a:lnTo>
                  <a:lnTo>
                    <a:pt x="559" y="1226"/>
                  </a:lnTo>
                  <a:lnTo>
                    <a:pt x="565" y="1224"/>
                  </a:lnTo>
                  <a:lnTo>
                    <a:pt x="569" y="1221"/>
                  </a:lnTo>
                  <a:lnTo>
                    <a:pt x="570" y="1220"/>
                  </a:lnTo>
                  <a:lnTo>
                    <a:pt x="572" y="1217"/>
                  </a:lnTo>
                  <a:lnTo>
                    <a:pt x="569" y="1215"/>
                  </a:lnTo>
                  <a:lnTo>
                    <a:pt x="567" y="1215"/>
                  </a:lnTo>
                  <a:lnTo>
                    <a:pt x="565" y="1214"/>
                  </a:lnTo>
                  <a:lnTo>
                    <a:pt x="567" y="1211"/>
                  </a:lnTo>
                  <a:lnTo>
                    <a:pt x="569" y="1208"/>
                  </a:lnTo>
                  <a:lnTo>
                    <a:pt x="565" y="1204"/>
                  </a:lnTo>
                  <a:lnTo>
                    <a:pt x="564" y="1200"/>
                  </a:lnTo>
                  <a:lnTo>
                    <a:pt x="562" y="1198"/>
                  </a:lnTo>
                  <a:lnTo>
                    <a:pt x="561" y="1198"/>
                  </a:lnTo>
                  <a:lnTo>
                    <a:pt x="558" y="1200"/>
                  </a:lnTo>
                  <a:lnTo>
                    <a:pt x="556" y="1203"/>
                  </a:lnTo>
                  <a:lnTo>
                    <a:pt x="555" y="1204"/>
                  </a:lnTo>
                  <a:lnTo>
                    <a:pt x="555" y="1206"/>
                  </a:lnTo>
                  <a:lnTo>
                    <a:pt x="555" y="1208"/>
                  </a:lnTo>
                  <a:lnTo>
                    <a:pt x="555" y="1211"/>
                  </a:lnTo>
                  <a:lnTo>
                    <a:pt x="555" y="1211"/>
                  </a:lnTo>
                  <a:lnTo>
                    <a:pt x="555" y="1212"/>
                  </a:lnTo>
                  <a:lnTo>
                    <a:pt x="555" y="1214"/>
                  </a:lnTo>
                  <a:lnTo>
                    <a:pt x="556" y="1214"/>
                  </a:lnTo>
                  <a:lnTo>
                    <a:pt x="558" y="1214"/>
                  </a:lnTo>
                  <a:lnTo>
                    <a:pt x="555" y="1214"/>
                  </a:lnTo>
                  <a:lnTo>
                    <a:pt x="553" y="1215"/>
                  </a:lnTo>
                  <a:lnTo>
                    <a:pt x="552" y="1217"/>
                  </a:lnTo>
                  <a:lnTo>
                    <a:pt x="552" y="1218"/>
                  </a:lnTo>
                  <a:lnTo>
                    <a:pt x="552" y="1220"/>
                  </a:lnTo>
                  <a:lnTo>
                    <a:pt x="552" y="1221"/>
                  </a:lnTo>
                  <a:lnTo>
                    <a:pt x="550" y="1221"/>
                  </a:lnTo>
                  <a:lnTo>
                    <a:pt x="547" y="1221"/>
                  </a:lnTo>
                  <a:close/>
                  <a:moveTo>
                    <a:pt x="562" y="1192"/>
                  </a:moveTo>
                  <a:lnTo>
                    <a:pt x="562" y="1192"/>
                  </a:lnTo>
                  <a:lnTo>
                    <a:pt x="564" y="1187"/>
                  </a:lnTo>
                  <a:lnTo>
                    <a:pt x="565" y="1187"/>
                  </a:lnTo>
                  <a:lnTo>
                    <a:pt x="567" y="1186"/>
                  </a:lnTo>
                  <a:lnTo>
                    <a:pt x="565" y="1184"/>
                  </a:lnTo>
                  <a:lnTo>
                    <a:pt x="564" y="1183"/>
                  </a:lnTo>
                  <a:lnTo>
                    <a:pt x="564" y="1183"/>
                  </a:lnTo>
                  <a:lnTo>
                    <a:pt x="564" y="1180"/>
                  </a:lnTo>
                  <a:lnTo>
                    <a:pt x="564" y="1178"/>
                  </a:lnTo>
                  <a:lnTo>
                    <a:pt x="565" y="1180"/>
                  </a:lnTo>
                  <a:lnTo>
                    <a:pt x="573" y="1177"/>
                  </a:lnTo>
                  <a:lnTo>
                    <a:pt x="575" y="1177"/>
                  </a:lnTo>
                  <a:lnTo>
                    <a:pt x="575" y="1175"/>
                  </a:lnTo>
                  <a:lnTo>
                    <a:pt x="576" y="1174"/>
                  </a:lnTo>
                  <a:lnTo>
                    <a:pt x="578" y="1172"/>
                  </a:lnTo>
                  <a:lnTo>
                    <a:pt x="581" y="1171"/>
                  </a:lnTo>
                  <a:lnTo>
                    <a:pt x="582" y="1169"/>
                  </a:lnTo>
                  <a:lnTo>
                    <a:pt x="584" y="1167"/>
                  </a:lnTo>
                  <a:lnTo>
                    <a:pt x="585" y="1166"/>
                  </a:lnTo>
                  <a:lnTo>
                    <a:pt x="584" y="1166"/>
                  </a:lnTo>
                  <a:lnTo>
                    <a:pt x="584" y="1164"/>
                  </a:lnTo>
                  <a:lnTo>
                    <a:pt x="582" y="1163"/>
                  </a:lnTo>
                  <a:lnTo>
                    <a:pt x="581" y="1161"/>
                  </a:lnTo>
                  <a:lnTo>
                    <a:pt x="581" y="1158"/>
                  </a:lnTo>
                  <a:lnTo>
                    <a:pt x="581" y="1155"/>
                  </a:lnTo>
                  <a:lnTo>
                    <a:pt x="581" y="1154"/>
                  </a:lnTo>
                  <a:lnTo>
                    <a:pt x="578" y="1146"/>
                  </a:lnTo>
                  <a:lnTo>
                    <a:pt x="576" y="1144"/>
                  </a:lnTo>
                  <a:lnTo>
                    <a:pt x="573" y="1143"/>
                  </a:lnTo>
                  <a:lnTo>
                    <a:pt x="572" y="1141"/>
                  </a:lnTo>
                  <a:lnTo>
                    <a:pt x="572" y="1140"/>
                  </a:lnTo>
                  <a:lnTo>
                    <a:pt x="570" y="1135"/>
                  </a:lnTo>
                  <a:lnTo>
                    <a:pt x="569" y="1132"/>
                  </a:lnTo>
                  <a:lnTo>
                    <a:pt x="567" y="1134"/>
                  </a:lnTo>
                  <a:lnTo>
                    <a:pt x="565" y="1137"/>
                  </a:lnTo>
                  <a:lnTo>
                    <a:pt x="565" y="1138"/>
                  </a:lnTo>
                  <a:lnTo>
                    <a:pt x="565" y="1138"/>
                  </a:lnTo>
                  <a:lnTo>
                    <a:pt x="565" y="1140"/>
                  </a:lnTo>
                  <a:lnTo>
                    <a:pt x="567" y="1140"/>
                  </a:lnTo>
                  <a:lnTo>
                    <a:pt x="565" y="1143"/>
                  </a:lnTo>
                  <a:lnTo>
                    <a:pt x="565" y="1144"/>
                  </a:lnTo>
                  <a:lnTo>
                    <a:pt x="564" y="1149"/>
                  </a:lnTo>
                  <a:lnTo>
                    <a:pt x="565" y="1149"/>
                  </a:lnTo>
                  <a:lnTo>
                    <a:pt x="562" y="1152"/>
                  </a:lnTo>
                  <a:lnTo>
                    <a:pt x="565" y="1154"/>
                  </a:lnTo>
                  <a:lnTo>
                    <a:pt x="567" y="1152"/>
                  </a:lnTo>
                  <a:lnTo>
                    <a:pt x="572" y="1149"/>
                  </a:lnTo>
                  <a:lnTo>
                    <a:pt x="572" y="1149"/>
                  </a:lnTo>
                  <a:lnTo>
                    <a:pt x="572" y="1151"/>
                  </a:lnTo>
                  <a:lnTo>
                    <a:pt x="572" y="1152"/>
                  </a:lnTo>
                  <a:lnTo>
                    <a:pt x="573" y="1154"/>
                  </a:lnTo>
                  <a:lnTo>
                    <a:pt x="569" y="1157"/>
                  </a:lnTo>
                  <a:lnTo>
                    <a:pt x="564" y="1161"/>
                  </a:lnTo>
                  <a:lnTo>
                    <a:pt x="561" y="1164"/>
                  </a:lnTo>
                  <a:lnTo>
                    <a:pt x="559" y="1166"/>
                  </a:lnTo>
                  <a:lnTo>
                    <a:pt x="561" y="1167"/>
                  </a:lnTo>
                  <a:lnTo>
                    <a:pt x="561" y="1167"/>
                  </a:lnTo>
                  <a:lnTo>
                    <a:pt x="561" y="1167"/>
                  </a:lnTo>
                  <a:lnTo>
                    <a:pt x="562" y="1167"/>
                  </a:lnTo>
                  <a:lnTo>
                    <a:pt x="564" y="1167"/>
                  </a:lnTo>
                  <a:lnTo>
                    <a:pt x="564" y="1169"/>
                  </a:lnTo>
                  <a:lnTo>
                    <a:pt x="562" y="1171"/>
                  </a:lnTo>
                  <a:lnTo>
                    <a:pt x="562" y="1174"/>
                  </a:lnTo>
                  <a:lnTo>
                    <a:pt x="561" y="1174"/>
                  </a:lnTo>
                  <a:lnTo>
                    <a:pt x="561" y="1174"/>
                  </a:lnTo>
                  <a:lnTo>
                    <a:pt x="559" y="1172"/>
                  </a:lnTo>
                  <a:lnTo>
                    <a:pt x="559" y="1172"/>
                  </a:lnTo>
                  <a:lnTo>
                    <a:pt x="558" y="1174"/>
                  </a:lnTo>
                  <a:lnTo>
                    <a:pt x="556" y="1175"/>
                  </a:lnTo>
                  <a:lnTo>
                    <a:pt x="555" y="1178"/>
                  </a:lnTo>
                  <a:lnTo>
                    <a:pt x="555" y="1181"/>
                  </a:lnTo>
                  <a:lnTo>
                    <a:pt x="555" y="1183"/>
                  </a:lnTo>
                  <a:lnTo>
                    <a:pt x="556" y="1183"/>
                  </a:lnTo>
                  <a:lnTo>
                    <a:pt x="556" y="1183"/>
                  </a:lnTo>
                  <a:lnTo>
                    <a:pt x="558" y="1183"/>
                  </a:lnTo>
                  <a:lnTo>
                    <a:pt x="555" y="1191"/>
                  </a:lnTo>
                  <a:lnTo>
                    <a:pt x="553" y="1195"/>
                  </a:lnTo>
                  <a:lnTo>
                    <a:pt x="552" y="1197"/>
                  </a:lnTo>
                  <a:lnTo>
                    <a:pt x="555" y="1198"/>
                  </a:lnTo>
                  <a:lnTo>
                    <a:pt x="562" y="1192"/>
                  </a:lnTo>
                  <a:close/>
                  <a:moveTo>
                    <a:pt x="536" y="1127"/>
                  </a:moveTo>
                  <a:lnTo>
                    <a:pt x="538" y="1127"/>
                  </a:lnTo>
                  <a:lnTo>
                    <a:pt x="536" y="1129"/>
                  </a:lnTo>
                  <a:lnTo>
                    <a:pt x="538" y="1129"/>
                  </a:lnTo>
                  <a:lnTo>
                    <a:pt x="538" y="1129"/>
                  </a:lnTo>
                  <a:lnTo>
                    <a:pt x="539" y="1129"/>
                  </a:lnTo>
                  <a:lnTo>
                    <a:pt x="539" y="1129"/>
                  </a:lnTo>
                  <a:lnTo>
                    <a:pt x="541" y="1129"/>
                  </a:lnTo>
                  <a:lnTo>
                    <a:pt x="541" y="1131"/>
                  </a:lnTo>
                  <a:lnTo>
                    <a:pt x="541" y="1131"/>
                  </a:lnTo>
                  <a:lnTo>
                    <a:pt x="542" y="1131"/>
                  </a:lnTo>
                  <a:lnTo>
                    <a:pt x="542" y="1131"/>
                  </a:lnTo>
                  <a:lnTo>
                    <a:pt x="545" y="1126"/>
                  </a:lnTo>
                  <a:lnTo>
                    <a:pt x="545" y="1124"/>
                  </a:lnTo>
                  <a:lnTo>
                    <a:pt x="547" y="1121"/>
                  </a:lnTo>
                  <a:lnTo>
                    <a:pt x="545" y="1120"/>
                  </a:lnTo>
                  <a:lnTo>
                    <a:pt x="545" y="1118"/>
                  </a:lnTo>
                  <a:lnTo>
                    <a:pt x="547" y="1117"/>
                  </a:lnTo>
                  <a:lnTo>
                    <a:pt x="549" y="1115"/>
                  </a:lnTo>
                  <a:lnTo>
                    <a:pt x="549" y="1114"/>
                  </a:lnTo>
                  <a:lnTo>
                    <a:pt x="549" y="1112"/>
                  </a:lnTo>
                  <a:lnTo>
                    <a:pt x="547" y="1112"/>
                  </a:lnTo>
                  <a:lnTo>
                    <a:pt x="545" y="1112"/>
                  </a:lnTo>
                  <a:lnTo>
                    <a:pt x="544" y="1112"/>
                  </a:lnTo>
                  <a:lnTo>
                    <a:pt x="542" y="1110"/>
                  </a:lnTo>
                  <a:lnTo>
                    <a:pt x="539" y="1110"/>
                  </a:lnTo>
                  <a:lnTo>
                    <a:pt x="535" y="1112"/>
                  </a:lnTo>
                  <a:lnTo>
                    <a:pt x="533" y="1115"/>
                  </a:lnTo>
                  <a:lnTo>
                    <a:pt x="532" y="1118"/>
                  </a:lnTo>
                  <a:lnTo>
                    <a:pt x="530" y="1123"/>
                  </a:lnTo>
                  <a:lnTo>
                    <a:pt x="530" y="1126"/>
                  </a:lnTo>
                  <a:lnTo>
                    <a:pt x="532" y="1127"/>
                  </a:lnTo>
                  <a:lnTo>
                    <a:pt x="536" y="1127"/>
                  </a:lnTo>
                  <a:close/>
                  <a:moveTo>
                    <a:pt x="582" y="1078"/>
                  </a:moveTo>
                  <a:lnTo>
                    <a:pt x="581" y="1080"/>
                  </a:lnTo>
                  <a:lnTo>
                    <a:pt x="579" y="1080"/>
                  </a:lnTo>
                  <a:lnTo>
                    <a:pt x="582" y="1080"/>
                  </a:lnTo>
                  <a:lnTo>
                    <a:pt x="584" y="1078"/>
                  </a:lnTo>
                  <a:lnTo>
                    <a:pt x="595" y="1067"/>
                  </a:lnTo>
                  <a:lnTo>
                    <a:pt x="598" y="1066"/>
                  </a:lnTo>
                  <a:lnTo>
                    <a:pt x="602" y="1061"/>
                  </a:lnTo>
                  <a:lnTo>
                    <a:pt x="612" y="1057"/>
                  </a:lnTo>
                  <a:lnTo>
                    <a:pt x="615" y="1057"/>
                  </a:lnTo>
                  <a:lnTo>
                    <a:pt x="615" y="1054"/>
                  </a:lnTo>
                  <a:lnTo>
                    <a:pt x="612" y="1052"/>
                  </a:lnTo>
                  <a:lnTo>
                    <a:pt x="607" y="1052"/>
                  </a:lnTo>
                  <a:lnTo>
                    <a:pt x="602" y="1055"/>
                  </a:lnTo>
                  <a:lnTo>
                    <a:pt x="599" y="1057"/>
                  </a:lnTo>
                  <a:lnTo>
                    <a:pt x="599" y="1058"/>
                  </a:lnTo>
                  <a:lnTo>
                    <a:pt x="596" y="1060"/>
                  </a:lnTo>
                  <a:lnTo>
                    <a:pt x="595" y="1061"/>
                  </a:lnTo>
                  <a:lnTo>
                    <a:pt x="593" y="1061"/>
                  </a:lnTo>
                  <a:lnTo>
                    <a:pt x="593" y="1061"/>
                  </a:lnTo>
                  <a:lnTo>
                    <a:pt x="595" y="1058"/>
                  </a:lnTo>
                  <a:lnTo>
                    <a:pt x="596" y="1054"/>
                  </a:lnTo>
                  <a:lnTo>
                    <a:pt x="595" y="1052"/>
                  </a:lnTo>
                  <a:lnTo>
                    <a:pt x="593" y="1054"/>
                  </a:lnTo>
                  <a:lnTo>
                    <a:pt x="584" y="1058"/>
                  </a:lnTo>
                  <a:lnTo>
                    <a:pt x="582" y="1060"/>
                  </a:lnTo>
                  <a:lnTo>
                    <a:pt x="582" y="1063"/>
                  </a:lnTo>
                  <a:lnTo>
                    <a:pt x="581" y="1067"/>
                  </a:lnTo>
                  <a:lnTo>
                    <a:pt x="579" y="1069"/>
                  </a:lnTo>
                  <a:lnTo>
                    <a:pt x="576" y="1074"/>
                  </a:lnTo>
                  <a:lnTo>
                    <a:pt x="575" y="1077"/>
                  </a:lnTo>
                  <a:lnTo>
                    <a:pt x="584" y="1075"/>
                  </a:lnTo>
                  <a:lnTo>
                    <a:pt x="582" y="1077"/>
                  </a:lnTo>
                  <a:lnTo>
                    <a:pt x="582" y="1078"/>
                  </a:lnTo>
                  <a:close/>
                  <a:moveTo>
                    <a:pt x="590" y="1043"/>
                  </a:moveTo>
                  <a:lnTo>
                    <a:pt x="592" y="1041"/>
                  </a:lnTo>
                  <a:lnTo>
                    <a:pt x="593" y="1041"/>
                  </a:lnTo>
                  <a:lnTo>
                    <a:pt x="596" y="1040"/>
                  </a:lnTo>
                  <a:lnTo>
                    <a:pt x="596" y="1040"/>
                  </a:lnTo>
                  <a:lnTo>
                    <a:pt x="596" y="1038"/>
                  </a:lnTo>
                  <a:lnTo>
                    <a:pt x="596" y="1037"/>
                  </a:lnTo>
                  <a:lnTo>
                    <a:pt x="595" y="1035"/>
                  </a:lnTo>
                  <a:lnTo>
                    <a:pt x="592" y="1037"/>
                  </a:lnTo>
                  <a:lnTo>
                    <a:pt x="592" y="1035"/>
                  </a:lnTo>
                  <a:lnTo>
                    <a:pt x="593" y="1035"/>
                  </a:lnTo>
                  <a:lnTo>
                    <a:pt x="595" y="1033"/>
                  </a:lnTo>
                  <a:lnTo>
                    <a:pt x="589" y="1033"/>
                  </a:lnTo>
                  <a:lnTo>
                    <a:pt x="589" y="1032"/>
                  </a:lnTo>
                  <a:lnTo>
                    <a:pt x="592" y="1030"/>
                  </a:lnTo>
                  <a:lnTo>
                    <a:pt x="593" y="1027"/>
                  </a:lnTo>
                  <a:lnTo>
                    <a:pt x="593" y="1026"/>
                  </a:lnTo>
                  <a:lnTo>
                    <a:pt x="593" y="1024"/>
                  </a:lnTo>
                  <a:lnTo>
                    <a:pt x="593" y="1021"/>
                  </a:lnTo>
                  <a:lnTo>
                    <a:pt x="592" y="1020"/>
                  </a:lnTo>
                  <a:lnTo>
                    <a:pt x="592" y="1018"/>
                  </a:lnTo>
                  <a:lnTo>
                    <a:pt x="590" y="1017"/>
                  </a:lnTo>
                  <a:lnTo>
                    <a:pt x="589" y="1017"/>
                  </a:lnTo>
                  <a:lnTo>
                    <a:pt x="589" y="1020"/>
                  </a:lnTo>
                  <a:lnTo>
                    <a:pt x="587" y="1020"/>
                  </a:lnTo>
                  <a:lnTo>
                    <a:pt x="587" y="1021"/>
                  </a:lnTo>
                  <a:lnTo>
                    <a:pt x="579" y="1026"/>
                  </a:lnTo>
                  <a:lnTo>
                    <a:pt x="579" y="1026"/>
                  </a:lnTo>
                  <a:lnTo>
                    <a:pt x="582" y="1024"/>
                  </a:lnTo>
                  <a:lnTo>
                    <a:pt x="585" y="1024"/>
                  </a:lnTo>
                  <a:lnTo>
                    <a:pt x="589" y="1026"/>
                  </a:lnTo>
                  <a:lnTo>
                    <a:pt x="590" y="1027"/>
                  </a:lnTo>
                  <a:lnTo>
                    <a:pt x="587" y="1030"/>
                  </a:lnTo>
                  <a:lnTo>
                    <a:pt x="584" y="1032"/>
                  </a:lnTo>
                  <a:lnTo>
                    <a:pt x="584" y="1033"/>
                  </a:lnTo>
                  <a:lnTo>
                    <a:pt x="584" y="1035"/>
                  </a:lnTo>
                  <a:lnTo>
                    <a:pt x="582" y="1037"/>
                  </a:lnTo>
                  <a:lnTo>
                    <a:pt x="582" y="1037"/>
                  </a:lnTo>
                  <a:lnTo>
                    <a:pt x="578" y="1038"/>
                  </a:lnTo>
                  <a:lnTo>
                    <a:pt x="576" y="1038"/>
                  </a:lnTo>
                  <a:lnTo>
                    <a:pt x="575" y="1041"/>
                  </a:lnTo>
                  <a:lnTo>
                    <a:pt x="573" y="1041"/>
                  </a:lnTo>
                  <a:lnTo>
                    <a:pt x="573" y="1043"/>
                  </a:lnTo>
                  <a:lnTo>
                    <a:pt x="575" y="1043"/>
                  </a:lnTo>
                  <a:lnTo>
                    <a:pt x="578" y="1041"/>
                  </a:lnTo>
                  <a:lnTo>
                    <a:pt x="579" y="1040"/>
                  </a:lnTo>
                  <a:lnTo>
                    <a:pt x="579" y="1041"/>
                  </a:lnTo>
                  <a:lnTo>
                    <a:pt x="579" y="1043"/>
                  </a:lnTo>
                  <a:lnTo>
                    <a:pt x="578" y="1044"/>
                  </a:lnTo>
                  <a:lnTo>
                    <a:pt x="576" y="1046"/>
                  </a:lnTo>
                  <a:lnTo>
                    <a:pt x="575" y="1047"/>
                  </a:lnTo>
                  <a:lnTo>
                    <a:pt x="575" y="1047"/>
                  </a:lnTo>
                  <a:lnTo>
                    <a:pt x="573" y="1049"/>
                  </a:lnTo>
                  <a:lnTo>
                    <a:pt x="570" y="1054"/>
                  </a:lnTo>
                  <a:lnTo>
                    <a:pt x="587" y="1046"/>
                  </a:lnTo>
                  <a:lnTo>
                    <a:pt x="590" y="1043"/>
                  </a:lnTo>
                  <a:close/>
                  <a:moveTo>
                    <a:pt x="601" y="1012"/>
                  </a:moveTo>
                  <a:lnTo>
                    <a:pt x="602" y="1012"/>
                  </a:lnTo>
                  <a:lnTo>
                    <a:pt x="604" y="1013"/>
                  </a:lnTo>
                  <a:lnTo>
                    <a:pt x="604" y="1017"/>
                  </a:lnTo>
                  <a:lnTo>
                    <a:pt x="607" y="1017"/>
                  </a:lnTo>
                  <a:lnTo>
                    <a:pt x="609" y="1015"/>
                  </a:lnTo>
                  <a:lnTo>
                    <a:pt x="610" y="1017"/>
                  </a:lnTo>
                  <a:lnTo>
                    <a:pt x="612" y="1015"/>
                  </a:lnTo>
                  <a:lnTo>
                    <a:pt x="612" y="1013"/>
                  </a:lnTo>
                  <a:lnTo>
                    <a:pt x="613" y="1013"/>
                  </a:lnTo>
                  <a:lnTo>
                    <a:pt x="613" y="1012"/>
                  </a:lnTo>
                  <a:lnTo>
                    <a:pt x="615" y="1009"/>
                  </a:lnTo>
                  <a:lnTo>
                    <a:pt x="613" y="1006"/>
                  </a:lnTo>
                  <a:lnTo>
                    <a:pt x="613" y="1004"/>
                  </a:lnTo>
                  <a:lnTo>
                    <a:pt x="613" y="1004"/>
                  </a:lnTo>
                  <a:lnTo>
                    <a:pt x="613" y="1003"/>
                  </a:lnTo>
                  <a:lnTo>
                    <a:pt x="612" y="1003"/>
                  </a:lnTo>
                  <a:lnTo>
                    <a:pt x="610" y="1003"/>
                  </a:lnTo>
                  <a:lnTo>
                    <a:pt x="610" y="1003"/>
                  </a:lnTo>
                  <a:lnTo>
                    <a:pt x="610" y="1003"/>
                  </a:lnTo>
                  <a:lnTo>
                    <a:pt x="610" y="1001"/>
                  </a:lnTo>
                  <a:lnTo>
                    <a:pt x="609" y="1003"/>
                  </a:lnTo>
                  <a:lnTo>
                    <a:pt x="609" y="1001"/>
                  </a:lnTo>
                  <a:lnTo>
                    <a:pt x="607" y="1000"/>
                  </a:lnTo>
                  <a:lnTo>
                    <a:pt x="607" y="1000"/>
                  </a:lnTo>
                  <a:lnTo>
                    <a:pt x="607" y="1001"/>
                  </a:lnTo>
                  <a:lnTo>
                    <a:pt x="607" y="1001"/>
                  </a:lnTo>
                  <a:lnTo>
                    <a:pt x="607" y="1003"/>
                  </a:lnTo>
                  <a:lnTo>
                    <a:pt x="604" y="1006"/>
                  </a:lnTo>
                  <a:lnTo>
                    <a:pt x="602" y="1007"/>
                  </a:lnTo>
                  <a:lnTo>
                    <a:pt x="601" y="1009"/>
                  </a:lnTo>
                  <a:lnTo>
                    <a:pt x="601" y="1010"/>
                  </a:lnTo>
                  <a:lnTo>
                    <a:pt x="601" y="1012"/>
                  </a:lnTo>
                  <a:lnTo>
                    <a:pt x="601" y="1012"/>
                  </a:lnTo>
                  <a:lnTo>
                    <a:pt x="601" y="1012"/>
                  </a:lnTo>
                  <a:close/>
                  <a:moveTo>
                    <a:pt x="615" y="981"/>
                  </a:moveTo>
                  <a:lnTo>
                    <a:pt x="615" y="980"/>
                  </a:lnTo>
                  <a:lnTo>
                    <a:pt x="615" y="983"/>
                  </a:lnTo>
                  <a:lnTo>
                    <a:pt x="616" y="983"/>
                  </a:lnTo>
                  <a:lnTo>
                    <a:pt x="616" y="984"/>
                  </a:lnTo>
                  <a:lnTo>
                    <a:pt x="618" y="986"/>
                  </a:lnTo>
                  <a:lnTo>
                    <a:pt x="618" y="984"/>
                  </a:lnTo>
                  <a:lnTo>
                    <a:pt x="619" y="981"/>
                  </a:lnTo>
                  <a:lnTo>
                    <a:pt x="619" y="977"/>
                  </a:lnTo>
                  <a:lnTo>
                    <a:pt x="619" y="973"/>
                  </a:lnTo>
                  <a:lnTo>
                    <a:pt x="619" y="972"/>
                  </a:lnTo>
                  <a:lnTo>
                    <a:pt x="618" y="972"/>
                  </a:lnTo>
                  <a:lnTo>
                    <a:pt x="618" y="972"/>
                  </a:lnTo>
                  <a:lnTo>
                    <a:pt x="618" y="973"/>
                  </a:lnTo>
                  <a:lnTo>
                    <a:pt x="618" y="975"/>
                  </a:lnTo>
                  <a:lnTo>
                    <a:pt x="616" y="977"/>
                  </a:lnTo>
                  <a:lnTo>
                    <a:pt x="616" y="978"/>
                  </a:lnTo>
                  <a:lnTo>
                    <a:pt x="616" y="977"/>
                  </a:lnTo>
                  <a:lnTo>
                    <a:pt x="616" y="975"/>
                  </a:lnTo>
                  <a:lnTo>
                    <a:pt x="615" y="975"/>
                  </a:lnTo>
                  <a:lnTo>
                    <a:pt x="615" y="973"/>
                  </a:lnTo>
                  <a:lnTo>
                    <a:pt x="615" y="973"/>
                  </a:lnTo>
                  <a:lnTo>
                    <a:pt x="615" y="972"/>
                  </a:lnTo>
                  <a:lnTo>
                    <a:pt x="610" y="975"/>
                  </a:lnTo>
                  <a:lnTo>
                    <a:pt x="609" y="975"/>
                  </a:lnTo>
                  <a:lnTo>
                    <a:pt x="609" y="977"/>
                  </a:lnTo>
                  <a:lnTo>
                    <a:pt x="610" y="977"/>
                  </a:lnTo>
                  <a:lnTo>
                    <a:pt x="610" y="978"/>
                  </a:lnTo>
                  <a:lnTo>
                    <a:pt x="612" y="981"/>
                  </a:lnTo>
                  <a:lnTo>
                    <a:pt x="610" y="983"/>
                  </a:lnTo>
                  <a:lnTo>
                    <a:pt x="609" y="986"/>
                  </a:lnTo>
                  <a:lnTo>
                    <a:pt x="607" y="986"/>
                  </a:lnTo>
                  <a:lnTo>
                    <a:pt x="609" y="987"/>
                  </a:lnTo>
                  <a:lnTo>
                    <a:pt x="610" y="987"/>
                  </a:lnTo>
                  <a:lnTo>
                    <a:pt x="610" y="989"/>
                  </a:lnTo>
                  <a:lnTo>
                    <a:pt x="610" y="989"/>
                  </a:lnTo>
                  <a:lnTo>
                    <a:pt x="612" y="989"/>
                  </a:lnTo>
                  <a:lnTo>
                    <a:pt x="612" y="989"/>
                  </a:lnTo>
                  <a:lnTo>
                    <a:pt x="613" y="990"/>
                  </a:lnTo>
                  <a:lnTo>
                    <a:pt x="613" y="990"/>
                  </a:lnTo>
                  <a:lnTo>
                    <a:pt x="615" y="992"/>
                  </a:lnTo>
                  <a:lnTo>
                    <a:pt x="615" y="990"/>
                  </a:lnTo>
                  <a:lnTo>
                    <a:pt x="613" y="987"/>
                  </a:lnTo>
                  <a:lnTo>
                    <a:pt x="613" y="984"/>
                  </a:lnTo>
                  <a:lnTo>
                    <a:pt x="613" y="983"/>
                  </a:lnTo>
                  <a:lnTo>
                    <a:pt x="615" y="981"/>
                  </a:lnTo>
                  <a:close/>
                  <a:moveTo>
                    <a:pt x="715" y="849"/>
                  </a:moveTo>
                  <a:lnTo>
                    <a:pt x="716" y="844"/>
                  </a:lnTo>
                  <a:lnTo>
                    <a:pt x="718" y="838"/>
                  </a:lnTo>
                  <a:lnTo>
                    <a:pt x="715" y="836"/>
                  </a:lnTo>
                  <a:lnTo>
                    <a:pt x="713" y="841"/>
                  </a:lnTo>
                  <a:lnTo>
                    <a:pt x="712" y="846"/>
                  </a:lnTo>
                  <a:lnTo>
                    <a:pt x="710" y="849"/>
                  </a:lnTo>
                  <a:lnTo>
                    <a:pt x="709" y="850"/>
                  </a:lnTo>
                  <a:lnTo>
                    <a:pt x="707" y="849"/>
                  </a:lnTo>
                  <a:lnTo>
                    <a:pt x="703" y="844"/>
                  </a:lnTo>
                  <a:lnTo>
                    <a:pt x="701" y="846"/>
                  </a:lnTo>
                  <a:lnTo>
                    <a:pt x="701" y="847"/>
                  </a:lnTo>
                  <a:lnTo>
                    <a:pt x="699" y="852"/>
                  </a:lnTo>
                  <a:lnTo>
                    <a:pt x="698" y="853"/>
                  </a:lnTo>
                  <a:lnTo>
                    <a:pt x="696" y="855"/>
                  </a:lnTo>
                  <a:lnTo>
                    <a:pt x="696" y="855"/>
                  </a:lnTo>
                  <a:lnTo>
                    <a:pt x="703" y="856"/>
                  </a:lnTo>
                  <a:lnTo>
                    <a:pt x="704" y="858"/>
                  </a:lnTo>
                  <a:lnTo>
                    <a:pt x="707" y="864"/>
                  </a:lnTo>
                  <a:lnTo>
                    <a:pt x="707" y="864"/>
                  </a:lnTo>
                  <a:lnTo>
                    <a:pt x="709" y="866"/>
                  </a:lnTo>
                  <a:lnTo>
                    <a:pt x="709" y="869"/>
                  </a:lnTo>
                  <a:lnTo>
                    <a:pt x="709" y="870"/>
                  </a:lnTo>
                  <a:lnTo>
                    <a:pt x="710" y="870"/>
                  </a:lnTo>
                  <a:lnTo>
                    <a:pt x="712" y="870"/>
                  </a:lnTo>
                  <a:lnTo>
                    <a:pt x="712" y="869"/>
                  </a:lnTo>
                  <a:lnTo>
                    <a:pt x="712" y="869"/>
                  </a:lnTo>
                  <a:lnTo>
                    <a:pt x="712" y="867"/>
                  </a:lnTo>
                  <a:lnTo>
                    <a:pt x="712" y="866"/>
                  </a:lnTo>
                  <a:lnTo>
                    <a:pt x="713" y="864"/>
                  </a:lnTo>
                  <a:lnTo>
                    <a:pt x="713" y="861"/>
                  </a:lnTo>
                  <a:lnTo>
                    <a:pt x="712" y="855"/>
                  </a:lnTo>
                  <a:lnTo>
                    <a:pt x="713" y="852"/>
                  </a:lnTo>
                  <a:lnTo>
                    <a:pt x="715" y="849"/>
                  </a:lnTo>
                  <a:close/>
                  <a:moveTo>
                    <a:pt x="718" y="798"/>
                  </a:moveTo>
                  <a:lnTo>
                    <a:pt x="724" y="795"/>
                  </a:lnTo>
                  <a:lnTo>
                    <a:pt x="726" y="793"/>
                  </a:lnTo>
                  <a:lnTo>
                    <a:pt x="727" y="792"/>
                  </a:lnTo>
                  <a:lnTo>
                    <a:pt x="729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9"/>
                  </a:lnTo>
                  <a:lnTo>
                    <a:pt x="727" y="787"/>
                  </a:lnTo>
                  <a:lnTo>
                    <a:pt x="727" y="787"/>
                  </a:lnTo>
                  <a:lnTo>
                    <a:pt x="726" y="786"/>
                  </a:lnTo>
                  <a:lnTo>
                    <a:pt x="724" y="786"/>
                  </a:lnTo>
                  <a:lnTo>
                    <a:pt x="719" y="789"/>
                  </a:lnTo>
                  <a:lnTo>
                    <a:pt x="718" y="792"/>
                  </a:lnTo>
                  <a:lnTo>
                    <a:pt x="716" y="793"/>
                  </a:lnTo>
                  <a:lnTo>
                    <a:pt x="716" y="795"/>
                  </a:lnTo>
                  <a:lnTo>
                    <a:pt x="715" y="795"/>
                  </a:lnTo>
                  <a:lnTo>
                    <a:pt x="715" y="795"/>
                  </a:lnTo>
                  <a:lnTo>
                    <a:pt x="715" y="796"/>
                  </a:lnTo>
                  <a:lnTo>
                    <a:pt x="713" y="796"/>
                  </a:lnTo>
                  <a:lnTo>
                    <a:pt x="713" y="798"/>
                  </a:lnTo>
                  <a:lnTo>
                    <a:pt x="715" y="798"/>
                  </a:lnTo>
                  <a:lnTo>
                    <a:pt x="716" y="798"/>
                  </a:lnTo>
                  <a:lnTo>
                    <a:pt x="718" y="798"/>
                  </a:lnTo>
                  <a:lnTo>
                    <a:pt x="718" y="798"/>
                  </a:lnTo>
                  <a:close/>
                  <a:moveTo>
                    <a:pt x="769" y="685"/>
                  </a:moveTo>
                  <a:lnTo>
                    <a:pt x="769" y="687"/>
                  </a:lnTo>
                  <a:lnTo>
                    <a:pt x="769" y="690"/>
                  </a:lnTo>
                  <a:lnTo>
                    <a:pt x="769" y="693"/>
                  </a:lnTo>
                  <a:lnTo>
                    <a:pt x="770" y="693"/>
                  </a:lnTo>
                  <a:lnTo>
                    <a:pt x="773" y="692"/>
                  </a:lnTo>
                  <a:lnTo>
                    <a:pt x="780" y="693"/>
                  </a:lnTo>
                  <a:lnTo>
                    <a:pt x="783" y="693"/>
                  </a:lnTo>
                  <a:lnTo>
                    <a:pt x="784" y="693"/>
                  </a:lnTo>
                  <a:lnTo>
                    <a:pt x="789" y="692"/>
                  </a:lnTo>
                  <a:lnTo>
                    <a:pt x="790" y="692"/>
                  </a:lnTo>
                  <a:lnTo>
                    <a:pt x="790" y="693"/>
                  </a:lnTo>
                  <a:lnTo>
                    <a:pt x="793" y="690"/>
                  </a:lnTo>
                  <a:lnTo>
                    <a:pt x="793" y="689"/>
                  </a:lnTo>
                  <a:lnTo>
                    <a:pt x="793" y="687"/>
                  </a:lnTo>
                  <a:lnTo>
                    <a:pt x="793" y="687"/>
                  </a:lnTo>
                  <a:lnTo>
                    <a:pt x="792" y="687"/>
                  </a:lnTo>
                  <a:lnTo>
                    <a:pt x="792" y="689"/>
                  </a:lnTo>
                  <a:lnTo>
                    <a:pt x="790" y="690"/>
                  </a:lnTo>
                  <a:lnTo>
                    <a:pt x="790" y="687"/>
                  </a:lnTo>
                  <a:lnTo>
                    <a:pt x="790" y="687"/>
                  </a:lnTo>
                  <a:lnTo>
                    <a:pt x="789" y="687"/>
                  </a:lnTo>
                  <a:lnTo>
                    <a:pt x="789" y="687"/>
                  </a:lnTo>
                  <a:lnTo>
                    <a:pt x="787" y="685"/>
                  </a:lnTo>
                  <a:lnTo>
                    <a:pt x="784" y="685"/>
                  </a:lnTo>
                  <a:lnTo>
                    <a:pt x="781" y="684"/>
                  </a:lnTo>
                  <a:lnTo>
                    <a:pt x="780" y="681"/>
                  </a:lnTo>
                  <a:lnTo>
                    <a:pt x="780" y="679"/>
                  </a:lnTo>
                  <a:lnTo>
                    <a:pt x="780" y="679"/>
                  </a:lnTo>
                  <a:lnTo>
                    <a:pt x="780" y="676"/>
                  </a:lnTo>
                  <a:lnTo>
                    <a:pt x="780" y="676"/>
                  </a:lnTo>
                  <a:lnTo>
                    <a:pt x="780" y="676"/>
                  </a:lnTo>
                  <a:lnTo>
                    <a:pt x="778" y="678"/>
                  </a:lnTo>
                  <a:lnTo>
                    <a:pt x="776" y="679"/>
                  </a:lnTo>
                  <a:lnTo>
                    <a:pt x="776" y="681"/>
                  </a:lnTo>
                  <a:lnTo>
                    <a:pt x="775" y="682"/>
                  </a:lnTo>
                  <a:lnTo>
                    <a:pt x="775" y="682"/>
                  </a:lnTo>
                  <a:lnTo>
                    <a:pt x="773" y="682"/>
                  </a:lnTo>
                  <a:lnTo>
                    <a:pt x="770" y="681"/>
                  </a:lnTo>
                  <a:lnTo>
                    <a:pt x="769" y="682"/>
                  </a:lnTo>
                  <a:lnTo>
                    <a:pt x="770" y="682"/>
                  </a:lnTo>
                  <a:lnTo>
                    <a:pt x="770" y="684"/>
                  </a:lnTo>
                  <a:lnTo>
                    <a:pt x="769" y="685"/>
                  </a:lnTo>
                  <a:close/>
                  <a:moveTo>
                    <a:pt x="809" y="676"/>
                  </a:moveTo>
                  <a:lnTo>
                    <a:pt x="809" y="678"/>
                  </a:lnTo>
                  <a:lnTo>
                    <a:pt x="810" y="678"/>
                  </a:lnTo>
                  <a:lnTo>
                    <a:pt x="818" y="679"/>
                  </a:lnTo>
                  <a:lnTo>
                    <a:pt x="820" y="678"/>
                  </a:lnTo>
                  <a:lnTo>
                    <a:pt x="821" y="678"/>
                  </a:lnTo>
                  <a:lnTo>
                    <a:pt x="823" y="678"/>
                  </a:lnTo>
                  <a:lnTo>
                    <a:pt x="824" y="673"/>
                  </a:lnTo>
                  <a:lnTo>
                    <a:pt x="826" y="673"/>
                  </a:lnTo>
                  <a:lnTo>
                    <a:pt x="830" y="678"/>
                  </a:lnTo>
                  <a:lnTo>
                    <a:pt x="833" y="679"/>
                  </a:lnTo>
                  <a:lnTo>
                    <a:pt x="837" y="679"/>
                  </a:lnTo>
                  <a:lnTo>
                    <a:pt x="840" y="678"/>
                  </a:lnTo>
                  <a:lnTo>
                    <a:pt x="841" y="676"/>
                  </a:lnTo>
                  <a:lnTo>
                    <a:pt x="841" y="675"/>
                  </a:lnTo>
                  <a:lnTo>
                    <a:pt x="841" y="675"/>
                  </a:lnTo>
                  <a:lnTo>
                    <a:pt x="840" y="673"/>
                  </a:lnTo>
                  <a:lnTo>
                    <a:pt x="838" y="672"/>
                  </a:lnTo>
                  <a:lnTo>
                    <a:pt x="835" y="670"/>
                  </a:lnTo>
                  <a:lnTo>
                    <a:pt x="813" y="672"/>
                  </a:lnTo>
                  <a:lnTo>
                    <a:pt x="812" y="672"/>
                  </a:lnTo>
                  <a:lnTo>
                    <a:pt x="810" y="673"/>
                  </a:lnTo>
                  <a:lnTo>
                    <a:pt x="809" y="675"/>
                  </a:lnTo>
                  <a:lnTo>
                    <a:pt x="809" y="675"/>
                  </a:lnTo>
                  <a:lnTo>
                    <a:pt x="807" y="675"/>
                  </a:lnTo>
                  <a:lnTo>
                    <a:pt x="807" y="675"/>
                  </a:lnTo>
                  <a:lnTo>
                    <a:pt x="809" y="676"/>
                  </a:lnTo>
                  <a:lnTo>
                    <a:pt x="809" y="676"/>
                  </a:lnTo>
                  <a:close/>
                  <a:moveTo>
                    <a:pt x="790" y="675"/>
                  </a:moveTo>
                  <a:lnTo>
                    <a:pt x="789" y="670"/>
                  </a:lnTo>
                  <a:lnTo>
                    <a:pt x="789" y="669"/>
                  </a:lnTo>
                  <a:lnTo>
                    <a:pt x="787" y="669"/>
                  </a:lnTo>
                  <a:lnTo>
                    <a:pt x="787" y="670"/>
                  </a:lnTo>
                  <a:lnTo>
                    <a:pt x="787" y="672"/>
                  </a:lnTo>
                  <a:lnTo>
                    <a:pt x="786" y="672"/>
                  </a:lnTo>
                  <a:lnTo>
                    <a:pt x="784" y="673"/>
                  </a:lnTo>
                  <a:lnTo>
                    <a:pt x="784" y="675"/>
                  </a:lnTo>
                  <a:lnTo>
                    <a:pt x="784" y="676"/>
                  </a:lnTo>
                  <a:lnTo>
                    <a:pt x="783" y="676"/>
                  </a:lnTo>
                  <a:lnTo>
                    <a:pt x="783" y="678"/>
                  </a:lnTo>
                  <a:lnTo>
                    <a:pt x="784" y="679"/>
                  </a:lnTo>
                  <a:lnTo>
                    <a:pt x="784" y="681"/>
                  </a:lnTo>
                  <a:lnTo>
                    <a:pt x="786" y="682"/>
                  </a:lnTo>
                  <a:lnTo>
                    <a:pt x="792" y="682"/>
                  </a:lnTo>
                  <a:lnTo>
                    <a:pt x="793" y="681"/>
                  </a:lnTo>
                  <a:lnTo>
                    <a:pt x="792" y="676"/>
                  </a:lnTo>
                  <a:lnTo>
                    <a:pt x="790" y="675"/>
                  </a:lnTo>
                  <a:close/>
                  <a:moveTo>
                    <a:pt x="613" y="710"/>
                  </a:moveTo>
                  <a:lnTo>
                    <a:pt x="613" y="707"/>
                  </a:lnTo>
                  <a:lnTo>
                    <a:pt x="615" y="704"/>
                  </a:lnTo>
                  <a:lnTo>
                    <a:pt x="622" y="701"/>
                  </a:lnTo>
                  <a:lnTo>
                    <a:pt x="624" y="699"/>
                  </a:lnTo>
                  <a:lnTo>
                    <a:pt x="624" y="699"/>
                  </a:lnTo>
                  <a:lnTo>
                    <a:pt x="624" y="698"/>
                  </a:lnTo>
                  <a:lnTo>
                    <a:pt x="624" y="698"/>
                  </a:lnTo>
                  <a:lnTo>
                    <a:pt x="626" y="696"/>
                  </a:lnTo>
                  <a:lnTo>
                    <a:pt x="626" y="695"/>
                  </a:lnTo>
                  <a:lnTo>
                    <a:pt x="626" y="693"/>
                  </a:lnTo>
                  <a:lnTo>
                    <a:pt x="626" y="692"/>
                  </a:lnTo>
                  <a:lnTo>
                    <a:pt x="624" y="690"/>
                  </a:lnTo>
                  <a:lnTo>
                    <a:pt x="621" y="690"/>
                  </a:lnTo>
                  <a:lnTo>
                    <a:pt x="621" y="689"/>
                  </a:lnTo>
                  <a:lnTo>
                    <a:pt x="619" y="687"/>
                  </a:lnTo>
                  <a:lnTo>
                    <a:pt x="619" y="687"/>
                  </a:lnTo>
                  <a:lnTo>
                    <a:pt x="621" y="685"/>
                  </a:lnTo>
                  <a:lnTo>
                    <a:pt x="621" y="687"/>
                  </a:lnTo>
                  <a:lnTo>
                    <a:pt x="621" y="682"/>
                  </a:lnTo>
                  <a:lnTo>
                    <a:pt x="622" y="682"/>
                  </a:lnTo>
                  <a:lnTo>
                    <a:pt x="626" y="687"/>
                  </a:lnTo>
                  <a:lnTo>
                    <a:pt x="627" y="689"/>
                  </a:lnTo>
                  <a:lnTo>
                    <a:pt x="630" y="687"/>
                  </a:lnTo>
                  <a:lnTo>
                    <a:pt x="632" y="687"/>
                  </a:lnTo>
                  <a:lnTo>
                    <a:pt x="632" y="685"/>
                  </a:lnTo>
                  <a:lnTo>
                    <a:pt x="632" y="682"/>
                  </a:lnTo>
                  <a:lnTo>
                    <a:pt x="632" y="679"/>
                  </a:lnTo>
                  <a:lnTo>
                    <a:pt x="632" y="675"/>
                  </a:lnTo>
                  <a:lnTo>
                    <a:pt x="630" y="670"/>
                  </a:lnTo>
                  <a:lnTo>
                    <a:pt x="630" y="672"/>
                  </a:lnTo>
                  <a:lnTo>
                    <a:pt x="629" y="673"/>
                  </a:lnTo>
                  <a:lnTo>
                    <a:pt x="629" y="675"/>
                  </a:lnTo>
                  <a:lnTo>
                    <a:pt x="627" y="673"/>
                  </a:lnTo>
                  <a:lnTo>
                    <a:pt x="626" y="673"/>
                  </a:lnTo>
                  <a:lnTo>
                    <a:pt x="626" y="672"/>
                  </a:lnTo>
                  <a:lnTo>
                    <a:pt x="627" y="670"/>
                  </a:lnTo>
                  <a:lnTo>
                    <a:pt x="629" y="669"/>
                  </a:lnTo>
                  <a:lnTo>
                    <a:pt x="630" y="669"/>
                  </a:lnTo>
                  <a:lnTo>
                    <a:pt x="632" y="669"/>
                  </a:lnTo>
                  <a:lnTo>
                    <a:pt x="633" y="665"/>
                  </a:lnTo>
                  <a:lnTo>
                    <a:pt x="630" y="665"/>
                  </a:lnTo>
                  <a:lnTo>
                    <a:pt x="630" y="664"/>
                  </a:lnTo>
                  <a:lnTo>
                    <a:pt x="630" y="664"/>
                  </a:lnTo>
                  <a:lnTo>
                    <a:pt x="632" y="664"/>
                  </a:lnTo>
                  <a:lnTo>
                    <a:pt x="632" y="662"/>
                  </a:lnTo>
                  <a:lnTo>
                    <a:pt x="633" y="661"/>
                  </a:lnTo>
                  <a:lnTo>
                    <a:pt x="635" y="661"/>
                  </a:lnTo>
                  <a:lnTo>
                    <a:pt x="635" y="659"/>
                  </a:lnTo>
                  <a:lnTo>
                    <a:pt x="629" y="655"/>
                  </a:lnTo>
                  <a:lnTo>
                    <a:pt x="627" y="655"/>
                  </a:lnTo>
                  <a:lnTo>
                    <a:pt x="627" y="656"/>
                  </a:lnTo>
                  <a:lnTo>
                    <a:pt x="627" y="658"/>
                  </a:lnTo>
                  <a:lnTo>
                    <a:pt x="627" y="658"/>
                  </a:lnTo>
                  <a:lnTo>
                    <a:pt x="629" y="659"/>
                  </a:lnTo>
                  <a:lnTo>
                    <a:pt x="627" y="662"/>
                  </a:lnTo>
                  <a:lnTo>
                    <a:pt x="626" y="662"/>
                  </a:lnTo>
                  <a:lnTo>
                    <a:pt x="624" y="664"/>
                  </a:lnTo>
                  <a:lnTo>
                    <a:pt x="622" y="667"/>
                  </a:lnTo>
                  <a:lnTo>
                    <a:pt x="621" y="669"/>
                  </a:lnTo>
                  <a:lnTo>
                    <a:pt x="618" y="678"/>
                  </a:lnTo>
                  <a:lnTo>
                    <a:pt x="618" y="679"/>
                  </a:lnTo>
                  <a:lnTo>
                    <a:pt x="618" y="682"/>
                  </a:lnTo>
                  <a:lnTo>
                    <a:pt x="618" y="682"/>
                  </a:lnTo>
                  <a:lnTo>
                    <a:pt x="616" y="684"/>
                  </a:lnTo>
                  <a:lnTo>
                    <a:pt x="615" y="684"/>
                  </a:lnTo>
                  <a:lnTo>
                    <a:pt x="615" y="684"/>
                  </a:lnTo>
                  <a:lnTo>
                    <a:pt x="615" y="685"/>
                  </a:lnTo>
                  <a:lnTo>
                    <a:pt x="615" y="690"/>
                  </a:lnTo>
                  <a:lnTo>
                    <a:pt x="613" y="693"/>
                  </a:lnTo>
                  <a:lnTo>
                    <a:pt x="612" y="696"/>
                  </a:lnTo>
                  <a:lnTo>
                    <a:pt x="612" y="698"/>
                  </a:lnTo>
                  <a:lnTo>
                    <a:pt x="610" y="699"/>
                  </a:lnTo>
                  <a:lnTo>
                    <a:pt x="610" y="701"/>
                  </a:lnTo>
                  <a:lnTo>
                    <a:pt x="612" y="704"/>
                  </a:lnTo>
                  <a:lnTo>
                    <a:pt x="612" y="704"/>
                  </a:lnTo>
                  <a:lnTo>
                    <a:pt x="612" y="706"/>
                  </a:lnTo>
                  <a:lnTo>
                    <a:pt x="610" y="707"/>
                  </a:lnTo>
                  <a:lnTo>
                    <a:pt x="607" y="712"/>
                  </a:lnTo>
                  <a:lnTo>
                    <a:pt x="607" y="713"/>
                  </a:lnTo>
                  <a:lnTo>
                    <a:pt x="610" y="713"/>
                  </a:lnTo>
                  <a:lnTo>
                    <a:pt x="613" y="710"/>
                  </a:lnTo>
                  <a:close/>
                  <a:moveTo>
                    <a:pt x="635" y="675"/>
                  </a:moveTo>
                  <a:lnTo>
                    <a:pt x="636" y="675"/>
                  </a:lnTo>
                  <a:lnTo>
                    <a:pt x="636" y="673"/>
                  </a:lnTo>
                  <a:lnTo>
                    <a:pt x="636" y="670"/>
                  </a:lnTo>
                  <a:lnTo>
                    <a:pt x="638" y="670"/>
                  </a:lnTo>
                  <a:lnTo>
                    <a:pt x="638" y="669"/>
                  </a:lnTo>
                  <a:lnTo>
                    <a:pt x="639" y="670"/>
                  </a:lnTo>
                  <a:lnTo>
                    <a:pt x="639" y="672"/>
                  </a:lnTo>
                  <a:lnTo>
                    <a:pt x="639" y="676"/>
                  </a:lnTo>
                  <a:lnTo>
                    <a:pt x="641" y="679"/>
                  </a:lnTo>
                  <a:lnTo>
                    <a:pt x="642" y="676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9" y="673"/>
                  </a:lnTo>
                  <a:lnTo>
                    <a:pt x="650" y="673"/>
                  </a:lnTo>
                  <a:lnTo>
                    <a:pt x="650" y="672"/>
                  </a:lnTo>
                  <a:lnTo>
                    <a:pt x="650" y="667"/>
                  </a:lnTo>
                  <a:lnTo>
                    <a:pt x="650" y="665"/>
                  </a:lnTo>
                  <a:lnTo>
                    <a:pt x="652" y="664"/>
                  </a:lnTo>
                  <a:lnTo>
                    <a:pt x="653" y="659"/>
                  </a:lnTo>
                  <a:lnTo>
                    <a:pt x="655" y="652"/>
                  </a:lnTo>
                  <a:lnTo>
                    <a:pt x="655" y="650"/>
                  </a:lnTo>
                  <a:lnTo>
                    <a:pt x="653" y="647"/>
                  </a:lnTo>
                  <a:lnTo>
                    <a:pt x="652" y="647"/>
                  </a:lnTo>
                  <a:lnTo>
                    <a:pt x="647" y="645"/>
                  </a:lnTo>
                  <a:lnTo>
                    <a:pt x="644" y="645"/>
                  </a:lnTo>
                  <a:lnTo>
                    <a:pt x="644" y="650"/>
                  </a:lnTo>
                  <a:lnTo>
                    <a:pt x="644" y="653"/>
                  </a:lnTo>
                  <a:lnTo>
                    <a:pt x="646" y="655"/>
                  </a:lnTo>
                  <a:lnTo>
                    <a:pt x="647" y="659"/>
                  </a:lnTo>
                  <a:lnTo>
                    <a:pt x="647" y="664"/>
                  </a:lnTo>
                  <a:lnTo>
                    <a:pt x="646" y="664"/>
                  </a:lnTo>
                  <a:lnTo>
                    <a:pt x="644" y="662"/>
                  </a:lnTo>
                  <a:lnTo>
                    <a:pt x="642" y="658"/>
                  </a:lnTo>
                  <a:lnTo>
                    <a:pt x="641" y="656"/>
                  </a:lnTo>
                  <a:lnTo>
                    <a:pt x="641" y="658"/>
                  </a:lnTo>
                  <a:lnTo>
                    <a:pt x="636" y="664"/>
                  </a:lnTo>
                  <a:lnTo>
                    <a:pt x="635" y="665"/>
                  </a:lnTo>
                  <a:lnTo>
                    <a:pt x="635" y="669"/>
                  </a:lnTo>
                  <a:lnTo>
                    <a:pt x="635" y="672"/>
                  </a:lnTo>
                  <a:lnTo>
                    <a:pt x="635" y="673"/>
                  </a:lnTo>
                  <a:lnTo>
                    <a:pt x="635" y="675"/>
                  </a:lnTo>
                  <a:close/>
                  <a:moveTo>
                    <a:pt x="758" y="622"/>
                  </a:moveTo>
                  <a:lnTo>
                    <a:pt x="756" y="627"/>
                  </a:lnTo>
                  <a:lnTo>
                    <a:pt x="758" y="630"/>
                  </a:lnTo>
                  <a:lnTo>
                    <a:pt x="760" y="630"/>
                  </a:lnTo>
                  <a:lnTo>
                    <a:pt x="763" y="632"/>
                  </a:lnTo>
                  <a:lnTo>
                    <a:pt x="764" y="627"/>
                  </a:lnTo>
                  <a:lnTo>
                    <a:pt x="767" y="621"/>
                  </a:lnTo>
                  <a:lnTo>
                    <a:pt x="767" y="616"/>
                  </a:lnTo>
                  <a:lnTo>
                    <a:pt x="763" y="616"/>
                  </a:lnTo>
                  <a:lnTo>
                    <a:pt x="758" y="622"/>
                  </a:lnTo>
                  <a:close/>
                  <a:moveTo>
                    <a:pt x="701" y="616"/>
                  </a:moveTo>
                  <a:lnTo>
                    <a:pt x="706" y="616"/>
                  </a:lnTo>
                  <a:lnTo>
                    <a:pt x="707" y="616"/>
                  </a:lnTo>
                  <a:lnTo>
                    <a:pt x="707" y="619"/>
                  </a:lnTo>
                  <a:lnTo>
                    <a:pt x="707" y="621"/>
                  </a:lnTo>
                  <a:lnTo>
                    <a:pt x="709" y="624"/>
                  </a:lnTo>
                  <a:lnTo>
                    <a:pt x="712" y="627"/>
                  </a:lnTo>
                  <a:lnTo>
                    <a:pt x="715" y="625"/>
                  </a:lnTo>
                  <a:lnTo>
                    <a:pt x="716" y="619"/>
                  </a:lnTo>
                  <a:lnTo>
                    <a:pt x="715" y="613"/>
                  </a:lnTo>
                  <a:lnTo>
                    <a:pt x="712" y="613"/>
                  </a:lnTo>
                  <a:lnTo>
                    <a:pt x="710" y="612"/>
                  </a:lnTo>
                  <a:lnTo>
                    <a:pt x="707" y="608"/>
                  </a:lnTo>
                  <a:lnTo>
                    <a:pt x="706" y="608"/>
                  </a:lnTo>
                  <a:lnTo>
                    <a:pt x="703" y="610"/>
                  </a:lnTo>
                  <a:lnTo>
                    <a:pt x="703" y="613"/>
                  </a:lnTo>
                  <a:lnTo>
                    <a:pt x="699" y="613"/>
                  </a:lnTo>
                  <a:lnTo>
                    <a:pt x="701" y="616"/>
                  </a:lnTo>
                  <a:close/>
                  <a:moveTo>
                    <a:pt x="656" y="662"/>
                  </a:moveTo>
                  <a:lnTo>
                    <a:pt x="661" y="669"/>
                  </a:lnTo>
                  <a:lnTo>
                    <a:pt x="661" y="667"/>
                  </a:lnTo>
                  <a:lnTo>
                    <a:pt x="663" y="665"/>
                  </a:lnTo>
                  <a:lnTo>
                    <a:pt x="663" y="662"/>
                  </a:lnTo>
                  <a:lnTo>
                    <a:pt x="664" y="662"/>
                  </a:lnTo>
                  <a:lnTo>
                    <a:pt x="664" y="661"/>
                  </a:lnTo>
                  <a:lnTo>
                    <a:pt x="664" y="659"/>
                  </a:lnTo>
                  <a:lnTo>
                    <a:pt x="664" y="659"/>
                  </a:lnTo>
                  <a:lnTo>
                    <a:pt x="664" y="659"/>
                  </a:lnTo>
                  <a:lnTo>
                    <a:pt x="663" y="658"/>
                  </a:lnTo>
                  <a:lnTo>
                    <a:pt x="663" y="656"/>
                  </a:lnTo>
                  <a:lnTo>
                    <a:pt x="663" y="656"/>
                  </a:lnTo>
                  <a:lnTo>
                    <a:pt x="664" y="652"/>
                  </a:lnTo>
                  <a:lnTo>
                    <a:pt x="667" y="652"/>
                  </a:lnTo>
                  <a:lnTo>
                    <a:pt x="669" y="655"/>
                  </a:lnTo>
                  <a:lnTo>
                    <a:pt x="669" y="659"/>
                  </a:lnTo>
                  <a:lnTo>
                    <a:pt x="669" y="659"/>
                  </a:lnTo>
                  <a:lnTo>
                    <a:pt x="670" y="661"/>
                  </a:lnTo>
                  <a:lnTo>
                    <a:pt x="670" y="661"/>
                  </a:lnTo>
                  <a:lnTo>
                    <a:pt x="670" y="662"/>
                  </a:lnTo>
                  <a:lnTo>
                    <a:pt x="672" y="662"/>
                  </a:lnTo>
                  <a:lnTo>
                    <a:pt x="673" y="662"/>
                  </a:lnTo>
                  <a:lnTo>
                    <a:pt x="675" y="662"/>
                  </a:lnTo>
                  <a:lnTo>
                    <a:pt x="676" y="661"/>
                  </a:lnTo>
                  <a:lnTo>
                    <a:pt x="675" y="659"/>
                  </a:lnTo>
                  <a:lnTo>
                    <a:pt x="675" y="659"/>
                  </a:lnTo>
                  <a:lnTo>
                    <a:pt x="675" y="656"/>
                  </a:lnTo>
                  <a:lnTo>
                    <a:pt x="675" y="655"/>
                  </a:lnTo>
                  <a:lnTo>
                    <a:pt x="675" y="653"/>
                  </a:lnTo>
                  <a:lnTo>
                    <a:pt x="676" y="652"/>
                  </a:lnTo>
                  <a:lnTo>
                    <a:pt x="678" y="652"/>
                  </a:lnTo>
                  <a:lnTo>
                    <a:pt x="678" y="652"/>
                  </a:lnTo>
                  <a:lnTo>
                    <a:pt x="678" y="655"/>
                  </a:lnTo>
                  <a:lnTo>
                    <a:pt x="679" y="655"/>
                  </a:lnTo>
                  <a:lnTo>
                    <a:pt x="679" y="656"/>
                  </a:lnTo>
                  <a:lnTo>
                    <a:pt x="684" y="655"/>
                  </a:lnTo>
                  <a:lnTo>
                    <a:pt x="686" y="653"/>
                  </a:lnTo>
                  <a:lnTo>
                    <a:pt x="686" y="652"/>
                  </a:lnTo>
                  <a:lnTo>
                    <a:pt x="686" y="650"/>
                  </a:lnTo>
                  <a:lnTo>
                    <a:pt x="684" y="647"/>
                  </a:lnTo>
                  <a:lnTo>
                    <a:pt x="681" y="647"/>
                  </a:lnTo>
                  <a:lnTo>
                    <a:pt x="679" y="644"/>
                  </a:lnTo>
                  <a:lnTo>
                    <a:pt x="686" y="644"/>
                  </a:lnTo>
                  <a:lnTo>
                    <a:pt x="686" y="644"/>
                  </a:lnTo>
                  <a:lnTo>
                    <a:pt x="687" y="642"/>
                  </a:lnTo>
                  <a:lnTo>
                    <a:pt x="687" y="641"/>
                  </a:lnTo>
                  <a:lnTo>
                    <a:pt x="687" y="639"/>
                  </a:lnTo>
                  <a:lnTo>
                    <a:pt x="689" y="641"/>
                  </a:lnTo>
                  <a:lnTo>
                    <a:pt x="690" y="642"/>
                  </a:lnTo>
                  <a:lnTo>
                    <a:pt x="690" y="642"/>
                  </a:lnTo>
                  <a:lnTo>
                    <a:pt x="692" y="642"/>
                  </a:lnTo>
                  <a:lnTo>
                    <a:pt x="692" y="641"/>
                  </a:lnTo>
                  <a:lnTo>
                    <a:pt x="693" y="641"/>
                  </a:lnTo>
                  <a:lnTo>
                    <a:pt x="699" y="639"/>
                  </a:lnTo>
                  <a:lnTo>
                    <a:pt x="699" y="639"/>
                  </a:lnTo>
                  <a:lnTo>
                    <a:pt x="701" y="638"/>
                  </a:lnTo>
                  <a:lnTo>
                    <a:pt x="701" y="636"/>
                  </a:lnTo>
                  <a:lnTo>
                    <a:pt x="706" y="635"/>
                  </a:lnTo>
                  <a:lnTo>
                    <a:pt x="709" y="625"/>
                  </a:lnTo>
                  <a:lnTo>
                    <a:pt x="706" y="621"/>
                  </a:lnTo>
                  <a:lnTo>
                    <a:pt x="704" y="619"/>
                  </a:lnTo>
                  <a:lnTo>
                    <a:pt x="699" y="624"/>
                  </a:lnTo>
                  <a:lnTo>
                    <a:pt x="696" y="624"/>
                  </a:lnTo>
                  <a:lnTo>
                    <a:pt x="695" y="622"/>
                  </a:lnTo>
                  <a:lnTo>
                    <a:pt x="698" y="618"/>
                  </a:lnTo>
                  <a:lnTo>
                    <a:pt x="696" y="608"/>
                  </a:lnTo>
                  <a:lnTo>
                    <a:pt x="690" y="608"/>
                  </a:lnTo>
                  <a:lnTo>
                    <a:pt x="687" y="612"/>
                  </a:lnTo>
                  <a:lnTo>
                    <a:pt x="686" y="616"/>
                  </a:lnTo>
                  <a:lnTo>
                    <a:pt x="684" y="618"/>
                  </a:lnTo>
                  <a:lnTo>
                    <a:pt x="684" y="619"/>
                  </a:lnTo>
                  <a:lnTo>
                    <a:pt x="683" y="621"/>
                  </a:lnTo>
                  <a:lnTo>
                    <a:pt x="683" y="622"/>
                  </a:lnTo>
                  <a:lnTo>
                    <a:pt x="681" y="622"/>
                  </a:lnTo>
                  <a:lnTo>
                    <a:pt x="679" y="621"/>
                  </a:lnTo>
                  <a:lnTo>
                    <a:pt x="678" y="619"/>
                  </a:lnTo>
                  <a:lnTo>
                    <a:pt x="676" y="621"/>
                  </a:lnTo>
                  <a:lnTo>
                    <a:pt x="676" y="621"/>
                  </a:lnTo>
                  <a:lnTo>
                    <a:pt x="675" y="621"/>
                  </a:lnTo>
                  <a:lnTo>
                    <a:pt x="673" y="618"/>
                  </a:lnTo>
                  <a:lnTo>
                    <a:pt x="673" y="618"/>
                  </a:lnTo>
                  <a:lnTo>
                    <a:pt x="672" y="618"/>
                  </a:lnTo>
                  <a:lnTo>
                    <a:pt x="670" y="618"/>
                  </a:lnTo>
                  <a:lnTo>
                    <a:pt x="659" y="627"/>
                  </a:lnTo>
                  <a:lnTo>
                    <a:pt x="664" y="629"/>
                  </a:lnTo>
                  <a:lnTo>
                    <a:pt x="666" y="629"/>
                  </a:lnTo>
                  <a:lnTo>
                    <a:pt x="667" y="630"/>
                  </a:lnTo>
                  <a:lnTo>
                    <a:pt x="669" y="630"/>
                  </a:lnTo>
                  <a:lnTo>
                    <a:pt x="666" y="633"/>
                  </a:lnTo>
                  <a:lnTo>
                    <a:pt x="661" y="635"/>
                  </a:lnTo>
                  <a:lnTo>
                    <a:pt x="658" y="639"/>
                  </a:lnTo>
                  <a:lnTo>
                    <a:pt x="661" y="641"/>
                  </a:lnTo>
                  <a:lnTo>
                    <a:pt x="663" y="641"/>
                  </a:lnTo>
                  <a:lnTo>
                    <a:pt x="658" y="642"/>
                  </a:lnTo>
                  <a:lnTo>
                    <a:pt x="659" y="644"/>
                  </a:lnTo>
                  <a:lnTo>
                    <a:pt x="659" y="644"/>
                  </a:lnTo>
                  <a:lnTo>
                    <a:pt x="661" y="644"/>
                  </a:lnTo>
                  <a:lnTo>
                    <a:pt x="661" y="645"/>
                  </a:lnTo>
                  <a:lnTo>
                    <a:pt x="659" y="647"/>
                  </a:lnTo>
                  <a:lnTo>
                    <a:pt x="659" y="649"/>
                  </a:lnTo>
                  <a:lnTo>
                    <a:pt x="658" y="649"/>
                  </a:lnTo>
                  <a:lnTo>
                    <a:pt x="658" y="650"/>
                  </a:lnTo>
                  <a:lnTo>
                    <a:pt x="661" y="649"/>
                  </a:lnTo>
                  <a:lnTo>
                    <a:pt x="664" y="644"/>
                  </a:lnTo>
                  <a:lnTo>
                    <a:pt x="666" y="644"/>
                  </a:lnTo>
                  <a:lnTo>
                    <a:pt x="658" y="655"/>
                  </a:lnTo>
                  <a:lnTo>
                    <a:pt x="656" y="662"/>
                  </a:lnTo>
                  <a:close/>
                  <a:moveTo>
                    <a:pt x="718" y="629"/>
                  </a:moveTo>
                  <a:lnTo>
                    <a:pt x="719" y="629"/>
                  </a:lnTo>
                  <a:lnTo>
                    <a:pt x="724" y="627"/>
                  </a:lnTo>
                  <a:lnTo>
                    <a:pt x="721" y="630"/>
                  </a:lnTo>
                  <a:lnTo>
                    <a:pt x="715" y="632"/>
                  </a:lnTo>
                  <a:lnTo>
                    <a:pt x="712" y="636"/>
                  </a:lnTo>
                  <a:lnTo>
                    <a:pt x="712" y="638"/>
                  </a:lnTo>
                  <a:lnTo>
                    <a:pt x="712" y="638"/>
                  </a:lnTo>
                  <a:lnTo>
                    <a:pt x="713" y="639"/>
                  </a:lnTo>
                  <a:lnTo>
                    <a:pt x="713" y="639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3" y="641"/>
                  </a:lnTo>
                  <a:lnTo>
                    <a:pt x="712" y="642"/>
                  </a:lnTo>
                  <a:lnTo>
                    <a:pt x="712" y="645"/>
                  </a:lnTo>
                  <a:lnTo>
                    <a:pt x="713" y="645"/>
                  </a:lnTo>
                  <a:lnTo>
                    <a:pt x="715" y="644"/>
                  </a:lnTo>
                  <a:lnTo>
                    <a:pt x="718" y="642"/>
                  </a:lnTo>
                  <a:lnTo>
                    <a:pt x="719" y="642"/>
                  </a:lnTo>
                  <a:lnTo>
                    <a:pt x="721" y="641"/>
                  </a:lnTo>
                  <a:lnTo>
                    <a:pt x="721" y="641"/>
                  </a:lnTo>
                  <a:lnTo>
                    <a:pt x="721" y="639"/>
                  </a:lnTo>
                  <a:lnTo>
                    <a:pt x="723" y="639"/>
                  </a:lnTo>
                  <a:lnTo>
                    <a:pt x="724" y="639"/>
                  </a:lnTo>
                  <a:lnTo>
                    <a:pt x="726" y="639"/>
                  </a:lnTo>
                  <a:lnTo>
                    <a:pt x="726" y="639"/>
                  </a:lnTo>
                  <a:lnTo>
                    <a:pt x="727" y="638"/>
                  </a:lnTo>
                  <a:lnTo>
                    <a:pt x="729" y="638"/>
                  </a:lnTo>
                  <a:lnTo>
                    <a:pt x="733" y="636"/>
                  </a:lnTo>
                  <a:lnTo>
                    <a:pt x="736" y="636"/>
                  </a:lnTo>
                  <a:lnTo>
                    <a:pt x="738" y="633"/>
                  </a:lnTo>
                  <a:lnTo>
                    <a:pt x="740" y="632"/>
                  </a:lnTo>
                  <a:lnTo>
                    <a:pt x="743" y="632"/>
                  </a:lnTo>
                  <a:lnTo>
                    <a:pt x="746" y="629"/>
                  </a:lnTo>
                  <a:lnTo>
                    <a:pt x="747" y="625"/>
                  </a:lnTo>
                  <a:lnTo>
                    <a:pt x="744" y="624"/>
                  </a:lnTo>
                  <a:lnTo>
                    <a:pt x="743" y="624"/>
                  </a:lnTo>
                  <a:lnTo>
                    <a:pt x="744" y="622"/>
                  </a:lnTo>
                  <a:lnTo>
                    <a:pt x="744" y="622"/>
                  </a:lnTo>
                  <a:lnTo>
                    <a:pt x="746" y="621"/>
                  </a:lnTo>
                  <a:lnTo>
                    <a:pt x="747" y="621"/>
                  </a:lnTo>
                  <a:lnTo>
                    <a:pt x="749" y="619"/>
                  </a:lnTo>
                  <a:lnTo>
                    <a:pt x="749" y="616"/>
                  </a:lnTo>
                  <a:lnTo>
                    <a:pt x="749" y="615"/>
                  </a:lnTo>
                  <a:lnTo>
                    <a:pt x="750" y="610"/>
                  </a:lnTo>
                  <a:lnTo>
                    <a:pt x="750" y="608"/>
                  </a:lnTo>
                  <a:lnTo>
                    <a:pt x="752" y="608"/>
                  </a:lnTo>
                  <a:lnTo>
                    <a:pt x="752" y="610"/>
                  </a:lnTo>
                  <a:lnTo>
                    <a:pt x="752" y="612"/>
                  </a:lnTo>
                  <a:lnTo>
                    <a:pt x="753" y="613"/>
                  </a:lnTo>
                  <a:lnTo>
                    <a:pt x="755" y="613"/>
                  </a:lnTo>
                  <a:lnTo>
                    <a:pt x="752" y="616"/>
                  </a:lnTo>
                  <a:lnTo>
                    <a:pt x="750" y="621"/>
                  </a:lnTo>
                  <a:lnTo>
                    <a:pt x="750" y="624"/>
                  </a:lnTo>
                  <a:lnTo>
                    <a:pt x="752" y="625"/>
                  </a:lnTo>
                  <a:lnTo>
                    <a:pt x="753" y="624"/>
                  </a:lnTo>
                  <a:lnTo>
                    <a:pt x="767" y="610"/>
                  </a:lnTo>
                  <a:lnTo>
                    <a:pt x="770" y="608"/>
                  </a:lnTo>
                  <a:lnTo>
                    <a:pt x="769" y="607"/>
                  </a:lnTo>
                  <a:lnTo>
                    <a:pt x="767" y="605"/>
                  </a:lnTo>
                  <a:lnTo>
                    <a:pt x="772" y="602"/>
                  </a:lnTo>
                  <a:lnTo>
                    <a:pt x="772" y="602"/>
                  </a:lnTo>
                  <a:lnTo>
                    <a:pt x="772" y="601"/>
                  </a:lnTo>
                  <a:lnTo>
                    <a:pt x="772" y="601"/>
                  </a:lnTo>
                  <a:lnTo>
                    <a:pt x="772" y="601"/>
                  </a:lnTo>
                  <a:lnTo>
                    <a:pt x="773" y="601"/>
                  </a:lnTo>
                  <a:lnTo>
                    <a:pt x="773" y="602"/>
                  </a:lnTo>
                  <a:lnTo>
                    <a:pt x="772" y="604"/>
                  </a:lnTo>
                  <a:lnTo>
                    <a:pt x="772" y="604"/>
                  </a:lnTo>
                  <a:lnTo>
                    <a:pt x="773" y="604"/>
                  </a:lnTo>
                  <a:lnTo>
                    <a:pt x="783" y="588"/>
                  </a:lnTo>
                  <a:lnTo>
                    <a:pt x="784" y="585"/>
                  </a:lnTo>
                  <a:lnTo>
                    <a:pt x="780" y="585"/>
                  </a:lnTo>
                  <a:lnTo>
                    <a:pt x="776" y="585"/>
                  </a:lnTo>
                  <a:lnTo>
                    <a:pt x="772" y="590"/>
                  </a:lnTo>
                  <a:lnTo>
                    <a:pt x="766" y="588"/>
                  </a:lnTo>
                  <a:lnTo>
                    <a:pt x="764" y="588"/>
                  </a:lnTo>
                  <a:lnTo>
                    <a:pt x="763" y="592"/>
                  </a:lnTo>
                  <a:lnTo>
                    <a:pt x="763" y="599"/>
                  </a:lnTo>
                  <a:lnTo>
                    <a:pt x="761" y="601"/>
                  </a:lnTo>
                  <a:lnTo>
                    <a:pt x="760" y="601"/>
                  </a:lnTo>
                  <a:lnTo>
                    <a:pt x="755" y="605"/>
                  </a:lnTo>
                  <a:lnTo>
                    <a:pt x="753" y="605"/>
                  </a:lnTo>
                  <a:lnTo>
                    <a:pt x="753" y="604"/>
                  </a:lnTo>
                  <a:lnTo>
                    <a:pt x="758" y="598"/>
                  </a:lnTo>
                  <a:lnTo>
                    <a:pt x="758" y="596"/>
                  </a:lnTo>
                  <a:lnTo>
                    <a:pt x="758" y="595"/>
                  </a:lnTo>
                  <a:lnTo>
                    <a:pt x="758" y="592"/>
                  </a:lnTo>
                  <a:lnTo>
                    <a:pt x="756" y="590"/>
                  </a:lnTo>
                  <a:lnTo>
                    <a:pt x="753" y="588"/>
                  </a:lnTo>
                  <a:lnTo>
                    <a:pt x="752" y="588"/>
                  </a:lnTo>
                  <a:lnTo>
                    <a:pt x="750" y="590"/>
                  </a:lnTo>
                  <a:lnTo>
                    <a:pt x="750" y="592"/>
                  </a:lnTo>
                  <a:lnTo>
                    <a:pt x="749" y="593"/>
                  </a:lnTo>
                  <a:lnTo>
                    <a:pt x="750" y="598"/>
                  </a:lnTo>
                  <a:lnTo>
                    <a:pt x="750" y="601"/>
                  </a:lnTo>
                  <a:lnTo>
                    <a:pt x="749" y="599"/>
                  </a:lnTo>
                  <a:lnTo>
                    <a:pt x="747" y="596"/>
                  </a:lnTo>
                  <a:lnTo>
                    <a:pt x="747" y="595"/>
                  </a:lnTo>
                  <a:lnTo>
                    <a:pt x="747" y="593"/>
                  </a:lnTo>
                  <a:lnTo>
                    <a:pt x="746" y="590"/>
                  </a:lnTo>
                  <a:lnTo>
                    <a:pt x="738" y="595"/>
                  </a:lnTo>
                  <a:lnTo>
                    <a:pt x="738" y="598"/>
                  </a:lnTo>
                  <a:lnTo>
                    <a:pt x="740" y="599"/>
                  </a:lnTo>
                  <a:lnTo>
                    <a:pt x="741" y="602"/>
                  </a:lnTo>
                  <a:lnTo>
                    <a:pt x="740" y="602"/>
                  </a:lnTo>
                  <a:lnTo>
                    <a:pt x="735" y="599"/>
                  </a:lnTo>
                  <a:lnTo>
                    <a:pt x="733" y="599"/>
                  </a:lnTo>
                  <a:lnTo>
                    <a:pt x="726" y="601"/>
                  </a:lnTo>
                  <a:lnTo>
                    <a:pt x="726" y="602"/>
                  </a:lnTo>
                  <a:lnTo>
                    <a:pt x="730" y="604"/>
                  </a:lnTo>
                  <a:lnTo>
                    <a:pt x="729" y="607"/>
                  </a:lnTo>
                  <a:lnTo>
                    <a:pt x="730" y="608"/>
                  </a:lnTo>
                  <a:lnTo>
                    <a:pt x="730" y="608"/>
                  </a:lnTo>
                  <a:lnTo>
                    <a:pt x="732" y="607"/>
                  </a:lnTo>
                  <a:lnTo>
                    <a:pt x="733" y="610"/>
                  </a:lnTo>
                  <a:lnTo>
                    <a:pt x="733" y="613"/>
                  </a:lnTo>
                  <a:lnTo>
                    <a:pt x="733" y="615"/>
                  </a:lnTo>
                  <a:lnTo>
                    <a:pt x="732" y="615"/>
                  </a:lnTo>
                  <a:lnTo>
                    <a:pt x="730" y="613"/>
                  </a:lnTo>
                  <a:lnTo>
                    <a:pt x="730" y="612"/>
                  </a:lnTo>
                  <a:lnTo>
                    <a:pt x="730" y="613"/>
                  </a:lnTo>
                  <a:lnTo>
                    <a:pt x="729" y="615"/>
                  </a:lnTo>
                  <a:lnTo>
                    <a:pt x="729" y="616"/>
                  </a:lnTo>
                  <a:lnTo>
                    <a:pt x="727" y="616"/>
                  </a:lnTo>
                  <a:lnTo>
                    <a:pt x="729" y="618"/>
                  </a:lnTo>
                  <a:lnTo>
                    <a:pt x="729" y="619"/>
                  </a:lnTo>
                  <a:lnTo>
                    <a:pt x="726" y="619"/>
                  </a:lnTo>
                  <a:lnTo>
                    <a:pt x="724" y="612"/>
                  </a:lnTo>
                  <a:lnTo>
                    <a:pt x="721" y="612"/>
                  </a:lnTo>
                  <a:lnTo>
                    <a:pt x="719" y="613"/>
                  </a:lnTo>
                  <a:lnTo>
                    <a:pt x="719" y="618"/>
                  </a:lnTo>
                  <a:lnTo>
                    <a:pt x="719" y="621"/>
                  </a:lnTo>
                  <a:lnTo>
                    <a:pt x="721" y="624"/>
                  </a:lnTo>
                  <a:lnTo>
                    <a:pt x="718" y="624"/>
                  </a:lnTo>
                  <a:lnTo>
                    <a:pt x="716" y="624"/>
                  </a:lnTo>
                  <a:lnTo>
                    <a:pt x="716" y="625"/>
                  </a:lnTo>
                  <a:lnTo>
                    <a:pt x="718" y="629"/>
                  </a:lnTo>
                  <a:close/>
                  <a:moveTo>
                    <a:pt x="878" y="584"/>
                  </a:moveTo>
                  <a:lnTo>
                    <a:pt x="881" y="582"/>
                  </a:lnTo>
                  <a:lnTo>
                    <a:pt x="880" y="581"/>
                  </a:lnTo>
                  <a:lnTo>
                    <a:pt x="878" y="579"/>
                  </a:lnTo>
                  <a:lnTo>
                    <a:pt x="877" y="578"/>
                  </a:lnTo>
                  <a:lnTo>
                    <a:pt x="877" y="576"/>
                  </a:lnTo>
                  <a:lnTo>
                    <a:pt x="877" y="573"/>
                  </a:lnTo>
                  <a:lnTo>
                    <a:pt x="877" y="572"/>
                  </a:lnTo>
                  <a:lnTo>
                    <a:pt x="875" y="572"/>
                  </a:lnTo>
                  <a:lnTo>
                    <a:pt x="875" y="570"/>
                  </a:lnTo>
                  <a:lnTo>
                    <a:pt x="872" y="568"/>
                  </a:lnTo>
                  <a:lnTo>
                    <a:pt x="872" y="568"/>
                  </a:lnTo>
                  <a:lnTo>
                    <a:pt x="863" y="572"/>
                  </a:lnTo>
                  <a:lnTo>
                    <a:pt x="860" y="573"/>
                  </a:lnTo>
                  <a:lnTo>
                    <a:pt x="858" y="576"/>
                  </a:lnTo>
                  <a:lnTo>
                    <a:pt x="857" y="582"/>
                  </a:lnTo>
                  <a:lnTo>
                    <a:pt x="855" y="588"/>
                  </a:lnTo>
                  <a:lnTo>
                    <a:pt x="857" y="590"/>
                  </a:lnTo>
                  <a:lnTo>
                    <a:pt x="858" y="590"/>
                  </a:lnTo>
                  <a:lnTo>
                    <a:pt x="858" y="590"/>
                  </a:lnTo>
                  <a:lnTo>
                    <a:pt x="855" y="593"/>
                  </a:lnTo>
                  <a:lnTo>
                    <a:pt x="853" y="596"/>
                  </a:lnTo>
                  <a:lnTo>
                    <a:pt x="855" y="599"/>
                  </a:lnTo>
                  <a:lnTo>
                    <a:pt x="855" y="601"/>
                  </a:lnTo>
                  <a:lnTo>
                    <a:pt x="857" y="599"/>
                  </a:lnTo>
                  <a:lnTo>
                    <a:pt x="860" y="596"/>
                  </a:lnTo>
                  <a:lnTo>
                    <a:pt x="863" y="595"/>
                  </a:lnTo>
                  <a:lnTo>
                    <a:pt x="875" y="593"/>
                  </a:lnTo>
                  <a:lnTo>
                    <a:pt x="877" y="592"/>
                  </a:lnTo>
                  <a:lnTo>
                    <a:pt x="877" y="590"/>
                  </a:lnTo>
                  <a:lnTo>
                    <a:pt x="875" y="587"/>
                  </a:lnTo>
                  <a:lnTo>
                    <a:pt x="874" y="587"/>
                  </a:lnTo>
                  <a:lnTo>
                    <a:pt x="875" y="584"/>
                  </a:lnTo>
                  <a:lnTo>
                    <a:pt x="878" y="584"/>
                  </a:lnTo>
                  <a:close/>
                  <a:moveTo>
                    <a:pt x="755" y="561"/>
                  </a:moveTo>
                  <a:lnTo>
                    <a:pt x="750" y="561"/>
                  </a:lnTo>
                  <a:lnTo>
                    <a:pt x="747" y="558"/>
                  </a:lnTo>
                  <a:lnTo>
                    <a:pt x="743" y="561"/>
                  </a:lnTo>
                  <a:lnTo>
                    <a:pt x="743" y="564"/>
                  </a:lnTo>
                  <a:lnTo>
                    <a:pt x="744" y="567"/>
                  </a:lnTo>
                  <a:lnTo>
                    <a:pt x="746" y="570"/>
                  </a:lnTo>
                  <a:lnTo>
                    <a:pt x="749" y="573"/>
                  </a:lnTo>
                  <a:lnTo>
                    <a:pt x="750" y="578"/>
                  </a:lnTo>
                  <a:lnTo>
                    <a:pt x="753" y="576"/>
                  </a:lnTo>
                  <a:lnTo>
                    <a:pt x="763" y="576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6" y="575"/>
                  </a:lnTo>
                  <a:lnTo>
                    <a:pt x="767" y="575"/>
                  </a:lnTo>
                  <a:lnTo>
                    <a:pt x="767" y="575"/>
                  </a:lnTo>
                  <a:lnTo>
                    <a:pt x="767" y="575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7" y="573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2"/>
                  </a:lnTo>
                  <a:lnTo>
                    <a:pt x="769" y="570"/>
                  </a:lnTo>
                  <a:lnTo>
                    <a:pt x="769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70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0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8"/>
                  </a:lnTo>
                  <a:lnTo>
                    <a:pt x="772" y="564"/>
                  </a:lnTo>
                  <a:lnTo>
                    <a:pt x="766" y="564"/>
                  </a:lnTo>
                  <a:lnTo>
                    <a:pt x="761" y="562"/>
                  </a:lnTo>
                  <a:lnTo>
                    <a:pt x="755" y="561"/>
                  </a:lnTo>
                  <a:close/>
                  <a:moveTo>
                    <a:pt x="924" y="511"/>
                  </a:moveTo>
                  <a:lnTo>
                    <a:pt x="923" y="505"/>
                  </a:lnTo>
                  <a:lnTo>
                    <a:pt x="921" y="504"/>
                  </a:lnTo>
                  <a:lnTo>
                    <a:pt x="921" y="502"/>
                  </a:lnTo>
                  <a:lnTo>
                    <a:pt x="920" y="502"/>
                  </a:lnTo>
                  <a:lnTo>
                    <a:pt x="918" y="505"/>
                  </a:lnTo>
                  <a:lnTo>
                    <a:pt x="914" y="515"/>
                  </a:lnTo>
                  <a:lnTo>
                    <a:pt x="910" y="518"/>
                  </a:lnTo>
                  <a:lnTo>
                    <a:pt x="909" y="519"/>
                  </a:lnTo>
                  <a:lnTo>
                    <a:pt x="907" y="521"/>
                  </a:lnTo>
                  <a:lnTo>
                    <a:pt x="907" y="524"/>
                  </a:lnTo>
                  <a:lnTo>
                    <a:pt x="907" y="525"/>
                  </a:lnTo>
                  <a:lnTo>
                    <a:pt x="907" y="527"/>
                  </a:lnTo>
                  <a:lnTo>
                    <a:pt x="906" y="527"/>
                  </a:lnTo>
                  <a:lnTo>
                    <a:pt x="909" y="530"/>
                  </a:lnTo>
                  <a:lnTo>
                    <a:pt x="927" y="522"/>
                  </a:lnTo>
                  <a:lnTo>
                    <a:pt x="930" y="521"/>
                  </a:lnTo>
                  <a:lnTo>
                    <a:pt x="930" y="518"/>
                  </a:lnTo>
                  <a:lnTo>
                    <a:pt x="926" y="511"/>
                  </a:lnTo>
                  <a:lnTo>
                    <a:pt x="924" y="511"/>
                  </a:lnTo>
                  <a:close/>
                  <a:moveTo>
                    <a:pt x="934" y="504"/>
                  </a:moveTo>
                  <a:lnTo>
                    <a:pt x="934" y="511"/>
                  </a:lnTo>
                  <a:lnTo>
                    <a:pt x="935" y="513"/>
                  </a:lnTo>
                  <a:lnTo>
                    <a:pt x="937" y="516"/>
                  </a:lnTo>
                  <a:lnTo>
                    <a:pt x="940" y="516"/>
                  </a:lnTo>
                  <a:lnTo>
                    <a:pt x="943" y="513"/>
                  </a:lnTo>
                  <a:lnTo>
                    <a:pt x="946" y="507"/>
                  </a:lnTo>
                  <a:lnTo>
                    <a:pt x="954" y="501"/>
                  </a:lnTo>
                  <a:lnTo>
                    <a:pt x="951" y="496"/>
                  </a:lnTo>
                  <a:lnTo>
                    <a:pt x="947" y="491"/>
                  </a:lnTo>
                  <a:lnTo>
                    <a:pt x="944" y="490"/>
                  </a:lnTo>
                  <a:lnTo>
                    <a:pt x="937" y="490"/>
                  </a:lnTo>
                  <a:lnTo>
                    <a:pt x="935" y="491"/>
                  </a:lnTo>
                  <a:lnTo>
                    <a:pt x="935" y="495"/>
                  </a:lnTo>
                  <a:lnTo>
                    <a:pt x="937" y="498"/>
                  </a:lnTo>
                  <a:lnTo>
                    <a:pt x="940" y="501"/>
                  </a:lnTo>
                  <a:lnTo>
                    <a:pt x="941" y="502"/>
                  </a:lnTo>
                  <a:lnTo>
                    <a:pt x="940" y="502"/>
                  </a:lnTo>
                  <a:lnTo>
                    <a:pt x="937" y="502"/>
                  </a:lnTo>
                  <a:lnTo>
                    <a:pt x="935" y="499"/>
                  </a:lnTo>
                  <a:lnTo>
                    <a:pt x="934" y="496"/>
                  </a:lnTo>
                  <a:lnTo>
                    <a:pt x="930" y="490"/>
                  </a:lnTo>
                  <a:lnTo>
                    <a:pt x="927" y="488"/>
                  </a:lnTo>
                  <a:lnTo>
                    <a:pt x="926" y="491"/>
                  </a:lnTo>
                  <a:lnTo>
                    <a:pt x="927" y="495"/>
                  </a:lnTo>
                  <a:lnTo>
                    <a:pt x="929" y="496"/>
                  </a:lnTo>
                  <a:lnTo>
                    <a:pt x="932" y="501"/>
                  </a:lnTo>
                  <a:lnTo>
                    <a:pt x="934" y="504"/>
                  </a:lnTo>
                  <a:close/>
                  <a:moveTo>
                    <a:pt x="760" y="496"/>
                  </a:moveTo>
                  <a:lnTo>
                    <a:pt x="761" y="498"/>
                  </a:lnTo>
                  <a:lnTo>
                    <a:pt x="763" y="499"/>
                  </a:lnTo>
                  <a:lnTo>
                    <a:pt x="764" y="499"/>
                  </a:lnTo>
                  <a:lnTo>
                    <a:pt x="769" y="499"/>
                  </a:lnTo>
                  <a:lnTo>
                    <a:pt x="770" y="498"/>
                  </a:lnTo>
                  <a:lnTo>
                    <a:pt x="772" y="493"/>
                  </a:lnTo>
                  <a:lnTo>
                    <a:pt x="770" y="490"/>
                  </a:lnTo>
                  <a:lnTo>
                    <a:pt x="769" y="488"/>
                  </a:lnTo>
                  <a:lnTo>
                    <a:pt x="764" y="487"/>
                  </a:lnTo>
                  <a:lnTo>
                    <a:pt x="763" y="488"/>
                  </a:lnTo>
                  <a:lnTo>
                    <a:pt x="761" y="488"/>
                  </a:lnTo>
                  <a:lnTo>
                    <a:pt x="761" y="490"/>
                  </a:lnTo>
                  <a:lnTo>
                    <a:pt x="761" y="491"/>
                  </a:lnTo>
                  <a:lnTo>
                    <a:pt x="761" y="493"/>
                  </a:lnTo>
                  <a:lnTo>
                    <a:pt x="760" y="496"/>
                  </a:lnTo>
                  <a:lnTo>
                    <a:pt x="760" y="496"/>
                  </a:lnTo>
                  <a:close/>
                  <a:moveTo>
                    <a:pt x="804" y="561"/>
                  </a:moveTo>
                  <a:lnTo>
                    <a:pt x="806" y="564"/>
                  </a:lnTo>
                  <a:lnTo>
                    <a:pt x="804" y="564"/>
                  </a:lnTo>
                  <a:lnTo>
                    <a:pt x="801" y="559"/>
                  </a:lnTo>
                  <a:lnTo>
                    <a:pt x="801" y="558"/>
                  </a:lnTo>
                  <a:lnTo>
                    <a:pt x="795" y="559"/>
                  </a:lnTo>
                  <a:lnTo>
                    <a:pt x="795" y="562"/>
                  </a:lnTo>
                  <a:lnTo>
                    <a:pt x="795" y="564"/>
                  </a:lnTo>
                  <a:lnTo>
                    <a:pt x="792" y="562"/>
                  </a:lnTo>
                  <a:lnTo>
                    <a:pt x="789" y="562"/>
                  </a:lnTo>
                  <a:lnTo>
                    <a:pt x="787" y="564"/>
                  </a:lnTo>
                  <a:lnTo>
                    <a:pt x="786" y="567"/>
                  </a:lnTo>
                  <a:lnTo>
                    <a:pt x="784" y="572"/>
                  </a:lnTo>
                  <a:lnTo>
                    <a:pt x="792" y="573"/>
                  </a:lnTo>
                  <a:lnTo>
                    <a:pt x="792" y="573"/>
                  </a:lnTo>
                  <a:lnTo>
                    <a:pt x="792" y="575"/>
                  </a:lnTo>
                  <a:lnTo>
                    <a:pt x="792" y="576"/>
                  </a:lnTo>
                  <a:lnTo>
                    <a:pt x="792" y="576"/>
                  </a:lnTo>
                  <a:lnTo>
                    <a:pt x="797" y="578"/>
                  </a:lnTo>
                  <a:lnTo>
                    <a:pt x="792" y="578"/>
                  </a:lnTo>
                  <a:lnTo>
                    <a:pt x="790" y="578"/>
                  </a:lnTo>
                  <a:lnTo>
                    <a:pt x="789" y="581"/>
                  </a:lnTo>
                  <a:lnTo>
                    <a:pt x="790" y="582"/>
                  </a:lnTo>
                  <a:lnTo>
                    <a:pt x="797" y="582"/>
                  </a:lnTo>
                  <a:lnTo>
                    <a:pt x="798" y="584"/>
                  </a:lnTo>
                  <a:lnTo>
                    <a:pt x="792" y="584"/>
                  </a:lnTo>
                  <a:lnTo>
                    <a:pt x="790" y="584"/>
                  </a:lnTo>
                  <a:lnTo>
                    <a:pt x="787" y="587"/>
                  </a:lnTo>
                  <a:lnTo>
                    <a:pt x="786" y="588"/>
                  </a:lnTo>
                  <a:lnTo>
                    <a:pt x="781" y="598"/>
                  </a:lnTo>
                  <a:lnTo>
                    <a:pt x="780" y="601"/>
                  </a:lnTo>
                  <a:lnTo>
                    <a:pt x="776" y="608"/>
                  </a:lnTo>
                  <a:lnTo>
                    <a:pt x="775" y="610"/>
                  </a:lnTo>
                  <a:lnTo>
                    <a:pt x="773" y="610"/>
                  </a:lnTo>
                  <a:lnTo>
                    <a:pt x="772" y="613"/>
                  </a:lnTo>
                  <a:lnTo>
                    <a:pt x="770" y="616"/>
                  </a:lnTo>
                  <a:lnTo>
                    <a:pt x="772" y="619"/>
                  </a:lnTo>
                  <a:lnTo>
                    <a:pt x="772" y="621"/>
                  </a:lnTo>
                  <a:lnTo>
                    <a:pt x="772" y="621"/>
                  </a:lnTo>
                  <a:lnTo>
                    <a:pt x="770" y="622"/>
                  </a:lnTo>
                  <a:lnTo>
                    <a:pt x="770" y="622"/>
                  </a:lnTo>
                  <a:lnTo>
                    <a:pt x="772" y="625"/>
                  </a:lnTo>
                  <a:lnTo>
                    <a:pt x="775" y="625"/>
                  </a:lnTo>
                  <a:lnTo>
                    <a:pt x="778" y="622"/>
                  </a:lnTo>
                  <a:lnTo>
                    <a:pt x="780" y="619"/>
                  </a:lnTo>
                  <a:lnTo>
                    <a:pt x="781" y="615"/>
                  </a:lnTo>
                  <a:lnTo>
                    <a:pt x="783" y="613"/>
                  </a:lnTo>
                  <a:lnTo>
                    <a:pt x="787" y="608"/>
                  </a:lnTo>
                  <a:lnTo>
                    <a:pt x="789" y="608"/>
                  </a:lnTo>
                  <a:lnTo>
                    <a:pt x="789" y="607"/>
                  </a:lnTo>
                  <a:lnTo>
                    <a:pt x="787" y="605"/>
                  </a:lnTo>
                  <a:lnTo>
                    <a:pt x="786" y="605"/>
                  </a:lnTo>
                  <a:lnTo>
                    <a:pt x="787" y="602"/>
                  </a:lnTo>
                  <a:lnTo>
                    <a:pt x="792" y="601"/>
                  </a:lnTo>
                  <a:lnTo>
                    <a:pt x="795" y="596"/>
                  </a:lnTo>
                  <a:lnTo>
                    <a:pt x="798" y="595"/>
                  </a:lnTo>
                  <a:lnTo>
                    <a:pt x="800" y="593"/>
                  </a:lnTo>
                  <a:lnTo>
                    <a:pt x="800" y="593"/>
                  </a:lnTo>
                  <a:lnTo>
                    <a:pt x="800" y="592"/>
                  </a:lnTo>
                  <a:lnTo>
                    <a:pt x="801" y="593"/>
                  </a:lnTo>
                  <a:lnTo>
                    <a:pt x="803" y="593"/>
                  </a:lnTo>
                  <a:lnTo>
                    <a:pt x="804" y="592"/>
                  </a:lnTo>
                  <a:lnTo>
                    <a:pt x="812" y="582"/>
                  </a:lnTo>
                  <a:lnTo>
                    <a:pt x="812" y="581"/>
                  </a:lnTo>
                  <a:lnTo>
                    <a:pt x="812" y="578"/>
                  </a:lnTo>
                  <a:lnTo>
                    <a:pt x="812" y="573"/>
                  </a:lnTo>
                  <a:lnTo>
                    <a:pt x="812" y="573"/>
                  </a:lnTo>
                  <a:lnTo>
                    <a:pt x="813" y="573"/>
                  </a:lnTo>
                  <a:lnTo>
                    <a:pt x="813" y="575"/>
                  </a:lnTo>
                  <a:lnTo>
                    <a:pt x="815" y="578"/>
                  </a:lnTo>
                  <a:lnTo>
                    <a:pt x="815" y="578"/>
                  </a:lnTo>
                  <a:lnTo>
                    <a:pt x="817" y="581"/>
                  </a:lnTo>
                  <a:lnTo>
                    <a:pt x="813" y="584"/>
                  </a:lnTo>
                  <a:lnTo>
                    <a:pt x="809" y="592"/>
                  </a:lnTo>
                  <a:lnTo>
                    <a:pt x="807" y="595"/>
                  </a:lnTo>
                  <a:lnTo>
                    <a:pt x="801" y="598"/>
                  </a:lnTo>
                  <a:lnTo>
                    <a:pt x="800" y="599"/>
                  </a:lnTo>
                  <a:lnTo>
                    <a:pt x="798" y="605"/>
                  </a:lnTo>
                  <a:lnTo>
                    <a:pt x="797" y="607"/>
                  </a:lnTo>
                  <a:lnTo>
                    <a:pt x="795" y="605"/>
                  </a:lnTo>
                  <a:lnTo>
                    <a:pt x="797" y="610"/>
                  </a:lnTo>
                  <a:lnTo>
                    <a:pt x="800" y="610"/>
                  </a:lnTo>
                  <a:lnTo>
                    <a:pt x="810" y="608"/>
                  </a:lnTo>
                  <a:lnTo>
                    <a:pt x="812" y="608"/>
                  </a:lnTo>
                  <a:lnTo>
                    <a:pt x="813" y="612"/>
                  </a:lnTo>
                  <a:lnTo>
                    <a:pt x="817" y="613"/>
                  </a:lnTo>
                  <a:lnTo>
                    <a:pt x="817" y="615"/>
                  </a:lnTo>
                  <a:lnTo>
                    <a:pt x="815" y="615"/>
                  </a:lnTo>
                  <a:lnTo>
                    <a:pt x="815" y="615"/>
                  </a:lnTo>
                  <a:lnTo>
                    <a:pt x="817" y="615"/>
                  </a:lnTo>
                  <a:lnTo>
                    <a:pt x="818" y="616"/>
                  </a:lnTo>
                  <a:lnTo>
                    <a:pt x="820" y="615"/>
                  </a:lnTo>
                  <a:lnTo>
                    <a:pt x="820" y="613"/>
                  </a:lnTo>
                  <a:lnTo>
                    <a:pt x="823" y="607"/>
                  </a:lnTo>
                  <a:lnTo>
                    <a:pt x="824" y="604"/>
                  </a:lnTo>
                  <a:lnTo>
                    <a:pt x="823" y="604"/>
                  </a:lnTo>
                  <a:lnTo>
                    <a:pt x="823" y="604"/>
                  </a:lnTo>
                  <a:lnTo>
                    <a:pt x="821" y="604"/>
                  </a:lnTo>
                  <a:lnTo>
                    <a:pt x="821" y="602"/>
                  </a:lnTo>
                  <a:lnTo>
                    <a:pt x="821" y="602"/>
                  </a:lnTo>
                  <a:lnTo>
                    <a:pt x="823" y="601"/>
                  </a:lnTo>
                  <a:lnTo>
                    <a:pt x="826" y="601"/>
                  </a:lnTo>
                  <a:lnTo>
                    <a:pt x="826" y="601"/>
                  </a:lnTo>
                  <a:lnTo>
                    <a:pt x="826" y="598"/>
                  </a:lnTo>
                  <a:lnTo>
                    <a:pt x="824" y="598"/>
                  </a:lnTo>
                  <a:lnTo>
                    <a:pt x="826" y="596"/>
                  </a:lnTo>
                  <a:lnTo>
                    <a:pt x="826" y="593"/>
                  </a:lnTo>
                  <a:lnTo>
                    <a:pt x="827" y="590"/>
                  </a:lnTo>
                  <a:lnTo>
                    <a:pt x="827" y="592"/>
                  </a:lnTo>
                  <a:lnTo>
                    <a:pt x="829" y="593"/>
                  </a:lnTo>
                  <a:lnTo>
                    <a:pt x="829" y="596"/>
                  </a:lnTo>
                  <a:lnTo>
                    <a:pt x="830" y="598"/>
                  </a:lnTo>
                  <a:lnTo>
                    <a:pt x="832" y="598"/>
                  </a:lnTo>
                  <a:lnTo>
                    <a:pt x="832" y="595"/>
                  </a:lnTo>
                  <a:lnTo>
                    <a:pt x="829" y="592"/>
                  </a:lnTo>
                  <a:lnTo>
                    <a:pt x="829" y="590"/>
                  </a:lnTo>
                  <a:lnTo>
                    <a:pt x="829" y="588"/>
                  </a:lnTo>
                  <a:lnTo>
                    <a:pt x="830" y="588"/>
                  </a:lnTo>
                  <a:lnTo>
                    <a:pt x="832" y="590"/>
                  </a:lnTo>
                  <a:lnTo>
                    <a:pt x="832" y="592"/>
                  </a:lnTo>
                  <a:lnTo>
                    <a:pt x="835" y="588"/>
                  </a:lnTo>
                  <a:lnTo>
                    <a:pt x="835" y="587"/>
                  </a:lnTo>
                  <a:lnTo>
                    <a:pt x="835" y="585"/>
                  </a:lnTo>
                  <a:lnTo>
                    <a:pt x="835" y="582"/>
                  </a:lnTo>
                  <a:lnTo>
                    <a:pt x="835" y="581"/>
                  </a:lnTo>
                  <a:lnTo>
                    <a:pt x="835" y="578"/>
                  </a:lnTo>
                  <a:lnTo>
                    <a:pt x="837" y="576"/>
                  </a:lnTo>
                  <a:lnTo>
                    <a:pt x="837" y="581"/>
                  </a:lnTo>
                  <a:lnTo>
                    <a:pt x="837" y="582"/>
                  </a:lnTo>
                  <a:lnTo>
                    <a:pt x="837" y="584"/>
                  </a:lnTo>
                  <a:lnTo>
                    <a:pt x="837" y="587"/>
                  </a:lnTo>
                  <a:lnTo>
                    <a:pt x="837" y="590"/>
                  </a:lnTo>
                  <a:lnTo>
                    <a:pt x="837" y="593"/>
                  </a:lnTo>
                  <a:lnTo>
                    <a:pt x="837" y="596"/>
                  </a:lnTo>
                  <a:lnTo>
                    <a:pt x="837" y="599"/>
                  </a:lnTo>
                  <a:lnTo>
                    <a:pt x="837" y="602"/>
                  </a:lnTo>
                  <a:lnTo>
                    <a:pt x="838" y="602"/>
                  </a:lnTo>
                  <a:lnTo>
                    <a:pt x="841" y="599"/>
                  </a:lnTo>
                  <a:lnTo>
                    <a:pt x="843" y="598"/>
                  </a:lnTo>
                  <a:lnTo>
                    <a:pt x="846" y="590"/>
                  </a:lnTo>
                  <a:lnTo>
                    <a:pt x="847" y="587"/>
                  </a:lnTo>
                  <a:lnTo>
                    <a:pt x="850" y="582"/>
                  </a:lnTo>
                  <a:lnTo>
                    <a:pt x="850" y="578"/>
                  </a:lnTo>
                  <a:lnTo>
                    <a:pt x="852" y="573"/>
                  </a:lnTo>
                  <a:lnTo>
                    <a:pt x="853" y="568"/>
                  </a:lnTo>
                  <a:lnTo>
                    <a:pt x="853" y="568"/>
                  </a:lnTo>
                  <a:lnTo>
                    <a:pt x="855" y="568"/>
                  </a:lnTo>
                  <a:lnTo>
                    <a:pt x="855" y="570"/>
                  </a:lnTo>
                  <a:lnTo>
                    <a:pt x="857" y="572"/>
                  </a:lnTo>
                  <a:lnTo>
                    <a:pt x="858" y="570"/>
                  </a:lnTo>
                  <a:lnTo>
                    <a:pt x="863" y="565"/>
                  </a:lnTo>
                  <a:lnTo>
                    <a:pt x="872" y="564"/>
                  </a:lnTo>
                  <a:lnTo>
                    <a:pt x="877" y="564"/>
                  </a:lnTo>
                  <a:lnTo>
                    <a:pt x="880" y="565"/>
                  </a:lnTo>
                  <a:lnTo>
                    <a:pt x="881" y="565"/>
                  </a:lnTo>
                  <a:lnTo>
                    <a:pt x="883" y="565"/>
                  </a:lnTo>
                  <a:lnTo>
                    <a:pt x="883" y="562"/>
                  </a:lnTo>
                  <a:lnTo>
                    <a:pt x="883" y="561"/>
                  </a:lnTo>
                  <a:lnTo>
                    <a:pt x="883" y="559"/>
                  </a:lnTo>
                  <a:lnTo>
                    <a:pt x="883" y="559"/>
                  </a:lnTo>
                  <a:lnTo>
                    <a:pt x="883" y="556"/>
                  </a:lnTo>
                  <a:lnTo>
                    <a:pt x="883" y="555"/>
                  </a:lnTo>
                  <a:lnTo>
                    <a:pt x="883" y="553"/>
                  </a:lnTo>
                  <a:lnTo>
                    <a:pt x="884" y="552"/>
                  </a:lnTo>
                  <a:lnTo>
                    <a:pt x="884" y="550"/>
                  </a:lnTo>
                  <a:lnTo>
                    <a:pt x="886" y="548"/>
                  </a:lnTo>
                  <a:lnTo>
                    <a:pt x="887" y="544"/>
                  </a:lnTo>
                  <a:lnTo>
                    <a:pt x="887" y="541"/>
                  </a:lnTo>
                  <a:lnTo>
                    <a:pt x="886" y="539"/>
                  </a:lnTo>
                  <a:lnTo>
                    <a:pt x="887" y="535"/>
                  </a:lnTo>
                  <a:lnTo>
                    <a:pt x="889" y="533"/>
                  </a:lnTo>
                  <a:lnTo>
                    <a:pt x="886" y="530"/>
                  </a:lnTo>
                  <a:lnTo>
                    <a:pt x="886" y="527"/>
                  </a:lnTo>
                  <a:lnTo>
                    <a:pt x="884" y="524"/>
                  </a:lnTo>
                  <a:lnTo>
                    <a:pt x="884" y="522"/>
                  </a:lnTo>
                  <a:lnTo>
                    <a:pt x="887" y="521"/>
                  </a:lnTo>
                  <a:lnTo>
                    <a:pt x="886" y="518"/>
                  </a:lnTo>
                  <a:lnTo>
                    <a:pt x="886" y="516"/>
                  </a:lnTo>
                  <a:lnTo>
                    <a:pt x="884" y="516"/>
                  </a:lnTo>
                  <a:lnTo>
                    <a:pt x="883" y="516"/>
                  </a:lnTo>
                  <a:lnTo>
                    <a:pt x="883" y="513"/>
                  </a:lnTo>
                  <a:lnTo>
                    <a:pt x="886" y="511"/>
                  </a:lnTo>
                  <a:lnTo>
                    <a:pt x="887" y="510"/>
                  </a:lnTo>
                  <a:lnTo>
                    <a:pt x="886" y="508"/>
                  </a:lnTo>
                  <a:lnTo>
                    <a:pt x="880" y="511"/>
                  </a:lnTo>
                  <a:lnTo>
                    <a:pt x="878" y="508"/>
                  </a:lnTo>
                  <a:lnTo>
                    <a:pt x="878" y="505"/>
                  </a:lnTo>
                  <a:lnTo>
                    <a:pt x="878" y="504"/>
                  </a:lnTo>
                  <a:lnTo>
                    <a:pt x="878" y="504"/>
                  </a:lnTo>
                  <a:lnTo>
                    <a:pt x="875" y="504"/>
                  </a:lnTo>
                  <a:lnTo>
                    <a:pt x="869" y="499"/>
                  </a:lnTo>
                  <a:lnTo>
                    <a:pt x="864" y="493"/>
                  </a:lnTo>
                  <a:lnTo>
                    <a:pt x="864" y="493"/>
                  </a:lnTo>
                  <a:lnTo>
                    <a:pt x="864" y="498"/>
                  </a:lnTo>
                  <a:lnTo>
                    <a:pt x="866" y="501"/>
                  </a:lnTo>
                  <a:lnTo>
                    <a:pt x="867" y="504"/>
                  </a:lnTo>
                  <a:lnTo>
                    <a:pt x="867" y="505"/>
                  </a:lnTo>
                  <a:lnTo>
                    <a:pt x="867" y="505"/>
                  </a:lnTo>
                  <a:lnTo>
                    <a:pt x="866" y="507"/>
                  </a:lnTo>
                  <a:lnTo>
                    <a:pt x="864" y="505"/>
                  </a:lnTo>
                  <a:lnTo>
                    <a:pt x="863" y="502"/>
                  </a:lnTo>
                  <a:lnTo>
                    <a:pt x="861" y="502"/>
                  </a:lnTo>
                  <a:lnTo>
                    <a:pt x="860" y="502"/>
                  </a:lnTo>
                  <a:lnTo>
                    <a:pt x="853" y="507"/>
                  </a:lnTo>
                  <a:lnTo>
                    <a:pt x="853" y="508"/>
                  </a:lnTo>
                  <a:lnTo>
                    <a:pt x="852" y="511"/>
                  </a:lnTo>
                  <a:lnTo>
                    <a:pt x="853" y="515"/>
                  </a:lnTo>
                  <a:lnTo>
                    <a:pt x="853" y="516"/>
                  </a:lnTo>
                  <a:lnTo>
                    <a:pt x="855" y="518"/>
                  </a:lnTo>
                  <a:lnTo>
                    <a:pt x="860" y="521"/>
                  </a:lnTo>
                  <a:lnTo>
                    <a:pt x="861" y="522"/>
                  </a:lnTo>
                  <a:lnTo>
                    <a:pt x="861" y="527"/>
                  </a:lnTo>
                  <a:lnTo>
                    <a:pt x="853" y="527"/>
                  </a:lnTo>
                  <a:lnTo>
                    <a:pt x="852" y="527"/>
                  </a:lnTo>
                  <a:lnTo>
                    <a:pt x="850" y="528"/>
                  </a:lnTo>
                  <a:lnTo>
                    <a:pt x="849" y="531"/>
                  </a:lnTo>
                  <a:lnTo>
                    <a:pt x="849" y="533"/>
                  </a:lnTo>
                  <a:lnTo>
                    <a:pt x="849" y="535"/>
                  </a:lnTo>
                  <a:lnTo>
                    <a:pt x="849" y="536"/>
                  </a:lnTo>
                  <a:lnTo>
                    <a:pt x="850" y="536"/>
                  </a:lnTo>
                  <a:lnTo>
                    <a:pt x="852" y="541"/>
                  </a:lnTo>
                  <a:lnTo>
                    <a:pt x="852" y="544"/>
                  </a:lnTo>
                  <a:lnTo>
                    <a:pt x="852" y="547"/>
                  </a:lnTo>
                  <a:lnTo>
                    <a:pt x="850" y="548"/>
                  </a:lnTo>
                  <a:lnTo>
                    <a:pt x="849" y="547"/>
                  </a:lnTo>
                  <a:lnTo>
                    <a:pt x="847" y="541"/>
                  </a:lnTo>
                  <a:lnTo>
                    <a:pt x="846" y="539"/>
                  </a:lnTo>
                  <a:lnTo>
                    <a:pt x="844" y="541"/>
                  </a:lnTo>
                  <a:lnTo>
                    <a:pt x="841" y="544"/>
                  </a:lnTo>
                  <a:lnTo>
                    <a:pt x="835" y="548"/>
                  </a:lnTo>
                  <a:lnTo>
                    <a:pt x="833" y="550"/>
                  </a:lnTo>
                  <a:lnTo>
                    <a:pt x="832" y="553"/>
                  </a:lnTo>
                  <a:lnTo>
                    <a:pt x="832" y="556"/>
                  </a:lnTo>
                  <a:lnTo>
                    <a:pt x="832" y="559"/>
                  </a:lnTo>
                  <a:lnTo>
                    <a:pt x="832" y="562"/>
                  </a:lnTo>
                  <a:lnTo>
                    <a:pt x="830" y="565"/>
                  </a:lnTo>
                  <a:lnTo>
                    <a:pt x="829" y="567"/>
                  </a:lnTo>
                  <a:lnTo>
                    <a:pt x="826" y="570"/>
                  </a:lnTo>
                  <a:lnTo>
                    <a:pt x="827" y="567"/>
                  </a:lnTo>
                  <a:lnTo>
                    <a:pt x="829" y="565"/>
                  </a:lnTo>
                  <a:lnTo>
                    <a:pt x="829" y="562"/>
                  </a:lnTo>
                  <a:lnTo>
                    <a:pt x="829" y="559"/>
                  </a:lnTo>
                  <a:lnTo>
                    <a:pt x="829" y="558"/>
                  </a:lnTo>
                  <a:lnTo>
                    <a:pt x="829" y="555"/>
                  </a:lnTo>
                  <a:lnTo>
                    <a:pt x="829" y="552"/>
                  </a:lnTo>
                  <a:lnTo>
                    <a:pt x="829" y="548"/>
                  </a:lnTo>
                  <a:lnTo>
                    <a:pt x="830" y="547"/>
                  </a:lnTo>
                  <a:lnTo>
                    <a:pt x="835" y="545"/>
                  </a:lnTo>
                  <a:lnTo>
                    <a:pt x="837" y="544"/>
                  </a:lnTo>
                  <a:lnTo>
                    <a:pt x="837" y="544"/>
                  </a:lnTo>
                  <a:lnTo>
                    <a:pt x="838" y="541"/>
                  </a:lnTo>
                  <a:lnTo>
                    <a:pt x="838" y="539"/>
                  </a:lnTo>
                  <a:lnTo>
                    <a:pt x="840" y="539"/>
                  </a:lnTo>
                  <a:lnTo>
                    <a:pt x="840" y="539"/>
                  </a:lnTo>
                  <a:lnTo>
                    <a:pt x="841" y="538"/>
                  </a:lnTo>
                  <a:lnTo>
                    <a:pt x="841" y="536"/>
                  </a:lnTo>
                  <a:lnTo>
                    <a:pt x="843" y="535"/>
                  </a:lnTo>
                  <a:lnTo>
                    <a:pt x="844" y="528"/>
                  </a:lnTo>
                  <a:lnTo>
                    <a:pt x="844" y="525"/>
                  </a:lnTo>
                  <a:lnTo>
                    <a:pt x="846" y="522"/>
                  </a:lnTo>
                  <a:lnTo>
                    <a:pt x="844" y="518"/>
                  </a:lnTo>
                  <a:lnTo>
                    <a:pt x="843" y="516"/>
                  </a:lnTo>
                  <a:lnTo>
                    <a:pt x="841" y="518"/>
                  </a:lnTo>
                  <a:lnTo>
                    <a:pt x="838" y="522"/>
                  </a:lnTo>
                  <a:lnTo>
                    <a:pt x="835" y="525"/>
                  </a:lnTo>
                  <a:lnTo>
                    <a:pt x="832" y="527"/>
                  </a:lnTo>
                  <a:lnTo>
                    <a:pt x="827" y="527"/>
                  </a:lnTo>
                  <a:lnTo>
                    <a:pt x="833" y="524"/>
                  </a:lnTo>
                  <a:lnTo>
                    <a:pt x="833" y="521"/>
                  </a:lnTo>
                  <a:lnTo>
                    <a:pt x="835" y="519"/>
                  </a:lnTo>
                  <a:lnTo>
                    <a:pt x="835" y="518"/>
                  </a:lnTo>
                  <a:lnTo>
                    <a:pt x="837" y="516"/>
                  </a:lnTo>
                  <a:lnTo>
                    <a:pt x="837" y="515"/>
                  </a:lnTo>
                  <a:lnTo>
                    <a:pt x="837" y="511"/>
                  </a:lnTo>
                  <a:lnTo>
                    <a:pt x="837" y="511"/>
                  </a:lnTo>
                  <a:lnTo>
                    <a:pt x="840" y="501"/>
                  </a:lnTo>
                  <a:lnTo>
                    <a:pt x="840" y="496"/>
                  </a:lnTo>
                  <a:lnTo>
                    <a:pt x="840" y="495"/>
                  </a:lnTo>
                  <a:lnTo>
                    <a:pt x="838" y="493"/>
                  </a:lnTo>
                  <a:lnTo>
                    <a:pt x="838" y="490"/>
                  </a:lnTo>
                  <a:lnTo>
                    <a:pt x="838" y="487"/>
                  </a:lnTo>
                  <a:lnTo>
                    <a:pt x="840" y="484"/>
                  </a:lnTo>
                  <a:lnTo>
                    <a:pt x="840" y="482"/>
                  </a:lnTo>
                  <a:lnTo>
                    <a:pt x="840" y="481"/>
                  </a:lnTo>
                  <a:lnTo>
                    <a:pt x="837" y="479"/>
                  </a:lnTo>
                  <a:lnTo>
                    <a:pt x="835" y="479"/>
                  </a:lnTo>
                  <a:lnTo>
                    <a:pt x="829" y="482"/>
                  </a:lnTo>
                  <a:lnTo>
                    <a:pt x="821" y="481"/>
                  </a:lnTo>
                  <a:lnTo>
                    <a:pt x="820" y="482"/>
                  </a:lnTo>
                  <a:lnTo>
                    <a:pt x="818" y="484"/>
                  </a:lnTo>
                  <a:lnTo>
                    <a:pt x="817" y="490"/>
                  </a:lnTo>
                  <a:lnTo>
                    <a:pt x="817" y="493"/>
                  </a:lnTo>
                  <a:lnTo>
                    <a:pt x="817" y="493"/>
                  </a:lnTo>
                  <a:lnTo>
                    <a:pt x="817" y="493"/>
                  </a:lnTo>
                  <a:lnTo>
                    <a:pt x="818" y="495"/>
                  </a:lnTo>
                  <a:lnTo>
                    <a:pt x="818" y="496"/>
                  </a:lnTo>
                  <a:lnTo>
                    <a:pt x="815" y="498"/>
                  </a:lnTo>
                  <a:lnTo>
                    <a:pt x="812" y="499"/>
                  </a:lnTo>
                  <a:lnTo>
                    <a:pt x="812" y="504"/>
                  </a:lnTo>
                  <a:lnTo>
                    <a:pt x="813" y="507"/>
                  </a:lnTo>
                  <a:lnTo>
                    <a:pt x="815" y="507"/>
                  </a:lnTo>
                  <a:lnTo>
                    <a:pt x="818" y="508"/>
                  </a:lnTo>
                  <a:lnTo>
                    <a:pt x="820" y="510"/>
                  </a:lnTo>
                  <a:lnTo>
                    <a:pt x="817" y="510"/>
                  </a:lnTo>
                  <a:lnTo>
                    <a:pt x="813" y="508"/>
                  </a:lnTo>
                  <a:lnTo>
                    <a:pt x="810" y="510"/>
                  </a:lnTo>
                  <a:lnTo>
                    <a:pt x="810" y="510"/>
                  </a:lnTo>
                  <a:lnTo>
                    <a:pt x="810" y="511"/>
                  </a:lnTo>
                  <a:lnTo>
                    <a:pt x="809" y="513"/>
                  </a:lnTo>
                  <a:lnTo>
                    <a:pt x="809" y="513"/>
                  </a:lnTo>
                  <a:lnTo>
                    <a:pt x="807" y="513"/>
                  </a:lnTo>
                  <a:lnTo>
                    <a:pt x="806" y="513"/>
                  </a:lnTo>
                  <a:lnTo>
                    <a:pt x="806" y="511"/>
                  </a:lnTo>
                  <a:lnTo>
                    <a:pt x="806" y="515"/>
                  </a:lnTo>
                  <a:lnTo>
                    <a:pt x="806" y="521"/>
                  </a:lnTo>
                  <a:lnTo>
                    <a:pt x="806" y="524"/>
                  </a:lnTo>
                  <a:lnTo>
                    <a:pt x="807" y="525"/>
                  </a:lnTo>
                  <a:lnTo>
                    <a:pt x="809" y="525"/>
                  </a:lnTo>
                  <a:lnTo>
                    <a:pt x="820" y="525"/>
                  </a:lnTo>
                  <a:lnTo>
                    <a:pt x="821" y="527"/>
                  </a:lnTo>
                  <a:lnTo>
                    <a:pt x="821" y="528"/>
                  </a:lnTo>
                  <a:lnTo>
                    <a:pt x="821" y="531"/>
                  </a:lnTo>
                  <a:lnTo>
                    <a:pt x="821" y="531"/>
                  </a:lnTo>
                  <a:lnTo>
                    <a:pt x="823" y="533"/>
                  </a:lnTo>
                  <a:lnTo>
                    <a:pt x="824" y="535"/>
                  </a:lnTo>
                  <a:lnTo>
                    <a:pt x="821" y="531"/>
                  </a:lnTo>
                  <a:lnTo>
                    <a:pt x="820" y="530"/>
                  </a:lnTo>
                  <a:lnTo>
                    <a:pt x="818" y="528"/>
                  </a:lnTo>
                  <a:lnTo>
                    <a:pt x="817" y="527"/>
                  </a:lnTo>
                  <a:lnTo>
                    <a:pt x="815" y="528"/>
                  </a:lnTo>
                  <a:lnTo>
                    <a:pt x="815" y="528"/>
                  </a:lnTo>
                  <a:lnTo>
                    <a:pt x="813" y="528"/>
                  </a:lnTo>
                  <a:lnTo>
                    <a:pt x="804" y="528"/>
                  </a:lnTo>
                  <a:lnTo>
                    <a:pt x="804" y="530"/>
                  </a:lnTo>
                  <a:lnTo>
                    <a:pt x="804" y="533"/>
                  </a:lnTo>
                  <a:lnTo>
                    <a:pt x="804" y="539"/>
                  </a:lnTo>
                  <a:lnTo>
                    <a:pt x="806" y="542"/>
                  </a:lnTo>
                  <a:lnTo>
                    <a:pt x="807" y="544"/>
                  </a:lnTo>
                  <a:lnTo>
                    <a:pt x="809" y="547"/>
                  </a:lnTo>
                  <a:lnTo>
                    <a:pt x="810" y="548"/>
                  </a:lnTo>
                  <a:lnTo>
                    <a:pt x="813" y="548"/>
                  </a:lnTo>
                  <a:lnTo>
                    <a:pt x="815" y="548"/>
                  </a:lnTo>
                  <a:lnTo>
                    <a:pt x="815" y="550"/>
                  </a:lnTo>
                  <a:lnTo>
                    <a:pt x="817" y="552"/>
                  </a:lnTo>
                  <a:lnTo>
                    <a:pt x="817" y="553"/>
                  </a:lnTo>
                  <a:lnTo>
                    <a:pt x="818" y="553"/>
                  </a:lnTo>
                  <a:lnTo>
                    <a:pt x="817" y="555"/>
                  </a:lnTo>
                  <a:lnTo>
                    <a:pt x="817" y="555"/>
                  </a:lnTo>
                  <a:lnTo>
                    <a:pt x="815" y="555"/>
                  </a:lnTo>
                  <a:lnTo>
                    <a:pt x="813" y="553"/>
                  </a:lnTo>
                  <a:lnTo>
                    <a:pt x="813" y="553"/>
                  </a:lnTo>
                  <a:lnTo>
                    <a:pt x="813" y="550"/>
                  </a:lnTo>
                  <a:lnTo>
                    <a:pt x="812" y="550"/>
                  </a:lnTo>
                  <a:lnTo>
                    <a:pt x="804" y="552"/>
                  </a:lnTo>
                  <a:lnTo>
                    <a:pt x="804" y="553"/>
                  </a:lnTo>
                  <a:lnTo>
                    <a:pt x="804" y="553"/>
                  </a:lnTo>
                  <a:lnTo>
                    <a:pt x="806" y="556"/>
                  </a:lnTo>
                  <a:lnTo>
                    <a:pt x="804" y="556"/>
                  </a:lnTo>
                  <a:lnTo>
                    <a:pt x="801" y="555"/>
                  </a:lnTo>
                  <a:lnTo>
                    <a:pt x="801" y="555"/>
                  </a:lnTo>
                  <a:lnTo>
                    <a:pt x="804" y="561"/>
                  </a:lnTo>
                  <a:close/>
                  <a:moveTo>
                    <a:pt x="872" y="487"/>
                  </a:moveTo>
                  <a:lnTo>
                    <a:pt x="875" y="493"/>
                  </a:lnTo>
                  <a:lnTo>
                    <a:pt x="878" y="496"/>
                  </a:lnTo>
                  <a:lnTo>
                    <a:pt x="881" y="496"/>
                  </a:lnTo>
                  <a:lnTo>
                    <a:pt x="887" y="496"/>
                  </a:lnTo>
                  <a:lnTo>
                    <a:pt x="889" y="495"/>
                  </a:lnTo>
                  <a:lnTo>
                    <a:pt x="889" y="490"/>
                  </a:lnTo>
                  <a:lnTo>
                    <a:pt x="890" y="487"/>
                  </a:lnTo>
                  <a:lnTo>
                    <a:pt x="890" y="484"/>
                  </a:lnTo>
                  <a:lnTo>
                    <a:pt x="889" y="481"/>
                  </a:lnTo>
                  <a:lnTo>
                    <a:pt x="887" y="479"/>
                  </a:lnTo>
                  <a:lnTo>
                    <a:pt x="884" y="481"/>
                  </a:lnTo>
                  <a:lnTo>
                    <a:pt x="881" y="481"/>
                  </a:lnTo>
                  <a:lnTo>
                    <a:pt x="877" y="479"/>
                  </a:lnTo>
                  <a:lnTo>
                    <a:pt x="872" y="475"/>
                  </a:lnTo>
                  <a:lnTo>
                    <a:pt x="869" y="475"/>
                  </a:lnTo>
                  <a:lnTo>
                    <a:pt x="866" y="479"/>
                  </a:lnTo>
                  <a:lnTo>
                    <a:pt x="867" y="482"/>
                  </a:lnTo>
                  <a:lnTo>
                    <a:pt x="872" y="487"/>
                  </a:lnTo>
                  <a:close/>
                  <a:moveTo>
                    <a:pt x="726" y="542"/>
                  </a:moveTo>
                  <a:lnTo>
                    <a:pt x="727" y="542"/>
                  </a:lnTo>
                  <a:lnTo>
                    <a:pt x="727" y="542"/>
                  </a:lnTo>
                  <a:lnTo>
                    <a:pt x="727" y="541"/>
                  </a:lnTo>
                  <a:lnTo>
                    <a:pt x="729" y="541"/>
                  </a:lnTo>
                  <a:lnTo>
                    <a:pt x="729" y="542"/>
                  </a:lnTo>
                  <a:lnTo>
                    <a:pt x="729" y="544"/>
                  </a:lnTo>
                  <a:lnTo>
                    <a:pt x="727" y="548"/>
                  </a:lnTo>
                  <a:lnTo>
                    <a:pt x="729" y="552"/>
                  </a:lnTo>
                  <a:lnTo>
                    <a:pt x="729" y="553"/>
                  </a:lnTo>
                  <a:lnTo>
                    <a:pt x="733" y="555"/>
                  </a:lnTo>
                  <a:lnTo>
                    <a:pt x="736" y="553"/>
                  </a:lnTo>
                  <a:lnTo>
                    <a:pt x="738" y="550"/>
                  </a:lnTo>
                  <a:lnTo>
                    <a:pt x="738" y="550"/>
                  </a:lnTo>
                  <a:lnTo>
                    <a:pt x="743" y="550"/>
                  </a:lnTo>
                  <a:lnTo>
                    <a:pt x="743" y="550"/>
                  </a:lnTo>
                  <a:lnTo>
                    <a:pt x="744" y="545"/>
                  </a:lnTo>
                  <a:lnTo>
                    <a:pt x="744" y="544"/>
                  </a:lnTo>
                  <a:lnTo>
                    <a:pt x="746" y="541"/>
                  </a:lnTo>
                  <a:lnTo>
                    <a:pt x="747" y="538"/>
                  </a:lnTo>
                  <a:lnTo>
                    <a:pt x="747" y="533"/>
                  </a:lnTo>
                  <a:lnTo>
                    <a:pt x="749" y="538"/>
                  </a:lnTo>
                  <a:lnTo>
                    <a:pt x="750" y="541"/>
                  </a:lnTo>
                  <a:lnTo>
                    <a:pt x="753" y="542"/>
                  </a:lnTo>
                  <a:lnTo>
                    <a:pt x="755" y="541"/>
                  </a:lnTo>
                  <a:lnTo>
                    <a:pt x="755" y="538"/>
                  </a:lnTo>
                  <a:lnTo>
                    <a:pt x="756" y="535"/>
                  </a:lnTo>
                  <a:lnTo>
                    <a:pt x="756" y="533"/>
                  </a:lnTo>
                  <a:lnTo>
                    <a:pt x="758" y="531"/>
                  </a:lnTo>
                  <a:lnTo>
                    <a:pt x="758" y="533"/>
                  </a:lnTo>
                  <a:lnTo>
                    <a:pt x="758" y="536"/>
                  </a:lnTo>
                  <a:lnTo>
                    <a:pt x="756" y="539"/>
                  </a:lnTo>
                  <a:lnTo>
                    <a:pt x="758" y="541"/>
                  </a:lnTo>
                  <a:lnTo>
                    <a:pt x="761" y="538"/>
                  </a:lnTo>
                  <a:lnTo>
                    <a:pt x="763" y="538"/>
                  </a:lnTo>
                  <a:lnTo>
                    <a:pt x="764" y="539"/>
                  </a:lnTo>
                  <a:lnTo>
                    <a:pt x="766" y="536"/>
                  </a:lnTo>
                  <a:lnTo>
                    <a:pt x="767" y="531"/>
                  </a:lnTo>
                  <a:lnTo>
                    <a:pt x="769" y="528"/>
                  </a:lnTo>
                  <a:lnTo>
                    <a:pt x="769" y="530"/>
                  </a:lnTo>
                  <a:lnTo>
                    <a:pt x="769" y="531"/>
                  </a:lnTo>
                  <a:lnTo>
                    <a:pt x="769" y="531"/>
                  </a:lnTo>
                  <a:lnTo>
                    <a:pt x="769" y="533"/>
                  </a:lnTo>
                  <a:lnTo>
                    <a:pt x="770" y="535"/>
                  </a:lnTo>
                  <a:lnTo>
                    <a:pt x="773" y="533"/>
                  </a:lnTo>
                  <a:lnTo>
                    <a:pt x="775" y="528"/>
                  </a:lnTo>
                  <a:lnTo>
                    <a:pt x="776" y="525"/>
                  </a:lnTo>
                  <a:lnTo>
                    <a:pt x="772" y="522"/>
                  </a:lnTo>
                  <a:lnTo>
                    <a:pt x="770" y="522"/>
                  </a:lnTo>
                  <a:lnTo>
                    <a:pt x="773" y="521"/>
                  </a:lnTo>
                  <a:lnTo>
                    <a:pt x="783" y="524"/>
                  </a:lnTo>
                  <a:lnTo>
                    <a:pt x="783" y="527"/>
                  </a:lnTo>
                  <a:lnTo>
                    <a:pt x="783" y="530"/>
                  </a:lnTo>
                  <a:lnTo>
                    <a:pt x="783" y="531"/>
                  </a:lnTo>
                  <a:lnTo>
                    <a:pt x="784" y="535"/>
                  </a:lnTo>
                  <a:lnTo>
                    <a:pt x="781" y="536"/>
                  </a:lnTo>
                  <a:lnTo>
                    <a:pt x="778" y="536"/>
                  </a:lnTo>
                  <a:lnTo>
                    <a:pt x="776" y="538"/>
                  </a:lnTo>
                  <a:lnTo>
                    <a:pt x="775" y="539"/>
                  </a:lnTo>
                  <a:lnTo>
                    <a:pt x="775" y="539"/>
                  </a:lnTo>
                  <a:lnTo>
                    <a:pt x="775" y="541"/>
                  </a:lnTo>
                  <a:lnTo>
                    <a:pt x="773" y="542"/>
                  </a:lnTo>
                  <a:lnTo>
                    <a:pt x="769" y="542"/>
                  </a:lnTo>
                  <a:lnTo>
                    <a:pt x="767" y="542"/>
                  </a:lnTo>
                  <a:lnTo>
                    <a:pt x="763" y="545"/>
                  </a:lnTo>
                  <a:lnTo>
                    <a:pt x="760" y="547"/>
                  </a:lnTo>
                  <a:lnTo>
                    <a:pt x="758" y="547"/>
                  </a:lnTo>
                  <a:lnTo>
                    <a:pt x="756" y="552"/>
                  </a:lnTo>
                  <a:lnTo>
                    <a:pt x="756" y="552"/>
                  </a:lnTo>
                  <a:lnTo>
                    <a:pt x="756" y="553"/>
                  </a:lnTo>
                  <a:lnTo>
                    <a:pt x="761" y="555"/>
                  </a:lnTo>
                  <a:lnTo>
                    <a:pt x="761" y="555"/>
                  </a:lnTo>
                  <a:lnTo>
                    <a:pt x="760" y="556"/>
                  </a:lnTo>
                  <a:lnTo>
                    <a:pt x="760" y="558"/>
                  </a:lnTo>
                  <a:lnTo>
                    <a:pt x="763" y="559"/>
                  </a:lnTo>
                  <a:lnTo>
                    <a:pt x="776" y="559"/>
                  </a:lnTo>
                  <a:lnTo>
                    <a:pt x="797" y="544"/>
                  </a:lnTo>
                  <a:lnTo>
                    <a:pt x="800" y="541"/>
                  </a:lnTo>
                  <a:lnTo>
                    <a:pt x="801" y="536"/>
                  </a:lnTo>
                  <a:lnTo>
                    <a:pt x="801" y="528"/>
                  </a:lnTo>
                  <a:lnTo>
                    <a:pt x="798" y="525"/>
                  </a:lnTo>
                  <a:lnTo>
                    <a:pt x="795" y="524"/>
                  </a:lnTo>
                  <a:lnTo>
                    <a:pt x="792" y="522"/>
                  </a:lnTo>
                  <a:lnTo>
                    <a:pt x="792" y="521"/>
                  </a:lnTo>
                  <a:lnTo>
                    <a:pt x="793" y="519"/>
                  </a:lnTo>
                  <a:lnTo>
                    <a:pt x="792" y="516"/>
                  </a:lnTo>
                  <a:lnTo>
                    <a:pt x="792" y="515"/>
                  </a:lnTo>
                  <a:lnTo>
                    <a:pt x="792" y="513"/>
                  </a:lnTo>
                  <a:lnTo>
                    <a:pt x="793" y="513"/>
                  </a:lnTo>
                  <a:lnTo>
                    <a:pt x="797" y="515"/>
                  </a:lnTo>
                  <a:lnTo>
                    <a:pt x="798" y="513"/>
                  </a:lnTo>
                  <a:lnTo>
                    <a:pt x="798" y="511"/>
                  </a:lnTo>
                  <a:lnTo>
                    <a:pt x="800" y="507"/>
                  </a:lnTo>
                  <a:lnTo>
                    <a:pt x="800" y="504"/>
                  </a:lnTo>
                  <a:lnTo>
                    <a:pt x="797" y="505"/>
                  </a:lnTo>
                  <a:lnTo>
                    <a:pt x="797" y="504"/>
                  </a:lnTo>
                  <a:lnTo>
                    <a:pt x="797" y="502"/>
                  </a:lnTo>
                  <a:lnTo>
                    <a:pt x="797" y="502"/>
                  </a:lnTo>
                  <a:lnTo>
                    <a:pt x="795" y="502"/>
                  </a:lnTo>
                  <a:lnTo>
                    <a:pt x="795" y="502"/>
                  </a:lnTo>
                  <a:lnTo>
                    <a:pt x="793" y="505"/>
                  </a:lnTo>
                  <a:lnTo>
                    <a:pt x="789" y="510"/>
                  </a:lnTo>
                  <a:lnTo>
                    <a:pt x="792" y="504"/>
                  </a:lnTo>
                  <a:lnTo>
                    <a:pt x="792" y="501"/>
                  </a:lnTo>
                  <a:lnTo>
                    <a:pt x="793" y="493"/>
                  </a:lnTo>
                  <a:lnTo>
                    <a:pt x="792" y="490"/>
                  </a:lnTo>
                  <a:lnTo>
                    <a:pt x="787" y="498"/>
                  </a:lnTo>
                  <a:lnTo>
                    <a:pt x="786" y="496"/>
                  </a:lnTo>
                  <a:lnTo>
                    <a:pt x="786" y="495"/>
                  </a:lnTo>
                  <a:lnTo>
                    <a:pt x="787" y="493"/>
                  </a:lnTo>
                  <a:lnTo>
                    <a:pt x="789" y="491"/>
                  </a:lnTo>
                  <a:lnTo>
                    <a:pt x="787" y="488"/>
                  </a:lnTo>
                  <a:lnTo>
                    <a:pt x="787" y="488"/>
                  </a:lnTo>
                  <a:lnTo>
                    <a:pt x="786" y="488"/>
                  </a:lnTo>
                  <a:lnTo>
                    <a:pt x="786" y="487"/>
                  </a:lnTo>
                  <a:lnTo>
                    <a:pt x="786" y="487"/>
                  </a:lnTo>
                  <a:lnTo>
                    <a:pt x="787" y="485"/>
                  </a:lnTo>
                  <a:lnTo>
                    <a:pt x="786" y="485"/>
                  </a:lnTo>
                  <a:lnTo>
                    <a:pt x="783" y="481"/>
                  </a:lnTo>
                  <a:lnTo>
                    <a:pt x="784" y="479"/>
                  </a:lnTo>
                  <a:lnTo>
                    <a:pt x="784" y="476"/>
                  </a:lnTo>
                  <a:lnTo>
                    <a:pt x="783" y="473"/>
                  </a:lnTo>
                  <a:lnTo>
                    <a:pt x="781" y="470"/>
                  </a:lnTo>
                  <a:lnTo>
                    <a:pt x="781" y="470"/>
                  </a:lnTo>
                  <a:lnTo>
                    <a:pt x="780" y="470"/>
                  </a:lnTo>
                  <a:lnTo>
                    <a:pt x="778" y="471"/>
                  </a:lnTo>
                  <a:lnTo>
                    <a:pt x="772" y="478"/>
                  </a:lnTo>
                  <a:lnTo>
                    <a:pt x="772" y="481"/>
                  </a:lnTo>
                  <a:lnTo>
                    <a:pt x="773" y="484"/>
                  </a:lnTo>
                  <a:lnTo>
                    <a:pt x="773" y="487"/>
                  </a:lnTo>
                  <a:lnTo>
                    <a:pt x="776" y="491"/>
                  </a:lnTo>
                  <a:lnTo>
                    <a:pt x="776" y="495"/>
                  </a:lnTo>
                  <a:lnTo>
                    <a:pt x="776" y="498"/>
                  </a:lnTo>
                  <a:lnTo>
                    <a:pt x="778" y="501"/>
                  </a:lnTo>
                  <a:lnTo>
                    <a:pt x="780" y="502"/>
                  </a:lnTo>
                  <a:lnTo>
                    <a:pt x="783" y="505"/>
                  </a:lnTo>
                  <a:lnTo>
                    <a:pt x="783" y="511"/>
                  </a:lnTo>
                  <a:lnTo>
                    <a:pt x="781" y="508"/>
                  </a:lnTo>
                  <a:lnTo>
                    <a:pt x="778" y="505"/>
                  </a:lnTo>
                  <a:lnTo>
                    <a:pt x="775" y="504"/>
                  </a:lnTo>
                  <a:lnTo>
                    <a:pt x="773" y="510"/>
                  </a:lnTo>
                  <a:lnTo>
                    <a:pt x="773" y="510"/>
                  </a:lnTo>
                  <a:lnTo>
                    <a:pt x="773" y="511"/>
                  </a:lnTo>
                  <a:lnTo>
                    <a:pt x="773" y="513"/>
                  </a:lnTo>
                  <a:lnTo>
                    <a:pt x="773" y="515"/>
                  </a:lnTo>
                  <a:lnTo>
                    <a:pt x="772" y="516"/>
                  </a:lnTo>
                  <a:lnTo>
                    <a:pt x="772" y="515"/>
                  </a:lnTo>
                  <a:lnTo>
                    <a:pt x="770" y="511"/>
                  </a:lnTo>
                  <a:lnTo>
                    <a:pt x="770" y="510"/>
                  </a:lnTo>
                  <a:lnTo>
                    <a:pt x="770" y="507"/>
                  </a:lnTo>
                  <a:lnTo>
                    <a:pt x="770" y="505"/>
                  </a:lnTo>
                  <a:lnTo>
                    <a:pt x="770" y="504"/>
                  </a:lnTo>
                  <a:lnTo>
                    <a:pt x="767" y="501"/>
                  </a:lnTo>
                  <a:lnTo>
                    <a:pt x="767" y="502"/>
                  </a:lnTo>
                  <a:lnTo>
                    <a:pt x="764" y="505"/>
                  </a:lnTo>
                  <a:lnTo>
                    <a:pt x="767" y="511"/>
                  </a:lnTo>
                  <a:lnTo>
                    <a:pt x="767" y="513"/>
                  </a:lnTo>
                  <a:lnTo>
                    <a:pt x="767" y="515"/>
                  </a:lnTo>
                  <a:lnTo>
                    <a:pt x="767" y="516"/>
                  </a:lnTo>
                  <a:lnTo>
                    <a:pt x="767" y="518"/>
                  </a:lnTo>
                  <a:lnTo>
                    <a:pt x="766" y="519"/>
                  </a:lnTo>
                  <a:lnTo>
                    <a:pt x="764" y="522"/>
                  </a:lnTo>
                  <a:lnTo>
                    <a:pt x="764" y="524"/>
                  </a:lnTo>
                  <a:lnTo>
                    <a:pt x="763" y="522"/>
                  </a:lnTo>
                  <a:lnTo>
                    <a:pt x="763" y="521"/>
                  </a:lnTo>
                  <a:lnTo>
                    <a:pt x="763" y="518"/>
                  </a:lnTo>
                  <a:lnTo>
                    <a:pt x="763" y="516"/>
                  </a:lnTo>
                  <a:lnTo>
                    <a:pt x="760" y="515"/>
                  </a:lnTo>
                  <a:lnTo>
                    <a:pt x="756" y="516"/>
                  </a:lnTo>
                  <a:lnTo>
                    <a:pt x="750" y="522"/>
                  </a:lnTo>
                  <a:lnTo>
                    <a:pt x="749" y="524"/>
                  </a:lnTo>
                  <a:lnTo>
                    <a:pt x="747" y="521"/>
                  </a:lnTo>
                  <a:lnTo>
                    <a:pt x="749" y="511"/>
                  </a:lnTo>
                  <a:lnTo>
                    <a:pt x="747" y="511"/>
                  </a:lnTo>
                  <a:lnTo>
                    <a:pt x="747" y="510"/>
                  </a:lnTo>
                  <a:lnTo>
                    <a:pt x="747" y="508"/>
                  </a:lnTo>
                  <a:lnTo>
                    <a:pt x="746" y="507"/>
                  </a:lnTo>
                  <a:lnTo>
                    <a:pt x="744" y="508"/>
                  </a:lnTo>
                  <a:lnTo>
                    <a:pt x="743" y="510"/>
                  </a:lnTo>
                  <a:lnTo>
                    <a:pt x="743" y="513"/>
                  </a:lnTo>
                  <a:lnTo>
                    <a:pt x="743" y="515"/>
                  </a:lnTo>
                  <a:lnTo>
                    <a:pt x="744" y="516"/>
                  </a:lnTo>
                  <a:lnTo>
                    <a:pt x="743" y="518"/>
                  </a:lnTo>
                  <a:lnTo>
                    <a:pt x="743" y="519"/>
                  </a:lnTo>
                  <a:lnTo>
                    <a:pt x="741" y="521"/>
                  </a:lnTo>
                  <a:lnTo>
                    <a:pt x="741" y="525"/>
                  </a:lnTo>
                  <a:lnTo>
                    <a:pt x="741" y="525"/>
                  </a:lnTo>
                  <a:lnTo>
                    <a:pt x="743" y="525"/>
                  </a:lnTo>
                  <a:lnTo>
                    <a:pt x="743" y="527"/>
                  </a:lnTo>
                  <a:lnTo>
                    <a:pt x="743" y="527"/>
                  </a:lnTo>
                  <a:lnTo>
                    <a:pt x="743" y="528"/>
                  </a:lnTo>
                  <a:lnTo>
                    <a:pt x="741" y="527"/>
                  </a:lnTo>
                  <a:lnTo>
                    <a:pt x="740" y="525"/>
                  </a:lnTo>
                  <a:lnTo>
                    <a:pt x="738" y="524"/>
                  </a:lnTo>
                  <a:lnTo>
                    <a:pt x="738" y="521"/>
                  </a:lnTo>
                  <a:lnTo>
                    <a:pt x="738" y="516"/>
                  </a:lnTo>
                  <a:lnTo>
                    <a:pt x="738" y="513"/>
                  </a:lnTo>
                  <a:lnTo>
                    <a:pt x="736" y="513"/>
                  </a:lnTo>
                  <a:lnTo>
                    <a:pt x="733" y="515"/>
                  </a:lnTo>
                  <a:lnTo>
                    <a:pt x="730" y="519"/>
                  </a:lnTo>
                  <a:lnTo>
                    <a:pt x="730" y="524"/>
                  </a:lnTo>
                  <a:lnTo>
                    <a:pt x="735" y="527"/>
                  </a:lnTo>
                  <a:lnTo>
                    <a:pt x="738" y="527"/>
                  </a:lnTo>
                  <a:lnTo>
                    <a:pt x="738" y="527"/>
                  </a:lnTo>
                  <a:lnTo>
                    <a:pt x="732" y="530"/>
                  </a:lnTo>
                  <a:lnTo>
                    <a:pt x="729" y="531"/>
                  </a:lnTo>
                  <a:lnTo>
                    <a:pt x="729" y="535"/>
                  </a:lnTo>
                  <a:lnTo>
                    <a:pt x="726" y="535"/>
                  </a:lnTo>
                  <a:lnTo>
                    <a:pt x="726" y="536"/>
                  </a:lnTo>
                  <a:lnTo>
                    <a:pt x="724" y="538"/>
                  </a:lnTo>
                  <a:lnTo>
                    <a:pt x="726" y="541"/>
                  </a:lnTo>
                  <a:lnTo>
                    <a:pt x="726" y="542"/>
                  </a:lnTo>
                  <a:close/>
                  <a:moveTo>
                    <a:pt x="963" y="454"/>
                  </a:moveTo>
                  <a:lnTo>
                    <a:pt x="963" y="454"/>
                  </a:lnTo>
                  <a:lnTo>
                    <a:pt x="961" y="454"/>
                  </a:lnTo>
                  <a:lnTo>
                    <a:pt x="961" y="454"/>
                  </a:lnTo>
                  <a:lnTo>
                    <a:pt x="954" y="456"/>
                  </a:lnTo>
                  <a:lnTo>
                    <a:pt x="952" y="456"/>
                  </a:lnTo>
                  <a:lnTo>
                    <a:pt x="949" y="459"/>
                  </a:lnTo>
                  <a:lnTo>
                    <a:pt x="947" y="464"/>
                  </a:lnTo>
                  <a:lnTo>
                    <a:pt x="946" y="465"/>
                  </a:lnTo>
                  <a:lnTo>
                    <a:pt x="946" y="468"/>
                  </a:lnTo>
                  <a:lnTo>
                    <a:pt x="946" y="470"/>
                  </a:lnTo>
                  <a:lnTo>
                    <a:pt x="946" y="471"/>
                  </a:lnTo>
                  <a:lnTo>
                    <a:pt x="946" y="473"/>
                  </a:lnTo>
                  <a:lnTo>
                    <a:pt x="946" y="475"/>
                  </a:lnTo>
                  <a:lnTo>
                    <a:pt x="949" y="475"/>
                  </a:lnTo>
                  <a:lnTo>
                    <a:pt x="951" y="475"/>
                  </a:lnTo>
                  <a:lnTo>
                    <a:pt x="952" y="475"/>
                  </a:lnTo>
                  <a:lnTo>
                    <a:pt x="954" y="470"/>
                  </a:lnTo>
                  <a:lnTo>
                    <a:pt x="954" y="467"/>
                  </a:lnTo>
                  <a:lnTo>
                    <a:pt x="955" y="465"/>
                  </a:lnTo>
                  <a:lnTo>
                    <a:pt x="958" y="465"/>
                  </a:lnTo>
                  <a:lnTo>
                    <a:pt x="960" y="464"/>
                  </a:lnTo>
                  <a:lnTo>
                    <a:pt x="960" y="462"/>
                  </a:lnTo>
                  <a:lnTo>
                    <a:pt x="961" y="461"/>
                  </a:lnTo>
                  <a:lnTo>
                    <a:pt x="961" y="459"/>
                  </a:lnTo>
                  <a:lnTo>
                    <a:pt x="961" y="458"/>
                  </a:lnTo>
                  <a:lnTo>
                    <a:pt x="961" y="456"/>
                  </a:lnTo>
                  <a:lnTo>
                    <a:pt x="963" y="454"/>
                  </a:lnTo>
                  <a:close/>
                  <a:moveTo>
                    <a:pt x="803" y="491"/>
                  </a:moveTo>
                  <a:lnTo>
                    <a:pt x="804" y="498"/>
                  </a:lnTo>
                  <a:lnTo>
                    <a:pt x="806" y="498"/>
                  </a:lnTo>
                  <a:lnTo>
                    <a:pt x="809" y="495"/>
                  </a:lnTo>
                  <a:lnTo>
                    <a:pt x="810" y="491"/>
                  </a:lnTo>
                  <a:lnTo>
                    <a:pt x="813" y="484"/>
                  </a:lnTo>
                  <a:lnTo>
                    <a:pt x="813" y="481"/>
                  </a:lnTo>
                  <a:lnTo>
                    <a:pt x="813" y="478"/>
                  </a:lnTo>
                  <a:lnTo>
                    <a:pt x="813" y="475"/>
                  </a:lnTo>
                  <a:lnTo>
                    <a:pt x="812" y="473"/>
                  </a:lnTo>
                  <a:lnTo>
                    <a:pt x="810" y="471"/>
                  </a:lnTo>
                  <a:lnTo>
                    <a:pt x="812" y="470"/>
                  </a:lnTo>
                  <a:lnTo>
                    <a:pt x="813" y="470"/>
                  </a:lnTo>
                  <a:lnTo>
                    <a:pt x="817" y="475"/>
                  </a:lnTo>
                  <a:lnTo>
                    <a:pt x="818" y="476"/>
                  </a:lnTo>
                  <a:lnTo>
                    <a:pt x="827" y="471"/>
                  </a:lnTo>
                  <a:lnTo>
                    <a:pt x="832" y="468"/>
                  </a:lnTo>
                  <a:lnTo>
                    <a:pt x="835" y="467"/>
                  </a:lnTo>
                  <a:lnTo>
                    <a:pt x="835" y="465"/>
                  </a:lnTo>
                  <a:lnTo>
                    <a:pt x="837" y="464"/>
                  </a:lnTo>
                  <a:lnTo>
                    <a:pt x="837" y="462"/>
                  </a:lnTo>
                  <a:lnTo>
                    <a:pt x="837" y="461"/>
                  </a:lnTo>
                  <a:lnTo>
                    <a:pt x="837" y="461"/>
                  </a:lnTo>
                  <a:lnTo>
                    <a:pt x="838" y="459"/>
                  </a:lnTo>
                  <a:lnTo>
                    <a:pt x="840" y="458"/>
                  </a:lnTo>
                  <a:lnTo>
                    <a:pt x="840" y="458"/>
                  </a:lnTo>
                  <a:lnTo>
                    <a:pt x="841" y="453"/>
                  </a:lnTo>
                  <a:lnTo>
                    <a:pt x="841" y="451"/>
                  </a:lnTo>
                  <a:lnTo>
                    <a:pt x="843" y="451"/>
                  </a:lnTo>
                  <a:lnTo>
                    <a:pt x="844" y="450"/>
                  </a:lnTo>
                  <a:lnTo>
                    <a:pt x="847" y="445"/>
                  </a:lnTo>
                  <a:lnTo>
                    <a:pt x="850" y="442"/>
                  </a:lnTo>
                  <a:lnTo>
                    <a:pt x="852" y="441"/>
                  </a:lnTo>
                  <a:lnTo>
                    <a:pt x="852" y="438"/>
                  </a:lnTo>
                  <a:lnTo>
                    <a:pt x="853" y="428"/>
                  </a:lnTo>
                  <a:lnTo>
                    <a:pt x="855" y="425"/>
                  </a:lnTo>
                  <a:lnTo>
                    <a:pt x="855" y="421"/>
                  </a:lnTo>
                  <a:lnTo>
                    <a:pt x="857" y="418"/>
                  </a:lnTo>
                  <a:lnTo>
                    <a:pt x="857" y="413"/>
                  </a:lnTo>
                  <a:lnTo>
                    <a:pt x="855" y="408"/>
                  </a:lnTo>
                  <a:lnTo>
                    <a:pt x="853" y="407"/>
                  </a:lnTo>
                  <a:lnTo>
                    <a:pt x="844" y="413"/>
                  </a:lnTo>
                  <a:lnTo>
                    <a:pt x="841" y="418"/>
                  </a:lnTo>
                  <a:lnTo>
                    <a:pt x="840" y="419"/>
                  </a:lnTo>
                  <a:lnTo>
                    <a:pt x="837" y="421"/>
                  </a:lnTo>
                  <a:lnTo>
                    <a:pt x="835" y="421"/>
                  </a:lnTo>
                  <a:lnTo>
                    <a:pt x="837" y="422"/>
                  </a:lnTo>
                  <a:lnTo>
                    <a:pt x="837" y="424"/>
                  </a:lnTo>
                  <a:lnTo>
                    <a:pt x="837" y="425"/>
                  </a:lnTo>
                  <a:lnTo>
                    <a:pt x="833" y="427"/>
                  </a:lnTo>
                  <a:lnTo>
                    <a:pt x="830" y="439"/>
                  </a:lnTo>
                  <a:lnTo>
                    <a:pt x="827" y="442"/>
                  </a:lnTo>
                  <a:lnTo>
                    <a:pt x="821" y="444"/>
                  </a:lnTo>
                  <a:lnTo>
                    <a:pt x="817" y="447"/>
                  </a:lnTo>
                  <a:lnTo>
                    <a:pt x="813" y="451"/>
                  </a:lnTo>
                  <a:lnTo>
                    <a:pt x="812" y="456"/>
                  </a:lnTo>
                  <a:lnTo>
                    <a:pt x="810" y="462"/>
                  </a:lnTo>
                  <a:lnTo>
                    <a:pt x="806" y="470"/>
                  </a:lnTo>
                  <a:lnTo>
                    <a:pt x="806" y="473"/>
                  </a:lnTo>
                  <a:lnTo>
                    <a:pt x="804" y="478"/>
                  </a:lnTo>
                  <a:lnTo>
                    <a:pt x="803" y="481"/>
                  </a:lnTo>
                  <a:lnTo>
                    <a:pt x="803" y="484"/>
                  </a:lnTo>
                  <a:lnTo>
                    <a:pt x="803" y="487"/>
                  </a:lnTo>
                  <a:lnTo>
                    <a:pt x="803" y="488"/>
                  </a:lnTo>
                  <a:lnTo>
                    <a:pt x="803" y="491"/>
                  </a:lnTo>
                  <a:close/>
                  <a:moveTo>
                    <a:pt x="906" y="459"/>
                  </a:moveTo>
                  <a:lnTo>
                    <a:pt x="907" y="462"/>
                  </a:lnTo>
                  <a:lnTo>
                    <a:pt x="929" y="456"/>
                  </a:lnTo>
                  <a:lnTo>
                    <a:pt x="930" y="458"/>
                  </a:lnTo>
                  <a:lnTo>
                    <a:pt x="929" y="459"/>
                  </a:lnTo>
                  <a:lnTo>
                    <a:pt x="927" y="459"/>
                  </a:lnTo>
                  <a:lnTo>
                    <a:pt x="927" y="461"/>
                  </a:lnTo>
                  <a:lnTo>
                    <a:pt x="926" y="462"/>
                  </a:lnTo>
                  <a:lnTo>
                    <a:pt x="927" y="462"/>
                  </a:lnTo>
                  <a:lnTo>
                    <a:pt x="927" y="464"/>
                  </a:lnTo>
                  <a:lnTo>
                    <a:pt x="926" y="464"/>
                  </a:lnTo>
                  <a:lnTo>
                    <a:pt x="924" y="465"/>
                  </a:lnTo>
                  <a:lnTo>
                    <a:pt x="923" y="467"/>
                  </a:lnTo>
                  <a:lnTo>
                    <a:pt x="923" y="470"/>
                  </a:lnTo>
                  <a:lnTo>
                    <a:pt x="926" y="471"/>
                  </a:lnTo>
                  <a:lnTo>
                    <a:pt x="930" y="470"/>
                  </a:lnTo>
                  <a:lnTo>
                    <a:pt x="934" y="468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4" y="464"/>
                  </a:lnTo>
                  <a:lnTo>
                    <a:pt x="932" y="462"/>
                  </a:lnTo>
                  <a:lnTo>
                    <a:pt x="934" y="456"/>
                  </a:lnTo>
                  <a:lnTo>
                    <a:pt x="938" y="451"/>
                  </a:lnTo>
                  <a:lnTo>
                    <a:pt x="949" y="441"/>
                  </a:lnTo>
                  <a:lnTo>
                    <a:pt x="952" y="436"/>
                  </a:lnTo>
                  <a:lnTo>
                    <a:pt x="954" y="433"/>
                  </a:lnTo>
                  <a:lnTo>
                    <a:pt x="955" y="431"/>
                  </a:lnTo>
                  <a:lnTo>
                    <a:pt x="957" y="431"/>
                  </a:lnTo>
                  <a:lnTo>
                    <a:pt x="960" y="431"/>
                  </a:lnTo>
                  <a:lnTo>
                    <a:pt x="958" y="436"/>
                  </a:lnTo>
                  <a:lnTo>
                    <a:pt x="957" y="438"/>
                  </a:lnTo>
                  <a:lnTo>
                    <a:pt x="957" y="441"/>
                  </a:lnTo>
                  <a:lnTo>
                    <a:pt x="958" y="441"/>
                  </a:lnTo>
                  <a:lnTo>
                    <a:pt x="966" y="441"/>
                  </a:lnTo>
                  <a:lnTo>
                    <a:pt x="974" y="438"/>
                  </a:lnTo>
                  <a:lnTo>
                    <a:pt x="981" y="438"/>
                  </a:lnTo>
                  <a:lnTo>
                    <a:pt x="992" y="436"/>
                  </a:lnTo>
                  <a:lnTo>
                    <a:pt x="994" y="434"/>
                  </a:lnTo>
                  <a:lnTo>
                    <a:pt x="995" y="431"/>
                  </a:lnTo>
                  <a:lnTo>
                    <a:pt x="994" y="431"/>
                  </a:lnTo>
                  <a:lnTo>
                    <a:pt x="992" y="431"/>
                  </a:lnTo>
                  <a:lnTo>
                    <a:pt x="991" y="430"/>
                  </a:lnTo>
                  <a:lnTo>
                    <a:pt x="991" y="427"/>
                  </a:lnTo>
                  <a:lnTo>
                    <a:pt x="989" y="425"/>
                  </a:lnTo>
                  <a:lnTo>
                    <a:pt x="989" y="424"/>
                  </a:lnTo>
                  <a:lnTo>
                    <a:pt x="986" y="422"/>
                  </a:lnTo>
                  <a:lnTo>
                    <a:pt x="986" y="421"/>
                  </a:lnTo>
                  <a:lnTo>
                    <a:pt x="989" y="422"/>
                  </a:lnTo>
                  <a:lnTo>
                    <a:pt x="991" y="421"/>
                  </a:lnTo>
                  <a:lnTo>
                    <a:pt x="992" y="418"/>
                  </a:lnTo>
                  <a:lnTo>
                    <a:pt x="992" y="418"/>
                  </a:lnTo>
                  <a:lnTo>
                    <a:pt x="991" y="414"/>
                  </a:lnTo>
                  <a:lnTo>
                    <a:pt x="989" y="414"/>
                  </a:lnTo>
                  <a:lnTo>
                    <a:pt x="989" y="411"/>
                  </a:lnTo>
                  <a:lnTo>
                    <a:pt x="989" y="410"/>
                  </a:lnTo>
                  <a:lnTo>
                    <a:pt x="989" y="408"/>
                  </a:lnTo>
                  <a:lnTo>
                    <a:pt x="987" y="407"/>
                  </a:lnTo>
                  <a:lnTo>
                    <a:pt x="989" y="404"/>
                  </a:lnTo>
                  <a:lnTo>
                    <a:pt x="992" y="401"/>
                  </a:lnTo>
                  <a:lnTo>
                    <a:pt x="995" y="399"/>
                  </a:lnTo>
                  <a:lnTo>
                    <a:pt x="1000" y="401"/>
                  </a:lnTo>
                  <a:lnTo>
                    <a:pt x="1001" y="399"/>
                  </a:lnTo>
                  <a:lnTo>
                    <a:pt x="1001" y="398"/>
                  </a:lnTo>
                  <a:lnTo>
                    <a:pt x="1001" y="396"/>
                  </a:lnTo>
                  <a:lnTo>
                    <a:pt x="1001" y="394"/>
                  </a:lnTo>
                  <a:lnTo>
                    <a:pt x="1001" y="393"/>
                  </a:lnTo>
                  <a:lnTo>
                    <a:pt x="1001" y="391"/>
                  </a:lnTo>
                  <a:lnTo>
                    <a:pt x="1000" y="384"/>
                  </a:lnTo>
                  <a:lnTo>
                    <a:pt x="1000" y="381"/>
                  </a:lnTo>
                  <a:lnTo>
                    <a:pt x="998" y="381"/>
                  </a:lnTo>
                  <a:lnTo>
                    <a:pt x="997" y="381"/>
                  </a:lnTo>
                  <a:lnTo>
                    <a:pt x="995" y="382"/>
                  </a:lnTo>
                  <a:lnTo>
                    <a:pt x="995" y="385"/>
                  </a:lnTo>
                  <a:lnTo>
                    <a:pt x="995" y="387"/>
                  </a:lnTo>
                  <a:lnTo>
                    <a:pt x="994" y="387"/>
                  </a:lnTo>
                  <a:lnTo>
                    <a:pt x="991" y="384"/>
                  </a:lnTo>
                  <a:lnTo>
                    <a:pt x="994" y="379"/>
                  </a:lnTo>
                  <a:lnTo>
                    <a:pt x="994" y="376"/>
                  </a:lnTo>
                  <a:lnTo>
                    <a:pt x="994" y="371"/>
                  </a:lnTo>
                  <a:lnTo>
                    <a:pt x="997" y="371"/>
                  </a:lnTo>
                  <a:lnTo>
                    <a:pt x="998" y="371"/>
                  </a:lnTo>
                  <a:lnTo>
                    <a:pt x="998" y="368"/>
                  </a:lnTo>
                  <a:lnTo>
                    <a:pt x="992" y="364"/>
                  </a:lnTo>
                  <a:lnTo>
                    <a:pt x="991" y="364"/>
                  </a:lnTo>
                  <a:lnTo>
                    <a:pt x="991" y="364"/>
                  </a:lnTo>
                  <a:lnTo>
                    <a:pt x="989" y="367"/>
                  </a:lnTo>
                  <a:lnTo>
                    <a:pt x="986" y="368"/>
                  </a:lnTo>
                  <a:lnTo>
                    <a:pt x="986" y="370"/>
                  </a:lnTo>
                  <a:lnTo>
                    <a:pt x="986" y="374"/>
                  </a:lnTo>
                  <a:lnTo>
                    <a:pt x="984" y="378"/>
                  </a:lnTo>
                  <a:lnTo>
                    <a:pt x="983" y="379"/>
                  </a:lnTo>
                  <a:lnTo>
                    <a:pt x="983" y="379"/>
                  </a:lnTo>
                  <a:lnTo>
                    <a:pt x="981" y="378"/>
                  </a:lnTo>
                  <a:lnTo>
                    <a:pt x="981" y="376"/>
                  </a:lnTo>
                  <a:lnTo>
                    <a:pt x="983" y="371"/>
                  </a:lnTo>
                  <a:lnTo>
                    <a:pt x="983" y="370"/>
                  </a:lnTo>
                  <a:lnTo>
                    <a:pt x="983" y="368"/>
                  </a:lnTo>
                  <a:lnTo>
                    <a:pt x="983" y="368"/>
                  </a:lnTo>
                  <a:lnTo>
                    <a:pt x="984" y="367"/>
                  </a:lnTo>
                  <a:lnTo>
                    <a:pt x="984" y="365"/>
                  </a:lnTo>
                  <a:lnTo>
                    <a:pt x="986" y="362"/>
                  </a:lnTo>
                  <a:lnTo>
                    <a:pt x="987" y="361"/>
                  </a:lnTo>
                  <a:lnTo>
                    <a:pt x="986" y="353"/>
                  </a:lnTo>
                  <a:lnTo>
                    <a:pt x="984" y="350"/>
                  </a:lnTo>
                  <a:lnTo>
                    <a:pt x="983" y="348"/>
                  </a:lnTo>
                  <a:lnTo>
                    <a:pt x="981" y="350"/>
                  </a:lnTo>
                  <a:lnTo>
                    <a:pt x="980" y="351"/>
                  </a:lnTo>
                  <a:lnTo>
                    <a:pt x="978" y="357"/>
                  </a:lnTo>
                  <a:lnTo>
                    <a:pt x="977" y="359"/>
                  </a:lnTo>
                  <a:lnTo>
                    <a:pt x="975" y="357"/>
                  </a:lnTo>
                  <a:lnTo>
                    <a:pt x="974" y="350"/>
                  </a:lnTo>
                  <a:lnTo>
                    <a:pt x="972" y="348"/>
                  </a:lnTo>
                  <a:lnTo>
                    <a:pt x="972" y="347"/>
                  </a:lnTo>
                  <a:lnTo>
                    <a:pt x="971" y="347"/>
                  </a:lnTo>
                  <a:lnTo>
                    <a:pt x="969" y="347"/>
                  </a:lnTo>
                  <a:lnTo>
                    <a:pt x="969" y="348"/>
                  </a:lnTo>
                  <a:lnTo>
                    <a:pt x="969" y="348"/>
                  </a:lnTo>
                  <a:lnTo>
                    <a:pt x="969" y="350"/>
                  </a:lnTo>
                  <a:lnTo>
                    <a:pt x="969" y="351"/>
                  </a:lnTo>
                  <a:lnTo>
                    <a:pt x="969" y="353"/>
                  </a:lnTo>
                  <a:lnTo>
                    <a:pt x="969" y="357"/>
                  </a:lnTo>
                  <a:lnTo>
                    <a:pt x="971" y="359"/>
                  </a:lnTo>
                  <a:lnTo>
                    <a:pt x="971" y="361"/>
                  </a:lnTo>
                  <a:lnTo>
                    <a:pt x="972" y="362"/>
                  </a:lnTo>
                  <a:lnTo>
                    <a:pt x="972" y="364"/>
                  </a:lnTo>
                  <a:lnTo>
                    <a:pt x="971" y="367"/>
                  </a:lnTo>
                  <a:lnTo>
                    <a:pt x="969" y="367"/>
                  </a:lnTo>
                  <a:lnTo>
                    <a:pt x="967" y="365"/>
                  </a:lnTo>
                  <a:lnTo>
                    <a:pt x="966" y="365"/>
                  </a:lnTo>
                  <a:lnTo>
                    <a:pt x="961" y="353"/>
                  </a:lnTo>
                  <a:lnTo>
                    <a:pt x="958" y="347"/>
                  </a:lnTo>
                  <a:lnTo>
                    <a:pt x="955" y="347"/>
                  </a:lnTo>
                  <a:lnTo>
                    <a:pt x="955" y="348"/>
                  </a:lnTo>
                  <a:lnTo>
                    <a:pt x="955" y="350"/>
                  </a:lnTo>
                  <a:lnTo>
                    <a:pt x="955" y="351"/>
                  </a:lnTo>
                  <a:lnTo>
                    <a:pt x="955" y="353"/>
                  </a:lnTo>
                  <a:lnTo>
                    <a:pt x="955" y="356"/>
                  </a:lnTo>
                  <a:lnTo>
                    <a:pt x="955" y="357"/>
                  </a:lnTo>
                  <a:lnTo>
                    <a:pt x="957" y="359"/>
                  </a:lnTo>
                  <a:lnTo>
                    <a:pt x="963" y="364"/>
                  </a:lnTo>
                  <a:lnTo>
                    <a:pt x="963" y="364"/>
                  </a:lnTo>
                  <a:lnTo>
                    <a:pt x="964" y="368"/>
                  </a:lnTo>
                  <a:lnTo>
                    <a:pt x="964" y="370"/>
                  </a:lnTo>
                  <a:lnTo>
                    <a:pt x="964" y="371"/>
                  </a:lnTo>
                  <a:lnTo>
                    <a:pt x="966" y="373"/>
                  </a:lnTo>
                  <a:lnTo>
                    <a:pt x="969" y="374"/>
                  </a:lnTo>
                  <a:lnTo>
                    <a:pt x="969" y="376"/>
                  </a:lnTo>
                  <a:lnTo>
                    <a:pt x="964" y="376"/>
                  </a:lnTo>
                  <a:lnTo>
                    <a:pt x="964" y="374"/>
                  </a:lnTo>
                  <a:lnTo>
                    <a:pt x="960" y="370"/>
                  </a:lnTo>
                  <a:lnTo>
                    <a:pt x="958" y="370"/>
                  </a:lnTo>
                  <a:lnTo>
                    <a:pt x="957" y="368"/>
                  </a:lnTo>
                  <a:lnTo>
                    <a:pt x="955" y="368"/>
                  </a:lnTo>
                  <a:lnTo>
                    <a:pt x="955" y="365"/>
                  </a:lnTo>
                  <a:lnTo>
                    <a:pt x="954" y="365"/>
                  </a:lnTo>
                  <a:lnTo>
                    <a:pt x="952" y="364"/>
                  </a:lnTo>
                  <a:lnTo>
                    <a:pt x="951" y="364"/>
                  </a:lnTo>
                  <a:lnTo>
                    <a:pt x="947" y="361"/>
                  </a:lnTo>
                  <a:lnTo>
                    <a:pt x="946" y="361"/>
                  </a:lnTo>
                  <a:lnTo>
                    <a:pt x="944" y="361"/>
                  </a:lnTo>
                  <a:lnTo>
                    <a:pt x="943" y="364"/>
                  </a:lnTo>
                  <a:lnTo>
                    <a:pt x="944" y="364"/>
                  </a:lnTo>
                  <a:lnTo>
                    <a:pt x="947" y="370"/>
                  </a:lnTo>
                  <a:lnTo>
                    <a:pt x="949" y="371"/>
                  </a:lnTo>
                  <a:lnTo>
                    <a:pt x="947" y="373"/>
                  </a:lnTo>
                  <a:lnTo>
                    <a:pt x="943" y="371"/>
                  </a:lnTo>
                  <a:lnTo>
                    <a:pt x="943" y="373"/>
                  </a:lnTo>
                  <a:lnTo>
                    <a:pt x="944" y="376"/>
                  </a:lnTo>
                  <a:lnTo>
                    <a:pt x="943" y="376"/>
                  </a:lnTo>
                  <a:lnTo>
                    <a:pt x="941" y="374"/>
                  </a:lnTo>
                  <a:lnTo>
                    <a:pt x="940" y="373"/>
                  </a:lnTo>
                  <a:lnTo>
                    <a:pt x="938" y="368"/>
                  </a:lnTo>
                  <a:lnTo>
                    <a:pt x="937" y="368"/>
                  </a:lnTo>
                  <a:lnTo>
                    <a:pt x="934" y="367"/>
                  </a:lnTo>
                  <a:lnTo>
                    <a:pt x="938" y="378"/>
                  </a:lnTo>
                  <a:lnTo>
                    <a:pt x="944" y="381"/>
                  </a:lnTo>
                  <a:lnTo>
                    <a:pt x="957" y="384"/>
                  </a:lnTo>
                  <a:lnTo>
                    <a:pt x="954" y="387"/>
                  </a:lnTo>
                  <a:lnTo>
                    <a:pt x="941" y="387"/>
                  </a:lnTo>
                  <a:lnTo>
                    <a:pt x="943" y="387"/>
                  </a:lnTo>
                  <a:lnTo>
                    <a:pt x="944" y="391"/>
                  </a:lnTo>
                  <a:lnTo>
                    <a:pt x="947" y="391"/>
                  </a:lnTo>
                  <a:lnTo>
                    <a:pt x="949" y="393"/>
                  </a:lnTo>
                  <a:lnTo>
                    <a:pt x="951" y="396"/>
                  </a:lnTo>
                  <a:lnTo>
                    <a:pt x="947" y="396"/>
                  </a:lnTo>
                  <a:lnTo>
                    <a:pt x="941" y="391"/>
                  </a:lnTo>
                  <a:lnTo>
                    <a:pt x="930" y="390"/>
                  </a:lnTo>
                  <a:lnTo>
                    <a:pt x="929" y="390"/>
                  </a:lnTo>
                  <a:lnTo>
                    <a:pt x="927" y="391"/>
                  </a:lnTo>
                  <a:lnTo>
                    <a:pt x="926" y="393"/>
                  </a:lnTo>
                  <a:lnTo>
                    <a:pt x="924" y="391"/>
                  </a:lnTo>
                  <a:lnTo>
                    <a:pt x="923" y="390"/>
                  </a:lnTo>
                  <a:lnTo>
                    <a:pt x="921" y="390"/>
                  </a:lnTo>
                  <a:lnTo>
                    <a:pt x="921" y="390"/>
                  </a:lnTo>
                  <a:lnTo>
                    <a:pt x="921" y="391"/>
                  </a:lnTo>
                  <a:lnTo>
                    <a:pt x="920" y="393"/>
                  </a:lnTo>
                  <a:lnTo>
                    <a:pt x="920" y="391"/>
                  </a:lnTo>
                  <a:lnTo>
                    <a:pt x="918" y="391"/>
                  </a:lnTo>
                  <a:lnTo>
                    <a:pt x="917" y="390"/>
                  </a:lnTo>
                  <a:lnTo>
                    <a:pt x="915" y="390"/>
                  </a:lnTo>
                  <a:lnTo>
                    <a:pt x="915" y="391"/>
                  </a:lnTo>
                  <a:lnTo>
                    <a:pt x="915" y="393"/>
                  </a:lnTo>
                  <a:lnTo>
                    <a:pt x="915" y="393"/>
                  </a:lnTo>
                  <a:lnTo>
                    <a:pt x="914" y="396"/>
                  </a:lnTo>
                  <a:lnTo>
                    <a:pt x="912" y="396"/>
                  </a:lnTo>
                  <a:lnTo>
                    <a:pt x="910" y="396"/>
                  </a:lnTo>
                  <a:lnTo>
                    <a:pt x="910" y="398"/>
                  </a:lnTo>
                  <a:lnTo>
                    <a:pt x="918" y="399"/>
                  </a:lnTo>
                  <a:lnTo>
                    <a:pt x="924" y="398"/>
                  </a:lnTo>
                  <a:lnTo>
                    <a:pt x="926" y="398"/>
                  </a:lnTo>
                  <a:lnTo>
                    <a:pt x="929" y="399"/>
                  </a:lnTo>
                  <a:lnTo>
                    <a:pt x="926" y="399"/>
                  </a:lnTo>
                  <a:lnTo>
                    <a:pt x="924" y="401"/>
                  </a:lnTo>
                  <a:lnTo>
                    <a:pt x="923" y="401"/>
                  </a:lnTo>
                  <a:lnTo>
                    <a:pt x="924" y="404"/>
                  </a:lnTo>
                  <a:lnTo>
                    <a:pt x="926" y="404"/>
                  </a:lnTo>
                  <a:lnTo>
                    <a:pt x="929" y="404"/>
                  </a:lnTo>
                  <a:lnTo>
                    <a:pt x="927" y="405"/>
                  </a:lnTo>
                  <a:lnTo>
                    <a:pt x="929" y="407"/>
                  </a:lnTo>
                  <a:lnTo>
                    <a:pt x="930" y="408"/>
                  </a:lnTo>
                  <a:lnTo>
                    <a:pt x="914" y="407"/>
                  </a:lnTo>
                  <a:lnTo>
                    <a:pt x="912" y="408"/>
                  </a:lnTo>
                  <a:lnTo>
                    <a:pt x="914" y="411"/>
                  </a:lnTo>
                  <a:lnTo>
                    <a:pt x="915" y="411"/>
                  </a:lnTo>
                  <a:lnTo>
                    <a:pt x="921" y="411"/>
                  </a:lnTo>
                  <a:lnTo>
                    <a:pt x="920" y="413"/>
                  </a:lnTo>
                  <a:lnTo>
                    <a:pt x="920" y="413"/>
                  </a:lnTo>
                  <a:lnTo>
                    <a:pt x="918" y="414"/>
                  </a:lnTo>
                  <a:lnTo>
                    <a:pt x="918" y="416"/>
                  </a:lnTo>
                  <a:lnTo>
                    <a:pt x="923" y="418"/>
                  </a:lnTo>
                  <a:lnTo>
                    <a:pt x="926" y="418"/>
                  </a:lnTo>
                  <a:lnTo>
                    <a:pt x="926" y="414"/>
                  </a:lnTo>
                  <a:lnTo>
                    <a:pt x="927" y="413"/>
                  </a:lnTo>
                  <a:lnTo>
                    <a:pt x="927" y="414"/>
                  </a:lnTo>
                  <a:lnTo>
                    <a:pt x="929" y="418"/>
                  </a:lnTo>
                  <a:lnTo>
                    <a:pt x="929" y="418"/>
                  </a:lnTo>
                  <a:lnTo>
                    <a:pt x="929" y="419"/>
                  </a:lnTo>
                  <a:lnTo>
                    <a:pt x="929" y="419"/>
                  </a:lnTo>
                  <a:lnTo>
                    <a:pt x="929" y="421"/>
                  </a:lnTo>
                  <a:lnTo>
                    <a:pt x="929" y="421"/>
                  </a:lnTo>
                  <a:lnTo>
                    <a:pt x="929" y="421"/>
                  </a:lnTo>
                  <a:lnTo>
                    <a:pt x="930" y="419"/>
                  </a:lnTo>
                  <a:lnTo>
                    <a:pt x="927" y="425"/>
                  </a:lnTo>
                  <a:lnTo>
                    <a:pt x="917" y="424"/>
                  </a:lnTo>
                  <a:lnTo>
                    <a:pt x="910" y="427"/>
                  </a:lnTo>
                  <a:lnTo>
                    <a:pt x="912" y="427"/>
                  </a:lnTo>
                  <a:lnTo>
                    <a:pt x="912" y="427"/>
                  </a:lnTo>
                  <a:lnTo>
                    <a:pt x="914" y="428"/>
                  </a:lnTo>
                  <a:lnTo>
                    <a:pt x="914" y="430"/>
                  </a:lnTo>
                  <a:lnTo>
                    <a:pt x="914" y="430"/>
                  </a:lnTo>
                  <a:lnTo>
                    <a:pt x="914" y="431"/>
                  </a:lnTo>
                  <a:lnTo>
                    <a:pt x="912" y="431"/>
                  </a:lnTo>
                  <a:lnTo>
                    <a:pt x="912" y="433"/>
                  </a:lnTo>
                  <a:lnTo>
                    <a:pt x="918" y="433"/>
                  </a:lnTo>
                  <a:lnTo>
                    <a:pt x="924" y="436"/>
                  </a:lnTo>
                  <a:lnTo>
                    <a:pt x="926" y="434"/>
                  </a:lnTo>
                  <a:lnTo>
                    <a:pt x="934" y="431"/>
                  </a:lnTo>
                  <a:lnTo>
                    <a:pt x="930" y="434"/>
                  </a:lnTo>
                  <a:lnTo>
                    <a:pt x="924" y="439"/>
                  </a:lnTo>
                  <a:lnTo>
                    <a:pt x="924" y="441"/>
                  </a:lnTo>
                  <a:lnTo>
                    <a:pt x="924" y="441"/>
                  </a:lnTo>
                  <a:lnTo>
                    <a:pt x="924" y="442"/>
                  </a:lnTo>
                  <a:lnTo>
                    <a:pt x="926" y="442"/>
                  </a:lnTo>
                  <a:lnTo>
                    <a:pt x="924" y="445"/>
                  </a:lnTo>
                  <a:lnTo>
                    <a:pt x="923" y="445"/>
                  </a:lnTo>
                  <a:lnTo>
                    <a:pt x="920" y="444"/>
                  </a:lnTo>
                  <a:lnTo>
                    <a:pt x="912" y="447"/>
                  </a:lnTo>
                  <a:lnTo>
                    <a:pt x="912" y="451"/>
                  </a:lnTo>
                  <a:lnTo>
                    <a:pt x="910" y="451"/>
                  </a:lnTo>
                  <a:lnTo>
                    <a:pt x="906" y="448"/>
                  </a:lnTo>
                  <a:lnTo>
                    <a:pt x="904" y="450"/>
                  </a:lnTo>
                  <a:lnTo>
                    <a:pt x="903" y="454"/>
                  </a:lnTo>
                  <a:lnTo>
                    <a:pt x="904" y="459"/>
                  </a:lnTo>
                  <a:lnTo>
                    <a:pt x="906" y="459"/>
                  </a:lnTo>
                  <a:close/>
                  <a:moveTo>
                    <a:pt x="998" y="353"/>
                  </a:moveTo>
                  <a:lnTo>
                    <a:pt x="1003" y="353"/>
                  </a:lnTo>
                  <a:lnTo>
                    <a:pt x="1004" y="354"/>
                  </a:lnTo>
                  <a:lnTo>
                    <a:pt x="1008" y="359"/>
                  </a:lnTo>
                  <a:lnTo>
                    <a:pt x="1009" y="362"/>
                  </a:lnTo>
                  <a:lnTo>
                    <a:pt x="1014" y="362"/>
                  </a:lnTo>
                  <a:lnTo>
                    <a:pt x="1031" y="356"/>
                  </a:lnTo>
                  <a:lnTo>
                    <a:pt x="1037" y="356"/>
                  </a:lnTo>
                  <a:lnTo>
                    <a:pt x="1038" y="354"/>
                  </a:lnTo>
                  <a:lnTo>
                    <a:pt x="1040" y="353"/>
                  </a:lnTo>
                  <a:lnTo>
                    <a:pt x="1041" y="351"/>
                  </a:lnTo>
                  <a:lnTo>
                    <a:pt x="1049" y="354"/>
                  </a:lnTo>
                  <a:lnTo>
                    <a:pt x="1052" y="353"/>
                  </a:lnTo>
                  <a:lnTo>
                    <a:pt x="1055" y="348"/>
                  </a:lnTo>
                  <a:lnTo>
                    <a:pt x="1057" y="345"/>
                  </a:lnTo>
                  <a:lnTo>
                    <a:pt x="1057" y="342"/>
                  </a:lnTo>
                  <a:lnTo>
                    <a:pt x="1055" y="341"/>
                  </a:lnTo>
                  <a:lnTo>
                    <a:pt x="1054" y="341"/>
                  </a:lnTo>
                  <a:lnTo>
                    <a:pt x="1052" y="339"/>
                  </a:lnTo>
                  <a:lnTo>
                    <a:pt x="1052" y="337"/>
                  </a:lnTo>
                  <a:lnTo>
                    <a:pt x="1052" y="334"/>
                  </a:lnTo>
                  <a:lnTo>
                    <a:pt x="1054" y="333"/>
                  </a:lnTo>
                  <a:lnTo>
                    <a:pt x="1054" y="331"/>
                  </a:lnTo>
                  <a:lnTo>
                    <a:pt x="1055" y="330"/>
                  </a:lnTo>
                  <a:lnTo>
                    <a:pt x="1057" y="328"/>
                  </a:lnTo>
                  <a:lnTo>
                    <a:pt x="1060" y="327"/>
                  </a:lnTo>
                  <a:lnTo>
                    <a:pt x="1063" y="325"/>
                  </a:lnTo>
                  <a:lnTo>
                    <a:pt x="1068" y="319"/>
                  </a:lnTo>
                  <a:lnTo>
                    <a:pt x="1072" y="316"/>
                  </a:lnTo>
                  <a:lnTo>
                    <a:pt x="1074" y="311"/>
                  </a:lnTo>
                  <a:lnTo>
                    <a:pt x="1074" y="307"/>
                  </a:lnTo>
                  <a:lnTo>
                    <a:pt x="1072" y="304"/>
                  </a:lnTo>
                  <a:lnTo>
                    <a:pt x="1071" y="301"/>
                  </a:lnTo>
                  <a:lnTo>
                    <a:pt x="1069" y="297"/>
                  </a:lnTo>
                  <a:lnTo>
                    <a:pt x="1068" y="296"/>
                  </a:lnTo>
                  <a:lnTo>
                    <a:pt x="1061" y="293"/>
                  </a:lnTo>
                  <a:lnTo>
                    <a:pt x="1058" y="294"/>
                  </a:lnTo>
                  <a:lnTo>
                    <a:pt x="1057" y="294"/>
                  </a:lnTo>
                  <a:lnTo>
                    <a:pt x="1058" y="291"/>
                  </a:lnTo>
                  <a:lnTo>
                    <a:pt x="1058" y="291"/>
                  </a:lnTo>
                  <a:lnTo>
                    <a:pt x="1058" y="290"/>
                  </a:lnTo>
                  <a:lnTo>
                    <a:pt x="1057" y="287"/>
                  </a:lnTo>
                  <a:lnTo>
                    <a:pt x="1055" y="285"/>
                  </a:lnTo>
                  <a:lnTo>
                    <a:pt x="1054" y="285"/>
                  </a:lnTo>
                  <a:lnTo>
                    <a:pt x="1054" y="287"/>
                  </a:lnTo>
                  <a:lnTo>
                    <a:pt x="1054" y="288"/>
                  </a:lnTo>
                  <a:lnTo>
                    <a:pt x="1052" y="288"/>
                  </a:lnTo>
                  <a:lnTo>
                    <a:pt x="1048" y="287"/>
                  </a:lnTo>
                  <a:lnTo>
                    <a:pt x="1046" y="285"/>
                  </a:lnTo>
                  <a:lnTo>
                    <a:pt x="1044" y="291"/>
                  </a:lnTo>
                  <a:lnTo>
                    <a:pt x="1044" y="294"/>
                  </a:lnTo>
                  <a:lnTo>
                    <a:pt x="1046" y="296"/>
                  </a:lnTo>
                  <a:lnTo>
                    <a:pt x="1052" y="305"/>
                  </a:lnTo>
                  <a:lnTo>
                    <a:pt x="1054" y="307"/>
                  </a:lnTo>
                  <a:lnTo>
                    <a:pt x="1051" y="314"/>
                  </a:lnTo>
                  <a:lnTo>
                    <a:pt x="1049" y="321"/>
                  </a:lnTo>
                  <a:lnTo>
                    <a:pt x="1049" y="324"/>
                  </a:lnTo>
                  <a:lnTo>
                    <a:pt x="1051" y="327"/>
                  </a:lnTo>
                  <a:lnTo>
                    <a:pt x="1052" y="328"/>
                  </a:lnTo>
                  <a:lnTo>
                    <a:pt x="1048" y="328"/>
                  </a:lnTo>
                  <a:lnTo>
                    <a:pt x="1044" y="322"/>
                  </a:lnTo>
                  <a:lnTo>
                    <a:pt x="1043" y="313"/>
                  </a:lnTo>
                  <a:lnTo>
                    <a:pt x="1043" y="304"/>
                  </a:lnTo>
                  <a:lnTo>
                    <a:pt x="1038" y="304"/>
                  </a:lnTo>
                  <a:lnTo>
                    <a:pt x="1037" y="305"/>
                  </a:lnTo>
                  <a:lnTo>
                    <a:pt x="1034" y="308"/>
                  </a:lnTo>
                  <a:lnTo>
                    <a:pt x="1034" y="311"/>
                  </a:lnTo>
                  <a:lnTo>
                    <a:pt x="1034" y="314"/>
                  </a:lnTo>
                  <a:lnTo>
                    <a:pt x="1032" y="314"/>
                  </a:lnTo>
                  <a:lnTo>
                    <a:pt x="1031" y="314"/>
                  </a:lnTo>
                  <a:lnTo>
                    <a:pt x="1031" y="313"/>
                  </a:lnTo>
                  <a:lnTo>
                    <a:pt x="1031" y="311"/>
                  </a:lnTo>
                  <a:lnTo>
                    <a:pt x="1031" y="308"/>
                  </a:lnTo>
                  <a:lnTo>
                    <a:pt x="1029" y="308"/>
                  </a:lnTo>
                  <a:lnTo>
                    <a:pt x="1028" y="310"/>
                  </a:lnTo>
                  <a:lnTo>
                    <a:pt x="1026" y="308"/>
                  </a:lnTo>
                  <a:lnTo>
                    <a:pt x="1024" y="305"/>
                  </a:lnTo>
                  <a:lnTo>
                    <a:pt x="1024" y="305"/>
                  </a:lnTo>
                  <a:lnTo>
                    <a:pt x="1023" y="305"/>
                  </a:lnTo>
                  <a:lnTo>
                    <a:pt x="1021" y="305"/>
                  </a:lnTo>
                  <a:lnTo>
                    <a:pt x="1020" y="308"/>
                  </a:lnTo>
                  <a:lnTo>
                    <a:pt x="1018" y="311"/>
                  </a:lnTo>
                  <a:lnTo>
                    <a:pt x="1020" y="314"/>
                  </a:lnTo>
                  <a:lnTo>
                    <a:pt x="1021" y="319"/>
                  </a:lnTo>
                  <a:lnTo>
                    <a:pt x="1023" y="321"/>
                  </a:lnTo>
                  <a:lnTo>
                    <a:pt x="1038" y="324"/>
                  </a:lnTo>
                  <a:lnTo>
                    <a:pt x="1041" y="325"/>
                  </a:lnTo>
                  <a:lnTo>
                    <a:pt x="1040" y="327"/>
                  </a:lnTo>
                  <a:lnTo>
                    <a:pt x="1031" y="324"/>
                  </a:lnTo>
                  <a:lnTo>
                    <a:pt x="1021" y="324"/>
                  </a:lnTo>
                  <a:lnTo>
                    <a:pt x="1018" y="324"/>
                  </a:lnTo>
                  <a:lnTo>
                    <a:pt x="1018" y="324"/>
                  </a:lnTo>
                  <a:lnTo>
                    <a:pt x="1011" y="322"/>
                  </a:lnTo>
                  <a:lnTo>
                    <a:pt x="1009" y="324"/>
                  </a:lnTo>
                  <a:lnTo>
                    <a:pt x="1017" y="339"/>
                  </a:lnTo>
                  <a:lnTo>
                    <a:pt x="1017" y="339"/>
                  </a:lnTo>
                  <a:lnTo>
                    <a:pt x="1018" y="339"/>
                  </a:lnTo>
                  <a:lnTo>
                    <a:pt x="1024" y="337"/>
                  </a:lnTo>
                  <a:lnTo>
                    <a:pt x="1023" y="339"/>
                  </a:lnTo>
                  <a:lnTo>
                    <a:pt x="1021" y="341"/>
                  </a:lnTo>
                  <a:lnTo>
                    <a:pt x="1021" y="342"/>
                  </a:lnTo>
                  <a:lnTo>
                    <a:pt x="1020" y="342"/>
                  </a:lnTo>
                  <a:lnTo>
                    <a:pt x="1018" y="344"/>
                  </a:lnTo>
                  <a:lnTo>
                    <a:pt x="1018" y="344"/>
                  </a:lnTo>
                  <a:lnTo>
                    <a:pt x="1018" y="345"/>
                  </a:lnTo>
                  <a:lnTo>
                    <a:pt x="1017" y="348"/>
                  </a:lnTo>
                  <a:lnTo>
                    <a:pt x="1017" y="348"/>
                  </a:lnTo>
                  <a:lnTo>
                    <a:pt x="1015" y="348"/>
                  </a:lnTo>
                  <a:lnTo>
                    <a:pt x="1015" y="347"/>
                  </a:lnTo>
                  <a:lnTo>
                    <a:pt x="1015" y="345"/>
                  </a:lnTo>
                  <a:lnTo>
                    <a:pt x="1015" y="345"/>
                  </a:lnTo>
                  <a:lnTo>
                    <a:pt x="1015" y="344"/>
                  </a:lnTo>
                  <a:lnTo>
                    <a:pt x="1014" y="342"/>
                  </a:lnTo>
                  <a:lnTo>
                    <a:pt x="1012" y="341"/>
                  </a:lnTo>
                  <a:lnTo>
                    <a:pt x="1004" y="339"/>
                  </a:lnTo>
                  <a:lnTo>
                    <a:pt x="1003" y="339"/>
                  </a:lnTo>
                  <a:lnTo>
                    <a:pt x="1001" y="342"/>
                  </a:lnTo>
                  <a:lnTo>
                    <a:pt x="1001" y="342"/>
                  </a:lnTo>
                  <a:lnTo>
                    <a:pt x="1000" y="342"/>
                  </a:lnTo>
                  <a:lnTo>
                    <a:pt x="998" y="341"/>
                  </a:lnTo>
                  <a:lnTo>
                    <a:pt x="998" y="341"/>
                  </a:lnTo>
                  <a:lnTo>
                    <a:pt x="997" y="339"/>
                  </a:lnTo>
                  <a:lnTo>
                    <a:pt x="997" y="342"/>
                  </a:lnTo>
                  <a:lnTo>
                    <a:pt x="997" y="342"/>
                  </a:lnTo>
                  <a:lnTo>
                    <a:pt x="997" y="344"/>
                  </a:lnTo>
                  <a:lnTo>
                    <a:pt x="995" y="347"/>
                  </a:lnTo>
                  <a:lnTo>
                    <a:pt x="994" y="348"/>
                  </a:lnTo>
                  <a:lnTo>
                    <a:pt x="997" y="351"/>
                  </a:lnTo>
                  <a:lnTo>
                    <a:pt x="998" y="353"/>
                  </a:lnTo>
                  <a:close/>
                  <a:moveTo>
                    <a:pt x="1195" y="285"/>
                  </a:moveTo>
                  <a:lnTo>
                    <a:pt x="1197" y="284"/>
                  </a:lnTo>
                  <a:lnTo>
                    <a:pt x="1197" y="284"/>
                  </a:lnTo>
                  <a:lnTo>
                    <a:pt x="1197" y="284"/>
                  </a:lnTo>
                  <a:lnTo>
                    <a:pt x="1197" y="282"/>
                  </a:lnTo>
                  <a:lnTo>
                    <a:pt x="1197" y="280"/>
                  </a:lnTo>
                  <a:lnTo>
                    <a:pt x="1188" y="282"/>
                  </a:lnTo>
                  <a:lnTo>
                    <a:pt x="1186" y="282"/>
                  </a:lnTo>
                  <a:lnTo>
                    <a:pt x="1186" y="284"/>
                  </a:lnTo>
                  <a:lnTo>
                    <a:pt x="1185" y="285"/>
                  </a:lnTo>
                  <a:lnTo>
                    <a:pt x="1185" y="287"/>
                  </a:lnTo>
                  <a:lnTo>
                    <a:pt x="1185" y="288"/>
                  </a:lnTo>
                  <a:lnTo>
                    <a:pt x="1183" y="293"/>
                  </a:lnTo>
                  <a:lnTo>
                    <a:pt x="1183" y="296"/>
                  </a:lnTo>
                  <a:lnTo>
                    <a:pt x="1183" y="299"/>
                  </a:lnTo>
                  <a:lnTo>
                    <a:pt x="1183" y="301"/>
                  </a:lnTo>
                  <a:lnTo>
                    <a:pt x="1185" y="304"/>
                  </a:lnTo>
                  <a:lnTo>
                    <a:pt x="1189" y="305"/>
                  </a:lnTo>
                  <a:lnTo>
                    <a:pt x="1192" y="304"/>
                  </a:lnTo>
                  <a:lnTo>
                    <a:pt x="1197" y="301"/>
                  </a:lnTo>
                  <a:lnTo>
                    <a:pt x="1197" y="296"/>
                  </a:lnTo>
                  <a:lnTo>
                    <a:pt x="1195" y="291"/>
                  </a:lnTo>
                  <a:lnTo>
                    <a:pt x="1195" y="287"/>
                  </a:lnTo>
                  <a:lnTo>
                    <a:pt x="1195" y="285"/>
                  </a:lnTo>
                  <a:lnTo>
                    <a:pt x="1195" y="285"/>
                  </a:lnTo>
                  <a:close/>
                  <a:moveTo>
                    <a:pt x="1878" y="307"/>
                  </a:moveTo>
                  <a:lnTo>
                    <a:pt x="1879" y="308"/>
                  </a:lnTo>
                  <a:lnTo>
                    <a:pt x="1881" y="308"/>
                  </a:lnTo>
                  <a:lnTo>
                    <a:pt x="1882" y="308"/>
                  </a:lnTo>
                  <a:lnTo>
                    <a:pt x="1887" y="304"/>
                  </a:lnTo>
                  <a:lnTo>
                    <a:pt x="1892" y="302"/>
                  </a:lnTo>
                  <a:lnTo>
                    <a:pt x="1895" y="301"/>
                  </a:lnTo>
                  <a:lnTo>
                    <a:pt x="1896" y="297"/>
                  </a:lnTo>
                  <a:lnTo>
                    <a:pt x="1896" y="296"/>
                  </a:lnTo>
                  <a:lnTo>
                    <a:pt x="1890" y="297"/>
                  </a:lnTo>
                  <a:lnTo>
                    <a:pt x="1890" y="296"/>
                  </a:lnTo>
                  <a:lnTo>
                    <a:pt x="1890" y="293"/>
                  </a:lnTo>
                  <a:lnTo>
                    <a:pt x="1890" y="293"/>
                  </a:lnTo>
                  <a:lnTo>
                    <a:pt x="1888" y="290"/>
                  </a:lnTo>
                  <a:lnTo>
                    <a:pt x="1888" y="290"/>
                  </a:lnTo>
                  <a:lnTo>
                    <a:pt x="1888" y="288"/>
                  </a:lnTo>
                  <a:lnTo>
                    <a:pt x="1888" y="285"/>
                  </a:lnTo>
                  <a:lnTo>
                    <a:pt x="1887" y="284"/>
                  </a:lnTo>
                  <a:lnTo>
                    <a:pt x="1885" y="282"/>
                  </a:lnTo>
                  <a:lnTo>
                    <a:pt x="1879" y="279"/>
                  </a:lnTo>
                  <a:lnTo>
                    <a:pt x="1876" y="280"/>
                  </a:lnTo>
                  <a:lnTo>
                    <a:pt x="1875" y="284"/>
                  </a:lnTo>
                  <a:lnTo>
                    <a:pt x="1873" y="290"/>
                  </a:lnTo>
                  <a:lnTo>
                    <a:pt x="1876" y="296"/>
                  </a:lnTo>
                  <a:lnTo>
                    <a:pt x="1873" y="299"/>
                  </a:lnTo>
                  <a:lnTo>
                    <a:pt x="1868" y="307"/>
                  </a:lnTo>
                  <a:lnTo>
                    <a:pt x="1867" y="311"/>
                  </a:lnTo>
                  <a:lnTo>
                    <a:pt x="1873" y="313"/>
                  </a:lnTo>
                  <a:lnTo>
                    <a:pt x="1876" y="311"/>
                  </a:lnTo>
                  <a:lnTo>
                    <a:pt x="1876" y="308"/>
                  </a:lnTo>
                  <a:lnTo>
                    <a:pt x="1876" y="307"/>
                  </a:lnTo>
                  <a:lnTo>
                    <a:pt x="1876" y="305"/>
                  </a:lnTo>
                  <a:lnTo>
                    <a:pt x="1878" y="307"/>
                  </a:lnTo>
                  <a:close/>
                  <a:moveTo>
                    <a:pt x="1269" y="276"/>
                  </a:moveTo>
                  <a:lnTo>
                    <a:pt x="1269" y="276"/>
                  </a:lnTo>
                  <a:lnTo>
                    <a:pt x="1271" y="276"/>
                  </a:lnTo>
                  <a:lnTo>
                    <a:pt x="1271" y="274"/>
                  </a:lnTo>
                  <a:lnTo>
                    <a:pt x="1272" y="274"/>
                  </a:lnTo>
                  <a:lnTo>
                    <a:pt x="1272" y="271"/>
                  </a:lnTo>
                  <a:lnTo>
                    <a:pt x="1271" y="271"/>
                  </a:lnTo>
                  <a:lnTo>
                    <a:pt x="1271" y="270"/>
                  </a:lnTo>
                  <a:lnTo>
                    <a:pt x="1269" y="271"/>
                  </a:lnTo>
                  <a:lnTo>
                    <a:pt x="1268" y="271"/>
                  </a:lnTo>
                  <a:lnTo>
                    <a:pt x="1268" y="274"/>
                  </a:lnTo>
                  <a:lnTo>
                    <a:pt x="1268" y="274"/>
                  </a:lnTo>
                  <a:lnTo>
                    <a:pt x="1269" y="276"/>
                  </a:lnTo>
                  <a:close/>
                  <a:moveTo>
                    <a:pt x="1129" y="259"/>
                  </a:moveTo>
                  <a:lnTo>
                    <a:pt x="1126" y="259"/>
                  </a:lnTo>
                  <a:lnTo>
                    <a:pt x="1125" y="262"/>
                  </a:lnTo>
                  <a:lnTo>
                    <a:pt x="1123" y="265"/>
                  </a:lnTo>
                  <a:lnTo>
                    <a:pt x="1121" y="268"/>
                  </a:lnTo>
                  <a:lnTo>
                    <a:pt x="1114" y="274"/>
                  </a:lnTo>
                  <a:lnTo>
                    <a:pt x="1109" y="277"/>
                  </a:lnTo>
                  <a:lnTo>
                    <a:pt x="1109" y="277"/>
                  </a:lnTo>
                  <a:lnTo>
                    <a:pt x="1108" y="284"/>
                  </a:lnTo>
                  <a:lnTo>
                    <a:pt x="1101" y="291"/>
                  </a:lnTo>
                  <a:lnTo>
                    <a:pt x="1101" y="296"/>
                  </a:lnTo>
                  <a:lnTo>
                    <a:pt x="1105" y="296"/>
                  </a:lnTo>
                  <a:lnTo>
                    <a:pt x="1120" y="291"/>
                  </a:lnTo>
                  <a:lnTo>
                    <a:pt x="1123" y="290"/>
                  </a:lnTo>
                  <a:lnTo>
                    <a:pt x="1126" y="284"/>
                  </a:lnTo>
                  <a:lnTo>
                    <a:pt x="1128" y="277"/>
                  </a:lnTo>
                  <a:lnTo>
                    <a:pt x="1131" y="271"/>
                  </a:lnTo>
                  <a:lnTo>
                    <a:pt x="1132" y="267"/>
                  </a:lnTo>
                  <a:lnTo>
                    <a:pt x="1131" y="262"/>
                  </a:lnTo>
                  <a:lnTo>
                    <a:pt x="1129" y="260"/>
                  </a:lnTo>
                  <a:lnTo>
                    <a:pt x="1129" y="259"/>
                  </a:lnTo>
                  <a:close/>
                  <a:moveTo>
                    <a:pt x="1140" y="254"/>
                  </a:moveTo>
                  <a:lnTo>
                    <a:pt x="1137" y="256"/>
                  </a:lnTo>
                  <a:lnTo>
                    <a:pt x="1137" y="257"/>
                  </a:lnTo>
                  <a:lnTo>
                    <a:pt x="1137" y="257"/>
                  </a:lnTo>
                  <a:lnTo>
                    <a:pt x="1137" y="257"/>
                  </a:lnTo>
                  <a:lnTo>
                    <a:pt x="1140" y="259"/>
                  </a:lnTo>
                  <a:lnTo>
                    <a:pt x="1143" y="257"/>
                  </a:lnTo>
                  <a:lnTo>
                    <a:pt x="1142" y="256"/>
                  </a:lnTo>
                  <a:lnTo>
                    <a:pt x="1140" y="254"/>
                  </a:lnTo>
                  <a:close/>
                  <a:moveTo>
                    <a:pt x="1208" y="251"/>
                  </a:moveTo>
                  <a:lnTo>
                    <a:pt x="1205" y="251"/>
                  </a:lnTo>
                  <a:lnTo>
                    <a:pt x="1203" y="253"/>
                  </a:lnTo>
                  <a:lnTo>
                    <a:pt x="1202" y="256"/>
                  </a:lnTo>
                  <a:lnTo>
                    <a:pt x="1200" y="260"/>
                  </a:lnTo>
                  <a:lnTo>
                    <a:pt x="1200" y="264"/>
                  </a:lnTo>
                  <a:lnTo>
                    <a:pt x="1202" y="267"/>
                  </a:lnTo>
                  <a:lnTo>
                    <a:pt x="1203" y="271"/>
                  </a:lnTo>
                  <a:lnTo>
                    <a:pt x="1206" y="274"/>
                  </a:lnTo>
                  <a:lnTo>
                    <a:pt x="1209" y="274"/>
                  </a:lnTo>
                  <a:lnTo>
                    <a:pt x="1214" y="273"/>
                  </a:lnTo>
                  <a:lnTo>
                    <a:pt x="1217" y="268"/>
                  </a:lnTo>
                  <a:lnTo>
                    <a:pt x="1217" y="265"/>
                  </a:lnTo>
                  <a:lnTo>
                    <a:pt x="1226" y="259"/>
                  </a:lnTo>
                  <a:lnTo>
                    <a:pt x="1215" y="260"/>
                  </a:lnTo>
                  <a:lnTo>
                    <a:pt x="1214" y="259"/>
                  </a:lnTo>
                  <a:lnTo>
                    <a:pt x="1209" y="253"/>
                  </a:lnTo>
                  <a:lnTo>
                    <a:pt x="1208" y="251"/>
                  </a:lnTo>
                  <a:close/>
                  <a:moveTo>
                    <a:pt x="1222" y="253"/>
                  </a:moveTo>
                  <a:lnTo>
                    <a:pt x="1222" y="247"/>
                  </a:lnTo>
                  <a:lnTo>
                    <a:pt x="1220" y="247"/>
                  </a:lnTo>
                  <a:lnTo>
                    <a:pt x="1217" y="250"/>
                  </a:lnTo>
                  <a:lnTo>
                    <a:pt x="1215" y="253"/>
                  </a:lnTo>
                  <a:lnTo>
                    <a:pt x="1215" y="256"/>
                  </a:lnTo>
                  <a:lnTo>
                    <a:pt x="1220" y="254"/>
                  </a:lnTo>
                  <a:lnTo>
                    <a:pt x="1222" y="253"/>
                  </a:lnTo>
                  <a:close/>
                  <a:moveTo>
                    <a:pt x="1060" y="256"/>
                  </a:moveTo>
                  <a:lnTo>
                    <a:pt x="1058" y="257"/>
                  </a:lnTo>
                  <a:lnTo>
                    <a:pt x="1057" y="260"/>
                  </a:lnTo>
                  <a:lnTo>
                    <a:pt x="1058" y="265"/>
                  </a:lnTo>
                  <a:lnTo>
                    <a:pt x="1060" y="267"/>
                  </a:lnTo>
                  <a:lnTo>
                    <a:pt x="1064" y="267"/>
                  </a:lnTo>
                  <a:lnTo>
                    <a:pt x="1063" y="268"/>
                  </a:lnTo>
                  <a:lnTo>
                    <a:pt x="1060" y="273"/>
                  </a:lnTo>
                  <a:lnTo>
                    <a:pt x="1060" y="273"/>
                  </a:lnTo>
                  <a:lnTo>
                    <a:pt x="1052" y="270"/>
                  </a:lnTo>
                  <a:lnTo>
                    <a:pt x="1049" y="271"/>
                  </a:lnTo>
                  <a:lnTo>
                    <a:pt x="1049" y="276"/>
                  </a:lnTo>
                  <a:lnTo>
                    <a:pt x="1052" y="279"/>
                  </a:lnTo>
                  <a:lnTo>
                    <a:pt x="1057" y="282"/>
                  </a:lnTo>
                  <a:lnTo>
                    <a:pt x="1072" y="296"/>
                  </a:lnTo>
                  <a:lnTo>
                    <a:pt x="1074" y="297"/>
                  </a:lnTo>
                  <a:lnTo>
                    <a:pt x="1075" y="304"/>
                  </a:lnTo>
                  <a:lnTo>
                    <a:pt x="1078" y="307"/>
                  </a:lnTo>
                  <a:lnTo>
                    <a:pt x="1094" y="301"/>
                  </a:lnTo>
                  <a:lnTo>
                    <a:pt x="1097" y="299"/>
                  </a:lnTo>
                  <a:lnTo>
                    <a:pt x="1100" y="296"/>
                  </a:lnTo>
                  <a:lnTo>
                    <a:pt x="1100" y="294"/>
                  </a:lnTo>
                  <a:lnTo>
                    <a:pt x="1100" y="293"/>
                  </a:lnTo>
                  <a:lnTo>
                    <a:pt x="1100" y="291"/>
                  </a:lnTo>
                  <a:lnTo>
                    <a:pt x="1101" y="288"/>
                  </a:lnTo>
                  <a:lnTo>
                    <a:pt x="1105" y="285"/>
                  </a:lnTo>
                  <a:lnTo>
                    <a:pt x="1105" y="284"/>
                  </a:lnTo>
                  <a:lnTo>
                    <a:pt x="1106" y="282"/>
                  </a:lnTo>
                  <a:lnTo>
                    <a:pt x="1108" y="280"/>
                  </a:lnTo>
                  <a:lnTo>
                    <a:pt x="1108" y="279"/>
                  </a:lnTo>
                  <a:lnTo>
                    <a:pt x="1108" y="277"/>
                  </a:lnTo>
                  <a:lnTo>
                    <a:pt x="1108" y="276"/>
                  </a:lnTo>
                  <a:lnTo>
                    <a:pt x="1108" y="274"/>
                  </a:lnTo>
                  <a:lnTo>
                    <a:pt x="1109" y="273"/>
                  </a:lnTo>
                  <a:lnTo>
                    <a:pt x="1109" y="271"/>
                  </a:lnTo>
                  <a:lnTo>
                    <a:pt x="1117" y="267"/>
                  </a:lnTo>
                  <a:lnTo>
                    <a:pt x="1120" y="264"/>
                  </a:lnTo>
                  <a:lnTo>
                    <a:pt x="1120" y="259"/>
                  </a:lnTo>
                  <a:lnTo>
                    <a:pt x="1118" y="257"/>
                  </a:lnTo>
                  <a:lnTo>
                    <a:pt x="1118" y="256"/>
                  </a:lnTo>
                  <a:lnTo>
                    <a:pt x="1117" y="256"/>
                  </a:lnTo>
                  <a:lnTo>
                    <a:pt x="1115" y="257"/>
                  </a:lnTo>
                  <a:lnTo>
                    <a:pt x="1114" y="259"/>
                  </a:lnTo>
                  <a:lnTo>
                    <a:pt x="1114" y="260"/>
                  </a:lnTo>
                  <a:lnTo>
                    <a:pt x="1112" y="262"/>
                  </a:lnTo>
                  <a:lnTo>
                    <a:pt x="1112" y="260"/>
                  </a:lnTo>
                  <a:lnTo>
                    <a:pt x="1112" y="257"/>
                  </a:lnTo>
                  <a:lnTo>
                    <a:pt x="1112" y="256"/>
                  </a:lnTo>
                  <a:lnTo>
                    <a:pt x="1112" y="253"/>
                  </a:lnTo>
                  <a:lnTo>
                    <a:pt x="1112" y="250"/>
                  </a:lnTo>
                  <a:lnTo>
                    <a:pt x="1111" y="248"/>
                  </a:lnTo>
                  <a:lnTo>
                    <a:pt x="1109" y="248"/>
                  </a:lnTo>
                  <a:lnTo>
                    <a:pt x="1105" y="251"/>
                  </a:lnTo>
                  <a:lnTo>
                    <a:pt x="1101" y="253"/>
                  </a:lnTo>
                  <a:lnTo>
                    <a:pt x="1100" y="257"/>
                  </a:lnTo>
                  <a:lnTo>
                    <a:pt x="1100" y="264"/>
                  </a:lnTo>
                  <a:lnTo>
                    <a:pt x="1098" y="262"/>
                  </a:lnTo>
                  <a:lnTo>
                    <a:pt x="1094" y="257"/>
                  </a:lnTo>
                  <a:lnTo>
                    <a:pt x="1091" y="254"/>
                  </a:lnTo>
                  <a:lnTo>
                    <a:pt x="1091" y="250"/>
                  </a:lnTo>
                  <a:lnTo>
                    <a:pt x="1092" y="247"/>
                  </a:lnTo>
                  <a:lnTo>
                    <a:pt x="1094" y="244"/>
                  </a:lnTo>
                  <a:lnTo>
                    <a:pt x="1091" y="242"/>
                  </a:lnTo>
                  <a:lnTo>
                    <a:pt x="1089" y="244"/>
                  </a:lnTo>
                  <a:lnTo>
                    <a:pt x="1088" y="247"/>
                  </a:lnTo>
                  <a:lnTo>
                    <a:pt x="1086" y="247"/>
                  </a:lnTo>
                  <a:lnTo>
                    <a:pt x="1086" y="245"/>
                  </a:lnTo>
                  <a:lnTo>
                    <a:pt x="1086" y="242"/>
                  </a:lnTo>
                  <a:lnTo>
                    <a:pt x="1086" y="240"/>
                  </a:lnTo>
                  <a:lnTo>
                    <a:pt x="1085" y="239"/>
                  </a:lnTo>
                  <a:lnTo>
                    <a:pt x="1078" y="245"/>
                  </a:lnTo>
                  <a:lnTo>
                    <a:pt x="1077" y="245"/>
                  </a:lnTo>
                  <a:lnTo>
                    <a:pt x="1075" y="245"/>
                  </a:lnTo>
                  <a:lnTo>
                    <a:pt x="1074" y="244"/>
                  </a:lnTo>
                  <a:lnTo>
                    <a:pt x="1074" y="247"/>
                  </a:lnTo>
                  <a:lnTo>
                    <a:pt x="1075" y="250"/>
                  </a:lnTo>
                  <a:lnTo>
                    <a:pt x="1077" y="251"/>
                  </a:lnTo>
                  <a:lnTo>
                    <a:pt x="1078" y="254"/>
                  </a:lnTo>
                  <a:lnTo>
                    <a:pt x="1075" y="257"/>
                  </a:lnTo>
                  <a:lnTo>
                    <a:pt x="1074" y="257"/>
                  </a:lnTo>
                  <a:lnTo>
                    <a:pt x="1074" y="256"/>
                  </a:lnTo>
                  <a:lnTo>
                    <a:pt x="1072" y="254"/>
                  </a:lnTo>
                  <a:lnTo>
                    <a:pt x="1072" y="253"/>
                  </a:lnTo>
                  <a:lnTo>
                    <a:pt x="1071" y="253"/>
                  </a:lnTo>
                  <a:lnTo>
                    <a:pt x="1071" y="253"/>
                  </a:lnTo>
                  <a:lnTo>
                    <a:pt x="1069" y="254"/>
                  </a:lnTo>
                  <a:lnTo>
                    <a:pt x="1068" y="256"/>
                  </a:lnTo>
                  <a:lnTo>
                    <a:pt x="1064" y="254"/>
                  </a:lnTo>
                  <a:lnTo>
                    <a:pt x="1060" y="256"/>
                  </a:lnTo>
                  <a:close/>
                  <a:moveTo>
                    <a:pt x="1044" y="254"/>
                  </a:moveTo>
                  <a:lnTo>
                    <a:pt x="1046" y="254"/>
                  </a:lnTo>
                  <a:lnTo>
                    <a:pt x="1046" y="256"/>
                  </a:lnTo>
                  <a:lnTo>
                    <a:pt x="1044" y="257"/>
                  </a:lnTo>
                  <a:lnTo>
                    <a:pt x="1044" y="260"/>
                  </a:lnTo>
                  <a:lnTo>
                    <a:pt x="1046" y="264"/>
                  </a:lnTo>
                  <a:lnTo>
                    <a:pt x="1048" y="264"/>
                  </a:lnTo>
                  <a:lnTo>
                    <a:pt x="1048" y="264"/>
                  </a:lnTo>
                  <a:lnTo>
                    <a:pt x="1048" y="264"/>
                  </a:lnTo>
                  <a:lnTo>
                    <a:pt x="1048" y="262"/>
                  </a:lnTo>
                  <a:lnTo>
                    <a:pt x="1049" y="260"/>
                  </a:lnTo>
                  <a:lnTo>
                    <a:pt x="1052" y="256"/>
                  </a:lnTo>
                  <a:lnTo>
                    <a:pt x="1057" y="253"/>
                  </a:lnTo>
                  <a:lnTo>
                    <a:pt x="1063" y="251"/>
                  </a:lnTo>
                  <a:lnTo>
                    <a:pt x="1064" y="250"/>
                  </a:lnTo>
                  <a:lnTo>
                    <a:pt x="1066" y="247"/>
                  </a:lnTo>
                  <a:lnTo>
                    <a:pt x="1068" y="245"/>
                  </a:lnTo>
                  <a:lnTo>
                    <a:pt x="1068" y="242"/>
                  </a:lnTo>
                  <a:lnTo>
                    <a:pt x="1063" y="239"/>
                  </a:lnTo>
                  <a:lnTo>
                    <a:pt x="1063" y="237"/>
                  </a:lnTo>
                  <a:lnTo>
                    <a:pt x="1061" y="237"/>
                  </a:lnTo>
                  <a:lnTo>
                    <a:pt x="1057" y="245"/>
                  </a:lnTo>
                  <a:lnTo>
                    <a:pt x="1055" y="247"/>
                  </a:lnTo>
                  <a:lnTo>
                    <a:pt x="1055" y="248"/>
                  </a:lnTo>
                  <a:lnTo>
                    <a:pt x="1054" y="247"/>
                  </a:lnTo>
                  <a:lnTo>
                    <a:pt x="1054" y="242"/>
                  </a:lnTo>
                  <a:lnTo>
                    <a:pt x="1052" y="239"/>
                  </a:lnTo>
                  <a:lnTo>
                    <a:pt x="1051" y="236"/>
                  </a:lnTo>
                  <a:lnTo>
                    <a:pt x="1049" y="236"/>
                  </a:lnTo>
                  <a:lnTo>
                    <a:pt x="1048" y="236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2"/>
                  </a:lnTo>
                  <a:lnTo>
                    <a:pt x="1048" y="242"/>
                  </a:lnTo>
                  <a:lnTo>
                    <a:pt x="1048" y="244"/>
                  </a:lnTo>
                  <a:lnTo>
                    <a:pt x="1044" y="247"/>
                  </a:lnTo>
                  <a:lnTo>
                    <a:pt x="1043" y="250"/>
                  </a:lnTo>
                  <a:lnTo>
                    <a:pt x="1044" y="253"/>
                  </a:lnTo>
                  <a:lnTo>
                    <a:pt x="1044" y="254"/>
                  </a:lnTo>
                  <a:close/>
                  <a:moveTo>
                    <a:pt x="1203" y="234"/>
                  </a:moveTo>
                  <a:lnTo>
                    <a:pt x="1203" y="240"/>
                  </a:lnTo>
                  <a:lnTo>
                    <a:pt x="1203" y="244"/>
                  </a:lnTo>
                  <a:lnTo>
                    <a:pt x="1205" y="245"/>
                  </a:lnTo>
                  <a:lnTo>
                    <a:pt x="1208" y="245"/>
                  </a:lnTo>
                  <a:lnTo>
                    <a:pt x="1211" y="244"/>
                  </a:lnTo>
                  <a:lnTo>
                    <a:pt x="1212" y="240"/>
                  </a:lnTo>
                  <a:lnTo>
                    <a:pt x="1212" y="237"/>
                  </a:lnTo>
                  <a:lnTo>
                    <a:pt x="1208" y="230"/>
                  </a:lnTo>
                  <a:lnTo>
                    <a:pt x="1206" y="228"/>
                  </a:lnTo>
                  <a:lnTo>
                    <a:pt x="1203" y="230"/>
                  </a:lnTo>
                  <a:lnTo>
                    <a:pt x="1203" y="234"/>
                  </a:lnTo>
                  <a:close/>
                  <a:moveTo>
                    <a:pt x="1095" y="236"/>
                  </a:moveTo>
                  <a:lnTo>
                    <a:pt x="1100" y="237"/>
                  </a:lnTo>
                  <a:lnTo>
                    <a:pt x="1106" y="240"/>
                  </a:lnTo>
                  <a:lnTo>
                    <a:pt x="1109" y="240"/>
                  </a:lnTo>
                  <a:lnTo>
                    <a:pt x="1111" y="240"/>
                  </a:lnTo>
                  <a:lnTo>
                    <a:pt x="1112" y="239"/>
                  </a:lnTo>
                  <a:lnTo>
                    <a:pt x="1112" y="236"/>
                  </a:lnTo>
                  <a:lnTo>
                    <a:pt x="1111" y="234"/>
                  </a:lnTo>
                  <a:lnTo>
                    <a:pt x="1103" y="227"/>
                  </a:lnTo>
                  <a:lnTo>
                    <a:pt x="1100" y="225"/>
                  </a:lnTo>
                  <a:lnTo>
                    <a:pt x="1097" y="227"/>
                  </a:lnTo>
                  <a:lnTo>
                    <a:pt x="1094" y="230"/>
                  </a:lnTo>
                  <a:lnTo>
                    <a:pt x="1094" y="233"/>
                  </a:lnTo>
                  <a:lnTo>
                    <a:pt x="1095" y="234"/>
                  </a:lnTo>
                  <a:lnTo>
                    <a:pt x="1095" y="236"/>
                  </a:lnTo>
                  <a:close/>
                  <a:moveTo>
                    <a:pt x="1174" y="242"/>
                  </a:moveTo>
                  <a:lnTo>
                    <a:pt x="1174" y="244"/>
                  </a:lnTo>
                  <a:lnTo>
                    <a:pt x="1175" y="245"/>
                  </a:lnTo>
                  <a:lnTo>
                    <a:pt x="1177" y="247"/>
                  </a:lnTo>
                  <a:lnTo>
                    <a:pt x="1178" y="247"/>
                  </a:lnTo>
                  <a:lnTo>
                    <a:pt x="1182" y="248"/>
                  </a:lnTo>
                  <a:lnTo>
                    <a:pt x="1183" y="247"/>
                  </a:lnTo>
                  <a:lnTo>
                    <a:pt x="1182" y="244"/>
                  </a:lnTo>
                  <a:lnTo>
                    <a:pt x="1186" y="244"/>
                  </a:lnTo>
                  <a:lnTo>
                    <a:pt x="1185" y="240"/>
                  </a:lnTo>
                  <a:lnTo>
                    <a:pt x="1186" y="237"/>
                  </a:lnTo>
                  <a:lnTo>
                    <a:pt x="1186" y="237"/>
                  </a:lnTo>
                  <a:lnTo>
                    <a:pt x="1188" y="237"/>
                  </a:lnTo>
                  <a:lnTo>
                    <a:pt x="1188" y="239"/>
                  </a:lnTo>
                  <a:lnTo>
                    <a:pt x="1188" y="242"/>
                  </a:lnTo>
                  <a:lnTo>
                    <a:pt x="1188" y="247"/>
                  </a:lnTo>
                  <a:lnTo>
                    <a:pt x="1188" y="248"/>
                  </a:lnTo>
                  <a:lnTo>
                    <a:pt x="1188" y="250"/>
                  </a:lnTo>
                  <a:lnTo>
                    <a:pt x="1188" y="251"/>
                  </a:lnTo>
                  <a:lnTo>
                    <a:pt x="1188" y="251"/>
                  </a:lnTo>
                  <a:lnTo>
                    <a:pt x="1189" y="251"/>
                  </a:lnTo>
                  <a:lnTo>
                    <a:pt x="1191" y="250"/>
                  </a:lnTo>
                  <a:lnTo>
                    <a:pt x="1192" y="250"/>
                  </a:lnTo>
                  <a:lnTo>
                    <a:pt x="1192" y="248"/>
                  </a:lnTo>
                  <a:lnTo>
                    <a:pt x="1194" y="245"/>
                  </a:lnTo>
                  <a:lnTo>
                    <a:pt x="1195" y="245"/>
                  </a:lnTo>
                  <a:lnTo>
                    <a:pt x="1195" y="245"/>
                  </a:lnTo>
                  <a:lnTo>
                    <a:pt x="1197" y="247"/>
                  </a:lnTo>
                  <a:lnTo>
                    <a:pt x="1198" y="248"/>
                  </a:lnTo>
                  <a:lnTo>
                    <a:pt x="1202" y="248"/>
                  </a:lnTo>
                  <a:lnTo>
                    <a:pt x="1202" y="247"/>
                  </a:lnTo>
                  <a:lnTo>
                    <a:pt x="1203" y="247"/>
                  </a:lnTo>
                  <a:lnTo>
                    <a:pt x="1203" y="244"/>
                  </a:lnTo>
                  <a:lnTo>
                    <a:pt x="1203" y="240"/>
                  </a:lnTo>
                  <a:lnTo>
                    <a:pt x="1203" y="240"/>
                  </a:lnTo>
                  <a:lnTo>
                    <a:pt x="1202" y="237"/>
                  </a:lnTo>
                  <a:lnTo>
                    <a:pt x="1202" y="236"/>
                  </a:lnTo>
                  <a:lnTo>
                    <a:pt x="1202" y="234"/>
                  </a:lnTo>
                  <a:lnTo>
                    <a:pt x="1202" y="233"/>
                  </a:lnTo>
                  <a:lnTo>
                    <a:pt x="1202" y="230"/>
                  </a:lnTo>
                  <a:lnTo>
                    <a:pt x="1203" y="227"/>
                  </a:lnTo>
                  <a:lnTo>
                    <a:pt x="1203" y="224"/>
                  </a:lnTo>
                  <a:lnTo>
                    <a:pt x="1205" y="217"/>
                  </a:lnTo>
                  <a:lnTo>
                    <a:pt x="1205" y="214"/>
                  </a:lnTo>
                  <a:lnTo>
                    <a:pt x="1203" y="213"/>
                  </a:lnTo>
                  <a:lnTo>
                    <a:pt x="1202" y="211"/>
                  </a:lnTo>
                  <a:lnTo>
                    <a:pt x="1198" y="208"/>
                  </a:lnTo>
                  <a:lnTo>
                    <a:pt x="1188" y="210"/>
                  </a:lnTo>
                  <a:lnTo>
                    <a:pt x="1185" y="210"/>
                  </a:lnTo>
                  <a:lnTo>
                    <a:pt x="1185" y="211"/>
                  </a:lnTo>
                  <a:lnTo>
                    <a:pt x="1185" y="211"/>
                  </a:lnTo>
                  <a:lnTo>
                    <a:pt x="1185" y="213"/>
                  </a:lnTo>
                  <a:lnTo>
                    <a:pt x="1185" y="214"/>
                  </a:lnTo>
                  <a:lnTo>
                    <a:pt x="1185" y="216"/>
                  </a:lnTo>
                  <a:lnTo>
                    <a:pt x="1183" y="216"/>
                  </a:lnTo>
                  <a:lnTo>
                    <a:pt x="1178" y="217"/>
                  </a:lnTo>
                  <a:lnTo>
                    <a:pt x="1177" y="220"/>
                  </a:lnTo>
                  <a:lnTo>
                    <a:pt x="1174" y="224"/>
                  </a:lnTo>
                  <a:lnTo>
                    <a:pt x="1174" y="228"/>
                  </a:lnTo>
                  <a:lnTo>
                    <a:pt x="1172" y="234"/>
                  </a:lnTo>
                  <a:lnTo>
                    <a:pt x="1172" y="237"/>
                  </a:lnTo>
                  <a:lnTo>
                    <a:pt x="1172" y="239"/>
                  </a:lnTo>
                  <a:lnTo>
                    <a:pt x="1172" y="239"/>
                  </a:lnTo>
                  <a:lnTo>
                    <a:pt x="1174" y="242"/>
                  </a:lnTo>
                  <a:close/>
                  <a:moveTo>
                    <a:pt x="1072" y="230"/>
                  </a:moveTo>
                  <a:lnTo>
                    <a:pt x="1077" y="236"/>
                  </a:lnTo>
                  <a:lnTo>
                    <a:pt x="1080" y="236"/>
                  </a:lnTo>
                  <a:lnTo>
                    <a:pt x="1081" y="236"/>
                  </a:lnTo>
                  <a:lnTo>
                    <a:pt x="1086" y="231"/>
                  </a:lnTo>
                  <a:lnTo>
                    <a:pt x="1086" y="230"/>
                  </a:lnTo>
                  <a:lnTo>
                    <a:pt x="1086" y="230"/>
                  </a:lnTo>
                  <a:lnTo>
                    <a:pt x="1086" y="228"/>
                  </a:lnTo>
                  <a:lnTo>
                    <a:pt x="1086" y="227"/>
                  </a:lnTo>
                  <a:lnTo>
                    <a:pt x="1086" y="225"/>
                  </a:lnTo>
                  <a:lnTo>
                    <a:pt x="1088" y="222"/>
                  </a:lnTo>
                  <a:lnTo>
                    <a:pt x="1088" y="220"/>
                  </a:lnTo>
                  <a:lnTo>
                    <a:pt x="1088" y="219"/>
                  </a:lnTo>
                  <a:lnTo>
                    <a:pt x="1088" y="217"/>
                  </a:lnTo>
                  <a:lnTo>
                    <a:pt x="1086" y="214"/>
                  </a:lnTo>
                  <a:lnTo>
                    <a:pt x="1086" y="213"/>
                  </a:lnTo>
                  <a:lnTo>
                    <a:pt x="1086" y="210"/>
                  </a:lnTo>
                  <a:lnTo>
                    <a:pt x="1085" y="207"/>
                  </a:lnTo>
                  <a:lnTo>
                    <a:pt x="1085" y="205"/>
                  </a:lnTo>
                  <a:lnTo>
                    <a:pt x="1085" y="205"/>
                  </a:lnTo>
                  <a:lnTo>
                    <a:pt x="1083" y="205"/>
                  </a:lnTo>
                  <a:lnTo>
                    <a:pt x="1083" y="205"/>
                  </a:lnTo>
                  <a:lnTo>
                    <a:pt x="1083" y="205"/>
                  </a:lnTo>
                  <a:lnTo>
                    <a:pt x="1081" y="205"/>
                  </a:lnTo>
                  <a:lnTo>
                    <a:pt x="1081" y="207"/>
                  </a:lnTo>
                  <a:lnTo>
                    <a:pt x="1081" y="208"/>
                  </a:lnTo>
                  <a:lnTo>
                    <a:pt x="1081" y="208"/>
                  </a:lnTo>
                  <a:lnTo>
                    <a:pt x="1080" y="208"/>
                  </a:lnTo>
                  <a:lnTo>
                    <a:pt x="1080" y="208"/>
                  </a:lnTo>
                  <a:lnTo>
                    <a:pt x="1080" y="208"/>
                  </a:lnTo>
                  <a:lnTo>
                    <a:pt x="1077" y="208"/>
                  </a:lnTo>
                  <a:lnTo>
                    <a:pt x="1075" y="208"/>
                  </a:lnTo>
                  <a:lnTo>
                    <a:pt x="1075" y="210"/>
                  </a:lnTo>
                  <a:lnTo>
                    <a:pt x="1077" y="210"/>
                  </a:lnTo>
                  <a:lnTo>
                    <a:pt x="1077" y="211"/>
                  </a:lnTo>
                  <a:lnTo>
                    <a:pt x="1078" y="213"/>
                  </a:lnTo>
                  <a:lnTo>
                    <a:pt x="1077" y="213"/>
                  </a:lnTo>
                  <a:lnTo>
                    <a:pt x="1078" y="214"/>
                  </a:lnTo>
                  <a:lnTo>
                    <a:pt x="1080" y="216"/>
                  </a:lnTo>
                  <a:lnTo>
                    <a:pt x="1080" y="217"/>
                  </a:lnTo>
                  <a:lnTo>
                    <a:pt x="1078" y="219"/>
                  </a:lnTo>
                  <a:lnTo>
                    <a:pt x="1077" y="220"/>
                  </a:lnTo>
                  <a:lnTo>
                    <a:pt x="1077" y="227"/>
                  </a:lnTo>
                  <a:lnTo>
                    <a:pt x="1075" y="227"/>
                  </a:lnTo>
                  <a:lnTo>
                    <a:pt x="1075" y="224"/>
                  </a:lnTo>
                  <a:lnTo>
                    <a:pt x="1074" y="224"/>
                  </a:lnTo>
                  <a:lnTo>
                    <a:pt x="1072" y="224"/>
                  </a:lnTo>
                  <a:lnTo>
                    <a:pt x="1069" y="227"/>
                  </a:lnTo>
                  <a:lnTo>
                    <a:pt x="1069" y="228"/>
                  </a:lnTo>
                  <a:lnTo>
                    <a:pt x="1069" y="228"/>
                  </a:lnTo>
                  <a:lnTo>
                    <a:pt x="1072" y="230"/>
                  </a:lnTo>
                  <a:close/>
                  <a:moveTo>
                    <a:pt x="1117" y="213"/>
                  </a:moveTo>
                  <a:lnTo>
                    <a:pt x="1118" y="216"/>
                  </a:lnTo>
                  <a:lnTo>
                    <a:pt x="1120" y="217"/>
                  </a:lnTo>
                  <a:lnTo>
                    <a:pt x="1120" y="219"/>
                  </a:lnTo>
                  <a:lnTo>
                    <a:pt x="1121" y="220"/>
                  </a:lnTo>
                  <a:lnTo>
                    <a:pt x="1123" y="228"/>
                  </a:lnTo>
                  <a:lnTo>
                    <a:pt x="1125" y="230"/>
                  </a:lnTo>
                  <a:lnTo>
                    <a:pt x="1125" y="230"/>
                  </a:lnTo>
                  <a:lnTo>
                    <a:pt x="1125" y="231"/>
                  </a:lnTo>
                  <a:lnTo>
                    <a:pt x="1125" y="234"/>
                  </a:lnTo>
                  <a:lnTo>
                    <a:pt x="1125" y="240"/>
                  </a:lnTo>
                  <a:lnTo>
                    <a:pt x="1125" y="242"/>
                  </a:lnTo>
                  <a:lnTo>
                    <a:pt x="1128" y="247"/>
                  </a:lnTo>
                  <a:lnTo>
                    <a:pt x="1131" y="248"/>
                  </a:lnTo>
                  <a:lnTo>
                    <a:pt x="1142" y="248"/>
                  </a:lnTo>
                  <a:lnTo>
                    <a:pt x="1145" y="245"/>
                  </a:lnTo>
                  <a:lnTo>
                    <a:pt x="1146" y="244"/>
                  </a:lnTo>
                  <a:lnTo>
                    <a:pt x="1146" y="242"/>
                  </a:lnTo>
                  <a:lnTo>
                    <a:pt x="1146" y="240"/>
                  </a:lnTo>
                  <a:lnTo>
                    <a:pt x="1148" y="239"/>
                  </a:lnTo>
                  <a:lnTo>
                    <a:pt x="1155" y="236"/>
                  </a:lnTo>
                  <a:lnTo>
                    <a:pt x="1155" y="234"/>
                  </a:lnTo>
                  <a:lnTo>
                    <a:pt x="1152" y="234"/>
                  </a:lnTo>
                  <a:lnTo>
                    <a:pt x="1142" y="228"/>
                  </a:lnTo>
                  <a:lnTo>
                    <a:pt x="1140" y="227"/>
                  </a:lnTo>
                  <a:lnTo>
                    <a:pt x="1138" y="225"/>
                  </a:lnTo>
                  <a:lnTo>
                    <a:pt x="1138" y="222"/>
                  </a:lnTo>
                  <a:lnTo>
                    <a:pt x="1140" y="217"/>
                  </a:lnTo>
                  <a:lnTo>
                    <a:pt x="1135" y="214"/>
                  </a:lnTo>
                  <a:lnTo>
                    <a:pt x="1134" y="213"/>
                  </a:lnTo>
                  <a:lnTo>
                    <a:pt x="1134" y="214"/>
                  </a:lnTo>
                  <a:lnTo>
                    <a:pt x="1132" y="220"/>
                  </a:lnTo>
                  <a:lnTo>
                    <a:pt x="1132" y="222"/>
                  </a:lnTo>
                  <a:lnTo>
                    <a:pt x="1129" y="224"/>
                  </a:lnTo>
                  <a:lnTo>
                    <a:pt x="1129" y="220"/>
                  </a:lnTo>
                  <a:lnTo>
                    <a:pt x="1128" y="214"/>
                  </a:lnTo>
                  <a:lnTo>
                    <a:pt x="1126" y="213"/>
                  </a:lnTo>
                  <a:lnTo>
                    <a:pt x="1125" y="211"/>
                  </a:lnTo>
                  <a:lnTo>
                    <a:pt x="1123" y="210"/>
                  </a:lnTo>
                  <a:lnTo>
                    <a:pt x="1123" y="208"/>
                  </a:lnTo>
                  <a:lnTo>
                    <a:pt x="1121" y="207"/>
                  </a:lnTo>
                  <a:lnTo>
                    <a:pt x="1121" y="203"/>
                  </a:lnTo>
                  <a:lnTo>
                    <a:pt x="1121" y="200"/>
                  </a:lnTo>
                  <a:lnTo>
                    <a:pt x="1120" y="199"/>
                  </a:lnTo>
                  <a:lnTo>
                    <a:pt x="1120" y="197"/>
                  </a:lnTo>
                  <a:lnTo>
                    <a:pt x="1115" y="199"/>
                  </a:lnTo>
                  <a:lnTo>
                    <a:pt x="1112" y="202"/>
                  </a:lnTo>
                  <a:lnTo>
                    <a:pt x="1114" y="205"/>
                  </a:lnTo>
                  <a:lnTo>
                    <a:pt x="1114" y="207"/>
                  </a:lnTo>
                  <a:lnTo>
                    <a:pt x="1111" y="205"/>
                  </a:lnTo>
                  <a:lnTo>
                    <a:pt x="1111" y="205"/>
                  </a:lnTo>
                  <a:lnTo>
                    <a:pt x="1109" y="207"/>
                  </a:lnTo>
                  <a:lnTo>
                    <a:pt x="1111" y="210"/>
                  </a:lnTo>
                  <a:lnTo>
                    <a:pt x="1117" y="213"/>
                  </a:lnTo>
                  <a:close/>
                  <a:moveTo>
                    <a:pt x="1271" y="203"/>
                  </a:moveTo>
                  <a:lnTo>
                    <a:pt x="1271" y="203"/>
                  </a:lnTo>
                  <a:lnTo>
                    <a:pt x="1272" y="202"/>
                  </a:lnTo>
                  <a:lnTo>
                    <a:pt x="1274" y="200"/>
                  </a:lnTo>
                  <a:lnTo>
                    <a:pt x="1276" y="197"/>
                  </a:lnTo>
                  <a:lnTo>
                    <a:pt x="1277" y="190"/>
                  </a:lnTo>
                  <a:lnTo>
                    <a:pt x="1277" y="185"/>
                  </a:lnTo>
                  <a:lnTo>
                    <a:pt x="1277" y="182"/>
                  </a:lnTo>
                  <a:lnTo>
                    <a:pt x="1272" y="177"/>
                  </a:lnTo>
                  <a:lnTo>
                    <a:pt x="1272" y="177"/>
                  </a:lnTo>
                  <a:lnTo>
                    <a:pt x="1271" y="176"/>
                  </a:lnTo>
                  <a:lnTo>
                    <a:pt x="1271" y="176"/>
                  </a:lnTo>
                  <a:lnTo>
                    <a:pt x="1271" y="177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80"/>
                  </a:lnTo>
                  <a:lnTo>
                    <a:pt x="1269" y="183"/>
                  </a:lnTo>
                  <a:lnTo>
                    <a:pt x="1269" y="187"/>
                  </a:lnTo>
                  <a:lnTo>
                    <a:pt x="1269" y="193"/>
                  </a:lnTo>
                  <a:lnTo>
                    <a:pt x="1268" y="199"/>
                  </a:lnTo>
                  <a:lnTo>
                    <a:pt x="1269" y="202"/>
                  </a:lnTo>
                  <a:lnTo>
                    <a:pt x="1271" y="203"/>
                  </a:lnTo>
                  <a:close/>
                  <a:moveTo>
                    <a:pt x="1326" y="185"/>
                  </a:moveTo>
                  <a:lnTo>
                    <a:pt x="1325" y="182"/>
                  </a:lnTo>
                  <a:lnTo>
                    <a:pt x="1323" y="182"/>
                  </a:lnTo>
                  <a:lnTo>
                    <a:pt x="1322" y="182"/>
                  </a:lnTo>
                  <a:lnTo>
                    <a:pt x="1320" y="185"/>
                  </a:lnTo>
                  <a:lnTo>
                    <a:pt x="1320" y="188"/>
                  </a:lnTo>
                  <a:lnTo>
                    <a:pt x="1320" y="190"/>
                  </a:lnTo>
                  <a:lnTo>
                    <a:pt x="1326" y="197"/>
                  </a:lnTo>
                  <a:lnTo>
                    <a:pt x="1346" y="205"/>
                  </a:lnTo>
                  <a:lnTo>
                    <a:pt x="1366" y="207"/>
                  </a:lnTo>
                  <a:lnTo>
                    <a:pt x="1368" y="205"/>
                  </a:lnTo>
                  <a:lnTo>
                    <a:pt x="1368" y="202"/>
                  </a:lnTo>
                  <a:lnTo>
                    <a:pt x="1368" y="199"/>
                  </a:lnTo>
                  <a:lnTo>
                    <a:pt x="1366" y="196"/>
                  </a:lnTo>
                  <a:lnTo>
                    <a:pt x="1365" y="196"/>
                  </a:lnTo>
                  <a:lnTo>
                    <a:pt x="1363" y="194"/>
                  </a:lnTo>
                  <a:lnTo>
                    <a:pt x="1362" y="194"/>
                  </a:lnTo>
                  <a:lnTo>
                    <a:pt x="1362" y="193"/>
                  </a:lnTo>
                  <a:lnTo>
                    <a:pt x="1362" y="191"/>
                  </a:lnTo>
                  <a:lnTo>
                    <a:pt x="1363" y="190"/>
                  </a:lnTo>
                  <a:lnTo>
                    <a:pt x="1363" y="190"/>
                  </a:lnTo>
                  <a:lnTo>
                    <a:pt x="1354" y="188"/>
                  </a:lnTo>
                  <a:lnTo>
                    <a:pt x="1353" y="185"/>
                  </a:lnTo>
                  <a:lnTo>
                    <a:pt x="1353" y="180"/>
                  </a:lnTo>
                  <a:lnTo>
                    <a:pt x="1351" y="176"/>
                  </a:lnTo>
                  <a:lnTo>
                    <a:pt x="1349" y="174"/>
                  </a:lnTo>
                  <a:lnTo>
                    <a:pt x="1346" y="176"/>
                  </a:lnTo>
                  <a:lnTo>
                    <a:pt x="1348" y="180"/>
                  </a:lnTo>
                  <a:lnTo>
                    <a:pt x="1346" y="185"/>
                  </a:lnTo>
                  <a:lnTo>
                    <a:pt x="1346" y="187"/>
                  </a:lnTo>
                  <a:lnTo>
                    <a:pt x="1345" y="183"/>
                  </a:lnTo>
                  <a:lnTo>
                    <a:pt x="1345" y="180"/>
                  </a:lnTo>
                  <a:lnTo>
                    <a:pt x="1345" y="176"/>
                  </a:lnTo>
                  <a:lnTo>
                    <a:pt x="1343" y="174"/>
                  </a:lnTo>
                  <a:lnTo>
                    <a:pt x="1343" y="173"/>
                  </a:lnTo>
                  <a:lnTo>
                    <a:pt x="1342" y="174"/>
                  </a:lnTo>
                  <a:lnTo>
                    <a:pt x="1340" y="176"/>
                  </a:lnTo>
                  <a:lnTo>
                    <a:pt x="1340" y="179"/>
                  </a:lnTo>
                  <a:lnTo>
                    <a:pt x="1340" y="179"/>
                  </a:lnTo>
                  <a:lnTo>
                    <a:pt x="1340" y="176"/>
                  </a:lnTo>
                  <a:lnTo>
                    <a:pt x="1339" y="176"/>
                  </a:lnTo>
                  <a:lnTo>
                    <a:pt x="1337" y="177"/>
                  </a:lnTo>
                  <a:lnTo>
                    <a:pt x="1337" y="180"/>
                  </a:lnTo>
                  <a:lnTo>
                    <a:pt x="1336" y="177"/>
                  </a:lnTo>
                  <a:lnTo>
                    <a:pt x="1332" y="180"/>
                  </a:lnTo>
                  <a:lnTo>
                    <a:pt x="1328" y="176"/>
                  </a:lnTo>
                  <a:lnTo>
                    <a:pt x="1328" y="177"/>
                  </a:lnTo>
                  <a:lnTo>
                    <a:pt x="1328" y="180"/>
                  </a:lnTo>
                  <a:lnTo>
                    <a:pt x="1328" y="183"/>
                  </a:lnTo>
                  <a:lnTo>
                    <a:pt x="1328" y="185"/>
                  </a:lnTo>
                  <a:lnTo>
                    <a:pt x="1329" y="190"/>
                  </a:lnTo>
                  <a:lnTo>
                    <a:pt x="1328" y="187"/>
                  </a:lnTo>
                  <a:lnTo>
                    <a:pt x="1326" y="185"/>
                  </a:lnTo>
                  <a:close/>
                  <a:moveTo>
                    <a:pt x="1396" y="125"/>
                  </a:moveTo>
                  <a:lnTo>
                    <a:pt x="1397" y="125"/>
                  </a:lnTo>
                  <a:lnTo>
                    <a:pt x="1400" y="127"/>
                  </a:lnTo>
                  <a:lnTo>
                    <a:pt x="1400" y="128"/>
                  </a:lnTo>
                  <a:lnTo>
                    <a:pt x="1400" y="131"/>
                  </a:lnTo>
                  <a:lnTo>
                    <a:pt x="1399" y="131"/>
                  </a:lnTo>
                  <a:lnTo>
                    <a:pt x="1403" y="134"/>
                  </a:lnTo>
                  <a:lnTo>
                    <a:pt x="1405" y="137"/>
                  </a:lnTo>
                  <a:lnTo>
                    <a:pt x="1406" y="140"/>
                  </a:lnTo>
                  <a:lnTo>
                    <a:pt x="1405" y="140"/>
                  </a:lnTo>
                  <a:lnTo>
                    <a:pt x="1397" y="137"/>
                  </a:lnTo>
                  <a:lnTo>
                    <a:pt x="1396" y="140"/>
                  </a:lnTo>
                  <a:lnTo>
                    <a:pt x="1396" y="142"/>
                  </a:lnTo>
                  <a:lnTo>
                    <a:pt x="1397" y="143"/>
                  </a:lnTo>
                  <a:lnTo>
                    <a:pt x="1396" y="143"/>
                  </a:lnTo>
                  <a:lnTo>
                    <a:pt x="1393" y="140"/>
                  </a:lnTo>
                  <a:lnTo>
                    <a:pt x="1391" y="139"/>
                  </a:lnTo>
                  <a:lnTo>
                    <a:pt x="1389" y="139"/>
                  </a:lnTo>
                  <a:lnTo>
                    <a:pt x="1389" y="140"/>
                  </a:lnTo>
                  <a:lnTo>
                    <a:pt x="1389" y="143"/>
                  </a:lnTo>
                  <a:lnTo>
                    <a:pt x="1391" y="143"/>
                  </a:lnTo>
                  <a:lnTo>
                    <a:pt x="1389" y="147"/>
                  </a:lnTo>
                  <a:lnTo>
                    <a:pt x="1388" y="154"/>
                  </a:lnTo>
                  <a:lnTo>
                    <a:pt x="1388" y="156"/>
                  </a:lnTo>
                  <a:lnTo>
                    <a:pt x="1386" y="154"/>
                  </a:lnTo>
                  <a:lnTo>
                    <a:pt x="1386" y="153"/>
                  </a:lnTo>
                  <a:lnTo>
                    <a:pt x="1386" y="150"/>
                  </a:lnTo>
                  <a:lnTo>
                    <a:pt x="1388" y="147"/>
                  </a:lnTo>
                  <a:lnTo>
                    <a:pt x="1386" y="142"/>
                  </a:lnTo>
                  <a:lnTo>
                    <a:pt x="1385" y="140"/>
                  </a:lnTo>
                  <a:lnTo>
                    <a:pt x="1383" y="139"/>
                  </a:lnTo>
                  <a:lnTo>
                    <a:pt x="1382" y="139"/>
                  </a:lnTo>
                  <a:lnTo>
                    <a:pt x="1380" y="140"/>
                  </a:lnTo>
                  <a:lnTo>
                    <a:pt x="1380" y="142"/>
                  </a:lnTo>
                  <a:lnTo>
                    <a:pt x="1382" y="143"/>
                  </a:lnTo>
                  <a:lnTo>
                    <a:pt x="1383" y="145"/>
                  </a:lnTo>
                  <a:lnTo>
                    <a:pt x="1383" y="147"/>
                  </a:lnTo>
                  <a:lnTo>
                    <a:pt x="1382" y="148"/>
                  </a:lnTo>
                  <a:lnTo>
                    <a:pt x="1380" y="150"/>
                  </a:lnTo>
                  <a:lnTo>
                    <a:pt x="1379" y="151"/>
                  </a:lnTo>
                  <a:lnTo>
                    <a:pt x="1377" y="148"/>
                  </a:lnTo>
                  <a:lnTo>
                    <a:pt x="1376" y="147"/>
                  </a:lnTo>
                  <a:lnTo>
                    <a:pt x="1368" y="151"/>
                  </a:lnTo>
                  <a:lnTo>
                    <a:pt x="1368" y="153"/>
                  </a:lnTo>
                  <a:lnTo>
                    <a:pt x="1368" y="154"/>
                  </a:lnTo>
                  <a:lnTo>
                    <a:pt x="1366" y="156"/>
                  </a:lnTo>
                  <a:lnTo>
                    <a:pt x="1366" y="156"/>
                  </a:lnTo>
                  <a:lnTo>
                    <a:pt x="1365" y="156"/>
                  </a:lnTo>
                  <a:lnTo>
                    <a:pt x="1365" y="156"/>
                  </a:lnTo>
                  <a:lnTo>
                    <a:pt x="1365" y="157"/>
                  </a:lnTo>
                  <a:lnTo>
                    <a:pt x="1363" y="159"/>
                  </a:lnTo>
                  <a:lnTo>
                    <a:pt x="1363" y="159"/>
                  </a:lnTo>
                  <a:lnTo>
                    <a:pt x="1363" y="159"/>
                  </a:lnTo>
                  <a:lnTo>
                    <a:pt x="1362" y="159"/>
                  </a:lnTo>
                  <a:lnTo>
                    <a:pt x="1362" y="160"/>
                  </a:lnTo>
                  <a:lnTo>
                    <a:pt x="1359" y="162"/>
                  </a:lnTo>
                  <a:lnTo>
                    <a:pt x="1359" y="162"/>
                  </a:lnTo>
                  <a:lnTo>
                    <a:pt x="1360" y="165"/>
                  </a:lnTo>
                  <a:lnTo>
                    <a:pt x="1360" y="167"/>
                  </a:lnTo>
                  <a:lnTo>
                    <a:pt x="1365" y="168"/>
                  </a:lnTo>
                  <a:lnTo>
                    <a:pt x="1362" y="171"/>
                  </a:lnTo>
                  <a:lnTo>
                    <a:pt x="1359" y="170"/>
                  </a:lnTo>
                  <a:lnTo>
                    <a:pt x="1356" y="171"/>
                  </a:lnTo>
                  <a:lnTo>
                    <a:pt x="1357" y="173"/>
                  </a:lnTo>
                  <a:lnTo>
                    <a:pt x="1362" y="180"/>
                  </a:lnTo>
                  <a:lnTo>
                    <a:pt x="1363" y="182"/>
                  </a:lnTo>
                  <a:lnTo>
                    <a:pt x="1365" y="182"/>
                  </a:lnTo>
                  <a:lnTo>
                    <a:pt x="1365" y="182"/>
                  </a:lnTo>
                  <a:lnTo>
                    <a:pt x="1366" y="182"/>
                  </a:lnTo>
                  <a:lnTo>
                    <a:pt x="1368" y="183"/>
                  </a:lnTo>
                  <a:lnTo>
                    <a:pt x="1369" y="187"/>
                  </a:lnTo>
                  <a:lnTo>
                    <a:pt x="1373" y="182"/>
                  </a:lnTo>
                  <a:lnTo>
                    <a:pt x="1377" y="170"/>
                  </a:lnTo>
                  <a:lnTo>
                    <a:pt x="1377" y="173"/>
                  </a:lnTo>
                  <a:lnTo>
                    <a:pt x="1377" y="176"/>
                  </a:lnTo>
                  <a:lnTo>
                    <a:pt x="1377" y="179"/>
                  </a:lnTo>
                  <a:lnTo>
                    <a:pt x="1376" y="182"/>
                  </a:lnTo>
                  <a:lnTo>
                    <a:pt x="1374" y="188"/>
                  </a:lnTo>
                  <a:lnTo>
                    <a:pt x="1373" y="194"/>
                  </a:lnTo>
                  <a:lnTo>
                    <a:pt x="1374" y="199"/>
                  </a:lnTo>
                  <a:lnTo>
                    <a:pt x="1379" y="200"/>
                  </a:lnTo>
                  <a:lnTo>
                    <a:pt x="1383" y="199"/>
                  </a:lnTo>
                  <a:lnTo>
                    <a:pt x="1396" y="191"/>
                  </a:lnTo>
                  <a:lnTo>
                    <a:pt x="1394" y="190"/>
                  </a:lnTo>
                  <a:lnTo>
                    <a:pt x="1393" y="188"/>
                  </a:lnTo>
                  <a:lnTo>
                    <a:pt x="1391" y="188"/>
                  </a:lnTo>
                  <a:lnTo>
                    <a:pt x="1388" y="188"/>
                  </a:lnTo>
                  <a:lnTo>
                    <a:pt x="1391" y="185"/>
                  </a:lnTo>
                  <a:lnTo>
                    <a:pt x="1397" y="183"/>
                  </a:lnTo>
                  <a:lnTo>
                    <a:pt x="1411" y="170"/>
                  </a:lnTo>
                  <a:lnTo>
                    <a:pt x="1414" y="165"/>
                  </a:lnTo>
                  <a:lnTo>
                    <a:pt x="1416" y="157"/>
                  </a:lnTo>
                  <a:lnTo>
                    <a:pt x="1416" y="157"/>
                  </a:lnTo>
                  <a:lnTo>
                    <a:pt x="1414" y="154"/>
                  </a:lnTo>
                  <a:lnTo>
                    <a:pt x="1414" y="153"/>
                  </a:lnTo>
                  <a:lnTo>
                    <a:pt x="1414" y="153"/>
                  </a:lnTo>
                  <a:lnTo>
                    <a:pt x="1416" y="151"/>
                  </a:lnTo>
                  <a:lnTo>
                    <a:pt x="1416" y="150"/>
                  </a:lnTo>
                  <a:lnTo>
                    <a:pt x="1414" y="148"/>
                  </a:lnTo>
                  <a:lnTo>
                    <a:pt x="1413" y="148"/>
                  </a:lnTo>
                  <a:lnTo>
                    <a:pt x="1411" y="147"/>
                  </a:lnTo>
                  <a:lnTo>
                    <a:pt x="1409" y="143"/>
                  </a:lnTo>
                  <a:lnTo>
                    <a:pt x="1409" y="140"/>
                  </a:lnTo>
                  <a:lnTo>
                    <a:pt x="1411" y="139"/>
                  </a:lnTo>
                  <a:lnTo>
                    <a:pt x="1411" y="136"/>
                  </a:lnTo>
                  <a:lnTo>
                    <a:pt x="1411" y="133"/>
                  </a:lnTo>
                  <a:lnTo>
                    <a:pt x="1409" y="128"/>
                  </a:lnTo>
                  <a:lnTo>
                    <a:pt x="1408" y="127"/>
                  </a:lnTo>
                  <a:lnTo>
                    <a:pt x="1409" y="125"/>
                  </a:lnTo>
                  <a:lnTo>
                    <a:pt x="1408" y="123"/>
                  </a:lnTo>
                  <a:lnTo>
                    <a:pt x="1405" y="127"/>
                  </a:lnTo>
                  <a:lnTo>
                    <a:pt x="1405" y="125"/>
                  </a:lnTo>
                  <a:lnTo>
                    <a:pt x="1403" y="123"/>
                  </a:lnTo>
                  <a:lnTo>
                    <a:pt x="1402" y="122"/>
                  </a:lnTo>
                  <a:lnTo>
                    <a:pt x="1396" y="125"/>
                  </a:lnTo>
                  <a:close/>
                  <a:moveTo>
                    <a:pt x="1419" y="113"/>
                  </a:moveTo>
                  <a:lnTo>
                    <a:pt x="1417" y="116"/>
                  </a:lnTo>
                  <a:lnTo>
                    <a:pt x="1417" y="116"/>
                  </a:lnTo>
                  <a:lnTo>
                    <a:pt x="1416" y="117"/>
                  </a:lnTo>
                  <a:lnTo>
                    <a:pt x="1417" y="120"/>
                  </a:lnTo>
                  <a:lnTo>
                    <a:pt x="1417" y="122"/>
                  </a:lnTo>
                  <a:lnTo>
                    <a:pt x="1417" y="125"/>
                  </a:lnTo>
                  <a:lnTo>
                    <a:pt x="1414" y="128"/>
                  </a:lnTo>
                  <a:lnTo>
                    <a:pt x="1419" y="128"/>
                  </a:lnTo>
                  <a:lnTo>
                    <a:pt x="1419" y="130"/>
                  </a:lnTo>
                  <a:lnTo>
                    <a:pt x="1419" y="131"/>
                  </a:lnTo>
                  <a:lnTo>
                    <a:pt x="1419" y="133"/>
                  </a:lnTo>
                  <a:lnTo>
                    <a:pt x="1419" y="134"/>
                  </a:lnTo>
                  <a:lnTo>
                    <a:pt x="1420" y="137"/>
                  </a:lnTo>
                  <a:lnTo>
                    <a:pt x="1422" y="142"/>
                  </a:lnTo>
                  <a:lnTo>
                    <a:pt x="1423" y="145"/>
                  </a:lnTo>
                  <a:lnTo>
                    <a:pt x="1426" y="148"/>
                  </a:lnTo>
                  <a:lnTo>
                    <a:pt x="1431" y="148"/>
                  </a:lnTo>
                  <a:lnTo>
                    <a:pt x="1436" y="145"/>
                  </a:lnTo>
                  <a:lnTo>
                    <a:pt x="1442" y="136"/>
                  </a:lnTo>
                  <a:lnTo>
                    <a:pt x="1450" y="131"/>
                  </a:lnTo>
                  <a:lnTo>
                    <a:pt x="1451" y="123"/>
                  </a:lnTo>
                  <a:lnTo>
                    <a:pt x="1448" y="120"/>
                  </a:lnTo>
                  <a:lnTo>
                    <a:pt x="1446" y="117"/>
                  </a:lnTo>
                  <a:lnTo>
                    <a:pt x="1446" y="114"/>
                  </a:lnTo>
                  <a:lnTo>
                    <a:pt x="1446" y="113"/>
                  </a:lnTo>
                  <a:lnTo>
                    <a:pt x="1445" y="111"/>
                  </a:lnTo>
                  <a:lnTo>
                    <a:pt x="1445" y="110"/>
                  </a:lnTo>
                  <a:lnTo>
                    <a:pt x="1443" y="108"/>
                  </a:lnTo>
                  <a:lnTo>
                    <a:pt x="1440" y="105"/>
                  </a:lnTo>
                  <a:lnTo>
                    <a:pt x="1439" y="103"/>
                  </a:lnTo>
                  <a:lnTo>
                    <a:pt x="1431" y="103"/>
                  </a:lnTo>
                  <a:lnTo>
                    <a:pt x="1431" y="103"/>
                  </a:lnTo>
                  <a:lnTo>
                    <a:pt x="1430" y="105"/>
                  </a:lnTo>
                  <a:lnTo>
                    <a:pt x="1430" y="105"/>
                  </a:lnTo>
                  <a:lnTo>
                    <a:pt x="1428" y="103"/>
                  </a:lnTo>
                  <a:lnTo>
                    <a:pt x="1428" y="103"/>
                  </a:lnTo>
                  <a:lnTo>
                    <a:pt x="1430" y="103"/>
                  </a:lnTo>
                  <a:lnTo>
                    <a:pt x="1430" y="102"/>
                  </a:lnTo>
                  <a:lnTo>
                    <a:pt x="1430" y="100"/>
                  </a:lnTo>
                  <a:lnTo>
                    <a:pt x="1430" y="100"/>
                  </a:lnTo>
                  <a:lnTo>
                    <a:pt x="1428" y="99"/>
                  </a:lnTo>
                  <a:lnTo>
                    <a:pt x="1430" y="97"/>
                  </a:lnTo>
                  <a:lnTo>
                    <a:pt x="1430" y="96"/>
                  </a:lnTo>
                  <a:lnTo>
                    <a:pt x="1428" y="94"/>
                  </a:lnTo>
                  <a:lnTo>
                    <a:pt x="1420" y="94"/>
                  </a:lnTo>
                  <a:lnTo>
                    <a:pt x="1419" y="96"/>
                  </a:lnTo>
                  <a:lnTo>
                    <a:pt x="1417" y="100"/>
                  </a:lnTo>
                  <a:lnTo>
                    <a:pt x="1416" y="103"/>
                  </a:lnTo>
                  <a:lnTo>
                    <a:pt x="1414" y="105"/>
                  </a:lnTo>
                  <a:lnTo>
                    <a:pt x="1414" y="108"/>
                  </a:lnTo>
                  <a:lnTo>
                    <a:pt x="1414" y="110"/>
                  </a:lnTo>
                  <a:lnTo>
                    <a:pt x="1419" y="113"/>
                  </a:lnTo>
                  <a:close/>
                  <a:moveTo>
                    <a:pt x="1292" y="120"/>
                  </a:moveTo>
                  <a:lnTo>
                    <a:pt x="1299" y="120"/>
                  </a:lnTo>
                  <a:lnTo>
                    <a:pt x="1297" y="123"/>
                  </a:lnTo>
                  <a:lnTo>
                    <a:pt x="1294" y="125"/>
                  </a:lnTo>
                  <a:lnTo>
                    <a:pt x="1294" y="128"/>
                  </a:lnTo>
                  <a:lnTo>
                    <a:pt x="1296" y="130"/>
                  </a:lnTo>
                  <a:lnTo>
                    <a:pt x="1297" y="130"/>
                  </a:lnTo>
                  <a:lnTo>
                    <a:pt x="1299" y="130"/>
                  </a:lnTo>
                  <a:lnTo>
                    <a:pt x="1299" y="128"/>
                  </a:lnTo>
                  <a:lnTo>
                    <a:pt x="1300" y="127"/>
                  </a:lnTo>
                  <a:lnTo>
                    <a:pt x="1317" y="125"/>
                  </a:lnTo>
                  <a:lnTo>
                    <a:pt x="1316" y="128"/>
                  </a:lnTo>
                  <a:lnTo>
                    <a:pt x="1309" y="133"/>
                  </a:lnTo>
                  <a:lnTo>
                    <a:pt x="1311" y="134"/>
                  </a:lnTo>
                  <a:lnTo>
                    <a:pt x="1312" y="134"/>
                  </a:lnTo>
                  <a:lnTo>
                    <a:pt x="1311" y="137"/>
                  </a:lnTo>
                  <a:lnTo>
                    <a:pt x="1308" y="140"/>
                  </a:lnTo>
                  <a:lnTo>
                    <a:pt x="1306" y="143"/>
                  </a:lnTo>
                  <a:lnTo>
                    <a:pt x="1305" y="148"/>
                  </a:lnTo>
                  <a:lnTo>
                    <a:pt x="1303" y="151"/>
                  </a:lnTo>
                  <a:lnTo>
                    <a:pt x="1303" y="154"/>
                  </a:lnTo>
                  <a:lnTo>
                    <a:pt x="1305" y="157"/>
                  </a:lnTo>
                  <a:lnTo>
                    <a:pt x="1306" y="157"/>
                  </a:lnTo>
                  <a:lnTo>
                    <a:pt x="1309" y="154"/>
                  </a:lnTo>
                  <a:lnTo>
                    <a:pt x="1311" y="153"/>
                  </a:lnTo>
                  <a:lnTo>
                    <a:pt x="1312" y="143"/>
                  </a:lnTo>
                  <a:lnTo>
                    <a:pt x="1314" y="142"/>
                  </a:lnTo>
                  <a:lnTo>
                    <a:pt x="1316" y="143"/>
                  </a:lnTo>
                  <a:lnTo>
                    <a:pt x="1314" y="148"/>
                  </a:lnTo>
                  <a:lnTo>
                    <a:pt x="1316" y="150"/>
                  </a:lnTo>
                  <a:lnTo>
                    <a:pt x="1319" y="151"/>
                  </a:lnTo>
                  <a:lnTo>
                    <a:pt x="1320" y="150"/>
                  </a:lnTo>
                  <a:lnTo>
                    <a:pt x="1322" y="148"/>
                  </a:lnTo>
                  <a:lnTo>
                    <a:pt x="1323" y="148"/>
                  </a:lnTo>
                  <a:lnTo>
                    <a:pt x="1323" y="148"/>
                  </a:lnTo>
                  <a:lnTo>
                    <a:pt x="1325" y="150"/>
                  </a:lnTo>
                  <a:lnTo>
                    <a:pt x="1326" y="151"/>
                  </a:lnTo>
                  <a:lnTo>
                    <a:pt x="1328" y="151"/>
                  </a:lnTo>
                  <a:lnTo>
                    <a:pt x="1328" y="150"/>
                  </a:lnTo>
                  <a:lnTo>
                    <a:pt x="1329" y="143"/>
                  </a:lnTo>
                  <a:lnTo>
                    <a:pt x="1331" y="145"/>
                  </a:lnTo>
                  <a:lnTo>
                    <a:pt x="1334" y="150"/>
                  </a:lnTo>
                  <a:lnTo>
                    <a:pt x="1336" y="150"/>
                  </a:lnTo>
                  <a:lnTo>
                    <a:pt x="1336" y="148"/>
                  </a:lnTo>
                  <a:lnTo>
                    <a:pt x="1336" y="147"/>
                  </a:lnTo>
                  <a:lnTo>
                    <a:pt x="1337" y="143"/>
                  </a:lnTo>
                  <a:lnTo>
                    <a:pt x="1337" y="143"/>
                  </a:lnTo>
                  <a:lnTo>
                    <a:pt x="1337" y="145"/>
                  </a:lnTo>
                  <a:lnTo>
                    <a:pt x="1339" y="145"/>
                  </a:lnTo>
                  <a:lnTo>
                    <a:pt x="1339" y="145"/>
                  </a:lnTo>
                  <a:lnTo>
                    <a:pt x="1340" y="145"/>
                  </a:lnTo>
                  <a:lnTo>
                    <a:pt x="1340" y="143"/>
                  </a:lnTo>
                  <a:lnTo>
                    <a:pt x="1339" y="140"/>
                  </a:lnTo>
                  <a:lnTo>
                    <a:pt x="1340" y="139"/>
                  </a:lnTo>
                  <a:lnTo>
                    <a:pt x="1340" y="136"/>
                  </a:lnTo>
                  <a:lnTo>
                    <a:pt x="1343" y="136"/>
                  </a:lnTo>
                  <a:lnTo>
                    <a:pt x="1351" y="139"/>
                  </a:lnTo>
                  <a:lnTo>
                    <a:pt x="1349" y="142"/>
                  </a:lnTo>
                  <a:lnTo>
                    <a:pt x="1349" y="143"/>
                  </a:lnTo>
                  <a:lnTo>
                    <a:pt x="1349" y="145"/>
                  </a:lnTo>
                  <a:lnTo>
                    <a:pt x="1351" y="145"/>
                  </a:lnTo>
                  <a:lnTo>
                    <a:pt x="1353" y="145"/>
                  </a:lnTo>
                  <a:lnTo>
                    <a:pt x="1354" y="140"/>
                  </a:lnTo>
                  <a:lnTo>
                    <a:pt x="1354" y="139"/>
                  </a:lnTo>
                  <a:lnTo>
                    <a:pt x="1356" y="139"/>
                  </a:lnTo>
                  <a:lnTo>
                    <a:pt x="1357" y="142"/>
                  </a:lnTo>
                  <a:lnTo>
                    <a:pt x="1359" y="142"/>
                  </a:lnTo>
                  <a:lnTo>
                    <a:pt x="1360" y="142"/>
                  </a:lnTo>
                  <a:lnTo>
                    <a:pt x="1360" y="140"/>
                  </a:lnTo>
                  <a:lnTo>
                    <a:pt x="1362" y="139"/>
                  </a:lnTo>
                  <a:lnTo>
                    <a:pt x="1362" y="137"/>
                  </a:lnTo>
                  <a:lnTo>
                    <a:pt x="1359" y="134"/>
                  </a:lnTo>
                  <a:lnTo>
                    <a:pt x="1359" y="133"/>
                  </a:lnTo>
                  <a:lnTo>
                    <a:pt x="1360" y="133"/>
                  </a:lnTo>
                  <a:lnTo>
                    <a:pt x="1363" y="136"/>
                  </a:lnTo>
                  <a:lnTo>
                    <a:pt x="1365" y="136"/>
                  </a:lnTo>
                  <a:lnTo>
                    <a:pt x="1366" y="134"/>
                  </a:lnTo>
                  <a:lnTo>
                    <a:pt x="1368" y="131"/>
                  </a:lnTo>
                  <a:lnTo>
                    <a:pt x="1368" y="130"/>
                  </a:lnTo>
                  <a:lnTo>
                    <a:pt x="1366" y="128"/>
                  </a:lnTo>
                  <a:lnTo>
                    <a:pt x="1368" y="128"/>
                  </a:lnTo>
                  <a:lnTo>
                    <a:pt x="1371" y="130"/>
                  </a:lnTo>
                  <a:lnTo>
                    <a:pt x="1374" y="131"/>
                  </a:lnTo>
                  <a:lnTo>
                    <a:pt x="1376" y="125"/>
                  </a:lnTo>
                  <a:lnTo>
                    <a:pt x="1371" y="122"/>
                  </a:lnTo>
                  <a:lnTo>
                    <a:pt x="1373" y="122"/>
                  </a:lnTo>
                  <a:lnTo>
                    <a:pt x="1376" y="123"/>
                  </a:lnTo>
                  <a:lnTo>
                    <a:pt x="1377" y="122"/>
                  </a:lnTo>
                  <a:lnTo>
                    <a:pt x="1379" y="120"/>
                  </a:lnTo>
                  <a:lnTo>
                    <a:pt x="1380" y="117"/>
                  </a:lnTo>
                  <a:lnTo>
                    <a:pt x="1380" y="116"/>
                  </a:lnTo>
                  <a:lnTo>
                    <a:pt x="1379" y="116"/>
                  </a:lnTo>
                  <a:lnTo>
                    <a:pt x="1377" y="116"/>
                  </a:lnTo>
                  <a:lnTo>
                    <a:pt x="1377" y="113"/>
                  </a:lnTo>
                  <a:lnTo>
                    <a:pt x="1377" y="113"/>
                  </a:lnTo>
                  <a:lnTo>
                    <a:pt x="1379" y="111"/>
                  </a:lnTo>
                  <a:lnTo>
                    <a:pt x="1379" y="111"/>
                  </a:lnTo>
                  <a:lnTo>
                    <a:pt x="1379" y="106"/>
                  </a:lnTo>
                  <a:lnTo>
                    <a:pt x="1379" y="106"/>
                  </a:lnTo>
                  <a:lnTo>
                    <a:pt x="1380" y="108"/>
                  </a:lnTo>
                  <a:lnTo>
                    <a:pt x="1388" y="110"/>
                  </a:lnTo>
                  <a:lnTo>
                    <a:pt x="1386" y="110"/>
                  </a:lnTo>
                  <a:lnTo>
                    <a:pt x="1386" y="106"/>
                  </a:lnTo>
                  <a:lnTo>
                    <a:pt x="1388" y="105"/>
                  </a:lnTo>
                  <a:lnTo>
                    <a:pt x="1389" y="103"/>
                  </a:lnTo>
                  <a:lnTo>
                    <a:pt x="1389" y="103"/>
                  </a:lnTo>
                  <a:lnTo>
                    <a:pt x="1391" y="103"/>
                  </a:lnTo>
                  <a:lnTo>
                    <a:pt x="1391" y="103"/>
                  </a:lnTo>
                  <a:lnTo>
                    <a:pt x="1391" y="102"/>
                  </a:lnTo>
                  <a:lnTo>
                    <a:pt x="1391" y="96"/>
                  </a:lnTo>
                  <a:lnTo>
                    <a:pt x="1391" y="94"/>
                  </a:lnTo>
                  <a:lnTo>
                    <a:pt x="1393" y="94"/>
                  </a:lnTo>
                  <a:lnTo>
                    <a:pt x="1396" y="96"/>
                  </a:lnTo>
                  <a:lnTo>
                    <a:pt x="1397" y="96"/>
                  </a:lnTo>
                  <a:lnTo>
                    <a:pt x="1397" y="96"/>
                  </a:lnTo>
                  <a:lnTo>
                    <a:pt x="1397" y="93"/>
                  </a:lnTo>
                  <a:lnTo>
                    <a:pt x="1397" y="91"/>
                  </a:lnTo>
                  <a:lnTo>
                    <a:pt x="1399" y="91"/>
                  </a:lnTo>
                  <a:lnTo>
                    <a:pt x="1400" y="91"/>
                  </a:lnTo>
                  <a:lnTo>
                    <a:pt x="1400" y="90"/>
                  </a:lnTo>
                  <a:lnTo>
                    <a:pt x="1399" y="90"/>
                  </a:lnTo>
                  <a:lnTo>
                    <a:pt x="1397" y="88"/>
                  </a:lnTo>
                  <a:lnTo>
                    <a:pt x="1396" y="86"/>
                  </a:lnTo>
                  <a:lnTo>
                    <a:pt x="1397" y="85"/>
                  </a:lnTo>
                  <a:lnTo>
                    <a:pt x="1402" y="85"/>
                  </a:lnTo>
                  <a:lnTo>
                    <a:pt x="1403" y="83"/>
                  </a:lnTo>
                  <a:lnTo>
                    <a:pt x="1402" y="83"/>
                  </a:lnTo>
                  <a:lnTo>
                    <a:pt x="1400" y="82"/>
                  </a:lnTo>
                  <a:lnTo>
                    <a:pt x="1400" y="80"/>
                  </a:lnTo>
                  <a:lnTo>
                    <a:pt x="1400" y="77"/>
                  </a:lnTo>
                  <a:lnTo>
                    <a:pt x="1399" y="77"/>
                  </a:lnTo>
                  <a:lnTo>
                    <a:pt x="1397" y="74"/>
                  </a:lnTo>
                  <a:lnTo>
                    <a:pt x="1396" y="73"/>
                  </a:lnTo>
                  <a:lnTo>
                    <a:pt x="1394" y="70"/>
                  </a:lnTo>
                  <a:lnTo>
                    <a:pt x="1394" y="68"/>
                  </a:lnTo>
                  <a:lnTo>
                    <a:pt x="1393" y="68"/>
                  </a:lnTo>
                  <a:lnTo>
                    <a:pt x="1391" y="68"/>
                  </a:lnTo>
                  <a:lnTo>
                    <a:pt x="1391" y="70"/>
                  </a:lnTo>
                  <a:lnTo>
                    <a:pt x="1391" y="71"/>
                  </a:lnTo>
                  <a:lnTo>
                    <a:pt x="1391" y="74"/>
                  </a:lnTo>
                  <a:lnTo>
                    <a:pt x="1391" y="77"/>
                  </a:lnTo>
                  <a:lnTo>
                    <a:pt x="1391" y="79"/>
                  </a:lnTo>
                  <a:lnTo>
                    <a:pt x="1393" y="83"/>
                  </a:lnTo>
                  <a:lnTo>
                    <a:pt x="1393" y="86"/>
                  </a:lnTo>
                  <a:lnTo>
                    <a:pt x="1391" y="88"/>
                  </a:lnTo>
                  <a:lnTo>
                    <a:pt x="1388" y="88"/>
                  </a:lnTo>
                  <a:lnTo>
                    <a:pt x="1388" y="88"/>
                  </a:lnTo>
                  <a:lnTo>
                    <a:pt x="1385" y="86"/>
                  </a:lnTo>
                  <a:lnTo>
                    <a:pt x="1382" y="80"/>
                  </a:lnTo>
                  <a:lnTo>
                    <a:pt x="1379" y="77"/>
                  </a:lnTo>
                  <a:lnTo>
                    <a:pt x="1379" y="79"/>
                  </a:lnTo>
                  <a:lnTo>
                    <a:pt x="1380" y="80"/>
                  </a:lnTo>
                  <a:lnTo>
                    <a:pt x="1380" y="83"/>
                  </a:lnTo>
                  <a:lnTo>
                    <a:pt x="1380" y="85"/>
                  </a:lnTo>
                  <a:lnTo>
                    <a:pt x="1379" y="85"/>
                  </a:lnTo>
                  <a:lnTo>
                    <a:pt x="1377" y="85"/>
                  </a:lnTo>
                  <a:lnTo>
                    <a:pt x="1374" y="80"/>
                  </a:lnTo>
                  <a:lnTo>
                    <a:pt x="1373" y="80"/>
                  </a:lnTo>
                  <a:lnTo>
                    <a:pt x="1373" y="82"/>
                  </a:lnTo>
                  <a:lnTo>
                    <a:pt x="1373" y="83"/>
                  </a:lnTo>
                  <a:lnTo>
                    <a:pt x="1374" y="83"/>
                  </a:lnTo>
                  <a:lnTo>
                    <a:pt x="1374" y="83"/>
                  </a:lnTo>
                  <a:lnTo>
                    <a:pt x="1371" y="83"/>
                  </a:lnTo>
                  <a:lnTo>
                    <a:pt x="1369" y="85"/>
                  </a:lnTo>
                  <a:lnTo>
                    <a:pt x="1371" y="90"/>
                  </a:lnTo>
                  <a:lnTo>
                    <a:pt x="1373" y="91"/>
                  </a:lnTo>
                  <a:lnTo>
                    <a:pt x="1377" y="93"/>
                  </a:lnTo>
                  <a:lnTo>
                    <a:pt x="1377" y="94"/>
                  </a:lnTo>
                  <a:lnTo>
                    <a:pt x="1377" y="94"/>
                  </a:lnTo>
                  <a:lnTo>
                    <a:pt x="1377" y="96"/>
                  </a:lnTo>
                  <a:lnTo>
                    <a:pt x="1377" y="96"/>
                  </a:lnTo>
                  <a:lnTo>
                    <a:pt x="1379" y="96"/>
                  </a:lnTo>
                  <a:lnTo>
                    <a:pt x="1380" y="97"/>
                  </a:lnTo>
                  <a:lnTo>
                    <a:pt x="1380" y="97"/>
                  </a:lnTo>
                  <a:lnTo>
                    <a:pt x="1379" y="99"/>
                  </a:lnTo>
                  <a:lnTo>
                    <a:pt x="1374" y="97"/>
                  </a:lnTo>
                  <a:lnTo>
                    <a:pt x="1374" y="99"/>
                  </a:lnTo>
                  <a:lnTo>
                    <a:pt x="1374" y="100"/>
                  </a:lnTo>
                  <a:lnTo>
                    <a:pt x="1376" y="102"/>
                  </a:lnTo>
                  <a:lnTo>
                    <a:pt x="1376" y="103"/>
                  </a:lnTo>
                  <a:lnTo>
                    <a:pt x="1374" y="103"/>
                  </a:lnTo>
                  <a:lnTo>
                    <a:pt x="1371" y="100"/>
                  </a:lnTo>
                  <a:lnTo>
                    <a:pt x="1369" y="100"/>
                  </a:lnTo>
                  <a:lnTo>
                    <a:pt x="1369" y="105"/>
                  </a:lnTo>
                  <a:lnTo>
                    <a:pt x="1368" y="108"/>
                  </a:lnTo>
                  <a:lnTo>
                    <a:pt x="1366" y="108"/>
                  </a:lnTo>
                  <a:lnTo>
                    <a:pt x="1365" y="110"/>
                  </a:lnTo>
                  <a:lnTo>
                    <a:pt x="1366" y="113"/>
                  </a:lnTo>
                  <a:lnTo>
                    <a:pt x="1365" y="114"/>
                  </a:lnTo>
                  <a:lnTo>
                    <a:pt x="1363" y="113"/>
                  </a:lnTo>
                  <a:lnTo>
                    <a:pt x="1360" y="110"/>
                  </a:lnTo>
                  <a:lnTo>
                    <a:pt x="1359" y="106"/>
                  </a:lnTo>
                  <a:lnTo>
                    <a:pt x="1362" y="103"/>
                  </a:lnTo>
                  <a:lnTo>
                    <a:pt x="1362" y="102"/>
                  </a:lnTo>
                  <a:lnTo>
                    <a:pt x="1362" y="100"/>
                  </a:lnTo>
                  <a:lnTo>
                    <a:pt x="1360" y="99"/>
                  </a:lnTo>
                  <a:lnTo>
                    <a:pt x="1357" y="100"/>
                  </a:lnTo>
                  <a:lnTo>
                    <a:pt x="1356" y="100"/>
                  </a:lnTo>
                  <a:lnTo>
                    <a:pt x="1356" y="99"/>
                  </a:lnTo>
                  <a:lnTo>
                    <a:pt x="1357" y="99"/>
                  </a:lnTo>
                  <a:lnTo>
                    <a:pt x="1356" y="96"/>
                  </a:lnTo>
                  <a:lnTo>
                    <a:pt x="1353" y="96"/>
                  </a:lnTo>
                  <a:lnTo>
                    <a:pt x="1351" y="94"/>
                  </a:lnTo>
                  <a:lnTo>
                    <a:pt x="1353" y="94"/>
                  </a:lnTo>
                  <a:lnTo>
                    <a:pt x="1353" y="91"/>
                  </a:lnTo>
                  <a:lnTo>
                    <a:pt x="1348" y="94"/>
                  </a:lnTo>
                  <a:lnTo>
                    <a:pt x="1346" y="94"/>
                  </a:lnTo>
                  <a:lnTo>
                    <a:pt x="1346" y="96"/>
                  </a:lnTo>
                  <a:lnTo>
                    <a:pt x="1346" y="97"/>
                  </a:lnTo>
                  <a:lnTo>
                    <a:pt x="1346" y="99"/>
                  </a:lnTo>
                  <a:lnTo>
                    <a:pt x="1348" y="103"/>
                  </a:lnTo>
                  <a:lnTo>
                    <a:pt x="1351" y="105"/>
                  </a:lnTo>
                  <a:lnTo>
                    <a:pt x="1351" y="106"/>
                  </a:lnTo>
                  <a:lnTo>
                    <a:pt x="1351" y="111"/>
                  </a:lnTo>
                  <a:lnTo>
                    <a:pt x="1353" y="114"/>
                  </a:lnTo>
                  <a:lnTo>
                    <a:pt x="1354" y="117"/>
                  </a:lnTo>
                  <a:lnTo>
                    <a:pt x="1349" y="117"/>
                  </a:lnTo>
                  <a:lnTo>
                    <a:pt x="1348" y="117"/>
                  </a:lnTo>
                  <a:lnTo>
                    <a:pt x="1348" y="120"/>
                  </a:lnTo>
                  <a:lnTo>
                    <a:pt x="1348" y="123"/>
                  </a:lnTo>
                  <a:lnTo>
                    <a:pt x="1346" y="127"/>
                  </a:lnTo>
                  <a:lnTo>
                    <a:pt x="1346" y="128"/>
                  </a:lnTo>
                  <a:lnTo>
                    <a:pt x="1346" y="127"/>
                  </a:lnTo>
                  <a:lnTo>
                    <a:pt x="1345" y="123"/>
                  </a:lnTo>
                  <a:lnTo>
                    <a:pt x="1345" y="120"/>
                  </a:lnTo>
                  <a:lnTo>
                    <a:pt x="1345" y="117"/>
                  </a:lnTo>
                  <a:lnTo>
                    <a:pt x="1343" y="114"/>
                  </a:lnTo>
                  <a:lnTo>
                    <a:pt x="1342" y="116"/>
                  </a:lnTo>
                  <a:lnTo>
                    <a:pt x="1342" y="117"/>
                  </a:lnTo>
                  <a:lnTo>
                    <a:pt x="1340" y="120"/>
                  </a:lnTo>
                  <a:lnTo>
                    <a:pt x="1337" y="119"/>
                  </a:lnTo>
                  <a:lnTo>
                    <a:pt x="1337" y="116"/>
                  </a:lnTo>
                  <a:lnTo>
                    <a:pt x="1337" y="114"/>
                  </a:lnTo>
                  <a:lnTo>
                    <a:pt x="1340" y="113"/>
                  </a:lnTo>
                  <a:lnTo>
                    <a:pt x="1342" y="110"/>
                  </a:lnTo>
                  <a:lnTo>
                    <a:pt x="1342" y="108"/>
                  </a:lnTo>
                  <a:lnTo>
                    <a:pt x="1334" y="103"/>
                  </a:lnTo>
                  <a:lnTo>
                    <a:pt x="1332" y="102"/>
                  </a:lnTo>
                  <a:lnTo>
                    <a:pt x="1331" y="102"/>
                  </a:lnTo>
                  <a:lnTo>
                    <a:pt x="1329" y="103"/>
                  </a:lnTo>
                  <a:lnTo>
                    <a:pt x="1329" y="106"/>
                  </a:lnTo>
                  <a:lnTo>
                    <a:pt x="1329" y="108"/>
                  </a:lnTo>
                  <a:lnTo>
                    <a:pt x="1331" y="110"/>
                  </a:lnTo>
                  <a:lnTo>
                    <a:pt x="1329" y="111"/>
                  </a:lnTo>
                  <a:lnTo>
                    <a:pt x="1328" y="111"/>
                  </a:lnTo>
                  <a:lnTo>
                    <a:pt x="1326" y="110"/>
                  </a:lnTo>
                  <a:lnTo>
                    <a:pt x="1325" y="108"/>
                  </a:lnTo>
                  <a:lnTo>
                    <a:pt x="1323" y="105"/>
                  </a:lnTo>
                  <a:lnTo>
                    <a:pt x="1323" y="103"/>
                  </a:lnTo>
                  <a:lnTo>
                    <a:pt x="1323" y="103"/>
                  </a:lnTo>
                  <a:lnTo>
                    <a:pt x="1322" y="103"/>
                  </a:lnTo>
                  <a:lnTo>
                    <a:pt x="1320" y="106"/>
                  </a:lnTo>
                  <a:lnTo>
                    <a:pt x="1322" y="111"/>
                  </a:lnTo>
                  <a:lnTo>
                    <a:pt x="1322" y="117"/>
                  </a:lnTo>
                  <a:lnTo>
                    <a:pt x="1323" y="120"/>
                  </a:lnTo>
                  <a:lnTo>
                    <a:pt x="1323" y="122"/>
                  </a:lnTo>
                  <a:lnTo>
                    <a:pt x="1317" y="114"/>
                  </a:lnTo>
                  <a:lnTo>
                    <a:pt x="1312" y="111"/>
                  </a:lnTo>
                  <a:lnTo>
                    <a:pt x="1309" y="111"/>
                  </a:lnTo>
                  <a:lnTo>
                    <a:pt x="1311" y="113"/>
                  </a:lnTo>
                  <a:lnTo>
                    <a:pt x="1311" y="114"/>
                  </a:lnTo>
                  <a:lnTo>
                    <a:pt x="1311" y="117"/>
                  </a:lnTo>
                  <a:lnTo>
                    <a:pt x="1311" y="119"/>
                  </a:lnTo>
                  <a:lnTo>
                    <a:pt x="1309" y="120"/>
                  </a:lnTo>
                  <a:lnTo>
                    <a:pt x="1306" y="120"/>
                  </a:lnTo>
                  <a:lnTo>
                    <a:pt x="1296" y="114"/>
                  </a:lnTo>
                  <a:lnTo>
                    <a:pt x="1291" y="114"/>
                  </a:lnTo>
                  <a:lnTo>
                    <a:pt x="1289" y="117"/>
                  </a:lnTo>
                  <a:lnTo>
                    <a:pt x="1291" y="120"/>
                  </a:lnTo>
                  <a:lnTo>
                    <a:pt x="1292" y="120"/>
                  </a:lnTo>
                  <a:close/>
                  <a:moveTo>
                    <a:pt x="1437" y="43"/>
                  </a:moveTo>
                  <a:lnTo>
                    <a:pt x="1442" y="42"/>
                  </a:lnTo>
                  <a:lnTo>
                    <a:pt x="1445" y="43"/>
                  </a:lnTo>
                  <a:lnTo>
                    <a:pt x="1442" y="45"/>
                  </a:lnTo>
                  <a:lnTo>
                    <a:pt x="1437" y="46"/>
                  </a:lnTo>
                  <a:lnTo>
                    <a:pt x="1434" y="48"/>
                  </a:lnTo>
                  <a:lnTo>
                    <a:pt x="1440" y="51"/>
                  </a:lnTo>
                  <a:lnTo>
                    <a:pt x="1442" y="54"/>
                  </a:lnTo>
                  <a:lnTo>
                    <a:pt x="1442" y="56"/>
                  </a:lnTo>
                  <a:lnTo>
                    <a:pt x="1443" y="57"/>
                  </a:lnTo>
                  <a:lnTo>
                    <a:pt x="1445" y="57"/>
                  </a:lnTo>
                  <a:lnTo>
                    <a:pt x="1448" y="57"/>
                  </a:lnTo>
                  <a:lnTo>
                    <a:pt x="1448" y="56"/>
                  </a:lnTo>
                  <a:lnTo>
                    <a:pt x="1448" y="54"/>
                  </a:lnTo>
                  <a:lnTo>
                    <a:pt x="1450" y="53"/>
                  </a:lnTo>
                  <a:lnTo>
                    <a:pt x="1451" y="53"/>
                  </a:lnTo>
                  <a:lnTo>
                    <a:pt x="1453" y="54"/>
                  </a:lnTo>
                  <a:lnTo>
                    <a:pt x="1453" y="54"/>
                  </a:lnTo>
                  <a:lnTo>
                    <a:pt x="1454" y="53"/>
                  </a:lnTo>
                  <a:lnTo>
                    <a:pt x="1454" y="51"/>
                  </a:lnTo>
                  <a:lnTo>
                    <a:pt x="1456" y="51"/>
                  </a:lnTo>
                  <a:lnTo>
                    <a:pt x="1456" y="51"/>
                  </a:lnTo>
                  <a:lnTo>
                    <a:pt x="1457" y="50"/>
                  </a:lnTo>
                  <a:lnTo>
                    <a:pt x="1457" y="48"/>
                  </a:lnTo>
                  <a:lnTo>
                    <a:pt x="1460" y="48"/>
                  </a:lnTo>
                  <a:lnTo>
                    <a:pt x="1457" y="45"/>
                  </a:lnTo>
                  <a:lnTo>
                    <a:pt x="1446" y="46"/>
                  </a:lnTo>
                  <a:lnTo>
                    <a:pt x="1448" y="45"/>
                  </a:lnTo>
                  <a:lnTo>
                    <a:pt x="1448" y="43"/>
                  </a:lnTo>
                  <a:lnTo>
                    <a:pt x="1448" y="43"/>
                  </a:lnTo>
                  <a:lnTo>
                    <a:pt x="1448" y="42"/>
                  </a:lnTo>
                  <a:lnTo>
                    <a:pt x="1446" y="42"/>
                  </a:lnTo>
                  <a:lnTo>
                    <a:pt x="1450" y="39"/>
                  </a:lnTo>
                  <a:lnTo>
                    <a:pt x="1456" y="40"/>
                  </a:lnTo>
                  <a:lnTo>
                    <a:pt x="1459" y="39"/>
                  </a:lnTo>
                  <a:lnTo>
                    <a:pt x="1456" y="37"/>
                  </a:lnTo>
                  <a:lnTo>
                    <a:pt x="1450" y="37"/>
                  </a:lnTo>
                  <a:lnTo>
                    <a:pt x="1446" y="36"/>
                  </a:lnTo>
                  <a:lnTo>
                    <a:pt x="1448" y="34"/>
                  </a:lnTo>
                  <a:lnTo>
                    <a:pt x="1448" y="33"/>
                  </a:lnTo>
                  <a:lnTo>
                    <a:pt x="1439" y="31"/>
                  </a:lnTo>
                  <a:lnTo>
                    <a:pt x="1436" y="34"/>
                  </a:lnTo>
                  <a:lnTo>
                    <a:pt x="1436" y="34"/>
                  </a:lnTo>
                  <a:lnTo>
                    <a:pt x="1437" y="36"/>
                  </a:lnTo>
                  <a:lnTo>
                    <a:pt x="1437" y="37"/>
                  </a:lnTo>
                  <a:lnTo>
                    <a:pt x="1434" y="37"/>
                  </a:lnTo>
                  <a:lnTo>
                    <a:pt x="1433" y="39"/>
                  </a:lnTo>
                  <a:lnTo>
                    <a:pt x="1434" y="42"/>
                  </a:lnTo>
                  <a:lnTo>
                    <a:pt x="1437" y="43"/>
                  </a:lnTo>
                  <a:close/>
                  <a:moveTo>
                    <a:pt x="1491" y="28"/>
                  </a:moveTo>
                  <a:lnTo>
                    <a:pt x="1493" y="29"/>
                  </a:lnTo>
                  <a:lnTo>
                    <a:pt x="1494" y="31"/>
                  </a:lnTo>
                  <a:lnTo>
                    <a:pt x="1496" y="31"/>
                  </a:lnTo>
                  <a:lnTo>
                    <a:pt x="1497" y="33"/>
                  </a:lnTo>
                  <a:lnTo>
                    <a:pt x="1499" y="31"/>
                  </a:lnTo>
                  <a:lnTo>
                    <a:pt x="1500" y="26"/>
                  </a:lnTo>
                  <a:lnTo>
                    <a:pt x="1500" y="25"/>
                  </a:lnTo>
                  <a:lnTo>
                    <a:pt x="1499" y="25"/>
                  </a:lnTo>
                  <a:lnTo>
                    <a:pt x="1500" y="22"/>
                  </a:lnTo>
                  <a:lnTo>
                    <a:pt x="1502" y="20"/>
                  </a:lnTo>
                  <a:lnTo>
                    <a:pt x="1503" y="20"/>
                  </a:lnTo>
                  <a:lnTo>
                    <a:pt x="1502" y="19"/>
                  </a:lnTo>
                  <a:lnTo>
                    <a:pt x="1502" y="19"/>
                  </a:lnTo>
                  <a:lnTo>
                    <a:pt x="1503" y="16"/>
                  </a:lnTo>
                  <a:lnTo>
                    <a:pt x="1503" y="16"/>
                  </a:lnTo>
                  <a:lnTo>
                    <a:pt x="1502" y="16"/>
                  </a:lnTo>
                  <a:lnTo>
                    <a:pt x="1502" y="16"/>
                  </a:lnTo>
                  <a:lnTo>
                    <a:pt x="1500" y="17"/>
                  </a:lnTo>
                  <a:lnTo>
                    <a:pt x="1499" y="16"/>
                  </a:lnTo>
                  <a:lnTo>
                    <a:pt x="1499" y="16"/>
                  </a:lnTo>
                  <a:lnTo>
                    <a:pt x="1499" y="16"/>
                  </a:lnTo>
                  <a:lnTo>
                    <a:pt x="1499" y="14"/>
                  </a:lnTo>
                  <a:lnTo>
                    <a:pt x="1497" y="13"/>
                  </a:lnTo>
                  <a:lnTo>
                    <a:pt x="1494" y="13"/>
                  </a:lnTo>
                  <a:lnTo>
                    <a:pt x="1494" y="16"/>
                  </a:lnTo>
                  <a:lnTo>
                    <a:pt x="1496" y="19"/>
                  </a:lnTo>
                  <a:lnTo>
                    <a:pt x="1496" y="20"/>
                  </a:lnTo>
                  <a:lnTo>
                    <a:pt x="1496" y="22"/>
                  </a:lnTo>
                  <a:lnTo>
                    <a:pt x="1496" y="22"/>
                  </a:lnTo>
                  <a:lnTo>
                    <a:pt x="1494" y="22"/>
                  </a:lnTo>
                  <a:lnTo>
                    <a:pt x="1494" y="22"/>
                  </a:lnTo>
                  <a:lnTo>
                    <a:pt x="1494" y="20"/>
                  </a:lnTo>
                  <a:lnTo>
                    <a:pt x="1493" y="19"/>
                  </a:lnTo>
                  <a:lnTo>
                    <a:pt x="1491" y="17"/>
                  </a:lnTo>
                  <a:lnTo>
                    <a:pt x="1490" y="19"/>
                  </a:lnTo>
                  <a:lnTo>
                    <a:pt x="1488" y="22"/>
                  </a:lnTo>
                  <a:lnTo>
                    <a:pt x="1487" y="25"/>
                  </a:lnTo>
                  <a:lnTo>
                    <a:pt x="1488" y="26"/>
                  </a:lnTo>
                  <a:lnTo>
                    <a:pt x="1491" y="28"/>
                  </a:lnTo>
                  <a:close/>
                  <a:moveTo>
                    <a:pt x="1967" y="194"/>
                  </a:moveTo>
                  <a:lnTo>
                    <a:pt x="1967" y="193"/>
                  </a:lnTo>
                  <a:lnTo>
                    <a:pt x="1966" y="191"/>
                  </a:lnTo>
                  <a:lnTo>
                    <a:pt x="1964" y="190"/>
                  </a:lnTo>
                  <a:lnTo>
                    <a:pt x="1964" y="187"/>
                  </a:lnTo>
                  <a:lnTo>
                    <a:pt x="1966" y="183"/>
                  </a:lnTo>
                  <a:lnTo>
                    <a:pt x="1966" y="182"/>
                  </a:lnTo>
                  <a:lnTo>
                    <a:pt x="1967" y="180"/>
                  </a:lnTo>
                  <a:lnTo>
                    <a:pt x="1962" y="171"/>
                  </a:lnTo>
                  <a:lnTo>
                    <a:pt x="1961" y="170"/>
                  </a:lnTo>
                  <a:lnTo>
                    <a:pt x="1961" y="168"/>
                  </a:lnTo>
                  <a:lnTo>
                    <a:pt x="1959" y="162"/>
                  </a:lnTo>
                  <a:lnTo>
                    <a:pt x="1956" y="160"/>
                  </a:lnTo>
                  <a:lnTo>
                    <a:pt x="1950" y="165"/>
                  </a:lnTo>
                  <a:lnTo>
                    <a:pt x="1950" y="167"/>
                  </a:lnTo>
                  <a:lnTo>
                    <a:pt x="1949" y="170"/>
                  </a:lnTo>
                  <a:lnTo>
                    <a:pt x="1947" y="168"/>
                  </a:lnTo>
                  <a:lnTo>
                    <a:pt x="1944" y="163"/>
                  </a:lnTo>
                  <a:lnTo>
                    <a:pt x="1942" y="157"/>
                  </a:lnTo>
                  <a:lnTo>
                    <a:pt x="1930" y="147"/>
                  </a:lnTo>
                  <a:lnTo>
                    <a:pt x="1933" y="143"/>
                  </a:lnTo>
                  <a:lnTo>
                    <a:pt x="1932" y="142"/>
                  </a:lnTo>
                  <a:lnTo>
                    <a:pt x="1925" y="137"/>
                  </a:lnTo>
                  <a:lnTo>
                    <a:pt x="1922" y="137"/>
                  </a:lnTo>
                  <a:lnTo>
                    <a:pt x="1901" y="145"/>
                  </a:lnTo>
                  <a:lnTo>
                    <a:pt x="1888" y="142"/>
                  </a:lnTo>
                  <a:lnTo>
                    <a:pt x="1888" y="140"/>
                  </a:lnTo>
                  <a:lnTo>
                    <a:pt x="1892" y="140"/>
                  </a:lnTo>
                  <a:lnTo>
                    <a:pt x="1898" y="143"/>
                  </a:lnTo>
                  <a:lnTo>
                    <a:pt x="1901" y="143"/>
                  </a:lnTo>
                  <a:lnTo>
                    <a:pt x="1899" y="142"/>
                  </a:lnTo>
                  <a:lnTo>
                    <a:pt x="1899" y="140"/>
                  </a:lnTo>
                  <a:lnTo>
                    <a:pt x="1898" y="140"/>
                  </a:lnTo>
                  <a:lnTo>
                    <a:pt x="1898" y="140"/>
                  </a:lnTo>
                  <a:lnTo>
                    <a:pt x="1898" y="139"/>
                  </a:lnTo>
                  <a:lnTo>
                    <a:pt x="1899" y="137"/>
                  </a:lnTo>
                  <a:lnTo>
                    <a:pt x="1909" y="136"/>
                  </a:lnTo>
                  <a:lnTo>
                    <a:pt x="1913" y="131"/>
                  </a:lnTo>
                  <a:lnTo>
                    <a:pt x="1915" y="130"/>
                  </a:lnTo>
                  <a:lnTo>
                    <a:pt x="1913" y="127"/>
                  </a:lnTo>
                  <a:lnTo>
                    <a:pt x="1905" y="120"/>
                  </a:lnTo>
                  <a:lnTo>
                    <a:pt x="1898" y="119"/>
                  </a:lnTo>
                  <a:lnTo>
                    <a:pt x="1895" y="117"/>
                  </a:lnTo>
                  <a:lnTo>
                    <a:pt x="1899" y="116"/>
                  </a:lnTo>
                  <a:lnTo>
                    <a:pt x="1902" y="114"/>
                  </a:lnTo>
                  <a:lnTo>
                    <a:pt x="1904" y="110"/>
                  </a:lnTo>
                  <a:lnTo>
                    <a:pt x="1896" y="103"/>
                  </a:lnTo>
                  <a:lnTo>
                    <a:pt x="1893" y="102"/>
                  </a:lnTo>
                  <a:lnTo>
                    <a:pt x="1887" y="103"/>
                  </a:lnTo>
                  <a:lnTo>
                    <a:pt x="1885" y="105"/>
                  </a:lnTo>
                  <a:lnTo>
                    <a:pt x="1878" y="114"/>
                  </a:lnTo>
                  <a:lnTo>
                    <a:pt x="1878" y="116"/>
                  </a:lnTo>
                  <a:lnTo>
                    <a:pt x="1876" y="117"/>
                  </a:lnTo>
                  <a:lnTo>
                    <a:pt x="1876" y="119"/>
                  </a:lnTo>
                  <a:lnTo>
                    <a:pt x="1875" y="120"/>
                  </a:lnTo>
                  <a:lnTo>
                    <a:pt x="1864" y="123"/>
                  </a:lnTo>
                  <a:lnTo>
                    <a:pt x="1865" y="119"/>
                  </a:lnTo>
                  <a:lnTo>
                    <a:pt x="1870" y="114"/>
                  </a:lnTo>
                  <a:lnTo>
                    <a:pt x="1872" y="108"/>
                  </a:lnTo>
                  <a:lnTo>
                    <a:pt x="1872" y="100"/>
                  </a:lnTo>
                  <a:lnTo>
                    <a:pt x="1868" y="96"/>
                  </a:lnTo>
                  <a:lnTo>
                    <a:pt x="1865" y="96"/>
                  </a:lnTo>
                  <a:lnTo>
                    <a:pt x="1852" y="105"/>
                  </a:lnTo>
                  <a:lnTo>
                    <a:pt x="1842" y="106"/>
                  </a:lnTo>
                  <a:lnTo>
                    <a:pt x="1841" y="108"/>
                  </a:lnTo>
                  <a:lnTo>
                    <a:pt x="1838" y="114"/>
                  </a:lnTo>
                  <a:lnTo>
                    <a:pt x="1836" y="116"/>
                  </a:lnTo>
                  <a:lnTo>
                    <a:pt x="1835" y="114"/>
                  </a:lnTo>
                  <a:lnTo>
                    <a:pt x="1836" y="111"/>
                  </a:lnTo>
                  <a:lnTo>
                    <a:pt x="1835" y="111"/>
                  </a:lnTo>
                  <a:lnTo>
                    <a:pt x="1835" y="111"/>
                  </a:lnTo>
                  <a:lnTo>
                    <a:pt x="1835" y="110"/>
                  </a:lnTo>
                  <a:lnTo>
                    <a:pt x="1836" y="108"/>
                  </a:lnTo>
                  <a:lnTo>
                    <a:pt x="1838" y="108"/>
                  </a:lnTo>
                  <a:lnTo>
                    <a:pt x="1839" y="106"/>
                  </a:lnTo>
                  <a:lnTo>
                    <a:pt x="1841" y="103"/>
                  </a:lnTo>
                  <a:lnTo>
                    <a:pt x="1839" y="103"/>
                  </a:lnTo>
                  <a:lnTo>
                    <a:pt x="1839" y="103"/>
                  </a:lnTo>
                  <a:lnTo>
                    <a:pt x="1838" y="103"/>
                  </a:lnTo>
                  <a:lnTo>
                    <a:pt x="1838" y="100"/>
                  </a:lnTo>
                  <a:lnTo>
                    <a:pt x="1841" y="100"/>
                  </a:lnTo>
                  <a:lnTo>
                    <a:pt x="1844" y="99"/>
                  </a:lnTo>
                  <a:lnTo>
                    <a:pt x="1845" y="97"/>
                  </a:lnTo>
                  <a:lnTo>
                    <a:pt x="1838" y="97"/>
                  </a:lnTo>
                  <a:lnTo>
                    <a:pt x="1836" y="96"/>
                  </a:lnTo>
                  <a:lnTo>
                    <a:pt x="1842" y="90"/>
                  </a:lnTo>
                  <a:lnTo>
                    <a:pt x="1844" y="86"/>
                  </a:lnTo>
                  <a:lnTo>
                    <a:pt x="1842" y="85"/>
                  </a:lnTo>
                  <a:lnTo>
                    <a:pt x="1836" y="83"/>
                  </a:lnTo>
                  <a:lnTo>
                    <a:pt x="1835" y="82"/>
                  </a:lnTo>
                  <a:lnTo>
                    <a:pt x="1835" y="80"/>
                  </a:lnTo>
                  <a:lnTo>
                    <a:pt x="1833" y="80"/>
                  </a:lnTo>
                  <a:lnTo>
                    <a:pt x="1833" y="79"/>
                  </a:lnTo>
                  <a:lnTo>
                    <a:pt x="1833" y="76"/>
                  </a:lnTo>
                  <a:lnTo>
                    <a:pt x="1833" y="74"/>
                  </a:lnTo>
                  <a:lnTo>
                    <a:pt x="1830" y="71"/>
                  </a:lnTo>
                  <a:lnTo>
                    <a:pt x="1818" y="70"/>
                  </a:lnTo>
                  <a:lnTo>
                    <a:pt x="1818" y="68"/>
                  </a:lnTo>
                  <a:lnTo>
                    <a:pt x="1821" y="68"/>
                  </a:lnTo>
                  <a:lnTo>
                    <a:pt x="1821" y="66"/>
                  </a:lnTo>
                  <a:lnTo>
                    <a:pt x="1819" y="65"/>
                  </a:lnTo>
                  <a:lnTo>
                    <a:pt x="1818" y="65"/>
                  </a:lnTo>
                  <a:lnTo>
                    <a:pt x="1798" y="66"/>
                  </a:lnTo>
                  <a:lnTo>
                    <a:pt x="1796" y="68"/>
                  </a:lnTo>
                  <a:lnTo>
                    <a:pt x="1793" y="73"/>
                  </a:lnTo>
                  <a:lnTo>
                    <a:pt x="1791" y="77"/>
                  </a:lnTo>
                  <a:lnTo>
                    <a:pt x="1787" y="85"/>
                  </a:lnTo>
                  <a:lnTo>
                    <a:pt x="1781" y="94"/>
                  </a:lnTo>
                  <a:lnTo>
                    <a:pt x="1779" y="100"/>
                  </a:lnTo>
                  <a:lnTo>
                    <a:pt x="1779" y="103"/>
                  </a:lnTo>
                  <a:lnTo>
                    <a:pt x="1782" y="105"/>
                  </a:lnTo>
                  <a:lnTo>
                    <a:pt x="1785" y="108"/>
                  </a:lnTo>
                  <a:lnTo>
                    <a:pt x="1785" y="111"/>
                  </a:lnTo>
                  <a:lnTo>
                    <a:pt x="1785" y="111"/>
                  </a:lnTo>
                  <a:lnTo>
                    <a:pt x="1782" y="111"/>
                  </a:lnTo>
                  <a:lnTo>
                    <a:pt x="1779" y="110"/>
                  </a:lnTo>
                  <a:lnTo>
                    <a:pt x="1778" y="111"/>
                  </a:lnTo>
                  <a:lnTo>
                    <a:pt x="1776" y="113"/>
                  </a:lnTo>
                  <a:lnTo>
                    <a:pt x="1776" y="116"/>
                  </a:lnTo>
                  <a:lnTo>
                    <a:pt x="1775" y="120"/>
                  </a:lnTo>
                  <a:lnTo>
                    <a:pt x="1775" y="122"/>
                  </a:lnTo>
                  <a:lnTo>
                    <a:pt x="1768" y="137"/>
                  </a:lnTo>
                  <a:lnTo>
                    <a:pt x="1768" y="140"/>
                  </a:lnTo>
                  <a:lnTo>
                    <a:pt x="1770" y="140"/>
                  </a:lnTo>
                  <a:lnTo>
                    <a:pt x="1773" y="147"/>
                  </a:lnTo>
                  <a:lnTo>
                    <a:pt x="1775" y="148"/>
                  </a:lnTo>
                  <a:lnTo>
                    <a:pt x="1781" y="148"/>
                  </a:lnTo>
                  <a:lnTo>
                    <a:pt x="1781" y="150"/>
                  </a:lnTo>
                  <a:lnTo>
                    <a:pt x="1778" y="151"/>
                  </a:lnTo>
                  <a:lnTo>
                    <a:pt x="1778" y="153"/>
                  </a:lnTo>
                  <a:lnTo>
                    <a:pt x="1776" y="154"/>
                  </a:lnTo>
                  <a:lnTo>
                    <a:pt x="1776" y="156"/>
                  </a:lnTo>
                  <a:lnTo>
                    <a:pt x="1778" y="159"/>
                  </a:lnTo>
                  <a:lnTo>
                    <a:pt x="1778" y="160"/>
                  </a:lnTo>
                  <a:lnTo>
                    <a:pt x="1778" y="162"/>
                  </a:lnTo>
                  <a:lnTo>
                    <a:pt x="1776" y="163"/>
                  </a:lnTo>
                  <a:lnTo>
                    <a:pt x="1775" y="160"/>
                  </a:lnTo>
                  <a:lnTo>
                    <a:pt x="1773" y="157"/>
                  </a:lnTo>
                  <a:lnTo>
                    <a:pt x="1773" y="153"/>
                  </a:lnTo>
                  <a:lnTo>
                    <a:pt x="1771" y="151"/>
                  </a:lnTo>
                  <a:lnTo>
                    <a:pt x="1768" y="153"/>
                  </a:lnTo>
                  <a:lnTo>
                    <a:pt x="1765" y="154"/>
                  </a:lnTo>
                  <a:lnTo>
                    <a:pt x="1764" y="157"/>
                  </a:lnTo>
                  <a:lnTo>
                    <a:pt x="1764" y="159"/>
                  </a:lnTo>
                  <a:lnTo>
                    <a:pt x="1764" y="162"/>
                  </a:lnTo>
                  <a:lnTo>
                    <a:pt x="1764" y="163"/>
                  </a:lnTo>
                  <a:lnTo>
                    <a:pt x="1761" y="165"/>
                  </a:lnTo>
                  <a:lnTo>
                    <a:pt x="1759" y="168"/>
                  </a:lnTo>
                  <a:lnTo>
                    <a:pt x="1758" y="170"/>
                  </a:lnTo>
                  <a:lnTo>
                    <a:pt x="1756" y="173"/>
                  </a:lnTo>
                  <a:lnTo>
                    <a:pt x="1756" y="176"/>
                  </a:lnTo>
                  <a:lnTo>
                    <a:pt x="1756" y="180"/>
                  </a:lnTo>
                  <a:lnTo>
                    <a:pt x="1756" y="185"/>
                  </a:lnTo>
                  <a:lnTo>
                    <a:pt x="1756" y="188"/>
                  </a:lnTo>
                  <a:lnTo>
                    <a:pt x="1754" y="194"/>
                  </a:lnTo>
                  <a:lnTo>
                    <a:pt x="1753" y="199"/>
                  </a:lnTo>
                  <a:lnTo>
                    <a:pt x="1754" y="203"/>
                  </a:lnTo>
                  <a:lnTo>
                    <a:pt x="1754" y="205"/>
                  </a:lnTo>
                  <a:lnTo>
                    <a:pt x="1754" y="207"/>
                  </a:lnTo>
                  <a:lnTo>
                    <a:pt x="1754" y="211"/>
                  </a:lnTo>
                  <a:lnTo>
                    <a:pt x="1754" y="213"/>
                  </a:lnTo>
                  <a:lnTo>
                    <a:pt x="1754" y="217"/>
                  </a:lnTo>
                  <a:lnTo>
                    <a:pt x="1756" y="220"/>
                  </a:lnTo>
                  <a:lnTo>
                    <a:pt x="1756" y="222"/>
                  </a:lnTo>
                  <a:lnTo>
                    <a:pt x="1756" y="227"/>
                  </a:lnTo>
                  <a:lnTo>
                    <a:pt x="1753" y="236"/>
                  </a:lnTo>
                  <a:lnTo>
                    <a:pt x="1748" y="244"/>
                  </a:lnTo>
                  <a:lnTo>
                    <a:pt x="1744" y="247"/>
                  </a:lnTo>
                  <a:lnTo>
                    <a:pt x="1741" y="245"/>
                  </a:lnTo>
                  <a:lnTo>
                    <a:pt x="1742" y="245"/>
                  </a:lnTo>
                  <a:lnTo>
                    <a:pt x="1744" y="244"/>
                  </a:lnTo>
                  <a:lnTo>
                    <a:pt x="1747" y="242"/>
                  </a:lnTo>
                  <a:lnTo>
                    <a:pt x="1750" y="236"/>
                  </a:lnTo>
                  <a:lnTo>
                    <a:pt x="1750" y="234"/>
                  </a:lnTo>
                  <a:lnTo>
                    <a:pt x="1751" y="231"/>
                  </a:lnTo>
                  <a:lnTo>
                    <a:pt x="1753" y="227"/>
                  </a:lnTo>
                  <a:lnTo>
                    <a:pt x="1753" y="220"/>
                  </a:lnTo>
                  <a:lnTo>
                    <a:pt x="1751" y="207"/>
                  </a:lnTo>
                  <a:lnTo>
                    <a:pt x="1751" y="199"/>
                  </a:lnTo>
                  <a:lnTo>
                    <a:pt x="1751" y="191"/>
                  </a:lnTo>
                  <a:lnTo>
                    <a:pt x="1751" y="188"/>
                  </a:lnTo>
                  <a:lnTo>
                    <a:pt x="1751" y="183"/>
                  </a:lnTo>
                  <a:lnTo>
                    <a:pt x="1751" y="180"/>
                  </a:lnTo>
                  <a:lnTo>
                    <a:pt x="1751" y="177"/>
                  </a:lnTo>
                  <a:lnTo>
                    <a:pt x="1751" y="174"/>
                  </a:lnTo>
                  <a:lnTo>
                    <a:pt x="1754" y="168"/>
                  </a:lnTo>
                  <a:lnTo>
                    <a:pt x="1758" y="162"/>
                  </a:lnTo>
                  <a:lnTo>
                    <a:pt x="1759" y="157"/>
                  </a:lnTo>
                  <a:lnTo>
                    <a:pt x="1761" y="156"/>
                  </a:lnTo>
                  <a:lnTo>
                    <a:pt x="1762" y="154"/>
                  </a:lnTo>
                  <a:lnTo>
                    <a:pt x="1764" y="151"/>
                  </a:lnTo>
                  <a:lnTo>
                    <a:pt x="1764" y="147"/>
                  </a:lnTo>
                  <a:lnTo>
                    <a:pt x="1761" y="147"/>
                  </a:lnTo>
                  <a:lnTo>
                    <a:pt x="1758" y="148"/>
                  </a:lnTo>
                  <a:lnTo>
                    <a:pt x="1754" y="151"/>
                  </a:lnTo>
                  <a:lnTo>
                    <a:pt x="1753" y="156"/>
                  </a:lnTo>
                  <a:lnTo>
                    <a:pt x="1750" y="162"/>
                  </a:lnTo>
                  <a:lnTo>
                    <a:pt x="1748" y="163"/>
                  </a:lnTo>
                  <a:lnTo>
                    <a:pt x="1747" y="162"/>
                  </a:lnTo>
                  <a:lnTo>
                    <a:pt x="1747" y="160"/>
                  </a:lnTo>
                  <a:lnTo>
                    <a:pt x="1747" y="159"/>
                  </a:lnTo>
                  <a:lnTo>
                    <a:pt x="1748" y="157"/>
                  </a:lnTo>
                  <a:lnTo>
                    <a:pt x="1748" y="157"/>
                  </a:lnTo>
                  <a:lnTo>
                    <a:pt x="1748" y="159"/>
                  </a:lnTo>
                  <a:lnTo>
                    <a:pt x="1745" y="162"/>
                  </a:lnTo>
                  <a:lnTo>
                    <a:pt x="1742" y="163"/>
                  </a:lnTo>
                  <a:lnTo>
                    <a:pt x="1742" y="163"/>
                  </a:lnTo>
                  <a:lnTo>
                    <a:pt x="1744" y="159"/>
                  </a:lnTo>
                  <a:lnTo>
                    <a:pt x="1745" y="156"/>
                  </a:lnTo>
                  <a:lnTo>
                    <a:pt x="1753" y="150"/>
                  </a:lnTo>
                  <a:lnTo>
                    <a:pt x="1744" y="153"/>
                  </a:lnTo>
                  <a:lnTo>
                    <a:pt x="1734" y="157"/>
                  </a:lnTo>
                  <a:lnTo>
                    <a:pt x="1736" y="154"/>
                  </a:lnTo>
                  <a:lnTo>
                    <a:pt x="1738" y="151"/>
                  </a:lnTo>
                  <a:lnTo>
                    <a:pt x="1734" y="153"/>
                  </a:lnTo>
                  <a:lnTo>
                    <a:pt x="1734" y="154"/>
                  </a:lnTo>
                  <a:lnTo>
                    <a:pt x="1733" y="156"/>
                  </a:lnTo>
                  <a:lnTo>
                    <a:pt x="1731" y="163"/>
                  </a:lnTo>
                  <a:lnTo>
                    <a:pt x="1730" y="167"/>
                  </a:lnTo>
                  <a:lnTo>
                    <a:pt x="1730" y="160"/>
                  </a:lnTo>
                  <a:lnTo>
                    <a:pt x="1728" y="157"/>
                  </a:lnTo>
                  <a:lnTo>
                    <a:pt x="1728" y="154"/>
                  </a:lnTo>
                  <a:lnTo>
                    <a:pt x="1730" y="151"/>
                  </a:lnTo>
                  <a:lnTo>
                    <a:pt x="1733" y="148"/>
                  </a:lnTo>
                  <a:lnTo>
                    <a:pt x="1739" y="145"/>
                  </a:lnTo>
                  <a:lnTo>
                    <a:pt x="1742" y="142"/>
                  </a:lnTo>
                  <a:lnTo>
                    <a:pt x="1744" y="139"/>
                  </a:lnTo>
                  <a:lnTo>
                    <a:pt x="1751" y="131"/>
                  </a:lnTo>
                  <a:lnTo>
                    <a:pt x="1756" y="125"/>
                  </a:lnTo>
                  <a:lnTo>
                    <a:pt x="1761" y="116"/>
                  </a:lnTo>
                  <a:lnTo>
                    <a:pt x="1762" y="105"/>
                  </a:lnTo>
                  <a:lnTo>
                    <a:pt x="1761" y="102"/>
                  </a:lnTo>
                  <a:lnTo>
                    <a:pt x="1758" y="102"/>
                  </a:lnTo>
                  <a:lnTo>
                    <a:pt x="1750" y="111"/>
                  </a:lnTo>
                  <a:lnTo>
                    <a:pt x="1724" y="125"/>
                  </a:lnTo>
                  <a:lnTo>
                    <a:pt x="1713" y="127"/>
                  </a:lnTo>
                  <a:lnTo>
                    <a:pt x="1714" y="125"/>
                  </a:lnTo>
                  <a:lnTo>
                    <a:pt x="1719" y="123"/>
                  </a:lnTo>
                  <a:lnTo>
                    <a:pt x="1721" y="122"/>
                  </a:lnTo>
                  <a:lnTo>
                    <a:pt x="1724" y="120"/>
                  </a:lnTo>
                  <a:lnTo>
                    <a:pt x="1730" y="114"/>
                  </a:lnTo>
                  <a:lnTo>
                    <a:pt x="1730" y="114"/>
                  </a:lnTo>
                  <a:lnTo>
                    <a:pt x="1730" y="113"/>
                  </a:lnTo>
                  <a:lnTo>
                    <a:pt x="1734" y="108"/>
                  </a:lnTo>
                  <a:lnTo>
                    <a:pt x="1745" y="105"/>
                  </a:lnTo>
                  <a:lnTo>
                    <a:pt x="1748" y="97"/>
                  </a:lnTo>
                  <a:lnTo>
                    <a:pt x="1747" y="96"/>
                  </a:lnTo>
                  <a:lnTo>
                    <a:pt x="1745" y="96"/>
                  </a:lnTo>
                  <a:lnTo>
                    <a:pt x="1739" y="96"/>
                  </a:lnTo>
                  <a:lnTo>
                    <a:pt x="1739" y="96"/>
                  </a:lnTo>
                  <a:lnTo>
                    <a:pt x="1739" y="94"/>
                  </a:lnTo>
                  <a:lnTo>
                    <a:pt x="1738" y="93"/>
                  </a:lnTo>
                  <a:lnTo>
                    <a:pt x="1731" y="91"/>
                  </a:lnTo>
                  <a:lnTo>
                    <a:pt x="1728" y="91"/>
                  </a:lnTo>
                  <a:lnTo>
                    <a:pt x="1722" y="96"/>
                  </a:lnTo>
                  <a:lnTo>
                    <a:pt x="1724" y="93"/>
                  </a:lnTo>
                  <a:lnTo>
                    <a:pt x="1724" y="93"/>
                  </a:lnTo>
                  <a:lnTo>
                    <a:pt x="1725" y="91"/>
                  </a:lnTo>
                  <a:lnTo>
                    <a:pt x="1727" y="90"/>
                  </a:lnTo>
                  <a:lnTo>
                    <a:pt x="1725" y="88"/>
                  </a:lnTo>
                  <a:lnTo>
                    <a:pt x="1722" y="88"/>
                  </a:lnTo>
                  <a:lnTo>
                    <a:pt x="1721" y="85"/>
                  </a:lnTo>
                  <a:lnTo>
                    <a:pt x="1722" y="85"/>
                  </a:lnTo>
                  <a:lnTo>
                    <a:pt x="1724" y="83"/>
                  </a:lnTo>
                  <a:lnTo>
                    <a:pt x="1725" y="85"/>
                  </a:lnTo>
                  <a:lnTo>
                    <a:pt x="1725" y="85"/>
                  </a:lnTo>
                  <a:lnTo>
                    <a:pt x="1736" y="83"/>
                  </a:lnTo>
                  <a:lnTo>
                    <a:pt x="1736" y="82"/>
                  </a:lnTo>
                  <a:lnTo>
                    <a:pt x="1738" y="82"/>
                  </a:lnTo>
                  <a:lnTo>
                    <a:pt x="1738" y="80"/>
                  </a:lnTo>
                  <a:lnTo>
                    <a:pt x="1739" y="80"/>
                  </a:lnTo>
                  <a:lnTo>
                    <a:pt x="1741" y="80"/>
                  </a:lnTo>
                  <a:lnTo>
                    <a:pt x="1741" y="83"/>
                  </a:lnTo>
                  <a:lnTo>
                    <a:pt x="1741" y="85"/>
                  </a:lnTo>
                  <a:lnTo>
                    <a:pt x="1744" y="83"/>
                  </a:lnTo>
                  <a:lnTo>
                    <a:pt x="1745" y="83"/>
                  </a:lnTo>
                  <a:lnTo>
                    <a:pt x="1750" y="86"/>
                  </a:lnTo>
                  <a:lnTo>
                    <a:pt x="1753" y="86"/>
                  </a:lnTo>
                  <a:lnTo>
                    <a:pt x="1756" y="86"/>
                  </a:lnTo>
                  <a:lnTo>
                    <a:pt x="1759" y="85"/>
                  </a:lnTo>
                  <a:lnTo>
                    <a:pt x="1762" y="80"/>
                  </a:lnTo>
                  <a:lnTo>
                    <a:pt x="1759" y="79"/>
                  </a:lnTo>
                  <a:lnTo>
                    <a:pt x="1758" y="77"/>
                  </a:lnTo>
                  <a:lnTo>
                    <a:pt x="1756" y="76"/>
                  </a:lnTo>
                  <a:lnTo>
                    <a:pt x="1767" y="77"/>
                  </a:lnTo>
                  <a:lnTo>
                    <a:pt x="1765" y="76"/>
                  </a:lnTo>
                  <a:lnTo>
                    <a:pt x="1765" y="76"/>
                  </a:lnTo>
                  <a:lnTo>
                    <a:pt x="1765" y="74"/>
                  </a:lnTo>
                  <a:lnTo>
                    <a:pt x="1765" y="74"/>
                  </a:lnTo>
                  <a:lnTo>
                    <a:pt x="1765" y="73"/>
                  </a:lnTo>
                  <a:lnTo>
                    <a:pt x="1768" y="73"/>
                  </a:lnTo>
                  <a:lnTo>
                    <a:pt x="1770" y="71"/>
                  </a:lnTo>
                  <a:lnTo>
                    <a:pt x="1773" y="68"/>
                  </a:lnTo>
                  <a:lnTo>
                    <a:pt x="1771" y="66"/>
                  </a:lnTo>
                  <a:lnTo>
                    <a:pt x="1770" y="66"/>
                  </a:lnTo>
                  <a:lnTo>
                    <a:pt x="1768" y="66"/>
                  </a:lnTo>
                  <a:lnTo>
                    <a:pt x="1767" y="63"/>
                  </a:lnTo>
                  <a:lnTo>
                    <a:pt x="1771" y="65"/>
                  </a:lnTo>
                  <a:lnTo>
                    <a:pt x="1775" y="63"/>
                  </a:lnTo>
                  <a:lnTo>
                    <a:pt x="1776" y="59"/>
                  </a:lnTo>
                  <a:lnTo>
                    <a:pt x="1778" y="56"/>
                  </a:lnTo>
                  <a:lnTo>
                    <a:pt x="1779" y="51"/>
                  </a:lnTo>
                  <a:lnTo>
                    <a:pt x="1779" y="48"/>
                  </a:lnTo>
                  <a:lnTo>
                    <a:pt x="1779" y="45"/>
                  </a:lnTo>
                  <a:lnTo>
                    <a:pt x="1781" y="43"/>
                  </a:lnTo>
                  <a:lnTo>
                    <a:pt x="1779" y="42"/>
                  </a:lnTo>
                  <a:lnTo>
                    <a:pt x="1779" y="42"/>
                  </a:lnTo>
                  <a:lnTo>
                    <a:pt x="1779" y="42"/>
                  </a:lnTo>
                  <a:lnTo>
                    <a:pt x="1776" y="37"/>
                  </a:lnTo>
                  <a:lnTo>
                    <a:pt x="1765" y="37"/>
                  </a:lnTo>
                  <a:lnTo>
                    <a:pt x="1756" y="43"/>
                  </a:lnTo>
                  <a:lnTo>
                    <a:pt x="1754" y="42"/>
                  </a:lnTo>
                  <a:lnTo>
                    <a:pt x="1756" y="40"/>
                  </a:lnTo>
                  <a:lnTo>
                    <a:pt x="1756" y="39"/>
                  </a:lnTo>
                  <a:lnTo>
                    <a:pt x="1756" y="37"/>
                  </a:lnTo>
                  <a:lnTo>
                    <a:pt x="1758" y="36"/>
                  </a:lnTo>
                  <a:lnTo>
                    <a:pt x="1754" y="39"/>
                  </a:lnTo>
                  <a:lnTo>
                    <a:pt x="1753" y="39"/>
                  </a:lnTo>
                  <a:lnTo>
                    <a:pt x="1753" y="37"/>
                  </a:lnTo>
                  <a:lnTo>
                    <a:pt x="1754" y="36"/>
                  </a:lnTo>
                  <a:lnTo>
                    <a:pt x="1754" y="34"/>
                  </a:lnTo>
                  <a:lnTo>
                    <a:pt x="1756" y="34"/>
                  </a:lnTo>
                  <a:lnTo>
                    <a:pt x="1754" y="34"/>
                  </a:lnTo>
                  <a:lnTo>
                    <a:pt x="1754" y="31"/>
                  </a:lnTo>
                  <a:lnTo>
                    <a:pt x="1756" y="31"/>
                  </a:lnTo>
                  <a:lnTo>
                    <a:pt x="1758" y="29"/>
                  </a:lnTo>
                  <a:lnTo>
                    <a:pt x="1759" y="25"/>
                  </a:lnTo>
                  <a:lnTo>
                    <a:pt x="1758" y="22"/>
                  </a:lnTo>
                  <a:lnTo>
                    <a:pt x="1756" y="20"/>
                  </a:lnTo>
                  <a:lnTo>
                    <a:pt x="1754" y="19"/>
                  </a:lnTo>
                  <a:lnTo>
                    <a:pt x="1753" y="19"/>
                  </a:lnTo>
                  <a:lnTo>
                    <a:pt x="1751" y="19"/>
                  </a:lnTo>
                  <a:lnTo>
                    <a:pt x="1750" y="20"/>
                  </a:lnTo>
                  <a:lnTo>
                    <a:pt x="1745" y="28"/>
                  </a:lnTo>
                  <a:lnTo>
                    <a:pt x="1745" y="28"/>
                  </a:lnTo>
                  <a:lnTo>
                    <a:pt x="1744" y="28"/>
                  </a:lnTo>
                  <a:lnTo>
                    <a:pt x="1744" y="26"/>
                  </a:lnTo>
                  <a:lnTo>
                    <a:pt x="1744" y="25"/>
                  </a:lnTo>
                  <a:lnTo>
                    <a:pt x="1744" y="23"/>
                  </a:lnTo>
                  <a:lnTo>
                    <a:pt x="1744" y="23"/>
                  </a:lnTo>
                  <a:lnTo>
                    <a:pt x="1742" y="22"/>
                  </a:lnTo>
                  <a:lnTo>
                    <a:pt x="1741" y="22"/>
                  </a:lnTo>
                  <a:lnTo>
                    <a:pt x="1739" y="23"/>
                  </a:lnTo>
                  <a:lnTo>
                    <a:pt x="1738" y="25"/>
                  </a:lnTo>
                  <a:lnTo>
                    <a:pt x="1736" y="26"/>
                  </a:lnTo>
                  <a:lnTo>
                    <a:pt x="1730" y="29"/>
                  </a:lnTo>
                  <a:lnTo>
                    <a:pt x="1728" y="28"/>
                  </a:lnTo>
                  <a:lnTo>
                    <a:pt x="1725" y="25"/>
                  </a:lnTo>
                  <a:lnTo>
                    <a:pt x="1724" y="25"/>
                  </a:lnTo>
                  <a:lnTo>
                    <a:pt x="1719" y="23"/>
                  </a:lnTo>
                  <a:lnTo>
                    <a:pt x="1716" y="23"/>
                  </a:lnTo>
                  <a:lnTo>
                    <a:pt x="1719" y="17"/>
                  </a:lnTo>
                  <a:lnTo>
                    <a:pt x="1718" y="14"/>
                  </a:lnTo>
                  <a:lnTo>
                    <a:pt x="1713" y="8"/>
                  </a:lnTo>
                  <a:lnTo>
                    <a:pt x="1713" y="16"/>
                  </a:lnTo>
                  <a:lnTo>
                    <a:pt x="1710" y="17"/>
                  </a:lnTo>
                  <a:lnTo>
                    <a:pt x="1707" y="16"/>
                  </a:lnTo>
                  <a:lnTo>
                    <a:pt x="1705" y="19"/>
                  </a:lnTo>
                  <a:lnTo>
                    <a:pt x="1704" y="20"/>
                  </a:lnTo>
                  <a:lnTo>
                    <a:pt x="1704" y="22"/>
                  </a:lnTo>
                  <a:lnTo>
                    <a:pt x="1704" y="25"/>
                  </a:lnTo>
                  <a:lnTo>
                    <a:pt x="1704" y="28"/>
                  </a:lnTo>
                  <a:lnTo>
                    <a:pt x="1704" y="31"/>
                  </a:lnTo>
                  <a:lnTo>
                    <a:pt x="1705" y="33"/>
                  </a:lnTo>
                  <a:lnTo>
                    <a:pt x="1708" y="34"/>
                  </a:lnTo>
                  <a:lnTo>
                    <a:pt x="1707" y="36"/>
                  </a:lnTo>
                  <a:lnTo>
                    <a:pt x="1707" y="39"/>
                  </a:lnTo>
                  <a:lnTo>
                    <a:pt x="1707" y="42"/>
                  </a:lnTo>
                  <a:lnTo>
                    <a:pt x="1708" y="45"/>
                  </a:lnTo>
                  <a:lnTo>
                    <a:pt x="1707" y="48"/>
                  </a:lnTo>
                  <a:lnTo>
                    <a:pt x="1704" y="48"/>
                  </a:lnTo>
                  <a:lnTo>
                    <a:pt x="1702" y="45"/>
                  </a:lnTo>
                  <a:lnTo>
                    <a:pt x="1702" y="39"/>
                  </a:lnTo>
                  <a:lnTo>
                    <a:pt x="1701" y="36"/>
                  </a:lnTo>
                  <a:lnTo>
                    <a:pt x="1684" y="31"/>
                  </a:lnTo>
                  <a:lnTo>
                    <a:pt x="1681" y="34"/>
                  </a:lnTo>
                  <a:lnTo>
                    <a:pt x="1682" y="39"/>
                  </a:lnTo>
                  <a:lnTo>
                    <a:pt x="1684" y="40"/>
                  </a:lnTo>
                  <a:lnTo>
                    <a:pt x="1687" y="42"/>
                  </a:lnTo>
                  <a:lnTo>
                    <a:pt x="1688" y="43"/>
                  </a:lnTo>
                  <a:lnTo>
                    <a:pt x="1690" y="46"/>
                  </a:lnTo>
                  <a:lnTo>
                    <a:pt x="1690" y="48"/>
                  </a:lnTo>
                  <a:lnTo>
                    <a:pt x="1691" y="51"/>
                  </a:lnTo>
                  <a:lnTo>
                    <a:pt x="1677" y="45"/>
                  </a:lnTo>
                  <a:lnTo>
                    <a:pt x="1676" y="46"/>
                  </a:lnTo>
                  <a:lnTo>
                    <a:pt x="1674" y="50"/>
                  </a:lnTo>
                  <a:lnTo>
                    <a:pt x="1674" y="56"/>
                  </a:lnTo>
                  <a:lnTo>
                    <a:pt x="1676" y="59"/>
                  </a:lnTo>
                  <a:lnTo>
                    <a:pt x="1679" y="62"/>
                  </a:lnTo>
                  <a:lnTo>
                    <a:pt x="1690" y="65"/>
                  </a:lnTo>
                  <a:lnTo>
                    <a:pt x="1691" y="63"/>
                  </a:lnTo>
                  <a:lnTo>
                    <a:pt x="1693" y="62"/>
                  </a:lnTo>
                  <a:lnTo>
                    <a:pt x="1694" y="59"/>
                  </a:lnTo>
                  <a:lnTo>
                    <a:pt x="1696" y="57"/>
                  </a:lnTo>
                  <a:lnTo>
                    <a:pt x="1694" y="59"/>
                  </a:lnTo>
                  <a:lnTo>
                    <a:pt x="1693" y="62"/>
                  </a:lnTo>
                  <a:lnTo>
                    <a:pt x="1693" y="65"/>
                  </a:lnTo>
                  <a:lnTo>
                    <a:pt x="1694" y="66"/>
                  </a:lnTo>
                  <a:lnTo>
                    <a:pt x="1696" y="66"/>
                  </a:lnTo>
                  <a:lnTo>
                    <a:pt x="1698" y="65"/>
                  </a:lnTo>
                  <a:lnTo>
                    <a:pt x="1699" y="65"/>
                  </a:lnTo>
                  <a:lnTo>
                    <a:pt x="1699" y="65"/>
                  </a:lnTo>
                  <a:lnTo>
                    <a:pt x="1699" y="66"/>
                  </a:lnTo>
                  <a:lnTo>
                    <a:pt x="1699" y="68"/>
                  </a:lnTo>
                  <a:lnTo>
                    <a:pt x="1699" y="68"/>
                  </a:lnTo>
                  <a:lnTo>
                    <a:pt x="1701" y="68"/>
                  </a:lnTo>
                  <a:lnTo>
                    <a:pt x="1702" y="68"/>
                  </a:lnTo>
                  <a:lnTo>
                    <a:pt x="1702" y="70"/>
                  </a:lnTo>
                  <a:lnTo>
                    <a:pt x="1704" y="71"/>
                  </a:lnTo>
                  <a:lnTo>
                    <a:pt x="1705" y="73"/>
                  </a:lnTo>
                  <a:lnTo>
                    <a:pt x="1704" y="74"/>
                  </a:lnTo>
                  <a:lnTo>
                    <a:pt x="1702" y="76"/>
                  </a:lnTo>
                  <a:lnTo>
                    <a:pt x="1702" y="76"/>
                  </a:lnTo>
                  <a:lnTo>
                    <a:pt x="1701" y="76"/>
                  </a:lnTo>
                  <a:lnTo>
                    <a:pt x="1701" y="77"/>
                  </a:lnTo>
                  <a:lnTo>
                    <a:pt x="1711" y="82"/>
                  </a:lnTo>
                  <a:lnTo>
                    <a:pt x="1691" y="77"/>
                  </a:lnTo>
                  <a:lnTo>
                    <a:pt x="1688" y="77"/>
                  </a:lnTo>
                  <a:lnTo>
                    <a:pt x="1688" y="79"/>
                  </a:lnTo>
                  <a:lnTo>
                    <a:pt x="1687" y="85"/>
                  </a:lnTo>
                  <a:lnTo>
                    <a:pt x="1685" y="90"/>
                  </a:lnTo>
                  <a:lnTo>
                    <a:pt x="1687" y="91"/>
                  </a:lnTo>
                  <a:lnTo>
                    <a:pt x="1688" y="93"/>
                  </a:lnTo>
                  <a:lnTo>
                    <a:pt x="1690" y="93"/>
                  </a:lnTo>
                  <a:lnTo>
                    <a:pt x="1690" y="96"/>
                  </a:lnTo>
                  <a:lnTo>
                    <a:pt x="1688" y="97"/>
                  </a:lnTo>
                  <a:lnTo>
                    <a:pt x="1687" y="96"/>
                  </a:lnTo>
                  <a:lnTo>
                    <a:pt x="1674" y="97"/>
                  </a:lnTo>
                  <a:lnTo>
                    <a:pt x="1673" y="99"/>
                  </a:lnTo>
                  <a:lnTo>
                    <a:pt x="1671" y="105"/>
                  </a:lnTo>
                  <a:lnTo>
                    <a:pt x="1673" y="106"/>
                  </a:lnTo>
                  <a:lnTo>
                    <a:pt x="1674" y="108"/>
                  </a:lnTo>
                  <a:lnTo>
                    <a:pt x="1676" y="110"/>
                  </a:lnTo>
                  <a:lnTo>
                    <a:pt x="1673" y="116"/>
                  </a:lnTo>
                  <a:lnTo>
                    <a:pt x="1673" y="119"/>
                  </a:lnTo>
                  <a:lnTo>
                    <a:pt x="1674" y="122"/>
                  </a:lnTo>
                  <a:lnTo>
                    <a:pt x="1682" y="128"/>
                  </a:lnTo>
                  <a:lnTo>
                    <a:pt x="1685" y="131"/>
                  </a:lnTo>
                  <a:lnTo>
                    <a:pt x="1682" y="131"/>
                  </a:lnTo>
                  <a:lnTo>
                    <a:pt x="1677" y="128"/>
                  </a:lnTo>
                  <a:lnTo>
                    <a:pt x="1674" y="128"/>
                  </a:lnTo>
                  <a:lnTo>
                    <a:pt x="1673" y="128"/>
                  </a:lnTo>
                  <a:lnTo>
                    <a:pt x="1673" y="128"/>
                  </a:lnTo>
                  <a:lnTo>
                    <a:pt x="1671" y="127"/>
                  </a:lnTo>
                  <a:lnTo>
                    <a:pt x="1671" y="125"/>
                  </a:lnTo>
                  <a:lnTo>
                    <a:pt x="1668" y="127"/>
                  </a:lnTo>
                  <a:lnTo>
                    <a:pt x="1667" y="128"/>
                  </a:lnTo>
                  <a:lnTo>
                    <a:pt x="1664" y="133"/>
                  </a:lnTo>
                  <a:lnTo>
                    <a:pt x="1662" y="136"/>
                  </a:lnTo>
                  <a:lnTo>
                    <a:pt x="1664" y="136"/>
                  </a:lnTo>
                  <a:lnTo>
                    <a:pt x="1665" y="137"/>
                  </a:lnTo>
                  <a:lnTo>
                    <a:pt x="1665" y="140"/>
                  </a:lnTo>
                  <a:lnTo>
                    <a:pt x="1664" y="140"/>
                  </a:lnTo>
                  <a:lnTo>
                    <a:pt x="1662" y="142"/>
                  </a:lnTo>
                  <a:lnTo>
                    <a:pt x="1664" y="145"/>
                  </a:lnTo>
                  <a:lnTo>
                    <a:pt x="1667" y="150"/>
                  </a:lnTo>
                  <a:lnTo>
                    <a:pt x="1668" y="153"/>
                  </a:lnTo>
                  <a:lnTo>
                    <a:pt x="1668" y="154"/>
                  </a:lnTo>
                  <a:lnTo>
                    <a:pt x="1671" y="156"/>
                  </a:lnTo>
                  <a:lnTo>
                    <a:pt x="1673" y="157"/>
                  </a:lnTo>
                  <a:lnTo>
                    <a:pt x="1670" y="156"/>
                  </a:lnTo>
                  <a:lnTo>
                    <a:pt x="1668" y="156"/>
                  </a:lnTo>
                  <a:lnTo>
                    <a:pt x="1661" y="159"/>
                  </a:lnTo>
                  <a:lnTo>
                    <a:pt x="1659" y="157"/>
                  </a:lnTo>
                  <a:lnTo>
                    <a:pt x="1661" y="154"/>
                  </a:lnTo>
                  <a:lnTo>
                    <a:pt x="1651" y="156"/>
                  </a:lnTo>
                  <a:lnTo>
                    <a:pt x="1650" y="157"/>
                  </a:lnTo>
                  <a:lnTo>
                    <a:pt x="1650" y="160"/>
                  </a:lnTo>
                  <a:lnTo>
                    <a:pt x="1648" y="165"/>
                  </a:lnTo>
                  <a:lnTo>
                    <a:pt x="1647" y="167"/>
                  </a:lnTo>
                  <a:lnTo>
                    <a:pt x="1644" y="168"/>
                  </a:lnTo>
                  <a:lnTo>
                    <a:pt x="1642" y="168"/>
                  </a:lnTo>
                  <a:lnTo>
                    <a:pt x="1639" y="167"/>
                  </a:lnTo>
                  <a:lnTo>
                    <a:pt x="1639" y="167"/>
                  </a:lnTo>
                  <a:lnTo>
                    <a:pt x="1637" y="170"/>
                  </a:lnTo>
                  <a:lnTo>
                    <a:pt x="1637" y="171"/>
                  </a:lnTo>
                  <a:lnTo>
                    <a:pt x="1637" y="173"/>
                  </a:lnTo>
                  <a:lnTo>
                    <a:pt x="1639" y="177"/>
                  </a:lnTo>
                  <a:lnTo>
                    <a:pt x="1637" y="177"/>
                  </a:lnTo>
                  <a:lnTo>
                    <a:pt x="1636" y="177"/>
                  </a:lnTo>
                  <a:lnTo>
                    <a:pt x="1634" y="177"/>
                  </a:lnTo>
                  <a:lnTo>
                    <a:pt x="1634" y="179"/>
                  </a:lnTo>
                  <a:lnTo>
                    <a:pt x="1633" y="180"/>
                  </a:lnTo>
                  <a:lnTo>
                    <a:pt x="1633" y="182"/>
                  </a:lnTo>
                  <a:lnTo>
                    <a:pt x="1633" y="182"/>
                  </a:lnTo>
                  <a:lnTo>
                    <a:pt x="1631" y="183"/>
                  </a:lnTo>
                  <a:lnTo>
                    <a:pt x="1628" y="182"/>
                  </a:lnTo>
                  <a:lnTo>
                    <a:pt x="1628" y="180"/>
                  </a:lnTo>
                  <a:lnTo>
                    <a:pt x="1628" y="179"/>
                  </a:lnTo>
                  <a:lnTo>
                    <a:pt x="1628" y="177"/>
                  </a:lnTo>
                  <a:lnTo>
                    <a:pt x="1628" y="177"/>
                  </a:lnTo>
                  <a:lnTo>
                    <a:pt x="1628" y="176"/>
                  </a:lnTo>
                  <a:lnTo>
                    <a:pt x="1630" y="173"/>
                  </a:lnTo>
                  <a:lnTo>
                    <a:pt x="1630" y="171"/>
                  </a:lnTo>
                  <a:lnTo>
                    <a:pt x="1630" y="170"/>
                  </a:lnTo>
                  <a:lnTo>
                    <a:pt x="1628" y="168"/>
                  </a:lnTo>
                  <a:lnTo>
                    <a:pt x="1628" y="167"/>
                  </a:lnTo>
                  <a:lnTo>
                    <a:pt x="1630" y="162"/>
                  </a:lnTo>
                  <a:lnTo>
                    <a:pt x="1631" y="159"/>
                  </a:lnTo>
                  <a:lnTo>
                    <a:pt x="1633" y="156"/>
                  </a:lnTo>
                  <a:lnTo>
                    <a:pt x="1633" y="153"/>
                  </a:lnTo>
                  <a:lnTo>
                    <a:pt x="1633" y="151"/>
                  </a:lnTo>
                  <a:lnTo>
                    <a:pt x="1631" y="150"/>
                  </a:lnTo>
                  <a:lnTo>
                    <a:pt x="1631" y="147"/>
                  </a:lnTo>
                  <a:lnTo>
                    <a:pt x="1633" y="145"/>
                  </a:lnTo>
                  <a:lnTo>
                    <a:pt x="1634" y="142"/>
                  </a:lnTo>
                  <a:lnTo>
                    <a:pt x="1636" y="140"/>
                  </a:lnTo>
                  <a:lnTo>
                    <a:pt x="1634" y="137"/>
                  </a:lnTo>
                  <a:lnTo>
                    <a:pt x="1639" y="119"/>
                  </a:lnTo>
                  <a:lnTo>
                    <a:pt x="1637" y="117"/>
                  </a:lnTo>
                  <a:lnTo>
                    <a:pt x="1630" y="114"/>
                  </a:lnTo>
                  <a:lnTo>
                    <a:pt x="1628" y="114"/>
                  </a:lnTo>
                  <a:lnTo>
                    <a:pt x="1619" y="120"/>
                  </a:lnTo>
                  <a:lnTo>
                    <a:pt x="1616" y="117"/>
                  </a:lnTo>
                  <a:lnTo>
                    <a:pt x="1637" y="105"/>
                  </a:lnTo>
                  <a:lnTo>
                    <a:pt x="1642" y="97"/>
                  </a:lnTo>
                  <a:lnTo>
                    <a:pt x="1642" y="94"/>
                  </a:lnTo>
                  <a:lnTo>
                    <a:pt x="1642" y="90"/>
                  </a:lnTo>
                  <a:lnTo>
                    <a:pt x="1642" y="85"/>
                  </a:lnTo>
                  <a:lnTo>
                    <a:pt x="1644" y="82"/>
                  </a:lnTo>
                  <a:lnTo>
                    <a:pt x="1645" y="80"/>
                  </a:lnTo>
                  <a:lnTo>
                    <a:pt x="1645" y="77"/>
                  </a:lnTo>
                  <a:lnTo>
                    <a:pt x="1645" y="76"/>
                  </a:lnTo>
                  <a:lnTo>
                    <a:pt x="1645" y="74"/>
                  </a:lnTo>
                  <a:lnTo>
                    <a:pt x="1644" y="76"/>
                  </a:lnTo>
                  <a:lnTo>
                    <a:pt x="1642" y="77"/>
                  </a:lnTo>
                  <a:lnTo>
                    <a:pt x="1642" y="77"/>
                  </a:lnTo>
                  <a:lnTo>
                    <a:pt x="1641" y="77"/>
                  </a:lnTo>
                  <a:lnTo>
                    <a:pt x="1641" y="76"/>
                  </a:lnTo>
                  <a:lnTo>
                    <a:pt x="1641" y="74"/>
                  </a:lnTo>
                  <a:lnTo>
                    <a:pt x="1639" y="73"/>
                  </a:lnTo>
                  <a:lnTo>
                    <a:pt x="1641" y="70"/>
                  </a:lnTo>
                  <a:lnTo>
                    <a:pt x="1641" y="70"/>
                  </a:lnTo>
                  <a:lnTo>
                    <a:pt x="1642" y="68"/>
                  </a:lnTo>
                  <a:lnTo>
                    <a:pt x="1644" y="68"/>
                  </a:lnTo>
                  <a:lnTo>
                    <a:pt x="1644" y="65"/>
                  </a:lnTo>
                  <a:lnTo>
                    <a:pt x="1645" y="63"/>
                  </a:lnTo>
                  <a:lnTo>
                    <a:pt x="1645" y="62"/>
                  </a:lnTo>
                  <a:lnTo>
                    <a:pt x="1645" y="59"/>
                  </a:lnTo>
                  <a:lnTo>
                    <a:pt x="1644" y="59"/>
                  </a:lnTo>
                  <a:lnTo>
                    <a:pt x="1644" y="57"/>
                  </a:lnTo>
                  <a:lnTo>
                    <a:pt x="1644" y="54"/>
                  </a:lnTo>
                  <a:lnTo>
                    <a:pt x="1641" y="51"/>
                  </a:lnTo>
                  <a:lnTo>
                    <a:pt x="1642" y="48"/>
                  </a:lnTo>
                  <a:lnTo>
                    <a:pt x="1642" y="48"/>
                  </a:lnTo>
                  <a:lnTo>
                    <a:pt x="1636" y="50"/>
                  </a:lnTo>
                  <a:lnTo>
                    <a:pt x="1617" y="68"/>
                  </a:lnTo>
                  <a:lnTo>
                    <a:pt x="1613" y="76"/>
                  </a:lnTo>
                  <a:lnTo>
                    <a:pt x="1610" y="83"/>
                  </a:lnTo>
                  <a:lnTo>
                    <a:pt x="1605" y="90"/>
                  </a:lnTo>
                  <a:lnTo>
                    <a:pt x="1602" y="93"/>
                  </a:lnTo>
                  <a:lnTo>
                    <a:pt x="1602" y="94"/>
                  </a:lnTo>
                  <a:lnTo>
                    <a:pt x="1600" y="99"/>
                  </a:lnTo>
                  <a:lnTo>
                    <a:pt x="1600" y="100"/>
                  </a:lnTo>
                  <a:lnTo>
                    <a:pt x="1599" y="102"/>
                  </a:lnTo>
                  <a:lnTo>
                    <a:pt x="1596" y="102"/>
                  </a:lnTo>
                  <a:lnTo>
                    <a:pt x="1596" y="103"/>
                  </a:lnTo>
                  <a:lnTo>
                    <a:pt x="1594" y="108"/>
                  </a:lnTo>
                  <a:lnTo>
                    <a:pt x="1591" y="122"/>
                  </a:lnTo>
                  <a:lnTo>
                    <a:pt x="1590" y="127"/>
                  </a:lnTo>
                  <a:lnTo>
                    <a:pt x="1587" y="131"/>
                  </a:lnTo>
                  <a:lnTo>
                    <a:pt x="1585" y="134"/>
                  </a:lnTo>
                  <a:lnTo>
                    <a:pt x="1582" y="134"/>
                  </a:lnTo>
                  <a:lnTo>
                    <a:pt x="1580" y="136"/>
                  </a:lnTo>
                  <a:lnTo>
                    <a:pt x="1565" y="163"/>
                  </a:lnTo>
                  <a:lnTo>
                    <a:pt x="1548" y="185"/>
                  </a:lnTo>
                  <a:lnTo>
                    <a:pt x="1548" y="190"/>
                  </a:lnTo>
                  <a:lnTo>
                    <a:pt x="1554" y="193"/>
                  </a:lnTo>
                  <a:lnTo>
                    <a:pt x="1556" y="196"/>
                  </a:lnTo>
                  <a:lnTo>
                    <a:pt x="1554" y="200"/>
                  </a:lnTo>
                  <a:lnTo>
                    <a:pt x="1550" y="207"/>
                  </a:lnTo>
                  <a:lnTo>
                    <a:pt x="1548" y="210"/>
                  </a:lnTo>
                  <a:lnTo>
                    <a:pt x="1548" y="213"/>
                  </a:lnTo>
                  <a:lnTo>
                    <a:pt x="1547" y="214"/>
                  </a:lnTo>
                  <a:lnTo>
                    <a:pt x="1545" y="217"/>
                  </a:lnTo>
                  <a:lnTo>
                    <a:pt x="1545" y="217"/>
                  </a:lnTo>
                  <a:lnTo>
                    <a:pt x="1543" y="219"/>
                  </a:lnTo>
                  <a:lnTo>
                    <a:pt x="1542" y="219"/>
                  </a:lnTo>
                  <a:lnTo>
                    <a:pt x="1540" y="220"/>
                  </a:lnTo>
                  <a:lnTo>
                    <a:pt x="1539" y="224"/>
                  </a:lnTo>
                  <a:lnTo>
                    <a:pt x="1536" y="234"/>
                  </a:lnTo>
                  <a:lnTo>
                    <a:pt x="1534" y="239"/>
                  </a:lnTo>
                  <a:lnTo>
                    <a:pt x="1533" y="240"/>
                  </a:lnTo>
                  <a:lnTo>
                    <a:pt x="1531" y="240"/>
                  </a:lnTo>
                  <a:lnTo>
                    <a:pt x="1528" y="244"/>
                  </a:lnTo>
                  <a:lnTo>
                    <a:pt x="1527" y="244"/>
                  </a:lnTo>
                  <a:lnTo>
                    <a:pt x="1525" y="242"/>
                  </a:lnTo>
                  <a:lnTo>
                    <a:pt x="1523" y="240"/>
                  </a:lnTo>
                  <a:lnTo>
                    <a:pt x="1523" y="239"/>
                  </a:lnTo>
                  <a:lnTo>
                    <a:pt x="1522" y="237"/>
                  </a:lnTo>
                  <a:lnTo>
                    <a:pt x="1522" y="236"/>
                  </a:lnTo>
                  <a:lnTo>
                    <a:pt x="1523" y="234"/>
                  </a:lnTo>
                  <a:lnTo>
                    <a:pt x="1527" y="233"/>
                  </a:lnTo>
                  <a:lnTo>
                    <a:pt x="1525" y="231"/>
                  </a:lnTo>
                  <a:lnTo>
                    <a:pt x="1523" y="233"/>
                  </a:lnTo>
                  <a:lnTo>
                    <a:pt x="1522" y="233"/>
                  </a:lnTo>
                  <a:lnTo>
                    <a:pt x="1522" y="233"/>
                  </a:lnTo>
                  <a:lnTo>
                    <a:pt x="1522" y="228"/>
                  </a:lnTo>
                  <a:lnTo>
                    <a:pt x="1523" y="227"/>
                  </a:lnTo>
                  <a:lnTo>
                    <a:pt x="1517" y="230"/>
                  </a:lnTo>
                  <a:lnTo>
                    <a:pt x="1517" y="231"/>
                  </a:lnTo>
                  <a:lnTo>
                    <a:pt x="1516" y="234"/>
                  </a:lnTo>
                  <a:lnTo>
                    <a:pt x="1517" y="237"/>
                  </a:lnTo>
                  <a:lnTo>
                    <a:pt x="1517" y="239"/>
                  </a:lnTo>
                  <a:lnTo>
                    <a:pt x="1519" y="240"/>
                  </a:lnTo>
                  <a:lnTo>
                    <a:pt x="1519" y="247"/>
                  </a:lnTo>
                  <a:lnTo>
                    <a:pt x="1516" y="247"/>
                  </a:lnTo>
                  <a:lnTo>
                    <a:pt x="1513" y="244"/>
                  </a:lnTo>
                  <a:lnTo>
                    <a:pt x="1511" y="239"/>
                  </a:lnTo>
                  <a:lnTo>
                    <a:pt x="1511" y="228"/>
                  </a:lnTo>
                  <a:lnTo>
                    <a:pt x="1511" y="227"/>
                  </a:lnTo>
                  <a:lnTo>
                    <a:pt x="1513" y="224"/>
                  </a:lnTo>
                  <a:lnTo>
                    <a:pt x="1514" y="222"/>
                  </a:lnTo>
                  <a:lnTo>
                    <a:pt x="1513" y="219"/>
                  </a:lnTo>
                  <a:lnTo>
                    <a:pt x="1513" y="217"/>
                  </a:lnTo>
                  <a:lnTo>
                    <a:pt x="1514" y="216"/>
                  </a:lnTo>
                  <a:lnTo>
                    <a:pt x="1514" y="214"/>
                  </a:lnTo>
                  <a:lnTo>
                    <a:pt x="1514" y="213"/>
                  </a:lnTo>
                  <a:lnTo>
                    <a:pt x="1514" y="211"/>
                  </a:lnTo>
                  <a:lnTo>
                    <a:pt x="1514" y="211"/>
                  </a:lnTo>
                  <a:lnTo>
                    <a:pt x="1516" y="210"/>
                  </a:lnTo>
                  <a:lnTo>
                    <a:pt x="1516" y="210"/>
                  </a:lnTo>
                  <a:lnTo>
                    <a:pt x="1516" y="208"/>
                  </a:lnTo>
                  <a:lnTo>
                    <a:pt x="1517" y="207"/>
                  </a:lnTo>
                  <a:lnTo>
                    <a:pt x="1517" y="207"/>
                  </a:lnTo>
                  <a:lnTo>
                    <a:pt x="1520" y="205"/>
                  </a:lnTo>
                  <a:lnTo>
                    <a:pt x="1531" y="193"/>
                  </a:lnTo>
                  <a:lnTo>
                    <a:pt x="1531" y="191"/>
                  </a:lnTo>
                  <a:lnTo>
                    <a:pt x="1531" y="188"/>
                  </a:lnTo>
                  <a:lnTo>
                    <a:pt x="1530" y="187"/>
                  </a:lnTo>
                  <a:lnTo>
                    <a:pt x="1528" y="188"/>
                  </a:lnTo>
                  <a:lnTo>
                    <a:pt x="1527" y="190"/>
                  </a:lnTo>
                  <a:lnTo>
                    <a:pt x="1525" y="191"/>
                  </a:lnTo>
                  <a:lnTo>
                    <a:pt x="1523" y="190"/>
                  </a:lnTo>
                  <a:lnTo>
                    <a:pt x="1523" y="187"/>
                  </a:lnTo>
                  <a:lnTo>
                    <a:pt x="1525" y="185"/>
                  </a:lnTo>
                  <a:lnTo>
                    <a:pt x="1527" y="183"/>
                  </a:lnTo>
                  <a:lnTo>
                    <a:pt x="1523" y="183"/>
                  </a:lnTo>
                  <a:lnTo>
                    <a:pt x="1523" y="183"/>
                  </a:lnTo>
                  <a:lnTo>
                    <a:pt x="1522" y="182"/>
                  </a:lnTo>
                  <a:lnTo>
                    <a:pt x="1528" y="174"/>
                  </a:lnTo>
                  <a:lnTo>
                    <a:pt x="1531" y="173"/>
                  </a:lnTo>
                  <a:lnTo>
                    <a:pt x="1534" y="176"/>
                  </a:lnTo>
                  <a:lnTo>
                    <a:pt x="1536" y="174"/>
                  </a:lnTo>
                  <a:lnTo>
                    <a:pt x="1536" y="171"/>
                  </a:lnTo>
                  <a:lnTo>
                    <a:pt x="1534" y="165"/>
                  </a:lnTo>
                  <a:lnTo>
                    <a:pt x="1534" y="162"/>
                  </a:lnTo>
                  <a:lnTo>
                    <a:pt x="1536" y="160"/>
                  </a:lnTo>
                  <a:lnTo>
                    <a:pt x="1537" y="160"/>
                  </a:lnTo>
                  <a:lnTo>
                    <a:pt x="1534" y="156"/>
                  </a:lnTo>
                  <a:lnTo>
                    <a:pt x="1523" y="157"/>
                  </a:lnTo>
                  <a:lnTo>
                    <a:pt x="1520" y="153"/>
                  </a:lnTo>
                  <a:lnTo>
                    <a:pt x="1534" y="154"/>
                  </a:lnTo>
                  <a:lnTo>
                    <a:pt x="1537" y="148"/>
                  </a:lnTo>
                  <a:lnTo>
                    <a:pt x="1534" y="145"/>
                  </a:lnTo>
                  <a:lnTo>
                    <a:pt x="1522" y="150"/>
                  </a:lnTo>
                  <a:lnTo>
                    <a:pt x="1523" y="145"/>
                  </a:lnTo>
                  <a:lnTo>
                    <a:pt x="1534" y="136"/>
                  </a:lnTo>
                  <a:lnTo>
                    <a:pt x="1534" y="134"/>
                  </a:lnTo>
                  <a:lnTo>
                    <a:pt x="1537" y="130"/>
                  </a:lnTo>
                  <a:lnTo>
                    <a:pt x="1539" y="128"/>
                  </a:lnTo>
                  <a:lnTo>
                    <a:pt x="1542" y="127"/>
                  </a:lnTo>
                  <a:lnTo>
                    <a:pt x="1548" y="119"/>
                  </a:lnTo>
                  <a:lnTo>
                    <a:pt x="1550" y="114"/>
                  </a:lnTo>
                  <a:lnTo>
                    <a:pt x="1554" y="113"/>
                  </a:lnTo>
                  <a:lnTo>
                    <a:pt x="1557" y="106"/>
                  </a:lnTo>
                  <a:lnTo>
                    <a:pt x="1560" y="105"/>
                  </a:lnTo>
                  <a:lnTo>
                    <a:pt x="1562" y="103"/>
                  </a:lnTo>
                  <a:lnTo>
                    <a:pt x="1564" y="100"/>
                  </a:lnTo>
                  <a:lnTo>
                    <a:pt x="1565" y="97"/>
                  </a:lnTo>
                  <a:lnTo>
                    <a:pt x="1564" y="94"/>
                  </a:lnTo>
                  <a:lnTo>
                    <a:pt x="1564" y="93"/>
                  </a:lnTo>
                  <a:lnTo>
                    <a:pt x="1562" y="91"/>
                  </a:lnTo>
                  <a:lnTo>
                    <a:pt x="1570" y="90"/>
                  </a:lnTo>
                  <a:lnTo>
                    <a:pt x="1571" y="86"/>
                  </a:lnTo>
                  <a:lnTo>
                    <a:pt x="1576" y="80"/>
                  </a:lnTo>
                  <a:lnTo>
                    <a:pt x="1577" y="77"/>
                  </a:lnTo>
                  <a:lnTo>
                    <a:pt x="1580" y="76"/>
                  </a:lnTo>
                  <a:lnTo>
                    <a:pt x="1582" y="73"/>
                  </a:lnTo>
                  <a:lnTo>
                    <a:pt x="1585" y="71"/>
                  </a:lnTo>
                  <a:lnTo>
                    <a:pt x="1585" y="70"/>
                  </a:lnTo>
                  <a:lnTo>
                    <a:pt x="1584" y="66"/>
                  </a:lnTo>
                  <a:lnTo>
                    <a:pt x="1584" y="65"/>
                  </a:lnTo>
                  <a:lnTo>
                    <a:pt x="1582" y="62"/>
                  </a:lnTo>
                  <a:lnTo>
                    <a:pt x="1579" y="62"/>
                  </a:lnTo>
                  <a:lnTo>
                    <a:pt x="1577" y="63"/>
                  </a:lnTo>
                  <a:lnTo>
                    <a:pt x="1574" y="65"/>
                  </a:lnTo>
                  <a:lnTo>
                    <a:pt x="1574" y="66"/>
                  </a:lnTo>
                  <a:lnTo>
                    <a:pt x="1574" y="68"/>
                  </a:lnTo>
                  <a:lnTo>
                    <a:pt x="1573" y="70"/>
                  </a:lnTo>
                  <a:lnTo>
                    <a:pt x="1573" y="70"/>
                  </a:lnTo>
                  <a:lnTo>
                    <a:pt x="1571" y="70"/>
                  </a:lnTo>
                  <a:lnTo>
                    <a:pt x="1571" y="68"/>
                  </a:lnTo>
                  <a:lnTo>
                    <a:pt x="1570" y="66"/>
                  </a:lnTo>
                  <a:lnTo>
                    <a:pt x="1570" y="65"/>
                  </a:lnTo>
                  <a:lnTo>
                    <a:pt x="1568" y="62"/>
                  </a:lnTo>
                  <a:lnTo>
                    <a:pt x="1565" y="62"/>
                  </a:lnTo>
                  <a:lnTo>
                    <a:pt x="1562" y="63"/>
                  </a:lnTo>
                  <a:lnTo>
                    <a:pt x="1560" y="65"/>
                  </a:lnTo>
                  <a:lnTo>
                    <a:pt x="1557" y="71"/>
                  </a:lnTo>
                  <a:lnTo>
                    <a:pt x="1557" y="71"/>
                  </a:lnTo>
                  <a:lnTo>
                    <a:pt x="1556" y="71"/>
                  </a:lnTo>
                  <a:lnTo>
                    <a:pt x="1554" y="68"/>
                  </a:lnTo>
                  <a:lnTo>
                    <a:pt x="1554" y="68"/>
                  </a:lnTo>
                  <a:lnTo>
                    <a:pt x="1551" y="73"/>
                  </a:lnTo>
                  <a:lnTo>
                    <a:pt x="1548" y="74"/>
                  </a:lnTo>
                  <a:lnTo>
                    <a:pt x="1548" y="70"/>
                  </a:lnTo>
                  <a:lnTo>
                    <a:pt x="1550" y="70"/>
                  </a:lnTo>
                  <a:lnTo>
                    <a:pt x="1553" y="65"/>
                  </a:lnTo>
                  <a:lnTo>
                    <a:pt x="1554" y="63"/>
                  </a:lnTo>
                  <a:lnTo>
                    <a:pt x="1556" y="62"/>
                  </a:lnTo>
                  <a:lnTo>
                    <a:pt x="1556" y="59"/>
                  </a:lnTo>
                  <a:lnTo>
                    <a:pt x="1556" y="56"/>
                  </a:lnTo>
                  <a:lnTo>
                    <a:pt x="1547" y="46"/>
                  </a:lnTo>
                  <a:lnTo>
                    <a:pt x="1543" y="43"/>
                  </a:lnTo>
                  <a:lnTo>
                    <a:pt x="1542" y="48"/>
                  </a:lnTo>
                  <a:lnTo>
                    <a:pt x="1542" y="51"/>
                  </a:lnTo>
                  <a:lnTo>
                    <a:pt x="1542" y="54"/>
                  </a:lnTo>
                  <a:lnTo>
                    <a:pt x="1543" y="57"/>
                  </a:lnTo>
                  <a:lnTo>
                    <a:pt x="1545" y="59"/>
                  </a:lnTo>
                  <a:lnTo>
                    <a:pt x="1545" y="60"/>
                  </a:lnTo>
                  <a:lnTo>
                    <a:pt x="1545" y="63"/>
                  </a:lnTo>
                  <a:lnTo>
                    <a:pt x="1542" y="79"/>
                  </a:lnTo>
                  <a:lnTo>
                    <a:pt x="1542" y="80"/>
                  </a:lnTo>
                  <a:lnTo>
                    <a:pt x="1539" y="80"/>
                  </a:lnTo>
                  <a:lnTo>
                    <a:pt x="1537" y="80"/>
                  </a:lnTo>
                  <a:lnTo>
                    <a:pt x="1537" y="82"/>
                  </a:lnTo>
                  <a:lnTo>
                    <a:pt x="1536" y="83"/>
                  </a:lnTo>
                  <a:lnTo>
                    <a:pt x="1536" y="85"/>
                  </a:lnTo>
                  <a:lnTo>
                    <a:pt x="1534" y="85"/>
                  </a:lnTo>
                  <a:lnTo>
                    <a:pt x="1534" y="85"/>
                  </a:lnTo>
                  <a:lnTo>
                    <a:pt x="1536" y="77"/>
                  </a:lnTo>
                  <a:lnTo>
                    <a:pt x="1534" y="70"/>
                  </a:lnTo>
                  <a:lnTo>
                    <a:pt x="1533" y="66"/>
                  </a:lnTo>
                  <a:lnTo>
                    <a:pt x="1530" y="60"/>
                  </a:lnTo>
                  <a:lnTo>
                    <a:pt x="1528" y="59"/>
                  </a:lnTo>
                  <a:lnTo>
                    <a:pt x="1528" y="59"/>
                  </a:lnTo>
                  <a:lnTo>
                    <a:pt x="1528" y="57"/>
                  </a:lnTo>
                  <a:lnTo>
                    <a:pt x="1527" y="56"/>
                  </a:lnTo>
                  <a:lnTo>
                    <a:pt x="1527" y="56"/>
                  </a:lnTo>
                  <a:lnTo>
                    <a:pt x="1527" y="56"/>
                  </a:lnTo>
                  <a:lnTo>
                    <a:pt x="1523" y="59"/>
                  </a:lnTo>
                  <a:lnTo>
                    <a:pt x="1522" y="63"/>
                  </a:lnTo>
                  <a:lnTo>
                    <a:pt x="1520" y="66"/>
                  </a:lnTo>
                  <a:lnTo>
                    <a:pt x="1520" y="71"/>
                  </a:lnTo>
                  <a:lnTo>
                    <a:pt x="1519" y="70"/>
                  </a:lnTo>
                  <a:lnTo>
                    <a:pt x="1516" y="70"/>
                  </a:lnTo>
                  <a:lnTo>
                    <a:pt x="1514" y="68"/>
                  </a:lnTo>
                  <a:lnTo>
                    <a:pt x="1514" y="66"/>
                  </a:lnTo>
                  <a:lnTo>
                    <a:pt x="1511" y="68"/>
                  </a:lnTo>
                  <a:lnTo>
                    <a:pt x="1510" y="66"/>
                  </a:lnTo>
                  <a:lnTo>
                    <a:pt x="1513" y="65"/>
                  </a:lnTo>
                  <a:lnTo>
                    <a:pt x="1516" y="62"/>
                  </a:lnTo>
                  <a:lnTo>
                    <a:pt x="1517" y="59"/>
                  </a:lnTo>
                  <a:lnTo>
                    <a:pt x="1520" y="54"/>
                  </a:lnTo>
                  <a:lnTo>
                    <a:pt x="1520" y="48"/>
                  </a:lnTo>
                  <a:lnTo>
                    <a:pt x="1519" y="45"/>
                  </a:lnTo>
                  <a:lnTo>
                    <a:pt x="1516" y="45"/>
                  </a:lnTo>
                  <a:lnTo>
                    <a:pt x="1514" y="46"/>
                  </a:lnTo>
                  <a:lnTo>
                    <a:pt x="1514" y="48"/>
                  </a:lnTo>
                  <a:lnTo>
                    <a:pt x="1514" y="50"/>
                  </a:lnTo>
                  <a:lnTo>
                    <a:pt x="1514" y="54"/>
                  </a:lnTo>
                  <a:lnTo>
                    <a:pt x="1514" y="57"/>
                  </a:lnTo>
                  <a:lnTo>
                    <a:pt x="1502" y="59"/>
                  </a:lnTo>
                  <a:lnTo>
                    <a:pt x="1503" y="57"/>
                  </a:lnTo>
                  <a:lnTo>
                    <a:pt x="1505" y="56"/>
                  </a:lnTo>
                  <a:lnTo>
                    <a:pt x="1505" y="54"/>
                  </a:lnTo>
                  <a:lnTo>
                    <a:pt x="1505" y="51"/>
                  </a:lnTo>
                  <a:lnTo>
                    <a:pt x="1503" y="51"/>
                  </a:lnTo>
                  <a:lnTo>
                    <a:pt x="1502" y="50"/>
                  </a:lnTo>
                  <a:lnTo>
                    <a:pt x="1500" y="48"/>
                  </a:lnTo>
                  <a:lnTo>
                    <a:pt x="1500" y="46"/>
                  </a:lnTo>
                  <a:lnTo>
                    <a:pt x="1500" y="45"/>
                  </a:lnTo>
                  <a:lnTo>
                    <a:pt x="1499" y="45"/>
                  </a:lnTo>
                  <a:lnTo>
                    <a:pt x="1491" y="43"/>
                  </a:lnTo>
                  <a:lnTo>
                    <a:pt x="1488" y="43"/>
                  </a:lnTo>
                  <a:lnTo>
                    <a:pt x="1487" y="45"/>
                  </a:lnTo>
                  <a:lnTo>
                    <a:pt x="1485" y="46"/>
                  </a:lnTo>
                  <a:lnTo>
                    <a:pt x="1487" y="48"/>
                  </a:lnTo>
                  <a:lnTo>
                    <a:pt x="1490" y="48"/>
                  </a:lnTo>
                  <a:lnTo>
                    <a:pt x="1490" y="50"/>
                  </a:lnTo>
                  <a:lnTo>
                    <a:pt x="1488" y="50"/>
                  </a:lnTo>
                  <a:lnTo>
                    <a:pt x="1487" y="50"/>
                  </a:lnTo>
                  <a:lnTo>
                    <a:pt x="1485" y="51"/>
                  </a:lnTo>
                  <a:lnTo>
                    <a:pt x="1483" y="53"/>
                  </a:lnTo>
                  <a:lnTo>
                    <a:pt x="1485" y="56"/>
                  </a:lnTo>
                  <a:lnTo>
                    <a:pt x="1485" y="56"/>
                  </a:lnTo>
                  <a:lnTo>
                    <a:pt x="1488" y="59"/>
                  </a:lnTo>
                  <a:lnTo>
                    <a:pt x="1488" y="59"/>
                  </a:lnTo>
                  <a:lnTo>
                    <a:pt x="1487" y="62"/>
                  </a:lnTo>
                  <a:lnTo>
                    <a:pt x="1490" y="62"/>
                  </a:lnTo>
                  <a:lnTo>
                    <a:pt x="1496" y="66"/>
                  </a:lnTo>
                  <a:lnTo>
                    <a:pt x="1494" y="70"/>
                  </a:lnTo>
                  <a:lnTo>
                    <a:pt x="1493" y="70"/>
                  </a:lnTo>
                  <a:lnTo>
                    <a:pt x="1490" y="68"/>
                  </a:lnTo>
                  <a:lnTo>
                    <a:pt x="1488" y="68"/>
                  </a:lnTo>
                  <a:lnTo>
                    <a:pt x="1487" y="70"/>
                  </a:lnTo>
                  <a:lnTo>
                    <a:pt x="1487" y="71"/>
                  </a:lnTo>
                  <a:lnTo>
                    <a:pt x="1487" y="74"/>
                  </a:lnTo>
                  <a:lnTo>
                    <a:pt x="1487" y="77"/>
                  </a:lnTo>
                  <a:lnTo>
                    <a:pt x="1488" y="80"/>
                  </a:lnTo>
                  <a:lnTo>
                    <a:pt x="1490" y="82"/>
                  </a:lnTo>
                  <a:lnTo>
                    <a:pt x="1490" y="83"/>
                  </a:lnTo>
                  <a:lnTo>
                    <a:pt x="1488" y="88"/>
                  </a:lnTo>
                  <a:lnTo>
                    <a:pt x="1487" y="88"/>
                  </a:lnTo>
                  <a:lnTo>
                    <a:pt x="1483" y="83"/>
                  </a:lnTo>
                  <a:lnTo>
                    <a:pt x="1480" y="80"/>
                  </a:lnTo>
                  <a:lnTo>
                    <a:pt x="1476" y="79"/>
                  </a:lnTo>
                  <a:lnTo>
                    <a:pt x="1476" y="76"/>
                  </a:lnTo>
                  <a:lnTo>
                    <a:pt x="1476" y="74"/>
                  </a:lnTo>
                  <a:lnTo>
                    <a:pt x="1471" y="73"/>
                  </a:lnTo>
                  <a:lnTo>
                    <a:pt x="1473" y="71"/>
                  </a:lnTo>
                  <a:lnTo>
                    <a:pt x="1471" y="68"/>
                  </a:lnTo>
                  <a:lnTo>
                    <a:pt x="1468" y="70"/>
                  </a:lnTo>
                  <a:lnTo>
                    <a:pt x="1462" y="74"/>
                  </a:lnTo>
                  <a:lnTo>
                    <a:pt x="1462" y="79"/>
                  </a:lnTo>
                  <a:lnTo>
                    <a:pt x="1462" y="83"/>
                  </a:lnTo>
                  <a:lnTo>
                    <a:pt x="1460" y="86"/>
                  </a:lnTo>
                  <a:lnTo>
                    <a:pt x="1462" y="90"/>
                  </a:lnTo>
                  <a:lnTo>
                    <a:pt x="1463" y="91"/>
                  </a:lnTo>
                  <a:lnTo>
                    <a:pt x="1468" y="91"/>
                  </a:lnTo>
                  <a:lnTo>
                    <a:pt x="1476" y="94"/>
                  </a:lnTo>
                  <a:lnTo>
                    <a:pt x="1480" y="94"/>
                  </a:lnTo>
                  <a:lnTo>
                    <a:pt x="1480" y="94"/>
                  </a:lnTo>
                  <a:lnTo>
                    <a:pt x="1482" y="96"/>
                  </a:lnTo>
                  <a:lnTo>
                    <a:pt x="1483" y="99"/>
                  </a:lnTo>
                  <a:lnTo>
                    <a:pt x="1485" y="100"/>
                  </a:lnTo>
                  <a:lnTo>
                    <a:pt x="1490" y="103"/>
                  </a:lnTo>
                  <a:lnTo>
                    <a:pt x="1490" y="105"/>
                  </a:lnTo>
                  <a:lnTo>
                    <a:pt x="1490" y="105"/>
                  </a:lnTo>
                  <a:lnTo>
                    <a:pt x="1491" y="108"/>
                  </a:lnTo>
                  <a:lnTo>
                    <a:pt x="1496" y="114"/>
                  </a:lnTo>
                  <a:lnTo>
                    <a:pt x="1496" y="119"/>
                  </a:lnTo>
                  <a:lnTo>
                    <a:pt x="1496" y="123"/>
                  </a:lnTo>
                  <a:lnTo>
                    <a:pt x="1493" y="125"/>
                  </a:lnTo>
                  <a:lnTo>
                    <a:pt x="1490" y="125"/>
                  </a:lnTo>
                  <a:lnTo>
                    <a:pt x="1487" y="122"/>
                  </a:lnTo>
                  <a:lnTo>
                    <a:pt x="1479" y="111"/>
                  </a:lnTo>
                  <a:lnTo>
                    <a:pt x="1477" y="110"/>
                  </a:lnTo>
                  <a:lnTo>
                    <a:pt x="1471" y="110"/>
                  </a:lnTo>
                  <a:lnTo>
                    <a:pt x="1470" y="108"/>
                  </a:lnTo>
                  <a:lnTo>
                    <a:pt x="1468" y="108"/>
                  </a:lnTo>
                  <a:lnTo>
                    <a:pt x="1466" y="110"/>
                  </a:lnTo>
                  <a:lnTo>
                    <a:pt x="1463" y="113"/>
                  </a:lnTo>
                  <a:lnTo>
                    <a:pt x="1462" y="116"/>
                  </a:lnTo>
                  <a:lnTo>
                    <a:pt x="1462" y="117"/>
                  </a:lnTo>
                  <a:lnTo>
                    <a:pt x="1462" y="123"/>
                  </a:lnTo>
                  <a:lnTo>
                    <a:pt x="1462" y="125"/>
                  </a:lnTo>
                  <a:lnTo>
                    <a:pt x="1460" y="127"/>
                  </a:lnTo>
                  <a:lnTo>
                    <a:pt x="1460" y="128"/>
                  </a:lnTo>
                  <a:lnTo>
                    <a:pt x="1460" y="128"/>
                  </a:lnTo>
                  <a:lnTo>
                    <a:pt x="1459" y="128"/>
                  </a:lnTo>
                  <a:lnTo>
                    <a:pt x="1457" y="131"/>
                  </a:lnTo>
                  <a:lnTo>
                    <a:pt x="1450" y="140"/>
                  </a:lnTo>
                  <a:lnTo>
                    <a:pt x="1450" y="142"/>
                  </a:lnTo>
                  <a:lnTo>
                    <a:pt x="1450" y="142"/>
                  </a:lnTo>
                  <a:lnTo>
                    <a:pt x="1459" y="145"/>
                  </a:lnTo>
                  <a:lnTo>
                    <a:pt x="1460" y="148"/>
                  </a:lnTo>
                  <a:lnTo>
                    <a:pt x="1465" y="154"/>
                  </a:lnTo>
                  <a:lnTo>
                    <a:pt x="1466" y="156"/>
                  </a:lnTo>
                  <a:lnTo>
                    <a:pt x="1468" y="157"/>
                  </a:lnTo>
                  <a:lnTo>
                    <a:pt x="1468" y="159"/>
                  </a:lnTo>
                  <a:lnTo>
                    <a:pt x="1468" y="160"/>
                  </a:lnTo>
                  <a:lnTo>
                    <a:pt x="1466" y="159"/>
                  </a:lnTo>
                  <a:lnTo>
                    <a:pt x="1465" y="157"/>
                  </a:lnTo>
                  <a:lnTo>
                    <a:pt x="1463" y="156"/>
                  </a:lnTo>
                  <a:lnTo>
                    <a:pt x="1456" y="153"/>
                  </a:lnTo>
                  <a:lnTo>
                    <a:pt x="1436" y="148"/>
                  </a:lnTo>
                  <a:lnTo>
                    <a:pt x="1430" y="151"/>
                  </a:lnTo>
                  <a:lnTo>
                    <a:pt x="1428" y="154"/>
                  </a:lnTo>
                  <a:lnTo>
                    <a:pt x="1423" y="162"/>
                  </a:lnTo>
                  <a:lnTo>
                    <a:pt x="1414" y="170"/>
                  </a:lnTo>
                  <a:lnTo>
                    <a:pt x="1411" y="176"/>
                  </a:lnTo>
                  <a:lnTo>
                    <a:pt x="1409" y="177"/>
                  </a:lnTo>
                  <a:lnTo>
                    <a:pt x="1406" y="179"/>
                  </a:lnTo>
                  <a:lnTo>
                    <a:pt x="1405" y="180"/>
                  </a:lnTo>
                  <a:lnTo>
                    <a:pt x="1403" y="188"/>
                  </a:lnTo>
                  <a:lnTo>
                    <a:pt x="1402" y="191"/>
                  </a:lnTo>
                  <a:lnTo>
                    <a:pt x="1403" y="191"/>
                  </a:lnTo>
                  <a:lnTo>
                    <a:pt x="1406" y="190"/>
                  </a:lnTo>
                  <a:lnTo>
                    <a:pt x="1408" y="190"/>
                  </a:lnTo>
                  <a:lnTo>
                    <a:pt x="1405" y="194"/>
                  </a:lnTo>
                  <a:lnTo>
                    <a:pt x="1405" y="196"/>
                  </a:lnTo>
                  <a:lnTo>
                    <a:pt x="1413" y="194"/>
                  </a:lnTo>
                  <a:lnTo>
                    <a:pt x="1409" y="197"/>
                  </a:lnTo>
                  <a:lnTo>
                    <a:pt x="1397" y="199"/>
                  </a:lnTo>
                  <a:lnTo>
                    <a:pt x="1389" y="205"/>
                  </a:lnTo>
                  <a:lnTo>
                    <a:pt x="1388" y="207"/>
                  </a:lnTo>
                  <a:lnTo>
                    <a:pt x="1402" y="205"/>
                  </a:lnTo>
                  <a:lnTo>
                    <a:pt x="1405" y="205"/>
                  </a:lnTo>
                  <a:lnTo>
                    <a:pt x="1406" y="207"/>
                  </a:lnTo>
                  <a:lnTo>
                    <a:pt x="1405" y="207"/>
                  </a:lnTo>
                  <a:lnTo>
                    <a:pt x="1405" y="208"/>
                  </a:lnTo>
                  <a:lnTo>
                    <a:pt x="1403" y="210"/>
                  </a:lnTo>
                  <a:lnTo>
                    <a:pt x="1399" y="210"/>
                  </a:lnTo>
                  <a:lnTo>
                    <a:pt x="1396" y="211"/>
                  </a:lnTo>
                  <a:lnTo>
                    <a:pt x="1388" y="211"/>
                  </a:lnTo>
                  <a:lnTo>
                    <a:pt x="1385" y="213"/>
                  </a:lnTo>
                  <a:lnTo>
                    <a:pt x="1388" y="217"/>
                  </a:lnTo>
                  <a:lnTo>
                    <a:pt x="1391" y="219"/>
                  </a:lnTo>
                  <a:lnTo>
                    <a:pt x="1399" y="217"/>
                  </a:lnTo>
                  <a:lnTo>
                    <a:pt x="1397" y="220"/>
                  </a:lnTo>
                  <a:lnTo>
                    <a:pt x="1391" y="222"/>
                  </a:lnTo>
                  <a:lnTo>
                    <a:pt x="1389" y="224"/>
                  </a:lnTo>
                  <a:lnTo>
                    <a:pt x="1391" y="227"/>
                  </a:lnTo>
                  <a:lnTo>
                    <a:pt x="1396" y="228"/>
                  </a:lnTo>
                  <a:lnTo>
                    <a:pt x="1397" y="230"/>
                  </a:lnTo>
                  <a:lnTo>
                    <a:pt x="1396" y="234"/>
                  </a:lnTo>
                  <a:lnTo>
                    <a:pt x="1394" y="236"/>
                  </a:lnTo>
                  <a:lnTo>
                    <a:pt x="1388" y="236"/>
                  </a:lnTo>
                  <a:lnTo>
                    <a:pt x="1386" y="237"/>
                  </a:lnTo>
                  <a:lnTo>
                    <a:pt x="1385" y="239"/>
                  </a:lnTo>
                  <a:lnTo>
                    <a:pt x="1383" y="239"/>
                  </a:lnTo>
                  <a:lnTo>
                    <a:pt x="1382" y="239"/>
                  </a:lnTo>
                  <a:lnTo>
                    <a:pt x="1380" y="240"/>
                  </a:lnTo>
                  <a:lnTo>
                    <a:pt x="1388" y="251"/>
                  </a:lnTo>
                  <a:lnTo>
                    <a:pt x="1389" y="251"/>
                  </a:lnTo>
                  <a:lnTo>
                    <a:pt x="1403" y="253"/>
                  </a:lnTo>
                  <a:lnTo>
                    <a:pt x="1406" y="256"/>
                  </a:lnTo>
                  <a:lnTo>
                    <a:pt x="1406" y="257"/>
                  </a:lnTo>
                  <a:lnTo>
                    <a:pt x="1405" y="257"/>
                  </a:lnTo>
                  <a:lnTo>
                    <a:pt x="1403" y="259"/>
                  </a:lnTo>
                  <a:lnTo>
                    <a:pt x="1402" y="262"/>
                  </a:lnTo>
                  <a:lnTo>
                    <a:pt x="1402" y="264"/>
                  </a:lnTo>
                  <a:lnTo>
                    <a:pt x="1399" y="265"/>
                  </a:lnTo>
                  <a:lnTo>
                    <a:pt x="1391" y="271"/>
                  </a:lnTo>
                  <a:lnTo>
                    <a:pt x="1389" y="271"/>
                  </a:lnTo>
                  <a:lnTo>
                    <a:pt x="1389" y="271"/>
                  </a:lnTo>
                  <a:lnTo>
                    <a:pt x="1393" y="267"/>
                  </a:lnTo>
                  <a:lnTo>
                    <a:pt x="1393" y="265"/>
                  </a:lnTo>
                  <a:lnTo>
                    <a:pt x="1393" y="265"/>
                  </a:lnTo>
                  <a:lnTo>
                    <a:pt x="1391" y="264"/>
                  </a:lnTo>
                  <a:lnTo>
                    <a:pt x="1391" y="262"/>
                  </a:lnTo>
                  <a:lnTo>
                    <a:pt x="1391" y="262"/>
                  </a:lnTo>
                  <a:lnTo>
                    <a:pt x="1389" y="262"/>
                  </a:lnTo>
                  <a:lnTo>
                    <a:pt x="1388" y="262"/>
                  </a:lnTo>
                  <a:lnTo>
                    <a:pt x="1379" y="271"/>
                  </a:lnTo>
                  <a:lnTo>
                    <a:pt x="1376" y="273"/>
                  </a:lnTo>
                  <a:lnTo>
                    <a:pt x="1374" y="270"/>
                  </a:lnTo>
                  <a:lnTo>
                    <a:pt x="1376" y="270"/>
                  </a:lnTo>
                  <a:lnTo>
                    <a:pt x="1376" y="270"/>
                  </a:lnTo>
                  <a:lnTo>
                    <a:pt x="1377" y="268"/>
                  </a:lnTo>
                  <a:lnTo>
                    <a:pt x="1379" y="267"/>
                  </a:lnTo>
                  <a:lnTo>
                    <a:pt x="1376" y="264"/>
                  </a:lnTo>
                  <a:lnTo>
                    <a:pt x="1376" y="260"/>
                  </a:lnTo>
                  <a:lnTo>
                    <a:pt x="1376" y="257"/>
                  </a:lnTo>
                  <a:lnTo>
                    <a:pt x="1377" y="253"/>
                  </a:lnTo>
                  <a:lnTo>
                    <a:pt x="1376" y="251"/>
                  </a:lnTo>
                  <a:lnTo>
                    <a:pt x="1373" y="251"/>
                  </a:lnTo>
                  <a:lnTo>
                    <a:pt x="1371" y="254"/>
                  </a:lnTo>
                  <a:lnTo>
                    <a:pt x="1369" y="254"/>
                  </a:lnTo>
                  <a:lnTo>
                    <a:pt x="1368" y="253"/>
                  </a:lnTo>
                  <a:lnTo>
                    <a:pt x="1368" y="250"/>
                  </a:lnTo>
                  <a:lnTo>
                    <a:pt x="1366" y="247"/>
                  </a:lnTo>
                  <a:lnTo>
                    <a:pt x="1366" y="242"/>
                  </a:lnTo>
                  <a:lnTo>
                    <a:pt x="1366" y="239"/>
                  </a:lnTo>
                  <a:lnTo>
                    <a:pt x="1368" y="236"/>
                  </a:lnTo>
                  <a:lnTo>
                    <a:pt x="1368" y="228"/>
                  </a:lnTo>
                  <a:lnTo>
                    <a:pt x="1365" y="228"/>
                  </a:lnTo>
                  <a:lnTo>
                    <a:pt x="1357" y="237"/>
                  </a:lnTo>
                  <a:lnTo>
                    <a:pt x="1346" y="240"/>
                  </a:lnTo>
                  <a:lnTo>
                    <a:pt x="1340" y="244"/>
                  </a:lnTo>
                  <a:lnTo>
                    <a:pt x="1322" y="247"/>
                  </a:lnTo>
                  <a:lnTo>
                    <a:pt x="1319" y="251"/>
                  </a:lnTo>
                  <a:lnTo>
                    <a:pt x="1317" y="251"/>
                  </a:lnTo>
                  <a:lnTo>
                    <a:pt x="1316" y="253"/>
                  </a:lnTo>
                  <a:lnTo>
                    <a:pt x="1314" y="251"/>
                  </a:lnTo>
                  <a:lnTo>
                    <a:pt x="1322" y="247"/>
                  </a:lnTo>
                  <a:lnTo>
                    <a:pt x="1325" y="242"/>
                  </a:lnTo>
                  <a:lnTo>
                    <a:pt x="1328" y="240"/>
                  </a:lnTo>
                  <a:lnTo>
                    <a:pt x="1334" y="242"/>
                  </a:lnTo>
                  <a:lnTo>
                    <a:pt x="1348" y="239"/>
                  </a:lnTo>
                  <a:lnTo>
                    <a:pt x="1353" y="236"/>
                  </a:lnTo>
                  <a:lnTo>
                    <a:pt x="1354" y="234"/>
                  </a:lnTo>
                  <a:lnTo>
                    <a:pt x="1357" y="233"/>
                  </a:lnTo>
                  <a:lnTo>
                    <a:pt x="1365" y="219"/>
                  </a:lnTo>
                  <a:lnTo>
                    <a:pt x="1365" y="217"/>
                  </a:lnTo>
                  <a:lnTo>
                    <a:pt x="1365" y="216"/>
                  </a:lnTo>
                  <a:lnTo>
                    <a:pt x="1343" y="211"/>
                  </a:lnTo>
                  <a:lnTo>
                    <a:pt x="1337" y="213"/>
                  </a:lnTo>
                  <a:lnTo>
                    <a:pt x="1337" y="213"/>
                  </a:lnTo>
                  <a:lnTo>
                    <a:pt x="1337" y="210"/>
                  </a:lnTo>
                  <a:lnTo>
                    <a:pt x="1336" y="208"/>
                  </a:lnTo>
                  <a:lnTo>
                    <a:pt x="1336" y="208"/>
                  </a:lnTo>
                  <a:lnTo>
                    <a:pt x="1334" y="208"/>
                  </a:lnTo>
                  <a:lnTo>
                    <a:pt x="1334" y="208"/>
                  </a:lnTo>
                  <a:lnTo>
                    <a:pt x="1331" y="205"/>
                  </a:lnTo>
                  <a:lnTo>
                    <a:pt x="1328" y="203"/>
                  </a:lnTo>
                  <a:lnTo>
                    <a:pt x="1325" y="203"/>
                  </a:lnTo>
                  <a:lnTo>
                    <a:pt x="1322" y="203"/>
                  </a:lnTo>
                  <a:lnTo>
                    <a:pt x="1320" y="207"/>
                  </a:lnTo>
                  <a:lnTo>
                    <a:pt x="1320" y="207"/>
                  </a:lnTo>
                  <a:lnTo>
                    <a:pt x="1319" y="213"/>
                  </a:lnTo>
                  <a:lnTo>
                    <a:pt x="1317" y="222"/>
                  </a:lnTo>
                  <a:lnTo>
                    <a:pt x="1317" y="224"/>
                  </a:lnTo>
                  <a:lnTo>
                    <a:pt x="1331" y="228"/>
                  </a:lnTo>
                  <a:lnTo>
                    <a:pt x="1332" y="230"/>
                  </a:lnTo>
                  <a:lnTo>
                    <a:pt x="1334" y="233"/>
                  </a:lnTo>
                  <a:lnTo>
                    <a:pt x="1331" y="234"/>
                  </a:lnTo>
                  <a:lnTo>
                    <a:pt x="1323" y="228"/>
                  </a:lnTo>
                  <a:lnTo>
                    <a:pt x="1312" y="231"/>
                  </a:lnTo>
                  <a:lnTo>
                    <a:pt x="1309" y="230"/>
                  </a:lnTo>
                  <a:lnTo>
                    <a:pt x="1311" y="228"/>
                  </a:lnTo>
                  <a:lnTo>
                    <a:pt x="1312" y="227"/>
                  </a:lnTo>
                  <a:lnTo>
                    <a:pt x="1314" y="224"/>
                  </a:lnTo>
                  <a:lnTo>
                    <a:pt x="1314" y="220"/>
                  </a:lnTo>
                  <a:lnTo>
                    <a:pt x="1312" y="216"/>
                  </a:lnTo>
                  <a:lnTo>
                    <a:pt x="1312" y="213"/>
                  </a:lnTo>
                  <a:lnTo>
                    <a:pt x="1311" y="211"/>
                  </a:lnTo>
                  <a:lnTo>
                    <a:pt x="1312" y="208"/>
                  </a:lnTo>
                  <a:lnTo>
                    <a:pt x="1316" y="205"/>
                  </a:lnTo>
                  <a:lnTo>
                    <a:pt x="1316" y="200"/>
                  </a:lnTo>
                  <a:lnTo>
                    <a:pt x="1316" y="197"/>
                  </a:lnTo>
                  <a:lnTo>
                    <a:pt x="1312" y="196"/>
                  </a:lnTo>
                  <a:lnTo>
                    <a:pt x="1303" y="199"/>
                  </a:lnTo>
                  <a:lnTo>
                    <a:pt x="1303" y="203"/>
                  </a:lnTo>
                  <a:lnTo>
                    <a:pt x="1303" y="207"/>
                  </a:lnTo>
                  <a:lnTo>
                    <a:pt x="1303" y="210"/>
                  </a:lnTo>
                  <a:lnTo>
                    <a:pt x="1302" y="210"/>
                  </a:lnTo>
                  <a:lnTo>
                    <a:pt x="1300" y="207"/>
                  </a:lnTo>
                  <a:lnTo>
                    <a:pt x="1300" y="196"/>
                  </a:lnTo>
                  <a:lnTo>
                    <a:pt x="1300" y="194"/>
                  </a:lnTo>
                  <a:lnTo>
                    <a:pt x="1300" y="193"/>
                  </a:lnTo>
                  <a:lnTo>
                    <a:pt x="1299" y="194"/>
                  </a:lnTo>
                  <a:lnTo>
                    <a:pt x="1292" y="197"/>
                  </a:lnTo>
                  <a:lnTo>
                    <a:pt x="1291" y="199"/>
                  </a:lnTo>
                  <a:lnTo>
                    <a:pt x="1292" y="196"/>
                  </a:lnTo>
                  <a:lnTo>
                    <a:pt x="1294" y="193"/>
                  </a:lnTo>
                  <a:lnTo>
                    <a:pt x="1296" y="191"/>
                  </a:lnTo>
                  <a:lnTo>
                    <a:pt x="1294" y="190"/>
                  </a:lnTo>
                  <a:lnTo>
                    <a:pt x="1291" y="190"/>
                  </a:lnTo>
                  <a:lnTo>
                    <a:pt x="1279" y="202"/>
                  </a:lnTo>
                  <a:lnTo>
                    <a:pt x="1279" y="205"/>
                  </a:lnTo>
                  <a:lnTo>
                    <a:pt x="1279" y="208"/>
                  </a:lnTo>
                  <a:lnTo>
                    <a:pt x="1280" y="211"/>
                  </a:lnTo>
                  <a:lnTo>
                    <a:pt x="1283" y="213"/>
                  </a:lnTo>
                  <a:lnTo>
                    <a:pt x="1285" y="216"/>
                  </a:lnTo>
                  <a:lnTo>
                    <a:pt x="1285" y="214"/>
                  </a:lnTo>
                  <a:lnTo>
                    <a:pt x="1283" y="214"/>
                  </a:lnTo>
                  <a:lnTo>
                    <a:pt x="1283" y="216"/>
                  </a:lnTo>
                  <a:lnTo>
                    <a:pt x="1282" y="216"/>
                  </a:lnTo>
                  <a:lnTo>
                    <a:pt x="1282" y="219"/>
                  </a:lnTo>
                  <a:lnTo>
                    <a:pt x="1282" y="219"/>
                  </a:lnTo>
                  <a:lnTo>
                    <a:pt x="1283" y="219"/>
                  </a:lnTo>
                  <a:lnTo>
                    <a:pt x="1283" y="219"/>
                  </a:lnTo>
                  <a:lnTo>
                    <a:pt x="1283" y="222"/>
                  </a:lnTo>
                  <a:lnTo>
                    <a:pt x="1283" y="224"/>
                  </a:lnTo>
                  <a:lnTo>
                    <a:pt x="1283" y="225"/>
                  </a:lnTo>
                  <a:lnTo>
                    <a:pt x="1283" y="228"/>
                  </a:lnTo>
                  <a:lnTo>
                    <a:pt x="1280" y="224"/>
                  </a:lnTo>
                  <a:lnTo>
                    <a:pt x="1279" y="222"/>
                  </a:lnTo>
                  <a:lnTo>
                    <a:pt x="1279" y="219"/>
                  </a:lnTo>
                  <a:lnTo>
                    <a:pt x="1279" y="217"/>
                  </a:lnTo>
                  <a:lnTo>
                    <a:pt x="1277" y="216"/>
                  </a:lnTo>
                  <a:lnTo>
                    <a:pt x="1271" y="207"/>
                  </a:lnTo>
                  <a:lnTo>
                    <a:pt x="1269" y="205"/>
                  </a:lnTo>
                  <a:lnTo>
                    <a:pt x="1265" y="203"/>
                  </a:lnTo>
                  <a:lnTo>
                    <a:pt x="1263" y="202"/>
                  </a:lnTo>
                  <a:lnTo>
                    <a:pt x="1262" y="197"/>
                  </a:lnTo>
                  <a:lnTo>
                    <a:pt x="1262" y="196"/>
                  </a:lnTo>
                  <a:lnTo>
                    <a:pt x="1262" y="193"/>
                  </a:lnTo>
                  <a:lnTo>
                    <a:pt x="1262" y="193"/>
                  </a:lnTo>
                  <a:lnTo>
                    <a:pt x="1260" y="191"/>
                  </a:lnTo>
                  <a:lnTo>
                    <a:pt x="1259" y="190"/>
                  </a:lnTo>
                  <a:lnTo>
                    <a:pt x="1259" y="191"/>
                  </a:lnTo>
                  <a:lnTo>
                    <a:pt x="1257" y="194"/>
                  </a:lnTo>
                  <a:lnTo>
                    <a:pt x="1255" y="196"/>
                  </a:lnTo>
                  <a:lnTo>
                    <a:pt x="1255" y="199"/>
                  </a:lnTo>
                  <a:lnTo>
                    <a:pt x="1255" y="202"/>
                  </a:lnTo>
                  <a:lnTo>
                    <a:pt x="1255" y="205"/>
                  </a:lnTo>
                  <a:lnTo>
                    <a:pt x="1255" y="205"/>
                  </a:lnTo>
                  <a:lnTo>
                    <a:pt x="1255" y="208"/>
                  </a:lnTo>
                  <a:lnTo>
                    <a:pt x="1254" y="210"/>
                  </a:lnTo>
                  <a:lnTo>
                    <a:pt x="1254" y="211"/>
                  </a:lnTo>
                  <a:lnTo>
                    <a:pt x="1255" y="213"/>
                  </a:lnTo>
                  <a:lnTo>
                    <a:pt x="1255" y="213"/>
                  </a:lnTo>
                  <a:lnTo>
                    <a:pt x="1254" y="216"/>
                  </a:lnTo>
                  <a:lnTo>
                    <a:pt x="1251" y="208"/>
                  </a:lnTo>
                  <a:lnTo>
                    <a:pt x="1251" y="207"/>
                  </a:lnTo>
                  <a:lnTo>
                    <a:pt x="1251" y="202"/>
                  </a:lnTo>
                  <a:lnTo>
                    <a:pt x="1248" y="202"/>
                  </a:lnTo>
                  <a:lnTo>
                    <a:pt x="1243" y="207"/>
                  </a:lnTo>
                  <a:lnTo>
                    <a:pt x="1242" y="207"/>
                  </a:lnTo>
                  <a:lnTo>
                    <a:pt x="1239" y="208"/>
                  </a:lnTo>
                  <a:lnTo>
                    <a:pt x="1235" y="211"/>
                  </a:lnTo>
                  <a:lnTo>
                    <a:pt x="1235" y="211"/>
                  </a:lnTo>
                  <a:lnTo>
                    <a:pt x="1234" y="216"/>
                  </a:lnTo>
                  <a:lnTo>
                    <a:pt x="1234" y="216"/>
                  </a:lnTo>
                  <a:lnTo>
                    <a:pt x="1237" y="217"/>
                  </a:lnTo>
                  <a:lnTo>
                    <a:pt x="1237" y="219"/>
                  </a:lnTo>
                  <a:lnTo>
                    <a:pt x="1239" y="220"/>
                  </a:lnTo>
                  <a:lnTo>
                    <a:pt x="1239" y="222"/>
                  </a:lnTo>
                  <a:lnTo>
                    <a:pt x="1240" y="224"/>
                  </a:lnTo>
                  <a:lnTo>
                    <a:pt x="1242" y="224"/>
                  </a:lnTo>
                  <a:lnTo>
                    <a:pt x="1245" y="225"/>
                  </a:lnTo>
                  <a:lnTo>
                    <a:pt x="1255" y="222"/>
                  </a:lnTo>
                  <a:lnTo>
                    <a:pt x="1254" y="224"/>
                  </a:lnTo>
                  <a:lnTo>
                    <a:pt x="1252" y="227"/>
                  </a:lnTo>
                  <a:lnTo>
                    <a:pt x="1251" y="228"/>
                  </a:lnTo>
                  <a:lnTo>
                    <a:pt x="1251" y="231"/>
                  </a:lnTo>
                  <a:lnTo>
                    <a:pt x="1252" y="237"/>
                  </a:lnTo>
                  <a:lnTo>
                    <a:pt x="1254" y="239"/>
                  </a:lnTo>
                  <a:lnTo>
                    <a:pt x="1257" y="240"/>
                  </a:lnTo>
                  <a:lnTo>
                    <a:pt x="1263" y="239"/>
                  </a:lnTo>
                  <a:lnTo>
                    <a:pt x="1265" y="240"/>
                  </a:lnTo>
                  <a:lnTo>
                    <a:pt x="1269" y="247"/>
                  </a:lnTo>
                  <a:lnTo>
                    <a:pt x="1271" y="248"/>
                  </a:lnTo>
                  <a:lnTo>
                    <a:pt x="1279" y="245"/>
                  </a:lnTo>
                  <a:lnTo>
                    <a:pt x="1279" y="245"/>
                  </a:lnTo>
                  <a:lnTo>
                    <a:pt x="1280" y="240"/>
                  </a:lnTo>
                  <a:lnTo>
                    <a:pt x="1280" y="240"/>
                  </a:lnTo>
                  <a:lnTo>
                    <a:pt x="1289" y="242"/>
                  </a:lnTo>
                  <a:lnTo>
                    <a:pt x="1291" y="240"/>
                  </a:lnTo>
                  <a:lnTo>
                    <a:pt x="1292" y="239"/>
                  </a:lnTo>
                  <a:lnTo>
                    <a:pt x="1294" y="237"/>
                  </a:lnTo>
                  <a:lnTo>
                    <a:pt x="1300" y="234"/>
                  </a:lnTo>
                  <a:lnTo>
                    <a:pt x="1300" y="237"/>
                  </a:lnTo>
                  <a:lnTo>
                    <a:pt x="1299" y="239"/>
                  </a:lnTo>
                  <a:lnTo>
                    <a:pt x="1297" y="242"/>
                  </a:lnTo>
                  <a:lnTo>
                    <a:pt x="1294" y="247"/>
                  </a:lnTo>
                  <a:lnTo>
                    <a:pt x="1292" y="247"/>
                  </a:lnTo>
                  <a:lnTo>
                    <a:pt x="1291" y="248"/>
                  </a:lnTo>
                  <a:lnTo>
                    <a:pt x="1280" y="248"/>
                  </a:lnTo>
                  <a:lnTo>
                    <a:pt x="1277" y="253"/>
                  </a:lnTo>
                  <a:lnTo>
                    <a:pt x="1283" y="257"/>
                  </a:lnTo>
                  <a:lnTo>
                    <a:pt x="1289" y="257"/>
                  </a:lnTo>
                  <a:lnTo>
                    <a:pt x="1302" y="254"/>
                  </a:lnTo>
                  <a:lnTo>
                    <a:pt x="1302" y="256"/>
                  </a:lnTo>
                  <a:lnTo>
                    <a:pt x="1300" y="256"/>
                  </a:lnTo>
                  <a:lnTo>
                    <a:pt x="1297" y="257"/>
                  </a:lnTo>
                  <a:lnTo>
                    <a:pt x="1297" y="257"/>
                  </a:lnTo>
                  <a:lnTo>
                    <a:pt x="1297" y="264"/>
                  </a:lnTo>
                  <a:lnTo>
                    <a:pt x="1297" y="270"/>
                  </a:lnTo>
                  <a:lnTo>
                    <a:pt x="1297" y="274"/>
                  </a:lnTo>
                  <a:lnTo>
                    <a:pt x="1294" y="270"/>
                  </a:lnTo>
                  <a:lnTo>
                    <a:pt x="1296" y="267"/>
                  </a:lnTo>
                  <a:lnTo>
                    <a:pt x="1296" y="265"/>
                  </a:lnTo>
                  <a:lnTo>
                    <a:pt x="1294" y="264"/>
                  </a:lnTo>
                  <a:lnTo>
                    <a:pt x="1294" y="264"/>
                  </a:lnTo>
                  <a:lnTo>
                    <a:pt x="1291" y="264"/>
                  </a:lnTo>
                  <a:lnTo>
                    <a:pt x="1288" y="264"/>
                  </a:lnTo>
                  <a:lnTo>
                    <a:pt x="1288" y="264"/>
                  </a:lnTo>
                  <a:lnTo>
                    <a:pt x="1286" y="265"/>
                  </a:lnTo>
                  <a:lnTo>
                    <a:pt x="1286" y="267"/>
                  </a:lnTo>
                  <a:lnTo>
                    <a:pt x="1288" y="268"/>
                  </a:lnTo>
                  <a:lnTo>
                    <a:pt x="1288" y="268"/>
                  </a:lnTo>
                  <a:lnTo>
                    <a:pt x="1286" y="273"/>
                  </a:lnTo>
                  <a:lnTo>
                    <a:pt x="1286" y="274"/>
                  </a:lnTo>
                  <a:lnTo>
                    <a:pt x="1286" y="277"/>
                  </a:lnTo>
                  <a:lnTo>
                    <a:pt x="1288" y="280"/>
                  </a:lnTo>
                  <a:lnTo>
                    <a:pt x="1288" y="284"/>
                  </a:lnTo>
                  <a:lnTo>
                    <a:pt x="1288" y="287"/>
                  </a:lnTo>
                  <a:lnTo>
                    <a:pt x="1288" y="288"/>
                  </a:lnTo>
                  <a:lnTo>
                    <a:pt x="1292" y="290"/>
                  </a:lnTo>
                  <a:lnTo>
                    <a:pt x="1294" y="291"/>
                  </a:lnTo>
                  <a:lnTo>
                    <a:pt x="1294" y="294"/>
                  </a:lnTo>
                  <a:lnTo>
                    <a:pt x="1292" y="296"/>
                  </a:lnTo>
                  <a:lnTo>
                    <a:pt x="1288" y="294"/>
                  </a:lnTo>
                  <a:lnTo>
                    <a:pt x="1286" y="296"/>
                  </a:lnTo>
                  <a:lnTo>
                    <a:pt x="1294" y="301"/>
                  </a:lnTo>
                  <a:lnTo>
                    <a:pt x="1297" y="305"/>
                  </a:lnTo>
                  <a:lnTo>
                    <a:pt x="1297" y="310"/>
                  </a:lnTo>
                  <a:lnTo>
                    <a:pt x="1299" y="313"/>
                  </a:lnTo>
                  <a:lnTo>
                    <a:pt x="1300" y="314"/>
                  </a:lnTo>
                  <a:lnTo>
                    <a:pt x="1299" y="317"/>
                  </a:lnTo>
                  <a:lnTo>
                    <a:pt x="1297" y="319"/>
                  </a:lnTo>
                  <a:lnTo>
                    <a:pt x="1294" y="317"/>
                  </a:lnTo>
                  <a:lnTo>
                    <a:pt x="1292" y="317"/>
                  </a:lnTo>
                  <a:lnTo>
                    <a:pt x="1291" y="314"/>
                  </a:lnTo>
                  <a:lnTo>
                    <a:pt x="1294" y="316"/>
                  </a:lnTo>
                  <a:lnTo>
                    <a:pt x="1296" y="316"/>
                  </a:lnTo>
                  <a:lnTo>
                    <a:pt x="1297" y="314"/>
                  </a:lnTo>
                  <a:lnTo>
                    <a:pt x="1289" y="308"/>
                  </a:lnTo>
                  <a:lnTo>
                    <a:pt x="1288" y="307"/>
                  </a:lnTo>
                  <a:lnTo>
                    <a:pt x="1288" y="302"/>
                  </a:lnTo>
                  <a:lnTo>
                    <a:pt x="1285" y="299"/>
                  </a:lnTo>
                  <a:lnTo>
                    <a:pt x="1274" y="287"/>
                  </a:lnTo>
                  <a:lnTo>
                    <a:pt x="1269" y="285"/>
                  </a:lnTo>
                  <a:lnTo>
                    <a:pt x="1266" y="282"/>
                  </a:lnTo>
                  <a:lnTo>
                    <a:pt x="1263" y="280"/>
                  </a:lnTo>
                  <a:lnTo>
                    <a:pt x="1262" y="276"/>
                  </a:lnTo>
                  <a:lnTo>
                    <a:pt x="1263" y="270"/>
                  </a:lnTo>
                  <a:lnTo>
                    <a:pt x="1260" y="268"/>
                  </a:lnTo>
                  <a:lnTo>
                    <a:pt x="1260" y="267"/>
                  </a:lnTo>
                  <a:lnTo>
                    <a:pt x="1260" y="264"/>
                  </a:lnTo>
                  <a:lnTo>
                    <a:pt x="1248" y="254"/>
                  </a:lnTo>
                  <a:lnTo>
                    <a:pt x="1243" y="254"/>
                  </a:lnTo>
                  <a:lnTo>
                    <a:pt x="1240" y="256"/>
                  </a:lnTo>
                  <a:lnTo>
                    <a:pt x="1237" y="260"/>
                  </a:lnTo>
                  <a:lnTo>
                    <a:pt x="1235" y="267"/>
                  </a:lnTo>
                  <a:lnTo>
                    <a:pt x="1234" y="274"/>
                  </a:lnTo>
                  <a:lnTo>
                    <a:pt x="1235" y="274"/>
                  </a:lnTo>
                  <a:lnTo>
                    <a:pt x="1239" y="276"/>
                  </a:lnTo>
                  <a:lnTo>
                    <a:pt x="1240" y="277"/>
                  </a:lnTo>
                  <a:lnTo>
                    <a:pt x="1242" y="280"/>
                  </a:lnTo>
                  <a:lnTo>
                    <a:pt x="1234" y="280"/>
                  </a:lnTo>
                  <a:lnTo>
                    <a:pt x="1235" y="291"/>
                  </a:lnTo>
                  <a:lnTo>
                    <a:pt x="1234" y="294"/>
                  </a:lnTo>
                  <a:lnTo>
                    <a:pt x="1234" y="297"/>
                  </a:lnTo>
                  <a:lnTo>
                    <a:pt x="1231" y="299"/>
                  </a:lnTo>
                  <a:lnTo>
                    <a:pt x="1229" y="301"/>
                  </a:lnTo>
                  <a:lnTo>
                    <a:pt x="1228" y="302"/>
                  </a:lnTo>
                  <a:lnTo>
                    <a:pt x="1229" y="299"/>
                  </a:lnTo>
                  <a:lnTo>
                    <a:pt x="1231" y="293"/>
                  </a:lnTo>
                  <a:lnTo>
                    <a:pt x="1232" y="288"/>
                  </a:lnTo>
                  <a:lnTo>
                    <a:pt x="1231" y="288"/>
                  </a:lnTo>
                  <a:lnTo>
                    <a:pt x="1225" y="290"/>
                  </a:lnTo>
                  <a:lnTo>
                    <a:pt x="1223" y="291"/>
                  </a:lnTo>
                  <a:lnTo>
                    <a:pt x="1223" y="294"/>
                  </a:lnTo>
                  <a:lnTo>
                    <a:pt x="1222" y="297"/>
                  </a:lnTo>
                  <a:lnTo>
                    <a:pt x="1220" y="299"/>
                  </a:lnTo>
                  <a:lnTo>
                    <a:pt x="1219" y="299"/>
                  </a:lnTo>
                  <a:lnTo>
                    <a:pt x="1219" y="301"/>
                  </a:lnTo>
                  <a:lnTo>
                    <a:pt x="1220" y="302"/>
                  </a:lnTo>
                  <a:lnTo>
                    <a:pt x="1222" y="305"/>
                  </a:lnTo>
                  <a:lnTo>
                    <a:pt x="1220" y="307"/>
                  </a:lnTo>
                  <a:lnTo>
                    <a:pt x="1217" y="305"/>
                  </a:lnTo>
                  <a:lnTo>
                    <a:pt x="1214" y="301"/>
                  </a:lnTo>
                  <a:lnTo>
                    <a:pt x="1214" y="299"/>
                  </a:lnTo>
                  <a:lnTo>
                    <a:pt x="1214" y="297"/>
                  </a:lnTo>
                  <a:lnTo>
                    <a:pt x="1215" y="297"/>
                  </a:lnTo>
                  <a:lnTo>
                    <a:pt x="1215" y="297"/>
                  </a:lnTo>
                  <a:lnTo>
                    <a:pt x="1215" y="294"/>
                  </a:lnTo>
                  <a:lnTo>
                    <a:pt x="1214" y="293"/>
                  </a:lnTo>
                  <a:lnTo>
                    <a:pt x="1212" y="293"/>
                  </a:lnTo>
                  <a:lnTo>
                    <a:pt x="1211" y="293"/>
                  </a:lnTo>
                  <a:lnTo>
                    <a:pt x="1211" y="291"/>
                  </a:lnTo>
                  <a:lnTo>
                    <a:pt x="1212" y="290"/>
                  </a:lnTo>
                  <a:lnTo>
                    <a:pt x="1217" y="282"/>
                  </a:lnTo>
                  <a:lnTo>
                    <a:pt x="1225" y="273"/>
                  </a:lnTo>
                  <a:lnTo>
                    <a:pt x="1225" y="271"/>
                  </a:lnTo>
                  <a:lnTo>
                    <a:pt x="1222" y="273"/>
                  </a:lnTo>
                  <a:lnTo>
                    <a:pt x="1205" y="287"/>
                  </a:lnTo>
                  <a:lnTo>
                    <a:pt x="1203" y="287"/>
                  </a:lnTo>
                  <a:lnTo>
                    <a:pt x="1203" y="290"/>
                  </a:lnTo>
                  <a:lnTo>
                    <a:pt x="1205" y="293"/>
                  </a:lnTo>
                  <a:lnTo>
                    <a:pt x="1205" y="294"/>
                  </a:lnTo>
                  <a:lnTo>
                    <a:pt x="1205" y="297"/>
                  </a:lnTo>
                  <a:lnTo>
                    <a:pt x="1203" y="302"/>
                  </a:lnTo>
                  <a:lnTo>
                    <a:pt x="1202" y="304"/>
                  </a:lnTo>
                  <a:lnTo>
                    <a:pt x="1191" y="310"/>
                  </a:lnTo>
                  <a:lnTo>
                    <a:pt x="1182" y="310"/>
                  </a:lnTo>
                  <a:lnTo>
                    <a:pt x="1180" y="311"/>
                  </a:lnTo>
                  <a:lnTo>
                    <a:pt x="1180" y="313"/>
                  </a:lnTo>
                  <a:lnTo>
                    <a:pt x="1182" y="314"/>
                  </a:lnTo>
                  <a:lnTo>
                    <a:pt x="1183" y="319"/>
                  </a:lnTo>
                  <a:lnTo>
                    <a:pt x="1185" y="324"/>
                  </a:lnTo>
                  <a:lnTo>
                    <a:pt x="1183" y="330"/>
                  </a:lnTo>
                  <a:lnTo>
                    <a:pt x="1180" y="336"/>
                  </a:lnTo>
                  <a:lnTo>
                    <a:pt x="1180" y="339"/>
                  </a:lnTo>
                  <a:lnTo>
                    <a:pt x="1180" y="341"/>
                  </a:lnTo>
                  <a:lnTo>
                    <a:pt x="1183" y="345"/>
                  </a:lnTo>
                  <a:lnTo>
                    <a:pt x="1191" y="348"/>
                  </a:lnTo>
                  <a:lnTo>
                    <a:pt x="1192" y="350"/>
                  </a:lnTo>
                  <a:lnTo>
                    <a:pt x="1192" y="351"/>
                  </a:lnTo>
                  <a:lnTo>
                    <a:pt x="1194" y="357"/>
                  </a:lnTo>
                  <a:lnTo>
                    <a:pt x="1197" y="362"/>
                  </a:lnTo>
                  <a:lnTo>
                    <a:pt x="1205" y="365"/>
                  </a:lnTo>
                  <a:lnTo>
                    <a:pt x="1208" y="368"/>
                  </a:lnTo>
                  <a:lnTo>
                    <a:pt x="1206" y="370"/>
                  </a:lnTo>
                  <a:lnTo>
                    <a:pt x="1205" y="370"/>
                  </a:lnTo>
                  <a:lnTo>
                    <a:pt x="1203" y="368"/>
                  </a:lnTo>
                  <a:lnTo>
                    <a:pt x="1203" y="367"/>
                  </a:lnTo>
                  <a:lnTo>
                    <a:pt x="1192" y="364"/>
                  </a:lnTo>
                  <a:lnTo>
                    <a:pt x="1186" y="359"/>
                  </a:lnTo>
                  <a:lnTo>
                    <a:pt x="1183" y="354"/>
                  </a:lnTo>
                  <a:lnTo>
                    <a:pt x="1182" y="353"/>
                  </a:lnTo>
                  <a:lnTo>
                    <a:pt x="1180" y="351"/>
                  </a:lnTo>
                  <a:lnTo>
                    <a:pt x="1180" y="351"/>
                  </a:lnTo>
                  <a:lnTo>
                    <a:pt x="1178" y="353"/>
                  </a:lnTo>
                  <a:lnTo>
                    <a:pt x="1178" y="354"/>
                  </a:lnTo>
                  <a:lnTo>
                    <a:pt x="1177" y="356"/>
                  </a:lnTo>
                  <a:lnTo>
                    <a:pt x="1177" y="357"/>
                  </a:lnTo>
                  <a:lnTo>
                    <a:pt x="1177" y="364"/>
                  </a:lnTo>
                  <a:lnTo>
                    <a:pt x="1175" y="367"/>
                  </a:lnTo>
                  <a:lnTo>
                    <a:pt x="1171" y="371"/>
                  </a:lnTo>
                  <a:lnTo>
                    <a:pt x="1169" y="374"/>
                  </a:lnTo>
                  <a:lnTo>
                    <a:pt x="1165" y="391"/>
                  </a:lnTo>
                  <a:lnTo>
                    <a:pt x="1163" y="391"/>
                  </a:lnTo>
                  <a:lnTo>
                    <a:pt x="1160" y="393"/>
                  </a:lnTo>
                  <a:lnTo>
                    <a:pt x="1149" y="402"/>
                  </a:lnTo>
                  <a:lnTo>
                    <a:pt x="1148" y="405"/>
                  </a:lnTo>
                  <a:lnTo>
                    <a:pt x="1146" y="410"/>
                  </a:lnTo>
                  <a:lnTo>
                    <a:pt x="1143" y="413"/>
                  </a:lnTo>
                  <a:lnTo>
                    <a:pt x="1142" y="416"/>
                  </a:lnTo>
                  <a:lnTo>
                    <a:pt x="1140" y="418"/>
                  </a:lnTo>
                  <a:lnTo>
                    <a:pt x="1137" y="418"/>
                  </a:lnTo>
                  <a:lnTo>
                    <a:pt x="1138" y="413"/>
                  </a:lnTo>
                  <a:lnTo>
                    <a:pt x="1143" y="405"/>
                  </a:lnTo>
                  <a:lnTo>
                    <a:pt x="1143" y="404"/>
                  </a:lnTo>
                  <a:lnTo>
                    <a:pt x="1143" y="402"/>
                  </a:lnTo>
                  <a:lnTo>
                    <a:pt x="1142" y="402"/>
                  </a:lnTo>
                  <a:lnTo>
                    <a:pt x="1143" y="401"/>
                  </a:lnTo>
                  <a:lnTo>
                    <a:pt x="1148" y="398"/>
                  </a:lnTo>
                  <a:lnTo>
                    <a:pt x="1152" y="393"/>
                  </a:lnTo>
                  <a:lnTo>
                    <a:pt x="1157" y="390"/>
                  </a:lnTo>
                  <a:lnTo>
                    <a:pt x="1158" y="387"/>
                  </a:lnTo>
                  <a:lnTo>
                    <a:pt x="1158" y="381"/>
                  </a:lnTo>
                  <a:lnTo>
                    <a:pt x="1160" y="374"/>
                  </a:lnTo>
                  <a:lnTo>
                    <a:pt x="1162" y="376"/>
                  </a:lnTo>
                  <a:lnTo>
                    <a:pt x="1163" y="374"/>
                  </a:lnTo>
                  <a:lnTo>
                    <a:pt x="1165" y="371"/>
                  </a:lnTo>
                  <a:lnTo>
                    <a:pt x="1163" y="367"/>
                  </a:lnTo>
                  <a:lnTo>
                    <a:pt x="1163" y="364"/>
                  </a:lnTo>
                  <a:lnTo>
                    <a:pt x="1165" y="362"/>
                  </a:lnTo>
                  <a:lnTo>
                    <a:pt x="1165" y="361"/>
                  </a:lnTo>
                  <a:lnTo>
                    <a:pt x="1166" y="359"/>
                  </a:lnTo>
                  <a:lnTo>
                    <a:pt x="1165" y="356"/>
                  </a:lnTo>
                  <a:lnTo>
                    <a:pt x="1165" y="353"/>
                  </a:lnTo>
                  <a:lnTo>
                    <a:pt x="1168" y="351"/>
                  </a:lnTo>
                  <a:lnTo>
                    <a:pt x="1171" y="350"/>
                  </a:lnTo>
                  <a:lnTo>
                    <a:pt x="1172" y="350"/>
                  </a:lnTo>
                  <a:lnTo>
                    <a:pt x="1172" y="347"/>
                  </a:lnTo>
                  <a:lnTo>
                    <a:pt x="1172" y="345"/>
                  </a:lnTo>
                  <a:lnTo>
                    <a:pt x="1172" y="342"/>
                  </a:lnTo>
                  <a:lnTo>
                    <a:pt x="1172" y="339"/>
                  </a:lnTo>
                  <a:lnTo>
                    <a:pt x="1172" y="337"/>
                  </a:lnTo>
                  <a:lnTo>
                    <a:pt x="1168" y="333"/>
                  </a:lnTo>
                  <a:lnTo>
                    <a:pt x="1168" y="331"/>
                  </a:lnTo>
                  <a:lnTo>
                    <a:pt x="1168" y="330"/>
                  </a:lnTo>
                  <a:lnTo>
                    <a:pt x="1168" y="328"/>
                  </a:lnTo>
                  <a:lnTo>
                    <a:pt x="1169" y="321"/>
                  </a:lnTo>
                  <a:lnTo>
                    <a:pt x="1169" y="317"/>
                  </a:lnTo>
                  <a:lnTo>
                    <a:pt x="1169" y="316"/>
                  </a:lnTo>
                  <a:lnTo>
                    <a:pt x="1171" y="313"/>
                  </a:lnTo>
                  <a:lnTo>
                    <a:pt x="1171" y="311"/>
                  </a:lnTo>
                  <a:lnTo>
                    <a:pt x="1171" y="308"/>
                  </a:lnTo>
                  <a:lnTo>
                    <a:pt x="1171" y="307"/>
                  </a:lnTo>
                  <a:lnTo>
                    <a:pt x="1172" y="305"/>
                  </a:lnTo>
                  <a:lnTo>
                    <a:pt x="1172" y="304"/>
                  </a:lnTo>
                  <a:lnTo>
                    <a:pt x="1174" y="301"/>
                  </a:lnTo>
                  <a:lnTo>
                    <a:pt x="1174" y="296"/>
                  </a:lnTo>
                  <a:lnTo>
                    <a:pt x="1174" y="294"/>
                  </a:lnTo>
                  <a:lnTo>
                    <a:pt x="1174" y="291"/>
                  </a:lnTo>
                  <a:lnTo>
                    <a:pt x="1175" y="290"/>
                  </a:lnTo>
                  <a:lnTo>
                    <a:pt x="1175" y="287"/>
                  </a:lnTo>
                  <a:lnTo>
                    <a:pt x="1175" y="285"/>
                  </a:lnTo>
                  <a:lnTo>
                    <a:pt x="1168" y="268"/>
                  </a:lnTo>
                  <a:lnTo>
                    <a:pt x="1166" y="267"/>
                  </a:lnTo>
                  <a:lnTo>
                    <a:pt x="1163" y="268"/>
                  </a:lnTo>
                  <a:lnTo>
                    <a:pt x="1162" y="273"/>
                  </a:lnTo>
                  <a:lnTo>
                    <a:pt x="1158" y="276"/>
                  </a:lnTo>
                  <a:lnTo>
                    <a:pt x="1158" y="277"/>
                  </a:lnTo>
                  <a:lnTo>
                    <a:pt x="1158" y="287"/>
                  </a:lnTo>
                  <a:lnTo>
                    <a:pt x="1158" y="291"/>
                  </a:lnTo>
                  <a:lnTo>
                    <a:pt x="1158" y="291"/>
                  </a:lnTo>
                  <a:lnTo>
                    <a:pt x="1158" y="290"/>
                  </a:lnTo>
                  <a:lnTo>
                    <a:pt x="1157" y="288"/>
                  </a:lnTo>
                  <a:lnTo>
                    <a:pt x="1157" y="287"/>
                  </a:lnTo>
                  <a:lnTo>
                    <a:pt x="1155" y="284"/>
                  </a:lnTo>
                  <a:lnTo>
                    <a:pt x="1155" y="277"/>
                  </a:lnTo>
                  <a:lnTo>
                    <a:pt x="1157" y="276"/>
                  </a:lnTo>
                  <a:lnTo>
                    <a:pt x="1157" y="276"/>
                  </a:lnTo>
                  <a:lnTo>
                    <a:pt x="1155" y="273"/>
                  </a:lnTo>
                  <a:lnTo>
                    <a:pt x="1155" y="274"/>
                  </a:lnTo>
                  <a:lnTo>
                    <a:pt x="1154" y="277"/>
                  </a:lnTo>
                  <a:lnTo>
                    <a:pt x="1152" y="287"/>
                  </a:lnTo>
                  <a:lnTo>
                    <a:pt x="1149" y="294"/>
                  </a:lnTo>
                  <a:lnTo>
                    <a:pt x="1146" y="307"/>
                  </a:lnTo>
                  <a:lnTo>
                    <a:pt x="1145" y="311"/>
                  </a:lnTo>
                  <a:lnTo>
                    <a:pt x="1142" y="311"/>
                  </a:lnTo>
                  <a:lnTo>
                    <a:pt x="1143" y="305"/>
                  </a:lnTo>
                  <a:lnTo>
                    <a:pt x="1143" y="299"/>
                  </a:lnTo>
                  <a:lnTo>
                    <a:pt x="1145" y="296"/>
                  </a:lnTo>
                  <a:lnTo>
                    <a:pt x="1145" y="294"/>
                  </a:lnTo>
                  <a:lnTo>
                    <a:pt x="1143" y="296"/>
                  </a:lnTo>
                  <a:lnTo>
                    <a:pt x="1142" y="297"/>
                  </a:lnTo>
                  <a:lnTo>
                    <a:pt x="1140" y="305"/>
                  </a:lnTo>
                  <a:lnTo>
                    <a:pt x="1138" y="307"/>
                  </a:lnTo>
                  <a:lnTo>
                    <a:pt x="1135" y="310"/>
                  </a:lnTo>
                  <a:lnTo>
                    <a:pt x="1134" y="311"/>
                  </a:lnTo>
                  <a:lnTo>
                    <a:pt x="1134" y="316"/>
                  </a:lnTo>
                  <a:lnTo>
                    <a:pt x="1134" y="319"/>
                  </a:lnTo>
                  <a:lnTo>
                    <a:pt x="1131" y="321"/>
                  </a:lnTo>
                  <a:lnTo>
                    <a:pt x="1131" y="324"/>
                  </a:lnTo>
                  <a:lnTo>
                    <a:pt x="1131" y="328"/>
                  </a:lnTo>
                  <a:lnTo>
                    <a:pt x="1131" y="330"/>
                  </a:lnTo>
                  <a:lnTo>
                    <a:pt x="1131" y="331"/>
                  </a:lnTo>
                  <a:lnTo>
                    <a:pt x="1132" y="334"/>
                  </a:lnTo>
                  <a:lnTo>
                    <a:pt x="1132" y="336"/>
                  </a:lnTo>
                  <a:lnTo>
                    <a:pt x="1132" y="341"/>
                  </a:lnTo>
                  <a:lnTo>
                    <a:pt x="1135" y="342"/>
                  </a:lnTo>
                  <a:lnTo>
                    <a:pt x="1138" y="344"/>
                  </a:lnTo>
                  <a:lnTo>
                    <a:pt x="1140" y="345"/>
                  </a:lnTo>
                  <a:lnTo>
                    <a:pt x="1143" y="347"/>
                  </a:lnTo>
                  <a:lnTo>
                    <a:pt x="1146" y="350"/>
                  </a:lnTo>
                  <a:lnTo>
                    <a:pt x="1149" y="350"/>
                  </a:lnTo>
                  <a:lnTo>
                    <a:pt x="1152" y="350"/>
                  </a:lnTo>
                  <a:lnTo>
                    <a:pt x="1148" y="351"/>
                  </a:lnTo>
                  <a:lnTo>
                    <a:pt x="1143" y="350"/>
                  </a:lnTo>
                  <a:lnTo>
                    <a:pt x="1138" y="345"/>
                  </a:lnTo>
                  <a:lnTo>
                    <a:pt x="1129" y="344"/>
                  </a:lnTo>
                  <a:lnTo>
                    <a:pt x="1126" y="344"/>
                  </a:lnTo>
                  <a:lnTo>
                    <a:pt x="1125" y="344"/>
                  </a:lnTo>
                  <a:lnTo>
                    <a:pt x="1125" y="345"/>
                  </a:lnTo>
                  <a:lnTo>
                    <a:pt x="1125" y="345"/>
                  </a:lnTo>
                  <a:lnTo>
                    <a:pt x="1125" y="347"/>
                  </a:lnTo>
                  <a:lnTo>
                    <a:pt x="1126" y="347"/>
                  </a:lnTo>
                  <a:lnTo>
                    <a:pt x="1121" y="362"/>
                  </a:lnTo>
                  <a:lnTo>
                    <a:pt x="1123" y="365"/>
                  </a:lnTo>
                  <a:lnTo>
                    <a:pt x="1123" y="370"/>
                  </a:lnTo>
                  <a:lnTo>
                    <a:pt x="1121" y="376"/>
                  </a:lnTo>
                  <a:lnTo>
                    <a:pt x="1120" y="379"/>
                  </a:lnTo>
                  <a:lnTo>
                    <a:pt x="1109" y="390"/>
                  </a:lnTo>
                  <a:lnTo>
                    <a:pt x="1111" y="385"/>
                  </a:lnTo>
                  <a:lnTo>
                    <a:pt x="1112" y="381"/>
                  </a:lnTo>
                  <a:lnTo>
                    <a:pt x="1115" y="379"/>
                  </a:lnTo>
                  <a:lnTo>
                    <a:pt x="1117" y="378"/>
                  </a:lnTo>
                  <a:lnTo>
                    <a:pt x="1117" y="376"/>
                  </a:lnTo>
                  <a:lnTo>
                    <a:pt x="1117" y="374"/>
                  </a:lnTo>
                  <a:lnTo>
                    <a:pt x="1117" y="371"/>
                  </a:lnTo>
                  <a:lnTo>
                    <a:pt x="1115" y="368"/>
                  </a:lnTo>
                  <a:lnTo>
                    <a:pt x="1115" y="367"/>
                  </a:lnTo>
                  <a:lnTo>
                    <a:pt x="1115" y="364"/>
                  </a:lnTo>
                  <a:lnTo>
                    <a:pt x="1117" y="362"/>
                  </a:lnTo>
                  <a:lnTo>
                    <a:pt x="1117" y="359"/>
                  </a:lnTo>
                  <a:lnTo>
                    <a:pt x="1121" y="348"/>
                  </a:lnTo>
                  <a:lnTo>
                    <a:pt x="1123" y="344"/>
                  </a:lnTo>
                  <a:lnTo>
                    <a:pt x="1123" y="337"/>
                  </a:lnTo>
                  <a:lnTo>
                    <a:pt x="1123" y="334"/>
                  </a:lnTo>
                  <a:lnTo>
                    <a:pt x="1121" y="333"/>
                  </a:lnTo>
                  <a:lnTo>
                    <a:pt x="1120" y="330"/>
                  </a:lnTo>
                  <a:lnTo>
                    <a:pt x="1120" y="328"/>
                  </a:lnTo>
                  <a:lnTo>
                    <a:pt x="1121" y="324"/>
                  </a:lnTo>
                  <a:lnTo>
                    <a:pt x="1123" y="321"/>
                  </a:lnTo>
                  <a:lnTo>
                    <a:pt x="1125" y="317"/>
                  </a:lnTo>
                  <a:lnTo>
                    <a:pt x="1125" y="314"/>
                  </a:lnTo>
                  <a:lnTo>
                    <a:pt x="1123" y="313"/>
                  </a:lnTo>
                  <a:lnTo>
                    <a:pt x="1126" y="307"/>
                  </a:lnTo>
                  <a:lnTo>
                    <a:pt x="1128" y="305"/>
                  </a:lnTo>
                  <a:lnTo>
                    <a:pt x="1128" y="304"/>
                  </a:lnTo>
                  <a:lnTo>
                    <a:pt x="1125" y="301"/>
                  </a:lnTo>
                  <a:lnTo>
                    <a:pt x="1111" y="304"/>
                  </a:lnTo>
                  <a:lnTo>
                    <a:pt x="1105" y="308"/>
                  </a:lnTo>
                  <a:lnTo>
                    <a:pt x="1103" y="308"/>
                  </a:lnTo>
                  <a:lnTo>
                    <a:pt x="1091" y="308"/>
                  </a:lnTo>
                  <a:lnTo>
                    <a:pt x="1088" y="308"/>
                  </a:lnTo>
                  <a:lnTo>
                    <a:pt x="1086" y="310"/>
                  </a:lnTo>
                  <a:lnTo>
                    <a:pt x="1085" y="314"/>
                  </a:lnTo>
                  <a:lnTo>
                    <a:pt x="1083" y="314"/>
                  </a:lnTo>
                  <a:lnTo>
                    <a:pt x="1080" y="316"/>
                  </a:lnTo>
                  <a:lnTo>
                    <a:pt x="1078" y="316"/>
                  </a:lnTo>
                  <a:lnTo>
                    <a:pt x="1077" y="317"/>
                  </a:lnTo>
                  <a:lnTo>
                    <a:pt x="1075" y="327"/>
                  </a:lnTo>
                  <a:lnTo>
                    <a:pt x="1064" y="344"/>
                  </a:lnTo>
                  <a:lnTo>
                    <a:pt x="1066" y="354"/>
                  </a:lnTo>
                  <a:lnTo>
                    <a:pt x="1068" y="357"/>
                  </a:lnTo>
                  <a:lnTo>
                    <a:pt x="1069" y="359"/>
                  </a:lnTo>
                  <a:lnTo>
                    <a:pt x="1071" y="361"/>
                  </a:lnTo>
                  <a:lnTo>
                    <a:pt x="1072" y="359"/>
                  </a:lnTo>
                  <a:lnTo>
                    <a:pt x="1074" y="357"/>
                  </a:lnTo>
                  <a:lnTo>
                    <a:pt x="1077" y="356"/>
                  </a:lnTo>
                  <a:lnTo>
                    <a:pt x="1080" y="354"/>
                  </a:lnTo>
                  <a:lnTo>
                    <a:pt x="1086" y="353"/>
                  </a:lnTo>
                  <a:lnTo>
                    <a:pt x="1086" y="357"/>
                  </a:lnTo>
                  <a:lnTo>
                    <a:pt x="1088" y="359"/>
                  </a:lnTo>
                  <a:lnTo>
                    <a:pt x="1088" y="361"/>
                  </a:lnTo>
                  <a:lnTo>
                    <a:pt x="1089" y="364"/>
                  </a:lnTo>
                  <a:lnTo>
                    <a:pt x="1088" y="362"/>
                  </a:lnTo>
                  <a:lnTo>
                    <a:pt x="1086" y="362"/>
                  </a:lnTo>
                  <a:lnTo>
                    <a:pt x="1086" y="361"/>
                  </a:lnTo>
                  <a:lnTo>
                    <a:pt x="1083" y="357"/>
                  </a:lnTo>
                  <a:lnTo>
                    <a:pt x="1083" y="357"/>
                  </a:lnTo>
                  <a:lnTo>
                    <a:pt x="1074" y="361"/>
                  </a:lnTo>
                  <a:lnTo>
                    <a:pt x="1072" y="364"/>
                  </a:lnTo>
                  <a:lnTo>
                    <a:pt x="1069" y="367"/>
                  </a:lnTo>
                  <a:lnTo>
                    <a:pt x="1069" y="371"/>
                  </a:lnTo>
                  <a:lnTo>
                    <a:pt x="1069" y="376"/>
                  </a:lnTo>
                  <a:lnTo>
                    <a:pt x="1071" y="379"/>
                  </a:lnTo>
                  <a:lnTo>
                    <a:pt x="1072" y="381"/>
                  </a:lnTo>
                  <a:lnTo>
                    <a:pt x="1074" y="381"/>
                  </a:lnTo>
                  <a:lnTo>
                    <a:pt x="1075" y="382"/>
                  </a:lnTo>
                  <a:lnTo>
                    <a:pt x="1075" y="384"/>
                  </a:lnTo>
                  <a:lnTo>
                    <a:pt x="1075" y="384"/>
                  </a:lnTo>
                  <a:lnTo>
                    <a:pt x="1075" y="385"/>
                  </a:lnTo>
                  <a:lnTo>
                    <a:pt x="1075" y="387"/>
                  </a:lnTo>
                  <a:lnTo>
                    <a:pt x="1077" y="391"/>
                  </a:lnTo>
                  <a:lnTo>
                    <a:pt x="1078" y="393"/>
                  </a:lnTo>
                  <a:lnTo>
                    <a:pt x="1081" y="394"/>
                  </a:lnTo>
                  <a:lnTo>
                    <a:pt x="1091" y="393"/>
                  </a:lnTo>
                  <a:lnTo>
                    <a:pt x="1094" y="393"/>
                  </a:lnTo>
                  <a:lnTo>
                    <a:pt x="1095" y="394"/>
                  </a:lnTo>
                  <a:lnTo>
                    <a:pt x="1101" y="402"/>
                  </a:lnTo>
                  <a:lnTo>
                    <a:pt x="1103" y="405"/>
                  </a:lnTo>
                  <a:lnTo>
                    <a:pt x="1103" y="407"/>
                  </a:lnTo>
                  <a:lnTo>
                    <a:pt x="1103" y="408"/>
                  </a:lnTo>
                  <a:lnTo>
                    <a:pt x="1103" y="411"/>
                  </a:lnTo>
                  <a:lnTo>
                    <a:pt x="1101" y="411"/>
                  </a:lnTo>
                  <a:lnTo>
                    <a:pt x="1101" y="414"/>
                  </a:lnTo>
                  <a:lnTo>
                    <a:pt x="1103" y="419"/>
                  </a:lnTo>
                  <a:lnTo>
                    <a:pt x="1105" y="421"/>
                  </a:lnTo>
                  <a:lnTo>
                    <a:pt x="1106" y="422"/>
                  </a:lnTo>
                  <a:lnTo>
                    <a:pt x="1108" y="425"/>
                  </a:lnTo>
                  <a:lnTo>
                    <a:pt x="1105" y="427"/>
                  </a:lnTo>
                  <a:lnTo>
                    <a:pt x="1100" y="422"/>
                  </a:lnTo>
                  <a:lnTo>
                    <a:pt x="1097" y="422"/>
                  </a:lnTo>
                  <a:lnTo>
                    <a:pt x="1097" y="424"/>
                  </a:lnTo>
                  <a:lnTo>
                    <a:pt x="1094" y="427"/>
                  </a:lnTo>
                  <a:lnTo>
                    <a:pt x="1092" y="427"/>
                  </a:lnTo>
                  <a:lnTo>
                    <a:pt x="1092" y="427"/>
                  </a:lnTo>
                  <a:lnTo>
                    <a:pt x="1089" y="424"/>
                  </a:lnTo>
                  <a:lnTo>
                    <a:pt x="1088" y="422"/>
                  </a:lnTo>
                  <a:lnTo>
                    <a:pt x="1089" y="421"/>
                  </a:lnTo>
                  <a:lnTo>
                    <a:pt x="1089" y="418"/>
                  </a:lnTo>
                  <a:lnTo>
                    <a:pt x="1088" y="416"/>
                  </a:lnTo>
                  <a:lnTo>
                    <a:pt x="1086" y="418"/>
                  </a:lnTo>
                  <a:lnTo>
                    <a:pt x="1086" y="418"/>
                  </a:lnTo>
                  <a:lnTo>
                    <a:pt x="1085" y="421"/>
                  </a:lnTo>
                  <a:lnTo>
                    <a:pt x="1083" y="421"/>
                  </a:lnTo>
                  <a:lnTo>
                    <a:pt x="1083" y="421"/>
                  </a:lnTo>
                  <a:lnTo>
                    <a:pt x="1081" y="419"/>
                  </a:lnTo>
                  <a:lnTo>
                    <a:pt x="1081" y="418"/>
                  </a:lnTo>
                  <a:lnTo>
                    <a:pt x="1083" y="416"/>
                  </a:lnTo>
                  <a:lnTo>
                    <a:pt x="1085" y="414"/>
                  </a:lnTo>
                  <a:lnTo>
                    <a:pt x="1086" y="414"/>
                  </a:lnTo>
                  <a:lnTo>
                    <a:pt x="1091" y="416"/>
                  </a:lnTo>
                  <a:lnTo>
                    <a:pt x="1095" y="413"/>
                  </a:lnTo>
                  <a:lnTo>
                    <a:pt x="1097" y="410"/>
                  </a:lnTo>
                  <a:lnTo>
                    <a:pt x="1097" y="405"/>
                  </a:lnTo>
                  <a:lnTo>
                    <a:pt x="1095" y="401"/>
                  </a:lnTo>
                  <a:lnTo>
                    <a:pt x="1080" y="399"/>
                  </a:lnTo>
                  <a:lnTo>
                    <a:pt x="1078" y="398"/>
                  </a:lnTo>
                  <a:lnTo>
                    <a:pt x="1074" y="393"/>
                  </a:lnTo>
                  <a:lnTo>
                    <a:pt x="1071" y="390"/>
                  </a:lnTo>
                  <a:lnTo>
                    <a:pt x="1069" y="388"/>
                  </a:lnTo>
                  <a:lnTo>
                    <a:pt x="1069" y="384"/>
                  </a:lnTo>
                  <a:lnTo>
                    <a:pt x="1064" y="379"/>
                  </a:lnTo>
                  <a:lnTo>
                    <a:pt x="1063" y="378"/>
                  </a:lnTo>
                  <a:lnTo>
                    <a:pt x="1063" y="376"/>
                  </a:lnTo>
                  <a:lnTo>
                    <a:pt x="1063" y="371"/>
                  </a:lnTo>
                  <a:lnTo>
                    <a:pt x="1063" y="370"/>
                  </a:lnTo>
                  <a:lnTo>
                    <a:pt x="1061" y="368"/>
                  </a:lnTo>
                  <a:lnTo>
                    <a:pt x="1060" y="368"/>
                  </a:lnTo>
                  <a:lnTo>
                    <a:pt x="1058" y="367"/>
                  </a:lnTo>
                  <a:lnTo>
                    <a:pt x="1058" y="367"/>
                  </a:lnTo>
                  <a:lnTo>
                    <a:pt x="1058" y="367"/>
                  </a:lnTo>
                  <a:lnTo>
                    <a:pt x="1058" y="365"/>
                  </a:lnTo>
                  <a:lnTo>
                    <a:pt x="1058" y="364"/>
                  </a:lnTo>
                  <a:lnTo>
                    <a:pt x="1060" y="362"/>
                  </a:lnTo>
                  <a:lnTo>
                    <a:pt x="1058" y="357"/>
                  </a:lnTo>
                  <a:lnTo>
                    <a:pt x="1058" y="357"/>
                  </a:lnTo>
                  <a:lnTo>
                    <a:pt x="1041" y="359"/>
                  </a:lnTo>
                  <a:lnTo>
                    <a:pt x="1037" y="362"/>
                  </a:lnTo>
                  <a:lnTo>
                    <a:pt x="1032" y="364"/>
                  </a:lnTo>
                  <a:lnTo>
                    <a:pt x="1031" y="365"/>
                  </a:lnTo>
                  <a:lnTo>
                    <a:pt x="1029" y="367"/>
                  </a:lnTo>
                  <a:lnTo>
                    <a:pt x="1031" y="371"/>
                  </a:lnTo>
                  <a:lnTo>
                    <a:pt x="1031" y="373"/>
                  </a:lnTo>
                  <a:lnTo>
                    <a:pt x="1029" y="373"/>
                  </a:lnTo>
                  <a:lnTo>
                    <a:pt x="1029" y="376"/>
                  </a:lnTo>
                  <a:lnTo>
                    <a:pt x="1029" y="378"/>
                  </a:lnTo>
                  <a:lnTo>
                    <a:pt x="1029" y="379"/>
                  </a:lnTo>
                  <a:lnTo>
                    <a:pt x="1031" y="381"/>
                  </a:lnTo>
                  <a:lnTo>
                    <a:pt x="1034" y="381"/>
                  </a:lnTo>
                  <a:lnTo>
                    <a:pt x="1037" y="382"/>
                  </a:lnTo>
                  <a:lnTo>
                    <a:pt x="1038" y="382"/>
                  </a:lnTo>
                  <a:lnTo>
                    <a:pt x="1038" y="385"/>
                  </a:lnTo>
                  <a:lnTo>
                    <a:pt x="1040" y="387"/>
                  </a:lnTo>
                  <a:lnTo>
                    <a:pt x="1040" y="390"/>
                  </a:lnTo>
                  <a:lnTo>
                    <a:pt x="1040" y="391"/>
                  </a:lnTo>
                  <a:lnTo>
                    <a:pt x="1040" y="393"/>
                  </a:lnTo>
                  <a:lnTo>
                    <a:pt x="1041" y="393"/>
                  </a:lnTo>
                  <a:lnTo>
                    <a:pt x="1044" y="396"/>
                  </a:lnTo>
                  <a:lnTo>
                    <a:pt x="1064" y="404"/>
                  </a:lnTo>
                  <a:lnTo>
                    <a:pt x="1066" y="404"/>
                  </a:lnTo>
                  <a:lnTo>
                    <a:pt x="1068" y="408"/>
                  </a:lnTo>
                  <a:lnTo>
                    <a:pt x="1069" y="410"/>
                  </a:lnTo>
                  <a:lnTo>
                    <a:pt x="1069" y="410"/>
                  </a:lnTo>
                  <a:lnTo>
                    <a:pt x="1071" y="410"/>
                  </a:lnTo>
                  <a:lnTo>
                    <a:pt x="1071" y="411"/>
                  </a:lnTo>
                  <a:lnTo>
                    <a:pt x="1071" y="413"/>
                  </a:lnTo>
                  <a:lnTo>
                    <a:pt x="1069" y="413"/>
                  </a:lnTo>
                  <a:lnTo>
                    <a:pt x="1064" y="411"/>
                  </a:lnTo>
                  <a:lnTo>
                    <a:pt x="1058" y="407"/>
                  </a:lnTo>
                  <a:lnTo>
                    <a:pt x="1057" y="405"/>
                  </a:lnTo>
                  <a:lnTo>
                    <a:pt x="1049" y="405"/>
                  </a:lnTo>
                  <a:lnTo>
                    <a:pt x="1046" y="407"/>
                  </a:lnTo>
                  <a:lnTo>
                    <a:pt x="1044" y="410"/>
                  </a:lnTo>
                  <a:lnTo>
                    <a:pt x="1046" y="411"/>
                  </a:lnTo>
                  <a:lnTo>
                    <a:pt x="1046" y="411"/>
                  </a:lnTo>
                  <a:lnTo>
                    <a:pt x="1048" y="413"/>
                  </a:lnTo>
                  <a:lnTo>
                    <a:pt x="1048" y="416"/>
                  </a:lnTo>
                  <a:lnTo>
                    <a:pt x="1048" y="418"/>
                  </a:lnTo>
                  <a:lnTo>
                    <a:pt x="1046" y="418"/>
                  </a:lnTo>
                  <a:lnTo>
                    <a:pt x="1046" y="416"/>
                  </a:lnTo>
                  <a:lnTo>
                    <a:pt x="1044" y="414"/>
                  </a:lnTo>
                  <a:lnTo>
                    <a:pt x="1043" y="413"/>
                  </a:lnTo>
                  <a:lnTo>
                    <a:pt x="1041" y="411"/>
                  </a:lnTo>
                  <a:lnTo>
                    <a:pt x="1040" y="410"/>
                  </a:lnTo>
                  <a:lnTo>
                    <a:pt x="1038" y="407"/>
                  </a:lnTo>
                  <a:lnTo>
                    <a:pt x="1038" y="404"/>
                  </a:lnTo>
                  <a:lnTo>
                    <a:pt x="1038" y="399"/>
                  </a:lnTo>
                  <a:lnTo>
                    <a:pt x="1037" y="396"/>
                  </a:lnTo>
                  <a:lnTo>
                    <a:pt x="1035" y="398"/>
                  </a:lnTo>
                  <a:lnTo>
                    <a:pt x="1035" y="401"/>
                  </a:lnTo>
                  <a:lnTo>
                    <a:pt x="1035" y="404"/>
                  </a:lnTo>
                  <a:lnTo>
                    <a:pt x="1035" y="411"/>
                  </a:lnTo>
                  <a:lnTo>
                    <a:pt x="1034" y="414"/>
                  </a:lnTo>
                  <a:lnTo>
                    <a:pt x="1034" y="419"/>
                  </a:lnTo>
                  <a:lnTo>
                    <a:pt x="1032" y="424"/>
                  </a:lnTo>
                  <a:lnTo>
                    <a:pt x="1032" y="422"/>
                  </a:lnTo>
                  <a:lnTo>
                    <a:pt x="1032" y="421"/>
                  </a:lnTo>
                  <a:lnTo>
                    <a:pt x="1032" y="419"/>
                  </a:lnTo>
                  <a:lnTo>
                    <a:pt x="1032" y="418"/>
                  </a:lnTo>
                  <a:lnTo>
                    <a:pt x="1034" y="416"/>
                  </a:lnTo>
                  <a:lnTo>
                    <a:pt x="1032" y="414"/>
                  </a:lnTo>
                  <a:lnTo>
                    <a:pt x="1032" y="413"/>
                  </a:lnTo>
                  <a:lnTo>
                    <a:pt x="1032" y="408"/>
                  </a:lnTo>
                  <a:lnTo>
                    <a:pt x="1032" y="402"/>
                  </a:lnTo>
                  <a:lnTo>
                    <a:pt x="1032" y="399"/>
                  </a:lnTo>
                  <a:lnTo>
                    <a:pt x="1032" y="396"/>
                  </a:lnTo>
                  <a:lnTo>
                    <a:pt x="1031" y="393"/>
                  </a:lnTo>
                  <a:lnTo>
                    <a:pt x="1029" y="391"/>
                  </a:lnTo>
                  <a:lnTo>
                    <a:pt x="1028" y="391"/>
                  </a:lnTo>
                  <a:lnTo>
                    <a:pt x="1021" y="391"/>
                  </a:lnTo>
                  <a:lnTo>
                    <a:pt x="1021" y="391"/>
                  </a:lnTo>
                  <a:lnTo>
                    <a:pt x="1021" y="391"/>
                  </a:lnTo>
                  <a:lnTo>
                    <a:pt x="1023" y="388"/>
                  </a:lnTo>
                  <a:lnTo>
                    <a:pt x="1023" y="387"/>
                  </a:lnTo>
                  <a:lnTo>
                    <a:pt x="1023" y="385"/>
                  </a:lnTo>
                  <a:lnTo>
                    <a:pt x="1023" y="382"/>
                  </a:lnTo>
                  <a:lnTo>
                    <a:pt x="1020" y="374"/>
                  </a:lnTo>
                  <a:lnTo>
                    <a:pt x="1018" y="373"/>
                  </a:lnTo>
                  <a:lnTo>
                    <a:pt x="1017" y="371"/>
                  </a:lnTo>
                  <a:lnTo>
                    <a:pt x="1015" y="370"/>
                  </a:lnTo>
                  <a:lnTo>
                    <a:pt x="1014" y="371"/>
                  </a:lnTo>
                  <a:lnTo>
                    <a:pt x="1014" y="371"/>
                  </a:lnTo>
                  <a:lnTo>
                    <a:pt x="1014" y="373"/>
                  </a:lnTo>
                  <a:lnTo>
                    <a:pt x="1012" y="373"/>
                  </a:lnTo>
                  <a:lnTo>
                    <a:pt x="1009" y="374"/>
                  </a:lnTo>
                  <a:lnTo>
                    <a:pt x="1008" y="376"/>
                  </a:lnTo>
                  <a:lnTo>
                    <a:pt x="1006" y="376"/>
                  </a:lnTo>
                  <a:lnTo>
                    <a:pt x="1006" y="378"/>
                  </a:lnTo>
                  <a:lnTo>
                    <a:pt x="1006" y="379"/>
                  </a:lnTo>
                  <a:lnTo>
                    <a:pt x="1006" y="381"/>
                  </a:lnTo>
                  <a:lnTo>
                    <a:pt x="1008" y="381"/>
                  </a:lnTo>
                  <a:lnTo>
                    <a:pt x="1008" y="382"/>
                  </a:lnTo>
                  <a:lnTo>
                    <a:pt x="1008" y="385"/>
                  </a:lnTo>
                  <a:lnTo>
                    <a:pt x="1008" y="385"/>
                  </a:lnTo>
                  <a:lnTo>
                    <a:pt x="1008" y="387"/>
                  </a:lnTo>
                  <a:lnTo>
                    <a:pt x="1008" y="388"/>
                  </a:lnTo>
                  <a:lnTo>
                    <a:pt x="1008" y="390"/>
                  </a:lnTo>
                  <a:lnTo>
                    <a:pt x="1006" y="393"/>
                  </a:lnTo>
                  <a:lnTo>
                    <a:pt x="1004" y="396"/>
                  </a:lnTo>
                  <a:lnTo>
                    <a:pt x="1004" y="399"/>
                  </a:lnTo>
                  <a:lnTo>
                    <a:pt x="1003" y="404"/>
                  </a:lnTo>
                  <a:lnTo>
                    <a:pt x="998" y="407"/>
                  </a:lnTo>
                  <a:lnTo>
                    <a:pt x="995" y="410"/>
                  </a:lnTo>
                  <a:lnTo>
                    <a:pt x="995" y="413"/>
                  </a:lnTo>
                  <a:lnTo>
                    <a:pt x="995" y="421"/>
                  </a:lnTo>
                  <a:lnTo>
                    <a:pt x="994" y="424"/>
                  </a:lnTo>
                  <a:lnTo>
                    <a:pt x="995" y="425"/>
                  </a:lnTo>
                  <a:lnTo>
                    <a:pt x="1000" y="424"/>
                  </a:lnTo>
                  <a:lnTo>
                    <a:pt x="1003" y="425"/>
                  </a:lnTo>
                  <a:lnTo>
                    <a:pt x="1001" y="428"/>
                  </a:lnTo>
                  <a:lnTo>
                    <a:pt x="1001" y="430"/>
                  </a:lnTo>
                  <a:lnTo>
                    <a:pt x="1000" y="431"/>
                  </a:lnTo>
                  <a:lnTo>
                    <a:pt x="1000" y="436"/>
                  </a:lnTo>
                  <a:lnTo>
                    <a:pt x="1001" y="438"/>
                  </a:lnTo>
                  <a:lnTo>
                    <a:pt x="1006" y="441"/>
                  </a:lnTo>
                  <a:lnTo>
                    <a:pt x="997" y="441"/>
                  </a:lnTo>
                  <a:lnTo>
                    <a:pt x="992" y="442"/>
                  </a:lnTo>
                  <a:lnTo>
                    <a:pt x="984" y="448"/>
                  </a:lnTo>
                  <a:lnTo>
                    <a:pt x="969" y="448"/>
                  </a:lnTo>
                  <a:lnTo>
                    <a:pt x="967" y="451"/>
                  </a:lnTo>
                  <a:lnTo>
                    <a:pt x="967" y="451"/>
                  </a:lnTo>
                  <a:lnTo>
                    <a:pt x="971" y="453"/>
                  </a:lnTo>
                  <a:lnTo>
                    <a:pt x="971" y="454"/>
                  </a:lnTo>
                  <a:lnTo>
                    <a:pt x="969" y="456"/>
                  </a:lnTo>
                  <a:lnTo>
                    <a:pt x="966" y="461"/>
                  </a:lnTo>
                  <a:lnTo>
                    <a:pt x="961" y="467"/>
                  </a:lnTo>
                  <a:lnTo>
                    <a:pt x="957" y="475"/>
                  </a:lnTo>
                  <a:lnTo>
                    <a:pt x="957" y="476"/>
                  </a:lnTo>
                  <a:lnTo>
                    <a:pt x="958" y="475"/>
                  </a:lnTo>
                  <a:lnTo>
                    <a:pt x="960" y="476"/>
                  </a:lnTo>
                  <a:lnTo>
                    <a:pt x="960" y="478"/>
                  </a:lnTo>
                  <a:lnTo>
                    <a:pt x="960" y="481"/>
                  </a:lnTo>
                  <a:lnTo>
                    <a:pt x="960" y="482"/>
                  </a:lnTo>
                  <a:lnTo>
                    <a:pt x="957" y="482"/>
                  </a:lnTo>
                  <a:lnTo>
                    <a:pt x="957" y="484"/>
                  </a:lnTo>
                  <a:lnTo>
                    <a:pt x="952" y="491"/>
                  </a:lnTo>
                  <a:lnTo>
                    <a:pt x="952" y="495"/>
                  </a:lnTo>
                  <a:lnTo>
                    <a:pt x="954" y="495"/>
                  </a:lnTo>
                  <a:lnTo>
                    <a:pt x="960" y="490"/>
                  </a:lnTo>
                  <a:lnTo>
                    <a:pt x="974" y="487"/>
                  </a:lnTo>
                  <a:lnTo>
                    <a:pt x="974" y="490"/>
                  </a:lnTo>
                  <a:lnTo>
                    <a:pt x="974" y="491"/>
                  </a:lnTo>
                  <a:lnTo>
                    <a:pt x="981" y="495"/>
                  </a:lnTo>
                  <a:lnTo>
                    <a:pt x="984" y="499"/>
                  </a:lnTo>
                  <a:lnTo>
                    <a:pt x="981" y="501"/>
                  </a:lnTo>
                  <a:lnTo>
                    <a:pt x="980" y="501"/>
                  </a:lnTo>
                  <a:lnTo>
                    <a:pt x="978" y="499"/>
                  </a:lnTo>
                  <a:lnTo>
                    <a:pt x="975" y="498"/>
                  </a:lnTo>
                  <a:lnTo>
                    <a:pt x="974" y="496"/>
                  </a:lnTo>
                  <a:lnTo>
                    <a:pt x="974" y="495"/>
                  </a:lnTo>
                  <a:lnTo>
                    <a:pt x="972" y="496"/>
                  </a:lnTo>
                  <a:lnTo>
                    <a:pt x="969" y="498"/>
                  </a:lnTo>
                  <a:lnTo>
                    <a:pt x="967" y="499"/>
                  </a:lnTo>
                  <a:lnTo>
                    <a:pt x="966" y="499"/>
                  </a:lnTo>
                  <a:lnTo>
                    <a:pt x="961" y="505"/>
                  </a:lnTo>
                  <a:lnTo>
                    <a:pt x="955" y="508"/>
                  </a:lnTo>
                  <a:lnTo>
                    <a:pt x="969" y="515"/>
                  </a:lnTo>
                  <a:lnTo>
                    <a:pt x="975" y="516"/>
                  </a:lnTo>
                  <a:lnTo>
                    <a:pt x="978" y="519"/>
                  </a:lnTo>
                  <a:lnTo>
                    <a:pt x="978" y="525"/>
                  </a:lnTo>
                  <a:lnTo>
                    <a:pt x="974" y="519"/>
                  </a:lnTo>
                  <a:lnTo>
                    <a:pt x="963" y="516"/>
                  </a:lnTo>
                  <a:lnTo>
                    <a:pt x="955" y="511"/>
                  </a:lnTo>
                  <a:lnTo>
                    <a:pt x="952" y="513"/>
                  </a:lnTo>
                  <a:lnTo>
                    <a:pt x="949" y="515"/>
                  </a:lnTo>
                  <a:lnTo>
                    <a:pt x="944" y="518"/>
                  </a:lnTo>
                  <a:lnTo>
                    <a:pt x="940" y="521"/>
                  </a:lnTo>
                  <a:lnTo>
                    <a:pt x="938" y="524"/>
                  </a:lnTo>
                  <a:lnTo>
                    <a:pt x="941" y="527"/>
                  </a:lnTo>
                  <a:lnTo>
                    <a:pt x="944" y="528"/>
                  </a:lnTo>
                  <a:lnTo>
                    <a:pt x="946" y="527"/>
                  </a:lnTo>
                  <a:lnTo>
                    <a:pt x="947" y="524"/>
                  </a:lnTo>
                  <a:lnTo>
                    <a:pt x="951" y="525"/>
                  </a:lnTo>
                  <a:lnTo>
                    <a:pt x="952" y="528"/>
                  </a:lnTo>
                  <a:lnTo>
                    <a:pt x="954" y="531"/>
                  </a:lnTo>
                  <a:lnTo>
                    <a:pt x="957" y="536"/>
                  </a:lnTo>
                  <a:lnTo>
                    <a:pt x="966" y="539"/>
                  </a:lnTo>
                  <a:lnTo>
                    <a:pt x="971" y="542"/>
                  </a:lnTo>
                  <a:lnTo>
                    <a:pt x="969" y="544"/>
                  </a:lnTo>
                  <a:lnTo>
                    <a:pt x="963" y="541"/>
                  </a:lnTo>
                  <a:lnTo>
                    <a:pt x="957" y="542"/>
                  </a:lnTo>
                  <a:lnTo>
                    <a:pt x="955" y="542"/>
                  </a:lnTo>
                  <a:lnTo>
                    <a:pt x="954" y="541"/>
                  </a:lnTo>
                  <a:lnTo>
                    <a:pt x="952" y="539"/>
                  </a:lnTo>
                  <a:lnTo>
                    <a:pt x="951" y="538"/>
                  </a:lnTo>
                  <a:lnTo>
                    <a:pt x="947" y="533"/>
                  </a:lnTo>
                  <a:lnTo>
                    <a:pt x="946" y="533"/>
                  </a:lnTo>
                  <a:lnTo>
                    <a:pt x="944" y="533"/>
                  </a:lnTo>
                  <a:lnTo>
                    <a:pt x="943" y="533"/>
                  </a:lnTo>
                  <a:lnTo>
                    <a:pt x="940" y="531"/>
                  </a:lnTo>
                  <a:lnTo>
                    <a:pt x="938" y="530"/>
                  </a:lnTo>
                  <a:lnTo>
                    <a:pt x="935" y="533"/>
                  </a:lnTo>
                  <a:lnTo>
                    <a:pt x="929" y="535"/>
                  </a:lnTo>
                  <a:lnTo>
                    <a:pt x="929" y="536"/>
                  </a:lnTo>
                  <a:lnTo>
                    <a:pt x="927" y="536"/>
                  </a:lnTo>
                  <a:lnTo>
                    <a:pt x="927" y="538"/>
                  </a:lnTo>
                  <a:lnTo>
                    <a:pt x="927" y="539"/>
                  </a:lnTo>
                  <a:lnTo>
                    <a:pt x="927" y="541"/>
                  </a:lnTo>
                  <a:lnTo>
                    <a:pt x="929" y="542"/>
                  </a:lnTo>
                  <a:lnTo>
                    <a:pt x="929" y="542"/>
                  </a:lnTo>
                  <a:lnTo>
                    <a:pt x="930" y="544"/>
                  </a:lnTo>
                  <a:lnTo>
                    <a:pt x="930" y="544"/>
                  </a:lnTo>
                  <a:lnTo>
                    <a:pt x="934" y="545"/>
                  </a:lnTo>
                  <a:lnTo>
                    <a:pt x="934" y="545"/>
                  </a:lnTo>
                  <a:lnTo>
                    <a:pt x="934" y="547"/>
                  </a:lnTo>
                  <a:lnTo>
                    <a:pt x="932" y="548"/>
                  </a:lnTo>
                  <a:lnTo>
                    <a:pt x="932" y="548"/>
                  </a:lnTo>
                  <a:lnTo>
                    <a:pt x="930" y="548"/>
                  </a:lnTo>
                  <a:lnTo>
                    <a:pt x="927" y="547"/>
                  </a:lnTo>
                  <a:lnTo>
                    <a:pt x="926" y="545"/>
                  </a:lnTo>
                  <a:lnTo>
                    <a:pt x="926" y="545"/>
                  </a:lnTo>
                  <a:lnTo>
                    <a:pt x="926" y="544"/>
                  </a:lnTo>
                  <a:lnTo>
                    <a:pt x="926" y="542"/>
                  </a:lnTo>
                  <a:lnTo>
                    <a:pt x="924" y="539"/>
                  </a:lnTo>
                  <a:lnTo>
                    <a:pt x="921" y="536"/>
                  </a:lnTo>
                  <a:lnTo>
                    <a:pt x="920" y="533"/>
                  </a:lnTo>
                  <a:lnTo>
                    <a:pt x="917" y="535"/>
                  </a:lnTo>
                  <a:lnTo>
                    <a:pt x="915" y="536"/>
                  </a:lnTo>
                  <a:lnTo>
                    <a:pt x="906" y="539"/>
                  </a:lnTo>
                  <a:lnTo>
                    <a:pt x="898" y="545"/>
                  </a:lnTo>
                  <a:lnTo>
                    <a:pt x="892" y="547"/>
                  </a:lnTo>
                  <a:lnTo>
                    <a:pt x="890" y="550"/>
                  </a:lnTo>
                  <a:lnTo>
                    <a:pt x="889" y="553"/>
                  </a:lnTo>
                  <a:lnTo>
                    <a:pt x="887" y="558"/>
                  </a:lnTo>
                  <a:lnTo>
                    <a:pt x="887" y="559"/>
                  </a:lnTo>
                  <a:lnTo>
                    <a:pt x="889" y="562"/>
                  </a:lnTo>
                  <a:lnTo>
                    <a:pt x="889" y="562"/>
                  </a:lnTo>
                  <a:lnTo>
                    <a:pt x="890" y="564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4" y="567"/>
                  </a:lnTo>
                  <a:lnTo>
                    <a:pt x="892" y="568"/>
                  </a:lnTo>
                  <a:lnTo>
                    <a:pt x="890" y="570"/>
                  </a:lnTo>
                  <a:lnTo>
                    <a:pt x="889" y="568"/>
                  </a:lnTo>
                  <a:lnTo>
                    <a:pt x="886" y="567"/>
                  </a:lnTo>
                  <a:lnTo>
                    <a:pt x="881" y="570"/>
                  </a:lnTo>
                  <a:lnTo>
                    <a:pt x="881" y="572"/>
                  </a:lnTo>
                  <a:lnTo>
                    <a:pt x="880" y="573"/>
                  </a:lnTo>
                  <a:lnTo>
                    <a:pt x="881" y="575"/>
                  </a:lnTo>
                  <a:lnTo>
                    <a:pt x="881" y="576"/>
                  </a:lnTo>
                  <a:lnTo>
                    <a:pt x="883" y="578"/>
                  </a:lnTo>
                  <a:lnTo>
                    <a:pt x="883" y="581"/>
                  </a:lnTo>
                  <a:lnTo>
                    <a:pt x="883" y="582"/>
                  </a:lnTo>
                  <a:lnTo>
                    <a:pt x="883" y="585"/>
                  </a:lnTo>
                  <a:lnTo>
                    <a:pt x="884" y="587"/>
                  </a:lnTo>
                  <a:lnTo>
                    <a:pt x="886" y="588"/>
                  </a:lnTo>
                  <a:lnTo>
                    <a:pt x="895" y="588"/>
                  </a:lnTo>
                  <a:lnTo>
                    <a:pt x="901" y="585"/>
                  </a:lnTo>
                  <a:lnTo>
                    <a:pt x="909" y="585"/>
                  </a:lnTo>
                  <a:lnTo>
                    <a:pt x="912" y="582"/>
                  </a:lnTo>
                  <a:lnTo>
                    <a:pt x="914" y="581"/>
                  </a:lnTo>
                  <a:lnTo>
                    <a:pt x="918" y="575"/>
                  </a:lnTo>
                  <a:lnTo>
                    <a:pt x="920" y="573"/>
                  </a:lnTo>
                  <a:lnTo>
                    <a:pt x="920" y="575"/>
                  </a:lnTo>
                  <a:lnTo>
                    <a:pt x="921" y="576"/>
                  </a:lnTo>
                  <a:lnTo>
                    <a:pt x="923" y="576"/>
                  </a:lnTo>
                  <a:lnTo>
                    <a:pt x="924" y="576"/>
                  </a:lnTo>
                  <a:lnTo>
                    <a:pt x="926" y="578"/>
                  </a:lnTo>
                  <a:lnTo>
                    <a:pt x="927" y="579"/>
                  </a:lnTo>
                  <a:lnTo>
                    <a:pt x="927" y="582"/>
                  </a:lnTo>
                  <a:lnTo>
                    <a:pt x="926" y="584"/>
                  </a:lnTo>
                  <a:lnTo>
                    <a:pt x="921" y="585"/>
                  </a:lnTo>
                  <a:lnTo>
                    <a:pt x="920" y="587"/>
                  </a:lnTo>
                  <a:lnTo>
                    <a:pt x="924" y="588"/>
                  </a:lnTo>
                  <a:lnTo>
                    <a:pt x="940" y="585"/>
                  </a:lnTo>
                  <a:lnTo>
                    <a:pt x="944" y="578"/>
                  </a:lnTo>
                  <a:lnTo>
                    <a:pt x="947" y="575"/>
                  </a:lnTo>
                  <a:lnTo>
                    <a:pt x="954" y="575"/>
                  </a:lnTo>
                  <a:lnTo>
                    <a:pt x="957" y="572"/>
                  </a:lnTo>
                  <a:lnTo>
                    <a:pt x="960" y="570"/>
                  </a:lnTo>
                  <a:lnTo>
                    <a:pt x="961" y="570"/>
                  </a:lnTo>
                  <a:lnTo>
                    <a:pt x="961" y="572"/>
                  </a:lnTo>
                  <a:lnTo>
                    <a:pt x="955" y="587"/>
                  </a:lnTo>
                  <a:lnTo>
                    <a:pt x="966" y="585"/>
                  </a:lnTo>
                  <a:lnTo>
                    <a:pt x="981" y="596"/>
                  </a:lnTo>
                  <a:lnTo>
                    <a:pt x="984" y="598"/>
                  </a:lnTo>
                  <a:lnTo>
                    <a:pt x="981" y="599"/>
                  </a:lnTo>
                  <a:lnTo>
                    <a:pt x="974" y="593"/>
                  </a:lnTo>
                  <a:lnTo>
                    <a:pt x="960" y="590"/>
                  </a:lnTo>
                  <a:lnTo>
                    <a:pt x="949" y="592"/>
                  </a:lnTo>
                  <a:lnTo>
                    <a:pt x="947" y="593"/>
                  </a:lnTo>
                  <a:lnTo>
                    <a:pt x="961" y="601"/>
                  </a:lnTo>
                  <a:lnTo>
                    <a:pt x="963" y="604"/>
                  </a:lnTo>
                  <a:lnTo>
                    <a:pt x="957" y="602"/>
                  </a:lnTo>
                  <a:lnTo>
                    <a:pt x="944" y="595"/>
                  </a:lnTo>
                  <a:lnTo>
                    <a:pt x="938" y="595"/>
                  </a:lnTo>
                  <a:lnTo>
                    <a:pt x="940" y="596"/>
                  </a:lnTo>
                  <a:lnTo>
                    <a:pt x="940" y="598"/>
                  </a:lnTo>
                  <a:lnTo>
                    <a:pt x="938" y="599"/>
                  </a:lnTo>
                  <a:lnTo>
                    <a:pt x="937" y="601"/>
                  </a:lnTo>
                  <a:lnTo>
                    <a:pt x="935" y="601"/>
                  </a:lnTo>
                  <a:lnTo>
                    <a:pt x="937" y="605"/>
                  </a:lnTo>
                  <a:lnTo>
                    <a:pt x="937" y="608"/>
                  </a:lnTo>
                  <a:lnTo>
                    <a:pt x="938" y="610"/>
                  </a:lnTo>
                  <a:lnTo>
                    <a:pt x="940" y="612"/>
                  </a:lnTo>
                  <a:lnTo>
                    <a:pt x="940" y="615"/>
                  </a:lnTo>
                  <a:lnTo>
                    <a:pt x="946" y="619"/>
                  </a:lnTo>
                  <a:lnTo>
                    <a:pt x="949" y="622"/>
                  </a:lnTo>
                  <a:lnTo>
                    <a:pt x="952" y="629"/>
                  </a:lnTo>
                  <a:lnTo>
                    <a:pt x="947" y="630"/>
                  </a:lnTo>
                  <a:lnTo>
                    <a:pt x="946" y="632"/>
                  </a:lnTo>
                  <a:lnTo>
                    <a:pt x="946" y="633"/>
                  </a:lnTo>
                  <a:lnTo>
                    <a:pt x="947" y="636"/>
                  </a:lnTo>
                  <a:lnTo>
                    <a:pt x="947" y="639"/>
                  </a:lnTo>
                  <a:lnTo>
                    <a:pt x="947" y="642"/>
                  </a:lnTo>
                  <a:lnTo>
                    <a:pt x="944" y="642"/>
                  </a:lnTo>
                  <a:lnTo>
                    <a:pt x="944" y="642"/>
                  </a:lnTo>
                  <a:lnTo>
                    <a:pt x="944" y="641"/>
                  </a:lnTo>
                  <a:lnTo>
                    <a:pt x="944" y="638"/>
                  </a:lnTo>
                  <a:lnTo>
                    <a:pt x="944" y="635"/>
                  </a:lnTo>
                  <a:lnTo>
                    <a:pt x="944" y="633"/>
                  </a:lnTo>
                  <a:lnTo>
                    <a:pt x="944" y="633"/>
                  </a:lnTo>
                  <a:lnTo>
                    <a:pt x="943" y="632"/>
                  </a:lnTo>
                  <a:lnTo>
                    <a:pt x="943" y="630"/>
                  </a:lnTo>
                  <a:lnTo>
                    <a:pt x="943" y="629"/>
                  </a:lnTo>
                  <a:lnTo>
                    <a:pt x="944" y="625"/>
                  </a:lnTo>
                  <a:lnTo>
                    <a:pt x="937" y="619"/>
                  </a:lnTo>
                  <a:lnTo>
                    <a:pt x="935" y="616"/>
                  </a:lnTo>
                  <a:lnTo>
                    <a:pt x="935" y="615"/>
                  </a:lnTo>
                  <a:lnTo>
                    <a:pt x="934" y="608"/>
                  </a:lnTo>
                  <a:lnTo>
                    <a:pt x="934" y="607"/>
                  </a:lnTo>
                  <a:lnTo>
                    <a:pt x="930" y="602"/>
                  </a:lnTo>
                  <a:lnTo>
                    <a:pt x="929" y="601"/>
                  </a:lnTo>
                  <a:lnTo>
                    <a:pt x="924" y="604"/>
                  </a:lnTo>
                  <a:lnTo>
                    <a:pt x="923" y="604"/>
                  </a:lnTo>
                  <a:lnTo>
                    <a:pt x="920" y="607"/>
                  </a:lnTo>
                  <a:lnTo>
                    <a:pt x="909" y="612"/>
                  </a:lnTo>
                  <a:lnTo>
                    <a:pt x="907" y="612"/>
                  </a:lnTo>
                  <a:lnTo>
                    <a:pt x="907" y="610"/>
                  </a:lnTo>
                  <a:lnTo>
                    <a:pt x="910" y="605"/>
                  </a:lnTo>
                  <a:lnTo>
                    <a:pt x="910" y="605"/>
                  </a:lnTo>
                  <a:lnTo>
                    <a:pt x="910" y="601"/>
                  </a:lnTo>
                  <a:lnTo>
                    <a:pt x="909" y="601"/>
                  </a:lnTo>
                  <a:lnTo>
                    <a:pt x="906" y="601"/>
                  </a:lnTo>
                  <a:lnTo>
                    <a:pt x="900" y="596"/>
                  </a:lnTo>
                  <a:lnTo>
                    <a:pt x="898" y="595"/>
                  </a:lnTo>
                  <a:lnTo>
                    <a:pt x="877" y="598"/>
                  </a:lnTo>
                  <a:lnTo>
                    <a:pt x="872" y="602"/>
                  </a:lnTo>
                  <a:lnTo>
                    <a:pt x="866" y="604"/>
                  </a:lnTo>
                  <a:lnTo>
                    <a:pt x="863" y="605"/>
                  </a:lnTo>
                  <a:lnTo>
                    <a:pt x="863" y="607"/>
                  </a:lnTo>
                  <a:lnTo>
                    <a:pt x="866" y="607"/>
                  </a:lnTo>
                  <a:lnTo>
                    <a:pt x="867" y="607"/>
                  </a:lnTo>
                  <a:lnTo>
                    <a:pt x="864" y="610"/>
                  </a:lnTo>
                  <a:lnTo>
                    <a:pt x="866" y="612"/>
                  </a:lnTo>
                  <a:lnTo>
                    <a:pt x="869" y="610"/>
                  </a:lnTo>
                  <a:lnTo>
                    <a:pt x="870" y="612"/>
                  </a:lnTo>
                  <a:lnTo>
                    <a:pt x="872" y="613"/>
                  </a:lnTo>
                  <a:lnTo>
                    <a:pt x="877" y="616"/>
                  </a:lnTo>
                  <a:lnTo>
                    <a:pt x="884" y="618"/>
                  </a:lnTo>
                  <a:lnTo>
                    <a:pt x="887" y="621"/>
                  </a:lnTo>
                  <a:lnTo>
                    <a:pt x="890" y="625"/>
                  </a:lnTo>
                  <a:lnTo>
                    <a:pt x="890" y="629"/>
                  </a:lnTo>
                  <a:lnTo>
                    <a:pt x="892" y="632"/>
                  </a:lnTo>
                  <a:lnTo>
                    <a:pt x="894" y="636"/>
                  </a:lnTo>
                  <a:lnTo>
                    <a:pt x="900" y="641"/>
                  </a:lnTo>
                  <a:lnTo>
                    <a:pt x="901" y="642"/>
                  </a:lnTo>
                  <a:lnTo>
                    <a:pt x="901" y="644"/>
                  </a:lnTo>
                  <a:lnTo>
                    <a:pt x="906" y="650"/>
                  </a:lnTo>
                  <a:lnTo>
                    <a:pt x="903" y="650"/>
                  </a:lnTo>
                  <a:lnTo>
                    <a:pt x="901" y="649"/>
                  </a:lnTo>
                  <a:lnTo>
                    <a:pt x="887" y="638"/>
                  </a:lnTo>
                  <a:lnTo>
                    <a:pt x="887" y="630"/>
                  </a:lnTo>
                  <a:lnTo>
                    <a:pt x="884" y="625"/>
                  </a:lnTo>
                  <a:lnTo>
                    <a:pt x="875" y="621"/>
                  </a:lnTo>
                  <a:lnTo>
                    <a:pt x="875" y="619"/>
                  </a:lnTo>
                  <a:lnTo>
                    <a:pt x="870" y="621"/>
                  </a:lnTo>
                  <a:lnTo>
                    <a:pt x="869" y="619"/>
                  </a:lnTo>
                  <a:lnTo>
                    <a:pt x="869" y="619"/>
                  </a:lnTo>
                  <a:lnTo>
                    <a:pt x="869" y="616"/>
                  </a:lnTo>
                  <a:lnTo>
                    <a:pt x="867" y="615"/>
                  </a:lnTo>
                  <a:lnTo>
                    <a:pt x="867" y="615"/>
                  </a:lnTo>
                  <a:lnTo>
                    <a:pt x="866" y="615"/>
                  </a:lnTo>
                  <a:lnTo>
                    <a:pt x="866" y="615"/>
                  </a:lnTo>
                  <a:lnTo>
                    <a:pt x="864" y="615"/>
                  </a:lnTo>
                  <a:lnTo>
                    <a:pt x="863" y="615"/>
                  </a:lnTo>
                  <a:lnTo>
                    <a:pt x="860" y="613"/>
                  </a:lnTo>
                  <a:lnTo>
                    <a:pt x="858" y="613"/>
                  </a:lnTo>
                  <a:lnTo>
                    <a:pt x="857" y="613"/>
                  </a:lnTo>
                  <a:lnTo>
                    <a:pt x="855" y="618"/>
                  </a:lnTo>
                  <a:lnTo>
                    <a:pt x="853" y="619"/>
                  </a:lnTo>
                  <a:lnTo>
                    <a:pt x="855" y="621"/>
                  </a:lnTo>
                  <a:lnTo>
                    <a:pt x="860" y="624"/>
                  </a:lnTo>
                  <a:lnTo>
                    <a:pt x="870" y="625"/>
                  </a:lnTo>
                  <a:lnTo>
                    <a:pt x="872" y="627"/>
                  </a:lnTo>
                  <a:lnTo>
                    <a:pt x="872" y="629"/>
                  </a:lnTo>
                  <a:lnTo>
                    <a:pt x="872" y="630"/>
                  </a:lnTo>
                  <a:lnTo>
                    <a:pt x="872" y="630"/>
                  </a:lnTo>
                  <a:lnTo>
                    <a:pt x="861" y="632"/>
                  </a:lnTo>
                  <a:lnTo>
                    <a:pt x="860" y="632"/>
                  </a:lnTo>
                  <a:lnTo>
                    <a:pt x="858" y="633"/>
                  </a:lnTo>
                  <a:lnTo>
                    <a:pt x="858" y="635"/>
                  </a:lnTo>
                  <a:lnTo>
                    <a:pt x="877" y="635"/>
                  </a:lnTo>
                  <a:lnTo>
                    <a:pt x="877" y="633"/>
                  </a:lnTo>
                  <a:lnTo>
                    <a:pt x="878" y="632"/>
                  </a:lnTo>
                  <a:lnTo>
                    <a:pt x="880" y="630"/>
                  </a:lnTo>
                  <a:lnTo>
                    <a:pt x="880" y="632"/>
                  </a:lnTo>
                  <a:lnTo>
                    <a:pt x="880" y="635"/>
                  </a:lnTo>
                  <a:lnTo>
                    <a:pt x="881" y="636"/>
                  </a:lnTo>
                  <a:lnTo>
                    <a:pt x="881" y="636"/>
                  </a:lnTo>
                  <a:lnTo>
                    <a:pt x="886" y="641"/>
                  </a:lnTo>
                  <a:lnTo>
                    <a:pt x="889" y="641"/>
                  </a:lnTo>
                  <a:lnTo>
                    <a:pt x="890" y="642"/>
                  </a:lnTo>
                  <a:lnTo>
                    <a:pt x="886" y="642"/>
                  </a:lnTo>
                  <a:lnTo>
                    <a:pt x="877" y="639"/>
                  </a:lnTo>
                  <a:lnTo>
                    <a:pt x="877" y="639"/>
                  </a:lnTo>
                  <a:lnTo>
                    <a:pt x="880" y="641"/>
                  </a:lnTo>
                  <a:lnTo>
                    <a:pt x="880" y="642"/>
                  </a:lnTo>
                  <a:lnTo>
                    <a:pt x="881" y="645"/>
                  </a:lnTo>
                  <a:lnTo>
                    <a:pt x="880" y="645"/>
                  </a:lnTo>
                  <a:lnTo>
                    <a:pt x="878" y="644"/>
                  </a:lnTo>
                  <a:lnTo>
                    <a:pt x="877" y="644"/>
                  </a:lnTo>
                  <a:lnTo>
                    <a:pt x="875" y="645"/>
                  </a:lnTo>
                  <a:lnTo>
                    <a:pt x="877" y="647"/>
                  </a:lnTo>
                  <a:lnTo>
                    <a:pt x="877" y="647"/>
                  </a:lnTo>
                  <a:lnTo>
                    <a:pt x="875" y="649"/>
                  </a:lnTo>
                  <a:lnTo>
                    <a:pt x="872" y="647"/>
                  </a:lnTo>
                  <a:lnTo>
                    <a:pt x="869" y="652"/>
                  </a:lnTo>
                  <a:lnTo>
                    <a:pt x="867" y="652"/>
                  </a:lnTo>
                  <a:lnTo>
                    <a:pt x="864" y="650"/>
                  </a:lnTo>
                  <a:lnTo>
                    <a:pt x="864" y="652"/>
                  </a:lnTo>
                  <a:lnTo>
                    <a:pt x="866" y="653"/>
                  </a:lnTo>
                  <a:lnTo>
                    <a:pt x="869" y="653"/>
                  </a:lnTo>
                  <a:lnTo>
                    <a:pt x="867" y="656"/>
                  </a:lnTo>
                  <a:lnTo>
                    <a:pt x="867" y="658"/>
                  </a:lnTo>
                  <a:lnTo>
                    <a:pt x="872" y="659"/>
                  </a:lnTo>
                  <a:lnTo>
                    <a:pt x="880" y="653"/>
                  </a:lnTo>
                  <a:lnTo>
                    <a:pt x="883" y="653"/>
                  </a:lnTo>
                  <a:lnTo>
                    <a:pt x="884" y="653"/>
                  </a:lnTo>
                  <a:lnTo>
                    <a:pt x="887" y="658"/>
                  </a:lnTo>
                  <a:lnTo>
                    <a:pt x="889" y="659"/>
                  </a:lnTo>
                  <a:lnTo>
                    <a:pt x="897" y="662"/>
                  </a:lnTo>
                  <a:lnTo>
                    <a:pt x="897" y="662"/>
                  </a:lnTo>
                  <a:lnTo>
                    <a:pt x="895" y="664"/>
                  </a:lnTo>
                  <a:lnTo>
                    <a:pt x="897" y="664"/>
                  </a:lnTo>
                  <a:lnTo>
                    <a:pt x="897" y="664"/>
                  </a:lnTo>
                  <a:lnTo>
                    <a:pt x="895" y="665"/>
                  </a:lnTo>
                  <a:lnTo>
                    <a:pt x="887" y="662"/>
                  </a:lnTo>
                  <a:lnTo>
                    <a:pt x="883" y="658"/>
                  </a:lnTo>
                  <a:lnTo>
                    <a:pt x="880" y="658"/>
                  </a:lnTo>
                  <a:lnTo>
                    <a:pt x="880" y="659"/>
                  </a:lnTo>
                  <a:lnTo>
                    <a:pt x="878" y="661"/>
                  </a:lnTo>
                  <a:lnTo>
                    <a:pt x="878" y="662"/>
                  </a:lnTo>
                  <a:lnTo>
                    <a:pt x="877" y="662"/>
                  </a:lnTo>
                  <a:lnTo>
                    <a:pt x="875" y="664"/>
                  </a:lnTo>
                  <a:lnTo>
                    <a:pt x="874" y="667"/>
                  </a:lnTo>
                  <a:lnTo>
                    <a:pt x="874" y="670"/>
                  </a:lnTo>
                  <a:lnTo>
                    <a:pt x="883" y="673"/>
                  </a:lnTo>
                  <a:lnTo>
                    <a:pt x="881" y="676"/>
                  </a:lnTo>
                  <a:lnTo>
                    <a:pt x="880" y="678"/>
                  </a:lnTo>
                  <a:lnTo>
                    <a:pt x="880" y="681"/>
                  </a:lnTo>
                  <a:lnTo>
                    <a:pt x="881" y="682"/>
                  </a:lnTo>
                  <a:lnTo>
                    <a:pt x="884" y="682"/>
                  </a:lnTo>
                  <a:lnTo>
                    <a:pt x="886" y="684"/>
                  </a:lnTo>
                  <a:lnTo>
                    <a:pt x="884" y="684"/>
                  </a:lnTo>
                  <a:lnTo>
                    <a:pt x="881" y="684"/>
                  </a:lnTo>
                  <a:lnTo>
                    <a:pt x="880" y="684"/>
                  </a:lnTo>
                  <a:lnTo>
                    <a:pt x="878" y="681"/>
                  </a:lnTo>
                  <a:lnTo>
                    <a:pt x="875" y="676"/>
                  </a:lnTo>
                  <a:lnTo>
                    <a:pt x="874" y="675"/>
                  </a:lnTo>
                  <a:lnTo>
                    <a:pt x="872" y="675"/>
                  </a:lnTo>
                  <a:lnTo>
                    <a:pt x="870" y="676"/>
                  </a:lnTo>
                  <a:lnTo>
                    <a:pt x="870" y="678"/>
                  </a:lnTo>
                  <a:lnTo>
                    <a:pt x="874" y="681"/>
                  </a:lnTo>
                  <a:lnTo>
                    <a:pt x="875" y="684"/>
                  </a:lnTo>
                  <a:lnTo>
                    <a:pt x="877" y="685"/>
                  </a:lnTo>
                  <a:lnTo>
                    <a:pt x="880" y="687"/>
                  </a:lnTo>
                  <a:lnTo>
                    <a:pt x="881" y="687"/>
                  </a:lnTo>
                  <a:lnTo>
                    <a:pt x="880" y="689"/>
                  </a:lnTo>
                  <a:lnTo>
                    <a:pt x="880" y="690"/>
                  </a:lnTo>
                  <a:lnTo>
                    <a:pt x="880" y="690"/>
                  </a:lnTo>
                  <a:lnTo>
                    <a:pt x="880" y="693"/>
                  </a:lnTo>
                  <a:lnTo>
                    <a:pt x="880" y="695"/>
                  </a:lnTo>
                  <a:lnTo>
                    <a:pt x="881" y="696"/>
                  </a:lnTo>
                  <a:lnTo>
                    <a:pt x="880" y="696"/>
                  </a:lnTo>
                  <a:lnTo>
                    <a:pt x="877" y="695"/>
                  </a:lnTo>
                  <a:lnTo>
                    <a:pt x="877" y="692"/>
                  </a:lnTo>
                  <a:lnTo>
                    <a:pt x="869" y="678"/>
                  </a:lnTo>
                  <a:lnTo>
                    <a:pt x="866" y="675"/>
                  </a:lnTo>
                  <a:lnTo>
                    <a:pt x="864" y="675"/>
                  </a:lnTo>
                  <a:lnTo>
                    <a:pt x="861" y="675"/>
                  </a:lnTo>
                  <a:lnTo>
                    <a:pt x="864" y="678"/>
                  </a:lnTo>
                  <a:lnTo>
                    <a:pt x="866" y="679"/>
                  </a:lnTo>
                  <a:lnTo>
                    <a:pt x="866" y="681"/>
                  </a:lnTo>
                  <a:lnTo>
                    <a:pt x="866" y="682"/>
                  </a:lnTo>
                  <a:lnTo>
                    <a:pt x="866" y="687"/>
                  </a:lnTo>
                  <a:lnTo>
                    <a:pt x="866" y="690"/>
                  </a:lnTo>
                  <a:lnTo>
                    <a:pt x="866" y="692"/>
                  </a:lnTo>
                  <a:lnTo>
                    <a:pt x="864" y="695"/>
                  </a:lnTo>
                  <a:lnTo>
                    <a:pt x="864" y="696"/>
                  </a:lnTo>
                  <a:lnTo>
                    <a:pt x="866" y="698"/>
                  </a:lnTo>
                  <a:lnTo>
                    <a:pt x="869" y="701"/>
                  </a:lnTo>
                  <a:lnTo>
                    <a:pt x="880" y="706"/>
                  </a:lnTo>
                  <a:lnTo>
                    <a:pt x="878" y="709"/>
                  </a:lnTo>
                  <a:lnTo>
                    <a:pt x="880" y="712"/>
                  </a:lnTo>
                  <a:lnTo>
                    <a:pt x="883" y="713"/>
                  </a:lnTo>
                  <a:lnTo>
                    <a:pt x="884" y="715"/>
                  </a:lnTo>
                  <a:lnTo>
                    <a:pt x="881" y="716"/>
                  </a:lnTo>
                  <a:lnTo>
                    <a:pt x="878" y="715"/>
                  </a:lnTo>
                  <a:lnTo>
                    <a:pt x="869" y="704"/>
                  </a:lnTo>
                  <a:lnTo>
                    <a:pt x="867" y="702"/>
                  </a:lnTo>
                  <a:lnTo>
                    <a:pt x="867" y="701"/>
                  </a:lnTo>
                  <a:lnTo>
                    <a:pt x="863" y="699"/>
                  </a:lnTo>
                  <a:lnTo>
                    <a:pt x="863" y="698"/>
                  </a:lnTo>
                  <a:lnTo>
                    <a:pt x="861" y="693"/>
                  </a:lnTo>
                  <a:lnTo>
                    <a:pt x="861" y="689"/>
                  </a:lnTo>
                  <a:lnTo>
                    <a:pt x="861" y="684"/>
                  </a:lnTo>
                  <a:lnTo>
                    <a:pt x="860" y="679"/>
                  </a:lnTo>
                  <a:lnTo>
                    <a:pt x="858" y="676"/>
                  </a:lnTo>
                  <a:lnTo>
                    <a:pt x="849" y="670"/>
                  </a:lnTo>
                  <a:lnTo>
                    <a:pt x="850" y="669"/>
                  </a:lnTo>
                  <a:lnTo>
                    <a:pt x="850" y="667"/>
                  </a:lnTo>
                  <a:lnTo>
                    <a:pt x="852" y="664"/>
                  </a:lnTo>
                  <a:lnTo>
                    <a:pt x="852" y="661"/>
                  </a:lnTo>
                  <a:lnTo>
                    <a:pt x="852" y="656"/>
                  </a:lnTo>
                  <a:lnTo>
                    <a:pt x="850" y="653"/>
                  </a:lnTo>
                  <a:lnTo>
                    <a:pt x="852" y="652"/>
                  </a:lnTo>
                  <a:lnTo>
                    <a:pt x="853" y="647"/>
                  </a:lnTo>
                  <a:lnTo>
                    <a:pt x="853" y="644"/>
                  </a:lnTo>
                  <a:lnTo>
                    <a:pt x="853" y="641"/>
                  </a:lnTo>
                  <a:lnTo>
                    <a:pt x="852" y="642"/>
                  </a:lnTo>
                  <a:lnTo>
                    <a:pt x="850" y="644"/>
                  </a:lnTo>
                  <a:lnTo>
                    <a:pt x="849" y="644"/>
                  </a:lnTo>
                  <a:lnTo>
                    <a:pt x="847" y="639"/>
                  </a:lnTo>
                  <a:lnTo>
                    <a:pt x="849" y="639"/>
                  </a:lnTo>
                  <a:lnTo>
                    <a:pt x="849" y="639"/>
                  </a:lnTo>
                  <a:lnTo>
                    <a:pt x="850" y="638"/>
                  </a:lnTo>
                  <a:lnTo>
                    <a:pt x="850" y="636"/>
                  </a:lnTo>
                  <a:lnTo>
                    <a:pt x="849" y="633"/>
                  </a:lnTo>
                  <a:lnTo>
                    <a:pt x="849" y="630"/>
                  </a:lnTo>
                  <a:lnTo>
                    <a:pt x="849" y="627"/>
                  </a:lnTo>
                  <a:lnTo>
                    <a:pt x="847" y="625"/>
                  </a:lnTo>
                  <a:lnTo>
                    <a:pt x="844" y="625"/>
                  </a:lnTo>
                  <a:lnTo>
                    <a:pt x="843" y="627"/>
                  </a:lnTo>
                  <a:lnTo>
                    <a:pt x="843" y="629"/>
                  </a:lnTo>
                  <a:lnTo>
                    <a:pt x="841" y="630"/>
                  </a:lnTo>
                  <a:lnTo>
                    <a:pt x="841" y="632"/>
                  </a:lnTo>
                  <a:lnTo>
                    <a:pt x="843" y="633"/>
                  </a:lnTo>
                  <a:lnTo>
                    <a:pt x="843" y="635"/>
                  </a:lnTo>
                  <a:lnTo>
                    <a:pt x="841" y="639"/>
                  </a:lnTo>
                  <a:lnTo>
                    <a:pt x="840" y="639"/>
                  </a:lnTo>
                  <a:lnTo>
                    <a:pt x="838" y="638"/>
                  </a:lnTo>
                  <a:lnTo>
                    <a:pt x="837" y="639"/>
                  </a:lnTo>
                  <a:lnTo>
                    <a:pt x="837" y="642"/>
                  </a:lnTo>
                  <a:lnTo>
                    <a:pt x="838" y="645"/>
                  </a:lnTo>
                  <a:lnTo>
                    <a:pt x="840" y="650"/>
                  </a:lnTo>
                  <a:lnTo>
                    <a:pt x="840" y="650"/>
                  </a:lnTo>
                  <a:lnTo>
                    <a:pt x="838" y="652"/>
                  </a:lnTo>
                  <a:lnTo>
                    <a:pt x="835" y="655"/>
                  </a:lnTo>
                  <a:lnTo>
                    <a:pt x="833" y="656"/>
                  </a:lnTo>
                  <a:lnTo>
                    <a:pt x="833" y="658"/>
                  </a:lnTo>
                  <a:lnTo>
                    <a:pt x="829" y="658"/>
                  </a:lnTo>
                  <a:lnTo>
                    <a:pt x="829" y="658"/>
                  </a:lnTo>
                  <a:lnTo>
                    <a:pt x="829" y="659"/>
                  </a:lnTo>
                  <a:lnTo>
                    <a:pt x="829" y="659"/>
                  </a:lnTo>
                  <a:lnTo>
                    <a:pt x="827" y="661"/>
                  </a:lnTo>
                  <a:lnTo>
                    <a:pt x="826" y="661"/>
                  </a:lnTo>
                  <a:lnTo>
                    <a:pt x="821" y="661"/>
                  </a:lnTo>
                  <a:lnTo>
                    <a:pt x="820" y="662"/>
                  </a:lnTo>
                  <a:lnTo>
                    <a:pt x="821" y="665"/>
                  </a:lnTo>
                  <a:lnTo>
                    <a:pt x="820" y="665"/>
                  </a:lnTo>
                  <a:lnTo>
                    <a:pt x="820" y="665"/>
                  </a:lnTo>
                  <a:lnTo>
                    <a:pt x="818" y="665"/>
                  </a:lnTo>
                  <a:lnTo>
                    <a:pt x="818" y="664"/>
                  </a:lnTo>
                  <a:lnTo>
                    <a:pt x="818" y="662"/>
                  </a:lnTo>
                  <a:lnTo>
                    <a:pt x="818" y="661"/>
                  </a:lnTo>
                  <a:lnTo>
                    <a:pt x="818" y="659"/>
                  </a:lnTo>
                  <a:lnTo>
                    <a:pt x="818" y="658"/>
                  </a:lnTo>
                  <a:lnTo>
                    <a:pt x="820" y="656"/>
                  </a:lnTo>
                  <a:lnTo>
                    <a:pt x="824" y="659"/>
                  </a:lnTo>
                  <a:lnTo>
                    <a:pt x="826" y="658"/>
                  </a:lnTo>
                  <a:lnTo>
                    <a:pt x="826" y="656"/>
                  </a:lnTo>
                  <a:lnTo>
                    <a:pt x="826" y="653"/>
                  </a:lnTo>
                  <a:lnTo>
                    <a:pt x="824" y="652"/>
                  </a:lnTo>
                  <a:lnTo>
                    <a:pt x="824" y="652"/>
                  </a:lnTo>
                  <a:lnTo>
                    <a:pt x="824" y="650"/>
                  </a:lnTo>
                  <a:lnTo>
                    <a:pt x="826" y="649"/>
                  </a:lnTo>
                  <a:lnTo>
                    <a:pt x="824" y="647"/>
                  </a:lnTo>
                  <a:lnTo>
                    <a:pt x="821" y="647"/>
                  </a:lnTo>
                  <a:lnTo>
                    <a:pt x="821" y="645"/>
                  </a:lnTo>
                  <a:lnTo>
                    <a:pt x="821" y="645"/>
                  </a:lnTo>
                  <a:lnTo>
                    <a:pt x="821" y="644"/>
                  </a:lnTo>
                  <a:lnTo>
                    <a:pt x="821" y="644"/>
                  </a:lnTo>
                  <a:lnTo>
                    <a:pt x="821" y="642"/>
                  </a:lnTo>
                  <a:lnTo>
                    <a:pt x="820" y="642"/>
                  </a:lnTo>
                  <a:lnTo>
                    <a:pt x="818" y="642"/>
                  </a:lnTo>
                  <a:lnTo>
                    <a:pt x="820" y="647"/>
                  </a:lnTo>
                  <a:lnTo>
                    <a:pt x="818" y="649"/>
                  </a:lnTo>
                  <a:lnTo>
                    <a:pt x="815" y="653"/>
                  </a:lnTo>
                  <a:lnTo>
                    <a:pt x="815" y="653"/>
                  </a:lnTo>
                  <a:lnTo>
                    <a:pt x="812" y="653"/>
                  </a:lnTo>
                  <a:lnTo>
                    <a:pt x="812" y="655"/>
                  </a:lnTo>
                  <a:lnTo>
                    <a:pt x="810" y="658"/>
                  </a:lnTo>
                  <a:lnTo>
                    <a:pt x="810" y="658"/>
                  </a:lnTo>
                  <a:lnTo>
                    <a:pt x="809" y="656"/>
                  </a:lnTo>
                  <a:lnTo>
                    <a:pt x="809" y="655"/>
                  </a:lnTo>
                  <a:lnTo>
                    <a:pt x="809" y="653"/>
                  </a:lnTo>
                  <a:lnTo>
                    <a:pt x="809" y="650"/>
                  </a:lnTo>
                  <a:lnTo>
                    <a:pt x="806" y="652"/>
                  </a:lnTo>
                  <a:lnTo>
                    <a:pt x="801" y="655"/>
                  </a:lnTo>
                  <a:lnTo>
                    <a:pt x="798" y="661"/>
                  </a:lnTo>
                  <a:lnTo>
                    <a:pt x="797" y="664"/>
                  </a:lnTo>
                  <a:lnTo>
                    <a:pt x="795" y="665"/>
                  </a:lnTo>
                  <a:lnTo>
                    <a:pt x="795" y="665"/>
                  </a:lnTo>
                  <a:lnTo>
                    <a:pt x="793" y="667"/>
                  </a:lnTo>
                  <a:lnTo>
                    <a:pt x="792" y="669"/>
                  </a:lnTo>
                  <a:lnTo>
                    <a:pt x="795" y="673"/>
                  </a:lnTo>
                  <a:lnTo>
                    <a:pt x="798" y="676"/>
                  </a:lnTo>
                  <a:lnTo>
                    <a:pt x="801" y="676"/>
                  </a:lnTo>
                  <a:lnTo>
                    <a:pt x="804" y="675"/>
                  </a:lnTo>
                  <a:lnTo>
                    <a:pt x="803" y="673"/>
                  </a:lnTo>
                  <a:lnTo>
                    <a:pt x="801" y="675"/>
                  </a:lnTo>
                  <a:lnTo>
                    <a:pt x="801" y="673"/>
                  </a:lnTo>
                  <a:lnTo>
                    <a:pt x="800" y="672"/>
                  </a:lnTo>
                  <a:lnTo>
                    <a:pt x="810" y="664"/>
                  </a:lnTo>
                  <a:lnTo>
                    <a:pt x="810" y="662"/>
                  </a:lnTo>
                  <a:lnTo>
                    <a:pt x="812" y="661"/>
                  </a:lnTo>
                  <a:lnTo>
                    <a:pt x="813" y="661"/>
                  </a:lnTo>
                  <a:lnTo>
                    <a:pt x="815" y="664"/>
                  </a:lnTo>
                  <a:lnTo>
                    <a:pt x="815" y="665"/>
                  </a:lnTo>
                  <a:lnTo>
                    <a:pt x="815" y="667"/>
                  </a:lnTo>
                  <a:lnTo>
                    <a:pt x="817" y="669"/>
                  </a:lnTo>
                  <a:lnTo>
                    <a:pt x="830" y="669"/>
                  </a:lnTo>
                  <a:lnTo>
                    <a:pt x="832" y="667"/>
                  </a:lnTo>
                  <a:lnTo>
                    <a:pt x="833" y="665"/>
                  </a:lnTo>
                  <a:lnTo>
                    <a:pt x="835" y="662"/>
                  </a:lnTo>
                  <a:lnTo>
                    <a:pt x="837" y="662"/>
                  </a:lnTo>
                  <a:lnTo>
                    <a:pt x="838" y="662"/>
                  </a:lnTo>
                  <a:lnTo>
                    <a:pt x="838" y="664"/>
                  </a:lnTo>
                  <a:lnTo>
                    <a:pt x="835" y="667"/>
                  </a:lnTo>
                  <a:lnTo>
                    <a:pt x="835" y="669"/>
                  </a:lnTo>
                  <a:lnTo>
                    <a:pt x="838" y="672"/>
                  </a:lnTo>
                  <a:lnTo>
                    <a:pt x="850" y="673"/>
                  </a:lnTo>
                  <a:lnTo>
                    <a:pt x="850" y="675"/>
                  </a:lnTo>
                  <a:lnTo>
                    <a:pt x="846" y="673"/>
                  </a:lnTo>
                  <a:lnTo>
                    <a:pt x="844" y="675"/>
                  </a:lnTo>
                  <a:lnTo>
                    <a:pt x="843" y="676"/>
                  </a:lnTo>
                  <a:lnTo>
                    <a:pt x="843" y="676"/>
                  </a:lnTo>
                  <a:lnTo>
                    <a:pt x="843" y="681"/>
                  </a:lnTo>
                  <a:lnTo>
                    <a:pt x="841" y="682"/>
                  </a:lnTo>
                  <a:lnTo>
                    <a:pt x="841" y="684"/>
                  </a:lnTo>
                  <a:lnTo>
                    <a:pt x="837" y="689"/>
                  </a:lnTo>
                  <a:lnTo>
                    <a:pt x="837" y="690"/>
                  </a:lnTo>
                  <a:lnTo>
                    <a:pt x="835" y="695"/>
                  </a:lnTo>
                  <a:lnTo>
                    <a:pt x="835" y="696"/>
                  </a:lnTo>
                  <a:lnTo>
                    <a:pt x="835" y="696"/>
                  </a:lnTo>
                  <a:lnTo>
                    <a:pt x="833" y="696"/>
                  </a:lnTo>
                  <a:lnTo>
                    <a:pt x="833" y="693"/>
                  </a:lnTo>
                  <a:lnTo>
                    <a:pt x="833" y="690"/>
                  </a:lnTo>
                  <a:lnTo>
                    <a:pt x="832" y="689"/>
                  </a:lnTo>
                  <a:lnTo>
                    <a:pt x="830" y="685"/>
                  </a:lnTo>
                  <a:lnTo>
                    <a:pt x="827" y="685"/>
                  </a:lnTo>
                  <a:lnTo>
                    <a:pt x="817" y="690"/>
                  </a:lnTo>
                  <a:lnTo>
                    <a:pt x="817" y="693"/>
                  </a:lnTo>
                  <a:lnTo>
                    <a:pt x="815" y="693"/>
                  </a:lnTo>
                  <a:lnTo>
                    <a:pt x="813" y="695"/>
                  </a:lnTo>
                  <a:lnTo>
                    <a:pt x="812" y="696"/>
                  </a:lnTo>
                  <a:lnTo>
                    <a:pt x="812" y="698"/>
                  </a:lnTo>
                  <a:lnTo>
                    <a:pt x="810" y="701"/>
                  </a:lnTo>
                  <a:lnTo>
                    <a:pt x="810" y="702"/>
                  </a:lnTo>
                  <a:lnTo>
                    <a:pt x="812" y="704"/>
                  </a:lnTo>
                  <a:lnTo>
                    <a:pt x="810" y="706"/>
                  </a:lnTo>
                  <a:lnTo>
                    <a:pt x="810" y="706"/>
                  </a:lnTo>
                  <a:lnTo>
                    <a:pt x="810" y="704"/>
                  </a:lnTo>
                  <a:lnTo>
                    <a:pt x="809" y="702"/>
                  </a:lnTo>
                  <a:lnTo>
                    <a:pt x="809" y="701"/>
                  </a:lnTo>
                  <a:lnTo>
                    <a:pt x="809" y="699"/>
                  </a:lnTo>
                  <a:lnTo>
                    <a:pt x="809" y="699"/>
                  </a:lnTo>
                  <a:lnTo>
                    <a:pt x="810" y="698"/>
                  </a:lnTo>
                  <a:lnTo>
                    <a:pt x="812" y="693"/>
                  </a:lnTo>
                  <a:lnTo>
                    <a:pt x="812" y="692"/>
                  </a:lnTo>
                  <a:lnTo>
                    <a:pt x="807" y="692"/>
                  </a:lnTo>
                  <a:lnTo>
                    <a:pt x="798" y="698"/>
                  </a:lnTo>
                  <a:lnTo>
                    <a:pt x="797" y="698"/>
                  </a:lnTo>
                  <a:lnTo>
                    <a:pt x="797" y="696"/>
                  </a:lnTo>
                  <a:lnTo>
                    <a:pt x="793" y="698"/>
                  </a:lnTo>
                  <a:lnTo>
                    <a:pt x="786" y="710"/>
                  </a:lnTo>
                  <a:lnTo>
                    <a:pt x="786" y="706"/>
                  </a:lnTo>
                  <a:lnTo>
                    <a:pt x="786" y="704"/>
                  </a:lnTo>
                  <a:lnTo>
                    <a:pt x="787" y="702"/>
                  </a:lnTo>
                  <a:lnTo>
                    <a:pt x="789" y="701"/>
                  </a:lnTo>
                  <a:lnTo>
                    <a:pt x="786" y="698"/>
                  </a:lnTo>
                  <a:lnTo>
                    <a:pt x="778" y="698"/>
                  </a:lnTo>
                  <a:lnTo>
                    <a:pt x="773" y="696"/>
                  </a:lnTo>
                  <a:lnTo>
                    <a:pt x="772" y="696"/>
                  </a:lnTo>
                  <a:lnTo>
                    <a:pt x="767" y="698"/>
                  </a:lnTo>
                  <a:lnTo>
                    <a:pt x="764" y="701"/>
                  </a:lnTo>
                  <a:lnTo>
                    <a:pt x="763" y="704"/>
                  </a:lnTo>
                  <a:lnTo>
                    <a:pt x="761" y="706"/>
                  </a:lnTo>
                  <a:lnTo>
                    <a:pt x="761" y="706"/>
                  </a:lnTo>
                  <a:lnTo>
                    <a:pt x="760" y="706"/>
                  </a:lnTo>
                  <a:lnTo>
                    <a:pt x="760" y="707"/>
                  </a:lnTo>
                  <a:lnTo>
                    <a:pt x="776" y="704"/>
                  </a:lnTo>
                  <a:lnTo>
                    <a:pt x="780" y="706"/>
                  </a:lnTo>
                  <a:lnTo>
                    <a:pt x="776" y="709"/>
                  </a:lnTo>
                  <a:lnTo>
                    <a:pt x="769" y="709"/>
                  </a:lnTo>
                  <a:lnTo>
                    <a:pt x="763" y="712"/>
                  </a:lnTo>
                  <a:lnTo>
                    <a:pt x="756" y="710"/>
                  </a:lnTo>
                  <a:lnTo>
                    <a:pt x="755" y="712"/>
                  </a:lnTo>
                  <a:lnTo>
                    <a:pt x="755" y="712"/>
                  </a:lnTo>
                  <a:lnTo>
                    <a:pt x="753" y="715"/>
                  </a:lnTo>
                  <a:lnTo>
                    <a:pt x="753" y="716"/>
                  </a:lnTo>
                  <a:lnTo>
                    <a:pt x="755" y="718"/>
                  </a:lnTo>
                  <a:lnTo>
                    <a:pt x="755" y="718"/>
                  </a:lnTo>
                  <a:lnTo>
                    <a:pt x="755" y="719"/>
                  </a:lnTo>
                  <a:lnTo>
                    <a:pt x="756" y="716"/>
                  </a:lnTo>
                  <a:lnTo>
                    <a:pt x="758" y="716"/>
                  </a:lnTo>
                  <a:lnTo>
                    <a:pt x="760" y="718"/>
                  </a:lnTo>
                  <a:lnTo>
                    <a:pt x="758" y="721"/>
                  </a:lnTo>
                  <a:lnTo>
                    <a:pt x="760" y="721"/>
                  </a:lnTo>
                  <a:lnTo>
                    <a:pt x="760" y="721"/>
                  </a:lnTo>
                  <a:lnTo>
                    <a:pt x="760" y="722"/>
                  </a:lnTo>
                  <a:lnTo>
                    <a:pt x="758" y="722"/>
                  </a:lnTo>
                  <a:lnTo>
                    <a:pt x="763" y="721"/>
                  </a:lnTo>
                  <a:lnTo>
                    <a:pt x="773" y="719"/>
                  </a:lnTo>
                  <a:lnTo>
                    <a:pt x="772" y="721"/>
                  </a:lnTo>
                  <a:lnTo>
                    <a:pt x="770" y="721"/>
                  </a:lnTo>
                  <a:lnTo>
                    <a:pt x="772" y="726"/>
                  </a:lnTo>
                  <a:lnTo>
                    <a:pt x="775" y="727"/>
                  </a:lnTo>
                  <a:lnTo>
                    <a:pt x="778" y="726"/>
                  </a:lnTo>
                  <a:lnTo>
                    <a:pt x="780" y="727"/>
                  </a:lnTo>
                  <a:lnTo>
                    <a:pt x="763" y="729"/>
                  </a:lnTo>
                  <a:lnTo>
                    <a:pt x="761" y="730"/>
                  </a:lnTo>
                  <a:lnTo>
                    <a:pt x="760" y="730"/>
                  </a:lnTo>
                  <a:lnTo>
                    <a:pt x="758" y="730"/>
                  </a:lnTo>
                  <a:lnTo>
                    <a:pt x="756" y="730"/>
                  </a:lnTo>
                  <a:lnTo>
                    <a:pt x="755" y="732"/>
                  </a:lnTo>
                  <a:lnTo>
                    <a:pt x="763" y="733"/>
                  </a:lnTo>
                  <a:lnTo>
                    <a:pt x="763" y="735"/>
                  </a:lnTo>
                  <a:lnTo>
                    <a:pt x="750" y="742"/>
                  </a:lnTo>
                  <a:lnTo>
                    <a:pt x="753" y="746"/>
                  </a:lnTo>
                  <a:lnTo>
                    <a:pt x="756" y="746"/>
                  </a:lnTo>
                  <a:lnTo>
                    <a:pt x="760" y="747"/>
                  </a:lnTo>
                  <a:lnTo>
                    <a:pt x="766" y="744"/>
                  </a:lnTo>
                  <a:lnTo>
                    <a:pt x="767" y="744"/>
                  </a:lnTo>
                  <a:lnTo>
                    <a:pt x="767" y="742"/>
                  </a:lnTo>
                  <a:lnTo>
                    <a:pt x="775" y="739"/>
                  </a:lnTo>
                  <a:lnTo>
                    <a:pt x="784" y="733"/>
                  </a:lnTo>
                  <a:lnTo>
                    <a:pt x="784" y="732"/>
                  </a:lnTo>
                  <a:lnTo>
                    <a:pt x="786" y="732"/>
                  </a:lnTo>
                  <a:lnTo>
                    <a:pt x="787" y="727"/>
                  </a:lnTo>
                  <a:lnTo>
                    <a:pt x="790" y="726"/>
                  </a:lnTo>
                  <a:lnTo>
                    <a:pt x="795" y="721"/>
                  </a:lnTo>
                  <a:lnTo>
                    <a:pt x="800" y="715"/>
                  </a:lnTo>
                  <a:lnTo>
                    <a:pt x="800" y="713"/>
                  </a:lnTo>
                  <a:lnTo>
                    <a:pt x="798" y="707"/>
                  </a:lnTo>
                  <a:lnTo>
                    <a:pt x="798" y="706"/>
                  </a:lnTo>
                  <a:lnTo>
                    <a:pt x="800" y="702"/>
                  </a:lnTo>
                  <a:lnTo>
                    <a:pt x="800" y="704"/>
                  </a:lnTo>
                  <a:lnTo>
                    <a:pt x="801" y="710"/>
                  </a:lnTo>
                  <a:lnTo>
                    <a:pt x="803" y="707"/>
                  </a:lnTo>
                  <a:lnTo>
                    <a:pt x="803" y="704"/>
                  </a:lnTo>
                  <a:lnTo>
                    <a:pt x="804" y="704"/>
                  </a:lnTo>
                  <a:lnTo>
                    <a:pt x="804" y="707"/>
                  </a:lnTo>
                  <a:lnTo>
                    <a:pt x="804" y="709"/>
                  </a:lnTo>
                  <a:lnTo>
                    <a:pt x="803" y="713"/>
                  </a:lnTo>
                  <a:lnTo>
                    <a:pt x="803" y="716"/>
                  </a:lnTo>
                  <a:lnTo>
                    <a:pt x="815" y="721"/>
                  </a:lnTo>
                  <a:lnTo>
                    <a:pt x="817" y="721"/>
                  </a:lnTo>
                  <a:lnTo>
                    <a:pt x="821" y="716"/>
                  </a:lnTo>
                  <a:lnTo>
                    <a:pt x="821" y="716"/>
                  </a:lnTo>
                  <a:lnTo>
                    <a:pt x="823" y="716"/>
                  </a:lnTo>
                  <a:lnTo>
                    <a:pt x="821" y="718"/>
                  </a:lnTo>
                  <a:lnTo>
                    <a:pt x="820" y="719"/>
                  </a:lnTo>
                  <a:lnTo>
                    <a:pt x="820" y="721"/>
                  </a:lnTo>
                  <a:lnTo>
                    <a:pt x="818" y="722"/>
                  </a:lnTo>
                  <a:lnTo>
                    <a:pt x="821" y="722"/>
                  </a:lnTo>
                  <a:lnTo>
                    <a:pt x="830" y="730"/>
                  </a:lnTo>
                  <a:lnTo>
                    <a:pt x="830" y="730"/>
                  </a:lnTo>
                  <a:lnTo>
                    <a:pt x="830" y="732"/>
                  </a:lnTo>
                  <a:lnTo>
                    <a:pt x="829" y="733"/>
                  </a:lnTo>
                  <a:lnTo>
                    <a:pt x="830" y="735"/>
                  </a:lnTo>
                  <a:lnTo>
                    <a:pt x="832" y="736"/>
                  </a:lnTo>
                  <a:lnTo>
                    <a:pt x="832" y="736"/>
                  </a:lnTo>
                  <a:lnTo>
                    <a:pt x="833" y="736"/>
                  </a:lnTo>
                  <a:lnTo>
                    <a:pt x="832" y="739"/>
                  </a:lnTo>
                  <a:lnTo>
                    <a:pt x="830" y="739"/>
                  </a:lnTo>
                  <a:lnTo>
                    <a:pt x="821" y="729"/>
                  </a:lnTo>
                  <a:lnTo>
                    <a:pt x="817" y="726"/>
                  </a:lnTo>
                  <a:lnTo>
                    <a:pt x="801" y="727"/>
                  </a:lnTo>
                  <a:lnTo>
                    <a:pt x="801" y="729"/>
                  </a:lnTo>
                  <a:lnTo>
                    <a:pt x="806" y="733"/>
                  </a:lnTo>
                  <a:lnTo>
                    <a:pt x="807" y="735"/>
                  </a:lnTo>
                  <a:lnTo>
                    <a:pt x="812" y="733"/>
                  </a:lnTo>
                  <a:lnTo>
                    <a:pt x="815" y="735"/>
                  </a:lnTo>
                  <a:lnTo>
                    <a:pt x="821" y="739"/>
                  </a:lnTo>
                  <a:lnTo>
                    <a:pt x="810" y="736"/>
                  </a:lnTo>
                  <a:lnTo>
                    <a:pt x="810" y="738"/>
                  </a:lnTo>
                  <a:lnTo>
                    <a:pt x="812" y="741"/>
                  </a:lnTo>
                  <a:lnTo>
                    <a:pt x="803" y="738"/>
                  </a:lnTo>
                  <a:lnTo>
                    <a:pt x="798" y="733"/>
                  </a:lnTo>
                  <a:lnTo>
                    <a:pt x="797" y="732"/>
                  </a:lnTo>
                  <a:lnTo>
                    <a:pt x="795" y="730"/>
                  </a:lnTo>
                  <a:lnTo>
                    <a:pt x="793" y="732"/>
                  </a:lnTo>
                  <a:lnTo>
                    <a:pt x="793" y="732"/>
                  </a:lnTo>
                  <a:lnTo>
                    <a:pt x="792" y="736"/>
                  </a:lnTo>
                  <a:lnTo>
                    <a:pt x="793" y="738"/>
                  </a:lnTo>
                  <a:lnTo>
                    <a:pt x="793" y="738"/>
                  </a:lnTo>
                  <a:lnTo>
                    <a:pt x="797" y="738"/>
                  </a:lnTo>
                  <a:lnTo>
                    <a:pt x="786" y="746"/>
                  </a:lnTo>
                  <a:lnTo>
                    <a:pt x="784" y="752"/>
                  </a:lnTo>
                  <a:lnTo>
                    <a:pt x="786" y="753"/>
                  </a:lnTo>
                  <a:lnTo>
                    <a:pt x="787" y="752"/>
                  </a:lnTo>
                  <a:lnTo>
                    <a:pt x="792" y="750"/>
                  </a:lnTo>
                  <a:lnTo>
                    <a:pt x="793" y="750"/>
                  </a:lnTo>
                  <a:lnTo>
                    <a:pt x="797" y="753"/>
                  </a:lnTo>
                  <a:lnTo>
                    <a:pt x="798" y="753"/>
                  </a:lnTo>
                  <a:lnTo>
                    <a:pt x="800" y="752"/>
                  </a:lnTo>
                  <a:lnTo>
                    <a:pt x="800" y="752"/>
                  </a:lnTo>
                  <a:lnTo>
                    <a:pt x="800" y="750"/>
                  </a:lnTo>
                  <a:lnTo>
                    <a:pt x="800" y="749"/>
                  </a:lnTo>
                  <a:lnTo>
                    <a:pt x="801" y="749"/>
                  </a:lnTo>
                  <a:lnTo>
                    <a:pt x="803" y="750"/>
                  </a:lnTo>
                  <a:lnTo>
                    <a:pt x="804" y="752"/>
                  </a:lnTo>
                  <a:lnTo>
                    <a:pt x="803" y="753"/>
                  </a:lnTo>
                  <a:lnTo>
                    <a:pt x="803" y="753"/>
                  </a:lnTo>
                  <a:lnTo>
                    <a:pt x="806" y="759"/>
                  </a:lnTo>
                  <a:lnTo>
                    <a:pt x="806" y="761"/>
                  </a:lnTo>
                  <a:lnTo>
                    <a:pt x="804" y="762"/>
                  </a:lnTo>
                  <a:lnTo>
                    <a:pt x="804" y="762"/>
                  </a:lnTo>
                  <a:lnTo>
                    <a:pt x="803" y="759"/>
                  </a:lnTo>
                  <a:lnTo>
                    <a:pt x="803" y="758"/>
                  </a:lnTo>
                  <a:lnTo>
                    <a:pt x="800" y="758"/>
                  </a:lnTo>
                  <a:lnTo>
                    <a:pt x="795" y="756"/>
                  </a:lnTo>
                  <a:lnTo>
                    <a:pt x="792" y="756"/>
                  </a:lnTo>
                  <a:lnTo>
                    <a:pt x="789" y="758"/>
                  </a:lnTo>
                  <a:lnTo>
                    <a:pt x="790" y="759"/>
                  </a:lnTo>
                  <a:lnTo>
                    <a:pt x="790" y="759"/>
                  </a:lnTo>
                  <a:lnTo>
                    <a:pt x="789" y="761"/>
                  </a:lnTo>
                  <a:lnTo>
                    <a:pt x="789" y="762"/>
                  </a:lnTo>
                  <a:lnTo>
                    <a:pt x="789" y="767"/>
                  </a:lnTo>
                  <a:lnTo>
                    <a:pt x="789" y="769"/>
                  </a:lnTo>
                  <a:lnTo>
                    <a:pt x="792" y="770"/>
                  </a:lnTo>
                  <a:lnTo>
                    <a:pt x="809" y="772"/>
                  </a:lnTo>
                  <a:lnTo>
                    <a:pt x="813" y="772"/>
                  </a:lnTo>
                  <a:lnTo>
                    <a:pt x="821" y="764"/>
                  </a:lnTo>
                  <a:lnTo>
                    <a:pt x="837" y="759"/>
                  </a:lnTo>
                  <a:lnTo>
                    <a:pt x="838" y="762"/>
                  </a:lnTo>
                  <a:lnTo>
                    <a:pt x="830" y="764"/>
                  </a:lnTo>
                  <a:lnTo>
                    <a:pt x="817" y="772"/>
                  </a:lnTo>
                  <a:lnTo>
                    <a:pt x="813" y="775"/>
                  </a:lnTo>
                  <a:lnTo>
                    <a:pt x="810" y="781"/>
                  </a:lnTo>
                  <a:lnTo>
                    <a:pt x="812" y="781"/>
                  </a:lnTo>
                  <a:lnTo>
                    <a:pt x="812" y="782"/>
                  </a:lnTo>
                  <a:lnTo>
                    <a:pt x="815" y="781"/>
                  </a:lnTo>
                  <a:lnTo>
                    <a:pt x="813" y="784"/>
                  </a:lnTo>
                  <a:lnTo>
                    <a:pt x="810" y="786"/>
                  </a:lnTo>
                  <a:lnTo>
                    <a:pt x="810" y="789"/>
                  </a:lnTo>
                  <a:lnTo>
                    <a:pt x="813" y="792"/>
                  </a:lnTo>
                  <a:lnTo>
                    <a:pt x="815" y="795"/>
                  </a:lnTo>
                  <a:lnTo>
                    <a:pt x="817" y="796"/>
                  </a:lnTo>
                  <a:lnTo>
                    <a:pt x="817" y="798"/>
                  </a:lnTo>
                  <a:lnTo>
                    <a:pt x="818" y="803"/>
                  </a:lnTo>
                  <a:lnTo>
                    <a:pt x="818" y="804"/>
                  </a:lnTo>
                  <a:lnTo>
                    <a:pt x="818" y="806"/>
                  </a:lnTo>
                  <a:lnTo>
                    <a:pt x="818" y="807"/>
                  </a:lnTo>
                  <a:lnTo>
                    <a:pt x="820" y="809"/>
                  </a:lnTo>
                  <a:lnTo>
                    <a:pt x="823" y="810"/>
                  </a:lnTo>
                  <a:lnTo>
                    <a:pt x="824" y="812"/>
                  </a:lnTo>
                  <a:lnTo>
                    <a:pt x="821" y="818"/>
                  </a:lnTo>
                  <a:lnTo>
                    <a:pt x="818" y="818"/>
                  </a:lnTo>
                  <a:lnTo>
                    <a:pt x="817" y="816"/>
                  </a:lnTo>
                  <a:lnTo>
                    <a:pt x="817" y="815"/>
                  </a:lnTo>
                  <a:lnTo>
                    <a:pt x="820" y="813"/>
                  </a:lnTo>
                  <a:lnTo>
                    <a:pt x="820" y="812"/>
                  </a:lnTo>
                  <a:lnTo>
                    <a:pt x="817" y="810"/>
                  </a:lnTo>
                  <a:lnTo>
                    <a:pt x="815" y="807"/>
                  </a:lnTo>
                  <a:lnTo>
                    <a:pt x="812" y="803"/>
                  </a:lnTo>
                  <a:lnTo>
                    <a:pt x="812" y="803"/>
                  </a:lnTo>
                  <a:lnTo>
                    <a:pt x="812" y="801"/>
                  </a:lnTo>
                  <a:lnTo>
                    <a:pt x="812" y="799"/>
                  </a:lnTo>
                  <a:lnTo>
                    <a:pt x="812" y="798"/>
                  </a:lnTo>
                  <a:lnTo>
                    <a:pt x="807" y="787"/>
                  </a:lnTo>
                  <a:lnTo>
                    <a:pt x="807" y="784"/>
                  </a:lnTo>
                  <a:lnTo>
                    <a:pt x="807" y="781"/>
                  </a:lnTo>
                  <a:lnTo>
                    <a:pt x="803" y="778"/>
                  </a:lnTo>
                  <a:lnTo>
                    <a:pt x="800" y="776"/>
                  </a:lnTo>
                  <a:lnTo>
                    <a:pt x="789" y="778"/>
                  </a:lnTo>
                  <a:lnTo>
                    <a:pt x="789" y="779"/>
                  </a:lnTo>
                  <a:lnTo>
                    <a:pt x="789" y="779"/>
                  </a:lnTo>
                  <a:lnTo>
                    <a:pt x="789" y="781"/>
                  </a:lnTo>
                  <a:lnTo>
                    <a:pt x="787" y="782"/>
                  </a:lnTo>
                  <a:lnTo>
                    <a:pt x="787" y="784"/>
                  </a:lnTo>
                  <a:lnTo>
                    <a:pt x="787" y="784"/>
                  </a:lnTo>
                  <a:lnTo>
                    <a:pt x="786" y="786"/>
                  </a:lnTo>
                  <a:lnTo>
                    <a:pt x="783" y="789"/>
                  </a:lnTo>
                  <a:lnTo>
                    <a:pt x="781" y="790"/>
                  </a:lnTo>
                  <a:lnTo>
                    <a:pt x="783" y="787"/>
                  </a:lnTo>
                  <a:lnTo>
                    <a:pt x="783" y="784"/>
                  </a:lnTo>
                  <a:lnTo>
                    <a:pt x="784" y="782"/>
                  </a:lnTo>
                  <a:lnTo>
                    <a:pt x="784" y="781"/>
                  </a:lnTo>
                  <a:lnTo>
                    <a:pt x="783" y="779"/>
                  </a:lnTo>
                  <a:lnTo>
                    <a:pt x="783" y="779"/>
                  </a:lnTo>
                  <a:lnTo>
                    <a:pt x="783" y="778"/>
                  </a:lnTo>
                  <a:lnTo>
                    <a:pt x="786" y="778"/>
                  </a:lnTo>
                  <a:lnTo>
                    <a:pt x="786" y="778"/>
                  </a:lnTo>
                  <a:lnTo>
                    <a:pt x="787" y="776"/>
                  </a:lnTo>
                  <a:lnTo>
                    <a:pt x="787" y="775"/>
                  </a:lnTo>
                  <a:lnTo>
                    <a:pt x="786" y="775"/>
                  </a:lnTo>
                  <a:lnTo>
                    <a:pt x="786" y="773"/>
                  </a:lnTo>
                  <a:lnTo>
                    <a:pt x="786" y="772"/>
                  </a:lnTo>
                  <a:lnTo>
                    <a:pt x="786" y="772"/>
                  </a:lnTo>
                  <a:lnTo>
                    <a:pt x="784" y="770"/>
                  </a:lnTo>
                  <a:lnTo>
                    <a:pt x="783" y="772"/>
                  </a:lnTo>
                  <a:lnTo>
                    <a:pt x="783" y="773"/>
                  </a:lnTo>
                  <a:lnTo>
                    <a:pt x="781" y="773"/>
                  </a:lnTo>
                  <a:lnTo>
                    <a:pt x="780" y="773"/>
                  </a:lnTo>
                  <a:lnTo>
                    <a:pt x="778" y="775"/>
                  </a:lnTo>
                  <a:lnTo>
                    <a:pt x="775" y="776"/>
                  </a:lnTo>
                  <a:lnTo>
                    <a:pt x="775" y="778"/>
                  </a:lnTo>
                  <a:lnTo>
                    <a:pt x="772" y="781"/>
                  </a:lnTo>
                  <a:lnTo>
                    <a:pt x="770" y="781"/>
                  </a:lnTo>
                  <a:lnTo>
                    <a:pt x="761" y="779"/>
                  </a:lnTo>
                  <a:lnTo>
                    <a:pt x="758" y="779"/>
                  </a:lnTo>
                  <a:lnTo>
                    <a:pt x="763" y="776"/>
                  </a:lnTo>
                  <a:lnTo>
                    <a:pt x="772" y="776"/>
                  </a:lnTo>
                  <a:lnTo>
                    <a:pt x="775" y="772"/>
                  </a:lnTo>
                  <a:lnTo>
                    <a:pt x="773" y="770"/>
                  </a:lnTo>
                  <a:lnTo>
                    <a:pt x="772" y="766"/>
                  </a:lnTo>
                  <a:lnTo>
                    <a:pt x="770" y="764"/>
                  </a:lnTo>
                  <a:lnTo>
                    <a:pt x="772" y="762"/>
                  </a:lnTo>
                  <a:lnTo>
                    <a:pt x="773" y="762"/>
                  </a:lnTo>
                  <a:lnTo>
                    <a:pt x="775" y="764"/>
                  </a:lnTo>
                  <a:lnTo>
                    <a:pt x="778" y="766"/>
                  </a:lnTo>
                  <a:lnTo>
                    <a:pt x="778" y="769"/>
                  </a:lnTo>
                  <a:lnTo>
                    <a:pt x="780" y="769"/>
                  </a:lnTo>
                  <a:lnTo>
                    <a:pt x="781" y="769"/>
                  </a:lnTo>
                  <a:lnTo>
                    <a:pt x="783" y="769"/>
                  </a:lnTo>
                  <a:lnTo>
                    <a:pt x="783" y="767"/>
                  </a:lnTo>
                  <a:lnTo>
                    <a:pt x="783" y="764"/>
                  </a:lnTo>
                  <a:lnTo>
                    <a:pt x="780" y="762"/>
                  </a:lnTo>
                  <a:lnTo>
                    <a:pt x="778" y="759"/>
                  </a:lnTo>
                  <a:lnTo>
                    <a:pt x="776" y="759"/>
                  </a:lnTo>
                  <a:lnTo>
                    <a:pt x="770" y="761"/>
                  </a:lnTo>
                  <a:lnTo>
                    <a:pt x="756" y="769"/>
                  </a:lnTo>
                  <a:lnTo>
                    <a:pt x="753" y="772"/>
                  </a:lnTo>
                  <a:lnTo>
                    <a:pt x="752" y="773"/>
                  </a:lnTo>
                  <a:lnTo>
                    <a:pt x="750" y="776"/>
                  </a:lnTo>
                  <a:lnTo>
                    <a:pt x="752" y="776"/>
                  </a:lnTo>
                  <a:lnTo>
                    <a:pt x="753" y="776"/>
                  </a:lnTo>
                  <a:lnTo>
                    <a:pt x="753" y="778"/>
                  </a:lnTo>
                  <a:lnTo>
                    <a:pt x="755" y="779"/>
                  </a:lnTo>
                  <a:lnTo>
                    <a:pt x="753" y="781"/>
                  </a:lnTo>
                  <a:lnTo>
                    <a:pt x="755" y="781"/>
                  </a:lnTo>
                  <a:lnTo>
                    <a:pt x="758" y="781"/>
                  </a:lnTo>
                  <a:lnTo>
                    <a:pt x="760" y="781"/>
                  </a:lnTo>
                  <a:lnTo>
                    <a:pt x="758" y="784"/>
                  </a:lnTo>
                  <a:lnTo>
                    <a:pt x="758" y="784"/>
                  </a:lnTo>
                  <a:lnTo>
                    <a:pt x="767" y="786"/>
                  </a:lnTo>
                  <a:lnTo>
                    <a:pt x="775" y="784"/>
                  </a:lnTo>
                  <a:lnTo>
                    <a:pt x="770" y="789"/>
                  </a:lnTo>
                  <a:lnTo>
                    <a:pt x="767" y="790"/>
                  </a:lnTo>
                  <a:lnTo>
                    <a:pt x="764" y="792"/>
                  </a:lnTo>
                  <a:lnTo>
                    <a:pt x="763" y="793"/>
                  </a:lnTo>
                  <a:lnTo>
                    <a:pt x="761" y="796"/>
                  </a:lnTo>
                  <a:lnTo>
                    <a:pt x="758" y="798"/>
                  </a:lnTo>
                  <a:lnTo>
                    <a:pt x="756" y="796"/>
                  </a:lnTo>
                  <a:lnTo>
                    <a:pt x="756" y="793"/>
                  </a:lnTo>
                  <a:lnTo>
                    <a:pt x="758" y="793"/>
                  </a:lnTo>
                  <a:lnTo>
                    <a:pt x="758" y="792"/>
                  </a:lnTo>
                  <a:lnTo>
                    <a:pt x="756" y="789"/>
                  </a:lnTo>
                  <a:lnTo>
                    <a:pt x="755" y="789"/>
                  </a:lnTo>
                  <a:lnTo>
                    <a:pt x="752" y="790"/>
                  </a:lnTo>
                  <a:lnTo>
                    <a:pt x="746" y="789"/>
                  </a:lnTo>
                  <a:lnTo>
                    <a:pt x="743" y="790"/>
                  </a:lnTo>
                  <a:lnTo>
                    <a:pt x="743" y="792"/>
                  </a:lnTo>
                  <a:lnTo>
                    <a:pt x="741" y="793"/>
                  </a:lnTo>
                  <a:lnTo>
                    <a:pt x="741" y="793"/>
                  </a:lnTo>
                  <a:lnTo>
                    <a:pt x="740" y="793"/>
                  </a:lnTo>
                  <a:lnTo>
                    <a:pt x="740" y="795"/>
                  </a:lnTo>
                  <a:lnTo>
                    <a:pt x="743" y="795"/>
                  </a:lnTo>
                  <a:lnTo>
                    <a:pt x="743" y="796"/>
                  </a:lnTo>
                  <a:lnTo>
                    <a:pt x="741" y="798"/>
                  </a:lnTo>
                  <a:lnTo>
                    <a:pt x="733" y="809"/>
                  </a:lnTo>
                  <a:lnTo>
                    <a:pt x="730" y="813"/>
                  </a:lnTo>
                  <a:lnTo>
                    <a:pt x="729" y="816"/>
                  </a:lnTo>
                  <a:lnTo>
                    <a:pt x="727" y="816"/>
                  </a:lnTo>
                  <a:lnTo>
                    <a:pt x="727" y="819"/>
                  </a:lnTo>
                  <a:lnTo>
                    <a:pt x="726" y="821"/>
                  </a:lnTo>
                  <a:lnTo>
                    <a:pt x="721" y="824"/>
                  </a:lnTo>
                  <a:lnTo>
                    <a:pt x="723" y="826"/>
                  </a:lnTo>
                  <a:lnTo>
                    <a:pt x="724" y="824"/>
                  </a:lnTo>
                  <a:lnTo>
                    <a:pt x="726" y="824"/>
                  </a:lnTo>
                  <a:lnTo>
                    <a:pt x="727" y="823"/>
                  </a:lnTo>
                  <a:lnTo>
                    <a:pt x="740" y="823"/>
                  </a:lnTo>
                  <a:lnTo>
                    <a:pt x="743" y="819"/>
                  </a:lnTo>
                  <a:lnTo>
                    <a:pt x="746" y="818"/>
                  </a:lnTo>
                  <a:lnTo>
                    <a:pt x="747" y="816"/>
                  </a:lnTo>
                  <a:lnTo>
                    <a:pt x="749" y="818"/>
                  </a:lnTo>
                  <a:lnTo>
                    <a:pt x="749" y="819"/>
                  </a:lnTo>
                  <a:lnTo>
                    <a:pt x="749" y="823"/>
                  </a:lnTo>
                  <a:lnTo>
                    <a:pt x="747" y="826"/>
                  </a:lnTo>
                  <a:lnTo>
                    <a:pt x="743" y="829"/>
                  </a:lnTo>
                  <a:lnTo>
                    <a:pt x="747" y="829"/>
                  </a:lnTo>
                  <a:lnTo>
                    <a:pt x="758" y="824"/>
                  </a:lnTo>
                  <a:lnTo>
                    <a:pt x="760" y="821"/>
                  </a:lnTo>
                  <a:lnTo>
                    <a:pt x="758" y="821"/>
                  </a:lnTo>
                  <a:lnTo>
                    <a:pt x="755" y="819"/>
                  </a:lnTo>
                  <a:lnTo>
                    <a:pt x="755" y="819"/>
                  </a:lnTo>
                  <a:lnTo>
                    <a:pt x="764" y="818"/>
                  </a:lnTo>
                  <a:lnTo>
                    <a:pt x="770" y="819"/>
                  </a:lnTo>
                  <a:lnTo>
                    <a:pt x="770" y="818"/>
                  </a:lnTo>
                  <a:lnTo>
                    <a:pt x="772" y="818"/>
                  </a:lnTo>
                  <a:lnTo>
                    <a:pt x="772" y="816"/>
                  </a:lnTo>
                  <a:lnTo>
                    <a:pt x="772" y="815"/>
                  </a:lnTo>
                  <a:lnTo>
                    <a:pt x="772" y="815"/>
                  </a:lnTo>
                  <a:lnTo>
                    <a:pt x="773" y="813"/>
                  </a:lnTo>
                  <a:lnTo>
                    <a:pt x="775" y="813"/>
                  </a:lnTo>
                  <a:lnTo>
                    <a:pt x="781" y="810"/>
                  </a:lnTo>
                  <a:lnTo>
                    <a:pt x="784" y="810"/>
                  </a:lnTo>
                  <a:lnTo>
                    <a:pt x="783" y="818"/>
                  </a:lnTo>
                  <a:lnTo>
                    <a:pt x="781" y="819"/>
                  </a:lnTo>
                  <a:lnTo>
                    <a:pt x="780" y="819"/>
                  </a:lnTo>
                  <a:lnTo>
                    <a:pt x="778" y="819"/>
                  </a:lnTo>
                  <a:lnTo>
                    <a:pt x="776" y="821"/>
                  </a:lnTo>
                  <a:lnTo>
                    <a:pt x="776" y="823"/>
                  </a:lnTo>
                  <a:lnTo>
                    <a:pt x="787" y="826"/>
                  </a:lnTo>
                  <a:lnTo>
                    <a:pt x="789" y="826"/>
                  </a:lnTo>
                  <a:lnTo>
                    <a:pt x="790" y="824"/>
                  </a:lnTo>
                  <a:lnTo>
                    <a:pt x="792" y="824"/>
                  </a:lnTo>
                  <a:lnTo>
                    <a:pt x="792" y="823"/>
                  </a:lnTo>
                  <a:lnTo>
                    <a:pt x="797" y="824"/>
                  </a:lnTo>
                  <a:lnTo>
                    <a:pt x="797" y="827"/>
                  </a:lnTo>
                  <a:lnTo>
                    <a:pt x="795" y="827"/>
                  </a:lnTo>
                  <a:lnTo>
                    <a:pt x="792" y="829"/>
                  </a:lnTo>
                  <a:lnTo>
                    <a:pt x="790" y="829"/>
                  </a:lnTo>
                  <a:lnTo>
                    <a:pt x="793" y="832"/>
                  </a:lnTo>
                  <a:lnTo>
                    <a:pt x="795" y="830"/>
                  </a:lnTo>
                  <a:lnTo>
                    <a:pt x="798" y="827"/>
                  </a:lnTo>
                  <a:lnTo>
                    <a:pt x="800" y="826"/>
                  </a:lnTo>
                  <a:lnTo>
                    <a:pt x="801" y="826"/>
                  </a:lnTo>
                  <a:lnTo>
                    <a:pt x="812" y="829"/>
                  </a:lnTo>
                  <a:lnTo>
                    <a:pt x="817" y="832"/>
                  </a:lnTo>
                  <a:lnTo>
                    <a:pt x="824" y="829"/>
                  </a:lnTo>
                  <a:lnTo>
                    <a:pt x="823" y="830"/>
                  </a:lnTo>
                  <a:lnTo>
                    <a:pt x="824" y="833"/>
                  </a:lnTo>
                  <a:lnTo>
                    <a:pt x="826" y="833"/>
                  </a:lnTo>
                  <a:lnTo>
                    <a:pt x="826" y="835"/>
                  </a:lnTo>
                  <a:lnTo>
                    <a:pt x="826" y="838"/>
                  </a:lnTo>
                  <a:lnTo>
                    <a:pt x="824" y="838"/>
                  </a:lnTo>
                  <a:lnTo>
                    <a:pt x="806" y="830"/>
                  </a:lnTo>
                  <a:lnTo>
                    <a:pt x="803" y="830"/>
                  </a:lnTo>
                  <a:lnTo>
                    <a:pt x="800" y="832"/>
                  </a:lnTo>
                  <a:lnTo>
                    <a:pt x="801" y="835"/>
                  </a:lnTo>
                  <a:lnTo>
                    <a:pt x="806" y="838"/>
                  </a:lnTo>
                  <a:lnTo>
                    <a:pt x="807" y="841"/>
                  </a:lnTo>
                  <a:lnTo>
                    <a:pt x="807" y="841"/>
                  </a:lnTo>
                  <a:lnTo>
                    <a:pt x="806" y="843"/>
                  </a:lnTo>
                  <a:lnTo>
                    <a:pt x="804" y="847"/>
                  </a:lnTo>
                  <a:lnTo>
                    <a:pt x="804" y="850"/>
                  </a:lnTo>
                  <a:lnTo>
                    <a:pt x="804" y="852"/>
                  </a:lnTo>
                  <a:lnTo>
                    <a:pt x="806" y="853"/>
                  </a:lnTo>
                  <a:lnTo>
                    <a:pt x="807" y="855"/>
                  </a:lnTo>
                  <a:lnTo>
                    <a:pt x="809" y="856"/>
                  </a:lnTo>
                  <a:lnTo>
                    <a:pt x="806" y="856"/>
                  </a:lnTo>
                  <a:lnTo>
                    <a:pt x="804" y="856"/>
                  </a:lnTo>
                  <a:lnTo>
                    <a:pt x="801" y="855"/>
                  </a:lnTo>
                  <a:lnTo>
                    <a:pt x="800" y="852"/>
                  </a:lnTo>
                  <a:lnTo>
                    <a:pt x="801" y="847"/>
                  </a:lnTo>
                  <a:lnTo>
                    <a:pt x="801" y="843"/>
                  </a:lnTo>
                  <a:lnTo>
                    <a:pt x="800" y="841"/>
                  </a:lnTo>
                  <a:lnTo>
                    <a:pt x="798" y="838"/>
                  </a:lnTo>
                  <a:lnTo>
                    <a:pt x="793" y="838"/>
                  </a:lnTo>
                  <a:lnTo>
                    <a:pt x="792" y="838"/>
                  </a:lnTo>
                  <a:lnTo>
                    <a:pt x="789" y="835"/>
                  </a:lnTo>
                  <a:lnTo>
                    <a:pt x="787" y="833"/>
                  </a:lnTo>
                  <a:lnTo>
                    <a:pt x="783" y="833"/>
                  </a:lnTo>
                  <a:lnTo>
                    <a:pt x="781" y="833"/>
                  </a:lnTo>
                  <a:lnTo>
                    <a:pt x="778" y="830"/>
                  </a:lnTo>
                  <a:lnTo>
                    <a:pt x="776" y="830"/>
                  </a:lnTo>
                  <a:lnTo>
                    <a:pt x="773" y="832"/>
                  </a:lnTo>
                  <a:lnTo>
                    <a:pt x="772" y="833"/>
                  </a:lnTo>
                  <a:lnTo>
                    <a:pt x="767" y="839"/>
                  </a:lnTo>
                  <a:lnTo>
                    <a:pt x="766" y="841"/>
                  </a:lnTo>
                  <a:lnTo>
                    <a:pt x="767" y="843"/>
                  </a:lnTo>
                  <a:lnTo>
                    <a:pt x="770" y="846"/>
                  </a:lnTo>
                  <a:lnTo>
                    <a:pt x="772" y="849"/>
                  </a:lnTo>
                  <a:lnTo>
                    <a:pt x="772" y="850"/>
                  </a:lnTo>
                  <a:lnTo>
                    <a:pt x="770" y="852"/>
                  </a:lnTo>
                  <a:lnTo>
                    <a:pt x="769" y="850"/>
                  </a:lnTo>
                  <a:lnTo>
                    <a:pt x="767" y="847"/>
                  </a:lnTo>
                  <a:lnTo>
                    <a:pt x="764" y="843"/>
                  </a:lnTo>
                  <a:lnTo>
                    <a:pt x="763" y="841"/>
                  </a:lnTo>
                  <a:lnTo>
                    <a:pt x="764" y="838"/>
                  </a:lnTo>
                  <a:lnTo>
                    <a:pt x="766" y="838"/>
                  </a:lnTo>
                  <a:lnTo>
                    <a:pt x="766" y="836"/>
                  </a:lnTo>
                  <a:lnTo>
                    <a:pt x="766" y="832"/>
                  </a:lnTo>
                  <a:lnTo>
                    <a:pt x="767" y="832"/>
                  </a:lnTo>
                  <a:lnTo>
                    <a:pt x="770" y="830"/>
                  </a:lnTo>
                  <a:lnTo>
                    <a:pt x="770" y="829"/>
                  </a:lnTo>
                  <a:lnTo>
                    <a:pt x="763" y="830"/>
                  </a:lnTo>
                  <a:lnTo>
                    <a:pt x="755" y="829"/>
                  </a:lnTo>
                  <a:lnTo>
                    <a:pt x="753" y="830"/>
                  </a:lnTo>
                  <a:lnTo>
                    <a:pt x="752" y="832"/>
                  </a:lnTo>
                  <a:lnTo>
                    <a:pt x="749" y="833"/>
                  </a:lnTo>
                  <a:lnTo>
                    <a:pt x="747" y="835"/>
                  </a:lnTo>
                  <a:lnTo>
                    <a:pt x="746" y="835"/>
                  </a:lnTo>
                  <a:lnTo>
                    <a:pt x="744" y="833"/>
                  </a:lnTo>
                  <a:lnTo>
                    <a:pt x="743" y="832"/>
                  </a:lnTo>
                  <a:lnTo>
                    <a:pt x="740" y="832"/>
                  </a:lnTo>
                  <a:lnTo>
                    <a:pt x="736" y="833"/>
                  </a:lnTo>
                  <a:lnTo>
                    <a:pt x="735" y="836"/>
                  </a:lnTo>
                  <a:lnTo>
                    <a:pt x="746" y="836"/>
                  </a:lnTo>
                  <a:lnTo>
                    <a:pt x="750" y="839"/>
                  </a:lnTo>
                  <a:lnTo>
                    <a:pt x="752" y="841"/>
                  </a:lnTo>
                  <a:lnTo>
                    <a:pt x="752" y="843"/>
                  </a:lnTo>
                  <a:lnTo>
                    <a:pt x="753" y="844"/>
                  </a:lnTo>
                  <a:lnTo>
                    <a:pt x="753" y="847"/>
                  </a:lnTo>
                  <a:lnTo>
                    <a:pt x="752" y="847"/>
                  </a:lnTo>
                  <a:lnTo>
                    <a:pt x="752" y="847"/>
                  </a:lnTo>
                  <a:lnTo>
                    <a:pt x="750" y="841"/>
                  </a:lnTo>
                  <a:lnTo>
                    <a:pt x="747" y="839"/>
                  </a:lnTo>
                  <a:lnTo>
                    <a:pt x="732" y="841"/>
                  </a:lnTo>
                  <a:lnTo>
                    <a:pt x="732" y="843"/>
                  </a:lnTo>
                  <a:lnTo>
                    <a:pt x="732" y="843"/>
                  </a:lnTo>
                  <a:lnTo>
                    <a:pt x="732" y="843"/>
                  </a:lnTo>
                  <a:lnTo>
                    <a:pt x="732" y="844"/>
                  </a:lnTo>
                  <a:lnTo>
                    <a:pt x="732" y="846"/>
                  </a:lnTo>
                  <a:lnTo>
                    <a:pt x="730" y="849"/>
                  </a:lnTo>
                  <a:lnTo>
                    <a:pt x="729" y="849"/>
                  </a:lnTo>
                  <a:lnTo>
                    <a:pt x="727" y="847"/>
                  </a:lnTo>
                  <a:lnTo>
                    <a:pt x="727" y="846"/>
                  </a:lnTo>
                  <a:lnTo>
                    <a:pt x="729" y="843"/>
                  </a:lnTo>
                  <a:lnTo>
                    <a:pt x="730" y="839"/>
                  </a:lnTo>
                  <a:lnTo>
                    <a:pt x="730" y="838"/>
                  </a:lnTo>
                  <a:lnTo>
                    <a:pt x="724" y="839"/>
                  </a:lnTo>
                  <a:lnTo>
                    <a:pt x="723" y="841"/>
                  </a:lnTo>
                  <a:lnTo>
                    <a:pt x="721" y="843"/>
                  </a:lnTo>
                  <a:lnTo>
                    <a:pt x="721" y="844"/>
                  </a:lnTo>
                  <a:lnTo>
                    <a:pt x="723" y="847"/>
                  </a:lnTo>
                  <a:lnTo>
                    <a:pt x="721" y="849"/>
                  </a:lnTo>
                  <a:lnTo>
                    <a:pt x="719" y="852"/>
                  </a:lnTo>
                  <a:lnTo>
                    <a:pt x="718" y="853"/>
                  </a:lnTo>
                  <a:lnTo>
                    <a:pt x="716" y="855"/>
                  </a:lnTo>
                  <a:lnTo>
                    <a:pt x="718" y="856"/>
                  </a:lnTo>
                  <a:lnTo>
                    <a:pt x="726" y="855"/>
                  </a:lnTo>
                  <a:lnTo>
                    <a:pt x="733" y="858"/>
                  </a:lnTo>
                  <a:lnTo>
                    <a:pt x="738" y="858"/>
                  </a:lnTo>
                  <a:lnTo>
                    <a:pt x="740" y="859"/>
                  </a:lnTo>
                  <a:lnTo>
                    <a:pt x="741" y="863"/>
                  </a:lnTo>
                  <a:lnTo>
                    <a:pt x="741" y="866"/>
                  </a:lnTo>
                  <a:lnTo>
                    <a:pt x="740" y="867"/>
                  </a:lnTo>
                  <a:lnTo>
                    <a:pt x="738" y="867"/>
                  </a:lnTo>
                  <a:lnTo>
                    <a:pt x="738" y="864"/>
                  </a:lnTo>
                  <a:lnTo>
                    <a:pt x="738" y="861"/>
                  </a:lnTo>
                  <a:lnTo>
                    <a:pt x="736" y="861"/>
                  </a:lnTo>
                  <a:lnTo>
                    <a:pt x="733" y="863"/>
                  </a:lnTo>
                  <a:lnTo>
                    <a:pt x="732" y="861"/>
                  </a:lnTo>
                  <a:lnTo>
                    <a:pt x="729" y="859"/>
                  </a:lnTo>
                  <a:lnTo>
                    <a:pt x="729" y="858"/>
                  </a:lnTo>
                  <a:lnTo>
                    <a:pt x="716" y="859"/>
                  </a:lnTo>
                  <a:lnTo>
                    <a:pt x="715" y="861"/>
                  </a:lnTo>
                  <a:lnTo>
                    <a:pt x="716" y="863"/>
                  </a:lnTo>
                  <a:lnTo>
                    <a:pt x="716" y="866"/>
                  </a:lnTo>
                  <a:lnTo>
                    <a:pt x="716" y="870"/>
                  </a:lnTo>
                  <a:lnTo>
                    <a:pt x="713" y="872"/>
                  </a:lnTo>
                  <a:lnTo>
                    <a:pt x="713" y="872"/>
                  </a:lnTo>
                  <a:lnTo>
                    <a:pt x="713" y="873"/>
                  </a:lnTo>
                  <a:lnTo>
                    <a:pt x="713" y="873"/>
                  </a:lnTo>
                  <a:lnTo>
                    <a:pt x="713" y="873"/>
                  </a:lnTo>
                  <a:lnTo>
                    <a:pt x="712" y="875"/>
                  </a:lnTo>
                  <a:lnTo>
                    <a:pt x="712" y="875"/>
                  </a:lnTo>
                  <a:lnTo>
                    <a:pt x="710" y="875"/>
                  </a:lnTo>
                  <a:lnTo>
                    <a:pt x="709" y="875"/>
                  </a:lnTo>
                  <a:lnTo>
                    <a:pt x="709" y="876"/>
                  </a:lnTo>
                  <a:lnTo>
                    <a:pt x="706" y="872"/>
                  </a:lnTo>
                  <a:lnTo>
                    <a:pt x="704" y="870"/>
                  </a:lnTo>
                  <a:lnTo>
                    <a:pt x="703" y="864"/>
                  </a:lnTo>
                  <a:lnTo>
                    <a:pt x="703" y="863"/>
                  </a:lnTo>
                  <a:lnTo>
                    <a:pt x="703" y="863"/>
                  </a:lnTo>
                  <a:lnTo>
                    <a:pt x="703" y="859"/>
                  </a:lnTo>
                  <a:lnTo>
                    <a:pt x="701" y="859"/>
                  </a:lnTo>
                  <a:lnTo>
                    <a:pt x="699" y="859"/>
                  </a:lnTo>
                  <a:lnTo>
                    <a:pt x="699" y="861"/>
                  </a:lnTo>
                  <a:lnTo>
                    <a:pt x="698" y="864"/>
                  </a:lnTo>
                  <a:lnTo>
                    <a:pt x="698" y="866"/>
                  </a:lnTo>
                  <a:lnTo>
                    <a:pt x="699" y="869"/>
                  </a:lnTo>
                  <a:lnTo>
                    <a:pt x="699" y="872"/>
                  </a:lnTo>
                  <a:lnTo>
                    <a:pt x="699" y="873"/>
                  </a:lnTo>
                  <a:lnTo>
                    <a:pt x="699" y="876"/>
                  </a:lnTo>
                  <a:lnTo>
                    <a:pt x="698" y="876"/>
                  </a:lnTo>
                  <a:lnTo>
                    <a:pt x="696" y="876"/>
                  </a:lnTo>
                  <a:lnTo>
                    <a:pt x="696" y="876"/>
                  </a:lnTo>
                  <a:lnTo>
                    <a:pt x="696" y="878"/>
                  </a:lnTo>
                  <a:lnTo>
                    <a:pt x="695" y="878"/>
                  </a:lnTo>
                  <a:lnTo>
                    <a:pt x="695" y="880"/>
                  </a:lnTo>
                  <a:lnTo>
                    <a:pt x="692" y="883"/>
                  </a:lnTo>
                  <a:lnTo>
                    <a:pt x="693" y="884"/>
                  </a:lnTo>
                  <a:lnTo>
                    <a:pt x="693" y="884"/>
                  </a:lnTo>
                  <a:lnTo>
                    <a:pt x="692" y="886"/>
                  </a:lnTo>
                  <a:lnTo>
                    <a:pt x="690" y="884"/>
                  </a:lnTo>
                  <a:lnTo>
                    <a:pt x="689" y="880"/>
                  </a:lnTo>
                  <a:lnTo>
                    <a:pt x="690" y="878"/>
                  </a:lnTo>
                  <a:lnTo>
                    <a:pt x="692" y="876"/>
                  </a:lnTo>
                  <a:lnTo>
                    <a:pt x="693" y="875"/>
                  </a:lnTo>
                  <a:lnTo>
                    <a:pt x="695" y="872"/>
                  </a:lnTo>
                  <a:lnTo>
                    <a:pt x="692" y="872"/>
                  </a:lnTo>
                  <a:lnTo>
                    <a:pt x="690" y="872"/>
                  </a:lnTo>
                  <a:lnTo>
                    <a:pt x="690" y="872"/>
                  </a:lnTo>
                  <a:lnTo>
                    <a:pt x="689" y="872"/>
                  </a:lnTo>
                  <a:lnTo>
                    <a:pt x="689" y="873"/>
                  </a:lnTo>
                  <a:lnTo>
                    <a:pt x="687" y="876"/>
                  </a:lnTo>
                  <a:lnTo>
                    <a:pt x="687" y="876"/>
                  </a:lnTo>
                  <a:lnTo>
                    <a:pt x="686" y="876"/>
                  </a:lnTo>
                  <a:lnTo>
                    <a:pt x="679" y="876"/>
                  </a:lnTo>
                  <a:lnTo>
                    <a:pt x="679" y="878"/>
                  </a:lnTo>
                  <a:lnTo>
                    <a:pt x="679" y="880"/>
                  </a:lnTo>
                  <a:lnTo>
                    <a:pt x="681" y="881"/>
                  </a:lnTo>
                  <a:lnTo>
                    <a:pt x="678" y="883"/>
                  </a:lnTo>
                  <a:lnTo>
                    <a:pt x="666" y="883"/>
                  </a:lnTo>
                  <a:lnTo>
                    <a:pt x="664" y="883"/>
                  </a:lnTo>
                  <a:lnTo>
                    <a:pt x="663" y="886"/>
                  </a:lnTo>
                  <a:lnTo>
                    <a:pt x="661" y="889"/>
                  </a:lnTo>
                  <a:lnTo>
                    <a:pt x="663" y="889"/>
                  </a:lnTo>
                  <a:lnTo>
                    <a:pt x="667" y="889"/>
                  </a:lnTo>
                  <a:lnTo>
                    <a:pt x="669" y="889"/>
                  </a:lnTo>
                  <a:lnTo>
                    <a:pt x="670" y="890"/>
                  </a:lnTo>
                  <a:lnTo>
                    <a:pt x="670" y="893"/>
                  </a:lnTo>
                  <a:lnTo>
                    <a:pt x="670" y="895"/>
                  </a:lnTo>
                  <a:lnTo>
                    <a:pt x="672" y="896"/>
                  </a:lnTo>
                  <a:lnTo>
                    <a:pt x="673" y="896"/>
                  </a:lnTo>
                  <a:lnTo>
                    <a:pt x="675" y="898"/>
                  </a:lnTo>
                  <a:lnTo>
                    <a:pt x="675" y="898"/>
                  </a:lnTo>
                  <a:lnTo>
                    <a:pt x="673" y="898"/>
                  </a:lnTo>
                  <a:lnTo>
                    <a:pt x="673" y="898"/>
                  </a:lnTo>
                  <a:lnTo>
                    <a:pt x="673" y="901"/>
                  </a:lnTo>
                  <a:lnTo>
                    <a:pt x="675" y="903"/>
                  </a:lnTo>
                  <a:lnTo>
                    <a:pt x="678" y="901"/>
                  </a:lnTo>
                  <a:lnTo>
                    <a:pt x="679" y="903"/>
                  </a:lnTo>
                  <a:lnTo>
                    <a:pt x="681" y="906"/>
                  </a:lnTo>
                  <a:lnTo>
                    <a:pt x="683" y="906"/>
                  </a:lnTo>
                  <a:lnTo>
                    <a:pt x="693" y="909"/>
                  </a:lnTo>
                  <a:lnTo>
                    <a:pt x="696" y="910"/>
                  </a:lnTo>
                  <a:lnTo>
                    <a:pt x="679" y="910"/>
                  </a:lnTo>
                  <a:lnTo>
                    <a:pt x="673" y="907"/>
                  </a:lnTo>
                  <a:lnTo>
                    <a:pt x="669" y="906"/>
                  </a:lnTo>
                  <a:lnTo>
                    <a:pt x="663" y="907"/>
                  </a:lnTo>
                  <a:lnTo>
                    <a:pt x="661" y="912"/>
                  </a:lnTo>
                  <a:lnTo>
                    <a:pt x="663" y="913"/>
                  </a:lnTo>
                  <a:lnTo>
                    <a:pt x="664" y="913"/>
                  </a:lnTo>
                  <a:lnTo>
                    <a:pt x="664" y="912"/>
                  </a:lnTo>
                  <a:lnTo>
                    <a:pt x="676" y="913"/>
                  </a:lnTo>
                  <a:lnTo>
                    <a:pt x="678" y="915"/>
                  </a:lnTo>
                  <a:lnTo>
                    <a:pt x="676" y="918"/>
                  </a:lnTo>
                  <a:lnTo>
                    <a:pt x="666" y="915"/>
                  </a:lnTo>
                  <a:lnTo>
                    <a:pt x="664" y="916"/>
                  </a:lnTo>
                  <a:lnTo>
                    <a:pt x="663" y="920"/>
                  </a:lnTo>
                  <a:lnTo>
                    <a:pt x="663" y="923"/>
                  </a:lnTo>
                  <a:lnTo>
                    <a:pt x="666" y="924"/>
                  </a:lnTo>
                  <a:lnTo>
                    <a:pt x="669" y="924"/>
                  </a:lnTo>
                  <a:lnTo>
                    <a:pt x="673" y="921"/>
                  </a:lnTo>
                  <a:lnTo>
                    <a:pt x="675" y="921"/>
                  </a:lnTo>
                  <a:lnTo>
                    <a:pt x="689" y="921"/>
                  </a:lnTo>
                  <a:lnTo>
                    <a:pt x="686" y="924"/>
                  </a:lnTo>
                  <a:lnTo>
                    <a:pt x="683" y="924"/>
                  </a:lnTo>
                  <a:lnTo>
                    <a:pt x="675" y="924"/>
                  </a:lnTo>
                  <a:lnTo>
                    <a:pt x="675" y="926"/>
                  </a:lnTo>
                  <a:lnTo>
                    <a:pt x="676" y="927"/>
                  </a:lnTo>
                  <a:lnTo>
                    <a:pt x="673" y="929"/>
                  </a:lnTo>
                  <a:lnTo>
                    <a:pt x="663" y="929"/>
                  </a:lnTo>
                  <a:lnTo>
                    <a:pt x="661" y="927"/>
                  </a:lnTo>
                  <a:lnTo>
                    <a:pt x="659" y="926"/>
                  </a:lnTo>
                  <a:lnTo>
                    <a:pt x="659" y="924"/>
                  </a:lnTo>
                  <a:lnTo>
                    <a:pt x="641" y="923"/>
                  </a:lnTo>
                  <a:lnTo>
                    <a:pt x="639" y="924"/>
                  </a:lnTo>
                  <a:lnTo>
                    <a:pt x="642" y="927"/>
                  </a:lnTo>
                  <a:lnTo>
                    <a:pt x="658" y="932"/>
                  </a:lnTo>
                  <a:lnTo>
                    <a:pt x="661" y="935"/>
                  </a:lnTo>
                  <a:lnTo>
                    <a:pt x="663" y="938"/>
                  </a:lnTo>
                  <a:lnTo>
                    <a:pt x="661" y="938"/>
                  </a:lnTo>
                  <a:lnTo>
                    <a:pt x="656" y="935"/>
                  </a:lnTo>
                  <a:lnTo>
                    <a:pt x="655" y="935"/>
                  </a:lnTo>
                  <a:lnTo>
                    <a:pt x="650" y="936"/>
                  </a:lnTo>
                  <a:lnTo>
                    <a:pt x="649" y="938"/>
                  </a:lnTo>
                  <a:lnTo>
                    <a:pt x="647" y="936"/>
                  </a:lnTo>
                  <a:lnTo>
                    <a:pt x="646" y="935"/>
                  </a:lnTo>
                  <a:lnTo>
                    <a:pt x="644" y="935"/>
                  </a:lnTo>
                  <a:lnTo>
                    <a:pt x="642" y="935"/>
                  </a:lnTo>
                  <a:lnTo>
                    <a:pt x="639" y="935"/>
                  </a:lnTo>
                  <a:lnTo>
                    <a:pt x="638" y="933"/>
                  </a:lnTo>
                  <a:lnTo>
                    <a:pt x="636" y="933"/>
                  </a:lnTo>
                  <a:lnTo>
                    <a:pt x="635" y="936"/>
                  </a:lnTo>
                  <a:lnTo>
                    <a:pt x="641" y="940"/>
                  </a:lnTo>
                  <a:lnTo>
                    <a:pt x="650" y="940"/>
                  </a:lnTo>
                  <a:lnTo>
                    <a:pt x="653" y="941"/>
                  </a:lnTo>
                  <a:lnTo>
                    <a:pt x="650" y="943"/>
                  </a:lnTo>
                  <a:lnTo>
                    <a:pt x="647" y="941"/>
                  </a:lnTo>
                  <a:lnTo>
                    <a:pt x="644" y="943"/>
                  </a:lnTo>
                  <a:lnTo>
                    <a:pt x="641" y="943"/>
                  </a:lnTo>
                  <a:lnTo>
                    <a:pt x="639" y="944"/>
                  </a:lnTo>
                  <a:lnTo>
                    <a:pt x="641" y="946"/>
                  </a:lnTo>
                  <a:lnTo>
                    <a:pt x="641" y="946"/>
                  </a:lnTo>
                  <a:lnTo>
                    <a:pt x="639" y="949"/>
                  </a:lnTo>
                  <a:lnTo>
                    <a:pt x="638" y="950"/>
                  </a:lnTo>
                  <a:lnTo>
                    <a:pt x="638" y="953"/>
                  </a:lnTo>
                  <a:lnTo>
                    <a:pt x="641" y="955"/>
                  </a:lnTo>
                  <a:lnTo>
                    <a:pt x="642" y="955"/>
                  </a:lnTo>
                  <a:lnTo>
                    <a:pt x="647" y="953"/>
                  </a:lnTo>
                  <a:lnTo>
                    <a:pt x="652" y="953"/>
                  </a:lnTo>
                  <a:lnTo>
                    <a:pt x="653" y="953"/>
                  </a:lnTo>
                  <a:lnTo>
                    <a:pt x="658" y="946"/>
                  </a:lnTo>
                  <a:lnTo>
                    <a:pt x="659" y="944"/>
                  </a:lnTo>
                  <a:lnTo>
                    <a:pt x="673" y="943"/>
                  </a:lnTo>
                  <a:lnTo>
                    <a:pt x="676" y="944"/>
                  </a:lnTo>
                  <a:lnTo>
                    <a:pt x="667" y="944"/>
                  </a:lnTo>
                  <a:lnTo>
                    <a:pt x="661" y="949"/>
                  </a:lnTo>
                  <a:lnTo>
                    <a:pt x="656" y="952"/>
                  </a:lnTo>
                  <a:lnTo>
                    <a:pt x="658" y="955"/>
                  </a:lnTo>
                  <a:lnTo>
                    <a:pt x="669" y="958"/>
                  </a:lnTo>
                  <a:lnTo>
                    <a:pt x="670" y="958"/>
                  </a:lnTo>
                  <a:lnTo>
                    <a:pt x="672" y="961"/>
                  </a:lnTo>
                  <a:lnTo>
                    <a:pt x="669" y="961"/>
                  </a:lnTo>
                  <a:lnTo>
                    <a:pt x="664" y="960"/>
                  </a:lnTo>
                  <a:lnTo>
                    <a:pt x="661" y="957"/>
                  </a:lnTo>
                  <a:lnTo>
                    <a:pt x="659" y="955"/>
                  </a:lnTo>
                  <a:lnTo>
                    <a:pt x="658" y="957"/>
                  </a:lnTo>
                  <a:lnTo>
                    <a:pt x="655" y="957"/>
                  </a:lnTo>
                  <a:lnTo>
                    <a:pt x="649" y="957"/>
                  </a:lnTo>
                  <a:lnTo>
                    <a:pt x="647" y="957"/>
                  </a:lnTo>
                  <a:lnTo>
                    <a:pt x="644" y="960"/>
                  </a:lnTo>
                  <a:lnTo>
                    <a:pt x="642" y="961"/>
                  </a:lnTo>
                  <a:lnTo>
                    <a:pt x="642" y="961"/>
                  </a:lnTo>
                  <a:lnTo>
                    <a:pt x="644" y="963"/>
                  </a:lnTo>
                  <a:lnTo>
                    <a:pt x="644" y="964"/>
                  </a:lnTo>
                  <a:lnTo>
                    <a:pt x="642" y="967"/>
                  </a:lnTo>
                  <a:lnTo>
                    <a:pt x="642" y="970"/>
                  </a:lnTo>
                  <a:lnTo>
                    <a:pt x="644" y="972"/>
                  </a:lnTo>
                  <a:lnTo>
                    <a:pt x="652" y="970"/>
                  </a:lnTo>
                  <a:lnTo>
                    <a:pt x="650" y="973"/>
                  </a:lnTo>
                  <a:lnTo>
                    <a:pt x="639" y="973"/>
                  </a:lnTo>
                  <a:lnTo>
                    <a:pt x="639" y="972"/>
                  </a:lnTo>
                  <a:lnTo>
                    <a:pt x="639" y="970"/>
                  </a:lnTo>
                  <a:lnTo>
                    <a:pt x="639" y="969"/>
                  </a:lnTo>
                  <a:lnTo>
                    <a:pt x="639" y="966"/>
                  </a:lnTo>
                  <a:lnTo>
                    <a:pt x="639" y="964"/>
                  </a:lnTo>
                  <a:lnTo>
                    <a:pt x="638" y="963"/>
                  </a:lnTo>
                  <a:lnTo>
                    <a:pt x="636" y="961"/>
                  </a:lnTo>
                  <a:lnTo>
                    <a:pt x="632" y="958"/>
                  </a:lnTo>
                  <a:lnTo>
                    <a:pt x="630" y="957"/>
                  </a:lnTo>
                  <a:lnTo>
                    <a:pt x="630" y="957"/>
                  </a:lnTo>
                  <a:lnTo>
                    <a:pt x="621" y="961"/>
                  </a:lnTo>
                  <a:lnTo>
                    <a:pt x="622" y="963"/>
                  </a:lnTo>
                  <a:lnTo>
                    <a:pt x="624" y="964"/>
                  </a:lnTo>
                  <a:lnTo>
                    <a:pt x="626" y="964"/>
                  </a:lnTo>
                  <a:lnTo>
                    <a:pt x="627" y="964"/>
                  </a:lnTo>
                  <a:lnTo>
                    <a:pt x="629" y="964"/>
                  </a:lnTo>
                  <a:lnTo>
                    <a:pt x="629" y="966"/>
                  </a:lnTo>
                  <a:lnTo>
                    <a:pt x="629" y="967"/>
                  </a:lnTo>
                  <a:lnTo>
                    <a:pt x="630" y="969"/>
                  </a:lnTo>
                  <a:lnTo>
                    <a:pt x="632" y="970"/>
                  </a:lnTo>
                  <a:lnTo>
                    <a:pt x="633" y="970"/>
                  </a:lnTo>
                  <a:lnTo>
                    <a:pt x="635" y="970"/>
                  </a:lnTo>
                  <a:lnTo>
                    <a:pt x="635" y="972"/>
                  </a:lnTo>
                  <a:lnTo>
                    <a:pt x="632" y="972"/>
                  </a:lnTo>
                  <a:lnTo>
                    <a:pt x="632" y="972"/>
                  </a:lnTo>
                  <a:lnTo>
                    <a:pt x="630" y="973"/>
                  </a:lnTo>
                  <a:lnTo>
                    <a:pt x="633" y="975"/>
                  </a:lnTo>
                  <a:lnTo>
                    <a:pt x="635" y="977"/>
                  </a:lnTo>
                  <a:lnTo>
                    <a:pt x="635" y="978"/>
                  </a:lnTo>
                  <a:lnTo>
                    <a:pt x="635" y="980"/>
                  </a:lnTo>
                  <a:lnTo>
                    <a:pt x="635" y="980"/>
                  </a:lnTo>
                  <a:lnTo>
                    <a:pt x="635" y="981"/>
                  </a:lnTo>
                  <a:lnTo>
                    <a:pt x="633" y="986"/>
                  </a:lnTo>
                  <a:lnTo>
                    <a:pt x="622" y="990"/>
                  </a:lnTo>
                  <a:lnTo>
                    <a:pt x="624" y="995"/>
                  </a:lnTo>
                  <a:lnTo>
                    <a:pt x="626" y="998"/>
                  </a:lnTo>
                  <a:lnTo>
                    <a:pt x="627" y="1000"/>
                  </a:lnTo>
                  <a:lnTo>
                    <a:pt x="630" y="998"/>
                  </a:lnTo>
                  <a:lnTo>
                    <a:pt x="632" y="997"/>
                  </a:lnTo>
                  <a:lnTo>
                    <a:pt x="633" y="997"/>
                  </a:lnTo>
                  <a:lnTo>
                    <a:pt x="635" y="997"/>
                  </a:lnTo>
                  <a:lnTo>
                    <a:pt x="635" y="998"/>
                  </a:lnTo>
                  <a:lnTo>
                    <a:pt x="633" y="1000"/>
                  </a:lnTo>
                  <a:lnTo>
                    <a:pt x="633" y="1001"/>
                  </a:lnTo>
                  <a:lnTo>
                    <a:pt x="635" y="1001"/>
                  </a:lnTo>
                  <a:lnTo>
                    <a:pt x="638" y="1003"/>
                  </a:lnTo>
                  <a:lnTo>
                    <a:pt x="639" y="1003"/>
                  </a:lnTo>
                  <a:lnTo>
                    <a:pt x="646" y="998"/>
                  </a:lnTo>
                  <a:lnTo>
                    <a:pt x="647" y="997"/>
                  </a:lnTo>
                  <a:lnTo>
                    <a:pt x="647" y="997"/>
                  </a:lnTo>
                  <a:lnTo>
                    <a:pt x="647" y="995"/>
                  </a:lnTo>
                  <a:lnTo>
                    <a:pt x="646" y="992"/>
                  </a:lnTo>
                  <a:lnTo>
                    <a:pt x="646" y="989"/>
                  </a:lnTo>
                  <a:lnTo>
                    <a:pt x="646" y="987"/>
                  </a:lnTo>
                  <a:lnTo>
                    <a:pt x="647" y="989"/>
                  </a:lnTo>
                  <a:lnTo>
                    <a:pt x="649" y="990"/>
                  </a:lnTo>
                  <a:lnTo>
                    <a:pt x="649" y="993"/>
                  </a:lnTo>
                  <a:lnTo>
                    <a:pt x="649" y="993"/>
                  </a:lnTo>
                  <a:lnTo>
                    <a:pt x="650" y="995"/>
                  </a:lnTo>
                  <a:lnTo>
                    <a:pt x="650" y="995"/>
                  </a:lnTo>
                  <a:lnTo>
                    <a:pt x="653" y="993"/>
                  </a:lnTo>
                  <a:lnTo>
                    <a:pt x="655" y="993"/>
                  </a:lnTo>
                  <a:lnTo>
                    <a:pt x="656" y="995"/>
                  </a:lnTo>
                  <a:lnTo>
                    <a:pt x="653" y="995"/>
                  </a:lnTo>
                  <a:lnTo>
                    <a:pt x="653" y="997"/>
                  </a:lnTo>
                  <a:lnTo>
                    <a:pt x="653" y="998"/>
                  </a:lnTo>
                  <a:lnTo>
                    <a:pt x="659" y="998"/>
                  </a:lnTo>
                  <a:lnTo>
                    <a:pt x="663" y="1000"/>
                  </a:lnTo>
                  <a:lnTo>
                    <a:pt x="659" y="1001"/>
                  </a:lnTo>
                  <a:lnTo>
                    <a:pt x="647" y="1001"/>
                  </a:lnTo>
                  <a:lnTo>
                    <a:pt x="635" y="1009"/>
                  </a:lnTo>
                  <a:lnTo>
                    <a:pt x="632" y="1012"/>
                  </a:lnTo>
                  <a:lnTo>
                    <a:pt x="630" y="1015"/>
                  </a:lnTo>
                  <a:lnTo>
                    <a:pt x="629" y="1017"/>
                  </a:lnTo>
                  <a:lnTo>
                    <a:pt x="627" y="1018"/>
                  </a:lnTo>
                  <a:lnTo>
                    <a:pt x="626" y="1021"/>
                  </a:lnTo>
                  <a:lnTo>
                    <a:pt x="626" y="1024"/>
                  </a:lnTo>
                  <a:lnTo>
                    <a:pt x="627" y="1024"/>
                  </a:lnTo>
                  <a:lnTo>
                    <a:pt x="638" y="1020"/>
                  </a:lnTo>
                  <a:lnTo>
                    <a:pt x="644" y="1012"/>
                  </a:lnTo>
                  <a:lnTo>
                    <a:pt x="647" y="1012"/>
                  </a:lnTo>
                  <a:lnTo>
                    <a:pt x="653" y="1012"/>
                  </a:lnTo>
                  <a:lnTo>
                    <a:pt x="658" y="1010"/>
                  </a:lnTo>
                  <a:lnTo>
                    <a:pt x="659" y="1009"/>
                  </a:lnTo>
                  <a:lnTo>
                    <a:pt x="664" y="1004"/>
                  </a:lnTo>
                  <a:lnTo>
                    <a:pt x="666" y="1004"/>
                  </a:lnTo>
                  <a:lnTo>
                    <a:pt x="666" y="1004"/>
                  </a:lnTo>
                  <a:lnTo>
                    <a:pt x="667" y="1004"/>
                  </a:lnTo>
                  <a:lnTo>
                    <a:pt x="669" y="1006"/>
                  </a:lnTo>
                  <a:lnTo>
                    <a:pt x="669" y="1006"/>
                  </a:lnTo>
                  <a:lnTo>
                    <a:pt x="666" y="1009"/>
                  </a:lnTo>
                  <a:lnTo>
                    <a:pt x="667" y="1012"/>
                  </a:lnTo>
                  <a:lnTo>
                    <a:pt x="669" y="1012"/>
                  </a:lnTo>
                  <a:lnTo>
                    <a:pt x="675" y="1010"/>
                  </a:lnTo>
                  <a:lnTo>
                    <a:pt x="676" y="1009"/>
                  </a:lnTo>
                  <a:lnTo>
                    <a:pt x="678" y="1006"/>
                  </a:lnTo>
                  <a:lnTo>
                    <a:pt x="678" y="1004"/>
                  </a:lnTo>
                  <a:lnTo>
                    <a:pt x="678" y="1003"/>
                  </a:lnTo>
                  <a:lnTo>
                    <a:pt x="679" y="1003"/>
                  </a:lnTo>
                  <a:lnTo>
                    <a:pt x="681" y="1004"/>
                  </a:lnTo>
                  <a:lnTo>
                    <a:pt x="683" y="1006"/>
                  </a:lnTo>
                  <a:lnTo>
                    <a:pt x="690" y="1007"/>
                  </a:lnTo>
                  <a:lnTo>
                    <a:pt x="690" y="1007"/>
                  </a:lnTo>
                  <a:lnTo>
                    <a:pt x="692" y="1003"/>
                  </a:lnTo>
                  <a:lnTo>
                    <a:pt x="695" y="1001"/>
                  </a:lnTo>
                  <a:lnTo>
                    <a:pt x="701" y="998"/>
                  </a:lnTo>
                  <a:lnTo>
                    <a:pt x="704" y="995"/>
                  </a:lnTo>
                  <a:lnTo>
                    <a:pt x="707" y="993"/>
                  </a:lnTo>
                  <a:lnTo>
                    <a:pt x="707" y="995"/>
                  </a:lnTo>
                  <a:lnTo>
                    <a:pt x="707" y="998"/>
                  </a:lnTo>
                  <a:lnTo>
                    <a:pt x="706" y="1001"/>
                  </a:lnTo>
                  <a:lnTo>
                    <a:pt x="704" y="1003"/>
                  </a:lnTo>
                  <a:lnTo>
                    <a:pt x="701" y="1004"/>
                  </a:lnTo>
                  <a:lnTo>
                    <a:pt x="699" y="1006"/>
                  </a:lnTo>
                  <a:lnTo>
                    <a:pt x="698" y="1007"/>
                  </a:lnTo>
                  <a:lnTo>
                    <a:pt x="696" y="1009"/>
                  </a:lnTo>
                  <a:lnTo>
                    <a:pt x="696" y="1010"/>
                  </a:lnTo>
                  <a:lnTo>
                    <a:pt x="696" y="1012"/>
                  </a:lnTo>
                  <a:lnTo>
                    <a:pt x="695" y="1013"/>
                  </a:lnTo>
                  <a:lnTo>
                    <a:pt x="684" y="1017"/>
                  </a:lnTo>
                  <a:lnTo>
                    <a:pt x="681" y="1020"/>
                  </a:lnTo>
                  <a:lnTo>
                    <a:pt x="679" y="1020"/>
                  </a:lnTo>
                  <a:lnTo>
                    <a:pt x="679" y="1018"/>
                  </a:lnTo>
                  <a:lnTo>
                    <a:pt x="683" y="1015"/>
                  </a:lnTo>
                  <a:lnTo>
                    <a:pt x="683" y="1013"/>
                  </a:lnTo>
                  <a:lnTo>
                    <a:pt x="679" y="1012"/>
                  </a:lnTo>
                  <a:lnTo>
                    <a:pt x="675" y="1013"/>
                  </a:lnTo>
                  <a:lnTo>
                    <a:pt x="670" y="1017"/>
                  </a:lnTo>
                  <a:lnTo>
                    <a:pt x="667" y="1023"/>
                  </a:lnTo>
                  <a:lnTo>
                    <a:pt x="675" y="1026"/>
                  </a:lnTo>
                  <a:lnTo>
                    <a:pt x="681" y="1024"/>
                  </a:lnTo>
                  <a:lnTo>
                    <a:pt x="684" y="1026"/>
                  </a:lnTo>
                  <a:lnTo>
                    <a:pt x="684" y="1026"/>
                  </a:lnTo>
                  <a:lnTo>
                    <a:pt x="684" y="1027"/>
                  </a:lnTo>
                  <a:lnTo>
                    <a:pt x="684" y="1029"/>
                  </a:lnTo>
                  <a:lnTo>
                    <a:pt x="684" y="1030"/>
                  </a:lnTo>
                  <a:lnTo>
                    <a:pt x="681" y="1029"/>
                  </a:lnTo>
                  <a:lnTo>
                    <a:pt x="679" y="1027"/>
                  </a:lnTo>
                  <a:lnTo>
                    <a:pt x="679" y="1026"/>
                  </a:lnTo>
                  <a:lnTo>
                    <a:pt x="678" y="1026"/>
                  </a:lnTo>
                  <a:lnTo>
                    <a:pt x="675" y="1027"/>
                  </a:lnTo>
                  <a:lnTo>
                    <a:pt x="670" y="1027"/>
                  </a:lnTo>
                  <a:lnTo>
                    <a:pt x="669" y="1029"/>
                  </a:lnTo>
                  <a:lnTo>
                    <a:pt x="667" y="1030"/>
                  </a:lnTo>
                  <a:lnTo>
                    <a:pt x="666" y="1035"/>
                  </a:lnTo>
                  <a:lnTo>
                    <a:pt x="664" y="1037"/>
                  </a:lnTo>
                  <a:lnTo>
                    <a:pt x="663" y="1037"/>
                  </a:lnTo>
                  <a:lnTo>
                    <a:pt x="663" y="1037"/>
                  </a:lnTo>
                  <a:lnTo>
                    <a:pt x="663" y="1035"/>
                  </a:lnTo>
                  <a:lnTo>
                    <a:pt x="663" y="1032"/>
                  </a:lnTo>
                  <a:lnTo>
                    <a:pt x="663" y="1029"/>
                  </a:lnTo>
                  <a:lnTo>
                    <a:pt x="666" y="1026"/>
                  </a:lnTo>
                  <a:lnTo>
                    <a:pt x="666" y="1023"/>
                  </a:lnTo>
                  <a:lnTo>
                    <a:pt x="659" y="1023"/>
                  </a:lnTo>
                  <a:lnTo>
                    <a:pt x="659" y="1021"/>
                  </a:lnTo>
                  <a:lnTo>
                    <a:pt x="661" y="1021"/>
                  </a:lnTo>
                  <a:lnTo>
                    <a:pt x="664" y="1020"/>
                  </a:lnTo>
                  <a:lnTo>
                    <a:pt x="666" y="1017"/>
                  </a:lnTo>
                  <a:lnTo>
                    <a:pt x="664" y="1013"/>
                  </a:lnTo>
                  <a:lnTo>
                    <a:pt x="661" y="1013"/>
                  </a:lnTo>
                  <a:lnTo>
                    <a:pt x="646" y="1017"/>
                  </a:lnTo>
                  <a:lnTo>
                    <a:pt x="639" y="1023"/>
                  </a:lnTo>
                  <a:lnTo>
                    <a:pt x="635" y="1024"/>
                  </a:lnTo>
                  <a:lnTo>
                    <a:pt x="635" y="1026"/>
                  </a:lnTo>
                  <a:lnTo>
                    <a:pt x="630" y="1027"/>
                  </a:lnTo>
                  <a:lnTo>
                    <a:pt x="630" y="1029"/>
                  </a:lnTo>
                  <a:lnTo>
                    <a:pt x="629" y="1030"/>
                  </a:lnTo>
                  <a:lnTo>
                    <a:pt x="629" y="1030"/>
                  </a:lnTo>
                  <a:lnTo>
                    <a:pt x="626" y="1029"/>
                  </a:lnTo>
                  <a:lnTo>
                    <a:pt x="613" y="1032"/>
                  </a:lnTo>
                  <a:lnTo>
                    <a:pt x="609" y="1035"/>
                  </a:lnTo>
                  <a:lnTo>
                    <a:pt x="606" y="1037"/>
                  </a:lnTo>
                  <a:lnTo>
                    <a:pt x="604" y="1038"/>
                  </a:lnTo>
                  <a:lnTo>
                    <a:pt x="599" y="1043"/>
                  </a:lnTo>
                  <a:lnTo>
                    <a:pt x="598" y="1046"/>
                  </a:lnTo>
                  <a:lnTo>
                    <a:pt x="599" y="1046"/>
                  </a:lnTo>
                  <a:lnTo>
                    <a:pt x="601" y="1046"/>
                  </a:lnTo>
                  <a:lnTo>
                    <a:pt x="602" y="1046"/>
                  </a:lnTo>
                  <a:lnTo>
                    <a:pt x="601" y="1047"/>
                  </a:lnTo>
                  <a:lnTo>
                    <a:pt x="601" y="1047"/>
                  </a:lnTo>
                  <a:lnTo>
                    <a:pt x="601" y="1049"/>
                  </a:lnTo>
                  <a:lnTo>
                    <a:pt x="601" y="1049"/>
                  </a:lnTo>
                  <a:lnTo>
                    <a:pt x="616" y="1046"/>
                  </a:lnTo>
                  <a:lnTo>
                    <a:pt x="622" y="1041"/>
                  </a:lnTo>
                  <a:lnTo>
                    <a:pt x="626" y="1041"/>
                  </a:lnTo>
                  <a:lnTo>
                    <a:pt x="624" y="1044"/>
                  </a:lnTo>
                  <a:lnTo>
                    <a:pt x="621" y="1047"/>
                  </a:lnTo>
                  <a:lnTo>
                    <a:pt x="619" y="1050"/>
                  </a:lnTo>
                  <a:lnTo>
                    <a:pt x="619" y="1052"/>
                  </a:lnTo>
                  <a:lnTo>
                    <a:pt x="619" y="1055"/>
                  </a:lnTo>
                  <a:lnTo>
                    <a:pt x="618" y="1057"/>
                  </a:lnTo>
                  <a:lnTo>
                    <a:pt x="616" y="1058"/>
                  </a:lnTo>
                  <a:lnTo>
                    <a:pt x="618" y="1061"/>
                  </a:lnTo>
                  <a:lnTo>
                    <a:pt x="621" y="1064"/>
                  </a:lnTo>
                  <a:lnTo>
                    <a:pt x="626" y="1066"/>
                  </a:lnTo>
                  <a:lnTo>
                    <a:pt x="630" y="1066"/>
                  </a:lnTo>
                  <a:lnTo>
                    <a:pt x="632" y="1067"/>
                  </a:lnTo>
                  <a:lnTo>
                    <a:pt x="632" y="1069"/>
                  </a:lnTo>
                  <a:lnTo>
                    <a:pt x="632" y="1070"/>
                  </a:lnTo>
                  <a:lnTo>
                    <a:pt x="633" y="1074"/>
                  </a:lnTo>
                  <a:lnTo>
                    <a:pt x="633" y="1077"/>
                  </a:lnTo>
                  <a:lnTo>
                    <a:pt x="635" y="1080"/>
                  </a:lnTo>
                  <a:lnTo>
                    <a:pt x="636" y="1083"/>
                  </a:lnTo>
                  <a:lnTo>
                    <a:pt x="635" y="1084"/>
                  </a:lnTo>
                  <a:lnTo>
                    <a:pt x="632" y="1080"/>
                  </a:lnTo>
                  <a:lnTo>
                    <a:pt x="632" y="1078"/>
                  </a:lnTo>
                  <a:lnTo>
                    <a:pt x="632" y="1077"/>
                  </a:lnTo>
                  <a:lnTo>
                    <a:pt x="632" y="1077"/>
                  </a:lnTo>
                  <a:lnTo>
                    <a:pt x="632" y="1077"/>
                  </a:lnTo>
                  <a:lnTo>
                    <a:pt x="630" y="1077"/>
                  </a:lnTo>
                  <a:lnTo>
                    <a:pt x="630" y="1077"/>
                  </a:lnTo>
                  <a:lnTo>
                    <a:pt x="630" y="1077"/>
                  </a:lnTo>
                  <a:lnTo>
                    <a:pt x="629" y="1077"/>
                  </a:lnTo>
                  <a:lnTo>
                    <a:pt x="627" y="1075"/>
                  </a:lnTo>
                  <a:lnTo>
                    <a:pt x="627" y="1074"/>
                  </a:lnTo>
                  <a:lnTo>
                    <a:pt x="626" y="1072"/>
                  </a:lnTo>
                  <a:lnTo>
                    <a:pt x="626" y="1070"/>
                  </a:lnTo>
                  <a:lnTo>
                    <a:pt x="624" y="1069"/>
                  </a:lnTo>
                  <a:lnTo>
                    <a:pt x="621" y="1070"/>
                  </a:lnTo>
                  <a:lnTo>
                    <a:pt x="619" y="1070"/>
                  </a:lnTo>
                  <a:lnTo>
                    <a:pt x="619" y="1069"/>
                  </a:lnTo>
                  <a:lnTo>
                    <a:pt x="618" y="1067"/>
                  </a:lnTo>
                  <a:lnTo>
                    <a:pt x="616" y="1066"/>
                  </a:lnTo>
                  <a:lnTo>
                    <a:pt x="612" y="1063"/>
                  </a:lnTo>
                  <a:lnTo>
                    <a:pt x="609" y="1063"/>
                  </a:lnTo>
                  <a:lnTo>
                    <a:pt x="607" y="1063"/>
                  </a:lnTo>
                  <a:lnTo>
                    <a:pt x="599" y="1070"/>
                  </a:lnTo>
                  <a:lnTo>
                    <a:pt x="598" y="1074"/>
                  </a:lnTo>
                  <a:lnTo>
                    <a:pt x="596" y="1077"/>
                  </a:lnTo>
                  <a:lnTo>
                    <a:pt x="596" y="1078"/>
                  </a:lnTo>
                  <a:lnTo>
                    <a:pt x="596" y="1080"/>
                  </a:lnTo>
                  <a:lnTo>
                    <a:pt x="595" y="1081"/>
                  </a:lnTo>
                  <a:lnTo>
                    <a:pt x="595" y="1083"/>
                  </a:lnTo>
                  <a:lnTo>
                    <a:pt x="595" y="1083"/>
                  </a:lnTo>
                  <a:lnTo>
                    <a:pt x="593" y="1084"/>
                  </a:lnTo>
                  <a:lnTo>
                    <a:pt x="593" y="1087"/>
                  </a:lnTo>
                  <a:lnTo>
                    <a:pt x="593" y="1087"/>
                  </a:lnTo>
                  <a:lnTo>
                    <a:pt x="595" y="1089"/>
                  </a:lnTo>
                  <a:lnTo>
                    <a:pt x="598" y="1087"/>
                  </a:lnTo>
                  <a:lnTo>
                    <a:pt x="599" y="1087"/>
                  </a:lnTo>
                  <a:lnTo>
                    <a:pt x="601" y="1089"/>
                  </a:lnTo>
                  <a:lnTo>
                    <a:pt x="601" y="1094"/>
                  </a:lnTo>
                  <a:lnTo>
                    <a:pt x="601" y="1095"/>
                  </a:lnTo>
                  <a:lnTo>
                    <a:pt x="599" y="1095"/>
                  </a:lnTo>
                  <a:lnTo>
                    <a:pt x="599" y="1094"/>
                  </a:lnTo>
                  <a:lnTo>
                    <a:pt x="598" y="1092"/>
                  </a:lnTo>
                  <a:lnTo>
                    <a:pt x="598" y="1092"/>
                  </a:lnTo>
                  <a:lnTo>
                    <a:pt x="596" y="1092"/>
                  </a:lnTo>
                  <a:lnTo>
                    <a:pt x="595" y="1092"/>
                  </a:lnTo>
                  <a:lnTo>
                    <a:pt x="593" y="1095"/>
                  </a:lnTo>
                  <a:lnTo>
                    <a:pt x="590" y="1100"/>
                  </a:lnTo>
                  <a:lnTo>
                    <a:pt x="590" y="1101"/>
                  </a:lnTo>
                  <a:lnTo>
                    <a:pt x="590" y="1106"/>
                  </a:lnTo>
                  <a:lnTo>
                    <a:pt x="592" y="1106"/>
                  </a:lnTo>
                  <a:lnTo>
                    <a:pt x="595" y="1109"/>
                  </a:lnTo>
                  <a:lnTo>
                    <a:pt x="596" y="1109"/>
                  </a:lnTo>
                  <a:lnTo>
                    <a:pt x="596" y="1110"/>
                  </a:lnTo>
                  <a:lnTo>
                    <a:pt x="596" y="1114"/>
                  </a:lnTo>
                  <a:lnTo>
                    <a:pt x="598" y="1115"/>
                  </a:lnTo>
                  <a:lnTo>
                    <a:pt x="598" y="1117"/>
                  </a:lnTo>
                  <a:lnTo>
                    <a:pt x="599" y="1118"/>
                  </a:lnTo>
                  <a:lnTo>
                    <a:pt x="599" y="1118"/>
                  </a:lnTo>
                  <a:lnTo>
                    <a:pt x="602" y="1118"/>
                  </a:lnTo>
                  <a:lnTo>
                    <a:pt x="604" y="1120"/>
                  </a:lnTo>
                  <a:lnTo>
                    <a:pt x="606" y="1121"/>
                  </a:lnTo>
                  <a:lnTo>
                    <a:pt x="607" y="1123"/>
                  </a:lnTo>
                  <a:lnTo>
                    <a:pt x="606" y="1123"/>
                  </a:lnTo>
                  <a:lnTo>
                    <a:pt x="604" y="1124"/>
                  </a:lnTo>
                  <a:lnTo>
                    <a:pt x="602" y="1124"/>
                  </a:lnTo>
                  <a:lnTo>
                    <a:pt x="601" y="1121"/>
                  </a:lnTo>
                  <a:lnTo>
                    <a:pt x="599" y="1121"/>
                  </a:lnTo>
                  <a:lnTo>
                    <a:pt x="596" y="1123"/>
                  </a:lnTo>
                  <a:lnTo>
                    <a:pt x="593" y="1120"/>
                  </a:lnTo>
                  <a:lnTo>
                    <a:pt x="593" y="1120"/>
                  </a:lnTo>
                  <a:lnTo>
                    <a:pt x="593" y="1118"/>
                  </a:lnTo>
                  <a:lnTo>
                    <a:pt x="593" y="1117"/>
                  </a:lnTo>
                  <a:lnTo>
                    <a:pt x="595" y="1115"/>
                  </a:lnTo>
                  <a:lnTo>
                    <a:pt x="595" y="1114"/>
                  </a:lnTo>
                  <a:lnTo>
                    <a:pt x="592" y="1114"/>
                  </a:lnTo>
                  <a:lnTo>
                    <a:pt x="592" y="1114"/>
                  </a:lnTo>
                  <a:lnTo>
                    <a:pt x="592" y="1112"/>
                  </a:lnTo>
                  <a:lnTo>
                    <a:pt x="592" y="1110"/>
                  </a:lnTo>
                  <a:lnTo>
                    <a:pt x="592" y="1109"/>
                  </a:lnTo>
                  <a:lnTo>
                    <a:pt x="590" y="1107"/>
                  </a:lnTo>
                  <a:lnTo>
                    <a:pt x="589" y="1106"/>
                  </a:lnTo>
                  <a:lnTo>
                    <a:pt x="587" y="1106"/>
                  </a:lnTo>
                  <a:lnTo>
                    <a:pt x="585" y="1106"/>
                  </a:lnTo>
                  <a:lnTo>
                    <a:pt x="584" y="1107"/>
                  </a:lnTo>
                  <a:lnTo>
                    <a:pt x="582" y="1109"/>
                  </a:lnTo>
                  <a:lnTo>
                    <a:pt x="581" y="1109"/>
                  </a:lnTo>
                  <a:lnTo>
                    <a:pt x="581" y="1110"/>
                  </a:lnTo>
                  <a:lnTo>
                    <a:pt x="579" y="1112"/>
                  </a:lnTo>
                  <a:lnTo>
                    <a:pt x="579" y="1115"/>
                  </a:lnTo>
                  <a:lnTo>
                    <a:pt x="578" y="1117"/>
                  </a:lnTo>
                  <a:lnTo>
                    <a:pt x="575" y="1120"/>
                  </a:lnTo>
                  <a:lnTo>
                    <a:pt x="575" y="1123"/>
                  </a:lnTo>
                  <a:lnTo>
                    <a:pt x="575" y="1124"/>
                  </a:lnTo>
                  <a:lnTo>
                    <a:pt x="575" y="1126"/>
                  </a:lnTo>
                  <a:lnTo>
                    <a:pt x="575" y="1127"/>
                  </a:lnTo>
                  <a:lnTo>
                    <a:pt x="575" y="1129"/>
                  </a:lnTo>
                  <a:lnTo>
                    <a:pt x="575" y="1131"/>
                  </a:lnTo>
                  <a:lnTo>
                    <a:pt x="576" y="1131"/>
                  </a:lnTo>
                  <a:lnTo>
                    <a:pt x="578" y="1131"/>
                  </a:lnTo>
                  <a:lnTo>
                    <a:pt x="579" y="1131"/>
                  </a:lnTo>
                  <a:lnTo>
                    <a:pt x="578" y="1134"/>
                  </a:lnTo>
                  <a:lnTo>
                    <a:pt x="578" y="1138"/>
                  </a:lnTo>
                  <a:lnTo>
                    <a:pt x="578" y="1141"/>
                  </a:lnTo>
                  <a:lnTo>
                    <a:pt x="581" y="1143"/>
                  </a:lnTo>
                  <a:lnTo>
                    <a:pt x="582" y="1141"/>
                  </a:lnTo>
                  <a:lnTo>
                    <a:pt x="585" y="1134"/>
                  </a:lnTo>
                  <a:lnTo>
                    <a:pt x="587" y="1132"/>
                  </a:lnTo>
                  <a:lnTo>
                    <a:pt x="587" y="1137"/>
                  </a:lnTo>
                  <a:lnTo>
                    <a:pt x="585" y="1138"/>
                  </a:lnTo>
                  <a:lnTo>
                    <a:pt x="584" y="1140"/>
                  </a:lnTo>
                  <a:lnTo>
                    <a:pt x="582" y="1143"/>
                  </a:lnTo>
                  <a:lnTo>
                    <a:pt x="585" y="1146"/>
                  </a:lnTo>
                  <a:lnTo>
                    <a:pt x="589" y="1141"/>
                  </a:lnTo>
                  <a:lnTo>
                    <a:pt x="589" y="1135"/>
                  </a:lnTo>
                  <a:lnTo>
                    <a:pt x="590" y="1131"/>
                  </a:lnTo>
                  <a:lnTo>
                    <a:pt x="590" y="1135"/>
                  </a:lnTo>
                  <a:lnTo>
                    <a:pt x="592" y="1138"/>
                  </a:lnTo>
                  <a:lnTo>
                    <a:pt x="592" y="1141"/>
                  </a:lnTo>
                  <a:lnTo>
                    <a:pt x="593" y="1143"/>
                  </a:lnTo>
                  <a:lnTo>
                    <a:pt x="592" y="1143"/>
                  </a:lnTo>
                  <a:lnTo>
                    <a:pt x="590" y="1144"/>
                  </a:lnTo>
                  <a:lnTo>
                    <a:pt x="590" y="1144"/>
                  </a:lnTo>
                  <a:lnTo>
                    <a:pt x="592" y="1147"/>
                  </a:lnTo>
                  <a:lnTo>
                    <a:pt x="592" y="1149"/>
                  </a:lnTo>
                  <a:lnTo>
                    <a:pt x="595" y="1149"/>
                  </a:lnTo>
                  <a:lnTo>
                    <a:pt x="596" y="1151"/>
                  </a:lnTo>
                  <a:lnTo>
                    <a:pt x="596" y="1151"/>
                  </a:lnTo>
                  <a:lnTo>
                    <a:pt x="595" y="1152"/>
                  </a:lnTo>
                  <a:lnTo>
                    <a:pt x="593" y="1154"/>
                  </a:lnTo>
                  <a:lnTo>
                    <a:pt x="593" y="1155"/>
                  </a:lnTo>
                  <a:lnTo>
                    <a:pt x="602" y="1154"/>
                  </a:lnTo>
                  <a:lnTo>
                    <a:pt x="606" y="1155"/>
                  </a:lnTo>
                  <a:lnTo>
                    <a:pt x="596" y="1157"/>
                  </a:lnTo>
                  <a:lnTo>
                    <a:pt x="595" y="1160"/>
                  </a:lnTo>
                  <a:lnTo>
                    <a:pt x="596" y="1163"/>
                  </a:lnTo>
                  <a:lnTo>
                    <a:pt x="601" y="1171"/>
                  </a:lnTo>
                  <a:lnTo>
                    <a:pt x="599" y="1169"/>
                  </a:lnTo>
                  <a:lnTo>
                    <a:pt x="595" y="1161"/>
                  </a:lnTo>
                  <a:lnTo>
                    <a:pt x="593" y="1160"/>
                  </a:lnTo>
                  <a:lnTo>
                    <a:pt x="592" y="1160"/>
                  </a:lnTo>
                  <a:lnTo>
                    <a:pt x="592" y="1161"/>
                  </a:lnTo>
                  <a:lnTo>
                    <a:pt x="590" y="1161"/>
                  </a:lnTo>
                  <a:lnTo>
                    <a:pt x="590" y="1161"/>
                  </a:lnTo>
                  <a:lnTo>
                    <a:pt x="590" y="1160"/>
                  </a:lnTo>
                  <a:lnTo>
                    <a:pt x="590" y="1158"/>
                  </a:lnTo>
                  <a:lnTo>
                    <a:pt x="590" y="1158"/>
                  </a:lnTo>
                  <a:lnTo>
                    <a:pt x="589" y="1157"/>
                  </a:lnTo>
                  <a:lnTo>
                    <a:pt x="587" y="1157"/>
                  </a:lnTo>
                  <a:lnTo>
                    <a:pt x="584" y="1157"/>
                  </a:lnTo>
                  <a:lnTo>
                    <a:pt x="584" y="1160"/>
                  </a:lnTo>
                  <a:lnTo>
                    <a:pt x="587" y="1163"/>
                  </a:lnTo>
                  <a:lnTo>
                    <a:pt x="587" y="1164"/>
                  </a:lnTo>
                  <a:lnTo>
                    <a:pt x="587" y="1166"/>
                  </a:lnTo>
                  <a:lnTo>
                    <a:pt x="589" y="1171"/>
                  </a:lnTo>
                  <a:lnTo>
                    <a:pt x="589" y="1172"/>
                  </a:lnTo>
                  <a:lnTo>
                    <a:pt x="592" y="1172"/>
                  </a:lnTo>
                  <a:lnTo>
                    <a:pt x="595" y="1172"/>
                  </a:lnTo>
                  <a:lnTo>
                    <a:pt x="598" y="1174"/>
                  </a:lnTo>
                  <a:lnTo>
                    <a:pt x="599" y="1178"/>
                  </a:lnTo>
                  <a:lnTo>
                    <a:pt x="598" y="1180"/>
                  </a:lnTo>
                  <a:lnTo>
                    <a:pt x="596" y="1178"/>
                  </a:lnTo>
                  <a:lnTo>
                    <a:pt x="596" y="1177"/>
                  </a:lnTo>
                  <a:lnTo>
                    <a:pt x="595" y="1175"/>
                  </a:lnTo>
                  <a:lnTo>
                    <a:pt x="593" y="1174"/>
                  </a:lnTo>
                  <a:lnTo>
                    <a:pt x="587" y="1174"/>
                  </a:lnTo>
                  <a:lnTo>
                    <a:pt x="585" y="1172"/>
                  </a:lnTo>
                  <a:lnTo>
                    <a:pt x="585" y="1172"/>
                  </a:lnTo>
                  <a:lnTo>
                    <a:pt x="585" y="1171"/>
                  </a:lnTo>
                  <a:lnTo>
                    <a:pt x="585" y="1171"/>
                  </a:lnTo>
                  <a:lnTo>
                    <a:pt x="584" y="1171"/>
                  </a:lnTo>
                  <a:lnTo>
                    <a:pt x="581" y="1175"/>
                  </a:lnTo>
                  <a:lnTo>
                    <a:pt x="579" y="1177"/>
                  </a:lnTo>
                  <a:lnTo>
                    <a:pt x="578" y="1180"/>
                  </a:lnTo>
                  <a:lnTo>
                    <a:pt x="582" y="1177"/>
                  </a:lnTo>
                  <a:lnTo>
                    <a:pt x="584" y="1177"/>
                  </a:lnTo>
                  <a:lnTo>
                    <a:pt x="581" y="1181"/>
                  </a:lnTo>
                  <a:lnTo>
                    <a:pt x="579" y="1181"/>
                  </a:lnTo>
                  <a:lnTo>
                    <a:pt x="576" y="1181"/>
                  </a:lnTo>
                  <a:lnTo>
                    <a:pt x="573" y="1183"/>
                  </a:lnTo>
                  <a:lnTo>
                    <a:pt x="573" y="1184"/>
                  </a:lnTo>
                  <a:lnTo>
                    <a:pt x="572" y="1187"/>
                  </a:lnTo>
                  <a:lnTo>
                    <a:pt x="570" y="1189"/>
                  </a:lnTo>
                  <a:lnTo>
                    <a:pt x="567" y="1192"/>
                  </a:lnTo>
                  <a:lnTo>
                    <a:pt x="567" y="1195"/>
                  </a:lnTo>
                  <a:lnTo>
                    <a:pt x="569" y="1195"/>
                  </a:lnTo>
                  <a:lnTo>
                    <a:pt x="570" y="1194"/>
                  </a:lnTo>
                  <a:lnTo>
                    <a:pt x="572" y="1191"/>
                  </a:lnTo>
                  <a:lnTo>
                    <a:pt x="573" y="1189"/>
                  </a:lnTo>
                  <a:lnTo>
                    <a:pt x="581" y="1187"/>
                  </a:lnTo>
                  <a:lnTo>
                    <a:pt x="582" y="1189"/>
                  </a:lnTo>
                  <a:lnTo>
                    <a:pt x="582" y="1189"/>
                  </a:lnTo>
                  <a:lnTo>
                    <a:pt x="582" y="1191"/>
                  </a:lnTo>
                  <a:lnTo>
                    <a:pt x="584" y="1191"/>
                  </a:lnTo>
                  <a:lnTo>
                    <a:pt x="585" y="1189"/>
                  </a:lnTo>
                  <a:lnTo>
                    <a:pt x="587" y="1189"/>
                  </a:lnTo>
                  <a:lnTo>
                    <a:pt x="592" y="1191"/>
                  </a:lnTo>
                  <a:lnTo>
                    <a:pt x="599" y="1189"/>
                  </a:lnTo>
                  <a:lnTo>
                    <a:pt x="601" y="1191"/>
                  </a:lnTo>
                  <a:lnTo>
                    <a:pt x="598" y="1192"/>
                  </a:lnTo>
                  <a:lnTo>
                    <a:pt x="587" y="1192"/>
                  </a:lnTo>
                  <a:lnTo>
                    <a:pt x="585" y="1194"/>
                  </a:lnTo>
                  <a:lnTo>
                    <a:pt x="584" y="1194"/>
                  </a:lnTo>
                  <a:lnTo>
                    <a:pt x="579" y="1192"/>
                  </a:lnTo>
                  <a:lnTo>
                    <a:pt x="578" y="1192"/>
                  </a:lnTo>
                  <a:lnTo>
                    <a:pt x="578" y="1194"/>
                  </a:lnTo>
                  <a:lnTo>
                    <a:pt x="575" y="1197"/>
                  </a:lnTo>
                  <a:lnTo>
                    <a:pt x="575" y="1197"/>
                  </a:lnTo>
                  <a:lnTo>
                    <a:pt x="576" y="1197"/>
                  </a:lnTo>
                  <a:lnTo>
                    <a:pt x="579" y="1195"/>
                  </a:lnTo>
                  <a:lnTo>
                    <a:pt x="581" y="1197"/>
                  </a:lnTo>
                  <a:lnTo>
                    <a:pt x="581" y="1197"/>
                  </a:lnTo>
                  <a:lnTo>
                    <a:pt x="581" y="1198"/>
                  </a:lnTo>
                  <a:lnTo>
                    <a:pt x="581" y="1198"/>
                  </a:lnTo>
                  <a:lnTo>
                    <a:pt x="581" y="1200"/>
                  </a:lnTo>
                  <a:lnTo>
                    <a:pt x="582" y="1200"/>
                  </a:lnTo>
                  <a:lnTo>
                    <a:pt x="584" y="1201"/>
                  </a:lnTo>
                  <a:lnTo>
                    <a:pt x="585" y="1201"/>
                  </a:lnTo>
                  <a:lnTo>
                    <a:pt x="582" y="1204"/>
                  </a:lnTo>
                  <a:lnTo>
                    <a:pt x="576" y="1204"/>
                  </a:lnTo>
                  <a:lnTo>
                    <a:pt x="575" y="1209"/>
                  </a:lnTo>
                  <a:lnTo>
                    <a:pt x="578" y="1211"/>
                  </a:lnTo>
                  <a:lnTo>
                    <a:pt x="579" y="1212"/>
                  </a:lnTo>
                  <a:lnTo>
                    <a:pt x="585" y="1211"/>
                  </a:lnTo>
                  <a:lnTo>
                    <a:pt x="587" y="1211"/>
                  </a:lnTo>
                  <a:lnTo>
                    <a:pt x="589" y="1208"/>
                  </a:lnTo>
                  <a:lnTo>
                    <a:pt x="589" y="1208"/>
                  </a:lnTo>
                  <a:lnTo>
                    <a:pt x="590" y="1206"/>
                  </a:lnTo>
                  <a:lnTo>
                    <a:pt x="598" y="1201"/>
                  </a:lnTo>
                  <a:lnTo>
                    <a:pt x="610" y="1187"/>
                  </a:lnTo>
                  <a:lnTo>
                    <a:pt x="612" y="1184"/>
                  </a:lnTo>
                  <a:lnTo>
                    <a:pt x="612" y="1184"/>
                  </a:lnTo>
                  <a:lnTo>
                    <a:pt x="615" y="1181"/>
                  </a:lnTo>
                  <a:lnTo>
                    <a:pt x="618" y="1177"/>
                  </a:lnTo>
                  <a:lnTo>
                    <a:pt x="618" y="1178"/>
                  </a:lnTo>
                  <a:lnTo>
                    <a:pt x="618" y="1181"/>
                  </a:lnTo>
                  <a:lnTo>
                    <a:pt x="610" y="1191"/>
                  </a:lnTo>
                  <a:lnTo>
                    <a:pt x="609" y="1192"/>
                  </a:lnTo>
                  <a:lnTo>
                    <a:pt x="609" y="1194"/>
                  </a:lnTo>
                  <a:lnTo>
                    <a:pt x="607" y="1195"/>
                  </a:lnTo>
                  <a:lnTo>
                    <a:pt x="607" y="1197"/>
                  </a:lnTo>
                  <a:lnTo>
                    <a:pt x="607" y="1198"/>
                  </a:lnTo>
                  <a:lnTo>
                    <a:pt x="606" y="1198"/>
                  </a:lnTo>
                  <a:lnTo>
                    <a:pt x="601" y="1203"/>
                  </a:lnTo>
                  <a:lnTo>
                    <a:pt x="598" y="1208"/>
                  </a:lnTo>
                  <a:lnTo>
                    <a:pt x="596" y="1209"/>
                  </a:lnTo>
                  <a:lnTo>
                    <a:pt x="595" y="1209"/>
                  </a:lnTo>
                  <a:lnTo>
                    <a:pt x="595" y="1209"/>
                  </a:lnTo>
                  <a:lnTo>
                    <a:pt x="593" y="1212"/>
                  </a:lnTo>
                  <a:lnTo>
                    <a:pt x="593" y="1212"/>
                  </a:lnTo>
                  <a:lnTo>
                    <a:pt x="595" y="1212"/>
                  </a:lnTo>
                  <a:lnTo>
                    <a:pt x="595" y="1214"/>
                  </a:lnTo>
                  <a:lnTo>
                    <a:pt x="593" y="1214"/>
                  </a:lnTo>
                  <a:lnTo>
                    <a:pt x="585" y="1215"/>
                  </a:lnTo>
                  <a:lnTo>
                    <a:pt x="584" y="1217"/>
                  </a:lnTo>
                  <a:lnTo>
                    <a:pt x="582" y="1220"/>
                  </a:lnTo>
                  <a:lnTo>
                    <a:pt x="581" y="1221"/>
                  </a:lnTo>
                  <a:lnTo>
                    <a:pt x="575" y="1220"/>
                  </a:lnTo>
                  <a:lnTo>
                    <a:pt x="573" y="1221"/>
                  </a:lnTo>
                  <a:lnTo>
                    <a:pt x="569" y="1226"/>
                  </a:lnTo>
                  <a:lnTo>
                    <a:pt x="562" y="1228"/>
                  </a:lnTo>
                  <a:lnTo>
                    <a:pt x="562" y="1228"/>
                  </a:lnTo>
                  <a:lnTo>
                    <a:pt x="562" y="1231"/>
                  </a:lnTo>
                  <a:lnTo>
                    <a:pt x="562" y="1232"/>
                  </a:lnTo>
                  <a:lnTo>
                    <a:pt x="562" y="1232"/>
                  </a:lnTo>
                  <a:lnTo>
                    <a:pt x="564" y="1234"/>
                  </a:lnTo>
                  <a:lnTo>
                    <a:pt x="564" y="1235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2" y="1237"/>
                  </a:lnTo>
                  <a:lnTo>
                    <a:pt x="561" y="1237"/>
                  </a:lnTo>
                  <a:lnTo>
                    <a:pt x="561" y="1235"/>
                  </a:lnTo>
                  <a:lnTo>
                    <a:pt x="561" y="1234"/>
                  </a:lnTo>
                  <a:lnTo>
                    <a:pt x="561" y="1234"/>
                  </a:lnTo>
                  <a:lnTo>
                    <a:pt x="561" y="1234"/>
                  </a:lnTo>
                  <a:lnTo>
                    <a:pt x="561" y="1231"/>
                  </a:lnTo>
                  <a:lnTo>
                    <a:pt x="559" y="1229"/>
                  </a:lnTo>
                  <a:lnTo>
                    <a:pt x="558" y="1228"/>
                  </a:lnTo>
                  <a:lnTo>
                    <a:pt x="556" y="1228"/>
                  </a:lnTo>
                  <a:lnTo>
                    <a:pt x="556" y="1228"/>
                  </a:lnTo>
                  <a:lnTo>
                    <a:pt x="555" y="1229"/>
                  </a:lnTo>
                  <a:lnTo>
                    <a:pt x="553" y="1229"/>
                  </a:lnTo>
                  <a:lnTo>
                    <a:pt x="553" y="1228"/>
                  </a:lnTo>
                  <a:lnTo>
                    <a:pt x="553" y="1228"/>
                  </a:lnTo>
                  <a:lnTo>
                    <a:pt x="553" y="1226"/>
                  </a:lnTo>
                  <a:lnTo>
                    <a:pt x="552" y="1224"/>
                  </a:lnTo>
                  <a:lnTo>
                    <a:pt x="552" y="1226"/>
                  </a:lnTo>
                  <a:lnTo>
                    <a:pt x="552" y="1228"/>
                  </a:lnTo>
                  <a:lnTo>
                    <a:pt x="550" y="1229"/>
                  </a:lnTo>
                  <a:lnTo>
                    <a:pt x="550" y="1231"/>
                  </a:lnTo>
                  <a:lnTo>
                    <a:pt x="549" y="1231"/>
                  </a:lnTo>
                  <a:lnTo>
                    <a:pt x="549" y="1229"/>
                  </a:lnTo>
                  <a:lnTo>
                    <a:pt x="549" y="1228"/>
                  </a:lnTo>
                  <a:lnTo>
                    <a:pt x="549" y="1226"/>
                  </a:lnTo>
                  <a:lnTo>
                    <a:pt x="547" y="1224"/>
                  </a:lnTo>
                  <a:lnTo>
                    <a:pt x="544" y="1224"/>
                  </a:lnTo>
                  <a:lnTo>
                    <a:pt x="541" y="1228"/>
                  </a:lnTo>
                  <a:lnTo>
                    <a:pt x="539" y="1229"/>
                  </a:lnTo>
                  <a:lnTo>
                    <a:pt x="535" y="1234"/>
                  </a:lnTo>
                  <a:lnTo>
                    <a:pt x="533" y="1235"/>
                  </a:lnTo>
                  <a:lnTo>
                    <a:pt x="533" y="1237"/>
                  </a:lnTo>
                  <a:lnTo>
                    <a:pt x="535" y="1238"/>
                  </a:lnTo>
                  <a:lnTo>
                    <a:pt x="536" y="1238"/>
                  </a:lnTo>
                  <a:lnTo>
                    <a:pt x="535" y="1240"/>
                  </a:lnTo>
                  <a:lnTo>
                    <a:pt x="532" y="1240"/>
                  </a:lnTo>
                  <a:lnTo>
                    <a:pt x="530" y="1241"/>
                  </a:lnTo>
                  <a:lnTo>
                    <a:pt x="527" y="1243"/>
                  </a:lnTo>
                  <a:lnTo>
                    <a:pt x="522" y="1244"/>
                  </a:lnTo>
                  <a:lnTo>
                    <a:pt x="522" y="1244"/>
                  </a:lnTo>
                  <a:lnTo>
                    <a:pt x="521" y="1243"/>
                  </a:lnTo>
                  <a:lnTo>
                    <a:pt x="521" y="1241"/>
                  </a:lnTo>
                  <a:lnTo>
                    <a:pt x="519" y="1243"/>
                  </a:lnTo>
                  <a:lnTo>
                    <a:pt x="519" y="1244"/>
                  </a:lnTo>
                  <a:lnTo>
                    <a:pt x="521" y="1244"/>
                  </a:lnTo>
                  <a:lnTo>
                    <a:pt x="521" y="1246"/>
                  </a:lnTo>
                  <a:lnTo>
                    <a:pt x="519" y="1246"/>
                  </a:lnTo>
                  <a:lnTo>
                    <a:pt x="516" y="1244"/>
                  </a:lnTo>
                  <a:lnTo>
                    <a:pt x="515" y="1244"/>
                  </a:lnTo>
                  <a:lnTo>
                    <a:pt x="510" y="1246"/>
                  </a:lnTo>
                  <a:lnTo>
                    <a:pt x="508" y="1248"/>
                  </a:lnTo>
                  <a:lnTo>
                    <a:pt x="513" y="1252"/>
                  </a:lnTo>
                  <a:lnTo>
                    <a:pt x="513" y="1252"/>
                  </a:lnTo>
                  <a:lnTo>
                    <a:pt x="515" y="1252"/>
                  </a:lnTo>
                  <a:lnTo>
                    <a:pt x="516" y="1249"/>
                  </a:lnTo>
                  <a:lnTo>
                    <a:pt x="518" y="1249"/>
                  </a:lnTo>
                  <a:lnTo>
                    <a:pt x="518" y="1251"/>
                  </a:lnTo>
                  <a:lnTo>
                    <a:pt x="516" y="1252"/>
                  </a:lnTo>
                  <a:lnTo>
                    <a:pt x="515" y="1254"/>
                  </a:lnTo>
                  <a:lnTo>
                    <a:pt x="513" y="1254"/>
                  </a:lnTo>
                  <a:lnTo>
                    <a:pt x="512" y="1254"/>
                  </a:lnTo>
                  <a:lnTo>
                    <a:pt x="507" y="1249"/>
                  </a:lnTo>
                  <a:lnTo>
                    <a:pt x="505" y="1249"/>
                  </a:lnTo>
                  <a:lnTo>
                    <a:pt x="504" y="1249"/>
                  </a:lnTo>
                  <a:lnTo>
                    <a:pt x="493" y="1258"/>
                  </a:lnTo>
                  <a:lnTo>
                    <a:pt x="492" y="1261"/>
                  </a:lnTo>
                  <a:lnTo>
                    <a:pt x="518" y="1255"/>
                  </a:lnTo>
                  <a:lnTo>
                    <a:pt x="524" y="1252"/>
                  </a:lnTo>
                  <a:lnTo>
                    <a:pt x="525" y="1252"/>
                  </a:lnTo>
                  <a:lnTo>
                    <a:pt x="522" y="1255"/>
                  </a:lnTo>
                  <a:lnTo>
                    <a:pt x="513" y="1260"/>
                  </a:lnTo>
                  <a:lnTo>
                    <a:pt x="495" y="1263"/>
                  </a:lnTo>
                  <a:lnTo>
                    <a:pt x="493" y="1264"/>
                  </a:lnTo>
                  <a:lnTo>
                    <a:pt x="492" y="1268"/>
                  </a:lnTo>
                  <a:lnTo>
                    <a:pt x="493" y="1268"/>
                  </a:lnTo>
                  <a:lnTo>
                    <a:pt x="496" y="1268"/>
                  </a:lnTo>
                  <a:lnTo>
                    <a:pt x="499" y="1271"/>
                  </a:lnTo>
                  <a:lnTo>
                    <a:pt x="505" y="1269"/>
                  </a:lnTo>
                  <a:lnTo>
                    <a:pt x="505" y="1269"/>
                  </a:lnTo>
                  <a:lnTo>
                    <a:pt x="501" y="1277"/>
                  </a:lnTo>
                  <a:lnTo>
                    <a:pt x="499" y="1277"/>
                  </a:lnTo>
                  <a:lnTo>
                    <a:pt x="499" y="1277"/>
                  </a:lnTo>
                  <a:lnTo>
                    <a:pt x="496" y="1278"/>
                  </a:lnTo>
                  <a:lnTo>
                    <a:pt x="492" y="1281"/>
                  </a:lnTo>
                  <a:lnTo>
                    <a:pt x="492" y="1281"/>
                  </a:lnTo>
                  <a:lnTo>
                    <a:pt x="493" y="1283"/>
                  </a:lnTo>
                  <a:lnTo>
                    <a:pt x="502" y="1280"/>
                  </a:lnTo>
                  <a:lnTo>
                    <a:pt x="504" y="1278"/>
                  </a:lnTo>
                  <a:lnTo>
                    <a:pt x="505" y="1277"/>
                  </a:lnTo>
                  <a:lnTo>
                    <a:pt x="507" y="1274"/>
                  </a:lnTo>
                  <a:lnTo>
                    <a:pt x="508" y="1271"/>
                  </a:lnTo>
                  <a:lnTo>
                    <a:pt x="508" y="1269"/>
                  </a:lnTo>
                  <a:lnTo>
                    <a:pt x="510" y="1269"/>
                  </a:lnTo>
                  <a:lnTo>
                    <a:pt x="513" y="1269"/>
                  </a:lnTo>
                  <a:lnTo>
                    <a:pt x="515" y="1268"/>
                  </a:lnTo>
                  <a:lnTo>
                    <a:pt x="519" y="1263"/>
                  </a:lnTo>
                  <a:lnTo>
                    <a:pt x="519" y="1263"/>
                  </a:lnTo>
                  <a:lnTo>
                    <a:pt x="519" y="1260"/>
                  </a:lnTo>
                  <a:lnTo>
                    <a:pt x="519" y="1258"/>
                  </a:lnTo>
                  <a:lnTo>
                    <a:pt x="529" y="1255"/>
                  </a:lnTo>
                  <a:lnTo>
                    <a:pt x="541" y="1244"/>
                  </a:lnTo>
                  <a:lnTo>
                    <a:pt x="547" y="1244"/>
                  </a:lnTo>
                  <a:lnTo>
                    <a:pt x="549" y="1244"/>
                  </a:lnTo>
                  <a:lnTo>
                    <a:pt x="550" y="1241"/>
                  </a:lnTo>
                  <a:lnTo>
                    <a:pt x="552" y="1241"/>
                  </a:lnTo>
                  <a:lnTo>
                    <a:pt x="559" y="1241"/>
                  </a:lnTo>
                  <a:lnTo>
                    <a:pt x="562" y="1243"/>
                  </a:lnTo>
                  <a:lnTo>
                    <a:pt x="565" y="1248"/>
                  </a:lnTo>
                  <a:lnTo>
                    <a:pt x="553" y="1243"/>
                  </a:lnTo>
                  <a:lnTo>
                    <a:pt x="552" y="1243"/>
                  </a:lnTo>
                  <a:lnTo>
                    <a:pt x="550" y="1246"/>
                  </a:lnTo>
                  <a:lnTo>
                    <a:pt x="549" y="1248"/>
                  </a:lnTo>
                  <a:lnTo>
                    <a:pt x="547" y="1249"/>
                  </a:lnTo>
                  <a:lnTo>
                    <a:pt x="542" y="1249"/>
                  </a:lnTo>
                  <a:lnTo>
                    <a:pt x="535" y="1255"/>
                  </a:lnTo>
                  <a:lnTo>
                    <a:pt x="530" y="1255"/>
                  </a:lnTo>
                  <a:lnTo>
                    <a:pt x="529" y="1257"/>
                  </a:lnTo>
                  <a:lnTo>
                    <a:pt x="527" y="1258"/>
                  </a:lnTo>
                  <a:lnTo>
                    <a:pt x="527" y="1261"/>
                  </a:lnTo>
                  <a:lnTo>
                    <a:pt x="522" y="1263"/>
                  </a:lnTo>
                  <a:lnTo>
                    <a:pt x="524" y="1264"/>
                  </a:lnTo>
                  <a:lnTo>
                    <a:pt x="527" y="1264"/>
                  </a:lnTo>
                  <a:lnTo>
                    <a:pt x="532" y="1261"/>
                  </a:lnTo>
                  <a:lnTo>
                    <a:pt x="532" y="1263"/>
                  </a:lnTo>
                  <a:lnTo>
                    <a:pt x="532" y="1263"/>
                  </a:lnTo>
                  <a:lnTo>
                    <a:pt x="532" y="1264"/>
                  </a:lnTo>
                  <a:lnTo>
                    <a:pt x="532" y="1264"/>
                  </a:lnTo>
                  <a:lnTo>
                    <a:pt x="524" y="1266"/>
                  </a:lnTo>
                  <a:lnTo>
                    <a:pt x="521" y="1268"/>
                  </a:lnTo>
                  <a:lnTo>
                    <a:pt x="524" y="1268"/>
                  </a:lnTo>
                  <a:lnTo>
                    <a:pt x="527" y="1269"/>
                  </a:lnTo>
                  <a:lnTo>
                    <a:pt x="529" y="1269"/>
                  </a:lnTo>
                  <a:lnTo>
                    <a:pt x="529" y="1271"/>
                  </a:lnTo>
                  <a:lnTo>
                    <a:pt x="536" y="1271"/>
                  </a:lnTo>
                  <a:lnTo>
                    <a:pt x="536" y="1272"/>
                  </a:lnTo>
                  <a:lnTo>
                    <a:pt x="535" y="1272"/>
                  </a:lnTo>
                  <a:lnTo>
                    <a:pt x="533" y="1274"/>
                  </a:lnTo>
                  <a:lnTo>
                    <a:pt x="515" y="1277"/>
                  </a:lnTo>
                  <a:lnTo>
                    <a:pt x="516" y="1278"/>
                  </a:lnTo>
                  <a:lnTo>
                    <a:pt x="518" y="1278"/>
                  </a:lnTo>
                  <a:lnTo>
                    <a:pt x="518" y="1278"/>
                  </a:lnTo>
                  <a:lnTo>
                    <a:pt x="518" y="1280"/>
                  </a:lnTo>
                  <a:lnTo>
                    <a:pt x="519" y="1281"/>
                  </a:lnTo>
                  <a:lnTo>
                    <a:pt x="519" y="1281"/>
                  </a:lnTo>
                  <a:lnTo>
                    <a:pt x="518" y="1283"/>
                  </a:lnTo>
                  <a:lnTo>
                    <a:pt x="515" y="1281"/>
                  </a:lnTo>
                  <a:lnTo>
                    <a:pt x="513" y="1281"/>
                  </a:lnTo>
                  <a:lnTo>
                    <a:pt x="510" y="1285"/>
                  </a:lnTo>
                  <a:lnTo>
                    <a:pt x="505" y="1286"/>
                  </a:lnTo>
                  <a:lnTo>
                    <a:pt x="502" y="1288"/>
                  </a:lnTo>
                  <a:lnTo>
                    <a:pt x="504" y="1288"/>
                  </a:lnTo>
                  <a:lnTo>
                    <a:pt x="504" y="1288"/>
                  </a:lnTo>
                  <a:lnTo>
                    <a:pt x="505" y="1289"/>
                  </a:lnTo>
                  <a:lnTo>
                    <a:pt x="505" y="1289"/>
                  </a:lnTo>
                  <a:lnTo>
                    <a:pt x="505" y="1291"/>
                  </a:lnTo>
                  <a:lnTo>
                    <a:pt x="504" y="1291"/>
                  </a:lnTo>
                  <a:lnTo>
                    <a:pt x="504" y="1291"/>
                  </a:lnTo>
                  <a:lnTo>
                    <a:pt x="502" y="1291"/>
                  </a:lnTo>
                  <a:lnTo>
                    <a:pt x="502" y="1294"/>
                  </a:lnTo>
                  <a:lnTo>
                    <a:pt x="504" y="1295"/>
                  </a:lnTo>
                  <a:lnTo>
                    <a:pt x="504" y="1297"/>
                  </a:lnTo>
                  <a:lnTo>
                    <a:pt x="505" y="1297"/>
                  </a:lnTo>
                  <a:lnTo>
                    <a:pt x="505" y="1298"/>
                  </a:lnTo>
                  <a:lnTo>
                    <a:pt x="505" y="1300"/>
                  </a:lnTo>
                  <a:lnTo>
                    <a:pt x="505" y="1300"/>
                  </a:lnTo>
                  <a:lnTo>
                    <a:pt x="507" y="1301"/>
                  </a:lnTo>
                  <a:lnTo>
                    <a:pt x="507" y="1303"/>
                  </a:lnTo>
                  <a:lnTo>
                    <a:pt x="508" y="1305"/>
                  </a:lnTo>
                  <a:lnTo>
                    <a:pt x="510" y="1306"/>
                  </a:lnTo>
                  <a:lnTo>
                    <a:pt x="510" y="1308"/>
                  </a:lnTo>
                  <a:lnTo>
                    <a:pt x="512" y="1311"/>
                  </a:lnTo>
                  <a:lnTo>
                    <a:pt x="515" y="1312"/>
                  </a:lnTo>
                  <a:lnTo>
                    <a:pt x="516" y="1311"/>
                  </a:lnTo>
                  <a:lnTo>
                    <a:pt x="518" y="1306"/>
                  </a:lnTo>
                  <a:lnTo>
                    <a:pt x="518" y="1306"/>
                  </a:lnTo>
                  <a:lnTo>
                    <a:pt x="516" y="1306"/>
                  </a:lnTo>
                  <a:lnTo>
                    <a:pt x="516" y="1306"/>
                  </a:lnTo>
                  <a:lnTo>
                    <a:pt x="515" y="1306"/>
                  </a:lnTo>
                  <a:lnTo>
                    <a:pt x="516" y="1305"/>
                  </a:lnTo>
                  <a:lnTo>
                    <a:pt x="518" y="1301"/>
                  </a:lnTo>
                  <a:lnTo>
                    <a:pt x="519" y="1301"/>
                  </a:lnTo>
                  <a:lnTo>
                    <a:pt x="521" y="1301"/>
                  </a:lnTo>
                  <a:lnTo>
                    <a:pt x="521" y="1303"/>
                  </a:lnTo>
                  <a:lnTo>
                    <a:pt x="521" y="1306"/>
                  </a:lnTo>
                  <a:lnTo>
                    <a:pt x="521" y="1308"/>
                  </a:lnTo>
                  <a:lnTo>
                    <a:pt x="521" y="1309"/>
                  </a:lnTo>
                  <a:lnTo>
                    <a:pt x="522" y="1308"/>
                  </a:lnTo>
                  <a:lnTo>
                    <a:pt x="532" y="1306"/>
                  </a:lnTo>
                  <a:lnTo>
                    <a:pt x="530" y="1309"/>
                  </a:lnTo>
                  <a:lnTo>
                    <a:pt x="522" y="1311"/>
                  </a:lnTo>
                  <a:lnTo>
                    <a:pt x="516" y="1317"/>
                  </a:lnTo>
                  <a:lnTo>
                    <a:pt x="515" y="1317"/>
                  </a:lnTo>
                  <a:lnTo>
                    <a:pt x="515" y="1315"/>
                  </a:lnTo>
                  <a:lnTo>
                    <a:pt x="516" y="1314"/>
                  </a:lnTo>
                  <a:lnTo>
                    <a:pt x="512" y="1315"/>
                  </a:lnTo>
                  <a:lnTo>
                    <a:pt x="512" y="1317"/>
                  </a:lnTo>
                  <a:lnTo>
                    <a:pt x="512" y="1317"/>
                  </a:lnTo>
                  <a:lnTo>
                    <a:pt x="513" y="1318"/>
                  </a:lnTo>
                  <a:lnTo>
                    <a:pt x="513" y="1318"/>
                  </a:lnTo>
                  <a:lnTo>
                    <a:pt x="513" y="1320"/>
                  </a:lnTo>
                  <a:lnTo>
                    <a:pt x="513" y="1320"/>
                  </a:lnTo>
                  <a:lnTo>
                    <a:pt x="508" y="1320"/>
                  </a:lnTo>
                  <a:lnTo>
                    <a:pt x="508" y="1321"/>
                  </a:lnTo>
                  <a:lnTo>
                    <a:pt x="507" y="1325"/>
                  </a:lnTo>
                  <a:lnTo>
                    <a:pt x="507" y="1328"/>
                  </a:lnTo>
                  <a:lnTo>
                    <a:pt x="505" y="1329"/>
                  </a:lnTo>
                  <a:lnTo>
                    <a:pt x="522" y="1326"/>
                  </a:lnTo>
                  <a:lnTo>
                    <a:pt x="519" y="1329"/>
                  </a:lnTo>
                  <a:lnTo>
                    <a:pt x="512" y="1329"/>
                  </a:lnTo>
                  <a:lnTo>
                    <a:pt x="508" y="1332"/>
                  </a:lnTo>
                  <a:lnTo>
                    <a:pt x="507" y="1334"/>
                  </a:lnTo>
                  <a:lnTo>
                    <a:pt x="507" y="1334"/>
                  </a:lnTo>
                  <a:lnTo>
                    <a:pt x="505" y="1334"/>
                  </a:lnTo>
                  <a:lnTo>
                    <a:pt x="504" y="1332"/>
                  </a:lnTo>
                  <a:lnTo>
                    <a:pt x="504" y="1332"/>
                  </a:lnTo>
                  <a:lnTo>
                    <a:pt x="504" y="1332"/>
                  </a:lnTo>
                  <a:lnTo>
                    <a:pt x="501" y="1337"/>
                  </a:lnTo>
                  <a:lnTo>
                    <a:pt x="501" y="1338"/>
                  </a:lnTo>
                  <a:lnTo>
                    <a:pt x="501" y="1338"/>
                  </a:lnTo>
                  <a:lnTo>
                    <a:pt x="502" y="1340"/>
                  </a:lnTo>
                  <a:lnTo>
                    <a:pt x="502" y="1341"/>
                  </a:lnTo>
                  <a:lnTo>
                    <a:pt x="496" y="1346"/>
                  </a:lnTo>
                  <a:lnTo>
                    <a:pt x="493" y="1351"/>
                  </a:lnTo>
                  <a:lnTo>
                    <a:pt x="492" y="1354"/>
                  </a:lnTo>
                  <a:lnTo>
                    <a:pt x="490" y="1354"/>
                  </a:lnTo>
                  <a:lnTo>
                    <a:pt x="493" y="1346"/>
                  </a:lnTo>
                  <a:lnTo>
                    <a:pt x="498" y="1341"/>
                  </a:lnTo>
                  <a:lnTo>
                    <a:pt x="498" y="1338"/>
                  </a:lnTo>
                  <a:lnTo>
                    <a:pt x="499" y="1335"/>
                  </a:lnTo>
                  <a:lnTo>
                    <a:pt x="498" y="1334"/>
                  </a:lnTo>
                  <a:lnTo>
                    <a:pt x="496" y="1332"/>
                  </a:lnTo>
                  <a:lnTo>
                    <a:pt x="493" y="1331"/>
                  </a:lnTo>
                  <a:lnTo>
                    <a:pt x="492" y="1332"/>
                  </a:lnTo>
                  <a:lnTo>
                    <a:pt x="487" y="1334"/>
                  </a:lnTo>
                  <a:lnTo>
                    <a:pt x="485" y="1332"/>
                  </a:lnTo>
                  <a:lnTo>
                    <a:pt x="487" y="1329"/>
                  </a:lnTo>
                  <a:lnTo>
                    <a:pt x="487" y="1328"/>
                  </a:lnTo>
                  <a:lnTo>
                    <a:pt x="485" y="1325"/>
                  </a:lnTo>
                  <a:lnTo>
                    <a:pt x="481" y="1320"/>
                  </a:lnTo>
                  <a:lnTo>
                    <a:pt x="479" y="1320"/>
                  </a:lnTo>
                  <a:lnTo>
                    <a:pt x="479" y="1320"/>
                  </a:lnTo>
                  <a:lnTo>
                    <a:pt x="478" y="1317"/>
                  </a:lnTo>
                  <a:lnTo>
                    <a:pt x="478" y="1315"/>
                  </a:lnTo>
                  <a:lnTo>
                    <a:pt x="478" y="1312"/>
                  </a:lnTo>
                  <a:lnTo>
                    <a:pt x="478" y="1311"/>
                  </a:lnTo>
                  <a:lnTo>
                    <a:pt x="478" y="1309"/>
                  </a:lnTo>
                  <a:lnTo>
                    <a:pt x="473" y="1308"/>
                  </a:lnTo>
                  <a:lnTo>
                    <a:pt x="472" y="1306"/>
                  </a:lnTo>
                  <a:lnTo>
                    <a:pt x="470" y="1306"/>
                  </a:lnTo>
                  <a:lnTo>
                    <a:pt x="470" y="1306"/>
                  </a:lnTo>
                  <a:lnTo>
                    <a:pt x="470" y="1306"/>
                  </a:lnTo>
                  <a:lnTo>
                    <a:pt x="470" y="1308"/>
                  </a:lnTo>
                  <a:lnTo>
                    <a:pt x="470" y="1308"/>
                  </a:lnTo>
                  <a:lnTo>
                    <a:pt x="468" y="1309"/>
                  </a:lnTo>
                  <a:lnTo>
                    <a:pt x="468" y="1309"/>
                  </a:lnTo>
                  <a:lnTo>
                    <a:pt x="467" y="1309"/>
                  </a:lnTo>
                  <a:lnTo>
                    <a:pt x="467" y="1311"/>
                  </a:lnTo>
                  <a:lnTo>
                    <a:pt x="468" y="1311"/>
                  </a:lnTo>
                  <a:lnTo>
                    <a:pt x="468" y="1312"/>
                  </a:lnTo>
                  <a:lnTo>
                    <a:pt x="470" y="1314"/>
                  </a:lnTo>
                  <a:lnTo>
                    <a:pt x="470" y="1314"/>
                  </a:lnTo>
                  <a:lnTo>
                    <a:pt x="470" y="1317"/>
                  </a:lnTo>
                  <a:lnTo>
                    <a:pt x="470" y="1318"/>
                  </a:lnTo>
                  <a:lnTo>
                    <a:pt x="470" y="1320"/>
                  </a:lnTo>
                  <a:lnTo>
                    <a:pt x="472" y="1321"/>
                  </a:lnTo>
                  <a:lnTo>
                    <a:pt x="472" y="1321"/>
                  </a:lnTo>
                  <a:lnTo>
                    <a:pt x="468" y="1321"/>
                  </a:lnTo>
                  <a:lnTo>
                    <a:pt x="468" y="1321"/>
                  </a:lnTo>
                  <a:lnTo>
                    <a:pt x="468" y="1321"/>
                  </a:lnTo>
                  <a:lnTo>
                    <a:pt x="468" y="1323"/>
                  </a:lnTo>
                  <a:lnTo>
                    <a:pt x="470" y="1326"/>
                  </a:lnTo>
                  <a:lnTo>
                    <a:pt x="470" y="1326"/>
                  </a:lnTo>
                  <a:lnTo>
                    <a:pt x="468" y="1326"/>
                  </a:lnTo>
                  <a:lnTo>
                    <a:pt x="468" y="1325"/>
                  </a:lnTo>
                  <a:lnTo>
                    <a:pt x="467" y="1325"/>
                  </a:lnTo>
                  <a:lnTo>
                    <a:pt x="467" y="1325"/>
                  </a:lnTo>
                  <a:lnTo>
                    <a:pt x="467" y="1326"/>
                  </a:lnTo>
                  <a:lnTo>
                    <a:pt x="465" y="1328"/>
                  </a:lnTo>
                  <a:lnTo>
                    <a:pt x="465" y="1328"/>
                  </a:lnTo>
                  <a:lnTo>
                    <a:pt x="464" y="1325"/>
                  </a:lnTo>
                  <a:lnTo>
                    <a:pt x="462" y="1323"/>
                  </a:lnTo>
                  <a:lnTo>
                    <a:pt x="461" y="1321"/>
                  </a:lnTo>
                  <a:lnTo>
                    <a:pt x="459" y="1321"/>
                  </a:lnTo>
                  <a:lnTo>
                    <a:pt x="459" y="1323"/>
                  </a:lnTo>
                  <a:lnTo>
                    <a:pt x="461" y="1325"/>
                  </a:lnTo>
                  <a:lnTo>
                    <a:pt x="461" y="1326"/>
                  </a:lnTo>
                  <a:lnTo>
                    <a:pt x="462" y="1329"/>
                  </a:lnTo>
                  <a:lnTo>
                    <a:pt x="461" y="1329"/>
                  </a:lnTo>
                  <a:lnTo>
                    <a:pt x="459" y="1328"/>
                  </a:lnTo>
                  <a:lnTo>
                    <a:pt x="458" y="1326"/>
                  </a:lnTo>
                  <a:lnTo>
                    <a:pt x="456" y="1326"/>
                  </a:lnTo>
                  <a:lnTo>
                    <a:pt x="456" y="1328"/>
                  </a:lnTo>
                  <a:lnTo>
                    <a:pt x="455" y="1328"/>
                  </a:lnTo>
                  <a:lnTo>
                    <a:pt x="455" y="1329"/>
                  </a:lnTo>
                  <a:lnTo>
                    <a:pt x="455" y="1329"/>
                  </a:lnTo>
                  <a:lnTo>
                    <a:pt x="455" y="1329"/>
                  </a:lnTo>
                  <a:lnTo>
                    <a:pt x="453" y="1328"/>
                  </a:lnTo>
                  <a:lnTo>
                    <a:pt x="451" y="1328"/>
                  </a:lnTo>
                  <a:lnTo>
                    <a:pt x="450" y="1329"/>
                  </a:lnTo>
                  <a:lnTo>
                    <a:pt x="448" y="1331"/>
                  </a:lnTo>
                  <a:lnTo>
                    <a:pt x="448" y="1332"/>
                  </a:lnTo>
                  <a:lnTo>
                    <a:pt x="448" y="1332"/>
                  </a:lnTo>
                  <a:lnTo>
                    <a:pt x="450" y="1334"/>
                  </a:lnTo>
                  <a:lnTo>
                    <a:pt x="455" y="1332"/>
                  </a:lnTo>
                  <a:lnTo>
                    <a:pt x="456" y="1334"/>
                  </a:lnTo>
                  <a:lnTo>
                    <a:pt x="458" y="1335"/>
                  </a:lnTo>
                  <a:lnTo>
                    <a:pt x="459" y="1337"/>
                  </a:lnTo>
                  <a:lnTo>
                    <a:pt x="458" y="1338"/>
                  </a:lnTo>
                  <a:lnTo>
                    <a:pt x="459" y="1340"/>
                  </a:lnTo>
                  <a:lnTo>
                    <a:pt x="462" y="1345"/>
                  </a:lnTo>
                  <a:lnTo>
                    <a:pt x="461" y="1346"/>
                  </a:lnTo>
                  <a:lnTo>
                    <a:pt x="459" y="1346"/>
                  </a:lnTo>
                  <a:lnTo>
                    <a:pt x="455" y="1341"/>
                  </a:lnTo>
                  <a:lnTo>
                    <a:pt x="455" y="1341"/>
                  </a:lnTo>
                  <a:lnTo>
                    <a:pt x="455" y="1340"/>
                  </a:lnTo>
                  <a:lnTo>
                    <a:pt x="455" y="1338"/>
                  </a:lnTo>
                  <a:lnTo>
                    <a:pt x="453" y="1338"/>
                  </a:lnTo>
                  <a:lnTo>
                    <a:pt x="453" y="1337"/>
                  </a:lnTo>
                  <a:lnTo>
                    <a:pt x="448" y="1337"/>
                  </a:lnTo>
                  <a:lnTo>
                    <a:pt x="448" y="1337"/>
                  </a:lnTo>
                  <a:lnTo>
                    <a:pt x="447" y="1334"/>
                  </a:lnTo>
                  <a:lnTo>
                    <a:pt x="447" y="1334"/>
                  </a:lnTo>
                  <a:lnTo>
                    <a:pt x="445" y="1334"/>
                  </a:lnTo>
                  <a:lnTo>
                    <a:pt x="445" y="1332"/>
                  </a:lnTo>
                  <a:lnTo>
                    <a:pt x="444" y="1332"/>
                  </a:lnTo>
                  <a:lnTo>
                    <a:pt x="444" y="1332"/>
                  </a:lnTo>
                  <a:lnTo>
                    <a:pt x="444" y="1334"/>
                  </a:lnTo>
                  <a:lnTo>
                    <a:pt x="442" y="1335"/>
                  </a:lnTo>
                  <a:lnTo>
                    <a:pt x="442" y="1335"/>
                  </a:lnTo>
                  <a:lnTo>
                    <a:pt x="444" y="1335"/>
                  </a:lnTo>
                  <a:lnTo>
                    <a:pt x="444" y="1337"/>
                  </a:lnTo>
                  <a:lnTo>
                    <a:pt x="444" y="1335"/>
                  </a:lnTo>
                  <a:lnTo>
                    <a:pt x="445" y="1337"/>
                  </a:lnTo>
                  <a:lnTo>
                    <a:pt x="445" y="1338"/>
                  </a:lnTo>
                  <a:lnTo>
                    <a:pt x="445" y="1341"/>
                  </a:lnTo>
                  <a:lnTo>
                    <a:pt x="444" y="1340"/>
                  </a:lnTo>
                  <a:lnTo>
                    <a:pt x="439" y="1335"/>
                  </a:lnTo>
                  <a:lnTo>
                    <a:pt x="438" y="1335"/>
                  </a:lnTo>
                  <a:lnTo>
                    <a:pt x="436" y="1335"/>
                  </a:lnTo>
                  <a:lnTo>
                    <a:pt x="435" y="1337"/>
                  </a:lnTo>
                  <a:lnTo>
                    <a:pt x="435" y="1338"/>
                  </a:lnTo>
                  <a:lnTo>
                    <a:pt x="433" y="1340"/>
                  </a:lnTo>
                  <a:lnTo>
                    <a:pt x="441" y="1340"/>
                  </a:lnTo>
                  <a:lnTo>
                    <a:pt x="441" y="1340"/>
                  </a:lnTo>
                  <a:lnTo>
                    <a:pt x="441" y="1341"/>
                  </a:lnTo>
                  <a:lnTo>
                    <a:pt x="441" y="1341"/>
                  </a:lnTo>
                  <a:lnTo>
                    <a:pt x="442" y="1341"/>
                  </a:lnTo>
                  <a:lnTo>
                    <a:pt x="442" y="1341"/>
                  </a:lnTo>
                  <a:lnTo>
                    <a:pt x="444" y="1343"/>
                  </a:lnTo>
                  <a:lnTo>
                    <a:pt x="444" y="1343"/>
                  </a:lnTo>
                  <a:lnTo>
                    <a:pt x="444" y="1345"/>
                  </a:lnTo>
                  <a:lnTo>
                    <a:pt x="444" y="1346"/>
                  </a:lnTo>
                  <a:lnTo>
                    <a:pt x="445" y="1348"/>
                  </a:lnTo>
                  <a:lnTo>
                    <a:pt x="447" y="1346"/>
                  </a:lnTo>
                  <a:lnTo>
                    <a:pt x="447" y="1348"/>
                  </a:lnTo>
                  <a:lnTo>
                    <a:pt x="445" y="1349"/>
                  </a:lnTo>
                  <a:lnTo>
                    <a:pt x="444" y="1349"/>
                  </a:lnTo>
                  <a:lnTo>
                    <a:pt x="441" y="1346"/>
                  </a:lnTo>
                  <a:lnTo>
                    <a:pt x="439" y="1346"/>
                  </a:lnTo>
                  <a:lnTo>
                    <a:pt x="436" y="1346"/>
                  </a:lnTo>
                  <a:lnTo>
                    <a:pt x="436" y="1346"/>
                  </a:lnTo>
                  <a:lnTo>
                    <a:pt x="439" y="1349"/>
                  </a:lnTo>
                  <a:lnTo>
                    <a:pt x="441" y="1351"/>
                  </a:lnTo>
                  <a:lnTo>
                    <a:pt x="441" y="1352"/>
                  </a:lnTo>
                  <a:lnTo>
                    <a:pt x="438" y="1349"/>
                  </a:lnTo>
                  <a:lnTo>
                    <a:pt x="436" y="1348"/>
                  </a:lnTo>
                  <a:lnTo>
                    <a:pt x="435" y="1348"/>
                  </a:lnTo>
                  <a:lnTo>
                    <a:pt x="435" y="1349"/>
                  </a:lnTo>
                  <a:lnTo>
                    <a:pt x="435" y="1349"/>
                  </a:lnTo>
                  <a:lnTo>
                    <a:pt x="433" y="1349"/>
                  </a:lnTo>
                  <a:lnTo>
                    <a:pt x="433" y="1352"/>
                  </a:lnTo>
                  <a:lnTo>
                    <a:pt x="433" y="1355"/>
                  </a:lnTo>
                  <a:lnTo>
                    <a:pt x="433" y="1357"/>
                  </a:lnTo>
                  <a:lnTo>
                    <a:pt x="436" y="1357"/>
                  </a:lnTo>
                  <a:lnTo>
                    <a:pt x="436" y="1358"/>
                  </a:lnTo>
                  <a:lnTo>
                    <a:pt x="435" y="1358"/>
                  </a:lnTo>
                  <a:lnTo>
                    <a:pt x="433" y="1358"/>
                  </a:lnTo>
                  <a:lnTo>
                    <a:pt x="433" y="1360"/>
                  </a:lnTo>
                  <a:lnTo>
                    <a:pt x="431" y="1360"/>
                  </a:lnTo>
                  <a:lnTo>
                    <a:pt x="430" y="1360"/>
                  </a:lnTo>
                  <a:lnTo>
                    <a:pt x="428" y="1360"/>
                  </a:lnTo>
                  <a:lnTo>
                    <a:pt x="428" y="1361"/>
                  </a:lnTo>
                  <a:lnTo>
                    <a:pt x="428" y="1363"/>
                  </a:lnTo>
                  <a:lnTo>
                    <a:pt x="425" y="1361"/>
                  </a:lnTo>
                  <a:lnTo>
                    <a:pt x="424" y="1361"/>
                  </a:lnTo>
                  <a:lnTo>
                    <a:pt x="424" y="1365"/>
                  </a:lnTo>
                  <a:lnTo>
                    <a:pt x="424" y="1365"/>
                  </a:lnTo>
                  <a:lnTo>
                    <a:pt x="421" y="1366"/>
                  </a:lnTo>
                  <a:lnTo>
                    <a:pt x="418" y="1368"/>
                  </a:lnTo>
                  <a:lnTo>
                    <a:pt x="418" y="1369"/>
                  </a:lnTo>
                  <a:lnTo>
                    <a:pt x="424" y="1371"/>
                  </a:lnTo>
                  <a:lnTo>
                    <a:pt x="427" y="1374"/>
                  </a:lnTo>
                  <a:lnTo>
                    <a:pt x="427" y="1377"/>
                  </a:lnTo>
                  <a:lnTo>
                    <a:pt x="427" y="1377"/>
                  </a:lnTo>
                  <a:lnTo>
                    <a:pt x="422" y="1374"/>
                  </a:lnTo>
                  <a:lnTo>
                    <a:pt x="421" y="1374"/>
                  </a:lnTo>
                  <a:lnTo>
                    <a:pt x="418" y="1374"/>
                  </a:lnTo>
                  <a:lnTo>
                    <a:pt x="416" y="1374"/>
                  </a:lnTo>
                  <a:lnTo>
                    <a:pt x="416" y="1374"/>
                  </a:lnTo>
                  <a:lnTo>
                    <a:pt x="416" y="1375"/>
                  </a:lnTo>
                  <a:lnTo>
                    <a:pt x="416" y="1375"/>
                  </a:lnTo>
                  <a:lnTo>
                    <a:pt x="416" y="1375"/>
                  </a:lnTo>
                  <a:lnTo>
                    <a:pt x="415" y="1375"/>
                  </a:lnTo>
                  <a:lnTo>
                    <a:pt x="413" y="1375"/>
                  </a:lnTo>
                  <a:lnTo>
                    <a:pt x="411" y="1375"/>
                  </a:lnTo>
                  <a:lnTo>
                    <a:pt x="411" y="1375"/>
                  </a:lnTo>
                  <a:lnTo>
                    <a:pt x="411" y="1375"/>
                  </a:lnTo>
                  <a:lnTo>
                    <a:pt x="413" y="1377"/>
                  </a:lnTo>
                  <a:lnTo>
                    <a:pt x="413" y="1377"/>
                  </a:lnTo>
                  <a:lnTo>
                    <a:pt x="413" y="1378"/>
                  </a:lnTo>
                  <a:lnTo>
                    <a:pt x="413" y="1380"/>
                  </a:lnTo>
                  <a:lnTo>
                    <a:pt x="413" y="1382"/>
                  </a:lnTo>
                  <a:lnTo>
                    <a:pt x="415" y="1382"/>
                  </a:lnTo>
                  <a:lnTo>
                    <a:pt x="411" y="1382"/>
                  </a:lnTo>
                  <a:lnTo>
                    <a:pt x="411" y="1383"/>
                  </a:lnTo>
                  <a:lnTo>
                    <a:pt x="411" y="1383"/>
                  </a:lnTo>
                  <a:lnTo>
                    <a:pt x="411" y="1386"/>
                  </a:lnTo>
                  <a:lnTo>
                    <a:pt x="410" y="1385"/>
                  </a:lnTo>
                  <a:lnTo>
                    <a:pt x="408" y="1385"/>
                  </a:lnTo>
                  <a:lnTo>
                    <a:pt x="408" y="1386"/>
                  </a:lnTo>
                  <a:lnTo>
                    <a:pt x="407" y="1389"/>
                  </a:lnTo>
                  <a:lnTo>
                    <a:pt x="413" y="1389"/>
                  </a:lnTo>
                  <a:lnTo>
                    <a:pt x="415" y="1388"/>
                  </a:lnTo>
                  <a:lnTo>
                    <a:pt x="415" y="1391"/>
                  </a:lnTo>
                  <a:lnTo>
                    <a:pt x="413" y="1392"/>
                  </a:lnTo>
                  <a:lnTo>
                    <a:pt x="407" y="1394"/>
                  </a:lnTo>
                  <a:lnTo>
                    <a:pt x="407" y="1394"/>
                  </a:lnTo>
                  <a:lnTo>
                    <a:pt x="405" y="1392"/>
                  </a:lnTo>
                  <a:lnTo>
                    <a:pt x="402" y="1389"/>
                  </a:lnTo>
                  <a:lnTo>
                    <a:pt x="401" y="1389"/>
                  </a:lnTo>
                  <a:lnTo>
                    <a:pt x="399" y="1391"/>
                  </a:lnTo>
                  <a:lnTo>
                    <a:pt x="399" y="1392"/>
                  </a:lnTo>
                  <a:lnTo>
                    <a:pt x="399" y="1395"/>
                  </a:lnTo>
                  <a:lnTo>
                    <a:pt x="401" y="1397"/>
                  </a:lnTo>
                  <a:lnTo>
                    <a:pt x="401" y="1398"/>
                  </a:lnTo>
                  <a:lnTo>
                    <a:pt x="401" y="1400"/>
                  </a:lnTo>
                  <a:lnTo>
                    <a:pt x="401" y="1402"/>
                  </a:lnTo>
                  <a:lnTo>
                    <a:pt x="401" y="1403"/>
                  </a:lnTo>
                  <a:lnTo>
                    <a:pt x="399" y="1403"/>
                  </a:lnTo>
                  <a:lnTo>
                    <a:pt x="399" y="1405"/>
                  </a:lnTo>
                  <a:lnTo>
                    <a:pt x="398" y="1408"/>
                  </a:lnTo>
                  <a:lnTo>
                    <a:pt x="398" y="1409"/>
                  </a:lnTo>
                  <a:lnTo>
                    <a:pt x="398" y="1412"/>
                  </a:lnTo>
                  <a:lnTo>
                    <a:pt x="395" y="1414"/>
                  </a:lnTo>
                  <a:lnTo>
                    <a:pt x="395" y="1415"/>
                  </a:lnTo>
                  <a:lnTo>
                    <a:pt x="396" y="1415"/>
                  </a:lnTo>
                  <a:lnTo>
                    <a:pt x="399" y="1415"/>
                  </a:lnTo>
                  <a:lnTo>
                    <a:pt x="404" y="1411"/>
                  </a:lnTo>
                  <a:lnTo>
                    <a:pt x="404" y="1412"/>
                  </a:lnTo>
                  <a:lnTo>
                    <a:pt x="404" y="1412"/>
                  </a:lnTo>
                  <a:lnTo>
                    <a:pt x="405" y="1414"/>
                  </a:lnTo>
                  <a:lnTo>
                    <a:pt x="405" y="1412"/>
                  </a:lnTo>
                  <a:lnTo>
                    <a:pt x="407" y="1412"/>
                  </a:lnTo>
                  <a:lnTo>
                    <a:pt x="407" y="1411"/>
                  </a:lnTo>
                  <a:lnTo>
                    <a:pt x="408" y="1411"/>
                  </a:lnTo>
                  <a:lnTo>
                    <a:pt x="405" y="1414"/>
                  </a:lnTo>
                  <a:lnTo>
                    <a:pt x="398" y="1418"/>
                  </a:lnTo>
                  <a:lnTo>
                    <a:pt x="395" y="1423"/>
                  </a:lnTo>
                  <a:lnTo>
                    <a:pt x="396" y="1423"/>
                  </a:lnTo>
                  <a:lnTo>
                    <a:pt x="399" y="1422"/>
                  </a:lnTo>
                  <a:lnTo>
                    <a:pt x="401" y="1420"/>
                  </a:lnTo>
                  <a:lnTo>
                    <a:pt x="404" y="1418"/>
                  </a:lnTo>
                  <a:lnTo>
                    <a:pt x="407" y="1417"/>
                  </a:lnTo>
                  <a:lnTo>
                    <a:pt x="408" y="1415"/>
                  </a:lnTo>
                  <a:lnTo>
                    <a:pt x="410" y="1415"/>
                  </a:lnTo>
                  <a:lnTo>
                    <a:pt x="411" y="1415"/>
                  </a:lnTo>
                  <a:lnTo>
                    <a:pt x="411" y="1415"/>
                  </a:lnTo>
                  <a:lnTo>
                    <a:pt x="415" y="1420"/>
                  </a:lnTo>
                  <a:lnTo>
                    <a:pt x="411" y="1420"/>
                  </a:lnTo>
                  <a:lnTo>
                    <a:pt x="408" y="1418"/>
                  </a:lnTo>
                  <a:lnTo>
                    <a:pt x="404" y="1423"/>
                  </a:lnTo>
                  <a:lnTo>
                    <a:pt x="398" y="1425"/>
                  </a:lnTo>
                  <a:lnTo>
                    <a:pt x="395" y="1428"/>
                  </a:lnTo>
                  <a:lnTo>
                    <a:pt x="393" y="1429"/>
                  </a:lnTo>
                  <a:lnTo>
                    <a:pt x="391" y="1428"/>
                  </a:lnTo>
                  <a:lnTo>
                    <a:pt x="393" y="1428"/>
                  </a:lnTo>
                  <a:lnTo>
                    <a:pt x="393" y="1428"/>
                  </a:lnTo>
                  <a:lnTo>
                    <a:pt x="393" y="1426"/>
                  </a:lnTo>
                  <a:lnTo>
                    <a:pt x="391" y="1425"/>
                  </a:lnTo>
                  <a:lnTo>
                    <a:pt x="384" y="1429"/>
                  </a:lnTo>
                  <a:lnTo>
                    <a:pt x="385" y="1431"/>
                  </a:lnTo>
                  <a:lnTo>
                    <a:pt x="387" y="1431"/>
                  </a:lnTo>
                  <a:lnTo>
                    <a:pt x="390" y="1431"/>
                  </a:lnTo>
                  <a:lnTo>
                    <a:pt x="390" y="1432"/>
                  </a:lnTo>
                  <a:lnTo>
                    <a:pt x="387" y="1432"/>
                  </a:lnTo>
                  <a:lnTo>
                    <a:pt x="374" y="1440"/>
                  </a:lnTo>
                  <a:lnTo>
                    <a:pt x="365" y="1446"/>
                  </a:lnTo>
                  <a:lnTo>
                    <a:pt x="368" y="1449"/>
                  </a:lnTo>
                  <a:lnTo>
                    <a:pt x="382" y="1446"/>
                  </a:lnTo>
                  <a:lnTo>
                    <a:pt x="382" y="1448"/>
                  </a:lnTo>
                  <a:lnTo>
                    <a:pt x="378" y="1449"/>
                  </a:lnTo>
                  <a:lnTo>
                    <a:pt x="365" y="1455"/>
                  </a:lnTo>
                  <a:lnTo>
                    <a:pt x="365" y="1455"/>
                  </a:lnTo>
                  <a:lnTo>
                    <a:pt x="367" y="1459"/>
                  </a:lnTo>
                  <a:lnTo>
                    <a:pt x="365" y="1462"/>
                  </a:lnTo>
                  <a:lnTo>
                    <a:pt x="365" y="1465"/>
                  </a:lnTo>
                  <a:lnTo>
                    <a:pt x="368" y="1465"/>
                  </a:lnTo>
                  <a:lnTo>
                    <a:pt x="371" y="1462"/>
                  </a:lnTo>
                  <a:lnTo>
                    <a:pt x="371" y="1462"/>
                  </a:lnTo>
                  <a:lnTo>
                    <a:pt x="371" y="1462"/>
                  </a:lnTo>
                  <a:lnTo>
                    <a:pt x="373" y="1462"/>
                  </a:lnTo>
                  <a:lnTo>
                    <a:pt x="373" y="1462"/>
                  </a:lnTo>
                  <a:lnTo>
                    <a:pt x="373" y="1462"/>
                  </a:lnTo>
                  <a:lnTo>
                    <a:pt x="373" y="1460"/>
                  </a:lnTo>
                  <a:lnTo>
                    <a:pt x="373" y="1460"/>
                  </a:lnTo>
                  <a:lnTo>
                    <a:pt x="379" y="1459"/>
                  </a:lnTo>
                  <a:lnTo>
                    <a:pt x="382" y="1455"/>
                  </a:lnTo>
                  <a:lnTo>
                    <a:pt x="388" y="1454"/>
                  </a:lnTo>
                  <a:lnTo>
                    <a:pt x="391" y="1449"/>
                  </a:lnTo>
                  <a:lnTo>
                    <a:pt x="396" y="1448"/>
                  </a:lnTo>
                  <a:lnTo>
                    <a:pt x="398" y="1448"/>
                  </a:lnTo>
                  <a:lnTo>
                    <a:pt x="399" y="1448"/>
                  </a:lnTo>
                  <a:lnTo>
                    <a:pt x="401" y="1446"/>
                  </a:lnTo>
                  <a:lnTo>
                    <a:pt x="401" y="1445"/>
                  </a:lnTo>
                  <a:lnTo>
                    <a:pt x="402" y="1446"/>
                  </a:lnTo>
                  <a:lnTo>
                    <a:pt x="401" y="1448"/>
                  </a:lnTo>
                  <a:lnTo>
                    <a:pt x="401" y="1448"/>
                  </a:lnTo>
                  <a:lnTo>
                    <a:pt x="399" y="1449"/>
                  </a:lnTo>
                  <a:lnTo>
                    <a:pt x="399" y="1452"/>
                  </a:lnTo>
                  <a:lnTo>
                    <a:pt x="401" y="1451"/>
                  </a:lnTo>
                  <a:lnTo>
                    <a:pt x="405" y="1448"/>
                  </a:lnTo>
                  <a:lnTo>
                    <a:pt x="407" y="1448"/>
                  </a:lnTo>
                  <a:lnTo>
                    <a:pt x="404" y="1451"/>
                  </a:lnTo>
                  <a:lnTo>
                    <a:pt x="402" y="1454"/>
                  </a:lnTo>
                  <a:lnTo>
                    <a:pt x="399" y="1455"/>
                  </a:lnTo>
                  <a:lnTo>
                    <a:pt x="393" y="1457"/>
                  </a:lnTo>
                  <a:lnTo>
                    <a:pt x="387" y="1460"/>
                  </a:lnTo>
                  <a:lnTo>
                    <a:pt x="384" y="1460"/>
                  </a:lnTo>
                  <a:lnTo>
                    <a:pt x="384" y="1463"/>
                  </a:lnTo>
                  <a:lnTo>
                    <a:pt x="385" y="1463"/>
                  </a:lnTo>
                  <a:lnTo>
                    <a:pt x="384" y="1463"/>
                  </a:lnTo>
                  <a:lnTo>
                    <a:pt x="384" y="1465"/>
                  </a:lnTo>
                  <a:lnTo>
                    <a:pt x="384" y="1465"/>
                  </a:lnTo>
                  <a:lnTo>
                    <a:pt x="384" y="1465"/>
                  </a:lnTo>
                  <a:lnTo>
                    <a:pt x="385" y="1466"/>
                  </a:lnTo>
                  <a:lnTo>
                    <a:pt x="387" y="1468"/>
                  </a:lnTo>
                  <a:lnTo>
                    <a:pt x="387" y="1469"/>
                  </a:lnTo>
                  <a:lnTo>
                    <a:pt x="385" y="1469"/>
                  </a:lnTo>
                  <a:lnTo>
                    <a:pt x="385" y="1472"/>
                  </a:lnTo>
                  <a:lnTo>
                    <a:pt x="385" y="1474"/>
                  </a:lnTo>
                  <a:lnTo>
                    <a:pt x="387" y="1475"/>
                  </a:lnTo>
                  <a:lnTo>
                    <a:pt x="388" y="1477"/>
                  </a:lnTo>
                  <a:lnTo>
                    <a:pt x="390" y="1477"/>
                  </a:lnTo>
                  <a:lnTo>
                    <a:pt x="391" y="1479"/>
                  </a:lnTo>
                  <a:lnTo>
                    <a:pt x="391" y="1479"/>
                  </a:lnTo>
                  <a:lnTo>
                    <a:pt x="391" y="1480"/>
                  </a:lnTo>
                  <a:lnTo>
                    <a:pt x="391" y="1483"/>
                  </a:lnTo>
                  <a:lnTo>
                    <a:pt x="393" y="1488"/>
                  </a:lnTo>
                  <a:lnTo>
                    <a:pt x="393" y="1491"/>
                  </a:lnTo>
                  <a:lnTo>
                    <a:pt x="396" y="1492"/>
                  </a:lnTo>
                  <a:lnTo>
                    <a:pt x="396" y="1492"/>
                  </a:lnTo>
                  <a:lnTo>
                    <a:pt x="396" y="1492"/>
                  </a:lnTo>
                  <a:lnTo>
                    <a:pt x="398" y="1494"/>
                  </a:lnTo>
                  <a:lnTo>
                    <a:pt x="398" y="1494"/>
                  </a:lnTo>
                  <a:lnTo>
                    <a:pt x="398" y="1494"/>
                  </a:lnTo>
                  <a:lnTo>
                    <a:pt x="399" y="1494"/>
                  </a:lnTo>
                  <a:lnTo>
                    <a:pt x="399" y="1492"/>
                  </a:lnTo>
                  <a:lnTo>
                    <a:pt x="402" y="1492"/>
                  </a:lnTo>
                  <a:lnTo>
                    <a:pt x="405" y="1492"/>
                  </a:lnTo>
                  <a:lnTo>
                    <a:pt x="411" y="1486"/>
                  </a:lnTo>
                  <a:lnTo>
                    <a:pt x="413" y="1486"/>
                  </a:lnTo>
                  <a:lnTo>
                    <a:pt x="415" y="1486"/>
                  </a:lnTo>
                  <a:lnTo>
                    <a:pt x="416" y="1483"/>
                  </a:lnTo>
                  <a:lnTo>
                    <a:pt x="418" y="1483"/>
                  </a:lnTo>
                  <a:lnTo>
                    <a:pt x="422" y="1483"/>
                  </a:lnTo>
                  <a:lnTo>
                    <a:pt x="424" y="1482"/>
                  </a:lnTo>
                  <a:lnTo>
                    <a:pt x="427" y="1480"/>
                  </a:lnTo>
                  <a:lnTo>
                    <a:pt x="428" y="1480"/>
                  </a:lnTo>
                  <a:lnTo>
                    <a:pt x="430" y="1480"/>
                  </a:lnTo>
                  <a:lnTo>
                    <a:pt x="439" y="1472"/>
                  </a:lnTo>
                  <a:lnTo>
                    <a:pt x="441" y="1472"/>
                  </a:lnTo>
                  <a:lnTo>
                    <a:pt x="444" y="1471"/>
                  </a:lnTo>
                  <a:lnTo>
                    <a:pt x="445" y="1469"/>
                  </a:lnTo>
                  <a:lnTo>
                    <a:pt x="447" y="1465"/>
                  </a:lnTo>
                  <a:lnTo>
                    <a:pt x="447" y="1463"/>
                  </a:lnTo>
                  <a:lnTo>
                    <a:pt x="448" y="1462"/>
                  </a:lnTo>
                  <a:lnTo>
                    <a:pt x="455" y="1462"/>
                  </a:lnTo>
                  <a:lnTo>
                    <a:pt x="459" y="1455"/>
                  </a:lnTo>
                  <a:lnTo>
                    <a:pt x="467" y="1454"/>
                  </a:lnTo>
                  <a:lnTo>
                    <a:pt x="470" y="1451"/>
                  </a:lnTo>
                  <a:lnTo>
                    <a:pt x="470" y="1451"/>
                  </a:lnTo>
                  <a:lnTo>
                    <a:pt x="472" y="1449"/>
                  </a:lnTo>
                  <a:lnTo>
                    <a:pt x="472" y="1448"/>
                  </a:lnTo>
                  <a:lnTo>
                    <a:pt x="472" y="1446"/>
                  </a:lnTo>
                  <a:lnTo>
                    <a:pt x="473" y="1443"/>
                  </a:lnTo>
                  <a:lnTo>
                    <a:pt x="473" y="1443"/>
                  </a:lnTo>
                  <a:lnTo>
                    <a:pt x="475" y="1440"/>
                  </a:lnTo>
                  <a:lnTo>
                    <a:pt x="476" y="1438"/>
                  </a:lnTo>
                  <a:lnTo>
                    <a:pt x="478" y="1437"/>
                  </a:lnTo>
                  <a:lnTo>
                    <a:pt x="479" y="1437"/>
                  </a:lnTo>
                  <a:lnTo>
                    <a:pt x="478" y="1432"/>
                  </a:lnTo>
                  <a:lnTo>
                    <a:pt x="476" y="1431"/>
                  </a:lnTo>
                  <a:lnTo>
                    <a:pt x="473" y="1429"/>
                  </a:lnTo>
                  <a:lnTo>
                    <a:pt x="468" y="1426"/>
                  </a:lnTo>
                  <a:lnTo>
                    <a:pt x="467" y="1426"/>
                  </a:lnTo>
                  <a:lnTo>
                    <a:pt x="456" y="1434"/>
                  </a:lnTo>
                  <a:lnTo>
                    <a:pt x="451" y="1435"/>
                  </a:lnTo>
                  <a:lnTo>
                    <a:pt x="450" y="1435"/>
                  </a:lnTo>
                  <a:lnTo>
                    <a:pt x="447" y="1440"/>
                  </a:lnTo>
                  <a:lnTo>
                    <a:pt x="445" y="1440"/>
                  </a:lnTo>
                  <a:lnTo>
                    <a:pt x="444" y="1442"/>
                  </a:lnTo>
                  <a:lnTo>
                    <a:pt x="442" y="1442"/>
                  </a:lnTo>
                  <a:lnTo>
                    <a:pt x="444" y="1438"/>
                  </a:lnTo>
                  <a:lnTo>
                    <a:pt x="447" y="1437"/>
                  </a:lnTo>
                  <a:lnTo>
                    <a:pt x="450" y="1432"/>
                  </a:lnTo>
                  <a:lnTo>
                    <a:pt x="453" y="1431"/>
                  </a:lnTo>
                  <a:lnTo>
                    <a:pt x="461" y="1428"/>
                  </a:lnTo>
                  <a:lnTo>
                    <a:pt x="464" y="1426"/>
                  </a:lnTo>
                  <a:lnTo>
                    <a:pt x="465" y="1425"/>
                  </a:lnTo>
                  <a:lnTo>
                    <a:pt x="467" y="1422"/>
                  </a:lnTo>
                  <a:lnTo>
                    <a:pt x="468" y="1420"/>
                  </a:lnTo>
                  <a:lnTo>
                    <a:pt x="472" y="1417"/>
                  </a:lnTo>
                  <a:lnTo>
                    <a:pt x="487" y="1408"/>
                  </a:lnTo>
                  <a:lnTo>
                    <a:pt x="488" y="1405"/>
                  </a:lnTo>
                  <a:lnTo>
                    <a:pt x="488" y="1405"/>
                  </a:lnTo>
                  <a:lnTo>
                    <a:pt x="490" y="1397"/>
                  </a:lnTo>
                  <a:lnTo>
                    <a:pt x="496" y="1391"/>
                  </a:lnTo>
                  <a:lnTo>
                    <a:pt x="498" y="1389"/>
                  </a:lnTo>
                  <a:lnTo>
                    <a:pt x="501" y="1389"/>
                  </a:lnTo>
                  <a:lnTo>
                    <a:pt x="499" y="1391"/>
                  </a:lnTo>
                  <a:lnTo>
                    <a:pt x="495" y="1395"/>
                  </a:lnTo>
                  <a:lnTo>
                    <a:pt x="493" y="1397"/>
                  </a:lnTo>
                  <a:lnTo>
                    <a:pt x="492" y="1398"/>
                  </a:lnTo>
                  <a:lnTo>
                    <a:pt x="492" y="1400"/>
                  </a:lnTo>
                  <a:lnTo>
                    <a:pt x="493" y="1403"/>
                  </a:lnTo>
                  <a:lnTo>
                    <a:pt x="493" y="1403"/>
                  </a:lnTo>
                  <a:lnTo>
                    <a:pt x="501" y="1405"/>
                  </a:lnTo>
                  <a:lnTo>
                    <a:pt x="505" y="1405"/>
                  </a:lnTo>
                  <a:lnTo>
                    <a:pt x="507" y="1405"/>
                  </a:lnTo>
                  <a:lnTo>
                    <a:pt x="507" y="1406"/>
                  </a:lnTo>
                  <a:lnTo>
                    <a:pt x="510" y="1405"/>
                  </a:lnTo>
                  <a:lnTo>
                    <a:pt x="510" y="1408"/>
                  </a:lnTo>
                  <a:lnTo>
                    <a:pt x="508" y="1409"/>
                  </a:lnTo>
                  <a:lnTo>
                    <a:pt x="505" y="1412"/>
                  </a:lnTo>
                  <a:lnTo>
                    <a:pt x="496" y="1415"/>
                  </a:lnTo>
                  <a:lnTo>
                    <a:pt x="490" y="1418"/>
                  </a:lnTo>
                  <a:lnTo>
                    <a:pt x="490" y="1420"/>
                  </a:lnTo>
                  <a:lnTo>
                    <a:pt x="488" y="1423"/>
                  </a:lnTo>
                  <a:lnTo>
                    <a:pt x="487" y="1425"/>
                  </a:lnTo>
                  <a:lnTo>
                    <a:pt x="482" y="1426"/>
                  </a:lnTo>
                  <a:lnTo>
                    <a:pt x="481" y="1426"/>
                  </a:lnTo>
                  <a:lnTo>
                    <a:pt x="481" y="1428"/>
                  </a:lnTo>
                  <a:lnTo>
                    <a:pt x="481" y="1429"/>
                  </a:lnTo>
                  <a:lnTo>
                    <a:pt x="481" y="1431"/>
                  </a:lnTo>
                  <a:lnTo>
                    <a:pt x="481" y="1432"/>
                  </a:lnTo>
                  <a:lnTo>
                    <a:pt x="481" y="1434"/>
                  </a:lnTo>
                  <a:lnTo>
                    <a:pt x="482" y="1434"/>
                  </a:lnTo>
                  <a:lnTo>
                    <a:pt x="492" y="1431"/>
                  </a:lnTo>
                  <a:lnTo>
                    <a:pt x="495" y="1431"/>
                  </a:lnTo>
                  <a:lnTo>
                    <a:pt x="496" y="1432"/>
                  </a:lnTo>
                  <a:lnTo>
                    <a:pt x="498" y="1434"/>
                  </a:lnTo>
                  <a:lnTo>
                    <a:pt x="499" y="1434"/>
                  </a:lnTo>
                  <a:lnTo>
                    <a:pt x="504" y="1434"/>
                  </a:lnTo>
                  <a:lnTo>
                    <a:pt x="505" y="1437"/>
                  </a:lnTo>
                  <a:lnTo>
                    <a:pt x="505" y="1437"/>
                  </a:lnTo>
                  <a:lnTo>
                    <a:pt x="505" y="1438"/>
                  </a:lnTo>
                  <a:lnTo>
                    <a:pt x="505" y="1438"/>
                  </a:lnTo>
                  <a:lnTo>
                    <a:pt x="505" y="1438"/>
                  </a:lnTo>
                  <a:lnTo>
                    <a:pt x="507" y="1440"/>
                  </a:lnTo>
                  <a:lnTo>
                    <a:pt x="508" y="1440"/>
                  </a:lnTo>
                  <a:lnTo>
                    <a:pt x="508" y="1443"/>
                  </a:lnTo>
                  <a:lnTo>
                    <a:pt x="507" y="1445"/>
                  </a:lnTo>
                  <a:lnTo>
                    <a:pt x="507" y="1445"/>
                  </a:lnTo>
                  <a:lnTo>
                    <a:pt x="499" y="1445"/>
                  </a:lnTo>
                  <a:lnTo>
                    <a:pt x="493" y="1446"/>
                  </a:lnTo>
                  <a:lnTo>
                    <a:pt x="492" y="1449"/>
                  </a:lnTo>
                  <a:lnTo>
                    <a:pt x="488" y="1454"/>
                  </a:lnTo>
                  <a:lnTo>
                    <a:pt x="487" y="1455"/>
                  </a:lnTo>
                  <a:lnTo>
                    <a:pt x="485" y="1457"/>
                  </a:lnTo>
                  <a:lnTo>
                    <a:pt x="482" y="1459"/>
                  </a:lnTo>
                  <a:lnTo>
                    <a:pt x="479" y="1459"/>
                  </a:lnTo>
                  <a:lnTo>
                    <a:pt x="478" y="1457"/>
                  </a:lnTo>
                  <a:lnTo>
                    <a:pt x="476" y="1457"/>
                  </a:lnTo>
                  <a:lnTo>
                    <a:pt x="467" y="1462"/>
                  </a:lnTo>
                  <a:lnTo>
                    <a:pt x="464" y="1468"/>
                  </a:lnTo>
                  <a:lnTo>
                    <a:pt x="462" y="1469"/>
                  </a:lnTo>
                  <a:lnTo>
                    <a:pt x="458" y="1471"/>
                  </a:lnTo>
                  <a:lnTo>
                    <a:pt x="456" y="1472"/>
                  </a:lnTo>
                  <a:lnTo>
                    <a:pt x="453" y="1474"/>
                  </a:lnTo>
                  <a:lnTo>
                    <a:pt x="453" y="1475"/>
                  </a:lnTo>
                  <a:lnTo>
                    <a:pt x="453" y="1475"/>
                  </a:lnTo>
                  <a:lnTo>
                    <a:pt x="453" y="1477"/>
                  </a:lnTo>
                  <a:lnTo>
                    <a:pt x="451" y="1477"/>
                  </a:lnTo>
                  <a:lnTo>
                    <a:pt x="451" y="1479"/>
                  </a:lnTo>
                  <a:lnTo>
                    <a:pt x="451" y="1479"/>
                  </a:lnTo>
                  <a:lnTo>
                    <a:pt x="451" y="1479"/>
                  </a:lnTo>
                  <a:lnTo>
                    <a:pt x="450" y="1480"/>
                  </a:lnTo>
                  <a:lnTo>
                    <a:pt x="450" y="1482"/>
                  </a:lnTo>
                  <a:lnTo>
                    <a:pt x="450" y="1483"/>
                  </a:lnTo>
                  <a:lnTo>
                    <a:pt x="448" y="1483"/>
                  </a:lnTo>
                  <a:lnTo>
                    <a:pt x="448" y="1485"/>
                  </a:lnTo>
                  <a:lnTo>
                    <a:pt x="448" y="1485"/>
                  </a:lnTo>
                  <a:lnTo>
                    <a:pt x="450" y="1485"/>
                  </a:lnTo>
                  <a:lnTo>
                    <a:pt x="451" y="1483"/>
                  </a:lnTo>
                  <a:lnTo>
                    <a:pt x="453" y="1482"/>
                  </a:lnTo>
                  <a:lnTo>
                    <a:pt x="453" y="1482"/>
                  </a:lnTo>
                  <a:lnTo>
                    <a:pt x="456" y="1480"/>
                  </a:lnTo>
                  <a:lnTo>
                    <a:pt x="458" y="1480"/>
                  </a:lnTo>
                  <a:lnTo>
                    <a:pt x="461" y="1477"/>
                  </a:lnTo>
                  <a:lnTo>
                    <a:pt x="462" y="1477"/>
                  </a:lnTo>
                  <a:lnTo>
                    <a:pt x="468" y="1475"/>
                  </a:lnTo>
                  <a:lnTo>
                    <a:pt x="467" y="1479"/>
                  </a:lnTo>
                  <a:lnTo>
                    <a:pt x="465" y="1479"/>
                  </a:lnTo>
                  <a:lnTo>
                    <a:pt x="464" y="1479"/>
                  </a:lnTo>
                  <a:lnTo>
                    <a:pt x="464" y="1480"/>
                  </a:lnTo>
                  <a:lnTo>
                    <a:pt x="462" y="1482"/>
                  </a:lnTo>
                  <a:lnTo>
                    <a:pt x="464" y="1482"/>
                  </a:lnTo>
                  <a:lnTo>
                    <a:pt x="468" y="1483"/>
                  </a:lnTo>
                  <a:lnTo>
                    <a:pt x="468" y="1483"/>
                  </a:lnTo>
                  <a:lnTo>
                    <a:pt x="461" y="1485"/>
                  </a:lnTo>
                  <a:lnTo>
                    <a:pt x="458" y="1486"/>
                  </a:lnTo>
                  <a:lnTo>
                    <a:pt x="456" y="1489"/>
                  </a:lnTo>
                  <a:lnTo>
                    <a:pt x="458" y="1495"/>
                  </a:lnTo>
                  <a:lnTo>
                    <a:pt x="461" y="1497"/>
                  </a:lnTo>
                  <a:lnTo>
                    <a:pt x="467" y="1499"/>
                  </a:lnTo>
                  <a:lnTo>
                    <a:pt x="467" y="1500"/>
                  </a:lnTo>
                  <a:lnTo>
                    <a:pt x="465" y="1502"/>
                  </a:lnTo>
                  <a:lnTo>
                    <a:pt x="464" y="1502"/>
                  </a:lnTo>
                  <a:lnTo>
                    <a:pt x="464" y="1502"/>
                  </a:lnTo>
                  <a:lnTo>
                    <a:pt x="462" y="1502"/>
                  </a:lnTo>
                  <a:lnTo>
                    <a:pt x="461" y="1503"/>
                  </a:lnTo>
                  <a:lnTo>
                    <a:pt x="459" y="1506"/>
                  </a:lnTo>
                  <a:lnTo>
                    <a:pt x="459" y="1506"/>
                  </a:lnTo>
                  <a:lnTo>
                    <a:pt x="458" y="1506"/>
                  </a:lnTo>
                  <a:lnTo>
                    <a:pt x="456" y="1503"/>
                  </a:lnTo>
                  <a:lnTo>
                    <a:pt x="451" y="1502"/>
                  </a:lnTo>
                  <a:lnTo>
                    <a:pt x="450" y="1500"/>
                  </a:lnTo>
                  <a:lnTo>
                    <a:pt x="442" y="1505"/>
                  </a:lnTo>
                  <a:lnTo>
                    <a:pt x="439" y="1503"/>
                  </a:lnTo>
                  <a:lnTo>
                    <a:pt x="438" y="1502"/>
                  </a:lnTo>
                  <a:lnTo>
                    <a:pt x="435" y="1500"/>
                  </a:lnTo>
                  <a:lnTo>
                    <a:pt x="433" y="1500"/>
                  </a:lnTo>
                  <a:lnTo>
                    <a:pt x="430" y="1500"/>
                  </a:lnTo>
                  <a:lnTo>
                    <a:pt x="428" y="1502"/>
                  </a:lnTo>
                  <a:lnTo>
                    <a:pt x="427" y="1503"/>
                  </a:lnTo>
                  <a:lnTo>
                    <a:pt x="425" y="1502"/>
                  </a:lnTo>
                  <a:lnTo>
                    <a:pt x="422" y="1499"/>
                  </a:lnTo>
                  <a:lnTo>
                    <a:pt x="422" y="1499"/>
                  </a:lnTo>
                  <a:lnTo>
                    <a:pt x="411" y="1500"/>
                  </a:lnTo>
                  <a:lnTo>
                    <a:pt x="407" y="1503"/>
                  </a:lnTo>
                  <a:lnTo>
                    <a:pt x="405" y="1505"/>
                  </a:lnTo>
                  <a:lnTo>
                    <a:pt x="404" y="1508"/>
                  </a:lnTo>
                  <a:lnTo>
                    <a:pt x="402" y="1508"/>
                  </a:lnTo>
                  <a:lnTo>
                    <a:pt x="402" y="1508"/>
                  </a:lnTo>
                  <a:lnTo>
                    <a:pt x="402" y="1511"/>
                  </a:lnTo>
                  <a:lnTo>
                    <a:pt x="402" y="1512"/>
                  </a:lnTo>
                  <a:lnTo>
                    <a:pt x="404" y="1514"/>
                  </a:lnTo>
                  <a:lnTo>
                    <a:pt x="404" y="1515"/>
                  </a:lnTo>
                  <a:lnTo>
                    <a:pt x="405" y="1515"/>
                  </a:lnTo>
                  <a:lnTo>
                    <a:pt x="418" y="1519"/>
                  </a:lnTo>
                  <a:lnTo>
                    <a:pt x="419" y="1520"/>
                  </a:lnTo>
                  <a:lnTo>
                    <a:pt x="419" y="1522"/>
                  </a:lnTo>
                  <a:lnTo>
                    <a:pt x="419" y="1522"/>
                  </a:lnTo>
                  <a:lnTo>
                    <a:pt x="419" y="1522"/>
                  </a:lnTo>
                  <a:lnTo>
                    <a:pt x="419" y="1523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5"/>
                  </a:lnTo>
                  <a:lnTo>
                    <a:pt x="419" y="1529"/>
                  </a:lnTo>
                  <a:lnTo>
                    <a:pt x="419" y="1531"/>
                  </a:lnTo>
                  <a:lnTo>
                    <a:pt x="419" y="1531"/>
                  </a:lnTo>
                  <a:lnTo>
                    <a:pt x="418" y="1523"/>
                  </a:lnTo>
                  <a:lnTo>
                    <a:pt x="418" y="1522"/>
                  </a:lnTo>
                  <a:lnTo>
                    <a:pt x="415" y="1522"/>
                  </a:lnTo>
                  <a:lnTo>
                    <a:pt x="410" y="1522"/>
                  </a:lnTo>
                  <a:lnTo>
                    <a:pt x="407" y="1522"/>
                  </a:lnTo>
                  <a:lnTo>
                    <a:pt x="402" y="1517"/>
                  </a:lnTo>
                  <a:lnTo>
                    <a:pt x="401" y="1515"/>
                  </a:lnTo>
                  <a:lnTo>
                    <a:pt x="398" y="1515"/>
                  </a:lnTo>
                  <a:lnTo>
                    <a:pt x="395" y="1519"/>
                  </a:lnTo>
                  <a:lnTo>
                    <a:pt x="391" y="1522"/>
                  </a:lnTo>
                  <a:lnTo>
                    <a:pt x="388" y="1522"/>
                  </a:lnTo>
                  <a:lnTo>
                    <a:pt x="387" y="1522"/>
                  </a:lnTo>
                  <a:lnTo>
                    <a:pt x="395" y="1514"/>
                  </a:lnTo>
                  <a:lnTo>
                    <a:pt x="395" y="1511"/>
                  </a:lnTo>
                  <a:lnTo>
                    <a:pt x="396" y="1505"/>
                  </a:lnTo>
                  <a:lnTo>
                    <a:pt x="395" y="1502"/>
                  </a:lnTo>
                  <a:lnTo>
                    <a:pt x="391" y="1497"/>
                  </a:lnTo>
                  <a:lnTo>
                    <a:pt x="385" y="1491"/>
                  </a:lnTo>
                  <a:lnTo>
                    <a:pt x="385" y="1488"/>
                  </a:lnTo>
                  <a:lnTo>
                    <a:pt x="385" y="1485"/>
                  </a:lnTo>
                  <a:lnTo>
                    <a:pt x="384" y="1482"/>
                  </a:lnTo>
                  <a:lnTo>
                    <a:pt x="384" y="1480"/>
                  </a:lnTo>
                  <a:lnTo>
                    <a:pt x="379" y="1475"/>
                  </a:lnTo>
                  <a:lnTo>
                    <a:pt x="378" y="1472"/>
                  </a:lnTo>
                  <a:lnTo>
                    <a:pt x="379" y="1469"/>
                  </a:lnTo>
                  <a:lnTo>
                    <a:pt x="376" y="1469"/>
                  </a:lnTo>
                  <a:lnTo>
                    <a:pt x="374" y="1469"/>
                  </a:lnTo>
                  <a:lnTo>
                    <a:pt x="370" y="1474"/>
                  </a:lnTo>
                  <a:lnTo>
                    <a:pt x="365" y="1474"/>
                  </a:lnTo>
                  <a:lnTo>
                    <a:pt x="364" y="1475"/>
                  </a:lnTo>
                  <a:lnTo>
                    <a:pt x="361" y="1479"/>
                  </a:lnTo>
                  <a:lnTo>
                    <a:pt x="364" y="1479"/>
                  </a:lnTo>
                  <a:lnTo>
                    <a:pt x="365" y="1480"/>
                  </a:lnTo>
                  <a:lnTo>
                    <a:pt x="367" y="1482"/>
                  </a:lnTo>
                  <a:lnTo>
                    <a:pt x="367" y="1486"/>
                  </a:lnTo>
                  <a:lnTo>
                    <a:pt x="367" y="1485"/>
                  </a:lnTo>
                  <a:lnTo>
                    <a:pt x="365" y="1482"/>
                  </a:lnTo>
                  <a:lnTo>
                    <a:pt x="364" y="1480"/>
                  </a:lnTo>
                  <a:lnTo>
                    <a:pt x="362" y="1480"/>
                  </a:lnTo>
                  <a:lnTo>
                    <a:pt x="361" y="1482"/>
                  </a:lnTo>
                  <a:lnTo>
                    <a:pt x="359" y="1483"/>
                  </a:lnTo>
                  <a:lnTo>
                    <a:pt x="356" y="1489"/>
                  </a:lnTo>
                  <a:lnTo>
                    <a:pt x="354" y="1489"/>
                  </a:lnTo>
                  <a:lnTo>
                    <a:pt x="353" y="1489"/>
                  </a:lnTo>
                  <a:lnTo>
                    <a:pt x="353" y="1488"/>
                  </a:lnTo>
                  <a:lnTo>
                    <a:pt x="353" y="1486"/>
                  </a:lnTo>
                  <a:lnTo>
                    <a:pt x="353" y="1483"/>
                  </a:lnTo>
                  <a:lnTo>
                    <a:pt x="353" y="1483"/>
                  </a:lnTo>
                  <a:lnTo>
                    <a:pt x="351" y="1482"/>
                  </a:lnTo>
                  <a:lnTo>
                    <a:pt x="350" y="1483"/>
                  </a:lnTo>
                  <a:lnTo>
                    <a:pt x="348" y="1486"/>
                  </a:lnTo>
                  <a:lnTo>
                    <a:pt x="347" y="1488"/>
                  </a:lnTo>
                  <a:lnTo>
                    <a:pt x="345" y="1488"/>
                  </a:lnTo>
                  <a:lnTo>
                    <a:pt x="344" y="1486"/>
                  </a:lnTo>
                  <a:lnTo>
                    <a:pt x="342" y="1488"/>
                  </a:lnTo>
                  <a:lnTo>
                    <a:pt x="342" y="1491"/>
                  </a:lnTo>
                  <a:lnTo>
                    <a:pt x="339" y="1491"/>
                  </a:lnTo>
                  <a:lnTo>
                    <a:pt x="336" y="1492"/>
                  </a:lnTo>
                  <a:lnTo>
                    <a:pt x="336" y="1495"/>
                  </a:lnTo>
                  <a:lnTo>
                    <a:pt x="338" y="1499"/>
                  </a:lnTo>
                  <a:lnTo>
                    <a:pt x="341" y="1500"/>
                  </a:lnTo>
                  <a:lnTo>
                    <a:pt x="347" y="1500"/>
                  </a:lnTo>
                  <a:lnTo>
                    <a:pt x="345" y="1499"/>
                  </a:lnTo>
                  <a:lnTo>
                    <a:pt x="345" y="1497"/>
                  </a:lnTo>
                  <a:lnTo>
                    <a:pt x="344" y="1495"/>
                  </a:lnTo>
                  <a:lnTo>
                    <a:pt x="344" y="1492"/>
                  </a:lnTo>
                  <a:lnTo>
                    <a:pt x="345" y="1494"/>
                  </a:lnTo>
                  <a:lnTo>
                    <a:pt x="345" y="1495"/>
                  </a:lnTo>
                  <a:lnTo>
                    <a:pt x="345" y="1497"/>
                  </a:lnTo>
                  <a:lnTo>
                    <a:pt x="347" y="1497"/>
                  </a:lnTo>
                  <a:lnTo>
                    <a:pt x="350" y="1499"/>
                  </a:lnTo>
                  <a:lnTo>
                    <a:pt x="351" y="1499"/>
                  </a:lnTo>
                  <a:lnTo>
                    <a:pt x="359" y="1497"/>
                  </a:lnTo>
                  <a:lnTo>
                    <a:pt x="359" y="1495"/>
                  </a:lnTo>
                  <a:lnTo>
                    <a:pt x="361" y="1495"/>
                  </a:lnTo>
                  <a:lnTo>
                    <a:pt x="361" y="1495"/>
                  </a:lnTo>
                  <a:lnTo>
                    <a:pt x="361" y="1497"/>
                  </a:lnTo>
                  <a:lnTo>
                    <a:pt x="361" y="1497"/>
                  </a:lnTo>
                  <a:lnTo>
                    <a:pt x="338" y="1503"/>
                  </a:lnTo>
                  <a:lnTo>
                    <a:pt x="338" y="1506"/>
                  </a:lnTo>
                  <a:lnTo>
                    <a:pt x="338" y="1509"/>
                  </a:lnTo>
                  <a:lnTo>
                    <a:pt x="339" y="1512"/>
                  </a:lnTo>
                  <a:lnTo>
                    <a:pt x="341" y="1514"/>
                  </a:lnTo>
                  <a:lnTo>
                    <a:pt x="341" y="1514"/>
                  </a:lnTo>
                  <a:lnTo>
                    <a:pt x="342" y="1514"/>
                  </a:lnTo>
                  <a:lnTo>
                    <a:pt x="344" y="1512"/>
                  </a:lnTo>
                  <a:lnTo>
                    <a:pt x="354" y="1512"/>
                  </a:lnTo>
                  <a:lnTo>
                    <a:pt x="358" y="1509"/>
                  </a:lnTo>
                  <a:lnTo>
                    <a:pt x="361" y="1509"/>
                  </a:lnTo>
                  <a:lnTo>
                    <a:pt x="358" y="1512"/>
                  </a:lnTo>
                  <a:lnTo>
                    <a:pt x="344" y="1515"/>
                  </a:lnTo>
                  <a:lnTo>
                    <a:pt x="339" y="1520"/>
                  </a:lnTo>
                  <a:lnTo>
                    <a:pt x="336" y="1522"/>
                  </a:lnTo>
                  <a:lnTo>
                    <a:pt x="334" y="1523"/>
                  </a:lnTo>
                  <a:lnTo>
                    <a:pt x="331" y="1528"/>
                  </a:lnTo>
                  <a:lnTo>
                    <a:pt x="331" y="1523"/>
                  </a:lnTo>
                  <a:lnTo>
                    <a:pt x="333" y="1519"/>
                  </a:lnTo>
                  <a:lnTo>
                    <a:pt x="334" y="1515"/>
                  </a:lnTo>
                  <a:lnTo>
                    <a:pt x="336" y="1514"/>
                  </a:lnTo>
                  <a:lnTo>
                    <a:pt x="334" y="1512"/>
                  </a:lnTo>
                  <a:lnTo>
                    <a:pt x="334" y="1511"/>
                  </a:lnTo>
                  <a:lnTo>
                    <a:pt x="334" y="1508"/>
                  </a:lnTo>
                  <a:lnTo>
                    <a:pt x="333" y="1506"/>
                  </a:lnTo>
                  <a:lnTo>
                    <a:pt x="328" y="1500"/>
                  </a:lnTo>
                  <a:lnTo>
                    <a:pt x="327" y="1499"/>
                  </a:lnTo>
                  <a:lnTo>
                    <a:pt x="325" y="1499"/>
                  </a:lnTo>
                  <a:lnTo>
                    <a:pt x="325" y="1499"/>
                  </a:lnTo>
                  <a:lnTo>
                    <a:pt x="322" y="1502"/>
                  </a:lnTo>
                  <a:lnTo>
                    <a:pt x="322" y="1505"/>
                  </a:lnTo>
                  <a:lnTo>
                    <a:pt x="322" y="1505"/>
                  </a:lnTo>
                  <a:lnTo>
                    <a:pt x="325" y="1505"/>
                  </a:lnTo>
                  <a:lnTo>
                    <a:pt x="325" y="1506"/>
                  </a:lnTo>
                  <a:lnTo>
                    <a:pt x="322" y="1506"/>
                  </a:lnTo>
                  <a:lnTo>
                    <a:pt x="319" y="1506"/>
                  </a:lnTo>
                  <a:lnTo>
                    <a:pt x="316" y="1506"/>
                  </a:lnTo>
                  <a:lnTo>
                    <a:pt x="316" y="1509"/>
                  </a:lnTo>
                  <a:lnTo>
                    <a:pt x="314" y="1508"/>
                  </a:lnTo>
                  <a:lnTo>
                    <a:pt x="313" y="1506"/>
                  </a:lnTo>
                  <a:lnTo>
                    <a:pt x="311" y="1505"/>
                  </a:lnTo>
                  <a:lnTo>
                    <a:pt x="310" y="1505"/>
                  </a:lnTo>
                  <a:lnTo>
                    <a:pt x="308" y="1505"/>
                  </a:lnTo>
                  <a:lnTo>
                    <a:pt x="307" y="1505"/>
                  </a:lnTo>
                  <a:lnTo>
                    <a:pt x="305" y="1508"/>
                  </a:lnTo>
                  <a:lnTo>
                    <a:pt x="304" y="1508"/>
                  </a:lnTo>
                  <a:lnTo>
                    <a:pt x="301" y="1506"/>
                  </a:lnTo>
                  <a:lnTo>
                    <a:pt x="299" y="1508"/>
                  </a:lnTo>
                  <a:lnTo>
                    <a:pt x="297" y="1511"/>
                  </a:lnTo>
                  <a:lnTo>
                    <a:pt x="301" y="1512"/>
                  </a:lnTo>
                  <a:lnTo>
                    <a:pt x="301" y="1514"/>
                  </a:lnTo>
                  <a:lnTo>
                    <a:pt x="302" y="1515"/>
                  </a:lnTo>
                  <a:lnTo>
                    <a:pt x="302" y="1517"/>
                  </a:lnTo>
                  <a:lnTo>
                    <a:pt x="304" y="1517"/>
                  </a:lnTo>
                  <a:lnTo>
                    <a:pt x="305" y="1519"/>
                  </a:lnTo>
                  <a:lnTo>
                    <a:pt x="307" y="1519"/>
                  </a:lnTo>
                  <a:lnTo>
                    <a:pt x="305" y="1520"/>
                  </a:lnTo>
                  <a:lnTo>
                    <a:pt x="302" y="1522"/>
                  </a:lnTo>
                  <a:lnTo>
                    <a:pt x="288" y="1525"/>
                  </a:lnTo>
                  <a:lnTo>
                    <a:pt x="285" y="1528"/>
                  </a:lnTo>
                  <a:lnTo>
                    <a:pt x="288" y="1528"/>
                  </a:lnTo>
                  <a:lnTo>
                    <a:pt x="290" y="1529"/>
                  </a:lnTo>
                  <a:lnTo>
                    <a:pt x="293" y="1534"/>
                  </a:lnTo>
                  <a:lnTo>
                    <a:pt x="294" y="1537"/>
                  </a:lnTo>
                  <a:lnTo>
                    <a:pt x="294" y="1539"/>
                  </a:lnTo>
                  <a:lnTo>
                    <a:pt x="296" y="1542"/>
                  </a:lnTo>
                  <a:lnTo>
                    <a:pt x="296" y="1542"/>
                  </a:lnTo>
                  <a:lnTo>
                    <a:pt x="299" y="1542"/>
                  </a:lnTo>
                  <a:lnTo>
                    <a:pt x="314" y="1540"/>
                  </a:lnTo>
                  <a:lnTo>
                    <a:pt x="321" y="1540"/>
                  </a:lnTo>
                  <a:lnTo>
                    <a:pt x="313" y="1542"/>
                  </a:lnTo>
                  <a:lnTo>
                    <a:pt x="296" y="1546"/>
                  </a:lnTo>
                  <a:lnTo>
                    <a:pt x="293" y="1546"/>
                  </a:lnTo>
                  <a:lnTo>
                    <a:pt x="293" y="1549"/>
                  </a:lnTo>
                  <a:lnTo>
                    <a:pt x="293" y="1552"/>
                  </a:lnTo>
                  <a:lnTo>
                    <a:pt x="296" y="1554"/>
                  </a:lnTo>
                  <a:lnTo>
                    <a:pt x="297" y="1557"/>
                  </a:lnTo>
                  <a:lnTo>
                    <a:pt x="291" y="1554"/>
                  </a:lnTo>
                  <a:lnTo>
                    <a:pt x="268" y="1551"/>
                  </a:lnTo>
                  <a:lnTo>
                    <a:pt x="268" y="1552"/>
                  </a:lnTo>
                  <a:lnTo>
                    <a:pt x="271" y="1554"/>
                  </a:lnTo>
                  <a:lnTo>
                    <a:pt x="273" y="1556"/>
                  </a:lnTo>
                  <a:lnTo>
                    <a:pt x="274" y="1557"/>
                  </a:lnTo>
                  <a:lnTo>
                    <a:pt x="273" y="1559"/>
                  </a:lnTo>
                  <a:lnTo>
                    <a:pt x="274" y="1560"/>
                  </a:lnTo>
                  <a:lnTo>
                    <a:pt x="274" y="1560"/>
                  </a:lnTo>
                  <a:lnTo>
                    <a:pt x="274" y="1562"/>
                  </a:lnTo>
                  <a:lnTo>
                    <a:pt x="274" y="1562"/>
                  </a:lnTo>
                  <a:lnTo>
                    <a:pt x="273" y="1563"/>
                  </a:lnTo>
                  <a:lnTo>
                    <a:pt x="271" y="1563"/>
                  </a:lnTo>
                  <a:lnTo>
                    <a:pt x="271" y="1562"/>
                  </a:lnTo>
                  <a:lnTo>
                    <a:pt x="271" y="1560"/>
                  </a:lnTo>
                  <a:lnTo>
                    <a:pt x="271" y="1560"/>
                  </a:lnTo>
                  <a:lnTo>
                    <a:pt x="270" y="1559"/>
                  </a:lnTo>
                  <a:lnTo>
                    <a:pt x="268" y="1556"/>
                  </a:lnTo>
                  <a:lnTo>
                    <a:pt x="267" y="1554"/>
                  </a:lnTo>
                  <a:lnTo>
                    <a:pt x="264" y="1554"/>
                  </a:lnTo>
                  <a:lnTo>
                    <a:pt x="262" y="1557"/>
                  </a:lnTo>
                  <a:lnTo>
                    <a:pt x="264" y="1559"/>
                  </a:lnTo>
                  <a:lnTo>
                    <a:pt x="265" y="1560"/>
                  </a:lnTo>
                  <a:lnTo>
                    <a:pt x="267" y="1563"/>
                  </a:lnTo>
                  <a:lnTo>
                    <a:pt x="267" y="1565"/>
                  </a:lnTo>
                  <a:lnTo>
                    <a:pt x="267" y="1565"/>
                  </a:lnTo>
                  <a:lnTo>
                    <a:pt x="267" y="1565"/>
                  </a:lnTo>
                  <a:lnTo>
                    <a:pt x="267" y="1566"/>
                  </a:lnTo>
                  <a:lnTo>
                    <a:pt x="267" y="1568"/>
                  </a:lnTo>
                  <a:lnTo>
                    <a:pt x="267" y="1569"/>
                  </a:lnTo>
                  <a:lnTo>
                    <a:pt x="267" y="1569"/>
                  </a:lnTo>
                  <a:lnTo>
                    <a:pt x="268" y="1571"/>
                  </a:lnTo>
                  <a:lnTo>
                    <a:pt x="270" y="1572"/>
                  </a:lnTo>
                  <a:lnTo>
                    <a:pt x="273" y="1572"/>
                  </a:lnTo>
                  <a:lnTo>
                    <a:pt x="282" y="1571"/>
                  </a:lnTo>
                  <a:lnTo>
                    <a:pt x="285" y="1572"/>
                  </a:lnTo>
                  <a:lnTo>
                    <a:pt x="282" y="1574"/>
                  </a:lnTo>
                  <a:lnTo>
                    <a:pt x="276" y="1574"/>
                  </a:lnTo>
                  <a:lnTo>
                    <a:pt x="274" y="1576"/>
                  </a:lnTo>
                  <a:lnTo>
                    <a:pt x="276" y="1577"/>
                  </a:lnTo>
                  <a:lnTo>
                    <a:pt x="276" y="1577"/>
                  </a:lnTo>
                  <a:lnTo>
                    <a:pt x="277" y="1577"/>
                  </a:lnTo>
                  <a:lnTo>
                    <a:pt x="277" y="1580"/>
                  </a:lnTo>
                  <a:lnTo>
                    <a:pt x="277" y="1580"/>
                  </a:lnTo>
                  <a:lnTo>
                    <a:pt x="279" y="1580"/>
                  </a:lnTo>
                  <a:lnTo>
                    <a:pt x="287" y="1577"/>
                  </a:lnTo>
                  <a:lnTo>
                    <a:pt x="291" y="1572"/>
                  </a:lnTo>
                  <a:lnTo>
                    <a:pt x="294" y="1572"/>
                  </a:lnTo>
                  <a:lnTo>
                    <a:pt x="290" y="1576"/>
                  </a:lnTo>
                  <a:lnTo>
                    <a:pt x="290" y="1577"/>
                  </a:lnTo>
                  <a:lnTo>
                    <a:pt x="291" y="1579"/>
                  </a:lnTo>
                  <a:lnTo>
                    <a:pt x="293" y="1579"/>
                  </a:lnTo>
                  <a:lnTo>
                    <a:pt x="297" y="1577"/>
                  </a:lnTo>
                  <a:lnTo>
                    <a:pt x="301" y="1579"/>
                  </a:lnTo>
                  <a:lnTo>
                    <a:pt x="297" y="1580"/>
                  </a:lnTo>
                  <a:lnTo>
                    <a:pt x="281" y="1582"/>
                  </a:lnTo>
                  <a:lnTo>
                    <a:pt x="282" y="1585"/>
                  </a:lnTo>
                  <a:lnTo>
                    <a:pt x="285" y="1591"/>
                  </a:lnTo>
                  <a:lnTo>
                    <a:pt x="287" y="1592"/>
                  </a:lnTo>
                  <a:lnTo>
                    <a:pt x="288" y="1592"/>
                  </a:lnTo>
                  <a:lnTo>
                    <a:pt x="294" y="1594"/>
                  </a:lnTo>
                  <a:lnTo>
                    <a:pt x="296" y="1596"/>
                  </a:lnTo>
                  <a:lnTo>
                    <a:pt x="302" y="1605"/>
                  </a:lnTo>
                  <a:lnTo>
                    <a:pt x="301" y="1603"/>
                  </a:lnTo>
                  <a:lnTo>
                    <a:pt x="299" y="1602"/>
                  </a:lnTo>
                  <a:lnTo>
                    <a:pt x="297" y="1602"/>
                  </a:lnTo>
                  <a:lnTo>
                    <a:pt x="296" y="1600"/>
                  </a:lnTo>
                  <a:lnTo>
                    <a:pt x="296" y="1599"/>
                  </a:lnTo>
                  <a:lnTo>
                    <a:pt x="294" y="1597"/>
                  </a:lnTo>
                  <a:lnTo>
                    <a:pt x="293" y="1596"/>
                  </a:lnTo>
                  <a:lnTo>
                    <a:pt x="284" y="1592"/>
                  </a:lnTo>
                  <a:lnTo>
                    <a:pt x="282" y="1592"/>
                  </a:lnTo>
                  <a:lnTo>
                    <a:pt x="284" y="1594"/>
                  </a:lnTo>
                  <a:lnTo>
                    <a:pt x="290" y="1597"/>
                  </a:lnTo>
                  <a:lnTo>
                    <a:pt x="290" y="1600"/>
                  </a:lnTo>
                  <a:lnTo>
                    <a:pt x="290" y="1600"/>
                  </a:lnTo>
                  <a:lnTo>
                    <a:pt x="287" y="1600"/>
                  </a:lnTo>
                  <a:lnTo>
                    <a:pt x="281" y="1594"/>
                  </a:lnTo>
                  <a:lnTo>
                    <a:pt x="279" y="1594"/>
                  </a:lnTo>
                  <a:lnTo>
                    <a:pt x="277" y="1594"/>
                  </a:lnTo>
                  <a:lnTo>
                    <a:pt x="276" y="1594"/>
                  </a:lnTo>
                  <a:lnTo>
                    <a:pt x="274" y="1596"/>
                  </a:lnTo>
                  <a:lnTo>
                    <a:pt x="274" y="1594"/>
                  </a:lnTo>
                  <a:lnTo>
                    <a:pt x="276" y="1589"/>
                  </a:lnTo>
                  <a:lnTo>
                    <a:pt x="274" y="1586"/>
                  </a:lnTo>
                  <a:lnTo>
                    <a:pt x="273" y="1585"/>
                  </a:lnTo>
                  <a:lnTo>
                    <a:pt x="276" y="1582"/>
                  </a:lnTo>
                  <a:lnTo>
                    <a:pt x="276" y="1580"/>
                  </a:lnTo>
                  <a:lnTo>
                    <a:pt x="274" y="1580"/>
                  </a:lnTo>
                  <a:lnTo>
                    <a:pt x="274" y="1579"/>
                  </a:lnTo>
                  <a:lnTo>
                    <a:pt x="273" y="1579"/>
                  </a:lnTo>
                  <a:lnTo>
                    <a:pt x="273" y="1579"/>
                  </a:lnTo>
                  <a:lnTo>
                    <a:pt x="271" y="1579"/>
                  </a:lnTo>
                  <a:lnTo>
                    <a:pt x="270" y="1576"/>
                  </a:lnTo>
                  <a:lnTo>
                    <a:pt x="268" y="1574"/>
                  </a:lnTo>
                  <a:lnTo>
                    <a:pt x="264" y="1572"/>
                  </a:lnTo>
                  <a:lnTo>
                    <a:pt x="262" y="1571"/>
                  </a:lnTo>
                  <a:lnTo>
                    <a:pt x="261" y="1569"/>
                  </a:lnTo>
                  <a:lnTo>
                    <a:pt x="261" y="1568"/>
                  </a:lnTo>
                  <a:lnTo>
                    <a:pt x="261" y="1562"/>
                  </a:lnTo>
                  <a:lnTo>
                    <a:pt x="259" y="1560"/>
                  </a:lnTo>
                  <a:lnTo>
                    <a:pt x="257" y="1559"/>
                  </a:lnTo>
                  <a:lnTo>
                    <a:pt x="256" y="1557"/>
                  </a:lnTo>
                  <a:lnTo>
                    <a:pt x="254" y="1557"/>
                  </a:lnTo>
                  <a:lnTo>
                    <a:pt x="253" y="1557"/>
                  </a:lnTo>
                  <a:lnTo>
                    <a:pt x="251" y="1559"/>
                  </a:lnTo>
                  <a:lnTo>
                    <a:pt x="250" y="1560"/>
                  </a:lnTo>
                  <a:lnTo>
                    <a:pt x="248" y="1562"/>
                  </a:lnTo>
                  <a:lnTo>
                    <a:pt x="247" y="1568"/>
                  </a:lnTo>
                  <a:lnTo>
                    <a:pt x="245" y="1569"/>
                  </a:lnTo>
                  <a:lnTo>
                    <a:pt x="242" y="1572"/>
                  </a:lnTo>
                  <a:lnTo>
                    <a:pt x="240" y="1574"/>
                  </a:lnTo>
                  <a:lnTo>
                    <a:pt x="242" y="1576"/>
                  </a:lnTo>
                  <a:lnTo>
                    <a:pt x="244" y="1576"/>
                  </a:lnTo>
                  <a:lnTo>
                    <a:pt x="247" y="1576"/>
                  </a:lnTo>
                  <a:lnTo>
                    <a:pt x="248" y="1574"/>
                  </a:lnTo>
                  <a:lnTo>
                    <a:pt x="248" y="1572"/>
                  </a:lnTo>
                  <a:lnTo>
                    <a:pt x="247" y="1572"/>
                  </a:lnTo>
                  <a:lnTo>
                    <a:pt x="247" y="1572"/>
                  </a:lnTo>
                  <a:lnTo>
                    <a:pt x="247" y="1572"/>
                  </a:lnTo>
                  <a:lnTo>
                    <a:pt x="247" y="1571"/>
                  </a:lnTo>
                  <a:lnTo>
                    <a:pt x="247" y="1571"/>
                  </a:lnTo>
                  <a:lnTo>
                    <a:pt x="248" y="1571"/>
                  </a:lnTo>
                  <a:lnTo>
                    <a:pt x="248" y="1571"/>
                  </a:lnTo>
                  <a:lnTo>
                    <a:pt x="250" y="1572"/>
                  </a:lnTo>
                  <a:lnTo>
                    <a:pt x="250" y="1574"/>
                  </a:lnTo>
                  <a:lnTo>
                    <a:pt x="250" y="1574"/>
                  </a:lnTo>
                  <a:lnTo>
                    <a:pt x="257" y="1580"/>
                  </a:lnTo>
                  <a:lnTo>
                    <a:pt x="261" y="1582"/>
                  </a:lnTo>
                  <a:lnTo>
                    <a:pt x="261" y="1583"/>
                  </a:lnTo>
                  <a:lnTo>
                    <a:pt x="262" y="1585"/>
                  </a:lnTo>
                  <a:lnTo>
                    <a:pt x="262" y="1586"/>
                  </a:lnTo>
                  <a:lnTo>
                    <a:pt x="262" y="1588"/>
                  </a:lnTo>
                  <a:lnTo>
                    <a:pt x="264" y="1588"/>
                  </a:lnTo>
                  <a:lnTo>
                    <a:pt x="264" y="1589"/>
                  </a:lnTo>
                  <a:lnTo>
                    <a:pt x="265" y="1589"/>
                  </a:lnTo>
                  <a:lnTo>
                    <a:pt x="265" y="1589"/>
                  </a:lnTo>
                  <a:lnTo>
                    <a:pt x="265" y="1591"/>
                  </a:lnTo>
                  <a:lnTo>
                    <a:pt x="264" y="1591"/>
                  </a:lnTo>
                  <a:lnTo>
                    <a:pt x="264" y="1592"/>
                  </a:lnTo>
                  <a:lnTo>
                    <a:pt x="262" y="1596"/>
                  </a:lnTo>
                  <a:lnTo>
                    <a:pt x="264" y="1599"/>
                  </a:lnTo>
                  <a:lnTo>
                    <a:pt x="264" y="1600"/>
                  </a:lnTo>
                  <a:lnTo>
                    <a:pt x="268" y="1605"/>
                  </a:lnTo>
                  <a:lnTo>
                    <a:pt x="274" y="1608"/>
                  </a:lnTo>
                  <a:lnTo>
                    <a:pt x="279" y="1612"/>
                  </a:lnTo>
                  <a:lnTo>
                    <a:pt x="284" y="1616"/>
                  </a:lnTo>
                  <a:lnTo>
                    <a:pt x="291" y="1622"/>
                  </a:lnTo>
                  <a:lnTo>
                    <a:pt x="293" y="1623"/>
                  </a:lnTo>
                  <a:lnTo>
                    <a:pt x="293" y="1628"/>
                  </a:lnTo>
                  <a:lnTo>
                    <a:pt x="291" y="1631"/>
                  </a:lnTo>
                  <a:lnTo>
                    <a:pt x="290" y="1626"/>
                  </a:lnTo>
                  <a:lnTo>
                    <a:pt x="288" y="1623"/>
                  </a:lnTo>
                  <a:lnTo>
                    <a:pt x="287" y="1622"/>
                  </a:lnTo>
                  <a:lnTo>
                    <a:pt x="284" y="1622"/>
                  </a:lnTo>
                  <a:lnTo>
                    <a:pt x="281" y="1620"/>
                  </a:lnTo>
                  <a:lnTo>
                    <a:pt x="274" y="1612"/>
                  </a:lnTo>
                  <a:lnTo>
                    <a:pt x="271" y="1611"/>
                  </a:lnTo>
                  <a:lnTo>
                    <a:pt x="264" y="1608"/>
                  </a:lnTo>
                  <a:lnTo>
                    <a:pt x="262" y="1606"/>
                  </a:lnTo>
                  <a:lnTo>
                    <a:pt x="261" y="1602"/>
                  </a:lnTo>
                  <a:lnTo>
                    <a:pt x="259" y="1597"/>
                  </a:lnTo>
                  <a:lnTo>
                    <a:pt x="259" y="1592"/>
                  </a:lnTo>
                  <a:lnTo>
                    <a:pt x="259" y="1589"/>
                  </a:lnTo>
                  <a:lnTo>
                    <a:pt x="257" y="1588"/>
                  </a:lnTo>
                  <a:lnTo>
                    <a:pt x="257" y="1586"/>
                  </a:lnTo>
                  <a:lnTo>
                    <a:pt x="257" y="1586"/>
                  </a:lnTo>
                  <a:lnTo>
                    <a:pt x="256" y="1585"/>
                  </a:lnTo>
                  <a:lnTo>
                    <a:pt x="256" y="1583"/>
                  </a:lnTo>
                  <a:lnTo>
                    <a:pt x="248" y="1579"/>
                  </a:lnTo>
                  <a:lnTo>
                    <a:pt x="245" y="1579"/>
                  </a:lnTo>
                  <a:lnTo>
                    <a:pt x="242" y="1583"/>
                  </a:lnTo>
                  <a:lnTo>
                    <a:pt x="242" y="1583"/>
                  </a:lnTo>
                  <a:lnTo>
                    <a:pt x="239" y="1583"/>
                  </a:lnTo>
                  <a:lnTo>
                    <a:pt x="237" y="1583"/>
                  </a:lnTo>
                  <a:lnTo>
                    <a:pt x="228" y="1589"/>
                  </a:lnTo>
                  <a:lnTo>
                    <a:pt x="225" y="1589"/>
                  </a:lnTo>
                  <a:lnTo>
                    <a:pt x="231" y="1585"/>
                  </a:lnTo>
                  <a:lnTo>
                    <a:pt x="233" y="1583"/>
                  </a:lnTo>
                  <a:lnTo>
                    <a:pt x="233" y="1582"/>
                  </a:lnTo>
                  <a:lnTo>
                    <a:pt x="234" y="1580"/>
                  </a:lnTo>
                  <a:lnTo>
                    <a:pt x="233" y="1579"/>
                  </a:lnTo>
                  <a:lnTo>
                    <a:pt x="227" y="1579"/>
                  </a:lnTo>
                  <a:lnTo>
                    <a:pt x="225" y="1579"/>
                  </a:lnTo>
                  <a:lnTo>
                    <a:pt x="222" y="1582"/>
                  </a:lnTo>
                  <a:lnTo>
                    <a:pt x="217" y="1586"/>
                  </a:lnTo>
                  <a:lnTo>
                    <a:pt x="213" y="1589"/>
                  </a:lnTo>
                  <a:lnTo>
                    <a:pt x="208" y="1589"/>
                  </a:lnTo>
                  <a:lnTo>
                    <a:pt x="208" y="1585"/>
                  </a:lnTo>
                  <a:lnTo>
                    <a:pt x="207" y="1583"/>
                  </a:lnTo>
                  <a:lnTo>
                    <a:pt x="204" y="1580"/>
                  </a:lnTo>
                  <a:lnTo>
                    <a:pt x="202" y="1579"/>
                  </a:lnTo>
                  <a:lnTo>
                    <a:pt x="197" y="1574"/>
                  </a:lnTo>
                  <a:lnTo>
                    <a:pt x="196" y="1572"/>
                  </a:lnTo>
                  <a:lnTo>
                    <a:pt x="193" y="1572"/>
                  </a:lnTo>
                  <a:lnTo>
                    <a:pt x="188" y="1576"/>
                  </a:lnTo>
                  <a:lnTo>
                    <a:pt x="184" y="1577"/>
                  </a:lnTo>
                  <a:lnTo>
                    <a:pt x="182" y="1579"/>
                  </a:lnTo>
                  <a:lnTo>
                    <a:pt x="176" y="1583"/>
                  </a:lnTo>
                  <a:lnTo>
                    <a:pt x="170" y="1586"/>
                  </a:lnTo>
                  <a:lnTo>
                    <a:pt x="168" y="1588"/>
                  </a:lnTo>
                  <a:lnTo>
                    <a:pt x="167" y="1589"/>
                  </a:lnTo>
                  <a:lnTo>
                    <a:pt x="171" y="1589"/>
                  </a:lnTo>
                  <a:lnTo>
                    <a:pt x="171" y="1591"/>
                  </a:lnTo>
                  <a:lnTo>
                    <a:pt x="173" y="1594"/>
                  </a:lnTo>
                  <a:lnTo>
                    <a:pt x="176" y="1600"/>
                  </a:lnTo>
                  <a:lnTo>
                    <a:pt x="177" y="1602"/>
                  </a:lnTo>
                  <a:lnTo>
                    <a:pt x="185" y="1600"/>
                  </a:lnTo>
                  <a:lnTo>
                    <a:pt x="187" y="1602"/>
                  </a:lnTo>
                  <a:lnTo>
                    <a:pt x="190" y="1605"/>
                  </a:lnTo>
                  <a:lnTo>
                    <a:pt x="191" y="1606"/>
                  </a:lnTo>
                  <a:lnTo>
                    <a:pt x="180" y="1603"/>
                  </a:lnTo>
                  <a:lnTo>
                    <a:pt x="176" y="1606"/>
                  </a:lnTo>
                  <a:lnTo>
                    <a:pt x="174" y="1608"/>
                  </a:lnTo>
                  <a:lnTo>
                    <a:pt x="173" y="1611"/>
                  </a:lnTo>
                  <a:lnTo>
                    <a:pt x="173" y="1612"/>
                  </a:lnTo>
                  <a:lnTo>
                    <a:pt x="173" y="1614"/>
                  </a:lnTo>
                  <a:lnTo>
                    <a:pt x="174" y="1614"/>
                  </a:lnTo>
                  <a:lnTo>
                    <a:pt x="174" y="1616"/>
                  </a:lnTo>
                  <a:lnTo>
                    <a:pt x="174" y="1617"/>
                  </a:lnTo>
                  <a:lnTo>
                    <a:pt x="174" y="1619"/>
                  </a:lnTo>
                  <a:lnTo>
                    <a:pt x="173" y="1619"/>
                  </a:lnTo>
                  <a:lnTo>
                    <a:pt x="173" y="1619"/>
                  </a:lnTo>
                  <a:lnTo>
                    <a:pt x="174" y="1620"/>
                  </a:lnTo>
                  <a:lnTo>
                    <a:pt x="199" y="1617"/>
                  </a:lnTo>
                  <a:lnTo>
                    <a:pt x="202" y="1616"/>
                  </a:lnTo>
                  <a:lnTo>
                    <a:pt x="205" y="1616"/>
                  </a:lnTo>
                  <a:lnTo>
                    <a:pt x="207" y="1614"/>
                  </a:lnTo>
                  <a:lnTo>
                    <a:pt x="210" y="1612"/>
                  </a:lnTo>
                  <a:lnTo>
                    <a:pt x="220" y="1609"/>
                  </a:lnTo>
                  <a:lnTo>
                    <a:pt x="225" y="1609"/>
                  </a:lnTo>
                  <a:lnTo>
                    <a:pt x="227" y="1609"/>
                  </a:lnTo>
                  <a:lnTo>
                    <a:pt x="211" y="1614"/>
                  </a:lnTo>
                  <a:lnTo>
                    <a:pt x="205" y="1619"/>
                  </a:lnTo>
                  <a:lnTo>
                    <a:pt x="204" y="1619"/>
                  </a:lnTo>
                  <a:lnTo>
                    <a:pt x="205" y="1620"/>
                  </a:lnTo>
                  <a:lnTo>
                    <a:pt x="205" y="1622"/>
                  </a:lnTo>
                  <a:lnTo>
                    <a:pt x="205" y="1623"/>
                  </a:lnTo>
                  <a:lnTo>
                    <a:pt x="202" y="1625"/>
                  </a:lnTo>
                  <a:lnTo>
                    <a:pt x="205" y="1626"/>
                  </a:lnTo>
                  <a:lnTo>
                    <a:pt x="213" y="1626"/>
                  </a:lnTo>
                  <a:lnTo>
                    <a:pt x="214" y="1626"/>
                  </a:lnTo>
                  <a:lnTo>
                    <a:pt x="224" y="1620"/>
                  </a:lnTo>
                  <a:lnTo>
                    <a:pt x="240" y="1616"/>
                  </a:lnTo>
                  <a:lnTo>
                    <a:pt x="244" y="1614"/>
                  </a:lnTo>
                  <a:lnTo>
                    <a:pt x="250" y="1612"/>
                  </a:lnTo>
                  <a:lnTo>
                    <a:pt x="254" y="1611"/>
                  </a:lnTo>
                  <a:lnTo>
                    <a:pt x="256" y="1611"/>
                  </a:lnTo>
                  <a:lnTo>
                    <a:pt x="256" y="1612"/>
                  </a:lnTo>
                  <a:lnTo>
                    <a:pt x="254" y="1614"/>
                  </a:lnTo>
                  <a:lnTo>
                    <a:pt x="254" y="1614"/>
                  </a:lnTo>
                  <a:lnTo>
                    <a:pt x="253" y="1614"/>
                  </a:lnTo>
                  <a:lnTo>
                    <a:pt x="254" y="1619"/>
                  </a:lnTo>
                  <a:lnTo>
                    <a:pt x="261" y="1622"/>
                  </a:lnTo>
                  <a:lnTo>
                    <a:pt x="261" y="1626"/>
                  </a:lnTo>
                  <a:lnTo>
                    <a:pt x="259" y="1625"/>
                  </a:lnTo>
                  <a:lnTo>
                    <a:pt x="253" y="1620"/>
                  </a:lnTo>
                  <a:lnTo>
                    <a:pt x="251" y="1619"/>
                  </a:lnTo>
                  <a:lnTo>
                    <a:pt x="250" y="1619"/>
                  </a:lnTo>
                  <a:lnTo>
                    <a:pt x="247" y="1619"/>
                  </a:lnTo>
                  <a:lnTo>
                    <a:pt x="237" y="1619"/>
                  </a:lnTo>
                  <a:lnTo>
                    <a:pt x="222" y="1625"/>
                  </a:lnTo>
                  <a:lnTo>
                    <a:pt x="219" y="1628"/>
                  </a:lnTo>
                  <a:lnTo>
                    <a:pt x="214" y="1628"/>
                  </a:lnTo>
                  <a:lnTo>
                    <a:pt x="214" y="1629"/>
                  </a:lnTo>
                  <a:lnTo>
                    <a:pt x="214" y="1633"/>
                  </a:lnTo>
                  <a:lnTo>
                    <a:pt x="216" y="1639"/>
                  </a:lnTo>
                  <a:lnTo>
                    <a:pt x="216" y="1642"/>
                  </a:lnTo>
                  <a:lnTo>
                    <a:pt x="214" y="1643"/>
                  </a:lnTo>
                  <a:lnTo>
                    <a:pt x="213" y="1642"/>
                  </a:lnTo>
                  <a:lnTo>
                    <a:pt x="213" y="1637"/>
                  </a:lnTo>
                  <a:lnTo>
                    <a:pt x="211" y="1634"/>
                  </a:lnTo>
                  <a:lnTo>
                    <a:pt x="208" y="1633"/>
                  </a:lnTo>
                  <a:lnTo>
                    <a:pt x="207" y="1636"/>
                  </a:lnTo>
                  <a:lnTo>
                    <a:pt x="207" y="1639"/>
                  </a:lnTo>
                  <a:lnTo>
                    <a:pt x="207" y="1640"/>
                  </a:lnTo>
                  <a:lnTo>
                    <a:pt x="208" y="1643"/>
                  </a:lnTo>
                  <a:lnTo>
                    <a:pt x="210" y="1645"/>
                  </a:lnTo>
                  <a:lnTo>
                    <a:pt x="213" y="1646"/>
                  </a:lnTo>
                  <a:lnTo>
                    <a:pt x="231" y="1643"/>
                  </a:lnTo>
                  <a:lnTo>
                    <a:pt x="234" y="1645"/>
                  </a:lnTo>
                  <a:lnTo>
                    <a:pt x="219" y="1648"/>
                  </a:lnTo>
                  <a:lnTo>
                    <a:pt x="219" y="1648"/>
                  </a:lnTo>
                  <a:lnTo>
                    <a:pt x="217" y="1649"/>
                  </a:lnTo>
                  <a:lnTo>
                    <a:pt x="217" y="1653"/>
                  </a:lnTo>
                  <a:lnTo>
                    <a:pt x="217" y="1654"/>
                  </a:lnTo>
                  <a:lnTo>
                    <a:pt x="216" y="1656"/>
                  </a:lnTo>
                  <a:lnTo>
                    <a:pt x="216" y="1656"/>
                  </a:lnTo>
                  <a:lnTo>
                    <a:pt x="214" y="1653"/>
                  </a:lnTo>
                  <a:lnTo>
                    <a:pt x="214" y="1649"/>
                  </a:lnTo>
                  <a:lnTo>
                    <a:pt x="213" y="1649"/>
                  </a:lnTo>
                  <a:lnTo>
                    <a:pt x="208" y="1649"/>
                  </a:lnTo>
                  <a:lnTo>
                    <a:pt x="204" y="1642"/>
                  </a:lnTo>
                  <a:lnTo>
                    <a:pt x="199" y="1640"/>
                  </a:lnTo>
                  <a:lnTo>
                    <a:pt x="191" y="1639"/>
                  </a:lnTo>
                  <a:lnTo>
                    <a:pt x="188" y="1636"/>
                  </a:lnTo>
                  <a:lnTo>
                    <a:pt x="188" y="1636"/>
                  </a:lnTo>
                  <a:lnTo>
                    <a:pt x="185" y="1640"/>
                  </a:lnTo>
                  <a:lnTo>
                    <a:pt x="187" y="1642"/>
                  </a:lnTo>
                  <a:lnTo>
                    <a:pt x="187" y="1643"/>
                  </a:lnTo>
                  <a:lnTo>
                    <a:pt x="187" y="1645"/>
                  </a:lnTo>
                  <a:lnTo>
                    <a:pt x="187" y="1646"/>
                  </a:lnTo>
                  <a:lnTo>
                    <a:pt x="187" y="1649"/>
                  </a:lnTo>
                  <a:lnTo>
                    <a:pt x="185" y="1651"/>
                  </a:lnTo>
                  <a:lnTo>
                    <a:pt x="185" y="1651"/>
                  </a:lnTo>
                  <a:lnTo>
                    <a:pt x="185" y="1648"/>
                  </a:lnTo>
                  <a:lnTo>
                    <a:pt x="184" y="1643"/>
                  </a:lnTo>
                  <a:lnTo>
                    <a:pt x="184" y="1640"/>
                  </a:lnTo>
                  <a:lnTo>
                    <a:pt x="184" y="1639"/>
                  </a:lnTo>
                  <a:lnTo>
                    <a:pt x="179" y="1639"/>
                  </a:lnTo>
                  <a:lnTo>
                    <a:pt x="179" y="1637"/>
                  </a:lnTo>
                  <a:lnTo>
                    <a:pt x="180" y="1637"/>
                  </a:lnTo>
                  <a:lnTo>
                    <a:pt x="180" y="1636"/>
                  </a:lnTo>
                  <a:lnTo>
                    <a:pt x="182" y="1634"/>
                  </a:lnTo>
                  <a:lnTo>
                    <a:pt x="182" y="1633"/>
                  </a:lnTo>
                  <a:lnTo>
                    <a:pt x="171" y="1631"/>
                  </a:lnTo>
                  <a:lnTo>
                    <a:pt x="168" y="1634"/>
                  </a:lnTo>
                  <a:lnTo>
                    <a:pt x="168" y="1636"/>
                  </a:lnTo>
                  <a:lnTo>
                    <a:pt x="168" y="1636"/>
                  </a:lnTo>
                  <a:lnTo>
                    <a:pt x="170" y="1637"/>
                  </a:lnTo>
                  <a:lnTo>
                    <a:pt x="171" y="1637"/>
                  </a:lnTo>
                  <a:lnTo>
                    <a:pt x="170" y="1639"/>
                  </a:lnTo>
                  <a:lnTo>
                    <a:pt x="170" y="1640"/>
                  </a:lnTo>
                  <a:lnTo>
                    <a:pt x="170" y="1642"/>
                  </a:lnTo>
                  <a:lnTo>
                    <a:pt x="170" y="1642"/>
                  </a:lnTo>
                  <a:lnTo>
                    <a:pt x="170" y="1643"/>
                  </a:lnTo>
                  <a:lnTo>
                    <a:pt x="170" y="1645"/>
                  </a:lnTo>
                  <a:lnTo>
                    <a:pt x="168" y="1645"/>
                  </a:lnTo>
                  <a:lnTo>
                    <a:pt x="168" y="1643"/>
                  </a:lnTo>
                  <a:lnTo>
                    <a:pt x="168" y="1643"/>
                  </a:lnTo>
                  <a:lnTo>
                    <a:pt x="168" y="1642"/>
                  </a:lnTo>
                  <a:lnTo>
                    <a:pt x="167" y="1640"/>
                  </a:lnTo>
                  <a:lnTo>
                    <a:pt x="159" y="1633"/>
                  </a:lnTo>
                  <a:lnTo>
                    <a:pt x="157" y="1631"/>
                  </a:lnTo>
                  <a:lnTo>
                    <a:pt x="156" y="1633"/>
                  </a:lnTo>
                  <a:lnTo>
                    <a:pt x="153" y="1636"/>
                  </a:lnTo>
                  <a:lnTo>
                    <a:pt x="150" y="1639"/>
                  </a:lnTo>
                  <a:lnTo>
                    <a:pt x="150" y="1637"/>
                  </a:lnTo>
                  <a:lnTo>
                    <a:pt x="148" y="1637"/>
                  </a:lnTo>
                  <a:lnTo>
                    <a:pt x="148" y="1637"/>
                  </a:lnTo>
                  <a:lnTo>
                    <a:pt x="147" y="1639"/>
                  </a:lnTo>
                  <a:lnTo>
                    <a:pt x="148" y="1640"/>
                  </a:lnTo>
                  <a:lnTo>
                    <a:pt x="148" y="1642"/>
                  </a:lnTo>
                  <a:lnTo>
                    <a:pt x="147" y="1646"/>
                  </a:lnTo>
                  <a:lnTo>
                    <a:pt x="147" y="1646"/>
                  </a:lnTo>
                  <a:lnTo>
                    <a:pt x="147" y="1643"/>
                  </a:lnTo>
                  <a:lnTo>
                    <a:pt x="145" y="1640"/>
                  </a:lnTo>
                  <a:lnTo>
                    <a:pt x="143" y="1639"/>
                  </a:lnTo>
                  <a:lnTo>
                    <a:pt x="142" y="1639"/>
                  </a:lnTo>
                  <a:lnTo>
                    <a:pt x="125" y="1639"/>
                  </a:lnTo>
                  <a:lnTo>
                    <a:pt x="123" y="1640"/>
                  </a:lnTo>
                  <a:lnTo>
                    <a:pt x="122" y="1642"/>
                  </a:lnTo>
                  <a:lnTo>
                    <a:pt x="120" y="1643"/>
                  </a:lnTo>
                  <a:lnTo>
                    <a:pt x="120" y="1645"/>
                  </a:lnTo>
                  <a:lnTo>
                    <a:pt x="120" y="1646"/>
                  </a:lnTo>
                  <a:lnTo>
                    <a:pt x="120" y="1646"/>
                  </a:lnTo>
                  <a:lnTo>
                    <a:pt x="122" y="1648"/>
                  </a:lnTo>
                  <a:lnTo>
                    <a:pt x="120" y="1649"/>
                  </a:lnTo>
                  <a:lnTo>
                    <a:pt x="120" y="1651"/>
                  </a:lnTo>
                  <a:lnTo>
                    <a:pt x="122" y="1651"/>
                  </a:lnTo>
                  <a:lnTo>
                    <a:pt x="122" y="1651"/>
                  </a:lnTo>
                  <a:lnTo>
                    <a:pt x="120" y="1653"/>
                  </a:lnTo>
                  <a:lnTo>
                    <a:pt x="140" y="1651"/>
                  </a:lnTo>
                  <a:lnTo>
                    <a:pt x="143" y="1653"/>
                  </a:lnTo>
                  <a:lnTo>
                    <a:pt x="142" y="1653"/>
                  </a:lnTo>
                  <a:lnTo>
                    <a:pt x="137" y="1654"/>
                  </a:lnTo>
                  <a:lnTo>
                    <a:pt x="137" y="1654"/>
                  </a:lnTo>
                  <a:lnTo>
                    <a:pt x="143" y="1656"/>
                  </a:lnTo>
                  <a:lnTo>
                    <a:pt x="147" y="1654"/>
                  </a:lnTo>
                  <a:lnTo>
                    <a:pt x="150" y="1656"/>
                  </a:lnTo>
                  <a:lnTo>
                    <a:pt x="151" y="1657"/>
                  </a:lnTo>
                  <a:lnTo>
                    <a:pt x="151" y="1657"/>
                  </a:lnTo>
                  <a:lnTo>
                    <a:pt x="143" y="1657"/>
                  </a:lnTo>
                  <a:lnTo>
                    <a:pt x="140" y="1657"/>
                  </a:lnTo>
                  <a:lnTo>
                    <a:pt x="136" y="1656"/>
                  </a:lnTo>
                  <a:lnTo>
                    <a:pt x="133" y="1657"/>
                  </a:lnTo>
                  <a:lnTo>
                    <a:pt x="133" y="1659"/>
                  </a:lnTo>
                  <a:lnTo>
                    <a:pt x="127" y="1662"/>
                  </a:lnTo>
                  <a:lnTo>
                    <a:pt x="120" y="1662"/>
                  </a:lnTo>
                  <a:lnTo>
                    <a:pt x="117" y="1663"/>
                  </a:lnTo>
                  <a:lnTo>
                    <a:pt x="119" y="1665"/>
                  </a:lnTo>
                  <a:lnTo>
                    <a:pt x="120" y="1665"/>
                  </a:lnTo>
                  <a:lnTo>
                    <a:pt x="122" y="1663"/>
                  </a:lnTo>
                  <a:lnTo>
                    <a:pt x="123" y="1663"/>
                  </a:lnTo>
                  <a:lnTo>
                    <a:pt x="125" y="1663"/>
                  </a:lnTo>
                  <a:lnTo>
                    <a:pt x="127" y="1666"/>
                  </a:lnTo>
                  <a:lnTo>
                    <a:pt x="128" y="1668"/>
                  </a:lnTo>
                  <a:lnTo>
                    <a:pt x="131" y="1668"/>
                  </a:lnTo>
                  <a:lnTo>
                    <a:pt x="137" y="1668"/>
                  </a:lnTo>
                  <a:lnTo>
                    <a:pt x="153" y="1660"/>
                  </a:lnTo>
                  <a:lnTo>
                    <a:pt x="160" y="1660"/>
                  </a:lnTo>
                  <a:lnTo>
                    <a:pt x="159" y="1662"/>
                  </a:lnTo>
                  <a:lnTo>
                    <a:pt x="157" y="1662"/>
                  </a:lnTo>
                  <a:lnTo>
                    <a:pt x="159" y="1663"/>
                  </a:lnTo>
                  <a:lnTo>
                    <a:pt x="162" y="1663"/>
                  </a:lnTo>
                  <a:lnTo>
                    <a:pt x="163" y="1663"/>
                  </a:lnTo>
                  <a:lnTo>
                    <a:pt x="165" y="1663"/>
                  </a:lnTo>
                  <a:lnTo>
                    <a:pt x="174" y="1677"/>
                  </a:lnTo>
                  <a:lnTo>
                    <a:pt x="173" y="1677"/>
                  </a:lnTo>
                  <a:lnTo>
                    <a:pt x="171" y="1677"/>
                  </a:lnTo>
                  <a:lnTo>
                    <a:pt x="170" y="1677"/>
                  </a:lnTo>
                  <a:lnTo>
                    <a:pt x="173" y="1685"/>
                  </a:lnTo>
                  <a:lnTo>
                    <a:pt x="177" y="1688"/>
                  </a:lnTo>
                  <a:lnTo>
                    <a:pt x="188" y="1691"/>
                  </a:lnTo>
                  <a:lnTo>
                    <a:pt x="197" y="1689"/>
                  </a:lnTo>
                  <a:lnTo>
                    <a:pt x="200" y="1689"/>
                  </a:lnTo>
                  <a:lnTo>
                    <a:pt x="200" y="1691"/>
                  </a:lnTo>
                  <a:lnTo>
                    <a:pt x="204" y="1693"/>
                  </a:lnTo>
                  <a:lnTo>
                    <a:pt x="207" y="1699"/>
                  </a:lnTo>
                  <a:lnTo>
                    <a:pt x="207" y="1700"/>
                  </a:lnTo>
                  <a:lnTo>
                    <a:pt x="205" y="1699"/>
                  </a:lnTo>
                  <a:lnTo>
                    <a:pt x="204" y="1697"/>
                  </a:lnTo>
                  <a:lnTo>
                    <a:pt x="202" y="1696"/>
                  </a:lnTo>
                  <a:lnTo>
                    <a:pt x="200" y="1694"/>
                  </a:lnTo>
                  <a:lnTo>
                    <a:pt x="199" y="1691"/>
                  </a:lnTo>
                  <a:lnTo>
                    <a:pt x="197" y="1691"/>
                  </a:lnTo>
                  <a:lnTo>
                    <a:pt x="194" y="1693"/>
                  </a:lnTo>
                  <a:lnTo>
                    <a:pt x="193" y="1696"/>
                  </a:lnTo>
                  <a:lnTo>
                    <a:pt x="191" y="1697"/>
                  </a:lnTo>
                  <a:lnTo>
                    <a:pt x="184" y="1693"/>
                  </a:lnTo>
                  <a:lnTo>
                    <a:pt x="179" y="1693"/>
                  </a:lnTo>
                  <a:lnTo>
                    <a:pt x="179" y="1693"/>
                  </a:lnTo>
                  <a:lnTo>
                    <a:pt x="177" y="1694"/>
                  </a:lnTo>
                  <a:lnTo>
                    <a:pt x="177" y="1696"/>
                  </a:lnTo>
                  <a:lnTo>
                    <a:pt x="179" y="1705"/>
                  </a:lnTo>
                  <a:lnTo>
                    <a:pt x="179" y="1708"/>
                  </a:lnTo>
                  <a:lnTo>
                    <a:pt x="177" y="1710"/>
                  </a:lnTo>
                  <a:lnTo>
                    <a:pt x="174" y="1714"/>
                  </a:lnTo>
                  <a:lnTo>
                    <a:pt x="174" y="1716"/>
                  </a:lnTo>
                  <a:lnTo>
                    <a:pt x="174" y="1719"/>
                  </a:lnTo>
                  <a:lnTo>
                    <a:pt x="177" y="1720"/>
                  </a:lnTo>
                  <a:lnTo>
                    <a:pt x="187" y="1716"/>
                  </a:lnTo>
                  <a:lnTo>
                    <a:pt x="190" y="1720"/>
                  </a:lnTo>
                  <a:lnTo>
                    <a:pt x="187" y="1719"/>
                  </a:lnTo>
                  <a:lnTo>
                    <a:pt x="187" y="1717"/>
                  </a:lnTo>
                  <a:lnTo>
                    <a:pt x="185" y="1719"/>
                  </a:lnTo>
                  <a:lnTo>
                    <a:pt x="184" y="1720"/>
                  </a:lnTo>
                  <a:lnTo>
                    <a:pt x="177" y="1722"/>
                  </a:lnTo>
                  <a:lnTo>
                    <a:pt x="174" y="1722"/>
                  </a:lnTo>
                  <a:lnTo>
                    <a:pt x="173" y="1720"/>
                  </a:lnTo>
                  <a:lnTo>
                    <a:pt x="171" y="1717"/>
                  </a:lnTo>
                  <a:lnTo>
                    <a:pt x="171" y="1714"/>
                  </a:lnTo>
                  <a:lnTo>
                    <a:pt x="176" y="1708"/>
                  </a:lnTo>
                  <a:lnTo>
                    <a:pt x="176" y="1705"/>
                  </a:lnTo>
                  <a:lnTo>
                    <a:pt x="176" y="1703"/>
                  </a:lnTo>
                  <a:lnTo>
                    <a:pt x="176" y="1696"/>
                  </a:lnTo>
                  <a:lnTo>
                    <a:pt x="176" y="1694"/>
                  </a:lnTo>
                  <a:lnTo>
                    <a:pt x="174" y="1693"/>
                  </a:lnTo>
                  <a:lnTo>
                    <a:pt x="174" y="1691"/>
                  </a:lnTo>
                  <a:lnTo>
                    <a:pt x="167" y="1682"/>
                  </a:lnTo>
                  <a:lnTo>
                    <a:pt x="167" y="1680"/>
                  </a:lnTo>
                  <a:lnTo>
                    <a:pt x="167" y="1676"/>
                  </a:lnTo>
                  <a:lnTo>
                    <a:pt x="167" y="1673"/>
                  </a:lnTo>
                  <a:lnTo>
                    <a:pt x="167" y="1669"/>
                  </a:lnTo>
                  <a:lnTo>
                    <a:pt x="157" y="1668"/>
                  </a:lnTo>
                  <a:lnTo>
                    <a:pt x="156" y="1665"/>
                  </a:lnTo>
                  <a:lnTo>
                    <a:pt x="154" y="1665"/>
                  </a:lnTo>
                  <a:lnTo>
                    <a:pt x="153" y="1665"/>
                  </a:lnTo>
                  <a:lnTo>
                    <a:pt x="150" y="1666"/>
                  </a:lnTo>
                  <a:lnTo>
                    <a:pt x="143" y="1669"/>
                  </a:lnTo>
                  <a:lnTo>
                    <a:pt x="142" y="1671"/>
                  </a:lnTo>
                  <a:lnTo>
                    <a:pt x="142" y="1673"/>
                  </a:lnTo>
                  <a:lnTo>
                    <a:pt x="143" y="1673"/>
                  </a:lnTo>
                  <a:lnTo>
                    <a:pt x="143" y="1674"/>
                  </a:lnTo>
                  <a:lnTo>
                    <a:pt x="143" y="1677"/>
                  </a:lnTo>
                  <a:lnTo>
                    <a:pt x="143" y="1680"/>
                  </a:lnTo>
                  <a:lnTo>
                    <a:pt x="140" y="1676"/>
                  </a:lnTo>
                  <a:lnTo>
                    <a:pt x="140" y="1674"/>
                  </a:lnTo>
                  <a:lnTo>
                    <a:pt x="139" y="1673"/>
                  </a:lnTo>
                  <a:lnTo>
                    <a:pt x="137" y="1673"/>
                  </a:lnTo>
                  <a:lnTo>
                    <a:pt x="134" y="1673"/>
                  </a:lnTo>
                  <a:lnTo>
                    <a:pt x="131" y="1674"/>
                  </a:lnTo>
                  <a:lnTo>
                    <a:pt x="130" y="1679"/>
                  </a:lnTo>
                  <a:lnTo>
                    <a:pt x="131" y="1683"/>
                  </a:lnTo>
                  <a:lnTo>
                    <a:pt x="133" y="1686"/>
                  </a:lnTo>
                  <a:lnTo>
                    <a:pt x="139" y="1696"/>
                  </a:lnTo>
                  <a:lnTo>
                    <a:pt x="145" y="1711"/>
                  </a:lnTo>
                  <a:lnTo>
                    <a:pt x="145" y="1714"/>
                  </a:lnTo>
                  <a:lnTo>
                    <a:pt x="140" y="1719"/>
                  </a:lnTo>
                  <a:lnTo>
                    <a:pt x="143" y="1714"/>
                  </a:lnTo>
                  <a:lnTo>
                    <a:pt x="143" y="1713"/>
                  </a:lnTo>
                  <a:lnTo>
                    <a:pt x="142" y="1710"/>
                  </a:lnTo>
                  <a:lnTo>
                    <a:pt x="137" y="1700"/>
                  </a:lnTo>
                  <a:lnTo>
                    <a:pt x="136" y="1697"/>
                  </a:lnTo>
                  <a:lnTo>
                    <a:pt x="133" y="1694"/>
                  </a:lnTo>
                  <a:lnTo>
                    <a:pt x="131" y="1693"/>
                  </a:lnTo>
                  <a:lnTo>
                    <a:pt x="130" y="1686"/>
                  </a:lnTo>
                  <a:lnTo>
                    <a:pt x="127" y="1682"/>
                  </a:lnTo>
                  <a:lnTo>
                    <a:pt x="127" y="1680"/>
                  </a:lnTo>
                  <a:lnTo>
                    <a:pt x="125" y="1677"/>
                  </a:lnTo>
                  <a:lnTo>
                    <a:pt x="120" y="1679"/>
                  </a:lnTo>
                  <a:lnTo>
                    <a:pt x="111" y="1685"/>
                  </a:lnTo>
                  <a:lnTo>
                    <a:pt x="108" y="1685"/>
                  </a:lnTo>
                  <a:lnTo>
                    <a:pt x="103" y="1688"/>
                  </a:lnTo>
                  <a:lnTo>
                    <a:pt x="100" y="1693"/>
                  </a:lnTo>
                  <a:lnTo>
                    <a:pt x="97" y="1697"/>
                  </a:lnTo>
                  <a:lnTo>
                    <a:pt x="99" y="1697"/>
                  </a:lnTo>
                  <a:lnTo>
                    <a:pt x="99" y="1699"/>
                  </a:lnTo>
                  <a:lnTo>
                    <a:pt x="100" y="1700"/>
                  </a:lnTo>
                  <a:lnTo>
                    <a:pt x="100" y="1702"/>
                  </a:lnTo>
                  <a:lnTo>
                    <a:pt x="103" y="1702"/>
                  </a:lnTo>
                  <a:lnTo>
                    <a:pt x="105" y="1703"/>
                  </a:lnTo>
                  <a:lnTo>
                    <a:pt x="106" y="1703"/>
                  </a:lnTo>
                  <a:lnTo>
                    <a:pt x="102" y="1703"/>
                  </a:lnTo>
                  <a:lnTo>
                    <a:pt x="100" y="1703"/>
                  </a:lnTo>
                  <a:lnTo>
                    <a:pt x="99" y="1700"/>
                  </a:lnTo>
                  <a:lnTo>
                    <a:pt x="97" y="1700"/>
                  </a:lnTo>
                  <a:lnTo>
                    <a:pt x="96" y="1700"/>
                  </a:lnTo>
                  <a:lnTo>
                    <a:pt x="96" y="1703"/>
                  </a:lnTo>
                  <a:lnTo>
                    <a:pt x="96" y="1705"/>
                  </a:lnTo>
                  <a:lnTo>
                    <a:pt x="100" y="1706"/>
                  </a:lnTo>
                  <a:lnTo>
                    <a:pt x="103" y="1713"/>
                  </a:lnTo>
                  <a:lnTo>
                    <a:pt x="105" y="1714"/>
                  </a:lnTo>
                  <a:lnTo>
                    <a:pt x="105" y="1714"/>
                  </a:lnTo>
                  <a:lnTo>
                    <a:pt x="106" y="1719"/>
                  </a:lnTo>
                  <a:lnTo>
                    <a:pt x="108" y="1719"/>
                  </a:lnTo>
                  <a:lnTo>
                    <a:pt x="128" y="1725"/>
                  </a:lnTo>
                  <a:lnTo>
                    <a:pt x="128" y="1726"/>
                  </a:lnTo>
                  <a:lnTo>
                    <a:pt x="117" y="1723"/>
                  </a:lnTo>
                  <a:lnTo>
                    <a:pt x="111" y="1723"/>
                  </a:lnTo>
                  <a:lnTo>
                    <a:pt x="108" y="1725"/>
                  </a:lnTo>
                  <a:lnTo>
                    <a:pt x="105" y="1725"/>
                  </a:lnTo>
                  <a:lnTo>
                    <a:pt x="105" y="1723"/>
                  </a:lnTo>
                  <a:lnTo>
                    <a:pt x="105" y="1720"/>
                  </a:lnTo>
                  <a:lnTo>
                    <a:pt x="99" y="1714"/>
                  </a:lnTo>
                  <a:lnTo>
                    <a:pt x="97" y="1714"/>
                  </a:lnTo>
                  <a:lnTo>
                    <a:pt x="97" y="1722"/>
                  </a:lnTo>
                  <a:lnTo>
                    <a:pt x="94" y="1726"/>
                  </a:lnTo>
                  <a:lnTo>
                    <a:pt x="90" y="1733"/>
                  </a:lnTo>
                  <a:lnTo>
                    <a:pt x="91" y="1728"/>
                  </a:lnTo>
                  <a:lnTo>
                    <a:pt x="94" y="1722"/>
                  </a:lnTo>
                  <a:lnTo>
                    <a:pt x="96" y="1717"/>
                  </a:lnTo>
                  <a:lnTo>
                    <a:pt x="96" y="1713"/>
                  </a:lnTo>
                  <a:lnTo>
                    <a:pt x="96" y="1711"/>
                  </a:lnTo>
                  <a:lnTo>
                    <a:pt x="96" y="1708"/>
                  </a:lnTo>
                  <a:lnTo>
                    <a:pt x="94" y="1706"/>
                  </a:lnTo>
                  <a:lnTo>
                    <a:pt x="93" y="1705"/>
                  </a:lnTo>
                  <a:lnTo>
                    <a:pt x="91" y="1703"/>
                  </a:lnTo>
                  <a:lnTo>
                    <a:pt x="90" y="1705"/>
                  </a:lnTo>
                  <a:lnTo>
                    <a:pt x="85" y="1708"/>
                  </a:lnTo>
                  <a:lnTo>
                    <a:pt x="85" y="1708"/>
                  </a:lnTo>
                  <a:lnTo>
                    <a:pt x="80" y="1708"/>
                  </a:lnTo>
                  <a:lnTo>
                    <a:pt x="77" y="1708"/>
                  </a:lnTo>
                  <a:lnTo>
                    <a:pt x="77" y="1710"/>
                  </a:lnTo>
                  <a:lnTo>
                    <a:pt x="77" y="1714"/>
                  </a:lnTo>
                  <a:lnTo>
                    <a:pt x="79" y="1717"/>
                  </a:lnTo>
                  <a:lnTo>
                    <a:pt x="82" y="1720"/>
                  </a:lnTo>
                  <a:lnTo>
                    <a:pt x="83" y="1722"/>
                  </a:lnTo>
                  <a:lnTo>
                    <a:pt x="79" y="1719"/>
                  </a:lnTo>
                  <a:lnTo>
                    <a:pt x="76" y="1717"/>
                  </a:lnTo>
                  <a:lnTo>
                    <a:pt x="76" y="1716"/>
                  </a:lnTo>
                  <a:lnTo>
                    <a:pt x="76" y="1713"/>
                  </a:lnTo>
                  <a:lnTo>
                    <a:pt x="74" y="1711"/>
                  </a:lnTo>
                  <a:lnTo>
                    <a:pt x="73" y="1710"/>
                  </a:lnTo>
                  <a:lnTo>
                    <a:pt x="66" y="1710"/>
                  </a:lnTo>
                  <a:lnTo>
                    <a:pt x="62" y="1706"/>
                  </a:lnTo>
                  <a:lnTo>
                    <a:pt x="60" y="1706"/>
                  </a:lnTo>
                  <a:lnTo>
                    <a:pt x="59" y="1706"/>
                  </a:lnTo>
                  <a:lnTo>
                    <a:pt x="59" y="1708"/>
                  </a:lnTo>
                  <a:lnTo>
                    <a:pt x="57" y="1711"/>
                  </a:lnTo>
                  <a:lnTo>
                    <a:pt x="56" y="1716"/>
                  </a:lnTo>
                  <a:lnTo>
                    <a:pt x="56" y="1717"/>
                  </a:lnTo>
                  <a:lnTo>
                    <a:pt x="57" y="1719"/>
                  </a:lnTo>
                  <a:lnTo>
                    <a:pt x="59" y="1719"/>
                  </a:lnTo>
                  <a:lnTo>
                    <a:pt x="70" y="1722"/>
                  </a:lnTo>
                  <a:lnTo>
                    <a:pt x="71" y="1725"/>
                  </a:lnTo>
                  <a:lnTo>
                    <a:pt x="70" y="1725"/>
                  </a:lnTo>
                  <a:lnTo>
                    <a:pt x="68" y="1723"/>
                  </a:lnTo>
                  <a:lnTo>
                    <a:pt x="68" y="1723"/>
                  </a:lnTo>
                  <a:lnTo>
                    <a:pt x="66" y="1723"/>
                  </a:lnTo>
                  <a:lnTo>
                    <a:pt x="66" y="1725"/>
                  </a:lnTo>
                  <a:lnTo>
                    <a:pt x="66" y="1725"/>
                  </a:lnTo>
                  <a:lnTo>
                    <a:pt x="63" y="1733"/>
                  </a:lnTo>
                  <a:lnTo>
                    <a:pt x="63" y="1734"/>
                  </a:lnTo>
                  <a:lnTo>
                    <a:pt x="62" y="1736"/>
                  </a:lnTo>
                  <a:lnTo>
                    <a:pt x="62" y="1736"/>
                  </a:lnTo>
                  <a:lnTo>
                    <a:pt x="60" y="1726"/>
                  </a:lnTo>
                  <a:lnTo>
                    <a:pt x="56" y="1722"/>
                  </a:lnTo>
                  <a:lnTo>
                    <a:pt x="51" y="1720"/>
                  </a:lnTo>
                  <a:lnTo>
                    <a:pt x="46" y="1714"/>
                  </a:lnTo>
                  <a:lnTo>
                    <a:pt x="46" y="1714"/>
                  </a:lnTo>
                  <a:lnTo>
                    <a:pt x="48" y="1713"/>
                  </a:lnTo>
                  <a:lnTo>
                    <a:pt x="48" y="1711"/>
                  </a:lnTo>
                  <a:lnTo>
                    <a:pt x="48" y="1710"/>
                  </a:lnTo>
                  <a:lnTo>
                    <a:pt x="46" y="1710"/>
                  </a:lnTo>
                  <a:lnTo>
                    <a:pt x="46" y="1710"/>
                  </a:lnTo>
                  <a:lnTo>
                    <a:pt x="46" y="1710"/>
                  </a:lnTo>
                  <a:lnTo>
                    <a:pt x="45" y="1708"/>
                  </a:lnTo>
                  <a:lnTo>
                    <a:pt x="42" y="1705"/>
                  </a:lnTo>
                  <a:lnTo>
                    <a:pt x="40" y="1703"/>
                  </a:lnTo>
                  <a:lnTo>
                    <a:pt x="39" y="1702"/>
                  </a:lnTo>
                  <a:lnTo>
                    <a:pt x="37" y="1703"/>
                  </a:lnTo>
                  <a:lnTo>
                    <a:pt x="37" y="1705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7" y="1706"/>
                  </a:lnTo>
                  <a:lnTo>
                    <a:pt x="36" y="1706"/>
                  </a:lnTo>
                  <a:lnTo>
                    <a:pt x="34" y="1706"/>
                  </a:lnTo>
                  <a:lnTo>
                    <a:pt x="33" y="1706"/>
                  </a:lnTo>
                  <a:lnTo>
                    <a:pt x="33" y="1706"/>
                  </a:lnTo>
                  <a:lnTo>
                    <a:pt x="33" y="1708"/>
                  </a:lnTo>
                  <a:lnTo>
                    <a:pt x="33" y="1706"/>
                  </a:lnTo>
                  <a:lnTo>
                    <a:pt x="33" y="1708"/>
                  </a:lnTo>
                  <a:lnTo>
                    <a:pt x="34" y="1710"/>
                  </a:lnTo>
                  <a:lnTo>
                    <a:pt x="34" y="1710"/>
                  </a:lnTo>
                  <a:lnTo>
                    <a:pt x="33" y="1710"/>
                  </a:lnTo>
                  <a:lnTo>
                    <a:pt x="33" y="1710"/>
                  </a:lnTo>
                  <a:lnTo>
                    <a:pt x="33" y="1711"/>
                  </a:lnTo>
                  <a:lnTo>
                    <a:pt x="33" y="1713"/>
                  </a:lnTo>
                  <a:lnTo>
                    <a:pt x="36" y="1714"/>
                  </a:lnTo>
                  <a:lnTo>
                    <a:pt x="36" y="1716"/>
                  </a:lnTo>
                  <a:lnTo>
                    <a:pt x="36" y="1717"/>
                  </a:lnTo>
                  <a:lnTo>
                    <a:pt x="34" y="1717"/>
                  </a:lnTo>
                  <a:lnTo>
                    <a:pt x="34" y="1717"/>
                  </a:lnTo>
                  <a:lnTo>
                    <a:pt x="36" y="1719"/>
                  </a:lnTo>
                  <a:lnTo>
                    <a:pt x="42" y="1720"/>
                  </a:lnTo>
                  <a:lnTo>
                    <a:pt x="50" y="1725"/>
                  </a:lnTo>
                  <a:lnTo>
                    <a:pt x="50" y="1728"/>
                  </a:lnTo>
                  <a:lnTo>
                    <a:pt x="51" y="1730"/>
                  </a:lnTo>
                  <a:lnTo>
                    <a:pt x="53" y="1731"/>
                  </a:lnTo>
                  <a:lnTo>
                    <a:pt x="54" y="1731"/>
                  </a:lnTo>
                  <a:lnTo>
                    <a:pt x="56" y="1731"/>
                  </a:lnTo>
                  <a:lnTo>
                    <a:pt x="57" y="1733"/>
                  </a:lnTo>
                  <a:lnTo>
                    <a:pt x="56" y="1734"/>
                  </a:lnTo>
                  <a:lnTo>
                    <a:pt x="53" y="1734"/>
                  </a:lnTo>
                  <a:lnTo>
                    <a:pt x="50" y="1733"/>
                  </a:lnTo>
                  <a:lnTo>
                    <a:pt x="50" y="1736"/>
                  </a:lnTo>
                  <a:lnTo>
                    <a:pt x="48" y="1737"/>
                  </a:lnTo>
                  <a:lnTo>
                    <a:pt x="45" y="1740"/>
                  </a:lnTo>
                  <a:lnTo>
                    <a:pt x="45" y="1740"/>
                  </a:lnTo>
                  <a:lnTo>
                    <a:pt x="45" y="1742"/>
                  </a:lnTo>
                  <a:lnTo>
                    <a:pt x="45" y="1743"/>
                  </a:lnTo>
                  <a:lnTo>
                    <a:pt x="43" y="1743"/>
                  </a:lnTo>
                  <a:lnTo>
                    <a:pt x="43" y="1743"/>
                  </a:lnTo>
                  <a:lnTo>
                    <a:pt x="42" y="1742"/>
                  </a:lnTo>
                  <a:lnTo>
                    <a:pt x="42" y="1740"/>
                  </a:lnTo>
                  <a:lnTo>
                    <a:pt x="42" y="1742"/>
                  </a:lnTo>
                  <a:lnTo>
                    <a:pt x="40" y="1742"/>
                  </a:lnTo>
                  <a:lnTo>
                    <a:pt x="40" y="1743"/>
                  </a:lnTo>
                  <a:lnTo>
                    <a:pt x="40" y="1743"/>
                  </a:lnTo>
                  <a:lnTo>
                    <a:pt x="39" y="1742"/>
                  </a:lnTo>
                  <a:lnTo>
                    <a:pt x="39" y="1740"/>
                  </a:lnTo>
                  <a:lnTo>
                    <a:pt x="39" y="1740"/>
                  </a:lnTo>
                  <a:lnTo>
                    <a:pt x="37" y="1740"/>
                  </a:lnTo>
                  <a:lnTo>
                    <a:pt x="37" y="1742"/>
                  </a:lnTo>
                  <a:lnTo>
                    <a:pt x="36" y="1745"/>
                  </a:lnTo>
                  <a:lnTo>
                    <a:pt x="36" y="1748"/>
                  </a:lnTo>
                  <a:lnTo>
                    <a:pt x="34" y="1750"/>
                  </a:lnTo>
                  <a:lnTo>
                    <a:pt x="37" y="1753"/>
                  </a:lnTo>
                  <a:lnTo>
                    <a:pt x="39" y="1753"/>
                  </a:lnTo>
                  <a:lnTo>
                    <a:pt x="40" y="1753"/>
                  </a:lnTo>
                  <a:lnTo>
                    <a:pt x="42" y="1750"/>
                  </a:lnTo>
                  <a:lnTo>
                    <a:pt x="43" y="1750"/>
                  </a:lnTo>
                  <a:lnTo>
                    <a:pt x="48" y="1751"/>
                  </a:lnTo>
                  <a:lnTo>
                    <a:pt x="50" y="1750"/>
                  </a:lnTo>
                  <a:lnTo>
                    <a:pt x="53" y="1748"/>
                  </a:lnTo>
                  <a:lnTo>
                    <a:pt x="59" y="1746"/>
                  </a:lnTo>
                  <a:lnTo>
                    <a:pt x="59" y="1746"/>
                  </a:lnTo>
                  <a:lnTo>
                    <a:pt x="60" y="1748"/>
                  </a:lnTo>
                  <a:lnTo>
                    <a:pt x="60" y="1748"/>
                  </a:lnTo>
                  <a:lnTo>
                    <a:pt x="65" y="1746"/>
                  </a:lnTo>
                  <a:lnTo>
                    <a:pt x="74" y="1748"/>
                  </a:lnTo>
                  <a:lnTo>
                    <a:pt x="99" y="1750"/>
                  </a:lnTo>
                  <a:lnTo>
                    <a:pt x="99" y="1751"/>
                  </a:lnTo>
                  <a:lnTo>
                    <a:pt x="96" y="1751"/>
                  </a:lnTo>
                  <a:lnTo>
                    <a:pt x="82" y="1753"/>
                  </a:lnTo>
                  <a:lnTo>
                    <a:pt x="82" y="1754"/>
                  </a:lnTo>
                  <a:lnTo>
                    <a:pt x="86" y="1759"/>
                  </a:lnTo>
                  <a:lnTo>
                    <a:pt x="86" y="1759"/>
                  </a:lnTo>
                  <a:lnTo>
                    <a:pt x="86" y="1759"/>
                  </a:lnTo>
                  <a:lnTo>
                    <a:pt x="88" y="1757"/>
                  </a:lnTo>
                  <a:lnTo>
                    <a:pt x="88" y="1757"/>
                  </a:lnTo>
                  <a:lnTo>
                    <a:pt x="90" y="1757"/>
                  </a:lnTo>
                  <a:lnTo>
                    <a:pt x="91" y="1756"/>
                  </a:lnTo>
                  <a:lnTo>
                    <a:pt x="93" y="1754"/>
                  </a:lnTo>
                  <a:lnTo>
                    <a:pt x="94" y="1756"/>
                  </a:lnTo>
                  <a:lnTo>
                    <a:pt x="99" y="1757"/>
                  </a:lnTo>
                  <a:lnTo>
                    <a:pt x="103" y="1757"/>
                  </a:lnTo>
                  <a:lnTo>
                    <a:pt x="103" y="1757"/>
                  </a:lnTo>
                  <a:lnTo>
                    <a:pt x="108" y="1760"/>
                  </a:lnTo>
                  <a:lnTo>
                    <a:pt x="108" y="1760"/>
                  </a:lnTo>
                  <a:lnTo>
                    <a:pt x="120" y="1759"/>
                  </a:lnTo>
                  <a:lnTo>
                    <a:pt x="137" y="1763"/>
                  </a:lnTo>
                  <a:lnTo>
                    <a:pt x="139" y="1762"/>
                  </a:lnTo>
                  <a:lnTo>
                    <a:pt x="140" y="1760"/>
                  </a:lnTo>
                  <a:lnTo>
                    <a:pt x="142" y="1757"/>
                  </a:lnTo>
                  <a:lnTo>
                    <a:pt x="142" y="1756"/>
                  </a:lnTo>
                  <a:lnTo>
                    <a:pt x="150" y="1754"/>
                  </a:lnTo>
                  <a:lnTo>
                    <a:pt x="151" y="1754"/>
                  </a:lnTo>
                  <a:lnTo>
                    <a:pt x="151" y="1753"/>
                  </a:lnTo>
                  <a:lnTo>
                    <a:pt x="151" y="1753"/>
                  </a:lnTo>
                  <a:lnTo>
                    <a:pt x="153" y="1753"/>
                  </a:lnTo>
                  <a:lnTo>
                    <a:pt x="153" y="1754"/>
                  </a:lnTo>
                  <a:lnTo>
                    <a:pt x="153" y="1754"/>
                  </a:lnTo>
                  <a:lnTo>
                    <a:pt x="157" y="1756"/>
                  </a:lnTo>
                  <a:lnTo>
                    <a:pt x="157" y="1757"/>
                  </a:lnTo>
                  <a:lnTo>
                    <a:pt x="159" y="1757"/>
                  </a:lnTo>
                  <a:lnTo>
                    <a:pt x="160" y="1756"/>
                  </a:lnTo>
                  <a:lnTo>
                    <a:pt x="162" y="1756"/>
                  </a:lnTo>
                  <a:lnTo>
                    <a:pt x="162" y="1757"/>
                  </a:lnTo>
                  <a:lnTo>
                    <a:pt x="162" y="1757"/>
                  </a:lnTo>
                  <a:lnTo>
                    <a:pt x="160" y="1759"/>
                  </a:lnTo>
                  <a:lnTo>
                    <a:pt x="160" y="1760"/>
                  </a:lnTo>
                  <a:lnTo>
                    <a:pt x="159" y="1762"/>
                  </a:lnTo>
                  <a:lnTo>
                    <a:pt x="159" y="1760"/>
                  </a:lnTo>
                  <a:lnTo>
                    <a:pt x="157" y="1760"/>
                  </a:lnTo>
                  <a:lnTo>
                    <a:pt x="157" y="1759"/>
                  </a:lnTo>
                  <a:lnTo>
                    <a:pt x="154" y="1759"/>
                  </a:lnTo>
                  <a:lnTo>
                    <a:pt x="151" y="1757"/>
                  </a:lnTo>
                  <a:lnTo>
                    <a:pt x="150" y="1756"/>
                  </a:lnTo>
                  <a:lnTo>
                    <a:pt x="147" y="1756"/>
                  </a:lnTo>
                  <a:lnTo>
                    <a:pt x="145" y="1757"/>
                  </a:lnTo>
                  <a:lnTo>
                    <a:pt x="143" y="1759"/>
                  </a:lnTo>
                  <a:lnTo>
                    <a:pt x="142" y="1760"/>
                  </a:lnTo>
                  <a:lnTo>
                    <a:pt x="140" y="1763"/>
                  </a:lnTo>
                  <a:lnTo>
                    <a:pt x="140" y="1766"/>
                  </a:lnTo>
                  <a:lnTo>
                    <a:pt x="139" y="1766"/>
                  </a:lnTo>
                  <a:lnTo>
                    <a:pt x="137" y="1768"/>
                  </a:lnTo>
                  <a:lnTo>
                    <a:pt x="130" y="1766"/>
                  </a:lnTo>
                  <a:lnTo>
                    <a:pt x="128" y="1766"/>
                  </a:lnTo>
                  <a:lnTo>
                    <a:pt x="125" y="1763"/>
                  </a:lnTo>
                  <a:lnTo>
                    <a:pt x="123" y="1762"/>
                  </a:lnTo>
                  <a:lnTo>
                    <a:pt x="105" y="1762"/>
                  </a:lnTo>
                  <a:lnTo>
                    <a:pt x="105" y="1763"/>
                  </a:lnTo>
                  <a:lnTo>
                    <a:pt x="106" y="1763"/>
                  </a:lnTo>
                  <a:lnTo>
                    <a:pt x="108" y="1765"/>
                  </a:lnTo>
                  <a:lnTo>
                    <a:pt x="110" y="1766"/>
                  </a:lnTo>
                  <a:lnTo>
                    <a:pt x="111" y="1768"/>
                  </a:lnTo>
                  <a:lnTo>
                    <a:pt x="111" y="1770"/>
                  </a:lnTo>
                  <a:lnTo>
                    <a:pt x="113" y="1770"/>
                  </a:lnTo>
                  <a:lnTo>
                    <a:pt x="114" y="1771"/>
                  </a:lnTo>
                  <a:lnTo>
                    <a:pt x="114" y="1773"/>
                  </a:lnTo>
                  <a:lnTo>
                    <a:pt x="111" y="1773"/>
                  </a:lnTo>
                  <a:lnTo>
                    <a:pt x="108" y="1771"/>
                  </a:lnTo>
                  <a:lnTo>
                    <a:pt x="105" y="1766"/>
                  </a:lnTo>
                  <a:lnTo>
                    <a:pt x="102" y="1763"/>
                  </a:lnTo>
                  <a:lnTo>
                    <a:pt x="100" y="1762"/>
                  </a:lnTo>
                  <a:lnTo>
                    <a:pt x="99" y="1763"/>
                  </a:lnTo>
                  <a:lnTo>
                    <a:pt x="99" y="1765"/>
                  </a:lnTo>
                  <a:lnTo>
                    <a:pt x="97" y="1770"/>
                  </a:lnTo>
                  <a:lnTo>
                    <a:pt x="97" y="1773"/>
                  </a:lnTo>
                  <a:lnTo>
                    <a:pt x="96" y="1774"/>
                  </a:lnTo>
                  <a:lnTo>
                    <a:pt x="96" y="1776"/>
                  </a:lnTo>
                  <a:lnTo>
                    <a:pt x="94" y="1777"/>
                  </a:lnTo>
                  <a:lnTo>
                    <a:pt x="94" y="1776"/>
                  </a:lnTo>
                  <a:lnTo>
                    <a:pt x="96" y="1771"/>
                  </a:lnTo>
                  <a:lnTo>
                    <a:pt x="97" y="1765"/>
                  </a:lnTo>
                  <a:lnTo>
                    <a:pt x="97" y="1763"/>
                  </a:lnTo>
                  <a:lnTo>
                    <a:pt x="97" y="1762"/>
                  </a:lnTo>
                  <a:lnTo>
                    <a:pt x="97" y="1760"/>
                  </a:lnTo>
                  <a:lnTo>
                    <a:pt x="96" y="1760"/>
                  </a:lnTo>
                  <a:lnTo>
                    <a:pt x="82" y="1762"/>
                  </a:lnTo>
                  <a:lnTo>
                    <a:pt x="76" y="1765"/>
                  </a:lnTo>
                  <a:lnTo>
                    <a:pt x="73" y="1765"/>
                  </a:lnTo>
                  <a:lnTo>
                    <a:pt x="74" y="1762"/>
                  </a:lnTo>
                  <a:lnTo>
                    <a:pt x="77" y="1762"/>
                  </a:lnTo>
                  <a:lnTo>
                    <a:pt x="80" y="1762"/>
                  </a:lnTo>
                  <a:lnTo>
                    <a:pt x="82" y="1760"/>
                  </a:lnTo>
                  <a:lnTo>
                    <a:pt x="80" y="1759"/>
                  </a:lnTo>
                  <a:lnTo>
                    <a:pt x="79" y="1756"/>
                  </a:lnTo>
                  <a:lnTo>
                    <a:pt x="77" y="1754"/>
                  </a:lnTo>
                  <a:lnTo>
                    <a:pt x="74" y="1754"/>
                  </a:lnTo>
                  <a:lnTo>
                    <a:pt x="71" y="1753"/>
                  </a:lnTo>
                  <a:lnTo>
                    <a:pt x="70" y="1753"/>
                  </a:lnTo>
                  <a:lnTo>
                    <a:pt x="66" y="1753"/>
                  </a:lnTo>
                  <a:lnTo>
                    <a:pt x="66" y="1753"/>
                  </a:lnTo>
                  <a:lnTo>
                    <a:pt x="63" y="1751"/>
                  </a:lnTo>
                  <a:lnTo>
                    <a:pt x="56" y="1751"/>
                  </a:lnTo>
                  <a:lnTo>
                    <a:pt x="54" y="1751"/>
                  </a:lnTo>
                  <a:lnTo>
                    <a:pt x="50" y="1757"/>
                  </a:lnTo>
                  <a:lnTo>
                    <a:pt x="48" y="1759"/>
                  </a:lnTo>
                  <a:lnTo>
                    <a:pt x="48" y="1760"/>
                  </a:lnTo>
                  <a:lnTo>
                    <a:pt x="50" y="1760"/>
                  </a:lnTo>
                  <a:lnTo>
                    <a:pt x="51" y="1760"/>
                  </a:lnTo>
                  <a:lnTo>
                    <a:pt x="53" y="1762"/>
                  </a:lnTo>
                  <a:lnTo>
                    <a:pt x="50" y="1762"/>
                  </a:lnTo>
                  <a:lnTo>
                    <a:pt x="46" y="1762"/>
                  </a:lnTo>
                  <a:lnTo>
                    <a:pt x="46" y="1763"/>
                  </a:lnTo>
                  <a:lnTo>
                    <a:pt x="46" y="1763"/>
                  </a:lnTo>
                  <a:lnTo>
                    <a:pt x="46" y="1763"/>
                  </a:lnTo>
                  <a:lnTo>
                    <a:pt x="45" y="1765"/>
                  </a:lnTo>
                  <a:lnTo>
                    <a:pt x="37" y="1770"/>
                  </a:lnTo>
                  <a:lnTo>
                    <a:pt x="34" y="1770"/>
                  </a:lnTo>
                  <a:lnTo>
                    <a:pt x="33" y="1773"/>
                  </a:lnTo>
                  <a:lnTo>
                    <a:pt x="31" y="1774"/>
                  </a:lnTo>
                  <a:lnTo>
                    <a:pt x="40" y="1773"/>
                  </a:lnTo>
                  <a:lnTo>
                    <a:pt x="37" y="1774"/>
                  </a:lnTo>
                  <a:lnTo>
                    <a:pt x="36" y="1776"/>
                  </a:lnTo>
                  <a:lnTo>
                    <a:pt x="37" y="1777"/>
                  </a:lnTo>
                  <a:lnTo>
                    <a:pt x="39" y="1780"/>
                  </a:lnTo>
                  <a:lnTo>
                    <a:pt x="37" y="1780"/>
                  </a:lnTo>
                  <a:lnTo>
                    <a:pt x="37" y="1780"/>
                  </a:lnTo>
                  <a:lnTo>
                    <a:pt x="36" y="1780"/>
                  </a:lnTo>
                  <a:lnTo>
                    <a:pt x="36" y="1780"/>
                  </a:lnTo>
                  <a:lnTo>
                    <a:pt x="34" y="1779"/>
                  </a:lnTo>
                  <a:lnTo>
                    <a:pt x="34" y="1779"/>
                  </a:lnTo>
                  <a:lnTo>
                    <a:pt x="33" y="1779"/>
                  </a:lnTo>
                  <a:lnTo>
                    <a:pt x="33" y="1779"/>
                  </a:lnTo>
                  <a:lnTo>
                    <a:pt x="33" y="1779"/>
                  </a:lnTo>
                  <a:lnTo>
                    <a:pt x="33" y="1777"/>
                  </a:lnTo>
                  <a:lnTo>
                    <a:pt x="33" y="1777"/>
                  </a:lnTo>
                  <a:lnTo>
                    <a:pt x="33" y="1776"/>
                  </a:lnTo>
                  <a:lnTo>
                    <a:pt x="31" y="1776"/>
                  </a:lnTo>
                  <a:lnTo>
                    <a:pt x="29" y="1776"/>
                  </a:lnTo>
                  <a:lnTo>
                    <a:pt x="26" y="1776"/>
                  </a:lnTo>
                  <a:lnTo>
                    <a:pt x="26" y="1776"/>
                  </a:lnTo>
                  <a:lnTo>
                    <a:pt x="25" y="1777"/>
                  </a:lnTo>
                  <a:lnTo>
                    <a:pt x="25" y="1779"/>
                  </a:lnTo>
                  <a:lnTo>
                    <a:pt x="25" y="1779"/>
                  </a:lnTo>
                  <a:lnTo>
                    <a:pt x="26" y="1779"/>
                  </a:lnTo>
                  <a:lnTo>
                    <a:pt x="26" y="1780"/>
                  </a:lnTo>
                  <a:lnTo>
                    <a:pt x="25" y="1780"/>
                  </a:lnTo>
                  <a:lnTo>
                    <a:pt x="23" y="1780"/>
                  </a:lnTo>
                  <a:lnTo>
                    <a:pt x="23" y="1782"/>
                  </a:lnTo>
                  <a:lnTo>
                    <a:pt x="25" y="1783"/>
                  </a:lnTo>
                  <a:lnTo>
                    <a:pt x="23" y="1785"/>
                  </a:lnTo>
                  <a:lnTo>
                    <a:pt x="23" y="1785"/>
                  </a:lnTo>
                  <a:lnTo>
                    <a:pt x="22" y="1787"/>
                  </a:lnTo>
                  <a:lnTo>
                    <a:pt x="23" y="1790"/>
                  </a:lnTo>
                  <a:lnTo>
                    <a:pt x="23" y="1793"/>
                  </a:lnTo>
                  <a:lnTo>
                    <a:pt x="25" y="1794"/>
                  </a:lnTo>
                  <a:lnTo>
                    <a:pt x="26" y="1794"/>
                  </a:lnTo>
                  <a:lnTo>
                    <a:pt x="43" y="1794"/>
                  </a:lnTo>
                  <a:lnTo>
                    <a:pt x="45" y="1794"/>
                  </a:lnTo>
                  <a:lnTo>
                    <a:pt x="48" y="1793"/>
                  </a:lnTo>
                  <a:lnTo>
                    <a:pt x="53" y="1793"/>
                  </a:lnTo>
                  <a:lnTo>
                    <a:pt x="51" y="1794"/>
                  </a:lnTo>
                  <a:lnTo>
                    <a:pt x="46" y="1797"/>
                  </a:lnTo>
                  <a:lnTo>
                    <a:pt x="53" y="1799"/>
                  </a:lnTo>
                  <a:lnTo>
                    <a:pt x="59" y="1800"/>
                  </a:lnTo>
                  <a:lnTo>
                    <a:pt x="57" y="1802"/>
                  </a:lnTo>
                  <a:lnTo>
                    <a:pt x="50" y="1802"/>
                  </a:lnTo>
                  <a:lnTo>
                    <a:pt x="50" y="1800"/>
                  </a:lnTo>
                  <a:lnTo>
                    <a:pt x="51" y="1800"/>
                  </a:lnTo>
                  <a:lnTo>
                    <a:pt x="53" y="1800"/>
                  </a:lnTo>
                  <a:lnTo>
                    <a:pt x="37" y="1800"/>
                  </a:lnTo>
                  <a:lnTo>
                    <a:pt x="40" y="1802"/>
                  </a:lnTo>
                  <a:lnTo>
                    <a:pt x="51" y="1805"/>
                  </a:lnTo>
                  <a:lnTo>
                    <a:pt x="54" y="1805"/>
                  </a:lnTo>
                  <a:lnTo>
                    <a:pt x="54" y="1807"/>
                  </a:lnTo>
                  <a:lnTo>
                    <a:pt x="45" y="1807"/>
                  </a:lnTo>
                  <a:lnTo>
                    <a:pt x="43" y="1808"/>
                  </a:lnTo>
                  <a:lnTo>
                    <a:pt x="42" y="1808"/>
                  </a:lnTo>
                  <a:lnTo>
                    <a:pt x="39" y="1807"/>
                  </a:lnTo>
                  <a:lnTo>
                    <a:pt x="37" y="1807"/>
                  </a:lnTo>
                  <a:lnTo>
                    <a:pt x="37" y="1808"/>
                  </a:lnTo>
                  <a:lnTo>
                    <a:pt x="37" y="1808"/>
                  </a:lnTo>
                  <a:lnTo>
                    <a:pt x="37" y="1808"/>
                  </a:lnTo>
                  <a:lnTo>
                    <a:pt x="37" y="1811"/>
                  </a:lnTo>
                  <a:lnTo>
                    <a:pt x="40" y="1813"/>
                  </a:lnTo>
                  <a:lnTo>
                    <a:pt x="46" y="1816"/>
                  </a:lnTo>
                  <a:lnTo>
                    <a:pt x="48" y="1819"/>
                  </a:lnTo>
                  <a:lnTo>
                    <a:pt x="57" y="1817"/>
                  </a:lnTo>
                  <a:lnTo>
                    <a:pt x="60" y="1819"/>
                  </a:lnTo>
                  <a:lnTo>
                    <a:pt x="59" y="1820"/>
                  </a:lnTo>
                  <a:lnTo>
                    <a:pt x="62" y="1822"/>
                  </a:lnTo>
                  <a:lnTo>
                    <a:pt x="63" y="1822"/>
                  </a:lnTo>
                  <a:lnTo>
                    <a:pt x="66" y="1820"/>
                  </a:lnTo>
                  <a:lnTo>
                    <a:pt x="70" y="1820"/>
                  </a:lnTo>
                  <a:lnTo>
                    <a:pt x="71" y="1820"/>
                  </a:lnTo>
                  <a:lnTo>
                    <a:pt x="73" y="1817"/>
                  </a:lnTo>
                  <a:lnTo>
                    <a:pt x="74" y="1816"/>
                  </a:lnTo>
                  <a:lnTo>
                    <a:pt x="76" y="1816"/>
                  </a:lnTo>
                  <a:lnTo>
                    <a:pt x="80" y="1816"/>
                  </a:lnTo>
                  <a:lnTo>
                    <a:pt x="82" y="1816"/>
                  </a:lnTo>
                  <a:lnTo>
                    <a:pt x="85" y="1820"/>
                  </a:lnTo>
                  <a:lnTo>
                    <a:pt x="86" y="1822"/>
                  </a:lnTo>
                  <a:lnTo>
                    <a:pt x="86" y="1822"/>
                  </a:lnTo>
                  <a:lnTo>
                    <a:pt x="85" y="1822"/>
                  </a:lnTo>
                  <a:lnTo>
                    <a:pt x="85" y="1822"/>
                  </a:lnTo>
                  <a:lnTo>
                    <a:pt x="83" y="1819"/>
                  </a:lnTo>
                  <a:lnTo>
                    <a:pt x="82" y="1817"/>
                  </a:lnTo>
                  <a:lnTo>
                    <a:pt x="80" y="1817"/>
                  </a:lnTo>
                  <a:lnTo>
                    <a:pt x="77" y="1817"/>
                  </a:lnTo>
                  <a:lnTo>
                    <a:pt x="76" y="1817"/>
                  </a:lnTo>
                  <a:lnTo>
                    <a:pt x="74" y="1819"/>
                  </a:lnTo>
                  <a:lnTo>
                    <a:pt x="74" y="1820"/>
                  </a:lnTo>
                  <a:lnTo>
                    <a:pt x="73" y="1822"/>
                  </a:lnTo>
                  <a:lnTo>
                    <a:pt x="71" y="1822"/>
                  </a:lnTo>
                  <a:lnTo>
                    <a:pt x="68" y="1823"/>
                  </a:lnTo>
                  <a:lnTo>
                    <a:pt x="66" y="1823"/>
                  </a:lnTo>
                  <a:lnTo>
                    <a:pt x="68" y="1825"/>
                  </a:lnTo>
                  <a:lnTo>
                    <a:pt x="65" y="1827"/>
                  </a:lnTo>
                  <a:lnTo>
                    <a:pt x="63" y="1825"/>
                  </a:lnTo>
                  <a:lnTo>
                    <a:pt x="53" y="1820"/>
                  </a:lnTo>
                  <a:lnTo>
                    <a:pt x="50" y="1823"/>
                  </a:lnTo>
                  <a:lnTo>
                    <a:pt x="46" y="1822"/>
                  </a:lnTo>
                  <a:lnTo>
                    <a:pt x="43" y="1820"/>
                  </a:lnTo>
                  <a:lnTo>
                    <a:pt x="40" y="1819"/>
                  </a:lnTo>
                  <a:lnTo>
                    <a:pt x="40" y="1820"/>
                  </a:lnTo>
                  <a:lnTo>
                    <a:pt x="39" y="1822"/>
                  </a:lnTo>
                  <a:lnTo>
                    <a:pt x="31" y="1823"/>
                  </a:lnTo>
                  <a:lnTo>
                    <a:pt x="23" y="1828"/>
                  </a:lnTo>
                  <a:lnTo>
                    <a:pt x="23" y="1830"/>
                  </a:lnTo>
                  <a:lnTo>
                    <a:pt x="26" y="1828"/>
                  </a:lnTo>
                  <a:lnTo>
                    <a:pt x="29" y="1828"/>
                  </a:lnTo>
                  <a:lnTo>
                    <a:pt x="33" y="1828"/>
                  </a:lnTo>
                  <a:lnTo>
                    <a:pt x="34" y="1828"/>
                  </a:lnTo>
                  <a:lnTo>
                    <a:pt x="36" y="1825"/>
                  </a:lnTo>
                  <a:lnTo>
                    <a:pt x="36" y="1827"/>
                  </a:lnTo>
                  <a:lnTo>
                    <a:pt x="36" y="1827"/>
                  </a:lnTo>
                  <a:lnTo>
                    <a:pt x="36" y="1827"/>
                  </a:lnTo>
                  <a:lnTo>
                    <a:pt x="36" y="1828"/>
                  </a:lnTo>
                  <a:lnTo>
                    <a:pt x="33" y="1828"/>
                  </a:lnTo>
                  <a:lnTo>
                    <a:pt x="33" y="1830"/>
                  </a:lnTo>
                  <a:lnTo>
                    <a:pt x="33" y="1830"/>
                  </a:lnTo>
                  <a:lnTo>
                    <a:pt x="33" y="1833"/>
                  </a:lnTo>
                  <a:lnTo>
                    <a:pt x="33" y="1833"/>
                  </a:lnTo>
                  <a:lnTo>
                    <a:pt x="31" y="1834"/>
                  </a:lnTo>
                  <a:lnTo>
                    <a:pt x="31" y="1834"/>
                  </a:lnTo>
                  <a:lnTo>
                    <a:pt x="31" y="1831"/>
                  </a:lnTo>
                  <a:lnTo>
                    <a:pt x="29" y="1830"/>
                  </a:lnTo>
                  <a:lnTo>
                    <a:pt x="29" y="1830"/>
                  </a:lnTo>
                  <a:lnTo>
                    <a:pt x="28" y="1831"/>
                  </a:lnTo>
                  <a:lnTo>
                    <a:pt x="26" y="1834"/>
                  </a:lnTo>
                  <a:lnTo>
                    <a:pt x="26" y="1836"/>
                  </a:lnTo>
                  <a:lnTo>
                    <a:pt x="28" y="1839"/>
                  </a:lnTo>
                  <a:lnTo>
                    <a:pt x="29" y="1840"/>
                  </a:lnTo>
                  <a:lnTo>
                    <a:pt x="29" y="1842"/>
                  </a:lnTo>
                  <a:lnTo>
                    <a:pt x="31" y="1842"/>
                  </a:lnTo>
                  <a:lnTo>
                    <a:pt x="34" y="1842"/>
                  </a:lnTo>
                  <a:lnTo>
                    <a:pt x="36" y="1840"/>
                  </a:lnTo>
                  <a:lnTo>
                    <a:pt x="39" y="1837"/>
                  </a:lnTo>
                  <a:lnTo>
                    <a:pt x="39" y="1837"/>
                  </a:lnTo>
                  <a:lnTo>
                    <a:pt x="68" y="1834"/>
                  </a:lnTo>
                  <a:lnTo>
                    <a:pt x="71" y="1834"/>
                  </a:lnTo>
                  <a:lnTo>
                    <a:pt x="74" y="1836"/>
                  </a:lnTo>
                  <a:lnTo>
                    <a:pt x="60" y="1836"/>
                  </a:lnTo>
                  <a:lnTo>
                    <a:pt x="46" y="1839"/>
                  </a:lnTo>
                  <a:lnTo>
                    <a:pt x="46" y="1840"/>
                  </a:lnTo>
                  <a:lnTo>
                    <a:pt x="50" y="1842"/>
                  </a:lnTo>
                  <a:lnTo>
                    <a:pt x="51" y="1843"/>
                  </a:lnTo>
                  <a:lnTo>
                    <a:pt x="51" y="1845"/>
                  </a:lnTo>
                  <a:lnTo>
                    <a:pt x="51" y="1848"/>
                  </a:lnTo>
                  <a:lnTo>
                    <a:pt x="53" y="1851"/>
                  </a:lnTo>
                  <a:lnTo>
                    <a:pt x="51" y="1853"/>
                  </a:lnTo>
                  <a:lnTo>
                    <a:pt x="51" y="1853"/>
                  </a:lnTo>
                  <a:lnTo>
                    <a:pt x="50" y="1851"/>
                  </a:lnTo>
                  <a:lnTo>
                    <a:pt x="50" y="1847"/>
                  </a:lnTo>
                  <a:lnTo>
                    <a:pt x="48" y="1843"/>
                  </a:lnTo>
                  <a:lnTo>
                    <a:pt x="48" y="1842"/>
                  </a:lnTo>
                  <a:lnTo>
                    <a:pt x="46" y="1842"/>
                  </a:lnTo>
                  <a:lnTo>
                    <a:pt x="45" y="1840"/>
                  </a:lnTo>
                  <a:lnTo>
                    <a:pt x="43" y="1840"/>
                  </a:lnTo>
                  <a:lnTo>
                    <a:pt x="42" y="1839"/>
                  </a:lnTo>
                  <a:lnTo>
                    <a:pt x="40" y="1840"/>
                  </a:lnTo>
                  <a:lnTo>
                    <a:pt x="39" y="1845"/>
                  </a:lnTo>
                  <a:lnTo>
                    <a:pt x="37" y="1845"/>
                  </a:lnTo>
                  <a:lnTo>
                    <a:pt x="34" y="1845"/>
                  </a:lnTo>
                  <a:lnTo>
                    <a:pt x="34" y="1845"/>
                  </a:lnTo>
                  <a:lnTo>
                    <a:pt x="33" y="1847"/>
                  </a:lnTo>
                  <a:lnTo>
                    <a:pt x="31" y="1847"/>
                  </a:lnTo>
                  <a:lnTo>
                    <a:pt x="29" y="1847"/>
                  </a:lnTo>
                  <a:lnTo>
                    <a:pt x="28" y="1848"/>
                  </a:lnTo>
                  <a:lnTo>
                    <a:pt x="25" y="1850"/>
                  </a:lnTo>
                  <a:lnTo>
                    <a:pt x="25" y="1851"/>
                  </a:lnTo>
                  <a:lnTo>
                    <a:pt x="23" y="1853"/>
                  </a:lnTo>
                  <a:lnTo>
                    <a:pt x="25" y="1853"/>
                  </a:lnTo>
                  <a:lnTo>
                    <a:pt x="25" y="1853"/>
                  </a:lnTo>
                  <a:lnTo>
                    <a:pt x="26" y="1853"/>
                  </a:lnTo>
                  <a:lnTo>
                    <a:pt x="26" y="1854"/>
                  </a:lnTo>
                  <a:lnTo>
                    <a:pt x="28" y="1856"/>
                  </a:lnTo>
                  <a:lnTo>
                    <a:pt x="29" y="1856"/>
                  </a:lnTo>
                  <a:lnTo>
                    <a:pt x="31" y="1854"/>
                  </a:lnTo>
                  <a:lnTo>
                    <a:pt x="31" y="1856"/>
                  </a:lnTo>
                  <a:lnTo>
                    <a:pt x="29" y="1857"/>
                  </a:lnTo>
                  <a:lnTo>
                    <a:pt x="28" y="1857"/>
                  </a:lnTo>
                  <a:lnTo>
                    <a:pt x="26" y="1857"/>
                  </a:lnTo>
                  <a:lnTo>
                    <a:pt x="28" y="1859"/>
                  </a:lnTo>
                  <a:lnTo>
                    <a:pt x="37" y="1857"/>
                  </a:lnTo>
                  <a:lnTo>
                    <a:pt x="39" y="1859"/>
                  </a:lnTo>
                  <a:lnTo>
                    <a:pt x="42" y="1860"/>
                  </a:lnTo>
                  <a:lnTo>
                    <a:pt x="45" y="1864"/>
                  </a:lnTo>
                  <a:lnTo>
                    <a:pt x="43" y="1864"/>
                  </a:lnTo>
                  <a:lnTo>
                    <a:pt x="43" y="1865"/>
                  </a:lnTo>
                  <a:lnTo>
                    <a:pt x="43" y="1867"/>
                  </a:lnTo>
                  <a:lnTo>
                    <a:pt x="43" y="1867"/>
                  </a:lnTo>
                  <a:lnTo>
                    <a:pt x="36" y="1864"/>
                  </a:lnTo>
                  <a:lnTo>
                    <a:pt x="31" y="1864"/>
                  </a:lnTo>
                  <a:lnTo>
                    <a:pt x="29" y="1867"/>
                  </a:lnTo>
                  <a:lnTo>
                    <a:pt x="31" y="1868"/>
                  </a:lnTo>
                  <a:lnTo>
                    <a:pt x="36" y="1870"/>
                  </a:lnTo>
                  <a:lnTo>
                    <a:pt x="37" y="1870"/>
                  </a:lnTo>
                  <a:lnTo>
                    <a:pt x="39" y="1868"/>
                  </a:lnTo>
                  <a:lnTo>
                    <a:pt x="40" y="1868"/>
                  </a:lnTo>
                  <a:lnTo>
                    <a:pt x="42" y="1870"/>
                  </a:lnTo>
                  <a:lnTo>
                    <a:pt x="43" y="1870"/>
                  </a:lnTo>
                  <a:lnTo>
                    <a:pt x="42" y="1871"/>
                  </a:lnTo>
                  <a:lnTo>
                    <a:pt x="40" y="1871"/>
                  </a:lnTo>
                  <a:lnTo>
                    <a:pt x="40" y="1871"/>
                  </a:lnTo>
                  <a:lnTo>
                    <a:pt x="39" y="1873"/>
                  </a:lnTo>
                  <a:lnTo>
                    <a:pt x="39" y="1873"/>
                  </a:lnTo>
                  <a:lnTo>
                    <a:pt x="40" y="1873"/>
                  </a:lnTo>
                  <a:lnTo>
                    <a:pt x="40" y="1876"/>
                  </a:lnTo>
                  <a:lnTo>
                    <a:pt x="42" y="1876"/>
                  </a:lnTo>
                  <a:lnTo>
                    <a:pt x="42" y="1876"/>
                  </a:lnTo>
                  <a:lnTo>
                    <a:pt x="42" y="1876"/>
                  </a:lnTo>
                  <a:lnTo>
                    <a:pt x="46" y="1876"/>
                  </a:lnTo>
                  <a:lnTo>
                    <a:pt x="48" y="1874"/>
                  </a:lnTo>
                  <a:lnTo>
                    <a:pt x="50" y="1873"/>
                  </a:lnTo>
                  <a:lnTo>
                    <a:pt x="51" y="1877"/>
                  </a:lnTo>
                  <a:lnTo>
                    <a:pt x="56" y="1880"/>
                  </a:lnTo>
                  <a:lnTo>
                    <a:pt x="59" y="1880"/>
                  </a:lnTo>
                  <a:lnTo>
                    <a:pt x="62" y="1877"/>
                  </a:lnTo>
                  <a:lnTo>
                    <a:pt x="66" y="1873"/>
                  </a:lnTo>
                  <a:lnTo>
                    <a:pt x="68" y="1871"/>
                  </a:lnTo>
                  <a:lnTo>
                    <a:pt x="77" y="1870"/>
                  </a:lnTo>
                  <a:lnTo>
                    <a:pt x="79" y="1870"/>
                  </a:lnTo>
                  <a:lnTo>
                    <a:pt x="79" y="1868"/>
                  </a:lnTo>
                  <a:lnTo>
                    <a:pt x="80" y="1868"/>
                  </a:lnTo>
                  <a:lnTo>
                    <a:pt x="82" y="1868"/>
                  </a:lnTo>
                  <a:lnTo>
                    <a:pt x="83" y="1868"/>
                  </a:lnTo>
                  <a:lnTo>
                    <a:pt x="83" y="1867"/>
                  </a:lnTo>
                  <a:lnTo>
                    <a:pt x="83" y="1864"/>
                  </a:lnTo>
                  <a:lnTo>
                    <a:pt x="85" y="1864"/>
                  </a:lnTo>
                  <a:lnTo>
                    <a:pt x="85" y="1862"/>
                  </a:lnTo>
                  <a:lnTo>
                    <a:pt x="85" y="1864"/>
                  </a:lnTo>
                  <a:lnTo>
                    <a:pt x="85" y="1867"/>
                  </a:lnTo>
                  <a:lnTo>
                    <a:pt x="86" y="1868"/>
                  </a:lnTo>
                  <a:lnTo>
                    <a:pt x="93" y="1868"/>
                  </a:lnTo>
                  <a:lnTo>
                    <a:pt x="97" y="1867"/>
                  </a:lnTo>
                  <a:lnTo>
                    <a:pt x="103" y="1860"/>
                  </a:lnTo>
                  <a:lnTo>
                    <a:pt x="103" y="1864"/>
                  </a:lnTo>
                  <a:lnTo>
                    <a:pt x="102" y="1865"/>
                  </a:lnTo>
                  <a:lnTo>
                    <a:pt x="99" y="1867"/>
                  </a:lnTo>
                  <a:lnTo>
                    <a:pt x="102" y="1870"/>
                  </a:lnTo>
                  <a:lnTo>
                    <a:pt x="106" y="1870"/>
                  </a:lnTo>
                  <a:lnTo>
                    <a:pt x="111" y="1868"/>
                  </a:lnTo>
                  <a:lnTo>
                    <a:pt x="114" y="1864"/>
                  </a:lnTo>
                  <a:lnTo>
                    <a:pt x="116" y="1870"/>
                  </a:lnTo>
                  <a:lnTo>
                    <a:pt x="122" y="1873"/>
                  </a:lnTo>
                  <a:lnTo>
                    <a:pt x="130" y="1874"/>
                  </a:lnTo>
                  <a:lnTo>
                    <a:pt x="134" y="1874"/>
                  </a:lnTo>
                  <a:lnTo>
                    <a:pt x="137" y="1873"/>
                  </a:lnTo>
                  <a:lnTo>
                    <a:pt x="139" y="1871"/>
                  </a:lnTo>
                  <a:lnTo>
                    <a:pt x="139" y="1870"/>
                  </a:lnTo>
                  <a:lnTo>
                    <a:pt x="139" y="1868"/>
                  </a:lnTo>
                  <a:lnTo>
                    <a:pt x="139" y="1867"/>
                  </a:lnTo>
                  <a:lnTo>
                    <a:pt x="139" y="1865"/>
                  </a:lnTo>
                  <a:lnTo>
                    <a:pt x="139" y="1862"/>
                  </a:lnTo>
                  <a:lnTo>
                    <a:pt x="137" y="1862"/>
                  </a:lnTo>
                  <a:lnTo>
                    <a:pt x="137" y="1862"/>
                  </a:lnTo>
                  <a:lnTo>
                    <a:pt x="136" y="1860"/>
                  </a:lnTo>
                  <a:lnTo>
                    <a:pt x="136" y="1860"/>
                  </a:lnTo>
                  <a:lnTo>
                    <a:pt x="142" y="1860"/>
                  </a:lnTo>
                  <a:lnTo>
                    <a:pt x="140" y="1859"/>
                  </a:lnTo>
                  <a:lnTo>
                    <a:pt x="140" y="1859"/>
                  </a:lnTo>
                  <a:lnTo>
                    <a:pt x="140" y="1857"/>
                  </a:lnTo>
                  <a:lnTo>
                    <a:pt x="140" y="1856"/>
                  </a:lnTo>
                  <a:lnTo>
                    <a:pt x="139" y="1854"/>
                  </a:lnTo>
                  <a:lnTo>
                    <a:pt x="139" y="1851"/>
                  </a:lnTo>
                  <a:lnTo>
                    <a:pt x="139" y="1851"/>
                  </a:lnTo>
                  <a:lnTo>
                    <a:pt x="139" y="1850"/>
                  </a:lnTo>
                  <a:lnTo>
                    <a:pt x="140" y="1848"/>
                  </a:lnTo>
                  <a:lnTo>
                    <a:pt x="140" y="1848"/>
                  </a:lnTo>
                  <a:lnTo>
                    <a:pt x="142" y="1848"/>
                  </a:lnTo>
                  <a:lnTo>
                    <a:pt x="142" y="1851"/>
                  </a:lnTo>
                  <a:lnTo>
                    <a:pt x="143" y="1851"/>
                  </a:lnTo>
                  <a:lnTo>
                    <a:pt x="147" y="1850"/>
                  </a:lnTo>
                  <a:lnTo>
                    <a:pt x="148" y="1845"/>
                  </a:lnTo>
                  <a:lnTo>
                    <a:pt x="153" y="1831"/>
                  </a:lnTo>
                  <a:lnTo>
                    <a:pt x="154" y="1830"/>
                  </a:lnTo>
                  <a:lnTo>
                    <a:pt x="154" y="1831"/>
                  </a:lnTo>
                  <a:lnTo>
                    <a:pt x="154" y="1833"/>
                  </a:lnTo>
                  <a:lnTo>
                    <a:pt x="154" y="1834"/>
                  </a:lnTo>
                  <a:lnTo>
                    <a:pt x="154" y="1834"/>
                  </a:lnTo>
                  <a:lnTo>
                    <a:pt x="154" y="1834"/>
                  </a:lnTo>
                  <a:lnTo>
                    <a:pt x="153" y="1837"/>
                  </a:lnTo>
                  <a:lnTo>
                    <a:pt x="153" y="1839"/>
                  </a:lnTo>
                  <a:lnTo>
                    <a:pt x="153" y="1840"/>
                  </a:lnTo>
                  <a:lnTo>
                    <a:pt x="151" y="1842"/>
                  </a:lnTo>
                  <a:lnTo>
                    <a:pt x="151" y="1843"/>
                  </a:lnTo>
                  <a:lnTo>
                    <a:pt x="148" y="1851"/>
                  </a:lnTo>
                  <a:lnTo>
                    <a:pt x="147" y="1853"/>
                  </a:lnTo>
                  <a:lnTo>
                    <a:pt x="143" y="1856"/>
                  </a:lnTo>
                  <a:lnTo>
                    <a:pt x="143" y="1857"/>
                  </a:lnTo>
                  <a:lnTo>
                    <a:pt x="151" y="1862"/>
                  </a:lnTo>
                  <a:lnTo>
                    <a:pt x="162" y="1865"/>
                  </a:lnTo>
                  <a:lnTo>
                    <a:pt x="168" y="1867"/>
                  </a:lnTo>
                  <a:lnTo>
                    <a:pt x="170" y="1867"/>
                  </a:lnTo>
                  <a:lnTo>
                    <a:pt x="173" y="1867"/>
                  </a:lnTo>
                  <a:lnTo>
                    <a:pt x="176" y="1864"/>
                  </a:lnTo>
                  <a:lnTo>
                    <a:pt x="174" y="1867"/>
                  </a:lnTo>
                  <a:lnTo>
                    <a:pt x="171" y="1868"/>
                  </a:lnTo>
                  <a:lnTo>
                    <a:pt x="170" y="1871"/>
                  </a:lnTo>
                  <a:lnTo>
                    <a:pt x="171" y="1874"/>
                  </a:lnTo>
                  <a:lnTo>
                    <a:pt x="173" y="1876"/>
                  </a:lnTo>
                  <a:lnTo>
                    <a:pt x="174" y="1874"/>
                  </a:lnTo>
                  <a:lnTo>
                    <a:pt x="176" y="1873"/>
                  </a:lnTo>
                  <a:lnTo>
                    <a:pt x="187" y="1870"/>
                  </a:lnTo>
                  <a:lnTo>
                    <a:pt x="187" y="1870"/>
                  </a:lnTo>
                  <a:lnTo>
                    <a:pt x="187" y="1868"/>
                  </a:lnTo>
                  <a:lnTo>
                    <a:pt x="188" y="1868"/>
                  </a:lnTo>
                  <a:lnTo>
                    <a:pt x="188" y="1867"/>
                  </a:lnTo>
                  <a:lnTo>
                    <a:pt x="188" y="1867"/>
                  </a:lnTo>
                  <a:lnTo>
                    <a:pt x="188" y="1865"/>
                  </a:lnTo>
                  <a:lnTo>
                    <a:pt x="191" y="1864"/>
                  </a:lnTo>
                  <a:lnTo>
                    <a:pt x="193" y="1864"/>
                  </a:lnTo>
                  <a:lnTo>
                    <a:pt x="193" y="1865"/>
                  </a:lnTo>
                  <a:lnTo>
                    <a:pt x="194" y="1865"/>
                  </a:lnTo>
                  <a:lnTo>
                    <a:pt x="194" y="1867"/>
                  </a:lnTo>
                  <a:lnTo>
                    <a:pt x="197" y="1867"/>
                  </a:lnTo>
                  <a:lnTo>
                    <a:pt x="197" y="1867"/>
                  </a:lnTo>
                  <a:lnTo>
                    <a:pt x="199" y="1867"/>
                  </a:lnTo>
                  <a:lnTo>
                    <a:pt x="199" y="1867"/>
                  </a:lnTo>
                  <a:lnTo>
                    <a:pt x="202" y="1864"/>
                  </a:lnTo>
                  <a:lnTo>
                    <a:pt x="200" y="1862"/>
                  </a:lnTo>
                  <a:lnTo>
                    <a:pt x="200" y="1860"/>
                  </a:lnTo>
                  <a:lnTo>
                    <a:pt x="199" y="1859"/>
                  </a:lnTo>
                  <a:lnTo>
                    <a:pt x="197" y="1853"/>
                  </a:lnTo>
                  <a:lnTo>
                    <a:pt x="197" y="1850"/>
                  </a:lnTo>
                  <a:lnTo>
                    <a:pt x="196" y="1848"/>
                  </a:lnTo>
                  <a:lnTo>
                    <a:pt x="194" y="1847"/>
                  </a:lnTo>
                  <a:lnTo>
                    <a:pt x="194" y="1845"/>
                  </a:lnTo>
                  <a:lnTo>
                    <a:pt x="199" y="1839"/>
                  </a:lnTo>
                  <a:lnTo>
                    <a:pt x="199" y="1836"/>
                  </a:lnTo>
                  <a:lnTo>
                    <a:pt x="197" y="1834"/>
                  </a:lnTo>
                  <a:lnTo>
                    <a:pt x="197" y="1833"/>
                  </a:lnTo>
                  <a:lnTo>
                    <a:pt x="196" y="1831"/>
                  </a:lnTo>
                  <a:lnTo>
                    <a:pt x="197" y="1831"/>
                  </a:lnTo>
                  <a:lnTo>
                    <a:pt x="200" y="1833"/>
                  </a:lnTo>
                  <a:lnTo>
                    <a:pt x="202" y="1833"/>
                  </a:lnTo>
                  <a:lnTo>
                    <a:pt x="213" y="1820"/>
                  </a:lnTo>
                  <a:lnTo>
                    <a:pt x="219" y="1817"/>
                  </a:lnTo>
                  <a:lnTo>
                    <a:pt x="217" y="1820"/>
                  </a:lnTo>
                  <a:lnTo>
                    <a:pt x="216" y="1822"/>
                  </a:lnTo>
                  <a:lnTo>
                    <a:pt x="214" y="1823"/>
                  </a:lnTo>
                  <a:lnTo>
                    <a:pt x="213" y="1823"/>
                  </a:lnTo>
                  <a:lnTo>
                    <a:pt x="211" y="1825"/>
                  </a:lnTo>
                  <a:lnTo>
                    <a:pt x="210" y="1827"/>
                  </a:lnTo>
                  <a:lnTo>
                    <a:pt x="208" y="1830"/>
                  </a:lnTo>
                  <a:lnTo>
                    <a:pt x="207" y="1831"/>
                  </a:lnTo>
                  <a:lnTo>
                    <a:pt x="204" y="1834"/>
                  </a:lnTo>
                  <a:lnTo>
                    <a:pt x="204" y="1836"/>
                  </a:lnTo>
                  <a:lnTo>
                    <a:pt x="204" y="1839"/>
                  </a:lnTo>
                  <a:lnTo>
                    <a:pt x="202" y="1842"/>
                  </a:lnTo>
                  <a:lnTo>
                    <a:pt x="199" y="1845"/>
                  </a:lnTo>
                  <a:lnTo>
                    <a:pt x="199" y="1848"/>
                  </a:lnTo>
                  <a:lnTo>
                    <a:pt x="199" y="1848"/>
                  </a:lnTo>
                  <a:lnTo>
                    <a:pt x="200" y="1850"/>
                  </a:lnTo>
                  <a:lnTo>
                    <a:pt x="200" y="1850"/>
                  </a:lnTo>
                  <a:lnTo>
                    <a:pt x="200" y="1851"/>
                  </a:lnTo>
                  <a:lnTo>
                    <a:pt x="200" y="1853"/>
                  </a:lnTo>
                  <a:lnTo>
                    <a:pt x="202" y="1856"/>
                  </a:lnTo>
                  <a:lnTo>
                    <a:pt x="202" y="1859"/>
                  </a:lnTo>
                  <a:lnTo>
                    <a:pt x="202" y="1860"/>
                  </a:lnTo>
                  <a:lnTo>
                    <a:pt x="205" y="1862"/>
                  </a:lnTo>
                  <a:lnTo>
                    <a:pt x="210" y="1862"/>
                  </a:lnTo>
                  <a:lnTo>
                    <a:pt x="220" y="1859"/>
                  </a:lnTo>
                  <a:lnTo>
                    <a:pt x="224" y="1857"/>
                  </a:lnTo>
                  <a:lnTo>
                    <a:pt x="225" y="1857"/>
                  </a:lnTo>
                  <a:lnTo>
                    <a:pt x="228" y="1856"/>
                  </a:lnTo>
                  <a:lnTo>
                    <a:pt x="225" y="1860"/>
                  </a:lnTo>
                  <a:lnTo>
                    <a:pt x="220" y="1862"/>
                  </a:lnTo>
                  <a:lnTo>
                    <a:pt x="210" y="1862"/>
                  </a:lnTo>
                  <a:lnTo>
                    <a:pt x="208" y="1864"/>
                  </a:lnTo>
                  <a:lnTo>
                    <a:pt x="207" y="1865"/>
                  </a:lnTo>
                  <a:lnTo>
                    <a:pt x="207" y="1867"/>
                  </a:lnTo>
                  <a:lnTo>
                    <a:pt x="202" y="1868"/>
                  </a:lnTo>
                  <a:lnTo>
                    <a:pt x="202" y="1870"/>
                  </a:lnTo>
                  <a:lnTo>
                    <a:pt x="202" y="1871"/>
                  </a:lnTo>
                  <a:lnTo>
                    <a:pt x="205" y="1874"/>
                  </a:lnTo>
                  <a:lnTo>
                    <a:pt x="205" y="1874"/>
                  </a:lnTo>
                  <a:lnTo>
                    <a:pt x="207" y="1876"/>
                  </a:lnTo>
                  <a:lnTo>
                    <a:pt x="208" y="1876"/>
                  </a:lnTo>
                  <a:lnTo>
                    <a:pt x="208" y="1877"/>
                  </a:lnTo>
                  <a:lnTo>
                    <a:pt x="204" y="1876"/>
                  </a:lnTo>
                  <a:lnTo>
                    <a:pt x="200" y="1874"/>
                  </a:lnTo>
                  <a:lnTo>
                    <a:pt x="199" y="1873"/>
                  </a:lnTo>
                  <a:lnTo>
                    <a:pt x="199" y="1873"/>
                  </a:lnTo>
                  <a:lnTo>
                    <a:pt x="193" y="1871"/>
                  </a:lnTo>
                  <a:lnTo>
                    <a:pt x="191" y="1871"/>
                  </a:lnTo>
                  <a:lnTo>
                    <a:pt x="190" y="1873"/>
                  </a:lnTo>
                  <a:lnTo>
                    <a:pt x="188" y="1876"/>
                  </a:lnTo>
                  <a:lnTo>
                    <a:pt x="180" y="1876"/>
                  </a:lnTo>
                  <a:lnTo>
                    <a:pt x="177" y="1877"/>
                  </a:lnTo>
                  <a:lnTo>
                    <a:pt x="176" y="1877"/>
                  </a:lnTo>
                  <a:lnTo>
                    <a:pt x="176" y="1879"/>
                  </a:lnTo>
                  <a:lnTo>
                    <a:pt x="176" y="1880"/>
                  </a:lnTo>
                  <a:lnTo>
                    <a:pt x="177" y="1884"/>
                  </a:lnTo>
                  <a:lnTo>
                    <a:pt x="177" y="1885"/>
                  </a:lnTo>
                  <a:lnTo>
                    <a:pt x="179" y="1887"/>
                  </a:lnTo>
                  <a:lnTo>
                    <a:pt x="179" y="1888"/>
                  </a:lnTo>
                  <a:lnTo>
                    <a:pt x="182" y="1896"/>
                  </a:lnTo>
                  <a:lnTo>
                    <a:pt x="182" y="1897"/>
                  </a:lnTo>
                  <a:lnTo>
                    <a:pt x="184" y="1899"/>
                  </a:lnTo>
                  <a:lnTo>
                    <a:pt x="187" y="1899"/>
                  </a:lnTo>
                  <a:lnTo>
                    <a:pt x="188" y="1900"/>
                  </a:lnTo>
                  <a:lnTo>
                    <a:pt x="188" y="1904"/>
                  </a:lnTo>
                  <a:lnTo>
                    <a:pt x="188" y="1908"/>
                  </a:lnTo>
                  <a:lnTo>
                    <a:pt x="185" y="1911"/>
                  </a:lnTo>
                  <a:lnTo>
                    <a:pt x="184" y="1913"/>
                  </a:lnTo>
                  <a:lnTo>
                    <a:pt x="185" y="1905"/>
                  </a:lnTo>
                  <a:lnTo>
                    <a:pt x="185" y="1904"/>
                  </a:lnTo>
                  <a:lnTo>
                    <a:pt x="185" y="1902"/>
                  </a:lnTo>
                  <a:lnTo>
                    <a:pt x="179" y="1897"/>
                  </a:lnTo>
                  <a:lnTo>
                    <a:pt x="177" y="1897"/>
                  </a:lnTo>
                  <a:lnTo>
                    <a:pt x="173" y="1897"/>
                  </a:lnTo>
                  <a:lnTo>
                    <a:pt x="167" y="1902"/>
                  </a:lnTo>
                  <a:lnTo>
                    <a:pt x="171" y="1896"/>
                  </a:lnTo>
                  <a:lnTo>
                    <a:pt x="174" y="1894"/>
                  </a:lnTo>
                  <a:lnTo>
                    <a:pt x="174" y="1894"/>
                  </a:lnTo>
                  <a:lnTo>
                    <a:pt x="176" y="1893"/>
                  </a:lnTo>
                  <a:lnTo>
                    <a:pt x="176" y="1891"/>
                  </a:lnTo>
                  <a:lnTo>
                    <a:pt x="176" y="1890"/>
                  </a:lnTo>
                  <a:lnTo>
                    <a:pt x="176" y="1888"/>
                  </a:lnTo>
                  <a:lnTo>
                    <a:pt x="174" y="1885"/>
                  </a:lnTo>
                  <a:lnTo>
                    <a:pt x="173" y="1880"/>
                  </a:lnTo>
                  <a:lnTo>
                    <a:pt x="173" y="1879"/>
                  </a:lnTo>
                  <a:lnTo>
                    <a:pt x="171" y="1879"/>
                  </a:lnTo>
                  <a:lnTo>
                    <a:pt x="167" y="1879"/>
                  </a:lnTo>
                  <a:lnTo>
                    <a:pt x="167" y="1879"/>
                  </a:lnTo>
                  <a:lnTo>
                    <a:pt x="165" y="1877"/>
                  </a:lnTo>
                  <a:lnTo>
                    <a:pt x="165" y="1876"/>
                  </a:lnTo>
                  <a:lnTo>
                    <a:pt x="165" y="1874"/>
                  </a:lnTo>
                  <a:lnTo>
                    <a:pt x="165" y="1873"/>
                  </a:lnTo>
                  <a:lnTo>
                    <a:pt x="165" y="1871"/>
                  </a:lnTo>
                  <a:lnTo>
                    <a:pt x="163" y="1871"/>
                  </a:lnTo>
                  <a:lnTo>
                    <a:pt x="160" y="1870"/>
                  </a:lnTo>
                  <a:lnTo>
                    <a:pt x="150" y="1868"/>
                  </a:lnTo>
                  <a:lnTo>
                    <a:pt x="148" y="1868"/>
                  </a:lnTo>
                  <a:lnTo>
                    <a:pt x="147" y="1865"/>
                  </a:lnTo>
                  <a:lnTo>
                    <a:pt x="147" y="1865"/>
                  </a:lnTo>
                  <a:lnTo>
                    <a:pt x="145" y="1867"/>
                  </a:lnTo>
                  <a:lnTo>
                    <a:pt x="145" y="1870"/>
                  </a:lnTo>
                  <a:lnTo>
                    <a:pt x="143" y="1874"/>
                  </a:lnTo>
                  <a:lnTo>
                    <a:pt x="142" y="1876"/>
                  </a:lnTo>
                  <a:lnTo>
                    <a:pt x="140" y="1877"/>
                  </a:lnTo>
                  <a:lnTo>
                    <a:pt x="136" y="1879"/>
                  </a:lnTo>
                  <a:lnTo>
                    <a:pt x="134" y="1880"/>
                  </a:lnTo>
                  <a:lnTo>
                    <a:pt x="133" y="1882"/>
                  </a:lnTo>
                  <a:lnTo>
                    <a:pt x="130" y="1885"/>
                  </a:lnTo>
                  <a:lnTo>
                    <a:pt x="130" y="1887"/>
                  </a:lnTo>
                  <a:lnTo>
                    <a:pt x="130" y="1888"/>
                  </a:lnTo>
                  <a:lnTo>
                    <a:pt x="130" y="1890"/>
                  </a:lnTo>
                  <a:lnTo>
                    <a:pt x="128" y="1891"/>
                  </a:lnTo>
                  <a:lnTo>
                    <a:pt x="127" y="1890"/>
                  </a:lnTo>
                  <a:lnTo>
                    <a:pt x="127" y="1888"/>
                  </a:lnTo>
                  <a:lnTo>
                    <a:pt x="128" y="1885"/>
                  </a:lnTo>
                  <a:lnTo>
                    <a:pt x="130" y="1884"/>
                  </a:lnTo>
                  <a:lnTo>
                    <a:pt x="128" y="1882"/>
                  </a:lnTo>
                  <a:lnTo>
                    <a:pt x="127" y="1882"/>
                  </a:lnTo>
                  <a:lnTo>
                    <a:pt x="127" y="1882"/>
                  </a:lnTo>
                  <a:lnTo>
                    <a:pt x="125" y="1882"/>
                  </a:lnTo>
                  <a:lnTo>
                    <a:pt x="123" y="1882"/>
                  </a:lnTo>
                  <a:lnTo>
                    <a:pt x="123" y="1884"/>
                  </a:lnTo>
                  <a:lnTo>
                    <a:pt x="122" y="1885"/>
                  </a:lnTo>
                  <a:lnTo>
                    <a:pt x="119" y="1885"/>
                  </a:lnTo>
                  <a:lnTo>
                    <a:pt x="122" y="1884"/>
                  </a:lnTo>
                  <a:lnTo>
                    <a:pt x="122" y="1880"/>
                  </a:lnTo>
                  <a:lnTo>
                    <a:pt x="120" y="1877"/>
                  </a:lnTo>
                  <a:lnTo>
                    <a:pt x="119" y="1877"/>
                  </a:lnTo>
                  <a:lnTo>
                    <a:pt x="116" y="1876"/>
                  </a:lnTo>
                  <a:lnTo>
                    <a:pt x="111" y="1874"/>
                  </a:lnTo>
                  <a:lnTo>
                    <a:pt x="108" y="1873"/>
                  </a:lnTo>
                  <a:lnTo>
                    <a:pt x="103" y="1874"/>
                  </a:lnTo>
                  <a:lnTo>
                    <a:pt x="102" y="1874"/>
                  </a:lnTo>
                  <a:lnTo>
                    <a:pt x="100" y="1874"/>
                  </a:lnTo>
                  <a:lnTo>
                    <a:pt x="93" y="1873"/>
                  </a:lnTo>
                  <a:lnTo>
                    <a:pt x="91" y="1874"/>
                  </a:lnTo>
                  <a:lnTo>
                    <a:pt x="90" y="1876"/>
                  </a:lnTo>
                  <a:lnTo>
                    <a:pt x="90" y="1876"/>
                  </a:lnTo>
                  <a:lnTo>
                    <a:pt x="90" y="1877"/>
                  </a:lnTo>
                  <a:lnTo>
                    <a:pt x="88" y="1877"/>
                  </a:lnTo>
                  <a:lnTo>
                    <a:pt x="88" y="1879"/>
                  </a:lnTo>
                  <a:lnTo>
                    <a:pt x="86" y="1880"/>
                  </a:lnTo>
                  <a:lnTo>
                    <a:pt x="86" y="1882"/>
                  </a:lnTo>
                  <a:lnTo>
                    <a:pt x="85" y="1882"/>
                  </a:lnTo>
                  <a:lnTo>
                    <a:pt x="85" y="1880"/>
                  </a:lnTo>
                  <a:lnTo>
                    <a:pt x="86" y="1876"/>
                  </a:lnTo>
                  <a:lnTo>
                    <a:pt x="85" y="1874"/>
                  </a:lnTo>
                  <a:lnTo>
                    <a:pt x="82" y="1876"/>
                  </a:lnTo>
                  <a:lnTo>
                    <a:pt x="79" y="1877"/>
                  </a:lnTo>
                  <a:lnTo>
                    <a:pt x="77" y="1879"/>
                  </a:lnTo>
                  <a:lnTo>
                    <a:pt x="76" y="1877"/>
                  </a:lnTo>
                  <a:lnTo>
                    <a:pt x="74" y="1877"/>
                  </a:lnTo>
                  <a:lnTo>
                    <a:pt x="71" y="1879"/>
                  </a:lnTo>
                  <a:lnTo>
                    <a:pt x="71" y="1879"/>
                  </a:lnTo>
                  <a:lnTo>
                    <a:pt x="73" y="1880"/>
                  </a:lnTo>
                  <a:lnTo>
                    <a:pt x="74" y="1882"/>
                  </a:lnTo>
                  <a:lnTo>
                    <a:pt x="74" y="1884"/>
                  </a:lnTo>
                  <a:lnTo>
                    <a:pt x="73" y="1882"/>
                  </a:lnTo>
                  <a:lnTo>
                    <a:pt x="70" y="1882"/>
                  </a:lnTo>
                  <a:lnTo>
                    <a:pt x="66" y="1880"/>
                  </a:lnTo>
                  <a:lnTo>
                    <a:pt x="63" y="1884"/>
                  </a:lnTo>
                  <a:lnTo>
                    <a:pt x="62" y="1884"/>
                  </a:lnTo>
                  <a:lnTo>
                    <a:pt x="62" y="1885"/>
                  </a:lnTo>
                  <a:lnTo>
                    <a:pt x="60" y="1887"/>
                  </a:lnTo>
                  <a:lnTo>
                    <a:pt x="60" y="1888"/>
                  </a:lnTo>
                  <a:lnTo>
                    <a:pt x="62" y="1890"/>
                  </a:lnTo>
                  <a:lnTo>
                    <a:pt x="62" y="1891"/>
                  </a:lnTo>
                  <a:lnTo>
                    <a:pt x="62" y="1893"/>
                  </a:lnTo>
                  <a:lnTo>
                    <a:pt x="60" y="1893"/>
                  </a:lnTo>
                  <a:lnTo>
                    <a:pt x="60" y="1891"/>
                  </a:lnTo>
                  <a:lnTo>
                    <a:pt x="60" y="1890"/>
                  </a:lnTo>
                  <a:lnTo>
                    <a:pt x="59" y="1888"/>
                  </a:lnTo>
                  <a:lnTo>
                    <a:pt x="59" y="1888"/>
                  </a:lnTo>
                  <a:lnTo>
                    <a:pt x="54" y="1888"/>
                  </a:lnTo>
                  <a:lnTo>
                    <a:pt x="50" y="1887"/>
                  </a:lnTo>
                  <a:lnTo>
                    <a:pt x="48" y="1887"/>
                  </a:lnTo>
                  <a:lnTo>
                    <a:pt x="42" y="1882"/>
                  </a:lnTo>
                  <a:lnTo>
                    <a:pt x="37" y="1880"/>
                  </a:lnTo>
                  <a:lnTo>
                    <a:pt x="33" y="1880"/>
                  </a:lnTo>
                  <a:lnTo>
                    <a:pt x="28" y="1885"/>
                  </a:lnTo>
                  <a:lnTo>
                    <a:pt x="28" y="1887"/>
                  </a:lnTo>
                  <a:lnTo>
                    <a:pt x="26" y="1890"/>
                  </a:lnTo>
                  <a:lnTo>
                    <a:pt x="28" y="1893"/>
                  </a:lnTo>
                  <a:lnTo>
                    <a:pt x="28" y="1894"/>
                  </a:lnTo>
                  <a:lnTo>
                    <a:pt x="28" y="1896"/>
                  </a:lnTo>
                  <a:lnTo>
                    <a:pt x="33" y="1896"/>
                  </a:lnTo>
                  <a:lnTo>
                    <a:pt x="34" y="1896"/>
                  </a:lnTo>
                  <a:lnTo>
                    <a:pt x="36" y="1894"/>
                  </a:lnTo>
                  <a:lnTo>
                    <a:pt x="37" y="1894"/>
                  </a:lnTo>
                  <a:lnTo>
                    <a:pt x="37" y="1894"/>
                  </a:lnTo>
                  <a:lnTo>
                    <a:pt x="37" y="1894"/>
                  </a:lnTo>
                  <a:lnTo>
                    <a:pt x="37" y="1893"/>
                  </a:lnTo>
                  <a:lnTo>
                    <a:pt x="37" y="1896"/>
                  </a:lnTo>
                  <a:lnTo>
                    <a:pt x="37" y="1897"/>
                  </a:lnTo>
                  <a:lnTo>
                    <a:pt x="36" y="1897"/>
                  </a:lnTo>
                  <a:lnTo>
                    <a:pt x="34" y="1900"/>
                  </a:lnTo>
                  <a:lnTo>
                    <a:pt x="34" y="1902"/>
                  </a:lnTo>
                  <a:lnTo>
                    <a:pt x="34" y="1908"/>
                  </a:lnTo>
                  <a:lnTo>
                    <a:pt x="34" y="1911"/>
                  </a:lnTo>
                  <a:lnTo>
                    <a:pt x="34" y="1911"/>
                  </a:lnTo>
                  <a:lnTo>
                    <a:pt x="33" y="1910"/>
                  </a:lnTo>
                  <a:lnTo>
                    <a:pt x="33" y="1907"/>
                  </a:lnTo>
                  <a:lnTo>
                    <a:pt x="33" y="1902"/>
                  </a:lnTo>
                  <a:lnTo>
                    <a:pt x="33" y="1900"/>
                  </a:lnTo>
                  <a:lnTo>
                    <a:pt x="31" y="1899"/>
                  </a:lnTo>
                  <a:lnTo>
                    <a:pt x="29" y="1897"/>
                  </a:lnTo>
                  <a:lnTo>
                    <a:pt x="28" y="1897"/>
                  </a:lnTo>
                  <a:lnTo>
                    <a:pt x="26" y="1897"/>
                  </a:lnTo>
                  <a:lnTo>
                    <a:pt x="25" y="1900"/>
                  </a:lnTo>
                  <a:lnTo>
                    <a:pt x="26" y="1900"/>
                  </a:lnTo>
                  <a:lnTo>
                    <a:pt x="28" y="1902"/>
                  </a:lnTo>
                  <a:lnTo>
                    <a:pt x="28" y="1904"/>
                  </a:lnTo>
                  <a:lnTo>
                    <a:pt x="28" y="1905"/>
                  </a:lnTo>
                  <a:lnTo>
                    <a:pt x="28" y="1907"/>
                  </a:lnTo>
                  <a:lnTo>
                    <a:pt x="28" y="1907"/>
                  </a:lnTo>
                  <a:lnTo>
                    <a:pt x="28" y="1908"/>
                  </a:lnTo>
                  <a:lnTo>
                    <a:pt x="29" y="1910"/>
                  </a:lnTo>
                  <a:lnTo>
                    <a:pt x="29" y="1914"/>
                  </a:lnTo>
                  <a:lnTo>
                    <a:pt x="31" y="1916"/>
                  </a:lnTo>
                  <a:lnTo>
                    <a:pt x="33" y="1917"/>
                  </a:lnTo>
                  <a:lnTo>
                    <a:pt x="36" y="1917"/>
                  </a:lnTo>
                  <a:lnTo>
                    <a:pt x="37" y="1917"/>
                  </a:lnTo>
                  <a:lnTo>
                    <a:pt x="36" y="1919"/>
                  </a:lnTo>
                  <a:lnTo>
                    <a:pt x="37" y="1920"/>
                  </a:lnTo>
                  <a:lnTo>
                    <a:pt x="39" y="1920"/>
                  </a:lnTo>
                  <a:lnTo>
                    <a:pt x="39" y="1917"/>
                  </a:lnTo>
                  <a:lnTo>
                    <a:pt x="39" y="1914"/>
                  </a:lnTo>
                  <a:lnTo>
                    <a:pt x="40" y="1919"/>
                  </a:lnTo>
                  <a:lnTo>
                    <a:pt x="45" y="1920"/>
                  </a:lnTo>
                  <a:lnTo>
                    <a:pt x="48" y="1919"/>
                  </a:lnTo>
                  <a:lnTo>
                    <a:pt x="51" y="1916"/>
                  </a:lnTo>
                  <a:lnTo>
                    <a:pt x="51" y="1913"/>
                  </a:lnTo>
                  <a:lnTo>
                    <a:pt x="53" y="1911"/>
                  </a:lnTo>
                  <a:lnTo>
                    <a:pt x="57" y="1910"/>
                  </a:lnTo>
                  <a:lnTo>
                    <a:pt x="62" y="1907"/>
                  </a:lnTo>
                  <a:lnTo>
                    <a:pt x="63" y="1907"/>
                  </a:lnTo>
                  <a:lnTo>
                    <a:pt x="62" y="1908"/>
                  </a:lnTo>
                  <a:lnTo>
                    <a:pt x="62" y="1910"/>
                  </a:lnTo>
                  <a:lnTo>
                    <a:pt x="65" y="1911"/>
                  </a:lnTo>
                  <a:lnTo>
                    <a:pt x="66" y="1911"/>
                  </a:lnTo>
                  <a:lnTo>
                    <a:pt x="65" y="1913"/>
                  </a:lnTo>
                  <a:lnTo>
                    <a:pt x="63" y="1913"/>
                  </a:lnTo>
                  <a:lnTo>
                    <a:pt x="63" y="1913"/>
                  </a:lnTo>
                  <a:lnTo>
                    <a:pt x="62" y="1913"/>
                  </a:lnTo>
                  <a:lnTo>
                    <a:pt x="60" y="1913"/>
                  </a:lnTo>
                  <a:lnTo>
                    <a:pt x="59" y="1913"/>
                  </a:lnTo>
                  <a:lnTo>
                    <a:pt x="54" y="1914"/>
                  </a:lnTo>
                  <a:lnTo>
                    <a:pt x="53" y="1917"/>
                  </a:lnTo>
                  <a:lnTo>
                    <a:pt x="53" y="1920"/>
                  </a:lnTo>
                  <a:lnTo>
                    <a:pt x="51" y="1922"/>
                  </a:lnTo>
                  <a:lnTo>
                    <a:pt x="48" y="1924"/>
                  </a:lnTo>
                  <a:lnTo>
                    <a:pt x="46" y="1924"/>
                  </a:lnTo>
                  <a:lnTo>
                    <a:pt x="45" y="1927"/>
                  </a:lnTo>
                  <a:lnTo>
                    <a:pt x="45" y="1927"/>
                  </a:lnTo>
                  <a:lnTo>
                    <a:pt x="45" y="1928"/>
                  </a:lnTo>
                  <a:lnTo>
                    <a:pt x="45" y="1928"/>
                  </a:lnTo>
                  <a:lnTo>
                    <a:pt x="46" y="1928"/>
                  </a:lnTo>
                  <a:lnTo>
                    <a:pt x="48" y="1931"/>
                  </a:lnTo>
                  <a:lnTo>
                    <a:pt x="50" y="1931"/>
                  </a:lnTo>
                  <a:lnTo>
                    <a:pt x="53" y="1931"/>
                  </a:lnTo>
                  <a:lnTo>
                    <a:pt x="54" y="1931"/>
                  </a:lnTo>
                  <a:lnTo>
                    <a:pt x="54" y="1933"/>
                  </a:lnTo>
                  <a:lnTo>
                    <a:pt x="54" y="1934"/>
                  </a:lnTo>
                  <a:lnTo>
                    <a:pt x="54" y="1936"/>
                  </a:lnTo>
                  <a:lnTo>
                    <a:pt x="56" y="1936"/>
                  </a:lnTo>
                  <a:lnTo>
                    <a:pt x="57" y="1937"/>
                  </a:lnTo>
                  <a:lnTo>
                    <a:pt x="57" y="1939"/>
                  </a:lnTo>
                  <a:lnTo>
                    <a:pt x="59" y="1940"/>
                  </a:lnTo>
                  <a:lnTo>
                    <a:pt x="59" y="1942"/>
                  </a:lnTo>
                  <a:lnTo>
                    <a:pt x="59" y="1944"/>
                  </a:lnTo>
                  <a:lnTo>
                    <a:pt x="59" y="1944"/>
                  </a:lnTo>
                  <a:lnTo>
                    <a:pt x="56" y="1940"/>
                  </a:lnTo>
                  <a:lnTo>
                    <a:pt x="56" y="1940"/>
                  </a:lnTo>
                  <a:lnTo>
                    <a:pt x="54" y="1942"/>
                  </a:lnTo>
                  <a:lnTo>
                    <a:pt x="56" y="1944"/>
                  </a:lnTo>
                  <a:lnTo>
                    <a:pt x="59" y="1947"/>
                  </a:lnTo>
                  <a:lnTo>
                    <a:pt x="59" y="1948"/>
                  </a:lnTo>
                  <a:lnTo>
                    <a:pt x="57" y="1948"/>
                  </a:lnTo>
                  <a:lnTo>
                    <a:pt x="54" y="1945"/>
                  </a:lnTo>
                  <a:lnTo>
                    <a:pt x="53" y="1944"/>
                  </a:lnTo>
                  <a:lnTo>
                    <a:pt x="53" y="1945"/>
                  </a:lnTo>
                  <a:lnTo>
                    <a:pt x="54" y="1947"/>
                  </a:lnTo>
                  <a:lnTo>
                    <a:pt x="54" y="1947"/>
                  </a:lnTo>
                  <a:lnTo>
                    <a:pt x="54" y="1948"/>
                  </a:lnTo>
                  <a:lnTo>
                    <a:pt x="53" y="1947"/>
                  </a:lnTo>
                  <a:lnTo>
                    <a:pt x="51" y="1945"/>
                  </a:lnTo>
                  <a:lnTo>
                    <a:pt x="50" y="1942"/>
                  </a:lnTo>
                  <a:lnTo>
                    <a:pt x="50" y="1939"/>
                  </a:lnTo>
                  <a:lnTo>
                    <a:pt x="50" y="1936"/>
                  </a:lnTo>
                  <a:lnTo>
                    <a:pt x="48" y="1934"/>
                  </a:lnTo>
                  <a:lnTo>
                    <a:pt x="40" y="1931"/>
                  </a:lnTo>
                  <a:lnTo>
                    <a:pt x="37" y="1930"/>
                  </a:lnTo>
                  <a:lnTo>
                    <a:pt x="36" y="1927"/>
                  </a:lnTo>
                  <a:lnTo>
                    <a:pt x="31" y="1927"/>
                  </a:lnTo>
                  <a:lnTo>
                    <a:pt x="28" y="1922"/>
                  </a:lnTo>
                  <a:lnTo>
                    <a:pt x="25" y="1922"/>
                  </a:lnTo>
                  <a:lnTo>
                    <a:pt x="23" y="1922"/>
                  </a:lnTo>
                  <a:lnTo>
                    <a:pt x="22" y="1922"/>
                  </a:lnTo>
                  <a:lnTo>
                    <a:pt x="23" y="1924"/>
                  </a:lnTo>
                  <a:lnTo>
                    <a:pt x="26" y="1925"/>
                  </a:lnTo>
                  <a:lnTo>
                    <a:pt x="29" y="1931"/>
                  </a:lnTo>
                  <a:lnTo>
                    <a:pt x="31" y="1933"/>
                  </a:lnTo>
                  <a:lnTo>
                    <a:pt x="34" y="1933"/>
                  </a:lnTo>
                  <a:lnTo>
                    <a:pt x="36" y="1934"/>
                  </a:lnTo>
                  <a:lnTo>
                    <a:pt x="37" y="1937"/>
                  </a:lnTo>
                  <a:lnTo>
                    <a:pt x="34" y="1936"/>
                  </a:lnTo>
                  <a:lnTo>
                    <a:pt x="33" y="1936"/>
                  </a:lnTo>
                  <a:lnTo>
                    <a:pt x="39" y="1942"/>
                  </a:lnTo>
                  <a:lnTo>
                    <a:pt x="43" y="1950"/>
                  </a:lnTo>
                  <a:lnTo>
                    <a:pt x="43" y="1951"/>
                  </a:lnTo>
                  <a:lnTo>
                    <a:pt x="39" y="1945"/>
                  </a:lnTo>
                  <a:lnTo>
                    <a:pt x="36" y="1944"/>
                  </a:lnTo>
                  <a:lnTo>
                    <a:pt x="33" y="1944"/>
                  </a:lnTo>
                  <a:lnTo>
                    <a:pt x="34" y="1945"/>
                  </a:lnTo>
                  <a:lnTo>
                    <a:pt x="39" y="1951"/>
                  </a:lnTo>
                  <a:lnTo>
                    <a:pt x="40" y="1954"/>
                  </a:lnTo>
                  <a:lnTo>
                    <a:pt x="43" y="1957"/>
                  </a:lnTo>
                  <a:lnTo>
                    <a:pt x="45" y="1959"/>
                  </a:lnTo>
                  <a:lnTo>
                    <a:pt x="48" y="1959"/>
                  </a:lnTo>
                  <a:lnTo>
                    <a:pt x="50" y="1959"/>
                  </a:lnTo>
                  <a:lnTo>
                    <a:pt x="54" y="1956"/>
                  </a:lnTo>
                  <a:lnTo>
                    <a:pt x="60" y="1951"/>
                  </a:lnTo>
                  <a:lnTo>
                    <a:pt x="65" y="1950"/>
                  </a:lnTo>
                  <a:lnTo>
                    <a:pt x="66" y="1948"/>
                  </a:lnTo>
                  <a:lnTo>
                    <a:pt x="66" y="1947"/>
                  </a:lnTo>
                  <a:lnTo>
                    <a:pt x="66" y="1940"/>
                  </a:lnTo>
                  <a:lnTo>
                    <a:pt x="66" y="1939"/>
                  </a:lnTo>
                  <a:lnTo>
                    <a:pt x="70" y="1939"/>
                  </a:lnTo>
                  <a:lnTo>
                    <a:pt x="71" y="1939"/>
                  </a:lnTo>
                  <a:lnTo>
                    <a:pt x="71" y="1937"/>
                  </a:lnTo>
                  <a:lnTo>
                    <a:pt x="73" y="1936"/>
                  </a:lnTo>
                  <a:lnTo>
                    <a:pt x="74" y="1936"/>
                  </a:lnTo>
                  <a:lnTo>
                    <a:pt x="76" y="1934"/>
                  </a:lnTo>
                  <a:lnTo>
                    <a:pt x="76" y="1931"/>
                  </a:lnTo>
                  <a:lnTo>
                    <a:pt x="77" y="1930"/>
                  </a:lnTo>
                  <a:lnTo>
                    <a:pt x="79" y="1930"/>
                  </a:lnTo>
                  <a:lnTo>
                    <a:pt x="77" y="1931"/>
                  </a:lnTo>
                  <a:lnTo>
                    <a:pt x="77" y="1934"/>
                  </a:lnTo>
                  <a:lnTo>
                    <a:pt x="76" y="1936"/>
                  </a:lnTo>
                  <a:lnTo>
                    <a:pt x="76" y="1937"/>
                  </a:lnTo>
                  <a:lnTo>
                    <a:pt x="80" y="1937"/>
                  </a:lnTo>
                  <a:lnTo>
                    <a:pt x="80" y="1937"/>
                  </a:lnTo>
                  <a:lnTo>
                    <a:pt x="83" y="1936"/>
                  </a:lnTo>
                  <a:lnTo>
                    <a:pt x="82" y="1937"/>
                  </a:lnTo>
                  <a:lnTo>
                    <a:pt x="80" y="1940"/>
                  </a:lnTo>
                  <a:lnTo>
                    <a:pt x="80" y="1944"/>
                  </a:lnTo>
                  <a:lnTo>
                    <a:pt x="82" y="1945"/>
                  </a:lnTo>
                  <a:lnTo>
                    <a:pt x="80" y="1947"/>
                  </a:lnTo>
                  <a:lnTo>
                    <a:pt x="80" y="1953"/>
                  </a:lnTo>
                  <a:lnTo>
                    <a:pt x="79" y="1959"/>
                  </a:lnTo>
                  <a:lnTo>
                    <a:pt x="80" y="1964"/>
                  </a:lnTo>
                  <a:lnTo>
                    <a:pt x="80" y="1968"/>
                  </a:lnTo>
                  <a:lnTo>
                    <a:pt x="80" y="1971"/>
                  </a:lnTo>
                  <a:lnTo>
                    <a:pt x="80" y="1973"/>
                  </a:lnTo>
                  <a:lnTo>
                    <a:pt x="79" y="1974"/>
                  </a:lnTo>
                  <a:lnTo>
                    <a:pt x="77" y="1974"/>
                  </a:lnTo>
                  <a:lnTo>
                    <a:pt x="76" y="1976"/>
                  </a:lnTo>
                  <a:lnTo>
                    <a:pt x="76" y="1979"/>
                  </a:lnTo>
                  <a:lnTo>
                    <a:pt x="73" y="1981"/>
                  </a:lnTo>
                  <a:lnTo>
                    <a:pt x="70" y="1981"/>
                  </a:lnTo>
                  <a:lnTo>
                    <a:pt x="66" y="1981"/>
                  </a:lnTo>
                  <a:lnTo>
                    <a:pt x="62" y="1977"/>
                  </a:lnTo>
                  <a:lnTo>
                    <a:pt x="60" y="1976"/>
                  </a:lnTo>
                  <a:lnTo>
                    <a:pt x="57" y="1971"/>
                  </a:lnTo>
                  <a:lnTo>
                    <a:pt x="56" y="1970"/>
                  </a:lnTo>
                  <a:lnTo>
                    <a:pt x="54" y="1970"/>
                  </a:lnTo>
                  <a:lnTo>
                    <a:pt x="53" y="1967"/>
                  </a:lnTo>
                  <a:lnTo>
                    <a:pt x="50" y="1964"/>
                  </a:lnTo>
                  <a:lnTo>
                    <a:pt x="48" y="1965"/>
                  </a:lnTo>
                  <a:lnTo>
                    <a:pt x="45" y="1970"/>
                  </a:lnTo>
                  <a:lnTo>
                    <a:pt x="45" y="1973"/>
                  </a:lnTo>
                  <a:lnTo>
                    <a:pt x="46" y="1976"/>
                  </a:lnTo>
                  <a:lnTo>
                    <a:pt x="46" y="1976"/>
                  </a:lnTo>
                  <a:lnTo>
                    <a:pt x="45" y="1979"/>
                  </a:lnTo>
                  <a:lnTo>
                    <a:pt x="48" y="1984"/>
                  </a:lnTo>
                  <a:lnTo>
                    <a:pt x="50" y="1984"/>
                  </a:lnTo>
                  <a:lnTo>
                    <a:pt x="46" y="1985"/>
                  </a:lnTo>
                  <a:lnTo>
                    <a:pt x="40" y="1985"/>
                  </a:lnTo>
                  <a:lnTo>
                    <a:pt x="37" y="1988"/>
                  </a:lnTo>
                  <a:lnTo>
                    <a:pt x="37" y="1991"/>
                  </a:lnTo>
                  <a:lnTo>
                    <a:pt x="37" y="1991"/>
                  </a:lnTo>
                  <a:lnTo>
                    <a:pt x="39" y="1993"/>
                  </a:lnTo>
                  <a:lnTo>
                    <a:pt x="42" y="1993"/>
                  </a:lnTo>
                  <a:lnTo>
                    <a:pt x="43" y="1993"/>
                  </a:lnTo>
                  <a:lnTo>
                    <a:pt x="43" y="1996"/>
                  </a:lnTo>
                  <a:lnTo>
                    <a:pt x="42" y="1994"/>
                  </a:lnTo>
                  <a:lnTo>
                    <a:pt x="40" y="1994"/>
                  </a:lnTo>
                  <a:lnTo>
                    <a:pt x="40" y="1996"/>
                  </a:lnTo>
                  <a:lnTo>
                    <a:pt x="39" y="1997"/>
                  </a:lnTo>
                  <a:lnTo>
                    <a:pt x="39" y="1999"/>
                  </a:lnTo>
                  <a:lnTo>
                    <a:pt x="39" y="2001"/>
                  </a:lnTo>
                  <a:lnTo>
                    <a:pt x="40" y="2002"/>
                  </a:lnTo>
                  <a:lnTo>
                    <a:pt x="48" y="2004"/>
                  </a:lnTo>
                  <a:lnTo>
                    <a:pt x="50" y="2004"/>
                  </a:lnTo>
                  <a:lnTo>
                    <a:pt x="50" y="2007"/>
                  </a:lnTo>
                  <a:lnTo>
                    <a:pt x="43" y="2011"/>
                  </a:lnTo>
                  <a:lnTo>
                    <a:pt x="45" y="2013"/>
                  </a:lnTo>
                  <a:lnTo>
                    <a:pt x="51" y="2010"/>
                  </a:lnTo>
                  <a:lnTo>
                    <a:pt x="53" y="2011"/>
                  </a:lnTo>
                  <a:lnTo>
                    <a:pt x="53" y="2011"/>
                  </a:lnTo>
                  <a:lnTo>
                    <a:pt x="51" y="2013"/>
                  </a:lnTo>
                  <a:lnTo>
                    <a:pt x="50" y="2013"/>
                  </a:lnTo>
                  <a:lnTo>
                    <a:pt x="50" y="2014"/>
                  </a:lnTo>
                  <a:lnTo>
                    <a:pt x="51" y="2016"/>
                  </a:lnTo>
                  <a:lnTo>
                    <a:pt x="54" y="2017"/>
                  </a:lnTo>
                  <a:lnTo>
                    <a:pt x="54" y="2019"/>
                  </a:lnTo>
                  <a:lnTo>
                    <a:pt x="54" y="2019"/>
                  </a:lnTo>
                  <a:lnTo>
                    <a:pt x="53" y="2021"/>
                  </a:lnTo>
                  <a:lnTo>
                    <a:pt x="56" y="2022"/>
                  </a:lnTo>
                  <a:lnTo>
                    <a:pt x="57" y="2024"/>
                  </a:lnTo>
                  <a:lnTo>
                    <a:pt x="57" y="2022"/>
                  </a:lnTo>
                  <a:lnTo>
                    <a:pt x="59" y="2021"/>
                  </a:lnTo>
                  <a:lnTo>
                    <a:pt x="59" y="2019"/>
                  </a:lnTo>
                  <a:lnTo>
                    <a:pt x="59" y="2017"/>
                  </a:lnTo>
                  <a:lnTo>
                    <a:pt x="62" y="2016"/>
                  </a:lnTo>
                  <a:lnTo>
                    <a:pt x="65" y="2011"/>
                  </a:lnTo>
                  <a:lnTo>
                    <a:pt x="66" y="2011"/>
                  </a:lnTo>
                  <a:lnTo>
                    <a:pt x="66" y="2008"/>
                  </a:lnTo>
                  <a:lnTo>
                    <a:pt x="70" y="2001"/>
                  </a:lnTo>
                  <a:lnTo>
                    <a:pt x="70" y="2001"/>
                  </a:lnTo>
                  <a:lnTo>
                    <a:pt x="71" y="1997"/>
                  </a:lnTo>
                  <a:lnTo>
                    <a:pt x="71" y="1993"/>
                  </a:lnTo>
                  <a:lnTo>
                    <a:pt x="73" y="1990"/>
                  </a:lnTo>
                  <a:lnTo>
                    <a:pt x="74" y="1988"/>
                  </a:lnTo>
                  <a:lnTo>
                    <a:pt x="74" y="1988"/>
                  </a:lnTo>
                  <a:lnTo>
                    <a:pt x="74" y="1990"/>
                  </a:lnTo>
                  <a:lnTo>
                    <a:pt x="74" y="1991"/>
                  </a:lnTo>
                  <a:lnTo>
                    <a:pt x="76" y="1990"/>
                  </a:lnTo>
                  <a:lnTo>
                    <a:pt x="76" y="1988"/>
                  </a:lnTo>
                  <a:lnTo>
                    <a:pt x="77" y="1987"/>
                  </a:lnTo>
                  <a:lnTo>
                    <a:pt x="79" y="1987"/>
                  </a:lnTo>
                  <a:lnTo>
                    <a:pt x="79" y="1987"/>
                  </a:lnTo>
                  <a:lnTo>
                    <a:pt x="80" y="1985"/>
                  </a:lnTo>
                  <a:lnTo>
                    <a:pt x="82" y="1985"/>
                  </a:lnTo>
                  <a:lnTo>
                    <a:pt x="82" y="1987"/>
                  </a:lnTo>
                  <a:lnTo>
                    <a:pt x="80" y="1988"/>
                  </a:lnTo>
                  <a:lnTo>
                    <a:pt x="77" y="1990"/>
                  </a:lnTo>
                  <a:lnTo>
                    <a:pt x="77" y="1990"/>
                  </a:lnTo>
                  <a:lnTo>
                    <a:pt x="76" y="1991"/>
                  </a:lnTo>
                  <a:lnTo>
                    <a:pt x="76" y="1993"/>
                  </a:lnTo>
                  <a:lnTo>
                    <a:pt x="76" y="1994"/>
                  </a:lnTo>
                  <a:lnTo>
                    <a:pt x="76" y="1996"/>
                  </a:lnTo>
                  <a:lnTo>
                    <a:pt x="74" y="1996"/>
                  </a:lnTo>
                  <a:lnTo>
                    <a:pt x="73" y="2001"/>
                  </a:lnTo>
                  <a:lnTo>
                    <a:pt x="73" y="2002"/>
                  </a:lnTo>
                  <a:lnTo>
                    <a:pt x="71" y="2004"/>
                  </a:lnTo>
                  <a:lnTo>
                    <a:pt x="71" y="2004"/>
                  </a:lnTo>
                  <a:lnTo>
                    <a:pt x="70" y="2005"/>
                  </a:lnTo>
                  <a:lnTo>
                    <a:pt x="70" y="2008"/>
                  </a:lnTo>
                  <a:lnTo>
                    <a:pt x="71" y="2007"/>
                  </a:lnTo>
                  <a:lnTo>
                    <a:pt x="71" y="2004"/>
                  </a:lnTo>
                  <a:lnTo>
                    <a:pt x="73" y="2002"/>
                  </a:lnTo>
                  <a:lnTo>
                    <a:pt x="74" y="2002"/>
                  </a:lnTo>
                  <a:lnTo>
                    <a:pt x="74" y="2004"/>
                  </a:lnTo>
                  <a:lnTo>
                    <a:pt x="74" y="2005"/>
                  </a:lnTo>
                  <a:lnTo>
                    <a:pt x="71" y="2008"/>
                  </a:lnTo>
                  <a:lnTo>
                    <a:pt x="73" y="2008"/>
                  </a:lnTo>
                  <a:lnTo>
                    <a:pt x="80" y="2008"/>
                  </a:lnTo>
                  <a:lnTo>
                    <a:pt x="80" y="2008"/>
                  </a:lnTo>
                  <a:lnTo>
                    <a:pt x="77" y="2010"/>
                  </a:lnTo>
                  <a:lnTo>
                    <a:pt x="71" y="2013"/>
                  </a:lnTo>
                  <a:lnTo>
                    <a:pt x="70" y="2013"/>
                  </a:lnTo>
                  <a:lnTo>
                    <a:pt x="70" y="2014"/>
                  </a:lnTo>
                  <a:lnTo>
                    <a:pt x="70" y="2014"/>
                  </a:lnTo>
                  <a:lnTo>
                    <a:pt x="70" y="2017"/>
                  </a:lnTo>
                  <a:lnTo>
                    <a:pt x="68" y="2019"/>
                  </a:lnTo>
                  <a:lnTo>
                    <a:pt x="68" y="2019"/>
                  </a:lnTo>
                  <a:lnTo>
                    <a:pt x="68" y="2021"/>
                  </a:lnTo>
                  <a:lnTo>
                    <a:pt x="70" y="2022"/>
                  </a:lnTo>
                  <a:lnTo>
                    <a:pt x="71" y="2022"/>
                  </a:lnTo>
                  <a:lnTo>
                    <a:pt x="73" y="2021"/>
                  </a:lnTo>
                  <a:lnTo>
                    <a:pt x="74" y="2021"/>
                  </a:lnTo>
                  <a:lnTo>
                    <a:pt x="76" y="2021"/>
                  </a:lnTo>
                  <a:lnTo>
                    <a:pt x="76" y="2021"/>
                  </a:lnTo>
                  <a:lnTo>
                    <a:pt x="76" y="2017"/>
                  </a:lnTo>
                  <a:lnTo>
                    <a:pt x="76" y="2017"/>
                  </a:lnTo>
                  <a:lnTo>
                    <a:pt x="77" y="2014"/>
                  </a:lnTo>
                  <a:lnTo>
                    <a:pt x="80" y="2013"/>
                  </a:lnTo>
                  <a:lnTo>
                    <a:pt x="83" y="2011"/>
                  </a:lnTo>
                  <a:lnTo>
                    <a:pt x="86" y="2011"/>
                  </a:lnTo>
                  <a:lnTo>
                    <a:pt x="86" y="2013"/>
                  </a:lnTo>
                  <a:lnTo>
                    <a:pt x="80" y="2016"/>
                  </a:lnTo>
                  <a:lnTo>
                    <a:pt x="80" y="2017"/>
                  </a:lnTo>
                  <a:lnTo>
                    <a:pt x="79" y="2019"/>
                  </a:lnTo>
                  <a:lnTo>
                    <a:pt x="82" y="2024"/>
                  </a:lnTo>
                  <a:lnTo>
                    <a:pt x="80" y="2025"/>
                  </a:lnTo>
                  <a:lnTo>
                    <a:pt x="80" y="2027"/>
                  </a:lnTo>
                  <a:lnTo>
                    <a:pt x="79" y="2028"/>
                  </a:lnTo>
                  <a:lnTo>
                    <a:pt x="80" y="2028"/>
                  </a:lnTo>
                  <a:lnTo>
                    <a:pt x="80" y="2030"/>
                  </a:lnTo>
                  <a:lnTo>
                    <a:pt x="80" y="2031"/>
                  </a:lnTo>
                  <a:lnTo>
                    <a:pt x="82" y="2031"/>
                  </a:lnTo>
                  <a:lnTo>
                    <a:pt x="82" y="2031"/>
                  </a:lnTo>
                  <a:lnTo>
                    <a:pt x="82" y="2030"/>
                  </a:lnTo>
                  <a:lnTo>
                    <a:pt x="83" y="2030"/>
                  </a:lnTo>
                  <a:lnTo>
                    <a:pt x="83" y="2030"/>
                  </a:lnTo>
                  <a:lnTo>
                    <a:pt x="86" y="2030"/>
                  </a:lnTo>
                  <a:lnTo>
                    <a:pt x="86" y="2031"/>
                  </a:lnTo>
                  <a:lnTo>
                    <a:pt x="85" y="2033"/>
                  </a:lnTo>
                  <a:lnTo>
                    <a:pt x="83" y="2034"/>
                  </a:lnTo>
                  <a:lnTo>
                    <a:pt x="82" y="2034"/>
                  </a:lnTo>
                  <a:lnTo>
                    <a:pt x="79" y="2033"/>
                  </a:lnTo>
                  <a:lnTo>
                    <a:pt x="79" y="2034"/>
                  </a:lnTo>
                  <a:lnTo>
                    <a:pt x="77" y="2038"/>
                  </a:lnTo>
                  <a:lnTo>
                    <a:pt x="79" y="2038"/>
                  </a:lnTo>
                  <a:lnTo>
                    <a:pt x="79" y="2039"/>
                  </a:lnTo>
                  <a:lnTo>
                    <a:pt x="79" y="2039"/>
                  </a:lnTo>
                  <a:lnTo>
                    <a:pt x="79" y="2041"/>
                  </a:lnTo>
                  <a:lnTo>
                    <a:pt x="79" y="2042"/>
                  </a:lnTo>
                  <a:lnTo>
                    <a:pt x="82" y="2044"/>
                  </a:lnTo>
                  <a:lnTo>
                    <a:pt x="83" y="2045"/>
                  </a:lnTo>
                  <a:lnTo>
                    <a:pt x="85" y="2039"/>
                  </a:lnTo>
                  <a:lnTo>
                    <a:pt x="86" y="2041"/>
                  </a:lnTo>
                  <a:lnTo>
                    <a:pt x="85" y="2042"/>
                  </a:lnTo>
                  <a:lnTo>
                    <a:pt x="85" y="2042"/>
                  </a:lnTo>
                  <a:lnTo>
                    <a:pt x="88" y="2042"/>
                  </a:lnTo>
                  <a:lnTo>
                    <a:pt x="91" y="2039"/>
                  </a:lnTo>
                  <a:lnTo>
                    <a:pt x="93" y="2036"/>
                  </a:lnTo>
                  <a:lnTo>
                    <a:pt x="91" y="2030"/>
                  </a:lnTo>
                  <a:lnTo>
                    <a:pt x="91" y="2022"/>
                  </a:lnTo>
                  <a:lnTo>
                    <a:pt x="90" y="2021"/>
                  </a:lnTo>
                  <a:lnTo>
                    <a:pt x="91" y="2019"/>
                  </a:lnTo>
                  <a:lnTo>
                    <a:pt x="93" y="2019"/>
                  </a:lnTo>
                  <a:lnTo>
                    <a:pt x="93" y="2019"/>
                  </a:lnTo>
                  <a:lnTo>
                    <a:pt x="94" y="2019"/>
                  </a:lnTo>
                  <a:lnTo>
                    <a:pt x="96" y="2017"/>
                  </a:lnTo>
                  <a:lnTo>
                    <a:pt x="96" y="2014"/>
                  </a:lnTo>
                  <a:lnTo>
                    <a:pt x="99" y="2011"/>
                  </a:lnTo>
                  <a:lnTo>
                    <a:pt x="100" y="2008"/>
                  </a:lnTo>
                  <a:lnTo>
                    <a:pt x="100" y="2005"/>
                  </a:lnTo>
                  <a:lnTo>
                    <a:pt x="100" y="2004"/>
                  </a:lnTo>
                  <a:lnTo>
                    <a:pt x="102" y="2002"/>
                  </a:lnTo>
                  <a:lnTo>
                    <a:pt x="103" y="2004"/>
                  </a:lnTo>
                  <a:lnTo>
                    <a:pt x="108" y="2005"/>
                  </a:lnTo>
                  <a:lnTo>
                    <a:pt x="110" y="2007"/>
                  </a:lnTo>
                  <a:lnTo>
                    <a:pt x="111" y="2007"/>
                  </a:lnTo>
                  <a:lnTo>
                    <a:pt x="111" y="2005"/>
                  </a:lnTo>
                  <a:lnTo>
                    <a:pt x="113" y="2004"/>
                  </a:lnTo>
                  <a:lnTo>
                    <a:pt x="113" y="2001"/>
                  </a:lnTo>
                  <a:lnTo>
                    <a:pt x="113" y="1999"/>
                  </a:lnTo>
                  <a:lnTo>
                    <a:pt x="113" y="1999"/>
                  </a:lnTo>
                  <a:lnTo>
                    <a:pt x="111" y="1997"/>
                  </a:lnTo>
                  <a:lnTo>
                    <a:pt x="113" y="1996"/>
                  </a:lnTo>
                  <a:lnTo>
                    <a:pt x="114" y="1993"/>
                  </a:lnTo>
                  <a:lnTo>
                    <a:pt x="116" y="1990"/>
                  </a:lnTo>
                  <a:lnTo>
                    <a:pt x="111" y="1990"/>
                  </a:lnTo>
                  <a:lnTo>
                    <a:pt x="110" y="1988"/>
                  </a:lnTo>
                  <a:lnTo>
                    <a:pt x="111" y="1987"/>
                  </a:lnTo>
                  <a:lnTo>
                    <a:pt x="114" y="1987"/>
                  </a:lnTo>
                  <a:lnTo>
                    <a:pt x="116" y="1985"/>
                  </a:lnTo>
                  <a:lnTo>
                    <a:pt x="119" y="1987"/>
                  </a:lnTo>
                  <a:lnTo>
                    <a:pt x="119" y="1987"/>
                  </a:lnTo>
                  <a:lnTo>
                    <a:pt x="119" y="1985"/>
                  </a:lnTo>
                  <a:lnTo>
                    <a:pt x="119" y="1984"/>
                  </a:lnTo>
                  <a:lnTo>
                    <a:pt x="117" y="1982"/>
                  </a:lnTo>
                  <a:lnTo>
                    <a:pt x="116" y="1979"/>
                  </a:lnTo>
                  <a:lnTo>
                    <a:pt x="116" y="1977"/>
                  </a:lnTo>
                  <a:lnTo>
                    <a:pt x="114" y="1976"/>
                  </a:lnTo>
                  <a:lnTo>
                    <a:pt x="114" y="1974"/>
                  </a:lnTo>
                  <a:lnTo>
                    <a:pt x="114" y="1973"/>
                  </a:lnTo>
                  <a:lnTo>
                    <a:pt x="116" y="1973"/>
                  </a:lnTo>
                  <a:lnTo>
                    <a:pt x="116" y="1974"/>
                  </a:lnTo>
                  <a:lnTo>
                    <a:pt x="117" y="1979"/>
                  </a:lnTo>
                  <a:lnTo>
                    <a:pt x="119" y="1982"/>
                  </a:lnTo>
                  <a:lnTo>
                    <a:pt x="120" y="1984"/>
                  </a:lnTo>
                  <a:lnTo>
                    <a:pt x="122" y="1985"/>
                  </a:lnTo>
                  <a:lnTo>
                    <a:pt x="123" y="1985"/>
                  </a:lnTo>
                  <a:lnTo>
                    <a:pt x="125" y="1984"/>
                  </a:lnTo>
                  <a:lnTo>
                    <a:pt x="130" y="1979"/>
                  </a:lnTo>
                  <a:lnTo>
                    <a:pt x="131" y="1979"/>
                  </a:lnTo>
                  <a:lnTo>
                    <a:pt x="133" y="1977"/>
                  </a:lnTo>
                  <a:lnTo>
                    <a:pt x="137" y="1976"/>
                  </a:lnTo>
                  <a:lnTo>
                    <a:pt x="139" y="1976"/>
                  </a:lnTo>
                  <a:lnTo>
                    <a:pt x="143" y="1974"/>
                  </a:lnTo>
                  <a:lnTo>
                    <a:pt x="150" y="1967"/>
                  </a:lnTo>
                  <a:lnTo>
                    <a:pt x="153" y="1965"/>
                  </a:lnTo>
                  <a:lnTo>
                    <a:pt x="151" y="1968"/>
                  </a:lnTo>
                  <a:lnTo>
                    <a:pt x="147" y="1973"/>
                  </a:lnTo>
                  <a:lnTo>
                    <a:pt x="145" y="1977"/>
                  </a:lnTo>
                  <a:lnTo>
                    <a:pt x="147" y="1979"/>
                  </a:lnTo>
                  <a:lnTo>
                    <a:pt x="148" y="1979"/>
                  </a:lnTo>
                  <a:lnTo>
                    <a:pt x="150" y="1979"/>
                  </a:lnTo>
                  <a:lnTo>
                    <a:pt x="151" y="1977"/>
                  </a:lnTo>
                  <a:lnTo>
                    <a:pt x="156" y="1973"/>
                  </a:lnTo>
                  <a:lnTo>
                    <a:pt x="159" y="1970"/>
                  </a:lnTo>
                  <a:lnTo>
                    <a:pt x="163" y="1968"/>
                  </a:lnTo>
                  <a:lnTo>
                    <a:pt x="165" y="1968"/>
                  </a:lnTo>
                  <a:lnTo>
                    <a:pt x="168" y="1964"/>
                  </a:lnTo>
                  <a:lnTo>
                    <a:pt x="170" y="1961"/>
                  </a:lnTo>
                  <a:lnTo>
                    <a:pt x="173" y="1957"/>
                  </a:lnTo>
                  <a:lnTo>
                    <a:pt x="174" y="1954"/>
                  </a:lnTo>
                  <a:lnTo>
                    <a:pt x="177" y="1954"/>
                  </a:lnTo>
                  <a:lnTo>
                    <a:pt x="173" y="1962"/>
                  </a:lnTo>
                  <a:lnTo>
                    <a:pt x="173" y="1962"/>
                  </a:lnTo>
                  <a:lnTo>
                    <a:pt x="171" y="1962"/>
                  </a:lnTo>
                  <a:lnTo>
                    <a:pt x="171" y="1964"/>
                  </a:lnTo>
                  <a:lnTo>
                    <a:pt x="171" y="1965"/>
                  </a:lnTo>
                  <a:lnTo>
                    <a:pt x="170" y="1965"/>
                  </a:lnTo>
                  <a:lnTo>
                    <a:pt x="170" y="1967"/>
                  </a:lnTo>
                  <a:lnTo>
                    <a:pt x="170" y="1967"/>
                  </a:lnTo>
                  <a:lnTo>
                    <a:pt x="168" y="1967"/>
                  </a:lnTo>
                  <a:lnTo>
                    <a:pt x="168" y="1967"/>
                  </a:lnTo>
                  <a:lnTo>
                    <a:pt x="184" y="1967"/>
                  </a:lnTo>
                  <a:lnTo>
                    <a:pt x="182" y="1971"/>
                  </a:lnTo>
                  <a:lnTo>
                    <a:pt x="179" y="1971"/>
                  </a:lnTo>
                  <a:lnTo>
                    <a:pt x="171" y="1970"/>
                  </a:lnTo>
                  <a:lnTo>
                    <a:pt x="160" y="1973"/>
                  </a:lnTo>
                  <a:lnTo>
                    <a:pt x="160" y="1973"/>
                  </a:lnTo>
                  <a:lnTo>
                    <a:pt x="159" y="1974"/>
                  </a:lnTo>
                  <a:lnTo>
                    <a:pt x="157" y="1976"/>
                  </a:lnTo>
                  <a:lnTo>
                    <a:pt x="154" y="1982"/>
                  </a:lnTo>
                  <a:lnTo>
                    <a:pt x="154" y="1984"/>
                  </a:lnTo>
                  <a:lnTo>
                    <a:pt x="151" y="1985"/>
                  </a:lnTo>
                  <a:lnTo>
                    <a:pt x="150" y="1987"/>
                  </a:lnTo>
                  <a:lnTo>
                    <a:pt x="148" y="1990"/>
                  </a:lnTo>
                  <a:lnTo>
                    <a:pt x="145" y="1999"/>
                  </a:lnTo>
                  <a:lnTo>
                    <a:pt x="143" y="2002"/>
                  </a:lnTo>
                  <a:lnTo>
                    <a:pt x="145" y="2007"/>
                  </a:lnTo>
                  <a:lnTo>
                    <a:pt x="145" y="2008"/>
                  </a:lnTo>
                  <a:lnTo>
                    <a:pt x="145" y="2010"/>
                  </a:lnTo>
                  <a:lnTo>
                    <a:pt x="142" y="2016"/>
                  </a:lnTo>
                  <a:lnTo>
                    <a:pt x="140" y="2019"/>
                  </a:lnTo>
                  <a:lnTo>
                    <a:pt x="140" y="2024"/>
                  </a:lnTo>
                  <a:lnTo>
                    <a:pt x="140" y="2031"/>
                  </a:lnTo>
                  <a:lnTo>
                    <a:pt x="140" y="2031"/>
                  </a:lnTo>
                  <a:lnTo>
                    <a:pt x="139" y="2027"/>
                  </a:lnTo>
                  <a:lnTo>
                    <a:pt x="139" y="2024"/>
                  </a:lnTo>
                  <a:lnTo>
                    <a:pt x="139" y="2021"/>
                  </a:lnTo>
                  <a:lnTo>
                    <a:pt x="140" y="2016"/>
                  </a:lnTo>
                  <a:lnTo>
                    <a:pt x="140" y="2004"/>
                  </a:lnTo>
                  <a:lnTo>
                    <a:pt x="142" y="2002"/>
                  </a:lnTo>
                  <a:lnTo>
                    <a:pt x="143" y="1999"/>
                  </a:lnTo>
                  <a:lnTo>
                    <a:pt x="145" y="1997"/>
                  </a:lnTo>
                  <a:lnTo>
                    <a:pt x="143" y="1994"/>
                  </a:lnTo>
                  <a:lnTo>
                    <a:pt x="145" y="1988"/>
                  </a:lnTo>
                  <a:lnTo>
                    <a:pt x="150" y="1981"/>
                  </a:lnTo>
                  <a:lnTo>
                    <a:pt x="143" y="1979"/>
                  </a:lnTo>
                  <a:lnTo>
                    <a:pt x="142" y="1977"/>
                  </a:lnTo>
                  <a:lnTo>
                    <a:pt x="139" y="1979"/>
                  </a:lnTo>
                  <a:lnTo>
                    <a:pt x="137" y="1981"/>
                  </a:lnTo>
                  <a:lnTo>
                    <a:pt x="134" y="1985"/>
                  </a:lnTo>
                  <a:lnTo>
                    <a:pt x="133" y="1987"/>
                  </a:lnTo>
                  <a:lnTo>
                    <a:pt x="130" y="1987"/>
                  </a:lnTo>
                  <a:lnTo>
                    <a:pt x="128" y="1988"/>
                  </a:lnTo>
                  <a:lnTo>
                    <a:pt x="127" y="1988"/>
                  </a:lnTo>
                  <a:lnTo>
                    <a:pt x="127" y="1990"/>
                  </a:lnTo>
                  <a:lnTo>
                    <a:pt x="127" y="1990"/>
                  </a:lnTo>
                  <a:lnTo>
                    <a:pt x="127" y="1990"/>
                  </a:lnTo>
                  <a:lnTo>
                    <a:pt x="127" y="1991"/>
                  </a:lnTo>
                  <a:lnTo>
                    <a:pt x="127" y="1991"/>
                  </a:lnTo>
                  <a:lnTo>
                    <a:pt x="127" y="1991"/>
                  </a:lnTo>
                  <a:lnTo>
                    <a:pt x="125" y="1993"/>
                  </a:lnTo>
                  <a:lnTo>
                    <a:pt x="125" y="1993"/>
                  </a:lnTo>
                  <a:lnTo>
                    <a:pt x="123" y="1996"/>
                  </a:lnTo>
                  <a:lnTo>
                    <a:pt x="122" y="1996"/>
                  </a:lnTo>
                  <a:lnTo>
                    <a:pt x="120" y="1997"/>
                  </a:lnTo>
                  <a:lnTo>
                    <a:pt x="116" y="1999"/>
                  </a:lnTo>
                  <a:lnTo>
                    <a:pt x="117" y="2001"/>
                  </a:lnTo>
                  <a:lnTo>
                    <a:pt x="117" y="2002"/>
                  </a:lnTo>
                  <a:lnTo>
                    <a:pt x="114" y="2005"/>
                  </a:lnTo>
                  <a:lnTo>
                    <a:pt x="114" y="2007"/>
                  </a:lnTo>
                  <a:lnTo>
                    <a:pt x="113" y="2010"/>
                  </a:lnTo>
                  <a:lnTo>
                    <a:pt x="113" y="2011"/>
                  </a:lnTo>
                  <a:lnTo>
                    <a:pt x="106" y="2013"/>
                  </a:lnTo>
                  <a:lnTo>
                    <a:pt x="108" y="2017"/>
                  </a:lnTo>
                  <a:lnTo>
                    <a:pt x="110" y="2024"/>
                  </a:lnTo>
                  <a:lnTo>
                    <a:pt x="110" y="2027"/>
                  </a:lnTo>
                  <a:lnTo>
                    <a:pt x="111" y="2027"/>
                  </a:lnTo>
                  <a:lnTo>
                    <a:pt x="114" y="2027"/>
                  </a:lnTo>
                  <a:lnTo>
                    <a:pt x="116" y="2025"/>
                  </a:lnTo>
                  <a:lnTo>
                    <a:pt x="117" y="2022"/>
                  </a:lnTo>
                  <a:lnTo>
                    <a:pt x="117" y="2022"/>
                  </a:lnTo>
                  <a:lnTo>
                    <a:pt x="119" y="2021"/>
                  </a:lnTo>
                  <a:lnTo>
                    <a:pt x="120" y="2019"/>
                  </a:lnTo>
                  <a:lnTo>
                    <a:pt x="120" y="2019"/>
                  </a:lnTo>
                  <a:lnTo>
                    <a:pt x="120" y="2021"/>
                  </a:lnTo>
                  <a:lnTo>
                    <a:pt x="120" y="2022"/>
                  </a:lnTo>
                  <a:lnTo>
                    <a:pt x="122" y="2024"/>
                  </a:lnTo>
                  <a:lnTo>
                    <a:pt x="123" y="2024"/>
                  </a:lnTo>
                  <a:lnTo>
                    <a:pt x="123" y="2025"/>
                  </a:lnTo>
                  <a:lnTo>
                    <a:pt x="108" y="2030"/>
                  </a:lnTo>
                  <a:lnTo>
                    <a:pt x="102" y="2034"/>
                  </a:lnTo>
                  <a:lnTo>
                    <a:pt x="97" y="2044"/>
                  </a:lnTo>
                  <a:lnTo>
                    <a:pt x="100" y="2045"/>
                  </a:lnTo>
                  <a:lnTo>
                    <a:pt x="100" y="2045"/>
                  </a:lnTo>
                  <a:lnTo>
                    <a:pt x="100" y="2047"/>
                  </a:lnTo>
                  <a:lnTo>
                    <a:pt x="100" y="2048"/>
                  </a:lnTo>
                  <a:lnTo>
                    <a:pt x="99" y="2050"/>
                  </a:lnTo>
                  <a:lnTo>
                    <a:pt x="99" y="2050"/>
                  </a:lnTo>
                  <a:lnTo>
                    <a:pt x="91" y="2050"/>
                  </a:lnTo>
                  <a:lnTo>
                    <a:pt x="88" y="2051"/>
                  </a:lnTo>
                  <a:lnTo>
                    <a:pt x="85" y="2053"/>
                  </a:lnTo>
                  <a:lnTo>
                    <a:pt x="82" y="2056"/>
                  </a:lnTo>
                  <a:lnTo>
                    <a:pt x="82" y="2061"/>
                  </a:lnTo>
                  <a:lnTo>
                    <a:pt x="79" y="2064"/>
                  </a:lnTo>
                  <a:lnTo>
                    <a:pt x="77" y="2065"/>
                  </a:lnTo>
                  <a:lnTo>
                    <a:pt x="76" y="2065"/>
                  </a:lnTo>
                  <a:lnTo>
                    <a:pt x="76" y="2067"/>
                  </a:lnTo>
                  <a:lnTo>
                    <a:pt x="77" y="2067"/>
                  </a:lnTo>
                  <a:lnTo>
                    <a:pt x="79" y="2065"/>
                  </a:lnTo>
                  <a:lnTo>
                    <a:pt x="80" y="2064"/>
                  </a:lnTo>
                  <a:lnTo>
                    <a:pt x="80" y="2067"/>
                  </a:lnTo>
                  <a:lnTo>
                    <a:pt x="80" y="2068"/>
                  </a:lnTo>
                  <a:lnTo>
                    <a:pt x="82" y="2068"/>
                  </a:lnTo>
                  <a:lnTo>
                    <a:pt x="83" y="2070"/>
                  </a:lnTo>
                  <a:lnTo>
                    <a:pt x="86" y="2074"/>
                  </a:lnTo>
                  <a:lnTo>
                    <a:pt x="86" y="2076"/>
                  </a:lnTo>
                  <a:lnTo>
                    <a:pt x="90" y="2078"/>
                  </a:lnTo>
                  <a:lnTo>
                    <a:pt x="91" y="2076"/>
                  </a:lnTo>
                  <a:lnTo>
                    <a:pt x="93" y="2076"/>
                  </a:lnTo>
                  <a:lnTo>
                    <a:pt x="96" y="2074"/>
                  </a:lnTo>
                  <a:lnTo>
                    <a:pt x="96" y="2073"/>
                  </a:lnTo>
                  <a:lnTo>
                    <a:pt x="96" y="2070"/>
                  </a:lnTo>
                  <a:lnTo>
                    <a:pt x="96" y="2067"/>
                  </a:lnTo>
                  <a:lnTo>
                    <a:pt x="97" y="2065"/>
                  </a:lnTo>
                  <a:lnTo>
                    <a:pt x="99" y="2064"/>
                  </a:lnTo>
                  <a:lnTo>
                    <a:pt x="99" y="2065"/>
                  </a:lnTo>
                  <a:lnTo>
                    <a:pt x="99" y="2067"/>
                  </a:lnTo>
                  <a:lnTo>
                    <a:pt x="99" y="2070"/>
                  </a:lnTo>
                  <a:lnTo>
                    <a:pt x="99" y="2071"/>
                  </a:lnTo>
                  <a:lnTo>
                    <a:pt x="97" y="2073"/>
                  </a:lnTo>
                  <a:lnTo>
                    <a:pt x="96" y="2073"/>
                  </a:lnTo>
                  <a:lnTo>
                    <a:pt x="96" y="2076"/>
                  </a:lnTo>
                  <a:lnTo>
                    <a:pt x="97" y="2078"/>
                  </a:lnTo>
                  <a:lnTo>
                    <a:pt x="99" y="2079"/>
                  </a:lnTo>
                  <a:lnTo>
                    <a:pt x="102" y="2079"/>
                  </a:lnTo>
                  <a:lnTo>
                    <a:pt x="103" y="2079"/>
                  </a:lnTo>
                  <a:lnTo>
                    <a:pt x="103" y="2078"/>
                  </a:lnTo>
                  <a:lnTo>
                    <a:pt x="111" y="2071"/>
                  </a:lnTo>
                  <a:lnTo>
                    <a:pt x="119" y="2067"/>
                  </a:lnTo>
                  <a:lnTo>
                    <a:pt x="125" y="2065"/>
                  </a:lnTo>
                  <a:lnTo>
                    <a:pt x="123" y="2067"/>
                  </a:lnTo>
                  <a:lnTo>
                    <a:pt x="117" y="2068"/>
                  </a:lnTo>
                  <a:lnTo>
                    <a:pt x="117" y="2070"/>
                  </a:lnTo>
                  <a:lnTo>
                    <a:pt x="116" y="2071"/>
                  </a:lnTo>
                  <a:lnTo>
                    <a:pt x="116" y="2071"/>
                  </a:lnTo>
                  <a:lnTo>
                    <a:pt x="114" y="2071"/>
                  </a:lnTo>
                  <a:lnTo>
                    <a:pt x="114" y="2073"/>
                  </a:lnTo>
                  <a:lnTo>
                    <a:pt x="113" y="2073"/>
                  </a:lnTo>
                  <a:lnTo>
                    <a:pt x="103" y="2081"/>
                  </a:lnTo>
                  <a:lnTo>
                    <a:pt x="100" y="2082"/>
                  </a:lnTo>
                  <a:lnTo>
                    <a:pt x="96" y="2081"/>
                  </a:lnTo>
                  <a:lnTo>
                    <a:pt x="96" y="2081"/>
                  </a:lnTo>
                  <a:lnTo>
                    <a:pt x="96" y="2079"/>
                  </a:lnTo>
                  <a:lnTo>
                    <a:pt x="94" y="2079"/>
                  </a:lnTo>
                  <a:lnTo>
                    <a:pt x="94" y="2078"/>
                  </a:lnTo>
                  <a:lnTo>
                    <a:pt x="94" y="2079"/>
                  </a:lnTo>
                  <a:lnTo>
                    <a:pt x="93" y="2079"/>
                  </a:lnTo>
                  <a:lnTo>
                    <a:pt x="93" y="2081"/>
                  </a:lnTo>
                  <a:lnTo>
                    <a:pt x="93" y="2082"/>
                  </a:lnTo>
                  <a:lnTo>
                    <a:pt x="93" y="2082"/>
                  </a:lnTo>
                  <a:lnTo>
                    <a:pt x="88" y="2084"/>
                  </a:lnTo>
                  <a:lnTo>
                    <a:pt x="86" y="2084"/>
                  </a:lnTo>
                  <a:lnTo>
                    <a:pt x="86" y="2085"/>
                  </a:lnTo>
                  <a:lnTo>
                    <a:pt x="86" y="2087"/>
                  </a:lnTo>
                  <a:lnTo>
                    <a:pt x="83" y="2090"/>
                  </a:lnTo>
                  <a:lnTo>
                    <a:pt x="82" y="2091"/>
                  </a:lnTo>
                  <a:lnTo>
                    <a:pt x="83" y="2093"/>
                  </a:lnTo>
                  <a:lnTo>
                    <a:pt x="85" y="2093"/>
                  </a:lnTo>
                  <a:lnTo>
                    <a:pt x="93" y="2091"/>
                  </a:lnTo>
                  <a:lnTo>
                    <a:pt x="93" y="2094"/>
                  </a:lnTo>
                  <a:lnTo>
                    <a:pt x="88" y="2093"/>
                  </a:lnTo>
                  <a:lnTo>
                    <a:pt x="85" y="2094"/>
                  </a:lnTo>
                  <a:lnTo>
                    <a:pt x="83" y="2096"/>
                  </a:lnTo>
                  <a:lnTo>
                    <a:pt x="83" y="2096"/>
                  </a:lnTo>
                  <a:lnTo>
                    <a:pt x="83" y="2099"/>
                  </a:lnTo>
                  <a:lnTo>
                    <a:pt x="83" y="2101"/>
                  </a:lnTo>
                  <a:lnTo>
                    <a:pt x="83" y="2101"/>
                  </a:lnTo>
                  <a:lnTo>
                    <a:pt x="82" y="2101"/>
                  </a:lnTo>
                  <a:lnTo>
                    <a:pt x="80" y="2101"/>
                  </a:lnTo>
                  <a:lnTo>
                    <a:pt x="80" y="2098"/>
                  </a:lnTo>
                  <a:lnTo>
                    <a:pt x="82" y="2094"/>
                  </a:lnTo>
                  <a:lnTo>
                    <a:pt x="80" y="2093"/>
                  </a:lnTo>
                  <a:lnTo>
                    <a:pt x="79" y="2091"/>
                  </a:lnTo>
                  <a:lnTo>
                    <a:pt x="74" y="2091"/>
                  </a:lnTo>
                  <a:lnTo>
                    <a:pt x="73" y="2091"/>
                  </a:lnTo>
                  <a:lnTo>
                    <a:pt x="70" y="2090"/>
                  </a:lnTo>
                  <a:lnTo>
                    <a:pt x="70" y="2091"/>
                  </a:lnTo>
                  <a:lnTo>
                    <a:pt x="68" y="2093"/>
                  </a:lnTo>
                  <a:lnTo>
                    <a:pt x="66" y="2096"/>
                  </a:lnTo>
                  <a:lnTo>
                    <a:pt x="66" y="2099"/>
                  </a:lnTo>
                  <a:lnTo>
                    <a:pt x="66" y="2101"/>
                  </a:lnTo>
                  <a:lnTo>
                    <a:pt x="66" y="2102"/>
                  </a:lnTo>
                  <a:lnTo>
                    <a:pt x="66" y="2105"/>
                  </a:lnTo>
                  <a:lnTo>
                    <a:pt x="66" y="2108"/>
                  </a:lnTo>
                  <a:lnTo>
                    <a:pt x="66" y="2108"/>
                  </a:lnTo>
                  <a:lnTo>
                    <a:pt x="65" y="2111"/>
                  </a:lnTo>
                  <a:lnTo>
                    <a:pt x="65" y="2111"/>
                  </a:lnTo>
                  <a:lnTo>
                    <a:pt x="60" y="2115"/>
                  </a:lnTo>
                  <a:lnTo>
                    <a:pt x="59" y="2115"/>
                  </a:lnTo>
                  <a:lnTo>
                    <a:pt x="59" y="2116"/>
                  </a:lnTo>
                  <a:lnTo>
                    <a:pt x="57" y="2116"/>
                  </a:lnTo>
                  <a:lnTo>
                    <a:pt x="57" y="2116"/>
                  </a:lnTo>
                  <a:lnTo>
                    <a:pt x="57" y="2115"/>
                  </a:lnTo>
                  <a:lnTo>
                    <a:pt x="57" y="2113"/>
                  </a:lnTo>
                  <a:lnTo>
                    <a:pt x="57" y="2111"/>
                  </a:lnTo>
                  <a:lnTo>
                    <a:pt x="57" y="2110"/>
                  </a:lnTo>
                  <a:lnTo>
                    <a:pt x="59" y="2110"/>
                  </a:lnTo>
                  <a:lnTo>
                    <a:pt x="59" y="2110"/>
                  </a:lnTo>
                  <a:lnTo>
                    <a:pt x="60" y="2110"/>
                  </a:lnTo>
                  <a:lnTo>
                    <a:pt x="60" y="2110"/>
                  </a:lnTo>
                  <a:lnTo>
                    <a:pt x="60" y="2108"/>
                  </a:lnTo>
                  <a:lnTo>
                    <a:pt x="62" y="2108"/>
                  </a:lnTo>
                  <a:lnTo>
                    <a:pt x="63" y="2107"/>
                  </a:lnTo>
                  <a:lnTo>
                    <a:pt x="63" y="2105"/>
                  </a:lnTo>
                  <a:lnTo>
                    <a:pt x="63" y="2104"/>
                  </a:lnTo>
                  <a:lnTo>
                    <a:pt x="63" y="2102"/>
                  </a:lnTo>
                  <a:lnTo>
                    <a:pt x="63" y="2101"/>
                  </a:lnTo>
                  <a:lnTo>
                    <a:pt x="63" y="2099"/>
                  </a:lnTo>
                  <a:lnTo>
                    <a:pt x="63" y="2098"/>
                  </a:lnTo>
                  <a:lnTo>
                    <a:pt x="63" y="2094"/>
                  </a:lnTo>
                  <a:lnTo>
                    <a:pt x="65" y="2091"/>
                  </a:lnTo>
                  <a:lnTo>
                    <a:pt x="65" y="2088"/>
                  </a:lnTo>
                  <a:lnTo>
                    <a:pt x="65" y="2087"/>
                  </a:lnTo>
                  <a:lnTo>
                    <a:pt x="63" y="2085"/>
                  </a:lnTo>
                  <a:lnTo>
                    <a:pt x="63" y="2085"/>
                  </a:lnTo>
                  <a:lnTo>
                    <a:pt x="63" y="2084"/>
                  </a:lnTo>
                  <a:lnTo>
                    <a:pt x="63" y="2084"/>
                  </a:lnTo>
                  <a:lnTo>
                    <a:pt x="63" y="2082"/>
                  </a:lnTo>
                  <a:lnTo>
                    <a:pt x="59" y="2087"/>
                  </a:lnTo>
                  <a:lnTo>
                    <a:pt x="57" y="2090"/>
                  </a:lnTo>
                  <a:lnTo>
                    <a:pt x="57" y="2091"/>
                  </a:lnTo>
                  <a:lnTo>
                    <a:pt x="57" y="2093"/>
                  </a:lnTo>
                  <a:lnTo>
                    <a:pt x="57" y="2094"/>
                  </a:lnTo>
                  <a:lnTo>
                    <a:pt x="59" y="2098"/>
                  </a:lnTo>
                  <a:lnTo>
                    <a:pt x="59" y="2099"/>
                  </a:lnTo>
                  <a:lnTo>
                    <a:pt x="57" y="2101"/>
                  </a:lnTo>
                  <a:lnTo>
                    <a:pt x="57" y="2104"/>
                  </a:lnTo>
                  <a:lnTo>
                    <a:pt x="57" y="2102"/>
                  </a:lnTo>
                  <a:lnTo>
                    <a:pt x="56" y="2096"/>
                  </a:lnTo>
                  <a:lnTo>
                    <a:pt x="56" y="2094"/>
                  </a:lnTo>
                  <a:lnTo>
                    <a:pt x="54" y="2094"/>
                  </a:lnTo>
                  <a:lnTo>
                    <a:pt x="53" y="2094"/>
                  </a:lnTo>
                  <a:lnTo>
                    <a:pt x="51" y="2096"/>
                  </a:lnTo>
                  <a:lnTo>
                    <a:pt x="50" y="2098"/>
                  </a:lnTo>
                  <a:lnTo>
                    <a:pt x="48" y="2102"/>
                  </a:lnTo>
                  <a:lnTo>
                    <a:pt x="45" y="2108"/>
                  </a:lnTo>
                  <a:lnTo>
                    <a:pt x="43" y="2110"/>
                  </a:lnTo>
                  <a:lnTo>
                    <a:pt x="42" y="2110"/>
                  </a:lnTo>
                  <a:lnTo>
                    <a:pt x="42" y="2111"/>
                  </a:lnTo>
                  <a:lnTo>
                    <a:pt x="45" y="2113"/>
                  </a:lnTo>
                  <a:lnTo>
                    <a:pt x="45" y="2113"/>
                  </a:lnTo>
                  <a:lnTo>
                    <a:pt x="43" y="2113"/>
                  </a:lnTo>
                  <a:lnTo>
                    <a:pt x="42" y="2113"/>
                  </a:lnTo>
                  <a:lnTo>
                    <a:pt x="40" y="2115"/>
                  </a:lnTo>
                  <a:lnTo>
                    <a:pt x="40" y="2115"/>
                  </a:lnTo>
                  <a:lnTo>
                    <a:pt x="40" y="2116"/>
                  </a:lnTo>
                  <a:lnTo>
                    <a:pt x="40" y="2116"/>
                  </a:lnTo>
                  <a:lnTo>
                    <a:pt x="40" y="2118"/>
                  </a:lnTo>
                  <a:lnTo>
                    <a:pt x="42" y="2122"/>
                  </a:lnTo>
                  <a:lnTo>
                    <a:pt x="42" y="2125"/>
                  </a:lnTo>
                  <a:lnTo>
                    <a:pt x="42" y="2127"/>
                  </a:lnTo>
                  <a:lnTo>
                    <a:pt x="43" y="2128"/>
                  </a:lnTo>
                  <a:lnTo>
                    <a:pt x="50" y="2139"/>
                  </a:lnTo>
                  <a:lnTo>
                    <a:pt x="51" y="2138"/>
                  </a:lnTo>
                  <a:lnTo>
                    <a:pt x="51" y="2138"/>
                  </a:lnTo>
                  <a:lnTo>
                    <a:pt x="51" y="2130"/>
                  </a:lnTo>
                  <a:lnTo>
                    <a:pt x="53" y="2130"/>
                  </a:lnTo>
                  <a:lnTo>
                    <a:pt x="53" y="2130"/>
                  </a:lnTo>
                  <a:lnTo>
                    <a:pt x="53" y="2130"/>
                  </a:lnTo>
                  <a:lnTo>
                    <a:pt x="54" y="2131"/>
                  </a:lnTo>
                  <a:lnTo>
                    <a:pt x="54" y="2133"/>
                  </a:lnTo>
                  <a:lnTo>
                    <a:pt x="53" y="2136"/>
                  </a:lnTo>
                  <a:lnTo>
                    <a:pt x="53" y="2138"/>
                  </a:lnTo>
                  <a:lnTo>
                    <a:pt x="54" y="2141"/>
                  </a:lnTo>
                  <a:lnTo>
                    <a:pt x="54" y="2144"/>
                  </a:lnTo>
                  <a:lnTo>
                    <a:pt x="54" y="2145"/>
                  </a:lnTo>
                  <a:lnTo>
                    <a:pt x="56" y="2147"/>
                  </a:lnTo>
                  <a:lnTo>
                    <a:pt x="56" y="2147"/>
                  </a:lnTo>
                  <a:lnTo>
                    <a:pt x="57" y="2147"/>
                  </a:lnTo>
                  <a:lnTo>
                    <a:pt x="57" y="2145"/>
                  </a:lnTo>
                  <a:lnTo>
                    <a:pt x="57" y="2144"/>
                  </a:lnTo>
                  <a:lnTo>
                    <a:pt x="57" y="2138"/>
                  </a:lnTo>
                  <a:lnTo>
                    <a:pt x="57" y="2135"/>
                  </a:lnTo>
                  <a:lnTo>
                    <a:pt x="57" y="2131"/>
                  </a:lnTo>
                  <a:lnTo>
                    <a:pt x="59" y="2131"/>
                  </a:lnTo>
                  <a:lnTo>
                    <a:pt x="60" y="2133"/>
                  </a:lnTo>
                  <a:lnTo>
                    <a:pt x="60" y="2136"/>
                  </a:lnTo>
                  <a:lnTo>
                    <a:pt x="59" y="2139"/>
                  </a:lnTo>
                  <a:lnTo>
                    <a:pt x="59" y="2142"/>
                  </a:lnTo>
                  <a:lnTo>
                    <a:pt x="59" y="2145"/>
                  </a:lnTo>
                  <a:lnTo>
                    <a:pt x="60" y="2148"/>
                  </a:lnTo>
                  <a:lnTo>
                    <a:pt x="62" y="2150"/>
                  </a:lnTo>
                  <a:lnTo>
                    <a:pt x="65" y="2150"/>
                  </a:lnTo>
                  <a:lnTo>
                    <a:pt x="66" y="2148"/>
                  </a:lnTo>
                  <a:lnTo>
                    <a:pt x="68" y="2147"/>
                  </a:lnTo>
                  <a:lnTo>
                    <a:pt x="70" y="2144"/>
                  </a:lnTo>
                  <a:lnTo>
                    <a:pt x="70" y="2141"/>
                  </a:lnTo>
                  <a:lnTo>
                    <a:pt x="70" y="2135"/>
                  </a:lnTo>
                  <a:lnTo>
                    <a:pt x="71" y="2131"/>
                  </a:lnTo>
                  <a:lnTo>
                    <a:pt x="70" y="2131"/>
                  </a:lnTo>
                  <a:lnTo>
                    <a:pt x="70" y="2130"/>
                  </a:lnTo>
                  <a:lnTo>
                    <a:pt x="68" y="2130"/>
                  </a:lnTo>
                  <a:lnTo>
                    <a:pt x="71" y="2128"/>
                  </a:lnTo>
                  <a:lnTo>
                    <a:pt x="73" y="2133"/>
                  </a:lnTo>
                  <a:lnTo>
                    <a:pt x="73" y="2138"/>
                  </a:lnTo>
                  <a:lnTo>
                    <a:pt x="76" y="2141"/>
                  </a:lnTo>
                  <a:lnTo>
                    <a:pt x="76" y="2142"/>
                  </a:lnTo>
                  <a:lnTo>
                    <a:pt x="74" y="2142"/>
                  </a:lnTo>
                  <a:lnTo>
                    <a:pt x="73" y="2144"/>
                  </a:lnTo>
                  <a:lnTo>
                    <a:pt x="73" y="2145"/>
                  </a:lnTo>
                  <a:lnTo>
                    <a:pt x="73" y="2147"/>
                  </a:lnTo>
                  <a:lnTo>
                    <a:pt x="73" y="2147"/>
                  </a:lnTo>
                  <a:lnTo>
                    <a:pt x="77" y="2145"/>
                  </a:lnTo>
                  <a:lnTo>
                    <a:pt x="77" y="2145"/>
                  </a:lnTo>
                  <a:lnTo>
                    <a:pt x="77" y="2144"/>
                  </a:lnTo>
                  <a:lnTo>
                    <a:pt x="79" y="2144"/>
                  </a:lnTo>
                  <a:lnTo>
                    <a:pt x="79" y="2142"/>
                  </a:lnTo>
                  <a:lnTo>
                    <a:pt x="79" y="2141"/>
                  </a:lnTo>
                  <a:lnTo>
                    <a:pt x="79" y="2141"/>
                  </a:lnTo>
                  <a:lnTo>
                    <a:pt x="79" y="2141"/>
                  </a:lnTo>
                  <a:lnTo>
                    <a:pt x="82" y="2141"/>
                  </a:lnTo>
                  <a:lnTo>
                    <a:pt x="83" y="2141"/>
                  </a:lnTo>
                  <a:lnTo>
                    <a:pt x="83" y="2139"/>
                  </a:lnTo>
                  <a:lnTo>
                    <a:pt x="85" y="2139"/>
                  </a:lnTo>
                  <a:lnTo>
                    <a:pt x="90" y="2139"/>
                  </a:lnTo>
                  <a:lnTo>
                    <a:pt x="91" y="2139"/>
                  </a:lnTo>
                  <a:lnTo>
                    <a:pt x="91" y="2135"/>
                  </a:lnTo>
                  <a:lnTo>
                    <a:pt x="91" y="2133"/>
                  </a:lnTo>
                  <a:lnTo>
                    <a:pt x="86" y="2128"/>
                  </a:lnTo>
                  <a:lnTo>
                    <a:pt x="85" y="2127"/>
                  </a:lnTo>
                  <a:lnTo>
                    <a:pt x="83" y="2127"/>
                  </a:lnTo>
                  <a:lnTo>
                    <a:pt x="82" y="2127"/>
                  </a:lnTo>
                  <a:lnTo>
                    <a:pt x="76" y="2130"/>
                  </a:lnTo>
                  <a:lnTo>
                    <a:pt x="76" y="2130"/>
                  </a:lnTo>
                  <a:lnTo>
                    <a:pt x="79" y="2127"/>
                  </a:lnTo>
                  <a:lnTo>
                    <a:pt x="80" y="2125"/>
                  </a:lnTo>
                  <a:lnTo>
                    <a:pt x="80" y="2121"/>
                  </a:lnTo>
                  <a:lnTo>
                    <a:pt x="80" y="2124"/>
                  </a:lnTo>
                  <a:lnTo>
                    <a:pt x="82" y="2125"/>
                  </a:lnTo>
                  <a:lnTo>
                    <a:pt x="85" y="2124"/>
                  </a:lnTo>
                  <a:lnTo>
                    <a:pt x="86" y="2122"/>
                  </a:lnTo>
                  <a:lnTo>
                    <a:pt x="86" y="2119"/>
                  </a:lnTo>
                  <a:lnTo>
                    <a:pt x="86" y="2118"/>
                  </a:lnTo>
                  <a:lnTo>
                    <a:pt x="85" y="2113"/>
                  </a:lnTo>
                  <a:lnTo>
                    <a:pt x="85" y="2113"/>
                  </a:lnTo>
                  <a:lnTo>
                    <a:pt x="86" y="2111"/>
                  </a:lnTo>
                  <a:lnTo>
                    <a:pt x="88" y="2111"/>
                  </a:lnTo>
                  <a:lnTo>
                    <a:pt x="88" y="2111"/>
                  </a:lnTo>
                  <a:lnTo>
                    <a:pt x="90" y="2115"/>
                  </a:lnTo>
                  <a:lnTo>
                    <a:pt x="90" y="2115"/>
                  </a:lnTo>
                  <a:lnTo>
                    <a:pt x="90" y="2116"/>
                  </a:lnTo>
                  <a:lnTo>
                    <a:pt x="91" y="2118"/>
                  </a:lnTo>
                  <a:lnTo>
                    <a:pt x="91" y="2119"/>
                  </a:lnTo>
                  <a:lnTo>
                    <a:pt x="93" y="2119"/>
                  </a:lnTo>
                  <a:lnTo>
                    <a:pt x="94" y="2121"/>
                  </a:lnTo>
                  <a:lnTo>
                    <a:pt x="103" y="2121"/>
                  </a:lnTo>
                  <a:lnTo>
                    <a:pt x="106" y="2119"/>
                  </a:lnTo>
                  <a:lnTo>
                    <a:pt x="110" y="2118"/>
                  </a:lnTo>
                  <a:lnTo>
                    <a:pt x="111" y="2119"/>
                  </a:lnTo>
                  <a:lnTo>
                    <a:pt x="113" y="2121"/>
                  </a:lnTo>
                  <a:lnTo>
                    <a:pt x="96" y="2125"/>
                  </a:lnTo>
                  <a:lnTo>
                    <a:pt x="93" y="2125"/>
                  </a:lnTo>
                  <a:lnTo>
                    <a:pt x="93" y="2127"/>
                  </a:lnTo>
                  <a:lnTo>
                    <a:pt x="93" y="2128"/>
                  </a:lnTo>
                  <a:lnTo>
                    <a:pt x="93" y="2130"/>
                  </a:lnTo>
                  <a:lnTo>
                    <a:pt x="93" y="2131"/>
                  </a:lnTo>
                  <a:lnTo>
                    <a:pt x="93" y="2133"/>
                  </a:lnTo>
                  <a:lnTo>
                    <a:pt x="94" y="2133"/>
                  </a:lnTo>
                  <a:lnTo>
                    <a:pt x="94" y="2135"/>
                  </a:lnTo>
                  <a:lnTo>
                    <a:pt x="94" y="2136"/>
                  </a:lnTo>
                  <a:lnTo>
                    <a:pt x="96" y="2138"/>
                  </a:lnTo>
                  <a:lnTo>
                    <a:pt x="97" y="2138"/>
                  </a:lnTo>
                  <a:lnTo>
                    <a:pt x="100" y="2135"/>
                  </a:lnTo>
                  <a:lnTo>
                    <a:pt x="100" y="2133"/>
                  </a:lnTo>
                  <a:lnTo>
                    <a:pt x="100" y="2131"/>
                  </a:lnTo>
                  <a:lnTo>
                    <a:pt x="100" y="2131"/>
                  </a:lnTo>
                  <a:lnTo>
                    <a:pt x="99" y="2131"/>
                  </a:lnTo>
                  <a:lnTo>
                    <a:pt x="99" y="2130"/>
                  </a:lnTo>
                  <a:lnTo>
                    <a:pt x="99" y="2130"/>
                  </a:lnTo>
                  <a:lnTo>
                    <a:pt x="100" y="2130"/>
                  </a:lnTo>
                  <a:lnTo>
                    <a:pt x="100" y="2130"/>
                  </a:lnTo>
                  <a:lnTo>
                    <a:pt x="100" y="2127"/>
                  </a:lnTo>
                  <a:lnTo>
                    <a:pt x="102" y="2127"/>
                  </a:lnTo>
                  <a:lnTo>
                    <a:pt x="102" y="2130"/>
                  </a:lnTo>
                  <a:lnTo>
                    <a:pt x="103" y="2131"/>
                  </a:lnTo>
                  <a:lnTo>
                    <a:pt x="105" y="2131"/>
                  </a:lnTo>
                  <a:lnTo>
                    <a:pt x="106" y="2128"/>
                  </a:lnTo>
                  <a:lnTo>
                    <a:pt x="108" y="2127"/>
                  </a:lnTo>
                  <a:lnTo>
                    <a:pt x="111" y="2124"/>
                  </a:lnTo>
                  <a:lnTo>
                    <a:pt x="113" y="2122"/>
                  </a:lnTo>
                  <a:lnTo>
                    <a:pt x="114" y="2122"/>
                  </a:lnTo>
                  <a:lnTo>
                    <a:pt x="116" y="2115"/>
                  </a:lnTo>
                  <a:lnTo>
                    <a:pt x="117" y="2113"/>
                  </a:lnTo>
                  <a:lnTo>
                    <a:pt x="119" y="2110"/>
                  </a:lnTo>
                  <a:lnTo>
                    <a:pt x="120" y="2108"/>
                  </a:lnTo>
                  <a:lnTo>
                    <a:pt x="120" y="2107"/>
                  </a:lnTo>
                  <a:lnTo>
                    <a:pt x="120" y="2102"/>
                  </a:lnTo>
                  <a:lnTo>
                    <a:pt x="122" y="2099"/>
                  </a:lnTo>
                  <a:lnTo>
                    <a:pt x="122" y="2094"/>
                  </a:lnTo>
                  <a:lnTo>
                    <a:pt x="125" y="2094"/>
                  </a:lnTo>
                  <a:lnTo>
                    <a:pt x="123" y="2096"/>
                  </a:lnTo>
                  <a:lnTo>
                    <a:pt x="123" y="2098"/>
                  </a:lnTo>
                  <a:lnTo>
                    <a:pt x="122" y="2101"/>
                  </a:lnTo>
                  <a:lnTo>
                    <a:pt x="122" y="2104"/>
                  </a:lnTo>
                  <a:lnTo>
                    <a:pt x="122" y="2107"/>
                  </a:lnTo>
                  <a:lnTo>
                    <a:pt x="120" y="2108"/>
                  </a:lnTo>
                  <a:lnTo>
                    <a:pt x="120" y="2111"/>
                  </a:lnTo>
                  <a:lnTo>
                    <a:pt x="119" y="2113"/>
                  </a:lnTo>
                  <a:lnTo>
                    <a:pt x="122" y="2113"/>
                  </a:lnTo>
                  <a:lnTo>
                    <a:pt x="127" y="2108"/>
                  </a:lnTo>
                  <a:lnTo>
                    <a:pt x="139" y="2107"/>
                  </a:lnTo>
                  <a:lnTo>
                    <a:pt x="142" y="2108"/>
                  </a:lnTo>
                  <a:lnTo>
                    <a:pt x="133" y="2110"/>
                  </a:lnTo>
                  <a:lnTo>
                    <a:pt x="119" y="2116"/>
                  </a:lnTo>
                  <a:lnTo>
                    <a:pt x="117" y="2118"/>
                  </a:lnTo>
                  <a:lnTo>
                    <a:pt x="117" y="2119"/>
                  </a:lnTo>
                  <a:lnTo>
                    <a:pt x="117" y="2122"/>
                  </a:lnTo>
                  <a:lnTo>
                    <a:pt x="117" y="2122"/>
                  </a:lnTo>
                  <a:lnTo>
                    <a:pt x="116" y="2125"/>
                  </a:lnTo>
                  <a:lnTo>
                    <a:pt x="116" y="2125"/>
                  </a:lnTo>
                  <a:lnTo>
                    <a:pt x="116" y="2127"/>
                  </a:lnTo>
                  <a:lnTo>
                    <a:pt x="116" y="2127"/>
                  </a:lnTo>
                  <a:lnTo>
                    <a:pt x="114" y="2125"/>
                  </a:lnTo>
                  <a:lnTo>
                    <a:pt x="114" y="2125"/>
                  </a:lnTo>
                  <a:lnTo>
                    <a:pt x="113" y="2127"/>
                  </a:lnTo>
                  <a:lnTo>
                    <a:pt x="111" y="2128"/>
                  </a:lnTo>
                  <a:lnTo>
                    <a:pt x="106" y="2131"/>
                  </a:lnTo>
                  <a:lnTo>
                    <a:pt x="105" y="2133"/>
                  </a:lnTo>
                  <a:lnTo>
                    <a:pt x="105" y="2135"/>
                  </a:lnTo>
                  <a:lnTo>
                    <a:pt x="103" y="2135"/>
                  </a:lnTo>
                  <a:lnTo>
                    <a:pt x="103" y="2136"/>
                  </a:lnTo>
                  <a:lnTo>
                    <a:pt x="102" y="2138"/>
                  </a:lnTo>
                  <a:lnTo>
                    <a:pt x="102" y="2139"/>
                  </a:lnTo>
                  <a:lnTo>
                    <a:pt x="100" y="2141"/>
                  </a:lnTo>
                  <a:lnTo>
                    <a:pt x="100" y="2141"/>
                  </a:lnTo>
                  <a:lnTo>
                    <a:pt x="102" y="2142"/>
                  </a:lnTo>
                  <a:lnTo>
                    <a:pt x="103" y="2142"/>
                  </a:lnTo>
                  <a:lnTo>
                    <a:pt x="105" y="2141"/>
                  </a:lnTo>
                  <a:lnTo>
                    <a:pt x="105" y="2138"/>
                  </a:lnTo>
                  <a:lnTo>
                    <a:pt x="106" y="2141"/>
                  </a:lnTo>
                  <a:lnTo>
                    <a:pt x="106" y="2142"/>
                  </a:lnTo>
                  <a:lnTo>
                    <a:pt x="106" y="2142"/>
                  </a:lnTo>
                  <a:lnTo>
                    <a:pt x="108" y="2144"/>
                  </a:lnTo>
                  <a:lnTo>
                    <a:pt x="110" y="2144"/>
                  </a:lnTo>
                  <a:lnTo>
                    <a:pt x="110" y="2144"/>
                  </a:lnTo>
                  <a:lnTo>
                    <a:pt x="111" y="2144"/>
                  </a:lnTo>
                  <a:lnTo>
                    <a:pt x="111" y="2142"/>
                  </a:lnTo>
                  <a:lnTo>
                    <a:pt x="113" y="2141"/>
                  </a:lnTo>
                  <a:lnTo>
                    <a:pt x="113" y="2141"/>
                  </a:lnTo>
                  <a:lnTo>
                    <a:pt x="113" y="2141"/>
                  </a:lnTo>
                  <a:lnTo>
                    <a:pt x="114" y="2142"/>
                  </a:lnTo>
                  <a:lnTo>
                    <a:pt x="114" y="2144"/>
                  </a:lnTo>
                  <a:lnTo>
                    <a:pt x="116" y="2142"/>
                  </a:lnTo>
                  <a:lnTo>
                    <a:pt x="116" y="2141"/>
                  </a:lnTo>
                  <a:lnTo>
                    <a:pt x="116" y="2139"/>
                  </a:lnTo>
                  <a:lnTo>
                    <a:pt x="116" y="2139"/>
                  </a:lnTo>
                  <a:lnTo>
                    <a:pt x="117" y="2141"/>
                  </a:lnTo>
                  <a:lnTo>
                    <a:pt x="119" y="2142"/>
                  </a:lnTo>
                  <a:lnTo>
                    <a:pt x="119" y="2144"/>
                  </a:lnTo>
                  <a:lnTo>
                    <a:pt x="119" y="2144"/>
                  </a:lnTo>
                  <a:lnTo>
                    <a:pt x="108" y="2145"/>
                  </a:lnTo>
                  <a:lnTo>
                    <a:pt x="110" y="2150"/>
                  </a:lnTo>
                  <a:lnTo>
                    <a:pt x="113" y="2151"/>
                  </a:lnTo>
                  <a:lnTo>
                    <a:pt x="116" y="2150"/>
                  </a:lnTo>
                  <a:lnTo>
                    <a:pt x="125" y="2142"/>
                  </a:lnTo>
                  <a:lnTo>
                    <a:pt x="127" y="2142"/>
                  </a:lnTo>
                  <a:lnTo>
                    <a:pt x="136" y="2142"/>
                  </a:lnTo>
                  <a:lnTo>
                    <a:pt x="136" y="2144"/>
                  </a:lnTo>
                  <a:lnTo>
                    <a:pt x="128" y="2142"/>
                  </a:lnTo>
                  <a:lnTo>
                    <a:pt x="125" y="2144"/>
                  </a:lnTo>
                  <a:lnTo>
                    <a:pt x="120" y="2150"/>
                  </a:lnTo>
                  <a:lnTo>
                    <a:pt x="114" y="2151"/>
                  </a:lnTo>
                  <a:lnTo>
                    <a:pt x="111" y="2156"/>
                  </a:lnTo>
                  <a:lnTo>
                    <a:pt x="106" y="2158"/>
                  </a:lnTo>
                  <a:lnTo>
                    <a:pt x="106" y="2159"/>
                  </a:lnTo>
                  <a:lnTo>
                    <a:pt x="103" y="2164"/>
                  </a:lnTo>
                  <a:lnTo>
                    <a:pt x="102" y="2168"/>
                  </a:lnTo>
                  <a:lnTo>
                    <a:pt x="105" y="2168"/>
                  </a:lnTo>
                  <a:lnTo>
                    <a:pt x="108" y="2167"/>
                  </a:lnTo>
                  <a:lnTo>
                    <a:pt x="111" y="2168"/>
                  </a:lnTo>
                  <a:lnTo>
                    <a:pt x="110" y="2168"/>
                  </a:lnTo>
                  <a:lnTo>
                    <a:pt x="105" y="2170"/>
                  </a:lnTo>
                  <a:lnTo>
                    <a:pt x="103" y="2171"/>
                  </a:lnTo>
                  <a:lnTo>
                    <a:pt x="96" y="2173"/>
                  </a:lnTo>
                  <a:lnTo>
                    <a:pt x="93" y="2175"/>
                  </a:lnTo>
                  <a:lnTo>
                    <a:pt x="91" y="2178"/>
                  </a:lnTo>
                  <a:lnTo>
                    <a:pt x="93" y="2181"/>
                  </a:lnTo>
                  <a:lnTo>
                    <a:pt x="93" y="2182"/>
                  </a:lnTo>
                  <a:lnTo>
                    <a:pt x="94" y="2185"/>
                  </a:lnTo>
                  <a:lnTo>
                    <a:pt x="96" y="2187"/>
                  </a:lnTo>
                  <a:lnTo>
                    <a:pt x="97" y="2187"/>
                  </a:lnTo>
                  <a:lnTo>
                    <a:pt x="100" y="2185"/>
                  </a:lnTo>
                  <a:lnTo>
                    <a:pt x="102" y="2185"/>
                  </a:lnTo>
                  <a:lnTo>
                    <a:pt x="103" y="2187"/>
                  </a:lnTo>
                  <a:lnTo>
                    <a:pt x="103" y="2188"/>
                  </a:lnTo>
                  <a:lnTo>
                    <a:pt x="105" y="2190"/>
                  </a:lnTo>
                  <a:lnTo>
                    <a:pt x="103" y="2190"/>
                  </a:lnTo>
                  <a:lnTo>
                    <a:pt x="102" y="2191"/>
                  </a:lnTo>
                  <a:lnTo>
                    <a:pt x="100" y="2191"/>
                  </a:lnTo>
                  <a:lnTo>
                    <a:pt x="99" y="2195"/>
                  </a:lnTo>
                  <a:lnTo>
                    <a:pt x="100" y="2196"/>
                  </a:lnTo>
                  <a:lnTo>
                    <a:pt x="103" y="2204"/>
                  </a:lnTo>
                  <a:lnTo>
                    <a:pt x="111" y="2191"/>
                  </a:lnTo>
                  <a:lnTo>
                    <a:pt x="113" y="2190"/>
                  </a:lnTo>
                  <a:lnTo>
                    <a:pt x="123" y="2187"/>
                  </a:lnTo>
                  <a:lnTo>
                    <a:pt x="128" y="2185"/>
                  </a:lnTo>
                  <a:lnTo>
                    <a:pt x="148" y="2181"/>
                  </a:lnTo>
                  <a:lnTo>
                    <a:pt x="148" y="2182"/>
                  </a:lnTo>
                  <a:lnTo>
                    <a:pt x="116" y="2191"/>
                  </a:lnTo>
                  <a:lnTo>
                    <a:pt x="111" y="2195"/>
                  </a:lnTo>
                  <a:lnTo>
                    <a:pt x="110" y="2196"/>
                  </a:lnTo>
                  <a:lnTo>
                    <a:pt x="106" y="2199"/>
                  </a:lnTo>
                  <a:lnTo>
                    <a:pt x="106" y="2202"/>
                  </a:lnTo>
                  <a:lnTo>
                    <a:pt x="105" y="2204"/>
                  </a:lnTo>
                  <a:lnTo>
                    <a:pt x="106" y="2205"/>
                  </a:lnTo>
                  <a:lnTo>
                    <a:pt x="108" y="2208"/>
                  </a:lnTo>
                  <a:lnTo>
                    <a:pt x="110" y="2210"/>
                  </a:lnTo>
                  <a:lnTo>
                    <a:pt x="110" y="2210"/>
                  </a:lnTo>
                  <a:lnTo>
                    <a:pt x="117" y="2212"/>
                  </a:lnTo>
                  <a:lnTo>
                    <a:pt x="119" y="2213"/>
                  </a:lnTo>
                  <a:lnTo>
                    <a:pt x="111" y="2213"/>
                  </a:lnTo>
                  <a:lnTo>
                    <a:pt x="108" y="2212"/>
                  </a:lnTo>
                  <a:lnTo>
                    <a:pt x="99" y="2204"/>
                  </a:lnTo>
                  <a:lnTo>
                    <a:pt x="99" y="2202"/>
                  </a:lnTo>
                  <a:lnTo>
                    <a:pt x="96" y="2199"/>
                  </a:lnTo>
                  <a:lnTo>
                    <a:pt x="96" y="2198"/>
                  </a:lnTo>
                  <a:lnTo>
                    <a:pt x="93" y="2196"/>
                  </a:lnTo>
                  <a:lnTo>
                    <a:pt x="91" y="2195"/>
                  </a:lnTo>
                  <a:lnTo>
                    <a:pt x="91" y="2195"/>
                  </a:lnTo>
                  <a:lnTo>
                    <a:pt x="88" y="2195"/>
                  </a:lnTo>
                  <a:lnTo>
                    <a:pt x="88" y="2196"/>
                  </a:lnTo>
                  <a:lnTo>
                    <a:pt x="88" y="2198"/>
                  </a:lnTo>
                  <a:lnTo>
                    <a:pt x="88" y="2199"/>
                  </a:lnTo>
                  <a:lnTo>
                    <a:pt x="86" y="2199"/>
                  </a:lnTo>
                  <a:lnTo>
                    <a:pt x="83" y="2199"/>
                  </a:lnTo>
                  <a:lnTo>
                    <a:pt x="82" y="2199"/>
                  </a:lnTo>
                  <a:lnTo>
                    <a:pt x="80" y="2208"/>
                  </a:lnTo>
                  <a:lnTo>
                    <a:pt x="79" y="2205"/>
                  </a:lnTo>
                  <a:lnTo>
                    <a:pt x="79" y="2201"/>
                  </a:lnTo>
                  <a:lnTo>
                    <a:pt x="79" y="2196"/>
                  </a:lnTo>
                  <a:lnTo>
                    <a:pt x="80" y="2193"/>
                  </a:lnTo>
                  <a:lnTo>
                    <a:pt x="68" y="2184"/>
                  </a:lnTo>
                  <a:lnTo>
                    <a:pt x="68" y="2188"/>
                  </a:lnTo>
                  <a:lnTo>
                    <a:pt x="66" y="2190"/>
                  </a:lnTo>
                  <a:lnTo>
                    <a:pt x="66" y="2191"/>
                  </a:lnTo>
                  <a:lnTo>
                    <a:pt x="66" y="2191"/>
                  </a:lnTo>
                  <a:lnTo>
                    <a:pt x="70" y="2191"/>
                  </a:lnTo>
                  <a:lnTo>
                    <a:pt x="71" y="2193"/>
                  </a:lnTo>
                  <a:lnTo>
                    <a:pt x="70" y="2191"/>
                  </a:lnTo>
                  <a:lnTo>
                    <a:pt x="70" y="2191"/>
                  </a:lnTo>
                  <a:lnTo>
                    <a:pt x="68" y="2193"/>
                  </a:lnTo>
                  <a:lnTo>
                    <a:pt x="68" y="2193"/>
                  </a:lnTo>
                  <a:lnTo>
                    <a:pt x="71" y="2196"/>
                  </a:lnTo>
                  <a:lnTo>
                    <a:pt x="73" y="2199"/>
                  </a:lnTo>
                  <a:lnTo>
                    <a:pt x="74" y="2201"/>
                  </a:lnTo>
                  <a:lnTo>
                    <a:pt x="73" y="2202"/>
                  </a:lnTo>
                  <a:lnTo>
                    <a:pt x="71" y="2202"/>
                  </a:lnTo>
                  <a:lnTo>
                    <a:pt x="70" y="2198"/>
                  </a:lnTo>
                  <a:lnTo>
                    <a:pt x="68" y="2198"/>
                  </a:lnTo>
                  <a:lnTo>
                    <a:pt x="68" y="2196"/>
                  </a:lnTo>
                  <a:lnTo>
                    <a:pt x="66" y="2196"/>
                  </a:lnTo>
                  <a:lnTo>
                    <a:pt x="66" y="2198"/>
                  </a:lnTo>
                  <a:lnTo>
                    <a:pt x="68" y="2199"/>
                  </a:lnTo>
                  <a:lnTo>
                    <a:pt x="68" y="2201"/>
                  </a:lnTo>
                  <a:lnTo>
                    <a:pt x="68" y="2202"/>
                  </a:lnTo>
                  <a:lnTo>
                    <a:pt x="68" y="2204"/>
                  </a:lnTo>
                  <a:lnTo>
                    <a:pt x="70" y="2204"/>
                  </a:lnTo>
                  <a:lnTo>
                    <a:pt x="70" y="2205"/>
                  </a:lnTo>
                  <a:lnTo>
                    <a:pt x="70" y="2207"/>
                  </a:lnTo>
                  <a:lnTo>
                    <a:pt x="68" y="2207"/>
                  </a:lnTo>
                  <a:lnTo>
                    <a:pt x="66" y="2207"/>
                  </a:lnTo>
                  <a:lnTo>
                    <a:pt x="66" y="2208"/>
                  </a:lnTo>
                  <a:lnTo>
                    <a:pt x="66" y="2210"/>
                  </a:lnTo>
                  <a:lnTo>
                    <a:pt x="66" y="2213"/>
                  </a:lnTo>
                  <a:lnTo>
                    <a:pt x="66" y="2216"/>
                  </a:lnTo>
                  <a:lnTo>
                    <a:pt x="66" y="2219"/>
                  </a:lnTo>
                  <a:lnTo>
                    <a:pt x="66" y="2221"/>
                  </a:lnTo>
                  <a:lnTo>
                    <a:pt x="63" y="2224"/>
                  </a:lnTo>
                  <a:lnTo>
                    <a:pt x="62" y="2225"/>
                  </a:lnTo>
                  <a:lnTo>
                    <a:pt x="65" y="2228"/>
                  </a:lnTo>
                  <a:lnTo>
                    <a:pt x="65" y="2230"/>
                  </a:lnTo>
                  <a:lnTo>
                    <a:pt x="66" y="2233"/>
                  </a:lnTo>
                  <a:lnTo>
                    <a:pt x="68" y="2238"/>
                  </a:lnTo>
                  <a:lnTo>
                    <a:pt x="70" y="2242"/>
                  </a:lnTo>
                  <a:lnTo>
                    <a:pt x="73" y="2248"/>
                  </a:lnTo>
                  <a:lnTo>
                    <a:pt x="76" y="2252"/>
                  </a:lnTo>
                  <a:lnTo>
                    <a:pt x="76" y="2255"/>
                  </a:lnTo>
                  <a:lnTo>
                    <a:pt x="79" y="2258"/>
                  </a:lnTo>
                  <a:lnTo>
                    <a:pt x="82" y="2258"/>
                  </a:lnTo>
                  <a:lnTo>
                    <a:pt x="85" y="2258"/>
                  </a:lnTo>
                  <a:lnTo>
                    <a:pt x="86" y="2262"/>
                  </a:lnTo>
                  <a:lnTo>
                    <a:pt x="90" y="2264"/>
                  </a:lnTo>
                  <a:lnTo>
                    <a:pt x="96" y="2264"/>
                  </a:lnTo>
                  <a:lnTo>
                    <a:pt x="97" y="2264"/>
                  </a:lnTo>
                  <a:lnTo>
                    <a:pt x="99" y="2265"/>
                  </a:lnTo>
                  <a:lnTo>
                    <a:pt x="99" y="2267"/>
                  </a:lnTo>
                  <a:lnTo>
                    <a:pt x="99" y="2268"/>
                  </a:lnTo>
                  <a:lnTo>
                    <a:pt x="99" y="2270"/>
                  </a:lnTo>
                  <a:lnTo>
                    <a:pt x="99" y="2272"/>
                  </a:lnTo>
                  <a:lnTo>
                    <a:pt x="100" y="2273"/>
                  </a:lnTo>
                  <a:lnTo>
                    <a:pt x="100" y="2275"/>
                  </a:lnTo>
                  <a:lnTo>
                    <a:pt x="102" y="2276"/>
                  </a:lnTo>
                  <a:lnTo>
                    <a:pt x="102" y="2278"/>
                  </a:lnTo>
                  <a:lnTo>
                    <a:pt x="103" y="2278"/>
                  </a:lnTo>
                  <a:lnTo>
                    <a:pt x="105" y="2278"/>
                  </a:lnTo>
                  <a:lnTo>
                    <a:pt x="106" y="2279"/>
                  </a:lnTo>
                  <a:lnTo>
                    <a:pt x="108" y="2281"/>
                  </a:lnTo>
                  <a:lnTo>
                    <a:pt x="111" y="2284"/>
                  </a:lnTo>
                  <a:lnTo>
                    <a:pt x="116" y="2284"/>
                  </a:lnTo>
                  <a:lnTo>
                    <a:pt x="117" y="2285"/>
                  </a:lnTo>
                  <a:lnTo>
                    <a:pt x="119" y="2287"/>
                  </a:lnTo>
                  <a:lnTo>
                    <a:pt x="120" y="2287"/>
                  </a:lnTo>
                  <a:lnTo>
                    <a:pt x="120" y="2287"/>
                  </a:lnTo>
                  <a:lnTo>
                    <a:pt x="122" y="2287"/>
                  </a:lnTo>
                  <a:lnTo>
                    <a:pt x="123" y="2289"/>
                  </a:lnTo>
                  <a:lnTo>
                    <a:pt x="127" y="2292"/>
                  </a:lnTo>
                  <a:lnTo>
                    <a:pt x="131" y="2293"/>
                  </a:lnTo>
                  <a:lnTo>
                    <a:pt x="139" y="2295"/>
                  </a:lnTo>
                  <a:lnTo>
                    <a:pt x="143" y="2298"/>
                  </a:lnTo>
                  <a:lnTo>
                    <a:pt x="148" y="2298"/>
                  </a:lnTo>
                  <a:lnTo>
                    <a:pt x="148" y="2295"/>
                  </a:lnTo>
                  <a:lnTo>
                    <a:pt x="148" y="2287"/>
                  </a:lnTo>
                  <a:lnTo>
                    <a:pt x="150" y="2287"/>
                  </a:lnTo>
                  <a:lnTo>
                    <a:pt x="151" y="2285"/>
                  </a:lnTo>
                  <a:lnTo>
                    <a:pt x="153" y="2285"/>
                  </a:lnTo>
                  <a:lnTo>
                    <a:pt x="154" y="2287"/>
                  </a:lnTo>
                  <a:lnTo>
                    <a:pt x="153" y="2290"/>
                  </a:lnTo>
                  <a:lnTo>
                    <a:pt x="151" y="2289"/>
                  </a:lnTo>
                  <a:lnTo>
                    <a:pt x="150" y="2289"/>
                  </a:lnTo>
                  <a:lnTo>
                    <a:pt x="150" y="2290"/>
                  </a:lnTo>
                  <a:lnTo>
                    <a:pt x="148" y="2293"/>
                  </a:lnTo>
                  <a:lnTo>
                    <a:pt x="150" y="2295"/>
                  </a:lnTo>
                  <a:lnTo>
                    <a:pt x="151" y="2299"/>
                  </a:lnTo>
                  <a:lnTo>
                    <a:pt x="153" y="2301"/>
                  </a:lnTo>
                  <a:lnTo>
                    <a:pt x="153" y="2301"/>
                  </a:lnTo>
                  <a:lnTo>
                    <a:pt x="157" y="2296"/>
                  </a:lnTo>
                  <a:lnTo>
                    <a:pt x="160" y="2293"/>
                  </a:lnTo>
                  <a:lnTo>
                    <a:pt x="163" y="2293"/>
                  </a:lnTo>
                  <a:lnTo>
                    <a:pt x="165" y="2293"/>
                  </a:lnTo>
                  <a:lnTo>
                    <a:pt x="159" y="2298"/>
                  </a:lnTo>
                  <a:lnTo>
                    <a:pt x="156" y="2301"/>
                  </a:lnTo>
                  <a:lnTo>
                    <a:pt x="151" y="2302"/>
                  </a:lnTo>
                  <a:lnTo>
                    <a:pt x="150" y="2305"/>
                  </a:lnTo>
                  <a:lnTo>
                    <a:pt x="151" y="2305"/>
                  </a:lnTo>
                  <a:lnTo>
                    <a:pt x="151" y="2305"/>
                  </a:lnTo>
                  <a:lnTo>
                    <a:pt x="150" y="2307"/>
                  </a:lnTo>
                  <a:lnTo>
                    <a:pt x="145" y="2307"/>
                  </a:lnTo>
                  <a:lnTo>
                    <a:pt x="145" y="2309"/>
                  </a:lnTo>
                  <a:lnTo>
                    <a:pt x="145" y="2312"/>
                  </a:lnTo>
                  <a:lnTo>
                    <a:pt x="143" y="2313"/>
                  </a:lnTo>
                  <a:lnTo>
                    <a:pt x="142" y="2315"/>
                  </a:lnTo>
                  <a:lnTo>
                    <a:pt x="140" y="2315"/>
                  </a:lnTo>
                  <a:lnTo>
                    <a:pt x="142" y="2316"/>
                  </a:lnTo>
                  <a:lnTo>
                    <a:pt x="145" y="2321"/>
                  </a:lnTo>
                  <a:lnTo>
                    <a:pt x="148" y="2322"/>
                  </a:lnTo>
                  <a:lnTo>
                    <a:pt x="156" y="2322"/>
                  </a:lnTo>
                  <a:lnTo>
                    <a:pt x="156" y="2322"/>
                  </a:lnTo>
                  <a:lnTo>
                    <a:pt x="157" y="2324"/>
                  </a:lnTo>
                  <a:lnTo>
                    <a:pt x="159" y="2324"/>
                  </a:lnTo>
                  <a:lnTo>
                    <a:pt x="159" y="2322"/>
                  </a:lnTo>
                  <a:lnTo>
                    <a:pt x="159" y="2322"/>
                  </a:lnTo>
                  <a:lnTo>
                    <a:pt x="159" y="2321"/>
                  </a:lnTo>
                  <a:lnTo>
                    <a:pt x="157" y="2319"/>
                  </a:lnTo>
                  <a:lnTo>
                    <a:pt x="156" y="2319"/>
                  </a:lnTo>
                  <a:lnTo>
                    <a:pt x="156" y="2318"/>
                  </a:lnTo>
                  <a:lnTo>
                    <a:pt x="154" y="2316"/>
                  </a:lnTo>
                  <a:lnTo>
                    <a:pt x="154" y="2316"/>
                  </a:lnTo>
                  <a:lnTo>
                    <a:pt x="154" y="2315"/>
                  </a:lnTo>
                  <a:lnTo>
                    <a:pt x="153" y="2315"/>
                  </a:lnTo>
                  <a:lnTo>
                    <a:pt x="153" y="2313"/>
                  </a:lnTo>
                  <a:lnTo>
                    <a:pt x="156" y="2305"/>
                  </a:lnTo>
                  <a:lnTo>
                    <a:pt x="156" y="2307"/>
                  </a:lnTo>
                  <a:lnTo>
                    <a:pt x="156" y="2310"/>
                  </a:lnTo>
                  <a:lnTo>
                    <a:pt x="156" y="2312"/>
                  </a:lnTo>
                  <a:lnTo>
                    <a:pt x="154" y="2313"/>
                  </a:lnTo>
                  <a:lnTo>
                    <a:pt x="156" y="2315"/>
                  </a:lnTo>
                  <a:lnTo>
                    <a:pt x="157" y="2315"/>
                  </a:lnTo>
                  <a:lnTo>
                    <a:pt x="162" y="2315"/>
                  </a:lnTo>
                  <a:lnTo>
                    <a:pt x="162" y="2313"/>
                  </a:lnTo>
                  <a:lnTo>
                    <a:pt x="159" y="2305"/>
                  </a:lnTo>
                  <a:lnTo>
                    <a:pt x="160" y="2307"/>
                  </a:lnTo>
                  <a:lnTo>
                    <a:pt x="165" y="2312"/>
                  </a:lnTo>
                  <a:lnTo>
                    <a:pt x="167" y="2313"/>
                  </a:lnTo>
                  <a:lnTo>
                    <a:pt x="168" y="2313"/>
                  </a:lnTo>
                  <a:lnTo>
                    <a:pt x="173" y="2312"/>
                  </a:lnTo>
                  <a:lnTo>
                    <a:pt x="174" y="2312"/>
                  </a:lnTo>
                  <a:lnTo>
                    <a:pt x="174" y="2315"/>
                  </a:lnTo>
                  <a:lnTo>
                    <a:pt x="173" y="2315"/>
                  </a:lnTo>
                  <a:lnTo>
                    <a:pt x="167" y="2315"/>
                  </a:lnTo>
                  <a:lnTo>
                    <a:pt x="165" y="2316"/>
                  </a:lnTo>
                  <a:lnTo>
                    <a:pt x="162" y="2318"/>
                  </a:lnTo>
                  <a:lnTo>
                    <a:pt x="162" y="2319"/>
                  </a:lnTo>
                  <a:lnTo>
                    <a:pt x="163" y="2319"/>
                  </a:lnTo>
                  <a:lnTo>
                    <a:pt x="165" y="2321"/>
                  </a:lnTo>
                  <a:lnTo>
                    <a:pt x="167" y="2321"/>
                  </a:lnTo>
                  <a:lnTo>
                    <a:pt x="167" y="2319"/>
                  </a:lnTo>
                  <a:lnTo>
                    <a:pt x="168" y="2318"/>
                  </a:lnTo>
                  <a:lnTo>
                    <a:pt x="170" y="2318"/>
                  </a:lnTo>
                  <a:lnTo>
                    <a:pt x="170" y="2319"/>
                  </a:lnTo>
                  <a:lnTo>
                    <a:pt x="170" y="2321"/>
                  </a:lnTo>
                  <a:lnTo>
                    <a:pt x="168" y="2322"/>
                  </a:lnTo>
                  <a:lnTo>
                    <a:pt x="168" y="2324"/>
                  </a:lnTo>
                  <a:lnTo>
                    <a:pt x="170" y="2322"/>
                  </a:lnTo>
                  <a:lnTo>
                    <a:pt x="174" y="2316"/>
                  </a:lnTo>
                  <a:lnTo>
                    <a:pt x="176" y="2318"/>
                  </a:lnTo>
                  <a:lnTo>
                    <a:pt x="174" y="2319"/>
                  </a:lnTo>
                  <a:lnTo>
                    <a:pt x="173" y="2324"/>
                  </a:lnTo>
                  <a:lnTo>
                    <a:pt x="171" y="2325"/>
                  </a:lnTo>
                  <a:lnTo>
                    <a:pt x="173" y="2325"/>
                  </a:lnTo>
                  <a:lnTo>
                    <a:pt x="179" y="2322"/>
                  </a:lnTo>
                  <a:lnTo>
                    <a:pt x="179" y="2322"/>
                  </a:lnTo>
                  <a:lnTo>
                    <a:pt x="180" y="2321"/>
                  </a:lnTo>
                  <a:lnTo>
                    <a:pt x="185" y="2318"/>
                  </a:lnTo>
                  <a:lnTo>
                    <a:pt x="187" y="2318"/>
                  </a:lnTo>
                  <a:lnTo>
                    <a:pt x="187" y="2319"/>
                  </a:lnTo>
                  <a:lnTo>
                    <a:pt x="187" y="2319"/>
                  </a:lnTo>
                  <a:lnTo>
                    <a:pt x="185" y="2322"/>
                  </a:lnTo>
                  <a:lnTo>
                    <a:pt x="185" y="2324"/>
                  </a:lnTo>
                  <a:lnTo>
                    <a:pt x="184" y="2322"/>
                  </a:lnTo>
                  <a:lnTo>
                    <a:pt x="184" y="2322"/>
                  </a:lnTo>
                  <a:lnTo>
                    <a:pt x="182" y="2322"/>
                  </a:lnTo>
                  <a:lnTo>
                    <a:pt x="182" y="2322"/>
                  </a:lnTo>
                  <a:lnTo>
                    <a:pt x="180" y="2324"/>
                  </a:lnTo>
                  <a:lnTo>
                    <a:pt x="177" y="2325"/>
                  </a:lnTo>
                  <a:lnTo>
                    <a:pt x="176" y="2327"/>
                  </a:lnTo>
                  <a:lnTo>
                    <a:pt x="176" y="2330"/>
                  </a:lnTo>
                  <a:lnTo>
                    <a:pt x="176" y="2332"/>
                  </a:lnTo>
                  <a:lnTo>
                    <a:pt x="176" y="2333"/>
                  </a:lnTo>
                  <a:lnTo>
                    <a:pt x="177" y="2333"/>
                  </a:lnTo>
                  <a:lnTo>
                    <a:pt x="180" y="2332"/>
                  </a:lnTo>
                  <a:lnTo>
                    <a:pt x="180" y="2332"/>
                  </a:lnTo>
                  <a:lnTo>
                    <a:pt x="182" y="2332"/>
                  </a:lnTo>
                  <a:lnTo>
                    <a:pt x="182" y="2330"/>
                  </a:lnTo>
                  <a:lnTo>
                    <a:pt x="182" y="2329"/>
                  </a:lnTo>
                  <a:lnTo>
                    <a:pt x="182" y="2329"/>
                  </a:lnTo>
                  <a:lnTo>
                    <a:pt x="182" y="2329"/>
                  </a:lnTo>
                  <a:lnTo>
                    <a:pt x="182" y="2327"/>
                  </a:lnTo>
                  <a:lnTo>
                    <a:pt x="182" y="2327"/>
                  </a:lnTo>
                  <a:lnTo>
                    <a:pt x="187" y="2325"/>
                  </a:lnTo>
                  <a:lnTo>
                    <a:pt x="188" y="2325"/>
                  </a:lnTo>
                  <a:lnTo>
                    <a:pt x="188" y="2327"/>
                  </a:lnTo>
                  <a:lnTo>
                    <a:pt x="190" y="2325"/>
                  </a:lnTo>
                  <a:lnTo>
                    <a:pt x="194" y="2324"/>
                  </a:lnTo>
                  <a:lnTo>
                    <a:pt x="194" y="2325"/>
                  </a:lnTo>
                  <a:lnTo>
                    <a:pt x="196" y="2327"/>
                  </a:lnTo>
                  <a:lnTo>
                    <a:pt x="205" y="2329"/>
                  </a:lnTo>
                  <a:lnTo>
                    <a:pt x="219" y="2329"/>
                  </a:lnTo>
                  <a:lnTo>
                    <a:pt x="219" y="2329"/>
                  </a:lnTo>
                  <a:lnTo>
                    <a:pt x="219" y="2327"/>
                  </a:lnTo>
                  <a:lnTo>
                    <a:pt x="219" y="2325"/>
                  </a:lnTo>
                  <a:lnTo>
                    <a:pt x="220" y="2329"/>
                  </a:lnTo>
                  <a:lnTo>
                    <a:pt x="222" y="2329"/>
                  </a:lnTo>
                  <a:lnTo>
                    <a:pt x="222" y="2327"/>
                  </a:lnTo>
                  <a:lnTo>
                    <a:pt x="222" y="2324"/>
                  </a:lnTo>
                  <a:lnTo>
                    <a:pt x="224" y="2325"/>
                  </a:lnTo>
                  <a:lnTo>
                    <a:pt x="224" y="2325"/>
                  </a:lnTo>
                  <a:lnTo>
                    <a:pt x="225" y="2325"/>
                  </a:lnTo>
                  <a:lnTo>
                    <a:pt x="225" y="2322"/>
                  </a:lnTo>
                  <a:lnTo>
                    <a:pt x="225" y="2322"/>
                  </a:lnTo>
                  <a:lnTo>
                    <a:pt x="228" y="2324"/>
                  </a:lnTo>
                  <a:lnTo>
                    <a:pt x="230" y="2324"/>
                  </a:lnTo>
                  <a:lnTo>
                    <a:pt x="231" y="2322"/>
                  </a:lnTo>
                  <a:lnTo>
                    <a:pt x="244" y="2321"/>
                  </a:lnTo>
                  <a:lnTo>
                    <a:pt x="247" y="2319"/>
                  </a:lnTo>
                  <a:lnTo>
                    <a:pt x="245" y="2316"/>
                  </a:lnTo>
                  <a:lnTo>
                    <a:pt x="247" y="2315"/>
                  </a:lnTo>
                  <a:lnTo>
                    <a:pt x="251" y="2312"/>
                  </a:lnTo>
                  <a:lnTo>
                    <a:pt x="251" y="2309"/>
                  </a:lnTo>
                  <a:lnTo>
                    <a:pt x="253" y="2305"/>
                  </a:lnTo>
                  <a:lnTo>
                    <a:pt x="251" y="2304"/>
                  </a:lnTo>
                  <a:lnTo>
                    <a:pt x="251" y="2301"/>
                  </a:lnTo>
                  <a:lnTo>
                    <a:pt x="253" y="2301"/>
                  </a:lnTo>
                  <a:lnTo>
                    <a:pt x="254" y="2302"/>
                  </a:lnTo>
                  <a:lnTo>
                    <a:pt x="254" y="2307"/>
                  </a:lnTo>
                  <a:lnTo>
                    <a:pt x="256" y="2309"/>
                  </a:lnTo>
                  <a:lnTo>
                    <a:pt x="256" y="2310"/>
                  </a:lnTo>
                  <a:lnTo>
                    <a:pt x="254" y="2312"/>
                  </a:lnTo>
                  <a:lnTo>
                    <a:pt x="253" y="2312"/>
                  </a:lnTo>
                  <a:lnTo>
                    <a:pt x="253" y="2313"/>
                  </a:lnTo>
                  <a:lnTo>
                    <a:pt x="254" y="2315"/>
                  </a:lnTo>
                  <a:lnTo>
                    <a:pt x="254" y="2316"/>
                  </a:lnTo>
                  <a:lnTo>
                    <a:pt x="254" y="2316"/>
                  </a:lnTo>
                  <a:lnTo>
                    <a:pt x="257" y="2316"/>
                  </a:lnTo>
                  <a:lnTo>
                    <a:pt x="259" y="2318"/>
                  </a:lnTo>
                  <a:lnTo>
                    <a:pt x="259" y="2318"/>
                  </a:lnTo>
                  <a:lnTo>
                    <a:pt x="261" y="2316"/>
                  </a:lnTo>
                  <a:lnTo>
                    <a:pt x="262" y="2312"/>
                  </a:lnTo>
                  <a:lnTo>
                    <a:pt x="264" y="2312"/>
                  </a:lnTo>
                  <a:lnTo>
                    <a:pt x="264" y="2313"/>
                  </a:lnTo>
                  <a:lnTo>
                    <a:pt x="265" y="2315"/>
                  </a:lnTo>
                  <a:lnTo>
                    <a:pt x="267" y="2313"/>
                  </a:lnTo>
                  <a:lnTo>
                    <a:pt x="267" y="2312"/>
                  </a:lnTo>
                  <a:lnTo>
                    <a:pt x="267" y="2310"/>
                  </a:lnTo>
                  <a:lnTo>
                    <a:pt x="267" y="2310"/>
                  </a:lnTo>
                  <a:lnTo>
                    <a:pt x="267" y="2309"/>
                  </a:lnTo>
                  <a:lnTo>
                    <a:pt x="268" y="2307"/>
                  </a:lnTo>
                  <a:lnTo>
                    <a:pt x="270" y="2307"/>
                  </a:lnTo>
                  <a:lnTo>
                    <a:pt x="270" y="2304"/>
                  </a:lnTo>
                  <a:lnTo>
                    <a:pt x="270" y="2304"/>
                  </a:lnTo>
                  <a:lnTo>
                    <a:pt x="268" y="2304"/>
                  </a:lnTo>
                  <a:lnTo>
                    <a:pt x="268" y="2304"/>
                  </a:lnTo>
                  <a:lnTo>
                    <a:pt x="270" y="2302"/>
                  </a:lnTo>
                  <a:lnTo>
                    <a:pt x="273" y="2302"/>
                  </a:lnTo>
                  <a:lnTo>
                    <a:pt x="273" y="2301"/>
                  </a:lnTo>
                  <a:lnTo>
                    <a:pt x="274" y="2299"/>
                  </a:lnTo>
                  <a:lnTo>
                    <a:pt x="276" y="2298"/>
                  </a:lnTo>
                  <a:lnTo>
                    <a:pt x="276" y="2298"/>
                  </a:lnTo>
                  <a:lnTo>
                    <a:pt x="279" y="2298"/>
                  </a:lnTo>
                  <a:lnTo>
                    <a:pt x="281" y="2298"/>
                  </a:lnTo>
                  <a:lnTo>
                    <a:pt x="281" y="2296"/>
                  </a:lnTo>
                  <a:lnTo>
                    <a:pt x="281" y="2295"/>
                  </a:lnTo>
                  <a:lnTo>
                    <a:pt x="281" y="2293"/>
                  </a:lnTo>
                  <a:lnTo>
                    <a:pt x="282" y="2293"/>
                  </a:lnTo>
                  <a:lnTo>
                    <a:pt x="282" y="2296"/>
                  </a:lnTo>
                  <a:lnTo>
                    <a:pt x="284" y="2295"/>
                  </a:lnTo>
                  <a:lnTo>
                    <a:pt x="285" y="2295"/>
                  </a:lnTo>
                  <a:lnTo>
                    <a:pt x="288" y="2296"/>
                  </a:lnTo>
                  <a:lnTo>
                    <a:pt x="288" y="2293"/>
                  </a:lnTo>
                  <a:lnTo>
                    <a:pt x="288" y="2292"/>
                  </a:lnTo>
                  <a:lnTo>
                    <a:pt x="288" y="2290"/>
                  </a:lnTo>
                  <a:lnTo>
                    <a:pt x="291" y="2287"/>
                  </a:lnTo>
                  <a:lnTo>
                    <a:pt x="293" y="2282"/>
                  </a:lnTo>
                  <a:lnTo>
                    <a:pt x="294" y="2284"/>
                  </a:lnTo>
                  <a:lnTo>
                    <a:pt x="294" y="2285"/>
                  </a:lnTo>
                  <a:lnTo>
                    <a:pt x="294" y="2285"/>
                  </a:lnTo>
                  <a:lnTo>
                    <a:pt x="296" y="2285"/>
                  </a:lnTo>
                  <a:lnTo>
                    <a:pt x="296" y="2284"/>
                  </a:lnTo>
                  <a:lnTo>
                    <a:pt x="297" y="2282"/>
                  </a:lnTo>
                  <a:lnTo>
                    <a:pt x="297" y="2281"/>
                  </a:lnTo>
                  <a:lnTo>
                    <a:pt x="297" y="2281"/>
                  </a:lnTo>
                  <a:lnTo>
                    <a:pt x="299" y="2281"/>
                  </a:lnTo>
                  <a:lnTo>
                    <a:pt x="301" y="2279"/>
                  </a:lnTo>
                  <a:lnTo>
                    <a:pt x="301" y="2279"/>
                  </a:lnTo>
                  <a:lnTo>
                    <a:pt x="304" y="2278"/>
                  </a:lnTo>
                  <a:lnTo>
                    <a:pt x="304" y="2276"/>
                  </a:lnTo>
                  <a:lnTo>
                    <a:pt x="305" y="2275"/>
                  </a:lnTo>
                  <a:lnTo>
                    <a:pt x="305" y="2273"/>
                  </a:lnTo>
                  <a:lnTo>
                    <a:pt x="307" y="2272"/>
                  </a:lnTo>
                  <a:lnTo>
                    <a:pt x="308" y="2270"/>
                  </a:lnTo>
                  <a:lnTo>
                    <a:pt x="310" y="2270"/>
                  </a:lnTo>
                  <a:lnTo>
                    <a:pt x="311" y="2268"/>
                  </a:lnTo>
                  <a:lnTo>
                    <a:pt x="313" y="2265"/>
                  </a:lnTo>
                  <a:lnTo>
                    <a:pt x="318" y="2261"/>
                  </a:lnTo>
                  <a:lnTo>
                    <a:pt x="319" y="2259"/>
                  </a:lnTo>
                  <a:lnTo>
                    <a:pt x="321" y="2258"/>
                  </a:lnTo>
                  <a:lnTo>
                    <a:pt x="321" y="2255"/>
                  </a:lnTo>
                  <a:lnTo>
                    <a:pt x="321" y="2252"/>
                  </a:lnTo>
                  <a:lnTo>
                    <a:pt x="321" y="2250"/>
                  </a:lnTo>
                  <a:lnTo>
                    <a:pt x="321" y="2248"/>
                  </a:lnTo>
                  <a:lnTo>
                    <a:pt x="319" y="2247"/>
                  </a:lnTo>
                  <a:lnTo>
                    <a:pt x="318" y="2245"/>
                  </a:lnTo>
                  <a:lnTo>
                    <a:pt x="319" y="2245"/>
                  </a:lnTo>
                  <a:lnTo>
                    <a:pt x="321" y="2247"/>
                  </a:lnTo>
                  <a:lnTo>
                    <a:pt x="321" y="2247"/>
                  </a:lnTo>
                  <a:lnTo>
                    <a:pt x="322" y="2248"/>
                  </a:lnTo>
                  <a:lnTo>
                    <a:pt x="322" y="2248"/>
                  </a:lnTo>
                  <a:lnTo>
                    <a:pt x="324" y="2248"/>
                  </a:lnTo>
                  <a:lnTo>
                    <a:pt x="324" y="2248"/>
                  </a:lnTo>
                  <a:lnTo>
                    <a:pt x="324" y="2247"/>
                  </a:lnTo>
                  <a:lnTo>
                    <a:pt x="324" y="2247"/>
                  </a:lnTo>
                  <a:lnTo>
                    <a:pt x="327" y="2247"/>
                  </a:lnTo>
                  <a:lnTo>
                    <a:pt x="331" y="2245"/>
                  </a:lnTo>
                  <a:lnTo>
                    <a:pt x="336" y="2241"/>
                  </a:lnTo>
                  <a:lnTo>
                    <a:pt x="339" y="2238"/>
                  </a:lnTo>
                  <a:lnTo>
                    <a:pt x="339" y="2236"/>
                  </a:lnTo>
                  <a:lnTo>
                    <a:pt x="338" y="2235"/>
                  </a:lnTo>
                  <a:lnTo>
                    <a:pt x="336" y="2235"/>
                  </a:lnTo>
                  <a:lnTo>
                    <a:pt x="331" y="2235"/>
                  </a:lnTo>
                  <a:lnTo>
                    <a:pt x="330" y="2235"/>
                  </a:lnTo>
                  <a:lnTo>
                    <a:pt x="331" y="2235"/>
                  </a:lnTo>
                  <a:lnTo>
                    <a:pt x="339" y="2235"/>
                  </a:lnTo>
                  <a:lnTo>
                    <a:pt x="341" y="2232"/>
                  </a:lnTo>
                  <a:lnTo>
                    <a:pt x="341" y="2230"/>
                  </a:lnTo>
                  <a:lnTo>
                    <a:pt x="333" y="2227"/>
                  </a:lnTo>
                  <a:lnTo>
                    <a:pt x="333" y="2228"/>
                  </a:lnTo>
                  <a:lnTo>
                    <a:pt x="338" y="2230"/>
                  </a:lnTo>
                  <a:lnTo>
                    <a:pt x="336" y="2232"/>
                  </a:lnTo>
                  <a:lnTo>
                    <a:pt x="330" y="2230"/>
                  </a:lnTo>
                  <a:lnTo>
                    <a:pt x="328" y="2228"/>
                  </a:lnTo>
                  <a:lnTo>
                    <a:pt x="330" y="2228"/>
                  </a:lnTo>
                  <a:lnTo>
                    <a:pt x="330" y="2227"/>
                  </a:lnTo>
                  <a:lnTo>
                    <a:pt x="331" y="2227"/>
                  </a:lnTo>
                  <a:lnTo>
                    <a:pt x="344" y="2228"/>
                  </a:lnTo>
                  <a:lnTo>
                    <a:pt x="347" y="2227"/>
                  </a:lnTo>
                  <a:lnTo>
                    <a:pt x="350" y="2225"/>
                  </a:lnTo>
                  <a:lnTo>
                    <a:pt x="351" y="2224"/>
                  </a:lnTo>
                  <a:lnTo>
                    <a:pt x="353" y="2221"/>
                  </a:lnTo>
                  <a:lnTo>
                    <a:pt x="354" y="2221"/>
                  </a:lnTo>
                  <a:lnTo>
                    <a:pt x="354" y="2219"/>
                  </a:lnTo>
                  <a:lnTo>
                    <a:pt x="354" y="2218"/>
                  </a:lnTo>
                  <a:lnTo>
                    <a:pt x="353" y="2219"/>
                  </a:lnTo>
                  <a:lnTo>
                    <a:pt x="351" y="2219"/>
                  </a:lnTo>
                  <a:lnTo>
                    <a:pt x="353" y="2218"/>
                  </a:lnTo>
                  <a:lnTo>
                    <a:pt x="358" y="2216"/>
                  </a:lnTo>
                  <a:lnTo>
                    <a:pt x="358" y="2213"/>
                  </a:lnTo>
                  <a:lnTo>
                    <a:pt x="356" y="2213"/>
                  </a:lnTo>
                  <a:lnTo>
                    <a:pt x="354" y="2212"/>
                  </a:lnTo>
                  <a:lnTo>
                    <a:pt x="353" y="2212"/>
                  </a:lnTo>
                  <a:lnTo>
                    <a:pt x="351" y="2213"/>
                  </a:lnTo>
                  <a:lnTo>
                    <a:pt x="348" y="2215"/>
                  </a:lnTo>
                  <a:lnTo>
                    <a:pt x="348" y="2215"/>
                  </a:lnTo>
                  <a:lnTo>
                    <a:pt x="347" y="2215"/>
                  </a:lnTo>
                  <a:lnTo>
                    <a:pt x="345" y="2213"/>
                  </a:lnTo>
                  <a:lnTo>
                    <a:pt x="345" y="2213"/>
                  </a:lnTo>
                  <a:lnTo>
                    <a:pt x="347" y="2208"/>
                  </a:lnTo>
                  <a:lnTo>
                    <a:pt x="347" y="2207"/>
                  </a:lnTo>
                  <a:lnTo>
                    <a:pt x="348" y="2208"/>
                  </a:lnTo>
                  <a:lnTo>
                    <a:pt x="350" y="2210"/>
                  </a:lnTo>
                  <a:lnTo>
                    <a:pt x="353" y="2208"/>
                  </a:lnTo>
                  <a:lnTo>
                    <a:pt x="354" y="2208"/>
                  </a:lnTo>
                  <a:lnTo>
                    <a:pt x="354" y="2207"/>
                  </a:lnTo>
                  <a:lnTo>
                    <a:pt x="354" y="2207"/>
                  </a:lnTo>
                  <a:lnTo>
                    <a:pt x="354" y="2205"/>
                  </a:lnTo>
                  <a:lnTo>
                    <a:pt x="354" y="2205"/>
                  </a:lnTo>
                  <a:lnTo>
                    <a:pt x="353" y="2205"/>
                  </a:lnTo>
                  <a:lnTo>
                    <a:pt x="351" y="2207"/>
                  </a:lnTo>
                  <a:lnTo>
                    <a:pt x="353" y="2205"/>
                  </a:lnTo>
                  <a:lnTo>
                    <a:pt x="354" y="2204"/>
                  </a:lnTo>
                  <a:lnTo>
                    <a:pt x="356" y="2205"/>
                  </a:lnTo>
                  <a:lnTo>
                    <a:pt x="358" y="2207"/>
                  </a:lnTo>
                  <a:lnTo>
                    <a:pt x="359" y="2204"/>
                  </a:lnTo>
                  <a:lnTo>
                    <a:pt x="359" y="2204"/>
                  </a:lnTo>
                  <a:lnTo>
                    <a:pt x="362" y="2205"/>
                  </a:lnTo>
                  <a:lnTo>
                    <a:pt x="364" y="2204"/>
                  </a:lnTo>
                  <a:lnTo>
                    <a:pt x="362" y="2202"/>
                  </a:lnTo>
                  <a:lnTo>
                    <a:pt x="359" y="2199"/>
                  </a:lnTo>
                  <a:lnTo>
                    <a:pt x="367" y="2201"/>
                  </a:lnTo>
                  <a:lnTo>
                    <a:pt x="370" y="2199"/>
                  </a:lnTo>
                  <a:lnTo>
                    <a:pt x="370" y="2199"/>
                  </a:lnTo>
                  <a:lnTo>
                    <a:pt x="368" y="2199"/>
                  </a:lnTo>
                  <a:lnTo>
                    <a:pt x="368" y="2198"/>
                  </a:lnTo>
                  <a:lnTo>
                    <a:pt x="374" y="2196"/>
                  </a:lnTo>
                  <a:lnTo>
                    <a:pt x="376" y="2196"/>
                  </a:lnTo>
                  <a:lnTo>
                    <a:pt x="376" y="2195"/>
                  </a:lnTo>
                  <a:lnTo>
                    <a:pt x="374" y="2193"/>
                  </a:lnTo>
                  <a:lnTo>
                    <a:pt x="374" y="2193"/>
                  </a:lnTo>
                  <a:lnTo>
                    <a:pt x="373" y="2193"/>
                  </a:lnTo>
                  <a:lnTo>
                    <a:pt x="373" y="2191"/>
                  </a:lnTo>
                  <a:lnTo>
                    <a:pt x="376" y="2191"/>
                  </a:lnTo>
                  <a:lnTo>
                    <a:pt x="376" y="2191"/>
                  </a:lnTo>
                  <a:lnTo>
                    <a:pt x="378" y="2190"/>
                  </a:lnTo>
                  <a:lnTo>
                    <a:pt x="378" y="2190"/>
                  </a:lnTo>
                  <a:lnTo>
                    <a:pt x="378" y="2191"/>
                  </a:lnTo>
                  <a:lnTo>
                    <a:pt x="378" y="2191"/>
                  </a:lnTo>
                  <a:lnTo>
                    <a:pt x="379" y="2191"/>
                  </a:lnTo>
                  <a:lnTo>
                    <a:pt x="379" y="2187"/>
                  </a:lnTo>
                  <a:lnTo>
                    <a:pt x="376" y="2185"/>
                  </a:lnTo>
                  <a:lnTo>
                    <a:pt x="373" y="2184"/>
                  </a:lnTo>
                  <a:lnTo>
                    <a:pt x="371" y="2182"/>
                  </a:lnTo>
                  <a:lnTo>
                    <a:pt x="371" y="2179"/>
                  </a:lnTo>
                  <a:lnTo>
                    <a:pt x="367" y="2175"/>
                  </a:lnTo>
                  <a:lnTo>
                    <a:pt x="365" y="2171"/>
                  </a:lnTo>
                  <a:lnTo>
                    <a:pt x="370" y="2173"/>
                  </a:lnTo>
                  <a:lnTo>
                    <a:pt x="371" y="2170"/>
                  </a:lnTo>
                  <a:lnTo>
                    <a:pt x="373" y="2171"/>
                  </a:lnTo>
                  <a:lnTo>
                    <a:pt x="373" y="2173"/>
                  </a:lnTo>
                  <a:lnTo>
                    <a:pt x="371" y="2175"/>
                  </a:lnTo>
                  <a:lnTo>
                    <a:pt x="373" y="2175"/>
                  </a:lnTo>
                  <a:lnTo>
                    <a:pt x="373" y="2176"/>
                  </a:lnTo>
                  <a:lnTo>
                    <a:pt x="373" y="2178"/>
                  </a:lnTo>
                  <a:lnTo>
                    <a:pt x="373" y="2179"/>
                  </a:lnTo>
                  <a:lnTo>
                    <a:pt x="374" y="2181"/>
                  </a:lnTo>
                  <a:lnTo>
                    <a:pt x="374" y="2182"/>
                  </a:lnTo>
                  <a:lnTo>
                    <a:pt x="376" y="2182"/>
                  </a:lnTo>
                  <a:lnTo>
                    <a:pt x="376" y="2181"/>
                  </a:lnTo>
                  <a:lnTo>
                    <a:pt x="376" y="2178"/>
                  </a:lnTo>
                  <a:lnTo>
                    <a:pt x="376" y="2176"/>
                  </a:lnTo>
                  <a:lnTo>
                    <a:pt x="378" y="2178"/>
                  </a:lnTo>
                  <a:lnTo>
                    <a:pt x="378" y="2178"/>
                  </a:lnTo>
                  <a:lnTo>
                    <a:pt x="378" y="2179"/>
                  </a:lnTo>
                  <a:lnTo>
                    <a:pt x="378" y="2181"/>
                  </a:lnTo>
                  <a:lnTo>
                    <a:pt x="378" y="2181"/>
                  </a:lnTo>
                  <a:lnTo>
                    <a:pt x="378" y="2181"/>
                  </a:lnTo>
                  <a:lnTo>
                    <a:pt x="379" y="2181"/>
                  </a:lnTo>
                  <a:lnTo>
                    <a:pt x="381" y="2184"/>
                  </a:lnTo>
                  <a:lnTo>
                    <a:pt x="381" y="2185"/>
                  </a:lnTo>
                  <a:lnTo>
                    <a:pt x="382" y="2182"/>
                  </a:lnTo>
                  <a:lnTo>
                    <a:pt x="382" y="2182"/>
                  </a:lnTo>
                  <a:lnTo>
                    <a:pt x="385" y="2185"/>
                  </a:lnTo>
                  <a:lnTo>
                    <a:pt x="387" y="2188"/>
                  </a:lnTo>
                  <a:lnTo>
                    <a:pt x="388" y="2191"/>
                  </a:lnTo>
                  <a:lnTo>
                    <a:pt x="387" y="2193"/>
                  </a:lnTo>
                  <a:lnTo>
                    <a:pt x="385" y="2195"/>
                  </a:lnTo>
                  <a:lnTo>
                    <a:pt x="388" y="2196"/>
                  </a:lnTo>
                  <a:lnTo>
                    <a:pt x="396" y="2196"/>
                  </a:lnTo>
                  <a:lnTo>
                    <a:pt x="398" y="2195"/>
                  </a:lnTo>
                  <a:lnTo>
                    <a:pt x="401" y="2193"/>
                  </a:lnTo>
                  <a:lnTo>
                    <a:pt x="402" y="2190"/>
                  </a:lnTo>
                  <a:lnTo>
                    <a:pt x="401" y="2185"/>
                  </a:lnTo>
                  <a:lnTo>
                    <a:pt x="402" y="2185"/>
                  </a:lnTo>
                  <a:lnTo>
                    <a:pt x="404" y="2187"/>
                  </a:lnTo>
                  <a:lnTo>
                    <a:pt x="404" y="2187"/>
                  </a:lnTo>
                  <a:lnTo>
                    <a:pt x="405" y="2187"/>
                  </a:lnTo>
                  <a:lnTo>
                    <a:pt x="407" y="2184"/>
                  </a:lnTo>
                  <a:lnTo>
                    <a:pt x="408" y="2184"/>
                  </a:lnTo>
                  <a:lnTo>
                    <a:pt x="410" y="2182"/>
                  </a:lnTo>
                  <a:lnTo>
                    <a:pt x="411" y="2182"/>
                  </a:lnTo>
                  <a:lnTo>
                    <a:pt x="411" y="2184"/>
                  </a:lnTo>
                  <a:lnTo>
                    <a:pt x="411" y="2185"/>
                  </a:lnTo>
                  <a:lnTo>
                    <a:pt x="408" y="2187"/>
                  </a:lnTo>
                  <a:lnTo>
                    <a:pt x="408" y="2188"/>
                  </a:lnTo>
                  <a:lnTo>
                    <a:pt x="410" y="2190"/>
                  </a:lnTo>
                  <a:lnTo>
                    <a:pt x="411" y="2188"/>
                  </a:lnTo>
                  <a:lnTo>
                    <a:pt x="415" y="2187"/>
                  </a:lnTo>
                  <a:lnTo>
                    <a:pt x="416" y="2185"/>
                  </a:lnTo>
                  <a:lnTo>
                    <a:pt x="416" y="2184"/>
                  </a:lnTo>
                  <a:lnTo>
                    <a:pt x="416" y="2182"/>
                  </a:lnTo>
                  <a:lnTo>
                    <a:pt x="415" y="2181"/>
                  </a:lnTo>
                  <a:lnTo>
                    <a:pt x="415" y="2181"/>
                  </a:lnTo>
                  <a:lnTo>
                    <a:pt x="415" y="2178"/>
                  </a:lnTo>
                  <a:lnTo>
                    <a:pt x="416" y="2175"/>
                  </a:lnTo>
                  <a:lnTo>
                    <a:pt x="416" y="2173"/>
                  </a:lnTo>
                  <a:lnTo>
                    <a:pt x="416" y="2173"/>
                  </a:lnTo>
                  <a:lnTo>
                    <a:pt x="419" y="2182"/>
                  </a:lnTo>
                  <a:lnTo>
                    <a:pt x="419" y="2184"/>
                  </a:lnTo>
                  <a:lnTo>
                    <a:pt x="419" y="2182"/>
                  </a:lnTo>
                  <a:lnTo>
                    <a:pt x="419" y="2176"/>
                  </a:lnTo>
                  <a:lnTo>
                    <a:pt x="419" y="2173"/>
                  </a:lnTo>
                  <a:lnTo>
                    <a:pt x="421" y="2175"/>
                  </a:lnTo>
                  <a:lnTo>
                    <a:pt x="421" y="2178"/>
                  </a:lnTo>
                  <a:lnTo>
                    <a:pt x="421" y="2179"/>
                  </a:lnTo>
                  <a:lnTo>
                    <a:pt x="422" y="2181"/>
                  </a:lnTo>
                  <a:lnTo>
                    <a:pt x="421" y="2178"/>
                  </a:lnTo>
                  <a:lnTo>
                    <a:pt x="421" y="2173"/>
                  </a:lnTo>
                  <a:lnTo>
                    <a:pt x="421" y="2170"/>
                  </a:lnTo>
                  <a:lnTo>
                    <a:pt x="422" y="2171"/>
                  </a:lnTo>
                  <a:lnTo>
                    <a:pt x="422" y="2170"/>
                  </a:lnTo>
                  <a:lnTo>
                    <a:pt x="422" y="2167"/>
                  </a:lnTo>
                  <a:lnTo>
                    <a:pt x="422" y="2164"/>
                  </a:lnTo>
                  <a:lnTo>
                    <a:pt x="424" y="2161"/>
                  </a:lnTo>
                  <a:lnTo>
                    <a:pt x="424" y="2159"/>
                  </a:lnTo>
                  <a:lnTo>
                    <a:pt x="424" y="2159"/>
                  </a:lnTo>
                  <a:lnTo>
                    <a:pt x="425" y="2158"/>
                  </a:lnTo>
                  <a:lnTo>
                    <a:pt x="427" y="2158"/>
                  </a:lnTo>
                  <a:lnTo>
                    <a:pt x="425" y="2155"/>
                  </a:lnTo>
                  <a:lnTo>
                    <a:pt x="425" y="2155"/>
                  </a:lnTo>
                  <a:lnTo>
                    <a:pt x="425" y="2151"/>
                  </a:lnTo>
                  <a:lnTo>
                    <a:pt x="425" y="2150"/>
                  </a:lnTo>
                  <a:lnTo>
                    <a:pt x="427" y="2150"/>
                  </a:lnTo>
                  <a:lnTo>
                    <a:pt x="430" y="2151"/>
                  </a:lnTo>
                  <a:lnTo>
                    <a:pt x="433" y="2153"/>
                  </a:lnTo>
                  <a:lnTo>
                    <a:pt x="435" y="2153"/>
                  </a:lnTo>
                  <a:lnTo>
                    <a:pt x="435" y="2151"/>
                  </a:lnTo>
                  <a:lnTo>
                    <a:pt x="436" y="2148"/>
                  </a:lnTo>
                  <a:lnTo>
                    <a:pt x="436" y="2147"/>
                  </a:lnTo>
                  <a:lnTo>
                    <a:pt x="438" y="2145"/>
                  </a:lnTo>
                  <a:lnTo>
                    <a:pt x="436" y="2144"/>
                  </a:lnTo>
                  <a:lnTo>
                    <a:pt x="433" y="2141"/>
                  </a:lnTo>
                  <a:lnTo>
                    <a:pt x="431" y="2139"/>
                  </a:lnTo>
                  <a:lnTo>
                    <a:pt x="433" y="2136"/>
                  </a:lnTo>
                  <a:lnTo>
                    <a:pt x="435" y="2133"/>
                  </a:lnTo>
                  <a:lnTo>
                    <a:pt x="435" y="2130"/>
                  </a:lnTo>
                  <a:lnTo>
                    <a:pt x="435" y="2127"/>
                  </a:lnTo>
                  <a:lnTo>
                    <a:pt x="433" y="2125"/>
                  </a:lnTo>
                  <a:lnTo>
                    <a:pt x="427" y="2124"/>
                  </a:lnTo>
                  <a:lnTo>
                    <a:pt x="424" y="2118"/>
                  </a:lnTo>
                  <a:lnTo>
                    <a:pt x="422" y="2116"/>
                  </a:lnTo>
                  <a:lnTo>
                    <a:pt x="421" y="2116"/>
                  </a:lnTo>
                  <a:lnTo>
                    <a:pt x="419" y="2113"/>
                  </a:lnTo>
                  <a:lnTo>
                    <a:pt x="418" y="2110"/>
                  </a:lnTo>
                  <a:lnTo>
                    <a:pt x="416" y="2108"/>
                  </a:lnTo>
                  <a:lnTo>
                    <a:pt x="419" y="2108"/>
                  </a:lnTo>
                  <a:lnTo>
                    <a:pt x="424" y="2111"/>
                  </a:lnTo>
                  <a:lnTo>
                    <a:pt x="427" y="2113"/>
                  </a:lnTo>
                  <a:lnTo>
                    <a:pt x="427" y="2111"/>
                  </a:lnTo>
                  <a:lnTo>
                    <a:pt x="428" y="2108"/>
                  </a:lnTo>
                  <a:lnTo>
                    <a:pt x="428" y="2104"/>
                  </a:lnTo>
                  <a:lnTo>
                    <a:pt x="428" y="2101"/>
                  </a:lnTo>
                  <a:lnTo>
                    <a:pt x="428" y="2096"/>
                  </a:lnTo>
                  <a:lnTo>
                    <a:pt x="427" y="2093"/>
                  </a:lnTo>
                  <a:lnTo>
                    <a:pt x="425" y="2091"/>
                  </a:lnTo>
                  <a:lnTo>
                    <a:pt x="421" y="2088"/>
                  </a:lnTo>
                  <a:lnTo>
                    <a:pt x="421" y="2088"/>
                  </a:lnTo>
                  <a:lnTo>
                    <a:pt x="419" y="2088"/>
                  </a:lnTo>
                  <a:lnTo>
                    <a:pt x="418" y="2087"/>
                  </a:lnTo>
                  <a:lnTo>
                    <a:pt x="416" y="2085"/>
                  </a:lnTo>
                  <a:lnTo>
                    <a:pt x="416" y="2084"/>
                  </a:lnTo>
                  <a:lnTo>
                    <a:pt x="418" y="2082"/>
                  </a:lnTo>
                  <a:lnTo>
                    <a:pt x="419" y="2082"/>
                  </a:lnTo>
                  <a:lnTo>
                    <a:pt x="421" y="2082"/>
                  </a:lnTo>
                  <a:lnTo>
                    <a:pt x="424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5" y="2085"/>
                  </a:lnTo>
                  <a:lnTo>
                    <a:pt x="427" y="2087"/>
                  </a:lnTo>
                  <a:lnTo>
                    <a:pt x="427" y="2087"/>
                  </a:lnTo>
                  <a:lnTo>
                    <a:pt x="428" y="2090"/>
                  </a:lnTo>
                  <a:lnTo>
                    <a:pt x="428" y="2090"/>
                  </a:lnTo>
                  <a:lnTo>
                    <a:pt x="430" y="2091"/>
                  </a:lnTo>
                  <a:lnTo>
                    <a:pt x="430" y="2093"/>
                  </a:lnTo>
                  <a:lnTo>
                    <a:pt x="430" y="2096"/>
                  </a:lnTo>
                  <a:lnTo>
                    <a:pt x="431" y="2101"/>
                  </a:lnTo>
                  <a:lnTo>
                    <a:pt x="431" y="2102"/>
                  </a:lnTo>
                  <a:lnTo>
                    <a:pt x="430" y="2108"/>
                  </a:lnTo>
                  <a:lnTo>
                    <a:pt x="430" y="2111"/>
                  </a:lnTo>
                  <a:lnTo>
                    <a:pt x="431" y="2115"/>
                  </a:lnTo>
                  <a:lnTo>
                    <a:pt x="435" y="2115"/>
                  </a:lnTo>
                  <a:lnTo>
                    <a:pt x="439" y="2111"/>
                  </a:lnTo>
                  <a:lnTo>
                    <a:pt x="444" y="2107"/>
                  </a:lnTo>
                  <a:lnTo>
                    <a:pt x="445" y="2101"/>
                  </a:lnTo>
                  <a:lnTo>
                    <a:pt x="444" y="2099"/>
                  </a:lnTo>
                  <a:lnTo>
                    <a:pt x="444" y="2096"/>
                  </a:lnTo>
                  <a:lnTo>
                    <a:pt x="442" y="2093"/>
                  </a:lnTo>
                  <a:lnTo>
                    <a:pt x="441" y="2091"/>
                  </a:lnTo>
                  <a:lnTo>
                    <a:pt x="439" y="2091"/>
                  </a:lnTo>
                  <a:lnTo>
                    <a:pt x="438" y="2090"/>
                  </a:lnTo>
                  <a:lnTo>
                    <a:pt x="436" y="2087"/>
                  </a:lnTo>
                  <a:lnTo>
                    <a:pt x="436" y="2082"/>
                  </a:lnTo>
                  <a:lnTo>
                    <a:pt x="435" y="2079"/>
                  </a:lnTo>
                  <a:lnTo>
                    <a:pt x="435" y="2074"/>
                  </a:lnTo>
                  <a:lnTo>
                    <a:pt x="436" y="2073"/>
                  </a:lnTo>
                  <a:lnTo>
                    <a:pt x="436" y="2070"/>
                  </a:lnTo>
                  <a:lnTo>
                    <a:pt x="436" y="2068"/>
                  </a:lnTo>
                  <a:lnTo>
                    <a:pt x="435" y="2067"/>
                  </a:lnTo>
                  <a:lnTo>
                    <a:pt x="435" y="2065"/>
                  </a:lnTo>
                  <a:lnTo>
                    <a:pt x="438" y="2062"/>
                  </a:lnTo>
                  <a:lnTo>
                    <a:pt x="439" y="2061"/>
                  </a:lnTo>
                  <a:lnTo>
                    <a:pt x="441" y="2061"/>
                  </a:lnTo>
                  <a:lnTo>
                    <a:pt x="444" y="2061"/>
                  </a:lnTo>
                  <a:lnTo>
                    <a:pt x="444" y="2061"/>
                  </a:lnTo>
                  <a:lnTo>
                    <a:pt x="445" y="2059"/>
                  </a:lnTo>
                  <a:lnTo>
                    <a:pt x="445" y="2059"/>
                  </a:lnTo>
                  <a:lnTo>
                    <a:pt x="448" y="2059"/>
                  </a:lnTo>
                  <a:lnTo>
                    <a:pt x="450" y="2059"/>
                  </a:lnTo>
                  <a:lnTo>
                    <a:pt x="450" y="2058"/>
                  </a:lnTo>
                  <a:lnTo>
                    <a:pt x="450" y="2056"/>
                  </a:lnTo>
                  <a:lnTo>
                    <a:pt x="451" y="2058"/>
                  </a:lnTo>
                  <a:lnTo>
                    <a:pt x="455" y="2059"/>
                  </a:lnTo>
                  <a:lnTo>
                    <a:pt x="455" y="2059"/>
                  </a:lnTo>
                  <a:lnTo>
                    <a:pt x="455" y="2061"/>
                  </a:lnTo>
                  <a:lnTo>
                    <a:pt x="456" y="2065"/>
                  </a:lnTo>
                  <a:lnTo>
                    <a:pt x="455" y="2071"/>
                  </a:lnTo>
                  <a:lnTo>
                    <a:pt x="453" y="2076"/>
                  </a:lnTo>
                  <a:lnTo>
                    <a:pt x="453" y="2082"/>
                  </a:lnTo>
                  <a:lnTo>
                    <a:pt x="451" y="2076"/>
                  </a:lnTo>
                  <a:lnTo>
                    <a:pt x="450" y="2068"/>
                  </a:lnTo>
                  <a:lnTo>
                    <a:pt x="448" y="2064"/>
                  </a:lnTo>
                  <a:lnTo>
                    <a:pt x="445" y="2068"/>
                  </a:lnTo>
                  <a:lnTo>
                    <a:pt x="444" y="2071"/>
                  </a:lnTo>
                  <a:lnTo>
                    <a:pt x="442" y="2078"/>
                  </a:lnTo>
                  <a:lnTo>
                    <a:pt x="441" y="2081"/>
                  </a:lnTo>
                  <a:lnTo>
                    <a:pt x="441" y="2084"/>
                  </a:lnTo>
                  <a:lnTo>
                    <a:pt x="442" y="2088"/>
                  </a:lnTo>
                  <a:lnTo>
                    <a:pt x="444" y="2090"/>
                  </a:lnTo>
                  <a:lnTo>
                    <a:pt x="445" y="2088"/>
                  </a:lnTo>
                  <a:lnTo>
                    <a:pt x="445" y="2093"/>
                  </a:lnTo>
                  <a:lnTo>
                    <a:pt x="445" y="2096"/>
                  </a:lnTo>
                  <a:lnTo>
                    <a:pt x="447" y="2101"/>
                  </a:lnTo>
                  <a:lnTo>
                    <a:pt x="448" y="2104"/>
                  </a:lnTo>
                  <a:lnTo>
                    <a:pt x="447" y="2107"/>
                  </a:lnTo>
                  <a:lnTo>
                    <a:pt x="447" y="2110"/>
                  </a:lnTo>
                  <a:lnTo>
                    <a:pt x="447" y="2113"/>
                  </a:lnTo>
                  <a:lnTo>
                    <a:pt x="448" y="2116"/>
                  </a:lnTo>
                  <a:lnTo>
                    <a:pt x="450" y="2118"/>
                  </a:lnTo>
                  <a:lnTo>
                    <a:pt x="450" y="2119"/>
                  </a:lnTo>
                  <a:lnTo>
                    <a:pt x="450" y="2119"/>
                  </a:lnTo>
                  <a:lnTo>
                    <a:pt x="450" y="2122"/>
                  </a:lnTo>
                  <a:lnTo>
                    <a:pt x="450" y="2124"/>
                  </a:lnTo>
                  <a:lnTo>
                    <a:pt x="450" y="2125"/>
                  </a:lnTo>
                  <a:lnTo>
                    <a:pt x="448" y="2125"/>
                  </a:lnTo>
                  <a:lnTo>
                    <a:pt x="447" y="2125"/>
                  </a:lnTo>
                  <a:lnTo>
                    <a:pt x="448" y="2121"/>
                  </a:lnTo>
                  <a:lnTo>
                    <a:pt x="448" y="2119"/>
                  </a:lnTo>
                  <a:lnTo>
                    <a:pt x="448" y="2118"/>
                  </a:lnTo>
                  <a:lnTo>
                    <a:pt x="447" y="2118"/>
                  </a:lnTo>
                  <a:lnTo>
                    <a:pt x="445" y="2121"/>
                  </a:lnTo>
                  <a:lnTo>
                    <a:pt x="444" y="2124"/>
                  </a:lnTo>
                  <a:lnTo>
                    <a:pt x="444" y="2127"/>
                  </a:lnTo>
                  <a:lnTo>
                    <a:pt x="444" y="2128"/>
                  </a:lnTo>
                  <a:lnTo>
                    <a:pt x="447" y="2130"/>
                  </a:lnTo>
                  <a:lnTo>
                    <a:pt x="448" y="2130"/>
                  </a:lnTo>
                  <a:lnTo>
                    <a:pt x="448" y="2131"/>
                  </a:lnTo>
                  <a:lnTo>
                    <a:pt x="448" y="2133"/>
                  </a:lnTo>
                  <a:lnTo>
                    <a:pt x="447" y="2135"/>
                  </a:lnTo>
                  <a:lnTo>
                    <a:pt x="448" y="2138"/>
                  </a:lnTo>
                  <a:lnTo>
                    <a:pt x="448" y="2141"/>
                  </a:lnTo>
                  <a:lnTo>
                    <a:pt x="450" y="2144"/>
                  </a:lnTo>
                  <a:lnTo>
                    <a:pt x="451" y="2145"/>
                  </a:lnTo>
                  <a:lnTo>
                    <a:pt x="451" y="2144"/>
                  </a:lnTo>
                  <a:lnTo>
                    <a:pt x="453" y="2142"/>
                  </a:lnTo>
                  <a:lnTo>
                    <a:pt x="453" y="2141"/>
                  </a:lnTo>
                  <a:lnTo>
                    <a:pt x="455" y="2142"/>
                  </a:lnTo>
                  <a:lnTo>
                    <a:pt x="455" y="2142"/>
                  </a:lnTo>
                  <a:lnTo>
                    <a:pt x="456" y="2144"/>
                  </a:lnTo>
                  <a:lnTo>
                    <a:pt x="458" y="2144"/>
                  </a:lnTo>
                  <a:lnTo>
                    <a:pt x="456" y="2147"/>
                  </a:lnTo>
                  <a:lnTo>
                    <a:pt x="455" y="2151"/>
                  </a:lnTo>
                  <a:lnTo>
                    <a:pt x="453" y="2155"/>
                  </a:lnTo>
                  <a:lnTo>
                    <a:pt x="455" y="2158"/>
                  </a:lnTo>
                  <a:lnTo>
                    <a:pt x="455" y="2158"/>
                  </a:lnTo>
                  <a:lnTo>
                    <a:pt x="456" y="2155"/>
                  </a:lnTo>
                  <a:lnTo>
                    <a:pt x="456" y="2153"/>
                  </a:lnTo>
                  <a:lnTo>
                    <a:pt x="456" y="2156"/>
                  </a:lnTo>
                  <a:lnTo>
                    <a:pt x="458" y="2159"/>
                  </a:lnTo>
                  <a:lnTo>
                    <a:pt x="458" y="2162"/>
                  </a:lnTo>
                  <a:lnTo>
                    <a:pt x="459" y="2162"/>
                  </a:lnTo>
                  <a:lnTo>
                    <a:pt x="461" y="2165"/>
                  </a:lnTo>
                  <a:lnTo>
                    <a:pt x="462" y="2167"/>
                  </a:lnTo>
                  <a:lnTo>
                    <a:pt x="462" y="2165"/>
                  </a:lnTo>
                  <a:lnTo>
                    <a:pt x="462" y="2164"/>
                  </a:lnTo>
                  <a:lnTo>
                    <a:pt x="462" y="2164"/>
                  </a:lnTo>
                  <a:lnTo>
                    <a:pt x="464" y="2164"/>
                  </a:lnTo>
                  <a:lnTo>
                    <a:pt x="464" y="2162"/>
                  </a:lnTo>
                  <a:lnTo>
                    <a:pt x="465" y="2162"/>
                  </a:lnTo>
                  <a:lnTo>
                    <a:pt x="467" y="2161"/>
                  </a:lnTo>
                  <a:lnTo>
                    <a:pt x="465" y="2164"/>
                  </a:lnTo>
                  <a:lnTo>
                    <a:pt x="467" y="2165"/>
                  </a:lnTo>
                  <a:lnTo>
                    <a:pt x="467" y="2168"/>
                  </a:lnTo>
                  <a:lnTo>
                    <a:pt x="467" y="2168"/>
                  </a:lnTo>
                  <a:lnTo>
                    <a:pt x="468" y="2170"/>
                  </a:lnTo>
                  <a:lnTo>
                    <a:pt x="470" y="2168"/>
                  </a:lnTo>
                  <a:lnTo>
                    <a:pt x="470" y="2165"/>
                  </a:lnTo>
                  <a:lnTo>
                    <a:pt x="468" y="2164"/>
                  </a:lnTo>
                  <a:lnTo>
                    <a:pt x="470" y="2164"/>
                  </a:lnTo>
                  <a:lnTo>
                    <a:pt x="473" y="2164"/>
                  </a:lnTo>
                  <a:lnTo>
                    <a:pt x="473" y="2165"/>
                  </a:lnTo>
                  <a:lnTo>
                    <a:pt x="475" y="2167"/>
                  </a:lnTo>
                  <a:lnTo>
                    <a:pt x="476" y="2167"/>
                  </a:lnTo>
                  <a:lnTo>
                    <a:pt x="476" y="2168"/>
                  </a:lnTo>
                  <a:lnTo>
                    <a:pt x="476" y="2171"/>
                  </a:lnTo>
                  <a:lnTo>
                    <a:pt x="481" y="2171"/>
                  </a:lnTo>
                  <a:lnTo>
                    <a:pt x="481" y="2170"/>
                  </a:lnTo>
                  <a:lnTo>
                    <a:pt x="481" y="2168"/>
                  </a:lnTo>
                  <a:lnTo>
                    <a:pt x="481" y="2164"/>
                  </a:lnTo>
                  <a:lnTo>
                    <a:pt x="481" y="2168"/>
                  </a:lnTo>
                  <a:lnTo>
                    <a:pt x="482" y="2168"/>
                  </a:lnTo>
                  <a:lnTo>
                    <a:pt x="484" y="2168"/>
                  </a:lnTo>
                  <a:lnTo>
                    <a:pt x="484" y="2168"/>
                  </a:lnTo>
                  <a:lnTo>
                    <a:pt x="485" y="2165"/>
                  </a:lnTo>
                  <a:lnTo>
                    <a:pt x="485" y="2164"/>
                  </a:lnTo>
                  <a:lnTo>
                    <a:pt x="484" y="2164"/>
                  </a:lnTo>
                  <a:lnTo>
                    <a:pt x="485" y="2162"/>
                  </a:lnTo>
                  <a:lnTo>
                    <a:pt x="487" y="2161"/>
                  </a:lnTo>
                  <a:lnTo>
                    <a:pt x="487" y="2162"/>
                  </a:lnTo>
                  <a:lnTo>
                    <a:pt x="487" y="2162"/>
                  </a:lnTo>
                  <a:lnTo>
                    <a:pt x="487" y="2164"/>
                  </a:lnTo>
                  <a:lnTo>
                    <a:pt x="487" y="2165"/>
                  </a:lnTo>
                  <a:lnTo>
                    <a:pt x="487" y="2165"/>
                  </a:lnTo>
                  <a:lnTo>
                    <a:pt x="487" y="2167"/>
                  </a:lnTo>
                  <a:lnTo>
                    <a:pt x="488" y="2167"/>
                  </a:lnTo>
                  <a:lnTo>
                    <a:pt x="488" y="2167"/>
                  </a:lnTo>
                  <a:lnTo>
                    <a:pt x="488" y="2167"/>
                  </a:lnTo>
                  <a:lnTo>
                    <a:pt x="488" y="2168"/>
                  </a:lnTo>
                  <a:lnTo>
                    <a:pt x="488" y="2168"/>
                  </a:lnTo>
                  <a:lnTo>
                    <a:pt x="487" y="2168"/>
                  </a:lnTo>
                  <a:lnTo>
                    <a:pt x="487" y="2170"/>
                  </a:lnTo>
                  <a:lnTo>
                    <a:pt x="487" y="2170"/>
                  </a:lnTo>
                  <a:lnTo>
                    <a:pt x="487" y="2173"/>
                  </a:lnTo>
                  <a:lnTo>
                    <a:pt x="490" y="2173"/>
                  </a:lnTo>
                  <a:lnTo>
                    <a:pt x="496" y="2173"/>
                  </a:lnTo>
                  <a:lnTo>
                    <a:pt x="499" y="2173"/>
                  </a:lnTo>
                  <a:lnTo>
                    <a:pt x="501" y="2175"/>
                  </a:lnTo>
                  <a:lnTo>
                    <a:pt x="502" y="2178"/>
                  </a:lnTo>
                  <a:lnTo>
                    <a:pt x="502" y="2179"/>
                  </a:lnTo>
                  <a:lnTo>
                    <a:pt x="504" y="2182"/>
                  </a:lnTo>
                  <a:lnTo>
                    <a:pt x="504" y="2184"/>
                  </a:lnTo>
                  <a:lnTo>
                    <a:pt x="505" y="2190"/>
                  </a:lnTo>
                  <a:lnTo>
                    <a:pt x="505" y="2191"/>
                  </a:lnTo>
                  <a:lnTo>
                    <a:pt x="505" y="2191"/>
                  </a:lnTo>
                  <a:lnTo>
                    <a:pt x="505" y="2191"/>
                  </a:lnTo>
                  <a:lnTo>
                    <a:pt x="507" y="2191"/>
                  </a:lnTo>
                  <a:lnTo>
                    <a:pt x="507" y="2195"/>
                  </a:lnTo>
                  <a:lnTo>
                    <a:pt x="507" y="2204"/>
                  </a:lnTo>
                  <a:lnTo>
                    <a:pt x="510" y="2205"/>
                  </a:lnTo>
                  <a:lnTo>
                    <a:pt x="515" y="2207"/>
                  </a:lnTo>
                  <a:lnTo>
                    <a:pt x="519" y="2205"/>
                  </a:lnTo>
                  <a:lnTo>
                    <a:pt x="522" y="2201"/>
                  </a:lnTo>
                  <a:lnTo>
                    <a:pt x="525" y="2193"/>
                  </a:lnTo>
                  <a:lnTo>
                    <a:pt x="525" y="2190"/>
                  </a:lnTo>
                  <a:lnTo>
                    <a:pt x="527" y="2187"/>
                  </a:lnTo>
                  <a:lnTo>
                    <a:pt x="529" y="2181"/>
                  </a:lnTo>
                  <a:lnTo>
                    <a:pt x="529" y="2176"/>
                  </a:lnTo>
                  <a:lnTo>
                    <a:pt x="530" y="2170"/>
                  </a:lnTo>
                  <a:lnTo>
                    <a:pt x="532" y="2161"/>
                  </a:lnTo>
                  <a:lnTo>
                    <a:pt x="532" y="2158"/>
                  </a:lnTo>
                  <a:lnTo>
                    <a:pt x="533" y="2156"/>
                  </a:lnTo>
                  <a:lnTo>
                    <a:pt x="535" y="2153"/>
                  </a:lnTo>
                  <a:lnTo>
                    <a:pt x="535" y="2153"/>
                  </a:lnTo>
                  <a:lnTo>
                    <a:pt x="535" y="2150"/>
                  </a:lnTo>
                  <a:lnTo>
                    <a:pt x="533" y="2147"/>
                  </a:lnTo>
                  <a:lnTo>
                    <a:pt x="532" y="2138"/>
                  </a:lnTo>
                  <a:lnTo>
                    <a:pt x="524" y="2108"/>
                  </a:lnTo>
                  <a:lnTo>
                    <a:pt x="524" y="2105"/>
                  </a:lnTo>
                  <a:lnTo>
                    <a:pt x="524" y="2101"/>
                  </a:lnTo>
                  <a:lnTo>
                    <a:pt x="525" y="2099"/>
                  </a:lnTo>
                  <a:lnTo>
                    <a:pt x="535" y="2093"/>
                  </a:lnTo>
                  <a:lnTo>
                    <a:pt x="538" y="2091"/>
                  </a:lnTo>
                  <a:lnTo>
                    <a:pt x="539" y="2087"/>
                  </a:lnTo>
                  <a:lnTo>
                    <a:pt x="541" y="2085"/>
                  </a:lnTo>
                  <a:lnTo>
                    <a:pt x="541" y="2082"/>
                  </a:lnTo>
                  <a:lnTo>
                    <a:pt x="541" y="2078"/>
                  </a:lnTo>
                  <a:lnTo>
                    <a:pt x="541" y="2074"/>
                  </a:lnTo>
                  <a:lnTo>
                    <a:pt x="539" y="2073"/>
                  </a:lnTo>
                  <a:lnTo>
                    <a:pt x="539" y="2071"/>
                  </a:lnTo>
                  <a:lnTo>
                    <a:pt x="538" y="2070"/>
                  </a:lnTo>
                  <a:lnTo>
                    <a:pt x="536" y="2067"/>
                  </a:lnTo>
                  <a:lnTo>
                    <a:pt x="536" y="2062"/>
                  </a:lnTo>
                  <a:lnTo>
                    <a:pt x="539" y="2061"/>
                  </a:lnTo>
                  <a:lnTo>
                    <a:pt x="539" y="2059"/>
                  </a:lnTo>
                  <a:lnTo>
                    <a:pt x="544" y="2058"/>
                  </a:lnTo>
                  <a:lnTo>
                    <a:pt x="556" y="2059"/>
                  </a:lnTo>
                  <a:lnTo>
                    <a:pt x="559" y="2058"/>
                  </a:lnTo>
                  <a:lnTo>
                    <a:pt x="570" y="2050"/>
                  </a:lnTo>
                  <a:lnTo>
                    <a:pt x="581" y="2036"/>
                  </a:lnTo>
                  <a:lnTo>
                    <a:pt x="584" y="2031"/>
                  </a:lnTo>
                  <a:lnTo>
                    <a:pt x="585" y="2025"/>
                  </a:lnTo>
                  <a:lnTo>
                    <a:pt x="587" y="2019"/>
                  </a:lnTo>
                  <a:lnTo>
                    <a:pt x="587" y="2014"/>
                  </a:lnTo>
                  <a:lnTo>
                    <a:pt x="585" y="2004"/>
                  </a:lnTo>
                  <a:lnTo>
                    <a:pt x="584" y="1999"/>
                  </a:lnTo>
                  <a:lnTo>
                    <a:pt x="584" y="1996"/>
                  </a:lnTo>
                  <a:lnTo>
                    <a:pt x="585" y="1994"/>
                  </a:lnTo>
                  <a:lnTo>
                    <a:pt x="590" y="1990"/>
                  </a:lnTo>
                  <a:lnTo>
                    <a:pt x="592" y="1987"/>
                  </a:lnTo>
                  <a:lnTo>
                    <a:pt x="592" y="1984"/>
                  </a:lnTo>
                  <a:lnTo>
                    <a:pt x="593" y="1981"/>
                  </a:lnTo>
                  <a:lnTo>
                    <a:pt x="593" y="1974"/>
                  </a:lnTo>
                  <a:lnTo>
                    <a:pt x="593" y="1970"/>
                  </a:lnTo>
                  <a:lnTo>
                    <a:pt x="592" y="1967"/>
                  </a:lnTo>
                  <a:lnTo>
                    <a:pt x="584" y="1945"/>
                  </a:lnTo>
                  <a:lnTo>
                    <a:pt x="576" y="1930"/>
                  </a:lnTo>
                  <a:lnTo>
                    <a:pt x="575" y="1924"/>
                  </a:lnTo>
                  <a:lnTo>
                    <a:pt x="573" y="1919"/>
                  </a:lnTo>
                  <a:lnTo>
                    <a:pt x="572" y="1907"/>
                  </a:lnTo>
                  <a:lnTo>
                    <a:pt x="570" y="1902"/>
                  </a:lnTo>
                  <a:lnTo>
                    <a:pt x="567" y="1896"/>
                  </a:lnTo>
                  <a:lnTo>
                    <a:pt x="567" y="1891"/>
                  </a:lnTo>
                  <a:lnTo>
                    <a:pt x="569" y="1890"/>
                  </a:lnTo>
                  <a:lnTo>
                    <a:pt x="585" y="1885"/>
                  </a:lnTo>
                  <a:lnTo>
                    <a:pt x="590" y="1885"/>
                  </a:lnTo>
                  <a:lnTo>
                    <a:pt x="599" y="1887"/>
                  </a:lnTo>
                  <a:lnTo>
                    <a:pt x="601" y="1885"/>
                  </a:lnTo>
                  <a:lnTo>
                    <a:pt x="601" y="1884"/>
                  </a:lnTo>
                  <a:lnTo>
                    <a:pt x="601" y="1884"/>
                  </a:lnTo>
                  <a:lnTo>
                    <a:pt x="602" y="1873"/>
                  </a:lnTo>
                  <a:lnTo>
                    <a:pt x="602" y="1870"/>
                  </a:lnTo>
                  <a:lnTo>
                    <a:pt x="604" y="1870"/>
                  </a:lnTo>
                  <a:lnTo>
                    <a:pt x="609" y="1860"/>
                  </a:lnTo>
                  <a:lnTo>
                    <a:pt x="610" y="1857"/>
                  </a:lnTo>
                  <a:lnTo>
                    <a:pt x="612" y="1853"/>
                  </a:lnTo>
                  <a:lnTo>
                    <a:pt x="615" y="1839"/>
                  </a:lnTo>
                  <a:lnTo>
                    <a:pt x="615" y="1836"/>
                  </a:lnTo>
                  <a:lnTo>
                    <a:pt x="613" y="1834"/>
                  </a:lnTo>
                  <a:lnTo>
                    <a:pt x="593" y="1808"/>
                  </a:lnTo>
                  <a:lnTo>
                    <a:pt x="592" y="1805"/>
                  </a:lnTo>
                  <a:lnTo>
                    <a:pt x="589" y="1805"/>
                  </a:lnTo>
                  <a:lnTo>
                    <a:pt x="584" y="1803"/>
                  </a:lnTo>
                  <a:lnTo>
                    <a:pt x="581" y="1803"/>
                  </a:lnTo>
                  <a:lnTo>
                    <a:pt x="579" y="1802"/>
                  </a:lnTo>
                  <a:lnTo>
                    <a:pt x="573" y="1794"/>
                  </a:lnTo>
                  <a:lnTo>
                    <a:pt x="570" y="1791"/>
                  </a:lnTo>
                  <a:lnTo>
                    <a:pt x="561" y="1782"/>
                  </a:lnTo>
                  <a:lnTo>
                    <a:pt x="559" y="1780"/>
                  </a:lnTo>
                  <a:lnTo>
                    <a:pt x="565" y="1740"/>
                  </a:lnTo>
                  <a:lnTo>
                    <a:pt x="572" y="1699"/>
                  </a:lnTo>
                  <a:lnTo>
                    <a:pt x="572" y="1693"/>
                  </a:lnTo>
                  <a:lnTo>
                    <a:pt x="572" y="1691"/>
                  </a:lnTo>
                  <a:lnTo>
                    <a:pt x="570" y="1683"/>
                  </a:lnTo>
                  <a:lnTo>
                    <a:pt x="569" y="1682"/>
                  </a:lnTo>
                  <a:lnTo>
                    <a:pt x="555" y="1643"/>
                  </a:lnTo>
                  <a:lnTo>
                    <a:pt x="555" y="1640"/>
                  </a:lnTo>
                  <a:lnTo>
                    <a:pt x="556" y="1636"/>
                  </a:lnTo>
                  <a:lnTo>
                    <a:pt x="558" y="1626"/>
                  </a:lnTo>
                  <a:lnTo>
                    <a:pt x="559" y="1623"/>
                  </a:lnTo>
                  <a:lnTo>
                    <a:pt x="559" y="1619"/>
                  </a:lnTo>
                  <a:lnTo>
                    <a:pt x="555" y="1594"/>
                  </a:lnTo>
                  <a:lnTo>
                    <a:pt x="555" y="1591"/>
                  </a:lnTo>
                  <a:lnTo>
                    <a:pt x="556" y="1588"/>
                  </a:lnTo>
                  <a:lnTo>
                    <a:pt x="564" y="1576"/>
                  </a:lnTo>
                  <a:lnTo>
                    <a:pt x="553" y="1542"/>
                  </a:lnTo>
                  <a:lnTo>
                    <a:pt x="547" y="1528"/>
                  </a:lnTo>
                  <a:lnTo>
                    <a:pt x="564" y="1500"/>
                  </a:lnTo>
                  <a:lnTo>
                    <a:pt x="564" y="1497"/>
                  </a:lnTo>
                  <a:lnTo>
                    <a:pt x="564" y="1494"/>
                  </a:lnTo>
                  <a:lnTo>
                    <a:pt x="561" y="1477"/>
                  </a:lnTo>
                  <a:lnTo>
                    <a:pt x="570" y="1466"/>
                  </a:lnTo>
                  <a:lnTo>
                    <a:pt x="584" y="1442"/>
                  </a:lnTo>
                  <a:lnTo>
                    <a:pt x="599" y="1417"/>
                  </a:lnTo>
                  <a:lnTo>
                    <a:pt x="604" y="1411"/>
                  </a:lnTo>
                  <a:lnTo>
                    <a:pt x="621" y="1398"/>
                  </a:lnTo>
                  <a:lnTo>
                    <a:pt x="639" y="1394"/>
                  </a:lnTo>
                  <a:lnTo>
                    <a:pt x="666" y="1400"/>
                  </a:lnTo>
                  <a:lnTo>
                    <a:pt x="692" y="1408"/>
                  </a:lnTo>
                  <a:lnTo>
                    <a:pt x="695" y="1408"/>
                  </a:lnTo>
                  <a:lnTo>
                    <a:pt x="695" y="1406"/>
                  </a:lnTo>
                  <a:lnTo>
                    <a:pt x="707" y="1380"/>
                  </a:lnTo>
                  <a:lnTo>
                    <a:pt x="709" y="1377"/>
                  </a:lnTo>
                  <a:lnTo>
                    <a:pt x="709" y="1374"/>
                  </a:lnTo>
                  <a:lnTo>
                    <a:pt x="706" y="1334"/>
                  </a:lnTo>
                  <a:lnTo>
                    <a:pt x="704" y="1329"/>
                  </a:lnTo>
                  <a:lnTo>
                    <a:pt x="701" y="1328"/>
                  </a:lnTo>
                  <a:lnTo>
                    <a:pt x="695" y="1326"/>
                  </a:lnTo>
                  <a:lnTo>
                    <a:pt x="692" y="1325"/>
                  </a:lnTo>
                  <a:lnTo>
                    <a:pt x="670" y="1309"/>
                  </a:lnTo>
                  <a:lnTo>
                    <a:pt x="690" y="1274"/>
                  </a:lnTo>
                  <a:lnTo>
                    <a:pt x="710" y="1238"/>
                  </a:lnTo>
                  <a:lnTo>
                    <a:pt x="710" y="1238"/>
                  </a:lnTo>
                  <a:lnTo>
                    <a:pt x="719" y="1221"/>
                  </a:lnTo>
                  <a:lnTo>
                    <a:pt x="721" y="1217"/>
                  </a:lnTo>
                  <a:lnTo>
                    <a:pt x="721" y="1215"/>
                  </a:lnTo>
                  <a:lnTo>
                    <a:pt x="723" y="1215"/>
                  </a:lnTo>
                  <a:lnTo>
                    <a:pt x="724" y="1198"/>
                  </a:lnTo>
                  <a:lnTo>
                    <a:pt x="726" y="1194"/>
                  </a:lnTo>
                  <a:lnTo>
                    <a:pt x="727" y="1191"/>
                  </a:lnTo>
                  <a:lnTo>
                    <a:pt x="733" y="1184"/>
                  </a:lnTo>
                  <a:lnTo>
                    <a:pt x="735" y="1180"/>
                  </a:lnTo>
                  <a:lnTo>
                    <a:pt x="735" y="1172"/>
                  </a:lnTo>
                  <a:lnTo>
                    <a:pt x="735" y="1163"/>
                  </a:lnTo>
                  <a:lnTo>
                    <a:pt x="735" y="1154"/>
                  </a:lnTo>
                  <a:lnTo>
                    <a:pt x="738" y="1110"/>
                  </a:lnTo>
                  <a:lnTo>
                    <a:pt x="740" y="1109"/>
                  </a:lnTo>
                  <a:lnTo>
                    <a:pt x="744" y="1097"/>
                  </a:lnTo>
                  <a:lnTo>
                    <a:pt x="746" y="1094"/>
                  </a:lnTo>
                  <a:lnTo>
                    <a:pt x="744" y="1086"/>
                  </a:lnTo>
                  <a:lnTo>
                    <a:pt x="736" y="1033"/>
                  </a:lnTo>
                  <a:lnTo>
                    <a:pt x="756" y="1032"/>
                  </a:lnTo>
                  <a:lnTo>
                    <a:pt x="775" y="1029"/>
                  </a:lnTo>
                  <a:lnTo>
                    <a:pt x="807" y="1006"/>
                  </a:lnTo>
                  <a:lnTo>
                    <a:pt x="807" y="1004"/>
                  </a:lnTo>
                  <a:lnTo>
                    <a:pt x="807" y="1000"/>
                  </a:lnTo>
                  <a:lnTo>
                    <a:pt x="807" y="993"/>
                  </a:lnTo>
                  <a:lnTo>
                    <a:pt x="807" y="992"/>
                  </a:lnTo>
                  <a:lnTo>
                    <a:pt x="803" y="972"/>
                  </a:lnTo>
                  <a:lnTo>
                    <a:pt x="803" y="966"/>
                  </a:lnTo>
                  <a:lnTo>
                    <a:pt x="821" y="946"/>
                  </a:lnTo>
                  <a:lnTo>
                    <a:pt x="849" y="892"/>
                  </a:lnTo>
                  <a:lnTo>
                    <a:pt x="855" y="883"/>
                  </a:lnTo>
                  <a:lnTo>
                    <a:pt x="869" y="869"/>
                  </a:lnTo>
                  <a:lnTo>
                    <a:pt x="874" y="866"/>
                  </a:lnTo>
                  <a:lnTo>
                    <a:pt x="875" y="864"/>
                  </a:lnTo>
                  <a:lnTo>
                    <a:pt x="877" y="861"/>
                  </a:lnTo>
                  <a:lnTo>
                    <a:pt x="878" y="835"/>
                  </a:lnTo>
                  <a:lnTo>
                    <a:pt x="878" y="832"/>
                  </a:lnTo>
                  <a:lnTo>
                    <a:pt x="855" y="789"/>
                  </a:lnTo>
                  <a:lnTo>
                    <a:pt x="860" y="775"/>
                  </a:lnTo>
                  <a:lnTo>
                    <a:pt x="861" y="773"/>
                  </a:lnTo>
                  <a:lnTo>
                    <a:pt x="874" y="770"/>
                  </a:lnTo>
                  <a:lnTo>
                    <a:pt x="878" y="767"/>
                  </a:lnTo>
                  <a:lnTo>
                    <a:pt x="881" y="762"/>
                  </a:lnTo>
                  <a:lnTo>
                    <a:pt x="889" y="750"/>
                  </a:lnTo>
                  <a:lnTo>
                    <a:pt x="890" y="746"/>
                  </a:lnTo>
                  <a:lnTo>
                    <a:pt x="903" y="701"/>
                  </a:lnTo>
                  <a:lnTo>
                    <a:pt x="904" y="696"/>
                  </a:lnTo>
                  <a:lnTo>
                    <a:pt x="906" y="693"/>
                  </a:lnTo>
                  <a:lnTo>
                    <a:pt x="937" y="669"/>
                  </a:lnTo>
                  <a:lnTo>
                    <a:pt x="943" y="656"/>
                  </a:lnTo>
                  <a:lnTo>
                    <a:pt x="944" y="655"/>
                  </a:lnTo>
                  <a:lnTo>
                    <a:pt x="966" y="669"/>
                  </a:lnTo>
                  <a:lnTo>
                    <a:pt x="987" y="682"/>
                  </a:lnTo>
                  <a:lnTo>
                    <a:pt x="989" y="681"/>
                  </a:lnTo>
                  <a:lnTo>
                    <a:pt x="991" y="678"/>
                  </a:lnTo>
                  <a:lnTo>
                    <a:pt x="994" y="673"/>
                  </a:lnTo>
                  <a:lnTo>
                    <a:pt x="1008" y="644"/>
                  </a:lnTo>
                  <a:lnTo>
                    <a:pt x="1009" y="636"/>
                  </a:lnTo>
                  <a:lnTo>
                    <a:pt x="1004" y="596"/>
                  </a:lnTo>
                  <a:lnTo>
                    <a:pt x="1004" y="590"/>
                  </a:lnTo>
                  <a:lnTo>
                    <a:pt x="1006" y="572"/>
                  </a:lnTo>
                  <a:lnTo>
                    <a:pt x="1006" y="570"/>
                  </a:lnTo>
                  <a:lnTo>
                    <a:pt x="1008" y="568"/>
                  </a:lnTo>
                  <a:lnTo>
                    <a:pt x="1009" y="568"/>
                  </a:lnTo>
                  <a:lnTo>
                    <a:pt x="1028" y="561"/>
                  </a:lnTo>
                  <a:lnTo>
                    <a:pt x="1031" y="562"/>
                  </a:lnTo>
                  <a:lnTo>
                    <a:pt x="1043" y="576"/>
                  </a:lnTo>
                  <a:lnTo>
                    <a:pt x="1048" y="576"/>
                  </a:lnTo>
                  <a:lnTo>
                    <a:pt x="1072" y="575"/>
                  </a:lnTo>
                  <a:lnTo>
                    <a:pt x="1105" y="592"/>
                  </a:lnTo>
                  <a:lnTo>
                    <a:pt x="1138" y="605"/>
                  </a:lnTo>
                  <a:lnTo>
                    <a:pt x="1142" y="605"/>
                  </a:lnTo>
                  <a:lnTo>
                    <a:pt x="1145" y="604"/>
                  </a:lnTo>
                  <a:lnTo>
                    <a:pt x="1162" y="581"/>
                  </a:lnTo>
                  <a:lnTo>
                    <a:pt x="1142" y="567"/>
                  </a:lnTo>
                  <a:lnTo>
                    <a:pt x="1155" y="555"/>
                  </a:lnTo>
                  <a:lnTo>
                    <a:pt x="1162" y="544"/>
                  </a:lnTo>
                  <a:lnTo>
                    <a:pt x="1169" y="521"/>
                  </a:lnTo>
                  <a:lnTo>
                    <a:pt x="1169" y="518"/>
                  </a:lnTo>
                  <a:lnTo>
                    <a:pt x="1171" y="513"/>
                  </a:lnTo>
                  <a:lnTo>
                    <a:pt x="1169" y="495"/>
                  </a:lnTo>
                  <a:lnTo>
                    <a:pt x="1169" y="491"/>
                  </a:lnTo>
                  <a:lnTo>
                    <a:pt x="1151" y="468"/>
                  </a:lnTo>
                  <a:lnTo>
                    <a:pt x="1171" y="467"/>
                  </a:lnTo>
                  <a:lnTo>
                    <a:pt x="1189" y="465"/>
                  </a:lnTo>
                  <a:lnTo>
                    <a:pt x="1197" y="453"/>
                  </a:lnTo>
                  <a:lnTo>
                    <a:pt x="1198" y="451"/>
                  </a:lnTo>
                  <a:lnTo>
                    <a:pt x="1220" y="465"/>
                  </a:lnTo>
                  <a:lnTo>
                    <a:pt x="1223" y="465"/>
                  </a:lnTo>
                  <a:lnTo>
                    <a:pt x="1225" y="464"/>
                  </a:lnTo>
                  <a:lnTo>
                    <a:pt x="1229" y="454"/>
                  </a:lnTo>
                  <a:lnTo>
                    <a:pt x="1220" y="436"/>
                  </a:lnTo>
                  <a:lnTo>
                    <a:pt x="1223" y="428"/>
                  </a:lnTo>
                  <a:lnTo>
                    <a:pt x="1225" y="425"/>
                  </a:lnTo>
                  <a:lnTo>
                    <a:pt x="1225" y="424"/>
                  </a:lnTo>
                  <a:lnTo>
                    <a:pt x="1242" y="411"/>
                  </a:lnTo>
                  <a:lnTo>
                    <a:pt x="1266" y="416"/>
                  </a:lnTo>
                  <a:lnTo>
                    <a:pt x="1268" y="418"/>
                  </a:lnTo>
                  <a:lnTo>
                    <a:pt x="1288" y="459"/>
                  </a:lnTo>
                  <a:lnTo>
                    <a:pt x="1294" y="470"/>
                  </a:lnTo>
                  <a:lnTo>
                    <a:pt x="1305" y="482"/>
                  </a:lnTo>
                  <a:lnTo>
                    <a:pt x="1305" y="485"/>
                  </a:lnTo>
                  <a:lnTo>
                    <a:pt x="1306" y="490"/>
                  </a:lnTo>
                  <a:lnTo>
                    <a:pt x="1308" y="491"/>
                  </a:lnTo>
                  <a:lnTo>
                    <a:pt x="1312" y="502"/>
                  </a:lnTo>
                  <a:lnTo>
                    <a:pt x="1319" y="507"/>
                  </a:lnTo>
                  <a:lnTo>
                    <a:pt x="1320" y="510"/>
                  </a:lnTo>
                  <a:lnTo>
                    <a:pt x="1322" y="528"/>
                  </a:lnTo>
                  <a:lnTo>
                    <a:pt x="1323" y="531"/>
                  </a:lnTo>
                  <a:lnTo>
                    <a:pt x="1325" y="533"/>
                  </a:lnTo>
                  <a:lnTo>
                    <a:pt x="1332" y="530"/>
                  </a:lnTo>
                  <a:lnTo>
                    <a:pt x="1336" y="530"/>
                  </a:lnTo>
                  <a:lnTo>
                    <a:pt x="1337" y="530"/>
                  </a:lnTo>
                  <a:lnTo>
                    <a:pt x="1356" y="539"/>
                  </a:lnTo>
                  <a:lnTo>
                    <a:pt x="1368" y="538"/>
                  </a:lnTo>
                  <a:lnTo>
                    <a:pt x="1373" y="539"/>
                  </a:lnTo>
                  <a:lnTo>
                    <a:pt x="1374" y="541"/>
                  </a:lnTo>
                  <a:lnTo>
                    <a:pt x="1380" y="552"/>
                  </a:lnTo>
                  <a:lnTo>
                    <a:pt x="1382" y="552"/>
                  </a:lnTo>
                  <a:lnTo>
                    <a:pt x="1403" y="538"/>
                  </a:lnTo>
                  <a:lnTo>
                    <a:pt x="1414" y="536"/>
                  </a:lnTo>
                  <a:lnTo>
                    <a:pt x="1422" y="531"/>
                  </a:lnTo>
                  <a:lnTo>
                    <a:pt x="1423" y="524"/>
                  </a:lnTo>
                  <a:lnTo>
                    <a:pt x="1425" y="515"/>
                  </a:lnTo>
                  <a:lnTo>
                    <a:pt x="1431" y="511"/>
                  </a:lnTo>
                  <a:lnTo>
                    <a:pt x="1436" y="511"/>
                  </a:lnTo>
                  <a:lnTo>
                    <a:pt x="1451" y="519"/>
                  </a:lnTo>
                  <a:lnTo>
                    <a:pt x="1454" y="524"/>
                  </a:lnTo>
                  <a:lnTo>
                    <a:pt x="1456" y="525"/>
                  </a:lnTo>
                  <a:lnTo>
                    <a:pt x="1466" y="533"/>
                  </a:lnTo>
                  <a:lnTo>
                    <a:pt x="1477" y="538"/>
                  </a:lnTo>
                  <a:lnTo>
                    <a:pt x="1491" y="542"/>
                  </a:lnTo>
                  <a:lnTo>
                    <a:pt x="1497" y="547"/>
                  </a:lnTo>
                  <a:lnTo>
                    <a:pt x="1503" y="556"/>
                  </a:lnTo>
                  <a:lnTo>
                    <a:pt x="1505" y="562"/>
                  </a:lnTo>
                  <a:lnTo>
                    <a:pt x="1507" y="564"/>
                  </a:lnTo>
                  <a:lnTo>
                    <a:pt x="1508" y="564"/>
                  </a:lnTo>
                  <a:lnTo>
                    <a:pt x="1511" y="561"/>
                  </a:lnTo>
                  <a:lnTo>
                    <a:pt x="1511" y="558"/>
                  </a:lnTo>
                  <a:lnTo>
                    <a:pt x="1513" y="555"/>
                  </a:lnTo>
                  <a:lnTo>
                    <a:pt x="1514" y="552"/>
                  </a:lnTo>
                  <a:lnTo>
                    <a:pt x="1516" y="553"/>
                  </a:lnTo>
                  <a:lnTo>
                    <a:pt x="1520" y="548"/>
                  </a:lnTo>
                  <a:lnTo>
                    <a:pt x="1523" y="548"/>
                  </a:lnTo>
                  <a:lnTo>
                    <a:pt x="1525" y="547"/>
                  </a:lnTo>
                  <a:lnTo>
                    <a:pt x="1525" y="545"/>
                  </a:lnTo>
                  <a:lnTo>
                    <a:pt x="1527" y="541"/>
                  </a:lnTo>
                  <a:lnTo>
                    <a:pt x="1525" y="539"/>
                  </a:lnTo>
                  <a:lnTo>
                    <a:pt x="1525" y="538"/>
                  </a:lnTo>
                  <a:lnTo>
                    <a:pt x="1527" y="538"/>
                  </a:lnTo>
                  <a:lnTo>
                    <a:pt x="1527" y="536"/>
                  </a:lnTo>
                  <a:lnTo>
                    <a:pt x="1527" y="527"/>
                  </a:lnTo>
                  <a:lnTo>
                    <a:pt x="1527" y="522"/>
                  </a:lnTo>
                  <a:lnTo>
                    <a:pt x="1528" y="518"/>
                  </a:lnTo>
                  <a:lnTo>
                    <a:pt x="1531" y="511"/>
                  </a:lnTo>
                  <a:lnTo>
                    <a:pt x="1545" y="499"/>
                  </a:lnTo>
                  <a:lnTo>
                    <a:pt x="1548" y="498"/>
                  </a:lnTo>
                  <a:lnTo>
                    <a:pt x="1551" y="496"/>
                  </a:lnTo>
                  <a:lnTo>
                    <a:pt x="1560" y="499"/>
                  </a:lnTo>
                  <a:lnTo>
                    <a:pt x="1562" y="499"/>
                  </a:lnTo>
                  <a:lnTo>
                    <a:pt x="1565" y="498"/>
                  </a:lnTo>
                  <a:lnTo>
                    <a:pt x="1565" y="495"/>
                  </a:lnTo>
                  <a:lnTo>
                    <a:pt x="1567" y="491"/>
                  </a:lnTo>
                  <a:lnTo>
                    <a:pt x="1568" y="488"/>
                  </a:lnTo>
                  <a:lnTo>
                    <a:pt x="1570" y="485"/>
                  </a:lnTo>
                  <a:lnTo>
                    <a:pt x="1571" y="482"/>
                  </a:lnTo>
                  <a:lnTo>
                    <a:pt x="1571" y="481"/>
                  </a:lnTo>
                  <a:lnTo>
                    <a:pt x="1571" y="478"/>
                  </a:lnTo>
                  <a:lnTo>
                    <a:pt x="1576" y="475"/>
                  </a:lnTo>
                  <a:lnTo>
                    <a:pt x="1576" y="471"/>
                  </a:lnTo>
                  <a:lnTo>
                    <a:pt x="1576" y="470"/>
                  </a:lnTo>
                  <a:lnTo>
                    <a:pt x="1574" y="470"/>
                  </a:lnTo>
                  <a:lnTo>
                    <a:pt x="1573" y="468"/>
                  </a:lnTo>
                  <a:lnTo>
                    <a:pt x="1573" y="467"/>
                  </a:lnTo>
                  <a:lnTo>
                    <a:pt x="1573" y="465"/>
                  </a:lnTo>
                  <a:lnTo>
                    <a:pt x="1573" y="465"/>
                  </a:lnTo>
                  <a:lnTo>
                    <a:pt x="1573" y="464"/>
                  </a:lnTo>
                  <a:lnTo>
                    <a:pt x="1571" y="461"/>
                  </a:lnTo>
                  <a:lnTo>
                    <a:pt x="1571" y="459"/>
                  </a:lnTo>
                  <a:lnTo>
                    <a:pt x="1573" y="458"/>
                  </a:lnTo>
                  <a:lnTo>
                    <a:pt x="1573" y="456"/>
                  </a:lnTo>
                  <a:lnTo>
                    <a:pt x="1573" y="448"/>
                  </a:lnTo>
                  <a:lnTo>
                    <a:pt x="1573" y="448"/>
                  </a:lnTo>
                  <a:lnTo>
                    <a:pt x="1573" y="447"/>
                  </a:lnTo>
                  <a:lnTo>
                    <a:pt x="1573" y="447"/>
                  </a:lnTo>
                  <a:lnTo>
                    <a:pt x="1573" y="445"/>
                  </a:lnTo>
                  <a:lnTo>
                    <a:pt x="1573" y="444"/>
                  </a:lnTo>
                  <a:lnTo>
                    <a:pt x="1573" y="439"/>
                  </a:lnTo>
                  <a:lnTo>
                    <a:pt x="1571" y="439"/>
                  </a:lnTo>
                  <a:lnTo>
                    <a:pt x="1571" y="433"/>
                  </a:lnTo>
                  <a:lnTo>
                    <a:pt x="1571" y="427"/>
                  </a:lnTo>
                  <a:lnTo>
                    <a:pt x="1573" y="410"/>
                  </a:lnTo>
                  <a:lnTo>
                    <a:pt x="1574" y="408"/>
                  </a:lnTo>
                  <a:lnTo>
                    <a:pt x="1580" y="396"/>
                  </a:lnTo>
                  <a:lnTo>
                    <a:pt x="1580" y="394"/>
                  </a:lnTo>
                  <a:lnTo>
                    <a:pt x="1579" y="385"/>
                  </a:lnTo>
                  <a:lnTo>
                    <a:pt x="1580" y="381"/>
                  </a:lnTo>
                  <a:lnTo>
                    <a:pt x="1580" y="379"/>
                  </a:lnTo>
                  <a:lnTo>
                    <a:pt x="1582" y="378"/>
                  </a:lnTo>
                  <a:lnTo>
                    <a:pt x="1582" y="373"/>
                  </a:lnTo>
                  <a:lnTo>
                    <a:pt x="1582" y="370"/>
                  </a:lnTo>
                  <a:lnTo>
                    <a:pt x="1584" y="368"/>
                  </a:lnTo>
                  <a:lnTo>
                    <a:pt x="1584" y="367"/>
                  </a:lnTo>
                  <a:lnTo>
                    <a:pt x="1582" y="365"/>
                  </a:lnTo>
                  <a:lnTo>
                    <a:pt x="1582" y="364"/>
                  </a:lnTo>
                  <a:lnTo>
                    <a:pt x="1584" y="361"/>
                  </a:lnTo>
                  <a:lnTo>
                    <a:pt x="1587" y="357"/>
                  </a:lnTo>
                  <a:lnTo>
                    <a:pt x="1590" y="354"/>
                  </a:lnTo>
                  <a:lnTo>
                    <a:pt x="1591" y="350"/>
                  </a:lnTo>
                  <a:lnTo>
                    <a:pt x="1591" y="345"/>
                  </a:lnTo>
                  <a:lnTo>
                    <a:pt x="1588" y="339"/>
                  </a:lnTo>
                  <a:lnTo>
                    <a:pt x="1588" y="337"/>
                  </a:lnTo>
                  <a:lnTo>
                    <a:pt x="1588" y="336"/>
                  </a:lnTo>
                  <a:lnTo>
                    <a:pt x="1588" y="333"/>
                  </a:lnTo>
                  <a:lnTo>
                    <a:pt x="1588" y="331"/>
                  </a:lnTo>
                  <a:lnTo>
                    <a:pt x="1591" y="328"/>
                  </a:lnTo>
                  <a:lnTo>
                    <a:pt x="1593" y="327"/>
                  </a:lnTo>
                  <a:lnTo>
                    <a:pt x="1604" y="324"/>
                  </a:lnTo>
                  <a:lnTo>
                    <a:pt x="1605" y="322"/>
                  </a:lnTo>
                  <a:lnTo>
                    <a:pt x="1607" y="321"/>
                  </a:lnTo>
                  <a:lnTo>
                    <a:pt x="1607" y="319"/>
                  </a:lnTo>
                  <a:lnTo>
                    <a:pt x="1610" y="313"/>
                  </a:lnTo>
                  <a:lnTo>
                    <a:pt x="1614" y="305"/>
                  </a:lnTo>
                  <a:lnTo>
                    <a:pt x="1622" y="296"/>
                  </a:lnTo>
                  <a:lnTo>
                    <a:pt x="1624" y="291"/>
                  </a:lnTo>
                  <a:lnTo>
                    <a:pt x="1622" y="288"/>
                  </a:lnTo>
                  <a:lnTo>
                    <a:pt x="1624" y="287"/>
                  </a:lnTo>
                  <a:lnTo>
                    <a:pt x="1627" y="282"/>
                  </a:lnTo>
                  <a:lnTo>
                    <a:pt x="1628" y="279"/>
                  </a:lnTo>
                  <a:lnTo>
                    <a:pt x="1630" y="277"/>
                  </a:lnTo>
                  <a:lnTo>
                    <a:pt x="1644" y="274"/>
                  </a:lnTo>
                  <a:lnTo>
                    <a:pt x="1648" y="276"/>
                  </a:lnTo>
                  <a:lnTo>
                    <a:pt x="1654" y="274"/>
                  </a:lnTo>
                  <a:lnTo>
                    <a:pt x="1657" y="274"/>
                  </a:lnTo>
                  <a:lnTo>
                    <a:pt x="1661" y="277"/>
                  </a:lnTo>
                  <a:lnTo>
                    <a:pt x="1664" y="277"/>
                  </a:lnTo>
                  <a:lnTo>
                    <a:pt x="1665" y="277"/>
                  </a:lnTo>
                  <a:lnTo>
                    <a:pt x="1671" y="282"/>
                  </a:lnTo>
                  <a:lnTo>
                    <a:pt x="1673" y="282"/>
                  </a:lnTo>
                  <a:lnTo>
                    <a:pt x="1688" y="276"/>
                  </a:lnTo>
                  <a:lnTo>
                    <a:pt x="1691" y="271"/>
                  </a:lnTo>
                  <a:lnTo>
                    <a:pt x="1690" y="271"/>
                  </a:lnTo>
                  <a:lnTo>
                    <a:pt x="1690" y="270"/>
                  </a:lnTo>
                  <a:lnTo>
                    <a:pt x="1688" y="270"/>
                  </a:lnTo>
                  <a:lnTo>
                    <a:pt x="1690" y="268"/>
                  </a:lnTo>
                  <a:lnTo>
                    <a:pt x="1691" y="267"/>
                  </a:lnTo>
                  <a:lnTo>
                    <a:pt x="1691" y="267"/>
                  </a:lnTo>
                  <a:lnTo>
                    <a:pt x="1693" y="267"/>
                  </a:lnTo>
                  <a:lnTo>
                    <a:pt x="1698" y="260"/>
                  </a:lnTo>
                  <a:lnTo>
                    <a:pt x="1707" y="256"/>
                  </a:lnTo>
                  <a:lnTo>
                    <a:pt x="1707" y="251"/>
                  </a:lnTo>
                  <a:lnTo>
                    <a:pt x="1710" y="247"/>
                  </a:lnTo>
                  <a:lnTo>
                    <a:pt x="1714" y="245"/>
                  </a:lnTo>
                  <a:lnTo>
                    <a:pt x="1724" y="248"/>
                  </a:lnTo>
                  <a:lnTo>
                    <a:pt x="1730" y="244"/>
                  </a:lnTo>
                  <a:lnTo>
                    <a:pt x="1731" y="245"/>
                  </a:lnTo>
                  <a:lnTo>
                    <a:pt x="1734" y="250"/>
                  </a:lnTo>
                  <a:lnTo>
                    <a:pt x="1738" y="259"/>
                  </a:lnTo>
                  <a:lnTo>
                    <a:pt x="1751" y="284"/>
                  </a:lnTo>
                  <a:lnTo>
                    <a:pt x="1753" y="285"/>
                  </a:lnTo>
                  <a:lnTo>
                    <a:pt x="1767" y="291"/>
                  </a:lnTo>
                  <a:lnTo>
                    <a:pt x="1767" y="299"/>
                  </a:lnTo>
                  <a:lnTo>
                    <a:pt x="1770" y="304"/>
                  </a:lnTo>
                  <a:lnTo>
                    <a:pt x="1771" y="305"/>
                  </a:lnTo>
                  <a:lnTo>
                    <a:pt x="1775" y="307"/>
                  </a:lnTo>
                  <a:lnTo>
                    <a:pt x="1799" y="319"/>
                  </a:lnTo>
                  <a:lnTo>
                    <a:pt x="1824" y="331"/>
                  </a:lnTo>
                  <a:lnTo>
                    <a:pt x="1825" y="333"/>
                  </a:lnTo>
                  <a:lnTo>
                    <a:pt x="1828" y="350"/>
                  </a:lnTo>
                  <a:lnTo>
                    <a:pt x="1839" y="376"/>
                  </a:lnTo>
                  <a:lnTo>
                    <a:pt x="1830" y="394"/>
                  </a:lnTo>
                  <a:lnTo>
                    <a:pt x="1804" y="428"/>
                  </a:lnTo>
                  <a:lnTo>
                    <a:pt x="1802" y="430"/>
                  </a:lnTo>
                  <a:lnTo>
                    <a:pt x="1802" y="436"/>
                  </a:lnTo>
                  <a:lnTo>
                    <a:pt x="1801" y="451"/>
                  </a:lnTo>
                  <a:lnTo>
                    <a:pt x="1801" y="454"/>
                  </a:lnTo>
                  <a:lnTo>
                    <a:pt x="1802" y="456"/>
                  </a:lnTo>
                  <a:lnTo>
                    <a:pt x="1810" y="467"/>
                  </a:lnTo>
                  <a:lnTo>
                    <a:pt x="1811" y="465"/>
                  </a:lnTo>
                  <a:lnTo>
                    <a:pt x="1815" y="465"/>
                  </a:lnTo>
                  <a:lnTo>
                    <a:pt x="1819" y="465"/>
                  </a:lnTo>
                  <a:lnTo>
                    <a:pt x="1822" y="464"/>
                  </a:lnTo>
                  <a:lnTo>
                    <a:pt x="1827" y="459"/>
                  </a:lnTo>
                  <a:lnTo>
                    <a:pt x="1830" y="453"/>
                  </a:lnTo>
                  <a:lnTo>
                    <a:pt x="1832" y="448"/>
                  </a:lnTo>
                  <a:lnTo>
                    <a:pt x="1833" y="445"/>
                  </a:lnTo>
                  <a:lnTo>
                    <a:pt x="1833" y="438"/>
                  </a:lnTo>
                  <a:lnTo>
                    <a:pt x="1835" y="436"/>
                  </a:lnTo>
                  <a:lnTo>
                    <a:pt x="1836" y="433"/>
                  </a:lnTo>
                  <a:lnTo>
                    <a:pt x="1836" y="431"/>
                  </a:lnTo>
                  <a:lnTo>
                    <a:pt x="1836" y="430"/>
                  </a:lnTo>
                  <a:lnTo>
                    <a:pt x="1836" y="427"/>
                  </a:lnTo>
                  <a:lnTo>
                    <a:pt x="1836" y="425"/>
                  </a:lnTo>
                  <a:lnTo>
                    <a:pt x="1838" y="424"/>
                  </a:lnTo>
                  <a:lnTo>
                    <a:pt x="1838" y="418"/>
                  </a:lnTo>
                  <a:lnTo>
                    <a:pt x="1839" y="414"/>
                  </a:lnTo>
                  <a:lnTo>
                    <a:pt x="1842" y="410"/>
                  </a:lnTo>
                  <a:lnTo>
                    <a:pt x="1845" y="408"/>
                  </a:lnTo>
                  <a:lnTo>
                    <a:pt x="1859" y="407"/>
                  </a:lnTo>
                  <a:lnTo>
                    <a:pt x="1862" y="405"/>
                  </a:lnTo>
                  <a:lnTo>
                    <a:pt x="1868" y="399"/>
                  </a:lnTo>
                  <a:lnTo>
                    <a:pt x="1870" y="399"/>
                  </a:lnTo>
                  <a:lnTo>
                    <a:pt x="1881" y="398"/>
                  </a:lnTo>
                  <a:lnTo>
                    <a:pt x="1884" y="396"/>
                  </a:lnTo>
                  <a:lnTo>
                    <a:pt x="1885" y="394"/>
                  </a:lnTo>
                  <a:lnTo>
                    <a:pt x="1888" y="390"/>
                  </a:lnTo>
                  <a:lnTo>
                    <a:pt x="1898" y="381"/>
                  </a:lnTo>
                  <a:lnTo>
                    <a:pt x="1898" y="378"/>
                  </a:lnTo>
                  <a:lnTo>
                    <a:pt x="1899" y="376"/>
                  </a:lnTo>
                  <a:lnTo>
                    <a:pt x="1899" y="373"/>
                  </a:lnTo>
                  <a:lnTo>
                    <a:pt x="1899" y="370"/>
                  </a:lnTo>
                  <a:lnTo>
                    <a:pt x="1899" y="367"/>
                  </a:lnTo>
                  <a:lnTo>
                    <a:pt x="1901" y="365"/>
                  </a:lnTo>
                  <a:lnTo>
                    <a:pt x="1902" y="364"/>
                  </a:lnTo>
                  <a:lnTo>
                    <a:pt x="1904" y="362"/>
                  </a:lnTo>
                  <a:lnTo>
                    <a:pt x="1905" y="359"/>
                  </a:lnTo>
                  <a:lnTo>
                    <a:pt x="1905" y="356"/>
                  </a:lnTo>
                  <a:lnTo>
                    <a:pt x="1905" y="351"/>
                  </a:lnTo>
                  <a:lnTo>
                    <a:pt x="1904" y="347"/>
                  </a:lnTo>
                  <a:lnTo>
                    <a:pt x="1904" y="345"/>
                  </a:lnTo>
                  <a:lnTo>
                    <a:pt x="1899" y="342"/>
                  </a:lnTo>
                  <a:lnTo>
                    <a:pt x="1898" y="341"/>
                  </a:lnTo>
                  <a:lnTo>
                    <a:pt x="1896" y="339"/>
                  </a:lnTo>
                  <a:lnTo>
                    <a:pt x="1899" y="339"/>
                  </a:lnTo>
                  <a:lnTo>
                    <a:pt x="1902" y="337"/>
                  </a:lnTo>
                  <a:lnTo>
                    <a:pt x="1905" y="339"/>
                  </a:lnTo>
                  <a:lnTo>
                    <a:pt x="1910" y="342"/>
                  </a:lnTo>
                  <a:lnTo>
                    <a:pt x="1924" y="359"/>
                  </a:lnTo>
                  <a:lnTo>
                    <a:pt x="1925" y="361"/>
                  </a:lnTo>
                  <a:lnTo>
                    <a:pt x="1944" y="364"/>
                  </a:lnTo>
                  <a:lnTo>
                    <a:pt x="1952" y="362"/>
                  </a:lnTo>
                  <a:lnTo>
                    <a:pt x="1955" y="359"/>
                  </a:lnTo>
                  <a:lnTo>
                    <a:pt x="1958" y="351"/>
                  </a:lnTo>
                  <a:lnTo>
                    <a:pt x="1958" y="348"/>
                  </a:lnTo>
                  <a:lnTo>
                    <a:pt x="1958" y="331"/>
                  </a:lnTo>
                  <a:lnTo>
                    <a:pt x="1955" y="328"/>
                  </a:lnTo>
                  <a:lnTo>
                    <a:pt x="1953" y="325"/>
                  </a:lnTo>
                  <a:lnTo>
                    <a:pt x="1953" y="324"/>
                  </a:lnTo>
                  <a:lnTo>
                    <a:pt x="1953" y="321"/>
                  </a:lnTo>
                  <a:lnTo>
                    <a:pt x="1953" y="317"/>
                  </a:lnTo>
                  <a:lnTo>
                    <a:pt x="1953" y="314"/>
                  </a:lnTo>
                  <a:lnTo>
                    <a:pt x="1952" y="311"/>
                  </a:lnTo>
                  <a:lnTo>
                    <a:pt x="1950" y="302"/>
                  </a:lnTo>
                  <a:lnTo>
                    <a:pt x="1947" y="307"/>
                  </a:lnTo>
                  <a:lnTo>
                    <a:pt x="1947" y="307"/>
                  </a:lnTo>
                  <a:lnTo>
                    <a:pt x="1944" y="308"/>
                  </a:lnTo>
                  <a:lnTo>
                    <a:pt x="1942" y="310"/>
                  </a:lnTo>
                  <a:lnTo>
                    <a:pt x="1941" y="310"/>
                  </a:lnTo>
                  <a:lnTo>
                    <a:pt x="1941" y="310"/>
                  </a:lnTo>
                  <a:lnTo>
                    <a:pt x="1941" y="308"/>
                  </a:lnTo>
                  <a:lnTo>
                    <a:pt x="1941" y="305"/>
                  </a:lnTo>
                  <a:lnTo>
                    <a:pt x="1942" y="305"/>
                  </a:lnTo>
                  <a:lnTo>
                    <a:pt x="1941" y="302"/>
                  </a:lnTo>
                  <a:lnTo>
                    <a:pt x="1924" y="301"/>
                  </a:lnTo>
                  <a:lnTo>
                    <a:pt x="1922" y="302"/>
                  </a:lnTo>
                  <a:lnTo>
                    <a:pt x="1922" y="307"/>
                  </a:lnTo>
                  <a:lnTo>
                    <a:pt x="1922" y="308"/>
                  </a:lnTo>
                  <a:lnTo>
                    <a:pt x="1922" y="310"/>
                  </a:lnTo>
                  <a:lnTo>
                    <a:pt x="1922" y="311"/>
                  </a:lnTo>
                  <a:lnTo>
                    <a:pt x="1922" y="314"/>
                  </a:lnTo>
                  <a:lnTo>
                    <a:pt x="1922" y="316"/>
                  </a:lnTo>
                  <a:lnTo>
                    <a:pt x="1922" y="316"/>
                  </a:lnTo>
                  <a:lnTo>
                    <a:pt x="1922" y="317"/>
                  </a:lnTo>
                  <a:lnTo>
                    <a:pt x="1921" y="319"/>
                  </a:lnTo>
                  <a:lnTo>
                    <a:pt x="1921" y="319"/>
                  </a:lnTo>
                  <a:lnTo>
                    <a:pt x="1922" y="322"/>
                  </a:lnTo>
                  <a:lnTo>
                    <a:pt x="1921" y="328"/>
                  </a:lnTo>
                  <a:lnTo>
                    <a:pt x="1921" y="330"/>
                  </a:lnTo>
                  <a:lnTo>
                    <a:pt x="1919" y="331"/>
                  </a:lnTo>
                  <a:lnTo>
                    <a:pt x="1915" y="333"/>
                  </a:lnTo>
                  <a:lnTo>
                    <a:pt x="1913" y="331"/>
                  </a:lnTo>
                  <a:lnTo>
                    <a:pt x="1916" y="330"/>
                  </a:lnTo>
                  <a:lnTo>
                    <a:pt x="1919" y="325"/>
                  </a:lnTo>
                  <a:lnTo>
                    <a:pt x="1919" y="317"/>
                  </a:lnTo>
                  <a:lnTo>
                    <a:pt x="1919" y="308"/>
                  </a:lnTo>
                  <a:lnTo>
                    <a:pt x="1919" y="308"/>
                  </a:lnTo>
                  <a:lnTo>
                    <a:pt x="1918" y="304"/>
                  </a:lnTo>
                  <a:lnTo>
                    <a:pt x="1918" y="301"/>
                  </a:lnTo>
                  <a:lnTo>
                    <a:pt x="1918" y="299"/>
                  </a:lnTo>
                  <a:lnTo>
                    <a:pt x="1918" y="297"/>
                  </a:lnTo>
                  <a:lnTo>
                    <a:pt x="1918" y="296"/>
                  </a:lnTo>
                  <a:lnTo>
                    <a:pt x="1916" y="294"/>
                  </a:lnTo>
                  <a:lnTo>
                    <a:pt x="1910" y="296"/>
                  </a:lnTo>
                  <a:lnTo>
                    <a:pt x="1909" y="294"/>
                  </a:lnTo>
                  <a:lnTo>
                    <a:pt x="1912" y="291"/>
                  </a:lnTo>
                  <a:lnTo>
                    <a:pt x="1912" y="290"/>
                  </a:lnTo>
                  <a:lnTo>
                    <a:pt x="1910" y="287"/>
                  </a:lnTo>
                  <a:lnTo>
                    <a:pt x="1910" y="285"/>
                  </a:lnTo>
                  <a:lnTo>
                    <a:pt x="1905" y="287"/>
                  </a:lnTo>
                  <a:lnTo>
                    <a:pt x="1901" y="287"/>
                  </a:lnTo>
                  <a:lnTo>
                    <a:pt x="1901" y="290"/>
                  </a:lnTo>
                  <a:lnTo>
                    <a:pt x="1901" y="294"/>
                  </a:lnTo>
                  <a:lnTo>
                    <a:pt x="1901" y="299"/>
                  </a:lnTo>
                  <a:lnTo>
                    <a:pt x="1899" y="302"/>
                  </a:lnTo>
                  <a:lnTo>
                    <a:pt x="1901" y="304"/>
                  </a:lnTo>
                  <a:lnTo>
                    <a:pt x="1902" y="305"/>
                  </a:lnTo>
                  <a:lnTo>
                    <a:pt x="1904" y="307"/>
                  </a:lnTo>
                  <a:lnTo>
                    <a:pt x="1904" y="310"/>
                  </a:lnTo>
                  <a:lnTo>
                    <a:pt x="1902" y="311"/>
                  </a:lnTo>
                  <a:lnTo>
                    <a:pt x="1898" y="313"/>
                  </a:lnTo>
                  <a:lnTo>
                    <a:pt x="1896" y="313"/>
                  </a:lnTo>
                  <a:lnTo>
                    <a:pt x="1898" y="316"/>
                  </a:lnTo>
                  <a:lnTo>
                    <a:pt x="1901" y="324"/>
                  </a:lnTo>
                  <a:lnTo>
                    <a:pt x="1901" y="325"/>
                  </a:lnTo>
                  <a:lnTo>
                    <a:pt x="1902" y="327"/>
                  </a:lnTo>
                  <a:lnTo>
                    <a:pt x="1902" y="328"/>
                  </a:lnTo>
                  <a:lnTo>
                    <a:pt x="1901" y="328"/>
                  </a:lnTo>
                  <a:lnTo>
                    <a:pt x="1896" y="324"/>
                  </a:lnTo>
                  <a:lnTo>
                    <a:pt x="1896" y="322"/>
                  </a:lnTo>
                  <a:lnTo>
                    <a:pt x="1895" y="317"/>
                  </a:lnTo>
                  <a:lnTo>
                    <a:pt x="1893" y="317"/>
                  </a:lnTo>
                  <a:lnTo>
                    <a:pt x="1890" y="321"/>
                  </a:lnTo>
                  <a:lnTo>
                    <a:pt x="1887" y="322"/>
                  </a:lnTo>
                  <a:lnTo>
                    <a:pt x="1884" y="324"/>
                  </a:lnTo>
                  <a:lnTo>
                    <a:pt x="1884" y="328"/>
                  </a:lnTo>
                  <a:lnTo>
                    <a:pt x="1884" y="324"/>
                  </a:lnTo>
                  <a:lnTo>
                    <a:pt x="1885" y="322"/>
                  </a:lnTo>
                  <a:lnTo>
                    <a:pt x="1888" y="321"/>
                  </a:lnTo>
                  <a:lnTo>
                    <a:pt x="1890" y="317"/>
                  </a:lnTo>
                  <a:lnTo>
                    <a:pt x="1892" y="313"/>
                  </a:lnTo>
                  <a:lnTo>
                    <a:pt x="1893" y="310"/>
                  </a:lnTo>
                  <a:lnTo>
                    <a:pt x="1890" y="310"/>
                  </a:lnTo>
                  <a:lnTo>
                    <a:pt x="1887" y="311"/>
                  </a:lnTo>
                  <a:lnTo>
                    <a:pt x="1881" y="317"/>
                  </a:lnTo>
                  <a:lnTo>
                    <a:pt x="1881" y="317"/>
                  </a:lnTo>
                  <a:lnTo>
                    <a:pt x="1875" y="316"/>
                  </a:lnTo>
                  <a:lnTo>
                    <a:pt x="1867" y="316"/>
                  </a:lnTo>
                  <a:lnTo>
                    <a:pt x="1864" y="317"/>
                  </a:lnTo>
                  <a:lnTo>
                    <a:pt x="1856" y="327"/>
                  </a:lnTo>
                  <a:lnTo>
                    <a:pt x="1853" y="331"/>
                  </a:lnTo>
                  <a:lnTo>
                    <a:pt x="1853" y="333"/>
                  </a:lnTo>
                  <a:lnTo>
                    <a:pt x="1850" y="334"/>
                  </a:lnTo>
                  <a:lnTo>
                    <a:pt x="1852" y="330"/>
                  </a:lnTo>
                  <a:lnTo>
                    <a:pt x="1853" y="327"/>
                  </a:lnTo>
                  <a:lnTo>
                    <a:pt x="1855" y="324"/>
                  </a:lnTo>
                  <a:lnTo>
                    <a:pt x="1852" y="324"/>
                  </a:lnTo>
                  <a:lnTo>
                    <a:pt x="1853" y="322"/>
                  </a:lnTo>
                  <a:lnTo>
                    <a:pt x="1856" y="322"/>
                  </a:lnTo>
                  <a:lnTo>
                    <a:pt x="1858" y="321"/>
                  </a:lnTo>
                  <a:lnTo>
                    <a:pt x="1859" y="319"/>
                  </a:lnTo>
                  <a:lnTo>
                    <a:pt x="1859" y="316"/>
                  </a:lnTo>
                  <a:lnTo>
                    <a:pt x="1861" y="314"/>
                  </a:lnTo>
                  <a:lnTo>
                    <a:pt x="1862" y="313"/>
                  </a:lnTo>
                  <a:lnTo>
                    <a:pt x="1862" y="311"/>
                  </a:lnTo>
                  <a:lnTo>
                    <a:pt x="1862" y="310"/>
                  </a:lnTo>
                  <a:lnTo>
                    <a:pt x="1865" y="305"/>
                  </a:lnTo>
                  <a:lnTo>
                    <a:pt x="1868" y="304"/>
                  </a:lnTo>
                  <a:lnTo>
                    <a:pt x="1870" y="297"/>
                  </a:lnTo>
                  <a:lnTo>
                    <a:pt x="1872" y="296"/>
                  </a:lnTo>
                  <a:lnTo>
                    <a:pt x="1868" y="290"/>
                  </a:lnTo>
                  <a:lnTo>
                    <a:pt x="1868" y="287"/>
                  </a:lnTo>
                  <a:lnTo>
                    <a:pt x="1868" y="285"/>
                  </a:lnTo>
                  <a:lnTo>
                    <a:pt x="1868" y="284"/>
                  </a:lnTo>
                  <a:lnTo>
                    <a:pt x="1868" y="280"/>
                  </a:lnTo>
                  <a:lnTo>
                    <a:pt x="1867" y="279"/>
                  </a:lnTo>
                  <a:lnTo>
                    <a:pt x="1864" y="282"/>
                  </a:lnTo>
                  <a:lnTo>
                    <a:pt x="1861" y="280"/>
                  </a:lnTo>
                  <a:lnTo>
                    <a:pt x="1859" y="282"/>
                  </a:lnTo>
                  <a:lnTo>
                    <a:pt x="1858" y="282"/>
                  </a:lnTo>
                  <a:lnTo>
                    <a:pt x="1856" y="280"/>
                  </a:lnTo>
                  <a:lnTo>
                    <a:pt x="1856" y="279"/>
                  </a:lnTo>
                  <a:lnTo>
                    <a:pt x="1855" y="279"/>
                  </a:lnTo>
                  <a:lnTo>
                    <a:pt x="1853" y="279"/>
                  </a:lnTo>
                  <a:lnTo>
                    <a:pt x="1852" y="280"/>
                  </a:lnTo>
                  <a:lnTo>
                    <a:pt x="1848" y="285"/>
                  </a:lnTo>
                  <a:lnTo>
                    <a:pt x="1845" y="290"/>
                  </a:lnTo>
                  <a:lnTo>
                    <a:pt x="1844" y="291"/>
                  </a:lnTo>
                  <a:lnTo>
                    <a:pt x="1841" y="291"/>
                  </a:lnTo>
                  <a:lnTo>
                    <a:pt x="1842" y="290"/>
                  </a:lnTo>
                  <a:lnTo>
                    <a:pt x="1844" y="288"/>
                  </a:lnTo>
                  <a:lnTo>
                    <a:pt x="1844" y="288"/>
                  </a:lnTo>
                  <a:lnTo>
                    <a:pt x="1844" y="287"/>
                  </a:lnTo>
                  <a:lnTo>
                    <a:pt x="1844" y="285"/>
                  </a:lnTo>
                  <a:lnTo>
                    <a:pt x="1845" y="285"/>
                  </a:lnTo>
                  <a:lnTo>
                    <a:pt x="1847" y="282"/>
                  </a:lnTo>
                  <a:lnTo>
                    <a:pt x="1850" y="280"/>
                  </a:lnTo>
                  <a:lnTo>
                    <a:pt x="1853" y="277"/>
                  </a:lnTo>
                  <a:lnTo>
                    <a:pt x="1856" y="274"/>
                  </a:lnTo>
                  <a:lnTo>
                    <a:pt x="1862" y="268"/>
                  </a:lnTo>
                  <a:lnTo>
                    <a:pt x="1865" y="267"/>
                  </a:lnTo>
                  <a:lnTo>
                    <a:pt x="1842" y="259"/>
                  </a:lnTo>
                  <a:lnTo>
                    <a:pt x="1839" y="257"/>
                  </a:lnTo>
                  <a:lnTo>
                    <a:pt x="1825" y="259"/>
                  </a:lnTo>
                  <a:lnTo>
                    <a:pt x="1824" y="257"/>
                  </a:lnTo>
                  <a:lnTo>
                    <a:pt x="1827" y="253"/>
                  </a:lnTo>
                  <a:lnTo>
                    <a:pt x="1828" y="253"/>
                  </a:lnTo>
                  <a:lnTo>
                    <a:pt x="1827" y="251"/>
                  </a:lnTo>
                  <a:lnTo>
                    <a:pt x="1825" y="251"/>
                  </a:lnTo>
                  <a:lnTo>
                    <a:pt x="1822" y="251"/>
                  </a:lnTo>
                  <a:lnTo>
                    <a:pt x="1824" y="250"/>
                  </a:lnTo>
                  <a:lnTo>
                    <a:pt x="1824" y="248"/>
                  </a:lnTo>
                  <a:lnTo>
                    <a:pt x="1813" y="248"/>
                  </a:lnTo>
                  <a:lnTo>
                    <a:pt x="1808" y="245"/>
                  </a:lnTo>
                  <a:lnTo>
                    <a:pt x="1793" y="242"/>
                  </a:lnTo>
                  <a:lnTo>
                    <a:pt x="1796" y="240"/>
                  </a:lnTo>
                  <a:lnTo>
                    <a:pt x="1802" y="240"/>
                  </a:lnTo>
                  <a:lnTo>
                    <a:pt x="1802" y="239"/>
                  </a:lnTo>
                  <a:lnTo>
                    <a:pt x="1801" y="239"/>
                  </a:lnTo>
                  <a:lnTo>
                    <a:pt x="1798" y="236"/>
                  </a:lnTo>
                  <a:lnTo>
                    <a:pt x="1796" y="236"/>
                  </a:lnTo>
                  <a:lnTo>
                    <a:pt x="1793" y="239"/>
                  </a:lnTo>
                  <a:lnTo>
                    <a:pt x="1788" y="239"/>
                  </a:lnTo>
                  <a:lnTo>
                    <a:pt x="1785" y="237"/>
                  </a:lnTo>
                  <a:lnTo>
                    <a:pt x="1785" y="234"/>
                  </a:lnTo>
                  <a:lnTo>
                    <a:pt x="1787" y="234"/>
                  </a:lnTo>
                  <a:lnTo>
                    <a:pt x="1790" y="231"/>
                  </a:lnTo>
                  <a:lnTo>
                    <a:pt x="1793" y="228"/>
                  </a:lnTo>
                  <a:lnTo>
                    <a:pt x="1795" y="224"/>
                  </a:lnTo>
                  <a:lnTo>
                    <a:pt x="1784" y="225"/>
                  </a:lnTo>
                  <a:lnTo>
                    <a:pt x="1785" y="222"/>
                  </a:lnTo>
                  <a:lnTo>
                    <a:pt x="1788" y="220"/>
                  </a:lnTo>
                  <a:lnTo>
                    <a:pt x="1810" y="228"/>
                  </a:lnTo>
                  <a:lnTo>
                    <a:pt x="1830" y="234"/>
                  </a:lnTo>
                  <a:lnTo>
                    <a:pt x="1830" y="234"/>
                  </a:lnTo>
                  <a:lnTo>
                    <a:pt x="1865" y="240"/>
                  </a:lnTo>
                  <a:lnTo>
                    <a:pt x="1899" y="245"/>
                  </a:lnTo>
                  <a:lnTo>
                    <a:pt x="1898" y="245"/>
                  </a:lnTo>
                  <a:lnTo>
                    <a:pt x="1896" y="244"/>
                  </a:lnTo>
                  <a:lnTo>
                    <a:pt x="1898" y="242"/>
                  </a:lnTo>
                  <a:lnTo>
                    <a:pt x="1899" y="240"/>
                  </a:lnTo>
                  <a:lnTo>
                    <a:pt x="1912" y="234"/>
                  </a:lnTo>
                  <a:lnTo>
                    <a:pt x="1915" y="233"/>
                  </a:lnTo>
                  <a:lnTo>
                    <a:pt x="1916" y="227"/>
                  </a:lnTo>
                  <a:lnTo>
                    <a:pt x="1915" y="225"/>
                  </a:lnTo>
                  <a:lnTo>
                    <a:pt x="1915" y="224"/>
                  </a:lnTo>
                  <a:lnTo>
                    <a:pt x="1916" y="220"/>
                  </a:lnTo>
                  <a:lnTo>
                    <a:pt x="1918" y="217"/>
                  </a:lnTo>
                  <a:lnTo>
                    <a:pt x="1924" y="216"/>
                  </a:lnTo>
                  <a:lnTo>
                    <a:pt x="1927" y="213"/>
                  </a:lnTo>
                  <a:lnTo>
                    <a:pt x="1927" y="208"/>
                  </a:lnTo>
                  <a:lnTo>
                    <a:pt x="1929" y="207"/>
                  </a:lnTo>
                  <a:lnTo>
                    <a:pt x="1958" y="203"/>
                  </a:lnTo>
                  <a:lnTo>
                    <a:pt x="1966" y="199"/>
                  </a:lnTo>
                  <a:lnTo>
                    <a:pt x="1969" y="199"/>
                  </a:lnTo>
                  <a:lnTo>
                    <a:pt x="1967" y="194"/>
                  </a:lnTo>
                  <a:close/>
                  <a:moveTo>
                    <a:pt x="1537" y="33"/>
                  </a:moveTo>
                  <a:lnTo>
                    <a:pt x="1539" y="36"/>
                  </a:lnTo>
                  <a:lnTo>
                    <a:pt x="1540" y="36"/>
                  </a:lnTo>
                  <a:lnTo>
                    <a:pt x="1550" y="31"/>
                  </a:lnTo>
                  <a:lnTo>
                    <a:pt x="1551" y="31"/>
                  </a:lnTo>
                  <a:lnTo>
                    <a:pt x="1553" y="33"/>
                  </a:lnTo>
                  <a:lnTo>
                    <a:pt x="1557" y="34"/>
                  </a:lnTo>
                  <a:lnTo>
                    <a:pt x="1556" y="37"/>
                  </a:lnTo>
                  <a:lnTo>
                    <a:pt x="1547" y="42"/>
                  </a:lnTo>
                  <a:lnTo>
                    <a:pt x="1550" y="43"/>
                  </a:lnTo>
                  <a:lnTo>
                    <a:pt x="1553" y="46"/>
                  </a:lnTo>
                  <a:lnTo>
                    <a:pt x="1554" y="51"/>
                  </a:lnTo>
                  <a:lnTo>
                    <a:pt x="1556" y="53"/>
                  </a:lnTo>
                  <a:lnTo>
                    <a:pt x="1557" y="54"/>
                  </a:lnTo>
                  <a:lnTo>
                    <a:pt x="1560" y="53"/>
                  </a:lnTo>
                  <a:lnTo>
                    <a:pt x="1565" y="50"/>
                  </a:lnTo>
                  <a:lnTo>
                    <a:pt x="1571" y="51"/>
                  </a:lnTo>
                  <a:lnTo>
                    <a:pt x="1571" y="50"/>
                  </a:lnTo>
                  <a:lnTo>
                    <a:pt x="1571" y="50"/>
                  </a:lnTo>
                  <a:lnTo>
                    <a:pt x="1570" y="48"/>
                  </a:lnTo>
                  <a:lnTo>
                    <a:pt x="1570" y="43"/>
                  </a:lnTo>
                  <a:lnTo>
                    <a:pt x="1571" y="43"/>
                  </a:lnTo>
                  <a:lnTo>
                    <a:pt x="1576" y="46"/>
                  </a:lnTo>
                  <a:lnTo>
                    <a:pt x="1584" y="46"/>
                  </a:lnTo>
                  <a:lnTo>
                    <a:pt x="1585" y="45"/>
                  </a:lnTo>
                  <a:lnTo>
                    <a:pt x="1587" y="43"/>
                  </a:lnTo>
                  <a:lnTo>
                    <a:pt x="1588" y="43"/>
                  </a:lnTo>
                  <a:lnTo>
                    <a:pt x="1596" y="43"/>
                  </a:lnTo>
                  <a:lnTo>
                    <a:pt x="1597" y="42"/>
                  </a:lnTo>
                  <a:lnTo>
                    <a:pt x="1597" y="40"/>
                  </a:lnTo>
                  <a:lnTo>
                    <a:pt x="1599" y="39"/>
                  </a:lnTo>
                  <a:lnTo>
                    <a:pt x="1604" y="37"/>
                  </a:lnTo>
                  <a:lnTo>
                    <a:pt x="1605" y="34"/>
                  </a:lnTo>
                  <a:lnTo>
                    <a:pt x="1607" y="31"/>
                  </a:lnTo>
                  <a:lnTo>
                    <a:pt x="1605" y="26"/>
                  </a:lnTo>
                  <a:lnTo>
                    <a:pt x="1604" y="26"/>
                  </a:lnTo>
                  <a:lnTo>
                    <a:pt x="1600" y="29"/>
                  </a:lnTo>
                  <a:lnTo>
                    <a:pt x="1599" y="29"/>
                  </a:lnTo>
                  <a:lnTo>
                    <a:pt x="1596" y="36"/>
                  </a:lnTo>
                  <a:lnTo>
                    <a:pt x="1594" y="37"/>
                  </a:lnTo>
                  <a:lnTo>
                    <a:pt x="1593" y="37"/>
                  </a:lnTo>
                  <a:lnTo>
                    <a:pt x="1590" y="39"/>
                  </a:lnTo>
                  <a:lnTo>
                    <a:pt x="1587" y="37"/>
                  </a:lnTo>
                  <a:lnTo>
                    <a:pt x="1585" y="36"/>
                  </a:lnTo>
                  <a:lnTo>
                    <a:pt x="1585" y="36"/>
                  </a:lnTo>
                  <a:lnTo>
                    <a:pt x="1588" y="34"/>
                  </a:lnTo>
                  <a:lnTo>
                    <a:pt x="1588" y="29"/>
                  </a:lnTo>
                  <a:lnTo>
                    <a:pt x="1587" y="29"/>
                  </a:lnTo>
                  <a:lnTo>
                    <a:pt x="1585" y="28"/>
                  </a:lnTo>
                  <a:lnTo>
                    <a:pt x="1584" y="28"/>
                  </a:lnTo>
                  <a:lnTo>
                    <a:pt x="1582" y="26"/>
                  </a:lnTo>
                  <a:lnTo>
                    <a:pt x="1585" y="25"/>
                  </a:lnTo>
                  <a:lnTo>
                    <a:pt x="1590" y="22"/>
                  </a:lnTo>
                  <a:lnTo>
                    <a:pt x="1593" y="17"/>
                  </a:lnTo>
                  <a:lnTo>
                    <a:pt x="1593" y="11"/>
                  </a:lnTo>
                  <a:lnTo>
                    <a:pt x="1591" y="9"/>
                  </a:lnTo>
                  <a:lnTo>
                    <a:pt x="1587" y="13"/>
                  </a:lnTo>
                  <a:lnTo>
                    <a:pt x="1585" y="13"/>
                  </a:lnTo>
                  <a:lnTo>
                    <a:pt x="1585" y="13"/>
                  </a:lnTo>
                  <a:lnTo>
                    <a:pt x="1582" y="16"/>
                  </a:lnTo>
                  <a:lnTo>
                    <a:pt x="1582" y="16"/>
                  </a:lnTo>
                  <a:lnTo>
                    <a:pt x="1582" y="11"/>
                  </a:lnTo>
                  <a:lnTo>
                    <a:pt x="1580" y="13"/>
                  </a:lnTo>
                  <a:lnTo>
                    <a:pt x="1576" y="16"/>
                  </a:lnTo>
                  <a:lnTo>
                    <a:pt x="1574" y="14"/>
                  </a:lnTo>
                  <a:lnTo>
                    <a:pt x="1574" y="13"/>
                  </a:lnTo>
                  <a:lnTo>
                    <a:pt x="1576" y="5"/>
                  </a:lnTo>
                  <a:lnTo>
                    <a:pt x="1576" y="2"/>
                  </a:lnTo>
                  <a:lnTo>
                    <a:pt x="1567" y="5"/>
                  </a:lnTo>
                  <a:lnTo>
                    <a:pt x="1567" y="0"/>
                  </a:lnTo>
                  <a:lnTo>
                    <a:pt x="1565" y="0"/>
                  </a:lnTo>
                  <a:lnTo>
                    <a:pt x="1565" y="0"/>
                  </a:lnTo>
                  <a:lnTo>
                    <a:pt x="1564" y="2"/>
                  </a:lnTo>
                  <a:lnTo>
                    <a:pt x="1562" y="3"/>
                  </a:lnTo>
                  <a:lnTo>
                    <a:pt x="1560" y="5"/>
                  </a:lnTo>
                  <a:lnTo>
                    <a:pt x="1557" y="3"/>
                  </a:lnTo>
                  <a:lnTo>
                    <a:pt x="1557" y="5"/>
                  </a:lnTo>
                  <a:lnTo>
                    <a:pt x="1567" y="17"/>
                  </a:lnTo>
                  <a:lnTo>
                    <a:pt x="1568" y="19"/>
                  </a:lnTo>
                  <a:lnTo>
                    <a:pt x="1570" y="22"/>
                  </a:lnTo>
                  <a:lnTo>
                    <a:pt x="1570" y="26"/>
                  </a:lnTo>
                  <a:lnTo>
                    <a:pt x="1568" y="23"/>
                  </a:lnTo>
                  <a:lnTo>
                    <a:pt x="1564" y="19"/>
                  </a:lnTo>
                  <a:lnTo>
                    <a:pt x="1560" y="20"/>
                  </a:lnTo>
                  <a:lnTo>
                    <a:pt x="1559" y="19"/>
                  </a:lnTo>
                  <a:lnTo>
                    <a:pt x="1557" y="17"/>
                  </a:lnTo>
                  <a:lnTo>
                    <a:pt x="1557" y="17"/>
                  </a:lnTo>
                  <a:lnTo>
                    <a:pt x="1554" y="17"/>
                  </a:lnTo>
                  <a:lnTo>
                    <a:pt x="1553" y="14"/>
                  </a:lnTo>
                  <a:lnTo>
                    <a:pt x="1551" y="14"/>
                  </a:lnTo>
                  <a:lnTo>
                    <a:pt x="1550" y="17"/>
                  </a:lnTo>
                  <a:lnTo>
                    <a:pt x="1550" y="17"/>
                  </a:lnTo>
                  <a:lnTo>
                    <a:pt x="1551" y="19"/>
                  </a:lnTo>
                  <a:lnTo>
                    <a:pt x="1551" y="20"/>
                  </a:lnTo>
                  <a:lnTo>
                    <a:pt x="1550" y="22"/>
                  </a:lnTo>
                  <a:lnTo>
                    <a:pt x="1548" y="20"/>
                  </a:lnTo>
                  <a:lnTo>
                    <a:pt x="1547" y="19"/>
                  </a:lnTo>
                  <a:lnTo>
                    <a:pt x="1545" y="19"/>
                  </a:lnTo>
                  <a:lnTo>
                    <a:pt x="1542" y="19"/>
                  </a:lnTo>
                  <a:lnTo>
                    <a:pt x="1540" y="20"/>
                  </a:lnTo>
                  <a:lnTo>
                    <a:pt x="1539" y="22"/>
                  </a:lnTo>
                  <a:lnTo>
                    <a:pt x="1542" y="23"/>
                  </a:lnTo>
                  <a:lnTo>
                    <a:pt x="1537" y="28"/>
                  </a:lnTo>
                  <a:lnTo>
                    <a:pt x="1537" y="29"/>
                  </a:lnTo>
                  <a:lnTo>
                    <a:pt x="1537" y="31"/>
                  </a:lnTo>
                  <a:lnTo>
                    <a:pt x="1537" y="3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gray">
            <a:xfrm>
              <a:off x="6386513" y="7045326"/>
              <a:ext cx="536575" cy="342900"/>
            </a:xfrm>
            <a:custGeom>
              <a:avLst/>
              <a:gdLst>
                <a:gd name="T0" fmla="*/ 333 w 338"/>
                <a:gd name="T1" fmla="*/ 116 h 216"/>
                <a:gd name="T2" fmla="*/ 336 w 338"/>
                <a:gd name="T3" fmla="*/ 94 h 216"/>
                <a:gd name="T4" fmla="*/ 324 w 338"/>
                <a:gd name="T5" fmla="*/ 97 h 216"/>
                <a:gd name="T6" fmla="*/ 310 w 338"/>
                <a:gd name="T7" fmla="*/ 105 h 216"/>
                <a:gd name="T8" fmla="*/ 293 w 338"/>
                <a:gd name="T9" fmla="*/ 88 h 216"/>
                <a:gd name="T10" fmla="*/ 264 w 338"/>
                <a:gd name="T11" fmla="*/ 79 h 216"/>
                <a:gd name="T12" fmla="*/ 271 w 338"/>
                <a:gd name="T13" fmla="*/ 53 h 216"/>
                <a:gd name="T14" fmla="*/ 245 w 338"/>
                <a:gd name="T15" fmla="*/ 17 h 216"/>
                <a:gd name="T16" fmla="*/ 216 w 338"/>
                <a:gd name="T17" fmla="*/ 14 h 216"/>
                <a:gd name="T18" fmla="*/ 205 w 338"/>
                <a:gd name="T19" fmla="*/ 10 h 216"/>
                <a:gd name="T20" fmla="*/ 200 w 338"/>
                <a:gd name="T21" fmla="*/ 2 h 216"/>
                <a:gd name="T22" fmla="*/ 190 w 338"/>
                <a:gd name="T23" fmla="*/ 5 h 216"/>
                <a:gd name="T24" fmla="*/ 182 w 338"/>
                <a:gd name="T25" fmla="*/ 16 h 216"/>
                <a:gd name="T26" fmla="*/ 197 w 338"/>
                <a:gd name="T27" fmla="*/ 17 h 216"/>
                <a:gd name="T28" fmla="*/ 196 w 338"/>
                <a:gd name="T29" fmla="*/ 20 h 216"/>
                <a:gd name="T30" fmla="*/ 188 w 338"/>
                <a:gd name="T31" fmla="*/ 22 h 216"/>
                <a:gd name="T32" fmla="*/ 171 w 338"/>
                <a:gd name="T33" fmla="*/ 20 h 216"/>
                <a:gd name="T34" fmla="*/ 160 w 338"/>
                <a:gd name="T35" fmla="*/ 27 h 216"/>
                <a:gd name="T36" fmla="*/ 133 w 338"/>
                <a:gd name="T37" fmla="*/ 28 h 216"/>
                <a:gd name="T38" fmla="*/ 120 w 338"/>
                <a:gd name="T39" fmla="*/ 25 h 216"/>
                <a:gd name="T40" fmla="*/ 114 w 338"/>
                <a:gd name="T41" fmla="*/ 33 h 216"/>
                <a:gd name="T42" fmla="*/ 111 w 338"/>
                <a:gd name="T43" fmla="*/ 34 h 216"/>
                <a:gd name="T44" fmla="*/ 103 w 338"/>
                <a:gd name="T45" fmla="*/ 42 h 216"/>
                <a:gd name="T46" fmla="*/ 93 w 338"/>
                <a:gd name="T47" fmla="*/ 36 h 216"/>
                <a:gd name="T48" fmla="*/ 77 w 338"/>
                <a:gd name="T49" fmla="*/ 36 h 216"/>
                <a:gd name="T50" fmla="*/ 70 w 338"/>
                <a:gd name="T51" fmla="*/ 50 h 216"/>
                <a:gd name="T52" fmla="*/ 77 w 338"/>
                <a:gd name="T53" fmla="*/ 56 h 216"/>
                <a:gd name="T54" fmla="*/ 59 w 338"/>
                <a:gd name="T55" fmla="*/ 77 h 216"/>
                <a:gd name="T56" fmla="*/ 37 w 338"/>
                <a:gd name="T57" fmla="*/ 102 h 216"/>
                <a:gd name="T58" fmla="*/ 36 w 338"/>
                <a:gd name="T59" fmla="*/ 114 h 216"/>
                <a:gd name="T60" fmla="*/ 9 w 338"/>
                <a:gd name="T61" fmla="*/ 145 h 216"/>
                <a:gd name="T62" fmla="*/ 13 w 338"/>
                <a:gd name="T63" fmla="*/ 154 h 216"/>
                <a:gd name="T64" fmla="*/ 9 w 338"/>
                <a:gd name="T65" fmla="*/ 171 h 216"/>
                <a:gd name="T66" fmla="*/ 2 w 338"/>
                <a:gd name="T67" fmla="*/ 181 h 216"/>
                <a:gd name="T68" fmla="*/ 23 w 338"/>
                <a:gd name="T69" fmla="*/ 168 h 216"/>
                <a:gd name="T70" fmla="*/ 31 w 338"/>
                <a:gd name="T71" fmla="*/ 153 h 216"/>
                <a:gd name="T72" fmla="*/ 60 w 338"/>
                <a:gd name="T73" fmla="*/ 157 h 216"/>
                <a:gd name="T74" fmla="*/ 68 w 338"/>
                <a:gd name="T75" fmla="*/ 187 h 216"/>
                <a:gd name="T76" fmla="*/ 70 w 338"/>
                <a:gd name="T77" fmla="*/ 191 h 216"/>
                <a:gd name="T78" fmla="*/ 85 w 338"/>
                <a:gd name="T79" fmla="*/ 210 h 216"/>
                <a:gd name="T80" fmla="*/ 117 w 338"/>
                <a:gd name="T81" fmla="*/ 201 h 216"/>
                <a:gd name="T82" fmla="*/ 137 w 338"/>
                <a:gd name="T83" fmla="*/ 205 h 216"/>
                <a:gd name="T84" fmla="*/ 151 w 338"/>
                <a:gd name="T85" fmla="*/ 197 h 216"/>
                <a:gd name="T86" fmla="*/ 159 w 338"/>
                <a:gd name="T87" fmla="*/ 185 h 216"/>
                <a:gd name="T88" fmla="*/ 168 w 338"/>
                <a:gd name="T89" fmla="*/ 164 h 216"/>
                <a:gd name="T90" fmla="*/ 182 w 338"/>
                <a:gd name="T91" fmla="*/ 148 h 216"/>
                <a:gd name="T92" fmla="*/ 190 w 338"/>
                <a:gd name="T93" fmla="*/ 173 h 216"/>
                <a:gd name="T94" fmla="*/ 208 w 338"/>
                <a:gd name="T95" fmla="*/ 185 h 216"/>
                <a:gd name="T96" fmla="*/ 211 w 338"/>
                <a:gd name="T97" fmla="*/ 199 h 216"/>
                <a:gd name="T98" fmla="*/ 221 w 338"/>
                <a:gd name="T99" fmla="*/ 214 h 216"/>
                <a:gd name="T100" fmla="*/ 227 w 338"/>
                <a:gd name="T101" fmla="*/ 201 h 216"/>
                <a:gd name="T102" fmla="*/ 233 w 338"/>
                <a:gd name="T103" fmla="*/ 188 h 216"/>
                <a:gd name="T104" fmla="*/ 244 w 338"/>
                <a:gd name="T105" fmla="*/ 173 h 216"/>
                <a:gd name="T106" fmla="*/ 247 w 338"/>
                <a:gd name="T107" fmla="*/ 147 h 216"/>
                <a:gd name="T108" fmla="*/ 259 w 338"/>
                <a:gd name="T109" fmla="*/ 144 h 216"/>
                <a:gd name="T110" fmla="*/ 270 w 338"/>
                <a:gd name="T111" fmla="*/ 165 h 216"/>
                <a:gd name="T112" fmla="*/ 291 w 338"/>
                <a:gd name="T113" fmla="*/ 157 h 216"/>
                <a:gd name="T114" fmla="*/ 308 w 338"/>
                <a:gd name="T115" fmla="*/ 173 h 216"/>
                <a:gd name="T116" fmla="*/ 311 w 338"/>
                <a:gd name="T117" fmla="*/ 156 h 216"/>
                <a:gd name="T118" fmla="*/ 304 w 338"/>
                <a:gd name="T119" fmla="*/ 142 h 216"/>
                <a:gd name="T120" fmla="*/ 319 w 338"/>
                <a:gd name="T121" fmla="*/ 131 h 216"/>
                <a:gd name="T122" fmla="*/ 336 w 338"/>
                <a:gd name="T123" fmla="*/ 13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8" h="216">
                  <a:moveTo>
                    <a:pt x="336" y="130"/>
                  </a:moveTo>
                  <a:lnTo>
                    <a:pt x="334" y="128"/>
                  </a:lnTo>
                  <a:lnTo>
                    <a:pt x="331" y="128"/>
                  </a:lnTo>
                  <a:lnTo>
                    <a:pt x="330" y="127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1" y="122"/>
                  </a:lnTo>
                  <a:lnTo>
                    <a:pt x="331" y="120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7"/>
                  </a:lnTo>
                  <a:lnTo>
                    <a:pt x="333" y="116"/>
                  </a:lnTo>
                  <a:lnTo>
                    <a:pt x="334" y="116"/>
                  </a:lnTo>
                  <a:lnTo>
                    <a:pt x="334" y="114"/>
                  </a:lnTo>
                  <a:lnTo>
                    <a:pt x="333" y="113"/>
                  </a:lnTo>
                  <a:lnTo>
                    <a:pt x="333" y="111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6" y="107"/>
                  </a:lnTo>
                  <a:lnTo>
                    <a:pt x="336" y="104"/>
                  </a:lnTo>
                  <a:lnTo>
                    <a:pt x="336" y="100"/>
                  </a:lnTo>
                  <a:lnTo>
                    <a:pt x="336" y="97"/>
                  </a:lnTo>
                  <a:lnTo>
                    <a:pt x="336" y="96"/>
                  </a:lnTo>
                  <a:lnTo>
                    <a:pt x="336" y="94"/>
                  </a:lnTo>
                  <a:lnTo>
                    <a:pt x="333" y="93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27" y="90"/>
                  </a:lnTo>
                  <a:lnTo>
                    <a:pt x="325" y="93"/>
                  </a:lnTo>
                  <a:lnTo>
                    <a:pt x="324" y="94"/>
                  </a:lnTo>
                  <a:lnTo>
                    <a:pt x="324" y="97"/>
                  </a:lnTo>
                  <a:lnTo>
                    <a:pt x="322" y="97"/>
                  </a:lnTo>
                  <a:lnTo>
                    <a:pt x="321" y="97"/>
                  </a:lnTo>
                  <a:lnTo>
                    <a:pt x="319" y="97"/>
                  </a:lnTo>
                  <a:lnTo>
                    <a:pt x="319" y="99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18" y="102"/>
                  </a:lnTo>
                  <a:lnTo>
                    <a:pt x="318" y="104"/>
                  </a:lnTo>
                  <a:lnTo>
                    <a:pt x="314" y="105"/>
                  </a:lnTo>
                  <a:lnTo>
                    <a:pt x="311" y="105"/>
                  </a:lnTo>
                  <a:lnTo>
                    <a:pt x="311" y="105"/>
                  </a:lnTo>
                  <a:lnTo>
                    <a:pt x="310" y="105"/>
                  </a:lnTo>
                  <a:lnTo>
                    <a:pt x="307" y="104"/>
                  </a:lnTo>
                  <a:lnTo>
                    <a:pt x="305" y="104"/>
                  </a:lnTo>
                  <a:lnTo>
                    <a:pt x="302" y="100"/>
                  </a:lnTo>
                  <a:lnTo>
                    <a:pt x="294" y="97"/>
                  </a:lnTo>
                  <a:lnTo>
                    <a:pt x="293" y="96"/>
                  </a:lnTo>
                  <a:lnTo>
                    <a:pt x="291" y="96"/>
                  </a:lnTo>
                  <a:lnTo>
                    <a:pt x="291" y="94"/>
                  </a:lnTo>
                  <a:lnTo>
                    <a:pt x="291" y="93"/>
                  </a:lnTo>
                  <a:lnTo>
                    <a:pt x="293" y="91"/>
                  </a:lnTo>
                  <a:lnTo>
                    <a:pt x="293" y="90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1" y="87"/>
                  </a:lnTo>
                  <a:lnTo>
                    <a:pt x="277" y="82"/>
                  </a:lnTo>
                  <a:lnTo>
                    <a:pt x="276" y="82"/>
                  </a:lnTo>
                  <a:lnTo>
                    <a:pt x="273" y="83"/>
                  </a:lnTo>
                  <a:lnTo>
                    <a:pt x="271" y="82"/>
                  </a:lnTo>
                  <a:lnTo>
                    <a:pt x="270" y="83"/>
                  </a:lnTo>
                  <a:lnTo>
                    <a:pt x="265" y="82"/>
                  </a:lnTo>
                  <a:lnTo>
                    <a:pt x="264" y="82"/>
                  </a:lnTo>
                  <a:lnTo>
                    <a:pt x="264" y="80"/>
                  </a:lnTo>
                  <a:lnTo>
                    <a:pt x="264" y="79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1"/>
                  </a:lnTo>
                  <a:lnTo>
                    <a:pt x="264" y="70"/>
                  </a:lnTo>
                  <a:lnTo>
                    <a:pt x="264" y="65"/>
                  </a:lnTo>
                  <a:lnTo>
                    <a:pt x="265" y="62"/>
                  </a:lnTo>
                  <a:lnTo>
                    <a:pt x="267" y="60"/>
                  </a:lnTo>
                  <a:lnTo>
                    <a:pt x="268" y="56"/>
                  </a:lnTo>
                  <a:lnTo>
                    <a:pt x="271" y="53"/>
                  </a:lnTo>
                  <a:lnTo>
                    <a:pt x="271" y="53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6" y="45"/>
                  </a:lnTo>
                  <a:lnTo>
                    <a:pt x="276" y="43"/>
                  </a:lnTo>
                  <a:lnTo>
                    <a:pt x="276" y="39"/>
                  </a:lnTo>
                  <a:lnTo>
                    <a:pt x="274" y="37"/>
                  </a:lnTo>
                  <a:lnTo>
                    <a:pt x="271" y="36"/>
                  </a:lnTo>
                  <a:lnTo>
                    <a:pt x="268" y="33"/>
                  </a:lnTo>
                  <a:lnTo>
                    <a:pt x="268" y="33"/>
                  </a:lnTo>
                  <a:lnTo>
                    <a:pt x="268" y="30"/>
                  </a:lnTo>
                  <a:lnTo>
                    <a:pt x="248" y="17"/>
                  </a:lnTo>
                  <a:lnTo>
                    <a:pt x="245" y="17"/>
                  </a:lnTo>
                  <a:lnTo>
                    <a:pt x="242" y="17"/>
                  </a:lnTo>
                  <a:lnTo>
                    <a:pt x="242" y="16"/>
                  </a:lnTo>
                  <a:lnTo>
                    <a:pt x="237" y="16"/>
                  </a:lnTo>
                  <a:lnTo>
                    <a:pt x="228" y="14"/>
                  </a:lnTo>
                  <a:lnTo>
                    <a:pt x="228" y="14"/>
                  </a:lnTo>
                  <a:lnTo>
                    <a:pt x="227" y="16"/>
                  </a:lnTo>
                  <a:lnTo>
                    <a:pt x="224" y="17"/>
                  </a:lnTo>
                  <a:lnTo>
                    <a:pt x="221" y="17"/>
                  </a:lnTo>
                  <a:lnTo>
                    <a:pt x="219" y="17"/>
                  </a:lnTo>
                  <a:lnTo>
                    <a:pt x="217" y="16"/>
                  </a:lnTo>
                  <a:lnTo>
                    <a:pt x="216" y="16"/>
                  </a:lnTo>
                  <a:lnTo>
                    <a:pt x="216" y="14"/>
                  </a:lnTo>
                  <a:lnTo>
                    <a:pt x="216" y="13"/>
                  </a:lnTo>
                  <a:lnTo>
                    <a:pt x="217" y="13"/>
                  </a:lnTo>
                  <a:lnTo>
                    <a:pt x="214" y="11"/>
                  </a:lnTo>
                  <a:lnTo>
                    <a:pt x="213" y="10"/>
                  </a:lnTo>
                  <a:lnTo>
                    <a:pt x="211" y="10"/>
                  </a:lnTo>
                  <a:lnTo>
                    <a:pt x="210" y="11"/>
                  </a:lnTo>
                  <a:lnTo>
                    <a:pt x="211" y="13"/>
                  </a:lnTo>
                  <a:lnTo>
                    <a:pt x="207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205" y="10"/>
                  </a:lnTo>
                  <a:lnTo>
                    <a:pt x="205" y="10"/>
                  </a:lnTo>
                  <a:lnTo>
                    <a:pt x="205" y="8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07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0" y="5"/>
                  </a:lnTo>
                  <a:lnTo>
                    <a:pt x="199" y="5"/>
                  </a:lnTo>
                  <a:lnTo>
                    <a:pt x="199" y="5"/>
                  </a:lnTo>
                  <a:lnTo>
                    <a:pt x="199" y="3"/>
                  </a:lnTo>
                  <a:lnTo>
                    <a:pt x="197" y="2"/>
                  </a:lnTo>
                  <a:lnTo>
                    <a:pt x="197" y="2"/>
                  </a:lnTo>
                  <a:lnTo>
                    <a:pt x="196" y="0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4" y="3"/>
                  </a:lnTo>
                  <a:lnTo>
                    <a:pt x="193" y="3"/>
                  </a:lnTo>
                  <a:lnTo>
                    <a:pt x="190" y="5"/>
                  </a:lnTo>
                  <a:lnTo>
                    <a:pt x="188" y="5"/>
                  </a:lnTo>
                  <a:lnTo>
                    <a:pt x="188" y="5"/>
                  </a:lnTo>
                  <a:lnTo>
                    <a:pt x="187" y="6"/>
                  </a:lnTo>
                  <a:lnTo>
                    <a:pt x="187" y="6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4" y="11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2" y="14"/>
                  </a:lnTo>
                  <a:lnTo>
                    <a:pt x="184" y="14"/>
                  </a:lnTo>
                  <a:lnTo>
                    <a:pt x="182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5" y="17"/>
                  </a:lnTo>
                  <a:lnTo>
                    <a:pt x="187" y="19"/>
                  </a:lnTo>
                  <a:lnTo>
                    <a:pt x="188" y="19"/>
                  </a:lnTo>
                  <a:lnTo>
                    <a:pt x="190" y="17"/>
                  </a:lnTo>
                  <a:lnTo>
                    <a:pt x="191" y="17"/>
                  </a:lnTo>
                  <a:lnTo>
                    <a:pt x="191" y="17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9" y="17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6" y="19"/>
                  </a:lnTo>
                  <a:lnTo>
                    <a:pt x="196" y="19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194" y="23"/>
                  </a:lnTo>
                  <a:lnTo>
                    <a:pt x="194" y="23"/>
                  </a:lnTo>
                  <a:lnTo>
                    <a:pt x="194" y="23"/>
                  </a:lnTo>
                  <a:lnTo>
                    <a:pt x="193" y="22"/>
                  </a:lnTo>
                  <a:lnTo>
                    <a:pt x="193" y="20"/>
                  </a:lnTo>
                  <a:lnTo>
                    <a:pt x="190" y="20"/>
                  </a:lnTo>
                  <a:lnTo>
                    <a:pt x="188" y="22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79" y="25"/>
                  </a:lnTo>
                  <a:lnTo>
                    <a:pt x="177" y="25"/>
                  </a:lnTo>
                  <a:lnTo>
                    <a:pt x="176" y="23"/>
                  </a:lnTo>
                  <a:lnTo>
                    <a:pt x="176" y="23"/>
                  </a:lnTo>
                  <a:lnTo>
                    <a:pt x="176" y="22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4" y="23"/>
                  </a:lnTo>
                  <a:lnTo>
                    <a:pt x="162" y="23"/>
                  </a:lnTo>
                  <a:lnTo>
                    <a:pt x="162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56" y="28"/>
                  </a:lnTo>
                  <a:lnTo>
                    <a:pt x="147" y="28"/>
                  </a:lnTo>
                  <a:lnTo>
                    <a:pt x="147" y="27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9" y="25"/>
                  </a:lnTo>
                  <a:lnTo>
                    <a:pt x="137" y="27"/>
                  </a:lnTo>
                  <a:lnTo>
                    <a:pt x="136" y="28"/>
                  </a:lnTo>
                  <a:lnTo>
                    <a:pt x="133" y="28"/>
                  </a:lnTo>
                  <a:lnTo>
                    <a:pt x="130" y="30"/>
                  </a:lnTo>
                  <a:lnTo>
                    <a:pt x="128" y="30"/>
                  </a:lnTo>
                  <a:lnTo>
                    <a:pt x="127" y="28"/>
                  </a:lnTo>
                  <a:lnTo>
                    <a:pt x="123" y="27"/>
                  </a:lnTo>
                  <a:lnTo>
                    <a:pt x="125" y="27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28" y="23"/>
                  </a:lnTo>
                  <a:lnTo>
                    <a:pt x="127" y="23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0" y="25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1" y="36"/>
                  </a:lnTo>
                  <a:lnTo>
                    <a:pt x="111" y="34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3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0"/>
                  </a:lnTo>
                  <a:lnTo>
                    <a:pt x="91" y="40"/>
                  </a:lnTo>
                  <a:lnTo>
                    <a:pt x="91" y="39"/>
                  </a:lnTo>
                  <a:lnTo>
                    <a:pt x="93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34"/>
                  </a:lnTo>
                  <a:lnTo>
                    <a:pt x="87" y="34"/>
                  </a:lnTo>
                  <a:lnTo>
                    <a:pt x="83" y="36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9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2"/>
                  </a:lnTo>
                  <a:lnTo>
                    <a:pt x="73" y="42"/>
                  </a:lnTo>
                  <a:lnTo>
                    <a:pt x="73" y="45"/>
                  </a:lnTo>
                  <a:lnTo>
                    <a:pt x="71" y="45"/>
                  </a:lnTo>
                  <a:lnTo>
                    <a:pt x="70" y="47"/>
                  </a:lnTo>
                  <a:lnTo>
                    <a:pt x="70" y="48"/>
                  </a:lnTo>
                  <a:lnTo>
                    <a:pt x="70" y="50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80" y="50"/>
                  </a:lnTo>
                  <a:lnTo>
                    <a:pt x="82" y="50"/>
                  </a:lnTo>
                  <a:lnTo>
                    <a:pt x="82" y="51"/>
                  </a:lnTo>
                  <a:lnTo>
                    <a:pt x="82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4"/>
                  </a:lnTo>
                  <a:lnTo>
                    <a:pt x="79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6" y="57"/>
                  </a:lnTo>
                  <a:lnTo>
                    <a:pt x="76" y="59"/>
                  </a:lnTo>
                  <a:lnTo>
                    <a:pt x="76" y="62"/>
                  </a:lnTo>
                  <a:lnTo>
                    <a:pt x="71" y="65"/>
                  </a:lnTo>
                  <a:lnTo>
                    <a:pt x="68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2" y="74"/>
                  </a:lnTo>
                  <a:lnTo>
                    <a:pt x="60" y="76"/>
                  </a:lnTo>
                  <a:lnTo>
                    <a:pt x="60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4" y="82"/>
                  </a:lnTo>
                  <a:lnTo>
                    <a:pt x="56" y="83"/>
                  </a:lnTo>
                  <a:lnTo>
                    <a:pt x="54" y="87"/>
                  </a:lnTo>
                  <a:lnTo>
                    <a:pt x="50" y="90"/>
                  </a:lnTo>
                  <a:lnTo>
                    <a:pt x="40" y="93"/>
                  </a:lnTo>
                  <a:lnTo>
                    <a:pt x="37" y="94"/>
                  </a:lnTo>
                  <a:lnTo>
                    <a:pt x="36" y="99"/>
                  </a:lnTo>
                  <a:lnTo>
                    <a:pt x="37" y="99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4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7" y="107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7" y="111"/>
                  </a:lnTo>
                  <a:lnTo>
                    <a:pt x="37" y="114"/>
                  </a:lnTo>
                  <a:lnTo>
                    <a:pt x="36" y="114"/>
                  </a:lnTo>
                  <a:lnTo>
                    <a:pt x="36" y="116"/>
                  </a:lnTo>
                  <a:lnTo>
                    <a:pt x="34" y="116"/>
                  </a:lnTo>
                  <a:lnTo>
                    <a:pt x="33" y="117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25" y="124"/>
                  </a:lnTo>
                  <a:lnTo>
                    <a:pt x="14" y="133"/>
                  </a:lnTo>
                  <a:lnTo>
                    <a:pt x="13" y="134"/>
                  </a:lnTo>
                  <a:lnTo>
                    <a:pt x="14" y="136"/>
                  </a:lnTo>
                  <a:lnTo>
                    <a:pt x="16" y="137"/>
                  </a:lnTo>
                  <a:lnTo>
                    <a:pt x="13" y="140"/>
                  </a:lnTo>
                  <a:lnTo>
                    <a:pt x="9" y="145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9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3" y="154"/>
                  </a:lnTo>
                  <a:lnTo>
                    <a:pt x="14" y="154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3" y="160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1" y="167"/>
                  </a:lnTo>
                  <a:lnTo>
                    <a:pt x="11" y="168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8" y="171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3" y="173"/>
                  </a:lnTo>
                  <a:lnTo>
                    <a:pt x="2" y="174"/>
                  </a:lnTo>
                  <a:lnTo>
                    <a:pt x="0" y="174"/>
                  </a:lnTo>
                  <a:lnTo>
                    <a:pt x="2" y="176"/>
                  </a:lnTo>
                  <a:lnTo>
                    <a:pt x="3" y="177"/>
                  </a:lnTo>
                  <a:lnTo>
                    <a:pt x="3" y="179"/>
                  </a:lnTo>
                  <a:lnTo>
                    <a:pt x="2" y="181"/>
                  </a:lnTo>
                  <a:lnTo>
                    <a:pt x="2" y="182"/>
                  </a:lnTo>
                  <a:lnTo>
                    <a:pt x="3" y="182"/>
                  </a:lnTo>
                  <a:lnTo>
                    <a:pt x="6" y="181"/>
                  </a:lnTo>
                  <a:lnTo>
                    <a:pt x="9" y="181"/>
                  </a:lnTo>
                  <a:lnTo>
                    <a:pt x="13" y="182"/>
                  </a:lnTo>
                  <a:lnTo>
                    <a:pt x="14" y="181"/>
                  </a:lnTo>
                  <a:lnTo>
                    <a:pt x="19" y="176"/>
                  </a:lnTo>
                  <a:lnTo>
                    <a:pt x="23" y="173"/>
                  </a:lnTo>
                  <a:lnTo>
                    <a:pt x="25" y="171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3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7"/>
                  </a:lnTo>
                  <a:lnTo>
                    <a:pt x="22" y="165"/>
                  </a:lnTo>
                  <a:lnTo>
                    <a:pt x="20" y="164"/>
                  </a:lnTo>
                  <a:lnTo>
                    <a:pt x="20" y="162"/>
                  </a:lnTo>
                  <a:lnTo>
                    <a:pt x="20" y="160"/>
                  </a:lnTo>
                  <a:lnTo>
                    <a:pt x="22" y="159"/>
                  </a:lnTo>
                  <a:lnTo>
                    <a:pt x="25" y="156"/>
                  </a:lnTo>
                  <a:lnTo>
                    <a:pt x="26" y="154"/>
                  </a:lnTo>
                  <a:lnTo>
                    <a:pt x="30" y="153"/>
                  </a:lnTo>
                  <a:lnTo>
                    <a:pt x="31" y="153"/>
                  </a:lnTo>
                  <a:lnTo>
                    <a:pt x="34" y="153"/>
                  </a:lnTo>
                  <a:lnTo>
                    <a:pt x="40" y="148"/>
                  </a:lnTo>
                  <a:lnTo>
                    <a:pt x="45" y="147"/>
                  </a:lnTo>
                  <a:lnTo>
                    <a:pt x="50" y="148"/>
                  </a:lnTo>
                  <a:lnTo>
                    <a:pt x="62" y="150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3" y="151"/>
                  </a:lnTo>
                  <a:lnTo>
                    <a:pt x="63" y="153"/>
                  </a:lnTo>
                  <a:lnTo>
                    <a:pt x="63" y="154"/>
                  </a:lnTo>
                  <a:lnTo>
                    <a:pt x="62" y="156"/>
                  </a:lnTo>
                  <a:lnTo>
                    <a:pt x="60" y="157"/>
                  </a:lnTo>
                  <a:lnTo>
                    <a:pt x="60" y="159"/>
                  </a:lnTo>
                  <a:lnTo>
                    <a:pt x="62" y="162"/>
                  </a:lnTo>
                  <a:lnTo>
                    <a:pt x="65" y="165"/>
                  </a:lnTo>
                  <a:lnTo>
                    <a:pt x="66" y="168"/>
                  </a:lnTo>
                  <a:lnTo>
                    <a:pt x="63" y="173"/>
                  </a:lnTo>
                  <a:lnTo>
                    <a:pt x="62" y="176"/>
                  </a:lnTo>
                  <a:lnTo>
                    <a:pt x="62" y="181"/>
                  </a:lnTo>
                  <a:lnTo>
                    <a:pt x="62" y="182"/>
                  </a:lnTo>
                  <a:lnTo>
                    <a:pt x="68" y="184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8"/>
                  </a:lnTo>
                  <a:lnTo>
                    <a:pt x="68" y="190"/>
                  </a:lnTo>
                  <a:lnTo>
                    <a:pt x="68" y="190"/>
                  </a:lnTo>
                  <a:lnTo>
                    <a:pt x="68" y="190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1" y="190"/>
                  </a:lnTo>
                  <a:lnTo>
                    <a:pt x="73" y="191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9"/>
                  </a:lnTo>
                  <a:lnTo>
                    <a:pt x="79" y="201"/>
                  </a:lnTo>
                  <a:lnTo>
                    <a:pt x="79" y="202"/>
                  </a:lnTo>
                  <a:lnTo>
                    <a:pt x="80" y="204"/>
                  </a:lnTo>
                  <a:lnTo>
                    <a:pt x="80" y="205"/>
                  </a:lnTo>
                  <a:lnTo>
                    <a:pt x="83" y="208"/>
                  </a:lnTo>
                  <a:lnTo>
                    <a:pt x="85" y="210"/>
                  </a:lnTo>
                  <a:lnTo>
                    <a:pt x="88" y="210"/>
                  </a:lnTo>
                  <a:lnTo>
                    <a:pt x="90" y="210"/>
                  </a:lnTo>
                  <a:lnTo>
                    <a:pt x="93" y="210"/>
                  </a:lnTo>
                  <a:lnTo>
                    <a:pt x="97" y="207"/>
                  </a:lnTo>
                  <a:lnTo>
                    <a:pt x="99" y="207"/>
                  </a:lnTo>
                  <a:lnTo>
                    <a:pt x="100" y="205"/>
                  </a:lnTo>
                  <a:lnTo>
                    <a:pt x="105" y="207"/>
                  </a:lnTo>
                  <a:lnTo>
                    <a:pt x="108" y="205"/>
                  </a:lnTo>
                  <a:lnTo>
                    <a:pt x="113" y="202"/>
                  </a:lnTo>
                  <a:lnTo>
                    <a:pt x="114" y="201"/>
                  </a:lnTo>
                  <a:lnTo>
                    <a:pt x="116" y="201"/>
                  </a:lnTo>
                  <a:lnTo>
                    <a:pt x="117" y="201"/>
                  </a:lnTo>
                  <a:lnTo>
                    <a:pt x="117" y="199"/>
                  </a:lnTo>
                  <a:lnTo>
                    <a:pt x="119" y="197"/>
                  </a:lnTo>
                  <a:lnTo>
                    <a:pt x="127" y="201"/>
                  </a:lnTo>
                  <a:lnTo>
                    <a:pt x="128" y="201"/>
                  </a:lnTo>
                  <a:lnTo>
                    <a:pt x="130" y="202"/>
                  </a:lnTo>
                  <a:lnTo>
                    <a:pt x="130" y="204"/>
                  </a:lnTo>
                  <a:lnTo>
                    <a:pt x="131" y="204"/>
                  </a:lnTo>
                  <a:lnTo>
                    <a:pt x="131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7" y="205"/>
                  </a:lnTo>
                  <a:lnTo>
                    <a:pt x="139" y="205"/>
                  </a:lnTo>
                  <a:lnTo>
                    <a:pt x="140" y="205"/>
                  </a:lnTo>
                  <a:lnTo>
                    <a:pt x="140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3" y="199"/>
                  </a:lnTo>
                  <a:lnTo>
                    <a:pt x="145" y="199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3" y="196"/>
                  </a:lnTo>
                  <a:lnTo>
                    <a:pt x="153" y="196"/>
                  </a:lnTo>
                  <a:lnTo>
                    <a:pt x="153" y="194"/>
                  </a:lnTo>
                  <a:lnTo>
                    <a:pt x="154" y="193"/>
                  </a:lnTo>
                  <a:lnTo>
                    <a:pt x="154" y="193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4" y="188"/>
                  </a:lnTo>
                  <a:lnTo>
                    <a:pt x="156" y="187"/>
                  </a:lnTo>
                  <a:lnTo>
                    <a:pt x="156" y="187"/>
                  </a:lnTo>
                  <a:lnTo>
                    <a:pt x="157" y="187"/>
                  </a:lnTo>
                  <a:lnTo>
                    <a:pt x="159" y="185"/>
                  </a:lnTo>
                  <a:lnTo>
                    <a:pt x="162" y="184"/>
                  </a:lnTo>
                  <a:lnTo>
                    <a:pt x="164" y="179"/>
                  </a:lnTo>
                  <a:lnTo>
                    <a:pt x="164" y="176"/>
                  </a:lnTo>
                  <a:lnTo>
                    <a:pt x="160" y="171"/>
                  </a:lnTo>
                  <a:lnTo>
                    <a:pt x="159" y="170"/>
                  </a:lnTo>
                  <a:lnTo>
                    <a:pt x="159" y="170"/>
                  </a:lnTo>
                  <a:lnTo>
                    <a:pt x="159" y="168"/>
                  </a:lnTo>
                  <a:lnTo>
                    <a:pt x="160" y="167"/>
                  </a:lnTo>
                  <a:lnTo>
                    <a:pt x="160" y="165"/>
                  </a:lnTo>
                  <a:lnTo>
                    <a:pt x="164" y="165"/>
                  </a:lnTo>
                  <a:lnTo>
                    <a:pt x="167" y="165"/>
                  </a:lnTo>
                  <a:lnTo>
                    <a:pt x="168" y="164"/>
                  </a:lnTo>
                  <a:lnTo>
                    <a:pt x="171" y="159"/>
                  </a:lnTo>
                  <a:lnTo>
                    <a:pt x="173" y="157"/>
                  </a:lnTo>
                  <a:lnTo>
                    <a:pt x="174" y="157"/>
                  </a:lnTo>
                  <a:lnTo>
                    <a:pt x="174" y="156"/>
                  </a:lnTo>
                  <a:lnTo>
                    <a:pt x="176" y="154"/>
                  </a:lnTo>
                  <a:lnTo>
                    <a:pt x="176" y="154"/>
                  </a:lnTo>
                  <a:lnTo>
                    <a:pt x="174" y="153"/>
                  </a:lnTo>
                  <a:lnTo>
                    <a:pt x="174" y="153"/>
                  </a:lnTo>
                  <a:lnTo>
                    <a:pt x="176" y="151"/>
                  </a:lnTo>
                  <a:lnTo>
                    <a:pt x="177" y="150"/>
                  </a:lnTo>
                  <a:lnTo>
                    <a:pt x="179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5" y="148"/>
                  </a:lnTo>
                  <a:lnTo>
                    <a:pt x="187" y="150"/>
                  </a:lnTo>
                  <a:lnTo>
                    <a:pt x="187" y="153"/>
                  </a:lnTo>
                  <a:lnTo>
                    <a:pt x="187" y="156"/>
                  </a:lnTo>
                  <a:lnTo>
                    <a:pt x="187" y="159"/>
                  </a:lnTo>
                  <a:lnTo>
                    <a:pt x="185" y="164"/>
                  </a:lnTo>
                  <a:lnTo>
                    <a:pt x="185" y="167"/>
                  </a:lnTo>
                  <a:lnTo>
                    <a:pt x="185" y="170"/>
                  </a:lnTo>
                  <a:lnTo>
                    <a:pt x="185" y="171"/>
                  </a:lnTo>
                  <a:lnTo>
                    <a:pt x="187" y="173"/>
                  </a:lnTo>
                  <a:lnTo>
                    <a:pt x="190" y="173"/>
                  </a:lnTo>
                  <a:lnTo>
                    <a:pt x="191" y="174"/>
                  </a:lnTo>
                  <a:lnTo>
                    <a:pt x="193" y="176"/>
                  </a:lnTo>
                  <a:lnTo>
                    <a:pt x="197" y="184"/>
                  </a:lnTo>
                  <a:lnTo>
                    <a:pt x="199" y="184"/>
                  </a:lnTo>
                  <a:lnTo>
                    <a:pt x="200" y="184"/>
                  </a:lnTo>
                  <a:lnTo>
                    <a:pt x="204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7" y="185"/>
                  </a:lnTo>
                  <a:lnTo>
                    <a:pt x="208" y="185"/>
                  </a:lnTo>
                  <a:lnTo>
                    <a:pt x="208" y="185"/>
                  </a:lnTo>
                  <a:lnTo>
                    <a:pt x="208" y="187"/>
                  </a:lnTo>
                  <a:lnTo>
                    <a:pt x="208" y="187"/>
                  </a:lnTo>
                  <a:lnTo>
                    <a:pt x="210" y="187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6" y="190"/>
                  </a:lnTo>
                  <a:lnTo>
                    <a:pt x="214" y="191"/>
                  </a:lnTo>
                  <a:lnTo>
                    <a:pt x="213" y="194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3" y="199"/>
                  </a:lnTo>
                  <a:lnTo>
                    <a:pt x="217" y="201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19" y="204"/>
                  </a:lnTo>
                  <a:lnTo>
                    <a:pt x="221" y="207"/>
                  </a:lnTo>
                  <a:lnTo>
                    <a:pt x="221" y="208"/>
                  </a:lnTo>
                  <a:lnTo>
                    <a:pt x="221" y="208"/>
                  </a:lnTo>
                  <a:lnTo>
                    <a:pt x="221" y="211"/>
                  </a:lnTo>
                  <a:lnTo>
                    <a:pt x="221" y="211"/>
                  </a:lnTo>
                  <a:lnTo>
                    <a:pt x="221" y="213"/>
                  </a:lnTo>
                  <a:lnTo>
                    <a:pt x="221" y="214"/>
                  </a:lnTo>
                  <a:lnTo>
                    <a:pt x="224" y="214"/>
                  </a:lnTo>
                  <a:lnTo>
                    <a:pt x="225" y="214"/>
                  </a:lnTo>
                  <a:lnTo>
                    <a:pt x="228" y="216"/>
                  </a:lnTo>
                  <a:lnTo>
                    <a:pt x="230" y="213"/>
                  </a:lnTo>
                  <a:lnTo>
                    <a:pt x="233" y="210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31" y="205"/>
                  </a:lnTo>
                  <a:lnTo>
                    <a:pt x="230" y="205"/>
                  </a:lnTo>
                  <a:lnTo>
                    <a:pt x="228" y="204"/>
                  </a:lnTo>
                  <a:lnTo>
                    <a:pt x="228" y="204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199"/>
                  </a:lnTo>
                  <a:lnTo>
                    <a:pt x="227" y="199"/>
                  </a:lnTo>
                  <a:lnTo>
                    <a:pt x="228" y="197"/>
                  </a:lnTo>
                  <a:lnTo>
                    <a:pt x="228" y="193"/>
                  </a:lnTo>
                  <a:lnTo>
                    <a:pt x="228" y="193"/>
                  </a:lnTo>
                  <a:lnTo>
                    <a:pt x="230" y="191"/>
                  </a:lnTo>
                  <a:lnTo>
                    <a:pt x="231" y="190"/>
                  </a:lnTo>
                  <a:lnTo>
                    <a:pt x="233" y="190"/>
                  </a:lnTo>
                  <a:lnTo>
                    <a:pt x="233" y="188"/>
                  </a:lnTo>
                  <a:lnTo>
                    <a:pt x="233" y="188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4" y="182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1" y="176"/>
                  </a:lnTo>
                  <a:lnTo>
                    <a:pt x="241" y="174"/>
                  </a:lnTo>
                  <a:lnTo>
                    <a:pt x="242" y="174"/>
                  </a:lnTo>
                  <a:lnTo>
                    <a:pt x="244" y="173"/>
                  </a:lnTo>
                  <a:lnTo>
                    <a:pt x="244" y="173"/>
                  </a:lnTo>
                  <a:lnTo>
                    <a:pt x="245" y="171"/>
                  </a:lnTo>
                  <a:lnTo>
                    <a:pt x="245" y="168"/>
                  </a:lnTo>
                  <a:lnTo>
                    <a:pt x="248" y="164"/>
                  </a:lnTo>
                  <a:lnTo>
                    <a:pt x="248" y="160"/>
                  </a:lnTo>
                  <a:lnTo>
                    <a:pt x="248" y="159"/>
                  </a:lnTo>
                  <a:lnTo>
                    <a:pt x="247" y="156"/>
                  </a:lnTo>
                  <a:lnTo>
                    <a:pt x="247" y="154"/>
                  </a:lnTo>
                  <a:lnTo>
                    <a:pt x="247" y="153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5" y="150"/>
                  </a:lnTo>
                  <a:lnTo>
                    <a:pt x="247" y="147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53" y="142"/>
                  </a:lnTo>
                  <a:lnTo>
                    <a:pt x="254" y="144"/>
                  </a:lnTo>
                  <a:lnTo>
                    <a:pt x="254" y="145"/>
                  </a:lnTo>
                  <a:lnTo>
                    <a:pt x="256" y="147"/>
                  </a:lnTo>
                  <a:lnTo>
                    <a:pt x="256" y="147"/>
                  </a:lnTo>
                  <a:lnTo>
                    <a:pt x="257" y="147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54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1" y="157"/>
                  </a:lnTo>
                  <a:lnTo>
                    <a:pt x="264" y="157"/>
                  </a:lnTo>
                  <a:lnTo>
                    <a:pt x="264" y="159"/>
                  </a:lnTo>
                  <a:lnTo>
                    <a:pt x="265" y="162"/>
                  </a:lnTo>
                  <a:lnTo>
                    <a:pt x="267" y="164"/>
                  </a:lnTo>
                  <a:lnTo>
                    <a:pt x="268" y="165"/>
                  </a:lnTo>
                  <a:lnTo>
                    <a:pt x="270" y="165"/>
                  </a:lnTo>
                  <a:lnTo>
                    <a:pt x="277" y="165"/>
                  </a:lnTo>
                  <a:lnTo>
                    <a:pt x="279" y="165"/>
                  </a:lnTo>
                  <a:lnTo>
                    <a:pt x="281" y="164"/>
                  </a:lnTo>
                  <a:lnTo>
                    <a:pt x="281" y="162"/>
                  </a:lnTo>
                  <a:lnTo>
                    <a:pt x="281" y="160"/>
                  </a:lnTo>
                  <a:lnTo>
                    <a:pt x="281" y="160"/>
                  </a:lnTo>
                  <a:lnTo>
                    <a:pt x="281" y="159"/>
                  </a:lnTo>
                  <a:lnTo>
                    <a:pt x="282" y="159"/>
                  </a:lnTo>
                  <a:lnTo>
                    <a:pt x="284" y="160"/>
                  </a:lnTo>
                  <a:lnTo>
                    <a:pt x="285" y="160"/>
                  </a:lnTo>
                  <a:lnTo>
                    <a:pt x="287" y="159"/>
                  </a:lnTo>
                  <a:lnTo>
                    <a:pt x="291" y="157"/>
                  </a:lnTo>
                  <a:lnTo>
                    <a:pt x="294" y="156"/>
                  </a:lnTo>
                  <a:lnTo>
                    <a:pt x="296" y="156"/>
                  </a:lnTo>
                  <a:lnTo>
                    <a:pt x="298" y="157"/>
                  </a:lnTo>
                  <a:lnTo>
                    <a:pt x="299" y="159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5"/>
                  </a:lnTo>
                  <a:lnTo>
                    <a:pt x="302" y="167"/>
                  </a:lnTo>
                  <a:lnTo>
                    <a:pt x="305" y="168"/>
                  </a:lnTo>
                  <a:lnTo>
                    <a:pt x="305" y="170"/>
                  </a:lnTo>
                  <a:lnTo>
                    <a:pt x="305" y="173"/>
                  </a:lnTo>
                  <a:lnTo>
                    <a:pt x="308" y="173"/>
                  </a:lnTo>
                  <a:lnTo>
                    <a:pt x="311" y="171"/>
                  </a:lnTo>
                  <a:lnTo>
                    <a:pt x="313" y="170"/>
                  </a:lnTo>
                  <a:lnTo>
                    <a:pt x="314" y="168"/>
                  </a:lnTo>
                  <a:lnTo>
                    <a:pt x="313" y="167"/>
                  </a:lnTo>
                  <a:lnTo>
                    <a:pt x="310" y="164"/>
                  </a:lnTo>
                  <a:lnTo>
                    <a:pt x="310" y="162"/>
                  </a:lnTo>
                  <a:lnTo>
                    <a:pt x="308" y="160"/>
                  </a:lnTo>
                  <a:lnTo>
                    <a:pt x="308" y="160"/>
                  </a:lnTo>
                  <a:lnTo>
                    <a:pt x="310" y="159"/>
                  </a:lnTo>
                  <a:lnTo>
                    <a:pt x="310" y="157"/>
                  </a:lnTo>
                  <a:lnTo>
                    <a:pt x="311" y="156"/>
                  </a:lnTo>
                  <a:lnTo>
                    <a:pt x="311" y="156"/>
                  </a:lnTo>
                  <a:lnTo>
                    <a:pt x="313" y="153"/>
                  </a:lnTo>
                  <a:lnTo>
                    <a:pt x="311" y="153"/>
                  </a:lnTo>
                  <a:lnTo>
                    <a:pt x="311" y="151"/>
                  </a:lnTo>
                  <a:lnTo>
                    <a:pt x="307" y="151"/>
                  </a:lnTo>
                  <a:lnTo>
                    <a:pt x="305" y="150"/>
                  </a:lnTo>
                  <a:lnTo>
                    <a:pt x="304" y="148"/>
                  </a:lnTo>
                  <a:lnTo>
                    <a:pt x="305" y="147"/>
                  </a:lnTo>
                  <a:lnTo>
                    <a:pt x="305" y="147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4" y="144"/>
                  </a:lnTo>
                  <a:lnTo>
                    <a:pt x="304" y="142"/>
                  </a:lnTo>
                  <a:lnTo>
                    <a:pt x="305" y="140"/>
                  </a:lnTo>
                  <a:lnTo>
                    <a:pt x="305" y="139"/>
                  </a:lnTo>
                  <a:lnTo>
                    <a:pt x="305" y="139"/>
                  </a:lnTo>
                  <a:lnTo>
                    <a:pt x="307" y="137"/>
                  </a:lnTo>
                  <a:lnTo>
                    <a:pt x="307" y="136"/>
                  </a:lnTo>
                  <a:lnTo>
                    <a:pt x="308" y="133"/>
                  </a:lnTo>
                  <a:lnTo>
                    <a:pt x="308" y="131"/>
                  </a:lnTo>
                  <a:lnTo>
                    <a:pt x="310" y="131"/>
                  </a:lnTo>
                  <a:lnTo>
                    <a:pt x="316" y="130"/>
                  </a:lnTo>
                  <a:lnTo>
                    <a:pt x="319" y="130"/>
                  </a:lnTo>
                  <a:lnTo>
                    <a:pt x="319" y="130"/>
                  </a:lnTo>
                  <a:lnTo>
                    <a:pt x="319" y="131"/>
                  </a:lnTo>
                  <a:lnTo>
                    <a:pt x="319" y="133"/>
                  </a:lnTo>
                  <a:lnTo>
                    <a:pt x="319" y="134"/>
                  </a:lnTo>
                  <a:lnTo>
                    <a:pt x="322" y="136"/>
                  </a:lnTo>
                  <a:lnTo>
                    <a:pt x="324" y="136"/>
                  </a:lnTo>
                  <a:lnTo>
                    <a:pt x="324" y="137"/>
                  </a:lnTo>
                  <a:lnTo>
                    <a:pt x="324" y="137"/>
                  </a:lnTo>
                  <a:lnTo>
                    <a:pt x="325" y="137"/>
                  </a:lnTo>
                  <a:lnTo>
                    <a:pt x="325" y="137"/>
                  </a:lnTo>
                  <a:lnTo>
                    <a:pt x="328" y="137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6" y="137"/>
                  </a:lnTo>
                  <a:lnTo>
                    <a:pt x="336" y="137"/>
                  </a:lnTo>
                  <a:lnTo>
                    <a:pt x="338" y="134"/>
                  </a:lnTo>
                  <a:lnTo>
                    <a:pt x="338" y="131"/>
                  </a:lnTo>
                  <a:lnTo>
                    <a:pt x="336" y="13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gray">
            <a:xfrm>
              <a:off x="6386513" y="7045326"/>
              <a:ext cx="536575" cy="342900"/>
            </a:xfrm>
            <a:custGeom>
              <a:avLst/>
              <a:gdLst>
                <a:gd name="T0" fmla="*/ 333 w 338"/>
                <a:gd name="T1" fmla="*/ 116 h 216"/>
                <a:gd name="T2" fmla="*/ 336 w 338"/>
                <a:gd name="T3" fmla="*/ 94 h 216"/>
                <a:gd name="T4" fmla="*/ 324 w 338"/>
                <a:gd name="T5" fmla="*/ 97 h 216"/>
                <a:gd name="T6" fmla="*/ 310 w 338"/>
                <a:gd name="T7" fmla="*/ 105 h 216"/>
                <a:gd name="T8" fmla="*/ 293 w 338"/>
                <a:gd name="T9" fmla="*/ 88 h 216"/>
                <a:gd name="T10" fmla="*/ 264 w 338"/>
                <a:gd name="T11" fmla="*/ 79 h 216"/>
                <a:gd name="T12" fmla="*/ 271 w 338"/>
                <a:gd name="T13" fmla="*/ 53 h 216"/>
                <a:gd name="T14" fmla="*/ 245 w 338"/>
                <a:gd name="T15" fmla="*/ 17 h 216"/>
                <a:gd name="T16" fmla="*/ 216 w 338"/>
                <a:gd name="T17" fmla="*/ 14 h 216"/>
                <a:gd name="T18" fmla="*/ 205 w 338"/>
                <a:gd name="T19" fmla="*/ 10 h 216"/>
                <a:gd name="T20" fmla="*/ 200 w 338"/>
                <a:gd name="T21" fmla="*/ 2 h 216"/>
                <a:gd name="T22" fmla="*/ 190 w 338"/>
                <a:gd name="T23" fmla="*/ 5 h 216"/>
                <a:gd name="T24" fmla="*/ 182 w 338"/>
                <a:gd name="T25" fmla="*/ 16 h 216"/>
                <a:gd name="T26" fmla="*/ 197 w 338"/>
                <a:gd name="T27" fmla="*/ 17 h 216"/>
                <a:gd name="T28" fmla="*/ 196 w 338"/>
                <a:gd name="T29" fmla="*/ 20 h 216"/>
                <a:gd name="T30" fmla="*/ 188 w 338"/>
                <a:gd name="T31" fmla="*/ 22 h 216"/>
                <a:gd name="T32" fmla="*/ 171 w 338"/>
                <a:gd name="T33" fmla="*/ 20 h 216"/>
                <a:gd name="T34" fmla="*/ 160 w 338"/>
                <a:gd name="T35" fmla="*/ 27 h 216"/>
                <a:gd name="T36" fmla="*/ 133 w 338"/>
                <a:gd name="T37" fmla="*/ 28 h 216"/>
                <a:gd name="T38" fmla="*/ 120 w 338"/>
                <a:gd name="T39" fmla="*/ 25 h 216"/>
                <a:gd name="T40" fmla="*/ 114 w 338"/>
                <a:gd name="T41" fmla="*/ 33 h 216"/>
                <a:gd name="T42" fmla="*/ 111 w 338"/>
                <a:gd name="T43" fmla="*/ 34 h 216"/>
                <a:gd name="T44" fmla="*/ 103 w 338"/>
                <a:gd name="T45" fmla="*/ 42 h 216"/>
                <a:gd name="T46" fmla="*/ 93 w 338"/>
                <a:gd name="T47" fmla="*/ 36 h 216"/>
                <a:gd name="T48" fmla="*/ 77 w 338"/>
                <a:gd name="T49" fmla="*/ 36 h 216"/>
                <a:gd name="T50" fmla="*/ 70 w 338"/>
                <a:gd name="T51" fmla="*/ 50 h 216"/>
                <a:gd name="T52" fmla="*/ 77 w 338"/>
                <a:gd name="T53" fmla="*/ 56 h 216"/>
                <a:gd name="T54" fmla="*/ 59 w 338"/>
                <a:gd name="T55" fmla="*/ 77 h 216"/>
                <a:gd name="T56" fmla="*/ 37 w 338"/>
                <a:gd name="T57" fmla="*/ 102 h 216"/>
                <a:gd name="T58" fmla="*/ 36 w 338"/>
                <a:gd name="T59" fmla="*/ 114 h 216"/>
                <a:gd name="T60" fmla="*/ 9 w 338"/>
                <a:gd name="T61" fmla="*/ 145 h 216"/>
                <a:gd name="T62" fmla="*/ 13 w 338"/>
                <a:gd name="T63" fmla="*/ 154 h 216"/>
                <a:gd name="T64" fmla="*/ 9 w 338"/>
                <a:gd name="T65" fmla="*/ 171 h 216"/>
                <a:gd name="T66" fmla="*/ 2 w 338"/>
                <a:gd name="T67" fmla="*/ 181 h 216"/>
                <a:gd name="T68" fmla="*/ 23 w 338"/>
                <a:gd name="T69" fmla="*/ 168 h 216"/>
                <a:gd name="T70" fmla="*/ 31 w 338"/>
                <a:gd name="T71" fmla="*/ 153 h 216"/>
                <a:gd name="T72" fmla="*/ 60 w 338"/>
                <a:gd name="T73" fmla="*/ 157 h 216"/>
                <a:gd name="T74" fmla="*/ 68 w 338"/>
                <a:gd name="T75" fmla="*/ 187 h 216"/>
                <a:gd name="T76" fmla="*/ 70 w 338"/>
                <a:gd name="T77" fmla="*/ 191 h 216"/>
                <a:gd name="T78" fmla="*/ 85 w 338"/>
                <a:gd name="T79" fmla="*/ 210 h 216"/>
                <a:gd name="T80" fmla="*/ 117 w 338"/>
                <a:gd name="T81" fmla="*/ 201 h 216"/>
                <a:gd name="T82" fmla="*/ 137 w 338"/>
                <a:gd name="T83" fmla="*/ 205 h 216"/>
                <a:gd name="T84" fmla="*/ 151 w 338"/>
                <a:gd name="T85" fmla="*/ 197 h 216"/>
                <a:gd name="T86" fmla="*/ 159 w 338"/>
                <a:gd name="T87" fmla="*/ 185 h 216"/>
                <a:gd name="T88" fmla="*/ 168 w 338"/>
                <a:gd name="T89" fmla="*/ 164 h 216"/>
                <a:gd name="T90" fmla="*/ 182 w 338"/>
                <a:gd name="T91" fmla="*/ 148 h 216"/>
                <a:gd name="T92" fmla="*/ 190 w 338"/>
                <a:gd name="T93" fmla="*/ 173 h 216"/>
                <a:gd name="T94" fmla="*/ 208 w 338"/>
                <a:gd name="T95" fmla="*/ 185 h 216"/>
                <a:gd name="T96" fmla="*/ 211 w 338"/>
                <a:gd name="T97" fmla="*/ 199 h 216"/>
                <a:gd name="T98" fmla="*/ 221 w 338"/>
                <a:gd name="T99" fmla="*/ 214 h 216"/>
                <a:gd name="T100" fmla="*/ 227 w 338"/>
                <a:gd name="T101" fmla="*/ 201 h 216"/>
                <a:gd name="T102" fmla="*/ 233 w 338"/>
                <a:gd name="T103" fmla="*/ 188 h 216"/>
                <a:gd name="T104" fmla="*/ 244 w 338"/>
                <a:gd name="T105" fmla="*/ 173 h 216"/>
                <a:gd name="T106" fmla="*/ 247 w 338"/>
                <a:gd name="T107" fmla="*/ 147 h 216"/>
                <a:gd name="T108" fmla="*/ 259 w 338"/>
                <a:gd name="T109" fmla="*/ 144 h 216"/>
                <a:gd name="T110" fmla="*/ 270 w 338"/>
                <a:gd name="T111" fmla="*/ 165 h 216"/>
                <a:gd name="T112" fmla="*/ 291 w 338"/>
                <a:gd name="T113" fmla="*/ 157 h 216"/>
                <a:gd name="T114" fmla="*/ 308 w 338"/>
                <a:gd name="T115" fmla="*/ 173 h 216"/>
                <a:gd name="T116" fmla="*/ 311 w 338"/>
                <a:gd name="T117" fmla="*/ 156 h 216"/>
                <a:gd name="T118" fmla="*/ 304 w 338"/>
                <a:gd name="T119" fmla="*/ 142 h 216"/>
                <a:gd name="T120" fmla="*/ 319 w 338"/>
                <a:gd name="T121" fmla="*/ 131 h 216"/>
                <a:gd name="T122" fmla="*/ 336 w 338"/>
                <a:gd name="T123" fmla="*/ 13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8" h="216">
                  <a:moveTo>
                    <a:pt x="336" y="130"/>
                  </a:moveTo>
                  <a:lnTo>
                    <a:pt x="334" y="128"/>
                  </a:lnTo>
                  <a:lnTo>
                    <a:pt x="331" y="128"/>
                  </a:lnTo>
                  <a:lnTo>
                    <a:pt x="330" y="127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1" y="122"/>
                  </a:lnTo>
                  <a:lnTo>
                    <a:pt x="331" y="120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7"/>
                  </a:lnTo>
                  <a:lnTo>
                    <a:pt x="333" y="116"/>
                  </a:lnTo>
                  <a:lnTo>
                    <a:pt x="334" y="116"/>
                  </a:lnTo>
                  <a:lnTo>
                    <a:pt x="334" y="114"/>
                  </a:lnTo>
                  <a:lnTo>
                    <a:pt x="333" y="113"/>
                  </a:lnTo>
                  <a:lnTo>
                    <a:pt x="333" y="111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6" y="107"/>
                  </a:lnTo>
                  <a:lnTo>
                    <a:pt x="336" y="104"/>
                  </a:lnTo>
                  <a:lnTo>
                    <a:pt x="336" y="100"/>
                  </a:lnTo>
                  <a:lnTo>
                    <a:pt x="336" y="97"/>
                  </a:lnTo>
                  <a:lnTo>
                    <a:pt x="336" y="96"/>
                  </a:lnTo>
                  <a:lnTo>
                    <a:pt x="336" y="94"/>
                  </a:lnTo>
                  <a:lnTo>
                    <a:pt x="333" y="93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1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27" y="90"/>
                  </a:lnTo>
                  <a:lnTo>
                    <a:pt x="325" y="93"/>
                  </a:lnTo>
                  <a:lnTo>
                    <a:pt x="324" y="94"/>
                  </a:lnTo>
                  <a:lnTo>
                    <a:pt x="324" y="97"/>
                  </a:lnTo>
                  <a:lnTo>
                    <a:pt x="322" y="97"/>
                  </a:lnTo>
                  <a:lnTo>
                    <a:pt x="321" y="97"/>
                  </a:lnTo>
                  <a:lnTo>
                    <a:pt x="319" y="97"/>
                  </a:lnTo>
                  <a:lnTo>
                    <a:pt x="319" y="99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18" y="102"/>
                  </a:lnTo>
                  <a:lnTo>
                    <a:pt x="318" y="104"/>
                  </a:lnTo>
                  <a:lnTo>
                    <a:pt x="314" y="105"/>
                  </a:lnTo>
                  <a:lnTo>
                    <a:pt x="311" y="105"/>
                  </a:lnTo>
                  <a:lnTo>
                    <a:pt x="311" y="105"/>
                  </a:lnTo>
                  <a:lnTo>
                    <a:pt x="310" y="105"/>
                  </a:lnTo>
                  <a:lnTo>
                    <a:pt x="307" y="104"/>
                  </a:lnTo>
                  <a:lnTo>
                    <a:pt x="305" y="104"/>
                  </a:lnTo>
                  <a:lnTo>
                    <a:pt x="302" y="100"/>
                  </a:lnTo>
                  <a:lnTo>
                    <a:pt x="294" y="97"/>
                  </a:lnTo>
                  <a:lnTo>
                    <a:pt x="293" y="96"/>
                  </a:lnTo>
                  <a:lnTo>
                    <a:pt x="291" y="96"/>
                  </a:lnTo>
                  <a:lnTo>
                    <a:pt x="291" y="94"/>
                  </a:lnTo>
                  <a:lnTo>
                    <a:pt x="291" y="93"/>
                  </a:lnTo>
                  <a:lnTo>
                    <a:pt x="293" y="91"/>
                  </a:lnTo>
                  <a:lnTo>
                    <a:pt x="293" y="90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1" y="87"/>
                  </a:lnTo>
                  <a:lnTo>
                    <a:pt x="277" y="82"/>
                  </a:lnTo>
                  <a:lnTo>
                    <a:pt x="276" y="82"/>
                  </a:lnTo>
                  <a:lnTo>
                    <a:pt x="273" y="83"/>
                  </a:lnTo>
                  <a:lnTo>
                    <a:pt x="271" y="82"/>
                  </a:lnTo>
                  <a:lnTo>
                    <a:pt x="270" y="83"/>
                  </a:lnTo>
                  <a:lnTo>
                    <a:pt x="265" y="82"/>
                  </a:lnTo>
                  <a:lnTo>
                    <a:pt x="264" y="82"/>
                  </a:lnTo>
                  <a:lnTo>
                    <a:pt x="264" y="80"/>
                  </a:lnTo>
                  <a:lnTo>
                    <a:pt x="264" y="79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1"/>
                  </a:lnTo>
                  <a:lnTo>
                    <a:pt x="264" y="70"/>
                  </a:lnTo>
                  <a:lnTo>
                    <a:pt x="264" y="65"/>
                  </a:lnTo>
                  <a:lnTo>
                    <a:pt x="265" y="62"/>
                  </a:lnTo>
                  <a:lnTo>
                    <a:pt x="267" y="60"/>
                  </a:lnTo>
                  <a:lnTo>
                    <a:pt x="268" y="56"/>
                  </a:lnTo>
                  <a:lnTo>
                    <a:pt x="271" y="53"/>
                  </a:lnTo>
                  <a:lnTo>
                    <a:pt x="271" y="53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6" y="45"/>
                  </a:lnTo>
                  <a:lnTo>
                    <a:pt x="276" y="43"/>
                  </a:lnTo>
                  <a:lnTo>
                    <a:pt x="276" y="39"/>
                  </a:lnTo>
                  <a:lnTo>
                    <a:pt x="274" y="37"/>
                  </a:lnTo>
                  <a:lnTo>
                    <a:pt x="271" y="36"/>
                  </a:lnTo>
                  <a:lnTo>
                    <a:pt x="268" y="33"/>
                  </a:lnTo>
                  <a:lnTo>
                    <a:pt x="268" y="33"/>
                  </a:lnTo>
                  <a:lnTo>
                    <a:pt x="268" y="30"/>
                  </a:lnTo>
                  <a:lnTo>
                    <a:pt x="248" y="17"/>
                  </a:lnTo>
                  <a:lnTo>
                    <a:pt x="245" y="17"/>
                  </a:lnTo>
                  <a:lnTo>
                    <a:pt x="242" y="17"/>
                  </a:lnTo>
                  <a:lnTo>
                    <a:pt x="242" y="16"/>
                  </a:lnTo>
                  <a:lnTo>
                    <a:pt x="237" y="16"/>
                  </a:lnTo>
                  <a:lnTo>
                    <a:pt x="228" y="14"/>
                  </a:lnTo>
                  <a:lnTo>
                    <a:pt x="228" y="14"/>
                  </a:lnTo>
                  <a:lnTo>
                    <a:pt x="227" y="16"/>
                  </a:lnTo>
                  <a:lnTo>
                    <a:pt x="224" y="17"/>
                  </a:lnTo>
                  <a:lnTo>
                    <a:pt x="221" y="17"/>
                  </a:lnTo>
                  <a:lnTo>
                    <a:pt x="219" y="17"/>
                  </a:lnTo>
                  <a:lnTo>
                    <a:pt x="217" y="16"/>
                  </a:lnTo>
                  <a:lnTo>
                    <a:pt x="216" y="16"/>
                  </a:lnTo>
                  <a:lnTo>
                    <a:pt x="216" y="14"/>
                  </a:lnTo>
                  <a:lnTo>
                    <a:pt x="216" y="13"/>
                  </a:lnTo>
                  <a:lnTo>
                    <a:pt x="217" y="13"/>
                  </a:lnTo>
                  <a:lnTo>
                    <a:pt x="214" y="11"/>
                  </a:lnTo>
                  <a:lnTo>
                    <a:pt x="213" y="10"/>
                  </a:lnTo>
                  <a:lnTo>
                    <a:pt x="211" y="10"/>
                  </a:lnTo>
                  <a:lnTo>
                    <a:pt x="210" y="11"/>
                  </a:lnTo>
                  <a:lnTo>
                    <a:pt x="211" y="13"/>
                  </a:lnTo>
                  <a:lnTo>
                    <a:pt x="207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205" y="10"/>
                  </a:lnTo>
                  <a:lnTo>
                    <a:pt x="205" y="10"/>
                  </a:lnTo>
                  <a:lnTo>
                    <a:pt x="205" y="8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07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0" y="5"/>
                  </a:lnTo>
                  <a:lnTo>
                    <a:pt x="199" y="5"/>
                  </a:lnTo>
                  <a:lnTo>
                    <a:pt x="199" y="5"/>
                  </a:lnTo>
                  <a:lnTo>
                    <a:pt x="199" y="3"/>
                  </a:lnTo>
                  <a:lnTo>
                    <a:pt x="197" y="2"/>
                  </a:lnTo>
                  <a:lnTo>
                    <a:pt x="197" y="2"/>
                  </a:lnTo>
                  <a:lnTo>
                    <a:pt x="196" y="0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4" y="3"/>
                  </a:lnTo>
                  <a:lnTo>
                    <a:pt x="193" y="3"/>
                  </a:lnTo>
                  <a:lnTo>
                    <a:pt x="190" y="5"/>
                  </a:lnTo>
                  <a:lnTo>
                    <a:pt x="188" y="5"/>
                  </a:lnTo>
                  <a:lnTo>
                    <a:pt x="188" y="5"/>
                  </a:lnTo>
                  <a:lnTo>
                    <a:pt x="187" y="6"/>
                  </a:lnTo>
                  <a:lnTo>
                    <a:pt x="187" y="6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4" y="11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2" y="14"/>
                  </a:lnTo>
                  <a:lnTo>
                    <a:pt x="184" y="14"/>
                  </a:lnTo>
                  <a:lnTo>
                    <a:pt x="182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5" y="17"/>
                  </a:lnTo>
                  <a:lnTo>
                    <a:pt x="187" y="19"/>
                  </a:lnTo>
                  <a:lnTo>
                    <a:pt x="188" y="19"/>
                  </a:lnTo>
                  <a:lnTo>
                    <a:pt x="190" y="17"/>
                  </a:lnTo>
                  <a:lnTo>
                    <a:pt x="191" y="17"/>
                  </a:lnTo>
                  <a:lnTo>
                    <a:pt x="191" y="17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9" y="17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7" y="19"/>
                  </a:lnTo>
                  <a:lnTo>
                    <a:pt x="196" y="19"/>
                  </a:lnTo>
                  <a:lnTo>
                    <a:pt x="196" y="19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194" y="23"/>
                  </a:lnTo>
                  <a:lnTo>
                    <a:pt x="194" y="23"/>
                  </a:lnTo>
                  <a:lnTo>
                    <a:pt x="194" y="23"/>
                  </a:lnTo>
                  <a:lnTo>
                    <a:pt x="193" y="22"/>
                  </a:lnTo>
                  <a:lnTo>
                    <a:pt x="193" y="20"/>
                  </a:lnTo>
                  <a:lnTo>
                    <a:pt x="190" y="20"/>
                  </a:lnTo>
                  <a:lnTo>
                    <a:pt x="188" y="22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79" y="25"/>
                  </a:lnTo>
                  <a:lnTo>
                    <a:pt x="177" y="25"/>
                  </a:lnTo>
                  <a:lnTo>
                    <a:pt x="176" y="23"/>
                  </a:lnTo>
                  <a:lnTo>
                    <a:pt x="176" y="23"/>
                  </a:lnTo>
                  <a:lnTo>
                    <a:pt x="176" y="22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4" y="23"/>
                  </a:lnTo>
                  <a:lnTo>
                    <a:pt x="162" y="23"/>
                  </a:lnTo>
                  <a:lnTo>
                    <a:pt x="162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56" y="28"/>
                  </a:lnTo>
                  <a:lnTo>
                    <a:pt x="147" y="28"/>
                  </a:lnTo>
                  <a:lnTo>
                    <a:pt x="147" y="27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9" y="25"/>
                  </a:lnTo>
                  <a:lnTo>
                    <a:pt x="137" y="27"/>
                  </a:lnTo>
                  <a:lnTo>
                    <a:pt x="136" y="28"/>
                  </a:lnTo>
                  <a:lnTo>
                    <a:pt x="133" y="28"/>
                  </a:lnTo>
                  <a:lnTo>
                    <a:pt x="130" y="30"/>
                  </a:lnTo>
                  <a:lnTo>
                    <a:pt x="128" y="30"/>
                  </a:lnTo>
                  <a:lnTo>
                    <a:pt x="127" y="28"/>
                  </a:lnTo>
                  <a:lnTo>
                    <a:pt x="123" y="27"/>
                  </a:lnTo>
                  <a:lnTo>
                    <a:pt x="125" y="27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28" y="23"/>
                  </a:lnTo>
                  <a:lnTo>
                    <a:pt x="127" y="23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0" y="25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1" y="36"/>
                  </a:lnTo>
                  <a:lnTo>
                    <a:pt x="111" y="34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3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0"/>
                  </a:lnTo>
                  <a:lnTo>
                    <a:pt x="91" y="40"/>
                  </a:lnTo>
                  <a:lnTo>
                    <a:pt x="91" y="39"/>
                  </a:lnTo>
                  <a:lnTo>
                    <a:pt x="93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34"/>
                  </a:lnTo>
                  <a:lnTo>
                    <a:pt x="87" y="34"/>
                  </a:lnTo>
                  <a:lnTo>
                    <a:pt x="83" y="36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9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2"/>
                  </a:lnTo>
                  <a:lnTo>
                    <a:pt x="73" y="42"/>
                  </a:lnTo>
                  <a:lnTo>
                    <a:pt x="73" y="45"/>
                  </a:lnTo>
                  <a:lnTo>
                    <a:pt x="71" y="45"/>
                  </a:lnTo>
                  <a:lnTo>
                    <a:pt x="70" y="47"/>
                  </a:lnTo>
                  <a:lnTo>
                    <a:pt x="70" y="48"/>
                  </a:lnTo>
                  <a:lnTo>
                    <a:pt x="70" y="50"/>
                  </a:lnTo>
                  <a:lnTo>
                    <a:pt x="77" y="50"/>
                  </a:lnTo>
                  <a:lnTo>
                    <a:pt x="79" y="48"/>
                  </a:lnTo>
                  <a:lnTo>
                    <a:pt x="80" y="50"/>
                  </a:lnTo>
                  <a:lnTo>
                    <a:pt x="82" y="50"/>
                  </a:lnTo>
                  <a:lnTo>
                    <a:pt x="82" y="51"/>
                  </a:lnTo>
                  <a:lnTo>
                    <a:pt x="82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4"/>
                  </a:lnTo>
                  <a:lnTo>
                    <a:pt x="79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6" y="57"/>
                  </a:lnTo>
                  <a:lnTo>
                    <a:pt x="76" y="59"/>
                  </a:lnTo>
                  <a:lnTo>
                    <a:pt x="76" y="62"/>
                  </a:lnTo>
                  <a:lnTo>
                    <a:pt x="71" y="65"/>
                  </a:lnTo>
                  <a:lnTo>
                    <a:pt x="68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2" y="74"/>
                  </a:lnTo>
                  <a:lnTo>
                    <a:pt x="60" y="76"/>
                  </a:lnTo>
                  <a:lnTo>
                    <a:pt x="60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4" y="82"/>
                  </a:lnTo>
                  <a:lnTo>
                    <a:pt x="56" y="83"/>
                  </a:lnTo>
                  <a:lnTo>
                    <a:pt x="54" y="87"/>
                  </a:lnTo>
                  <a:lnTo>
                    <a:pt x="50" y="90"/>
                  </a:lnTo>
                  <a:lnTo>
                    <a:pt x="40" y="93"/>
                  </a:lnTo>
                  <a:lnTo>
                    <a:pt x="37" y="94"/>
                  </a:lnTo>
                  <a:lnTo>
                    <a:pt x="36" y="99"/>
                  </a:lnTo>
                  <a:lnTo>
                    <a:pt x="37" y="99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4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7" y="107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7" y="111"/>
                  </a:lnTo>
                  <a:lnTo>
                    <a:pt x="37" y="114"/>
                  </a:lnTo>
                  <a:lnTo>
                    <a:pt x="36" y="114"/>
                  </a:lnTo>
                  <a:lnTo>
                    <a:pt x="36" y="116"/>
                  </a:lnTo>
                  <a:lnTo>
                    <a:pt x="34" y="116"/>
                  </a:lnTo>
                  <a:lnTo>
                    <a:pt x="33" y="117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25" y="124"/>
                  </a:lnTo>
                  <a:lnTo>
                    <a:pt x="14" y="133"/>
                  </a:lnTo>
                  <a:lnTo>
                    <a:pt x="13" y="134"/>
                  </a:lnTo>
                  <a:lnTo>
                    <a:pt x="14" y="136"/>
                  </a:lnTo>
                  <a:lnTo>
                    <a:pt x="16" y="137"/>
                  </a:lnTo>
                  <a:lnTo>
                    <a:pt x="13" y="140"/>
                  </a:lnTo>
                  <a:lnTo>
                    <a:pt x="9" y="145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9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3" y="154"/>
                  </a:lnTo>
                  <a:lnTo>
                    <a:pt x="14" y="154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3" y="160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1" y="167"/>
                  </a:lnTo>
                  <a:lnTo>
                    <a:pt x="11" y="168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8" y="171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3" y="173"/>
                  </a:lnTo>
                  <a:lnTo>
                    <a:pt x="2" y="174"/>
                  </a:lnTo>
                  <a:lnTo>
                    <a:pt x="0" y="174"/>
                  </a:lnTo>
                  <a:lnTo>
                    <a:pt x="2" y="176"/>
                  </a:lnTo>
                  <a:lnTo>
                    <a:pt x="3" y="177"/>
                  </a:lnTo>
                  <a:lnTo>
                    <a:pt x="3" y="179"/>
                  </a:lnTo>
                  <a:lnTo>
                    <a:pt x="2" y="181"/>
                  </a:lnTo>
                  <a:lnTo>
                    <a:pt x="2" y="182"/>
                  </a:lnTo>
                  <a:lnTo>
                    <a:pt x="3" y="182"/>
                  </a:lnTo>
                  <a:lnTo>
                    <a:pt x="6" y="181"/>
                  </a:lnTo>
                  <a:lnTo>
                    <a:pt x="9" y="181"/>
                  </a:lnTo>
                  <a:lnTo>
                    <a:pt x="13" y="182"/>
                  </a:lnTo>
                  <a:lnTo>
                    <a:pt x="14" y="181"/>
                  </a:lnTo>
                  <a:lnTo>
                    <a:pt x="19" y="176"/>
                  </a:lnTo>
                  <a:lnTo>
                    <a:pt x="23" y="173"/>
                  </a:lnTo>
                  <a:lnTo>
                    <a:pt x="25" y="171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3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7"/>
                  </a:lnTo>
                  <a:lnTo>
                    <a:pt x="22" y="165"/>
                  </a:lnTo>
                  <a:lnTo>
                    <a:pt x="20" y="164"/>
                  </a:lnTo>
                  <a:lnTo>
                    <a:pt x="20" y="162"/>
                  </a:lnTo>
                  <a:lnTo>
                    <a:pt x="20" y="160"/>
                  </a:lnTo>
                  <a:lnTo>
                    <a:pt x="22" y="159"/>
                  </a:lnTo>
                  <a:lnTo>
                    <a:pt x="25" y="156"/>
                  </a:lnTo>
                  <a:lnTo>
                    <a:pt x="26" y="154"/>
                  </a:lnTo>
                  <a:lnTo>
                    <a:pt x="30" y="153"/>
                  </a:lnTo>
                  <a:lnTo>
                    <a:pt x="31" y="153"/>
                  </a:lnTo>
                  <a:lnTo>
                    <a:pt x="34" y="153"/>
                  </a:lnTo>
                  <a:lnTo>
                    <a:pt x="40" y="148"/>
                  </a:lnTo>
                  <a:lnTo>
                    <a:pt x="45" y="147"/>
                  </a:lnTo>
                  <a:lnTo>
                    <a:pt x="50" y="148"/>
                  </a:lnTo>
                  <a:lnTo>
                    <a:pt x="62" y="150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3" y="151"/>
                  </a:lnTo>
                  <a:lnTo>
                    <a:pt x="63" y="153"/>
                  </a:lnTo>
                  <a:lnTo>
                    <a:pt x="63" y="154"/>
                  </a:lnTo>
                  <a:lnTo>
                    <a:pt x="62" y="156"/>
                  </a:lnTo>
                  <a:lnTo>
                    <a:pt x="60" y="157"/>
                  </a:lnTo>
                  <a:lnTo>
                    <a:pt x="60" y="159"/>
                  </a:lnTo>
                  <a:lnTo>
                    <a:pt x="62" y="162"/>
                  </a:lnTo>
                  <a:lnTo>
                    <a:pt x="65" y="165"/>
                  </a:lnTo>
                  <a:lnTo>
                    <a:pt x="66" y="168"/>
                  </a:lnTo>
                  <a:lnTo>
                    <a:pt x="63" y="173"/>
                  </a:lnTo>
                  <a:lnTo>
                    <a:pt x="62" y="176"/>
                  </a:lnTo>
                  <a:lnTo>
                    <a:pt x="62" y="181"/>
                  </a:lnTo>
                  <a:lnTo>
                    <a:pt x="62" y="182"/>
                  </a:lnTo>
                  <a:lnTo>
                    <a:pt x="68" y="184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68" y="188"/>
                  </a:lnTo>
                  <a:lnTo>
                    <a:pt x="68" y="190"/>
                  </a:lnTo>
                  <a:lnTo>
                    <a:pt x="68" y="190"/>
                  </a:lnTo>
                  <a:lnTo>
                    <a:pt x="68" y="190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1" y="190"/>
                  </a:lnTo>
                  <a:lnTo>
                    <a:pt x="73" y="191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9"/>
                  </a:lnTo>
                  <a:lnTo>
                    <a:pt x="79" y="201"/>
                  </a:lnTo>
                  <a:lnTo>
                    <a:pt x="79" y="202"/>
                  </a:lnTo>
                  <a:lnTo>
                    <a:pt x="80" y="204"/>
                  </a:lnTo>
                  <a:lnTo>
                    <a:pt x="80" y="205"/>
                  </a:lnTo>
                  <a:lnTo>
                    <a:pt x="83" y="208"/>
                  </a:lnTo>
                  <a:lnTo>
                    <a:pt x="85" y="210"/>
                  </a:lnTo>
                  <a:lnTo>
                    <a:pt x="88" y="210"/>
                  </a:lnTo>
                  <a:lnTo>
                    <a:pt x="90" y="210"/>
                  </a:lnTo>
                  <a:lnTo>
                    <a:pt x="93" y="210"/>
                  </a:lnTo>
                  <a:lnTo>
                    <a:pt x="97" y="207"/>
                  </a:lnTo>
                  <a:lnTo>
                    <a:pt x="99" y="207"/>
                  </a:lnTo>
                  <a:lnTo>
                    <a:pt x="100" y="205"/>
                  </a:lnTo>
                  <a:lnTo>
                    <a:pt x="105" y="207"/>
                  </a:lnTo>
                  <a:lnTo>
                    <a:pt x="108" y="205"/>
                  </a:lnTo>
                  <a:lnTo>
                    <a:pt x="113" y="202"/>
                  </a:lnTo>
                  <a:lnTo>
                    <a:pt x="114" y="201"/>
                  </a:lnTo>
                  <a:lnTo>
                    <a:pt x="116" y="201"/>
                  </a:lnTo>
                  <a:lnTo>
                    <a:pt x="117" y="201"/>
                  </a:lnTo>
                  <a:lnTo>
                    <a:pt x="117" y="199"/>
                  </a:lnTo>
                  <a:lnTo>
                    <a:pt x="119" y="197"/>
                  </a:lnTo>
                  <a:lnTo>
                    <a:pt x="127" y="201"/>
                  </a:lnTo>
                  <a:lnTo>
                    <a:pt x="128" y="201"/>
                  </a:lnTo>
                  <a:lnTo>
                    <a:pt x="130" y="202"/>
                  </a:lnTo>
                  <a:lnTo>
                    <a:pt x="130" y="204"/>
                  </a:lnTo>
                  <a:lnTo>
                    <a:pt x="131" y="204"/>
                  </a:lnTo>
                  <a:lnTo>
                    <a:pt x="131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7" y="205"/>
                  </a:lnTo>
                  <a:lnTo>
                    <a:pt x="139" y="205"/>
                  </a:lnTo>
                  <a:lnTo>
                    <a:pt x="140" y="205"/>
                  </a:lnTo>
                  <a:lnTo>
                    <a:pt x="140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3" y="199"/>
                  </a:lnTo>
                  <a:lnTo>
                    <a:pt x="145" y="199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3" y="196"/>
                  </a:lnTo>
                  <a:lnTo>
                    <a:pt x="153" y="196"/>
                  </a:lnTo>
                  <a:lnTo>
                    <a:pt x="153" y="194"/>
                  </a:lnTo>
                  <a:lnTo>
                    <a:pt x="154" y="193"/>
                  </a:lnTo>
                  <a:lnTo>
                    <a:pt x="154" y="193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4" y="188"/>
                  </a:lnTo>
                  <a:lnTo>
                    <a:pt x="156" y="187"/>
                  </a:lnTo>
                  <a:lnTo>
                    <a:pt x="156" y="187"/>
                  </a:lnTo>
                  <a:lnTo>
                    <a:pt x="157" y="187"/>
                  </a:lnTo>
                  <a:lnTo>
                    <a:pt x="159" y="185"/>
                  </a:lnTo>
                  <a:lnTo>
                    <a:pt x="162" y="184"/>
                  </a:lnTo>
                  <a:lnTo>
                    <a:pt x="164" y="179"/>
                  </a:lnTo>
                  <a:lnTo>
                    <a:pt x="164" y="176"/>
                  </a:lnTo>
                  <a:lnTo>
                    <a:pt x="160" y="171"/>
                  </a:lnTo>
                  <a:lnTo>
                    <a:pt x="159" y="170"/>
                  </a:lnTo>
                  <a:lnTo>
                    <a:pt x="159" y="170"/>
                  </a:lnTo>
                  <a:lnTo>
                    <a:pt x="159" y="168"/>
                  </a:lnTo>
                  <a:lnTo>
                    <a:pt x="160" y="167"/>
                  </a:lnTo>
                  <a:lnTo>
                    <a:pt x="160" y="165"/>
                  </a:lnTo>
                  <a:lnTo>
                    <a:pt x="164" y="165"/>
                  </a:lnTo>
                  <a:lnTo>
                    <a:pt x="167" y="165"/>
                  </a:lnTo>
                  <a:lnTo>
                    <a:pt x="168" y="164"/>
                  </a:lnTo>
                  <a:lnTo>
                    <a:pt x="171" y="159"/>
                  </a:lnTo>
                  <a:lnTo>
                    <a:pt x="173" y="157"/>
                  </a:lnTo>
                  <a:lnTo>
                    <a:pt x="174" y="157"/>
                  </a:lnTo>
                  <a:lnTo>
                    <a:pt x="174" y="156"/>
                  </a:lnTo>
                  <a:lnTo>
                    <a:pt x="176" y="154"/>
                  </a:lnTo>
                  <a:lnTo>
                    <a:pt x="176" y="154"/>
                  </a:lnTo>
                  <a:lnTo>
                    <a:pt x="174" y="153"/>
                  </a:lnTo>
                  <a:lnTo>
                    <a:pt x="174" y="153"/>
                  </a:lnTo>
                  <a:lnTo>
                    <a:pt x="176" y="151"/>
                  </a:lnTo>
                  <a:lnTo>
                    <a:pt x="177" y="150"/>
                  </a:lnTo>
                  <a:lnTo>
                    <a:pt x="179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5" y="148"/>
                  </a:lnTo>
                  <a:lnTo>
                    <a:pt x="187" y="150"/>
                  </a:lnTo>
                  <a:lnTo>
                    <a:pt x="187" y="153"/>
                  </a:lnTo>
                  <a:lnTo>
                    <a:pt x="187" y="156"/>
                  </a:lnTo>
                  <a:lnTo>
                    <a:pt x="187" y="159"/>
                  </a:lnTo>
                  <a:lnTo>
                    <a:pt x="185" y="164"/>
                  </a:lnTo>
                  <a:lnTo>
                    <a:pt x="185" y="167"/>
                  </a:lnTo>
                  <a:lnTo>
                    <a:pt x="185" y="170"/>
                  </a:lnTo>
                  <a:lnTo>
                    <a:pt x="185" y="171"/>
                  </a:lnTo>
                  <a:lnTo>
                    <a:pt x="187" y="173"/>
                  </a:lnTo>
                  <a:lnTo>
                    <a:pt x="190" y="173"/>
                  </a:lnTo>
                  <a:lnTo>
                    <a:pt x="191" y="174"/>
                  </a:lnTo>
                  <a:lnTo>
                    <a:pt x="193" y="176"/>
                  </a:lnTo>
                  <a:lnTo>
                    <a:pt x="197" y="184"/>
                  </a:lnTo>
                  <a:lnTo>
                    <a:pt x="199" y="184"/>
                  </a:lnTo>
                  <a:lnTo>
                    <a:pt x="200" y="184"/>
                  </a:lnTo>
                  <a:lnTo>
                    <a:pt x="204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7" y="185"/>
                  </a:lnTo>
                  <a:lnTo>
                    <a:pt x="208" y="185"/>
                  </a:lnTo>
                  <a:lnTo>
                    <a:pt x="208" y="185"/>
                  </a:lnTo>
                  <a:lnTo>
                    <a:pt x="208" y="187"/>
                  </a:lnTo>
                  <a:lnTo>
                    <a:pt x="208" y="187"/>
                  </a:lnTo>
                  <a:lnTo>
                    <a:pt x="210" y="187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6" y="190"/>
                  </a:lnTo>
                  <a:lnTo>
                    <a:pt x="214" y="191"/>
                  </a:lnTo>
                  <a:lnTo>
                    <a:pt x="213" y="194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3" y="199"/>
                  </a:lnTo>
                  <a:lnTo>
                    <a:pt x="217" y="201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19" y="204"/>
                  </a:lnTo>
                  <a:lnTo>
                    <a:pt x="221" y="207"/>
                  </a:lnTo>
                  <a:lnTo>
                    <a:pt x="221" y="208"/>
                  </a:lnTo>
                  <a:lnTo>
                    <a:pt x="221" y="208"/>
                  </a:lnTo>
                  <a:lnTo>
                    <a:pt x="221" y="211"/>
                  </a:lnTo>
                  <a:lnTo>
                    <a:pt x="221" y="211"/>
                  </a:lnTo>
                  <a:lnTo>
                    <a:pt x="221" y="213"/>
                  </a:lnTo>
                  <a:lnTo>
                    <a:pt x="221" y="214"/>
                  </a:lnTo>
                  <a:lnTo>
                    <a:pt x="224" y="214"/>
                  </a:lnTo>
                  <a:lnTo>
                    <a:pt x="225" y="214"/>
                  </a:lnTo>
                  <a:lnTo>
                    <a:pt x="228" y="216"/>
                  </a:lnTo>
                  <a:lnTo>
                    <a:pt x="230" y="213"/>
                  </a:lnTo>
                  <a:lnTo>
                    <a:pt x="233" y="210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31" y="205"/>
                  </a:lnTo>
                  <a:lnTo>
                    <a:pt x="230" y="205"/>
                  </a:lnTo>
                  <a:lnTo>
                    <a:pt x="228" y="204"/>
                  </a:lnTo>
                  <a:lnTo>
                    <a:pt x="228" y="204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201"/>
                  </a:lnTo>
                  <a:lnTo>
                    <a:pt x="227" y="199"/>
                  </a:lnTo>
                  <a:lnTo>
                    <a:pt x="227" y="199"/>
                  </a:lnTo>
                  <a:lnTo>
                    <a:pt x="228" y="197"/>
                  </a:lnTo>
                  <a:lnTo>
                    <a:pt x="228" y="193"/>
                  </a:lnTo>
                  <a:lnTo>
                    <a:pt x="228" y="193"/>
                  </a:lnTo>
                  <a:lnTo>
                    <a:pt x="230" y="191"/>
                  </a:lnTo>
                  <a:lnTo>
                    <a:pt x="231" y="190"/>
                  </a:lnTo>
                  <a:lnTo>
                    <a:pt x="233" y="190"/>
                  </a:lnTo>
                  <a:lnTo>
                    <a:pt x="233" y="188"/>
                  </a:lnTo>
                  <a:lnTo>
                    <a:pt x="233" y="188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4" y="182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1" y="176"/>
                  </a:lnTo>
                  <a:lnTo>
                    <a:pt x="241" y="174"/>
                  </a:lnTo>
                  <a:lnTo>
                    <a:pt x="242" y="174"/>
                  </a:lnTo>
                  <a:lnTo>
                    <a:pt x="244" y="173"/>
                  </a:lnTo>
                  <a:lnTo>
                    <a:pt x="244" y="173"/>
                  </a:lnTo>
                  <a:lnTo>
                    <a:pt x="245" y="171"/>
                  </a:lnTo>
                  <a:lnTo>
                    <a:pt x="245" y="168"/>
                  </a:lnTo>
                  <a:lnTo>
                    <a:pt x="248" y="164"/>
                  </a:lnTo>
                  <a:lnTo>
                    <a:pt x="248" y="160"/>
                  </a:lnTo>
                  <a:lnTo>
                    <a:pt x="248" y="159"/>
                  </a:lnTo>
                  <a:lnTo>
                    <a:pt x="247" y="156"/>
                  </a:lnTo>
                  <a:lnTo>
                    <a:pt x="247" y="154"/>
                  </a:lnTo>
                  <a:lnTo>
                    <a:pt x="247" y="153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5" y="150"/>
                  </a:lnTo>
                  <a:lnTo>
                    <a:pt x="247" y="147"/>
                  </a:lnTo>
                  <a:lnTo>
                    <a:pt x="247" y="145"/>
                  </a:lnTo>
                  <a:lnTo>
                    <a:pt x="248" y="144"/>
                  </a:lnTo>
                  <a:lnTo>
                    <a:pt x="253" y="142"/>
                  </a:lnTo>
                  <a:lnTo>
                    <a:pt x="254" y="144"/>
                  </a:lnTo>
                  <a:lnTo>
                    <a:pt x="254" y="145"/>
                  </a:lnTo>
                  <a:lnTo>
                    <a:pt x="256" y="147"/>
                  </a:lnTo>
                  <a:lnTo>
                    <a:pt x="256" y="147"/>
                  </a:lnTo>
                  <a:lnTo>
                    <a:pt x="257" y="147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54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1" y="157"/>
                  </a:lnTo>
                  <a:lnTo>
                    <a:pt x="264" y="157"/>
                  </a:lnTo>
                  <a:lnTo>
                    <a:pt x="264" y="159"/>
                  </a:lnTo>
                  <a:lnTo>
                    <a:pt x="265" y="162"/>
                  </a:lnTo>
                  <a:lnTo>
                    <a:pt x="267" y="164"/>
                  </a:lnTo>
                  <a:lnTo>
                    <a:pt x="268" y="165"/>
                  </a:lnTo>
                  <a:lnTo>
                    <a:pt x="270" y="165"/>
                  </a:lnTo>
                  <a:lnTo>
                    <a:pt x="277" y="165"/>
                  </a:lnTo>
                  <a:lnTo>
                    <a:pt x="279" y="165"/>
                  </a:lnTo>
                  <a:lnTo>
                    <a:pt x="281" y="164"/>
                  </a:lnTo>
                  <a:lnTo>
                    <a:pt x="281" y="162"/>
                  </a:lnTo>
                  <a:lnTo>
                    <a:pt x="281" y="160"/>
                  </a:lnTo>
                  <a:lnTo>
                    <a:pt x="281" y="160"/>
                  </a:lnTo>
                  <a:lnTo>
                    <a:pt x="281" y="159"/>
                  </a:lnTo>
                  <a:lnTo>
                    <a:pt x="282" y="159"/>
                  </a:lnTo>
                  <a:lnTo>
                    <a:pt x="284" y="160"/>
                  </a:lnTo>
                  <a:lnTo>
                    <a:pt x="285" y="160"/>
                  </a:lnTo>
                  <a:lnTo>
                    <a:pt x="287" y="159"/>
                  </a:lnTo>
                  <a:lnTo>
                    <a:pt x="291" y="157"/>
                  </a:lnTo>
                  <a:lnTo>
                    <a:pt x="294" y="156"/>
                  </a:lnTo>
                  <a:lnTo>
                    <a:pt x="296" y="156"/>
                  </a:lnTo>
                  <a:lnTo>
                    <a:pt x="298" y="157"/>
                  </a:lnTo>
                  <a:lnTo>
                    <a:pt x="299" y="159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5"/>
                  </a:lnTo>
                  <a:lnTo>
                    <a:pt x="302" y="167"/>
                  </a:lnTo>
                  <a:lnTo>
                    <a:pt x="305" y="168"/>
                  </a:lnTo>
                  <a:lnTo>
                    <a:pt x="305" y="170"/>
                  </a:lnTo>
                  <a:lnTo>
                    <a:pt x="305" y="173"/>
                  </a:lnTo>
                  <a:lnTo>
                    <a:pt x="308" y="173"/>
                  </a:lnTo>
                  <a:lnTo>
                    <a:pt x="311" y="171"/>
                  </a:lnTo>
                  <a:lnTo>
                    <a:pt x="313" y="170"/>
                  </a:lnTo>
                  <a:lnTo>
                    <a:pt x="314" y="168"/>
                  </a:lnTo>
                  <a:lnTo>
                    <a:pt x="313" y="167"/>
                  </a:lnTo>
                  <a:lnTo>
                    <a:pt x="310" y="164"/>
                  </a:lnTo>
                  <a:lnTo>
                    <a:pt x="310" y="162"/>
                  </a:lnTo>
                  <a:lnTo>
                    <a:pt x="308" y="160"/>
                  </a:lnTo>
                  <a:lnTo>
                    <a:pt x="308" y="160"/>
                  </a:lnTo>
                  <a:lnTo>
                    <a:pt x="310" y="159"/>
                  </a:lnTo>
                  <a:lnTo>
                    <a:pt x="310" y="157"/>
                  </a:lnTo>
                  <a:lnTo>
                    <a:pt x="311" y="156"/>
                  </a:lnTo>
                  <a:lnTo>
                    <a:pt x="311" y="156"/>
                  </a:lnTo>
                  <a:lnTo>
                    <a:pt x="313" y="153"/>
                  </a:lnTo>
                  <a:lnTo>
                    <a:pt x="311" y="153"/>
                  </a:lnTo>
                  <a:lnTo>
                    <a:pt x="311" y="151"/>
                  </a:lnTo>
                  <a:lnTo>
                    <a:pt x="307" y="151"/>
                  </a:lnTo>
                  <a:lnTo>
                    <a:pt x="305" y="150"/>
                  </a:lnTo>
                  <a:lnTo>
                    <a:pt x="304" y="148"/>
                  </a:lnTo>
                  <a:lnTo>
                    <a:pt x="305" y="147"/>
                  </a:lnTo>
                  <a:lnTo>
                    <a:pt x="305" y="147"/>
                  </a:lnTo>
                  <a:lnTo>
                    <a:pt x="304" y="145"/>
                  </a:lnTo>
                  <a:lnTo>
                    <a:pt x="304" y="145"/>
                  </a:lnTo>
                  <a:lnTo>
                    <a:pt x="304" y="144"/>
                  </a:lnTo>
                  <a:lnTo>
                    <a:pt x="304" y="142"/>
                  </a:lnTo>
                  <a:lnTo>
                    <a:pt x="305" y="140"/>
                  </a:lnTo>
                  <a:lnTo>
                    <a:pt x="305" y="139"/>
                  </a:lnTo>
                  <a:lnTo>
                    <a:pt x="305" y="139"/>
                  </a:lnTo>
                  <a:lnTo>
                    <a:pt x="307" y="137"/>
                  </a:lnTo>
                  <a:lnTo>
                    <a:pt x="307" y="136"/>
                  </a:lnTo>
                  <a:lnTo>
                    <a:pt x="308" y="133"/>
                  </a:lnTo>
                  <a:lnTo>
                    <a:pt x="308" y="131"/>
                  </a:lnTo>
                  <a:lnTo>
                    <a:pt x="310" y="131"/>
                  </a:lnTo>
                  <a:lnTo>
                    <a:pt x="316" y="130"/>
                  </a:lnTo>
                  <a:lnTo>
                    <a:pt x="319" y="130"/>
                  </a:lnTo>
                  <a:lnTo>
                    <a:pt x="319" y="130"/>
                  </a:lnTo>
                  <a:lnTo>
                    <a:pt x="319" y="131"/>
                  </a:lnTo>
                  <a:lnTo>
                    <a:pt x="319" y="133"/>
                  </a:lnTo>
                  <a:lnTo>
                    <a:pt x="319" y="134"/>
                  </a:lnTo>
                  <a:lnTo>
                    <a:pt x="322" y="136"/>
                  </a:lnTo>
                  <a:lnTo>
                    <a:pt x="324" y="136"/>
                  </a:lnTo>
                  <a:lnTo>
                    <a:pt x="324" y="137"/>
                  </a:lnTo>
                  <a:lnTo>
                    <a:pt x="324" y="137"/>
                  </a:lnTo>
                  <a:lnTo>
                    <a:pt x="325" y="137"/>
                  </a:lnTo>
                  <a:lnTo>
                    <a:pt x="325" y="137"/>
                  </a:lnTo>
                  <a:lnTo>
                    <a:pt x="328" y="137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6" y="137"/>
                  </a:lnTo>
                  <a:lnTo>
                    <a:pt x="336" y="137"/>
                  </a:lnTo>
                  <a:lnTo>
                    <a:pt x="338" y="134"/>
                  </a:lnTo>
                  <a:lnTo>
                    <a:pt x="338" y="131"/>
                  </a:lnTo>
                  <a:lnTo>
                    <a:pt x="336" y="13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4"/>
            <p:cNvSpPr>
              <a:spLocks noEditPoints="1"/>
            </p:cNvSpPr>
            <p:nvPr/>
          </p:nvSpPr>
          <p:spPr bwMode="gray">
            <a:xfrm>
              <a:off x="6997700" y="2078038"/>
              <a:ext cx="1543050" cy="3535363"/>
            </a:xfrm>
            <a:custGeom>
              <a:avLst/>
              <a:gdLst>
                <a:gd name="T0" fmla="*/ 395 w 972"/>
                <a:gd name="T1" fmla="*/ 2108 h 2227"/>
                <a:gd name="T2" fmla="*/ 441 w 972"/>
                <a:gd name="T3" fmla="*/ 1968 h 2227"/>
                <a:gd name="T4" fmla="*/ 526 w 972"/>
                <a:gd name="T5" fmla="*/ 1953 h 2227"/>
                <a:gd name="T6" fmla="*/ 575 w 972"/>
                <a:gd name="T7" fmla="*/ 1953 h 2227"/>
                <a:gd name="T8" fmla="*/ 599 w 972"/>
                <a:gd name="T9" fmla="*/ 1868 h 2227"/>
                <a:gd name="T10" fmla="*/ 37 w 972"/>
                <a:gd name="T11" fmla="*/ 1874 h 2227"/>
                <a:gd name="T12" fmla="*/ 603 w 972"/>
                <a:gd name="T13" fmla="*/ 1817 h 2227"/>
                <a:gd name="T14" fmla="*/ 524 w 972"/>
                <a:gd name="T15" fmla="*/ 1728 h 2227"/>
                <a:gd name="T16" fmla="*/ 490 w 972"/>
                <a:gd name="T17" fmla="*/ 1731 h 2227"/>
                <a:gd name="T18" fmla="*/ 573 w 972"/>
                <a:gd name="T19" fmla="*/ 1683 h 2227"/>
                <a:gd name="T20" fmla="*/ 576 w 972"/>
                <a:gd name="T21" fmla="*/ 1668 h 2227"/>
                <a:gd name="T22" fmla="*/ 552 w 972"/>
                <a:gd name="T23" fmla="*/ 1659 h 2227"/>
                <a:gd name="T24" fmla="*/ 581 w 972"/>
                <a:gd name="T25" fmla="*/ 1609 h 2227"/>
                <a:gd name="T26" fmla="*/ 544 w 972"/>
                <a:gd name="T27" fmla="*/ 1508 h 2227"/>
                <a:gd name="T28" fmla="*/ 730 w 972"/>
                <a:gd name="T29" fmla="*/ 984 h 2227"/>
                <a:gd name="T30" fmla="*/ 837 w 972"/>
                <a:gd name="T31" fmla="*/ 684 h 2227"/>
                <a:gd name="T32" fmla="*/ 941 w 972"/>
                <a:gd name="T33" fmla="*/ 638 h 2227"/>
                <a:gd name="T34" fmla="*/ 943 w 972"/>
                <a:gd name="T35" fmla="*/ 496 h 2227"/>
                <a:gd name="T36" fmla="*/ 924 w 972"/>
                <a:gd name="T37" fmla="*/ 294 h 2227"/>
                <a:gd name="T38" fmla="*/ 812 w 972"/>
                <a:gd name="T39" fmla="*/ 108 h 2227"/>
                <a:gd name="T40" fmla="*/ 455 w 972"/>
                <a:gd name="T41" fmla="*/ 204 h 2227"/>
                <a:gd name="T42" fmla="*/ 82 w 972"/>
                <a:gd name="T43" fmla="*/ 1035 h 2227"/>
                <a:gd name="T44" fmla="*/ 57 w 972"/>
                <a:gd name="T45" fmla="*/ 1594 h 2227"/>
                <a:gd name="T46" fmla="*/ 10 w 972"/>
                <a:gd name="T47" fmla="*/ 1753 h 2227"/>
                <a:gd name="T48" fmla="*/ 22 w 972"/>
                <a:gd name="T49" fmla="*/ 1813 h 2227"/>
                <a:gd name="T50" fmla="*/ 57 w 972"/>
                <a:gd name="T51" fmla="*/ 1837 h 2227"/>
                <a:gd name="T52" fmla="*/ 59 w 972"/>
                <a:gd name="T53" fmla="*/ 1933 h 2227"/>
                <a:gd name="T54" fmla="*/ 80 w 972"/>
                <a:gd name="T55" fmla="*/ 1979 h 2227"/>
                <a:gd name="T56" fmla="*/ 125 w 972"/>
                <a:gd name="T57" fmla="*/ 2110 h 2227"/>
                <a:gd name="T58" fmla="*/ 133 w 972"/>
                <a:gd name="T59" fmla="*/ 2216 h 2227"/>
                <a:gd name="T60" fmla="*/ 233 w 972"/>
                <a:gd name="T61" fmla="*/ 2158 h 2227"/>
                <a:gd name="T62" fmla="*/ 296 w 972"/>
                <a:gd name="T63" fmla="*/ 2118 h 2227"/>
                <a:gd name="T64" fmla="*/ 376 w 972"/>
                <a:gd name="T65" fmla="*/ 2068 h 2227"/>
                <a:gd name="T66" fmla="*/ 404 w 972"/>
                <a:gd name="T67" fmla="*/ 1996 h 2227"/>
                <a:gd name="T68" fmla="*/ 410 w 972"/>
                <a:gd name="T69" fmla="*/ 1919 h 2227"/>
                <a:gd name="T70" fmla="*/ 410 w 972"/>
                <a:gd name="T71" fmla="*/ 1877 h 2227"/>
                <a:gd name="T72" fmla="*/ 425 w 972"/>
                <a:gd name="T73" fmla="*/ 1842 h 2227"/>
                <a:gd name="T74" fmla="*/ 424 w 972"/>
                <a:gd name="T75" fmla="*/ 1788 h 2227"/>
                <a:gd name="T76" fmla="*/ 444 w 972"/>
                <a:gd name="T77" fmla="*/ 1762 h 2227"/>
                <a:gd name="T78" fmla="*/ 490 w 972"/>
                <a:gd name="T79" fmla="*/ 1708 h 2227"/>
                <a:gd name="T80" fmla="*/ 524 w 972"/>
                <a:gd name="T81" fmla="*/ 1711 h 2227"/>
                <a:gd name="T82" fmla="*/ 553 w 972"/>
                <a:gd name="T83" fmla="*/ 1680 h 2227"/>
                <a:gd name="T84" fmla="*/ 538 w 972"/>
                <a:gd name="T85" fmla="*/ 1665 h 2227"/>
                <a:gd name="T86" fmla="*/ 590 w 972"/>
                <a:gd name="T87" fmla="*/ 1603 h 2227"/>
                <a:gd name="T88" fmla="*/ 555 w 972"/>
                <a:gd name="T89" fmla="*/ 1545 h 2227"/>
                <a:gd name="T90" fmla="*/ 462 w 972"/>
                <a:gd name="T91" fmla="*/ 1483 h 2227"/>
                <a:gd name="T92" fmla="*/ 452 w 972"/>
                <a:gd name="T93" fmla="*/ 1403 h 2227"/>
                <a:gd name="T94" fmla="*/ 448 w 972"/>
                <a:gd name="T95" fmla="*/ 1335 h 2227"/>
                <a:gd name="T96" fmla="*/ 464 w 972"/>
                <a:gd name="T97" fmla="*/ 1294 h 2227"/>
                <a:gd name="T98" fmla="*/ 464 w 972"/>
                <a:gd name="T99" fmla="*/ 1208 h 2227"/>
                <a:gd name="T100" fmla="*/ 510 w 972"/>
                <a:gd name="T101" fmla="*/ 1151 h 2227"/>
                <a:gd name="T102" fmla="*/ 527 w 972"/>
                <a:gd name="T103" fmla="*/ 1144 h 2227"/>
                <a:gd name="T104" fmla="*/ 539 w 972"/>
                <a:gd name="T105" fmla="*/ 1107 h 2227"/>
                <a:gd name="T106" fmla="*/ 586 w 972"/>
                <a:gd name="T107" fmla="*/ 1075 h 2227"/>
                <a:gd name="T108" fmla="*/ 632 w 972"/>
                <a:gd name="T109" fmla="*/ 1027 h 2227"/>
                <a:gd name="T110" fmla="*/ 692 w 972"/>
                <a:gd name="T111" fmla="*/ 986 h 2227"/>
                <a:gd name="T112" fmla="*/ 760 w 972"/>
                <a:gd name="T113" fmla="*/ 887 h 2227"/>
                <a:gd name="T114" fmla="*/ 763 w 972"/>
                <a:gd name="T115" fmla="*/ 844 h 2227"/>
                <a:gd name="T116" fmla="*/ 753 w 972"/>
                <a:gd name="T117" fmla="*/ 787 h 2227"/>
                <a:gd name="T118" fmla="*/ 780 w 972"/>
                <a:gd name="T119" fmla="*/ 715 h 2227"/>
                <a:gd name="T120" fmla="*/ 809 w 972"/>
                <a:gd name="T121" fmla="*/ 659 h 2227"/>
                <a:gd name="T122" fmla="*/ 829 w 972"/>
                <a:gd name="T123" fmla="*/ 635 h 2227"/>
                <a:gd name="T124" fmla="*/ 904 w 972"/>
                <a:gd name="T125" fmla="*/ 627 h 2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2" h="2227">
                  <a:moveTo>
                    <a:pt x="342" y="2124"/>
                  </a:moveTo>
                  <a:lnTo>
                    <a:pt x="341" y="2124"/>
                  </a:lnTo>
                  <a:lnTo>
                    <a:pt x="341" y="2124"/>
                  </a:lnTo>
                  <a:lnTo>
                    <a:pt x="339" y="2124"/>
                  </a:lnTo>
                  <a:lnTo>
                    <a:pt x="339" y="2124"/>
                  </a:lnTo>
                  <a:lnTo>
                    <a:pt x="338" y="2124"/>
                  </a:lnTo>
                  <a:lnTo>
                    <a:pt x="338" y="2125"/>
                  </a:lnTo>
                  <a:lnTo>
                    <a:pt x="338" y="2128"/>
                  </a:lnTo>
                  <a:lnTo>
                    <a:pt x="341" y="2130"/>
                  </a:lnTo>
                  <a:lnTo>
                    <a:pt x="341" y="2130"/>
                  </a:lnTo>
                  <a:lnTo>
                    <a:pt x="341" y="2130"/>
                  </a:lnTo>
                  <a:lnTo>
                    <a:pt x="342" y="2130"/>
                  </a:lnTo>
                  <a:lnTo>
                    <a:pt x="342" y="2128"/>
                  </a:lnTo>
                  <a:lnTo>
                    <a:pt x="342" y="2128"/>
                  </a:lnTo>
                  <a:lnTo>
                    <a:pt x="341" y="2127"/>
                  </a:lnTo>
                  <a:lnTo>
                    <a:pt x="342" y="2125"/>
                  </a:lnTo>
                  <a:lnTo>
                    <a:pt x="342" y="2125"/>
                  </a:lnTo>
                  <a:lnTo>
                    <a:pt x="344" y="2125"/>
                  </a:lnTo>
                  <a:lnTo>
                    <a:pt x="344" y="2124"/>
                  </a:lnTo>
                  <a:lnTo>
                    <a:pt x="342" y="2124"/>
                  </a:lnTo>
                  <a:lnTo>
                    <a:pt x="342" y="2124"/>
                  </a:lnTo>
                  <a:close/>
                  <a:moveTo>
                    <a:pt x="447" y="1959"/>
                  </a:moveTo>
                  <a:lnTo>
                    <a:pt x="447" y="1959"/>
                  </a:lnTo>
                  <a:lnTo>
                    <a:pt x="447" y="1959"/>
                  </a:lnTo>
                  <a:lnTo>
                    <a:pt x="447" y="1957"/>
                  </a:lnTo>
                  <a:lnTo>
                    <a:pt x="445" y="1957"/>
                  </a:lnTo>
                  <a:lnTo>
                    <a:pt x="445" y="1957"/>
                  </a:lnTo>
                  <a:lnTo>
                    <a:pt x="445" y="1956"/>
                  </a:lnTo>
                  <a:lnTo>
                    <a:pt x="445" y="1956"/>
                  </a:lnTo>
                  <a:lnTo>
                    <a:pt x="445" y="1957"/>
                  </a:lnTo>
                  <a:lnTo>
                    <a:pt x="444" y="1959"/>
                  </a:lnTo>
                  <a:lnTo>
                    <a:pt x="444" y="1957"/>
                  </a:lnTo>
                  <a:lnTo>
                    <a:pt x="444" y="1956"/>
                  </a:lnTo>
                  <a:lnTo>
                    <a:pt x="442" y="1956"/>
                  </a:lnTo>
                  <a:lnTo>
                    <a:pt x="441" y="1956"/>
                  </a:lnTo>
                  <a:lnTo>
                    <a:pt x="439" y="1957"/>
                  </a:lnTo>
                  <a:lnTo>
                    <a:pt x="438" y="1962"/>
                  </a:lnTo>
                  <a:lnTo>
                    <a:pt x="436" y="1964"/>
                  </a:lnTo>
                  <a:lnTo>
                    <a:pt x="436" y="1965"/>
                  </a:lnTo>
                  <a:lnTo>
                    <a:pt x="435" y="1973"/>
                  </a:lnTo>
                  <a:lnTo>
                    <a:pt x="435" y="1974"/>
                  </a:lnTo>
                  <a:lnTo>
                    <a:pt x="433" y="1976"/>
                  </a:lnTo>
                  <a:lnTo>
                    <a:pt x="432" y="1976"/>
                  </a:lnTo>
                  <a:lnTo>
                    <a:pt x="432" y="1978"/>
                  </a:lnTo>
                  <a:lnTo>
                    <a:pt x="432" y="1979"/>
                  </a:lnTo>
                  <a:lnTo>
                    <a:pt x="430" y="1988"/>
                  </a:lnTo>
                  <a:lnTo>
                    <a:pt x="427" y="1998"/>
                  </a:lnTo>
                  <a:lnTo>
                    <a:pt x="422" y="2005"/>
                  </a:lnTo>
                  <a:lnTo>
                    <a:pt x="419" y="2013"/>
                  </a:lnTo>
                  <a:lnTo>
                    <a:pt x="418" y="2018"/>
                  </a:lnTo>
                  <a:lnTo>
                    <a:pt x="418" y="2019"/>
                  </a:lnTo>
                  <a:lnTo>
                    <a:pt x="415" y="2021"/>
                  </a:lnTo>
                  <a:lnTo>
                    <a:pt x="413" y="2021"/>
                  </a:lnTo>
                  <a:lnTo>
                    <a:pt x="412" y="2021"/>
                  </a:lnTo>
                  <a:lnTo>
                    <a:pt x="410" y="2022"/>
                  </a:lnTo>
                  <a:lnTo>
                    <a:pt x="398" y="2054"/>
                  </a:lnTo>
                  <a:lnTo>
                    <a:pt x="398" y="2058"/>
                  </a:lnTo>
                  <a:lnTo>
                    <a:pt x="396" y="2058"/>
                  </a:lnTo>
                  <a:lnTo>
                    <a:pt x="395" y="2061"/>
                  </a:lnTo>
                  <a:lnTo>
                    <a:pt x="393" y="2065"/>
                  </a:lnTo>
                  <a:lnTo>
                    <a:pt x="393" y="2067"/>
                  </a:lnTo>
                  <a:lnTo>
                    <a:pt x="393" y="2078"/>
                  </a:lnTo>
                  <a:lnTo>
                    <a:pt x="393" y="2081"/>
                  </a:lnTo>
                  <a:lnTo>
                    <a:pt x="395" y="2084"/>
                  </a:lnTo>
                  <a:lnTo>
                    <a:pt x="395" y="2085"/>
                  </a:lnTo>
                  <a:lnTo>
                    <a:pt x="395" y="2088"/>
                  </a:lnTo>
                  <a:lnTo>
                    <a:pt x="395" y="2093"/>
                  </a:lnTo>
                  <a:lnTo>
                    <a:pt x="395" y="2098"/>
                  </a:lnTo>
                  <a:lnTo>
                    <a:pt x="393" y="2099"/>
                  </a:lnTo>
                  <a:lnTo>
                    <a:pt x="395" y="2104"/>
                  </a:lnTo>
                  <a:lnTo>
                    <a:pt x="395" y="2105"/>
                  </a:lnTo>
                  <a:lnTo>
                    <a:pt x="395" y="2108"/>
                  </a:lnTo>
                  <a:lnTo>
                    <a:pt x="395" y="2108"/>
                  </a:lnTo>
                  <a:lnTo>
                    <a:pt x="396" y="2110"/>
                  </a:lnTo>
                  <a:lnTo>
                    <a:pt x="398" y="2110"/>
                  </a:lnTo>
                  <a:lnTo>
                    <a:pt x="399" y="2110"/>
                  </a:lnTo>
                  <a:lnTo>
                    <a:pt x="401" y="2108"/>
                  </a:lnTo>
                  <a:lnTo>
                    <a:pt x="404" y="2099"/>
                  </a:lnTo>
                  <a:lnTo>
                    <a:pt x="405" y="2096"/>
                  </a:lnTo>
                  <a:lnTo>
                    <a:pt x="405" y="2096"/>
                  </a:lnTo>
                  <a:lnTo>
                    <a:pt x="405" y="2093"/>
                  </a:lnTo>
                  <a:lnTo>
                    <a:pt x="407" y="2091"/>
                  </a:lnTo>
                  <a:lnTo>
                    <a:pt x="405" y="2088"/>
                  </a:lnTo>
                  <a:lnTo>
                    <a:pt x="407" y="2088"/>
                  </a:lnTo>
                  <a:lnTo>
                    <a:pt x="407" y="2085"/>
                  </a:lnTo>
                  <a:lnTo>
                    <a:pt x="407" y="2082"/>
                  </a:lnTo>
                  <a:lnTo>
                    <a:pt x="408" y="2079"/>
                  </a:lnTo>
                  <a:lnTo>
                    <a:pt x="410" y="2078"/>
                  </a:lnTo>
                  <a:lnTo>
                    <a:pt x="410" y="2076"/>
                  </a:lnTo>
                  <a:lnTo>
                    <a:pt x="410" y="2075"/>
                  </a:lnTo>
                  <a:lnTo>
                    <a:pt x="410" y="2073"/>
                  </a:lnTo>
                  <a:lnTo>
                    <a:pt x="410" y="2071"/>
                  </a:lnTo>
                  <a:lnTo>
                    <a:pt x="412" y="2070"/>
                  </a:lnTo>
                  <a:lnTo>
                    <a:pt x="412" y="2070"/>
                  </a:lnTo>
                  <a:lnTo>
                    <a:pt x="412" y="2068"/>
                  </a:lnTo>
                  <a:lnTo>
                    <a:pt x="412" y="2068"/>
                  </a:lnTo>
                  <a:lnTo>
                    <a:pt x="412" y="2068"/>
                  </a:lnTo>
                  <a:lnTo>
                    <a:pt x="412" y="2065"/>
                  </a:lnTo>
                  <a:lnTo>
                    <a:pt x="412" y="2064"/>
                  </a:lnTo>
                  <a:lnTo>
                    <a:pt x="413" y="2064"/>
                  </a:lnTo>
                  <a:lnTo>
                    <a:pt x="413" y="2062"/>
                  </a:lnTo>
                  <a:lnTo>
                    <a:pt x="415" y="2062"/>
                  </a:lnTo>
                  <a:lnTo>
                    <a:pt x="415" y="2061"/>
                  </a:lnTo>
                  <a:lnTo>
                    <a:pt x="415" y="2059"/>
                  </a:lnTo>
                  <a:lnTo>
                    <a:pt x="415" y="2056"/>
                  </a:lnTo>
                  <a:lnTo>
                    <a:pt x="416" y="2053"/>
                  </a:lnTo>
                  <a:lnTo>
                    <a:pt x="421" y="2039"/>
                  </a:lnTo>
                  <a:lnTo>
                    <a:pt x="421" y="2036"/>
                  </a:lnTo>
                  <a:lnTo>
                    <a:pt x="421" y="2036"/>
                  </a:lnTo>
                  <a:lnTo>
                    <a:pt x="421" y="2034"/>
                  </a:lnTo>
                  <a:lnTo>
                    <a:pt x="421" y="2033"/>
                  </a:lnTo>
                  <a:lnTo>
                    <a:pt x="421" y="2031"/>
                  </a:lnTo>
                  <a:lnTo>
                    <a:pt x="422" y="2031"/>
                  </a:lnTo>
                  <a:lnTo>
                    <a:pt x="425" y="2028"/>
                  </a:lnTo>
                  <a:lnTo>
                    <a:pt x="425" y="2028"/>
                  </a:lnTo>
                  <a:lnTo>
                    <a:pt x="427" y="2027"/>
                  </a:lnTo>
                  <a:lnTo>
                    <a:pt x="427" y="2019"/>
                  </a:lnTo>
                  <a:lnTo>
                    <a:pt x="428" y="2018"/>
                  </a:lnTo>
                  <a:lnTo>
                    <a:pt x="430" y="2016"/>
                  </a:lnTo>
                  <a:lnTo>
                    <a:pt x="430" y="2014"/>
                  </a:lnTo>
                  <a:lnTo>
                    <a:pt x="428" y="2011"/>
                  </a:lnTo>
                  <a:lnTo>
                    <a:pt x="428" y="2010"/>
                  </a:lnTo>
                  <a:lnTo>
                    <a:pt x="430" y="2005"/>
                  </a:lnTo>
                  <a:lnTo>
                    <a:pt x="432" y="2004"/>
                  </a:lnTo>
                  <a:lnTo>
                    <a:pt x="433" y="2002"/>
                  </a:lnTo>
                  <a:lnTo>
                    <a:pt x="433" y="2002"/>
                  </a:lnTo>
                  <a:lnTo>
                    <a:pt x="432" y="2002"/>
                  </a:lnTo>
                  <a:lnTo>
                    <a:pt x="432" y="2001"/>
                  </a:lnTo>
                  <a:lnTo>
                    <a:pt x="430" y="2001"/>
                  </a:lnTo>
                  <a:lnTo>
                    <a:pt x="433" y="1999"/>
                  </a:lnTo>
                  <a:lnTo>
                    <a:pt x="435" y="1998"/>
                  </a:lnTo>
                  <a:lnTo>
                    <a:pt x="435" y="1996"/>
                  </a:lnTo>
                  <a:lnTo>
                    <a:pt x="436" y="1993"/>
                  </a:lnTo>
                  <a:lnTo>
                    <a:pt x="436" y="1991"/>
                  </a:lnTo>
                  <a:lnTo>
                    <a:pt x="439" y="1985"/>
                  </a:lnTo>
                  <a:lnTo>
                    <a:pt x="439" y="1984"/>
                  </a:lnTo>
                  <a:lnTo>
                    <a:pt x="439" y="1982"/>
                  </a:lnTo>
                  <a:lnTo>
                    <a:pt x="441" y="1981"/>
                  </a:lnTo>
                  <a:lnTo>
                    <a:pt x="441" y="1981"/>
                  </a:lnTo>
                  <a:lnTo>
                    <a:pt x="442" y="1979"/>
                  </a:lnTo>
                  <a:lnTo>
                    <a:pt x="442" y="1979"/>
                  </a:lnTo>
                  <a:lnTo>
                    <a:pt x="442" y="1979"/>
                  </a:lnTo>
                  <a:lnTo>
                    <a:pt x="442" y="1978"/>
                  </a:lnTo>
                  <a:lnTo>
                    <a:pt x="444" y="1974"/>
                  </a:lnTo>
                  <a:lnTo>
                    <a:pt x="442" y="1971"/>
                  </a:lnTo>
                  <a:lnTo>
                    <a:pt x="441" y="1968"/>
                  </a:lnTo>
                  <a:lnTo>
                    <a:pt x="444" y="1964"/>
                  </a:lnTo>
                  <a:lnTo>
                    <a:pt x="445" y="1962"/>
                  </a:lnTo>
                  <a:lnTo>
                    <a:pt x="447" y="1961"/>
                  </a:lnTo>
                  <a:lnTo>
                    <a:pt x="447" y="1961"/>
                  </a:lnTo>
                  <a:lnTo>
                    <a:pt x="447" y="1959"/>
                  </a:lnTo>
                  <a:close/>
                  <a:moveTo>
                    <a:pt x="590" y="1887"/>
                  </a:moveTo>
                  <a:lnTo>
                    <a:pt x="590" y="1885"/>
                  </a:lnTo>
                  <a:lnTo>
                    <a:pt x="589" y="1885"/>
                  </a:lnTo>
                  <a:lnTo>
                    <a:pt x="589" y="1884"/>
                  </a:lnTo>
                  <a:lnTo>
                    <a:pt x="587" y="1882"/>
                  </a:lnTo>
                  <a:lnTo>
                    <a:pt x="587" y="1880"/>
                  </a:lnTo>
                  <a:lnTo>
                    <a:pt x="587" y="1879"/>
                  </a:lnTo>
                  <a:lnTo>
                    <a:pt x="587" y="1879"/>
                  </a:lnTo>
                  <a:lnTo>
                    <a:pt x="586" y="1879"/>
                  </a:lnTo>
                  <a:lnTo>
                    <a:pt x="584" y="1879"/>
                  </a:lnTo>
                  <a:lnTo>
                    <a:pt x="582" y="1880"/>
                  </a:lnTo>
                  <a:lnTo>
                    <a:pt x="582" y="1882"/>
                  </a:lnTo>
                  <a:lnTo>
                    <a:pt x="581" y="1882"/>
                  </a:lnTo>
                  <a:lnTo>
                    <a:pt x="579" y="1880"/>
                  </a:lnTo>
                  <a:lnTo>
                    <a:pt x="581" y="1879"/>
                  </a:lnTo>
                  <a:lnTo>
                    <a:pt x="581" y="1877"/>
                  </a:lnTo>
                  <a:lnTo>
                    <a:pt x="576" y="1879"/>
                  </a:lnTo>
                  <a:lnTo>
                    <a:pt x="575" y="1879"/>
                  </a:lnTo>
                  <a:lnTo>
                    <a:pt x="575" y="1880"/>
                  </a:lnTo>
                  <a:lnTo>
                    <a:pt x="576" y="1880"/>
                  </a:lnTo>
                  <a:lnTo>
                    <a:pt x="576" y="1882"/>
                  </a:lnTo>
                  <a:lnTo>
                    <a:pt x="575" y="1885"/>
                  </a:lnTo>
                  <a:lnTo>
                    <a:pt x="575" y="1885"/>
                  </a:lnTo>
                  <a:lnTo>
                    <a:pt x="573" y="1888"/>
                  </a:lnTo>
                  <a:lnTo>
                    <a:pt x="573" y="1891"/>
                  </a:lnTo>
                  <a:lnTo>
                    <a:pt x="572" y="1890"/>
                  </a:lnTo>
                  <a:lnTo>
                    <a:pt x="570" y="1888"/>
                  </a:lnTo>
                  <a:lnTo>
                    <a:pt x="570" y="1887"/>
                  </a:lnTo>
                  <a:lnTo>
                    <a:pt x="570" y="1887"/>
                  </a:lnTo>
                  <a:lnTo>
                    <a:pt x="570" y="1887"/>
                  </a:lnTo>
                  <a:lnTo>
                    <a:pt x="570" y="1885"/>
                  </a:lnTo>
                  <a:lnTo>
                    <a:pt x="570" y="1885"/>
                  </a:lnTo>
                  <a:lnTo>
                    <a:pt x="570" y="1884"/>
                  </a:lnTo>
                  <a:lnTo>
                    <a:pt x="570" y="1884"/>
                  </a:lnTo>
                  <a:lnTo>
                    <a:pt x="570" y="1884"/>
                  </a:lnTo>
                  <a:lnTo>
                    <a:pt x="570" y="1882"/>
                  </a:lnTo>
                  <a:lnTo>
                    <a:pt x="569" y="1880"/>
                  </a:lnTo>
                  <a:lnTo>
                    <a:pt x="569" y="1879"/>
                  </a:lnTo>
                  <a:lnTo>
                    <a:pt x="567" y="1877"/>
                  </a:lnTo>
                  <a:lnTo>
                    <a:pt x="566" y="1877"/>
                  </a:lnTo>
                  <a:lnTo>
                    <a:pt x="562" y="1879"/>
                  </a:lnTo>
                  <a:lnTo>
                    <a:pt x="561" y="1880"/>
                  </a:lnTo>
                  <a:lnTo>
                    <a:pt x="561" y="1882"/>
                  </a:lnTo>
                  <a:lnTo>
                    <a:pt x="559" y="1885"/>
                  </a:lnTo>
                  <a:lnTo>
                    <a:pt x="559" y="1887"/>
                  </a:lnTo>
                  <a:lnTo>
                    <a:pt x="558" y="1888"/>
                  </a:lnTo>
                  <a:lnTo>
                    <a:pt x="558" y="1890"/>
                  </a:lnTo>
                  <a:lnTo>
                    <a:pt x="556" y="1890"/>
                  </a:lnTo>
                  <a:lnTo>
                    <a:pt x="556" y="1890"/>
                  </a:lnTo>
                  <a:lnTo>
                    <a:pt x="555" y="1890"/>
                  </a:lnTo>
                  <a:lnTo>
                    <a:pt x="553" y="1890"/>
                  </a:lnTo>
                  <a:lnTo>
                    <a:pt x="550" y="1891"/>
                  </a:lnTo>
                  <a:lnTo>
                    <a:pt x="547" y="1894"/>
                  </a:lnTo>
                  <a:lnTo>
                    <a:pt x="536" y="1913"/>
                  </a:lnTo>
                  <a:lnTo>
                    <a:pt x="524" y="1925"/>
                  </a:lnTo>
                  <a:lnTo>
                    <a:pt x="522" y="1930"/>
                  </a:lnTo>
                  <a:lnTo>
                    <a:pt x="521" y="1934"/>
                  </a:lnTo>
                  <a:lnTo>
                    <a:pt x="521" y="1937"/>
                  </a:lnTo>
                  <a:lnTo>
                    <a:pt x="522" y="1941"/>
                  </a:lnTo>
                  <a:lnTo>
                    <a:pt x="522" y="1944"/>
                  </a:lnTo>
                  <a:lnTo>
                    <a:pt x="524" y="1945"/>
                  </a:lnTo>
                  <a:lnTo>
                    <a:pt x="524" y="1947"/>
                  </a:lnTo>
                  <a:lnTo>
                    <a:pt x="524" y="1948"/>
                  </a:lnTo>
                  <a:lnTo>
                    <a:pt x="524" y="1950"/>
                  </a:lnTo>
                  <a:lnTo>
                    <a:pt x="524" y="1950"/>
                  </a:lnTo>
                  <a:lnTo>
                    <a:pt x="524" y="1951"/>
                  </a:lnTo>
                  <a:lnTo>
                    <a:pt x="526" y="1951"/>
                  </a:lnTo>
                  <a:lnTo>
                    <a:pt x="526" y="1953"/>
                  </a:lnTo>
                  <a:lnTo>
                    <a:pt x="526" y="1953"/>
                  </a:lnTo>
                  <a:lnTo>
                    <a:pt x="526" y="1954"/>
                  </a:lnTo>
                  <a:lnTo>
                    <a:pt x="526" y="1957"/>
                  </a:lnTo>
                  <a:lnTo>
                    <a:pt x="526" y="1959"/>
                  </a:lnTo>
                  <a:lnTo>
                    <a:pt x="524" y="1962"/>
                  </a:lnTo>
                  <a:lnTo>
                    <a:pt x="521" y="1964"/>
                  </a:lnTo>
                  <a:lnTo>
                    <a:pt x="521" y="1967"/>
                  </a:lnTo>
                  <a:lnTo>
                    <a:pt x="519" y="1970"/>
                  </a:lnTo>
                  <a:lnTo>
                    <a:pt x="524" y="1973"/>
                  </a:lnTo>
                  <a:lnTo>
                    <a:pt x="527" y="1985"/>
                  </a:lnTo>
                  <a:lnTo>
                    <a:pt x="530" y="1987"/>
                  </a:lnTo>
                  <a:lnTo>
                    <a:pt x="530" y="1987"/>
                  </a:lnTo>
                  <a:lnTo>
                    <a:pt x="529" y="1988"/>
                  </a:lnTo>
                  <a:lnTo>
                    <a:pt x="529" y="1990"/>
                  </a:lnTo>
                  <a:lnTo>
                    <a:pt x="530" y="1990"/>
                  </a:lnTo>
                  <a:lnTo>
                    <a:pt x="530" y="1991"/>
                  </a:lnTo>
                  <a:lnTo>
                    <a:pt x="529" y="1994"/>
                  </a:lnTo>
                  <a:lnTo>
                    <a:pt x="527" y="1994"/>
                  </a:lnTo>
                  <a:lnTo>
                    <a:pt x="527" y="1996"/>
                  </a:lnTo>
                  <a:lnTo>
                    <a:pt x="529" y="1998"/>
                  </a:lnTo>
                  <a:lnTo>
                    <a:pt x="532" y="1996"/>
                  </a:lnTo>
                  <a:lnTo>
                    <a:pt x="533" y="1993"/>
                  </a:lnTo>
                  <a:lnTo>
                    <a:pt x="535" y="1993"/>
                  </a:lnTo>
                  <a:lnTo>
                    <a:pt x="533" y="1994"/>
                  </a:lnTo>
                  <a:lnTo>
                    <a:pt x="533" y="1998"/>
                  </a:lnTo>
                  <a:lnTo>
                    <a:pt x="533" y="1999"/>
                  </a:lnTo>
                  <a:lnTo>
                    <a:pt x="532" y="2001"/>
                  </a:lnTo>
                  <a:lnTo>
                    <a:pt x="529" y="2002"/>
                  </a:lnTo>
                  <a:lnTo>
                    <a:pt x="527" y="2002"/>
                  </a:lnTo>
                  <a:lnTo>
                    <a:pt x="529" y="2004"/>
                  </a:lnTo>
                  <a:lnTo>
                    <a:pt x="529" y="2005"/>
                  </a:lnTo>
                  <a:lnTo>
                    <a:pt x="529" y="2007"/>
                  </a:lnTo>
                  <a:lnTo>
                    <a:pt x="522" y="2016"/>
                  </a:lnTo>
                  <a:lnTo>
                    <a:pt x="526" y="2018"/>
                  </a:lnTo>
                  <a:lnTo>
                    <a:pt x="529" y="2016"/>
                  </a:lnTo>
                  <a:lnTo>
                    <a:pt x="535" y="2013"/>
                  </a:lnTo>
                  <a:lnTo>
                    <a:pt x="536" y="2011"/>
                  </a:lnTo>
                  <a:lnTo>
                    <a:pt x="536" y="2010"/>
                  </a:lnTo>
                  <a:lnTo>
                    <a:pt x="538" y="2008"/>
                  </a:lnTo>
                  <a:lnTo>
                    <a:pt x="539" y="2007"/>
                  </a:lnTo>
                  <a:lnTo>
                    <a:pt x="538" y="2005"/>
                  </a:lnTo>
                  <a:lnTo>
                    <a:pt x="538" y="2005"/>
                  </a:lnTo>
                  <a:lnTo>
                    <a:pt x="542" y="2005"/>
                  </a:lnTo>
                  <a:lnTo>
                    <a:pt x="539" y="2004"/>
                  </a:lnTo>
                  <a:lnTo>
                    <a:pt x="539" y="2002"/>
                  </a:lnTo>
                  <a:lnTo>
                    <a:pt x="538" y="2001"/>
                  </a:lnTo>
                  <a:lnTo>
                    <a:pt x="538" y="1994"/>
                  </a:lnTo>
                  <a:lnTo>
                    <a:pt x="539" y="1991"/>
                  </a:lnTo>
                  <a:lnTo>
                    <a:pt x="546" y="1990"/>
                  </a:lnTo>
                  <a:lnTo>
                    <a:pt x="547" y="1988"/>
                  </a:lnTo>
                  <a:lnTo>
                    <a:pt x="541" y="1988"/>
                  </a:lnTo>
                  <a:lnTo>
                    <a:pt x="542" y="1985"/>
                  </a:lnTo>
                  <a:lnTo>
                    <a:pt x="546" y="1984"/>
                  </a:lnTo>
                  <a:lnTo>
                    <a:pt x="555" y="1979"/>
                  </a:lnTo>
                  <a:lnTo>
                    <a:pt x="556" y="1979"/>
                  </a:lnTo>
                  <a:lnTo>
                    <a:pt x="556" y="1978"/>
                  </a:lnTo>
                  <a:lnTo>
                    <a:pt x="555" y="1978"/>
                  </a:lnTo>
                  <a:lnTo>
                    <a:pt x="555" y="1976"/>
                  </a:lnTo>
                  <a:lnTo>
                    <a:pt x="556" y="1974"/>
                  </a:lnTo>
                  <a:lnTo>
                    <a:pt x="564" y="1973"/>
                  </a:lnTo>
                  <a:lnTo>
                    <a:pt x="564" y="1973"/>
                  </a:lnTo>
                  <a:lnTo>
                    <a:pt x="566" y="1971"/>
                  </a:lnTo>
                  <a:lnTo>
                    <a:pt x="566" y="1967"/>
                  </a:lnTo>
                  <a:lnTo>
                    <a:pt x="566" y="1967"/>
                  </a:lnTo>
                  <a:lnTo>
                    <a:pt x="564" y="1967"/>
                  </a:lnTo>
                  <a:lnTo>
                    <a:pt x="562" y="1967"/>
                  </a:lnTo>
                  <a:lnTo>
                    <a:pt x="562" y="1964"/>
                  </a:lnTo>
                  <a:lnTo>
                    <a:pt x="564" y="1962"/>
                  </a:lnTo>
                  <a:lnTo>
                    <a:pt x="566" y="1961"/>
                  </a:lnTo>
                  <a:lnTo>
                    <a:pt x="569" y="1957"/>
                  </a:lnTo>
                  <a:lnTo>
                    <a:pt x="570" y="1954"/>
                  </a:lnTo>
                  <a:lnTo>
                    <a:pt x="572" y="1953"/>
                  </a:lnTo>
                  <a:lnTo>
                    <a:pt x="575" y="1953"/>
                  </a:lnTo>
                  <a:lnTo>
                    <a:pt x="575" y="1953"/>
                  </a:lnTo>
                  <a:lnTo>
                    <a:pt x="576" y="1951"/>
                  </a:lnTo>
                  <a:lnTo>
                    <a:pt x="576" y="1951"/>
                  </a:lnTo>
                  <a:lnTo>
                    <a:pt x="576" y="1951"/>
                  </a:lnTo>
                  <a:lnTo>
                    <a:pt x="578" y="1951"/>
                  </a:lnTo>
                  <a:lnTo>
                    <a:pt x="578" y="1951"/>
                  </a:lnTo>
                  <a:lnTo>
                    <a:pt x="581" y="1951"/>
                  </a:lnTo>
                  <a:lnTo>
                    <a:pt x="581" y="1951"/>
                  </a:lnTo>
                  <a:lnTo>
                    <a:pt x="582" y="1950"/>
                  </a:lnTo>
                  <a:lnTo>
                    <a:pt x="581" y="1948"/>
                  </a:lnTo>
                  <a:lnTo>
                    <a:pt x="581" y="1947"/>
                  </a:lnTo>
                  <a:lnTo>
                    <a:pt x="581" y="1945"/>
                  </a:lnTo>
                  <a:lnTo>
                    <a:pt x="581" y="1945"/>
                  </a:lnTo>
                  <a:lnTo>
                    <a:pt x="579" y="1944"/>
                  </a:lnTo>
                  <a:lnTo>
                    <a:pt x="578" y="1944"/>
                  </a:lnTo>
                  <a:lnTo>
                    <a:pt x="578" y="1944"/>
                  </a:lnTo>
                  <a:lnTo>
                    <a:pt x="578" y="1945"/>
                  </a:lnTo>
                  <a:lnTo>
                    <a:pt x="578" y="1945"/>
                  </a:lnTo>
                  <a:lnTo>
                    <a:pt x="575" y="1945"/>
                  </a:lnTo>
                  <a:lnTo>
                    <a:pt x="572" y="1944"/>
                  </a:lnTo>
                  <a:lnTo>
                    <a:pt x="572" y="1941"/>
                  </a:lnTo>
                  <a:lnTo>
                    <a:pt x="573" y="1941"/>
                  </a:lnTo>
                  <a:lnTo>
                    <a:pt x="572" y="1941"/>
                  </a:lnTo>
                  <a:lnTo>
                    <a:pt x="570" y="1941"/>
                  </a:lnTo>
                  <a:lnTo>
                    <a:pt x="570" y="1939"/>
                  </a:lnTo>
                  <a:lnTo>
                    <a:pt x="570" y="1937"/>
                  </a:lnTo>
                  <a:lnTo>
                    <a:pt x="569" y="1936"/>
                  </a:lnTo>
                  <a:lnTo>
                    <a:pt x="570" y="1933"/>
                  </a:lnTo>
                  <a:lnTo>
                    <a:pt x="570" y="1931"/>
                  </a:lnTo>
                  <a:lnTo>
                    <a:pt x="572" y="1930"/>
                  </a:lnTo>
                  <a:lnTo>
                    <a:pt x="572" y="1928"/>
                  </a:lnTo>
                  <a:lnTo>
                    <a:pt x="572" y="1925"/>
                  </a:lnTo>
                  <a:lnTo>
                    <a:pt x="572" y="1924"/>
                  </a:lnTo>
                  <a:lnTo>
                    <a:pt x="573" y="1922"/>
                  </a:lnTo>
                  <a:lnTo>
                    <a:pt x="570" y="1921"/>
                  </a:lnTo>
                  <a:lnTo>
                    <a:pt x="570" y="1921"/>
                  </a:lnTo>
                  <a:lnTo>
                    <a:pt x="570" y="1919"/>
                  </a:lnTo>
                  <a:lnTo>
                    <a:pt x="570" y="1917"/>
                  </a:lnTo>
                  <a:lnTo>
                    <a:pt x="570" y="1917"/>
                  </a:lnTo>
                  <a:lnTo>
                    <a:pt x="570" y="1916"/>
                  </a:lnTo>
                  <a:lnTo>
                    <a:pt x="572" y="1913"/>
                  </a:lnTo>
                  <a:lnTo>
                    <a:pt x="573" y="1907"/>
                  </a:lnTo>
                  <a:lnTo>
                    <a:pt x="573" y="1907"/>
                  </a:lnTo>
                  <a:lnTo>
                    <a:pt x="573" y="1905"/>
                  </a:lnTo>
                  <a:lnTo>
                    <a:pt x="573" y="1904"/>
                  </a:lnTo>
                  <a:lnTo>
                    <a:pt x="573" y="1904"/>
                  </a:lnTo>
                  <a:lnTo>
                    <a:pt x="575" y="1904"/>
                  </a:lnTo>
                  <a:lnTo>
                    <a:pt x="576" y="1905"/>
                  </a:lnTo>
                  <a:lnTo>
                    <a:pt x="578" y="1905"/>
                  </a:lnTo>
                  <a:lnTo>
                    <a:pt x="579" y="1905"/>
                  </a:lnTo>
                  <a:lnTo>
                    <a:pt x="582" y="1905"/>
                  </a:lnTo>
                  <a:lnTo>
                    <a:pt x="582" y="1904"/>
                  </a:lnTo>
                  <a:lnTo>
                    <a:pt x="582" y="1902"/>
                  </a:lnTo>
                  <a:lnTo>
                    <a:pt x="582" y="1901"/>
                  </a:lnTo>
                  <a:lnTo>
                    <a:pt x="582" y="1899"/>
                  </a:lnTo>
                  <a:lnTo>
                    <a:pt x="584" y="1897"/>
                  </a:lnTo>
                  <a:lnTo>
                    <a:pt x="584" y="1897"/>
                  </a:lnTo>
                  <a:lnTo>
                    <a:pt x="586" y="1897"/>
                  </a:lnTo>
                  <a:lnTo>
                    <a:pt x="586" y="1899"/>
                  </a:lnTo>
                  <a:lnTo>
                    <a:pt x="586" y="1894"/>
                  </a:lnTo>
                  <a:lnTo>
                    <a:pt x="589" y="1891"/>
                  </a:lnTo>
                  <a:lnTo>
                    <a:pt x="593" y="1891"/>
                  </a:lnTo>
                  <a:lnTo>
                    <a:pt x="593" y="1890"/>
                  </a:lnTo>
                  <a:lnTo>
                    <a:pt x="590" y="1887"/>
                  </a:lnTo>
                  <a:close/>
                  <a:moveTo>
                    <a:pt x="610" y="1870"/>
                  </a:moveTo>
                  <a:lnTo>
                    <a:pt x="607" y="1870"/>
                  </a:lnTo>
                  <a:lnTo>
                    <a:pt x="606" y="1871"/>
                  </a:lnTo>
                  <a:lnTo>
                    <a:pt x="604" y="1870"/>
                  </a:lnTo>
                  <a:lnTo>
                    <a:pt x="604" y="1868"/>
                  </a:lnTo>
                  <a:lnTo>
                    <a:pt x="603" y="1870"/>
                  </a:lnTo>
                  <a:lnTo>
                    <a:pt x="601" y="1870"/>
                  </a:lnTo>
                  <a:lnTo>
                    <a:pt x="599" y="1868"/>
                  </a:lnTo>
                  <a:lnTo>
                    <a:pt x="599" y="1868"/>
                  </a:lnTo>
                  <a:lnTo>
                    <a:pt x="598" y="1870"/>
                  </a:lnTo>
                  <a:lnTo>
                    <a:pt x="596" y="1870"/>
                  </a:lnTo>
                  <a:lnTo>
                    <a:pt x="595" y="1870"/>
                  </a:lnTo>
                  <a:lnTo>
                    <a:pt x="593" y="1871"/>
                  </a:lnTo>
                  <a:lnTo>
                    <a:pt x="593" y="1873"/>
                  </a:lnTo>
                  <a:lnTo>
                    <a:pt x="593" y="1874"/>
                  </a:lnTo>
                  <a:lnTo>
                    <a:pt x="592" y="1876"/>
                  </a:lnTo>
                  <a:lnTo>
                    <a:pt x="590" y="1877"/>
                  </a:lnTo>
                  <a:lnTo>
                    <a:pt x="590" y="1879"/>
                  </a:lnTo>
                  <a:lnTo>
                    <a:pt x="590" y="1880"/>
                  </a:lnTo>
                  <a:lnTo>
                    <a:pt x="592" y="1885"/>
                  </a:lnTo>
                  <a:lnTo>
                    <a:pt x="593" y="1887"/>
                  </a:lnTo>
                  <a:lnTo>
                    <a:pt x="595" y="1887"/>
                  </a:lnTo>
                  <a:lnTo>
                    <a:pt x="596" y="1888"/>
                  </a:lnTo>
                  <a:lnTo>
                    <a:pt x="596" y="1888"/>
                  </a:lnTo>
                  <a:lnTo>
                    <a:pt x="596" y="1888"/>
                  </a:lnTo>
                  <a:lnTo>
                    <a:pt x="599" y="1884"/>
                  </a:lnTo>
                  <a:lnTo>
                    <a:pt x="599" y="1882"/>
                  </a:lnTo>
                  <a:lnTo>
                    <a:pt x="599" y="1882"/>
                  </a:lnTo>
                  <a:lnTo>
                    <a:pt x="598" y="1880"/>
                  </a:lnTo>
                  <a:lnTo>
                    <a:pt x="598" y="1879"/>
                  </a:lnTo>
                  <a:lnTo>
                    <a:pt x="599" y="1877"/>
                  </a:lnTo>
                  <a:lnTo>
                    <a:pt x="603" y="1876"/>
                  </a:lnTo>
                  <a:lnTo>
                    <a:pt x="604" y="1874"/>
                  </a:lnTo>
                  <a:lnTo>
                    <a:pt x="606" y="1873"/>
                  </a:lnTo>
                  <a:lnTo>
                    <a:pt x="609" y="1874"/>
                  </a:lnTo>
                  <a:lnTo>
                    <a:pt x="610" y="1873"/>
                  </a:lnTo>
                  <a:lnTo>
                    <a:pt x="610" y="1873"/>
                  </a:lnTo>
                  <a:lnTo>
                    <a:pt x="612" y="1873"/>
                  </a:lnTo>
                  <a:lnTo>
                    <a:pt x="612" y="1873"/>
                  </a:lnTo>
                  <a:lnTo>
                    <a:pt x="612" y="1871"/>
                  </a:lnTo>
                  <a:lnTo>
                    <a:pt x="612" y="1871"/>
                  </a:lnTo>
                  <a:lnTo>
                    <a:pt x="610" y="1870"/>
                  </a:lnTo>
                  <a:close/>
                  <a:moveTo>
                    <a:pt x="42" y="1868"/>
                  </a:moveTo>
                  <a:lnTo>
                    <a:pt x="42" y="1867"/>
                  </a:lnTo>
                  <a:lnTo>
                    <a:pt x="43" y="1865"/>
                  </a:lnTo>
                  <a:lnTo>
                    <a:pt x="45" y="1865"/>
                  </a:lnTo>
                  <a:lnTo>
                    <a:pt x="43" y="1867"/>
                  </a:lnTo>
                  <a:lnTo>
                    <a:pt x="45" y="1868"/>
                  </a:lnTo>
                  <a:lnTo>
                    <a:pt x="45" y="1868"/>
                  </a:lnTo>
                  <a:lnTo>
                    <a:pt x="47" y="1867"/>
                  </a:lnTo>
                  <a:lnTo>
                    <a:pt x="47" y="1867"/>
                  </a:lnTo>
                  <a:lnTo>
                    <a:pt x="47" y="1862"/>
                  </a:lnTo>
                  <a:lnTo>
                    <a:pt x="47" y="1862"/>
                  </a:lnTo>
                  <a:lnTo>
                    <a:pt x="47" y="1860"/>
                  </a:lnTo>
                  <a:lnTo>
                    <a:pt x="47" y="1859"/>
                  </a:lnTo>
                  <a:lnTo>
                    <a:pt x="45" y="1857"/>
                  </a:lnTo>
                  <a:lnTo>
                    <a:pt x="43" y="1859"/>
                  </a:lnTo>
                  <a:lnTo>
                    <a:pt x="42" y="1860"/>
                  </a:lnTo>
                  <a:lnTo>
                    <a:pt x="40" y="1860"/>
                  </a:lnTo>
                  <a:lnTo>
                    <a:pt x="34" y="1860"/>
                  </a:lnTo>
                  <a:lnTo>
                    <a:pt x="31" y="1859"/>
                  </a:lnTo>
                  <a:lnTo>
                    <a:pt x="30" y="1860"/>
                  </a:lnTo>
                  <a:lnTo>
                    <a:pt x="28" y="1864"/>
                  </a:lnTo>
                  <a:lnTo>
                    <a:pt x="30" y="1865"/>
                  </a:lnTo>
                  <a:lnTo>
                    <a:pt x="31" y="1865"/>
                  </a:lnTo>
                  <a:lnTo>
                    <a:pt x="33" y="1865"/>
                  </a:lnTo>
                  <a:lnTo>
                    <a:pt x="34" y="1867"/>
                  </a:lnTo>
                  <a:lnTo>
                    <a:pt x="33" y="1867"/>
                  </a:lnTo>
                  <a:lnTo>
                    <a:pt x="31" y="1867"/>
                  </a:lnTo>
                  <a:lnTo>
                    <a:pt x="30" y="1867"/>
                  </a:lnTo>
                  <a:lnTo>
                    <a:pt x="30" y="1868"/>
                  </a:lnTo>
                  <a:lnTo>
                    <a:pt x="30" y="1870"/>
                  </a:lnTo>
                  <a:lnTo>
                    <a:pt x="31" y="1870"/>
                  </a:lnTo>
                  <a:lnTo>
                    <a:pt x="31" y="1871"/>
                  </a:lnTo>
                  <a:lnTo>
                    <a:pt x="31" y="1873"/>
                  </a:lnTo>
                  <a:lnTo>
                    <a:pt x="31" y="1874"/>
                  </a:lnTo>
                  <a:lnTo>
                    <a:pt x="33" y="1874"/>
                  </a:lnTo>
                  <a:lnTo>
                    <a:pt x="34" y="1874"/>
                  </a:lnTo>
                  <a:lnTo>
                    <a:pt x="34" y="1876"/>
                  </a:lnTo>
                  <a:lnTo>
                    <a:pt x="34" y="1876"/>
                  </a:lnTo>
                  <a:lnTo>
                    <a:pt x="36" y="1876"/>
                  </a:lnTo>
                  <a:lnTo>
                    <a:pt x="37" y="1874"/>
                  </a:lnTo>
                  <a:lnTo>
                    <a:pt x="37" y="1874"/>
                  </a:lnTo>
                  <a:lnTo>
                    <a:pt x="37" y="1873"/>
                  </a:lnTo>
                  <a:lnTo>
                    <a:pt x="39" y="1874"/>
                  </a:lnTo>
                  <a:lnTo>
                    <a:pt x="40" y="1873"/>
                  </a:lnTo>
                  <a:lnTo>
                    <a:pt x="40" y="1871"/>
                  </a:lnTo>
                  <a:lnTo>
                    <a:pt x="42" y="1868"/>
                  </a:lnTo>
                  <a:close/>
                  <a:moveTo>
                    <a:pt x="30" y="1854"/>
                  </a:moveTo>
                  <a:lnTo>
                    <a:pt x="30" y="1854"/>
                  </a:lnTo>
                  <a:lnTo>
                    <a:pt x="31" y="1853"/>
                  </a:lnTo>
                  <a:lnTo>
                    <a:pt x="31" y="1851"/>
                  </a:lnTo>
                  <a:lnTo>
                    <a:pt x="33" y="1850"/>
                  </a:lnTo>
                  <a:lnTo>
                    <a:pt x="36" y="1850"/>
                  </a:lnTo>
                  <a:lnTo>
                    <a:pt x="37" y="1850"/>
                  </a:lnTo>
                  <a:lnTo>
                    <a:pt x="39" y="1853"/>
                  </a:lnTo>
                  <a:lnTo>
                    <a:pt x="40" y="1851"/>
                  </a:lnTo>
                  <a:lnTo>
                    <a:pt x="45" y="1853"/>
                  </a:lnTo>
                  <a:lnTo>
                    <a:pt x="48" y="1850"/>
                  </a:lnTo>
                  <a:lnTo>
                    <a:pt x="50" y="1850"/>
                  </a:lnTo>
                  <a:lnTo>
                    <a:pt x="51" y="1850"/>
                  </a:lnTo>
                  <a:lnTo>
                    <a:pt x="53" y="1847"/>
                  </a:lnTo>
                  <a:lnTo>
                    <a:pt x="53" y="1840"/>
                  </a:lnTo>
                  <a:lnTo>
                    <a:pt x="53" y="1837"/>
                  </a:lnTo>
                  <a:lnTo>
                    <a:pt x="51" y="1834"/>
                  </a:lnTo>
                  <a:lnTo>
                    <a:pt x="50" y="1833"/>
                  </a:lnTo>
                  <a:lnTo>
                    <a:pt x="48" y="1831"/>
                  </a:lnTo>
                  <a:lnTo>
                    <a:pt x="48" y="1830"/>
                  </a:lnTo>
                  <a:lnTo>
                    <a:pt x="47" y="1827"/>
                  </a:lnTo>
                  <a:lnTo>
                    <a:pt x="43" y="1825"/>
                  </a:lnTo>
                  <a:lnTo>
                    <a:pt x="42" y="1825"/>
                  </a:lnTo>
                  <a:lnTo>
                    <a:pt x="42" y="1827"/>
                  </a:lnTo>
                  <a:lnTo>
                    <a:pt x="42" y="1827"/>
                  </a:lnTo>
                  <a:lnTo>
                    <a:pt x="42" y="1828"/>
                  </a:lnTo>
                  <a:lnTo>
                    <a:pt x="42" y="1830"/>
                  </a:lnTo>
                  <a:lnTo>
                    <a:pt x="40" y="1831"/>
                  </a:lnTo>
                  <a:lnTo>
                    <a:pt x="40" y="1831"/>
                  </a:lnTo>
                  <a:lnTo>
                    <a:pt x="40" y="1833"/>
                  </a:lnTo>
                  <a:lnTo>
                    <a:pt x="40" y="1834"/>
                  </a:lnTo>
                  <a:lnTo>
                    <a:pt x="37" y="1833"/>
                  </a:lnTo>
                  <a:lnTo>
                    <a:pt x="36" y="1833"/>
                  </a:lnTo>
                  <a:lnTo>
                    <a:pt x="36" y="1834"/>
                  </a:lnTo>
                  <a:lnTo>
                    <a:pt x="34" y="1836"/>
                  </a:lnTo>
                  <a:lnTo>
                    <a:pt x="31" y="1837"/>
                  </a:lnTo>
                  <a:lnTo>
                    <a:pt x="23" y="1844"/>
                  </a:lnTo>
                  <a:lnTo>
                    <a:pt x="22" y="1847"/>
                  </a:lnTo>
                  <a:lnTo>
                    <a:pt x="22" y="1848"/>
                  </a:lnTo>
                  <a:lnTo>
                    <a:pt x="22" y="1850"/>
                  </a:lnTo>
                  <a:lnTo>
                    <a:pt x="25" y="1853"/>
                  </a:lnTo>
                  <a:lnTo>
                    <a:pt x="25" y="1853"/>
                  </a:lnTo>
                  <a:lnTo>
                    <a:pt x="25" y="1857"/>
                  </a:lnTo>
                  <a:lnTo>
                    <a:pt x="26" y="1857"/>
                  </a:lnTo>
                  <a:lnTo>
                    <a:pt x="26" y="1851"/>
                  </a:lnTo>
                  <a:lnTo>
                    <a:pt x="28" y="1854"/>
                  </a:lnTo>
                  <a:lnTo>
                    <a:pt x="30" y="1854"/>
                  </a:lnTo>
                  <a:lnTo>
                    <a:pt x="30" y="1854"/>
                  </a:lnTo>
                  <a:close/>
                  <a:moveTo>
                    <a:pt x="427" y="1824"/>
                  </a:moveTo>
                  <a:lnTo>
                    <a:pt x="425" y="1824"/>
                  </a:lnTo>
                  <a:lnTo>
                    <a:pt x="425" y="1827"/>
                  </a:lnTo>
                  <a:lnTo>
                    <a:pt x="427" y="1828"/>
                  </a:lnTo>
                  <a:lnTo>
                    <a:pt x="427" y="1828"/>
                  </a:lnTo>
                  <a:lnTo>
                    <a:pt x="428" y="1828"/>
                  </a:lnTo>
                  <a:lnTo>
                    <a:pt x="430" y="1827"/>
                  </a:lnTo>
                  <a:lnTo>
                    <a:pt x="430" y="1825"/>
                  </a:lnTo>
                  <a:lnTo>
                    <a:pt x="428" y="1825"/>
                  </a:lnTo>
                  <a:lnTo>
                    <a:pt x="428" y="1824"/>
                  </a:lnTo>
                  <a:lnTo>
                    <a:pt x="427" y="1824"/>
                  </a:lnTo>
                  <a:close/>
                  <a:moveTo>
                    <a:pt x="606" y="1819"/>
                  </a:moveTo>
                  <a:lnTo>
                    <a:pt x="609" y="1817"/>
                  </a:lnTo>
                  <a:lnTo>
                    <a:pt x="612" y="1814"/>
                  </a:lnTo>
                  <a:lnTo>
                    <a:pt x="610" y="1813"/>
                  </a:lnTo>
                  <a:lnTo>
                    <a:pt x="606" y="1813"/>
                  </a:lnTo>
                  <a:lnTo>
                    <a:pt x="604" y="1811"/>
                  </a:lnTo>
                  <a:lnTo>
                    <a:pt x="601" y="1811"/>
                  </a:lnTo>
                  <a:lnTo>
                    <a:pt x="603" y="1817"/>
                  </a:lnTo>
                  <a:lnTo>
                    <a:pt x="606" y="1819"/>
                  </a:lnTo>
                  <a:close/>
                  <a:moveTo>
                    <a:pt x="424" y="1817"/>
                  </a:moveTo>
                  <a:lnTo>
                    <a:pt x="424" y="1817"/>
                  </a:lnTo>
                  <a:lnTo>
                    <a:pt x="424" y="1819"/>
                  </a:lnTo>
                  <a:lnTo>
                    <a:pt x="425" y="1820"/>
                  </a:lnTo>
                  <a:lnTo>
                    <a:pt x="427" y="1822"/>
                  </a:lnTo>
                  <a:lnTo>
                    <a:pt x="428" y="1822"/>
                  </a:lnTo>
                  <a:lnTo>
                    <a:pt x="430" y="1822"/>
                  </a:lnTo>
                  <a:lnTo>
                    <a:pt x="430" y="1822"/>
                  </a:lnTo>
                  <a:lnTo>
                    <a:pt x="432" y="1820"/>
                  </a:lnTo>
                  <a:lnTo>
                    <a:pt x="432" y="1820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0" y="1820"/>
                  </a:lnTo>
                  <a:lnTo>
                    <a:pt x="428" y="1820"/>
                  </a:lnTo>
                  <a:lnTo>
                    <a:pt x="427" y="1817"/>
                  </a:lnTo>
                  <a:lnTo>
                    <a:pt x="425" y="1817"/>
                  </a:lnTo>
                  <a:lnTo>
                    <a:pt x="425" y="1816"/>
                  </a:lnTo>
                  <a:lnTo>
                    <a:pt x="425" y="1814"/>
                  </a:lnTo>
                  <a:lnTo>
                    <a:pt x="427" y="1814"/>
                  </a:lnTo>
                  <a:lnTo>
                    <a:pt x="427" y="1814"/>
                  </a:lnTo>
                  <a:lnTo>
                    <a:pt x="425" y="1813"/>
                  </a:lnTo>
                  <a:lnTo>
                    <a:pt x="427" y="1813"/>
                  </a:lnTo>
                  <a:lnTo>
                    <a:pt x="427" y="1813"/>
                  </a:lnTo>
                  <a:lnTo>
                    <a:pt x="428" y="1811"/>
                  </a:lnTo>
                  <a:lnTo>
                    <a:pt x="428" y="1811"/>
                  </a:lnTo>
                  <a:lnTo>
                    <a:pt x="428" y="1810"/>
                  </a:lnTo>
                  <a:lnTo>
                    <a:pt x="427" y="1810"/>
                  </a:lnTo>
                  <a:lnTo>
                    <a:pt x="427" y="1811"/>
                  </a:lnTo>
                  <a:lnTo>
                    <a:pt x="425" y="1810"/>
                  </a:lnTo>
                  <a:lnTo>
                    <a:pt x="425" y="1811"/>
                  </a:lnTo>
                  <a:lnTo>
                    <a:pt x="424" y="1811"/>
                  </a:lnTo>
                  <a:lnTo>
                    <a:pt x="424" y="1811"/>
                  </a:lnTo>
                  <a:lnTo>
                    <a:pt x="422" y="1811"/>
                  </a:lnTo>
                  <a:lnTo>
                    <a:pt x="422" y="1813"/>
                  </a:lnTo>
                  <a:lnTo>
                    <a:pt x="424" y="1814"/>
                  </a:lnTo>
                  <a:lnTo>
                    <a:pt x="424" y="1816"/>
                  </a:lnTo>
                  <a:lnTo>
                    <a:pt x="424" y="1816"/>
                  </a:lnTo>
                  <a:lnTo>
                    <a:pt x="424" y="1817"/>
                  </a:lnTo>
                  <a:close/>
                  <a:moveTo>
                    <a:pt x="535" y="1730"/>
                  </a:moveTo>
                  <a:lnTo>
                    <a:pt x="535" y="1730"/>
                  </a:lnTo>
                  <a:lnTo>
                    <a:pt x="535" y="1730"/>
                  </a:lnTo>
                  <a:lnTo>
                    <a:pt x="533" y="1730"/>
                  </a:lnTo>
                  <a:lnTo>
                    <a:pt x="532" y="1731"/>
                  </a:lnTo>
                  <a:lnTo>
                    <a:pt x="530" y="1733"/>
                  </a:lnTo>
                  <a:lnTo>
                    <a:pt x="529" y="1734"/>
                  </a:lnTo>
                  <a:lnTo>
                    <a:pt x="527" y="1736"/>
                  </a:lnTo>
                  <a:lnTo>
                    <a:pt x="527" y="1737"/>
                  </a:lnTo>
                  <a:lnTo>
                    <a:pt x="527" y="1737"/>
                  </a:lnTo>
                  <a:lnTo>
                    <a:pt x="529" y="1739"/>
                  </a:lnTo>
                  <a:lnTo>
                    <a:pt x="529" y="1739"/>
                  </a:lnTo>
                  <a:lnTo>
                    <a:pt x="530" y="1737"/>
                  </a:lnTo>
                  <a:lnTo>
                    <a:pt x="533" y="1736"/>
                  </a:lnTo>
                  <a:lnTo>
                    <a:pt x="535" y="1736"/>
                  </a:lnTo>
                  <a:lnTo>
                    <a:pt x="536" y="1736"/>
                  </a:lnTo>
                  <a:lnTo>
                    <a:pt x="536" y="1734"/>
                  </a:lnTo>
                  <a:lnTo>
                    <a:pt x="535" y="1734"/>
                  </a:lnTo>
                  <a:lnTo>
                    <a:pt x="535" y="1733"/>
                  </a:lnTo>
                  <a:lnTo>
                    <a:pt x="535" y="1733"/>
                  </a:lnTo>
                  <a:lnTo>
                    <a:pt x="535" y="1733"/>
                  </a:lnTo>
                  <a:lnTo>
                    <a:pt x="536" y="1733"/>
                  </a:lnTo>
                  <a:lnTo>
                    <a:pt x="536" y="1731"/>
                  </a:lnTo>
                  <a:lnTo>
                    <a:pt x="538" y="1731"/>
                  </a:lnTo>
                  <a:lnTo>
                    <a:pt x="539" y="1730"/>
                  </a:lnTo>
                  <a:lnTo>
                    <a:pt x="539" y="1728"/>
                  </a:lnTo>
                  <a:lnTo>
                    <a:pt x="539" y="1728"/>
                  </a:lnTo>
                  <a:lnTo>
                    <a:pt x="536" y="1730"/>
                  </a:lnTo>
                  <a:lnTo>
                    <a:pt x="535" y="1730"/>
                  </a:lnTo>
                  <a:close/>
                  <a:moveTo>
                    <a:pt x="522" y="1730"/>
                  </a:moveTo>
                  <a:lnTo>
                    <a:pt x="524" y="1730"/>
                  </a:lnTo>
                  <a:lnTo>
                    <a:pt x="524" y="1728"/>
                  </a:lnTo>
                  <a:lnTo>
                    <a:pt x="524" y="1726"/>
                  </a:lnTo>
                  <a:lnTo>
                    <a:pt x="524" y="1725"/>
                  </a:lnTo>
                  <a:lnTo>
                    <a:pt x="524" y="1723"/>
                  </a:lnTo>
                  <a:lnTo>
                    <a:pt x="524" y="1723"/>
                  </a:lnTo>
                  <a:lnTo>
                    <a:pt x="524" y="1725"/>
                  </a:lnTo>
                  <a:lnTo>
                    <a:pt x="526" y="1725"/>
                  </a:lnTo>
                  <a:lnTo>
                    <a:pt x="526" y="1725"/>
                  </a:lnTo>
                  <a:lnTo>
                    <a:pt x="527" y="1725"/>
                  </a:lnTo>
                  <a:lnTo>
                    <a:pt x="527" y="1725"/>
                  </a:lnTo>
                  <a:lnTo>
                    <a:pt x="527" y="1725"/>
                  </a:lnTo>
                  <a:lnTo>
                    <a:pt x="527" y="1723"/>
                  </a:lnTo>
                  <a:lnTo>
                    <a:pt x="527" y="1723"/>
                  </a:lnTo>
                  <a:lnTo>
                    <a:pt x="527" y="1723"/>
                  </a:lnTo>
                  <a:lnTo>
                    <a:pt x="526" y="1723"/>
                  </a:lnTo>
                  <a:lnTo>
                    <a:pt x="526" y="1723"/>
                  </a:lnTo>
                  <a:lnTo>
                    <a:pt x="529" y="1722"/>
                  </a:lnTo>
                  <a:lnTo>
                    <a:pt x="529" y="1720"/>
                  </a:lnTo>
                  <a:lnTo>
                    <a:pt x="526" y="1720"/>
                  </a:lnTo>
                  <a:lnTo>
                    <a:pt x="524" y="1720"/>
                  </a:lnTo>
                  <a:lnTo>
                    <a:pt x="522" y="1722"/>
                  </a:lnTo>
                  <a:lnTo>
                    <a:pt x="521" y="1722"/>
                  </a:lnTo>
                  <a:lnTo>
                    <a:pt x="519" y="1722"/>
                  </a:lnTo>
                  <a:lnTo>
                    <a:pt x="519" y="1723"/>
                  </a:lnTo>
                  <a:lnTo>
                    <a:pt x="519" y="1723"/>
                  </a:lnTo>
                  <a:lnTo>
                    <a:pt x="519" y="1725"/>
                  </a:lnTo>
                  <a:lnTo>
                    <a:pt x="518" y="1725"/>
                  </a:lnTo>
                  <a:lnTo>
                    <a:pt x="518" y="1726"/>
                  </a:lnTo>
                  <a:lnTo>
                    <a:pt x="518" y="1726"/>
                  </a:lnTo>
                  <a:lnTo>
                    <a:pt x="516" y="1728"/>
                  </a:lnTo>
                  <a:lnTo>
                    <a:pt x="516" y="1730"/>
                  </a:lnTo>
                  <a:lnTo>
                    <a:pt x="516" y="1730"/>
                  </a:lnTo>
                  <a:lnTo>
                    <a:pt x="516" y="1731"/>
                  </a:lnTo>
                  <a:lnTo>
                    <a:pt x="518" y="1730"/>
                  </a:lnTo>
                  <a:lnTo>
                    <a:pt x="519" y="1728"/>
                  </a:lnTo>
                  <a:lnTo>
                    <a:pt x="519" y="1728"/>
                  </a:lnTo>
                  <a:lnTo>
                    <a:pt x="519" y="1728"/>
                  </a:lnTo>
                  <a:lnTo>
                    <a:pt x="521" y="1730"/>
                  </a:lnTo>
                  <a:lnTo>
                    <a:pt x="522" y="1730"/>
                  </a:lnTo>
                  <a:close/>
                  <a:moveTo>
                    <a:pt x="492" y="1725"/>
                  </a:moveTo>
                  <a:lnTo>
                    <a:pt x="490" y="1723"/>
                  </a:lnTo>
                  <a:lnTo>
                    <a:pt x="490" y="1720"/>
                  </a:lnTo>
                  <a:lnTo>
                    <a:pt x="490" y="1719"/>
                  </a:lnTo>
                  <a:lnTo>
                    <a:pt x="490" y="1717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7" y="1714"/>
                  </a:lnTo>
                  <a:lnTo>
                    <a:pt x="487" y="1714"/>
                  </a:lnTo>
                  <a:lnTo>
                    <a:pt x="485" y="1716"/>
                  </a:lnTo>
                  <a:lnTo>
                    <a:pt x="487" y="1720"/>
                  </a:lnTo>
                  <a:lnTo>
                    <a:pt x="487" y="1722"/>
                  </a:lnTo>
                  <a:lnTo>
                    <a:pt x="487" y="1722"/>
                  </a:lnTo>
                  <a:lnTo>
                    <a:pt x="487" y="1723"/>
                  </a:lnTo>
                  <a:lnTo>
                    <a:pt x="485" y="1725"/>
                  </a:lnTo>
                  <a:lnTo>
                    <a:pt x="485" y="1726"/>
                  </a:lnTo>
                  <a:lnTo>
                    <a:pt x="485" y="1730"/>
                  </a:lnTo>
                  <a:lnTo>
                    <a:pt x="485" y="1731"/>
                  </a:lnTo>
                  <a:lnTo>
                    <a:pt x="485" y="1731"/>
                  </a:lnTo>
                  <a:lnTo>
                    <a:pt x="485" y="1733"/>
                  </a:lnTo>
                  <a:lnTo>
                    <a:pt x="485" y="1734"/>
                  </a:lnTo>
                  <a:lnTo>
                    <a:pt x="487" y="1736"/>
                  </a:lnTo>
                  <a:lnTo>
                    <a:pt x="487" y="1736"/>
                  </a:lnTo>
                  <a:lnTo>
                    <a:pt x="487" y="1736"/>
                  </a:lnTo>
                  <a:lnTo>
                    <a:pt x="489" y="1739"/>
                  </a:lnTo>
                  <a:lnTo>
                    <a:pt x="490" y="1739"/>
                  </a:lnTo>
                  <a:lnTo>
                    <a:pt x="489" y="1737"/>
                  </a:lnTo>
                  <a:lnTo>
                    <a:pt x="489" y="1736"/>
                  </a:lnTo>
                  <a:lnTo>
                    <a:pt x="490" y="1736"/>
                  </a:lnTo>
                  <a:lnTo>
                    <a:pt x="490" y="1734"/>
                  </a:lnTo>
                  <a:lnTo>
                    <a:pt x="490" y="1734"/>
                  </a:lnTo>
                  <a:lnTo>
                    <a:pt x="490" y="1733"/>
                  </a:lnTo>
                  <a:lnTo>
                    <a:pt x="490" y="1731"/>
                  </a:lnTo>
                  <a:lnTo>
                    <a:pt x="490" y="1730"/>
                  </a:lnTo>
                  <a:lnTo>
                    <a:pt x="490" y="1728"/>
                  </a:lnTo>
                  <a:lnTo>
                    <a:pt x="490" y="1726"/>
                  </a:lnTo>
                  <a:lnTo>
                    <a:pt x="492" y="1725"/>
                  </a:lnTo>
                  <a:close/>
                  <a:moveTo>
                    <a:pt x="538" y="1719"/>
                  </a:moveTo>
                  <a:lnTo>
                    <a:pt x="538" y="1720"/>
                  </a:lnTo>
                  <a:lnTo>
                    <a:pt x="538" y="1720"/>
                  </a:lnTo>
                  <a:lnTo>
                    <a:pt x="539" y="1722"/>
                  </a:lnTo>
                  <a:lnTo>
                    <a:pt x="539" y="1723"/>
                  </a:lnTo>
                  <a:lnTo>
                    <a:pt x="541" y="1723"/>
                  </a:lnTo>
                  <a:lnTo>
                    <a:pt x="541" y="1723"/>
                  </a:lnTo>
                  <a:lnTo>
                    <a:pt x="542" y="1723"/>
                  </a:lnTo>
                  <a:lnTo>
                    <a:pt x="542" y="1723"/>
                  </a:lnTo>
                  <a:lnTo>
                    <a:pt x="542" y="1723"/>
                  </a:lnTo>
                  <a:lnTo>
                    <a:pt x="544" y="1723"/>
                  </a:lnTo>
                  <a:lnTo>
                    <a:pt x="544" y="1722"/>
                  </a:lnTo>
                  <a:lnTo>
                    <a:pt x="544" y="1722"/>
                  </a:lnTo>
                  <a:lnTo>
                    <a:pt x="544" y="1720"/>
                  </a:lnTo>
                  <a:lnTo>
                    <a:pt x="544" y="1720"/>
                  </a:lnTo>
                  <a:lnTo>
                    <a:pt x="544" y="1719"/>
                  </a:lnTo>
                  <a:lnTo>
                    <a:pt x="546" y="1719"/>
                  </a:lnTo>
                  <a:lnTo>
                    <a:pt x="546" y="1717"/>
                  </a:lnTo>
                  <a:lnTo>
                    <a:pt x="547" y="1716"/>
                  </a:lnTo>
                  <a:lnTo>
                    <a:pt x="549" y="1713"/>
                  </a:lnTo>
                  <a:lnTo>
                    <a:pt x="549" y="1713"/>
                  </a:lnTo>
                  <a:lnTo>
                    <a:pt x="549" y="1711"/>
                  </a:lnTo>
                  <a:lnTo>
                    <a:pt x="549" y="1711"/>
                  </a:lnTo>
                  <a:lnTo>
                    <a:pt x="549" y="1711"/>
                  </a:lnTo>
                  <a:lnTo>
                    <a:pt x="549" y="1710"/>
                  </a:lnTo>
                  <a:lnTo>
                    <a:pt x="549" y="1708"/>
                  </a:lnTo>
                  <a:lnTo>
                    <a:pt x="547" y="1708"/>
                  </a:lnTo>
                  <a:lnTo>
                    <a:pt x="546" y="1708"/>
                  </a:lnTo>
                  <a:lnTo>
                    <a:pt x="546" y="1710"/>
                  </a:lnTo>
                  <a:lnTo>
                    <a:pt x="544" y="1711"/>
                  </a:lnTo>
                  <a:lnTo>
                    <a:pt x="541" y="1713"/>
                  </a:lnTo>
                  <a:lnTo>
                    <a:pt x="541" y="1714"/>
                  </a:lnTo>
                  <a:lnTo>
                    <a:pt x="541" y="1714"/>
                  </a:lnTo>
                  <a:lnTo>
                    <a:pt x="541" y="1716"/>
                  </a:lnTo>
                  <a:lnTo>
                    <a:pt x="539" y="1716"/>
                  </a:lnTo>
                  <a:lnTo>
                    <a:pt x="539" y="1717"/>
                  </a:lnTo>
                  <a:lnTo>
                    <a:pt x="539" y="1716"/>
                  </a:lnTo>
                  <a:lnTo>
                    <a:pt x="539" y="1717"/>
                  </a:lnTo>
                  <a:lnTo>
                    <a:pt x="539" y="1717"/>
                  </a:lnTo>
                  <a:lnTo>
                    <a:pt x="539" y="1719"/>
                  </a:lnTo>
                  <a:lnTo>
                    <a:pt x="539" y="1719"/>
                  </a:lnTo>
                  <a:lnTo>
                    <a:pt x="538" y="1719"/>
                  </a:lnTo>
                  <a:close/>
                  <a:moveTo>
                    <a:pt x="566" y="1694"/>
                  </a:moveTo>
                  <a:lnTo>
                    <a:pt x="564" y="1694"/>
                  </a:lnTo>
                  <a:lnTo>
                    <a:pt x="562" y="1696"/>
                  </a:lnTo>
                  <a:lnTo>
                    <a:pt x="562" y="1697"/>
                  </a:lnTo>
                  <a:lnTo>
                    <a:pt x="562" y="1699"/>
                  </a:lnTo>
                  <a:lnTo>
                    <a:pt x="562" y="1699"/>
                  </a:lnTo>
                  <a:lnTo>
                    <a:pt x="567" y="1696"/>
                  </a:lnTo>
                  <a:lnTo>
                    <a:pt x="569" y="1694"/>
                  </a:lnTo>
                  <a:lnTo>
                    <a:pt x="569" y="1694"/>
                  </a:lnTo>
                  <a:lnTo>
                    <a:pt x="566" y="1694"/>
                  </a:lnTo>
                  <a:lnTo>
                    <a:pt x="566" y="1694"/>
                  </a:lnTo>
                  <a:close/>
                  <a:moveTo>
                    <a:pt x="567" y="1685"/>
                  </a:moveTo>
                  <a:lnTo>
                    <a:pt x="567" y="1686"/>
                  </a:lnTo>
                  <a:lnTo>
                    <a:pt x="567" y="1686"/>
                  </a:lnTo>
                  <a:lnTo>
                    <a:pt x="567" y="1686"/>
                  </a:lnTo>
                  <a:lnTo>
                    <a:pt x="569" y="1686"/>
                  </a:lnTo>
                  <a:lnTo>
                    <a:pt x="569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6"/>
                  </a:lnTo>
                  <a:lnTo>
                    <a:pt x="572" y="1685"/>
                  </a:lnTo>
                  <a:lnTo>
                    <a:pt x="572" y="1685"/>
                  </a:lnTo>
                  <a:lnTo>
                    <a:pt x="573" y="1683"/>
                  </a:lnTo>
                  <a:lnTo>
                    <a:pt x="573" y="1683"/>
                  </a:lnTo>
                  <a:lnTo>
                    <a:pt x="573" y="1682"/>
                  </a:lnTo>
                  <a:lnTo>
                    <a:pt x="572" y="1682"/>
                  </a:lnTo>
                  <a:lnTo>
                    <a:pt x="572" y="1682"/>
                  </a:lnTo>
                  <a:lnTo>
                    <a:pt x="570" y="1682"/>
                  </a:lnTo>
                  <a:lnTo>
                    <a:pt x="569" y="1682"/>
                  </a:lnTo>
                  <a:lnTo>
                    <a:pt x="567" y="1683"/>
                  </a:lnTo>
                  <a:lnTo>
                    <a:pt x="567" y="1685"/>
                  </a:lnTo>
                  <a:close/>
                  <a:moveTo>
                    <a:pt x="555" y="1688"/>
                  </a:moveTo>
                  <a:lnTo>
                    <a:pt x="558" y="1686"/>
                  </a:lnTo>
                  <a:lnTo>
                    <a:pt x="552" y="1683"/>
                  </a:lnTo>
                  <a:lnTo>
                    <a:pt x="547" y="1682"/>
                  </a:lnTo>
                  <a:lnTo>
                    <a:pt x="538" y="1682"/>
                  </a:lnTo>
                  <a:lnTo>
                    <a:pt x="542" y="1683"/>
                  </a:lnTo>
                  <a:lnTo>
                    <a:pt x="544" y="1685"/>
                  </a:lnTo>
                  <a:lnTo>
                    <a:pt x="544" y="1685"/>
                  </a:lnTo>
                  <a:lnTo>
                    <a:pt x="544" y="1686"/>
                  </a:lnTo>
                  <a:lnTo>
                    <a:pt x="544" y="1686"/>
                  </a:lnTo>
                  <a:lnTo>
                    <a:pt x="547" y="1688"/>
                  </a:lnTo>
                  <a:lnTo>
                    <a:pt x="552" y="1691"/>
                  </a:lnTo>
                  <a:lnTo>
                    <a:pt x="553" y="1693"/>
                  </a:lnTo>
                  <a:lnTo>
                    <a:pt x="556" y="1690"/>
                  </a:lnTo>
                  <a:lnTo>
                    <a:pt x="552" y="1690"/>
                  </a:lnTo>
                  <a:lnTo>
                    <a:pt x="552" y="1688"/>
                  </a:lnTo>
                  <a:lnTo>
                    <a:pt x="552" y="1685"/>
                  </a:lnTo>
                  <a:lnTo>
                    <a:pt x="553" y="1686"/>
                  </a:lnTo>
                  <a:lnTo>
                    <a:pt x="555" y="1688"/>
                  </a:lnTo>
                  <a:close/>
                  <a:moveTo>
                    <a:pt x="561" y="1673"/>
                  </a:moveTo>
                  <a:lnTo>
                    <a:pt x="562" y="1674"/>
                  </a:lnTo>
                  <a:lnTo>
                    <a:pt x="562" y="1676"/>
                  </a:lnTo>
                  <a:lnTo>
                    <a:pt x="564" y="1677"/>
                  </a:lnTo>
                  <a:lnTo>
                    <a:pt x="564" y="1677"/>
                  </a:lnTo>
                  <a:lnTo>
                    <a:pt x="564" y="1679"/>
                  </a:lnTo>
                  <a:lnTo>
                    <a:pt x="564" y="1679"/>
                  </a:lnTo>
                  <a:lnTo>
                    <a:pt x="562" y="1679"/>
                  </a:lnTo>
                  <a:lnTo>
                    <a:pt x="562" y="1680"/>
                  </a:lnTo>
                  <a:lnTo>
                    <a:pt x="562" y="1682"/>
                  </a:lnTo>
                  <a:lnTo>
                    <a:pt x="564" y="1680"/>
                  </a:lnTo>
                  <a:lnTo>
                    <a:pt x="567" y="1679"/>
                  </a:lnTo>
                  <a:lnTo>
                    <a:pt x="569" y="1679"/>
                  </a:lnTo>
                  <a:lnTo>
                    <a:pt x="569" y="1677"/>
                  </a:lnTo>
                  <a:lnTo>
                    <a:pt x="569" y="1674"/>
                  </a:lnTo>
                  <a:lnTo>
                    <a:pt x="569" y="1674"/>
                  </a:lnTo>
                  <a:lnTo>
                    <a:pt x="567" y="1674"/>
                  </a:lnTo>
                  <a:lnTo>
                    <a:pt x="567" y="1673"/>
                  </a:lnTo>
                  <a:lnTo>
                    <a:pt x="566" y="1671"/>
                  </a:lnTo>
                  <a:lnTo>
                    <a:pt x="566" y="1671"/>
                  </a:lnTo>
                  <a:lnTo>
                    <a:pt x="564" y="1671"/>
                  </a:lnTo>
                  <a:lnTo>
                    <a:pt x="564" y="1671"/>
                  </a:lnTo>
                  <a:lnTo>
                    <a:pt x="564" y="1671"/>
                  </a:lnTo>
                  <a:lnTo>
                    <a:pt x="561" y="1671"/>
                  </a:lnTo>
                  <a:lnTo>
                    <a:pt x="561" y="1671"/>
                  </a:lnTo>
                  <a:lnTo>
                    <a:pt x="561" y="1673"/>
                  </a:lnTo>
                  <a:lnTo>
                    <a:pt x="561" y="1673"/>
                  </a:lnTo>
                  <a:close/>
                  <a:moveTo>
                    <a:pt x="530" y="1671"/>
                  </a:moveTo>
                  <a:lnTo>
                    <a:pt x="532" y="1671"/>
                  </a:lnTo>
                  <a:lnTo>
                    <a:pt x="530" y="1671"/>
                  </a:lnTo>
                  <a:lnTo>
                    <a:pt x="522" y="1668"/>
                  </a:lnTo>
                  <a:lnTo>
                    <a:pt x="521" y="1668"/>
                  </a:lnTo>
                  <a:lnTo>
                    <a:pt x="521" y="1670"/>
                  </a:lnTo>
                  <a:lnTo>
                    <a:pt x="521" y="1671"/>
                  </a:lnTo>
                  <a:lnTo>
                    <a:pt x="521" y="1671"/>
                  </a:lnTo>
                  <a:lnTo>
                    <a:pt x="522" y="1673"/>
                  </a:lnTo>
                  <a:lnTo>
                    <a:pt x="522" y="1674"/>
                  </a:lnTo>
                  <a:lnTo>
                    <a:pt x="526" y="1676"/>
                  </a:lnTo>
                  <a:lnTo>
                    <a:pt x="527" y="1676"/>
                  </a:lnTo>
                  <a:lnTo>
                    <a:pt x="529" y="1676"/>
                  </a:lnTo>
                  <a:lnTo>
                    <a:pt x="529" y="1674"/>
                  </a:lnTo>
                  <a:lnTo>
                    <a:pt x="529" y="1673"/>
                  </a:lnTo>
                  <a:lnTo>
                    <a:pt x="529" y="1671"/>
                  </a:lnTo>
                  <a:lnTo>
                    <a:pt x="530" y="1671"/>
                  </a:lnTo>
                  <a:lnTo>
                    <a:pt x="530" y="1671"/>
                  </a:lnTo>
                  <a:close/>
                  <a:moveTo>
                    <a:pt x="576" y="1666"/>
                  </a:moveTo>
                  <a:lnTo>
                    <a:pt x="576" y="1668"/>
                  </a:lnTo>
                  <a:lnTo>
                    <a:pt x="576" y="1668"/>
                  </a:lnTo>
                  <a:lnTo>
                    <a:pt x="578" y="1668"/>
                  </a:lnTo>
                  <a:lnTo>
                    <a:pt x="578" y="1668"/>
                  </a:lnTo>
                  <a:lnTo>
                    <a:pt x="576" y="1666"/>
                  </a:lnTo>
                  <a:lnTo>
                    <a:pt x="576" y="1666"/>
                  </a:lnTo>
                  <a:lnTo>
                    <a:pt x="576" y="1666"/>
                  </a:lnTo>
                  <a:close/>
                  <a:moveTo>
                    <a:pt x="579" y="1668"/>
                  </a:moveTo>
                  <a:lnTo>
                    <a:pt x="581" y="1668"/>
                  </a:lnTo>
                  <a:lnTo>
                    <a:pt x="581" y="1670"/>
                  </a:lnTo>
                  <a:lnTo>
                    <a:pt x="582" y="1671"/>
                  </a:lnTo>
                  <a:lnTo>
                    <a:pt x="584" y="1670"/>
                  </a:lnTo>
                  <a:lnTo>
                    <a:pt x="582" y="1668"/>
                  </a:lnTo>
                  <a:lnTo>
                    <a:pt x="582" y="1668"/>
                  </a:lnTo>
                  <a:lnTo>
                    <a:pt x="582" y="1666"/>
                  </a:lnTo>
                  <a:lnTo>
                    <a:pt x="581" y="1665"/>
                  </a:lnTo>
                  <a:lnTo>
                    <a:pt x="581" y="1665"/>
                  </a:lnTo>
                  <a:lnTo>
                    <a:pt x="579" y="1666"/>
                  </a:lnTo>
                  <a:lnTo>
                    <a:pt x="579" y="1668"/>
                  </a:lnTo>
                  <a:lnTo>
                    <a:pt x="579" y="1668"/>
                  </a:lnTo>
                  <a:close/>
                  <a:moveTo>
                    <a:pt x="579" y="1665"/>
                  </a:moveTo>
                  <a:lnTo>
                    <a:pt x="581" y="1663"/>
                  </a:lnTo>
                  <a:lnTo>
                    <a:pt x="581" y="1662"/>
                  </a:lnTo>
                  <a:lnTo>
                    <a:pt x="581" y="1660"/>
                  </a:lnTo>
                  <a:lnTo>
                    <a:pt x="581" y="1660"/>
                  </a:lnTo>
                  <a:lnTo>
                    <a:pt x="581" y="1660"/>
                  </a:lnTo>
                  <a:lnTo>
                    <a:pt x="579" y="1660"/>
                  </a:lnTo>
                  <a:lnTo>
                    <a:pt x="578" y="1660"/>
                  </a:lnTo>
                  <a:lnTo>
                    <a:pt x="576" y="1663"/>
                  </a:lnTo>
                  <a:lnTo>
                    <a:pt x="578" y="1665"/>
                  </a:lnTo>
                  <a:lnTo>
                    <a:pt x="579" y="1665"/>
                  </a:lnTo>
                  <a:close/>
                  <a:moveTo>
                    <a:pt x="559" y="1654"/>
                  </a:moveTo>
                  <a:lnTo>
                    <a:pt x="559" y="1654"/>
                  </a:lnTo>
                  <a:lnTo>
                    <a:pt x="561" y="1653"/>
                  </a:lnTo>
                  <a:lnTo>
                    <a:pt x="561" y="1651"/>
                  </a:lnTo>
                  <a:lnTo>
                    <a:pt x="561" y="1651"/>
                  </a:lnTo>
                  <a:lnTo>
                    <a:pt x="564" y="1650"/>
                  </a:lnTo>
                  <a:lnTo>
                    <a:pt x="567" y="1646"/>
                  </a:lnTo>
                  <a:lnTo>
                    <a:pt x="567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2" y="1645"/>
                  </a:lnTo>
                  <a:lnTo>
                    <a:pt x="561" y="1645"/>
                  </a:lnTo>
                  <a:lnTo>
                    <a:pt x="559" y="1645"/>
                  </a:lnTo>
                  <a:lnTo>
                    <a:pt x="558" y="1645"/>
                  </a:lnTo>
                  <a:lnTo>
                    <a:pt x="556" y="1646"/>
                  </a:lnTo>
                  <a:lnTo>
                    <a:pt x="556" y="1648"/>
                  </a:lnTo>
                  <a:lnTo>
                    <a:pt x="555" y="1650"/>
                  </a:lnTo>
                  <a:lnTo>
                    <a:pt x="553" y="1651"/>
                  </a:lnTo>
                  <a:lnTo>
                    <a:pt x="553" y="1651"/>
                  </a:lnTo>
                  <a:lnTo>
                    <a:pt x="553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6" y="1653"/>
                  </a:lnTo>
                  <a:lnTo>
                    <a:pt x="556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4"/>
                  </a:lnTo>
                  <a:lnTo>
                    <a:pt x="555" y="1654"/>
                  </a:lnTo>
                  <a:lnTo>
                    <a:pt x="555" y="1654"/>
                  </a:lnTo>
                  <a:lnTo>
                    <a:pt x="553" y="1653"/>
                  </a:lnTo>
                  <a:lnTo>
                    <a:pt x="553" y="1653"/>
                  </a:lnTo>
                  <a:lnTo>
                    <a:pt x="552" y="1653"/>
                  </a:lnTo>
                  <a:lnTo>
                    <a:pt x="552" y="1653"/>
                  </a:lnTo>
                  <a:lnTo>
                    <a:pt x="550" y="1654"/>
                  </a:lnTo>
                  <a:lnTo>
                    <a:pt x="552" y="1656"/>
                  </a:lnTo>
                  <a:lnTo>
                    <a:pt x="552" y="1656"/>
                  </a:lnTo>
                  <a:lnTo>
                    <a:pt x="552" y="1657"/>
                  </a:lnTo>
                  <a:lnTo>
                    <a:pt x="552" y="1659"/>
                  </a:lnTo>
                  <a:lnTo>
                    <a:pt x="553" y="1660"/>
                  </a:lnTo>
                  <a:lnTo>
                    <a:pt x="553" y="1662"/>
                  </a:lnTo>
                  <a:lnTo>
                    <a:pt x="553" y="1662"/>
                  </a:lnTo>
                  <a:lnTo>
                    <a:pt x="553" y="1663"/>
                  </a:lnTo>
                  <a:lnTo>
                    <a:pt x="555" y="1663"/>
                  </a:lnTo>
                  <a:lnTo>
                    <a:pt x="555" y="1662"/>
                  </a:lnTo>
                  <a:lnTo>
                    <a:pt x="555" y="1662"/>
                  </a:lnTo>
                  <a:lnTo>
                    <a:pt x="556" y="1662"/>
                  </a:lnTo>
                  <a:lnTo>
                    <a:pt x="556" y="1657"/>
                  </a:lnTo>
                  <a:lnTo>
                    <a:pt x="556" y="1659"/>
                  </a:lnTo>
                  <a:lnTo>
                    <a:pt x="556" y="1659"/>
                  </a:lnTo>
                  <a:lnTo>
                    <a:pt x="558" y="1659"/>
                  </a:lnTo>
                  <a:lnTo>
                    <a:pt x="558" y="1657"/>
                  </a:lnTo>
                  <a:lnTo>
                    <a:pt x="556" y="1654"/>
                  </a:lnTo>
                  <a:lnTo>
                    <a:pt x="558" y="1654"/>
                  </a:lnTo>
                  <a:lnTo>
                    <a:pt x="558" y="1654"/>
                  </a:lnTo>
                  <a:lnTo>
                    <a:pt x="558" y="1653"/>
                  </a:lnTo>
                  <a:lnTo>
                    <a:pt x="558" y="1653"/>
                  </a:lnTo>
                  <a:lnTo>
                    <a:pt x="559" y="1654"/>
                  </a:lnTo>
                  <a:close/>
                  <a:moveTo>
                    <a:pt x="584" y="1634"/>
                  </a:moveTo>
                  <a:lnTo>
                    <a:pt x="586" y="1634"/>
                  </a:lnTo>
                  <a:lnTo>
                    <a:pt x="586" y="1634"/>
                  </a:lnTo>
                  <a:lnTo>
                    <a:pt x="586" y="1634"/>
                  </a:lnTo>
                  <a:lnTo>
                    <a:pt x="586" y="1633"/>
                  </a:lnTo>
                  <a:lnTo>
                    <a:pt x="586" y="1633"/>
                  </a:lnTo>
                  <a:lnTo>
                    <a:pt x="586" y="1633"/>
                  </a:lnTo>
                  <a:lnTo>
                    <a:pt x="584" y="1629"/>
                  </a:lnTo>
                  <a:lnTo>
                    <a:pt x="584" y="1629"/>
                  </a:lnTo>
                  <a:lnTo>
                    <a:pt x="582" y="1629"/>
                  </a:lnTo>
                  <a:lnTo>
                    <a:pt x="578" y="1636"/>
                  </a:lnTo>
                  <a:lnTo>
                    <a:pt x="576" y="1637"/>
                  </a:lnTo>
                  <a:lnTo>
                    <a:pt x="576" y="1640"/>
                  </a:lnTo>
                  <a:lnTo>
                    <a:pt x="578" y="1640"/>
                  </a:lnTo>
                  <a:lnTo>
                    <a:pt x="579" y="1640"/>
                  </a:lnTo>
                  <a:lnTo>
                    <a:pt x="579" y="1640"/>
                  </a:lnTo>
                  <a:lnTo>
                    <a:pt x="581" y="1639"/>
                  </a:lnTo>
                  <a:lnTo>
                    <a:pt x="582" y="1634"/>
                  </a:lnTo>
                  <a:lnTo>
                    <a:pt x="582" y="1634"/>
                  </a:lnTo>
                  <a:lnTo>
                    <a:pt x="584" y="1634"/>
                  </a:lnTo>
                  <a:lnTo>
                    <a:pt x="584" y="1634"/>
                  </a:lnTo>
                  <a:close/>
                  <a:moveTo>
                    <a:pt x="575" y="1636"/>
                  </a:moveTo>
                  <a:lnTo>
                    <a:pt x="573" y="1637"/>
                  </a:lnTo>
                  <a:lnTo>
                    <a:pt x="572" y="1639"/>
                  </a:lnTo>
                  <a:lnTo>
                    <a:pt x="570" y="1640"/>
                  </a:lnTo>
                  <a:lnTo>
                    <a:pt x="569" y="1640"/>
                  </a:lnTo>
                  <a:lnTo>
                    <a:pt x="569" y="1642"/>
                  </a:lnTo>
                  <a:lnTo>
                    <a:pt x="570" y="1642"/>
                  </a:lnTo>
                  <a:lnTo>
                    <a:pt x="572" y="1640"/>
                  </a:lnTo>
                  <a:lnTo>
                    <a:pt x="573" y="1640"/>
                  </a:lnTo>
                  <a:lnTo>
                    <a:pt x="573" y="1640"/>
                  </a:lnTo>
                  <a:lnTo>
                    <a:pt x="575" y="1640"/>
                  </a:lnTo>
                  <a:lnTo>
                    <a:pt x="575" y="1639"/>
                  </a:lnTo>
                  <a:lnTo>
                    <a:pt x="575" y="1639"/>
                  </a:lnTo>
                  <a:lnTo>
                    <a:pt x="575" y="1639"/>
                  </a:lnTo>
                  <a:lnTo>
                    <a:pt x="576" y="1637"/>
                  </a:lnTo>
                  <a:lnTo>
                    <a:pt x="576" y="1637"/>
                  </a:lnTo>
                  <a:lnTo>
                    <a:pt x="579" y="1633"/>
                  </a:lnTo>
                  <a:lnTo>
                    <a:pt x="581" y="1629"/>
                  </a:lnTo>
                  <a:lnTo>
                    <a:pt x="581" y="1629"/>
                  </a:lnTo>
                  <a:lnTo>
                    <a:pt x="576" y="1633"/>
                  </a:lnTo>
                  <a:lnTo>
                    <a:pt x="575" y="1636"/>
                  </a:lnTo>
                  <a:close/>
                  <a:moveTo>
                    <a:pt x="587" y="1603"/>
                  </a:moveTo>
                  <a:lnTo>
                    <a:pt x="587" y="1602"/>
                  </a:lnTo>
                  <a:lnTo>
                    <a:pt x="586" y="1600"/>
                  </a:lnTo>
                  <a:lnTo>
                    <a:pt x="586" y="1599"/>
                  </a:lnTo>
                  <a:lnTo>
                    <a:pt x="586" y="1599"/>
                  </a:lnTo>
                  <a:lnTo>
                    <a:pt x="584" y="1599"/>
                  </a:lnTo>
                  <a:lnTo>
                    <a:pt x="584" y="1599"/>
                  </a:lnTo>
                  <a:lnTo>
                    <a:pt x="582" y="1600"/>
                  </a:lnTo>
                  <a:lnTo>
                    <a:pt x="579" y="1606"/>
                  </a:lnTo>
                  <a:lnTo>
                    <a:pt x="578" y="1608"/>
                  </a:lnTo>
                  <a:lnTo>
                    <a:pt x="579" y="1609"/>
                  </a:lnTo>
                  <a:lnTo>
                    <a:pt x="581" y="1609"/>
                  </a:lnTo>
                  <a:lnTo>
                    <a:pt x="581" y="1609"/>
                  </a:lnTo>
                  <a:lnTo>
                    <a:pt x="582" y="1609"/>
                  </a:lnTo>
                  <a:lnTo>
                    <a:pt x="582" y="1609"/>
                  </a:lnTo>
                  <a:lnTo>
                    <a:pt x="582" y="1609"/>
                  </a:lnTo>
                  <a:lnTo>
                    <a:pt x="584" y="1609"/>
                  </a:lnTo>
                  <a:lnTo>
                    <a:pt x="586" y="1609"/>
                  </a:lnTo>
                  <a:lnTo>
                    <a:pt x="586" y="1609"/>
                  </a:lnTo>
                  <a:lnTo>
                    <a:pt x="587" y="1608"/>
                  </a:lnTo>
                  <a:lnTo>
                    <a:pt x="587" y="1608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3"/>
                  </a:lnTo>
                  <a:close/>
                  <a:moveTo>
                    <a:pt x="567" y="1549"/>
                  </a:moveTo>
                  <a:lnTo>
                    <a:pt x="566" y="1549"/>
                  </a:lnTo>
                  <a:lnTo>
                    <a:pt x="566" y="1549"/>
                  </a:lnTo>
                  <a:lnTo>
                    <a:pt x="566" y="1551"/>
                  </a:lnTo>
                  <a:lnTo>
                    <a:pt x="566" y="1552"/>
                  </a:lnTo>
                  <a:lnTo>
                    <a:pt x="567" y="1554"/>
                  </a:lnTo>
                  <a:lnTo>
                    <a:pt x="567" y="1556"/>
                  </a:lnTo>
                  <a:lnTo>
                    <a:pt x="567" y="1556"/>
                  </a:lnTo>
                  <a:lnTo>
                    <a:pt x="569" y="1556"/>
                  </a:lnTo>
                  <a:lnTo>
                    <a:pt x="570" y="1556"/>
                  </a:lnTo>
                  <a:lnTo>
                    <a:pt x="573" y="1554"/>
                  </a:lnTo>
                  <a:lnTo>
                    <a:pt x="573" y="1552"/>
                  </a:lnTo>
                  <a:lnTo>
                    <a:pt x="572" y="1552"/>
                  </a:lnTo>
                  <a:lnTo>
                    <a:pt x="572" y="1551"/>
                  </a:lnTo>
                  <a:lnTo>
                    <a:pt x="572" y="1552"/>
                  </a:lnTo>
                  <a:lnTo>
                    <a:pt x="572" y="1552"/>
                  </a:lnTo>
                  <a:lnTo>
                    <a:pt x="572" y="1552"/>
                  </a:lnTo>
                  <a:lnTo>
                    <a:pt x="572" y="1551"/>
                  </a:lnTo>
                  <a:lnTo>
                    <a:pt x="572" y="1551"/>
                  </a:lnTo>
                  <a:lnTo>
                    <a:pt x="572" y="1549"/>
                  </a:lnTo>
                  <a:lnTo>
                    <a:pt x="570" y="1549"/>
                  </a:lnTo>
                  <a:lnTo>
                    <a:pt x="570" y="1549"/>
                  </a:lnTo>
                  <a:lnTo>
                    <a:pt x="569" y="1548"/>
                  </a:lnTo>
                  <a:lnTo>
                    <a:pt x="569" y="1546"/>
                  </a:lnTo>
                  <a:lnTo>
                    <a:pt x="567" y="1546"/>
                  </a:lnTo>
                  <a:lnTo>
                    <a:pt x="566" y="1546"/>
                  </a:lnTo>
                  <a:lnTo>
                    <a:pt x="566" y="1546"/>
                  </a:lnTo>
                  <a:lnTo>
                    <a:pt x="567" y="1548"/>
                  </a:lnTo>
                  <a:lnTo>
                    <a:pt x="567" y="1549"/>
                  </a:lnTo>
                  <a:lnTo>
                    <a:pt x="567" y="1549"/>
                  </a:lnTo>
                  <a:close/>
                  <a:moveTo>
                    <a:pt x="541" y="1520"/>
                  </a:moveTo>
                  <a:lnTo>
                    <a:pt x="542" y="1523"/>
                  </a:lnTo>
                  <a:lnTo>
                    <a:pt x="547" y="1525"/>
                  </a:lnTo>
                  <a:lnTo>
                    <a:pt x="552" y="1531"/>
                  </a:lnTo>
                  <a:lnTo>
                    <a:pt x="555" y="1532"/>
                  </a:lnTo>
                  <a:lnTo>
                    <a:pt x="555" y="1532"/>
                  </a:lnTo>
                  <a:lnTo>
                    <a:pt x="555" y="1531"/>
                  </a:lnTo>
                  <a:lnTo>
                    <a:pt x="555" y="1531"/>
                  </a:lnTo>
                  <a:lnTo>
                    <a:pt x="555" y="1529"/>
                  </a:lnTo>
                  <a:lnTo>
                    <a:pt x="553" y="1529"/>
                  </a:lnTo>
                  <a:lnTo>
                    <a:pt x="553" y="1529"/>
                  </a:lnTo>
                  <a:lnTo>
                    <a:pt x="553" y="1526"/>
                  </a:lnTo>
                  <a:lnTo>
                    <a:pt x="552" y="1525"/>
                  </a:lnTo>
                  <a:lnTo>
                    <a:pt x="552" y="1523"/>
                  </a:lnTo>
                  <a:lnTo>
                    <a:pt x="550" y="1525"/>
                  </a:lnTo>
                  <a:lnTo>
                    <a:pt x="550" y="1525"/>
                  </a:lnTo>
                  <a:lnTo>
                    <a:pt x="549" y="1523"/>
                  </a:lnTo>
                  <a:lnTo>
                    <a:pt x="549" y="1522"/>
                  </a:lnTo>
                  <a:lnTo>
                    <a:pt x="544" y="1514"/>
                  </a:lnTo>
                  <a:lnTo>
                    <a:pt x="544" y="1512"/>
                  </a:lnTo>
                  <a:lnTo>
                    <a:pt x="546" y="1512"/>
                  </a:lnTo>
                  <a:lnTo>
                    <a:pt x="547" y="1514"/>
                  </a:lnTo>
                  <a:lnTo>
                    <a:pt x="549" y="1514"/>
                  </a:lnTo>
                  <a:lnTo>
                    <a:pt x="547" y="1512"/>
                  </a:lnTo>
                  <a:lnTo>
                    <a:pt x="546" y="1509"/>
                  </a:lnTo>
                  <a:lnTo>
                    <a:pt x="544" y="1508"/>
                  </a:lnTo>
                  <a:lnTo>
                    <a:pt x="544" y="1508"/>
                  </a:lnTo>
                  <a:lnTo>
                    <a:pt x="544" y="1506"/>
                  </a:lnTo>
                  <a:lnTo>
                    <a:pt x="544" y="1506"/>
                  </a:lnTo>
                  <a:lnTo>
                    <a:pt x="544" y="1505"/>
                  </a:lnTo>
                  <a:lnTo>
                    <a:pt x="544" y="1505"/>
                  </a:lnTo>
                  <a:lnTo>
                    <a:pt x="544" y="1503"/>
                  </a:lnTo>
                  <a:lnTo>
                    <a:pt x="542" y="1502"/>
                  </a:lnTo>
                  <a:lnTo>
                    <a:pt x="542" y="1502"/>
                  </a:lnTo>
                  <a:lnTo>
                    <a:pt x="541" y="1502"/>
                  </a:lnTo>
                  <a:lnTo>
                    <a:pt x="541" y="1503"/>
                  </a:lnTo>
                  <a:lnTo>
                    <a:pt x="541" y="1506"/>
                  </a:lnTo>
                  <a:lnTo>
                    <a:pt x="541" y="1508"/>
                  </a:lnTo>
                  <a:lnTo>
                    <a:pt x="541" y="1516"/>
                  </a:lnTo>
                  <a:lnTo>
                    <a:pt x="541" y="1520"/>
                  </a:lnTo>
                  <a:close/>
                  <a:moveTo>
                    <a:pt x="522" y="1158"/>
                  </a:moveTo>
                  <a:lnTo>
                    <a:pt x="524" y="1158"/>
                  </a:lnTo>
                  <a:lnTo>
                    <a:pt x="524" y="1158"/>
                  </a:lnTo>
                  <a:lnTo>
                    <a:pt x="524" y="1157"/>
                  </a:lnTo>
                  <a:lnTo>
                    <a:pt x="524" y="1155"/>
                  </a:lnTo>
                  <a:lnTo>
                    <a:pt x="524" y="1154"/>
                  </a:lnTo>
                  <a:lnTo>
                    <a:pt x="524" y="1152"/>
                  </a:lnTo>
                  <a:lnTo>
                    <a:pt x="524" y="1151"/>
                  </a:lnTo>
                  <a:lnTo>
                    <a:pt x="522" y="1151"/>
                  </a:lnTo>
                  <a:lnTo>
                    <a:pt x="521" y="1152"/>
                  </a:lnTo>
                  <a:lnTo>
                    <a:pt x="519" y="1152"/>
                  </a:lnTo>
                  <a:lnTo>
                    <a:pt x="519" y="1151"/>
                  </a:lnTo>
                  <a:lnTo>
                    <a:pt x="518" y="1151"/>
                  </a:lnTo>
                  <a:lnTo>
                    <a:pt x="516" y="1151"/>
                  </a:lnTo>
                  <a:lnTo>
                    <a:pt x="515" y="1152"/>
                  </a:lnTo>
                  <a:lnTo>
                    <a:pt x="515" y="1154"/>
                  </a:lnTo>
                  <a:lnTo>
                    <a:pt x="513" y="1155"/>
                  </a:lnTo>
                  <a:lnTo>
                    <a:pt x="513" y="1158"/>
                  </a:lnTo>
                  <a:lnTo>
                    <a:pt x="515" y="1161"/>
                  </a:lnTo>
                  <a:lnTo>
                    <a:pt x="518" y="1163"/>
                  </a:lnTo>
                  <a:lnTo>
                    <a:pt x="522" y="1161"/>
                  </a:lnTo>
                  <a:lnTo>
                    <a:pt x="522" y="1160"/>
                  </a:lnTo>
                  <a:lnTo>
                    <a:pt x="522" y="1160"/>
                  </a:lnTo>
                  <a:lnTo>
                    <a:pt x="521" y="1158"/>
                  </a:lnTo>
                  <a:lnTo>
                    <a:pt x="521" y="1158"/>
                  </a:lnTo>
                  <a:lnTo>
                    <a:pt x="522" y="1158"/>
                  </a:lnTo>
                  <a:close/>
                  <a:moveTo>
                    <a:pt x="726" y="998"/>
                  </a:moveTo>
                  <a:lnTo>
                    <a:pt x="723" y="1003"/>
                  </a:lnTo>
                  <a:lnTo>
                    <a:pt x="723" y="1004"/>
                  </a:lnTo>
                  <a:lnTo>
                    <a:pt x="724" y="1004"/>
                  </a:lnTo>
                  <a:lnTo>
                    <a:pt x="726" y="1003"/>
                  </a:lnTo>
                  <a:lnTo>
                    <a:pt x="726" y="1001"/>
                  </a:lnTo>
                  <a:lnTo>
                    <a:pt x="726" y="1000"/>
                  </a:lnTo>
                  <a:lnTo>
                    <a:pt x="726" y="998"/>
                  </a:lnTo>
                  <a:lnTo>
                    <a:pt x="726" y="998"/>
                  </a:lnTo>
                  <a:close/>
                  <a:moveTo>
                    <a:pt x="730" y="984"/>
                  </a:moveTo>
                  <a:lnTo>
                    <a:pt x="729" y="984"/>
                  </a:lnTo>
                  <a:lnTo>
                    <a:pt x="729" y="986"/>
                  </a:lnTo>
                  <a:lnTo>
                    <a:pt x="727" y="986"/>
                  </a:lnTo>
                  <a:lnTo>
                    <a:pt x="727" y="987"/>
                  </a:lnTo>
                  <a:lnTo>
                    <a:pt x="726" y="995"/>
                  </a:lnTo>
                  <a:lnTo>
                    <a:pt x="726" y="997"/>
                  </a:lnTo>
                  <a:lnTo>
                    <a:pt x="727" y="997"/>
                  </a:lnTo>
                  <a:lnTo>
                    <a:pt x="727" y="997"/>
                  </a:lnTo>
                  <a:lnTo>
                    <a:pt x="729" y="997"/>
                  </a:lnTo>
                  <a:lnTo>
                    <a:pt x="729" y="995"/>
                  </a:lnTo>
                  <a:lnTo>
                    <a:pt x="730" y="994"/>
                  </a:lnTo>
                  <a:lnTo>
                    <a:pt x="730" y="992"/>
                  </a:lnTo>
                  <a:lnTo>
                    <a:pt x="732" y="990"/>
                  </a:lnTo>
                  <a:lnTo>
                    <a:pt x="732" y="989"/>
                  </a:lnTo>
                  <a:lnTo>
                    <a:pt x="730" y="987"/>
                  </a:lnTo>
                  <a:lnTo>
                    <a:pt x="732" y="986"/>
                  </a:lnTo>
                  <a:lnTo>
                    <a:pt x="732" y="984"/>
                  </a:lnTo>
                  <a:lnTo>
                    <a:pt x="732" y="984"/>
                  </a:lnTo>
                  <a:lnTo>
                    <a:pt x="732" y="983"/>
                  </a:lnTo>
                  <a:lnTo>
                    <a:pt x="732" y="983"/>
                  </a:lnTo>
                  <a:lnTo>
                    <a:pt x="732" y="983"/>
                  </a:lnTo>
                  <a:lnTo>
                    <a:pt x="732" y="981"/>
                  </a:lnTo>
                  <a:lnTo>
                    <a:pt x="732" y="983"/>
                  </a:lnTo>
                  <a:lnTo>
                    <a:pt x="730" y="984"/>
                  </a:lnTo>
                  <a:close/>
                  <a:moveTo>
                    <a:pt x="730" y="983"/>
                  </a:moveTo>
                  <a:lnTo>
                    <a:pt x="729" y="978"/>
                  </a:lnTo>
                  <a:lnTo>
                    <a:pt x="726" y="978"/>
                  </a:lnTo>
                  <a:lnTo>
                    <a:pt x="724" y="983"/>
                  </a:lnTo>
                  <a:lnTo>
                    <a:pt x="726" y="983"/>
                  </a:lnTo>
                  <a:lnTo>
                    <a:pt x="726" y="983"/>
                  </a:lnTo>
                  <a:lnTo>
                    <a:pt x="727" y="983"/>
                  </a:lnTo>
                  <a:lnTo>
                    <a:pt x="727" y="984"/>
                  </a:lnTo>
                  <a:lnTo>
                    <a:pt x="727" y="986"/>
                  </a:lnTo>
                  <a:lnTo>
                    <a:pt x="730" y="983"/>
                  </a:lnTo>
                  <a:close/>
                  <a:moveTo>
                    <a:pt x="840" y="690"/>
                  </a:moveTo>
                  <a:lnTo>
                    <a:pt x="838" y="690"/>
                  </a:lnTo>
                  <a:lnTo>
                    <a:pt x="837" y="692"/>
                  </a:lnTo>
                  <a:lnTo>
                    <a:pt x="835" y="693"/>
                  </a:lnTo>
                  <a:lnTo>
                    <a:pt x="835" y="692"/>
                  </a:lnTo>
                  <a:lnTo>
                    <a:pt x="834" y="690"/>
                  </a:lnTo>
                  <a:lnTo>
                    <a:pt x="834" y="690"/>
                  </a:lnTo>
                  <a:lnTo>
                    <a:pt x="832" y="690"/>
                  </a:lnTo>
                  <a:lnTo>
                    <a:pt x="832" y="693"/>
                  </a:lnTo>
                  <a:lnTo>
                    <a:pt x="832" y="695"/>
                  </a:lnTo>
                  <a:lnTo>
                    <a:pt x="832" y="695"/>
                  </a:lnTo>
                  <a:lnTo>
                    <a:pt x="838" y="695"/>
                  </a:lnTo>
                  <a:lnTo>
                    <a:pt x="840" y="695"/>
                  </a:lnTo>
                  <a:lnTo>
                    <a:pt x="841" y="693"/>
                  </a:lnTo>
                  <a:lnTo>
                    <a:pt x="841" y="692"/>
                  </a:lnTo>
                  <a:lnTo>
                    <a:pt x="841" y="690"/>
                  </a:lnTo>
                  <a:lnTo>
                    <a:pt x="840" y="690"/>
                  </a:lnTo>
                  <a:close/>
                  <a:moveTo>
                    <a:pt x="827" y="693"/>
                  </a:moveTo>
                  <a:lnTo>
                    <a:pt x="827" y="693"/>
                  </a:lnTo>
                  <a:lnTo>
                    <a:pt x="826" y="692"/>
                  </a:lnTo>
                  <a:lnTo>
                    <a:pt x="826" y="690"/>
                  </a:lnTo>
                  <a:lnTo>
                    <a:pt x="826" y="690"/>
                  </a:lnTo>
                  <a:lnTo>
                    <a:pt x="826" y="689"/>
                  </a:lnTo>
                  <a:lnTo>
                    <a:pt x="823" y="687"/>
                  </a:lnTo>
                  <a:lnTo>
                    <a:pt x="823" y="687"/>
                  </a:lnTo>
                  <a:lnTo>
                    <a:pt x="821" y="689"/>
                  </a:lnTo>
                  <a:lnTo>
                    <a:pt x="821" y="690"/>
                  </a:lnTo>
                  <a:lnTo>
                    <a:pt x="821" y="690"/>
                  </a:lnTo>
                  <a:lnTo>
                    <a:pt x="821" y="692"/>
                  </a:lnTo>
                  <a:lnTo>
                    <a:pt x="821" y="695"/>
                  </a:lnTo>
                  <a:lnTo>
                    <a:pt x="821" y="695"/>
                  </a:lnTo>
                  <a:lnTo>
                    <a:pt x="826" y="696"/>
                  </a:lnTo>
                  <a:lnTo>
                    <a:pt x="826" y="696"/>
                  </a:lnTo>
                  <a:lnTo>
                    <a:pt x="827" y="696"/>
                  </a:lnTo>
                  <a:lnTo>
                    <a:pt x="827" y="696"/>
                  </a:lnTo>
                  <a:lnTo>
                    <a:pt x="827" y="696"/>
                  </a:lnTo>
                  <a:lnTo>
                    <a:pt x="827" y="695"/>
                  </a:lnTo>
                  <a:lnTo>
                    <a:pt x="827" y="693"/>
                  </a:lnTo>
                  <a:close/>
                  <a:moveTo>
                    <a:pt x="855" y="678"/>
                  </a:moveTo>
                  <a:lnTo>
                    <a:pt x="854" y="678"/>
                  </a:lnTo>
                  <a:lnTo>
                    <a:pt x="854" y="676"/>
                  </a:lnTo>
                  <a:lnTo>
                    <a:pt x="852" y="675"/>
                  </a:lnTo>
                  <a:lnTo>
                    <a:pt x="852" y="676"/>
                  </a:lnTo>
                  <a:lnTo>
                    <a:pt x="852" y="679"/>
                  </a:lnTo>
                  <a:lnTo>
                    <a:pt x="854" y="681"/>
                  </a:lnTo>
                  <a:lnTo>
                    <a:pt x="855" y="681"/>
                  </a:lnTo>
                  <a:lnTo>
                    <a:pt x="857" y="681"/>
                  </a:lnTo>
                  <a:lnTo>
                    <a:pt x="857" y="679"/>
                  </a:lnTo>
                  <a:lnTo>
                    <a:pt x="857" y="678"/>
                  </a:lnTo>
                  <a:lnTo>
                    <a:pt x="855" y="678"/>
                  </a:lnTo>
                  <a:close/>
                  <a:moveTo>
                    <a:pt x="832" y="686"/>
                  </a:moveTo>
                  <a:lnTo>
                    <a:pt x="830" y="684"/>
                  </a:lnTo>
                  <a:lnTo>
                    <a:pt x="830" y="682"/>
                  </a:lnTo>
                  <a:lnTo>
                    <a:pt x="830" y="682"/>
                  </a:lnTo>
                  <a:lnTo>
                    <a:pt x="830" y="682"/>
                  </a:lnTo>
                  <a:lnTo>
                    <a:pt x="830" y="681"/>
                  </a:lnTo>
                  <a:lnTo>
                    <a:pt x="832" y="679"/>
                  </a:lnTo>
                  <a:lnTo>
                    <a:pt x="832" y="681"/>
                  </a:lnTo>
                  <a:lnTo>
                    <a:pt x="834" y="681"/>
                  </a:lnTo>
                  <a:lnTo>
                    <a:pt x="835" y="682"/>
                  </a:lnTo>
                  <a:lnTo>
                    <a:pt x="835" y="684"/>
                  </a:lnTo>
                  <a:lnTo>
                    <a:pt x="837" y="684"/>
                  </a:lnTo>
                  <a:lnTo>
                    <a:pt x="837" y="684"/>
                  </a:lnTo>
                  <a:lnTo>
                    <a:pt x="837" y="681"/>
                  </a:lnTo>
                  <a:lnTo>
                    <a:pt x="835" y="679"/>
                  </a:lnTo>
                  <a:lnTo>
                    <a:pt x="835" y="679"/>
                  </a:lnTo>
                  <a:lnTo>
                    <a:pt x="834" y="678"/>
                  </a:lnTo>
                  <a:lnTo>
                    <a:pt x="834" y="678"/>
                  </a:lnTo>
                  <a:lnTo>
                    <a:pt x="834" y="678"/>
                  </a:lnTo>
                  <a:lnTo>
                    <a:pt x="827" y="675"/>
                  </a:lnTo>
                  <a:lnTo>
                    <a:pt x="826" y="675"/>
                  </a:lnTo>
                  <a:lnTo>
                    <a:pt x="826" y="675"/>
                  </a:lnTo>
                  <a:lnTo>
                    <a:pt x="824" y="676"/>
                  </a:lnTo>
                  <a:lnTo>
                    <a:pt x="824" y="678"/>
                  </a:lnTo>
                  <a:lnTo>
                    <a:pt x="827" y="681"/>
                  </a:lnTo>
                  <a:lnTo>
                    <a:pt x="830" y="686"/>
                  </a:lnTo>
                  <a:lnTo>
                    <a:pt x="832" y="686"/>
                  </a:lnTo>
                  <a:lnTo>
                    <a:pt x="832" y="686"/>
                  </a:lnTo>
                  <a:lnTo>
                    <a:pt x="832" y="686"/>
                  </a:lnTo>
                  <a:close/>
                  <a:moveTo>
                    <a:pt x="854" y="667"/>
                  </a:moveTo>
                  <a:lnTo>
                    <a:pt x="852" y="669"/>
                  </a:lnTo>
                  <a:lnTo>
                    <a:pt x="850" y="667"/>
                  </a:lnTo>
                  <a:lnTo>
                    <a:pt x="850" y="667"/>
                  </a:lnTo>
                  <a:lnTo>
                    <a:pt x="850" y="669"/>
                  </a:lnTo>
                  <a:lnTo>
                    <a:pt x="850" y="670"/>
                  </a:lnTo>
                  <a:lnTo>
                    <a:pt x="850" y="672"/>
                  </a:lnTo>
                  <a:lnTo>
                    <a:pt x="854" y="673"/>
                  </a:lnTo>
                  <a:lnTo>
                    <a:pt x="854" y="673"/>
                  </a:lnTo>
                  <a:lnTo>
                    <a:pt x="854" y="672"/>
                  </a:lnTo>
                  <a:lnTo>
                    <a:pt x="854" y="672"/>
                  </a:lnTo>
                  <a:lnTo>
                    <a:pt x="854" y="672"/>
                  </a:lnTo>
                  <a:lnTo>
                    <a:pt x="855" y="673"/>
                  </a:lnTo>
                  <a:lnTo>
                    <a:pt x="855" y="672"/>
                  </a:lnTo>
                  <a:lnTo>
                    <a:pt x="857" y="670"/>
                  </a:lnTo>
                  <a:lnTo>
                    <a:pt x="857" y="670"/>
                  </a:lnTo>
                  <a:lnTo>
                    <a:pt x="857" y="669"/>
                  </a:lnTo>
                  <a:lnTo>
                    <a:pt x="858" y="669"/>
                  </a:lnTo>
                  <a:lnTo>
                    <a:pt x="858" y="667"/>
                  </a:lnTo>
                  <a:lnTo>
                    <a:pt x="857" y="666"/>
                  </a:lnTo>
                  <a:lnTo>
                    <a:pt x="854" y="667"/>
                  </a:lnTo>
                  <a:close/>
                  <a:moveTo>
                    <a:pt x="855" y="666"/>
                  </a:moveTo>
                  <a:lnTo>
                    <a:pt x="855" y="664"/>
                  </a:lnTo>
                  <a:lnTo>
                    <a:pt x="855" y="662"/>
                  </a:lnTo>
                  <a:lnTo>
                    <a:pt x="854" y="662"/>
                  </a:lnTo>
                  <a:lnTo>
                    <a:pt x="852" y="664"/>
                  </a:lnTo>
                  <a:lnTo>
                    <a:pt x="852" y="664"/>
                  </a:lnTo>
                  <a:lnTo>
                    <a:pt x="854" y="666"/>
                  </a:lnTo>
                  <a:lnTo>
                    <a:pt x="855" y="666"/>
                  </a:lnTo>
                  <a:close/>
                  <a:moveTo>
                    <a:pt x="883" y="644"/>
                  </a:moveTo>
                  <a:lnTo>
                    <a:pt x="881" y="642"/>
                  </a:lnTo>
                  <a:lnTo>
                    <a:pt x="881" y="642"/>
                  </a:lnTo>
                  <a:lnTo>
                    <a:pt x="881" y="642"/>
                  </a:lnTo>
                  <a:lnTo>
                    <a:pt x="881" y="641"/>
                  </a:lnTo>
                  <a:lnTo>
                    <a:pt x="880" y="639"/>
                  </a:lnTo>
                  <a:lnTo>
                    <a:pt x="878" y="639"/>
                  </a:lnTo>
                  <a:lnTo>
                    <a:pt x="877" y="639"/>
                  </a:lnTo>
                  <a:lnTo>
                    <a:pt x="877" y="642"/>
                  </a:lnTo>
                  <a:lnTo>
                    <a:pt x="877" y="645"/>
                  </a:lnTo>
                  <a:lnTo>
                    <a:pt x="880" y="649"/>
                  </a:lnTo>
                  <a:lnTo>
                    <a:pt x="881" y="652"/>
                  </a:lnTo>
                  <a:lnTo>
                    <a:pt x="883" y="652"/>
                  </a:lnTo>
                  <a:lnTo>
                    <a:pt x="883" y="650"/>
                  </a:lnTo>
                  <a:lnTo>
                    <a:pt x="881" y="649"/>
                  </a:lnTo>
                  <a:lnTo>
                    <a:pt x="883" y="647"/>
                  </a:lnTo>
                  <a:lnTo>
                    <a:pt x="883" y="647"/>
                  </a:lnTo>
                  <a:lnTo>
                    <a:pt x="884" y="647"/>
                  </a:lnTo>
                  <a:lnTo>
                    <a:pt x="884" y="647"/>
                  </a:lnTo>
                  <a:lnTo>
                    <a:pt x="883" y="644"/>
                  </a:lnTo>
                  <a:lnTo>
                    <a:pt x="883" y="644"/>
                  </a:lnTo>
                  <a:close/>
                  <a:moveTo>
                    <a:pt x="944" y="636"/>
                  </a:moveTo>
                  <a:lnTo>
                    <a:pt x="944" y="636"/>
                  </a:lnTo>
                  <a:lnTo>
                    <a:pt x="944" y="638"/>
                  </a:lnTo>
                  <a:lnTo>
                    <a:pt x="943" y="638"/>
                  </a:lnTo>
                  <a:lnTo>
                    <a:pt x="943" y="638"/>
                  </a:lnTo>
                  <a:lnTo>
                    <a:pt x="943" y="638"/>
                  </a:lnTo>
                  <a:lnTo>
                    <a:pt x="941" y="638"/>
                  </a:lnTo>
                  <a:lnTo>
                    <a:pt x="941" y="639"/>
                  </a:lnTo>
                  <a:lnTo>
                    <a:pt x="940" y="639"/>
                  </a:lnTo>
                  <a:lnTo>
                    <a:pt x="940" y="638"/>
                  </a:lnTo>
                  <a:lnTo>
                    <a:pt x="938" y="638"/>
                  </a:lnTo>
                  <a:lnTo>
                    <a:pt x="938" y="636"/>
                  </a:lnTo>
                  <a:lnTo>
                    <a:pt x="938" y="639"/>
                  </a:lnTo>
                  <a:lnTo>
                    <a:pt x="937" y="639"/>
                  </a:lnTo>
                  <a:lnTo>
                    <a:pt x="937" y="639"/>
                  </a:lnTo>
                  <a:lnTo>
                    <a:pt x="937" y="638"/>
                  </a:lnTo>
                  <a:lnTo>
                    <a:pt x="935" y="639"/>
                  </a:lnTo>
                  <a:lnTo>
                    <a:pt x="935" y="642"/>
                  </a:lnTo>
                  <a:lnTo>
                    <a:pt x="937" y="645"/>
                  </a:lnTo>
                  <a:lnTo>
                    <a:pt x="940" y="647"/>
                  </a:lnTo>
                  <a:lnTo>
                    <a:pt x="943" y="644"/>
                  </a:lnTo>
                  <a:lnTo>
                    <a:pt x="943" y="642"/>
                  </a:lnTo>
                  <a:lnTo>
                    <a:pt x="943" y="642"/>
                  </a:lnTo>
                  <a:lnTo>
                    <a:pt x="943" y="642"/>
                  </a:lnTo>
                  <a:lnTo>
                    <a:pt x="944" y="641"/>
                  </a:lnTo>
                  <a:lnTo>
                    <a:pt x="944" y="639"/>
                  </a:lnTo>
                  <a:lnTo>
                    <a:pt x="944" y="638"/>
                  </a:lnTo>
                  <a:lnTo>
                    <a:pt x="944" y="638"/>
                  </a:lnTo>
                  <a:lnTo>
                    <a:pt x="944" y="636"/>
                  </a:lnTo>
                  <a:close/>
                  <a:moveTo>
                    <a:pt x="869" y="638"/>
                  </a:moveTo>
                  <a:lnTo>
                    <a:pt x="866" y="633"/>
                  </a:lnTo>
                  <a:lnTo>
                    <a:pt x="866" y="635"/>
                  </a:lnTo>
                  <a:lnTo>
                    <a:pt x="864" y="638"/>
                  </a:lnTo>
                  <a:lnTo>
                    <a:pt x="864" y="639"/>
                  </a:lnTo>
                  <a:lnTo>
                    <a:pt x="864" y="641"/>
                  </a:lnTo>
                  <a:lnTo>
                    <a:pt x="864" y="642"/>
                  </a:lnTo>
                  <a:lnTo>
                    <a:pt x="864" y="642"/>
                  </a:lnTo>
                  <a:lnTo>
                    <a:pt x="866" y="644"/>
                  </a:lnTo>
                  <a:lnTo>
                    <a:pt x="867" y="645"/>
                  </a:lnTo>
                  <a:lnTo>
                    <a:pt x="871" y="645"/>
                  </a:lnTo>
                  <a:lnTo>
                    <a:pt x="871" y="644"/>
                  </a:lnTo>
                  <a:lnTo>
                    <a:pt x="871" y="639"/>
                  </a:lnTo>
                  <a:lnTo>
                    <a:pt x="869" y="638"/>
                  </a:lnTo>
                  <a:close/>
                  <a:moveTo>
                    <a:pt x="969" y="616"/>
                  </a:moveTo>
                  <a:lnTo>
                    <a:pt x="968" y="609"/>
                  </a:lnTo>
                  <a:lnTo>
                    <a:pt x="964" y="605"/>
                  </a:lnTo>
                  <a:lnTo>
                    <a:pt x="963" y="601"/>
                  </a:lnTo>
                  <a:lnTo>
                    <a:pt x="963" y="598"/>
                  </a:lnTo>
                  <a:lnTo>
                    <a:pt x="963" y="595"/>
                  </a:lnTo>
                  <a:lnTo>
                    <a:pt x="961" y="585"/>
                  </a:lnTo>
                  <a:lnTo>
                    <a:pt x="961" y="582"/>
                  </a:lnTo>
                  <a:lnTo>
                    <a:pt x="960" y="582"/>
                  </a:lnTo>
                  <a:lnTo>
                    <a:pt x="958" y="579"/>
                  </a:lnTo>
                  <a:lnTo>
                    <a:pt x="957" y="578"/>
                  </a:lnTo>
                  <a:lnTo>
                    <a:pt x="957" y="576"/>
                  </a:lnTo>
                  <a:lnTo>
                    <a:pt x="952" y="564"/>
                  </a:lnTo>
                  <a:lnTo>
                    <a:pt x="951" y="562"/>
                  </a:lnTo>
                  <a:lnTo>
                    <a:pt x="943" y="559"/>
                  </a:lnTo>
                  <a:lnTo>
                    <a:pt x="941" y="558"/>
                  </a:lnTo>
                  <a:lnTo>
                    <a:pt x="938" y="555"/>
                  </a:lnTo>
                  <a:lnTo>
                    <a:pt x="937" y="544"/>
                  </a:lnTo>
                  <a:lnTo>
                    <a:pt x="935" y="539"/>
                  </a:lnTo>
                  <a:lnTo>
                    <a:pt x="935" y="536"/>
                  </a:lnTo>
                  <a:lnTo>
                    <a:pt x="934" y="533"/>
                  </a:lnTo>
                  <a:lnTo>
                    <a:pt x="934" y="532"/>
                  </a:lnTo>
                  <a:lnTo>
                    <a:pt x="935" y="530"/>
                  </a:lnTo>
                  <a:lnTo>
                    <a:pt x="935" y="527"/>
                  </a:lnTo>
                  <a:lnTo>
                    <a:pt x="935" y="525"/>
                  </a:lnTo>
                  <a:lnTo>
                    <a:pt x="935" y="521"/>
                  </a:lnTo>
                  <a:lnTo>
                    <a:pt x="935" y="519"/>
                  </a:lnTo>
                  <a:lnTo>
                    <a:pt x="935" y="518"/>
                  </a:lnTo>
                  <a:lnTo>
                    <a:pt x="934" y="513"/>
                  </a:lnTo>
                  <a:lnTo>
                    <a:pt x="932" y="512"/>
                  </a:lnTo>
                  <a:lnTo>
                    <a:pt x="934" y="507"/>
                  </a:lnTo>
                  <a:lnTo>
                    <a:pt x="935" y="504"/>
                  </a:lnTo>
                  <a:lnTo>
                    <a:pt x="938" y="502"/>
                  </a:lnTo>
                  <a:lnTo>
                    <a:pt x="940" y="502"/>
                  </a:lnTo>
                  <a:lnTo>
                    <a:pt x="940" y="499"/>
                  </a:lnTo>
                  <a:lnTo>
                    <a:pt x="941" y="498"/>
                  </a:lnTo>
                  <a:lnTo>
                    <a:pt x="943" y="496"/>
                  </a:lnTo>
                  <a:lnTo>
                    <a:pt x="944" y="495"/>
                  </a:lnTo>
                  <a:lnTo>
                    <a:pt x="944" y="492"/>
                  </a:lnTo>
                  <a:lnTo>
                    <a:pt x="949" y="490"/>
                  </a:lnTo>
                  <a:lnTo>
                    <a:pt x="951" y="488"/>
                  </a:lnTo>
                  <a:lnTo>
                    <a:pt x="951" y="485"/>
                  </a:lnTo>
                  <a:lnTo>
                    <a:pt x="952" y="482"/>
                  </a:lnTo>
                  <a:lnTo>
                    <a:pt x="951" y="478"/>
                  </a:lnTo>
                  <a:lnTo>
                    <a:pt x="951" y="475"/>
                  </a:lnTo>
                  <a:lnTo>
                    <a:pt x="951" y="471"/>
                  </a:lnTo>
                  <a:lnTo>
                    <a:pt x="952" y="468"/>
                  </a:lnTo>
                  <a:lnTo>
                    <a:pt x="952" y="465"/>
                  </a:lnTo>
                  <a:lnTo>
                    <a:pt x="952" y="461"/>
                  </a:lnTo>
                  <a:lnTo>
                    <a:pt x="951" y="455"/>
                  </a:lnTo>
                  <a:lnTo>
                    <a:pt x="952" y="453"/>
                  </a:lnTo>
                  <a:lnTo>
                    <a:pt x="954" y="448"/>
                  </a:lnTo>
                  <a:lnTo>
                    <a:pt x="955" y="445"/>
                  </a:lnTo>
                  <a:lnTo>
                    <a:pt x="957" y="444"/>
                  </a:lnTo>
                  <a:lnTo>
                    <a:pt x="958" y="445"/>
                  </a:lnTo>
                  <a:lnTo>
                    <a:pt x="960" y="444"/>
                  </a:lnTo>
                  <a:lnTo>
                    <a:pt x="960" y="442"/>
                  </a:lnTo>
                  <a:lnTo>
                    <a:pt x="960" y="441"/>
                  </a:lnTo>
                  <a:lnTo>
                    <a:pt x="957" y="431"/>
                  </a:lnTo>
                  <a:lnTo>
                    <a:pt x="954" y="427"/>
                  </a:lnTo>
                  <a:lnTo>
                    <a:pt x="952" y="424"/>
                  </a:lnTo>
                  <a:lnTo>
                    <a:pt x="951" y="419"/>
                  </a:lnTo>
                  <a:lnTo>
                    <a:pt x="946" y="410"/>
                  </a:lnTo>
                  <a:lnTo>
                    <a:pt x="944" y="407"/>
                  </a:lnTo>
                  <a:lnTo>
                    <a:pt x="941" y="407"/>
                  </a:lnTo>
                  <a:lnTo>
                    <a:pt x="940" y="405"/>
                  </a:lnTo>
                  <a:lnTo>
                    <a:pt x="938" y="402"/>
                  </a:lnTo>
                  <a:lnTo>
                    <a:pt x="935" y="396"/>
                  </a:lnTo>
                  <a:lnTo>
                    <a:pt x="935" y="394"/>
                  </a:lnTo>
                  <a:lnTo>
                    <a:pt x="935" y="393"/>
                  </a:lnTo>
                  <a:lnTo>
                    <a:pt x="935" y="391"/>
                  </a:lnTo>
                  <a:lnTo>
                    <a:pt x="935" y="388"/>
                  </a:lnTo>
                  <a:lnTo>
                    <a:pt x="935" y="387"/>
                  </a:lnTo>
                  <a:lnTo>
                    <a:pt x="934" y="385"/>
                  </a:lnTo>
                  <a:lnTo>
                    <a:pt x="934" y="385"/>
                  </a:lnTo>
                  <a:lnTo>
                    <a:pt x="931" y="381"/>
                  </a:lnTo>
                  <a:lnTo>
                    <a:pt x="929" y="379"/>
                  </a:lnTo>
                  <a:lnTo>
                    <a:pt x="927" y="376"/>
                  </a:lnTo>
                  <a:lnTo>
                    <a:pt x="927" y="373"/>
                  </a:lnTo>
                  <a:lnTo>
                    <a:pt x="929" y="371"/>
                  </a:lnTo>
                  <a:lnTo>
                    <a:pt x="929" y="368"/>
                  </a:lnTo>
                  <a:lnTo>
                    <a:pt x="931" y="367"/>
                  </a:lnTo>
                  <a:lnTo>
                    <a:pt x="931" y="364"/>
                  </a:lnTo>
                  <a:lnTo>
                    <a:pt x="929" y="364"/>
                  </a:lnTo>
                  <a:lnTo>
                    <a:pt x="929" y="362"/>
                  </a:lnTo>
                  <a:lnTo>
                    <a:pt x="929" y="359"/>
                  </a:lnTo>
                  <a:lnTo>
                    <a:pt x="931" y="356"/>
                  </a:lnTo>
                  <a:lnTo>
                    <a:pt x="931" y="354"/>
                  </a:lnTo>
                  <a:lnTo>
                    <a:pt x="940" y="350"/>
                  </a:lnTo>
                  <a:lnTo>
                    <a:pt x="941" y="347"/>
                  </a:lnTo>
                  <a:lnTo>
                    <a:pt x="943" y="341"/>
                  </a:lnTo>
                  <a:lnTo>
                    <a:pt x="941" y="339"/>
                  </a:lnTo>
                  <a:lnTo>
                    <a:pt x="941" y="334"/>
                  </a:lnTo>
                  <a:lnTo>
                    <a:pt x="941" y="330"/>
                  </a:lnTo>
                  <a:lnTo>
                    <a:pt x="941" y="325"/>
                  </a:lnTo>
                  <a:lnTo>
                    <a:pt x="941" y="324"/>
                  </a:lnTo>
                  <a:lnTo>
                    <a:pt x="940" y="322"/>
                  </a:lnTo>
                  <a:lnTo>
                    <a:pt x="934" y="322"/>
                  </a:lnTo>
                  <a:lnTo>
                    <a:pt x="929" y="317"/>
                  </a:lnTo>
                  <a:lnTo>
                    <a:pt x="926" y="319"/>
                  </a:lnTo>
                  <a:lnTo>
                    <a:pt x="923" y="321"/>
                  </a:lnTo>
                  <a:lnTo>
                    <a:pt x="920" y="321"/>
                  </a:lnTo>
                  <a:lnTo>
                    <a:pt x="918" y="317"/>
                  </a:lnTo>
                  <a:lnTo>
                    <a:pt x="917" y="311"/>
                  </a:lnTo>
                  <a:lnTo>
                    <a:pt x="918" y="308"/>
                  </a:lnTo>
                  <a:lnTo>
                    <a:pt x="920" y="305"/>
                  </a:lnTo>
                  <a:lnTo>
                    <a:pt x="921" y="301"/>
                  </a:lnTo>
                  <a:lnTo>
                    <a:pt x="920" y="299"/>
                  </a:lnTo>
                  <a:lnTo>
                    <a:pt x="923" y="296"/>
                  </a:lnTo>
                  <a:lnTo>
                    <a:pt x="924" y="294"/>
                  </a:lnTo>
                  <a:lnTo>
                    <a:pt x="926" y="293"/>
                  </a:lnTo>
                  <a:lnTo>
                    <a:pt x="926" y="288"/>
                  </a:lnTo>
                  <a:lnTo>
                    <a:pt x="926" y="285"/>
                  </a:lnTo>
                  <a:lnTo>
                    <a:pt x="923" y="279"/>
                  </a:lnTo>
                  <a:lnTo>
                    <a:pt x="923" y="276"/>
                  </a:lnTo>
                  <a:lnTo>
                    <a:pt x="923" y="268"/>
                  </a:lnTo>
                  <a:lnTo>
                    <a:pt x="921" y="265"/>
                  </a:lnTo>
                  <a:lnTo>
                    <a:pt x="921" y="264"/>
                  </a:lnTo>
                  <a:lnTo>
                    <a:pt x="921" y="251"/>
                  </a:lnTo>
                  <a:lnTo>
                    <a:pt x="921" y="247"/>
                  </a:lnTo>
                  <a:lnTo>
                    <a:pt x="920" y="242"/>
                  </a:lnTo>
                  <a:lnTo>
                    <a:pt x="921" y="237"/>
                  </a:lnTo>
                  <a:lnTo>
                    <a:pt x="921" y="234"/>
                  </a:lnTo>
                  <a:lnTo>
                    <a:pt x="924" y="233"/>
                  </a:lnTo>
                  <a:lnTo>
                    <a:pt x="931" y="230"/>
                  </a:lnTo>
                  <a:lnTo>
                    <a:pt x="932" y="228"/>
                  </a:lnTo>
                  <a:lnTo>
                    <a:pt x="934" y="224"/>
                  </a:lnTo>
                  <a:lnTo>
                    <a:pt x="934" y="220"/>
                  </a:lnTo>
                  <a:lnTo>
                    <a:pt x="932" y="219"/>
                  </a:lnTo>
                  <a:lnTo>
                    <a:pt x="927" y="216"/>
                  </a:lnTo>
                  <a:lnTo>
                    <a:pt x="921" y="208"/>
                  </a:lnTo>
                  <a:lnTo>
                    <a:pt x="918" y="207"/>
                  </a:lnTo>
                  <a:lnTo>
                    <a:pt x="914" y="200"/>
                  </a:lnTo>
                  <a:lnTo>
                    <a:pt x="912" y="199"/>
                  </a:lnTo>
                  <a:lnTo>
                    <a:pt x="912" y="197"/>
                  </a:lnTo>
                  <a:lnTo>
                    <a:pt x="909" y="185"/>
                  </a:lnTo>
                  <a:lnTo>
                    <a:pt x="909" y="184"/>
                  </a:lnTo>
                  <a:lnTo>
                    <a:pt x="907" y="182"/>
                  </a:lnTo>
                  <a:lnTo>
                    <a:pt x="906" y="182"/>
                  </a:lnTo>
                  <a:lnTo>
                    <a:pt x="898" y="187"/>
                  </a:lnTo>
                  <a:lnTo>
                    <a:pt x="897" y="187"/>
                  </a:lnTo>
                  <a:lnTo>
                    <a:pt x="897" y="185"/>
                  </a:lnTo>
                  <a:lnTo>
                    <a:pt x="897" y="185"/>
                  </a:lnTo>
                  <a:lnTo>
                    <a:pt x="897" y="185"/>
                  </a:lnTo>
                  <a:lnTo>
                    <a:pt x="897" y="184"/>
                  </a:lnTo>
                  <a:lnTo>
                    <a:pt x="897" y="182"/>
                  </a:lnTo>
                  <a:lnTo>
                    <a:pt x="897" y="180"/>
                  </a:lnTo>
                  <a:lnTo>
                    <a:pt x="897" y="176"/>
                  </a:lnTo>
                  <a:lnTo>
                    <a:pt x="897" y="174"/>
                  </a:lnTo>
                  <a:lnTo>
                    <a:pt x="897" y="173"/>
                  </a:lnTo>
                  <a:lnTo>
                    <a:pt x="897" y="168"/>
                  </a:lnTo>
                  <a:lnTo>
                    <a:pt x="895" y="164"/>
                  </a:lnTo>
                  <a:lnTo>
                    <a:pt x="892" y="160"/>
                  </a:lnTo>
                  <a:lnTo>
                    <a:pt x="891" y="157"/>
                  </a:lnTo>
                  <a:lnTo>
                    <a:pt x="891" y="156"/>
                  </a:lnTo>
                  <a:lnTo>
                    <a:pt x="891" y="154"/>
                  </a:lnTo>
                  <a:lnTo>
                    <a:pt x="891" y="153"/>
                  </a:lnTo>
                  <a:lnTo>
                    <a:pt x="889" y="151"/>
                  </a:lnTo>
                  <a:lnTo>
                    <a:pt x="878" y="143"/>
                  </a:lnTo>
                  <a:lnTo>
                    <a:pt x="875" y="140"/>
                  </a:lnTo>
                  <a:lnTo>
                    <a:pt x="872" y="134"/>
                  </a:lnTo>
                  <a:lnTo>
                    <a:pt x="871" y="131"/>
                  </a:lnTo>
                  <a:lnTo>
                    <a:pt x="866" y="134"/>
                  </a:lnTo>
                  <a:lnTo>
                    <a:pt x="864" y="131"/>
                  </a:lnTo>
                  <a:lnTo>
                    <a:pt x="861" y="128"/>
                  </a:lnTo>
                  <a:lnTo>
                    <a:pt x="860" y="125"/>
                  </a:lnTo>
                  <a:lnTo>
                    <a:pt x="858" y="125"/>
                  </a:lnTo>
                  <a:lnTo>
                    <a:pt x="857" y="127"/>
                  </a:lnTo>
                  <a:lnTo>
                    <a:pt x="855" y="127"/>
                  </a:lnTo>
                  <a:lnTo>
                    <a:pt x="852" y="123"/>
                  </a:lnTo>
                  <a:lnTo>
                    <a:pt x="849" y="123"/>
                  </a:lnTo>
                  <a:lnTo>
                    <a:pt x="844" y="120"/>
                  </a:lnTo>
                  <a:lnTo>
                    <a:pt x="838" y="120"/>
                  </a:lnTo>
                  <a:lnTo>
                    <a:pt x="838" y="119"/>
                  </a:lnTo>
                  <a:lnTo>
                    <a:pt x="838" y="117"/>
                  </a:lnTo>
                  <a:lnTo>
                    <a:pt x="838" y="117"/>
                  </a:lnTo>
                  <a:lnTo>
                    <a:pt x="834" y="116"/>
                  </a:lnTo>
                  <a:lnTo>
                    <a:pt x="817" y="116"/>
                  </a:lnTo>
                  <a:lnTo>
                    <a:pt x="814" y="113"/>
                  </a:lnTo>
                  <a:lnTo>
                    <a:pt x="814" y="113"/>
                  </a:lnTo>
                  <a:lnTo>
                    <a:pt x="814" y="111"/>
                  </a:lnTo>
                  <a:lnTo>
                    <a:pt x="814" y="110"/>
                  </a:lnTo>
                  <a:lnTo>
                    <a:pt x="812" y="108"/>
                  </a:lnTo>
                  <a:lnTo>
                    <a:pt x="812" y="108"/>
                  </a:lnTo>
                  <a:lnTo>
                    <a:pt x="812" y="108"/>
                  </a:lnTo>
                  <a:lnTo>
                    <a:pt x="810" y="105"/>
                  </a:lnTo>
                  <a:lnTo>
                    <a:pt x="809" y="102"/>
                  </a:lnTo>
                  <a:lnTo>
                    <a:pt x="807" y="100"/>
                  </a:lnTo>
                  <a:lnTo>
                    <a:pt x="804" y="97"/>
                  </a:lnTo>
                  <a:lnTo>
                    <a:pt x="790" y="93"/>
                  </a:lnTo>
                  <a:lnTo>
                    <a:pt x="789" y="87"/>
                  </a:lnTo>
                  <a:lnTo>
                    <a:pt x="786" y="83"/>
                  </a:lnTo>
                  <a:lnTo>
                    <a:pt x="778" y="77"/>
                  </a:lnTo>
                  <a:lnTo>
                    <a:pt x="773" y="74"/>
                  </a:lnTo>
                  <a:lnTo>
                    <a:pt x="770" y="73"/>
                  </a:lnTo>
                  <a:lnTo>
                    <a:pt x="770" y="71"/>
                  </a:lnTo>
                  <a:lnTo>
                    <a:pt x="767" y="65"/>
                  </a:lnTo>
                  <a:lnTo>
                    <a:pt x="767" y="62"/>
                  </a:lnTo>
                  <a:lnTo>
                    <a:pt x="766" y="60"/>
                  </a:lnTo>
                  <a:lnTo>
                    <a:pt x="764" y="59"/>
                  </a:lnTo>
                  <a:lnTo>
                    <a:pt x="760" y="59"/>
                  </a:lnTo>
                  <a:lnTo>
                    <a:pt x="758" y="59"/>
                  </a:lnTo>
                  <a:lnTo>
                    <a:pt x="758" y="57"/>
                  </a:lnTo>
                  <a:lnTo>
                    <a:pt x="758" y="56"/>
                  </a:lnTo>
                  <a:lnTo>
                    <a:pt x="758" y="56"/>
                  </a:lnTo>
                  <a:lnTo>
                    <a:pt x="757" y="54"/>
                  </a:lnTo>
                  <a:lnTo>
                    <a:pt x="752" y="46"/>
                  </a:lnTo>
                  <a:lnTo>
                    <a:pt x="747" y="40"/>
                  </a:lnTo>
                  <a:lnTo>
                    <a:pt x="741" y="36"/>
                  </a:lnTo>
                  <a:lnTo>
                    <a:pt x="729" y="30"/>
                  </a:lnTo>
                  <a:lnTo>
                    <a:pt x="727" y="28"/>
                  </a:lnTo>
                  <a:lnTo>
                    <a:pt x="727" y="23"/>
                  </a:lnTo>
                  <a:lnTo>
                    <a:pt x="730" y="22"/>
                  </a:lnTo>
                  <a:lnTo>
                    <a:pt x="732" y="19"/>
                  </a:lnTo>
                  <a:lnTo>
                    <a:pt x="732" y="14"/>
                  </a:lnTo>
                  <a:lnTo>
                    <a:pt x="729" y="13"/>
                  </a:lnTo>
                  <a:lnTo>
                    <a:pt x="726" y="11"/>
                  </a:lnTo>
                  <a:lnTo>
                    <a:pt x="721" y="6"/>
                  </a:lnTo>
                  <a:lnTo>
                    <a:pt x="712" y="5"/>
                  </a:lnTo>
                  <a:lnTo>
                    <a:pt x="707" y="0"/>
                  </a:lnTo>
                  <a:lnTo>
                    <a:pt x="689" y="2"/>
                  </a:lnTo>
                  <a:lnTo>
                    <a:pt x="669" y="3"/>
                  </a:lnTo>
                  <a:lnTo>
                    <a:pt x="687" y="26"/>
                  </a:lnTo>
                  <a:lnTo>
                    <a:pt x="687" y="30"/>
                  </a:lnTo>
                  <a:lnTo>
                    <a:pt x="689" y="48"/>
                  </a:lnTo>
                  <a:lnTo>
                    <a:pt x="687" y="53"/>
                  </a:lnTo>
                  <a:lnTo>
                    <a:pt x="687" y="56"/>
                  </a:lnTo>
                  <a:lnTo>
                    <a:pt x="680" y="79"/>
                  </a:lnTo>
                  <a:lnTo>
                    <a:pt x="673" y="90"/>
                  </a:lnTo>
                  <a:lnTo>
                    <a:pt x="660" y="102"/>
                  </a:lnTo>
                  <a:lnTo>
                    <a:pt x="680" y="116"/>
                  </a:lnTo>
                  <a:lnTo>
                    <a:pt x="663" y="139"/>
                  </a:lnTo>
                  <a:lnTo>
                    <a:pt x="660" y="140"/>
                  </a:lnTo>
                  <a:lnTo>
                    <a:pt x="656" y="140"/>
                  </a:lnTo>
                  <a:lnTo>
                    <a:pt x="623" y="127"/>
                  </a:lnTo>
                  <a:lnTo>
                    <a:pt x="590" y="110"/>
                  </a:lnTo>
                  <a:lnTo>
                    <a:pt x="566" y="111"/>
                  </a:lnTo>
                  <a:lnTo>
                    <a:pt x="561" y="111"/>
                  </a:lnTo>
                  <a:lnTo>
                    <a:pt x="549" y="97"/>
                  </a:lnTo>
                  <a:lnTo>
                    <a:pt x="546" y="96"/>
                  </a:lnTo>
                  <a:lnTo>
                    <a:pt x="527" y="103"/>
                  </a:lnTo>
                  <a:lnTo>
                    <a:pt x="526" y="103"/>
                  </a:lnTo>
                  <a:lnTo>
                    <a:pt x="524" y="105"/>
                  </a:lnTo>
                  <a:lnTo>
                    <a:pt x="524" y="107"/>
                  </a:lnTo>
                  <a:lnTo>
                    <a:pt x="522" y="125"/>
                  </a:lnTo>
                  <a:lnTo>
                    <a:pt x="522" y="131"/>
                  </a:lnTo>
                  <a:lnTo>
                    <a:pt x="527" y="171"/>
                  </a:lnTo>
                  <a:lnTo>
                    <a:pt x="526" y="179"/>
                  </a:lnTo>
                  <a:lnTo>
                    <a:pt x="512" y="208"/>
                  </a:lnTo>
                  <a:lnTo>
                    <a:pt x="509" y="213"/>
                  </a:lnTo>
                  <a:lnTo>
                    <a:pt x="507" y="216"/>
                  </a:lnTo>
                  <a:lnTo>
                    <a:pt x="505" y="217"/>
                  </a:lnTo>
                  <a:lnTo>
                    <a:pt x="484" y="204"/>
                  </a:lnTo>
                  <a:lnTo>
                    <a:pt x="462" y="190"/>
                  </a:lnTo>
                  <a:lnTo>
                    <a:pt x="461" y="191"/>
                  </a:lnTo>
                  <a:lnTo>
                    <a:pt x="455" y="204"/>
                  </a:lnTo>
                  <a:lnTo>
                    <a:pt x="424" y="228"/>
                  </a:lnTo>
                  <a:lnTo>
                    <a:pt x="422" y="231"/>
                  </a:lnTo>
                  <a:lnTo>
                    <a:pt x="421" y="236"/>
                  </a:lnTo>
                  <a:lnTo>
                    <a:pt x="408" y="281"/>
                  </a:lnTo>
                  <a:lnTo>
                    <a:pt x="407" y="285"/>
                  </a:lnTo>
                  <a:lnTo>
                    <a:pt x="399" y="297"/>
                  </a:lnTo>
                  <a:lnTo>
                    <a:pt x="396" y="302"/>
                  </a:lnTo>
                  <a:lnTo>
                    <a:pt x="392" y="305"/>
                  </a:lnTo>
                  <a:lnTo>
                    <a:pt x="379" y="308"/>
                  </a:lnTo>
                  <a:lnTo>
                    <a:pt x="378" y="310"/>
                  </a:lnTo>
                  <a:lnTo>
                    <a:pt x="373" y="324"/>
                  </a:lnTo>
                  <a:lnTo>
                    <a:pt x="396" y="367"/>
                  </a:lnTo>
                  <a:lnTo>
                    <a:pt x="396" y="370"/>
                  </a:lnTo>
                  <a:lnTo>
                    <a:pt x="395" y="396"/>
                  </a:lnTo>
                  <a:lnTo>
                    <a:pt x="393" y="399"/>
                  </a:lnTo>
                  <a:lnTo>
                    <a:pt x="392" y="401"/>
                  </a:lnTo>
                  <a:lnTo>
                    <a:pt x="387" y="404"/>
                  </a:lnTo>
                  <a:lnTo>
                    <a:pt x="373" y="418"/>
                  </a:lnTo>
                  <a:lnTo>
                    <a:pt x="367" y="427"/>
                  </a:lnTo>
                  <a:lnTo>
                    <a:pt x="339" y="481"/>
                  </a:lnTo>
                  <a:lnTo>
                    <a:pt x="321" y="501"/>
                  </a:lnTo>
                  <a:lnTo>
                    <a:pt x="321" y="507"/>
                  </a:lnTo>
                  <a:lnTo>
                    <a:pt x="325" y="527"/>
                  </a:lnTo>
                  <a:lnTo>
                    <a:pt x="325" y="528"/>
                  </a:lnTo>
                  <a:lnTo>
                    <a:pt x="325" y="535"/>
                  </a:lnTo>
                  <a:lnTo>
                    <a:pt x="325" y="539"/>
                  </a:lnTo>
                  <a:lnTo>
                    <a:pt x="325" y="541"/>
                  </a:lnTo>
                  <a:lnTo>
                    <a:pt x="293" y="564"/>
                  </a:lnTo>
                  <a:lnTo>
                    <a:pt x="274" y="567"/>
                  </a:lnTo>
                  <a:lnTo>
                    <a:pt x="254" y="568"/>
                  </a:lnTo>
                  <a:lnTo>
                    <a:pt x="262" y="621"/>
                  </a:lnTo>
                  <a:lnTo>
                    <a:pt x="264" y="629"/>
                  </a:lnTo>
                  <a:lnTo>
                    <a:pt x="262" y="632"/>
                  </a:lnTo>
                  <a:lnTo>
                    <a:pt x="258" y="644"/>
                  </a:lnTo>
                  <a:lnTo>
                    <a:pt x="256" y="645"/>
                  </a:lnTo>
                  <a:lnTo>
                    <a:pt x="253" y="689"/>
                  </a:lnTo>
                  <a:lnTo>
                    <a:pt x="253" y="698"/>
                  </a:lnTo>
                  <a:lnTo>
                    <a:pt x="253" y="707"/>
                  </a:lnTo>
                  <a:lnTo>
                    <a:pt x="253" y="715"/>
                  </a:lnTo>
                  <a:lnTo>
                    <a:pt x="251" y="719"/>
                  </a:lnTo>
                  <a:lnTo>
                    <a:pt x="245" y="726"/>
                  </a:lnTo>
                  <a:lnTo>
                    <a:pt x="244" y="729"/>
                  </a:lnTo>
                  <a:lnTo>
                    <a:pt x="242" y="733"/>
                  </a:lnTo>
                  <a:lnTo>
                    <a:pt x="241" y="750"/>
                  </a:lnTo>
                  <a:lnTo>
                    <a:pt x="239" y="750"/>
                  </a:lnTo>
                  <a:lnTo>
                    <a:pt x="239" y="752"/>
                  </a:lnTo>
                  <a:lnTo>
                    <a:pt x="237" y="756"/>
                  </a:lnTo>
                  <a:lnTo>
                    <a:pt x="228" y="773"/>
                  </a:lnTo>
                  <a:lnTo>
                    <a:pt x="228" y="773"/>
                  </a:lnTo>
                  <a:lnTo>
                    <a:pt x="208" y="809"/>
                  </a:lnTo>
                  <a:lnTo>
                    <a:pt x="188" y="844"/>
                  </a:lnTo>
                  <a:lnTo>
                    <a:pt x="210" y="860"/>
                  </a:lnTo>
                  <a:lnTo>
                    <a:pt x="213" y="861"/>
                  </a:lnTo>
                  <a:lnTo>
                    <a:pt x="219" y="863"/>
                  </a:lnTo>
                  <a:lnTo>
                    <a:pt x="222" y="864"/>
                  </a:lnTo>
                  <a:lnTo>
                    <a:pt x="224" y="869"/>
                  </a:lnTo>
                  <a:lnTo>
                    <a:pt x="227" y="909"/>
                  </a:lnTo>
                  <a:lnTo>
                    <a:pt x="227" y="912"/>
                  </a:lnTo>
                  <a:lnTo>
                    <a:pt x="225" y="915"/>
                  </a:lnTo>
                  <a:lnTo>
                    <a:pt x="213" y="941"/>
                  </a:lnTo>
                  <a:lnTo>
                    <a:pt x="213" y="943"/>
                  </a:lnTo>
                  <a:lnTo>
                    <a:pt x="210" y="943"/>
                  </a:lnTo>
                  <a:lnTo>
                    <a:pt x="184" y="935"/>
                  </a:lnTo>
                  <a:lnTo>
                    <a:pt x="157" y="929"/>
                  </a:lnTo>
                  <a:lnTo>
                    <a:pt x="139" y="933"/>
                  </a:lnTo>
                  <a:lnTo>
                    <a:pt x="122" y="946"/>
                  </a:lnTo>
                  <a:lnTo>
                    <a:pt x="117" y="952"/>
                  </a:lnTo>
                  <a:lnTo>
                    <a:pt x="102" y="977"/>
                  </a:lnTo>
                  <a:lnTo>
                    <a:pt x="88" y="1001"/>
                  </a:lnTo>
                  <a:lnTo>
                    <a:pt x="79" y="1012"/>
                  </a:lnTo>
                  <a:lnTo>
                    <a:pt x="82" y="1029"/>
                  </a:lnTo>
                  <a:lnTo>
                    <a:pt x="82" y="1032"/>
                  </a:lnTo>
                  <a:lnTo>
                    <a:pt x="82" y="1035"/>
                  </a:lnTo>
                  <a:lnTo>
                    <a:pt x="65" y="1063"/>
                  </a:lnTo>
                  <a:lnTo>
                    <a:pt x="71" y="1077"/>
                  </a:lnTo>
                  <a:lnTo>
                    <a:pt x="82" y="1111"/>
                  </a:lnTo>
                  <a:lnTo>
                    <a:pt x="74" y="1123"/>
                  </a:lnTo>
                  <a:lnTo>
                    <a:pt x="73" y="1126"/>
                  </a:lnTo>
                  <a:lnTo>
                    <a:pt x="73" y="1129"/>
                  </a:lnTo>
                  <a:lnTo>
                    <a:pt x="77" y="1154"/>
                  </a:lnTo>
                  <a:lnTo>
                    <a:pt x="77" y="1158"/>
                  </a:lnTo>
                  <a:lnTo>
                    <a:pt x="76" y="1161"/>
                  </a:lnTo>
                  <a:lnTo>
                    <a:pt x="74" y="1171"/>
                  </a:lnTo>
                  <a:lnTo>
                    <a:pt x="73" y="1175"/>
                  </a:lnTo>
                  <a:lnTo>
                    <a:pt x="73" y="1178"/>
                  </a:lnTo>
                  <a:lnTo>
                    <a:pt x="87" y="1217"/>
                  </a:lnTo>
                  <a:lnTo>
                    <a:pt x="88" y="1218"/>
                  </a:lnTo>
                  <a:lnTo>
                    <a:pt x="90" y="1226"/>
                  </a:lnTo>
                  <a:lnTo>
                    <a:pt x="90" y="1228"/>
                  </a:lnTo>
                  <a:lnTo>
                    <a:pt x="90" y="1234"/>
                  </a:lnTo>
                  <a:lnTo>
                    <a:pt x="83" y="1275"/>
                  </a:lnTo>
                  <a:lnTo>
                    <a:pt x="77" y="1315"/>
                  </a:lnTo>
                  <a:lnTo>
                    <a:pt x="79" y="1317"/>
                  </a:lnTo>
                  <a:lnTo>
                    <a:pt x="88" y="1326"/>
                  </a:lnTo>
                  <a:lnTo>
                    <a:pt x="91" y="1329"/>
                  </a:lnTo>
                  <a:lnTo>
                    <a:pt x="97" y="1337"/>
                  </a:lnTo>
                  <a:lnTo>
                    <a:pt x="99" y="1338"/>
                  </a:lnTo>
                  <a:lnTo>
                    <a:pt x="102" y="1338"/>
                  </a:lnTo>
                  <a:lnTo>
                    <a:pt x="107" y="1340"/>
                  </a:lnTo>
                  <a:lnTo>
                    <a:pt x="110" y="1340"/>
                  </a:lnTo>
                  <a:lnTo>
                    <a:pt x="111" y="1343"/>
                  </a:lnTo>
                  <a:lnTo>
                    <a:pt x="131" y="1369"/>
                  </a:lnTo>
                  <a:lnTo>
                    <a:pt x="133" y="1371"/>
                  </a:lnTo>
                  <a:lnTo>
                    <a:pt x="133" y="1374"/>
                  </a:lnTo>
                  <a:lnTo>
                    <a:pt x="130" y="1388"/>
                  </a:lnTo>
                  <a:lnTo>
                    <a:pt x="128" y="1392"/>
                  </a:lnTo>
                  <a:lnTo>
                    <a:pt x="127" y="1395"/>
                  </a:lnTo>
                  <a:lnTo>
                    <a:pt x="122" y="1405"/>
                  </a:lnTo>
                  <a:lnTo>
                    <a:pt x="120" y="1405"/>
                  </a:lnTo>
                  <a:lnTo>
                    <a:pt x="120" y="1408"/>
                  </a:lnTo>
                  <a:lnTo>
                    <a:pt x="119" y="1419"/>
                  </a:lnTo>
                  <a:lnTo>
                    <a:pt x="119" y="1419"/>
                  </a:lnTo>
                  <a:lnTo>
                    <a:pt x="119" y="1420"/>
                  </a:lnTo>
                  <a:lnTo>
                    <a:pt x="117" y="1422"/>
                  </a:lnTo>
                  <a:lnTo>
                    <a:pt x="108" y="1420"/>
                  </a:lnTo>
                  <a:lnTo>
                    <a:pt x="103" y="1420"/>
                  </a:lnTo>
                  <a:lnTo>
                    <a:pt x="87" y="1425"/>
                  </a:lnTo>
                  <a:lnTo>
                    <a:pt x="85" y="1426"/>
                  </a:lnTo>
                  <a:lnTo>
                    <a:pt x="85" y="1431"/>
                  </a:lnTo>
                  <a:lnTo>
                    <a:pt x="88" y="1437"/>
                  </a:lnTo>
                  <a:lnTo>
                    <a:pt x="90" y="1442"/>
                  </a:lnTo>
                  <a:lnTo>
                    <a:pt x="91" y="1454"/>
                  </a:lnTo>
                  <a:lnTo>
                    <a:pt x="93" y="1459"/>
                  </a:lnTo>
                  <a:lnTo>
                    <a:pt x="94" y="1465"/>
                  </a:lnTo>
                  <a:lnTo>
                    <a:pt x="102" y="1480"/>
                  </a:lnTo>
                  <a:lnTo>
                    <a:pt x="110" y="1502"/>
                  </a:lnTo>
                  <a:lnTo>
                    <a:pt x="111" y="1505"/>
                  </a:lnTo>
                  <a:lnTo>
                    <a:pt x="111" y="1509"/>
                  </a:lnTo>
                  <a:lnTo>
                    <a:pt x="111" y="1516"/>
                  </a:lnTo>
                  <a:lnTo>
                    <a:pt x="110" y="1519"/>
                  </a:lnTo>
                  <a:lnTo>
                    <a:pt x="110" y="1522"/>
                  </a:lnTo>
                  <a:lnTo>
                    <a:pt x="108" y="1525"/>
                  </a:lnTo>
                  <a:lnTo>
                    <a:pt x="103" y="1529"/>
                  </a:lnTo>
                  <a:lnTo>
                    <a:pt x="102" y="1531"/>
                  </a:lnTo>
                  <a:lnTo>
                    <a:pt x="102" y="1534"/>
                  </a:lnTo>
                  <a:lnTo>
                    <a:pt x="103" y="1539"/>
                  </a:lnTo>
                  <a:lnTo>
                    <a:pt x="105" y="1549"/>
                  </a:lnTo>
                  <a:lnTo>
                    <a:pt x="105" y="1554"/>
                  </a:lnTo>
                  <a:lnTo>
                    <a:pt x="103" y="1560"/>
                  </a:lnTo>
                  <a:lnTo>
                    <a:pt x="102" y="1566"/>
                  </a:lnTo>
                  <a:lnTo>
                    <a:pt x="99" y="1571"/>
                  </a:lnTo>
                  <a:lnTo>
                    <a:pt x="88" y="1585"/>
                  </a:lnTo>
                  <a:lnTo>
                    <a:pt x="77" y="1593"/>
                  </a:lnTo>
                  <a:lnTo>
                    <a:pt x="74" y="1594"/>
                  </a:lnTo>
                  <a:lnTo>
                    <a:pt x="62" y="1593"/>
                  </a:lnTo>
                  <a:lnTo>
                    <a:pt x="57" y="1594"/>
                  </a:lnTo>
                  <a:lnTo>
                    <a:pt x="57" y="1596"/>
                  </a:lnTo>
                  <a:lnTo>
                    <a:pt x="54" y="1597"/>
                  </a:lnTo>
                  <a:lnTo>
                    <a:pt x="54" y="1602"/>
                  </a:lnTo>
                  <a:lnTo>
                    <a:pt x="56" y="1605"/>
                  </a:lnTo>
                  <a:lnTo>
                    <a:pt x="57" y="1606"/>
                  </a:lnTo>
                  <a:lnTo>
                    <a:pt x="57" y="1608"/>
                  </a:lnTo>
                  <a:lnTo>
                    <a:pt x="59" y="1609"/>
                  </a:lnTo>
                  <a:lnTo>
                    <a:pt x="59" y="1613"/>
                  </a:lnTo>
                  <a:lnTo>
                    <a:pt x="59" y="1617"/>
                  </a:lnTo>
                  <a:lnTo>
                    <a:pt x="59" y="1620"/>
                  </a:lnTo>
                  <a:lnTo>
                    <a:pt x="57" y="1622"/>
                  </a:lnTo>
                  <a:lnTo>
                    <a:pt x="56" y="1626"/>
                  </a:lnTo>
                  <a:lnTo>
                    <a:pt x="53" y="1628"/>
                  </a:lnTo>
                  <a:lnTo>
                    <a:pt x="43" y="1634"/>
                  </a:lnTo>
                  <a:lnTo>
                    <a:pt x="42" y="1636"/>
                  </a:lnTo>
                  <a:lnTo>
                    <a:pt x="42" y="1640"/>
                  </a:lnTo>
                  <a:lnTo>
                    <a:pt x="42" y="1643"/>
                  </a:lnTo>
                  <a:lnTo>
                    <a:pt x="50" y="1673"/>
                  </a:lnTo>
                  <a:lnTo>
                    <a:pt x="51" y="1682"/>
                  </a:lnTo>
                  <a:lnTo>
                    <a:pt x="53" y="1685"/>
                  </a:lnTo>
                  <a:lnTo>
                    <a:pt x="53" y="1688"/>
                  </a:lnTo>
                  <a:lnTo>
                    <a:pt x="53" y="1688"/>
                  </a:lnTo>
                  <a:lnTo>
                    <a:pt x="51" y="1691"/>
                  </a:lnTo>
                  <a:lnTo>
                    <a:pt x="50" y="1693"/>
                  </a:lnTo>
                  <a:lnTo>
                    <a:pt x="50" y="1696"/>
                  </a:lnTo>
                  <a:lnTo>
                    <a:pt x="48" y="1705"/>
                  </a:lnTo>
                  <a:lnTo>
                    <a:pt x="47" y="1711"/>
                  </a:lnTo>
                  <a:lnTo>
                    <a:pt x="47" y="1716"/>
                  </a:lnTo>
                  <a:lnTo>
                    <a:pt x="45" y="1722"/>
                  </a:lnTo>
                  <a:lnTo>
                    <a:pt x="43" y="1725"/>
                  </a:lnTo>
                  <a:lnTo>
                    <a:pt x="43" y="1728"/>
                  </a:lnTo>
                  <a:lnTo>
                    <a:pt x="40" y="1736"/>
                  </a:lnTo>
                  <a:lnTo>
                    <a:pt x="37" y="1740"/>
                  </a:lnTo>
                  <a:lnTo>
                    <a:pt x="33" y="1742"/>
                  </a:lnTo>
                  <a:lnTo>
                    <a:pt x="28" y="1740"/>
                  </a:lnTo>
                  <a:lnTo>
                    <a:pt x="25" y="1739"/>
                  </a:lnTo>
                  <a:lnTo>
                    <a:pt x="25" y="1730"/>
                  </a:lnTo>
                  <a:lnTo>
                    <a:pt x="25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2" y="1725"/>
                  </a:lnTo>
                  <a:lnTo>
                    <a:pt x="20" y="1722"/>
                  </a:lnTo>
                  <a:lnTo>
                    <a:pt x="20" y="1719"/>
                  </a:lnTo>
                  <a:lnTo>
                    <a:pt x="19" y="1716"/>
                  </a:lnTo>
                  <a:lnTo>
                    <a:pt x="17" y="1711"/>
                  </a:lnTo>
                  <a:lnTo>
                    <a:pt x="16" y="1710"/>
                  </a:lnTo>
                  <a:lnTo>
                    <a:pt x="8" y="1711"/>
                  </a:lnTo>
                  <a:lnTo>
                    <a:pt x="6" y="1713"/>
                  </a:lnTo>
                  <a:lnTo>
                    <a:pt x="2" y="1720"/>
                  </a:lnTo>
                  <a:lnTo>
                    <a:pt x="0" y="1722"/>
                  </a:lnTo>
                  <a:lnTo>
                    <a:pt x="0" y="1723"/>
                  </a:lnTo>
                  <a:lnTo>
                    <a:pt x="0" y="1725"/>
                  </a:lnTo>
                  <a:lnTo>
                    <a:pt x="2" y="1726"/>
                  </a:lnTo>
                  <a:lnTo>
                    <a:pt x="5" y="1726"/>
                  </a:lnTo>
                  <a:lnTo>
                    <a:pt x="2" y="1728"/>
                  </a:lnTo>
                  <a:lnTo>
                    <a:pt x="0" y="1730"/>
                  </a:lnTo>
                  <a:lnTo>
                    <a:pt x="0" y="1731"/>
                  </a:lnTo>
                  <a:lnTo>
                    <a:pt x="0" y="1733"/>
                  </a:lnTo>
                  <a:lnTo>
                    <a:pt x="2" y="1734"/>
                  </a:lnTo>
                  <a:lnTo>
                    <a:pt x="6" y="1736"/>
                  </a:lnTo>
                  <a:lnTo>
                    <a:pt x="6" y="1737"/>
                  </a:lnTo>
                  <a:lnTo>
                    <a:pt x="6" y="1737"/>
                  </a:lnTo>
                  <a:lnTo>
                    <a:pt x="6" y="1737"/>
                  </a:lnTo>
                  <a:lnTo>
                    <a:pt x="6" y="1739"/>
                  </a:lnTo>
                  <a:lnTo>
                    <a:pt x="6" y="1740"/>
                  </a:lnTo>
                  <a:lnTo>
                    <a:pt x="6" y="1743"/>
                  </a:lnTo>
                  <a:lnTo>
                    <a:pt x="6" y="1745"/>
                  </a:lnTo>
                  <a:lnTo>
                    <a:pt x="8" y="1747"/>
                  </a:lnTo>
                  <a:lnTo>
                    <a:pt x="8" y="1747"/>
                  </a:lnTo>
                  <a:lnTo>
                    <a:pt x="10" y="1747"/>
                  </a:lnTo>
                  <a:lnTo>
                    <a:pt x="10" y="1753"/>
                  </a:lnTo>
                  <a:lnTo>
                    <a:pt x="10" y="1753"/>
                  </a:lnTo>
                  <a:lnTo>
                    <a:pt x="8" y="1756"/>
                  </a:lnTo>
                  <a:lnTo>
                    <a:pt x="8" y="1756"/>
                  </a:lnTo>
                  <a:lnTo>
                    <a:pt x="6" y="1757"/>
                  </a:lnTo>
                  <a:lnTo>
                    <a:pt x="8" y="1759"/>
                  </a:lnTo>
                  <a:lnTo>
                    <a:pt x="5" y="1760"/>
                  </a:lnTo>
                  <a:lnTo>
                    <a:pt x="5" y="1762"/>
                  </a:lnTo>
                  <a:lnTo>
                    <a:pt x="5" y="1765"/>
                  </a:lnTo>
                  <a:lnTo>
                    <a:pt x="5" y="1767"/>
                  </a:lnTo>
                  <a:lnTo>
                    <a:pt x="8" y="1767"/>
                  </a:lnTo>
                  <a:lnTo>
                    <a:pt x="8" y="1767"/>
                  </a:lnTo>
                  <a:lnTo>
                    <a:pt x="8" y="1768"/>
                  </a:lnTo>
                  <a:lnTo>
                    <a:pt x="8" y="1771"/>
                  </a:lnTo>
                  <a:lnTo>
                    <a:pt x="10" y="1774"/>
                  </a:lnTo>
                  <a:lnTo>
                    <a:pt x="11" y="1777"/>
                  </a:lnTo>
                  <a:lnTo>
                    <a:pt x="11" y="1779"/>
                  </a:lnTo>
                  <a:lnTo>
                    <a:pt x="11" y="1780"/>
                  </a:lnTo>
                  <a:lnTo>
                    <a:pt x="11" y="1780"/>
                  </a:lnTo>
                  <a:lnTo>
                    <a:pt x="11" y="1782"/>
                  </a:lnTo>
                  <a:lnTo>
                    <a:pt x="11" y="1782"/>
                  </a:lnTo>
                  <a:lnTo>
                    <a:pt x="11" y="1783"/>
                  </a:lnTo>
                  <a:lnTo>
                    <a:pt x="11" y="1785"/>
                  </a:lnTo>
                  <a:lnTo>
                    <a:pt x="13" y="1785"/>
                  </a:lnTo>
                  <a:lnTo>
                    <a:pt x="13" y="1787"/>
                  </a:lnTo>
                  <a:lnTo>
                    <a:pt x="13" y="1787"/>
                  </a:lnTo>
                  <a:lnTo>
                    <a:pt x="11" y="1787"/>
                  </a:lnTo>
                  <a:lnTo>
                    <a:pt x="11" y="1788"/>
                  </a:lnTo>
                  <a:lnTo>
                    <a:pt x="11" y="1790"/>
                  </a:lnTo>
                  <a:lnTo>
                    <a:pt x="11" y="1794"/>
                  </a:lnTo>
                  <a:lnTo>
                    <a:pt x="10" y="1794"/>
                  </a:lnTo>
                  <a:lnTo>
                    <a:pt x="10" y="1794"/>
                  </a:lnTo>
                  <a:lnTo>
                    <a:pt x="10" y="1794"/>
                  </a:lnTo>
                  <a:lnTo>
                    <a:pt x="10" y="1796"/>
                  </a:lnTo>
                  <a:lnTo>
                    <a:pt x="10" y="1796"/>
                  </a:lnTo>
                  <a:lnTo>
                    <a:pt x="10" y="1797"/>
                  </a:lnTo>
                  <a:lnTo>
                    <a:pt x="11" y="1797"/>
                  </a:lnTo>
                  <a:lnTo>
                    <a:pt x="11" y="1799"/>
                  </a:lnTo>
                  <a:lnTo>
                    <a:pt x="14" y="1800"/>
                  </a:lnTo>
                  <a:lnTo>
                    <a:pt x="13" y="1802"/>
                  </a:lnTo>
                  <a:lnTo>
                    <a:pt x="11" y="1803"/>
                  </a:lnTo>
                  <a:lnTo>
                    <a:pt x="10" y="1805"/>
                  </a:lnTo>
                  <a:lnTo>
                    <a:pt x="11" y="1807"/>
                  </a:lnTo>
                  <a:lnTo>
                    <a:pt x="8" y="1807"/>
                  </a:lnTo>
                  <a:lnTo>
                    <a:pt x="6" y="1808"/>
                  </a:lnTo>
                  <a:lnTo>
                    <a:pt x="6" y="1810"/>
                  </a:lnTo>
                  <a:lnTo>
                    <a:pt x="8" y="1813"/>
                  </a:lnTo>
                  <a:lnTo>
                    <a:pt x="8" y="1814"/>
                  </a:lnTo>
                  <a:lnTo>
                    <a:pt x="8" y="1816"/>
                  </a:lnTo>
                  <a:lnTo>
                    <a:pt x="8" y="1817"/>
                  </a:lnTo>
                  <a:lnTo>
                    <a:pt x="8" y="1817"/>
                  </a:lnTo>
                  <a:lnTo>
                    <a:pt x="10" y="1819"/>
                  </a:lnTo>
                  <a:lnTo>
                    <a:pt x="11" y="1816"/>
                  </a:lnTo>
                  <a:lnTo>
                    <a:pt x="13" y="1816"/>
                  </a:lnTo>
                  <a:lnTo>
                    <a:pt x="14" y="1816"/>
                  </a:lnTo>
                  <a:lnTo>
                    <a:pt x="16" y="1814"/>
                  </a:lnTo>
                  <a:lnTo>
                    <a:pt x="17" y="1814"/>
                  </a:lnTo>
                  <a:lnTo>
                    <a:pt x="17" y="1813"/>
                  </a:lnTo>
                  <a:lnTo>
                    <a:pt x="17" y="1813"/>
                  </a:lnTo>
                  <a:lnTo>
                    <a:pt x="19" y="1811"/>
                  </a:lnTo>
                  <a:lnTo>
                    <a:pt x="19" y="1810"/>
                  </a:lnTo>
                  <a:lnTo>
                    <a:pt x="22" y="1807"/>
                  </a:lnTo>
                  <a:lnTo>
                    <a:pt x="23" y="1805"/>
                  </a:lnTo>
                  <a:lnTo>
                    <a:pt x="22" y="1807"/>
                  </a:lnTo>
                  <a:lnTo>
                    <a:pt x="22" y="1808"/>
                  </a:lnTo>
                  <a:lnTo>
                    <a:pt x="20" y="1811"/>
                  </a:lnTo>
                  <a:lnTo>
                    <a:pt x="17" y="1816"/>
                  </a:lnTo>
                  <a:lnTo>
                    <a:pt x="17" y="1817"/>
                  </a:lnTo>
                  <a:lnTo>
                    <a:pt x="17" y="1819"/>
                  </a:lnTo>
                  <a:lnTo>
                    <a:pt x="19" y="1817"/>
                  </a:lnTo>
                  <a:lnTo>
                    <a:pt x="20" y="1817"/>
                  </a:lnTo>
                  <a:lnTo>
                    <a:pt x="20" y="1816"/>
                  </a:lnTo>
                  <a:lnTo>
                    <a:pt x="22" y="1813"/>
                  </a:lnTo>
                  <a:lnTo>
                    <a:pt x="22" y="1813"/>
                  </a:lnTo>
                  <a:lnTo>
                    <a:pt x="23" y="1813"/>
                  </a:lnTo>
                  <a:lnTo>
                    <a:pt x="23" y="1816"/>
                  </a:lnTo>
                  <a:lnTo>
                    <a:pt x="25" y="1817"/>
                  </a:lnTo>
                  <a:lnTo>
                    <a:pt x="25" y="1819"/>
                  </a:lnTo>
                  <a:lnTo>
                    <a:pt x="22" y="1819"/>
                  </a:lnTo>
                  <a:lnTo>
                    <a:pt x="22" y="1819"/>
                  </a:lnTo>
                  <a:lnTo>
                    <a:pt x="20" y="1820"/>
                  </a:lnTo>
                  <a:lnTo>
                    <a:pt x="20" y="1822"/>
                  </a:lnTo>
                  <a:lnTo>
                    <a:pt x="20" y="1824"/>
                  </a:lnTo>
                  <a:lnTo>
                    <a:pt x="22" y="1824"/>
                  </a:lnTo>
                  <a:lnTo>
                    <a:pt x="23" y="1824"/>
                  </a:lnTo>
                  <a:lnTo>
                    <a:pt x="25" y="1822"/>
                  </a:lnTo>
                  <a:lnTo>
                    <a:pt x="25" y="1824"/>
                  </a:lnTo>
                  <a:lnTo>
                    <a:pt x="23" y="1825"/>
                  </a:lnTo>
                  <a:lnTo>
                    <a:pt x="22" y="1827"/>
                  </a:lnTo>
                  <a:lnTo>
                    <a:pt x="22" y="1828"/>
                  </a:lnTo>
                  <a:lnTo>
                    <a:pt x="20" y="1830"/>
                  </a:lnTo>
                  <a:lnTo>
                    <a:pt x="26" y="1825"/>
                  </a:lnTo>
                  <a:lnTo>
                    <a:pt x="28" y="1824"/>
                  </a:lnTo>
                  <a:lnTo>
                    <a:pt x="31" y="1819"/>
                  </a:lnTo>
                  <a:lnTo>
                    <a:pt x="33" y="1816"/>
                  </a:lnTo>
                  <a:lnTo>
                    <a:pt x="33" y="1811"/>
                  </a:lnTo>
                  <a:lnTo>
                    <a:pt x="33" y="1805"/>
                  </a:lnTo>
                  <a:lnTo>
                    <a:pt x="33" y="1802"/>
                  </a:lnTo>
                  <a:lnTo>
                    <a:pt x="33" y="1802"/>
                  </a:lnTo>
                  <a:lnTo>
                    <a:pt x="33" y="1803"/>
                  </a:lnTo>
                  <a:lnTo>
                    <a:pt x="34" y="1808"/>
                  </a:lnTo>
                  <a:lnTo>
                    <a:pt x="36" y="1810"/>
                  </a:lnTo>
                  <a:lnTo>
                    <a:pt x="37" y="1808"/>
                  </a:lnTo>
                  <a:lnTo>
                    <a:pt x="39" y="1807"/>
                  </a:lnTo>
                  <a:lnTo>
                    <a:pt x="40" y="1805"/>
                  </a:lnTo>
                  <a:lnTo>
                    <a:pt x="42" y="1807"/>
                  </a:lnTo>
                  <a:lnTo>
                    <a:pt x="39" y="1808"/>
                  </a:lnTo>
                  <a:lnTo>
                    <a:pt x="37" y="1810"/>
                  </a:lnTo>
                  <a:lnTo>
                    <a:pt x="37" y="1811"/>
                  </a:lnTo>
                  <a:lnTo>
                    <a:pt x="37" y="1813"/>
                  </a:lnTo>
                  <a:lnTo>
                    <a:pt x="34" y="1817"/>
                  </a:lnTo>
                  <a:lnTo>
                    <a:pt x="33" y="1820"/>
                  </a:lnTo>
                  <a:lnTo>
                    <a:pt x="30" y="1824"/>
                  </a:lnTo>
                  <a:lnTo>
                    <a:pt x="30" y="1827"/>
                  </a:lnTo>
                  <a:lnTo>
                    <a:pt x="28" y="1830"/>
                  </a:lnTo>
                  <a:lnTo>
                    <a:pt x="30" y="1833"/>
                  </a:lnTo>
                  <a:lnTo>
                    <a:pt x="31" y="1833"/>
                  </a:lnTo>
                  <a:lnTo>
                    <a:pt x="31" y="1831"/>
                  </a:lnTo>
                  <a:lnTo>
                    <a:pt x="31" y="1831"/>
                  </a:lnTo>
                  <a:lnTo>
                    <a:pt x="31" y="1831"/>
                  </a:lnTo>
                  <a:lnTo>
                    <a:pt x="33" y="1831"/>
                  </a:lnTo>
                  <a:lnTo>
                    <a:pt x="34" y="1831"/>
                  </a:lnTo>
                  <a:lnTo>
                    <a:pt x="34" y="1831"/>
                  </a:lnTo>
                  <a:lnTo>
                    <a:pt x="36" y="1831"/>
                  </a:lnTo>
                  <a:lnTo>
                    <a:pt x="37" y="1828"/>
                  </a:lnTo>
                  <a:lnTo>
                    <a:pt x="37" y="1828"/>
                  </a:lnTo>
                  <a:lnTo>
                    <a:pt x="39" y="1827"/>
                  </a:lnTo>
                  <a:lnTo>
                    <a:pt x="42" y="1824"/>
                  </a:lnTo>
                  <a:lnTo>
                    <a:pt x="45" y="1824"/>
                  </a:lnTo>
                  <a:lnTo>
                    <a:pt x="45" y="1822"/>
                  </a:lnTo>
                  <a:lnTo>
                    <a:pt x="45" y="1820"/>
                  </a:lnTo>
                  <a:lnTo>
                    <a:pt x="48" y="1820"/>
                  </a:lnTo>
                  <a:lnTo>
                    <a:pt x="51" y="1820"/>
                  </a:lnTo>
                  <a:lnTo>
                    <a:pt x="54" y="1819"/>
                  </a:lnTo>
                  <a:lnTo>
                    <a:pt x="56" y="1817"/>
                  </a:lnTo>
                  <a:lnTo>
                    <a:pt x="57" y="1820"/>
                  </a:lnTo>
                  <a:lnTo>
                    <a:pt x="53" y="1822"/>
                  </a:lnTo>
                  <a:lnTo>
                    <a:pt x="51" y="1824"/>
                  </a:lnTo>
                  <a:lnTo>
                    <a:pt x="53" y="1828"/>
                  </a:lnTo>
                  <a:lnTo>
                    <a:pt x="53" y="1830"/>
                  </a:lnTo>
                  <a:lnTo>
                    <a:pt x="54" y="1830"/>
                  </a:lnTo>
                  <a:lnTo>
                    <a:pt x="54" y="1831"/>
                  </a:lnTo>
                  <a:lnTo>
                    <a:pt x="54" y="1834"/>
                  </a:lnTo>
                  <a:lnTo>
                    <a:pt x="56" y="1836"/>
                  </a:lnTo>
                  <a:lnTo>
                    <a:pt x="57" y="1836"/>
                  </a:lnTo>
                  <a:lnTo>
                    <a:pt x="57" y="1836"/>
                  </a:lnTo>
                  <a:lnTo>
                    <a:pt x="57" y="1837"/>
                  </a:lnTo>
                  <a:lnTo>
                    <a:pt x="57" y="1839"/>
                  </a:lnTo>
                  <a:lnTo>
                    <a:pt x="56" y="1839"/>
                  </a:lnTo>
                  <a:lnTo>
                    <a:pt x="56" y="1839"/>
                  </a:lnTo>
                  <a:lnTo>
                    <a:pt x="54" y="1839"/>
                  </a:lnTo>
                  <a:lnTo>
                    <a:pt x="54" y="1840"/>
                  </a:lnTo>
                  <a:lnTo>
                    <a:pt x="53" y="1850"/>
                  </a:lnTo>
                  <a:lnTo>
                    <a:pt x="53" y="1853"/>
                  </a:lnTo>
                  <a:lnTo>
                    <a:pt x="51" y="1853"/>
                  </a:lnTo>
                  <a:lnTo>
                    <a:pt x="51" y="1854"/>
                  </a:lnTo>
                  <a:lnTo>
                    <a:pt x="51" y="1854"/>
                  </a:lnTo>
                  <a:lnTo>
                    <a:pt x="51" y="1854"/>
                  </a:lnTo>
                  <a:lnTo>
                    <a:pt x="50" y="1856"/>
                  </a:lnTo>
                  <a:lnTo>
                    <a:pt x="50" y="1857"/>
                  </a:lnTo>
                  <a:lnTo>
                    <a:pt x="50" y="1859"/>
                  </a:lnTo>
                  <a:lnTo>
                    <a:pt x="51" y="1860"/>
                  </a:lnTo>
                  <a:lnTo>
                    <a:pt x="51" y="1862"/>
                  </a:lnTo>
                  <a:lnTo>
                    <a:pt x="51" y="1864"/>
                  </a:lnTo>
                  <a:lnTo>
                    <a:pt x="50" y="1867"/>
                  </a:lnTo>
                  <a:lnTo>
                    <a:pt x="47" y="1873"/>
                  </a:lnTo>
                  <a:lnTo>
                    <a:pt x="47" y="1876"/>
                  </a:lnTo>
                  <a:lnTo>
                    <a:pt x="48" y="1877"/>
                  </a:lnTo>
                  <a:lnTo>
                    <a:pt x="48" y="1877"/>
                  </a:lnTo>
                  <a:lnTo>
                    <a:pt x="48" y="1879"/>
                  </a:lnTo>
                  <a:lnTo>
                    <a:pt x="47" y="1879"/>
                  </a:lnTo>
                  <a:lnTo>
                    <a:pt x="47" y="1879"/>
                  </a:lnTo>
                  <a:lnTo>
                    <a:pt x="48" y="1879"/>
                  </a:lnTo>
                  <a:lnTo>
                    <a:pt x="48" y="1880"/>
                  </a:lnTo>
                  <a:lnTo>
                    <a:pt x="45" y="1882"/>
                  </a:lnTo>
                  <a:lnTo>
                    <a:pt x="43" y="1884"/>
                  </a:lnTo>
                  <a:lnTo>
                    <a:pt x="43" y="1887"/>
                  </a:lnTo>
                  <a:lnTo>
                    <a:pt x="43" y="1887"/>
                  </a:lnTo>
                  <a:lnTo>
                    <a:pt x="42" y="1887"/>
                  </a:lnTo>
                  <a:lnTo>
                    <a:pt x="40" y="1890"/>
                  </a:lnTo>
                  <a:lnTo>
                    <a:pt x="43" y="1890"/>
                  </a:lnTo>
                  <a:lnTo>
                    <a:pt x="45" y="1891"/>
                  </a:lnTo>
                  <a:lnTo>
                    <a:pt x="45" y="1894"/>
                  </a:lnTo>
                  <a:lnTo>
                    <a:pt x="48" y="1897"/>
                  </a:lnTo>
                  <a:lnTo>
                    <a:pt x="48" y="1896"/>
                  </a:lnTo>
                  <a:lnTo>
                    <a:pt x="50" y="1896"/>
                  </a:lnTo>
                  <a:lnTo>
                    <a:pt x="51" y="1896"/>
                  </a:lnTo>
                  <a:lnTo>
                    <a:pt x="51" y="1897"/>
                  </a:lnTo>
                  <a:lnTo>
                    <a:pt x="51" y="1899"/>
                  </a:lnTo>
                  <a:lnTo>
                    <a:pt x="43" y="1905"/>
                  </a:lnTo>
                  <a:lnTo>
                    <a:pt x="43" y="1907"/>
                  </a:lnTo>
                  <a:lnTo>
                    <a:pt x="43" y="1908"/>
                  </a:lnTo>
                  <a:lnTo>
                    <a:pt x="45" y="1910"/>
                  </a:lnTo>
                  <a:lnTo>
                    <a:pt x="47" y="1910"/>
                  </a:lnTo>
                  <a:lnTo>
                    <a:pt x="48" y="1910"/>
                  </a:lnTo>
                  <a:lnTo>
                    <a:pt x="47" y="1907"/>
                  </a:lnTo>
                  <a:lnTo>
                    <a:pt x="50" y="1907"/>
                  </a:lnTo>
                  <a:lnTo>
                    <a:pt x="53" y="1910"/>
                  </a:lnTo>
                  <a:lnTo>
                    <a:pt x="54" y="1910"/>
                  </a:lnTo>
                  <a:lnTo>
                    <a:pt x="57" y="1910"/>
                  </a:lnTo>
                  <a:lnTo>
                    <a:pt x="59" y="1910"/>
                  </a:lnTo>
                  <a:lnTo>
                    <a:pt x="60" y="1908"/>
                  </a:lnTo>
                  <a:lnTo>
                    <a:pt x="59" y="1910"/>
                  </a:lnTo>
                  <a:lnTo>
                    <a:pt x="54" y="1911"/>
                  </a:lnTo>
                  <a:lnTo>
                    <a:pt x="54" y="1914"/>
                  </a:lnTo>
                  <a:lnTo>
                    <a:pt x="54" y="1916"/>
                  </a:lnTo>
                  <a:lnTo>
                    <a:pt x="54" y="1916"/>
                  </a:lnTo>
                  <a:lnTo>
                    <a:pt x="56" y="1917"/>
                  </a:lnTo>
                  <a:lnTo>
                    <a:pt x="56" y="1921"/>
                  </a:lnTo>
                  <a:lnTo>
                    <a:pt x="56" y="1922"/>
                  </a:lnTo>
                  <a:lnTo>
                    <a:pt x="57" y="1922"/>
                  </a:lnTo>
                  <a:lnTo>
                    <a:pt x="57" y="1921"/>
                  </a:lnTo>
                  <a:lnTo>
                    <a:pt x="59" y="1919"/>
                  </a:lnTo>
                  <a:lnTo>
                    <a:pt x="59" y="1919"/>
                  </a:lnTo>
                  <a:lnTo>
                    <a:pt x="59" y="1919"/>
                  </a:lnTo>
                  <a:lnTo>
                    <a:pt x="60" y="1919"/>
                  </a:lnTo>
                  <a:lnTo>
                    <a:pt x="59" y="1924"/>
                  </a:lnTo>
                  <a:lnTo>
                    <a:pt x="60" y="1931"/>
                  </a:lnTo>
                  <a:lnTo>
                    <a:pt x="59" y="1933"/>
                  </a:lnTo>
                  <a:lnTo>
                    <a:pt x="59" y="1933"/>
                  </a:lnTo>
                  <a:lnTo>
                    <a:pt x="60" y="1934"/>
                  </a:lnTo>
                  <a:lnTo>
                    <a:pt x="60" y="1936"/>
                  </a:lnTo>
                  <a:lnTo>
                    <a:pt x="59" y="1936"/>
                  </a:lnTo>
                  <a:lnTo>
                    <a:pt x="60" y="1936"/>
                  </a:lnTo>
                  <a:lnTo>
                    <a:pt x="62" y="1937"/>
                  </a:lnTo>
                  <a:lnTo>
                    <a:pt x="60" y="1939"/>
                  </a:lnTo>
                  <a:lnTo>
                    <a:pt x="60" y="1939"/>
                  </a:lnTo>
                  <a:lnTo>
                    <a:pt x="59" y="1941"/>
                  </a:lnTo>
                  <a:lnTo>
                    <a:pt x="59" y="1944"/>
                  </a:lnTo>
                  <a:lnTo>
                    <a:pt x="59" y="1945"/>
                  </a:lnTo>
                  <a:lnTo>
                    <a:pt x="59" y="1948"/>
                  </a:lnTo>
                  <a:lnTo>
                    <a:pt x="60" y="1950"/>
                  </a:lnTo>
                  <a:lnTo>
                    <a:pt x="59" y="1951"/>
                  </a:lnTo>
                  <a:lnTo>
                    <a:pt x="59" y="1951"/>
                  </a:lnTo>
                  <a:lnTo>
                    <a:pt x="60" y="1951"/>
                  </a:lnTo>
                  <a:lnTo>
                    <a:pt x="60" y="1951"/>
                  </a:lnTo>
                  <a:lnTo>
                    <a:pt x="62" y="1951"/>
                  </a:lnTo>
                  <a:lnTo>
                    <a:pt x="60" y="1956"/>
                  </a:lnTo>
                  <a:lnTo>
                    <a:pt x="62" y="1956"/>
                  </a:lnTo>
                  <a:lnTo>
                    <a:pt x="63" y="1954"/>
                  </a:lnTo>
                  <a:lnTo>
                    <a:pt x="65" y="1957"/>
                  </a:lnTo>
                  <a:lnTo>
                    <a:pt x="65" y="1954"/>
                  </a:lnTo>
                  <a:lnTo>
                    <a:pt x="67" y="1945"/>
                  </a:lnTo>
                  <a:lnTo>
                    <a:pt x="68" y="1944"/>
                  </a:lnTo>
                  <a:lnTo>
                    <a:pt x="68" y="1944"/>
                  </a:lnTo>
                  <a:lnTo>
                    <a:pt x="68" y="1942"/>
                  </a:lnTo>
                  <a:lnTo>
                    <a:pt x="70" y="1942"/>
                  </a:lnTo>
                  <a:lnTo>
                    <a:pt x="70" y="1942"/>
                  </a:lnTo>
                  <a:lnTo>
                    <a:pt x="71" y="1942"/>
                  </a:lnTo>
                  <a:lnTo>
                    <a:pt x="73" y="1947"/>
                  </a:lnTo>
                  <a:lnTo>
                    <a:pt x="73" y="1948"/>
                  </a:lnTo>
                  <a:lnTo>
                    <a:pt x="73" y="1950"/>
                  </a:lnTo>
                  <a:lnTo>
                    <a:pt x="71" y="1951"/>
                  </a:lnTo>
                  <a:lnTo>
                    <a:pt x="74" y="1951"/>
                  </a:lnTo>
                  <a:lnTo>
                    <a:pt x="73" y="1953"/>
                  </a:lnTo>
                  <a:lnTo>
                    <a:pt x="71" y="1956"/>
                  </a:lnTo>
                  <a:lnTo>
                    <a:pt x="70" y="1957"/>
                  </a:lnTo>
                  <a:lnTo>
                    <a:pt x="71" y="1959"/>
                  </a:lnTo>
                  <a:lnTo>
                    <a:pt x="71" y="1959"/>
                  </a:lnTo>
                  <a:lnTo>
                    <a:pt x="73" y="1957"/>
                  </a:lnTo>
                  <a:lnTo>
                    <a:pt x="73" y="1957"/>
                  </a:lnTo>
                  <a:lnTo>
                    <a:pt x="74" y="1957"/>
                  </a:lnTo>
                  <a:lnTo>
                    <a:pt x="74" y="1959"/>
                  </a:lnTo>
                  <a:lnTo>
                    <a:pt x="74" y="1959"/>
                  </a:lnTo>
                  <a:lnTo>
                    <a:pt x="74" y="1959"/>
                  </a:lnTo>
                  <a:lnTo>
                    <a:pt x="76" y="1961"/>
                  </a:lnTo>
                  <a:lnTo>
                    <a:pt x="76" y="1961"/>
                  </a:lnTo>
                  <a:lnTo>
                    <a:pt x="77" y="1962"/>
                  </a:lnTo>
                  <a:lnTo>
                    <a:pt x="77" y="1964"/>
                  </a:lnTo>
                  <a:lnTo>
                    <a:pt x="77" y="1965"/>
                  </a:lnTo>
                  <a:lnTo>
                    <a:pt x="77" y="1965"/>
                  </a:lnTo>
                  <a:lnTo>
                    <a:pt x="77" y="1967"/>
                  </a:lnTo>
                  <a:lnTo>
                    <a:pt x="74" y="1967"/>
                  </a:lnTo>
                  <a:lnTo>
                    <a:pt x="74" y="1968"/>
                  </a:lnTo>
                  <a:lnTo>
                    <a:pt x="74" y="1970"/>
                  </a:lnTo>
                  <a:lnTo>
                    <a:pt x="73" y="1970"/>
                  </a:lnTo>
                  <a:lnTo>
                    <a:pt x="73" y="1971"/>
                  </a:lnTo>
                  <a:lnTo>
                    <a:pt x="76" y="1971"/>
                  </a:lnTo>
                  <a:lnTo>
                    <a:pt x="77" y="1971"/>
                  </a:lnTo>
                  <a:lnTo>
                    <a:pt x="77" y="1971"/>
                  </a:lnTo>
                  <a:lnTo>
                    <a:pt x="77" y="1973"/>
                  </a:lnTo>
                  <a:lnTo>
                    <a:pt x="76" y="1973"/>
                  </a:lnTo>
                  <a:lnTo>
                    <a:pt x="74" y="1973"/>
                  </a:lnTo>
                  <a:lnTo>
                    <a:pt x="74" y="1974"/>
                  </a:lnTo>
                  <a:lnTo>
                    <a:pt x="76" y="1974"/>
                  </a:lnTo>
                  <a:lnTo>
                    <a:pt x="77" y="1976"/>
                  </a:lnTo>
                  <a:lnTo>
                    <a:pt x="79" y="1976"/>
                  </a:lnTo>
                  <a:lnTo>
                    <a:pt x="80" y="1976"/>
                  </a:lnTo>
                  <a:lnTo>
                    <a:pt x="79" y="1978"/>
                  </a:lnTo>
                  <a:lnTo>
                    <a:pt x="77" y="1979"/>
                  </a:lnTo>
                  <a:lnTo>
                    <a:pt x="77" y="1981"/>
                  </a:lnTo>
                  <a:lnTo>
                    <a:pt x="80" y="1979"/>
                  </a:lnTo>
                  <a:lnTo>
                    <a:pt x="80" y="1979"/>
                  </a:lnTo>
                  <a:lnTo>
                    <a:pt x="80" y="1981"/>
                  </a:lnTo>
                  <a:lnTo>
                    <a:pt x="80" y="1984"/>
                  </a:lnTo>
                  <a:lnTo>
                    <a:pt x="82" y="1985"/>
                  </a:lnTo>
                  <a:lnTo>
                    <a:pt x="83" y="1988"/>
                  </a:lnTo>
                  <a:lnTo>
                    <a:pt x="83" y="1990"/>
                  </a:lnTo>
                  <a:lnTo>
                    <a:pt x="82" y="1993"/>
                  </a:lnTo>
                  <a:lnTo>
                    <a:pt x="83" y="1994"/>
                  </a:lnTo>
                  <a:lnTo>
                    <a:pt x="85" y="1994"/>
                  </a:lnTo>
                  <a:lnTo>
                    <a:pt x="85" y="1998"/>
                  </a:lnTo>
                  <a:lnTo>
                    <a:pt x="87" y="1999"/>
                  </a:lnTo>
                  <a:lnTo>
                    <a:pt x="88" y="2001"/>
                  </a:lnTo>
                  <a:lnTo>
                    <a:pt x="91" y="2002"/>
                  </a:lnTo>
                  <a:lnTo>
                    <a:pt x="91" y="2004"/>
                  </a:lnTo>
                  <a:lnTo>
                    <a:pt x="91" y="2004"/>
                  </a:lnTo>
                  <a:lnTo>
                    <a:pt x="93" y="2005"/>
                  </a:lnTo>
                  <a:lnTo>
                    <a:pt x="93" y="2005"/>
                  </a:lnTo>
                  <a:lnTo>
                    <a:pt x="93" y="2007"/>
                  </a:lnTo>
                  <a:lnTo>
                    <a:pt x="93" y="2008"/>
                  </a:lnTo>
                  <a:lnTo>
                    <a:pt x="93" y="2008"/>
                  </a:lnTo>
                  <a:lnTo>
                    <a:pt x="91" y="2010"/>
                  </a:lnTo>
                  <a:lnTo>
                    <a:pt x="91" y="2010"/>
                  </a:lnTo>
                  <a:lnTo>
                    <a:pt x="91" y="2013"/>
                  </a:lnTo>
                  <a:lnTo>
                    <a:pt x="93" y="2016"/>
                  </a:lnTo>
                  <a:lnTo>
                    <a:pt x="94" y="2018"/>
                  </a:lnTo>
                  <a:lnTo>
                    <a:pt x="97" y="2018"/>
                  </a:lnTo>
                  <a:lnTo>
                    <a:pt x="99" y="2019"/>
                  </a:lnTo>
                  <a:lnTo>
                    <a:pt x="100" y="2019"/>
                  </a:lnTo>
                  <a:lnTo>
                    <a:pt x="102" y="2021"/>
                  </a:lnTo>
                  <a:lnTo>
                    <a:pt x="103" y="2024"/>
                  </a:lnTo>
                  <a:lnTo>
                    <a:pt x="103" y="2024"/>
                  </a:lnTo>
                  <a:lnTo>
                    <a:pt x="105" y="2024"/>
                  </a:lnTo>
                  <a:lnTo>
                    <a:pt x="105" y="2024"/>
                  </a:lnTo>
                  <a:lnTo>
                    <a:pt x="105" y="2024"/>
                  </a:lnTo>
                  <a:lnTo>
                    <a:pt x="105" y="2025"/>
                  </a:lnTo>
                  <a:lnTo>
                    <a:pt x="105" y="2025"/>
                  </a:lnTo>
                  <a:lnTo>
                    <a:pt x="105" y="2025"/>
                  </a:lnTo>
                  <a:lnTo>
                    <a:pt x="111" y="2030"/>
                  </a:lnTo>
                  <a:lnTo>
                    <a:pt x="111" y="2031"/>
                  </a:lnTo>
                  <a:lnTo>
                    <a:pt x="110" y="2034"/>
                  </a:lnTo>
                  <a:lnTo>
                    <a:pt x="111" y="2039"/>
                  </a:lnTo>
                  <a:lnTo>
                    <a:pt x="113" y="2041"/>
                  </a:lnTo>
                  <a:lnTo>
                    <a:pt x="114" y="2042"/>
                  </a:lnTo>
                  <a:lnTo>
                    <a:pt x="116" y="2044"/>
                  </a:lnTo>
                  <a:lnTo>
                    <a:pt x="116" y="2047"/>
                  </a:lnTo>
                  <a:lnTo>
                    <a:pt x="117" y="2048"/>
                  </a:lnTo>
                  <a:lnTo>
                    <a:pt x="120" y="2053"/>
                  </a:lnTo>
                  <a:lnTo>
                    <a:pt x="122" y="2053"/>
                  </a:lnTo>
                  <a:lnTo>
                    <a:pt x="124" y="2053"/>
                  </a:lnTo>
                  <a:lnTo>
                    <a:pt x="124" y="2053"/>
                  </a:lnTo>
                  <a:lnTo>
                    <a:pt x="127" y="2053"/>
                  </a:lnTo>
                  <a:lnTo>
                    <a:pt x="128" y="2051"/>
                  </a:lnTo>
                  <a:lnTo>
                    <a:pt x="131" y="2053"/>
                  </a:lnTo>
                  <a:lnTo>
                    <a:pt x="131" y="2054"/>
                  </a:lnTo>
                  <a:lnTo>
                    <a:pt x="133" y="2061"/>
                  </a:lnTo>
                  <a:lnTo>
                    <a:pt x="136" y="2067"/>
                  </a:lnTo>
                  <a:lnTo>
                    <a:pt x="136" y="2068"/>
                  </a:lnTo>
                  <a:lnTo>
                    <a:pt x="136" y="2071"/>
                  </a:lnTo>
                  <a:lnTo>
                    <a:pt x="134" y="2075"/>
                  </a:lnTo>
                  <a:lnTo>
                    <a:pt x="133" y="2078"/>
                  </a:lnTo>
                  <a:lnTo>
                    <a:pt x="133" y="2079"/>
                  </a:lnTo>
                  <a:lnTo>
                    <a:pt x="128" y="2081"/>
                  </a:lnTo>
                  <a:lnTo>
                    <a:pt x="119" y="2078"/>
                  </a:lnTo>
                  <a:lnTo>
                    <a:pt x="114" y="2079"/>
                  </a:lnTo>
                  <a:lnTo>
                    <a:pt x="113" y="2084"/>
                  </a:lnTo>
                  <a:lnTo>
                    <a:pt x="114" y="2087"/>
                  </a:lnTo>
                  <a:lnTo>
                    <a:pt x="120" y="2091"/>
                  </a:lnTo>
                  <a:lnTo>
                    <a:pt x="124" y="2098"/>
                  </a:lnTo>
                  <a:lnTo>
                    <a:pt x="125" y="2101"/>
                  </a:lnTo>
                  <a:lnTo>
                    <a:pt x="128" y="2102"/>
                  </a:lnTo>
                  <a:lnTo>
                    <a:pt x="128" y="2104"/>
                  </a:lnTo>
                  <a:lnTo>
                    <a:pt x="128" y="2107"/>
                  </a:lnTo>
                  <a:lnTo>
                    <a:pt x="127" y="2108"/>
                  </a:lnTo>
                  <a:lnTo>
                    <a:pt x="125" y="2110"/>
                  </a:lnTo>
                  <a:lnTo>
                    <a:pt x="124" y="2110"/>
                  </a:lnTo>
                  <a:lnTo>
                    <a:pt x="120" y="2108"/>
                  </a:lnTo>
                  <a:lnTo>
                    <a:pt x="120" y="2110"/>
                  </a:lnTo>
                  <a:lnTo>
                    <a:pt x="119" y="2110"/>
                  </a:lnTo>
                  <a:lnTo>
                    <a:pt x="119" y="2110"/>
                  </a:lnTo>
                  <a:lnTo>
                    <a:pt x="117" y="2110"/>
                  </a:lnTo>
                  <a:lnTo>
                    <a:pt x="117" y="2108"/>
                  </a:lnTo>
                  <a:lnTo>
                    <a:pt x="116" y="2108"/>
                  </a:lnTo>
                  <a:lnTo>
                    <a:pt x="116" y="2108"/>
                  </a:lnTo>
                  <a:lnTo>
                    <a:pt x="114" y="2105"/>
                  </a:lnTo>
                  <a:lnTo>
                    <a:pt x="114" y="2105"/>
                  </a:lnTo>
                  <a:lnTo>
                    <a:pt x="99" y="2099"/>
                  </a:lnTo>
                  <a:lnTo>
                    <a:pt x="100" y="2101"/>
                  </a:lnTo>
                  <a:lnTo>
                    <a:pt x="103" y="2102"/>
                  </a:lnTo>
                  <a:lnTo>
                    <a:pt x="105" y="2105"/>
                  </a:lnTo>
                  <a:lnTo>
                    <a:pt x="107" y="2110"/>
                  </a:lnTo>
                  <a:lnTo>
                    <a:pt x="107" y="2111"/>
                  </a:lnTo>
                  <a:lnTo>
                    <a:pt x="107" y="2116"/>
                  </a:lnTo>
                  <a:lnTo>
                    <a:pt x="108" y="2116"/>
                  </a:lnTo>
                  <a:lnTo>
                    <a:pt x="111" y="2124"/>
                  </a:lnTo>
                  <a:lnTo>
                    <a:pt x="111" y="2124"/>
                  </a:lnTo>
                  <a:lnTo>
                    <a:pt x="117" y="2133"/>
                  </a:lnTo>
                  <a:lnTo>
                    <a:pt x="119" y="2135"/>
                  </a:lnTo>
                  <a:lnTo>
                    <a:pt x="119" y="2136"/>
                  </a:lnTo>
                  <a:lnTo>
                    <a:pt x="119" y="2138"/>
                  </a:lnTo>
                  <a:lnTo>
                    <a:pt x="120" y="2139"/>
                  </a:lnTo>
                  <a:lnTo>
                    <a:pt x="122" y="2141"/>
                  </a:lnTo>
                  <a:lnTo>
                    <a:pt x="122" y="2142"/>
                  </a:lnTo>
                  <a:lnTo>
                    <a:pt x="124" y="2144"/>
                  </a:lnTo>
                  <a:lnTo>
                    <a:pt x="124" y="2147"/>
                  </a:lnTo>
                  <a:lnTo>
                    <a:pt x="125" y="2147"/>
                  </a:lnTo>
                  <a:lnTo>
                    <a:pt x="125" y="2148"/>
                  </a:lnTo>
                  <a:lnTo>
                    <a:pt x="125" y="2148"/>
                  </a:lnTo>
                  <a:lnTo>
                    <a:pt x="127" y="2148"/>
                  </a:lnTo>
                  <a:lnTo>
                    <a:pt x="127" y="2150"/>
                  </a:lnTo>
                  <a:lnTo>
                    <a:pt x="127" y="2152"/>
                  </a:lnTo>
                  <a:lnTo>
                    <a:pt x="127" y="2153"/>
                  </a:lnTo>
                  <a:lnTo>
                    <a:pt x="127" y="2155"/>
                  </a:lnTo>
                  <a:lnTo>
                    <a:pt x="130" y="2158"/>
                  </a:lnTo>
                  <a:lnTo>
                    <a:pt x="133" y="2159"/>
                  </a:lnTo>
                  <a:lnTo>
                    <a:pt x="134" y="2162"/>
                  </a:lnTo>
                  <a:lnTo>
                    <a:pt x="136" y="2167"/>
                  </a:lnTo>
                  <a:lnTo>
                    <a:pt x="136" y="2168"/>
                  </a:lnTo>
                  <a:lnTo>
                    <a:pt x="136" y="2170"/>
                  </a:lnTo>
                  <a:lnTo>
                    <a:pt x="134" y="2170"/>
                  </a:lnTo>
                  <a:lnTo>
                    <a:pt x="134" y="2172"/>
                  </a:lnTo>
                  <a:lnTo>
                    <a:pt x="134" y="2173"/>
                  </a:lnTo>
                  <a:lnTo>
                    <a:pt x="136" y="2173"/>
                  </a:lnTo>
                  <a:lnTo>
                    <a:pt x="137" y="2173"/>
                  </a:lnTo>
                  <a:lnTo>
                    <a:pt x="139" y="2176"/>
                  </a:lnTo>
                  <a:lnTo>
                    <a:pt x="140" y="2176"/>
                  </a:lnTo>
                  <a:lnTo>
                    <a:pt x="142" y="2176"/>
                  </a:lnTo>
                  <a:lnTo>
                    <a:pt x="142" y="2178"/>
                  </a:lnTo>
                  <a:lnTo>
                    <a:pt x="144" y="2179"/>
                  </a:lnTo>
                  <a:lnTo>
                    <a:pt x="145" y="2181"/>
                  </a:lnTo>
                  <a:lnTo>
                    <a:pt x="145" y="2182"/>
                  </a:lnTo>
                  <a:lnTo>
                    <a:pt x="145" y="2184"/>
                  </a:lnTo>
                  <a:lnTo>
                    <a:pt x="144" y="2187"/>
                  </a:lnTo>
                  <a:lnTo>
                    <a:pt x="144" y="2188"/>
                  </a:lnTo>
                  <a:lnTo>
                    <a:pt x="142" y="2188"/>
                  </a:lnTo>
                  <a:lnTo>
                    <a:pt x="137" y="2193"/>
                  </a:lnTo>
                  <a:lnTo>
                    <a:pt x="136" y="2195"/>
                  </a:lnTo>
                  <a:lnTo>
                    <a:pt x="134" y="2199"/>
                  </a:lnTo>
                  <a:lnTo>
                    <a:pt x="136" y="2202"/>
                  </a:lnTo>
                  <a:lnTo>
                    <a:pt x="139" y="2208"/>
                  </a:lnTo>
                  <a:lnTo>
                    <a:pt x="139" y="2213"/>
                  </a:lnTo>
                  <a:lnTo>
                    <a:pt x="139" y="2212"/>
                  </a:lnTo>
                  <a:lnTo>
                    <a:pt x="137" y="2212"/>
                  </a:lnTo>
                  <a:lnTo>
                    <a:pt x="137" y="2213"/>
                  </a:lnTo>
                  <a:lnTo>
                    <a:pt x="137" y="2215"/>
                  </a:lnTo>
                  <a:lnTo>
                    <a:pt x="137" y="2216"/>
                  </a:lnTo>
                  <a:lnTo>
                    <a:pt x="136" y="2216"/>
                  </a:lnTo>
                  <a:lnTo>
                    <a:pt x="133" y="2216"/>
                  </a:lnTo>
                  <a:lnTo>
                    <a:pt x="133" y="2216"/>
                  </a:lnTo>
                  <a:lnTo>
                    <a:pt x="131" y="2215"/>
                  </a:lnTo>
                  <a:lnTo>
                    <a:pt x="131" y="2215"/>
                  </a:lnTo>
                  <a:lnTo>
                    <a:pt x="131" y="2215"/>
                  </a:lnTo>
                  <a:lnTo>
                    <a:pt x="130" y="2215"/>
                  </a:lnTo>
                  <a:lnTo>
                    <a:pt x="128" y="2219"/>
                  </a:lnTo>
                  <a:lnTo>
                    <a:pt x="128" y="2221"/>
                  </a:lnTo>
                  <a:lnTo>
                    <a:pt x="130" y="2221"/>
                  </a:lnTo>
                  <a:lnTo>
                    <a:pt x="131" y="2221"/>
                  </a:lnTo>
                  <a:lnTo>
                    <a:pt x="133" y="2219"/>
                  </a:lnTo>
                  <a:lnTo>
                    <a:pt x="133" y="2219"/>
                  </a:lnTo>
                  <a:lnTo>
                    <a:pt x="134" y="2221"/>
                  </a:lnTo>
                  <a:lnTo>
                    <a:pt x="134" y="2221"/>
                  </a:lnTo>
                  <a:lnTo>
                    <a:pt x="136" y="2221"/>
                  </a:lnTo>
                  <a:lnTo>
                    <a:pt x="136" y="2219"/>
                  </a:lnTo>
                  <a:lnTo>
                    <a:pt x="137" y="2219"/>
                  </a:lnTo>
                  <a:lnTo>
                    <a:pt x="139" y="2218"/>
                  </a:lnTo>
                  <a:lnTo>
                    <a:pt x="140" y="2219"/>
                  </a:lnTo>
                  <a:lnTo>
                    <a:pt x="140" y="2219"/>
                  </a:lnTo>
                  <a:lnTo>
                    <a:pt x="142" y="2221"/>
                  </a:lnTo>
                  <a:lnTo>
                    <a:pt x="142" y="2221"/>
                  </a:lnTo>
                  <a:lnTo>
                    <a:pt x="144" y="2221"/>
                  </a:lnTo>
                  <a:lnTo>
                    <a:pt x="145" y="2221"/>
                  </a:lnTo>
                  <a:lnTo>
                    <a:pt x="150" y="2221"/>
                  </a:lnTo>
                  <a:lnTo>
                    <a:pt x="162" y="2225"/>
                  </a:lnTo>
                  <a:lnTo>
                    <a:pt x="164" y="2227"/>
                  </a:lnTo>
                  <a:lnTo>
                    <a:pt x="168" y="2225"/>
                  </a:lnTo>
                  <a:lnTo>
                    <a:pt x="171" y="2225"/>
                  </a:lnTo>
                  <a:lnTo>
                    <a:pt x="177" y="2221"/>
                  </a:lnTo>
                  <a:lnTo>
                    <a:pt x="181" y="2219"/>
                  </a:lnTo>
                  <a:lnTo>
                    <a:pt x="184" y="2221"/>
                  </a:lnTo>
                  <a:lnTo>
                    <a:pt x="185" y="2219"/>
                  </a:lnTo>
                  <a:lnTo>
                    <a:pt x="185" y="2218"/>
                  </a:lnTo>
                  <a:lnTo>
                    <a:pt x="187" y="2218"/>
                  </a:lnTo>
                  <a:lnTo>
                    <a:pt x="187" y="2216"/>
                  </a:lnTo>
                  <a:lnTo>
                    <a:pt x="188" y="2216"/>
                  </a:lnTo>
                  <a:lnTo>
                    <a:pt x="199" y="2215"/>
                  </a:lnTo>
                  <a:lnTo>
                    <a:pt x="202" y="2216"/>
                  </a:lnTo>
                  <a:lnTo>
                    <a:pt x="204" y="2216"/>
                  </a:lnTo>
                  <a:lnTo>
                    <a:pt x="204" y="2216"/>
                  </a:lnTo>
                  <a:lnTo>
                    <a:pt x="207" y="2215"/>
                  </a:lnTo>
                  <a:lnTo>
                    <a:pt x="207" y="2215"/>
                  </a:lnTo>
                  <a:lnTo>
                    <a:pt x="210" y="2215"/>
                  </a:lnTo>
                  <a:lnTo>
                    <a:pt x="211" y="2215"/>
                  </a:lnTo>
                  <a:lnTo>
                    <a:pt x="217" y="2219"/>
                  </a:lnTo>
                  <a:lnTo>
                    <a:pt x="219" y="2219"/>
                  </a:lnTo>
                  <a:lnTo>
                    <a:pt x="222" y="2221"/>
                  </a:lnTo>
                  <a:lnTo>
                    <a:pt x="227" y="2221"/>
                  </a:lnTo>
                  <a:lnTo>
                    <a:pt x="228" y="2219"/>
                  </a:lnTo>
                  <a:lnTo>
                    <a:pt x="230" y="2219"/>
                  </a:lnTo>
                  <a:lnTo>
                    <a:pt x="231" y="2216"/>
                  </a:lnTo>
                  <a:lnTo>
                    <a:pt x="234" y="2210"/>
                  </a:lnTo>
                  <a:lnTo>
                    <a:pt x="236" y="2210"/>
                  </a:lnTo>
                  <a:lnTo>
                    <a:pt x="237" y="2208"/>
                  </a:lnTo>
                  <a:lnTo>
                    <a:pt x="241" y="2204"/>
                  </a:lnTo>
                  <a:lnTo>
                    <a:pt x="242" y="2202"/>
                  </a:lnTo>
                  <a:lnTo>
                    <a:pt x="242" y="2199"/>
                  </a:lnTo>
                  <a:lnTo>
                    <a:pt x="242" y="2198"/>
                  </a:lnTo>
                  <a:lnTo>
                    <a:pt x="239" y="2192"/>
                  </a:lnTo>
                  <a:lnTo>
                    <a:pt x="237" y="2190"/>
                  </a:lnTo>
                  <a:lnTo>
                    <a:pt x="236" y="2190"/>
                  </a:lnTo>
                  <a:lnTo>
                    <a:pt x="236" y="2188"/>
                  </a:lnTo>
                  <a:lnTo>
                    <a:pt x="236" y="2187"/>
                  </a:lnTo>
                  <a:lnTo>
                    <a:pt x="236" y="2185"/>
                  </a:lnTo>
                  <a:lnTo>
                    <a:pt x="236" y="2184"/>
                  </a:lnTo>
                  <a:lnTo>
                    <a:pt x="234" y="2182"/>
                  </a:lnTo>
                  <a:lnTo>
                    <a:pt x="231" y="2179"/>
                  </a:lnTo>
                  <a:lnTo>
                    <a:pt x="230" y="2178"/>
                  </a:lnTo>
                  <a:lnTo>
                    <a:pt x="230" y="2176"/>
                  </a:lnTo>
                  <a:lnTo>
                    <a:pt x="230" y="2173"/>
                  </a:lnTo>
                  <a:lnTo>
                    <a:pt x="230" y="2168"/>
                  </a:lnTo>
                  <a:lnTo>
                    <a:pt x="230" y="2164"/>
                  </a:lnTo>
                  <a:lnTo>
                    <a:pt x="233" y="2158"/>
                  </a:lnTo>
                  <a:lnTo>
                    <a:pt x="234" y="2153"/>
                  </a:lnTo>
                  <a:lnTo>
                    <a:pt x="237" y="2152"/>
                  </a:lnTo>
                  <a:lnTo>
                    <a:pt x="239" y="2152"/>
                  </a:lnTo>
                  <a:lnTo>
                    <a:pt x="239" y="2148"/>
                  </a:lnTo>
                  <a:lnTo>
                    <a:pt x="241" y="2145"/>
                  </a:lnTo>
                  <a:lnTo>
                    <a:pt x="242" y="2145"/>
                  </a:lnTo>
                  <a:lnTo>
                    <a:pt x="244" y="2144"/>
                  </a:lnTo>
                  <a:lnTo>
                    <a:pt x="245" y="2142"/>
                  </a:lnTo>
                  <a:lnTo>
                    <a:pt x="248" y="2139"/>
                  </a:lnTo>
                  <a:lnTo>
                    <a:pt x="250" y="2136"/>
                  </a:lnTo>
                  <a:lnTo>
                    <a:pt x="251" y="2135"/>
                  </a:lnTo>
                  <a:lnTo>
                    <a:pt x="254" y="2135"/>
                  </a:lnTo>
                  <a:lnTo>
                    <a:pt x="254" y="2133"/>
                  </a:lnTo>
                  <a:lnTo>
                    <a:pt x="256" y="2133"/>
                  </a:lnTo>
                  <a:lnTo>
                    <a:pt x="258" y="2131"/>
                  </a:lnTo>
                  <a:lnTo>
                    <a:pt x="258" y="2131"/>
                  </a:lnTo>
                  <a:lnTo>
                    <a:pt x="258" y="2133"/>
                  </a:lnTo>
                  <a:lnTo>
                    <a:pt x="258" y="2135"/>
                  </a:lnTo>
                  <a:lnTo>
                    <a:pt x="259" y="2131"/>
                  </a:lnTo>
                  <a:lnTo>
                    <a:pt x="259" y="2133"/>
                  </a:lnTo>
                  <a:lnTo>
                    <a:pt x="261" y="2135"/>
                  </a:lnTo>
                  <a:lnTo>
                    <a:pt x="261" y="2136"/>
                  </a:lnTo>
                  <a:lnTo>
                    <a:pt x="261" y="2136"/>
                  </a:lnTo>
                  <a:lnTo>
                    <a:pt x="261" y="2138"/>
                  </a:lnTo>
                  <a:lnTo>
                    <a:pt x="261" y="2138"/>
                  </a:lnTo>
                  <a:lnTo>
                    <a:pt x="261" y="2138"/>
                  </a:lnTo>
                  <a:lnTo>
                    <a:pt x="264" y="2138"/>
                  </a:lnTo>
                  <a:lnTo>
                    <a:pt x="264" y="2138"/>
                  </a:lnTo>
                  <a:lnTo>
                    <a:pt x="264" y="2139"/>
                  </a:lnTo>
                  <a:lnTo>
                    <a:pt x="265" y="2139"/>
                  </a:lnTo>
                  <a:lnTo>
                    <a:pt x="265" y="2138"/>
                  </a:lnTo>
                  <a:lnTo>
                    <a:pt x="265" y="2138"/>
                  </a:lnTo>
                  <a:lnTo>
                    <a:pt x="267" y="2138"/>
                  </a:lnTo>
                  <a:lnTo>
                    <a:pt x="268" y="2139"/>
                  </a:lnTo>
                  <a:lnTo>
                    <a:pt x="268" y="2139"/>
                  </a:lnTo>
                  <a:lnTo>
                    <a:pt x="268" y="2139"/>
                  </a:lnTo>
                  <a:lnTo>
                    <a:pt x="270" y="2138"/>
                  </a:lnTo>
                  <a:lnTo>
                    <a:pt x="270" y="2136"/>
                  </a:lnTo>
                  <a:lnTo>
                    <a:pt x="271" y="2136"/>
                  </a:lnTo>
                  <a:lnTo>
                    <a:pt x="271" y="2136"/>
                  </a:lnTo>
                  <a:lnTo>
                    <a:pt x="271" y="2133"/>
                  </a:lnTo>
                  <a:lnTo>
                    <a:pt x="271" y="2131"/>
                  </a:lnTo>
                  <a:lnTo>
                    <a:pt x="268" y="2128"/>
                  </a:lnTo>
                  <a:lnTo>
                    <a:pt x="268" y="2127"/>
                  </a:lnTo>
                  <a:lnTo>
                    <a:pt x="268" y="2125"/>
                  </a:lnTo>
                  <a:lnTo>
                    <a:pt x="267" y="2125"/>
                  </a:lnTo>
                  <a:lnTo>
                    <a:pt x="267" y="2125"/>
                  </a:lnTo>
                  <a:lnTo>
                    <a:pt x="265" y="2124"/>
                  </a:lnTo>
                  <a:lnTo>
                    <a:pt x="265" y="2122"/>
                  </a:lnTo>
                  <a:lnTo>
                    <a:pt x="265" y="2121"/>
                  </a:lnTo>
                  <a:lnTo>
                    <a:pt x="265" y="2121"/>
                  </a:lnTo>
                  <a:lnTo>
                    <a:pt x="267" y="2118"/>
                  </a:lnTo>
                  <a:lnTo>
                    <a:pt x="268" y="2118"/>
                  </a:lnTo>
                  <a:lnTo>
                    <a:pt x="273" y="2118"/>
                  </a:lnTo>
                  <a:lnTo>
                    <a:pt x="274" y="2118"/>
                  </a:lnTo>
                  <a:lnTo>
                    <a:pt x="276" y="2119"/>
                  </a:lnTo>
                  <a:lnTo>
                    <a:pt x="276" y="2121"/>
                  </a:lnTo>
                  <a:lnTo>
                    <a:pt x="278" y="2121"/>
                  </a:lnTo>
                  <a:lnTo>
                    <a:pt x="278" y="2118"/>
                  </a:lnTo>
                  <a:lnTo>
                    <a:pt x="281" y="2118"/>
                  </a:lnTo>
                  <a:lnTo>
                    <a:pt x="282" y="2118"/>
                  </a:lnTo>
                  <a:lnTo>
                    <a:pt x="284" y="2118"/>
                  </a:lnTo>
                  <a:lnTo>
                    <a:pt x="285" y="2116"/>
                  </a:lnTo>
                  <a:lnTo>
                    <a:pt x="288" y="2118"/>
                  </a:lnTo>
                  <a:lnTo>
                    <a:pt x="293" y="2119"/>
                  </a:lnTo>
                  <a:lnTo>
                    <a:pt x="293" y="2118"/>
                  </a:lnTo>
                  <a:lnTo>
                    <a:pt x="293" y="2116"/>
                  </a:lnTo>
                  <a:lnTo>
                    <a:pt x="291" y="2116"/>
                  </a:lnTo>
                  <a:lnTo>
                    <a:pt x="293" y="2116"/>
                  </a:lnTo>
                  <a:lnTo>
                    <a:pt x="294" y="2115"/>
                  </a:lnTo>
                  <a:lnTo>
                    <a:pt x="294" y="2115"/>
                  </a:lnTo>
                  <a:lnTo>
                    <a:pt x="296" y="2116"/>
                  </a:lnTo>
                  <a:lnTo>
                    <a:pt x="296" y="2118"/>
                  </a:lnTo>
                  <a:lnTo>
                    <a:pt x="296" y="2118"/>
                  </a:lnTo>
                  <a:lnTo>
                    <a:pt x="299" y="2118"/>
                  </a:lnTo>
                  <a:lnTo>
                    <a:pt x="299" y="2118"/>
                  </a:lnTo>
                  <a:lnTo>
                    <a:pt x="301" y="2118"/>
                  </a:lnTo>
                  <a:lnTo>
                    <a:pt x="301" y="2118"/>
                  </a:lnTo>
                  <a:lnTo>
                    <a:pt x="302" y="2118"/>
                  </a:lnTo>
                  <a:lnTo>
                    <a:pt x="304" y="2119"/>
                  </a:lnTo>
                  <a:lnTo>
                    <a:pt x="307" y="2119"/>
                  </a:lnTo>
                  <a:lnTo>
                    <a:pt x="310" y="2116"/>
                  </a:lnTo>
                  <a:lnTo>
                    <a:pt x="311" y="2115"/>
                  </a:lnTo>
                  <a:lnTo>
                    <a:pt x="313" y="2118"/>
                  </a:lnTo>
                  <a:lnTo>
                    <a:pt x="313" y="2119"/>
                  </a:lnTo>
                  <a:lnTo>
                    <a:pt x="313" y="2119"/>
                  </a:lnTo>
                  <a:lnTo>
                    <a:pt x="311" y="2121"/>
                  </a:lnTo>
                  <a:lnTo>
                    <a:pt x="313" y="2121"/>
                  </a:lnTo>
                  <a:lnTo>
                    <a:pt x="313" y="2121"/>
                  </a:lnTo>
                  <a:lnTo>
                    <a:pt x="316" y="2121"/>
                  </a:lnTo>
                  <a:lnTo>
                    <a:pt x="318" y="2121"/>
                  </a:lnTo>
                  <a:lnTo>
                    <a:pt x="318" y="2119"/>
                  </a:lnTo>
                  <a:lnTo>
                    <a:pt x="318" y="2118"/>
                  </a:lnTo>
                  <a:lnTo>
                    <a:pt x="319" y="2116"/>
                  </a:lnTo>
                  <a:lnTo>
                    <a:pt x="319" y="2116"/>
                  </a:lnTo>
                  <a:lnTo>
                    <a:pt x="321" y="2116"/>
                  </a:lnTo>
                  <a:lnTo>
                    <a:pt x="322" y="2116"/>
                  </a:lnTo>
                  <a:lnTo>
                    <a:pt x="322" y="2116"/>
                  </a:lnTo>
                  <a:lnTo>
                    <a:pt x="324" y="2118"/>
                  </a:lnTo>
                  <a:lnTo>
                    <a:pt x="324" y="2118"/>
                  </a:lnTo>
                  <a:lnTo>
                    <a:pt x="325" y="2119"/>
                  </a:lnTo>
                  <a:lnTo>
                    <a:pt x="325" y="2119"/>
                  </a:lnTo>
                  <a:lnTo>
                    <a:pt x="325" y="2116"/>
                  </a:lnTo>
                  <a:lnTo>
                    <a:pt x="327" y="2116"/>
                  </a:lnTo>
                  <a:lnTo>
                    <a:pt x="330" y="2115"/>
                  </a:lnTo>
                  <a:lnTo>
                    <a:pt x="331" y="2111"/>
                  </a:lnTo>
                  <a:lnTo>
                    <a:pt x="333" y="2111"/>
                  </a:lnTo>
                  <a:lnTo>
                    <a:pt x="333" y="2113"/>
                  </a:lnTo>
                  <a:lnTo>
                    <a:pt x="333" y="2115"/>
                  </a:lnTo>
                  <a:lnTo>
                    <a:pt x="333" y="2116"/>
                  </a:lnTo>
                  <a:lnTo>
                    <a:pt x="333" y="2116"/>
                  </a:lnTo>
                  <a:lnTo>
                    <a:pt x="333" y="2118"/>
                  </a:lnTo>
                  <a:lnTo>
                    <a:pt x="335" y="2118"/>
                  </a:lnTo>
                  <a:lnTo>
                    <a:pt x="336" y="2115"/>
                  </a:lnTo>
                  <a:lnTo>
                    <a:pt x="338" y="2113"/>
                  </a:lnTo>
                  <a:lnTo>
                    <a:pt x="338" y="2115"/>
                  </a:lnTo>
                  <a:lnTo>
                    <a:pt x="339" y="2115"/>
                  </a:lnTo>
                  <a:lnTo>
                    <a:pt x="341" y="2116"/>
                  </a:lnTo>
                  <a:lnTo>
                    <a:pt x="341" y="2116"/>
                  </a:lnTo>
                  <a:lnTo>
                    <a:pt x="341" y="2116"/>
                  </a:lnTo>
                  <a:lnTo>
                    <a:pt x="342" y="2118"/>
                  </a:lnTo>
                  <a:lnTo>
                    <a:pt x="342" y="2116"/>
                  </a:lnTo>
                  <a:lnTo>
                    <a:pt x="344" y="2119"/>
                  </a:lnTo>
                  <a:lnTo>
                    <a:pt x="345" y="2119"/>
                  </a:lnTo>
                  <a:lnTo>
                    <a:pt x="350" y="2118"/>
                  </a:lnTo>
                  <a:lnTo>
                    <a:pt x="351" y="2119"/>
                  </a:lnTo>
                  <a:lnTo>
                    <a:pt x="350" y="2121"/>
                  </a:lnTo>
                  <a:lnTo>
                    <a:pt x="348" y="2125"/>
                  </a:lnTo>
                  <a:lnTo>
                    <a:pt x="350" y="2127"/>
                  </a:lnTo>
                  <a:lnTo>
                    <a:pt x="351" y="2128"/>
                  </a:lnTo>
                  <a:lnTo>
                    <a:pt x="353" y="2128"/>
                  </a:lnTo>
                  <a:lnTo>
                    <a:pt x="355" y="2125"/>
                  </a:lnTo>
                  <a:lnTo>
                    <a:pt x="359" y="2116"/>
                  </a:lnTo>
                  <a:lnTo>
                    <a:pt x="361" y="2115"/>
                  </a:lnTo>
                  <a:lnTo>
                    <a:pt x="362" y="2111"/>
                  </a:lnTo>
                  <a:lnTo>
                    <a:pt x="364" y="2110"/>
                  </a:lnTo>
                  <a:lnTo>
                    <a:pt x="365" y="2110"/>
                  </a:lnTo>
                  <a:lnTo>
                    <a:pt x="365" y="2108"/>
                  </a:lnTo>
                  <a:lnTo>
                    <a:pt x="365" y="2107"/>
                  </a:lnTo>
                  <a:lnTo>
                    <a:pt x="367" y="2107"/>
                  </a:lnTo>
                  <a:lnTo>
                    <a:pt x="367" y="2105"/>
                  </a:lnTo>
                  <a:lnTo>
                    <a:pt x="368" y="2095"/>
                  </a:lnTo>
                  <a:lnTo>
                    <a:pt x="371" y="2084"/>
                  </a:lnTo>
                  <a:lnTo>
                    <a:pt x="373" y="2079"/>
                  </a:lnTo>
                  <a:lnTo>
                    <a:pt x="376" y="2071"/>
                  </a:lnTo>
                  <a:lnTo>
                    <a:pt x="376" y="2068"/>
                  </a:lnTo>
                  <a:lnTo>
                    <a:pt x="378" y="2068"/>
                  </a:lnTo>
                  <a:lnTo>
                    <a:pt x="379" y="2068"/>
                  </a:lnTo>
                  <a:lnTo>
                    <a:pt x="379" y="2067"/>
                  </a:lnTo>
                  <a:lnTo>
                    <a:pt x="379" y="2064"/>
                  </a:lnTo>
                  <a:lnTo>
                    <a:pt x="381" y="2061"/>
                  </a:lnTo>
                  <a:lnTo>
                    <a:pt x="381" y="2059"/>
                  </a:lnTo>
                  <a:lnTo>
                    <a:pt x="381" y="2058"/>
                  </a:lnTo>
                  <a:lnTo>
                    <a:pt x="381" y="2058"/>
                  </a:lnTo>
                  <a:lnTo>
                    <a:pt x="382" y="2053"/>
                  </a:lnTo>
                  <a:lnTo>
                    <a:pt x="382" y="2053"/>
                  </a:lnTo>
                  <a:lnTo>
                    <a:pt x="384" y="2051"/>
                  </a:lnTo>
                  <a:lnTo>
                    <a:pt x="384" y="2051"/>
                  </a:lnTo>
                  <a:lnTo>
                    <a:pt x="385" y="2051"/>
                  </a:lnTo>
                  <a:lnTo>
                    <a:pt x="387" y="2051"/>
                  </a:lnTo>
                  <a:lnTo>
                    <a:pt x="388" y="2053"/>
                  </a:lnTo>
                  <a:lnTo>
                    <a:pt x="390" y="2053"/>
                  </a:lnTo>
                  <a:lnTo>
                    <a:pt x="390" y="2051"/>
                  </a:lnTo>
                  <a:lnTo>
                    <a:pt x="392" y="2051"/>
                  </a:lnTo>
                  <a:lnTo>
                    <a:pt x="392" y="2048"/>
                  </a:lnTo>
                  <a:lnTo>
                    <a:pt x="392" y="2047"/>
                  </a:lnTo>
                  <a:lnTo>
                    <a:pt x="392" y="2042"/>
                  </a:lnTo>
                  <a:lnTo>
                    <a:pt x="392" y="2039"/>
                  </a:lnTo>
                  <a:lnTo>
                    <a:pt x="390" y="2038"/>
                  </a:lnTo>
                  <a:lnTo>
                    <a:pt x="390" y="2038"/>
                  </a:lnTo>
                  <a:lnTo>
                    <a:pt x="392" y="2038"/>
                  </a:lnTo>
                  <a:lnTo>
                    <a:pt x="393" y="2036"/>
                  </a:lnTo>
                  <a:lnTo>
                    <a:pt x="395" y="2036"/>
                  </a:lnTo>
                  <a:lnTo>
                    <a:pt x="396" y="2036"/>
                  </a:lnTo>
                  <a:lnTo>
                    <a:pt x="398" y="2036"/>
                  </a:lnTo>
                  <a:lnTo>
                    <a:pt x="399" y="2036"/>
                  </a:lnTo>
                  <a:lnTo>
                    <a:pt x="399" y="2036"/>
                  </a:lnTo>
                  <a:lnTo>
                    <a:pt x="399" y="2034"/>
                  </a:lnTo>
                  <a:lnTo>
                    <a:pt x="399" y="2033"/>
                  </a:lnTo>
                  <a:lnTo>
                    <a:pt x="398" y="2033"/>
                  </a:lnTo>
                  <a:lnTo>
                    <a:pt x="398" y="2033"/>
                  </a:lnTo>
                  <a:lnTo>
                    <a:pt x="396" y="2034"/>
                  </a:lnTo>
                  <a:lnTo>
                    <a:pt x="396" y="2034"/>
                  </a:lnTo>
                  <a:lnTo>
                    <a:pt x="395" y="2034"/>
                  </a:lnTo>
                  <a:lnTo>
                    <a:pt x="395" y="2033"/>
                  </a:lnTo>
                  <a:lnTo>
                    <a:pt x="395" y="2031"/>
                  </a:lnTo>
                  <a:lnTo>
                    <a:pt x="396" y="2025"/>
                  </a:lnTo>
                  <a:lnTo>
                    <a:pt x="396" y="2024"/>
                  </a:lnTo>
                  <a:lnTo>
                    <a:pt x="396" y="2022"/>
                  </a:lnTo>
                  <a:lnTo>
                    <a:pt x="396" y="2018"/>
                  </a:lnTo>
                  <a:lnTo>
                    <a:pt x="396" y="2018"/>
                  </a:lnTo>
                  <a:lnTo>
                    <a:pt x="398" y="2013"/>
                  </a:lnTo>
                  <a:lnTo>
                    <a:pt x="399" y="2011"/>
                  </a:lnTo>
                  <a:lnTo>
                    <a:pt x="398" y="2011"/>
                  </a:lnTo>
                  <a:lnTo>
                    <a:pt x="398" y="2010"/>
                  </a:lnTo>
                  <a:lnTo>
                    <a:pt x="396" y="2008"/>
                  </a:lnTo>
                  <a:lnTo>
                    <a:pt x="396" y="2005"/>
                  </a:lnTo>
                  <a:lnTo>
                    <a:pt x="396" y="2004"/>
                  </a:lnTo>
                  <a:lnTo>
                    <a:pt x="398" y="2002"/>
                  </a:lnTo>
                  <a:lnTo>
                    <a:pt x="399" y="2002"/>
                  </a:lnTo>
                  <a:lnTo>
                    <a:pt x="399" y="2001"/>
                  </a:lnTo>
                  <a:lnTo>
                    <a:pt x="398" y="2001"/>
                  </a:lnTo>
                  <a:lnTo>
                    <a:pt x="398" y="1999"/>
                  </a:lnTo>
                  <a:lnTo>
                    <a:pt x="398" y="1999"/>
                  </a:lnTo>
                  <a:lnTo>
                    <a:pt x="396" y="1998"/>
                  </a:lnTo>
                  <a:lnTo>
                    <a:pt x="398" y="1998"/>
                  </a:lnTo>
                  <a:lnTo>
                    <a:pt x="399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2" y="1999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6"/>
                  </a:lnTo>
                  <a:lnTo>
                    <a:pt x="402" y="1996"/>
                  </a:lnTo>
                  <a:lnTo>
                    <a:pt x="404" y="1996"/>
                  </a:lnTo>
                  <a:lnTo>
                    <a:pt x="404" y="1996"/>
                  </a:lnTo>
                  <a:lnTo>
                    <a:pt x="404" y="1998"/>
                  </a:lnTo>
                  <a:lnTo>
                    <a:pt x="404" y="1998"/>
                  </a:lnTo>
                  <a:lnTo>
                    <a:pt x="404" y="1998"/>
                  </a:lnTo>
                  <a:lnTo>
                    <a:pt x="407" y="1999"/>
                  </a:lnTo>
                  <a:lnTo>
                    <a:pt x="407" y="1999"/>
                  </a:lnTo>
                  <a:lnTo>
                    <a:pt x="407" y="1998"/>
                  </a:lnTo>
                  <a:lnTo>
                    <a:pt x="405" y="1996"/>
                  </a:lnTo>
                  <a:lnTo>
                    <a:pt x="405" y="1994"/>
                  </a:lnTo>
                  <a:lnTo>
                    <a:pt x="407" y="1993"/>
                  </a:lnTo>
                  <a:lnTo>
                    <a:pt x="405" y="1990"/>
                  </a:lnTo>
                  <a:lnTo>
                    <a:pt x="404" y="1988"/>
                  </a:lnTo>
                  <a:lnTo>
                    <a:pt x="404" y="1988"/>
                  </a:lnTo>
                  <a:lnTo>
                    <a:pt x="404" y="1990"/>
                  </a:lnTo>
                  <a:lnTo>
                    <a:pt x="402" y="1988"/>
                  </a:lnTo>
                  <a:lnTo>
                    <a:pt x="402" y="1988"/>
                  </a:lnTo>
                  <a:lnTo>
                    <a:pt x="399" y="1984"/>
                  </a:lnTo>
                  <a:lnTo>
                    <a:pt x="398" y="1981"/>
                  </a:lnTo>
                  <a:lnTo>
                    <a:pt x="398" y="1978"/>
                  </a:lnTo>
                  <a:lnTo>
                    <a:pt x="399" y="1974"/>
                  </a:lnTo>
                  <a:lnTo>
                    <a:pt x="401" y="1971"/>
                  </a:lnTo>
                  <a:lnTo>
                    <a:pt x="399" y="1967"/>
                  </a:lnTo>
                  <a:lnTo>
                    <a:pt x="399" y="1965"/>
                  </a:lnTo>
                  <a:lnTo>
                    <a:pt x="405" y="1961"/>
                  </a:lnTo>
                  <a:lnTo>
                    <a:pt x="404" y="1961"/>
                  </a:lnTo>
                  <a:lnTo>
                    <a:pt x="405" y="1959"/>
                  </a:lnTo>
                  <a:lnTo>
                    <a:pt x="405" y="1959"/>
                  </a:lnTo>
                  <a:lnTo>
                    <a:pt x="407" y="1957"/>
                  </a:lnTo>
                  <a:lnTo>
                    <a:pt x="404" y="1956"/>
                  </a:lnTo>
                  <a:lnTo>
                    <a:pt x="404" y="1953"/>
                  </a:lnTo>
                  <a:lnTo>
                    <a:pt x="407" y="1951"/>
                  </a:lnTo>
                  <a:lnTo>
                    <a:pt x="412" y="1953"/>
                  </a:lnTo>
                  <a:lnTo>
                    <a:pt x="410" y="1950"/>
                  </a:lnTo>
                  <a:lnTo>
                    <a:pt x="412" y="1950"/>
                  </a:lnTo>
                  <a:lnTo>
                    <a:pt x="413" y="1948"/>
                  </a:lnTo>
                  <a:lnTo>
                    <a:pt x="415" y="1948"/>
                  </a:lnTo>
                  <a:lnTo>
                    <a:pt x="413" y="1948"/>
                  </a:lnTo>
                  <a:lnTo>
                    <a:pt x="412" y="1947"/>
                  </a:lnTo>
                  <a:lnTo>
                    <a:pt x="412" y="1945"/>
                  </a:lnTo>
                  <a:lnTo>
                    <a:pt x="412" y="1944"/>
                  </a:lnTo>
                  <a:lnTo>
                    <a:pt x="413" y="1942"/>
                  </a:lnTo>
                  <a:lnTo>
                    <a:pt x="413" y="1942"/>
                  </a:lnTo>
                  <a:lnTo>
                    <a:pt x="415" y="1942"/>
                  </a:lnTo>
                  <a:lnTo>
                    <a:pt x="413" y="1939"/>
                  </a:lnTo>
                  <a:lnTo>
                    <a:pt x="415" y="1941"/>
                  </a:lnTo>
                  <a:lnTo>
                    <a:pt x="415" y="1937"/>
                  </a:lnTo>
                  <a:lnTo>
                    <a:pt x="413" y="1934"/>
                  </a:lnTo>
                  <a:lnTo>
                    <a:pt x="410" y="1928"/>
                  </a:lnTo>
                  <a:lnTo>
                    <a:pt x="408" y="1927"/>
                  </a:lnTo>
                  <a:lnTo>
                    <a:pt x="402" y="1927"/>
                  </a:lnTo>
                  <a:lnTo>
                    <a:pt x="402" y="1927"/>
                  </a:lnTo>
                  <a:lnTo>
                    <a:pt x="404" y="1927"/>
                  </a:lnTo>
                  <a:lnTo>
                    <a:pt x="404" y="1925"/>
                  </a:lnTo>
                  <a:lnTo>
                    <a:pt x="402" y="1925"/>
                  </a:lnTo>
                  <a:lnTo>
                    <a:pt x="402" y="1924"/>
                  </a:lnTo>
                  <a:lnTo>
                    <a:pt x="404" y="1924"/>
                  </a:lnTo>
                  <a:lnTo>
                    <a:pt x="404" y="1922"/>
                  </a:lnTo>
                  <a:lnTo>
                    <a:pt x="404" y="1921"/>
                  </a:lnTo>
                  <a:lnTo>
                    <a:pt x="404" y="1921"/>
                  </a:lnTo>
                  <a:lnTo>
                    <a:pt x="402" y="1919"/>
                  </a:lnTo>
                  <a:lnTo>
                    <a:pt x="404" y="1919"/>
                  </a:lnTo>
                  <a:lnTo>
                    <a:pt x="404" y="1919"/>
                  </a:lnTo>
                  <a:lnTo>
                    <a:pt x="404" y="1919"/>
                  </a:lnTo>
                  <a:lnTo>
                    <a:pt x="405" y="1919"/>
                  </a:lnTo>
                  <a:lnTo>
                    <a:pt x="405" y="1921"/>
                  </a:lnTo>
                  <a:lnTo>
                    <a:pt x="405" y="1922"/>
                  </a:lnTo>
                  <a:lnTo>
                    <a:pt x="405" y="1924"/>
                  </a:lnTo>
                  <a:lnTo>
                    <a:pt x="405" y="1924"/>
                  </a:lnTo>
                  <a:lnTo>
                    <a:pt x="407" y="1924"/>
                  </a:lnTo>
                  <a:lnTo>
                    <a:pt x="408" y="1921"/>
                  </a:lnTo>
                  <a:lnTo>
                    <a:pt x="408" y="1921"/>
                  </a:lnTo>
                  <a:lnTo>
                    <a:pt x="410" y="1919"/>
                  </a:lnTo>
                  <a:lnTo>
                    <a:pt x="410" y="1919"/>
                  </a:lnTo>
                  <a:lnTo>
                    <a:pt x="410" y="1919"/>
                  </a:lnTo>
                  <a:lnTo>
                    <a:pt x="410" y="1917"/>
                  </a:lnTo>
                  <a:lnTo>
                    <a:pt x="410" y="1916"/>
                  </a:lnTo>
                  <a:lnTo>
                    <a:pt x="408" y="1916"/>
                  </a:lnTo>
                  <a:lnTo>
                    <a:pt x="408" y="1916"/>
                  </a:lnTo>
                  <a:lnTo>
                    <a:pt x="407" y="1914"/>
                  </a:lnTo>
                  <a:lnTo>
                    <a:pt x="408" y="1914"/>
                  </a:lnTo>
                  <a:lnTo>
                    <a:pt x="410" y="1914"/>
                  </a:lnTo>
                  <a:lnTo>
                    <a:pt x="410" y="1913"/>
                  </a:lnTo>
                  <a:lnTo>
                    <a:pt x="410" y="1911"/>
                  </a:lnTo>
                  <a:lnTo>
                    <a:pt x="408" y="1910"/>
                  </a:lnTo>
                  <a:lnTo>
                    <a:pt x="407" y="1908"/>
                  </a:lnTo>
                  <a:lnTo>
                    <a:pt x="407" y="1907"/>
                  </a:lnTo>
                  <a:lnTo>
                    <a:pt x="408" y="1908"/>
                  </a:lnTo>
                  <a:lnTo>
                    <a:pt x="412" y="1910"/>
                  </a:lnTo>
                  <a:lnTo>
                    <a:pt x="416" y="1910"/>
                  </a:lnTo>
                  <a:lnTo>
                    <a:pt x="416" y="1910"/>
                  </a:lnTo>
                  <a:lnTo>
                    <a:pt x="416" y="1910"/>
                  </a:lnTo>
                  <a:lnTo>
                    <a:pt x="416" y="1908"/>
                  </a:lnTo>
                  <a:lnTo>
                    <a:pt x="418" y="1908"/>
                  </a:lnTo>
                  <a:lnTo>
                    <a:pt x="416" y="1907"/>
                  </a:lnTo>
                  <a:lnTo>
                    <a:pt x="415" y="1905"/>
                  </a:lnTo>
                  <a:lnTo>
                    <a:pt x="415" y="1905"/>
                  </a:lnTo>
                  <a:lnTo>
                    <a:pt x="413" y="1905"/>
                  </a:lnTo>
                  <a:lnTo>
                    <a:pt x="413" y="1904"/>
                  </a:lnTo>
                  <a:lnTo>
                    <a:pt x="413" y="1902"/>
                  </a:lnTo>
                  <a:lnTo>
                    <a:pt x="410" y="1899"/>
                  </a:lnTo>
                  <a:lnTo>
                    <a:pt x="408" y="1899"/>
                  </a:lnTo>
                  <a:lnTo>
                    <a:pt x="408" y="1899"/>
                  </a:lnTo>
                  <a:lnTo>
                    <a:pt x="407" y="1897"/>
                  </a:lnTo>
                  <a:lnTo>
                    <a:pt x="407" y="1896"/>
                  </a:lnTo>
                  <a:lnTo>
                    <a:pt x="407" y="1896"/>
                  </a:lnTo>
                  <a:lnTo>
                    <a:pt x="404" y="1891"/>
                  </a:lnTo>
                  <a:lnTo>
                    <a:pt x="399" y="1888"/>
                  </a:lnTo>
                  <a:lnTo>
                    <a:pt x="396" y="1885"/>
                  </a:lnTo>
                  <a:lnTo>
                    <a:pt x="396" y="1884"/>
                  </a:lnTo>
                  <a:lnTo>
                    <a:pt x="395" y="1882"/>
                  </a:lnTo>
                  <a:lnTo>
                    <a:pt x="404" y="1890"/>
                  </a:lnTo>
                  <a:lnTo>
                    <a:pt x="410" y="1899"/>
                  </a:lnTo>
                  <a:lnTo>
                    <a:pt x="412" y="1899"/>
                  </a:lnTo>
                  <a:lnTo>
                    <a:pt x="415" y="1902"/>
                  </a:lnTo>
                  <a:lnTo>
                    <a:pt x="416" y="1902"/>
                  </a:lnTo>
                  <a:lnTo>
                    <a:pt x="416" y="1902"/>
                  </a:lnTo>
                  <a:lnTo>
                    <a:pt x="415" y="1899"/>
                  </a:lnTo>
                  <a:lnTo>
                    <a:pt x="398" y="1882"/>
                  </a:lnTo>
                  <a:lnTo>
                    <a:pt x="398" y="1880"/>
                  </a:lnTo>
                  <a:lnTo>
                    <a:pt x="399" y="1880"/>
                  </a:lnTo>
                  <a:lnTo>
                    <a:pt x="401" y="1882"/>
                  </a:lnTo>
                  <a:lnTo>
                    <a:pt x="401" y="1880"/>
                  </a:lnTo>
                  <a:lnTo>
                    <a:pt x="399" y="1879"/>
                  </a:lnTo>
                  <a:lnTo>
                    <a:pt x="402" y="1880"/>
                  </a:lnTo>
                  <a:lnTo>
                    <a:pt x="404" y="1880"/>
                  </a:lnTo>
                  <a:lnTo>
                    <a:pt x="405" y="1882"/>
                  </a:lnTo>
                  <a:lnTo>
                    <a:pt x="407" y="1882"/>
                  </a:lnTo>
                  <a:lnTo>
                    <a:pt x="407" y="1880"/>
                  </a:lnTo>
                  <a:lnTo>
                    <a:pt x="407" y="1879"/>
                  </a:lnTo>
                  <a:lnTo>
                    <a:pt x="407" y="1877"/>
                  </a:lnTo>
                  <a:lnTo>
                    <a:pt x="407" y="1877"/>
                  </a:lnTo>
                  <a:lnTo>
                    <a:pt x="407" y="1876"/>
                  </a:lnTo>
                  <a:lnTo>
                    <a:pt x="408" y="1876"/>
                  </a:lnTo>
                  <a:lnTo>
                    <a:pt x="404" y="1874"/>
                  </a:lnTo>
                  <a:lnTo>
                    <a:pt x="401" y="1871"/>
                  </a:lnTo>
                  <a:lnTo>
                    <a:pt x="401" y="1870"/>
                  </a:lnTo>
                  <a:lnTo>
                    <a:pt x="401" y="1870"/>
                  </a:lnTo>
                  <a:lnTo>
                    <a:pt x="401" y="1868"/>
                  </a:lnTo>
                  <a:lnTo>
                    <a:pt x="401" y="1867"/>
                  </a:lnTo>
                  <a:lnTo>
                    <a:pt x="402" y="1867"/>
                  </a:lnTo>
                  <a:lnTo>
                    <a:pt x="412" y="1877"/>
                  </a:lnTo>
                  <a:lnTo>
                    <a:pt x="412" y="1877"/>
                  </a:lnTo>
                  <a:lnTo>
                    <a:pt x="410" y="1877"/>
                  </a:lnTo>
                  <a:lnTo>
                    <a:pt x="410" y="1876"/>
                  </a:lnTo>
                  <a:lnTo>
                    <a:pt x="408" y="1877"/>
                  </a:lnTo>
                  <a:lnTo>
                    <a:pt x="410" y="1877"/>
                  </a:lnTo>
                  <a:lnTo>
                    <a:pt x="410" y="1879"/>
                  </a:lnTo>
                  <a:lnTo>
                    <a:pt x="410" y="1880"/>
                  </a:lnTo>
                  <a:lnTo>
                    <a:pt x="410" y="1882"/>
                  </a:lnTo>
                  <a:lnTo>
                    <a:pt x="412" y="1882"/>
                  </a:lnTo>
                  <a:lnTo>
                    <a:pt x="413" y="1882"/>
                  </a:lnTo>
                  <a:lnTo>
                    <a:pt x="415" y="1880"/>
                  </a:lnTo>
                  <a:lnTo>
                    <a:pt x="415" y="1877"/>
                  </a:lnTo>
                  <a:lnTo>
                    <a:pt x="415" y="1879"/>
                  </a:lnTo>
                  <a:lnTo>
                    <a:pt x="416" y="1882"/>
                  </a:lnTo>
                  <a:lnTo>
                    <a:pt x="418" y="1884"/>
                  </a:lnTo>
                  <a:lnTo>
                    <a:pt x="419" y="1884"/>
                  </a:lnTo>
                  <a:lnTo>
                    <a:pt x="421" y="1884"/>
                  </a:lnTo>
                  <a:lnTo>
                    <a:pt x="421" y="1882"/>
                  </a:lnTo>
                  <a:lnTo>
                    <a:pt x="421" y="1880"/>
                  </a:lnTo>
                  <a:lnTo>
                    <a:pt x="419" y="1879"/>
                  </a:lnTo>
                  <a:lnTo>
                    <a:pt x="418" y="1877"/>
                  </a:lnTo>
                  <a:lnTo>
                    <a:pt x="421" y="1879"/>
                  </a:lnTo>
                  <a:lnTo>
                    <a:pt x="422" y="1879"/>
                  </a:lnTo>
                  <a:lnTo>
                    <a:pt x="421" y="1877"/>
                  </a:lnTo>
                  <a:lnTo>
                    <a:pt x="419" y="1876"/>
                  </a:lnTo>
                  <a:lnTo>
                    <a:pt x="419" y="1874"/>
                  </a:lnTo>
                  <a:lnTo>
                    <a:pt x="419" y="1873"/>
                  </a:lnTo>
                  <a:lnTo>
                    <a:pt x="419" y="1871"/>
                  </a:lnTo>
                  <a:lnTo>
                    <a:pt x="418" y="1870"/>
                  </a:lnTo>
                  <a:lnTo>
                    <a:pt x="418" y="1871"/>
                  </a:lnTo>
                  <a:lnTo>
                    <a:pt x="416" y="1873"/>
                  </a:lnTo>
                  <a:lnTo>
                    <a:pt x="416" y="1871"/>
                  </a:lnTo>
                  <a:lnTo>
                    <a:pt x="415" y="1868"/>
                  </a:lnTo>
                  <a:lnTo>
                    <a:pt x="415" y="1868"/>
                  </a:lnTo>
                  <a:lnTo>
                    <a:pt x="413" y="1868"/>
                  </a:lnTo>
                  <a:lnTo>
                    <a:pt x="413" y="1868"/>
                  </a:lnTo>
                  <a:lnTo>
                    <a:pt x="412" y="1865"/>
                  </a:lnTo>
                  <a:lnTo>
                    <a:pt x="412" y="1864"/>
                  </a:lnTo>
                  <a:lnTo>
                    <a:pt x="412" y="1862"/>
                  </a:lnTo>
                  <a:lnTo>
                    <a:pt x="413" y="1862"/>
                  </a:lnTo>
                  <a:lnTo>
                    <a:pt x="415" y="1867"/>
                  </a:lnTo>
                  <a:lnTo>
                    <a:pt x="416" y="1867"/>
                  </a:lnTo>
                  <a:lnTo>
                    <a:pt x="415" y="1865"/>
                  </a:lnTo>
                  <a:lnTo>
                    <a:pt x="415" y="1865"/>
                  </a:lnTo>
                  <a:lnTo>
                    <a:pt x="418" y="1864"/>
                  </a:lnTo>
                  <a:lnTo>
                    <a:pt x="418" y="1865"/>
                  </a:lnTo>
                  <a:lnTo>
                    <a:pt x="419" y="1865"/>
                  </a:lnTo>
                  <a:lnTo>
                    <a:pt x="419" y="1865"/>
                  </a:lnTo>
                  <a:lnTo>
                    <a:pt x="419" y="1864"/>
                  </a:lnTo>
                  <a:lnTo>
                    <a:pt x="419" y="1860"/>
                  </a:lnTo>
                  <a:lnTo>
                    <a:pt x="418" y="1860"/>
                  </a:lnTo>
                  <a:lnTo>
                    <a:pt x="416" y="1860"/>
                  </a:lnTo>
                  <a:lnTo>
                    <a:pt x="415" y="1859"/>
                  </a:lnTo>
                  <a:lnTo>
                    <a:pt x="416" y="1859"/>
                  </a:lnTo>
                  <a:lnTo>
                    <a:pt x="416" y="1859"/>
                  </a:lnTo>
                  <a:lnTo>
                    <a:pt x="418" y="1857"/>
                  </a:lnTo>
                  <a:lnTo>
                    <a:pt x="418" y="1856"/>
                  </a:lnTo>
                  <a:lnTo>
                    <a:pt x="419" y="1854"/>
                  </a:lnTo>
                  <a:lnTo>
                    <a:pt x="418" y="1853"/>
                  </a:lnTo>
                  <a:lnTo>
                    <a:pt x="415" y="1848"/>
                  </a:lnTo>
                  <a:lnTo>
                    <a:pt x="413" y="1847"/>
                  </a:lnTo>
                  <a:lnTo>
                    <a:pt x="413" y="1847"/>
                  </a:lnTo>
                  <a:lnTo>
                    <a:pt x="415" y="1847"/>
                  </a:lnTo>
                  <a:lnTo>
                    <a:pt x="415" y="1847"/>
                  </a:lnTo>
                  <a:lnTo>
                    <a:pt x="413" y="1844"/>
                  </a:lnTo>
                  <a:lnTo>
                    <a:pt x="412" y="1840"/>
                  </a:lnTo>
                  <a:lnTo>
                    <a:pt x="410" y="1839"/>
                  </a:lnTo>
                  <a:lnTo>
                    <a:pt x="413" y="1840"/>
                  </a:lnTo>
                  <a:lnTo>
                    <a:pt x="418" y="1845"/>
                  </a:lnTo>
                  <a:lnTo>
                    <a:pt x="422" y="1848"/>
                  </a:lnTo>
                  <a:lnTo>
                    <a:pt x="424" y="1844"/>
                  </a:lnTo>
                  <a:lnTo>
                    <a:pt x="424" y="1844"/>
                  </a:lnTo>
                  <a:lnTo>
                    <a:pt x="422" y="1842"/>
                  </a:lnTo>
                  <a:lnTo>
                    <a:pt x="422" y="1842"/>
                  </a:lnTo>
                  <a:lnTo>
                    <a:pt x="422" y="1840"/>
                  </a:lnTo>
                  <a:lnTo>
                    <a:pt x="424" y="1842"/>
                  </a:lnTo>
                  <a:lnTo>
                    <a:pt x="425" y="1842"/>
                  </a:lnTo>
                  <a:lnTo>
                    <a:pt x="425" y="1842"/>
                  </a:lnTo>
                  <a:lnTo>
                    <a:pt x="425" y="1839"/>
                  </a:lnTo>
                  <a:lnTo>
                    <a:pt x="425" y="1837"/>
                  </a:lnTo>
                  <a:lnTo>
                    <a:pt x="424" y="1836"/>
                  </a:lnTo>
                  <a:lnTo>
                    <a:pt x="424" y="1834"/>
                  </a:lnTo>
                  <a:lnTo>
                    <a:pt x="422" y="1833"/>
                  </a:lnTo>
                  <a:lnTo>
                    <a:pt x="422" y="1833"/>
                  </a:lnTo>
                  <a:lnTo>
                    <a:pt x="424" y="1833"/>
                  </a:lnTo>
                  <a:lnTo>
                    <a:pt x="418" y="1830"/>
                  </a:lnTo>
                  <a:lnTo>
                    <a:pt x="416" y="1828"/>
                  </a:lnTo>
                  <a:lnTo>
                    <a:pt x="416" y="1828"/>
                  </a:lnTo>
                  <a:lnTo>
                    <a:pt x="419" y="1827"/>
                  </a:lnTo>
                  <a:lnTo>
                    <a:pt x="419" y="1827"/>
                  </a:lnTo>
                  <a:lnTo>
                    <a:pt x="421" y="1827"/>
                  </a:lnTo>
                  <a:lnTo>
                    <a:pt x="421" y="1825"/>
                  </a:lnTo>
                  <a:lnTo>
                    <a:pt x="421" y="1824"/>
                  </a:lnTo>
                  <a:lnTo>
                    <a:pt x="421" y="1824"/>
                  </a:lnTo>
                  <a:lnTo>
                    <a:pt x="421" y="1824"/>
                  </a:lnTo>
                  <a:lnTo>
                    <a:pt x="422" y="1824"/>
                  </a:lnTo>
                  <a:lnTo>
                    <a:pt x="422" y="1824"/>
                  </a:lnTo>
                  <a:lnTo>
                    <a:pt x="424" y="1820"/>
                  </a:lnTo>
                  <a:lnTo>
                    <a:pt x="422" y="1820"/>
                  </a:lnTo>
                  <a:lnTo>
                    <a:pt x="418" y="1822"/>
                  </a:lnTo>
                  <a:lnTo>
                    <a:pt x="418" y="1824"/>
                  </a:lnTo>
                  <a:lnTo>
                    <a:pt x="418" y="1824"/>
                  </a:lnTo>
                  <a:lnTo>
                    <a:pt x="418" y="1825"/>
                  </a:lnTo>
                  <a:lnTo>
                    <a:pt x="416" y="1825"/>
                  </a:lnTo>
                  <a:lnTo>
                    <a:pt x="416" y="1825"/>
                  </a:lnTo>
                  <a:lnTo>
                    <a:pt x="416" y="1824"/>
                  </a:lnTo>
                  <a:lnTo>
                    <a:pt x="416" y="1822"/>
                  </a:lnTo>
                  <a:lnTo>
                    <a:pt x="415" y="1820"/>
                  </a:lnTo>
                  <a:lnTo>
                    <a:pt x="412" y="1819"/>
                  </a:lnTo>
                  <a:lnTo>
                    <a:pt x="412" y="1817"/>
                  </a:lnTo>
                  <a:lnTo>
                    <a:pt x="421" y="1819"/>
                  </a:lnTo>
                  <a:lnTo>
                    <a:pt x="421" y="1816"/>
                  </a:lnTo>
                  <a:lnTo>
                    <a:pt x="421" y="1814"/>
                  </a:lnTo>
                  <a:lnTo>
                    <a:pt x="419" y="1814"/>
                  </a:lnTo>
                  <a:lnTo>
                    <a:pt x="419" y="1814"/>
                  </a:lnTo>
                  <a:lnTo>
                    <a:pt x="419" y="1816"/>
                  </a:lnTo>
                  <a:lnTo>
                    <a:pt x="418" y="1816"/>
                  </a:lnTo>
                  <a:lnTo>
                    <a:pt x="418" y="1816"/>
                  </a:lnTo>
                  <a:lnTo>
                    <a:pt x="416" y="1814"/>
                  </a:lnTo>
                  <a:lnTo>
                    <a:pt x="416" y="1814"/>
                  </a:lnTo>
                  <a:lnTo>
                    <a:pt x="418" y="1813"/>
                  </a:lnTo>
                  <a:lnTo>
                    <a:pt x="418" y="1811"/>
                  </a:lnTo>
                  <a:lnTo>
                    <a:pt x="416" y="1810"/>
                  </a:lnTo>
                  <a:lnTo>
                    <a:pt x="415" y="1808"/>
                  </a:lnTo>
                  <a:lnTo>
                    <a:pt x="413" y="1808"/>
                  </a:lnTo>
                  <a:lnTo>
                    <a:pt x="398" y="1800"/>
                  </a:lnTo>
                  <a:lnTo>
                    <a:pt x="395" y="1799"/>
                  </a:lnTo>
                  <a:lnTo>
                    <a:pt x="396" y="1799"/>
                  </a:lnTo>
                  <a:lnTo>
                    <a:pt x="404" y="1800"/>
                  </a:lnTo>
                  <a:lnTo>
                    <a:pt x="408" y="1803"/>
                  </a:lnTo>
                  <a:lnTo>
                    <a:pt x="418" y="1805"/>
                  </a:lnTo>
                  <a:lnTo>
                    <a:pt x="418" y="1805"/>
                  </a:lnTo>
                  <a:lnTo>
                    <a:pt x="419" y="1807"/>
                  </a:lnTo>
                  <a:lnTo>
                    <a:pt x="419" y="1807"/>
                  </a:lnTo>
                  <a:lnTo>
                    <a:pt x="419" y="1807"/>
                  </a:lnTo>
                  <a:lnTo>
                    <a:pt x="421" y="1805"/>
                  </a:lnTo>
                  <a:lnTo>
                    <a:pt x="421" y="1805"/>
                  </a:lnTo>
                  <a:lnTo>
                    <a:pt x="424" y="1803"/>
                  </a:lnTo>
                  <a:lnTo>
                    <a:pt x="425" y="1803"/>
                  </a:lnTo>
                  <a:lnTo>
                    <a:pt x="427" y="1802"/>
                  </a:lnTo>
                  <a:lnTo>
                    <a:pt x="427" y="1799"/>
                  </a:lnTo>
                  <a:lnTo>
                    <a:pt x="428" y="1799"/>
                  </a:lnTo>
                  <a:lnTo>
                    <a:pt x="432" y="1799"/>
                  </a:lnTo>
                  <a:lnTo>
                    <a:pt x="433" y="1797"/>
                  </a:lnTo>
                  <a:lnTo>
                    <a:pt x="430" y="1794"/>
                  </a:lnTo>
                  <a:lnTo>
                    <a:pt x="427" y="1793"/>
                  </a:lnTo>
                  <a:lnTo>
                    <a:pt x="425" y="1793"/>
                  </a:lnTo>
                  <a:lnTo>
                    <a:pt x="427" y="1791"/>
                  </a:lnTo>
                  <a:lnTo>
                    <a:pt x="427" y="1790"/>
                  </a:lnTo>
                  <a:lnTo>
                    <a:pt x="424" y="1790"/>
                  </a:lnTo>
                  <a:lnTo>
                    <a:pt x="424" y="1788"/>
                  </a:lnTo>
                  <a:lnTo>
                    <a:pt x="425" y="1788"/>
                  </a:lnTo>
                  <a:lnTo>
                    <a:pt x="425" y="1788"/>
                  </a:lnTo>
                  <a:lnTo>
                    <a:pt x="424" y="1788"/>
                  </a:lnTo>
                  <a:lnTo>
                    <a:pt x="422" y="1787"/>
                  </a:lnTo>
                  <a:lnTo>
                    <a:pt x="422" y="1783"/>
                  </a:lnTo>
                  <a:lnTo>
                    <a:pt x="422" y="1780"/>
                  </a:lnTo>
                  <a:lnTo>
                    <a:pt x="422" y="1780"/>
                  </a:lnTo>
                  <a:lnTo>
                    <a:pt x="419" y="1780"/>
                  </a:lnTo>
                  <a:lnTo>
                    <a:pt x="419" y="1780"/>
                  </a:lnTo>
                  <a:lnTo>
                    <a:pt x="419" y="1782"/>
                  </a:lnTo>
                  <a:lnTo>
                    <a:pt x="419" y="1783"/>
                  </a:lnTo>
                  <a:lnTo>
                    <a:pt x="418" y="1782"/>
                  </a:lnTo>
                  <a:lnTo>
                    <a:pt x="415" y="1780"/>
                  </a:lnTo>
                  <a:lnTo>
                    <a:pt x="415" y="1780"/>
                  </a:lnTo>
                  <a:lnTo>
                    <a:pt x="413" y="1779"/>
                  </a:lnTo>
                  <a:lnTo>
                    <a:pt x="412" y="1779"/>
                  </a:lnTo>
                  <a:lnTo>
                    <a:pt x="402" y="1779"/>
                  </a:lnTo>
                  <a:lnTo>
                    <a:pt x="401" y="1777"/>
                  </a:lnTo>
                  <a:lnTo>
                    <a:pt x="398" y="1776"/>
                  </a:lnTo>
                  <a:lnTo>
                    <a:pt x="396" y="1776"/>
                  </a:lnTo>
                  <a:lnTo>
                    <a:pt x="396" y="1776"/>
                  </a:lnTo>
                  <a:lnTo>
                    <a:pt x="395" y="1779"/>
                  </a:lnTo>
                  <a:lnTo>
                    <a:pt x="395" y="1780"/>
                  </a:lnTo>
                  <a:lnTo>
                    <a:pt x="395" y="1782"/>
                  </a:lnTo>
                  <a:lnTo>
                    <a:pt x="393" y="1783"/>
                  </a:lnTo>
                  <a:lnTo>
                    <a:pt x="393" y="1783"/>
                  </a:lnTo>
                  <a:lnTo>
                    <a:pt x="392" y="1782"/>
                  </a:lnTo>
                  <a:lnTo>
                    <a:pt x="392" y="1782"/>
                  </a:lnTo>
                  <a:lnTo>
                    <a:pt x="392" y="1779"/>
                  </a:lnTo>
                  <a:lnTo>
                    <a:pt x="392" y="1779"/>
                  </a:lnTo>
                  <a:lnTo>
                    <a:pt x="392" y="1779"/>
                  </a:lnTo>
                  <a:lnTo>
                    <a:pt x="390" y="1777"/>
                  </a:lnTo>
                  <a:lnTo>
                    <a:pt x="388" y="1776"/>
                  </a:lnTo>
                  <a:lnTo>
                    <a:pt x="388" y="1777"/>
                  </a:lnTo>
                  <a:lnTo>
                    <a:pt x="387" y="1779"/>
                  </a:lnTo>
                  <a:lnTo>
                    <a:pt x="385" y="1780"/>
                  </a:lnTo>
                  <a:lnTo>
                    <a:pt x="382" y="1777"/>
                  </a:lnTo>
                  <a:lnTo>
                    <a:pt x="381" y="1779"/>
                  </a:lnTo>
                  <a:lnTo>
                    <a:pt x="379" y="1777"/>
                  </a:lnTo>
                  <a:lnTo>
                    <a:pt x="379" y="1777"/>
                  </a:lnTo>
                  <a:lnTo>
                    <a:pt x="378" y="1777"/>
                  </a:lnTo>
                  <a:lnTo>
                    <a:pt x="378" y="1777"/>
                  </a:lnTo>
                  <a:lnTo>
                    <a:pt x="378" y="1777"/>
                  </a:lnTo>
                  <a:lnTo>
                    <a:pt x="379" y="1777"/>
                  </a:lnTo>
                  <a:lnTo>
                    <a:pt x="382" y="1777"/>
                  </a:lnTo>
                  <a:lnTo>
                    <a:pt x="382" y="1777"/>
                  </a:lnTo>
                  <a:lnTo>
                    <a:pt x="384" y="1776"/>
                  </a:lnTo>
                  <a:lnTo>
                    <a:pt x="382" y="1774"/>
                  </a:lnTo>
                  <a:lnTo>
                    <a:pt x="382" y="1774"/>
                  </a:lnTo>
                  <a:lnTo>
                    <a:pt x="381" y="1773"/>
                  </a:lnTo>
                  <a:lnTo>
                    <a:pt x="381" y="1773"/>
                  </a:lnTo>
                  <a:lnTo>
                    <a:pt x="407" y="1776"/>
                  </a:lnTo>
                  <a:lnTo>
                    <a:pt x="433" y="1779"/>
                  </a:lnTo>
                  <a:lnTo>
                    <a:pt x="439" y="1776"/>
                  </a:lnTo>
                  <a:lnTo>
                    <a:pt x="441" y="1776"/>
                  </a:lnTo>
                  <a:lnTo>
                    <a:pt x="439" y="1773"/>
                  </a:lnTo>
                  <a:lnTo>
                    <a:pt x="438" y="1773"/>
                  </a:lnTo>
                  <a:lnTo>
                    <a:pt x="435" y="1773"/>
                  </a:lnTo>
                  <a:lnTo>
                    <a:pt x="436" y="1770"/>
                  </a:lnTo>
                  <a:lnTo>
                    <a:pt x="439" y="1770"/>
                  </a:lnTo>
                  <a:lnTo>
                    <a:pt x="444" y="1773"/>
                  </a:lnTo>
                  <a:lnTo>
                    <a:pt x="445" y="1773"/>
                  </a:lnTo>
                  <a:lnTo>
                    <a:pt x="447" y="1773"/>
                  </a:lnTo>
                  <a:lnTo>
                    <a:pt x="447" y="1770"/>
                  </a:lnTo>
                  <a:lnTo>
                    <a:pt x="448" y="1768"/>
                  </a:lnTo>
                  <a:lnTo>
                    <a:pt x="448" y="1767"/>
                  </a:lnTo>
                  <a:lnTo>
                    <a:pt x="447" y="1767"/>
                  </a:lnTo>
                  <a:lnTo>
                    <a:pt x="444" y="1767"/>
                  </a:lnTo>
                  <a:lnTo>
                    <a:pt x="442" y="1767"/>
                  </a:lnTo>
                  <a:lnTo>
                    <a:pt x="444" y="1765"/>
                  </a:lnTo>
                  <a:lnTo>
                    <a:pt x="444" y="1765"/>
                  </a:lnTo>
                  <a:lnTo>
                    <a:pt x="444" y="1763"/>
                  </a:lnTo>
                  <a:lnTo>
                    <a:pt x="444" y="1762"/>
                  </a:lnTo>
                  <a:lnTo>
                    <a:pt x="444" y="1762"/>
                  </a:lnTo>
                  <a:lnTo>
                    <a:pt x="441" y="1760"/>
                  </a:lnTo>
                  <a:lnTo>
                    <a:pt x="441" y="1760"/>
                  </a:lnTo>
                  <a:lnTo>
                    <a:pt x="442" y="1760"/>
                  </a:lnTo>
                  <a:lnTo>
                    <a:pt x="444" y="1759"/>
                  </a:lnTo>
                  <a:lnTo>
                    <a:pt x="445" y="1759"/>
                  </a:lnTo>
                  <a:lnTo>
                    <a:pt x="445" y="1759"/>
                  </a:lnTo>
                  <a:lnTo>
                    <a:pt x="447" y="1762"/>
                  </a:lnTo>
                  <a:lnTo>
                    <a:pt x="448" y="1762"/>
                  </a:lnTo>
                  <a:lnTo>
                    <a:pt x="450" y="1763"/>
                  </a:lnTo>
                  <a:lnTo>
                    <a:pt x="459" y="1763"/>
                  </a:lnTo>
                  <a:lnTo>
                    <a:pt x="459" y="1760"/>
                  </a:lnTo>
                  <a:lnTo>
                    <a:pt x="461" y="1760"/>
                  </a:lnTo>
                  <a:lnTo>
                    <a:pt x="465" y="1760"/>
                  </a:lnTo>
                  <a:lnTo>
                    <a:pt x="467" y="1759"/>
                  </a:lnTo>
                  <a:lnTo>
                    <a:pt x="465" y="1756"/>
                  </a:lnTo>
                  <a:lnTo>
                    <a:pt x="464" y="1753"/>
                  </a:lnTo>
                  <a:lnTo>
                    <a:pt x="473" y="1754"/>
                  </a:lnTo>
                  <a:lnTo>
                    <a:pt x="475" y="1753"/>
                  </a:lnTo>
                  <a:lnTo>
                    <a:pt x="473" y="1751"/>
                  </a:lnTo>
                  <a:lnTo>
                    <a:pt x="472" y="1751"/>
                  </a:lnTo>
                  <a:lnTo>
                    <a:pt x="472" y="1751"/>
                  </a:lnTo>
                  <a:lnTo>
                    <a:pt x="472" y="1750"/>
                  </a:lnTo>
                  <a:lnTo>
                    <a:pt x="473" y="1748"/>
                  </a:lnTo>
                  <a:lnTo>
                    <a:pt x="473" y="1743"/>
                  </a:lnTo>
                  <a:lnTo>
                    <a:pt x="473" y="1742"/>
                  </a:lnTo>
                  <a:lnTo>
                    <a:pt x="472" y="1740"/>
                  </a:lnTo>
                  <a:lnTo>
                    <a:pt x="472" y="1740"/>
                  </a:lnTo>
                  <a:lnTo>
                    <a:pt x="475" y="1740"/>
                  </a:lnTo>
                  <a:lnTo>
                    <a:pt x="479" y="1745"/>
                  </a:lnTo>
                  <a:lnTo>
                    <a:pt x="482" y="1745"/>
                  </a:lnTo>
                  <a:lnTo>
                    <a:pt x="481" y="1745"/>
                  </a:lnTo>
                  <a:lnTo>
                    <a:pt x="481" y="1745"/>
                  </a:lnTo>
                  <a:lnTo>
                    <a:pt x="482" y="1745"/>
                  </a:lnTo>
                  <a:lnTo>
                    <a:pt x="482" y="1743"/>
                  </a:lnTo>
                  <a:lnTo>
                    <a:pt x="479" y="1742"/>
                  </a:lnTo>
                  <a:lnTo>
                    <a:pt x="479" y="1740"/>
                  </a:lnTo>
                  <a:lnTo>
                    <a:pt x="478" y="1739"/>
                  </a:lnTo>
                  <a:lnTo>
                    <a:pt x="479" y="1739"/>
                  </a:lnTo>
                  <a:lnTo>
                    <a:pt x="481" y="1740"/>
                  </a:lnTo>
                  <a:lnTo>
                    <a:pt x="482" y="1740"/>
                  </a:lnTo>
                  <a:lnTo>
                    <a:pt x="484" y="1739"/>
                  </a:lnTo>
                  <a:lnTo>
                    <a:pt x="485" y="1736"/>
                  </a:lnTo>
                  <a:lnTo>
                    <a:pt x="484" y="1736"/>
                  </a:lnTo>
                  <a:lnTo>
                    <a:pt x="482" y="1736"/>
                  </a:lnTo>
                  <a:lnTo>
                    <a:pt x="484" y="1734"/>
                  </a:lnTo>
                  <a:lnTo>
                    <a:pt x="484" y="1733"/>
                  </a:lnTo>
                  <a:lnTo>
                    <a:pt x="482" y="1733"/>
                  </a:lnTo>
                  <a:lnTo>
                    <a:pt x="482" y="1733"/>
                  </a:lnTo>
                  <a:lnTo>
                    <a:pt x="482" y="1731"/>
                  </a:lnTo>
                  <a:lnTo>
                    <a:pt x="481" y="1731"/>
                  </a:lnTo>
                  <a:lnTo>
                    <a:pt x="481" y="1730"/>
                  </a:lnTo>
                  <a:lnTo>
                    <a:pt x="482" y="1730"/>
                  </a:lnTo>
                  <a:lnTo>
                    <a:pt x="482" y="1730"/>
                  </a:lnTo>
                  <a:lnTo>
                    <a:pt x="482" y="1728"/>
                  </a:lnTo>
                  <a:lnTo>
                    <a:pt x="484" y="1730"/>
                  </a:lnTo>
                  <a:lnTo>
                    <a:pt x="484" y="1728"/>
                  </a:lnTo>
                  <a:lnTo>
                    <a:pt x="484" y="1725"/>
                  </a:lnTo>
                  <a:lnTo>
                    <a:pt x="485" y="1722"/>
                  </a:lnTo>
                  <a:lnTo>
                    <a:pt x="484" y="1720"/>
                  </a:lnTo>
                  <a:lnTo>
                    <a:pt x="484" y="1717"/>
                  </a:lnTo>
                  <a:lnTo>
                    <a:pt x="484" y="1714"/>
                  </a:lnTo>
                  <a:lnTo>
                    <a:pt x="484" y="1711"/>
                  </a:lnTo>
                  <a:lnTo>
                    <a:pt x="485" y="1710"/>
                  </a:lnTo>
                  <a:lnTo>
                    <a:pt x="487" y="1710"/>
                  </a:lnTo>
                  <a:lnTo>
                    <a:pt x="487" y="1708"/>
                  </a:lnTo>
                  <a:lnTo>
                    <a:pt x="489" y="1705"/>
                  </a:lnTo>
                  <a:lnTo>
                    <a:pt x="487" y="1700"/>
                  </a:lnTo>
                  <a:lnTo>
                    <a:pt x="489" y="1700"/>
                  </a:lnTo>
                  <a:lnTo>
                    <a:pt x="489" y="1702"/>
                  </a:lnTo>
                  <a:lnTo>
                    <a:pt x="490" y="1703"/>
                  </a:lnTo>
                  <a:lnTo>
                    <a:pt x="490" y="1705"/>
                  </a:lnTo>
                  <a:lnTo>
                    <a:pt x="490" y="1708"/>
                  </a:lnTo>
                  <a:lnTo>
                    <a:pt x="489" y="1711"/>
                  </a:lnTo>
                  <a:lnTo>
                    <a:pt x="489" y="1713"/>
                  </a:lnTo>
                  <a:lnTo>
                    <a:pt x="490" y="1716"/>
                  </a:lnTo>
                  <a:lnTo>
                    <a:pt x="492" y="1717"/>
                  </a:lnTo>
                  <a:lnTo>
                    <a:pt x="492" y="1716"/>
                  </a:lnTo>
                  <a:lnTo>
                    <a:pt x="492" y="1714"/>
                  </a:lnTo>
                  <a:lnTo>
                    <a:pt x="493" y="1710"/>
                  </a:lnTo>
                  <a:lnTo>
                    <a:pt x="493" y="1708"/>
                  </a:lnTo>
                  <a:lnTo>
                    <a:pt x="493" y="1706"/>
                  </a:lnTo>
                  <a:lnTo>
                    <a:pt x="495" y="1706"/>
                  </a:lnTo>
                  <a:lnTo>
                    <a:pt x="496" y="1706"/>
                  </a:lnTo>
                  <a:lnTo>
                    <a:pt x="496" y="1710"/>
                  </a:lnTo>
                  <a:lnTo>
                    <a:pt x="495" y="1713"/>
                  </a:lnTo>
                  <a:lnTo>
                    <a:pt x="495" y="1713"/>
                  </a:lnTo>
                  <a:lnTo>
                    <a:pt x="495" y="1714"/>
                  </a:lnTo>
                  <a:lnTo>
                    <a:pt x="495" y="1719"/>
                  </a:lnTo>
                  <a:lnTo>
                    <a:pt x="495" y="1723"/>
                  </a:lnTo>
                  <a:lnTo>
                    <a:pt x="493" y="1726"/>
                  </a:lnTo>
                  <a:lnTo>
                    <a:pt x="493" y="1726"/>
                  </a:lnTo>
                  <a:lnTo>
                    <a:pt x="495" y="1730"/>
                  </a:lnTo>
                  <a:lnTo>
                    <a:pt x="493" y="1733"/>
                  </a:lnTo>
                  <a:lnTo>
                    <a:pt x="495" y="1736"/>
                  </a:lnTo>
                  <a:lnTo>
                    <a:pt x="496" y="1737"/>
                  </a:lnTo>
                  <a:lnTo>
                    <a:pt x="496" y="1737"/>
                  </a:lnTo>
                  <a:lnTo>
                    <a:pt x="496" y="1739"/>
                  </a:lnTo>
                  <a:lnTo>
                    <a:pt x="496" y="1740"/>
                  </a:lnTo>
                  <a:lnTo>
                    <a:pt x="496" y="1742"/>
                  </a:lnTo>
                  <a:lnTo>
                    <a:pt x="496" y="1742"/>
                  </a:lnTo>
                  <a:lnTo>
                    <a:pt x="498" y="1740"/>
                  </a:lnTo>
                  <a:lnTo>
                    <a:pt x="498" y="1737"/>
                  </a:lnTo>
                  <a:lnTo>
                    <a:pt x="496" y="1736"/>
                  </a:lnTo>
                  <a:lnTo>
                    <a:pt x="496" y="1733"/>
                  </a:lnTo>
                  <a:lnTo>
                    <a:pt x="496" y="1730"/>
                  </a:lnTo>
                  <a:lnTo>
                    <a:pt x="496" y="1731"/>
                  </a:lnTo>
                  <a:lnTo>
                    <a:pt x="498" y="1734"/>
                  </a:lnTo>
                  <a:lnTo>
                    <a:pt x="499" y="1734"/>
                  </a:lnTo>
                  <a:lnTo>
                    <a:pt x="501" y="1736"/>
                  </a:lnTo>
                  <a:lnTo>
                    <a:pt x="501" y="1736"/>
                  </a:lnTo>
                  <a:lnTo>
                    <a:pt x="501" y="1736"/>
                  </a:lnTo>
                  <a:lnTo>
                    <a:pt x="502" y="1736"/>
                  </a:lnTo>
                  <a:lnTo>
                    <a:pt x="502" y="1736"/>
                  </a:lnTo>
                  <a:lnTo>
                    <a:pt x="502" y="1737"/>
                  </a:lnTo>
                  <a:lnTo>
                    <a:pt x="502" y="1739"/>
                  </a:lnTo>
                  <a:lnTo>
                    <a:pt x="502" y="1740"/>
                  </a:lnTo>
                  <a:lnTo>
                    <a:pt x="502" y="1742"/>
                  </a:lnTo>
                  <a:lnTo>
                    <a:pt x="504" y="1743"/>
                  </a:lnTo>
                  <a:lnTo>
                    <a:pt x="505" y="1745"/>
                  </a:lnTo>
                  <a:lnTo>
                    <a:pt x="504" y="1740"/>
                  </a:lnTo>
                  <a:lnTo>
                    <a:pt x="505" y="1739"/>
                  </a:lnTo>
                  <a:lnTo>
                    <a:pt x="505" y="1737"/>
                  </a:lnTo>
                  <a:lnTo>
                    <a:pt x="505" y="1737"/>
                  </a:lnTo>
                  <a:lnTo>
                    <a:pt x="507" y="1737"/>
                  </a:lnTo>
                  <a:lnTo>
                    <a:pt x="509" y="1737"/>
                  </a:lnTo>
                  <a:lnTo>
                    <a:pt x="510" y="1736"/>
                  </a:lnTo>
                  <a:lnTo>
                    <a:pt x="510" y="1734"/>
                  </a:lnTo>
                  <a:lnTo>
                    <a:pt x="510" y="1733"/>
                  </a:lnTo>
                  <a:lnTo>
                    <a:pt x="510" y="1731"/>
                  </a:lnTo>
                  <a:lnTo>
                    <a:pt x="510" y="1730"/>
                  </a:lnTo>
                  <a:lnTo>
                    <a:pt x="512" y="1726"/>
                  </a:lnTo>
                  <a:lnTo>
                    <a:pt x="513" y="1723"/>
                  </a:lnTo>
                  <a:lnTo>
                    <a:pt x="515" y="1722"/>
                  </a:lnTo>
                  <a:lnTo>
                    <a:pt x="513" y="1719"/>
                  </a:lnTo>
                  <a:lnTo>
                    <a:pt x="513" y="1719"/>
                  </a:lnTo>
                  <a:lnTo>
                    <a:pt x="515" y="1717"/>
                  </a:lnTo>
                  <a:lnTo>
                    <a:pt x="516" y="1719"/>
                  </a:lnTo>
                  <a:lnTo>
                    <a:pt x="516" y="1719"/>
                  </a:lnTo>
                  <a:lnTo>
                    <a:pt x="516" y="1717"/>
                  </a:lnTo>
                  <a:lnTo>
                    <a:pt x="516" y="1716"/>
                  </a:lnTo>
                  <a:lnTo>
                    <a:pt x="519" y="1716"/>
                  </a:lnTo>
                  <a:lnTo>
                    <a:pt x="521" y="1716"/>
                  </a:lnTo>
                  <a:lnTo>
                    <a:pt x="522" y="1713"/>
                  </a:lnTo>
                  <a:lnTo>
                    <a:pt x="522" y="1711"/>
                  </a:lnTo>
                  <a:lnTo>
                    <a:pt x="524" y="1711"/>
                  </a:lnTo>
                  <a:lnTo>
                    <a:pt x="527" y="1710"/>
                  </a:lnTo>
                  <a:lnTo>
                    <a:pt x="527" y="1710"/>
                  </a:lnTo>
                  <a:lnTo>
                    <a:pt x="529" y="1708"/>
                  </a:lnTo>
                  <a:lnTo>
                    <a:pt x="530" y="1708"/>
                  </a:lnTo>
                  <a:lnTo>
                    <a:pt x="530" y="1706"/>
                  </a:lnTo>
                  <a:lnTo>
                    <a:pt x="532" y="1706"/>
                  </a:lnTo>
                  <a:lnTo>
                    <a:pt x="532" y="1708"/>
                  </a:lnTo>
                  <a:lnTo>
                    <a:pt x="532" y="1708"/>
                  </a:lnTo>
                  <a:lnTo>
                    <a:pt x="530" y="1710"/>
                  </a:lnTo>
                  <a:lnTo>
                    <a:pt x="532" y="1710"/>
                  </a:lnTo>
                  <a:lnTo>
                    <a:pt x="530" y="1711"/>
                  </a:lnTo>
                  <a:lnTo>
                    <a:pt x="529" y="1713"/>
                  </a:lnTo>
                  <a:lnTo>
                    <a:pt x="527" y="1713"/>
                  </a:lnTo>
                  <a:lnTo>
                    <a:pt x="530" y="1713"/>
                  </a:lnTo>
                  <a:lnTo>
                    <a:pt x="536" y="1710"/>
                  </a:lnTo>
                  <a:lnTo>
                    <a:pt x="536" y="1708"/>
                  </a:lnTo>
                  <a:lnTo>
                    <a:pt x="536" y="1706"/>
                  </a:lnTo>
                  <a:lnTo>
                    <a:pt x="535" y="1706"/>
                  </a:lnTo>
                  <a:lnTo>
                    <a:pt x="535" y="1706"/>
                  </a:lnTo>
                  <a:lnTo>
                    <a:pt x="536" y="1705"/>
                  </a:lnTo>
                  <a:lnTo>
                    <a:pt x="538" y="1703"/>
                  </a:lnTo>
                  <a:lnTo>
                    <a:pt x="541" y="1703"/>
                  </a:lnTo>
                  <a:lnTo>
                    <a:pt x="542" y="1703"/>
                  </a:lnTo>
                  <a:lnTo>
                    <a:pt x="544" y="1705"/>
                  </a:lnTo>
                  <a:lnTo>
                    <a:pt x="544" y="1703"/>
                  </a:lnTo>
                  <a:lnTo>
                    <a:pt x="546" y="1702"/>
                  </a:lnTo>
                  <a:lnTo>
                    <a:pt x="546" y="1700"/>
                  </a:lnTo>
                  <a:lnTo>
                    <a:pt x="544" y="1699"/>
                  </a:lnTo>
                  <a:lnTo>
                    <a:pt x="544" y="1699"/>
                  </a:lnTo>
                  <a:lnTo>
                    <a:pt x="542" y="1700"/>
                  </a:lnTo>
                  <a:lnTo>
                    <a:pt x="542" y="1699"/>
                  </a:lnTo>
                  <a:lnTo>
                    <a:pt x="542" y="1699"/>
                  </a:lnTo>
                  <a:lnTo>
                    <a:pt x="542" y="1699"/>
                  </a:lnTo>
                  <a:lnTo>
                    <a:pt x="542" y="1697"/>
                  </a:lnTo>
                  <a:lnTo>
                    <a:pt x="542" y="1697"/>
                  </a:lnTo>
                  <a:lnTo>
                    <a:pt x="541" y="1699"/>
                  </a:lnTo>
                  <a:lnTo>
                    <a:pt x="541" y="1697"/>
                  </a:lnTo>
                  <a:lnTo>
                    <a:pt x="541" y="1696"/>
                  </a:lnTo>
                  <a:lnTo>
                    <a:pt x="539" y="1694"/>
                  </a:lnTo>
                  <a:lnTo>
                    <a:pt x="539" y="1694"/>
                  </a:lnTo>
                  <a:lnTo>
                    <a:pt x="538" y="1694"/>
                  </a:lnTo>
                  <a:lnTo>
                    <a:pt x="536" y="1693"/>
                  </a:lnTo>
                  <a:lnTo>
                    <a:pt x="536" y="1691"/>
                  </a:lnTo>
                  <a:lnTo>
                    <a:pt x="538" y="1691"/>
                  </a:lnTo>
                  <a:lnTo>
                    <a:pt x="544" y="1696"/>
                  </a:lnTo>
                  <a:lnTo>
                    <a:pt x="544" y="1694"/>
                  </a:lnTo>
                  <a:lnTo>
                    <a:pt x="541" y="1691"/>
                  </a:lnTo>
                  <a:lnTo>
                    <a:pt x="539" y="1690"/>
                  </a:lnTo>
                  <a:lnTo>
                    <a:pt x="538" y="1690"/>
                  </a:lnTo>
                  <a:lnTo>
                    <a:pt x="533" y="1686"/>
                  </a:lnTo>
                  <a:lnTo>
                    <a:pt x="533" y="1685"/>
                  </a:lnTo>
                  <a:lnTo>
                    <a:pt x="533" y="1683"/>
                  </a:lnTo>
                  <a:lnTo>
                    <a:pt x="536" y="1685"/>
                  </a:lnTo>
                  <a:lnTo>
                    <a:pt x="536" y="1683"/>
                  </a:lnTo>
                  <a:lnTo>
                    <a:pt x="536" y="1682"/>
                  </a:lnTo>
                  <a:lnTo>
                    <a:pt x="535" y="1680"/>
                  </a:lnTo>
                  <a:lnTo>
                    <a:pt x="535" y="1680"/>
                  </a:lnTo>
                  <a:lnTo>
                    <a:pt x="533" y="1679"/>
                  </a:lnTo>
                  <a:lnTo>
                    <a:pt x="535" y="1677"/>
                  </a:lnTo>
                  <a:lnTo>
                    <a:pt x="536" y="1677"/>
                  </a:lnTo>
                  <a:lnTo>
                    <a:pt x="536" y="1676"/>
                  </a:lnTo>
                  <a:lnTo>
                    <a:pt x="538" y="1676"/>
                  </a:lnTo>
                  <a:lnTo>
                    <a:pt x="538" y="1677"/>
                  </a:lnTo>
                  <a:lnTo>
                    <a:pt x="538" y="1679"/>
                  </a:lnTo>
                  <a:lnTo>
                    <a:pt x="538" y="1679"/>
                  </a:lnTo>
                  <a:lnTo>
                    <a:pt x="539" y="1680"/>
                  </a:lnTo>
                  <a:lnTo>
                    <a:pt x="546" y="1679"/>
                  </a:lnTo>
                  <a:lnTo>
                    <a:pt x="547" y="1679"/>
                  </a:lnTo>
                  <a:lnTo>
                    <a:pt x="549" y="1680"/>
                  </a:lnTo>
                  <a:lnTo>
                    <a:pt x="550" y="1680"/>
                  </a:lnTo>
                  <a:lnTo>
                    <a:pt x="552" y="1682"/>
                  </a:lnTo>
                  <a:lnTo>
                    <a:pt x="553" y="1682"/>
                  </a:lnTo>
                  <a:lnTo>
                    <a:pt x="553" y="1680"/>
                  </a:lnTo>
                  <a:lnTo>
                    <a:pt x="555" y="1680"/>
                  </a:lnTo>
                  <a:lnTo>
                    <a:pt x="559" y="1680"/>
                  </a:lnTo>
                  <a:lnTo>
                    <a:pt x="561" y="1679"/>
                  </a:lnTo>
                  <a:lnTo>
                    <a:pt x="561" y="1677"/>
                  </a:lnTo>
                  <a:lnTo>
                    <a:pt x="559" y="1674"/>
                  </a:lnTo>
                  <a:lnTo>
                    <a:pt x="558" y="1673"/>
                  </a:lnTo>
                  <a:lnTo>
                    <a:pt x="555" y="1673"/>
                  </a:lnTo>
                  <a:lnTo>
                    <a:pt x="553" y="1671"/>
                  </a:lnTo>
                  <a:lnTo>
                    <a:pt x="555" y="1671"/>
                  </a:lnTo>
                  <a:lnTo>
                    <a:pt x="556" y="1673"/>
                  </a:lnTo>
                  <a:lnTo>
                    <a:pt x="558" y="1673"/>
                  </a:lnTo>
                  <a:lnTo>
                    <a:pt x="558" y="1670"/>
                  </a:lnTo>
                  <a:lnTo>
                    <a:pt x="553" y="1666"/>
                  </a:lnTo>
                  <a:lnTo>
                    <a:pt x="553" y="1666"/>
                  </a:lnTo>
                  <a:lnTo>
                    <a:pt x="553" y="1665"/>
                  </a:lnTo>
                  <a:lnTo>
                    <a:pt x="553" y="1665"/>
                  </a:lnTo>
                  <a:lnTo>
                    <a:pt x="550" y="1662"/>
                  </a:lnTo>
                  <a:lnTo>
                    <a:pt x="549" y="1662"/>
                  </a:lnTo>
                  <a:lnTo>
                    <a:pt x="544" y="1662"/>
                  </a:lnTo>
                  <a:lnTo>
                    <a:pt x="546" y="1663"/>
                  </a:lnTo>
                  <a:lnTo>
                    <a:pt x="547" y="1665"/>
                  </a:lnTo>
                  <a:lnTo>
                    <a:pt x="550" y="1666"/>
                  </a:lnTo>
                  <a:lnTo>
                    <a:pt x="546" y="1666"/>
                  </a:lnTo>
                  <a:lnTo>
                    <a:pt x="547" y="1670"/>
                  </a:lnTo>
                  <a:lnTo>
                    <a:pt x="549" y="1674"/>
                  </a:lnTo>
                  <a:lnTo>
                    <a:pt x="547" y="1676"/>
                  </a:lnTo>
                  <a:lnTo>
                    <a:pt x="547" y="1676"/>
                  </a:lnTo>
                  <a:lnTo>
                    <a:pt x="544" y="1676"/>
                  </a:lnTo>
                  <a:lnTo>
                    <a:pt x="546" y="1674"/>
                  </a:lnTo>
                  <a:lnTo>
                    <a:pt x="546" y="1674"/>
                  </a:lnTo>
                  <a:lnTo>
                    <a:pt x="546" y="1673"/>
                  </a:lnTo>
                  <a:lnTo>
                    <a:pt x="542" y="1671"/>
                  </a:lnTo>
                  <a:lnTo>
                    <a:pt x="536" y="1670"/>
                  </a:lnTo>
                  <a:lnTo>
                    <a:pt x="532" y="1673"/>
                  </a:lnTo>
                  <a:lnTo>
                    <a:pt x="529" y="1679"/>
                  </a:lnTo>
                  <a:lnTo>
                    <a:pt x="529" y="1679"/>
                  </a:lnTo>
                  <a:lnTo>
                    <a:pt x="529" y="1676"/>
                  </a:lnTo>
                  <a:lnTo>
                    <a:pt x="527" y="1676"/>
                  </a:lnTo>
                  <a:lnTo>
                    <a:pt x="526" y="1677"/>
                  </a:lnTo>
                  <a:lnTo>
                    <a:pt x="519" y="1677"/>
                  </a:lnTo>
                  <a:lnTo>
                    <a:pt x="519" y="1676"/>
                  </a:lnTo>
                  <a:lnTo>
                    <a:pt x="521" y="1676"/>
                  </a:lnTo>
                  <a:lnTo>
                    <a:pt x="524" y="1676"/>
                  </a:lnTo>
                  <a:lnTo>
                    <a:pt x="513" y="1665"/>
                  </a:lnTo>
                  <a:lnTo>
                    <a:pt x="515" y="1665"/>
                  </a:lnTo>
                  <a:lnTo>
                    <a:pt x="516" y="1666"/>
                  </a:lnTo>
                  <a:lnTo>
                    <a:pt x="516" y="1666"/>
                  </a:lnTo>
                  <a:lnTo>
                    <a:pt x="518" y="1666"/>
                  </a:lnTo>
                  <a:lnTo>
                    <a:pt x="519" y="1665"/>
                  </a:lnTo>
                  <a:lnTo>
                    <a:pt x="519" y="1665"/>
                  </a:lnTo>
                  <a:lnTo>
                    <a:pt x="519" y="1662"/>
                  </a:lnTo>
                  <a:lnTo>
                    <a:pt x="519" y="1660"/>
                  </a:lnTo>
                  <a:lnTo>
                    <a:pt x="519" y="1660"/>
                  </a:lnTo>
                  <a:lnTo>
                    <a:pt x="521" y="1660"/>
                  </a:lnTo>
                  <a:lnTo>
                    <a:pt x="521" y="1659"/>
                  </a:lnTo>
                  <a:lnTo>
                    <a:pt x="521" y="1659"/>
                  </a:lnTo>
                  <a:lnTo>
                    <a:pt x="522" y="1659"/>
                  </a:lnTo>
                  <a:lnTo>
                    <a:pt x="522" y="1660"/>
                  </a:lnTo>
                  <a:lnTo>
                    <a:pt x="524" y="1660"/>
                  </a:lnTo>
                  <a:lnTo>
                    <a:pt x="524" y="1660"/>
                  </a:lnTo>
                  <a:lnTo>
                    <a:pt x="526" y="1659"/>
                  </a:lnTo>
                  <a:lnTo>
                    <a:pt x="527" y="1659"/>
                  </a:lnTo>
                  <a:lnTo>
                    <a:pt x="527" y="1659"/>
                  </a:lnTo>
                  <a:lnTo>
                    <a:pt x="529" y="1662"/>
                  </a:lnTo>
                  <a:lnTo>
                    <a:pt x="529" y="1663"/>
                  </a:lnTo>
                  <a:lnTo>
                    <a:pt x="527" y="1662"/>
                  </a:lnTo>
                  <a:lnTo>
                    <a:pt x="527" y="1662"/>
                  </a:lnTo>
                  <a:lnTo>
                    <a:pt x="526" y="1663"/>
                  </a:lnTo>
                  <a:lnTo>
                    <a:pt x="524" y="1663"/>
                  </a:lnTo>
                  <a:lnTo>
                    <a:pt x="527" y="1665"/>
                  </a:lnTo>
                  <a:lnTo>
                    <a:pt x="532" y="1666"/>
                  </a:lnTo>
                  <a:lnTo>
                    <a:pt x="536" y="1666"/>
                  </a:lnTo>
                  <a:lnTo>
                    <a:pt x="538" y="1665"/>
                  </a:lnTo>
                  <a:lnTo>
                    <a:pt x="536" y="1665"/>
                  </a:lnTo>
                  <a:lnTo>
                    <a:pt x="535" y="1665"/>
                  </a:lnTo>
                  <a:lnTo>
                    <a:pt x="533" y="1663"/>
                  </a:lnTo>
                  <a:lnTo>
                    <a:pt x="533" y="1662"/>
                  </a:lnTo>
                  <a:lnTo>
                    <a:pt x="533" y="1660"/>
                  </a:lnTo>
                  <a:lnTo>
                    <a:pt x="532" y="1659"/>
                  </a:lnTo>
                  <a:lnTo>
                    <a:pt x="532" y="1659"/>
                  </a:lnTo>
                  <a:lnTo>
                    <a:pt x="535" y="1659"/>
                  </a:lnTo>
                  <a:lnTo>
                    <a:pt x="535" y="1659"/>
                  </a:lnTo>
                  <a:lnTo>
                    <a:pt x="533" y="1656"/>
                  </a:lnTo>
                  <a:lnTo>
                    <a:pt x="533" y="1656"/>
                  </a:lnTo>
                  <a:lnTo>
                    <a:pt x="538" y="1656"/>
                  </a:lnTo>
                  <a:lnTo>
                    <a:pt x="541" y="1656"/>
                  </a:lnTo>
                  <a:lnTo>
                    <a:pt x="544" y="1653"/>
                  </a:lnTo>
                  <a:lnTo>
                    <a:pt x="547" y="1648"/>
                  </a:lnTo>
                  <a:lnTo>
                    <a:pt x="549" y="1646"/>
                  </a:lnTo>
                  <a:lnTo>
                    <a:pt x="553" y="1645"/>
                  </a:lnTo>
                  <a:lnTo>
                    <a:pt x="558" y="1642"/>
                  </a:lnTo>
                  <a:lnTo>
                    <a:pt x="561" y="1640"/>
                  </a:lnTo>
                  <a:lnTo>
                    <a:pt x="562" y="1637"/>
                  </a:lnTo>
                  <a:lnTo>
                    <a:pt x="562" y="1637"/>
                  </a:lnTo>
                  <a:lnTo>
                    <a:pt x="564" y="1636"/>
                  </a:lnTo>
                  <a:lnTo>
                    <a:pt x="564" y="1634"/>
                  </a:lnTo>
                  <a:lnTo>
                    <a:pt x="562" y="1633"/>
                  </a:lnTo>
                  <a:lnTo>
                    <a:pt x="562" y="1633"/>
                  </a:lnTo>
                  <a:lnTo>
                    <a:pt x="564" y="1633"/>
                  </a:lnTo>
                  <a:lnTo>
                    <a:pt x="564" y="1634"/>
                  </a:lnTo>
                  <a:lnTo>
                    <a:pt x="566" y="1634"/>
                  </a:lnTo>
                  <a:lnTo>
                    <a:pt x="566" y="1634"/>
                  </a:lnTo>
                  <a:lnTo>
                    <a:pt x="567" y="1633"/>
                  </a:lnTo>
                  <a:lnTo>
                    <a:pt x="567" y="1631"/>
                  </a:lnTo>
                  <a:lnTo>
                    <a:pt x="569" y="1629"/>
                  </a:lnTo>
                  <a:lnTo>
                    <a:pt x="564" y="1629"/>
                  </a:lnTo>
                  <a:lnTo>
                    <a:pt x="566" y="1629"/>
                  </a:lnTo>
                  <a:lnTo>
                    <a:pt x="566" y="1629"/>
                  </a:lnTo>
                  <a:lnTo>
                    <a:pt x="566" y="1628"/>
                  </a:lnTo>
                  <a:lnTo>
                    <a:pt x="566" y="1626"/>
                  </a:lnTo>
                  <a:lnTo>
                    <a:pt x="566" y="1626"/>
                  </a:lnTo>
                  <a:lnTo>
                    <a:pt x="569" y="1626"/>
                  </a:lnTo>
                  <a:lnTo>
                    <a:pt x="569" y="1623"/>
                  </a:lnTo>
                  <a:lnTo>
                    <a:pt x="570" y="1622"/>
                  </a:lnTo>
                  <a:lnTo>
                    <a:pt x="576" y="1620"/>
                  </a:lnTo>
                  <a:lnTo>
                    <a:pt x="578" y="1619"/>
                  </a:lnTo>
                  <a:lnTo>
                    <a:pt x="579" y="1617"/>
                  </a:lnTo>
                  <a:lnTo>
                    <a:pt x="581" y="1616"/>
                  </a:lnTo>
                  <a:lnTo>
                    <a:pt x="581" y="1616"/>
                  </a:lnTo>
                  <a:lnTo>
                    <a:pt x="582" y="1617"/>
                  </a:lnTo>
                  <a:lnTo>
                    <a:pt x="582" y="1619"/>
                  </a:lnTo>
                  <a:lnTo>
                    <a:pt x="584" y="1620"/>
                  </a:lnTo>
                  <a:lnTo>
                    <a:pt x="586" y="1620"/>
                  </a:lnTo>
                  <a:lnTo>
                    <a:pt x="590" y="1619"/>
                  </a:lnTo>
                  <a:lnTo>
                    <a:pt x="592" y="1617"/>
                  </a:lnTo>
                  <a:lnTo>
                    <a:pt x="593" y="1616"/>
                  </a:lnTo>
                  <a:lnTo>
                    <a:pt x="593" y="1613"/>
                  </a:lnTo>
                  <a:lnTo>
                    <a:pt x="590" y="1609"/>
                  </a:lnTo>
                  <a:lnTo>
                    <a:pt x="572" y="1611"/>
                  </a:lnTo>
                  <a:lnTo>
                    <a:pt x="569" y="1613"/>
                  </a:lnTo>
                  <a:lnTo>
                    <a:pt x="567" y="1613"/>
                  </a:lnTo>
                  <a:lnTo>
                    <a:pt x="567" y="1611"/>
                  </a:lnTo>
                  <a:lnTo>
                    <a:pt x="569" y="1609"/>
                  </a:lnTo>
                  <a:lnTo>
                    <a:pt x="570" y="1608"/>
                  </a:lnTo>
                  <a:lnTo>
                    <a:pt x="573" y="1609"/>
                  </a:lnTo>
                  <a:lnTo>
                    <a:pt x="575" y="1608"/>
                  </a:lnTo>
                  <a:lnTo>
                    <a:pt x="576" y="1608"/>
                  </a:lnTo>
                  <a:lnTo>
                    <a:pt x="581" y="1600"/>
                  </a:lnTo>
                  <a:lnTo>
                    <a:pt x="582" y="1597"/>
                  </a:lnTo>
                  <a:lnTo>
                    <a:pt x="582" y="1596"/>
                  </a:lnTo>
                  <a:lnTo>
                    <a:pt x="579" y="1591"/>
                  </a:lnTo>
                  <a:lnTo>
                    <a:pt x="579" y="1588"/>
                  </a:lnTo>
                  <a:lnTo>
                    <a:pt x="581" y="1589"/>
                  </a:lnTo>
                  <a:lnTo>
                    <a:pt x="584" y="1593"/>
                  </a:lnTo>
                  <a:lnTo>
                    <a:pt x="589" y="1602"/>
                  </a:lnTo>
                  <a:lnTo>
                    <a:pt x="590" y="1603"/>
                  </a:lnTo>
                  <a:lnTo>
                    <a:pt x="592" y="1603"/>
                  </a:lnTo>
                  <a:lnTo>
                    <a:pt x="592" y="1602"/>
                  </a:lnTo>
                  <a:lnTo>
                    <a:pt x="592" y="1596"/>
                  </a:lnTo>
                  <a:lnTo>
                    <a:pt x="592" y="1594"/>
                  </a:lnTo>
                  <a:lnTo>
                    <a:pt x="592" y="1593"/>
                  </a:lnTo>
                  <a:lnTo>
                    <a:pt x="590" y="1593"/>
                  </a:lnTo>
                  <a:lnTo>
                    <a:pt x="590" y="1593"/>
                  </a:lnTo>
                  <a:lnTo>
                    <a:pt x="590" y="1596"/>
                  </a:lnTo>
                  <a:lnTo>
                    <a:pt x="590" y="1596"/>
                  </a:lnTo>
                  <a:lnTo>
                    <a:pt x="590" y="1596"/>
                  </a:lnTo>
                  <a:lnTo>
                    <a:pt x="589" y="1596"/>
                  </a:lnTo>
                  <a:lnTo>
                    <a:pt x="587" y="1594"/>
                  </a:lnTo>
                  <a:lnTo>
                    <a:pt x="587" y="1593"/>
                  </a:lnTo>
                  <a:lnTo>
                    <a:pt x="589" y="1593"/>
                  </a:lnTo>
                  <a:lnTo>
                    <a:pt x="587" y="1591"/>
                  </a:lnTo>
                  <a:lnTo>
                    <a:pt x="587" y="1591"/>
                  </a:lnTo>
                  <a:lnTo>
                    <a:pt x="586" y="1589"/>
                  </a:lnTo>
                  <a:lnTo>
                    <a:pt x="584" y="1589"/>
                  </a:lnTo>
                  <a:lnTo>
                    <a:pt x="581" y="1588"/>
                  </a:lnTo>
                  <a:lnTo>
                    <a:pt x="579" y="1586"/>
                  </a:lnTo>
                  <a:lnTo>
                    <a:pt x="578" y="1579"/>
                  </a:lnTo>
                  <a:lnTo>
                    <a:pt x="575" y="1568"/>
                  </a:lnTo>
                  <a:lnTo>
                    <a:pt x="573" y="1566"/>
                  </a:lnTo>
                  <a:lnTo>
                    <a:pt x="573" y="1563"/>
                  </a:lnTo>
                  <a:lnTo>
                    <a:pt x="573" y="1562"/>
                  </a:lnTo>
                  <a:lnTo>
                    <a:pt x="573" y="1560"/>
                  </a:lnTo>
                  <a:lnTo>
                    <a:pt x="573" y="1560"/>
                  </a:lnTo>
                  <a:lnTo>
                    <a:pt x="570" y="1562"/>
                  </a:lnTo>
                  <a:lnTo>
                    <a:pt x="569" y="1566"/>
                  </a:lnTo>
                  <a:lnTo>
                    <a:pt x="570" y="1569"/>
                  </a:lnTo>
                  <a:lnTo>
                    <a:pt x="570" y="1574"/>
                  </a:lnTo>
                  <a:lnTo>
                    <a:pt x="572" y="1577"/>
                  </a:lnTo>
                  <a:lnTo>
                    <a:pt x="572" y="1576"/>
                  </a:lnTo>
                  <a:lnTo>
                    <a:pt x="569" y="1571"/>
                  </a:lnTo>
                  <a:lnTo>
                    <a:pt x="567" y="1568"/>
                  </a:lnTo>
                  <a:lnTo>
                    <a:pt x="567" y="1563"/>
                  </a:lnTo>
                  <a:lnTo>
                    <a:pt x="567" y="1562"/>
                  </a:lnTo>
                  <a:lnTo>
                    <a:pt x="567" y="1559"/>
                  </a:lnTo>
                  <a:lnTo>
                    <a:pt x="564" y="1559"/>
                  </a:lnTo>
                  <a:lnTo>
                    <a:pt x="561" y="1556"/>
                  </a:lnTo>
                  <a:lnTo>
                    <a:pt x="559" y="1556"/>
                  </a:lnTo>
                  <a:lnTo>
                    <a:pt x="558" y="1556"/>
                  </a:lnTo>
                  <a:lnTo>
                    <a:pt x="556" y="1557"/>
                  </a:lnTo>
                  <a:lnTo>
                    <a:pt x="556" y="1559"/>
                  </a:lnTo>
                  <a:lnTo>
                    <a:pt x="556" y="1562"/>
                  </a:lnTo>
                  <a:lnTo>
                    <a:pt x="556" y="1565"/>
                  </a:lnTo>
                  <a:lnTo>
                    <a:pt x="556" y="1568"/>
                  </a:lnTo>
                  <a:lnTo>
                    <a:pt x="556" y="1568"/>
                  </a:lnTo>
                  <a:lnTo>
                    <a:pt x="555" y="1565"/>
                  </a:lnTo>
                  <a:lnTo>
                    <a:pt x="553" y="1560"/>
                  </a:lnTo>
                  <a:lnTo>
                    <a:pt x="553" y="1559"/>
                  </a:lnTo>
                  <a:lnTo>
                    <a:pt x="553" y="1557"/>
                  </a:lnTo>
                  <a:lnTo>
                    <a:pt x="553" y="1552"/>
                  </a:lnTo>
                  <a:lnTo>
                    <a:pt x="553" y="1552"/>
                  </a:lnTo>
                  <a:lnTo>
                    <a:pt x="553" y="1554"/>
                  </a:lnTo>
                  <a:lnTo>
                    <a:pt x="553" y="1554"/>
                  </a:lnTo>
                  <a:lnTo>
                    <a:pt x="552" y="1556"/>
                  </a:lnTo>
                  <a:lnTo>
                    <a:pt x="550" y="1556"/>
                  </a:lnTo>
                  <a:lnTo>
                    <a:pt x="550" y="1554"/>
                  </a:lnTo>
                  <a:lnTo>
                    <a:pt x="547" y="1552"/>
                  </a:lnTo>
                  <a:lnTo>
                    <a:pt x="544" y="1549"/>
                  </a:lnTo>
                  <a:lnTo>
                    <a:pt x="542" y="1548"/>
                  </a:lnTo>
                  <a:lnTo>
                    <a:pt x="542" y="1543"/>
                  </a:lnTo>
                  <a:lnTo>
                    <a:pt x="544" y="1546"/>
                  </a:lnTo>
                  <a:lnTo>
                    <a:pt x="546" y="1546"/>
                  </a:lnTo>
                  <a:lnTo>
                    <a:pt x="546" y="1546"/>
                  </a:lnTo>
                  <a:lnTo>
                    <a:pt x="544" y="1543"/>
                  </a:lnTo>
                  <a:lnTo>
                    <a:pt x="541" y="1540"/>
                  </a:lnTo>
                  <a:lnTo>
                    <a:pt x="538" y="1536"/>
                  </a:lnTo>
                  <a:lnTo>
                    <a:pt x="536" y="1531"/>
                  </a:lnTo>
                  <a:lnTo>
                    <a:pt x="541" y="1537"/>
                  </a:lnTo>
                  <a:lnTo>
                    <a:pt x="542" y="1540"/>
                  </a:lnTo>
                  <a:lnTo>
                    <a:pt x="555" y="1545"/>
                  </a:lnTo>
                  <a:lnTo>
                    <a:pt x="558" y="1543"/>
                  </a:lnTo>
                  <a:lnTo>
                    <a:pt x="555" y="1540"/>
                  </a:lnTo>
                  <a:lnTo>
                    <a:pt x="544" y="1536"/>
                  </a:lnTo>
                  <a:lnTo>
                    <a:pt x="546" y="1534"/>
                  </a:lnTo>
                  <a:lnTo>
                    <a:pt x="546" y="1534"/>
                  </a:lnTo>
                  <a:lnTo>
                    <a:pt x="547" y="1534"/>
                  </a:lnTo>
                  <a:lnTo>
                    <a:pt x="549" y="1534"/>
                  </a:lnTo>
                  <a:lnTo>
                    <a:pt x="549" y="1534"/>
                  </a:lnTo>
                  <a:lnTo>
                    <a:pt x="547" y="1532"/>
                  </a:lnTo>
                  <a:lnTo>
                    <a:pt x="546" y="1531"/>
                  </a:lnTo>
                  <a:lnTo>
                    <a:pt x="546" y="1531"/>
                  </a:lnTo>
                  <a:lnTo>
                    <a:pt x="546" y="1529"/>
                  </a:lnTo>
                  <a:lnTo>
                    <a:pt x="546" y="1528"/>
                  </a:lnTo>
                  <a:lnTo>
                    <a:pt x="546" y="1528"/>
                  </a:lnTo>
                  <a:lnTo>
                    <a:pt x="544" y="1526"/>
                  </a:lnTo>
                  <a:lnTo>
                    <a:pt x="539" y="1526"/>
                  </a:lnTo>
                  <a:lnTo>
                    <a:pt x="536" y="1525"/>
                  </a:lnTo>
                  <a:lnTo>
                    <a:pt x="536" y="1525"/>
                  </a:lnTo>
                  <a:lnTo>
                    <a:pt x="535" y="1525"/>
                  </a:lnTo>
                  <a:lnTo>
                    <a:pt x="533" y="1526"/>
                  </a:lnTo>
                  <a:lnTo>
                    <a:pt x="532" y="1528"/>
                  </a:lnTo>
                  <a:lnTo>
                    <a:pt x="530" y="1529"/>
                  </a:lnTo>
                  <a:lnTo>
                    <a:pt x="530" y="1528"/>
                  </a:lnTo>
                  <a:lnTo>
                    <a:pt x="529" y="1528"/>
                  </a:lnTo>
                  <a:lnTo>
                    <a:pt x="529" y="1526"/>
                  </a:lnTo>
                  <a:lnTo>
                    <a:pt x="529" y="1525"/>
                  </a:lnTo>
                  <a:lnTo>
                    <a:pt x="529" y="1523"/>
                  </a:lnTo>
                  <a:lnTo>
                    <a:pt x="532" y="1522"/>
                  </a:lnTo>
                  <a:lnTo>
                    <a:pt x="532" y="1522"/>
                  </a:lnTo>
                  <a:lnTo>
                    <a:pt x="526" y="1519"/>
                  </a:lnTo>
                  <a:lnTo>
                    <a:pt x="524" y="1516"/>
                  </a:lnTo>
                  <a:lnTo>
                    <a:pt x="521" y="1512"/>
                  </a:lnTo>
                  <a:lnTo>
                    <a:pt x="521" y="1512"/>
                  </a:lnTo>
                  <a:lnTo>
                    <a:pt x="521" y="1509"/>
                  </a:lnTo>
                  <a:lnTo>
                    <a:pt x="519" y="1508"/>
                  </a:lnTo>
                  <a:lnTo>
                    <a:pt x="518" y="1506"/>
                  </a:lnTo>
                  <a:lnTo>
                    <a:pt x="515" y="1503"/>
                  </a:lnTo>
                  <a:lnTo>
                    <a:pt x="512" y="1502"/>
                  </a:lnTo>
                  <a:lnTo>
                    <a:pt x="510" y="1502"/>
                  </a:lnTo>
                  <a:lnTo>
                    <a:pt x="510" y="1500"/>
                  </a:lnTo>
                  <a:lnTo>
                    <a:pt x="512" y="1500"/>
                  </a:lnTo>
                  <a:lnTo>
                    <a:pt x="512" y="1499"/>
                  </a:lnTo>
                  <a:lnTo>
                    <a:pt x="512" y="1497"/>
                  </a:lnTo>
                  <a:lnTo>
                    <a:pt x="512" y="1496"/>
                  </a:lnTo>
                  <a:lnTo>
                    <a:pt x="510" y="1489"/>
                  </a:lnTo>
                  <a:lnTo>
                    <a:pt x="509" y="1488"/>
                  </a:lnTo>
                  <a:lnTo>
                    <a:pt x="507" y="1488"/>
                  </a:lnTo>
                  <a:lnTo>
                    <a:pt x="499" y="1491"/>
                  </a:lnTo>
                  <a:lnTo>
                    <a:pt x="495" y="1494"/>
                  </a:lnTo>
                  <a:lnTo>
                    <a:pt x="492" y="1499"/>
                  </a:lnTo>
                  <a:lnTo>
                    <a:pt x="493" y="1502"/>
                  </a:lnTo>
                  <a:lnTo>
                    <a:pt x="493" y="1503"/>
                  </a:lnTo>
                  <a:lnTo>
                    <a:pt x="489" y="1503"/>
                  </a:lnTo>
                  <a:lnTo>
                    <a:pt x="485" y="1502"/>
                  </a:lnTo>
                  <a:lnTo>
                    <a:pt x="485" y="1497"/>
                  </a:lnTo>
                  <a:lnTo>
                    <a:pt x="484" y="1496"/>
                  </a:lnTo>
                  <a:lnTo>
                    <a:pt x="484" y="1492"/>
                  </a:lnTo>
                  <a:lnTo>
                    <a:pt x="484" y="1491"/>
                  </a:lnTo>
                  <a:lnTo>
                    <a:pt x="484" y="1489"/>
                  </a:lnTo>
                  <a:lnTo>
                    <a:pt x="487" y="1488"/>
                  </a:lnTo>
                  <a:lnTo>
                    <a:pt x="487" y="1486"/>
                  </a:lnTo>
                  <a:lnTo>
                    <a:pt x="487" y="1485"/>
                  </a:lnTo>
                  <a:lnTo>
                    <a:pt x="484" y="1483"/>
                  </a:lnTo>
                  <a:lnTo>
                    <a:pt x="482" y="1482"/>
                  </a:lnTo>
                  <a:lnTo>
                    <a:pt x="481" y="1482"/>
                  </a:lnTo>
                  <a:lnTo>
                    <a:pt x="479" y="1480"/>
                  </a:lnTo>
                  <a:lnTo>
                    <a:pt x="469" y="1482"/>
                  </a:lnTo>
                  <a:lnTo>
                    <a:pt x="467" y="1483"/>
                  </a:lnTo>
                  <a:lnTo>
                    <a:pt x="467" y="1485"/>
                  </a:lnTo>
                  <a:lnTo>
                    <a:pt x="467" y="1485"/>
                  </a:lnTo>
                  <a:lnTo>
                    <a:pt x="465" y="1485"/>
                  </a:lnTo>
                  <a:lnTo>
                    <a:pt x="464" y="1485"/>
                  </a:lnTo>
                  <a:lnTo>
                    <a:pt x="462" y="1483"/>
                  </a:lnTo>
                  <a:lnTo>
                    <a:pt x="462" y="1483"/>
                  </a:lnTo>
                  <a:lnTo>
                    <a:pt x="465" y="1480"/>
                  </a:lnTo>
                  <a:lnTo>
                    <a:pt x="461" y="1477"/>
                  </a:lnTo>
                  <a:lnTo>
                    <a:pt x="459" y="1475"/>
                  </a:lnTo>
                  <a:lnTo>
                    <a:pt x="458" y="1474"/>
                  </a:lnTo>
                  <a:lnTo>
                    <a:pt x="456" y="1474"/>
                  </a:lnTo>
                  <a:lnTo>
                    <a:pt x="455" y="1474"/>
                  </a:lnTo>
                  <a:lnTo>
                    <a:pt x="453" y="1474"/>
                  </a:lnTo>
                  <a:lnTo>
                    <a:pt x="453" y="1474"/>
                  </a:lnTo>
                  <a:lnTo>
                    <a:pt x="452" y="1474"/>
                  </a:lnTo>
                  <a:lnTo>
                    <a:pt x="452" y="1474"/>
                  </a:lnTo>
                  <a:lnTo>
                    <a:pt x="453" y="1472"/>
                  </a:lnTo>
                  <a:lnTo>
                    <a:pt x="455" y="1472"/>
                  </a:lnTo>
                  <a:lnTo>
                    <a:pt x="458" y="1469"/>
                  </a:lnTo>
                  <a:lnTo>
                    <a:pt x="459" y="1468"/>
                  </a:lnTo>
                  <a:lnTo>
                    <a:pt x="461" y="1466"/>
                  </a:lnTo>
                  <a:lnTo>
                    <a:pt x="462" y="1465"/>
                  </a:lnTo>
                  <a:lnTo>
                    <a:pt x="464" y="1463"/>
                  </a:lnTo>
                  <a:lnTo>
                    <a:pt x="462" y="1462"/>
                  </a:lnTo>
                  <a:lnTo>
                    <a:pt x="462" y="1462"/>
                  </a:lnTo>
                  <a:lnTo>
                    <a:pt x="461" y="1462"/>
                  </a:lnTo>
                  <a:lnTo>
                    <a:pt x="459" y="1460"/>
                  </a:lnTo>
                  <a:lnTo>
                    <a:pt x="459" y="1460"/>
                  </a:lnTo>
                  <a:lnTo>
                    <a:pt x="459" y="1457"/>
                  </a:lnTo>
                  <a:lnTo>
                    <a:pt x="459" y="1455"/>
                  </a:lnTo>
                  <a:lnTo>
                    <a:pt x="459" y="1455"/>
                  </a:lnTo>
                  <a:lnTo>
                    <a:pt x="458" y="1455"/>
                  </a:lnTo>
                  <a:lnTo>
                    <a:pt x="458" y="1455"/>
                  </a:lnTo>
                  <a:lnTo>
                    <a:pt x="458" y="1454"/>
                  </a:lnTo>
                  <a:lnTo>
                    <a:pt x="458" y="1452"/>
                  </a:lnTo>
                  <a:lnTo>
                    <a:pt x="458" y="1452"/>
                  </a:lnTo>
                  <a:lnTo>
                    <a:pt x="459" y="1452"/>
                  </a:lnTo>
                  <a:lnTo>
                    <a:pt x="459" y="1451"/>
                  </a:lnTo>
                  <a:lnTo>
                    <a:pt x="456" y="1443"/>
                  </a:lnTo>
                  <a:lnTo>
                    <a:pt x="456" y="1442"/>
                  </a:lnTo>
                  <a:lnTo>
                    <a:pt x="456" y="1442"/>
                  </a:lnTo>
                  <a:lnTo>
                    <a:pt x="455" y="1443"/>
                  </a:lnTo>
                  <a:lnTo>
                    <a:pt x="455" y="1442"/>
                  </a:lnTo>
                  <a:lnTo>
                    <a:pt x="453" y="1440"/>
                  </a:lnTo>
                  <a:lnTo>
                    <a:pt x="453" y="1439"/>
                  </a:lnTo>
                  <a:lnTo>
                    <a:pt x="453" y="1437"/>
                  </a:lnTo>
                  <a:lnTo>
                    <a:pt x="453" y="1437"/>
                  </a:lnTo>
                  <a:lnTo>
                    <a:pt x="452" y="1437"/>
                  </a:lnTo>
                  <a:lnTo>
                    <a:pt x="450" y="1435"/>
                  </a:lnTo>
                  <a:lnTo>
                    <a:pt x="450" y="1434"/>
                  </a:lnTo>
                  <a:lnTo>
                    <a:pt x="450" y="1432"/>
                  </a:lnTo>
                  <a:lnTo>
                    <a:pt x="450" y="1428"/>
                  </a:lnTo>
                  <a:lnTo>
                    <a:pt x="452" y="1426"/>
                  </a:lnTo>
                  <a:lnTo>
                    <a:pt x="456" y="1425"/>
                  </a:lnTo>
                  <a:lnTo>
                    <a:pt x="456" y="1423"/>
                  </a:lnTo>
                  <a:lnTo>
                    <a:pt x="455" y="1423"/>
                  </a:lnTo>
                  <a:lnTo>
                    <a:pt x="450" y="1425"/>
                  </a:lnTo>
                  <a:lnTo>
                    <a:pt x="450" y="1423"/>
                  </a:lnTo>
                  <a:lnTo>
                    <a:pt x="452" y="1422"/>
                  </a:lnTo>
                  <a:lnTo>
                    <a:pt x="452" y="1422"/>
                  </a:lnTo>
                  <a:lnTo>
                    <a:pt x="452" y="1420"/>
                  </a:lnTo>
                  <a:lnTo>
                    <a:pt x="450" y="1420"/>
                  </a:lnTo>
                  <a:lnTo>
                    <a:pt x="452" y="1419"/>
                  </a:lnTo>
                  <a:lnTo>
                    <a:pt x="452" y="1415"/>
                  </a:lnTo>
                  <a:lnTo>
                    <a:pt x="452" y="1414"/>
                  </a:lnTo>
                  <a:lnTo>
                    <a:pt x="453" y="1414"/>
                  </a:lnTo>
                  <a:lnTo>
                    <a:pt x="453" y="1414"/>
                  </a:lnTo>
                  <a:lnTo>
                    <a:pt x="453" y="1412"/>
                  </a:lnTo>
                  <a:lnTo>
                    <a:pt x="453" y="1411"/>
                  </a:lnTo>
                  <a:lnTo>
                    <a:pt x="453" y="1411"/>
                  </a:lnTo>
                  <a:lnTo>
                    <a:pt x="452" y="1411"/>
                  </a:lnTo>
                  <a:lnTo>
                    <a:pt x="450" y="1411"/>
                  </a:lnTo>
                  <a:lnTo>
                    <a:pt x="448" y="1409"/>
                  </a:lnTo>
                  <a:lnTo>
                    <a:pt x="452" y="1409"/>
                  </a:lnTo>
                  <a:lnTo>
                    <a:pt x="452" y="1408"/>
                  </a:lnTo>
                  <a:lnTo>
                    <a:pt x="452" y="1406"/>
                  </a:lnTo>
                  <a:lnTo>
                    <a:pt x="450" y="1405"/>
                  </a:lnTo>
                  <a:lnTo>
                    <a:pt x="452" y="1403"/>
                  </a:lnTo>
                  <a:lnTo>
                    <a:pt x="452" y="1402"/>
                  </a:lnTo>
                  <a:lnTo>
                    <a:pt x="452" y="1399"/>
                  </a:lnTo>
                  <a:lnTo>
                    <a:pt x="450" y="1395"/>
                  </a:lnTo>
                  <a:lnTo>
                    <a:pt x="452" y="1394"/>
                  </a:lnTo>
                  <a:lnTo>
                    <a:pt x="453" y="1392"/>
                  </a:lnTo>
                  <a:lnTo>
                    <a:pt x="455" y="1391"/>
                  </a:lnTo>
                  <a:lnTo>
                    <a:pt x="453" y="1388"/>
                  </a:lnTo>
                  <a:lnTo>
                    <a:pt x="452" y="1385"/>
                  </a:lnTo>
                  <a:lnTo>
                    <a:pt x="450" y="1382"/>
                  </a:lnTo>
                  <a:lnTo>
                    <a:pt x="447" y="1380"/>
                  </a:lnTo>
                  <a:lnTo>
                    <a:pt x="445" y="1378"/>
                  </a:lnTo>
                  <a:lnTo>
                    <a:pt x="445" y="1378"/>
                  </a:lnTo>
                  <a:lnTo>
                    <a:pt x="447" y="1378"/>
                  </a:lnTo>
                  <a:lnTo>
                    <a:pt x="448" y="1378"/>
                  </a:lnTo>
                  <a:lnTo>
                    <a:pt x="452" y="1383"/>
                  </a:lnTo>
                  <a:lnTo>
                    <a:pt x="453" y="1383"/>
                  </a:lnTo>
                  <a:lnTo>
                    <a:pt x="456" y="1383"/>
                  </a:lnTo>
                  <a:lnTo>
                    <a:pt x="455" y="1382"/>
                  </a:lnTo>
                  <a:lnTo>
                    <a:pt x="453" y="1382"/>
                  </a:lnTo>
                  <a:lnTo>
                    <a:pt x="450" y="1380"/>
                  </a:lnTo>
                  <a:lnTo>
                    <a:pt x="450" y="1377"/>
                  </a:lnTo>
                  <a:lnTo>
                    <a:pt x="455" y="1378"/>
                  </a:lnTo>
                  <a:lnTo>
                    <a:pt x="456" y="1380"/>
                  </a:lnTo>
                  <a:lnTo>
                    <a:pt x="459" y="1378"/>
                  </a:lnTo>
                  <a:lnTo>
                    <a:pt x="453" y="1375"/>
                  </a:lnTo>
                  <a:lnTo>
                    <a:pt x="453" y="1374"/>
                  </a:lnTo>
                  <a:lnTo>
                    <a:pt x="450" y="1372"/>
                  </a:lnTo>
                  <a:lnTo>
                    <a:pt x="448" y="1371"/>
                  </a:lnTo>
                  <a:lnTo>
                    <a:pt x="447" y="1366"/>
                  </a:lnTo>
                  <a:lnTo>
                    <a:pt x="445" y="1366"/>
                  </a:lnTo>
                  <a:lnTo>
                    <a:pt x="447" y="1365"/>
                  </a:lnTo>
                  <a:lnTo>
                    <a:pt x="448" y="1363"/>
                  </a:lnTo>
                  <a:lnTo>
                    <a:pt x="448" y="1360"/>
                  </a:lnTo>
                  <a:lnTo>
                    <a:pt x="448" y="1360"/>
                  </a:lnTo>
                  <a:lnTo>
                    <a:pt x="450" y="1362"/>
                  </a:lnTo>
                  <a:lnTo>
                    <a:pt x="450" y="1363"/>
                  </a:lnTo>
                  <a:lnTo>
                    <a:pt x="452" y="1362"/>
                  </a:lnTo>
                  <a:lnTo>
                    <a:pt x="452" y="1362"/>
                  </a:lnTo>
                  <a:lnTo>
                    <a:pt x="453" y="1362"/>
                  </a:lnTo>
                  <a:lnTo>
                    <a:pt x="453" y="1360"/>
                  </a:lnTo>
                  <a:lnTo>
                    <a:pt x="455" y="1360"/>
                  </a:lnTo>
                  <a:lnTo>
                    <a:pt x="455" y="1358"/>
                  </a:lnTo>
                  <a:lnTo>
                    <a:pt x="455" y="1358"/>
                  </a:lnTo>
                  <a:lnTo>
                    <a:pt x="455" y="1357"/>
                  </a:lnTo>
                  <a:lnTo>
                    <a:pt x="453" y="1358"/>
                  </a:lnTo>
                  <a:lnTo>
                    <a:pt x="453" y="1358"/>
                  </a:lnTo>
                  <a:lnTo>
                    <a:pt x="453" y="1360"/>
                  </a:lnTo>
                  <a:lnTo>
                    <a:pt x="452" y="1360"/>
                  </a:lnTo>
                  <a:lnTo>
                    <a:pt x="452" y="1358"/>
                  </a:lnTo>
                  <a:lnTo>
                    <a:pt x="450" y="1358"/>
                  </a:lnTo>
                  <a:lnTo>
                    <a:pt x="450" y="1357"/>
                  </a:lnTo>
                  <a:lnTo>
                    <a:pt x="450" y="1355"/>
                  </a:lnTo>
                  <a:lnTo>
                    <a:pt x="450" y="1354"/>
                  </a:lnTo>
                  <a:lnTo>
                    <a:pt x="452" y="1352"/>
                  </a:lnTo>
                  <a:lnTo>
                    <a:pt x="452" y="1352"/>
                  </a:lnTo>
                  <a:lnTo>
                    <a:pt x="452" y="1351"/>
                  </a:lnTo>
                  <a:lnTo>
                    <a:pt x="450" y="1349"/>
                  </a:lnTo>
                  <a:lnTo>
                    <a:pt x="447" y="1348"/>
                  </a:lnTo>
                  <a:lnTo>
                    <a:pt x="447" y="1348"/>
                  </a:lnTo>
                  <a:lnTo>
                    <a:pt x="450" y="1348"/>
                  </a:lnTo>
                  <a:lnTo>
                    <a:pt x="450" y="1346"/>
                  </a:lnTo>
                  <a:lnTo>
                    <a:pt x="450" y="1345"/>
                  </a:lnTo>
                  <a:lnTo>
                    <a:pt x="448" y="1345"/>
                  </a:lnTo>
                  <a:lnTo>
                    <a:pt x="447" y="1343"/>
                  </a:lnTo>
                  <a:lnTo>
                    <a:pt x="445" y="1343"/>
                  </a:lnTo>
                  <a:lnTo>
                    <a:pt x="444" y="1342"/>
                  </a:lnTo>
                  <a:lnTo>
                    <a:pt x="445" y="1342"/>
                  </a:lnTo>
                  <a:lnTo>
                    <a:pt x="452" y="1342"/>
                  </a:lnTo>
                  <a:lnTo>
                    <a:pt x="452" y="1340"/>
                  </a:lnTo>
                  <a:lnTo>
                    <a:pt x="444" y="1338"/>
                  </a:lnTo>
                  <a:lnTo>
                    <a:pt x="442" y="1337"/>
                  </a:lnTo>
                  <a:lnTo>
                    <a:pt x="445" y="1337"/>
                  </a:lnTo>
                  <a:lnTo>
                    <a:pt x="448" y="1335"/>
                  </a:lnTo>
                  <a:lnTo>
                    <a:pt x="448" y="1334"/>
                  </a:lnTo>
                  <a:lnTo>
                    <a:pt x="447" y="1332"/>
                  </a:lnTo>
                  <a:lnTo>
                    <a:pt x="444" y="1332"/>
                  </a:lnTo>
                  <a:lnTo>
                    <a:pt x="444" y="1332"/>
                  </a:lnTo>
                  <a:lnTo>
                    <a:pt x="450" y="1332"/>
                  </a:lnTo>
                  <a:lnTo>
                    <a:pt x="452" y="1332"/>
                  </a:lnTo>
                  <a:lnTo>
                    <a:pt x="453" y="1334"/>
                  </a:lnTo>
                  <a:lnTo>
                    <a:pt x="455" y="1334"/>
                  </a:lnTo>
                  <a:lnTo>
                    <a:pt x="456" y="1332"/>
                  </a:lnTo>
                  <a:lnTo>
                    <a:pt x="455" y="1331"/>
                  </a:lnTo>
                  <a:lnTo>
                    <a:pt x="445" y="1329"/>
                  </a:lnTo>
                  <a:lnTo>
                    <a:pt x="447" y="1328"/>
                  </a:lnTo>
                  <a:lnTo>
                    <a:pt x="450" y="1329"/>
                  </a:lnTo>
                  <a:lnTo>
                    <a:pt x="453" y="1328"/>
                  </a:lnTo>
                  <a:lnTo>
                    <a:pt x="452" y="1326"/>
                  </a:lnTo>
                  <a:lnTo>
                    <a:pt x="450" y="1326"/>
                  </a:lnTo>
                  <a:lnTo>
                    <a:pt x="450" y="1326"/>
                  </a:lnTo>
                  <a:lnTo>
                    <a:pt x="453" y="1326"/>
                  </a:lnTo>
                  <a:lnTo>
                    <a:pt x="455" y="1325"/>
                  </a:lnTo>
                  <a:lnTo>
                    <a:pt x="458" y="1323"/>
                  </a:lnTo>
                  <a:lnTo>
                    <a:pt x="458" y="1320"/>
                  </a:lnTo>
                  <a:lnTo>
                    <a:pt x="453" y="1317"/>
                  </a:lnTo>
                  <a:lnTo>
                    <a:pt x="450" y="1317"/>
                  </a:lnTo>
                  <a:lnTo>
                    <a:pt x="450" y="1317"/>
                  </a:lnTo>
                  <a:lnTo>
                    <a:pt x="448" y="1315"/>
                  </a:lnTo>
                  <a:lnTo>
                    <a:pt x="455" y="1314"/>
                  </a:lnTo>
                  <a:lnTo>
                    <a:pt x="458" y="1315"/>
                  </a:lnTo>
                  <a:lnTo>
                    <a:pt x="461" y="1318"/>
                  </a:lnTo>
                  <a:lnTo>
                    <a:pt x="461" y="1320"/>
                  </a:lnTo>
                  <a:lnTo>
                    <a:pt x="461" y="1322"/>
                  </a:lnTo>
                  <a:lnTo>
                    <a:pt x="464" y="1323"/>
                  </a:lnTo>
                  <a:lnTo>
                    <a:pt x="464" y="1320"/>
                  </a:lnTo>
                  <a:lnTo>
                    <a:pt x="462" y="1318"/>
                  </a:lnTo>
                  <a:lnTo>
                    <a:pt x="462" y="1315"/>
                  </a:lnTo>
                  <a:lnTo>
                    <a:pt x="465" y="1317"/>
                  </a:lnTo>
                  <a:lnTo>
                    <a:pt x="467" y="1320"/>
                  </a:lnTo>
                  <a:lnTo>
                    <a:pt x="470" y="1326"/>
                  </a:lnTo>
                  <a:lnTo>
                    <a:pt x="470" y="1328"/>
                  </a:lnTo>
                  <a:lnTo>
                    <a:pt x="472" y="1329"/>
                  </a:lnTo>
                  <a:lnTo>
                    <a:pt x="473" y="1329"/>
                  </a:lnTo>
                  <a:lnTo>
                    <a:pt x="475" y="1329"/>
                  </a:lnTo>
                  <a:lnTo>
                    <a:pt x="475" y="1329"/>
                  </a:lnTo>
                  <a:lnTo>
                    <a:pt x="476" y="1326"/>
                  </a:lnTo>
                  <a:lnTo>
                    <a:pt x="476" y="1325"/>
                  </a:lnTo>
                  <a:lnTo>
                    <a:pt x="476" y="1322"/>
                  </a:lnTo>
                  <a:lnTo>
                    <a:pt x="476" y="1320"/>
                  </a:lnTo>
                  <a:lnTo>
                    <a:pt x="476" y="1318"/>
                  </a:lnTo>
                  <a:lnTo>
                    <a:pt x="476" y="1317"/>
                  </a:lnTo>
                  <a:lnTo>
                    <a:pt x="476" y="1315"/>
                  </a:lnTo>
                  <a:lnTo>
                    <a:pt x="475" y="1314"/>
                  </a:lnTo>
                  <a:lnTo>
                    <a:pt x="473" y="1314"/>
                  </a:lnTo>
                  <a:lnTo>
                    <a:pt x="472" y="1314"/>
                  </a:lnTo>
                  <a:lnTo>
                    <a:pt x="469" y="1315"/>
                  </a:lnTo>
                  <a:lnTo>
                    <a:pt x="467" y="1314"/>
                  </a:lnTo>
                  <a:lnTo>
                    <a:pt x="467" y="1311"/>
                  </a:lnTo>
                  <a:lnTo>
                    <a:pt x="467" y="1309"/>
                  </a:lnTo>
                  <a:lnTo>
                    <a:pt x="467" y="1306"/>
                  </a:lnTo>
                  <a:lnTo>
                    <a:pt x="467" y="1305"/>
                  </a:lnTo>
                  <a:lnTo>
                    <a:pt x="465" y="1305"/>
                  </a:lnTo>
                  <a:lnTo>
                    <a:pt x="465" y="1303"/>
                  </a:lnTo>
                  <a:lnTo>
                    <a:pt x="467" y="1303"/>
                  </a:lnTo>
                  <a:lnTo>
                    <a:pt x="467" y="1301"/>
                  </a:lnTo>
                  <a:lnTo>
                    <a:pt x="469" y="1301"/>
                  </a:lnTo>
                  <a:lnTo>
                    <a:pt x="469" y="1300"/>
                  </a:lnTo>
                  <a:lnTo>
                    <a:pt x="464" y="1301"/>
                  </a:lnTo>
                  <a:lnTo>
                    <a:pt x="464" y="1300"/>
                  </a:lnTo>
                  <a:lnTo>
                    <a:pt x="464" y="1300"/>
                  </a:lnTo>
                  <a:lnTo>
                    <a:pt x="464" y="1298"/>
                  </a:lnTo>
                  <a:lnTo>
                    <a:pt x="464" y="1298"/>
                  </a:lnTo>
                  <a:lnTo>
                    <a:pt x="464" y="1297"/>
                  </a:lnTo>
                  <a:lnTo>
                    <a:pt x="464" y="1295"/>
                  </a:lnTo>
                  <a:lnTo>
                    <a:pt x="464" y="1295"/>
                  </a:lnTo>
                  <a:lnTo>
                    <a:pt x="464" y="1294"/>
                  </a:lnTo>
                  <a:lnTo>
                    <a:pt x="464" y="1294"/>
                  </a:lnTo>
                  <a:lnTo>
                    <a:pt x="464" y="1294"/>
                  </a:lnTo>
                  <a:lnTo>
                    <a:pt x="464" y="1292"/>
                  </a:lnTo>
                  <a:lnTo>
                    <a:pt x="464" y="1292"/>
                  </a:lnTo>
                  <a:lnTo>
                    <a:pt x="464" y="1292"/>
                  </a:lnTo>
                  <a:lnTo>
                    <a:pt x="464" y="1291"/>
                  </a:lnTo>
                  <a:lnTo>
                    <a:pt x="465" y="1291"/>
                  </a:lnTo>
                  <a:lnTo>
                    <a:pt x="465" y="1289"/>
                  </a:lnTo>
                  <a:lnTo>
                    <a:pt x="465" y="1288"/>
                  </a:lnTo>
                  <a:lnTo>
                    <a:pt x="464" y="1286"/>
                  </a:lnTo>
                  <a:lnTo>
                    <a:pt x="464" y="1283"/>
                  </a:lnTo>
                  <a:lnTo>
                    <a:pt x="464" y="1281"/>
                  </a:lnTo>
                  <a:lnTo>
                    <a:pt x="464" y="1280"/>
                  </a:lnTo>
                  <a:lnTo>
                    <a:pt x="464" y="1278"/>
                  </a:lnTo>
                  <a:lnTo>
                    <a:pt x="465" y="1278"/>
                  </a:lnTo>
                  <a:lnTo>
                    <a:pt x="467" y="1277"/>
                  </a:lnTo>
                  <a:lnTo>
                    <a:pt x="467" y="1275"/>
                  </a:lnTo>
                  <a:lnTo>
                    <a:pt x="467" y="1274"/>
                  </a:lnTo>
                  <a:lnTo>
                    <a:pt x="467" y="1272"/>
                  </a:lnTo>
                  <a:lnTo>
                    <a:pt x="469" y="1272"/>
                  </a:lnTo>
                  <a:lnTo>
                    <a:pt x="472" y="1272"/>
                  </a:lnTo>
                  <a:lnTo>
                    <a:pt x="473" y="1271"/>
                  </a:lnTo>
                  <a:lnTo>
                    <a:pt x="472" y="1269"/>
                  </a:lnTo>
                  <a:lnTo>
                    <a:pt x="472" y="1268"/>
                  </a:lnTo>
                  <a:lnTo>
                    <a:pt x="470" y="1268"/>
                  </a:lnTo>
                  <a:lnTo>
                    <a:pt x="473" y="1263"/>
                  </a:lnTo>
                  <a:lnTo>
                    <a:pt x="473" y="1261"/>
                  </a:lnTo>
                  <a:lnTo>
                    <a:pt x="472" y="1260"/>
                  </a:lnTo>
                  <a:lnTo>
                    <a:pt x="473" y="1260"/>
                  </a:lnTo>
                  <a:lnTo>
                    <a:pt x="473" y="1258"/>
                  </a:lnTo>
                  <a:lnTo>
                    <a:pt x="473" y="1257"/>
                  </a:lnTo>
                  <a:lnTo>
                    <a:pt x="473" y="1252"/>
                  </a:lnTo>
                  <a:lnTo>
                    <a:pt x="475" y="1251"/>
                  </a:lnTo>
                  <a:lnTo>
                    <a:pt x="475" y="1248"/>
                  </a:lnTo>
                  <a:lnTo>
                    <a:pt x="476" y="1248"/>
                  </a:lnTo>
                  <a:lnTo>
                    <a:pt x="476" y="1246"/>
                  </a:lnTo>
                  <a:lnTo>
                    <a:pt x="476" y="1245"/>
                  </a:lnTo>
                  <a:lnTo>
                    <a:pt x="476" y="1241"/>
                  </a:lnTo>
                  <a:lnTo>
                    <a:pt x="476" y="1238"/>
                  </a:lnTo>
                  <a:lnTo>
                    <a:pt x="476" y="1237"/>
                  </a:lnTo>
                  <a:lnTo>
                    <a:pt x="476" y="1235"/>
                  </a:lnTo>
                  <a:lnTo>
                    <a:pt x="478" y="1234"/>
                  </a:lnTo>
                  <a:lnTo>
                    <a:pt x="479" y="1234"/>
                  </a:lnTo>
                  <a:lnTo>
                    <a:pt x="481" y="1235"/>
                  </a:lnTo>
                  <a:lnTo>
                    <a:pt x="479" y="1238"/>
                  </a:lnTo>
                  <a:lnTo>
                    <a:pt x="479" y="1240"/>
                  </a:lnTo>
                  <a:lnTo>
                    <a:pt x="481" y="1238"/>
                  </a:lnTo>
                  <a:lnTo>
                    <a:pt x="487" y="1235"/>
                  </a:lnTo>
                  <a:lnTo>
                    <a:pt x="485" y="1234"/>
                  </a:lnTo>
                  <a:lnTo>
                    <a:pt x="482" y="1232"/>
                  </a:lnTo>
                  <a:lnTo>
                    <a:pt x="481" y="1231"/>
                  </a:lnTo>
                  <a:lnTo>
                    <a:pt x="479" y="1232"/>
                  </a:lnTo>
                  <a:lnTo>
                    <a:pt x="473" y="1228"/>
                  </a:lnTo>
                  <a:lnTo>
                    <a:pt x="473" y="1228"/>
                  </a:lnTo>
                  <a:lnTo>
                    <a:pt x="473" y="1226"/>
                  </a:lnTo>
                  <a:lnTo>
                    <a:pt x="475" y="1228"/>
                  </a:lnTo>
                  <a:lnTo>
                    <a:pt x="475" y="1226"/>
                  </a:lnTo>
                  <a:lnTo>
                    <a:pt x="473" y="1224"/>
                  </a:lnTo>
                  <a:lnTo>
                    <a:pt x="473" y="1223"/>
                  </a:lnTo>
                  <a:lnTo>
                    <a:pt x="473" y="1221"/>
                  </a:lnTo>
                  <a:lnTo>
                    <a:pt x="472" y="1220"/>
                  </a:lnTo>
                  <a:lnTo>
                    <a:pt x="472" y="1218"/>
                  </a:lnTo>
                  <a:lnTo>
                    <a:pt x="470" y="1218"/>
                  </a:lnTo>
                  <a:lnTo>
                    <a:pt x="467" y="1220"/>
                  </a:lnTo>
                  <a:lnTo>
                    <a:pt x="467" y="1218"/>
                  </a:lnTo>
                  <a:lnTo>
                    <a:pt x="465" y="1217"/>
                  </a:lnTo>
                  <a:lnTo>
                    <a:pt x="465" y="1215"/>
                  </a:lnTo>
                  <a:lnTo>
                    <a:pt x="465" y="1214"/>
                  </a:lnTo>
                  <a:lnTo>
                    <a:pt x="465" y="1211"/>
                  </a:lnTo>
                  <a:lnTo>
                    <a:pt x="465" y="1209"/>
                  </a:lnTo>
                  <a:lnTo>
                    <a:pt x="464" y="1208"/>
                  </a:lnTo>
                  <a:lnTo>
                    <a:pt x="464" y="1208"/>
                  </a:lnTo>
                  <a:lnTo>
                    <a:pt x="464" y="1208"/>
                  </a:lnTo>
                  <a:lnTo>
                    <a:pt x="465" y="1208"/>
                  </a:lnTo>
                  <a:lnTo>
                    <a:pt x="465" y="1206"/>
                  </a:lnTo>
                  <a:lnTo>
                    <a:pt x="467" y="1206"/>
                  </a:lnTo>
                  <a:lnTo>
                    <a:pt x="467" y="1204"/>
                  </a:lnTo>
                  <a:lnTo>
                    <a:pt x="467" y="1203"/>
                  </a:lnTo>
                  <a:lnTo>
                    <a:pt x="467" y="1203"/>
                  </a:lnTo>
                  <a:lnTo>
                    <a:pt x="465" y="1201"/>
                  </a:lnTo>
                  <a:lnTo>
                    <a:pt x="462" y="1197"/>
                  </a:lnTo>
                  <a:lnTo>
                    <a:pt x="462" y="1194"/>
                  </a:lnTo>
                  <a:lnTo>
                    <a:pt x="464" y="1192"/>
                  </a:lnTo>
                  <a:lnTo>
                    <a:pt x="465" y="1191"/>
                  </a:lnTo>
                  <a:lnTo>
                    <a:pt x="467" y="1191"/>
                  </a:lnTo>
                  <a:lnTo>
                    <a:pt x="467" y="1189"/>
                  </a:lnTo>
                  <a:lnTo>
                    <a:pt x="469" y="1186"/>
                  </a:lnTo>
                  <a:lnTo>
                    <a:pt x="470" y="1184"/>
                  </a:lnTo>
                  <a:lnTo>
                    <a:pt x="472" y="1186"/>
                  </a:lnTo>
                  <a:lnTo>
                    <a:pt x="475" y="1191"/>
                  </a:lnTo>
                  <a:lnTo>
                    <a:pt x="478" y="1197"/>
                  </a:lnTo>
                  <a:lnTo>
                    <a:pt x="478" y="1198"/>
                  </a:lnTo>
                  <a:lnTo>
                    <a:pt x="479" y="1200"/>
                  </a:lnTo>
                  <a:lnTo>
                    <a:pt x="481" y="1201"/>
                  </a:lnTo>
                  <a:lnTo>
                    <a:pt x="481" y="1201"/>
                  </a:lnTo>
                  <a:lnTo>
                    <a:pt x="492" y="1201"/>
                  </a:lnTo>
                  <a:lnTo>
                    <a:pt x="490" y="1200"/>
                  </a:lnTo>
                  <a:lnTo>
                    <a:pt x="489" y="1198"/>
                  </a:lnTo>
                  <a:lnTo>
                    <a:pt x="487" y="1198"/>
                  </a:lnTo>
                  <a:lnTo>
                    <a:pt x="487" y="1195"/>
                  </a:lnTo>
                  <a:lnTo>
                    <a:pt x="489" y="1194"/>
                  </a:lnTo>
                  <a:lnTo>
                    <a:pt x="490" y="1192"/>
                  </a:lnTo>
                  <a:lnTo>
                    <a:pt x="493" y="1191"/>
                  </a:lnTo>
                  <a:lnTo>
                    <a:pt x="496" y="1191"/>
                  </a:lnTo>
                  <a:lnTo>
                    <a:pt x="498" y="1191"/>
                  </a:lnTo>
                  <a:lnTo>
                    <a:pt x="499" y="1194"/>
                  </a:lnTo>
                  <a:lnTo>
                    <a:pt x="499" y="1194"/>
                  </a:lnTo>
                  <a:lnTo>
                    <a:pt x="501" y="1194"/>
                  </a:lnTo>
                  <a:lnTo>
                    <a:pt x="502" y="1192"/>
                  </a:lnTo>
                  <a:lnTo>
                    <a:pt x="505" y="1188"/>
                  </a:lnTo>
                  <a:lnTo>
                    <a:pt x="504" y="1184"/>
                  </a:lnTo>
                  <a:lnTo>
                    <a:pt x="505" y="1184"/>
                  </a:lnTo>
                  <a:lnTo>
                    <a:pt x="505" y="1183"/>
                  </a:lnTo>
                  <a:lnTo>
                    <a:pt x="505" y="1183"/>
                  </a:lnTo>
                  <a:lnTo>
                    <a:pt x="505" y="1181"/>
                  </a:lnTo>
                  <a:lnTo>
                    <a:pt x="507" y="1180"/>
                  </a:lnTo>
                  <a:lnTo>
                    <a:pt x="507" y="1175"/>
                  </a:lnTo>
                  <a:lnTo>
                    <a:pt x="507" y="1174"/>
                  </a:lnTo>
                  <a:lnTo>
                    <a:pt x="509" y="1174"/>
                  </a:lnTo>
                  <a:lnTo>
                    <a:pt x="509" y="1174"/>
                  </a:lnTo>
                  <a:lnTo>
                    <a:pt x="509" y="1174"/>
                  </a:lnTo>
                  <a:lnTo>
                    <a:pt x="509" y="1175"/>
                  </a:lnTo>
                  <a:lnTo>
                    <a:pt x="510" y="1180"/>
                  </a:lnTo>
                  <a:lnTo>
                    <a:pt x="510" y="1181"/>
                  </a:lnTo>
                  <a:lnTo>
                    <a:pt x="510" y="1181"/>
                  </a:lnTo>
                  <a:lnTo>
                    <a:pt x="516" y="1177"/>
                  </a:lnTo>
                  <a:lnTo>
                    <a:pt x="518" y="1177"/>
                  </a:lnTo>
                  <a:lnTo>
                    <a:pt x="516" y="1175"/>
                  </a:lnTo>
                  <a:lnTo>
                    <a:pt x="516" y="1174"/>
                  </a:lnTo>
                  <a:lnTo>
                    <a:pt x="516" y="1174"/>
                  </a:lnTo>
                  <a:lnTo>
                    <a:pt x="516" y="1171"/>
                  </a:lnTo>
                  <a:lnTo>
                    <a:pt x="504" y="1166"/>
                  </a:lnTo>
                  <a:lnTo>
                    <a:pt x="502" y="1164"/>
                  </a:lnTo>
                  <a:lnTo>
                    <a:pt x="507" y="1164"/>
                  </a:lnTo>
                  <a:lnTo>
                    <a:pt x="509" y="1164"/>
                  </a:lnTo>
                  <a:lnTo>
                    <a:pt x="510" y="1166"/>
                  </a:lnTo>
                  <a:lnTo>
                    <a:pt x="510" y="1166"/>
                  </a:lnTo>
                  <a:lnTo>
                    <a:pt x="512" y="1166"/>
                  </a:lnTo>
                  <a:lnTo>
                    <a:pt x="512" y="1166"/>
                  </a:lnTo>
                  <a:lnTo>
                    <a:pt x="513" y="1164"/>
                  </a:lnTo>
                  <a:lnTo>
                    <a:pt x="512" y="1163"/>
                  </a:lnTo>
                  <a:lnTo>
                    <a:pt x="512" y="1163"/>
                  </a:lnTo>
                  <a:lnTo>
                    <a:pt x="513" y="1160"/>
                  </a:lnTo>
                  <a:lnTo>
                    <a:pt x="513" y="1158"/>
                  </a:lnTo>
                  <a:lnTo>
                    <a:pt x="512" y="1155"/>
                  </a:lnTo>
                  <a:lnTo>
                    <a:pt x="510" y="1151"/>
                  </a:lnTo>
                  <a:lnTo>
                    <a:pt x="510" y="1149"/>
                  </a:lnTo>
                  <a:lnTo>
                    <a:pt x="510" y="1146"/>
                  </a:lnTo>
                  <a:lnTo>
                    <a:pt x="509" y="1146"/>
                  </a:lnTo>
                  <a:lnTo>
                    <a:pt x="509" y="1144"/>
                  </a:lnTo>
                  <a:lnTo>
                    <a:pt x="507" y="1143"/>
                  </a:lnTo>
                  <a:lnTo>
                    <a:pt x="504" y="1141"/>
                  </a:lnTo>
                  <a:lnTo>
                    <a:pt x="504" y="1140"/>
                  </a:lnTo>
                  <a:lnTo>
                    <a:pt x="505" y="1137"/>
                  </a:lnTo>
                  <a:lnTo>
                    <a:pt x="504" y="1132"/>
                  </a:lnTo>
                  <a:lnTo>
                    <a:pt x="502" y="1126"/>
                  </a:lnTo>
                  <a:lnTo>
                    <a:pt x="501" y="1123"/>
                  </a:lnTo>
                  <a:lnTo>
                    <a:pt x="499" y="1120"/>
                  </a:lnTo>
                  <a:lnTo>
                    <a:pt x="490" y="1112"/>
                  </a:lnTo>
                  <a:lnTo>
                    <a:pt x="492" y="1111"/>
                  </a:lnTo>
                  <a:lnTo>
                    <a:pt x="492" y="1112"/>
                  </a:lnTo>
                  <a:lnTo>
                    <a:pt x="493" y="1114"/>
                  </a:lnTo>
                  <a:lnTo>
                    <a:pt x="495" y="1114"/>
                  </a:lnTo>
                  <a:lnTo>
                    <a:pt x="496" y="1114"/>
                  </a:lnTo>
                  <a:lnTo>
                    <a:pt x="498" y="1111"/>
                  </a:lnTo>
                  <a:lnTo>
                    <a:pt x="501" y="1111"/>
                  </a:lnTo>
                  <a:lnTo>
                    <a:pt x="499" y="1114"/>
                  </a:lnTo>
                  <a:lnTo>
                    <a:pt x="498" y="1114"/>
                  </a:lnTo>
                  <a:lnTo>
                    <a:pt x="499" y="1115"/>
                  </a:lnTo>
                  <a:lnTo>
                    <a:pt x="501" y="1115"/>
                  </a:lnTo>
                  <a:lnTo>
                    <a:pt x="501" y="1117"/>
                  </a:lnTo>
                  <a:lnTo>
                    <a:pt x="502" y="1118"/>
                  </a:lnTo>
                  <a:lnTo>
                    <a:pt x="504" y="1124"/>
                  </a:lnTo>
                  <a:lnTo>
                    <a:pt x="504" y="1124"/>
                  </a:lnTo>
                  <a:lnTo>
                    <a:pt x="505" y="1124"/>
                  </a:lnTo>
                  <a:lnTo>
                    <a:pt x="505" y="1124"/>
                  </a:lnTo>
                  <a:lnTo>
                    <a:pt x="507" y="1124"/>
                  </a:lnTo>
                  <a:lnTo>
                    <a:pt x="507" y="1126"/>
                  </a:lnTo>
                  <a:lnTo>
                    <a:pt x="507" y="1127"/>
                  </a:lnTo>
                  <a:lnTo>
                    <a:pt x="507" y="1129"/>
                  </a:lnTo>
                  <a:lnTo>
                    <a:pt x="505" y="1129"/>
                  </a:lnTo>
                  <a:lnTo>
                    <a:pt x="507" y="1131"/>
                  </a:lnTo>
                  <a:lnTo>
                    <a:pt x="507" y="1132"/>
                  </a:lnTo>
                  <a:lnTo>
                    <a:pt x="507" y="1132"/>
                  </a:lnTo>
                  <a:lnTo>
                    <a:pt x="507" y="1138"/>
                  </a:lnTo>
                  <a:lnTo>
                    <a:pt x="507" y="1140"/>
                  </a:lnTo>
                  <a:lnTo>
                    <a:pt x="509" y="1140"/>
                  </a:lnTo>
                  <a:lnTo>
                    <a:pt x="509" y="1141"/>
                  </a:lnTo>
                  <a:lnTo>
                    <a:pt x="510" y="1141"/>
                  </a:lnTo>
                  <a:lnTo>
                    <a:pt x="510" y="1141"/>
                  </a:lnTo>
                  <a:lnTo>
                    <a:pt x="512" y="1138"/>
                  </a:lnTo>
                  <a:lnTo>
                    <a:pt x="515" y="1137"/>
                  </a:lnTo>
                  <a:lnTo>
                    <a:pt x="516" y="1135"/>
                  </a:lnTo>
                  <a:lnTo>
                    <a:pt x="518" y="1134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9" y="1137"/>
                  </a:lnTo>
                  <a:lnTo>
                    <a:pt x="521" y="1138"/>
                  </a:lnTo>
                  <a:lnTo>
                    <a:pt x="524" y="1140"/>
                  </a:lnTo>
                  <a:lnTo>
                    <a:pt x="522" y="1143"/>
                  </a:lnTo>
                  <a:lnTo>
                    <a:pt x="515" y="1141"/>
                  </a:lnTo>
                  <a:lnTo>
                    <a:pt x="513" y="1144"/>
                  </a:lnTo>
                  <a:lnTo>
                    <a:pt x="516" y="1144"/>
                  </a:lnTo>
                  <a:lnTo>
                    <a:pt x="518" y="1144"/>
                  </a:lnTo>
                  <a:lnTo>
                    <a:pt x="519" y="1146"/>
                  </a:lnTo>
                  <a:lnTo>
                    <a:pt x="519" y="1146"/>
                  </a:lnTo>
                  <a:lnTo>
                    <a:pt x="518" y="1147"/>
                  </a:lnTo>
                  <a:lnTo>
                    <a:pt x="522" y="1147"/>
                  </a:lnTo>
                  <a:lnTo>
                    <a:pt x="522" y="1147"/>
                  </a:lnTo>
                  <a:lnTo>
                    <a:pt x="524" y="1146"/>
                  </a:lnTo>
                  <a:lnTo>
                    <a:pt x="526" y="1144"/>
                  </a:lnTo>
                  <a:lnTo>
                    <a:pt x="526" y="1143"/>
                  </a:lnTo>
                  <a:lnTo>
                    <a:pt x="527" y="1141"/>
                  </a:lnTo>
                  <a:lnTo>
                    <a:pt x="527" y="1141"/>
                  </a:lnTo>
                  <a:lnTo>
                    <a:pt x="527" y="1143"/>
                  </a:lnTo>
                  <a:lnTo>
                    <a:pt x="527" y="1143"/>
                  </a:lnTo>
                  <a:lnTo>
                    <a:pt x="527" y="1144"/>
                  </a:lnTo>
                  <a:lnTo>
                    <a:pt x="527" y="1146"/>
                  </a:lnTo>
                  <a:lnTo>
                    <a:pt x="527" y="1147"/>
                  </a:lnTo>
                  <a:lnTo>
                    <a:pt x="529" y="1146"/>
                  </a:lnTo>
                  <a:lnTo>
                    <a:pt x="529" y="1144"/>
                  </a:lnTo>
                  <a:lnTo>
                    <a:pt x="530" y="1144"/>
                  </a:lnTo>
                  <a:lnTo>
                    <a:pt x="530" y="1143"/>
                  </a:lnTo>
                  <a:lnTo>
                    <a:pt x="532" y="1141"/>
                  </a:lnTo>
                  <a:lnTo>
                    <a:pt x="533" y="1137"/>
                  </a:lnTo>
                  <a:lnTo>
                    <a:pt x="532" y="1135"/>
                  </a:lnTo>
                  <a:lnTo>
                    <a:pt x="530" y="1138"/>
                  </a:lnTo>
                  <a:lnTo>
                    <a:pt x="529" y="1137"/>
                  </a:lnTo>
                  <a:lnTo>
                    <a:pt x="529" y="1135"/>
                  </a:lnTo>
                  <a:lnTo>
                    <a:pt x="529" y="1135"/>
                  </a:lnTo>
                  <a:lnTo>
                    <a:pt x="529" y="1134"/>
                  </a:lnTo>
                  <a:lnTo>
                    <a:pt x="529" y="1132"/>
                  </a:lnTo>
                  <a:lnTo>
                    <a:pt x="529" y="1132"/>
                  </a:lnTo>
                  <a:lnTo>
                    <a:pt x="532" y="1132"/>
                  </a:lnTo>
                  <a:lnTo>
                    <a:pt x="532" y="1131"/>
                  </a:lnTo>
                  <a:lnTo>
                    <a:pt x="532" y="1129"/>
                  </a:lnTo>
                  <a:lnTo>
                    <a:pt x="533" y="1129"/>
                  </a:lnTo>
                  <a:lnTo>
                    <a:pt x="533" y="1131"/>
                  </a:lnTo>
                  <a:lnTo>
                    <a:pt x="536" y="1134"/>
                  </a:lnTo>
                  <a:lnTo>
                    <a:pt x="536" y="1135"/>
                  </a:lnTo>
                  <a:lnTo>
                    <a:pt x="536" y="1135"/>
                  </a:lnTo>
                  <a:lnTo>
                    <a:pt x="536" y="1137"/>
                  </a:lnTo>
                  <a:lnTo>
                    <a:pt x="538" y="1137"/>
                  </a:lnTo>
                  <a:lnTo>
                    <a:pt x="538" y="1137"/>
                  </a:lnTo>
                  <a:lnTo>
                    <a:pt x="539" y="1137"/>
                  </a:lnTo>
                  <a:lnTo>
                    <a:pt x="541" y="1137"/>
                  </a:lnTo>
                  <a:lnTo>
                    <a:pt x="542" y="1137"/>
                  </a:lnTo>
                  <a:lnTo>
                    <a:pt x="542" y="1135"/>
                  </a:lnTo>
                  <a:lnTo>
                    <a:pt x="544" y="1135"/>
                  </a:lnTo>
                  <a:lnTo>
                    <a:pt x="544" y="1134"/>
                  </a:lnTo>
                  <a:lnTo>
                    <a:pt x="547" y="1134"/>
                  </a:lnTo>
                  <a:lnTo>
                    <a:pt x="547" y="1134"/>
                  </a:lnTo>
                  <a:lnTo>
                    <a:pt x="547" y="1132"/>
                  </a:lnTo>
                  <a:lnTo>
                    <a:pt x="549" y="1131"/>
                  </a:lnTo>
                  <a:lnTo>
                    <a:pt x="547" y="1129"/>
                  </a:lnTo>
                  <a:lnTo>
                    <a:pt x="544" y="1127"/>
                  </a:lnTo>
                  <a:lnTo>
                    <a:pt x="542" y="1124"/>
                  </a:lnTo>
                  <a:lnTo>
                    <a:pt x="549" y="1126"/>
                  </a:lnTo>
                  <a:lnTo>
                    <a:pt x="550" y="1126"/>
                  </a:lnTo>
                  <a:lnTo>
                    <a:pt x="552" y="1123"/>
                  </a:lnTo>
                  <a:lnTo>
                    <a:pt x="550" y="1121"/>
                  </a:lnTo>
                  <a:lnTo>
                    <a:pt x="549" y="1121"/>
                  </a:lnTo>
                  <a:lnTo>
                    <a:pt x="547" y="1123"/>
                  </a:lnTo>
                  <a:lnTo>
                    <a:pt x="546" y="1123"/>
                  </a:lnTo>
                  <a:lnTo>
                    <a:pt x="542" y="1120"/>
                  </a:lnTo>
                  <a:lnTo>
                    <a:pt x="542" y="1117"/>
                  </a:lnTo>
                  <a:lnTo>
                    <a:pt x="544" y="1115"/>
                  </a:lnTo>
                  <a:lnTo>
                    <a:pt x="549" y="1118"/>
                  </a:lnTo>
                  <a:lnTo>
                    <a:pt x="550" y="1118"/>
                  </a:lnTo>
                  <a:lnTo>
                    <a:pt x="552" y="1118"/>
                  </a:lnTo>
                  <a:lnTo>
                    <a:pt x="553" y="1115"/>
                  </a:lnTo>
                  <a:lnTo>
                    <a:pt x="553" y="1115"/>
                  </a:lnTo>
                  <a:lnTo>
                    <a:pt x="553" y="1117"/>
                  </a:lnTo>
                  <a:lnTo>
                    <a:pt x="555" y="1118"/>
                  </a:lnTo>
                  <a:lnTo>
                    <a:pt x="556" y="1117"/>
                  </a:lnTo>
                  <a:lnTo>
                    <a:pt x="555" y="1115"/>
                  </a:lnTo>
                  <a:lnTo>
                    <a:pt x="553" y="1112"/>
                  </a:lnTo>
                  <a:lnTo>
                    <a:pt x="552" y="1112"/>
                  </a:lnTo>
                  <a:lnTo>
                    <a:pt x="533" y="1112"/>
                  </a:lnTo>
                  <a:lnTo>
                    <a:pt x="530" y="1111"/>
                  </a:lnTo>
                  <a:lnTo>
                    <a:pt x="535" y="1109"/>
                  </a:lnTo>
                  <a:lnTo>
                    <a:pt x="536" y="1107"/>
                  </a:lnTo>
                  <a:lnTo>
                    <a:pt x="538" y="1106"/>
                  </a:lnTo>
                  <a:lnTo>
                    <a:pt x="538" y="1106"/>
                  </a:lnTo>
                  <a:lnTo>
                    <a:pt x="538" y="1106"/>
                  </a:lnTo>
                  <a:lnTo>
                    <a:pt x="538" y="1104"/>
                  </a:lnTo>
                  <a:lnTo>
                    <a:pt x="538" y="1104"/>
                  </a:lnTo>
                  <a:lnTo>
                    <a:pt x="539" y="1104"/>
                  </a:lnTo>
                  <a:lnTo>
                    <a:pt x="539" y="1104"/>
                  </a:lnTo>
                  <a:lnTo>
                    <a:pt x="539" y="1107"/>
                  </a:lnTo>
                  <a:lnTo>
                    <a:pt x="539" y="1107"/>
                  </a:lnTo>
                  <a:lnTo>
                    <a:pt x="546" y="1107"/>
                  </a:lnTo>
                  <a:lnTo>
                    <a:pt x="544" y="1106"/>
                  </a:lnTo>
                  <a:lnTo>
                    <a:pt x="542" y="1104"/>
                  </a:lnTo>
                  <a:lnTo>
                    <a:pt x="541" y="1103"/>
                  </a:lnTo>
                  <a:lnTo>
                    <a:pt x="541" y="1101"/>
                  </a:lnTo>
                  <a:lnTo>
                    <a:pt x="542" y="1101"/>
                  </a:lnTo>
                  <a:lnTo>
                    <a:pt x="544" y="1101"/>
                  </a:lnTo>
                  <a:lnTo>
                    <a:pt x="546" y="1103"/>
                  </a:lnTo>
                  <a:lnTo>
                    <a:pt x="547" y="1106"/>
                  </a:lnTo>
                  <a:lnTo>
                    <a:pt x="549" y="1107"/>
                  </a:lnTo>
                  <a:lnTo>
                    <a:pt x="549" y="1106"/>
                  </a:lnTo>
                  <a:lnTo>
                    <a:pt x="550" y="1103"/>
                  </a:lnTo>
                  <a:lnTo>
                    <a:pt x="550" y="1101"/>
                  </a:lnTo>
                  <a:lnTo>
                    <a:pt x="550" y="1101"/>
                  </a:lnTo>
                  <a:lnTo>
                    <a:pt x="555" y="1098"/>
                  </a:lnTo>
                  <a:lnTo>
                    <a:pt x="552" y="1098"/>
                  </a:lnTo>
                  <a:lnTo>
                    <a:pt x="553" y="1097"/>
                  </a:lnTo>
                  <a:lnTo>
                    <a:pt x="553" y="1095"/>
                  </a:lnTo>
                  <a:lnTo>
                    <a:pt x="553" y="1094"/>
                  </a:lnTo>
                  <a:lnTo>
                    <a:pt x="555" y="1092"/>
                  </a:lnTo>
                  <a:lnTo>
                    <a:pt x="556" y="1091"/>
                  </a:lnTo>
                  <a:lnTo>
                    <a:pt x="558" y="1091"/>
                  </a:lnTo>
                  <a:lnTo>
                    <a:pt x="559" y="1092"/>
                  </a:lnTo>
                  <a:lnTo>
                    <a:pt x="561" y="1092"/>
                  </a:lnTo>
                  <a:lnTo>
                    <a:pt x="561" y="1092"/>
                  </a:lnTo>
                  <a:lnTo>
                    <a:pt x="561" y="1091"/>
                  </a:lnTo>
                  <a:lnTo>
                    <a:pt x="561" y="1087"/>
                  </a:lnTo>
                  <a:lnTo>
                    <a:pt x="561" y="1086"/>
                  </a:lnTo>
                  <a:lnTo>
                    <a:pt x="559" y="1084"/>
                  </a:lnTo>
                  <a:lnTo>
                    <a:pt x="558" y="1083"/>
                  </a:lnTo>
                  <a:lnTo>
                    <a:pt x="556" y="1083"/>
                  </a:lnTo>
                  <a:lnTo>
                    <a:pt x="555" y="1083"/>
                  </a:lnTo>
                  <a:lnTo>
                    <a:pt x="555" y="1081"/>
                  </a:lnTo>
                  <a:lnTo>
                    <a:pt x="558" y="1081"/>
                  </a:lnTo>
                  <a:lnTo>
                    <a:pt x="569" y="1084"/>
                  </a:lnTo>
                  <a:lnTo>
                    <a:pt x="569" y="1083"/>
                  </a:lnTo>
                  <a:lnTo>
                    <a:pt x="567" y="1080"/>
                  </a:lnTo>
                  <a:lnTo>
                    <a:pt x="567" y="1077"/>
                  </a:lnTo>
                  <a:lnTo>
                    <a:pt x="566" y="1075"/>
                  </a:lnTo>
                  <a:lnTo>
                    <a:pt x="566" y="1075"/>
                  </a:lnTo>
                  <a:lnTo>
                    <a:pt x="566" y="1074"/>
                  </a:lnTo>
                  <a:lnTo>
                    <a:pt x="567" y="1072"/>
                  </a:lnTo>
                  <a:lnTo>
                    <a:pt x="575" y="1075"/>
                  </a:lnTo>
                  <a:lnTo>
                    <a:pt x="575" y="1075"/>
                  </a:lnTo>
                  <a:lnTo>
                    <a:pt x="570" y="1075"/>
                  </a:lnTo>
                  <a:lnTo>
                    <a:pt x="569" y="1077"/>
                  </a:lnTo>
                  <a:lnTo>
                    <a:pt x="569" y="1080"/>
                  </a:lnTo>
                  <a:lnTo>
                    <a:pt x="569" y="1081"/>
                  </a:lnTo>
                  <a:lnTo>
                    <a:pt x="570" y="1083"/>
                  </a:lnTo>
                  <a:lnTo>
                    <a:pt x="572" y="1083"/>
                  </a:lnTo>
                  <a:lnTo>
                    <a:pt x="573" y="1081"/>
                  </a:lnTo>
                  <a:lnTo>
                    <a:pt x="572" y="1081"/>
                  </a:lnTo>
                  <a:lnTo>
                    <a:pt x="572" y="1080"/>
                  </a:lnTo>
                  <a:lnTo>
                    <a:pt x="576" y="1078"/>
                  </a:lnTo>
                  <a:lnTo>
                    <a:pt x="579" y="1078"/>
                  </a:lnTo>
                  <a:lnTo>
                    <a:pt x="581" y="1075"/>
                  </a:lnTo>
                  <a:lnTo>
                    <a:pt x="569" y="1071"/>
                  </a:lnTo>
                  <a:lnTo>
                    <a:pt x="567" y="1069"/>
                  </a:lnTo>
                  <a:lnTo>
                    <a:pt x="569" y="1067"/>
                  </a:lnTo>
                  <a:lnTo>
                    <a:pt x="570" y="1067"/>
                  </a:lnTo>
                  <a:lnTo>
                    <a:pt x="573" y="1067"/>
                  </a:lnTo>
                  <a:lnTo>
                    <a:pt x="578" y="1069"/>
                  </a:lnTo>
                  <a:lnTo>
                    <a:pt x="578" y="1069"/>
                  </a:lnTo>
                  <a:lnTo>
                    <a:pt x="578" y="1066"/>
                  </a:lnTo>
                  <a:lnTo>
                    <a:pt x="579" y="1066"/>
                  </a:lnTo>
                  <a:lnTo>
                    <a:pt x="581" y="1066"/>
                  </a:lnTo>
                  <a:lnTo>
                    <a:pt x="581" y="1069"/>
                  </a:lnTo>
                  <a:lnTo>
                    <a:pt x="582" y="1069"/>
                  </a:lnTo>
                  <a:lnTo>
                    <a:pt x="584" y="1071"/>
                  </a:lnTo>
                  <a:lnTo>
                    <a:pt x="584" y="1071"/>
                  </a:lnTo>
                  <a:lnTo>
                    <a:pt x="584" y="1074"/>
                  </a:lnTo>
                  <a:lnTo>
                    <a:pt x="586" y="1075"/>
                  </a:lnTo>
                  <a:lnTo>
                    <a:pt x="587" y="1077"/>
                  </a:lnTo>
                  <a:lnTo>
                    <a:pt x="587" y="1077"/>
                  </a:lnTo>
                  <a:lnTo>
                    <a:pt x="587" y="1078"/>
                  </a:lnTo>
                  <a:lnTo>
                    <a:pt x="590" y="1081"/>
                  </a:lnTo>
                  <a:lnTo>
                    <a:pt x="590" y="1081"/>
                  </a:lnTo>
                  <a:lnTo>
                    <a:pt x="592" y="1081"/>
                  </a:lnTo>
                  <a:lnTo>
                    <a:pt x="592" y="1080"/>
                  </a:lnTo>
                  <a:lnTo>
                    <a:pt x="592" y="1078"/>
                  </a:lnTo>
                  <a:lnTo>
                    <a:pt x="592" y="1077"/>
                  </a:lnTo>
                  <a:lnTo>
                    <a:pt x="593" y="1077"/>
                  </a:lnTo>
                  <a:lnTo>
                    <a:pt x="595" y="1077"/>
                  </a:lnTo>
                  <a:lnTo>
                    <a:pt x="595" y="1077"/>
                  </a:lnTo>
                  <a:lnTo>
                    <a:pt x="595" y="1075"/>
                  </a:lnTo>
                  <a:lnTo>
                    <a:pt x="593" y="1074"/>
                  </a:lnTo>
                  <a:lnTo>
                    <a:pt x="592" y="1074"/>
                  </a:lnTo>
                  <a:lnTo>
                    <a:pt x="590" y="1071"/>
                  </a:lnTo>
                  <a:lnTo>
                    <a:pt x="592" y="1067"/>
                  </a:lnTo>
                  <a:lnTo>
                    <a:pt x="595" y="1072"/>
                  </a:lnTo>
                  <a:lnTo>
                    <a:pt x="596" y="1072"/>
                  </a:lnTo>
                  <a:lnTo>
                    <a:pt x="596" y="1069"/>
                  </a:lnTo>
                  <a:lnTo>
                    <a:pt x="595" y="1069"/>
                  </a:lnTo>
                  <a:lnTo>
                    <a:pt x="596" y="1067"/>
                  </a:lnTo>
                  <a:lnTo>
                    <a:pt x="598" y="1063"/>
                  </a:lnTo>
                  <a:lnTo>
                    <a:pt x="598" y="1063"/>
                  </a:lnTo>
                  <a:lnTo>
                    <a:pt x="598" y="1060"/>
                  </a:lnTo>
                  <a:lnTo>
                    <a:pt x="596" y="1060"/>
                  </a:lnTo>
                  <a:lnTo>
                    <a:pt x="599" y="1058"/>
                  </a:lnTo>
                  <a:lnTo>
                    <a:pt x="603" y="1057"/>
                  </a:lnTo>
                  <a:lnTo>
                    <a:pt x="604" y="1054"/>
                  </a:lnTo>
                  <a:lnTo>
                    <a:pt x="604" y="1057"/>
                  </a:lnTo>
                  <a:lnTo>
                    <a:pt x="606" y="1057"/>
                  </a:lnTo>
                  <a:lnTo>
                    <a:pt x="607" y="1057"/>
                  </a:lnTo>
                  <a:lnTo>
                    <a:pt x="607" y="1054"/>
                  </a:lnTo>
                  <a:lnTo>
                    <a:pt x="607" y="1049"/>
                  </a:lnTo>
                  <a:lnTo>
                    <a:pt x="607" y="1047"/>
                  </a:lnTo>
                  <a:lnTo>
                    <a:pt x="607" y="1044"/>
                  </a:lnTo>
                  <a:lnTo>
                    <a:pt x="607" y="1043"/>
                  </a:lnTo>
                  <a:lnTo>
                    <a:pt x="607" y="1038"/>
                  </a:lnTo>
                  <a:lnTo>
                    <a:pt x="609" y="1035"/>
                  </a:lnTo>
                  <a:lnTo>
                    <a:pt x="609" y="1034"/>
                  </a:lnTo>
                  <a:lnTo>
                    <a:pt x="610" y="1035"/>
                  </a:lnTo>
                  <a:lnTo>
                    <a:pt x="612" y="1037"/>
                  </a:lnTo>
                  <a:lnTo>
                    <a:pt x="613" y="1038"/>
                  </a:lnTo>
                  <a:lnTo>
                    <a:pt x="615" y="1037"/>
                  </a:lnTo>
                  <a:lnTo>
                    <a:pt x="613" y="1032"/>
                  </a:lnTo>
                  <a:lnTo>
                    <a:pt x="613" y="1030"/>
                  </a:lnTo>
                  <a:lnTo>
                    <a:pt x="615" y="1032"/>
                  </a:lnTo>
                  <a:lnTo>
                    <a:pt x="621" y="1040"/>
                  </a:lnTo>
                  <a:lnTo>
                    <a:pt x="624" y="1041"/>
                  </a:lnTo>
                  <a:lnTo>
                    <a:pt x="626" y="1043"/>
                  </a:lnTo>
                  <a:lnTo>
                    <a:pt x="626" y="1043"/>
                  </a:lnTo>
                  <a:lnTo>
                    <a:pt x="626" y="1040"/>
                  </a:lnTo>
                  <a:lnTo>
                    <a:pt x="626" y="1040"/>
                  </a:lnTo>
                  <a:lnTo>
                    <a:pt x="623" y="1035"/>
                  </a:lnTo>
                  <a:lnTo>
                    <a:pt x="621" y="1034"/>
                  </a:lnTo>
                  <a:lnTo>
                    <a:pt x="623" y="1032"/>
                  </a:lnTo>
                  <a:lnTo>
                    <a:pt x="623" y="1032"/>
                  </a:lnTo>
                  <a:lnTo>
                    <a:pt x="624" y="1032"/>
                  </a:lnTo>
                  <a:lnTo>
                    <a:pt x="626" y="1030"/>
                  </a:lnTo>
                  <a:lnTo>
                    <a:pt x="624" y="1029"/>
                  </a:lnTo>
                  <a:lnTo>
                    <a:pt x="623" y="1027"/>
                  </a:lnTo>
                  <a:lnTo>
                    <a:pt x="621" y="1026"/>
                  </a:lnTo>
                  <a:lnTo>
                    <a:pt x="623" y="1023"/>
                  </a:lnTo>
                  <a:lnTo>
                    <a:pt x="619" y="1021"/>
                  </a:lnTo>
                  <a:lnTo>
                    <a:pt x="619" y="1021"/>
                  </a:lnTo>
                  <a:lnTo>
                    <a:pt x="618" y="1020"/>
                  </a:lnTo>
                  <a:lnTo>
                    <a:pt x="621" y="1018"/>
                  </a:lnTo>
                  <a:lnTo>
                    <a:pt x="623" y="1018"/>
                  </a:lnTo>
                  <a:lnTo>
                    <a:pt x="624" y="1020"/>
                  </a:lnTo>
                  <a:lnTo>
                    <a:pt x="626" y="1021"/>
                  </a:lnTo>
                  <a:lnTo>
                    <a:pt x="626" y="1023"/>
                  </a:lnTo>
                  <a:lnTo>
                    <a:pt x="630" y="1024"/>
                  </a:lnTo>
                  <a:lnTo>
                    <a:pt x="632" y="1027"/>
                  </a:lnTo>
                  <a:lnTo>
                    <a:pt x="633" y="1027"/>
                  </a:lnTo>
                  <a:lnTo>
                    <a:pt x="633" y="1029"/>
                  </a:lnTo>
                  <a:lnTo>
                    <a:pt x="633" y="1029"/>
                  </a:lnTo>
                  <a:lnTo>
                    <a:pt x="633" y="1030"/>
                  </a:lnTo>
                  <a:lnTo>
                    <a:pt x="635" y="1032"/>
                  </a:lnTo>
                  <a:lnTo>
                    <a:pt x="635" y="1034"/>
                  </a:lnTo>
                  <a:lnTo>
                    <a:pt x="635" y="1035"/>
                  </a:lnTo>
                  <a:lnTo>
                    <a:pt x="635" y="1037"/>
                  </a:lnTo>
                  <a:lnTo>
                    <a:pt x="638" y="1040"/>
                  </a:lnTo>
                  <a:lnTo>
                    <a:pt x="639" y="1038"/>
                  </a:lnTo>
                  <a:lnTo>
                    <a:pt x="641" y="1037"/>
                  </a:lnTo>
                  <a:lnTo>
                    <a:pt x="643" y="1035"/>
                  </a:lnTo>
                  <a:lnTo>
                    <a:pt x="643" y="1035"/>
                  </a:lnTo>
                  <a:lnTo>
                    <a:pt x="644" y="1035"/>
                  </a:lnTo>
                  <a:lnTo>
                    <a:pt x="644" y="1034"/>
                  </a:lnTo>
                  <a:lnTo>
                    <a:pt x="644" y="1030"/>
                  </a:lnTo>
                  <a:lnTo>
                    <a:pt x="643" y="1026"/>
                  </a:lnTo>
                  <a:lnTo>
                    <a:pt x="643" y="1024"/>
                  </a:lnTo>
                  <a:lnTo>
                    <a:pt x="646" y="1021"/>
                  </a:lnTo>
                  <a:lnTo>
                    <a:pt x="649" y="1018"/>
                  </a:lnTo>
                  <a:lnTo>
                    <a:pt x="652" y="1015"/>
                  </a:lnTo>
                  <a:lnTo>
                    <a:pt x="653" y="1012"/>
                  </a:lnTo>
                  <a:lnTo>
                    <a:pt x="653" y="1010"/>
                  </a:lnTo>
                  <a:lnTo>
                    <a:pt x="656" y="1009"/>
                  </a:lnTo>
                  <a:lnTo>
                    <a:pt x="656" y="1007"/>
                  </a:lnTo>
                  <a:lnTo>
                    <a:pt x="658" y="1007"/>
                  </a:lnTo>
                  <a:lnTo>
                    <a:pt x="664" y="1010"/>
                  </a:lnTo>
                  <a:lnTo>
                    <a:pt x="663" y="1007"/>
                  </a:lnTo>
                  <a:lnTo>
                    <a:pt x="663" y="1006"/>
                  </a:lnTo>
                  <a:lnTo>
                    <a:pt x="663" y="1003"/>
                  </a:lnTo>
                  <a:lnTo>
                    <a:pt x="664" y="1001"/>
                  </a:lnTo>
                  <a:lnTo>
                    <a:pt x="666" y="1001"/>
                  </a:lnTo>
                  <a:lnTo>
                    <a:pt x="667" y="1000"/>
                  </a:lnTo>
                  <a:lnTo>
                    <a:pt x="669" y="1000"/>
                  </a:lnTo>
                  <a:lnTo>
                    <a:pt x="669" y="1001"/>
                  </a:lnTo>
                  <a:lnTo>
                    <a:pt x="669" y="1001"/>
                  </a:lnTo>
                  <a:lnTo>
                    <a:pt x="670" y="1003"/>
                  </a:lnTo>
                  <a:lnTo>
                    <a:pt x="670" y="1004"/>
                  </a:lnTo>
                  <a:lnTo>
                    <a:pt x="672" y="1004"/>
                  </a:lnTo>
                  <a:lnTo>
                    <a:pt x="672" y="1003"/>
                  </a:lnTo>
                  <a:lnTo>
                    <a:pt x="673" y="1003"/>
                  </a:lnTo>
                  <a:lnTo>
                    <a:pt x="678" y="1003"/>
                  </a:lnTo>
                  <a:lnTo>
                    <a:pt x="680" y="1003"/>
                  </a:lnTo>
                  <a:lnTo>
                    <a:pt x="680" y="998"/>
                  </a:lnTo>
                  <a:lnTo>
                    <a:pt x="680" y="995"/>
                  </a:lnTo>
                  <a:lnTo>
                    <a:pt x="681" y="990"/>
                  </a:lnTo>
                  <a:lnTo>
                    <a:pt x="683" y="989"/>
                  </a:lnTo>
                  <a:lnTo>
                    <a:pt x="683" y="990"/>
                  </a:lnTo>
                  <a:lnTo>
                    <a:pt x="683" y="994"/>
                  </a:lnTo>
                  <a:lnTo>
                    <a:pt x="683" y="995"/>
                  </a:lnTo>
                  <a:lnTo>
                    <a:pt x="681" y="998"/>
                  </a:lnTo>
                  <a:lnTo>
                    <a:pt x="681" y="1000"/>
                  </a:lnTo>
                  <a:lnTo>
                    <a:pt x="683" y="1001"/>
                  </a:lnTo>
                  <a:lnTo>
                    <a:pt x="684" y="1003"/>
                  </a:lnTo>
                  <a:lnTo>
                    <a:pt x="684" y="1003"/>
                  </a:lnTo>
                  <a:lnTo>
                    <a:pt x="686" y="998"/>
                  </a:lnTo>
                  <a:lnTo>
                    <a:pt x="686" y="987"/>
                  </a:lnTo>
                  <a:lnTo>
                    <a:pt x="686" y="986"/>
                  </a:lnTo>
                  <a:lnTo>
                    <a:pt x="687" y="986"/>
                  </a:lnTo>
                  <a:lnTo>
                    <a:pt x="687" y="987"/>
                  </a:lnTo>
                  <a:lnTo>
                    <a:pt x="689" y="990"/>
                  </a:lnTo>
                  <a:lnTo>
                    <a:pt x="689" y="992"/>
                  </a:lnTo>
                  <a:lnTo>
                    <a:pt x="687" y="994"/>
                  </a:lnTo>
                  <a:lnTo>
                    <a:pt x="689" y="997"/>
                  </a:lnTo>
                  <a:lnTo>
                    <a:pt x="689" y="998"/>
                  </a:lnTo>
                  <a:lnTo>
                    <a:pt x="690" y="998"/>
                  </a:lnTo>
                  <a:lnTo>
                    <a:pt x="690" y="998"/>
                  </a:lnTo>
                  <a:lnTo>
                    <a:pt x="692" y="997"/>
                  </a:lnTo>
                  <a:lnTo>
                    <a:pt x="692" y="994"/>
                  </a:lnTo>
                  <a:lnTo>
                    <a:pt x="693" y="992"/>
                  </a:lnTo>
                  <a:lnTo>
                    <a:pt x="693" y="992"/>
                  </a:lnTo>
                  <a:lnTo>
                    <a:pt x="692" y="987"/>
                  </a:lnTo>
                  <a:lnTo>
                    <a:pt x="692" y="986"/>
                  </a:lnTo>
                  <a:lnTo>
                    <a:pt x="693" y="986"/>
                  </a:lnTo>
                  <a:lnTo>
                    <a:pt x="693" y="984"/>
                  </a:lnTo>
                  <a:lnTo>
                    <a:pt x="692" y="983"/>
                  </a:lnTo>
                  <a:lnTo>
                    <a:pt x="693" y="984"/>
                  </a:lnTo>
                  <a:lnTo>
                    <a:pt x="695" y="983"/>
                  </a:lnTo>
                  <a:lnTo>
                    <a:pt x="700" y="973"/>
                  </a:lnTo>
                  <a:lnTo>
                    <a:pt x="700" y="973"/>
                  </a:lnTo>
                  <a:lnTo>
                    <a:pt x="701" y="977"/>
                  </a:lnTo>
                  <a:lnTo>
                    <a:pt x="701" y="978"/>
                  </a:lnTo>
                  <a:lnTo>
                    <a:pt x="703" y="980"/>
                  </a:lnTo>
                  <a:lnTo>
                    <a:pt x="701" y="981"/>
                  </a:lnTo>
                  <a:lnTo>
                    <a:pt x="703" y="981"/>
                  </a:lnTo>
                  <a:lnTo>
                    <a:pt x="703" y="981"/>
                  </a:lnTo>
                  <a:lnTo>
                    <a:pt x="704" y="980"/>
                  </a:lnTo>
                  <a:lnTo>
                    <a:pt x="704" y="978"/>
                  </a:lnTo>
                  <a:lnTo>
                    <a:pt x="707" y="973"/>
                  </a:lnTo>
                  <a:lnTo>
                    <a:pt x="709" y="973"/>
                  </a:lnTo>
                  <a:lnTo>
                    <a:pt x="709" y="975"/>
                  </a:lnTo>
                  <a:lnTo>
                    <a:pt x="710" y="980"/>
                  </a:lnTo>
                  <a:lnTo>
                    <a:pt x="712" y="980"/>
                  </a:lnTo>
                  <a:lnTo>
                    <a:pt x="713" y="978"/>
                  </a:lnTo>
                  <a:lnTo>
                    <a:pt x="715" y="973"/>
                  </a:lnTo>
                  <a:lnTo>
                    <a:pt x="713" y="973"/>
                  </a:lnTo>
                  <a:lnTo>
                    <a:pt x="712" y="973"/>
                  </a:lnTo>
                  <a:lnTo>
                    <a:pt x="712" y="973"/>
                  </a:lnTo>
                  <a:lnTo>
                    <a:pt x="712" y="970"/>
                  </a:lnTo>
                  <a:lnTo>
                    <a:pt x="712" y="969"/>
                  </a:lnTo>
                  <a:lnTo>
                    <a:pt x="716" y="969"/>
                  </a:lnTo>
                  <a:lnTo>
                    <a:pt x="720" y="966"/>
                  </a:lnTo>
                  <a:lnTo>
                    <a:pt x="720" y="964"/>
                  </a:lnTo>
                  <a:lnTo>
                    <a:pt x="721" y="960"/>
                  </a:lnTo>
                  <a:lnTo>
                    <a:pt x="723" y="953"/>
                  </a:lnTo>
                  <a:lnTo>
                    <a:pt x="724" y="950"/>
                  </a:lnTo>
                  <a:lnTo>
                    <a:pt x="726" y="950"/>
                  </a:lnTo>
                  <a:lnTo>
                    <a:pt x="726" y="949"/>
                  </a:lnTo>
                  <a:lnTo>
                    <a:pt x="726" y="949"/>
                  </a:lnTo>
                  <a:lnTo>
                    <a:pt x="727" y="947"/>
                  </a:lnTo>
                  <a:lnTo>
                    <a:pt x="727" y="947"/>
                  </a:lnTo>
                  <a:lnTo>
                    <a:pt x="729" y="947"/>
                  </a:lnTo>
                  <a:lnTo>
                    <a:pt x="729" y="944"/>
                  </a:lnTo>
                  <a:lnTo>
                    <a:pt x="729" y="941"/>
                  </a:lnTo>
                  <a:lnTo>
                    <a:pt x="729" y="941"/>
                  </a:lnTo>
                  <a:lnTo>
                    <a:pt x="729" y="940"/>
                  </a:lnTo>
                  <a:lnTo>
                    <a:pt x="729" y="940"/>
                  </a:lnTo>
                  <a:lnTo>
                    <a:pt x="730" y="940"/>
                  </a:lnTo>
                  <a:lnTo>
                    <a:pt x="730" y="940"/>
                  </a:lnTo>
                  <a:lnTo>
                    <a:pt x="729" y="938"/>
                  </a:lnTo>
                  <a:lnTo>
                    <a:pt x="729" y="938"/>
                  </a:lnTo>
                  <a:lnTo>
                    <a:pt x="729" y="938"/>
                  </a:lnTo>
                  <a:lnTo>
                    <a:pt x="729" y="935"/>
                  </a:lnTo>
                  <a:lnTo>
                    <a:pt x="729" y="935"/>
                  </a:lnTo>
                  <a:lnTo>
                    <a:pt x="730" y="933"/>
                  </a:lnTo>
                  <a:lnTo>
                    <a:pt x="732" y="927"/>
                  </a:lnTo>
                  <a:lnTo>
                    <a:pt x="733" y="924"/>
                  </a:lnTo>
                  <a:lnTo>
                    <a:pt x="732" y="921"/>
                  </a:lnTo>
                  <a:lnTo>
                    <a:pt x="733" y="918"/>
                  </a:lnTo>
                  <a:lnTo>
                    <a:pt x="740" y="912"/>
                  </a:lnTo>
                  <a:lnTo>
                    <a:pt x="741" y="906"/>
                  </a:lnTo>
                  <a:lnTo>
                    <a:pt x="743" y="906"/>
                  </a:lnTo>
                  <a:lnTo>
                    <a:pt x="743" y="906"/>
                  </a:lnTo>
                  <a:lnTo>
                    <a:pt x="744" y="906"/>
                  </a:lnTo>
                  <a:lnTo>
                    <a:pt x="744" y="906"/>
                  </a:lnTo>
                  <a:lnTo>
                    <a:pt x="753" y="892"/>
                  </a:lnTo>
                  <a:lnTo>
                    <a:pt x="755" y="892"/>
                  </a:lnTo>
                  <a:lnTo>
                    <a:pt x="755" y="892"/>
                  </a:lnTo>
                  <a:lnTo>
                    <a:pt x="757" y="892"/>
                  </a:lnTo>
                  <a:lnTo>
                    <a:pt x="758" y="892"/>
                  </a:lnTo>
                  <a:lnTo>
                    <a:pt x="760" y="890"/>
                  </a:lnTo>
                  <a:lnTo>
                    <a:pt x="761" y="890"/>
                  </a:lnTo>
                  <a:lnTo>
                    <a:pt x="761" y="889"/>
                  </a:lnTo>
                  <a:lnTo>
                    <a:pt x="761" y="889"/>
                  </a:lnTo>
                  <a:lnTo>
                    <a:pt x="760" y="889"/>
                  </a:lnTo>
                  <a:lnTo>
                    <a:pt x="760" y="887"/>
                  </a:lnTo>
                  <a:lnTo>
                    <a:pt x="760" y="886"/>
                  </a:lnTo>
                  <a:lnTo>
                    <a:pt x="760" y="884"/>
                  </a:lnTo>
                  <a:lnTo>
                    <a:pt x="760" y="883"/>
                  </a:lnTo>
                  <a:lnTo>
                    <a:pt x="760" y="881"/>
                  </a:lnTo>
                  <a:lnTo>
                    <a:pt x="761" y="883"/>
                  </a:lnTo>
                  <a:lnTo>
                    <a:pt x="763" y="886"/>
                  </a:lnTo>
                  <a:lnTo>
                    <a:pt x="764" y="887"/>
                  </a:lnTo>
                  <a:lnTo>
                    <a:pt x="766" y="886"/>
                  </a:lnTo>
                  <a:lnTo>
                    <a:pt x="767" y="884"/>
                  </a:lnTo>
                  <a:lnTo>
                    <a:pt x="770" y="881"/>
                  </a:lnTo>
                  <a:lnTo>
                    <a:pt x="775" y="873"/>
                  </a:lnTo>
                  <a:lnTo>
                    <a:pt x="775" y="872"/>
                  </a:lnTo>
                  <a:lnTo>
                    <a:pt x="777" y="870"/>
                  </a:lnTo>
                  <a:lnTo>
                    <a:pt x="778" y="869"/>
                  </a:lnTo>
                  <a:lnTo>
                    <a:pt x="780" y="869"/>
                  </a:lnTo>
                  <a:lnTo>
                    <a:pt x="780" y="869"/>
                  </a:lnTo>
                  <a:lnTo>
                    <a:pt x="781" y="869"/>
                  </a:lnTo>
                  <a:lnTo>
                    <a:pt x="781" y="867"/>
                  </a:lnTo>
                  <a:lnTo>
                    <a:pt x="781" y="864"/>
                  </a:lnTo>
                  <a:lnTo>
                    <a:pt x="781" y="863"/>
                  </a:lnTo>
                  <a:lnTo>
                    <a:pt x="780" y="861"/>
                  </a:lnTo>
                  <a:lnTo>
                    <a:pt x="778" y="861"/>
                  </a:lnTo>
                  <a:lnTo>
                    <a:pt x="780" y="864"/>
                  </a:lnTo>
                  <a:lnTo>
                    <a:pt x="778" y="864"/>
                  </a:lnTo>
                  <a:lnTo>
                    <a:pt x="777" y="863"/>
                  </a:lnTo>
                  <a:lnTo>
                    <a:pt x="775" y="864"/>
                  </a:lnTo>
                  <a:lnTo>
                    <a:pt x="775" y="866"/>
                  </a:lnTo>
                  <a:lnTo>
                    <a:pt x="773" y="867"/>
                  </a:lnTo>
                  <a:lnTo>
                    <a:pt x="772" y="866"/>
                  </a:lnTo>
                  <a:lnTo>
                    <a:pt x="772" y="866"/>
                  </a:lnTo>
                  <a:lnTo>
                    <a:pt x="772" y="863"/>
                  </a:lnTo>
                  <a:lnTo>
                    <a:pt x="772" y="861"/>
                  </a:lnTo>
                  <a:lnTo>
                    <a:pt x="772" y="860"/>
                  </a:lnTo>
                  <a:lnTo>
                    <a:pt x="772" y="856"/>
                  </a:lnTo>
                  <a:lnTo>
                    <a:pt x="772" y="856"/>
                  </a:lnTo>
                  <a:lnTo>
                    <a:pt x="770" y="855"/>
                  </a:lnTo>
                  <a:lnTo>
                    <a:pt x="767" y="856"/>
                  </a:lnTo>
                  <a:lnTo>
                    <a:pt x="767" y="856"/>
                  </a:lnTo>
                  <a:lnTo>
                    <a:pt x="766" y="858"/>
                  </a:lnTo>
                  <a:lnTo>
                    <a:pt x="764" y="856"/>
                  </a:lnTo>
                  <a:lnTo>
                    <a:pt x="763" y="853"/>
                  </a:lnTo>
                  <a:lnTo>
                    <a:pt x="763" y="853"/>
                  </a:lnTo>
                  <a:lnTo>
                    <a:pt x="761" y="853"/>
                  </a:lnTo>
                  <a:lnTo>
                    <a:pt x="763" y="852"/>
                  </a:lnTo>
                  <a:lnTo>
                    <a:pt x="763" y="852"/>
                  </a:lnTo>
                  <a:lnTo>
                    <a:pt x="763" y="852"/>
                  </a:lnTo>
                  <a:lnTo>
                    <a:pt x="764" y="852"/>
                  </a:lnTo>
                  <a:lnTo>
                    <a:pt x="764" y="853"/>
                  </a:lnTo>
                  <a:lnTo>
                    <a:pt x="764" y="855"/>
                  </a:lnTo>
                  <a:lnTo>
                    <a:pt x="767" y="853"/>
                  </a:lnTo>
                  <a:lnTo>
                    <a:pt x="770" y="850"/>
                  </a:lnTo>
                  <a:lnTo>
                    <a:pt x="770" y="850"/>
                  </a:lnTo>
                  <a:lnTo>
                    <a:pt x="773" y="853"/>
                  </a:lnTo>
                  <a:lnTo>
                    <a:pt x="773" y="855"/>
                  </a:lnTo>
                  <a:lnTo>
                    <a:pt x="775" y="855"/>
                  </a:lnTo>
                  <a:lnTo>
                    <a:pt x="777" y="853"/>
                  </a:lnTo>
                  <a:lnTo>
                    <a:pt x="777" y="852"/>
                  </a:lnTo>
                  <a:lnTo>
                    <a:pt x="775" y="852"/>
                  </a:lnTo>
                  <a:lnTo>
                    <a:pt x="775" y="852"/>
                  </a:lnTo>
                  <a:lnTo>
                    <a:pt x="773" y="850"/>
                  </a:lnTo>
                  <a:lnTo>
                    <a:pt x="772" y="849"/>
                  </a:lnTo>
                  <a:lnTo>
                    <a:pt x="772" y="844"/>
                  </a:lnTo>
                  <a:lnTo>
                    <a:pt x="772" y="844"/>
                  </a:lnTo>
                  <a:lnTo>
                    <a:pt x="772" y="843"/>
                  </a:lnTo>
                  <a:lnTo>
                    <a:pt x="770" y="843"/>
                  </a:lnTo>
                  <a:lnTo>
                    <a:pt x="770" y="847"/>
                  </a:lnTo>
                  <a:lnTo>
                    <a:pt x="769" y="846"/>
                  </a:lnTo>
                  <a:lnTo>
                    <a:pt x="767" y="843"/>
                  </a:lnTo>
                  <a:lnTo>
                    <a:pt x="766" y="841"/>
                  </a:lnTo>
                  <a:lnTo>
                    <a:pt x="764" y="840"/>
                  </a:lnTo>
                  <a:lnTo>
                    <a:pt x="763" y="840"/>
                  </a:lnTo>
                  <a:lnTo>
                    <a:pt x="763" y="843"/>
                  </a:lnTo>
                  <a:lnTo>
                    <a:pt x="763" y="844"/>
                  </a:lnTo>
                  <a:lnTo>
                    <a:pt x="763" y="844"/>
                  </a:lnTo>
                  <a:lnTo>
                    <a:pt x="763" y="844"/>
                  </a:lnTo>
                  <a:lnTo>
                    <a:pt x="763" y="846"/>
                  </a:lnTo>
                  <a:lnTo>
                    <a:pt x="763" y="846"/>
                  </a:lnTo>
                  <a:lnTo>
                    <a:pt x="761" y="846"/>
                  </a:lnTo>
                  <a:lnTo>
                    <a:pt x="761" y="843"/>
                  </a:lnTo>
                  <a:lnTo>
                    <a:pt x="760" y="843"/>
                  </a:lnTo>
                  <a:lnTo>
                    <a:pt x="760" y="843"/>
                  </a:lnTo>
                  <a:lnTo>
                    <a:pt x="760" y="840"/>
                  </a:lnTo>
                  <a:lnTo>
                    <a:pt x="758" y="840"/>
                  </a:lnTo>
                  <a:lnTo>
                    <a:pt x="758" y="838"/>
                  </a:lnTo>
                  <a:lnTo>
                    <a:pt x="757" y="838"/>
                  </a:lnTo>
                  <a:lnTo>
                    <a:pt x="755" y="838"/>
                  </a:lnTo>
                  <a:lnTo>
                    <a:pt x="755" y="836"/>
                  </a:lnTo>
                  <a:lnTo>
                    <a:pt x="753" y="835"/>
                  </a:lnTo>
                  <a:lnTo>
                    <a:pt x="753" y="833"/>
                  </a:lnTo>
                  <a:lnTo>
                    <a:pt x="755" y="833"/>
                  </a:lnTo>
                  <a:lnTo>
                    <a:pt x="753" y="830"/>
                  </a:lnTo>
                  <a:lnTo>
                    <a:pt x="750" y="829"/>
                  </a:lnTo>
                  <a:lnTo>
                    <a:pt x="749" y="829"/>
                  </a:lnTo>
                  <a:lnTo>
                    <a:pt x="746" y="829"/>
                  </a:lnTo>
                  <a:lnTo>
                    <a:pt x="746" y="827"/>
                  </a:lnTo>
                  <a:lnTo>
                    <a:pt x="744" y="824"/>
                  </a:lnTo>
                  <a:lnTo>
                    <a:pt x="744" y="821"/>
                  </a:lnTo>
                  <a:lnTo>
                    <a:pt x="744" y="818"/>
                  </a:lnTo>
                  <a:lnTo>
                    <a:pt x="747" y="818"/>
                  </a:lnTo>
                  <a:lnTo>
                    <a:pt x="749" y="820"/>
                  </a:lnTo>
                  <a:lnTo>
                    <a:pt x="750" y="823"/>
                  </a:lnTo>
                  <a:lnTo>
                    <a:pt x="752" y="824"/>
                  </a:lnTo>
                  <a:lnTo>
                    <a:pt x="753" y="824"/>
                  </a:lnTo>
                  <a:lnTo>
                    <a:pt x="757" y="829"/>
                  </a:lnTo>
                  <a:lnTo>
                    <a:pt x="758" y="830"/>
                  </a:lnTo>
                  <a:lnTo>
                    <a:pt x="758" y="829"/>
                  </a:lnTo>
                  <a:lnTo>
                    <a:pt x="758" y="827"/>
                  </a:lnTo>
                  <a:lnTo>
                    <a:pt x="758" y="826"/>
                  </a:lnTo>
                  <a:lnTo>
                    <a:pt x="758" y="826"/>
                  </a:lnTo>
                  <a:lnTo>
                    <a:pt x="760" y="826"/>
                  </a:lnTo>
                  <a:lnTo>
                    <a:pt x="760" y="824"/>
                  </a:lnTo>
                  <a:lnTo>
                    <a:pt x="757" y="821"/>
                  </a:lnTo>
                  <a:lnTo>
                    <a:pt x="755" y="818"/>
                  </a:lnTo>
                  <a:lnTo>
                    <a:pt x="753" y="815"/>
                  </a:lnTo>
                  <a:lnTo>
                    <a:pt x="755" y="815"/>
                  </a:lnTo>
                  <a:lnTo>
                    <a:pt x="758" y="815"/>
                  </a:lnTo>
                  <a:lnTo>
                    <a:pt x="760" y="815"/>
                  </a:lnTo>
                  <a:lnTo>
                    <a:pt x="758" y="812"/>
                  </a:lnTo>
                  <a:lnTo>
                    <a:pt x="757" y="810"/>
                  </a:lnTo>
                  <a:lnTo>
                    <a:pt x="752" y="809"/>
                  </a:lnTo>
                  <a:lnTo>
                    <a:pt x="747" y="809"/>
                  </a:lnTo>
                  <a:lnTo>
                    <a:pt x="744" y="809"/>
                  </a:lnTo>
                  <a:lnTo>
                    <a:pt x="743" y="809"/>
                  </a:lnTo>
                  <a:lnTo>
                    <a:pt x="743" y="807"/>
                  </a:lnTo>
                  <a:lnTo>
                    <a:pt x="743" y="806"/>
                  </a:lnTo>
                  <a:lnTo>
                    <a:pt x="743" y="804"/>
                  </a:lnTo>
                  <a:lnTo>
                    <a:pt x="740" y="804"/>
                  </a:lnTo>
                  <a:lnTo>
                    <a:pt x="740" y="803"/>
                  </a:lnTo>
                  <a:lnTo>
                    <a:pt x="740" y="801"/>
                  </a:lnTo>
                  <a:lnTo>
                    <a:pt x="740" y="798"/>
                  </a:lnTo>
                  <a:lnTo>
                    <a:pt x="740" y="796"/>
                  </a:lnTo>
                  <a:lnTo>
                    <a:pt x="741" y="795"/>
                  </a:lnTo>
                  <a:lnTo>
                    <a:pt x="743" y="796"/>
                  </a:lnTo>
                  <a:lnTo>
                    <a:pt x="743" y="798"/>
                  </a:lnTo>
                  <a:lnTo>
                    <a:pt x="743" y="799"/>
                  </a:lnTo>
                  <a:lnTo>
                    <a:pt x="743" y="801"/>
                  </a:lnTo>
                  <a:lnTo>
                    <a:pt x="744" y="803"/>
                  </a:lnTo>
                  <a:lnTo>
                    <a:pt x="746" y="803"/>
                  </a:lnTo>
                  <a:lnTo>
                    <a:pt x="749" y="801"/>
                  </a:lnTo>
                  <a:lnTo>
                    <a:pt x="749" y="799"/>
                  </a:lnTo>
                  <a:lnTo>
                    <a:pt x="749" y="796"/>
                  </a:lnTo>
                  <a:lnTo>
                    <a:pt x="750" y="795"/>
                  </a:lnTo>
                  <a:lnTo>
                    <a:pt x="752" y="793"/>
                  </a:lnTo>
                  <a:lnTo>
                    <a:pt x="750" y="789"/>
                  </a:lnTo>
                  <a:lnTo>
                    <a:pt x="752" y="789"/>
                  </a:lnTo>
                  <a:lnTo>
                    <a:pt x="753" y="787"/>
                  </a:lnTo>
                  <a:lnTo>
                    <a:pt x="753" y="786"/>
                  </a:lnTo>
                  <a:lnTo>
                    <a:pt x="755" y="786"/>
                  </a:lnTo>
                  <a:lnTo>
                    <a:pt x="755" y="783"/>
                  </a:lnTo>
                  <a:lnTo>
                    <a:pt x="755" y="783"/>
                  </a:lnTo>
                  <a:lnTo>
                    <a:pt x="753" y="781"/>
                  </a:lnTo>
                  <a:lnTo>
                    <a:pt x="753" y="779"/>
                  </a:lnTo>
                  <a:lnTo>
                    <a:pt x="755" y="779"/>
                  </a:lnTo>
                  <a:lnTo>
                    <a:pt x="764" y="778"/>
                  </a:lnTo>
                  <a:lnTo>
                    <a:pt x="766" y="776"/>
                  </a:lnTo>
                  <a:lnTo>
                    <a:pt x="764" y="775"/>
                  </a:lnTo>
                  <a:lnTo>
                    <a:pt x="764" y="773"/>
                  </a:lnTo>
                  <a:lnTo>
                    <a:pt x="766" y="772"/>
                  </a:lnTo>
                  <a:lnTo>
                    <a:pt x="767" y="770"/>
                  </a:lnTo>
                  <a:lnTo>
                    <a:pt x="767" y="770"/>
                  </a:lnTo>
                  <a:lnTo>
                    <a:pt x="767" y="770"/>
                  </a:lnTo>
                  <a:lnTo>
                    <a:pt x="767" y="769"/>
                  </a:lnTo>
                  <a:lnTo>
                    <a:pt x="767" y="769"/>
                  </a:lnTo>
                  <a:lnTo>
                    <a:pt x="769" y="769"/>
                  </a:lnTo>
                  <a:lnTo>
                    <a:pt x="770" y="770"/>
                  </a:lnTo>
                  <a:lnTo>
                    <a:pt x="770" y="770"/>
                  </a:lnTo>
                  <a:lnTo>
                    <a:pt x="772" y="770"/>
                  </a:lnTo>
                  <a:lnTo>
                    <a:pt x="773" y="767"/>
                  </a:lnTo>
                  <a:lnTo>
                    <a:pt x="773" y="767"/>
                  </a:lnTo>
                  <a:lnTo>
                    <a:pt x="772" y="764"/>
                  </a:lnTo>
                  <a:lnTo>
                    <a:pt x="770" y="761"/>
                  </a:lnTo>
                  <a:lnTo>
                    <a:pt x="772" y="759"/>
                  </a:lnTo>
                  <a:lnTo>
                    <a:pt x="778" y="761"/>
                  </a:lnTo>
                  <a:lnTo>
                    <a:pt x="780" y="759"/>
                  </a:lnTo>
                  <a:lnTo>
                    <a:pt x="778" y="758"/>
                  </a:lnTo>
                  <a:lnTo>
                    <a:pt x="777" y="758"/>
                  </a:lnTo>
                  <a:lnTo>
                    <a:pt x="777" y="758"/>
                  </a:lnTo>
                  <a:lnTo>
                    <a:pt x="777" y="758"/>
                  </a:lnTo>
                  <a:lnTo>
                    <a:pt x="777" y="756"/>
                  </a:lnTo>
                  <a:lnTo>
                    <a:pt x="778" y="752"/>
                  </a:lnTo>
                  <a:lnTo>
                    <a:pt x="778" y="750"/>
                  </a:lnTo>
                  <a:lnTo>
                    <a:pt x="778" y="749"/>
                  </a:lnTo>
                  <a:lnTo>
                    <a:pt x="777" y="747"/>
                  </a:lnTo>
                  <a:lnTo>
                    <a:pt x="781" y="747"/>
                  </a:lnTo>
                  <a:lnTo>
                    <a:pt x="783" y="746"/>
                  </a:lnTo>
                  <a:lnTo>
                    <a:pt x="781" y="741"/>
                  </a:lnTo>
                  <a:lnTo>
                    <a:pt x="777" y="730"/>
                  </a:lnTo>
                  <a:lnTo>
                    <a:pt x="772" y="726"/>
                  </a:lnTo>
                  <a:lnTo>
                    <a:pt x="767" y="716"/>
                  </a:lnTo>
                  <a:lnTo>
                    <a:pt x="766" y="715"/>
                  </a:lnTo>
                  <a:lnTo>
                    <a:pt x="755" y="712"/>
                  </a:lnTo>
                  <a:lnTo>
                    <a:pt x="757" y="709"/>
                  </a:lnTo>
                  <a:lnTo>
                    <a:pt x="760" y="709"/>
                  </a:lnTo>
                  <a:lnTo>
                    <a:pt x="761" y="707"/>
                  </a:lnTo>
                  <a:lnTo>
                    <a:pt x="761" y="707"/>
                  </a:lnTo>
                  <a:lnTo>
                    <a:pt x="760" y="706"/>
                  </a:lnTo>
                  <a:lnTo>
                    <a:pt x="760" y="706"/>
                  </a:lnTo>
                  <a:lnTo>
                    <a:pt x="761" y="706"/>
                  </a:lnTo>
                  <a:lnTo>
                    <a:pt x="764" y="709"/>
                  </a:lnTo>
                  <a:lnTo>
                    <a:pt x="766" y="712"/>
                  </a:lnTo>
                  <a:lnTo>
                    <a:pt x="769" y="715"/>
                  </a:lnTo>
                  <a:lnTo>
                    <a:pt x="770" y="715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73" y="719"/>
                  </a:lnTo>
                  <a:lnTo>
                    <a:pt x="775" y="721"/>
                  </a:lnTo>
                  <a:lnTo>
                    <a:pt x="777" y="726"/>
                  </a:lnTo>
                  <a:lnTo>
                    <a:pt x="777" y="727"/>
                  </a:lnTo>
                  <a:lnTo>
                    <a:pt x="780" y="729"/>
                  </a:lnTo>
                  <a:lnTo>
                    <a:pt x="783" y="729"/>
                  </a:lnTo>
                  <a:lnTo>
                    <a:pt x="786" y="727"/>
                  </a:lnTo>
                  <a:lnTo>
                    <a:pt x="787" y="722"/>
                  </a:lnTo>
                  <a:lnTo>
                    <a:pt x="789" y="721"/>
                  </a:lnTo>
                  <a:lnTo>
                    <a:pt x="787" y="718"/>
                  </a:lnTo>
                  <a:lnTo>
                    <a:pt x="784" y="716"/>
                  </a:lnTo>
                  <a:lnTo>
                    <a:pt x="783" y="713"/>
                  </a:lnTo>
                  <a:lnTo>
                    <a:pt x="781" y="712"/>
                  </a:lnTo>
                  <a:lnTo>
                    <a:pt x="780" y="712"/>
                  </a:lnTo>
                  <a:lnTo>
                    <a:pt x="780" y="715"/>
                  </a:lnTo>
                  <a:lnTo>
                    <a:pt x="778" y="715"/>
                  </a:lnTo>
                  <a:lnTo>
                    <a:pt x="777" y="715"/>
                  </a:lnTo>
                  <a:lnTo>
                    <a:pt x="775" y="713"/>
                  </a:lnTo>
                  <a:lnTo>
                    <a:pt x="773" y="712"/>
                  </a:lnTo>
                  <a:lnTo>
                    <a:pt x="772" y="710"/>
                  </a:lnTo>
                  <a:lnTo>
                    <a:pt x="770" y="709"/>
                  </a:lnTo>
                  <a:lnTo>
                    <a:pt x="769" y="709"/>
                  </a:lnTo>
                  <a:lnTo>
                    <a:pt x="772" y="706"/>
                  </a:lnTo>
                  <a:lnTo>
                    <a:pt x="772" y="706"/>
                  </a:lnTo>
                  <a:lnTo>
                    <a:pt x="772" y="704"/>
                  </a:lnTo>
                  <a:lnTo>
                    <a:pt x="770" y="704"/>
                  </a:lnTo>
                  <a:lnTo>
                    <a:pt x="772" y="701"/>
                  </a:lnTo>
                  <a:lnTo>
                    <a:pt x="775" y="701"/>
                  </a:lnTo>
                  <a:lnTo>
                    <a:pt x="781" y="701"/>
                  </a:lnTo>
                  <a:lnTo>
                    <a:pt x="781" y="701"/>
                  </a:lnTo>
                  <a:lnTo>
                    <a:pt x="780" y="701"/>
                  </a:lnTo>
                  <a:lnTo>
                    <a:pt x="777" y="699"/>
                  </a:lnTo>
                  <a:lnTo>
                    <a:pt x="777" y="698"/>
                  </a:lnTo>
                  <a:lnTo>
                    <a:pt x="780" y="696"/>
                  </a:lnTo>
                  <a:lnTo>
                    <a:pt x="781" y="696"/>
                  </a:lnTo>
                  <a:lnTo>
                    <a:pt x="783" y="701"/>
                  </a:lnTo>
                  <a:lnTo>
                    <a:pt x="784" y="701"/>
                  </a:lnTo>
                  <a:lnTo>
                    <a:pt x="789" y="701"/>
                  </a:lnTo>
                  <a:lnTo>
                    <a:pt x="787" y="698"/>
                  </a:lnTo>
                  <a:lnTo>
                    <a:pt x="789" y="698"/>
                  </a:lnTo>
                  <a:lnTo>
                    <a:pt x="795" y="701"/>
                  </a:lnTo>
                  <a:lnTo>
                    <a:pt x="797" y="699"/>
                  </a:lnTo>
                  <a:lnTo>
                    <a:pt x="800" y="699"/>
                  </a:lnTo>
                  <a:lnTo>
                    <a:pt x="801" y="696"/>
                  </a:lnTo>
                  <a:lnTo>
                    <a:pt x="803" y="699"/>
                  </a:lnTo>
                  <a:lnTo>
                    <a:pt x="804" y="699"/>
                  </a:lnTo>
                  <a:lnTo>
                    <a:pt x="806" y="699"/>
                  </a:lnTo>
                  <a:lnTo>
                    <a:pt x="806" y="698"/>
                  </a:lnTo>
                  <a:lnTo>
                    <a:pt x="806" y="696"/>
                  </a:lnTo>
                  <a:lnTo>
                    <a:pt x="806" y="695"/>
                  </a:lnTo>
                  <a:lnTo>
                    <a:pt x="806" y="693"/>
                  </a:lnTo>
                  <a:lnTo>
                    <a:pt x="806" y="690"/>
                  </a:lnTo>
                  <a:lnTo>
                    <a:pt x="807" y="695"/>
                  </a:lnTo>
                  <a:lnTo>
                    <a:pt x="809" y="695"/>
                  </a:lnTo>
                  <a:lnTo>
                    <a:pt x="810" y="696"/>
                  </a:lnTo>
                  <a:lnTo>
                    <a:pt x="812" y="695"/>
                  </a:lnTo>
                  <a:lnTo>
                    <a:pt x="812" y="693"/>
                  </a:lnTo>
                  <a:lnTo>
                    <a:pt x="812" y="690"/>
                  </a:lnTo>
                  <a:lnTo>
                    <a:pt x="814" y="689"/>
                  </a:lnTo>
                  <a:lnTo>
                    <a:pt x="810" y="687"/>
                  </a:lnTo>
                  <a:lnTo>
                    <a:pt x="806" y="681"/>
                  </a:lnTo>
                  <a:lnTo>
                    <a:pt x="804" y="681"/>
                  </a:lnTo>
                  <a:lnTo>
                    <a:pt x="806" y="681"/>
                  </a:lnTo>
                  <a:lnTo>
                    <a:pt x="807" y="684"/>
                  </a:lnTo>
                  <a:lnTo>
                    <a:pt x="806" y="684"/>
                  </a:lnTo>
                  <a:lnTo>
                    <a:pt x="803" y="682"/>
                  </a:lnTo>
                  <a:lnTo>
                    <a:pt x="800" y="676"/>
                  </a:lnTo>
                  <a:lnTo>
                    <a:pt x="801" y="676"/>
                  </a:lnTo>
                  <a:lnTo>
                    <a:pt x="812" y="679"/>
                  </a:lnTo>
                  <a:lnTo>
                    <a:pt x="814" y="678"/>
                  </a:lnTo>
                  <a:lnTo>
                    <a:pt x="814" y="678"/>
                  </a:lnTo>
                  <a:lnTo>
                    <a:pt x="815" y="679"/>
                  </a:lnTo>
                  <a:lnTo>
                    <a:pt x="815" y="679"/>
                  </a:lnTo>
                  <a:lnTo>
                    <a:pt x="817" y="679"/>
                  </a:lnTo>
                  <a:lnTo>
                    <a:pt x="817" y="678"/>
                  </a:lnTo>
                  <a:lnTo>
                    <a:pt x="817" y="678"/>
                  </a:lnTo>
                  <a:lnTo>
                    <a:pt x="817" y="676"/>
                  </a:lnTo>
                  <a:lnTo>
                    <a:pt x="818" y="676"/>
                  </a:lnTo>
                  <a:lnTo>
                    <a:pt x="820" y="675"/>
                  </a:lnTo>
                  <a:lnTo>
                    <a:pt x="824" y="675"/>
                  </a:lnTo>
                  <a:lnTo>
                    <a:pt x="826" y="673"/>
                  </a:lnTo>
                  <a:lnTo>
                    <a:pt x="824" y="673"/>
                  </a:lnTo>
                  <a:lnTo>
                    <a:pt x="823" y="673"/>
                  </a:lnTo>
                  <a:lnTo>
                    <a:pt x="821" y="670"/>
                  </a:lnTo>
                  <a:lnTo>
                    <a:pt x="820" y="669"/>
                  </a:lnTo>
                  <a:lnTo>
                    <a:pt x="820" y="667"/>
                  </a:lnTo>
                  <a:lnTo>
                    <a:pt x="815" y="666"/>
                  </a:lnTo>
                  <a:lnTo>
                    <a:pt x="809" y="659"/>
                  </a:lnTo>
                  <a:lnTo>
                    <a:pt x="800" y="653"/>
                  </a:lnTo>
                  <a:lnTo>
                    <a:pt x="795" y="649"/>
                  </a:lnTo>
                  <a:lnTo>
                    <a:pt x="794" y="641"/>
                  </a:lnTo>
                  <a:lnTo>
                    <a:pt x="794" y="642"/>
                  </a:lnTo>
                  <a:lnTo>
                    <a:pt x="797" y="644"/>
                  </a:lnTo>
                  <a:lnTo>
                    <a:pt x="797" y="645"/>
                  </a:lnTo>
                  <a:lnTo>
                    <a:pt x="798" y="649"/>
                  </a:lnTo>
                  <a:lnTo>
                    <a:pt x="800" y="650"/>
                  </a:lnTo>
                  <a:lnTo>
                    <a:pt x="801" y="652"/>
                  </a:lnTo>
                  <a:lnTo>
                    <a:pt x="806" y="653"/>
                  </a:lnTo>
                  <a:lnTo>
                    <a:pt x="807" y="656"/>
                  </a:lnTo>
                  <a:lnTo>
                    <a:pt x="810" y="656"/>
                  </a:lnTo>
                  <a:lnTo>
                    <a:pt x="812" y="658"/>
                  </a:lnTo>
                  <a:lnTo>
                    <a:pt x="815" y="661"/>
                  </a:lnTo>
                  <a:lnTo>
                    <a:pt x="820" y="664"/>
                  </a:lnTo>
                  <a:lnTo>
                    <a:pt x="827" y="670"/>
                  </a:lnTo>
                  <a:lnTo>
                    <a:pt x="829" y="670"/>
                  </a:lnTo>
                  <a:lnTo>
                    <a:pt x="829" y="667"/>
                  </a:lnTo>
                  <a:lnTo>
                    <a:pt x="830" y="666"/>
                  </a:lnTo>
                  <a:lnTo>
                    <a:pt x="830" y="667"/>
                  </a:lnTo>
                  <a:lnTo>
                    <a:pt x="832" y="669"/>
                  </a:lnTo>
                  <a:lnTo>
                    <a:pt x="835" y="670"/>
                  </a:lnTo>
                  <a:lnTo>
                    <a:pt x="837" y="670"/>
                  </a:lnTo>
                  <a:lnTo>
                    <a:pt x="838" y="672"/>
                  </a:lnTo>
                  <a:lnTo>
                    <a:pt x="840" y="673"/>
                  </a:lnTo>
                  <a:lnTo>
                    <a:pt x="841" y="675"/>
                  </a:lnTo>
                  <a:lnTo>
                    <a:pt x="843" y="673"/>
                  </a:lnTo>
                  <a:lnTo>
                    <a:pt x="841" y="670"/>
                  </a:lnTo>
                  <a:lnTo>
                    <a:pt x="841" y="669"/>
                  </a:lnTo>
                  <a:lnTo>
                    <a:pt x="841" y="667"/>
                  </a:lnTo>
                  <a:lnTo>
                    <a:pt x="838" y="667"/>
                  </a:lnTo>
                  <a:lnTo>
                    <a:pt x="837" y="666"/>
                  </a:lnTo>
                  <a:lnTo>
                    <a:pt x="835" y="664"/>
                  </a:lnTo>
                  <a:lnTo>
                    <a:pt x="835" y="662"/>
                  </a:lnTo>
                  <a:lnTo>
                    <a:pt x="840" y="659"/>
                  </a:lnTo>
                  <a:lnTo>
                    <a:pt x="838" y="658"/>
                  </a:lnTo>
                  <a:lnTo>
                    <a:pt x="835" y="656"/>
                  </a:lnTo>
                  <a:lnTo>
                    <a:pt x="835" y="655"/>
                  </a:lnTo>
                  <a:lnTo>
                    <a:pt x="835" y="653"/>
                  </a:lnTo>
                  <a:lnTo>
                    <a:pt x="834" y="652"/>
                  </a:lnTo>
                  <a:lnTo>
                    <a:pt x="832" y="652"/>
                  </a:lnTo>
                  <a:lnTo>
                    <a:pt x="832" y="653"/>
                  </a:lnTo>
                  <a:lnTo>
                    <a:pt x="832" y="655"/>
                  </a:lnTo>
                  <a:lnTo>
                    <a:pt x="834" y="656"/>
                  </a:lnTo>
                  <a:lnTo>
                    <a:pt x="834" y="659"/>
                  </a:lnTo>
                  <a:lnTo>
                    <a:pt x="834" y="662"/>
                  </a:lnTo>
                  <a:lnTo>
                    <a:pt x="830" y="662"/>
                  </a:lnTo>
                  <a:lnTo>
                    <a:pt x="824" y="659"/>
                  </a:lnTo>
                  <a:lnTo>
                    <a:pt x="830" y="659"/>
                  </a:lnTo>
                  <a:lnTo>
                    <a:pt x="832" y="659"/>
                  </a:lnTo>
                  <a:lnTo>
                    <a:pt x="830" y="655"/>
                  </a:lnTo>
                  <a:lnTo>
                    <a:pt x="830" y="653"/>
                  </a:lnTo>
                  <a:lnTo>
                    <a:pt x="829" y="653"/>
                  </a:lnTo>
                  <a:lnTo>
                    <a:pt x="830" y="652"/>
                  </a:lnTo>
                  <a:lnTo>
                    <a:pt x="830" y="650"/>
                  </a:lnTo>
                  <a:lnTo>
                    <a:pt x="830" y="649"/>
                  </a:lnTo>
                  <a:lnTo>
                    <a:pt x="829" y="647"/>
                  </a:lnTo>
                  <a:lnTo>
                    <a:pt x="832" y="645"/>
                  </a:lnTo>
                  <a:lnTo>
                    <a:pt x="834" y="645"/>
                  </a:lnTo>
                  <a:lnTo>
                    <a:pt x="835" y="649"/>
                  </a:lnTo>
                  <a:lnTo>
                    <a:pt x="835" y="653"/>
                  </a:lnTo>
                  <a:lnTo>
                    <a:pt x="837" y="652"/>
                  </a:lnTo>
                  <a:lnTo>
                    <a:pt x="838" y="652"/>
                  </a:lnTo>
                  <a:lnTo>
                    <a:pt x="838" y="652"/>
                  </a:lnTo>
                  <a:lnTo>
                    <a:pt x="840" y="652"/>
                  </a:lnTo>
                  <a:lnTo>
                    <a:pt x="838" y="647"/>
                  </a:lnTo>
                  <a:lnTo>
                    <a:pt x="838" y="644"/>
                  </a:lnTo>
                  <a:lnTo>
                    <a:pt x="835" y="642"/>
                  </a:lnTo>
                  <a:lnTo>
                    <a:pt x="830" y="641"/>
                  </a:lnTo>
                  <a:lnTo>
                    <a:pt x="829" y="639"/>
                  </a:lnTo>
                  <a:lnTo>
                    <a:pt x="827" y="638"/>
                  </a:lnTo>
                  <a:lnTo>
                    <a:pt x="826" y="635"/>
                  </a:lnTo>
                  <a:lnTo>
                    <a:pt x="829" y="635"/>
                  </a:lnTo>
                  <a:lnTo>
                    <a:pt x="832" y="638"/>
                  </a:lnTo>
                  <a:lnTo>
                    <a:pt x="835" y="639"/>
                  </a:lnTo>
                  <a:lnTo>
                    <a:pt x="837" y="635"/>
                  </a:lnTo>
                  <a:lnTo>
                    <a:pt x="837" y="633"/>
                  </a:lnTo>
                  <a:lnTo>
                    <a:pt x="835" y="630"/>
                  </a:lnTo>
                  <a:lnTo>
                    <a:pt x="834" y="629"/>
                  </a:lnTo>
                  <a:lnTo>
                    <a:pt x="837" y="629"/>
                  </a:lnTo>
                  <a:lnTo>
                    <a:pt x="838" y="629"/>
                  </a:lnTo>
                  <a:lnTo>
                    <a:pt x="838" y="627"/>
                  </a:lnTo>
                  <a:lnTo>
                    <a:pt x="835" y="621"/>
                  </a:lnTo>
                  <a:lnTo>
                    <a:pt x="838" y="621"/>
                  </a:lnTo>
                  <a:lnTo>
                    <a:pt x="838" y="618"/>
                  </a:lnTo>
                  <a:lnTo>
                    <a:pt x="841" y="616"/>
                  </a:lnTo>
                  <a:lnTo>
                    <a:pt x="846" y="618"/>
                  </a:lnTo>
                  <a:lnTo>
                    <a:pt x="846" y="619"/>
                  </a:lnTo>
                  <a:lnTo>
                    <a:pt x="846" y="621"/>
                  </a:lnTo>
                  <a:lnTo>
                    <a:pt x="847" y="622"/>
                  </a:lnTo>
                  <a:lnTo>
                    <a:pt x="849" y="624"/>
                  </a:lnTo>
                  <a:lnTo>
                    <a:pt x="850" y="627"/>
                  </a:lnTo>
                  <a:lnTo>
                    <a:pt x="849" y="627"/>
                  </a:lnTo>
                  <a:lnTo>
                    <a:pt x="849" y="629"/>
                  </a:lnTo>
                  <a:lnTo>
                    <a:pt x="847" y="632"/>
                  </a:lnTo>
                  <a:lnTo>
                    <a:pt x="849" y="633"/>
                  </a:lnTo>
                  <a:lnTo>
                    <a:pt x="849" y="633"/>
                  </a:lnTo>
                  <a:lnTo>
                    <a:pt x="852" y="630"/>
                  </a:lnTo>
                  <a:lnTo>
                    <a:pt x="854" y="629"/>
                  </a:lnTo>
                  <a:lnTo>
                    <a:pt x="857" y="630"/>
                  </a:lnTo>
                  <a:lnTo>
                    <a:pt x="860" y="632"/>
                  </a:lnTo>
                  <a:lnTo>
                    <a:pt x="858" y="636"/>
                  </a:lnTo>
                  <a:lnTo>
                    <a:pt x="860" y="636"/>
                  </a:lnTo>
                  <a:lnTo>
                    <a:pt x="861" y="635"/>
                  </a:lnTo>
                  <a:lnTo>
                    <a:pt x="861" y="633"/>
                  </a:lnTo>
                  <a:lnTo>
                    <a:pt x="863" y="630"/>
                  </a:lnTo>
                  <a:lnTo>
                    <a:pt x="863" y="627"/>
                  </a:lnTo>
                  <a:lnTo>
                    <a:pt x="863" y="625"/>
                  </a:lnTo>
                  <a:lnTo>
                    <a:pt x="863" y="624"/>
                  </a:lnTo>
                  <a:lnTo>
                    <a:pt x="861" y="621"/>
                  </a:lnTo>
                  <a:lnTo>
                    <a:pt x="861" y="616"/>
                  </a:lnTo>
                  <a:lnTo>
                    <a:pt x="861" y="615"/>
                  </a:lnTo>
                  <a:lnTo>
                    <a:pt x="861" y="613"/>
                  </a:lnTo>
                  <a:lnTo>
                    <a:pt x="858" y="612"/>
                  </a:lnTo>
                  <a:lnTo>
                    <a:pt x="858" y="609"/>
                  </a:lnTo>
                  <a:lnTo>
                    <a:pt x="860" y="609"/>
                  </a:lnTo>
                  <a:lnTo>
                    <a:pt x="861" y="609"/>
                  </a:lnTo>
                  <a:lnTo>
                    <a:pt x="869" y="616"/>
                  </a:lnTo>
                  <a:lnTo>
                    <a:pt x="871" y="619"/>
                  </a:lnTo>
                  <a:lnTo>
                    <a:pt x="874" y="627"/>
                  </a:lnTo>
                  <a:lnTo>
                    <a:pt x="875" y="629"/>
                  </a:lnTo>
                  <a:lnTo>
                    <a:pt x="875" y="629"/>
                  </a:lnTo>
                  <a:lnTo>
                    <a:pt x="878" y="629"/>
                  </a:lnTo>
                  <a:lnTo>
                    <a:pt x="878" y="629"/>
                  </a:lnTo>
                  <a:lnTo>
                    <a:pt x="880" y="632"/>
                  </a:lnTo>
                  <a:lnTo>
                    <a:pt x="881" y="633"/>
                  </a:lnTo>
                  <a:lnTo>
                    <a:pt x="884" y="635"/>
                  </a:lnTo>
                  <a:lnTo>
                    <a:pt x="889" y="635"/>
                  </a:lnTo>
                  <a:lnTo>
                    <a:pt x="889" y="636"/>
                  </a:lnTo>
                  <a:lnTo>
                    <a:pt x="892" y="641"/>
                  </a:lnTo>
                  <a:lnTo>
                    <a:pt x="891" y="645"/>
                  </a:lnTo>
                  <a:lnTo>
                    <a:pt x="892" y="645"/>
                  </a:lnTo>
                  <a:lnTo>
                    <a:pt x="895" y="644"/>
                  </a:lnTo>
                  <a:lnTo>
                    <a:pt x="895" y="641"/>
                  </a:lnTo>
                  <a:lnTo>
                    <a:pt x="897" y="638"/>
                  </a:lnTo>
                  <a:lnTo>
                    <a:pt x="897" y="638"/>
                  </a:lnTo>
                  <a:lnTo>
                    <a:pt x="901" y="635"/>
                  </a:lnTo>
                  <a:lnTo>
                    <a:pt x="903" y="633"/>
                  </a:lnTo>
                  <a:lnTo>
                    <a:pt x="900" y="632"/>
                  </a:lnTo>
                  <a:lnTo>
                    <a:pt x="900" y="630"/>
                  </a:lnTo>
                  <a:lnTo>
                    <a:pt x="898" y="629"/>
                  </a:lnTo>
                  <a:lnTo>
                    <a:pt x="898" y="624"/>
                  </a:lnTo>
                  <a:lnTo>
                    <a:pt x="900" y="624"/>
                  </a:lnTo>
                  <a:lnTo>
                    <a:pt x="901" y="624"/>
                  </a:lnTo>
                  <a:lnTo>
                    <a:pt x="901" y="624"/>
                  </a:lnTo>
                  <a:lnTo>
                    <a:pt x="904" y="627"/>
                  </a:lnTo>
                  <a:lnTo>
                    <a:pt x="906" y="629"/>
                  </a:lnTo>
                  <a:lnTo>
                    <a:pt x="907" y="629"/>
                  </a:lnTo>
                  <a:lnTo>
                    <a:pt x="909" y="627"/>
                  </a:lnTo>
                  <a:lnTo>
                    <a:pt x="911" y="625"/>
                  </a:lnTo>
                  <a:lnTo>
                    <a:pt x="911" y="624"/>
                  </a:lnTo>
                  <a:lnTo>
                    <a:pt x="912" y="624"/>
                  </a:lnTo>
                  <a:lnTo>
                    <a:pt x="912" y="627"/>
                  </a:lnTo>
                  <a:lnTo>
                    <a:pt x="912" y="630"/>
                  </a:lnTo>
                  <a:lnTo>
                    <a:pt x="914" y="633"/>
                  </a:lnTo>
                  <a:lnTo>
                    <a:pt x="915" y="633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3"/>
                  </a:lnTo>
                  <a:lnTo>
                    <a:pt x="918" y="632"/>
                  </a:lnTo>
                  <a:lnTo>
                    <a:pt x="918" y="630"/>
                  </a:lnTo>
                  <a:lnTo>
                    <a:pt x="917" y="629"/>
                  </a:lnTo>
                  <a:lnTo>
                    <a:pt x="917" y="629"/>
                  </a:lnTo>
                  <a:lnTo>
                    <a:pt x="917" y="627"/>
                  </a:lnTo>
                  <a:lnTo>
                    <a:pt x="917" y="625"/>
                  </a:lnTo>
                  <a:lnTo>
                    <a:pt x="918" y="625"/>
                  </a:lnTo>
                  <a:lnTo>
                    <a:pt x="918" y="625"/>
                  </a:lnTo>
                  <a:lnTo>
                    <a:pt x="920" y="622"/>
                  </a:lnTo>
                  <a:lnTo>
                    <a:pt x="918" y="622"/>
                  </a:lnTo>
                  <a:lnTo>
                    <a:pt x="920" y="622"/>
                  </a:lnTo>
                  <a:lnTo>
                    <a:pt x="921" y="622"/>
                  </a:lnTo>
                  <a:lnTo>
                    <a:pt x="921" y="622"/>
                  </a:lnTo>
                  <a:lnTo>
                    <a:pt x="921" y="625"/>
                  </a:lnTo>
                  <a:lnTo>
                    <a:pt x="924" y="627"/>
                  </a:lnTo>
                  <a:lnTo>
                    <a:pt x="931" y="627"/>
                  </a:lnTo>
                  <a:lnTo>
                    <a:pt x="931" y="627"/>
                  </a:lnTo>
                  <a:lnTo>
                    <a:pt x="931" y="629"/>
                  </a:lnTo>
                  <a:lnTo>
                    <a:pt x="932" y="629"/>
                  </a:lnTo>
                  <a:lnTo>
                    <a:pt x="932" y="629"/>
                  </a:lnTo>
                  <a:lnTo>
                    <a:pt x="934" y="627"/>
                  </a:lnTo>
                  <a:lnTo>
                    <a:pt x="935" y="624"/>
                  </a:lnTo>
                  <a:lnTo>
                    <a:pt x="937" y="622"/>
                  </a:lnTo>
                  <a:lnTo>
                    <a:pt x="940" y="622"/>
                  </a:lnTo>
                  <a:lnTo>
                    <a:pt x="941" y="624"/>
                  </a:lnTo>
                  <a:lnTo>
                    <a:pt x="943" y="627"/>
                  </a:lnTo>
                  <a:lnTo>
                    <a:pt x="943" y="630"/>
                  </a:lnTo>
                  <a:lnTo>
                    <a:pt x="944" y="630"/>
                  </a:lnTo>
                  <a:lnTo>
                    <a:pt x="949" y="630"/>
                  </a:lnTo>
                  <a:lnTo>
                    <a:pt x="949" y="629"/>
                  </a:lnTo>
                  <a:lnTo>
                    <a:pt x="951" y="629"/>
                  </a:lnTo>
                  <a:lnTo>
                    <a:pt x="951" y="630"/>
                  </a:lnTo>
                  <a:lnTo>
                    <a:pt x="951" y="632"/>
                  </a:lnTo>
                  <a:lnTo>
                    <a:pt x="951" y="633"/>
                  </a:lnTo>
                  <a:lnTo>
                    <a:pt x="952" y="633"/>
                  </a:lnTo>
                  <a:lnTo>
                    <a:pt x="952" y="635"/>
                  </a:lnTo>
                  <a:lnTo>
                    <a:pt x="954" y="635"/>
                  </a:lnTo>
                  <a:lnTo>
                    <a:pt x="954" y="635"/>
                  </a:lnTo>
                  <a:lnTo>
                    <a:pt x="955" y="635"/>
                  </a:lnTo>
                  <a:lnTo>
                    <a:pt x="955" y="635"/>
                  </a:lnTo>
                  <a:lnTo>
                    <a:pt x="955" y="632"/>
                  </a:lnTo>
                  <a:lnTo>
                    <a:pt x="957" y="630"/>
                  </a:lnTo>
                  <a:lnTo>
                    <a:pt x="958" y="629"/>
                  </a:lnTo>
                  <a:lnTo>
                    <a:pt x="961" y="630"/>
                  </a:lnTo>
                  <a:lnTo>
                    <a:pt x="963" y="629"/>
                  </a:lnTo>
                  <a:lnTo>
                    <a:pt x="963" y="629"/>
                  </a:lnTo>
                  <a:lnTo>
                    <a:pt x="963" y="629"/>
                  </a:lnTo>
                  <a:lnTo>
                    <a:pt x="963" y="627"/>
                  </a:lnTo>
                  <a:lnTo>
                    <a:pt x="961" y="627"/>
                  </a:lnTo>
                  <a:lnTo>
                    <a:pt x="968" y="629"/>
                  </a:lnTo>
                  <a:lnTo>
                    <a:pt x="969" y="627"/>
                  </a:lnTo>
                  <a:lnTo>
                    <a:pt x="972" y="624"/>
                  </a:lnTo>
                  <a:lnTo>
                    <a:pt x="972" y="621"/>
                  </a:lnTo>
                  <a:lnTo>
                    <a:pt x="969" y="61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5"/>
            <p:cNvSpPr>
              <a:spLocks noEditPoints="1"/>
            </p:cNvSpPr>
            <p:nvPr/>
          </p:nvSpPr>
          <p:spPr bwMode="gray">
            <a:xfrm>
              <a:off x="6997700" y="2078038"/>
              <a:ext cx="1543050" cy="3535363"/>
            </a:xfrm>
            <a:custGeom>
              <a:avLst/>
              <a:gdLst>
                <a:gd name="T0" fmla="*/ 395 w 972"/>
                <a:gd name="T1" fmla="*/ 2108 h 2227"/>
                <a:gd name="T2" fmla="*/ 441 w 972"/>
                <a:gd name="T3" fmla="*/ 1968 h 2227"/>
                <a:gd name="T4" fmla="*/ 526 w 972"/>
                <a:gd name="T5" fmla="*/ 1953 h 2227"/>
                <a:gd name="T6" fmla="*/ 575 w 972"/>
                <a:gd name="T7" fmla="*/ 1953 h 2227"/>
                <a:gd name="T8" fmla="*/ 599 w 972"/>
                <a:gd name="T9" fmla="*/ 1868 h 2227"/>
                <a:gd name="T10" fmla="*/ 37 w 972"/>
                <a:gd name="T11" fmla="*/ 1874 h 2227"/>
                <a:gd name="T12" fmla="*/ 603 w 972"/>
                <a:gd name="T13" fmla="*/ 1817 h 2227"/>
                <a:gd name="T14" fmla="*/ 524 w 972"/>
                <a:gd name="T15" fmla="*/ 1728 h 2227"/>
                <a:gd name="T16" fmla="*/ 490 w 972"/>
                <a:gd name="T17" fmla="*/ 1731 h 2227"/>
                <a:gd name="T18" fmla="*/ 573 w 972"/>
                <a:gd name="T19" fmla="*/ 1683 h 2227"/>
                <a:gd name="T20" fmla="*/ 576 w 972"/>
                <a:gd name="T21" fmla="*/ 1668 h 2227"/>
                <a:gd name="T22" fmla="*/ 552 w 972"/>
                <a:gd name="T23" fmla="*/ 1659 h 2227"/>
                <a:gd name="T24" fmla="*/ 581 w 972"/>
                <a:gd name="T25" fmla="*/ 1609 h 2227"/>
                <a:gd name="T26" fmla="*/ 544 w 972"/>
                <a:gd name="T27" fmla="*/ 1508 h 2227"/>
                <a:gd name="T28" fmla="*/ 730 w 972"/>
                <a:gd name="T29" fmla="*/ 984 h 2227"/>
                <a:gd name="T30" fmla="*/ 837 w 972"/>
                <a:gd name="T31" fmla="*/ 684 h 2227"/>
                <a:gd name="T32" fmla="*/ 941 w 972"/>
                <a:gd name="T33" fmla="*/ 638 h 2227"/>
                <a:gd name="T34" fmla="*/ 943 w 972"/>
                <a:gd name="T35" fmla="*/ 496 h 2227"/>
                <a:gd name="T36" fmla="*/ 924 w 972"/>
                <a:gd name="T37" fmla="*/ 294 h 2227"/>
                <a:gd name="T38" fmla="*/ 812 w 972"/>
                <a:gd name="T39" fmla="*/ 108 h 2227"/>
                <a:gd name="T40" fmla="*/ 455 w 972"/>
                <a:gd name="T41" fmla="*/ 204 h 2227"/>
                <a:gd name="T42" fmla="*/ 82 w 972"/>
                <a:gd name="T43" fmla="*/ 1035 h 2227"/>
                <a:gd name="T44" fmla="*/ 57 w 972"/>
                <a:gd name="T45" fmla="*/ 1594 h 2227"/>
                <a:gd name="T46" fmla="*/ 10 w 972"/>
                <a:gd name="T47" fmla="*/ 1753 h 2227"/>
                <a:gd name="T48" fmla="*/ 22 w 972"/>
                <a:gd name="T49" fmla="*/ 1813 h 2227"/>
                <a:gd name="T50" fmla="*/ 57 w 972"/>
                <a:gd name="T51" fmla="*/ 1837 h 2227"/>
                <a:gd name="T52" fmla="*/ 59 w 972"/>
                <a:gd name="T53" fmla="*/ 1933 h 2227"/>
                <a:gd name="T54" fmla="*/ 80 w 972"/>
                <a:gd name="T55" fmla="*/ 1979 h 2227"/>
                <a:gd name="T56" fmla="*/ 125 w 972"/>
                <a:gd name="T57" fmla="*/ 2110 h 2227"/>
                <a:gd name="T58" fmla="*/ 133 w 972"/>
                <a:gd name="T59" fmla="*/ 2216 h 2227"/>
                <a:gd name="T60" fmla="*/ 233 w 972"/>
                <a:gd name="T61" fmla="*/ 2158 h 2227"/>
                <a:gd name="T62" fmla="*/ 296 w 972"/>
                <a:gd name="T63" fmla="*/ 2118 h 2227"/>
                <a:gd name="T64" fmla="*/ 376 w 972"/>
                <a:gd name="T65" fmla="*/ 2068 h 2227"/>
                <a:gd name="T66" fmla="*/ 404 w 972"/>
                <a:gd name="T67" fmla="*/ 1996 h 2227"/>
                <a:gd name="T68" fmla="*/ 410 w 972"/>
                <a:gd name="T69" fmla="*/ 1919 h 2227"/>
                <a:gd name="T70" fmla="*/ 410 w 972"/>
                <a:gd name="T71" fmla="*/ 1877 h 2227"/>
                <a:gd name="T72" fmla="*/ 425 w 972"/>
                <a:gd name="T73" fmla="*/ 1842 h 2227"/>
                <a:gd name="T74" fmla="*/ 424 w 972"/>
                <a:gd name="T75" fmla="*/ 1788 h 2227"/>
                <a:gd name="T76" fmla="*/ 444 w 972"/>
                <a:gd name="T77" fmla="*/ 1762 h 2227"/>
                <a:gd name="T78" fmla="*/ 490 w 972"/>
                <a:gd name="T79" fmla="*/ 1708 h 2227"/>
                <a:gd name="T80" fmla="*/ 524 w 972"/>
                <a:gd name="T81" fmla="*/ 1711 h 2227"/>
                <a:gd name="T82" fmla="*/ 553 w 972"/>
                <a:gd name="T83" fmla="*/ 1680 h 2227"/>
                <a:gd name="T84" fmla="*/ 538 w 972"/>
                <a:gd name="T85" fmla="*/ 1665 h 2227"/>
                <a:gd name="T86" fmla="*/ 590 w 972"/>
                <a:gd name="T87" fmla="*/ 1603 h 2227"/>
                <a:gd name="T88" fmla="*/ 555 w 972"/>
                <a:gd name="T89" fmla="*/ 1545 h 2227"/>
                <a:gd name="T90" fmla="*/ 462 w 972"/>
                <a:gd name="T91" fmla="*/ 1483 h 2227"/>
                <a:gd name="T92" fmla="*/ 452 w 972"/>
                <a:gd name="T93" fmla="*/ 1403 h 2227"/>
                <a:gd name="T94" fmla="*/ 448 w 972"/>
                <a:gd name="T95" fmla="*/ 1335 h 2227"/>
                <a:gd name="T96" fmla="*/ 464 w 972"/>
                <a:gd name="T97" fmla="*/ 1294 h 2227"/>
                <a:gd name="T98" fmla="*/ 464 w 972"/>
                <a:gd name="T99" fmla="*/ 1208 h 2227"/>
                <a:gd name="T100" fmla="*/ 510 w 972"/>
                <a:gd name="T101" fmla="*/ 1151 h 2227"/>
                <a:gd name="T102" fmla="*/ 527 w 972"/>
                <a:gd name="T103" fmla="*/ 1144 h 2227"/>
                <a:gd name="T104" fmla="*/ 539 w 972"/>
                <a:gd name="T105" fmla="*/ 1107 h 2227"/>
                <a:gd name="T106" fmla="*/ 586 w 972"/>
                <a:gd name="T107" fmla="*/ 1075 h 2227"/>
                <a:gd name="T108" fmla="*/ 632 w 972"/>
                <a:gd name="T109" fmla="*/ 1027 h 2227"/>
                <a:gd name="T110" fmla="*/ 692 w 972"/>
                <a:gd name="T111" fmla="*/ 986 h 2227"/>
                <a:gd name="T112" fmla="*/ 760 w 972"/>
                <a:gd name="T113" fmla="*/ 887 h 2227"/>
                <a:gd name="T114" fmla="*/ 763 w 972"/>
                <a:gd name="T115" fmla="*/ 844 h 2227"/>
                <a:gd name="T116" fmla="*/ 753 w 972"/>
                <a:gd name="T117" fmla="*/ 787 h 2227"/>
                <a:gd name="T118" fmla="*/ 780 w 972"/>
                <a:gd name="T119" fmla="*/ 715 h 2227"/>
                <a:gd name="T120" fmla="*/ 809 w 972"/>
                <a:gd name="T121" fmla="*/ 659 h 2227"/>
                <a:gd name="T122" fmla="*/ 829 w 972"/>
                <a:gd name="T123" fmla="*/ 635 h 2227"/>
                <a:gd name="T124" fmla="*/ 904 w 972"/>
                <a:gd name="T125" fmla="*/ 627 h 2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2" h="2227">
                  <a:moveTo>
                    <a:pt x="342" y="2124"/>
                  </a:moveTo>
                  <a:lnTo>
                    <a:pt x="341" y="2124"/>
                  </a:lnTo>
                  <a:lnTo>
                    <a:pt x="341" y="2124"/>
                  </a:lnTo>
                  <a:lnTo>
                    <a:pt x="339" y="2124"/>
                  </a:lnTo>
                  <a:lnTo>
                    <a:pt x="339" y="2124"/>
                  </a:lnTo>
                  <a:lnTo>
                    <a:pt x="338" y="2124"/>
                  </a:lnTo>
                  <a:lnTo>
                    <a:pt x="338" y="2125"/>
                  </a:lnTo>
                  <a:lnTo>
                    <a:pt x="338" y="2128"/>
                  </a:lnTo>
                  <a:lnTo>
                    <a:pt x="341" y="2130"/>
                  </a:lnTo>
                  <a:lnTo>
                    <a:pt x="341" y="2130"/>
                  </a:lnTo>
                  <a:lnTo>
                    <a:pt x="341" y="2130"/>
                  </a:lnTo>
                  <a:lnTo>
                    <a:pt x="342" y="2130"/>
                  </a:lnTo>
                  <a:lnTo>
                    <a:pt x="342" y="2128"/>
                  </a:lnTo>
                  <a:lnTo>
                    <a:pt x="342" y="2128"/>
                  </a:lnTo>
                  <a:lnTo>
                    <a:pt x="341" y="2127"/>
                  </a:lnTo>
                  <a:lnTo>
                    <a:pt x="342" y="2125"/>
                  </a:lnTo>
                  <a:lnTo>
                    <a:pt x="342" y="2125"/>
                  </a:lnTo>
                  <a:lnTo>
                    <a:pt x="344" y="2125"/>
                  </a:lnTo>
                  <a:lnTo>
                    <a:pt x="344" y="2124"/>
                  </a:lnTo>
                  <a:lnTo>
                    <a:pt x="342" y="2124"/>
                  </a:lnTo>
                  <a:lnTo>
                    <a:pt x="342" y="2124"/>
                  </a:lnTo>
                  <a:close/>
                  <a:moveTo>
                    <a:pt x="447" y="1959"/>
                  </a:moveTo>
                  <a:lnTo>
                    <a:pt x="447" y="1959"/>
                  </a:lnTo>
                  <a:lnTo>
                    <a:pt x="447" y="1959"/>
                  </a:lnTo>
                  <a:lnTo>
                    <a:pt x="447" y="1957"/>
                  </a:lnTo>
                  <a:lnTo>
                    <a:pt x="445" y="1957"/>
                  </a:lnTo>
                  <a:lnTo>
                    <a:pt x="445" y="1957"/>
                  </a:lnTo>
                  <a:lnTo>
                    <a:pt x="445" y="1956"/>
                  </a:lnTo>
                  <a:lnTo>
                    <a:pt x="445" y="1956"/>
                  </a:lnTo>
                  <a:lnTo>
                    <a:pt x="445" y="1957"/>
                  </a:lnTo>
                  <a:lnTo>
                    <a:pt x="444" y="1959"/>
                  </a:lnTo>
                  <a:lnTo>
                    <a:pt x="444" y="1957"/>
                  </a:lnTo>
                  <a:lnTo>
                    <a:pt x="444" y="1956"/>
                  </a:lnTo>
                  <a:lnTo>
                    <a:pt x="442" y="1956"/>
                  </a:lnTo>
                  <a:lnTo>
                    <a:pt x="441" y="1956"/>
                  </a:lnTo>
                  <a:lnTo>
                    <a:pt x="439" y="1957"/>
                  </a:lnTo>
                  <a:lnTo>
                    <a:pt x="438" y="1962"/>
                  </a:lnTo>
                  <a:lnTo>
                    <a:pt x="436" y="1964"/>
                  </a:lnTo>
                  <a:lnTo>
                    <a:pt x="436" y="1965"/>
                  </a:lnTo>
                  <a:lnTo>
                    <a:pt x="435" y="1973"/>
                  </a:lnTo>
                  <a:lnTo>
                    <a:pt x="435" y="1974"/>
                  </a:lnTo>
                  <a:lnTo>
                    <a:pt x="433" y="1976"/>
                  </a:lnTo>
                  <a:lnTo>
                    <a:pt x="432" y="1976"/>
                  </a:lnTo>
                  <a:lnTo>
                    <a:pt x="432" y="1978"/>
                  </a:lnTo>
                  <a:lnTo>
                    <a:pt x="432" y="1979"/>
                  </a:lnTo>
                  <a:lnTo>
                    <a:pt x="430" y="1988"/>
                  </a:lnTo>
                  <a:lnTo>
                    <a:pt x="427" y="1998"/>
                  </a:lnTo>
                  <a:lnTo>
                    <a:pt x="422" y="2005"/>
                  </a:lnTo>
                  <a:lnTo>
                    <a:pt x="419" y="2013"/>
                  </a:lnTo>
                  <a:lnTo>
                    <a:pt x="418" y="2018"/>
                  </a:lnTo>
                  <a:lnTo>
                    <a:pt x="418" y="2019"/>
                  </a:lnTo>
                  <a:lnTo>
                    <a:pt x="415" y="2021"/>
                  </a:lnTo>
                  <a:lnTo>
                    <a:pt x="413" y="2021"/>
                  </a:lnTo>
                  <a:lnTo>
                    <a:pt x="412" y="2021"/>
                  </a:lnTo>
                  <a:lnTo>
                    <a:pt x="410" y="2022"/>
                  </a:lnTo>
                  <a:lnTo>
                    <a:pt x="398" y="2054"/>
                  </a:lnTo>
                  <a:lnTo>
                    <a:pt x="398" y="2058"/>
                  </a:lnTo>
                  <a:lnTo>
                    <a:pt x="396" y="2058"/>
                  </a:lnTo>
                  <a:lnTo>
                    <a:pt x="395" y="2061"/>
                  </a:lnTo>
                  <a:lnTo>
                    <a:pt x="393" y="2065"/>
                  </a:lnTo>
                  <a:lnTo>
                    <a:pt x="393" y="2067"/>
                  </a:lnTo>
                  <a:lnTo>
                    <a:pt x="393" y="2078"/>
                  </a:lnTo>
                  <a:lnTo>
                    <a:pt x="393" y="2081"/>
                  </a:lnTo>
                  <a:lnTo>
                    <a:pt x="395" y="2084"/>
                  </a:lnTo>
                  <a:lnTo>
                    <a:pt x="395" y="2085"/>
                  </a:lnTo>
                  <a:lnTo>
                    <a:pt x="395" y="2088"/>
                  </a:lnTo>
                  <a:lnTo>
                    <a:pt x="395" y="2093"/>
                  </a:lnTo>
                  <a:lnTo>
                    <a:pt x="395" y="2098"/>
                  </a:lnTo>
                  <a:lnTo>
                    <a:pt x="393" y="2099"/>
                  </a:lnTo>
                  <a:lnTo>
                    <a:pt x="395" y="2104"/>
                  </a:lnTo>
                  <a:lnTo>
                    <a:pt x="395" y="2105"/>
                  </a:lnTo>
                  <a:lnTo>
                    <a:pt x="395" y="2108"/>
                  </a:lnTo>
                  <a:lnTo>
                    <a:pt x="395" y="2108"/>
                  </a:lnTo>
                  <a:lnTo>
                    <a:pt x="396" y="2110"/>
                  </a:lnTo>
                  <a:lnTo>
                    <a:pt x="398" y="2110"/>
                  </a:lnTo>
                  <a:lnTo>
                    <a:pt x="399" y="2110"/>
                  </a:lnTo>
                  <a:lnTo>
                    <a:pt x="401" y="2108"/>
                  </a:lnTo>
                  <a:lnTo>
                    <a:pt x="404" y="2099"/>
                  </a:lnTo>
                  <a:lnTo>
                    <a:pt x="405" y="2096"/>
                  </a:lnTo>
                  <a:lnTo>
                    <a:pt x="405" y="2096"/>
                  </a:lnTo>
                  <a:lnTo>
                    <a:pt x="405" y="2093"/>
                  </a:lnTo>
                  <a:lnTo>
                    <a:pt x="407" y="2091"/>
                  </a:lnTo>
                  <a:lnTo>
                    <a:pt x="405" y="2088"/>
                  </a:lnTo>
                  <a:lnTo>
                    <a:pt x="407" y="2088"/>
                  </a:lnTo>
                  <a:lnTo>
                    <a:pt x="407" y="2085"/>
                  </a:lnTo>
                  <a:lnTo>
                    <a:pt x="407" y="2082"/>
                  </a:lnTo>
                  <a:lnTo>
                    <a:pt x="408" y="2079"/>
                  </a:lnTo>
                  <a:lnTo>
                    <a:pt x="410" y="2078"/>
                  </a:lnTo>
                  <a:lnTo>
                    <a:pt x="410" y="2076"/>
                  </a:lnTo>
                  <a:lnTo>
                    <a:pt x="410" y="2075"/>
                  </a:lnTo>
                  <a:lnTo>
                    <a:pt x="410" y="2073"/>
                  </a:lnTo>
                  <a:lnTo>
                    <a:pt x="410" y="2071"/>
                  </a:lnTo>
                  <a:lnTo>
                    <a:pt x="412" y="2070"/>
                  </a:lnTo>
                  <a:lnTo>
                    <a:pt x="412" y="2070"/>
                  </a:lnTo>
                  <a:lnTo>
                    <a:pt x="412" y="2068"/>
                  </a:lnTo>
                  <a:lnTo>
                    <a:pt x="412" y="2068"/>
                  </a:lnTo>
                  <a:lnTo>
                    <a:pt x="412" y="2068"/>
                  </a:lnTo>
                  <a:lnTo>
                    <a:pt x="412" y="2065"/>
                  </a:lnTo>
                  <a:lnTo>
                    <a:pt x="412" y="2064"/>
                  </a:lnTo>
                  <a:lnTo>
                    <a:pt x="413" y="2064"/>
                  </a:lnTo>
                  <a:lnTo>
                    <a:pt x="413" y="2062"/>
                  </a:lnTo>
                  <a:lnTo>
                    <a:pt x="415" y="2062"/>
                  </a:lnTo>
                  <a:lnTo>
                    <a:pt x="415" y="2061"/>
                  </a:lnTo>
                  <a:lnTo>
                    <a:pt x="415" y="2059"/>
                  </a:lnTo>
                  <a:lnTo>
                    <a:pt x="415" y="2056"/>
                  </a:lnTo>
                  <a:lnTo>
                    <a:pt x="416" y="2053"/>
                  </a:lnTo>
                  <a:lnTo>
                    <a:pt x="421" y="2039"/>
                  </a:lnTo>
                  <a:lnTo>
                    <a:pt x="421" y="2036"/>
                  </a:lnTo>
                  <a:lnTo>
                    <a:pt x="421" y="2036"/>
                  </a:lnTo>
                  <a:lnTo>
                    <a:pt x="421" y="2034"/>
                  </a:lnTo>
                  <a:lnTo>
                    <a:pt x="421" y="2033"/>
                  </a:lnTo>
                  <a:lnTo>
                    <a:pt x="421" y="2031"/>
                  </a:lnTo>
                  <a:lnTo>
                    <a:pt x="422" y="2031"/>
                  </a:lnTo>
                  <a:lnTo>
                    <a:pt x="425" y="2028"/>
                  </a:lnTo>
                  <a:lnTo>
                    <a:pt x="425" y="2028"/>
                  </a:lnTo>
                  <a:lnTo>
                    <a:pt x="427" y="2027"/>
                  </a:lnTo>
                  <a:lnTo>
                    <a:pt x="427" y="2019"/>
                  </a:lnTo>
                  <a:lnTo>
                    <a:pt x="428" y="2018"/>
                  </a:lnTo>
                  <a:lnTo>
                    <a:pt x="430" y="2016"/>
                  </a:lnTo>
                  <a:lnTo>
                    <a:pt x="430" y="2014"/>
                  </a:lnTo>
                  <a:lnTo>
                    <a:pt x="428" y="2011"/>
                  </a:lnTo>
                  <a:lnTo>
                    <a:pt x="428" y="2010"/>
                  </a:lnTo>
                  <a:lnTo>
                    <a:pt x="430" y="2005"/>
                  </a:lnTo>
                  <a:lnTo>
                    <a:pt x="432" y="2004"/>
                  </a:lnTo>
                  <a:lnTo>
                    <a:pt x="433" y="2002"/>
                  </a:lnTo>
                  <a:lnTo>
                    <a:pt x="433" y="2002"/>
                  </a:lnTo>
                  <a:lnTo>
                    <a:pt x="432" y="2002"/>
                  </a:lnTo>
                  <a:lnTo>
                    <a:pt x="432" y="2001"/>
                  </a:lnTo>
                  <a:lnTo>
                    <a:pt x="430" y="2001"/>
                  </a:lnTo>
                  <a:lnTo>
                    <a:pt x="433" y="1999"/>
                  </a:lnTo>
                  <a:lnTo>
                    <a:pt x="435" y="1998"/>
                  </a:lnTo>
                  <a:lnTo>
                    <a:pt x="435" y="1996"/>
                  </a:lnTo>
                  <a:lnTo>
                    <a:pt x="436" y="1993"/>
                  </a:lnTo>
                  <a:lnTo>
                    <a:pt x="436" y="1991"/>
                  </a:lnTo>
                  <a:lnTo>
                    <a:pt x="439" y="1985"/>
                  </a:lnTo>
                  <a:lnTo>
                    <a:pt x="439" y="1984"/>
                  </a:lnTo>
                  <a:lnTo>
                    <a:pt x="439" y="1982"/>
                  </a:lnTo>
                  <a:lnTo>
                    <a:pt x="441" y="1981"/>
                  </a:lnTo>
                  <a:lnTo>
                    <a:pt x="441" y="1981"/>
                  </a:lnTo>
                  <a:lnTo>
                    <a:pt x="442" y="1979"/>
                  </a:lnTo>
                  <a:lnTo>
                    <a:pt x="442" y="1979"/>
                  </a:lnTo>
                  <a:lnTo>
                    <a:pt x="442" y="1979"/>
                  </a:lnTo>
                  <a:lnTo>
                    <a:pt x="442" y="1978"/>
                  </a:lnTo>
                  <a:lnTo>
                    <a:pt x="444" y="1974"/>
                  </a:lnTo>
                  <a:lnTo>
                    <a:pt x="442" y="1971"/>
                  </a:lnTo>
                  <a:lnTo>
                    <a:pt x="441" y="1968"/>
                  </a:lnTo>
                  <a:lnTo>
                    <a:pt x="444" y="1964"/>
                  </a:lnTo>
                  <a:lnTo>
                    <a:pt x="445" y="1962"/>
                  </a:lnTo>
                  <a:lnTo>
                    <a:pt x="447" y="1961"/>
                  </a:lnTo>
                  <a:lnTo>
                    <a:pt x="447" y="1961"/>
                  </a:lnTo>
                  <a:lnTo>
                    <a:pt x="447" y="1959"/>
                  </a:lnTo>
                  <a:close/>
                  <a:moveTo>
                    <a:pt x="590" y="1887"/>
                  </a:moveTo>
                  <a:lnTo>
                    <a:pt x="590" y="1885"/>
                  </a:lnTo>
                  <a:lnTo>
                    <a:pt x="589" y="1885"/>
                  </a:lnTo>
                  <a:lnTo>
                    <a:pt x="589" y="1884"/>
                  </a:lnTo>
                  <a:lnTo>
                    <a:pt x="587" y="1882"/>
                  </a:lnTo>
                  <a:lnTo>
                    <a:pt x="587" y="1880"/>
                  </a:lnTo>
                  <a:lnTo>
                    <a:pt x="587" y="1879"/>
                  </a:lnTo>
                  <a:lnTo>
                    <a:pt x="587" y="1879"/>
                  </a:lnTo>
                  <a:lnTo>
                    <a:pt x="586" y="1879"/>
                  </a:lnTo>
                  <a:lnTo>
                    <a:pt x="584" y="1879"/>
                  </a:lnTo>
                  <a:lnTo>
                    <a:pt x="582" y="1880"/>
                  </a:lnTo>
                  <a:lnTo>
                    <a:pt x="582" y="1882"/>
                  </a:lnTo>
                  <a:lnTo>
                    <a:pt x="581" y="1882"/>
                  </a:lnTo>
                  <a:lnTo>
                    <a:pt x="579" y="1880"/>
                  </a:lnTo>
                  <a:lnTo>
                    <a:pt x="581" y="1879"/>
                  </a:lnTo>
                  <a:lnTo>
                    <a:pt x="581" y="1877"/>
                  </a:lnTo>
                  <a:lnTo>
                    <a:pt x="576" y="1879"/>
                  </a:lnTo>
                  <a:lnTo>
                    <a:pt x="575" y="1879"/>
                  </a:lnTo>
                  <a:lnTo>
                    <a:pt x="575" y="1880"/>
                  </a:lnTo>
                  <a:lnTo>
                    <a:pt x="576" y="1880"/>
                  </a:lnTo>
                  <a:lnTo>
                    <a:pt x="576" y="1882"/>
                  </a:lnTo>
                  <a:lnTo>
                    <a:pt x="575" y="1885"/>
                  </a:lnTo>
                  <a:lnTo>
                    <a:pt x="575" y="1885"/>
                  </a:lnTo>
                  <a:lnTo>
                    <a:pt x="573" y="1888"/>
                  </a:lnTo>
                  <a:lnTo>
                    <a:pt x="573" y="1891"/>
                  </a:lnTo>
                  <a:lnTo>
                    <a:pt x="572" y="1890"/>
                  </a:lnTo>
                  <a:lnTo>
                    <a:pt x="570" y="1888"/>
                  </a:lnTo>
                  <a:lnTo>
                    <a:pt x="570" y="1887"/>
                  </a:lnTo>
                  <a:lnTo>
                    <a:pt x="570" y="1887"/>
                  </a:lnTo>
                  <a:lnTo>
                    <a:pt x="570" y="1887"/>
                  </a:lnTo>
                  <a:lnTo>
                    <a:pt x="570" y="1885"/>
                  </a:lnTo>
                  <a:lnTo>
                    <a:pt x="570" y="1885"/>
                  </a:lnTo>
                  <a:lnTo>
                    <a:pt x="570" y="1884"/>
                  </a:lnTo>
                  <a:lnTo>
                    <a:pt x="570" y="1884"/>
                  </a:lnTo>
                  <a:lnTo>
                    <a:pt x="570" y="1884"/>
                  </a:lnTo>
                  <a:lnTo>
                    <a:pt x="570" y="1882"/>
                  </a:lnTo>
                  <a:lnTo>
                    <a:pt x="569" y="1880"/>
                  </a:lnTo>
                  <a:lnTo>
                    <a:pt x="569" y="1879"/>
                  </a:lnTo>
                  <a:lnTo>
                    <a:pt x="567" y="1877"/>
                  </a:lnTo>
                  <a:lnTo>
                    <a:pt x="566" y="1877"/>
                  </a:lnTo>
                  <a:lnTo>
                    <a:pt x="562" y="1879"/>
                  </a:lnTo>
                  <a:lnTo>
                    <a:pt x="561" y="1880"/>
                  </a:lnTo>
                  <a:lnTo>
                    <a:pt x="561" y="1882"/>
                  </a:lnTo>
                  <a:lnTo>
                    <a:pt x="559" y="1885"/>
                  </a:lnTo>
                  <a:lnTo>
                    <a:pt x="559" y="1887"/>
                  </a:lnTo>
                  <a:lnTo>
                    <a:pt x="558" y="1888"/>
                  </a:lnTo>
                  <a:lnTo>
                    <a:pt x="558" y="1890"/>
                  </a:lnTo>
                  <a:lnTo>
                    <a:pt x="556" y="1890"/>
                  </a:lnTo>
                  <a:lnTo>
                    <a:pt x="556" y="1890"/>
                  </a:lnTo>
                  <a:lnTo>
                    <a:pt x="555" y="1890"/>
                  </a:lnTo>
                  <a:lnTo>
                    <a:pt x="553" y="1890"/>
                  </a:lnTo>
                  <a:lnTo>
                    <a:pt x="550" y="1891"/>
                  </a:lnTo>
                  <a:lnTo>
                    <a:pt x="547" y="1894"/>
                  </a:lnTo>
                  <a:lnTo>
                    <a:pt x="536" y="1913"/>
                  </a:lnTo>
                  <a:lnTo>
                    <a:pt x="524" y="1925"/>
                  </a:lnTo>
                  <a:lnTo>
                    <a:pt x="522" y="1930"/>
                  </a:lnTo>
                  <a:lnTo>
                    <a:pt x="521" y="1934"/>
                  </a:lnTo>
                  <a:lnTo>
                    <a:pt x="521" y="1937"/>
                  </a:lnTo>
                  <a:lnTo>
                    <a:pt x="522" y="1941"/>
                  </a:lnTo>
                  <a:lnTo>
                    <a:pt x="522" y="1944"/>
                  </a:lnTo>
                  <a:lnTo>
                    <a:pt x="524" y="1945"/>
                  </a:lnTo>
                  <a:lnTo>
                    <a:pt x="524" y="1947"/>
                  </a:lnTo>
                  <a:lnTo>
                    <a:pt x="524" y="1948"/>
                  </a:lnTo>
                  <a:lnTo>
                    <a:pt x="524" y="1950"/>
                  </a:lnTo>
                  <a:lnTo>
                    <a:pt x="524" y="1950"/>
                  </a:lnTo>
                  <a:lnTo>
                    <a:pt x="524" y="1951"/>
                  </a:lnTo>
                  <a:lnTo>
                    <a:pt x="526" y="1951"/>
                  </a:lnTo>
                  <a:lnTo>
                    <a:pt x="526" y="1953"/>
                  </a:lnTo>
                  <a:lnTo>
                    <a:pt x="526" y="1953"/>
                  </a:lnTo>
                  <a:lnTo>
                    <a:pt x="526" y="1954"/>
                  </a:lnTo>
                  <a:lnTo>
                    <a:pt x="526" y="1957"/>
                  </a:lnTo>
                  <a:lnTo>
                    <a:pt x="526" y="1959"/>
                  </a:lnTo>
                  <a:lnTo>
                    <a:pt x="524" y="1962"/>
                  </a:lnTo>
                  <a:lnTo>
                    <a:pt x="521" y="1964"/>
                  </a:lnTo>
                  <a:lnTo>
                    <a:pt x="521" y="1967"/>
                  </a:lnTo>
                  <a:lnTo>
                    <a:pt x="519" y="1970"/>
                  </a:lnTo>
                  <a:lnTo>
                    <a:pt x="524" y="1973"/>
                  </a:lnTo>
                  <a:lnTo>
                    <a:pt x="527" y="1985"/>
                  </a:lnTo>
                  <a:lnTo>
                    <a:pt x="530" y="1987"/>
                  </a:lnTo>
                  <a:lnTo>
                    <a:pt x="530" y="1987"/>
                  </a:lnTo>
                  <a:lnTo>
                    <a:pt x="529" y="1988"/>
                  </a:lnTo>
                  <a:lnTo>
                    <a:pt x="529" y="1990"/>
                  </a:lnTo>
                  <a:lnTo>
                    <a:pt x="530" y="1990"/>
                  </a:lnTo>
                  <a:lnTo>
                    <a:pt x="530" y="1991"/>
                  </a:lnTo>
                  <a:lnTo>
                    <a:pt x="529" y="1994"/>
                  </a:lnTo>
                  <a:lnTo>
                    <a:pt x="527" y="1994"/>
                  </a:lnTo>
                  <a:lnTo>
                    <a:pt x="527" y="1996"/>
                  </a:lnTo>
                  <a:lnTo>
                    <a:pt x="529" y="1998"/>
                  </a:lnTo>
                  <a:lnTo>
                    <a:pt x="532" y="1996"/>
                  </a:lnTo>
                  <a:lnTo>
                    <a:pt x="533" y="1993"/>
                  </a:lnTo>
                  <a:lnTo>
                    <a:pt x="535" y="1993"/>
                  </a:lnTo>
                  <a:lnTo>
                    <a:pt x="533" y="1994"/>
                  </a:lnTo>
                  <a:lnTo>
                    <a:pt x="533" y="1998"/>
                  </a:lnTo>
                  <a:lnTo>
                    <a:pt x="533" y="1999"/>
                  </a:lnTo>
                  <a:lnTo>
                    <a:pt x="532" y="2001"/>
                  </a:lnTo>
                  <a:lnTo>
                    <a:pt x="529" y="2002"/>
                  </a:lnTo>
                  <a:lnTo>
                    <a:pt x="527" y="2002"/>
                  </a:lnTo>
                  <a:lnTo>
                    <a:pt x="529" y="2004"/>
                  </a:lnTo>
                  <a:lnTo>
                    <a:pt x="529" y="2005"/>
                  </a:lnTo>
                  <a:lnTo>
                    <a:pt x="529" y="2007"/>
                  </a:lnTo>
                  <a:lnTo>
                    <a:pt x="522" y="2016"/>
                  </a:lnTo>
                  <a:lnTo>
                    <a:pt x="526" y="2018"/>
                  </a:lnTo>
                  <a:lnTo>
                    <a:pt x="529" y="2016"/>
                  </a:lnTo>
                  <a:lnTo>
                    <a:pt x="535" y="2013"/>
                  </a:lnTo>
                  <a:lnTo>
                    <a:pt x="536" y="2011"/>
                  </a:lnTo>
                  <a:lnTo>
                    <a:pt x="536" y="2010"/>
                  </a:lnTo>
                  <a:lnTo>
                    <a:pt x="538" y="2008"/>
                  </a:lnTo>
                  <a:lnTo>
                    <a:pt x="539" y="2007"/>
                  </a:lnTo>
                  <a:lnTo>
                    <a:pt x="538" y="2005"/>
                  </a:lnTo>
                  <a:lnTo>
                    <a:pt x="538" y="2005"/>
                  </a:lnTo>
                  <a:lnTo>
                    <a:pt x="542" y="2005"/>
                  </a:lnTo>
                  <a:lnTo>
                    <a:pt x="539" y="2004"/>
                  </a:lnTo>
                  <a:lnTo>
                    <a:pt x="539" y="2002"/>
                  </a:lnTo>
                  <a:lnTo>
                    <a:pt x="538" y="2001"/>
                  </a:lnTo>
                  <a:lnTo>
                    <a:pt x="538" y="1994"/>
                  </a:lnTo>
                  <a:lnTo>
                    <a:pt x="539" y="1991"/>
                  </a:lnTo>
                  <a:lnTo>
                    <a:pt x="546" y="1990"/>
                  </a:lnTo>
                  <a:lnTo>
                    <a:pt x="547" y="1988"/>
                  </a:lnTo>
                  <a:lnTo>
                    <a:pt x="541" y="1988"/>
                  </a:lnTo>
                  <a:lnTo>
                    <a:pt x="542" y="1985"/>
                  </a:lnTo>
                  <a:lnTo>
                    <a:pt x="546" y="1984"/>
                  </a:lnTo>
                  <a:lnTo>
                    <a:pt x="555" y="1979"/>
                  </a:lnTo>
                  <a:lnTo>
                    <a:pt x="556" y="1979"/>
                  </a:lnTo>
                  <a:lnTo>
                    <a:pt x="556" y="1978"/>
                  </a:lnTo>
                  <a:lnTo>
                    <a:pt x="555" y="1978"/>
                  </a:lnTo>
                  <a:lnTo>
                    <a:pt x="555" y="1976"/>
                  </a:lnTo>
                  <a:lnTo>
                    <a:pt x="556" y="1974"/>
                  </a:lnTo>
                  <a:lnTo>
                    <a:pt x="564" y="1973"/>
                  </a:lnTo>
                  <a:lnTo>
                    <a:pt x="564" y="1973"/>
                  </a:lnTo>
                  <a:lnTo>
                    <a:pt x="566" y="1971"/>
                  </a:lnTo>
                  <a:lnTo>
                    <a:pt x="566" y="1967"/>
                  </a:lnTo>
                  <a:lnTo>
                    <a:pt x="566" y="1967"/>
                  </a:lnTo>
                  <a:lnTo>
                    <a:pt x="564" y="1967"/>
                  </a:lnTo>
                  <a:lnTo>
                    <a:pt x="562" y="1967"/>
                  </a:lnTo>
                  <a:lnTo>
                    <a:pt x="562" y="1964"/>
                  </a:lnTo>
                  <a:lnTo>
                    <a:pt x="564" y="1962"/>
                  </a:lnTo>
                  <a:lnTo>
                    <a:pt x="566" y="1961"/>
                  </a:lnTo>
                  <a:lnTo>
                    <a:pt x="569" y="1957"/>
                  </a:lnTo>
                  <a:lnTo>
                    <a:pt x="570" y="1954"/>
                  </a:lnTo>
                  <a:lnTo>
                    <a:pt x="572" y="1953"/>
                  </a:lnTo>
                  <a:lnTo>
                    <a:pt x="575" y="1953"/>
                  </a:lnTo>
                  <a:lnTo>
                    <a:pt x="575" y="1953"/>
                  </a:lnTo>
                  <a:lnTo>
                    <a:pt x="576" y="1951"/>
                  </a:lnTo>
                  <a:lnTo>
                    <a:pt x="576" y="1951"/>
                  </a:lnTo>
                  <a:lnTo>
                    <a:pt x="576" y="1951"/>
                  </a:lnTo>
                  <a:lnTo>
                    <a:pt x="578" y="1951"/>
                  </a:lnTo>
                  <a:lnTo>
                    <a:pt x="578" y="1951"/>
                  </a:lnTo>
                  <a:lnTo>
                    <a:pt x="581" y="1951"/>
                  </a:lnTo>
                  <a:lnTo>
                    <a:pt x="581" y="1951"/>
                  </a:lnTo>
                  <a:lnTo>
                    <a:pt x="582" y="1950"/>
                  </a:lnTo>
                  <a:lnTo>
                    <a:pt x="581" y="1948"/>
                  </a:lnTo>
                  <a:lnTo>
                    <a:pt x="581" y="1947"/>
                  </a:lnTo>
                  <a:lnTo>
                    <a:pt x="581" y="1945"/>
                  </a:lnTo>
                  <a:lnTo>
                    <a:pt x="581" y="1945"/>
                  </a:lnTo>
                  <a:lnTo>
                    <a:pt x="579" y="1944"/>
                  </a:lnTo>
                  <a:lnTo>
                    <a:pt x="578" y="1944"/>
                  </a:lnTo>
                  <a:lnTo>
                    <a:pt x="578" y="1944"/>
                  </a:lnTo>
                  <a:lnTo>
                    <a:pt x="578" y="1945"/>
                  </a:lnTo>
                  <a:lnTo>
                    <a:pt x="578" y="1945"/>
                  </a:lnTo>
                  <a:lnTo>
                    <a:pt x="575" y="1945"/>
                  </a:lnTo>
                  <a:lnTo>
                    <a:pt x="572" y="1944"/>
                  </a:lnTo>
                  <a:lnTo>
                    <a:pt x="572" y="1941"/>
                  </a:lnTo>
                  <a:lnTo>
                    <a:pt x="573" y="1941"/>
                  </a:lnTo>
                  <a:lnTo>
                    <a:pt x="572" y="1941"/>
                  </a:lnTo>
                  <a:lnTo>
                    <a:pt x="570" y="1941"/>
                  </a:lnTo>
                  <a:lnTo>
                    <a:pt x="570" y="1939"/>
                  </a:lnTo>
                  <a:lnTo>
                    <a:pt x="570" y="1937"/>
                  </a:lnTo>
                  <a:lnTo>
                    <a:pt x="569" y="1936"/>
                  </a:lnTo>
                  <a:lnTo>
                    <a:pt x="570" y="1933"/>
                  </a:lnTo>
                  <a:lnTo>
                    <a:pt x="570" y="1931"/>
                  </a:lnTo>
                  <a:lnTo>
                    <a:pt x="572" y="1930"/>
                  </a:lnTo>
                  <a:lnTo>
                    <a:pt x="572" y="1928"/>
                  </a:lnTo>
                  <a:lnTo>
                    <a:pt x="572" y="1925"/>
                  </a:lnTo>
                  <a:lnTo>
                    <a:pt x="572" y="1924"/>
                  </a:lnTo>
                  <a:lnTo>
                    <a:pt x="573" y="1922"/>
                  </a:lnTo>
                  <a:lnTo>
                    <a:pt x="570" y="1921"/>
                  </a:lnTo>
                  <a:lnTo>
                    <a:pt x="570" y="1921"/>
                  </a:lnTo>
                  <a:lnTo>
                    <a:pt x="570" y="1919"/>
                  </a:lnTo>
                  <a:lnTo>
                    <a:pt x="570" y="1917"/>
                  </a:lnTo>
                  <a:lnTo>
                    <a:pt x="570" y="1917"/>
                  </a:lnTo>
                  <a:lnTo>
                    <a:pt x="570" y="1916"/>
                  </a:lnTo>
                  <a:lnTo>
                    <a:pt x="572" y="1913"/>
                  </a:lnTo>
                  <a:lnTo>
                    <a:pt x="573" y="1907"/>
                  </a:lnTo>
                  <a:lnTo>
                    <a:pt x="573" y="1907"/>
                  </a:lnTo>
                  <a:lnTo>
                    <a:pt x="573" y="1905"/>
                  </a:lnTo>
                  <a:lnTo>
                    <a:pt x="573" y="1904"/>
                  </a:lnTo>
                  <a:lnTo>
                    <a:pt x="573" y="1904"/>
                  </a:lnTo>
                  <a:lnTo>
                    <a:pt x="575" y="1904"/>
                  </a:lnTo>
                  <a:lnTo>
                    <a:pt x="576" y="1905"/>
                  </a:lnTo>
                  <a:lnTo>
                    <a:pt x="578" y="1905"/>
                  </a:lnTo>
                  <a:lnTo>
                    <a:pt x="579" y="1905"/>
                  </a:lnTo>
                  <a:lnTo>
                    <a:pt x="582" y="1905"/>
                  </a:lnTo>
                  <a:lnTo>
                    <a:pt x="582" y="1904"/>
                  </a:lnTo>
                  <a:lnTo>
                    <a:pt x="582" y="1902"/>
                  </a:lnTo>
                  <a:lnTo>
                    <a:pt x="582" y="1901"/>
                  </a:lnTo>
                  <a:lnTo>
                    <a:pt x="582" y="1899"/>
                  </a:lnTo>
                  <a:lnTo>
                    <a:pt x="584" y="1897"/>
                  </a:lnTo>
                  <a:lnTo>
                    <a:pt x="584" y="1897"/>
                  </a:lnTo>
                  <a:lnTo>
                    <a:pt x="586" y="1897"/>
                  </a:lnTo>
                  <a:lnTo>
                    <a:pt x="586" y="1899"/>
                  </a:lnTo>
                  <a:lnTo>
                    <a:pt x="586" y="1894"/>
                  </a:lnTo>
                  <a:lnTo>
                    <a:pt x="589" y="1891"/>
                  </a:lnTo>
                  <a:lnTo>
                    <a:pt x="593" y="1891"/>
                  </a:lnTo>
                  <a:lnTo>
                    <a:pt x="593" y="1890"/>
                  </a:lnTo>
                  <a:lnTo>
                    <a:pt x="590" y="1887"/>
                  </a:lnTo>
                  <a:close/>
                  <a:moveTo>
                    <a:pt x="610" y="1870"/>
                  </a:moveTo>
                  <a:lnTo>
                    <a:pt x="607" y="1870"/>
                  </a:lnTo>
                  <a:lnTo>
                    <a:pt x="606" y="1871"/>
                  </a:lnTo>
                  <a:lnTo>
                    <a:pt x="604" y="1870"/>
                  </a:lnTo>
                  <a:lnTo>
                    <a:pt x="604" y="1868"/>
                  </a:lnTo>
                  <a:lnTo>
                    <a:pt x="603" y="1870"/>
                  </a:lnTo>
                  <a:lnTo>
                    <a:pt x="601" y="1870"/>
                  </a:lnTo>
                  <a:lnTo>
                    <a:pt x="599" y="1868"/>
                  </a:lnTo>
                  <a:lnTo>
                    <a:pt x="599" y="1868"/>
                  </a:lnTo>
                  <a:lnTo>
                    <a:pt x="598" y="1870"/>
                  </a:lnTo>
                  <a:lnTo>
                    <a:pt x="596" y="1870"/>
                  </a:lnTo>
                  <a:lnTo>
                    <a:pt x="595" y="1870"/>
                  </a:lnTo>
                  <a:lnTo>
                    <a:pt x="593" y="1871"/>
                  </a:lnTo>
                  <a:lnTo>
                    <a:pt x="593" y="1873"/>
                  </a:lnTo>
                  <a:lnTo>
                    <a:pt x="593" y="1874"/>
                  </a:lnTo>
                  <a:lnTo>
                    <a:pt x="592" y="1876"/>
                  </a:lnTo>
                  <a:lnTo>
                    <a:pt x="590" y="1877"/>
                  </a:lnTo>
                  <a:lnTo>
                    <a:pt x="590" y="1879"/>
                  </a:lnTo>
                  <a:lnTo>
                    <a:pt x="590" y="1880"/>
                  </a:lnTo>
                  <a:lnTo>
                    <a:pt x="592" y="1885"/>
                  </a:lnTo>
                  <a:lnTo>
                    <a:pt x="593" y="1887"/>
                  </a:lnTo>
                  <a:lnTo>
                    <a:pt x="595" y="1887"/>
                  </a:lnTo>
                  <a:lnTo>
                    <a:pt x="596" y="1888"/>
                  </a:lnTo>
                  <a:lnTo>
                    <a:pt x="596" y="1888"/>
                  </a:lnTo>
                  <a:lnTo>
                    <a:pt x="596" y="1888"/>
                  </a:lnTo>
                  <a:lnTo>
                    <a:pt x="599" y="1884"/>
                  </a:lnTo>
                  <a:lnTo>
                    <a:pt x="599" y="1882"/>
                  </a:lnTo>
                  <a:lnTo>
                    <a:pt x="599" y="1882"/>
                  </a:lnTo>
                  <a:lnTo>
                    <a:pt x="598" y="1880"/>
                  </a:lnTo>
                  <a:lnTo>
                    <a:pt x="598" y="1879"/>
                  </a:lnTo>
                  <a:lnTo>
                    <a:pt x="599" y="1877"/>
                  </a:lnTo>
                  <a:lnTo>
                    <a:pt x="603" y="1876"/>
                  </a:lnTo>
                  <a:lnTo>
                    <a:pt x="604" y="1874"/>
                  </a:lnTo>
                  <a:lnTo>
                    <a:pt x="606" y="1873"/>
                  </a:lnTo>
                  <a:lnTo>
                    <a:pt x="609" y="1874"/>
                  </a:lnTo>
                  <a:lnTo>
                    <a:pt x="610" y="1873"/>
                  </a:lnTo>
                  <a:lnTo>
                    <a:pt x="610" y="1873"/>
                  </a:lnTo>
                  <a:lnTo>
                    <a:pt x="612" y="1873"/>
                  </a:lnTo>
                  <a:lnTo>
                    <a:pt x="612" y="1873"/>
                  </a:lnTo>
                  <a:lnTo>
                    <a:pt x="612" y="1871"/>
                  </a:lnTo>
                  <a:lnTo>
                    <a:pt x="612" y="1871"/>
                  </a:lnTo>
                  <a:lnTo>
                    <a:pt x="610" y="1870"/>
                  </a:lnTo>
                  <a:close/>
                  <a:moveTo>
                    <a:pt x="42" y="1868"/>
                  </a:moveTo>
                  <a:lnTo>
                    <a:pt x="42" y="1867"/>
                  </a:lnTo>
                  <a:lnTo>
                    <a:pt x="43" y="1865"/>
                  </a:lnTo>
                  <a:lnTo>
                    <a:pt x="45" y="1865"/>
                  </a:lnTo>
                  <a:lnTo>
                    <a:pt x="43" y="1867"/>
                  </a:lnTo>
                  <a:lnTo>
                    <a:pt x="45" y="1868"/>
                  </a:lnTo>
                  <a:lnTo>
                    <a:pt x="45" y="1868"/>
                  </a:lnTo>
                  <a:lnTo>
                    <a:pt x="47" y="1867"/>
                  </a:lnTo>
                  <a:lnTo>
                    <a:pt x="47" y="1867"/>
                  </a:lnTo>
                  <a:lnTo>
                    <a:pt x="47" y="1862"/>
                  </a:lnTo>
                  <a:lnTo>
                    <a:pt x="47" y="1862"/>
                  </a:lnTo>
                  <a:lnTo>
                    <a:pt x="47" y="1860"/>
                  </a:lnTo>
                  <a:lnTo>
                    <a:pt x="47" y="1859"/>
                  </a:lnTo>
                  <a:lnTo>
                    <a:pt x="45" y="1857"/>
                  </a:lnTo>
                  <a:lnTo>
                    <a:pt x="43" y="1859"/>
                  </a:lnTo>
                  <a:lnTo>
                    <a:pt x="42" y="1860"/>
                  </a:lnTo>
                  <a:lnTo>
                    <a:pt x="40" y="1860"/>
                  </a:lnTo>
                  <a:lnTo>
                    <a:pt x="34" y="1860"/>
                  </a:lnTo>
                  <a:lnTo>
                    <a:pt x="31" y="1859"/>
                  </a:lnTo>
                  <a:lnTo>
                    <a:pt x="30" y="1860"/>
                  </a:lnTo>
                  <a:lnTo>
                    <a:pt x="28" y="1864"/>
                  </a:lnTo>
                  <a:lnTo>
                    <a:pt x="30" y="1865"/>
                  </a:lnTo>
                  <a:lnTo>
                    <a:pt x="31" y="1865"/>
                  </a:lnTo>
                  <a:lnTo>
                    <a:pt x="33" y="1865"/>
                  </a:lnTo>
                  <a:lnTo>
                    <a:pt x="34" y="1867"/>
                  </a:lnTo>
                  <a:lnTo>
                    <a:pt x="33" y="1867"/>
                  </a:lnTo>
                  <a:lnTo>
                    <a:pt x="31" y="1867"/>
                  </a:lnTo>
                  <a:lnTo>
                    <a:pt x="30" y="1867"/>
                  </a:lnTo>
                  <a:lnTo>
                    <a:pt x="30" y="1868"/>
                  </a:lnTo>
                  <a:lnTo>
                    <a:pt x="30" y="1870"/>
                  </a:lnTo>
                  <a:lnTo>
                    <a:pt x="31" y="1870"/>
                  </a:lnTo>
                  <a:lnTo>
                    <a:pt x="31" y="1871"/>
                  </a:lnTo>
                  <a:lnTo>
                    <a:pt x="31" y="1873"/>
                  </a:lnTo>
                  <a:lnTo>
                    <a:pt x="31" y="1874"/>
                  </a:lnTo>
                  <a:lnTo>
                    <a:pt x="33" y="1874"/>
                  </a:lnTo>
                  <a:lnTo>
                    <a:pt x="34" y="1874"/>
                  </a:lnTo>
                  <a:lnTo>
                    <a:pt x="34" y="1876"/>
                  </a:lnTo>
                  <a:lnTo>
                    <a:pt x="34" y="1876"/>
                  </a:lnTo>
                  <a:lnTo>
                    <a:pt x="36" y="1876"/>
                  </a:lnTo>
                  <a:lnTo>
                    <a:pt x="37" y="1874"/>
                  </a:lnTo>
                  <a:lnTo>
                    <a:pt x="37" y="1874"/>
                  </a:lnTo>
                  <a:lnTo>
                    <a:pt x="37" y="1873"/>
                  </a:lnTo>
                  <a:lnTo>
                    <a:pt x="39" y="1874"/>
                  </a:lnTo>
                  <a:lnTo>
                    <a:pt x="40" y="1873"/>
                  </a:lnTo>
                  <a:lnTo>
                    <a:pt x="40" y="1871"/>
                  </a:lnTo>
                  <a:lnTo>
                    <a:pt x="42" y="1868"/>
                  </a:lnTo>
                  <a:close/>
                  <a:moveTo>
                    <a:pt x="30" y="1854"/>
                  </a:moveTo>
                  <a:lnTo>
                    <a:pt x="30" y="1854"/>
                  </a:lnTo>
                  <a:lnTo>
                    <a:pt x="31" y="1853"/>
                  </a:lnTo>
                  <a:lnTo>
                    <a:pt x="31" y="1851"/>
                  </a:lnTo>
                  <a:lnTo>
                    <a:pt x="33" y="1850"/>
                  </a:lnTo>
                  <a:lnTo>
                    <a:pt x="36" y="1850"/>
                  </a:lnTo>
                  <a:lnTo>
                    <a:pt x="37" y="1850"/>
                  </a:lnTo>
                  <a:lnTo>
                    <a:pt x="39" y="1853"/>
                  </a:lnTo>
                  <a:lnTo>
                    <a:pt x="40" y="1851"/>
                  </a:lnTo>
                  <a:lnTo>
                    <a:pt x="45" y="1853"/>
                  </a:lnTo>
                  <a:lnTo>
                    <a:pt x="48" y="1850"/>
                  </a:lnTo>
                  <a:lnTo>
                    <a:pt x="50" y="1850"/>
                  </a:lnTo>
                  <a:lnTo>
                    <a:pt x="51" y="1850"/>
                  </a:lnTo>
                  <a:lnTo>
                    <a:pt x="53" y="1847"/>
                  </a:lnTo>
                  <a:lnTo>
                    <a:pt x="53" y="1840"/>
                  </a:lnTo>
                  <a:lnTo>
                    <a:pt x="53" y="1837"/>
                  </a:lnTo>
                  <a:lnTo>
                    <a:pt x="51" y="1834"/>
                  </a:lnTo>
                  <a:lnTo>
                    <a:pt x="50" y="1833"/>
                  </a:lnTo>
                  <a:lnTo>
                    <a:pt x="48" y="1831"/>
                  </a:lnTo>
                  <a:lnTo>
                    <a:pt x="48" y="1830"/>
                  </a:lnTo>
                  <a:lnTo>
                    <a:pt x="47" y="1827"/>
                  </a:lnTo>
                  <a:lnTo>
                    <a:pt x="43" y="1825"/>
                  </a:lnTo>
                  <a:lnTo>
                    <a:pt x="42" y="1825"/>
                  </a:lnTo>
                  <a:lnTo>
                    <a:pt x="42" y="1827"/>
                  </a:lnTo>
                  <a:lnTo>
                    <a:pt x="42" y="1827"/>
                  </a:lnTo>
                  <a:lnTo>
                    <a:pt x="42" y="1828"/>
                  </a:lnTo>
                  <a:lnTo>
                    <a:pt x="42" y="1830"/>
                  </a:lnTo>
                  <a:lnTo>
                    <a:pt x="40" y="1831"/>
                  </a:lnTo>
                  <a:lnTo>
                    <a:pt x="40" y="1831"/>
                  </a:lnTo>
                  <a:lnTo>
                    <a:pt x="40" y="1833"/>
                  </a:lnTo>
                  <a:lnTo>
                    <a:pt x="40" y="1834"/>
                  </a:lnTo>
                  <a:lnTo>
                    <a:pt x="37" y="1833"/>
                  </a:lnTo>
                  <a:lnTo>
                    <a:pt x="36" y="1833"/>
                  </a:lnTo>
                  <a:lnTo>
                    <a:pt x="36" y="1834"/>
                  </a:lnTo>
                  <a:lnTo>
                    <a:pt x="34" y="1836"/>
                  </a:lnTo>
                  <a:lnTo>
                    <a:pt x="31" y="1837"/>
                  </a:lnTo>
                  <a:lnTo>
                    <a:pt x="23" y="1844"/>
                  </a:lnTo>
                  <a:lnTo>
                    <a:pt x="22" y="1847"/>
                  </a:lnTo>
                  <a:lnTo>
                    <a:pt x="22" y="1848"/>
                  </a:lnTo>
                  <a:lnTo>
                    <a:pt x="22" y="1850"/>
                  </a:lnTo>
                  <a:lnTo>
                    <a:pt x="25" y="1853"/>
                  </a:lnTo>
                  <a:lnTo>
                    <a:pt x="25" y="1853"/>
                  </a:lnTo>
                  <a:lnTo>
                    <a:pt x="25" y="1857"/>
                  </a:lnTo>
                  <a:lnTo>
                    <a:pt x="26" y="1857"/>
                  </a:lnTo>
                  <a:lnTo>
                    <a:pt x="26" y="1851"/>
                  </a:lnTo>
                  <a:lnTo>
                    <a:pt x="28" y="1854"/>
                  </a:lnTo>
                  <a:lnTo>
                    <a:pt x="30" y="1854"/>
                  </a:lnTo>
                  <a:lnTo>
                    <a:pt x="30" y="1854"/>
                  </a:lnTo>
                  <a:close/>
                  <a:moveTo>
                    <a:pt x="427" y="1824"/>
                  </a:moveTo>
                  <a:lnTo>
                    <a:pt x="425" y="1824"/>
                  </a:lnTo>
                  <a:lnTo>
                    <a:pt x="425" y="1827"/>
                  </a:lnTo>
                  <a:lnTo>
                    <a:pt x="427" y="1828"/>
                  </a:lnTo>
                  <a:lnTo>
                    <a:pt x="427" y="1828"/>
                  </a:lnTo>
                  <a:lnTo>
                    <a:pt x="428" y="1828"/>
                  </a:lnTo>
                  <a:lnTo>
                    <a:pt x="430" y="1827"/>
                  </a:lnTo>
                  <a:lnTo>
                    <a:pt x="430" y="1825"/>
                  </a:lnTo>
                  <a:lnTo>
                    <a:pt x="428" y="1825"/>
                  </a:lnTo>
                  <a:lnTo>
                    <a:pt x="428" y="1824"/>
                  </a:lnTo>
                  <a:lnTo>
                    <a:pt x="427" y="1824"/>
                  </a:lnTo>
                  <a:close/>
                  <a:moveTo>
                    <a:pt x="606" y="1819"/>
                  </a:moveTo>
                  <a:lnTo>
                    <a:pt x="609" y="1817"/>
                  </a:lnTo>
                  <a:lnTo>
                    <a:pt x="612" y="1814"/>
                  </a:lnTo>
                  <a:lnTo>
                    <a:pt x="610" y="1813"/>
                  </a:lnTo>
                  <a:lnTo>
                    <a:pt x="606" y="1813"/>
                  </a:lnTo>
                  <a:lnTo>
                    <a:pt x="604" y="1811"/>
                  </a:lnTo>
                  <a:lnTo>
                    <a:pt x="601" y="1811"/>
                  </a:lnTo>
                  <a:lnTo>
                    <a:pt x="603" y="1817"/>
                  </a:lnTo>
                  <a:lnTo>
                    <a:pt x="606" y="1819"/>
                  </a:lnTo>
                  <a:close/>
                  <a:moveTo>
                    <a:pt x="424" y="1817"/>
                  </a:moveTo>
                  <a:lnTo>
                    <a:pt x="424" y="1817"/>
                  </a:lnTo>
                  <a:lnTo>
                    <a:pt x="424" y="1819"/>
                  </a:lnTo>
                  <a:lnTo>
                    <a:pt x="425" y="1820"/>
                  </a:lnTo>
                  <a:lnTo>
                    <a:pt x="427" y="1822"/>
                  </a:lnTo>
                  <a:lnTo>
                    <a:pt x="428" y="1822"/>
                  </a:lnTo>
                  <a:lnTo>
                    <a:pt x="430" y="1822"/>
                  </a:lnTo>
                  <a:lnTo>
                    <a:pt x="430" y="1822"/>
                  </a:lnTo>
                  <a:lnTo>
                    <a:pt x="432" y="1820"/>
                  </a:lnTo>
                  <a:lnTo>
                    <a:pt x="432" y="1820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2" y="1819"/>
                  </a:lnTo>
                  <a:lnTo>
                    <a:pt x="430" y="1820"/>
                  </a:lnTo>
                  <a:lnTo>
                    <a:pt x="428" y="1820"/>
                  </a:lnTo>
                  <a:lnTo>
                    <a:pt x="427" y="1817"/>
                  </a:lnTo>
                  <a:lnTo>
                    <a:pt x="425" y="1817"/>
                  </a:lnTo>
                  <a:lnTo>
                    <a:pt x="425" y="1816"/>
                  </a:lnTo>
                  <a:lnTo>
                    <a:pt x="425" y="1814"/>
                  </a:lnTo>
                  <a:lnTo>
                    <a:pt x="427" y="1814"/>
                  </a:lnTo>
                  <a:lnTo>
                    <a:pt x="427" y="1814"/>
                  </a:lnTo>
                  <a:lnTo>
                    <a:pt x="425" y="1813"/>
                  </a:lnTo>
                  <a:lnTo>
                    <a:pt x="427" y="1813"/>
                  </a:lnTo>
                  <a:lnTo>
                    <a:pt x="427" y="1813"/>
                  </a:lnTo>
                  <a:lnTo>
                    <a:pt x="428" y="1811"/>
                  </a:lnTo>
                  <a:lnTo>
                    <a:pt x="428" y="1811"/>
                  </a:lnTo>
                  <a:lnTo>
                    <a:pt x="428" y="1810"/>
                  </a:lnTo>
                  <a:lnTo>
                    <a:pt x="427" y="1810"/>
                  </a:lnTo>
                  <a:lnTo>
                    <a:pt x="427" y="1811"/>
                  </a:lnTo>
                  <a:lnTo>
                    <a:pt x="425" y="1810"/>
                  </a:lnTo>
                  <a:lnTo>
                    <a:pt x="425" y="1811"/>
                  </a:lnTo>
                  <a:lnTo>
                    <a:pt x="424" y="1811"/>
                  </a:lnTo>
                  <a:lnTo>
                    <a:pt x="424" y="1811"/>
                  </a:lnTo>
                  <a:lnTo>
                    <a:pt x="422" y="1811"/>
                  </a:lnTo>
                  <a:lnTo>
                    <a:pt x="422" y="1813"/>
                  </a:lnTo>
                  <a:lnTo>
                    <a:pt x="424" y="1814"/>
                  </a:lnTo>
                  <a:lnTo>
                    <a:pt x="424" y="1816"/>
                  </a:lnTo>
                  <a:lnTo>
                    <a:pt x="424" y="1816"/>
                  </a:lnTo>
                  <a:lnTo>
                    <a:pt x="424" y="1817"/>
                  </a:lnTo>
                  <a:close/>
                  <a:moveTo>
                    <a:pt x="535" y="1730"/>
                  </a:moveTo>
                  <a:lnTo>
                    <a:pt x="535" y="1730"/>
                  </a:lnTo>
                  <a:lnTo>
                    <a:pt x="535" y="1730"/>
                  </a:lnTo>
                  <a:lnTo>
                    <a:pt x="533" y="1730"/>
                  </a:lnTo>
                  <a:lnTo>
                    <a:pt x="532" y="1731"/>
                  </a:lnTo>
                  <a:lnTo>
                    <a:pt x="530" y="1733"/>
                  </a:lnTo>
                  <a:lnTo>
                    <a:pt x="529" y="1734"/>
                  </a:lnTo>
                  <a:lnTo>
                    <a:pt x="527" y="1736"/>
                  </a:lnTo>
                  <a:lnTo>
                    <a:pt x="527" y="1737"/>
                  </a:lnTo>
                  <a:lnTo>
                    <a:pt x="527" y="1737"/>
                  </a:lnTo>
                  <a:lnTo>
                    <a:pt x="529" y="1739"/>
                  </a:lnTo>
                  <a:lnTo>
                    <a:pt x="529" y="1739"/>
                  </a:lnTo>
                  <a:lnTo>
                    <a:pt x="530" y="1737"/>
                  </a:lnTo>
                  <a:lnTo>
                    <a:pt x="533" y="1736"/>
                  </a:lnTo>
                  <a:lnTo>
                    <a:pt x="535" y="1736"/>
                  </a:lnTo>
                  <a:lnTo>
                    <a:pt x="536" y="1736"/>
                  </a:lnTo>
                  <a:lnTo>
                    <a:pt x="536" y="1734"/>
                  </a:lnTo>
                  <a:lnTo>
                    <a:pt x="535" y="1734"/>
                  </a:lnTo>
                  <a:lnTo>
                    <a:pt x="535" y="1733"/>
                  </a:lnTo>
                  <a:lnTo>
                    <a:pt x="535" y="1733"/>
                  </a:lnTo>
                  <a:lnTo>
                    <a:pt x="535" y="1733"/>
                  </a:lnTo>
                  <a:lnTo>
                    <a:pt x="536" y="1733"/>
                  </a:lnTo>
                  <a:lnTo>
                    <a:pt x="536" y="1731"/>
                  </a:lnTo>
                  <a:lnTo>
                    <a:pt x="538" y="1731"/>
                  </a:lnTo>
                  <a:lnTo>
                    <a:pt x="539" y="1730"/>
                  </a:lnTo>
                  <a:lnTo>
                    <a:pt x="539" y="1728"/>
                  </a:lnTo>
                  <a:lnTo>
                    <a:pt x="539" y="1728"/>
                  </a:lnTo>
                  <a:lnTo>
                    <a:pt x="536" y="1730"/>
                  </a:lnTo>
                  <a:lnTo>
                    <a:pt x="535" y="1730"/>
                  </a:lnTo>
                  <a:close/>
                  <a:moveTo>
                    <a:pt x="522" y="1730"/>
                  </a:moveTo>
                  <a:lnTo>
                    <a:pt x="524" y="1730"/>
                  </a:lnTo>
                  <a:lnTo>
                    <a:pt x="524" y="1728"/>
                  </a:lnTo>
                  <a:lnTo>
                    <a:pt x="524" y="1726"/>
                  </a:lnTo>
                  <a:lnTo>
                    <a:pt x="524" y="1725"/>
                  </a:lnTo>
                  <a:lnTo>
                    <a:pt x="524" y="1723"/>
                  </a:lnTo>
                  <a:lnTo>
                    <a:pt x="524" y="1723"/>
                  </a:lnTo>
                  <a:lnTo>
                    <a:pt x="524" y="1725"/>
                  </a:lnTo>
                  <a:lnTo>
                    <a:pt x="526" y="1725"/>
                  </a:lnTo>
                  <a:lnTo>
                    <a:pt x="526" y="1725"/>
                  </a:lnTo>
                  <a:lnTo>
                    <a:pt x="527" y="1725"/>
                  </a:lnTo>
                  <a:lnTo>
                    <a:pt x="527" y="1725"/>
                  </a:lnTo>
                  <a:lnTo>
                    <a:pt x="527" y="1725"/>
                  </a:lnTo>
                  <a:lnTo>
                    <a:pt x="527" y="1723"/>
                  </a:lnTo>
                  <a:lnTo>
                    <a:pt x="527" y="1723"/>
                  </a:lnTo>
                  <a:lnTo>
                    <a:pt x="527" y="1723"/>
                  </a:lnTo>
                  <a:lnTo>
                    <a:pt x="526" y="1723"/>
                  </a:lnTo>
                  <a:lnTo>
                    <a:pt x="526" y="1723"/>
                  </a:lnTo>
                  <a:lnTo>
                    <a:pt x="529" y="1722"/>
                  </a:lnTo>
                  <a:lnTo>
                    <a:pt x="529" y="1720"/>
                  </a:lnTo>
                  <a:lnTo>
                    <a:pt x="526" y="1720"/>
                  </a:lnTo>
                  <a:lnTo>
                    <a:pt x="524" y="1720"/>
                  </a:lnTo>
                  <a:lnTo>
                    <a:pt x="522" y="1722"/>
                  </a:lnTo>
                  <a:lnTo>
                    <a:pt x="521" y="1722"/>
                  </a:lnTo>
                  <a:lnTo>
                    <a:pt x="519" y="1722"/>
                  </a:lnTo>
                  <a:lnTo>
                    <a:pt x="519" y="1723"/>
                  </a:lnTo>
                  <a:lnTo>
                    <a:pt x="519" y="1723"/>
                  </a:lnTo>
                  <a:lnTo>
                    <a:pt x="519" y="1725"/>
                  </a:lnTo>
                  <a:lnTo>
                    <a:pt x="518" y="1725"/>
                  </a:lnTo>
                  <a:lnTo>
                    <a:pt x="518" y="1726"/>
                  </a:lnTo>
                  <a:lnTo>
                    <a:pt x="518" y="1726"/>
                  </a:lnTo>
                  <a:lnTo>
                    <a:pt x="516" y="1728"/>
                  </a:lnTo>
                  <a:lnTo>
                    <a:pt x="516" y="1730"/>
                  </a:lnTo>
                  <a:lnTo>
                    <a:pt x="516" y="1730"/>
                  </a:lnTo>
                  <a:lnTo>
                    <a:pt x="516" y="1731"/>
                  </a:lnTo>
                  <a:lnTo>
                    <a:pt x="518" y="1730"/>
                  </a:lnTo>
                  <a:lnTo>
                    <a:pt x="519" y="1728"/>
                  </a:lnTo>
                  <a:lnTo>
                    <a:pt x="519" y="1728"/>
                  </a:lnTo>
                  <a:lnTo>
                    <a:pt x="519" y="1728"/>
                  </a:lnTo>
                  <a:lnTo>
                    <a:pt x="521" y="1730"/>
                  </a:lnTo>
                  <a:lnTo>
                    <a:pt x="522" y="1730"/>
                  </a:lnTo>
                  <a:close/>
                  <a:moveTo>
                    <a:pt x="492" y="1725"/>
                  </a:moveTo>
                  <a:lnTo>
                    <a:pt x="490" y="1723"/>
                  </a:lnTo>
                  <a:lnTo>
                    <a:pt x="490" y="1720"/>
                  </a:lnTo>
                  <a:lnTo>
                    <a:pt x="490" y="1719"/>
                  </a:lnTo>
                  <a:lnTo>
                    <a:pt x="490" y="1717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9" y="1716"/>
                  </a:lnTo>
                  <a:lnTo>
                    <a:pt x="487" y="1714"/>
                  </a:lnTo>
                  <a:lnTo>
                    <a:pt x="487" y="1714"/>
                  </a:lnTo>
                  <a:lnTo>
                    <a:pt x="485" y="1716"/>
                  </a:lnTo>
                  <a:lnTo>
                    <a:pt x="487" y="1720"/>
                  </a:lnTo>
                  <a:lnTo>
                    <a:pt x="487" y="1722"/>
                  </a:lnTo>
                  <a:lnTo>
                    <a:pt x="487" y="1722"/>
                  </a:lnTo>
                  <a:lnTo>
                    <a:pt x="487" y="1723"/>
                  </a:lnTo>
                  <a:lnTo>
                    <a:pt x="485" y="1725"/>
                  </a:lnTo>
                  <a:lnTo>
                    <a:pt x="485" y="1726"/>
                  </a:lnTo>
                  <a:lnTo>
                    <a:pt x="485" y="1730"/>
                  </a:lnTo>
                  <a:lnTo>
                    <a:pt x="485" y="1731"/>
                  </a:lnTo>
                  <a:lnTo>
                    <a:pt x="485" y="1731"/>
                  </a:lnTo>
                  <a:lnTo>
                    <a:pt x="485" y="1733"/>
                  </a:lnTo>
                  <a:lnTo>
                    <a:pt x="485" y="1734"/>
                  </a:lnTo>
                  <a:lnTo>
                    <a:pt x="487" y="1736"/>
                  </a:lnTo>
                  <a:lnTo>
                    <a:pt x="487" y="1736"/>
                  </a:lnTo>
                  <a:lnTo>
                    <a:pt x="487" y="1736"/>
                  </a:lnTo>
                  <a:lnTo>
                    <a:pt x="489" y="1739"/>
                  </a:lnTo>
                  <a:lnTo>
                    <a:pt x="490" y="1739"/>
                  </a:lnTo>
                  <a:lnTo>
                    <a:pt x="489" y="1737"/>
                  </a:lnTo>
                  <a:lnTo>
                    <a:pt x="489" y="1736"/>
                  </a:lnTo>
                  <a:lnTo>
                    <a:pt x="490" y="1736"/>
                  </a:lnTo>
                  <a:lnTo>
                    <a:pt x="490" y="1734"/>
                  </a:lnTo>
                  <a:lnTo>
                    <a:pt x="490" y="1734"/>
                  </a:lnTo>
                  <a:lnTo>
                    <a:pt x="490" y="1733"/>
                  </a:lnTo>
                  <a:lnTo>
                    <a:pt x="490" y="1731"/>
                  </a:lnTo>
                  <a:lnTo>
                    <a:pt x="490" y="1730"/>
                  </a:lnTo>
                  <a:lnTo>
                    <a:pt x="490" y="1728"/>
                  </a:lnTo>
                  <a:lnTo>
                    <a:pt x="490" y="1726"/>
                  </a:lnTo>
                  <a:lnTo>
                    <a:pt x="492" y="1725"/>
                  </a:lnTo>
                  <a:close/>
                  <a:moveTo>
                    <a:pt x="538" y="1719"/>
                  </a:moveTo>
                  <a:lnTo>
                    <a:pt x="538" y="1720"/>
                  </a:lnTo>
                  <a:lnTo>
                    <a:pt x="538" y="1720"/>
                  </a:lnTo>
                  <a:lnTo>
                    <a:pt x="539" y="1722"/>
                  </a:lnTo>
                  <a:lnTo>
                    <a:pt x="539" y="1723"/>
                  </a:lnTo>
                  <a:lnTo>
                    <a:pt x="541" y="1723"/>
                  </a:lnTo>
                  <a:lnTo>
                    <a:pt x="541" y="1723"/>
                  </a:lnTo>
                  <a:lnTo>
                    <a:pt x="542" y="1723"/>
                  </a:lnTo>
                  <a:lnTo>
                    <a:pt x="542" y="1723"/>
                  </a:lnTo>
                  <a:lnTo>
                    <a:pt x="542" y="1723"/>
                  </a:lnTo>
                  <a:lnTo>
                    <a:pt x="544" y="1723"/>
                  </a:lnTo>
                  <a:lnTo>
                    <a:pt x="544" y="1722"/>
                  </a:lnTo>
                  <a:lnTo>
                    <a:pt x="544" y="1722"/>
                  </a:lnTo>
                  <a:lnTo>
                    <a:pt x="544" y="1720"/>
                  </a:lnTo>
                  <a:lnTo>
                    <a:pt x="544" y="1720"/>
                  </a:lnTo>
                  <a:lnTo>
                    <a:pt x="544" y="1719"/>
                  </a:lnTo>
                  <a:lnTo>
                    <a:pt x="546" y="1719"/>
                  </a:lnTo>
                  <a:lnTo>
                    <a:pt x="546" y="1717"/>
                  </a:lnTo>
                  <a:lnTo>
                    <a:pt x="547" y="1716"/>
                  </a:lnTo>
                  <a:lnTo>
                    <a:pt x="549" y="1713"/>
                  </a:lnTo>
                  <a:lnTo>
                    <a:pt x="549" y="1713"/>
                  </a:lnTo>
                  <a:lnTo>
                    <a:pt x="549" y="1711"/>
                  </a:lnTo>
                  <a:lnTo>
                    <a:pt x="549" y="1711"/>
                  </a:lnTo>
                  <a:lnTo>
                    <a:pt x="549" y="1711"/>
                  </a:lnTo>
                  <a:lnTo>
                    <a:pt x="549" y="1710"/>
                  </a:lnTo>
                  <a:lnTo>
                    <a:pt x="549" y="1708"/>
                  </a:lnTo>
                  <a:lnTo>
                    <a:pt x="547" y="1708"/>
                  </a:lnTo>
                  <a:lnTo>
                    <a:pt x="546" y="1708"/>
                  </a:lnTo>
                  <a:lnTo>
                    <a:pt x="546" y="1710"/>
                  </a:lnTo>
                  <a:lnTo>
                    <a:pt x="544" y="1711"/>
                  </a:lnTo>
                  <a:lnTo>
                    <a:pt x="541" y="1713"/>
                  </a:lnTo>
                  <a:lnTo>
                    <a:pt x="541" y="1714"/>
                  </a:lnTo>
                  <a:lnTo>
                    <a:pt x="541" y="1714"/>
                  </a:lnTo>
                  <a:lnTo>
                    <a:pt x="541" y="1716"/>
                  </a:lnTo>
                  <a:lnTo>
                    <a:pt x="539" y="1716"/>
                  </a:lnTo>
                  <a:lnTo>
                    <a:pt x="539" y="1717"/>
                  </a:lnTo>
                  <a:lnTo>
                    <a:pt x="539" y="1716"/>
                  </a:lnTo>
                  <a:lnTo>
                    <a:pt x="539" y="1717"/>
                  </a:lnTo>
                  <a:lnTo>
                    <a:pt x="539" y="1717"/>
                  </a:lnTo>
                  <a:lnTo>
                    <a:pt x="539" y="1719"/>
                  </a:lnTo>
                  <a:lnTo>
                    <a:pt x="539" y="1719"/>
                  </a:lnTo>
                  <a:lnTo>
                    <a:pt x="538" y="1719"/>
                  </a:lnTo>
                  <a:close/>
                  <a:moveTo>
                    <a:pt x="566" y="1694"/>
                  </a:moveTo>
                  <a:lnTo>
                    <a:pt x="564" y="1694"/>
                  </a:lnTo>
                  <a:lnTo>
                    <a:pt x="562" y="1696"/>
                  </a:lnTo>
                  <a:lnTo>
                    <a:pt x="562" y="1697"/>
                  </a:lnTo>
                  <a:lnTo>
                    <a:pt x="562" y="1699"/>
                  </a:lnTo>
                  <a:lnTo>
                    <a:pt x="562" y="1699"/>
                  </a:lnTo>
                  <a:lnTo>
                    <a:pt x="567" y="1696"/>
                  </a:lnTo>
                  <a:lnTo>
                    <a:pt x="569" y="1694"/>
                  </a:lnTo>
                  <a:lnTo>
                    <a:pt x="569" y="1694"/>
                  </a:lnTo>
                  <a:lnTo>
                    <a:pt x="566" y="1694"/>
                  </a:lnTo>
                  <a:lnTo>
                    <a:pt x="566" y="1694"/>
                  </a:lnTo>
                  <a:close/>
                  <a:moveTo>
                    <a:pt x="567" y="1685"/>
                  </a:moveTo>
                  <a:lnTo>
                    <a:pt x="567" y="1686"/>
                  </a:lnTo>
                  <a:lnTo>
                    <a:pt x="567" y="1686"/>
                  </a:lnTo>
                  <a:lnTo>
                    <a:pt x="567" y="1686"/>
                  </a:lnTo>
                  <a:lnTo>
                    <a:pt x="569" y="1686"/>
                  </a:lnTo>
                  <a:lnTo>
                    <a:pt x="569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8"/>
                  </a:lnTo>
                  <a:lnTo>
                    <a:pt x="570" y="1686"/>
                  </a:lnTo>
                  <a:lnTo>
                    <a:pt x="572" y="1685"/>
                  </a:lnTo>
                  <a:lnTo>
                    <a:pt x="572" y="1685"/>
                  </a:lnTo>
                  <a:lnTo>
                    <a:pt x="573" y="1683"/>
                  </a:lnTo>
                  <a:lnTo>
                    <a:pt x="573" y="1683"/>
                  </a:lnTo>
                  <a:lnTo>
                    <a:pt x="573" y="1682"/>
                  </a:lnTo>
                  <a:lnTo>
                    <a:pt x="572" y="1682"/>
                  </a:lnTo>
                  <a:lnTo>
                    <a:pt x="572" y="1682"/>
                  </a:lnTo>
                  <a:lnTo>
                    <a:pt x="570" y="1682"/>
                  </a:lnTo>
                  <a:lnTo>
                    <a:pt x="569" y="1682"/>
                  </a:lnTo>
                  <a:lnTo>
                    <a:pt x="567" y="1683"/>
                  </a:lnTo>
                  <a:lnTo>
                    <a:pt x="567" y="1685"/>
                  </a:lnTo>
                  <a:close/>
                  <a:moveTo>
                    <a:pt x="555" y="1688"/>
                  </a:moveTo>
                  <a:lnTo>
                    <a:pt x="558" y="1686"/>
                  </a:lnTo>
                  <a:lnTo>
                    <a:pt x="552" y="1683"/>
                  </a:lnTo>
                  <a:lnTo>
                    <a:pt x="547" y="1682"/>
                  </a:lnTo>
                  <a:lnTo>
                    <a:pt x="538" y="1682"/>
                  </a:lnTo>
                  <a:lnTo>
                    <a:pt x="542" y="1683"/>
                  </a:lnTo>
                  <a:lnTo>
                    <a:pt x="544" y="1685"/>
                  </a:lnTo>
                  <a:lnTo>
                    <a:pt x="544" y="1685"/>
                  </a:lnTo>
                  <a:lnTo>
                    <a:pt x="544" y="1686"/>
                  </a:lnTo>
                  <a:lnTo>
                    <a:pt x="544" y="1686"/>
                  </a:lnTo>
                  <a:lnTo>
                    <a:pt x="547" y="1688"/>
                  </a:lnTo>
                  <a:lnTo>
                    <a:pt x="552" y="1691"/>
                  </a:lnTo>
                  <a:lnTo>
                    <a:pt x="553" y="1693"/>
                  </a:lnTo>
                  <a:lnTo>
                    <a:pt x="556" y="1690"/>
                  </a:lnTo>
                  <a:lnTo>
                    <a:pt x="552" y="1690"/>
                  </a:lnTo>
                  <a:lnTo>
                    <a:pt x="552" y="1688"/>
                  </a:lnTo>
                  <a:lnTo>
                    <a:pt x="552" y="1685"/>
                  </a:lnTo>
                  <a:lnTo>
                    <a:pt x="553" y="1686"/>
                  </a:lnTo>
                  <a:lnTo>
                    <a:pt x="555" y="1688"/>
                  </a:lnTo>
                  <a:close/>
                  <a:moveTo>
                    <a:pt x="561" y="1673"/>
                  </a:moveTo>
                  <a:lnTo>
                    <a:pt x="562" y="1674"/>
                  </a:lnTo>
                  <a:lnTo>
                    <a:pt x="562" y="1676"/>
                  </a:lnTo>
                  <a:lnTo>
                    <a:pt x="564" y="1677"/>
                  </a:lnTo>
                  <a:lnTo>
                    <a:pt x="564" y="1677"/>
                  </a:lnTo>
                  <a:lnTo>
                    <a:pt x="564" y="1679"/>
                  </a:lnTo>
                  <a:lnTo>
                    <a:pt x="564" y="1679"/>
                  </a:lnTo>
                  <a:lnTo>
                    <a:pt x="562" y="1679"/>
                  </a:lnTo>
                  <a:lnTo>
                    <a:pt x="562" y="1680"/>
                  </a:lnTo>
                  <a:lnTo>
                    <a:pt x="562" y="1682"/>
                  </a:lnTo>
                  <a:lnTo>
                    <a:pt x="564" y="1680"/>
                  </a:lnTo>
                  <a:lnTo>
                    <a:pt x="567" y="1679"/>
                  </a:lnTo>
                  <a:lnTo>
                    <a:pt x="569" y="1679"/>
                  </a:lnTo>
                  <a:lnTo>
                    <a:pt x="569" y="1677"/>
                  </a:lnTo>
                  <a:lnTo>
                    <a:pt x="569" y="1674"/>
                  </a:lnTo>
                  <a:lnTo>
                    <a:pt x="569" y="1674"/>
                  </a:lnTo>
                  <a:lnTo>
                    <a:pt x="567" y="1674"/>
                  </a:lnTo>
                  <a:lnTo>
                    <a:pt x="567" y="1673"/>
                  </a:lnTo>
                  <a:lnTo>
                    <a:pt x="566" y="1671"/>
                  </a:lnTo>
                  <a:lnTo>
                    <a:pt x="566" y="1671"/>
                  </a:lnTo>
                  <a:lnTo>
                    <a:pt x="564" y="1671"/>
                  </a:lnTo>
                  <a:lnTo>
                    <a:pt x="564" y="1671"/>
                  </a:lnTo>
                  <a:lnTo>
                    <a:pt x="564" y="1671"/>
                  </a:lnTo>
                  <a:lnTo>
                    <a:pt x="561" y="1671"/>
                  </a:lnTo>
                  <a:lnTo>
                    <a:pt x="561" y="1671"/>
                  </a:lnTo>
                  <a:lnTo>
                    <a:pt x="561" y="1673"/>
                  </a:lnTo>
                  <a:lnTo>
                    <a:pt x="561" y="1673"/>
                  </a:lnTo>
                  <a:close/>
                  <a:moveTo>
                    <a:pt x="530" y="1671"/>
                  </a:moveTo>
                  <a:lnTo>
                    <a:pt x="532" y="1671"/>
                  </a:lnTo>
                  <a:lnTo>
                    <a:pt x="530" y="1671"/>
                  </a:lnTo>
                  <a:lnTo>
                    <a:pt x="522" y="1668"/>
                  </a:lnTo>
                  <a:lnTo>
                    <a:pt x="521" y="1668"/>
                  </a:lnTo>
                  <a:lnTo>
                    <a:pt x="521" y="1670"/>
                  </a:lnTo>
                  <a:lnTo>
                    <a:pt x="521" y="1671"/>
                  </a:lnTo>
                  <a:lnTo>
                    <a:pt x="521" y="1671"/>
                  </a:lnTo>
                  <a:lnTo>
                    <a:pt x="522" y="1673"/>
                  </a:lnTo>
                  <a:lnTo>
                    <a:pt x="522" y="1674"/>
                  </a:lnTo>
                  <a:lnTo>
                    <a:pt x="526" y="1676"/>
                  </a:lnTo>
                  <a:lnTo>
                    <a:pt x="527" y="1676"/>
                  </a:lnTo>
                  <a:lnTo>
                    <a:pt x="529" y="1676"/>
                  </a:lnTo>
                  <a:lnTo>
                    <a:pt x="529" y="1674"/>
                  </a:lnTo>
                  <a:lnTo>
                    <a:pt x="529" y="1673"/>
                  </a:lnTo>
                  <a:lnTo>
                    <a:pt x="529" y="1671"/>
                  </a:lnTo>
                  <a:lnTo>
                    <a:pt x="530" y="1671"/>
                  </a:lnTo>
                  <a:lnTo>
                    <a:pt x="530" y="1671"/>
                  </a:lnTo>
                  <a:close/>
                  <a:moveTo>
                    <a:pt x="576" y="1666"/>
                  </a:moveTo>
                  <a:lnTo>
                    <a:pt x="576" y="1668"/>
                  </a:lnTo>
                  <a:lnTo>
                    <a:pt x="576" y="1668"/>
                  </a:lnTo>
                  <a:lnTo>
                    <a:pt x="578" y="1668"/>
                  </a:lnTo>
                  <a:lnTo>
                    <a:pt x="578" y="1668"/>
                  </a:lnTo>
                  <a:lnTo>
                    <a:pt x="576" y="1666"/>
                  </a:lnTo>
                  <a:lnTo>
                    <a:pt x="576" y="1666"/>
                  </a:lnTo>
                  <a:lnTo>
                    <a:pt x="576" y="1666"/>
                  </a:lnTo>
                  <a:close/>
                  <a:moveTo>
                    <a:pt x="579" y="1668"/>
                  </a:moveTo>
                  <a:lnTo>
                    <a:pt x="581" y="1668"/>
                  </a:lnTo>
                  <a:lnTo>
                    <a:pt x="581" y="1670"/>
                  </a:lnTo>
                  <a:lnTo>
                    <a:pt x="582" y="1671"/>
                  </a:lnTo>
                  <a:lnTo>
                    <a:pt x="584" y="1670"/>
                  </a:lnTo>
                  <a:lnTo>
                    <a:pt x="582" y="1668"/>
                  </a:lnTo>
                  <a:lnTo>
                    <a:pt x="582" y="1668"/>
                  </a:lnTo>
                  <a:lnTo>
                    <a:pt x="582" y="1666"/>
                  </a:lnTo>
                  <a:lnTo>
                    <a:pt x="581" y="1665"/>
                  </a:lnTo>
                  <a:lnTo>
                    <a:pt x="581" y="1665"/>
                  </a:lnTo>
                  <a:lnTo>
                    <a:pt x="579" y="1666"/>
                  </a:lnTo>
                  <a:lnTo>
                    <a:pt x="579" y="1668"/>
                  </a:lnTo>
                  <a:lnTo>
                    <a:pt x="579" y="1668"/>
                  </a:lnTo>
                  <a:close/>
                  <a:moveTo>
                    <a:pt x="579" y="1665"/>
                  </a:moveTo>
                  <a:lnTo>
                    <a:pt x="581" y="1663"/>
                  </a:lnTo>
                  <a:lnTo>
                    <a:pt x="581" y="1662"/>
                  </a:lnTo>
                  <a:lnTo>
                    <a:pt x="581" y="1660"/>
                  </a:lnTo>
                  <a:lnTo>
                    <a:pt x="581" y="1660"/>
                  </a:lnTo>
                  <a:lnTo>
                    <a:pt x="581" y="1660"/>
                  </a:lnTo>
                  <a:lnTo>
                    <a:pt x="579" y="1660"/>
                  </a:lnTo>
                  <a:lnTo>
                    <a:pt x="578" y="1660"/>
                  </a:lnTo>
                  <a:lnTo>
                    <a:pt x="576" y="1663"/>
                  </a:lnTo>
                  <a:lnTo>
                    <a:pt x="578" y="1665"/>
                  </a:lnTo>
                  <a:lnTo>
                    <a:pt x="579" y="1665"/>
                  </a:lnTo>
                  <a:close/>
                  <a:moveTo>
                    <a:pt x="559" y="1654"/>
                  </a:moveTo>
                  <a:lnTo>
                    <a:pt x="559" y="1654"/>
                  </a:lnTo>
                  <a:lnTo>
                    <a:pt x="561" y="1653"/>
                  </a:lnTo>
                  <a:lnTo>
                    <a:pt x="561" y="1651"/>
                  </a:lnTo>
                  <a:lnTo>
                    <a:pt x="561" y="1651"/>
                  </a:lnTo>
                  <a:lnTo>
                    <a:pt x="564" y="1650"/>
                  </a:lnTo>
                  <a:lnTo>
                    <a:pt x="567" y="1646"/>
                  </a:lnTo>
                  <a:lnTo>
                    <a:pt x="567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4" y="1646"/>
                  </a:lnTo>
                  <a:lnTo>
                    <a:pt x="562" y="1645"/>
                  </a:lnTo>
                  <a:lnTo>
                    <a:pt x="561" y="1645"/>
                  </a:lnTo>
                  <a:lnTo>
                    <a:pt x="559" y="1645"/>
                  </a:lnTo>
                  <a:lnTo>
                    <a:pt x="558" y="1645"/>
                  </a:lnTo>
                  <a:lnTo>
                    <a:pt x="556" y="1646"/>
                  </a:lnTo>
                  <a:lnTo>
                    <a:pt x="556" y="1648"/>
                  </a:lnTo>
                  <a:lnTo>
                    <a:pt x="555" y="1650"/>
                  </a:lnTo>
                  <a:lnTo>
                    <a:pt x="553" y="1651"/>
                  </a:lnTo>
                  <a:lnTo>
                    <a:pt x="553" y="1651"/>
                  </a:lnTo>
                  <a:lnTo>
                    <a:pt x="553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6" y="1653"/>
                  </a:lnTo>
                  <a:lnTo>
                    <a:pt x="556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3"/>
                  </a:lnTo>
                  <a:lnTo>
                    <a:pt x="555" y="1654"/>
                  </a:lnTo>
                  <a:lnTo>
                    <a:pt x="555" y="1654"/>
                  </a:lnTo>
                  <a:lnTo>
                    <a:pt x="555" y="1654"/>
                  </a:lnTo>
                  <a:lnTo>
                    <a:pt x="553" y="1653"/>
                  </a:lnTo>
                  <a:lnTo>
                    <a:pt x="553" y="1653"/>
                  </a:lnTo>
                  <a:lnTo>
                    <a:pt x="552" y="1653"/>
                  </a:lnTo>
                  <a:lnTo>
                    <a:pt x="552" y="1653"/>
                  </a:lnTo>
                  <a:lnTo>
                    <a:pt x="550" y="1654"/>
                  </a:lnTo>
                  <a:lnTo>
                    <a:pt x="552" y="1656"/>
                  </a:lnTo>
                  <a:lnTo>
                    <a:pt x="552" y="1656"/>
                  </a:lnTo>
                  <a:lnTo>
                    <a:pt x="552" y="1657"/>
                  </a:lnTo>
                  <a:lnTo>
                    <a:pt x="552" y="1659"/>
                  </a:lnTo>
                  <a:lnTo>
                    <a:pt x="553" y="1660"/>
                  </a:lnTo>
                  <a:lnTo>
                    <a:pt x="553" y="1662"/>
                  </a:lnTo>
                  <a:lnTo>
                    <a:pt x="553" y="1662"/>
                  </a:lnTo>
                  <a:lnTo>
                    <a:pt x="553" y="1663"/>
                  </a:lnTo>
                  <a:lnTo>
                    <a:pt x="555" y="1663"/>
                  </a:lnTo>
                  <a:lnTo>
                    <a:pt x="555" y="1662"/>
                  </a:lnTo>
                  <a:lnTo>
                    <a:pt x="555" y="1662"/>
                  </a:lnTo>
                  <a:lnTo>
                    <a:pt x="556" y="1662"/>
                  </a:lnTo>
                  <a:lnTo>
                    <a:pt x="556" y="1657"/>
                  </a:lnTo>
                  <a:lnTo>
                    <a:pt x="556" y="1659"/>
                  </a:lnTo>
                  <a:lnTo>
                    <a:pt x="556" y="1659"/>
                  </a:lnTo>
                  <a:lnTo>
                    <a:pt x="558" y="1659"/>
                  </a:lnTo>
                  <a:lnTo>
                    <a:pt x="558" y="1657"/>
                  </a:lnTo>
                  <a:lnTo>
                    <a:pt x="556" y="1654"/>
                  </a:lnTo>
                  <a:lnTo>
                    <a:pt x="558" y="1654"/>
                  </a:lnTo>
                  <a:lnTo>
                    <a:pt x="558" y="1654"/>
                  </a:lnTo>
                  <a:lnTo>
                    <a:pt x="558" y="1653"/>
                  </a:lnTo>
                  <a:lnTo>
                    <a:pt x="558" y="1653"/>
                  </a:lnTo>
                  <a:lnTo>
                    <a:pt x="559" y="1654"/>
                  </a:lnTo>
                  <a:close/>
                  <a:moveTo>
                    <a:pt x="584" y="1634"/>
                  </a:moveTo>
                  <a:lnTo>
                    <a:pt x="586" y="1634"/>
                  </a:lnTo>
                  <a:lnTo>
                    <a:pt x="586" y="1634"/>
                  </a:lnTo>
                  <a:lnTo>
                    <a:pt x="586" y="1634"/>
                  </a:lnTo>
                  <a:lnTo>
                    <a:pt x="586" y="1633"/>
                  </a:lnTo>
                  <a:lnTo>
                    <a:pt x="586" y="1633"/>
                  </a:lnTo>
                  <a:lnTo>
                    <a:pt x="586" y="1633"/>
                  </a:lnTo>
                  <a:lnTo>
                    <a:pt x="584" y="1629"/>
                  </a:lnTo>
                  <a:lnTo>
                    <a:pt x="584" y="1629"/>
                  </a:lnTo>
                  <a:lnTo>
                    <a:pt x="582" y="1629"/>
                  </a:lnTo>
                  <a:lnTo>
                    <a:pt x="578" y="1636"/>
                  </a:lnTo>
                  <a:lnTo>
                    <a:pt x="576" y="1637"/>
                  </a:lnTo>
                  <a:lnTo>
                    <a:pt x="576" y="1640"/>
                  </a:lnTo>
                  <a:lnTo>
                    <a:pt x="578" y="1640"/>
                  </a:lnTo>
                  <a:lnTo>
                    <a:pt x="579" y="1640"/>
                  </a:lnTo>
                  <a:lnTo>
                    <a:pt x="579" y="1640"/>
                  </a:lnTo>
                  <a:lnTo>
                    <a:pt x="581" y="1639"/>
                  </a:lnTo>
                  <a:lnTo>
                    <a:pt x="582" y="1634"/>
                  </a:lnTo>
                  <a:lnTo>
                    <a:pt x="582" y="1634"/>
                  </a:lnTo>
                  <a:lnTo>
                    <a:pt x="584" y="1634"/>
                  </a:lnTo>
                  <a:lnTo>
                    <a:pt x="584" y="1634"/>
                  </a:lnTo>
                  <a:close/>
                  <a:moveTo>
                    <a:pt x="575" y="1636"/>
                  </a:moveTo>
                  <a:lnTo>
                    <a:pt x="573" y="1637"/>
                  </a:lnTo>
                  <a:lnTo>
                    <a:pt x="572" y="1639"/>
                  </a:lnTo>
                  <a:lnTo>
                    <a:pt x="570" y="1640"/>
                  </a:lnTo>
                  <a:lnTo>
                    <a:pt x="569" y="1640"/>
                  </a:lnTo>
                  <a:lnTo>
                    <a:pt x="569" y="1642"/>
                  </a:lnTo>
                  <a:lnTo>
                    <a:pt x="570" y="1642"/>
                  </a:lnTo>
                  <a:lnTo>
                    <a:pt x="572" y="1640"/>
                  </a:lnTo>
                  <a:lnTo>
                    <a:pt x="573" y="1640"/>
                  </a:lnTo>
                  <a:lnTo>
                    <a:pt x="573" y="1640"/>
                  </a:lnTo>
                  <a:lnTo>
                    <a:pt x="575" y="1640"/>
                  </a:lnTo>
                  <a:lnTo>
                    <a:pt x="575" y="1639"/>
                  </a:lnTo>
                  <a:lnTo>
                    <a:pt x="575" y="1639"/>
                  </a:lnTo>
                  <a:lnTo>
                    <a:pt x="575" y="1639"/>
                  </a:lnTo>
                  <a:lnTo>
                    <a:pt x="576" y="1637"/>
                  </a:lnTo>
                  <a:lnTo>
                    <a:pt x="576" y="1637"/>
                  </a:lnTo>
                  <a:lnTo>
                    <a:pt x="579" y="1633"/>
                  </a:lnTo>
                  <a:lnTo>
                    <a:pt x="581" y="1629"/>
                  </a:lnTo>
                  <a:lnTo>
                    <a:pt x="581" y="1629"/>
                  </a:lnTo>
                  <a:lnTo>
                    <a:pt x="576" y="1633"/>
                  </a:lnTo>
                  <a:lnTo>
                    <a:pt x="575" y="1636"/>
                  </a:lnTo>
                  <a:close/>
                  <a:moveTo>
                    <a:pt x="587" y="1603"/>
                  </a:moveTo>
                  <a:lnTo>
                    <a:pt x="587" y="1602"/>
                  </a:lnTo>
                  <a:lnTo>
                    <a:pt x="586" y="1600"/>
                  </a:lnTo>
                  <a:lnTo>
                    <a:pt x="586" y="1599"/>
                  </a:lnTo>
                  <a:lnTo>
                    <a:pt x="586" y="1599"/>
                  </a:lnTo>
                  <a:lnTo>
                    <a:pt x="584" y="1599"/>
                  </a:lnTo>
                  <a:lnTo>
                    <a:pt x="584" y="1599"/>
                  </a:lnTo>
                  <a:lnTo>
                    <a:pt x="582" y="1600"/>
                  </a:lnTo>
                  <a:lnTo>
                    <a:pt x="579" y="1606"/>
                  </a:lnTo>
                  <a:lnTo>
                    <a:pt x="578" y="1608"/>
                  </a:lnTo>
                  <a:lnTo>
                    <a:pt x="579" y="1609"/>
                  </a:lnTo>
                  <a:lnTo>
                    <a:pt x="581" y="1609"/>
                  </a:lnTo>
                  <a:lnTo>
                    <a:pt x="581" y="1609"/>
                  </a:lnTo>
                  <a:lnTo>
                    <a:pt x="582" y="1609"/>
                  </a:lnTo>
                  <a:lnTo>
                    <a:pt x="582" y="1609"/>
                  </a:lnTo>
                  <a:lnTo>
                    <a:pt x="582" y="1609"/>
                  </a:lnTo>
                  <a:lnTo>
                    <a:pt x="584" y="1609"/>
                  </a:lnTo>
                  <a:lnTo>
                    <a:pt x="586" y="1609"/>
                  </a:lnTo>
                  <a:lnTo>
                    <a:pt x="586" y="1609"/>
                  </a:lnTo>
                  <a:lnTo>
                    <a:pt x="587" y="1608"/>
                  </a:lnTo>
                  <a:lnTo>
                    <a:pt x="587" y="1608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6"/>
                  </a:lnTo>
                  <a:lnTo>
                    <a:pt x="587" y="1603"/>
                  </a:lnTo>
                  <a:close/>
                  <a:moveTo>
                    <a:pt x="567" y="1549"/>
                  </a:moveTo>
                  <a:lnTo>
                    <a:pt x="566" y="1549"/>
                  </a:lnTo>
                  <a:lnTo>
                    <a:pt x="566" y="1549"/>
                  </a:lnTo>
                  <a:lnTo>
                    <a:pt x="566" y="1551"/>
                  </a:lnTo>
                  <a:lnTo>
                    <a:pt x="566" y="1552"/>
                  </a:lnTo>
                  <a:lnTo>
                    <a:pt x="567" y="1554"/>
                  </a:lnTo>
                  <a:lnTo>
                    <a:pt x="567" y="1556"/>
                  </a:lnTo>
                  <a:lnTo>
                    <a:pt x="567" y="1556"/>
                  </a:lnTo>
                  <a:lnTo>
                    <a:pt x="569" y="1556"/>
                  </a:lnTo>
                  <a:lnTo>
                    <a:pt x="570" y="1556"/>
                  </a:lnTo>
                  <a:lnTo>
                    <a:pt x="573" y="1554"/>
                  </a:lnTo>
                  <a:lnTo>
                    <a:pt x="573" y="1552"/>
                  </a:lnTo>
                  <a:lnTo>
                    <a:pt x="572" y="1552"/>
                  </a:lnTo>
                  <a:lnTo>
                    <a:pt x="572" y="1551"/>
                  </a:lnTo>
                  <a:lnTo>
                    <a:pt x="572" y="1552"/>
                  </a:lnTo>
                  <a:lnTo>
                    <a:pt x="572" y="1552"/>
                  </a:lnTo>
                  <a:lnTo>
                    <a:pt x="572" y="1552"/>
                  </a:lnTo>
                  <a:lnTo>
                    <a:pt x="572" y="1551"/>
                  </a:lnTo>
                  <a:lnTo>
                    <a:pt x="572" y="1551"/>
                  </a:lnTo>
                  <a:lnTo>
                    <a:pt x="572" y="1549"/>
                  </a:lnTo>
                  <a:lnTo>
                    <a:pt x="570" y="1549"/>
                  </a:lnTo>
                  <a:lnTo>
                    <a:pt x="570" y="1549"/>
                  </a:lnTo>
                  <a:lnTo>
                    <a:pt x="569" y="1548"/>
                  </a:lnTo>
                  <a:lnTo>
                    <a:pt x="569" y="1546"/>
                  </a:lnTo>
                  <a:lnTo>
                    <a:pt x="567" y="1546"/>
                  </a:lnTo>
                  <a:lnTo>
                    <a:pt x="566" y="1546"/>
                  </a:lnTo>
                  <a:lnTo>
                    <a:pt x="566" y="1546"/>
                  </a:lnTo>
                  <a:lnTo>
                    <a:pt x="567" y="1548"/>
                  </a:lnTo>
                  <a:lnTo>
                    <a:pt x="567" y="1549"/>
                  </a:lnTo>
                  <a:lnTo>
                    <a:pt x="567" y="1549"/>
                  </a:lnTo>
                  <a:close/>
                  <a:moveTo>
                    <a:pt x="541" y="1520"/>
                  </a:moveTo>
                  <a:lnTo>
                    <a:pt x="542" y="1523"/>
                  </a:lnTo>
                  <a:lnTo>
                    <a:pt x="547" y="1525"/>
                  </a:lnTo>
                  <a:lnTo>
                    <a:pt x="552" y="1531"/>
                  </a:lnTo>
                  <a:lnTo>
                    <a:pt x="555" y="1532"/>
                  </a:lnTo>
                  <a:lnTo>
                    <a:pt x="555" y="1532"/>
                  </a:lnTo>
                  <a:lnTo>
                    <a:pt x="555" y="1531"/>
                  </a:lnTo>
                  <a:lnTo>
                    <a:pt x="555" y="1531"/>
                  </a:lnTo>
                  <a:lnTo>
                    <a:pt x="555" y="1529"/>
                  </a:lnTo>
                  <a:lnTo>
                    <a:pt x="553" y="1529"/>
                  </a:lnTo>
                  <a:lnTo>
                    <a:pt x="553" y="1529"/>
                  </a:lnTo>
                  <a:lnTo>
                    <a:pt x="553" y="1526"/>
                  </a:lnTo>
                  <a:lnTo>
                    <a:pt x="552" y="1525"/>
                  </a:lnTo>
                  <a:lnTo>
                    <a:pt x="552" y="1523"/>
                  </a:lnTo>
                  <a:lnTo>
                    <a:pt x="550" y="1525"/>
                  </a:lnTo>
                  <a:lnTo>
                    <a:pt x="550" y="1525"/>
                  </a:lnTo>
                  <a:lnTo>
                    <a:pt x="549" y="1523"/>
                  </a:lnTo>
                  <a:lnTo>
                    <a:pt x="549" y="1522"/>
                  </a:lnTo>
                  <a:lnTo>
                    <a:pt x="544" y="1514"/>
                  </a:lnTo>
                  <a:lnTo>
                    <a:pt x="544" y="1512"/>
                  </a:lnTo>
                  <a:lnTo>
                    <a:pt x="546" y="1512"/>
                  </a:lnTo>
                  <a:lnTo>
                    <a:pt x="547" y="1514"/>
                  </a:lnTo>
                  <a:lnTo>
                    <a:pt x="549" y="1514"/>
                  </a:lnTo>
                  <a:lnTo>
                    <a:pt x="547" y="1512"/>
                  </a:lnTo>
                  <a:lnTo>
                    <a:pt x="546" y="1509"/>
                  </a:lnTo>
                  <a:lnTo>
                    <a:pt x="544" y="1508"/>
                  </a:lnTo>
                  <a:lnTo>
                    <a:pt x="544" y="1508"/>
                  </a:lnTo>
                  <a:lnTo>
                    <a:pt x="544" y="1506"/>
                  </a:lnTo>
                  <a:lnTo>
                    <a:pt x="544" y="1506"/>
                  </a:lnTo>
                  <a:lnTo>
                    <a:pt x="544" y="1505"/>
                  </a:lnTo>
                  <a:lnTo>
                    <a:pt x="544" y="1505"/>
                  </a:lnTo>
                  <a:lnTo>
                    <a:pt x="544" y="1503"/>
                  </a:lnTo>
                  <a:lnTo>
                    <a:pt x="542" y="1502"/>
                  </a:lnTo>
                  <a:lnTo>
                    <a:pt x="542" y="1502"/>
                  </a:lnTo>
                  <a:lnTo>
                    <a:pt x="541" y="1502"/>
                  </a:lnTo>
                  <a:lnTo>
                    <a:pt x="541" y="1503"/>
                  </a:lnTo>
                  <a:lnTo>
                    <a:pt x="541" y="1506"/>
                  </a:lnTo>
                  <a:lnTo>
                    <a:pt x="541" y="1508"/>
                  </a:lnTo>
                  <a:lnTo>
                    <a:pt x="541" y="1516"/>
                  </a:lnTo>
                  <a:lnTo>
                    <a:pt x="541" y="1520"/>
                  </a:lnTo>
                  <a:close/>
                  <a:moveTo>
                    <a:pt x="522" y="1158"/>
                  </a:moveTo>
                  <a:lnTo>
                    <a:pt x="524" y="1158"/>
                  </a:lnTo>
                  <a:lnTo>
                    <a:pt x="524" y="1158"/>
                  </a:lnTo>
                  <a:lnTo>
                    <a:pt x="524" y="1157"/>
                  </a:lnTo>
                  <a:lnTo>
                    <a:pt x="524" y="1155"/>
                  </a:lnTo>
                  <a:lnTo>
                    <a:pt x="524" y="1154"/>
                  </a:lnTo>
                  <a:lnTo>
                    <a:pt x="524" y="1152"/>
                  </a:lnTo>
                  <a:lnTo>
                    <a:pt x="524" y="1151"/>
                  </a:lnTo>
                  <a:lnTo>
                    <a:pt x="522" y="1151"/>
                  </a:lnTo>
                  <a:lnTo>
                    <a:pt x="521" y="1152"/>
                  </a:lnTo>
                  <a:lnTo>
                    <a:pt x="519" y="1152"/>
                  </a:lnTo>
                  <a:lnTo>
                    <a:pt x="519" y="1151"/>
                  </a:lnTo>
                  <a:lnTo>
                    <a:pt x="518" y="1151"/>
                  </a:lnTo>
                  <a:lnTo>
                    <a:pt x="516" y="1151"/>
                  </a:lnTo>
                  <a:lnTo>
                    <a:pt x="515" y="1152"/>
                  </a:lnTo>
                  <a:lnTo>
                    <a:pt x="515" y="1154"/>
                  </a:lnTo>
                  <a:lnTo>
                    <a:pt x="513" y="1155"/>
                  </a:lnTo>
                  <a:lnTo>
                    <a:pt x="513" y="1158"/>
                  </a:lnTo>
                  <a:lnTo>
                    <a:pt x="515" y="1161"/>
                  </a:lnTo>
                  <a:lnTo>
                    <a:pt x="518" y="1163"/>
                  </a:lnTo>
                  <a:lnTo>
                    <a:pt x="522" y="1161"/>
                  </a:lnTo>
                  <a:lnTo>
                    <a:pt x="522" y="1160"/>
                  </a:lnTo>
                  <a:lnTo>
                    <a:pt x="522" y="1160"/>
                  </a:lnTo>
                  <a:lnTo>
                    <a:pt x="521" y="1158"/>
                  </a:lnTo>
                  <a:lnTo>
                    <a:pt x="521" y="1158"/>
                  </a:lnTo>
                  <a:lnTo>
                    <a:pt x="522" y="1158"/>
                  </a:lnTo>
                  <a:close/>
                  <a:moveTo>
                    <a:pt x="726" y="998"/>
                  </a:moveTo>
                  <a:lnTo>
                    <a:pt x="723" y="1003"/>
                  </a:lnTo>
                  <a:lnTo>
                    <a:pt x="723" y="1004"/>
                  </a:lnTo>
                  <a:lnTo>
                    <a:pt x="724" y="1004"/>
                  </a:lnTo>
                  <a:lnTo>
                    <a:pt x="726" y="1003"/>
                  </a:lnTo>
                  <a:lnTo>
                    <a:pt x="726" y="1001"/>
                  </a:lnTo>
                  <a:lnTo>
                    <a:pt x="726" y="1000"/>
                  </a:lnTo>
                  <a:lnTo>
                    <a:pt x="726" y="998"/>
                  </a:lnTo>
                  <a:lnTo>
                    <a:pt x="726" y="998"/>
                  </a:lnTo>
                  <a:close/>
                  <a:moveTo>
                    <a:pt x="730" y="984"/>
                  </a:moveTo>
                  <a:lnTo>
                    <a:pt x="729" y="984"/>
                  </a:lnTo>
                  <a:lnTo>
                    <a:pt x="729" y="986"/>
                  </a:lnTo>
                  <a:lnTo>
                    <a:pt x="727" y="986"/>
                  </a:lnTo>
                  <a:lnTo>
                    <a:pt x="727" y="987"/>
                  </a:lnTo>
                  <a:lnTo>
                    <a:pt x="726" y="995"/>
                  </a:lnTo>
                  <a:lnTo>
                    <a:pt x="726" y="997"/>
                  </a:lnTo>
                  <a:lnTo>
                    <a:pt x="727" y="997"/>
                  </a:lnTo>
                  <a:lnTo>
                    <a:pt x="727" y="997"/>
                  </a:lnTo>
                  <a:lnTo>
                    <a:pt x="729" y="997"/>
                  </a:lnTo>
                  <a:lnTo>
                    <a:pt x="729" y="995"/>
                  </a:lnTo>
                  <a:lnTo>
                    <a:pt x="730" y="994"/>
                  </a:lnTo>
                  <a:lnTo>
                    <a:pt x="730" y="992"/>
                  </a:lnTo>
                  <a:lnTo>
                    <a:pt x="732" y="990"/>
                  </a:lnTo>
                  <a:lnTo>
                    <a:pt x="732" y="989"/>
                  </a:lnTo>
                  <a:lnTo>
                    <a:pt x="730" y="987"/>
                  </a:lnTo>
                  <a:lnTo>
                    <a:pt x="732" y="986"/>
                  </a:lnTo>
                  <a:lnTo>
                    <a:pt x="732" y="984"/>
                  </a:lnTo>
                  <a:lnTo>
                    <a:pt x="732" y="984"/>
                  </a:lnTo>
                  <a:lnTo>
                    <a:pt x="732" y="983"/>
                  </a:lnTo>
                  <a:lnTo>
                    <a:pt x="732" y="983"/>
                  </a:lnTo>
                  <a:lnTo>
                    <a:pt x="732" y="983"/>
                  </a:lnTo>
                  <a:lnTo>
                    <a:pt x="732" y="981"/>
                  </a:lnTo>
                  <a:lnTo>
                    <a:pt x="732" y="983"/>
                  </a:lnTo>
                  <a:lnTo>
                    <a:pt x="730" y="984"/>
                  </a:lnTo>
                  <a:close/>
                  <a:moveTo>
                    <a:pt x="730" y="983"/>
                  </a:moveTo>
                  <a:lnTo>
                    <a:pt x="729" y="978"/>
                  </a:lnTo>
                  <a:lnTo>
                    <a:pt x="726" y="978"/>
                  </a:lnTo>
                  <a:lnTo>
                    <a:pt x="724" y="983"/>
                  </a:lnTo>
                  <a:lnTo>
                    <a:pt x="726" y="983"/>
                  </a:lnTo>
                  <a:lnTo>
                    <a:pt x="726" y="983"/>
                  </a:lnTo>
                  <a:lnTo>
                    <a:pt x="727" y="983"/>
                  </a:lnTo>
                  <a:lnTo>
                    <a:pt x="727" y="984"/>
                  </a:lnTo>
                  <a:lnTo>
                    <a:pt x="727" y="986"/>
                  </a:lnTo>
                  <a:lnTo>
                    <a:pt x="730" y="983"/>
                  </a:lnTo>
                  <a:close/>
                  <a:moveTo>
                    <a:pt x="840" y="690"/>
                  </a:moveTo>
                  <a:lnTo>
                    <a:pt x="838" y="690"/>
                  </a:lnTo>
                  <a:lnTo>
                    <a:pt x="837" y="692"/>
                  </a:lnTo>
                  <a:lnTo>
                    <a:pt x="835" y="693"/>
                  </a:lnTo>
                  <a:lnTo>
                    <a:pt x="835" y="692"/>
                  </a:lnTo>
                  <a:lnTo>
                    <a:pt x="834" y="690"/>
                  </a:lnTo>
                  <a:lnTo>
                    <a:pt x="834" y="690"/>
                  </a:lnTo>
                  <a:lnTo>
                    <a:pt x="832" y="690"/>
                  </a:lnTo>
                  <a:lnTo>
                    <a:pt x="832" y="693"/>
                  </a:lnTo>
                  <a:lnTo>
                    <a:pt x="832" y="695"/>
                  </a:lnTo>
                  <a:lnTo>
                    <a:pt x="832" y="695"/>
                  </a:lnTo>
                  <a:lnTo>
                    <a:pt x="838" y="695"/>
                  </a:lnTo>
                  <a:lnTo>
                    <a:pt x="840" y="695"/>
                  </a:lnTo>
                  <a:lnTo>
                    <a:pt x="841" y="693"/>
                  </a:lnTo>
                  <a:lnTo>
                    <a:pt x="841" y="692"/>
                  </a:lnTo>
                  <a:lnTo>
                    <a:pt x="841" y="690"/>
                  </a:lnTo>
                  <a:lnTo>
                    <a:pt x="840" y="690"/>
                  </a:lnTo>
                  <a:close/>
                  <a:moveTo>
                    <a:pt x="827" y="693"/>
                  </a:moveTo>
                  <a:lnTo>
                    <a:pt x="827" y="693"/>
                  </a:lnTo>
                  <a:lnTo>
                    <a:pt x="826" y="692"/>
                  </a:lnTo>
                  <a:lnTo>
                    <a:pt x="826" y="690"/>
                  </a:lnTo>
                  <a:lnTo>
                    <a:pt x="826" y="690"/>
                  </a:lnTo>
                  <a:lnTo>
                    <a:pt x="826" y="689"/>
                  </a:lnTo>
                  <a:lnTo>
                    <a:pt x="823" y="687"/>
                  </a:lnTo>
                  <a:lnTo>
                    <a:pt x="823" y="687"/>
                  </a:lnTo>
                  <a:lnTo>
                    <a:pt x="821" y="689"/>
                  </a:lnTo>
                  <a:lnTo>
                    <a:pt x="821" y="690"/>
                  </a:lnTo>
                  <a:lnTo>
                    <a:pt x="821" y="690"/>
                  </a:lnTo>
                  <a:lnTo>
                    <a:pt x="821" y="692"/>
                  </a:lnTo>
                  <a:lnTo>
                    <a:pt x="821" y="695"/>
                  </a:lnTo>
                  <a:lnTo>
                    <a:pt x="821" y="695"/>
                  </a:lnTo>
                  <a:lnTo>
                    <a:pt x="826" y="696"/>
                  </a:lnTo>
                  <a:lnTo>
                    <a:pt x="826" y="696"/>
                  </a:lnTo>
                  <a:lnTo>
                    <a:pt x="827" y="696"/>
                  </a:lnTo>
                  <a:lnTo>
                    <a:pt x="827" y="696"/>
                  </a:lnTo>
                  <a:lnTo>
                    <a:pt x="827" y="696"/>
                  </a:lnTo>
                  <a:lnTo>
                    <a:pt x="827" y="695"/>
                  </a:lnTo>
                  <a:lnTo>
                    <a:pt x="827" y="693"/>
                  </a:lnTo>
                  <a:close/>
                  <a:moveTo>
                    <a:pt x="855" y="678"/>
                  </a:moveTo>
                  <a:lnTo>
                    <a:pt x="854" y="678"/>
                  </a:lnTo>
                  <a:lnTo>
                    <a:pt x="854" y="676"/>
                  </a:lnTo>
                  <a:lnTo>
                    <a:pt x="852" y="675"/>
                  </a:lnTo>
                  <a:lnTo>
                    <a:pt x="852" y="676"/>
                  </a:lnTo>
                  <a:lnTo>
                    <a:pt x="852" y="679"/>
                  </a:lnTo>
                  <a:lnTo>
                    <a:pt x="854" y="681"/>
                  </a:lnTo>
                  <a:lnTo>
                    <a:pt x="855" y="681"/>
                  </a:lnTo>
                  <a:lnTo>
                    <a:pt x="857" y="681"/>
                  </a:lnTo>
                  <a:lnTo>
                    <a:pt x="857" y="679"/>
                  </a:lnTo>
                  <a:lnTo>
                    <a:pt x="857" y="678"/>
                  </a:lnTo>
                  <a:lnTo>
                    <a:pt x="855" y="678"/>
                  </a:lnTo>
                  <a:close/>
                  <a:moveTo>
                    <a:pt x="832" y="686"/>
                  </a:moveTo>
                  <a:lnTo>
                    <a:pt x="830" y="684"/>
                  </a:lnTo>
                  <a:lnTo>
                    <a:pt x="830" y="682"/>
                  </a:lnTo>
                  <a:lnTo>
                    <a:pt x="830" y="682"/>
                  </a:lnTo>
                  <a:lnTo>
                    <a:pt x="830" y="682"/>
                  </a:lnTo>
                  <a:lnTo>
                    <a:pt x="830" y="681"/>
                  </a:lnTo>
                  <a:lnTo>
                    <a:pt x="832" y="679"/>
                  </a:lnTo>
                  <a:lnTo>
                    <a:pt x="832" y="681"/>
                  </a:lnTo>
                  <a:lnTo>
                    <a:pt x="834" y="681"/>
                  </a:lnTo>
                  <a:lnTo>
                    <a:pt x="835" y="682"/>
                  </a:lnTo>
                  <a:lnTo>
                    <a:pt x="835" y="684"/>
                  </a:lnTo>
                  <a:lnTo>
                    <a:pt x="837" y="684"/>
                  </a:lnTo>
                  <a:lnTo>
                    <a:pt x="837" y="684"/>
                  </a:lnTo>
                  <a:lnTo>
                    <a:pt x="837" y="681"/>
                  </a:lnTo>
                  <a:lnTo>
                    <a:pt x="835" y="679"/>
                  </a:lnTo>
                  <a:lnTo>
                    <a:pt x="835" y="679"/>
                  </a:lnTo>
                  <a:lnTo>
                    <a:pt x="834" y="678"/>
                  </a:lnTo>
                  <a:lnTo>
                    <a:pt x="834" y="678"/>
                  </a:lnTo>
                  <a:lnTo>
                    <a:pt x="834" y="678"/>
                  </a:lnTo>
                  <a:lnTo>
                    <a:pt x="827" y="675"/>
                  </a:lnTo>
                  <a:lnTo>
                    <a:pt x="826" y="675"/>
                  </a:lnTo>
                  <a:lnTo>
                    <a:pt x="826" y="675"/>
                  </a:lnTo>
                  <a:lnTo>
                    <a:pt x="824" y="676"/>
                  </a:lnTo>
                  <a:lnTo>
                    <a:pt x="824" y="678"/>
                  </a:lnTo>
                  <a:lnTo>
                    <a:pt x="827" y="681"/>
                  </a:lnTo>
                  <a:lnTo>
                    <a:pt x="830" y="686"/>
                  </a:lnTo>
                  <a:lnTo>
                    <a:pt x="832" y="686"/>
                  </a:lnTo>
                  <a:lnTo>
                    <a:pt x="832" y="686"/>
                  </a:lnTo>
                  <a:lnTo>
                    <a:pt x="832" y="686"/>
                  </a:lnTo>
                  <a:close/>
                  <a:moveTo>
                    <a:pt x="854" y="667"/>
                  </a:moveTo>
                  <a:lnTo>
                    <a:pt x="852" y="669"/>
                  </a:lnTo>
                  <a:lnTo>
                    <a:pt x="850" y="667"/>
                  </a:lnTo>
                  <a:lnTo>
                    <a:pt x="850" y="667"/>
                  </a:lnTo>
                  <a:lnTo>
                    <a:pt x="850" y="669"/>
                  </a:lnTo>
                  <a:lnTo>
                    <a:pt x="850" y="670"/>
                  </a:lnTo>
                  <a:lnTo>
                    <a:pt x="850" y="672"/>
                  </a:lnTo>
                  <a:lnTo>
                    <a:pt x="854" y="673"/>
                  </a:lnTo>
                  <a:lnTo>
                    <a:pt x="854" y="673"/>
                  </a:lnTo>
                  <a:lnTo>
                    <a:pt x="854" y="672"/>
                  </a:lnTo>
                  <a:lnTo>
                    <a:pt x="854" y="672"/>
                  </a:lnTo>
                  <a:lnTo>
                    <a:pt x="854" y="672"/>
                  </a:lnTo>
                  <a:lnTo>
                    <a:pt x="855" y="673"/>
                  </a:lnTo>
                  <a:lnTo>
                    <a:pt x="855" y="672"/>
                  </a:lnTo>
                  <a:lnTo>
                    <a:pt x="857" y="670"/>
                  </a:lnTo>
                  <a:lnTo>
                    <a:pt x="857" y="670"/>
                  </a:lnTo>
                  <a:lnTo>
                    <a:pt x="857" y="669"/>
                  </a:lnTo>
                  <a:lnTo>
                    <a:pt x="858" y="669"/>
                  </a:lnTo>
                  <a:lnTo>
                    <a:pt x="858" y="667"/>
                  </a:lnTo>
                  <a:lnTo>
                    <a:pt x="857" y="666"/>
                  </a:lnTo>
                  <a:lnTo>
                    <a:pt x="854" y="667"/>
                  </a:lnTo>
                  <a:close/>
                  <a:moveTo>
                    <a:pt x="855" y="666"/>
                  </a:moveTo>
                  <a:lnTo>
                    <a:pt x="855" y="664"/>
                  </a:lnTo>
                  <a:lnTo>
                    <a:pt x="855" y="662"/>
                  </a:lnTo>
                  <a:lnTo>
                    <a:pt x="854" y="662"/>
                  </a:lnTo>
                  <a:lnTo>
                    <a:pt x="852" y="664"/>
                  </a:lnTo>
                  <a:lnTo>
                    <a:pt x="852" y="664"/>
                  </a:lnTo>
                  <a:lnTo>
                    <a:pt x="854" y="666"/>
                  </a:lnTo>
                  <a:lnTo>
                    <a:pt x="855" y="666"/>
                  </a:lnTo>
                  <a:close/>
                  <a:moveTo>
                    <a:pt x="883" y="644"/>
                  </a:moveTo>
                  <a:lnTo>
                    <a:pt x="881" y="642"/>
                  </a:lnTo>
                  <a:lnTo>
                    <a:pt x="881" y="642"/>
                  </a:lnTo>
                  <a:lnTo>
                    <a:pt x="881" y="642"/>
                  </a:lnTo>
                  <a:lnTo>
                    <a:pt x="881" y="641"/>
                  </a:lnTo>
                  <a:lnTo>
                    <a:pt x="880" y="639"/>
                  </a:lnTo>
                  <a:lnTo>
                    <a:pt x="878" y="639"/>
                  </a:lnTo>
                  <a:lnTo>
                    <a:pt x="877" y="639"/>
                  </a:lnTo>
                  <a:lnTo>
                    <a:pt x="877" y="642"/>
                  </a:lnTo>
                  <a:lnTo>
                    <a:pt x="877" y="645"/>
                  </a:lnTo>
                  <a:lnTo>
                    <a:pt x="880" y="649"/>
                  </a:lnTo>
                  <a:lnTo>
                    <a:pt x="881" y="652"/>
                  </a:lnTo>
                  <a:lnTo>
                    <a:pt x="883" y="652"/>
                  </a:lnTo>
                  <a:lnTo>
                    <a:pt x="883" y="650"/>
                  </a:lnTo>
                  <a:lnTo>
                    <a:pt x="881" y="649"/>
                  </a:lnTo>
                  <a:lnTo>
                    <a:pt x="883" y="647"/>
                  </a:lnTo>
                  <a:lnTo>
                    <a:pt x="883" y="647"/>
                  </a:lnTo>
                  <a:lnTo>
                    <a:pt x="884" y="647"/>
                  </a:lnTo>
                  <a:lnTo>
                    <a:pt x="884" y="647"/>
                  </a:lnTo>
                  <a:lnTo>
                    <a:pt x="883" y="644"/>
                  </a:lnTo>
                  <a:lnTo>
                    <a:pt x="883" y="644"/>
                  </a:lnTo>
                  <a:close/>
                  <a:moveTo>
                    <a:pt x="944" y="636"/>
                  </a:moveTo>
                  <a:lnTo>
                    <a:pt x="944" y="636"/>
                  </a:lnTo>
                  <a:lnTo>
                    <a:pt x="944" y="638"/>
                  </a:lnTo>
                  <a:lnTo>
                    <a:pt x="943" y="638"/>
                  </a:lnTo>
                  <a:lnTo>
                    <a:pt x="943" y="638"/>
                  </a:lnTo>
                  <a:lnTo>
                    <a:pt x="943" y="638"/>
                  </a:lnTo>
                  <a:lnTo>
                    <a:pt x="941" y="638"/>
                  </a:lnTo>
                  <a:lnTo>
                    <a:pt x="941" y="639"/>
                  </a:lnTo>
                  <a:lnTo>
                    <a:pt x="940" y="639"/>
                  </a:lnTo>
                  <a:lnTo>
                    <a:pt x="940" y="638"/>
                  </a:lnTo>
                  <a:lnTo>
                    <a:pt x="938" y="638"/>
                  </a:lnTo>
                  <a:lnTo>
                    <a:pt x="938" y="636"/>
                  </a:lnTo>
                  <a:lnTo>
                    <a:pt x="938" y="639"/>
                  </a:lnTo>
                  <a:lnTo>
                    <a:pt x="937" y="639"/>
                  </a:lnTo>
                  <a:lnTo>
                    <a:pt x="937" y="639"/>
                  </a:lnTo>
                  <a:lnTo>
                    <a:pt x="937" y="638"/>
                  </a:lnTo>
                  <a:lnTo>
                    <a:pt x="935" y="639"/>
                  </a:lnTo>
                  <a:lnTo>
                    <a:pt x="935" y="642"/>
                  </a:lnTo>
                  <a:lnTo>
                    <a:pt x="937" y="645"/>
                  </a:lnTo>
                  <a:lnTo>
                    <a:pt x="940" y="647"/>
                  </a:lnTo>
                  <a:lnTo>
                    <a:pt x="943" y="644"/>
                  </a:lnTo>
                  <a:lnTo>
                    <a:pt x="943" y="642"/>
                  </a:lnTo>
                  <a:lnTo>
                    <a:pt x="943" y="642"/>
                  </a:lnTo>
                  <a:lnTo>
                    <a:pt x="943" y="642"/>
                  </a:lnTo>
                  <a:lnTo>
                    <a:pt x="944" y="641"/>
                  </a:lnTo>
                  <a:lnTo>
                    <a:pt x="944" y="639"/>
                  </a:lnTo>
                  <a:lnTo>
                    <a:pt x="944" y="638"/>
                  </a:lnTo>
                  <a:lnTo>
                    <a:pt x="944" y="638"/>
                  </a:lnTo>
                  <a:lnTo>
                    <a:pt x="944" y="636"/>
                  </a:lnTo>
                  <a:close/>
                  <a:moveTo>
                    <a:pt x="869" y="638"/>
                  </a:moveTo>
                  <a:lnTo>
                    <a:pt x="866" y="633"/>
                  </a:lnTo>
                  <a:lnTo>
                    <a:pt x="866" y="635"/>
                  </a:lnTo>
                  <a:lnTo>
                    <a:pt x="864" y="638"/>
                  </a:lnTo>
                  <a:lnTo>
                    <a:pt x="864" y="639"/>
                  </a:lnTo>
                  <a:lnTo>
                    <a:pt x="864" y="641"/>
                  </a:lnTo>
                  <a:lnTo>
                    <a:pt x="864" y="642"/>
                  </a:lnTo>
                  <a:lnTo>
                    <a:pt x="864" y="642"/>
                  </a:lnTo>
                  <a:lnTo>
                    <a:pt x="866" y="644"/>
                  </a:lnTo>
                  <a:lnTo>
                    <a:pt x="867" y="645"/>
                  </a:lnTo>
                  <a:lnTo>
                    <a:pt x="871" y="645"/>
                  </a:lnTo>
                  <a:lnTo>
                    <a:pt x="871" y="644"/>
                  </a:lnTo>
                  <a:lnTo>
                    <a:pt x="871" y="639"/>
                  </a:lnTo>
                  <a:lnTo>
                    <a:pt x="869" y="638"/>
                  </a:lnTo>
                  <a:close/>
                  <a:moveTo>
                    <a:pt x="969" y="616"/>
                  </a:moveTo>
                  <a:lnTo>
                    <a:pt x="968" y="609"/>
                  </a:lnTo>
                  <a:lnTo>
                    <a:pt x="964" y="605"/>
                  </a:lnTo>
                  <a:lnTo>
                    <a:pt x="963" y="601"/>
                  </a:lnTo>
                  <a:lnTo>
                    <a:pt x="963" y="598"/>
                  </a:lnTo>
                  <a:lnTo>
                    <a:pt x="963" y="595"/>
                  </a:lnTo>
                  <a:lnTo>
                    <a:pt x="961" y="585"/>
                  </a:lnTo>
                  <a:lnTo>
                    <a:pt x="961" y="582"/>
                  </a:lnTo>
                  <a:lnTo>
                    <a:pt x="960" y="582"/>
                  </a:lnTo>
                  <a:lnTo>
                    <a:pt x="958" y="579"/>
                  </a:lnTo>
                  <a:lnTo>
                    <a:pt x="957" y="578"/>
                  </a:lnTo>
                  <a:lnTo>
                    <a:pt x="957" y="576"/>
                  </a:lnTo>
                  <a:lnTo>
                    <a:pt x="952" y="564"/>
                  </a:lnTo>
                  <a:lnTo>
                    <a:pt x="951" y="562"/>
                  </a:lnTo>
                  <a:lnTo>
                    <a:pt x="943" y="559"/>
                  </a:lnTo>
                  <a:lnTo>
                    <a:pt x="941" y="558"/>
                  </a:lnTo>
                  <a:lnTo>
                    <a:pt x="938" y="555"/>
                  </a:lnTo>
                  <a:lnTo>
                    <a:pt x="937" y="544"/>
                  </a:lnTo>
                  <a:lnTo>
                    <a:pt x="935" y="539"/>
                  </a:lnTo>
                  <a:lnTo>
                    <a:pt x="935" y="536"/>
                  </a:lnTo>
                  <a:lnTo>
                    <a:pt x="934" y="533"/>
                  </a:lnTo>
                  <a:lnTo>
                    <a:pt x="934" y="532"/>
                  </a:lnTo>
                  <a:lnTo>
                    <a:pt x="935" y="530"/>
                  </a:lnTo>
                  <a:lnTo>
                    <a:pt x="935" y="527"/>
                  </a:lnTo>
                  <a:lnTo>
                    <a:pt x="935" y="525"/>
                  </a:lnTo>
                  <a:lnTo>
                    <a:pt x="935" y="521"/>
                  </a:lnTo>
                  <a:lnTo>
                    <a:pt x="935" y="519"/>
                  </a:lnTo>
                  <a:lnTo>
                    <a:pt x="935" y="518"/>
                  </a:lnTo>
                  <a:lnTo>
                    <a:pt x="934" y="513"/>
                  </a:lnTo>
                  <a:lnTo>
                    <a:pt x="932" y="512"/>
                  </a:lnTo>
                  <a:lnTo>
                    <a:pt x="934" y="507"/>
                  </a:lnTo>
                  <a:lnTo>
                    <a:pt x="935" y="504"/>
                  </a:lnTo>
                  <a:lnTo>
                    <a:pt x="938" y="502"/>
                  </a:lnTo>
                  <a:lnTo>
                    <a:pt x="940" y="502"/>
                  </a:lnTo>
                  <a:lnTo>
                    <a:pt x="940" y="499"/>
                  </a:lnTo>
                  <a:lnTo>
                    <a:pt x="941" y="498"/>
                  </a:lnTo>
                  <a:lnTo>
                    <a:pt x="943" y="496"/>
                  </a:lnTo>
                  <a:lnTo>
                    <a:pt x="944" y="495"/>
                  </a:lnTo>
                  <a:lnTo>
                    <a:pt x="944" y="492"/>
                  </a:lnTo>
                  <a:lnTo>
                    <a:pt x="949" y="490"/>
                  </a:lnTo>
                  <a:lnTo>
                    <a:pt x="951" y="488"/>
                  </a:lnTo>
                  <a:lnTo>
                    <a:pt x="951" y="485"/>
                  </a:lnTo>
                  <a:lnTo>
                    <a:pt x="952" y="482"/>
                  </a:lnTo>
                  <a:lnTo>
                    <a:pt x="951" y="478"/>
                  </a:lnTo>
                  <a:lnTo>
                    <a:pt x="951" y="475"/>
                  </a:lnTo>
                  <a:lnTo>
                    <a:pt x="951" y="471"/>
                  </a:lnTo>
                  <a:lnTo>
                    <a:pt x="952" y="468"/>
                  </a:lnTo>
                  <a:lnTo>
                    <a:pt x="952" y="465"/>
                  </a:lnTo>
                  <a:lnTo>
                    <a:pt x="952" y="461"/>
                  </a:lnTo>
                  <a:lnTo>
                    <a:pt x="951" y="455"/>
                  </a:lnTo>
                  <a:lnTo>
                    <a:pt x="952" y="453"/>
                  </a:lnTo>
                  <a:lnTo>
                    <a:pt x="954" y="448"/>
                  </a:lnTo>
                  <a:lnTo>
                    <a:pt x="955" y="445"/>
                  </a:lnTo>
                  <a:lnTo>
                    <a:pt x="957" y="444"/>
                  </a:lnTo>
                  <a:lnTo>
                    <a:pt x="958" y="445"/>
                  </a:lnTo>
                  <a:lnTo>
                    <a:pt x="960" y="444"/>
                  </a:lnTo>
                  <a:lnTo>
                    <a:pt x="960" y="442"/>
                  </a:lnTo>
                  <a:lnTo>
                    <a:pt x="960" y="441"/>
                  </a:lnTo>
                  <a:lnTo>
                    <a:pt x="957" y="431"/>
                  </a:lnTo>
                  <a:lnTo>
                    <a:pt x="954" y="427"/>
                  </a:lnTo>
                  <a:lnTo>
                    <a:pt x="952" y="424"/>
                  </a:lnTo>
                  <a:lnTo>
                    <a:pt x="951" y="419"/>
                  </a:lnTo>
                  <a:lnTo>
                    <a:pt x="946" y="410"/>
                  </a:lnTo>
                  <a:lnTo>
                    <a:pt x="944" y="407"/>
                  </a:lnTo>
                  <a:lnTo>
                    <a:pt x="941" y="407"/>
                  </a:lnTo>
                  <a:lnTo>
                    <a:pt x="940" y="405"/>
                  </a:lnTo>
                  <a:lnTo>
                    <a:pt x="938" y="402"/>
                  </a:lnTo>
                  <a:lnTo>
                    <a:pt x="935" y="396"/>
                  </a:lnTo>
                  <a:lnTo>
                    <a:pt x="935" y="394"/>
                  </a:lnTo>
                  <a:lnTo>
                    <a:pt x="935" y="393"/>
                  </a:lnTo>
                  <a:lnTo>
                    <a:pt x="935" y="391"/>
                  </a:lnTo>
                  <a:lnTo>
                    <a:pt x="935" y="388"/>
                  </a:lnTo>
                  <a:lnTo>
                    <a:pt x="935" y="387"/>
                  </a:lnTo>
                  <a:lnTo>
                    <a:pt x="934" y="385"/>
                  </a:lnTo>
                  <a:lnTo>
                    <a:pt x="934" y="385"/>
                  </a:lnTo>
                  <a:lnTo>
                    <a:pt x="931" y="381"/>
                  </a:lnTo>
                  <a:lnTo>
                    <a:pt x="929" y="379"/>
                  </a:lnTo>
                  <a:lnTo>
                    <a:pt x="927" y="376"/>
                  </a:lnTo>
                  <a:lnTo>
                    <a:pt x="927" y="373"/>
                  </a:lnTo>
                  <a:lnTo>
                    <a:pt x="929" y="371"/>
                  </a:lnTo>
                  <a:lnTo>
                    <a:pt x="929" y="368"/>
                  </a:lnTo>
                  <a:lnTo>
                    <a:pt x="931" y="367"/>
                  </a:lnTo>
                  <a:lnTo>
                    <a:pt x="931" y="364"/>
                  </a:lnTo>
                  <a:lnTo>
                    <a:pt x="929" y="364"/>
                  </a:lnTo>
                  <a:lnTo>
                    <a:pt x="929" y="362"/>
                  </a:lnTo>
                  <a:lnTo>
                    <a:pt x="929" y="359"/>
                  </a:lnTo>
                  <a:lnTo>
                    <a:pt x="931" y="356"/>
                  </a:lnTo>
                  <a:lnTo>
                    <a:pt x="931" y="354"/>
                  </a:lnTo>
                  <a:lnTo>
                    <a:pt x="940" y="350"/>
                  </a:lnTo>
                  <a:lnTo>
                    <a:pt x="941" y="347"/>
                  </a:lnTo>
                  <a:lnTo>
                    <a:pt x="943" y="341"/>
                  </a:lnTo>
                  <a:lnTo>
                    <a:pt x="941" y="339"/>
                  </a:lnTo>
                  <a:lnTo>
                    <a:pt x="941" y="334"/>
                  </a:lnTo>
                  <a:lnTo>
                    <a:pt x="941" y="330"/>
                  </a:lnTo>
                  <a:lnTo>
                    <a:pt x="941" y="325"/>
                  </a:lnTo>
                  <a:lnTo>
                    <a:pt x="941" y="324"/>
                  </a:lnTo>
                  <a:lnTo>
                    <a:pt x="940" y="322"/>
                  </a:lnTo>
                  <a:lnTo>
                    <a:pt x="934" y="322"/>
                  </a:lnTo>
                  <a:lnTo>
                    <a:pt x="929" y="317"/>
                  </a:lnTo>
                  <a:lnTo>
                    <a:pt x="926" y="319"/>
                  </a:lnTo>
                  <a:lnTo>
                    <a:pt x="923" y="321"/>
                  </a:lnTo>
                  <a:lnTo>
                    <a:pt x="920" y="321"/>
                  </a:lnTo>
                  <a:lnTo>
                    <a:pt x="918" y="317"/>
                  </a:lnTo>
                  <a:lnTo>
                    <a:pt x="917" y="311"/>
                  </a:lnTo>
                  <a:lnTo>
                    <a:pt x="918" y="308"/>
                  </a:lnTo>
                  <a:lnTo>
                    <a:pt x="920" y="305"/>
                  </a:lnTo>
                  <a:lnTo>
                    <a:pt x="921" y="301"/>
                  </a:lnTo>
                  <a:lnTo>
                    <a:pt x="920" y="299"/>
                  </a:lnTo>
                  <a:lnTo>
                    <a:pt x="923" y="296"/>
                  </a:lnTo>
                  <a:lnTo>
                    <a:pt x="924" y="294"/>
                  </a:lnTo>
                  <a:lnTo>
                    <a:pt x="926" y="293"/>
                  </a:lnTo>
                  <a:lnTo>
                    <a:pt x="926" y="288"/>
                  </a:lnTo>
                  <a:lnTo>
                    <a:pt x="926" y="285"/>
                  </a:lnTo>
                  <a:lnTo>
                    <a:pt x="923" y="279"/>
                  </a:lnTo>
                  <a:lnTo>
                    <a:pt x="923" y="276"/>
                  </a:lnTo>
                  <a:lnTo>
                    <a:pt x="923" y="268"/>
                  </a:lnTo>
                  <a:lnTo>
                    <a:pt x="921" y="265"/>
                  </a:lnTo>
                  <a:lnTo>
                    <a:pt x="921" y="264"/>
                  </a:lnTo>
                  <a:lnTo>
                    <a:pt x="921" y="251"/>
                  </a:lnTo>
                  <a:lnTo>
                    <a:pt x="921" y="247"/>
                  </a:lnTo>
                  <a:lnTo>
                    <a:pt x="920" y="242"/>
                  </a:lnTo>
                  <a:lnTo>
                    <a:pt x="921" y="237"/>
                  </a:lnTo>
                  <a:lnTo>
                    <a:pt x="921" y="234"/>
                  </a:lnTo>
                  <a:lnTo>
                    <a:pt x="924" y="233"/>
                  </a:lnTo>
                  <a:lnTo>
                    <a:pt x="931" y="230"/>
                  </a:lnTo>
                  <a:lnTo>
                    <a:pt x="932" y="228"/>
                  </a:lnTo>
                  <a:lnTo>
                    <a:pt x="934" y="224"/>
                  </a:lnTo>
                  <a:lnTo>
                    <a:pt x="934" y="220"/>
                  </a:lnTo>
                  <a:lnTo>
                    <a:pt x="932" y="219"/>
                  </a:lnTo>
                  <a:lnTo>
                    <a:pt x="927" y="216"/>
                  </a:lnTo>
                  <a:lnTo>
                    <a:pt x="921" y="208"/>
                  </a:lnTo>
                  <a:lnTo>
                    <a:pt x="918" y="207"/>
                  </a:lnTo>
                  <a:lnTo>
                    <a:pt x="914" y="200"/>
                  </a:lnTo>
                  <a:lnTo>
                    <a:pt x="912" y="199"/>
                  </a:lnTo>
                  <a:lnTo>
                    <a:pt x="912" y="197"/>
                  </a:lnTo>
                  <a:lnTo>
                    <a:pt x="909" y="185"/>
                  </a:lnTo>
                  <a:lnTo>
                    <a:pt x="909" y="184"/>
                  </a:lnTo>
                  <a:lnTo>
                    <a:pt x="907" y="182"/>
                  </a:lnTo>
                  <a:lnTo>
                    <a:pt x="906" y="182"/>
                  </a:lnTo>
                  <a:lnTo>
                    <a:pt x="898" y="187"/>
                  </a:lnTo>
                  <a:lnTo>
                    <a:pt x="897" y="187"/>
                  </a:lnTo>
                  <a:lnTo>
                    <a:pt x="897" y="185"/>
                  </a:lnTo>
                  <a:lnTo>
                    <a:pt x="897" y="185"/>
                  </a:lnTo>
                  <a:lnTo>
                    <a:pt x="897" y="185"/>
                  </a:lnTo>
                  <a:lnTo>
                    <a:pt x="897" y="184"/>
                  </a:lnTo>
                  <a:lnTo>
                    <a:pt x="897" y="182"/>
                  </a:lnTo>
                  <a:lnTo>
                    <a:pt x="897" y="180"/>
                  </a:lnTo>
                  <a:lnTo>
                    <a:pt x="897" y="176"/>
                  </a:lnTo>
                  <a:lnTo>
                    <a:pt x="897" y="174"/>
                  </a:lnTo>
                  <a:lnTo>
                    <a:pt x="897" y="173"/>
                  </a:lnTo>
                  <a:lnTo>
                    <a:pt x="897" y="168"/>
                  </a:lnTo>
                  <a:lnTo>
                    <a:pt x="895" y="164"/>
                  </a:lnTo>
                  <a:lnTo>
                    <a:pt x="892" y="160"/>
                  </a:lnTo>
                  <a:lnTo>
                    <a:pt x="891" y="157"/>
                  </a:lnTo>
                  <a:lnTo>
                    <a:pt x="891" y="156"/>
                  </a:lnTo>
                  <a:lnTo>
                    <a:pt x="891" y="154"/>
                  </a:lnTo>
                  <a:lnTo>
                    <a:pt x="891" y="153"/>
                  </a:lnTo>
                  <a:lnTo>
                    <a:pt x="889" y="151"/>
                  </a:lnTo>
                  <a:lnTo>
                    <a:pt x="878" y="143"/>
                  </a:lnTo>
                  <a:lnTo>
                    <a:pt x="875" y="140"/>
                  </a:lnTo>
                  <a:lnTo>
                    <a:pt x="872" y="134"/>
                  </a:lnTo>
                  <a:lnTo>
                    <a:pt x="871" y="131"/>
                  </a:lnTo>
                  <a:lnTo>
                    <a:pt x="866" y="134"/>
                  </a:lnTo>
                  <a:lnTo>
                    <a:pt x="864" y="131"/>
                  </a:lnTo>
                  <a:lnTo>
                    <a:pt x="861" y="128"/>
                  </a:lnTo>
                  <a:lnTo>
                    <a:pt x="860" y="125"/>
                  </a:lnTo>
                  <a:lnTo>
                    <a:pt x="858" y="125"/>
                  </a:lnTo>
                  <a:lnTo>
                    <a:pt x="857" y="127"/>
                  </a:lnTo>
                  <a:lnTo>
                    <a:pt x="855" y="127"/>
                  </a:lnTo>
                  <a:lnTo>
                    <a:pt x="852" y="123"/>
                  </a:lnTo>
                  <a:lnTo>
                    <a:pt x="849" y="123"/>
                  </a:lnTo>
                  <a:lnTo>
                    <a:pt x="844" y="120"/>
                  </a:lnTo>
                  <a:lnTo>
                    <a:pt x="838" y="120"/>
                  </a:lnTo>
                  <a:lnTo>
                    <a:pt x="838" y="119"/>
                  </a:lnTo>
                  <a:lnTo>
                    <a:pt x="838" y="117"/>
                  </a:lnTo>
                  <a:lnTo>
                    <a:pt x="838" y="117"/>
                  </a:lnTo>
                  <a:lnTo>
                    <a:pt x="834" y="116"/>
                  </a:lnTo>
                  <a:lnTo>
                    <a:pt x="817" y="116"/>
                  </a:lnTo>
                  <a:lnTo>
                    <a:pt x="814" y="113"/>
                  </a:lnTo>
                  <a:lnTo>
                    <a:pt x="814" y="113"/>
                  </a:lnTo>
                  <a:lnTo>
                    <a:pt x="814" y="111"/>
                  </a:lnTo>
                  <a:lnTo>
                    <a:pt x="814" y="110"/>
                  </a:lnTo>
                  <a:lnTo>
                    <a:pt x="812" y="108"/>
                  </a:lnTo>
                  <a:lnTo>
                    <a:pt x="812" y="108"/>
                  </a:lnTo>
                  <a:lnTo>
                    <a:pt x="812" y="108"/>
                  </a:lnTo>
                  <a:lnTo>
                    <a:pt x="810" y="105"/>
                  </a:lnTo>
                  <a:lnTo>
                    <a:pt x="809" y="102"/>
                  </a:lnTo>
                  <a:lnTo>
                    <a:pt x="807" y="100"/>
                  </a:lnTo>
                  <a:lnTo>
                    <a:pt x="804" y="97"/>
                  </a:lnTo>
                  <a:lnTo>
                    <a:pt x="790" y="93"/>
                  </a:lnTo>
                  <a:lnTo>
                    <a:pt x="789" y="87"/>
                  </a:lnTo>
                  <a:lnTo>
                    <a:pt x="786" y="83"/>
                  </a:lnTo>
                  <a:lnTo>
                    <a:pt x="778" y="77"/>
                  </a:lnTo>
                  <a:lnTo>
                    <a:pt x="773" y="74"/>
                  </a:lnTo>
                  <a:lnTo>
                    <a:pt x="770" y="73"/>
                  </a:lnTo>
                  <a:lnTo>
                    <a:pt x="770" y="71"/>
                  </a:lnTo>
                  <a:lnTo>
                    <a:pt x="767" y="65"/>
                  </a:lnTo>
                  <a:lnTo>
                    <a:pt x="767" y="62"/>
                  </a:lnTo>
                  <a:lnTo>
                    <a:pt x="766" y="60"/>
                  </a:lnTo>
                  <a:lnTo>
                    <a:pt x="764" y="59"/>
                  </a:lnTo>
                  <a:lnTo>
                    <a:pt x="760" y="59"/>
                  </a:lnTo>
                  <a:lnTo>
                    <a:pt x="758" y="59"/>
                  </a:lnTo>
                  <a:lnTo>
                    <a:pt x="758" y="57"/>
                  </a:lnTo>
                  <a:lnTo>
                    <a:pt x="758" y="56"/>
                  </a:lnTo>
                  <a:lnTo>
                    <a:pt x="758" y="56"/>
                  </a:lnTo>
                  <a:lnTo>
                    <a:pt x="757" y="54"/>
                  </a:lnTo>
                  <a:lnTo>
                    <a:pt x="752" y="46"/>
                  </a:lnTo>
                  <a:lnTo>
                    <a:pt x="747" y="40"/>
                  </a:lnTo>
                  <a:lnTo>
                    <a:pt x="741" y="36"/>
                  </a:lnTo>
                  <a:lnTo>
                    <a:pt x="729" y="30"/>
                  </a:lnTo>
                  <a:lnTo>
                    <a:pt x="727" y="28"/>
                  </a:lnTo>
                  <a:lnTo>
                    <a:pt x="727" y="23"/>
                  </a:lnTo>
                  <a:lnTo>
                    <a:pt x="730" y="22"/>
                  </a:lnTo>
                  <a:lnTo>
                    <a:pt x="732" y="19"/>
                  </a:lnTo>
                  <a:lnTo>
                    <a:pt x="732" y="14"/>
                  </a:lnTo>
                  <a:lnTo>
                    <a:pt x="729" y="13"/>
                  </a:lnTo>
                  <a:lnTo>
                    <a:pt x="726" y="11"/>
                  </a:lnTo>
                  <a:lnTo>
                    <a:pt x="721" y="6"/>
                  </a:lnTo>
                  <a:lnTo>
                    <a:pt x="712" y="5"/>
                  </a:lnTo>
                  <a:lnTo>
                    <a:pt x="707" y="0"/>
                  </a:lnTo>
                  <a:lnTo>
                    <a:pt x="689" y="2"/>
                  </a:lnTo>
                  <a:lnTo>
                    <a:pt x="669" y="3"/>
                  </a:lnTo>
                  <a:lnTo>
                    <a:pt x="687" y="26"/>
                  </a:lnTo>
                  <a:lnTo>
                    <a:pt x="687" y="30"/>
                  </a:lnTo>
                  <a:lnTo>
                    <a:pt x="689" y="48"/>
                  </a:lnTo>
                  <a:lnTo>
                    <a:pt x="687" y="53"/>
                  </a:lnTo>
                  <a:lnTo>
                    <a:pt x="687" y="56"/>
                  </a:lnTo>
                  <a:lnTo>
                    <a:pt x="680" y="79"/>
                  </a:lnTo>
                  <a:lnTo>
                    <a:pt x="673" y="90"/>
                  </a:lnTo>
                  <a:lnTo>
                    <a:pt x="660" y="102"/>
                  </a:lnTo>
                  <a:lnTo>
                    <a:pt x="680" y="116"/>
                  </a:lnTo>
                  <a:lnTo>
                    <a:pt x="663" y="139"/>
                  </a:lnTo>
                  <a:lnTo>
                    <a:pt x="660" y="140"/>
                  </a:lnTo>
                  <a:lnTo>
                    <a:pt x="656" y="140"/>
                  </a:lnTo>
                  <a:lnTo>
                    <a:pt x="623" y="127"/>
                  </a:lnTo>
                  <a:lnTo>
                    <a:pt x="590" y="110"/>
                  </a:lnTo>
                  <a:lnTo>
                    <a:pt x="566" y="111"/>
                  </a:lnTo>
                  <a:lnTo>
                    <a:pt x="561" y="111"/>
                  </a:lnTo>
                  <a:lnTo>
                    <a:pt x="549" y="97"/>
                  </a:lnTo>
                  <a:lnTo>
                    <a:pt x="546" y="96"/>
                  </a:lnTo>
                  <a:lnTo>
                    <a:pt x="527" y="103"/>
                  </a:lnTo>
                  <a:lnTo>
                    <a:pt x="526" y="103"/>
                  </a:lnTo>
                  <a:lnTo>
                    <a:pt x="524" y="105"/>
                  </a:lnTo>
                  <a:lnTo>
                    <a:pt x="524" y="107"/>
                  </a:lnTo>
                  <a:lnTo>
                    <a:pt x="522" y="125"/>
                  </a:lnTo>
                  <a:lnTo>
                    <a:pt x="522" y="131"/>
                  </a:lnTo>
                  <a:lnTo>
                    <a:pt x="527" y="171"/>
                  </a:lnTo>
                  <a:lnTo>
                    <a:pt x="526" y="179"/>
                  </a:lnTo>
                  <a:lnTo>
                    <a:pt x="512" y="208"/>
                  </a:lnTo>
                  <a:lnTo>
                    <a:pt x="509" y="213"/>
                  </a:lnTo>
                  <a:lnTo>
                    <a:pt x="507" y="216"/>
                  </a:lnTo>
                  <a:lnTo>
                    <a:pt x="505" y="217"/>
                  </a:lnTo>
                  <a:lnTo>
                    <a:pt x="484" y="204"/>
                  </a:lnTo>
                  <a:lnTo>
                    <a:pt x="462" y="190"/>
                  </a:lnTo>
                  <a:lnTo>
                    <a:pt x="461" y="191"/>
                  </a:lnTo>
                  <a:lnTo>
                    <a:pt x="455" y="204"/>
                  </a:lnTo>
                  <a:lnTo>
                    <a:pt x="424" y="228"/>
                  </a:lnTo>
                  <a:lnTo>
                    <a:pt x="422" y="231"/>
                  </a:lnTo>
                  <a:lnTo>
                    <a:pt x="421" y="236"/>
                  </a:lnTo>
                  <a:lnTo>
                    <a:pt x="408" y="281"/>
                  </a:lnTo>
                  <a:lnTo>
                    <a:pt x="407" y="285"/>
                  </a:lnTo>
                  <a:lnTo>
                    <a:pt x="399" y="297"/>
                  </a:lnTo>
                  <a:lnTo>
                    <a:pt x="396" y="302"/>
                  </a:lnTo>
                  <a:lnTo>
                    <a:pt x="392" y="305"/>
                  </a:lnTo>
                  <a:lnTo>
                    <a:pt x="379" y="308"/>
                  </a:lnTo>
                  <a:lnTo>
                    <a:pt x="378" y="310"/>
                  </a:lnTo>
                  <a:lnTo>
                    <a:pt x="373" y="324"/>
                  </a:lnTo>
                  <a:lnTo>
                    <a:pt x="396" y="367"/>
                  </a:lnTo>
                  <a:lnTo>
                    <a:pt x="396" y="370"/>
                  </a:lnTo>
                  <a:lnTo>
                    <a:pt x="395" y="396"/>
                  </a:lnTo>
                  <a:lnTo>
                    <a:pt x="393" y="399"/>
                  </a:lnTo>
                  <a:lnTo>
                    <a:pt x="392" y="401"/>
                  </a:lnTo>
                  <a:lnTo>
                    <a:pt x="387" y="404"/>
                  </a:lnTo>
                  <a:lnTo>
                    <a:pt x="373" y="418"/>
                  </a:lnTo>
                  <a:lnTo>
                    <a:pt x="367" y="427"/>
                  </a:lnTo>
                  <a:lnTo>
                    <a:pt x="339" y="481"/>
                  </a:lnTo>
                  <a:lnTo>
                    <a:pt x="321" y="501"/>
                  </a:lnTo>
                  <a:lnTo>
                    <a:pt x="321" y="507"/>
                  </a:lnTo>
                  <a:lnTo>
                    <a:pt x="325" y="527"/>
                  </a:lnTo>
                  <a:lnTo>
                    <a:pt x="325" y="528"/>
                  </a:lnTo>
                  <a:lnTo>
                    <a:pt x="325" y="535"/>
                  </a:lnTo>
                  <a:lnTo>
                    <a:pt x="325" y="539"/>
                  </a:lnTo>
                  <a:lnTo>
                    <a:pt x="325" y="541"/>
                  </a:lnTo>
                  <a:lnTo>
                    <a:pt x="293" y="564"/>
                  </a:lnTo>
                  <a:lnTo>
                    <a:pt x="274" y="567"/>
                  </a:lnTo>
                  <a:lnTo>
                    <a:pt x="254" y="568"/>
                  </a:lnTo>
                  <a:lnTo>
                    <a:pt x="262" y="621"/>
                  </a:lnTo>
                  <a:lnTo>
                    <a:pt x="264" y="629"/>
                  </a:lnTo>
                  <a:lnTo>
                    <a:pt x="262" y="632"/>
                  </a:lnTo>
                  <a:lnTo>
                    <a:pt x="258" y="644"/>
                  </a:lnTo>
                  <a:lnTo>
                    <a:pt x="256" y="645"/>
                  </a:lnTo>
                  <a:lnTo>
                    <a:pt x="253" y="689"/>
                  </a:lnTo>
                  <a:lnTo>
                    <a:pt x="253" y="698"/>
                  </a:lnTo>
                  <a:lnTo>
                    <a:pt x="253" y="707"/>
                  </a:lnTo>
                  <a:lnTo>
                    <a:pt x="253" y="715"/>
                  </a:lnTo>
                  <a:lnTo>
                    <a:pt x="251" y="719"/>
                  </a:lnTo>
                  <a:lnTo>
                    <a:pt x="245" y="726"/>
                  </a:lnTo>
                  <a:lnTo>
                    <a:pt x="244" y="729"/>
                  </a:lnTo>
                  <a:lnTo>
                    <a:pt x="242" y="733"/>
                  </a:lnTo>
                  <a:lnTo>
                    <a:pt x="241" y="750"/>
                  </a:lnTo>
                  <a:lnTo>
                    <a:pt x="239" y="750"/>
                  </a:lnTo>
                  <a:lnTo>
                    <a:pt x="239" y="752"/>
                  </a:lnTo>
                  <a:lnTo>
                    <a:pt x="237" y="756"/>
                  </a:lnTo>
                  <a:lnTo>
                    <a:pt x="228" y="773"/>
                  </a:lnTo>
                  <a:lnTo>
                    <a:pt x="228" y="773"/>
                  </a:lnTo>
                  <a:lnTo>
                    <a:pt x="208" y="809"/>
                  </a:lnTo>
                  <a:lnTo>
                    <a:pt x="188" y="844"/>
                  </a:lnTo>
                  <a:lnTo>
                    <a:pt x="210" y="860"/>
                  </a:lnTo>
                  <a:lnTo>
                    <a:pt x="213" y="861"/>
                  </a:lnTo>
                  <a:lnTo>
                    <a:pt x="219" y="863"/>
                  </a:lnTo>
                  <a:lnTo>
                    <a:pt x="222" y="864"/>
                  </a:lnTo>
                  <a:lnTo>
                    <a:pt x="224" y="869"/>
                  </a:lnTo>
                  <a:lnTo>
                    <a:pt x="227" y="909"/>
                  </a:lnTo>
                  <a:lnTo>
                    <a:pt x="227" y="912"/>
                  </a:lnTo>
                  <a:lnTo>
                    <a:pt x="225" y="915"/>
                  </a:lnTo>
                  <a:lnTo>
                    <a:pt x="213" y="941"/>
                  </a:lnTo>
                  <a:lnTo>
                    <a:pt x="213" y="943"/>
                  </a:lnTo>
                  <a:lnTo>
                    <a:pt x="210" y="943"/>
                  </a:lnTo>
                  <a:lnTo>
                    <a:pt x="184" y="935"/>
                  </a:lnTo>
                  <a:lnTo>
                    <a:pt x="157" y="929"/>
                  </a:lnTo>
                  <a:lnTo>
                    <a:pt x="139" y="933"/>
                  </a:lnTo>
                  <a:lnTo>
                    <a:pt x="122" y="946"/>
                  </a:lnTo>
                  <a:lnTo>
                    <a:pt x="117" y="952"/>
                  </a:lnTo>
                  <a:lnTo>
                    <a:pt x="102" y="977"/>
                  </a:lnTo>
                  <a:lnTo>
                    <a:pt x="88" y="1001"/>
                  </a:lnTo>
                  <a:lnTo>
                    <a:pt x="79" y="1012"/>
                  </a:lnTo>
                  <a:lnTo>
                    <a:pt x="82" y="1029"/>
                  </a:lnTo>
                  <a:lnTo>
                    <a:pt x="82" y="1032"/>
                  </a:lnTo>
                  <a:lnTo>
                    <a:pt x="82" y="1035"/>
                  </a:lnTo>
                  <a:lnTo>
                    <a:pt x="65" y="1063"/>
                  </a:lnTo>
                  <a:lnTo>
                    <a:pt x="71" y="1077"/>
                  </a:lnTo>
                  <a:lnTo>
                    <a:pt x="82" y="1111"/>
                  </a:lnTo>
                  <a:lnTo>
                    <a:pt x="74" y="1123"/>
                  </a:lnTo>
                  <a:lnTo>
                    <a:pt x="73" y="1126"/>
                  </a:lnTo>
                  <a:lnTo>
                    <a:pt x="73" y="1129"/>
                  </a:lnTo>
                  <a:lnTo>
                    <a:pt x="77" y="1154"/>
                  </a:lnTo>
                  <a:lnTo>
                    <a:pt x="77" y="1158"/>
                  </a:lnTo>
                  <a:lnTo>
                    <a:pt x="76" y="1161"/>
                  </a:lnTo>
                  <a:lnTo>
                    <a:pt x="74" y="1171"/>
                  </a:lnTo>
                  <a:lnTo>
                    <a:pt x="73" y="1175"/>
                  </a:lnTo>
                  <a:lnTo>
                    <a:pt x="73" y="1178"/>
                  </a:lnTo>
                  <a:lnTo>
                    <a:pt x="87" y="1217"/>
                  </a:lnTo>
                  <a:lnTo>
                    <a:pt x="88" y="1218"/>
                  </a:lnTo>
                  <a:lnTo>
                    <a:pt x="90" y="1226"/>
                  </a:lnTo>
                  <a:lnTo>
                    <a:pt x="90" y="1228"/>
                  </a:lnTo>
                  <a:lnTo>
                    <a:pt x="90" y="1234"/>
                  </a:lnTo>
                  <a:lnTo>
                    <a:pt x="83" y="1275"/>
                  </a:lnTo>
                  <a:lnTo>
                    <a:pt x="77" y="1315"/>
                  </a:lnTo>
                  <a:lnTo>
                    <a:pt x="79" y="1317"/>
                  </a:lnTo>
                  <a:lnTo>
                    <a:pt x="88" y="1326"/>
                  </a:lnTo>
                  <a:lnTo>
                    <a:pt x="91" y="1329"/>
                  </a:lnTo>
                  <a:lnTo>
                    <a:pt x="97" y="1337"/>
                  </a:lnTo>
                  <a:lnTo>
                    <a:pt x="99" y="1338"/>
                  </a:lnTo>
                  <a:lnTo>
                    <a:pt x="102" y="1338"/>
                  </a:lnTo>
                  <a:lnTo>
                    <a:pt x="107" y="1340"/>
                  </a:lnTo>
                  <a:lnTo>
                    <a:pt x="110" y="1340"/>
                  </a:lnTo>
                  <a:lnTo>
                    <a:pt x="111" y="1343"/>
                  </a:lnTo>
                  <a:lnTo>
                    <a:pt x="131" y="1369"/>
                  </a:lnTo>
                  <a:lnTo>
                    <a:pt x="133" y="1371"/>
                  </a:lnTo>
                  <a:lnTo>
                    <a:pt x="133" y="1374"/>
                  </a:lnTo>
                  <a:lnTo>
                    <a:pt x="130" y="1388"/>
                  </a:lnTo>
                  <a:lnTo>
                    <a:pt x="128" y="1392"/>
                  </a:lnTo>
                  <a:lnTo>
                    <a:pt x="127" y="1395"/>
                  </a:lnTo>
                  <a:lnTo>
                    <a:pt x="122" y="1405"/>
                  </a:lnTo>
                  <a:lnTo>
                    <a:pt x="120" y="1405"/>
                  </a:lnTo>
                  <a:lnTo>
                    <a:pt x="120" y="1408"/>
                  </a:lnTo>
                  <a:lnTo>
                    <a:pt x="119" y="1419"/>
                  </a:lnTo>
                  <a:lnTo>
                    <a:pt x="119" y="1419"/>
                  </a:lnTo>
                  <a:lnTo>
                    <a:pt x="119" y="1420"/>
                  </a:lnTo>
                  <a:lnTo>
                    <a:pt x="117" y="1422"/>
                  </a:lnTo>
                  <a:lnTo>
                    <a:pt x="108" y="1420"/>
                  </a:lnTo>
                  <a:lnTo>
                    <a:pt x="103" y="1420"/>
                  </a:lnTo>
                  <a:lnTo>
                    <a:pt x="87" y="1425"/>
                  </a:lnTo>
                  <a:lnTo>
                    <a:pt x="85" y="1426"/>
                  </a:lnTo>
                  <a:lnTo>
                    <a:pt x="85" y="1431"/>
                  </a:lnTo>
                  <a:lnTo>
                    <a:pt x="88" y="1437"/>
                  </a:lnTo>
                  <a:lnTo>
                    <a:pt x="90" y="1442"/>
                  </a:lnTo>
                  <a:lnTo>
                    <a:pt x="91" y="1454"/>
                  </a:lnTo>
                  <a:lnTo>
                    <a:pt x="93" y="1459"/>
                  </a:lnTo>
                  <a:lnTo>
                    <a:pt x="94" y="1465"/>
                  </a:lnTo>
                  <a:lnTo>
                    <a:pt x="102" y="1480"/>
                  </a:lnTo>
                  <a:lnTo>
                    <a:pt x="110" y="1502"/>
                  </a:lnTo>
                  <a:lnTo>
                    <a:pt x="111" y="1505"/>
                  </a:lnTo>
                  <a:lnTo>
                    <a:pt x="111" y="1509"/>
                  </a:lnTo>
                  <a:lnTo>
                    <a:pt x="111" y="1516"/>
                  </a:lnTo>
                  <a:lnTo>
                    <a:pt x="110" y="1519"/>
                  </a:lnTo>
                  <a:lnTo>
                    <a:pt x="110" y="1522"/>
                  </a:lnTo>
                  <a:lnTo>
                    <a:pt x="108" y="1525"/>
                  </a:lnTo>
                  <a:lnTo>
                    <a:pt x="103" y="1529"/>
                  </a:lnTo>
                  <a:lnTo>
                    <a:pt x="102" y="1531"/>
                  </a:lnTo>
                  <a:lnTo>
                    <a:pt x="102" y="1534"/>
                  </a:lnTo>
                  <a:lnTo>
                    <a:pt x="103" y="1539"/>
                  </a:lnTo>
                  <a:lnTo>
                    <a:pt x="105" y="1549"/>
                  </a:lnTo>
                  <a:lnTo>
                    <a:pt x="105" y="1554"/>
                  </a:lnTo>
                  <a:lnTo>
                    <a:pt x="103" y="1560"/>
                  </a:lnTo>
                  <a:lnTo>
                    <a:pt x="102" y="1566"/>
                  </a:lnTo>
                  <a:lnTo>
                    <a:pt x="99" y="1571"/>
                  </a:lnTo>
                  <a:lnTo>
                    <a:pt x="88" y="1585"/>
                  </a:lnTo>
                  <a:lnTo>
                    <a:pt x="77" y="1593"/>
                  </a:lnTo>
                  <a:lnTo>
                    <a:pt x="74" y="1594"/>
                  </a:lnTo>
                  <a:lnTo>
                    <a:pt x="62" y="1593"/>
                  </a:lnTo>
                  <a:lnTo>
                    <a:pt x="57" y="1594"/>
                  </a:lnTo>
                  <a:lnTo>
                    <a:pt x="57" y="1596"/>
                  </a:lnTo>
                  <a:lnTo>
                    <a:pt x="54" y="1597"/>
                  </a:lnTo>
                  <a:lnTo>
                    <a:pt x="54" y="1602"/>
                  </a:lnTo>
                  <a:lnTo>
                    <a:pt x="56" y="1605"/>
                  </a:lnTo>
                  <a:lnTo>
                    <a:pt x="57" y="1606"/>
                  </a:lnTo>
                  <a:lnTo>
                    <a:pt x="57" y="1608"/>
                  </a:lnTo>
                  <a:lnTo>
                    <a:pt x="59" y="1609"/>
                  </a:lnTo>
                  <a:lnTo>
                    <a:pt x="59" y="1613"/>
                  </a:lnTo>
                  <a:lnTo>
                    <a:pt x="59" y="1617"/>
                  </a:lnTo>
                  <a:lnTo>
                    <a:pt x="59" y="1620"/>
                  </a:lnTo>
                  <a:lnTo>
                    <a:pt x="57" y="1622"/>
                  </a:lnTo>
                  <a:lnTo>
                    <a:pt x="56" y="1626"/>
                  </a:lnTo>
                  <a:lnTo>
                    <a:pt x="53" y="1628"/>
                  </a:lnTo>
                  <a:lnTo>
                    <a:pt x="43" y="1634"/>
                  </a:lnTo>
                  <a:lnTo>
                    <a:pt x="42" y="1636"/>
                  </a:lnTo>
                  <a:lnTo>
                    <a:pt x="42" y="1640"/>
                  </a:lnTo>
                  <a:lnTo>
                    <a:pt x="42" y="1643"/>
                  </a:lnTo>
                  <a:lnTo>
                    <a:pt x="50" y="1673"/>
                  </a:lnTo>
                  <a:lnTo>
                    <a:pt x="51" y="1682"/>
                  </a:lnTo>
                  <a:lnTo>
                    <a:pt x="53" y="1685"/>
                  </a:lnTo>
                  <a:lnTo>
                    <a:pt x="53" y="1688"/>
                  </a:lnTo>
                  <a:lnTo>
                    <a:pt x="53" y="1688"/>
                  </a:lnTo>
                  <a:lnTo>
                    <a:pt x="51" y="1691"/>
                  </a:lnTo>
                  <a:lnTo>
                    <a:pt x="50" y="1693"/>
                  </a:lnTo>
                  <a:lnTo>
                    <a:pt x="50" y="1696"/>
                  </a:lnTo>
                  <a:lnTo>
                    <a:pt x="48" y="1705"/>
                  </a:lnTo>
                  <a:lnTo>
                    <a:pt x="47" y="1711"/>
                  </a:lnTo>
                  <a:lnTo>
                    <a:pt x="47" y="1716"/>
                  </a:lnTo>
                  <a:lnTo>
                    <a:pt x="45" y="1722"/>
                  </a:lnTo>
                  <a:lnTo>
                    <a:pt x="43" y="1725"/>
                  </a:lnTo>
                  <a:lnTo>
                    <a:pt x="43" y="1728"/>
                  </a:lnTo>
                  <a:lnTo>
                    <a:pt x="40" y="1736"/>
                  </a:lnTo>
                  <a:lnTo>
                    <a:pt x="37" y="1740"/>
                  </a:lnTo>
                  <a:lnTo>
                    <a:pt x="33" y="1742"/>
                  </a:lnTo>
                  <a:lnTo>
                    <a:pt x="28" y="1740"/>
                  </a:lnTo>
                  <a:lnTo>
                    <a:pt x="25" y="1739"/>
                  </a:lnTo>
                  <a:lnTo>
                    <a:pt x="25" y="1730"/>
                  </a:lnTo>
                  <a:lnTo>
                    <a:pt x="25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3" y="1726"/>
                  </a:lnTo>
                  <a:lnTo>
                    <a:pt x="22" y="1725"/>
                  </a:lnTo>
                  <a:lnTo>
                    <a:pt x="20" y="1722"/>
                  </a:lnTo>
                  <a:lnTo>
                    <a:pt x="20" y="1719"/>
                  </a:lnTo>
                  <a:lnTo>
                    <a:pt x="19" y="1716"/>
                  </a:lnTo>
                  <a:lnTo>
                    <a:pt x="17" y="1711"/>
                  </a:lnTo>
                  <a:lnTo>
                    <a:pt x="16" y="1710"/>
                  </a:lnTo>
                  <a:lnTo>
                    <a:pt x="8" y="1711"/>
                  </a:lnTo>
                  <a:lnTo>
                    <a:pt x="6" y="1713"/>
                  </a:lnTo>
                  <a:lnTo>
                    <a:pt x="2" y="1720"/>
                  </a:lnTo>
                  <a:lnTo>
                    <a:pt x="0" y="1722"/>
                  </a:lnTo>
                  <a:lnTo>
                    <a:pt x="0" y="1723"/>
                  </a:lnTo>
                  <a:lnTo>
                    <a:pt x="0" y="1725"/>
                  </a:lnTo>
                  <a:lnTo>
                    <a:pt x="2" y="1726"/>
                  </a:lnTo>
                  <a:lnTo>
                    <a:pt x="5" y="1726"/>
                  </a:lnTo>
                  <a:lnTo>
                    <a:pt x="2" y="1728"/>
                  </a:lnTo>
                  <a:lnTo>
                    <a:pt x="0" y="1730"/>
                  </a:lnTo>
                  <a:lnTo>
                    <a:pt x="0" y="1731"/>
                  </a:lnTo>
                  <a:lnTo>
                    <a:pt x="0" y="1733"/>
                  </a:lnTo>
                  <a:lnTo>
                    <a:pt x="2" y="1734"/>
                  </a:lnTo>
                  <a:lnTo>
                    <a:pt x="6" y="1736"/>
                  </a:lnTo>
                  <a:lnTo>
                    <a:pt x="6" y="1737"/>
                  </a:lnTo>
                  <a:lnTo>
                    <a:pt x="6" y="1737"/>
                  </a:lnTo>
                  <a:lnTo>
                    <a:pt x="6" y="1737"/>
                  </a:lnTo>
                  <a:lnTo>
                    <a:pt x="6" y="1739"/>
                  </a:lnTo>
                  <a:lnTo>
                    <a:pt x="6" y="1740"/>
                  </a:lnTo>
                  <a:lnTo>
                    <a:pt x="6" y="1743"/>
                  </a:lnTo>
                  <a:lnTo>
                    <a:pt x="6" y="1745"/>
                  </a:lnTo>
                  <a:lnTo>
                    <a:pt x="8" y="1747"/>
                  </a:lnTo>
                  <a:lnTo>
                    <a:pt x="8" y="1747"/>
                  </a:lnTo>
                  <a:lnTo>
                    <a:pt x="10" y="1747"/>
                  </a:lnTo>
                  <a:lnTo>
                    <a:pt x="10" y="1753"/>
                  </a:lnTo>
                  <a:lnTo>
                    <a:pt x="10" y="1753"/>
                  </a:lnTo>
                  <a:lnTo>
                    <a:pt x="8" y="1756"/>
                  </a:lnTo>
                  <a:lnTo>
                    <a:pt x="8" y="1756"/>
                  </a:lnTo>
                  <a:lnTo>
                    <a:pt x="6" y="1757"/>
                  </a:lnTo>
                  <a:lnTo>
                    <a:pt x="8" y="1759"/>
                  </a:lnTo>
                  <a:lnTo>
                    <a:pt x="5" y="1760"/>
                  </a:lnTo>
                  <a:lnTo>
                    <a:pt x="5" y="1762"/>
                  </a:lnTo>
                  <a:lnTo>
                    <a:pt x="5" y="1765"/>
                  </a:lnTo>
                  <a:lnTo>
                    <a:pt x="5" y="1767"/>
                  </a:lnTo>
                  <a:lnTo>
                    <a:pt x="8" y="1767"/>
                  </a:lnTo>
                  <a:lnTo>
                    <a:pt x="8" y="1767"/>
                  </a:lnTo>
                  <a:lnTo>
                    <a:pt x="8" y="1768"/>
                  </a:lnTo>
                  <a:lnTo>
                    <a:pt x="8" y="1771"/>
                  </a:lnTo>
                  <a:lnTo>
                    <a:pt x="10" y="1774"/>
                  </a:lnTo>
                  <a:lnTo>
                    <a:pt x="11" y="1777"/>
                  </a:lnTo>
                  <a:lnTo>
                    <a:pt x="11" y="1779"/>
                  </a:lnTo>
                  <a:lnTo>
                    <a:pt x="11" y="1780"/>
                  </a:lnTo>
                  <a:lnTo>
                    <a:pt x="11" y="1780"/>
                  </a:lnTo>
                  <a:lnTo>
                    <a:pt x="11" y="1782"/>
                  </a:lnTo>
                  <a:lnTo>
                    <a:pt x="11" y="1782"/>
                  </a:lnTo>
                  <a:lnTo>
                    <a:pt x="11" y="1783"/>
                  </a:lnTo>
                  <a:lnTo>
                    <a:pt x="11" y="1785"/>
                  </a:lnTo>
                  <a:lnTo>
                    <a:pt x="13" y="1785"/>
                  </a:lnTo>
                  <a:lnTo>
                    <a:pt x="13" y="1787"/>
                  </a:lnTo>
                  <a:lnTo>
                    <a:pt x="13" y="1787"/>
                  </a:lnTo>
                  <a:lnTo>
                    <a:pt x="11" y="1787"/>
                  </a:lnTo>
                  <a:lnTo>
                    <a:pt x="11" y="1788"/>
                  </a:lnTo>
                  <a:lnTo>
                    <a:pt x="11" y="1790"/>
                  </a:lnTo>
                  <a:lnTo>
                    <a:pt x="11" y="1794"/>
                  </a:lnTo>
                  <a:lnTo>
                    <a:pt x="10" y="1794"/>
                  </a:lnTo>
                  <a:lnTo>
                    <a:pt x="10" y="1794"/>
                  </a:lnTo>
                  <a:lnTo>
                    <a:pt x="10" y="1794"/>
                  </a:lnTo>
                  <a:lnTo>
                    <a:pt x="10" y="1796"/>
                  </a:lnTo>
                  <a:lnTo>
                    <a:pt x="10" y="1796"/>
                  </a:lnTo>
                  <a:lnTo>
                    <a:pt x="10" y="1797"/>
                  </a:lnTo>
                  <a:lnTo>
                    <a:pt x="11" y="1797"/>
                  </a:lnTo>
                  <a:lnTo>
                    <a:pt x="11" y="1799"/>
                  </a:lnTo>
                  <a:lnTo>
                    <a:pt x="14" y="1800"/>
                  </a:lnTo>
                  <a:lnTo>
                    <a:pt x="13" y="1802"/>
                  </a:lnTo>
                  <a:lnTo>
                    <a:pt x="11" y="1803"/>
                  </a:lnTo>
                  <a:lnTo>
                    <a:pt x="10" y="1805"/>
                  </a:lnTo>
                  <a:lnTo>
                    <a:pt x="11" y="1807"/>
                  </a:lnTo>
                  <a:lnTo>
                    <a:pt x="8" y="1807"/>
                  </a:lnTo>
                  <a:lnTo>
                    <a:pt x="6" y="1808"/>
                  </a:lnTo>
                  <a:lnTo>
                    <a:pt x="6" y="1810"/>
                  </a:lnTo>
                  <a:lnTo>
                    <a:pt x="8" y="1813"/>
                  </a:lnTo>
                  <a:lnTo>
                    <a:pt x="8" y="1814"/>
                  </a:lnTo>
                  <a:lnTo>
                    <a:pt x="8" y="1816"/>
                  </a:lnTo>
                  <a:lnTo>
                    <a:pt x="8" y="1817"/>
                  </a:lnTo>
                  <a:lnTo>
                    <a:pt x="8" y="1817"/>
                  </a:lnTo>
                  <a:lnTo>
                    <a:pt x="10" y="1819"/>
                  </a:lnTo>
                  <a:lnTo>
                    <a:pt x="11" y="1816"/>
                  </a:lnTo>
                  <a:lnTo>
                    <a:pt x="13" y="1816"/>
                  </a:lnTo>
                  <a:lnTo>
                    <a:pt x="14" y="1816"/>
                  </a:lnTo>
                  <a:lnTo>
                    <a:pt x="16" y="1814"/>
                  </a:lnTo>
                  <a:lnTo>
                    <a:pt x="17" y="1814"/>
                  </a:lnTo>
                  <a:lnTo>
                    <a:pt x="17" y="1813"/>
                  </a:lnTo>
                  <a:lnTo>
                    <a:pt x="17" y="1813"/>
                  </a:lnTo>
                  <a:lnTo>
                    <a:pt x="19" y="1811"/>
                  </a:lnTo>
                  <a:lnTo>
                    <a:pt x="19" y="1810"/>
                  </a:lnTo>
                  <a:lnTo>
                    <a:pt x="22" y="1807"/>
                  </a:lnTo>
                  <a:lnTo>
                    <a:pt x="23" y="1805"/>
                  </a:lnTo>
                  <a:lnTo>
                    <a:pt x="22" y="1807"/>
                  </a:lnTo>
                  <a:lnTo>
                    <a:pt x="22" y="1808"/>
                  </a:lnTo>
                  <a:lnTo>
                    <a:pt x="20" y="1811"/>
                  </a:lnTo>
                  <a:lnTo>
                    <a:pt x="17" y="1816"/>
                  </a:lnTo>
                  <a:lnTo>
                    <a:pt x="17" y="1817"/>
                  </a:lnTo>
                  <a:lnTo>
                    <a:pt x="17" y="1819"/>
                  </a:lnTo>
                  <a:lnTo>
                    <a:pt x="19" y="1817"/>
                  </a:lnTo>
                  <a:lnTo>
                    <a:pt x="20" y="1817"/>
                  </a:lnTo>
                  <a:lnTo>
                    <a:pt x="20" y="1816"/>
                  </a:lnTo>
                  <a:lnTo>
                    <a:pt x="22" y="1813"/>
                  </a:lnTo>
                  <a:lnTo>
                    <a:pt x="22" y="1813"/>
                  </a:lnTo>
                  <a:lnTo>
                    <a:pt x="23" y="1813"/>
                  </a:lnTo>
                  <a:lnTo>
                    <a:pt x="23" y="1816"/>
                  </a:lnTo>
                  <a:lnTo>
                    <a:pt x="25" y="1817"/>
                  </a:lnTo>
                  <a:lnTo>
                    <a:pt x="25" y="1819"/>
                  </a:lnTo>
                  <a:lnTo>
                    <a:pt x="22" y="1819"/>
                  </a:lnTo>
                  <a:lnTo>
                    <a:pt x="22" y="1819"/>
                  </a:lnTo>
                  <a:lnTo>
                    <a:pt x="20" y="1820"/>
                  </a:lnTo>
                  <a:lnTo>
                    <a:pt x="20" y="1822"/>
                  </a:lnTo>
                  <a:lnTo>
                    <a:pt x="20" y="1824"/>
                  </a:lnTo>
                  <a:lnTo>
                    <a:pt x="22" y="1824"/>
                  </a:lnTo>
                  <a:lnTo>
                    <a:pt x="23" y="1824"/>
                  </a:lnTo>
                  <a:lnTo>
                    <a:pt x="25" y="1822"/>
                  </a:lnTo>
                  <a:lnTo>
                    <a:pt x="25" y="1824"/>
                  </a:lnTo>
                  <a:lnTo>
                    <a:pt x="23" y="1825"/>
                  </a:lnTo>
                  <a:lnTo>
                    <a:pt x="22" y="1827"/>
                  </a:lnTo>
                  <a:lnTo>
                    <a:pt x="22" y="1828"/>
                  </a:lnTo>
                  <a:lnTo>
                    <a:pt x="20" y="1830"/>
                  </a:lnTo>
                  <a:lnTo>
                    <a:pt x="26" y="1825"/>
                  </a:lnTo>
                  <a:lnTo>
                    <a:pt x="28" y="1824"/>
                  </a:lnTo>
                  <a:lnTo>
                    <a:pt x="31" y="1819"/>
                  </a:lnTo>
                  <a:lnTo>
                    <a:pt x="33" y="1816"/>
                  </a:lnTo>
                  <a:lnTo>
                    <a:pt x="33" y="1811"/>
                  </a:lnTo>
                  <a:lnTo>
                    <a:pt x="33" y="1805"/>
                  </a:lnTo>
                  <a:lnTo>
                    <a:pt x="33" y="1802"/>
                  </a:lnTo>
                  <a:lnTo>
                    <a:pt x="33" y="1802"/>
                  </a:lnTo>
                  <a:lnTo>
                    <a:pt x="33" y="1803"/>
                  </a:lnTo>
                  <a:lnTo>
                    <a:pt x="34" y="1808"/>
                  </a:lnTo>
                  <a:lnTo>
                    <a:pt x="36" y="1810"/>
                  </a:lnTo>
                  <a:lnTo>
                    <a:pt x="37" y="1808"/>
                  </a:lnTo>
                  <a:lnTo>
                    <a:pt x="39" y="1807"/>
                  </a:lnTo>
                  <a:lnTo>
                    <a:pt x="40" y="1805"/>
                  </a:lnTo>
                  <a:lnTo>
                    <a:pt x="42" y="1807"/>
                  </a:lnTo>
                  <a:lnTo>
                    <a:pt x="39" y="1808"/>
                  </a:lnTo>
                  <a:lnTo>
                    <a:pt x="37" y="1810"/>
                  </a:lnTo>
                  <a:lnTo>
                    <a:pt x="37" y="1811"/>
                  </a:lnTo>
                  <a:lnTo>
                    <a:pt x="37" y="1813"/>
                  </a:lnTo>
                  <a:lnTo>
                    <a:pt x="34" y="1817"/>
                  </a:lnTo>
                  <a:lnTo>
                    <a:pt x="33" y="1820"/>
                  </a:lnTo>
                  <a:lnTo>
                    <a:pt x="30" y="1824"/>
                  </a:lnTo>
                  <a:lnTo>
                    <a:pt x="30" y="1827"/>
                  </a:lnTo>
                  <a:lnTo>
                    <a:pt x="28" y="1830"/>
                  </a:lnTo>
                  <a:lnTo>
                    <a:pt x="30" y="1833"/>
                  </a:lnTo>
                  <a:lnTo>
                    <a:pt x="31" y="1833"/>
                  </a:lnTo>
                  <a:lnTo>
                    <a:pt x="31" y="1831"/>
                  </a:lnTo>
                  <a:lnTo>
                    <a:pt x="31" y="1831"/>
                  </a:lnTo>
                  <a:lnTo>
                    <a:pt x="31" y="1831"/>
                  </a:lnTo>
                  <a:lnTo>
                    <a:pt x="33" y="1831"/>
                  </a:lnTo>
                  <a:lnTo>
                    <a:pt x="34" y="1831"/>
                  </a:lnTo>
                  <a:lnTo>
                    <a:pt x="34" y="1831"/>
                  </a:lnTo>
                  <a:lnTo>
                    <a:pt x="36" y="1831"/>
                  </a:lnTo>
                  <a:lnTo>
                    <a:pt x="37" y="1828"/>
                  </a:lnTo>
                  <a:lnTo>
                    <a:pt x="37" y="1828"/>
                  </a:lnTo>
                  <a:lnTo>
                    <a:pt x="39" y="1827"/>
                  </a:lnTo>
                  <a:lnTo>
                    <a:pt x="42" y="1824"/>
                  </a:lnTo>
                  <a:lnTo>
                    <a:pt x="45" y="1824"/>
                  </a:lnTo>
                  <a:lnTo>
                    <a:pt x="45" y="1822"/>
                  </a:lnTo>
                  <a:lnTo>
                    <a:pt x="45" y="1820"/>
                  </a:lnTo>
                  <a:lnTo>
                    <a:pt x="48" y="1820"/>
                  </a:lnTo>
                  <a:lnTo>
                    <a:pt x="51" y="1820"/>
                  </a:lnTo>
                  <a:lnTo>
                    <a:pt x="54" y="1819"/>
                  </a:lnTo>
                  <a:lnTo>
                    <a:pt x="56" y="1817"/>
                  </a:lnTo>
                  <a:lnTo>
                    <a:pt x="57" y="1820"/>
                  </a:lnTo>
                  <a:lnTo>
                    <a:pt x="53" y="1822"/>
                  </a:lnTo>
                  <a:lnTo>
                    <a:pt x="51" y="1824"/>
                  </a:lnTo>
                  <a:lnTo>
                    <a:pt x="53" y="1828"/>
                  </a:lnTo>
                  <a:lnTo>
                    <a:pt x="53" y="1830"/>
                  </a:lnTo>
                  <a:lnTo>
                    <a:pt x="54" y="1830"/>
                  </a:lnTo>
                  <a:lnTo>
                    <a:pt x="54" y="1831"/>
                  </a:lnTo>
                  <a:lnTo>
                    <a:pt x="54" y="1834"/>
                  </a:lnTo>
                  <a:lnTo>
                    <a:pt x="56" y="1836"/>
                  </a:lnTo>
                  <a:lnTo>
                    <a:pt x="57" y="1836"/>
                  </a:lnTo>
                  <a:lnTo>
                    <a:pt x="57" y="1836"/>
                  </a:lnTo>
                  <a:lnTo>
                    <a:pt x="57" y="1837"/>
                  </a:lnTo>
                  <a:lnTo>
                    <a:pt x="57" y="1839"/>
                  </a:lnTo>
                  <a:lnTo>
                    <a:pt x="56" y="1839"/>
                  </a:lnTo>
                  <a:lnTo>
                    <a:pt x="56" y="1839"/>
                  </a:lnTo>
                  <a:lnTo>
                    <a:pt x="54" y="1839"/>
                  </a:lnTo>
                  <a:lnTo>
                    <a:pt x="54" y="1840"/>
                  </a:lnTo>
                  <a:lnTo>
                    <a:pt x="53" y="1850"/>
                  </a:lnTo>
                  <a:lnTo>
                    <a:pt x="53" y="1853"/>
                  </a:lnTo>
                  <a:lnTo>
                    <a:pt x="51" y="1853"/>
                  </a:lnTo>
                  <a:lnTo>
                    <a:pt x="51" y="1854"/>
                  </a:lnTo>
                  <a:lnTo>
                    <a:pt x="51" y="1854"/>
                  </a:lnTo>
                  <a:lnTo>
                    <a:pt x="51" y="1854"/>
                  </a:lnTo>
                  <a:lnTo>
                    <a:pt x="50" y="1856"/>
                  </a:lnTo>
                  <a:lnTo>
                    <a:pt x="50" y="1857"/>
                  </a:lnTo>
                  <a:lnTo>
                    <a:pt x="50" y="1859"/>
                  </a:lnTo>
                  <a:lnTo>
                    <a:pt x="51" y="1860"/>
                  </a:lnTo>
                  <a:lnTo>
                    <a:pt x="51" y="1862"/>
                  </a:lnTo>
                  <a:lnTo>
                    <a:pt x="51" y="1864"/>
                  </a:lnTo>
                  <a:lnTo>
                    <a:pt x="50" y="1867"/>
                  </a:lnTo>
                  <a:lnTo>
                    <a:pt x="47" y="1873"/>
                  </a:lnTo>
                  <a:lnTo>
                    <a:pt x="47" y="1876"/>
                  </a:lnTo>
                  <a:lnTo>
                    <a:pt x="48" y="1877"/>
                  </a:lnTo>
                  <a:lnTo>
                    <a:pt x="48" y="1877"/>
                  </a:lnTo>
                  <a:lnTo>
                    <a:pt x="48" y="1879"/>
                  </a:lnTo>
                  <a:lnTo>
                    <a:pt x="47" y="1879"/>
                  </a:lnTo>
                  <a:lnTo>
                    <a:pt x="47" y="1879"/>
                  </a:lnTo>
                  <a:lnTo>
                    <a:pt x="48" y="1879"/>
                  </a:lnTo>
                  <a:lnTo>
                    <a:pt x="48" y="1880"/>
                  </a:lnTo>
                  <a:lnTo>
                    <a:pt x="45" y="1882"/>
                  </a:lnTo>
                  <a:lnTo>
                    <a:pt x="43" y="1884"/>
                  </a:lnTo>
                  <a:lnTo>
                    <a:pt x="43" y="1887"/>
                  </a:lnTo>
                  <a:lnTo>
                    <a:pt x="43" y="1887"/>
                  </a:lnTo>
                  <a:lnTo>
                    <a:pt x="42" y="1887"/>
                  </a:lnTo>
                  <a:lnTo>
                    <a:pt x="40" y="1890"/>
                  </a:lnTo>
                  <a:lnTo>
                    <a:pt x="43" y="1890"/>
                  </a:lnTo>
                  <a:lnTo>
                    <a:pt x="45" y="1891"/>
                  </a:lnTo>
                  <a:lnTo>
                    <a:pt x="45" y="1894"/>
                  </a:lnTo>
                  <a:lnTo>
                    <a:pt x="48" y="1897"/>
                  </a:lnTo>
                  <a:lnTo>
                    <a:pt x="48" y="1896"/>
                  </a:lnTo>
                  <a:lnTo>
                    <a:pt x="50" y="1896"/>
                  </a:lnTo>
                  <a:lnTo>
                    <a:pt x="51" y="1896"/>
                  </a:lnTo>
                  <a:lnTo>
                    <a:pt x="51" y="1897"/>
                  </a:lnTo>
                  <a:lnTo>
                    <a:pt x="51" y="1899"/>
                  </a:lnTo>
                  <a:lnTo>
                    <a:pt x="43" y="1905"/>
                  </a:lnTo>
                  <a:lnTo>
                    <a:pt x="43" y="1907"/>
                  </a:lnTo>
                  <a:lnTo>
                    <a:pt x="43" y="1908"/>
                  </a:lnTo>
                  <a:lnTo>
                    <a:pt x="45" y="1910"/>
                  </a:lnTo>
                  <a:lnTo>
                    <a:pt x="47" y="1910"/>
                  </a:lnTo>
                  <a:lnTo>
                    <a:pt x="48" y="1910"/>
                  </a:lnTo>
                  <a:lnTo>
                    <a:pt x="47" y="1907"/>
                  </a:lnTo>
                  <a:lnTo>
                    <a:pt x="50" y="1907"/>
                  </a:lnTo>
                  <a:lnTo>
                    <a:pt x="53" y="1910"/>
                  </a:lnTo>
                  <a:lnTo>
                    <a:pt x="54" y="1910"/>
                  </a:lnTo>
                  <a:lnTo>
                    <a:pt x="57" y="1910"/>
                  </a:lnTo>
                  <a:lnTo>
                    <a:pt x="59" y="1910"/>
                  </a:lnTo>
                  <a:lnTo>
                    <a:pt x="60" y="1908"/>
                  </a:lnTo>
                  <a:lnTo>
                    <a:pt x="59" y="1910"/>
                  </a:lnTo>
                  <a:lnTo>
                    <a:pt x="54" y="1911"/>
                  </a:lnTo>
                  <a:lnTo>
                    <a:pt x="54" y="1914"/>
                  </a:lnTo>
                  <a:lnTo>
                    <a:pt x="54" y="1916"/>
                  </a:lnTo>
                  <a:lnTo>
                    <a:pt x="54" y="1916"/>
                  </a:lnTo>
                  <a:lnTo>
                    <a:pt x="56" y="1917"/>
                  </a:lnTo>
                  <a:lnTo>
                    <a:pt x="56" y="1921"/>
                  </a:lnTo>
                  <a:lnTo>
                    <a:pt x="56" y="1922"/>
                  </a:lnTo>
                  <a:lnTo>
                    <a:pt x="57" y="1922"/>
                  </a:lnTo>
                  <a:lnTo>
                    <a:pt x="57" y="1921"/>
                  </a:lnTo>
                  <a:lnTo>
                    <a:pt x="59" y="1919"/>
                  </a:lnTo>
                  <a:lnTo>
                    <a:pt x="59" y="1919"/>
                  </a:lnTo>
                  <a:lnTo>
                    <a:pt x="59" y="1919"/>
                  </a:lnTo>
                  <a:lnTo>
                    <a:pt x="60" y="1919"/>
                  </a:lnTo>
                  <a:lnTo>
                    <a:pt x="59" y="1924"/>
                  </a:lnTo>
                  <a:lnTo>
                    <a:pt x="60" y="1931"/>
                  </a:lnTo>
                  <a:lnTo>
                    <a:pt x="59" y="1933"/>
                  </a:lnTo>
                  <a:lnTo>
                    <a:pt x="59" y="1933"/>
                  </a:lnTo>
                  <a:lnTo>
                    <a:pt x="60" y="1934"/>
                  </a:lnTo>
                  <a:lnTo>
                    <a:pt x="60" y="1936"/>
                  </a:lnTo>
                  <a:lnTo>
                    <a:pt x="59" y="1936"/>
                  </a:lnTo>
                  <a:lnTo>
                    <a:pt x="60" y="1936"/>
                  </a:lnTo>
                  <a:lnTo>
                    <a:pt x="62" y="1937"/>
                  </a:lnTo>
                  <a:lnTo>
                    <a:pt x="60" y="1939"/>
                  </a:lnTo>
                  <a:lnTo>
                    <a:pt x="60" y="1939"/>
                  </a:lnTo>
                  <a:lnTo>
                    <a:pt x="59" y="1941"/>
                  </a:lnTo>
                  <a:lnTo>
                    <a:pt x="59" y="1944"/>
                  </a:lnTo>
                  <a:lnTo>
                    <a:pt x="59" y="1945"/>
                  </a:lnTo>
                  <a:lnTo>
                    <a:pt x="59" y="1948"/>
                  </a:lnTo>
                  <a:lnTo>
                    <a:pt x="60" y="1950"/>
                  </a:lnTo>
                  <a:lnTo>
                    <a:pt x="59" y="1951"/>
                  </a:lnTo>
                  <a:lnTo>
                    <a:pt x="59" y="1951"/>
                  </a:lnTo>
                  <a:lnTo>
                    <a:pt x="60" y="1951"/>
                  </a:lnTo>
                  <a:lnTo>
                    <a:pt x="60" y="1951"/>
                  </a:lnTo>
                  <a:lnTo>
                    <a:pt x="62" y="1951"/>
                  </a:lnTo>
                  <a:lnTo>
                    <a:pt x="60" y="1956"/>
                  </a:lnTo>
                  <a:lnTo>
                    <a:pt x="62" y="1956"/>
                  </a:lnTo>
                  <a:lnTo>
                    <a:pt x="63" y="1954"/>
                  </a:lnTo>
                  <a:lnTo>
                    <a:pt x="65" y="1957"/>
                  </a:lnTo>
                  <a:lnTo>
                    <a:pt x="65" y="1954"/>
                  </a:lnTo>
                  <a:lnTo>
                    <a:pt x="67" y="1945"/>
                  </a:lnTo>
                  <a:lnTo>
                    <a:pt x="68" y="1944"/>
                  </a:lnTo>
                  <a:lnTo>
                    <a:pt x="68" y="1944"/>
                  </a:lnTo>
                  <a:lnTo>
                    <a:pt x="68" y="1942"/>
                  </a:lnTo>
                  <a:lnTo>
                    <a:pt x="70" y="1942"/>
                  </a:lnTo>
                  <a:lnTo>
                    <a:pt x="70" y="1942"/>
                  </a:lnTo>
                  <a:lnTo>
                    <a:pt x="71" y="1942"/>
                  </a:lnTo>
                  <a:lnTo>
                    <a:pt x="73" y="1947"/>
                  </a:lnTo>
                  <a:lnTo>
                    <a:pt x="73" y="1948"/>
                  </a:lnTo>
                  <a:lnTo>
                    <a:pt x="73" y="1950"/>
                  </a:lnTo>
                  <a:lnTo>
                    <a:pt x="71" y="1951"/>
                  </a:lnTo>
                  <a:lnTo>
                    <a:pt x="74" y="1951"/>
                  </a:lnTo>
                  <a:lnTo>
                    <a:pt x="73" y="1953"/>
                  </a:lnTo>
                  <a:lnTo>
                    <a:pt x="71" y="1956"/>
                  </a:lnTo>
                  <a:lnTo>
                    <a:pt x="70" y="1957"/>
                  </a:lnTo>
                  <a:lnTo>
                    <a:pt x="71" y="1959"/>
                  </a:lnTo>
                  <a:lnTo>
                    <a:pt x="71" y="1959"/>
                  </a:lnTo>
                  <a:lnTo>
                    <a:pt x="73" y="1957"/>
                  </a:lnTo>
                  <a:lnTo>
                    <a:pt x="73" y="1957"/>
                  </a:lnTo>
                  <a:lnTo>
                    <a:pt x="74" y="1957"/>
                  </a:lnTo>
                  <a:lnTo>
                    <a:pt x="74" y="1959"/>
                  </a:lnTo>
                  <a:lnTo>
                    <a:pt x="74" y="1959"/>
                  </a:lnTo>
                  <a:lnTo>
                    <a:pt x="74" y="1959"/>
                  </a:lnTo>
                  <a:lnTo>
                    <a:pt x="76" y="1961"/>
                  </a:lnTo>
                  <a:lnTo>
                    <a:pt x="76" y="1961"/>
                  </a:lnTo>
                  <a:lnTo>
                    <a:pt x="77" y="1962"/>
                  </a:lnTo>
                  <a:lnTo>
                    <a:pt x="77" y="1964"/>
                  </a:lnTo>
                  <a:lnTo>
                    <a:pt x="77" y="1965"/>
                  </a:lnTo>
                  <a:lnTo>
                    <a:pt x="77" y="1965"/>
                  </a:lnTo>
                  <a:lnTo>
                    <a:pt x="77" y="1967"/>
                  </a:lnTo>
                  <a:lnTo>
                    <a:pt x="74" y="1967"/>
                  </a:lnTo>
                  <a:lnTo>
                    <a:pt x="74" y="1968"/>
                  </a:lnTo>
                  <a:lnTo>
                    <a:pt x="74" y="1970"/>
                  </a:lnTo>
                  <a:lnTo>
                    <a:pt x="73" y="1970"/>
                  </a:lnTo>
                  <a:lnTo>
                    <a:pt x="73" y="1971"/>
                  </a:lnTo>
                  <a:lnTo>
                    <a:pt x="76" y="1971"/>
                  </a:lnTo>
                  <a:lnTo>
                    <a:pt x="77" y="1971"/>
                  </a:lnTo>
                  <a:lnTo>
                    <a:pt x="77" y="1971"/>
                  </a:lnTo>
                  <a:lnTo>
                    <a:pt x="77" y="1973"/>
                  </a:lnTo>
                  <a:lnTo>
                    <a:pt x="76" y="1973"/>
                  </a:lnTo>
                  <a:lnTo>
                    <a:pt x="74" y="1973"/>
                  </a:lnTo>
                  <a:lnTo>
                    <a:pt x="74" y="1974"/>
                  </a:lnTo>
                  <a:lnTo>
                    <a:pt x="76" y="1974"/>
                  </a:lnTo>
                  <a:lnTo>
                    <a:pt x="77" y="1976"/>
                  </a:lnTo>
                  <a:lnTo>
                    <a:pt x="79" y="1976"/>
                  </a:lnTo>
                  <a:lnTo>
                    <a:pt x="80" y="1976"/>
                  </a:lnTo>
                  <a:lnTo>
                    <a:pt x="79" y="1978"/>
                  </a:lnTo>
                  <a:lnTo>
                    <a:pt x="77" y="1979"/>
                  </a:lnTo>
                  <a:lnTo>
                    <a:pt x="77" y="1981"/>
                  </a:lnTo>
                  <a:lnTo>
                    <a:pt x="80" y="1979"/>
                  </a:lnTo>
                  <a:lnTo>
                    <a:pt x="80" y="1979"/>
                  </a:lnTo>
                  <a:lnTo>
                    <a:pt x="80" y="1981"/>
                  </a:lnTo>
                  <a:lnTo>
                    <a:pt x="80" y="1984"/>
                  </a:lnTo>
                  <a:lnTo>
                    <a:pt x="82" y="1985"/>
                  </a:lnTo>
                  <a:lnTo>
                    <a:pt x="83" y="1988"/>
                  </a:lnTo>
                  <a:lnTo>
                    <a:pt x="83" y="1990"/>
                  </a:lnTo>
                  <a:lnTo>
                    <a:pt x="82" y="1993"/>
                  </a:lnTo>
                  <a:lnTo>
                    <a:pt x="83" y="1994"/>
                  </a:lnTo>
                  <a:lnTo>
                    <a:pt x="85" y="1994"/>
                  </a:lnTo>
                  <a:lnTo>
                    <a:pt x="85" y="1998"/>
                  </a:lnTo>
                  <a:lnTo>
                    <a:pt x="87" y="1999"/>
                  </a:lnTo>
                  <a:lnTo>
                    <a:pt x="88" y="2001"/>
                  </a:lnTo>
                  <a:lnTo>
                    <a:pt x="91" y="2002"/>
                  </a:lnTo>
                  <a:lnTo>
                    <a:pt x="91" y="2004"/>
                  </a:lnTo>
                  <a:lnTo>
                    <a:pt x="91" y="2004"/>
                  </a:lnTo>
                  <a:lnTo>
                    <a:pt x="93" y="2005"/>
                  </a:lnTo>
                  <a:lnTo>
                    <a:pt x="93" y="2005"/>
                  </a:lnTo>
                  <a:lnTo>
                    <a:pt x="93" y="2007"/>
                  </a:lnTo>
                  <a:lnTo>
                    <a:pt x="93" y="2008"/>
                  </a:lnTo>
                  <a:lnTo>
                    <a:pt x="93" y="2008"/>
                  </a:lnTo>
                  <a:lnTo>
                    <a:pt x="91" y="2010"/>
                  </a:lnTo>
                  <a:lnTo>
                    <a:pt x="91" y="2010"/>
                  </a:lnTo>
                  <a:lnTo>
                    <a:pt x="91" y="2013"/>
                  </a:lnTo>
                  <a:lnTo>
                    <a:pt x="93" y="2016"/>
                  </a:lnTo>
                  <a:lnTo>
                    <a:pt x="94" y="2018"/>
                  </a:lnTo>
                  <a:lnTo>
                    <a:pt x="97" y="2018"/>
                  </a:lnTo>
                  <a:lnTo>
                    <a:pt x="99" y="2019"/>
                  </a:lnTo>
                  <a:lnTo>
                    <a:pt x="100" y="2019"/>
                  </a:lnTo>
                  <a:lnTo>
                    <a:pt x="102" y="2021"/>
                  </a:lnTo>
                  <a:lnTo>
                    <a:pt x="103" y="2024"/>
                  </a:lnTo>
                  <a:lnTo>
                    <a:pt x="103" y="2024"/>
                  </a:lnTo>
                  <a:lnTo>
                    <a:pt x="105" y="2024"/>
                  </a:lnTo>
                  <a:lnTo>
                    <a:pt x="105" y="2024"/>
                  </a:lnTo>
                  <a:lnTo>
                    <a:pt x="105" y="2024"/>
                  </a:lnTo>
                  <a:lnTo>
                    <a:pt x="105" y="2025"/>
                  </a:lnTo>
                  <a:lnTo>
                    <a:pt x="105" y="2025"/>
                  </a:lnTo>
                  <a:lnTo>
                    <a:pt x="105" y="2025"/>
                  </a:lnTo>
                  <a:lnTo>
                    <a:pt x="111" y="2030"/>
                  </a:lnTo>
                  <a:lnTo>
                    <a:pt x="111" y="2031"/>
                  </a:lnTo>
                  <a:lnTo>
                    <a:pt x="110" y="2034"/>
                  </a:lnTo>
                  <a:lnTo>
                    <a:pt x="111" y="2039"/>
                  </a:lnTo>
                  <a:lnTo>
                    <a:pt x="113" y="2041"/>
                  </a:lnTo>
                  <a:lnTo>
                    <a:pt x="114" y="2042"/>
                  </a:lnTo>
                  <a:lnTo>
                    <a:pt x="116" y="2044"/>
                  </a:lnTo>
                  <a:lnTo>
                    <a:pt x="116" y="2047"/>
                  </a:lnTo>
                  <a:lnTo>
                    <a:pt x="117" y="2048"/>
                  </a:lnTo>
                  <a:lnTo>
                    <a:pt x="120" y="2053"/>
                  </a:lnTo>
                  <a:lnTo>
                    <a:pt x="122" y="2053"/>
                  </a:lnTo>
                  <a:lnTo>
                    <a:pt x="124" y="2053"/>
                  </a:lnTo>
                  <a:lnTo>
                    <a:pt x="124" y="2053"/>
                  </a:lnTo>
                  <a:lnTo>
                    <a:pt x="127" y="2053"/>
                  </a:lnTo>
                  <a:lnTo>
                    <a:pt x="128" y="2051"/>
                  </a:lnTo>
                  <a:lnTo>
                    <a:pt x="131" y="2053"/>
                  </a:lnTo>
                  <a:lnTo>
                    <a:pt x="131" y="2054"/>
                  </a:lnTo>
                  <a:lnTo>
                    <a:pt x="133" y="2061"/>
                  </a:lnTo>
                  <a:lnTo>
                    <a:pt x="136" y="2067"/>
                  </a:lnTo>
                  <a:lnTo>
                    <a:pt x="136" y="2068"/>
                  </a:lnTo>
                  <a:lnTo>
                    <a:pt x="136" y="2071"/>
                  </a:lnTo>
                  <a:lnTo>
                    <a:pt x="134" y="2075"/>
                  </a:lnTo>
                  <a:lnTo>
                    <a:pt x="133" y="2078"/>
                  </a:lnTo>
                  <a:lnTo>
                    <a:pt x="133" y="2079"/>
                  </a:lnTo>
                  <a:lnTo>
                    <a:pt x="128" y="2081"/>
                  </a:lnTo>
                  <a:lnTo>
                    <a:pt x="119" y="2078"/>
                  </a:lnTo>
                  <a:lnTo>
                    <a:pt x="114" y="2079"/>
                  </a:lnTo>
                  <a:lnTo>
                    <a:pt x="113" y="2084"/>
                  </a:lnTo>
                  <a:lnTo>
                    <a:pt x="114" y="2087"/>
                  </a:lnTo>
                  <a:lnTo>
                    <a:pt x="120" y="2091"/>
                  </a:lnTo>
                  <a:lnTo>
                    <a:pt x="124" y="2098"/>
                  </a:lnTo>
                  <a:lnTo>
                    <a:pt x="125" y="2101"/>
                  </a:lnTo>
                  <a:lnTo>
                    <a:pt x="128" y="2102"/>
                  </a:lnTo>
                  <a:lnTo>
                    <a:pt x="128" y="2104"/>
                  </a:lnTo>
                  <a:lnTo>
                    <a:pt x="128" y="2107"/>
                  </a:lnTo>
                  <a:lnTo>
                    <a:pt x="127" y="2108"/>
                  </a:lnTo>
                  <a:lnTo>
                    <a:pt x="125" y="2110"/>
                  </a:lnTo>
                  <a:lnTo>
                    <a:pt x="124" y="2110"/>
                  </a:lnTo>
                  <a:lnTo>
                    <a:pt x="120" y="2108"/>
                  </a:lnTo>
                  <a:lnTo>
                    <a:pt x="120" y="2110"/>
                  </a:lnTo>
                  <a:lnTo>
                    <a:pt x="119" y="2110"/>
                  </a:lnTo>
                  <a:lnTo>
                    <a:pt x="119" y="2110"/>
                  </a:lnTo>
                  <a:lnTo>
                    <a:pt x="117" y="2110"/>
                  </a:lnTo>
                  <a:lnTo>
                    <a:pt x="117" y="2108"/>
                  </a:lnTo>
                  <a:lnTo>
                    <a:pt x="116" y="2108"/>
                  </a:lnTo>
                  <a:lnTo>
                    <a:pt x="116" y="2108"/>
                  </a:lnTo>
                  <a:lnTo>
                    <a:pt x="114" y="2105"/>
                  </a:lnTo>
                  <a:lnTo>
                    <a:pt x="114" y="2105"/>
                  </a:lnTo>
                  <a:lnTo>
                    <a:pt x="99" y="2099"/>
                  </a:lnTo>
                  <a:lnTo>
                    <a:pt x="100" y="2101"/>
                  </a:lnTo>
                  <a:lnTo>
                    <a:pt x="103" y="2102"/>
                  </a:lnTo>
                  <a:lnTo>
                    <a:pt x="105" y="2105"/>
                  </a:lnTo>
                  <a:lnTo>
                    <a:pt x="107" y="2110"/>
                  </a:lnTo>
                  <a:lnTo>
                    <a:pt x="107" y="2111"/>
                  </a:lnTo>
                  <a:lnTo>
                    <a:pt x="107" y="2116"/>
                  </a:lnTo>
                  <a:lnTo>
                    <a:pt x="108" y="2116"/>
                  </a:lnTo>
                  <a:lnTo>
                    <a:pt x="111" y="2124"/>
                  </a:lnTo>
                  <a:lnTo>
                    <a:pt x="111" y="2124"/>
                  </a:lnTo>
                  <a:lnTo>
                    <a:pt x="117" y="2133"/>
                  </a:lnTo>
                  <a:lnTo>
                    <a:pt x="119" y="2135"/>
                  </a:lnTo>
                  <a:lnTo>
                    <a:pt x="119" y="2136"/>
                  </a:lnTo>
                  <a:lnTo>
                    <a:pt x="119" y="2138"/>
                  </a:lnTo>
                  <a:lnTo>
                    <a:pt x="120" y="2139"/>
                  </a:lnTo>
                  <a:lnTo>
                    <a:pt x="122" y="2141"/>
                  </a:lnTo>
                  <a:lnTo>
                    <a:pt x="122" y="2142"/>
                  </a:lnTo>
                  <a:lnTo>
                    <a:pt x="124" y="2144"/>
                  </a:lnTo>
                  <a:lnTo>
                    <a:pt x="124" y="2147"/>
                  </a:lnTo>
                  <a:lnTo>
                    <a:pt x="125" y="2147"/>
                  </a:lnTo>
                  <a:lnTo>
                    <a:pt x="125" y="2148"/>
                  </a:lnTo>
                  <a:lnTo>
                    <a:pt x="125" y="2148"/>
                  </a:lnTo>
                  <a:lnTo>
                    <a:pt x="127" y="2148"/>
                  </a:lnTo>
                  <a:lnTo>
                    <a:pt x="127" y="2150"/>
                  </a:lnTo>
                  <a:lnTo>
                    <a:pt x="127" y="2152"/>
                  </a:lnTo>
                  <a:lnTo>
                    <a:pt x="127" y="2153"/>
                  </a:lnTo>
                  <a:lnTo>
                    <a:pt x="127" y="2155"/>
                  </a:lnTo>
                  <a:lnTo>
                    <a:pt x="130" y="2158"/>
                  </a:lnTo>
                  <a:lnTo>
                    <a:pt x="133" y="2159"/>
                  </a:lnTo>
                  <a:lnTo>
                    <a:pt x="134" y="2162"/>
                  </a:lnTo>
                  <a:lnTo>
                    <a:pt x="136" y="2167"/>
                  </a:lnTo>
                  <a:lnTo>
                    <a:pt x="136" y="2168"/>
                  </a:lnTo>
                  <a:lnTo>
                    <a:pt x="136" y="2170"/>
                  </a:lnTo>
                  <a:lnTo>
                    <a:pt x="134" y="2170"/>
                  </a:lnTo>
                  <a:lnTo>
                    <a:pt x="134" y="2172"/>
                  </a:lnTo>
                  <a:lnTo>
                    <a:pt x="134" y="2173"/>
                  </a:lnTo>
                  <a:lnTo>
                    <a:pt x="136" y="2173"/>
                  </a:lnTo>
                  <a:lnTo>
                    <a:pt x="137" y="2173"/>
                  </a:lnTo>
                  <a:lnTo>
                    <a:pt x="139" y="2176"/>
                  </a:lnTo>
                  <a:lnTo>
                    <a:pt x="140" y="2176"/>
                  </a:lnTo>
                  <a:lnTo>
                    <a:pt x="142" y="2176"/>
                  </a:lnTo>
                  <a:lnTo>
                    <a:pt x="142" y="2178"/>
                  </a:lnTo>
                  <a:lnTo>
                    <a:pt x="144" y="2179"/>
                  </a:lnTo>
                  <a:lnTo>
                    <a:pt x="145" y="2181"/>
                  </a:lnTo>
                  <a:lnTo>
                    <a:pt x="145" y="2182"/>
                  </a:lnTo>
                  <a:lnTo>
                    <a:pt x="145" y="2184"/>
                  </a:lnTo>
                  <a:lnTo>
                    <a:pt x="144" y="2187"/>
                  </a:lnTo>
                  <a:lnTo>
                    <a:pt x="144" y="2188"/>
                  </a:lnTo>
                  <a:lnTo>
                    <a:pt x="142" y="2188"/>
                  </a:lnTo>
                  <a:lnTo>
                    <a:pt x="137" y="2193"/>
                  </a:lnTo>
                  <a:lnTo>
                    <a:pt x="136" y="2195"/>
                  </a:lnTo>
                  <a:lnTo>
                    <a:pt x="134" y="2199"/>
                  </a:lnTo>
                  <a:lnTo>
                    <a:pt x="136" y="2202"/>
                  </a:lnTo>
                  <a:lnTo>
                    <a:pt x="139" y="2208"/>
                  </a:lnTo>
                  <a:lnTo>
                    <a:pt x="139" y="2213"/>
                  </a:lnTo>
                  <a:lnTo>
                    <a:pt x="139" y="2212"/>
                  </a:lnTo>
                  <a:lnTo>
                    <a:pt x="137" y="2212"/>
                  </a:lnTo>
                  <a:lnTo>
                    <a:pt x="137" y="2213"/>
                  </a:lnTo>
                  <a:lnTo>
                    <a:pt x="137" y="2215"/>
                  </a:lnTo>
                  <a:lnTo>
                    <a:pt x="137" y="2216"/>
                  </a:lnTo>
                  <a:lnTo>
                    <a:pt x="136" y="2216"/>
                  </a:lnTo>
                  <a:lnTo>
                    <a:pt x="133" y="2216"/>
                  </a:lnTo>
                  <a:lnTo>
                    <a:pt x="133" y="2216"/>
                  </a:lnTo>
                  <a:lnTo>
                    <a:pt x="131" y="2215"/>
                  </a:lnTo>
                  <a:lnTo>
                    <a:pt x="131" y="2215"/>
                  </a:lnTo>
                  <a:lnTo>
                    <a:pt x="131" y="2215"/>
                  </a:lnTo>
                  <a:lnTo>
                    <a:pt x="130" y="2215"/>
                  </a:lnTo>
                  <a:lnTo>
                    <a:pt x="128" y="2219"/>
                  </a:lnTo>
                  <a:lnTo>
                    <a:pt x="128" y="2221"/>
                  </a:lnTo>
                  <a:lnTo>
                    <a:pt x="130" y="2221"/>
                  </a:lnTo>
                  <a:lnTo>
                    <a:pt x="131" y="2221"/>
                  </a:lnTo>
                  <a:lnTo>
                    <a:pt x="133" y="2219"/>
                  </a:lnTo>
                  <a:lnTo>
                    <a:pt x="133" y="2219"/>
                  </a:lnTo>
                  <a:lnTo>
                    <a:pt x="134" y="2221"/>
                  </a:lnTo>
                  <a:lnTo>
                    <a:pt x="134" y="2221"/>
                  </a:lnTo>
                  <a:lnTo>
                    <a:pt x="136" y="2221"/>
                  </a:lnTo>
                  <a:lnTo>
                    <a:pt x="136" y="2219"/>
                  </a:lnTo>
                  <a:lnTo>
                    <a:pt x="137" y="2219"/>
                  </a:lnTo>
                  <a:lnTo>
                    <a:pt x="139" y="2218"/>
                  </a:lnTo>
                  <a:lnTo>
                    <a:pt x="140" y="2219"/>
                  </a:lnTo>
                  <a:lnTo>
                    <a:pt x="140" y="2219"/>
                  </a:lnTo>
                  <a:lnTo>
                    <a:pt x="142" y="2221"/>
                  </a:lnTo>
                  <a:lnTo>
                    <a:pt x="142" y="2221"/>
                  </a:lnTo>
                  <a:lnTo>
                    <a:pt x="144" y="2221"/>
                  </a:lnTo>
                  <a:lnTo>
                    <a:pt x="145" y="2221"/>
                  </a:lnTo>
                  <a:lnTo>
                    <a:pt x="150" y="2221"/>
                  </a:lnTo>
                  <a:lnTo>
                    <a:pt x="162" y="2225"/>
                  </a:lnTo>
                  <a:lnTo>
                    <a:pt x="164" y="2227"/>
                  </a:lnTo>
                  <a:lnTo>
                    <a:pt x="168" y="2225"/>
                  </a:lnTo>
                  <a:lnTo>
                    <a:pt x="171" y="2225"/>
                  </a:lnTo>
                  <a:lnTo>
                    <a:pt x="177" y="2221"/>
                  </a:lnTo>
                  <a:lnTo>
                    <a:pt x="181" y="2219"/>
                  </a:lnTo>
                  <a:lnTo>
                    <a:pt x="184" y="2221"/>
                  </a:lnTo>
                  <a:lnTo>
                    <a:pt x="185" y="2219"/>
                  </a:lnTo>
                  <a:lnTo>
                    <a:pt x="185" y="2218"/>
                  </a:lnTo>
                  <a:lnTo>
                    <a:pt x="187" y="2218"/>
                  </a:lnTo>
                  <a:lnTo>
                    <a:pt x="187" y="2216"/>
                  </a:lnTo>
                  <a:lnTo>
                    <a:pt x="188" y="2216"/>
                  </a:lnTo>
                  <a:lnTo>
                    <a:pt x="199" y="2215"/>
                  </a:lnTo>
                  <a:lnTo>
                    <a:pt x="202" y="2216"/>
                  </a:lnTo>
                  <a:lnTo>
                    <a:pt x="204" y="2216"/>
                  </a:lnTo>
                  <a:lnTo>
                    <a:pt x="204" y="2216"/>
                  </a:lnTo>
                  <a:lnTo>
                    <a:pt x="207" y="2215"/>
                  </a:lnTo>
                  <a:lnTo>
                    <a:pt x="207" y="2215"/>
                  </a:lnTo>
                  <a:lnTo>
                    <a:pt x="210" y="2215"/>
                  </a:lnTo>
                  <a:lnTo>
                    <a:pt x="211" y="2215"/>
                  </a:lnTo>
                  <a:lnTo>
                    <a:pt x="217" y="2219"/>
                  </a:lnTo>
                  <a:lnTo>
                    <a:pt x="219" y="2219"/>
                  </a:lnTo>
                  <a:lnTo>
                    <a:pt x="222" y="2221"/>
                  </a:lnTo>
                  <a:lnTo>
                    <a:pt x="227" y="2221"/>
                  </a:lnTo>
                  <a:lnTo>
                    <a:pt x="228" y="2219"/>
                  </a:lnTo>
                  <a:lnTo>
                    <a:pt x="230" y="2219"/>
                  </a:lnTo>
                  <a:lnTo>
                    <a:pt x="231" y="2216"/>
                  </a:lnTo>
                  <a:lnTo>
                    <a:pt x="234" y="2210"/>
                  </a:lnTo>
                  <a:lnTo>
                    <a:pt x="236" y="2210"/>
                  </a:lnTo>
                  <a:lnTo>
                    <a:pt x="237" y="2208"/>
                  </a:lnTo>
                  <a:lnTo>
                    <a:pt x="241" y="2204"/>
                  </a:lnTo>
                  <a:lnTo>
                    <a:pt x="242" y="2202"/>
                  </a:lnTo>
                  <a:lnTo>
                    <a:pt x="242" y="2199"/>
                  </a:lnTo>
                  <a:lnTo>
                    <a:pt x="242" y="2198"/>
                  </a:lnTo>
                  <a:lnTo>
                    <a:pt x="239" y="2192"/>
                  </a:lnTo>
                  <a:lnTo>
                    <a:pt x="237" y="2190"/>
                  </a:lnTo>
                  <a:lnTo>
                    <a:pt x="236" y="2190"/>
                  </a:lnTo>
                  <a:lnTo>
                    <a:pt x="236" y="2188"/>
                  </a:lnTo>
                  <a:lnTo>
                    <a:pt x="236" y="2187"/>
                  </a:lnTo>
                  <a:lnTo>
                    <a:pt x="236" y="2185"/>
                  </a:lnTo>
                  <a:lnTo>
                    <a:pt x="236" y="2184"/>
                  </a:lnTo>
                  <a:lnTo>
                    <a:pt x="234" y="2182"/>
                  </a:lnTo>
                  <a:lnTo>
                    <a:pt x="231" y="2179"/>
                  </a:lnTo>
                  <a:lnTo>
                    <a:pt x="230" y="2178"/>
                  </a:lnTo>
                  <a:lnTo>
                    <a:pt x="230" y="2176"/>
                  </a:lnTo>
                  <a:lnTo>
                    <a:pt x="230" y="2173"/>
                  </a:lnTo>
                  <a:lnTo>
                    <a:pt x="230" y="2168"/>
                  </a:lnTo>
                  <a:lnTo>
                    <a:pt x="230" y="2164"/>
                  </a:lnTo>
                  <a:lnTo>
                    <a:pt x="233" y="2158"/>
                  </a:lnTo>
                  <a:lnTo>
                    <a:pt x="234" y="2153"/>
                  </a:lnTo>
                  <a:lnTo>
                    <a:pt x="237" y="2152"/>
                  </a:lnTo>
                  <a:lnTo>
                    <a:pt x="239" y="2152"/>
                  </a:lnTo>
                  <a:lnTo>
                    <a:pt x="239" y="2148"/>
                  </a:lnTo>
                  <a:lnTo>
                    <a:pt x="241" y="2145"/>
                  </a:lnTo>
                  <a:lnTo>
                    <a:pt x="242" y="2145"/>
                  </a:lnTo>
                  <a:lnTo>
                    <a:pt x="244" y="2144"/>
                  </a:lnTo>
                  <a:lnTo>
                    <a:pt x="245" y="2142"/>
                  </a:lnTo>
                  <a:lnTo>
                    <a:pt x="248" y="2139"/>
                  </a:lnTo>
                  <a:lnTo>
                    <a:pt x="250" y="2136"/>
                  </a:lnTo>
                  <a:lnTo>
                    <a:pt x="251" y="2135"/>
                  </a:lnTo>
                  <a:lnTo>
                    <a:pt x="254" y="2135"/>
                  </a:lnTo>
                  <a:lnTo>
                    <a:pt x="254" y="2133"/>
                  </a:lnTo>
                  <a:lnTo>
                    <a:pt x="256" y="2133"/>
                  </a:lnTo>
                  <a:lnTo>
                    <a:pt x="258" y="2131"/>
                  </a:lnTo>
                  <a:lnTo>
                    <a:pt x="258" y="2131"/>
                  </a:lnTo>
                  <a:lnTo>
                    <a:pt x="258" y="2133"/>
                  </a:lnTo>
                  <a:lnTo>
                    <a:pt x="258" y="2135"/>
                  </a:lnTo>
                  <a:lnTo>
                    <a:pt x="259" y="2131"/>
                  </a:lnTo>
                  <a:lnTo>
                    <a:pt x="259" y="2133"/>
                  </a:lnTo>
                  <a:lnTo>
                    <a:pt x="261" y="2135"/>
                  </a:lnTo>
                  <a:lnTo>
                    <a:pt x="261" y="2136"/>
                  </a:lnTo>
                  <a:lnTo>
                    <a:pt x="261" y="2136"/>
                  </a:lnTo>
                  <a:lnTo>
                    <a:pt x="261" y="2138"/>
                  </a:lnTo>
                  <a:lnTo>
                    <a:pt x="261" y="2138"/>
                  </a:lnTo>
                  <a:lnTo>
                    <a:pt x="261" y="2138"/>
                  </a:lnTo>
                  <a:lnTo>
                    <a:pt x="264" y="2138"/>
                  </a:lnTo>
                  <a:lnTo>
                    <a:pt x="264" y="2138"/>
                  </a:lnTo>
                  <a:lnTo>
                    <a:pt x="264" y="2139"/>
                  </a:lnTo>
                  <a:lnTo>
                    <a:pt x="265" y="2139"/>
                  </a:lnTo>
                  <a:lnTo>
                    <a:pt x="265" y="2138"/>
                  </a:lnTo>
                  <a:lnTo>
                    <a:pt x="265" y="2138"/>
                  </a:lnTo>
                  <a:lnTo>
                    <a:pt x="267" y="2138"/>
                  </a:lnTo>
                  <a:lnTo>
                    <a:pt x="268" y="2139"/>
                  </a:lnTo>
                  <a:lnTo>
                    <a:pt x="268" y="2139"/>
                  </a:lnTo>
                  <a:lnTo>
                    <a:pt x="268" y="2139"/>
                  </a:lnTo>
                  <a:lnTo>
                    <a:pt x="270" y="2138"/>
                  </a:lnTo>
                  <a:lnTo>
                    <a:pt x="270" y="2136"/>
                  </a:lnTo>
                  <a:lnTo>
                    <a:pt x="271" y="2136"/>
                  </a:lnTo>
                  <a:lnTo>
                    <a:pt x="271" y="2136"/>
                  </a:lnTo>
                  <a:lnTo>
                    <a:pt x="271" y="2133"/>
                  </a:lnTo>
                  <a:lnTo>
                    <a:pt x="271" y="2131"/>
                  </a:lnTo>
                  <a:lnTo>
                    <a:pt x="268" y="2128"/>
                  </a:lnTo>
                  <a:lnTo>
                    <a:pt x="268" y="2127"/>
                  </a:lnTo>
                  <a:lnTo>
                    <a:pt x="268" y="2125"/>
                  </a:lnTo>
                  <a:lnTo>
                    <a:pt x="267" y="2125"/>
                  </a:lnTo>
                  <a:lnTo>
                    <a:pt x="267" y="2125"/>
                  </a:lnTo>
                  <a:lnTo>
                    <a:pt x="265" y="2124"/>
                  </a:lnTo>
                  <a:lnTo>
                    <a:pt x="265" y="2122"/>
                  </a:lnTo>
                  <a:lnTo>
                    <a:pt x="265" y="2121"/>
                  </a:lnTo>
                  <a:lnTo>
                    <a:pt x="265" y="2121"/>
                  </a:lnTo>
                  <a:lnTo>
                    <a:pt x="267" y="2118"/>
                  </a:lnTo>
                  <a:lnTo>
                    <a:pt x="268" y="2118"/>
                  </a:lnTo>
                  <a:lnTo>
                    <a:pt x="273" y="2118"/>
                  </a:lnTo>
                  <a:lnTo>
                    <a:pt x="274" y="2118"/>
                  </a:lnTo>
                  <a:lnTo>
                    <a:pt x="276" y="2119"/>
                  </a:lnTo>
                  <a:lnTo>
                    <a:pt x="276" y="2121"/>
                  </a:lnTo>
                  <a:lnTo>
                    <a:pt x="278" y="2121"/>
                  </a:lnTo>
                  <a:lnTo>
                    <a:pt x="278" y="2118"/>
                  </a:lnTo>
                  <a:lnTo>
                    <a:pt x="281" y="2118"/>
                  </a:lnTo>
                  <a:lnTo>
                    <a:pt x="282" y="2118"/>
                  </a:lnTo>
                  <a:lnTo>
                    <a:pt x="284" y="2118"/>
                  </a:lnTo>
                  <a:lnTo>
                    <a:pt x="285" y="2116"/>
                  </a:lnTo>
                  <a:lnTo>
                    <a:pt x="288" y="2118"/>
                  </a:lnTo>
                  <a:lnTo>
                    <a:pt x="293" y="2119"/>
                  </a:lnTo>
                  <a:lnTo>
                    <a:pt x="293" y="2118"/>
                  </a:lnTo>
                  <a:lnTo>
                    <a:pt x="293" y="2116"/>
                  </a:lnTo>
                  <a:lnTo>
                    <a:pt x="291" y="2116"/>
                  </a:lnTo>
                  <a:lnTo>
                    <a:pt x="293" y="2116"/>
                  </a:lnTo>
                  <a:lnTo>
                    <a:pt x="294" y="2115"/>
                  </a:lnTo>
                  <a:lnTo>
                    <a:pt x="294" y="2115"/>
                  </a:lnTo>
                  <a:lnTo>
                    <a:pt x="296" y="2116"/>
                  </a:lnTo>
                  <a:lnTo>
                    <a:pt x="296" y="2118"/>
                  </a:lnTo>
                  <a:lnTo>
                    <a:pt x="296" y="2118"/>
                  </a:lnTo>
                  <a:lnTo>
                    <a:pt x="299" y="2118"/>
                  </a:lnTo>
                  <a:lnTo>
                    <a:pt x="299" y="2118"/>
                  </a:lnTo>
                  <a:lnTo>
                    <a:pt x="301" y="2118"/>
                  </a:lnTo>
                  <a:lnTo>
                    <a:pt x="301" y="2118"/>
                  </a:lnTo>
                  <a:lnTo>
                    <a:pt x="302" y="2118"/>
                  </a:lnTo>
                  <a:lnTo>
                    <a:pt x="304" y="2119"/>
                  </a:lnTo>
                  <a:lnTo>
                    <a:pt x="307" y="2119"/>
                  </a:lnTo>
                  <a:lnTo>
                    <a:pt x="310" y="2116"/>
                  </a:lnTo>
                  <a:lnTo>
                    <a:pt x="311" y="2115"/>
                  </a:lnTo>
                  <a:lnTo>
                    <a:pt x="313" y="2118"/>
                  </a:lnTo>
                  <a:lnTo>
                    <a:pt x="313" y="2119"/>
                  </a:lnTo>
                  <a:lnTo>
                    <a:pt x="313" y="2119"/>
                  </a:lnTo>
                  <a:lnTo>
                    <a:pt x="311" y="2121"/>
                  </a:lnTo>
                  <a:lnTo>
                    <a:pt x="313" y="2121"/>
                  </a:lnTo>
                  <a:lnTo>
                    <a:pt x="313" y="2121"/>
                  </a:lnTo>
                  <a:lnTo>
                    <a:pt x="316" y="2121"/>
                  </a:lnTo>
                  <a:lnTo>
                    <a:pt x="318" y="2121"/>
                  </a:lnTo>
                  <a:lnTo>
                    <a:pt x="318" y="2119"/>
                  </a:lnTo>
                  <a:lnTo>
                    <a:pt x="318" y="2118"/>
                  </a:lnTo>
                  <a:lnTo>
                    <a:pt x="319" y="2116"/>
                  </a:lnTo>
                  <a:lnTo>
                    <a:pt x="319" y="2116"/>
                  </a:lnTo>
                  <a:lnTo>
                    <a:pt x="321" y="2116"/>
                  </a:lnTo>
                  <a:lnTo>
                    <a:pt x="322" y="2116"/>
                  </a:lnTo>
                  <a:lnTo>
                    <a:pt x="322" y="2116"/>
                  </a:lnTo>
                  <a:lnTo>
                    <a:pt x="324" y="2118"/>
                  </a:lnTo>
                  <a:lnTo>
                    <a:pt x="324" y="2118"/>
                  </a:lnTo>
                  <a:lnTo>
                    <a:pt x="325" y="2119"/>
                  </a:lnTo>
                  <a:lnTo>
                    <a:pt x="325" y="2119"/>
                  </a:lnTo>
                  <a:lnTo>
                    <a:pt x="325" y="2116"/>
                  </a:lnTo>
                  <a:lnTo>
                    <a:pt x="327" y="2116"/>
                  </a:lnTo>
                  <a:lnTo>
                    <a:pt x="330" y="2115"/>
                  </a:lnTo>
                  <a:lnTo>
                    <a:pt x="331" y="2111"/>
                  </a:lnTo>
                  <a:lnTo>
                    <a:pt x="333" y="2111"/>
                  </a:lnTo>
                  <a:lnTo>
                    <a:pt x="333" y="2113"/>
                  </a:lnTo>
                  <a:lnTo>
                    <a:pt x="333" y="2115"/>
                  </a:lnTo>
                  <a:lnTo>
                    <a:pt x="333" y="2116"/>
                  </a:lnTo>
                  <a:lnTo>
                    <a:pt x="333" y="2116"/>
                  </a:lnTo>
                  <a:lnTo>
                    <a:pt x="333" y="2118"/>
                  </a:lnTo>
                  <a:lnTo>
                    <a:pt x="335" y="2118"/>
                  </a:lnTo>
                  <a:lnTo>
                    <a:pt x="336" y="2115"/>
                  </a:lnTo>
                  <a:lnTo>
                    <a:pt x="338" y="2113"/>
                  </a:lnTo>
                  <a:lnTo>
                    <a:pt x="338" y="2115"/>
                  </a:lnTo>
                  <a:lnTo>
                    <a:pt x="339" y="2115"/>
                  </a:lnTo>
                  <a:lnTo>
                    <a:pt x="341" y="2116"/>
                  </a:lnTo>
                  <a:lnTo>
                    <a:pt x="341" y="2116"/>
                  </a:lnTo>
                  <a:lnTo>
                    <a:pt x="341" y="2116"/>
                  </a:lnTo>
                  <a:lnTo>
                    <a:pt x="342" y="2118"/>
                  </a:lnTo>
                  <a:lnTo>
                    <a:pt x="342" y="2116"/>
                  </a:lnTo>
                  <a:lnTo>
                    <a:pt x="344" y="2119"/>
                  </a:lnTo>
                  <a:lnTo>
                    <a:pt x="345" y="2119"/>
                  </a:lnTo>
                  <a:lnTo>
                    <a:pt x="350" y="2118"/>
                  </a:lnTo>
                  <a:lnTo>
                    <a:pt x="351" y="2119"/>
                  </a:lnTo>
                  <a:lnTo>
                    <a:pt x="350" y="2121"/>
                  </a:lnTo>
                  <a:lnTo>
                    <a:pt x="348" y="2125"/>
                  </a:lnTo>
                  <a:lnTo>
                    <a:pt x="350" y="2127"/>
                  </a:lnTo>
                  <a:lnTo>
                    <a:pt x="351" y="2128"/>
                  </a:lnTo>
                  <a:lnTo>
                    <a:pt x="353" y="2128"/>
                  </a:lnTo>
                  <a:lnTo>
                    <a:pt x="355" y="2125"/>
                  </a:lnTo>
                  <a:lnTo>
                    <a:pt x="359" y="2116"/>
                  </a:lnTo>
                  <a:lnTo>
                    <a:pt x="361" y="2115"/>
                  </a:lnTo>
                  <a:lnTo>
                    <a:pt x="362" y="2111"/>
                  </a:lnTo>
                  <a:lnTo>
                    <a:pt x="364" y="2110"/>
                  </a:lnTo>
                  <a:lnTo>
                    <a:pt x="365" y="2110"/>
                  </a:lnTo>
                  <a:lnTo>
                    <a:pt x="365" y="2108"/>
                  </a:lnTo>
                  <a:lnTo>
                    <a:pt x="365" y="2107"/>
                  </a:lnTo>
                  <a:lnTo>
                    <a:pt x="367" y="2107"/>
                  </a:lnTo>
                  <a:lnTo>
                    <a:pt x="367" y="2105"/>
                  </a:lnTo>
                  <a:lnTo>
                    <a:pt x="368" y="2095"/>
                  </a:lnTo>
                  <a:lnTo>
                    <a:pt x="371" y="2084"/>
                  </a:lnTo>
                  <a:lnTo>
                    <a:pt x="373" y="2079"/>
                  </a:lnTo>
                  <a:lnTo>
                    <a:pt x="376" y="2071"/>
                  </a:lnTo>
                  <a:lnTo>
                    <a:pt x="376" y="2068"/>
                  </a:lnTo>
                  <a:lnTo>
                    <a:pt x="378" y="2068"/>
                  </a:lnTo>
                  <a:lnTo>
                    <a:pt x="379" y="2068"/>
                  </a:lnTo>
                  <a:lnTo>
                    <a:pt x="379" y="2067"/>
                  </a:lnTo>
                  <a:lnTo>
                    <a:pt x="379" y="2064"/>
                  </a:lnTo>
                  <a:lnTo>
                    <a:pt x="381" y="2061"/>
                  </a:lnTo>
                  <a:lnTo>
                    <a:pt x="381" y="2059"/>
                  </a:lnTo>
                  <a:lnTo>
                    <a:pt x="381" y="2058"/>
                  </a:lnTo>
                  <a:lnTo>
                    <a:pt x="381" y="2058"/>
                  </a:lnTo>
                  <a:lnTo>
                    <a:pt x="382" y="2053"/>
                  </a:lnTo>
                  <a:lnTo>
                    <a:pt x="382" y="2053"/>
                  </a:lnTo>
                  <a:lnTo>
                    <a:pt x="384" y="2051"/>
                  </a:lnTo>
                  <a:lnTo>
                    <a:pt x="384" y="2051"/>
                  </a:lnTo>
                  <a:lnTo>
                    <a:pt x="385" y="2051"/>
                  </a:lnTo>
                  <a:lnTo>
                    <a:pt x="387" y="2051"/>
                  </a:lnTo>
                  <a:lnTo>
                    <a:pt x="388" y="2053"/>
                  </a:lnTo>
                  <a:lnTo>
                    <a:pt x="390" y="2053"/>
                  </a:lnTo>
                  <a:lnTo>
                    <a:pt x="390" y="2051"/>
                  </a:lnTo>
                  <a:lnTo>
                    <a:pt x="392" y="2051"/>
                  </a:lnTo>
                  <a:lnTo>
                    <a:pt x="392" y="2048"/>
                  </a:lnTo>
                  <a:lnTo>
                    <a:pt x="392" y="2047"/>
                  </a:lnTo>
                  <a:lnTo>
                    <a:pt x="392" y="2042"/>
                  </a:lnTo>
                  <a:lnTo>
                    <a:pt x="392" y="2039"/>
                  </a:lnTo>
                  <a:lnTo>
                    <a:pt x="390" y="2038"/>
                  </a:lnTo>
                  <a:lnTo>
                    <a:pt x="390" y="2038"/>
                  </a:lnTo>
                  <a:lnTo>
                    <a:pt x="392" y="2038"/>
                  </a:lnTo>
                  <a:lnTo>
                    <a:pt x="393" y="2036"/>
                  </a:lnTo>
                  <a:lnTo>
                    <a:pt x="395" y="2036"/>
                  </a:lnTo>
                  <a:lnTo>
                    <a:pt x="396" y="2036"/>
                  </a:lnTo>
                  <a:lnTo>
                    <a:pt x="398" y="2036"/>
                  </a:lnTo>
                  <a:lnTo>
                    <a:pt x="399" y="2036"/>
                  </a:lnTo>
                  <a:lnTo>
                    <a:pt x="399" y="2036"/>
                  </a:lnTo>
                  <a:lnTo>
                    <a:pt x="399" y="2034"/>
                  </a:lnTo>
                  <a:lnTo>
                    <a:pt x="399" y="2033"/>
                  </a:lnTo>
                  <a:lnTo>
                    <a:pt x="398" y="2033"/>
                  </a:lnTo>
                  <a:lnTo>
                    <a:pt x="398" y="2033"/>
                  </a:lnTo>
                  <a:lnTo>
                    <a:pt x="396" y="2034"/>
                  </a:lnTo>
                  <a:lnTo>
                    <a:pt x="396" y="2034"/>
                  </a:lnTo>
                  <a:lnTo>
                    <a:pt x="395" y="2034"/>
                  </a:lnTo>
                  <a:lnTo>
                    <a:pt x="395" y="2033"/>
                  </a:lnTo>
                  <a:lnTo>
                    <a:pt x="395" y="2031"/>
                  </a:lnTo>
                  <a:lnTo>
                    <a:pt x="396" y="2025"/>
                  </a:lnTo>
                  <a:lnTo>
                    <a:pt x="396" y="2024"/>
                  </a:lnTo>
                  <a:lnTo>
                    <a:pt x="396" y="2022"/>
                  </a:lnTo>
                  <a:lnTo>
                    <a:pt x="396" y="2018"/>
                  </a:lnTo>
                  <a:lnTo>
                    <a:pt x="396" y="2018"/>
                  </a:lnTo>
                  <a:lnTo>
                    <a:pt x="398" y="2013"/>
                  </a:lnTo>
                  <a:lnTo>
                    <a:pt x="399" y="2011"/>
                  </a:lnTo>
                  <a:lnTo>
                    <a:pt x="398" y="2011"/>
                  </a:lnTo>
                  <a:lnTo>
                    <a:pt x="398" y="2010"/>
                  </a:lnTo>
                  <a:lnTo>
                    <a:pt x="396" y="2008"/>
                  </a:lnTo>
                  <a:lnTo>
                    <a:pt x="396" y="2005"/>
                  </a:lnTo>
                  <a:lnTo>
                    <a:pt x="396" y="2004"/>
                  </a:lnTo>
                  <a:lnTo>
                    <a:pt x="398" y="2002"/>
                  </a:lnTo>
                  <a:lnTo>
                    <a:pt x="399" y="2002"/>
                  </a:lnTo>
                  <a:lnTo>
                    <a:pt x="399" y="2001"/>
                  </a:lnTo>
                  <a:lnTo>
                    <a:pt x="398" y="2001"/>
                  </a:lnTo>
                  <a:lnTo>
                    <a:pt x="398" y="1999"/>
                  </a:lnTo>
                  <a:lnTo>
                    <a:pt x="398" y="1999"/>
                  </a:lnTo>
                  <a:lnTo>
                    <a:pt x="396" y="1998"/>
                  </a:lnTo>
                  <a:lnTo>
                    <a:pt x="398" y="1998"/>
                  </a:lnTo>
                  <a:lnTo>
                    <a:pt x="399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1" y="1999"/>
                  </a:lnTo>
                  <a:lnTo>
                    <a:pt x="402" y="1999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8"/>
                  </a:lnTo>
                  <a:lnTo>
                    <a:pt x="402" y="1996"/>
                  </a:lnTo>
                  <a:lnTo>
                    <a:pt x="402" y="1996"/>
                  </a:lnTo>
                  <a:lnTo>
                    <a:pt x="404" y="1996"/>
                  </a:lnTo>
                  <a:lnTo>
                    <a:pt x="404" y="1996"/>
                  </a:lnTo>
                  <a:lnTo>
                    <a:pt x="404" y="1998"/>
                  </a:lnTo>
                  <a:lnTo>
                    <a:pt x="404" y="1998"/>
                  </a:lnTo>
                  <a:lnTo>
                    <a:pt x="404" y="1998"/>
                  </a:lnTo>
                  <a:lnTo>
                    <a:pt x="407" y="1999"/>
                  </a:lnTo>
                  <a:lnTo>
                    <a:pt x="407" y="1999"/>
                  </a:lnTo>
                  <a:lnTo>
                    <a:pt x="407" y="1998"/>
                  </a:lnTo>
                  <a:lnTo>
                    <a:pt x="405" y="1996"/>
                  </a:lnTo>
                  <a:lnTo>
                    <a:pt x="405" y="1994"/>
                  </a:lnTo>
                  <a:lnTo>
                    <a:pt x="407" y="1993"/>
                  </a:lnTo>
                  <a:lnTo>
                    <a:pt x="405" y="1990"/>
                  </a:lnTo>
                  <a:lnTo>
                    <a:pt x="404" y="1988"/>
                  </a:lnTo>
                  <a:lnTo>
                    <a:pt x="404" y="1988"/>
                  </a:lnTo>
                  <a:lnTo>
                    <a:pt x="404" y="1990"/>
                  </a:lnTo>
                  <a:lnTo>
                    <a:pt x="402" y="1988"/>
                  </a:lnTo>
                  <a:lnTo>
                    <a:pt x="402" y="1988"/>
                  </a:lnTo>
                  <a:lnTo>
                    <a:pt x="399" y="1984"/>
                  </a:lnTo>
                  <a:lnTo>
                    <a:pt x="398" y="1981"/>
                  </a:lnTo>
                  <a:lnTo>
                    <a:pt x="398" y="1978"/>
                  </a:lnTo>
                  <a:lnTo>
                    <a:pt x="399" y="1974"/>
                  </a:lnTo>
                  <a:lnTo>
                    <a:pt x="401" y="1971"/>
                  </a:lnTo>
                  <a:lnTo>
                    <a:pt x="399" y="1967"/>
                  </a:lnTo>
                  <a:lnTo>
                    <a:pt x="399" y="1965"/>
                  </a:lnTo>
                  <a:lnTo>
                    <a:pt x="405" y="1961"/>
                  </a:lnTo>
                  <a:lnTo>
                    <a:pt x="404" y="1961"/>
                  </a:lnTo>
                  <a:lnTo>
                    <a:pt x="405" y="1959"/>
                  </a:lnTo>
                  <a:lnTo>
                    <a:pt x="405" y="1959"/>
                  </a:lnTo>
                  <a:lnTo>
                    <a:pt x="407" y="1957"/>
                  </a:lnTo>
                  <a:lnTo>
                    <a:pt x="404" y="1956"/>
                  </a:lnTo>
                  <a:lnTo>
                    <a:pt x="404" y="1953"/>
                  </a:lnTo>
                  <a:lnTo>
                    <a:pt x="407" y="1951"/>
                  </a:lnTo>
                  <a:lnTo>
                    <a:pt x="412" y="1953"/>
                  </a:lnTo>
                  <a:lnTo>
                    <a:pt x="410" y="1950"/>
                  </a:lnTo>
                  <a:lnTo>
                    <a:pt x="412" y="1950"/>
                  </a:lnTo>
                  <a:lnTo>
                    <a:pt x="413" y="1948"/>
                  </a:lnTo>
                  <a:lnTo>
                    <a:pt x="415" y="1948"/>
                  </a:lnTo>
                  <a:lnTo>
                    <a:pt x="413" y="1948"/>
                  </a:lnTo>
                  <a:lnTo>
                    <a:pt x="412" y="1947"/>
                  </a:lnTo>
                  <a:lnTo>
                    <a:pt x="412" y="1945"/>
                  </a:lnTo>
                  <a:lnTo>
                    <a:pt x="412" y="1944"/>
                  </a:lnTo>
                  <a:lnTo>
                    <a:pt x="413" y="1942"/>
                  </a:lnTo>
                  <a:lnTo>
                    <a:pt x="413" y="1942"/>
                  </a:lnTo>
                  <a:lnTo>
                    <a:pt x="415" y="1942"/>
                  </a:lnTo>
                  <a:lnTo>
                    <a:pt x="413" y="1939"/>
                  </a:lnTo>
                  <a:lnTo>
                    <a:pt x="415" y="1941"/>
                  </a:lnTo>
                  <a:lnTo>
                    <a:pt x="415" y="1937"/>
                  </a:lnTo>
                  <a:lnTo>
                    <a:pt x="413" y="1934"/>
                  </a:lnTo>
                  <a:lnTo>
                    <a:pt x="410" y="1928"/>
                  </a:lnTo>
                  <a:lnTo>
                    <a:pt x="408" y="1927"/>
                  </a:lnTo>
                  <a:lnTo>
                    <a:pt x="402" y="1927"/>
                  </a:lnTo>
                  <a:lnTo>
                    <a:pt x="402" y="1927"/>
                  </a:lnTo>
                  <a:lnTo>
                    <a:pt x="404" y="1927"/>
                  </a:lnTo>
                  <a:lnTo>
                    <a:pt x="404" y="1925"/>
                  </a:lnTo>
                  <a:lnTo>
                    <a:pt x="402" y="1925"/>
                  </a:lnTo>
                  <a:lnTo>
                    <a:pt x="402" y="1924"/>
                  </a:lnTo>
                  <a:lnTo>
                    <a:pt x="404" y="1924"/>
                  </a:lnTo>
                  <a:lnTo>
                    <a:pt x="404" y="1922"/>
                  </a:lnTo>
                  <a:lnTo>
                    <a:pt x="404" y="1921"/>
                  </a:lnTo>
                  <a:lnTo>
                    <a:pt x="404" y="1921"/>
                  </a:lnTo>
                  <a:lnTo>
                    <a:pt x="402" y="1919"/>
                  </a:lnTo>
                  <a:lnTo>
                    <a:pt x="404" y="1919"/>
                  </a:lnTo>
                  <a:lnTo>
                    <a:pt x="404" y="1919"/>
                  </a:lnTo>
                  <a:lnTo>
                    <a:pt x="404" y="1919"/>
                  </a:lnTo>
                  <a:lnTo>
                    <a:pt x="405" y="1919"/>
                  </a:lnTo>
                  <a:lnTo>
                    <a:pt x="405" y="1921"/>
                  </a:lnTo>
                  <a:lnTo>
                    <a:pt x="405" y="1922"/>
                  </a:lnTo>
                  <a:lnTo>
                    <a:pt x="405" y="1924"/>
                  </a:lnTo>
                  <a:lnTo>
                    <a:pt x="405" y="1924"/>
                  </a:lnTo>
                  <a:lnTo>
                    <a:pt x="407" y="1924"/>
                  </a:lnTo>
                  <a:lnTo>
                    <a:pt x="408" y="1921"/>
                  </a:lnTo>
                  <a:lnTo>
                    <a:pt x="408" y="1921"/>
                  </a:lnTo>
                  <a:lnTo>
                    <a:pt x="410" y="1919"/>
                  </a:lnTo>
                  <a:lnTo>
                    <a:pt x="410" y="1919"/>
                  </a:lnTo>
                  <a:lnTo>
                    <a:pt x="410" y="1919"/>
                  </a:lnTo>
                  <a:lnTo>
                    <a:pt x="410" y="1917"/>
                  </a:lnTo>
                  <a:lnTo>
                    <a:pt x="410" y="1916"/>
                  </a:lnTo>
                  <a:lnTo>
                    <a:pt x="408" y="1916"/>
                  </a:lnTo>
                  <a:lnTo>
                    <a:pt x="408" y="1916"/>
                  </a:lnTo>
                  <a:lnTo>
                    <a:pt x="407" y="1914"/>
                  </a:lnTo>
                  <a:lnTo>
                    <a:pt x="408" y="1914"/>
                  </a:lnTo>
                  <a:lnTo>
                    <a:pt x="410" y="1914"/>
                  </a:lnTo>
                  <a:lnTo>
                    <a:pt x="410" y="1913"/>
                  </a:lnTo>
                  <a:lnTo>
                    <a:pt x="410" y="1911"/>
                  </a:lnTo>
                  <a:lnTo>
                    <a:pt x="408" y="1910"/>
                  </a:lnTo>
                  <a:lnTo>
                    <a:pt x="407" y="1908"/>
                  </a:lnTo>
                  <a:lnTo>
                    <a:pt x="407" y="1907"/>
                  </a:lnTo>
                  <a:lnTo>
                    <a:pt x="408" y="1908"/>
                  </a:lnTo>
                  <a:lnTo>
                    <a:pt x="412" y="1910"/>
                  </a:lnTo>
                  <a:lnTo>
                    <a:pt x="416" y="1910"/>
                  </a:lnTo>
                  <a:lnTo>
                    <a:pt x="416" y="1910"/>
                  </a:lnTo>
                  <a:lnTo>
                    <a:pt x="416" y="1910"/>
                  </a:lnTo>
                  <a:lnTo>
                    <a:pt x="416" y="1908"/>
                  </a:lnTo>
                  <a:lnTo>
                    <a:pt x="418" y="1908"/>
                  </a:lnTo>
                  <a:lnTo>
                    <a:pt x="416" y="1907"/>
                  </a:lnTo>
                  <a:lnTo>
                    <a:pt x="415" y="1905"/>
                  </a:lnTo>
                  <a:lnTo>
                    <a:pt x="415" y="1905"/>
                  </a:lnTo>
                  <a:lnTo>
                    <a:pt x="413" y="1905"/>
                  </a:lnTo>
                  <a:lnTo>
                    <a:pt x="413" y="1904"/>
                  </a:lnTo>
                  <a:lnTo>
                    <a:pt x="413" y="1902"/>
                  </a:lnTo>
                  <a:lnTo>
                    <a:pt x="410" y="1899"/>
                  </a:lnTo>
                  <a:lnTo>
                    <a:pt x="408" y="1899"/>
                  </a:lnTo>
                  <a:lnTo>
                    <a:pt x="408" y="1899"/>
                  </a:lnTo>
                  <a:lnTo>
                    <a:pt x="407" y="1897"/>
                  </a:lnTo>
                  <a:lnTo>
                    <a:pt x="407" y="1896"/>
                  </a:lnTo>
                  <a:lnTo>
                    <a:pt x="407" y="1896"/>
                  </a:lnTo>
                  <a:lnTo>
                    <a:pt x="404" y="1891"/>
                  </a:lnTo>
                  <a:lnTo>
                    <a:pt x="399" y="1888"/>
                  </a:lnTo>
                  <a:lnTo>
                    <a:pt x="396" y="1885"/>
                  </a:lnTo>
                  <a:lnTo>
                    <a:pt x="396" y="1884"/>
                  </a:lnTo>
                  <a:lnTo>
                    <a:pt x="395" y="1882"/>
                  </a:lnTo>
                  <a:lnTo>
                    <a:pt x="404" y="1890"/>
                  </a:lnTo>
                  <a:lnTo>
                    <a:pt x="410" y="1899"/>
                  </a:lnTo>
                  <a:lnTo>
                    <a:pt x="412" y="1899"/>
                  </a:lnTo>
                  <a:lnTo>
                    <a:pt x="415" y="1902"/>
                  </a:lnTo>
                  <a:lnTo>
                    <a:pt x="416" y="1902"/>
                  </a:lnTo>
                  <a:lnTo>
                    <a:pt x="416" y="1902"/>
                  </a:lnTo>
                  <a:lnTo>
                    <a:pt x="415" y="1899"/>
                  </a:lnTo>
                  <a:lnTo>
                    <a:pt x="398" y="1882"/>
                  </a:lnTo>
                  <a:lnTo>
                    <a:pt x="398" y="1880"/>
                  </a:lnTo>
                  <a:lnTo>
                    <a:pt x="399" y="1880"/>
                  </a:lnTo>
                  <a:lnTo>
                    <a:pt x="401" y="1882"/>
                  </a:lnTo>
                  <a:lnTo>
                    <a:pt x="401" y="1880"/>
                  </a:lnTo>
                  <a:lnTo>
                    <a:pt x="399" y="1879"/>
                  </a:lnTo>
                  <a:lnTo>
                    <a:pt x="402" y="1880"/>
                  </a:lnTo>
                  <a:lnTo>
                    <a:pt x="404" y="1880"/>
                  </a:lnTo>
                  <a:lnTo>
                    <a:pt x="405" y="1882"/>
                  </a:lnTo>
                  <a:lnTo>
                    <a:pt x="407" y="1882"/>
                  </a:lnTo>
                  <a:lnTo>
                    <a:pt x="407" y="1880"/>
                  </a:lnTo>
                  <a:lnTo>
                    <a:pt x="407" y="1879"/>
                  </a:lnTo>
                  <a:lnTo>
                    <a:pt x="407" y="1877"/>
                  </a:lnTo>
                  <a:lnTo>
                    <a:pt x="407" y="1877"/>
                  </a:lnTo>
                  <a:lnTo>
                    <a:pt x="407" y="1876"/>
                  </a:lnTo>
                  <a:lnTo>
                    <a:pt x="408" y="1876"/>
                  </a:lnTo>
                  <a:lnTo>
                    <a:pt x="404" y="1874"/>
                  </a:lnTo>
                  <a:lnTo>
                    <a:pt x="401" y="1871"/>
                  </a:lnTo>
                  <a:lnTo>
                    <a:pt x="401" y="1870"/>
                  </a:lnTo>
                  <a:lnTo>
                    <a:pt x="401" y="1870"/>
                  </a:lnTo>
                  <a:lnTo>
                    <a:pt x="401" y="1868"/>
                  </a:lnTo>
                  <a:lnTo>
                    <a:pt x="401" y="1867"/>
                  </a:lnTo>
                  <a:lnTo>
                    <a:pt x="402" y="1867"/>
                  </a:lnTo>
                  <a:lnTo>
                    <a:pt x="412" y="1877"/>
                  </a:lnTo>
                  <a:lnTo>
                    <a:pt x="412" y="1877"/>
                  </a:lnTo>
                  <a:lnTo>
                    <a:pt x="410" y="1877"/>
                  </a:lnTo>
                  <a:lnTo>
                    <a:pt x="410" y="1876"/>
                  </a:lnTo>
                  <a:lnTo>
                    <a:pt x="408" y="1877"/>
                  </a:lnTo>
                  <a:lnTo>
                    <a:pt x="410" y="1877"/>
                  </a:lnTo>
                  <a:lnTo>
                    <a:pt x="410" y="1879"/>
                  </a:lnTo>
                  <a:lnTo>
                    <a:pt x="410" y="1880"/>
                  </a:lnTo>
                  <a:lnTo>
                    <a:pt x="410" y="1882"/>
                  </a:lnTo>
                  <a:lnTo>
                    <a:pt x="412" y="1882"/>
                  </a:lnTo>
                  <a:lnTo>
                    <a:pt x="413" y="1882"/>
                  </a:lnTo>
                  <a:lnTo>
                    <a:pt x="415" y="1880"/>
                  </a:lnTo>
                  <a:lnTo>
                    <a:pt x="415" y="1877"/>
                  </a:lnTo>
                  <a:lnTo>
                    <a:pt x="415" y="1879"/>
                  </a:lnTo>
                  <a:lnTo>
                    <a:pt x="416" y="1882"/>
                  </a:lnTo>
                  <a:lnTo>
                    <a:pt x="418" y="1884"/>
                  </a:lnTo>
                  <a:lnTo>
                    <a:pt x="419" y="1884"/>
                  </a:lnTo>
                  <a:lnTo>
                    <a:pt x="421" y="1884"/>
                  </a:lnTo>
                  <a:lnTo>
                    <a:pt x="421" y="1882"/>
                  </a:lnTo>
                  <a:lnTo>
                    <a:pt x="421" y="1880"/>
                  </a:lnTo>
                  <a:lnTo>
                    <a:pt x="419" y="1879"/>
                  </a:lnTo>
                  <a:lnTo>
                    <a:pt x="418" y="1877"/>
                  </a:lnTo>
                  <a:lnTo>
                    <a:pt x="421" y="1879"/>
                  </a:lnTo>
                  <a:lnTo>
                    <a:pt x="422" y="1879"/>
                  </a:lnTo>
                  <a:lnTo>
                    <a:pt x="421" y="1877"/>
                  </a:lnTo>
                  <a:lnTo>
                    <a:pt x="419" y="1876"/>
                  </a:lnTo>
                  <a:lnTo>
                    <a:pt x="419" y="1874"/>
                  </a:lnTo>
                  <a:lnTo>
                    <a:pt x="419" y="1873"/>
                  </a:lnTo>
                  <a:lnTo>
                    <a:pt x="419" y="1871"/>
                  </a:lnTo>
                  <a:lnTo>
                    <a:pt x="418" y="1870"/>
                  </a:lnTo>
                  <a:lnTo>
                    <a:pt x="418" y="1871"/>
                  </a:lnTo>
                  <a:lnTo>
                    <a:pt x="416" y="1873"/>
                  </a:lnTo>
                  <a:lnTo>
                    <a:pt x="416" y="1871"/>
                  </a:lnTo>
                  <a:lnTo>
                    <a:pt x="415" y="1868"/>
                  </a:lnTo>
                  <a:lnTo>
                    <a:pt x="415" y="1868"/>
                  </a:lnTo>
                  <a:lnTo>
                    <a:pt x="413" y="1868"/>
                  </a:lnTo>
                  <a:lnTo>
                    <a:pt x="413" y="1868"/>
                  </a:lnTo>
                  <a:lnTo>
                    <a:pt x="412" y="1865"/>
                  </a:lnTo>
                  <a:lnTo>
                    <a:pt x="412" y="1864"/>
                  </a:lnTo>
                  <a:lnTo>
                    <a:pt x="412" y="1862"/>
                  </a:lnTo>
                  <a:lnTo>
                    <a:pt x="413" y="1862"/>
                  </a:lnTo>
                  <a:lnTo>
                    <a:pt x="415" y="1867"/>
                  </a:lnTo>
                  <a:lnTo>
                    <a:pt x="416" y="1867"/>
                  </a:lnTo>
                  <a:lnTo>
                    <a:pt x="415" y="1865"/>
                  </a:lnTo>
                  <a:lnTo>
                    <a:pt x="415" y="1865"/>
                  </a:lnTo>
                  <a:lnTo>
                    <a:pt x="418" y="1864"/>
                  </a:lnTo>
                  <a:lnTo>
                    <a:pt x="418" y="1865"/>
                  </a:lnTo>
                  <a:lnTo>
                    <a:pt x="419" y="1865"/>
                  </a:lnTo>
                  <a:lnTo>
                    <a:pt x="419" y="1865"/>
                  </a:lnTo>
                  <a:lnTo>
                    <a:pt x="419" y="1864"/>
                  </a:lnTo>
                  <a:lnTo>
                    <a:pt x="419" y="1860"/>
                  </a:lnTo>
                  <a:lnTo>
                    <a:pt x="418" y="1860"/>
                  </a:lnTo>
                  <a:lnTo>
                    <a:pt x="416" y="1860"/>
                  </a:lnTo>
                  <a:lnTo>
                    <a:pt x="415" y="1859"/>
                  </a:lnTo>
                  <a:lnTo>
                    <a:pt x="416" y="1859"/>
                  </a:lnTo>
                  <a:lnTo>
                    <a:pt x="416" y="1859"/>
                  </a:lnTo>
                  <a:lnTo>
                    <a:pt x="418" y="1857"/>
                  </a:lnTo>
                  <a:lnTo>
                    <a:pt x="418" y="1856"/>
                  </a:lnTo>
                  <a:lnTo>
                    <a:pt x="419" y="1854"/>
                  </a:lnTo>
                  <a:lnTo>
                    <a:pt x="418" y="1853"/>
                  </a:lnTo>
                  <a:lnTo>
                    <a:pt x="415" y="1848"/>
                  </a:lnTo>
                  <a:lnTo>
                    <a:pt x="413" y="1847"/>
                  </a:lnTo>
                  <a:lnTo>
                    <a:pt x="413" y="1847"/>
                  </a:lnTo>
                  <a:lnTo>
                    <a:pt x="415" y="1847"/>
                  </a:lnTo>
                  <a:lnTo>
                    <a:pt x="415" y="1847"/>
                  </a:lnTo>
                  <a:lnTo>
                    <a:pt x="413" y="1844"/>
                  </a:lnTo>
                  <a:lnTo>
                    <a:pt x="412" y="1840"/>
                  </a:lnTo>
                  <a:lnTo>
                    <a:pt x="410" y="1839"/>
                  </a:lnTo>
                  <a:lnTo>
                    <a:pt x="413" y="1840"/>
                  </a:lnTo>
                  <a:lnTo>
                    <a:pt x="418" y="1845"/>
                  </a:lnTo>
                  <a:lnTo>
                    <a:pt x="422" y="1848"/>
                  </a:lnTo>
                  <a:lnTo>
                    <a:pt x="424" y="1844"/>
                  </a:lnTo>
                  <a:lnTo>
                    <a:pt x="424" y="1844"/>
                  </a:lnTo>
                  <a:lnTo>
                    <a:pt x="422" y="1842"/>
                  </a:lnTo>
                  <a:lnTo>
                    <a:pt x="422" y="1842"/>
                  </a:lnTo>
                  <a:lnTo>
                    <a:pt x="422" y="1840"/>
                  </a:lnTo>
                  <a:lnTo>
                    <a:pt x="424" y="1842"/>
                  </a:lnTo>
                  <a:lnTo>
                    <a:pt x="425" y="1842"/>
                  </a:lnTo>
                  <a:lnTo>
                    <a:pt x="425" y="1842"/>
                  </a:lnTo>
                  <a:lnTo>
                    <a:pt x="425" y="1839"/>
                  </a:lnTo>
                  <a:lnTo>
                    <a:pt x="425" y="1837"/>
                  </a:lnTo>
                  <a:lnTo>
                    <a:pt x="424" y="1836"/>
                  </a:lnTo>
                  <a:lnTo>
                    <a:pt x="424" y="1834"/>
                  </a:lnTo>
                  <a:lnTo>
                    <a:pt x="422" y="1833"/>
                  </a:lnTo>
                  <a:lnTo>
                    <a:pt x="422" y="1833"/>
                  </a:lnTo>
                  <a:lnTo>
                    <a:pt x="424" y="1833"/>
                  </a:lnTo>
                  <a:lnTo>
                    <a:pt x="418" y="1830"/>
                  </a:lnTo>
                  <a:lnTo>
                    <a:pt x="416" y="1828"/>
                  </a:lnTo>
                  <a:lnTo>
                    <a:pt x="416" y="1828"/>
                  </a:lnTo>
                  <a:lnTo>
                    <a:pt x="419" y="1827"/>
                  </a:lnTo>
                  <a:lnTo>
                    <a:pt x="419" y="1827"/>
                  </a:lnTo>
                  <a:lnTo>
                    <a:pt x="421" y="1827"/>
                  </a:lnTo>
                  <a:lnTo>
                    <a:pt x="421" y="1825"/>
                  </a:lnTo>
                  <a:lnTo>
                    <a:pt x="421" y="1824"/>
                  </a:lnTo>
                  <a:lnTo>
                    <a:pt x="421" y="1824"/>
                  </a:lnTo>
                  <a:lnTo>
                    <a:pt x="421" y="1824"/>
                  </a:lnTo>
                  <a:lnTo>
                    <a:pt x="422" y="1824"/>
                  </a:lnTo>
                  <a:lnTo>
                    <a:pt x="422" y="1824"/>
                  </a:lnTo>
                  <a:lnTo>
                    <a:pt x="424" y="1820"/>
                  </a:lnTo>
                  <a:lnTo>
                    <a:pt x="422" y="1820"/>
                  </a:lnTo>
                  <a:lnTo>
                    <a:pt x="418" y="1822"/>
                  </a:lnTo>
                  <a:lnTo>
                    <a:pt x="418" y="1824"/>
                  </a:lnTo>
                  <a:lnTo>
                    <a:pt x="418" y="1824"/>
                  </a:lnTo>
                  <a:lnTo>
                    <a:pt x="418" y="1825"/>
                  </a:lnTo>
                  <a:lnTo>
                    <a:pt x="416" y="1825"/>
                  </a:lnTo>
                  <a:lnTo>
                    <a:pt x="416" y="1825"/>
                  </a:lnTo>
                  <a:lnTo>
                    <a:pt x="416" y="1824"/>
                  </a:lnTo>
                  <a:lnTo>
                    <a:pt x="416" y="1822"/>
                  </a:lnTo>
                  <a:lnTo>
                    <a:pt x="415" y="1820"/>
                  </a:lnTo>
                  <a:lnTo>
                    <a:pt x="412" y="1819"/>
                  </a:lnTo>
                  <a:lnTo>
                    <a:pt x="412" y="1817"/>
                  </a:lnTo>
                  <a:lnTo>
                    <a:pt x="421" y="1819"/>
                  </a:lnTo>
                  <a:lnTo>
                    <a:pt x="421" y="1816"/>
                  </a:lnTo>
                  <a:lnTo>
                    <a:pt x="421" y="1814"/>
                  </a:lnTo>
                  <a:lnTo>
                    <a:pt x="419" y="1814"/>
                  </a:lnTo>
                  <a:lnTo>
                    <a:pt x="419" y="1814"/>
                  </a:lnTo>
                  <a:lnTo>
                    <a:pt x="419" y="1816"/>
                  </a:lnTo>
                  <a:lnTo>
                    <a:pt x="418" y="1816"/>
                  </a:lnTo>
                  <a:lnTo>
                    <a:pt x="418" y="1816"/>
                  </a:lnTo>
                  <a:lnTo>
                    <a:pt x="416" y="1814"/>
                  </a:lnTo>
                  <a:lnTo>
                    <a:pt x="416" y="1814"/>
                  </a:lnTo>
                  <a:lnTo>
                    <a:pt x="418" y="1813"/>
                  </a:lnTo>
                  <a:lnTo>
                    <a:pt x="418" y="1811"/>
                  </a:lnTo>
                  <a:lnTo>
                    <a:pt x="416" y="1810"/>
                  </a:lnTo>
                  <a:lnTo>
                    <a:pt x="415" y="1808"/>
                  </a:lnTo>
                  <a:lnTo>
                    <a:pt x="413" y="1808"/>
                  </a:lnTo>
                  <a:lnTo>
                    <a:pt x="398" y="1800"/>
                  </a:lnTo>
                  <a:lnTo>
                    <a:pt x="395" y="1799"/>
                  </a:lnTo>
                  <a:lnTo>
                    <a:pt x="396" y="1799"/>
                  </a:lnTo>
                  <a:lnTo>
                    <a:pt x="404" y="1800"/>
                  </a:lnTo>
                  <a:lnTo>
                    <a:pt x="408" y="1803"/>
                  </a:lnTo>
                  <a:lnTo>
                    <a:pt x="418" y="1805"/>
                  </a:lnTo>
                  <a:lnTo>
                    <a:pt x="418" y="1805"/>
                  </a:lnTo>
                  <a:lnTo>
                    <a:pt x="419" y="1807"/>
                  </a:lnTo>
                  <a:lnTo>
                    <a:pt x="419" y="1807"/>
                  </a:lnTo>
                  <a:lnTo>
                    <a:pt x="419" y="1807"/>
                  </a:lnTo>
                  <a:lnTo>
                    <a:pt x="421" y="1805"/>
                  </a:lnTo>
                  <a:lnTo>
                    <a:pt x="421" y="1805"/>
                  </a:lnTo>
                  <a:lnTo>
                    <a:pt x="424" y="1803"/>
                  </a:lnTo>
                  <a:lnTo>
                    <a:pt x="425" y="1803"/>
                  </a:lnTo>
                  <a:lnTo>
                    <a:pt x="427" y="1802"/>
                  </a:lnTo>
                  <a:lnTo>
                    <a:pt x="427" y="1799"/>
                  </a:lnTo>
                  <a:lnTo>
                    <a:pt x="428" y="1799"/>
                  </a:lnTo>
                  <a:lnTo>
                    <a:pt x="432" y="1799"/>
                  </a:lnTo>
                  <a:lnTo>
                    <a:pt x="433" y="1797"/>
                  </a:lnTo>
                  <a:lnTo>
                    <a:pt x="430" y="1794"/>
                  </a:lnTo>
                  <a:lnTo>
                    <a:pt x="427" y="1793"/>
                  </a:lnTo>
                  <a:lnTo>
                    <a:pt x="425" y="1793"/>
                  </a:lnTo>
                  <a:lnTo>
                    <a:pt x="427" y="1791"/>
                  </a:lnTo>
                  <a:lnTo>
                    <a:pt x="427" y="1790"/>
                  </a:lnTo>
                  <a:lnTo>
                    <a:pt x="424" y="1790"/>
                  </a:lnTo>
                  <a:lnTo>
                    <a:pt x="424" y="1788"/>
                  </a:lnTo>
                  <a:lnTo>
                    <a:pt x="425" y="1788"/>
                  </a:lnTo>
                  <a:lnTo>
                    <a:pt x="425" y="1788"/>
                  </a:lnTo>
                  <a:lnTo>
                    <a:pt x="424" y="1788"/>
                  </a:lnTo>
                  <a:lnTo>
                    <a:pt x="422" y="1787"/>
                  </a:lnTo>
                  <a:lnTo>
                    <a:pt x="422" y="1783"/>
                  </a:lnTo>
                  <a:lnTo>
                    <a:pt x="422" y="1780"/>
                  </a:lnTo>
                  <a:lnTo>
                    <a:pt x="422" y="1780"/>
                  </a:lnTo>
                  <a:lnTo>
                    <a:pt x="419" y="1780"/>
                  </a:lnTo>
                  <a:lnTo>
                    <a:pt x="419" y="1780"/>
                  </a:lnTo>
                  <a:lnTo>
                    <a:pt x="419" y="1782"/>
                  </a:lnTo>
                  <a:lnTo>
                    <a:pt x="419" y="1783"/>
                  </a:lnTo>
                  <a:lnTo>
                    <a:pt x="418" y="1782"/>
                  </a:lnTo>
                  <a:lnTo>
                    <a:pt x="415" y="1780"/>
                  </a:lnTo>
                  <a:lnTo>
                    <a:pt x="415" y="1780"/>
                  </a:lnTo>
                  <a:lnTo>
                    <a:pt x="413" y="1779"/>
                  </a:lnTo>
                  <a:lnTo>
                    <a:pt x="412" y="1779"/>
                  </a:lnTo>
                  <a:lnTo>
                    <a:pt x="402" y="1779"/>
                  </a:lnTo>
                  <a:lnTo>
                    <a:pt x="401" y="1777"/>
                  </a:lnTo>
                  <a:lnTo>
                    <a:pt x="398" y="1776"/>
                  </a:lnTo>
                  <a:lnTo>
                    <a:pt x="396" y="1776"/>
                  </a:lnTo>
                  <a:lnTo>
                    <a:pt x="396" y="1776"/>
                  </a:lnTo>
                  <a:lnTo>
                    <a:pt x="395" y="1779"/>
                  </a:lnTo>
                  <a:lnTo>
                    <a:pt x="395" y="1780"/>
                  </a:lnTo>
                  <a:lnTo>
                    <a:pt x="395" y="1782"/>
                  </a:lnTo>
                  <a:lnTo>
                    <a:pt x="393" y="1783"/>
                  </a:lnTo>
                  <a:lnTo>
                    <a:pt x="393" y="1783"/>
                  </a:lnTo>
                  <a:lnTo>
                    <a:pt x="392" y="1782"/>
                  </a:lnTo>
                  <a:lnTo>
                    <a:pt x="392" y="1782"/>
                  </a:lnTo>
                  <a:lnTo>
                    <a:pt x="392" y="1779"/>
                  </a:lnTo>
                  <a:lnTo>
                    <a:pt x="392" y="1779"/>
                  </a:lnTo>
                  <a:lnTo>
                    <a:pt x="392" y="1779"/>
                  </a:lnTo>
                  <a:lnTo>
                    <a:pt x="390" y="1777"/>
                  </a:lnTo>
                  <a:lnTo>
                    <a:pt x="388" y="1776"/>
                  </a:lnTo>
                  <a:lnTo>
                    <a:pt x="388" y="1777"/>
                  </a:lnTo>
                  <a:lnTo>
                    <a:pt x="387" y="1779"/>
                  </a:lnTo>
                  <a:lnTo>
                    <a:pt x="385" y="1780"/>
                  </a:lnTo>
                  <a:lnTo>
                    <a:pt x="382" y="1777"/>
                  </a:lnTo>
                  <a:lnTo>
                    <a:pt x="381" y="1779"/>
                  </a:lnTo>
                  <a:lnTo>
                    <a:pt x="379" y="1777"/>
                  </a:lnTo>
                  <a:lnTo>
                    <a:pt x="379" y="1777"/>
                  </a:lnTo>
                  <a:lnTo>
                    <a:pt x="378" y="1777"/>
                  </a:lnTo>
                  <a:lnTo>
                    <a:pt x="378" y="1777"/>
                  </a:lnTo>
                  <a:lnTo>
                    <a:pt x="378" y="1777"/>
                  </a:lnTo>
                  <a:lnTo>
                    <a:pt x="379" y="1777"/>
                  </a:lnTo>
                  <a:lnTo>
                    <a:pt x="382" y="1777"/>
                  </a:lnTo>
                  <a:lnTo>
                    <a:pt x="382" y="1777"/>
                  </a:lnTo>
                  <a:lnTo>
                    <a:pt x="384" y="1776"/>
                  </a:lnTo>
                  <a:lnTo>
                    <a:pt x="382" y="1774"/>
                  </a:lnTo>
                  <a:lnTo>
                    <a:pt x="382" y="1774"/>
                  </a:lnTo>
                  <a:lnTo>
                    <a:pt x="381" y="1773"/>
                  </a:lnTo>
                  <a:lnTo>
                    <a:pt x="381" y="1773"/>
                  </a:lnTo>
                  <a:lnTo>
                    <a:pt x="407" y="1776"/>
                  </a:lnTo>
                  <a:lnTo>
                    <a:pt x="433" y="1779"/>
                  </a:lnTo>
                  <a:lnTo>
                    <a:pt x="439" y="1776"/>
                  </a:lnTo>
                  <a:lnTo>
                    <a:pt x="441" y="1776"/>
                  </a:lnTo>
                  <a:lnTo>
                    <a:pt x="439" y="1773"/>
                  </a:lnTo>
                  <a:lnTo>
                    <a:pt x="438" y="1773"/>
                  </a:lnTo>
                  <a:lnTo>
                    <a:pt x="435" y="1773"/>
                  </a:lnTo>
                  <a:lnTo>
                    <a:pt x="436" y="1770"/>
                  </a:lnTo>
                  <a:lnTo>
                    <a:pt x="439" y="1770"/>
                  </a:lnTo>
                  <a:lnTo>
                    <a:pt x="444" y="1773"/>
                  </a:lnTo>
                  <a:lnTo>
                    <a:pt x="445" y="1773"/>
                  </a:lnTo>
                  <a:lnTo>
                    <a:pt x="447" y="1773"/>
                  </a:lnTo>
                  <a:lnTo>
                    <a:pt x="447" y="1770"/>
                  </a:lnTo>
                  <a:lnTo>
                    <a:pt x="448" y="1768"/>
                  </a:lnTo>
                  <a:lnTo>
                    <a:pt x="448" y="1767"/>
                  </a:lnTo>
                  <a:lnTo>
                    <a:pt x="447" y="1767"/>
                  </a:lnTo>
                  <a:lnTo>
                    <a:pt x="444" y="1767"/>
                  </a:lnTo>
                  <a:lnTo>
                    <a:pt x="442" y="1767"/>
                  </a:lnTo>
                  <a:lnTo>
                    <a:pt x="444" y="1765"/>
                  </a:lnTo>
                  <a:lnTo>
                    <a:pt x="444" y="1765"/>
                  </a:lnTo>
                  <a:lnTo>
                    <a:pt x="444" y="1763"/>
                  </a:lnTo>
                  <a:lnTo>
                    <a:pt x="444" y="1762"/>
                  </a:lnTo>
                  <a:lnTo>
                    <a:pt x="444" y="1762"/>
                  </a:lnTo>
                  <a:lnTo>
                    <a:pt x="441" y="1760"/>
                  </a:lnTo>
                  <a:lnTo>
                    <a:pt x="441" y="1760"/>
                  </a:lnTo>
                  <a:lnTo>
                    <a:pt x="442" y="1760"/>
                  </a:lnTo>
                  <a:lnTo>
                    <a:pt x="444" y="1759"/>
                  </a:lnTo>
                  <a:lnTo>
                    <a:pt x="445" y="1759"/>
                  </a:lnTo>
                  <a:lnTo>
                    <a:pt x="445" y="1759"/>
                  </a:lnTo>
                  <a:lnTo>
                    <a:pt x="447" y="1762"/>
                  </a:lnTo>
                  <a:lnTo>
                    <a:pt x="448" y="1762"/>
                  </a:lnTo>
                  <a:lnTo>
                    <a:pt x="450" y="1763"/>
                  </a:lnTo>
                  <a:lnTo>
                    <a:pt x="459" y="1763"/>
                  </a:lnTo>
                  <a:lnTo>
                    <a:pt x="459" y="1760"/>
                  </a:lnTo>
                  <a:lnTo>
                    <a:pt x="461" y="1760"/>
                  </a:lnTo>
                  <a:lnTo>
                    <a:pt x="465" y="1760"/>
                  </a:lnTo>
                  <a:lnTo>
                    <a:pt x="467" y="1759"/>
                  </a:lnTo>
                  <a:lnTo>
                    <a:pt x="465" y="1756"/>
                  </a:lnTo>
                  <a:lnTo>
                    <a:pt x="464" y="1753"/>
                  </a:lnTo>
                  <a:lnTo>
                    <a:pt x="473" y="1754"/>
                  </a:lnTo>
                  <a:lnTo>
                    <a:pt x="475" y="1753"/>
                  </a:lnTo>
                  <a:lnTo>
                    <a:pt x="473" y="1751"/>
                  </a:lnTo>
                  <a:lnTo>
                    <a:pt x="472" y="1751"/>
                  </a:lnTo>
                  <a:lnTo>
                    <a:pt x="472" y="1751"/>
                  </a:lnTo>
                  <a:lnTo>
                    <a:pt x="472" y="1750"/>
                  </a:lnTo>
                  <a:lnTo>
                    <a:pt x="473" y="1748"/>
                  </a:lnTo>
                  <a:lnTo>
                    <a:pt x="473" y="1743"/>
                  </a:lnTo>
                  <a:lnTo>
                    <a:pt x="473" y="1742"/>
                  </a:lnTo>
                  <a:lnTo>
                    <a:pt x="472" y="1740"/>
                  </a:lnTo>
                  <a:lnTo>
                    <a:pt x="472" y="1740"/>
                  </a:lnTo>
                  <a:lnTo>
                    <a:pt x="475" y="1740"/>
                  </a:lnTo>
                  <a:lnTo>
                    <a:pt x="479" y="1745"/>
                  </a:lnTo>
                  <a:lnTo>
                    <a:pt x="482" y="1745"/>
                  </a:lnTo>
                  <a:lnTo>
                    <a:pt x="481" y="1745"/>
                  </a:lnTo>
                  <a:lnTo>
                    <a:pt x="481" y="1745"/>
                  </a:lnTo>
                  <a:lnTo>
                    <a:pt x="482" y="1745"/>
                  </a:lnTo>
                  <a:lnTo>
                    <a:pt x="482" y="1743"/>
                  </a:lnTo>
                  <a:lnTo>
                    <a:pt x="479" y="1742"/>
                  </a:lnTo>
                  <a:lnTo>
                    <a:pt x="479" y="1740"/>
                  </a:lnTo>
                  <a:lnTo>
                    <a:pt x="478" y="1739"/>
                  </a:lnTo>
                  <a:lnTo>
                    <a:pt x="479" y="1739"/>
                  </a:lnTo>
                  <a:lnTo>
                    <a:pt x="481" y="1740"/>
                  </a:lnTo>
                  <a:lnTo>
                    <a:pt x="482" y="1740"/>
                  </a:lnTo>
                  <a:lnTo>
                    <a:pt x="484" y="1739"/>
                  </a:lnTo>
                  <a:lnTo>
                    <a:pt x="485" y="1736"/>
                  </a:lnTo>
                  <a:lnTo>
                    <a:pt x="484" y="1736"/>
                  </a:lnTo>
                  <a:lnTo>
                    <a:pt x="482" y="1736"/>
                  </a:lnTo>
                  <a:lnTo>
                    <a:pt x="484" y="1734"/>
                  </a:lnTo>
                  <a:lnTo>
                    <a:pt x="484" y="1733"/>
                  </a:lnTo>
                  <a:lnTo>
                    <a:pt x="482" y="1733"/>
                  </a:lnTo>
                  <a:lnTo>
                    <a:pt x="482" y="1733"/>
                  </a:lnTo>
                  <a:lnTo>
                    <a:pt x="482" y="1731"/>
                  </a:lnTo>
                  <a:lnTo>
                    <a:pt x="481" y="1731"/>
                  </a:lnTo>
                  <a:lnTo>
                    <a:pt x="481" y="1730"/>
                  </a:lnTo>
                  <a:lnTo>
                    <a:pt x="482" y="1730"/>
                  </a:lnTo>
                  <a:lnTo>
                    <a:pt x="482" y="1730"/>
                  </a:lnTo>
                  <a:lnTo>
                    <a:pt x="482" y="1728"/>
                  </a:lnTo>
                  <a:lnTo>
                    <a:pt x="484" y="1730"/>
                  </a:lnTo>
                  <a:lnTo>
                    <a:pt x="484" y="1728"/>
                  </a:lnTo>
                  <a:lnTo>
                    <a:pt x="484" y="1725"/>
                  </a:lnTo>
                  <a:lnTo>
                    <a:pt x="485" y="1722"/>
                  </a:lnTo>
                  <a:lnTo>
                    <a:pt x="484" y="1720"/>
                  </a:lnTo>
                  <a:lnTo>
                    <a:pt x="484" y="1717"/>
                  </a:lnTo>
                  <a:lnTo>
                    <a:pt x="484" y="1714"/>
                  </a:lnTo>
                  <a:lnTo>
                    <a:pt x="484" y="1711"/>
                  </a:lnTo>
                  <a:lnTo>
                    <a:pt x="485" y="1710"/>
                  </a:lnTo>
                  <a:lnTo>
                    <a:pt x="487" y="1710"/>
                  </a:lnTo>
                  <a:lnTo>
                    <a:pt x="487" y="1708"/>
                  </a:lnTo>
                  <a:lnTo>
                    <a:pt x="489" y="1705"/>
                  </a:lnTo>
                  <a:lnTo>
                    <a:pt x="487" y="1700"/>
                  </a:lnTo>
                  <a:lnTo>
                    <a:pt x="489" y="1700"/>
                  </a:lnTo>
                  <a:lnTo>
                    <a:pt x="489" y="1702"/>
                  </a:lnTo>
                  <a:lnTo>
                    <a:pt x="490" y="1703"/>
                  </a:lnTo>
                  <a:lnTo>
                    <a:pt x="490" y="1705"/>
                  </a:lnTo>
                  <a:lnTo>
                    <a:pt x="490" y="1708"/>
                  </a:lnTo>
                  <a:lnTo>
                    <a:pt x="489" y="1711"/>
                  </a:lnTo>
                  <a:lnTo>
                    <a:pt x="489" y="1713"/>
                  </a:lnTo>
                  <a:lnTo>
                    <a:pt x="490" y="1716"/>
                  </a:lnTo>
                  <a:lnTo>
                    <a:pt x="492" y="1717"/>
                  </a:lnTo>
                  <a:lnTo>
                    <a:pt x="492" y="1716"/>
                  </a:lnTo>
                  <a:lnTo>
                    <a:pt x="492" y="1714"/>
                  </a:lnTo>
                  <a:lnTo>
                    <a:pt x="493" y="1710"/>
                  </a:lnTo>
                  <a:lnTo>
                    <a:pt x="493" y="1708"/>
                  </a:lnTo>
                  <a:lnTo>
                    <a:pt x="493" y="1706"/>
                  </a:lnTo>
                  <a:lnTo>
                    <a:pt x="495" y="1706"/>
                  </a:lnTo>
                  <a:lnTo>
                    <a:pt x="496" y="1706"/>
                  </a:lnTo>
                  <a:lnTo>
                    <a:pt x="496" y="1710"/>
                  </a:lnTo>
                  <a:lnTo>
                    <a:pt x="495" y="1713"/>
                  </a:lnTo>
                  <a:lnTo>
                    <a:pt x="495" y="1713"/>
                  </a:lnTo>
                  <a:lnTo>
                    <a:pt x="495" y="1714"/>
                  </a:lnTo>
                  <a:lnTo>
                    <a:pt x="495" y="1719"/>
                  </a:lnTo>
                  <a:lnTo>
                    <a:pt x="495" y="1723"/>
                  </a:lnTo>
                  <a:lnTo>
                    <a:pt x="493" y="1726"/>
                  </a:lnTo>
                  <a:lnTo>
                    <a:pt x="493" y="1726"/>
                  </a:lnTo>
                  <a:lnTo>
                    <a:pt x="495" y="1730"/>
                  </a:lnTo>
                  <a:lnTo>
                    <a:pt x="493" y="1733"/>
                  </a:lnTo>
                  <a:lnTo>
                    <a:pt x="495" y="1736"/>
                  </a:lnTo>
                  <a:lnTo>
                    <a:pt x="496" y="1737"/>
                  </a:lnTo>
                  <a:lnTo>
                    <a:pt x="496" y="1737"/>
                  </a:lnTo>
                  <a:lnTo>
                    <a:pt x="496" y="1739"/>
                  </a:lnTo>
                  <a:lnTo>
                    <a:pt x="496" y="1740"/>
                  </a:lnTo>
                  <a:lnTo>
                    <a:pt x="496" y="1742"/>
                  </a:lnTo>
                  <a:lnTo>
                    <a:pt x="496" y="1742"/>
                  </a:lnTo>
                  <a:lnTo>
                    <a:pt x="498" y="1740"/>
                  </a:lnTo>
                  <a:lnTo>
                    <a:pt x="498" y="1737"/>
                  </a:lnTo>
                  <a:lnTo>
                    <a:pt x="496" y="1736"/>
                  </a:lnTo>
                  <a:lnTo>
                    <a:pt x="496" y="1733"/>
                  </a:lnTo>
                  <a:lnTo>
                    <a:pt x="496" y="1730"/>
                  </a:lnTo>
                  <a:lnTo>
                    <a:pt x="496" y="1731"/>
                  </a:lnTo>
                  <a:lnTo>
                    <a:pt x="498" y="1734"/>
                  </a:lnTo>
                  <a:lnTo>
                    <a:pt x="499" y="1734"/>
                  </a:lnTo>
                  <a:lnTo>
                    <a:pt x="501" y="1736"/>
                  </a:lnTo>
                  <a:lnTo>
                    <a:pt x="501" y="1736"/>
                  </a:lnTo>
                  <a:lnTo>
                    <a:pt x="501" y="1736"/>
                  </a:lnTo>
                  <a:lnTo>
                    <a:pt x="502" y="1736"/>
                  </a:lnTo>
                  <a:lnTo>
                    <a:pt x="502" y="1736"/>
                  </a:lnTo>
                  <a:lnTo>
                    <a:pt x="502" y="1737"/>
                  </a:lnTo>
                  <a:lnTo>
                    <a:pt x="502" y="1739"/>
                  </a:lnTo>
                  <a:lnTo>
                    <a:pt x="502" y="1740"/>
                  </a:lnTo>
                  <a:lnTo>
                    <a:pt x="502" y="1742"/>
                  </a:lnTo>
                  <a:lnTo>
                    <a:pt x="504" y="1743"/>
                  </a:lnTo>
                  <a:lnTo>
                    <a:pt x="505" y="1745"/>
                  </a:lnTo>
                  <a:lnTo>
                    <a:pt x="504" y="1740"/>
                  </a:lnTo>
                  <a:lnTo>
                    <a:pt x="505" y="1739"/>
                  </a:lnTo>
                  <a:lnTo>
                    <a:pt x="505" y="1737"/>
                  </a:lnTo>
                  <a:lnTo>
                    <a:pt x="505" y="1737"/>
                  </a:lnTo>
                  <a:lnTo>
                    <a:pt x="507" y="1737"/>
                  </a:lnTo>
                  <a:lnTo>
                    <a:pt x="509" y="1737"/>
                  </a:lnTo>
                  <a:lnTo>
                    <a:pt x="510" y="1736"/>
                  </a:lnTo>
                  <a:lnTo>
                    <a:pt x="510" y="1734"/>
                  </a:lnTo>
                  <a:lnTo>
                    <a:pt x="510" y="1733"/>
                  </a:lnTo>
                  <a:lnTo>
                    <a:pt x="510" y="1731"/>
                  </a:lnTo>
                  <a:lnTo>
                    <a:pt x="510" y="1730"/>
                  </a:lnTo>
                  <a:lnTo>
                    <a:pt x="512" y="1726"/>
                  </a:lnTo>
                  <a:lnTo>
                    <a:pt x="513" y="1723"/>
                  </a:lnTo>
                  <a:lnTo>
                    <a:pt x="515" y="1722"/>
                  </a:lnTo>
                  <a:lnTo>
                    <a:pt x="513" y="1719"/>
                  </a:lnTo>
                  <a:lnTo>
                    <a:pt x="513" y="1719"/>
                  </a:lnTo>
                  <a:lnTo>
                    <a:pt x="515" y="1717"/>
                  </a:lnTo>
                  <a:lnTo>
                    <a:pt x="516" y="1719"/>
                  </a:lnTo>
                  <a:lnTo>
                    <a:pt x="516" y="1719"/>
                  </a:lnTo>
                  <a:lnTo>
                    <a:pt x="516" y="1717"/>
                  </a:lnTo>
                  <a:lnTo>
                    <a:pt x="516" y="1716"/>
                  </a:lnTo>
                  <a:lnTo>
                    <a:pt x="519" y="1716"/>
                  </a:lnTo>
                  <a:lnTo>
                    <a:pt x="521" y="1716"/>
                  </a:lnTo>
                  <a:lnTo>
                    <a:pt x="522" y="1713"/>
                  </a:lnTo>
                  <a:lnTo>
                    <a:pt x="522" y="1711"/>
                  </a:lnTo>
                  <a:lnTo>
                    <a:pt x="524" y="1711"/>
                  </a:lnTo>
                  <a:lnTo>
                    <a:pt x="527" y="1710"/>
                  </a:lnTo>
                  <a:lnTo>
                    <a:pt x="527" y="1710"/>
                  </a:lnTo>
                  <a:lnTo>
                    <a:pt x="529" y="1708"/>
                  </a:lnTo>
                  <a:lnTo>
                    <a:pt x="530" y="1708"/>
                  </a:lnTo>
                  <a:lnTo>
                    <a:pt x="530" y="1706"/>
                  </a:lnTo>
                  <a:lnTo>
                    <a:pt x="532" y="1706"/>
                  </a:lnTo>
                  <a:lnTo>
                    <a:pt x="532" y="1708"/>
                  </a:lnTo>
                  <a:lnTo>
                    <a:pt x="532" y="1708"/>
                  </a:lnTo>
                  <a:lnTo>
                    <a:pt x="530" y="1710"/>
                  </a:lnTo>
                  <a:lnTo>
                    <a:pt x="532" y="1710"/>
                  </a:lnTo>
                  <a:lnTo>
                    <a:pt x="530" y="1711"/>
                  </a:lnTo>
                  <a:lnTo>
                    <a:pt x="529" y="1713"/>
                  </a:lnTo>
                  <a:lnTo>
                    <a:pt x="527" y="1713"/>
                  </a:lnTo>
                  <a:lnTo>
                    <a:pt x="530" y="1713"/>
                  </a:lnTo>
                  <a:lnTo>
                    <a:pt x="536" y="1710"/>
                  </a:lnTo>
                  <a:lnTo>
                    <a:pt x="536" y="1708"/>
                  </a:lnTo>
                  <a:lnTo>
                    <a:pt x="536" y="1706"/>
                  </a:lnTo>
                  <a:lnTo>
                    <a:pt x="535" y="1706"/>
                  </a:lnTo>
                  <a:lnTo>
                    <a:pt x="535" y="1706"/>
                  </a:lnTo>
                  <a:lnTo>
                    <a:pt x="536" y="1705"/>
                  </a:lnTo>
                  <a:lnTo>
                    <a:pt x="538" y="1703"/>
                  </a:lnTo>
                  <a:lnTo>
                    <a:pt x="541" y="1703"/>
                  </a:lnTo>
                  <a:lnTo>
                    <a:pt x="542" y="1703"/>
                  </a:lnTo>
                  <a:lnTo>
                    <a:pt x="544" y="1705"/>
                  </a:lnTo>
                  <a:lnTo>
                    <a:pt x="544" y="1703"/>
                  </a:lnTo>
                  <a:lnTo>
                    <a:pt x="546" y="1702"/>
                  </a:lnTo>
                  <a:lnTo>
                    <a:pt x="546" y="1700"/>
                  </a:lnTo>
                  <a:lnTo>
                    <a:pt x="544" y="1699"/>
                  </a:lnTo>
                  <a:lnTo>
                    <a:pt x="544" y="1699"/>
                  </a:lnTo>
                  <a:lnTo>
                    <a:pt x="542" y="1700"/>
                  </a:lnTo>
                  <a:lnTo>
                    <a:pt x="542" y="1699"/>
                  </a:lnTo>
                  <a:lnTo>
                    <a:pt x="542" y="1699"/>
                  </a:lnTo>
                  <a:lnTo>
                    <a:pt x="542" y="1699"/>
                  </a:lnTo>
                  <a:lnTo>
                    <a:pt x="542" y="1697"/>
                  </a:lnTo>
                  <a:lnTo>
                    <a:pt x="542" y="1697"/>
                  </a:lnTo>
                  <a:lnTo>
                    <a:pt x="541" y="1699"/>
                  </a:lnTo>
                  <a:lnTo>
                    <a:pt x="541" y="1697"/>
                  </a:lnTo>
                  <a:lnTo>
                    <a:pt x="541" y="1696"/>
                  </a:lnTo>
                  <a:lnTo>
                    <a:pt x="539" y="1694"/>
                  </a:lnTo>
                  <a:lnTo>
                    <a:pt x="539" y="1694"/>
                  </a:lnTo>
                  <a:lnTo>
                    <a:pt x="538" y="1694"/>
                  </a:lnTo>
                  <a:lnTo>
                    <a:pt x="536" y="1693"/>
                  </a:lnTo>
                  <a:lnTo>
                    <a:pt x="536" y="1691"/>
                  </a:lnTo>
                  <a:lnTo>
                    <a:pt x="538" y="1691"/>
                  </a:lnTo>
                  <a:lnTo>
                    <a:pt x="544" y="1696"/>
                  </a:lnTo>
                  <a:lnTo>
                    <a:pt x="544" y="1694"/>
                  </a:lnTo>
                  <a:lnTo>
                    <a:pt x="541" y="1691"/>
                  </a:lnTo>
                  <a:lnTo>
                    <a:pt x="539" y="1690"/>
                  </a:lnTo>
                  <a:lnTo>
                    <a:pt x="538" y="1690"/>
                  </a:lnTo>
                  <a:lnTo>
                    <a:pt x="533" y="1686"/>
                  </a:lnTo>
                  <a:lnTo>
                    <a:pt x="533" y="1685"/>
                  </a:lnTo>
                  <a:lnTo>
                    <a:pt x="533" y="1683"/>
                  </a:lnTo>
                  <a:lnTo>
                    <a:pt x="536" y="1685"/>
                  </a:lnTo>
                  <a:lnTo>
                    <a:pt x="536" y="1683"/>
                  </a:lnTo>
                  <a:lnTo>
                    <a:pt x="536" y="1682"/>
                  </a:lnTo>
                  <a:lnTo>
                    <a:pt x="535" y="1680"/>
                  </a:lnTo>
                  <a:lnTo>
                    <a:pt x="535" y="1680"/>
                  </a:lnTo>
                  <a:lnTo>
                    <a:pt x="533" y="1679"/>
                  </a:lnTo>
                  <a:lnTo>
                    <a:pt x="535" y="1677"/>
                  </a:lnTo>
                  <a:lnTo>
                    <a:pt x="536" y="1677"/>
                  </a:lnTo>
                  <a:lnTo>
                    <a:pt x="536" y="1676"/>
                  </a:lnTo>
                  <a:lnTo>
                    <a:pt x="538" y="1676"/>
                  </a:lnTo>
                  <a:lnTo>
                    <a:pt x="538" y="1677"/>
                  </a:lnTo>
                  <a:lnTo>
                    <a:pt x="538" y="1679"/>
                  </a:lnTo>
                  <a:lnTo>
                    <a:pt x="538" y="1679"/>
                  </a:lnTo>
                  <a:lnTo>
                    <a:pt x="539" y="1680"/>
                  </a:lnTo>
                  <a:lnTo>
                    <a:pt x="546" y="1679"/>
                  </a:lnTo>
                  <a:lnTo>
                    <a:pt x="547" y="1679"/>
                  </a:lnTo>
                  <a:lnTo>
                    <a:pt x="549" y="1680"/>
                  </a:lnTo>
                  <a:lnTo>
                    <a:pt x="550" y="1680"/>
                  </a:lnTo>
                  <a:lnTo>
                    <a:pt x="552" y="1682"/>
                  </a:lnTo>
                  <a:lnTo>
                    <a:pt x="553" y="1682"/>
                  </a:lnTo>
                  <a:lnTo>
                    <a:pt x="553" y="1680"/>
                  </a:lnTo>
                  <a:lnTo>
                    <a:pt x="555" y="1680"/>
                  </a:lnTo>
                  <a:lnTo>
                    <a:pt x="559" y="1680"/>
                  </a:lnTo>
                  <a:lnTo>
                    <a:pt x="561" y="1679"/>
                  </a:lnTo>
                  <a:lnTo>
                    <a:pt x="561" y="1677"/>
                  </a:lnTo>
                  <a:lnTo>
                    <a:pt x="559" y="1674"/>
                  </a:lnTo>
                  <a:lnTo>
                    <a:pt x="558" y="1673"/>
                  </a:lnTo>
                  <a:lnTo>
                    <a:pt x="555" y="1673"/>
                  </a:lnTo>
                  <a:lnTo>
                    <a:pt x="553" y="1671"/>
                  </a:lnTo>
                  <a:lnTo>
                    <a:pt x="555" y="1671"/>
                  </a:lnTo>
                  <a:lnTo>
                    <a:pt x="556" y="1673"/>
                  </a:lnTo>
                  <a:lnTo>
                    <a:pt x="558" y="1673"/>
                  </a:lnTo>
                  <a:lnTo>
                    <a:pt x="558" y="1670"/>
                  </a:lnTo>
                  <a:lnTo>
                    <a:pt x="553" y="1666"/>
                  </a:lnTo>
                  <a:lnTo>
                    <a:pt x="553" y="1666"/>
                  </a:lnTo>
                  <a:lnTo>
                    <a:pt x="553" y="1665"/>
                  </a:lnTo>
                  <a:lnTo>
                    <a:pt x="553" y="1665"/>
                  </a:lnTo>
                  <a:lnTo>
                    <a:pt x="550" y="1662"/>
                  </a:lnTo>
                  <a:lnTo>
                    <a:pt x="549" y="1662"/>
                  </a:lnTo>
                  <a:lnTo>
                    <a:pt x="544" y="1662"/>
                  </a:lnTo>
                  <a:lnTo>
                    <a:pt x="546" y="1663"/>
                  </a:lnTo>
                  <a:lnTo>
                    <a:pt x="547" y="1665"/>
                  </a:lnTo>
                  <a:lnTo>
                    <a:pt x="550" y="1666"/>
                  </a:lnTo>
                  <a:lnTo>
                    <a:pt x="546" y="1666"/>
                  </a:lnTo>
                  <a:lnTo>
                    <a:pt x="547" y="1670"/>
                  </a:lnTo>
                  <a:lnTo>
                    <a:pt x="549" y="1674"/>
                  </a:lnTo>
                  <a:lnTo>
                    <a:pt x="547" y="1676"/>
                  </a:lnTo>
                  <a:lnTo>
                    <a:pt x="547" y="1676"/>
                  </a:lnTo>
                  <a:lnTo>
                    <a:pt x="544" y="1676"/>
                  </a:lnTo>
                  <a:lnTo>
                    <a:pt x="546" y="1674"/>
                  </a:lnTo>
                  <a:lnTo>
                    <a:pt x="546" y="1674"/>
                  </a:lnTo>
                  <a:lnTo>
                    <a:pt x="546" y="1673"/>
                  </a:lnTo>
                  <a:lnTo>
                    <a:pt x="542" y="1671"/>
                  </a:lnTo>
                  <a:lnTo>
                    <a:pt x="536" y="1670"/>
                  </a:lnTo>
                  <a:lnTo>
                    <a:pt x="532" y="1673"/>
                  </a:lnTo>
                  <a:lnTo>
                    <a:pt x="529" y="1679"/>
                  </a:lnTo>
                  <a:lnTo>
                    <a:pt x="529" y="1679"/>
                  </a:lnTo>
                  <a:lnTo>
                    <a:pt x="529" y="1676"/>
                  </a:lnTo>
                  <a:lnTo>
                    <a:pt x="527" y="1676"/>
                  </a:lnTo>
                  <a:lnTo>
                    <a:pt x="526" y="1677"/>
                  </a:lnTo>
                  <a:lnTo>
                    <a:pt x="519" y="1677"/>
                  </a:lnTo>
                  <a:lnTo>
                    <a:pt x="519" y="1676"/>
                  </a:lnTo>
                  <a:lnTo>
                    <a:pt x="521" y="1676"/>
                  </a:lnTo>
                  <a:lnTo>
                    <a:pt x="524" y="1676"/>
                  </a:lnTo>
                  <a:lnTo>
                    <a:pt x="513" y="1665"/>
                  </a:lnTo>
                  <a:lnTo>
                    <a:pt x="515" y="1665"/>
                  </a:lnTo>
                  <a:lnTo>
                    <a:pt x="516" y="1666"/>
                  </a:lnTo>
                  <a:lnTo>
                    <a:pt x="516" y="1666"/>
                  </a:lnTo>
                  <a:lnTo>
                    <a:pt x="518" y="1666"/>
                  </a:lnTo>
                  <a:lnTo>
                    <a:pt x="519" y="1665"/>
                  </a:lnTo>
                  <a:lnTo>
                    <a:pt x="519" y="1665"/>
                  </a:lnTo>
                  <a:lnTo>
                    <a:pt x="519" y="1662"/>
                  </a:lnTo>
                  <a:lnTo>
                    <a:pt x="519" y="1660"/>
                  </a:lnTo>
                  <a:lnTo>
                    <a:pt x="519" y="1660"/>
                  </a:lnTo>
                  <a:lnTo>
                    <a:pt x="521" y="1660"/>
                  </a:lnTo>
                  <a:lnTo>
                    <a:pt x="521" y="1659"/>
                  </a:lnTo>
                  <a:lnTo>
                    <a:pt x="521" y="1659"/>
                  </a:lnTo>
                  <a:lnTo>
                    <a:pt x="522" y="1659"/>
                  </a:lnTo>
                  <a:lnTo>
                    <a:pt x="522" y="1660"/>
                  </a:lnTo>
                  <a:lnTo>
                    <a:pt x="524" y="1660"/>
                  </a:lnTo>
                  <a:lnTo>
                    <a:pt x="524" y="1660"/>
                  </a:lnTo>
                  <a:lnTo>
                    <a:pt x="526" y="1659"/>
                  </a:lnTo>
                  <a:lnTo>
                    <a:pt x="527" y="1659"/>
                  </a:lnTo>
                  <a:lnTo>
                    <a:pt x="527" y="1659"/>
                  </a:lnTo>
                  <a:lnTo>
                    <a:pt x="529" y="1662"/>
                  </a:lnTo>
                  <a:lnTo>
                    <a:pt x="529" y="1663"/>
                  </a:lnTo>
                  <a:lnTo>
                    <a:pt x="527" y="1662"/>
                  </a:lnTo>
                  <a:lnTo>
                    <a:pt x="527" y="1662"/>
                  </a:lnTo>
                  <a:lnTo>
                    <a:pt x="526" y="1663"/>
                  </a:lnTo>
                  <a:lnTo>
                    <a:pt x="524" y="1663"/>
                  </a:lnTo>
                  <a:lnTo>
                    <a:pt x="527" y="1665"/>
                  </a:lnTo>
                  <a:lnTo>
                    <a:pt x="532" y="1666"/>
                  </a:lnTo>
                  <a:lnTo>
                    <a:pt x="536" y="1666"/>
                  </a:lnTo>
                  <a:lnTo>
                    <a:pt x="538" y="1665"/>
                  </a:lnTo>
                  <a:lnTo>
                    <a:pt x="536" y="1665"/>
                  </a:lnTo>
                  <a:lnTo>
                    <a:pt x="535" y="1665"/>
                  </a:lnTo>
                  <a:lnTo>
                    <a:pt x="533" y="1663"/>
                  </a:lnTo>
                  <a:lnTo>
                    <a:pt x="533" y="1662"/>
                  </a:lnTo>
                  <a:lnTo>
                    <a:pt x="533" y="1660"/>
                  </a:lnTo>
                  <a:lnTo>
                    <a:pt x="532" y="1659"/>
                  </a:lnTo>
                  <a:lnTo>
                    <a:pt x="532" y="1659"/>
                  </a:lnTo>
                  <a:lnTo>
                    <a:pt x="535" y="1659"/>
                  </a:lnTo>
                  <a:lnTo>
                    <a:pt x="535" y="1659"/>
                  </a:lnTo>
                  <a:lnTo>
                    <a:pt x="533" y="1656"/>
                  </a:lnTo>
                  <a:lnTo>
                    <a:pt x="533" y="1656"/>
                  </a:lnTo>
                  <a:lnTo>
                    <a:pt x="538" y="1656"/>
                  </a:lnTo>
                  <a:lnTo>
                    <a:pt x="541" y="1656"/>
                  </a:lnTo>
                  <a:lnTo>
                    <a:pt x="544" y="1653"/>
                  </a:lnTo>
                  <a:lnTo>
                    <a:pt x="547" y="1648"/>
                  </a:lnTo>
                  <a:lnTo>
                    <a:pt x="549" y="1646"/>
                  </a:lnTo>
                  <a:lnTo>
                    <a:pt x="553" y="1645"/>
                  </a:lnTo>
                  <a:lnTo>
                    <a:pt x="558" y="1642"/>
                  </a:lnTo>
                  <a:lnTo>
                    <a:pt x="561" y="1640"/>
                  </a:lnTo>
                  <a:lnTo>
                    <a:pt x="562" y="1637"/>
                  </a:lnTo>
                  <a:lnTo>
                    <a:pt x="562" y="1637"/>
                  </a:lnTo>
                  <a:lnTo>
                    <a:pt x="564" y="1636"/>
                  </a:lnTo>
                  <a:lnTo>
                    <a:pt x="564" y="1634"/>
                  </a:lnTo>
                  <a:lnTo>
                    <a:pt x="562" y="1633"/>
                  </a:lnTo>
                  <a:lnTo>
                    <a:pt x="562" y="1633"/>
                  </a:lnTo>
                  <a:lnTo>
                    <a:pt x="564" y="1633"/>
                  </a:lnTo>
                  <a:lnTo>
                    <a:pt x="564" y="1634"/>
                  </a:lnTo>
                  <a:lnTo>
                    <a:pt x="566" y="1634"/>
                  </a:lnTo>
                  <a:lnTo>
                    <a:pt x="566" y="1634"/>
                  </a:lnTo>
                  <a:lnTo>
                    <a:pt x="567" y="1633"/>
                  </a:lnTo>
                  <a:lnTo>
                    <a:pt x="567" y="1631"/>
                  </a:lnTo>
                  <a:lnTo>
                    <a:pt x="569" y="1629"/>
                  </a:lnTo>
                  <a:lnTo>
                    <a:pt x="564" y="1629"/>
                  </a:lnTo>
                  <a:lnTo>
                    <a:pt x="566" y="1629"/>
                  </a:lnTo>
                  <a:lnTo>
                    <a:pt x="566" y="1629"/>
                  </a:lnTo>
                  <a:lnTo>
                    <a:pt x="566" y="1628"/>
                  </a:lnTo>
                  <a:lnTo>
                    <a:pt x="566" y="1626"/>
                  </a:lnTo>
                  <a:lnTo>
                    <a:pt x="566" y="1626"/>
                  </a:lnTo>
                  <a:lnTo>
                    <a:pt x="569" y="1626"/>
                  </a:lnTo>
                  <a:lnTo>
                    <a:pt x="569" y="1623"/>
                  </a:lnTo>
                  <a:lnTo>
                    <a:pt x="570" y="1622"/>
                  </a:lnTo>
                  <a:lnTo>
                    <a:pt x="576" y="1620"/>
                  </a:lnTo>
                  <a:lnTo>
                    <a:pt x="578" y="1619"/>
                  </a:lnTo>
                  <a:lnTo>
                    <a:pt x="579" y="1617"/>
                  </a:lnTo>
                  <a:lnTo>
                    <a:pt x="581" y="1616"/>
                  </a:lnTo>
                  <a:lnTo>
                    <a:pt x="581" y="1616"/>
                  </a:lnTo>
                  <a:lnTo>
                    <a:pt x="582" y="1617"/>
                  </a:lnTo>
                  <a:lnTo>
                    <a:pt x="582" y="1619"/>
                  </a:lnTo>
                  <a:lnTo>
                    <a:pt x="584" y="1620"/>
                  </a:lnTo>
                  <a:lnTo>
                    <a:pt x="586" y="1620"/>
                  </a:lnTo>
                  <a:lnTo>
                    <a:pt x="590" y="1619"/>
                  </a:lnTo>
                  <a:lnTo>
                    <a:pt x="592" y="1617"/>
                  </a:lnTo>
                  <a:lnTo>
                    <a:pt x="593" y="1616"/>
                  </a:lnTo>
                  <a:lnTo>
                    <a:pt x="593" y="1613"/>
                  </a:lnTo>
                  <a:lnTo>
                    <a:pt x="590" y="1609"/>
                  </a:lnTo>
                  <a:lnTo>
                    <a:pt x="572" y="1611"/>
                  </a:lnTo>
                  <a:lnTo>
                    <a:pt x="569" y="1613"/>
                  </a:lnTo>
                  <a:lnTo>
                    <a:pt x="567" y="1613"/>
                  </a:lnTo>
                  <a:lnTo>
                    <a:pt x="567" y="1611"/>
                  </a:lnTo>
                  <a:lnTo>
                    <a:pt x="569" y="1609"/>
                  </a:lnTo>
                  <a:lnTo>
                    <a:pt x="570" y="1608"/>
                  </a:lnTo>
                  <a:lnTo>
                    <a:pt x="573" y="1609"/>
                  </a:lnTo>
                  <a:lnTo>
                    <a:pt x="575" y="1608"/>
                  </a:lnTo>
                  <a:lnTo>
                    <a:pt x="576" y="1608"/>
                  </a:lnTo>
                  <a:lnTo>
                    <a:pt x="581" y="1600"/>
                  </a:lnTo>
                  <a:lnTo>
                    <a:pt x="582" y="1597"/>
                  </a:lnTo>
                  <a:lnTo>
                    <a:pt x="582" y="1596"/>
                  </a:lnTo>
                  <a:lnTo>
                    <a:pt x="579" y="1591"/>
                  </a:lnTo>
                  <a:lnTo>
                    <a:pt x="579" y="1588"/>
                  </a:lnTo>
                  <a:lnTo>
                    <a:pt x="581" y="1589"/>
                  </a:lnTo>
                  <a:lnTo>
                    <a:pt x="584" y="1593"/>
                  </a:lnTo>
                  <a:lnTo>
                    <a:pt x="589" y="1602"/>
                  </a:lnTo>
                  <a:lnTo>
                    <a:pt x="590" y="1603"/>
                  </a:lnTo>
                  <a:lnTo>
                    <a:pt x="592" y="1603"/>
                  </a:lnTo>
                  <a:lnTo>
                    <a:pt x="592" y="1602"/>
                  </a:lnTo>
                  <a:lnTo>
                    <a:pt x="592" y="1596"/>
                  </a:lnTo>
                  <a:lnTo>
                    <a:pt x="592" y="1594"/>
                  </a:lnTo>
                  <a:lnTo>
                    <a:pt x="592" y="1593"/>
                  </a:lnTo>
                  <a:lnTo>
                    <a:pt x="590" y="1593"/>
                  </a:lnTo>
                  <a:lnTo>
                    <a:pt x="590" y="1593"/>
                  </a:lnTo>
                  <a:lnTo>
                    <a:pt x="590" y="1596"/>
                  </a:lnTo>
                  <a:lnTo>
                    <a:pt x="590" y="1596"/>
                  </a:lnTo>
                  <a:lnTo>
                    <a:pt x="590" y="1596"/>
                  </a:lnTo>
                  <a:lnTo>
                    <a:pt x="589" y="1596"/>
                  </a:lnTo>
                  <a:lnTo>
                    <a:pt x="587" y="1594"/>
                  </a:lnTo>
                  <a:lnTo>
                    <a:pt x="587" y="1593"/>
                  </a:lnTo>
                  <a:lnTo>
                    <a:pt x="589" y="1593"/>
                  </a:lnTo>
                  <a:lnTo>
                    <a:pt x="587" y="1591"/>
                  </a:lnTo>
                  <a:lnTo>
                    <a:pt x="587" y="1591"/>
                  </a:lnTo>
                  <a:lnTo>
                    <a:pt x="586" y="1589"/>
                  </a:lnTo>
                  <a:lnTo>
                    <a:pt x="584" y="1589"/>
                  </a:lnTo>
                  <a:lnTo>
                    <a:pt x="581" y="1588"/>
                  </a:lnTo>
                  <a:lnTo>
                    <a:pt x="579" y="1586"/>
                  </a:lnTo>
                  <a:lnTo>
                    <a:pt x="578" y="1579"/>
                  </a:lnTo>
                  <a:lnTo>
                    <a:pt x="575" y="1568"/>
                  </a:lnTo>
                  <a:lnTo>
                    <a:pt x="573" y="1566"/>
                  </a:lnTo>
                  <a:lnTo>
                    <a:pt x="573" y="1563"/>
                  </a:lnTo>
                  <a:lnTo>
                    <a:pt x="573" y="1562"/>
                  </a:lnTo>
                  <a:lnTo>
                    <a:pt x="573" y="1560"/>
                  </a:lnTo>
                  <a:lnTo>
                    <a:pt x="573" y="1560"/>
                  </a:lnTo>
                  <a:lnTo>
                    <a:pt x="570" y="1562"/>
                  </a:lnTo>
                  <a:lnTo>
                    <a:pt x="569" y="1566"/>
                  </a:lnTo>
                  <a:lnTo>
                    <a:pt x="570" y="1569"/>
                  </a:lnTo>
                  <a:lnTo>
                    <a:pt x="570" y="1574"/>
                  </a:lnTo>
                  <a:lnTo>
                    <a:pt x="572" y="1577"/>
                  </a:lnTo>
                  <a:lnTo>
                    <a:pt x="572" y="1576"/>
                  </a:lnTo>
                  <a:lnTo>
                    <a:pt x="569" y="1571"/>
                  </a:lnTo>
                  <a:lnTo>
                    <a:pt x="567" y="1568"/>
                  </a:lnTo>
                  <a:lnTo>
                    <a:pt x="567" y="1563"/>
                  </a:lnTo>
                  <a:lnTo>
                    <a:pt x="567" y="1562"/>
                  </a:lnTo>
                  <a:lnTo>
                    <a:pt x="567" y="1559"/>
                  </a:lnTo>
                  <a:lnTo>
                    <a:pt x="564" y="1559"/>
                  </a:lnTo>
                  <a:lnTo>
                    <a:pt x="561" y="1556"/>
                  </a:lnTo>
                  <a:lnTo>
                    <a:pt x="559" y="1556"/>
                  </a:lnTo>
                  <a:lnTo>
                    <a:pt x="558" y="1556"/>
                  </a:lnTo>
                  <a:lnTo>
                    <a:pt x="556" y="1557"/>
                  </a:lnTo>
                  <a:lnTo>
                    <a:pt x="556" y="1559"/>
                  </a:lnTo>
                  <a:lnTo>
                    <a:pt x="556" y="1562"/>
                  </a:lnTo>
                  <a:lnTo>
                    <a:pt x="556" y="1565"/>
                  </a:lnTo>
                  <a:lnTo>
                    <a:pt x="556" y="1568"/>
                  </a:lnTo>
                  <a:lnTo>
                    <a:pt x="556" y="1568"/>
                  </a:lnTo>
                  <a:lnTo>
                    <a:pt x="555" y="1565"/>
                  </a:lnTo>
                  <a:lnTo>
                    <a:pt x="553" y="1560"/>
                  </a:lnTo>
                  <a:lnTo>
                    <a:pt x="553" y="1559"/>
                  </a:lnTo>
                  <a:lnTo>
                    <a:pt x="553" y="1557"/>
                  </a:lnTo>
                  <a:lnTo>
                    <a:pt x="553" y="1552"/>
                  </a:lnTo>
                  <a:lnTo>
                    <a:pt x="553" y="1552"/>
                  </a:lnTo>
                  <a:lnTo>
                    <a:pt x="553" y="1554"/>
                  </a:lnTo>
                  <a:lnTo>
                    <a:pt x="553" y="1554"/>
                  </a:lnTo>
                  <a:lnTo>
                    <a:pt x="552" y="1556"/>
                  </a:lnTo>
                  <a:lnTo>
                    <a:pt x="550" y="1556"/>
                  </a:lnTo>
                  <a:lnTo>
                    <a:pt x="550" y="1554"/>
                  </a:lnTo>
                  <a:lnTo>
                    <a:pt x="547" y="1552"/>
                  </a:lnTo>
                  <a:lnTo>
                    <a:pt x="544" y="1549"/>
                  </a:lnTo>
                  <a:lnTo>
                    <a:pt x="542" y="1548"/>
                  </a:lnTo>
                  <a:lnTo>
                    <a:pt x="542" y="1543"/>
                  </a:lnTo>
                  <a:lnTo>
                    <a:pt x="544" y="1546"/>
                  </a:lnTo>
                  <a:lnTo>
                    <a:pt x="546" y="1546"/>
                  </a:lnTo>
                  <a:lnTo>
                    <a:pt x="546" y="1546"/>
                  </a:lnTo>
                  <a:lnTo>
                    <a:pt x="544" y="1543"/>
                  </a:lnTo>
                  <a:lnTo>
                    <a:pt x="541" y="1540"/>
                  </a:lnTo>
                  <a:lnTo>
                    <a:pt x="538" y="1536"/>
                  </a:lnTo>
                  <a:lnTo>
                    <a:pt x="536" y="1531"/>
                  </a:lnTo>
                  <a:lnTo>
                    <a:pt x="541" y="1537"/>
                  </a:lnTo>
                  <a:lnTo>
                    <a:pt x="542" y="1540"/>
                  </a:lnTo>
                  <a:lnTo>
                    <a:pt x="555" y="1545"/>
                  </a:lnTo>
                  <a:lnTo>
                    <a:pt x="558" y="1543"/>
                  </a:lnTo>
                  <a:lnTo>
                    <a:pt x="555" y="1540"/>
                  </a:lnTo>
                  <a:lnTo>
                    <a:pt x="544" y="1536"/>
                  </a:lnTo>
                  <a:lnTo>
                    <a:pt x="546" y="1534"/>
                  </a:lnTo>
                  <a:lnTo>
                    <a:pt x="546" y="1534"/>
                  </a:lnTo>
                  <a:lnTo>
                    <a:pt x="547" y="1534"/>
                  </a:lnTo>
                  <a:lnTo>
                    <a:pt x="549" y="1534"/>
                  </a:lnTo>
                  <a:lnTo>
                    <a:pt x="549" y="1534"/>
                  </a:lnTo>
                  <a:lnTo>
                    <a:pt x="547" y="1532"/>
                  </a:lnTo>
                  <a:lnTo>
                    <a:pt x="546" y="1531"/>
                  </a:lnTo>
                  <a:lnTo>
                    <a:pt x="546" y="1531"/>
                  </a:lnTo>
                  <a:lnTo>
                    <a:pt x="546" y="1529"/>
                  </a:lnTo>
                  <a:lnTo>
                    <a:pt x="546" y="1528"/>
                  </a:lnTo>
                  <a:lnTo>
                    <a:pt x="546" y="1528"/>
                  </a:lnTo>
                  <a:lnTo>
                    <a:pt x="544" y="1526"/>
                  </a:lnTo>
                  <a:lnTo>
                    <a:pt x="539" y="1526"/>
                  </a:lnTo>
                  <a:lnTo>
                    <a:pt x="536" y="1525"/>
                  </a:lnTo>
                  <a:lnTo>
                    <a:pt x="536" y="1525"/>
                  </a:lnTo>
                  <a:lnTo>
                    <a:pt x="535" y="1525"/>
                  </a:lnTo>
                  <a:lnTo>
                    <a:pt x="533" y="1526"/>
                  </a:lnTo>
                  <a:lnTo>
                    <a:pt x="532" y="1528"/>
                  </a:lnTo>
                  <a:lnTo>
                    <a:pt x="530" y="1529"/>
                  </a:lnTo>
                  <a:lnTo>
                    <a:pt x="530" y="1528"/>
                  </a:lnTo>
                  <a:lnTo>
                    <a:pt x="529" y="1528"/>
                  </a:lnTo>
                  <a:lnTo>
                    <a:pt x="529" y="1526"/>
                  </a:lnTo>
                  <a:lnTo>
                    <a:pt x="529" y="1525"/>
                  </a:lnTo>
                  <a:lnTo>
                    <a:pt x="529" y="1523"/>
                  </a:lnTo>
                  <a:lnTo>
                    <a:pt x="532" y="1522"/>
                  </a:lnTo>
                  <a:lnTo>
                    <a:pt x="532" y="1522"/>
                  </a:lnTo>
                  <a:lnTo>
                    <a:pt x="526" y="1519"/>
                  </a:lnTo>
                  <a:lnTo>
                    <a:pt x="524" y="1516"/>
                  </a:lnTo>
                  <a:lnTo>
                    <a:pt x="521" y="1512"/>
                  </a:lnTo>
                  <a:lnTo>
                    <a:pt x="521" y="1512"/>
                  </a:lnTo>
                  <a:lnTo>
                    <a:pt x="521" y="1509"/>
                  </a:lnTo>
                  <a:lnTo>
                    <a:pt x="519" y="1508"/>
                  </a:lnTo>
                  <a:lnTo>
                    <a:pt x="518" y="1506"/>
                  </a:lnTo>
                  <a:lnTo>
                    <a:pt x="515" y="1503"/>
                  </a:lnTo>
                  <a:lnTo>
                    <a:pt x="512" y="1502"/>
                  </a:lnTo>
                  <a:lnTo>
                    <a:pt x="510" y="1502"/>
                  </a:lnTo>
                  <a:lnTo>
                    <a:pt x="510" y="1500"/>
                  </a:lnTo>
                  <a:lnTo>
                    <a:pt x="512" y="1500"/>
                  </a:lnTo>
                  <a:lnTo>
                    <a:pt x="512" y="1499"/>
                  </a:lnTo>
                  <a:lnTo>
                    <a:pt x="512" y="1497"/>
                  </a:lnTo>
                  <a:lnTo>
                    <a:pt x="512" y="1496"/>
                  </a:lnTo>
                  <a:lnTo>
                    <a:pt x="510" y="1489"/>
                  </a:lnTo>
                  <a:lnTo>
                    <a:pt x="509" y="1488"/>
                  </a:lnTo>
                  <a:lnTo>
                    <a:pt x="507" y="1488"/>
                  </a:lnTo>
                  <a:lnTo>
                    <a:pt x="499" y="1491"/>
                  </a:lnTo>
                  <a:lnTo>
                    <a:pt x="495" y="1494"/>
                  </a:lnTo>
                  <a:lnTo>
                    <a:pt x="492" y="1499"/>
                  </a:lnTo>
                  <a:lnTo>
                    <a:pt x="493" y="1502"/>
                  </a:lnTo>
                  <a:lnTo>
                    <a:pt x="493" y="1503"/>
                  </a:lnTo>
                  <a:lnTo>
                    <a:pt x="489" y="1503"/>
                  </a:lnTo>
                  <a:lnTo>
                    <a:pt x="485" y="1502"/>
                  </a:lnTo>
                  <a:lnTo>
                    <a:pt x="485" y="1497"/>
                  </a:lnTo>
                  <a:lnTo>
                    <a:pt x="484" y="1496"/>
                  </a:lnTo>
                  <a:lnTo>
                    <a:pt x="484" y="1492"/>
                  </a:lnTo>
                  <a:lnTo>
                    <a:pt x="484" y="1491"/>
                  </a:lnTo>
                  <a:lnTo>
                    <a:pt x="484" y="1489"/>
                  </a:lnTo>
                  <a:lnTo>
                    <a:pt x="487" y="1488"/>
                  </a:lnTo>
                  <a:lnTo>
                    <a:pt x="487" y="1486"/>
                  </a:lnTo>
                  <a:lnTo>
                    <a:pt x="487" y="1485"/>
                  </a:lnTo>
                  <a:lnTo>
                    <a:pt x="484" y="1483"/>
                  </a:lnTo>
                  <a:lnTo>
                    <a:pt x="482" y="1482"/>
                  </a:lnTo>
                  <a:lnTo>
                    <a:pt x="481" y="1482"/>
                  </a:lnTo>
                  <a:lnTo>
                    <a:pt x="479" y="1480"/>
                  </a:lnTo>
                  <a:lnTo>
                    <a:pt x="469" y="1482"/>
                  </a:lnTo>
                  <a:lnTo>
                    <a:pt x="467" y="1483"/>
                  </a:lnTo>
                  <a:lnTo>
                    <a:pt x="467" y="1485"/>
                  </a:lnTo>
                  <a:lnTo>
                    <a:pt x="467" y="1485"/>
                  </a:lnTo>
                  <a:lnTo>
                    <a:pt x="465" y="1485"/>
                  </a:lnTo>
                  <a:lnTo>
                    <a:pt x="464" y="1485"/>
                  </a:lnTo>
                  <a:lnTo>
                    <a:pt x="462" y="1483"/>
                  </a:lnTo>
                  <a:lnTo>
                    <a:pt x="462" y="1483"/>
                  </a:lnTo>
                  <a:lnTo>
                    <a:pt x="465" y="1480"/>
                  </a:lnTo>
                  <a:lnTo>
                    <a:pt x="461" y="1477"/>
                  </a:lnTo>
                  <a:lnTo>
                    <a:pt x="459" y="1475"/>
                  </a:lnTo>
                  <a:lnTo>
                    <a:pt x="458" y="1474"/>
                  </a:lnTo>
                  <a:lnTo>
                    <a:pt x="456" y="1474"/>
                  </a:lnTo>
                  <a:lnTo>
                    <a:pt x="455" y="1474"/>
                  </a:lnTo>
                  <a:lnTo>
                    <a:pt x="453" y="1474"/>
                  </a:lnTo>
                  <a:lnTo>
                    <a:pt x="453" y="1474"/>
                  </a:lnTo>
                  <a:lnTo>
                    <a:pt x="452" y="1474"/>
                  </a:lnTo>
                  <a:lnTo>
                    <a:pt x="452" y="1474"/>
                  </a:lnTo>
                  <a:lnTo>
                    <a:pt x="453" y="1472"/>
                  </a:lnTo>
                  <a:lnTo>
                    <a:pt x="455" y="1472"/>
                  </a:lnTo>
                  <a:lnTo>
                    <a:pt x="458" y="1469"/>
                  </a:lnTo>
                  <a:lnTo>
                    <a:pt x="459" y="1468"/>
                  </a:lnTo>
                  <a:lnTo>
                    <a:pt x="461" y="1466"/>
                  </a:lnTo>
                  <a:lnTo>
                    <a:pt x="462" y="1465"/>
                  </a:lnTo>
                  <a:lnTo>
                    <a:pt x="464" y="1463"/>
                  </a:lnTo>
                  <a:lnTo>
                    <a:pt x="462" y="1462"/>
                  </a:lnTo>
                  <a:lnTo>
                    <a:pt x="462" y="1462"/>
                  </a:lnTo>
                  <a:lnTo>
                    <a:pt x="461" y="1462"/>
                  </a:lnTo>
                  <a:lnTo>
                    <a:pt x="459" y="1460"/>
                  </a:lnTo>
                  <a:lnTo>
                    <a:pt x="459" y="1460"/>
                  </a:lnTo>
                  <a:lnTo>
                    <a:pt x="459" y="1457"/>
                  </a:lnTo>
                  <a:lnTo>
                    <a:pt x="459" y="1455"/>
                  </a:lnTo>
                  <a:lnTo>
                    <a:pt x="459" y="1455"/>
                  </a:lnTo>
                  <a:lnTo>
                    <a:pt x="458" y="1455"/>
                  </a:lnTo>
                  <a:lnTo>
                    <a:pt x="458" y="1455"/>
                  </a:lnTo>
                  <a:lnTo>
                    <a:pt x="458" y="1454"/>
                  </a:lnTo>
                  <a:lnTo>
                    <a:pt x="458" y="1452"/>
                  </a:lnTo>
                  <a:lnTo>
                    <a:pt x="458" y="1452"/>
                  </a:lnTo>
                  <a:lnTo>
                    <a:pt x="459" y="1452"/>
                  </a:lnTo>
                  <a:lnTo>
                    <a:pt x="459" y="1451"/>
                  </a:lnTo>
                  <a:lnTo>
                    <a:pt x="456" y="1443"/>
                  </a:lnTo>
                  <a:lnTo>
                    <a:pt x="456" y="1442"/>
                  </a:lnTo>
                  <a:lnTo>
                    <a:pt x="456" y="1442"/>
                  </a:lnTo>
                  <a:lnTo>
                    <a:pt x="455" y="1443"/>
                  </a:lnTo>
                  <a:lnTo>
                    <a:pt x="455" y="1442"/>
                  </a:lnTo>
                  <a:lnTo>
                    <a:pt x="453" y="1440"/>
                  </a:lnTo>
                  <a:lnTo>
                    <a:pt x="453" y="1439"/>
                  </a:lnTo>
                  <a:lnTo>
                    <a:pt x="453" y="1437"/>
                  </a:lnTo>
                  <a:lnTo>
                    <a:pt x="453" y="1437"/>
                  </a:lnTo>
                  <a:lnTo>
                    <a:pt x="452" y="1437"/>
                  </a:lnTo>
                  <a:lnTo>
                    <a:pt x="450" y="1435"/>
                  </a:lnTo>
                  <a:lnTo>
                    <a:pt x="450" y="1434"/>
                  </a:lnTo>
                  <a:lnTo>
                    <a:pt x="450" y="1432"/>
                  </a:lnTo>
                  <a:lnTo>
                    <a:pt x="450" y="1428"/>
                  </a:lnTo>
                  <a:lnTo>
                    <a:pt x="452" y="1426"/>
                  </a:lnTo>
                  <a:lnTo>
                    <a:pt x="456" y="1425"/>
                  </a:lnTo>
                  <a:lnTo>
                    <a:pt x="456" y="1423"/>
                  </a:lnTo>
                  <a:lnTo>
                    <a:pt x="455" y="1423"/>
                  </a:lnTo>
                  <a:lnTo>
                    <a:pt x="450" y="1425"/>
                  </a:lnTo>
                  <a:lnTo>
                    <a:pt x="450" y="1423"/>
                  </a:lnTo>
                  <a:lnTo>
                    <a:pt x="452" y="1422"/>
                  </a:lnTo>
                  <a:lnTo>
                    <a:pt x="452" y="1422"/>
                  </a:lnTo>
                  <a:lnTo>
                    <a:pt x="452" y="1420"/>
                  </a:lnTo>
                  <a:lnTo>
                    <a:pt x="450" y="1420"/>
                  </a:lnTo>
                  <a:lnTo>
                    <a:pt x="452" y="1419"/>
                  </a:lnTo>
                  <a:lnTo>
                    <a:pt x="452" y="1415"/>
                  </a:lnTo>
                  <a:lnTo>
                    <a:pt x="452" y="1414"/>
                  </a:lnTo>
                  <a:lnTo>
                    <a:pt x="453" y="1414"/>
                  </a:lnTo>
                  <a:lnTo>
                    <a:pt x="453" y="1414"/>
                  </a:lnTo>
                  <a:lnTo>
                    <a:pt x="453" y="1412"/>
                  </a:lnTo>
                  <a:lnTo>
                    <a:pt x="453" y="1411"/>
                  </a:lnTo>
                  <a:lnTo>
                    <a:pt x="453" y="1411"/>
                  </a:lnTo>
                  <a:lnTo>
                    <a:pt x="452" y="1411"/>
                  </a:lnTo>
                  <a:lnTo>
                    <a:pt x="450" y="1411"/>
                  </a:lnTo>
                  <a:lnTo>
                    <a:pt x="448" y="1409"/>
                  </a:lnTo>
                  <a:lnTo>
                    <a:pt x="452" y="1409"/>
                  </a:lnTo>
                  <a:lnTo>
                    <a:pt x="452" y="1408"/>
                  </a:lnTo>
                  <a:lnTo>
                    <a:pt x="452" y="1406"/>
                  </a:lnTo>
                  <a:lnTo>
                    <a:pt x="450" y="1405"/>
                  </a:lnTo>
                  <a:lnTo>
                    <a:pt x="452" y="1403"/>
                  </a:lnTo>
                  <a:lnTo>
                    <a:pt x="452" y="1402"/>
                  </a:lnTo>
                  <a:lnTo>
                    <a:pt x="452" y="1399"/>
                  </a:lnTo>
                  <a:lnTo>
                    <a:pt x="450" y="1395"/>
                  </a:lnTo>
                  <a:lnTo>
                    <a:pt x="452" y="1394"/>
                  </a:lnTo>
                  <a:lnTo>
                    <a:pt x="453" y="1392"/>
                  </a:lnTo>
                  <a:lnTo>
                    <a:pt x="455" y="1391"/>
                  </a:lnTo>
                  <a:lnTo>
                    <a:pt x="453" y="1388"/>
                  </a:lnTo>
                  <a:lnTo>
                    <a:pt x="452" y="1385"/>
                  </a:lnTo>
                  <a:lnTo>
                    <a:pt x="450" y="1382"/>
                  </a:lnTo>
                  <a:lnTo>
                    <a:pt x="447" y="1380"/>
                  </a:lnTo>
                  <a:lnTo>
                    <a:pt x="445" y="1378"/>
                  </a:lnTo>
                  <a:lnTo>
                    <a:pt x="445" y="1378"/>
                  </a:lnTo>
                  <a:lnTo>
                    <a:pt x="447" y="1378"/>
                  </a:lnTo>
                  <a:lnTo>
                    <a:pt x="448" y="1378"/>
                  </a:lnTo>
                  <a:lnTo>
                    <a:pt x="452" y="1383"/>
                  </a:lnTo>
                  <a:lnTo>
                    <a:pt x="453" y="1383"/>
                  </a:lnTo>
                  <a:lnTo>
                    <a:pt x="456" y="1383"/>
                  </a:lnTo>
                  <a:lnTo>
                    <a:pt x="455" y="1382"/>
                  </a:lnTo>
                  <a:lnTo>
                    <a:pt x="453" y="1382"/>
                  </a:lnTo>
                  <a:lnTo>
                    <a:pt x="450" y="1380"/>
                  </a:lnTo>
                  <a:lnTo>
                    <a:pt x="450" y="1377"/>
                  </a:lnTo>
                  <a:lnTo>
                    <a:pt x="455" y="1378"/>
                  </a:lnTo>
                  <a:lnTo>
                    <a:pt x="456" y="1380"/>
                  </a:lnTo>
                  <a:lnTo>
                    <a:pt x="459" y="1378"/>
                  </a:lnTo>
                  <a:lnTo>
                    <a:pt x="453" y="1375"/>
                  </a:lnTo>
                  <a:lnTo>
                    <a:pt x="453" y="1374"/>
                  </a:lnTo>
                  <a:lnTo>
                    <a:pt x="450" y="1372"/>
                  </a:lnTo>
                  <a:lnTo>
                    <a:pt x="448" y="1371"/>
                  </a:lnTo>
                  <a:lnTo>
                    <a:pt x="447" y="1366"/>
                  </a:lnTo>
                  <a:lnTo>
                    <a:pt x="445" y="1366"/>
                  </a:lnTo>
                  <a:lnTo>
                    <a:pt x="447" y="1365"/>
                  </a:lnTo>
                  <a:lnTo>
                    <a:pt x="448" y="1363"/>
                  </a:lnTo>
                  <a:lnTo>
                    <a:pt x="448" y="1360"/>
                  </a:lnTo>
                  <a:lnTo>
                    <a:pt x="448" y="1360"/>
                  </a:lnTo>
                  <a:lnTo>
                    <a:pt x="450" y="1362"/>
                  </a:lnTo>
                  <a:lnTo>
                    <a:pt x="450" y="1363"/>
                  </a:lnTo>
                  <a:lnTo>
                    <a:pt x="452" y="1362"/>
                  </a:lnTo>
                  <a:lnTo>
                    <a:pt x="452" y="1362"/>
                  </a:lnTo>
                  <a:lnTo>
                    <a:pt x="453" y="1362"/>
                  </a:lnTo>
                  <a:lnTo>
                    <a:pt x="453" y="1360"/>
                  </a:lnTo>
                  <a:lnTo>
                    <a:pt x="455" y="1360"/>
                  </a:lnTo>
                  <a:lnTo>
                    <a:pt x="455" y="1358"/>
                  </a:lnTo>
                  <a:lnTo>
                    <a:pt x="455" y="1358"/>
                  </a:lnTo>
                  <a:lnTo>
                    <a:pt x="455" y="1357"/>
                  </a:lnTo>
                  <a:lnTo>
                    <a:pt x="453" y="1358"/>
                  </a:lnTo>
                  <a:lnTo>
                    <a:pt x="453" y="1358"/>
                  </a:lnTo>
                  <a:lnTo>
                    <a:pt x="453" y="1360"/>
                  </a:lnTo>
                  <a:lnTo>
                    <a:pt x="452" y="1360"/>
                  </a:lnTo>
                  <a:lnTo>
                    <a:pt x="452" y="1358"/>
                  </a:lnTo>
                  <a:lnTo>
                    <a:pt x="450" y="1358"/>
                  </a:lnTo>
                  <a:lnTo>
                    <a:pt x="450" y="1357"/>
                  </a:lnTo>
                  <a:lnTo>
                    <a:pt x="450" y="1355"/>
                  </a:lnTo>
                  <a:lnTo>
                    <a:pt x="450" y="1354"/>
                  </a:lnTo>
                  <a:lnTo>
                    <a:pt x="452" y="1352"/>
                  </a:lnTo>
                  <a:lnTo>
                    <a:pt x="452" y="1352"/>
                  </a:lnTo>
                  <a:lnTo>
                    <a:pt x="452" y="1351"/>
                  </a:lnTo>
                  <a:lnTo>
                    <a:pt x="450" y="1349"/>
                  </a:lnTo>
                  <a:lnTo>
                    <a:pt x="447" y="1348"/>
                  </a:lnTo>
                  <a:lnTo>
                    <a:pt x="447" y="1348"/>
                  </a:lnTo>
                  <a:lnTo>
                    <a:pt x="450" y="1348"/>
                  </a:lnTo>
                  <a:lnTo>
                    <a:pt x="450" y="1346"/>
                  </a:lnTo>
                  <a:lnTo>
                    <a:pt x="450" y="1345"/>
                  </a:lnTo>
                  <a:lnTo>
                    <a:pt x="448" y="1345"/>
                  </a:lnTo>
                  <a:lnTo>
                    <a:pt x="447" y="1343"/>
                  </a:lnTo>
                  <a:lnTo>
                    <a:pt x="445" y="1343"/>
                  </a:lnTo>
                  <a:lnTo>
                    <a:pt x="444" y="1342"/>
                  </a:lnTo>
                  <a:lnTo>
                    <a:pt x="445" y="1342"/>
                  </a:lnTo>
                  <a:lnTo>
                    <a:pt x="452" y="1342"/>
                  </a:lnTo>
                  <a:lnTo>
                    <a:pt x="452" y="1340"/>
                  </a:lnTo>
                  <a:lnTo>
                    <a:pt x="444" y="1338"/>
                  </a:lnTo>
                  <a:lnTo>
                    <a:pt x="442" y="1337"/>
                  </a:lnTo>
                  <a:lnTo>
                    <a:pt x="445" y="1337"/>
                  </a:lnTo>
                  <a:lnTo>
                    <a:pt x="448" y="1335"/>
                  </a:lnTo>
                  <a:lnTo>
                    <a:pt x="448" y="1334"/>
                  </a:lnTo>
                  <a:lnTo>
                    <a:pt x="447" y="1332"/>
                  </a:lnTo>
                  <a:lnTo>
                    <a:pt x="444" y="1332"/>
                  </a:lnTo>
                  <a:lnTo>
                    <a:pt x="444" y="1332"/>
                  </a:lnTo>
                  <a:lnTo>
                    <a:pt x="450" y="1332"/>
                  </a:lnTo>
                  <a:lnTo>
                    <a:pt x="452" y="1332"/>
                  </a:lnTo>
                  <a:lnTo>
                    <a:pt x="453" y="1334"/>
                  </a:lnTo>
                  <a:lnTo>
                    <a:pt x="455" y="1334"/>
                  </a:lnTo>
                  <a:lnTo>
                    <a:pt x="456" y="1332"/>
                  </a:lnTo>
                  <a:lnTo>
                    <a:pt x="455" y="1331"/>
                  </a:lnTo>
                  <a:lnTo>
                    <a:pt x="445" y="1329"/>
                  </a:lnTo>
                  <a:lnTo>
                    <a:pt x="447" y="1328"/>
                  </a:lnTo>
                  <a:lnTo>
                    <a:pt x="450" y="1329"/>
                  </a:lnTo>
                  <a:lnTo>
                    <a:pt x="453" y="1328"/>
                  </a:lnTo>
                  <a:lnTo>
                    <a:pt x="452" y="1326"/>
                  </a:lnTo>
                  <a:lnTo>
                    <a:pt x="450" y="1326"/>
                  </a:lnTo>
                  <a:lnTo>
                    <a:pt x="450" y="1326"/>
                  </a:lnTo>
                  <a:lnTo>
                    <a:pt x="453" y="1326"/>
                  </a:lnTo>
                  <a:lnTo>
                    <a:pt x="455" y="1325"/>
                  </a:lnTo>
                  <a:lnTo>
                    <a:pt x="458" y="1323"/>
                  </a:lnTo>
                  <a:lnTo>
                    <a:pt x="458" y="1320"/>
                  </a:lnTo>
                  <a:lnTo>
                    <a:pt x="453" y="1317"/>
                  </a:lnTo>
                  <a:lnTo>
                    <a:pt x="450" y="1317"/>
                  </a:lnTo>
                  <a:lnTo>
                    <a:pt x="450" y="1317"/>
                  </a:lnTo>
                  <a:lnTo>
                    <a:pt x="448" y="1315"/>
                  </a:lnTo>
                  <a:lnTo>
                    <a:pt x="455" y="1314"/>
                  </a:lnTo>
                  <a:lnTo>
                    <a:pt x="458" y="1315"/>
                  </a:lnTo>
                  <a:lnTo>
                    <a:pt x="461" y="1318"/>
                  </a:lnTo>
                  <a:lnTo>
                    <a:pt x="461" y="1320"/>
                  </a:lnTo>
                  <a:lnTo>
                    <a:pt x="461" y="1322"/>
                  </a:lnTo>
                  <a:lnTo>
                    <a:pt x="464" y="1323"/>
                  </a:lnTo>
                  <a:lnTo>
                    <a:pt x="464" y="1320"/>
                  </a:lnTo>
                  <a:lnTo>
                    <a:pt x="462" y="1318"/>
                  </a:lnTo>
                  <a:lnTo>
                    <a:pt x="462" y="1315"/>
                  </a:lnTo>
                  <a:lnTo>
                    <a:pt x="465" y="1317"/>
                  </a:lnTo>
                  <a:lnTo>
                    <a:pt x="467" y="1320"/>
                  </a:lnTo>
                  <a:lnTo>
                    <a:pt x="470" y="1326"/>
                  </a:lnTo>
                  <a:lnTo>
                    <a:pt x="470" y="1328"/>
                  </a:lnTo>
                  <a:lnTo>
                    <a:pt x="472" y="1329"/>
                  </a:lnTo>
                  <a:lnTo>
                    <a:pt x="473" y="1329"/>
                  </a:lnTo>
                  <a:lnTo>
                    <a:pt x="475" y="1329"/>
                  </a:lnTo>
                  <a:lnTo>
                    <a:pt x="475" y="1329"/>
                  </a:lnTo>
                  <a:lnTo>
                    <a:pt x="476" y="1326"/>
                  </a:lnTo>
                  <a:lnTo>
                    <a:pt x="476" y="1325"/>
                  </a:lnTo>
                  <a:lnTo>
                    <a:pt x="476" y="1322"/>
                  </a:lnTo>
                  <a:lnTo>
                    <a:pt x="476" y="1320"/>
                  </a:lnTo>
                  <a:lnTo>
                    <a:pt x="476" y="1318"/>
                  </a:lnTo>
                  <a:lnTo>
                    <a:pt x="476" y="1317"/>
                  </a:lnTo>
                  <a:lnTo>
                    <a:pt x="476" y="1315"/>
                  </a:lnTo>
                  <a:lnTo>
                    <a:pt x="475" y="1314"/>
                  </a:lnTo>
                  <a:lnTo>
                    <a:pt x="473" y="1314"/>
                  </a:lnTo>
                  <a:lnTo>
                    <a:pt x="472" y="1314"/>
                  </a:lnTo>
                  <a:lnTo>
                    <a:pt x="469" y="1315"/>
                  </a:lnTo>
                  <a:lnTo>
                    <a:pt x="467" y="1314"/>
                  </a:lnTo>
                  <a:lnTo>
                    <a:pt x="467" y="1311"/>
                  </a:lnTo>
                  <a:lnTo>
                    <a:pt x="467" y="1309"/>
                  </a:lnTo>
                  <a:lnTo>
                    <a:pt x="467" y="1306"/>
                  </a:lnTo>
                  <a:lnTo>
                    <a:pt x="467" y="1305"/>
                  </a:lnTo>
                  <a:lnTo>
                    <a:pt x="465" y="1305"/>
                  </a:lnTo>
                  <a:lnTo>
                    <a:pt x="465" y="1303"/>
                  </a:lnTo>
                  <a:lnTo>
                    <a:pt x="467" y="1303"/>
                  </a:lnTo>
                  <a:lnTo>
                    <a:pt x="467" y="1301"/>
                  </a:lnTo>
                  <a:lnTo>
                    <a:pt x="469" y="1301"/>
                  </a:lnTo>
                  <a:lnTo>
                    <a:pt x="469" y="1300"/>
                  </a:lnTo>
                  <a:lnTo>
                    <a:pt x="464" y="1301"/>
                  </a:lnTo>
                  <a:lnTo>
                    <a:pt x="464" y="1300"/>
                  </a:lnTo>
                  <a:lnTo>
                    <a:pt x="464" y="1300"/>
                  </a:lnTo>
                  <a:lnTo>
                    <a:pt x="464" y="1298"/>
                  </a:lnTo>
                  <a:lnTo>
                    <a:pt x="464" y="1298"/>
                  </a:lnTo>
                  <a:lnTo>
                    <a:pt x="464" y="1297"/>
                  </a:lnTo>
                  <a:lnTo>
                    <a:pt x="464" y="1295"/>
                  </a:lnTo>
                  <a:lnTo>
                    <a:pt x="464" y="1295"/>
                  </a:lnTo>
                  <a:lnTo>
                    <a:pt x="464" y="1294"/>
                  </a:lnTo>
                  <a:lnTo>
                    <a:pt x="464" y="1294"/>
                  </a:lnTo>
                  <a:lnTo>
                    <a:pt x="464" y="1294"/>
                  </a:lnTo>
                  <a:lnTo>
                    <a:pt x="464" y="1292"/>
                  </a:lnTo>
                  <a:lnTo>
                    <a:pt x="464" y="1292"/>
                  </a:lnTo>
                  <a:lnTo>
                    <a:pt x="464" y="1292"/>
                  </a:lnTo>
                  <a:lnTo>
                    <a:pt x="464" y="1291"/>
                  </a:lnTo>
                  <a:lnTo>
                    <a:pt x="465" y="1291"/>
                  </a:lnTo>
                  <a:lnTo>
                    <a:pt x="465" y="1289"/>
                  </a:lnTo>
                  <a:lnTo>
                    <a:pt x="465" y="1288"/>
                  </a:lnTo>
                  <a:lnTo>
                    <a:pt x="464" y="1286"/>
                  </a:lnTo>
                  <a:lnTo>
                    <a:pt x="464" y="1283"/>
                  </a:lnTo>
                  <a:lnTo>
                    <a:pt x="464" y="1281"/>
                  </a:lnTo>
                  <a:lnTo>
                    <a:pt x="464" y="1280"/>
                  </a:lnTo>
                  <a:lnTo>
                    <a:pt x="464" y="1278"/>
                  </a:lnTo>
                  <a:lnTo>
                    <a:pt x="465" y="1278"/>
                  </a:lnTo>
                  <a:lnTo>
                    <a:pt x="467" y="1277"/>
                  </a:lnTo>
                  <a:lnTo>
                    <a:pt x="467" y="1275"/>
                  </a:lnTo>
                  <a:lnTo>
                    <a:pt x="467" y="1274"/>
                  </a:lnTo>
                  <a:lnTo>
                    <a:pt x="467" y="1272"/>
                  </a:lnTo>
                  <a:lnTo>
                    <a:pt x="469" y="1272"/>
                  </a:lnTo>
                  <a:lnTo>
                    <a:pt x="472" y="1272"/>
                  </a:lnTo>
                  <a:lnTo>
                    <a:pt x="473" y="1271"/>
                  </a:lnTo>
                  <a:lnTo>
                    <a:pt x="472" y="1269"/>
                  </a:lnTo>
                  <a:lnTo>
                    <a:pt x="472" y="1268"/>
                  </a:lnTo>
                  <a:lnTo>
                    <a:pt x="470" y="1268"/>
                  </a:lnTo>
                  <a:lnTo>
                    <a:pt x="473" y="1263"/>
                  </a:lnTo>
                  <a:lnTo>
                    <a:pt x="473" y="1261"/>
                  </a:lnTo>
                  <a:lnTo>
                    <a:pt x="472" y="1260"/>
                  </a:lnTo>
                  <a:lnTo>
                    <a:pt x="473" y="1260"/>
                  </a:lnTo>
                  <a:lnTo>
                    <a:pt x="473" y="1258"/>
                  </a:lnTo>
                  <a:lnTo>
                    <a:pt x="473" y="1257"/>
                  </a:lnTo>
                  <a:lnTo>
                    <a:pt x="473" y="1252"/>
                  </a:lnTo>
                  <a:lnTo>
                    <a:pt x="475" y="1251"/>
                  </a:lnTo>
                  <a:lnTo>
                    <a:pt x="475" y="1248"/>
                  </a:lnTo>
                  <a:lnTo>
                    <a:pt x="476" y="1248"/>
                  </a:lnTo>
                  <a:lnTo>
                    <a:pt x="476" y="1246"/>
                  </a:lnTo>
                  <a:lnTo>
                    <a:pt x="476" y="1245"/>
                  </a:lnTo>
                  <a:lnTo>
                    <a:pt x="476" y="1241"/>
                  </a:lnTo>
                  <a:lnTo>
                    <a:pt x="476" y="1238"/>
                  </a:lnTo>
                  <a:lnTo>
                    <a:pt x="476" y="1237"/>
                  </a:lnTo>
                  <a:lnTo>
                    <a:pt x="476" y="1235"/>
                  </a:lnTo>
                  <a:lnTo>
                    <a:pt x="478" y="1234"/>
                  </a:lnTo>
                  <a:lnTo>
                    <a:pt x="479" y="1234"/>
                  </a:lnTo>
                  <a:lnTo>
                    <a:pt x="481" y="1235"/>
                  </a:lnTo>
                  <a:lnTo>
                    <a:pt x="479" y="1238"/>
                  </a:lnTo>
                  <a:lnTo>
                    <a:pt x="479" y="1240"/>
                  </a:lnTo>
                  <a:lnTo>
                    <a:pt x="481" y="1238"/>
                  </a:lnTo>
                  <a:lnTo>
                    <a:pt x="487" y="1235"/>
                  </a:lnTo>
                  <a:lnTo>
                    <a:pt x="485" y="1234"/>
                  </a:lnTo>
                  <a:lnTo>
                    <a:pt x="482" y="1232"/>
                  </a:lnTo>
                  <a:lnTo>
                    <a:pt x="481" y="1231"/>
                  </a:lnTo>
                  <a:lnTo>
                    <a:pt x="479" y="1232"/>
                  </a:lnTo>
                  <a:lnTo>
                    <a:pt x="473" y="1228"/>
                  </a:lnTo>
                  <a:lnTo>
                    <a:pt x="473" y="1228"/>
                  </a:lnTo>
                  <a:lnTo>
                    <a:pt x="473" y="1226"/>
                  </a:lnTo>
                  <a:lnTo>
                    <a:pt x="475" y="1228"/>
                  </a:lnTo>
                  <a:lnTo>
                    <a:pt x="475" y="1226"/>
                  </a:lnTo>
                  <a:lnTo>
                    <a:pt x="473" y="1224"/>
                  </a:lnTo>
                  <a:lnTo>
                    <a:pt x="473" y="1223"/>
                  </a:lnTo>
                  <a:lnTo>
                    <a:pt x="473" y="1221"/>
                  </a:lnTo>
                  <a:lnTo>
                    <a:pt x="472" y="1220"/>
                  </a:lnTo>
                  <a:lnTo>
                    <a:pt x="472" y="1218"/>
                  </a:lnTo>
                  <a:lnTo>
                    <a:pt x="470" y="1218"/>
                  </a:lnTo>
                  <a:lnTo>
                    <a:pt x="467" y="1220"/>
                  </a:lnTo>
                  <a:lnTo>
                    <a:pt x="467" y="1218"/>
                  </a:lnTo>
                  <a:lnTo>
                    <a:pt x="465" y="1217"/>
                  </a:lnTo>
                  <a:lnTo>
                    <a:pt x="465" y="1215"/>
                  </a:lnTo>
                  <a:lnTo>
                    <a:pt x="465" y="1214"/>
                  </a:lnTo>
                  <a:lnTo>
                    <a:pt x="465" y="1211"/>
                  </a:lnTo>
                  <a:lnTo>
                    <a:pt x="465" y="1209"/>
                  </a:lnTo>
                  <a:lnTo>
                    <a:pt x="464" y="1208"/>
                  </a:lnTo>
                  <a:lnTo>
                    <a:pt x="464" y="1208"/>
                  </a:lnTo>
                  <a:lnTo>
                    <a:pt x="464" y="1208"/>
                  </a:lnTo>
                  <a:lnTo>
                    <a:pt x="465" y="1208"/>
                  </a:lnTo>
                  <a:lnTo>
                    <a:pt x="465" y="1206"/>
                  </a:lnTo>
                  <a:lnTo>
                    <a:pt x="467" y="1206"/>
                  </a:lnTo>
                  <a:lnTo>
                    <a:pt x="467" y="1204"/>
                  </a:lnTo>
                  <a:lnTo>
                    <a:pt x="467" y="1203"/>
                  </a:lnTo>
                  <a:lnTo>
                    <a:pt x="467" y="1203"/>
                  </a:lnTo>
                  <a:lnTo>
                    <a:pt x="465" y="1201"/>
                  </a:lnTo>
                  <a:lnTo>
                    <a:pt x="462" y="1197"/>
                  </a:lnTo>
                  <a:lnTo>
                    <a:pt x="462" y="1194"/>
                  </a:lnTo>
                  <a:lnTo>
                    <a:pt x="464" y="1192"/>
                  </a:lnTo>
                  <a:lnTo>
                    <a:pt x="465" y="1191"/>
                  </a:lnTo>
                  <a:lnTo>
                    <a:pt x="467" y="1191"/>
                  </a:lnTo>
                  <a:lnTo>
                    <a:pt x="467" y="1189"/>
                  </a:lnTo>
                  <a:lnTo>
                    <a:pt x="469" y="1186"/>
                  </a:lnTo>
                  <a:lnTo>
                    <a:pt x="470" y="1184"/>
                  </a:lnTo>
                  <a:lnTo>
                    <a:pt x="472" y="1186"/>
                  </a:lnTo>
                  <a:lnTo>
                    <a:pt x="475" y="1191"/>
                  </a:lnTo>
                  <a:lnTo>
                    <a:pt x="478" y="1197"/>
                  </a:lnTo>
                  <a:lnTo>
                    <a:pt x="478" y="1198"/>
                  </a:lnTo>
                  <a:lnTo>
                    <a:pt x="479" y="1200"/>
                  </a:lnTo>
                  <a:lnTo>
                    <a:pt x="481" y="1201"/>
                  </a:lnTo>
                  <a:lnTo>
                    <a:pt x="481" y="1201"/>
                  </a:lnTo>
                  <a:lnTo>
                    <a:pt x="492" y="1201"/>
                  </a:lnTo>
                  <a:lnTo>
                    <a:pt x="490" y="1200"/>
                  </a:lnTo>
                  <a:lnTo>
                    <a:pt x="489" y="1198"/>
                  </a:lnTo>
                  <a:lnTo>
                    <a:pt x="487" y="1198"/>
                  </a:lnTo>
                  <a:lnTo>
                    <a:pt x="487" y="1195"/>
                  </a:lnTo>
                  <a:lnTo>
                    <a:pt x="489" y="1194"/>
                  </a:lnTo>
                  <a:lnTo>
                    <a:pt x="490" y="1192"/>
                  </a:lnTo>
                  <a:lnTo>
                    <a:pt x="493" y="1191"/>
                  </a:lnTo>
                  <a:lnTo>
                    <a:pt x="496" y="1191"/>
                  </a:lnTo>
                  <a:lnTo>
                    <a:pt x="498" y="1191"/>
                  </a:lnTo>
                  <a:lnTo>
                    <a:pt x="499" y="1194"/>
                  </a:lnTo>
                  <a:lnTo>
                    <a:pt x="499" y="1194"/>
                  </a:lnTo>
                  <a:lnTo>
                    <a:pt x="501" y="1194"/>
                  </a:lnTo>
                  <a:lnTo>
                    <a:pt x="502" y="1192"/>
                  </a:lnTo>
                  <a:lnTo>
                    <a:pt x="505" y="1188"/>
                  </a:lnTo>
                  <a:lnTo>
                    <a:pt x="504" y="1184"/>
                  </a:lnTo>
                  <a:lnTo>
                    <a:pt x="505" y="1184"/>
                  </a:lnTo>
                  <a:lnTo>
                    <a:pt x="505" y="1183"/>
                  </a:lnTo>
                  <a:lnTo>
                    <a:pt x="505" y="1183"/>
                  </a:lnTo>
                  <a:lnTo>
                    <a:pt x="505" y="1181"/>
                  </a:lnTo>
                  <a:lnTo>
                    <a:pt x="507" y="1180"/>
                  </a:lnTo>
                  <a:lnTo>
                    <a:pt x="507" y="1175"/>
                  </a:lnTo>
                  <a:lnTo>
                    <a:pt x="507" y="1174"/>
                  </a:lnTo>
                  <a:lnTo>
                    <a:pt x="509" y="1174"/>
                  </a:lnTo>
                  <a:lnTo>
                    <a:pt x="509" y="1174"/>
                  </a:lnTo>
                  <a:lnTo>
                    <a:pt x="509" y="1174"/>
                  </a:lnTo>
                  <a:lnTo>
                    <a:pt x="509" y="1175"/>
                  </a:lnTo>
                  <a:lnTo>
                    <a:pt x="510" y="1180"/>
                  </a:lnTo>
                  <a:lnTo>
                    <a:pt x="510" y="1181"/>
                  </a:lnTo>
                  <a:lnTo>
                    <a:pt x="510" y="1181"/>
                  </a:lnTo>
                  <a:lnTo>
                    <a:pt x="516" y="1177"/>
                  </a:lnTo>
                  <a:lnTo>
                    <a:pt x="518" y="1177"/>
                  </a:lnTo>
                  <a:lnTo>
                    <a:pt x="516" y="1175"/>
                  </a:lnTo>
                  <a:lnTo>
                    <a:pt x="516" y="1174"/>
                  </a:lnTo>
                  <a:lnTo>
                    <a:pt x="516" y="1174"/>
                  </a:lnTo>
                  <a:lnTo>
                    <a:pt x="516" y="1171"/>
                  </a:lnTo>
                  <a:lnTo>
                    <a:pt x="504" y="1166"/>
                  </a:lnTo>
                  <a:lnTo>
                    <a:pt x="502" y="1164"/>
                  </a:lnTo>
                  <a:lnTo>
                    <a:pt x="507" y="1164"/>
                  </a:lnTo>
                  <a:lnTo>
                    <a:pt x="509" y="1164"/>
                  </a:lnTo>
                  <a:lnTo>
                    <a:pt x="510" y="1166"/>
                  </a:lnTo>
                  <a:lnTo>
                    <a:pt x="510" y="1166"/>
                  </a:lnTo>
                  <a:lnTo>
                    <a:pt x="512" y="1166"/>
                  </a:lnTo>
                  <a:lnTo>
                    <a:pt x="512" y="1166"/>
                  </a:lnTo>
                  <a:lnTo>
                    <a:pt x="513" y="1164"/>
                  </a:lnTo>
                  <a:lnTo>
                    <a:pt x="512" y="1163"/>
                  </a:lnTo>
                  <a:lnTo>
                    <a:pt x="512" y="1163"/>
                  </a:lnTo>
                  <a:lnTo>
                    <a:pt x="513" y="1160"/>
                  </a:lnTo>
                  <a:lnTo>
                    <a:pt x="513" y="1158"/>
                  </a:lnTo>
                  <a:lnTo>
                    <a:pt x="512" y="1155"/>
                  </a:lnTo>
                  <a:lnTo>
                    <a:pt x="510" y="1151"/>
                  </a:lnTo>
                  <a:lnTo>
                    <a:pt x="510" y="1149"/>
                  </a:lnTo>
                  <a:lnTo>
                    <a:pt x="510" y="1146"/>
                  </a:lnTo>
                  <a:lnTo>
                    <a:pt x="509" y="1146"/>
                  </a:lnTo>
                  <a:lnTo>
                    <a:pt x="509" y="1144"/>
                  </a:lnTo>
                  <a:lnTo>
                    <a:pt x="507" y="1143"/>
                  </a:lnTo>
                  <a:lnTo>
                    <a:pt x="504" y="1141"/>
                  </a:lnTo>
                  <a:lnTo>
                    <a:pt x="504" y="1140"/>
                  </a:lnTo>
                  <a:lnTo>
                    <a:pt x="505" y="1137"/>
                  </a:lnTo>
                  <a:lnTo>
                    <a:pt x="504" y="1132"/>
                  </a:lnTo>
                  <a:lnTo>
                    <a:pt x="502" y="1126"/>
                  </a:lnTo>
                  <a:lnTo>
                    <a:pt x="501" y="1123"/>
                  </a:lnTo>
                  <a:lnTo>
                    <a:pt x="499" y="1120"/>
                  </a:lnTo>
                  <a:lnTo>
                    <a:pt x="490" y="1112"/>
                  </a:lnTo>
                  <a:lnTo>
                    <a:pt x="492" y="1111"/>
                  </a:lnTo>
                  <a:lnTo>
                    <a:pt x="492" y="1112"/>
                  </a:lnTo>
                  <a:lnTo>
                    <a:pt x="493" y="1114"/>
                  </a:lnTo>
                  <a:lnTo>
                    <a:pt x="495" y="1114"/>
                  </a:lnTo>
                  <a:lnTo>
                    <a:pt x="496" y="1114"/>
                  </a:lnTo>
                  <a:lnTo>
                    <a:pt x="498" y="1111"/>
                  </a:lnTo>
                  <a:lnTo>
                    <a:pt x="501" y="1111"/>
                  </a:lnTo>
                  <a:lnTo>
                    <a:pt x="499" y="1114"/>
                  </a:lnTo>
                  <a:lnTo>
                    <a:pt x="498" y="1114"/>
                  </a:lnTo>
                  <a:lnTo>
                    <a:pt x="499" y="1115"/>
                  </a:lnTo>
                  <a:lnTo>
                    <a:pt x="501" y="1115"/>
                  </a:lnTo>
                  <a:lnTo>
                    <a:pt x="501" y="1117"/>
                  </a:lnTo>
                  <a:lnTo>
                    <a:pt x="502" y="1118"/>
                  </a:lnTo>
                  <a:lnTo>
                    <a:pt x="504" y="1124"/>
                  </a:lnTo>
                  <a:lnTo>
                    <a:pt x="504" y="1124"/>
                  </a:lnTo>
                  <a:lnTo>
                    <a:pt x="505" y="1124"/>
                  </a:lnTo>
                  <a:lnTo>
                    <a:pt x="505" y="1124"/>
                  </a:lnTo>
                  <a:lnTo>
                    <a:pt x="507" y="1124"/>
                  </a:lnTo>
                  <a:lnTo>
                    <a:pt x="507" y="1126"/>
                  </a:lnTo>
                  <a:lnTo>
                    <a:pt x="507" y="1127"/>
                  </a:lnTo>
                  <a:lnTo>
                    <a:pt x="507" y="1129"/>
                  </a:lnTo>
                  <a:lnTo>
                    <a:pt x="505" y="1129"/>
                  </a:lnTo>
                  <a:lnTo>
                    <a:pt x="507" y="1131"/>
                  </a:lnTo>
                  <a:lnTo>
                    <a:pt x="507" y="1132"/>
                  </a:lnTo>
                  <a:lnTo>
                    <a:pt x="507" y="1132"/>
                  </a:lnTo>
                  <a:lnTo>
                    <a:pt x="507" y="1138"/>
                  </a:lnTo>
                  <a:lnTo>
                    <a:pt x="507" y="1140"/>
                  </a:lnTo>
                  <a:lnTo>
                    <a:pt x="509" y="1140"/>
                  </a:lnTo>
                  <a:lnTo>
                    <a:pt x="509" y="1141"/>
                  </a:lnTo>
                  <a:lnTo>
                    <a:pt x="510" y="1141"/>
                  </a:lnTo>
                  <a:lnTo>
                    <a:pt x="510" y="1141"/>
                  </a:lnTo>
                  <a:lnTo>
                    <a:pt x="512" y="1138"/>
                  </a:lnTo>
                  <a:lnTo>
                    <a:pt x="515" y="1137"/>
                  </a:lnTo>
                  <a:lnTo>
                    <a:pt x="516" y="1135"/>
                  </a:lnTo>
                  <a:lnTo>
                    <a:pt x="518" y="1134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8" y="1135"/>
                  </a:lnTo>
                  <a:lnTo>
                    <a:pt x="519" y="1137"/>
                  </a:lnTo>
                  <a:lnTo>
                    <a:pt x="521" y="1138"/>
                  </a:lnTo>
                  <a:lnTo>
                    <a:pt x="524" y="1140"/>
                  </a:lnTo>
                  <a:lnTo>
                    <a:pt x="522" y="1143"/>
                  </a:lnTo>
                  <a:lnTo>
                    <a:pt x="515" y="1141"/>
                  </a:lnTo>
                  <a:lnTo>
                    <a:pt x="513" y="1144"/>
                  </a:lnTo>
                  <a:lnTo>
                    <a:pt x="516" y="1144"/>
                  </a:lnTo>
                  <a:lnTo>
                    <a:pt x="518" y="1144"/>
                  </a:lnTo>
                  <a:lnTo>
                    <a:pt x="519" y="1146"/>
                  </a:lnTo>
                  <a:lnTo>
                    <a:pt x="519" y="1146"/>
                  </a:lnTo>
                  <a:lnTo>
                    <a:pt x="518" y="1147"/>
                  </a:lnTo>
                  <a:lnTo>
                    <a:pt x="522" y="1147"/>
                  </a:lnTo>
                  <a:lnTo>
                    <a:pt x="522" y="1147"/>
                  </a:lnTo>
                  <a:lnTo>
                    <a:pt x="524" y="1146"/>
                  </a:lnTo>
                  <a:lnTo>
                    <a:pt x="526" y="1144"/>
                  </a:lnTo>
                  <a:lnTo>
                    <a:pt x="526" y="1143"/>
                  </a:lnTo>
                  <a:lnTo>
                    <a:pt x="527" y="1141"/>
                  </a:lnTo>
                  <a:lnTo>
                    <a:pt x="527" y="1141"/>
                  </a:lnTo>
                  <a:lnTo>
                    <a:pt x="527" y="1143"/>
                  </a:lnTo>
                  <a:lnTo>
                    <a:pt x="527" y="1143"/>
                  </a:lnTo>
                  <a:lnTo>
                    <a:pt x="527" y="1144"/>
                  </a:lnTo>
                  <a:lnTo>
                    <a:pt x="527" y="1146"/>
                  </a:lnTo>
                  <a:lnTo>
                    <a:pt x="527" y="1147"/>
                  </a:lnTo>
                  <a:lnTo>
                    <a:pt x="529" y="1146"/>
                  </a:lnTo>
                  <a:lnTo>
                    <a:pt x="529" y="1144"/>
                  </a:lnTo>
                  <a:lnTo>
                    <a:pt x="530" y="1144"/>
                  </a:lnTo>
                  <a:lnTo>
                    <a:pt x="530" y="1143"/>
                  </a:lnTo>
                  <a:lnTo>
                    <a:pt x="532" y="1141"/>
                  </a:lnTo>
                  <a:lnTo>
                    <a:pt x="533" y="1137"/>
                  </a:lnTo>
                  <a:lnTo>
                    <a:pt x="532" y="1135"/>
                  </a:lnTo>
                  <a:lnTo>
                    <a:pt x="530" y="1138"/>
                  </a:lnTo>
                  <a:lnTo>
                    <a:pt x="529" y="1137"/>
                  </a:lnTo>
                  <a:lnTo>
                    <a:pt x="529" y="1135"/>
                  </a:lnTo>
                  <a:lnTo>
                    <a:pt x="529" y="1135"/>
                  </a:lnTo>
                  <a:lnTo>
                    <a:pt x="529" y="1134"/>
                  </a:lnTo>
                  <a:lnTo>
                    <a:pt x="529" y="1132"/>
                  </a:lnTo>
                  <a:lnTo>
                    <a:pt x="529" y="1132"/>
                  </a:lnTo>
                  <a:lnTo>
                    <a:pt x="532" y="1132"/>
                  </a:lnTo>
                  <a:lnTo>
                    <a:pt x="532" y="1131"/>
                  </a:lnTo>
                  <a:lnTo>
                    <a:pt x="532" y="1129"/>
                  </a:lnTo>
                  <a:lnTo>
                    <a:pt x="533" y="1129"/>
                  </a:lnTo>
                  <a:lnTo>
                    <a:pt x="533" y="1131"/>
                  </a:lnTo>
                  <a:lnTo>
                    <a:pt x="536" y="1134"/>
                  </a:lnTo>
                  <a:lnTo>
                    <a:pt x="536" y="1135"/>
                  </a:lnTo>
                  <a:lnTo>
                    <a:pt x="536" y="1135"/>
                  </a:lnTo>
                  <a:lnTo>
                    <a:pt x="536" y="1137"/>
                  </a:lnTo>
                  <a:lnTo>
                    <a:pt x="538" y="1137"/>
                  </a:lnTo>
                  <a:lnTo>
                    <a:pt x="538" y="1137"/>
                  </a:lnTo>
                  <a:lnTo>
                    <a:pt x="539" y="1137"/>
                  </a:lnTo>
                  <a:lnTo>
                    <a:pt x="541" y="1137"/>
                  </a:lnTo>
                  <a:lnTo>
                    <a:pt x="542" y="1137"/>
                  </a:lnTo>
                  <a:lnTo>
                    <a:pt x="542" y="1135"/>
                  </a:lnTo>
                  <a:lnTo>
                    <a:pt x="544" y="1135"/>
                  </a:lnTo>
                  <a:lnTo>
                    <a:pt x="544" y="1134"/>
                  </a:lnTo>
                  <a:lnTo>
                    <a:pt x="547" y="1134"/>
                  </a:lnTo>
                  <a:lnTo>
                    <a:pt x="547" y="1134"/>
                  </a:lnTo>
                  <a:lnTo>
                    <a:pt x="547" y="1132"/>
                  </a:lnTo>
                  <a:lnTo>
                    <a:pt x="549" y="1131"/>
                  </a:lnTo>
                  <a:lnTo>
                    <a:pt x="547" y="1129"/>
                  </a:lnTo>
                  <a:lnTo>
                    <a:pt x="544" y="1127"/>
                  </a:lnTo>
                  <a:lnTo>
                    <a:pt x="542" y="1124"/>
                  </a:lnTo>
                  <a:lnTo>
                    <a:pt x="549" y="1126"/>
                  </a:lnTo>
                  <a:lnTo>
                    <a:pt x="550" y="1126"/>
                  </a:lnTo>
                  <a:lnTo>
                    <a:pt x="552" y="1123"/>
                  </a:lnTo>
                  <a:lnTo>
                    <a:pt x="550" y="1121"/>
                  </a:lnTo>
                  <a:lnTo>
                    <a:pt x="549" y="1121"/>
                  </a:lnTo>
                  <a:lnTo>
                    <a:pt x="547" y="1123"/>
                  </a:lnTo>
                  <a:lnTo>
                    <a:pt x="546" y="1123"/>
                  </a:lnTo>
                  <a:lnTo>
                    <a:pt x="542" y="1120"/>
                  </a:lnTo>
                  <a:lnTo>
                    <a:pt x="542" y="1117"/>
                  </a:lnTo>
                  <a:lnTo>
                    <a:pt x="544" y="1115"/>
                  </a:lnTo>
                  <a:lnTo>
                    <a:pt x="549" y="1118"/>
                  </a:lnTo>
                  <a:lnTo>
                    <a:pt x="550" y="1118"/>
                  </a:lnTo>
                  <a:lnTo>
                    <a:pt x="552" y="1118"/>
                  </a:lnTo>
                  <a:lnTo>
                    <a:pt x="553" y="1115"/>
                  </a:lnTo>
                  <a:lnTo>
                    <a:pt x="553" y="1115"/>
                  </a:lnTo>
                  <a:lnTo>
                    <a:pt x="553" y="1117"/>
                  </a:lnTo>
                  <a:lnTo>
                    <a:pt x="555" y="1118"/>
                  </a:lnTo>
                  <a:lnTo>
                    <a:pt x="556" y="1117"/>
                  </a:lnTo>
                  <a:lnTo>
                    <a:pt x="555" y="1115"/>
                  </a:lnTo>
                  <a:lnTo>
                    <a:pt x="553" y="1112"/>
                  </a:lnTo>
                  <a:lnTo>
                    <a:pt x="552" y="1112"/>
                  </a:lnTo>
                  <a:lnTo>
                    <a:pt x="533" y="1112"/>
                  </a:lnTo>
                  <a:lnTo>
                    <a:pt x="530" y="1111"/>
                  </a:lnTo>
                  <a:lnTo>
                    <a:pt x="535" y="1109"/>
                  </a:lnTo>
                  <a:lnTo>
                    <a:pt x="536" y="1107"/>
                  </a:lnTo>
                  <a:lnTo>
                    <a:pt x="538" y="1106"/>
                  </a:lnTo>
                  <a:lnTo>
                    <a:pt x="538" y="1106"/>
                  </a:lnTo>
                  <a:lnTo>
                    <a:pt x="538" y="1106"/>
                  </a:lnTo>
                  <a:lnTo>
                    <a:pt x="538" y="1104"/>
                  </a:lnTo>
                  <a:lnTo>
                    <a:pt x="538" y="1104"/>
                  </a:lnTo>
                  <a:lnTo>
                    <a:pt x="539" y="1104"/>
                  </a:lnTo>
                  <a:lnTo>
                    <a:pt x="539" y="1104"/>
                  </a:lnTo>
                  <a:lnTo>
                    <a:pt x="539" y="1107"/>
                  </a:lnTo>
                  <a:lnTo>
                    <a:pt x="539" y="1107"/>
                  </a:lnTo>
                  <a:lnTo>
                    <a:pt x="546" y="1107"/>
                  </a:lnTo>
                  <a:lnTo>
                    <a:pt x="544" y="1106"/>
                  </a:lnTo>
                  <a:lnTo>
                    <a:pt x="542" y="1104"/>
                  </a:lnTo>
                  <a:lnTo>
                    <a:pt x="541" y="1103"/>
                  </a:lnTo>
                  <a:lnTo>
                    <a:pt x="541" y="1101"/>
                  </a:lnTo>
                  <a:lnTo>
                    <a:pt x="542" y="1101"/>
                  </a:lnTo>
                  <a:lnTo>
                    <a:pt x="544" y="1101"/>
                  </a:lnTo>
                  <a:lnTo>
                    <a:pt x="546" y="1103"/>
                  </a:lnTo>
                  <a:lnTo>
                    <a:pt x="547" y="1106"/>
                  </a:lnTo>
                  <a:lnTo>
                    <a:pt x="549" y="1107"/>
                  </a:lnTo>
                  <a:lnTo>
                    <a:pt x="549" y="1106"/>
                  </a:lnTo>
                  <a:lnTo>
                    <a:pt x="550" y="1103"/>
                  </a:lnTo>
                  <a:lnTo>
                    <a:pt x="550" y="1101"/>
                  </a:lnTo>
                  <a:lnTo>
                    <a:pt x="550" y="1101"/>
                  </a:lnTo>
                  <a:lnTo>
                    <a:pt x="555" y="1098"/>
                  </a:lnTo>
                  <a:lnTo>
                    <a:pt x="552" y="1098"/>
                  </a:lnTo>
                  <a:lnTo>
                    <a:pt x="553" y="1097"/>
                  </a:lnTo>
                  <a:lnTo>
                    <a:pt x="553" y="1095"/>
                  </a:lnTo>
                  <a:lnTo>
                    <a:pt x="553" y="1094"/>
                  </a:lnTo>
                  <a:lnTo>
                    <a:pt x="555" y="1092"/>
                  </a:lnTo>
                  <a:lnTo>
                    <a:pt x="556" y="1091"/>
                  </a:lnTo>
                  <a:lnTo>
                    <a:pt x="558" y="1091"/>
                  </a:lnTo>
                  <a:lnTo>
                    <a:pt x="559" y="1092"/>
                  </a:lnTo>
                  <a:lnTo>
                    <a:pt x="561" y="1092"/>
                  </a:lnTo>
                  <a:lnTo>
                    <a:pt x="561" y="1092"/>
                  </a:lnTo>
                  <a:lnTo>
                    <a:pt x="561" y="1091"/>
                  </a:lnTo>
                  <a:lnTo>
                    <a:pt x="561" y="1087"/>
                  </a:lnTo>
                  <a:lnTo>
                    <a:pt x="561" y="1086"/>
                  </a:lnTo>
                  <a:lnTo>
                    <a:pt x="559" y="1084"/>
                  </a:lnTo>
                  <a:lnTo>
                    <a:pt x="558" y="1083"/>
                  </a:lnTo>
                  <a:lnTo>
                    <a:pt x="556" y="1083"/>
                  </a:lnTo>
                  <a:lnTo>
                    <a:pt x="555" y="1083"/>
                  </a:lnTo>
                  <a:lnTo>
                    <a:pt x="555" y="1081"/>
                  </a:lnTo>
                  <a:lnTo>
                    <a:pt x="558" y="1081"/>
                  </a:lnTo>
                  <a:lnTo>
                    <a:pt x="569" y="1084"/>
                  </a:lnTo>
                  <a:lnTo>
                    <a:pt x="569" y="1083"/>
                  </a:lnTo>
                  <a:lnTo>
                    <a:pt x="567" y="1080"/>
                  </a:lnTo>
                  <a:lnTo>
                    <a:pt x="567" y="1077"/>
                  </a:lnTo>
                  <a:lnTo>
                    <a:pt x="566" y="1075"/>
                  </a:lnTo>
                  <a:lnTo>
                    <a:pt x="566" y="1075"/>
                  </a:lnTo>
                  <a:lnTo>
                    <a:pt x="566" y="1074"/>
                  </a:lnTo>
                  <a:lnTo>
                    <a:pt x="567" y="1072"/>
                  </a:lnTo>
                  <a:lnTo>
                    <a:pt x="575" y="1075"/>
                  </a:lnTo>
                  <a:lnTo>
                    <a:pt x="575" y="1075"/>
                  </a:lnTo>
                  <a:lnTo>
                    <a:pt x="570" y="1075"/>
                  </a:lnTo>
                  <a:lnTo>
                    <a:pt x="569" y="1077"/>
                  </a:lnTo>
                  <a:lnTo>
                    <a:pt x="569" y="1080"/>
                  </a:lnTo>
                  <a:lnTo>
                    <a:pt x="569" y="1081"/>
                  </a:lnTo>
                  <a:lnTo>
                    <a:pt x="570" y="1083"/>
                  </a:lnTo>
                  <a:lnTo>
                    <a:pt x="572" y="1083"/>
                  </a:lnTo>
                  <a:lnTo>
                    <a:pt x="573" y="1081"/>
                  </a:lnTo>
                  <a:lnTo>
                    <a:pt x="572" y="1081"/>
                  </a:lnTo>
                  <a:lnTo>
                    <a:pt x="572" y="1080"/>
                  </a:lnTo>
                  <a:lnTo>
                    <a:pt x="576" y="1078"/>
                  </a:lnTo>
                  <a:lnTo>
                    <a:pt x="579" y="1078"/>
                  </a:lnTo>
                  <a:lnTo>
                    <a:pt x="581" y="1075"/>
                  </a:lnTo>
                  <a:lnTo>
                    <a:pt x="569" y="1071"/>
                  </a:lnTo>
                  <a:lnTo>
                    <a:pt x="567" y="1069"/>
                  </a:lnTo>
                  <a:lnTo>
                    <a:pt x="569" y="1067"/>
                  </a:lnTo>
                  <a:lnTo>
                    <a:pt x="570" y="1067"/>
                  </a:lnTo>
                  <a:lnTo>
                    <a:pt x="573" y="1067"/>
                  </a:lnTo>
                  <a:lnTo>
                    <a:pt x="578" y="1069"/>
                  </a:lnTo>
                  <a:lnTo>
                    <a:pt x="578" y="1069"/>
                  </a:lnTo>
                  <a:lnTo>
                    <a:pt x="578" y="1066"/>
                  </a:lnTo>
                  <a:lnTo>
                    <a:pt x="579" y="1066"/>
                  </a:lnTo>
                  <a:lnTo>
                    <a:pt x="581" y="1066"/>
                  </a:lnTo>
                  <a:lnTo>
                    <a:pt x="581" y="1069"/>
                  </a:lnTo>
                  <a:lnTo>
                    <a:pt x="582" y="1069"/>
                  </a:lnTo>
                  <a:lnTo>
                    <a:pt x="584" y="1071"/>
                  </a:lnTo>
                  <a:lnTo>
                    <a:pt x="584" y="1071"/>
                  </a:lnTo>
                  <a:lnTo>
                    <a:pt x="584" y="1074"/>
                  </a:lnTo>
                  <a:lnTo>
                    <a:pt x="586" y="1075"/>
                  </a:lnTo>
                  <a:lnTo>
                    <a:pt x="587" y="1077"/>
                  </a:lnTo>
                  <a:lnTo>
                    <a:pt x="587" y="1077"/>
                  </a:lnTo>
                  <a:lnTo>
                    <a:pt x="587" y="1078"/>
                  </a:lnTo>
                  <a:lnTo>
                    <a:pt x="590" y="1081"/>
                  </a:lnTo>
                  <a:lnTo>
                    <a:pt x="590" y="1081"/>
                  </a:lnTo>
                  <a:lnTo>
                    <a:pt x="592" y="1081"/>
                  </a:lnTo>
                  <a:lnTo>
                    <a:pt x="592" y="1080"/>
                  </a:lnTo>
                  <a:lnTo>
                    <a:pt x="592" y="1078"/>
                  </a:lnTo>
                  <a:lnTo>
                    <a:pt x="592" y="1077"/>
                  </a:lnTo>
                  <a:lnTo>
                    <a:pt x="593" y="1077"/>
                  </a:lnTo>
                  <a:lnTo>
                    <a:pt x="595" y="1077"/>
                  </a:lnTo>
                  <a:lnTo>
                    <a:pt x="595" y="1077"/>
                  </a:lnTo>
                  <a:lnTo>
                    <a:pt x="595" y="1075"/>
                  </a:lnTo>
                  <a:lnTo>
                    <a:pt x="593" y="1074"/>
                  </a:lnTo>
                  <a:lnTo>
                    <a:pt x="592" y="1074"/>
                  </a:lnTo>
                  <a:lnTo>
                    <a:pt x="590" y="1071"/>
                  </a:lnTo>
                  <a:lnTo>
                    <a:pt x="592" y="1067"/>
                  </a:lnTo>
                  <a:lnTo>
                    <a:pt x="595" y="1072"/>
                  </a:lnTo>
                  <a:lnTo>
                    <a:pt x="596" y="1072"/>
                  </a:lnTo>
                  <a:lnTo>
                    <a:pt x="596" y="1069"/>
                  </a:lnTo>
                  <a:lnTo>
                    <a:pt x="595" y="1069"/>
                  </a:lnTo>
                  <a:lnTo>
                    <a:pt x="596" y="1067"/>
                  </a:lnTo>
                  <a:lnTo>
                    <a:pt x="598" y="1063"/>
                  </a:lnTo>
                  <a:lnTo>
                    <a:pt x="598" y="1063"/>
                  </a:lnTo>
                  <a:lnTo>
                    <a:pt x="598" y="1060"/>
                  </a:lnTo>
                  <a:lnTo>
                    <a:pt x="596" y="1060"/>
                  </a:lnTo>
                  <a:lnTo>
                    <a:pt x="599" y="1058"/>
                  </a:lnTo>
                  <a:lnTo>
                    <a:pt x="603" y="1057"/>
                  </a:lnTo>
                  <a:lnTo>
                    <a:pt x="604" y="1054"/>
                  </a:lnTo>
                  <a:lnTo>
                    <a:pt x="604" y="1057"/>
                  </a:lnTo>
                  <a:lnTo>
                    <a:pt x="606" y="1057"/>
                  </a:lnTo>
                  <a:lnTo>
                    <a:pt x="607" y="1057"/>
                  </a:lnTo>
                  <a:lnTo>
                    <a:pt x="607" y="1054"/>
                  </a:lnTo>
                  <a:lnTo>
                    <a:pt x="607" y="1049"/>
                  </a:lnTo>
                  <a:lnTo>
                    <a:pt x="607" y="1047"/>
                  </a:lnTo>
                  <a:lnTo>
                    <a:pt x="607" y="1044"/>
                  </a:lnTo>
                  <a:lnTo>
                    <a:pt x="607" y="1043"/>
                  </a:lnTo>
                  <a:lnTo>
                    <a:pt x="607" y="1038"/>
                  </a:lnTo>
                  <a:lnTo>
                    <a:pt x="609" y="1035"/>
                  </a:lnTo>
                  <a:lnTo>
                    <a:pt x="609" y="1034"/>
                  </a:lnTo>
                  <a:lnTo>
                    <a:pt x="610" y="1035"/>
                  </a:lnTo>
                  <a:lnTo>
                    <a:pt x="612" y="1037"/>
                  </a:lnTo>
                  <a:lnTo>
                    <a:pt x="613" y="1038"/>
                  </a:lnTo>
                  <a:lnTo>
                    <a:pt x="615" y="1037"/>
                  </a:lnTo>
                  <a:lnTo>
                    <a:pt x="613" y="1032"/>
                  </a:lnTo>
                  <a:lnTo>
                    <a:pt x="613" y="1030"/>
                  </a:lnTo>
                  <a:lnTo>
                    <a:pt x="615" y="1032"/>
                  </a:lnTo>
                  <a:lnTo>
                    <a:pt x="621" y="1040"/>
                  </a:lnTo>
                  <a:lnTo>
                    <a:pt x="624" y="1041"/>
                  </a:lnTo>
                  <a:lnTo>
                    <a:pt x="626" y="1043"/>
                  </a:lnTo>
                  <a:lnTo>
                    <a:pt x="626" y="1043"/>
                  </a:lnTo>
                  <a:lnTo>
                    <a:pt x="626" y="1040"/>
                  </a:lnTo>
                  <a:lnTo>
                    <a:pt x="626" y="1040"/>
                  </a:lnTo>
                  <a:lnTo>
                    <a:pt x="623" y="1035"/>
                  </a:lnTo>
                  <a:lnTo>
                    <a:pt x="621" y="1034"/>
                  </a:lnTo>
                  <a:lnTo>
                    <a:pt x="623" y="1032"/>
                  </a:lnTo>
                  <a:lnTo>
                    <a:pt x="623" y="1032"/>
                  </a:lnTo>
                  <a:lnTo>
                    <a:pt x="624" y="1032"/>
                  </a:lnTo>
                  <a:lnTo>
                    <a:pt x="626" y="1030"/>
                  </a:lnTo>
                  <a:lnTo>
                    <a:pt x="624" y="1029"/>
                  </a:lnTo>
                  <a:lnTo>
                    <a:pt x="623" y="1027"/>
                  </a:lnTo>
                  <a:lnTo>
                    <a:pt x="621" y="1026"/>
                  </a:lnTo>
                  <a:lnTo>
                    <a:pt x="623" y="1023"/>
                  </a:lnTo>
                  <a:lnTo>
                    <a:pt x="619" y="1021"/>
                  </a:lnTo>
                  <a:lnTo>
                    <a:pt x="619" y="1021"/>
                  </a:lnTo>
                  <a:lnTo>
                    <a:pt x="618" y="1020"/>
                  </a:lnTo>
                  <a:lnTo>
                    <a:pt x="621" y="1018"/>
                  </a:lnTo>
                  <a:lnTo>
                    <a:pt x="623" y="1018"/>
                  </a:lnTo>
                  <a:lnTo>
                    <a:pt x="624" y="1020"/>
                  </a:lnTo>
                  <a:lnTo>
                    <a:pt x="626" y="1021"/>
                  </a:lnTo>
                  <a:lnTo>
                    <a:pt x="626" y="1023"/>
                  </a:lnTo>
                  <a:lnTo>
                    <a:pt x="630" y="1024"/>
                  </a:lnTo>
                  <a:lnTo>
                    <a:pt x="632" y="1027"/>
                  </a:lnTo>
                  <a:lnTo>
                    <a:pt x="633" y="1027"/>
                  </a:lnTo>
                  <a:lnTo>
                    <a:pt x="633" y="1029"/>
                  </a:lnTo>
                  <a:lnTo>
                    <a:pt x="633" y="1029"/>
                  </a:lnTo>
                  <a:lnTo>
                    <a:pt x="633" y="1030"/>
                  </a:lnTo>
                  <a:lnTo>
                    <a:pt x="635" y="1032"/>
                  </a:lnTo>
                  <a:lnTo>
                    <a:pt x="635" y="1034"/>
                  </a:lnTo>
                  <a:lnTo>
                    <a:pt x="635" y="1035"/>
                  </a:lnTo>
                  <a:lnTo>
                    <a:pt x="635" y="1037"/>
                  </a:lnTo>
                  <a:lnTo>
                    <a:pt x="638" y="1040"/>
                  </a:lnTo>
                  <a:lnTo>
                    <a:pt x="639" y="1038"/>
                  </a:lnTo>
                  <a:lnTo>
                    <a:pt x="641" y="1037"/>
                  </a:lnTo>
                  <a:lnTo>
                    <a:pt x="643" y="1035"/>
                  </a:lnTo>
                  <a:lnTo>
                    <a:pt x="643" y="1035"/>
                  </a:lnTo>
                  <a:lnTo>
                    <a:pt x="644" y="1035"/>
                  </a:lnTo>
                  <a:lnTo>
                    <a:pt x="644" y="1034"/>
                  </a:lnTo>
                  <a:lnTo>
                    <a:pt x="644" y="1030"/>
                  </a:lnTo>
                  <a:lnTo>
                    <a:pt x="643" y="1026"/>
                  </a:lnTo>
                  <a:lnTo>
                    <a:pt x="643" y="1024"/>
                  </a:lnTo>
                  <a:lnTo>
                    <a:pt x="646" y="1021"/>
                  </a:lnTo>
                  <a:lnTo>
                    <a:pt x="649" y="1018"/>
                  </a:lnTo>
                  <a:lnTo>
                    <a:pt x="652" y="1015"/>
                  </a:lnTo>
                  <a:lnTo>
                    <a:pt x="653" y="1012"/>
                  </a:lnTo>
                  <a:lnTo>
                    <a:pt x="653" y="1010"/>
                  </a:lnTo>
                  <a:lnTo>
                    <a:pt x="656" y="1009"/>
                  </a:lnTo>
                  <a:lnTo>
                    <a:pt x="656" y="1007"/>
                  </a:lnTo>
                  <a:lnTo>
                    <a:pt x="658" y="1007"/>
                  </a:lnTo>
                  <a:lnTo>
                    <a:pt x="664" y="1010"/>
                  </a:lnTo>
                  <a:lnTo>
                    <a:pt x="663" y="1007"/>
                  </a:lnTo>
                  <a:lnTo>
                    <a:pt x="663" y="1006"/>
                  </a:lnTo>
                  <a:lnTo>
                    <a:pt x="663" y="1003"/>
                  </a:lnTo>
                  <a:lnTo>
                    <a:pt x="664" y="1001"/>
                  </a:lnTo>
                  <a:lnTo>
                    <a:pt x="666" y="1001"/>
                  </a:lnTo>
                  <a:lnTo>
                    <a:pt x="667" y="1000"/>
                  </a:lnTo>
                  <a:lnTo>
                    <a:pt x="669" y="1000"/>
                  </a:lnTo>
                  <a:lnTo>
                    <a:pt x="669" y="1001"/>
                  </a:lnTo>
                  <a:lnTo>
                    <a:pt x="669" y="1001"/>
                  </a:lnTo>
                  <a:lnTo>
                    <a:pt x="670" y="1003"/>
                  </a:lnTo>
                  <a:lnTo>
                    <a:pt x="670" y="1004"/>
                  </a:lnTo>
                  <a:lnTo>
                    <a:pt x="672" y="1004"/>
                  </a:lnTo>
                  <a:lnTo>
                    <a:pt x="672" y="1003"/>
                  </a:lnTo>
                  <a:lnTo>
                    <a:pt x="673" y="1003"/>
                  </a:lnTo>
                  <a:lnTo>
                    <a:pt x="678" y="1003"/>
                  </a:lnTo>
                  <a:lnTo>
                    <a:pt x="680" y="1003"/>
                  </a:lnTo>
                  <a:lnTo>
                    <a:pt x="680" y="998"/>
                  </a:lnTo>
                  <a:lnTo>
                    <a:pt x="680" y="995"/>
                  </a:lnTo>
                  <a:lnTo>
                    <a:pt x="681" y="990"/>
                  </a:lnTo>
                  <a:lnTo>
                    <a:pt x="683" y="989"/>
                  </a:lnTo>
                  <a:lnTo>
                    <a:pt x="683" y="990"/>
                  </a:lnTo>
                  <a:lnTo>
                    <a:pt x="683" y="994"/>
                  </a:lnTo>
                  <a:lnTo>
                    <a:pt x="683" y="995"/>
                  </a:lnTo>
                  <a:lnTo>
                    <a:pt x="681" y="998"/>
                  </a:lnTo>
                  <a:lnTo>
                    <a:pt x="681" y="1000"/>
                  </a:lnTo>
                  <a:lnTo>
                    <a:pt x="683" y="1001"/>
                  </a:lnTo>
                  <a:lnTo>
                    <a:pt x="684" y="1003"/>
                  </a:lnTo>
                  <a:lnTo>
                    <a:pt x="684" y="1003"/>
                  </a:lnTo>
                  <a:lnTo>
                    <a:pt x="686" y="998"/>
                  </a:lnTo>
                  <a:lnTo>
                    <a:pt x="686" y="987"/>
                  </a:lnTo>
                  <a:lnTo>
                    <a:pt x="686" y="986"/>
                  </a:lnTo>
                  <a:lnTo>
                    <a:pt x="687" y="986"/>
                  </a:lnTo>
                  <a:lnTo>
                    <a:pt x="687" y="987"/>
                  </a:lnTo>
                  <a:lnTo>
                    <a:pt x="689" y="990"/>
                  </a:lnTo>
                  <a:lnTo>
                    <a:pt x="689" y="992"/>
                  </a:lnTo>
                  <a:lnTo>
                    <a:pt x="687" y="994"/>
                  </a:lnTo>
                  <a:lnTo>
                    <a:pt x="689" y="997"/>
                  </a:lnTo>
                  <a:lnTo>
                    <a:pt x="689" y="998"/>
                  </a:lnTo>
                  <a:lnTo>
                    <a:pt x="690" y="998"/>
                  </a:lnTo>
                  <a:lnTo>
                    <a:pt x="690" y="998"/>
                  </a:lnTo>
                  <a:lnTo>
                    <a:pt x="692" y="997"/>
                  </a:lnTo>
                  <a:lnTo>
                    <a:pt x="692" y="994"/>
                  </a:lnTo>
                  <a:lnTo>
                    <a:pt x="693" y="992"/>
                  </a:lnTo>
                  <a:lnTo>
                    <a:pt x="693" y="992"/>
                  </a:lnTo>
                  <a:lnTo>
                    <a:pt x="692" y="987"/>
                  </a:lnTo>
                  <a:lnTo>
                    <a:pt x="692" y="986"/>
                  </a:lnTo>
                  <a:lnTo>
                    <a:pt x="693" y="986"/>
                  </a:lnTo>
                  <a:lnTo>
                    <a:pt x="693" y="984"/>
                  </a:lnTo>
                  <a:lnTo>
                    <a:pt x="692" y="983"/>
                  </a:lnTo>
                  <a:lnTo>
                    <a:pt x="693" y="984"/>
                  </a:lnTo>
                  <a:lnTo>
                    <a:pt x="695" y="983"/>
                  </a:lnTo>
                  <a:lnTo>
                    <a:pt x="700" y="973"/>
                  </a:lnTo>
                  <a:lnTo>
                    <a:pt x="700" y="973"/>
                  </a:lnTo>
                  <a:lnTo>
                    <a:pt x="701" y="977"/>
                  </a:lnTo>
                  <a:lnTo>
                    <a:pt x="701" y="978"/>
                  </a:lnTo>
                  <a:lnTo>
                    <a:pt x="703" y="980"/>
                  </a:lnTo>
                  <a:lnTo>
                    <a:pt x="701" y="981"/>
                  </a:lnTo>
                  <a:lnTo>
                    <a:pt x="703" y="981"/>
                  </a:lnTo>
                  <a:lnTo>
                    <a:pt x="703" y="981"/>
                  </a:lnTo>
                  <a:lnTo>
                    <a:pt x="704" y="980"/>
                  </a:lnTo>
                  <a:lnTo>
                    <a:pt x="704" y="978"/>
                  </a:lnTo>
                  <a:lnTo>
                    <a:pt x="707" y="973"/>
                  </a:lnTo>
                  <a:lnTo>
                    <a:pt x="709" y="973"/>
                  </a:lnTo>
                  <a:lnTo>
                    <a:pt x="709" y="975"/>
                  </a:lnTo>
                  <a:lnTo>
                    <a:pt x="710" y="980"/>
                  </a:lnTo>
                  <a:lnTo>
                    <a:pt x="712" y="980"/>
                  </a:lnTo>
                  <a:lnTo>
                    <a:pt x="713" y="978"/>
                  </a:lnTo>
                  <a:lnTo>
                    <a:pt x="715" y="973"/>
                  </a:lnTo>
                  <a:lnTo>
                    <a:pt x="713" y="973"/>
                  </a:lnTo>
                  <a:lnTo>
                    <a:pt x="712" y="973"/>
                  </a:lnTo>
                  <a:lnTo>
                    <a:pt x="712" y="973"/>
                  </a:lnTo>
                  <a:lnTo>
                    <a:pt x="712" y="970"/>
                  </a:lnTo>
                  <a:lnTo>
                    <a:pt x="712" y="969"/>
                  </a:lnTo>
                  <a:lnTo>
                    <a:pt x="716" y="969"/>
                  </a:lnTo>
                  <a:lnTo>
                    <a:pt x="720" y="966"/>
                  </a:lnTo>
                  <a:lnTo>
                    <a:pt x="720" y="964"/>
                  </a:lnTo>
                  <a:lnTo>
                    <a:pt x="721" y="960"/>
                  </a:lnTo>
                  <a:lnTo>
                    <a:pt x="723" y="953"/>
                  </a:lnTo>
                  <a:lnTo>
                    <a:pt x="724" y="950"/>
                  </a:lnTo>
                  <a:lnTo>
                    <a:pt x="726" y="950"/>
                  </a:lnTo>
                  <a:lnTo>
                    <a:pt x="726" y="949"/>
                  </a:lnTo>
                  <a:lnTo>
                    <a:pt x="726" y="949"/>
                  </a:lnTo>
                  <a:lnTo>
                    <a:pt x="727" y="947"/>
                  </a:lnTo>
                  <a:lnTo>
                    <a:pt x="727" y="947"/>
                  </a:lnTo>
                  <a:lnTo>
                    <a:pt x="729" y="947"/>
                  </a:lnTo>
                  <a:lnTo>
                    <a:pt x="729" y="944"/>
                  </a:lnTo>
                  <a:lnTo>
                    <a:pt x="729" y="941"/>
                  </a:lnTo>
                  <a:lnTo>
                    <a:pt x="729" y="941"/>
                  </a:lnTo>
                  <a:lnTo>
                    <a:pt x="729" y="940"/>
                  </a:lnTo>
                  <a:lnTo>
                    <a:pt x="729" y="940"/>
                  </a:lnTo>
                  <a:lnTo>
                    <a:pt x="730" y="940"/>
                  </a:lnTo>
                  <a:lnTo>
                    <a:pt x="730" y="940"/>
                  </a:lnTo>
                  <a:lnTo>
                    <a:pt x="729" y="938"/>
                  </a:lnTo>
                  <a:lnTo>
                    <a:pt x="729" y="938"/>
                  </a:lnTo>
                  <a:lnTo>
                    <a:pt x="729" y="938"/>
                  </a:lnTo>
                  <a:lnTo>
                    <a:pt x="729" y="935"/>
                  </a:lnTo>
                  <a:lnTo>
                    <a:pt x="729" y="935"/>
                  </a:lnTo>
                  <a:lnTo>
                    <a:pt x="730" y="933"/>
                  </a:lnTo>
                  <a:lnTo>
                    <a:pt x="732" y="927"/>
                  </a:lnTo>
                  <a:lnTo>
                    <a:pt x="733" y="924"/>
                  </a:lnTo>
                  <a:lnTo>
                    <a:pt x="732" y="921"/>
                  </a:lnTo>
                  <a:lnTo>
                    <a:pt x="733" y="918"/>
                  </a:lnTo>
                  <a:lnTo>
                    <a:pt x="740" y="912"/>
                  </a:lnTo>
                  <a:lnTo>
                    <a:pt x="741" y="906"/>
                  </a:lnTo>
                  <a:lnTo>
                    <a:pt x="743" y="906"/>
                  </a:lnTo>
                  <a:lnTo>
                    <a:pt x="743" y="906"/>
                  </a:lnTo>
                  <a:lnTo>
                    <a:pt x="744" y="906"/>
                  </a:lnTo>
                  <a:lnTo>
                    <a:pt x="744" y="906"/>
                  </a:lnTo>
                  <a:lnTo>
                    <a:pt x="753" y="892"/>
                  </a:lnTo>
                  <a:lnTo>
                    <a:pt x="755" y="892"/>
                  </a:lnTo>
                  <a:lnTo>
                    <a:pt x="755" y="892"/>
                  </a:lnTo>
                  <a:lnTo>
                    <a:pt x="757" y="892"/>
                  </a:lnTo>
                  <a:lnTo>
                    <a:pt x="758" y="892"/>
                  </a:lnTo>
                  <a:lnTo>
                    <a:pt x="760" y="890"/>
                  </a:lnTo>
                  <a:lnTo>
                    <a:pt x="761" y="890"/>
                  </a:lnTo>
                  <a:lnTo>
                    <a:pt x="761" y="889"/>
                  </a:lnTo>
                  <a:lnTo>
                    <a:pt x="761" y="889"/>
                  </a:lnTo>
                  <a:lnTo>
                    <a:pt x="760" y="889"/>
                  </a:lnTo>
                  <a:lnTo>
                    <a:pt x="760" y="887"/>
                  </a:lnTo>
                  <a:lnTo>
                    <a:pt x="760" y="886"/>
                  </a:lnTo>
                  <a:lnTo>
                    <a:pt x="760" y="884"/>
                  </a:lnTo>
                  <a:lnTo>
                    <a:pt x="760" y="883"/>
                  </a:lnTo>
                  <a:lnTo>
                    <a:pt x="760" y="881"/>
                  </a:lnTo>
                  <a:lnTo>
                    <a:pt x="761" y="883"/>
                  </a:lnTo>
                  <a:lnTo>
                    <a:pt x="763" y="886"/>
                  </a:lnTo>
                  <a:lnTo>
                    <a:pt x="764" y="887"/>
                  </a:lnTo>
                  <a:lnTo>
                    <a:pt x="766" y="886"/>
                  </a:lnTo>
                  <a:lnTo>
                    <a:pt x="767" y="884"/>
                  </a:lnTo>
                  <a:lnTo>
                    <a:pt x="770" y="881"/>
                  </a:lnTo>
                  <a:lnTo>
                    <a:pt x="775" y="873"/>
                  </a:lnTo>
                  <a:lnTo>
                    <a:pt x="775" y="872"/>
                  </a:lnTo>
                  <a:lnTo>
                    <a:pt x="777" y="870"/>
                  </a:lnTo>
                  <a:lnTo>
                    <a:pt x="778" y="869"/>
                  </a:lnTo>
                  <a:lnTo>
                    <a:pt x="780" y="869"/>
                  </a:lnTo>
                  <a:lnTo>
                    <a:pt x="780" y="869"/>
                  </a:lnTo>
                  <a:lnTo>
                    <a:pt x="781" y="869"/>
                  </a:lnTo>
                  <a:lnTo>
                    <a:pt x="781" y="867"/>
                  </a:lnTo>
                  <a:lnTo>
                    <a:pt x="781" y="864"/>
                  </a:lnTo>
                  <a:lnTo>
                    <a:pt x="781" y="863"/>
                  </a:lnTo>
                  <a:lnTo>
                    <a:pt x="780" y="861"/>
                  </a:lnTo>
                  <a:lnTo>
                    <a:pt x="778" y="861"/>
                  </a:lnTo>
                  <a:lnTo>
                    <a:pt x="780" y="864"/>
                  </a:lnTo>
                  <a:lnTo>
                    <a:pt x="778" y="864"/>
                  </a:lnTo>
                  <a:lnTo>
                    <a:pt x="777" y="863"/>
                  </a:lnTo>
                  <a:lnTo>
                    <a:pt x="775" y="864"/>
                  </a:lnTo>
                  <a:lnTo>
                    <a:pt x="775" y="866"/>
                  </a:lnTo>
                  <a:lnTo>
                    <a:pt x="773" y="867"/>
                  </a:lnTo>
                  <a:lnTo>
                    <a:pt x="772" y="866"/>
                  </a:lnTo>
                  <a:lnTo>
                    <a:pt x="772" y="866"/>
                  </a:lnTo>
                  <a:lnTo>
                    <a:pt x="772" y="863"/>
                  </a:lnTo>
                  <a:lnTo>
                    <a:pt x="772" y="861"/>
                  </a:lnTo>
                  <a:lnTo>
                    <a:pt x="772" y="860"/>
                  </a:lnTo>
                  <a:lnTo>
                    <a:pt x="772" y="856"/>
                  </a:lnTo>
                  <a:lnTo>
                    <a:pt x="772" y="856"/>
                  </a:lnTo>
                  <a:lnTo>
                    <a:pt x="770" y="855"/>
                  </a:lnTo>
                  <a:lnTo>
                    <a:pt x="767" y="856"/>
                  </a:lnTo>
                  <a:lnTo>
                    <a:pt x="767" y="856"/>
                  </a:lnTo>
                  <a:lnTo>
                    <a:pt x="766" y="858"/>
                  </a:lnTo>
                  <a:lnTo>
                    <a:pt x="764" y="856"/>
                  </a:lnTo>
                  <a:lnTo>
                    <a:pt x="763" y="853"/>
                  </a:lnTo>
                  <a:lnTo>
                    <a:pt x="763" y="853"/>
                  </a:lnTo>
                  <a:lnTo>
                    <a:pt x="761" y="853"/>
                  </a:lnTo>
                  <a:lnTo>
                    <a:pt x="763" y="852"/>
                  </a:lnTo>
                  <a:lnTo>
                    <a:pt x="763" y="852"/>
                  </a:lnTo>
                  <a:lnTo>
                    <a:pt x="763" y="852"/>
                  </a:lnTo>
                  <a:lnTo>
                    <a:pt x="764" y="852"/>
                  </a:lnTo>
                  <a:lnTo>
                    <a:pt x="764" y="853"/>
                  </a:lnTo>
                  <a:lnTo>
                    <a:pt x="764" y="855"/>
                  </a:lnTo>
                  <a:lnTo>
                    <a:pt x="767" y="853"/>
                  </a:lnTo>
                  <a:lnTo>
                    <a:pt x="770" y="850"/>
                  </a:lnTo>
                  <a:lnTo>
                    <a:pt x="770" y="850"/>
                  </a:lnTo>
                  <a:lnTo>
                    <a:pt x="773" y="853"/>
                  </a:lnTo>
                  <a:lnTo>
                    <a:pt x="773" y="855"/>
                  </a:lnTo>
                  <a:lnTo>
                    <a:pt x="775" y="855"/>
                  </a:lnTo>
                  <a:lnTo>
                    <a:pt x="777" y="853"/>
                  </a:lnTo>
                  <a:lnTo>
                    <a:pt x="777" y="852"/>
                  </a:lnTo>
                  <a:lnTo>
                    <a:pt x="775" y="852"/>
                  </a:lnTo>
                  <a:lnTo>
                    <a:pt x="775" y="852"/>
                  </a:lnTo>
                  <a:lnTo>
                    <a:pt x="773" y="850"/>
                  </a:lnTo>
                  <a:lnTo>
                    <a:pt x="772" y="849"/>
                  </a:lnTo>
                  <a:lnTo>
                    <a:pt x="772" y="844"/>
                  </a:lnTo>
                  <a:lnTo>
                    <a:pt x="772" y="844"/>
                  </a:lnTo>
                  <a:lnTo>
                    <a:pt x="772" y="843"/>
                  </a:lnTo>
                  <a:lnTo>
                    <a:pt x="770" y="843"/>
                  </a:lnTo>
                  <a:lnTo>
                    <a:pt x="770" y="847"/>
                  </a:lnTo>
                  <a:lnTo>
                    <a:pt x="769" y="846"/>
                  </a:lnTo>
                  <a:lnTo>
                    <a:pt x="767" y="843"/>
                  </a:lnTo>
                  <a:lnTo>
                    <a:pt x="766" y="841"/>
                  </a:lnTo>
                  <a:lnTo>
                    <a:pt x="764" y="840"/>
                  </a:lnTo>
                  <a:lnTo>
                    <a:pt x="763" y="840"/>
                  </a:lnTo>
                  <a:lnTo>
                    <a:pt x="763" y="843"/>
                  </a:lnTo>
                  <a:lnTo>
                    <a:pt x="763" y="844"/>
                  </a:lnTo>
                  <a:lnTo>
                    <a:pt x="763" y="844"/>
                  </a:lnTo>
                  <a:lnTo>
                    <a:pt x="763" y="844"/>
                  </a:lnTo>
                  <a:lnTo>
                    <a:pt x="763" y="846"/>
                  </a:lnTo>
                  <a:lnTo>
                    <a:pt x="763" y="846"/>
                  </a:lnTo>
                  <a:lnTo>
                    <a:pt x="761" y="846"/>
                  </a:lnTo>
                  <a:lnTo>
                    <a:pt x="761" y="843"/>
                  </a:lnTo>
                  <a:lnTo>
                    <a:pt x="760" y="843"/>
                  </a:lnTo>
                  <a:lnTo>
                    <a:pt x="760" y="843"/>
                  </a:lnTo>
                  <a:lnTo>
                    <a:pt x="760" y="840"/>
                  </a:lnTo>
                  <a:lnTo>
                    <a:pt x="758" y="840"/>
                  </a:lnTo>
                  <a:lnTo>
                    <a:pt x="758" y="838"/>
                  </a:lnTo>
                  <a:lnTo>
                    <a:pt x="757" y="838"/>
                  </a:lnTo>
                  <a:lnTo>
                    <a:pt x="755" y="838"/>
                  </a:lnTo>
                  <a:lnTo>
                    <a:pt x="755" y="836"/>
                  </a:lnTo>
                  <a:lnTo>
                    <a:pt x="753" y="835"/>
                  </a:lnTo>
                  <a:lnTo>
                    <a:pt x="753" y="833"/>
                  </a:lnTo>
                  <a:lnTo>
                    <a:pt x="755" y="833"/>
                  </a:lnTo>
                  <a:lnTo>
                    <a:pt x="753" y="830"/>
                  </a:lnTo>
                  <a:lnTo>
                    <a:pt x="750" y="829"/>
                  </a:lnTo>
                  <a:lnTo>
                    <a:pt x="749" y="829"/>
                  </a:lnTo>
                  <a:lnTo>
                    <a:pt x="746" y="829"/>
                  </a:lnTo>
                  <a:lnTo>
                    <a:pt x="746" y="827"/>
                  </a:lnTo>
                  <a:lnTo>
                    <a:pt x="744" y="824"/>
                  </a:lnTo>
                  <a:lnTo>
                    <a:pt x="744" y="821"/>
                  </a:lnTo>
                  <a:lnTo>
                    <a:pt x="744" y="818"/>
                  </a:lnTo>
                  <a:lnTo>
                    <a:pt x="747" y="818"/>
                  </a:lnTo>
                  <a:lnTo>
                    <a:pt x="749" y="820"/>
                  </a:lnTo>
                  <a:lnTo>
                    <a:pt x="750" y="823"/>
                  </a:lnTo>
                  <a:lnTo>
                    <a:pt x="752" y="824"/>
                  </a:lnTo>
                  <a:lnTo>
                    <a:pt x="753" y="824"/>
                  </a:lnTo>
                  <a:lnTo>
                    <a:pt x="757" y="829"/>
                  </a:lnTo>
                  <a:lnTo>
                    <a:pt x="758" y="830"/>
                  </a:lnTo>
                  <a:lnTo>
                    <a:pt x="758" y="829"/>
                  </a:lnTo>
                  <a:lnTo>
                    <a:pt x="758" y="827"/>
                  </a:lnTo>
                  <a:lnTo>
                    <a:pt x="758" y="826"/>
                  </a:lnTo>
                  <a:lnTo>
                    <a:pt x="758" y="826"/>
                  </a:lnTo>
                  <a:lnTo>
                    <a:pt x="760" y="826"/>
                  </a:lnTo>
                  <a:lnTo>
                    <a:pt x="760" y="824"/>
                  </a:lnTo>
                  <a:lnTo>
                    <a:pt x="757" y="821"/>
                  </a:lnTo>
                  <a:lnTo>
                    <a:pt x="755" y="818"/>
                  </a:lnTo>
                  <a:lnTo>
                    <a:pt x="753" y="815"/>
                  </a:lnTo>
                  <a:lnTo>
                    <a:pt x="755" y="815"/>
                  </a:lnTo>
                  <a:lnTo>
                    <a:pt x="758" y="815"/>
                  </a:lnTo>
                  <a:lnTo>
                    <a:pt x="760" y="815"/>
                  </a:lnTo>
                  <a:lnTo>
                    <a:pt x="758" y="812"/>
                  </a:lnTo>
                  <a:lnTo>
                    <a:pt x="757" y="810"/>
                  </a:lnTo>
                  <a:lnTo>
                    <a:pt x="752" y="809"/>
                  </a:lnTo>
                  <a:lnTo>
                    <a:pt x="747" y="809"/>
                  </a:lnTo>
                  <a:lnTo>
                    <a:pt x="744" y="809"/>
                  </a:lnTo>
                  <a:lnTo>
                    <a:pt x="743" y="809"/>
                  </a:lnTo>
                  <a:lnTo>
                    <a:pt x="743" y="807"/>
                  </a:lnTo>
                  <a:lnTo>
                    <a:pt x="743" y="806"/>
                  </a:lnTo>
                  <a:lnTo>
                    <a:pt x="743" y="804"/>
                  </a:lnTo>
                  <a:lnTo>
                    <a:pt x="740" y="804"/>
                  </a:lnTo>
                  <a:lnTo>
                    <a:pt x="740" y="803"/>
                  </a:lnTo>
                  <a:lnTo>
                    <a:pt x="740" y="801"/>
                  </a:lnTo>
                  <a:lnTo>
                    <a:pt x="740" y="798"/>
                  </a:lnTo>
                  <a:lnTo>
                    <a:pt x="740" y="796"/>
                  </a:lnTo>
                  <a:lnTo>
                    <a:pt x="741" y="795"/>
                  </a:lnTo>
                  <a:lnTo>
                    <a:pt x="743" y="796"/>
                  </a:lnTo>
                  <a:lnTo>
                    <a:pt x="743" y="798"/>
                  </a:lnTo>
                  <a:lnTo>
                    <a:pt x="743" y="799"/>
                  </a:lnTo>
                  <a:lnTo>
                    <a:pt x="743" y="801"/>
                  </a:lnTo>
                  <a:lnTo>
                    <a:pt x="744" y="803"/>
                  </a:lnTo>
                  <a:lnTo>
                    <a:pt x="746" y="803"/>
                  </a:lnTo>
                  <a:lnTo>
                    <a:pt x="749" y="801"/>
                  </a:lnTo>
                  <a:lnTo>
                    <a:pt x="749" y="799"/>
                  </a:lnTo>
                  <a:lnTo>
                    <a:pt x="749" y="796"/>
                  </a:lnTo>
                  <a:lnTo>
                    <a:pt x="750" y="795"/>
                  </a:lnTo>
                  <a:lnTo>
                    <a:pt x="752" y="793"/>
                  </a:lnTo>
                  <a:lnTo>
                    <a:pt x="750" y="789"/>
                  </a:lnTo>
                  <a:lnTo>
                    <a:pt x="752" y="789"/>
                  </a:lnTo>
                  <a:lnTo>
                    <a:pt x="753" y="787"/>
                  </a:lnTo>
                  <a:lnTo>
                    <a:pt x="753" y="786"/>
                  </a:lnTo>
                  <a:lnTo>
                    <a:pt x="755" y="786"/>
                  </a:lnTo>
                  <a:lnTo>
                    <a:pt x="755" y="783"/>
                  </a:lnTo>
                  <a:lnTo>
                    <a:pt x="755" y="783"/>
                  </a:lnTo>
                  <a:lnTo>
                    <a:pt x="753" y="781"/>
                  </a:lnTo>
                  <a:lnTo>
                    <a:pt x="753" y="779"/>
                  </a:lnTo>
                  <a:lnTo>
                    <a:pt x="755" y="779"/>
                  </a:lnTo>
                  <a:lnTo>
                    <a:pt x="764" y="778"/>
                  </a:lnTo>
                  <a:lnTo>
                    <a:pt x="766" y="776"/>
                  </a:lnTo>
                  <a:lnTo>
                    <a:pt x="764" y="775"/>
                  </a:lnTo>
                  <a:lnTo>
                    <a:pt x="764" y="773"/>
                  </a:lnTo>
                  <a:lnTo>
                    <a:pt x="766" y="772"/>
                  </a:lnTo>
                  <a:lnTo>
                    <a:pt x="767" y="770"/>
                  </a:lnTo>
                  <a:lnTo>
                    <a:pt x="767" y="770"/>
                  </a:lnTo>
                  <a:lnTo>
                    <a:pt x="767" y="770"/>
                  </a:lnTo>
                  <a:lnTo>
                    <a:pt x="767" y="769"/>
                  </a:lnTo>
                  <a:lnTo>
                    <a:pt x="767" y="769"/>
                  </a:lnTo>
                  <a:lnTo>
                    <a:pt x="769" y="769"/>
                  </a:lnTo>
                  <a:lnTo>
                    <a:pt x="770" y="770"/>
                  </a:lnTo>
                  <a:lnTo>
                    <a:pt x="770" y="770"/>
                  </a:lnTo>
                  <a:lnTo>
                    <a:pt x="772" y="770"/>
                  </a:lnTo>
                  <a:lnTo>
                    <a:pt x="773" y="767"/>
                  </a:lnTo>
                  <a:lnTo>
                    <a:pt x="773" y="767"/>
                  </a:lnTo>
                  <a:lnTo>
                    <a:pt x="772" y="764"/>
                  </a:lnTo>
                  <a:lnTo>
                    <a:pt x="770" y="761"/>
                  </a:lnTo>
                  <a:lnTo>
                    <a:pt x="772" y="759"/>
                  </a:lnTo>
                  <a:lnTo>
                    <a:pt x="778" y="761"/>
                  </a:lnTo>
                  <a:lnTo>
                    <a:pt x="780" y="759"/>
                  </a:lnTo>
                  <a:lnTo>
                    <a:pt x="778" y="758"/>
                  </a:lnTo>
                  <a:lnTo>
                    <a:pt x="777" y="758"/>
                  </a:lnTo>
                  <a:lnTo>
                    <a:pt x="777" y="758"/>
                  </a:lnTo>
                  <a:lnTo>
                    <a:pt x="777" y="758"/>
                  </a:lnTo>
                  <a:lnTo>
                    <a:pt x="777" y="756"/>
                  </a:lnTo>
                  <a:lnTo>
                    <a:pt x="778" y="752"/>
                  </a:lnTo>
                  <a:lnTo>
                    <a:pt x="778" y="750"/>
                  </a:lnTo>
                  <a:lnTo>
                    <a:pt x="778" y="749"/>
                  </a:lnTo>
                  <a:lnTo>
                    <a:pt x="777" y="747"/>
                  </a:lnTo>
                  <a:lnTo>
                    <a:pt x="781" y="747"/>
                  </a:lnTo>
                  <a:lnTo>
                    <a:pt x="783" y="746"/>
                  </a:lnTo>
                  <a:lnTo>
                    <a:pt x="781" y="741"/>
                  </a:lnTo>
                  <a:lnTo>
                    <a:pt x="777" y="730"/>
                  </a:lnTo>
                  <a:lnTo>
                    <a:pt x="772" y="726"/>
                  </a:lnTo>
                  <a:lnTo>
                    <a:pt x="767" y="716"/>
                  </a:lnTo>
                  <a:lnTo>
                    <a:pt x="766" y="715"/>
                  </a:lnTo>
                  <a:lnTo>
                    <a:pt x="755" y="712"/>
                  </a:lnTo>
                  <a:lnTo>
                    <a:pt x="757" y="709"/>
                  </a:lnTo>
                  <a:lnTo>
                    <a:pt x="760" y="709"/>
                  </a:lnTo>
                  <a:lnTo>
                    <a:pt x="761" y="707"/>
                  </a:lnTo>
                  <a:lnTo>
                    <a:pt x="761" y="707"/>
                  </a:lnTo>
                  <a:lnTo>
                    <a:pt x="760" y="706"/>
                  </a:lnTo>
                  <a:lnTo>
                    <a:pt x="760" y="706"/>
                  </a:lnTo>
                  <a:lnTo>
                    <a:pt x="761" y="706"/>
                  </a:lnTo>
                  <a:lnTo>
                    <a:pt x="764" y="709"/>
                  </a:lnTo>
                  <a:lnTo>
                    <a:pt x="766" y="712"/>
                  </a:lnTo>
                  <a:lnTo>
                    <a:pt x="769" y="715"/>
                  </a:lnTo>
                  <a:lnTo>
                    <a:pt x="770" y="715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73" y="719"/>
                  </a:lnTo>
                  <a:lnTo>
                    <a:pt x="775" y="721"/>
                  </a:lnTo>
                  <a:lnTo>
                    <a:pt x="777" y="726"/>
                  </a:lnTo>
                  <a:lnTo>
                    <a:pt x="777" y="727"/>
                  </a:lnTo>
                  <a:lnTo>
                    <a:pt x="780" y="729"/>
                  </a:lnTo>
                  <a:lnTo>
                    <a:pt x="783" y="729"/>
                  </a:lnTo>
                  <a:lnTo>
                    <a:pt x="786" y="727"/>
                  </a:lnTo>
                  <a:lnTo>
                    <a:pt x="787" y="722"/>
                  </a:lnTo>
                  <a:lnTo>
                    <a:pt x="789" y="721"/>
                  </a:lnTo>
                  <a:lnTo>
                    <a:pt x="787" y="718"/>
                  </a:lnTo>
                  <a:lnTo>
                    <a:pt x="784" y="716"/>
                  </a:lnTo>
                  <a:lnTo>
                    <a:pt x="783" y="713"/>
                  </a:lnTo>
                  <a:lnTo>
                    <a:pt x="781" y="712"/>
                  </a:lnTo>
                  <a:lnTo>
                    <a:pt x="780" y="712"/>
                  </a:lnTo>
                  <a:lnTo>
                    <a:pt x="780" y="715"/>
                  </a:lnTo>
                  <a:lnTo>
                    <a:pt x="778" y="715"/>
                  </a:lnTo>
                  <a:lnTo>
                    <a:pt x="777" y="715"/>
                  </a:lnTo>
                  <a:lnTo>
                    <a:pt x="775" y="713"/>
                  </a:lnTo>
                  <a:lnTo>
                    <a:pt x="773" y="712"/>
                  </a:lnTo>
                  <a:lnTo>
                    <a:pt x="772" y="710"/>
                  </a:lnTo>
                  <a:lnTo>
                    <a:pt x="770" y="709"/>
                  </a:lnTo>
                  <a:lnTo>
                    <a:pt x="769" y="709"/>
                  </a:lnTo>
                  <a:lnTo>
                    <a:pt x="772" y="706"/>
                  </a:lnTo>
                  <a:lnTo>
                    <a:pt x="772" y="706"/>
                  </a:lnTo>
                  <a:lnTo>
                    <a:pt x="772" y="704"/>
                  </a:lnTo>
                  <a:lnTo>
                    <a:pt x="770" y="704"/>
                  </a:lnTo>
                  <a:lnTo>
                    <a:pt x="772" y="701"/>
                  </a:lnTo>
                  <a:lnTo>
                    <a:pt x="775" y="701"/>
                  </a:lnTo>
                  <a:lnTo>
                    <a:pt x="781" y="701"/>
                  </a:lnTo>
                  <a:lnTo>
                    <a:pt x="781" y="701"/>
                  </a:lnTo>
                  <a:lnTo>
                    <a:pt x="780" y="701"/>
                  </a:lnTo>
                  <a:lnTo>
                    <a:pt x="777" y="699"/>
                  </a:lnTo>
                  <a:lnTo>
                    <a:pt x="777" y="698"/>
                  </a:lnTo>
                  <a:lnTo>
                    <a:pt x="780" y="696"/>
                  </a:lnTo>
                  <a:lnTo>
                    <a:pt x="781" y="696"/>
                  </a:lnTo>
                  <a:lnTo>
                    <a:pt x="783" y="701"/>
                  </a:lnTo>
                  <a:lnTo>
                    <a:pt x="784" y="701"/>
                  </a:lnTo>
                  <a:lnTo>
                    <a:pt x="789" y="701"/>
                  </a:lnTo>
                  <a:lnTo>
                    <a:pt x="787" y="698"/>
                  </a:lnTo>
                  <a:lnTo>
                    <a:pt x="789" y="698"/>
                  </a:lnTo>
                  <a:lnTo>
                    <a:pt x="795" y="701"/>
                  </a:lnTo>
                  <a:lnTo>
                    <a:pt x="797" y="699"/>
                  </a:lnTo>
                  <a:lnTo>
                    <a:pt x="800" y="699"/>
                  </a:lnTo>
                  <a:lnTo>
                    <a:pt x="801" y="696"/>
                  </a:lnTo>
                  <a:lnTo>
                    <a:pt x="803" y="699"/>
                  </a:lnTo>
                  <a:lnTo>
                    <a:pt x="804" y="699"/>
                  </a:lnTo>
                  <a:lnTo>
                    <a:pt x="806" y="699"/>
                  </a:lnTo>
                  <a:lnTo>
                    <a:pt x="806" y="698"/>
                  </a:lnTo>
                  <a:lnTo>
                    <a:pt x="806" y="696"/>
                  </a:lnTo>
                  <a:lnTo>
                    <a:pt x="806" y="695"/>
                  </a:lnTo>
                  <a:lnTo>
                    <a:pt x="806" y="693"/>
                  </a:lnTo>
                  <a:lnTo>
                    <a:pt x="806" y="690"/>
                  </a:lnTo>
                  <a:lnTo>
                    <a:pt x="807" y="695"/>
                  </a:lnTo>
                  <a:lnTo>
                    <a:pt x="809" y="695"/>
                  </a:lnTo>
                  <a:lnTo>
                    <a:pt x="810" y="696"/>
                  </a:lnTo>
                  <a:lnTo>
                    <a:pt x="812" y="695"/>
                  </a:lnTo>
                  <a:lnTo>
                    <a:pt x="812" y="693"/>
                  </a:lnTo>
                  <a:lnTo>
                    <a:pt x="812" y="690"/>
                  </a:lnTo>
                  <a:lnTo>
                    <a:pt x="814" y="689"/>
                  </a:lnTo>
                  <a:lnTo>
                    <a:pt x="810" y="687"/>
                  </a:lnTo>
                  <a:lnTo>
                    <a:pt x="806" y="681"/>
                  </a:lnTo>
                  <a:lnTo>
                    <a:pt x="804" y="681"/>
                  </a:lnTo>
                  <a:lnTo>
                    <a:pt x="806" y="681"/>
                  </a:lnTo>
                  <a:lnTo>
                    <a:pt x="807" y="684"/>
                  </a:lnTo>
                  <a:lnTo>
                    <a:pt x="806" y="684"/>
                  </a:lnTo>
                  <a:lnTo>
                    <a:pt x="803" y="682"/>
                  </a:lnTo>
                  <a:lnTo>
                    <a:pt x="800" y="676"/>
                  </a:lnTo>
                  <a:lnTo>
                    <a:pt x="801" y="676"/>
                  </a:lnTo>
                  <a:lnTo>
                    <a:pt x="812" y="679"/>
                  </a:lnTo>
                  <a:lnTo>
                    <a:pt x="814" y="678"/>
                  </a:lnTo>
                  <a:lnTo>
                    <a:pt x="814" y="678"/>
                  </a:lnTo>
                  <a:lnTo>
                    <a:pt x="815" y="679"/>
                  </a:lnTo>
                  <a:lnTo>
                    <a:pt x="815" y="679"/>
                  </a:lnTo>
                  <a:lnTo>
                    <a:pt x="817" y="679"/>
                  </a:lnTo>
                  <a:lnTo>
                    <a:pt x="817" y="678"/>
                  </a:lnTo>
                  <a:lnTo>
                    <a:pt x="817" y="678"/>
                  </a:lnTo>
                  <a:lnTo>
                    <a:pt x="817" y="676"/>
                  </a:lnTo>
                  <a:lnTo>
                    <a:pt x="818" y="676"/>
                  </a:lnTo>
                  <a:lnTo>
                    <a:pt x="820" y="675"/>
                  </a:lnTo>
                  <a:lnTo>
                    <a:pt x="824" y="675"/>
                  </a:lnTo>
                  <a:lnTo>
                    <a:pt x="826" y="673"/>
                  </a:lnTo>
                  <a:lnTo>
                    <a:pt x="824" y="673"/>
                  </a:lnTo>
                  <a:lnTo>
                    <a:pt x="823" y="673"/>
                  </a:lnTo>
                  <a:lnTo>
                    <a:pt x="821" y="670"/>
                  </a:lnTo>
                  <a:lnTo>
                    <a:pt x="820" y="669"/>
                  </a:lnTo>
                  <a:lnTo>
                    <a:pt x="820" y="667"/>
                  </a:lnTo>
                  <a:lnTo>
                    <a:pt x="815" y="666"/>
                  </a:lnTo>
                  <a:lnTo>
                    <a:pt x="809" y="659"/>
                  </a:lnTo>
                  <a:lnTo>
                    <a:pt x="800" y="653"/>
                  </a:lnTo>
                  <a:lnTo>
                    <a:pt x="795" y="649"/>
                  </a:lnTo>
                  <a:lnTo>
                    <a:pt x="794" y="641"/>
                  </a:lnTo>
                  <a:lnTo>
                    <a:pt x="794" y="642"/>
                  </a:lnTo>
                  <a:lnTo>
                    <a:pt x="797" y="644"/>
                  </a:lnTo>
                  <a:lnTo>
                    <a:pt x="797" y="645"/>
                  </a:lnTo>
                  <a:lnTo>
                    <a:pt x="798" y="649"/>
                  </a:lnTo>
                  <a:lnTo>
                    <a:pt x="800" y="650"/>
                  </a:lnTo>
                  <a:lnTo>
                    <a:pt x="801" y="652"/>
                  </a:lnTo>
                  <a:lnTo>
                    <a:pt x="806" y="653"/>
                  </a:lnTo>
                  <a:lnTo>
                    <a:pt x="807" y="656"/>
                  </a:lnTo>
                  <a:lnTo>
                    <a:pt x="810" y="656"/>
                  </a:lnTo>
                  <a:lnTo>
                    <a:pt x="812" y="658"/>
                  </a:lnTo>
                  <a:lnTo>
                    <a:pt x="815" y="661"/>
                  </a:lnTo>
                  <a:lnTo>
                    <a:pt x="820" y="664"/>
                  </a:lnTo>
                  <a:lnTo>
                    <a:pt x="827" y="670"/>
                  </a:lnTo>
                  <a:lnTo>
                    <a:pt x="829" y="670"/>
                  </a:lnTo>
                  <a:lnTo>
                    <a:pt x="829" y="667"/>
                  </a:lnTo>
                  <a:lnTo>
                    <a:pt x="830" y="666"/>
                  </a:lnTo>
                  <a:lnTo>
                    <a:pt x="830" y="667"/>
                  </a:lnTo>
                  <a:lnTo>
                    <a:pt x="832" y="669"/>
                  </a:lnTo>
                  <a:lnTo>
                    <a:pt x="835" y="670"/>
                  </a:lnTo>
                  <a:lnTo>
                    <a:pt x="837" y="670"/>
                  </a:lnTo>
                  <a:lnTo>
                    <a:pt x="838" y="672"/>
                  </a:lnTo>
                  <a:lnTo>
                    <a:pt x="840" y="673"/>
                  </a:lnTo>
                  <a:lnTo>
                    <a:pt x="841" y="675"/>
                  </a:lnTo>
                  <a:lnTo>
                    <a:pt x="843" y="673"/>
                  </a:lnTo>
                  <a:lnTo>
                    <a:pt x="841" y="670"/>
                  </a:lnTo>
                  <a:lnTo>
                    <a:pt x="841" y="669"/>
                  </a:lnTo>
                  <a:lnTo>
                    <a:pt x="841" y="667"/>
                  </a:lnTo>
                  <a:lnTo>
                    <a:pt x="838" y="667"/>
                  </a:lnTo>
                  <a:lnTo>
                    <a:pt x="837" y="666"/>
                  </a:lnTo>
                  <a:lnTo>
                    <a:pt x="835" y="664"/>
                  </a:lnTo>
                  <a:lnTo>
                    <a:pt x="835" y="662"/>
                  </a:lnTo>
                  <a:lnTo>
                    <a:pt x="840" y="659"/>
                  </a:lnTo>
                  <a:lnTo>
                    <a:pt x="838" y="658"/>
                  </a:lnTo>
                  <a:lnTo>
                    <a:pt x="835" y="656"/>
                  </a:lnTo>
                  <a:lnTo>
                    <a:pt x="835" y="655"/>
                  </a:lnTo>
                  <a:lnTo>
                    <a:pt x="835" y="653"/>
                  </a:lnTo>
                  <a:lnTo>
                    <a:pt x="834" y="652"/>
                  </a:lnTo>
                  <a:lnTo>
                    <a:pt x="832" y="652"/>
                  </a:lnTo>
                  <a:lnTo>
                    <a:pt x="832" y="653"/>
                  </a:lnTo>
                  <a:lnTo>
                    <a:pt x="832" y="655"/>
                  </a:lnTo>
                  <a:lnTo>
                    <a:pt x="834" y="656"/>
                  </a:lnTo>
                  <a:lnTo>
                    <a:pt x="834" y="659"/>
                  </a:lnTo>
                  <a:lnTo>
                    <a:pt x="834" y="662"/>
                  </a:lnTo>
                  <a:lnTo>
                    <a:pt x="830" y="662"/>
                  </a:lnTo>
                  <a:lnTo>
                    <a:pt x="824" y="659"/>
                  </a:lnTo>
                  <a:lnTo>
                    <a:pt x="830" y="659"/>
                  </a:lnTo>
                  <a:lnTo>
                    <a:pt x="832" y="659"/>
                  </a:lnTo>
                  <a:lnTo>
                    <a:pt x="830" y="655"/>
                  </a:lnTo>
                  <a:lnTo>
                    <a:pt x="830" y="653"/>
                  </a:lnTo>
                  <a:lnTo>
                    <a:pt x="829" y="653"/>
                  </a:lnTo>
                  <a:lnTo>
                    <a:pt x="830" y="652"/>
                  </a:lnTo>
                  <a:lnTo>
                    <a:pt x="830" y="650"/>
                  </a:lnTo>
                  <a:lnTo>
                    <a:pt x="830" y="649"/>
                  </a:lnTo>
                  <a:lnTo>
                    <a:pt x="829" y="647"/>
                  </a:lnTo>
                  <a:lnTo>
                    <a:pt x="832" y="645"/>
                  </a:lnTo>
                  <a:lnTo>
                    <a:pt x="834" y="645"/>
                  </a:lnTo>
                  <a:lnTo>
                    <a:pt x="835" y="649"/>
                  </a:lnTo>
                  <a:lnTo>
                    <a:pt x="835" y="653"/>
                  </a:lnTo>
                  <a:lnTo>
                    <a:pt x="837" y="652"/>
                  </a:lnTo>
                  <a:lnTo>
                    <a:pt x="838" y="652"/>
                  </a:lnTo>
                  <a:lnTo>
                    <a:pt x="838" y="652"/>
                  </a:lnTo>
                  <a:lnTo>
                    <a:pt x="840" y="652"/>
                  </a:lnTo>
                  <a:lnTo>
                    <a:pt x="838" y="647"/>
                  </a:lnTo>
                  <a:lnTo>
                    <a:pt x="838" y="644"/>
                  </a:lnTo>
                  <a:lnTo>
                    <a:pt x="835" y="642"/>
                  </a:lnTo>
                  <a:lnTo>
                    <a:pt x="830" y="641"/>
                  </a:lnTo>
                  <a:lnTo>
                    <a:pt x="829" y="639"/>
                  </a:lnTo>
                  <a:lnTo>
                    <a:pt x="827" y="638"/>
                  </a:lnTo>
                  <a:lnTo>
                    <a:pt x="826" y="635"/>
                  </a:lnTo>
                  <a:lnTo>
                    <a:pt x="829" y="635"/>
                  </a:lnTo>
                  <a:lnTo>
                    <a:pt x="832" y="638"/>
                  </a:lnTo>
                  <a:lnTo>
                    <a:pt x="835" y="639"/>
                  </a:lnTo>
                  <a:lnTo>
                    <a:pt x="837" y="635"/>
                  </a:lnTo>
                  <a:lnTo>
                    <a:pt x="837" y="633"/>
                  </a:lnTo>
                  <a:lnTo>
                    <a:pt x="835" y="630"/>
                  </a:lnTo>
                  <a:lnTo>
                    <a:pt x="834" y="629"/>
                  </a:lnTo>
                  <a:lnTo>
                    <a:pt x="837" y="629"/>
                  </a:lnTo>
                  <a:lnTo>
                    <a:pt x="838" y="629"/>
                  </a:lnTo>
                  <a:lnTo>
                    <a:pt x="838" y="627"/>
                  </a:lnTo>
                  <a:lnTo>
                    <a:pt x="835" y="621"/>
                  </a:lnTo>
                  <a:lnTo>
                    <a:pt x="838" y="621"/>
                  </a:lnTo>
                  <a:lnTo>
                    <a:pt x="838" y="618"/>
                  </a:lnTo>
                  <a:lnTo>
                    <a:pt x="841" y="616"/>
                  </a:lnTo>
                  <a:lnTo>
                    <a:pt x="846" y="618"/>
                  </a:lnTo>
                  <a:lnTo>
                    <a:pt x="846" y="619"/>
                  </a:lnTo>
                  <a:lnTo>
                    <a:pt x="846" y="621"/>
                  </a:lnTo>
                  <a:lnTo>
                    <a:pt x="847" y="622"/>
                  </a:lnTo>
                  <a:lnTo>
                    <a:pt x="849" y="624"/>
                  </a:lnTo>
                  <a:lnTo>
                    <a:pt x="850" y="627"/>
                  </a:lnTo>
                  <a:lnTo>
                    <a:pt x="849" y="627"/>
                  </a:lnTo>
                  <a:lnTo>
                    <a:pt x="849" y="629"/>
                  </a:lnTo>
                  <a:lnTo>
                    <a:pt x="847" y="632"/>
                  </a:lnTo>
                  <a:lnTo>
                    <a:pt x="849" y="633"/>
                  </a:lnTo>
                  <a:lnTo>
                    <a:pt x="849" y="633"/>
                  </a:lnTo>
                  <a:lnTo>
                    <a:pt x="852" y="630"/>
                  </a:lnTo>
                  <a:lnTo>
                    <a:pt x="854" y="629"/>
                  </a:lnTo>
                  <a:lnTo>
                    <a:pt x="857" y="630"/>
                  </a:lnTo>
                  <a:lnTo>
                    <a:pt x="860" y="632"/>
                  </a:lnTo>
                  <a:lnTo>
                    <a:pt x="858" y="636"/>
                  </a:lnTo>
                  <a:lnTo>
                    <a:pt x="860" y="636"/>
                  </a:lnTo>
                  <a:lnTo>
                    <a:pt x="861" y="635"/>
                  </a:lnTo>
                  <a:lnTo>
                    <a:pt x="861" y="633"/>
                  </a:lnTo>
                  <a:lnTo>
                    <a:pt x="863" y="630"/>
                  </a:lnTo>
                  <a:lnTo>
                    <a:pt x="863" y="627"/>
                  </a:lnTo>
                  <a:lnTo>
                    <a:pt x="863" y="625"/>
                  </a:lnTo>
                  <a:lnTo>
                    <a:pt x="863" y="624"/>
                  </a:lnTo>
                  <a:lnTo>
                    <a:pt x="861" y="621"/>
                  </a:lnTo>
                  <a:lnTo>
                    <a:pt x="861" y="616"/>
                  </a:lnTo>
                  <a:lnTo>
                    <a:pt x="861" y="615"/>
                  </a:lnTo>
                  <a:lnTo>
                    <a:pt x="861" y="613"/>
                  </a:lnTo>
                  <a:lnTo>
                    <a:pt x="858" y="612"/>
                  </a:lnTo>
                  <a:lnTo>
                    <a:pt x="858" y="609"/>
                  </a:lnTo>
                  <a:lnTo>
                    <a:pt x="860" y="609"/>
                  </a:lnTo>
                  <a:lnTo>
                    <a:pt x="861" y="609"/>
                  </a:lnTo>
                  <a:lnTo>
                    <a:pt x="869" y="616"/>
                  </a:lnTo>
                  <a:lnTo>
                    <a:pt x="871" y="619"/>
                  </a:lnTo>
                  <a:lnTo>
                    <a:pt x="874" y="627"/>
                  </a:lnTo>
                  <a:lnTo>
                    <a:pt x="875" y="629"/>
                  </a:lnTo>
                  <a:lnTo>
                    <a:pt x="875" y="629"/>
                  </a:lnTo>
                  <a:lnTo>
                    <a:pt x="878" y="629"/>
                  </a:lnTo>
                  <a:lnTo>
                    <a:pt x="878" y="629"/>
                  </a:lnTo>
                  <a:lnTo>
                    <a:pt x="880" y="632"/>
                  </a:lnTo>
                  <a:lnTo>
                    <a:pt x="881" y="633"/>
                  </a:lnTo>
                  <a:lnTo>
                    <a:pt x="884" y="635"/>
                  </a:lnTo>
                  <a:lnTo>
                    <a:pt x="889" y="635"/>
                  </a:lnTo>
                  <a:lnTo>
                    <a:pt x="889" y="636"/>
                  </a:lnTo>
                  <a:lnTo>
                    <a:pt x="892" y="641"/>
                  </a:lnTo>
                  <a:lnTo>
                    <a:pt x="891" y="645"/>
                  </a:lnTo>
                  <a:lnTo>
                    <a:pt x="892" y="645"/>
                  </a:lnTo>
                  <a:lnTo>
                    <a:pt x="895" y="644"/>
                  </a:lnTo>
                  <a:lnTo>
                    <a:pt x="895" y="641"/>
                  </a:lnTo>
                  <a:lnTo>
                    <a:pt x="897" y="638"/>
                  </a:lnTo>
                  <a:lnTo>
                    <a:pt x="897" y="638"/>
                  </a:lnTo>
                  <a:lnTo>
                    <a:pt x="901" y="635"/>
                  </a:lnTo>
                  <a:lnTo>
                    <a:pt x="903" y="633"/>
                  </a:lnTo>
                  <a:lnTo>
                    <a:pt x="900" y="632"/>
                  </a:lnTo>
                  <a:lnTo>
                    <a:pt x="900" y="630"/>
                  </a:lnTo>
                  <a:lnTo>
                    <a:pt x="898" y="629"/>
                  </a:lnTo>
                  <a:lnTo>
                    <a:pt x="898" y="624"/>
                  </a:lnTo>
                  <a:lnTo>
                    <a:pt x="900" y="624"/>
                  </a:lnTo>
                  <a:lnTo>
                    <a:pt x="901" y="624"/>
                  </a:lnTo>
                  <a:lnTo>
                    <a:pt x="901" y="624"/>
                  </a:lnTo>
                  <a:lnTo>
                    <a:pt x="904" y="627"/>
                  </a:lnTo>
                  <a:lnTo>
                    <a:pt x="906" y="629"/>
                  </a:lnTo>
                  <a:lnTo>
                    <a:pt x="907" y="629"/>
                  </a:lnTo>
                  <a:lnTo>
                    <a:pt x="909" y="627"/>
                  </a:lnTo>
                  <a:lnTo>
                    <a:pt x="911" y="625"/>
                  </a:lnTo>
                  <a:lnTo>
                    <a:pt x="911" y="624"/>
                  </a:lnTo>
                  <a:lnTo>
                    <a:pt x="912" y="624"/>
                  </a:lnTo>
                  <a:lnTo>
                    <a:pt x="912" y="627"/>
                  </a:lnTo>
                  <a:lnTo>
                    <a:pt x="912" y="630"/>
                  </a:lnTo>
                  <a:lnTo>
                    <a:pt x="914" y="633"/>
                  </a:lnTo>
                  <a:lnTo>
                    <a:pt x="915" y="633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3"/>
                  </a:lnTo>
                  <a:lnTo>
                    <a:pt x="918" y="632"/>
                  </a:lnTo>
                  <a:lnTo>
                    <a:pt x="918" y="630"/>
                  </a:lnTo>
                  <a:lnTo>
                    <a:pt x="917" y="629"/>
                  </a:lnTo>
                  <a:lnTo>
                    <a:pt x="917" y="629"/>
                  </a:lnTo>
                  <a:lnTo>
                    <a:pt x="917" y="627"/>
                  </a:lnTo>
                  <a:lnTo>
                    <a:pt x="917" y="625"/>
                  </a:lnTo>
                  <a:lnTo>
                    <a:pt x="918" y="625"/>
                  </a:lnTo>
                  <a:lnTo>
                    <a:pt x="918" y="625"/>
                  </a:lnTo>
                  <a:lnTo>
                    <a:pt x="920" y="622"/>
                  </a:lnTo>
                  <a:lnTo>
                    <a:pt x="918" y="622"/>
                  </a:lnTo>
                  <a:lnTo>
                    <a:pt x="920" y="622"/>
                  </a:lnTo>
                  <a:lnTo>
                    <a:pt x="921" y="622"/>
                  </a:lnTo>
                  <a:lnTo>
                    <a:pt x="921" y="622"/>
                  </a:lnTo>
                  <a:lnTo>
                    <a:pt x="921" y="625"/>
                  </a:lnTo>
                  <a:lnTo>
                    <a:pt x="924" y="627"/>
                  </a:lnTo>
                  <a:lnTo>
                    <a:pt x="931" y="627"/>
                  </a:lnTo>
                  <a:lnTo>
                    <a:pt x="931" y="627"/>
                  </a:lnTo>
                  <a:lnTo>
                    <a:pt x="931" y="629"/>
                  </a:lnTo>
                  <a:lnTo>
                    <a:pt x="932" y="629"/>
                  </a:lnTo>
                  <a:lnTo>
                    <a:pt x="932" y="629"/>
                  </a:lnTo>
                  <a:lnTo>
                    <a:pt x="934" y="627"/>
                  </a:lnTo>
                  <a:lnTo>
                    <a:pt x="935" y="624"/>
                  </a:lnTo>
                  <a:lnTo>
                    <a:pt x="937" y="622"/>
                  </a:lnTo>
                  <a:lnTo>
                    <a:pt x="940" y="622"/>
                  </a:lnTo>
                  <a:lnTo>
                    <a:pt x="941" y="624"/>
                  </a:lnTo>
                  <a:lnTo>
                    <a:pt x="943" y="627"/>
                  </a:lnTo>
                  <a:lnTo>
                    <a:pt x="943" y="630"/>
                  </a:lnTo>
                  <a:lnTo>
                    <a:pt x="944" y="630"/>
                  </a:lnTo>
                  <a:lnTo>
                    <a:pt x="949" y="630"/>
                  </a:lnTo>
                  <a:lnTo>
                    <a:pt x="949" y="629"/>
                  </a:lnTo>
                  <a:lnTo>
                    <a:pt x="951" y="629"/>
                  </a:lnTo>
                  <a:lnTo>
                    <a:pt x="951" y="630"/>
                  </a:lnTo>
                  <a:lnTo>
                    <a:pt x="951" y="632"/>
                  </a:lnTo>
                  <a:lnTo>
                    <a:pt x="951" y="633"/>
                  </a:lnTo>
                  <a:lnTo>
                    <a:pt x="952" y="633"/>
                  </a:lnTo>
                  <a:lnTo>
                    <a:pt x="952" y="635"/>
                  </a:lnTo>
                  <a:lnTo>
                    <a:pt x="954" y="635"/>
                  </a:lnTo>
                  <a:lnTo>
                    <a:pt x="954" y="635"/>
                  </a:lnTo>
                  <a:lnTo>
                    <a:pt x="955" y="635"/>
                  </a:lnTo>
                  <a:lnTo>
                    <a:pt x="955" y="635"/>
                  </a:lnTo>
                  <a:lnTo>
                    <a:pt x="955" y="632"/>
                  </a:lnTo>
                  <a:lnTo>
                    <a:pt x="957" y="630"/>
                  </a:lnTo>
                  <a:lnTo>
                    <a:pt x="958" y="629"/>
                  </a:lnTo>
                  <a:lnTo>
                    <a:pt x="961" y="630"/>
                  </a:lnTo>
                  <a:lnTo>
                    <a:pt x="963" y="629"/>
                  </a:lnTo>
                  <a:lnTo>
                    <a:pt x="963" y="629"/>
                  </a:lnTo>
                  <a:lnTo>
                    <a:pt x="963" y="629"/>
                  </a:lnTo>
                  <a:lnTo>
                    <a:pt x="963" y="627"/>
                  </a:lnTo>
                  <a:lnTo>
                    <a:pt x="961" y="627"/>
                  </a:lnTo>
                  <a:lnTo>
                    <a:pt x="968" y="629"/>
                  </a:lnTo>
                  <a:lnTo>
                    <a:pt x="969" y="627"/>
                  </a:lnTo>
                  <a:lnTo>
                    <a:pt x="972" y="624"/>
                  </a:lnTo>
                  <a:lnTo>
                    <a:pt x="972" y="621"/>
                  </a:lnTo>
                  <a:lnTo>
                    <a:pt x="969" y="61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gray">
            <a:xfrm>
              <a:off x="7146925" y="7693026"/>
              <a:ext cx="12700" cy="15875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0 h 10"/>
                <a:gd name="T4" fmla="*/ 6 w 8"/>
                <a:gd name="T5" fmla="*/ 0 h 10"/>
                <a:gd name="T6" fmla="*/ 3 w 8"/>
                <a:gd name="T7" fmla="*/ 2 h 10"/>
                <a:gd name="T8" fmla="*/ 3 w 8"/>
                <a:gd name="T9" fmla="*/ 2 h 10"/>
                <a:gd name="T10" fmla="*/ 2 w 8"/>
                <a:gd name="T11" fmla="*/ 3 h 10"/>
                <a:gd name="T12" fmla="*/ 0 w 8"/>
                <a:gd name="T13" fmla="*/ 7 h 10"/>
                <a:gd name="T14" fmla="*/ 2 w 8"/>
                <a:gd name="T15" fmla="*/ 8 h 10"/>
                <a:gd name="T16" fmla="*/ 3 w 8"/>
                <a:gd name="T17" fmla="*/ 10 h 10"/>
                <a:gd name="T18" fmla="*/ 6 w 8"/>
                <a:gd name="T19" fmla="*/ 10 h 10"/>
                <a:gd name="T20" fmla="*/ 8 w 8"/>
                <a:gd name="T21" fmla="*/ 7 h 10"/>
                <a:gd name="T22" fmla="*/ 8 w 8"/>
                <a:gd name="T23" fmla="*/ 7 h 10"/>
                <a:gd name="T24" fmla="*/ 8 w 8"/>
                <a:gd name="T25" fmla="*/ 7 h 10"/>
                <a:gd name="T26" fmla="*/ 8 w 8"/>
                <a:gd name="T27" fmla="*/ 7 h 10"/>
                <a:gd name="T28" fmla="*/ 8 w 8"/>
                <a:gd name="T29" fmla="*/ 5 h 10"/>
                <a:gd name="T30" fmla="*/ 8 w 8"/>
                <a:gd name="T31" fmla="*/ 5 h 10"/>
                <a:gd name="T32" fmla="*/ 8 w 8"/>
                <a:gd name="T33" fmla="*/ 5 h 10"/>
                <a:gd name="T34" fmla="*/ 8 w 8"/>
                <a:gd name="T35" fmla="*/ 3 h 10"/>
                <a:gd name="T36" fmla="*/ 8 w 8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1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gray">
            <a:xfrm>
              <a:off x="7146925" y="7693026"/>
              <a:ext cx="12700" cy="15875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0 h 10"/>
                <a:gd name="T4" fmla="*/ 6 w 8"/>
                <a:gd name="T5" fmla="*/ 0 h 10"/>
                <a:gd name="T6" fmla="*/ 3 w 8"/>
                <a:gd name="T7" fmla="*/ 2 h 10"/>
                <a:gd name="T8" fmla="*/ 3 w 8"/>
                <a:gd name="T9" fmla="*/ 2 h 10"/>
                <a:gd name="T10" fmla="*/ 2 w 8"/>
                <a:gd name="T11" fmla="*/ 3 h 10"/>
                <a:gd name="T12" fmla="*/ 0 w 8"/>
                <a:gd name="T13" fmla="*/ 7 h 10"/>
                <a:gd name="T14" fmla="*/ 2 w 8"/>
                <a:gd name="T15" fmla="*/ 8 h 10"/>
                <a:gd name="T16" fmla="*/ 3 w 8"/>
                <a:gd name="T17" fmla="*/ 10 h 10"/>
                <a:gd name="T18" fmla="*/ 6 w 8"/>
                <a:gd name="T19" fmla="*/ 10 h 10"/>
                <a:gd name="T20" fmla="*/ 8 w 8"/>
                <a:gd name="T21" fmla="*/ 7 h 10"/>
                <a:gd name="T22" fmla="*/ 8 w 8"/>
                <a:gd name="T23" fmla="*/ 7 h 10"/>
                <a:gd name="T24" fmla="*/ 8 w 8"/>
                <a:gd name="T25" fmla="*/ 7 h 10"/>
                <a:gd name="T26" fmla="*/ 8 w 8"/>
                <a:gd name="T27" fmla="*/ 7 h 10"/>
                <a:gd name="T28" fmla="*/ 8 w 8"/>
                <a:gd name="T29" fmla="*/ 5 h 10"/>
                <a:gd name="T30" fmla="*/ 8 w 8"/>
                <a:gd name="T31" fmla="*/ 5 h 10"/>
                <a:gd name="T32" fmla="*/ 8 w 8"/>
                <a:gd name="T33" fmla="*/ 5 h 10"/>
                <a:gd name="T34" fmla="*/ 8 w 8"/>
                <a:gd name="T35" fmla="*/ 3 h 10"/>
                <a:gd name="T36" fmla="*/ 8 w 8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1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gray">
            <a:xfrm>
              <a:off x="7264400" y="7210426"/>
              <a:ext cx="371475" cy="244475"/>
            </a:xfrm>
            <a:custGeom>
              <a:avLst/>
              <a:gdLst>
                <a:gd name="T0" fmla="*/ 225 w 234"/>
                <a:gd name="T1" fmla="*/ 21 h 154"/>
                <a:gd name="T2" fmla="*/ 222 w 234"/>
                <a:gd name="T3" fmla="*/ 15 h 154"/>
                <a:gd name="T4" fmla="*/ 219 w 234"/>
                <a:gd name="T5" fmla="*/ 7 h 154"/>
                <a:gd name="T6" fmla="*/ 217 w 234"/>
                <a:gd name="T7" fmla="*/ 0 h 154"/>
                <a:gd name="T8" fmla="*/ 194 w 234"/>
                <a:gd name="T9" fmla="*/ 3 h 154"/>
                <a:gd name="T10" fmla="*/ 194 w 234"/>
                <a:gd name="T11" fmla="*/ 12 h 154"/>
                <a:gd name="T12" fmla="*/ 191 w 234"/>
                <a:gd name="T13" fmla="*/ 18 h 154"/>
                <a:gd name="T14" fmla="*/ 168 w 234"/>
                <a:gd name="T15" fmla="*/ 16 h 154"/>
                <a:gd name="T16" fmla="*/ 160 w 234"/>
                <a:gd name="T17" fmla="*/ 21 h 154"/>
                <a:gd name="T18" fmla="*/ 154 w 234"/>
                <a:gd name="T19" fmla="*/ 26 h 154"/>
                <a:gd name="T20" fmla="*/ 122 w 234"/>
                <a:gd name="T21" fmla="*/ 24 h 154"/>
                <a:gd name="T22" fmla="*/ 110 w 234"/>
                <a:gd name="T23" fmla="*/ 27 h 154"/>
                <a:gd name="T24" fmla="*/ 102 w 234"/>
                <a:gd name="T25" fmla="*/ 40 h 154"/>
                <a:gd name="T26" fmla="*/ 96 w 234"/>
                <a:gd name="T27" fmla="*/ 43 h 154"/>
                <a:gd name="T28" fmla="*/ 88 w 234"/>
                <a:gd name="T29" fmla="*/ 52 h 154"/>
                <a:gd name="T30" fmla="*/ 77 w 234"/>
                <a:gd name="T31" fmla="*/ 46 h 154"/>
                <a:gd name="T32" fmla="*/ 53 w 234"/>
                <a:gd name="T33" fmla="*/ 41 h 154"/>
                <a:gd name="T34" fmla="*/ 31 w 234"/>
                <a:gd name="T35" fmla="*/ 38 h 154"/>
                <a:gd name="T36" fmla="*/ 23 w 234"/>
                <a:gd name="T37" fmla="*/ 43 h 154"/>
                <a:gd name="T38" fmla="*/ 6 w 234"/>
                <a:gd name="T39" fmla="*/ 53 h 154"/>
                <a:gd name="T40" fmla="*/ 0 w 234"/>
                <a:gd name="T41" fmla="*/ 64 h 154"/>
                <a:gd name="T42" fmla="*/ 5 w 234"/>
                <a:gd name="T43" fmla="*/ 69 h 154"/>
                <a:gd name="T44" fmla="*/ 20 w 234"/>
                <a:gd name="T45" fmla="*/ 73 h 154"/>
                <a:gd name="T46" fmla="*/ 9 w 234"/>
                <a:gd name="T47" fmla="*/ 90 h 154"/>
                <a:gd name="T48" fmla="*/ 8 w 234"/>
                <a:gd name="T49" fmla="*/ 93 h 154"/>
                <a:gd name="T50" fmla="*/ 17 w 234"/>
                <a:gd name="T51" fmla="*/ 101 h 154"/>
                <a:gd name="T52" fmla="*/ 25 w 234"/>
                <a:gd name="T53" fmla="*/ 118 h 154"/>
                <a:gd name="T54" fmla="*/ 37 w 234"/>
                <a:gd name="T55" fmla="*/ 135 h 154"/>
                <a:gd name="T56" fmla="*/ 23 w 234"/>
                <a:gd name="T57" fmla="*/ 141 h 154"/>
                <a:gd name="T58" fmla="*/ 17 w 234"/>
                <a:gd name="T59" fmla="*/ 146 h 154"/>
                <a:gd name="T60" fmla="*/ 39 w 234"/>
                <a:gd name="T61" fmla="*/ 154 h 154"/>
                <a:gd name="T62" fmla="*/ 46 w 234"/>
                <a:gd name="T63" fmla="*/ 144 h 154"/>
                <a:gd name="T64" fmla="*/ 56 w 234"/>
                <a:gd name="T65" fmla="*/ 149 h 154"/>
                <a:gd name="T66" fmla="*/ 79 w 234"/>
                <a:gd name="T67" fmla="*/ 144 h 154"/>
                <a:gd name="T68" fmla="*/ 88 w 234"/>
                <a:gd name="T69" fmla="*/ 130 h 154"/>
                <a:gd name="T70" fmla="*/ 91 w 234"/>
                <a:gd name="T71" fmla="*/ 135 h 154"/>
                <a:gd name="T72" fmla="*/ 97 w 234"/>
                <a:gd name="T73" fmla="*/ 143 h 154"/>
                <a:gd name="T74" fmla="*/ 114 w 234"/>
                <a:gd name="T75" fmla="*/ 146 h 154"/>
                <a:gd name="T76" fmla="*/ 125 w 234"/>
                <a:gd name="T77" fmla="*/ 147 h 154"/>
                <a:gd name="T78" fmla="*/ 148 w 234"/>
                <a:gd name="T79" fmla="*/ 147 h 154"/>
                <a:gd name="T80" fmla="*/ 142 w 234"/>
                <a:gd name="T81" fmla="*/ 135 h 154"/>
                <a:gd name="T82" fmla="*/ 148 w 234"/>
                <a:gd name="T83" fmla="*/ 130 h 154"/>
                <a:gd name="T84" fmla="*/ 143 w 234"/>
                <a:gd name="T85" fmla="*/ 127 h 154"/>
                <a:gd name="T86" fmla="*/ 140 w 234"/>
                <a:gd name="T87" fmla="*/ 121 h 154"/>
                <a:gd name="T88" fmla="*/ 154 w 234"/>
                <a:gd name="T89" fmla="*/ 112 h 154"/>
                <a:gd name="T90" fmla="*/ 165 w 234"/>
                <a:gd name="T91" fmla="*/ 112 h 154"/>
                <a:gd name="T92" fmla="*/ 171 w 234"/>
                <a:gd name="T93" fmla="*/ 101 h 154"/>
                <a:gd name="T94" fmla="*/ 173 w 234"/>
                <a:gd name="T95" fmla="*/ 87 h 154"/>
                <a:gd name="T96" fmla="*/ 167 w 234"/>
                <a:gd name="T97" fmla="*/ 75 h 154"/>
                <a:gd name="T98" fmla="*/ 180 w 234"/>
                <a:gd name="T99" fmla="*/ 66 h 154"/>
                <a:gd name="T100" fmla="*/ 194 w 234"/>
                <a:gd name="T101" fmla="*/ 61 h 154"/>
                <a:gd name="T102" fmla="*/ 200 w 234"/>
                <a:gd name="T103" fmla="*/ 53 h 154"/>
                <a:gd name="T104" fmla="*/ 207 w 234"/>
                <a:gd name="T105" fmla="*/ 50 h 154"/>
                <a:gd name="T106" fmla="*/ 216 w 234"/>
                <a:gd name="T107" fmla="*/ 50 h 154"/>
                <a:gd name="T108" fmla="*/ 213 w 234"/>
                <a:gd name="T109" fmla="*/ 41 h 154"/>
                <a:gd name="T110" fmla="*/ 222 w 234"/>
                <a:gd name="T111" fmla="*/ 35 h 154"/>
                <a:gd name="T112" fmla="*/ 228 w 234"/>
                <a:gd name="T113" fmla="*/ 3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" h="154">
                  <a:moveTo>
                    <a:pt x="233" y="33"/>
                  </a:moveTo>
                  <a:lnTo>
                    <a:pt x="231" y="32"/>
                  </a:lnTo>
                  <a:lnTo>
                    <a:pt x="228" y="27"/>
                  </a:lnTo>
                  <a:lnTo>
                    <a:pt x="225" y="26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4" y="23"/>
                  </a:lnTo>
                  <a:lnTo>
                    <a:pt x="224" y="23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7" y="18"/>
                  </a:lnTo>
                  <a:lnTo>
                    <a:pt x="225" y="18"/>
                  </a:lnTo>
                  <a:lnTo>
                    <a:pt x="224" y="18"/>
                  </a:lnTo>
                  <a:lnTo>
                    <a:pt x="224" y="18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0" y="15"/>
                  </a:lnTo>
                  <a:lnTo>
                    <a:pt x="220" y="13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9" y="7"/>
                  </a:lnTo>
                  <a:lnTo>
                    <a:pt x="219" y="7"/>
                  </a:lnTo>
                  <a:lnTo>
                    <a:pt x="219" y="6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19" y="3"/>
                  </a:lnTo>
                  <a:lnTo>
                    <a:pt x="219" y="1"/>
                  </a:lnTo>
                  <a:lnTo>
                    <a:pt x="217" y="1"/>
                  </a:lnTo>
                  <a:lnTo>
                    <a:pt x="217" y="0"/>
                  </a:lnTo>
                  <a:lnTo>
                    <a:pt x="216" y="0"/>
                  </a:lnTo>
                  <a:lnTo>
                    <a:pt x="210" y="0"/>
                  </a:lnTo>
                  <a:lnTo>
                    <a:pt x="207" y="0"/>
                  </a:lnTo>
                  <a:lnTo>
                    <a:pt x="205" y="0"/>
                  </a:lnTo>
                  <a:lnTo>
                    <a:pt x="203" y="0"/>
                  </a:lnTo>
                  <a:lnTo>
                    <a:pt x="200" y="1"/>
                  </a:lnTo>
                  <a:lnTo>
                    <a:pt x="199" y="3"/>
                  </a:lnTo>
                  <a:lnTo>
                    <a:pt x="197" y="3"/>
                  </a:lnTo>
                  <a:lnTo>
                    <a:pt x="194" y="3"/>
                  </a:lnTo>
                  <a:lnTo>
                    <a:pt x="194" y="3"/>
                  </a:lnTo>
                  <a:lnTo>
                    <a:pt x="194" y="4"/>
                  </a:lnTo>
                  <a:lnTo>
                    <a:pt x="194" y="4"/>
                  </a:lnTo>
                  <a:lnTo>
                    <a:pt x="194" y="4"/>
                  </a:lnTo>
                  <a:lnTo>
                    <a:pt x="194" y="6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10"/>
                  </a:lnTo>
                  <a:lnTo>
                    <a:pt x="194" y="12"/>
                  </a:lnTo>
                  <a:lnTo>
                    <a:pt x="194" y="15"/>
                  </a:lnTo>
                  <a:lnTo>
                    <a:pt x="196" y="16"/>
                  </a:lnTo>
                  <a:lnTo>
                    <a:pt x="197" y="18"/>
                  </a:lnTo>
                  <a:lnTo>
                    <a:pt x="197" y="21"/>
                  </a:lnTo>
                  <a:lnTo>
                    <a:pt x="197" y="21"/>
                  </a:lnTo>
                  <a:lnTo>
                    <a:pt x="197" y="21"/>
                  </a:lnTo>
                  <a:lnTo>
                    <a:pt x="196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87" y="15"/>
                  </a:lnTo>
                  <a:lnTo>
                    <a:pt x="185" y="15"/>
                  </a:lnTo>
                  <a:lnTo>
                    <a:pt x="182" y="15"/>
                  </a:lnTo>
                  <a:lnTo>
                    <a:pt x="180" y="16"/>
                  </a:lnTo>
                  <a:lnTo>
                    <a:pt x="177" y="16"/>
                  </a:lnTo>
                  <a:lnTo>
                    <a:pt x="176" y="16"/>
                  </a:lnTo>
                  <a:lnTo>
                    <a:pt x="170" y="16"/>
                  </a:lnTo>
                  <a:lnTo>
                    <a:pt x="168" y="15"/>
                  </a:lnTo>
                  <a:lnTo>
                    <a:pt x="168" y="16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5" y="20"/>
                  </a:lnTo>
                  <a:lnTo>
                    <a:pt x="163" y="20"/>
                  </a:lnTo>
                  <a:lnTo>
                    <a:pt x="162" y="20"/>
                  </a:lnTo>
                  <a:lnTo>
                    <a:pt x="160" y="21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59" y="24"/>
                  </a:lnTo>
                  <a:lnTo>
                    <a:pt x="157" y="26"/>
                  </a:lnTo>
                  <a:lnTo>
                    <a:pt x="156" y="26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53" y="24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37" y="24"/>
                  </a:lnTo>
                  <a:lnTo>
                    <a:pt x="134" y="24"/>
                  </a:lnTo>
                  <a:lnTo>
                    <a:pt x="130" y="23"/>
                  </a:lnTo>
                  <a:lnTo>
                    <a:pt x="128" y="23"/>
                  </a:lnTo>
                  <a:lnTo>
                    <a:pt x="126" y="23"/>
                  </a:lnTo>
                  <a:lnTo>
                    <a:pt x="122" y="24"/>
                  </a:lnTo>
                  <a:lnTo>
                    <a:pt x="119" y="27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3" y="27"/>
                  </a:lnTo>
                  <a:lnTo>
                    <a:pt x="111" y="27"/>
                  </a:lnTo>
                  <a:lnTo>
                    <a:pt x="110" y="27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08" y="33"/>
                  </a:lnTo>
                  <a:lnTo>
                    <a:pt x="106" y="35"/>
                  </a:lnTo>
                  <a:lnTo>
                    <a:pt x="106" y="36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3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9" y="40"/>
                  </a:lnTo>
                  <a:lnTo>
                    <a:pt x="99" y="41"/>
                  </a:lnTo>
                  <a:lnTo>
                    <a:pt x="99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1" y="46"/>
                  </a:lnTo>
                  <a:lnTo>
                    <a:pt x="91" y="46"/>
                  </a:lnTo>
                  <a:lnTo>
                    <a:pt x="90" y="47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88" y="52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5" y="49"/>
                  </a:lnTo>
                  <a:lnTo>
                    <a:pt x="85" y="47"/>
                  </a:lnTo>
                  <a:lnTo>
                    <a:pt x="82" y="49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65" y="46"/>
                  </a:lnTo>
                  <a:lnTo>
                    <a:pt x="59" y="46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1" y="41"/>
                  </a:lnTo>
                  <a:lnTo>
                    <a:pt x="49" y="41"/>
                  </a:lnTo>
                  <a:lnTo>
                    <a:pt x="48" y="41"/>
                  </a:lnTo>
                  <a:lnTo>
                    <a:pt x="46" y="41"/>
                  </a:lnTo>
                  <a:lnTo>
                    <a:pt x="45" y="41"/>
                  </a:lnTo>
                  <a:lnTo>
                    <a:pt x="39" y="38"/>
                  </a:lnTo>
                  <a:lnTo>
                    <a:pt x="37" y="36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40"/>
                  </a:lnTo>
                  <a:lnTo>
                    <a:pt x="23" y="40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0" y="44"/>
                  </a:lnTo>
                  <a:lnTo>
                    <a:pt x="17" y="46"/>
                  </a:lnTo>
                  <a:lnTo>
                    <a:pt x="16" y="47"/>
                  </a:lnTo>
                  <a:lnTo>
                    <a:pt x="14" y="49"/>
                  </a:lnTo>
                  <a:lnTo>
                    <a:pt x="13" y="50"/>
                  </a:lnTo>
                  <a:lnTo>
                    <a:pt x="8" y="52"/>
                  </a:lnTo>
                  <a:lnTo>
                    <a:pt x="6" y="53"/>
                  </a:lnTo>
                  <a:lnTo>
                    <a:pt x="6" y="55"/>
                  </a:lnTo>
                  <a:lnTo>
                    <a:pt x="5" y="55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69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1" y="69"/>
                  </a:lnTo>
                  <a:lnTo>
                    <a:pt x="13" y="70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0" y="75"/>
                  </a:lnTo>
                  <a:lnTo>
                    <a:pt x="19" y="80"/>
                  </a:lnTo>
                  <a:lnTo>
                    <a:pt x="11" y="84"/>
                  </a:lnTo>
                  <a:lnTo>
                    <a:pt x="9" y="86"/>
                  </a:lnTo>
                  <a:lnTo>
                    <a:pt x="8" y="87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6" y="95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9" y="97"/>
                  </a:lnTo>
                  <a:lnTo>
                    <a:pt x="19" y="98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6" y="107"/>
                  </a:lnTo>
                  <a:lnTo>
                    <a:pt x="14" y="110"/>
                  </a:lnTo>
                  <a:lnTo>
                    <a:pt x="16" y="112"/>
                  </a:lnTo>
                  <a:lnTo>
                    <a:pt x="16" y="113"/>
                  </a:lnTo>
                  <a:lnTo>
                    <a:pt x="17" y="113"/>
                  </a:lnTo>
                  <a:lnTo>
                    <a:pt x="20" y="113"/>
                  </a:lnTo>
                  <a:lnTo>
                    <a:pt x="22" y="115"/>
                  </a:lnTo>
                  <a:lnTo>
                    <a:pt x="25" y="117"/>
                  </a:lnTo>
                  <a:lnTo>
                    <a:pt x="25" y="118"/>
                  </a:lnTo>
                  <a:lnTo>
                    <a:pt x="31" y="120"/>
                  </a:lnTo>
                  <a:lnTo>
                    <a:pt x="36" y="130"/>
                  </a:lnTo>
                  <a:lnTo>
                    <a:pt x="37" y="130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3"/>
                  </a:lnTo>
                  <a:lnTo>
                    <a:pt x="37" y="135"/>
                  </a:lnTo>
                  <a:lnTo>
                    <a:pt x="36" y="137"/>
                  </a:lnTo>
                  <a:lnTo>
                    <a:pt x="33" y="137"/>
                  </a:lnTo>
                  <a:lnTo>
                    <a:pt x="29" y="135"/>
                  </a:lnTo>
                  <a:lnTo>
                    <a:pt x="25" y="135"/>
                  </a:lnTo>
                  <a:lnTo>
                    <a:pt x="26" y="137"/>
                  </a:lnTo>
                  <a:lnTo>
                    <a:pt x="28" y="138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3" y="141"/>
                  </a:lnTo>
                  <a:lnTo>
                    <a:pt x="16" y="141"/>
                  </a:lnTo>
                  <a:lnTo>
                    <a:pt x="14" y="141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6" y="146"/>
                  </a:lnTo>
                  <a:lnTo>
                    <a:pt x="17" y="146"/>
                  </a:lnTo>
                  <a:lnTo>
                    <a:pt x="16" y="147"/>
                  </a:lnTo>
                  <a:lnTo>
                    <a:pt x="19" y="150"/>
                  </a:lnTo>
                  <a:lnTo>
                    <a:pt x="22" y="150"/>
                  </a:lnTo>
                  <a:lnTo>
                    <a:pt x="29" y="149"/>
                  </a:lnTo>
                  <a:lnTo>
                    <a:pt x="33" y="152"/>
                  </a:lnTo>
                  <a:lnTo>
                    <a:pt x="34" y="152"/>
                  </a:lnTo>
                  <a:lnTo>
                    <a:pt x="34" y="154"/>
                  </a:lnTo>
                  <a:lnTo>
                    <a:pt x="39" y="154"/>
                  </a:lnTo>
                  <a:lnTo>
                    <a:pt x="39" y="154"/>
                  </a:lnTo>
                  <a:lnTo>
                    <a:pt x="40" y="152"/>
                  </a:lnTo>
                  <a:lnTo>
                    <a:pt x="42" y="150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8" y="144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53" y="147"/>
                  </a:lnTo>
                  <a:lnTo>
                    <a:pt x="54" y="149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7" y="147"/>
                  </a:lnTo>
                  <a:lnTo>
                    <a:pt x="62" y="146"/>
                  </a:lnTo>
                  <a:lnTo>
                    <a:pt x="63" y="146"/>
                  </a:lnTo>
                  <a:lnTo>
                    <a:pt x="65" y="146"/>
                  </a:lnTo>
                  <a:lnTo>
                    <a:pt x="68" y="147"/>
                  </a:lnTo>
                  <a:lnTo>
                    <a:pt x="71" y="149"/>
                  </a:lnTo>
                  <a:lnTo>
                    <a:pt x="74" y="147"/>
                  </a:lnTo>
                  <a:lnTo>
                    <a:pt x="77" y="146"/>
                  </a:lnTo>
                  <a:lnTo>
                    <a:pt x="79" y="144"/>
                  </a:lnTo>
                  <a:lnTo>
                    <a:pt x="82" y="143"/>
                  </a:lnTo>
                  <a:lnTo>
                    <a:pt x="83" y="141"/>
                  </a:lnTo>
                  <a:lnTo>
                    <a:pt x="83" y="140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29"/>
                  </a:lnTo>
                  <a:lnTo>
                    <a:pt x="90" y="129"/>
                  </a:lnTo>
                  <a:lnTo>
                    <a:pt x="90" y="129"/>
                  </a:lnTo>
                  <a:lnTo>
                    <a:pt x="90" y="127"/>
                  </a:lnTo>
                  <a:lnTo>
                    <a:pt x="91" y="129"/>
                  </a:lnTo>
                  <a:lnTo>
                    <a:pt x="91" y="130"/>
                  </a:lnTo>
                  <a:lnTo>
                    <a:pt x="91" y="132"/>
                  </a:lnTo>
                  <a:lnTo>
                    <a:pt x="91" y="133"/>
                  </a:lnTo>
                  <a:lnTo>
                    <a:pt x="91" y="135"/>
                  </a:lnTo>
                  <a:lnTo>
                    <a:pt x="93" y="135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7" y="138"/>
                  </a:lnTo>
                  <a:lnTo>
                    <a:pt x="97" y="140"/>
                  </a:lnTo>
                  <a:lnTo>
                    <a:pt x="97" y="141"/>
                  </a:lnTo>
                  <a:lnTo>
                    <a:pt x="97" y="143"/>
                  </a:lnTo>
                  <a:lnTo>
                    <a:pt x="99" y="143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6" y="149"/>
                  </a:lnTo>
                  <a:lnTo>
                    <a:pt x="110" y="150"/>
                  </a:lnTo>
                  <a:lnTo>
                    <a:pt x="113" y="149"/>
                  </a:lnTo>
                  <a:lnTo>
                    <a:pt x="114" y="146"/>
                  </a:lnTo>
                  <a:lnTo>
                    <a:pt x="114" y="144"/>
                  </a:lnTo>
                  <a:lnTo>
                    <a:pt x="116" y="144"/>
                  </a:lnTo>
                  <a:lnTo>
                    <a:pt x="117" y="146"/>
                  </a:lnTo>
                  <a:lnTo>
                    <a:pt x="119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2" y="147"/>
                  </a:lnTo>
                  <a:lnTo>
                    <a:pt x="122" y="147"/>
                  </a:lnTo>
                  <a:lnTo>
                    <a:pt x="125" y="147"/>
                  </a:lnTo>
                  <a:lnTo>
                    <a:pt x="126" y="149"/>
                  </a:lnTo>
                  <a:lnTo>
                    <a:pt x="131" y="154"/>
                  </a:lnTo>
                  <a:lnTo>
                    <a:pt x="136" y="154"/>
                  </a:lnTo>
                  <a:lnTo>
                    <a:pt x="139" y="152"/>
                  </a:lnTo>
                  <a:lnTo>
                    <a:pt x="142" y="150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7" y="150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5" y="144"/>
                  </a:lnTo>
                  <a:lnTo>
                    <a:pt x="143" y="143"/>
                  </a:lnTo>
                  <a:lnTo>
                    <a:pt x="143" y="141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3" y="132"/>
                  </a:lnTo>
                  <a:lnTo>
                    <a:pt x="145" y="132"/>
                  </a:lnTo>
                  <a:lnTo>
                    <a:pt x="147" y="130"/>
                  </a:lnTo>
                  <a:lnTo>
                    <a:pt x="148" y="130"/>
                  </a:lnTo>
                  <a:lnTo>
                    <a:pt x="150" y="130"/>
                  </a:lnTo>
                  <a:lnTo>
                    <a:pt x="148" y="130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5" y="126"/>
                  </a:lnTo>
                  <a:lnTo>
                    <a:pt x="145" y="126"/>
                  </a:lnTo>
                  <a:lnTo>
                    <a:pt x="145" y="127"/>
                  </a:lnTo>
                  <a:lnTo>
                    <a:pt x="145" y="127"/>
                  </a:lnTo>
                  <a:lnTo>
                    <a:pt x="143" y="127"/>
                  </a:lnTo>
                  <a:lnTo>
                    <a:pt x="143" y="127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42" y="124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3" y="120"/>
                  </a:lnTo>
                  <a:lnTo>
                    <a:pt x="147" y="118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4" y="112"/>
                  </a:lnTo>
                  <a:lnTo>
                    <a:pt x="154" y="112"/>
                  </a:lnTo>
                  <a:lnTo>
                    <a:pt x="156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9" y="112"/>
                  </a:lnTo>
                  <a:lnTo>
                    <a:pt x="160" y="112"/>
                  </a:lnTo>
                  <a:lnTo>
                    <a:pt x="160" y="110"/>
                  </a:lnTo>
                  <a:lnTo>
                    <a:pt x="162" y="112"/>
                  </a:lnTo>
                  <a:lnTo>
                    <a:pt x="165" y="112"/>
                  </a:lnTo>
                  <a:lnTo>
                    <a:pt x="168" y="112"/>
                  </a:lnTo>
                  <a:lnTo>
                    <a:pt x="170" y="112"/>
                  </a:lnTo>
                  <a:lnTo>
                    <a:pt x="171" y="110"/>
                  </a:lnTo>
                  <a:lnTo>
                    <a:pt x="171" y="109"/>
                  </a:lnTo>
                  <a:lnTo>
                    <a:pt x="171" y="107"/>
                  </a:lnTo>
                  <a:lnTo>
                    <a:pt x="171" y="106"/>
                  </a:lnTo>
                  <a:lnTo>
                    <a:pt x="171" y="104"/>
                  </a:lnTo>
                  <a:lnTo>
                    <a:pt x="171" y="103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98"/>
                  </a:lnTo>
                  <a:lnTo>
                    <a:pt x="171" y="95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3" y="90"/>
                  </a:lnTo>
                  <a:lnTo>
                    <a:pt x="173" y="90"/>
                  </a:lnTo>
                  <a:lnTo>
                    <a:pt x="173" y="89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1" y="86"/>
                  </a:lnTo>
                  <a:lnTo>
                    <a:pt x="170" y="86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7" y="83"/>
                  </a:lnTo>
                  <a:lnTo>
                    <a:pt x="165" y="80"/>
                  </a:lnTo>
                  <a:lnTo>
                    <a:pt x="165" y="78"/>
                  </a:lnTo>
                  <a:lnTo>
                    <a:pt x="167" y="75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0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7" y="70"/>
                  </a:lnTo>
                  <a:lnTo>
                    <a:pt x="179" y="69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2" y="66"/>
                  </a:lnTo>
                  <a:lnTo>
                    <a:pt x="183" y="64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90" y="63"/>
                  </a:lnTo>
                  <a:lnTo>
                    <a:pt x="193" y="63"/>
                  </a:lnTo>
                  <a:lnTo>
                    <a:pt x="194" y="61"/>
                  </a:lnTo>
                  <a:lnTo>
                    <a:pt x="196" y="61"/>
                  </a:lnTo>
                  <a:lnTo>
                    <a:pt x="196" y="61"/>
                  </a:lnTo>
                  <a:lnTo>
                    <a:pt x="197" y="61"/>
                  </a:lnTo>
                  <a:lnTo>
                    <a:pt x="199" y="60"/>
                  </a:lnTo>
                  <a:lnTo>
                    <a:pt x="199" y="58"/>
                  </a:lnTo>
                  <a:lnTo>
                    <a:pt x="200" y="58"/>
                  </a:lnTo>
                  <a:lnTo>
                    <a:pt x="200" y="56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2"/>
                  </a:lnTo>
                  <a:lnTo>
                    <a:pt x="202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5" y="50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10" y="52"/>
                  </a:lnTo>
                  <a:lnTo>
                    <a:pt x="210" y="53"/>
                  </a:lnTo>
                  <a:lnTo>
                    <a:pt x="211" y="53"/>
                  </a:lnTo>
                  <a:lnTo>
                    <a:pt x="213" y="53"/>
                  </a:lnTo>
                  <a:lnTo>
                    <a:pt x="214" y="52"/>
                  </a:lnTo>
                  <a:lnTo>
                    <a:pt x="216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4" y="49"/>
                  </a:lnTo>
                  <a:lnTo>
                    <a:pt x="214" y="49"/>
                  </a:lnTo>
                  <a:lnTo>
                    <a:pt x="214" y="49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3" y="43"/>
                  </a:lnTo>
                  <a:lnTo>
                    <a:pt x="213" y="41"/>
                  </a:lnTo>
                  <a:lnTo>
                    <a:pt x="213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6" y="36"/>
                  </a:lnTo>
                  <a:lnTo>
                    <a:pt x="217" y="36"/>
                  </a:lnTo>
                  <a:lnTo>
                    <a:pt x="219" y="35"/>
                  </a:lnTo>
                  <a:lnTo>
                    <a:pt x="220" y="35"/>
                  </a:lnTo>
                  <a:lnTo>
                    <a:pt x="220" y="33"/>
                  </a:lnTo>
                  <a:lnTo>
                    <a:pt x="222" y="33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3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8" y="36"/>
                  </a:lnTo>
                  <a:lnTo>
                    <a:pt x="228" y="36"/>
                  </a:lnTo>
                  <a:lnTo>
                    <a:pt x="230" y="36"/>
                  </a:lnTo>
                  <a:lnTo>
                    <a:pt x="231" y="36"/>
                  </a:lnTo>
                  <a:lnTo>
                    <a:pt x="231" y="36"/>
                  </a:lnTo>
                  <a:lnTo>
                    <a:pt x="233" y="36"/>
                  </a:lnTo>
                  <a:lnTo>
                    <a:pt x="234" y="38"/>
                  </a:lnTo>
                  <a:lnTo>
                    <a:pt x="233" y="3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gray">
            <a:xfrm>
              <a:off x="7264400" y="7210426"/>
              <a:ext cx="371475" cy="244475"/>
            </a:xfrm>
            <a:custGeom>
              <a:avLst/>
              <a:gdLst>
                <a:gd name="T0" fmla="*/ 225 w 234"/>
                <a:gd name="T1" fmla="*/ 21 h 154"/>
                <a:gd name="T2" fmla="*/ 222 w 234"/>
                <a:gd name="T3" fmla="*/ 15 h 154"/>
                <a:gd name="T4" fmla="*/ 219 w 234"/>
                <a:gd name="T5" fmla="*/ 7 h 154"/>
                <a:gd name="T6" fmla="*/ 217 w 234"/>
                <a:gd name="T7" fmla="*/ 0 h 154"/>
                <a:gd name="T8" fmla="*/ 194 w 234"/>
                <a:gd name="T9" fmla="*/ 3 h 154"/>
                <a:gd name="T10" fmla="*/ 194 w 234"/>
                <a:gd name="T11" fmla="*/ 12 h 154"/>
                <a:gd name="T12" fmla="*/ 191 w 234"/>
                <a:gd name="T13" fmla="*/ 18 h 154"/>
                <a:gd name="T14" fmla="*/ 168 w 234"/>
                <a:gd name="T15" fmla="*/ 16 h 154"/>
                <a:gd name="T16" fmla="*/ 160 w 234"/>
                <a:gd name="T17" fmla="*/ 21 h 154"/>
                <a:gd name="T18" fmla="*/ 154 w 234"/>
                <a:gd name="T19" fmla="*/ 26 h 154"/>
                <a:gd name="T20" fmla="*/ 122 w 234"/>
                <a:gd name="T21" fmla="*/ 24 h 154"/>
                <a:gd name="T22" fmla="*/ 110 w 234"/>
                <a:gd name="T23" fmla="*/ 27 h 154"/>
                <a:gd name="T24" fmla="*/ 102 w 234"/>
                <a:gd name="T25" fmla="*/ 40 h 154"/>
                <a:gd name="T26" fmla="*/ 96 w 234"/>
                <a:gd name="T27" fmla="*/ 43 h 154"/>
                <a:gd name="T28" fmla="*/ 88 w 234"/>
                <a:gd name="T29" fmla="*/ 52 h 154"/>
                <a:gd name="T30" fmla="*/ 77 w 234"/>
                <a:gd name="T31" fmla="*/ 46 h 154"/>
                <a:gd name="T32" fmla="*/ 53 w 234"/>
                <a:gd name="T33" fmla="*/ 41 h 154"/>
                <a:gd name="T34" fmla="*/ 31 w 234"/>
                <a:gd name="T35" fmla="*/ 38 h 154"/>
                <a:gd name="T36" fmla="*/ 23 w 234"/>
                <a:gd name="T37" fmla="*/ 43 h 154"/>
                <a:gd name="T38" fmla="*/ 6 w 234"/>
                <a:gd name="T39" fmla="*/ 53 h 154"/>
                <a:gd name="T40" fmla="*/ 0 w 234"/>
                <a:gd name="T41" fmla="*/ 64 h 154"/>
                <a:gd name="T42" fmla="*/ 5 w 234"/>
                <a:gd name="T43" fmla="*/ 69 h 154"/>
                <a:gd name="T44" fmla="*/ 20 w 234"/>
                <a:gd name="T45" fmla="*/ 73 h 154"/>
                <a:gd name="T46" fmla="*/ 9 w 234"/>
                <a:gd name="T47" fmla="*/ 90 h 154"/>
                <a:gd name="T48" fmla="*/ 8 w 234"/>
                <a:gd name="T49" fmla="*/ 93 h 154"/>
                <a:gd name="T50" fmla="*/ 17 w 234"/>
                <a:gd name="T51" fmla="*/ 101 h 154"/>
                <a:gd name="T52" fmla="*/ 25 w 234"/>
                <a:gd name="T53" fmla="*/ 118 h 154"/>
                <a:gd name="T54" fmla="*/ 37 w 234"/>
                <a:gd name="T55" fmla="*/ 135 h 154"/>
                <a:gd name="T56" fmla="*/ 23 w 234"/>
                <a:gd name="T57" fmla="*/ 141 h 154"/>
                <a:gd name="T58" fmla="*/ 17 w 234"/>
                <a:gd name="T59" fmla="*/ 146 h 154"/>
                <a:gd name="T60" fmla="*/ 39 w 234"/>
                <a:gd name="T61" fmla="*/ 154 h 154"/>
                <a:gd name="T62" fmla="*/ 46 w 234"/>
                <a:gd name="T63" fmla="*/ 144 h 154"/>
                <a:gd name="T64" fmla="*/ 56 w 234"/>
                <a:gd name="T65" fmla="*/ 149 h 154"/>
                <a:gd name="T66" fmla="*/ 79 w 234"/>
                <a:gd name="T67" fmla="*/ 144 h 154"/>
                <a:gd name="T68" fmla="*/ 88 w 234"/>
                <a:gd name="T69" fmla="*/ 130 h 154"/>
                <a:gd name="T70" fmla="*/ 91 w 234"/>
                <a:gd name="T71" fmla="*/ 135 h 154"/>
                <a:gd name="T72" fmla="*/ 97 w 234"/>
                <a:gd name="T73" fmla="*/ 143 h 154"/>
                <a:gd name="T74" fmla="*/ 114 w 234"/>
                <a:gd name="T75" fmla="*/ 146 h 154"/>
                <a:gd name="T76" fmla="*/ 125 w 234"/>
                <a:gd name="T77" fmla="*/ 147 h 154"/>
                <a:gd name="T78" fmla="*/ 148 w 234"/>
                <a:gd name="T79" fmla="*/ 147 h 154"/>
                <a:gd name="T80" fmla="*/ 142 w 234"/>
                <a:gd name="T81" fmla="*/ 135 h 154"/>
                <a:gd name="T82" fmla="*/ 148 w 234"/>
                <a:gd name="T83" fmla="*/ 130 h 154"/>
                <a:gd name="T84" fmla="*/ 143 w 234"/>
                <a:gd name="T85" fmla="*/ 127 h 154"/>
                <a:gd name="T86" fmla="*/ 140 w 234"/>
                <a:gd name="T87" fmla="*/ 121 h 154"/>
                <a:gd name="T88" fmla="*/ 154 w 234"/>
                <a:gd name="T89" fmla="*/ 112 h 154"/>
                <a:gd name="T90" fmla="*/ 165 w 234"/>
                <a:gd name="T91" fmla="*/ 112 h 154"/>
                <a:gd name="T92" fmla="*/ 171 w 234"/>
                <a:gd name="T93" fmla="*/ 101 h 154"/>
                <a:gd name="T94" fmla="*/ 173 w 234"/>
                <a:gd name="T95" fmla="*/ 87 h 154"/>
                <a:gd name="T96" fmla="*/ 167 w 234"/>
                <a:gd name="T97" fmla="*/ 75 h 154"/>
                <a:gd name="T98" fmla="*/ 180 w 234"/>
                <a:gd name="T99" fmla="*/ 66 h 154"/>
                <a:gd name="T100" fmla="*/ 194 w 234"/>
                <a:gd name="T101" fmla="*/ 61 h 154"/>
                <a:gd name="T102" fmla="*/ 200 w 234"/>
                <a:gd name="T103" fmla="*/ 53 h 154"/>
                <a:gd name="T104" fmla="*/ 207 w 234"/>
                <a:gd name="T105" fmla="*/ 50 h 154"/>
                <a:gd name="T106" fmla="*/ 216 w 234"/>
                <a:gd name="T107" fmla="*/ 50 h 154"/>
                <a:gd name="T108" fmla="*/ 213 w 234"/>
                <a:gd name="T109" fmla="*/ 41 h 154"/>
                <a:gd name="T110" fmla="*/ 222 w 234"/>
                <a:gd name="T111" fmla="*/ 35 h 154"/>
                <a:gd name="T112" fmla="*/ 228 w 234"/>
                <a:gd name="T113" fmla="*/ 3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" h="154">
                  <a:moveTo>
                    <a:pt x="233" y="33"/>
                  </a:moveTo>
                  <a:lnTo>
                    <a:pt x="231" y="32"/>
                  </a:lnTo>
                  <a:lnTo>
                    <a:pt x="228" y="27"/>
                  </a:lnTo>
                  <a:lnTo>
                    <a:pt x="225" y="26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4" y="23"/>
                  </a:lnTo>
                  <a:lnTo>
                    <a:pt x="224" y="23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7" y="18"/>
                  </a:lnTo>
                  <a:lnTo>
                    <a:pt x="225" y="18"/>
                  </a:lnTo>
                  <a:lnTo>
                    <a:pt x="224" y="18"/>
                  </a:lnTo>
                  <a:lnTo>
                    <a:pt x="224" y="18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0" y="15"/>
                  </a:lnTo>
                  <a:lnTo>
                    <a:pt x="220" y="13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9" y="7"/>
                  </a:lnTo>
                  <a:lnTo>
                    <a:pt x="219" y="7"/>
                  </a:lnTo>
                  <a:lnTo>
                    <a:pt x="219" y="6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19" y="3"/>
                  </a:lnTo>
                  <a:lnTo>
                    <a:pt x="219" y="1"/>
                  </a:lnTo>
                  <a:lnTo>
                    <a:pt x="217" y="1"/>
                  </a:lnTo>
                  <a:lnTo>
                    <a:pt x="217" y="0"/>
                  </a:lnTo>
                  <a:lnTo>
                    <a:pt x="216" y="0"/>
                  </a:lnTo>
                  <a:lnTo>
                    <a:pt x="210" y="0"/>
                  </a:lnTo>
                  <a:lnTo>
                    <a:pt x="207" y="0"/>
                  </a:lnTo>
                  <a:lnTo>
                    <a:pt x="205" y="0"/>
                  </a:lnTo>
                  <a:lnTo>
                    <a:pt x="203" y="0"/>
                  </a:lnTo>
                  <a:lnTo>
                    <a:pt x="200" y="1"/>
                  </a:lnTo>
                  <a:lnTo>
                    <a:pt x="199" y="3"/>
                  </a:lnTo>
                  <a:lnTo>
                    <a:pt x="197" y="3"/>
                  </a:lnTo>
                  <a:lnTo>
                    <a:pt x="194" y="3"/>
                  </a:lnTo>
                  <a:lnTo>
                    <a:pt x="194" y="3"/>
                  </a:lnTo>
                  <a:lnTo>
                    <a:pt x="194" y="4"/>
                  </a:lnTo>
                  <a:lnTo>
                    <a:pt x="194" y="4"/>
                  </a:lnTo>
                  <a:lnTo>
                    <a:pt x="194" y="4"/>
                  </a:lnTo>
                  <a:lnTo>
                    <a:pt x="194" y="6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10"/>
                  </a:lnTo>
                  <a:lnTo>
                    <a:pt x="194" y="12"/>
                  </a:lnTo>
                  <a:lnTo>
                    <a:pt x="194" y="15"/>
                  </a:lnTo>
                  <a:lnTo>
                    <a:pt x="196" y="16"/>
                  </a:lnTo>
                  <a:lnTo>
                    <a:pt x="197" y="18"/>
                  </a:lnTo>
                  <a:lnTo>
                    <a:pt x="197" y="21"/>
                  </a:lnTo>
                  <a:lnTo>
                    <a:pt x="197" y="21"/>
                  </a:lnTo>
                  <a:lnTo>
                    <a:pt x="197" y="21"/>
                  </a:lnTo>
                  <a:lnTo>
                    <a:pt x="196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87" y="15"/>
                  </a:lnTo>
                  <a:lnTo>
                    <a:pt x="185" y="15"/>
                  </a:lnTo>
                  <a:lnTo>
                    <a:pt x="182" y="15"/>
                  </a:lnTo>
                  <a:lnTo>
                    <a:pt x="180" y="16"/>
                  </a:lnTo>
                  <a:lnTo>
                    <a:pt x="177" y="16"/>
                  </a:lnTo>
                  <a:lnTo>
                    <a:pt x="176" y="16"/>
                  </a:lnTo>
                  <a:lnTo>
                    <a:pt x="170" y="16"/>
                  </a:lnTo>
                  <a:lnTo>
                    <a:pt x="168" y="15"/>
                  </a:lnTo>
                  <a:lnTo>
                    <a:pt x="168" y="16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5" y="20"/>
                  </a:lnTo>
                  <a:lnTo>
                    <a:pt x="163" y="20"/>
                  </a:lnTo>
                  <a:lnTo>
                    <a:pt x="162" y="20"/>
                  </a:lnTo>
                  <a:lnTo>
                    <a:pt x="160" y="21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59" y="24"/>
                  </a:lnTo>
                  <a:lnTo>
                    <a:pt x="157" y="26"/>
                  </a:lnTo>
                  <a:lnTo>
                    <a:pt x="156" y="26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53" y="24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37" y="24"/>
                  </a:lnTo>
                  <a:lnTo>
                    <a:pt x="134" y="24"/>
                  </a:lnTo>
                  <a:lnTo>
                    <a:pt x="130" y="23"/>
                  </a:lnTo>
                  <a:lnTo>
                    <a:pt x="128" y="23"/>
                  </a:lnTo>
                  <a:lnTo>
                    <a:pt x="126" y="23"/>
                  </a:lnTo>
                  <a:lnTo>
                    <a:pt x="122" y="24"/>
                  </a:lnTo>
                  <a:lnTo>
                    <a:pt x="119" y="27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3" y="27"/>
                  </a:lnTo>
                  <a:lnTo>
                    <a:pt x="111" y="27"/>
                  </a:lnTo>
                  <a:lnTo>
                    <a:pt x="110" y="27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08" y="33"/>
                  </a:lnTo>
                  <a:lnTo>
                    <a:pt x="106" y="35"/>
                  </a:lnTo>
                  <a:lnTo>
                    <a:pt x="106" y="36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3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9" y="40"/>
                  </a:lnTo>
                  <a:lnTo>
                    <a:pt x="99" y="41"/>
                  </a:lnTo>
                  <a:lnTo>
                    <a:pt x="99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1" y="46"/>
                  </a:lnTo>
                  <a:lnTo>
                    <a:pt x="91" y="46"/>
                  </a:lnTo>
                  <a:lnTo>
                    <a:pt x="90" y="47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88" y="52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5" y="49"/>
                  </a:lnTo>
                  <a:lnTo>
                    <a:pt x="85" y="47"/>
                  </a:lnTo>
                  <a:lnTo>
                    <a:pt x="82" y="49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65" y="46"/>
                  </a:lnTo>
                  <a:lnTo>
                    <a:pt x="59" y="46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1" y="41"/>
                  </a:lnTo>
                  <a:lnTo>
                    <a:pt x="49" y="41"/>
                  </a:lnTo>
                  <a:lnTo>
                    <a:pt x="48" y="41"/>
                  </a:lnTo>
                  <a:lnTo>
                    <a:pt x="46" y="41"/>
                  </a:lnTo>
                  <a:lnTo>
                    <a:pt x="45" y="41"/>
                  </a:lnTo>
                  <a:lnTo>
                    <a:pt x="39" y="38"/>
                  </a:lnTo>
                  <a:lnTo>
                    <a:pt x="37" y="36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40"/>
                  </a:lnTo>
                  <a:lnTo>
                    <a:pt x="23" y="40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0" y="44"/>
                  </a:lnTo>
                  <a:lnTo>
                    <a:pt x="17" y="46"/>
                  </a:lnTo>
                  <a:lnTo>
                    <a:pt x="16" y="47"/>
                  </a:lnTo>
                  <a:lnTo>
                    <a:pt x="14" y="49"/>
                  </a:lnTo>
                  <a:lnTo>
                    <a:pt x="13" y="50"/>
                  </a:lnTo>
                  <a:lnTo>
                    <a:pt x="8" y="52"/>
                  </a:lnTo>
                  <a:lnTo>
                    <a:pt x="6" y="53"/>
                  </a:lnTo>
                  <a:lnTo>
                    <a:pt x="6" y="55"/>
                  </a:lnTo>
                  <a:lnTo>
                    <a:pt x="5" y="55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69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1" y="69"/>
                  </a:lnTo>
                  <a:lnTo>
                    <a:pt x="13" y="70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0" y="75"/>
                  </a:lnTo>
                  <a:lnTo>
                    <a:pt x="19" y="80"/>
                  </a:lnTo>
                  <a:lnTo>
                    <a:pt x="11" y="84"/>
                  </a:lnTo>
                  <a:lnTo>
                    <a:pt x="9" y="86"/>
                  </a:lnTo>
                  <a:lnTo>
                    <a:pt x="8" y="87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6" y="95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9" y="97"/>
                  </a:lnTo>
                  <a:lnTo>
                    <a:pt x="19" y="98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6" y="107"/>
                  </a:lnTo>
                  <a:lnTo>
                    <a:pt x="14" y="110"/>
                  </a:lnTo>
                  <a:lnTo>
                    <a:pt x="16" y="112"/>
                  </a:lnTo>
                  <a:lnTo>
                    <a:pt x="16" y="113"/>
                  </a:lnTo>
                  <a:lnTo>
                    <a:pt x="17" y="113"/>
                  </a:lnTo>
                  <a:lnTo>
                    <a:pt x="20" y="113"/>
                  </a:lnTo>
                  <a:lnTo>
                    <a:pt x="22" y="115"/>
                  </a:lnTo>
                  <a:lnTo>
                    <a:pt x="25" y="117"/>
                  </a:lnTo>
                  <a:lnTo>
                    <a:pt x="25" y="118"/>
                  </a:lnTo>
                  <a:lnTo>
                    <a:pt x="31" y="120"/>
                  </a:lnTo>
                  <a:lnTo>
                    <a:pt x="36" y="130"/>
                  </a:lnTo>
                  <a:lnTo>
                    <a:pt x="37" y="130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3"/>
                  </a:lnTo>
                  <a:lnTo>
                    <a:pt x="37" y="135"/>
                  </a:lnTo>
                  <a:lnTo>
                    <a:pt x="36" y="137"/>
                  </a:lnTo>
                  <a:lnTo>
                    <a:pt x="33" y="137"/>
                  </a:lnTo>
                  <a:lnTo>
                    <a:pt x="29" y="135"/>
                  </a:lnTo>
                  <a:lnTo>
                    <a:pt x="25" y="135"/>
                  </a:lnTo>
                  <a:lnTo>
                    <a:pt x="26" y="137"/>
                  </a:lnTo>
                  <a:lnTo>
                    <a:pt x="28" y="138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3" y="141"/>
                  </a:lnTo>
                  <a:lnTo>
                    <a:pt x="16" y="141"/>
                  </a:lnTo>
                  <a:lnTo>
                    <a:pt x="14" y="141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6" y="146"/>
                  </a:lnTo>
                  <a:lnTo>
                    <a:pt x="17" y="146"/>
                  </a:lnTo>
                  <a:lnTo>
                    <a:pt x="16" y="147"/>
                  </a:lnTo>
                  <a:lnTo>
                    <a:pt x="19" y="150"/>
                  </a:lnTo>
                  <a:lnTo>
                    <a:pt x="22" y="150"/>
                  </a:lnTo>
                  <a:lnTo>
                    <a:pt x="29" y="149"/>
                  </a:lnTo>
                  <a:lnTo>
                    <a:pt x="33" y="152"/>
                  </a:lnTo>
                  <a:lnTo>
                    <a:pt x="34" y="152"/>
                  </a:lnTo>
                  <a:lnTo>
                    <a:pt x="34" y="154"/>
                  </a:lnTo>
                  <a:lnTo>
                    <a:pt x="39" y="154"/>
                  </a:lnTo>
                  <a:lnTo>
                    <a:pt x="39" y="154"/>
                  </a:lnTo>
                  <a:lnTo>
                    <a:pt x="40" y="152"/>
                  </a:lnTo>
                  <a:lnTo>
                    <a:pt x="42" y="150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8" y="144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53" y="147"/>
                  </a:lnTo>
                  <a:lnTo>
                    <a:pt x="54" y="149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7" y="147"/>
                  </a:lnTo>
                  <a:lnTo>
                    <a:pt x="62" y="146"/>
                  </a:lnTo>
                  <a:lnTo>
                    <a:pt x="63" y="146"/>
                  </a:lnTo>
                  <a:lnTo>
                    <a:pt x="65" y="146"/>
                  </a:lnTo>
                  <a:lnTo>
                    <a:pt x="68" y="147"/>
                  </a:lnTo>
                  <a:lnTo>
                    <a:pt x="71" y="149"/>
                  </a:lnTo>
                  <a:lnTo>
                    <a:pt x="74" y="147"/>
                  </a:lnTo>
                  <a:lnTo>
                    <a:pt x="77" y="146"/>
                  </a:lnTo>
                  <a:lnTo>
                    <a:pt x="79" y="144"/>
                  </a:lnTo>
                  <a:lnTo>
                    <a:pt x="82" y="143"/>
                  </a:lnTo>
                  <a:lnTo>
                    <a:pt x="83" y="141"/>
                  </a:lnTo>
                  <a:lnTo>
                    <a:pt x="83" y="140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29"/>
                  </a:lnTo>
                  <a:lnTo>
                    <a:pt x="90" y="129"/>
                  </a:lnTo>
                  <a:lnTo>
                    <a:pt x="90" y="129"/>
                  </a:lnTo>
                  <a:lnTo>
                    <a:pt x="90" y="127"/>
                  </a:lnTo>
                  <a:lnTo>
                    <a:pt x="91" y="129"/>
                  </a:lnTo>
                  <a:lnTo>
                    <a:pt x="91" y="130"/>
                  </a:lnTo>
                  <a:lnTo>
                    <a:pt x="91" y="132"/>
                  </a:lnTo>
                  <a:lnTo>
                    <a:pt x="91" y="133"/>
                  </a:lnTo>
                  <a:lnTo>
                    <a:pt x="91" y="135"/>
                  </a:lnTo>
                  <a:lnTo>
                    <a:pt x="93" y="135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7" y="138"/>
                  </a:lnTo>
                  <a:lnTo>
                    <a:pt x="97" y="140"/>
                  </a:lnTo>
                  <a:lnTo>
                    <a:pt x="97" y="141"/>
                  </a:lnTo>
                  <a:lnTo>
                    <a:pt x="97" y="143"/>
                  </a:lnTo>
                  <a:lnTo>
                    <a:pt x="99" y="143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6" y="149"/>
                  </a:lnTo>
                  <a:lnTo>
                    <a:pt x="110" y="150"/>
                  </a:lnTo>
                  <a:lnTo>
                    <a:pt x="113" y="149"/>
                  </a:lnTo>
                  <a:lnTo>
                    <a:pt x="114" y="146"/>
                  </a:lnTo>
                  <a:lnTo>
                    <a:pt x="114" y="144"/>
                  </a:lnTo>
                  <a:lnTo>
                    <a:pt x="116" y="144"/>
                  </a:lnTo>
                  <a:lnTo>
                    <a:pt x="117" y="146"/>
                  </a:lnTo>
                  <a:lnTo>
                    <a:pt x="119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2" y="147"/>
                  </a:lnTo>
                  <a:lnTo>
                    <a:pt x="122" y="147"/>
                  </a:lnTo>
                  <a:lnTo>
                    <a:pt x="125" y="147"/>
                  </a:lnTo>
                  <a:lnTo>
                    <a:pt x="126" y="149"/>
                  </a:lnTo>
                  <a:lnTo>
                    <a:pt x="131" y="154"/>
                  </a:lnTo>
                  <a:lnTo>
                    <a:pt x="136" y="154"/>
                  </a:lnTo>
                  <a:lnTo>
                    <a:pt x="139" y="152"/>
                  </a:lnTo>
                  <a:lnTo>
                    <a:pt x="142" y="150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7" y="150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5" y="144"/>
                  </a:lnTo>
                  <a:lnTo>
                    <a:pt x="143" y="143"/>
                  </a:lnTo>
                  <a:lnTo>
                    <a:pt x="143" y="141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3" y="132"/>
                  </a:lnTo>
                  <a:lnTo>
                    <a:pt x="145" y="132"/>
                  </a:lnTo>
                  <a:lnTo>
                    <a:pt x="147" y="130"/>
                  </a:lnTo>
                  <a:lnTo>
                    <a:pt x="148" y="130"/>
                  </a:lnTo>
                  <a:lnTo>
                    <a:pt x="150" y="130"/>
                  </a:lnTo>
                  <a:lnTo>
                    <a:pt x="148" y="130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5" y="126"/>
                  </a:lnTo>
                  <a:lnTo>
                    <a:pt x="145" y="126"/>
                  </a:lnTo>
                  <a:lnTo>
                    <a:pt x="145" y="127"/>
                  </a:lnTo>
                  <a:lnTo>
                    <a:pt x="145" y="127"/>
                  </a:lnTo>
                  <a:lnTo>
                    <a:pt x="143" y="127"/>
                  </a:lnTo>
                  <a:lnTo>
                    <a:pt x="143" y="127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42" y="124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43" y="120"/>
                  </a:lnTo>
                  <a:lnTo>
                    <a:pt x="147" y="118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4" y="112"/>
                  </a:lnTo>
                  <a:lnTo>
                    <a:pt x="154" y="112"/>
                  </a:lnTo>
                  <a:lnTo>
                    <a:pt x="156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9" y="112"/>
                  </a:lnTo>
                  <a:lnTo>
                    <a:pt x="160" y="112"/>
                  </a:lnTo>
                  <a:lnTo>
                    <a:pt x="160" y="110"/>
                  </a:lnTo>
                  <a:lnTo>
                    <a:pt x="162" y="112"/>
                  </a:lnTo>
                  <a:lnTo>
                    <a:pt x="165" y="112"/>
                  </a:lnTo>
                  <a:lnTo>
                    <a:pt x="168" y="112"/>
                  </a:lnTo>
                  <a:lnTo>
                    <a:pt x="170" y="112"/>
                  </a:lnTo>
                  <a:lnTo>
                    <a:pt x="171" y="110"/>
                  </a:lnTo>
                  <a:lnTo>
                    <a:pt x="171" y="109"/>
                  </a:lnTo>
                  <a:lnTo>
                    <a:pt x="171" y="107"/>
                  </a:lnTo>
                  <a:lnTo>
                    <a:pt x="171" y="106"/>
                  </a:lnTo>
                  <a:lnTo>
                    <a:pt x="171" y="104"/>
                  </a:lnTo>
                  <a:lnTo>
                    <a:pt x="171" y="103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98"/>
                  </a:lnTo>
                  <a:lnTo>
                    <a:pt x="171" y="95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3" y="90"/>
                  </a:lnTo>
                  <a:lnTo>
                    <a:pt x="173" y="90"/>
                  </a:lnTo>
                  <a:lnTo>
                    <a:pt x="173" y="89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1" y="86"/>
                  </a:lnTo>
                  <a:lnTo>
                    <a:pt x="170" y="86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7" y="83"/>
                  </a:lnTo>
                  <a:lnTo>
                    <a:pt x="165" y="80"/>
                  </a:lnTo>
                  <a:lnTo>
                    <a:pt x="165" y="78"/>
                  </a:lnTo>
                  <a:lnTo>
                    <a:pt x="167" y="75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0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7" y="70"/>
                  </a:lnTo>
                  <a:lnTo>
                    <a:pt x="179" y="69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2" y="66"/>
                  </a:lnTo>
                  <a:lnTo>
                    <a:pt x="183" y="64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90" y="63"/>
                  </a:lnTo>
                  <a:lnTo>
                    <a:pt x="193" y="63"/>
                  </a:lnTo>
                  <a:lnTo>
                    <a:pt x="194" y="61"/>
                  </a:lnTo>
                  <a:lnTo>
                    <a:pt x="196" y="61"/>
                  </a:lnTo>
                  <a:lnTo>
                    <a:pt x="196" y="61"/>
                  </a:lnTo>
                  <a:lnTo>
                    <a:pt x="197" y="61"/>
                  </a:lnTo>
                  <a:lnTo>
                    <a:pt x="199" y="60"/>
                  </a:lnTo>
                  <a:lnTo>
                    <a:pt x="199" y="58"/>
                  </a:lnTo>
                  <a:lnTo>
                    <a:pt x="200" y="58"/>
                  </a:lnTo>
                  <a:lnTo>
                    <a:pt x="200" y="56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2"/>
                  </a:lnTo>
                  <a:lnTo>
                    <a:pt x="202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5" y="50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10" y="52"/>
                  </a:lnTo>
                  <a:lnTo>
                    <a:pt x="210" y="53"/>
                  </a:lnTo>
                  <a:lnTo>
                    <a:pt x="211" y="53"/>
                  </a:lnTo>
                  <a:lnTo>
                    <a:pt x="213" y="53"/>
                  </a:lnTo>
                  <a:lnTo>
                    <a:pt x="214" y="52"/>
                  </a:lnTo>
                  <a:lnTo>
                    <a:pt x="216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4" y="49"/>
                  </a:lnTo>
                  <a:lnTo>
                    <a:pt x="214" y="49"/>
                  </a:lnTo>
                  <a:lnTo>
                    <a:pt x="214" y="49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3" y="43"/>
                  </a:lnTo>
                  <a:lnTo>
                    <a:pt x="213" y="41"/>
                  </a:lnTo>
                  <a:lnTo>
                    <a:pt x="213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6" y="36"/>
                  </a:lnTo>
                  <a:lnTo>
                    <a:pt x="217" y="36"/>
                  </a:lnTo>
                  <a:lnTo>
                    <a:pt x="219" y="35"/>
                  </a:lnTo>
                  <a:lnTo>
                    <a:pt x="220" y="35"/>
                  </a:lnTo>
                  <a:lnTo>
                    <a:pt x="220" y="33"/>
                  </a:lnTo>
                  <a:lnTo>
                    <a:pt x="222" y="33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3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5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8" y="36"/>
                  </a:lnTo>
                  <a:lnTo>
                    <a:pt x="228" y="36"/>
                  </a:lnTo>
                  <a:lnTo>
                    <a:pt x="230" y="36"/>
                  </a:lnTo>
                  <a:lnTo>
                    <a:pt x="231" y="36"/>
                  </a:lnTo>
                  <a:lnTo>
                    <a:pt x="231" y="36"/>
                  </a:lnTo>
                  <a:lnTo>
                    <a:pt x="233" y="36"/>
                  </a:lnTo>
                  <a:lnTo>
                    <a:pt x="234" y="38"/>
                  </a:lnTo>
                  <a:lnTo>
                    <a:pt x="233" y="3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2"/>
            <p:cNvSpPr>
              <a:spLocks/>
            </p:cNvSpPr>
            <p:nvPr/>
          </p:nvSpPr>
          <p:spPr bwMode="gray">
            <a:xfrm>
              <a:off x="7675563" y="6726238"/>
              <a:ext cx="671513" cy="328613"/>
            </a:xfrm>
            <a:custGeom>
              <a:avLst/>
              <a:gdLst>
                <a:gd name="T0" fmla="*/ 399 w 423"/>
                <a:gd name="T1" fmla="*/ 50 h 207"/>
                <a:gd name="T2" fmla="*/ 387 w 423"/>
                <a:gd name="T3" fmla="*/ 46 h 207"/>
                <a:gd name="T4" fmla="*/ 368 w 423"/>
                <a:gd name="T5" fmla="*/ 26 h 207"/>
                <a:gd name="T6" fmla="*/ 359 w 423"/>
                <a:gd name="T7" fmla="*/ 23 h 207"/>
                <a:gd name="T8" fmla="*/ 342 w 423"/>
                <a:gd name="T9" fmla="*/ 21 h 207"/>
                <a:gd name="T10" fmla="*/ 320 w 423"/>
                <a:gd name="T11" fmla="*/ 21 h 207"/>
                <a:gd name="T12" fmla="*/ 316 w 423"/>
                <a:gd name="T13" fmla="*/ 26 h 207"/>
                <a:gd name="T14" fmla="*/ 302 w 423"/>
                <a:gd name="T15" fmla="*/ 35 h 207"/>
                <a:gd name="T16" fmla="*/ 285 w 423"/>
                <a:gd name="T17" fmla="*/ 23 h 207"/>
                <a:gd name="T18" fmla="*/ 268 w 423"/>
                <a:gd name="T19" fmla="*/ 23 h 207"/>
                <a:gd name="T20" fmla="*/ 257 w 423"/>
                <a:gd name="T21" fmla="*/ 27 h 207"/>
                <a:gd name="T22" fmla="*/ 245 w 423"/>
                <a:gd name="T23" fmla="*/ 33 h 207"/>
                <a:gd name="T24" fmla="*/ 233 w 423"/>
                <a:gd name="T25" fmla="*/ 43 h 207"/>
                <a:gd name="T26" fmla="*/ 216 w 423"/>
                <a:gd name="T27" fmla="*/ 44 h 207"/>
                <a:gd name="T28" fmla="*/ 220 w 423"/>
                <a:gd name="T29" fmla="*/ 37 h 207"/>
                <a:gd name="T30" fmla="*/ 219 w 423"/>
                <a:gd name="T31" fmla="*/ 33 h 207"/>
                <a:gd name="T32" fmla="*/ 211 w 423"/>
                <a:gd name="T33" fmla="*/ 24 h 207"/>
                <a:gd name="T34" fmla="*/ 202 w 423"/>
                <a:gd name="T35" fmla="*/ 17 h 207"/>
                <a:gd name="T36" fmla="*/ 192 w 423"/>
                <a:gd name="T37" fmla="*/ 0 h 207"/>
                <a:gd name="T38" fmla="*/ 179 w 423"/>
                <a:gd name="T39" fmla="*/ 9 h 207"/>
                <a:gd name="T40" fmla="*/ 174 w 423"/>
                <a:gd name="T41" fmla="*/ 18 h 207"/>
                <a:gd name="T42" fmla="*/ 166 w 423"/>
                <a:gd name="T43" fmla="*/ 21 h 207"/>
                <a:gd name="T44" fmla="*/ 157 w 423"/>
                <a:gd name="T45" fmla="*/ 15 h 207"/>
                <a:gd name="T46" fmla="*/ 135 w 423"/>
                <a:gd name="T47" fmla="*/ 12 h 207"/>
                <a:gd name="T48" fmla="*/ 125 w 423"/>
                <a:gd name="T49" fmla="*/ 17 h 207"/>
                <a:gd name="T50" fmla="*/ 100 w 423"/>
                <a:gd name="T51" fmla="*/ 37 h 207"/>
                <a:gd name="T52" fmla="*/ 91 w 423"/>
                <a:gd name="T53" fmla="*/ 63 h 207"/>
                <a:gd name="T54" fmla="*/ 77 w 423"/>
                <a:gd name="T55" fmla="*/ 75 h 207"/>
                <a:gd name="T56" fmla="*/ 48 w 423"/>
                <a:gd name="T57" fmla="*/ 89 h 207"/>
                <a:gd name="T58" fmla="*/ 23 w 423"/>
                <a:gd name="T59" fmla="*/ 84 h 207"/>
                <a:gd name="T60" fmla="*/ 8 w 423"/>
                <a:gd name="T61" fmla="*/ 110 h 207"/>
                <a:gd name="T62" fmla="*/ 1 w 423"/>
                <a:gd name="T63" fmla="*/ 127 h 207"/>
                <a:gd name="T64" fmla="*/ 0 w 423"/>
                <a:gd name="T65" fmla="*/ 140 h 207"/>
                <a:gd name="T66" fmla="*/ 5 w 423"/>
                <a:gd name="T67" fmla="*/ 144 h 207"/>
                <a:gd name="T68" fmla="*/ 8 w 423"/>
                <a:gd name="T69" fmla="*/ 149 h 207"/>
                <a:gd name="T70" fmla="*/ 12 w 423"/>
                <a:gd name="T71" fmla="*/ 164 h 207"/>
                <a:gd name="T72" fmla="*/ 15 w 423"/>
                <a:gd name="T73" fmla="*/ 174 h 207"/>
                <a:gd name="T74" fmla="*/ 31 w 423"/>
                <a:gd name="T75" fmla="*/ 178 h 207"/>
                <a:gd name="T76" fmla="*/ 52 w 423"/>
                <a:gd name="T77" fmla="*/ 198 h 207"/>
                <a:gd name="T78" fmla="*/ 62 w 423"/>
                <a:gd name="T79" fmla="*/ 203 h 207"/>
                <a:gd name="T80" fmla="*/ 126 w 423"/>
                <a:gd name="T81" fmla="*/ 203 h 207"/>
                <a:gd name="T82" fmla="*/ 146 w 423"/>
                <a:gd name="T83" fmla="*/ 198 h 207"/>
                <a:gd name="T84" fmla="*/ 142 w 423"/>
                <a:gd name="T85" fmla="*/ 183 h 207"/>
                <a:gd name="T86" fmla="*/ 160 w 423"/>
                <a:gd name="T87" fmla="*/ 172 h 207"/>
                <a:gd name="T88" fmla="*/ 196 w 423"/>
                <a:gd name="T89" fmla="*/ 167 h 207"/>
                <a:gd name="T90" fmla="*/ 197 w 423"/>
                <a:gd name="T91" fmla="*/ 158 h 207"/>
                <a:gd name="T92" fmla="*/ 214 w 423"/>
                <a:gd name="T93" fmla="*/ 157 h 207"/>
                <a:gd name="T94" fmla="*/ 223 w 423"/>
                <a:gd name="T95" fmla="*/ 163 h 207"/>
                <a:gd name="T96" fmla="*/ 242 w 423"/>
                <a:gd name="T97" fmla="*/ 158 h 207"/>
                <a:gd name="T98" fmla="*/ 248 w 423"/>
                <a:gd name="T99" fmla="*/ 152 h 207"/>
                <a:gd name="T100" fmla="*/ 262 w 423"/>
                <a:gd name="T101" fmla="*/ 143 h 207"/>
                <a:gd name="T102" fmla="*/ 271 w 423"/>
                <a:gd name="T103" fmla="*/ 126 h 207"/>
                <a:gd name="T104" fmla="*/ 296 w 423"/>
                <a:gd name="T105" fmla="*/ 117 h 207"/>
                <a:gd name="T106" fmla="*/ 316 w 423"/>
                <a:gd name="T107" fmla="*/ 124 h 207"/>
                <a:gd name="T108" fmla="*/ 331 w 423"/>
                <a:gd name="T109" fmla="*/ 121 h 207"/>
                <a:gd name="T110" fmla="*/ 346 w 423"/>
                <a:gd name="T111" fmla="*/ 120 h 207"/>
                <a:gd name="T112" fmla="*/ 356 w 423"/>
                <a:gd name="T113" fmla="*/ 132 h 207"/>
                <a:gd name="T114" fmla="*/ 379 w 423"/>
                <a:gd name="T115" fmla="*/ 138 h 207"/>
                <a:gd name="T116" fmla="*/ 394 w 423"/>
                <a:gd name="T117" fmla="*/ 124 h 207"/>
                <a:gd name="T118" fmla="*/ 402 w 423"/>
                <a:gd name="T119" fmla="*/ 106 h 207"/>
                <a:gd name="T120" fmla="*/ 410 w 423"/>
                <a:gd name="T121" fmla="*/ 94 h 207"/>
                <a:gd name="T122" fmla="*/ 411 w 423"/>
                <a:gd name="T123" fmla="*/ 83 h 207"/>
                <a:gd name="T124" fmla="*/ 420 w 423"/>
                <a:gd name="T125" fmla="*/ 6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07">
                  <a:moveTo>
                    <a:pt x="420" y="58"/>
                  </a:moveTo>
                  <a:lnTo>
                    <a:pt x="416" y="58"/>
                  </a:lnTo>
                  <a:lnTo>
                    <a:pt x="413" y="57"/>
                  </a:lnTo>
                  <a:lnTo>
                    <a:pt x="408" y="54"/>
                  </a:lnTo>
                  <a:lnTo>
                    <a:pt x="407" y="54"/>
                  </a:lnTo>
                  <a:lnTo>
                    <a:pt x="403" y="54"/>
                  </a:lnTo>
                  <a:lnTo>
                    <a:pt x="399" y="52"/>
                  </a:lnTo>
                  <a:lnTo>
                    <a:pt x="399" y="52"/>
                  </a:lnTo>
                  <a:lnTo>
                    <a:pt x="399" y="50"/>
                  </a:lnTo>
                  <a:lnTo>
                    <a:pt x="399" y="50"/>
                  </a:lnTo>
                  <a:lnTo>
                    <a:pt x="399" y="49"/>
                  </a:lnTo>
                  <a:lnTo>
                    <a:pt x="399" y="49"/>
                  </a:lnTo>
                  <a:lnTo>
                    <a:pt x="397" y="49"/>
                  </a:lnTo>
                  <a:lnTo>
                    <a:pt x="396" y="49"/>
                  </a:lnTo>
                  <a:lnTo>
                    <a:pt x="396" y="49"/>
                  </a:lnTo>
                  <a:lnTo>
                    <a:pt x="394" y="47"/>
                  </a:lnTo>
                  <a:lnTo>
                    <a:pt x="391" y="46"/>
                  </a:lnTo>
                  <a:lnTo>
                    <a:pt x="387" y="46"/>
                  </a:lnTo>
                  <a:lnTo>
                    <a:pt x="385" y="44"/>
                  </a:lnTo>
                  <a:lnTo>
                    <a:pt x="383" y="40"/>
                  </a:lnTo>
                  <a:lnTo>
                    <a:pt x="383" y="37"/>
                  </a:lnTo>
                  <a:lnTo>
                    <a:pt x="380" y="33"/>
                  </a:lnTo>
                  <a:lnTo>
                    <a:pt x="379" y="30"/>
                  </a:lnTo>
                  <a:lnTo>
                    <a:pt x="374" y="29"/>
                  </a:lnTo>
                  <a:lnTo>
                    <a:pt x="371" y="26"/>
                  </a:lnTo>
                  <a:lnTo>
                    <a:pt x="370" y="24"/>
                  </a:lnTo>
                  <a:lnTo>
                    <a:pt x="368" y="26"/>
                  </a:lnTo>
                  <a:lnTo>
                    <a:pt x="368" y="26"/>
                  </a:lnTo>
                  <a:lnTo>
                    <a:pt x="367" y="27"/>
                  </a:lnTo>
                  <a:lnTo>
                    <a:pt x="365" y="29"/>
                  </a:lnTo>
                  <a:lnTo>
                    <a:pt x="365" y="27"/>
                  </a:lnTo>
                  <a:lnTo>
                    <a:pt x="362" y="23"/>
                  </a:lnTo>
                  <a:lnTo>
                    <a:pt x="360" y="23"/>
                  </a:lnTo>
                  <a:lnTo>
                    <a:pt x="360" y="21"/>
                  </a:lnTo>
                  <a:lnTo>
                    <a:pt x="359" y="23"/>
                  </a:lnTo>
                  <a:lnTo>
                    <a:pt x="359" y="23"/>
                  </a:lnTo>
                  <a:lnTo>
                    <a:pt x="357" y="21"/>
                  </a:lnTo>
                  <a:lnTo>
                    <a:pt x="356" y="20"/>
                  </a:lnTo>
                  <a:lnTo>
                    <a:pt x="356" y="20"/>
                  </a:lnTo>
                  <a:lnTo>
                    <a:pt x="354" y="20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6" y="21"/>
                  </a:lnTo>
                  <a:lnTo>
                    <a:pt x="345" y="21"/>
                  </a:lnTo>
                  <a:lnTo>
                    <a:pt x="342" y="21"/>
                  </a:lnTo>
                  <a:lnTo>
                    <a:pt x="340" y="21"/>
                  </a:lnTo>
                  <a:lnTo>
                    <a:pt x="334" y="20"/>
                  </a:lnTo>
                  <a:lnTo>
                    <a:pt x="330" y="17"/>
                  </a:lnTo>
                  <a:lnTo>
                    <a:pt x="328" y="17"/>
                  </a:lnTo>
                  <a:lnTo>
                    <a:pt x="326" y="18"/>
                  </a:lnTo>
                  <a:lnTo>
                    <a:pt x="325" y="21"/>
                  </a:lnTo>
                  <a:lnTo>
                    <a:pt x="323" y="23"/>
                  </a:lnTo>
                  <a:lnTo>
                    <a:pt x="322" y="23"/>
                  </a:lnTo>
                  <a:lnTo>
                    <a:pt x="320" y="21"/>
                  </a:lnTo>
                  <a:lnTo>
                    <a:pt x="320" y="21"/>
                  </a:lnTo>
                  <a:lnTo>
                    <a:pt x="319" y="20"/>
                  </a:lnTo>
                  <a:lnTo>
                    <a:pt x="317" y="20"/>
                  </a:lnTo>
                  <a:lnTo>
                    <a:pt x="314" y="20"/>
                  </a:lnTo>
                  <a:lnTo>
                    <a:pt x="313" y="21"/>
                  </a:lnTo>
                  <a:lnTo>
                    <a:pt x="311" y="23"/>
                  </a:lnTo>
                  <a:lnTo>
                    <a:pt x="313" y="23"/>
                  </a:lnTo>
                  <a:lnTo>
                    <a:pt x="314" y="24"/>
                  </a:lnTo>
                  <a:lnTo>
                    <a:pt x="316" y="26"/>
                  </a:lnTo>
                  <a:lnTo>
                    <a:pt x="314" y="27"/>
                  </a:lnTo>
                  <a:lnTo>
                    <a:pt x="313" y="27"/>
                  </a:lnTo>
                  <a:lnTo>
                    <a:pt x="311" y="27"/>
                  </a:lnTo>
                  <a:lnTo>
                    <a:pt x="311" y="27"/>
                  </a:lnTo>
                  <a:lnTo>
                    <a:pt x="310" y="29"/>
                  </a:lnTo>
                  <a:lnTo>
                    <a:pt x="306" y="33"/>
                  </a:lnTo>
                  <a:lnTo>
                    <a:pt x="305" y="33"/>
                  </a:lnTo>
                  <a:lnTo>
                    <a:pt x="303" y="35"/>
                  </a:lnTo>
                  <a:lnTo>
                    <a:pt x="302" y="35"/>
                  </a:lnTo>
                  <a:lnTo>
                    <a:pt x="300" y="33"/>
                  </a:lnTo>
                  <a:lnTo>
                    <a:pt x="299" y="32"/>
                  </a:lnTo>
                  <a:lnTo>
                    <a:pt x="297" y="32"/>
                  </a:lnTo>
                  <a:lnTo>
                    <a:pt x="297" y="32"/>
                  </a:lnTo>
                  <a:lnTo>
                    <a:pt x="296" y="32"/>
                  </a:lnTo>
                  <a:lnTo>
                    <a:pt x="294" y="30"/>
                  </a:lnTo>
                  <a:lnTo>
                    <a:pt x="293" y="30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2" y="23"/>
                  </a:lnTo>
                  <a:lnTo>
                    <a:pt x="280" y="23"/>
                  </a:lnTo>
                  <a:lnTo>
                    <a:pt x="280" y="23"/>
                  </a:lnTo>
                  <a:lnTo>
                    <a:pt x="279" y="23"/>
                  </a:lnTo>
                  <a:lnTo>
                    <a:pt x="277" y="24"/>
                  </a:lnTo>
                  <a:lnTo>
                    <a:pt x="277" y="26"/>
                  </a:lnTo>
                  <a:lnTo>
                    <a:pt x="276" y="26"/>
                  </a:lnTo>
                  <a:lnTo>
                    <a:pt x="274" y="26"/>
                  </a:lnTo>
                  <a:lnTo>
                    <a:pt x="268" y="23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2" y="24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7" y="24"/>
                  </a:lnTo>
                  <a:lnTo>
                    <a:pt x="257" y="24"/>
                  </a:lnTo>
                  <a:lnTo>
                    <a:pt x="257" y="26"/>
                  </a:lnTo>
                  <a:lnTo>
                    <a:pt x="257" y="27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49" y="30"/>
                  </a:lnTo>
                  <a:lnTo>
                    <a:pt x="249" y="30"/>
                  </a:lnTo>
                  <a:lnTo>
                    <a:pt x="248" y="32"/>
                  </a:lnTo>
                  <a:lnTo>
                    <a:pt x="246" y="33"/>
                  </a:lnTo>
                  <a:lnTo>
                    <a:pt x="245" y="33"/>
                  </a:lnTo>
                  <a:lnTo>
                    <a:pt x="245" y="32"/>
                  </a:lnTo>
                  <a:lnTo>
                    <a:pt x="245" y="33"/>
                  </a:lnTo>
                  <a:lnTo>
                    <a:pt x="243" y="37"/>
                  </a:lnTo>
                  <a:lnTo>
                    <a:pt x="242" y="38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40" y="44"/>
                  </a:lnTo>
                  <a:lnTo>
                    <a:pt x="240" y="47"/>
                  </a:lnTo>
                  <a:lnTo>
                    <a:pt x="239" y="49"/>
                  </a:lnTo>
                  <a:lnTo>
                    <a:pt x="236" y="47"/>
                  </a:lnTo>
                  <a:lnTo>
                    <a:pt x="233" y="43"/>
                  </a:lnTo>
                  <a:lnTo>
                    <a:pt x="229" y="43"/>
                  </a:lnTo>
                  <a:lnTo>
                    <a:pt x="228" y="43"/>
                  </a:lnTo>
                  <a:lnTo>
                    <a:pt x="226" y="44"/>
                  </a:lnTo>
                  <a:lnTo>
                    <a:pt x="225" y="44"/>
                  </a:lnTo>
                  <a:lnTo>
                    <a:pt x="223" y="46"/>
                  </a:lnTo>
                  <a:lnTo>
                    <a:pt x="222" y="47"/>
                  </a:lnTo>
                  <a:lnTo>
                    <a:pt x="219" y="46"/>
                  </a:lnTo>
                  <a:lnTo>
                    <a:pt x="217" y="46"/>
                  </a:lnTo>
                  <a:lnTo>
                    <a:pt x="216" y="44"/>
                  </a:lnTo>
                  <a:lnTo>
                    <a:pt x="216" y="44"/>
                  </a:lnTo>
                  <a:lnTo>
                    <a:pt x="216" y="43"/>
                  </a:lnTo>
                  <a:lnTo>
                    <a:pt x="219" y="38"/>
                  </a:lnTo>
                  <a:lnTo>
                    <a:pt x="219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5"/>
                  </a:lnTo>
                  <a:lnTo>
                    <a:pt x="220" y="35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2"/>
                  </a:lnTo>
                  <a:lnTo>
                    <a:pt x="219" y="27"/>
                  </a:lnTo>
                  <a:lnTo>
                    <a:pt x="219" y="26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4" y="24"/>
                  </a:lnTo>
                  <a:lnTo>
                    <a:pt x="212" y="24"/>
                  </a:lnTo>
                  <a:lnTo>
                    <a:pt x="211" y="24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6" y="21"/>
                  </a:lnTo>
                  <a:lnTo>
                    <a:pt x="206" y="20"/>
                  </a:lnTo>
                  <a:lnTo>
                    <a:pt x="206" y="18"/>
                  </a:lnTo>
                  <a:lnTo>
                    <a:pt x="208" y="18"/>
                  </a:lnTo>
                  <a:lnTo>
                    <a:pt x="205" y="18"/>
                  </a:lnTo>
                  <a:lnTo>
                    <a:pt x="203" y="17"/>
                  </a:lnTo>
                  <a:lnTo>
                    <a:pt x="202" y="17"/>
                  </a:lnTo>
                  <a:lnTo>
                    <a:pt x="202" y="15"/>
                  </a:lnTo>
                  <a:lnTo>
                    <a:pt x="200" y="12"/>
                  </a:lnTo>
                  <a:lnTo>
                    <a:pt x="199" y="6"/>
                  </a:lnTo>
                  <a:lnTo>
                    <a:pt x="197" y="4"/>
                  </a:lnTo>
                  <a:lnTo>
                    <a:pt x="196" y="3"/>
                  </a:lnTo>
                  <a:lnTo>
                    <a:pt x="196" y="1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6" y="7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3" y="9"/>
                  </a:lnTo>
                  <a:lnTo>
                    <a:pt x="182" y="9"/>
                  </a:lnTo>
                  <a:lnTo>
                    <a:pt x="180" y="9"/>
                  </a:lnTo>
                  <a:lnTo>
                    <a:pt x="179" y="9"/>
                  </a:lnTo>
                  <a:lnTo>
                    <a:pt x="177" y="10"/>
                  </a:lnTo>
                  <a:lnTo>
                    <a:pt x="177" y="12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4" y="21"/>
                  </a:lnTo>
                  <a:lnTo>
                    <a:pt x="172" y="23"/>
                  </a:lnTo>
                  <a:lnTo>
                    <a:pt x="171" y="23"/>
                  </a:lnTo>
                  <a:lnTo>
                    <a:pt x="169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6" y="21"/>
                  </a:lnTo>
                  <a:lnTo>
                    <a:pt x="165" y="21"/>
                  </a:lnTo>
                  <a:lnTo>
                    <a:pt x="163" y="23"/>
                  </a:lnTo>
                  <a:lnTo>
                    <a:pt x="160" y="24"/>
                  </a:lnTo>
                  <a:lnTo>
                    <a:pt x="159" y="24"/>
                  </a:lnTo>
                  <a:lnTo>
                    <a:pt x="157" y="24"/>
                  </a:lnTo>
                  <a:lnTo>
                    <a:pt x="157" y="23"/>
                  </a:lnTo>
                  <a:lnTo>
                    <a:pt x="157" y="18"/>
                  </a:lnTo>
                  <a:lnTo>
                    <a:pt x="157" y="17"/>
                  </a:lnTo>
                  <a:lnTo>
                    <a:pt x="157" y="15"/>
                  </a:lnTo>
                  <a:lnTo>
                    <a:pt x="157" y="13"/>
                  </a:lnTo>
                  <a:lnTo>
                    <a:pt x="157" y="12"/>
                  </a:lnTo>
                  <a:lnTo>
                    <a:pt x="155" y="10"/>
                  </a:lnTo>
                  <a:lnTo>
                    <a:pt x="148" y="10"/>
                  </a:lnTo>
                  <a:lnTo>
                    <a:pt x="145" y="10"/>
                  </a:lnTo>
                  <a:lnTo>
                    <a:pt x="143" y="10"/>
                  </a:lnTo>
                  <a:lnTo>
                    <a:pt x="140" y="13"/>
                  </a:lnTo>
                  <a:lnTo>
                    <a:pt x="139" y="13"/>
                  </a:lnTo>
                  <a:lnTo>
                    <a:pt x="135" y="12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1" y="12"/>
                  </a:lnTo>
                  <a:lnTo>
                    <a:pt x="128" y="12"/>
                  </a:lnTo>
                  <a:lnTo>
                    <a:pt x="126" y="13"/>
                  </a:lnTo>
                  <a:lnTo>
                    <a:pt x="125" y="13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5" y="18"/>
                  </a:lnTo>
                  <a:lnTo>
                    <a:pt x="122" y="20"/>
                  </a:lnTo>
                  <a:lnTo>
                    <a:pt x="119" y="23"/>
                  </a:lnTo>
                  <a:lnTo>
                    <a:pt x="117" y="24"/>
                  </a:lnTo>
                  <a:lnTo>
                    <a:pt x="114" y="24"/>
                  </a:lnTo>
                  <a:lnTo>
                    <a:pt x="114" y="29"/>
                  </a:lnTo>
                  <a:lnTo>
                    <a:pt x="112" y="30"/>
                  </a:lnTo>
                  <a:lnTo>
                    <a:pt x="109" y="32"/>
                  </a:lnTo>
                  <a:lnTo>
                    <a:pt x="100" y="37"/>
                  </a:lnTo>
                  <a:lnTo>
                    <a:pt x="97" y="38"/>
                  </a:lnTo>
                  <a:lnTo>
                    <a:pt x="95" y="41"/>
                  </a:lnTo>
                  <a:lnTo>
                    <a:pt x="94" y="44"/>
                  </a:lnTo>
                  <a:lnTo>
                    <a:pt x="94" y="49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7"/>
                  </a:lnTo>
                  <a:lnTo>
                    <a:pt x="92" y="60"/>
                  </a:lnTo>
                  <a:lnTo>
                    <a:pt x="91" y="63"/>
                  </a:lnTo>
                  <a:lnTo>
                    <a:pt x="89" y="64"/>
                  </a:lnTo>
                  <a:lnTo>
                    <a:pt x="86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0" y="66"/>
                  </a:lnTo>
                  <a:lnTo>
                    <a:pt x="78" y="69"/>
                  </a:lnTo>
                  <a:lnTo>
                    <a:pt x="78" y="70"/>
                  </a:lnTo>
                  <a:lnTo>
                    <a:pt x="77" y="74"/>
                  </a:lnTo>
                  <a:lnTo>
                    <a:pt x="77" y="75"/>
                  </a:lnTo>
                  <a:lnTo>
                    <a:pt x="75" y="77"/>
                  </a:lnTo>
                  <a:lnTo>
                    <a:pt x="74" y="77"/>
                  </a:lnTo>
                  <a:lnTo>
                    <a:pt x="72" y="77"/>
                  </a:lnTo>
                  <a:lnTo>
                    <a:pt x="71" y="77"/>
                  </a:lnTo>
                  <a:lnTo>
                    <a:pt x="69" y="78"/>
                  </a:lnTo>
                  <a:lnTo>
                    <a:pt x="66" y="83"/>
                  </a:lnTo>
                  <a:lnTo>
                    <a:pt x="65" y="83"/>
                  </a:lnTo>
                  <a:lnTo>
                    <a:pt x="51" y="89"/>
                  </a:lnTo>
                  <a:lnTo>
                    <a:pt x="48" y="89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3" y="86"/>
                  </a:lnTo>
                  <a:lnTo>
                    <a:pt x="42" y="87"/>
                  </a:lnTo>
                  <a:lnTo>
                    <a:pt x="40" y="87"/>
                  </a:lnTo>
                  <a:lnTo>
                    <a:pt x="38" y="87"/>
                  </a:lnTo>
                  <a:lnTo>
                    <a:pt x="31" y="84"/>
                  </a:lnTo>
                  <a:lnTo>
                    <a:pt x="28" y="83"/>
                  </a:lnTo>
                  <a:lnTo>
                    <a:pt x="23" y="84"/>
                  </a:lnTo>
                  <a:lnTo>
                    <a:pt x="20" y="86"/>
                  </a:lnTo>
                  <a:lnTo>
                    <a:pt x="18" y="87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5" y="94"/>
                  </a:lnTo>
                  <a:lnTo>
                    <a:pt x="14" y="97"/>
                  </a:lnTo>
                  <a:lnTo>
                    <a:pt x="9" y="107"/>
                  </a:lnTo>
                  <a:lnTo>
                    <a:pt x="9" y="109"/>
                  </a:lnTo>
                  <a:lnTo>
                    <a:pt x="8" y="110"/>
                  </a:lnTo>
                  <a:lnTo>
                    <a:pt x="8" y="112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6" y="121"/>
                  </a:lnTo>
                  <a:lnTo>
                    <a:pt x="5" y="121"/>
                  </a:lnTo>
                  <a:lnTo>
                    <a:pt x="5" y="123"/>
                  </a:lnTo>
                  <a:lnTo>
                    <a:pt x="5" y="124"/>
                  </a:lnTo>
                  <a:lnTo>
                    <a:pt x="1" y="127"/>
                  </a:lnTo>
                  <a:lnTo>
                    <a:pt x="1" y="129"/>
                  </a:lnTo>
                  <a:lnTo>
                    <a:pt x="1" y="131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1" y="140"/>
                  </a:lnTo>
                  <a:lnTo>
                    <a:pt x="3" y="140"/>
                  </a:lnTo>
                  <a:lnTo>
                    <a:pt x="3" y="141"/>
                  </a:lnTo>
                  <a:lnTo>
                    <a:pt x="5" y="141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5" y="144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2"/>
                  </a:lnTo>
                  <a:lnTo>
                    <a:pt x="9" y="155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4" y="164"/>
                  </a:lnTo>
                  <a:lnTo>
                    <a:pt x="15" y="166"/>
                  </a:lnTo>
                  <a:lnTo>
                    <a:pt x="15" y="167"/>
                  </a:lnTo>
                  <a:lnTo>
                    <a:pt x="17" y="167"/>
                  </a:lnTo>
                  <a:lnTo>
                    <a:pt x="17" y="169"/>
                  </a:lnTo>
                  <a:lnTo>
                    <a:pt x="17" y="171"/>
                  </a:lnTo>
                  <a:lnTo>
                    <a:pt x="15" y="171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7" y="174"/>
                  </a:lnTo>
                  <a:lnTo>
                    <a:pt x="17" y="175"/>
                  </a:lnTo>
                  <a:lnTo>
                    <a:pt x="18" y="177"/>
                  </a:lnTo>
                  <a:lnTo>
                    <a:pt x="20" y="178"/>
                  </a:lnTo>
                  <a:lnTo>
                    <a:pt x="23" y="180"/>
                  </a:lnTo>
                  <a:lnTo>
                    <a:pt x="25" y="178"/>
                  </a:lnTo>
                  <a:lnTo>
                    <a:pt x="28" y="178"/>
                  </a:lnTo>
                  <a:lnTo>
                    <a:pt x="31" y="178"/>
                  </a:lnTo>
                  <a:lnTo>
                    <a:pt x="32" y="180"/>
                  </a:lnTo>
                  <a:lnTo>
                    <a:pt x="37" y="180"/>
                  </a:lnTo>
                  <a:lnTo>
                    <a:pt x="38" y="181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48" y="194"/>
                  </a:lnTo>
                  <a:lnTo>
                    <a:pt x="49" y="194"/>
                  </a:lnTo>
                  <a:lnTo>
                    <a:pt x="51" y="194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5" y="198"/>
                  </a:lnTo>
                  <a:lnTo>
                    <a:pt x="55" y="198"/>
                  </a:lnTo>
                  <a:lnTo>
                    <a:pt x="57" y="198"/>
                  </a:lnTo>
                  <a:lnTo>
                    <a:pt x="57" y="198"/>
                  </a:lnTo>
                  <a:lnTo>
                    <a:pt x="58" y="200"/>
                  </a:lnTo>
                  <a:lnTo>
                    <a:pt x="60" y="201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5" y="204"/>
                  </a:lnTo>
                  <a:lnTo>
                    <a:pt x="66" y="206"/>
                  </a:lnTo>
                  <a:lnTo>
                    <a:pt x="72" y="207"/>
                  </a:lnTo>
                  <a:lnTo>
                    <a:pt x="77" y="207"/>
                  </a:lnTo>
                  <a:lnTo>
                    <a:pt x="94" y="206"/>
                  </a:lnTo>
                  <a:lnTo>
                    <a:pt x="103" y="207"/>
                  </a:lnTo>
                  <a:lnTo>
                    <a:pt x="106" y="207"/>
                  </a:lnTo>
                  <a:lnTo>
                    <a:pt x="112" y="204"/>
                  </a:lnTo>
                  <a:lnTo>
                    <a:pt x="126" y="203"/>
                  </a:lnTo>
                  <a:lnTo>
                    <a:pt x="131" y="203"/>
                  </a:lnTo>
                  <a:lnTo>
                    <a:pt x="132" y="204"/>
                  </a:lnTo>
                  <a:lnTo>
                    <a:pt x="135" y="204"/>
                  </a:lnTo>
                  <a:lnTo>
                    <a:pt x="137" y="204"/>
                  </a:lnTo>
                  <a:lnTo>
                    <a:pt x="139" y="203"/>
                  </a:lnTo>
                  <a:lnTo>
                    <a:pt x="142" y="200"/>
                  </a:lnTo>
                  <a:lnTo>
                    <a:pt x="143" y="200"/>
                  </a:lnTo>
                  <a:lnTo>
                    <a:pt x="145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3" y="197"/>
                  </a:lnTo>
                  <a:lnTo>
                    <a:pt x="142" y="194"/>
                  </a:lnTo>
                  <a:lnTo>
                    <a:pt x="142" y="192"/>
                  </a:lnTo>
                  <a:lnTo>
                    <a:pt x="142" y="189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2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3" y="181"/>
                  </a:lnTo>
                  <a:lnTo>
                    <a:pt x="145" y="181"/>
                  </a:lnTo>
                  <a:lnTo>
                    <a:pt x="145" y="180"/>
                  </a:lnTo>
                  <a:lnTo>
                    <a:pt x="146" y="177"/>
                  </a:lnTo>
                  <a:lnTo>
                    <a:pt x="148" y="175"/>
                  </a:lnTo>
                  <a:lnTo>
                    <a:pt x="155" y="174"/>
                  </a:lnTo>
                  <a:lnTo>
                    <a:pt x="159" y="174"/>
                  </a:lnTo>
                  <a:lnTo>
                    <a:pt x="160" y="172"/>
                  </a:lnTo>
                  <a:lnTo>
                    <a:pt x="162" y="172"/>
                  </a:lnTo>
                  <a:lnTo>
                    <a:pt x="163" y="172"/>
                  </a:lnTo>
                  <a:lnTo>
                    <a:pt x="168" y="172"/>
                  </a:lnTo>
                  <a:lnTo>
                    <a:pt x="177" y="174"/>
                  </a:lnTo>
                  <a:lnTo>
                    <a:pt x="177" y="174"/>
                  </a:lnTo>
                  <a:lnTo>
                    <a:pt x="182" y="171"/>
                  </a:lnTo>
                  <a:lnTo>
                    <a:pt x="192" y="171"/>
                  </a:lnTo>
                  <a:lnTo>
                    <a:pt x="196" y="167"/>
                  </a:lnTo>
                  <a:lnTo>
                    <a:pt x="196" y="167"/>
                  </a:lnTo>
                  <a:lnTo>
                    <a:pt x="196" y="166"/>
                  </a:lnTo>
                  <a:lnTo>
                    <a:pt x="196" y="166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7" y="163"/>
                  </a:lnTo>
                  <a:lnTo>
                    <a:pt x="197" y="158"/>
                  </a:lnTo>
                  <a:lnTo>
                    <a:pt x="199" y="157"/>
                  </a:lnTo>
                  <a:lnTo>
                    <a:pt x="200" y="157"/>
                  </a:lnTo>
                  <a:lnTo>
                    <a:pt x="206" y="155"/>
                  </a:lnTo>
                  <a:lnTo>
                    <a:pt x="208" y="155"/>
                  </a:lnTo>
                  <a:lnTo>
                    <a:pt x="208" y="155"/>
                  </a:lnTo>
                  <a:lnTo>
                    <a:pt x="209" y="155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4" y="157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60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6" y="166"/>
                  </a:lnTo>
                  <a:lnTo>
                    <a:pt x="228" y="166"/>
                  </a:lnTo>
                  <a:lnTo>
                    <a:pt x="229" y="166"/>
                  </a:lnTo>
                  <a:lnTo>
                    <a:pt x="233" y="163"/>
                  </a:lnTo>
                  <a:lnTo>
                    <a:pt x="234" y="161"/>
                  </a:lnTo>
                  <a:lnTo>
                    <a:pt x="237" y="160"/>
                  </a:lnTo>
                  <a:lnTo>
                    <a:pt x="237" y="160"/>
                  </a:lnTo>
                  <a:lnTo>
                    <a:pt x="240" y="158"/>
                  </a:lnTo>
                  <a:lnTo>
                    <a:pt x="242" y="158"/>
                  </a:lnTo>
                  <a:lnTo>
                    <a:pt x="242" y="157"/>
                  </a:lnTo>
                  <a:lnTo>
                    <a:pt x="243" y="157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6" y="152"/>
                  </a:lnTo>
                  <a:lnTo>
                    <a:pt x="248" y="152"/>
                  </a:lnTo>
                  <a:lnTo>
                    <a:pt x="248" y="152"/>
                  </a:lnTo>
                  <a:lnTo>
                    <a:pt x="251" y="151"/>
                  </a:lnTo>
                  <a:lnTo>
                    <a:pt x="251" y="149"/>
                  </a:lnTo>
                  <a:lnTo>
                    <a:pt x="253" y="151"/>
                  </a:lnTo>
                  <a:lnTo>
                    <a:pt x="254" y="152"/>
                  </a:lnTo>
                  <a:lnTo>
                    <a:pt x="256" y="152"/>
                  </a:lnTo>
                  <a:lnTo>
                    <a:pt x="257" y="151"/>
                  </a:lnTo>
                  <a:lnTo>
                    <a:pt x="259" y="149"/>
                  </a:lnTo>
                  <a:lnTo>
                    <a:pt x="260" y="146"/>
                  </a:lnTo>
                  <a:lnTo>
                    <a:pt x="262" y="143"/>
                  </a:lnTo>
                  <a:lnTo>
                    <a:pt x="265" y="134"/>
                  </a:lnTo>
                  <a:lnTo>
                    <a:pt x="266" y="132"/>
                  </a:lnTo>
                  <a:lnTo>
                    <a:pt x="266" y="131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4"/>
                  </a:lnTo>
                  <a:lnTo>
                    <a:pt x="271" y="123"/>
                  </a:lnTo>
                  <a:lnTo>
                    <a:pt x="271" y="121"/>
                  </a:lnTo>
                  <a:lnTo>
                    <a:pt x="271" y="121"/>
                  </a:lnTo>
                  <a:lnTo>
                    <a:pt x="273" y="120"/>
                  </a:lnTo>
                  <a:lnTo>
                    <a:pt x="277" y="120"/>
                  </a:lnTo>
                  <a:lnTo>
                    <a:pt x="293" y="117"/>
                  </a:lnTo>
                  <a:lnTo>
                    <a:pt x="294" y="117"/>
                  </a:lnTo>
                  <a:lnTo>
                    <a:pt x="296" y="117"/>
                  </a:lnTo>
                  <a:lnTo>
                    <a:pt x="297" y="118"/>
                  </a:lnTo>
                  <a:lnTo>
                    <a:pt x="299" y="120"/>
                  </a:lnTo>
                  <a:lnTo>
                    <a:pt x="300" y="120"/>
                  </a:lnTo>
                  <a:lnTo>
                    <a:pt x="305" y="121"/>
                  </a:lnTo>
                  <a:lnTo>
                    <a:pt x="308" y="123"/>
                  </a:lnTo>
                  <a:lnTo>
                    <a:pt x="310" y="121"/>
                  </a:lnTo>
                  <a:lnTo>
                    <a:pt x="311" y="123"/>
                  </a:lnTo>
                  <a:lnTo>
                    <a:pt x="314" y="123"/>
                  </a:lnTo>
                  <a:lnTo>
                    <a:pt x="316" y="124"/>
                  </a:lnTo>
                  <a:lnTo>
                    <a:pt x="317" y="126"/>
                  </a:lnTo>
                  <a:lnTo>
                    <a:pt x="323" y="123"/>
                  </a:lnTo>
                  <a:lnTo>
                    <a:pt x="325" y="121"/>
                  </a:lnTo>
                  <a:lnTo>
                    <a:pt x="326" y="123"/>
                  </a:lnTo>
                  <a:lnTo>
                    <a:pt x="328" y="123"/>
                  </a:lnTo>
                  <a:lnTo>
                    <a:pt x="328" y="124"/>
                  </a:lnTo>
                  <a:lnTo>
                    <a:pt x="330" y="123"/>
                  </a:lnTo>
                  <a:lnTo>
                    <a:pt x="331" y="121"/>
                  </a:lnTo>
                  <a:lnTo>
                    <a:pt x="331" y="121"/>
                  </a:lnTo>
                  <a:lnTo>
                    <a:pt x="331" y="120"/>
                  </a:lnTo>
                  <a:lnTo>
                    <a:pt x="333" y="118"/>
                  </a:lnTo>
                  <a:lnTo>
                    <a:pt x="334" y="118"/>
                  </a:lnTo>
                  <a:lnTo>
                    <a:pt x="337" y="118"/>
                  </a:lnTo>
                  <a:lnTo>
                    <a:pt x="340" y="117"/>
                  </a:lnTo>
                  <a:lnTo>
                    <a:pt x="342" y="118"/>
                  </a:lnTo>
                  <a:lnTo>
                    <a:pt x="345" y="120"/>
                  </a:lnTo>
                  <a:lnTo>
                    <a:pt x="345" y="120"/>
                  </a:lnTo>
                  <a:lnTo>
                    <a:pt x="346" y="120"/>
                  </a:lnTo>
                  <a:lnTo>
                    <a:pt x="346" y="121"/>
                  </a:lnTo>
                  <a:lnTo>
                    <a:pt x="348" y="123"/>
                  </a:lnTo>
                  <a:lnTo>
                    <a:pt x="348" y="124"/>
                  </a:lnTo>
                  <a:lnTo>
                    <a:pt x="350" y="124"/>
                  </a:lnTo>
                  <a:lnTo>
                    <a:pt x="351" y="124"/>
                  </a:lnTo>
                  <a:lnTo>
                    <a:pt x="353" y="124"/>
                  </a:lnTo>
                  <a:lnTo>
                    <a:pt x="354" y="126"/>
                  </a:lnTo>
                  <a:lnTo>
                    <a:pt x="354" y="131"/>
                  </a:lnTo>
                  <a:lnTo>
                    <a:pt x="356" y="132"/>
                  </a:lnTo>
                  <a:lnTo>
                    <a:pt x="359" y="138"/>
                  </a:lnTo>
                  <a:lnTo>
                    <a:pt x="362" y="140"/>
                  </a:lnTo>
                  <a:lnTo>
                    <a:pt x="363" y="141"/>
                  </a:lnTo>
                  <a:lnTo>
                    <a:pt x="365" y="143"/>
                  </a:lnTo>
                  <a:lnTo>
                    <a:pt x="368" y="143"/>
                  </a:lnTo>
                  <a:lnTo>
                    <a:pt x="371" y="140"/>
                  </a:lnTo>
                  <a:lnTo>
                    <a:pt x="374" y="140"/>
                  </a:lnTo>
                  <a:lnTo>
                    <a:pt x="377" y="138"/>
                  </a:lnTo>
                  <a:lnTo>
                    <a:pt x="379" y="138"/>
                  </a:lnTo>
                  <a:lnTo>
                    <a:pt x="382" y="138"/>
                  </a:lnTo>
                  <a:lnTo>
                    <a:pt x="383" y="138"/>
                  </a:lnTo>
                  <a:lnTo>
                    <a:pt x="385" y="138"/>
                  </a:lnTo>
                  <a:lnTo>
                    <a:pt x="390" y="138"/>
                  </a:lnTo>
                  <a:lnTo>
                    <a:pt x="391" y="138"/>
                  </a:lnTo>
                  <a:lnTo>
                    <a:pt x="393" y="137"/>
                  </a:lnTo>
                  <a:lnTo>
                    <a:pt x="393" y="135"/>
                  </a:lnTo>
                  <a:lnTo>
                    <a:pt x="393" y="126"/>
                  </a:lnTo>
                  <a:lnTo>
                    <a:pt x="394" y="124"/>
                  </a:lnTo>
                  <a:lnTo>
                    <a:pt x="394" y="123"/>
                  </a:lnTo>
                  <a:lnTo>
                    <a:pt x="394" y="118"/>
                  </a:lnTo>
                  <a:lnTo>
                    <a:pt x="394" y="117"/>
                  </a:lnTo>
                  <a:lnTo>
                    <a:pt x="394" y="115"/>
                  </a:lnTo>
                  <a:lnTo>
                    <a:pt x="400" y="110"/>
                  </a:lnTo>
                  <a:lnTo>
                    <a:pt x="400" y="109"/>
                  </a:lnTo>
                  <a:lnTo>
                    <a:pt x="400" y="107"/>
                  </a:lnTo>
                  <a:lnTo>
                    <a:pt x="402" y="107"/>
                  </a:lnTo>
                  <a:lnTo>
                    <a:pt x="402" y="106"/>
                  </a:lnTo>
                  <a:lnTo>
                    <a:pt x="405" y="106"/>
                  </a:lnTo>
                  <a:lnTo>
                    <a:pt x="405" y="106"/>
                  </a:lnTo>
                  <a:lnTo>
                    <a:pt x="407" y="104"/>
                  </a:lnTo>
                  <a:lnTo>
                    <a:pt x="408" y="101"/>
                  </a:lnTo>
                  <a:lnTo>
                    <a:pt x="408" y="100"/>
                  </a:lnTo>
                  <a:lnTo>
                    <a:pt x="408" y="97"/>
                  </a:lnTo>
                  <a:lnTo>
                    <a:pt x="408" y="95"/>
                  </a:lnTo>
                  <a:lnTo>
                    <a:pt x="408" y="95"/>
                  </a:lnTo>
                  <a:lnTo>
                    <a:pt x="410" y="94"/>
                  </a:lnTo>
                  <a:lnTo>
                    <a:pt x="410" y="94"/>
                  </a:lnTo>
                  <a:lnTo>
                    <a:pt x="411" y="92"/>
                  </a:lnTo>
                  <a:lnTo>
                    <a:pt x="411" y="90"/>
                  </a:lnTo>
                  <a:lnTo>
                    <a:pt x="411" y="87"/>
                  </a:lnTo>
                  <a:lnTo>
                    <a:pt x="411" y="86"/>
                  </a:lnTo>
                  <a:lnTo>
                    <a:pt x="411" y="86"/>
                  </a:lnTo>
                  <a:lnTo>
                    <a:pt x="411" y="84"/>
                  </a:lnTo>
                  <a:lnTo>
                    <a:pt x="411" y="84"/>
                  </a:lnTo>
                  <a:lnTo>
                    <a:pt x="411" y="83"/>
                  </a:lnTo>
                  <a:lnTo>
                    <a:pt x="413" y="81"/>
                  </a:lnTo>
                  <a:lnTo>
                    <a:pt x="414" y="80"/>
                  </a:lnTo>
                  <a:lnTo>
                    <a:pt x="414" y="80"/>
                  </a:lnTo>
                  <a:lnTo>
                    <a:pt x="414" y="78"/>
                  </a:lnTo>
                  <a:lnTo>
                    <a:pt x="414" y="78"/>
                  </a:lnTo>
                  <a:lnTo>
                    <a:pt x="416" y="75"/>
                  </a:lnTo>
                  <a:lnTo>
                    <a:pt x="417" y="70"/>
                  </a:lnTo>
                  <a:lnTo>
                    <a:pt x="419" y="70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2" y="67"/>
                  </a:lnTo>
                  <a:lnTo>
                    <a:pt x="422" y="64"/>
                  </a:lnTo>
                  <a:lnTo>
                    <a:pt x="423" y="61"/>
                  </a:lnTo>
                  <a:lnTo>
                    <a:pt x="423" y="60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gray">
            <a:xfrm>
              <a:off x="7675563" y="6726238"/>
              <a:ext cx="671513" cy="328613"/>
            </a:xfrm>
            <a:custGeom>
              <a:avLst/>
              <a:gdLst>
                <a:gd name="T0" fmla="*/ 399 w 423"/>
                <a:gd name="T1" fmla="*/ 50 h 207"/>
                <a:gd name="T2" fmla="*/ 387 w 423"/>
                <a:gd name="T3" fmla="*/ 46 h 207"/>
                <a:gd name="T4" fmla="*/ 368 w 423"/>
                <a:gd name="T5" fmla="*/ 26 h 207"/>
                <a:gd name="T6" fmla="*/ 359 w 423"/>
                <a:gd name="T7" fmla="*/ 23 h 207"/>
                <a:gd name="T8" fmla="*/ 342 w 423"/>
                <a:gd name="T9" fmla="*/ 21 h 207"/>
                <a:gd name="T10" fmla="*/ 320 w 423"/>
                <a:gd name="T11" fmla="*/ 21 h 207"/>
                <a:gd name="T12" fmla="*/ 316 w 423"/>
                <a:gd name="T13" fmla="*/ 26 h 207"/>
                <a:gd name="T14" fmla="*/ 302 w 423"/>
                <a:gd name="T15" fmla="*/ 35 h 207"/>
                <a:gd name="T16" fmla="*/ 285 w 423"/>
                <a:gd name="T17" fmla="*/ 23 h 207"/>
                <a:gd name="T18" fmla="*/ 268 w 423"/>
                <a:gd name="T19" fmla="*/ 23 h 207"/>
                <a:gd name="T20" fmla="*/ 257 w 423"/>
                <a:gd name="T21" fmla="*/ 27 h 207"/>
                <a:gd name="T22" fmla="*/ 245 w 423"/>
                <a:gd name="T23" fmla="*/ 33 h 207"/>
                <a:gd name="T24" fmla="*/ 233 w 423"/>
                <a:gd name="T25" fmla="*/ 43 h 207"/>
                <a:gd name="T26" fmla="*/ 216 w 423"/>
                <a:gd name="T27" fmla="*/ 44 h 207"/>
                <a:gd name="T28" fmla="*/ 220 w 423"/>
                <a:gd name="T29" fmla="*/ 37 h 207"/>
                <a:gd name="T30" fmla="*/ 219 w 423"/>
                <a:gd name="T31" fmla="*/ 33 h 207"/>
                <a:gd name="T32" fmla="*/ 211 w 423"/>
                <a:gd name="T33" fmla="*/ 24 h 207"/>
                <a:gd name="T34" fmla="*/ 202 w 423"/>
                <a:gd name="T35" fmla="*/ 17 h 207"/>
                <a:gd name="T36" fmla="*/ 192 w 423"/>
                <a:gd name="T37" fmla="*/ 0 h 207"/>
                <a:gd name="T38" fmla="*/ 179 w 423"/>
                <a:gd name="T39" fmla="*/ 9 h 207"/>
                <a:gd name="T40" fmla="*/ 174 w 423"/>
                <a:gd name="T41" fmla="*/ 18 h 207"/>
                <a:gd name="T42" fmla="*/ 166 w 423"/>
                <a:gd name="T43" fmla="*/ 21 h 207"/>
                <a:gd name="T44" fmla="*/ 157 w 423"/>
                <a:gd name="T45" fmla="*/ 15 h 207"/>
                <a:gd name="T46" fmla="*/ 135 w 423"/>
                <a:gd name="T47" fmla="*/ 12 h 207"/>
                <a:gd name="T48" fmla="*/ 125 w 423"/>
                <a:gd name="T49" fmla="*/ 17 h 207"/>
                <a:gd name="T50" fmla="*/ 100 w 423"/>
                <a:gd name="T51" fmla="*/ 37 h 207"/>
                <a:gd name="T52" fmla="*/ 91 w 423"/>
                <a:gd name="T53" fmla="*/ 63 h 207"/>
                <a:gd name="T54" fmla="*/ 77 w 423"/>
                <a:gd name="T55" fmla="*/ 75 h 207"/>
                <a:gd name="T56" fmla="*/ 48 w 423"/>
                <a:gd name="T57" fmla="*/ 89 h 207"/>
                <a:gd name="T58" fmla="*/ 23 w 423"/>
                <a:gd name="T59" fmla="*/ 84 h 207"/>
                <a:gd name="T60" fmla="*/ 8 w 423"/>
                <a:gd name="T61" fmla="*/ 110 h 207"/>
                <a:gd name="T62" fmla="*/ 1 w 423"/>
                <a:gd name="T63" fmla="*/ 127 h 207"/>
                <a:gd name="T64" fmla="*/ 0 w 423"/>
                <a:gd name="T65" fmla="*/ 140 h 207"/>
                <a:gd name="T66" fmla="*/ 5 w 423"/>
                <a:gd name="T67" fmla="*/ 144 h 207"/>
                <a:gd name="T68" fmla="*/ 8 w 423"/>
                <a:gd name="T69" fmla="*/ 149 h 207"/>
                <a:gd name="T70" fmla="*/ 12 w 423"/>
                <a:gd name="T71" fmla="*/ 164 h 207"/>
                <a:gd name="T72" fmla="*/ 15 w 423"/>
                <a:gd name="T73" fmla="*/ 174 h 207"/>
                <a:gd name="T74" fmla="*/ 31 w 423"/>
                <a:gd name="T75" fmla="*/ 178 h 207"/>
                <a:gd name="T76" fmla="*/ 52 w 423"/>
                <a:gd name="T77" fmla="*/ 198 h 207"/>
                <a:gd name="T78" fmla="*/ 62 w 423"/>
                <a:gd name="T79" fmla="*/ 203 h 207"/>
                <a:gd name="T80" fmla="*/ 126 w 423"/>
                <a:gd name="T81" fmla="*/ 203 h 207"/>
                <a:gd name="T82" fmla="*/ 146 w 423"/>
                <a:gd name="T83" fmla="*/ 198 h 207"/>
                <a:gd name="T84" fmla="*/ 142 w 423"/>
                <a:gd name="T85" fmla="*/ 183 h 207"/>
                <a:gd name="T86" fmla="*/ 160 w 423"/>
                <a:gd name="T87" fmla="*/ 172 h 207"/>
                <a:gd name="T88" fmla="*/ 196 w 423"/>
                <a:gd name="T89" fmla="*/ 167 h 207"/>
                <a:gd name="T90" fmla="*/ 197 w 423"/>
                <a:gd name="T91" fmla="*/ 158 h 207"/>
                <a:gd name="T92" fmla="*/ 214 w 423"/>
                <a:gd name="T93" fmla="*/ 157 h 207"/>
                <a:gd name="T94" fmla="*/ 223 w 423"/>
                <a:gd name="T95" fmla="*/ 163 h 207"/>
                <a:gd name="T96" fmla="*/ 242 w 423"/>
                <a:gd name="T97" fmla="*/ 158 h 207"/>
                <a:gd name="T98" fmla="*/ 248 w 423"/>
                <a:gd name="T99" fmla="*/ 152 h 207"/>
                <a:gd name="T100" fmla="*/ 262 w 423"/>
                <a:gd name="T101" fmla="*/ 143 h 207"/>
                <a:gd name="T102" fmla="*/ 271 w 423"/>
                <a:gd name="T103" fmla="*/ 126 h 207"/>
                <a:gd name="T104" fmla="*/ 296 w 423"/>
                <a:gd name="T105" fmla="*/ 117 h 207"/>
                <a:gd name="T106" fmla="*/ 316 w 423"/>
                <a:gd name="T107" fmla="*/ 124 h 207"/>
                <a:gd name="T108" fmla="*/ 331 w 423"/>
                <a:gd name="T109" fmla="*/ 121 h 207"/>
                <a:gd name="T110" fmla="*/ 346 w 423"/>
                <a:gd name="T111" fmla="*/ 120 h 207"/>
                <a:gd name="T112" fmla="*/ 356 w 423"/>
                <a:gd name="T113" fmla="*/ 132 h 207"/>
                <a:gd name="T114" fmla="*/ 379 w 423"/>
                <a:gd name="T115" fmla="*/ 138 h 207"/>
                <a:gd name="T116" fmla="*/ 394 w 423"/>
                <a:gd name="T117" fmla="*/ 124 h 207"/>
                <a:gd name="T118" fmla="*/ 402 w 423"/>
                <a:gd name="T119" fmla="*/ 106 h 207"/>
                <a:gd name="T120" fmla="*/ 410 w 423"/>
                <a:gd name="T121" fmla="*/ 94 h 207"/>
                <a:gd name="T122" fmla="*/ 411 w 423"/>
                <a:gd name="T123" fmla="*/ 83 h 207"/>
                <a:gd name="T124" fmla="*/ 420 w 423"/>
                <a:gd name="T125" fmla="*/ 6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07">
                  <a:moveTo>
                    <a:pt x="420" y="58"/>
                  </a:moveTo>
                  <a:lnTo>
                    <a:pt x="416" y="58"/>
                  </a:lnTo>
                  <a:lnTo>
                    <a:pt x="413" y="57"/>
                  </a:lnTo>
                  <a:lnTo>
                    <a:pt x="408" y="54"/>
                  </a:lnTo>
                  <a:lnTo>
                    <a:pt x="407" y="54"/>
                  </a:lnTo>
                  <a:lnTo>
                    <a:pt x="403" y="54"/>
                  </a:lnTo>
                  <a:lnTo>
                    <a:pt x="399" y="52"/>
                  </a:lnTo>
                  <a:lnTo>
                    <a:pt x="399" y="52"/>
                  </a:lnTo>
                  <a:lnTo>
                    <a:pt x="399" y="50"/>
                  </a:lnTo>
                  <a:lnTo>
                    <a:pt x="399" y="50"/>
                  </a:lnTo>
                  <a:lnTo>
                    <a:pt x="399" y="49"/>
                  </a:lnTo>
                  <a:lnTo>
                    <a:pt x="399" y="49"/>
                  </a:lnTo>
                  <a:lnTo>
                    <a:pt x="397" y="49"/>
                  </a:lnTo>
                  <a:lnTo>
                    <a:pt x="396" y="49"/>
                  </a:lnTo>
                  <a:lnTo>
                    <a:pt x="396" y="49"/>
                  </a:lnTo>
                  <a:lnTo>
                    <a:pt x="394" y="47"/>
                  </a:lnTo>
                  <a:lnTo>
                    <a:pt x="391" y="46"/>
                  </a:lnTo>
                  <a:lnTo>
                    <a:pt x="387" y="46"/>
                  </a:lnTo>
                  <a:lnTo>
                    <a:pt x="385" y="44"/>
                  </a:lnTo>
                  <a:lnTo>
                    <a:pt x="383" y="40"/>
                  </a:lnTo>
                  <a:lnTo>
                    <a:pt x="383" y="37"/>
                  </a:lnTo>
                  <a:lnTo>
                    <a:pt x="380" y="33"/>
                  </a:lnTo>
                  <a:lnTo>
                    <a:pt x="379" y="30"/>
                  </a:lnTo>
                  <a:lnTo>
                    <a:pt x="374" y="29"/>
                  </a:lnTo>
                  <a:lnTo>
                    <a:pt x="371" y="26"/>
                  </a:lnTo>
                  <a:lnTo>
                    <a:pt x="370" y="24"/>
                  </a:lnTo>
                  <a:lnTo>
                    <a:pt x="368" y="26"/>
                  </a:lnTo>
                  <a:lnTo>
                    <a:pt x="368" y="26"/>
                  </a:lnTo>
                  <a:lnTo>
                    <a:pt x="367" y="27"/>
                  </a:lnTo>
                  <a:lnTo>
                    <a:pt x="365" y="29"/>
                  </a:lnTo>
                  <a:lnTo>
                    <a:pt x="365" y="27"/>
                  </a:lnTo>
                  <a:lnTo>
                    <a:pt x="362" y="23"/>
                  </a:lnTo>
                  <a:lnTo>
                    <a:pt x="360" y="23"/>
                  </a:lnTo>
                  <a:lnTo>
                    <a:pt x="360" y="21"/>
                  </a:lnTo>
                  <a:lnTo>
                    <a:pt x="359" y="23"/>
                  </a:lnTo>
                  <a:lnTo>
                    <a:pt x="359" y="23"/>
                  </a:lnTo>
                  <a:lnTo>
                    <a:pt x="357" y="21"/>
                  </a:lnTo>
                  <a:lnTo>
                    <a:pt x="356" y="20"/>
                  </a:lnTo>
                  <a:lnTo>
                    <a:pt x="356" y="20"/>
                  </a:lnTo>
                  <a:lnTo>
                    <a:pt x="354" y="20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6" y="21"/>
                  </a:lnTo>
                  <a:lnTo>
                    <a:pt x="345" y="21"/>
                  </a:lnTo>
                  <a:lnTo>
                    <a:pt x="342" y="21"/>
                  </a:lnTo>
                  <a:lnTo>
                    <a:pt x="340" y="21"/>
                  </a:lnTo>
                  <a:lnTo>
                    <a:pt x="334" y="20"/>
                  </a:lnTo>
                  <a:lnTo>
                    <a:pt x="330" y="17"/>
                  </a:lnTo>
                  <a:lnTo>
                    <a:pt x="328" y="17"/>
                  </a:lnTo>
                  <a:lnTo>
                    <a:pt x="326" y="18"/>
                  </a:lnTo>
                  <a:lnTo>
                    <a:pt x="325" y="21"/>
                  </a:lnTo>
                  <a:lnTo>
                    <a:pt x="323" y="23"/>
                  </a:lnTo>
                  <a:lnTo>
                    <a:pt x="322" y="23"/>
                  </a:lnTo>
                  <a:lnTo>
                    <a:pt x="320" y="21"/>
                  </a:lnTo>
                  <a:lnTo>
                    <a:pt x="320" y="21"/>
                  </a:lnTo>
                  <a:lnTo>
                    <a:pt x="319" y="20"/>
                  </a:lnTo>
                  <a:lnTo>
                    <a:pt x="317" y="20"/>
                  </a:lnTo>
                  <a:lnTo>
                    <a:pt x="314" y="20"/>
                  </a:lnTo>
                  <a:lnTo>
                    <a:pt x="313" y="21"/>
                  </a:lnTo>
                  <a:lnTo>
                    <a:pt x="311" y="23"/>
                  </a:lnTo>
                  <a:lnTo>
                    <a:pt x="313" y="23"/>
                  </a:lnTo>
                  <a:lnTo>
                    <a:pt x="314" y="24"/>
                  </a:lnTo>
                  <a:lnTo>
                    <a:pt x="316" y="26"/>
                  </a:lnTo>
                  <a:lnTo>
                    <a:pt x="314" y="27"/>
                  </a:lnTo>
                  <a:lnTo>
                    <a:pt x="313" y="27"/>
                  </a:lnTo>
                  <a:lnTo>
                    <a:pt x="311" y="27"/>
                  </a:lnTo>
                  <a:lnTo>
                    <a:pt x="311" y="27"/>
                  </a:lnTo>
                  <a:lnTo>
                    <a:pt x="310" y="29"/>
                  </a:lnTo>
                  <a:lnTo>
                    <a:pt x="306" y="33"/>
                  </a:lnTo>
                  <a:lnTo>
                    <a:pt x="305" y="33"/>
                  </a:lnTo>
                  <a:lnTo>
                    <a:pt x="303" y="35"/>
                  </a:lnTo>
                  <a:lnTo>
                    <a:pt x="302" y="35"/>
                  </a:lnTo>
                  <a:lnTo>
                    <a:pt x="300" y="33"/>
                  </a:lnTo>
                  <a:lnTo>
                    <a:pt x="299" y="32"/>
                  </a:lnTo>
                  <a:lnTo>
                    <a:pt x="297" y="32"/>
                  </a:lnTo>
                  <a:lnTo>
                    <a:pt x="297" y="32"/>
                  </a:lnTo>
                  <a:lnTo>
                    <a:pt x="296" y="32"/>
                  </a:lnTo>
                  <a:lnTo>
                    <a:pt x="294" y="30"/>
                  </a:lnTo>
                  <a:lnTo>
                    <a:pt x="293" y="30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2" y="23"/>
                  </a:lnTo>
                  <a:lnTo>
                    <a:pt x="280" y="23"/>
                  </a:lnTo>
                  <a:lnTo>
                    <a:pt x="280" y="23"/>
                  </a:lnTo>
                  <a:lnTo>
                    <a:pt x="279" y="23"/>
                  </a:lnTo>
                  <a:lnTo>
                    <a:pt x="277" y="24"/>
                  </a:lnTo>
                  <a:lnTo>
                    <a:pt x="277" y="26"/>
                  </a:lnTo>
                  <a:lnTo>
                    <a:pt x="276" y="26"/>
                  </a:lnTo>
                  <a:lnTo>
                    <a:pt x="274" y="26"/>
                  </a:lnTo>
                  <a:lnTo>
                    <a:pt x="268" y="23"/>
                  </a:lnTo>
                  <a:lnTo>
                    <a:pt x="266" y="23"/>
                  </a:lnTo>
                  <a:lnTo>
                    <a:pt x="266" y="24"/>
                  </a:lnTo>
                  <a:lnTo>
                    <a:pt x="262" y="24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7" y="24"/>
                  </a:lnTo>
                  <a:lnTo>
                    <a:pt x="257" y="24"/>
                  </a:lnTo>
                  <a:lnTo>
                    <a:pt x="257" y="26"/>
                  </a:lnTo>
                  <a:lnTo>
                    <a:pt x="257" y="27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49" y="30"/>
                  </a:lnTo>
                  <a:lnTo>
                    <a:pt x="249" y="30"/>
                  </a:lnTo>
                  <a:lnTo>
                    <a:pt x="248" y="32"/>
                  </a:lnTo>
                  <a:lnTo>
                    <a:pt x="246" y="33"/>
                  </a:lnTo>
                  <a:lnTo>
                    <a:pt x="245" y="33"/>
                  </a:lnTo>
                  <a:lnTo>
                    <a:pt x="245" y="32"/>
                  </a:lnTo>
                  <a:lnTo>
                    <a:pt x="245" y="33"/>
                  </a:lnTo>
                  <a:lnTo>
                    <a:pt x="243" y="37"/>
                  </a:lnTo>
                  <a:lnTo>
                    <a:pt x="242" y="38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40" y="44"/>
                  </a:lnTo>
                  <a:lnTo>
                    <a:pt x="240" y="47"/>
                  </a:lnTo>
                  <a:lnTo>
                    <a:pt x="239" y="49"/>
                  </a:lnTo>
                  <a:lnTo>
                    <a:pt x="236" y="47"/>
                  </a:lnTo>
                  <a:lnTo>
                    <a:pt x="233" y="43"/>
                  </a:lnTo>
                  <a:lnTo>
                    <a:pt x="229" y="43"/>
                  </a:lnTo>
                  <a:lnTo>
                    <a:pt x="228" y="43"/>
                  </a:lnTo>
                  <a:lnTo>
                    <a:pt x="226" y="44"/>
                  </a:lnTo>
                  <a:lnTo>
                    <a:pt x="225" y="44"/>
                  </a:lnTo>
                  <a:lnTo>
                    <a:pt x="223" y="46"/>
                  </a:lnTo>
                  <a:lnTo>
                    <a:pt x="222" y="47"/>
                  </a:lnTo>
                  <a:lnTo>
                    <a:pt x="219" y="46"/>
                  </a:lnTo>
                  <a:lnTo>
                    <a:pt x="217" y="46"/>
                  </a:lnTo>
                  <a:lnTo>
                    <a:pt x="216" y="44"/>
                  </a:lnTo>
                  <a:lnTo>
                    <a:pt x="216" y="44"/>
                  </a:lnTo>
                  <a:lnTo>
                    <a:pt x="216" y="43"/>
                  </a:lnTo>
                  <a:lnTo>
                    <a:pt x="219" y="38"/>
                  </a:lnTo>
                  <a:lnTo>
                    <a:pt x="219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5"/>
                  </a:lnTo>
                  <a:lnTo>
                    <a:pt x="220" y="35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2"/>
                  </a:lnTo>
                  <a:lnTo>
                    <a:pt x="219" y="27"/>
                  </a:lnTo>
                  <a:lnTo>
                    <a:pt x="219" y="26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4" y="24"/>
                  </a:lnTo>
                  <a:lnTo>
                    <a:pt x="212" y="24"/>
                  </a:lnTo>
                  <a:lnTo>
                    <a:pt x="211" y="24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6" y="21"/>
                  </a:lnTo>
                  <a:lnTo>
                    <a:pt x="206" y="20"/>
                  </a:lnTo>
                  <a:lnTo>
                    <a:pt x="206" y="18"/>
                  </a:lnTo>
                  <a:lnTo>
                    <a:pt x="208" y="18"/>
                  </a:lnTo>
                  <a:lnTo>
                    <a:pt x="205" y="18"/>
                  </a:lnTo>
                  <a:lnTo>
                    <a:pt x="203" y="17"/>
                  </a:lnTo>
                  <a:lnTo>
                    <a:pt x="202" y="17"/>
                  </a:lnTo>
                  <a:lnTo>
                    <a:pt x="202" y="15"/>
                  </a:lnTo>
                  <a:lnTo>
                    <a:pt x="200" y="12"/>
                  </a:lnTo>
                  <a:lnTo>
                    <a:pt x="199" y="6"/>
                  </a:lnTo>
                  <a:lnTo>
                    <a:pt x="197" y="4"/>
                  </a:lnTo>
                  <a:lnTo>
                    <a:pt x="196" y="3"/>
                  </a:lnTo>
                  <a:lnTo>
                    <a:pt x="196" y="1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6" y="7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3" y="9"/>
                  </a:lnTo>
                  <a:lnTo>
                    <a:pt x="182" y="9"/>
                  </a:lnTo>
                  <a:lnTo>
                    <a:pt x="180" y="9"/>
                  </a:lnTo>
                  <a:lnTo>
                    <a:pt x="179" y="9"/>
                  </a:lnTo>
                  <a:lnTo>
                    <a:pt x="177" y="10"/>
                  </a:lnTo>
                  <a:lnTo>
                    <a:pt x="177" y="12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4" y="21"/>
                  </a:lnTo>
                  <a:lnTo>
                    <a:pt x="172" y="23"/>
                  </a:lnTo>
                  <a:lnTo>
                    <a:pt x="171" y="23"/>
                  </a:lnTo>
                  <a:lnTo>
                    <a:pt x="169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6" y="21"/>
                  </a:lnTo>
                  <a:lnTo>
                    <a:pt x="165" y="21"/>
                  </a:lnTo>
                  <a:lnTo>
                    <a:pt x="163" y="23"/>
                  </a:lnTo>
                  <a:lnTo>
                    <a:pt x="160" y="24"/>
                  </a:lnTo>
                  <a:lnTo>
                    <a:pt x="159" y="24"/>
                  </a:lnTo>
                  <a:lnTo>
                    <a:pt x="157" y="24"/>
                  </a:lnTo>
                  <a:lnTo>
                    <a:pt x="157" y="23"/>
                  </a:lnTo>
                  <a:lnTo>
                    <a:pt x="157" y="18"/>
                  </a:lnTo>
                  <a:lnTo>
                    <a:pt x="157" y="17"/>
                  </a:lnTo>
                  <a:lnTo>
                    <a:pt x="157" y="15"/>
                  </a:lnTo>
                  <a:lnTo>
                    <a:pt x="157" y="13"/>
                  </a:lnTo>
                  <a:lnTo>
                    <a:pt x="157" y="12"/>
                  </a:lnTo>
                  <a:lnTo>
                    <a:pt x="155" y="10"/>
                  </a:lnTo>
                  <a:lnTo>
                    <a:pt x="148" y="10"/>
                  </a:lnTo>
                  <a:lnTo>
                    <a:pt x="145" y="10"/>
                  </a:lnTo>
                  <a:lnTo>
                    <a:pt x="143" y="10"/>
                  </a:lnTo>
                  <a:lnTo>
                    <a:pt x="140" y="13"/>
                  </a:lnTo>
                  <a:lnTo>
                    <a:pt x="139" y="13"/>
                  </a:lnTo>
                  <a:lnTo>
                    <a:pt x="135" y="12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1" y="12"/>
                  </a:lnTo>
                  <a:lnTo>
                    <a:pt x="128" y="12"/>
                  </a:lnTo>
                  <a:lnTo>
                    <a:pt x="126" y="13"/>
                  </a:lnTo>
                  <a:lnTo>
                    <a:pt x="125" y="13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5" y="18"/>
                  </a:lnTo>
                  <a:lnTo>
                    <a:pt x="122" y="20"/>
                  </a:lnTo>
                  <a:lnTo>
                    <a:pt x="119" y="23"/>
                  </a:lnTo>
                  <a:lnTo>
                    <a:pt x="117" y="24"/>
                  </a:lnTo>
                  <a:lnTo>
                    <a:pt x="114" y="24"/>
                  </a:lnTo>
                  <a:lnTo>
                    <a:pt x="114" y="29"/>
                  </a:lnTo>
                  <a:lnTo>
                    <a:pt x="112" y="30"/>
                  </a:lnTo>
                  <a:lnTo>
                    <a:pt x="109" y="32"/>
                  </a:lnTo>
                  <a:lnTo>
                    <a:pt x="100" y="37"/>
                  </a:lnTo>
                  <a:lnTo>
                    <a:pt x="97" y="38"/>
                  </a:lnTo>
                  <a:lnTo>
                    <a:pt x="95" y="41"/>
                  </a:lnTo>
                  <a:lnTo>
                    <a:pt x="94" y="44"/>
                  </a:lnTo>
                  <a:lnTo>
                    <a:pt x="94" y="49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7"/>
                  </a:lnTo>
                  <a:lnTo>
                    <a:pt x="92" y="60"/>
                  </a:lnTo>
                  <a:lnTo>
                    <a:pt x="91" y="63"/>
                  </a:lnTo>
                  <a:lnTo>
                    <a:pt x="89" y="64"/>
                  </a:lnTo>
                  <a:lnTo>
                    <a:pt x="86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0" y="66"/>
                  </a:lnTo>
                  <a:lnTo>
                    <a:pt x="78" y="69"/>
                  </a:lnTo>
                  <a:lnTo>
                    <a:pt x="78" y="70"/>
                  </a:lnTo>
                  <a:lnTo>
                    <a:pt x="77" y="74"/>
                  </a:lnTo>
                  <a:lnTo>
                    <a:pt x="77" y="75"/>
                  </a:lnTo>
                  <a:lnTo>
                    <a:pt x="75" y="77"/>
                  </a:lnTo>
                  <a:lnTo>
                    <a:pt x="74" y="77"/>
                  </a:lnTo>
                  <a:lnTo>
                    <a:pt x="72" y="77"/>
                  </a:lnTo>
                  <a:lnTo>
                    <a:pt x="71" y="77"/>
                  </a:lnTo>
                  <a:lnTo>
                    <a:pt x="69" y="78"/>
                  </a:lnTo>
                  <a:lnTo>
                    <a:pt x="66" y="83"/>
                  </a:lnTo>
                  <a:lnTo>
                    <a:pt x="65" y="83"/>
                  </a:lnTo>
                  <a:lnTo>
                    <a:pt x="51" y="89"/>
                  </a:lnTo>
                  <a:lnTo>
                    <a:pt x="48" y="89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3" y="86"/>
                  </a:lnTo>
                  <a:lnTo>
                    <a:pt x="42" y="87"/>
                  </a:lnTo>
                  <a:lnTo>
                    <a:pt x="40" y="87"/>
                  </a:lnTo>
                  <a:lnTo>
                    <a:pt x="38" y="87"/>
                  </a:lnTo>
                  <a:lnTo>
                    <a:pt x="31" y="84"/>
                  </a:lnTo>
                  <a:lnTo>
                    <a:pt x="28" y="83"/>
                  </a:lnTo>
                  <a:lnTo>
                    <a:pt x="23" y="84"/>
                  </a:lnTo>
                  <a:lnTo>
                    <a:pt x="20" y="86"/>
                  </a:lnTo>
                  <a:lnTo>
                    <a:pt x="18" y="87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5" y="94"/>
                  </a:lnTo>
                  <a:lnTo>
                    <a:pt x="14" y="97"/>
                  </a:lnTo>
                  <a:lnTo>
                    <a:pt x="9" y="107"/>
                  </a:lnTo>
                  <a:lnTo>
                    <a:pt x="9" y="109"/>
                  </a:lnTo>
                  <a:lnTo>
                    <a:pt x="8" y="110"/>
                  </a:lnTo>
                  <a:lnTo>
                    <a:pt x="8" y="112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6" y="121"/>
                  </a:lnTo>
                  <a:lnTo>
                    <a:pt x="5" y="121"/>
                  </a:lnTo>
                  <a:lnTo>
                    <a:pt x="5" y="123"/>
                  </a:lnTo>
                  <a:lnTo>
                    <a:pt x="5" y="124"/>
                  </a:lnTo>
                  <a:lnTo>
                    <a:pt x="1" y="127"/>
                  </a:lnTo>
                  <a:lnTo>
                    <a:pt x="1" y="129"/>
                  </a:lnTo>
                  <a:lnTo>
                    <a:pt x="1" y="131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1" y="140"/>
                  </a:lnTo>
                  <a:lnTo>
                    <a:pt x="3" y="140"/>
                  </a:lnTo>
                  <a:lnTo>
                    <a:pt x="3" y="141"/>
                  </a:lnTo>
                  <a:lnTo>
                    <a:pt x="5" y="141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5" y="144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2"/>
                  </a:lnTo>
                  <a:lnTo>
                    <a:pt x="9" y="155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4" y="164"/>
                  </a:lnTo>
                  <a:lnTo>
                    <a:pt x="15" y="166"/>
                  </a:lnTo>
                  <a:lnTo>
                    <a:pt x="15" y="167"/>
                  </a:lnTo>
                  <a:lnTo>
                    <a:pt x="17" y="167"/>
                  </a:lnTo>
                  <a:lnTo>
                    <a:pt x="17" y="169"/>
                  </a:lnTo>
                  <a:lnTo>
                    <a:pt x="17" y="171"/>
                  </a:lnTo>
                  <a:lnTo>
                    <a:pt x="15" y="171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7" y="174"/>
                  </a:lnTo>
                  <a:lnTo>
                    <a:pt x="17" y="175"/>
                  </a:lnTo>
                  <a:lnTo>
                    <a:pt x="18" y="177"/>
                  </a:lnTo>
                  <a:lnTo>
                    <a:pt x="20" y="178"/>
                  </a:lnTo>
                  <a:lnTo>
                    <a:pt x="23" y="180"/>
                  </a:lnTo>
                  <a:lnTo>
                    <a:pt x="25" y="178"/>
                  </a:lnTo>
                  <a:lnTo>
                    <a:pt x="28" y="178"/>
                  </a:lnTo>
                  <a:lnTo>
                    <a:pt x="31" y="178"/>
                  </a:lnTo>
                  <a:lnTo>
                    <a:pt x="32" y="180"/>
                  </a:lnTo>
                  <a:lnTo>
                    <a:pt x="37" y="180"/>
                  </a:lnTo>
                  <a:lnTo>
                    <a:pt x="38" y="181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48" y="194"/>
                  </a:lnTo>
                  <a:lnTo>
                    <a:pt x="49" y="194"/>
                  </a:lnTo>
                  <a:lnTo>
                    <a:pt x="51" y="194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5" y="198"/>
                  </a:lnTo>
                  <a:lnTo>
                    <a:pt x="55" y="198"/>
                  </a:lnTo>
                  <a:lnTo>
                    <a:pt x="57" y="198"/>
                  </a:lnTo>
                  <a:lnTo>
                    <a:pt x="57" y="198"/>
                  </a:lnTo>
                  <a:lnTo>
                    <a:pt x="58" y="200"/>
                  </a:lnTo>
                  <a:lnTo>
                    <a:pt x="60" y="201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5" y="204"/>
                  </a:lnTo>
                  <a:lnTo>
                    <a:pt x="66" y="206"/>
                  </a:lnTo>
                  <a:lnTo>
                    <a:pt x="72" y="207"/>
                  </a:lnTo>
                  <a:lnTo>
                    <a:pt x="77" y="207"/>
                  </a:lnTo>
                  <a:lnTo>
                    <a:pt x="94" y="206"/>
                  </a:lnTo>
                  <a:lnTo>
                    <a:pt x="103" y="207"/>
                  </a:lnTo>
                  <a:lnTo>
                    <a:pt x="106" y="207"/>
                  </a:lnTo>
                  <a:lnTo>
                    <a:pt x="112" y="204"/>
                  </a:lnTo>
                  <a:lnTo>
                    <a:pt x="126" y="203"/>
                  </a:lnTo>
                  <a:lnTo>
                    <a:pt x="131" y="203"/>
                  </a:lnTo>
                  <a:lnTo>
                    <a:pt x="132" y="204"/>
                  </a:lnTo>
                  <a:lnTo>
                    <a:pt x="135" y="204"/>
                  </a:lnTo>
                  <a:lnTo>
                    <a:pt x="137" y="204"/>
                  </a:lnTo>
                  <a:lnTo>
                    <a:pt x="139" y="203"/>
                  </a:lnTo>
                  <a:lnTo>
                    <a:pt x="142" y="200"/>
                  </a:lnTo>
                  <a:lnTo>
                    <a:pt x="143" y="200"/>
                  </a:lnTo>
                  <a:lnTo>
                    <a:pt x="145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3" y="197"/>
                  </a:lnTo>
                  <a:lnTo>
                    <a:pt x="142" y="194"/>
                  </a:lnTo>
                  <a:lnTo>
                    <a:pt x="142" y="192"/>
                  </a:lnTo>
                  <a:lnTo>
                    <a:pt x="142" y="189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2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3" y="181"/>
                  </a:lnTo>
                  <a:lnTo>
                    <a:pt x="145" y="181"/>
                  </a:lnTo>
                  <a:lnTo>
                    <a:pt x="145" y="180"/>
                  </a:lnTo>
                  <a:lnTo>
                    <a:pt x="146" y="177"/>
                  </a:lnTo>
                  <a:lnTo>
                    <a:pt x="148" y="175"/>
                  </a:lnTo>
                  <a:lnTo>
                    <a:pt x="155" y="174"/>
                  </a:lnTo>
                  <a:lnTo>
                    <a:pt x="159" y="174"/>
                  </a:lnTo>
                  <a:lnTo>
                    <a:pt x="160" y="172"/>
                  </a:lnTo>
                  <a:lnTo>
                    <a:pt x="162" y="172"/>
                  </a:lnTo>
                  <a:lnTo>
                    <a:pt x="163" y="172"/>
                  </a:lnTo>
                  <a:lnTo>
                    <a:pt x="168" y="172"/>
                  </a:lnTo>
                  <a:lnTo>
                    <a:pt x="177" y="174"/>
                  </a:lnTo>
                  <a:lnTo>
                    <a:pt x="177" y="174"/>
                  </a:lnTo>
                  <a:lnTo>
                    <a:pt x="182" y="171"/>
                  </a:lnTo>
                  <a:lnTo>
                    <a:pt x="192" y="171"/>
                  </a:lnTo>
                  <a:lnTo>
                    <a:pt x="196" y="167"/>
                  </a:lnTo>
                  <a:lnTo>
                    <a:pt x="196" y="167"/>
                  </a:lnTo>
                  <a:lnTo>
                    <a:pt x="196" y="166"/>
                  </a:lnTo>
                  <a:lnTo>
                    <a:pt x="196" y="166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7" y="163"/>
                  </a:lnTo>
                  <a:lnTo>
                    <a:pt x="197" y="158"/>
                  </a:lnTo>
                  <a:lnTo>
                    <a:pt x="199" y="157"/>
                  </a:lnTo>
                  <a:lnTo>
                    <a:pt x="200" y="157"/>
                  </a:lnTo>
                  <a:lnTo>
                    <a:pt x="206" y="155"/>
                  </a:lnTo>
                  <a:lnTo>
                    <a:pt x="208" y="155"/>
                  </a:lnTo>
                  <a:lnTo>
                    <a:pt x="208" y="155"/>
                  </a:lnTo>
                  <a:lnTo>
                    <a:pt x="209" y="155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4" y="157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60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6" y="166"/>
                  </a:lnTo>
                  <a:lnTo>
                    <a:pt x="228" y="166"/>
                  </a:lnTo>
                  <a:lnTo>
                    <a:pt x="229" y="166"/>
                  </a:lnTo>
                  <a:lnTo>
                    <a:pt x="233" y="163"/>
                  </a:lnTo>
                  <a:lnTo>
                    <a:pt x="234" y="161"/>
                  </a:lnTo>
                  <a:lnTo>
                    <a:pt x="237" y="160"/>
                  </a:lnTo>
                  <a:lnTo>
                    <a:pt x="237" y="160"/>
                  </a:lnTo>
                  <a:lnTo>
                    <a:pt x="240" y="158"/>
                  </a:lnTo>
                  <a:lnTo>
                    <a:pt x="242" y="158"/>
                  </a:lnTo>
                  <a:lnTo>
                    <a:pt x="242" y="157"/>
                  </a:lnTo>
                  <a:lnTo>
                    <a:pt x="243" y="157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6" y="152"/>
                  </a:lnTo>
                  <a:lnTo>
                    <a:pt x="248" y="152"/>
                  </a:lnTo>
                  <a:lnTo>
                    <a:pt x="248" y="152"/>
                  </a:lnTo>
                  <a:lnTo>
                    <a:pt x="251" y="151"/>
                  </a:lnTo>
                  <a:lnTo>
                    <a:pt x="251" y="149"/>
                  </a:lnTo>
                  <a:lnTo>
                    <a:pt x="253" y="151"/>
                  </a:lnTo>
                  <a:lnTo>
                    <a:pt x="254" y="152"/>
                  </a:lnTo>
                  <a:lnTo>
                    <a:pt x="256" y="152"/>
                  </a:lnTo>
                  <a:lnTo>
                    <a:pt x="257" y="151"/>
                  </a:lnTo>
                  <a:lnTo>
                    <a:pt x="259" y="149"/>
                  </a:lnTo>
                  <a:lnTo>
                    <a:pt x="260" y="146"/>
                  </a:lnTo>
                  <a:lnTo>
                    <a:pt x="262" y="143"/>
                  </a:lnTo>
                  <a:lnTo>
                    <a:pt x="265" y="134"/>
                  </a:lnTo>
                  <a:lnTo>
                    <a:pt x="266" y="132"/>
                  </a:lnTo>
                  <a:lnTo>
                    <a:pt x="266" y="131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4"/>
                  </a:lnTo>
                  <a:lnTo>
                    <a:pt x="271" y="123"/>
                  </a:lnTo>
                  <a:lnTo>
                    <a:pt x="271" y="121"/>
                  </a:lnTo>
                  <a:lnTo>
                    <a:pt x="271" y="121"/>
                  </a:lnTo>
                  <a:lnTo>
                    <a:pt x="273" y="120"/>
                  </a:lnTo>
                  <a:lnTo>
                    <a:pt x="277" y="120"/>
                  </a:lnTo>
                  <a:lnTo>
                    <a:pt x="293" y="117"/>
                  </a:lnTo>
                  <a:lnTo>
                    <a:pt x="294" y="117"/>
                  </a:lnTo>
                  <a:lnTo>
                    <a:pt x="296" y="117"/>
                  </a:lnTo>
                  <a:lnTo>
                    <a:pt x="297" y="118"/>
                  </a:lnTo>
                  <a:lnTo>
                    <a:pt x="299" y="120"/>
                  </a:lnTo>
                  <a:lnTo>
                    <a:pt x="300" y="120"/>
                  </a:lnTo>
                  <a:lnTo>
                    <a:pt x="305" y="121"/>
                  </a:lnTo>
                  <a:lnTo>
                    <a:pt x="308" y="123"/>
                  </a:lnTo>
                  <a:lnTo>
                    <a:pt x="310" y="121"/>
                  </a:lnTo>
                  <a:lnTo>
                    <a:pt x="311" y="123"/>
                  </a:lnTo>
                  <a:lnTo>
                    <a:pt x="314" y="123"/>
                  </a:lnTo>
                  <a:lnTo>
                    <a:pt x="316" y="124"/>
                  </a:lnTo>
                  <a:lnTo>
                    <a:pt x="317" y="126"/>
                  </a:lnTo>
                  <a:lnTo>
                    <a:pt x="323" y="123"/>
                  </a:lnTo>
                  <a:lnTo>
                    <a:pt x="325" y="121"/>
                  </a:lnTo>
                  <a:lnTo>
                    <a:pt x="326" y="123"/>
                  </a:lnTo>
                  <a:lnTo>
                    <a:pt x="328" y="123"/>
                  </a:lnTo>
                  <a:lnTo>
                    <a:pt x="328" y="124"/>
                  </a:lnTo>
                  <a:lnTo>
                    <a:pt x="330" y="123"/>
                  </a:lnTo>
                  <a:lnTo>
                    <a:pt x="331" y="121"/>
                  </a:lnTo>
                  <a:lnTo>
                    <a:pt x="331" y="121"/>
                  </a:lnTo>
                  <a:lnTo>
                    <a:pt x="331" y="120"/>
                  </a:lnTo>
                  <a:lnTo>
                    <a:pt x="333" y="118"/>
                  </a:lnTo>
                  <a:lnTo>
                    <a:pt x="334" y="118"/>
                  </a:lnTo>
                  <a:lnTo>
                    <a:pt x="337" y="118"/>
                  </a:lnTo>
                  <a:lnTo>
                    <a:pt x="340" y="117"/>
                  </a:lnTo>
                  <a:lnTo>
                    <a:pt x="342" y="118"/>
                  </a:lnTo>
                  <a:lnTo>
                    <a:pt x="345" y="120"/>
                  </a:lnTo>
                  <a:lnTo>
                    <a:pt x="345" y="120"/>
                  </a:lnTo>
                  <a:lnTo>
                    <a:pt x="346" y="120"/>
                  </a:lnTo>
                  <a:lnTo>
                    <a:pt x="346" y="121"/>
                  </a:lnTo>
                  <a:lnTo>
                    <a:pt x="348" y="123"/>
                  </a:lnTo>
                  <a:lnTo>
                    <a:pt x="348" y="124"/>
                  </a:lnTo>
                  <a:lnTo>
                    <a:pt x="350" y="124"/>
                  </a:lnTo>
                  <a:lnTo>
                    <a:pt x="351" y="124"/>
                  </a:lnTo>
                  <a:lnTo>
                    <a:pt x="353" y="124"/>
                  </a:lnTo>
                  <a:lnTo>
                    <a:pt x="354" y="126"/>
                  </a:lnTo>
                  <a:lnTo>
                    <a:pt x="354" y="131"/>
                  </a:lnTo>
                  <a:lnTo>
                    <a:pt x="356" y="132"/>
                  </a:lnTo>
                  <a:lnTo>
                    <a:pt x="359" y="138"/>
                  </a:lnTo>
                  <a:lnTo>
                    <a:pt x="362" y="140"/>
                  </a:lnTo>
                  <a:lnTo>
                    <a:pt x="363" y="141"/>
                  </a:lnTo>
                  <a:lnTo>
                    <a:pt x="365" y="143"/>
                  </a:lnTo>
                  <a:lnTo>
                    <a:pt x="368" y="143"/>
                  </a:lnTo>
                  <a:lnTo>
                    <a:pt x="371" y="140"/>
                  </a:lnTo>
                  <a:lnTo>
                    <a:pt x="374" y="140"/>
                  </a:lnTo>
                  <a:lnTo>
                    <a:pt x="377" y="138"/>
                  </a:lnTo>
                  <a:lnTo>
                    <a:pt x="379" y="138"/>
                  </a:lnTo>
                  <a:lnTo>
                    <a:pt x="382" y="138"/>
                  </a:lnTo>
                  <a:lnTo>
                    <a:pt x="383" y="138"/>
                  </a:lnTo>
                  <a:lnTo>
                    <a:pt x="385" y="138"/>
                  </a:lnTo>
                  <a:lnTo>
                    <a:pt x="390" y="138"/>
                  </a:lnTo>
                  <a:lnTo>
                    <a:pt x="391" y="138"/>
                  </a:lnTo>
                  <a:lnTo>
                    <a:pt x="393" y="137"/>
                  </a:lnTo>
                  <a:lnTo>
                    <a:pt x="393" y="135"/>
                  </a:lnTo>
                  <a:lnTo>
                    <a:pt x="393" y="126"/>
                  </a:lnTo>
                  <a:lnTo>
                    <a:pt x="394" y="124"/>
                  </a:lnTo>
                  <a:lnTo>
                    <a:pt x="394" y="123"/>
                  </a:lnTo>
                  <a:lnTo>
                    <a:pt x="394" y="118"/>
                  </a:lnTo>
                  <a:lnTo>
                    <a:pt x="394" y="117"/>
                  </a:lnTo>
                  <a:lnTo>
                    <a:pt x="394" y="115"/>
                  </a:lnTo>
                  <a:lnTo>
                    <a:pt x="400" y="110"/>
                  </a:lnTo>
                  <a:lnTo>
                    <a:pt x="400" y="109"/>
                  </a:lnTo>
                  <a:lnTo>
                    <a:pt x="400" y="107"/>
                  </a:lnTo>
                  <a:lnTo>
                    <a:pt x="402" y="107"/>
                  </a:lnTo>
                  <a:lnTo>
                    <a:pt x="402" y="106"/>
                  </a:lnTo>
                  <a:lnTo>
                    <a:pt x="405" y="106"/>
                  </a:lnTo>
                  <a:lnTo>
                    <a:pt x="405" y="106"/>
                  </a:lnTo>
                  <a:lnTo>
                    <a:pt x="407" y="104"/>
                  </a:lnTo>
                  <a:lnTo>
                    <a:pt x="408" y="101"/>
                  </a:lnTo>
                  <a:lnTo>
                    <a:pt x="408" y="100"/>
                  </a:lnTo>
                  <a:lnTo>
                    <a:pt x="408" y="97"/>
                  </a:lnTo>
                  <a:lnTo>
                    <a:pt x="408" y="95"/>
                  </a:lnTo>
                  <a:lnTo>
                    <a:pt x="408" y="95"/>
                  </a:lnTo>
                  <a:lnTo>
                    <a:pt x="410" y="94"/>
                  </a:lnTo>
                  <a:lnTo>
                    <a:pt x="410" y="94"/>
                  </a:lnTo>
                  <a:lnTo>
                    <a:pt x="411" y="92"/>
                  </a:lnTo>
                  <a:lnTo>
                    <a:pt x="411" y="90"/>
                  </a:lnTo>
                  <a:lnTo>
                    <a:pt x="411" y="87"/>
                  </a:lnTo>
                  <a:lnTo>
                    <a:pt x="411" y="86"/>
                  </a:lnTo>
                  <a:lnTo>
                    <a:pt x="411" y="86"/>
                  </a:lnTo>
                  <a:lnTo>
                    <a:pt x="411" y="84"/>
                  </a:lnTo>
                  <a:lnTo>
                    <a:pt x="411" y="84"/>
                  </a:lnTo>
                  <a:lnTo>
                    <a:pt x="411" y="83"/>
                  </a:lnTo>
                  <a:lnTo>
                    <a:pt x="413" y="81"/>
                  </a:lnTo>
                  <a:lnTo>
                    <a:pt x="414" y="80"/>
                  </a:lnTo>
                  <a:lnTo>
                    <a:pt x="414" y="80"/>
                  </a:lnTo>
                  <a:lnTo>
                    <a:pt x="414" y="78"/>
                  </a:lnTo>
                  <a:lnTo>
                    <a:pt x="414" y="78"/>
                  </a:lnTo>
                  <a:lnTo>
                    <a:pt x="416" y="75"/>
                  </a:lnTo>
                  <a:lnTo>
                    <a:pt x="417" y="70"/>
                  </a:lnTo>
                  <a:lnTo>
                    <a:pt x="419" y="70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2" y="67"/>
                  </a:lnTo>
                  <a:lnTo>
                    <a:pt x="422" y="64"/>
                  </a:lnTo>
                  <a:lnTo>
                    <a:pt x="423" y="61"/>
                  </a:lnTo>
                  <a:lnTo>
                    <a:pt x="423" y="60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gray">
            <a:xfrm>
              <a:off x="7912100" y="7326313"/>
              <a:ext cx="488950" cy="709613"/>
            </a:xfrm>
            <a:custGeom>
              <a:avLst/>
              <a:gdLst>
                <a:gd name="T0" fmla="*/ 288 w 308"/>
                <a:gd name="T1" fmla="*/ 293 h 447"/>
                <a:gd name="T2" fmla="*/ 276 w 308"/>
                <a:gd name="T3" fmla="*/ 285 h 447"/>
                <a:gd name="T4" fmla="*/ 270 w 308"/>
                <a:gd name="T5" fmla="*/ 271 h 447"/>
                <a:gd name="T6" fmla="*/ 264 w 308"/>
                <a:gd name="T7" fmla="*/ 258 h 447"/>
                <a:gd name="T8" fmla="*/ 264 w 308"/>
                <a:gd name="T9" fmla="*/ 230 h 447"/>
                <a:gd name="T10" fmla="*/ 279 w 308"/>
                <a:gd name="T11" fmla="*/ 218 h 447"/>
                <a:gd name="T12" fmla="*/ 285 w 308"/>
                <a:gd name="T13" fmla="*/ 198 h 447"/>
                <a:gd name="T14" fmla="*/ 270 w 308"/>
                <a:gd name="T15" fmla="*/ 178 h 447"/>
                <a:gd name="T16" fmla="*/ 290 w 308"/>
                <a:gd name="T17" fmla="*/ 171 h 447"/>
                <a:gd name="T18" fmla="*/ 258 w 308"/>
                <a:gd name="T19" fmla="*/ 157 h 447"/>
                <a:gd name="T20" fmla="*/ 238 w 308"/>
                <a:gd name="T21" fmla="*/ 167 h 447"/>
                <a:gd name="T22" fmla="*/ 204 w 308"/>
                <a:gd name="T23" fmla="*/ 150 h 447"/>
                <a:gd name="T24" fmla="*/ 194 w 308"/>
                <a:gd name="T25" fmla="*/ 139 h 447"/>
                <a:gd name="T26" fmla="*/ 187 w 308"/>
                <a:gd name="T27" fmla="*/ 127 h 447"/>
                <a:gd name="T28" fmla="*/ 193 w 308"/>
                <a:gd name="T29" fmla="*/ 116 h 447"/>
                <a:gd name="T30" fmla="*/ 179 w 308"/>
                <a:gd name="T31" fmla="*/ 102 h 447"/>
                <a:gd name="T32" fmla="*/ 157 w 308"/>
                <a:gd name="T33" fmla="*/ 90 h 447"/>
                <a:gd name="T34" fmla="*/ 142 w 308"/>
                <a:gd name="T35" fmla="*/ 59 h 447"/>
                <a:gd name="T36" fmla="*/ 137 w 308"/>
                <a:gd name="T37" fmla="*/ 48 h 447"/>
                <a:gd name="T38" fmla="*/ 124 w 308"/>
                <a:gd name="T39" fmla="*/ 30 h 447"/>
                <a:gd name="T40" fmla="*/ 94 w 308"/>
                <a:gd name="T41" fmla="*/ 4 h 447"/>
                <a:gd name="T42" fmla="*/ 59 w 308"/>
                <a:gd name="T43" fmla="*/ 0 h 447"/>
                <a:gd name="T44" fmla="*/ 43 w 308"/>
                <a:gd name="T45" fmla="*/ 13 h 447"/>
                <a:gd name="T46" fmla="*/ 22 w 308"/>
                <a:gd name="T47" fmla="*/ 20 h 447"/>
                <a:gd name="T48" fmla="*/ 10 w 308"/>
                <a:gd name="T49" fmla="*/ 27 h 447"/>
                <a:gd name="T50" fmla="*/ 0 w 308"/>
                <a:gd name="T51" fmla="*/ 37 h 447"/>
                <a:gd name="T52" fmla="*/ 8 w 308"/>
                <a:gd name="T53" fmla="*/ 56 h 447"/>
                <a:gd name="T54" fmla="*/ 13 w 308"/>
                <a:gd name="T55" fmla="*/ 65 h 447"/>
                <a:gd name="T56" fmla="*/ 13 w 308"/>
                <a:gd name="T57" fmla="*/ 77 h 447"/>
                <a:gd name="T58" fmla="*/ 23 w 308"/>
                <a:gd name="T59" fmla="*/ 96 h 447"/>
                <a:gd name="T60" fmla="*/ 31 w 308"/>
                <a:gd name="T61" fmla="*/ 108 h 447"/>
                <a:gd name="T62" fmla="*/ 16 w 308"/>
                <a:gd name="T63" fmla="*/ 113 h 447"/>
                <a:gd name="T64" fmla="*/ 20 w 308"/>
                <a:gd name="T65" fmla="*/ 130 h 447"/>
                <a:gd name="T66" fmla="*/ 17 w 308"/>
                <a:gd name="T67" fmla="*/ 137 h 447"/>
                <a:gd name="T68" fmla="*/ 37 w 308"/>
                <a:gd name="T69" fmla="*/ 136 h 447"/>
                <a:gd name="T70" fmla="*/ 34 w 308"/>
                <a:gd name="T71" fmla="*/ 156 h 447"/>
                <a:gd name="T72" fmla="*/ 20 w 308"/>
                <a:gd name="T73" fmla="*/ 176 h 447"/>
                <a:gd name="T74" fmla="*/ 31 w 308"/>
                <a:gd name="T75" fmla="*/ 201 h 447"/>
                <a:gd name="T76" fmla="*/ 47 w 308"/>
                <a:gd name="T77" fmla="*/ 214 h 447"/>
                <a:gd name="T78" fmla="*/ 56 w 308"/>
                <a:gd name="T79" fmla="*/ 228 h 447"/>
                <a:gd name="T80" fmla="*/ 30 w 308"/>
                <a:gd name="T81" fmla="*/ 230 h 447"/>
                <a:gd name="T82" fmla="*/ 47 w 308"/>
                <a:gd name="T83" fmla="*/ 270 h 447"/>
                <a:gd name="T84" fmla="*/ 37 w 308"/>
                <a:gd name="T85" fmla="*/ 270 h 447"/>
                <a:gd name="T86" fmla="*/ 37 w 308"/>
                <a:gd name="T87" fmla="*/ 291 h 447"/>
                <a:gd name="T88" fmla="*/ 63 w 308"/>
                <a:gd name="T89" fmla="*/ 315 h 447"/>
                <a:gd name="T90" fmla="*/ 82 w 308"/>
                <a:gd name="T91" fmla="*/ 324 h 447"/>
                <a:gd name="T92" fmla="*/ 102 w 308"/>
                <a:gd name="T93" fmla="*/ 352 h 447"/>
                <a:gd name="T94" fmla="*/ 88 w 308"/>
                <a:gd name="T95" fmla="*/ 361 h 447"/>
                <a:gd name="T96" fmla="*/ 97 w 308"/>
                <a:gd name="T97" fmla="*/ 382 h 447"/>
                <a:gd name="T98" fmla="*/ 102 w 308"/>
                <a:gd name="T99" fmla="*/ 398 h 447"/>
                <a:gd name="T100" fmla="*/ 127 w 308"/>
                <a:gd name="T101" fmla="*/ 427 h 447"/>
                <a:gd name="T102" fmla="*/ 131 w 308"/>
                <a:gd name="T103" fmla="*/ 447 h 447"/>
                <a:gd name="T104" fmla="*/ 140 w 308"/>
                <a:gd name="T105" fmla="*/ 435 h 447"/>
                <a:gd name="T106" fmla="*/ 170 w 308"/>
                <a:gd name="T107" fmla="*/ 413 h 447"/>
                <a:gd name="T108" fmla="*/ 182 w 308"/>
                <a:gd name="T109" fmla="*/ 418 h 447"/>
                <a:gd name="T110" fmla="*/ 196 w 308"/>
                <a:gd name="T111" fmla="*/ 408 h 447"/>
                <a:gd name="T112" fmla="*/ 222 w 308"/>
                <a:gd name="T113" fmla="*/ 401 h 447"/>
                <a:gd name="T114" fmla="*/ 254 w 308"/>
                <a:gd name="T115" fmla="*/ 398 h 447"/>
                <a:gd name="T116" fmla="*/ 273 w 308"/>
                <a:gd name="T117" fmla="*/ 390 h 447"/>
                <a:gd name="T118" fmla="*/ 270 w 308"/>
                <a:gd name="T119" fmla="*/ 361 h 447"/>
                <a:gd name="T120" fmla="*/ 270 w 308"/>
                <a:gd name="T121" fmla="*/ 347 h 447"/>
                <a:gd name="T122" fmla="*/ 290 w 308"/>
                <a:gd name="T123" fmla="*/ 341 h 447"/>
                <a:gd name="T124" fmla="*/ 302 w 308"/>
                <a:gd name="T125" fmla="*/ 324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447">
                  <a:moveTo>
                    <a:pt x="308" y="313"/>
                  </a:moveTo>
                  <a:lnTo>
                    <a:pt x="307" y="311"/>
                  </a:lnTo>
                  <a:lnTo>
                    <a:pt x="307" y="311"/>
                  </a:lnTo>
                  <a:lnTo>
                    <a:pt x="302" y="310"/>
                  </a:lnTo>
                  <a:lnTo>
                    <a:pt x="301" y="308"/>
                  </a:lnTo>
                  <a:lnTo>
                    <a:pt x="301" y="308"/>
                  </a:lnTo>
                  <a:lnTo>
                    <a:pt x="298" y="305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2"/>
                  </a:lnTo>
                  <a:lnTo>
                    <a:pt x="296" y="301"/>
                  </a:lnTo>
                  <a:lnTo>
                    <a:pt x="296" y="299"/>
                  </a:lnTo>
                  <a:lnTo>
                    <a:pt x="295" y="298"/>
                  </a:lnTo>
                  <a:lnTo>
                    <a:pt x="288" y="293"/>
                  </a:lnTo>
                  <a:lnTo>
                    <a:pt x="288" y="293"/>
                  </a:lnTo>
                  <a:lnTo>
                    <a:pt x="288" y="291"/>
                  </a:lnTo>
                  <a:lnTo>
                    <a:pt x="287" y="291"/>
                  </a:lnTo>
                  <a:lnTo>
                    <a:pt x="287" y="291"/>
                  </a:lnTo>
                  <a:lnTo>
                    <a:pt x="285" y="291"/>
                  </a:lnTo>
                  <a:lnTo>
                    <a:pt x="284" y="291"/>
                  </a:lnTo>
                  <a:lnTo>
                    <a:pt x="284" y="291"/>
                  </a:lnTo>
                  <a:lnTo>
                    <a:pt x="284" y="290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81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8" y="287"/>
                  </a:lnTo>
                  <a:lnTo>
                    <a:pt x="278" y="285"/>
                  </a:lnTo>
                  <a:lnTo>
                    <a:pt x="276" y="285"/>
                  </a:lnTo>
                  <a:lnTo>
                    <a:pt x="274" y="284"/>
                  </a:lnTo>
                  <a:lnTo>
                    <a:pt x="273" y="284"/>
                  </a:lnTo>
                  <a:lnTo>
                    <a:pt x="273" y="281"/>
                  </a:lnTo>
                  <a:lnTo>
                    <a:pt x="271" y="276"/>
                  </a:lnTo>
                  <a:lnTo>
                    <a:pt x="270" y="275"/>
                  </a:lnTo>
                  <a:lnTo>
                    <a:pt x="270" y="275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68"/>
                  </a:lnTo>
                  <a:lnTo>
                    <a:pt x="270" y="267"/>
                  </a:lnTo>
                  <a:lnTo>
                    <a:pt x="270" y="265"/>
                  </a:lnTo>
                  <a:lnTo>
                    <a:pt x="268" y="265"/>
                  </a:lnTo>
                  <a:lnTo>
                    <a:pt x="267" y="264"/>
                  </a:lnTo>
                  <a:lnTo>
                    <a:pt x="265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64" y="259"/>
                  </a:lnTo>
                  <a:lnTo>
                    <a:pt x="264" y="258"/>
                  </a:lnTo>
                  <a:lnTo>
                    <a:pt x="264" y="256"/>
                  </a:lnTo>
                  <a:lnTo>
                    <a:pt x="264" y="255"/>
                  </a:lnTo>
                  <a:lnTo>
                    <a:pt x="264" y="255"/>
                  </a:lnTo>
                  <a:lnTo>
                    <a:pt x="262" y="251"/>
                  </a:lnTo>
                  <a:lnTo>
                    <a:pt x="261" y="248"/>
                  </a:lnTo>
                  <a:lnTo>
                    <a:pt x="261" y="247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6"/>
                  </a:lnTo>
                  <a:lnTo>
                    <a:pt x="264" y="236"/>
                  </a:lnTo>
                  <a:lnTo>
                    <a:pt x="264" y="234"/>
                  </a:lnTo>
                  <a:lnTo>
                    <a:pt x="264" y="231"/>
                  </a:lnTo>
                  <a:lnTo>
                    <a:pt x="264" y="230"/>
                  </a:lnTo>
                  <a:lnTo>
                    <a:pt x="265" y="228"/>
                  </a:lnTo>
                  <a:lnTo>
                    <a:pt x="267" y="228"/>
                  </a:lnTo>
                  <a:lnTo>
                    <a:pt x="270" y="227"/>
                  </a:lnTo>
                  <a:lnTo>
                    <a:pt x="270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3" y="225"/>
                  </a:lnTo>
                  <a:lnTo>
                    <a:pt x="274" y="224"/>
                  </a:lnTo>
                  <a:lnTo>
                    <a:pt x="276" y="222"/>
                  </a:lnTo>
                  <a:lnTo>
                    <a:pt x="278" y="222"/>
                  </a:lnTo>
                  <a:lnTo>
                    <a:pt x="279" y="222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18"/>
                  </a:lnTo>
                  <a:lnTo>
                    <a:pt x="279" y="218"/>
                  </a:lnTo>
                  <a:lnTo>
                    <a:pt x="279" y="216"/>
                  </a:lnTo>
                  <a:lnTo>
                    <a:pt x="279" y="213"/>
                  </a:lnTo>
                  <a:lnTo>
                    <a:pt x="279" y="213"/>
                  </a:lnTo>
                  <a:lnTo>
                    <a:pt x="279" y="213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81" y="210"/>
                  </a:lnTo>
                  <a:lnTo>
                    <a:pt x="282" y="208"/>
                  </a:lnTo>
                  <a:lnTo>
                    <a:pt x="282" y="207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5" y="204"/>
                  </a:lnTo>
                  <a:lnTo>
                    <a:pt x="285" y="199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1" y="196"/>
                  </a:lnTo>
                  <a:lnTo>
                    <a:pt x="278" y="196"/>
                  </a:lnTo>
                  <a:lnTo>
                    <a:pt x="276" y="193"/>
                  </a:lnTo>
                  <a:lnTo>
                    <a:pt x="273" y="190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3" y="185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0" y="182"/>
                  </a:lnTo>
                  <a:lnTo>
                    <a:pt x="270" y="181"/>
                  </a:lnTo>
                  <a:lnTo>
                    <a:pt x="270" y="181"/>
                  </a:lnTo>
                  <a:lnTo>
                    <a:pt x="270" y="179"/>
                  </a:lnTo>
                  <a:lnTo>
                    <a:pt x="270" y="178"/>
                  </a:lnTo>
                  <a:lnTo>
                    <a:pt x="271" y="178"/>
                  </a:lnTo>
                  <a:lnTo>
                    <a:pt x="271" y="178"/>
                  </a:lnTo>
                  <a:lnTo>
                    <a:pt x="274" y="176"/>
                  </a:lnTo>
                  <a:lnTo>
                    <a:pt x="276" y="176"/>
                  </a:lnTo>
                  <a:lnTo>
                    <a:pt x="276" y="176"/>
                  </a:lnTo>
                  <a:lnTo>
                    <a:pt x="276" y="173"/>
                  </a:lnTo>
                  <a:lnTo>
                    <a:pt x="276" y="171"/>
                  </a:lnTo>
                  <a:lnTo>
                    <a:pt x="278" y="171"/>
                  </a:lnTo>
                  <a:lnTo>
                    <a:pt x="279" y="170"/>
                  </a:lnTo>
                  <a:lnTo>
                    <a:pt x="281" y="170"/>
                  </a:lnTo>
                  <a:lnTo>
                    <a:pt x="282" y="171"/>
                  </a:lnTo>
                  <a:lnTo>
                    <a:pt x="285" y="173"/>
                  </a:lnTo>
                  <a:lnTo>
                    <a:pt x="287" y="173"/>
                  </a:lnTo>
                  <a:lnTo>
                    <a:pt x="288" y="173"/>
                  </a:lnTo>
                  <a:lnTo>
                    <a:pt x="290" y="171"/>
                  </a:lnTo>
                  <a:lnTo>
                    <a:pt x="291" y="171"/>
                  </a:lnTo>
                  <a:lnTo>
                    <a:pt x="291" y="168"/>
                  </a:lnTo>
                  <a:lnTo>
                    <a:pt x="288" y="165"/>
                  </a:lnTo>
                  <a:lnTo>
                    <a:pt x="287" y="164"/>
                  </a:lnTo>
                  <a:lnTo>
                    <a:pt x="281" y="164"/>
                  </a:lnTo>
                  <a:lnTo>
                    <a:pt x="278" y="162"/>
                  </a:lnTo>
                  <a:lnTo>
                    <a:pt x="276" y="161"/>
                  </a:lnTo>
                  <a:lnTo>
                    <a:pt x="270" y="154"/>
                  </a:lnTo>
                  <a:lnTo>
                    <a:pt x="270" y="153"/>
                  </a:lnTo>
                  <a:lnTo>
                    <a:pt x="268" y="153"/>
                  </a:lnTo>
                  <a:lnTo>
                    <a:pt x="267" y="153"/>
                  </a:lnTo>
                  <a:lnTo>
                    <a:pt x="265" y="154"/>
                  </a:lnTo>
                  <a:lnTo>
                    <a:pt x="262" y="156"/>
                  </a:lnTo>
                  <a:lnTo>
                    <a:pt x="261" y="157"/>
                  </a:lnTo>
                  <a:lnTo>
                    <a:pt x="258" y="157"/>
                  </a:lnTo>
                  <a:lnTo>
                    <a:pt x="258" y="159"/>
                  </a:lnTo>
                  <a:lnTo>
                    <a:pt x="256" y="161"/>
                  </a:lnTo>
                  <a:lnTo>
                    <a:pt x="248" y="176"/>
                  </a:lnTo>
                  <a:lnTo>
                    <a:pt x="247" y="178"/>
                  </a:lnTo>
                  <a:lnTo>
                    <a:pt x="245" y="178"/>
                  </a:lnTo>
                  <a:lnTo>
                    <a:pt x="244" y="178"/>
                  </a:lnTo>
                  <a:lnTo>
                    <a:pt x="242" y="176"/>
                  </a:lnTo>
                  <a:lnTo>
                    <a:pt x="241" y="176"/>
                  </a:lnTo>
                  <a:lnTo>
                    <a:pt x="241" y="173"/>
                  </a:lnTo>
                  <a:lnTo>
                    <a:pt x="239" y="171"/>
                  </a:lnTo>
                  <a:lnTo>
                    <a:pt x="239" y="171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38" y="168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4" y="162"/>
                  </a:lnTo>
                  <a:lnTo>
                    <a:pt x="234" y="161"/>
                  </a:lnTo>
                  <a:lnTo>
                    <a:pt x="231" y="161"/>
                  </a:lnTo>
                  <a:lnTo>
                    <a:pt x="225" y="157"/>
                  </a:lnTo>
                  <a:lnTo>
                    <a:pt x="224" y="157"/>
                  </a:lnTo>
                  <a:lnTo>
                    <a:pt x="222" y="157"/>
                  </a:lnTo>
                  <a:lnTo>
                    <a:pt x="219" y="159"/>
                  </a:lnTo>
                  <a:lnTo>
                    <a:pt x="216" y="159"/>
                  </a:lnTo>
                  <a:lnTo>
                    <a:pt x="213" y="159"/>
                  </a:lnTo>
                  <a:lnTo>
                    <a:pt x="208" y="157"/>
                  </a:lnTo>
                  <a:lnTo>
                    <a:pt x="207" y="156"/>
                  </a:lnTo>
                  <a:lnTo>
                    <a:pt x="205" y="153"/>
                  </a:lnTo>
                  <a:lnTo>
                    <a:pt x="205" y="151"/>
                  </a:lnTo>
                  <a:lnTo>
                    <a:pt x="204" y="150"/>
                  </a:lnTo>
                  <a:lnTo>
                    <a:pt x="204" y="148"/>
                  </a:lnTo>
                  <a:lnTo>
                    <a:pt x="202" y="148"/>
                  </a:lnTo>
                  <a:lnTo>
                    <a:pt x="197" y="148"/>
                  </a:lnTo>
                  <a:lnTo>
                    <a:pt x="191" y="148"/>
                  </a:lnTo>
                  <a:lnTo>
                    <a:pt x="190" y="147"/>
                  </a:lnTo>
                  <a:lnTo>
                    <a:pt x="188" y="145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5" y="142"/>
                  </a:lnTo>
                  <a:lnTo>
                    <a:pt x="185" y="142"/>
                  </a:lnTo>
                  <a:lnTo>
                    <a:pt x="187" y="141"/>
                  </a:lnTo>
                  <a:lnTo>
                    <a:pt x="188" y="139"/>
                  </a:lnTo>
                  <a:lnTo>
                    <a:pt x="190" y="139"/>
                  </a:lnTo>
                  <a:lnTo>
                    <a:pt x="194" y="139"/>
                  </a:lnTo>
                  <a:lnTo>
                    <a:pt x="196" y="139"/>
                  </a:lnTo>
                  <a:lnTo>
                    <a:pt x="199" y="137"/>
                  </a:lnTo>
                  <a:lnTo>
                    <a:pt x="201" y="137"/>
                  </a:lnTo>
                  <a:lnTo>
                    <a:pt x="201" y="134"/>
                  </a:lnTo>
                  <a:lnTo>
                    <a:pt x="199" y="133"/>
                  </a:lnTo>
                  <a:lnTo>
                    <a:pt x="199" y="133"/>
                  </a:lnTo>
                  <a:lnTo>
                    <a:pt x="196" y="131"/>
                  </a:lnTo>
                  <a:lnTo>
                    <a:pt x="194" y="130"/>
                  </a:lnTo>
                  <a:lnTo>
                    <a:pt x="190" y="130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7" y="125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91" y="121"/>
                  </a:lnTo>
                  <a:lnTo>
                    <a:pt x="191" y="119"/>
                  </a:lnTo>
                  <a:lnTo>
                    <a:pt x="193" y="119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4"/>
                  </a:lnTo>
                  <a:lnTo>
                    <a:pt x="194" y="114"/>
                  </a:lnTo>
                  <a:lnTo>
                    <a:pt x="194" y="113"/>
                  </a:lnTo>
                  <a:lnTo>
                    <a:pt x="196" y="113"/>
                  </a:lnTo>
                  <a:lnTo>
                    <a:pt x="197" y="113"/>
                  </a:lnTo>
                  <a:lnTo>
                    <a:pt x="197" y="111"/>
                  </a:lnTo>
                  <a:lnTo>
                    <a:pt x="197" y="110"/>
                  </a:lnTo>
                  <a:lnTo>
                    <a:pt x="196" y="110"/>
                  </a:lnTo>
                  <a:lnTo>
                    <a:pt x="194" y="107"/>
                  </a:lnTo>
                  <a:lnTo>
                    <a:pt x="193" y="105"/>
                  </a:lnTo>
                  <a:lnTo>
                    <a:pt x="190" y="104"/>
                  </a:lnTo>
                  <a:lnTo>
                    <a:pt x="182" y="102"/>
                  </a:lnTo>
                  <a:lnTo>
                    <a:pt x="179" y="102"/>
                  </a:lnTo>
                  <a:lnTo>
                    <a:pt x="177" y="101"/>
                  </a:lnTo>
                  <a:lnTo>
                    <a:pt x="176" y="99"/>
                  </a:lnTo>
                  <a:lnTo>
                    <a:pt x="174" y="97"/>
                  </a:lnTo>
                  <a:lnTo>
                    <a:pt x="171" y="94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7" y="94"/>
                  </a:lnTo>
                  <a:lnTo>
                    <a:pt x="167" y="94"/>
                  </a:lnTo>
                  <a:lnTo>
                    <a:pt x="165" y="94"/>
                  </a:lnTo>
                  <a:lnTo>
                    <a:pt x="165" y="93"/>
                  </a:lnTo>
                  <a:lnTo>
                    <a:pt x="162" y="91"/>
                  </a:lnTo>
                  <a:lnTo>
                    <a:pt x="159" y="90"/>
                  </a:lnTo>
                  <a:lnTo>
                    <a:pt x="157" y="90"/>
                  </a:lnTo>
                  <a:lnTo>
                    <a:pt x="154" y="85"/>
                  </a:lnTo>
                  <a:lnTo>
                    <a:pt x="150" y="81"/>
                  </a:lnTo>
                  <a:lnTo>
                    <a:pt x="147" y="77"/>
                  </a:lnTo>
                  <a:lnTo>
                    <a:pt x="147" y="76"/>
                  </a:lnTo>
                  <a:lnTo>
                    <a:pt x="145" y="76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42" y="73"/>
                  </a:lnTo>
                  <a:lnTo>
                    <a:pt x="144" y="71"/>
                  </a:lnTo>
                  <a:lnTo>
                    <a:pt x="145" y="71"/>
                  </a:lnTo>
                  <a:lnTo>
                    <a:pt x="145" y="70"/>
                  </a:lnTo>
                  <a:lnTo>
                    <a:pt x="144" y="67"/>
                  </a:lnTo>
                  <a:lnTo>
                    <a:pt x="142" y="64"/>
                  </a:lnTo>
                  <a:lnTo>
                    <a:pt x="142" y="62"/>
                  </a:lnTo>
                  <a:lnTo>
                    <a:pt x="142" y="59"/>
                  </a:lnTo>
                  <a:lnTo>
                    <a:pt x="144" y="57"/>
                  </a:lnTo>
                  <a:lnTo>
                    <a:pt x="144" y="56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7"/>
                  </a:lnTo>
                  <a:lnTo>
                    <a:pt x="144" y="45"/>
                  </a:lnTo>
                  <a:lnTo>
                    <a:pt x="144" y="45"/>
                  </a:lnTo>
                  <a:lnTo>
                    <a:pt x="142" y="44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0" y="47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7" y="48"/>
                  </a:lnTo>
                  <a:lnTo>
                    <a:pt x="137" y="47"/>
                  </a:lnTo>
                  <a:lnTo>
                    <a:pt x="136" y="45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3" y="42"/>
                  </a:lnTo>
                  <a:lnTo>
                    <a:pt x="133" y="40"/>
                  </a:lnTo>
                  <a:lnTo>
                    <a:pt x="133" y="39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28" y="31"/>
                  </a:lnTo>
                  <a:lnTo>
                    <a:pt x="127" y="30"/>
                  </a:lnTo>
                  <a:lnTo>
                    <a:pt x="125" y="30"/>
                  </a:lnTo>
                  <a:lnTo>
                    <a:pt x="124" y="30"/>
                  </a:lnTo>
                  <a:lnTo>
                    <a:pt x="122" y="28"/>
                  </a:lnTo>
                  <a:lnTo>
                    <a:pt x="117" y="25"/>
                  </a:lnTo>
                  <a:lnTo>
                    <a:pt x="116" y="24"/>
                  </a:lnTo>
                  <a:lnTo>
                    <a:pt x="113" y="24"/>
                  </a:lnTo>
                  <a:lnTo>
                    <a:pt x="111" y="22"/>
                  </a:lnTo>
                  <a:lnTo>
                    <a:pt x="111" y="20"/>
                  </a:lnTo>
                  <a:lnTo>
                    <a:pt x="110" y="16"/>
                  </a:lnTo>
                  <a:lnTo>
                    <a:pt x="108" y="14"/>
                  </a:lnTo>
                  <a:lnTo>
                    <a:pt x="104" y="8"/>
                  </a:lnTo>
                  <a:lnTo>
                    <a:pt x="99" y="5"/>
                  </a:lnTo>
                  <a:lnTo>
                    <a:pt x="99" y="4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5" y="2"/>
                  </a:lnTo>
                  <a:lnTo>
                    <a:pt x="80" y="2"/>
                  </a:lnTo>
                  <a:lnTo>
                    <a:pt x="77" y="2"/>
                  </a:lnTo>
                  <a:lnTo>
                    <a:pt x="76" y="4"/>
                  </a:lnTo>
                  <a:lnTo>
                    <a:pt x="70" y="5"/>
                  </a:lnTo>
                  <a:lnTo>
                    <a:pt x="68" y="5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9" y="0"/>
                  </a:lnTo>
                  <a:lnTo>
                    <a:pt x="56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1" y="20"/>
                  </a:lnTo>
                  <a:lnTo>
                    <a:pt x="31" y="22"/>
                  </a:lnTo>
                  <a:lnTo>
                    <a:pt x="28" y="22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27"/>
                  </a:lnTo>
                  <a:lnTo>
                    <a:pt x="3" y="27"/>
                  </a:lnTo>
                  <a:lnTo>
                    <a:pt x="5" y="28"/>
                  </a:lnTo>
                  <a:lnTo>
                    <a:pt x="3" y="30"/>
                  </a:lnTo>
                  <a:lnTo>
                    <a:pt x="2" y="30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5" y="33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5" y="50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6" y="59"/>
                  </a:lnTo>
                  <a:lnTo>
                    <a:pt x="5" y="59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3" y="65"/>
                  </a:lnTo>
                  <a:lnTo>
                    <a:pt x="5" y="65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19" y="71"/>
                  </a:lnTo>
                  <a:lnTo>
                    <a:pt x="17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6"/>
                  </a:lnTo>
                  <a:lnTo>
                    <a:pt x="11" y="77"/>
                  </a:lnTo>
                  <a:lnTo>
                    <a:pt x="13" y="77"/>
                  </a:lnTo>
                  <a:lnTo>
                    <a:pt x="14" y="79"/>
                  </a:lnTo>
                  <a:lnTo>
                    <a:pt x="14" y="81"/>
                  </a:lnTo>
                  <a:lnTo>
                    <a:pt x="13" y="82"/>
                  </a:lnTo>
                  <a:lnTo>
                    <a:pt x="10" y="84"/>
                  </a:lnTo>
                  <a:lnTo>
                    <a:pt x="10" y="85"/>
                  </a:lnTo>
                  <a:lnTo>
                    <a:pt x="11" y="87"/>
                  </a:lnTo>
                  <a:lnTo>
                    <a:pt x="13" y="88"/>
                  </a:lnTo>
                  <a:lnTo>
                    <a:pt x="14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20" y="94"/>
                  </a:lnTo>
                  <a:lnTo>
                    <a:pt x="23" y="96"/>
                  </a:lnTo>
                  <a:lnTo>
                    <a:pt x="39" y="99"/>
                  </a:lnTo>
                  <a:lnTo>
                    <a:pt x="39" y="101"/>
                  </a:lnTo>
                  <a:lnTo>
                    <a:pt x="40" y="102"/>
                  </a:lnTo>
                  <a:lnTo>
                    <a:pt x="42" y="104"/>
                  </a:lnTo>
                  <a:lnTo>
                    <a:pt x="42" y="107"/>
                  </a:lnTo>
                  <a:lnTo>
                    <a:pt x="40" y="107"/>
                  </a:lnTo>
                  <a:lnTo>
                    <a:pt x="40" y="108"/>
                  </a:lnTo>
                  <a:lnTo>
                    <a:pt x="34" y="108"/>
                  </a:lnTo>
                  <a:lnTo>
                    <a:pt x="33" y="108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28" y="108"/>
                  </a:lnTo>
                  <a:lnTo>
                    <a:pt x="27" y="108"/>
                  </a:lnTo>
                  <a:lnTo>
                    <a:pt x="25" y="108"/>
                  </a:lnTo>
                  <a:lnTo>
                    <a:pt x="23" y="107"/>
                  </a:lnTo>
                  <a:lnTo>
                    <a:pt x="23" y="105"/>
                  </a:lnTo>
                  <a:lnTo>
                    <a:pt x="22" y="104"/>
                  </a:lnTo>
                  <a:lnTo>
                    <a:pt x="20" y="105"/>
                  </a:lnTo>
                  <a:lnTo>
                    <a:pt x="20" y="107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6" y="110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4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9"/>
                  </a:lnTo>
                  <a:lnTo>
                    <a:pt x="19" y="122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8"/>
                  </a:lnTo>
                  <a:lnTo>
                    <a:pt x="19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30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3"/>
                  </a:lnTo>
                  <a:lnTo>
                    <a:pt x="11" y="134"/>
                  </a:lnTo>
                  <a:lnTo>
                    <a:pt x="11" y="136"/>
                  </a:lnTo>
                  <a:lnTo>
                    <a:pt x="13" y="139"/>
                  </a:lnTo>
                  <a:lnTo>
                    <a:pt x="14" y="139"/>
                  </a:lnTo>
                  <a:lnTo>
                    <a:pt x="16" y="139"/>
                  </a:lnTo>
                  <a:lnTo>
                    <a:pt x="17" y="137"/>
                  </a:lnTo>
                  <a:lnTo>
                    <a:pt x="23" y="133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30" y="134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9" y="136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36" y="153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9"/>
                  </a:lnTo>
                  <a:lnTo>
                    <a:pt x="30" y="162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5" y="170"/>
                  </a:lnTo>
                  <a:lnTo>
                    <a:pt x="25" y="170"/>
                  </a:lnTo>
                  <a:lnTo>
                    <a:pt x="25" y="170"/>
                  </a:lnTo>
                  <a:lnTo>
                    <a:pt x="25" y="171"/>
                  </a:lnTo>
                  <a:lnTo>
                    <a:pt x="25" y="173"/>
                  </a:lnTo>
                  <a:lnTo>
                    <a:pt x="25" y="173"/>
                  </a:lnTo>
                  <a:lnTo>
                    <a:pt x="23" y="174"/>
                  </a:lnTo>
                  <a:lnTo>
                    <a:pt x="23" y="174"/>
                  </a:lnTo>
                  <a:lnTo>
                    <a:pt x="20" y="176"/>
                  </a:lnTo>
                  <a:lnTo>
                    <a:pt x="20" y="178"/>
                  </a:lnTo>
                  <a:lnTo>
                    <a:pt x="22" y="182"/>
                  </a:lnTo>
                  <a:lnTo>
                    <a:pt x="22" y="185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9" y="190"/>
                  </a:lnTo>
                  <a:lnTo>
                    <a:pt x="19" y="191"/>
                  </a:lnTo>
                  <a:lnTo>
                    <a:pt x="20" y="194"/>
                  </a:lnTo>
                  <a:lnTo>
                    <a:pt x="22" y="198"/>
                  </a:lnTo>
                  <a:lnTo>
                    <a:pt x="23" y="199"/>
                  </a:lnTo>
                  <a:lnTo>
                    <a:pt x="25" y="199"/>
                  </a:lnTo>
                  <a:lnTo>
                    <a:pt x="28" y="201"/>
                  </a:lnTo>
                  <a:lnTo>
                    <a:pt x="30" y="201"/>
                  </a:lnTo>
                  <a:lnTo>
                    <a:pt x="30" y="201"/>
                  </a:lnTo>
                  <a:lnTo>
                    <a:pt x="31" y="201"/>
                  </a:lnTo>
                  <a:lnTo>
                    <a:pt x="33" y="201"/>
                  </a:lnTo>
                  <a:lnTo>
                    <a:pt x="34" y="201"/>
                  </a:lnTo>
                  <a:lnTo>
                    <a:pt x="36" y="202"/>
                  </a:lnTo>
                  <a:lnTo>
                    <a:pt x="37" y="204"/>
                  </a:lnTo>
                  <a:lnTo>
                    <a:pt x="37" y="207"/>
                  </a:lnTo>
                  <a:lnTo>
                    <a:pt x="37" y="208"/>
                  </a:lnTo>
                  <a:lnTo>
                    <a:pt x="39" y="210"/>
                  </a:lnTo>
                  <a:lnTo>
                    <a:pt x="39" y="211"/>
                  </a:lnTo>
                  <a:lnTo>
                    <a:pt x="43" y="213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3"/>
                  </a:lnTo>
                  <a:lnTo>
                    <a:pt x="47" y="213"/>
                  </a:lnTo>
                  <a:lnTo>
                    <a:pt x="47" y="214"/>
                  </a:lnTo>
                  <a:lnTo>
                    <a:pt x="47" y="216"/>
                  </a:lnTo>
                  <a:lnTo>
                    <a:pt x="47" y="218"/>
                  </a:lnTo>
                  <a:lnTo>
                    <a:pt x="48" y="218"/>
                  </a:lnTo>
                  <a:lnTo>
                    <a:pt x="50" y="219"/>
                  </a:lnTo>
                  <a:lnTo>
                    <a:pt x="50" y="221"/>
                  </a:lnTo>
                  <a:lnTo>
                    <a:pt x="53" y="222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6" y="222"/>
                  </a:lnTo>
                  <a:lnTo>
                    <a:pt x="57" y="224"/>
                  </a:lnTo>
                  <a:lnTo>
                    <a:pt x="57" y="225"/>
                  </a:lnTo>
                  <a:lnTo>
                    <a:pt x="57" y="227"/>
                  </a:lnTo>
                  <a:lnTo>
                    <a:pt x="56" y="228"/>
                  </a:lnTo>
                  <a:lnTo>
                    <a:pt x="53" y="231"/>
                  </a:lnTo>
                  <a:lnTo>
                    <a:pt x="51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0" y="231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37" y="231"/>
                  </a:lnTo>
                  <a:lnTo>
                    <a:pt x="36" y="230"/>
                  </a:lnTo>
                  <a:lnTo>
                    <a:pt x="34" y="228"/>
                  </a:lnTo>
                  <a:lnTo>
                    <a:pt x="33" y="228"/>
                  </a:lnTo>
                  <a:lnTo>
                    <a:pt x="31" y="228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1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28" y="233"/>
                  </a:lnTo>
                  <a:lnTo>
                    <a:pt x="30" y="234"/>
                  </a:lnTo>
                  <a:lnTo>
                    <a:pt x="31" y="236"/>
                  </a:lnTo>
                  <a:lnTo>
                    <a:pt x="34" y="239"/>
                  </a:lnTo>
                  <a:lnTo>
                    <a:pt x="37" y="245"/>
                  </a:lnTo>
                  <a:lnTo>
                    <a:pt x="45" y="253"/>
                  </a:lnTo>
                  <a:lnTo>
                    <a:pt x="47" y="258"/>
                  </a:lnTo>
                  <a:lnTo>
                    <a:pt x="48" y="262"/>
                  </a:lnTo>
                  <a:lnTo>
                    <a:pt x="50" y="265"/>
                  </a:lnTo>
                  <a:lnTo>
                    <a:pt x="47" y="267"/>
                  </a:lnTo>
                  <a:lnTo>
                    <a:pt x="47" y="268"/>
                  </a:lnTo>
                  <a:lnTo>
                    <a:pt x="47" y="270"/>
                  </a:lnTo>
                  <a:lnTo>
                    <a:pt x="47" y="271"/>
                  </a:lnTo>
                  <a:lnTo>
                    <a:pt x="47" y="273"/>
                  </a:lnTo>
                  <a:lnTo>
                    <a:pt x="48" y="273"/>
                  </a:lnTo>
                  <a:lnTo>
                    <a:pt x="48" y="273"/>
                  </a:lnTo>
                  <a:lnTo>
                    <a:pt x="48" y="275"/>
                  </a:lnTo>
                  <a:lnTo>
                    <a:pt x="47" y="275"/>
                  </a:lnTo>
                  <a:lnTo>
                    <a:pt x="43" y="273"/>
                  </a:lnTo>
                  <a:lnTo>
                    <a:pt x="43" y="273"/>
                  </a:lnTo>
                  <a:lnTo>
                    <a:pt x="42" y="276"/>
                  </a:lnTo>
                  <a:lnTo>
                    <a:pt x="42" y="276"/>
                  </a:lnTo>
                  <a:lnTo>
                    <a:pt x="42" y="276"/>
                  </a:lnTo>
                  <a:lnTo>
                    <a:pt x="40" y="275"/>
                  </a:lnTo>
                  <a:lnTo>
                    <a:pt x="39" y="271"/>
                  </a:lnTo>
                  <a:lnTo>
                    <a:pt x="39" y="270"/>
                  </a:lnTo>
                  <a:lnTo>
                    <a:pt x="37" y="270"/>
                  </a:lnTo>
                  <a:lnTo>
                    <a:pt x="36" y="270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33" y="271"/>
                  </a:lnTo>
                  <a:lnTo>
                    <a:pt x="31" y="271"/>
                  </a:lnTo>
                  <a:lnTo>
                    <a:pt x="30" y="271"/>
                  </a:lnTo>
                  <a:lnTo>
                    <a:pt x="30" y="273"/>
                  </a:lnTo>
                  <a:lnTo>
                    <a:pt x="28" y="276"/>
                  </a:lnTo>
                  <a:lnTo>
                    <a:pt x="28" y="278"/>
                  </a:lnTo>
                  <a:lnTo>
                    <a:pt x="25" y="278"/>
                  </a:lnTo>
                  <a:lnTo>
                    <a:pt x="23" y="279"/>
                  </a:lnTo>
                  <a:lnTo>
                    <a:pt x="25" y="282"/>
                  </a:lnTo>
                  <a:lnTo>
                    <a:pt x="25" y="285"/>
                  </a:lnTo>
                  <a:lnTo>
                    <a:pt x="28" y="287"/>
                  </a:lnTo>
                  <a:lnTo>
                    <a:pt x="37" y="291"/>
                  </a:lnTo>
                  <a:lnTo>
                    <a:pt x="39" y="293"/>
                  </a:lnTo>
                  <a:lnTo>
                    <a:pt x="42" y="298"/>
                  </a:lnTo>
                  <a:lnTo>
                    <a:pt x="47" y="302"/>
                  </a:lnTo>
                  <a:lnTo>
                    <a:pt x="47" y="304"/>
                  </a:lnTo>
                  <a:lnTo>
                    <a:pt x="48" y="305"/>
                  </a:lnTo>
                  <a:lnTo>
                    <a:pt x="50" y="307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4" y="313"/>
                  </a:lnTo>
                  <a:lnTo>
                    <a:pt x="56" y="313"/>
                  </a:lnTo>
                  <a:lnTo>
                    <a:pt x="57" y="315"/>
                  </a:lnTo>
                  <a:lnTo>
                    <a:pt x="60" y="316"/>
                  </a:lnTo>
                  <a:lnTo>
                    <a:pt x="62" y="316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9"/>
                  </a:lnTo>
                  <a:lnTo>
                    <a:pt x="68" y="321"/>
                  </a:lnTo>
                  <a:lnTo>
                    <a:pt x="70" y="322"/>
                  </a:lnTo>
                  <a:lnTo>
                    <a:pt x="71" y="322"/>
                  </a:lnTo>
                  <a:lnTo>
                    <a:pt x="74" y="322"/>
                  </a:lnTo>
                  <a:lnTo>
                    <a:pt x="76" y="322"/>
                  </a:lnTo>
                  <a:lnTo>
                    <a:pt x="77" y="322"/>
                  </a:lnTo>
                  <a:lnTo>
                    <a:pt x="79" y="321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0" y="321"/>
                  </a:lnTo>
                  <a:lnTo>
                    <a:pt x="82" y="322"/>
                  </a:lnTo>
                  <a:lnTo>
                    <a:pt x="82" y="322"/>
                  </a:lnTo>
                  <a:lnTo>
                    <a:pt x="82" y="324"/>
                  </a:lnTo>
                  <a:lnTo>
                    <a:pt x="87" y="327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4" y="335"/>
                  </a:lnTo>
                  <a:lnTo>
                    <a:pt x="96" y="335"/>
                  </a:lnTo>
                  <a:lnTo>
                    <a:pt x="96" y="335"/>
                  </a:lnTo>
                  <a:lnTo>
                    <a:pt x="100" y="335"/>
                  </a:lnTo>
                  <a:lnTo>
                    <a:pt x="102" y="336"/>
                  </a:lnTo>
                  <a:lnTo>
                    <a:pt x="107" y="339"/>
                  </a:lnTo>
                  <a:lnTo>
                    <a:pt x="111" y="341"/>
                  </a:lnTo>
                  <a:lnTo>
                    <a:pt x="111" y="342"/>
                  </a:lnTo>
                  <a:lnTo>
                    <a:pt x="113" y="345"/>
                  </a:lnTo>
                  <a:lnTo>
                    <a:pt x="111" y="348"/>
                  </a:lnTo>
                  <a:lnTo>
                    <a:pt x="105" y="350"/>
                  </a:lnTo>
                  <a:lnTo>
                    <a:pt x="102" y="352"/>
                  </a:lnTo>
                  <a:lnTo>
                    <a:pt x="102" y="352"/>
                  </a:lnTo>
                  <a:lnTo>
                    <a:pt x="100" y="353"/>
                  </a:lnTo>
                  <a:lnTo>
                    <a:pt x="100" y="353"/>
                  </a:lnTo>
                  <a:lnTo>
                    <a:pt x="102" y="355"/>
                  </a:lnTo>
                  <a:lnTo>
                    <a:pt x="100" y="356"/>
                  </a:lnTo>
                  <a:lnTo>
                    <a:pt x="99" y="358"/>
                  </a:lnTo>
                  <a:lnTo>
                    <a:pt x="97" y="356"/>
                  </a:lnTo>
                  <a:lnTo>
                    <a:pt x="94" y="355"/>
                  </a:lnTo>
                  <a:lnTo>
                    <a:pt x="91" y="355"/>
                  </a:lnTo>
                  <a:lnTo>
                    <a:pt x="91" y="355"/>
                  </a:lnTo>
                  <a:lnTo>
                    <a:pt x="90" y="356"/>
                  </a:lnTo>
                  <a:lnTo>
                    <a:pt x="88" y="356"/>
                  </a:lnTo>
                  <a:lnTo>
                    <a:pt x="88" y="358"/>
                  </a:lnTo>
                  <a:lnTo>
                    <a:pt x="88" y="359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93" y="365"/>
                  </a:lnTo>
                  <a:lnTo>
                    <a:pt x="93" y="367"/>
                  </a:lnTo>
                  <a:lnTo>
                    <a:pt x="93" y="367"/>
                  </a:lnTo>
                  <a:lnTo>
                    <a:pt x="93" y="368"/>
                  </a:lnTo>
                  <a:lnTo>
                    <a:pt x="91" y="372"/>
                  </a:lnTo>
                  <a:lnTo>
                    <a:pt x="91" y="372"/>
                  </a:lnTo>
                  <a:lnTo>
                    <a:pt x="91" y="373"/>
                  </a:lnTo>
                  <a:lnTo>
                    <a:pt x="91" y="375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1" y="379"/>
                  </a:lnTo>
                  <a:lnTo>
                    <a:pt x="96" y="381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9" y="388"/>
                  </a:lnTo>
                  <a:lnTo>
                    <a:pt x="99" y="388"/>
                  </a:lnTo>
                  <a:lnTo>
                    <a:pt x="100" y="390"/>
                  </a:lnTo>
                  <a:lnTo>
                    <a:pt x="100" y="390"/>
                  </a:lnTo>
                  <a:lnTo>
                    <a:pt x="100" y="392"/>
                  </a:lnTo>
                  <a:lnTo>
                    <a:pt x="100" y="392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2" y="395"/>
                  </a:lnTo>
                  <a:lnTo>
                    <a:pt x="102" y="395"/>
                  </a:lnTo>
                  <a:lnTo>
                    <a:pt x="102" y="396"/>
                  </a:lnTo>
                  <a:lnTo>
                    <a:pt x="102" y="398"/>
                  </a:lnTo>
                  <a:lnTo>
                    <a:pt x="102" y="398"/>
                  </a:lnTo>
                  <a:lnTo>
                    <a:pt x="102" y="399"/>
                  </a:lnTo>
                  <a:lnTo>
                    <a:pt x="104" y="401"/>
                  </a:lnTo>
                  <a:lnTo>
                    <a:pt x="104" y="401"/>
                  </a:lnTo>
                  <a:lnTo>
                    <a:pt x="110" y="401"/>
                  </a:lnTo>
                  <a:lnTo>
                    <a:pt x="110" y="401"/>
                  </a:lnTo>
                  <a:lnTo>
                    <a:pt x="119" y="407"/>
                  </a:lnTo>
                  <a:lnTo>
                    <a:pt x="120" y="408"/>
                  </a:lnTo>
                  <a:lnTo>
                    <a:pt x="122" y="408"/>
                  </a:lnTo>
                  <a:lnTo>
                    <a:pt x="124" y="412"/>
                  </a:lnTo>
                  <a:lnTo>
                    <a:pt x="125" y="418"/>
                  </a:lnTo>
                  <a:lnTo>
                    <a:pt x="127" y="419"/>
                  </a:lnTo>
                  <a:lnTo>
                    <a:pt x="127" y="421"/>
                  </a:lnTo>
                  <a:lnTo>
                    <a:pt x="127" y="425"/>
                  </a:lnTo>
                  <a:lnTo>
                    <a:pt x="127" y="427"/>
                  </a:lnTo>
                  <a:lnTo>
                    <a:pt x="130" y="433"/>
                  </a:lnTo>
                  <a:lnTo>
                    <a:pt x="130" y="435"/>
                  </a:lnTo>
                  <a:lnTo>
                    <a:pt x="130" y="436"/>
                  </a:lnTo>
                  <a:lnTo>
                    <a:pt x="130" y="438"/>
                  </a:lnTo>
                  <a:lnTo>
                    <a:pt x="130" y="439"/>
                  </a:lnTo>
                  <a:lnTo>
                    <a:pt x="128" y="439"/>
                  </a:lnTo>
                  <a:lnTo>
                    <a:pt x="128" y="441"/>
                  </a:lnTo>
                  <a:lnTo>
                    <a:pt x="128" y="441"/>
                  </a:lnTo>
                  <a:lnTo>
                    <a:pt x="128" y="442"/>
                  </a:lnTo>
                  <a:lnTo>
                    <a:pt x="128" y="442"/>
                  </a:lnTo>
                  <a:lnTo>
                    <a:pt x="128" y="444"/>
                  </a:lnTo>
                  <a:lnTo>
                    <a:pt x="128" y="445"/>
                  </a:lnTo>
                  <a:lnTo>
                    <a:pt x="130" y="447"/>
                  </a:lnTo>
                  <a:lnTo>
                    <a:pt x="130" y="447"/>
                  </a:lnTo>
                  <a:lnTo>
                    <a:pt x="131" y="447"/>
                  </a:lnTo>
                  <a:lnTo>
                    <a:pt x="133" y="447"/>
                  </a:lnTo>
                  <a:lnTo>
                    <a:pt x="133" y="445"/>
                  </a:lnTo>
                  <a:lnTo>
                    <a:pt x="133" y="445"/>
                  </a:lnTo>
                  <a:lnTo>
                    <a:pt x="134" y="445"/>
                  </a:lnTo>
                  <a:lnTo>
                    <a:pt x="136" y="447"/>
                  </a:lnTo>
                  <a:lnTo>
                    <a:pt x="136" y="447"/>
                  </a:lnTo>
                  <a:lnTo>
                    <a:pt x="137" y="447"/>
                  </a:lnTo>
                  <a:lnTo>
                    <a:pt x="139" y="445"/>
                  </a:lnTo>
                  <a:lnTo>
                    <a:pt x="139" y="445"/>
                  </a:lnTo>
                  <a:lnTo>
                    <a:pt x="140" y="444"/>
                  </a:lnTo>
                  <a:lnTo>
                    <a:pt x="142" y="441"/>
                  </a:lnTo>
                  <a:lnTo>
                    <a:pt x="142" y="441"/>
                  </a:lnTo>
                  <a:lnTo>
                    <a:pt x="142" y="439"/>
                  </a:lnTo>
                  <a:lnTo>
                    <a:pt x="142" y="438"/>
                  </a:lnTo>
                  <a:lnTo>
                    <a:pt x="140" y="435"/>
                  </a:lnTo>
                  <a:lnTo>
                    <a:pt x="140" y="433"/>
                  </a:lnTo>
                  <a:lnTo>
                    <a:pt x="142" y="429"/>
                  </a:lnTo>
                  <a:lnTo>
                    <a:pt x="142" y="425"/>
                  </a:lnTo>
                  <a:lnTo>
                    <a:pt x="144" y="424"/>
                  </a:lnTo>
                  <a:lnTo>
                    <a:pt x="147" y="422"/>
                  </a:lnTo>
                  <a:lnTo>
                    <a:pt x="153" y="421"/>
                  </a:lnTo>
                  <a:lnTo>
                    <a:pt x="157" y="419"/>
                  </a:lnTo>
                  <a:lnTo>
                    <a:pt x="161" y="418"/>
                  </a:lnTo>
                  <a:lnTo>
                    <a:pt x="162" y="418"/>
                  </a:lnTo>
                  <a:lnTo>
                    <a:pt x="164" y="416"/>
                  </a:lnTo>
                  <a:lnTo>
                    <a:pt x="165" y="413"/>
                  </a:lnTo>
                  <a:lnTo>
                    <a:pt x="167" y="413"/>
                  </a:lnTo>
                  <a:lnTo>
                    <a:pt x="168" y="413"/>
                  </a:lnTo>
                  <a:lnTo>
                    <a:pt x="168" y="413"/>
                  </a:lnTo>
                  <a:lnTo>
                    <a:pt x="170" y="413"/>
                  </a:lnTo>
                  <a:lnTo>
                    <a:pt x="173" y="416"/>
                  </a:lnTo>
                  <a:lnTo>
                    <a:pt x="174" y="418"/>
                  </a:lnTo>
                  <a:lnTo>
                    <a:pt x="176" y="419"/>
                  </a:lnTo>
                  <a:lnTo>
                    <a:pt x="177" y="421"/>
                  </a:lnTo>
                  <a:lnTo>
                    <a:pt x="177" y="422"/>
                  </a:lnTo>
                  <a:lnTo>
                    <a:pt x="177" y="422"/>
                  </a:lnTo>
                  <a:lnTo>
                    <a:pt x="179" y="422"/>
                  </a:lnTo>
                  <a:lnTo>
                    <a:pt x="182" y="424"/>
                  </a:lnTo>
                  <a:lnTo>
                    <a:pt x="182" y="422"/>
                  </a:lnTo>
                  <a:lnTo>
                    <a:pt x="182" y="422"/>
                  </a:lnTo>
                  <a:lnTo>
                    <a:pt x="182" y="422"/>
                  </a:lnTo>
                  <a:lnTo>
                    <a:pt x="182" y="421"/>
                  </a:lnTo>
                  <a:lnTo>
                    <a:pt x="182" y="419"/>
                  </a:lnTo>
                  <a:lnTo>
                    <a:pt x="182" y="419"/>
                  </a:lnTo>
                  <a:lnTo>
                    <a:pt x="182" y="418"/>
                  </a:lnTo>
                  <a:lnTo>
                    <a:pt x="182" y="418"/>
                  </a:lnTo>
                  <a:lnTo>
                    <a:pt x="187" y="410"/>
                  </a:lnTo>
                  <a:lnTo>
                    <a:pt x="187" y="410"/>
                  </a:lnTo>
                  <a:lnTo>
                    <a:pt x="187" y="410"/>
                  </a:lnTo>
                  <a:lnTo>
                    <a:pt x="188" y="410"/>
                  </a:lnTo>
                  <a:lnTo>
                    <a:pt x="191" y="410"/>
                  </a:lnTo>
                  <a:lnTo>
                    <a:pt x="191" y="410"/>
                  </a:lnTo>
                  <a:lnTo>
                    <a:pt x="191" y="410"/>
                  </a:lnTo>
                  <a:lnTo>
                    <a:pt x="191" y="408"/>
                  </a:lnTo>
                  <a:lnTo>
                    <a:pt x="191" y="408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4" y="408"/>
                  </a:lnTo>
                  <a:lnTo>
                    <a:pt x="194" y="408"/>
                  </a:lnTo>
                  <a:lnTo>
                    <a:pt x="196" y="408"/>
                  </a:lnTo>
                  <a:lnTo>
                    <a:pt x="196" y="407"/>
                  </a:lnTo>
                  <a:lnTo>
                    <a:pt x="197" y="408"/>
                  </a:lnTo>
                  <a:lnTo>
                    <a:pt x="199" y="408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2" y="408"/>
                  </a:lnTo>
                  <a:lnTo>
                    <a:pt x="207" y="408"/>
                  </a:lnTo>
                  <a:lnTo>
                    <a:pt x="210" y="408"/>
                  </a:lnTo>
                  <a:lnTo>
                    <a:pt x="210" y="408"/>
                  </a:lnTo>
                  <a:lnTo>
                    <a:pt x="210" y="408"/>
                  </a:lnTo>
                  <a:lnTo>
                    <a:pt x="211" y="408"/>
                  </a:lnTo>
                  <a:lnTo>
                    <a:pt x="213" y="407"/>
                  </a:lnTo>
                  <a:lnTo>
                    <a:pt x="213" y="405"/>
                  </a:lnTo>
                  <a:lnTo>
                    <a:pt x="221" y="402"/>
                  </a:lnTo>
                  <a:lnTo>
                    <a:pt x="222" y="401"/>
                  </a:lnTo>
                  <a:lnTo>
                    <a:pt x="225" y="401"/>
                  </a:lnTo>
                  <a:lnTo>
                    <a:pt x="225" y="401"/>
                  </a:lnTo>
                  <a:lnTo>
                    <a:pt x="228" y="399"/>
                  </a:lnTo>
                  <a:lnTo>
                    <a:pt x="230" y="399"/>
                  </a:lnTo>
                  <a:lnTo>
                    <a:pt x="230" y="399"/>
                  </a:lnTo>
                  <a:lnTo>
                    <a:pt x="234" y="401"/>
                  </a:lnTo>
                  <a:lnTo>
                    <a:pt x="236" y="402"/>
                  </a:lnTo>
                  <a:lnTo>
                    <a:pt x="238" y="402"/>
                  </a:lnTo>
                  <a:lnTo>
                    <a:pt x="239" y="402"/>
                  </a:lnTo>
                  <a:lnTo>
                    <a:pt x="242" y="401"/>
                  </a:lnTo>
                  <a:lnTo>
                    <a:pt x="251" y="398"/>
                  </a:lnTo>
                  <a:lnTo>
                    <a:pt x="254" y="395"/>
                  </a:lnTo>
                  <a:lnTo>
                    <a:pt x="254" y="395"/>
                  </a:lnTo>
                  <a:lnTo>
                    <a:pt x="254" y="396"/>
                  </a:lnTo>
                  <a:lnTo>
                    <a:pt x="254" y="398"/>
                  </a:lnTo>
                  <a:lnTo>
                    <a:pt x="254" y="398"/>
                  </a:lnTo>
                  <a:lnTo>
                    <a:pt x="256" y="399"/>
                  </a:lnTo>
                  <a:lnTo>
                    <a:pt x="258" y="401"/>
                  </a:lnTo>
                  <a:lnTo>
                    <a:pt x="259" y="401"/>
                  </a:lnTo>
                  <a:lnTo>
                    <a:pt x="261" y="401"/>
                  </a:lnTo>
                  <a:lnTo>
                    <a:pt x="262" y="399"/>
                  </a:lnTo>
                  <a:lnTo>
                    <a:pt x="265" y="399"/>
                  </a:lnTo>
                  <a:lnTo>
                    <a:pt x="267" y="399"/>
                  </a:lnTo>
                  <a:lnTo>
                    <a:pt x="267" y="398"/>
                  </a:lnTo>
                  <a:lnTo>
                    <a:pt x="268" y="395"/>
                  </a:lnTo>
                  <a:lnTo>
                    <a:pt x="270" y="393"/>
                  </a:lnTo>
                  <a:lnTo>
                    <a:pt x="270" y="393"/>
                  </a:lnTo>
                  <a:lnTo>
                    <a:pt x="271" y="392"/>
                  </a:lnTo>
                  <a:lnTo>
                    <a:pt x="273" y="392"/>
                  </a:lnTo>
                  <a:lnTo>
                    <a:pt x="273" y="390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73" y="381"/>
                  </a:lnTo>
                  <a:lnTo>
                    <a:pt x="273" y="381"/>
                  </a:lnTo>
                  <a:lnTo>
                    <a:pt x="270" y="378"/>
                  </a:lnTo>
                  <a:lnTo>
                    <a:pt x="267" y="375"/>
                  </a:lnTo>
                  <a:lnTo>
                    <a:pt x="267" y="375"/>
                  </a:lnTo>
                  <a:lnTo>
                    <a:pt x="267" y="373"/>
                  </a:lnTo>
                  <a:lnTo>
                    <a:pt x="267" y="368"/>
                  </a:lnTo>
                  <a:lnTo>
                    <a:pt x="268" y="367"/>
                  </a:lnTo>
                  <a:lnTo>
                    <a:pt x="268" y="365"/>
                  </a:lnTo>
                  <a:lnTo>
                    <a:pt x="267" y="364"/>
                  </a:lnTo>
                  <a:lnTo>
                    <a:pt x="270" y="361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70" y="358"/>
                  </a:lnTo>
                  <a:lnTo>
                    <a:pt x="270" y="358"/>
                  </a:lnTo>
                  <a:lnTo>
                    <a:pt x="270" y="358"/>
                  </a:lnTo>
                  <a:lnTo>
                    <a:pt x="268" y="356"/>
                  </a:lnTo>
                  <a:lnTo>
                    <a:pt x="267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7" y="350"/>
                  </a:lnTo>
                  <a:lnTo>
                    <a:pt x="267" y="350"/>
                  </a:lnTo>
                  <a:lnTo>
                    <a:pt x="268" y="348"/>
                  </a:lnTo>
                  <a:lnTo>
                    <a:pt x="270" y="348"/>
                  </a:lnTo>
                  <a:lnTo>
                    <a:pt x="270" y="347"/>
                  </a:lnTo>
                  <a:lnTo>
                    <a:pt x="271" y="345"/>
                  </a:lnTo>
                  <a:lnTo>
                    <a:pt x="271" y="345"/>
                  </a:lnTo>
                  <a:lnTo>
                    <a:pt x="273" y="345"/>
                  </a:lnTo>
                  <a:lnTo>
                    <a:pt x="274" y="345"/>
                  </a:lnTo>
                  <a:lnTo>
                    <a:pt x="274" y="344"/>
                  </a:lnTo>
                  <a:lnTo>
                    <a:pt x="274" y="344"/>
                  </a:lnTo>
                  <a:lnTo>
                    <a:pt x="276" y="344"/>
                  </a:lnTo>
                  <a:lnTo>
                    <a:pt x="276" y="344"/>
                  </a:lnTo>
                  <a:lnTo>
                    <a:pt x="279" y="342"/>
                  </a:lnTo>
                  <a:lnTo>
                    <a:pt x="284" y="344"/>
                  </a:lnTo>
                  <a:lnTo>
                    <a:pt x="287" y="344"/>
                  </a:lnTo>
                  <a:lnTo>
                    <a:pt x="288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1"/>
                  </a:lnTo>
                  <a:lnTo>
                    <a:pt x="291" y="336"/>
                  </a:lnTo>
                  <a:lnTo>
                    <a:pt x="291" y="335"/>
                  </a:lnTo>
                  <a:lnTo>
                    <a:pt x="293" y="333"/>
                  </a:lnTo>
                  <a:lnTo>
                    <a:pt x="293" y="333"/>
                  </a:lnTo>
                  <a:lnTo>
                    <a:pt x="295" y="333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8" y="332"/>
                  </a:lnTo>
                  <a:lnTo>
                    <a:pt x="301" y="328"/>
                  </a:lnTo>
                  <a:lnTo>
                    <a:pt x="301" y="327"/>
                  </a:lnTo>
                  <a:lnTo>
                    <a:pt x="301" y="325"/>
                  </a:lnTo>
                  <a:lnTo>
                    <a:pt x="302" y="324"/>
                  </a:lnTo>
                  <a:lnTo>
                    <a:pt x="302" y="324"/>
                  </a:lnTo>
                  <a:lnTo>
                    <a:pt x="304" y="324"/>
                  </a:lnTo>
                  <a:lnTo>
                    <a:pt x="304" y="322"/>
                  </a:lnTo>
                  <a:lnTo>
                    <a:pt x="305" y="321"/>
                  </a:lnTo>
                  <a:lnTo>
                    <a:pt x="307" y="318"/>
                  </a:lnTo>
                  <a:lnTo>
                    <a:pt x="308" y="313"/>
                  </a:lnTo>
                  <a:lnTo>
                    <a:pt x="308" y="31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gray">
            <a:xfrm>
              <a:off x="7912100" y="7326313"/>
              <a:ext cx="488950" cy="709613"/>
            </a:xfrm>
            <a:custGeom>
              <a:avLst/>
              <a:gdLst>
                <a:gd name="T0" fmla="*/ 288 w 308"/>
                <a:gd name="T1" fmla="*/ 293 h 447"/>
                <a:gd name="T2" fmla="*/ 276 w 308"/>
                <a:gd name="T3" fmla="*/ 285 h 447"/>
                <a:gd name="T4" fmla="*/ 270 w 308"/>
                <a:gd name="T5" fmla="*/ 271 h 447"/>
                <a:gd name="T6" fmla="*/ 264 w 308"/>
                <a:gd name="T7" fmla="*/ 258 h 447"/>
                <a:gd name="T8" fmla="*/ 264 w 308"/>
                <a:gd name="T9" fmla="*/ 230 h 447"/>
                <a:gd name="T10" fmla="*/ 279 w 308"/>
                <a:gd name="T11" fmla="*/ 218 h 447"/>
                <a:gd name="T12" fmla="*/ 285 w 308"/>
                <a:gd name="T13" fmla="*/ 198 h 447"/>
                <a:gd name="T14" fmla="*/ 270 w 308"/>
                <a:gd name="T15" fmla="*/ 178 h 447"/>
                <a:gd name="T16" fmla="*/ 290 w 308"/>
                <a:gd name="T17" fmla="*/ 171 h 447"/>
                <a:gd name="T18" fmla="*/ 258 w 308"/>
                <a:gd name="T19" fmla="*/ 157 h 447"/>
                <a:gd name="T20" fmla="*/ 238 w 308"/>
                <a:gd name="T21" fmla="*/ 167 h 447"/>
                <a:gd name="T22" fmla="*/ 204 w 308"/>
                <a:gd name="T23" fmla="*/ 150 h 447"/>
                <a:gd name="T24" fmla="*/ 194 w 308"/>
                <a:gd name="T25" fmla="*/ 139 h 447"/>
                <a:gd name="T26" fmla="*/ 187 w 308"/>
                <a:gd name="T27" fmla="*/ 127 h 447"/>
                <a:gd name="T28" fmla="*/ 193 w 308"/>
                <a:gd name="T29" fmla="*/ 116 h 447"/>
                <a:gd name="T30" fmla="*/ 179 w 308"/>
                <a:gd name="T31" fmla="*/ 102 h 447"/>
                <a:gd name="T32" fmla="*/ 157 w 308"/>
                <a:gd name="T33" fmla="*/ 90 h 447"/>
                <a:gd name="T34" fmla="*/ 142 w 308"/>
                <a:gd name="T35" fmla="*/ 59 h 447"/>
                <a:gd name="T36" fmla="*/ 137 w 308"/>
                <a:gd name="T37" fmla="*/ 48 h 447"/>
                <a:gd name="T38" fmla="*/ 124 w 308"/>
                <a:gd name="T39" fmla="*/ 30 h 447"/>
                <a:gd name="T40" fmla="*/ 94 w 308"/>
                <a:gd name="T41" fmla="*/ 4 h 447"/>
                <a:gd name="T42" fmla="*/ 59 w 308"/>
                <a:gd name="T43" fmla="*/ 0 h 447"/>
                <a:gd name="T44" fmla="*/ 43 w 308"/>
                <a:gd name="T45" fmla="*/ 13 h 447"/>
                <a:gd name="T46" fmla="*/ 22 w 308"/>
                <a:gd name="T47" fmla="*/ 20 h 447"/>
                <a:gd name="T48" fmla="*/ 10 w 308"/>
                <a:gd name="T49" fmla="*/ 27 h 447"/>
                <a:gd name="T50" fmla="*/ 0 w 308"/>
                <a:gd name="T51" fmla="*/ 37 h 447"/>
                <a:gd name="T52" fmla="*/ 8 w 308"/>
                <a:gd name="T53" fmla="*/ 56 h 447"/>
                <a:gd name="T54" fmla="*/ 13 w 308"/>
                <a:gd name="T55" fmla="*/ 65 h 447"/>
                <a:gd name="T56" fmla="*/ 13 w 308"/>
                <a:gd name="T57" fmla="*/ 77 h 447"/>
                <a:gd name="T58" fmla="*/ 23 w 308"/>
                <a:gd name="T59" fmla="*/ 96 h 447"/>
                <a:gd name="T60" fmla="*/ 31 w 308"/>
                <a:gd name="T61" fmla="*/ 108 h 447"/>
                <a:gd name="T62" fmla="*/ 16 w 308"/>
                <a:gd name="T63" fmla="*/ 113 h 447"/>
                <a:gd name="T64" fmla="*/ 20 w 308"/>
                <a:gd name="T65" fmla="*/ 130 h 447"/>
                <a:gd name="T66" fmla="*/ 17 w 308"/>
                <a:gd name="T67" fmla="*/ 137 h 447"/>
                <a:gd name="T68" fmla="*/ 37 w 308"/>
                <a:gd name="T69" fmla="*/ 136 h 447"/>
                <a:gd name="T70" fmla="*/ 34 w 308"/>
                <a:gd name="T71" fmla="*/ 156 h 447"/>
                <a:gd name="T72" fmla="*/ 20 w 308"/>
                <a:gd name="T73" fmla="*/ 176 h 447"/>
                <a:gd name="T74" fmla="*/ 31 w 308"/>
                <a:gd name="T75" fmla="*/ 201 h 447"/>
                <a:gd name="T76" fmla="*/ 47 w 308"/>
                <a:gd name="T77" fmla="*/ 214 h 447"/>
                <a:gd name="T78" fmla="*/ 56 w 308"/>
                <a:gd name="T79" fmla="*/ 228 h 447"/>
                <a:gd name="T80" fmla="*/ 30 w 308"/>
                <a:gd name="T81" fmla="*/ 230 h 447"/>
                <a:gd name="T82" fmla="*/ 47 w 308"/>
                <a:gd name="T83" fmla="*/ 270 h 447"/>
                <a:gd name="T84" fmla="*/ 37 w 308"/>
                <a:gd name="T85" fmla="*/ 270 h 447"/>
                <a:gd name="T86" fmla="*/ 37 w 308"/>
                <a:gd name="T87" fmla="*/ 291 h 447"/>
                <a:gd name="T88" fmla="*/ 63 w 308"/>
                <a:gd name="T89" fmla="*/ 315 h 447"/>
                <a:gd name="T90" fmla="*/ 82 w 308"/>
                <a:gd name="T91" fmla="*/ 324 h 447"/>
                <a:gd name="T92" fmla="*/ 102 w 308"/>
                <a:gd name="T93" fmla="*/ 352 h 447"/>
                <a:gd name="T94" fmla="*/ 88 w 308"/>
                <a:gd name="T95" fmla="*/ 361 h 447"/>
                <a:gd name="T96" fmla="*/ 97 w 308"/>
                <a:gd name="T97" fmla="*/ 382 h 447"/>
                <a:gd name="T98" fmla="*/ 102 w 308"/>
                <a:gd name="T99" fmla="*/ 398 h 447"/>
                <a:gd name="T100" fmla="*/ 127 w 308"/>
                <a:gd name="T101" fmla="*/ 427 h 447"/>
                <a:gd name="T102" fmla="*/ 131 w 308"/>
                <a:gd name="T103" fmla="*/ 447 h 447"/>
                <a:gd name="T104" fmla="*/ 140 w 308"/>
                <a:gd name="T105" fmla="*/ 435 h 447"/>
                <a:gd name="T106" fmla="*/ 170 w 308"/>
                <a:gd name="T107" fmla="*/ 413 h 447"/>
                <a:gd name="T108" fmla="*/ 182 w 308"/>
                <a:gd name="T109" fmla="*/ 418 h 447"/>
                <a:gd name="T110" fmla="*/ 196 w 308"/>
                <a:gd name="T111" fmla="*/ 408 h 447"/>
                <a:gd name="T112" fmla="*/ 222 w 308"/>
                <a:gd name="T113" fmla="*/ 401 h 447"/>
                <a:gd name="T114" fmla="*/ 254 w 308"/>
                <a:gd name="T115" fmla="*/ 398 h 447"/>
                <a:gd name="T116" fmla="*/ 273 w 308"/>
                <a:gd name="T117" fmla="*/ 390 h 447"/>
                <a:gd name="T118" fmla="*/ 270 w 308"/>
                <a:gd name="T119" fmla="*/ 361 h 447"/>
                <a:gd name="T120" fmla="*/ 270 w 308"/>
                <a:gd name="T121" fmla="*/ 347 h 447"/>
                <a:gd name="T122" fmla="*/ 290 w 308"/>
                <a:gd name="T123" fmla="*/ 341 h 447"/>
                <a:gd name="T124" fmla="*/ 302 w 308"/>
                <a:gd name="T125" fmla="*/ 324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447">
                  <a:moveTo>
                    <a:pt x="308" y="313"/>
                  </a:moveTo>
                  <a:lnTo>
                    <a:pt x="307" y="311"/>
                  </a:lnTo>
                  <a:lnTo>
                    <a:pt x="307" y="311"/>
                  </a:lnTo>
                  <a:lnTo>
                    <a:pt x="302" y="310"/>
                  </a:lnTo>
                  <a:lnTo>
                    <a:pt x="301" y="308"/>
                  </a:lnTo>
                  <a:lnTo>
                    <a:pt x="301" y="308"/>
                  </a:lnTo>
                  <a:lnTo>
                    <a:pt x="298" y="305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2"/>
                  </a:lnTo>
                  <a:lnTo>
                    <a:pt x="296" y="301"/>
                  </a:lnTo>
                  <a:lnTo>
                    <a:pt x="296" y="299"/>
                  </a:lnTo>
                  <a:lnTo>
                    <a:pt x="295" y="298"/>
                  </a:lnTo>
                  <a:lnTo>
                    <a:pt x="288" y="293"/>
                  </a:lnTo>
                  <a:lnTo>
                    <a:pt x="288" y="293"/>
                  </a:lnTo>
                  <a:lnTo>
                    <a:pt x="288" y="291"/>
                  </a:lnTo>
                  <a:lnTo>
                    <a:pt x="287" y="291"/>
                  </a:lnTo>
                  <a:lnTo>
                    <a:pt x="287" y="291"/>
                  </a:lnTo>
                  <a:lnTo>
                    <a:pt x="285" y="291"/>
                  </a:lnTo>
                  <a:lnTo>
                    <a:pt x="284" y="291"/>
                  </a:lnTo>
                  <a:lnTo>
                    <a:pt x="284" y="291"/>
                  </a:lnTo>
                  <a:lnTo>
                    <a:pt x="284" y="290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81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8" y="287"/>
                  </a:lnTo>
                  <a:lnTo>
                    <a:pt x="278" y="285"/>
                  </a:lnTo>
                  <a:lnTo>
                    <a:pt x="276" y="285"/>
                  </a:lnTo>
                  <a:lnTo>
                    <a:pt x="274" y="284"/>
                  </a:lnTo>
                  <a:lnTo>
                    <a:pt x="273" y="284"/>
                  </a:lnTo>
                  <a:lnTo>
                    <a:pt x="273" y="281"/>
                  </a:lnTo>
                  <a:lnTo>
                    <a:pt x="271" y="276"/>
                  </a:lnTo>
                  <a:lnTo>
                    <a:pt x="270" y="275"/>
                  </a:lnTo>
                  <a:lnTo>
                    <a:pt x="270" y="275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1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270" y="268"/>
                  </a:lnTo>
                  <a:lnTo>
                    <a:pt x="270" y="267"/>
                  </a:lnTo>
                  <a:lnTo>
                    <a:pt x="270" y="265"/>
                  </a:lnTo>
                  <a:lnTo>
                    <a:pt x="268" y="265"/>
                  </a:lnTo>
                  <a:lnTo>
                    <a:pt x="267" y="264"/>
                  </a:lnTo>
                  <a:lnTo>
                    <a:pt x="265" y="262"/>
                  </a:lnTo>
                  <a:lnTo>
                    <a:pt x="265" y="262"/>
                  </a:lnTo>
                  <a:lnTo>
                    <a:pt x="264" y="261"/>
                  </a:lnTo>
                  <a:lnTo>
                    <a:pt x="264" y="259"/>
                  </a:lnTo>
                  <a:lnTo>
                    <a:pt x="264" y="258"/>
                  </a:lnTo>
                  <a:lnTo>
                    <a:pt x="264" y="256"/>
                  </a:lnTo>
                  <a:lnTo>
                    <a:pt x="264" y="255"/>
                  </a:lnTo>
                  <a:lnTo>
                    <a:pt x="264" y="255"/>
                  </a:lnTo>
                  <a:lnTo>
                    <a:pt x="262" y="251"/>
                  </a:lnTo>
                  <a:lnTo>
                    <a:pt x="261" y="248"/>
                  </a:lnTo>
                  <a:lnTo>
                    <a:pt x="261" y="247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6"/>
                  </a:lnTo>
                  <a:lnTo>
                    <a:pt x="264" y="236"/>
                  </a:lnTo>
                  <a:lnTo>
                    <a:pt x="264" y="234"/>
                  </a:lnTo>
                  <a:lnTo>
                    <a:pt x="264" y="231"/>
                  </a:lnTo>
                  <a:lnTo>
                    <a:pt x="264" y="230"/>
                  </a:lnTo>
                  <a:lnTo>
                    <a:pt x="265" y="228"/>
                  </a:lnTo>
                  <a:lnTo>
                    <a:pt x="267" y="228"/>
                  </a:lnTo>
                  <a:lnTo>
                    <a:pt x="270" y="227"/>
                  </a:lnTo>
                  <a:lnTo>
                    <a:pt x="270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3" y="225"/>
                  </a:lnTo>
                  <a:lnTo>
                    <a:pt x="274" y="224"/>
                  </a:lnTo>
                  <a:lnTo>
                    <a:pt x="276" y="222"/>
                  </a:lnTo>
                  <a:lnTo>
                    <a:pt x="278" y="222"/>
                  </a:lnTo>
                  <a:lnTo>
                    <a:pt x="279" y="222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18"/>
                  </a:lnTo>
                  <a:lnTo>
                    <a:pt x="279" y="218"/>
                  </a:lnTo>
                  <a:lnTo>
                    <a:pt x="279" y="216"/>
                  </a:lnTo>
                  <a:lnTo>
                    <a:pt x="279" y="213"/>
                  </a:lnTo>
                  <a:lnTo>
                    <a:pt x="279" y="213"/>
                  </a:lnTo>
                  <a:lnTo>
                    <a:pt x="279" y="213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81" y="210"/>
                  </a:lnTo>
                  <a:lnTo>
                    <a:pt x="282" y="208"/>
                  </a:lnTo>
                  <a:lnTo>
                    <a:pt x="282" y="207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5" y="204"/>
                  </a:lnTo>
                  <a:lnTo>
                    <a:pt x="285" y="199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1" y="196"/>
                  </a:lnTo>
                  <a:lnTo>
                    <a:pt x="278" y="196"/>
                  </a:lnTo>
                  <a:lnTo>
                    <a:pt x="276" y="193"/>
                  </a:lnTo>
                  <a:lnTo>
                    <a:pt x="273" y="190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3" y="185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0" y="182"/>
                  </a:lnTo>
                  <a:lnTo>
                    <a:pt x="270" y="181"/>
                  </a:lnTo>
                  <a:lnTo>
                    <a:pt x="270" y="181"/>
                  </a:lnTo>
                  <a:lnTo>
                    <a:pt x="270" y="179"/>
                  </a:lnTo>
                  <a:lnTo>
                    <a:pt x="270" y="178"/>
                  </a:lnTo>
                  <a:lnTo>
                    <a:pt x="271" y="178"/>
                  </a:lnTo>
                  <a:lnTo>
                    <a:pt x="271" y="178"/>
                  </a:lnTo>
                  <a:lnTo>
                    <a:pt x="274" y="176"/>
                  </a:lnTo>
                  <a:lnTo>
                    <a:pt x="276" y="176"/>
                  </a:lnTo>
                  <a:lnTo>
                    <a:pt x="276" y="176"/>
                  </a:lnTo>
                  <a:lnTo>
                    <a:pt x="276" y="173"/>
                  </a:lnTo>
                  <a:lnTo>
                    <a:pt x="276" y="171"/>
                  </a:lnTo>
                  <a:lnTo>
                    <a:pt x="278" y="171"/>
                  </a:lnTo>
                  <a:lnTo>
                    <a:pt x="279" y="170"/>
                  </a:lnTo>
                  <a:lnTo>
                    <a:pt x="281" y="170"/>
                  </a:lnTo>
                  <a:lnTo>
                    <a:pt x="282" y="171"/>
                  </a:lnTo>
                  <a:lnTo>
                    <a:pt x="285" y="173"/>
                  </a:lnTo>
                  <a:lnTo>
                    <a:pt x="287" y="173"/>
                  </a:lnTo>
                  <a:lnTo>
                    <a:pt x="288" y="173"/>
                  </a:lnTo>
                  <a:lnTo>
                    <a:pt x="290" y="171"/>
                  </a:lnTo>
                  <a:lnTo>
                    <a:pt x="291" y="171"/>
                  </a:lnTo>
                  <a:lnTo>
                    <a:pt x="291" y="168"/>
                  </a:lnTo>
                  <a:lnTo>
                    <a:pt x="288" y="165"/>
                  </a:lnTo>
                  <a:lnTo>
                    <a:pt x="287" y="164"/>
                  </a:lnTo>
                  <a:lnTo>
                    <a:pt x="281" y="164"/>
                  </a:lnTo>
                  <a:lnTo>
                    <a:pt x="278" y="162"/>
                  </a:lnTo>
                  <a:lnTo>
                    <a:pt x="276" y="161"/>
                  </a:lnTo>
                  <a:lnTo>
                    <a:pt x="270" y="154"/>
                  </a:lnTo>
                  <a:lnTo>
                    <a:pt x="270" y="153"/>
                  </a:lnTo>
                  <a:lnTo>
                    <a:pt x="268" y="153"/>
                  </a:lnTo>
                  <a:lnTo>
                    <a:pt x="267" y="153"/>
                  </a:lnTo>
                  <a:lnTo>
                    <a:pt x="265" y="154"/>
                  </a:lnTo>
                  <a:lnTo>
                    <a:pt x="262" y="156"/>
                  </a:lnTo>
                  <a:lnTo>
                    <a:pt x="261" y="157"/>
                  </a:lnTo>
                  <a:lnTo>
                    <a:pt x="258" y="157"/>
                  </a:lnTo>
                  <a:lnTo>
                    <a:pt x="258" y="159"/>
                  </a:lnTo>
                  <a:lnTo>
                    <a:pt x="256" y="161"/>
                  </a:lnTo>
                  <a:lnTo>
                    <a:pt x="248" y="176"/>
                  </a:lnTo>
                  <a:lnTo>
                    <a:pt x="247" y="178"/>
                  </a:lnTo>
                  <a:lnTo>
                    <a:pt x="245" y="178"/>
                  </a:lnTo>
                  <a:lnTo>
                    <a:pt x="244" y="178"/>
                  </a:lnTo>
                  <a:lnTo>
                    <a:pt x="242" y="176"/>
                  </a:lnTo>
                  <a:lnTo>
                    <a:pt x="241" y="176"/>
                  </a:lnTo>
                  <a:lnTo>
                    <a:pt x="241" y="173"/>
                  </a:lnTo>
                  <a:lnTo>
                    <a:pt x="239" y="171"/>
                  </a:lnTo>
                  <a:lnTo>
                    <a:pt x="239" y="171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38" y="168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4" y="162"/>
                  </a:lnTo>
                  <a:lnTo>
                    <a:pt x="234" y="161"/>
                  </a:lnTo>
                  <a:lnTo>
                    <a:pt x="231" y="161"/>
                  </a:lnTo>
                  <a:lnTo>
                    <a:pt x="225" y="157"/>
                  </a:lnTo>
                  <a:lnTo>
                    <a:pt x="224" y="157"/>
                  </a:lnTo>
                  <a:lnTo>
                    <a:pt x="222" y="157"/>
                  </a:lnTo>
                  <a:lnTo>
                    <a:pt x="219" y="159"/>
                  </a:lnTo>
                  <a:lnTo>
                    <a:pt x="216" y="159"/>
                  </a:lnTo>
                  <a:lnTo>
                    <a:pt x="213" y="159"/>
                  </a:lnTo>
                  <a:lnTo>
                    <a:pt x="208" y="157"/>
                  </a:lnTo>
                  <a:lnTo>
                    <a:pt x="207" y="156"/>
                  </a:lnTo>
                  <a:lnTo>
                    <a:pt x="205" y="153"/>
                  </a:lnTo>
                  <a:lnTo>
                    <a:pt x="205" y="151"/>
                  </a:lnTo>
                  <a:lnTo>
                    <a:pt x="204" y="150"/>
                  </a:lnTo>
                  <a:lnTo>
                    <a:pt x="204" y="148"/>
                  </a:lnTo>
                  <a:lnTo>
                    <a:pt x="202" y="148"/>
                  </a:lnTo>
                  <a:lnTo>
                    <a:pt x="197" y="148"/>
                  </a:lnTo>
                  <a:lnTo>
                    <a:pt x="191" y="148"/>
                  </a:lnTo>
                  <a:lnTo>
                    <a:pt x="190" y="147"/>
                  </a:lnTo>
                  <a:lnTo>
                    <a:pt x="188" y="145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5" y="142"/>
                  </a:lnTo>
                  <a:lnTo>
                    <a:pt x="185" y="142"/>
                  </a:lnTo>
                  <a:lnTo>
                    <a:pt x="187" y="141"/>
                  </a:lnTo>
                  <a:lnTo>
                    <a:pt x="188" y="139"/>
                  </a:lnTo>
                  <a:lnTo>
                    <a:pt x="190" y="139"/>
                  </a:lnTo>
                  <a:lnTo>
                    <a:pt x="194" y="139"/>
                  </a:lnTo>
                  <a:lnTo>
                    <a:pt x="196" y="139"/>
                  </a:lnTo>
                  <a:lnTo>
                    <a:pt x="199" y="137"/>
                  </a:lnTo>
                  <a:lnTo>
                    <a:pt x="201" y="137"/>
                  </a:lnTo>
                  <a:lnTo>
                    <a:pt x="201" y="134"/>
                  </a:lnTo>
                  <a:lnTo>
                    <a:pt x="199" y="133"/>
                  </a:lnTo>
                  <a:lnTo>
                    <a:pt x="199" y="133"/>
                  </a:lnTo>
                  <a:lnTo>
                    <a:pt x="196" y="131"/>
                  </a:lnTo>
                  <a:lnTo>
                    <a:pt x="194" y="130"/>
                  </a:lnTo>
                  <a:lnTo>
                    <a:pt x="190" y="130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7" y="125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91" y="121"/>
                  </a:lnTo>
                  <a:lnTo>
                    <a:pt x="191" y="119"/>
                  </a:lnTo>
                  <a:lnTo>
                    <a:pt x="193" y="119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4"/>
                  </a:lnTo>
                  <a:lnTo>
                    <a:pt x="194" y="114"/>
                  </a:lnTo>
                  <a:lnTo>
                    <a:pt x="194" y="113"/>
                  </a:lnTo>
                  <a:lnTo>
                    <a:pt x="196" y="113"/>
                  </a:lnTo>
                  <a:lnTo>
                    <a:pt x="197" y="113"/>
                  </a:lnTo>
                  <a:lnTo>
                    <a:pt x="197" y="111"/>
                  </a:lnTo>
                  <a:lnTo>
                    <a:pt x="197" y="110"/>
                  </a:lnTo>
                  <a:lnTo>
                    <a:pt x="196" y="110"/>
                  </a:lnTo>
                  <a:lnTo>
                    <a:pt x="194" y="107"/>
                  </a:lnTo>
                  <a:lnTo>
                    <a:pt x="193" y="105"/>
                  </a:lnTo>
                  <a:lnTo>
                    <a:pt x="190" y="104"/>
                  </a:lnTo>
                  <a:lnTo>
                    <a:pt x="182" y="102"/>
                  </a:lnTo>
                  <a:lnTo>
                    <a:pt x="179" y="102"/>
                  </a:lnTo>
                  <a:lnTo>
                    <a:pt x="177" y="101"/>
                  </a:lnTo>
                  <a:lnTo>
                    <a:pt x="176" y="99"/>
                  </a:lnTo>
                  <a:lnTo>
                    <a:pt x="174" y="97"/>
                  </a:lnTo>
                  <a:lnTo>
                    <a:pt x="171" y="94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7" y="94"/>
                  </a:lnTo>
                  <a:lnTo>
                    <a:pt x="167" y="94"/>
                  </a:lnTo>
                  <a:lnTo>
                    <a:pt x="165" y="94"/>
                  </a:lnTo>
                  <a:lnTo>
                    <a:pt x="165" y="93"/>
                  </a:lnTo>
                  <a:lnTo>
                    <a:pt x="162" y="91"/>
                  </a:lnTo>
                  <a:lnTo>
                    <a:pt x="159" y="90"/>
                  </a:lnTo>
                  <a:lnTo>
                    <a:pt x="157" y="90"/>
                  </a:lnTo>
                  <a:lnTo>
                    <a:pt x="154" y="85"/>
                  </a:lnTo>
                  <a:lnTo>
                    <a:pt x="150" y="81"/>
                  </a:lnTo>
                  <a:lnTo>
                    <a:pt x="147" y="77"/>
                  </a:lnTo>
                  <a:lnTo>
                    <a:pt x="147" y="76"/>
                  </a:lnTo>
                  <a:lnTo>
                    <a:pt x="145" y="76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42" y="73"/>
                  </a:lnTo>
                  <a:lnTo>
                    <a:pt x="144" y="71"/>
                  </a:lnTo>
                  <a:lnTo>
                    <a:pt x="145" y="71"/>
                  </a:lnTo>
                  <a:lnTo>
                    <a:pt x="145" y="70"/>
                  </a:lnTo>
                  <a:lnTo>
                    <a:pt x="144" y="67"/>
                  </a:lnTo>
                  <a:lnTo>
                    <a:pt x="142" y="64"/>
                  </a:lnTo>
                  <a:lnTo>
                    <a:pt x="142" y="62"/>
                  </a:lnTo>
                  <a:lnTo>
                    <a:pt x="142" y="59"/>
                  </a:lnTo>
                  <a:lnTo>
                    <a:pt x="144" y="57"/>
                  </a:lnTo>
                  <a:lnTo>
                    <a:pt x="144" y="56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7"/>
                  </a:lnTo>
                  <a:lnTo>
                    <a:pt x="144" y="45"/>
                  </a:lnTo>
                  <a:lnTo>
                    <a:pt x="144" y="45"/>
                  </a:lnTo>
                  <a:lnTo>
                    <a:pt x="142" y="44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0" y="47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7" y="48"/>
                  </a:lnTo>
                  <a:lnTo>
                    <a:pt x="137" y="47"/>
                  </a:lnTo>
                  <a:lnTo>
                    <a:pt x="136" y="45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3" y="42"/>
                  </a:lnTo>
                  <a:lnTo>
                    <a:pt x="133" y="40"/>
                  </a:lnTo>
                  <a:lnTo>
                    <a:pt x="133" y="39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28" y="31"/>
                  </a:lnTo>
                  <a:lnTo>
                    <a:pt x="127" y="30"/>
                  </a:lnTo>
                  <a:lnTo>
                    <a:pt x="125" y="30"/>
                  </a:lnTo>
                  <a:lnTo>
                    <a:pt x="124" y="30"/>
                  </a:lnTo>
                  <a:lnTo>
                    <a:pt x="122" y="28"/>
                  </a:lnTo>
                  <a:lnTo>
                    <a:pt x="117" y="25"/>
                  </a:lnTo>
                  <a:lnTo>
                    <a:pt x="116" y="24"/>
                  </a:lnTo>
                  <a:lnTo>
                    <a:pt x="113" y="24"/>
                  </a:lnTo>
                  <a:lnTo>
                    <a:pt x="111" y="22"/>
                  </a:lnTo>
                  <a:lnTo>
                    <a:pt x="111" y="20"/>
                  </a:lnTo>
                  <a:lnTo>
                    <a:pt x="110" y="16"/>
                  </a:lnTo>
                  <a:lnTo>
                    <a:pt x="108" y="14"/>
                  </a:lnTo>
                  <a:lnTo>
                    <a:pt x="104" y="8"/>
                  </a:lnTo>
                  <a:lnTo>
                    <a:pt x="99" y="5"/>
                  </a:lnTo>
                  <a:lnTo>
                    <a:pt x="99" y="4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5" y="2"/>
                  </a:lnTo>
                  <a:lnTo>
                    <a:pt x="80" y="2"/>
                  </a:lnTo>
                  <a:lnTo>
                    <a:pt x="77" y="2"/>
                  </a:lnTo>
                  <a:lnTo>
                    <a:pt x="76" y="4"/>
                  </a:lnTo>
                  <a:lnTo>
                    <a:pt x="70" y="5"/>
                  </a:lnTo>
                  <a:lnTo>
                    <a:pt x="68" y="5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9" y="0"/>
                  </a:lnTo>
                  <a:lnTo>
                    <a:pt x="56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1" y="20"/>
                  </a:lnTo>
                  <a:lnTo>
                    <a:pt x="31" y="22"/>
                  </a:lnTo>
                  <a:lnTo>
                    <a:pt x="28" y="22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27"/>
                  </a:lnTo>
                  <a:lnTo>
                    <a:pt x="3" y="27"/>
                  </a:lnTo>
                  <a:lnTo>
                    <a:pt x="5" y="28"/>
                  </a:lnTo>
                  <a:lnTo>
                    <a:pt x="3" y="30"/>
                  </a:lnTo>
                  <a:lnTo>
                    <a:pt x="2" y="30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5" y="33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5" y="50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6" y="59"/>
                  </a:lnTo>
                  <a:lnTo>
                    <a:pt x="5" y="59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3" y="65"/>
                  </a:lnTo>
                  <a:lnTo>
                    <a:pt x="5" y="65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19" y="71"/>
                  </a:lnTo>
                  <a:lnTo>
                    <a:pt x="17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6"/>
                  </a:lnTo>
                  <a:lnTo>
                    <a:pt x="11" y="77"/>
                  </a:lnTo>
                  <a:lnTo>
                    <a:pt x="13" y="77"/>
                  </a:lnTo>
                  <a:lnTo>
                    <a:pt x="14" y="79"/>
                  </a:lnTo>
                  <a:lnTo>
                    <a:pt x="14" y="81"/>
                  </a:lnTo>
                  <a:lnTo>
                    <a:pt x="13" y="82"/>
                  </a:lnTo>
                  <a:lnTo>
                    <a:pt x="10" y="84"/>
                  </a:lnTo>
                  <a:lnTo>
                    <a:pt x="10" y="85"/>
                  </a:lnTo>
                  <a:lnTo>
                    <a:pt x="11" y="87"/>
                  </a:lnTo>
                  <a:lnTo>
                    <a:pt x="13" y="88"/>
                  </a:lnTo>
                  <a:lnTo>
                    <a:pt x="14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20" y="94"/>
                  </a:lnTo>
                  <a:lnTo>
                    <a:pt x="23" y="96"/>
                  </a:lnTo>
                  <a:lnTo>
                    <a:pt x="39" y="99"/>
                  </a:lnTo>
                  <a:lnTo>
                    <a:pt x="39" y="101"/>
                  </a:lnTo>
                  <a:lnTo>
                    <a:pt x="40" y="102"/>
                  </a:lnTo>
                  <a:lnTo>
                    <a:pt x="42" y="104"/>
                  </a:lnTo>
                  <a:lnTo>
                    <a:pt x="42" y="107"/>
                  </a:lnTo>
                  <a:lnTo>
                    <a:pt x="40" y="107"/>
                  </a:lnTo>
                  <a:lnTo>
                    <a:pt x="40" y="108"/>
                  </a:lnTo>
                  <a:lnTo>
                    <a:pt x="34" y="108"/>
                  </a:lnTo>
                  <a:lnTo>
                    <a:pt x="33" y="108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28" y="108"/>
                  </a:lnTo>
                  <a:lnTo>
                    <a:pt x="27" y="108"/>
                  </a:lnTo>
                  <a:lnTo>
                    <a:pt x="25" y="108"/>
                  </a:lnTo>
                  <a:lnTo>
                    <a:pt x="23" y="107"/>
                  </a:lnTo>
                  <a:lnTo>
                    <a:pt x="23" y="105"/>
                  </a:lnTo>
                  <a:lnTo>
                    <a:pt x="22" y="104"/>
                  </a:lnTo>
                  <a:lnTo>
                    <a:pt x="20" y="105"/>
                  </a:lnTo>
                  <a:lnTo>
                    <a:pt x="20" y="107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6" y="110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4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9"/>
                  </a:lnTo>
                  <a:lnTo>
                    <a:pt x="19" y="122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8"/>
                  </a:lnTo>
                  <a:lnTo>
                    <a:pt x="19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30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3"/>
                  </a:lnTo>
                  <a:lnTo>
                    <a:pt x="11" y="134"/>
                  </a:lnTo>
                  <a:lnTo>
                    <a:pt x="11" y="136"/>
                  </a:lnTo>
                  <a:lnTo>
                    <a:pt x="13" y="139"/>
                  </a:lnTo>
                  <a:lnTo>
                    <a:pt x="14" y="139"/>
                  </a:lnTo>
                  <a:lnTo>
                    <a:pt x="16" y="139"/>
                  </a:lnTo>
                  <a:lnTo>
                    <a:pt x="17" y="137"/>
                  </a:lnTo>
                  <a:lnTo>
                    <a:pt x="23" y="133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30" y="134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9" y="136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36" y="153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9"/>
                  </a:lnTo>
                  <a:lnTo>
                    <a:pt x="30" y="162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5" y="170"/>
                  </a:lnTo>
                  <a:lnTo>
                    <a:pt x="25" y="170"/>
                  </a:lnTo>
                  <a:lnTo>
                    <a:pt x="25" y="170"/>
                  </a:lnTo>
                  <a:lnTo>
                    <a:pt x="25" y="171"/>
                  </a:lnTo>
                  <a:lnTo>
                    <a:pt x="25" y="173"/>
                  </a:lnTo>
                  <a:lnTo>
                    <a:pt x="25" y="173"/>
                  </a:lnTo>
                  <a:lnTo>
                    <a:pt x="23" y="174"/>
                  </a:lnTo>
                  <a:lnTo>
                    <a:pt x="23" y="174"/>
                  </a:lnTo>
                  <a:lnTo>
                    <a:pt x="20" y="176"/>
                  </a:lnTo>
                  <a:lnTo>
                    <a:pt x="20" y="178"/>
                  </a:lnTo>
                  <a:lnTo>
                    <a:pt x="22" y="182"/>
                  </a:lnTo>
                  <a:lnTo>
                    <a:pt x="22" y="185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9" y="190"/>
                  </a:lnTo>
                  <a:lnTo>
                    <a:pt x="19" y="191"/>
                  </a:lnTo>
                  <a:lnTo>
                    <a:pt x="20" y="194"/>
                  </a:lnTo>
                  <a:lnTo>
                    <a:pt x="22" y="198"/>
                  </a:lnTo>
                  <a:lnTo>
                    <a:pt x="23" y="199"/>
                  </a:lnTo>
                  <a:lnTo>
                    <a:pt x="25" y="199"/>
                  </a:lnTo>
                  <a:lnTo>
                    <a:pt x="28" y="201"/>
                  </a:lnTo>
                  <a:lnTo>
                    <a:pt x="30" y="201"/>
                  </a:lnTo>
                  <a:lnTo>
                    <a:pt x="30" y="201"/>
                  </a:lnTo>
                  <a:lnTo>
                    <a:pt x="31" y="201"/>
                  </a:lnTo>
                  <a:lnTo>
                    <a:pt x="33" y="201"/>
                  </a:lnTo>
                  <a:lnTo>
                    <a:pt x="34" y="201"/>
                  </a:lnTo>
                  <a:lnTo>
                    <a:pt x="36" y="202"/>
                  </a:lnTo>
                  <a:lnTo>
                    <a:pt x="37" y="204"/>
                  </a:lnTo>
                  <a:lnTo>
                    <a:pt x="37" y="207"/>
                  </a:lnTo>
                  <a:lnTo>
                    <a:pt x="37" y="208"/>
                  </a:lnTo>
                  <a:lnTo>
                    <a:pt x="39" y="210"/>
                  </a:lnTo>
                  <a:lnTo>
                    <a:pt x="39" y="211"/>
                  </a:lnTo>
                  <a:lnTo>
                    <a:pt x="43" y="213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3"/>
                  </a:lnTo>
                  <a:lnTo>
                    <a:pt x="47" y="213"/>
                  </a:lnTo>
                  <a:lnTo>
                    <a:pt x="47" y="214"/>
                  </a:lnTo>
                  <a:lnTo>
                    <a:pt x="47" y="216"/>
                  </a:lnTo>
                  <a:lnTo>
                    <a:pt x="47" y="218"/>
                  </a:lnTo>
                  <a:lnTo>
                    <a:pt x="48" y="218"/>
                  </a:lnTo>
                  <a:lnTo>
                    <a:pt x="50" y="219"/>
                  </a:lnTo>
                  <a:lnTo>
                    <a:pt x="50" y="221"/>
                  </a:lnTo>
                  <a:lnTo>
                    <a:pt x="53" y="222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6" y="222"/>
                  </a:lnTo>
                  <a:lnTo>
                    <a:pt x="57" y="224"/>
                  </a:lnTo>
                  <a:lnTo>
                    <a:pt x="57" y="225"/>
                  </a:lnTo>
                  <a:lnTo>
                    <a:pt x="57" y="227"/>
                  </a:lnTo>
                  <a:lnTo>
                    <a:pt x="56" y="228"/>
                  </a:lnTo>
                  <a:lnTo>
                    <a:pt x="53" y="231"/>
                  </a:lnTo>
                  <a:lnTo>
                    <a:pt x="51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0" y="231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37" y="231"/>
                  </a:lnTo>
                  <a:lnTo>
                    <a:pt x="36" y="230"/>
                  </a:lnTo>
                  <a:lnTo>
                    <a:pt x="34" y="228"/>
                  </a:lnTo>
                  <a:lnTo>
                    <a:pt x="33" y="228"/>
                  </a:lnTo>
                  <a:lnTo>
                    <a:pt x="31" y="228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1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28" y="233"/>
                  </a:lnTo>
                  <a:lnTo>
                    <a:pt x="30" y="234"/>
                  </a:lnTo>
                  <a:lnTo>
                    <a:pt x="31" y="236"/>
                  </a:lnTo>
                  <a:lnTo>
                    <a:pt x="34" y="239"/>
                  </a:lnTo>
                  <a:lnTo>
                    <a:pt x="37" y="245"/>
                  </a:lnTo>
                  <a:lnTo>
                    <a:pt x="45" y="253"/>
                  </a:lnTo>
                  <a:lnTo>
                    <a:pt x="47" y="258"/>
                  </a:lnTo>
                  <a:lnTo>
                    <a:pt x="48" y="262"/>
                  </a:lnTo>
                  <a:lnTo>
                    <a:pt x="50" y="265"/>
                  </a:lnTo>
                  <a:lnTo>
                    <a:pt x="47" y="267"/>
                  </a:lnTo>
                  <a:lnTo>
                    <a:pt x="47" y="268"/>
                  </a:lnTo>
                  <a:lnTo>
                    <a:pt x="47" y="270"/>
                  </a:lnTo>
                  <a:lnTo>
                    <a:pt x="47" y="271"/>
                  </a:lnTo>
                  <a:lnTo>
                    <a:pt x="47" y="273"/>
                  </a:lnTo>
                  <a:lnTo>
                    <a:pt x="48" y="273"/>
                  </a:lnTo>
                  <a:lnTo>
                    <a:pt x="48" y="273"/>
                  </a:lnTo>
                  <a:lnTo>
                    <a:pt x="48" y="275"/>
                  </a:lnTo>
                  <a:lnTo>
                    <a:pt x="47" y="275"/>
                  </a:lnTo>
                  <a:lnTo>
                    <a:pt x="43" y="273"/>
                  </a:lnTo>
                  <a:lnTo>
                    <a:pt x="43" y="273"/>
                  </a:lnTo>
                  <a:lnTo>
                    <a:pt x="42" y="276"/>
                  </a:lnTo>
                  <a:lnTo>
                    <a:pt x="42" y="276"/>
                  </a:lnTo>
                  <a:lnTo>
                    <a:pt x="42" y="276"/>
                  </a:lnTo>
                  <a:lnTo>
                    <a:pt x="40" y="275"/>
                  </a:lnTo>
                  <a:lnTo>
                    <a:pt x="39" y="271"/>
                  </a:lnTo>
                  <a:lnTo>
                    <a:pt x="39" y="270"/>
                  </a:lnTo>
                  <a:lnTo>
                    <a:pt x="37" y="270"/>
                  </a:lnTo>
                  <a:lnTo>
                    <a:pt x="36" y="270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33" y="271"/>
                  </a:lnTo>
                  <a:lnTo>
                    <a:pt x="31" y="271"/>
                  </a:lnTo>
                  <a:lnTo>
                    <a:pt x="30" y="271"/>
                  </a:lnTo>
                  <a:lnTo>
                    <a:pt x="30" y="273"/>
                  </a:lnTo>
                  <a:lnTo>
                    <a:pt x="28" y="276"/>
                  </a:lnTo>
                  <a:lnTo>
                    <a:pt x="28" y="278"/>
                  </a:lnTo>
                  <a:lnTo>
                    <a:pt x="25" y="278"/>
                  </a:lnTo>
                  <a:lnTo>
                    <a:pt x="23" y="279"/>
                  </a:lnTo>
                  <a:lnTo>
                    <a:pt x="25" y="282"/>
                  </a:lnTo>
                  <a:lnTo>
                    <a:pt x="25" y="285"/>
                  </a:lnTo>
                  <a:lnTo>
                    <a:pt x="28" y="287"/>
                  </a:lnTo>
                  <a:lnTo>
                    <a:pt x="37" y="291"/>
                  </a:lnTo>
                  <a:lnTo>
                    <a:pt x="39" y="293"/>
                  </a:lnTo>
                  <a:lnTo>
                    <a:pt x="42" y="298"/>
                  </a:lnTo>
                  <a:lnTo>
                    <a:pt x="47" y="302"/>
                  </a:lnTo>
                  <a:lnTo>
                    <a:pt x="47" y="304"/>
                  </a:lnTo>
                  <a:lnTo>
                    <a:pt x="48" y="305"/>
                  </a:lnTo>
                  <a:lnTo>
                    <a:pt x="50" y="307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4" y="313"/>
                  </a:lnTo>
                  <a:lnTo>
                    <a:pt x="56" y="313"/>
                  </a:lnTo>
                  <a:lnTo>
                    <a:pt x="57" y="315"/>
                  </a:lnTo>
                  <a:lnTo>
                    <a:pt x="60" y="316"/>
                  </a:lnTo>
                  <a:lnTo>
                    <a:pt x="62" y="316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9"/>
                  </a:lnTo>
                  <a:lnTo>
                    <a:pt x="68" y="321"/>
                  </a:lnTo>
                  <a:lnTo>
                    <a:pt x="70" y="322"/>
                  </a:lnTo>
                  <a:lnTo>
                    <a:pt x="71" y="322"/>
                  </a:lnTo>
                  <a:lnTo>
                    <a:pt x="74" y="322"/>
                  </a:lnTo>
                  <a:lnTo>
                    <a:pt x="76" y="322"/>
                  </a:lnTo>
                  <a:lnTo>
                    <a:pt x="77" y="322"/>
                  </a:lnTo>
                  <a:lnTo>
                    <a:pt x="79" y="321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0" y="321"/>
                  </a:lnTo>
                  <a:lnTo>
                    <a:pt x="82" y="322"/>
                  </a:lnTo>
                  <a:lnTo>
                    <a:pt x="82" y="322"/>
                  </a:lnTo>
                  <a:lnTo>
                    <a:pt x="82" y="324"/>
                  </a:lnTo>
                  <a:lnTo>
                    <a:pt x="87" y="327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4" y="335"/>
                  </a:lnTo>
                  <a:lnTo>
                    <a:pt x="96" y="335"/>
                  </a:lnTo>
                  <a:lnTo>
                    <a:pt x="96" y="335"/>
                  </a:lnTo>
                  <a:lnTo>
                    <a:pt x="100" y="335"/>
                  </a:lnTo>
                  <a:lnTo>
                    <a:pt x="102" y="336"/>
                  </a:lnTo>
                  <a:lnTo>
                    <a:pt x="107" y="339"/>
                  </a:lnTo>
                  <a:lnTo>
                    <a:pt x="111" y="341"/>
                  </a:lnTo>
                  <a:lnTo>
                    <a:pt x="111" y="342"/>
                  </a:lnTo>
                  <a:lnTo>
                    <a:pt x="113" y="345"/>
                  </a:lnTo>
                  <a:lnTo>
                    <a:pt x="111" y="348"/>
                  </a:lnTo>
                  <a:lnTo>
                    <a:pt x="105" y="350"/>
                  </a:lnTo>
                  <a:lnTo>
                    <a:pt x="102" y="352"/>
                  </a:lnTo>
                  <a:lnTo>
                    <a:pt x="102" y="352"/>
                  </a:lnTo>
                  <a:lnTo>
                    <a:pt x="100" y="353"/>
                  </a:lnTo>
                  <a:lnTo>
                    <a:pt x="100" y="353"/>
                  </a:lnTo>
                  <a:lnTo>
                    <a:pt x="102" y="355"/>
                  </a:lnTo>
                  <a:lnTo>
                    <a:pt x="100" y="356"/>
                  </a:lnTo>
                  <a:lnTo>
                    <a:pt x="99" y="358"/>
                  </a:lnTo>
                  <a:lnTo>
                    <a:pt x="97" y="356"/>
                  </a:lnTo>
                  <a:lnTo>
                    <a:pt x="94" y="355"/>
                  </a:lnTo>
                  <a:lnTo>
                    <a:pt x="91" y="355"/>
                  </a:lnTo>
                  <a:lnTo>
                    <a:pt x="91" y="355"/>
                  </a:lnTo>
                  <a:lnTo>
                    <a:pt x="90" y="356"/>
                  </a:lnTo>
                  <a:lnTo>
                    <a:pt x="88" y="356"/>
                  </a:lnTo>
                  <a:lnTo>
                    <a:pt x="88" y="358"/>
                  </a:lnTo>
                  <a:lnTo>
                    <a:pt x="88" y="359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93" y="365"/>
                  </a:lnTo>
                  <a:lnTo>
                    <a:pt x="93" y="367"/>
                  </a:lnTo>
                  <a:lnTo>
                    <a:pt x="93" y="367"/>
                  </a:lnTo>
                  <a:lnTo>
                    <a:pt x="93" y="368"/>
                  </a:lnTo>
                  <a:lnTo>
                    <a:pt x="91" y="372"/>
                  </a:lnTo>
                  <a:lnTo>
                    <a:pt x="91" y="372"/>
                  </a:lnTo>
                  <a:lnTo>
                    <a:pt x="91" y="373"/>
                  </a:lnTo>
                  <a:lnTo>
                    <a:pt x="91" y="375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1" y="379"/>
                  </a:lnTo>
                  <a:lnTo>
                    <a:pt x="96" y="381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7" y="382"/>
                  </a:lnTo>
                  <a:lnTo>
                    <a:pt x="99" y="388"/>
                  </a:lnTo>
                  <a:lnTo>
                    <a:pt x="99" y="388"/>
                  </a:lnTo>
                  <a:lnTo>
                    <a:pt x="100" y="390"/>
                  </a:lnTo>
                  <a:lnTo>
                    <a:pt x="100" y="390"/>
                  </a:lnTo>
                  <a:lnTo>
                    <a:pt x="100" y="392"/>
                  </a:lnTo>
                  <a:lnTo>
                    <a:pt x="100" y="392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2" y="395"/>
                  </a:lnTo>
                  <a:lnTo>
                    <a:pt x="102" y="395"/>
                  </a:lnTo>
                  <a:lnTo>
                    <a:pt x="102" y="396"/>
                  </a:lnTo>
                  <a:lnTo>
                    <a:pt x="102" y="398"/>
                  </a:lnTo>
                  <a:lnTo>
                    <a:pt x="102" y="398"/>
                  </a:lnTo>
                  <a:lnTo>
                    <a:pt x="102" y="399"/>
                  </a:lnTo>
                  <a:lnTo>
                    <a:pt x="104" y="401"/>
                  </a:lnTo>
                  <a:lnTo>
                    <a:pt x="104" y="401"/>
                  </a:lnTo>
                  <a:lnTo>
                    <a:pt x="110" y="401"/>
                  </a:lnTo>
                  <a:lnTo>
                    <a:pt x="110" y="401"/>
                  </a:lnTo>
                  <a:lnTo>
                    <a:pt x="119" y="407"/>
                  </a:lnTo>
                  <a:lnTo>
                    <a:pt x="120" y="408"/>
                  </a:lnTo>
                  <a:lnTo>
                    <a:pt x="122" y="408"/>
                  </a:lnTo>
                  <a:lnTo>
                    <a:pt x="124" y="412"/>
                  </a:lnTo>
                  <a:lnTo>
                    <a:pt x="125" y="418"/>
                  </a:lnTo>
                  <a:lnTo>
                    <a:pt x="127" y="419"/>
                  </a:lnTo>
                  <a:lnTo>
                    <a:pt x="127" y="421"/>
                  </a:lnTo>
                  <a:lnTo>
                    <a:pt x="127" y="425"/>
                  </a:lnTo>
                  <a:lnTo>
                    <a:pt x="127" y="427"/>
                  </a:lnTo>
                  <a:lnTo>
                    <a:pt x="130" y="433"/>
                  </a:lnTo>
                  <a:lnTo>
                    <a:pt x="130" y="435"/>
                  </a:lnTo>
                  <a:lnTo>
                    <a:pt x="130" y="436"/>
                  </a:lnTo>
                  <a:lnTo>
                    <a:pt x="130" y="438"/>
                  </a:lnTo>
                  <a:lnTo>
                    <a:pt x="130" y="439"/>
                  </a:lnTo>
                  <a:lnTo>
                    <a:pt x="128" y="439"/>
                  </a:lnTo>
                  <a:lnTo>
                    <a:pt x="128" y="441"/>
                  </a:lnTo>
                  <a:lnTo>
                    <a:pt x="128" y="441"/>
                  </a:lnTo>
                  <a:lnTo>
                    <a:pt x="128" y="442"/>
                  </a:lnTo>
                  <a:lnTo>
                    <a:pt x="128" y="442"/>
                  </a:lnTo>
                  <a:lnTo>
                    <a:pt x="128" y="444"/>
                  </a:lnTo>
                  <a:lnTo>
                    <a:pt x="128" y="445"/>
                  </a:lnTo>
                  <a:lnTo>
                    <a:pt x="130" y="447"/>
                  </a:lnTo>
                  <a:lnTo>
                    <a:pt x="130" y="447"/>
                  </a:lnTo>
                  <a:lnTo>
                    <a:pt x="131" y="447"/>
                  </a:lnTo>
                  <a:lnTo>
                    <a:pt x="133" y="447"/>
                  </a:lnTo>
                  <a:lnTo>
                    <a:pt x="133" y="445"/>
                  </a:lnTo>
                  <a:lnTo>
                    <a:pt x="133" y="445"/>
                  </a:lnTo>
                  <a:lnTo>
                    <a:pt x="134" y="445"/>
                  </a:lnTo>
                  <a:lnTo>
                    <a:pt x="136" y="447"/>
                  </a:lnTo>
                  <a:lnTo>
                    <a:pt x="136" y="447"/>
                  </a:lnTo>
                  <a:lnTo>
                    <a:pt x="137" y="447"/>
                  </a:lnTo>
                  <a:lnTo>
                    <a:pt x="139" y="445"/>
                  </a:lnTo>
                  <a:lnTo>
                    <a:pt x="139" y="445"/>
                  </a:lnTo>
                  <a:lnTo>
                    <a:pt x="140" y="444"/>
                  </a:lnTo>
                  <a:lnTo>
                    <a:pt x="142" y="441"/>
                  </a:lnTo>
                  <a:lnTo>
                    <a:pt x="142" y="441"/>
                  </a:lnTo>
                  <a:lnTo>
                    <a:pt x="142" y="439"/>
                  </a:lnTo>
                  <a:lnTo>
                    <a:pt x="142" y="438"/>
                  </a:lnTo>
                  <a:lnTo>
                    <a:pt x="140" y="435"/>
                  </a:lnTo>
                  <a:lnTo>
                    <a:pt x="140" y="433"/>
                  </a:lnTo>
                  <a:lnTo>
                    <a:pt x="142" y="429"/>
                  </a:lnTo>
                  <a:lnTo>
                    <a:pt x="142" y="425"/>
                  </a:lnTo>
                  <a:lnTo>
                    <a:pt x="144" y="424"/>
                  </a:lnTo>
                  <a:lnTo>
                    <a:pt x="147" y="422"/>
                  </a:lnTo>
                  <a:lnTo>
                    <a:pt x="153" y="421"/>
                  </a:lnTo>
                  <a:lnTo>
                    <a:pt x="157" y="419"/>
                  </a:lnTo>
                  <a:lnTo>
                    <a:pt x="161" y="418"/>
                  </a:lnTo>
                  <a:lnTo>
                    <a:pt x="162" y="418"/>
                  </a:lnTo>
                  <a:lnTo>
                    <a:pt x="164" y="416"/>
                  </a:lnTo>
                  <a:lnTo>
                    <a:pt x="165" y="413"/>
                  </a:lnTo>
                  <a:lnTo>
                    <a:pt x="167" y="413"/>
                  </a:lnTo>
                  <a:lnTo>
                    <a:pt x="168" y="413"/>
                  </a:lnTo>
                  <a:lnTo>
                    <a:pt x="168" y="413"/>
                  </a:lnTo>
                  <a:lnTo>
                    <a:pt x="170" y="413"/>
                  </a:lnTo>
                  <a:lnTo>
                    <a:pt x="173" y="416"/>
                  </a:lnTo>
                  <a:lnTo>
                    <a:pt x="174" y="418"/>
                  </a:lnTo>
                  <a:lnTo>
                    <a:pt x="176" y="419"/>
                  </a:lnTo>
                  <a:lnTo>
                    <a:pt x="177" y="421"/>
                  </a:lnTo>
                  <a:lnTo>
                    <a:pt x="177" y="422"/>
                  </a:lnTo>
                  <a:lnTo>
                    <a:pt x="177" y="422"/>
                  </a:lnTo>
                  <a:lnTo>
                    <a:pt x="179" y="422"/>
                  </a:lnTo>
                  <a:lnTo>
                    <a:pt x="182" y="424"/>
                  </a:lnTo>
                  <a:lnTo>
                    <a:pt x="182" y="422"/>
                  </a:lnTo>
                  <a:lnTo>
                    <a:pt x="182" y="422"/>
                  </a:lnTo>
                  <a:lnTo>
                    <a:pt x="182" y="422"/>
                  </a:lnTo>
                  <a:lnTo>
                    <a:pt x="182" y="421"/>
                  </a:lnTo>
                  <a:lnTo>
                    <a:pt x="182" y="419"/>
                  </a:lnTo>
                  <a:lnTo>
                    <a:pt x="182" y="419"/>
                  </a:lnTo>
                  <a:lnTo>
                    <a:pt x="182" y="418"/>
                  </a:lnTo>
                  <a:lnTo>
                    <a:pt x="182" y="418"/>
                  </a:lnTo>
                  <a:lnTo>
                    <a:pt x="187" y="410"/>
                  </a:lnTo>
                  <a:lnTo>
                    <a:pt x="187" y="410"/>
                  </a:lnTo>
                  <a:lnTo>
                    <a:pt x="187" y="410"/>
                  </a:lnTo>
                  <a:lnTo>
                    <a:pt x="188" y="410"/>
                  </a:lnTo>
                  <a:lnTo>
                    <a:pt x="191" y="410"/>
                  </a:lnTo>
                  <a:lnTo>
                    <a:pt x="191" y="410"/>
                  </a:lnTo>
                  <a:lnTo>
                    <a:pt x="191" y="410"/>
                  </a:lnTo>
                  <a:lnTo>
                    <a:pt x="191" y="408"/>
                  </a:lnTo>
                  <a:lnTo>
                    <a:pt x="191" y="408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4" y="408"/>
                  </a:lnTo>
                  <a:lnTo>
                    <a:pt x="194" y="408"/>
                  </a:lnTo>
                  <a:lnTo>
                    <a:pt x="196" y="408"/>
                  </a:lnTo>
                  <a:lnTo>
                    <a:pt x="196" y="407"/>
                  </a:lnTo>
                  <a:lnTo>
                    <a:pt x="197" y="408"/>
                  </a:lnTo>
                  <a:lnTo>
                    <a:pt x="199" y="408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2" y="408"/>
                  </a:lnTo>
                  <a:lnTo>
                    <a:pt x="207" y="408"/>
                  </a:lnTo>
                  <a:lnTo>
                    <a:pt x="210" y="408"/>
                  </a:lnTo>
                  <a:lnTo>
                    <a:pt x="210" y="408"/>
                  </a:lnTo>
                  <a:lnTo>
                    <a:pt x="210" y="408"/>
                  </a:lnTo>
                  <a:lnTo>
                    <a:pt x="211" y="408"/>
                  </a:lnTo>
                  <a:lnTo>
                    <a:pt x="213" y="407"/>
                  </a:lnTo>
                  <a:lnTo>
                    <a:pt x="213" y="405"/>
                  </a:lnTo>
                  <a:lnTo>
                    <a:pt x="221" y="402"/>
                  </a:lnTo>
                  <a:lnTo>
                    <a:pt x="222" y="401"/>
                  </a:lnTo>
                  <a:lnTo>
                    <a:pt x="225" y="401"/>
                  </a:lnTo>
                  <a:lnTo>
                    <a:pt x="225" y="401"/>
                  </a:lnTo>
                  <a:lnTo>
                    <a:pt x="228" y="399"/>
                  </a:lnTo>
                  <a:lnTo>
                    <a:pt x="230" y="399"/>
                  </a:lnTo>
                  <a:lnTo>
                    <a:pt x="230" y="399"/>
                  </a:lnTo>
                  <a:lnTo>
                    <a:pt x="234" y="401"/>
                  </a:lnTo>
                  <a:lnTo>
                    <a:pt x="236" y="402"/>
                  </a:lnTo>
                  <a:lnTo>
                    <a:pt x="238" y="402"/>
                  </a:lnTo>
                  <a:lnTo>
                    <a:pt x="239" y="402"/>
                  </a:lnTo>
                  <a:lnTo>
                    <a:pt x="242" y="401"/>
                  </a:lnTo>
                  <a:lnTo>
                    <a:pt x="251" y="398"/>
                  </a:lnTo>
                  <a:lnTo>
                    <a:pt x="254" y="395"/>
                  </a:lnTo>
                  <a:lnTo>
                    <a:pt x="254" y="395"/>
                  </a:lnTo>
                  <a:lnTo>
                    <a:pt x="254" y="396"/>
                  </a:lnTo>
                  <a:lnTo>
                    <a:pt x="254" y="398"/>
                  </a:lnTo>
                  <a:lnTo>
                    <a:pt x="254" y="398"/>
                  </a:lnTo>
                  <a:lnTo>
                    <a:pt x="256" y="399"/>
                  </a:lnTo>
                  <a:lnTo>
                    <a:pt x="258" y="401"/>
                  </a:lnTo>
                  <a:lnTo>
                    <a:pt x="259" y="401"/>
                  </a:lnTo>
                  <a:lnTo>
                    <a:pt x="261" y="401"/>
                  </a:lnTo>
                  <a:lnTo>
                    <a:pt x="262" y="399"/>
                  </a:lnTo>
                  <a:lnTo>
                    <a:pt x="265" y="399"/>
                  </a:lnTo>
                  <a:lnTo>
                    <a:pt x="267" y="399"/>
                  </a:lnTo>
                  <a:lnTo>
                    <a:pt x="267" y="398"/>
                  </a:lnTo>
                  <a:lnTo>
                    <a:pt x="268" y="395"/>
                  </a:lnTo>
                  <a:lnTo>
                    <a:pt x="270" y="393"/>
                  </a:lnTo>
                  <a:lnTo>
                    <a:pt x="270" y="393"/>
                  </a:lnTo>
                  <a:lnTo>
                    <a:pt x="271" y="392"/>
                  </a:lnTo>
                  <a:lnTo>
                    <a:pt x="273" y="392"/>
                  </a:lnTo>
                  <a:lnTo>
                    <a:pt x="273" y="390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73" y="381"/>
                  </a:lnTo>
                  <a:lnTo>
                    <a:pt x="273" y="381"/>
                  </a:lnTo>
                  <a:lnTo>
                    <a:pt x="270" y="378"/>
                  </a:lnTo>
                  <a:lnTo>
                    <a:pt x="267" y="375"/>
                  </a:lnTo>
                  <a:lnTo>
                    <a:pt x="267" y="375"/>
                  </a:lnTo>
                  <a:lnTo>
                    <a:pt x="267" y="373"/>
                  </a:lnTo>
                  <a:lnTo>
                    <a:pt x="267" y="368"/>
                  </a:lnTo>
                  <a:lnTo>
                    <a:pt x="268" y="367"/>
                  </a:lnTo>
                  <a:lnTo>
                    <a:pt x="268" y="365"/>
                  </a:lnTo>
                  <a:lnTo>
                    <a:pt x="267" y="364"/>
                  </a:lnTo>
                  <a:lnTo>
                    <a:pt x="270" y="361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70" y="358"/>
                  </a:lnTo>
                  <a:lnTo>
                    <a:pt x="270" y="358"/>
                  </a:lnTo>
                  <a:lnTo>
                    <a:pt x="270" y="358"/>
                  </a:lnTo>
                  <a:lnTo>
                    <a:pt x="268" y="356"/>
                  </a:lnTo>
                  <a:lnTo>
                    <a:pt x="267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7" y="350"/>
                  </a:lnTo>
                  <a:lnTo>
                    <a:pt x="267" y="350"/>
                  </a:lnTo>
                  <a:lnTo>
                    <a:pt x="268" y="348"/>
                  </a:lnTo>
                  <a:lnTo>
                    <a:pt x="270" y="348"/>
                  </a:lnTo>
                  <a:lnTo>
                    <a:pt x="270" y="347"/>
                  </a:lnTo>
                  <a:lnTo>
                    <a:pt x="271" y="345"/>
                  </a:lnTo>
                  <a:lnTo>
                    <a:pt x="271" y="345"/>
                  </a:lnTo>
                  <a:lnTo>
                    <a:pt x="273" y="345"/>
                  </a:lnTo>
                  <a:lnTo>
                    <a:pt x="274" y="345"/>
                  </a:lnTo>
                  <a:lnTo>
                    <a:pt x="274" y="344"/>
                  </a:lnTo>
                  <a:lnTo>
                    <a:pt x="274" y="344"/>
                  </a:lnTo>
                  <a:lnTo>
                    <a:pt x="276" y="344"/>
                  </a:lnTo>
                  <a:lnTo>
                    <a:pt x="276" y="344"/>
                  </a:lnTo>
                  <a:lnTo>
                    <a:pt x="279" y="342"/>
                  </a:lnTo>
                  <a:lnTo>
                    <a:pt x="284" y="344"/>
                  </a:lnTo>
                  <a:lnTo>
                    <a:pt x="287" y="344"/>
                  </a:lnTo>
                  <a:lnTo>
                    <a:pt x="288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1"/>
                  </a:lnTo>
                  <a:lnTo>
                    <a:pt x="291" y="336"/>
                  </a:lnTo>
                  <a:lnTo>
                    <a:pt x="291" y="335"/>
                  </a:lnTo>
                  <a:lnTo>
                    <a:pt x="293" y="333"/>
                  </a:lnTo>
                  <a:lnTo>
                    <a:pt x="293" y="333"/>
                  </a:lnTo>
                  <a:lnTo>
                    <a:pt x="295" y="333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8" y="332"/>
                  </a:lnTo>
                  <a:lnTo>
                    <a:pt x="301" y="328"/>
                  </a:lnTo>
                  <a:lnTo>
                    <a:pt x="301" y="327"/>
                  </a:lnTo>
                  <a:lnTo>
                    <a:pt x="301" y="325"/>
                  </a:lnTo>
                  <a:lnTo>
                    <a:pt x="302" y="324"/>
                  </a:lnTo>
                  <a:lnTo>
                    <a:pt x="302" y="324"/>
                  </a:lnTo>
                  <a:lnTo>
                    <a:pt x="304" y="324"/>
                  </a:lnTo>
                  <a:lnTo>
                    <a:pt x="304" y="322"/>
                  </a:lnTo>
                  <a:lnTo>
                    <a:pt x="305" y="321"/>
                  </a:lnTo>
                  <a:lnTo>
                    <a:pt x="307" y="318"/>
                  </a:lnTo>
                  <a:lnTo>
                    <a:pt x="308" y="313"/>
                  </a:lnTo>
                  <a:lnTo>
                    <a:pt x="308" y="31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6"/>
            <p:cNvSpPr>
              <a:spLocks noEditPoints="1"/>
            </p:cNvSpPr>
            <p:nvPr/>
          </p:nvSpPr>
          <p:spPr bwMode="gray">
            <a:xfrm>
              <a:off x="8001000" y="1112838"/>
              <a:ext cx="4999038" cy="7026275"/>
            </a:xfrm>
            <a:custGeom>
              <a:avLst/>
              <a:gdLst>
                <a:gd name="T0" fmla="*/ 2268 w 3149"/>
                <a:gd name="T1" fmla="*/ 624 h 4426"/>
                <a:gd name="T2" fmla="*/ 141 w 3149"/>
                <a:gd name="T3" fmla="*/ 2853 h 4426"/>
                <a:gd name="T4" fmla="*/ 229 w 3149"/>
                <a:gd name="T5" fmla="*/ 2934 h 4426"/>
                <a:gd name="T6" fmla="*/ 2432 w 3149"/>
                <a:gd name="T7" fmla="*/ 45 h 4426"/>
                <a:gd name="T8" fmla="*/ 2558 w 3149"/>
                <a:gd name="T9" fmla="*/ 139 h 4426"/>
                <a:gd name="T10" fmla="*/ 2609 w 3149"/>
                <a:gd name="T11" fmla="*/ 249 h 4426"/>
                <a:gd name="T12" fmla="*/ 2740 w 3149"/>
                <a:gd name="T13" fmla="*/ 279 h 4426"/>
                <a:gd name="T14" fmla="*/ 2772 w 3149"/>
                <a:gd name="T15" fmla="*/ 189 h 4426"/>
                <a:gd name="T16" fmla="*/ 3039 w 3149"/>
                <a:gd name="T17" fmla="*/ 411 h 4426"/>
                <a:gd name="T18" fmla="*/ 2487 w 3149"/>
                <a:gd name="T19" fmla="*/ 117 h 4426"/>
                <a:gd name="T20" fmla="*/ 1226 w 3149"/>
                <a:gd name="T21" fmla="*/ 1357 h 4426"/>
                <a:gd name="T22" fmla="*/ 3149 w 3149"/>
                <a:gd name="T23" fmla="*/ 456 h 4426"/>
                <a:gd name="T24" fmla="*/ 2942 w 3149"/>
                <a:gd name="T25" fmla="*/ 713 h 4426"/>
                <a:gd name="T26" fmla="*/ 2630 w 3149"/>
                <a:gd name="T27" fmla="*/ 739 h 4426"/>
                <a:gd name="T28" fmla="*/ 2569 w 3149"/>
                <a:gd name="T29" fmla="*/ 616 h 4426"/>
                <a:gd name="T30" fmla="*/ 2178 w 3149"/>
                <a:gd name="T31" fmla="*/ 845 h 4426"/>
                <a:gd name="T32" fmla="*/ 1939 w 3149"/>
                <a:gd name="T33" fmla="*/ 998 h 4426"/>
                <a:gd name="T34" fmla="*/ 1842 w 3149"/>
                <a:gd name="T35" fmla="*/ 807 h 4426"/>
                <a:gd name="T36" fmla="*/ 1819 w 3149"/>
                <a:gd name="T37" fmla="*/ 1197 h 4426"/>
                <a:gd name="T38" fmla="*/ 1549 w 3149"/>
                <a:gd name="T39" fmla="*/ 1428 h 4426"/>
                <a:gd name="T40" fmla="*/ 1272 w 3149"/>
                <a:gd name="T41" fmla="*/ 1391 h 4426"/>
                <a:gd name="T42" fmla="*/ 1212 w 3149"/>
                <a:gd name="T43" fmla="*/ 1506 h 4426"/>
                <a:gd name="T44" fmla="*/ 1099 w 3149"/>
                <a:gd name="T45" fmla="*/ 1304 h 4426"/>
                <a:gd name="T46" fmla="*/ 1046 w 3149"/>
                <a:gd name="T47" fmla="*/ 1130 h 4426"/>
                <a:gd name="T48" fmla="*/ 912 w 3149"/>
                <a:gd name="T49" fmla="*/ 984 h 4426"/>
                <a:gd name="T50" fmla="*/ 1197 w 3149"/>
                <a:gd name="T51" fmla="*/ 1129 h 4426"/>
                <a:gd name="T52" fmla="*/ 1560 w 3149"/>
                <a:gd name="T53" fmla="*/ 858 h 4426"/>
                <a:gd name="T54" fmla="*/ 1309 w 3149"/>
                <a:gd name="T55" fmla="*/ 647 h 4426"/>
                <a:gd name="T56" fmla="*/ 1019 w 3149"/>
                <a:gd name="T57" fmla="*/ 568 h 4426"/>
                <a:gd name="T58" fmla="*/ 936 w 3149"/>
                <a:gd name="T59" fmla="*/ 473 h 4426"/>
                <a:gd name="T60" fmla="*/ 810 w 3149"/>
                <a:gd name="T61" fmla="*/ 502 h 4426"/>
                <a:gd name="T62" fmla="*/ 756 w 3149"/>
                <a:gd name="T63" fmla="*/ 1264 h 4426"/>
                <a:gd name="T64" fmla="*/ 870 w 3149"/>
                <a:gd name="T65" fmla="*/ 1788 h 4426"/>
                <a:gd name="T66" fmla="*/ 674 w 3149"/>
                <a:gd name="T67" fmla="*/ 2104 h 4426"/>
                <a:gd name="T68" fmla="*/ 625 w 3149"/>
                <a:gd name="T69" fmla="*/ 2233 h 4426"/>
                <a:gd name="T70" fmla="*/ 607 w 3149"/>
                <a:gd name="T71" fmla="*/ 2632 h 4426"/>
                <a:gd name="T72" fmla="*/ 825 w 3149"/>
                <a:gd name="T73" fmla="*/ 2793 h 4426"/>
                <a:gd name="T74" fmla="*/ 950 w 3149"/>
                <a:gd name="T75" fmla="*/ 3041 h 4426"/>
                <a:gd name="T76" fmla="*/ 888 w 3149"/>
                <a:gd name="T77" fmla="*/ 3177 h 4426"/>
                <a:gd name="T78" fmla="*/ 1079 w 3149"/>
                <a:gd name="T79" fmla="*/ 3254 h 4426"/>
                <a:gd name="T80" fmla="*/ 1183 w 3149"/>
                <a:gd name="T81" fmla="*/ 3436 h 4426"/>
                <a:gd name="T82" fmla="*/ 1452 w 3149"/>
                <a:gd name="T83" fmla="*/ 3506 h 4426"/>
                <a:gd name="T84" fmla="*/ 1512 w 3149"/>
                <a:gd name="T85" fmla="*/ 3694 h 4426"/>
                <a:gd name="T86" fmla="*/ 1434 w 3149"/>
                <a:gd name="T87" fmla="*/ 3807 h 4426"/>
                <a:gd name="T88" fmla="*/ 1358 w 3149"/>
                <a:gd name="T89" fmla="*/ 3884 h 4426"/>
                <a:gd name="T90" fmla="*/ 1343 w 3149"/>
                <a:gd name="T91" fmla="*/ 3985 h 4426"/>
                <a:gd name="T92" fmla="*/ 1272 w 3149"/>
                <a:gd name="T93" fmla="*/ 4001 h 4426"/>
                <a:gd name="T94" fmla="*/ 1428 w 3149"/>
                <a:gd name="T95" fmla="*/ 4116 h 4426"/>
                <a:gd name="T96" fmla="*/ 1811 w 3149"/>
                <a:gd name="T97" fmla="*/ 4290 h 4426"/>
                <a:gd name="T98" fmla="*/ 2050 w 3149"/>
                <a:gd name="T99" fmla="*/ 4390 h 4426"/>
                <a:gd name="T100" fmla="*/ 2081 w 3149"/>
                <a:gd name="T101" fmla="*/ 4181 h 4426"/>
                <a:gd name="T102" fmla="*/ 2042 w 3149"/>
                <a:gd name="T103" fmla="*/ 4056 h 4426"/>
                <a:gd name="T104" fmla="*/ 2082 w 3149"/>
                <a:gd name="T105" fmla="*/ 3961 h 4426"/>
                <a:gd name="T106" fmla="*/ 2170 w 3149"/>
                <a:gd name="T107" fmla="*/ 3938 h 4426"/>
                <a:gd name="T108" fmla="*/ 2170 w 3149"/>
                <a:gd name="T109" fmla="*/ 3859 h 4426"/>
                <a:gd name="T110" fmla="*/ 2122 w 3149"/>
                <a:gd name="T111" fmla="*/ 3486 h 4426"/>
                <a:gd name="T112" fmla="*/ 2366 w 3149"/>
                <a:gd name="T113" fmla="*/ 3300 h 4426"/>
                <a:gd name="T114" fmla="*/ 2567 w 3149"/>
                <a:gd name="T115" fmla="*/ 3360 h 4426"/>
                <a:gd name="T116" fmla="*/ 2777 w 3149"/>
                <a:gd name="T117" fmla="*/ 3366 h 4426"/>
                <a:gd name="T118" fmla="*/ 3002 w 3149"/>
                <a:gd name="T119" fmla="*/ 3400 h 4426"/>
                <a:gd name="T120" fmla="*/ 3060 w 3149"/>
                <a:gd name="T121" fmla="*/ 3174 h 4426"/>
                <a:gd name="T122" fmla="*/ 3099 w 3149"/>
                <a:gd name="T123" fmla="*/ 3014 h 4426"/>
                <a:gd name="T124" fmla="*/ 1209 w 3149"/>
                <a:gd name="T125" fmla="*/ 1381 h 4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9" h="4426">
                  <a:moveTo>
                    <a:pt x="2250" y="638"/>
                  </a:moveTo>
                  <a:lnTo>
                    <a:pt x="2247" y="639"/>
                  </a:lnTo>
                  <a:lnTo>
                    <a:pt x="2245" y="641"/>
                  </a:lnTo>
                  <a:lnTo>
                    <a:pt x="2244" y="642"/>
                  </a:lnTo>
                  <a:lnTo>
                    <a:pt x="2245" y="641"/>
                  </a:lnTo>
                  <a:lnTo>
                    <a:pt x="2247" y="641"/>
                  </a:lnTo>
                  <a:lnTo>
                    <a:pt x="2252" y="636"/>
                  </a:lnTo>
                  <a:lnTo>
                    <a:pt x="2252" y="636"/>
                  </a:lnTo>
                  <a:lnTo>
                    <a:pt x="2250" y="636"/>
                  </a:lnTo>
                  <a:lnTo>
                    <a:pt x="2250" y="638"/>
                  </a:lnTo>
                  <a:close/>
                  <a:moveTo>
                    <a:pt x="2131" y="618"/>
                  </a:moveTo>
                  <a:lnTo>
                    <a:pt x="2131" y="618"/>
                  </a:lnTo>
                  <a:lnTo>
                    <a:pt x="2133" y="618"/>
                  </a:lnTo>
                  <a:lnTo>
                    <a:pt x="2133" y="618"/>
                  </a:lnTo>
                  <a:lnTo>
                    <a:pt x="2134" y="619"/>
                  </a:lnTo>
                  <a:lnTo>
                    <a:pt x="2133" y="621"/>
                  </a:lnTo>
                  <a:lnTo>
                    <a:pt x="2131" y="624"/>
                  </a:lnTo>
                  <a:lnTo>
                    <a:pt x="2131" y="628"/>
                  </a:lnTo>
                  <a:lnTo>
                    <a:pt x="2131" y="631"/>
                  </a:lnTo>
                  <a:lnTo>
                    <a:pt x="2130" y="634"/>
                  </a:lnTo>
                  <a:lnTo>
                    <a:pt x="2130" y="638"/>
                  </a:lnTo>
                  <a:lnTo>
                    <a:pt x="2131" y="641"/>
                  </a:lnTo>
                  <a:lnTo>
                    <a:pt x="2133" y="641"/>
                  </a:lnTo>
                  <a:lnTo>
                    <a:pt x="2134" y="638"/>
                  </a:lnTo>
                  <a:lnTo>
                    <a:pt x="2136" y="638"/>
                  </a:lnTo>
                  <a:lnTo>
                    <a:pt x="2136" y="638"/>
                  </a:lnTo>
                  <a:lnTo>
                    <a:pt x="2138" y="639"/>
                  </a:lnTo>
                  <a:lnTo>
                    <a:pt x="2139" y="639"/>
                  </a:lnTo>
                  <a:lnTo>
                    <a:pt x="2138" y="641"/>
                  </a:lnTo>
                  <a:lnTo>
                    <a:pt x="2136" y="644"/>
                  </a:lnTo>
                  <a:lnTo>
                    <a:pt x="2139" y="647"/>
                  </a:lnTo>
                  <a:lnTo>
                    <a:pt x="2139" y="648"/>
                  </a:lnTo>
                  <a:lnTo>
                    <a:pt x="2141" y="648"/>
                  </a:lnTo>
                  <a:lnTo>
                    <a:pt x="2142" y="653"/>
                  </a:lnTo>
                  <a:lnTo>
                    <a:pt x="2144" y="654"/>
                  </a:lnTo>
                  <a:lnTo>
                    <a:pt x="2145" y="654"/>
                  </a:lnTo>
                  <a:lnTo>
                    <a:pt x="2151" y="662"/>
                  </a:lnTo>
                  <a:lnTo>
                    <a:pt x="2156" y="668"/>
                  </a:lnTo>
                  <a:lnTo>
                    <a:pt x="2158" y="671"/>
                  </a:lnTo>
                  <a:lnTo>
                    <a:pt x="2165" y="671"/>
                  </a:lnTo>
                  <a:lnTo>
                    <a:pt x="2167" y="670"/>
                  </a:lnTo>
                  <a:lnTo>
                    <a:pt x="2167" y="667"/>
                  </a:lnTo>
                  <a:lnTo>
                    <a:pt x="2168" y="667"/>
                  </a:lnTo>
                  <a:lnTo>
                    <a:pt x="2168" y="667"/>
                  </a:lnTo>
                  <a:lnTo>
                    <a:pt x="2170" y="668"/>
                  </a:lnTo>
                  <a:lnTo>
                    <a:pt x="2171" y="670"/>
                  </a:lnTo>
                  <a:lnTo>
                    <a:pt x="2171" y="670"/>
                  </a:lnTo>
                  <a:lnTo>
                    <a:pt x="2171" y="671"/>
                  </a:lnTo>
                  <a:lnTo>
                    <a:pt x="2173" y="671"/>
                  </a:lnTo>
                  <a:lnTo>
                    <a:pt x="2207" y="662"/>
                  </a:lnTo>
                  <a:lnTo>
                    <a:pt x="2211" y="656"/>
                  </a:lnTo>
                  <a:lnTo>
                    <a:pt x="2211" y="654"/>
                  </a:lnTo>
                  <a:lnTo>
                    <a:pt x="2213" y="654"/>
                  </a:lnTo>
                  <a:lnTo>
                    <a:pt x="2221" y="654"/>
                  </a:lnTo>
                  <a:lnTo>
                    <a:pt x="2228" y="650"/>
                  </a:lnTo>
                  <a:lnTo>
                    <a:pt x="2233" y="644"/>
                  </a:lnTo>
                  <a:lnTo>
                    <a:pt x="2236" y="642"/>
                  </a:lnTo>
                  <a:lnTo>
                    <a:pt x="2239" y="641"/>
                  </a:lnTo>
                  <a:lnTo>
                    <a:pt x="2242" y="639"/>
                  </a:lnTo>
                  <a:lnTo>
                    <a:pt x="2250" y="624"/>
                  </a:lnTo>
                  <a:lnTo>
                    <a:pt x="2255" y="619"/>
                  </a:lnTo>
                  <a:lnTo>
                    <a:pt x="2256" y="618"/>
                  </a:lnTo>
                  <a:lnTo>
                    <a:pt x="2256" y="614"/>
                  </a:lnTo>
                  <a:lnTo>
                    <a:pt x="2255" y="613"/>
                  </a:lnTo>
                  <a:lnTo>
                    <a:pt x="2252" y="614"/>
                  </a:lnTo>
                  <a:lnTo>
                    <a:pt x="2253" y="611"/>
                  </a:lnTo>
                  <a:lnTo>
                    <a:pt x="2259" y="601"/>
                  </a:lnTo>
                  <a:lnTo>
                    <a:pt x="2262" y="599"/>
                  </a:lnTo>
                  <a:lnTo>
                    <a:pt x="2265" y="597"/>
                  </a:lnTo>
                  <a:lnTo>
                    <a:pt x="2273" y="587"/>
                  </a:lnTo>
                  <a:lnTo>
                    <a:pt x="2276" y="584"/>
                  </a:lnTo>
                  <a:lnTo>
                    <a:pt x="2279" y="584"/>
                  </a:lnTo>
                  <a:lnTo>
                    <a:pt x="2279" y="584"/>
                  </a:lnTo>
                  <a:lnTo>
                    <a:pt x="2279" y="587"/>
                  </a:lnTo>
                  <a:lnTo>
                    <a:pt x="2278" y="594"/>
                  </a:lnTo>
                  <a:lnTo>
                    <a:pt x="2273" y="602"/>
                  </a:lnTo>
                  <a:lnTo>
                    <a:pt x="2272" y="608"/>
                  </a:lnTo>
                  <a:lnTo>
                    <a:pt x="2273" y="613"/>
                  </a:lnTo>
                  <a:lnTo>
                    <a:pt x="2273" y="613"/>
                  </a:lnTo>
                  <a:lnTo>
                    <a:pt x="2272" y="614"/>
                  </a:lnTo>
                  <a:lnTo>
                    <a:pt x="2272" y="618"/>
                  </a:lnTo>
                  <a:lnTo>
                    <a:pt x="2276" y="613"/>
                  </a:lnTo>
                  <a:lnTo>
                    <a:pt x="2281" y="604"/>
                  </a:lnTo>
                  <a:lnTo>
                    <a:pt x="2287" y="593"/>
                  </a:lnTo>
                  <a:lnTo>
                    <a:pt x="2287" y="585"/>
                  </a:lnTo>
                  <a:lnTo>
                    <a:pt x="2284" y="576"/>
                  </a:lnTo>
                  <a:lnTo>
                    <a:pt x="2279" y="568"/>
                  </a:lnTo>
                  <a:lnTo>
                    <a:pt x="2275" y="562"/>
                  </a:lnTo>
                  <a:lnTo>
                    <a:pt x="2265" y="553"/>
                  </a:lnTo>
                  <a:lnTo>
                    <a:pt x="2241" y="533"/>
                  </a:lnTo>
                  <a:lnTo>
                    <a:pt x="2208" y="510"/>
                  </a:lnTo>
                  <a:lnTo>
                    <a:pt x="2195" y="508"/>
                  </a:lnTo>
                  <a:lnTo>
                    <a:pt x="2182" y="510"/>
                  </a:lnTo>
                  <a:lnTo>
                    <a:pt x="2175" y="513"/>
                  </a:lnTo>
                  <a:lnTo>
                    <a:pt x="2156" y="528"/>
                  </a:lnTo>
                  <a:lnTo>
                    <a:pt x="2151" y="534"/>
                  </a:lnTo>
                  <a:lnTo>
                    <a:pt x="2147" y="537"/>
                  </a:lnTo>
                  <a:lnTo>
                    <a:pt x="2147" y="541"/>
                  </a:lnTo>
                  <a:lnTo>
                    <a:pt x="2144" y="545"/>
                  </a:lnTo>
                  <a:lnTo>
                    <a:pt x="2139" y="553"/>
                  </a:lnTo>
                  <a:lnTo>
                    <a:pt x="2138" y="559"/>
                  </a:lnTo>
                  <a:lnTo>
                    <a:pt x="2136" y="562"/>
                  </a:lnTo>
                  <a:lnTo>
                    <a:pt x="2134" y="568"/>
                  </a:lnTo>
                  <a:lnTo>
                    <a:pt x="2134" y="574"/>
                  </a:lnTo>
                  <a:lnTo>
                    <a:pt x="2134" y="579"/>
                  </a:lnTo>
                  <a:lnTo>
                    <a:pt x="2134" y="581"/>
                  </a:lnTo>
                  <a:lnTo>
                    <a:pt x="2134" y="587"/>
                  </a:lnTo>
                  <a:lnTo>
                    <a:pt x="2134" y="588"/>
                  </a:lnTo>
                  <a:lnTo>
                    <a:pt x="2133" y="591"/>
                  </a:lnTo>
                  <a:lnTo>
                    <a:pt x="2131" y="596"/>
                  </a:lnTo>
                  <a:lnTo>
                    <a:pt x="2130" y="601"/>
                  </a:lnTo>
                  <a:lnTo>
                    <a:pt x="2130" y="602"/>
                  </a:lnTo>
                  <a:lnTo>
                    <a:pt x="2130" y="602"/>
                  </a:lnTo>
                  <a:lnTo>
                    <a:pt x="2130" y="605"/>
                  </a:lnTo>
                  <a:lnTo>
                    <a:pt x="2131" y="605"/>
                  </a:lnTo>
                  <a:lnTo>
                    <a:pt x="2133" y="607"/>
                  </a:lnTo>
                  <a:lnTo>
                    <a:pt x="2131" y="611"/>
                  </a:lnTo>
                  <a:lnTo>
                    <a:pt x="2130" y="613"/>
                  </a:lnTo>
                  <a:lnTo>
                    <a:pt x="2130" y="614"/>
                  </a:lnTo>
                  <a:lnTo>
                    <a:pt x="2130" y="614"/>
                  </a:lnTo>
                  <a:lnTo>
                    <a:pt x="2130" y="616"/>
                  </a:lnTo>
                  <a:lnTo>
                    <a:pt x="2130" y="618"/>
                  </a:lnTo>
                  <a:lnTo>
                    <a:pt x="2131" y="618"/>
                  </a:lnTo>
                  <a:close/>
                  <a:moveTo>
                    <a:pt x="2268" y="625"/>
                  </a:moveTo>
                  <a:lnTo>
                    <a:pt x="2267" y="627"/>
                  </a:lnTo>
                  <a:lnTo>
                    <a:pt x="2264" y="630"/>
                  </a:lnTo>
                  <a:lnTo>
                    <a:pt x="2264" y="630"/>
                  </a:lnTo>
                  <a:lnTo>
                    <a:pt x="2268" y="628"/>
                  </a:lnTo>
                  <a:lnTo>
                    <a:pt x="2270" y="625"/>
                  </a:lnTo>
                  <a:lnTo>
                    <a:pt x="2272" y="624"/>
                  </a:lnTo>
                  <a:lnTo>
                    <a:pt x="2270" y="624"/>
                  </a:lnTo>
                  <a:lnTo>
                    <a:pt x="2268" y="624"/>
                  </a:lnTo>
                  <a:lnTo>
                    <a:pt x="2268" y="625"/>
                  </a:lnTo>
                  <a:close/>
                  <a:moveTo>
                    <a:pt x="2232" y="654"/>
                  </a:moveTo>
                  <a:lnTo>
                    <a:pt x="2230" y="654"/>
                  </a:lnTo>
                  <a:lnTo>
                    <a:pt x="2225" y="659"/>
                  </a:lnTo>
                  <a:lnTo>
                    <a:pt x="2225" y="661"/>
                  </a:lnTo>
                  <a:lnTo>
                    <a:pt x="2230" y="659"/>
                  </a:lnTo>
                  <a:lnTo>
                    <a:pt x="2233" y="656"/>
                  </a:lnTo>
                  <a:lnTo>
                    <a:pt x="2233" y="654"/>
                  </a:lnTo>
                  <a:lnTo>
                    <a:pt x="2233" y="653"/>
                  </a:lnTo>
                  <a:lnTo>
                    <a:pt x="2232" y="653"/>
                  </a:lnTo>
                  <a:lnTo>
                    <a:pt x="2232" y="654"/>
                  </a:lnTo>
                  <a:close/>
                  <a:moveTo>
                    <a:pt x="2327" y="742"/>
                  </a:moveTo>
                  <a:lnTo>
                    <a:pt x="2329" y="741"/>
                  </a:lnTo>
                  <a:lnTo>
                    <a:pt x="2330" y="741"/>
                  </a:lnTo>
                  <a:lnTo>
                    <a:pt x="2333" y="739"/>
                  </a:lnTo>
                  <a:lnTo>
                    <a:pt x="2338" y="733"/>
                  </a:lnTo>
                  <a:lnTo>
                    <a:pt x="2345" y="735"/>
                  </a:lnTo>
                  <a:lnTo>
                    <a:pt x="2350" y="727"/>
                  </a:lnTo>
                  <a:lnTo>
                    <a:pt x="2372" y="724"/>
                  </a:lnTo>
                  <a:lnTo>
                    <a:pt x="2375" y="721"/>
                  </a:lnTo>
                  <a:lnTo>
                    <a:pt x="2359" y="719"/>
                  </a:lnTo>
                  <a:lnTo>
                    <a:pt x="2350" y="718"/>
                  </a:lnTo>
                  <a:lnTo>
                    <a:pt x="2329" y="733"/>
                  </a:lnTo>
                  <a:lnTo>
                    <a:pt x="2324" y="738"/>
                  </a:lnTo>
                  <a:lnTo>
                    <a:pt x="2324" y="739"/>
                  </a:lnTo>
                  <a:lnTo>
                    <a:pt x="2322" y="741"/>
                  </a:lnTo>
                  <a:lnTo>
                    <a:pt x="2322" y="744"/>
                  </a:lnTo>
                  <a:lnTo>
                    <a:pt x="2325" y="742"/>
                  </a:lnTo>
                  <a:lnTo>
                    <a:pt x="2327" y="742"/>
                  </a:lnTo>
                  <a:close/>
                  <a:moveTo>
                    <a:pt x="2175" y="679"/>
                  </a:moveTo>
                  <a:lnTo>
                    <a:pt x="2171" y="679"/>
                  </a:lnTo>
                  <a:lnTo>
                    <a:pt x="2171" y="679"/>
                  </a:lnTo>
                  <a:lnTo>
                    <a:pt x="2198" y="685"/>
                  </a:lnTo>
                  <a:lnTo>
                    <a:pt x="2198" y="684"/>
                  </a:lnTo>
                  <a:lnTo>
                    <a:pt x="2195" y="682"/>
                  </a:lnTo>
                  <a:lnTo>
                    <a:pt x="2193" y="682"/>
                  </a:lnTo>
                  <a:lnTo>
                    <a:pt x="2175" y="679"/>
                  </a:lnTo>
                  <a:close/>
                  <a:moveTo>
                    <a:pt x="553" y="2181"/>
                  </a:moveTo>
                  <a:lnTo>
                    <a:pt x="553" y="2179"/>
                  </a:lnTo>
                  <a:lnTo>
                    <a:pt x="551" y="2177"/>
                  </a:lnTo>
                  <a:lnTo>
                    <a:pt x="551" y="2176"/>
                  </a:lnTo>
                  <a:lnTo>
                    <a:pt x="550" y="2174"/>
                  </a:lnTo>
                  <a:lnTo>
                    <a:pt x="550" y="2173"/>
                  </a:lnTo>
                  <a:lnTo>
                    <a:pt x="548" y="2171"/>
                  </a:lnTo>
                  <a:lnTo>
                    <a:pt x="547" y="2171"/>
                  </a:lnTo>
                  <a:lnTo>
                    <a:pt x="547" y="2173"/>
                  </a:lnTo>
                  <a:lnTo>
                    <a:pt x="548" y="2177"/>
                  </a:lnTo>
                  <a:lnTo>
                    <a:pt x="548" y="2179"/>
                  </a:lnTo>
                  <a:lnTo>
                    <a:pt x="548" y="2179"/>
                  </a:lnTo>
                  <a:lnTo>
                    <a:pt x="550" y="2182"/>
                  </a:lnTo>
                  <a:lnTo>
                    <a:pt x="550" y="2184"/>
                  </a:lnTo>
                  <a:lnTo>
                    <a:pt x="551" y="2184"/>
                  </a:lnTo>
                  <a:lnTo>
                    <a:pt x="551" y="2184"/>
                  </a:lnTo>
                  <a:lnTo>
                    <a:pt x="553" y="2184"/>
                  </a:lnTo>
                  <a:lnTo>
                    <a:pt x="553" y="2182"/>
                  </a:lnTo>
                  <a:lnTo>
                    <a:pt x="553" y="2181"/>
                  </a:lnTo>
                  <a:lnTo>
                    <a:pt x="553" y="2181"/>
                  </a:lnTo>
                  <a:close/>
                  <a:moveTo>
                    <a:pt x="1073" y="542"/>
                  </a:moveTo>
                  <a:lnTo>
                    <a:pt x="1099" y="545"/>
                  </a:lnTo>
                  <a:lnTo>
                    <a:pt x="1103" y="542"/>
                  </a:lnTo>
                  <a:lnTo>
                    <a:pt x="1089" y="531"/>
                  </a:lnTo>
                  <a:lnTo>
                    <a:pt x="1081" y="531"/>
                  </a:lnTo>
                  <a:lnTo>
                    <a:pt x="1075" y="534"/>
                  </a:lnTo>
                  <a:lnTo>
                    <a:pt x="1072" y="534"/>
                  </a:lnTo>
                  <a:lnTo>
                    <a:pt x="1070" y="536"/>
                  </a:lnTo>
                  <a:lnTo>
                    <a:pt x="1070" y="539"/>
                  </a:lnTo>
                  <a:lnTo>
                    <a:pt x="1070" y="541"/>
                  </a:lnTo>
                  <a:lnTo>
                    <a:pt x="1073" y="542"/>
                  </a:lnTo>
                  <a:close/>
                  <a:moveTo>
                    <a:pt x="1703" y="1069"/>
                  </a:moveTo>
                  <a:lnTo>
                    <a:pt x="1711" y="1075"/>
                  </a:lnTo>
                  <a:lnTo>
                    <a:pt x="1716" y="1076"/>
                  </a:lnTo>
                  <a:lnTo>
                    <a:pt x="1717" y="1076"/>
                  </a:lnTo>
                  <a:lnTo>
                    <a:pt x="1719" y="1073"/>
                  </a:lnTo>
                  <a:lnTo>
                    <a:pt x="1717" y="1070"/>
                  </a:lnTo>
                  <a:lnTo>
                    <a:pt x="1717" y="1066"/>
                  </a:lnTo>
                  <a:lnTo>
                    <a:pt x="1716" y="1063"/>
                  </a:lnTo>
                  <a:lnTo>
                    <a:pt x="1714" y="1059"/>
                  </a:lnTo>
                  <a:lnTo>
                    <a:pt x="1711" y="1056"/>
                  </a:lnTo>
                  <a:lnTo>
                    <a:pt x="1708" y="1056"/>
                  </a:lnTo>
                  <a:lnTo>
                    <a:pt x="1705" y="1055"/>
                  </a:lnTo>
                  <a:lnTo>
                    <a:pt x="1702" y="1056"/>
                  </a:lnTo>
                  <a:lnTo>
                    <a:pt x="1699" y="1061"/>
                  </a:lnTo>
                  <a:lnTo>
                    <a:pt x="1700" y="1064"/>
                  </a:lnTo>
                  <a:lnTo>
                    <a:pt x="1703" y="1069"/>
                  </a:lnTo>
                  <a:close/>
                  <a:moveTo>
                    <a:pt x="240" y="2895"/>
                  </a:moveTo>
                  <a:lnTo>
                    <a:pt x="240" y="2893"/>
                  </a:lnTo>
                  <a:lnTo>
                    <a:pt x="239" y="2892"/>
                  </a:lnTo>
                  <a:lnTo>
                    <a:pt x="234" y="2890"/>
                  </a:lnTo>
                  <a:lnTo>
                    <a:pt x="234" y="2889"/>
                  </a:lnTo>
                  <a:lnTo>
                    <a:pt x="234" y="2887"/>
                  </a:lnTo>
                  <a:lnTo>
                    <a:pt x="234" y="2887"/>
                  </a:lnTo>
                  <a:lnTo>
                    <a:pt x="232" y="2886"/>
                  </a:lnTo>
                  <a:lnTo>
                    <a:pt x="232" y="2886"/>
                  </a:lnTo>
                  <a:lnTo>
                    <a:pt x="232" y="2886"/>
                  </a:lnTo>
                  <a:lnTo>
                    <a:pt x="231" y="2884"/>
                  </a:lnTo>
                  <a:lnTo>
                    <a:pt x="226" y="2884"/>
                  </a:lnTo>
                  <a:lnTo>
                    <a:pt x="226" y="2884"/>
                  </a:lnTo>
                  <a:lnTo>
                    <a:pt x="225" y="2883"/>
                  </a:lnTo>
                  <a:lnTo>
                    <a:pt x="223" y="2880"/>
                  </a:lnTo>
                  <a:lnTo>
                    <a:pt x="223" y="2873"/>
                  </a:lnTo>
                  <a:lnTo>
                    <a:pt x="222" y="2872"/>
                  </a:lnTo>
                  <a:lnTo>
                    <a:pt x="222" y="2870"/>
                  </a:lnTo>
                  <a:lnTo>
                    <a:pt x="220" y="2870"/>
                  </a:lnTo>
                  <a:lnTo>
                    <a:pt x="218" y="2869"/>
                  </a:lnTo>
                  <a:lnTo>
                    <a:pt x="211" y="2872"/>
                  </a:lnTo>
                  <a:lnTo>
                    <a:pt x="198" y="2870"/>
                  </a:lnTo>
                  <a:lnTo>
                    <a:pt x="197" y="2869"/>
                  </a:lnTo>
                  <a:lnTo>
                    <a:pt x="189" y="2872"/>
                  </a:lnTo>
                  <a:lnTo>
                    <a:pt x="188" y="2873"/>
                  </a:lnTo>
                  <a:lnTo>
                    <a:pt x="188" y="2873"/>
                  </a:lnTo>
                  <a:lnTo>
                    <a:pt x="186" y="2875"/>
                  </a:lnTo>
                  <a:lnTo>
                    <a:pt x="185" y="2875"/>
                  </a:lnTo>
                  <a:lnTo>
                    <a:pt x="182" y="2875"/>
                  </a:lnTo>
                  <a:lnTo>
                    <a:pt x="180" y="2873"/>
                  </a:lnTo>
                  <a:lnTo>
                    <a:pt x="180" y="2870"/>
                  </a:lnTo>
                  <a:lnTo>
                    <a:pt x="180" y="2869"/>
                  </a:lnTo>
                  <a:lnTo>
                    <a:pt x="180" y="2867"/>
                  </a:lnTo>
                  <a:lnTo>
                    <a:pt x="178" y="2867"/>
                  </a:lnTo>
                  <a:lnTo>
                    <a:pt x="177" y="2867"/>
                  </a:lnTo>
                  <a:lnTo>
                    <a:pt x="175" y="2869"/>
                  </a:lnTo>
                  <a:lnTo>
                    <a:pt x="174" y="2869"/>
                  </a:lnTo>
                  <a:lnTo>
                    <a:pt x="174" y="2869"/>
                  </a:lnTo>
                  <a:lnTo>
                    <a:pt x="172" y="2867"/>
                  </a:lnTo>
                  <a:lnTo>
                    <a:pt x="169" y="2866"/>
                  </a:lnTo>
                  <a:lnTo>
                    <a:pt x="168" y="2866"/>
                  </a:lnTo>
                  <a:lnTo>
                    <a:pt x="165" y="2863"/>
                  </a:lnTo>
                  <a:lnTo>
                    <a:pt x="160" y="2863"/>
                  </a:lnTo>
                  <a:lnTo>
                    <a:pt x="158" y="2861"/>
                  </a:lnTo>
                  <a:lnTo>
                    <a:pt x="157" y="2860"/>
                  </a:lnTo>
                  <a:lnTo>
                    <a:pt x="152" y="2855"/>
                  </a:lnTo>
                  <a:lnTo>
                    <a:pt x="149" y="2853"/>
                  </a:lnTo>
                  <a:lnTo>
                    <a:pt x="141" y="2853"/>
                  </a:lnTo>
                  <a:lnTo>
                    <a:pt x="138" y="2852"/>
                  </a:lnTo>
                  <a:lnTo>
                    <a:pt x="134" y="2843"/>
                  </a:lnTo>
                  <a:lnTo>
                    <a:pt x="132" y="2841"/>
                  </a:lnTo>
                  <a:lnTo>
                    <a:pt x="131" y="2841"/>
                  </a:lnTo>
                  <a:lnTo>
                    <a:pt x="125" y="2846"/>
                  </a:lnTo>
                  <a:lnTo>
                    <a:pt x="125" y="2847"/>
                  </a:lnTo>
                  <a:lnTo>
                    <a:pt x="125" y="2849"/>
                  </a:lnTo>
                  <a:lnTo>
                    <a:pt x="125" y="2850"/>
                  </a:lnTo>
                  <a:lnTo>
                    <a:pt x="125" y="2852"/>
                  </a:lnTo>
                  <a:lnTo>
                    <a:pt x="123" y="2852"/>
                  </a:lnTo>
                  <a:lnTo>
                    <a:pt x="123" y="2852"/>
                  </a:lnTo>
                  <a:lnTo>
                    <a:pt x="121" y="2853"/>
                  </a:lnTo>
                  <a:lnTo>
                    <a:pt x="120" y="2852"/>
                  </a:lnTo>
                  <a:lnTo>
                    <a:pt x="120" y="2852"/>
                  </a:lnTo>
                  <a:lnTo>
                    <a:pt x="120" y="2852"/>
                  </a:lnTo>
                  <a:lnTo>
                    <a:pt x="118" y="2850"/>
                  </a:lnTo>
                  <a:lnTo>
                    <a:pt x="118" y="2852"/>
                  </a:lnTo>
                  <a:lnTo>
                    <a:pt x="118" y="2852"/>
                  </a:lnTo>
                  <a:lnTo>
                    <a:pt x="117" y="2853"/>
                  </a:lnTo>
                  <a:lnTo>
                    <a:pt x="117" y="2857"/>
                  </a:lnTo>
                  <a:lnTo>
                    <a:pt x="118" y="2857"/>
                  </a:lnTo>
                  <a:lnTo>
                    <a:pt x="118" y="2860"/>
                  </a:lnTo>
                  <a:lnTo>
                    <a:pt x="118" y="2860"/>
                  </a:lnTo>
                  <a:lnTo>
                    <a:pt x="118" y="2861"/>
                  </a:lnTo>
                  <a:lnTo>
                    <a:pt x="120" y="2877"/>
                  </a:lnTo>
                  <a:lnTo>
                    <a:pt x="121" y="2881"/>
                  </a:lnTo>
                  <a:lnTo>
                    <a:pt x="121" y="2884"/>
                  </a:lnTo>
                  <a:lnTo>
                    <a:pt x="121" y="2887"/>
                  </a:lnTo>
                  <a:lnTo>
                    <a:pt x="118" y="2889"/>
                  </a:lnTo>
                  <a:lnTo>
                    <a:pt x="112" y="2890"/>
                  </a:lnTo>
                  <a:lnTo>
                    <a:pt x="112" y="2890"/>
                  </a:lnTo>
                  <a:lnTo>
                    <a:pt x="111" y="2890"/>
                  </a:lnTo>
                  <a:lnTo>
                    <a:pt x="111" y="2892"/>
                  </a:lnTo>
                  <a:lnTo>
                    <a:pt x="111" y="2892"/>
                  </a:lnTo>
                  <a:lnTo>
                    <a:pt x="109" y="2892"/>
                  </a:lnTo>
                  <a:lnTo>
                    <a:pt x="109" y="2890"/>
                  </a:lnTo>
                  <a:lnTo>
                    <a:pt x="108" y="2890"/>
                  </a:lnTo>
                  <a:lnTo>
                    <a:pt x="108" y="2890"/>
                  </a:lnTo>
                  <a:lnTo>
                    <a:pt x="108" y="2892"/>
                  </a:lnTo>
                  <a:lnTo>
                    <a:pt x="101" y="2892"/>
                  </a:lnTo>
                  <a:lnTo>
                    <a:pt x="94" y="2890"/>
                  </a:lnTo>
                  <a:lnTo>
                    <a:pt x="89" y="2886"/>
                  </a:lnTo>
                  <a:lnTo>
                    <a:pt x="86" y="2886"/>
                  </a:lnTo>
                  <a:lnTo>
                    <a:pt x="72" y="2887"/>
                  </a:lnTo>
                  <a:lnTo>
                    <a:pt x="71" y="2886"/>
                  </a:lnTo>
                  <a:lnTo>
                    <a:pt x="71" y="2886"/>
                  </a:lnTo>
                  <a:lnTo>
                    <a:pt x="71" y="2884"/>
                  </a:lnTo>
                  <a:lnTo>
                    <a:pt x="69" y="2884"/>
                  </a:lnTo>
                  <a:lnTo>
                    <a:pt x="69" y="2883"/>
                  </a:lnTo>
                  <a:lnTo>
                    <a:pt x="69" y="2883"/>
                  </a:lnTo>
                  <a:lnTo>
                    <a:pt x="69" y="2881"/>
                  </a:lnTo>
                  <a:lnTo>
                    <a:pt x="71" y="2881"/>
                  </a:lnTo>
                  <a:lnTo>
                    <a:pt x="71" y="2881"/>
                  </a:lnTo>
                  <a:lnTo>
                    <a:pt x="81" y="2872"/>
                  </a:lnTo>
                  <a:lnTo>
                    <a:pt x="88" y="2864"/>
                  </a:lnTo>
                  <a:lnTo>
                    <a:pt x="91" y="2860"/>
                  </a:lnTo>
                  <a:lnTo>
                    <a:pt x="92" y="2860"/>
                  </a:lnTo>
                  <a:lnTo>
                    <a:pt x="94" y="2857"/>
                  </a:lnTo>
                  <a:lnTo>
                    <a:pt x="94" y="2855"/>
                  </a:lnTo>
                  <a:lnTo>
                    <a:pt x="95" y="2853"/>
                  </a:lnTo>
                  <a:lnTo>
                    <a:pt x="95" y="2853"/>
                  </a:lnTo>
                  <a:lnTo>
                    <a:pt x="95" y="2852"/>
                  </a:lnTo>
                  <a:lnTo>
                    <a:pt x="95" y="2852"/>
                  </a:lnTo>
                  <a:lnTo>
                    <a:pt x="97" y="2850"/>
                  </a:lnTo>
                  <a:lnTo>
                    <a:pt x="97" y="2850"/>
                  </a:lnTo>
                  <a:lnTo>
                    <a:pt x="97" y="2849"/>
                  </a:lnTo>
                  <a:lnTo>
                    <a:pt x="97" y="2849"/>
                  </a:lnTo>
                  <a:lnTo>
                    <a:pt x="100" y="2847"/>
                  </a:lnTo>
                  <a:lnTo>
                    <a:pt x="100" y="2847"/>
                  </a:lnTo>
                  <a:lnTo>
                    <a:pt x="100" y="2847"/>
                  </a:lnTo>
                  <a:lnTo>
                    <a:pt x="100" y="2846"/>
                  </a:lnTo>
                  <a:lnTo>
                    <a:pt x="100" y="2846"/>
                  </a:lnTo>
                  <a:lnTo>
                    <a:pt x="103" y="2844"/>
                  </a:lnTo>
                  <a:lnTo>
                    <a:pt x="103" y="2843"/>
                  </a:lnTo>
                  <a:lnTo>
                    <a:pt x="103" y="2843"/>
                  </a:lnTo>
                  <a:lnTo>
                    <a:pt x="98" y="2843"/>
                  </a:lnTo>
                  <a:lnTo>
                    <a:pt x="91" y="2855"/>
                  </a:lnTo>
                  <a:lnTo>
                    <a:pt x="89" y="2857"/>
                  </a:lnTo>
                  <a:lnTo>
                    <a:pt x="77" y="2872"/>
                  </a:lnTo>
                  <a:lnTo>
                    <a:pt x="66" y="2883"/>
                  </a:lnTo>
                  <a:lnTo>
                    <a:pt x="60" y="2886"/>
                  </a:lnTo>
                  <a:lnTo>
                    <a:pt x="57" y="2886"/>
                  </a:lnTo>
                  <a:lnTo>
                    <a:pt x="44" y="2884"/>
                  </a:lnTo>
                  <a:lnTo>
                    <a:pt x="40" y="2886"/>
                  </a:lnTo>
                  <a:lnTo>
                    <a:pt x="35" y="2884"/>
                  </a:lnTo>
                  <a:lnTo>
                    <a:pt x="32" y="2886"/>
                  </a:lnTo>
                  <a:lnTo>
                    <a:pt x="31" y="2886"/>
                  </a:lnTo>
                  <a:lnTo>
                    <a:pt x="29" y="2883"/>
                  </a:lnTo>
                  <a:lnTo>
                    <a:pt x="28" y="2883"/>
                  </a:lnTo>
                  <a:lnTo>
                    <a:pt x="26" y="2886"/>
                  </a:lnTo>
                  <a:lnTo>
                    <a:pt x="24" y="2887"/>
                  </a:lnTo>
                  <a:lnTo>
                    <a:pt x="24" y="2889"/>
                  </a:lnTo>
                  <a:lnTo>
                    <a:pt x="24" y="2893"/>
                  </a:lnTo>
                  <a:lnTo>
                    <a:pt x="24" y="2895"/>
                  </a:lnTo>
                  <a:lnTo>
                    <a:pt x="24" y="2897"/>
                  </a:lnTo>
                  <a:lnTo>
                    <a:pt x="26" y="2903"/>
                  </a:lnTo>
                  <a:lnTo>
                    <a:pt x="26" y="2904"/>
                  </a:lnTo>
                  <a:lnTo>
                    <a:pt x="28" y="2907"/>
                  </a:lnTo>
                  <a:lnTo>
                    <a:pt x="26" y="2910"/>
                  </a:lnTo>
                  <a:lnTo>
                    <a:pt x="24" y="2915"/>
                  </a:lnTo>
                  <a:lnTo>
                    <a:pt x="23" y="2917"/>
                  </a:lnTo>
                  <a:lnTo>
                    <a:pt x="23" y="2918"/>
                  </a:lnTo>
                  <a:lnTo>
                    <a:pt x="23" y="2920"/>
                  </a:lnTo>
                  <a:lnTo>
                    <a:pt x="21" y="2920"/>
                  </a:lnTo>
                  <a:lnTo>
                    <a:pt x="23" y="2921"/>
                  </a:lnTo>
                  <a:lnTo>
                    <a:pt x="23" y="2921"/>
                  </a:lnTo>
                  <a:lnTo>
                    <a:pt x="21" y="2923"/>
                  </a:lnTo>
                  <a:lnTo>
                    <a:pt x="21" y="2923"/>
                  </a:lnTo>
                  <a:lnTo>
                    <a:pt x="21" y="2923"/>
                  </a:lnTo>
                  <a:lnTo>
                    <a:pt x="21" y="2923"/>
                  </a:lnTo>
                  <a:lnTo>
                    <a:pt x="17" y="2930"/>
                  </a:lnTo>
                  <a:lnTo>
                    <a:pt x="11" y="2940"/>
                  </a:lnTo>
                  <a:lnTo>
                    <a:pt x="1" y="2947"/>
                  </a:lnTo>
                  <a:lnTo>
                    <a:pt x="1" y="2947"/>
                  </a:lnTo>
                  <a:lnTo>
                    <a:pt x="0" y="2949"/>
                  </a:lnTo>
                  <a:lnTo>
                    <a:pt x="0" y="2949"/>
                  </a:lnTo>
                  <a:lnTo>
                    <a:pt x="3" y="2950"/>
                  </a:lnTo>
                  <a:lnTo>
                    <a:pt x="6" y="2950"/>
                  </a:lnTo>
                  <a:lnTo>
                    <a:pt x="12" y="2952"/>
                  </a:lnTo>
                  <a:lnTo>
                    <a:pt x="28" y="2952"/>
                  </a:lnTo>
                  <a:lnTo>
                    <a:pt x="55" y="2954"/>
                  </a:lnTo>
                  <a:lnTo>
                    <a:pt x="98" y="2957"/>
                  </a:lnTo>
                  <a:lnTo>
                    <a:pt x="126" y="2958"/>
                  </a:lnTo>
                  <a:lnTo>
                    <a:pt x="158" y="2960"/>
                  </a:lnTo>
                  <a:lnTo>
                    <a:pt x="198" y="2961"/>
                  </a:lnTo>
                  <a:lnTo>
                    <a:pt x="217" y="2963"/>
                  </a:lnTo>
                  <a:lnTo>
                    <a:pt x="231" y="2963"/>
                  </a:lnTo>
                  <a:lnTo>
                    <a:pt x="235" y="2961"/>
                  </a:lnTo>
                  <a:lnTo>
                    <a:pt x="231" y="2954"/>
                  </a:lnTo>
                  <a:lnTo>
                    <a:pt x="229" y="2949"/>
                  </a:lnTo>
                  <a:lnTo>
                    <a:pt x="229" y="2944"/>
                  </a:lnTo>
                  <a:lnTo>
                    <a:pt x="229" y="2934"/>
                  </a:lnTo>
                  <a:lnTo>
                    <a:pt x="231" y="2927"/>
                  </a:lnTo>
                  <a:lnTo>
                    <a:pt x="231" y="2926"/>
                  </a:lnTo>
                  <a:lnTo>
                    <a:pt x="231" y="2924"/>
                  </a:lnTo>
                  <a:lnTo>
                    <a:pt x="231" y="2921"/>
                  </a:lnTo>
                  <a:lnTo>
                    <a:pt x="231" y="2920"/>
                  </a:lnTo>
                  <a:lnTo>
                    <a:pt x="231" y="2920"/>
                  </a:lnTo>
                  <a:lnTo>
                    <a:pt x="232" y="2917"/>
                  </a:lnTo>
                  <a:lnTo>
                    <a:pt x="232" y="2917"/>
                  </a:lnTo>
                  <a:lnTo>
                    <a:pt x="232" y="2915"/>
                  </a:lnTo>
                  <a:lnTo>
                    <a:pt x="232" y="2915"/>
                  </a:lnTo>
                  <a:lnTo>
                    <a:pt x="232" y="2915"/>
                  </a:lnTo>
                  <a:lnTo>
                    <a:pt x="232" y="2913"/>
                  </a:lnTo>
                  <a:lnTo>
                    <a:pt x="234" y="2913"/>
                  </a:lnTo>
                  <a:lnTo>
                    <a:pt x="234" y="2913"/>
                  </a:lnTo>
                  <a:lnTo>
                    <a:pt x="235" y="2912"/>
                  </a:lnTo>
                  <a:lnTo>
                    <a:pt x="235" y="2912"/>
                  </a:lnTo>
                  <a:lnTo>
                    <a:pt x="237" y="2910"/>
                  </a:lnTo>
                  <a:lnTo>
                    <a:pt x="240" y="2909"/>
                  </a:lnTo>
                  <a:lnTo>
                    <a:pt x="240" y="2907"/>
                  </a:lnTo>
                  <a:lnTo>
                    <a:pt x="242" y="2906"/>
                  </a:lnTo>
                  <a:lnTo>
                    <a:pt x="242" y="2903"/>
                  </a:lnTo>
                  <a:lnTo>
                    <a:pt x="242" y="2901"/>
                  </a:lnTo>
                  <a:lnTo>
                    <a:pt x="240" y="2895"/>
                  </a:lnTo>
                  <a:close/>
                  <a:moveTo>
                    <a:pt x="2792" y="286"/>
                  </a:moveTo>
                  <a:lnTo>
                    <a:pt x="2798" y="291"/>
                  </a:lnTo>
                  <a:lnTo>
                    <a:pt x="2800" y="291"/>
                  </a:lnTo>
                  <a:lnTo>
                    <a:pt x="2801" y="288"/>
                  </a:lnTo>
                  <a:lnTo>
                    <a:pt x="2798" y="285"/>
                  </a:lnTo>
                  <a:lnTo>
                    <a:pt x="2794" y="280"/>
                  </a:lnTo>
                  <a:lnTo>
                    <a:pt x="2789" y="282"/>
                  </a:lnTo>
                  <a:lnTo>
                    <a:pt x="2789" y="280"/>
                  </a:lnTo>
                  <a:lnTo>
                    <a:pt x="2786" y="277"/>
                  </a:lnTo>
                  <a:lnTo>
                    <a:pt x="2784" y="276"/>
                  </a:lnTo>
                  <a:lnTo>
                    <a:pt x="2781" y="276"/>
                  </a:lnTo>
                  <a:lnTo>
                    <a:pt x="2772" y="270"/>
                  </a:lnTo>
                  <a:lnTo>
                    <a:pt x="2774" y="274"/>
                  </a:lnTo>
                  <a:lnTo>
                    <a:pt x="2778" y="276"/>
                  </a:lnTo>
                  <a:lnTo>
                    <a:pt x="2780" y="279"/>
                  </a:lnTo>
                  <a:lnTo>
                    <a:pt x="2778" y="279"/>
                  </a:lnTo>
                  <a:lnTo>
                    <a:pt x="2778" y="279"/>
                  </a:lnTo>
                  <a:lnTo>
                    <a:pt x="2777" y="280"/>
                  </a:lnTo>
                  <a:lnTo>
                    <a:pt x="2778" y="286"/>
                  </a:lnTo>
                  <a:lnTo>
                    <a:pt x="2789" y="293"/>
                  </a:lnTo>
                  <a:lnTo>
                    <a:pt x="2795" y="294"/>
                  </a:lnTo>
                  <a:lnTo>
                    <a:pt x="2794" y="290"/>
                  </a:lnTo>
                  <a:lnTo>
                    <a:pt x="2789" y="286"/>
                  </a:lnTo>
                  <a:lnTo>
                    <a:pt x="2788" y="283"/>
                  </a:lnTo>
                  <a:lnTo>
                    <a:pt x="2789" y="285"/>
                  </a:lnTo>
                  <a:lnTo>
                    <a:pt x="2792" y="286"/>
                  </a:lnTo>
                  <a:close/>
                  <a:moveTo>
                    <a:pt x="2948" y="568"/>
                  </a:moveTo>
                  <a:lnTo>
                    <a:pt x="2948" y="568"/>
                  </a:lnTo>
                  <a:lnTo>
                    <a:pt x="2945" y="564"/>
                  </a:lnTo>
                  <a:lnTo>
                    <a:pt x="2920" y="545"/>
                  </a:lnTo>
                  <a:lnTo>
                    <a:pt x="2917" y="544"/>
                  </a:lnTo>
                  <a:lnTo>
                    <a:pt x="2915" y="545"/>
                  </a:lnTo>
                  <a:lnTo>
                    <a:pt x="2917" y="548"/>
                  </a:lnTo>
                  <a:lnTo>
                    <a:pt x="2937" y="565"/>
                  </a:lnTo>
                  <a:lnTo>
                    <a:pt x="2940" y="568"/>
                  </a:lnTo>
                  <a:lnTo>
                    <a:pt x="2943" y="574"/>
                  </a:lnTo>
                  <a:lnTo>
                    <a:pt x="2943" y="576"/>
                  </a:lnTo>
                  <a:lnTo>
                    <a:pt x="2945" y="579"/>
                  </a:lnTo>
                  <a:lnTo>
                    <a:pt x="2946" y="581"/>
                  </a:lnTo>
                  <a:lnTo>
                    <a:pt x="2948" y="582"/>
                  </a:lnTo>
                  <a:lnTo>
                    <a:pt x="2949" y="582"/>
                  </a:lnTo>
                  <a:lnTo>
                    <a:pt x="2951" y="584"/>
                  </a:lnTo>
                  <a:lnTo>
                    <a:pt x="2951" y="585"/>
                  </a:lnTo>
                  <a:lnTo>
                    <a:pt x="2951" y="584"/>
                  </a:lnTo>
                  <a:lnTo>
                    <a:pt x="2951" y="582"/>
                  </a:lnTo>
                  <a:lnTo>
                    <a:pt x="2951" y="579"/>
                  </a:lnTo>
                  <a:lnTo>
                    <a:pt x="2951" y="576"/>
                  </a:lnTo>
                  <a:lnTo>
                    <a:pt x="2948" y="573"/>
                  </a:lnTo>
                  <a:lnTo>
                    <a:pt x="2946" y="571"/>
                  </a:lnTo>
                  <a:lnTo>
                    <a:pt x="2946" y="570"/>
                  </a:lnTo>
                  <a:lnTo>
                    <a:pt x="2948" y="568"/>
                  </a:lnTo>
                  <a:close/>
                  <a:moveTo>
                    <a:pt x="2513" y="117"/>
                  </a:moveTo>
                  <a:lnTo>
                    <a:pt x="2513" y="117"/>
                  </a:lnTo>
                  <a:lnTo>
                    <a:pt x="2515" y="117"/>
                  </a:lnTo>
                  <a:lnTo>
                    <a:pt x="2516" y="116"/>
                  </a:lnTo>
                  <a:lnTo>
                    <a:pt x="2515" y="116"/>
                  </a:lnTo>
                  <a:lnTo>
                    <a:pt x="2513" y="114"/>
                  </a:lnTo>
                  <a:lnTo>
                    <a:pt x="2504" y="99"/>
                  </a:lnTo>
                  <a:lnTo>
                    <a:pt x="2503" y="99"/>
                  </a:lnTo>
                  <a:lnTo>
                    <a:pt x="2501" y="99"/>
                  </a:lnTo>
                  <a:lnTo>
                    <a:pt x="2500" y="99"/>
                  </a:lnTo>
                  <a:lnTo>
                    <a:pt x="2500" y="99"/>
                  </a:lnTo>
                  <a:lnTo>
                    <a:pt x="2498" y="99"/>
                  </a:lnTo>
                  <a:lnTo>
                    <a:pt x="2500" y="100"/>
                  </a:lnTo>
                  <a:lnTo>
                    <a:pt x="2501" y="102"/>
                  </a:lnTo>
                  <a:lnTo>
                    <a:pt x="2503" y="103"/>
                  </a:lnTo>
                  <a:lnTo>
                    <a:pt x="2504" y="108"/>
                  </a:lnTo>
                  <a:lnTo>
                    <a:pt x="2504" y="109"/>
                  </a:lnTo>
                  <a:lnTo>
                    <a:pt x="2513" y="117"/>
                  </a:lnTo>
                  <a:close/>
                  <a:moveTo>
                    <a:pt x="2369" y="6"/>
                  </a:moveTo>
                  <a:lnTo>
                    <a:pt x="2369" y="9"/>
                  </a:lnTo>
                  <a:lnTo>
                    <a:pt x="2370" y="11"/>
                  </a:lnTo>
                  <a:lnTo>
                    <a:pt x="2370" y="11"/>
                  </a:lnTo>
                  <a:lnTo>
                    <a:pt x="2372" y="12"/>
                  </a:lnTo>
                  <a:lnTo>
                    <a:pt x="2373" y="15"/>
                  </a:lnTo>
                  <a:lnTo>
                    <a:pt x="2373" y="17"/>
                  </a:lnTo>
                  <a:lnTo>
                    <a:pt x="2372" y="17"/>
                  </a:lnTo>
                  <a:lnTo>
                    <a:pt x="2372" y="20"/>
                  </a:lnTo>
                  <a:lnTo>
                    <a:pt x="2376" y="31"/>
                  </a:lnTo>
                  <a:lnTo>
                    <a:pt x="2378" y="34"/>
                  </a:lnTo>
                  <a:lnTo>
                    <a:pt x="2378" y="35"/>
                  </a:lnTo>
                  <a:lnTo>
                    <a:pt x="2378" y="39"/>
                  </a:lnTo>
                  <a:lnTo>
                    <a:pt x="2379" y="40"/>
                  </a:lnTo>
                  <a:lnTo>
                    <a:pt x="2378" y="43"/>
                  </a:lnTo>
                  <a:lnTo>
                    <a:pt x="2378" y="48"/>
                  </a:lnTo>
                  <a:lnTo>
                    <a:pt x="2378" y="49"/>
                  </a:lnTo>
                  <a:lnTo>
                    <a:pt x="2378" y="51"/>
                  </a:lnTo>
                  <a:lnTo>
                    <a:pt x="2382" y="57"/>
                  </a:lnTo>
                  <a:lnTo>
                    <a:pt x="2389" y="59"/>
                  </a:lnTo>
                  <a:lnTo>
                    <a:pt x="2390" y="62"/>
                  </a:lnTo>
                  <a:lnTo>
                    <a:pt x="2396" y="68"/>
                  </a:lnTo>
                  <a:lnTo>
                    <a:pt x="2396" y="69"/>
                  </a:lnTo>
                  <a:lnTo>
                    <a:pt x="2398" y="72"/>
                  </a:lnTo>
                  <a:lnTo>
                    <a:pt x="2399" y="74"/>
                  </a:lnTo>
                  <a:lnTo>
                    <a:pt x="2399" y="75"/>
                  </a:lnTo>
                  <a:lnTo>
                    <a:pt x="2401" y="75"/>
                  </a:lnTo>
                  <a:lnTo>
                    <a:pt x="2406" y="72"/>
                  </a:lnTo>
                  <a:lnTo>
                    <a:pt x="2409" y="69"/>
                  </a:lnTo>
                  <a:lnTo>
                    <a:pt x="2416" y="71"/>
                  </a:lnTo>
                  <a:lnTo>
                    <a:pt x="2422" y="69"/>
                  </a:lnTo>
                  <a:lnTo>
                    <a:pt x="2433" y="71"/>
                  </a:lnTo>
                  <a:lnTo>
                    <a:pt x="2430" y="68"/>
                  </a:lnTo>
                  <a:lnTo>
                    <a:pt x="2427" y="65"/>
                  </a:lnTo>
                  <a:lnTo>
                    <a:pt x="2424" y="60"/>
                  </a:lnTo>
                  <a:lnTo>
                    <a:pt x="2422" y="54"/>
                  </a:lnTo>
                  <a:lnTo>
                    <a:pt x="2424" y="54"/>
                  </a:lnTo>
                  <a:lnTo>
                    <a:pt x="2427" y="52"/>
                  </a:lnTo>
                  <a:lnTo>
                    <a:pt x="2430" y="46"/>
                  </a:lnTo>
                  <a:lnTo>
                    <a:pt x="2432" y="45"/>
                  </a:lnTo>
                  <a:lnTo>
                    <a:pt x="2432" y="48"/>
                  </a:lnTo>
                  <a:lnTo>
                    <a:pt x="2432" y="55"/>
                  </a:lnTo>
                  <a:lnTo>
                    <a:pt x="2433" y="62"/>
                  </a:lnTo>
                  <a:lnTo>
                    <a:pt x="2436" y="66"/>
                  </a:lnTo>
                  <a:lnTo>
                    <a:pt x="2439" y="69"/>
                  </a:lnTo>
                  <a:lnTo>
                    <a:pt x="2443" y="71"/>
                  </a:lnTo>
                  <a:lnTo>
                    <a:pt x="2443" y="68"/>
                  </a:lnTo>
                  <a:lnTo>
                    <a:pt x="2441" y="65"/>
                  </a:lnTo>
                  <a:lnTo>
                    <a:pt x="2439" y="62"/>
                  </a:lnTo>
                  <a:lnTo>
                    <a:pt x="2439" y="57"/>
                  </a:lnTo>
                  <a:lnTo>
                    <a:pt x="2441" y="54"/>
                  </a:lnTo>
                  <a:lnTo>
                    <a:pt x="2447" y="52"/>
                  </a:lnTo>
                  <a:lnTo>
                    <a:pt x="2449" y="49"/>
                  </a:lnTo>
                  <a:lnTo>
                    <a:pt x="2450" y="45"/>
                  </a:lnTo>
                  <a:lnTo>
                    <a:pt x="2450" y="39"/>
                  </a:lnTo>
                  <a:lnTo>
                    <a:pt x="2450" y="35"/>
                  </a:lnTo>
                  <a:lnTo>
                    <a:pt x="2453" y="34"/>
                  </a:lnTo>
                  <a:lnTo>
                    <a:pt x="2453" y="35"/>
                  </a:lnTo>
                  <a:lnTo>
                    <a:pt x="2453" y="43"/>
                  </a:lnTo>
                  <a:lnTo>
                    <a:pt x="2455" y="48"/>
                  </a:lnTo>
                  <a:lnTo>
                    <a:pt x="2458" y="51"/>
                  </a:lnTo>
                  <a:lnTo>
                    <a:pt x="2459" y="54"/>
                  </a:lnTo>
                  <a:lnTo>
                    <a:pt x="2461" y="59"/>
                  </a:lnTo>
                  <a:lnTo>
                    <a:pt x="2459" y="63"/>
                  </a:lnTo>
                  <a:lnTo>
                    <a:pt x="2458" y="68"/>
                  </a:lnTo>
                  <a:lnTo>
                    <a:pt x="2458" y="72"/>
                  </a:lnTo>
                  <a:lnTo>
                    <a:pt x="2459" y="74"/>
                  </a:lnTo>
                  <a:lnTo>
                    <a:pt x="2463" y="68"/>
                  </a:lnTo>
                  <a:lnTo>
                    <a:pt x="2466" y="68"/>
                  </a:lnTo>
                  <a:lnTo>
                    <a:pt x="2466" y="72"/>
                  </a:lnTo>
                  <a:lnTo>
                    <a:pt x="2467" y="79"/>
                  </a:lnTo>
                  <a:lnTo>
                    <a:pt x="2469" y="80"/>
                  </a:lnTo>
                  <a:lnTo>
                    <a:pt x="2473" y="82"/>
                  </a:lnTo>
                  <a:lnTo>
                    <a:pt x="2472" y="74"/>
                  </a:lnTo>
                  <a:lnTo>
                    <a:pt x="2473" y="72"/>
                  </a:lnTo>
                  <a:lnTo>
                    <a:pt x="2476" y="75"/>
                  </a:lnTo>
                  <a:lnTo>
                    <a:pt x="2476" y="79"/>
                  </a:lnTo>
                  <a:lnTo>
                    <a:pt x="2476" y="82"/>
                  </a:lnTo>
                  <a:lnTo>
                    <a:pt x="2476" y="85"/>
                  </a:lnTo>
                  <a:lnTo>
                    <a:pt x="2476" y="88"/>
                  </a:lnTo>
                  <a:lnTo>
                    <a:pt x="2478" y="89"/>
                  </a:lnTo>
                  <a:lnTo>
                    <a:pt x="2479" y="91"/>
                  </a:lnTo>
                  <a:lnTo>
                    <a:pt x="2481" y="86"/>
                  </a:lnTo>
                  <a:lnTo>
                    <a:pt x="2483" y="86"/>
                  </a:lnTo>
                  <a:lnTo>
                    <a:pt x="2484" y="88"/>
                  </a:lnTo>
                  <a:lnTo>
                    <a:pt x="2484" y="85"/>
                  </a:lnTo>
                  <a:lnTo>
                    <a:pt x="2484" y="82"/>
                  </a:lnTo>
                  <a:lnTo>
                    <a:pt x="2484" y="79"/>
                  </a:lnTo>
                  <a:lnTo>
                    <a:pt x="2486" y="79"/>
                  </a:lnTo>
                  <a:lnTo>
                    <a:pt x="2487" y="79"/>
                  </a:lnTo>
                  <a:lnTo>
                    <a:pt x="2489" y="79"/>
                  </a:lnTo>
                  <a:lnTo>
                    <a:pt x="2490" y="75"/>
                  </a:lnTo>
                  <a:lnTo>
                    <a:pt x="2489" y="74"/>
                  </a:lnTo>
                  <a:lnTo>
                    <a:pt x="2487" y="71"/>
                  </a:lnTo>
                  <a:lnTo>
                    <a:pt x="2487" y="69"/>
                  </a:lnTo>
                  <a:lnTo>
                    <a:pt x="2487" y="66"/>
                  </a:lnTo>
                  <a:lnTo>
                    <a:pt x="2489" y="65"/>
                  </a:lnTo>
                  <a:lnTo>
                    <a:pt x="2490" y="65"/>
                  </a:lnTo>
                  <a:lnTo>
                    <a:pt x="2490" y="65"/>
                  </a:lnTo>
                  <a:lnTo>
                    <a:pt x="2490" y="69"/>
                  </a:lnTo>
                  <a:lnTo>
                    <a:pt x="2493" y="74"/>
                  </a:lnTo>
                  <a:lnTo>
                    <a:pt x="2493" y="75"/>
                  </a:lnTo>
                  <a:lnTo>
                    <a:pt x="2493" y="82"/>
                  </a:lnTo>
                  <a:lnTo>
                    <a:pt x="2495" y="83"/>
                  </a:lnTo>
                  <a:lnTo>
                    <a:pt x="2496" y="82"/>
                  </a:lnTo>
                  <a:lnTo>
                    <a:pt x="2498" y="79"/>
                  </a:lnTo>
                  <a:lnTo>
                    <a:pt x="2496" y="74"/>
                  </a:lnTo>
                  <a:lnTo>
                    <a:pt x="2500" y="68"/>
                  </a:lnTo>
                  <a:lnTo>
                    <a:pt x="2501" y="63"/>
                  </a:lnTo>
                  <a:lnTo>
                    <a:pt x="2512" y="49"/>
                  </a:lnTo>
                  <a:lnTo>
                    <a:pt x="2513" y="49"/>
                  </a:lnTo>
                  <a:lnTo>
                    <a:pt x="2520" y="54"/>
                  </a:lnTo>
                  <a:lnTo>
                    <a:pt x="2513" y="62"/>
                  </a:lnTo>
                  <a:lnTo>
                    <a:pt x="2512" y="66"/>
                  </a:lnTo>
                  <a:lnTo>
                    <a:pt x="2510" y="68"/>
                  </a:lnTo>
                  <a:lnTo>
                    <a:pt x="2510" y="69"/>
                  </a:lnTo>
                  <a:lnTo>
                    <a:pt x="2510" y="69"/>
                  </a:lnTo>
                  <a:lnTo>
                    <a:pt x="2510" y="71"/>
                  </a:lnTo>
                  <a:lnTo>
                    <a:pt x="2509" y="72"/>
                  </a:lnTo>
                  <a:lnTo>
                    <a:pt x="2506" y="75"/>
                  </a:lnTo>
                  <a:lnTo>
                    <a:pt x="2506" y="75"/>
                  </a:lnTo>
                  <a:lnTo>
                    <a:pt x="2510" y="89"/>
                  </a:lnTo>
                  <a:lnTo>
                    <a:pt x="2512" y="95"/>
                  </a:lnTo>
                  <a:lnTo>
                    <a:pt x="2512" y="97"/>
                  </a:lnTo>
                  <a:lnTo>
                    <a:pt x="2513" y="103"/>
                  </a:lnTo>
                  <a:lnTo>
                    <a:pt x="2513" y="105"/>
                  </a:lnTo>
                  <a:lnTo>
                    <a:pt x="2516" y="109"/>
                  </a:lnTo>
                  <a:lnTo>
                    <a:pt x="2523" y="111"/>
                  </a:lnTo>
                  <a:lnTo>
                    <a:pt x="2527" y="108"/>
                  </a:lnTo>
                  <a:lnTo>
                    <a:pt x="2527" y="97"/>
                  </a:lnTo>
                  <a:lnTo>
                    <a:pt x="2527" y="94"/>
                  </a:lnTo>
                  <a:lnTo>
                    <a:pt x="2529" y="91"/>
                  </a:lnTo>
                  <a:lnTo>
                    <a:pt x="2549" y="80"/>
                  </a:lnTo>
                  <a:lnTo>
                    <a:pt x="2552" y="74"/>
                  </a:lnTo>
                  <a:lnTo>
                    <a:pt x="2553" y="72"/>
                  </a:lnTo>
                  <a:lnTo>
                    <a:pt x="2555" y="72"/>
                  </a:lnTo>
                  <a:lnTo>
                    <a:pt x="2556" y="74"/>
                  </a:lnTo>
                  <a:lnTo>
                    <a:pt x="2555" y="80"/>
                  </a:lnTo>
                  <a:lnTo>
                    <a:pt x="2552" y="83"/>
                  </a:lnTo>
                  <a:lnTo>
                    <a:pt x="2541" y="86"/>
                  </a:lnTo>
                  <a:lnTo>
                    <a:pt x="2536" y="89"/>
                  </a:lnTo>
                  <a:lnTo>
                    <a:pt x="2536" y="95"/>
                  </a:lnTo>
                  <a:lnTo>
                    <a:pt x="2535" y="100"/>
                  </a:lnTo>
                  <a:lnTo>
                    <a:pt x="2532" y="106"/>
                  </a:lnTo>
                  <a:lnTo>
                    <a:pt x="2530" y="111"/>
                  </a:lnTo>
                  <a:lnTo>
                    <a:pt x="2529" y="112"/>
                  </a:lnTo>
                  <a:lnTo>
                    <a:pt x="2520" y="120"/>
                  </a:lnTo>
                  <a:lnTo>
                    <a:pt x="2521" y="122"/>
                  </a:lnTo>
                  <a:lnTo>
                    <a:pt x="2524" y="129"/>
                  </a:lnTo>
                  <a:lnTo>
                    <a:pt x="2527" y="131"/>
                  </a:lnTo>
                  <a:lnTo>
                    <a:pt x="2527" y="134"/>
                  </a:lnTo>
                  <a:lnTo>
                    <a:pt x="2529" y="136"/>
                  </a:lnTo>
                  <a:lnTo>
                    <a:pt x="2533" y="132"/>
                  </a:lnTo>
                  <a:lnTo>
                    <a:pt x="2535" y="134"/>
                  </a:lnTo>
                  <a:lnTo>
                    <a:pt x="2536" y="136"/>
                  </a:lnTo>
                  <a:lnTo>
                    <a:pt x="2540" y="136"/>
                  </a:lnTo>
                  <a:lnTo>
                    <a:pt x="2541" y="137"/>
                  </a:lnTo>
                  <a:lnTo>
                    <a:pt x="2540" y="139"/>
                  </a:lnTo>
                  <a:lnTo>
                    <a:pt x="2540" y="140"/>
                  </a:lnTo>
                  <a:lnTo>
                    <a:pt x="2541" y="142"/>
                  </a:lnTo>
                  <a:lnTo>
                    <a:pt x="2546" y="145"/>
                  </a:lnTo>
                  <a:lnTo>
                    <a:pt x="2547" y="145"/>
                  </a:lnTo>
                  <a:lnTo>
                    <a:pt x="2549" y="142"/>
                  </a:lnTo>
                  <a:lnTo>
                    <a:pt x="2549" y="139"/>
                  </a:lnTo>
                  <a:lnTo>
                    <a:pt x="2547" y="136"/>
                  </a:lnTo>
                  <a:lnTo>
                    <a:pt x="2546" y="132"/>
                  </a:lnTo>
                  <a:lnTo>
                    <a:pt x="2550" y="134"/>
                  </a:lnTo>
                  <a:lnTo>
                    <a:pt x="2552" y="136"/>
                  </a:lnTo>
                  <a:lnTo>
                    <a:pt x="2553" y="139"/>
                  </a:lnTo>
                  <a:lnTo>
                    <a:pt x="2555" y="140"/>
                  </a:lnTo>
                  <a:lnTo>
                    <a:pt x="2556" y="140"/>
                  </a:lnTo>
                  <a:lnTo>
                    <a:pt x="2558" y="139"/>
                  </a:lnTo>
                  <a:lnTo>
                    <a:pt x="2560" y="136"/>
                  </a:lnTo>
                  <a:lnTo>
                    <a:pt x="2563" y="129"/>
                  </a:lnTo>
                  <a:lnTo>
                    <a:pt x="2564" y="128"/>
                  </a:lnTo>
                  <a:lnTo>
                    <a:pt x="2566" y="126"/>
                  </a:lnTo>
                  <a:lnTo>
                    <a:pt x="2567" y="128"/>
                  </a:lnTo>
                  <a:lnTo>
                    <a:pt x="2572" y="132"/>
                  </a:lnTo>
                  <a:lnTo>
                    <a:pt x="2573" y="132"/>
                  </a:lnTo>
                  <a:lnTo>
                    <a:pt x="2570" y="132"/>
                  </a:lnTo>
                  <a:lnTo>
                    <a:pt x="2567" y="132"/>
                  </a:lnTo>
                  <a:lnTo>
                    <a:pt x="2566" y="132"/>
                  </a:lnTo>
                  <a:lnTo>
                    <a:pt x="2567" y="137"/>
                  </a:lnTo>
                  <a:lnTo>
                    <a:pt x="2564" y="137"/>
                  </a:lnTo>
                  <a:lnTo>
                    <a:pt x="2563" y="139"/>
                  </a:lnTo>
                  <a:lnTo>
                    <a:pt x="2563" y="140"/>
                  </a:lnTo>
                  <a:lnTo>
                    <a:pt x="2563" y="142"/>
                  </a:lnTo>
                  <a:lnTo>
                    <a:pt x="2561" y="143"/>
                  </a:lnTo>
                  <a:lnTo>
                    <a:pt x="2560" y="143"/>
                  </a:lnTo>
                  <a:lnTo>
                    <a:pt x="2563" y="148"/>
                  </a:lnTo>
                  <a:lnTo>
                    <a:pt x="2566" y="149"/>
                  </a:lnTo>
                  <a:lnTo>
                    <a:pt x="2572" y="151"/>
                  </a:lnTo>
                  <a:lnTo>
                    <a:pt x="2572" y="151"/>
                  </a:lnTo>
                  <a:lnTo>
                    <a:pt x="2575" y="149"/>
                  </a:lnTo>
                  <a:lnTo>
                    <a:pt x="2577" y="148"/>
                  </a:lnTo>
                  <a:lnTo>
                    <a:pt x="2578" y="149"/>
                  </a:lnTo>
                  <a:lnTo>
                    <a:pt x="2578" y="151"/>
                  </a:lnTo>
                  <a:lnTo>
                    <a:pt x="2580" y="152"/>
                  </a:lnTo>
                  <a:lnTo>
                    <a:pt x="2578" y="154"/>
                  </a:lnTo>
                  <a:lnTo>
                    <a:pt x="2567" y="159"/>
                  </a:lnTo>
                  <a:lnTo>
                    <a:pt x="2561" y="157"/>
                  </a:lnTo>
                  <a:lnTo>
                    <a:pt x="2556" y="157"/>
                  </a:lnTo>
                  <a:lnTo>
                    <a:pt x="2555" y="157"/>
                  </a:lnTo>
                  <a:lnTo>
                    <a:pt x="2556" y="151"/>
                  </a:lnTo>
                  <a:lnTo>
                    <a:pt x="2560" y="151"/>
                  </a:lnTo>
                  <a:lnTo>
                    <a:pt x="2566" y="154"/>
                  </a:lnTo>
                  <a:lnTo>
                    <a:pt x="2561" y="148"/>
                  </a:lnTo>
                  <a:lnTo>
                    <a:pt x="2556" y="148"/>
                  </a:lnTo>
                  <a:lnTo>
                    <a:pt x="2547" y="149"/>
                  </a:lnTo>
                  <a:lnTo>
                    <a:pt x="2549" y="156"/>
                  </a:lnTo>
                  <a:lnTo>
                    <a:pt x="2556" y="168"/>
                  </a:lnTo>
                  <a:lnTo>
                    <a:pt x="2553" y="168"/>
                  </a:lnTo>
                  <a:lnTo>
                    <a:pt x="2546" y="162"/>
                  </a:lnTo>
                  <a:lnTo>
                    <a:pt x="2544" y="160"/>
                  </a:lnTo>
                  <a:lnTo>
                    <a:pt x="2543" y="162"/>
                  </a:lnTo>
                  <a:lnTo>
                    <a:pt x="2541" y="160"/>
                  </a:lnTo>
                  <a:lnTo>
                    <a:pt x="2538" y="159"/>
                  </a:lnTo>
                  <a:lnTo>
                    <a:pt x="2536" y="159"/>
                  </a:lnTo>
                  <a:lnTo>
                    <a:pt x="2536" y="160"/>
                  </a:lnTo>
                  <a:lnTo>
                    <a:pt x="2536" y="163"/>
                  </a:lnTo>
                  <a:lnTo>
                    <a:pt x="2530" y="163"/>
                  </a:lnTo>
                  <a:lnTo>
                    <a:pt x="2527" y="162"/>
                  </a:lnTo>
                  <a:lnTo>
                    <a:pt x="2524" y="159"/>
                  </a:lnTo>
                  <a:lnTo>
                    <a:pt x="2523" y="163"/>
                  </a:lnTo>
                  <a:lnTo>
                    <a:pt x="2523" y="165"/>
                  </a:lnTo>
                  <a:lnTo>
                    <a:pt x="2527" y="171"/>
                  </a:lnTo>
                  <a:lnTo>
                    <a:pt x="2536" y="180"/>
                  </a:lnTo>
                  <a:lnTo>
                    <a:pt x="2541" y="188"/>
                  </a:lnTo>
                  <a:lnTo>
                    <a:pt x="2541" y="193"/>
                  </a:lnTo>
                  <a:lnTo>
                    <a:pt x="2541" y="196"/>
                  </a:lnTo>
                  <a:lnTo>
                    <a:pt x="2540" y="197"/>
                  </a:lnTo>
                  <a:lnTo>
                    <a:pt x="2538" y="202"/>
                  </a:lnTo>
                  <a:lnTo>
                    <a:pt x="2536" y="206"/>
                  </a:lnTo>
                  <a:lnTo>
                    <a:pt x="2536" y="209"/>
                  </a:lnTo>
                  <a:lnTo>
                    <a:pt x="2538" y="213"/>
                  </a:lnTo>
                  <a:lnTo>
                    <a:pt x="2540" y="216"/>
                  </a:lnTo>
                  <a:lnTo>
                    <a:pt x="2538" y="219"/>
                  </a:lnTo>
                  <a:lnTo>
                    <a:pt x="2536" y="217"/>
                  </a:lnTo>
                  <a:lnTo>
                    <a:pt x="2535" y="216"/>
                  </a:lnTo>
                  <a:lnTo>
                    <a:pt x="2530" y="208"/>
                  </a:lnTo>
                  <a:lnTo>
                    <a:pt x="2529" y="206"/>
                  </a:lnTo>
                  <a:lnTo>
                    <a:pt x="2527" y="206"/>
                  </a:lnTo>
                  <a:lnTo>
                    <a:pt x="2527" y="208"/>
                  </a:lnTo>
                  <a:lnTo>
                    <a:pt x="2526" y="209"/>
                  </a:lnTo>
                  <a:lnTo>
                    <a:pt x="2526" y="211"/>
                  </a:lnTo>
                  <a:lnTo>
                    <a:pt x="2524" y="211"/>
                  </a:lnTo>
                  <a:lnTo>
                    <a:pt x="2523" y="209"/>
                  </a:lnTo>
                  <a:lnTo>
                    <a:pt x="2509" y="211"/>
                  </a:lnTo>
                  <a:lnTo>
                    <a:pt x="2513" y="213"/>
                  </a:lnTo>
                  <a:lnTo>
                    <a:pt x="2516" y="214"/>
                  </a:lnTo>
                  <a:lnTo>
                    <a:pt x="2521" y="220"/>
                  </a:lnTo>
                  <a:lnTo>
                    <a:pt x="2526" y="222"/>
                  </a:lnTo>
                  <a:lnTo>
                    <a:pt x="2527" y="225"/>
                  </a:lnTo>
                  <a:lnTo>
                    <a:pt x="2527" y="223"/>
                  </a:lnTo>
                  <a:lnTo>
                    <a:pt x="2527" y="220"/>
                  </a:lnTo>
                  <a:lnTo>
                    <a:pt x="2526" y="216"/>
                  </a:lnTo>
                  <a:lnTo>
                    <a:pt x="2527" y="214"/>
                  </a:lnTo>
                  <a:lnTo>
                    <a:pt x="2529" y="214"/>
                  </a:lnTo>
                  <a:lnTo>
                    <a:pt x="2529" y="217"/>
                  </a:lnTo>
                  <a:lnTo>
                    <a:pt x="2529" y="217"/>
                  </a:lnTo>
                  <a:lnTo>
                    <a:pt x="2530" y="219"/>
                  </a:lnTo>
                  <a:lnTo>
                    <a:pt x="2533" y="220"/>
                  </a:lnTo>
                  <a:lnTo>
                    <a:pt x="2536" y="222"/>
                  </a:lnTo>
                  <a:lnTo>
                    <a:pt x="2540" y="226"/>
                  </a:lnTo>
                  <a:lnTo>
                    <a:pt x="2540" y="226"/>
                  </a:lnTo>
                  <a:lnTo>
                    <a:pt x="2541" y="226"/>
                  </a:lnTo>
                  <a:lnTo>
                    <a:pt x="2546" y="225"/>
                  </a:lnTo>
                  <a:lnTo>
                    <a:pt x="2547" y="226"/>
                  </a:lnTo>
                  <a:lnTo>
                    <a:pt x="2550" y="229"/>
                  </a:lnTo>
                  <a:lnTo>
                    <a:pt x="2552" y="229"/>
                  </a:lnTo>
                  <a:lnTo>
                    <a:pt x="2553" y="229"/>
                  </a:lnTo>
                  <a:lnTo>
                    <a:pt x="2549" y="225"/>
                  </a:lnTo>
                  <a:lnTo>
                    <a:pt x="2549" y="223"/>
                  </a:lnTo>
                  <a:lnTo>
                    <a:pt x="2549" y="220"/>
                  </a:lnTo>
                  <a:lnTo>
                    <a:pt x="2550" y="222"/>
                  </a:lnTo>
                  <a:lnTo>
                    <a:pt x="2561" y="236"/>
                  </a:lnTo>
                  <a:lnTo>
                    <a:pt x="2564" y="239"/>
                  </a:lnTo>
                  <a:lnTo>
                    <a:pt x="2567" y="239"/>
                  </a:lnTo>
                  <a:lnTo>
                    <a:pt x="2572" y="236"/>
                  </a:lnTo>
                  <a:lnTo>
                    <a:pt x="2572" y="237"/>
                  </a:lnTo>
                  <a:lnTo>
                    <a:pt x="2575" y="240"/>
                  </a:lnTo>
                  <a:lnTo>
                    <a:pt x="2578" y="242"/>
                  </a:lnTo>
                  <a:lnTo>
                    <a:pt x="2580" y="242"/>
                  </a:lnTo>
                  <a:lnTo>
                    <a:pt x="2583" y="239"/>
                  </a:lnTo>
                  <a:lnTo>
                    <a:pt x="2581" y="237"/>
                  </a:lnTo>
                  <a:lnTo>
                    <a:pt x="2581" y="234"/>
                  </a:lnTo>
                  <a:lnTo>
                    <a:pt x="2581" y="233"/>
                  </a:lnTo>
                  <a:lnTo>
                    <a:pt x="2583" y="231"/>
                  </a:lnTo>
                  <a:lnTo>
                    <a:pt x="2584" y="233"/>
                  </a:lnTo>
                  <a:lnTo>
                    <a:pt x="2595" y="245"/>
                  </a:lnTo>
                  <a:lnTo>
                    <a:pt x="2597" y="246"/>
                  </a:lnTo>
                  <a:lnTo>
                    <a:pt x="2600" y="246"/>
                  </a:lnTo>
                  <a:lnTo>
                    <a:pt x="2601" y="248"/>
                  </a:lnTo>
                  <a:lnTo>
                    <a:pt x="2601" y="253"/>
                  </a:lnTo>
                  <a:lnTo>
                    <a:pt x="2603" y="254"/>
                  </a:lnTo>
                  <a:lnTo>
                    <a:pt x="2609" y="257"/>
                  </a:lnTo>
                  <a:lnTo>
                    <a:pt x="2618" y="260"/>
                  </a:lnTo>
                  <a:lnTo>
                    <a:pt x="2615" y="256"/>
                  </a:lnTo>
                  <a:lnTo>
                    <a:pt x="2613" y="254"/>
                  </a:lnTo>
                  <a:lnTo>
                    <a:pt x="2610" y="254"/>
                  </a:lnTo>
                  <a:lnTo>
                    <a:pt x="2607" y="251"/>
                  </a:lnTo>
                  <a:lnTo>
                    <a:pt x="2607" y="251"/>
                  </a:lnTo>
                  <a:lnTo>
                    <a:pt x="2609" y="249"/>
                  </a:lnTo>
                  <a:lnTo>
                    <a:pt x="2609" y="249"/>
                  </a:lnTo>
                  <a:lnTo>
                    <a:pt x="2597" y="240"/>
                  </a:lnTo>
                  <a:lnTo>
                    <a:pt x="2597" y="237"/>
                  </a:lnTo>
                  <a:lnTo>
                    <a:pt x="2598" y="234"/>
                  </a:lnTo>
                  <a:lnTo>
                    <a:pt x="2598" y="229"/>
                  </a:lnTo>
                  <a:lnTo>
                    <a:pt x="2598" y="229"/>
                  </a:lnTo>
                  <a:lnTo>
                    <a:pt x="2603" y="231"/>
                  </a:lnTo>
                  <a:lnTo>
                    <a:pt x="2603" y="228"/>
                  </a:lnTo>
                  <a:lnTo>
                    <a:pt x="2601" y="225"/>
                  </a:lnTo>
                  <a:lnTo>
                    <a:pt x="2600" y="220"/>
                  </a:lnTo>
                  <a:lnTo>
                    <a:pt x="2601" y="223"/>
                  </a:lnTo>
                  <a:lnTo>
                    <a:pt x="2601" y="225"/>
                  </a:lnTo>
                  <a:lnTo>
                    <a:pt x="2604" y="231"/>
                  </a:lnTo>
                  <a:lnTo>
                    <a:pt x="2612" y="234"/>
                  </a:lnTo>
                  <a:lnTo>
                    <a:pt x="2613" y="236"/>
                  </a:lnTo>
                  <a:lnTo>
                    <a:pt x="2613" y="239"/>
                  </a:lnTo>
                  <a:lnTo>
                    <a:pt x="2613" y="242"/>
                  </a:lnTo>
                  <a:lnTo>
                    <a:pt x="2613" y="243"/>
                  </a:lnTo>
                  <a:lnTo>
                    <a:pt x="2615" y="248"/>
                  </a:lnTo>
                  <a:lnTo>
                    <a:pt x="2617" y="251"/>
                  </a:lnTo>
                  <a:lnTo>
                    <a:pt x="2618" y="253"/>
                  </a:lnTo>
                  <a:lnTo>
                    <a:pt x="2620" y="254"/>
                  </a:lnTo>
                  <a:lnTo>
                    <a:pt x="2621" y="256"/>
                  </a:lnTo>
                  <a:lnTo>
                    <a:pt x="2626" y="257"/>
                  </a:lnTo>
                  <a:lnTo>
                    <a:pt x="2626" y="259"/>
                  </a:lnTo>
                  <a:lnTo>
                    <a:pt x="2627" y="262"/>
                  </a:lnTo>
                  <a:lnTo>
                    <a:pt x="2629" y="262"/>
                  </a:lnTo>
                  <a:lnTo>
                    <a:pt x="2630" y="263"/>
                  </a:lnTo>
                  <a:lnTo>
                    <a:pt x="2634" y="263"/>
                  </a:lnTo>
                  <a:lnTo>
                    <a:pt x="2634" y="263"/>
                  </a:lnTo>
                  <a:lnTo>
                    <a:pt x="2635" y="265"/>
                  </a:lnTo>
                  <a:lnTo>
                    <a:pt x="2635" y="266"/>
                  </a:lnTo>
                  <a:lnTo>
                    <a:pt x="2635" y="268"/>
                  </a:lnTo>
                  <a:lnTo>
                    <a:pt x="2640" y="271"/>
                  </a:lnTo>
                  <a:lnTo>
                    <a:pt x="2643" y="277"/>
                  </a:lnTo>
                  <a:lnTo>
                    <a:pt x="2647" y="282"/>
                  </a:lnTo>
                  <a:lnTo>
                    <a:pt x="2650" y="279"/>
                  </a:lnTo>
                  <a:lnTo>
                    <a:pt x="2650" y="276"/>
                  </a:lnTo>
                  <a:lnTo>
                    <a:pt x="2652" y="274"/>
                  </a:lnTo>
                  <a:lnTo>
                    <a:pt x="2655" y="274"/>
                  </a:lnTo>
                  <a:lnTo>
                    <a:pt x="2655" y="273"/>
                  </a:lnTo>
                  <a:lnTo>
                    <a:pt x="2655" y="270"/>
                  </a:lnTo>
                  <a:lnTo>
                    <a:pt x="2655" y="268"/>
                  </a:lnTo>
                  <a:lnTo>
                    <a:pt x="2657" y="270"/>
                  </a:lnTo>
                  <a:lnTo>
                    <a:pt x="2657" y="266"/>
                  </a:lnTo>
                  <a:lnTo>
                    <a:pt x="2654" y="260"/>
                  </a:lnTo>
                  <a:lnTo>
                    <a:pt x="2652" y="256"/>
                  </a:lnTo>
                  <a:lnTo>
                    <a:pt x="2654" y="254"/>
                  </a:lnTo>
                  <a:lnTo>
                    <a:pt x="2655" y="253"/>
                  </a:lnTo>
                  <a:lnTo>
                    <a:pt x="2657" y="251"/>
                  </a:lnTo>
                  <a:lnTo>
                    <a:pt x="2661" y="253"/>
                  </a:lnTo>
                  <a:lnTo>
                    <a:pt x="2664" y="251"/>
                  </a:lnTo>
                  <a:lnTo>
                    <a:pt x="2666" y="251"/>
                  </a:lnTo>
                  <a:lnTo>
                    <a:pt x="2667" y="253"/>
                  </a:lnTo>
                  <a:lnTo>
                    <a:pt x="2669" y="257"/>
                  </a:lnTo>
                  <a:lnTo>
                    <a:pt x="2670" y="259"/>
                  </a:lnTo>
                  <a:lnTo>
                    <a:pt x="2669" y="253"/>
                  </a:lnTo>
                  <a:lnTo>
                    <a:pt x="2667" y="249"/>
                  </a:lnTo>
                  <a:lnTo>
                    <a:pt x="2664" y="248"/>
                  </a:lnTo>
                  <a:lnTo>
                    <a:pt x="2661" y="248"/>
                  </a:lnTo>
                  <a:lnTo>
                    <a:pt x="2663" y="245"/>
                  </a:lnTo>
                  <a:lnTo>
                    <a:pt x="2666" y="240"/>
                  </a:lnTo>
                  <a:lnTo>
                    <a:pt x="2666" y="237"/>
                  </a:lnTo>
                  <a:lnTo>
                    <a:pt x="2667" y="237"/>
                  </a:lnTo>
                  <a:lnTo>
                    <a:pt x="2669" y="239"/>
                  </a:lnTo>
                  <a:lnTo>
                    <a:pt x="2670" y="243"/>
                  </a:lnTo>
                  <a:lnTo>
                    <a:pt x="2672" y="246"/>
                  </a:lnTo>
                  <a:lnTo>
                    <a:pt x="2684" y="251"/>
                  </a:lnTo>
                  <a:lnTo>
                    <a:pt x="2689" y="254"/>
                  </a:lnTo>
                  <a:lnTo>
                    <a:pt x="2690" y="260"/>
                  </a:lnTo>
                  <a:lnTo>
                    <a:pt x="2689" y="254"/>
                  </a:lnTo>
                  <a:lnTo>
                    <a:pt x="2687" y="249"/>
                  </a:lnTo>
                  <a:lnTo>
                    <a:pt x="2684" y="246"/>
                  </a:lnTo>
                  <a:lnTo>
                    <a:pt x="2681" y="245"/>
                  </a:lnTo>
                  <a:lnTo>
                    <a:pt x="2680" y="243"/>
                  </a:lnTo>
                  <a:lnTo>
                    <a:pt x="2681" y="242"/>
                  </a:lnTo>
                  <a:lnTo>
                    <a:pt x="2683" y="240"/>
                  </a:lnTo>
                  <a:lnTo>
                    <a:pt x="2686" y="245"/>
                  </a:lnTo>
                  <a:lnTo>
                    <a:pt x="2690" y="246"/>
                  </a:lnTo>
                  <a:lnTo>
                    <a:pt x="2692" y="249"/>
                  </a:lnTo>
                  <a:lnTo>
                    <a:pt x="2694" y="256"/>
                  </a:lnTo>
                  <a:lnTo>
                    <a:pt x="2695" y="262"/>
                  </a:lnTo>
                  <a:lnTo>
                    <a:pt x="2694" y="263"/>
                  </a:lnTo>
                  <a:lnTo>
                    <a:pt x="2690" y="263"/>
                  </a:lnTo>
                  <a:lnTo>
                    <a:pt x="2687" y="260"/>
                  </a:lnTo>
                  <a:lnTo>
                    <a:pt x="2689" y="265"/>
                  </a:lnTo>
                  <a:lnTo>
                    <a:pt x="2687" y="266"/>
                  </a:lnTo>
                  <a:lnTo>
                    <a:pt x="2684" y="265"/>
                  </a:lnTo>
                  <a:lnTo>
                    <a:pt x="2683" y="263"/>
                  </a:lnTo>
                  <a:lnTo>
                    <a:pt x="2680" y="260"/>
                  </a:lnTo>
                  <a:lnTo>
                    <a:pt x="2681" y="263"/>
                  </a:lnTo>
                  <a:lnTo>
                    <a:pt x="2689" y="268"/>
                  </a:lnTo>
                  <a:lnTo>
                    <a:pt x="2692" y="270"/>
                  </a:lnTo>
                  <a:lnTo>
                    <a:pt x="2697" y="268"/>
                  </a:lnTo>
                  <a:lnTo>
                    <a:pt x="2698" y="270"/>
                  </a:lnTo>
                  <a:lnTo>
                    <a:pt x="2700" y="271"/>
                  </a:lnTo>
                  <a:lnTo>
                    <a:pt x="2700" y="273"/>
                  </a:lnTo>
                  <a:lnTo>
                    <a:pt x="2700" y="274"/>
                  </a:lnTo>
                  <a:lnTo>
                    <a:pt x="2701" y="274"/>
                  </a:lnTo>
                  <a:lnTo>
                    <a:pt x="2703" y="274"/>
                  </a:lnTo>
                  <a:lnTo>
                    <a:pt x="2704" y="273"/>
                  </a:lnTo>
                  <a:lnTo>
                    <a:pt x="2706" y="271"/>
                  </a:lnTo>
                  <a:lnTo>
                    <a:pt x="2707" y="273"/>
                  </a:lnTo>
                  <a:lnTo>
                    <a:pt x="2709" y="276"/>
                  </a:lnTo>
                  <a:lnTo>
                    <a:pt x="2712" y="277"/>
                  </a:lnTo>
                  <a:lnTo>
                    <a:pt x="2714" y="274"/>
                  </a:lnTo>
                  <a:lnTo>
                    <a:pt x="2709" y="268"/>
                  </a:lnTo>
                  <a:lnTo>
                    <a:pt x="2698" y="260"/>
                  </a:lnTo>
                  <a:lnTo>
                    <a:pt x="2695" y="249"/>
                  </a:lnTo>
                  <a:lnTo>
                    <a:pt x="2698" y="253"/>
                  </a:lnTo>
                  <a:lnTo>
                    <a:pt x="2704" y="256"/>
                  </a:lnTo>
                  <a:lnTo>
                    <a:pt x="2707" y="257"/>
                  </a:lnTo>
                  <a:lnTo>
                    <a:pt x="2714" y="266"/>
                  </a:lnTo>
                  <a:lnTo>
                    <a:pt x="2720" y="273"/>
                  </a:lnTo>
                  <a:lnTo>
                    <a:pt x="2721" y="273"/>
                  </a:lnTo>
                  <a:lnTo>
                    <a:pt x="2723" y="270"/>
                  </a:lnTo>
                  <a:lnTo>
                    <a:pt x="2721" y="265"/>
                  </a:lnTo>
                  <a:lnTo>
                    <a:pt x="2712" y="260"/>
                  </a:lnTo>
                  <a:lnTo>
                    <a:pt x="2717" y="256"/>
                  </a:lnTo>
                  <a:lnTo>
                    <a:pt x="2721" y="259"/>
                  </a:lnTo>
                  <a:lnTo>
                    <a:pt x="2731" y="268"/>
                  </a:lnTo>
                  <a:lnTo>
                    <a:pt x="2737" y="271"/>
                  </a:lnTo>
                  <a:lnTo>
                    <a:pt x="2741" y="273"/>
                  </a:lnTo>
                  <a:lnTo>
                    <a:pt x="2747" y="271"/>
                  </a:lnTo>
                  <a:lnTo>
                    <a:pt x="2749" y="273"/>
                  </a:lnTo>
                  <a:lnTo>
                    <a:pt x="2752" y="276"/>
                  </a:lnTo>
                  <a:lnTo>
                    <a:pt x="2751" y="277"/>
                  </a:lnTo>
                  <a:lnTo>
                    <a:pt x="2747" y="279"/>
                  </a:lnTo>
                  <a:lnTo>
                    <a:pt x="2746" y="277"/>
                  </a:lnTo>
                  <a:lnTo>
                    <a:pt x="2744" y="276"/>
                  </a:lnTo>
                  <a:lnTo>
                    <a:pt x="2744" y="277"/>
                  </a:lnTo>
                  <a:lnTo>
                    <a:pt x="2747" y="280"/>
                  </a:lnTo>
                  <a:lnTo>
                    <a:pt x="2740" y="279"/>
                  </a:lnTo>
                  <a:lnTo>
                    <a:pt x="2746" y="283"/>
                  </a:lnTo>
                  <a:lnTo>
                    <a:pt x="2747" y="283"/>
                  </a:lnTo>
                  <a:lnTo>
                    <a:pt x="2751" y="282"/>
                  </a:lnTo>
                  <a:lnTo>
                    <a:pt x="2755" y="279"/>
                  </a:lnTo>
                  <a:lnTo>
                    <a:pt x="2758" y="277"/>
                  </a:lnTo>
                  <a:lnTo>
                    <a:pt x="2758" y="276"/>
                  </a:lnTo>
                  <a:lnTo>
                    <a:pt x="2758" y="274"/>
                  </a:lnTo>
                  <a:lnTo>
                    <a:pt x="2758" y="271"/>
                  </a:lnTo>
                  <a:lnTo>
                    <a:pt x="2754" y="268"/>
                  </a:lnTo>
                  <a:lnTo>
                    <a:pt x="2743" y="265"/>
                  </a:lnTo>
                  <a:lnTo>
                    <a:pt x="2744" y="263"/>
                  </a:lnTo>
                  <a:lnTo>
                    <a:pt x="2746" y="262"/>
                  </a:lnTo>
                  <a:lnTo>
                    <a:pt x="2749" y="262"/>
                  </a:lnTo>
                  <a:lnTo>
                    <a:pt x="2746" y="257"/>
                  </a:lnTo>
                  <a:lnTo>
                    <a:pt x="2741" y="254"/>
                  </a:lnTo>
                  <a:lnTo>
                    <a:pt x="2734" y="253"/>
                  </a:lnTo>
                  <a:lnTo>
                    <a:pt x="2735" y="254"/>
                  </a:lnTo>
                  <a:lnTo>
                    <a:pt x="2738" y="256"/>
                  </a:lnTo>
                  <a:lnTo>
                    <a:pt x="2738" y="257"/>
                  </a:lnTo>
                  <a:lnTo>
                    <a:pt x="2738" y="260"/>
                  </a:lnTo>
                  <a:lnTo>
                    <a:pt x="2737" y="260"/>
                  </a:lnTo>
                  <a:lnTo>
                    <a:pt x="2729" y="260"/>
                  </a:lnTo>
                  <a:lnTo>
                    <a:pt x="2727" y="259"/>
                  </a:lnTo>
                  <a:lnTo>
                    <a:pt x="2726" y="256"/>
                  </a:lnTo>
                  <a:lnTo>
                    <a:pt x="2729" y="256"/>
                  </a:lnTo>
                  <a:lnTo>
                    <a:pt x="2731" y="256"/>
                  </a:lnTo>
                  <a:lnTo>
                    <a:pt x="2732" y="253"/>
                  </a:lnTo>
                  <a:lnTo>
                    <a:pt x="2727" y="251"/>
                  </a:lnTo>
                  <a:lnTo>
                    <a:pt x="2726" y="249"/>
                  </a:lnTo>
                  <a:lnTo>
                    <a:pt x="2724" y="246"/>
                  </a:lnTo>
                  <a:lnTo>
                    <a:pt x="2734" y="248"/>
                  </a:lnTo>
                  <a:lnTo>
                    <a:pt x="2732" y="246"/>
                  </a:lnTo>
                  <a:lnTo>
                    <a:pt x="2731" y="245"/>
                  </a:lnTo>
                  <a:lnTo>
                    <a:pt x="2729" y="245"/>
                  </a:lnTo>
                  <a:lnTo>
                    <a:pt x="2727" y="243"/>
                  </a:lnTo>
                  <a:lnTo>
                    <a:pt x="2726" y="242"/>
                  </a:lnTo>
                  <a:lnTo>
                    <a:pt x="2726" y="240"/>
                  </a:lnTo>
                  <a:lnTo>
                    <a:pt x="2726" y="239"/>
                  </a:lnTo>
                  <a:lnTo>
                    <a:pt x="2727" y="239"/>
                  </a:lnTo>
                  <a:lnTo>
                    <a:pt x="2729" y="240"/>
                  </a:lnTo>
                  <a:lnTo>
                    <a:pt x="2734" y="243"/>
                  </a:lnTo>
                  <a:lnTo>
                    <a:pt x="2740" y="246"/>
                  </a:lnTo>
                  <a:lnTo>
                    <a:pt x="2741" y="245"/>
                  </a:lnTo>
                  <a:lnTo>
                    <a:pt x="2743" y="243"/>
                  </a:lnTo>
                  <a:lnTo>
                    <a:pt x="2743" y="240"/>
                  </a:lnTo>
                  <a:lnTo>
                    <a:pt x="2744" y="239"/>
                  </a:lnTo>
                  <a:lnTo>
                    <a:pt x="2746" y="237"/>
                  </a:lnTo>
                  <a:lnTo>
                    <a:pt x="2751" y="237"/>
                  </a:lnTo>
                  <a:lnTo>
                    <a:pt x="2752" y="239"/>
                  </a:lnTo>
                  <a:lnTo>
                    <a:pt x="2754" y="240"/>
                  </a:lnTo>
                  <a:lnTo>
                    <a:pt x="2752" y="242"/>
                  </a:lnTo>
                  <a:lnTo>
                    <a:pt x="2749" y="242"/>
                  </a:lnTo>
                  <a:lnTo>
                    <a:pt x="2747" y="243"/>
                  </a:lnTo>
                  <a:lnTo>
                    <a:pt x="2747" y="248"/>
                  </a:lnTo>
                  <a:lnTo>
                    <a:pt x="2746" y="249"/>
                  </a:lnTo>
                  <a:lnTo>
                    <a:pt x="2749" y="257"/>
                  </a:lnTo>
                  <a:lnTo>
                    <a:pt x="2754" y="262"/>
                  </a:lnTo>
                  <a:lnTo>
                    <a:pt x="2758" y="265"/>
                  </a:lnTo>
                  <a:lnTo>
                    <a:pt x="2761" y="263"/>
                  </a:lnTo>
                  <a:lnTo>
                    <a:pt x="2757" y="260"/>
                  </a:lnTo>
                  <a:lnTo>
                    <a:pt x="2755" y="259"/>
                  </a:lnTo>
                  <a:lnTo>
                    <a:pt x="2754" y="254"/>
                  </a:lnTo>
                  <a:lnTo>
                    <a:pt x="2757" y="256"/>
                  </a:lnTo>
                  <a:lnTo>
                    <a:pt x="2763" y="262"/>
                  </a:lnTo>
                  <a:lnTo>
                    <a:pt x="2784" y="271"/>
                  </a:lnTo>
                  <a:lnTo>
                    <a:pt x="2806" y="279"/>
                  </a:lnTo>
                  <a:lnTo>
                    <a:pt x="2808" y="279"/>
                  </a:lnTo>
                  <a:lnTo>
                    <a:pt x="2809" y="277"/>
                  </a:lnTo>
                  <a:lnTo>
                    <a:pt x="2806" y="274"/>
                  </a:lnTo>
                  <a:lnTo>
                    <a:pt x="2800" y="271"/>
                  </a:lnTo>
                  <a:lnTo>
                    <a:pt x="2797" y="268"/>
                  </a:lnTo>
                  <a:lnTo>
                    <a:pt x="2797" y="268"/>
                  </a:lnTo>
                  <a:lnTo>
                    <a:pt x="2797" y="266"/>
                  </a:lnTo>
                  <a:lnTo>
                    <a:pt x="2797" y="265"/>
                  </a:lnTo>
                  <a:lnTo>
                    <a:pt x="2797" y="263"/>
                  </a:lnTo>
                  <a:lnTo>
                    <a:pt x="2795" y="263"/>
                  </a:lnTo>
                  <a:lnTo>
                    <a:pt x="2795" y="262"/>
                  </a:lnTo>
                  <a:lnTo>
                    <a:pt x="2792" y="262"/>
                  </a:lnTo>
                  <a:lnTo>
                    <a:pt x="2789" y="265"/>
                  </a:lnTo>
                  <a:lnTo>
                    <a:pt x="2788" y="265"/>
                  </a:lnTo>
                  <a:lnTo>
                    <a:pt x="2774" y="260"/>
                  </a:lnTo>
                  <a:lnTo>
                    <a:pt x="2772" y="260"/>
                  </a:lnTo>
                  <a:lnTo>
                    <a:pt x="2769" y="254"/>
                  </a:lnTo>
                  <a:lnTo>
                    <a:pt x="2768" y="253"/>
                  </a:lnTo>
                  <a:lnTo>
                    <a:pt x="2766" y="251"/>
                  </a:lnTo>
                  <a:lnTo>
                    <a:pt x="2764" y="248"/>
                  </a:lnTo>
                  <a:lnTo>
                    <a:pt x="2768" y="246"/>
                  </a:lnTo>
                  <a:lnTo>
                    <a:pt x="2771" y="249"/>
                  </a:lnTo>
                  <a:lnTo>
                    <a:pt x="2777" y="256"/>
                  </a:lnTo>
                  <a:lnTo>
                    <a:pt x="2781" y="259"/>
                  </a:lnTo>
                  <a:lnTo>
                    <a:pt x="2783" y="257"/>
                  </a:lnTo>
                  <a:lnTo>
                    <a:pt x="2784" y="256"/>
                  </a:lnTo>
                  <a:lnTo>
                    <a:pt x="2786" y="254"/>
                  </a:lnTo>
                  <a:lnTo>
                    <a:pt x="2788" y="254"/>
                  </a:lnTo>
                  <a:lnTo>
                    <a:pt x="2789" y="256"/>
                  </a:lnTo>
                  <a:lnTo>
                    <a:pt x="2803" y="265"/>
                  </a:lnTo>
                  <a:lnTo>
                    <a:pt x="2818" y="270"/>
                  </a:lnTo>
                  <a:lnTo>
                    <a:pt x="2817" y="268"/>
                  </a:lnTo>
                  <a:lnTo>
                    <a:pt x="2815" y="266"/>
                  </a:lnTo>
                  <a:lnTo>
                    <a:pt x="2815" y="266"/>
                  </a:lnTo>
                  <a:lnTo>
                    <a:pt x="2814" y="266"/>
                  </a:lnTo>
                  <a:lnTo>
                    <a:pt x="2814" y="265"/>
                  </a:lnTo>
                  <a:lnTo>
                    <a:pt x="2815" y="265"/>
                  </a:lnTo>
                  <a:lnTo>
                    <a:pt x="2817" y="265"/>
                  </a:lnTo>
                  <a:lnTo>
                    <a:pt x="2818" y="263"/>
                  </a:lnTo>
                  <a:lnTo>
                    <a:pt x="2820" y="260"/>
                  </a:lnTo>
                  <a:lnTo>
                    <a:pt x="2820" y="257"/>
                  </a:lnTo>
                  <a:lnTo>
                    <a:pt x="2820" y="256"/>
                  </a:lnTo>
                  <a:lnTo>
                    <a:pt x="2823" y="253"/>
                  </a:lnTo>
                  <a:lnTo>
                    <a:pt x="2824" y="248"/>
                  </a:lnTo>
                  <a:lnTo>
                    <a:pt x="2821" y="245"/>
                  </a:lnTo>
                  <a:lnTo>
                    <a:pt x="2818" y="243"/>
                  </a:lnTo>
                  <a:lnTo>
                    <a:pt x="2817" y="239"/>
                  </a:lnTo>
                  <a:lnTo>
                    <a:pt x="2818" y="237"/>
                  </a:lnTo>
                  <a:lnTo>
                    <a:pt x="2820" y="239"/>
                  </a:lnTo>
                  <a:lnTo>
                    <a:pt x="2823" y="242"/>
                  </a:lnTo>
                  <a:lnTo>
                    <a:pt x="2826" y="243"/>
                  </a:lnTo>
                  <a:lnTo>
                    <a:pt x="2832" y="242"/>
                  </a:lnTo>
                  <a:lnTo>
                    <a:pt x="2820" y="228"/>
                  </a:lnTo>
                  <a:lnTo>
                    <a:pt x="2818" y="222"/>
                  </a:lnTo>
                  <a:lnTo>
                    <a:pt x="2808" y="223"/>
                  </a:lnTo>
                  <a:lnTo>
                    <a:pt x="2804" y="222"/>
                  </a:lnTo>
                  <a:lnTo>
                    <a:pt x="2801" y="217"/>
                  </a:lnTo>
                  <a:lnTo>
                    <a:pt x="2794" y="214"/>
                  </a:lnTo>
                  <a:lnTo>
                    <a:pt x="2789" y="213"/>
                  </a:lnTo>
                  <a:lnTo>
                    <a:pt x="2788" y="211"/>
                  </a:lnTo>
                  <a:lnTo>
                    <a:pt x="2783" y="205"/>
                  </a:lnTo>
                  <a:lnTo>
                    <a:pt x="2780" y="202"/>
                  </a:lnTo>
                  <a:lnTo>
                    <a:pt x="2778" y="200"/>
                  </a:lnTo>
                  <a:lnTo>
                    <a:pt x="2775" y="194"/>
                  </a:lnTo>
                  <a:lnTo>
                    <a:pt x="2774" y="191"/>
                  </a:lnTo>
                  <a:lnTo>
                    <a:pt x="2772" y="189"/>
                  </a:lnTo>
                  <a:lnTo>
                    <a:pt x="2769" y="188"/>
                  </a:lnTo>
                  <a:lnTo>
                    <a:pt x="2758" y="177"/>
                  </a:lnTo>
                  <a:lnTo>
                    <a:pt x="2754" y="168"/>
                  </a:lnTo>
                  <a:lnTo>
                    <a:pt x="2735" y="145"/>
                  </a:lnTo>
                  <a:lnTo>
                    <a:pt x="2718" y="122"/>
                  </a:lnTo>
                  <a:lnTo>
                    <a:pt x="2715" y="116"/>
                  </a:lnTo>
                  <a:lnTo>
                    <a:pt x="2714" y="111"/>
                  </a:lnTo>
                  <a:lnTo>
                    <a:pt x="2714" y="106"/>
                  </a:lnTo>
                  <a:lnTo>
                    <a:pt x="2712" y="95"/>
                  </a:lnTo>
                  <a:lnTo>
                    <a:pt x="2711" y="91"/>
                  </a:lnTo>
                  <a:lnTo>
                    <a:pt x="2709" y="88"/>
                  </a:lnTo>
                  <a:lnTo>
                    <a:pt x="2703" y="82"/>
                  </a:lnTo>
                  <a:lnTo>
                    <a:pt x="2701" y="75"/>
                  </a:lnTo>
                  <a:lnTo>
                    <a:pt x="2697" y="62"/>
                  </a:lnTo>
                  <a:lnTo>
                    <a:pt x="2695" y="57"/>
                  </a:lnTo>
                  <a:lnTo>
                    <a:pt x="2692" y="52"/>
                  </a:lnTo>
                  <a:lnTo>
                    <a:pt x="2686" y="39"/>
                  </a:lnTo>
                  <a:lnTo>
                    <a:pt x="2681" y="22"/>
                  </a:lnTo>
                  <a:lnTo>
                    <a:pt x="2677" y="6"/>
                  </a:lnTo>
                  <a:lnTo>
                    <a:pt x="2675" y="0"/>
                  </a:lnTo>
                  <a:lnTo>
                    <a:pt x="2369" y="0"/>
                  </a:lnTo>
                  <a:lnTo>
                    <a:pt x="2369" y="3"/>
                  </a:lnTo>
                  <a:lnTo>
                    <a:pt x="2369" y="6"/>
                  </a:lnTo>
                  <a:close/>
                  <a:moveTo>
                    <a:pt x="2892" y="353"/>
                  </a:moveTo>
                  <a:lnTo>
                    <a:pt x="2894" y="353"/>
                  </a:lnTo>
                  <a:lnTo>
                    <a:pt x="2895" y="354"/>
                  </a:lnTo>
                  <a:lnTo>
                    <a:pt x="2895" y="356"/>
                  </a:lnTo>
                  <a:lnTo>
                    <a:pt x="2894" y="359"/>
                  </a:lnTo>
                  <a:lnTo>
                    <a:pt x="2892" y="360"/>
                  </a:lnTo>
                  <a:lnTo>
                    <a:pt x="2895" y="362"/>
                  </a:lnTo>
                  <a:lnTo>
                    <a:pt x="2897" y="362"/>
                  </a:lnTo>
                  <a:lnTo>
                    <a:pt x="2897" y="363"/>
                  </a:lnTo>
                  <a:lnTo>
                    <a:pt x="2897" y="365"/>
                  </a:lnTo>
                  <a:lnTo>
                    <a:pt x="2897" y="365"/>
                  </a:lnTo>
                  <a:lnTo>
                    <a:pt x="2898" y="365"/>
                  </a:lnTo>
                  <a:lnTo>
                    <a:pt x="2900" y="363"/>
                  </a:lnTo>
                  <a:lnTo>
                    <a:pt x="2901" y="363"/>
                  </a:lnTo>
                  <a:lnTo>
                    <a:pt x="2903" y="363"/>
                  </a:lnTo>
                  <a:lnTo>
                    <a:pt x="2903" y="365"/>
                  </a:lnTo>
                  <a:lnTo>
                    <a:pt x="2901" y="368"/>
                  </a:lnTo>
                  <a:lnTo>
                    <a:pt x="2901" y="370"/>
                  </a:lnTo>
                  <a:lnTo>
                    <a:pt x="2903" y="370"/>
                  </a:lnTo>
                  <a:lnTo>
                    <a:pt x="2903" y="371"/>
                  </a:lnTo>
                  <a:lnTo>
                    <a:pt x="2903" y="371"/>
                  </a:lnTo>
                  <a:lnTo>
                    <a:pt x="2905" y="373"/>
                  </a:lnTo>
                  <a:lnTo>
                    <a:pt x="2901" y="374"/>
                  </a:lnTo>
                  <a:lnTo>
                    <a:pt x="2900" y="374"/>
                  </a:lnTo>
                  <a:lnTo>
                    <a:pt x="2900" y="376"/>
                  </a:lnTo>
                  <a:lnTo>
                    <a:pt x="2903" y="377"/>
                  </a:lnTo>
                  <a:lnTo>
                    <a:pt x="2903" y="379"/>
                  </a:lnTo>
                  <a:lnTo>
                    <a:pt x="2901" y="387"/>
                  </a:lnTo>
                  <a:lnTo>
                    <a:pt x="2911" y="403"/>
                  </a:lnTo>
                  <a:lnTo>
                    <a:pt x="2926" y="419"/>
                  </a:lnTo>
                  <a:lnTo>
                    <a:pt x="2929" y="423"/>
                  </a:lnTo>
                  <a:lnTo>
                    <a:pt x="2929" y="427"/>
                  </a:lnTo>
                  <a:lnTo>
                    <a:pt x="2929" y="428"/>
                  </a:lnTo>
                  <a:lnTo>
                    <a:pt x="2931" y="430"/>
                  </a:lnTo>
                  <a:lnTo>
                    <a:pt x="2934" y="431"/>
                  </a:lnTo>
                  <a:lnTo>
                    <a:pt x="2935" y="431"/>
                  </a:lnTo>
                  <a:lnTo>
                    <a:pt x="2934" y="434"/>
                  </a:lnTo>
                  <a:lnTo>
                    <a:pt x="2938" y="434"/>
                  </a:lnTo>
                  <a:lnTo>
                    <a:pt x="2942" y="434"/>
                  </a:lnTo>
                  <a:lnTo>
                    <a:pt x="2943" y="431"/>
                  </a:lnTo>
                  <a:lnTo>
                    <a:pt x="2937" y="425"/>
                  </a:lnTo>
                  <a:lnTo>
                    <a:pt x="2934" y="423"/>
                  </a:lnTo>
                  <a:lnTo>
                    <a:pt x="2931" y="420"/>
                  </a:lnTo>
                  <a:lnTo>
                    <a:pt x="2929" y="419"/>
                  </a:lnTo>
                  <a:lnTo>
                    <a:pt x="2929" y="416"/>
                  </a:lnTo>
                  <a:lnTo>
                    <a:pt x="2940" y="420"/>
                  </a:lnTo>
                  <a:lnTo>
                    <a:pt x="2946" y="422"/>
                  </a:lnTo>
                  <a:lnTo>
                    <a:pt x="2949" y="423"/>
                  </a:lnTo>
                  <a:lnTo>
                    <a:pt x="2951" y="425"/>
                  </a:lnTo>
                  <a:lnTo>
                    <a:pt x="2954" y="428"/>
                  </a:lnTo>
                  <a:lnTo>
                    <a:pt x="2955" y="428"/>
                  </a:lnTo>
                  <a:lnTo>
                    <a:pt x="2960" y="427"/>
                  </a:lnTo>
                  <a:lnTo>
                    <a:pt x="2963" y="427"/>
                  </a:lnTo>
                  <a:lnTo>
                    <a:pt x="2965" y="428"/>
                  </a:lnTo>
                  <a:lnTo>
                    <a:pt x="2969" y="433"/>
                  </a:lnTo>
                  <a:lnTo>
                    <a:pt x="2979" y="444"/>
                  </a:lnTo>
                  <a:lnTo>
                    <a:pt x="2980" y="447"/>
                  </a:lnTo>
                  <a:lnTo>
                    <a:pt x="2980" y="450"/>
                  </a:lnTo>
                  <a:lnTo>
                    <a:pt x="2979" y="451"/>
                  </a:lnTo>
                  <a:lnTo>
                    <a:pt x="2975" y="451"/>
                  </a:lnTo>
                  <a:lnTo>
                    <a:pt x="2974" y="451"/>
                  </a:lnTo>
                  <a:lnTo>
                    <a:pt x="2972" y="456"/>
                  </a:lnTo>
                  <a:lnTo>
                    <a:pt x="2974" y="457"/>
                  </a:lnTo>
                  <a:lnTo>
                    <a:pt x="2975" y="459"/>
                  </a:lnTo>
                  <a:lnTo>
                    <a:pt x="2977" y="462"/>
                  </a:lnTo>
                  <a:lnTo>
                    <a:pt x="2975" y="465"/>
                  </a:lnTo>
                  <a:lnTo>
                    <a:pt x="2991" y="470"/>
                  </a:lnTo>
                  <a:lnTo>
                    <a:pt x="2997" y="468"/>
                  </a:lnTo>
                  <a:lnTo>
                    <a:pt x="2999" y="470"/>
                  </a:lnTo>
                  <a:lnTo>
                    <a:pt x="3000" y="471"/>
                  </a:lnTo>
                  <a:lnTo>
                    <a:pt x="3000" y="473"/>
                  </a:lnTo>
                  <a:lnTo>
                    <a:pt x="3002" y="474"/>
                  </a:lnTo>
                  <a:lnTo>
                    <a:pt x="3003" y="476"/>
                  </a:lnTo>
                  <a:lnTo>
                    <a:pt x="3002" y="473"/>
                  </a:lnTo>
                  <a:lnTo>
                    <a:pt x="3002" y="471"/>
                  </a:lnTo>
                  <a:lnTo>
                    <a:pt x="3006" y="465"/>
                  </a:lnTo>
                  <a:lnTo>
                    <a:pt x="3008" y="464"/>
                  </a:lnTo>
                  <a:lnTo>
                    <a:pt x="3009" y="464"/>
                  </a:lnTo>
                  <a:lnTo>
                    <a:pt x="3014" y="465"/>
                  </a:lnTo>
                  <a:lnTo>
                    <a:pt x="3023" y="471"/>
                  </a:lnTo>
                  <a:lnTo>
                    <a:pt x="3026" y="471"/>
                  </a:lnTo>
                  <a:lnTo>
                    <a:pt x="3034" y="465"/>
                  </a:lnTo>
                  <a:lnTo>
                    <a:pt x="3034" y="464"/>
                  </a:lnTo>
                  <a:lnTo>
                    <a:pt x="3035" y="462"/>
                  </a:lnTo>
                  <a:lnTo>
                    <a:pt x="3043" y="464"/>
                  </a:lnTo>
                  <a:lnTo>
                    <a:pt x="3042" y="460"/>
                  </a:lnTo>
                  <a:lnTo>
                    <a:pt x="3040" y="457"/>
                  </a:lnTo>
                  <a:lnTo>
                    <a:pt x="3042" y="454"/>
                  </a:lnTo>
                  <a:lnTo>
                    <a:pt x="3043" y="451"/>
                  </a:lnTo>
                  <a:lnTo>
                    <a:pt x="3045" y="448"/>
                  </a:lnTo>
                  <a:lnTo>
                    <a:pt x="3046" y="448"/>
                  </a:lnTo>
                  <a:lnTo>
                    <a:pt x="3046" y="448"/>
                  </a:lnTo>
                  <a:lnTo>
                    <a:pt x="3048" y="447"/>
                  </a:lnTo>
                  <a:lnTo>
                    <a:pt x="3048" y="445"/>
                  </a:lnTo>
                  <a:lnTo>
                    <a:pt x="3048" y="444"/>
                  </a:lnTo>
                  <a:lnTo>
                    <a:pt x="3048" y="444"/>
                  </a:lnTo>
                  <a:lnTo>
                    <a:pt x="3048" y="442"/>
                  </a:lnTo>
                  <a:lnTo>
                    <a:pt x="3046" y="440"/>
                  </a:lnTo>
                  <a:lnTo>
                    <a:pt x="3046" y="439"/>
                  </a:lnTo>
                  <a:lnTo>
                    <a:pt x="3046" y="437"/>
                  </a:lnTo>
                  <a:lnTo>
                    <a:pt x="3045" y="436"/>
                  </a:lnTo>
                  <a:lnTo>
                    <a:pt x="3043" y="434"/>
                  </a:lnTo>
                  <a:lnTo>
                    <a:pt x="3042" y="433"/>
                  </a:lnTo>
                  <a:lnTo>
                    <a:pt x="3042" y="430"/>
                  </a:lnTo>
                  <a:lnTo>
                    <a:pt x="3042" y="427"/>
                  </a:lnTo>
                  <a:lnTo>
                    <a:pt x="3042" y="423"/>
                  </a:lnTo>
                  <a:lnTo>
                    <a:pt x="3043" y="420"/>
                  </a:lnTo>
                  <a:lnTo>
                    <a:pt x="3040" y="413"/>
                  </a:lnTo>
                  <a:lnTo>
                    <a:pt x="3039" y="411"/>
                  </a:lnTo>
                  <a:lnTo>
                    <a:pt x="3032" y="413"/>
                  </a:lnTo>
                  <a:lnTo>
                    <a:pt x="3032" y="410"/>
                  </a:lnTo>
                  <a:lnTo>
                    <a:pt x="3015" y="390"/>
                  </a:lnTo>
                  <a:lnTo>
                    <a:pt x="3012" y="388"/>
                  </a:lnTo>
                  <a:lnTo>
                    <a:pt x="3012" y="387"/>
                  </a:lnTo>
                  <a:lnTo>
                    <a:pt x="3011" y="382"/>
                  </a:lnTo>
                  <a:lnTo>
                    <a:pt x="3008" y="380"/>
                  </a:lnTo>
                  <a:lnTo>
                    <a:pt x="3005" y="382"/>
                  </a:lnTo>
                  <a:lnTo>
                    <a:pt x="3002" y="382"/>
                  </a:lnTo>
                  <a:lnTo>
                    <a:pt x="2995" y="376"/>
                  </a:lnTo>
                  <a:lnTo>
                    <a:pt x="2992" y="376"/>
                  </a:lnTo>
                  <a:lnTo>
                    <a:pt x="2991" y="374"/>
                  </a:lnTo>
                  <a:lnTo>
                    <a:pt x="2991" y="373"/>
                  </a:lnTo>
                  <a:lnTo>
                    <a:pt x="2991" y="368"/>
                  </a:lnTo>
                  <a:lnTo>
                    <a:pt x="2991" y="367"/>
                  </a:lnTo>
                  <a:lnTo>
                    <a:pt x="2989" y="365"/>
                  </a:lnTo>
                  <a:lnTo>
                    <a:pt x="2988" y="365"/>
                  </a:lnTo>
                  <a:lnTo>
                    <a:pt x="2986" y="365"/>
                  </a:lnTo>
                  <a:lnTo>
                    <a:pt x="2980" y="359"/>
                  </a:lnTo>
                  <a:lnTo>
                    <a:pt x="2974" y="360"/>
                  </a:lnTo>
                  <a:lnTo>
                    <a:pt x="2972" y="359"/>
                  </a:lnTo>
                  <a:lnTo>
                    <a:pt x="2972" y="356"/>
                  </a:lnTo>
                  <a:lnTo>
                    <a:pt x="2974" y="348"/>
                  </a:lnTo>
                  <a:lnTo>
                    <a:pt x="2972" y="345"/>
                  </a:lnTo>
                  <a:lnTo>
                    <a:pt x="2971" y="343"/>
                  </a:lnTo>
                  <a:lnTo>
                    <a:pt x="2968" y="343"/>
                  </a:lnTo>
                  <a:lnTo>
                    <a:pt x="2966" y="340"/>
                  </a:lnTo>
                  <a:lnTo>
                    <a:pt x="2960" y="326"/>
                  </a:lnTo>
                  <a:lnTo>
                    <a:pt x="2957" y="322"/>
                  </a:lnTo>
                  <a:lnTo>
                    <a:pt x="2942" y="308"/>
                  </a:lnTo>
                  <a:lnTo>
                    <a:pt x="2938" y="308"/>
                  </a:lnTo>
                  <a:lnTo>
                    <a:pt x="2937" y="306"/>
                  </a:lnTo>
                  <a:lnTo>
                    <a:pt x="2937" y="303"/>
                  </a:lnTo>
                  <a:lnTo>
                    <a:pt x="2937" y="300"/>
                  </a:lnTo>
                  <a:lnTo>
                    <a:pt x="2935" y="299"/>
                  </a:lnTo>
                  <a:lnTo>
                    <a:pt x="2932" y="300"/>
                  </a:lnTo>
                  <a:lnTo>
                    <a:pt x="2926" y="306"/>
                  </a:lnTo>
                  <a:lnTo>
                    <a:pt x="2923" y="308"/>
                  </a:lnTo>
                  <a:lnTo>
                    <a:pt x="2917" y="308"/>
                  </a:lnTo>
                  <a:lnTo>
                    <a:pt x="2914" y="310"/>
                  </a:lnTo>
                  <a:lnTo>
                    <a:pt x="2914" y="310"/>
                  </a:lnTo>
                  <a:lnTo>
                    <a:pt x="2914" y="311"/>
                  </a:lnTo>
                  <a:lnTo>
                    <a:pt x="2914" y="313"/>
                  </a:lnTo>
                  <a:lnTo>
                    <a:pt x="2914" y="313"/>
                  </a:lnTo>
                  <a:lnTo>
                    <a:pt x="2914" y="314"/>
                  </a:lnTo>
                  <a:lnTo>
                    <a:pt x="2914" y="316"/>
                  </a:lnTo>
                  <a:lnTo>
                    <a:pt x="2915" y="316"/>
                  </a:lnTo>
                  <a:lnTo>
                    <a:pt x="2915" y="317"/>
                  </a:lnTo>
                  <a:lnTo>
                    <a:pt x="2915" y="319"/>
                  </a:lnTo>
                  <a:lnTo>
                    <a:pt x="2914" y="322"/>
                  </a:lnTo>
                  <a:lnTo>
                    <a:pt x="2912" y="323"/>
                  </a:lnTo>
                  <a:lnTo>
                    <a:pt x="2912" y="323"/>
                  </a:lnTo>
                  <a:lnTo>
                    <a:pt x="2909" y="325"/>
                  </a:lnTo>
                  <a:lnTo>
                    <a:pt x="2908" y="326"/>
                  </a:lnTo>
                  <a:lnTo>
                    <a:pt x="2906" y="328"/>
                  </a:lnTo>
                  <a:lnTo>
                    <a:pt x="2906" y="331"/>
                  </a:lnTo>
                  <a:lnTo>
                    <a:pt x="2900" y="328"/>
                  </a:lnTo>
                  <a:lnTo>
                    <a:pt x="2897" y="328"/>
                  </a:lnTo>
                  <a:lnTo>
                    <a:pt x="2895" y="331"/>
                  </a:lnTo>
                  <a:lnTo>
                    <a:pt x="2897" y="331"/>
                  </a:lnTo>
                  <a:lnTo>
                    <a:pt x="2908" y="339"/>
                  </a:lnTo>
                  <a:lnTo>
                    <a:pt x="2909" y="339"/>
                  </a:lnTo>
                  <a:lnTo>
                    <a:pt x="2911" y="342"/>
                  </a:lnTo>
                  <a:lnTo>
                    <a:pt x="2917" y="346"/>
                  </a:lnTo>
                  <a:lnTo>
                    <a:pt x="2917" y="348"/>
                  </a:lnTo>
                  <a:lnTo>
                    <a:pt x="2918" y="351"/>
                  </a:lnTo>
                  <a:lnTo>
                    <a:pt x="2920" y="354"/>
                  </a:lnTo>
                  <a:lnTo>
                    <a:pt x="2920" y="356"/>
                  </a:lnTo>
                  <a:lnTo>
                    <a:pt x="2894" y="345"/>
                  </a:lnTo>
                  <a:lnTo>
                    <a:pt x="2891" y="345"/>
                  </a:lnTo>
                  <a:lnTo>
                    <a:pt x="2889" y="346"/>
                  </a:lnTo>
                  <a:lnTo>
                    <a:pt x="2891" y="351"/>
                  </a:lnTo>
                  <a:lnTo>
                    <a:pt x="2892" y="353"/>
                  </a:lnTo>
                  <a:close/>
                  <a:moveTo>
                    <a:pt x="2610" y="614"/>
                  </a:moveTo>
                  <a:lnTo>
                    <a:pt x="2609" y="614"/>
                  </a:lnTo>
                  <a:lnTo>
                    <a:pt x="2607" y="614"/>
                  </a:lnTo>
                  <a:lnTo>
                    <a:pt x="2607" y="616"/>
                  </a:lnTo>
                  <a:lnTo>
                    <a:pt x="2606" y="621"/>
                  </a:lnTo>
                  <a:lnTo>
                    <a:pt x="2604" y="621"/>
                  </a:lnTo>
                  <a:lnTo>
                    <a:pt x="2603" y="624"/>
                  </a:lnTo>
                  <a:lnTo>
                    <a:pt x="2604" y="625"/>
                  </a:lnTo>
                  <a:lnTo>
                    <a:pt x="2606" y="625"/>
                  </a:lnTo>
                  <a:lnTo>
                    <a:pt x="2609" y="625"/>
                  </a:lnTo>
                  <a:lnTo>
                    <a:pt x="2610" y="624"/>
                  </a:lnTo>
                  <a:lnTo>
                    <a:pt x="2612" y="622"/>
                  </a:lnTo>
                  <a:lnTo>
                    <a:pt x="2613" y="619"/>
                  </a:lnTo>
                  <a:lnTo>
                    <a:pt x="2612" y="616"/>
                  </a:lnTo>
                  <a:lnTo>
                    <a:pt x="2612" y="614"/>
                  </a:lnTo>
                  <a:lnTo>
                    <a:pt x="2610" y="614"/>
                  </a:lnTo>
                  <a:close/>
                  <a:moveTo>
                    <a:pt x="2669" y="628"/>
                  </a:moveTo>
                  <a:lnTo>
                    <a:pt x="2663" y="627"/>
                  </a:lnTo>
                  <a:lnTo>
                    <a:pt x="2661" y="627"/>
                  </a:lnTo>
                  <a:lnTo>
                    <a:pt x="2654" y="631"/>
                  </a:lnTo>
                  <a:lnTo>
                    <a:pt x="2654" y="631"/>
                  </a:lnTo>
                  <a:lnTo>
                    <a:pt x="2652" y="634"/>
                  </a:lnTo>
                  <a:lnTo>
                    <a:pt x="2655" y="634"/>
                  </a:lnTo>
                  <a:lnTo>
                    <a:pt x="2663" y="631"/>
                  </a:lnTo>
                  <a:lnTo>
                    <a:pt x="2674" y="634"/>
                  </a:lnTo>
                  <a:lnTo>
                    <a:pt x="2670" y="630"/>
                  </a:lnTo>
                  <a:lnTo>
                    <a:pt x="2669" y="628"/>
                  </a:lnTo>
                  <a:close/>
                  <a:moveTo>
                    <a:pt x="2504" y="131"/>
                  </a:moveTo>
                  <a:lnTo>
                    <a:pt x="2501" y="131"/>
                  </a:lnTo>
                  <a:lnTo>
                    <a:pt x="2501" y="129"/>
                  </a:lnTo>
                  <a:lnTo>
                    <a:pt x="2501" y="125"/>
                  </a:lnTo>
                  <a:lnTo>
                    <a:pt x="2503" y="122"/>
                  </a:lnTo>
                  <a:lnTo>
                    <a:pt x="2501" y="122"/>
                  </a:lnTo>
                  <a:lnTo>
                    <a:pt x="2498" y="119"/>
                  </a:lnTo>
                  <a:lnTo>
                    <a:pt x="2496" y="119"/>
                  </a:lnTo>
                  <a:lnTo>
                    <a:pt x="2496" y="119"/>
                  </a:lnTo>
                  <a:lnTo>
                    <a:pt x="2493" y="122"/>
                  </a:lnTo>
                  <a:lnTo>
                    <a:pt x="2492" y="122"/>
                  </a:lnTo>
                  <a:lnTo>
                    <a:pt x="2492" y="123"/>
                  </a:lnTo>
                  <a:lnTo>
                    <a:pt x="2495" y="123"/>
                  </a:lnTo>
                  <a:lnTo>
                    <a:pt x="2496" y="123"/>
                  </a:lnTo>
                  <a:lnTo>
                    <a:pt x="2498" y="125"/>
                  </a:lnTo>
                  <a:lnTo>
                    <a:pt x="2495" y="128"/>
                  </a:lnTo>
                  <a:lnTo>
                    <a:pt x="2490" y="126"/>
                  </a:lnTo>
                  <a:lnTo>
                    <a:pt x="2470" y="108"/>
                  </a:lnTo>
                  <a:lnTo>
                    <a:pt x="2470" y="106"/>
                  </a:lnTo>
                  <a:lnTo>
                    <a:pt x="2473" y="106"/>
                  </a:lnTo>
                  <a:lnTo>
                    <a:pt x="2475" y="106"/>
                  </a:lnTo>
                  <a:lnTo>
                    <a:pt x="2476" y="105"/>
                  </a:lnTo>
                  <a:lnTo>
                    <a:pt x="2475" y="100"/>
                  </a:lnTo>
                  <a:lnTo>
                    <a:pt x="2470" y="95"/>
                  </a:lnTo>
                  <a:lnTo>
                    <a:pt x="2467" y="94"/>
                  </a:lnTo>
                  <a:lnTo>
                    <a:pt x="2469" y="94"/>
                  </a:lnTo>
                  <a:lnTo>
                    <a:pt x="2472" y="95"/>
                  </a:lnTo>
                  <a:lnTo>
                    <a:pt x="2476" y="99"/>
                  </a:lnTo>
                  <a:lnTo>
                    <a:pt x="2478" y="102"/>
                  </a:lnTo>
                  <a:lnTo>
                    <a:pt x="2479" y="108"/>
                  </a:lnTo>
                  <a:lnTo>
                    <a:pt x="2479" y="109"/>
                  </a:lnTo>
                  <a:lnTo>
                    <a:pt x="2487" y="117"/>
                  </a:lnTo>
                  <a:lnTo>
                    <a:pt x="2487" y="116"/>
                  </a:lnTo>
                  <a:lnTo>
                    <a:pt x="2487" y="112"/>
                  </a:lnTo>
                  <a:lnTo>
                    <a:pt x="2486" y="111"/>
                  </a:lnTo>
                  <a:lnTo>
                    <a:pt x="2484" y="109"/>
                  </a:lnTo>
                  <a:lnTo>
                    <a:pt x="2483" y="108"/>
                  </a:lnTo>
                  <a:lnTo>
                    <a:pt x="2483" y="105"/>
                  </a:lnTo>
                  <a:lnTo>
                    <a:pt x="2481" y="99"/>
                  </a:lnTo>
                  <a:lnTo>
                    <a:pt x="2479" y="95"/>
                  </a:lnTo>
                  <a:lnTo>
                    <a:pt x="2478" y="94"/>
                  </a:lnTo>
                  <a:lnTo>
                    <a:pt x="2467" y="88"/>
                  </a:lnTo>
                  <a:lnTo>
                    <a:pt x="2464" y="86"/>
                  </a:lnTo>
                  <a:lnTo>
                    <a:pt x="2463" y="89"/>
                  </a:lnTo>
                  <a:lnTo>
                    <a:pt x="2463" y="92"/>
                  </a:lnTo>
                  <a:lnTo>
                    <a:pt x="2464" y="95"/>
                  </a:lnTo>
                  <a:lnTo>
                    <a:pt x="2467" y="99"/>
                  </a:lnTo>
                  <a:lnTo>
                    <a:pt x="2466" y="100"/>
                  </a:lnTo>
                  <a:lnTo>
                    <a:pt x="2464" y="99"/>
                  </a:lnTo>
                  <a:lnTo>
                    <a:pt x="2463" y="94"/>
                  </a:lnTo>
                  <a:lnTo>
                    <a:pt x="2459" y="92"/>
                  </a:lnTo>
                  <a:lnTo>
                    <a:pt x="2452" y="91"/>
                  </a:lnTo>
                  <a:lnTo>
                    <a:pt x="2450" y="92"/>
                  </a:lnTo>
                  <a:lnTo>
                    <a:pt x="2449" y="94"/>
                  </a:lnTo>
                  <a:lnTo>
                    <a:pt x="2446" y="95"/>
                  </a:lnTo>
                  <a:lnTo>
                    <a:pt x="2443" y="94"/>
                  </a:lnTo>
                  <a:lnTo>
                    <a:pt x="2441" y="95"/>
                  </a:lnTo>
                  <a:lnTo>
                    <a:pt x="2439" y="97"/>
                  </a:lnTo>
                  <a:lnTo>
                    <a:pt x="2432" y="100"/>
                  </a:lnTo>
                  <a:lnTo>
                    <a:pt x="2429" y="102"/>
                  </a:lnTo>
                  <a:lnTo>
                    <a:pt x="2429" y="105"/>
                  </a:lnTo>
                  <a:lnTo>
                    <a:pt x="2427" y="109"/>
                  </a:lnTo>
                  <a:lnTo>
                    <a:pt x="2429" y="114"/>
                  </a:lnTo>
                  <a:lnTo>
                    <a:pt x="2430" y="119"/>
                  </a:lnTo>
                  <a:lnTo>
                    <a:pt x="2438" y="125"/>
                  </a:lnTo>
                  <a:lnTo>
                    <a:pt x="2446" y="126"/>
                  </a:lnTo>
                  <a:lnTo>
                    <a:pt x="2450" y="123"/>
                  </a:lnTo>
                  <a:lnTo>
                    <a:pt x="2453" y="123"/>
                  </a:lnTo>
                  <a:lnTo>
                    <a:pt x="2456" y="126"/>
                  </a:lnTo>
                  <a:lnTo>
                    <a:pt x="2459" y="129"/>
                  </a:lnTo>
                  <a:lnTo>
                    <a:pt x="2461" y="132"/>
                  </a:lnTo>
                  <a:lnTo>
                    <a:pt x="2463" y="136"/>
                  </a:lnTo>
                  <a:lnTo>
                    <a:pt x="2463" y="137"/>
                  </a:lnTo>
                  <a:lnTo>
                    <a:pt x="2469" y="140"/>
                  </a:lnTo>
                  <a:lnTo>
                    <a:pt x="2470" y="142"/>
                  </a:lnTo>
                  <a:lnTo>
                    <a:pt x="2470" y="145"/>
                  </a:lnTo>
                  <a:lnTo>
                    <a:pt x="2470" y="149"/>
                  </a:lnTo>
                  <a:lnTo>
                    <a:pt x="2470" y="151"/>
                  </a:lnTo>
                  <a:lnTo>
                    <a:pt x="2472" y="154"/>
                  </a:lnTo>
                  <a:lnTo>
                    <a:pt x="2472" y="157"/>
                  </a:lnTo>
                  <a:lnTo>
                    <a:pt x="2472" y="160"/>
                  </a:lnTo>
                  <a:lnTo>
                    <a:pt x="2481" y="166"/>
                  </a:lnTo>
                  <a:lnTo>
                    <a:pt x="2483" y="168"/>
                  </a:lnTo>
                  <a:lnTo>
                    <a:pt x="2484" y="171"/>
                  </a:lnTo>
                  <a:lnTo>
                    <a:pt x="2484" y="174"/>
                  </a:lnTo>
                  <a:lnTo>
                    <a:pt x="2487" y="180"/>
                  </a:lnTo>
                  <a:lnTo>
                    <a:pt x="2487" y="183"/>
                  </a:lnTo>
                  <a:lnTo>
                    <a:pt x="2487" y="188"/>
                  </a:lnTo>
                  <a:lnTo>
                    <a:pt x="2490" y="188"/>
                  </a:lnTo>
                  <a:lnTo>
                    <a:pt x="2495" y="186"/>
                  </a:lnTo>
                  <a:lnTo>
                    <a:pt x="2496" y="182"/>
                  </a:lnTo>
                  <a:lnTo>
                    <a:pt x="2495" y="179"/>
                  </a:lnTo>
                  <a:lnTo>
                    <a:pt x="2492" y="177"/>
                  </a:lnTo>
                  <a:lnTo>
                    <a:pt x="2490" y="172"/>
                  </a:lnTo>
                  <a:lnTo>
                    <a:pt x="2490" y="165"/>
                  </a:lnTo>
                  <a:lnTo>
                    <a:pt x="2490" y="160"/>
                  </a:lnTo>
                  <a:lnTo>
                    <a:pt x="2492" y="160"/>
                  </a:lnTo>
                  <a:lnTo>
                    <a:pt x="2493" y="160"/>
                  </a:lnTo>
                  <a:lnTo>
                    <a:pt x="2495" y="162"/>
                  </a:lnTo>
                  <a:lnTo>
                    <a:pt x="2496" y="160"/>
                  </a:lnTo>
                  <a:lnTo>
                    <a:pt x="2496" y="160"/>
                  </a:lnTo>
                  <a:lnTo>
                    <a:pt x="2498" y="159"/>
                  </a:lnTo>
                  <a:lnTo>
                    <a:pt x="2498" y="157"/>
                  </a:lnTo>
                  <a:lnTo>
                    <a:pt x="2498" y="156"/>
                  </a:lnTo>
                  <a:lnTo>
                    <a:pt x="2498" y="154"/>
                  </a:lnTo>
                  <a:lnTo>
                    <a:pt x="2498" y="151"/>
                  </a:lnTo>
                  <a:lnTo>
                    <a:pt x="2498" y="149"/>
                  </a:lnTo>
                  <a:lnTo>
                    <a:pt x="2501" y="146"/>
                  </a:lnTo>
                  <a:lnTo>
                    <a:pt x="2503" y="142"/>
                  </a:lnTo>
                  <a:lnTo>
                    <a:pt x="2501" y="139"/>
                  </a:lnTo>
                  <a:lnTo>
                    <a:pt x="2501" y="137"/>
                  </a:lnTo>
                  <a:lnTo>
                    <a:pt x="2503" y="136"/>
                  </a:lnTo>
                  <a:lnTo>
                    <a:pt x="2504" y="131"/>
                  </a:lnTo>
                  <a:close/>
                  <a:moveTo>
                    <a:pt x="2630" y="628"/>
                  </a:moveTo>
                  <a:lnTo>
                    <a:pt x="2629" y="628"/>
                  </a:lnTo>
                  <a:lnTo>
                    <a:pt x="2629" y="630"/>
                  </a:lnTo>
                  <a:lnTo>
                    <a:pt x="2629" y="631"/>
                  </a:lnTo>
                  <a:lnTo>
                    <a:pt x="2632" y="633"/>
                  </a:lnTo>
                  <a:lnTo>
                    <a:pt x="2635" y="634"/>
                  </a:lnTo>
                  <a:lnTo>
                    <a:pt x="2637" y="633"/>
                  </a:lnTo>
                  <a:lnTo>
                    <a:pt x="2637" y="631"/>
                  </a:lnTo>
                  <a:lnTo>
                    <a:pt x="2637" y="630"/>
                  </a:lnTo>
                  <a:lnTo>
                    <a:pt x="2634" y="628"/>
                  </a:lnTo>
                  <a:lnTo>
                    <a:pt x="2630" y="628"/>
                  </a:lnTo>
                  <a:close/>
                  <a:moveTo>
                    <a:pt x="2575" y="767"/>
                  </a:moveTo>
                  <a:lnTo>
                    <a:pt x="2575" y="768"/>
                  </a:lnTo>
                  <a:lnTo>
                    <a:pt x="2577" y="770"/>
                  </a:lnTo>
                  <a:lnTo>
                    <a:pt x="2578" y="770"/>
                  </a:lnTo>
                  <a:lnTo>
                    <a:pt x="2584" y="767"/>
                  </a:lnTo>
                  <a:lnTo>
                    <a:pt x="2586" y="767"/>
                  </a:lnTo>
                  <a:lnTo>
                    <a:pt x="2586" y="764"/>
                  </a:lnTo>
                  <a:lnTo>
                    <a:pt x="2586" y="761"/>
                  </a:lnTo>
                  <a:lnTo>
                    <a:pt x="2586" y="758"/>
                  </a:lnTo>
                  <a:lnTo>
                    <a:pt x="2586" y="756"/>
                  </a:lnTo>
                  <a:lnTo>
                    <a:pt x="2584" y="756"/>
                  </a:lnTo>
                  <a:lnTo>
                    <a:pt x="2584" y="756"/>
                  </a:lnTo>
                  <a:lnTo>
                    <a:pt x="2583" y="756"/>
                  </a:lnTo>
                  <a:lnTo>
                    <a:pt x="2583" y="756"/>
                  </a:lnTo>
                  <a:lnTo>
                    <a:pt x="2586" y="755"/>
                  </a:lnTo>
                  <a:lnTo>
                    <a:pt x="2586" y="753"/>
                  </a:lnTo>
                  <a:lnTo>
                    <a:pt x="2586" y="753"/>
                  </a:lnTo>
                  <a:lnTo>
                    <a:pt x="2583" y="753"/>
                  </a:lnTo>
                  <a:lnTo>
                    <a:pt x="2578" y="758"/>
                  </a:lnTo>
                  <a:lnTo>
                    <a:pt x="2577" y="761"/>
                  </a:lnTo>
                  <a:lnTo>
                    <a:pt x="2577" y="764"/>
                  </a:lnTo>
                  <a:lnTo>
                    <a:pt x="2577" y="765"/>
                  </a:lnTo>
                  <a:lnTo>
                    <a:pt x="2575" y="765"/>
                  </a:lnTo>
                  <a:lnTo>
                    <a:pt x="2575" y="767"/>
                  </a:lnTo>
                  <a:close/>
                  <a:moveTo>
                    <a:pt x="1210" y="1488"/>
                  </a:moveTo>
                  <a:lnTo>
                    <a:pt x="1213" y="1488"/>
                  </a:lnTo>
                  <a:lnTo>
                    <a:pt x="1217" y="1494"/>
                  </a:lnTo>
                  <a:lnTo>
                    <a:pt x="1220" y="1495"/>
                  </a:lnTo>
                  <a:lnTo>
                    <a:pt x="1221" y="1495"/>
                  </a:lnTo>
                  <a:lnTo>
                    <a:pt x="1223" y="1494"/>
                  </a:lnTo>
                  <a:lnTo>
                    <a:pt x="1224" y="1491"/>
                  </a:lnTo>
                  <a:lnTo>
                    <a:pt x="1223" y="1488"/>
                  </a:lnTo>
                  <a:lnTo>
                    <a:pt x="1218" y="1484"/>
                  </a:lnTo>
                  <a:lnTo>
                    <a:pt x="1217" y="1483"/>
                  </a:lnTo>
                  <a:lnTo>
                    <a:pt x="1215" y="1481"/>
                  </a:lnTo>
                  <a:lnTo>
                    <a:pt x="1212" y="1481"/>
                  </a:lnTo>
                  <a:lnTo>
                    <a:pt x="1210" y="1483"/>
                  </a:lnTo>
                  <a:lnTo>
                    <a:pt x="1210" y="1486"/>
                  </a:lnTo>
                  <a:lnTo>
                    <a:pt x="1210" y="1488"/>
                  </a:lnTo>
                  <a:close/>
                  <a:moveTo>
                    <a:pt x="1226" y="1357"/>
                  </a:moveTo>
                  <a:lnTo>
                    <a:pt x="1226" y="1357"/>
                  </a:lnTo>
                  <a:lnTo>
                    <a:pt x="1226" y="1357"/>
                  </a:lnTo>
                  <a:lnTo>
                    <a:pt x="1227" y="1357"/>
                  </a:lnTo>
                  <a:lnTo>
                    <a:pt x="1230" y="1355"/>
                  </a:lnTo>
                  <a:lnTo>
                    <a:pt x="1237" y="1355"/>
                  </a:lnTo>
                  <a:lnTo>
                    <a:pt x="1238" y="1354"/>
                  </a:lnTo>
                  <a:lnTo>
                    <a:pt x="1240" y="1352"/>
                  </a:lnTo>
                  <a:lnTo>
                    <a:pt x="1240" y="1351"/>
                  </a:lnTo>
                  <a:lnTo>
                    <a:pt x="1237" y="1351"/>
                  </a:lnTo>
                  <a:lnTo>
                    <a:pt x="1235" y="1352"/>
                  </a:lnTo>
                  <a:lnTo>
                    <a:pt x="1226" y="1352"/>
                  </a:lnTo>
                  <a:lnTo>
                    <a:pt x="1226" y="1351"/>
                  </a:lnTo>
                  <a:lnTo>
                    <a:pt x="1224" y="1351"/>
                  </a:lnTo>
                  <a:lnTo>
                    <a:pt x="1224" y="1351"/>
                  </a:lnTo>
                  <a:lnTo>
                    <a:pt x="1224" y="1349"/>
                  </a:lnTo>
                  <a:lnTo>
                    <a:pt x="1223" y="1347"/>
                  </a:lnTo>
                  <a:lnTo>
                    <a:pt x="1221" y="1347"/>
                  </a:lnTo>
                  <a:lnTo>
                    <a:pt x="1221" y="1346"/>
                  </a:lnTo>
                  <a:lnTo>
                    <a:pt x="1220" y="1347"/>
                  </a:lnTo>
                  <a:lnTo>
                    <a:pt x="1220" y="1346"/>
                  </a:lnTo>
                  <a:lnTo>
                    <a:pt x="1220" y="1346"/>
                  </a:lnTo>
                  <a:lnTo>
                    <a:pt x="1218" y="1346"/>
                  </a:lnTo>
                  <a:lnTo>
                    <a:pt x="1217" y="1347"/>
                  </a:lnTo>
                  <a:lnTo>
                    <a:pt x="1217" y="1349"/>
                  </a:lnTo>
                  <a:lnTo>
                    <a:pt x="1217" y="1352"/>
                  </a:lnTo>
                  <a:lnTo>
                    <a:pt x="1217" y="1354"/>
                  </a:lnTo>
                  <a:lnTo>
                    <a:pt x="1223" y="1355"/>
                  </a:lnTo>
                  <a:lnTo>
                    <a:pt x="1223" y="1357"/>
                  </a:lnTo>
                  <a:lnTo>
                    <a:pt x="1224" y="1357"/>
                  </a:lnTo>
                  <a:lnTo>
                    <a:pt x="1226" y="1357"/>
                  </a:lnTo>
                  <a:close/>
                  <a:moveTo>
                    <a:pt x="1213" y="1375"/>
                  </a:moveTo>
                  <a:lnTo>
                    <a:pt x="1215" y="1375"/>
                  </a:lnTo>
                  <a:lnTo>
                    <a:pt x="1218" y="1375"/>
                  </a:lnTo>
                  <a:lnTo>
                    <a:pt x="1221" y="1375"/>
                  </a:lnTo>
                  <a:lnTo>
                    <a:pt x="1223" y="1374"/>
                  </a:lnTo>
                  <a:lnTo>
                    <a:pt x="1223" y="1372"/>
                  </a:lnTo>
                  <a:lnTo>
                    <a:pt x="1223" y="1371"/>
                  </a:lnTo>
                  <a:lnTo>
                    <a:pt x="1221" y="1371"/>
                  </a:lnTo>
                  <a:lnTo>
                    <a:pt x="1221" y="1369"/>
                  </a:lnTo>
                  <a:lnTo>
                    <a:pt x="1221" y="1369"/>
                  </a:lnTo>
                  <a:lnTo>
                    <a:pt x="1220" y="1369"/>
                  </a:lnTo>
                  <a:lnTo>
                    <a:pt x="1218" y="1369"/>
                  </a:lnTo>
                  <a:lnTo>
                    <a:pt x="1218" y="1369"/>
                  </a:lnTo>
                  <a:lnTo>
                    <a:pt x="1215" y="1369"/>
                  </a:lnTo>
                  <a:lnTo>
                    <a:pt x="1213" y="1371"/>
                  </a:lnTo>
                  <a:lnTo>
                    <a:pt x="1213" y="1372"/>
                  </a:lnTo>
                  <a:lnTo>
                    <a:pt x="1213" y="1374"/>
                  </a:lnTo>
                  <a:lnTo>
                    <a:pt x="1213" y="1375"/>
                  </a:lnTo>
                  <a:lnTo>
                    <a:pt x="1213" y="1375"/>
                  </a:lnTo>
                  <a:close/>
                  <a:moveTo>
                    <a:pt x="1508" y="1432"/>
                  </a:moveTo>
                  <a:lnTo>
                    <a:pt x="1506" y="1434"/>
                  </a:lnTo>
                  <a:lnTo>
                    <a:pt x="1506" y="1435"/>
                  </a:lnTo>
                  <a:lnTo>
                    <a:pt x="1506" y="1435"/>
                  </a:lnTo>
                  <a:lnTo>
                    <a:pt x="1508" y="1435"/>
                  </a:lnTo>
                  <a:lnTo>
                    <a:pt x="1509" y="1434"/>
                  </a:lnTo>
                  <a:lnTo>
                    <a:pt x="1512" y="1437"/>
                  </a:lnTo>
                  <a:lnTo>
                    <a:pt x="1514" y="1438"/>
                  </a:lnTo>
                  <a:lnTo>
                    <a:pt x="1520" y="1438"/>
                  </a:lnTo>
                  <a:lnTo>
                    <a:pt x="1523" y="1440"/>
                  </a:lnTo>
                  <a:lnTo>
                    <a:pt x="1523" y="1441"/>
                  </a:lnTo>
                  <a:lnTo>
                    <a:pt x="1526" y="1444"/>
                  </a:lnTo>
                  <a:lnTo>
                    <a:pt x="1528" y="1446"/>
                  </a:lnTo>
                  <a:lnTo>
                    <a:pt x="1529" y="1451"/>
                  </a:lnTo>
                  <a:lnTo>
                    <a:pt x="1534" y="1454"/>
                  </a:lnTo>
                  <a:lnTo>
                    <a:pt x="1543" y="1454"/>
                  </a:lnTo>
                  <a:lnTo>
                    <a:pt x="1551" y="1455"/>
                  </a:lnTo>
                  <a:lnTo>
                    <a:pt x="1552" y="1455"/>
                  </a:lnTo>
                  <a:lnTo>
                    <a:pt x="1552" y="1454"/>
                  </a:lnTo>
                  <a:lnTo>
                    <a:pt x="1552" y="1452"/>
                  </a:lnTo>
                  <a:lnTo>
                    <a:pt x="1552" y="1452"/>
                  </a:lnTo>
                  <a:lnTo>
                    <a:pt x="1552" y="1451"/>
                  </a:lnTo>
                  <a:lnTo>
                    <a:pt x="1552" y="1449"/>
                  </a:lnTo>
                  <a:lnTo>
                    <a:pt x="1551" y="1448"/>
                  </a:lnTo>
                  <a:lnTo>
                    <a:pt x="1548" y="1446"/>
                  </a:lnTo>
                  <a:lnTo>
                    <a:pt x="1545" y="1446"/>
                  </a:lnTo>
                  <a:lnTo>
                    <a:pt x="1542" y="1443"/>
                  </a:lnTo>
                  <a:lnTo>
                    <a:pt x="1538" y="1440"/>
                  </a:lnTo>
                  <a:lnTo>
                    <a:pt x="1538" y="1435"/>
                  </a:lnTo>
                  <a:lnTo>
                    <a:pt x="1537" y="1434"/>
                  </a:lnTo>
                  <a:lnTo>
                    <a:pt x="1535" y="1432"/>
                  </a:lnTo>
                  <a:lnTo>
                    <a:pt x="1532" y="1431"/>
                  </a:lnTo>
                  <a:lnTo>
                    <a:pt x="1529" y="1431"/>
                  </a:lnTo>
                  <a:lnTo>
                    <a:pt x="1525" y="1432"/>
                  </a:lnTo>
                  <a:lnTo>
                    <a:pt x="1521" y="1432"/>
                  </a:lnTo>
                  <a:lnTo>
                    <a:pt x="1520" y="1431"/>
                  </a:lnTo>
                  <a:lnTo>
                    <a:pt x="1518" y="1429"/>
                  </a:lnTo>
                  <a:lnTo>
                    <a:pt x="1517" y="1429"/>
                  </a:lnTo>
                  <a:lnTo>
                    <a:pt x="1512" y="1429"/>
                  </a:lnTo>
                  <a:lnTo>
                    <a:pt x="1508" y="1432"/>
                  </a:lnTo>
                  <a:close/>
                  <a:moveTo>
                    <a:pt x="950" y="987"/>
                  </a:moveTo>
                  <a:lnTo>
                    <a:pt x="950" y="987"/>
                  </a:lnTo>
                  <a:lnTo>
                    <a:pt x="949" y="987"/>
                  </a:lnTo>
                  <a:lnTo>
                    <a:pt x="949" y="990"/>
                  </a:lnTo>
                  <a:lnTo>
                    <a:pt x="949" y="992"/>
                  </a:lnTo>
                  <a:lnTo>
                    <a:pt x="950" y="992"/>
                  </a:lnTo>
                  <a:lnTo>
                    <a:pt x="950" y="992"/>
                  </a:lnTo>
                  <a:lnTo>
                    <a:pt x="952" y="995"/>
                  </a:lnTo>
                  <a:lnTo>
                    <a:pt x="953" y="993"/>
                  </a:lnTo>
                  <a:lnTo>
                    <a:pt x="953" y="990"/>
                  </a:lnTo>
                  <a:lnTo>
                    <a:pt x="952" y="989"/>
                  </a:lnTo>
                  <a:lnTo>
                    <a:pt x="950" y="987"/>
                  </a:lnTo>
                  <a:close/>
                  <a:moveTo>
                    <a:pt x="3102" y="3003"/>
                  </a:moveTo>
                  <a:lnTo>
                    <a:pt x="3103" y="3001"/>
                  </a:lnTo>
                  <a:lnTo>
                    <a:pt x="3105" y="3000"/>
                  </a:lnTo>
                  <a:lnTo>
                    <a:pt x="3108" y="2998"/>
                  </a:lnTo>
                  <a:lnTo>
                    <a:pt x="3113" y="3000"/>
                  </a:lnTo>
                  <a:lnTo>
                    <a:pt x="3114" y="3001"/>
                  </a:lnTo>
                  <a:lnTo>
                    <a:pt x="3117" y="3006"/>
                  </a:lnTo>
                  <a:lnTo>
                    <a:pt x="3117" y="3006"/>
                  </a:lnTo>
                  <a:lnTo>
                    <a:pt x="3123" y="3007"/>
                  </a:lnTo>
                  <a:lnTo>
                    <a:pt x="3123" y="3012"/>
                  </a:lnTo>
                  <a:lnTo>
                    <a:pt x="3123" y="3012"/>
                  </a:lnTo>
                  <a:lnTo>
                    <a:pt x="3125" y="3014"/>
                  </a:lnTo>
                  <a:lnTo>
                    <a:pt x="3126" y="3014"/>
                  </a:lnTo>
                  <a:lnTo>
                    <a:pt x="3128" y="3012"/>
                  </a:lnTo>
                  <a:lnTo>
                    <a:pt x="3128" y="3011"/>
                  </a:lnTo>
                  <a:lnTo>
                    <a:pt x="3128" y="3007"/>
                  </a:lnTo>
                  <a:lnTo>
                    <a:pt x="3136" y="3007"/>
                  </a:lnTo>
                  <a:lnTo>
                    <a:pt x="3136" y="3009"/>
                  </a:lnTo>
                  <a:lnTo>
                    <a:pt x="3137" y="3009"/>
                  </a:lnTo>
                  <a:lnTo>
                    <a:pt x="3139" y="3009"/>
                  </a:lnTo>
                  <a:lnTo>
                    <a:pt x="3140" y="3007"/>
                  </a:lnTo>
                  <a:lnTo>
                    <a:pt x="3140" y="3006"/>
                  </a:lnTo>
                  <a:lnTo>
                    <a:pt x="3142" y="3007"/>
                  </a:lnTo>
                  <a:lnTo>
                    <a:pt x="3143" y="3007"/>
                  </a:lnTo>
                  <a:lnTo>
                    <a:pt x="3143" y="3011"/>
                  </a:lnTo>
                  <a:lnTo>
                    <a:pt x="3143" y="3012"/>
                  </a:lnTo>
                  <a:lnTo>
                    <a:pt x="3145" y="3014"/>
                  </a:lnTo>
                  <a:lnTo>
                    <a:pt x="3146" y="3014"/>
                  </a:lnTo>
                  <a:lnTo>
                    <a:pt x="3148" y="3015"/>
                  </a:lnTo>
                  <a:lnTo>
                    <a:pt x="3149" y="3015"/>
                  </a:lnTo>
                  <a:lnTo>
                    <a:pt x="3149" y="456"/>
                  </a:lnTo>
                  <a:lnTo>
                    <a:pt x="3139" y="456"/>
                  </a:lnTo>
                  <a:lnTo>
                    <a:pt x="3113" y="448"/>
                  </a:lnTo>
                  <a:lnTo>
                    <a:pt x="3109" y="447"/>
                  </a:lnTo>
                  <a:lnTo>
                    <a:pt x="3106" y="444"/>
                  </a:lnTo>
                  <a:lnTo>
                    <a:pt x="3105" y="442"/>
                  </a:lnTo>
                  <a:lnTo>
                    <a:pt x="3094" y="440"/>
                  </a:lnTo>
                  <a:lnTo>
                    <a:pt x="3092" y="439"/>
                  </a:lnTo>
                  <a:lnTo>
                    <a:pt x="3091" y="437"/>
                  </a:lnTo>
                  <a:lnTo>
                    <a:pt x="3091" y="434"/>
                  </a:lnTo>
                  <a:lnTo>
                    <a:pt x="3089" y="433"/>
                  </a:lnTo>
                  <a:lnTo>
                    <a:pt x="3089" y="433"/>
                  </a:lnTo>
                  <a:lnTo>
                    <a:pt x="3086" y="436"/>
                  </a:lnTo>
                  <a:lnTo>
                    <a:pt x="3085" y="437"/>
                  </a:lnTo>
                  <a:lnTo>
                    <a:pt x="3083" y="437"/>
                  </a:lnTo>
                  <a:lnTo>
                    <a:pt x="3080" y="434"/>
                  </a:lnTo>
                  <a:lnTo>
                    <a:pt x="3077" y="433"/>
                  </a:lnTo>
                  <a:lnTo>
                    <a:pt x="3065" y="436"/>
                  </a:lnTo>
                  <a:lnTo>
                    <a:pt x="3062" y="439"/>
                  </a:lnTo>
                  <a:lnTo>
                    <a:pt x="3060" y="442"/>
                  </a:lnTo>
                  <a:lnTo>
                    <a:pt x="3059" y="447"/>
                  </a:lnTo>
                  <a:lnTo>
                    <a:pt x="3059" y="450"/>
                  </a:lnTo>
                  <a:lnTo>
                    <a:pt x="3059" y="454"/>
                  </a:lnTo>
                  <a:lnTo>
                    <a:pt x="3060" y="457"/>
                  </a:lnTo>
                  <a:lnTo>
                    <a:pt x="3062" y="459"/>
                  </a:lnTo>
                  <a:lnTo>
                    <a:pt x="3060" y="462"/>
                  </a:lnTo>
                  <a:lnTo>
                    <a:pt x="3059" y="462"/>
                  </a:lnTo>
                  <a:lnTo>
                    <a:pt x="3057" y="460"/>
                  </a:lnTo>
                  <a:lnTo>
                    <a:pt x="3056" y="460"/>
                  </a:lnTo>
                  <a:lnTo>
                    <a:pt x="3054" y="464"/>
                  </a:lnTo>
                  <a:lnTo>
                    <a:pt x="3056" y="465"/>
                  </a:lnTo>
                  <a:lnTo>
                    <a:pt x="3057" y="467"/>
                  </a:lnTo>
                  <a:lnTo>
                    <a:pt x="3057" y="470"/>
                  </a:lnTo>
                  <a:lnTo>
                    <a:pt x="3057" y="473"/>
                  </a:lnTo>
                  <a:lnTo>
                    <a:pt x="3056" y="474"/>
                  </a:lnTo>
                  <a:lnTo>
                    <a:pt x="3025" y="476"/>
                  </a:lnTo>
                  <a:lnTo>
                    <a:pt x="3022" y="479"/>
                  </a:lnTo>
                  <a:lnTo>
                    <a:pt x="3019" y="484"/>
                  </a:lnTo>
                  <a:lnTo>
                    <a:pt x="3020" y="487"/>
                  </a:lnTo>
                  <a:lnTo>
                    <a:pt x="3019" y="490"/>
                  </a:lnTo>
                  <a:lnTo>
                    <a:pt x="3019" y="494"/>
                  </a:lnTo>
                  <a:lnTo>
                    <a:pt x="3019" y="496"/>
                  </a:lnTo>
                  <a:lnTo>
                    <a:pt x="3022" y="497"/>
                  </a:lnTo>
                  <a:lnTo>
                    <a:pt x="3023" y="499"/>
                  </a:lnTo>
                  <a:lnTo>
                    <a:pt x="3025" y="500"/>
                  </a:lnTo>
                  <a:lnTo>
                    <a:pt x="3023" y="502"/>
                  </a:lnTo>
                  <a:lnTo>
                    <a:pt x="3023" y="504"/>
                  </a:lnTo>
                  <a:lnTo>
                    <a:pt x="3023" y="505"/>
                  </a:lnTo>
                  <a:lnTo>
                    <a:pt x="3025" y="505"/>
                  </a:lnTo>
                  <a:lnTo>
                    <a:pt x="3028" y="511"/>
                  </a:lnTo>
                  <a:lnTo>
                    <a:pt x="3031" y="521"/>
                  </a:lnTo>
                  <a:lnTo>
                    <a:pt x="3032" y="522"/>
                  </a:lnTo>
                  <a:lnTo>
                    <a:pt x="3039" y="531"/>
                  </a:lnTo>
                  <a:lnTo>
                    <a:pt x="3039" y="533"/>
                  </a:lnTo>
                  <a:lnTo>
                    <a:pt x="3040" y="534"/>
                  </a:lnTo>
                  <a:lnTo>
                    <a:pt x="3040" y="537"/>
                  </a:lnTo>
                  <a:lnTo>
                    <a:pt x="3040" y="539"/>
                  </a:lnTo>
                  <a:lnTo>
                    <a:pt x="3040" y="541"/>
                  </a:lnTo>
                  <a:lnTo>
                    <a:pt x="3043" y="545"/>
                  </a:lnTo>
                  <a:lnTo>
                    <a:pt x="3046" y="547"/>
                  </a:lnTo>
                  <a:lnTo>
                    <a:pt x="3048" y="550"/>
                  </a:lnTo>
                  <a:lnTo>
                    <a:pt x="3049" y="554"/>
                  </a:lnTo>
                  <a:lnTo>
                    <a:pt x="3051" y="559"/>
                  </a:lnTo>
                  <a:lnTo>
                    <a:pt x="3051" y="562"/>
                  </a:lnTo>
                  <a:lnTo>
                    <a:pt x="3052" y="565"/>
                  </a:lnTo>
                  <a:lnTo>
                    <a:pt x="3051" y="577"/>
                  </a:lnTo>
                  <a:lnTo>
                    <a:pt x="3051" y="581"/>
                  </a:lnTo>
                  <a:lnTo>
                    <a:pt x="3051" y="585"/>
                  </a:lnTo>
                  <a:lnTo>
                    <a:pt x="3051" y="588"/>
                  </a:lnTo>
                  <a:lnTo>
                    <a:pt x="3054" y="591"/>
                  </a:lnTo>
                  <a:lnTo>
                    <a:pt x="3057" y="594"/>
                  </a:lnTo>
                  <a:lnTo>
                    <a:pt x="3060" y="594"/>
                  </a:lnTo>
                  <a:lnTo>
                    <a:pt x="3063" y="591"/>
                  </a:lnTo>
                  <a:lnTo>
                    <a:pt x="3062" y="591"/>
                  </a:lnTo>
                  <a:lnTo>
                    <a:pt x="3062" y="590"/>
                  </a:lnTo>
                  <a:lnTo>
                    <a:pt x="3062" y="588"/>
                  </a:lnTo>
                  <a:lnTo>
                    <a:pt x="3062" y="587"/>
                  </a:lnTo>
                  <a:lnTo>
                    <a:pt x="3062" y="584"/>
                  </a:lnTo>
                  <a:lnTo>
                    <a:pt x="3062" y="582"/>
                  </a:lnTo>
                  <a:lnTo>
                    <a:pt x="3062" y="579"/>
                  </a:lnTo>
                  <a:lnTo>
                    <a:pt x="3065" y="579"/>
                  </a:lnTo>
                  <a:lnTo>
                    <a:pt x="3071" y="584"/>
                  </a:lnTo>
                  <a:lnTo>
                    <a:pt x="3074" y="591"/>
                  </a:lnTo>
                  <a:lnTo>
                    <a:pt x="3077" y="599"/>
                  </a:lnTo>
                  <a:lnTo>
                    <a:pt x="3077" y="602"/>
                  </a:lnTo>
                  <a:lnTo>
                    <a:pt x="3077" y="608"/>
                  </a:lnTo>
                  <a:lnTo>
                    <a:pt x="3077" y="610"/>
                  </a:lnTo>
                  <a:lnTo>
                    <a:pt x="3079" y="613"/>
                  </a:lnTo>
                  <a:lnTo>
                    <a:pt x="3079" y="616"/>
                  </a:lnTo>
                  <a:lnTo>
                    <a:pt x="3079" y="619"/>
                  </a:lnTo>
                  <a:lnTo>
                    <a:pt x="3077" y="624"/>
                  </a:lnTo>
                  <a:lnTo>
                    <a:pt x="3077" y="628"/>
                  </a:lnTo>
                  <a:lnTo>
                    <a:pt x="3076" y="631"/>
                  </a:lnTo>
                  <a:lnTo>
                    <a:pt x="3076" y="633"/>
                  </a:lnTo>
                  <a:lnTo>
                    <a:pt x="3077" y="634"/>
                  </a:lnTo>
                  <a:lnTo>
                    <a:pt x="3079" y="634"/>
                  </a:lnTo>
                  <a:lnTo>
                    <a:pt x="3080" y="636"/>
                  </a:lnTo>
                  <a:lnTo>
                    <a:pt x="3072" y="636"/>
                  </a:lnTo>
                  <a:lnTo>
                    <a:pt x="3068" y="638"/>
                  </a:lnTo>
                  <a:lnTo>
                    <a:pt x="3065" y="642"/>
                  </a:lnTo>
                  <a:lnTo>
                    <a:pt x="3063" y="644"/>
                  </a:lnTo>
                  <a:lnTo>
                    <a:pt x="3062" y="651"/>
                  </a:lnTo>
                  <a:lnTo>
                    <a:pt x="3060" y="654"/>
                  </a:lnTo>
                  <a:lnTo>
                    <a:pt x="3049" y="668"/>
                  </a:lnTo>
                  <a:lnTo>
                    <a:pt x="3042" y="673"/>
                  </a:lnTo>
                  <a:lnTo>
                    <a:pt x="3014" y="681"/>
                  </a:lnTo>
                  <a:lnTo>
                    <a:pt x="3009" y="679"/>
                  </a:lnTo>
                  <a:lnTo>
                    <a:pt x="3003" y="673"/>
                  </a:lnTo>
                  <a:lnTo>
                    <a:pt x="3002" y="673"/>
                  </a:lnTo>
                  <a:lnTo>
                    <a:pt x="2994" y="681"/>
                  </a:lnTo>
                  <a:lnTo>
                    <a:pt x="2991" y="684"/>
                  </a:lnTo>
                  <a:lnTo>
                    <a:pt x="2989" y="690"/>
                  </a:lnTo>
                  <a:lnTo>
                    <a:pt x="2991" y="693"/>
                  </a:lnTo>
                  <a:lnTo>
                    <a:pt x="2992" y="695"/>
                  </a:lnTo>
                  <a:lnTo>
                    <a:pt x="2994" y="696"/>
                  </a:lnTo>
                  <a:lnTo>
                    <a:pt x="2999" y="702"/>
                  </a:lnTo>
                  <a:lnTo>
                    <a:pt x="3002" y="711"/>
                  </a:lnTo>
                  <a:lnTo>
                    <a:pt x="3003" y="715"/>
                  </a:lnTo>
                  <a:lnTo>
                    <a:pt x="3005" y="724"/>
                  </a:lnTo>
                  <a:lnTo>
                    <a:pt x="3005" y="724"/>
                  </a:lnTo>
                  <a:lnTo>
                    <a:pt x="3005" y="725"/>
                  </a:lnTo>
                  <a:lnTo>
                    <a:pt x="3000" y="738"/>
                  </a:lnTo>
                  <a:lnTo>
                    <a:pt x="2997" y="742"/>
                  </a:lnTo>
                  <a:lnTo>
                    <a:pt x="2983" y="751"/>
                  </a:lnTo>
                  <a:lnTo>
                    <a:pt x="2962" y="745"/>
                  </a:lnTo>
                  <a:lnTo>
                    <a:pt x="2942" y="738"/>
                  </a:lnTo>
                  <a:lnTo>
                    <a:pt x="2940" y="736"/>
                  </a:lnTo>
                  <a:lnTo>
                    <a:pt x="2938" y="731"/>
                  </a:lnTo>
                  <a:lnTo>
                    <a:pt x="2938" y="727"/>
                  </a:lnTo>
                  <a:lnTo>
                    <a:pt x="2938" y="722"/>
                  </a:lnTo>
                  <a:lnTo>
                    <a:pt x="2940" y="718"/>
                  </a:lnTo>
                  <a:lnTo>
                    <a:pt x="2942" y="715"/>
                  </a:lnTo>
                  <a:lnTo>
                    <a:pt x="2942" y="713"/>
                  </a:lnTo>
                  <a:lnTo>
                    <a:pt x="2942" y="711"/>
                  </a:lnTo>
                  <a:lnTo>
                    <a:pt x="2942" y="710"/>
                  </a:lnTo>
                  <a:lnTo>
                    <a:pt x="2940" y="708"/>
                  </a:lnTo>
                  <a:lnTo>
                    <a:pt x="2940" y="707"/>
                  </a:lnTo>
                  <a:lnTo>
                    <a:pt x="2938" y="705"/>
                  </a:lnTo>
                  <a:lnTo>
                    <a:pt x="2938" y="702"/>
                  </a:lnTo>
                  <a:lnTo>
                    <a:pt x="2938" y="698"/>
                  </a:lnTo>
                  <a:lnTo>
                    <a:pt x="2937" y="696"/>
                  </a:lnTo>
                  <a:lnTo>
                    <a:pt x="2937" y="695"/>
                  </a:lnTo>
                  <a:lnTo>
                    <a:pt x="2938" y="693"/>
                  </a:lnTo>
                  <a:lnTo>
                    <a:pt x="2940" y="691"/>
                  </a:lnTo>
                  <a:lnTo>
                    <a:pt x="2942" y="690"/>
                  </a:lnTo>
                  <a:lnTo>
                    <a:pt x="2943" y="688"/>
                  </a:lnTo>
                  <a:lnTo>
                    <a:pt x="2945" y="684"/>
                  </a:lnTo>
                  <a:lnTo>
                    <a:pt x="2946" y="679"/>
                  </a:lnTo>
                  <a:lnTo>
                    <a:pt x="2948" y="676"/>
                  </a:lnTo>
                  <a:lnTo>
                    <a:pt x="2951" y="674"/>
                  </a:lnTo>
                  <a:lnTo>
                    <a:pt x="2954" y="674"/>
                  </a:lnTo>
                  <a:lnTo>
                    <a:pt x="2958" y="678"/>
                  </a:lnTo>
                  <a:lnTo>
                    <a:pt x="2963" y="678"/>
                  </a:lnTo>
                  <a:lnTo>
                    <a:pt x="2965" y="674"/>
                  </a:lnTo>
                  <a:lnTo>
                    <a:pt x="2965" y="667"/>
                  </a:lnTo>
                  <a:lnTo>
                    <a:pt x="2965" y="664"/>
                  </a:lnTo>
                  <a:lnTo>
                    <a:pt x="2942" y="636"/>
                  </a:lnTo>
                  <a:lnTo>
                    <a:pt x="2931" y="630"/>
                  </a:lnTo>
                  <a:lnTo>
                    <a:pt x="2925" y="630"/>
                  </a:lnTo>
                  <a:lnTo>
                    <a:pt x="2928" y="625"/>
                  </a:lnTo>
                  <a:lnTo>
                    <a:pt x="2931" y="624"/>
                  </a:lnTo>
                  <a:lnTo>
                    <a:pt x="2943" y="621"/>
                  </a:lnTo>
                  <a:lnTo>
                    <a:pt x="2945" y="619"/>
                  </a:lnTo>
                  <a:lnTo>
                    <a:pt x="2946" y="619"/>
                  </a:lnTo>
                  <a:lnTo>
                    <a:pt x="2949" y="619"/>
                  </a:lnTo>
                  <a:lnTo>
                    <a:pt x="2951" y="619"/>
                  </a:lnTo>
                  <a:lnTo>
                    <a:pt x="2949" y="616"/>
                  </a:lnTo>
                  <a:lnTo>
                    <a:pt x="2948" y="616"/>
                  </a:lnTo>
                  <a:lnTo>
                    <a:pt x="2925" y="616"/>
                  </a:lnTo>
                  <a:lnTo>
                    <a:pt x="2903" y="625"/>
                  </a:lnTo>
                  <a:lnTo>
                    <a:pt x="2881" y="634"/>
                  </a:lnTo>
                  <a:lnTo>
                    <a:pt x="2880" y="636"/>
                  </a:lnTo>
                  <a:lnTo>
                    <a:pt x="2878" y="638"/>
                  </a:lnTo>
                  <a:lnTo>
                    <a:pt x="2878" y="639"/>
                  </a:lnTo>
                  <a:lnTo>
                    <a:pt x="2880" y="641"/>
                  </a:lnTo>
                  <a:lnTo>
                    <a:pt x="2880" y="644"/>
                  </a:lnTo>
                  <a:lnTo>
                    <a:pt x="2878" y="645"/>
                  </a:lnTo>
                  <a:lnTo>
                    <a:pt x="2878" y="645"/>
                  </a:lnTo>
                  <a:lnTo>
                    <a:pt x="2878" y="647"/>
                  </a:lnTo>
                  <a:lnTo>
                    <a:pt x="2878" y="647"/>
                  </a:lnTo>
                  <a:lnTo>
                    <a:pt x="2877" y="648"/>
                  </a:lnTo>
                  <a:lnTo>
                    <a:pt x="2878" y="650"/>
                  </a:lnTo>
                  <a:lnTo>
                    <a:pt x="2878" y="650"/>
                  </a:lnTo>
                  <a:lnTo>
                    <a:pt x="2880" y="651"/>
                  </a:lnTo>
                  <a:lnTo>
                    <a:pt x="2880" y="651"/>
                  </a:lnTo>
                  <a:lnTo>
                    <a:pt x="2880" y="653"/>
                  </a:lnTo>
                  <a:lnTo>
                    <a:pt x="2880" y="653"/>
                  </a:lnTo>
                  <a:lnTo>
                    <a:pt x="2880" y="654"/>
                  </a:lnTo>
                  <a:lnTo>
                    <a:pt x="2880" y="654"/>
                  </a:lnTo>
                  <a:lnTo>
                    <a:pt x="2880" y="656"/>
                  </a:lnTo>
                  <a:lnTo>
                    <a:pt x="2880" y="658"/>
                  </a:lnTo>
                  <a:lnTo>
                    <a:pt x="2881" y="659"/>
                  </a:lnTo>
                  <a:lnTo>
                    <a:pt x="2883" y="661"/>
                  </a:lnTo>
                  <a:lnTo>
                    <a:pt x="2886" y="661"/>
                  </a:lnTo>
                  <a:lnTo>
                    <a:pt x="2888" y="662"/>
                  </a:lnTo>
                  <a:lnTo>
                    <a:pt x="2889" y="664"/>
                  </a:lnTo>
                  <a:lnTo>
                    <a:pt x="2891" y="665"/>
                  </a:lnTo>
                  <a:lnTo>
                    <a:pt x="2891" y="670"/>
                  </a:lnTo>
                  <a:lnTo>
                    <a:pt x="2888" y="671"/>
                  </a:lnTo>
                  <a:lnTo>
                    <a:pt x="2883" y="670"/>
                  </a:lnTo>
                  <a:lnTo>
                    <a:pt x="2886" y="667"/>
                  </a:lnTo>
                  <a:lnTo>
                    <a:pt x="2883" y="664"/>
                  </a:lnTo>
                  <a:lnTo>
                    <a:pt x="2880" y="662"/>
                  </a:lnTo>
                  <a:lnTo>
                    <a:pt x="2878" y="661"/>
                  </a:lnTo>
                  <a:lnTo>
                    <a:pt x="2877" y="659"/>
                  </a:lnTo>
                  <a:lnTo>
                    <a:pt x="2875" y="654"/>
                  </a:lnTo>
                  <a:lnTo>
                    <a:pt x="2874" y="651"/>
                  </a:lnTo>
                  <a:lnTo>
                    <a:pt x="2874" y="651"/>
                  </a:lnTo>
                  <a:lnTo>
                    <a:pt x="2874" y="650"/>
                  </a:lnTo>
                  <a:lnTo>
                    <a:pt x="2875" y="647"/>
                  </a:lnTo>
                  <a:lnTo>
                    <a:pt x="2877" y="642"/>
                  </a:lnTo>
                  <a:lnTo>
                    <a:pt x="2877" y="639"/>
                  </a:lnTo>
                  <a:lnTo>
                    <a:pt x="2875" y="638"/>
                  </a:lnTo>
                  <a:lnTo>
                    <a:pt x="2871" y="639"/>
                  </a:lnTo>
                  <a:lnTo>
                    <a:pt x="2857" y="647"/>
                  </a:lnTo>
                  <a:lnTo>
                    <a:pt x="2855" y="648"/>
                  </a:lnTo>
                  <a:lnTo>
                    <a:pt x="2855" y="651"/>
                  </a:lnTo>
                  <a:lnTo>
                    <a:pt x="2855" y="654"/>
                  </a:lnTo>
                  <a:lnTo>
                    <a:pt x="2855" y="656"/>
                  </a:lnTo>
                  <a:lnTo>
                    <a:pt x="2857" y="658"/>
                  </a:lnTo>
                  <a:lnTo>
                    <a:pt x="2857" y="659"/>
                  </a:lnTo>
                  <a:lnTo>
                    <a:pt x="2854" y="667"/>
                  </a:lnTo>
                  <a:lnTo>
                    <a:pt x="2829" y="670"/>
                  </a:lnTo>
                  <a:lnTo>
                    <a:pt x="2828" y="671"/>
                  </a:lnTo>
                  <a:lnTo>
                    <a:pt x="2826" y="678"/>
                  </a:lnTo>
                  <a:lnTo>
                    <a:pt x="2824" y="681"/>
                  </a:lnTo>
                  <a:lnTo>
                    <a:pt x="2820" y="685"/>
                  </a:lnTo>
                  <a:lnTo>
                    <a:pt x="2818" y="690"/>
                  </a:lnTo>
                  <a:lnTo>
                    <a:pt x="2815" y="699"/>
                  </a:lnTo>
                  <a:lnTo>
                    <a:pt x="2812" y="702"/>
                  </a:lnTo>
                  <a:lnTo>
                    <a:pt x="2809" y="705"/>
                  </a:lnTo>
                  <a:lnTo>
                    <a:pt x="2791" y="708"/>
                  </a:lnTo>
                  <a:lnTo>
                    <a:pt x="2774" y="704"/>
                  </a:lnTo>
                  <a:lnTo>
                    <a:pt x="2761" y="691"/>
                  </a:lnTo>
                  <a:lnTo>
                    <a:pt x="2760" y="690"/>
                  </a:lnTo>
                  <a:lnTo>
                    <a:pt x="2757" y="690"/>
                  </a:lnTo>
                  <a:lnTo>
                    <a:pt x="2754" y="690"/>
                  </a:lnTo>
                  <a:lnTo>
                    <a:pt x="2752" y="691"/>
                  </a:lnTo>
                  <a:lnTo>
                    <a:pt x="2747" y="699"/>
                  </a:lnTo>
                  <a:lnTo>
                    <a:pt x="2746" y="701"/>
                  </a:lnTo>
                  <a:lnTo>
                    <a:pt x="2749" y="695"/>
                  </a:lnTo>
                  <a:lnTo>
                    <a:pt x="2747" y="693"/>
                  </a:lnTo>
                  <a:lnTo>
                    <a:pt x="2724" y="695"/>
                  </a:lnTo>
                  <a:lnTo>
                    <a:pt x="2721" y="693"/>
                  </a:lnTo>
                  <a:lnTo>
                    <a:pt x="2714" y="687"/>
                  </a:lnTo>
                  <a:lnTo>
                    <a:pt x="2709" y="685"/>
                  </a:lnTo>
                  <a:lnTo>
                    <a:pt x="2706" y="687"/>
                  </a:lnTo>
                  <a:lnTo>
                    <a:pt x="2694" y="699"/>
                  </a:lnTo>
                  <a:lnTo>
                    <a:pt x="2687" y="704"/>
                  </a:lnTo>
                  <a:lnTo>
                    <a:pt x="2680" y="704"/>
                  </a:lnTo>
                  <a:lnTo>
                    <a:pt x="2672" y="704"/>
                  </a:lnTo>
                  <a:lnTo>
                    <a:pt x="2664" y="705"/>
                  </a:lnTo>
                  <a:lnTo>
                    <a:pt x="2652" y="713"/>
                  </a:lnTo>
                  <a:lnTo>
                    <a:pt x="2652" y="715"/>
                  </a:lnTo>
                  <a:lnTo>
                    <a:pt x="2652" y="716"/>
                  </a:lnTo>
                  <a:lnTo>
                    <a:pt x="2650" y="718"/>
                  </a:lnTo>
                  <a:lnTo>
                    <a:pt x="2650" y="719"/>
                  </a:lnTo>
                  <a:lnTo>
                    <a:pt x="2649" y="721"/>
                  </a:lnTo>
                  <a:lnTo>
                    <a:pt x="2643" y="722"/>
                  </a:lnTo>
                  <a:lnTo>
                    <a:pt x="2643" y="724"/>
                  </a:lnTo>
                  <a:lnTo>
                    <a:pt x="2640" y="730"/>
                  </a:lnTo>
                  <a:lnTo>
                    <a:pt x="2640" y="730"/>
                  </a:lnTo>
                  <a:lnTo>
                    <a:pt x="2637" y="730"/>
                  </a:lnTo>
                  <a:lnTo>
                    <a:pt x="2635" y="731"/>
                  </a:lnTo>
                  <a:lnTo>
                    <a:pt x="2630" y="739"/>
                  </a:lnTo>
                  <a:lnTo>
                    <a:pt x="2630" y="742"/>
                  </a:lnTo>
                  <a:lnTo>
                    <a:pt x="2629" y="744"/>
                  </a:lnTo>
                  <a:lnTo>
                    <a:pt x="2629" y="750"/>
                  </a:lnTo>
                  <a:lnTo>
                    <a:pt x="2629" y="753"/>
                  </a:lnTo>
                  <a:lnTo>
                    <a:pt x="2627" y="755"/>
                  </a:lnTo>
                  <a:lnTo>
                    <a:pt x="2624" y="755"/>
                  </a:lnTo>
                  <a:lnTo>
                    <a:pt x="2626" y="758"/>
                  </a:lnTo>
                  <a:lnTo>
                    <a:pt x="2627" y="761"/>
                  </a:lnTo>
                  <a:lnTo>
                    <a:pt x="2629" y="762"/>
                  </a:lnTo>
                  <a:lnTo>
                    <a:pt x="2630" y="768"/>
                  </a:lnTo>
                  <a:lnTo>
                    <a:pt x="2629" y="772"/>
                  </a:lnTo>
                  <a:lnTo>
                    <a:pt x="2627" y="775"/>
                  </a:lnTo>
                  <a:lnTo>
                    <a:pt x="2627" y="776"/>
                  </a:lnTo>
                  <a:lnTo>
                    <a:pt x="2626" y="779"/>
                  </a:lnTo>
                  <a:lnTo>
                    <a:pt x="2626" y="782"/>
                  </a:lnTo>
                  <a:lnTo>
                    <a:pt x="2624" y="784"/>
                  </a:lnTo>
                  <a:lnTo>
                    <a:pt x="2623" y="784"/>
                  </a:lnTo>
                  <a:lnTo>
                    <a:pt x="2617" y="785"/>
                  </a:lnTo>
                  <a:lnTo>
                    <a:pt x="2612" y="784"/>
                  </a:lnTo>
                  <a:lnTo>
                    <a:pt x="2609" y="781"/>
                  </a:lnTo>
                  <a:lnTo>
                    <a:pt x="2603" y="761"/>
                  </a:lnTo>
                  <a:lnTo>
                    <a:pt x="2601" y="758"/>
                  </a:lnTo>
                  <a:lnTo>
                    <a:pt x="2598" y="756"/>
                  </a:lnTo>
                  <a:lnTo>
                    <a:pt x="2595" y="758"/>
                  </a:lnTo>
                  <a:lnTo>
                    <a:pt x="2578" y="776"/>
                  </a:lnTo>
                  <a:lnTo>
                    <a:pt x="2577" y="778"/>
                  </a:lnTo>
                  <a:lnTo>
                    <a:pt x="2573" y="772"/>
                  </a:lnTo>
                  <a:lnTo>
                    <a:pt x="2573" y="767"/>
                  </a:lnTo>
                  <a:lnTo>
                    <a:pt x="2575" y="762"/>
                  </a:lnTo>
                  <a:lnTo>
                    <a:pt x="2577" y="756"/>
                  </a:lnTo>
                  <a:lnTo>
                    <a:pt x="2575" y="755"/>
                  </a:lnTo>
                  <a:lnTo>
                    <a:pt x="2572" y="759"/>
                  </a:lnTo>
                  <a:lnTo>
                    <a:pt x="2567" y="770"/>
                  </a:lnTo>
                  <a:lnTo>
                    <a:pt x="2564" y="773"/>
                  </a:lnTo>
                  <a:lnTo>
                    <a:pt x="2560" y="775"/>
                  </a:lnTo>
                  <a:lnTo>
                    <a:pt x="2553" y="775"/>
                  </a:lnTo>
                  <a:lnTo>
                    <a:pt x="2552" y="775"/>
                  </a:lnTo>
                  <a:lnTo>
                    <a:pt x="2549" y="770"/>
                  </a:lnTo>
                  <a:lnTo>
                    <a:pt x="2547" y="768"/>
                  </a:lnTo>
                  <a:lnTo>
                    <a:pt x="2521" y="767"/>
                  </a:lnTo>
                  <a:lnTo>
                    <a:pt x="2515" y="770"/>
                  </a:lnTo>
                  <a:lnTo>
                    <a:pt x="2510" y="770"/>
                  </a:lnTo>
                  <a:lnTo>
                    <a:pt x="2504" y="768"/>
                  </a:lnTo>
                  <a:lnTo>
                    <a:pt x="2503" y="765"/>
                  </a:lnTo>
                  <a:lnTo>
                    <a:pt x="2504" y="759"/>
                  </a:lnTo>
                  <a:lnTo>
                    <a:pt x="2509" y="753"/>
                  </a:lnTo>
                  <a:lnTo>
                    <a:pt x="2510" y="750"/>
                  </a:lnTo>
                  <a:lnTo>
                    <a:pt x="2510" y="748"/>
                  </a:lnTo>
                  <a:lnTo>
                    <a:pt x="2512" y="748"/>
                  </a:lnTo>
                  <a:lnTo>
                    <a:pt x="2513" y="751"/>
                  </a:lnTo>
                  <a:lnTo>
                    <a:pt x="2515" y="751"/>
                  </a:lnTo>
                  <a:lnTo>
                    <a:pt x="2516" y="747"/>
                  </a:lnTo>
                  <a:lnTo>
                    <a:pt x="2518" y="745"/>
                  </a:lnTo>
                  <a:lnTo>
                    <a:pt x="2520" y="744"/>
                  </a:lnTo>
                  <a:lnTo>
                    <a:pt x="2527" y="747"/>
                  </a:lnTo>
                  <a:lnTo>
                    <a:pt x="2533" y="751"/>
                  </a:lnTo>
                  <a:lnTo>
                    <a:pt x="2535" y="753"/>
                  </a:lnTo>
                  <a:lnTo>
                    <a:pt x="2538" y="750"/>
                  </a:lnTo>
                  <a:lnTo>
                    <a:pt x="2536" y="747"/>
                  </a:lnTo>
                  <a:lnTo>
                    <a:pt x="2535" y="745"/>
                  </a:lnTo>
                  <a:lnTo>
                    <a:pt x="2535" y="744"/>
                  </a:lnTo>
                  <a:lnTo>
                    <a:pt x="2533" y="742"/>
                  </a:lnTo>
                  <a:lnTo>
                    <a:pt x="2529" y="739"/>
                  </a:lnTo>
                  <a:lnTo>
                    <a:pt x="2532" y="736"/>
                  </a:lnTo>
                  <a:lnTo>
                    <a:pt x="2535" y="738"/>
                  </a:lnTo>
                  <a:lnTo>
                    <a:pt x="2541" y="744"/>
                  </a:lnTo>
                  <a:lnTo>
                    <a:pt x="2546" y="750"/>
                  </a:lnTo>
                  <a:lnTo>
                    <a:pt x="2546" y="750"/>
                  </a:lnTo>
                  <a:lnTo>
                    <a:pt x="2547" y="748"/>
                  </a:lnTo>
                  <a:lnTo>
                    <a:pt x="2549" y="744"/>
                  </a:lnTo>
                  <a:lnTo>
                    <a:pt x="2550" y="742"/>
                  </a:lnTo>
                  <a:lnTo>
                    <a:pt x="2553" y="742"/>
                  </a:lnTo>
                  <a:lnTo>
                    <a:pt x="2556" y="741"/>
                  </a:lnTo>
                  <a:lnTo>
                    <a:pt x="2556" y="738"/>
                  </a:lnTo>
                  <a:lnTo>
                    <a:pt x="2556" y="736"/>
                  </a:lnTo>
                  <a:lnTo>
                    <a:pt x="2555" y="733"/>
                  </a:lnTo>
                  <a:lnTo>
                    <a:pt x="2555" y="730"/>
                  </a:lnTo>
                  <a:lnTo>
                    <a:pt x="2555" y="725"/>
                  </a:lnTo>
                  <a:lnTo>
                    <a:pt x="2555" y="721"/>
                  </a:lnTo>
                  <a:lnTo>
                    <a:pt x="2553" y="718"/>
                  </a:lnTo>
                  <a:lnTo>
                    <a:pt x="2553" y="715"/>
                  </a:lnTo>
                  <a:lnTo>
                    <a:pt x="2552" y="711"/>
                  </a:lnTo>
                  <a:lnTo>
                    <a:pt x="2547" y="705"/>
                  </a:lnTo>
                  <a:lnTo>
                    <a:pt x="2546" y="701"/>
                  </a:lnTo>
                  <a:lnTo>
                    <a:pt x="2543" y="696"/>
                  </a:lnTo>
                  <a:lnTo>
                    <a:pt x="2541" y="691"/>
                  </a:lnTo>
                  <a:lnTo>
                    <a:pt x="2540" y="687"/>
                  </a:lnTo>
                  <a:lnTo>
                    <a:pt x="2543" y="685"/>
                  </a:lnTo>
                  <a:lnTo>
                    <a:pt x="2546" y="684"/>
                  </a:lnTo>
                  <a:lnTo>
                    <a:pt x="2547" y="681"/>
                  </a:lnTo>
                  <a:lnTo>
                    <a:pt x="2549" y="674"/>
                  </a:lnTo>
                  <a:lnTo>
                    <a:pt x="2549" y="670"/>
                  </a:lnTo>
                  <a:lnTo>
                    <a:pt x="2549" y="665"/>
                  </a:lnTo>
                  <a:lnTo>
                    <a:pt x="2549" y="665"/>
                  </a:lnTo>
                  <a:lnTo>
                    <a:pt x="2549" y="664"/>
                  </a:lnTo>
                  <a:lnTo>
                    <a:pt x="2550" y="658"/>
                  </a:lnTo>
                  <a:lnTo>
                    <a:pt x="2552" y="656"/>
                  </a:lnTo>
                  <a:lnTo>
                    <a:pt x="2553" y="656"/>
                  </a:lnTo>
                  <a:lnTo>
                    <a:pt x="2555" y="654"/>
                  </a:lnTo>
                  <a:lnTo>
                    <a:pt x="2556" y="654"/>
                  </a:lnTo>
                  <a:lnTo>
                    <a:pt x="2563" y="648"/>
                  </a:lnTo>
                  <a:lnTo>
                    <a:pt x="2561" y="644"/>
                  </a:lnTo>
                  <a:lnTo>
                    <a:pt x="2558" y="642"/>
                  </a:lnTo>
                  <a:lnTo>
                    <a:pt x="2541" y="638"/>
                  </a:lnTo>
                  <a:lnTo>
                    <a:pt x="2538" y="639"/>
                  </a:lnTo>
                  <a:lnTo>
                    <a:pt x="2538" y="641"/>
                  </a:lnTo>
                  <a:lnTo>
                    <a:pt x="2540" y="641"/>
                  </a:lnTo>
                  <a:lnTo>
                    <a:pt x="2540" y="642"/>
                  </a:lnTo>
                  <a:lnTo>
                    <a:pt x="2541" y="644"/>
                  </a:lnTo>
                  <a:lnTo>
                    <a:pt x="2540" y="645"/>
                  </a:lnTo>
                  <a:lnTo>
                    <a:pt x="2536" y="644"/>
                  </a:lnTo>
                  <a:lnTo>
                    <a:pt x="2533" y="641"/>
                  </a:lnTo>
                  <a:lnTo>
                    <a:pt x="2533" y="638"/>
                  </a:lnTo>
                  <a:lnTo>
                    <a:pt x="2532" y="638"/>
                  </a:lnTo>
                  <a:lnTo>
                    <a:pt x="2530" y="636"/>
                  </a:lnTo>
                  <a:lnTo>
                    <a:pt x="2532" y="634"/>
                  </a:lnTo>
                  <a:lnTo>
                    <a:pt x="2560" y="630"/>
                  </a:lnTo>
                  <a:lnTo>
                    <a:pt x="2587" y="625"/>
                  </a:lnTo>
                  <a:lnTo>
                    <a:pt x="2592" y="621"/>
                  </a:lnTo>
                  <a:lnTo>
                    <a:pt x="2598" y="619"/>
                  </a:lnTo>
                  <a:lnTo>
                    <a:pt x="2600" y="621"/>
                  </a:lnTo>
                  <a:lnTo>
                    <a:pt x="2600" y="621"/>
                  </a:lnTo>
                  <a:lnTo>
                    <a:pt x="2600" y="621"/>
                  </a:lnTo>
                  <a:lnTo>
                    <a:pt x="2601" y="619"/>
                  </a:lnTo>
                  <a:lnTo>
                    <a:pt x="2601" y="619"/>
                  </a:lnTo>
                  <a:lnTo>
                    <a:pt x="2603" y="618"/>
                  </a:lnTo>
                  <a:lnTo>
                    <a:pt x="2603" y="616"/>
                  </a:lnTo>
                  <a:lnTo>
                    <a:pt x="2603" y="614"/>
                  </a:lnTo>
                  <a:lnTo>
                    <a:pt x="2600" y="614"/>
                  </a:lnTo>
                  <a:lnTo>
                    <a:pt x="2587" y="613"/>
                  </a:lnTo>
                  <a:lnTo>
                    <a:pt x="2583" y="616"/>
                  </a:lnTo>
                  <a:lnTo>
                    <a:pt x="2569" y="616"/>
                  </a:lnTo>
                  <a:lnTo>
                    <a:pt x="2552" y="622"/>
                  </a:lnTo>
                  <a:lnTo>
                    <a:pt x="2520" y="633"/>
                  </a:lnTo>
                  <a:lnTo>
                    <a:pt x="2512" y="639"/>
                  </a:lnTo>
                  <a:lnTo>
                    <a:pt x="2506" y="641"/>
                  </a:lnTo>
                  <a:lnTo>
                    <a:pt x="2498" y="648"/>
                  </a:lnTo>
                  <a:lnTo>
                    <a:pt x="2492" y="651"/>
                  </a:lnTo>
                  <a:lnTo>
                    <a:pt x="2483" y="659"/>
                  </a:lnTo>
                  <a:lnTo>
                    <a:pt x="2472" y="664"/>
                  </a:lnTo>
                  <a:lnTo>
                    <a:pt x="2446" y="687"/>
                  </a:lnTo>
                  <a:lnTo>
                    <a:pt x="2439" y="688"/>
                  </a:lnTo>
                  <a:lnTo>
                    <a:pt x="2436" y="691"/>
                  </a:lnTo>
                  <a:lnTo>
                    <a:pt x="2433" y="695"/>
                  </a:lnTo>
                  <a:lnTo>
                    <a:pt x="2433" y="699"/>
                  </a:lnTo>
                  <a:lnTo>
                    <a:pt x="2435" y="701"/>
                  </a:lnTo>
                  <a:lnTo>
                    <a:pt x="2443" y="701"/>
                  </a:lnTo>
                  <a:lnTo>
                    <a:pt x="2444" y="701"/>
                  </a:lnTo>
                  <a:lnTo>
                    <a:pt x="2446" y="698"/>
                  </a:lnTo>
                  <a:lnTo>
                    <a:pt x="2447" y="691"/>
                  </a:lnTo>
                  <a:lnTo>
                    <a:pt x="2449" y="690"/>
                  </a:lnTo>
                  <a:lnTo>
                    <a:pt x="2450" y="690"/>
                  </a:lnTo>
                  <a:lnTo>
                    <a:pt x="2453" y="688"/>
                  </a:lnTo>
                  <a:lnTo>
                    <a:pt x="2458" y="687"/>
                  </a:lnTo>
                  <a:lnTo>
                    <a:pt x="2459" y="687"/>
                  </a:lnTo>
                  <a:lnTo>
                    <a:pt x="2459" y="688"/>
                  </a:lnTo>
                  <a:lnTo>
                    <a:pt x="2459" y="691"/>
                  </a:lnTo>
                  <a:lnTo>
                    <a:pt x="2458" y="693"/>
                  </a:lnTo>
                  <a:lnTo>
                    <a:pt x="2456" y="693"/>
                  </a:lnTo>
                  <a:lnTo>
                    <a:pt x="2449" y="695"/>
                  </a:lnTo>
                  <a:lnTo>
                    <a:pt x="2449" y="696"/>
                  </a:lnTo>
                  <a:lnTo>
                    <a:pt x="2449" y="698"/>
                  </a:lnTo>
                  <a:lnTo>
                    <a:pt x="2449" y="701"/>
                  </a:lnTo>
                  <a:lnTo>
                    <a:pt x="2452" y="704"/>
                  </a:lnTo>
                  <a:lnTo>
                    <a:pt x="2452" y="705"/>
                  </a:lnTo>
                  <a:lnTo>
                    <a:pt x="2452" y="707"/>
                  </a:lnTo>
                  <a:lnTo>
                    <a:pt x="2453" y="708"/>
                  </a:lnTo>
                  <a:lnTo>
                    <a:pt x="2453" y="710"/>
                  </a:lnTo>
                  <a:lnTo>
                    <a:pt x="2455" y="711"/>
                  </a:lnTo>
                  <a:lnTo>
                    <a:pt x="2456" y="715"/>
                  </a:lnTo>
                  <a:lnTo>
                    <a:pt x="2463" y="716"/>
                  </a:lnTo>
                  <a:lnTo>
                    <a:pt x="2464" y="718"/>
                  </a:lnTo>
                  <a:lnTo>
                    <a:pt x="2466" y="721"/>
                  </a:lnTo>
                  <a:lnTo>
                    <a:pt x="2467" y="724"/>
                  </a:lnTo>
                  <a:lnTo>
                    <a:pt x="2466" y="727"/>
                  </a:lnTo>
                  <a:lnTo>
                    <a:pt x="2466" y="730"/>
                  </a:lnTo>
                  <a:lnTo>
                    <a:pt x="2463" y="735"/>
                  </a:lnTo>
                  <a:lnTo>
                    <a:pt x="2458" y="735"/>
                  </a:lnTo>
                  <a:lnTo>
                    <a:pt x="2455" y="738"/>
                  </a:lnTo>
                  <a:lnTo>
                    <a:pt x="2447" y="747"/>
                  </a:lnTo>
                  <a:lnTo>
                    <a:pt x="2446" y="748"/>
                  </a:lnTo>
                  <a:lnTo>
                    <a:pt x="2443" y="750"/>
                  </a:lnTo>
                  <a:lnTo>
                    <a:pt x="2443" y="751"/>
                  </a:lnTo>
                  <a:lnTo>
                    <a:pt x="2438" y="751"/>
                  </a:lnTo>
                  <a:lnTo>
                    <a:pt x="2436" y="753"/>
                  </a:lnTo>
                  <a:lnTo>
                    <a:pt x="2433" y="755"/>
                  </a:lnTo>
                  <a:lnTo>
                    <a:pt x="2432" y="756"/>
                  </a:lnTo>
                  <a:lnTo>
                    <a:pt x="2430" y="756"/>
                  </a:lnTo>
                  <a:lnTo>
                    <a:pt x="2424" y="745"/>
                  </a:lnTo>
                  <a:lnTo>
                    <a:pt x="2422" y="744"/>
                  </a:lnTo>
                  <a:lnTo>
                    <a:pt x="2424" y="739"/>
                  </a:lnTo>
                  <a:lnTo>
                    <a:pt x="2432" y="738"/>
                  </a:lnTo>
                  <a:lnTo>
                    <a:pt x="2433" y="735"/>
                  </a:lnTo>
                  <a:lnTo>
                    <a:pt x="2435" y="731"/>
                  </a:lnTo>
                  <a:lnTo>
                    <a:pt x="2435" y="730"/>
                  </a:lnTo>
                  <a:lnTo>
                    <a:pt x="2433" y="728"/>
                  </a:lnTo>
                  <a:lnTo>
                    <a:pt x="2433" y="727"/>
                  </a:lnTo>
                  <a:lnTo>
                    <a:pt x="2435" y="724"/>
                  </a:lnTo>
                  <a:lnTo>
                    <a:pt x="2436" y="724"/>
                  </a:lnTo>
                  <a:lnTo>
                    <a:pt x="2438" y="724"/>
                  </a:lnTo>
                  <a:lnTo>
                    <a:pt x="2439" y="724"/>
                  </a:lnTo>
                  <a:lnTo>
                    <a:pt x="2436" y="721"/>
                  </a:lnTo>
                  <a:lnTo>
                    <a:pt x="2433" y="719"/>
                  </a:lnTo>
                  <a:lnTo>
                    <a:pt x="2426" y="718"/>
                  </a:lnTo>
                  <a:lnTo>
                    <a:pt x="2419" y="721"/>
                  </a:lnTo>
                  <a:lnTo>
                    <a:pt x="2416" y="722"/>
                  </a:lnTo>
                  <a:lnTo>
                    <a:pt x="2416" y="722"/>
                  </a:lnTo>
                  <a:lnTo>
                    <a:pt x="2416" y="721"/>
                  </a:lnTo>
                  <a:lnTo>
                    <a:pt x="2415" y="718"/>
                  </a:lnTo>
                  <a:lnTo>
                    <a:pt x="2415" y="716"/>
                  </a:lnTo>
                  <a:lnTo>
                    <a:pt x="2416" y="716"/>
                  </a:lnTo>
                  <a:lnTo>
                    <a:pt x="2421" y="715"/>
                  </a:lnTo>
                  <a:lnTo>
                    <a:pt x="2426" y="710"/>
                  </a:lnTo>
                  <a:lnTo>
                    <a:pt x="2427" y="707"/>
                  </a:lnTo>
                  <a:lnTo>
                    <a:pt x="2429" y="701"/>
                  </a:lnTo>
                  <a:lnTo>
                    <a:pt x="2426" y="702"/>
                  </a:lnTo>
                  <a:lnTo>
                    <a:pt x="2416" y="710"/>
                  </a:lnTo>
                  <a:lnTo>
                    <a:pt x="2390" y="721"/>
                  </a:lnTo>
                  <a:lnTo>
                    <a:pt x="2382" y="721"/>
                  </a:lnTo>
                  <a:lnTo>
                    <a:pt x="2379" y="722"/>
                  </a:lnTo>
                  <a:lnTo>
                    <a:pt x="2378" y="728"/>
                  </a:lnTo>
                  <a:lnTo>
                    <a:pt x="2381" y="730"/>
                  </a:lnTo>
                  <a:lnTo>
                    <a:pt x="2381" y="730"/>
                  </a:lnTo>
                  <a:lnTo>
                    <a:pt x="2379" y="731"/>
                  </a:lnTo>
                  <a:lnTo>
                    <a:pt x="2376" y="735"/>
                  </a:lnTo>
                  <a:lnTo>
                    <a:pt x="2375" y="735"/>
                  </a:lnTo>
                  <a:lnTo>
                    <a:pt x="2370" y="731"/>
                  </a:lnTo>
                  <a:lnTo>
                    <a:pt x="2369" y="733"/>
                  </a:lnTo>
                  <a:lnTo>
                    <a:pt x="2362" y="739"/>
                  </a:lnTo>
                  <a:lnTo>
                    <a:pt x="2352" y="742"/>
                  </a:lnTo>
                  <a:lnTo>
                    <a:pt x="2349" y="744"/>
                  </a:lnTo>
                  <a:lnTo>
                    <a:pt x="2347" y="744"/>
                  </a:lnTo>
                  <a:lnTo>
                    <a:pt x="2344" y="747"/>
                  </a:lnTo>
                  <a:lnTo>
                    <a:pt x="2342" y="748"/>
                  </a:lnTo>
                  <a:lnTo>
                    <a:pt x="2333" y="751"/>
                  </a:lnTo>
                  <a:lnTo>
                    <a:pt x="2330" y="750"/>
                  </a:lnTo>
                  <a:lnTo>
                    <a:pt x="2325" y="748"/>
                  </a:lnTo>
                  <a:lnTo>
                    <a:pt x="2322" y="744"/>
                  </a:lnTo>
                  <a:lnTo>
                    <a:pt x="2321" y="744"/>
                  </a:lnTo>
                  <a:lnTo>
                    <a:pt x="2319" y="745"/>
                  </a:lnTo>
                  <a:lnTo>
                    <a:pt x="2318" y="750"/>
                  </a:lnTo>
                  <a:lnTo>
                    <a:pt x="2315" y="753"/>
                  </a:lnTo>
                  <a:lnTo>
                    <a:pt x="2312" y="759"/>
                  </a:lnTo>
                  <a:lnTo>
                    <a:pt x="2295" y="775"/>
                  </a:lnTo>
                  <a:lnTo>
                    <a:pt x="2290" y="778"/>
                  </a:lnTo>
                  <a:lnTo>
                    <a:pt x="2282" y="784"/>
                  </a:lnTo>
                  <a:lnTo>
                    <a:pt x="2278" y="785"/>
                  </a:lnTo>
                  <a:lnTo>
                    <a:pt x="2270" y="795"/>
                  </a:lnTo>
                  <a:lnTo>
                    <a:pt x="2268" y="799"/>
                  </a:lnTo>
                  <a:lnTo>
                    <a:pt x="2267" y="801"/>
                  </a:lnTo>
                  <a:lnTo>
                    <a:pt x="2264" y="807"/>
                  </a:lnTo>
                  <a:lnTo>
                    <a:pt x="2252" y="816"/>
                  </a:lnTo>
                  <a:lnTo>
                    <a:pt x="2255" y="812"/>
                  </a:lnTo>
                  <a:lnTo>
                    <a:pt x="2262" y="807"/>
                  </a:lnTo>
                  <a:lnTo>
                    <a:pt x="2264" y="801"/>
                  </a:lnTo>
                  <a:lnTo>
                    <a:pt x="2261" y="801"/>
                  </a:lnTo>
                  <a:lnTo>
                    <a:pt x="2248" y="812"/>
                  </a:lnTo>
                  <a:lnTo>
                    <a:pt x="2238" y="822"/>
                  </a:lnTo>
                  <a:lnTo>
                    <a:pt x="2227" y="828"/>
                  </a:lnTo>
                  <a:lnTo>
                    <a:pt x="2213" y="839"/>
                  </a:lnTo>
                  <a:lnTo>
                    <a:pt x="2202" y="844"/>
                  </a:lnTo>
                  <a:lnTo>
                    <a:pt x="2199" y="845"/>
                  </a:lnTo>
                  <a:lnTo>
                    <a:pt x="2187" y="849"/>
                  </a:lnTo>
                  <a:lnTo>
                    <a:pt x="2178" y="845"/>
                  </a:lnTo>
                  <a:lnTo>
                    <a:pt x="2173" y="842"/>
                  </a:lnTo>
                  <a:lnTo>
                    <a:pt x="2164" y="832"/>
                  </a:lnTo>
                  <a:lnTo>
                    <a:pt x="2161" y="830"/>
                  </a:lnTo>
                  <a:lnTo>
                    <a:pt x="2158" y="832"/>
                  </a:lnTo>
                  <a:lnTo>
                    <a:pt x="2173" y="853"/>
                  </a:lnTo>
                  <a:lnTo>
                    <a:pt x="2173" y="861"/>
                  </a:lnTo>
                  <a:lnTo>
                    <a:pt x="2175" y="864"/>
                  </a:lnTo>
                  <a:lnTo>
                    <a:pt x="2173" y="865"/>
                  </a:lnTo>
                  <a:lnTo>
                    <a:pt x="2173" y="867"/>
                  </a:lnTo>
                  <a:lnTo>
                    <a:pt x="2171" y="870"/>
                  </a:lnTo>
                  <a:lnTo>
                    <a:pt x="2171" y="873"/>
                  </a:lnTo>
                  <a:lnTo>
                    <a:pt x="2175" y="873"/>
                  </a:lnTo>
                  <a:lnTo>
                    <a:pt x="2178" y="872"/>
                  </a:lnTo>
                  <a:lnTo>
                    <a:pt x="2179" y="873"/>
                  </a:lnTo>
                  <a:lnTo>
                    <a:pt x="2182" y="878"/>
                  </a:lnTo>
                  <a:lnTo>
                    <a:pt x="2184" y="878"/>
                  </a:lnTo>
                  <a:lnTo>
                    <a:pt x="2187" y="879"/>
                  </a:lnTo>
                  <a:lnTo>
                    <a:pt x="2193" y="884"/>
                  </a:lnTo>
                  <a:lnTo>
                    <a:pt x="2193" y="884"/>
                  </a:lnTo>
                  <a:lnTo>
                    <a:pt x="2191" y="887"/>
                  </a:lnTo>
                  <a:lnTo>
                    <a:pt x="2191" y="887"/>
                  </a:lnTo>
                  <a:lnTo>
                    <a:pt x="2193" y="887"/>
                  </a:lnTo>
                  <a:lnTo>
                    <a:pt x="2195" y="889"/>
                  </a:lnTo>
                  <a:lnTo>
                    <a:pt x="2196" y="890"/>
                  </a:lnTo>
                  <a:lnTo>
                    <a:pt x="2195" y="892"/>
                  </a:lnTo>
                  <a:lnTo>
                    <a:pt x="2191" y="892"/>
                  </a:lnTo>
                  <a:lnTo>
                    <a:pt x="2188" y="890"/>
                  </a:lnTo>
                  <a:lnTo>
                    <a:pt x="2185" y="887"/>
                  </a:lnTo>
                  <a:lnTo>
                    <a:pt x="2188" y="884"/>
                  </a:lnTo>
                  <a:lnTo>
                    <a:pt x="2184" y="881"/>
                  </a:lnTo>
                  <a:lnTo>
                    <a:pt x="2167" y="879"/>
                  </a:lnTo>
                  <a:lnTo>
                    <a:pt x="2167" y="878"/>
                  </a:lnTo>
                  <a:lnTo>
                    <a:pt x="2168" y="878"/>
                  </a:lnTo>
                  <a:lnTo>
                    <a:pt x="2168" y="878"/>
                  </a:lnTo>
                  <a:lnTo>
                    <a:pt x="2170" y="878"/>
                  </a:lnTo>
                  <a:lnTo>
                    <a:pt x="2167" y="875"/>
                  </a:lnTo>
                  <a:lnTo>
                    <a:pt x="2164" y="876"/>
                  </a:lnTo>
                  <a:lnTo>
                    <a:pt x="2153" y="884"/>
                  </a:lnTo>
                  <a:lnTo>
                    <a:pt x="2150" y="885"/>
                  </a:lnTo>
                  <a:lnTo>
                    <a:pt x="2147" y="884"/>
                  </a:lnTo>
                  <a:lnTo>
                    <a:pt x="2141" y="881"/>
                  </a:lnTo>
                  <a:lnTo>
                    <a:pt x="2138" y="879"/>
                  </a:lnTo>
                  <a:lnTo>
                    <a:pt x="2133" y="881"/>
                  </a:lnTo>
                  <a:lnTo>
                    <a:pt x="2130" y="885"/>
                  </a:lnTo>
                  <a:lnTo>
                    <a:pt x="2130" y="887"/>
                  </a:lnTo>
                  <a:lnTo>
                    <a:pt x="2125" y="892"/>
                  </a:lnTo>
                  <a:lnTo>
                    <a:pt x="2122" y="898"/>
                  </a:lnTo>
                  <a:lnTo>
                    <a:pt x="2121" y="899"/>
                  </a:lnTo>
                  <a:lnTo>
                    <a:pt x="2119" y="899"/>
                  </a:lnTo>
                  <a:lnTo>
                    <a:pt x="2119" y="896"/>
                  </a:lnTo>
                  <a:lnTo>
                    <a:pt x="2121" y="895"/>
                  </a:lnTo>
                  <a:lnTo>
                    <a:pt x="2121" y="892"/>
                  </a:lnTo>
                  <a:lnTo>
                    <a:pt x="2122" y="890"/>
                  </a:lnTo>
                  <a:lnTo>
                    <a:pt x="2118" y="887"/>
                  </a:lnTo>
                  <a:lnTo>
                    <a:pt x="2114" y="889"/>
                  </a:lnTo>
                  <a:lnTo>
                    <a:pt x="2102" y="898"/>
                  </a:lnTo>
                  <a:lnTo>
                    <a:pt x="2101" y="901"/>
                  </a:lnTo>
                  <a:lnTo>
                    <a:pt x="2101" y="905"/>
                  </a:lnTo>
                  <a:lnTo>
                    <a:pt x="2108" y="919"/>
                  </a:lnTo>
                  <a:lnTo>
                    <a:pt x="2110" y="924"/>
                  </a:lnTo>
                  <a:lnTo>
                    <a:pt x="2110" y="929"/>
                  </a:lnTo>
                  <a:lnTo>
                    <a:pt x="2110" y="932"/>
                  </a:lnTo>
                  <a:lnTo>
                    <a:pt x="2107" y="936"/>
                  </a:lnTo>
                  <a:lnTo>
                    <a:pt x="2099" y="944"/>
                  </a:lnTo>
                  <a:lnTo>
                    <a:pt x="2098" y="949"/>
                  </a:lnTo>
                  <a:lnTo>
                    <a:pt x="2098" y="949"/>
                  </a:lnTo>
                  <a:lnTo>
                    <a:pt x="2098" y="953"/>
                  </a:lnTo>
                  <a:lnTo>
                    <a:pt x="2098" y="956"/>
                  </a:lnTo>
                  <a:lnTo>
                    <a:pt x="2098" y="956"/>
                  </a:lnTo>
                  <a:lnTo>
                    <a:pt x="2099" y="961"/>
                  </a:lnTo>
                  <a:lnTo>
                    <a:pt x="2099" y="962"/>
                  </a:lnTo>
                  <a:lnTo>
                    <a:pt x="2099" y="966"/>
                  </a:lnTo>
                  <a:lnTo>
                    <a:pt x="2098" y="967"/>
                  </a:lnTo>
                  <a:lnTo>
                    <a:pt x="2091" y="975"/>
                  </a:lnTo>
                  <a:lnTo>
                    <a:pt x="2091" y="976"/>
                  </a:lnTo>
                  <a:lnTo>
                    <a:pt x="2091" y="979"/>
                  </a:lnTo>
                  <a:lnTo>
                    <a:pt x="2091" y="981"/>
                  </a:lnTo>
                  <a:lnTo>
                    <a:pt x="2094" y="986"/>
                  </a:lnTo>
                  <a:lnTo>
                    <a:pt x="2096" y="989"/>
                  </a:lnTo>
                  <a:lnTo>
                    <a:pt x="2096" y="990"/>
                  </a:lnTo>
                  <a:lnTo>
                    <a:pt x="2096" y="1001"/>
                  </a:lnTo>
                  <a:lnTo>
                    <a:pt x="2094" y="1007"/>
                  </a:lnTo>
                  <a:lnTo>
                    <a:pt x="2094" y="1013"/>
                  </a:lnTo>
                  <a:lnTo>
                    <a:pt x="2091" y="1015"/>
                  </a:lnTo>
                  <a:lnTo>
                    <a:pt x="2090" y="1016"/>
                  </a:lnTo>
                  <a:lnTo>
                    <a:pt x="2087" y="1021"/>
                  </a:lnTo>
                  <a:lnTo>
                    <a:pt x="2085" y="1024"/>
                  </a:lnTo>
                  <a:lnTo>
                    <a:pt x="2084" y="1026"/>
                  </a:lnTo>
                  <a:lnTo>
                    <a:pt x="2084" y="1029"/>
                  </a:lnTo>
                  <a:lnTo>
                    <a:pt x="2084" y="1032"/>
                  </a:lnTo>
                  <a:lnTo>
                    <a:pt x="2085" y="1033"/>
                  </a:lnTo>
                  <a:lnTo>
                    <a:pt x="2084" y="1036"/>
                  </a:lnTo>
                  <a:lnTo>
                    <a:pt x="2084" y="1038"/>
                  </a:lnTo>
                  <a:lnTo>
                    <a:pt x="2082" y="1039"/>
                  </a:lnTo>
                  <a:lnTo>
                    <a:pt x="2082" y="1033"/>
                  </a:lnTo>
                  <a:lnTo>
                    <a:pt x="2081" y="1032"/>
                  </a:lnTo>
                  <a:lnTo>
                    <a:pt x="2074" y="1027"/>
                  </a:lnTo>
                  <a:lnTo>
                    <a:pt x="2070" y="1027"/>
                  </a:lnTo>
                  <a:lnTo>
                    <a:pt x="2042" y="1039"/>
                  </a:lnTo>
                  <a:lnTo>
                    <a:pt x="2039" y="1039"/>
                  </a:lnTo>
                  <a:lnTo>
                    <a:pt x="2034" y="1043"/>
                  </a:lnTo>
                  <a:lnTo>
                    <a:pt x="2027" y="1043"/>
                  </a:lnTo>
                  <a:lnTo>
                    <a:pt x="2008" y="1049"/>
                  </a:lnTo>
                  <a:lnTo>
                    <a:pt x="2007" y="1050"/>
                  </a:lnTo>
                  <a:lnTo>
                    <a:pt x="2002" y="1056"/>
                  </a:lnTo>
                  <a:lnTo>
                    <a:pt x="1999" y="1059"/>
                  </a:lnTo>
                  <a:lnTo>
                    <a:pt x="1996" y="1061"/>
                  </a:lnTo>
                  <a:lnTo>
                    <a:pt x="1993" y="1061"/>
                  </a:lnTo>
                  <a:lnTo>
                    <a:pt x="1994" y="1061"/>
                  </a:lnTo>
                  <a:lnTo>
                    <a:pt x="2000" y="1055"/>
                  </a:lnTo>
                  <a:lnTo>
                    <a:pt x="2002" y="1052"/>
                  </a:lnTo>
                  <a:lnTo>
                    <a:pt x="2005" y="1046"/>
                  </a:lnTo>
                  <a:lnTo>
                    <a:pt x="2007" y="1046"/>
                  </a:lnTo>
                  <a:lnTo>
                    <a:pt x="2008" y="1046"/>
                  </a:lnTo>
                  <a:lnTo>
                    <a:pt x="2010" y="1044"/>
                  </a:lnTo>
                  <a:lnTo>
                    <a:pt x="2010" y="1041"/>
                  </a:lnTo>
                  <a:lnTo>
                    <a:pt x="2008" y="1038"/>
                  </a:lnTo>
                  <a:lnTo>
                    <a:pt x="2007" y="1036"/>
                  </a:lnTo>
                  <a:lnTo>
                    <a:pt x="2002" y="1036"/>
                  </a:lnTo>
                  <a:lnTo>
                    <a:pt x="1988" y="1044"/>
                  </a:lnTo>
                  <a:lnTo>
                    <a:pt x="1968" y="1046"/>
                  </a:lnTo>
                  <a:lnTo>
                    <a:pt x="1967" y="1046"/>
                  </a:lnTo>
                  <a:lnTo>
                    <a:pt x="1967" y="1044"/>
                  </a:lnTo>
                  <a:lnTo>
                    <a:pt x="1965" y="1041"/>
                  </a:lnTo>
                  <a:lnTo>
                    <a:pt x="1962" y="1038"/>
                  </a:lnTo>
                  <a:lnTo>
                    <a:pt x="1954" y="1035"/>
                  </a:lnTo>
                  <a:lnTo>
                    <a:pt x="1953" y="1032"/>
                  </a:lnTo>
                  <a:lnTo>
                    <a:pt x="1951" y="1029"/>
                  </a:lnTo>
                  <a:lnTo>
                    <a:pt x="1950" y="1023"/>
                  </a:lnTo>
                  <a:lnTo>
                    <a:pt x="1950" y="1019"/>
                  </a:lnTo>
                  <a:lnTo>
                    <a:pt x="1940" y="1001"/>
                  </a:lnTo>
                  <a:lnTo>
                    <a:pt x="1939" y="998"/>
                  </a:lnTo>
                  <a:lnTo>
                    <a:pt x="1939" y="993"/>
                  </a:lnTo>
                  <a:lnTo>
                    <a:pt x="1936" y="982"/>
                  </a:lnTo>
                  <a:lnTo>
                    <a:pt x="1928" y="978"/>
                  </a:lnTo>
                  <a:lnTo>
                    <a:pt x="1922" y="975"/>
                  </a:lnTo>
                  <a:lnTo>
                    <a:pt x="1914" y="973"/>
                  </a:lnTo>
                  <a:lnTo>
                    <a:pt x="1908" y="969"/>
                  </a:lnTo>
                  <a:lnTo>
                    <a:pt x="1902" y="964"/>
                  </a:lnTo>
                  <a:lnTo>
                    <a:pt x="1894" y="959"/>
                  </a:lnTo>
                  <a:lnTo>
                    <a:pt x="1887" y="952"/>
                  </a:lnTo>
                  <a:lnTo>
                    <a:pt x="1885" y="946"/>
                  </a:lnTo>
                  <a:lnTo>
                    <a:pt x="1885" y="942"/>
                  </a:lnTo>
                  <a:lnTo>
                    <a:pt x="1885" y="939"/>
                  </a:lnTo>
                  <a:lnTo>
                    <a:pt x="1885" y="936"/>
                  </a:lnTo>
                  <a:lnTo>
                    <a:pt x="1885" y="932"/>
                  </a:lnTo>
                  <a:lnTo>
                    <a:pt x="1885" y="929"/>
                  </a:lnTo>
                  <a:lnTo>
                    <a:pt x="1888" y="919"/>
                  </a:lnTo>
                  <a:lnTo>
                    <a:pt x="1893" y="912"/>
                  </a:lnTo>
                  <a:lnTo>
                    <a:pt x="1897" y="905"/>
                  </a:lnTo>
                  <a:lnTo>
                    <a:pt x="1903" y="901"/>
                  </a:lnTo>
                  <a:lnTo>
                    <a:pt x="1910" y="901"/>
                  </a:lnTo>
                  <a:lnTo>
                    <a:pt x="1914" y="899"/>
                  </a:lnTo>
                  <a:lnTo>
                    <a:pt x="1916" y="895"/>
                  </a:lnTo>
                  <a:lnTo>
                    <a:pt x="1916" y="893"/>
                  </a:lnTo>
                  <a:lnTo>
                    <a:pt x="1917" y="889"/>
                  </a:lnTo>
                  <a:lnTo>
                    <a:pt x="1917" y="885"/>
                  </a:lnTo>
                  <a:lnTo>
                    <a:pt x="1917" y="881"/>
                  </a:lnTo>
                  <a:lnTo>
                    <a:pt x="1916" y="881"/>
                  </a:lnTo>
                  <a:lnTo>
                    <a:pt x="1914" y="881"/>
                  </a:lnTo>
                  <a:lnTo>
                    <a:pt x="1913" y="879"/>
                  </a:lnTo>
                  <a:lnTo>
                    <a:pt x="1914" y="876"/>
                  </a:lnTo>
                  <a:lnTo>
                    <a:pt x="1917" y="872"/>
                  </a:lnTo>
                  <a:lnTo>
                    <a:pt x="1923" y="872"/>
                  </a:lnTo>
                  <a:lnTo>
                    <a:pt x="1937" y="869"/>
                  </a:lnTo>
                  <a:lnTo>
                    <a:pt x="1965" y="865"/>
                  </a:lnTo>
                  <a:lnTo>
                    <a:pt x="1980" y="858"/>
                  </a:lnTo>
                  <a:lnTo>
                    <a:pt x="1993" y="855"/>
                  </a:lnTo>
                  <a:lnTo>
                    <a:pt x="1999" y="855"/>
                  </a:lnTo>
                  <a:lnTo>
                    <a:pt x="2002" y="855"/>
                  </a:lnTo>
                  <a:lnTo>
                    <a:pt x="2004" y="855"/>
                  </a:lnTo>
                  <a:lnTo>
                    <a:pt x="2008" y="856"/>
                  </a:lnTo>
                  <a:lnTo>
                    <a:pt x="2014" y="858"/>
                  </a:lnTo>
                  <a:lnTo>
                    <a:pt x="2017" y="855"/>
                  </a:lnTo>
                  <a:lnTo>
                    <a:pt x="2019" y="850"/>
                  </a:lnTo>
                  <a:lnTo>
                    <a:pt x="2017" y="844"/>
                  </a:lnTo>
                  <a:lnTo>
                    <a:pt x="2017" y="842"/>
                  </a:lnTo>
                  <a:lnTo>
                    <a:pt x="2017" y="841"/>
                  </a:lnTo>
                  <a:lnTo>
                    <a:pt x="2016" y="836"/>
                  </a:lnTo>
                  <a:lnTo>
                    <a:pt x="2014" y="832"/>
                  </a:lnTo>
                  <a:lnTo>
                    <a:pt x="2014" y="830"/>
                  </a:lnTo>
                  <a:lnTo>
                    <a:pt x="2013" y="828"/>
                  </a:lnTo>
                  <a:lnTo>
                    <a:pt x="2013" y="827"/>
                  </a:lnTo>
                  <a:lnTo>
                    <a:pt x="2013" y="825"/>
                  </a:lnTo>
                  <a:lnTo>
                    <a:pt x="2011" y="822"/>
                  </a:lnTo>
                  <a:lnTo>
                    <a:pt x="2010" y="821"/>
                  </a:lnTo>
                  <a:lnTo>
                    <a:pt x="2008" y="819"/>
                  </a:lnTo>
                  <a:lnTo>
                    <a:pt x="2007" y="816"/>
                  </a:lnTo>
                  <a:lnTo>
                    <a:pt x="2007" y="813"/>
                  </a:lnTo>
                  <a:lnTo>
                    <a:pt x="2005" y="810"/>
                  </a:lnTo>
                  <a:lnTo>
                    <a:pt x="2005" y="804"/>
                  </a:lnTo>
                  <a:lnTo>
                    <a:pt x="2005" y="802"/>
                  </a:lnTo>
                  <a:lnTo>
                    <a:pt x="2007" y="801"/>
                  </a:lnTo>
                  <a:lnTo>
                    <a:pt x="2007" y="799"/>
                  </a:lnTo>
                  <a:lnTo>
                    <a:pt x="2005" y="798"/>
                  </a:lnTo>
                  <a:lnTo>
                    <a:pt x="2005" y="796"/>
                  </a:lnTo>
                  <a:lnTo>
                    <a:pt x="1999" y="796"/>
                  </a:lnTo>
                  <a:lnTo>
                    <a:pt x="2002" y="796"/>
                  </a:lnTo>
                  <a:lnTo>
                    <a:pt x="2004" y="795"/>
                  </a:lnTo>
                  <a:lnTo>
                    <a:pt x="2005" y="793"/>
                  </a:lnTo>
                  <a:lnTo>
                    <a:pt x="1999" y="785"/>
                  </a:lnTo>
                  <a:lnTo>
                    <a:pt x="1997" y="781"/>
                  </a:lnTo>
                  <a:lnTo>
                    <a:pt x="1994" y="779"/>
                  </a:lnTo>
                  <a:lnTo>
                    <a:pt x="1993" y="778"/>
                  </a:lnTo>
                  <a:lnTo>
                    <a:pt x="1991" y="776"/>
                  </a:lnTo>
                  <a:lnTo>
                    <a:pt x="1987" y="778"/>
                  </a:lnTo>
                  <a:lnTo>
                    <a:pt x="1985" y="776"/>
                  </a:lnTo>
                  <a:lnTo>
                    <a:pt x="1982" y="772"/>
                  </a:lnTo>
                  <a:lnTo>
                    <a:pt x="1977" y="765"/>
                  </a:lnTo>
                  <a:lnTo>
                    <a:pt x="1971" y="758"/>
                  </a:lnTo>
                  <a:lnTo>
                    <a:pt x="1968" y="755"/>
                  </a:lnTo>
                  <a:lnTo>
                    <a:pt x="1968" y="755"/>
                  </a:lnTo>
                  <a:lnTo>
                    <a:pt x="1967" y="753"/>
                  </a:lnTo>
                  <a:lnTo>
                    <a:pt x="1967" y="748"/>
                  </a:lnTo>
                  <a:lnTo>
                    <a:pt x="1967" y="745"/>
                  </a:lnTo>
                  <a:lnTo>
                    <a:pt x="1965" y="744"/>
                  </a:lnTo>
                  <a:lnTo>
                    <a:pt x="1964" y="742"/>
                  </a:lnTo>
                  <a:lnTo>
                    <a:pt x="1964" y="741"/>
                  </a:lnTo>
                  <a:lnTo>
                    <a:pt x="1962" y="739"/>
                  </a:lnTo>
                  <a:lnTo>
                    <a:pt x="1962" y="736"/>
                  </a:lnTo>
                  <a:lnTo>
                    <a:pt x="1962" y="735"/>
                  </a:lnTo>
                  <a:lnTo>
                    <a:pt x="1960" y="730"/>
                  </a:lnTo>
                  <a:lnTo>
                    <a:pt x="1957" y="727"/>
                  </a:lnTo>
                  <a:lnTo>
                    <a:pt x="1934" y="716"/>
                  </a:lnTo>
                  <a:lnTo>
                    <a:pt x="1914" y="710"/>
                  </a:lnTo>
                  <a:lnTo>
                    <a:pt x="1888" y="708"/>
                  </a:lnTo>
                  <a:lnTo>
                    <a:pt x="1854" y="708"/>
                  </a:lnTo>
                  <a:lnTo>
                    <a:pt x="1834" y="711"/>
                  </a:lnTo>
                  <a:lnTo>
                    <a:pt x="1816" y="708"/>
                  </a:lnTo>
                  <a:lnTo>
                    <a:pt x="1806" y="701"/>
                  </a:lnTo>
                  <a:lnTo>
                    <a:pt x="1803" y="699"/>
                  </a:lnTo>
                  <a:lnTo>
                    <a:pt x="1802" y="699"/>
                  </a:lnTo>
                  <a:lnTo>
                    <a:pt x="1800" y="698"/>
                  </a:lnTo>
                  <a:lnTo>
                    <a:pt x="1797" y="695"/>
                  </a:lnTo>
                  <a:lnTo>
                    <a:pt x="1794" y="693"/>
                  </a:lnTo>
                  <a:lnTo>
                    <a:pt x="1789" y="690"/>
                  </a:lnTo>
                  <a:lnTo>
                    <a:pt x="1788" y="690"/>
                  </a:lnTo>
                  <a:lnTo>
                    <a:pt x="1777" y="684"/>
                  </a:lnTo>
                  <a:lnTo>
                    <a:pt x="1769" y="684"/>
                  </a:lnTo>
                  <a:lnTo>
                    <a:pt x="1765" y="685"/>
                  </a:lnTo>
                  <a:lnTo>
                    <a:pt x="1762" y="687"/>
                  </a:lnTo>
                  <a:lnTo>
                    <a:pt x="1763" y="691"/>
                  </a:lnTo>
                  <a:lnTo>
                    <a:pt x="1766" y="696"/>
                  </a:lnTo>
                  <a:lnTo>
                    <a:pt x="1797" y="724"/>
                  </a:lnTo>
                  <a:lnTo>
                    <a:pt x="1828" y="751"/>
                  </a:lnTo>
                  <a:lnTo>
                    <a:pt x="1833" y="759"/>
                  </a:lnTo>
                  <a:lnTo>
                    <a:pt x="1834" y="764"/>
                  </a:lnTo>
                  <a:lnTo>
                    <a:pt x="1834" y="768"/>
                  </a:lnTo>
                  <a:lnTo>
                    <a:pt x="1834" y="773"/>
                  </a:lnTo>
                  <a:lnTo>
                    <a:pt x="1833" y="784"/>
                  </a:lnTo>
                  <a:lnTo>
                    <a:pt x="1831" y="787"/>
                  </a:lnTo>
                  <a:lnTo>
                    <a:pt x="1831" y="790"/>
                  </a:lnTo>
                  <a:lnTo>
                    <a:pt x="1831" y="792"/>
                  </a:lnTo>
                  <a:lnTo>
                    <a:pt x="1830" y="796"/>
                  </a:lnTo>
                  <a:lnTo>
                    <a:pt x="1830" y="802"/>
                  </a:lnTo>
                  <a:lnTo>
                    <a:pt x="1830" y="808"/>
                  </a:lnTo>
                  <a:lnTo>
                    <a:pt x="1830" y="812"/>
                  </a:lnTo>
                  <a:lnTo>
                    <a:pt x="1833" y="812"/>
                  </a:lnTo>
                  <a:lnTo>
                    <a:pt x="1836" y="808"/>
                  </a:lnTo>
                  <a:lnTo>
                    <a:pt x="1839" y="805"/>
                  </a:lnTo>
                  <a:lnTo>
                    <a:pt x="1843" y="805"/>
                  </a:lnTo>
                  <a:lnTo>
                    <a:pt x="1846" y="805"/>
                  </a:lnTo>
                  <a:lnTo>
                    <a:pt x="1846" y="807"/>
                  </a:lnTo>
                  <a:lnTo>
                    <a:pt x="1842" y="807"/>
                  </a:lnTo>
                  <a:lnTo>
                    <a:pt x="1828" y="816"/>
                  </a:lnTo>
                  <a:lnTo>
                    <a:pt x="1826" y="819"/>
                  </a:lnTo>
                  <a:lnTo>
                    <a:pt x="1828" y="821"/>
                  </a:lnTo>
                  <a:lnTo>
                    <a:pt x="1831" y="819"/>
                  </a:lnTo>
                  <a:lnTo>
                    <a:pt x="1833" y="821"/>
                  </a:lnTo>
                  <a:lnTo>
                    <a:pt x="1831" y="822"/>
                  </a:lnTo>
                  <a:lnTo>
                    <a:pt x="1828" y="822"/>
                  </a:lnTo>
                  <a:lnTo>
                    <a:pt x="1826" y="824"/>
                  </a:lnTo>
                  <a:lnTo>
                    <a:pt x="1825" y="832"/>
                  </a:lnTo>
                  <a:lnTo>
                    <a:pt x="1828" y="833"/>
                  </a:lnTo>
                  <a:lnTo>
                    <a:pt x="1834" y="832"/>
                  </a:lnTo>
                  <a:lnTo>
                    <a:pt x="1836" y="833"/>
                  </a:lnTo>
                  <a:lnTo>
                    <a:pt x="1836" y="835"/>
                  </a:lnTo>
                  <a:lnTo>
                    <a:pt x="1833" y="839"/>
                  </a:lnTo>
                  <a:lnTo>
                    <a:pt x="1831" y="841"/>
                  </a:lnTo>
                  <a:lnTo>
                    <a:pt x="1830" y="841"/>
                  </a:lnTo>
                  <a:lnTo>
                    <a:pt x="1823" y="841"/>
                  </a:lnTo>
                  <a:lnTo>
                    <a:pt x="1823" y="842"/>
                  </a:lnTo>
                  <a:lnTo>
                    <a:pt x="1823" y="845"/>
                  </a:lnTo>
                  <a:lnTo>
                    <a:pt x="1823" y="849"/>
                  </a:lnTo>
                  <a:lnTo>
                    <a:pt x="1823" y="850"/>
                  </a:lnTo>
                  <a:lnTo>
                    <a:pt x="1823" y="852"/>
                  </a:lnTo>
                  <a:lnTo>
                    <a:pt x="1825" y="853"/>
                  </a:lnTo>
                  <a:lnTo>
                    <a:pt x="1826" y="855"/>
                  </a:lnTo>
                  <a:lnTo>
                    <a:pt x="1826" y="858"/>
                  </a:lnTo>
                  <a:lnTo>
                    <a:pt x="1826" y="861"/>
                  </a:lnTo>
                  <a:lnTo>
                    <a:pt x="1825" y="862"/>
                  </a:lnTo>
                  <a:lnTo>
                    <a:pt x="1825" y="865"/>
                  </a:lnTo>
                  <a:lnTo>
                    <a:pt x="1825" y="867"/>
                  </a:lnTo>
                  <a:lnTo>
                    <a:pt x="1822" y="872"/>
                  </a:lnTo>
                  <a:lnTo>
                    <a:pt x="1822" y="875"/>
                  </a:lnTo>
                  <a:lnTo>
                    <a:pt x="1822" y="876"/>
                  </a:lnTo>
                  <a:lnTo>
                    <a:pt x="1825" y="876"/>
                  </a:lnTo>
                  <a:lnTo>
                    <a:pt x="1826" y="876"/>
                  </a:lnTo>
                  <a:lnTo>
                    <a:pt x="1828" y="879"/>
                  </a:lnTo>
                  <a:lnTo>
                    <a:pt x="1826" y="882"/>
                  </a:lnTo>
                  <a:lnTo>
                    <a:pt x="1826" y="884"/>
                  </a:lnTo>
                  <a:lnTo>
                    <a:pt x="1825" y="884"/>
                  </a:lnTo>
                  <a:lnTo>
                    <a:pt x="1823" y="884"/>
                  </a:lnTo>
                  <a:lnTo>
                    <a:pt x="1823" y="884"/>
                  </a:lnTo>
                  <a:lnTo>
                    <a:pt x="1823" y="882"/>
                  </a:lnTo>
                  <a:lnTo>
                    <a:pt x="1823" y="881"/>
                  </a:lnTo>
                  <a:lnTo>
                    <a:pt x="1822" y="881"/>
                  </a:lnTo>
                  <a:lnTo>
                    <a:pt x="1822" y="881"/>
                  </a:lnTo>
                  <a:lnTo>
                    <a:pt x="1820" y="881"/>
                  </a:lnTo>
                  <a:lnTo>
                    <a:pt x="1819" y="882"/>
                  </a:lnTo>
                  <a:lnTo>
                    <a:pt x="1819" y="884"/>
                  </a:lnTo>
                  <a:lnTo>
                    <a:pt x="1819" y="887"/>
                  </a:lnTo>
                  <a:lnTo>
                    <a:pt x="1819" y="889"/>
                  </a:lnTo>
                  <a:lnTo>
                    <a:pt x="1819" y="893"/>
                  </a:lnTo>
                  <a:lnTo>
                    <a:pt x="1819" y="895"/>
                  </a:lnTo>
                  <a:lnTo>
                    <a:pt x="1817" y="902"/>
                  </a:lnTo>
                  <a:lnTo>
                    <a:pt x="1806" y="932"/>
                  </a:lnTo>
                  <a:lnTo>
                    <a:pt x="1800" y="947"/>
                  </a:lnTo>
                  <a:lnTo>
                    <a:pt x="1799" y="961"/>
                  </a:lnTo>
                  <a:lnTo>
                    <a:pt x="1799" y="967"/>
                  </a:lnTo>
                  <a:lnTo>
                    <a:pt x="1799" y="972"/>
                  </a:lnTo>
                  <a:lnTo>
                    <a:pt x="1800" y="975"/>
                  </a:lnTo>
                  <a:lnTo>
                    <a:pt x="1803" y="979"/>
                  </a:lnTo>
                  <a:lnTo>
                    <a:pt x="1806" y="981"/>
                  </a:lnTo>
                  <a:lnTo>
                    <a:pt x="1810" y="982"/>
                  </a:lnTo>
                  <a:lnTo>
                    <a:pt x="1813" y="982"/>
                  </a:lnTo>
                  <a:lnTo>
                    <a:pt x="1816" y="982"/>
                  </a:lnTo>
                  <a:lnTo>
                    <a:pt x="1819" y="981"/>
                  </a:lnTo>
                  <a:lnTo>
                    <a:pt x="1823" y="982"/>
                  </a:lnTo>
                  <a:lnTo>
                    <a:pt x="1828" y="986"/>
                  </a:lnTo>
                  <a:lnTo>
                    <a:pt x="1830" y="987"/>
                  </a:lnTo>
                  <a:lnTo>
                    <a:pt x="1831" y="990"/>
                  </a:lnTo>
                  <a:lnTo>
                    <a:pt x="1834" y="993"/>
                  </a:lnTo>
                  <a:lnTo>
                    <a:pt x="1836" y="995"/>
                  </a:lnTo>
                  <a:lnTo>
                    <a:pt x="1837" y="996"/>
                  </a:lnTo>
                  <a:lnTo>
                    <a:pt x="1845" y="993"/>
                  </a:lnTo>
                  <a:lnTo>
                    <a:pt x="1843" y="996"/>
                  </a:lnTo>
                  <a:lnTo>
                    <a:pt x="1842" y="998"/>
                  </a:lnTo>
                  <a:lnTo>
                    <a:pt x="1840" y="999"/>
                  </a:lnTo>
                  <a:lnTo>
                    <a:pt x="1839" y="1002"/>
                  </a:lnTo>
                  <a:lnTo>
                    <a:pt x="1845" y="1007"/>
                  </a:lnTo>
                  <a:lnTo>
                    <a:pt x="1846" y="1012"/>
                  </a:lnTo>
                  <a:lnTo>
                    <a:pt x="1848" y="1015"/>
                  </a:lnTo>
                  <a:lnTo>
                    <a:pt x="1848" y="1016"/>
                  </a:lnTo>
                  <a:lnTo>
                    <a:pt x="1853" y="1023"/>
                  </a:lnTo>
                  <a:lnTo>
                    <a:pt x="1853" y="1024"/>
                  </a:lnTo>
                  <a:lnTo>
                    <a:pt x="1853" y="1027"/>
                  </a:lnTo>
                  <a:lnTo>
                    <a:pt x="1854" y="1029"/>
                  </a:lnTo>
                  <a:lnTo>
                    <a:pt x="1856" y="1029"/>
                  </a:lnTo>
                  <a:lnTo>
                    <a:pt x="1853" y="1032"/>
                  </a:lnTo>
                  <a:lnTo>
                    <a:pt x="1853" y="1033"/>
                  </a:lnTo>
                  <a:lnTo>
                    <a:pt x="1853" y="1043"/>
                  </a:lnTo>
                  <a:lnTo>
                    <a:pt x="1851" y="1047"/>
                  </a:lnTo>
                  <a:lnTo>
                    <a:pt x="1845" y="1050"/>
                  </a:lnTo>
                  <a:lnTo>
                    <a:pt x="1843" y="1055"/>
                  </a:lnTo>
                  <a:lnTo>
                    <a:pt x="1845" y="1058"/>
                  </a:lnTo>
                  <a:lnTo>
                    <a:pt x="1848" y="1064"/>
                  </a:lnTo>
                  <a:lnTo>
                    <a:pt x="1850" y="1070"/>
                  </a:lnTo>
                  <a:lnTo>
                    <a:pt x="1851" y="1072"/>
                  </a:lnTo>
                  <a:lnTo>
                    <a:pt x="1853" y="1075"/>
                  </a:lnTo>
                  <a:lnTo>
                    <a:pt x="1854" y="1075"/>
                  </a:lnTo>
                  <a:lnTo>
                    <a:pt x="1856" y="1075"/>
                  </a:lnTo>
                  <a:lnTo>
                    <a:pt x="1857" y="1075"/>
                  </a:lnTo>
                  <a:lnTo>
                    <a:pt x="1859" y="1076"/>
                  </a:lnTo>
                  <a:lnTo>
                    <a:pt x="1851" y="1078"/>
                  </a:lnTo>
                  <a:lnTo>
                    <a:pt x="1848" y="1081"/>
                  </a:lnTo>
                  <a:lnTo>
                    <a:pt x="1846" y="1084"/>
                  </a:lnTo>
                  <a:lnTo>
                    <a:pt x="1845" y="1089"/>
                  </a:lnTo>
                  <a:lnTo>
                    <a:pt x="1845" y="1100"/>
                  </a:lnTo>
                  <a:lnTo>
                    <a:pt x="1843" y="1104"/>
                  </a:lnTo>
                  <a:lnTo>
                    <a:pt x="1843" y="1106"/>
                  </a:lnTo>
                  <a:lnTo>
                    <a:pt x="1842" y="1107"/>
                  </a:lnTo>
                  <a:lnTo>
                    <a:pt x="1834" y="1116"/>
                  </a:lnTo>
                  <a:lnTo>
                    <a:pt x="1834" y="1118"/>
                  </a:lnTo>
                  <a:lnTo>
                    <a:pt x="1833" y="1124"/>
                  </a:lnTo>
                  <a:lnTo>
                    <a:pt x="1833" y="1126"/>
                  </a:lnTo>
                  <a:lnTo>
                    <a:pt x="1828" y="1132"/>
                  </a:lnTo>
                  <a:lnTo>
                    <a:pt x="1828" y="1133"/>
                  </a:lnTo>
                  <a:lnTo>
                    <a:pt x="1825" y="1141"/>
                  </a:lnTo>
                  <a:lnTo>
                    <a:pt x="1823" y="1152"/>
                  </a:lnTo>
                  <a:lnTo>
                    <a:pt x="1822" y="1163"/>
                  </a:lnTo>
                  <a:lnTo>
                    <a:pt x="1822" y="1170"/>
                  </a:lnTo>
                  <a:lnTo>
                    <a:pt x="1823" y="1173"/>
                  </a:lnTo>
                  <a:lnTo>
                    <a:pt x="1828" y="1181"/>
                  </a:lnTo>
                  <a:lnTo>
                    <a:pt x="1828" y="1184"/>
                  </a:lnTo>
                  <a:lnTo>
                    <a:pt x="1828" y="1189"/>
                  </a:lnTo>
                  <a:lnTo>
                    <a:pt x="1825" y="1198"/>
                  </a:lnTo>
                  <a:lnTo>
                    <a:pt x="1825" y="1203"/>
                  </a:lnTo>
                  <a:lnTo>
                    <a:pt x="1828" y="1207"/>
                  </a:lnTo>
                  <a:lnTo>
                    <a:pt x="1830" y="1212"/>
                  </a:lnTo>
                  <a:lnTo>
                    <a:pt x="1831" y="1217"/>
                  </a:lnTo>
                  <a:lnTo>
                    <a:pt x="1830" y="1224"/>
                  </a:lnTo>
                  <a:lnTo>
                    <a:pt x="1830" y="1221"/>
                  </a:lnTo>
                  <a:lnTo>
                    <a:pt x="1823" y="1207"/>
                  </a:lnTo>
                  <a:lnTo>
                    <a:pt x="1819" y="1201"/>
                  </a:lnTo>
                  <a:lnTo>
                    <a:pt x="1819" y="1197"/>
                  </a:lnTo>
                  <a:lnTo>
                    <a:pt x="1819" y="1195"/>
                  </a:lnTo>
                  <a:lnTo>
                    <a:pt x="1819" y="1193"/>
                  </a:lnTo>
                  <a:lnTo>
                    <a:pt x="1819" y="1192"/>
                  </a:lnTo>
                  <a:lnTo>
                    <a:pt x="1820" y="1189"/>
                  </a:lnTo>
                  <a:lnTo>
                    <a:pt x="1820" y="1187"/>
                  </a:lnTo>
                  <a:lnTo>
                    <a:pt x="1820" y="1186"/>
                  </a:lnTo>
                  <a:lnTo>
                    <a:pt x="1816" y="1180"/>
                  </a:lnTo>
                  <a:lnTo>
                    <a:pt x="1813" y="1173"/>
                  </a:lnTo>
                  <a:lnTo>
                    <a:pt x="1808" y="1170"/>
                  </a:lnTo>
                  <a:lnTo>
                    <a:pt x="1805" y="1166"/>
                  </a:lnTo>
                  <a:lnTo>
                    <a:pt x="1805" y="1166"/>
                  </a:lnTo>
                  <a:lnTo>
                    <a:pt x="1799" y="1167"/>
                  </a:lnTo>
                  <a:lnTo>
                    <a:pt x="1796" y="1166"/>
                  </a:lnTo>
                  <a:lnTo>
                    <a:pt x="1794" y="1166"/>
                  </a:lnTo>
                  <a:lnTo>
                    <a:pt x="1793" y="1167"/>
                  </a:lnTo>
                  <a:lnTo>
                    <a:pt x="1791" y="1170"/>
                  </a:lnTo>
                  <a:lnTo>
                    <a:pt x="1789" y="1172"/>
                  </a:lnTo>
                  <a:lnTo>
                    <a:pt x="1785" y="1172"/>
                  </a:lnTo>
                  <a:lnTo>
                    <a:pt x="1783" y="1173"/>
                  </a:lnTo>
                  <a:lnTo>
                    <a:pt x="1780" y="1175"/>
                  </a:lnTo>
                  <a:lnTo>
                    <a:pt x="1777" y="1176"/>
                  </a:lnTo>
                  <a:lnTo>
                    <a:pt x="1777" y="1176"/>
                  </a:lnTo>
                  <a:lnTo>
                    <a:pt x="1773" y="1183"/>
                  </a:lnTo>
                  <a:lnTo>
                    <a:pt x="1771" y="1187"/>
                  </a:lnTo>
                  <a:lnTo>
                    <a:pt x="1773" y="1189"/>
                  </a:lnTo>
                  <a:lnTo>
                    <a:pt x="1779" y="1190"/>
                  </a:lnTo>
                  <a:lnTo>
                    <a:pt x="1780" y="1193"/>
                  </a:lnTo>
                  <a:lnTo>
                    <a:pt x="1782" y="1197"/>
                  </a:lnTo>
                  <a:lnTo>
                    <a:pt x="1780" y="1204"/>
                  </a:lnTo>
                  <a:lnTo>
                    <a:pt x="1779" y="1200"/>
                  </a:lnTo>
                  <a:lnTo>
                    <a:pt x="1777" y="1195"/>
                  </a:lnTo>
                  <a:lnTo>
                    <a:pt x="1776" y="1193"/>
                  </a:lnTo>
                  <a:lnTo>
                    <a:pt x="1773" y="1192"/>
                  </a:lnTo>
                  <a:lnTo>
                    <a:pt x="1769" y="1193"/>
                  </a:lnTo>
                  <a:lnTo>
                    <a:pt x="1768" y="1192"/>
                  </a:lnTo>
                  <a:lnTo>
                    <a:pt x="1768" y="1189"/>
                  </a:lnTo>
                  <a:lnTo>
                    <a:pt x="1766" y="1187"/>
                  </a:lnTo>
                  <a:lnTo>
                    <a:pt x="1763" y="1183"/>
                  </a:lnTo>
                  <a:lnTo>
                    <a:pt x="1765" y="1181"/>
                  </a:lnTo>
                  <a:lnTo>
                    <a:pt x="1766" y="1180"/>
                  </a:lnTo>
                  <a:lnTo>
                    <a:pt x="1769" y="1180"/>
                  </a:lnTo>
                  <a:lnTo>
                    <a:pt x="1771" y="1178"/>
                  </a:lnTo>
                  <a:lnTo>
                    <a:pt x="1773" y="1176"/>
                  </a:lnTo>
                  <a:lnTo>
                    <a:pt x="1773" y="1175"/>
                  </a:lnTo>
                  <a:lnTo>
                    <a:pt x="1774" y="1172"/>
                  </a:lnTo>
                  <a:lnTo>
                    <a:pt x="1777" y="1169"/>
                  </a:lnTo>
                  <a:lnTo>
                    <a:pt x="1780" y="1166"/>
                  </a:lnTo>
                  <a:lnTo>
                    <a:pt x="1791" y="1160"/>
                  </a:lnTo>
                  <a:lnTo>
                    <a:pt x="1794" y="1156"/>
                  </a:lnTo>
                  <a:lnTo>
                    <a:pt x="1793" y="1150"/>
                  </a:lnTo>
                  <a:lnTo>
                    <a:pt x="1791" y="1147"/>
                  </a:lnTo>
                  <a:lnTo>
                    <a:pt x="1783" y="1140"/>
                  </a:lnTo>
                  <a:lnTo>
                    <a:pt x="1780" y="1140"/>
                  </a:lnTo>
                  <a:lnTo>
                    <a:pt x="1773" y="1138"/>
                  </a:lnTo>
                  <a:lnTo>
                    <a:pt x="1769" y="1136"/>
                  </a:lnTo>
                  <a:lnTo>
                    <a:pt x="1768" y="1132"/>
                  </a:lnTo>
                  <a:lnTo>
                    <a:pt x="1766" y="1124"/>
                  </a:lnTo>
                  <a:lnTo>
                    <a:pt x="1765" y="1121"/>
                  </a:lnTo>
                  <a:lnTo>
                    <a:pt x="1760" y="1120"/>
                  </a:lnTo>
                  <a:lnTo>
                    <a:pt x="1751" y="1121"/>
                  </a:lnTo>
                  <a:lnTo>
                    <a:pt x="1737" y="1123"/>
                  </a:lnTo>
                  <a:lnTo>
                    <a:pt x="1723" y="1127"/>
                  </a:lnTo>
                  <a:lnTo>
                    <a:pt x="1708" y="1129"/>
                  </a:lnTo>
                  <a:lnTo>
                    <a:pt x="1711" y="1126"/>
                  </a:lnTo>
                  <a:lnTo>
                    <a:pt x="1717" y="1121"/>
                  </a:lnTo>
                  <a:lnTo>
                    <a:pt x="1717" y="1118"/>
                  </a:lnTo>
                  <a:lnTo>
                    <a:pt x="1716" y="1116"/>
                  </a:lnTo>
                  <a:lnTo>
                    <a:pt x="1694" y="1106"/>
                  </a:lnTo>
                  <a:lnTo>
                    <a:pt x="1682" y="1101"/>
                  </a:lnTo>
                  <a:lnTo>
                    <a:pt x="1679" y="1103"/>
                  </a:lnTo>
                  <a:lnTo>
                    <a:pt x="1677" y="1107"/>
                  </a:lnTo>
                  <a:lnTo>
                    <a:pt x="1669" y="1124"/>
                  </a:lnTo>
                  <a:lnTo>
                    <a:pt x="1657" y="1146"/>
                  </a:lnTo>
                  <a:lnTo>
                    <a:pt x="1642" y="1164"/>
                  </a:lnTo>
                  <a:lnTo>
                    <a:pt x="1642" y="1166"/>
                  </a:lnTo>
                  <a:lnTo>
                    <a:pt x="1640" y="1166"/>
                  </a:lnTo>
                  <a:lnTo>
                    <a:pt x="1642" y="1169"/>
                  </a:lnTo>
                  <a:lnTo>
                    <a:pt x="1640" y="1169"/>
                  </a:lnTo>
                  <a:lnTo>
                    <a:pt x="1634" y="1172"/>
                  </a:lnTo>
                  <a:lnTo>
                    <a:pt x="1629" y="1176"/>
                  </a:lnTo>
                  <a:lnTo>
                    <a:pt x="1629" y="1176"/>
                  </a:lnTo>
                  <a:lnTo>
                    <a:pt x="1628" y="1178"/>
                  </a:lnTo>
                  <a:lnTo>
                    <a:pt x="1625" y="1183"/>
                  </a:lnTo>
                  <a:lnTo>
                    <a:pt x="1625" y="1183"/>
                  </a:lnTo>
                  <a:lnTo>
                    <a:pt x="1623" y="1184"/>
                  </a:lnTo>
                  <a:lnTo>
                    <a:pt x="1619" y="1189"/>
                  </a:lnTo>
                  <a:lnTo>
                    <a:pt x="1602" y="1195"/>
                  </a:lnTo>
                  <a:lnTo>
                    <a:pt x="1594" y="1198"/>
                  </a:lnTo>
                  <a:lnTo>
                    <a:pt x="1578" y="1201"/>
                  </a:lnTo>
                  <a:lnTo>
                    <a:pt x="1571" y="1204"/>
                  </a:lnTo>
                  <a:lnTo>
                    <a:pt x="1566" y="1212"/>
                  </a:lnTo>
                  <a:lnTo>
                    <a:pt x="1554" y="1233"/>
                  </a:lnTo>
                  <a:lnTo>
                    <a:pt x="1540" y="1249"/>
                  </a:lnTo>
                  <a:lnTo>
                    <a:pt x="1523" y="1260"/>
                  </a:lnTo>
                  <a:lnTo>
                    <a:pt x="1517" y="1263"/>
                  </a:lnTo>
                  <a:lnTo>
                    <a:pt x="1506" y="1270"/>
                  </a:lnTo>
                  <a:lnTo>
                    <a:pt x="1500" y="1281"/>
                  </a:lnTo>
                  <a:lnTo>
                    <a:pt x="1498" y="1283"/>
                  </a:lnTo>
                  <a:lnTo>
                    <a:pt x="1498" y="1286"/>
                  </a:lnTo>
                  <a:lnTo>
                    <a:pt x="1497" y="1292"/>
                  </a:lnTo>
                  <a:lnTo>
                    <a:pt x="1497" y="1295"/>
                  </a:lnTo>
                  <a:lnTo>
                    <a:pt x="1497" y="1300"/>
                  </a:lnTo>
                  <a:lnTo>
                    <a:pt x="1497" y="1307"/>
                  </a:lnTo>
                  <a:lnTo>
                    <a:pt x="1498" y="1312"/>
                  </a:lnTo>
                  <a:lnTo>
                    <a:pt x="1500" y="1317"/>
                  </a:lnTo>
                  <a:lnTo>
                    <a:pt x="1503" y="1323"/>
                  </a:lnTo>
                  <a:lnTo>
                    <a:pt x="1509" y="1330"/>
                  </a:lnTo>
                  <a:lnTo>
                    <a:pt x="1528" y="1366"/>
                  </a:lnTo>
                  <a:lnTo>
                    <a:pt x="1529" y="1367"/>
                  </a:lnTo>
                  <a:lnTo>
                    <a:pt x="1537" y="1372"/>
                  </a:lnTo>
                  <a:lnTo>
                    <a:pt x="1538" y="1375"/>
                  </a:lnTo>
                  <a:lnTo>
                    <a:pt x="1540" y="1377"/>
                  </a:lnTo>
                  <a:lnTo>
                    <a:pt x="1540" y="1381"/>
                  </a:lnTo>
                  <a:lnTo>
                    <a:pt x="1540" y="1381"/>
                  </a:lnTo>
                  <a:lnTo>
                    <a:pt x="1542" y="1383"/>
                  </a:lnTo>
                  <a:lnTo>
                    <a:pt x="1545" y="1387"/>
                  </a:lnTo>
                  <a:lnTo>
                    <a:pt x="1546" y="1391"/>
                  </a:lnTo>
                  <a:lnTo>
                    <a:pt x="1546" y="1392"/>
                  </a:lnTo>
                  <a:lnTo>
                    <a:pt x="1551" y="1409"/>
                  </a:lnTo>
                  <a:lnTo>
                    <a:pt x="1551" y="1412"/>
                  </a:lnTo>
                  <a:lnTo>
                    <a:pt x="1552" y="1415"/>
                  </a:lnTo>
                  <a:lnTo>
                    <a:pt x="1555" y="1417"/>
                  </a:lnTo>
                  <a:lnTo>
                    <a:pt x="1557" y="1418"/>
                  </a:lnTo>
                  <a:lnTo>
                    <a:pt x="1557" y="1423"/>
                  </a:lnTo>
                  <a:lnTo>
                    <a:pt x="1555" y="1420"/>
                  </a:lnTo>
                  <a:lnTo>
                    <a:pt x="1554" y="1420"/>
                  </a:lnTo>
                  <a:lnTo>
                    <a:pt x="1552" y="1420"/>
                  </a:lnTo>
                  <a:lnTo>
                    <a:pt x="1549" y="1421"/>
                  </a:lnTo>
                  <a:lnTo>
                    <a:pt x="1549" y="1423"/>
                  </a:lnTo>
                  <a:lnTo>
                    <a:pt x="1549" y="1426"/>
                  </a:lnTo>
                  <a:lnTo>
                    <a:pt x="1549" y="1426"/>
                  </a:lnTo>
                  <a:lnTo>
                    <a:pt x="1549" y="1428"/>
                  </a:lnTo>
                  <a:lnTo>
                    <a:pt x="1549" y="1429"/>
                  </a:lnTo>
                  <a:lnTo>
                    <a:pt x="1551" y="1429"/>
                  </a:lnTo>
                  <a:lnTo>
                    <a:pt x="1551" y="1432"/>
                  </a:lnTo>
                  <a:lnTo>
                    <a:pt x="1554" y="1443"/>
                  </a:lnTo>
                  <a:lnTo>
                    <a:pt x="1555" y="1446"/>
                  </a:lnTo>
                  <a:lnTo>
                    <a:pt x="1555" y="1448"/>
                  </a:lnTo>
                  <a:lnTo>
                    <a:pt x="1557" y="1451"/>
                  </a:lnTo>
                  <a:lnTo>
                    <a:pt x="1558" y="1452"/>
                  </a:lnTo>
                  <a:lnTo>
                    <a:pt x="1558" y="1457"/>
                  </a:lnTo>
                  <a:lnTo>
                    <a:pt x="1557" y="1460"/>
                  </a:lnTo>
                  <a:lnTo>
                    <a:pt x="1554" y="1460"/>
                  </a:lnTo>
                  <a:lnTo>
                    <a:pt x="1549" y="1458"/>
                  </a:lnTo>
                  <a:lnTo>
                    <a:pt x="1546" y="1455"/>
                  </a:lnTo>
                  <a:lnTo>
                    <a:pt x="1545" y="1455"/>
                  </a:lnTo>
                  <a:lnTo>
                    <a:pt x="1534" y="1457"/>
                  </a:lnTo>
                  <a:lnTo>
                    <a:pt x="1532" y="1457"/>
                  </a:lnTo>
                  <a:lnTo>
                    <a:pt x="1531" y="1454"/>
                  </a:lnTo>
                  <a:lnTo>
                    <a:pt x="1526" y="1449"/>
                  </a:lnTo>
                  <a:lnTo>
                    <a:pt x="1523" y="1444"/>
                  </a:lnTo>
                  <a:lnTo>
                    <a:pt x="1511" y="1437"/>
                  </a:lnTo>
                  <a:lnTo>
                    <a:pt x="1508" y="1435"/>
                  </a:lnTo>
                  <a:lnTo>
                    <a:pt x="1505" y="1437"/>
                  </a:lnTo>
                  <a:lnTo>
                    <a:pt x="1505" y="1438"/>
                  </a:lnTo>
                  <a:lnTo>
                    <a:pt x="1503" y="1446"/>
                  </a:lnTo>
                  <a:lnTo>
                    <a:pt x="1503" y="1449"/>
                  </a:lnTo>
                  <a:lnTo>
                    <a:pt x="1505" y="1449"/>
                  </a:lnTo>
                  <a:lnTo>
                    <a:pt x="1509" y="1446"/>
                  </a:lnTo>
                  <a:lnTo>
                    <a:pt x="1511" y="1444"/>
                  </a:lnTo>
                  <a:lnTo>
                    <a:pt x="1512" y="1449"/>
                  </a:lnTo>
                  <a:lnTo>
                    <a:pt x="1511" y="1449"/>
                  </a:lnTo>
                  <a:lnTo>
                    <a:pt x="1506" y="1451"/>
                  </a:lnTo>
                  <a:lnTo>
                    <a:pt x="1505" y="1451"/>
                  </a:lnTo>
                  <a:lnTo>
                    <a:pt x="1501" y="1452"/>
                  </a:lnTo>
                  <a:lnTo>
                    <a:pt x="1500" y="1454"/>
                  </a:lnTo>
                  <a:lnTo>
                    <a:pt x="1501" y="1455"/>
                  </a:lnTo>
                  <a:lnTo>
                    <a:pt x="1498" y="1457"/>
                  </a:lnTo>
                  <a:lnTo>
                    <a:pt x="1486" y="1458"/>
                  </a:lnTo>
                  <a:lnTo>
                    <a:pt x="1477" y="1452"/>
                  </a:lnTo>
                  <a:lnTo>
                    <a:pt x="1472" y="1448"/>
                  </a:lnTo>
                  <a:lnTo>
                    <a:pt x="1469" y="1444"/>
                  </a:lnTo>
                  <a:lnTo>
                    <a:pt x="1469" y="1441"/>
                  </a:lnTo>
                  <a:lnTo>
                    <a:pt x="1466" y="1441"/>
                  </a:lnTo>
                  <a:lnTo>
                    <a:pt x="1463" y="1441"/>
                  </a:lnTo>
                  <a:lnTo>
                    <a:pt x="1455" y="1438"/>
                  </a:lnTo>
                  <a:lnTo>
                    <a:pt x="1448" y="1432"/>
                  </a:lnTo>
                  <a:lnTo>
                    <a:pt x="1438" y="1426"/>
                  </a:lnTo>
                  <a:lnTo>
                    <a:pt x="1435" y="1424"/>
                  </a:lnTo>
                  <a:lnTo>
                    <a:pt x="1431" y="1424"/>
                  </a:lnTo>
                  <a:lnTo>
                    <a:pt x="1424" y="1423"/>
                  </a:lnTo>
                  <a:lnTo>
                    <a:pt x="1417" y="1420"/>
                  </a:lnTo>
                  <a:lnTo>
                    <a:pt x="1408" y="1417"/>
                  </a:lnTo>
                  <a:lnTo>
                    <a:pt x="1404" y="1412"/>
                  </a:lnTo>
                  <a:lnTo>
                    <a:pt x="1403" y="1411"/>
                  </a:lnTo>
                  <a:lnTo>
                    <a:pt x="1401" y="1411"/>
                  </a:lnTo>
                  <a:lnTo>
                    <a:pt x="1401" y="1414"/>
                  </a:lnTo>
                  <a:lnTo>
                    <a:pt x="1401" y="1415"/>
                  </a:lnTo>
                  <a:lnTo>
                    <a:pt x="1406" y="1420"/>
                  </a:lnTo>
                  <a:lnTo>
                    <a:pt x="1406" y="1420"/>
                  </a:lnTo>
                  <a:lnTo>
                    <a:pt x="1404" y="1424"/>
                  </a:lnTo>
                  <a:lnTo>
                    <a:pt x="1403" y="1424"/>
                  </a:lnTo>
                  <a:lnTo>
                    <a:pt x="1398" y="1421"/>
                  </a:lnTo>
                  <a:lnTo>
                    <a:pt x="1395" y="1421"/>
                  </a:lnTo>
                  <a:lnTo>
                    <a:pt x="1391" y="1426"/>
                  </a:lnTo>
                  <a:lnTo>
                    <a:pt x="1387" y="1428"/>
                  </a:lnTo>
                  <a:lnTo>
                    <a:pt x="1384" y="1428"/>
                  </a:lnTo>
                  <a:lnTo>
                    <a:pt x="1383" y="1428"/>
                  </a:lnTo>
                  <a:lnTo>
                    <a:pt x="1383" y="1429"/>
                  </a:lnTo>
                  <a:lnTo>
                    <a:pt x="1383" y="1431"/>
                  </a:lnTo>
                  <a:lnTo>
                    <a:pt x="1383" y="1434"/>
                  </a:lnTo>
                  <a:lnTo>
                    <a:pt x="1381" y="1437"/>
                  </a:lnTo>
                  <a:lnTo>
                    <a:pt x="1381" y="1438"/>
                  </a:lnTo>
                  <a:lnTo>
                    <a:pt x="1378" y="1438"/>
                  </a:lnTo>
                  <a:lnTo>
                    <a:pt x="1377" y="1440"/>
                  </a:lnTo>
                  <a:lnTo>
                    <a:pt x="1375" y="1441"/>
                  </a:lnTo>
                  <a:lnTo>
                    <a:pt x="1374" y="1441"/>
                  </a:lnTo>
                  <a:lnTo>
                    <a:pt x="1374" y="1441"/>
                  </a:lnTo>
                  <a:lnTo>
                    <a:pt x="1372" y="1438"/>
                  </a:lnTo>
                  <a:lnTo>
                    <a:pt x="1377" y="1437"/>
                  </a:lnTo>
                  <a:lnTo>
                    <a:pt x="1378" y="1435"/>
                  </a:lnTo>
                  <a:lnTo>
                    <a:pt x="1378" y="1434"/>
                  </a:lnTo>
                  <a:lnTo>
                    <a:pt x="1380" y="1432"/>
                  </a:lnTo>
                  <a:lnTo>
                    <a:pt x="1378" y="1431"/>
                  </a:lnTo>
                  <a:lnTo>
                    <a:pt x="1374" y="1424"/>
                  </a:lnTo>
                  <a:lnTo>
                    <a:pt x="1372" y="1421"/>
                  </a:lnTo>
                  <a:lnTo>
                    <a:pt x="1375" y="1417"/>
                  </a:lnTo>
                  <a:lnTo>
                    <a:pt x="1377" y="1417"/>
                  </a:lnTo>
                  <a:lnTo>
                    <a:pt x="1381" y="1417"/>
                  </a:lnTo>
                  <a:lnTo>
                    <a:pt x="1387" y="1417"/>
                  </a:lnTo>
                  <a:lnTo>
                    <a:pt x="1389" y="1417"/>
                  </a:lnTo>
                  <a:lnTo>
                    <a:pt x="1392" y="1414"/>
                  </a:lnTo>
                  <a:lnTo>
                    <a:pt x="1394" y="1415"/>
                  </a:lnTo>
                  <a:lnTo>
                    <a:pt x="1397" y="1418"/>
                  </a:lnTo>
                  <a:lnTo>
                    <a:pt x="1400" y="1418"/>
                  </a:lnTo>
                  <a:lnTo>
                    <a:pt x="1400" y="1417"/>
                  </a:lnTo>
                  <a:lnTo>
                    <a:pt x="1398" y="1415"/>
                  </a:lnTo>
                  <a:lnTo>
                    <a:pt x="1397" y="1412"/>
                  </a:lnTo>
                  <a:lnTo>
                    <a:pt x="1397" y="1411"/>
                  </a:lnTo>
                  <a:lnTo>
                    <a:pt x="1398" y="1406"/>
                  </a:lnTo>
                  <a:lnTo>
                    <a:pt x="1397" y="1404"/>
                  </a:lnTo>
                  <a:lnTo>
                    <a:pt x="1389" y="1406"/>
                  </a:lnTo>
                  <a:lnTo>
                    <a:pt x="1380" y="1406"/>
                  </a:lnTo>
                  <a:lnTo>
                    <a:pt x="1374" y="1404"/>
                  </a:lnTo>
                  <a:lnTo>
                    <a:pt x="1355" y="1394"/>
                  </a:lnTo>
                  <a:lnTo>
                    <a:pt x="1349" y="1386"/>
                  </a:lnTo>
                  <a:lnTo>
                    <a:pt x="1347" y="1383"/>
                  </a:lnTo>
                  <a:lnTo>
                    <a:pt x="1349" y="1380"/>
                  </a:lnTo>
                  <a:lnTo>
                    <a:pt x="1347" y="1377"/>
                  </a:lnTo>
                  <a:lnTo>
                    <a:pt x="1346" y="1374"/>
                  </a:lnTo>
                  <a:lnTo>
                    <a:pt x="1341" y="1372"/>
                  </a:lnTo>
                  <a:lnTo>
                    <a:pt x="1337" y="1371"/>
                  </a:lnTo>
                  <a:lnTo>
                    <a:pt x="1332" y="1367"/>
                  </a:lnTo>
                  <a:lnTo>
                    <a:pt x="1324" y="1361"/>
                  </a:lnTo>
                  <a:lnTo>
                    <a:pt x="1320" y="1360"/>
                  </a:lnTo>
                  <a:lnTo>
                    <a:pt x="1312" y="1355"/>
                  </a:lnTo>
                  <a:lnTo>
                    <a:pt x="1304" y="1352"/>
                  </a:lnTo>
                  <a:lnTo>
                    <a:pt x="1300" y="1349"/>
                  </a:lnTo>
                  <a:lnTo>
                    <a:pt x="1295" y="1349"/>
                  </a:lnTo>
                  <a:lnTo>
                    <a:pt x="1294" y="1351"/>
                  </a:lnTo>
                  <a:lnTo>
                    <a:pt x="1292" y="1351"/>
                  </a:lnTo>
                  <a:lnTo>
                    <a:pt x="1287" y="1352"/>
                  </a:lnTo>
                  <a:lnTo>
                    <a:pt x="1281" y="1354"/>
                  </a:lnTo>
                  <a:lnTo>
                    <a:pt x="1281" y="1357"/>
                  </a:lnTo>
                  <a:lnTo>
                    <a:pt x="1286" y="1360"/>
                  </a:lnTo>
                  <a:lnTo>
                    <a:pt x="1286" y="1366"/>
                  </a:lnTo>
                  <a:lnTo>
                    <a:pt x="1284" y="1367"/>
                  </a:lnTo>
                  <a:lnTo>
                    <a:pt x="1283" y="1374"/>
                  </a:lnTo>
                  <a:lnTo>
                    <a:pt x="1283" y="1375"/>
                  </a:lnTo>
                  <a:lnTo>
                    <a:pt x="1281" y="1380"/>
                  </a:lnTo>
                  <a:lnTo>
                    <a:pt x="1281" y="1383"/>
                  </a:lnTo>
                  <a:lnTo>
                    <a:pt x="1281" y="1386"/>
                  </a:lnTo>
                  <a:lnTo>
                    <a:pt x="1278" y="1387"/>
                  </a:lnTo>
                  <a:lnTo>
                    <a:pt x="1272" y="1391"/>
                  </a:lnTo>
                  <a:lnTo>
                    <a:pt x="1269" y="1392"/>
                  </a:lnTo>
                  <a:lnTo>
                    <a:pt x="1267" y="1397"/>
                  </a:lnTo>
                  <a:lnTo>
                    <a:pt x="1263" y="1397"/>
                  </a:lnTo>
                  <a:lnTo>
                    <a:pt x="1261" y="1392"/>
                  </a:lnTo>
                  <a:lnTo>
                    <a:pt x="1255" y="1391"/>
                  </a:lnTo>
                  <a:lnTo>
                    <a:pt x="1253" y="1394"/>
                  </a:lnTo>
                  <a:lnTo>
                    <a:pt x="1255" y="1398"/>
                  </a:lnTo>
                  <a:lnTo>
                    <a:pt x="1257" y="1403"/>
                  </a:lnTo>
                  <a:lnTo>
                    <a:pt x="1258" y="1406"/>
                  </a:lnTo>
                  <a:lnTo>
                    <a:pt x="1263" y="1409"/>
                  </a:lnTo>
                  <a:lnTo>
                    <a:pt x="1263" y="1411"/>
                  </a:lnTo>
                  <a:lnTo>
                    <a:pt x="1258" y="1407"/>
                  </a:lnTo>
                  <a:lnTo>
                    <a:pt x="1260" y="1409"/>
                  </a:lnTo>
                  <a:lnTo>
                    <a:pt x="1260" y="1414"/>
                  </a:lnTo>
                  <a:lnTo>
                    <a:pt x="1260" y="1415"/>
                  </a:lnTo>
                  <a:lnTo>
                    <a:pt x="1260" y="1420"/>
                  </a:lnTo>
                  <a:lnTo>
                    <a:pt x="1261" y="1423"/>
                  </a:lnTo>
                  <a:lnTo>
                    <a:pt x="1263" y="1429"/>
                  </a:lnTo>
                  <a:lnTo>
                    <a:pt x="1269" y="1429"/>
                  </a:lnTo>
                  <a:lnTo>
                    <a:pt x="1272" y="1431"/>
                  </a:lnTo>
                  <a:lnTo>
                    <a:pt x="1277" y="1435"/>
                  </a:lnTo>
                  <a:lnTo>
                    <a:pt x="1280" y="1443"/>
                  </a:lnTo>
                  <a:lnTo>
                    <a:pt x="1283" y="1451"/>
                  </a:lnTo>
                  <a:lnTo>
                    <a:pt x="1300" y="1475"/>
                  </a:lnTo>
                  <a:lnTo>
                    <a:pt x="1304" y="1484"/>
                  </a:lnTo>
                  <a:lnTo>
                    <a:pt x="1317" y="1492"/>
                  </a:lnTo>
                  <a:lnTo>
                    <a:pt x="1321" y="1494"/>
                  </a:lnTo>
                  <a:lnTo>
                    <a:pt x="1324" y="1491"/>
                  </a:lnTo>
                  <a:lnTo>
                    <a:pt x="1331" y="1486"/>
                  </a:lnTo>
                  <a:lnTo>
                    <a:pt x="1334" y="1486"/>
                  </a:lnTo>
                  <a:lnTo>
                    <a:pt x="1337" y="1486"/>
                  </a:lnTo>
                  <a:lnTo>
                    <a:pt x="1340" y="1488"/>
                  </a:lnTo>
                  <a:lnTo>
                    <a:pt x="1343" y="1488"/>
                  </a:lnTo>
                  <a:lnTo>
                    <a:pt x="1344" y="1486"/>
                  </a:lnTo>
                  <a:lnTo>
                    <a:pt x="1344" y="1481"/>
                  </a:lnTo>
                  <a:lnTo>
                    <a:pt x="1346" y="1478"/>
                  </a:lnTo>
                  <a:lnTo>
                    <a:pt x="1351" y="1477"/>
                  </a:lnTo>
                  <a:lnTo>
                    <a:pt x="1354" y="1478"/>
                  </a:lnTo>
                  <a:lnTo>
                    <a:pt x="1355" y="1480"/>
                  </a:lnTo>
                  <a:lnTo>
                    <a:pt x="1355" y="1480"/>
                  </a:lnTo>
                  <a:lnTo>
                    <a:pt x="1355" y="1488"/>
                  </a:lnTo>
                  <a:lnTo>
                    <a:pt x="1357" y="1491"/>
                  </a:lnTo>
                  <a:lnTo>
                    <a:pt x="1366" y="1489"/>
                  </a:lnTo>
                  <a:lnTo>
                    <a:pt x="1366" y="1491"/>
                  </a:lnTo>
                  <a:lnTo>
                    <a:pt x="1364" y="1491"/>
                  </a:lnTo>
                  <a:lnTo>
                    <a:pt x="1363" y="1492"/>
                  </a:lnTo>
                  <a:lnTo>
                    <a:pt x="1363" y="1494"/>
                  </a:lnTo>
                  <a:lnTo>
                    <a:pt x="1364" y="1494"/>
                  </a:lnTo>
                  <a:lnTo>
                    <a:pt x="1366" y="1497"/>
                  </a:lnTo>
                  <a:lnTo>
                    <a:pt x="1371" y="1498"/>
                  </a:lnTo>
                  <a:lnTo>
                    <a:pt x="1371" y="1500"/>
                  </a:lnTo>
                  <a:lnTo>
                    <a:pt x="1372" y="1501"/>
                  </a:lnTo>
                  <a:lnTo>
                    <a:pt x="1371" y="1504"/>
                  </a:lnTo>
                  <a:lnTo>
                    <a:pt x="1364" y="1508"/>
                  </a:lnTo>
                  <a:lnTo>
                    <a:pt x="1363" y="1511"/>
                  </a:lnTo>
                  <a:lnTo>
                    <a:pt x="1363" y="1514"/>
                  </a:lnTo>
                  <a:lnTo>
                    <a:pt x="1366" y="1517"/>
                  </a:lnTo>
                  <a:lnTo>
                    <a:pt x="1371" y="1521"/>
                  </a:lnTo>
                  <a:lnTo>
                    <a:pt x="1372" y="1525"/>
                  </a:lnTo>
                  <a:lnTo>
                    <a:pt x="1374" y="1526"/>
                  </a:lnTo>
                  <a:lnTo>
                    <a:pt x="1377" y="1541"/>
                  </a:lnTo>
                  <a:lnTo>
                    <a:pt x="1377" y="1546"/>
                  </a:lnTo>
                  <a:lnTo>
                    <a:pt x="1375" y="1549"/>
                  </a:lnTo>
                  <a:lnTo>
                    <a:pt x="1371" y="1560"/>
                  </a:lnTo>
                  <a:lnTo>
                    <a:pt x="1369" y="1561"/>
                  </a:lnTo>
                  <a:lnTo>
                    <a:pt x="1366" y="1561"/>
                  </a:lnTo>
                  <a:lnTo>
                    <a:pt x="1360" y="1566"/>
                  </a:lnTo>
                  <a:lnTo>
                    <a:pt x="1357" y="1569"/>
                  </a:lnTo>
                  <a:lnTo>
                    <a:pt x="1349" y="1568"/>
                  </a:lnTo>
                  <a:lnTo>
                    <a:pt x="1344" y="1569"/>
                  </a:lnTo>
                  <a:lnTo>
                    <a:pt x="1341" y="1572"/>
                  </a:lnTo>
                  <a:lnTo>
                    <a:pt x="1341" y="1575"/>
                  </a:lnTo>
                  <a:lnTo>
                    <a:pt x="1341" y="1578"/>
                  </a:lnTo>
                  <a:lnTo>
                    <a:pt x="1341" y="1583"/>
                  </a:lnTo>
                  <a:lnTo>
                    <a:pt x="1335" y="1586"/>
                  </a:lnTo>
                  <a:lnTo>
                    <a:pt x="1327" y="1588"/>
                  </a:lnTo>
                  <a:lnTo>
                    <a:pt x="1317" y="1583"/>
                  </a:lnTo>
                  <a:lnTo>
                    <a:pt x="1317" y="1581"/>
                  </a:lnTo>
                  <a:lnTo>
                    <a:pt x="1315" y="1581"/>
                  </a:lnTo>
                  <a:lnTo>
                    <a:pt x="1315" y="1578"/>
                  </a:lnTo>
                  <a:lnTo>
                    <a:pt x="1314" y="1578"/>
                  </a:lnTo>
                  <a:lnTo>
                    <a:pt x="1314" y="1578"/>
                  </a:lnTo>
                  <a:lnTo>
                    <a:pt x="1310" y="1572"/>
                  </a:lnTo>
                  <a:lnTo>
                    <a:pt x="1309" y="1571"/>
                  </a:lnTo>
                  <a:lnTo>
                    <a:pt x="1307" y="1569"/>
                  </a:lnTo>
                  <a:lnTo>
                    <a:pt x="1297" y="1569"/>
                  </a:lnTo>
                  <a:lnTo>
                    <a:pt x="1295" y="1568"/>
                  </a:lnTo>
                  <a:lnTo>
                    <a:pt x="1292" y="1565"/>
                  </a:lnTo>
                  <a:lnTo>
                    <a:pt x="1290" y="1563"/>
                  </a:lnTo>
                  <a:lnTo>
                    <a:pt x="1289" y="1565"/>
                  </a:lnTo>
                  <a:lnTo>
                    <a:pt x="1286" y="1566"/>
                  </a:lnTo>
                  <a:lnTo>
                    <a:pt x="1284" y="1568"/>
                  </a:lnTo>
                  <a:lnTo>
                    <a:pt x="1283" y="1566"/>
                  </a:lnTo>
                  <a:lnTo>
                    <a:pt x="1281" y="1563"/>
                  </a:lnTo>
                  <a:lnTo>
                    <a:pt x="1280" y="1563"/>
                  </a:lnTo>
                  <a:lnTo>
                    <a:pt x="1278" y="1561"/>
                  </a:lnTo>
                  <a:lnTo>
                    <a:pt x="1274" y="1565"/>
                  </a:lnTo>
                  <a:lnTo>
                    <a:pt x="1272" y="1565"/>
                  </a:lnTo>
                  <a:lnTo>
                    <a:pt x="1269" y="1560"/>
                  </a:lnTo>
                  <a:lnTo>
                    <a:pt x="1269" y="1560"/>
                  </a:lnTo>
                  <a:lnTo>
                    <a:pt x="1267" y="1560"/>
                  </a:lnTo>
                  <a:lnTo>
                    <a:pt x="1264" y="1557"/>
                  </a:lnTo>
                  <a:lnTo>
                    <a:pt x="1263" y="1557"/>
                  </a:lnTo>
                  <a:lnTo>
                    <a:pt x="1258" y="1557"/>
                  </a:lnTo>
                  <a:lnTo>
                    <a:pt x="1257" y="1557"/>
                  </a:lnTo>
                  <a:lnTo>
                    <a:pt x="1255" y="1555"/>
                  </a:lnTo>
                  <a:lnTo>
                    <a:pt x="1252" y="1552"/>
                  </a:lnTo>
                  <a:lnTo>
                    <a:pt x="1247" y="1552"/>
                  </a:lnTo>
                  <a:lnTo>
                    <a:pt x="1243" y="1551"/>
                  </a:lnTo>
                  <a:lnTo>
                    <a:pt x="1241" y="1548"/>
                  </a:lnTo>
                  <a:lnTo>
                    <a:pt x="1241" y="1546"/>
                  </a:lnTo>
                  <a:lnTo>
                    <a:pt x="1243" y="1545"/>
                  </a:lnTo>
                  <a:lnTo>
                    <a:pt x="1240" y="1541"/>
                  </a:lnTo>
                  <a:lnTo>
                    <a:pt x="1237" y="1538"/>
                  </a:lnTo>
                  <a:lnTo>
                    <a:pt x="1237" y="1534"/>
                  </a:lnTo>
                  <a:lnTo>
                    <a:pt x="1238" y="1532"/>
                  </a:lnTo>
                  <a:lnTo>
                    <a:pt x="1238" y="1531"/>
                  </a:lnTo>
                  <a:lnTo>
                    <a:pt x="1238" y="1529"/>
                  </a:lnTo>
                  <a:lnTo>
                    <a:pt x="1235" y="1526"/>
                  </a:lnTo>
                  <a:lnTo>
                    <a:pt x="1233" y="1523"/>
                  </a:lnTo>
                  <a:lnTo>
                    <a:pt x="1230" y="1518"/>
                  </a:lnTo>
                  <a:lnTo>
                    <a:pt x="1227" y="1517"/>
                  </a:lnTo>
                  <a:lnTo>
                    <a:pt x="1226" y="1515"/>
                  </a:lnTo>
                  <a:lnTo>
                    <a:pt x="1223" y="1517"/>
                  </a:lnTo>
                  <a:lnTo>
                    <a:pt x="1221" y="1518"/>
                  </a:lnTo>
                  <a:lnTo>
                    <a:pt x="1220" y="1518"/>
                  </a:lnTo>
                  <a:lnTo>
                    <a:pt x="1218" y="1517"/>
                  </a:lnTo>
                  <a:lnTo>
                    <a:pt x="1218" y="1512"/>
                  </a:lnTo>
                  <a:lnTo>
                    <a:pt x="1217" y="1511"/>
                  </a:lnTo>
                  <a:lnTo>
                    <a:pt x="1217" y="1509"/>
                  </a:lnTo>
                  <a:lnTo>
                    <a:pt x="1213" y="1508"/>
                  </a:lnTo>
                  <a:lnTo>
                    <a:pt x="1212" y="1506"/>
                  </a:lnTo>
                  <a:lnTo>
                    <a:pt x="1213" y="1501"/>
                  </a:lnTo>
                  <a:lnTo>
                    <a:pt x="1210" y="1497"/>
                  </a:lnTo>
                  <a:lnTo>
                    <a:pt x="1207" y="1494"/>
                  </a:lnTo>
                  <a:lnTo>
                    <a:pt x="1200" y="1491"/>
                  </a:lnTo>
                  <a:lnTo>
                    <a:pt x="1193" y="1486"/>
                  </a:lnTo>
                  <a:lnTo>
                    <a:pt x="1190" y="1481"/>
                  </a:lnTo>
                  <a:lnTo>
                    <a:pt x="1189" y="1483"/>
                  </a:lnTo>
                  <a:lnTo>
                    <a:pt x="1189" y="1484"/>
                  </a:lnTo>
                  <a:lnTo>
                    <a:pt x="1190" y="1486"/>
                  </a:lnTo>
                  <a:lnTo>
                    <a:pt x="1190" y="1489"/>
                  </a:lnTo>
                  <a:lnTo>
                    <a:pt x="1192" y="1494"/>
                  </a:lnTo>
                  <a:lnTo>
                    <a:pt x="1190" y="1497"/>
                  </a:lnTo>
                  <a:lnTo>
                    <a:pt x="1186" y="1497"/>
                  </a:lnTo>
                  <a:lnTo>
                    <a:pt x="1181" y="1500"/>
                  </a:lnTo>
                  <a:lnTo>
                    <a:pt x="1176" y="1503"/>
                  </a:lnTo>
                  <a:lnTo>
                    <a:pt x="1172" y="1501"/>
                  </a:lnTo>
                  <a:lnTo>
                    <a:pt x="1170" y="1498"/>
                  </a:lnTo>
                  <a:lnTo>
                    <a:pt x="1170" y="1495"/>
                  </a:lnTo>
                  <a:lnTo>
                    <a:pt x="1169" y="1494"/>
                  </a:lnTo>
                  <a:lnTo>
                    <a:pt x="1170" y="1491"/>
                  </a:lnTo>
                  <a:lnTo>
                    <a:pt x="1169" y="1488"/>
                  </a:lnTo>
                  <a:lnTo>
                    <a:pt x="1167" y="1488"/>
                  </a:lnTo>
                  <a:lnTo>
                    <a:pt x="1158" y="1488"/>
                  </a:lnTo>
                  <a:lnTo>
                    <a:pt x="1156" y="1484"/>
                  </a:lnTo>
                  <a:lnTo>
                    <a:pt x="1155" y="1483"/>
                  </a:lnTo>
                  <a:lnTo>
                    <a:pt x="1150" y="1481"/>
                  </a:lnTo>
                  <a:lnTo>
                    <a:pt x="1147" y="1480"/>
                  </a:lnTo>
                  <a:lnTo>
                    <a:pt x="1143" y="1475"/>
                  </a:lnTo>
                  <a:lnTo>
                    <a:pt x="1146" y="1471"/>
                  </a:lnTo>
                  <a:lnTo>
                    <a:pt x="1147" y="1468"/>
                  </a:lnTo>
                  <a:lnTo>
                    <a:pt x="1144" y="1466"/>
                  </a:lnTo>
                  <a:lnTo>
                    <a:pt x="1141" y="1461"/>
                  </a:lnTo>
                  <a:lnTo>
                    <a:pt x="1140" y="1461"/>
                  </a:lnTo>
                  <a:lnTo>
                    <a:pt x="1135" y="1461"/>
                  </a:lnTo>
                  <a:lnTo>
                    <a:pt x="1133" y="1461"/>
                  </a:lnTo>
                  <a:lnTo>
                    <a:pt x="1132" y="1458"/>
                  </a:lnTo>
                  <a:lnTo>
                    <a:pt x="1130" y="1458"/>
                  </a:lnTo>
                  <a:lnTo>
                    <a:pt x="1129" y="1457"/>
                  </a:lnTo>
                  <a:lnTo>
                    <a:pt x="1127" y="1457"/>
                  </a:lnTo>
                  <a:lnTo>
                    <a:pt x="1129" y="1455"/>
                  </a:lnTo>
                  <a:lnTo>
                    <a:pt x="1132" y="1457"/>
                  </a:lnTo>
                  <a:lnTo>
                    <a:pt x="1132" y="1457"/>
                  </a:lnTo>
                  <a:lnTo>
                    <a:pt x="1135" y="1455"/>
                  </a:lnTo>
                  <a:lnTo>
                    <a:pt x="1138" y="1452"/>
                  </a:lnTo>
                  <a:lnTo>
                    <a:pt x="1141" y="1451"/>
                  </a:lnTo>
                  <a:lnTo>
                    <a:pt x="1144" y="1448"/>
                  </a:lnTo>
                  <a:lnTo>
                    <a:pt x="1144" y="1444"/>
                  </a:lnTo>
                  <a:lnTo>
                    <a:pt x="1141" y="1443"/>
                  </a:lnTo>
                  <a:lnTo>
                    <a:pt x="1140" y="1438"/>
                  </a:lnTo>
                  <a:lnTo>
                    <a:pt x="1133" y="1432"/>
                  </a:lnTo>
                  <a:lnTo>
                    <a:pt x="1133" y="1431"/>
                  </a:lnTo>
                  <a:lnTo>
                    <a:pt x="1135" y="1429"/>
                  </a:lnTo>
                  <a:lnTo>
                    <a:pt x="1138" y="1429"/>
                  </a:lnTo>
                  <a:lnTo>
                    <a:pt x="1141" y="1428"/>
                  </a:lnTo>
                  <a:lnTo>
                    <a:pt x="1144" y="1428"/>
                  </a:lnTo>
                  <a:lnTo>
                    <a:pt x="1147" y="1424"/>
                  </a:lnTo>
                  <a:lnTo>
                    <a:pt x="1144" y="1420"/>
                  </a:lnTo>
                  <a:lnTo>
                    <a:pt x="1143" y="1420"/>
                  </a:lnTo>
                  <a:lnTo>
                    <a:pt x="1141" y="1420"/>
                  </a:lnTo>
                  <a:lnTo>
                    <a:pt x="1138" y="1421"/>
                  </a:lnTo>
                  <a:lnTo>
                    <a:pt x="1132" y="1421"/>
                  </a:lnTo>
                  <a:lnTo>
                    <a:pt x="1132" y="1423"/>
                  </a:lnTo>
                  <a:lnTo>
                    <a:pt x="1132" y="1421"/>
                  </a:lnTo>
                  <a:lnTo>
                    <a:pt x="1129" y="1418"/>
                  </a:lnTo>
                  <a:lnTo>
                    <a:pt x="1130" y="1417"/>
                  </a:lnTo>
                  <a:lnTo>
                    <a:pt x="1135" y="1415"/>
                  </a:lnTo>
                  <a:lnTo>
                    <a:pt x="1136" y="1414"/>
                  </a:lnTo>
                  <a:lnTo>
                    <a:pt x="1140" y="1409"/>
                  </a:lnTo>
                  <a:lnTo>
                    <a:pt x="1141" y="1407"/>
                  </a:lnTo>
                  <a:lnTo>
                    <a:pt x="1143" y="1404"/>
                  </a:lnTo>
                  <a:lnTo>
                    <a:pt x="1141" y="1404"/>
                  </a:lnTo>
                  <a:lnTo>
                    <a:pt x="1140" y="1403"/>
                  </a:lnTo>
                  <a:lnTo>
                    <a:pt x="1138" y="1401"/>
                  </a:lnTo>
                  <a:lnTo>
                    <a:pt x="1138" y="1400"/>
                  </a:lnTo>
                  <a:lnTo>
                    <a:pt x="1136" y="1398"/>
                  </a:lnTo>
                  <a:lnTo>
                    <a:pt x="1136" y="1397"/>
                  </a:lnTo>
                  <a:lnTo>
                    <a:pt x="1136" y="1395"/>
                  </a:lnTo>
                  <a:lnTo>
                    <a:pt x="1136" y="1394"/>
                  </a:lnTo>
                  <a:lnTo>
                    <a:pt x="1136" y="1394"/>
                  </a:lnTo>
                  <a:lnTo>
                    <a:pt x="1136" y="1394"/>
                  </a:lnTo>
                  <a:lnTo>
                    <a:pt x="1135" y="1394"/>
                  </a:lnTo>
                  <a:lnTo>
                    <a:pt x="1135" y="1394"/>
                  </a:lnTo>
                  <a:lnTo>
                    <a:pt x="1133" y="1394"/>
                  </a:lnTo>
                  <a:lnTo>
                    <a:pt x="1132" y="1387"/>
                  </a:lnTo>
                  <a:lnTo>
                    <a:pt x="1130" y="1384"/>
                  </a:lnTo>
                  <a:lnTo>
                    <a:pt x="1127" y="1383"/>
                  </a:lnTo>
                  <a:lnTo>
                    <a:pt x="1124" y="1383"/>
                  </a:lnTo>
                  <a:lnTo>
                    <a:pt x="1126" y="1380"/>
                  </a:lnTo>
                  <a:lnTo>
                    <a:pt x="1127" y="1378"/>
                  </a:lnTo>
                  <a:lnTo>
                    <a:pt x="1129" y="1377"/>
                  </a:lnTo>
                  <a:lnTo>
                    <a:pt x="1132" y="1375"/>
                  </a:lnTo>
                  <a:lnTo>
                    <a:pt x="1133" y="1372"/>
                  </a:lnTo>
                  <a:lnTo>
                    <a:pt x="1130" y="1371"/>
                  </a:lnTo>
                  <a:lnTo>
                    <a:pt x="1129" y="1369"/>
                  </a:lnTo>
                  <a:lnTo>
                    <a:pt x="1127" y="1367"/>
                  </a:lnTo>
                  <a:lnTo>
                    <a:pt x="1129" y="1364"/>
                  </a:lnTo>
                  <a:lnTo>
                    <a:pt x="1129" y="1361"/>
                  </a:lnTo>
                  <a:lnTo>
                    <a:pt x="1129" y="1360"/>
                  </a:lnTo>
                  <a:lnTo>
                    <a:pt x="1123" y="1358"/>
                  </a:lnTo>
                  <a:lnTo>
                    <a:pt x="1121" y="1357"/>
                  </a:lnTo>
                  <a:lnTo>
                    <a:pt x="1123" y="1352"/>
                  </a:lnTo>
                  <a:lnTo>
                    <a:pt x="1119" y="1351"/>
                  </a:lnTo>
                  <a:lnTo>
                    <a:pt x="1118" y="1349"/>
                  </a:lnTo>
                  <a:lnTo>
                    <a:pt x="1119" y="1347"/>
                  </a:lnTo>
                  <a:lnTo>
                    <a:pt x="1121" y="1347"/>
                  </a:lnTo>
                  <a:lnTo>
                    <a:pt x="1123" y="1347"/>
                  </a:lnTo>
                  <a:lnTo>
                    <a:pt x="1123" y="1344"/>
                  </a:lnTo>
                  <a:lnTo>
                    <a:pt x="1123" y="1344"/>
                  </a:lnTo>
                  <a:lnTo>
                    <a:pt x="1119" y="1340"/>
                  </a:lnTo>
                  <a:lnTo>
                    <a:pt x="1119" y="1338"/>
                  </a:lnTo>
                  <a:lnTo>
                    <a:pt x="1116" y="1340"/>
                  </a:lnTo>
                  <a:lnTo>
                    <a:pt x="1119" y="1337"/>
                  </a:lnTo>
                  <a:lnTo>
                    <a:pt x="1118" y="1334"/>
                  </a:lnTo>
                  <a:lnTo>
                    <a:pt x="1113" y="1334"/>
                  </a:lnTo>
                  <a:lnTo>
                    <a:pt x="1110" y="1334"/>
                  </a:lnTo>
                  <a:lnTo>
                    <a:pt x="1112" y="1330"/>
                  </a:lnTo>
                  <a:lnTo>
                    <a:pt x="1112" y="1330"/>
                  </a:lnTo>
                  <a:lnTo>
                    <a:pt x="1109" y="1330"/>
                  </a:lnTo>
                  <a:lnTo>
                    <a:pt x="1107" y="1329"/>
                  </a:lnTo>
                  <a:lnTo>
                    <a:pt x="1107" y="1327"/>
                  </a:lnTo>
                  <a:lnTo>
                    <a:pt x="1106" y="1323"/>
                  </a:lnTo>
                  <a:lnTo>
                    <a:pt x="1107" y="1321"/>
                  </a:lnTo>
                  <a:lnTo>
                    <a:pt x="1107" y="1317"/>
                  </a:lnTo>
                  <a:lnTo>
                    <a:pt x="1106" y="1315"/>
                  </a:lnTo>
                  <a:lnTo>
                    <a:pt x="1104" y="1314"/>
                  </a:lnTo>
                  <a:lnTo>
                    <a:pt x="1093" y="1310"/>
                  </a:lnTo>
                  <a:lnTo>
                    <a:pt x="1095" y="1309"/>
                  </a:lnTo>
                  <a:lnTo>
                    <a:pt x="1099" y="1309"/>
                  </a:lnTo>
                  <a:lnTo>
                    <a:pt x="1101" y="1309"/>
                  </a:lnTo>
                  <a:lnTo>
                    <a:pt x="1099" y="1307"/>
                  </a:lnTo>
                  <a:lnTo>
                    <a:pt x="1099" y="1306"/>
                  </a:lnTo>
                  <a:lnTo>
                    <a:pt x="1099" y="1304"/>
                  </a:lnTo>
                  <a:lnTo>
                    <a:pt x="1101" y="1306"/>
                  </a:lnTo>
                  <a:lnTo>
                    <a:pt x="1101" y="1304"/>
                  </a:lnTo>
                  <a:lnTo>
                    <a:pt x="1103" y="1304"/>
                  </a:lnTo>
                  <a:lnTo>
                    <a:pt x="1104" y="1304"/>
                  </a:lnTo>
                  <a:lnTo>
                    <a:pt x="1106" y="1306"/>
                  </a:lnTo>
                  <a:lnTo>
                    <a:pt x="1107" y="1306"/>
                  </a:lnTo>
                  <a:lnTo>
                    <a:pt x="1109" y="1307"/>
                  </a:lnTo>
                  <a:lnTo>
                    <a:pt x="1110" y="1306"/>
                  </a:lnTo>
                  <a:lnTo>
                    <a:pt x="1109" y="1301"/>
                  </a:lnTo>
                  <a:lnTo>
                    <a:pt x="1110" y="1298"/>
                  </a:lnTo>
                  <a:lnTo>
                    <a:pt x="1113" y="1298"/>
                  </a:lnTo>
                  <a:lnTo>
                    <a:pt x="1119" y="1300"/>
                  </a:lnTo>
                  <a:lnTo>
                    <a:pt x="1121" y="1300"/>
                  </a:lnTo>
                  <a:lnTo>
                    <a:pt x="1123" y="1298"/>
                  </a:lnTo>
                  <a:lnTo>
                    <a:pt x="1123" y="1297"/>
                  </a:lnTo>
                  <a:lnTo>
                    <a:pt x="1121" y="1294"/>
                  </a:lnTo>
                  <a:lnTo>
                    <a:pt x="1119" y="1294"/>
                  </a:lnTo>
                  <a:lnTo>
                    <a:pt x="1119" y="1292"/>
                  </a:lnTo>
                  <a:lnTo>
                    <a:pt x="1121" y="1289"/>
                  </a:lnTo>
                  <a:lnTo>
                    <a:pt x="1124" y="1287"/>
                  </a:lnTo>
                  <a:lnTo>
                    <a:pt x="1127" y="1283"/>
                  </a:lnTo>
                  <a:lnTo>
                    <a:pt x="1127" y="1275"/>
                  </a:lnTo>
                  <a:lnTo>
                    <a:pt x="1129" y="1275"/>
                  </a:lnTo>
                  <a:lnTo>
                    <a:pt x="1130" y="1274"/>
                  </a:lnTo>
                  <a:lnTo>
                    <a:pt x="1129" y="1270"/>
                  </a:lnTo>
                  <a:lnTo>
                    <a:pt x="1127" y="1266"/>
                  </a:lnTo>
                  <a:lnTo>
                    <a:pt x="1127" y="1263"/>
                  </a:lnTo>
                  <a:lnTo>
                    <a:pt x="1127" y="1261"/>
                  </a:lnTo>
                  <a:lnTo>
                    <a:pt x="1126" y="1260"/>
                  </a:lnTo>
                  <a:lnTo>
                    <a:pt x="1124" y="1258"/>
                  </a:lnTo>
                  <a:lnTo>
                    <a:pt x="1124" y="1257"/>
                  </a:lnTo>
                  <a:lnTo>
                    <a:pt x="1126" y="1255"/>
                  </a:lnTo>
                  <a:lnTo>
                    <a:pt x="1127" y="1253"/>
                  </a:lnTo>
                  <a:lnTo>
                    <a:pt x="1129" y="1252"/>
                  </a:lnTo>
                  <a:lnTo>
                    <a:pt x="1127" y="1250"/>
                  </a:lnTo>
                  <a:lnTo>
                    <a:pt x="1124" y="1250"/>
                  </a:lnTo>
                  <a:lnTo>
                    <a:pt x="1123" y="1249"/>
                  </a:lnTo>
                  <a:lnTo>
                    <a:pt x="1124" y="1249"/>
                  </a:lnTo>
                  <a:lnTo>
                    <a:pt x="1123" y="1243"/>
                  </a:lnTo>
                  <a:lnTo>
                    <a:pt x="1123" y="1241"/>
                  </a:lnTo>
                  <a:lnTo>
                    <a:pt x="1123" y="1240"/>
                  </a:lnTo>
                  <a:lnTo>
                    <a:pt x="1123" y="1235"/>
                  </a:lnTo>
                  <a:lnTo>
                    <a:pt x="1124" y="1237"/>
                  </a:lnTo>
                  <a:lnTo>
                    <a:pt x="1129" y="1241"/>
                  </a:lnTo>
                  <a:lnTo>
                    <a:pt x="1140" y="1253"/>
                  </a:lnTo>
                  <a:lnTo>
                    <a:pt x="1141" y="1253"/>
                  </a:lnTo>
                  <a:lnTo>
                    <a:pt x="1141" y="1253"/>
                  </a:lnTo>
                  <a:lnTo>
                    <a:pt x="1143" y="1250"/>
                  </a:lnTo>
                  <a:lnTo>
                    <a:pt x="1144" y="1249"/>
                  </a:lnTo>
                  <a:lnTo>
                    <a:pt x="1141" y="1247"/>
                  </a:lnTo>
                  <a:lnTo>
                    <a:pt x="1138" y="1244"/>
                  </a:lnTo>
                  <a:lnTo>
                    <a:pt x="1138" y="1243"/>
                  </a:lnTo>
                  <a:lnTo>
                    <a:pt x="1136" y="1241"/>
                  </a:lnTo>
                  <a:lnTo>
                    <a:pt x="1136" y="1240"/>
                  </a:lnTo>
                  <a:lnTo>
                    <a:pt x="1138" y="1238"/>
                  </a:lnTo>
                  <a:lnTo>
                    <a:pt x="1138" y="1237"/>
                  </a:lnTo>
                  <a:lnTo>
                    <a:pt x="1140" y="1235"/>
                  </a:lnTo>
                  <a:lnTo>
                    <a:pt x="1140" y="1232"/>
                  </a:lnTo>
                  <a:lnTo>
                    <a:pt x="1138" y="1230"/>
                  </a:lnTo>
                  <a:lnTo>
                    <a:pt x="1135" y="1232"/>
                  </a:lnTo>
                  <a:lnTo>
                    <a:pt x="1135" y="1230"/>
                  </a:lnTo>
                  <a:lnTo>
                    <a:pt x="1133" y="1229"/>
                  </a:lnTo>
                  <a:lnTo>
                    <a:pt x="1135" y="1223"/>
                  </a:lnTo>
                  <a:lnTo>
                    <a:pt x="1136" y="1223"/>
                  </a:lnTo>
                  <a:lnTo>
                    <a:pt x="1136" y="1220"/>
                  </a:lnTo>
                  <a:lnTo>
                    <a:pt x="1135" y="1218"/>
                  </a:lnTo>
                  <a:lnTo>
                    <a:pt x="1135" y="1217"/>
                  </a:lnTo>
                  <a:lnTo>
                    <a:pt x="1135" y="1217"/>
                  </a:lnTo>
                  <a:lnTo>
                    <a:pt x="1132" y="1217"/>
                  </a:lnTo>
                  <a:lnTo>
                    <a:pt x="1132" y="1217"/>
                  </a:lnTo>
                  <a:lnTo>
                    <a:pt x="1130" y="1215"/>
                  </a:lnTo>
                  <a:lnTo>
                    <a:pt x="1130" y="1215"/>
                  </a:lnTo>
                  <a:lnTo>
                    <a:pt x="1129" y="1215"/>
                  </a:lnTo>
                  <a:lnTo>
                    <a:pt x="1126" y="1217"/>
                  </a:lnTo>
                  <a:lnTo>
                    <a:pt x="1124" y="1217"/>
                  </a:lnTo>
                  <a:lnTo>
                    <a:pt x="1124" y="1217"/>
                  </a:lnTo>
                  <a:lnTo>
                    <a:pt x="1124" y="1215"/>
                  </a:lnTo>
                  <a:lnTo>
                    <a:pt x="1124" y="1213"/>
                  </a:lnTo>
                  <a:lnTo>
                    <a:pt x="1126" y="1212"/>
                  </a:lnTo>
                  <a:lnTo>
                    <a:pt x="1123" y="1210"/>
                  </a:lnTo>
                  <a:lnTo>
                    <a:pt x="1123" y="1210"/>
                  </a:lnTo>
                  <a:lnTo>
                    <a:pt x="1121" y="1209"/>
                  </a:lnTo>
                  <a:lnTo>
                    <a:pt x="1124" y="1206"/>
                  </a:lnTo>
                  <a:lnTo>
                    <a:pt x="1126" y="1204"/>
                  </a:lnTo>
                  <a:lnTo>
                    <a:pt x="1126" y="1203"/>
                  </a:lnTo>
                  <a:lnTo>
                    <a:pt x="1126" y="1201"/>
                  </a:lnTo>
                  <a:lnTo>
                    <a:pt x="1121" y="1195"/>
                  </a:lnTo>
                  <a:lnTo>
                    <a:pt x="1121" y="1195"/>
                  </a:lnTo>
                  <a:lnTo>
                    <a:pt x="1119" y="1193"/>
                  </a:lnTo>
                  <a:lnTo>
                    <a:pt x="1118" y="1189"/>
                  </a:lnTo>
                  <a:lnTo>
                    <a:pt x="1115" y="1187"/>
                  </a:lnTo>
                  <a:lnTo>
                    <a:pt x="1113" y="1183"/>
                  </a:lnTo>
                  <a:lnTo>
                    <a:pt x="1112" y="1181"/>
                  </a:lnTo>
                  <a:lnTo>
                    <a:pt x="1112" y="1183"/>
                  </a:lnTo>
                  <a:lnTo>
                    <a:pt x="1109" y="1178"/>
                  </a:lnTo>
                  <a:lnTo>
                    <a:pt x="1096" y="1170"/>
                  </a:lnTo>
                  <a:lnTo>
                    <a:pt x="1093" y="1169"/>
                  </a:lnTo>
                  <a:lnTo>
                    <a:pt x="1092" y="1169"/>
                  </a:lnTo>
                  <a:lnTo>
                    <a:pt x="1089" y="1167"/>
                  </a:lnTo>
                  <a:lnTo>
                    <a:pt x="1084" y="1166"/>
                  </a:lnTo>
                  <a:lnTo>
                    <a:pt x="1083" y="1166"/>
                  </a:lnTo>
                  <a:lnTo>
                    <a:pt x="1083" y="1164"/>
                  </a:lnTo>
                  <a:lnTo>
                    <a:pt x="1084" y="1163"/>
                  </a:lnTo>
                  <a:lnTo>
                    <a:pt x="1084" y="1161"/>
                  </a:lnTo>
                  <a:lnTo>
                    <a:pt x="1084" y="1160"/>
                  </a:lnTo>
                  <a:lnTo>
                    <a:pt x="1083" y="1158"/>
                  </a:lnTo>
                  <a:lnTo>
                    <a:pt x="1081" y="1155"/>
                  </a:lnTo>
                  <a:lnTo>
                    <a:pt x="1079" y="1155"/>
                  </a:lnTo>
                  <a:lnTo>
                    <a:pt x="1078" y="1153"/>
                  </a:lnTo>
                  <a:lnTo>
                    <a:pt x="1070" y="1153"/>
                  </a:lnTo>
                  <a:lnTo>
                    <a:pt x="1069" y="1155"/>
                  </a:lnTo>
                  <a:lnTo>
                    <a:pt x="1067" y="1155"/>
                  </a:lnTo>
                  <a:lnTo>
                    <a:pt x="1066" y="1156"/>
                  </a:lnTo>
                  <a:lnTo>
                    <a:pt x="1064" y="1158"/>
                  </a:lnTo>
                  <a:lnTo>
                    <a:pt x="1063" y="1156"/>
                  </a:lnTo>
                  <a:lnTo>
                    <a:pt x="1063" y="1155"/>
                  </a:lnTo>
                  <a:lnTo>
                    <a:pt x="1064" y="1153"/>
                  </a:lnTo>
                  <a:lnTo>
                    <a:pt x="1064" y="1152"/>
                  </a:lnTo>
                  <a:lnTo>
                    <a:pt x="1063" y="1150"/>
                  </a:lnTo>
                  <a:lnTo>
                    <a:pt x="1044" y="1143"/>
                  </a:lnTo>
                  <a:lnTo>
                    <a:pt x="1046" y="1143"/>
                  </a:lnTo>
                  <a:lnTo>
                    <a:pt x="1044" y="1141"/>
                  </a:lnTo>
                  <a:lnTo>
                    <a:pt x="1044" y="1140"/>
                  </a:lnTo>
                  <a:lnTo>
                    <a:pt x="1042" y="1140"/>
                  </a:lnTo>
                  <a:lnTo>
                    <a:pt x="1033" y="1141"/>
                  </a:lnTo>
                  <a:lnTo>
                    <a:pt x="1021" y="1141"/>
                  </a:lnTo>
                  <a:lnTo>
                    <a:pt x="1022" y="1138"/>
                  </a:lnTo>
                  <a:lnTo>
                    <a:pt x="1027" y="1136"/>
                  </a:lnTo>
                  <a:lnTo>
                    <a:pt x="1033" y="1135"/>
                  </a:lnTo>
                  <a:lnTo>
                    <a:pt x="1044" y="1136"/>
                  </a:lnTo>
                  <a:lnTo>
                    <a:pt x="1047" y="1133"/>
                  </a:lnTo>
                  <a:lnTo>
                    <a:pt x="1046" y="1130"/>
                  </a:lnTo>
                  <a:lnTo>
                    <a:pt x="1038" y="1127"/>
                  </a:lnTo>
                  <a:lnTo>
                    <a:pt x="1036" y="1126"/>
                  </a:lnTo>
                  <a:lnTo>
                    <a:pt x="1039" y="1123"/>
                  </a:lnTo>
                  <a:lnTo>
                    <a:pt x="1049" y="1124"/>
                  </a:lnTo>
                  <a:lnTo>
                    <a:pt x="1052" y="1121"/>
                  </a:lnTo>
                  <a:lnTo>
                    <a:pt x="1050" y="1118"/>
                  </a:lnTo>
                  <a:lnTo>
                    <a:pt x="1044" y="1116"/>
                  </a:lnTo>
                  <a:lnTo>
                    <a:pt x="1041" y="1115"/>
                  </a:lnTo>
                  <a:lnTo>
                    <a:pt x="1042" y="1113"/>
                  </a:lnTo>
                  <a:lnTo>
                    <a:pt x="1044" y="1113"/>
                  </a:lnTo>
                  <a:lnTo>
                    <a:pt x="1044" y="1112"/>
                  </a:lnTo>
                  <a:lnTo>
                    <a:pt x="1044" y="1109"/>
                  </a:lnTo>
                  <a:lnTo>
                    <a:pt x="1042" y="1107"/>
                  </a:lnTo>
                  <a:lnTo>
                    <a:pt x="1041" y="1109"/>
                  </a:lnTo>
                  <a:lnTo>
                    <a:pt x="1038" y="1113"/>
                  </a:lnTo>
                  <a:lnTo>
                    <a:pt x="1035" y="1115"/>
                  </a:lnTo>
                  <a:lnTo>
                    <a:pt x="1024" y="1112"/>
                  </a:lnTo>
                  <a:lnTo>
                    <a:pt x="1022" y="1110"/>
                  </a:lnTo>
                  <a:lnTo>
                    <a:pt x="1021" y="1107"/>
                  </a:lnTo>
                  <a:lnTo>
                    <a:pt x="1019" y="1107"/>
                  </a:lnTo>
                  <a:lnTo>
                    <a:pt x="1019" y="1106"/>
                  </a:lnTo>
                  <a:lnTo>
                    <a:pt x="1019" y="1106"/>
                  </a:lnTo>
                  <a:lnTo>
                    <a:pt x="1019" y="1104"/>
                  </a:lnTo>
                  <a:lnTo>
                    <a:pt x="1019" y="1103"/>
                  </a:lnTo>
                  <a:lnTo>
                    <a:pt x="1015" y="1101"/>
                  </a:lnTo>
                  <a:lnTo>
                    <a:pt x="1013" y="1101"/>
                  </a:lnTo>
                  <a:lnTo>
                    <a:pt x="1010" y="1103"/>
                  </a:lnTo>
                  <a:lnTo>
                    <a:pt x="1006" y="1106"/>
                  </a:lnTo>
                  <a:lnTo>
                    <a:pt x="1001" y="1106"/>
                  </a:lnTo>
                  <a:lnTo>
                    <a:pt x="996" y="1106"/>
                  </a:lnTo>
                  <a:lnTo>
                    <a:pt x="993" y="1103"/>
                  </a:lnTo>
                  <a:lnTo>
                    <a:pt x="995" y="1100"/>
                  </a:lnTo>
                  <a:lnTo>
                    <a:pt x="999" y="1100"/>
                  </a:lnTo>
                  <a:lnTo>
                    <a:pt x="1002" y="1096"/>
                  </a:lnTo>
                  <a:lnTo>
                    <a:pt x="1007" y="1098"/>
                  </a:lnTo>
                  <a:lnTo>
                    <a:pt x="1010" y="1096"/>
                  </a:lnTo>
                  <a:lnTo>
                    <a:pt x="1010" y="1096"/>
                  </a:lnTo>
                  <a:lnTo>
                    <a:pt x="1012" y="1096"/>
                  </a:lnTo>
                  <a:lnTo>
                    <a:pt x="1010" y="1096"/>
                  </a:lnTo>
                  <a:lnTo>
                    <a:pt x="1010" y="1095"/>
                  </a:lnTo>
                  <a:lnTo>
                    <a:pt x="1010" y="1095"/>
                  </a:lnTo>
                  <a:lnTo>
                    <a:pt x="1009" y="1095"/>
                  </a:lnTo>
                  <a:lnTo>
                    <a:pt x="1012" y="1093"/>
                  </a:lnTo>
                  <a:lnTo>
                    <a:pt x="1035" y="1103"/>
                  </a:lnTo>
                  <a:lnTo>
                    <a:pt x="1038" y="1101"/>
                  </a:lnTo>
                  <a:lnTo>
                    <a:pt x="1036" y="1100"/>
                  </a:lnTo>
                  <a:lnTo>
                    <a:pt x="1033" y="1098"/>
                  </a:lnTo>
                  <a:lnTo>
                    <a:pt x="1032" y="1096"/>
                  </a:lnTo>
                  <a:lnTo>
                    <a:pt x="1032" y="1096"/>
                  </a:lnTo>
                  <a:lnTo>
                    <a:pt x="1032" y="1093"/>
                  </a:lnTo>
                  <a:lnTo>
                    <a:pt x="1029" y="1090"/>
                  </a:lnTo>
                  <a:lnTo>
                    <a:pt x="1016" y="1086"/>
                  </a:lnTo>
                  <a:lnTo>
                    <a:pt x="1015" y="1086"/>
                  </a:lnTo>
                  <a:lnTo>
                    <a:pt x="1013" y="1086"/>
                  </a:lnTo>
                  <a:lnTo>
                    <a:pt x="1013" y="1087"/>
                  </a:lnTo>
                  <a:lnTo>
                    <a:pt x="1013" y="1087"/>
                  </a:lnTo>
                  <a:lnTo>
                    <a:pt x="1013" y="1087"/>
                  </a:lnTo>
                  <a:lnTo>
                    <a:pt x="1013" y="1089"/>
                  </a:lnTo>
                  <a:lnTo>
                    <a:pt x="1012" y="1089"/>
                  </a:lnTo>
                  <a:lnTo>
                    <a:pt x="1007" y="1089"/>
                  </a:lnTo>
                  <a:lnTo>
                    <a:pt x="1006" y="1090"/>
                  </a:lnTo>
                  <a:lnTo>
                    <a:pt x="1004" y="1092"/>
                  </a:lnTo>
                  <a:lnTo>
                    <a:pt x="1006" y="1093"/>
                  </a:lnTo>
                  <a:lnTo>
                    <a:pt x="990" y="1093"/>
                  </a:lnTo>
                  <a:lnTo>
                    <a:pt x="987" y="1089"/>
                  </a:lnTo>
                  <a:lnTo>
                    <a:pt x="993" y="1089"/>
                  </a:lnTo>
                  <a:lnTo>
                    <a:pt x="996" y="1089"/>
                  </a:lnTo>
                  <a:lnTo>
                    <a:pt x="998" y="1090"/>
                  </a:lnTo>
                  <a:lnTo>
                    <a:pt x="999" y="1090"/>
                  </a:lnTo>
                  <a:lnTo>
                    <a:pt x="1002" y="1089"/>
                  </a:lnTo>
                  <a:lnTo>
                    <a:pt x="1004" y="1087"/>
                  </a:lnTo>
                  <a:lnTo>
                    <a:pt x="1006" y="1083"/>
                  </a:lnTo>
                  <a:lnTo>
                    <a:pt x="1007" y="1079"/>
                  </a:lnTo>
                  <a:lnTo>
                    <a:pt x="1009" y="1079"/>
                  </a:lnTo>
                  <a:lnTo>
                    <a:pt x="1015" y="1081"/>
                  </a:lnTo>
                  <a:lnTo>
                    <a:pt x="1019" y="1083"/>
                  </a:lnTo>
                  <a:lnTo>
                    <a:pt x="1021" y="1083"/>
                  </a:lnTo>
                  <a:lnTo>
                    <a:pt x="1021" y="1081"/>
                  </a:lnTo>
                  <a:lnTo>
                    <a:pt x="1021" y="1078"/>
                  </a:lnTo>
                  <a:lnTo>
                    <a:pt x="1012" y="1072"/>
                  </a:lnTo>
                  <a:lnTo>
                    <a:pt x="996" y="1072"/>
                  </a:lnTo>
                  <a:lnTo>
                    <a:pt x="981" y="1063"/>
                  </a:lnTo>
                  <a:lnTo>
                    <a:pt x="984" y="1064"/>
                  </a:lnTo>
                  <a:lnTo>
                    <a:pt x="992" y="1063"/>
                  </a:lnTo>
                  <a:lnTo>
                    <a:pt x="993" y="1063"/>
                  </a:lnTo>
                  <a:lnTo>
                    <a:pt x="992" y="1061"/>
                  </a:lnTo>
                  <a:lnTo>
                    <a:pt x="992" y="1056"/>
                  </a:lnTo>
                  <a:lnTo>
                    <a:pt x="990" y="1056"/>
                  </a:lnTo>
                  <a:lnTo>
                    <a:pt x="989" y="1055"/>
                  </a:lnTo>
                  <a:lnTo>
                    <a:pt x="975" y="1052"/>
                  </a:lnTo>
                  <a:lnTo>
                    <a:pt x="973" y="1049"/>
                  </a:lnTo>
                  <a:lnTo>
                    <a:pt x="973" y="1046"/>
                  </a:lnTo>
                  <a:lnTo>
                    <a:pt x="972" y="1044"/>
                  </a:lnTo>
                  <a:lnTo>
                    <a:pt x="967" y="1041"/>
                  </a:lnTo>
                  <a:lnTo>
                    <a:pt x="964" y="1035"/>
                  </a:lnTo>
                  <a:lnTo>
                    <a:pt x="962" y="1035"/>
                  </a:lnTo>
                  <a:lnTo>
                    <a:pt x="955" y="1035"/>
                  </a:lnTo>
                  <a:lnTo>
                    <a:pt x="955" y="1033"/>
                  </a:lnTo>
                  <a:lnTo>
                    <a:pt x="958" y="1032"/>
                  </a:lnTo>
                  <a:lnTo>
                    <a:pt x="959" y="1030"/>
                  </a:lnTo>
                  <a:lnTo>
                    <a:pt x="958" y="1027"/>
                  </a:lnTo>
                  <a:lnTo>
                    <a:pt x="959" y="1027"/>
                  </a:lnTo>
                  <a:lnTo>
                    <a:pt x="959" y="1026"/>
                  </a:lnTo>
                  <a:lnTo>
                    <a:pt x="958" y="1024"/>
                  </a:lnTo>
                  <a:lnTo>
                    <a:pt x="955" y="1024"/>
                  </a:lnTo>
                  <a:lnTo>
                    <a:pt x="952" y="1023"/>
                  </a:lnTo>
                  <a:lnTo>
                    <a:pt x="955" y="1023"/>
                  </a:lnTo>
                  <a:lnTo>
                    <a:pt x="961" y="1023"/>
                  </a:lnTo>
                  <a:lnTo>
                    <a:pt x="962" y="1021"/>
                  </a:lnTo>
                  <a:lnTo>
                    <a:pt x="964" y="1018"/>
                  </a:lnTo>
                  <a:lnTo>
                    <a:pt x="964" y="1015"/>
                  </a:lnTo>
                  <a:lnTo>
                    <a:pt x="964" y="1013"/>
                  </a:lnTo>
                  <a:lnTo>
                    <a:pt x="962" y="1010"/>
                  </a:lnTo>
                  <a:lnTo>
                    <a:pt x="961" y="1007"/>
                  </a:lnTo>
                  <a:lnTo>
                    <a:pt x="955" y="1002"/>
                  </a:lnTo>
                  <a:lnTo>
                    <a:pt x="952" y="1002"/>
                  </a:lnTo>
                  <a:lnTo>
                    <a:pt x="949" y="1002"/>
                  </a:lnTo>
                  <a:lnTo>
                    <a:pt x="947" y="1002"/>
                  </a:lnTo>
                  <a:lnTo>
                    <a:pt x="944" y="998"/>
                  </a:lnTo>
                  <a:lnTo>
                    <a:pt x="947" y="998"/>
                  </a:lnTo>
                  <a:lnTo>
                    <a:pt x="949" y="999"/>
                  </a:lnTo>
                  <a:lnTo>
                    <a:pt x="950" y="999"/>
                  </a:lnTo>
                  <a:lnTo>
                    <a:pt x="949" y="998"/>
                  </a:lnTo>
                  <a:lnTo>
                    <a:pt x="945" y="995"/>
                  </a:lnTo>
                  <a:lnTo>
                    <a:pt x="942" y="990"/>
                  </a:lnTo>
                  <a:lnTo>
                    <a:pt x="941" y="989"/>
                  </a:lnTo>
                  <a:lnTo>
                    <a:pt x="938" y="987"/>
                  </a:lnTo>
                  <a:lnTo>
                    <a:pt x="930" y="990"/>
                  </a:lnTo>
                  <a:lnTo>
                    <a:pt x="916" y="990"/>
                  </a:lnTo>
                  <a:lnTo>
                    <a:pt x="918" y="986"/>
                  </a:lnTo>
                  <a:lnTo>
                    <a:pt x="918" y="984"/>
                  </a:lnTo>
                  <a:lnTo>
                    <a:pt x="912" y="984"/>
                  </a:lnTo>
                  <a:lnTo>
                    <a:pt x="915" y="982"/>
                  </a:lnTo>
                  <a:lnTo>
                    <a:pt x="916" y="981"/>
                  </a:lnTo>
                  <a:lnTo>
                    <a:pt x="919" y="981"/>
                  </a:lnTo>
                  <a:lnTo>
                    <a:pt x="925" y="986"/>
                  </a:lnTo>
                  <a:lnTo>
                    <a:pt x="929" y="986"/>
                  </a:lnTo>
                  <a:lnTo>
                    <a:pt x="938" y="984"/>
                  </a:lnTo>
                  <a:lnTo>
                    <a:pt x="941" y="986"/>
                  </a:lnTo>
                  <a:lnTo>
                    <a:pt x="942" y="986"/>
                  </a:lnTo>
                  <a:lnTo>
                    <a:pt x="945" y="984"/>
                  </a:lnTo>
                  <a:lnTo>
                    <a:pt x="947" y="982"/>
                  </a:lnTo>
                  <a:lnTo>
                    <a:pt x="952" y="982"/>
                  </a:lnTo>
                  <a:lnTo>
                    <a:pt x="952" y="984"/>
                  </a:lnTo>
                  <a:lnTo>
                    <a:pt x="955" y="987"/>
                  </a:lnTo>
                  <a:lnTo>
                    <a:pt x="956" y="987"/>
                  </a:lnTo>
                  <a:lnTo>
                    <a:pt x="970" y="989"/>
                  </a:lnTo>
                  <a:lnTo>
                    <a:pt x="978" y="995"/>
                  </a:lnTo>
                  <a:lnTo>
                    <a:pt x="981" y="996"/>
                  </a:lnTo>
                  <a:lnTo>
                    <a:pt x="982" y="996"/>
                  </a:lnTo>
                  <a:lnTo>
                    <a:pt x="992" y="995"/>
                  </a:lnTo>
                  <a:lnTo>
                    <a:pt x="995" y="996"/>
                  </a:lnTo>
                  <a:lnTo>
                    <a:pt x="993" y="998"/>
                  </a:lnTo>
                  <a:lnTo>
                    <a:pt x="987" y="999"/>
                  </a:lnTo>
                  <a:lnTo>
                    <a:pt x="984" y="1001"/>
                  </a:lnTo>
                  <a:lnTo>
                    <a:pt x="982" y="1004"/>
                  </a:lnTo>
                  <a:lnTo>
                    <a:pt x="982" y="1007"/>
                  </a:lnTo>
                  <a:lnTo>
                    <a:pt x="982" y="1012"/>
                  </a:lnTo>
                  <a:lnTo>
                    <a:pt x="984" y="1015"/>
                  </a:lnTo>
                  <a:lnTo>
                    <a:pt x="986" y="1018"/>
                  </a:lnTo>
                  <a:lnTo>
                    <a:pt x="1006" y="1041"/>
                  </a:lnTo>
                  <a:lnTo>
                    <a:pt x="1033" y="1064"/>
                  </a:lnTo>
                  <a:lnTo>
                    <a:pt x="1036" y="1066"/>
                  </a:lnTo>
                  <a:lnTo>
                    <a:pt x="1039" y="1066"/>
                  </a:lnTo>
                  <a:lnTo>
                    <a:pt x="1038" y="1063"/>
                  </a:lnTo>
                  <a:lnTo>
                    <a:pt x="1035" y="1059"/>
                  </a:lnTo>
                  <a:lnTo>
                    <a:pt x="1033" y="1056"/>
                  </a:lnTo>
                  <a:lnTo>
                    <a:pt x="1035" y="1058"/>
                  </a:lnTo>
                  <a:lnTo>
                    <a:pt x="1038" y="1063"/>
                  </a:lnTo>
                  <a:lnTo>
                    <a:pt x="1039" y="1063"/>
                  </a:lnTo>
                  <a:lnTo>
                    <a:pt x="1039" y="1061"/>
                  </a:lnTo>
                  <a:lnTo>
                    <a:pt x="1039" y="1059"/>
                  </a:lnTo>
                  <a:lnTo>
                    <a:pt x="1038" y="1058"/>
                  </a:lnTo>
                  <a:lnTo>
                    <a:pt x="1038" y="1056"/>
                  </a:lnTo>
                  <a:lnTo>
                    <a:pt x="1036" y="1055"/>
                  </a:lnTo>
                  <a:lnTo>
                    <a:pt x="1038" y="1056"/>
                  </a:lnTo>
                  <a:lnTo>
                    <a:pt x="1042" y="1059"/>
                  </a:lnTo>
                  <a:lnTo>
                    <a:pt x="1044" y="1061"/>
                  </a:lnTo>
                  <a:lnTo>
                    <a:pt x="1038" y="1055"/>
                  </a:lnTo>
                  <a:lnTo>
                    <a:pt x="1036" y="1050"/>
                  </a:lnTo>
                  <a:lnTo>
                    <a:pt x="1036" y="1046"/>
                  </a:lnTo>
                  <a:lnTo>
                    <a:pt x="1038" y="1049"/>
                  </a:lnTo>
                  <a:lnTo>
                    <a:pt x="1039" y="1050"/>
                  </a:lnTo>
                  <a:lnTo>
                    <a:pt x="1042" y="1053"/>
                  </a:lnTo>
                  <a:lnTo>
                    <a:pt x="1041" y="1049"/>
                  </a:lnTo>
                  <a:lnTo>
                    <a:pt x="1041" y="1047"/>
                  </a:lnTo>
                  <a:lnTo>
                    <a:pt x="1041" y="1046"/>
                  </a:lnTo>
                  <a:lnTo>
                    <a:pt x="1044" y="1049"/>
                  </a:lnTo>
                  <a:lnTo>
                    <a:pt x="1044" y="1050"/>
                  </a:lnTo>
                  <a:lnTo>
                    <a:pt x="1046" y="1052"/>
                  </a:lnTo>
                  <a:lnTo>
                    <a:pt x="1047" y="1050"/>
                  </a:lnTo>
                  <a:lnTo>
                    <a:pt x="1049" y="1052"/>
                  </a:lnTo>
                  <a:lnTo>
                    <a:pt x="1050" y="1053"/>
                  </a:lnTo>
                  <a:lnTo>
                    <a:pt x="1055" y="1058"/>
                  </a:lnTo>
                  <a:lnTo>
                    <a:pt x="1056" y="1061"/>
                  </a:lnTo>
                  <a:lnTo>
                    <a:pt x="1058" y="1067"/>
                  </a:lnTo>
                  <a:lnTo>
                    <a:pt x="1059" y="1070"/>
                  </a:lnTo>
                  <a:lnTo>
                    <a:pt x="1061" y="1072"/>
                  </a:lnTo>
                  <a:lnTo>
                    <a:pt x="1063" y="1070"/>
                  </a:lnTo>
                  <a:lnTo>
                    <a:pt x="1063" y="1069"/>
                  </a:lnTo>
                  <a:lnTo>
                    <a:pt x="1063" y="1067"/>
                  </a:lnTo>
                  <a:lnTo>
                    <a:pt x="1064" y="1067"/>
                  </a:lnTo>
                  <a:lnTo>
                    <a:pt x="1064" y="1069"/>
                  </a:lnTo>
                  <a:lnTo>
                    <a:pt x="1066" y="1072"/>
                  </a:lnTo>
                  <a:lnTo>
                    <a:pt x="1067" y="1072"/>
                  </a:lnTo>
                  <a:lnTo>
                    <a:pt x="1069" y="1073"/>
                  </a:lnTo>
                  <a:lnTo>
                    <a:pt x="1073" y="1073"/>
                  </a:lnTo>
                  <a:lnTo>
                    <a:pt x="1073" y="1072"/>
                  </a:lnTo>
                  <a:lnTo>
                    <a:pt x="1073" y="1070"/>
                  </a:lnTo>
                  <a:lnTo>
                    <a:pt x="1073" y="1070"/>
                  </a:lnTo>
                  <a:lnTo>
                    <a:pt x="1073" y="1070"/>
                  </a:lnTo>
                  <a:lnTo>
                    <a:pt x="1075" y="1072"/>
                  </a:lnTo>
                  <a:lnTo>
                    <a:pt x="1075" y="1072"/>
                  </a:lnTo>
                  <a:lnTo>
                    <a:pt x="1076" y="1070"/>
                  </a:lnTo>
                  <a:lnTo>
                    <a:pt x="1078" y="1067"/>
                  </a:lnTo>
                  <a:lnTo>
                    <a:pt x="1079" y="1064"/>
                  </a:lnTo>
                  <a:lnTo>
                    <a:pt x="1081" y="1061"/>
                  </a:lnTo>
                  <a:lnTo>
                    <a:pt x="1083" y="1059"/>
                  </a:lnTo>
                  <a:lnTo>
                    <a:pt x="1083" y="1056"/>
                  </a:lnTo>
                  <a:lnTo>
                    <a:pt x="1083" y="1056"/>
                  </a:lnTo>
                  <a:lnTo>
                    <a:pt x="1084" y="1056"/>
                  </a:lnTo>
                  <a:lnTo>
                    <a:pt x="1084" y="1058"/>
                  </a:lnTo>
                  <a:lnTo>
                    <a:pt x="1084" y="1059"/>
                  </a:lnTo>
                  <a:lnTo>
                    <a:pt x="1084" y="1063"/>
                  </a:lnTo>
                  <a:lnTo>
                    <a:pt x="1084" y="1064"/>
                  </a:lnTo>
                  <a:lnTo>
                    <a:pt x="1083" y="1067"/>
                  </a:lnTo>
                  <a:lnTo>
                    <a:pt x="1081" y="1070"/>
                  </a:lnTo>
                  <a:lnTo>
                    <a:pt x="1079" y="1075"/>
                  </a:lnTo>
                  <a:lnTo>
                    <a:pt x="1081" y="1076"/>
                  </a:lnTo>
                  <a:lnTo>
                    <a:pt x="1081" y="1076"/>
                  </a:lnTo>
                  <a:lnTo>
                    <a:pt x="1083" y="1075"/>
                  </a:lnTo>
                  <a:lnTo>
                    <a:pt x="1084" y="1073"/>
                  </a:lnTo>
                  <a:lnTo>
                    <a:pt x="1086" y="1073"/>
                  </a:lnTo>
                  <a:lnTo>
                    <a:pt x="1086" y="1073"/>
                  </a:lnTo>
                  <a:lnTo>
                    <a:pt x="1087" y="1075"/>
                  </a:lnTo>
                  <a:lnTo>
                    <a:pt x="1087" y="1075"/>
                  </a:lnTo>
                  <a:lnTo>
                    <a:pt x="1093" y="1075"/>
                  </a:lnTo>
                  <a:lnTo>
                    <a:pt x="1107" y="1079"/>
                  </a:lnTo>
                  <a:lnTo>
                    <a:pt x="1109" y="1079"/>
                  </a:lnTo>
                  <a:lnTo>
                    <a:pt x="1109" y="1078"/>
                  </a:lnTo>
                  <a:lnTo>
                    <a:pt x="1110" y="1078"/>
                  </a:lnTo>
                  <a:lnTo>
                    <a:pt x="1110" y="1078"/>
                  </a:lnTo>
                  <a:lnTo>
                    <a:pt x="1110" y="1079"/>
                  </a:lnTo>
                  <a:lnTo>
                    <a:pt x="1109" y="1081"/>
                  </a:lnTo>
                  <a:lnTo>
                    <a:pt x="1107" y="1083"/>
                  </a:lnTo>
                  <a:lnTo>
                    <a:pt x="1103" y="1079"/>
                  </a:lnTo>
                  <a:lnTo>
                    <a:pt x="1101" y="1081"/>
                  </a:lnTo>
                  <a:lnTo>
                    <a:pt x="1098" y="1083"/>
                  </a:lnTo>
                  <a:lnTo>
                    <a:pt x="1099" y="1087"/>
                  </a:lnTo>
                  <a:lnTo>
                    <a:pt x="1101" y="1090"/>
                  </a:lnTo>
                  <a:lnTo>
                    <a:pt x="1104" y="1098"/>
                  </a:lnTo>
                  <a:lnTo>
                    <a:pt x="1107" y="1101"/>
                  </a:lnTo>
                  <a:lnTo>
                    <a:pt x="1112" y="1101"/>
                  </a:lnTo>
                  <a:lnTo>
                    <a:pt x="1113" y="1100"/>
                  </a:lnTo>
                  <a:lnTo>
                    <a:pt x="1119" y="1095"/>
                  </a:lnTo>
                  <a:lnTo>
                    <a:pt x="1126" y="1090"/>
                  </a:lnTo>
                  <a:lnTo>
                    <a:pt x="1132" y="1086"/>
                  </a:lnTo>
                  <a:lnTo>
                    <a:pt x="1138" y="1089"/>
                  </a:lnTo>
                  <a:lnTo>
                    <a:pt x="1160" y="1110"/>
                  </a:lnTo>
                  <a:lnTo>
                    <a:pt x="1163" y="1113"/>
                  </a:lnTo>
                  <a:lnTo>
                    <a:pt x="1170" y="1115"/>
                  </a:lnTo>
                  <a:lnTo>
                    <a:pt x="1175" y="1123"/>
                  </a:lnTo>
                  <a:lnTo>
                    <a:pt x="1187" y="1129"/>
                  </a:lnTo>
                  <a:lnTo>
                    <a:pt x="1197" y="1129"/>
                  </a:lnTo>
                  <a:lnTo>
                    <a:pt x="1204" y="1133"/>
                  </a:lnTo>
                  <a:lnTo>
                    <a:pt x="1223" y="1136"/>
                  </a:lnTo>
                  <a:lnTo>
                    <a:pt x="1241" y="1141"/>
                  </a:lnTo>
                  <a:lnTo>
                    <a:pt x="1250" y="1146"/>
                  </a:lnTo>
                  <a:lnTo>
                    <a:pt x="1260" y="1144"/>
                  </a:lnTo>
                  <a:lnTo>
                    <a:pt x="1267" y="1147"/>
                  </a:lnTo>
                  <a:lnTo>
                    <a:pt x="1277" y="1146"/>
                  </a:lnTo>
                  <a:lnTo>
                    <a:pt x="1283" y="1147"/>
                  </a:lnTo>
                  <a:lnTo>
                    <a:pt x="1287" y="1147"/>
                  </a:lnTo>
                  <a:lnTo>
                    <a:pt x="1315" y="1158"/>
                  </a:lnTo>
                  <a:lnTo>
                    <a:pt x="1323" y="1163"/>
                  </a:lnTo>
                  <a:lnTo>
                    <a:pt x="1327" y="1164"/>
                  </a:lnTo>
                  <a:lnTo>
                    <a:pt x="1337" y="1173"/>
                  </a:lnTo>
                  <a:lnTo>
                    <a:pt x="1344" y="1178"/>
                  </a:lnTo>
                  <a:lnTo>
                    <a:pt x="1357" y="1180"/>
                  </a:lnTo>
                  <a:lnTo>
                    <a:pt x="1364" y="1184"/>
                  </a:lnTo>
                  <a:lnTo>
                    <a:pt x="1387" y="1187"/>
                  </a:lnTo>
                  <a:lnTo>
                    <a:pt x="1411" y="1190"/>
                  </a:lnTo>
                  <a:lnTo>
                    <a:pt x="1440" y="1181"/>
                  </a:lnTo>
                  <a:lnTo>
                    <a:pt x="1440" y="1180"/>
                  </a:lnTo>
                  <a:lnTo>
                    <a:pt x="1441" y="1180"/>
                  </a:lnTo>
                  <a:lnTo>
                    <a:pt x="1449" y="1181"/>
                  </a:lnTo>
                  <a:lnTo>
                    <a:pt x="1469" y="1175"/>
                  </a:lnTo>
                  <a:lnTo>
                    <a:pt x="1472" y="1173"/>
                  </a:lnTo>
                  <a:lnTo>
                    <a:pt x="1478" y="1167"/>
                  </a:lnTo>
                  <a:lnTo>
                    <a:pt x="1497" y="1161"/>
                  </a:lnTo>
                  <a:lnTo>
                    <a:pt x="1501" y="1158"/>
                  </a:lnTo>
                  <a:lnTo>
                    <a:pt x="1505" y="1158"/>
                  </a:lnTo>
                  <a:lnTo>
                    <a:pt x="1508" y="1155"/>
                  </a:lnTo>
                  <a:lnTo>
                    <a:pt x="1525" y="1147"/>
                  </a:lnTo>
                  <a:lnTo>
                    <a:pt x="1531" y="1140"/>
                  </a:lnTo>
                  <a:lnTo>
                    <a:pt x="1542" y="1129"/>
                  </a:lnTo>
                  <a:lnTo>
                    <a:pt x="1548" y="1127"/>
                  </a:lnTo>
                  <a:lnTo>
                    <a:pt x="1552" y="1126"/>
                  </a:lnTo>
                  <a:lnTo>
                    <a:pt x="1557" y="1118"/>
                  </a:lnTo>
                  <a:lnTo>
                    <a:pt x="1560" y="1116"/>
                  </a:lnTo>
                  <a:lnTo>
                    <a:pt x="1562" y="1113"/>
                  </a:lnTo>
                  <a:lnTo>
                    <a:pt x="1563" y="1109"/>
                  </a:lnTo>
                  <a:lnTo>
                    <a:pt x="1566" y="1106"/>
                  </a:lnTo>
                  <a:lnTo>
                    <a:pt x="1568" y="1106"/>
                  </a:lnTo>
                  <a:lnTo>
                    <a:pt x="1571" y="1103"/>
                  </a:lnTo>
                  <a:lnTo>
                    <a:pt x="1572" y="1100"/>
                  </a:lnTo>
                  <a:lnTo>
                    <a:pt x="1572" y="1098"/>
                  </a:lnTo>
                  <a:lnTo>
                    <a:pt x="1572" y="1096"/>
                  </a:lnTo>
                  <a:lnTo>
                    <a:pt x="1572" y="1095"/>
                  </a:lnTo>
                  <a:lnTo>
                    <a:pt x="1572" y="1092"/>
                  </a:lnTo>
                  <a:lnTo>
                    <a:pt x="1574" y="1089"/>
                  </a:lnTo>
                  <a:lnTo>
                    <a:pt x="1575" y="1087"/>
                  </a:lnTo>
                  <a:lnTo>
                    <a:pt x="1578" y="1086"/>
                  </a:lnTo>
                  <a:lnTo>
                    <a:pt x="1578" y="1084"/>
                  </a:lnTo>
                  <a:lnTo>
                    <a:pt x="1580" y="1083"/>
                  </a:lnTo>
                  <a:lnTo>
                    <a:pt x="1583" y="1079"/>
                  </a:lnTo>
                  <a:lnTo>
                    <a:pt x="1586" y="1075"/>
                  </a:lnTo>
                  <a:lnTo>
                    <a:pt x="1595" y="1061"/>
                  </a:lnTo>
                  <a:lnTo>
                    <a:pt x="1603" y="1053"/>
                  </a:lnTo>
                  <a:lnTo>
                    <a:pt x="1606" y="1049"/>
                  </a:lnTo>
                  <a:lnTo>
                    <a:pt x="1614" y="1032"/>
                  </a:lnTo>
                  <a:lnTo>
                    <a:pt x="1615" y="1023"/>
                  </a:lnTo>
                  <a:lnTo>
                    <a:pt x="1615" y="1021"/>
                  </a:lnTo>
                  <a:lnTo>
                    <a:pt x="1615" y="1018"/>
                  </a:lnTo>
                  <a:lnTo>
                    <a:pt x="1614" y="1016"/>
                  </a:lnTo>
                  <a:lnTo>
                    <a:pt x="1612" y="1015"/>
                  </a:lnTo>
                  <a:lnTo>
                    <a:pt x="1614" y="1013"/>
                  </a:lnTo>
                  <a:lnTo>
                    <a:pt x="1615" y="1013"/>
                  </a:lnTo>
                  <a:lnTo>
                    <a:pt x="1617" y="1013"/>
                  </a:lnTo>
                  <a:lnTo>
                    <a:pt x="1619" y="1013"/>
                  </a:lnTo>
                  <a:lnTo>
                    <a:pt x="1620" y="1010"/>
                  </a:lnTo>
                  <a:lnTo>
                    <a:pt x="1620" y="1009"/>
                  </a:lnTo>
                  <a:lnTo>
                    <a:pt x="1619" y="1007"/>
                  </a:lnTo>
                  <a:lnTo>
                    <a:pt x="1619" y="1004"/>
                  </a:lnTo>
                  <a:lnTo>
                    <a:pt x="1619" y="996"/>
                  </a:lnTo>
                  <a:lnTo>
                    <a:pt x="1619" y="995"/>
                  </a:lnTo>
                  <a:lnTo>
                    <a:pt x="1620" y="993"/>
                  </a:lnTo>
                  <a:lnTo>
                    <a:pt x="1622" y="992"/>
                  </a:lnTo>
                  <a:lnTo>
                    <a:pt x="1622" y="990"/>
                  </a:lnTo>
                  <a:lnTo>
                    <a:pt x="1622" y="987"/>
                  </a:lnTo>
                  <a:lnTo>
                    <a:pt x="1619" y="986"/>
                  </a:lnTo>
                  <a:lnTo>
                    <a:pt x="1619" y="982"/>
                  </a:lnTo>
                  <a:lnTo>
                    <a:pt x="1619" y="981"/>
                  </a:lnTo>
                  <a:lnTo>
                    <a:pt x="1620" y="976"/>
                  </a:lnTo>
                  <a:lnTo>
                    <a:pt x="1620" y="975"/>
                  </a:lnTo>
                  <a:lnTo>
                    <a:pt x="1620" y="972"/>
                  </a:lnTo>
                  <a:lnTo>
                    <a:pt x="1619" y="970"/>
                  </a:lnTo>
                  <a:lnTo>
                    <a:pt x="1617" y="969"/>
                  </a:lnTo>
                  <a:lnTo>
                    <a:pt x="1615" y="969"/>
                  </a:lnTo>
                  <a:lnTo>
                    <a:pt x="1614" y="969"/>
                  </a:lnTo>
                  <a:lnTo>
                    <a:pt x="1612" y="972"/>
                  </a:lnTo>
                  <a:lnTo>
                    <a:pt x="1611" y="973"/>
                  </a:lnTo>
                  <a:lnTo>
                    <a:pt x="1603" y="969"/>
                  </a:lnTo>
                  <a:lnTo>
                    <a:pt x="1602" y="966"/>
                  </a:lnTo>
                  <a:lnTo>
                    <a:pt x="1602" y="958"/>
                  </a:lnTo>
                  <a:lnTo>
                    <a:pt x="1603" y="955"/>
                  </a:lnTo>
                  <a:lnTo>
                    <a:pt x="1603" y="949"/>
                  </a:lnTo>
                  <a:lnTo>
                    <a:pt x="1603" y="939"/>
                  </a:lnTo>
                  <a:lnTo>
                    <a:pt x="1603" y="938"/>
                  </a:lnTo>
                  <a:lnTo>
                    <a:pt x="1605" y="935"/>
                  </a:lnTo>
                  <a:lnTo>
                    <a:pt x="1605" y="932"/>
                  </a:lnTo>
                  <a:lnTo>
                    <a:pt x="1603" y="932"/>
                  </a:lnTo>
                  <a:lnTo>
                    <a:pt x="1602" y="927"/>
                  </a:lnTo>
                  <a:lnTo>
                    <a:pt x="1600" y="925"/>
                  </a:lnTo>
                  <a:lnTo>
                    <a:pt x="1597" y="924"/>
                  </a:lnTo>
                  <a:lnTo>
                    <a:pt x="1592" y="924"/>
                  </a:lnTo>
                  <a:lnTo>
                    <a:pt x="1594" y="921"/>
                  </a:lnTo>
                  <a:lnTo>
                    <a:pt x="1594" y="919"/>
                  </a:lnTo>
                  <a:lnTo>
                    <a:pt x="1594" y="915"/>
                  </a:lnTo>
                  <a:lnTo>
                    <a:pt x="1594" y="913"/>
                  </a:lnTo>
                  <a:lnTo>
                    <a:pt x="1594" y="913"/>
                  </a:lnTo>
                  <a:lnTo>
                    <a:pt x="1594" y="912"/>
                  </a:lnTo>
                  <a:lnTo>
                    <a:pt x="1594" y="910"/>
                  </a:lnTo>
                  <a:lnTo>
                    <a:pt x="1594" y="909"/>
                  </a:lnTo>
                  <a:lnTo>
                    <a:pt x="1592" y="907"/>
                  </a:lnTo>
                  <a:lnTo>
                    <a:pt x="1592" y="905"/>
                  </a:lnTo>
                  <a:lnTo>
                    <a:pt x="1594" y="901"/>
                  </a:lnTo>
                  <a:lnTo>
                    <a:pt x="1595" y="898"/>
                  </a:lnTo>
                  <a:lnTo>
                    <a:pt x="1597" y="895"/>
                  </a:lnTo>
                  <a:lnTo>
                    <a:pt x="1597" y="887"/>
                  </a:lnTo>
                  <a:lnTo>
                    <a:pt x="1595" y="882"/>
                  </a:lnTo>
                  <a:lnTo>
                    <a:pt x="1594" y="879"/>
                  </a:lnTo>
                  <a:lnTo>
                    <a:pt x="1591" y="873"/>
                  </a:lnTo>
                  <a:lnTo>
                    <a:pt x="1588" y="872"/>
                  </a:lnTo>
                  <a:lnTo>
                    <a:pt x="1582" y="873"/>
                  </a:lnTo>
                  <a:lnTo>
                    <a:pt x="1578" y="873"/>
                  </a:lnTo>
                  <a:lnTo>
                    <a:pt x="1574" y="865"/>
                  </a:lnTo>
                  <a:lnTo>
                    <a:pt x="1571" y="864"/>
                  </a:lnTo>
                  <a:lnTo>
                    <a:pt x="1569" y="862"/>
                  </a:lnTo>
                  <a:lnTo>
                    <a:pt x="1569" y="859"/>
                  </a:lnTo>
                  <a:lnTo>
                    <a:pt x="1569" y="856"/>
                  </a:lnTo>
                  <a:lnTo>
                    <a:pt x="1568" y="856"/>
                  </a:lnTo>
                  <a:lnTo>
                    <a:pt x="1565" y="856"/>
                  </a:lnTo>
                  <a:lnTo>
                    <a:pt x="1563" y="856"/>
                  </a:lnTo>
                  <a:lnTo>
                    <a:pt x="1562" y="856"/>
                  </a:lnTo>
                  <a:lnTo>
                    <a:pt x="1560" y="858"/>
                  </a:lnTo>
                  <a:lnTo>
                    <a:pt x="1560" y="858"/>
                  </a:lnTo>
                  <a:lnTo>
                    <a:pt x="1560" y="859"/>
                  </a:lnTo>
                  <a:lnTo>
                    <a:pt x="1562" y="861"/>
                  </a:lnTo>
                  <a:lnTo>
                    <a:pt x="1562" y="862"/>
                  </a:lnTo>
                  <a:lnTo>
                    <a:pt x="1558" y="867"/>
                  </a:lnTo>
                  <a:lnTo>
                    <a:pt x="1555" y="869"/>
                  </a:lnTo>
                  <a:lnTo>
                    <a:pt x="1554" y="865"/>
                  </a:lnTo>
                  <a:lnTo>
                    <a:pt x="1548" y="859"/>
                  </a:lnTo>
                  <a:lnTo>
                    <a:pt x="1543" y="850"/>
                  </a:lnTo>
                  <a:lnTo>
                    <a:pt x="1543" y="849"/>
                  </a:lnTo>
                  <a:lnTo>
                    <a:pt x="1546" y="849"/>
                  </a:lnTo>
                  <a:lnTo>
                    <a:pt x="1549" y="849"/>
                  </a:lnTo>
                  <a:lnTo>
                    <a:pt x="1549" y="845"/>
                  </a:lnTo>
                  <a:lnTo>
                    <a:pt x="1549" y="844"/>
                  </a:lnTo>
                  <a:lnTo>
                    <a:pt x="1546" y="838"/>
                  </a:lnTo>
                  <a:lnTo>
                    <a:pt x="1545" y="838"/>
                  </a:lnTo>
                  <a:lnTo>
                    <a:pt x="1545" y="838"/>
                  </a:lnTo>
                  <a:lnTo>
                    <a:pt x="1543" y="838"/>
                  </a:lnTo>
                  <a:lnTo>
                    <a:pt x="1542" y="838"/>
                  </a:lnTo>
                  <a:lnTo>
                    <a:pt x="1542" y="838"/>
                  </a:lnTo>
                  <a:lnTo>
                    <a:pt x="1542" y="836"/>
                  </a:lnTo>
                  <a:lnTo>
                    <a:pt x="1540" y="836"/>
                  </a:lnTo>
                  <a:lnTo>
                    <a:pt x="1529" y="827"/>
                  </a:lnTo>
                  <a:lnTo>
                    <a:pt x="1528" y="824"/>
                  </a:lnTo>
                  <a:lnTo>
                    <a:pt x="1525" y="819"/>
                  </a:lnTo>
                  <a:lnTo>
                    <a:pt x="1523" y="818"/>
                  </a:lnTo>
                  <a:lnTo>
                    <a:pt x="1521" y="816"/>
                  </a:lnTo>
                  <a:lnTo>
                    <a:pt x="1520" y="816"/>
                  </a:lnTo>
                  <a:lnTo>
                    <a:pt x="1518" y="815"/>
                  </a:lnTo>
                  <a:lnTo>
                    <a:pt x="1518" y="813"/>
                  </a:lnTo>
                  <a:lnTo>
                    <a:pt x="1514" y="805"/>
                  </a:lnTo>
                  <a:lnTo>
                    <a:pt x="1514" y="802"/>
                  </a:lnTo>
                  <a:lnTo>
                    <a:pt x="1512" y="799"/>
                  </a:lnTo>
                  <a:lnTo>
                    <a:pt x="1512" y="796"/>
                  </a:lnTo>
                  <a:lnTo>
                    <a:pt x="1512" y="795"/>
                  </a:lnTo>
                  <a:lnTo>
                    <a:pt x="1509" y="793"/>
                  </a:lnTo>
                  <a:lnTo>
                    <a:pt x="1503" y="787"/>
                  </a:lnTo>
                  <a:lnTo>
                    <a:pt x="1501" y="785"/>
                  </a:lnTo>
                  <a:lnTo>
                    <a:pt x="1498" y="784"/>
                  </a:lnTo>
                  <a:lnTo>
                    <a:pt x="1497" y="785"/>
                  </a:lnTo>
                  <a:lnTo>
                    <a:pt x="1498" y="787"/>
                  </a:lnTo>
                  <a:lnTo>
                    <a:pt x="1503" y="793"/>
                  </a:lnTo>
                  <a:lnTo>
                    <a:pt x="1503" y="796"/>
                  </a:lnTo>
                  <a:lnTo>
                    <a:pt x="1506" y="805"/>
                  </a:lnTo>
                  <a:lnTo>
                    <a:pt x="1508" y="807"/>
                  </a:lnTo>
                  <a:lnTo>
                    <a:pt x="1508" y="807"/>
                  </a:lnTo>
                  <a:lnTo>
                    <a:pt x="1508" y="810"/>
                  </a:lnTo>
                  <a:lnTo>
                    <a:pt x="1508" y="810"/>
                  </a:lnTo>
                  <a:lnTo>
                    <a:pt x="1506" y="810"/>
                  </a:lnTo>
                  <a:lnTo>
                    <a:pt x="1506" y="810"/>
                  </a:lnTo>
                  <a:lnTo>
                    <a:pt x="1503" y="808"/>
                  </a:lnTo>
                  <a:lnTo>
                    <a:pt x="1500" y="810"/>
                  </a:lnTo>
                  <a:lnTo>
                    <a:pt x="1495" y="807"/>
                  </a:lnTo>
                  <a:lnTo>
                    <a:pt x="1489" y="807"/>
                  </a:lnTo>
                  <a:lnTo>
                    <a:pt x="1483" y="804"/>
                  </a:lnTo>
                  <a:lnTo>
                    <a:pt x="1471" y="788"/>
                  </a:lnTo>
                  <a:lnTo>
                    <a:pt x="1463" y="785"/>
                  </a:lnTo>
                  <a:lnTo>
                    <a:pt x="1446" y="768"/>
                  </a:lnTo>
                  <a:lnTo>
                    <a:pt x="1441" y="765"/>
                  </a:lnTo>
                  <a:lnTo>
                    <a:pt x="1438" y="764"/>
                  </a:lnTo>
                  <a:lnTo>
                    <a:pt x="1440" y="762"/>
                  </a:lnTo>
                  <a:lnTo>
                    <a:pt x="1440" y="759"/>
                  </a:lnTo>
                  <a:lnTo>
                    <a:pt x="1438" y="756"/>
                  </a:lnTo>
                  <a:lnTo>
                    <a:pt x="1437" y="756"/>
                  </a:lnTo>
                  <a:lnTo>
                    <a:pt x="1429" y="753"/>
                  </a:lnTo>
                  <a:lnTo>
                    <a:pt x="1426" y="751"/>
                  </a:lnTo>
                  <a:lnTo>
                    <a:pt x="1418" y="744"/>
                  </a:lnTo>
                  <a:lnTo>
                    <a:pt x="1417" y="742"/>
                  </a:lnTo>
                  <a:lnTo>
                    <a:pt x="1415" y="741"/>
                  </a:lnTo>
                  <a:lnTo>
                    <a:pt x="1414" y="742"/>
                  </a:lnTo>
                  <a:lnTo>
                    <a:pt x="1415" y="745"/>
                  </a:lnTo>
                  <a:lnTo>
                    <a:pt x="1414" y="747"/>
                  </a:lnTo>
                  <a:lnTo>
                    <a:pt x="1409" y="744"/>
                  </a:lnTo>
                  <a:lnTo>
                    <a:pt x="1408" y="744"/>
                  </a:lnTo>
                  <a:lnTo>
                    <a:pt x="1408" y="745"/>
                  </a:lnTo>
                  <a:lnTo>
                    <a:pt x="1409" y="748"/>
                  </a:lnTo>
                  <a:lnTo>
                    <a:pt x="1415" y="753"/>
                  </a:lnTo>
                  <a:lnTo>
                    <a:pt x="1421" y="756"/>
                  </a:lnTo>
                  <a:lnTo>
                    <a:pt x="1426" y="761"/>
                  </a:lnTo>
                  <a:lnTo>
                    <a:pt x="1423" y="761"/>
                  </a:lnTo>
                  <a:lnTo>
                    <a:pt x="1406" y="750"/>
                  </a:lnTo>
                  <a:lnTo>
                    <a:pt x="1404" y="750"/>
                  </a:lnTo>
                  <a:lnTo>
                    <a:pt x="1404" y="750"/>
                  </a:lnTo>
                  <a:lnTo>
                    <a:pt x="1403" y="747"/>
                  </a:lnTo>
                  <a:lnTo>
                    <a:pt x="1403" y="747"/>
                  </a:lnTo>
                  <a:lnTo>
                    <a:pt x="1401" y="748"/>
                  </a:lnTo>
                  <a:lnTo>
                    <a:pt x="1401" y="748"/>
                  </a:lnTo>
                  <a:lnTo>
                    <a:pt x="1401" y="750"/>
                  </a:lnTo>
                  <a:lnTo>
                    <a:pt x="1401" y="751"/>
                  </a:lnTo>
                  <a:lnTo>
                    <a:pt x="1398" y="750"/>
                  </a:lnTo>
                  <a:lnTo>
                    <a:pt x="1398" y="739"/>
                  </a:lnTo>
                  <a:lnTo>
                    <a:pt x="1395" y="735"/>
                  </a:lnTo>
                  <a:lnTo>
                    <a:pt x="1394" y="730"/>
                  </a:lnTo>
                  <a:lnTo>
                    <a:pt x="1394" y="730"/>
                  </a:lnTo>
                  <a:lnTo>
                    <a:pt x="1386" y="727"/>
                  </a:lnTo>
                  <a:lnTo>
                    <a:pt x="1386" y="725"/>
                  </a:lnTo>
                  <a:lnTo>
                    <a:pt x="1386" y="724"/>
                  </a:lnTo>
                  <a:lnTo>
                    <a:pt x="1386" y="722"/>
                  </a:lnTo>
                  <a:lnTo>
                    <a:pt x="1384" y="722"/>
                  </a:lnTo>
                  <a:lnTo>
                    <a:pt x="1384" y="722"/>
                  </a:lnTo>
                  <a:lnTo>
                    <a:pt x="1383" y="719"/>
                  </a:lnTo>
                  <a:lnTo>
                    <a:pt x="1381" y="719"/>
                  </a:lnTo>
                  <a:lnTo>
                    <a:pt x="1377" y="719"/>
                  </a:lnTo>
                  <a:lnTo>
                    <a:pt x="1375" y="716"/>
                  </a:lnTo>
                  <a:lnTo>
                    <a:pt x="1374" y="715"/>
                  </a:lnTo>
                  <a:lnTo>
                    <a:pt x="1374" y="711"/>
                  </a:lnTo>
                  <a:lnTo>
                    <a:pt x="1372" y="710"/>
                  </a:lnTo>
                  <a:lnTo>
                    <a:pt x="1372" y="708"/>
                  </a:lnTo>
                  <a:lnTo>
                    <a:pt x="1369" y="704"/>
                  </a:lnTo>
                  <a:lnTo>
                    <a:pt x="1366" y="698"/>
                  </a:lnTo>
                  <a:lnTo>
                    <a:pt x="1355" y="685"/>
                  </a:lnTo>
                  <a:lnTo>
                    <a:pt x="1349" y="681"/>
                  </a:lnTo>
                  <a:lnTo>
                    <a:pt x="1347" y="678"/>
                  </a:lnTo>
                  <a:lnTo>
                    <a:pt x="1346" y="674"/>
                  </a:lnTo>
                  <a:lnTo>
                    <a:pt x="1338" y="673"/>
                  </a:lnTo>
                  <a:lnTo>
                    <a:pt x="1338" y="671"/>
                  </a:lnTo>
                  <a:lnTo>
                    <a:pt x="1338" y="670"/>
                  </a:lnTo>
                  <a:lnTo>
                    <a:pt x="1334" y="670"/>
                  </a:lnTo>
                  <a:lnTo>
                    <a:pt x="1332" y="670"/>
                  </a:lnTo>
                  <a:lnTo>
                    <a:pt x="1331" y="670"/>
                  </a:lnTo>
                  <a:lnTo>
                    <a:pt x="1329" y="668"/>
                  </a:lnTo>
                  <a:lnTo>
                    <a:pt x="1327" y="667"/>
                  </a:lnTo>
                  <a:lnTo>
                    <a:pt x="1326" y="665"/>
                  </a:lnTo>
                  <a:lnTo>
                    <a:pt x="1323" y="661"/>
                  </a:lnTo>
                  <a:lnTo>
                    <a:pt x="1321" y="659"/>
                  </a:lnTo>
                  <a:lnTo>
                    <a:pt x="1318" y="658"/>
                  </a:lnTo>
                  <a:lnTo>
                    <a:pt x="1315" y="656"/>
                  </a:lnTo>
                  <a:lnTo>
                    <a:pt x="1314" y="656"/>
                  </a:lnTo>
                  <a:lnTo>
                    <a:pt x="1312" y="653"/>
                  </a:lnTo>
                  <a:lnTo>
                    <a:pt x="1312" y="650"/>
                  </a:lnTo>
                  <a:lnTo>
                    <a:pt x="1310" y="648"/>
                  </a:lnTo>
                  <a:lnTo>
                    <a:pt x="1309" y="647"/>
                  </a:lnTo>
                  <a:lnTo>
                    <a:pt x="1303" y="645"/>
                  </a:lnTo>
                  <a:lnTo>
                    <a:pt x="1298" y="642"/>
                  </a:lnTo>
                  <a:lnTo>
                    <a:pt x="1297" y="641"/>
                  </a:lnTo>
                  <a:lnTo>
                    <a:pt x="1297" y="638"/>
                  </a:lnTo>
                  <a:lnTo>
                    <a:pt x="1283" y="627"/>
                  </a:lnTo>
                  <a:lnTo>
                    <a:pt x="1280" y="627"/>
                  </a:lnTo>
                  <a:lnTo>
                    <a:pt x="1278" y="625"/>
                  </a:lnTo>
                  <a:lnTo>
                    <a:pt x="1277" y="625"/>
                  </a:lnTo>
                  <a:lnTo>
                    <a:pt x="1277" y="624"/>
                  </a:lnTo>
                  <a:lnTo>
                    <a:pt x="1277" y="622"/>
                  </a:lnTo>
                  <a:lnTo>
                    <a:pt x="1275" y="621"/>
                  </a:lnTo>
                  <a:lnTo>
                    <a:pt x="1274" y="621"/>
                  </a:lnTo>
                  <a:lnTo>
                    <a:pt x="1274" y="621"/>
                  </a:lnTo>
                  <a:lnTo>
                    <a:pt x="1272" y="619"/>
                  </a:lnTo>
                  <a:lnTo>
                    <a:pt x="1260" y="610"/>
                  </a:lnTo>
                  <a:lnTo>
                    <a:pt x="1244" y="604"/>
                  </a:lnTo>
                  <a:lnTo>
                    <a:pt x="1241" y="599"/>
                  </a:lnTo>
                  <a:lnTo>
                    <a:pt x="1241" y="596"/>
                  </a:lnTo>
                  <a:lnTo>
                    <a:pt x="1240" y="593"/>
                  </a:lnTo>
                  <a:lnTo>
                    <a:pt x="1227" y="588"/>
                  </a:lnTo>
                  <a:lnTo>
                    <a:pt x="1226" y="590"/>
                  </a:lnTo>
                  <a:lnTo>
                    <a:pt x="1224" y="590"/>
                  </a:lnTo>
                  <a:lnTo>
                    <a:pt x="1224" y="588"/>
                  </a:lnTo>
                  <a:lnTo>
                    <a:pt x="1223" y="584"/>
                  </a:lnTo>
                  <a:lnTo>
                    <a:pt x="1221" y="581"/>
                  </a:lnTo>
                  <a:lnTo>
                    <a:pt x="1218" y="579"/>
                  </a:lnTo>
                  <a:lnTo>
                    <a:pt x="1215" y="577"/>
                  </a:lnTo>
                  <a:lnTo>
                    <a:pt x="1212" y="576"/>
                  </a:lnTo>
                  <a:lnTo>
                    <a:pt x="1207" y="574"/>
                  </a:lnTo>
                  <a:lnTo>
                    <a:pt x="1170" y="559"/>
                  </a:lnTo>
                  <a:lnTo>
                    <a:pt x="1167" y="559"/>
                  </a:lnTo>
                  <a:lnTo>
                    <a:pt x="1160" y="557"/>
                  </a:lnTo>
                  <a:lnTo>
                    <a:pt x="1158" y="559"/>
                  </a:lnTo>
                  <a:lnTo>
                    <a:pt x="1160" y="562"/>
                  </a:lnTo>
                  <a:lnTo>
                    <a:pt x="1164" y="567"/>
                  </a:lnTo>
                  <a:lnTo>
                    <a:pt x="1166" y="571"/>
                  </a:lnTo>
                  <a:lnTo>
                    <a:pt x="1164" y="571"/>
                  </a:lnTo>
                  <a:lnTo>
                    <a:pt x="1163" y="573"/>
                  </a:lnTo>
                  <a:lnTo>
                    <a:pt x="1163" y="576"/>
                  </a:lnTo>
                  <a:lnTo>
                    <a:pt x="1161" y="577"/>
                  </a:lnTo>
                  <a:lnTo>
                    <a:pt x="1160" y="577"/>
                  </a:lnTo>
                  <a:lnTo>
                    <a:pt x="1160" y="579"/>
                  </a:lnTo>
                  <a:lnTo>
                    <a:pt x="1158" y="577"/>
                  </a:lnTo>
                  <a:lnTo>
                    <a:pt x="1156" y="576"/>
                  </a:lnTo>
                  <a:lnTo>
                    <a:pt x="1156" y="574"/>
                  </a:lnTo>
                  <a:lnTo>
                    <a:pt x="1156" y="574"/>
                  </a:lnTo>
                  <a:lnTo>
                    <a:pt x="1158" y="573"/>
                  </a:lnTo>
                  <a:lnTo>
                    <a:pt x="1156" y="571"/>
                  </a:lnTo>
                  <a:lnTo>
                    <a:pt x="1155" y="570"/>
                  </a:lnTo>
                  <a:lnTo>
                    <a:pt x="1153" y="568"/>
                  </a:lnTo>
                  <a:lnTo>
                    <a:pt x="1149" y="570"/>
                  </a:lnTo>
                  <a:lnTo>
                    <a:pt x="1147" y="571"/>
                  </a:lnTo>
                  <a:lnTo>
                    <a:pt x="1146" y="574"/>
                  </a:lnTo>
                  <a:lnTo>
                    <a:pt x="1144" y="576"/>
                  </a:lnTo>
                  <a:lnTo>
                    <a:pt x="1143" y="576"/>
                  </a:lnTo>
                  <a:lnTo>
                    <a:pt x="1144" y="573"/>
                  </a:lnTo>
                  <a:lnTo>
                    <a:pt x="1144" y="570"/>
                  </a:lnTo>
                  <a:lnTo>
                    <a:pt x="1146" y="568"/>
                  </a:lnTo>
                  <a:lnTo>
                    <a:pt x="1121" y="564"/>
                  </a:lnTo>
                  <a:lnTo>
                    <a:pt x="1119" y="564"/>
                  </a:lnTo>
                  <a:lnTo>
                    <a:pt x="1116" y="559"/>
                  </a:lnTo>
                  <a:lnTo>
                    <a:pt x="1115" y="559"/>
                  </a:lnTo>
                  <a:lnTo>
                    <a:pt x="1112" y="561"/>
                  </a:lnTo>
                  <a:lnTo>
                    <a:pt x="1106" y="557"/>
                  </a:lnTo>
                  <a:lnTo>
                    <a:pt x="1103" y="554"/>
                  </a:lnTo>
                  <a:lnTo>
                    <a:pt x="1103" y="551"/>
                  </a:lnTo>
                  <a:lnTo>
                    <a:pt x="1083" y="548"/>
                  </a:lnTo>
                  <a:lnTo>
                    <a:pt x="1061" y="545"/>
                  </a:lnTo>
                  <a:lnTo>
                    <a:pt x="1061" y="548"/>
                  </a:lnTo>
                  <a:lnTo>
                    <a:pt x="1063" y="550"/>
                  </a:lnTo>
                  <a:lnTo>
                    <a:pt x="1063" y="551"/>
                  </a:lnTo>
                  <a:lnTo>
                    <a:pt x="1061" y="551"/>
                  </a:lnTo>
                  <a:lnTo>
                    <a:pt x="1059" y="551"/>
                  </a:lnTo>
                  <a:lnTo>
                    <a:pt x="1058" y="551"/>
                  </a:lnTo>
                  <a:lnTo>
                    <a:pt x="1056" y="550"/>
                  </a:lnTo>
                  <a:lnTo>
                    <a:pt x="1055" y="550"/>
                  </a:lnTo>
                  <a:lnTo>
                    <a:pt x="1053" y="551"/>
                  </a:lnTo>
                  <a:lnTo>
                    <a:pt x="1052" y="553"/>
                  </a:lnTo>
                  <a:lnTo>
                    <a:pt x="1052" y="551"/>
                  </a:lnTo>
                  <a:lnTo>
                    <a:pt x="1052" y="550"/>
                  </a:lnTo>
                  <a:lnTo>
                    <a:pt x="1053" y="548"/>
                  </a:lnTo>
                  <a:lnTo>
                    <a:pt x="1052" y="547"/>
                  </a:lnTo>
                  <a:lnTo>
                    <a:pt x="1052" y="545"/>
                  </a:lnTo>
                  <a:lnTo>
                    <a:pt x="1044" y="548"/>
                  </a:lnTo>
                  <a:lnTo>
                    <a:pt x="1041" y="550"/>
                  </a:lnTo>
                  <a:lnTo>
                    <a:pt x="1039" y="553"/>
                  </a:lnTo>
                  <a:lnTo>
                    <a:pt x="1039" y="554"/>
                  </a:lnTo>
                  <a:lnTo>
                    <a:pt x="1039" y="556"/>
                  </a:lnTo>
                  <a:lnTo>
                    <a:pt x="1039" y="559"/>
                  </a:lnTo>
                  <a:lnTo>
                    <a:pt x="1039" y="559"/>
                  </a:lnTo>
                  <a:lnTo>
                    <a:pt x="1039" y="561"/>
                  </a:lnTo>
                  <a:lnTo>
                    <a:pt x="1041" y="562"/>
                  </a:lnTo>
                  <a:lnTo>
                    <a:pt x="1041" y="562"/>
                  </a:lnTo>
                  <a:lnTo>
                    <a:pt x="1041" y="564"/>
                  </a:lnTo>
                  <a:lnTo>
                    <a:pt x="1039" y="565"/>
                  </a:lnTo>
                  <a:lnTo>
                    <a:pt x="1039" y="565"/>
                  </a:lnTo>
                  <a:lnTo>
                    <a:pt x="1041" y="571"/>
                  </a:lnTo>
                  <a:lnTo>
                    <a:pt x="1041" y="574"/>
                  </a:lnTo>
                  <a:lnTo>
                    <a:pt x="1039" y="577"/>
                  </a:lnTo>
                  <a:lnTo>
                    <a:pt x="1039" y="577"/>
                  </a:lnTo>
                  <a:lnTo>
                    <a:pt x="1033" y="585"/>
                  </a:lnTo>
                  <a:lnTo>
                    <a:pt x="1032" y="587"/>
                  </a:lnTo>
                  <a:lnTo>
                    <a:pt x="1030" y="590"/>
                  </a:lnTo>
                  <a:lnTo>
                    <a:pt x="1029" y="594"/>
                  </a:lnTo>
                  <a:lnTo>
                    <a:pt x="1026" y="596"/>
                  </a:lnTo>
                  <a:lnTo>
                    <a:pt x="1021" y="596"/>
                  </a:lnTo>
                  <a:lnTo>
                    <a:pt x="1015" y="601"/>
                  </a:lnTo>
                  <a:lnTo>
                    <a:pt x="1006" y="601"/>
                  </a:lnTo>
                  <a:lnTo>
                    <a:pt x="1002" y="604"/>
                  </a:lnTo>
                  <a:lnTo>
                    <a:pt x="1001" y="608"/>
                  </a:lnTo>
                  <a:lnTo>
                    <a:pt x="1001" y="621"/>
                  </a:lnTo>
                  <a:lnTo>
                    <a:pt x="999" y="625"/>
                  </a:lnTo>
                  <a:lnTo>
                    <a:pt x="998" y="621"/>
                  </a:lnTo>
                  <a:lnTo>
                    <a:pt x="998" y="614"/>
                  </a:lnTo>
                  <a:lnTo>
                    <a:pt x="999" y="608"/>
                  </a:lnTo>
                  <a:lnTo>
                    <a:pt x="999" y="604"/>
                  </a:lnTo>
                  <a:lnTo>
                    <a:pt x="1002" y="599"/>
                  </a:lnTo>
                  <a:lnTo>
                    <a:pt x="1006" y="597"/>
                  </a:lnTo>
                  <a:lnTo>
                    <a:pt x="1009" y="596"/>
                  </a:lnTo>
                  <a:lnTo>
                    <a:pt x="1015" y="593"/>
                  </a:lnTo>
                  <a:lnTo>
                    <a:pt x="1019" y="593"/>
                  </a:lnTo>
                  <a:lnTo>
                    <a:pt x="1021" y="591"/>
                  </a:lnTo>
                  <a:lnTo>
                    <a:pt x="1027" y="585"/>
                  </a:lnTo>
                  <a:lnTo>
                    <a:pt x="1035" y="577"/>
                  </a:lnTo>
                  <a:lnTo>
                    <a:pt x="1038" y="573"/>
                  </a:lnTo>
                  <a:lnTo>
                    <a:pt x="1035" y="568"/>
                  </a:lnTo>
                  <a:lnTo>
                    <a:pt x="1033" y="570"/>
                  </a:lnTo>
                  <a:lnTo>
                    <a:pt x="1030" y="571"/>
                  </a:lnTo>
                  <a:lnTo>
                    <a:pt x="1027" y="573"/>
                  </a:lnTo>
                  <a:lnTo>
                    <a:pt x="1027" y="568"/>
                  </a:lnTo>
                  <a:lnTo>
                    <a:pt x="1026" y="567"/>
                  </a:lnTo>
                  <a:lnTo>
                    <a:pt x="1019" y="568"/>
                  </a:lnTo>
                  <a:lnTo>
                    <a:pt x="1021" y="565"/>
                  </a:lnTo>
                  <a:lnTo>
                    <a:pt x="1022" y="565"/>
                  </a:lnTo>
                  <a:lnTo>
                    <a:pt x="1026" y="564"/>
                  </a:lnTo>
                  <a:lnTo>
                    <a:pt x="1033" y="559"/>
                  </a:lnTo>
                  <a:lnTo>
                    <a:pt x="1030" y="556"/>
                  </a:lnTo>
                  <a:lnTo>
                    <a:pt x="1027" y="556"/>
                  </a:lnTo>
                  <a:lnTo>
                    <a:pt x="1019" y="557"/>
                  </a:lnTo>
                  <a:lnTo>
                    <a:pt x="1019" y="557"/>
                  </a:lnTo>
                  <a:lnTo>
                    <a:pt x="1018" y="559"/>
                  </a:lnTo>
                  <a:lnTo>
                    <a:pt x="1016" y="559"/>
                  </a:lnTo>
                  <a:lnTo>
                    <a:pt x="1015" y="559"/>
                  </a:lnTo>
                  <a:lnTo>
                    <a:pt x="1016" y="556"/>
                  </a:lnTo>
                  <a:lnTo>
                    <a:pt x="1022" y="554"/>
                  </a:lnTo>
                  <a:lnTo>
                    <a:pt x="1026" y="551"/>
                  </a:lnTo>
                  <a:lnTo>
                    <a:pt x="1027" y="548"/>
                  </a:lnTo>
                  <a:lnTo>
                    <a:pt x="1032" y="541"/>
                  </a:lnTo>
                  <a:lnTo>
                    <a:pt x="1035" y="536"/>
                  </a:lnTo>
                  <a:lnTo>
                    <a:pt x="1030" y="537"/>
                  </a:lnTo>
                  <a:lnTo>
                    <a:pt x="1029" y="537"/>
                  </a:lnTo>
                  <a:lnTo>
                    <a:pt x="1030" y="534"/>
                  </a:lnTo>
                  <a:lnTo>
                    <a:pt x="1033" y="533"/>
                  </a:lnTo>
                  <a:lnTo>
                    <a:pt x="1035" y="531"/>
                  </a:lnTo>
                  <a:lnTo>
                    <a:pt x="1036" y="527"/>
                  </a:lnTo>
                  <a:lnTo>
                    <a:pt x="1035" y="525"/>
                  </a:lnTo>
                  <a:lnTo>
                    <a:pt x="1030" y="522"/>
                  </a:lnTo>
                  <a:lnTo>
                    <a:pt x="1029" y="522"/>
                  </a:lnTo>
                  <a:lnTo>
                    <a:pt x="1026" y="525"/>
                  </a:lnTo>
                  <a:lnTo>
                    <a:pt x="1024" y="525"/>
                  </a:lnTo>
                  <a:lnTo>
                    <a:pt x="1024" y="524"/>
                  </a:lnTo>
                  <a:lnTo>
                    <a:pt x="1022" y="521"/>
                  </a:lnTo>
                  <a:lnTo>
                    <a:pt x="1021" y="522"/>
                  </a:lnTo>
                  <a:lnTo>
                    <a:pt x="1019" y="524"/>
                  </a:lnTo>
                  <a:lnTo>
                    <a:pt x="996" y="534"/>
                  </a:lnTo>
                  <a:lnTo>
                    <a:pt x="995" y="534"/>
                  </a:lnTo>
                  <a:lnTo>
                    <a:pt x="993" y="537"/>
                  </a:lnTo>
                  <a:lnTo>
                    <a:pt x="992" y="544"/>
                  </a:lnTo>
                  <a:lnTo>
                    <a:pt x="990" y="548"/>
                  </a:lnTo>
                  <a:lnTo>
                    <a:pt x="990" y="550"/>
                  </a:lnTo>
                  <a:lnTo>
                    <a:pt x="989" y="551"/>
                  </a:lnTo>
                  <a:lnTo>
                    <a:pt x="989" y="551"/>
                  </a:lnTo>
                  <a:lnTo>
                    <a:pt x="989" y="551"/>
                  </a:lnTo>
                  <a:lnTo>
                    <a:pt x="987" y="551"/>
                  </a:lnTo>
                  <a:lnTo>
                    <a:pt x="987" y="551"/>
                  </a:lnTo>
                  <a:lnTo>
                    <a:pt x="986" y="553"/>
                  </a:lnTo>
                  <a:lnTo>
                    <a:pt x="984" y="553"/>
                  </a:lnTo>
                  <a:lnTo>
                    <a:pt x="984" y="553"/>
                  </a:lnTo>
                  <a:lnTo>
                    <a:pt x="982" y="553"/>
                  </a:lnTo>
                  <a:lnTo>
                    <a:pt x="984" y="550"/>
                  </a:lnTo>
                  <a:lnTo>
                    <a:pt x="986" y="547"/>
                  </a:lnTo>
                  <a:lnTo>
                    <a:pt x="987" y="539"/>
                  </a:lnTo>
                  <a:lnTo>
                    <a:pt x="1004" y="516"/>
                  </a:lnTo>
                  <a:lnTo>
                    <a:pt x="996" y="516"/>
                  </a:lnTo>
                  <a:lnTo>
                    <a:pt x="990" y="519"/>
                  </a:lnTo>
                  <a:lnTo>
                    <a:pt x="981" y="530"/>
                  </a:lnTo>
                  <a:lnTo>
                    <a:pt x="982" y="524"/>
                  </a:lnTo>
                  <a:lnTo>
                    <a:pt x="984" y="519"/>
                  </a:lnTo>
                  <a:lnTo>
                    <a:pt x="990" y="514"/>
                  </a:lnTo>
                  <a:lnTo>
                    <a:pt x="989" y="513"/>
                  </a:lnTo>
                  <a:lnTo>
                    <a:pt x="986" y="513"/>
                  </a:lnTo>
                  <a:lnTo>
                    <a:pt x="982" y="513"/>
                  </a:lnTo>
                  <a:lnTo>
                    <a:pt x="975" y="510"/>
                  </a:lnTo>
                  <a:lnTo>
                    <a:pt x="973" y="511"/>
                  </a:lnTo>
                  <a:lnTo>
                    <a:pt x="972" y="511"/>
                  </a:lnTo>
                  <a:lnTo>
                    <a:pt x="969" y="514"/>
                  </a:lnTo>
                  <a:lnTo>
                    <a:pt x="967" y="514"/>
                  </a:lnTo>
                  <a:lnTo>
                    <a:pt x="964" y="510"/>
                  </a:lnTo>
                  <a:lnTo>
                    <a:pt x="962" y="510"/>
                  </a:lnTo>
                  <a:lnTo>
                    <a:pt x="962" y="510"/>
                  </a:lnTo>
                  <a:lnTo>
                    <a:pt x="962" y="511"/>
                  </a:lnTo>
                  <a:lnTo>
                    <a:pt x="962" y="513"/>
                  </a:lnTo>
                  <a:lnTo>
                    <a:pt x="962" y="513"/>
                  </a:lnTo>
                  <a:lnTo>
                    <a:pt x="962" y="513"/>
                  </a:lnTo>
                  <a:lnTo>
                    <a:pt x="959" y="513"/>
                  </a:lnTo>
                  <a:lnTo>
                    <a:pt x="958" y="511"/>
                  </a:lnTo>
                  <a:lnTo>
                    <a:pt x="956" y="513"/>
                  </a:lnTo>
                  <a:lnTo>
                    <a:pt x="956" y="513"/>
                  </a:lnTo>
                  <a:lnTo>
                    <a:pt x="955" y="517"/>
                  </a:lnTo>
                  <a:lnTo>
                    <a:pt x="955" y="519"/>
                  </a:lnTo>
                  <a:lnTo>
                    <a:pt x="953" y="519"/>
                  </a:lnTo>
                  <a:lnTo>
                    <a:pt x="953" y="519"/>
                  </a:lnTo>
                  <a:lnTo>
                    <a:pt x="952" y="519"/>
                  </a:lnTo>
                  <a:lnTo>
                    <a:pt x="944" y="525"/>
                  </a:lnTo>
                  <a:lnTo>
                    <a:pt x="941" y="528"/>
                  </a:lnTo>
                  <a:lnTo>
                    <a:pt x="938" y="525"/>
                  </a:lnTo>
                  <a:lnTo>
                    <a:pt x="941" y="525"/>
                  </a:lnTo>
                  <a:lnTo>
                    <a:pt x="947" y="519"/>
                  </a:lnTo>
                  <a:lnTo>
                    <a:pt x="950" y="517"/>
                  </a:lnTo>
                  <a:lnTo>
                    <a:pt x="952" y="517"/>
                  </a:lnTo>
                  <a:lnTo>
                    <a:pt x="953" y="513"/>
                  </a:lnTo>
                  <a:lnTo>
                    <a:pt x="955" y="510"/>
                  </a:lnTo>
                  <a:lnTo>
                    <a:pt x="956" y="510"/>
                  </a:lnTo>
                  <a:lnTo>
                    <a:pt x="958" y="511"/>
                  </a:lnTo>
                  <a:lnTo>
                    <a:pt x="959" y="510"/>
                  </a:lnTo>
                  <a:lnTo>
                    <a:pt x="961" y="508"/>
                  </a:lnTo>
                  <a:lnTo>
                    <a:pt x="955" y="504"/>
                  </a:lnTo>
                  <a:lnTo>
                    <a:pt x="952" y="504"/>
                  </a:lnTo>
                  <a:lnTo>
                    <a:pt x="953" y="502"/>
                  </a:lnTo>
                  <a:lnTo>
                    <a:pt x="955" y="499"/>
                  </a:lnTo>
                  <a:lnTo>
                    <a:pt x="955" y="497"/>
                  </a:lnTo>
                  <a:lnTo>
                    <a:pt x="955" y="496"/>
                  </a:lnTo>
                  <a:lnTo>
                    <a:pt x="953" y="494"/>
                  </a:lnTo>
                  <a:lnTo>
                    <a:pt x="953" y="493"/>
                  </a:lnTo>
                  <a:lnTo>
                    <a:pt x="952" y="493"/>
                  </a:lnTo>
                  <a:lnTo>
                    <a:pt x="944" y="496"/>
                  </a:lnTo>
                  <a:lnTo>
                    <a:pt x="942" y="494"/>
                  </a:lnTo>
                  <a:lnTo>
                    <a:pt x="938" y="491"/>
                  </a:lnTo>
                  <a:lnTo>
                    <a:pt x="933" y="490"/>
                  </a:lnTo>
                  <a:lnTo>
                    <a:pt x="929" y="491"/>
                  </a:lnTo>
                  <a:lnTo>
                    <a:pt x="924" y="497"/>
                  </a:lnTo>
                  <a:lnTo>
                    <a:pt x="924" y="494"/>
                  </a:lnTo>
                  <a:lnTo>
                    <a:pt x="925" y="491"/>
                  </a:lnTo>
                  <a:lnTo>
                    <a:pt x="927" y="488"/>
                  </a:lnTo>
                  <a:lnTo>
                    <a:pt x="927" y="485"/>
                  </a:lnTo>
                  <a:lnTo>
                    <a:pt x="927" y="482"/>
                  </a:lnTo>
                  <a:lnTo>
                    <a:pt x="925" y="480"/>
                  </a:lnTo>
                  <a:lnTo>
                    <a:pt x="922" y="480"/>
                  </a:lnTo>
                  <a:lnTo>
                    <a:pt x="921" y="479"/>
                  </a:lnTo>
                  <a:lnTo>
                    <a:pt x="927" y="477"/>
                  </a:lnTo>
                  <a:lnTo>
                    <a:pt x="930" y="474"/>
                  </a:lnTo>
                  <a:lnTo>
                    <a:pt x="932" y="467"/>
                  </a:lnTo>
                  <a:lnTo>
                    <a:pt x="932" y="464"/>
                  </a:lnTo>
                  <a:lnTo>
                    <a:pt x="932" y="460"/>
                  </a:lnTo>
                  <a:lnTo>
                    <a:pt x="932" y="459"/>
                  </a:lnTo>
                  <a:lnTo>
                    <a:pt x="932" y="457"/>
                  </a:lnTo>
                  <a:lnTo>
                    <a:pt x="933" y="456"/>
                  </a:lnTo>
                  <a:lnTo>
                    <a:pt x="935" y="457"/>
                  </a:lnTo>
                  <a:lnTo>
                    <a:pt x="935" y="459"/>
                  </a:lnTo>
                  <a:lnTo>
                    <a:pt x="936" y="462"/>
                  </a:lnTo>
                  <a:lnTo>
                    <a:pt x="936" y="465"/>
                  </a:lnTo>
                  <a:lnTo>
                    <a:pt x="936" y="467"/>
                  </a:lnTo>
                  <a:lnTo>
                    <a:pt x="936" y="470"/>
                  </a:lnTo>
                  <a:lnTo>
                    <a:pt x="936" y="473"/>
                  </a:lnTo>
                  <a:lnTo>
                    <a:pt x="936" y="473"/>
                  </a:lnTo>
                  <a:lnTo>
                    <a:pt x="935" y="474"/>
                  </a:lnTo>
                  <a:lnTo>
                    <a:pt x="935" y="476"/>
                  </a:lnTo>
                  <a:lnTo>
                    <a:pt x="935" y="477"/>
                  </a:lnTo>
                  <a:lnTo>
                    <a:pt x="936" y="477"/>
                  </a:lnTo>
                  <a:lnTo>
                    <a:pt x="938" y="479"/>
                  </a:lnTo>
                  <a:lnTo>
                    <a:pt x="939" y="479"/>
                  </a:lnTo>
                  <a:lnTo>
                    <a:pt x="950" y="480"/>
                  </a:lnTo>
                  <a:lnTo>
                    <a:pt x="955" y="479"/>
                  </a:lnTo>
                  <a:lnTo>
                    <a:pt x="956" y="479"/>
                  </a:lnTo>
                  <a:lnTo>
                    <a:pt x="961" y="482"/>
                  </a:lnTo>
                  <a:lnTo>
                    <a:pt x="989" y="493"/>
                  </a:lnTo>
                  <a:lnTo>
                    <a:pt x="999" y="487"/>
                  </a:lnTo>
                  <a:lnTo>
                    <a:pt x="1002" y="484"/>
                  </a:lnTo>
                  <a:lnTo>
                    <a:pt x="1006" y="479"/>
                  </a:lnTo>
                  <a:lnTo>
                    <a:pt x="1006" y="479"/>
                  </a:lnTo>
                  <a:lnTo>
                    <a:pt x="1007" y="477"/>
                  </a:lnTo>
                  <a:lnTo>
                    <a:pt x="1006" y="476"/>
                  </a:lnTo>
                  <a:lnTo>
                    <a:pt x="1006" y="474"/>
                  </a:lnTo>
                  <a:lnTo>
                    <a:pt x="1006" y="473"/>
                  </a:lnTo>
                  <a:lnTo>
                    <a:pt x="1006" y="471"/>
                  </a:lnTo>
                  <a:lnTo>
                    <a:pt x="1006" y="470"/>
                  </a:lnTo>
                  <a:lnTo>
                    <a:pt x="1007" y="464"/>
                  </a:lnTo>
                  <a:lnTo>
                    <a:pt x="1007" y="462"/>
                  </a:lnTo>
                  <a:lnTo>
                    <a:pt x="1007" y="459"/>
                  </a:lnTo>
                  <a:lnTo>
                    <a:pt x="1006" y="457"/>
                  </a:lnTo>
                  <a:lnTo>
                    <a:pt x="1004" y="459"/>
                  </a:lnTo>
                  <a:lnTo>
                    <a:pt x="1002" y="460"/>
                  </a:lnTo>
                  <a:lnTo>
                    <a:pt x="1001" y="460"/>
                  </a:lnTo>
                  <a:lnTo>
                    <a:pt x="998" y="456"/>
                  </a:lnTo>
                  <a:lnTo>
                    <a:pt x="992" y="451"/>
                  </a:lnTo>
                  <a:lnTo>
                    <a:pt x="978" y="448"/>
                  </a:lnTo>
                  <a:lnTo>
                    <a:pt x="970" y="451"/>
                  </a:lnTo>
                  <a:lnTo>
                    <a:pt x="962" y="447"/>
                  </a:lnTo>
                  <a:lnTo>
                    <a:pt x="961" y="445"/>
                  </a:lnTo>
                  <a:lnTo>
                    <a:pt x="961" y="442"/>
                  </a:lnTo>
                  <a:lnTo>
                    <a:pt x="962" y="440"/>
                  </a:lnTo>
                  <a:lnTo>
                    <a:pt x="959" y="436"/>
                  </a:lnTo>
                  <a:lnTo>
                    <a:pt x="953" y="431"/>
                  </a:lnTo>
                  <a:lnTo>
                    <a:pt x="950" y="430"/>
                  </a:lnTo>
                  <a:lnTo>
                    <a:pt x="942" y="431"/>
                  </a:lnTo>
                  <a:lnTo>
                    <a:pt x="941" y="430"/>
                  </a:lnTo>
                  <a:lnTo>
                    <a:pt x="927" y="411"/>
                  </a:lnTo>
                  <a:lnTo>
                    <a:pt x="922" y="410"/>
                  </a:lnTo>
                  <a:lnTo>
                    <a:pt x="921" y="410"/>
                  </a:lnTo>
                  <a:lnTo>
                    <a:pt x="919" y="411"/>
                  </a:lnTo>
                  <a:lnTo>
                    <a:pt x="918" y="414"/>
                  </a:lnTo>
                  <a:lnTo>
                    <a:pt x="916" y="417"/>
                  </a:lnTo>
                  <a:lnTo>
                    <a:pt x="916" y="419"/>
                  </a:lnTo>
                  <a:lnTo>
                    <a:pt x="921" y="425"/>
                  </a:lnTo>
                  <a:lnTo>
                    <a:pt x="922" y="425"/>
                  </a:lnTo>
                  <a:lnTo>
                    <a:pt x="922" y="427"/>
                  </a:lnTo>
                  <a:lnTo>
                    <a:pt x="921" y="430"/>
                  </a:lnTo>
                  <a:lnTo>
                    <a:pt x="922" y="431"/>
                  </a:lnTo>
                  <a:lnTo>
                    <a:pt x="922" y="433"/>
                  </a:lnTo>
                  <a:lnTo>
                    <a:pt x="927" y="437"/>
                  </a:lnTo>
                  <a:lnTo>
                    <a:pt x="930" y="444"/>
                  </a:lnTo>
                  <a:lnTo>
                    <a:pt x="930" y="445"/>
                  </a:lnTo>
                  <a:lnTo>
                    <a:pt x="930" y="447"/>
                  </a:lnTo>
                  <a:lnTo>
                    <a:pt x="930" y="448"/>
                  </a:lnTo>
                  <a:lnTo>
                    <a:pt x="930" y="448"/>
                  </a:lnTo>
                  <a:lnTo>
                    <a:pt x="929" y="450"/>
                  </a:lnTo>
                  <a:lnTo>
                    <a:pt x="929" y="450"/>
                  </a:lnTo>
                  <a:lnTo>
                    <a:pt x="927" y="451"/>
                  </a:lnTo>
                  <a:lnTo>
                    <a:pt x="927" y="451"/>
                  </a:lnTo>
                  <a:lnTo>
                    <a:pt x="925" y="451"/>
                  </a:lnTo>
                  <a:lnTo>
                    <a:pt x="921" y="444"/>
                  </a:lnTo>
                  <a:lnTo>
                    <a:pt x="916" y="440"/>
                  </a:lnTo>
                  <a:lnTo>
                    <a:pt x="913" y="436"/>
                  </a:lnTo>
                  <a:lnTo>
                    <a:pt x="912" y="436"/>
                  </a:lnTo>
                  <a:lnTo>
                    <a:pt x="905" y="436"/>
                  </a:lnTo>
                  <a:lnTo>
                    <a:pt x="902" y="437"/>
                  </a:lnTo>
                  <a:lnTo>
                    <a:pt x="901" y="440"/>
                  </a:lnTo>
                  <a:lnTo>
                    <a:pt x="901" y="445"/>
                  </a:lnTo>
                  <a:lnTo>
                    <a:pt x="902" y="450"/>
                  </a:lnTo>
                  <a:lnTo>
                    <a:pt x="902" y="453"/>
                  </a:lnTo>
                  <a:lnTo>
                    <a:pt x="901" y="459"/>
                  </a:lnTo>
                  <a:lnTo>
                    <a:pt x="901" y="460"/>
                  </a:lnTo>
                  <a:lnTo>
                    <a:pt x="902" y="464"/>
                  </a:lnTo>
                  <a:lnTo>
                    <a:pt x="905" y="465"/>
                  </a:lnTo>
                  <a:lnTo>
                    <a:pt x="908" y="468"/>
                  </a:lnTo>
                  <a:lnTo>
                    <a:pt x="908" y="471"/>
                  </a:lnTo>
                  <a:lnTo>
                    <a:pt x="890" y="468"/>
                  </a:lnTo>
                  <a:lnTo>
                    <a:pt x="888" y="468"/>
                  </a:lnTo>
                  <a:lnTo>
                    <a:pt x="888" y="470"/>
                  </a:lnTo>
                  <a:lnTo>
                    <a:pt x="887" y="471"/>
                  </a:lnTo>
                  <a:lnTo>
                    <a:pt x="884" y="468"/>
                  </a:lnTo>
                  <a:lnTo>
                    <a:pt x="882" y="471"/>
                  </a:lnTo>
                  <a:lnTo>
                    <a:pt x="875" y="484"/>
                  </a:lnTo>
                  <a:lnTo>
                    <a:pt x="873" y="487"/>
                  </a:lnTo>
                  <a:lnTo>
                    <a:pt x="870" y="487"/>
                  </a:lnTo>
                  <a:lnTo>
                    <a:pt x="875" y="482"/>
                  </a:lnTo>
                  <a:lnTo>
                    <a:pt x="876" y="479"/>
                  </a:lnTo>
                  <a:lnTo>
                    <a:pt x="876" y="477"/>
                  </a:lnTo>
                  <a:lnTo>
                    <a:pt x="876" y="476"/>
                  </a:lnTo>
                  <a:lnTo>
                    <a:pt x="876" y="474"/>
                  </a:lnTo>
                  <a:lnTo>
                    <a:pt x="876" y="474"/>
                  </a:lnTo>
                  <a:lnTo>
                    <a:pt x="878" y="474"/>
                  </a:lnTo>
                  <a:lnTo>
                    <a:pt x="878" y="473"/>
                  </a:lnTo>
                  <a:lnTo>
                    <a:pt x="878" y="471"/>
                  </a:lnTo>
                  <a:lnTo>
                    <a:pt x="879" y="470"/>
                  </a:lnTo>
                  <a:lnTo>
                    <a:pt x="879" y="465"/>
                  </a:lnTo>
                  <a:lnTo>
                    <a:pt x="878" y="464"/>
                  </a:lnTo>
                  <a:lnTo>
                    <a:pt x="876" y="462"/>
                  </a:lnTo>
                  <a:lnTo>
                    <a:pt x="875" y="462"/>
                  </a:lnTo>
                  <a:lnTo>
                    <a:pt x="872" y="457"/>
                  </a:lnTo>
                  <a:lnTo>
                    <a:pt x="870" y="456"/>
                  </a:lnTo>
                  <a:lnTo>
                    <a:pt x="868" y="454"/>
                  </a:lnTo>
                  <a:lnTo>
                    <a:pt x="867" y="454"/>
                  </a:lnTo>
                  <a:lnTo>
                    <a:pt x="865" y="456"/>
                  </a:lnTo>
                  <a:lnTo>
                    <a:pt x="864" y="456"/>
                  </a:lnTo>
                  <a:lnTo>
                    <a:pt x="864" y="456"/>
                  </a:lnTo>
                  <a:lnTo>
                    <a:pt x="861" y="453"/>
                  </a:lnTo>
                  <a:lnTo>
                    <a:pt x="859" y="453"/>
                  </a:lnTo>
                  <a:lnTo>
                    <a:pt x="852" y="451"/>
                  </a:lnTo>
                  <a:lnTo>
                    <a:pt x="836" y="445"/>
                  </a:lnTo>
                  <a:lnTo>
                    <a:pt x="836" y="445"/>
                  </a:lnTo>
                  <a:lnTo>
                    <a:pt x="838" y="454"/>
                  </a:lnTo>
                  <a:lnTo>
                    <a:pt x="839" y="457"/>
                  </a:lnTo>
                  <a:lnTo>
                    <a:pt x="839" y="460"/>
                  </a:lnTo>
                  <a:lnTo>
                    <a:pt x="839" y="464"/>
                  </a:lnTo>
                  <a:lnTo>
                    <a:pt x="839" y="467"/>
                  </a:lnTo>
                  <a:lnTo>
                    <a:pt x="839" y="468"/>
                  </a:lnTo>
                  <a:lnTo>
                    <a:pt x="841" y="471"/>
                  </a:lnTo>
                  <a:lnTo>
                    <a:pt x="844" y="474"/>
                  </a:lnTo>
                  <a:lnTo>
                    <a:pt x="844" y="491"/>
                  </a:lnTo>
                  <a:lnTo>
                    <a:pt x="844" y="494"/>
                  </a:lnTo>
                  <a:lnTo>
                    <a:pt x="841" y="502"/>
                  </a:lnTo>
                  <a:lnTo>
                    <a:pt x="838" y="505"/>
                  </a:lnTo>
                  <a:lnTo>
                    <a:pt x="830" y="507"/>
                  </a:lnTo>
                  <a:lnTo>
                    <a:pt x="811" y="504"/>
                  </a:lnTo>
                  <a:lnTo>
                    <a:pt x="810" y="502"/>
                  </a:lnTo>
                  <a:lnTo>
                    <a:pt x="796" y="485"/>
                  </a:lnTo>
                  <a:lnTo>
                    <a:pt x="791" y="482"/>
                  </a:lnTo>
                  <a:lnTo>
                    <a:pt x="788" y="480"/>
                  </a:lnTo>
                  <a:lnTo>
                    <a:pt x="785" y="482"/>
                  </a:lnTo>
                  <a:lnTo>
                    <a:pt x="782" y="482"/>
                  </a:lnTo>
                  <a:lnTo>
                    <a:pt x="784" y="484"/>
                  </a:lnTo>
                  <a:lnTo>
                    <a:pt x="785" y="485"/>
                  </a:lnTo>
                  <a:lnTo>
                    <a:pt x="790" y="488"/>
                  </a:lnTo>
                  <a:lnTo>
                    <a:pt x="790" y="490"/>
                  </a:lnTo>
                  <a:lnTo>
                    <a:pt x="791" y="494"/>
                  </a:lnTo>
                  <a:lnTo>
                    <a:pt x="791" y="499"/>
                  </a:lnTo>
                  <a:lnTo>
                    <a:pt x="791" y="502"/>
                  </a:lnTo>
                  <a:lnTo>
                    <a:pt x="790" y="505"/>
                  </a:lnTo>
                  <a:lnTo>
                    <a:pt x="788" y="507"/>
                  </a:lnTo>
                  <a:lnTo>
                    <a:pt x="787" y="508"/>
                  </a:lnTo>
                  <a:lnTo>
                    <a:pt x="785" y="510"/>
                  </a:lnTo>
                  <a:lnTo>
                    <a:pt x="785" y="513"/>
                  </a:lnTo>
                  <a:lnTo>
                    <a:pt x="785" y="516"/>
                  </a:lnTo>
                  <a:lnTo>
                    <a:pt x="785" y="519"/>
                  </a:lnTo>
                  <a:lnTo>
                    <a:pt x="784" y="521"/>
                  </a:lnTo>
                  <a:lnTo>
                    <a:pt x="784" y="524"/>
                  </a:lnTo>
                  <a:lnTo>
                    <a:pt x="774" y="533"/>
                  </a:lnTo>
                  <a:lnTo>
                    <a:pt x="771" y="537"/>
                  </a:lnTo>
                  <a:lnTo>
                    <a:pt x="770" y="539"/>
                  </a:lnTo>
                  <a:lnTo>
                    <a:pt x="767" y="541"/>
                  </a:lnTo>
                  <a:lnTo>
                    <a:pt x="756" y="542"/>
                  </a:lnTo>
                  <a:lnTo>
                    <a:pt x="754" y="542"/>
                  </a:lnTo>
                  <a:lnTo>
                    <a:pt x="748" y="548"/>
                  </a:lnTo>
                  <a:lnTo>
                    <a:pt x="745" y="550"/>
                  </a:lnTo>
                  <a:lnTo>
                    <a:pt x="731" y="551"/>
                  </a:lnTo>
                  <a:lnTo>
                    <a:pt x="728" y="553"/>
                  </a:lnTo>
                  <a:lnTo>
                    <a:pt x="725" y="557"/>
                  </a:lnTo>
                  <a:lnTo>
                    <a:pt x="724" y="561"/>
                  </a:lnTo>
                  <a:lnTo>
                    <a:pt x="724" y="567"/>
                  </a:lnTo>
                  <a:lnTo>
                    <a:pt x="722" y="568"/>
                  </a:lnTo>
                  <a:lnTo>
                    <a:pt x="722" y="570"/>
                  </a:lnTo>
                  <a:lnTo>
                    <a:pt x="722" y="573"/>
                  </a:lnTo>
                  <a:lnTo>
                    <a:pt x="722" y="574"/>
                  </a:lnTo>
                  <a:lnTo>
                    <a:pt x="722" y="576"/>
                  </a:lnTo>
                  <a:lnTo>
                    <a:pt x="721" y="579"/>
                  </a:lnTo>
                  <a:lnTo>
                    <a:pt x="719" y="581"/>
                  </a:lnTo>
                  <a:lnTo>
                    <a:pt x="719" y="588"/>
                  </a:lnTo>
                  <a:lnTo>
                    <a:pt x="718" y="591"/>
                  </a:lnTo>
                  <a:lnTo>
                    <a:pt x="716" y="596"/>
                  </a:lnTo>
                  <a:lnTo>
                    <a:pt x="713" y="602"/>
                  </a:lnTo>
                  <a:lnTo>
                    <a:pt x="708" y="607"/>
                  </a:lnTo>
                  <a:lnTo>
                    <a:pt x="705" y="608"/>
                  </a:lnTo>
                  <a:lnTo>
                    <a:pt x="701" y="608"/>
                  </a:lnTo>
                  <a:lnTo>
                    <a:pt x="697" y="608"/>
                  </a:lnTo>
                  <a:lnTo>
                    <a:pt x="696" y="610"/>
                  </a:lnTo>
                  <a:lnTo>
                    <a:pt x="687" y="619"/>
                  </a:lnTo>
                  <a:lnTo>
                    <a:pt x="679" y="622"/>
                  </a:lnTo>
                  <a:lnTo>
                    <a:pt x="659" y="636"/>
                  </a:lnTo>
                  <a:lnTo>
                    <a:pt x="656" y="638"/>
                  </a:lnTo>
                  <a:lnTo>
                    <a:pt x="656" y="641"/>
                  </a:lnTo>
                  <a:lnTo>
                    <a:pt x="657" y="642"/>
                  </a:lnTo>
                  <a:lnTo>
                    <a:pt x="659" y="644"/>
                  </a:lnTo>
                  <a:lnTo>
                    <a:pt x="673" y="642"/>
                  </a:lnTo>
                  <a:lnTo>
                    <a:pt x="679" y="644"/>
                  </a:lnTo>
                  <a:lnTo>
                    <a:pt x="685" y="650"/>
                  </a:lnTo>
                  <a:lnTo>
                    <a:pt x="681" y="665"/>
                  </a:lnTo>
                  <a:lnTo>
                    <a:pt x="679" y="671"/>
                  </a:lnTo>
                  <a:lnTo>
                    <a:pt x="659" y="710"/>
                  </a:lnTo>
                  <a:lnTo>
                    <a:pt x="659" y="713"/>
                  </a:lnTo>
                  <a:lnTo>
                    <a:pt x="659" y="716"/>
                  </a:lnTo>
                  <a:lnTo>
                    <a:pt x="659" y="721"/>
                  </a:lnTo>
                  <a:lnTo>
                    <a:pt x="661" y="727"/>
                  </a:lnTo>
                  <a:lnTo>
                    <a:pt x="674" y="778"/>
                  </a:lnTo>
                  <a:lnTo>
                    <a:pt x="676" y="782"/>
                  </a:lnTo>
                  <a:lnTo>
                    <a:pt x="679" y="784"/>
                  </a:lnTo>
                  <a:lnTo>
                    <a:pt x="701" y="793"/>
                  </a:lnTo>
                  <a:lnTo>
                    <a:pt x="722" y="802"/>
                  </a:lnTo>
                  <a:lnTo>
                    <a:pt x="724" y="804"/>
                  </a:lnTo>
                  <a:lnTo>
                    <a:pt x="727" y="808"/>
                  </a:lnTo>
                  <a:lnTo>
                    <a:pt x="733" y="821"/>
                  </a:lnTo>
                  <a:lnTo>
                    <a:pt x="733" y="821"/>
                  </a:lnTo>
                  <a:lnTo>
                    <a:pt x="736" y="827"/>
                  </a:lnTo>
                  <a:lnTo>
                    <a:pt x="748" y="853"/>
                  </a:lnTo>
                  <a:lnTo>
                    <a:pt x="753" y="859"/>
                  </a:lnTo>
                  <a:lnTo>
                    <a:pt x="774" y="881"/>
                  </a:lnTo>
                  <a:lnTo>
                    <a:pt x="773" y="884"/>
                  </a:lnTo>
                  <a:lnTo>
                    <a:pt x="773" y="885"/>
                  </a:lnTo>
                  <a:lnTo>
                    <a:pt x="771" y="889"/>
                  </a:lnTo>
                  <a:lnTo>
                    <a:pt x="771" y="901"/>
                  </a:lnTo>
                  <a:lnTo>
                    <a:pt x="771" y="904"/>
                  </a:lnTo>
                  <a:lnTo>
                    <a:pt x="770" y="912"/>
                  </a:lnTo>
                  <a:lnTo>
                    <a:pt x="768" y="916"/>
                  </a:lnTo>
                  <a:lnTo>
                    <a:pt x="739" y="956"/>
                  </a:lnTo>
                  <a:lnTo>
                    <a:pt x="738" y="958"/>
                  </a:lnTo>
                  <a:lnTo>
                    <a:pt x="736" y="961"/>
                  </a:lnTo>
                  <a:lnTo>
                    <a:pt x="736" y="962"/>
                  </a:lnTo>
                  <a:lnTo>
                    <a:pt x="736" y="964"/>
                  </a:lnTo>
                  <a:lnTo>
                    <a:pt x="731" y="969"/>
                  </a:lnTo>
                  <a:lnTo>
                    <a:pt x="707" y="1015"/>
                  </a:lnTo>
                  <a:lnTo>
                    <a:pt x="707" y="1015"/>
                  </a:lnTo>
                  <a:lnTo>
                    <a:pt x="707" y="1015"/>
                  </a:lnTo>
                  <a:lnTo>
                    <a:pt x="707" y="1015"/>
                  </a:lnTo>
                  <a:lnTo>
                    <a:pt x="704" y="1030"/>
                  </a:lnTo>
                  <a:lnTo>
                    <a:pt x="707" y="1044"/>
                  </a:lnTo>
                  <a:lnTo>
                    <a:pt x="724" y="1073"/>
                  </a:lnTo>
                  <a:lnTo>
                    <a:pt x="727" y="1084"/>
                  </a:lnTo>
                  <a:lnTo>
                    <a:pt x="727" y="1084"/>
                  </a:lnTo>
                  <a:lnTo>
                    <a:pt x="728" y="1087"/>
                  </a:lnTo>
                  <a:lnTo>
                    <a:pt x="730" y="1090"/>
                  </a:lnTo>
                  <a:lnTo>
                    <a:pt x="730" y="1092"/>
                  </a:lnTo>
                  <a:lnTo>
                    <a:pt x="730" y="1093"/>
                  </a:lnTo>
                  <a:lnTo>
                    <a:pt x="730" y="1095"/>
                  </a:lnTo>
                  <a:lnTo>
                    <a:pt x="739" y="1109"/>
                  </a:lnTo>
                  <a:lnTo>
                    <a:pt x="739" y="1112"/>
                  </a:lnTo>
                  <a:lnTo>
                    <a:pt x="741" y="1120"/>
                  </a:lnTo>
                  <a:lnTo>
                    <a:pt x="741" y="1124"/>
                  </a:lnTo>
                  <a:lnTo>
                    <a:pt x="742" y="1130"/>
                  </a:lnTo>
                  <a:lnTo>
                    <a:pt x="744" y="1136"/>
                  </a:lnTo>
                  <a:lnTo>
                    <a:pt x="748" y="1147"/>
                  </a:lnTo>
                  <a:lnTo>
                    <a:pt x="759" y="1167"/>
                  </a:lnTo>
                  <a:lnTo>
                    <a:pt x="765" y="1175"/>
                  </a:lnTo>
                  <a:lnTo>
                    <a:pt x="767" y="1180"/>
                  </a:lnTo>
                  <a:lnTo>
                    <a:pt x="768" y="1187"/>
                  </a:lnTo>
                  <a:lnTo>
                    <a:pt x="770" y="1201"/>
                  </a:lnTo>
                  <a:lnTo>
                    <a:pt x="771" y="1204"/>
                  </a:lnTo>
                  <a:lnTo>
                    <a:pt x="774" y="1212"/>
                  </a:lnTo>
                  <a:lnTo>
                    <a:pt x="774" y="1215"/>
                  </a:lnTo>
                  <a:lnTo>
                    <a:pt x="778" y="1224"/>
                  </a:lnTo>
                  <a:lnTo>
                    <a:pt x="779" y="1232"/>
                  </a:lnTo>
                  <a:lnTo>
                    <a:pt x="781" y="1235"/>
                  </a:lnTo>
                  <a:lnTo>
                    <a:pt x="782" y="1252"/>
                  </a:lnTo>
                  <a:lnTo>
                    <a:pt x="782" y="1257"/>
                  </a:lnTo>
                  <a:lnTo>
                    <a:pt x="782" y="1261"/>
                  </a:lnTo>
                  <a:lnTo>
                    <a:pt x="781" y="1263"/>
                  </a:lnTo>
                  <a:lnTo>
                    <a:pt x="779" y="1261"/>
                  </a:lnTo>
                  <a:lnTo>
                    <a:pt x="774" y="1258"/>
                  </a:lnTo>
                  <a:lnTo>
                    <a:pt x="756" y="1264"/>
                  </a:lnTo>
                  <a:lnTo>
                    <a:pt x="751" y="1267"/>
                  </a:lnTo>
                  <a:lnTo>
                    <a:pt x="754" y="1270"/>
                  </a:lnTo>
                  <a:lnTo>
                    <a:pt x="759" y="1275"/>
                  </a:lnTo>
                  <a:lnTo>
                    <a:pt x="762" y="1278"/>
                  </a:lnTo>
                  <a:lnTo>
                    <a:pt x="761" y="1281"/>
                  </a:lnTo>
                  <a:lnTo>
                    <a:pt x="754" y="1289"/>
                  </a:lnTo>
                  <a:lnTo>
                    <a:pt x="754" y="1290"/>
                  </a:lnTo>
                  <a:lnTo>
                    <a:pt x="754" y="1292"/>
                  </a:lnTo>
                  <a:lnTo>
                    <a:pt x="754" y="1292"/>
                  </a:lnTo>
                  <a:lnTo>
                    <a:pt x="753" y="1298"/>
                  </a:lnTo>
                  <a:lnTo>
                    <a:pt x="754" y="1315"/>
                  </a:lnTo>
                  <a:lnTo>
                    <a:pt x="753" y="1321"/>
                  </a:lnTo>
                  <a:lnTo>
                    <a:pt x="745" y="1332"/>
                  </a:lnTo>
                  <a:lnTo>
                    <a:pt x="742" y="1338"/>
                  </a:lnTo>
                  <a:lnTo>
                    <a:pt x="747" y="1341"/>
                  </a:lnTo>
                  <a:lnTo>
                    <a:pt x="756" y="1341"/>
                  </a:lnTo>
                  <a:lnTo>
                    <a:pt x="762" y="1343"/>
                  </a:lnTo>
                  <a:lnTo>
                    <a:pt x="762" y="1349"/>
                  </a:lnTo>
                  <a:lnTo>
                    <a:pt x="761" y="1351"/>
                  </a:lnTo>
                  <a:lnTo>
                    <a:pt x="761" y="1352"/>
                  </a:lnTo>
                  <a:lnTo>
                    <a:pt x="761" y="1354"/>
                  </a:lnTo>
                  <a:lnTo>
                    <a:pt x="759" y="1355"/>
                  </a:lnTo>
                  <a:lnTo>
                    <a:pt x="761" y="1357"/>
                  </a:lnTo>
                  <a:lnTo>
                    <a:pt x="762" y="1357"/>
                  </a:lnTo>
                  <a:lnTo>
                    <a:pt x="762" y="1358"/>
                  </a:lnTo>
                  <a:lnTo>
                    <a:pt x="762" y="1360"/>
                  </a:lnTo>
                  <a:lnTo>
                    <a:pt x="761" y="1363"/>
                  </a:lnTo>
                  <a:lnTo>
                    <a:pt x="750" y="1366"/>
                  </a:lnTo>
                  <a:lnTo>
                    <a:pt x="747" y="1367"/>
                  </a:lnTo>
                  <a:lnTo>
                    <a:pt x="744" y="1374"/>
                  </a:lnTo>
                  <a:lnTo>
                    <a:pt x="744" y="1381"/>
                  </a:lnTo>
                  <a:lnTo>
                    <a:pt x="747" y="1395"/>
                  </a:lnTo>
                  <a:lnTo>
                    <a:pt x="751" y="1407"/>
                  </a:lnTo>
                  <a:lnTo>
                    <a:pt x="758" y="1415"/>
                  </a:lnTo>
                  <a:lnTo>
                    <a:pt x="765" y="1417"/>
                  </a:lnTo>
                  <a:lnTo>
                    <a:pt x="779" y="1417"/>
                  </a:lnTo>
                  <a:lnTo>
                    <a:pt x="782" y="1418"/>
                  </a:lnTo>
                  <a:lnTo>
                    <a:pt x="782" y="1420"/>
                  </a:lnTo>
                  <a:lnTo>
                    <a:pt x="784" y="1421"/>
                  </a:lnTo>
                  <a:lnTo>
                    <a:pt x="782" y="1423"/>
                  </a:lnTo>
                  <a:lnTo>
                    <a:pt x="782" y="1424"/>
                  </a:lnTo>
                  <a:lnTo>
                    <a:pt x="782" y="1426"/>
                  </a:lnTo>
                  <a:lnTo>
                    <a:pt x="782" y="1428"/>
                  </a:lnTo>
                  <a:lnTo>
                    <a:pt x="782" y="1428"/>
                  </a:lnTo>
                  <a:lnTo>
                    <a:pt x="784" y="1431"/>
                  </a:lnTo>
                  <a:lnTo>
                    <a:pt x="784" y="1432"/>
                  </a:lnTo>
                  <a:lnTo>
                    <a:pt x="787" y="1435"/>
                  </a:lnTo>
                  <a:lnTo>
                    <a:pt x="788" y="1438"/>
                  </a:lnTo>
                  <a:lnTo>
                    <a:pt x="787" y="1441"/>
                  </a:lnTo>
                  <a:lnTo>
                    <a:pt x="785" y="1444"/>
                  </a:lnTo>
                  <a:lnTo>
                    <a:pt x="784" y="1446"/>
                  </a:lnTo>
                  <a:lnTo>
                    <a:pt x="771" y="1452"/>
                  </a:lnTo>
                  <a:lnTo>
                    <a:pt x="771" y="1454"/>
                  </a:lnTo>
                  <a:lnTo>
                    <a:pt x="771" y="1454"/>
                  </a:lnTo>
                  <a:lnTo>
                    <a:pt x="771" y="1455"/>
                  </a:lnTo>
                  <a:lnTo>
                    <a:pt x="771" y="1455"/>
                  </a:lnTo>
                  <a:lnTo>
                    <a:pt x="771" y="1455"/>
                  </a:lnTo>
                  <a:lnTo>
                    <a:pt x="771" y="1458"/>
                  </a:lnTo>
                  <a:lnTo>
                    <a:pt x="771" y="1460"/>
                  </a:lnTo>
                  <a:lnTo>
                    <a:pt x="773" y="1461"/>
                  </a:lnTo>
                  <a:lnTo>
                    <a:pt x="773" y="1461"/>
                  </a:lnTo>
                  <a:lnTo>
                    <a:pt x="773" y="1463"/>
                  </a:lnTo>
                  <a:lnTo>
                    <a:pt x="773" y="1463"/>
                  </a:lnTo>
                  <a:lnTo>
                    <a:pt x="773" y="1463"/>
                  </a:lnTo>
                  <a:lnTo>
                    <a:pt x="773" y="1464"/>
                  </a:lnTo>
                  <a:lnTo>
                    <a:pt x="773" y="1464"/>
                  </a:lnTo>
                  <a:lnTo>
                    <a:pt x="773" y="1466"/>
                  </a:lnTo>
                  <a:lnTo>
                    <a:pt x="776" y="1468"/>
                  </a:lnTo>
                  <a:lnTo>
                    <a:pt x="779" y="1471"/>
                  </a:lnTo>
                  <a:lnTo>
                    <a:pt x="779" y="1475"/>
                  </a:lnTo>
                  <a:lnTo>
                    <a:pt x="778" y="1480"/>
                  </a:lnTo>
                  <a:lnTo>
                    <a:pt x="776" y="1484"/>
                  </a:lnTo>
                  <a:lnTo>
                    <a:pt x="778" y="1488"/>
                  </a:lnTo>
                  <a:lnTo>
                    <a:pt x="781" y="1491"/>
                  </a:lnTo>
                  <a:lnTo>
                    <a:pt x="787" y="1494"/>
                  </a:lnTo>
                  <a:lnTo>
                    <a:pt x="798" y="1498"/>
                  </a:lnTo>
                  <a:lnTo>
                    <a:pt x="802" y="1500"/>
                  </a:lnTo>
                  <a:lnTo>
                    <a:pt x="804" y="1503"/>
                  </a:lnTo>
                  <a:lnTo>
                    <a:pt x="805" y="1506"/>
                  </a:lnTo>
                  <a:lnTo>
                    <a:pt x="807" y="1509"/>
                  </a:lnTo>
                  <a:lnTo>
                    <a:pt x="811" y="1511"/>
                  </a:lnTo>
                  <a:lnTo>
                    <a:pt x="815" y="1512"/>
                  </a:lnTo>
                  <a:lnTo>
                    <a:pt x="816" y="1514"/>
                  </a:lnTo>
                  <a:lnTo>
                    <a:pt x="815" y="1518"/>
                  </a:lnTo>
                  <a:lnTo>
                    <a:pt x="813" y="1521"/>
                  </a:lnTo>
                  <a:lnTo>
                    <a:pt x="813" y="1525"/>
                  </a:lnTo>
                  <a:lnTo>
                    <a:pt x="815" y="1528"/>
                  </a:lnTo>
                  <a:lnTo>
                    <a:pt x="816" y="1531"/>
                  </a:lnTo>
                  <a:lnTo>
                    <a:pt x="818" y="1537"/>
                  </a:lnTo>
                  <a:lnTo>
                    <a:pt x="818" y="1543"/>
                  </a:lnTo>
                  <a:lnTo>
                    <a:pt x="815" y="1548"/>
                  </a:lnTo>
                  <a:lnTo>
                    <a:pt x="811" y="1554"/>
                  </a:lnTo>
                  <a:lnTo>
                    <a:pt x="811" y="1554"/>
                  </a:lnTo>
                  <a:lnTo>
                    <a:pt x="799" y="1569"/>
                  </a:lnTo>
                  <a:lnTo>
                    <a:pt x="795" y="1580"/>
                  </a:lnTo>
                  <a:lnTo>
                    <a:pt x="788" y="1586"/>
                  </a:lnTo>
                  <a:lnTo>
                    <a:pt x="778" y="1592"/>
                  </a:lnTo>
                  <a:lnTo>
                    <a:pt x="774" y="1594"/>
                  </a:lnTo>
                  <a:lnTo>
                    <a:pt x="773" y="1595"/>
                  </a:lnTo>
                  <a:lnTo>
                    <a:pt x="774" y="1600"/>
                  </a:lnTo>
                  <a:lnTo>
                    <a:pt x="791" y="1622"/>
                  </a:lnTo>
                  <a:lnTo>
                    <a:pt x="802" y="1631"/>
                  </a:lnTo>
                  <a:lnTo>
                    <a:pt x="807" y="1637"/>
                  </a:lnTo>
                  <a:lnTo>
                    <a:pt x="808" y="1640"/>
                  </a:lnTo>
                  <a:lnTo>
                    <a:pt x="810" y="1642"/>
                  </a:lnTo>
                  <a:lnTo>
                    <a:pt x="835" y="1657"/>
                  </a:lnTo>
                  <a:lnTo>
                    <a:pt x="847" y="1671"/>
                  </a:lnTo>
                  <a:lnTo>
                    <a:pt x="862" y="1682"/>
                  </a:lnTo>
                  <a:lnTo>
                    <a:pt x="864" y="1683"/>
                  </a:lnTo>
                  <a:lnTo>
                    <a:pt x="865" y="1686"/>
                  </a:lnTo>
                  <a:lnTo>
                    <a:pt x="865" y="1689"/>
                  </a:lnTo>
                  <a:lnTo>
                    <a:pt x="865" y="1692"/>
                  </a:lnTo>
                  <a:lnTo>
                    <a:pt x="867" y="1695"/>
                  </a:lnTo>
                  <a:lnTo>
                    <a:pt x="867" y="1700"/>
                  </a:lnTo>
                  <a:lnTo>
                    <a:pt x="868" y="1702"/>
                  </a:lnTo>
                  <a:lnTo>
                    <a:pt x="870" y="1705"/>
                  </a:lnTo>
                  <a:lnTo>
                    <a:pt x="875" y="1708"/>
                  </a:lnTo>
                  <a:lnTo>
                    <a:pt x="876" y="1711"/>
                  </a:lnTo>
                  <a:lnTo>
                    <a:pt x="882" y="1719"/>
                  </a:lnTo>
                  <a:lnTo>
                    <a:pt x="884" y="1720"/>
                  </a:lnTo>
                  <a:lnTo>
                    <a:pt x="884" y="1720"/>
                  </a:lnTo>
                  <a:lnTo>
                    <a:pt x="887" y="1723"/>
                  </a:lnTo>
                  <a:lnTo>
                    <a:pt x="887" y="1728"/>
                  </a:lnTo>
                  <a:lnTo>
                    <a:pt x="888" y="1731"/>
                  </a:lnTo>
                  <a:lnTo>
                    <a:pt x="892" y="1734"/>
                  </a:lnTo>
                  <a:lnTo>
                    <a:pt x="884" y="1746"/>
                  </a:lnTo>
                  <a:lnTo>
                    <a:pt x="881" y="1752"/>
                  </a:lnTo>
                  <a:lnTo>
                    <a:pt x="879" y="1760"/>
                  </a:lnTo>
                  <a:lnTo>
                    <a:pt x="876" y="1776"/>
                  </a:lnTo>
                  <a:lnTo>
                    <a:pt x="875" y="1779"/>
                  </a:lnTo>
                  <a:lnTo>
                    <a:pt x="872" y="1785"/>
                  </a:lnTo>
                  <a:lnTo>
                    <a:pt x="870" y="1788"/>
                  </a:lnTo>
                  <a:lnTo>
                    <a:pt x="868" y="1796"/>
                  </a:lnTo>
                  <a:lnTo>
                    <a:pt x="867" y="1799"/>
                  </a:lnTo>
                  <a:lnTo>
                    <a:pt x="865" y="1802"/>
                  </a:lnTo>
                  <a:lnTo>
                    <a:pt x="865" y="1802"/>
                  </a:lnTo>
                  <a:lnTo>
                    <a:pt x="865" y="1802"/>
                  </a:lnTo>
                  <a:lnTo>
                    <a:pt x="861" y="1803"/>
                  </a:lnTo>
                  <a:lnTo>
                    <a:pt x="859" y="1805"/>
                  </a:lnTo>
                  <a:lnTo>
                    <a:pt x="859" y="1806"/>
                  </a:lnTo>
                  <a:lnTo>
                    <a:pt x="858" y="1809"/>
                  </a:lnTo>
                  <a:lnTo>
                    <a:pt x="847" y="1822"/>
                  </a:lnTo>
                  <a:lnTo>
                    <a:pt x="845" y="1823"/>
                  </a:lnTo>
                  <a:lnTo>
                    <a:pt x="844" y="1829"/>
                  </a:lnTo>
                  <a:lnTo>
                    <a:pt x="842" y="1831"/>
                  </a:lnTo>
                  <a:lnTo>
                    <a:pt x="842" y="1832"/>
                  </a:lnTo>
                  <a:lnTo>
                    <a:pt x="833" y="1839"/>
                  </a:lnTo>
                  <a:lnTo>
                    <a:pt x="827" y="1846"/>
                  </a:lnTo>
                  <a:lnTo>
                    <a:pt x="824" y="1848"/>
                  </a:lnTo>
                  <a:lnTo>
                    <a:pt x="822" y="1849"/>
                  </a:lnTo>
                  <a:lnTo>
                    <a:pt x="821" y="1851"/>
                  </a:lnTo>
                  <a:lnTo>
                    <a:pt x="819" y="1856"/>
                  </a:lnTo>
                  <a:lnTo>
                    <a:pt x="810" y="1869"/>
                  </a:lnTo>
                  <a:lnTo>
                    <a:pt x="799" y="1880"/>
                  </a:lnTo>
                  <a:lnTo>
                    <a:pt x="799" y="1880"/>
                  </a:lnTo>
                  <a:lnTo>
                    <a:pt x="799" y="1880"/>
                  </a:lnTo>
                  <a:lnTo>
                    <a:pt x="785" y="1903"/>
                  </a:lnTo>
                  <a:lnTo>
                    <a:pt x="773" y="1922"/>
                  </a:lnTo>
                  <a:lnTo>
                    <a:pt x="762" y="1933"/>
                  </a:lnTo>
                  <a:lnTo>
                    <a:pt x="761" y="1936"/>
                  </a:lnTo>
                  <a:lnTo>
                    <a:pt x="759" y="1940"/>
                  </a:lnTo>
                  <a:lnTo>
                    <a:pt x="758" y="1943"/>
                  </a:lnTo>
                  <a:lnTo>
                    <a:pt x="747" y="1956"/>
                  </a:lnTo>
                  <a:lnTo>
                    <a:pt x="745" y="1959"/>
                  </a:lnTo>
                  <a:lnTo>
                    <a:pt x="739" y="1960"/>
                  </a:lnTo>
                  <a:lnTo>
                    <a:pt x="738" y="1962"/>
                  </a:lnTo>
                  <a:lnTo>
                    <a:pt x="738" y="1965"/>
                  </a:lnTo>
                  <a:lnTo>
                    <a:pt x="736" y="1968"/>
                  </a:lnTo>
                  <a:lnTo>
                    <a:pt x="734" y="1971"/>
                  </a:lnTo>
                  <a:lnTo>
                    <a:pt x="724" y="1983"/>
                  </a:lnTo>
                  <a:lnTo>
                    <a:pt x="721" y="1986"/>
                  </a:lnTo>
                  <a:lnTo>
                    <a:pt x="721" y="1988"/>
                  </a:lnTo>
                  <a:lnTo>
                    <a:pt x="719" y="1991"/>
                  </a:lnTo>
                  <a:lnTo>
                    <a:pt x="714" y="1997"/>
                  </a:lnTo>
                  <a:lnTo>
                    <a:pt x="710" y="2002"/>
                  </a:lnTo>
                  <a:lnTo>
                    <a:pt x="697" y="2010"/>
                  </a:lnTo>
                  <a:lnTo>
                    <a:pt x="694" y="2013"/>
                  </a:lnTo>
                  <a:lnTo>
                    <a:pt x="688" y="2017"/>
                  </a:lnTo>
                  <a:lnTo>
                    <a:pt x="685" y="2020"/>
                  </a:lnTo>
                  <a:lnTo>
                    <a:pt x="684" y="2022"/>
                  </a:lnTo>
                  <a:lnTo>
                    <a:pt x="681" y="2027"/>
                  </a:lnTo>
                  <a:lnTo>
                    <a:pt x="676" y="2031"/>
                  </a:lnTo>
                  <a:lnTo>
                    <a:pt x="674" y="2033"/>
                  </a:lnTo>
                  <a:lnTo>
                    <a:pt x="674" y="2036"/>
                  </a:lnTo>
                  <a:lnTo>
                    <a:pt x="674" y="2036"/>
                  </a:lnTo>
                  <a:lnTo>
                    <a:pt x="674" y="2036"/>
                  </a:lnTo>
                  <a:lnTo>
                    <a:pt x="674" y="2036"/>
                  </a:lnTo>
                  <a:lnTo>
                    <a:pt x="671" y="2040"/>
                  </a:lnTo>
                  <a:lnTo>
                    <a:pt x="665" y="2043"/>
                  </a:lnTo>
                  <a:lnTo>
                    <a:pt x="661" y="2045"/>
                  </a:lnTo>
                  <a:lnTo>
                    <a:pt x="650" y="2057"/>
                  </a:lnTo>
                  <a:lnTo>
                    <a:pt x="644" y="2067"/>
                  </a:lnTo>
                  <a:lnTo>
                    <a:pt x="636" y="2073"/>
                  </a:lnTo>
                  <a:lnTo>
                    <a:pt x="625" y="2087"/>
                  </a:lnTo>
                  <a:lnTo>
                    <a:pt x="624" y="2088"/>
                  </a:lnTo>
                  <a:lnTo>
                    <a:pt x="617" y="2096"/>
                  </a:lnTo>
                  <a:lnTo>
                    <a:pt x="611" y="2104"/>
                  </a:lnTo>
                  <a:lnTo>
                    <a:pt x="610" y="2105"/>
                  </a:lnTo>
                  <a:lnTo>
                    <a:pt x="610" y="2107"/>
                  </a:lnTo>
                  <a:lnTo>
                    <a:pt x="611" y="2107"/>
                  </a:lnTo>
                  <a:lnTo>
                    <a:pt x="613" y="2105"/>
                  </a:lnTo>
                  <a:lnTo>
                    <a:pt x="614" y="2102"/>
                  </a:lnTo>
                  <a:lnTo>
                    <a:pt x="614" y="2100"/>
                  </a:lnTo>
                  <a:lnTo>
                    <a:pt x="616" y="2105"/>
                  </a:lnTo>
                  <a:lnTo>
                    <a:pt x="617" y="2107"/>
                  </a:lnTo>
                  <a:lnTo>
                    <a:pt x="628" y="2108"/>
                  </a:lnTo>
                  <a:lnTo>
                    <a:pt x="630" y="2107"/>
                  </a:lnTo>
                  <a:lnTo>
                    <a:pt x="631" y="2105"/>
                  </a:lnTo>
                  <a:lnTo>
                    <a:pt x="633" y="2105"/>
                  </a:lnTo>
                  <a:lnTo>
                    <a:pt x="633" y="2105"/>
                  </a:lnTo>
                  <a:lnTo>
                    <a:pt x="634" y="2107"/>
                  </a:lnTo>
                  <a:lnTo>
                    <a:pt x="636" y="2107"/>
                  </a:lnTo>
                  <a:lnTo>
                    <a:pt x="636" y="2105"/>
                  </a:lnTo>
                  <a:lnTo>
                    <a:pt x="636" y="2105"/>
                  </a:lnTo>
                  <a:lnTo>
                    <a:pt x="636" y="2104"/>
                  </a:lnTo>
                  <a:lnTo>
                    <a:pt x="637" y="2104"/>
                  </a:lnTo>
                  <a:lnTo>
                    <a:pt x="637" y="2104"/>
                  </a:lnTo>
                  <a:lnTo>
                    <a:pt x="639" y="2104"/>
                  </a:lnTo>
                  <a:lnTo>
                    <a:pt x="640" y="2104"/>
                  </a:lnTo>
                  <a:lnTo>
                    <a:pt x="640" y="2104"/>
                  </a:lnTo>
                  <a:lnTo>
                    <a:pt x="642" y="2102"/>
                  </a:lnTo>
                  <a:lnTo>
                    <a:pt x="645" y="2099"/>
                  </a:lnTo>
                  <a:lnTo>
                    <a:pt x="647" y="2097"/>
                  </a:lnTo>
                  <a:lnTo>
                    <a:pt x="647" y="2097"/>
                  </a:lnTo>
                  <a:lnTo>
                    <a:pt x="647" y="2096"/>
                  </a:lnTo>
                  <a:lnTo>
                    <a:pt x="647" y="2096"/>
                  </a:lnTo>
                  <a:lnTo>
                    <a:pt x="648" y="2096"/>
                  </a:lnTo>
                  <a:lnTo>
                    <a:pt x="650" y="2096"/>
                  </a:lnTo>
                  <a:lnTo>
                    <a:pt x="650" y="2096"/>
                  </a:lnTo>
                  <a:lnTo>
                    <a:pt x="651" y="2097"/>
                  </a:lnTo>
                  <a:lnTo>
                    <a:pt x="651" y="2096"/>
                  </a:lnTo>
                  <a:lnTo>
                    <a:pt x="650" y="2094"/>
                  </a:lnTo>
                  <a:lnTo>
                    <a:pt x="650" y="2094"/>
                  </a:lnTo>
                  <a:lnTo>
                    <a:pt x="650" y="2093"/>
                  </a:lnTo>
                  <a:lnTo>
                    <a:pt x="651" y="2093"/>
                  </a:lnTo>
                  <a:lnTo>
                    <a:pt x="653" y="2093"/>
                  </a:lnTo>
                  <a:lnTo>
                    <a:pt x="654" y="2093"/>
                  </a:lnTo>
                  <a:lnTo>
                    <a:pt x="654" y="2090"/>
                  </a:lnTo>
                  <a:lnTo>
                    <a:pt x="654" y="2087"/>
                  </a:lnTo>
                  <a:lnTo>
                    <a:pt x="657" y="2085"/>
                  </a:lnTo>
                  <a:lnTo>
                    <a:pt x="661" y="2085"/>
                  </a:lnTo>
                  <a:lnTo>
                    <a:pt x="662" y="2085"/>
                  </a:lnTo>
                  <a:lnTo>
                    <a:pt x="664" y="2083"/>
                  </a:lnTo>
                  <a:lnTo>
                    <a:pt x="664" y="2083"/>
                  </a:lnTo>
                  <a:lnTo>
                    <a:pt x="668" y="2083"/>
                  </a:lnTo>
                  <a:lnTo>
                    <a:pt x="668" y="2083"/>
                  </a:lnTo>
                  <a:lnTo>
                    <a:pt x="670" y="2080"/>
                  </a:lnTo>
                  <a:lnTo>
                    <a:pt x="673" y="2079"/>
                  </a:lnTo>
                  <a:lnTo>
                    <a:pt x="674" y="2077"/>
                  </a:lnTo>
                  <a:lnTo>
                    <a:pt x="676" y="2076"/>
                  </a:lnTo>
                  <a:lnTo>
                    <a:pt x="679" y="2077"/>
                  </a:lnTo>
                  <a:lnTo>
                    <a:pt x="681" y="2082"/>
                  </a:lnTo>
                  <a:lnTo>
                    <a:pt x="679" y="2085"/>
                  </a:lnTo>
                  <a:lnTo>
                    <a:pt x="677" y="2085"/>
                  </a:lnTo>
                  <a:lnTo>
                    <a:pt x="676" y="2083"/>
                  </a:lnTo>
                  <a:lnTo>
                    <a:pt x="674" y="2083"/>
                  </a:lnTo>
                  <a:lnTo>
                    <a:pt x="673" y="2085"/>
                  </a:lnTo>
                  <a:lnTo>
                    <a:pt x="673" y="2088"/>
                  </a:lnTo>
                  <a:lnTo>
                    <a:pt x="676" y="2091"/>
                  </a:lnTo>
                  <a:lnTo>
                    <a:pt x="676" y="2094"/>
                  </a:lnTo>
                  <a:lnTo>
                    <a:pt x="674" y="2094"/>
                  </a:lnTo>
                  <a:lnTo>
                    <a:pt x="674" y="2097"/>
                  </a:lnTo>
                  <a:lnTo>
                    <a:pt x="674" y="2099"/>
                  </a:lnTo>
                  <a:lnTo>
                    <a:pt x="674" y="2104"/>
                  </a:lnTo>
                  <a:lnTo>
                    <a:pt x="674" y="2107"/>
                  </a:lnTo>
                  <a:lnTo>
                    <a:pt x="676" y="2108"/>
                  </a:lnTo>
                  <a:lnTo>
                    <a:pt x="677" y="2111"/>
                  </a:lnTo>
                  <a:lnTo>
                    <a:pt x="677" y="2114"/>
                  </a:lnTo>
                  <a:lnTo>
                    <a:pt x="677" y="2117"/>
                  </a:lnTo>
                  <a:lnTo>
                    <a:pt x="676" y="2117"/>
                  </a:lnTo>
                  <a:lnTo>
                    <a:pt x="674" y="2117"/>
                  </a:lnTo>
                  <a:lnTo>
                    <a:pt x="671" y="2113"/>
                  </a:lnTo>
                  <a:lnTo>
                    <a:pt x="665" y="2110"/>
                  </a:lnTo>
                  <a:lnTo>
                    <a:pt x="664" y="2108"/>
                  </a:lnTo>
                  <a:lnTo>
                    <a:pt x="664" y="2107"/>
                  </a:lnTo>
                  <a:lnTo>
                    <a:pt x="664" y="2104"/>
                  </a:lnTo>
                  <a:lnTo>
                    <a:pt x="664" y="2102"/>
                  </a:lnTo>
                  <a:lnTo>
                    <a:pt x="662" y="2102"/>
                  </a:lnTo>
                  <a:lnTo>
                    <a:pt x="661" y="2102"/>
                  </a:lnTo>
                  <a:lnTo>
                    <a:pt x="659" y="2102"/>
                  </a:lnTo>
                  <a:lnTo>
                    <a:pt x="657" y="2102"/>
                  </a:lnTo>
                  <a:lnTo>
                    <a:pt x="659" y="2105"/>
                  </a:lnTo>
                  <a:lnTo>
                    <a:pt x="664" y="2113"/>
                  </a:lnTo>
                  <a:lnTo>
                    <a:pt x="670" y="2128"/>
                  </a:lnTo>
                  <a:lnTo>
                    <a:pt x="671" y="2130"/>
                  </a:lnTo>
                  <a:lnTo>
                    <a:pt x="673" y="2130"/>
                  </a:lnTo>
                  <a:lnTo>
                    <a:pt x="677" y="2133"/>
                  </a:lnTo>
                  <a:lnTo>
                    <a:pt x="677" y="2134"/>
                  </a:lnTo>
                  <a:lnTo>
                    <a:pt x="679" y="2134"/>
                  </a:lnTo>
                  <a:lnTo>
                    <a:pt x="681" y="2134"/>
                  </a:lnTo>
                  <a:lnTo>
                    <a:pt x="684" y="2136"/>
                  </a:lnTo>
                  <a:lnTo>
                    <a:pt x="684" y="2134"/>
                  </a:lnTo>
                  <a:lnTo>
                    <a:pt x="685" y="2133"/>
                  </a:lnTo>
                  <a:lnTo>
                    <a:pt x="685" y="2131"/>
                  </a:lnTo>
                  <a:lnTo>
                    <a:pt x="685" y="2133"/>
                  </a:lnTo>
                  <a:lnTo>
                    <a:pt x="687" y="2134"/>
                  </a:lnTo>
                  <a:lnTo>
                    <a:pt x="688" y="2139"/>
                  </a:lnTo>
                  <a:lnTo>
                    <a:pt x="690" y="2142"/>
                  </a:lnTo>
                  <a:lnTo>
                    <a:pt x="691" y="2144"/>
                  </a:lnTo>
                  <a:lnTo>
                    <a:pt x="694" y="2145"/>
                  </a:lnTo>
                  <a:lnTo>
                    <a:pt x="696" y="2147"/>
                  </a:lnTo>
                  <a:lnTo>
                    <a:pt x="699" y="2154"/>
                  </a:lnTo>
                  <a:lnTo>
                    <a:pt x="701" y="2157"/>
                  </a:lnTo>
                  <a:lnTo>
                    <a:pt x="704" y="2159"/>
                  </a:lnTo>
                  <a:lnTo>
                    <a:pt x="707" y="2159"/>
                  </a:lnTo>
                  <a:lnTo>
                    <a:pt x="719" y="2160"/>
                  </a:lnTo>
                  <a:lnTo>
                    <a:pt x="731" y="2160"/>
                  </a:lnTo>
                  <a:lnTo>
                    <a:pt x="731" y="2160"/>
                  </a:lnTo>
                  <a:lnTo>
                    <a:pt x="734" y="2159"/>
                  </a:lnTo>
                  <a:lnTo>
                    <a:pt x="739" y="2156"/>
                  </a:lnTo>
                  <a:lnTo>
                    <a:pt x="751" y="2156"/>
                  </a:lnTo>
                  <a:lnTo>
                    <a:pt x="762" y="2162"/>
                  </a:lnTo>
                  <a:lnTo>
                    <a:pt x="765" y="2164"/>
                  </a:lnTo>
                  <a:lnTo>
                    <a:pt x="767" y="2167"/>
                  </a:lnTo>
                  <a:lnTo>
                    <a:pt x="767" y="2168"/>
                  </a:lnTo>
                  <a:lnTo>
                    <a:pt x="767" y="2170"/>
                  </a:lnTo>
                  <a:lnTo>
                    <a:pt x="765" y="2171"/>
                  </a:lnTo>
                  <a:lnTo>
                    <a:pt x="767" y="2173"/>
                  </a:lnTo>
                  <a:lnTo>
                    <a:pt x="767" y="2174"/>
                  </a:lnTo>
                  <a:lnTo>
                    <a:pt x="768" y="2176"/>
                  </a:lnTo>
                  <a:lnTo>
                    <a:pt x="768" y="2176"/>
                  </a:lnTo>
                  <a:lnTo>
                    <a:pt x="770" y="2182"/>
                  </a:lnTo>
                  <a:lnTo>
                    <a:pt x="774" y="2185"/>
                  </a:lnTo>
                  <a:lnTo>
                    <a:pt x="790" y="2187"/>
                  </a:lnTo>
                  <a:lnTo>
                    <a:pt x="791" y="2187"/>
                  </a:lnTo>
                  <a:lnTo>
                    <a:pt x="793" y="2190"/>
                  </a:lnTo>
                  <a:lnTo>
                    <a:pt x="791" y="2191"/>
                  </a:lnTo>
                  <a:lnTo>
                    <a:pt x="790" y="2193"/>
                  </a:lnTo>
                  <a:lnTo>
                    <a:pt x="790" y="2194"/>
                  </a:lnTo>
                  <a:lnTo>
                    <a:pt x="791" y="2196"/>
                  </a:lnTo>
                  <a:lnTo>
                    <a:pt x="790" y="2201"/>
                  </a:lnTo>
                  <a:lnTo>
                    <a:pt x="788" y="2204"/>
                  </a:lnTo>
                  <a:lnTo>
                    <a:pt x="787" y="2205"/>
                  </a:lnTo>
                  <a:lnTo>
                    <a:pt x="782" y="2205"/>
                  </a:lnTo>
                  <a:lnTo>
                    <a:pt x="764" y="2199"/>
                  </a:lnTo>
                  <a:lnTo>
                    <a:pt x="759" y="2194"/>
                  </a:lnTo>
                  <a:lnTo>
                    <a:pt x="738" y="2191"/>
                  </a:lnTo>
                  <a:lnTo>
                    <a:pt x="719" y="2187"/>
                  </a:lnTo>
                  <a:lnTo>
                    <a:pt x="711" y="2185"/>
                  </a:lnTo>
                  <a:lnTo>
                    <a:pt x="708" y="2187"/>
                  </a:lnTo>
                  <a:lnTo>
                    <a:pt x="707" y="2190"/>
                  </a:lnTo>
                  <a:lnTo>
                    <a:pt x="702" y="2194"/>
                  </a:lnTo>
                  <a:lnTo>
                    <a:pt x="701" y="2196"/>
                  </a:lnTo>
                  <a:lnTo>
                    <a:pt x="701" y="2197"/>
                  </a:lnTo>
                  <a:lnTo>
                    <a:pt x="697" y="2196"/>
                  </a:lnTo>
                  <a:lnTo>
                    <a:pt x="702" y="2201"/>
                  </a:lnTo>
                  <a:lnTo>
                    <a:pt x="702" y="2204"/>
                  </a:lnTo>
                  <a:lnTo>
                    <a:pt x="701" y="2207"/>
                  </a:lnTo>
                  <a:lnTo>
                    <a:pt x="697" y="2211"/>
                  </a:lnTo>
                  <a:lnTo>
                    <a:pt x="697" y="2211"/>
                  </a:lnTo>
                  <a:lnTo>
                    <a:pt x="696" y="2211"/>
                  </a:lnTo>
                  <a:lnTo>
                    <a:pt x="694" y="2213"/>
                  </a:lnTo>
                  <a:lnTo>
                    <a:pt x="693" y="2214"/>
                  </a:lnTo>
                  <a:lnTo>
                    <a:pt x="691" y="2213"/>
                  </a:lnTo>
                  <a:lnTo>
                    <a:pt x="691" y="2213"/>
                  </a:lnTo>
                  <a:lnTo>
                    <a:pt x="688" y="2217"/>
                  </a:lnTo>
                  <a:lnTo>
                    <a:pt x="687" y="2217"/>
                  </a:lnTo>
                  <a:lnTo>
                    <a:pt x="685" y="2217"/>
                  </a:lnTo>
                  <a:lnTo>
                    <a:pt x="684" y="2216"/>
                  </a:lnTo>
                  <a:lnTo>
                    <a:pt x="682" y="2216"/>
                  </a:lnTo>
                  <a:lnTo>
                    <a:pt x="681" y="2217"/>
                  </a:lnTo>
                  <a:lnTo>
                    <a:pt x="679" y="2217"/>
                  </a:lnTo>
                  <a:lnTo>
                    <a:pt x="677" y="2217"/>
                  </a:lnTo>
                  <a:lnTo>
                    <a:pt x="677" y="2216"/>
                  </a:lnTo>
                  <a:lnTo>
                    <a:pt x="676" y="2214"/>
                  </a:lnTo>
                  <a:lnTo>
                    <a:pt x="676" y="2214"/>
                  </a:lnTo>
                  <a:lnTo>
                    <a:pt x="674" y="2213"/>
                  </a:lnTo>
                  <a:lnTo>
                    <a:pt x="673" y="2213"/>
                  </a:lnTo>
                  <a:lnTo>
                    <a:pt x="671" y="2211"/>
                  </a:lnTo>
                  <a:lnTo>
                    <a:pt x="668" y="2211"/>
                  </a:lnTo>
                  <a:lnTo>
                    <a:pt x="667" y="2208"/>
                  </a:lnTo>
                  <a:lnTo>
                    <a:pt x="665" y="2207"/>
                  </a:lnTo>
                  <a:lnTo>
                    <a:pt x="664" y="2207"/>
                  </a:lnTo>
                  <a:lnTo>
                    <a:pt x="662" y="2207"/>
                  </a:lnTo>
                  <a:lnTo>
                    <a:pt x="661" y="2208"/>
                  </a:lnTo>
                  <a:lnTo>
                    <a:pt x="659" y="2211"/>
                  </a:lnTo>
                  <a:lnTo>
                    <a:pt x="657" y="2214"/>
                  </a:lnTo>
                  <a:lnTo>
                    <a:pt x="656" y="2217"/>
                  </a:lnTo>
                  <a:lnTo>
                    <a:pt x="656" y="2225"/>
                  </a:lnTo>
                  <a:lnTo>
                    <a:pt x="656" y="2230"/>
                  </a:lnTo>
                  <a:lnTo>
                    <a:pt x="656" y="2233"/>
                  </a:lnTo>
                  <a:lnTo>
                    <a:pt x="653" y="2236"/>
                  </a:lnTo>
                  <a:lnTo>
                    <a:pt x="650" y="2236"/>
                  </a:lnTo>
                  <a:lnTo>
                    <a:pt x="642" y="2231"/>
                  </a:lnTo>
                  <a:lnTo>
                    <a:pt x="640" y="2228"/>
                  </a:lnTo>
                  <a:lnTo>
                    <a:pt x="640" y="2225"/>
                  </a:lnTo>
                  <a:lnTo>
                    <a:pt x="639" y="2222"/>
                  </a:lnTo>
                  <a:lnTo>
                    <a:pt x="637" y="2219"/>
                  </a:lnTo>
                  <a:lnTo>
                    <a:pt x="634" y="2217"/>
                  </a:lnTo>
                  <a:lnTo>
                    <a:pt x="631" y="2216"/>
                  </a:lnTo>
                  <a:lnTo>
                    <a:pt x="630" y="2217"/>
                  </a:lnTo>
                  <a:lnTo>
                    <a:pt x="625" y="2222"/>
                  </a:lnTo>
                  <a:lnTo>
                    <a:pt x="625" y="2224"/>
                  </a:lnTo>
                  <a:lnTo>
                    <a:pt x="625" y="2228"/>
                  </a:lnTo>
                  <a:lnTo>
                    <a:pt x="625" y="2230"/>
                  </a:lnTo>
                  <a:lnTo>
                    <a:pt x="625" y="2233"/>
                  </a:lnTo>
                  <a:lnTo>
                    <a:pt x="627" y="2236"/>
                  </a:lnTo>
                  <a:lnTo>
                    <a:pt x="630" y="2242"/>
                  </a:lnTo>
                  <a:lnTo>
                    <a:pt x="631" y="2248"/>
                  </a:lnTo>
                  <a:lnTo>
                    <a:pt x="630" y="2256"/>
                  </a:lnTo>
                  <a:lnTo>
                    <a:pt x="627" y="2262"/>
                  </a:lnTo>
                  <a:lnTo>
                    <a:pt x="628" y="2265"/>
                  </a:lnTo>
                  <a:lnTo>
                    <a:pt x="631" y="2267"/>
                  </a:lnTo>
                  <a:lnTo>
                    <a:pt x="633" y="2268"/>
                  </a:lnTo>
                  <a:lnTo>
                    <a:pt x="634" y="2273"/>
                  </a:lnTo>
                  <a:lnTo>
                    <a:pt x="636" y="2274"/>
                  </a:lnTo>
                  <a:lnTo>
                    <a:pt x="636" y="2276"/>
                  </a:lnTo>
                  <a:lnTo>
                    <a:pt x="639" y="2278"/>
                  </a:lnTo>
                  <a:lnTo>
                    <a:pt x="639" y="2278"/>
                  </a:lnTo>
                  <a:lnTo>
                    <a:pt x="639" y="2281"/>
                  </a:lnTo>
                  <a:lnTo>
                    <a:pt x="637" y="2279"/>
                  </a:lnTo>
                  <a:lnTo>
                    <a:pt x="634" y="2282"/>
                  </a:lnTo>
                  <a:lnTo>
                    <a:pt x="628" y="2284"/>
                  </a:lnTo>
                  <a:lnTo>
                    <a:pt x="625" y="2284"/>
                  </a:lnTo>
                  <a:lnTo>
                    <a:pt x="631" y="2287"/>
                  </a:lnTo>
                  <a:lnTo>
                    <a:pt x="633" y="2287"/>
                  </a:lnTo>
                  <a:lnTo>
                    <a:pt x="631" y="2288"/>
                  </a:lnTo>
                  <a:lnTo>
                    <a:pt x="622" y="2288"/>
                  </a:lnTo>
                  <a:lnTo>
                    <a:pt x="617" y="2290"/>
                  </a:lnTo>
                  <a:lnTo>
                    <a:pt x="616" y="2293"/>
                  </a:lnTo>
                  <a:lnTo>
                    <a:pt x="617" y="2294"/>
                  </a:lnTo>
                  <a:lnTo>
                    <a:pt x="616" y="2299"/>
                  </a:lnTo>
                  <a:lnTo>
                    <a:pt x="613" y="2310"/>
                  </a:lnTo>
                  <a:lnTo>
                    <a:pt x="610" y="2321"/>
                  </a:lnTo>
                  <a:lnTo>
                    <a:pt x="608" y="2324"/>
                  </a:lnTo>
                  <a:lnTo>
                    <a:pt x="605" y="2330"/>
                  </a:lnTo>
                  <a:lnTo>
                    <a:pt x="604" y="2334"/>
                  </a:lnTo>
                  <a:lnTo>
                    <a:pt x="602" y="2336"/>
                  </a:lnTo>
                  <a:lnTo>
                    <a:pt x="602" y="2336"/>
                  </a:lnTo>
                  <a:lnTo>
                    <a:pt x="596" y="2342"/>
                  </a:lnTo>
                  <a:lnTo>
                    <a:pt x="587" y="2350"/>
                  </a:lnTo>
                  <a:lnTo>
                    <a:pt x="584" y="2359"/>
                  </a:lnTo>
                  <a:lnTo>
                    <a:pt x="582" y="2368"/>
                  </a:lnTo>
                  <a:lnTo>
                    <a:pt x="582" y="2375"/>
                  </a:lnTo>
                  <a:lnTo>
                    <a:pt x="584" y="2382"/>
                  </a:lnTo>
                  <a:lnTo>
                    <a:pt x="588" y="2399"/>
                  </a:lnTo>
                  <a:lnTo>
                    <a:pt x="593" y="2419"/>
                  </a:lnTo>
                  <a:lnTo>
                    <a:pt x="588" y="2430"/>
                  </a:lnTo>
                  <a:lnTo>
                    <a:pt x="587" y="2438"/>
                  </a:lnTo>
                  <a:lnTo>
                    <a:pt x="588" y="2444"/>
                  </a:lnTo>
                  <a:lnTo>
                    <a:pt x="590" y="2447"/>
                  </a:lnTo>
                  <a:lnTo>
                    <a:pt x="591" y="2450"/>
                  </a:lnTo>
                  <a:lnTo>
                    <a:pt x="594" y="2458"/>
                  </a:lnTo>
                  <a:lnTo>
                    <a:pt x="597" y="2462"/>
                  </a:lnTo>
                  <a:lnTo>
                    <a:pt x="597" y="2467"/>
                  </a:lnTo>
                  <a:lnTo>
                    <a:pt x="597" y="2470"/>
                  </a:lnTo>
                  <a:lnTo>
                    <a:pt x="597" y="2475"/>
                  </a:lnTo>
                  <a:lnTo>
                    <a:pt x="599" y="2475"/>
                  </a:lnTo>
                  <a:lnTo>
                    <a:pt x="600" y="2476"/>
                  </a:lnTo>
                  <a:lnTo>
                    <a:pt x="600" y="2479"/>
                  </a:lnTo>
                  <a:lnTo>
                    <a:pt x="600" y="2481"/>
                  </a:lnTo>
                  <a:lnTo>
                    <a:pt x="600" y="2482"/>
                  </a:lnTo>
                  <a:lnTo>
                    <a:pt x="600" y="2484"/>
                  </a:lnTo>
                  <a:lnTo>
                    <a:pt x="600" y="2487"/>
                  </a:lnTo>
                  <a:lnTo>
                    <a:pt x="600" y="2487"/>
                  </a:lnTo>
                  <a:lnTo>
                    <a:pt x="608" y="2490"/>
                  </a:lnTo>
                  <a:lnTo>
                    <a:pt x="610" y="2492"/>
                  </a:lnTo>
                  <a:lnTo>
                    <a:pt x="610" y="2495"/>
                  </a:lnTo>
                  <a:lnTo>
                    <a:pt x="610" y="2496"/>
                  </a:lnTo>
                  <a:lnTo>
                    <a:pt x="608" y="2498"/>
                  </a:lnTo>
                  <a:lnTo>
                    <a:pt x="604" y="2499"/>
                  </a:lnTo>
                  <a:lnTo>
                    <a:pt x="593" y="2501"/>
                  </a:lnTo>
                  <a:lnTo>
                    <a:pt x="591" y="2501"/>
                  </a:lnTo>
                  <a:lnTo>
                    <a:pt x="590" y="2502"/>
                  </a:lnTo>
                  <a:lnTo>
                    <a:pt x="590" y="2502"/>
                  </a:lnTo>
                  <a:lnTo>
                    <a:pt x="591" y="2504"/>
                  </a:lnTo>
                  <a:lnTo>
                    <a:pt x="590" y="2504"/>
                  </a:lnTo>
                  <a:lnTo>
                    <a:pt x="588" y="2505"/>
                  </a:lnTo>
                  <a:lnTo>
                    <a:pt x="588" y="2507"/>
                  </a:lnTo>
                  <a:lnTo>
                    <a:pt x="588" y="2509"/>
                  </a:lnTo>
                  <a:lnTo>
                    <a:pt x="588" y="2513"/>
                  </a:lnTo>
                  <a:lnTo>
                    <a:pt x="588" y="2515"/>
                  </a:lnTo>
                  <a:lnTo>
                    <a:pt x="587" y="2516"/>
                  </a:lnTo>
                  <a:lnTo>
                    <a:pt x="580" y="2518"/>
                  </a:lnTo>
                  <a:lnTo>
                    <a:pt x="580" y="2519"/>
                  </a:lnTo>
                  <a:lnTo>
                    <a:pt x="579" y="2521"/>
                  </a:lnTo>
                  <a:lnTo>
                    <a:pt x="579" y="2521"/>
                  </a:lnTo>
                  <a:lnTo>
                    <a:pt x="579" y="2522"/>
                  </a:lnTo>
                  <a:lnTo>
                    <a:pt x="579" y="2524"/>
                  </a:lnTo>
                  <a:lnTo>
                    <a:pt x="579" y="2524"/>
                  </a:lnTo>
                  <a:lnTo>
                    <a:pt x="579" y="2525"/>
                  </a:lnTo>
                  <a:lnTo>
                    <a:pt x="579" y="2525"/>
                  </a:lnTo>
                  <a:lnTo>
                    <a:pt x="579" y="2527"/>
                  </a:lnTo>
                  <a:lnTo>
                    <a:pt x="579" y="2530"/>
                  </a:lnTo>
                  <a:lnTo>
                    <a:pt x="579" y="2530"/>
                  </a:lnTo>
                  <a:lnTo>
                    <a:pt x="579" y="2532"/>
                  </a:lnTo>
                  <a:lnTo>
                    <a:pt x="577" y="2532"/>
                  </a:lnTo>
                  <a:lnTo>
                    <a:pt x="577" y="2532"/>
                  </a:lnTo>
                  <a:lnTo>
                    <a:pt x="576" y="2532"/>
                  </a:lnTo>
                  <a:lnTo>
                    <a:pt x="576" y="2533"/>
                  </a:lnTo>
                  <a:lnTo>
                    <a:pt x="576" y="2535"/>
                  </a:lnTo>
                  <a:lnTo>
                    <a:pt x="576" y="2536"/>
                  </a:lnTo>
                  <a:lnTo>
                    <a:pt x="576" y="2539"/>
                  </a:lnTo>
                  <a:lnTo>
                    <a:pt x="577" y="2541"/>
                  </a:lnTo>
                  <a:lnTo>
                    <a:pt x="590" y="2541"/>
                  </a:lnTo>
                  <a:lnTo>
                    <a:pt x="590" y="2545"/>
                  </a:lnTo>
                  <a:lnTo>
                    <a:pt x="590" y="2549"/>
                  </a:lnTo>
                  <a:lnTo>
                    <a:pt x="590" y="2552"/>
                  </a:lnTo>
                  <a:lnTo>
                    <a:pt x="588" y="2555"/>
                  </a:lnTo>
                  <a:lnTo>
                    <a:pt x="591" y="2556"/>
                  </a:lnTo>
                  <a:lnTo>
                    <a:pt x="599" y="2559"/>
                  </a:lnTo>
                  <a:lnTo>
                    <a:pt x="602" y="2564"/>
                  </a:lnTo>
                  <a:lnTo>
                    <a:pt x="604" y="2565"/>
                  </a:lnTo>
                  <a:lnTo>
                    <a:pt x="611" y="2570"/>
                  </a:lnTo>
                  <a:lnTo>
                    <a:pt x="613" y="2572"/>
                  </a:lnTo>
                  <a:lnTo>
                    <a:pt x="613" y="2573"/>
                  </a:lnTo>
                  <a:lnTo>
                    <a:pt x="614" y="2576"/>
                  </a:lnTo>
                  <a:lnTo>
                    <a:pt x="613" y="2584"/>
                  </a:lnTo>
                  <a:lnTo>
                    <a:pt x="613" y="2589"/>
                  </a:lnTo>
                  <a:lnTo>
                    <a:pt x="613" y="2592"/>
                  </a:lnTo>
                  <a:lnTo>
                    <a:pt x="610" y="2593"/>
                  </a:lnTo>
                  <a:lnTo>
                    <a:pt x="604" y="2596"/>
                  </a:lnTo>
                  <a:lnTo>
                    <a:pt x="602" y="2599"/>
                  </a:lnTo>
                  <a:lnTo>
                    <a:pt x="602" y="2601"/>
                  </a:lnTo>
                  <a:lnTo>
                    <a:pt x="605" y="2602"/>
                  </a:lnTo>
                  <a:lnTo>
                    <a:pt x="607" y="2604"/>
                  </a:lnTo>
                  <a:lnTo>
                    <a:pt x="607" y="2607"/>
                  </a:lnTo>
                  <a:lnTo>
                    <a:pt x="607" y="2609"/>
                  </a:lnTo>
                  <a:lnTo>
                    <a:pt x="605" y="2612"/>
                  </a:lnTo>
                  <a:lnTo>
                    <a:pt x="605" y="2613"/>
                  </a:lnTo>
                  <a:lnTo>
                    <a:pt x="605" y="2615"/>
                  </a:lnTo>
                  <a:lnTo>
                    <a:pt x="604" y="2618"/>
                  </a:lnTo>
                  <a:lnTo>
                    <a:pt x="604" y="2619"/>
                  </a:lnTo>
                  <a:lnTo>
                    <a:pt x="599" y="2630"/>
                  </a:lnTo>
                  <a:lnTo>
                    <a:pt x="597" y="2635"/>
                  </a:lnTo>
                  <a:lnTo>
                    <a:pt x="599" y="2635"/>
                  </a:lnTo>
                  <a:lnTo>
                    <a:pt x="600" y="2635"/>
                  </a:lnTo>
                  <a:lnTo>
                    <a:pt x="607" y="2632"/>
                  </a:lnTo>
                  <a:lnTo>
                    <a:pt x="610" y="2630"/>
                  </a:lnTo>
                  <a:lnTo>
                    <a:pt x="613" y="2632"/>
                  </a:lnTo>
                  <a:lnTo>
                    <a:pt x="614" y="2633"/>
                  </a:lnTo>
                  <a:lnTo>
                    <a:pt x="617" y="2636"/>
                  </a:lnTo>
                  <a:lnTo>
                    <a:pt x="619" y="2638"/>
                  </a:lnTo>
                  <a:lnTo>
                    <a:pt x="619" y="2639"/>
                  </a:lnTo>
                  <a:lnTo>
                    <a:pt x="617" y="2642"/>
                  </a:lnTo>
                  <a:lnTo>
                    <a:pt x="616" y="2646"/>
                  </a:lnTo>
                  <a:lnTo>
                    <a:pt x="616" y="2649"/>
                  </a:lnTo>
                  <a:lnTo>
                    <a:pt x="616" y="2650"/>
                  </a:lnTo>
                  <a:lnTo>
                    <a:pt x="624" y="2655"/>
                  </a:lnTo>
                  <a:lnTo>
                    <a:pt x="625" y="2658"/>
                  </a:lnTo>
                  <a:lnTo>
                    <a:pt x="625" y="2664"/>
                  </a:lnTo>
                  <a:lnTo>
                    <a:pt x="625" y="2667"/>
                  </a:lnTo>
                  <a:lnTo>
                    <a:pt x="627" y="2669"/>
                  </a:lnTo>
                  <a:lnTo>
                    <a:pt x="627" y="2670"/>
                  </a:lnTo>
                  <a:lnTo>
                    <a:pt x="633" y="2673"/>
                  </a:lnTo>
                  <a:lnTo>
                    <a:pt x="634" y="2675"/>
                  </a:lnTo>
                  <a:lnTo>
                    <a:pt x="634" y="2676"/>
                  </a:lnTo>
                  <a:lnTo>
                    <a:pt x="634" y="2678"/>
                  </a:lnTo>
                  <a:lnTo>
                    <a:pt x="633" y="2679"/>
                  </a:lnTo>
                  <a:lnTo>
                    <a:pt x="633" y="2681"/>
                  </a:lnTo>
                  <a:lnTo>
                    <a:pt x="633" y="2683"/>
                  </a:lnTo>
                  <a:lnTo>
                    <a:pt x="633" y="2683"/>
                  </a:lnTo>
                  <a:lnTo>
                    <a:pt x="637" y="2689"/>
                  </a:lnTo>
                  <a:lnTo>
                    <a:pt x="637" y="2689"/>
                  </a:lnTo>
                  <a:lnTo>
                    <a:pt x="637" y="2690"/>
                  </a:lnTo>
                  <a:lnTo>
                    <a:pt x="637" y="2695"/>
                  </a:lnTo>
                  <a:lnTo>
                    <a:pt x="637" y="2698"/>
                  </a:lnTo>
                  <a:lnTo>
                    <a:pt x="637" y="2701"/>
                  </a:lnTo>
                  <a:lnTo>
                    <a:pt x="640" y="2710"/>
                  </a:lnTo>
                  <a:lnTo>
                    <a:pt x="642" y="2712"/>
                  </a:lnTo>
                  <a:lnTo>
                    <a:pt x="640" y="2713"/>
                  </a:lnTo>
                  <a:lnTo>
                    <a:pt x="640" y="2715"/>
                  </a:lnTo>
                  <a:lnTo>
                    <a:pt x="640" y="2715"/>
                  </a:lnTo>
                  <a:lnTo>
                    <a:pt x="639" y="2716"/>
                  </a:lnTo>
                  <a:lnTo>
                    <a:pt x="639" y="2719"/>
                  </a:lnTo>
                  <a:lnTo>
                    <a:pt x="639" y="2723"/>
                  </a:lnTo>
                  <a:lnTo>
                    <a:pt x="637" y="2726"/>
                  </a:lnTo>
                  <a:lnTo>
                    <a:pt x="636" y="2729"/>
                  </a:lnTo>
                  <a:lnTo>
                    <a:pt x="637" y="2730"/>
                  </a:lnTo>
                  <a:lnTo>
                    <a:pt x="644" y="2736"/>
                  </a:lnTo>
                  <a:lnTo>
                    <a:pt x="645" y="2739"/>
                  </a:lnTo>
                  <a:lnTo>
                    <a:pt x="647" y="2741"/>
                  </a:lnTo>
                  <a:lnTo>
                    <a:pt x="648" y="2743"/>
                  </a:lnTo>
                  <a:lnTo>
                    <a:pt x="650" y="2741"/>
                  </a:lnTo>
                  <a:lnTo>
                    <a:pt x="653" y="2736"/>
                  </a:lnTo>
                  <a:lnTo>
                    <a:pt x="654" y="2736"/>
                  </a:lnTo>
                  <a:lnTo>
                    <a:pt x="665" y="2735"/>
                  </a:lnTo>
                  <a:lnTo>
                    <a:pt x="670" y="2735"/>
                  </a:lnTo>
                  <a:lnTo>
                    <a:pt x="671" y="2736"/>
                  </a:lnTo>
                  <a:lnTo>
                    <a:pt x="671" y="2736"/>
                  </a:lnTo>
                  <a:lnTo>
                    <a:pt x="673" y="2739"/>
                  </a:lnTo>
                  <a:lnTo>
                    <a:pt x="676" y="2743"/>
                  </a:lnTo>
                  <a:lnTo>
                    <a:pt x="676" y="2744"/>
                  </a:lnTo>
                  <a:lnTo>
                    <a:pt x="676" y="2747"/>
                  </a:lnTo>
                  <a:lnTo>
                    <a:pt x="677" y="2750"/>
                  </a:lnTo>
                  <a:lnTo>
                    <a:pt x="677" y="2753"/>
                  </a:lnTo>
                  <a:lnTo>
                    <a:pt x="679" y="2755"/>
                  </a:lnTo>
                  <a:lnTo>
                    <a:pt x="685" y="2756"/>
                  </a:lnTo>
                  <a:lnTo>
                    <a:pt x="687" y="2756"/>
                  </a:lnTo>
                  <a:lnTo>
                    <a:pt x="687" y="2753"/>
                  </a:lnTo>
                  <a:lnTo>
                    <a:pt x="690" y="2750"/>
                  </a:lnTo>
                  <a:lnTo>
                    <a:pt x="694" y="2749"/>
                  </a:lnTo>
                  <a:lnTo>
                    <a:pt x="694" y="2749"/>
                  </a:lnTo>
                  <a:lnTo>
                    <a:pt x="694" y="2749"/>
                  </a:lnTo>
                  <a:lnTo>
                    <a:pt x="694" y="2749"/>
                  </a:lnTo>
                  <a:lnTo>
                    <a:pt x="697" y="2746"/>
                  </a:lnTo>
                  <a:lnTo>
                    <a:pt x="702" y="2744"/>
                  </a:lnTo>
                  <a:lnTo>
                    <a:pt x="707" y="2744"/>
                  </a:lnTo>
                  <a:lnTo>
                    <a:pt x="710" y="2746"/>
                  </a:lnTo>
                  <a:lnTo>
                    <a:pt x="714" y="2749"/>
                  </a:lnTo>
                  <a:lnTo>
                    <a:pt x="716" y="2750"/>
                  </a:lnTo>
                  <a:lnTo>
                    <a:pt x="728" y="2753"/>
                  </a:lnTo>
                  <a:lnTo>
                    <a:pt x="730" y="2755"/>
                  </a:lnTo>
                  <a:lnTo>
                    <a:pt x="730" y="2756"/>
                  </a:lnTo>
                  <a:lnTo>
                    <a:pt x="731" y="2758"/>
                  </a:lnTo>
                  <a:lnTo>
                    <a:pt x="733" y="2760"/>
                  </a:lnTo>
                  <a:lnTo>
                    <a:pt x="733" y="2760"/>
                  </a:lnTo>
                  <a:lnTo>
                    <a:pt x="733" y="2761"/>
                  </a:lnTo>
                  <a:lnTo>
                    <a:pt x="731" y="2761"/>
                  </a:lnTo>
                  <a:lnTo>
                    <a:pt x="731" y="2761"/>
                  </a:lnTo>
                  <a:lnTo>
                    <a:pt x="731" y="2761"/>
                  </a:lnTo>
                  <a:lnTo>
                    <a:pt x="730" y="2761"/>
                  </a:lnTo>
                  <a:lnTo>
                    <a:pt x="730" y="2763"/>
                  </a:lnTo>
                  <a:lnTo>
                    <a:pt x="728" y="2763"/>
                  </a:lnTo>
                  <a:lnTo>
                    <a:pt x="728" y="2764"/>
                  </a:lnTo>
                  <a:lnTo>
                    <a:pt x="728" y="2764"/>
                  </a:lnTo>
                  <a:lnTo>
                    <a:pt x="728" y="2767"/>
                  </a:lnTo>
                  <a:lnTo>
                    <a:pt x="727" y="2769"/>
                  </a:lnTo>
                  <a:lnTo>
                    <a:pt x="725" y="2773"/>
                  </a:lnTo>
                  <a:lnTo>
                    <a:pt x="725" y="2776"/>
                  </a:lnTo>
                  <a:lnTo>
                    <a:pt x="725" y="2778"/>
                  </a:lnTo>
                  <a:lnTo>
                    <a:pt x="727" y="2781"/>
                  </a:lnTo>
                  <a:lnTo>
                    <a:pt x="730" y="2784"/>
                  </a:lnTo>
                  <a:lnTo>
                    <a:pt x="734" y="2789"/>
                  </a:lnTo>
                  <a:lnTo>
                    <a:pt x="736" y="2790"/>
                  </a:lnTo>
                  <a:lnTo>
                    <a:pt x="738" y="2789"/>
                  </a:lnTo>
                  <a:lnTo>
                    <a:pt x="744" y="2783"/>
                  </a:lnTo>
                  <a:lnTo>
                    <a:pt x="750" y="2778"/>
                  </a:lnTo>
                  <a:lnTo>
                    <a:pt x="753" y="2778"/>
                  </a:lnTo>
                  <a:lnTo>
                    <a:pt x="758" y="2780"/>
                  </a:lnTo>
                  <a:lnTo>
                    <a:pt x="759" y="2778"/>
                  </a:lnTo>
                  <a:lnTo>
                    <a:pt x="762" y="2772"/>
                  </a:lnTo>
                  <a:lnTo>
                    <a:pt x="764" y="2770"/>
                  </a:lnTo>
                  <a:lnTo>
                    <a:pt x="767" y="2769"/>
                  </a:lnTo>
                  <a:lnTo>
                    <a:pt x="770" y="2767"/>
                  </a:lnTo>
                  <a:lnTo>
                    <a:pt x="773" y="2767"/>
                  </a:lnTo>
                  <a:lnTo>
                    <a:pt x="782" y="2772"/>
                  </a:lnTo>
                  <a:lnTo>
                    <a:pt x="784" y="2770"/>
                  </a:lnTo>
                  <a:lnTo>
                    <a:pt x="787" y="2767"/>
                  </a:lnTo>
                  <a:lnTo>
                    <a:pt x="788" y="2767"/>
                  </a:lnTo>
                  <a:lnTo>
                    <a:pt x="790" y="2767"/>
                  </a:lnTo>
                  <a:lnTo>
                    <a:pt x="793" y="2769"/>
                  </a:lnTo>
                  <a:lnTo>
                    <a:pt x="795" y="2770"/>
                  </a:lnTo>
                  <a:lnTo>
                    <a:pt x="808" y="2775"/>
                  </a:lnTo>
                  <a:lnTo>
                    <a:pt x="810" y="2776"/>
                  </a:lnTo>
                  <a:lnTo>
                    <a:pt x="810" y="2776"/>
                  </a:lnTo>
                  <a:lnTo>
                    <a:pt x="810" y="2778"/>
                  </a:lnTo>
                  <a:lnTo>
                    <a:pt x="808" y="2780"/>
                  </a:lnTo>
                  <a:lnTo>
                    <a:pt x="810" y="2780"/>
                  </a:lnTo>
                  <a:lnTo>
                    <a:pt x="816" y="2784"/>
                  </a:lnTo>
                  <a:lnTo>
                    <a:pt x="818" y="2784"/>
                  </a:lnTo>
                  <a:lnTo>
                    <a:pt x="818" y="2784"/>
                  </a:lnTo>
                  <a:lnTo>
                    <a:pt x="818" y="2787"/>
                  </a:lnTo>
                  <a:lnTo>
                    <a:pt x="818" y="2787"/>
                  </a:lnTo>
                  <a:lnTo>
                    <a:pt x="818" y="2789"/>
                  </a:lnTo>
                  <a:lnTo>
                    <a:pt x="818" y="2790"/>
                  </a:lnTo>
                  <a:lnTo>
                    <a:pt x="819" y="2792"/>
                  </a:lnTo>
                  <a:lnTo>
                    <a:pt x="821" y="2793"/>
                  </a:lnTo>
                  <a:lnTo>
                    <a:pt x="822" y="2793"/>
                  </a:lnTo>
                  <a:lnTo>
                    <a:pt x="825" y="2793"/>
                  </a:lnTo>
                  <a:lnTo>
                    <a:pt x="825" y="2793"/>
                  </a:lnTo>
                  <a:lnTo>
                    <a:pt x="827" y="2795"/>
                  </a:lnTo>
                  <a:lnTo>
                    <a:pt x="827" y="2796"/>
                  </a:lnTo>
                  <a:lnTo>
                    <a:pt x="830" y="2801"/>
                  </a:lnTo>
                  <a:lnTo>
                    <a:pt x="831" y="2801"/>
                  </a:lnTo>
                  <a:lnTo>
                    <a:pt x="835" y="2800"/>
                  </a:lnTo>
                  <a:lnTo>
                    <a:pt x="838" y="2800"/>
                  </a:lnTo>
                  <a:lnTo>
                    <a:pt x="841" y="2801"/>
                  </a:lnTo>
                  <a:lnTo>
                    <a:pt x="842" y="2804"/>
                  </a:lnTo>
                  <a:lnTo>
                    <a:pt x="842" y="2804"/>
                  </a:lnTo>
                  <a:lnTo>
                    <a:pt x="842" y="2809"/>
                  </a:lnTo>
                  <a:lnTo>
                    <a:pt x="841" y="2813"/>
                  </a:lnTo>
                  <a:lnTo>
                    <a:pt x="842" y="2815"/>
                  </a:lnTo>
                  <a:lnTo>
                    <a:pt x="842" y="2815"/>
                  </a:lnTo>
                  <a:lnTo>
                    <a:pt x="842" y="2816"/>
                  </a:lnTo>
                  <a:lnTo>
                    <a:pt x="841" y="2818"/>
                  </a:lnTo>
                  <a:lnTo>
                    <a:pt x="839" y="2820"/>
                  </a:lnTo>
                  <a:lnTo>
                    <a:pt x="841" y="2823"/>
                  </a:lnTo>
                  <a:lnTo>
                    <a:pt x="841" y="2824"/>
                  </a:lnTo>
                  <a:lnTo>
                    <a:pt x="842" y="2826"/>
                  </a:lnTo>
                  <a:lnTo>
                    <a:pt x="842" y="2829"/>
                  </a:lnTo>
                  <a:lnTo>
                    <a:pt x="842" y="2830"/>
                  </a:lnTo>
                  <a:lnTo>
                    <a:pt x="838" y="2833"/>
                  </a:lnTo>
                  <a:lnTo>
                    <a:pt x="835" y="2837"/>
                  </a:lnTo>
                  <a:lnTo>
                    <a:pt x="833" y="2840"/>
                  </a:lnTo>
                  <a:lnTo>
                    <a:pt x="833" y="2841"/>
                  </a:lnTo>
                  <a:lnTo>
                    <a:pt x="835" y="2843"/>
                  </a:lnTo>
                  <a:lnTo>
                    <a:pt x="835" y="2844"/>
                  </a:lnTo>
                  <a:lnTo>
                    <a:pt x="838" y="2846"/>
                  </a:lnTo>
                  <a:lnTo>
                    <a:pt x="839" y="2847"/>
                  </a:lnTo>
                  <a:lnTo>
                    <a:pt x="841" y="2852"/>
                  </a:lnTo>
                  <a:lnTo>
                    <a:pt x="841" y="2853"/>
                  </a:lnTo>
                  <a:lnTo>
                    <a:pt x="845" y="2857"/>
                  </a:lnTo>
                  <a:lnTo>
                    <a:pt x="845" y="2858"/>
                  </a:lnTo>
                  <a:lnTo>
                    <a:pt x="845" y="2858"/>
                  </a:lnTo>
                  <a:lnTo>
                    <a:pt x="845" y="2860"/>
                  </a:lnTo>
                  <a:lnTo>
                    <a:pt x="845" y="2860"/>
                  </a:lnTo>
                  <a:lnTo>
                    <a:pt x="845" y="2860"/>
                  </a:lnTo>
                  <a:lnTo>
                    <a:pt x="847" y="2861"/>
                  </a:lnTo>
                  <a:lnTo>
                    <a:pt x="847" y="2861"/>
                  </a:lnTo>
                  <a:lnTo>
                    <a:pt x="847" y="2861"/>
                  </a:lnTo>
                  <a:lnTo>
                    <a:pt x="847" y="2861"/>
                  </a:lnTo>
                  <a:lnTo>
                    <a:pt x="847" y="2863"/>
                  </a:lnTo>
                  <a:lnTo>
                    <a:pt x="847" y="2864"/>
                  </a:lnTo>
                  <a:lnTo>
                    <a:pt x="847" y="2864"/>
                  </a:lnTo>
                  <a:lnTo>
                    <a:pt x="847" y="2866"/>
                  </a:lnTo>
                  <a:lnTo>
                    <a:pt x="847" y="2867"/>
                  </a:lnTo>
                  <a:lnTo>
                    <a:pt x="847" y="2867"/>
                  </a:lnTo>
                  <a:lnTo>
                    <a:pt x="848" y="2870"/>
                  </a:lnTo>
                  <a:lnTo>
                    <a:pt x="848" y="2873"/>
                  </a:lnTo>
                  <a:lnTo>
                    <a:pt x="848" y="2877"/>
                  </a:lnTo>
                  <a:lnTo>
                    <a:pt x="847" y="2877"/>
                  </a:lnTo>
                  <a:lnTo>
                    <a:pt x="844" y="2875"/>
                  </a:lnTo>
                  <a:lnTo>
                    <a:pt x="842" y="2875"/>
                  </a:lnTo>
                  <a:lnTo>
                    <a:pt x="842" y="2877"/>
                  </a:lnTo>
                  <a:lnTo>
                    <a:pt x="842" y="2880"/>
                  </a:lnTo>
                  <a:lnTo>
                    <a:pt x="844" y="2881"/>
                  </a:lnTo>
                  <a:lnTo>
                    <a:pt x="844" y="2883"/>
                  </a:lnTo>
                  <a:lnTo>
                    <a:pt x="842" y="2884"/>
                  </a:lnTo>
                  <a:lnTo>
                    <a:pt x="841" y="2886"/>
                  </a:lnTo>
                  <a:lnTo>
                    <a:pt x="836" y="2887"/>
                  </a:lnTo>
                  <a:lnTo>
                    <a:pt x="835" y="2889"/>
                  </a:lnTo>
                  <a:lnTo>
                    <a:pt x="835" y="2889"/>
                  </a:lnTo>
                  <a:lnTo>
                    <a:pt x="836" y="2892"/>
                  </a:lnTo>
                  <a:lnTo>
                    <a:pt x="836" y="2895"/>
                  </a:lnTo>
                  <a:lnTo>
                    <a:pt x="835" y="2897"/>
                  </a:lnTo>
                  <a:lnTo>
                    <a:pt x="833" y="2898"/>
                  </a:lnTo>
                  <a:lnTo>
                    <a:pt x="831" y="2901"/>
                  </a:lnTo>
                  <a:lnTo>
                    <a:pt x="831" y="2904"/>
                  </a:lnTo>
                  <a:lnTo>
                    <a:pt x="831" y="2906"/>
                  </a:lnTo>
                  <a:lnTo>
                    <a:pt x="833" y="2907"/>
                  </a:lnTo>
                  <a:lnTo>
                    <a:pt x="836" y="2909"/>
                  </a:lnTo>
                  <a:lnTo>
                    <a:pt x="847" y="2917"/>
                  </a:lnTo>
                  <a:lnTo>
                    <a:pt x="848" y="2918"/>
                  </a:lnTo>
                  <a:lnTo>
                    <a:pt x="848" y="2921"/>
                  </a:lnTo>
                  <a:lnTo>
                    <a:pt x="850" y="2921"/>
                  </a:lnTo>
                  <a:lnTo>
                    <a:pt x="856" y="2921"/>
                  </a:lnTo>
                  <a:lnTo>
                    <a:pt x="858" y="2926"/>
                  </a:lnTo>
                  <a:lnTo>
                    <a:pt x="861" y="2927"/>
                  </a:lnTo>
                  <a:lnTo>
                    <a:pt x="859" y="2932"/>
                  </a:lnTo>
                  <a:lnTo>
                    <a:pt x="855" y="2938"/>
                  </a:lnTo>
                  <a:lnTo>
                    <a:pt x="853" y="2944"/>
                  </a:lnTo>
                  <a:lnTo>
                    <a:pt x="856" y="2946"/>
                  </a:lnTo>
                  <a:lnTo>
                    <a:pt x="861" y="2947"/>
                  </a:lnTo>
                  <a:lnTo>
                    <a:pt x="862" y="2949"/>
                  </a:lnTo>
                  <a:lnTo>
                    <a:pt x="862" y="2949"/>
                  </a:lnTo>
                  <a:lnTo>
                    <a:pt x="864" y="2950"/>
                  </a:lnTo>
                  <a:lnTo>
                    <a:pt x="865" y="2952"/>
                  </a:lnTo>
                  <a:lnTo>
                    <a:pt x="867" y="2958"/>
                  </a:lnTo>
                  <a:lnTo>
                    <a:pt x="868" y="2960"/>
                  </a:lnTo>
                  <a:lnTo>
                    <a:pt x="868" y="2961"/>
                  </a:lnTo>
                  <a:lnTo>
                    <a:pt x="870" y="2963"/>
                  </a:lnTo>
                  <a:lnTo>
                    <a:pt x="870" y="2964"/>
                  </a:lnTo>
                  <a:lnTo>
                    <a:pt x="872" y="2972"/>
                  </a:lnTo>
                  <a:lnTo>
                    <a:pt x="872" y="2975"/>
                  </a:lnTo>
                  <a:lnTo>
                    <a:pt x="873" y="2978"/>
                  </a:lnTo>
                  <a:lnTo>
                    <a:pt x="884" y="2987"/>
                  </a:lnTo>
                  <a:lnTo>
                    <a:pt x="887" y="2989"/>
                  </a:lnTo>
                  <a:lnTo>
                    <a:pt x="888" y="2989"/>
                  </a:lnTo>
                  <a:lnTo>
                    <a:pt x="892" y="2990"/>
                  </a:lnTo>
                  <a:lnTo>
                    <a:pt x="898" y="2994"/>
                  </a:lnTo>
                  <a:lnTo>
                    <a:pt x="901" y="2994"/>
                  </a:lnTo>
                  <a:lnTo>
                    <a:pt x="902" y="2994"/>
                  </a:lnTo>
                  <a:lnTo>
                    <a:pt x="904" y="2995"/>
                  </a:lnTo>
                  <a:lnTo>
                    <a:pt x="904" y="2995"/>
                  </a:lnTo>
                  <a:lnTo>
                    <a:pt x="905" y="2997"/>
                  </a:lnTo>
                  <a:lnTo>
                    <a:pt x="905" y="3000"/>
                  </a:lnTo>
                  <a:lnTo>
                    <a:pt x="905" y="3001"/>
                  </a:lnTo>
                  <a:lnTo>
                    <a:pt x="907" y="3001"/>
                  </a:lnTo>
                  <a:lnTo>
                    <a:pt x="908" y="3000"/>
                  </a:lnTo>
                  <a:lnTo>
                    <a:pt x="908" y="3000"/>
                  </a:lnTo>
                  <a:lnTo>
                    <a:pt x="910" y="3000"/>
                  </a:lnTo>
                  <a:lnTo>
                    <a:pt x="910" y="3000"/>
                  </a:lnTo>
                  <a:lnTo>
                    <a:pt x="910" y="3001"/>
                  </a:lnTo>
                  <a:lnTo>
                    <a:pt x="912" y="3007"/>
                  </a:lnTo>
                  <a:lnTo>
                    <a:pt x="912" y="3009"/>
                  </a:lnTo>
                  <a:lnTo>
                    <a:pt x="912" y="3009"/>
                  </a:lnTo>
                  <a:lnTo>
                    <a:pt x="912" y="3011"/>
                  </a:lnTo>
                  <a:lnTo>
                    <a:pt x="912" y="3012"/>
                  </a:lnTo>
                  <a:lnTo>
                    <a:pt x="910" y="3014"/>
                  </a:lnTo>
                  <a:lnTo>
                    <a:pt x="908" y="3021"/>
                  </a:lnTo>
                  <a:lnTo>
                    <a:pt x="907" y="3024"/>
                  </a:lnTo>
                  <a:lnTo>
                    <a:pt x="905" y="3029"/>
                  </a:lnTo>
                  <a:lnTo>
                    <a:pt x="904" y="3032"/>
                  </a:lnTo>
                  <a:lnTo>
                    <a:pt x="907" y="3032"/>
                  </a:lnTo>
                  <a:lnTo>
                    <a:pt x="913" y="3035"/>
                  </a:lnTo>
                  <a:lnTo>
                    <a:pt x="929" y="3031"/>
                  </a:lnTo>
                  <a:lnTo>
                    <a:pt x="932" y="3031"/>
                  </a:lnTo>
                  <a:lnTo>
                    <a:pt x="935" y="3034"/>
                  </a:lnTo>
                  <a:lnTo>
                    <a:pt x="944" y="3037"/>
                  </a:lnTo>
                  <a:lnTo>
                    <a:pt x="947" y="3038"/>
                  </a:lnTo>
                  <a:lnTo>
                    <a:pt x="950" y="3041"/>
                  </a:lnTo>
                  <a:lnTo>
                    <a:pt x="950" y="3043"/>
                  </a:lnTo>
                  <a:lnTo>
                    <a:pt x="955" y="3043"/>
                  </a:lnTo>
                  <a:lnTo>
                    <a:pt x="956" y="3043"/>
                  </a:lnTo>
                  <a:lnTo>
                    <a:pt x="958" y="3043"/>
                  </a:lnTo>
                  <a:lnTo>
                    <a:pt x="959" y="3046"/>
                  </a:lnTo>
                  <a:lnTo>
                    <a:pt x="959" y="3046"/>
                  </a:lnTo>
                  <a:lnTo>
                    <a:pt x="959" y="3047"/>
                  </a:lnTo>
                  <a:lnTo>
                    <a:pt x="959" y="3049"/>
                  </a:lnTo>
                  <a:lnTo>
                    <a:pt x="959" y="3049"/>
                  </a:lnTo>
                  <a:lnTo>
                    <a:pt x="953" y="3052"/>
                  </a:lnTo>
                  <a:lnTo>
                    <a:pt x="953" y="3052"/>
                  </a:lnTo>
                  <a:lnTo>
                    <a:pt x="953" y="3054"/>
                  </a:lnTo>
                  <a:lnTo>
                    <a:pt x="953" y="3055"/>
                  </a:lnTo>
                  <a:lnTo>
                    <a:pt x="953" y="3060"/>
                  </a:lnTo>
                  <a:lnTo>
                    <a:pt x="955" y="3061"/>
                  </a:lnTo>
                  <a:lnTo>
                    <a:pt x="956" y="3064"/>
                  </a:lnTo>
                  <a:lnTo>
                    <a:pt x="959" y="3064"/>
                  </a:lnTo>
                  <a:lnTo>
                    <a:pt x="962" y="3067"/>
                  </a:lnTo>
                  <a:lnTo>
                    <a:pt x="964" y="3067"/>
                  </a:lnTo>
                  <a:lnTo>
                    <a:pt x="965" y="3071"/>
                  </a:lnTo>
                  <a:lnTo>
                    <a:pt x="965" y="3071"/>
                  </a:lnTo>
                  <a:lnTo>
                    <a:pt x="965" y="3071"/>
                  </a:lnTo>
                  <a:lnTo>
                    <a:pt x="967" y="3072"/>
                  </a:lnTo>
                  <a:lnTo>
                    <a:pt x="967" y="3071"/>
                  </a:lnTo>
                  <a:lnTo>
                    <a:pt x="967" y="3071"/>
                  </a:lnTo>
                  <a:lnTo>
                    <a:pt x="969" y="3071"/>
                  </a:lnTo>
                  <a:lnTo>
                    <a:pt x="970" y="3071"/>
                  </a:lnTo>
                  <a:lnTo>
                    <a:pt x="972" y="3071"/>
                  </a:lnTo>
                  <a:lnTo>
                    <a:pt x="972" y="3072"/>
                  </a:lnTo>
                  <a:lnTo>
                    <a:pt x="970" y="3074"/>
                  </a:lnTo>
                  <a:lnTo>
                    <a:pt x="972" y="3075"/>
                  </a:lnTo>
                  <a:lnTo>
                    <a:pt x="972" y="3075"/>
                  </a:lnTo>
                  <a:lnTo>
                    <a:pt x="975" y="3074"/>
                  </a:lnTo>
                  <a:lnTo>
                    <a:pt x="975" y="3074"/>
                  </a:lnTo>
                  <a:lnTo>
                    <a:pt x="976" y="3077"/>
                  </a:lnTo>
                  <a:lnTo>
                    <a:pt x="976" y="3078"/>
                  </a:lnTo>
                  <a:lnTo>
                    <a:pt x="975" y="3086"/>
                  </a:lnTo>
                  <a:lnTo>
                    <a:pt x="976" y="3091"/>
                  </a:lnTo>
                  <a:lnTo>
                    <a:pt x="975" y="3091"/>
                  </a:lnTo>
                  <a:lnTo>
                    <a:pt x="973" y="3091"/>
                  </a:lnTo>
                  <a:lnTo>
                    <a:pt x="973" y="3091"/>
                  </a:lnTo>
                  <a:lnTo>
                    <a:pt x="972" y="3091"/>
                  </a:lnTo>
                  <a:lnTo>
                    <a:pt x="965" y="3091"/>
                  </a:lnTo>
                  <a:lnTo>
                    <a:pt x="967" y="3092"/>
                  </a:lnTo>
                  <a:lnTo>
                    <a:pt x="967" y="3094"/>
                  </a:lnTo>
                  <a:lnTo>
                    <a:pt x="967" y="3094"/>
                  </a:lnTo>
                  <a:lnTo>
                    <a:pt x="965" y="3095"/>
                  </a:lnTo>
                  <a:lnTo>
                    <a:pt x="962" y="3095"/>
                  </a:lnTo>
                  <a:lnTo>
                    <a:pt x="961" y="3095"/>
                  </a:lnTo>
                  <a:lnTo>
                    <a:pt x="959" y="3094"/>
                  </a:lnTo>
                  <a:lnTo>
                    <a:pt x="956" y="3094"/>
                  </a:lnTo>
                  <a:lnTo>
                    <a:pt x="956" y="3095"/>
                  </a:lnTo>
                  <a:lnTo>
                    <a:pt x="956" y="3097"/>
                  </a:lnTo>
                  <a:lnTo>
                    <a:pt x="959" y="3097"/>
                  </a:lnTo>
                  <a:lnTo>
                    <a:pt x="958" y="3100"/>
                  </a:lnTo>
                  <a:lnTo>
                    <a:pt x="956" y="3103"/>
                  </a:lnTo>
                  <a:lnTo>
                    <a:pt x="955" y="3106"/>
                  </a:lnTo>
                  <a:lnTo>
                    <a:pt x="953" y="3108"/>
                  </a:lnTo>
                  <a:lnTo>
                    <a:pt x="952" y="3109"/>
                  </a:lnTo>
                  <a:lnTo>
                    <a:pt x="949" y="3109"/>
                  </a:lnTo>
                  <a:lnTo>
                    <a:pt x="947" y="3112"/>
                  </a:lnTo>
                  <a:lnTo>
                    <a:pt x="945" y="3114"/>
                  </a:lnTo>
                  <a:lnTo>
                    <a:pt x="942" y="3117"/>
                  </a:lnTo>
                  <a:lnTo>
                    <a:pt x="939" y="3117"/>
                  </a:lnTo>
                  <a:lnTo>
                    <a:pt x="939" y="3117"/>
                  </a:lnTo>
                  <a:lnTo>
                    <a:pt x="939" y="3117"/>
                  </a:lnTo>
                  <a:lnTo>
                    <a:pt x="938" y="3118"/>
                  </a:lnTo>
                  <a:lnTo>
                    <a:pt x="938" y="3118"/>
                  </a:lnTo>
                  <a:lnTo>
                    <a:pt x="938" y="3118"/>
                  </a:lnTo>
                  <a:lnTo>
                    <a:pt x="938" y="3120"/>
                  </a:lnTo>
                  <a:lnTo>
                    <a:pt x="938" y="3120"/>
                  </a:lnTo>
                  <a:lnTo>
                    <a:pt x="938" y="3120"/>
                  </a:lnTo>
                  <a:lnTo>
                    <a:pt x="938" y="3120"/>
                  </a:lnTo>
                  <a:lnTo>
                    <a:pt x="935" y="3120"/>
                  </a:lnTo>
                  <a:lnTo>
                    <a:pt x="933" y="3121"/>
                  </a:lnTo>
                  <a:lnTo>
                    <a:pt x="932" y="3121"/>
                  </a:lnTo>
                  <a:lnTo>
                    <a:pt x="929" y="3121"/>
                  </a:lnTo>
                  <a:lnTo>
                    <a:pt x="924" y="3120"/>
                  </a:lnTo>
                  <a:lnTo>
                    <a:pt x="921" y="3120"/>
                  </a:lnTo>
                  <a:lnTo>
                    <a:pt x="919" y="3120"/>
                  </a:lnTo>
                  <a:lnTo>
                    <a:pt x="918" y="3120"/>
                  </a:lnTo>
                  <a:lnTo>
                    <a:pt x="916" y="3120"/>
                  </a:lnTo>
                  <a:lnTo>
                    <a:pt x="912" y="3118"/>
                  </a:lnTo>
                  <a:lnTo>
                    <a:pt x="912" y="3118"/>
                  </a:lnTo>
                  <a:lnTo>
                    <a:pt x="908" y="3118"/>
                  </a:lnTo>
                  <a:lnTo>
                    <a:pt x="908" y="3118"/>
                  </a:lnTo>
                  <a:lnTo>
                    <a:pt x="907" y="3115"/>
                  </a:lnTo>
                  <a:lnTo>
                    <a:pt x="905" y="3111"/>
                  </a:lnTo>
                  <a:lnTo>
                    <a:pt x="905" y="3109"/>
                  </a:lnTo>
                  <a:lnTo>
                    <a:pt x="904" y="3108"/>
                  </a:lnTo>
                  <a:lnTo>
                    <a:pt x="901" y="3108"/>
                  </a:lnTo>
                  <a:lnTo>
                    <a:pt x="899" y="3108"/>
                  </a:lnTo>
                  <a:lnTo>
                    <a:pt x="895" y="3106"/>
                  </a:lnTo>
                  <a:lnTo>
                    <a:pt x="893" y="3106"/>
                  </a:lnTo>
                  <a:lnTo>
                    <a:pt x="892" y="3106"/>
                  </a:lnTo>
                  <a:lnTo>
                    <a:pt x="888" y="3108"/>
                  </a:lnTo>
                  <a:lnTo>
                    <a:pt x="887" y="3108"/>
                  </a:lnTo>
                  <a:lnTo>
                    <a:pt x="884" y="3108"/>
                  </a:lnTo>
                  <a:lnTo>
                    <a:pt x="879" y="3108"/>
                  </a:lnTo>
                  <a:lnTo>
                    <a:pt x="876" y="3109"/>
                  </a:lnTo>
                  <a:lnTo>
                    <a:pt x="875" y="3115"/>
                  </a:lnTo>
                  <a:lnTo>
                    <a:pt x="876" y="3117"/>
                  </a:lnTo>
                  <a:lnTo>
                    <a:pt x="876" y="3117"/>
                  </a:lnTo>
                  <a:lnTo>
                    <a:pt x="876" y="3118"/>
                  </a:lnTo>
                  <a:lnTo>
                    <a:pt x="876" y="3120"/>
                  </a:lnTo>
                  <a:lnTo>
                    <a:pt x="876" y="3120"/>
                  </a:lnTo>
                  <a:lnTo>
                    <a:pt x="875" y="3121"/>
                  </a:lnTo>
                  <a:lnTo>
                    <a:pt x="873" y="3121"/>
                  </a:lnTo>
                  <a:lnTo>
                    <a:pt x="873" y="3121"/>
                  </a:lnTo>
                  <a:lnTo>
                    <a:pt x="868" y="3128"/>
                  </a:lnTo>
                  <a:lnTo>
                    <a:pt x="867" y="3129"/>
                  </a:lnTo>
                  <a:lnTo>
                    <a:pt x="873" y="3134"/>
                  </a:lnTo>
                  <a:lnTo>
                    <a:pt x="873" y="3137"/>
                  </a:lnTo>
                  <a:lnTo>
                    <a:pt x="876" y="3143"/>
                  </a:lnTo>
                  <a:lnTo>
                    <a:pt x="878" y="3146"/>
                  </a:lnTo>
                  <a:lnTo>
                    <a:pt x="879" y="3148"/>
                  </a:lnTo>
                  <a:lnTo>
                    <a:pt x="882" y="3149"/>
                  </a:lnTo>
                  <a:lnTo>
                    <a:pt x="884" y="3151"/>
                  </a:lnTo>
                  <a:lnTo>
                    <a:pt x="885" y="3151"/>
                  </a:lnTo>
                  <a:lnTo>
                    <a:pt x="887" y="3151"/>
                  </a:lnTo>
                  <a:lnTo>
                    <a:pt x="887" y="3152"/>
                  </a:lnTo>
                  <a:lnTo>
                    <a:pt x="887" y="3155"/>
                  </a:lnTo>
                  <a:lnTo>
                    <a:pt x="888" y="3157"/>
                  </a:lnTo>
                  <a:lnTo>
                    <a:pt x="890" y="3157"/>
                  </a:lnTo>
                  <a:lnTo>
                    <a:pt x="890" y="3158"/>
                  </a:lnTo>
                  <a:lnTo>
                    <a:pt x="892" y="3160"/>
                  </a:lnTo>
                  <a:lnTo>
                    <a:pt x="892" y="3166"/>
                  </a:lnTo>
                  <a:lnTo>
                    <a:pt x="890" y="3168"/>
                  </a:lnTo>
                  <a:lnTo>
                    <a:pt x="884" y="3171"/>
                  </a:lnTo>
                  <a:lnTo>
                    <a:pt x="884" y="3171"/>
                  </a:lnTo>
                  <a:lnTo>
                    <a:pt x="885" y="3172"/>
                  </a:lnTo>
                  <a:lnTo>
                    <a:pt x="888" y="3177"/>
                  </a:lnTo>
                  <a:lnTo>
                    <a:pt x="890" y="3181"/>
                  </a:lnTo>
                  <a:lnTo>
                    <a:pt x="892" y="3183"/>
                  </a:lnTo>
                  <a:lnTo>
                    <a:pt x="895" y="3186"/>
                  </a:lnTo>
                  <a:lnTo>
                    <a:pt x="895" y="3188"/>
                  </a:lnTo>
                  <a:lnTo>
                    <a:pt x="895" y="3188"/>
                  </a:lnTo>
                  <a:lnTo>
                    <a:pt x="895" y="3189"/>
                  </a:lnTo>
                  <a:lnTo>
                    <a:pt x="892" y="3188"/>
                  </a:lnTo>
                  <a:lnTo>
                    <a:pt x="890" y="3188"/>
                  </a:lnTo>
                  <a:lnTo>
                    <a:pt x="890" y="3188"/>
                  </a:lnTo>
                  <a:lnTo>
                    <a:pt x="892" y="3189"/>
                  </a:lnTo>
                  <a:lnTo>
                    <a:pt x="890" y="3191"/>
                  </a:lnTo>
                  <a:lnTo>
                    <a:pt x="890" y="3191"/>
                  </a:lnTo>
                  <a:lnTo>
                    <a:pt x="890" y="3192"/>
                  </a:lnTo>
                  <a:lnTo>
                    <a:pt x="890" y="3194"/>
                  </a:lnTo>
                  <a:lnTo>
                    <a:pt x="892" y="3195"/>
                  </a:lnTo>
                  <a:lnTo>
                    <a:pt x="893" y="3198"/>
                  </a:lnTo>
                  <a:lnTo>
                    <a:pt x="892" y="3201"/>
                  </a:lnTo>
                  <a:lnTo>
                    <a:pt x="892" y="3205"/>
                  </a:lnTo>
                  <a:lnTo>
                    <a:pt x="893" y="3206"/>
                  </a:lnTo>
                  <a:lnTo>
                    <a:pt x="893" y="3208"/>
                  </a:lnTo>
                  <a:lnTo>
                    <a:pt x="893" y="3208"/>
                  </a:lnTo>
                  <a:lnTo>
                    <a:pt x="893" y="3211"/>
                  </a:lnTo>
                  <a:lnTo>
                    <a:pt x="893" y="3212"/>
                  </a:lnTo>
                  <a:lnTo>
                    <a:pt x="893" y="3214"/>
                  </a:lnTo>
                  <a:lnTo>
                    <a:pt x="892" y="3215"/>
                  </a:lnTo>
                  <a:lnTo>
                    <a:pt x="890" y="3215"/>
                  </a:lnTo>
                  <a:lnTo>
                    <a:pt x="893" y="3218"/>
                  </a:lnTo>
                  <a:lnTo>
                    <a:pt x="895" y="3220"/>
                  </a:lnTo>
                  <a:lnTo>
                    <a:pt x="896" y="3221"/>
                  </a:lnTo>
                  <a:lnTo>
                    <a:pt x="896" y="3221"/>
                  </a:lnTo>
                  <a:lnTo>
                    <a:pt x="899" y="3223"/>
                  </a:lnTo>
                  <a:lnTo>
                    <a:pt x="901" y="3223"/>
                  </a:lnTo>
                  <a:lnTo>
                    <a:pt x="899" y="3225"/>
                  </a:lnTo>
                  <a:lnTo>
                    <a:pt x="899" y="3226"/>
                  </a:lnTo>
                  <a:lnTo>
                    <a:pt x="899" y="3228"/>
                  </a:lnTo>
                  <a:lnTo>
                    <a:pt x="899" y="3229"/>
                  </a:lnTo>
                  <a:lnTo>
                    <a:pt x="899" y="3231"/>
                  </a:lnTo>
                  <a:lnTo>
                    <a:pt x="901" y="3231"/>
                  </a:lnTo>
                  <a:lnTo>
                    <a:pt x="904" y="3234"/>
                  </a:lnTo>
                  <a:lnTo>
                    <a:pt x="905" y="3235"/>
                  </a:lnTo>
                  <a:lnTo>
                    <a:pt x="905" y="3238"/>
                  </a:lnTo>
                  <a:lnTo>
                    <a:pt x="905" y="3241"/>
                  </a:lnTo>
                  <a:lnTo>
                    <a:pt x="910" y="3241"/>
                  </a:lnTo>
                  <a:lnTo>
                    <a:pt x="913" y="3241"/>
                  </a:lnTo>
                  <a:lnTo>
                    <a:pt x="915" y="3243"/>
                  </a:lnTo>
                  <a:lnTo>
                    <a:pt x="915" y="3245"/>
                  </a:lnTo>
                  <a:lnTo>
                    <a:pt x="915" y="3248"/>
                  </a:lnTo>
                  <a:lnTo>
                    <a:pt x="915" y="3249"/>
                  </a:lnTo>
                  <a:lnTo>
                    <a:pt x="916" y="3251"/>
                  </a:lnTo>
                  <a:lnTo>
                    <a:pt x="918" y="3249"/>
                  </a:lnTo>
                  <a:lnTo>
                    <a:pt x="921" y="3248"/>
                  </a:lnTo>
                  <a:lnTo>
                    <a:pt x="924" y="3248"/>
                  </a:lnTo>
                  <a:lnTo>
                    <a:pt x="929" y="3249"/>
                  </a:lnTo>
                  <a:lnTo>
                    <a:pt x="930" y="3249"/>
                  </a:lnTo>
                  <a:lnTo>
                    <a:pt x="941" y="3243"/>
                  </a:lnTo>
                  <a:lnTo>
                    <a:pt x="944" y="3241"/>
                  </a:lnTo>
                  <a:lnTo>
                    <a:pt x="945" y="3237"/>
                  </a:lnTo>
                  <a:lnTo>
                    <a:pt x="947" y="3229"/>
                  </a:lnTo>
                  <a:lnTo>
                    <a:pt x="947" y="3228"/>
                  </a:lnTo>
                  <a:lnTo>
                    <a:pt x="949" y="3226"/>
                  </a:lnTo>
                  <a:lnTo>
                    <a:pt x="949" y="3226"/>
                  </a:lnTo>
                  <a:lnTo>
                    <a:pt x="950" y="3225"/>
                  </a:lnTo>
                  <a:lnTo>
                    <a:pt x="950" y="3223"/>
                  </a:lnTo>
                  <a:lnTo>
                    <a:pt x="950" y="3223"/>
                  </a:lnTo>
                  <a:lnTo>
                    <a:pt x="949" y="3220"/>
                  </a:lnTo>
                  <a:lnTo>
                    <a:pt x="949" y="3218"/>
                  </a:lnTo>
                  <a:lnTo>
                    <a:pt x="950" y="3215"/>
                  </a:lnTo>
                  <a:lnTo>
                    <a:pt x="952" y="3214"/>
                  </a:lnTo>
                  <a:lnTo>
                    <a:pt x="959" y="3217"/>
                  </a:lnTo>
                  <a:lnTo>
                    <a:pt x="962" y="3215"/>
                  </a:lnTo>
                  <a:lnTo>
                    <a:pt x="976" y="3223"/>
                  </a:lnTo>
                  <a:lnTo>
                    <a:pt x="979" y="3223"/>
                  </a:lnTo>
                  <a:lnTo>
                    <a:pt x="984" y="3221"/>
                  </a:lnTo>
                  <a:lnTo>
                    <a:pt x="986" y="3221"/>
                  </a:lnTo>
                  <a:lnTo>
                    <a:pt x="987" y="3223"/>
                  </a:lnTo>
                  <a:lnTo>
                    <a:pt x="989" y="3225"/>
                  </a:lnTo>
                  <a:lnTo>
                    <a:pt x="990" y="3225"/>
                  </a:lnTo>
                  <a:lnTo>
                    <a:pt x="992" y="3223"/>
                  </a:lnTo>
                  <a:lnTo>
                    <a:pt x="999" y="3217"/>
                  </a:lnTo>
                  <a:lnTo>
                    <a:pt x="1001" y="3217"/>
                  </a:lnTo>
                  <a:lnTo>
                    <a:pt x="1002" y="3217"/>
                  </a:lnTo>
                  <a:lnTo>
                    <a:pt x="1002" y="3217"/>
                  </a:lnTo>
                  <a:lnTo>
                    <a:pt x="1004" y="3217"/>
                  </a:lnTo>
                  <a:lnTo>
                    <a:pt x="1004" y="3215"/>
                  </a:lnTo>
                  <a:lnTo>
                    <a:pt x="1006" y="3214"/>
                  </a:lnTo>
                  <a:lnTo>
                    <a:pt x="1006" y="3214"/>
                  </a:lnTo>
                  <a:lnTo>
                    <a:pt x="1007" y="3214"/>
                  </a:lnTo>
                  <a:lnTo>
                    <a:pt x="1009" y="3212"/>
                  </a:lnTo>
                  <a:lnTo>
                    <a:pt x="1010" y="3209"/>
                  </a:lnTo>
                  <a:lnTo>
                    <a:pt x="1012" y="3209"/>
                  </a:lnTo>
                  <a:lnTo>
                    <a:pt x="1012" y="3209"/>
                  </a:lnTo>
                  <a:lnTo>
                    <a:pt x="1019" y="3211"/>
                  </a:lnTo>
                  <a:lnTo>
                    <a:pt x="1024" y="3211"/>
                  </a:lnTo>
                  <a:lnTo>
                    <a:pt x="1026" y="3211"/>
                  </a:lnTo>
                  <a:lnTo>
                    <a:pt x="1027" y="3212"/>
                  </a:lnTo>
                  <a:lnTo>
                    <a:pt x="1027" y="3212"/>
                  </a:lnTo>
                  <a:lnTo>
                    <a:pt x="1029" y="3212"/>
                  </a:lnTo>
                  <a:lnTo>
                    <a:pt x="1030" y="3212"/>
                  </a:lnTo>
                  <a:lnTo>
                    <a:pt x="1032" y="3212"/>
                  </a:lnTo>
                  <a:lnTo>
                    <a:pt x="1032" y="3211"/>
                  </a:lnTo>
                  <a:lnTo>
                    <a:pt x="1033" y="3211"/>
                  </a:lnTo>
                  <a:lnTo>
                    <a:pt x="1035" y="3212"/>
                  </a:lnTo>
                  <a:lnTo>
                    <a:pt x="1035" y="3217"/>
                  </a:lnTo>
                  <a:lnTo>
                    <a:pt x="1035" y="3218"/>
                  </a:lnTo>
                  <a:lnTo>
                    <a:pt x="1036" y="3218"/>
                  </a:lnTo>
                  <a:lnTo>
                    <a:pt x="1042" y="3214"/>
                  </a:lnTo>
                  <a:lnTo>
                    <a:pt x="1049" y="3211"/>
                  </a:lnTo>
                  <a:lnTo>
                    <a:pt x="1052" y="3209"/>
                  </a:lnTo>
                  <a:lnTo>
                    <a:pt x="1055" y="3209"/>
                  </a:lnTo>
                  <a:lnTo>
                    <a:pt x="1058" y="3211"/>
                  </a:lnTo>
                  <a:lnTo>
                    <a:pt x="1058" y="3212"/>
                  </a:lnTo>
                  <a:lnTo>
                    <a:pt x="1059" y="3214"/>
                  </a:lnTo>
                  <a:lnTo>
                    <a:pt x="1059" y="3215"/>
                  </a:lnTo>
                  <a:lnTo>
                    <a:pt x="1061" y="3217"/>
                  </a:lnTo>
                  <a:lnTo>
                    <a:pt x="1064" y="3218"/>
                  </a:lnTo>
                  <a:lnTo>
                    <a:pt x="1066" y="3221"/>
                  </a:lnTo>
                  <a:lnTo>
                    <a:pt x="1067" y="3225"/>
                  </a:lnTo>
                  <a:lnTo>
                    <a:pt x="1069" y="3226"/>
                  </a:lnTo>
                  <a:lnTo>
                    <a:pt x="1073" y="3229"/>
                  </a:lnTo>
                  <a:lnTo>
                    <a:pt x="1075" y="3231"/>
                  </a:lnTo>
                  <a:lnTo>
                    <a:pt x="1076" y="3232"/>
                  </a:lnTo>
                  <a:lnTo>
                    <a:pt x="1076" y="3234"/>
                  </a:lnTo>
                  <a:lnTo>
                    <a:pt x="1078" y="3235"/>
                  </a:lnTo>
                  <a:lnTo>
                    <a:pt x="1078" y="3237"/>
                  </a:lnTo>
                  <a:lnTo>
                    <a:pt x="1078" y="3238"/>
                  </a:lnTo>
                  <a:lnTo>
                    <a:pt x="1076" y="3240"/>
                  </a:lnTo>
                  <a:lnTo>
                    <a:pt x="1076" y="3241"/>
                  </a:lnTo>
                  <a:lnTo>
                    <a:pt x="1076" y="3243"/>
                  </a:lnTo>
                  <a:lnTo>
                    <a:pt x="1076" y="3248"/>
                  </a:lnTo>
                  <a:lnTo>
                    <a:pt x="1076" y="3249"/>
                  </a:lnTo>
                  <a:lnTo>
                    <a:pt x="1078" y="3252"/>
                  </a:lnTo>
                  <a:lnTo>
                    <a:pt x="1079" y="3254"/>
                  </a:lnTo>
                  <a:lnTo>
                    <a:pt x="1079" y="3257"/>
                  </a:lnTo>
                  <a:lnTo>
                    <a:pt x="1079" y="3258"/>
                  </a:lnTo>
                  <a:lnTo>
                    <a:pt x="1079" y="3260"/>
                  </a:lnTo>
                  <a:lnTo>
                    <a:pt x="1083" y="3260"/>
                  </a:lnTo>
                  <a:lnTo>
                    <a:pt x="1084" y="3260"/>
                  </a:lnTo>
                  <a:lnTo>
                    <a:pt x="1087" y="3265"/>
                  </a:lnTo>
                  <a:lnTo>
                    <a:pt x="1087" y="3265"/>
                  </a:lnTo>
                  <a:lnTo>
                    <a:pt x="1089" y="3265"/>
                  </a:lnTo>
                  <a:lnTo>
                    <a:pt x="1089" y="3266"/>
                  </a:lnTo>
                  <a:lnTo>
                    <a:pt x="1089" y="3266"/>
                  </a:lnTo>
                  <a:lnTo>
                    <a:pt x="1089" y="3268"/>
                  </a:lnTo>
                  <a:lnTo>
                    <a:pt x="1089" y="3268"/>
                  </a:lnTo>
                  <a:lnTo>
                    <a:pt x="1090" y="3269"/>
                  </a:lnTo>
                  <a:lnTo>
                    <a:pt x="1092" y="3268"/>
                  </a:lnTo>
                  <a:lnTo>
                    <a:pt x="1092" y="3268"/>
                  </a:lnTo>
                  <a:lnTo>
                    <a:pt x="1093" y="3269"/>
                  </a:lnTo>
                  <a:lnTo>
                    <a:pt x="1096" y="3271"/>
                  </a:lnTo>
                  <a:lnTo>
                    <a:pt x="1098" y="3272"/>
                  </a:lnTo>
                  <a:lnTo>
                    <a:pt x="1099" y="3274"/>
                  </a:lnTo>
                  <a:lnTo>
                    <a:pt x="1101" y="3275"/>
                  </a:lnTo>
                  <a:lnTo>
                    <a:pt x="1103" y="3280"/>
                  </a:lnTo>
                  <a:lnTo>
                    <a:pt x="1103" y="3285"/>
                  </a:lnTo>
                  <a:lnTo>
                    <a:pt x="1099" y="3289"/>
                  </a:lnTo>
                  <a:lnTo>
                    <a:pt x="1098" y="3289"/>
                  </a:lnTo>
                  <a:lnTo>
                    <a:pt x="1095" y="3289"/>
                  </a:lnTo>
                  <a:lnTo>
                    <a:pt x="1081" y="3292"/>
                  </a:lnTo>
                  <a:lnTo>
                    <a:pt x="1078" y="3294"/>
                  </a:lnTo>
                  <a:lnTo>
                    <a:pt x="1078" y="3297"/>
                  </a:lnTo>
                  <a:lnTo>
                    <a:pt x="1078" y="3297"/>
                  </a:lnTo>
                  <a:lnTo>
                    <a:pt x="1081" y="3298"/>
                  </a:lnTo>
                  <a:lnTo>
                    <a:pt x="1083" y="3298"/>
                  </a:lnTo>
                  <a:lnTo>
                    <a:pt x="1083" y="3300"/>
                  </a:lnTo>
                  <a:lnTo>
                    <a:pt x="1083" y="3303"/>
                  </a:lnTo>
                  <a:lnTo>
                    <a:pt x="1083" y="3303"/>
                  </a:lnTo>
                  <a:lnTo>
                    <a:pt x="1084" y="3305"/>
                  </a:lnTo>
                  <a:lnTo>
                    <a:pt x="1087" y="3308"/>
                  </a:lnTo>
                  <a:lnTo>
                    <a:pt x="1089" y="3309"/>
                  </a:lnTo>
                  <a:lnTo>
                    <a:pt x="1089" y="3312"/>
                  </a:lnTo>
                  <a:lnTo>
                    <a:pt x="1089" y="3314"/>
                  </a:lnTo>
                  <a:lnTo>
                    <a:pt x="1089" y="3315"/>
                  </a:lnTo>
                  <a:lnTo>
                    <a:pt x="1087" y="3317"/>
                  </a:lnTo>
                  <a:lnTo>
                    <a:pt x="1087" y="3318"/>
                  </a:lnTo>
                  <a:lnTo>
                    <a:pt x="1087" y="3320"/>
                  </a:lnTo>
                  <a:lnTo>
                    <a:pt x="1089" y="3322"/>
                  </a:lnTo>
                  <a:lnTo>
                    <a:pt x="1089" y="3322"/>
                  </a:lnTo>
                  <a:lnTo>
                    <a:pt x="1089" y="3323"/>
                  </a:lnTo>
                  <a:lnTo>
                    <a:pt x="1087" y="3325"/>
                  </a:lnTo>
                  <a:lnTo>
                    <a:pt x="1086" y="3325"/>
                  </a:lnTo>
                  <a:lnTo>
                    <a:pt x="1086" y="3325"/>
                  </a:lnTo>
                  <a:lnTo>
                    <a:pt x="1086" y="3326"/>
                  </a:lnTo>
                  <a:lnTo>
                    <a:pt x="1087" y="3328"/>
                  </a:lnTo>
                  <a:lnTo>
                    <a:pt x="1089" y="3328"/>
                  </a:lnTo>
                  <a:lnTo>
                    <a:pt x="1089" y="3329"/>
                  </a:lnTo>
                  <a:lnTo>
                    <a:pt x="1090" y="3329"/>
                  </a:lnTo>
                  <a:lnTo>
                    <a:pt x="1092" y="3329"/>
                  </a:lnTo>
                  <a:lnTo>
                    <a:pt x="1093" y="3329"/>
                  </a:lnTo>
                  <a:lnTo>
                    <a:pt x="1095" y="3329"/>
                  </a:lnTo>
                  <a:lnTo>
                    <a:pt x="1095" y="3334"/>
                  </a:lnTo>
                  <a:lnTo>
                    <a:pt x="1093" y="3337"/>
                  </a:lnTo>
                  <a:lnTo>
                    <a:pt x="1090" y="3340"/>
                  </a:lnTo>
                  <a:lnTo>
                    <a:pt x="1086" y="3343"/>
                  </a:lnTo>
                  <a:lnTo>
                    <a:pt x="1092" y="3346"/>
                  </a:lnTo>
                  <a:lnTo>
                    <a:pt x="1093" y="3346"/>
                  </a:lnTo>
                  <a:lnTo>
                    <a:pt x="1095" y="3345"/>
                  </a:lnTo>
                  <a:lnTo>
                    <a:pt x="1096" y="3343"/>
                  </a:lnTo>
                  <a:lnTo>
                    <a:pt x="1099" y="3343"/>
                  </a:lnTo>
                  <a:lnTo>
                    <a:pt x="1103" y="3343"/>
                  </a:lnTo>
                  <a:lnTo>
                    <a:pt x="1107" y="3345"/>
                  </a:lnTo>
                  <a:lnTo>
                    <a:pt x="1110" y="3346"/>
                  </a:lnTo>
                  <a:lnTo>
                    <a:pt x="1115" y="3345"/>
                  </a:lnTo>
                  <a:lnTo>
                    <a:pt x="1116" y="3345"/>
                  </a:lnTo>
                  <a:lnTo>
                    <a:pt x="1118" y="3346"/>
                  </a:lnTo>
                  <a:lnTo>
                    <a:pt x="1118" y="3348"/>
                  </a:lnTo>
                  <a:lnTo>
                    <a:pt x="1119" y="3349"/>
                  </a:lnTo>
                  <a:lnTo>
                    <a:pt x="1119" y="3351"/>
                  </a:lnTo>
                  <a:lnTo>
                    <a:pt x="1121" y="3352"/>
                  </a:lnTo>
                  <a:lnTo>
                    <a:pt x="1123" y="3352"/>
                  </a:lnTo>
                  <a:lnTo>
                    <a:pt x="1127" y="3354"/>
                  </a:lnTo>
                  <a:lnTo>
                    <a:pt x="1133" y="3352"/>
                  </a:lnTo>
                  <a:lnTo>
                    <a:pt x="1140" y="3349"/>
                  </a:lnTo>
                  <a:lnTo>
                    <a:pt x="1143" y="3348"/>
                  </a:lnTo>
                  <a:lnTo>
                    <a:pt x="1144" y="3348"/>
                  </a:lnTo>
                  <a:lnTo>
                    <a:pt x="1144" y="3348"/>
                  </a:lnTo>
                  <a:lnTo>
                    <a:pt x="1146" y="3349"/>
                  </a:lnTo>
                  <a:lnTo>
                    <a:pt x="1147" y="3349"/>
                  </a:lnTo>
                  <a:lnTo>
                    <a:pt x="1149" y="3348"/>
                  </a:lnTo>
                  <a:lnTo>
                    <a:pt x="1150" y="3348"/>
                  </a:lnTo>
                  <a:lnTo>
                    <a:pt x="1152" y="3348"/>
                  </a:lnTo>
                  <a:lnTo>
                    <a:pt x="1153" y="3349"/>
                  </a:lnTo>
                  <a:lnTo>
                    <a:pt x="1153" y="3351"/>
                  </a:lnTo>
                  <a:lnTo>
                    <a:pt x="1155" y="3362"/>
                  </a:lnTo>
                  <a:lnTo>
                    <a:pt x="1156" y="3366"/>
                  </a:lnTo>
                  <a:lnTo>
                    <a:pt x="1160" y="3368"/>
                  </a:lnTo>
                  <a:lnTo>
                    <a:pt x="1161" y="3368"/>
                  </a:lnTo>
                  <a:lnTo>
                    <a:pt x="1167" y="3368"/>
                  </a:lnTo>
                  <a:lnTo>
                    <a:pt x="1169" y="3368"/>
                  </a:lnTo>
                  <a:lnTo>
                    <a:pt x="1170" y="3368"/>
                  </a:lnTo>
                  <a:lnTo>
                    <a:pt x="1172" y="3368"/>
                  </a:lnTo>
                  <a:lnTo>
                    <a:pt x="1173" y="3369"/>
                  </a:lnTo>
                  <a:lnTo>
                    <a:pt x="1172" y="3372"/>
                  </a:lnTo>
                  <a:lnTo>
                    <a:pt x="1170" y="3372"/>
                  </a:lnTo>
                  <a:lnTo>
                    <a:pt x="1167" y="3374"/>
                  </a:lnTo>
                  <a:lnTo>
                    <a:pt x="1167" y="3375"/>
                  </a:lnTo>
                  <a:lnTo>
                    <a:pt x="1167" y="3379"/>
                  </a:lnTo>
                  <a:lnTo>
                    <a:pt x="1167" y="3380"/>
                  </a:lnTo>
                  <a:lnTo>
                    <a:pt x="1169" y="3380"/>
                  </a:lnTo>
                  <a:lnTo>
                    <a:pt x="1170" y="3380"/>
                  </a:lnTo>
                  <a:lnTo>
                    <a:pt x="1170" y="3382"/>
                  </a:lnTo>
                  <a:lnTo>
                    <a:pt x="1172" y="3383"/>
                  </a:lnTo>
                  <a:lnTo>
                    <a:pt x="1172" y="3385"/>
                  </a:lnTo>
                  <a:lnTo>
                    <a:pt x="1172" y="3386"/>
                  </a:lnTo>
                  <a:lnTo>
                    <a:pt x="1172" y="3388"/>
                  </a:lnTo>
                  <a:lnTo>
                    <a:pt x="1172" y="3389"/>
                  </a:lnTo>
                  <a:lnTo>
                    <a:pt x="1173" y="3391"/>
                  </a:lnTo>
                  <a:lnTo>
                    <a:pt x="1175" y="3392"/>
                  </a:lnTo>
                  <a:lnTo>
                    <a:pt x="1175" y="3394"/>
                  </a:lnTo>
                  <a:lnTo>
                    <a:pt x="1175" y="3395"/>
                  </a:lnTo>
                  <a:lnTo>
                    <a:pt x="1175" y="3397"/>
                  </a:lnTo>
                  <a:lnTo>
                    <a:pt x="1175" y="3397"/>
                  </a:lnTo>
                  <a:lnTo>
                    <a:pt x="1178" y="3399"/>
                  </a:lnTo>
                  <a:lnTo>
                    <a:pt x="1178" y="3400"/>
                  </a:lnTo>
                  <a:lnTo>
                    <a:pt x="1180" y="3400"/>
                  </a:lnTo>
                  <a:lnTo>
                    <a:pt x="1180" y="3405"/>
                  </a:lnTo>
                  <a:lnTo>
                    <a:pt x="1180" y="3406"/>
                  </a:lnTo>
                  <a:lnTo>
                    <a:pt x="1180" y="3409"/>
                  </a:lnTo>
                  <a:lnTo>
                    <a:pt x="1181" y="3412"/>
                  </a:lnTo>
                  <a:lnTo>
                    <a:pt x="1175" y="3414"/>
                  </a:lnTo>
                  <a:lnTo>
                    <a:pt x="1175" y="3416"/>
                  </a:lnTo>
                  <a:lnTo>
                    <a:pt x="1175" y="3417"/>
                  </a:lnTo>
                  <a:lnTo>
                    <a:pt x="1178" y="3431"/>
                  </a:lnTo>
                  <a:lnTo>
                    <a:pt x="1180" y="3434"/>
                  </a:lnTo>
                  <a:lnTo>
                    <a:pt x="1183" y="3436"/>
                  </a:lnTo>
                  <a:lnTo>
                    <a:pt x="1184" y="3436"/>
                  </a:lnTo>
                  <a:lnTo>
                    <a:pt x="1186" y="3436"/>
                  </a:lnTo>
                  <a:lnTo>
                    <a:pt x="1187" y="3437"/>
                  </a:lnTo>
                  <a:lnTo>
                    <a:pt x="1187" y="3439"/>
                  </a:lnTo>
                  <a:lnTo>
                    <a:pt x="1189" y="3442"/>
                  </a:lnTo>
                  <a:lnTo>
                    <a:pt x="1189" y="3445"/>
                  </a:lnTo>
                  <a:lnTo>
                    <a:pt x="1189" y="3446"/>
                  </a:lnTo>
                  <a:lnTo>
                    <a:pt x="1190" y="3448"/>
                  </a:lnTo>
                  <a:lnTo>
                    <a:pt x="1192" y="3449"/>
                  </a:lnTo>
                  <a:lnTo>
                    <a:pt x="1193" y="3449"/>
                  </a:lnTo>
                  <a:lnTo>
                    <a:pt x="1195" y="3449"/>
                  </a:lnTo>
                  <a:lnTo>
                    <a:pt x="1197" y="3449"/>
                  </a:lnTo>
                  <a:lnTo>
                    <a:pt x="1198" y="3449"/>
                  </a:lnTo>
                  <a:lnTo>
                    <a:pt x="1198" y="3449"/>
                  </a:lnTo>
                  <a:lnTo>
                    <a:pt x="1200" y="3448"/>
                  </a:lnTo>
                  <a:lnTo>
                    <a:pt x="1200" y="3446"/>
                  </a:lnTo>
                  <a:lnTo>
                    <a:pt x="1201" y="3445"/>
                  </a:lnTo>
                  <a:lnTo>
                    <a:pt x="1201" y="3445"/>
                  </a:lnTo>
                  <a:lnTo>
                    <a:pt x="1203" y="3445"/>
                  </a:lnTo>
                  <a:lnTo>
                    <a:pt x="1204" y="3445"/>
                  </a:lnTo>
                  <a:lnTo>
                    <a:pt x="1204" y="3443"/>
                  </a:lnTo>
                  <a:lnTo>
                    <a:pt x="1206" y="3442"/>
                  </a:lnTo>
                  <a:lnTo>
                    <a:pt x="1207" y="3440"/>
                  </a:lnTo>
                  <a:lnTo>
                    <a:pt x="1209" y="3440"/>
                  </a:lnTo>
                  <a:lnTo>
                    <a:pt x="1215" y="3440"/>
                  </a:lnTo>
                  <a:lnTo>
                    <a:pt x="1229" y="3440"/>
                  </a:lnTo>
                  <a:lnTo>
                    <a:pt x="1230" y="3442"/>
                  </a:lnTo>
                  <a:lnTo>
                    <a:pt x="1232" y="3443"/>
                  </a:lnTo>
                  <a:lnTo>
                    <a:pt x="1233" y="3445"/>
                  </a:lnTo>
                  <a:lnTo>
                    <a:pt x="1241" y="3457"/>
                  </a:lnTo>
                  <a:lnTo>
                    <a:pt x="1243" y="3457"/>
                  </a:lnTo>
                  <a:lnTo>
                    <a:pt x="1244" y="3457"/>
                  </a:lnTo>
                  <a:lnTo>
                    <a:pt x="1246" y="3457"/>
                  </a:lnTo>
                  <a:lnTo>
                    <a:pt x="1247" y="3456"/>
                  </a:lnTo>
                  <a:lnTo>
                    <a:pt x="1249" y="3454"/>
                  </a:lnTo>
                  <a:lnTo>
                    <a:pt x="1250" y="3454"/>
                  </a:lnTo>
                  <a:lnTo>
                    <a:pt x="1250" y="3454"/>
                  </a:lnTo>
                  <a:lnTo>
                    <a:pt x="1252" y="3454"/>
                  </a:lnTo>
                  <a:lnTo>
                    <a:pt x="1253" y="3456"/>
                  </a:lnTo>
                  <a:lnTo>
                    <a:pt x="1255" y="3456"/>
                  </a:lnTo>
                  <a:lnTo>
                    <a:pt x="1257" y="3457"/>
                  </a:lnTo>
                  <a:lnTo>
                    <a:pt x="1260" y="3457"/>
                  </a:lnTo>
                  <a:lnTo>
                    <a:pt x="1260" y="3457"/>
                  </a:lnTo>
                  <a:lnTo>
                    <a:pt x="1261" y="3459"/>
                  </a:lnTo>
                  <a:lnTo>
                    <a:pt x="1261" y="3459"/>
                  </a:lnTo>
                  <a:lnTo>
                    <a:pt x="1261" y="3459"/>
                  </a:lnTo>
                  <a:lnTo>
                    <a:pt x="1261" y="3462"/>
                  </a:lnTo>
                  <a:lnTo>
                    <a:pt x="1260" y="3463"/>
                  </a:lnTo>
                  <a:lnTo>
                    <a:pt x="1261" y="3465"/>
                  </a:lnTo>
                  <a:lnTo>
                    <a:pt x="1261" y="3465"/>
                  </a:lnTo>
                  <a:lnTo>
                    <a:pt x="1263" y="3465"/>
                  </a:lnTo>
                  <a:lnTo>
                    <a:pt x="1264" y="3466"/>
                  </a:lnTo>
                  <a:lnTo>
                    <a:pt x="1267" y="3466"/>
                  </a:lnTo>
                  <a:lnTo>
                    <a:pt x="1267" y="3465"/>
                  </a:lnTo>
                  <a:lnTo>
                    <a:pt x="1269" y="3463"/>
                  </a:lnTo>
                  <a:lnTo>
                    <a:pt x="1270" y="3462"/>
                  </a:lnTo>
                  <a:lnTo>
                    <a:pt x="1270" y="3460"/>
                  </a:lnTo>
                  <a:lnTo>
                    <a:pt x="1272" y="3459"/>
                  </a:lnTo>
                  <a:lnTo>
                    <a:pt x="1284" y="3452"/>
                  </a:lnTo>
                  <a:lnTo>
                    <a:pt x="1289" y="3451"/>
                  </a:lnTo>
                  <a:lnTo>
                    <a:pt x="1294" y="3449"/>
                  </a:lnTo>
                  <a:lnTo>
                    <a:pt x="1300" y="3451"/>
                  </a:lnTo>
                  <a:lnTo>
                    <a:pt x="1310" y="3448"/>
                  </a:lnTo>
                  <a:lnTo>
                    <a:pt x="1312" y="3446"/>
                  </a:lnTo>
                  <a:lnTo>
                    <a:pt x="1317" y="3442"/>
                  </a:lnTo>
                  <a:lnTo>
                    <a:pt x="1318" y="3440"/>
                  </a:lnTo>
                  <a:lnTo>
                    <a:pt x="1326" y="3439"/>
                  </a:lnTo>
                  <a:lnTo>
                    <a:pt x="1327" y="3440"/>
                  </a:lnTo>
                  <a:lnTo>
                    <a:pt x="1329" y="3443"/>
                  </a:lnTo>
                  <a:lnTo>
                    <a:pt x="1331" y="3446"/>
                  </a:lnTo>
                  <a:lnTo>
                    <a:pt x="1331" y="3449"/>
                  </a:lnTo>
                  <a:lnTo>
                    <a:pt x="1338" y="3454"/>
                  </a:lnTo>
                  <a:lnTo>
                    <a:pt x="1340" y="3456"/>
                  </a:lnTo>
                  <a:lnTo>
                    <a:pt x="1340" y="3460"/>
                  </a:lnTo>
                  <a:lnTo>
                    <a:pt x="1340" y="3463"/>
                  </a:lnTo>
                  <a:lnTo>
                    <a:pt x="1340" y="3465"/>
                  </a:lnTo>
                  <a:lnTo>
                    <a:pt x="1340" y="3466"/>
                  </a:lnTo>
                  <a:lnTo>
                    <a:pt x="1340" y="3466"/>
                  </a:lnTo>
                  <a:lnTo>
                    <a:pt x="1343" y="3469"/>
                  </a:lnTo>
                  <a:lnTo>
                    <a:pt x="1349" y="3480"/>
                  </a:lnTo>
                  <a:lnTo>
                    <a:pt x="1352" y="3482"/>
                  </a:lnTo>
                  <a:lnTo>
                    <a:pt x="1358" y="3485"/>
                  </a:lnTo>
                  <a:lnTo>
                    <a:pt x="1361" y="3486"/>
                  </a:lnTo>
                  <a:lnTo>
                    <a:pt x="1363" y="3489"/>
                  </a:lnTo>
                  <a:lnTo>
                    <a:pt x="1366" y="3492"/>
                  </a:lnTo>
                  <a:lnTo>
                    <a:pt x="1367" y="3496"/>
                  </a:lnTo>
                  <a:lnTo>
                    <a:pt x="1367" y="3497"/>
                  </a:lnTo>
                  <a:lnTo>
                    <a:pt x="1369" y="3499"/>
                  </a:lnTo>
                  <a:lnTo>
                    <a:pt x="1369" y="3500"/>
                  </a:lnTo>
                  <a:lnTo>
                    <a:pt x="1369" y="3502"/>
                  </a:lnTo>
                  <a:lnTo>
                    <a:pt x="1372" y="3500"/>
                  </a:lnTo>
                  <a:lnTo>
                    <a:pt x="1375" y="3497"/>
                  </a:lnTo>
                  <a:lnTo>
                    <a:pt x="1375" y="3497"/>
                  </a:lnTo>
                  <a:lnTo>
                    <a:pt x="1377" y="3497"/>
                  </a:lnTo>
                  <a:lnTo>
                    <a:pt x="1378" y="3499"/>
                  </a:lnTo>
                  <a:lnTo>
                    <a:pt x="1378" y="3499"/>
                  </a:lnTo>
                  <a:lnTo>
                    <a:pt x="1381" y="3496"/>
                  </a:lnTo>
                  <a:lnTo>
                    <a:pt x="1383" y="3491"/>
                  </a:lnTo>
                  <a:lnTo>
                    <a:pt x="1381" y="3486"/>
                  </a:lnTo>
                  <a:lnTo>
                    <a:pt x="1383" y="3483"/>
                  </a:lnTo>
                  <a:lnTo>
                    <a:pt x="1384" y="3482"/>
                  </a:lnTo>
                  <a:lnTo>
                    <a:pt x="1389" y="3483"/>
                  </a:lnTo>
                  <a:lnTo>
                    <a:pt x="1391" y="3482"/>
                  </a:lnTo>
                  <a:lnTo>
                    <a:pt x="1392" y="3482"/>
                  </a:lnTo>
                  <a:lnTo>
                    <a:pt x="1394" y="3483"/>
                  </a:lnTo>
                  <a:lnTo>
                    <a:pt x="1395" y="3491"/>
                  </a:lnTo>
                  <a:lnTo>
                    <a:pt x="1397" y="3491"/>
                  </a:lnTo>
                  <a:lnTo>
                    <a:pt x="1398" y="3492"/>
                  </a:lnTo>
                  <a:lnTo>
                    <a:pt x="1401" y="3492"/>
                  </a:lnTo>
                  <a:lnTo>
                    <a:pt x="1403" y="3492"/>
                  </a:lnTo>
                  <a:lnTo>
                    <a:pt x="1404" y="3494"/>
                  </a:lnTo>
                  <a:lnTo>
                    <a:pt x="1406" y="3496"/>
                  </a:lnTo>
                  <a:lnTo>
                    <a:pt x="1412" y="3494"/>
                  </a:lnTo>
                  <a:lnTo>
                    <a:pt x="1415" y="3496"/>
                  </a:lnTo>
                  <a:lnTo>
                    <a:pt x="1417" y="3496"/>
                  </a:lnTo>
                  <a:lnTo>
                    <a:pt x="1417" y="3494"/>
                  </a:lnTo>
                  <a:lnTo>
                    <a:pt x="1418" y="3494"/>
                  </a:lnTo>
                  <a:lnTo>
                    <a:pt x="1420" y="3494"/>
                  </a:lnTo>
                  <a:lnTo>
                    <a:pt x="1420" y="3494"/>
                  </a:lnTo>
                  <a:lnTo>
                    <a:pt x="1420" y="3496"/>
                  </a:lnTo>
                  <a:lnTo>
                    <a:pt x="1420" y="3499"/>
                  </a:lnTo>
                  <a:lnTo>
                    <a:pt x="1420" y="3499"/>
                  </a:lnTo>
                  <a:lnTo>
                    <a:pt x="1421" y="3499"/>
                  </a:lnTo>
                  <a:lnTo>
                    <a:pt x="1426" y="3503"/>
                  </a:lnTo>
                  <a:lnTo>
                    <a:pt x="1434" y="3505"/>
                  </a:lnTo>
                  <a:lnTo>
                    <a:pt x="1435" y="3508"/>
                  </a:lnTo>
                  <a:lnTo>
                    <a:pt x="1437" y="3509"/>
                  </a:lnTo>
                  <a:lnTo>
                    <a:pt x="1440" y="3513"/>
                  </a:lnTo>
                  <a:lnTo>
                    <a:pt x="1446" y="3511"/>
                  </a:lnTo>
                  <a:lnTo>
                    <a:pt x="1448" y="3511"/>
                  </a:lnTo>
                  <a:lnTo>
                    <a:pt x="1449" y="3509"/>
                  </a:lnTo>
                  <a:lnTo>
                    <a:pt x="1452" y="3506"/>
                  </a:lnTo>
                  <a:lnTo>
                    <a:pt x="1452" y="3505"/>
                  </a:lnTo>
                  <a:lnTo>
                    <a:pt x="1455" y="3505"/>
                  </a:lnTo>
                  <a:lnTo>
                    <a:pt x="1458" y="3506"/>
                  </a:lnTo>
                  <a:lnTo>
                    <a:pt x="1458" y="3506"/>
                  </a:lnTo>
                  <a:lnTo>
                    <a:pt x="1461" y="3517"/>
                  </a:lnTo>
                  <a:lnTo>
                    <a:pt x="1463" y="3519"/>
                  </a:lnTo>
                  <a:lnTo>
                    <a:pt x="1466" y="3520"/>
                  </a:lnTo>
                  <a:lnTo>
                    <a:pt x="1469" y="3522"/>
                  </a:lnTo>
                  <a:lnTo>
                    <a:pt x="1472" y="3520"/>
                  </a:lnTo>
                  <a:lnTo>
                    <a:pt x="1474" y="3519"/>
                  </a:lnTo>
                  <a:lnTo>
                    <a:pt x="1477" y="3519"/>
                  </a:lnTo>
                  <a:lnTo>
                    <a:pt x="1480" y="3520"/>
                  </a:lnTo>
                  <a:lnTo>
                    <a:pt x="1481" y="3520"/>
                  </a:lnTo>
                  <a:lnTo>
                    <a:pt x="1486" y="3522"/>
                  </a:lnTo>
                  <a:lnTo>
                    <a:pt x="1486" y="3522"/>
                  </a:lnTo>
                  <a:lnTo>
                    <a:pt x="1488" y="3525"/>
                  </a:lnTo>
                  <a:lnTo>
                    <a:pt x="1489" y="3529"/>
                  </a:lnTo>
                  <a:lnTo>
                    <a:pt x="1491" y="3534"/>
                  </a:lnTo>
                  <a:lnTo>
                    <a:pt x="1492" y="3536"/>
                  </a:lnTo>
                  <a:lnTo>
                    <a:pt x="1495" y="3536"/>
                  </a:lnTo>
                  <a:lnTo>
                    <a:pt x="1498" y="3537"/>
                  </a:lnTo>
                  <a:lnTo>
                    <a:pt x="1503" y="3542"/>
                  </a:lnTo>
                  <a:lnTo>
                    <a:pt x="1505" y="3542"/>
                  </a:lnTo>
                  <a:lnTo>
                    <a:pt x="1506" y="3542"/>
                  </a:lnTo>
                  <a:lnTo>
                    <a:pt x="1508" y="3542"/>
                  </a:lnTo>
                  <a:lnTo>
                    <a:pt x="1511" y="3540"/>
                  </a:lnTo>
                  <a:lnTo>
                    <a:pt x="1512" y="3540"/>
                  </a:lnTo>
                  <a:lnTo>
                    <a:pt x="1517" y="3536"/>
                  </a:lnTo>
                  <a:lnTo>
                    <a:pt x="1518" y="3534"/>
                  </a:lnTo>
                  <a:lnTo>
                    <a:pt x="1520" y="3534"/>
                  </a:lnTo>
                  <a:lnTo>
                    <a:pt x="1528" y="3537"/>
                  </a:lnTo>
                  <a:lnTo>
                    <a:pt x="1528" y="3537"/>
                  </a:lnTo>
                  <a:lnTo>
                    <a:pt x="1528" y="3537"/>
                  </a:lnTo>
                  <a:lnTo>
                    <a:pt x="1528" y="3540"/>
                  </a:lnTo>
                  <a:lnTo>
                    <a:pt x="1526" y="3542"/>
                  </a:lnTo>
                  <a:lnTo>
                    <a:pt x="1525" y="3543"/>
                  </a:lnTo>
                  <a:lnTo>
                    <a:pt x="1523" y="3545"/>
                  </a:lnTo>
                  <a:lnTo>
                    <a:pt x="1521" y="3548"/>
                  </a:lnTo>
                  <a:lnTo>
                    <a:pt x="1521" y="3553"/>
                  </a:lnTo>
                  <a:lnTo>
                    <a:pt x="1523" y="3556"/>
                  </a:lnTo>
                  <a:lnTo>
                    <a:pt x="1526" y="3560"/>
                  </a:lnTo>
                  <a:lnTo>
                    <a:pt x="1529" y="3563"/>
                  </a:lnTo>
                  <a:lnTo>
                    <a:pt x="1531" y="3566"/>
                  </a:lnTo>
                  <a:lnTo>
                    <a:pt x="1531" y="3568"/>
                  </a:lnTo>
                  <a:lnTo>
                    <a:pt x="1529" y="3571"/>
                  </a:lnTo>
                  <a:lnTo>
                    <a:pt x="1529" y="3576"/>
                  </a:lnTo>
                  <a:lnTo>
                    <a:pt x="1529" y="3577"/>
                  </a:lnTo>
                  <a:lnTo>
                    <a:pt x="1526" y="3577"/>
                  </a:lnTo>
                  <a:lnTo>
                    <a:pt x="1526" y="3579"/>
                  </a:lnTo>
                  <a:lnTo>
                    <a:pt x="1523" y="3583"/>
                  </a:lnTo>
                  <a:lnTo>
                    <a:pt x="1521" y="3585"/>
                  </a:lnTo>
                  <a:lnTo>
                    <a:pt x="1517" y="3588"/>
                  </a:lnTo>
                  <a:lnTo>
                    <a:pt x="1515" y="3590"/>
                  </a:lnTo>
                  <a:lnTo>
                    <a:pt x="1514" y="3593"/>
                  </a:lnTo>
                  <a:lnTo>
                    <a:pt x="1514" y="3594"/>
                  </a:lnTo>
                  <a:lnTo>
                    <a:pt x="1512" y="3597"/>
                  </a:lnTo>
                  <a:lnTo>
                    <a:pt x="1512" y="3599"/>
                  </a:lnTo>
                  <a:lnTo>
                    <a:pt x="1512" y="3599"/>
                  </a:lnTo>
                  <a:lnTo>
                    <a:pt x="1511" y="3599"/>
                  </a:lnTo>
                  <a:lnTo>
                    <a:pt x="1508" y="3599"/>
                  </a:lnTo>
                  <a:lnTo>
                    <a:pt x="1506" y="3599"/>
                  </a:lnTo>
                  <a:lnTo>
                    <a:pt x="1500" y="3600"/>
                  </a:lnTo>
                  <a:lnTo>
                    <a:pt x="1497" y="3600"/>
                  </a:lnTo>
                  <a:lnTo>
                    <a:pt x="1495" y="3602"/>
                  </a:lnTo>
                  <a:lnTo>
                    <a:pt x="1494" y="3606"/>
                  </a:lnTo>
                  <a:lnTo>
                    <a:pt x="1495" y="3608"/>
                  </a:lnTo>
                  <a:lnTo>
                    <a:pt x="1497" y="3610"/>
                  </a:lnTo>
                  <a:lnTo>
                    <a:pt x="1498" y="3611"/>
                  </a:lnTo>
                  <a:lnTo>
                    <a:pt x="1500" y="3613"/>
                  </a:lnTo>
                  <a:lnTo>
                    <a:pt x="1500" y="3614"/>
                  </a:lnTo>
                  <a:lnTo>
                    <a:pt x="1500" y="3616"/>
                  </a:lnTo>
                  <a:lnTo>
                    <a:pt x="1503" y="3616"/>
                  </a:lnTo>
                  <a:lnTo>
                    <a:pt x="1508" y="3617"/>
                  </a:lnTo>
                  <a:lnTo>
                    <a:pt x="1511" y="3617"/>
                  </a:lnTo>
                  <a:lnTo>
                    <a:pt x="1512" y="3617"/>
                  </a:lnTo>
                  <a:lnTo>
                    <a:pt x="1512" y="3619"/>
                  </a:lnTo>
                  <a:lnTo>
                    <a:pt x="1514" y="3620"/>
                  </a:lnTo>
                  <a:lnTo>
                    <a:pt x="1515" y="3620"/>
                  </a:lnTo>
                  <a:lnTo>
                    <a:pt x="1517" y="3620"/>
                  </a:lnTo>
                  <a:lnTo>
                    <a:pt x="1518" y="3617"/>
                  </a:lnTo>
                  <a:lnTo>
                    <a:pt x="1520" y="3616"/>
                  </a:lnTo>
                  <a:lnTo>
                    <a:pt x="1521" y="3617"/>
                  </a:lnTo>
                  <a:lnTo>
                    <a:pt x="1523" y="3619"/>
                  </a:lnTo>
                  <a:lnTo>
                    <a:pt x="1523" y="3620"/>
                  </a:lnTo>
                  <a:lnTo>
                    <a:pt x="1521" y="3623"/>
                  </a:lnTo>
                  <a:lnTo>
                    <a:pt x="1520" y="3625"/>
                  </a:lnTo>
                  <a:lnTo>
                    <a:pt x="1517" y="3628"/>
                  </a:lnTo>
                  <a:lnTo>
                    <a:pt x="1514" y="3628"/>
                  </a:lnTo>
                  <a:lnTo>
                    <a:pt x="1506" y="3625"/>
                  </a:lnTo>
                  <a:lnTo>
                    <a:pt x="1505" y="3625"/>
                  </a:lnTo>
                  <a:lnTo>
                    <a:pt x="1501" y="3625"/>
                  </a:lnTo>
                  <a:lnTo>
                    <a:pt x="1500" y="3626"/>
                  </a:lnTo>
                  <a:lnTo>
                    <a:pt x="1500" y="3628"/>
                  </a:lnTo>
                  <a:lnTo>
                    <a:pt x="1500" y="3630"/>
                  </a:lnTo>
                  <a:lnTo>
                    <a:pt x="1498" y="3631"/>
                  </a:lnTo>
                  <a:lnTo>
                    <a:pt x="1497" y="3631"/>
                  </a:lnTo>
                  <a:lnTo>
                    <a:pt x="1497" y="3633"/>
                  </a:lnTo>
                  <a:lnTo>
                    <a:pt x="1492" y="3648"/>
                  </a:lnTo>
                  <a:lnTo>
                    <a:pt x="1491" y="3650"/>
                  </a:lnTo>
                  <a:lnTo>
                    <a:pt x="1494" y="3650"/>
                  </a:lnTo>
                  <a:lnTo>
                    <a:pt x="1495" y="3650"/>
                  </a:lnTo>
                  <a:lnTo>
                    <a:pt x="1505" y="3651"/>
                  </a:lnTo>
                  <a:lnTo>
                    <a:pt x="1506" y="3651"/>
                  </a:lnTo>
                  <a:lnTo>
                    <a:pt x="1508" y="3654"/>
                  </a:lnTo>
                  <a:lnTo>
                    <a:pt x="1508" y="3657"/>
                  </a:lnTo>
                  <a:lnTo>
                    <a:pt x="1509" y="3657"/>
                  </a:lnTo>
                  <a:lnTo>
                    <a:pt x="1509" y="3659"/>
                  </a:lnTo>
                  <a:lnTo>
                    <a:pt x="1509" y="3659"/>
                  </a:lnTo>
                  <a:lnTo>
                    <a:pt x="1509" y="3659"/>
                  </a:lnTo>
                  <a:lnTo>
                    <a:pt x="1509" y="3660"/>
                  </a:lnTo>
                  <a:lnTo>
                    <a:pt x="1508" y="3660"/>
                  </a:lnTo>
                  <a:lnTo>
                    <a:pt x="1508" y="3660"/>
                  </a:lnTo>
                  <a:lnTo>
                    <a:pt x="1506" y="3660"/>
                  </a:lnTo>
                  <a:lnTo>
                    <a:pt x="1508" y="3662"/>
                  </a:lnTo>
                  <a:lnTo>
                    <a:pt x="1508" y="3663"/>
                  </a:lnTo>
                  <a:lnTo>
                    <a:pt x="1509" y="3663"/>
                  </a:lnTo>
                  <a:lnTo>
                    <a:pt x="1511" y="3668"/>
                  </a:lnTo>
                  <a:lnTo>
                    <a:pt x="1512" y="3671"/>
                  </a:lnTo>
                  <a:lnTo>
                    <a:pt x="1512" y="3673"/>
                  </a:lnTo>
                  <a:lnTo>
                    <a:pt x="1512" y="3674"/>
                  </a:lnTo>
                  <a:lnTo>
                    <a:pt x="1511" y="3676"/>
                  </a:lnTo>
                  <a:lnTo>
                    <a:pt x="1511" y="3677"/>
                  </a:lnTo>
                  <a:lnTo>
                    <a:pt x="1505" y="3682"/>
                  </a:lnTo>
                  <a:lnTo>
                    <a:pt x="1511" y="3685"/>
                  </a:lnTo>
                  <a:lnTo>
                    <a:pt x="1512" y="3685"/>
                  </a:lnTo>
                  <a:lnTo>
                    <a:pt x="1515" y="3683"/>
                  </a:lnTo>
                  <a:lnTo>
                    <a:pt x="1517" y="3683"/>
                  </a:lnTo>
                  <a:lnTo>
                    <a:pt x="1518" y="3685"/>
                  </a:lnTo>
                  <a:lnTo>
                    <a:pt x="1518" y="3688"/>
                  </a:lnTo>
                  <a:lnTo>
                    <a:pt x="1517" y="3690"/>
                  </a:lnTo>
                  <a:lnTo>
                    <a:pt x="1515" y="3691"/>
                  </a:lnTo>
                  <a:lnTo>
                    <a:pt x="1512" y="3694"/>
                  </a:lnTo>
                  <a:lnTo>
                    <a:pt x="1511" y="3696"/>
                  </a:lnTo>
                  <a:lnTo>
                    <a:pt x="1508" y="3702"/>
                  </a:lnTo>
                  <a:lnTo>
                    <a:pt x="1506" y="3705"/>
                  </a:lnTo>
                  <a:lnTo>
                    <a:pt x="1506" y="3707"/>
                  </a:lnTo>
                  <a:lnTo>
                    <a:pt x="1508" y="3711"/>
                  </a:lnTo>
                  <a:lnTo>
                    <a:pt x="1508" y="3711"/>
                  </a:lnTo>
                  <a:lnTo>
                    <a:pt x="1506" y="3711"/>
                  </a:lnTo>
                  <a:lnTo>
                    <a:pt x="1506" y="3711"/>
                  </a:lnTo>
                  <a:lnTo>
                    <a:pt x="1501" y="3713"/>
                  </a:lnTo>
                  <a:lnTo>
                    <a:pt x="1501" y="3713"/>
                  </a:lnTo>
                  <a:lnTo>
                    <a:pt x="1501" y="3714"/>
                  </a:lnTo>
                  <a:lnTo>
                    <a:pt x="1501" y="3714"/>
                  </a:lnTo>
                  <a:lnTo>
                    <a:pt x="1501" y="3716"/>
                  </a:lnTo>
                  <a:lnTo>
                    <a:pt x="1501" y="3716"/>
                  </a:lnTo>
                  <a:lnTo>
                    <a:pt x="1503" y="3719"/>
                  </a:lnTo>
                  <a:lnTo>
                    <a:pt x="1503" y="3720"/>
                  </a:lnTo>
                  <a:lnTo>
                    <a:pt x="1503" y="3722"/>
                  </a:lnTo>
                  <a:lnTo>
                    <a:pt x="1503" y="3722"/>
                  </a:lnTo>
                  <a:lnTo>
                    <a:pt x="1501" y="3725"/>
                  </a:lnTo>
                  <a:lnTo>
                    <a:pt x="1501" y="3725"/>
                  </a:lnTo>
                  <a:lnTo>
                    <a:pt x="1501" y="3727"/>
                  </a:lnTo>
                  <a:lnTo>
                    <a:pt x="1503" y="3728"/>
                  </a:lnTo>
                  <a:lnTo>
                    <a:pt x="1503" y="3728"/>
                  </a:lnTo>
                  <a:lnTo>
                    <a:pt x="1501" y="3731"/>
                  </a:lnTo>
                  <a:lnTo>
                    <a:pt x="1500" y="3734"/>
                  </a:lnTo>
                  <a:lnTo>
                    <a:pt x="1498" y="3736"/>
                  </a:lnTo>
                  <a:lnTo>
                    <a:pt x="1497" y="3737"/>
                  </a:lnTo>
                  <a:lnTo>
                    <a:pt x="1489" y="3734"/>
                  </a:lnTo>
                  <a:lnTo>
                    <a:pt x="1486" y="3734"/>
                  </a:lnTo>
                  <a:lnTo>
                    <a:pt x="1481" y="3736"/>
                  </a:lnTo>
                  <a:lnTo>
                    <a:pt x="1480" y="3734"/>
                  </a:lnTo>
                  <a:lnTo>
                    <a:pt x="1478" y="3734"/>
                  </a:lnTo>
                  <a:lnTo>
                    <a:pt x="1475" y="3736"/>
                  </a:lnTo>
                  <a:lnTo>
                    <a:pt x="1474" y="3736"/>
                  </a:lnTo>
                  <a:lnTo>
                    <a:pt x="1472" y="3734"/>
                  </a:lnTo>
                  <a:lnTo>
                    <a:pt x="1469" y="3733"/>
                  </a:lnTo>
                  <a:lnTo>
                    <a:pt x="1468" y="3733"/>
                  </a:lnTo>
                  <a:lnTo>
                    <a:pt x="1457" y="3734"/>
                  </a:lnTo>
                  <a:lnTo>
                    <a:pt x="1454" y="3734"/>
                  </a:lnTo>
                  <a:lnTo>
                    <a:pt x="1452" y="3734"/>
                  </a:lnTo>
                  <a:lnTo>
                    <a:pt x="1451" y="3734"/>
                  </a:lnTo>
                  <a:lnTo>
                    <a:pt x="1448" y="3731"/>
                  </a:lnTo>
                  <a:lnTo>
                    <a:pt x="1448" y="3731"/>
                  </a:lnTo>
                  <a:lnTo>
                    <a:pt x="1435" y="3731"/>
                  </a:lnTo>
                  <a:lnTo>
                    <a:pt x="1432" y="3733"/>
                  </a:lnTo>
                  <a:lnTo>
                    <a:pt x="1429" y="3736"/>
                  </a:lnTo>
                  <a:lnTo>
                    <a:pt x="1428" y="3740"/>
                  </a:lnTo>
                  <a:lnTo>
                    <a:pt x="1426" y="3745"/>
                  </a:lnTo>
                  <a:lnTo>
                    <a:pt x="1424" y="3750"/>
                  </a:lnTo>
                  <a:lnTo>
                    <a:pt x="1424" y="3751"/>
                  </a:lnTo>
                  <a:lnTo>
                    <a:pt x="1423" y="3751"/>
                  </a:lnTo>
                  <a:lnTo>
                    <a:pt x="1420" y="3751"/>
                  </a:lnTo>
                  <a:lnTo>
                    <a:pt x="1418" y="3751"/>
                  </a:lnTo>
                  <a:lnTo>
                    <a:pt x="1418" y="3751"/>
                  </a:lnTo>
                  <a:lnTo>
                    <a:pt x="1415" y="3754"/>
                  </a:lnTo>
                  <a:lnTo>
                    <a:pt x="1414" y="3756"/>
                  </a:lnTo>
                  <a:lnTo>
                    <a:pt x="1412" y="3757"/>
                  </a:lnTo>
                  <a:lnTo>
                    <a:pt x="1395" y="3759"/>
                  </a:lnTo>
                  <a:lnTo>
                    <a:pt x="1394" y="3760"/>
                  </a:lnTo>
                  <a:lnTo>
                    <a:pt x="1392" y="3764"/>
                  </a:lnTo>
                  <a:lnTo>
                    <a:pt x="1391" y="3768"/>
                  </a:lnTo>
                  <a:lnTo>
                    <a:pt x="1389" y="3771"/>
                  </a:lnTo>
                  <a:lnTo>
                    <a:pt x="1389" y="3779"/>
                  </a:lnTo>
                  <a:lnTo>
                    <a:pt x="1389" y="3782"/>
                  </a:lnTo>
                  <a:lnTo>
                    <a:pt x="1387" y="3787"/>
                  </a:lnTo>
                  <a:lnTo>
                    <a:pt x="1384" y="3790"/>
                  </a:lnTo>
                  <a:lnTo>
                    <a:pt x="1384" y="3791"/>
                  </a:lnTo>
                  <a:lnTo>
                    <a:pt x="1384" y="3793"/>
                  </a:lnTo>
                  <a:lnTo>
                    <a:pt x="1384" y="3794"/>
                  </a:lnTo>
                  <a:lnTo>
                    <a:pt x="1386" y="3794"/>
                  </a:lnTo>
                  <a:lnTo>
                    <a:pt x="1389" y="3794"/>
                  </a:lnTo>
                  <a:lnTo>
                    <a:pt x="1391" y="3794"/>
                  </a:lnTo>
                  <a:lnTo>
                    <a:pt x="1392" y="3794"/>
                  </a:lnTo>
                  <a:lnTo>
                    <a:pt x="1392" y="3796"/>
                  </a:lnTo>
                  <a:lnTo>
                    <a:pt x="1392" y="3797"/>
                  </a:lnTo>
                  <a:lnTo>
                    <a:pt x="1391" y="3799"/>
                  </a:lnTo>
                  <a:lnTo>
                    <a:pt x="1389" y="3800"/>
                  </a:lnTo>
                  <a:lnTo>
                    <a:pt x="1387" y="3800"/>
                  </a:lnTo>
                  <a:lnTo>
                    <a:pt x="1386" y="3802"/>
                  </a:lnTo>
                  <a:lnTo>
                    <a:pt x="1384" y="3805"/>
                  </a:lnTo>
                  <a:lnTo>
                    <a:pt x="1384" y="3808"/>
                  </a:lnTo>
                  <a:lnTo>
                    <a:pt x="1384" y="3811"/>
                  </a:lnTo>
                  <a:lnTo>
                    <a:pt x="1386" y="3814"/>
                  </a:lnTo>
                  <a:lnTo>
                    <a:pt x="1386" y="3814"/>
                  </a:lnTo>
                  <a:lnTo>
                    <a:pt x="1389" y="3813"/>
                  </a:lnTo>
                  <a:lnTo>
                    <a:pt x="1401" y="3811"/>
                  </a:lnTo>
                  <a:lnTo>
                    <a:pt x="1403" y="3810"/>
                  </a:lnTo>
                  <a:lnTo>
                    <a:pt x="1404" y="3810"/>
                  </a:lnTo>
                  <a:lnTo>
                    <a:pt x="1404" y="3808"/>
                  </a:lnTo>
                  <a:lnTo>
                    <a:pt x="1404" y="3807"/>
                  </a:lnTo>
                  <a:lnTo>
                    <a:pt x="1406" y="3807"/>
                  </a:lnTo>
                  <a:lnTo>
                    <a:pt x="1406" y="3807"/>
                  </a:lnTo>
                  <a:lnTo>
                    <a:pt x="1408" y="3805"/>
                  </a:lnTo>
                  <a:lnTo>
                    <a:pt x="1409" y="3802"/>
                  </a:lnTo>
                  <a:lnTo>
                    <a:pt x="1411" y="3800"/>
                  </a:lnTo>
                  <a:lnTo>
                    <a:pt x="1414" y="3799"/>
                  </a:lnTo>
                  <a:lnTo>
                    <a:pt x="1426" y="3797"/>
                  </a:lnTo>
                  <a:lnTo>
                    <a:pt x="1428" y="3797"/>
                  </a:lnTo>
                  <a:lnTo>
                    <a:pt x="1428" y="3797"/>
                  </a:lnTo>
                  <a:lnTo>
                    <a:pt x="1429" y="3797"/>
                  </a:lnTo>
                  <a:lnTo>
                    <a:pt x="1429" y="3794"/>
                  </a:lnTo>
                  <a:lnTo>
                    <a:pt x="1431" y="3794"/>
                  </a:lnTo>
                  <a:lnTo>
                    <a:pt x="1431" y="3794"/>
                  </a:lnTo>
                  <a:lnTo>
                    <a:pt x="1431" y="3796"/>
                  </a:lnTo>
                  <a:lnTo>
                    <a:pt x="1429" y="3797"/>
                  </a:lnTo>
                  <a:lnTo>
                    <a:pt x="1429" y="3799"/>
                  </a:lnTo>
                  <a:lnTo>
                    <a:pt x="1428" y="3799"/>
                  </a:lnTo>
                  <a:lnTo>
                    <a:pt x="1414" y="3800"/>
                  </a:lnTo>
                  <a:lnTo>
                    <a:pt x="1411" y="3802"/>
                  </a:lnTo>
                  <a:lnTo>
                    <a:pt x="1411" y="3804"/>
                  </a:lnTo>
                  <a:lnTo>
                    <a:pt x="1409" y="3805"/>
                  </a:lnTo>
                  <a:lnTo>
                    <a:pt x="1409" y="3807"/>
                  </a:lnTo>
                  <a:lnTo>
                    <a:pt x="1408" y="3807"/>
                  </a:lnTo>
                  <a:lnTo>
                    <a:pt x="1406" y="3810"/>
                  </a:lnTo>
                  <a:lnTo>
                    <a:pt x="1406" y="3810"/>
                  </a:lnTo>
                  <a:lnTo>
                    <a:pt x="1406" y="3811"/>
                  </a:lnTo>
                  <a:lnTo>
                    <a:pt x="1408" y="3813"/>
                  </a:lnTo>
                  <a:lnTo>
                    <a:pt x="1411" y="3813"/>
                  </a:lnTo>
                  <a:lnTo>
                    <a:pt x="1412" y="3813"/>
                  </a:lnTo>
                  <a:lnTo>
                    <a:pt x="1412" y="3813"/>
                  </a:lnTo>
                  <a:lnTo>
                    <a:pt x="1412" y="3811"/>
                  </a:lnTo>
                  <a:lnTo>
                    <a:pt x="1411" y="3811"/>
                  </a:lnTo>
                  <a:lnTo>
                    <a:pt x="1411" y="3811"/>
                  </a:lnTo>
                  <a:lnTo>
                    <a:pt x="1411" y="3811"/>
                  </a:lnTo>
                  <a:lnTo>
                    <a:pt x="1417" y="3811"/>
                  </a:lnTo>
                  <a:lnTo>
                    <a:pt x="1418" y="3811"/>
                  </a:lnTo>
                  <a:lnTo>
                    <a:pt x="1420" y="3810"/>
                  </a:lnTo>
                  <a:lnTo>
                    <a:pt x="1423" y="3810"/>
                  </a:lnTo>
                  <a:lnTo>
                    <a:pt x="1428" y="3808"/>
                  </a:lnTo>
                  <a:lnTo>
                    <a:pt x="1432" y="3808"/>
                  </a:lnTo>
                  <a:lnTo>
                    <a:pt x="1432" y="3808"/>
                  </a:lnTo>
                  <a:lnTo>
                    <a:pt x="1434" y="3807"/>
                  </a:lnTo>
                  <a:lnTo>
                    <a:pt x="1435" y="3807"/>
                  </a:lnTo>
                  <a:lnTo>
                    <a:pt x="1435" y="3805"/>
                  </a:lnTo>
                  <a:lnTo>
                    <a:pt x="1438" y="3805"/>
                  </a:lnTo>
                  <a:lnTo>
                    <a:pt x="1440" y="3805"/>
                  </a:lnTo>
                  <a:lnTo>
                    <a:pt x="1440" y="3804"/>
                  </a:lnTo>
                  <a:lnTo>
                    <a:pt x="1438" y="3802"/>
                  </a:lnTo>
                  <a:lnTo>
                    <a:pt x="1440" y="3797"/>
                  </a:lnTo>
                  <a:lnTo>
                    <a:pt x="1443" y="3797"/>
                  </a:lnTo>
                  <a:lnTo>
                    <a:pt x="1444" y="3797"/>
                  </a:lnTo>
                  <a:lnTo>
                    <a:pt x="1448" y="3796"/>
                  </a:lnTo>
                  <a:lnTo>
                    <a:pt x="1448" y="3796"/>
                  </a:lnTo>
                  <a:lnTo>
                    <a:pt x="1449" y="3794"/>
                  </a:lnTo>
                  <a:lnTo>
                    <a:pt x="1451" y="3794"/>
                  </a:lnTo>
                  <a:lnTo>
                    <a:pt x="1452" y="3794"/>
                  </a:lnTo>
                  <a:lnTo>
                    <a:pt x="1454" y="3796"/>
                  </a:lnTo>
                  <a:lnTo>
                    <a:pt x="1454" y="3796"/>
                  </a:lnTo>
                  <a:lnTo>
                    <a:pt x="1455" y="3796"/>
                  </a:lnTo>
                  <a:lnTo>
                    <a:pt x="1458" y="3796"/>
                  </a:lnTo>
                  <a:lnTo>
                    <a:pt x="1461" y="3796"/>
                  </a:lnTo>
                  <a:lnTo>
                    <a:pt x="1465" y="3797"/>
                  </a:lnTo>
                  <a:lnTo>
                    <a:pt x="1465" y="3800"/>
                  </a:lnTo>
                  <a:lnTo>
                    <a:pt x="1465" y="3804"/>
                  </a:lnTo>
                  <a:lnTo>
                    <a:pt x="1465" y="3804"/>
                  </a:lnTo>
                  <a:lnTo>
                    <a:pt x="1465" y="3805"/>
                  </a:lnTo>
                  <a:lnTo>
                    <a:pt x="1465" y="3805"/>
                  </a:lnTo>
                  <a:lnTo>
                    <a:pt x="1463" y="3805"/>
                  </a:lnTo>
                  <a:lnTo>
                    <a:pt x="1463" y="3807"/>
                  </a:lnTo>
                  <a:lnTo>
                    <a:pt x="1463" y="3810"/>
                  </a:lnTo>
                  <a:lnTo>
                    <a:pt x="1463" y="3810"/>
                  </a:lnTo>
                  <a:lnTo>
                    <a:pt x="1465" y="3811"/>
                  </a:lnTo>
                  <a:lnTo>
                    <a:pt x="1463" y="3814"/>
                  </a:lnTo>
                  <a:lnTo>
                    <a:pt x="1465" y="3814"/>
                  </a:lnTo>
                  <a:lnTo>
                    <a:pt x="1465" y="3816"/>
                  </a:lnTo>
                  <a:lnTo>
                    <a:pt x="1468" y="3813"/>
                  </a:lnTo>
                  <a:lnTo>
                    <a:pt x="1469" y="3811"/>
                  </a:lnTo>
                  <a:lnTo>
                    <a:pt x="1471" y="3811"/>
                  </a:lnTo>
                  <a:lnTo>
                    <a:pt x="1474" y="3813"/>
                  </a:lnTo>
                  <a:lnTo>
                    <a:pt x="1472" y="3814"/>
                  </a:lnTo>
                  <a:lnTo>
                    <a:pt x="1468" y="3814"/>
                  </a:lnTo>
                  <a:lnTo>
                    <a:pt x="1466" y="3816"/>
                  </a:lnTo>
                  <a:lnTo>
                    <a:pt x="1466" y="3817"/>
                  </a:lnTo>
                  <a:lnTo>
                    <a:pt x="1466" y="3822"/>
                  </a:lnTo>
                  <a:lnTo>
                    <a:pt x="1465" y="3824"/>
                  </a:lnTo>
                  <a:lnTo>
                    <a:pt x="1463" y="3825"/>
                  </a:lnTo>
                  <a:lnTo>
                    <a:pt x="1455" y="3822"/>
                  </a:lnTo>
                  <a:lnTo>
                    <a:pt x="1455" y="3824"/>
                  </a:lnTo>
                  <a:lnTo>
                    <a:pt x="1454" y="3824"/>
                  </a:lnTo>
                  <a:lnTo>
                    <a:pt x="1454" y="3824"/>
                  </a:lnTo>
                  <a:lnTo>
                    <a:pt x="1452" y="3824"/>
                  </a:lnTo>
                  <a:lnTo>
                    <a:pt x="1452" y="3824"/>
                  </a:lnTo>
                  <a:lnTo>
                    <a:pt x="1451" y="3822"/>
                  </a:lnTo>
                  <a:lnTo>
                    <a:pt x="1451" y="3822"/>
                  </a:lnTo>
                  <a:lnTo>
                    <a:pt x="1449" y="3822"/>
                  </a:lnTo>
                  <a:lnTo>
                    <a:pt x="1449" y="3822"/>
                  </a:lnTo>
                  <a:lnTo>
                    <a:pt x="1449" y="3824"/>
                  </a:lnTo>
                  <a:lnTo>
                    <a:pt x="1448" y="3824"/>
                  </a:lnTo>
                  <a:lnTo>
                    <a:pt x="1443" y="3828"/>
                  </a:lnTo>
                  <a:lnTo>
                    <a:pt x="1441" y="3830"/>
                  </a:lnTo>
                  <a:lnTo>
                    <a:pt x="1440" y="3831"/>
                  </a:lnTo>
                  <a:lnTo>
                    <a:pt x="1438" y="3831"/>
                  </a:lnTo>
                  <a:lnTo>
                    <a:pt x="1435" y="3831"/>
                  </a:lnTo>
                  <a:lnTo>
                    <a:pt x="1434" y="3831"/>
                  </a:lnTo>
                  <a:lnTo>
                    <a:pt x="1432" y="3833"/>
                  </a:lnTo>
                  <a:lnTo>
                    <a:pt x="1431" y="3836"/>
                  </a:lnTo>
                  <a:lnTo>
                    <a:pt x="1429" y="3837"/>
                  </a:lnTo>
                  <a:lnTo>
                    <a:pt x="1426" y="3837"/>
                  </a:lnTo>
                  <a:lnTo>
                    <a:pt x="1423" y="3841"/>
                  </a:lnTo>
                  <a:lnTo>
                    <a:pt x="1421" y="3841"/>
                  </a:lnTo>
                  <a:lnTo>
                    <a:pt x="1415" y="3841"/>
                  </a:lnTo>
                  <a:lnTo>
                    <a:pt x="1412" y="3842"/>
                  </a:lnTo>
                  <a:lnTo>
                    <a:pt x="1411" y="3842"/>
                  </a:lnTo>
                  <a:lnTo>
                    <a:pt x="1404" y="3841"/>
                  </a:lnTo>
                  <a:lnTo>
                    <a:pt x="1404" y="3841"/>
                  </a:lnTo>
                  <a:lnTo>
                    <a:pt x="1401" y="3842"/>
                  </a:lnTo>
                  <a:lnTo>
                    <a:pt x="1400" y="3844"/>
                  </a:lnTo>
                  <a:lnTo>
                    <a:pt x="1400" y="3845"/>
                  </a:lnTo>
                  <a:lnTo>
                    <a:pt x="1400" y="3847"/>
                  </a:lnTo>
                  <a:lnTo>
                    <a:pt x="1400" y="3848"/>
                  </a:lnTo>
                  <a:lnTo>
                    <a:pt x="1400" y="3850"/>
                  </a:lnTo>
                  <a:lnTo>
                    <a:pt x="1400" y="3850"/>
                  </a:lnTo>
                  <a:lnTo>
                    <a:pt x="1397" y="3851"/>
                  </a:lnTo>
                  <a:lnTo>
                    <a:pt x="1397" y="3853"/>
                  </a:lnTo>
                  <a:lnTo>
                    <a:pt x="1397" y="3853"/>
                  </a:lnTo>
                  <a:lnTo>
                    <a:pt x="1398" y="3854"/>
                  </a:lnTo>
                  <a:lnTo>
                    <a:pt x="1398" y="3857"/>
                  </a:lnTo>
                  <a:lnTo>
                    <a:pt x="1398" y="3856"/>
                  </a:lnTo>
                  <a:lnTo>
                    <a:pt x="1398" y="3856"/>
                  </a:lnTo>
                  <a:lnTo>
                    <a:pt x="1398" y="3854"/>
                  </a:lnTo>
                  <a:lnTo>
                    <a:pt x="1401" y="3853"/>
                  </a:lnTo>
                  <a:lnTo>
                    <a:pt x="1404" y="3853"/>
                  </a:lnTo>
                  <a:lnTo>
                    <a:pt x="1408" y="3854"/>
                  </a:lnTo>
                  <a:lnTo>
                    <a:pt x="1411" y="3856"/>
                  </a:lnTo>
                  <a:lnTo>
                    <a:pt x="1412" y="3857"/>
                  </a:lnTo>
                  <a:lnTo>
                    <a:pt x="1414" y="3859"/>
                  </a:lnTo>
                  <a:lnTo>
                    <a:pt x="1414" y="3861"/>
                  </a:lnTo>
                  <a:lnTo>
                    <a:pt x="1414" y="3862"/>
                  </a:lnTo>
                  <a:lnTo>
                    <a:pt x="1412" y="3864"/>
                  </a:lnTo>
                  <a:lnTo>
                    <a:pt x="1404" y="3864"/>
                  </a:lnTo>
                  <a:lnTo>
                    <a:pt x="1394" y="3861"/>
                  </a:lnTo>
                  <a:lnTo>
                    <a:pt x="1392" y="3861"/>
                  </a:lnTo>
                  <a:lnTo>
                    <a:pt x="1391" y="3857"/>
                  </a:lnTo>
                  <a:lnTo>
                    <a:pt x="1391" y="3857"/>
                  </a:lnTo>
                  <a:lnTo>
                    <a:pt x="1391" y="3856"/>
                  </a:lnTo>
                  <a:lnTo>
                    <a:pt x="1391" y="3854"/>
                  </a:lnTo>
                  <a:lnTo>
                    <a:pt x="1389" y="3854"/>
                  </a:lnTo>
                  <a:lnTo>
                    <a:pt x="1387" y="3857"/>
                  </a:lnTo>
                  <a:lnTo>
                    <a:pt x="1386" y="3859"/>
                  </a:lnTo>
                  <a:lnTo>
                    <a:pt x="1384" y="3859"/>
                  </a:lnTo>
                  <a:lnTo>
                    <a:pt x="1380" y="3859"/>
                  </a:lnTo>
                  <a:lnTo>
                    <a:pt x="1378" y="3859"/>
                  </a:lnTo>
                  <a:lnTo>
                    <a:pt x="1377" y="3861"/>
                  </a:lnTo>
                  <a:lnTo>
                    <a:pt x="1375" y="3864"/>
                  </a:lnTo>
                  <a:lnTo>
                    <a:pt x="1372" y="3865"/>
                  </a:lnTo>
                  <a:lnTo>
                    <a:pt x="1369" y="3867"/>
                  </a:lnTo>
                  <a:lnTo>
                    <a:pt x="1364" y="3867"/>
                  </a:lnTo>
                  <a:lnTo>
                    <a:pt x="1361" y="3865"/>
                  </a:lnTo>
                  <a:lnTo>
                    <a:pt x="1358" y="3867"/>
                  </a:lnTo>
                  <a:lnTo>
                    <a:pt x="1355" y="3865"/>
                  </a:lnTo>
                  <a:lnTo>
                    <a:pt x="1352" y="3862"/>
                  </a:lnTo>
                  <a:lnTo>
                    <a:pt x="1351" y="3861"/>
                  </a:lnTo>
                  <a:lnTo>
                    <a:pt x="1351" y="3861"/>
                  </a:lnTo>
                  <a:lnTo>
                    <a:pt x="1351" y="3861"/>
                  </a:lnTo>
                  <a:lnTo>
                    <a:pt x="1351" y="3862"/>
                  </a:lnTo>
                  <a:lnTo>
                    <a:pt x="1349" y="3862"/>
                  </a:lnTo>
                  <a:lnTo>
                    <a:pt x="1349" y="3862"/>
                  </a:lnTo>
                  <a:lnTo>
                    <a:pt x="1352" y="3864"/>
                  </a:lnTo>
                  <a:lnTo>
                    <a:pt x="1352" y="3867"/>
                  </a:lnTo>
                  <a:lnTo>
                    <a:pt x="1354" y="3870"/>
                  </a:lnTo>
                  <a:lnTo>
                    <a:pt x="1355" y="3876"/>
                  </a:lnTo>
                  <a:lnTo>
                    <a:pt x="1355" y="3879"/>
                  </a:lnTo>
                  <a:lnTo>
                    <a:pt x="1357" y="3882"/>
                  </a:lnTo>
                  <a:lnTo>
                    <a:pt x="1358" y="3884"/>
                  </a:lnTo>
                  <a:lnTo>
                    <a:pt x="1360" y="3885"/>
                  </a:lnTo>
                  <a:lnTo>
                    <a:pt x="1363" y="3890"/>
                  </a:lnTo>
                  <a:lnTo>
                    <a:pt x="1367" y="3894"/>
                  </a:lnTo>
                  <a:lnTo>
                    <a:pt x="1369" y="3896"/>
                  </a:lnTo>
                  <a:lnTo>
                    <a:pt x="1371" y="3894"/>
                  </a:lnTo>
                  <a:lnTo>
                    <a:pt x="1371" y="3893"/>
                  </a:lnTo>
                  <a:lnTo>
                    <a:pt x="1367" y="3893"/>
                  </a:lnTo>
                  <a:lnTo>
                    <a:pt x="1367" y="3891"/>
                  </a:lnTo>
                  <a:lnTo>
                    <a:pt x="1369" y="3890"/>
                  </a:lnTo>
                  <a:lnTo>
                    <a:pt x="1369" y="3890"/>
                  </a:lnTo>
                  <a:lnTo>
                    <a:pt x="1375" y="3890"/>
                  </a:lnTo>
                  <a:lnTo>
                    <a:pt x="1377" y="3891"/>
                  </a:lnTo>
                  <a:lnTo>
                    <a:pt x="1378" y="3893"/>
                  </a:lnTo>
                  <a:lnTo>
                    <a:pt x="1386" y="3901"/>
                  </a:lnTo>
                  <a:lnTo>
                    <a:pt x="1389" y="3902"/>
                  </a:lnTo>
                  <a:lnTo>
                    <a:pt x="1391" y="3904"/>
                  </a:lnTo>
                  <a:lnTo>
                    <a:pt x="1391" y="3907"/>
                  </a:lnTo>
                  <a:lnTo>
                    <a:pt x="1391" y="3908"/>
                  </a:lnTo>
                  <a:lnTo>
                    <a:pt x="1392" y="3910"/>
                  </a:lnTo>
                  <a:lnTo>
                    <a:pt x="1411" y="3921"/>
                  </a:lnTo>
                  <a:lnTo>
                    <a:pt x="1412" y="3922"/>
                  </a:lnTo>
                  <a:lnTo>
                    <a:pt x="1412" y="3924"/>
                  </a:lnTo>
                  <a:lnTo>
                    <a:pt x="1412" y="3927"/>
                  </a:lnTo>
                  <a:lnTo>
                    <a:pt x="1412" y="3928"/>
                  </a:lnTo>
                  <a:lnTo>
                    <a:pt x="1411" y="3930"/>
                  </a:lnTo>
                  <a:lnTo>
                    <a:pt x="1411" y="3930"/>
                  </a:lnTo>
                  <a:lnTo>
                    <a:pt x="1409" y="3930"/>
                  </a:lnTo>
                  <a:lnTo>
                    <a:pt x="1409" y="3930"/>
                  </a:lnTo>
                  <a:lnTo>
                    <a:pt x="1408" y="3930"/>
                  </a:lnTo>
                  <a:lnTo>
                    <a:pt x="1406" y="3930"/>
                  </a:lnTo>
                  <a:lnTo>
                    <a:pt x="1406" y="3930"/>
                  </a:lnTo>
                  <a:lnTo>
                    <a:pt x="1403" y="3930"/>
                  </a:lnTo>
                  <a:lnTo>
                    <a:pt x="1401" y="3930"/>
                  </a:lnTo>
                  <a:lnTo>
                    <a:pt x="1400" y="3928"/>
                  </a:lnTo>
                  <a:lnTo>
                    <a:pt x="1397" y="3925"/>
                  </a:lnTo>
                  <a:lnTo>
                    <a:pt x="1394" y="3924"/>
                  </a:lnTo>
                  <a:lnTo>
                    <a:pt x="1391" y="3919"/>
                  </a:lnTo>
                  <a:lnTo>
                    <a:pt x="1387" y="3918"/>
                  </a:lnTo>
                  <a:lnTo>
                    <a:pt x="1386" y="3919"/>
                  </a:lnTo>
                  <a:lnTo>
                    <a:pt x="1384" y="3919"/>
                  </a:lnTo>
                  <a:lnTo>
                    <a:pt x="1383" y="3919"/>
                  </a:lnTo>
                  <a:lnTo>
                    <a:pt x="1383" y="3921"/>
                  </a:lnTo>
                  <a:lnTo>
                    <a:pt x="1381" y="3922"/>
                  </a:lnTo>
                  <a:lnTo>
                    <a:pt x="1381" y="3927"/>
                  </a:lnTo>
                  <a:lnTo>
                    <a:pt x="1381" y="3928"/>
                  </a:lnTo>
                  <a:lnTo>
                    <a:pt x="1381" y="3930"/>
                  </a:lnTo>
                  <a:lnTo>
                    <a:pt x="1380" y="3930"/>
                  </a:lnTo>
                  <a:lnTo>
                    <a:pt x="1380" y="3934"/>
                  </a:lnTo>
                  <a:lnTo>
                    <a:pt x="1378" y="3936"/>
                  </a:lnTo>
                  <a:lnTo>
                    <a:pt x="1378" y="3938"/>
                  </a:lnTo>
                  <a:lnTo>
                    <a:pt x="1377" y="3939"/>
                  </a:lnTo>
                  <a:lnTo>
                    <a:pt x="1377" y="3939"/>
                  </a:lnTo>
                  <a:lnTo>
                    <a:pt x="1375" y="3947"/>
                  </a:lnTo>
                  <a:lnTo>
                    <a:pt x="1374" y="3948"/>
                  </a:lnTo>
                  <a:lnTo>
                    <a:pt x="1374" y="3950"/>
                  </a:lnTo>
                  <a:lnTo>
                    <a:pt x="1374" y="3951"/>
                  </a:lnTo>
                  <a:lnTo>
                    <a:pt x="1372" y="3953"/>
                  </a:lnTo>
                  <a:lnTo>
                    <a:pt x="1371" y="3953"/>
                  </a:lnTo>
                  <a:lnTo>
                    <a:pt x="1369" y="3951"/>
                  </a:lnTo>
                  <a:lnTo>
                    <a:pt x="1371" y="3948"/>
                  </a:lnTo>
                  <a:lnTo>
                    <a:pt x="1374" y="3945"/>
                  </a:lnTo>
                  <a:lnTo>
                    <a:pt x="1375" y="3944"/>
                  </a:lnTo>
                  <a:lnTo>
                    <a:pt x="1375" y="3941"/>
                  </a:lnTo>
                  <a:lnTo>
                    <a:pt x="1375" y="3939"/>
                  </a:lnTo>
                  <a:lnTo>
                    <a:pt x="1375" y="3939"/>
                  </a:lnTo>
                  <a:lnTo>
                    <a:pt x="1375" y="3939"/>
                  </a:lnTo>
                  <a:lnTo>
                    <a:pt x="1374" y="3939"/>
                  </a:lnTo>
                  <a:lnTo>
                    <a:pt x="1372" y="3938"/>
                  </a:lnTo>
                  <a:lnTo>
                    <a:pt x="1374" y="3936"/>
                  </a:lnTo>
                  <a:lnTo>
                    <a:pt x="1374" y="3934"/>
                  </a:lnTo>
                  <a:lnTo>
                    <a:pt x="1375" y="3931"/>
                  </a:lnTo>
                  <a:lnTo>
                    <a:pt x="1375" y="3931"/>
                  </a:lnTo>
                  <a:lnTo>
                    <a:pt x="1375" y="3930"/>
                  </a:lnTo>
                  <a:lnTo>
                    <a:pt x="1374" y="3930"/>
                  </a:lnTo>
                  <a:lnTo>
                    <a:pt x="1372" y="3931"/>
                  </a:lnTo>
                  <a:lnTo>
                    <a:pt x="1372" y="3930"/>
                  </a:lnTo>
                  <a:lnTo>
                    <a:pt x="1374" y="3930"/>
                  </a:lnTo>
                  <a:lnTo>
                    <a:pt x="1377" y="3928"/>
                  </a:lnTo>
                  <a:lnTo>
                    <a:pt x="1377" y="3927"/>
                  </a:lnTo>
                  <a:lnTo>
                    <a:pt x="1377" y="3927"/>
                  </a:lnTo>
                  <a:lnTo>
                    <a:pt x="1372" y="3927"/>
                  </a:lnTo>
                  <a:lnTo>
                    <a:pt x="1367" y="3930"/>
                  </a:lnTo>
                  <a:lnTo>
                    <a:pt x="1366" y="3931"/>
                  </a:lnTo>
                  <a:lnTo>
                    <a:pt x="1364" y="3934"/>
                  </a:lnTo>
                  <a:lnTo>
                    <a:pt x="1363" y="3939"/>
                  </a:lnTo>
                  <a:lnTo>
                    <a:pt x="1360" y="3950"/>
                  </a:lnTo>
                  <a:lnTo>
                    <a:pt x="1360" y="3954"/>
                  </a:lnTo>
                  <a:lnTo>
                    <a:pt x="1358" y="3958"/>
                  </a:lnTo>
                  <a:lnTo>
                    <a:pt x="1357" y="3959"/>
                  </a:lnTo>
                  <a:lnTo>
                    <a:pt x="1357" y="3961"/>
                  </a:lnTo>
                  <a:lnTo>
                    <a:pt x="1355" y="3961"/>
                  </a:lnTo>
                  <a:lnTo>
                    <a:pt x="1352" y="3962"/>
                  </a:lnTo>
                  <a:lnTo>
                    <a:pt x="1346" y="3968"/>
                  </a:lnTo>
                  <a:lnTo>
                    <a:pt x="1344" y="3968"/>
                  </a:lnTo>
                  <a:lnTo>
                    <a:pt x="1344" y="3970"/>
                  </a:lnTo>
                  <a:lnTo>
                    <a:pt x="1346" y="3971"/>
                  </a:lnTo>
                  <a:lnTo>
                    <a:pt x="1346" y="3971"/>
                  </a:lnTo>
                  <a:lnTo>
                    <a:pt x="1347" y="3971"/>
                  </a:lnTo>
                  <a:lnTo>
                    <a:pt x="1347" y="3973"/>
                  </a:lnTo>
                  <a:lnTo>
                    <a:pt x="1347" y="3973"/>
                  </a:lnTo>
                  <a:lnTo>
                    <a:pt x="1347" y="3973"/>
                  </a:lnTo>
                  <a:lnTo>
                    <a:pt x="1346" y="3973"/>
                  </a:lnTo>
                  <a:lnTo>
                    <a:pt x="1346" y="3974"/>
                  </a:lnTo>
                  <a:lnTo>
                    <a:pt x="1346" y="3974"/>
                  </a:lnTo>
                  <a:lnTo>
                    <a:pt x="1344" y="3973"/>
                  </a:lnTo>
                  <a:lnTo>
                    <a:pt x="1343" y="3973"/>
                  </a:lnTo>
                  <a:lnTo>
                    <a:pt x="1341" y="3971"/>
                  </a:lnTo>
                  <a:lnTo>
                    <a:pt x="1343" y="3971"/>
                  </a:lnTo>
                  <a:lnTo>
                    <a:pt x="1343" y="3970"/>
                  </a:lnTo>
                  <a:lnTo>
                    <a:pt x="1341" y="3968"/>
                  </a:lnTo>
                  <a:lnTo>
                    <a:pt x="1340" y="3970"/>
                  </a:lnTo>
                  <a:lnTo>
                    <a:pt x="1340" y="3970"/>
                  </a:lnTo>
                  <a:lnTo>
                    <a:pt x="1340" y="3973"/>
                  </a:lnTo>
                  <a:lnTo>
                    <a:pt x="1338" y="3976"/>
                  </a:lnTo>
                  <a:lnTo>
                    <a:pt x="1338" y="3979"/>
                  </a:lnTo>
                  <a:lnTo>
                    <a:pt x="1340" y="3985"/>
                  </a:lnTo>
                  <a:lnTo>
                    <a:pt x="1340" y="3988"/>
                  </a:lnTo>
                  <a:lnTo>
                    <a:pt x="1338" y="3993"/>
                  </a:lnTo>
                  <a:lnTo>
                    <a:pt x="1338" y="3993"/>
                  </a:lnTo>
                  <a:lnTo>
                    <a:pt x="1340" y="3995"/>
                  </a:lnTo>
                  <a:lnTo>
                    <a:pt x="1340" y="3996"/>
                  </a:lnTo>
                  <a:lnTo>
                    <a:pt x="1341" y="3995"/>
                  </a:lnTo>
                  <a:lnTo>
                    <a:pt x="1341" y="3995"/>
                  </a:lnTo>
                  <a:lnTo>
                    <a:pt x="1343" y="3991"/>
                  </a:lnTo>
                  <a:lnTo>
                    <a:pt x="1343" y="3987"/>
                  </a:lnTo>
                  <a:lnTo>
                    <a:pt x="1343" y="3987"/>
                  </a:lnTo>
                  <a:lnTo>
                    <a:pt x="1343" y="3987"/>
                  </a:lnTo>
                  <a:lnTo>
                    <a:pt x="1344" y="3987"/>
                  </a:lnTo>
                  <a:lnTo>
                    <a:pt x="1344" y="3985"/>
                  </a:lnTo>
                  <a:lnTo>
                    <a:pt x="1344" y="3985"/>
                  </a:lnTo>
                  <a:lnTo>
                    <a:pt x="1344" y="3985"/>
                  </a:lnTo>
                  <a:lnTo>
                    <a:pt x="1343" y="3985"/>
                  </a:lnTo>
                  <a:lnTo>
                    <a:pt x="1343" y="3985"/>
                  </a:lnTo>
                  <a:lnTo>
                    <a:pt x="1343" y="3984"/>
                  </a:lnTo>
                  <a:lnTo>
                    <a:pt x="1343" y="3982"/>
                  </a:lnTo>
                  <a:lnTo>
                    <a:pt x="1343" y="3982"/>
                  </a:lnTo>
                  <a:lnTo>
                    <a:pt x="1343" y="3982"/>
                  </a:lnTo>
                  <a:lnTo>
                    <a:pt x="1343" y="3981"/>
                  </a:lnTo>
                  <a:lnTo>
                    <a:pt x="1343" y="3981"/>
                  </a:lnTo>
                  <a:lnTo>
                    <a:pt x="1344" y="3981"/>
                  </a:lnTo>
                  <a:lnTo>
                    <a:pt x="1344" y="3979"/>
                  </a:lnTo>
                  <a:lnTo>
                    <a:pt x="1343" y="3979"/>
                  </a:lnTo>
                  <a:lnTo>
                    <a:pt x="1341" y="3978"/>
                  </a:lnTo>
                  <a:lnTo>
                    <a:pt x="1341" y="3976"/>
                  </a:lnTo>
                  <a:lnTo>
                    <a:pt x="1343" y="3974"/>
                  </a:lnTo>
                  <a:lnTo>
                    <a:pt x="1343" y="3976"/>
                  </a:lnTo>
                  <a:lnTo>
                    <a:pt x="1343" y="3978"/>
                  </a:lnTo>
                  <a:lnTo>
                    <a:pt x="1344" y="3978"/>
                  </a:lnTo>
                  <a:lnTo>
                    <a:pt x="1344" y="3978"/>
                  </a:lnTo>
                  <a:lnTo>
                    <a:pt x="1346" y="3979"/>
                  </a:lnTo>
                  <a:lnTo>
                    <a:pt x="1347" y="3979"/>
                  </a:lnTo>
                  <a:lnTo>
                    <a:pt x="1347" y="3981"/>
                  </a:lnTo>
                  <a:lnTo>
                    <a:pt x="1347" y="3982"/>
                  </a:lnTo>
                  <a:lnTo>
                    <a:pt x="1346" y="3987"/>
                  </a:lnTo>
                  <a:lnTo>
                    <a:pt x="1346" y="3988"/>
                  </a:lnTo>
                  <a:lnTo>
                    <a:pt x="1347" y="3988"/>
                  </a:lnTo>
                  <a:lnTo>
                    <a:pt x="1349" y="3991"/>
                  </a:lnTo>
                  <a:lnTo>
                    <a:pt x="1351" y="3991"/>
                  </a:lnTo>
                  <a:lnTo>
                    <a:pt x="1351" y="3993"/>
                  </a:lnTo>
                  <a:lnTo>
                    <a:pt x="1351" y="3993"/>
                  </a:lnTo>
                  <a:lnTo>
                    <a:pt x="1349" y="3991"/>
                  </a:lnTo>
                  <a:lnTo>
                    <a:pt x="1347" y="3991"/>
                  </a:lnTo>
                  <a:lnTo>
                    <a:pt x="1347" y="3993"/>
                  </a:lnTo>
                  <a:lnTo>
                    <a:pt x="1349" y="3995"/>
                  </a:lnTo>
                  <a:lnTo>
                    <a:pt x="1349" y="3996"/>
                  </a:lnTo>
                  <a:lnTo>
                    <a:pt x="1349" y="3998"/>
                  </a:lnTo>
                  <a:lnTo>
                    <a:pt x="1349" y="3998"/>
                  </a:lnTo>
                  <a:lnTo>
                    <a:pt x="1351" y="3998"/>
                  </a:lnTo>
                  <a:lnTo>
                    <a:pt x="1352" y="3998"/>
                  </a:lnTo>
                  <a:lnTo>
                    <a:pt x="1352" y="3998"/>
                  </a:lnTo>
                  <a:lnTo>
                    <a:pt x="1351" y="3998"/>
                  </a:lnTo>
                  <a:lnTo>
                    <a:pt x="1351" y="3998"/>
                  </a:lnTo>
                  <a:lnTo>
                    <a:pt x="1351" y="3999"/>
                  </a:lnTo>
                  <a:lnTo>
                    <a:pt x="1351" y="3999"/>
                  </a:lnTo>
                  <a:lnTo>
                    <a:pt x="1349" y="4002"/>
                  </a:lnTo>
                  <a:lnTo>
                    <a:pt x="1349" y="4002"/>
                  </a:lnTo>
                  <a:lnTo>
                    <a:pt x="1349" y="4002"/>
                  </a:lnTo>
                  <a:lnTo>
                    <a:pt x="1347" y="4002"/>
                  </a:lnTo>
                  <a:lnTo>
                    <a:pt x="1347" y="4002"/>
                  </a:lnTo>
                  <a:lnTo>
                    <a:pt x="1347" y="4004"/>
                  </a:lnTo>
                  <a:lnTo>
                    <a:pt x="1347" y="4004"/>
                  </a:lnTo>
                  <a:lnTo>
                    <a:pt x="1347" y="4004"/>
                  </a:lnTo>
                  <a:lnTo>
                    <a:pt x="1347" y="4004"/>
                  </a:lnTo>
                  <a:lnTo>
                    <a:pt x="1349" y="4005"/>
                  </a:lnTo>
                  <a:lnTo>
                    <a:pt x="1349" y="4007"/>
                  </a:lnTo>
                  <a:lnTo>
                    <a:pt x="1351" y="4007"/>
                  </a:lnTo>
                  <a:lnTo>
                    <a:pt x="1351" y="4007"/>
                  </a:lnTo>
                  <a:lnTo>
                    <a:pt x="1349" y="4007"/>
                  </a:lnTo>
                  <a:lnTo>
                    <a:pt x="1349" y="4008"/>
                  </a:lnTo>
                  <a:lnTo>
                    <a:pt x="1347" y="4008"/>
                  </a:lnTo>
                  <a:lnTo>
                    <a:pt x="1346" y="4007"/>
                  </a:lnTo>
                  <a:lnTo>
                    <a:pt x="1344" y="4007"/>
                  </a:lnTo>
                  <a:lnTo>
                    <a:pt x="1344" y="4007"/>
                  </a:lnTo>
                  <a:lnTo>
                    <a:pt x="1344" y="4007"/>
                  </a:lnTo>
                  <a:lnTo>
                    <a:pt x="1343" y="4007"/>
                  </a:lnTo>
                  <a:lnTo>
                    <a:pt x="1343" y="4005"/>
                  </a:lnTo>
                  <a:lnTo>
                    <a:pt x="1343" y="4005"/>
                  </a:lnTo>
                  <a:lnTo>
                    <a:pt x="1343" y="4004"/>
                  </a:lnTo>
                  <a:lnTo>
                    <a:pt x="1341" y="4007"/>
                  </a:lnTo>
                  <a:lnTo>
                    <a:pt x="1341" y="4008"/>
                  </a:lnTo>
                  <a:lnTo>
                    <a:pt x="1340" y="4008"/>
                  </a:lnTo>
                  <a:lnTo>
                    <a:pt x="1337" y="4008"/>
                  </a:lnTo>
                  <a:lnTo>
                    <a:pt x="1340" y="4007"/>
                  </a:lnTo>
                  <a:lnTo>
                    <a:pt x="1340" y="4007"/>
                  </a:lnTo>
                  <a:lnTo>
                    <a:pt x="1340" y="4007"/>
                  </a:lnTo>
                  <a:lnTo>
                    <a:pt x="1340" y="4005"/>
                  </a:lnTo>
                  <a:lnTo>
                    <a:pt x="1340" y="4004"/>
                  </a:lnTo>
                  <a:lnTo>
                    <a:pt x="1340" y="4004"/>
                  </a:lnTo>
                  <a:lnTo>
                    <a:pt x="1338" y="4004"/>
                  </a:lnTo>
                  <a:lnTo>
                    <a:pt x="1338" y="4004"/>
                  </a:lnTo>
                  <a:lnTo>
                    <a:pt x="1337" y="4002"/>
                  </a:lnTo>
                  <a:lnTo>
                    <a:pt x="1335" y="4002"/>
                  </a:lnTo>
                  <a:lnTo>
                    <a:pt x="1335" y="4002"/>
                  </a:lnTo>
                  <a:lnTo>
                    <a:pt x="1334" y="4004"/>
                  </a:lnTo>
                  <a:lnTo>
                    <a:pt x="1332" y="4004"/>
                  </a:lnTo>
                  <a:lnTo>
                    <a:pt x="1334" y="4001"/>
                  </a:lnTo>
                  <a:lnTo>
                    <a:pt x="1334" y="4001"/>
                  </a:lnTo>
                  <a:lnTo>
                    <a:pt x="1332" y="4001"/>
                  </a:lnTo>
                  <a:lnTo>
                    <a:pt x="1329" y="4004"/>
                  </a:lnTo>
                  <a:lnTo>
                    <a:pt x="1329" y="4005"/>
                  </a:lnTo>
                  <a:lnTo>
                    <a:pt x="1327" y="4005"/>
                  </a:lnTo>
                  <a:lnTo>
                    <a:pt x="1324" y="4005"/>
                  </a:lnTo>
                  <a:lnTo>
                    <a:pt x="1324" y="4007"/>
                  </a:lnTo>
                  <a:lnTo>
                    <a:pt x="1323" y="4005"/>
                  </a:lnTo>
                  <a:lnTo>
                    <a:pt x="1321" y="4005"/>
                  </a:lnTo>
                  <a:lnTo>
                    <a:pt x="1307" y="4005"/>
                  </a:lnTo>
                  <a:lnTo>
                    <a:pt x="1306" y="4005"/>
                  </a:lnTo>
                  <a:lnTo>
                    <a:pt x="1307" y="4007"/>
                  </a:lnTo>
                  <a:lnTo>
                    <a:pt x="1307" y="4008"/>
                  </a:lnTo>
                  <a:lnTo>
                    <a:pt x="1309" y="4008"/>
                  </a:lnTo>
                  <a:lnTo>
                    <a:pt x="1312" y="4008"/>
                  </a:lnTo>
                  <a:lnTo>
                    <a:pt x="1315" y="4008"/>
                  </a:lnTo>
                  <a:lnTo>
                    <a:pt x="1318" y="4010"/>
                  </a:lnTo>
                  <a:lnTo>
                    <a:pt x="1320" y="4011"/>
                  </a:lnTo>
                  <a:lnTo>
                    <a:pt x="1314" y="4010"/>
                  </a:lnTo>
                  <a:lnTo>
                    <a:pt x="1314" y="4011"/>
                  </a:lnTo>
                  <a:lnTo>
                    <a:pt x="1314" y="4013"/>
                  </a:lnTo>
                  <a:lnTo>
                    <a:pt x="1310" y="4013"/>
                  </a:lnTo>
                  <a:lnTo>
                    <a:pt x="1307" y="4013"/>
                  </a:lnTo>
                  <a:lnTo>
                    <a:pt x="1304" y="4015"/>
                  </a:lnTo>
                  <a:lnTo>
                    <a:pt x="1301" y="4015"/>
                  </a:lnTo>
                  <a:lnTo>
                    <a:pt x="1301" y="4015"/>
                  </a:lnTo>
                  <a:lnTo>
                    <a:pt x="1301" y="4013"/>
                  </a:lnTo>
                  <a:lnTo>
                    <a:pt x="1300" y="4013"/>
                  </a:lnTo>
                  <a:lnTo>
                    <a:pt x="1300" y="4011"/>
                  </a:lnTo>
                  <a:lnTo>
                    <a:pt x="1301" y="4011"/>
                  </a:lnTo>
                  <a:lnTo>
                    <a:pt x="1303" y="4011"/>
                  </a:lnTo>
                  <a:lnTo>
                    <a:pt x="1303" y="4011"/>
                  </a:lnTo>
                  <a:lnTo>
                    <a:pt x="1303" y="4010"/>
                  </a:lnTo>
                  <a:lnTo>
                    <a:pt x="1303" y="4007"/>
                  </a:lnTo>
                  <a:lnTo>
                    <a:pt x="1304" y="4007"/>
                  </a:lnTo>
                  <a:lnTo>
                    <a:pt x="1304" y="4007"/>
                  </a:lnTo>
                  <a:lnTo>
                    <a:pt x="1304" y="4005"/>
                  </a:lnTo>
                  <a:lnTo>
                    <a:pt x="1306" y="4004"/>
                  </a:lnTo>
                  <a:lnTo>
                    <a:pt x="1304" y="4004"/>
                  </a:lnTo>
                  <a:lnTo>
                    <a:pt x="1303" y="4004"/>
                  </a:lnTo>
                  <a:lnTo>
                    <a:pt x="1300" y="4002"/>
                  </a:lnTo>
                  <a:lnTo>
                    <a:pt x="1287" y="3995"/>
                  </a:lnTo>
                  <a:lnTo>
                    <a:pt x="1286" y="3995"/>
                  </a:lnTo>
                  <a:lnTo>
                    <a:pt x="1284" y="3995"/>
                  </a:lnTo>
                  <a:lnTo>
                    <a:pt x="1284" y="3993"/>
                  </a:lnTo>
                  <a:lnTo>
                    <a:pt x="1283" y="3993"/>
                  </a:lnTo>
                  <a:lnTo>
                    <a:pt x="1274" y="3998"/>
                  </a:lnTo>
                  <a:lnTo>
                    <a:pt x="1272" y="4001"/>
                  </a:lnTo>
                  <a:lnTo>
                    <a:pt x="1270" y="4004"/>
                  </a:lnTo>
                  <a:lnTo>
                    <a:pt x="1270" y="4005"/>
                  </a:lnTo>
                  <a:lnTo>
                    <a:pt x="1272" y="4004"/>
                  </a:lnTo>
                  <a:lnTo>
                    <a:pt x="1275" y="4001"/>
                  </a:lnTo>
                  <a:lnTo>
                    <a:pt x="1277" y="3999"/>
                  </a:lnTo>
                  <a:lnTo>
                    <a:pt x="1277" y="3999"/>
                  </a:lnTo>
                  <a:lnTo>
                    <a:pt x="1278" y="3999"/>
                  </a:lnTo>
                  <a:lnTo>
                    <a:pt x="1280" y="3999"/>
                  </a:lnTo>
                  <a:lnTo>
                    <a:pt x="1281" y="4001"/>
                  </a:lnTo>
                  <a:lnTo>
                    <a:pt x="1281" y="4001"/>
                  </a:lnTo>
                  <a:lnTo>
                    <a:pt x="1284" y="4001"/>
                  </a:lnTo>
                  <a:lnTo>
                    <a:pt x="1284" y="4001"/>
                  </a:lnTo>
                  <a:lnTo>
                    <a:pt x="1283" y="4002"/>
                  </a:lnTo>
                  <a:lnTo>
                    <a:pt x="1281" y="4002"/>
                  </a:lnTo>
                  <a:lnTo>
                    <a:pt x="1281" y="4002"/>
                  </a:lnTo>
                  <a:lnTo>
                    <a:pt x="1281" y="4004"/>
                  </a:lnTo>
                  <a:lnTo>
                    <a:pt x="1281" y="4005"/>
                  </a:lnTo>
                  <a:lnTo>
                    <a:pt x="1281" y="4005"/>
                  </a:lnTo>
                  <a:lnTo>
                    <a:pt x="1281" y="4007"/>
                  </a:lnTo>
                  <a:lnTo>
                    <a:pt x="1280" y="4005"/>
                  </a:lnTo>
                  <a:lnTo>
                    <a:pt x="1280" y="4002"/>
                  </a:lnTo>
                  <a:lnTo>
                    <a:pt x="1278" y="4001"/>
                  </a:lnTo>
                  <a:lnTo>
                    <a:pt x="1277" y="4002"/>
                  </a:lnTo>
                  <a:lnTo>
                    <a:pt x="1277" y="4004"/>
                  </a:lnTo>
                  <a:lnTo>
                    <a:pt x="1278" y="4005"/>
                  </a:lnTo>
                  <a:lnTo>
                    <a:pt x="1278" y="4008"/>
                  </a:lnTo>
                  <a:lnTo>
                    <a:pt x="1280" y="4008"/>
                  </a:lnTo>
                  <a:lnTo>
                    <a:pt x="1290" y="4005"/>
                  </a:lnTo>
                  <a:lnTo>
                    <a:pt x="1292" y="4005"/>
                  </a:lnTo>
                  <a:lnTo>
                    <a:pt x="1292" y="4005"/>
                  </a:lnTo>
                  <a:lnTo>
                    <a:pt x="1292" y="4007"/>
                  </a:lnTo>
                  <a:lnTo>
                    <a:pt x="1294" y="4007"/>
                  </a:lnTo>
                  <a:lnTo>
                    <a:pt x="1294" y="4008"/>
                  </a:lnTo>
                  <a:lnTo>
                    <a:pt x="1292" y="4010"/>
                  </a:lnTo>
                  <a:lnTo>
                    <a:pt x="1292" y="4010"/>
                  </a:lnTo>
                  <a:lnTo>
                    <a:pt x="1290" y="4011"/>
                  </a:lnTo>
                  <a:lnTo>
                    <a:pt x="1286" y="4013"/>
                  </a:lnTo>
                  <a:lnTo>
                    <a:pt x="1284" y="4015"/>
                  </a:lnTo>
                  <a:lnTo>
                    <a:pt x="1283" y="4015"/>
                  </a:lnTo>
                  <a:lnTo>
                    <a:pt x="1283" y="4015"/>
                  </a:lnTo>
                  <a:lnTo>
                    <a:pt x="1280" y="4015"/>
                  </a:lnTo>
                  <a:lnTo>
                    <a:pt x="1280" y="4015"/>
                  </a:lnTo>
                  <a:lnTo>
                    <a:pt x="1278" y="4016"/>
                  </a:lnTo>
                  <a:lnTo>
                    <a:pt x="1275" y="4018"/>
                  </a:lnTo>
                  <a:lnTo>
                    <a:pt x="1274" y="4018"/>
                  </a:lnTo>
                  <a:lnTo>
                    <a:pt x="1266" y="4018"/>
                  </a:lnTo>
                  <a:lnTo>
                    <a:pt x="1264" y="4018"/>
                  </a:lnTo>
                  <a:lnTo>
                    <a:pt x="1264" y="4019"/>
                  </a:lnTo>
                  <a:lnTo>
                    <a:pt x="1264" y="4019"/>
                  </a:lnTo>
                  <a:lnTo>
                    <a:pt x="1264" y="4021"/>
                  </a:lnTo>
                  <a:lnTo>
                    <a:pt x="1264" y="4021"/>
                  </a:lnTo>
                  <a:lnTo>
                    <a:pt x="1264" y="4022"/>
                  </a:lnTo>
                  <a:lnTo>
                    <a:pt x="1269" y="4025"/>
                  </a:lnTo>
                  <a:lnTo>
                    <a:pt x="1274" y="4028"/>
                  </a:lnTo>
                  <a:lnTo>
                    <a:pt x="1275" y="4028"/>
                  </a:lnTo>
                  <a:lnTo>
                    <a:pt x="1277" y="4028"/>
                  </a:lnTo>
                  <a:lnTo>
                    <a:pt x="1278" y="4027"/>
                  </a:lnTo>
                  <a:lnTo>
                    <a:pt x="1280" y="4027"/>
                  </a:lnTo>
                  <a:lnTo>
                    <a:pt x="1283" y="4028"/>
                  </a:lnTo>
                  <a:lnTo>
                    <a:pt x="1292" y="4033"/>
                  </a:lnTo>
                  <a:lnTo>
                    <a:pt x="1298" y="4035"/>
                  </a:lnTo>
                  <a:lnTo>
                    <a:pt x="1300" y="4036"/>
                  </a:lnTo>
                  <a:lnTo>
                    <a:pt x="1303" y="4038"/>
                  </a:lnTo>
                  <a:lnTo>
                    <a:pt x="1304" y="4038"/>
                  </a:lnTo>
                  <a:lnTo>
                    <a:pt x="1306" y="4039"/>
                  </a:lnTo>
                  <a:lnTo>
                    <a:pt x="1306" y="4039"/>
                  </a:lnTo>
                  <a:lnTo>
                    <a:pt x="1307" y="4039"/>
                  </a:lnTo>
                  <a:lnTo>
                    <a:pt x="1309" y="4041"/>
                  </a:lnTo>
                  <a:lnTo>
                    <a:pt x="1317" y="4047"/>
                  </a:lnTo>
                  <a:lnTo>
                    <a:pt x="1318" y="4048"/>
                  </a:lnTo>
                  <a:lnTo>
                    <a:pt x="1318" y="4050"/>
                  </a:lnTo>
                  <a:lnTo>
                    <a:pt x="1317" y="4053"/>
                  </a:lnTo>
                  <a:lnTo>
                    <a:pt x="1317" y="4053"/>
                  </a:lnTo>
                  <a:lnTo>
                    <a:pt x="1318" y="4056"/>
                  </a:lnTo>
                  <a:lnTo>
                    <a:pt x="1321" y="4062"/>
                  </a:lnTo>
                  <a:lnTo>
                    <a:pt x="1323" y="4065"/>
                  </a:lnTo>
                  <a:lnTo>
                    <a:pt x="1324" y="4067"/>
                  </a:lnTo>
                  <a:lnTo>
                    <a:pt x="1327" y="4068"/>
                  </a:lnTo>
                  <a:lnTo>
                    <a:pt x="1329" y="4070"/>
                  </a:lnTo>
                  <a:lnTo>
                    <a:pt x="1331" y="4071"/>
                  </a:lnTo>
                  <a:lnTo>
                    <a:pt x="1331" y="4073"/>
                  </a:lnTo>
                  <a:lnTo>
                    <a:pt x="1332" y="4075"/>
                  </a:lnTo>
                  <a:lnTo>
                    <a:pt x="1334" y="4073"/>
                  </a:lnTo>
                  <a:lnTo>
                    <a:pt x="1334" y="4073"/>
                  </a:lnTo>
                  <a:lnTo>
                    <a:pt x="1335" y="4075"/>
                  </a:lnTo>
                  <a:lnTo>
                    <a:pt x="1338" y="4075"/>
                  </a:lnTo>
                  <a:lnTo>
                    <a:pt x="1338" y="4075"/>
                  </a:lnTo>
                  <a:lnTo>
                    <a:pt x="1338" y="4075"/>
                  </a:lnTo>
                  <a:lnTo>
                    <a:pt x="1340" y="4075"/>
                  </a:lnTo>
                  <a:lnTo>
                    <a:pt x="1343" y="4075"/>
                  </a:lnTo>
                  <a:lnTo>
                    <a:pt x="1344" y="4075"/>
                  </a:lnTo>
                  <a:lnTo>
                    <a:pt x="1347" y="4076"/>
                  </a:lnTo>
                  <a:lnTo>
                    <a:pt x="1351" y="4078"/>
                  </a:lnTo>
                  <a:lnTo>
                    <a:pt x="1352" y="4078"/>
                  </a:lnTo>
                  <a:lnTo>
                    <a:pt x="1355" y="4078"/>
                  </a:lnTo>
                  <a:lnTo>
                    <a:pt x="1357" y="4076"/>
                  </a:lnTo>
                  <a:lnTo>
                    <a:pt x="1357" y="4075"/>
                  </a:lnTo>
                  <a:lnTo>
                    <a:pt x="1355" y="4071"/>
                  </a:lnTo>
                  <a:lnTo>
                    <a:pt x="1354" y="4070"/>
                  </a:lnTo>
                  <a:lnTo>
                    <a:pt x="1354" y="4067"/>
                  </a:lnTo>
                  <a:lnTo>
                    <a:pt x="1355" y="4068"/>
                  </a:lnTo>
                  <a:lnTo>
                    <a:pt x="1358" y="4070"/>
                  </a:lnTo>
                  <a:lnTo>
                    <a:pt x="1360" y="4071"/>
                  </a:lnTo>
                  <a:lnTo>
                    <a:pt x="1360" y="4071"/>
                  </a:lnTo>
                  <a:lnTo>
                    <a:pt x="1364" y="4078"/>
                  </a:lnTo>
                  <a:lnTo>
                    <a:pt x="1364" y="4078"/>
                  </a:lnTo>
                  <a:lnTo>
                    <a:pt x="1364" y="4078"/>
                  </a:lnTo>
                  <a:lnTo>
                    <a:pt x="1364" y="4079"/>
                  </a:lnTo>
                  <a:lnTo>
                    <a:pt x="1364" y="4079"/>
                  </a:lnTo>
                  <a:lnTo>
                    <a:pt x="1364" y="4079"/>
                  </a:lnTo>
                  <a:lnTo>
                    <a:pt x="1364" y="4081"/>
                  </a:lnTo>
                  <a:lnTo>
                    <a:pt x="1366" y="4081"/>
                  </a:lnTo>
                  <a:lnTo>
                    <a:pt x="1369" y="4085"/>
                  </a:lnTo>
                  <a:lnTo>
                    <a:pt x="1369" y="4085"/>
                  </a:lnTo>
                  <a:lnTo>
                    <a:pt x="1371" y="4085"/>
                  </a:lnTo>
                  <a:lnTo>
                    <a:pt x="1374" y="4085"/>
                  </a:lnTo>
                  <a:lnTo>
                    <a:pt x="1374" y="4085"/>
                  </a:lnTo>
                  <a:lnTo>
                    <a:pt x="1374" y="4088"/>
                  </a:lnTo>
                  <a:lnTo>
                    <a:pt x="1375" y="4090"/>
                  </a:lnTo>
                  <a:lnTo>
                    <a:pt x="1378" y="4092"/>
                  </a:lnTo>
                  <a:lnTo>
                    <a:pt x="1380" y="4095"/>
                  </a:lnTo>
                  <a:lnTo>
                    <a:pt x="1381" y="4098"/>
                  </a:lnTo>
                  <a:lnTo>
                    <a:pt x="1383" y="4101"/>
                  </a:lnTo>
                  <a:lnTo>
                    <a:pt x="1386" y="4104"/>
                  </a:lnTo>
                  <a:lnTo>
                    <a:pt x="1391" y="4104"/>
                  </a:lnTo>
                  <a:lnTo>
                    <a:pt x="1392" y="4104"/>
                  </a:lnTo>
                  <a:lnTo>
                    <a:pt x="1392" y="4105"/>
                  </a:lnTo>
                  <a:lnTo>
                    <a:pt x="1414" y="4108"/>
                  </a:lnTo>
                  <a:lnTo>
                    <a:pt x="1421" y="4113"/>
                  </a:lnTo>
                  <a:lnTo>
                    <a:pt x="1424" y="4115"/>
                  </a:lnTo>
                  <a:lnTo>
                    <a:pt x="1426" y="4115"/>
                  </a:lnTo>
                  <a:lnTo>
                    <a:pt x="1428" y="4116"/>
                  </a:lnTo>
                  <a:lnTo>
                    <a:pt x="1434" y="4124"/>
                  </a:lnTo>
                  <a:lnTo>
                    <a:pt x="1435" y="4125"/>
                  </a:lnTo>
                  <a:lnTo>
                    <a:pt x="1437" y="4125"/>
                  </a:lnTo>
                  <a:lnTo>
                    <a:pt x="1440" y="4127"/>
                  </a:lnTo>
                  <a:lnTo>
                    <a:pt x="1441" y="4127"/>
                  </a:lnTo>
                  <a:lnTo>
                    <a:pt x="1443" y="4128"/>
                  </a:lnTo>
                  <a:lnTo>
                    <a:pt x="1443" y="4130"/>
                  </a:lnTo>
                  <a:lnTo>
                    <a:pt x="1444" y="4133"/>
                  </a:lnTo>
                  <a:lnTo>
                    <a:pt x="1446" y="4133"/>
                  </a:lnTo>
                  <a:lnTo>
                    <a:pt x="1448" y="4135"/>
                  </a:lnTo>
                  <a:lnTo>
                    <a:pt x="1449" y="4136"/>
                  </a:lnTo>
                  <a:lnTo>
                    <a:pt x="1451" y="4139"/>
                  </a:lnTo>
                  <a:lnTo>
                    <a:pt x="1452" y="4141"/>
                  </a:lnTo>
                  <a:lnTo>
                    <a:pt x="1469" y="4155"/>
                  </a:lnTo>
                  <a:lnTo>
                    <a:pt x="1474" y="4159"/>
                  </a:lnTo>
                  <a:lnTo>
                    <a:pt x="1478" y="4167"/>
                  </a:lnTo>
                  <a:lnTo>
                    <a:pt x="1488" y="4175"/>
                  </a:lnTo>
                  <a:lnTo>
                    <a:pt x="1491" y="4179"/>
                  </a:lnTo>
                  <a:lnTo>
                    <a:pt x="1491" y="4181"/>
                  </a:lnTo>
                  <a:lnTo>
                    <a:pt x="1494" y="4182"/>
                  </a:lnTo>
                  <a:lnTo>
                    <a:pt x="1495" y="4182"/>
                  </a:lnTo>
                  <a:lnTo>
                    <a:pt x="1497" y="4184"/>
                  </a:lnTo>
                  <a:lnTo>
                    <a:pt x="1497" y="4185"/>
                  </a:lnTo>
                  <a:lnTo>
                    <a:pt x="1497" y="4187"/>
                  </a:lnTo>
                  <a:lnTo>
                    <a:pt x="1497" y="4187"/>
                  </a:lnTo>
                  <a:lnTo>
                    <a:pt x="1498" y="4189"/>
                  </a:lnTo>
                  <a:lnTo>
                    <a:pt x="1500" y="4190"/>
                  </a:lnTo>
                  <a:lnTo>
                    <a:pt x="1508" y="4193"/>
                  </a:lnTo>
                  <a:lnTo>
                    <a:pt x="1509" y="4195"/>
                  </a:lnTo>
                  <a:lnTo>
                    <a:pt x="1509" y="4196"/>
                  </a:lnTo>
                  <a:lnTo>
                    <a:pt x="1511" y="4199"/>
                  </a:lnTo>
                  <a:lnTo>
                    <a:pt x="1512" y="4202"/>
                  </a:lnTo>
                  <a:lnTo>
                    <a:pt x="1514" y="4204"/>
                  </a:lnTo>
                  <a:lnTo>
                    <a:pt x="1515" y="4205"/>
                  </a:lnTo>
                  <a:lnTo>
                    <a:pt x="1517" y="4205"/>
                  </a:lnTo>
                  <a:lnTo>
                    <a:pt x="1517" y="4205"/>
                  </a:lnTo>
                  <a:lnTo>
                    <a:pt x="1518" y="4204"/>
                  </a:lnTo>
                  <a:lnTo>
                    <a:pt x="1523" y="4192"/>
                  </a:lnTo>
                  <a:lnTo>
                    <a:pt x="1525" y="4190"/>
                  </a:lnTo>
                  <a:lnTo>
                    <a:pt x="1526" y="4189"/>
                  </a:lnTo>
                  <a:lnTo>
                    <a:pt x="1531" y="4187"/>
                  </a:lnTo>
                  <a:lnTo>
                    <a:pt x="1535" y="4187"/>
                  </a:lnTo>
                  <a:lnTo>
                    <a:pt x="1554" y="4193"/>
                  </a:lnTo>
                  <a:lnTo>
                    <a:pt x="1557" y="4195"/>
                  </a:lnTo>
                  <a:lnTo>
                    <a:pt x="1560" y="4193"/>
                  </a:lnTo>
                  <a:lnTo>
                    <a:pt x="1565" y="4192"/>
                  </a:lnTo>
                  <a:lnTo>
                    <a:pt x="1568" y="4190"/>
                  </a:lnTo>
                  <a:lnTo>
                    <a:pt x="1569" y="4192"/>
                  </a:lnTo>
                  <a:lnTo>
                    <a:pt x="1569" y="4192"/>
                  </a:lnTo>
                  <a:lnTo>
                    <a:pt x="1574" y="4195"/>
                  </a:lnTo>
                  <a:lnTo>
                    <a:pt x="1582" y="4198"/>
                  </a:lnTo>
                  <a:lnTo>
                    <a:pt x="1583" y="4199"/>
                  </a:lnTo>
                  <a:lnTo>
                    <a:pt x="1594" y="4207"/>
                  </a:lnTo>
                  <a:lnTo>
                    <a:pt x="1597" y="4209"/>
                  </a:lnTo>
                  <a:lnTo>
                    <a:pt x="1605" y="4207"/>
                  </a:lnTo>
                  <a:lnTo>
                    <a:pt x="1606" y="4207"/>
                  </a:lnTo>
                  <a:lnTo>
                    <a:pt x="1609" y="4209"/>
                  </a:lnTo>
                  <a:lnTo>
                    <a:pt x="1611" y="4210"/>
                  </a:lnTo>
                  <a:lnTo>
                    <a:pt x="1614" y="4212"/>
                  </a:lnTo>
                  <a:lnTo>
                    <a:pt x="1619" y="4210"/>
                  </a:lnTo>
                  <a:lnTo>
                    <a:pt x="1622" y="4212"/>
                  </a:lnTo>
                  <a:lnTo>
                    <a:pt x="1622" y="4213"/>
                  </a:lnTo>
                  <a:lnTo>
                    <a:pt x="1623" y="4215"/>
                  </a:lnTo>
                  <a:lnTo>
                    <a:pt x="1623" y="4216"/>
                  </a:lnTo>
                  <a:lnTo>
                    <a:pt x="1625" y="4216"/>
                  </a:lnTo>
                  <a:lnTo>
                    <a:pt x="1629" y="4218"/>
                  </a:lnTo>
                  <a:lnTo>
                    <a:pt x="1631" y="4219"/>
                  </a:lnTo>
                  <a:lnTo>
                    <a:pt x="1634" y="4222"/>
                  </a:lnTo>
                  <a:lnTo>
                    <a:pt x="1635" y="4224"/>
                  </a:lnTo>
                  <a:lnTo>
                    <a:pt x="1639" y="4224"/>
                  </a:lnTo>
                  <a:lnTo>
                    <a:pt x="1645" y="4222"/>
                  </a:lnTo>
                  <a:lnTo>
                    <a:pt x="1646" y="4224"/>
                  </a:lnTo>
                  <a:lnTo>
                    <a:pt x="1652" y="4225"/>
                  </a:lnTo>
                  <a:lnTo>
                    <a:pt x="1654" y="4225"/>
                  </a:lnTo>
                  <a:lnTo>
                    <a:pt x="1659" y="4224"/>
                  </a:lnTo>
                  <a:lnTo>
                    <a:pt x="1662" y="4224"/>
                  </a:lnTo>
                  <a:lnTo>
                    <a:pt x="1663" y="4225"/>
                  </a:lnTo>
                  <a:lnTo>
                    <a:pt x="1666" y="4227"/>
                  </a:lnTo>
                  <a:lnTo>
                    <a:pt x="1668" y="4227"/>
                  </a:lnTo>
                  <a:lnTo>
                    <a:pt x="1671" y="4227"/>
                  </a:lnTo>
                  <a:lnTo>
                    <a:pt x="1672" y="4227"/>
                  </a:lnTo>
                  <a:lnTo>
                    <a:pt x="1679" y="4224"/>
                  </a:lnTo>
                  <a:lnTo>
                    <a:pt x="1680" y="4224"/>
                  </a:lnTo>
                  <a:lnTo>
                    <a:pt x="1682" y="4222"/>
                  </a:lnTo>
                  <a:lnTo>
                    <a:pt x="1694" y="4221"/>
                  </a:lnTo>
                  <a:lnTo>
                    <a:pt x="1694" y="4221"/>
                  </a:lnTo>
                  <a:lnTo>
                    <a:pt x="1699" y="4222"/>
                  </a:lnTo>
                  <a:lnTo>
                    <a:pt x="1703" y="4225"/>
                  </a:lnTo>
                  <a:lnTo>
                    <a:pt x="1705" y="4227"/>
                  </a:lnTo>
                  <a:lnTo>
                    <a:pt x="1708" y="4229"/>
                  </a:lnTo>
                  <a:lnTo>
                    <a:pt x="1712" y="4232"/>
                  </a:lnTo>
                  <a:lnTo>
                    <a:pt x="1714" y="4232"/>
                  </a:lnTo>
                  <a:lnTo>
                    <a:pt x="1714" y="4232"/>
                  </a:lnTo>
                  <a:lnTo>
                    <a:pt x="1717" y="4229"/>
                  </a:lnTo>
                  <a:lnTo>
                    <a:pt x="1717" y="4229"/>
                  </a:lnTo>
                  <a:lnTo>
                    <a:pt x="1720" y="4229"/>
                  </a:lnTo>
                  <a:lnTo>
                    <a:pt x="1723" y="4227"/>
                  </a:lnTo>
                  <a:lnTo>
                    <a:pt x="1726" y="4227"/>
                  </a:lnTo>
                  <a:lnTo>
                    <a:pt x="1729" y="4229"/>
                  </a:lnTo>
                  <a:lnTo>
                    <a:pt x="1731" y="4230"/>
                  </a:lnTo>
                  <a:lnTo>
                    <a:pt x="1734" y="4232"/>
                  </a:lnTo>
                  <a:lnTo>
                    <a:pt x="1736" y="4233"/>
                  </a:lnTo>
                  <a:lnTo>
                    <a:pt x="1742" y="4236"/>
                  </a:lnTo>
                  <a:lnTo>
                    <a:pt x="1742" y="4236"/>
                  </a:lnTo>
                  <a:lnTo>
                    <a:pt x="1742" y="4238"/>
                  </a:lnTo>
                  <a:lnTo>
                    <a:pt x="1742" y="4241"/>
                  </a:lnTo>
                  <a:lnTo>
                    <a:pt x="1742" y="4241"/>
                  </a:lnTo>
                  <a:lnTo>
                    <a:pt x="1745" y="4244"/>
                  </a:lnTo>
                  <a:lnTo>
                    <a:pt x="1754" y="4252"/>
                  </a:lnTo>
                  <a:lnTo>
                    <a:pt x="1756" y="4252"/>
                  </a:lnTo>
                  <a:lnTo>
                    <a:pt x="1757" y="4253"/>
                  </a:lnTo>
                  <a:lnTo>
                    <a:pt x="1771" y="4256"/>
                  </a:lnTo>
                  <a:lnTo>
                    <a:pt x="1777" y="4259"/>
                  </a:lnTo>
                  <a:lnTo>
                    <a:pt x="1780" y="4259"/>
                  </a:lnTo>
                  <a:lnTo>
                    <a:pt x="1785" y="4262"/>
                  </a:lnTo>
                  <a:lnTo>
                    <a:pt x="1786" y="4264"/>
                  </a:lnTo>
                  <a:lnTo>
                    <a:pt x="1789" y="4267"/>
                  </a:lnTo>
                  <a:lnTo>
                    <a:pt x="1791" y="4267"/>
                  </a:lnTo>
                  <a:lnTo>
                    <a:pt x="1799" y="4270"/>
                  </a:lnTo>
                  <a:lnTo>
                    <a:pt x="1800" y="4270"/>
                  </a:lnTo>
                  <a:lnTo>
                    <a:pt x="1802" y="4272"/>
                  </a:lnTo>
                  <a:lnTo>
                    <a:pt x="1802" y="4275"/>
                  </a:lnTo>
                  <a:lnTo>
                    <a:pt x="1800" y="4276"/>
                  </a:lnTo>
                  <a:lnTo>
                    <a:pt x="1799" y="4278"/>
                  </a:lnTo>
                  <a:lnTo>
                    <a:pt x="1796" y="4281"/>
                  </a:lnTo>
                  <a:lnTo>
                    <a:pt x="1796" y="4284"/>
                  </a:lnTo>
                  <a:lnTo>
                    <a:pt x="1797" y="4286"/>
                  </a:lnTo>
                  <a:lnTo>
                    <a:pt x="1802" y="4287"/>
                  </a:lnTo>
                  <a:lnTo>
                    <a:pt x="1805" y="4287"/>
                  </a:lnTo>
                  <a:lnTo>
                    <a:pt x="1808" y="4289"/>
                  </a:lnTo>
                  <a:lnTo>
                    <a:pt x="1810" y="4289"/>
                  </a:lnTo>
                  <a:lnTo>
                    <a:pt x="1811" y="4290"/>
                  </a:lnTo>
                  <a:lnTo>
                    <a:pt x="1813" y="4290"/>
                  </a:lnTo>
                  <a:lnTo>
                    <a:pt x="1813" y="4290"/>
                  </a:lnTo>
                  <a:lnTo>
                    <a:pt x="1814" y="4290"/>
                  </a:lnTo>
                  <a:lnTo>
                    <a:pt x="1816" y="4287"/>
                  </a:lnTo>
                  <a:lnTo>
                    <a:pt x="1817" y="4286"/>
                  </a:lnTo>
                  <a:lnTo>
                    <a:pt x="1820" y="4284"/>
                  </a:lnTo>
                  <a:lnTo>
                    <a:pt x="1828" y="4284"/>
                  </a:lnTo>
                  <a:lnTo>
                    <a:pt x="1830" y="4284"/>
                  </a:lnTo>
                  <a:lnTo>
                    <a:pt x="1831" y="4282"/>
                  </a:lnTo>
                  <a:lnTo>
                    <a:pt x="1833" y="4282"/>
                  </a:lnTo>
                  <a:lnTo>
                    <a:pt x="1834" y="4281"/>
                  </a:lnTo>
                  <a:lnTo>
                    <a:pt x="1834" y="4278"/>
                  </a:lnTo>
                  <a:lnTo>
                    <a:pt x="1837" y="4276"/>
                  </a:lnTo>
                  <a:lnTo>
                    <a:pt x="1843" y="4275"/>
                  </a:lnTo>
                  <a:lnTo>
                    <a:pt x="1846" y="4275"/>
                  </a:lnTo>
                  <a:lnTo>
                    <a:pt x="1853" y="4272"/>
                  </a:lnTo>
                  <a:lnTo>
                    <a:pt x="1854" y="4270"/>
                  </a:lnTo>
                  <a:lnTo>
                    <a:pt x="1857" y="4270"/>
                  </a:lnTo>
                  <a:lnTo>
                    <a:pt x="1862" y="4272"/>
                  </a:lnTo>
                  <a:lnTo>
                    <a:pt x="1863" y="4272"/>
                  </a:lnTo>
                  <a:lnTo>
                    <a:pt x="1865" y="4272"/>
                  </a:lnTo>
                  <a:lnTo>
                    <a:pt x="1866" y="4273"/>
                  </a:lnTo>
                  <a:lnTo>
                    <a:pt x="1868" y="4275"/>
                  </a:lnTo>
                  <a:lnTo>
                    <a:pt x="1870" y="4276"/>
                  </a:lnTo>
                  <a:lnTo>
                    <a:pt x="1871" y="4278"/>
                  </a:lnTo>
                  <a:lnTo>
                    <a:pt x="1873" y="4284"/>
                  </a:lnTo>
                  <a:lnTo>
                    <a:pt x="1874" y="4286"/>
                  </a:lnTo>
                  <a:lnTo>
                    <a:pt x="1874" y="4284"/>
                  </a:lnTo>
                  <a:lnTo>
                    <a:pt x="1876" y="4279"/>
                  </a:lnTo>
                  <a:lnTo>
                    <a:pt x="1877" y="4275"/>
                  </a:lnTo>
                  <a:lnTo>
                    <a:pt x="1879" y="4272"/>
                  </a:lnTo>
                  <a:lnTo>
                    <a:pt x="1880" y="4270"/>
                  </a:lnTo>
                  <a:lnTo>
                    <a:pt x="1883" y="4270"/>
                  </a:lnTo>
                  <a:lnTo>
                    <a:pt x="1891" y="4276"/>
                  </a:lnTo>
                  <a:lnTo>
                    <a:pt x="1893" y="4276"/>
                  </a:lnTo>
                  <a:lnTo>
                    <a:pt x="1894" y="4278"/>
                  </a:lnTo>
                  <a:lnTo>
                    <a:pt x="1896" y="4276"/>
                  </a:lnTo>
                  <a:lnTo>
                    <a:pt x="1896" y="4276"/>
                  </a:lnTo>
                  <a:lnTo>
                    <a:pt x="1899" y="4276"/>
                  </a:lnTo>
                  <a:lnTo>
                    <a:pt x="1900" y="4276"/>
                  </a:lnTo>
                  <a:lnTo>
                    <a:pt x="1902" y="4276"/>
                  </a:lnTo>
                  <a:lnTo>
                    <a:pt x="1905" y="4278"/>
                  </a:lnTo>
                  <a:lnTo>
                    <a:pt x="1911" y="4287"/>
                  </a:lnTo>
                  <a:lnTo>
                    <a:pt x="1913" y="4289"/>
                  </a:lnTo>
                  <a:lnTo>
                    <a:pt x="1913" y="4290"/>
                  </a:lnTo>
                  <a:lnTo>
                    <a:pt x="1914" y="4292"/>
                  </a:lnTo>
                  <a:lnTo>
                    <a:pt x="1914" y="4293"/>
                  </a:lnTo>
                  <a:lnTo>
                    <a:pt x="1917" y="4295"/>
                  </a:lnTo>
                  <a:lnTo>
                    <a:pt x="1920" y="4293"/>
                  </a:lnTo>
                  <a:lnTo>
                    <a:pt x="1927" y="4292"/>
                  </a:lnTo>
                  <a:lnTo>
                    <a:pt x="1931" y="4292"/>
                  </a:lnTo>
                  <a:lnTo>
                    <a:pt x="1937" y="4293"/>
                  </a:lnTo>
                  <a:lnTo>
                    <a:pt x="1943" y="4295"/>
                  </a:lnTo>
                  <a:lnTo>
                    <a:pt x="1947" y="4299"/>
                  </a:lnTo>
                  <a:lnTo>
                    <a:pt x="1947" y="4299"/>
                  </a:lnTo>
                  <a:lnTo>
                    <a:pt x="1945" y="4301"/>
                  </a:lnTo>
                  <a:lnTo>
                    <a:pt x="1937" y="4324"/>
                  </a:lnTo>
                  <a:lnTo>
                    <a:pt x="1937" y="4326"/>
                  </a:lnTo>
                  <a:lnTo>
                    <a:pt x="1940" y="4327"/>
                  </a:lnTo>
                  <a:lnTo>
                    <a:pt x="1943" y="4329"/>
                  </a:lnTo>
                  <a:lnTo>
                    <a:pt x="1951" y="4335"/>
                  </a:lnTo>
                  <a:lnTo>
                    <a:pt x="1956" y="4336"/>
                  </a:lnTo>
                  <a:lnTo>
                    <a:pt x="1957" y="4336"/>
                  </a:lnTo>
                  <a:lnTo>
                    <a:pt x="1959" y="4343"/>
                  </a:lnTo>
                  <a:lnTo>
                    <a:pt x="1960" y="4343"/>
                  </a:lnTo>
                  <a:lnTo>
                    <a:pt x="1962" y="4344"/>
                  </a:lnTo>
                  <a:lnTo>
                    <a:pt x="1964" y="4344"/>
                  </a:lnTo>
                  <a:lnTo>
                    <a:pt x="1964" y="4344"/>
                  </a:lnTo>
                  <a:lnTo>
                    <a:pt x="1964" y="4343"/>
                  </a:lnTo>
                  <a:lnTo>
                    <a:pt x="1965" y="4343"/>
                  </a:lnTo>
                  <a:lnTo>
                    <a:pt x="1965" y="4343"/>
                  </a:lnTo>
                  <a:lnTo>
                    <a:pt x="1967" y="4344"/>
                  </a:lnTo>
                  <a:lnTo>
                    <a:pt x="1967" y="4344"/>
                  </a:lnTo>
                  <a:lnTo>
                    <a:pt x="1968" y="4344"/>
                  </a:lnTo>
                  <a:lnTo>
                    <a:pt x="1970" y="4344"/>
                  </a:lnTo>
                  <a:lnTo>
                    <a:pt x="1970" y="4344"/>
                  </a:lnTo>
                  <a:lnTo>
                    <a:pt x="1971" y="4347"/>
                  </a:lnTo>
                  <a:lnTo>
                    <a:pt x="1973" y="4347"/>
                  </a:lnTo>
                  <a:lnTo>
                    <a:pt x="1974" y="4347"/>
                  </a:lnTo>
                  <a:lnTo>
                    <a:pt x="1979" y="4347"/>
                  </a:lnTo>
                  <a:lnTo>
                    <a:pt x="1979" y="4347"/>
                  </a:lnTo>
                  <a:lnTo>
                    <a:pt x="1979" y="4347"/>
                  </a:lnTo>
                  <a:lnTo>
                    <a:pt x="1980" y="4347"/>
                  </a:lnTo>
                  <a:lnTo>
                    <a:pt x="1980" y="4347"/>
                  </a:lnTo>
                  <a:lnTo>
                    <a:pt x="1982" y="4347"/>
                  </a:lnTo>
                  <a:lnTo>
                    <a:pt x="1982" y="4347"/>
                  </a:lnTo>
                  <a:lnTo>
                    <a:pt x="1984" y="4349"/>
                  </a:lnTo>
                  <a:lnTo>
                    <a:pt x="1987" y="4352"/>
                  </a:lnTo>
                  <a:lnTo>
                    <a:pt x="1990" y="4353"/>
                  </a:lnTo>
                  <a:lnTo>
                    <a:pt x="1994" y="4353"/>
                  </a:lnTo>
                  <a:lnTo>
                    <a:pt x="1996" y="4355"/>
                  </a:lnTo>
                  <a:lnTo>
                    <a:pt x="1997" y="4356"/>
                  </a:lnTo>
                  <a:lnTo>
                    <a:pt x="1999" y="4358"/>
                  </a:lnTo>
                  <a:lnTo>
                    <a:pt x="2000" y="4358"/>
                  </a:lnTo>
                  <a:lnTo>
                    <a:pt x="2005" y="4358"/>
                  </a:lnTo>
                  <a:lnTo>
                    <a:pt x="2005" y="4358"/>
                  </a:lnTo>
                  <a:lnTo>
                    <a:pt x="2007" y="4361"/>
                  </a:lnTo>
                  <a:lnTo>
                    <a:pt x="2005" y="4364"/>
                  </a:lnTo>
                  <a:lnTo>
                    <a:pt x="2007" y="4366"/>
                  </a:lnTo>
                  <a:lnTo>
                    <a:pt x="2008" y="4367"/>
                  </a:lnTo>
                  <a:lnTo>
                    <a:pt x="2008" y="4367"/>
                  </a:lnTo>
                  <a:lnTo>
                    <a:pt x="2010" y="4367"/>
                  </a:lnTo>
                  <a:lnTo>
                    <a:pt x="2013" y="4364"/>
                  </a:lnTo>
                  <a:lnTo>
                    <a:pt x="2014" y="4364"/>
                  </a:lnTo>
                  <a:lnTo>
                    <a:pt x="2017" y="4363"/>
                  </a:lnTo>
                  <a:lnTo>
                    <a:pt x="2017" y="4363"/>
                  </a:lnTo>
                  <a:lnTo>
                    <a:pt x="2019" y="4363"/>
                  </a:lnTo>
                  <a:lnTo>
                    <a:pt x="2021" y="4361"/>
                  </a:lnTo>
                  <a:lnTo>
                    <a:pt x="2021" y="4361"/>
                  </a:lnTo>
                  <a:lnTo>
                    <a:pt x="2021" y="4363"/>
                  </a:lnTo>
                  <a:lnTo>
                    <a:pt x="2022" y="4366"/>
                  </a:lnTo>
                  <a:lnTo>
                    <a:pt x="2022" y="4367"/>
                  </a:lnTo>
                  <a:lnTo>
                    <a:pt x="2022" y="4369"/>
                  </a:lnTo>
                  <a:lnTo>
                    <a:pt x="2027" y="4373"/>
                  </a:lnTo>
                  <a:lnTo>
                    <a:pt x="2028" y="4373"/>
                  </a:lnTo>
                  <a:lnTo>
                    <a:pt x="2030" y="4373"/>
                  </a:lnTo>
                  <a:lnTo>
                    <a:pt x="2031" y="4375"/>
                  </a:lnTo>
                  <a:lnTo>
                    <a:pt x="2033" y="4375"/>
                  </a:lnTo>
                  <a:lnTo>
                    <a:pt x="2033" y="4375"/>
                  </a:lnTo>
                  <a:lnTo>
                    <a:pt x="2033" y="4376"/>
                  </a:lnTo>
                  <a:lnTo>
                    <a:pt x="2033" y="4378"/>
                  </a:lnTo>
                  <a:lnTo>
                    <a:pt x="2034" y="4379"/>
                  </a:lnTo>
                  <a:lnTo>
                    <a:pt x="2037" y="4383"/>
                  </a:lnTo>
                  <a:lnTo>
                    <a:pt x="2041" y="4386"/>
                  </a:lnTo>
                  <a:lnTo>
                    <a:pt x="2041" y="4389"/>
                  </a:lnTo>
                  <a:lnTo>
                    <a:pt x="2042" y="4390"/>
                  </a:lnTo>
                  <a:lnTo>
                    <a:pt x="2042" y="4390"/>
                  </a:lnTo>
                  <a:lnTo>
                    <a:pt x="2045" y="4390"/>
                  </a:lnTo>
                  <a:lnTo>
                    <a:pt x="2047" y="4389"/>
                  </a:lnTo>
                  <a:lnTo>
                    <a:pt x="2048" y="4389"/>
                  </a:lnTo>
                  <a:lnTo>
                    <a:pt x="2050" y="4389"/>
                  </a:lnTo>
                  <a:lnTo>
                    <a:pt x="2050" y="4390"/>
                  </a:lnTo>
                  <a:lnTo>
                    <a:pt x="2051" y="4392"/>
                  </a:lnTo>
                  <a:lnTo>
                    <a:pt x="2051" y="4393"/>
                  </a:lnTo>
                  <a:lnTo>
                    <a:pt x="2051" y="4395"/>
                  </a:lnTo>
                  <a:lnTo>
                    <a:pt x="2053" y="4396"/>
                  </a:lnTo>
                  <a:lnTo>
                    <a:pt x="2053" y="4396"/>
                  </a:lnTo>
                  <a:lnTo>
                    <a:pt x="2054" y="4398"/>
                  </a:lnTo>
                  <a:lnTo>
                    <a:pt x="2054" y="4398"/>
                  </a:lnTo>
                  <a:lnTo>
                    <a:pt x="2054" y="4399"/>
                  </a:lnTo>
                  <a:lnTo>
                    <a:pt x="2054" y="4399"/>
                  </a:lnTo>
                  <a:lnTo>
                    <a:pt x="2057" y="4403"/>
                  </a:lnTo>
                  <a:lnTo>
                    <a:pt x="2057" y="4404"/>
                  </a:lnTo>
                  <a:lnTo>
                    <a:pt x="2057" y="4407"/>
                  </a:lnTo>
                  <a:lnTo>
                    <a:pt x="2057" y="4412"/>
                  </a:lnTo>
                  <a:lnTo>
                    <a:pt x="2059" y="4413"/>
                  </a:lnTo>
                  <a:lnTo>
                    <a:pt x="2059" y="4415"/>
                  </a:lnTo>
                  <a:lnTo>
                    <a:pt x="2065" y="4418"/>
                  </a:lnTo>
                  <a:lnTo>
                    <a:pt x="2067" y="4420"/>
                  </a:lnTo>
                  <a:lnTo>
                    <a:pt x="2068" y="4420"/>
                  </a:lnTo>
                  <a:lnTo>
                    <a:pt x="2076" y="4421"/>
                  </a:lnTo>
                  <a:lnTo>
                    <a:pt x="2077" y="4421"/>
                  </a:lnTo>
                  <a:lnTo>
                    <a:pt x="2079" y="4424"/>
                  </a:lnTo>
                  <a:lnTo>
                    <a:pt x="2081" y="4426"/>
                  </a:lnTo>
                  <a:lnTo>
                    <a:pt x="2082" y="4426"/>
                  </a:lnTo>
                  <a:lnTo>
                    <a:pt x="2085" y="4423"/>
                  </a:lnTo>
                  <a:lnTo>
                    <a:pt x="2087" y="4423"/>
                  </a:lnTo>
                  <a:lnTo>
                    <a:pt x="2088" y="4423"/>
                  </a:lnTo>
                  <a:lnTo>
                    <a:pt x="2091" y="4424"/>
                  </a:lnTo>
                  <a:lnTo>
                    <a:pt x="2093" y="4426"/>
                  </a:lnTo>
                  <a:lnTo>
                    <a:pt x="2094" y="4426"/>
                  </a:lnTo>
                  <a:lnTo>
                    <a:pt x="2101" y="4426"/>
                  </a:lnTo>
                  <a:lnTo>
                    <a:pt x="2102" y="4426"/>
                  </a:lnTo>
                  <a:lnTo>
                    <a:pt x="2105" y="4424"/>
                  </a:lnTo>
                  <a:lnTo>
                    <a:pt x="2107" y="4424"/>
                  </a:lnTo>
                  <a:lnTo>
                    <a:pt x="2107" y="4423"/>
                  </a:lnTo>
                  <a:lnTo>
                    <a:pt x="2107" y="4421"/>
                  </a:lnTo>
                  <a:lnTo>
                    <a:pt x="2105" y="4420"/>
                  </a:lnTo>
                  <a:lnTo>
                    <a:pt x="2107" y="4418"/>
                  </a:lnTo>
                  <a:lnTo>
                    <a:pt x="2107" y="4416"/>
                  </a:lnTo>
                  <a:lnTo>
                    <a:pt x="2108" y="4415"/>
                  </a:lnTo>
                  <a:lnTo>
                    <a:pt x="2108" y="4415"/>
                  </a:lnTo>
                  <a:lnTo>
                    <a:pt x="2110" y="4412"/>
                  </a:lnTo>
                  <a:lnTo>
                    <a:pt x="2110" y="4410"/>
                  </a:lnTo>
                  <a:lnTo>
                    <a:pt x="2111" y="4410"/>
                  </a:lnTo>
                  <a:lnTo>
                    <a:pt x="2113" y="4410"/>
                  </a:lnTo>
                  <a:lnTo>
                    <a:pt x="2114" y="4409"/>
                  </a:lnTo>
                  <a:lnTo>
                    <a:pt x="2116" y="4403"/>
                  </a:lnTo>
                  <a:lnTo>
                    <a:pt x="2118" y="4399"/>
                  </a:lnTo>
                  <a:lnTo>
                    <a:pt x="2121" y="4398"/>
                  </a:lnTo>
                  <a:lnTo>
                    <a:pt x="2130" y="4396"/>
                  </a:lnTo>
                  <a:lnTo>
                    <a:pt x="2131" y="4395"/>
                  </a:lnTo>
                  <a:lnTo>
                    <a:pt x="2136" y="4392"/>
                  </a:lnTo>
                  <a:lnTo>
                    <a:pt x="2142" y="4387"/>
                  </a:lnTo>
                  <a:lnTo>
                    <a:pt x="2144" y="4386"/>
                  </a:lnTo>
                  <a:lnTo>
                    <a:pt x="2145" y="4383"/>
                  </a:lnTo>
                  <a:lnTo>
                    <a:pt x="2148" y="4375"/>
                  </a:lnTo>
                  <a:lnTo>
                    <a:pt x="2148" y="4373"/>
                  </a:lnTo>
                  <a:lnTo>
                    <a:pt x="2153" y="4367"/>
                  </a:lnTo>
                  <a:lnTo>
                    <a:pt x="2158" y="4361"/>
                  </a:lnTo>
                  <a:lnTo>
                    <a:pt x="2158" y="4361"/>
                  </a:lnTo>
                  <a:lnTo>
                    <a:pt x="2156" y="4358"/>
                  </a:lnTo>
                  <a:lnTo>
                    <a:pt x="2151" y="4356"/>
                  </a:lnTo>
                  <a:lnTo>
                    <a:pt x="2148" y="4356"/>
                  </a:lnTo>
                  <a:lnTo>
                    <a:pt x="2145" y="4355"/>
                  </a:lnTo>
                  <a:lnTo>
                    <a:pt x="2144" y="4352"/>
                  </a:lnTo>
                  <a:lnTo>
                    <a:pt x="2139" y="4343"/>
                  </a:lnTo>
                  <a:lnTo>
                    <a:pt x="2138" y="4339"/>
                  </a:lnTo>
                  <a:lnTo>
                    <a:pt x="2138" y="4338"/>
                  </a:lnTo>
                  <a:lnTo>
                    <a:pt x="2138" y="4336"/>
                  </a:lnTo>
                  <a:lnTo>
                    <a:pt x="2136" y="4335"/>
                  </a:lnTo>
                  <a:lnTo>
                    <a:pt x="2133" y="4332"/>
                  </a:lnTo>
                  <a:lnTo>
                    <a:pt x="2131" y="4329"/>
                  </a:lnTo>
                  <a:lnTo>
                    <a:pt x="2121" y="4312"/>
                  </a:lnTo>
                  <a:lnTo>
                    <a:pt x="2121" y="4310"/>
                  </a:lnTo>
                  <a:lnTo>
                    <a:pt x="2116" y="4307"/>
                  </a:lnTo>
                  <a:lnTo>
                    <a:pt x="2113" y="4304"/>
                  </a:lnTo>
                  <a:lnTo>
                    <a:pt x="2110" y="4298"/>
                  </a:lnTo>
                  <a:lnTo>
                    <a:pt x="2104" y="4287"/>
                  </a:lnTo>
                  <a:lnTo>
                    <a:pt x="2102" y="4286"/>
                  </a:lnTo>
                  <a:lnTo>
                    <a:pt x="2096" y="4282"/>
                  </a:lnTo>
                  <a:lnTo>
                    <a:pt x="2094" y="4279"/>
                  </a:lnTo>
                  <a:lnTo>
                    <a:pt x="2093" y="4276"/>
                  </a:lnTo>
                  <a:lnTo>
                    <a:pt x="2093" y="4272"/>
                  </a:lnTo>
                  <a:lnTo>
                    <a:pt x="2093" y="4272"/>
                  </a:lnTo>
                  <a:lnTo>
                    <a:pt x="2093" y="4270"/>
                  </a:lnTo>
                  <a:lnTo>
                    <a:pt x="2093" y="4270"/>
                  </a:lnTo>
                  <a:lnTo>
                    <a:pt x="2093" y="4269"/>
                  </a:lnTo>
                  <a:lnTo>
                    <a:pt x="2093" y="4264"/>
                  </a:lnTo>
                  <a:lnTo>
                    <a:pt x="2093" y="4262"/>
                  </a:lnTo>
                  <a:lnTo>
                    <a:pt x="2093" y="4262"/>
                  </a:lnTo>
                  <a:lnTo>
                    <a:pt x="2091" y="4259"/>
                  </a:lnTo>
                  <a:lnTo>
                    <a:pt x="2091" y="4259"/>
                  </a:lnTo>
                  <a:lnTo>
                    <a:pt x="2087" y="4255"/>
                  </a:lnTo>
                  <a:lnTo>
                    <a:pt x="2085" y="4253"/>
                  </a:lnTo>
                  <a:lnTo>
                    <a:pt x="2084" y="4253"/>
                  </a:lnTo>
                  <a:lnTo>
                    <a:pt x="2084" y="4252"/>
                  </a:lnTo>
                  <a:lnTo>
                    <a:pt x="2079" y="4250"/>
                  </a:lnTo>
                  <a:lnTo>
                    <a:pt x="2074" y="4244"/>
                  </a:lnTo>
                  <a:lnTo>
                    <a:pt x="2073" y="4238"/>
                  </a:lnTo>
                  <a:lnTo>
                    <a:pt x="2073" y="4235"/>
                  </a:lnTo>
                  <a:lnTo>
                    <a:pt x="2074" y="4235"/>
                  </a:lnTo>
                  <a:lnTo>
                    <a:pt x="2076" y="4233"/>
                  </a:lnTo>
                  <a:lnTo>
                    <a:pt x="2076" y="4233"/>
                  </a:lnTo>
                  <a:lnTo>
                    <a:pt x="2076" y="4232"/>
                  </a:lnTo>
                  <a:lnTo>
                    <a:pt x="2076" y="4230"/>
                  </a:lnTo>
                  <a:lnTo>
                    <a:pt x="2076" y="4229"/>
                  </a:lnTo>
                  <a:lnTo>
                    <a:pt x="2076" y="4229"/>
                  </a:lnTo>
                  <a:lnTo>
                    <a:pt x="2076" y="4227"/>
                  </a:lnTo>
                  <a:lnTo>
                    <a:pt x="2076" y="4225"/>
                  </a:lnTo>
                  <a:lnTo>
                    <a:pt x="2076" y="4224"/>
                  </a:lnTo>
                  <a:lnTo>
                    <a:pt x="2077" y="4221"/>
                  </a:lnTo>
                  <a:lnTo>
                    <a:pt x="2077" y="4221"/>
                  </a:lnTo>
                  <a:lnTo>
                    <a:pt x="2081" y="4219"/>
                  </a:lnTo>
                  <a:lnTo>
                    <a:pt x="2082" y="4218"/>
                  </a:lnTo>
                  <a:lnTo>
                    <a:pt x="2082" y="4216"/>
                  </a:lnTo>
                  <a:lnTo>
                    <a:pt x="2084" y="4216"/>
                  </a:lnTo>
                  <a:lnTo>
                    <a:pt x="2084" y="4215"/>
                  </a:lnTo>
                  <a:lnTo>
                    <a:pt x="2084" y="4213"/>
                  </a:lnTo>
                  <a:lnTo>
                    <a:pt x="2084" y="4213"/>
                  </a:lnTo>
                  <a:lnTo>
                    <a:pt x="2082" y="4212"/>
                  </a:lnTo>
                  <a:lnTo>
                    <a:pt x="2082" y="4212"/>
                  </a:lnTo>
                  <a:lnTo>
                    <a:pt x="2081" y="4213"/>
                  </a:lnTo>
                  <a:lnTo>
                    <a:pt x="2079" y="4213"/>
                  </a:lnTo>
                  <a:lnTo>
                    <a:pt x="2077" y="4216"/>
                  </a:lnTo>
                  <a:lnTo>
                    <a:pt x="2076" y="4215"/>
                  </a:lnTo>
                  <a:lnTo>
                    <a:pt x="2076" y="4213"/>
                  </a:lnTo>
                  <a:lnTo>
                    <a:pt x="2076" y="4212"/>
                  </a:lnTo>
                  <a:lnTo>
                    <a:pt x="2076" y="4210"/>
                  </a:lnTo>
                  <a:lnTo>
                    <a:pt x="2076" y="4207"/>
                  </a:lnTo>
                  <a:lnTo>
                    <a:pt x="2076" y="4202"/>
                  </a:lnTo>
                  <a:lnTo>
                    <a:pt x="2076" y="4198"/>
                  </a:lnTo>
                  <a:lnTo>
                    <a:pt x="2079" y="4193"/>
                  </a:lnTo>
                  <a:lnTo>
                    <a:pt x="2081" y="4181"/>
                  </a:lnTo>
                  <a:lnTo>
                    <a:pt x="2085" y="4167"/>
                  </a:lnTo>
                  <a:lnTo>
                    <a:pt x="2088" y="4161"/>
                  </a:lnTo>
                  <a:lnTo>
                    <a:pt x="2091" y="4156"/>
                  </a:lnTo>
                  <a:lnTo>
                    <a:pt x="2090" y="4155"/>
                  </a:lnTo>
                  <a:lnTo>
                    <a:pt x="2088" y="4155"/>
                  </a:lnTo>
                  <a:lnTo>
                    <a:pt x="2087" y="4153"/>
                  </a:lnTo>
                  <a:lnTo>
                    <a:pt x="2084" y="4153"/>
                  </a:lnTo>
                  <a:lnTo>
                    <a:pt x="2084" y="4153"/>
                  </a:lnTo>
                  <a:lnTo>
                    <a:pt x="2081" y="4156"/>
                  </a:lnTo>
                  <a:lnTo>
                    <a:pt x="2081" y="4158"/>
                  </a:lnTo>
                  <a:lnTo>
                    <a:pt x="2081" y="4158"/>
                  </a:lnTo>
                  <a:lnTo>
                    <a:pt x="2081" y="4161"/>
                  </a:lnTo>
                  <a:lnTo>
                    <a:pt x="2081" y="4164"/>
                  </a:lnTo>
                  <a:lnTo>
                    <a:pt x="2079" y="4167"/>
                  </a:lnTo>
                  <a:lnTo>
                    <a:pt x="2079" y="4169"/>
                  </a:lnTo>
                  <a:lnTo>
                    <a:pt x="2077" y="4172"/>
                  </a:lnTo>
                  <a:lnTo>
                    <a:pt x="2077" y="4173"/>
                  </a:lnTo>
                  <a:lnTo>
                    <a:pt x="2077" y="4176"/>
                  </a:lnTo>
                  <a:lnTo>
                    <a:pt x="2077" y="4178"/>
                  </a:lnTo>
                  <a:lnTo>
                    <a:pt x="2076" y="4178"/>
                  </a:lnTo>
                  <a:lnTo>
                    <a:pt x="2076" y="4179"/>
                  </a:lnTo>
                  <a:lnTo>
                    <a:pt x="2076" y="4179"/>
                  </a:lnTo>
                  <a:lnTo>
                    <a:pt x="2074" y="4181"/>
                  </a:lnTo>
                  <a:lnTo>
                    <a:pt x="2074" y="4185"/>
                  </a:lnTo>
                  <a:lnTo>
                    <a:pt x="2074" y="4189"/>
                  </a:lnTo>
                  <a:lnTo>
                    <a:pt x="2073" y="4193"/>
                  </a:lnTo>
                  <a:lnTo>
                    <a:pt x="2071" y="4195"/>
                  </a:lnTo>
                  <a:lnTo>
                    <a:pt x="2070" y="4193"/>
                  </a:lnTo>
                  <a:lnTo>
                    <a:pt x="2070" y="4192"/>
                  </a:lnTo>
                  <a:lnTo>
                    <a:pt x="2070" y="4190"/>
                  </a:lnTo>
                  <a:lnTo>
                    <a:pt x="2068" y="4190"/>
                  </a:lnTo>
                  <a:lnTo>
                    <a:pt x="2068" y="4189"/>
                  </a:lnTo>
                  <a:lnTo>
                    <a:pt x="2067" y="4187"/>
                  </a:lnTo>
                  <a:lnTo>
                    <a:pt x="2067" y="4184"/>
                  </a:lnTo>
                  <a:lnTo>
                    <a:pt x="2067" y="4182"/>
                  </a:lnTo>
                  <a:lnTo>
                    <a:pt x="2068" y="4182"/>
                  </a:lnTo>
                  <a:lnTo>
                    <a:pt x="2068" y="4182"/>
                  </a:lnTo>
                  <a:lnTo>
                    <a:pt x="2068" y="4184"/>
                  </a:lnTo>
                  <a:lnTo>
                    <a:pt x="2070" y="4181"/>
                  </a:lnTo>
                  <a:lnTo>
                    <a:pt x="2071" y="4178"/>
                  </a:lnTo>
                  <a:lnTo>
                    <a:pt x="2071" y="4176"/>
                  </a:lnTo>
                  <a:lnTo>
                    <a:pt x="2073" y="4176"/>
                  </a:lnTo>
                  <a:lnTo>
                    <a:pt x="2073" y="4176"/>
                  </a:lnTo>
                  <a:lnTo>
                    <a:pt x="2073" y="4175"/>
                  </a:lnTo>
                  <a:lnTo>
                    <a:pt x="2071" y="4173"/>
                  </a:lnTo>
                  <a:lnTo>
                    <a:pt x="2073" y="4170"/>
                  </a:lnTo>
                  <a:lnTo>
                    <a:pt x="2073" y="4170"/>
                  </a:lnTo>
                  <a:lnTo>
                    <a:pt x="2074" y="4169"/>
                  </a:lnTo>
                  <a:lnTo>
                    <a:pt x="2074" y="4169"/>
                  </a:lnTo>
                  <a:lnTo>
                    <a:pt x="2076" y="4167"/>
                  </a:lnTo>
                  <a:lnTo>
                    <a:pt x="2077" y="4167"/>
                  </a:lnTo>
                  <a:lnTo>
                    <a:pt x="2077" y="4165"/>
                  </a:lnTo>
                  <a:lnTo>
                    <a:pt x="2076" y="4162"/>
                  </a:lnTo>
                  <a:lnTo>
                    <a:pt x="2076" y="4161"/>
                  </a:lnTo>
                  <a:lnTo>
                    <a:pt x="2074" y="4161"/>
                  </a:lnTo>
                  <a:lnTo>
                    <a:pt x="2073" y="4161"/>
                  </a:lnTo>
                  <a:lnTo>
                    <a:pt x="2073" y="4162"/>
                  </a:lnTo>
                  <a:lnTo>
                    <a:pt x="2073" y="4161"/>
                  </a:lnTo>
                  <a:lnTo>
                    <a:pt x="2074" y="4159"/>
                  </a:lnTo>
                  <a:lnTo>
                    <a:pt x="2074" y="4158"/>
                  </a:lnTo>
                  <a:lnTo>
                    <a:pt x="2073" y="4156"/>
                  </a:lnTo>
                  <a:lnTo>
                    <a:pt x="2071" y="4156"/>
                  </a:lnTo>
                  <a:lnTo>
                    <a:pt x="2071" y="4155"/>
                  </a:lnTo>
                  <a:lnTo>
                    <a:pt x="2071" y="4153"/>
                  </a:lnTo>
                  <a:lnTo>
                    <a:pt x="2070" y="4152"/>
                  </a:lnTo>
                  <a:lnTo>
                    <a:pt x="2068" y="4148"/>
                  </a:lnTo>
                  <a:lnTo>
                    <a:pt x="2067" y="4141"/>
                  </a:lnTo>
                  <a:lnTo>
                    <a:pt x="2065" y="4139"/>
                  </a:lnTo>
                  <a:lnTo>
                    <a:pt x="2065" y="4139"/>
                  </a:lnTo>
                  <a:lnTo>
                    <a:pt x="2064" y="4138"/>
                  </a:lnTo>
                  <a:lnTo>
                    <a:pt x="2061" y="4133"/>
                  </a:lnTo>
                  <a:lnTo>
                    <a:pt x="2059" y="4125"/>
                  </a:lnTo>
                  <a:lnTo>
                    <a:pt x="2057" y="4121"/>
                  </a:lnTo>
                  <a:lnTo>
                    <a:pt x="2056" y="4119"/>
                  </a:lnTo>
                  <a:lnTo>
                    <a:pt x="2056" y="4119"/>
                  </a:lnTo>
                  <a:lnTo>
                    <a:pt x="2054" y="4122"/>
                  </a:lnTo>
                  <a:lnTo>
                    <a:pt x="2053" y="4122"/>
                  </a:lnTo>
                  <a:lnTo>
                    <a:pt x="2053" y="4122"/>
                  </a:lnTo>
                  <a:lnTo>
                    <a:pt x="2051" y="4121"/>
                  </a:lnTo>
                  <a:lnTo>
                    <a:pt x="2050" y="4121"/>
                  </a:lnTo>
                  <a:lnTo>
                    <a:pt x="2048" y="4121"/>
                  </a:lnTo>
                  <a:lnTo>
                    <a:pt x="2048" y="4119"/>
                  </a:lnTo>
                  <a:lnTo>
                    <a:pt x="2047" y="4118"/>
                  </a:lnTo>
                  <a:lnTo>
                    <a:pt x="2045" y="4116"/>
                  </a:lnTo>
                  <a:lnTo>
                    <a:pt x="2045" y="4115"/>
                  </a:lnTo>
                  <a:lnTo>
                    <a:pt x="2044" y="4110"/>
                  </a:lnTo>
                  <a:lnTo>
                    <a:pt x="2044" y="4107"/>
                  </a:lnTo>
                  <a:lnTo>
                    <a:pt x="2042" y="4105"/>
                  </a:lnTo>
                  <a:lnTo>
                    <a:pt x="2041" y="4105"/>
                  </a:lnTo>
                  <a:lnTo>
                    <a:pt x="2028" y="4102"/>
                  </a:lnTo>
                  <a:lnTo>
                    <a:pt x="2028" y="4102"/>
                  </a:lnTo>
                  <a:lnTo>
                    <a:pt x="2027" y="4102"/>
                  </a:lnTo>
                  <a:lnTo>
                    <a:pt x="2024" y="4102"/>
                  </a:lnTo>
                  <a:lnTo>
                    <a:pt x="2022" y="4102"/>
                  </a:lnTo>
                  <a:lnTo>
                    <a:pt x="2021" y="4101"/>
                  </a:lnTo>
                  <a:lnTo>
                    <a:pt x="2019" y="4099"/>
                  </a:lnTo>
                  <a:lnTo>
                    <a:pt x="2017" y="4098"/>
                  </a:lnTo>
                  <a:lnTo>
                    <a:pt x="2017" y="4095"/>
                  </a:lnTo>
                  <a:lnTo>
                    <a:pt x="2016" y="4092"/>
                  </a:lnTo>
                  <a:lnTo>
                    <a:pt x="2016" y="4088"/>
                  </a:lnTo>
                  <a:lnTo>
                    <a:pt x="2016" y="4087"/>
                  </a:lnTo>
                  <a:lnTo>
                    <a:pt x="2017" y="4087"/>
                  </a:lnTo>
                  <a:lnTo>
                    <a:pt x="2017" y="4087"/>
                  </a:lnTo>
                  <a:lnTo>
                    <a:pt x="2019" y="4087"/>
                  </a:lnTo>
                  <a:lnTo>
                    <a:pt x="2019" y="4087"/>
                  </a:lnTo>
                  <a:lnTo>
                    <a:pt x="2019" y="4085"/>
                  </a:lnTo>
                  <a:lnTo>
                    <a:pt x="2019" y="4084"/>
                  </a:lnTo>
                  <a:lnTo>
                    <a:pt x="2017" y="4084"/>
                  </a:lnTo>
                  <a:lnTo>
                    <a:pt x="2019" y="4078"/>
                  </a:lnTo>
                  <a:lnTo>
                    <a:pt x="2019" y="4075"/>
                  </a:lnTo>
                  <a:lnTo>
                    <a:pt x="2021" y="4076"/>
                  </a:lnTo>
                  <a:lnTo>
                    <a:pt x="2022" y="4073"/>
                  </a:lnTo>
                  <a:lnTo>
                    <a:pt x="2024" y="4070"/>
                  </a:lnTo>
                  <a:lnTo>
                    <a:pt x="2027" y="4071"/>
                  </a:lnTo>
                  <a:lnTo>
                    <a:pt x="2028" y="4070"/>
                  </a:lnTo>
                  <a:lnTo>
                    <a:pt x="2028" y="4068"/>
                  </a:lnTo>
                  <a:lnTo>
                    <a:pt x="2030" y="4067"/>
                  </a:lnTo>
                  <a:lnTo>
                    <a:pt x="2031" y="4065"/>
                  </a:lnTo>
                  <a:lnTo>
                    <a:pt x="2034" y="4064"/>
                  </a:lnTo>
                  <a:lnTo>
                    <a:pt x="2036" y="4062"/>
                  </a:lnTo>
                  <a:lnTo>
                    <a:pt x="2037" y="4064"/>
                  </a:lnTo>
                  <a:lnTo>
                    <a:pt x="2037" y="4062"/>
                  </a:lnTo>
                  <a:lnTo>
                    <a:pt x="2041" y="4058"/>
                  </a:lnTo>
                  <a:lnTo>
                    <a:pt x="2041" y="4058"/>
                  </a:lnTo>
                  <a:lnTo>
                    <a:pt x="2041" y="4055"/>
                  </a:lnTo>
                  <a:lnTo>
                    <a:pt x="2039" y="4053"/>
                  </a:lnTo>
                  <a:lnTo>
                    <a:pt x="2039" y="4050"/>
                  </a:lnTo>
                  <a:lnTo>
                    <a:pt x="2039" y="4048"/>
                  </a:lnTo>
                  <a:lnTo>
                    <a:pt x="2041" y="4047"/>
                  </a:lnTo>
                  <a:lnTo>
                    <a:pt x="2041" y="4050"/>
                  </a:lnTo>
                  <a:lnTo>
                    <a:pt x="2041" y="4055"/>
                  </a:lnTo>
                  <a:lnTo>
                    <a:pt x="2042" y="4056"/>
                  </a:lnTo>
                  <a:lnTo>
                    <a:pt x="2044" y="4059"/>
                  </a:lnTo>
                  <a:lnTo>
                    <a:pt x="2045" y="4062"/>
                  </a:lnTo>
                  <a:lnTo>
                    <a:pt x="2045" y="4062"/>
                  </a:lnTo>
                  <a:lnTo>
                    <a:pt x="2045" y="4061"/>
                  </a:lnTo>
                  <a:lnTo>
                    <a:pt x="2047" y="4058"/>
                  </a:lnTo>
                  <a:lnTo>
                    <a:pt x="2048" y="4053"/>
                  </a:lnTo>
                  <a:lnTo>
                    <a:pt x="2047" y="4045"/>
                  </a:lnTo>
                  <a:lnTo>
                    <a:pt x="2047" y="4044"/>
                  </a:lnTo>
                  <a:lnTo>
                    <a:pt x="2048" y="4044"/>
                  </a:lnTo>
                  <a:lnTo>
                    <a:pt x="2050" y="4044"/>
                  </a:lnTo>
                  <a:lnTo>
                    <a:pt x="2050" y="4045"/>
                  </a:lnTo>
                  <a:lnTo>
                    <a:pt x="2051" y="4047"/>
                  </a:lnTo>
                  <a:lnTo>
                    <a:pt x="2051" y="4045"/>
                  </a:lnTo>
                  <a:lnTo>
                    <a:pt x="2051" y="4042"/>
                  </a:lnTo>
                  <a:lnTo>
                    <a:pt x="2053" y="4042"/>
                  </a:lnTo>
                  <a:lnTo>
                    <a:pt x="2054" y="4042"/>
                  </a:lnTo>
                  <a:lnTo>
                    <a:pt x="2056" y="4041"/>
                  </a:lnTo>
                  <a:lnTo>
                    <a:pt x="2056" y="4036"/>
                  </a:lnTo>
                  <a:lnTo>
                    <a:pt x="2059" y="4033"/>
                  </a:lnTo>
                  <a:lnTo>
                    <a:pt x="2059" y="4030"/>
                  </a:lnTo>
                  <a:lnTo>
                    <a:pt x="2061" y="4027"/>
                  </a:lnTo>
                  <a:lnTo>
                    <a:pt x="2061" y="4022"/>
                  </a:lnTo>
                  <a:lnTo>
                    <a:pt x="2062" y="4019"/>
                  </a:lnTo>
                  <a:lnTo>
                    <a:pt x="2064" y="4019"/>
                  </a:lnTo>
                  <a:lnTo>
                    <a:pt x="2065" y="4019"/>
                  </a:lnTo>
                  <a:lnTo>
                    <a:pt x="2067" y="4019"/>
                  </a:lnTo>
                  <a:lnTo>
                    <a:pt x="2067" y="4019"/>
                  </a:lnTo>
                  <a:lnTo>
                    <a:pt x="2068" y="4018"/>
                  </a:lnTo>
                  <a:lnTo>
                    <a:pt x="2068" y="4010"/>
                  </a:lnTo>
                  <a:lnTo>
                    <a:pt x="2068" y="4008"/>
                  </a:lnTo>
                  <a:lnTo>
                    <a:pt x="2070" y="4005"/>
                  </a:lnTo>
                  <a:lnTo>
                    <a:pt x="2071" y="4002"/>
                  </a:lnTo>
                  <a:lnTo>
                    <a:pt x="2071" y="4001"/>
                  </a:lnTo>
                  <a:lnTo>
                    <a:pt x="2071" y="4001"/>
                  </a:lnTo>
                  <a:lnTo>
                    <a:pt x="2071" y="4001"/>
                  </a:lnTo>
                  <a:lnTo>
                    <a:pt x="2073" y="3999"/>
                  </a:lnTo>
                  <a:lnTo>
                    <a:pt x="2073" y="3999"/>
                  </a:lnTo>
                  <a:lnTo>
                    <a:pt x="2074" y="3998"/>
                  </a:lnTo>
                  <a:lnTo>
                    <a:pt x="2074" y="3998"/>
                  </a:lnTo>
                  <a:lnTo>
                    <a:pt x="2073" y="3998"/>
                  </a:lnTo>
                  <a:lnTo>
                    <a:pt x="2070" y="3996"/>
                  </a:lnTo>
                  <a:lnTo>
                    <a:pt x="2068" y="3996"/>
                  </a:lnTo>
                  <a:lnTo>
                    <a:pt x="2068" y="3995"/>
                  </a:lnTo>
                  <a:lnTo>
                    <a:pt x="2071" y="3995"/>
                  </a:lnTo>
                  <a:lnTo>
                    <a:pt x="2076" y="3995"/>
                  </a:lnTo>
                  <a:lnTo>
                    <a:pt x="2076" y="3995"/>
                  </a:lnTo>
                  <a:lnTo>
                    <a:pt x="2077" y="3993"/>
                  </a:lnTo>
                  <a:lnTo>
                    <a:pt x="2076" y="3990"/>
                  </a:lnTo>
                  <a:lnTo>
                    <a:pt x="2076" y="3990"/>
                  </a:lnTo>
                  <a:lnTo>
                    <a:pt x="2077" y="3988"/>
                  </a:lnTo>
                  <a:lnTo>
                    <a:pt x="2079" y="3985"/>
                  </a:lnTo>
                  <a:lnTo>
                    <a:pt x="2079" y="3985"/>
                  </a:lnTo>
                  <a:lnTo>
                    <a:pt x="2079" y="3985"/>
                  </a:lnTo>
                  <a:lnTo>
                    <a:pt x="2079" y="3984"/>
                  </a:lnTo>
                  <a:lnTo>
                    <a:pt x="2077" y="3981"/>
                  </a:lnTo>
                  <a:lnTo>
                    <a:pt x="2076" y="3979"/>
                  </a:lnTo>
                  <a:lnTo>
                    <a:pt x="2076" y="3979"/>
                  </a:lnTo>
                  <a:lnTo>
                    <a:pt x="2076" y="3978"/>
                  </a:lnTo>
                  <a:lnTo>
                    <a:pt x="2077" y="3976"/>
                  </a:lnTo>
                  <a:lnTo>
                    <a:pt x="2077" y="3979"/>
                  </a:lnTo>
                  <a:lnTo>
                    <a:pt x="2079" y="3981"/>
                  </a:lnTo>
                  <a:lnTo>
                    <a:pt x="2081" y="3982"/>
                  </a:lnTo>
                  <a:lnTo>
                    <a:pt x="2081" y="3982"/>
                  </a:lnTo>
                  <a:lnTo>
                    <a:pt x="2081" y="3982"/>
                  </a:lnTo>
                  <a:lnTo>
                    <a:pt x="2082" y="3981"/>
                  </a:lnTo>
                  <a:lnTo>
                    <a:pt x="2082" y="3981"/>
                  </a:lnTo>
                  <a:lnTo>
                    <a:pt x="2082" y="3979"/>
                  </a:lnTo>
                  <a:lnTo>
                    <a:pt x="2082" y="3979"/>
                  </a:lnTo>
                  <a:lnTo>
                    <a:pt x="2082" y="3976"/>
                  </a:lnTo>
                  <a:lnTo>
                    <a:pt x="2081" y="3974"/>
                  </a:lnTo>
                  <a:lnTo>
                    <a:pt x="2081" y="3974"/>
                  </a:lnTo>
                  <a:lnTo>
                    <a:pt x="2081" y="3973"/>
                  </a:lnTo>
                  <a:lnTo>
                    <a:pt x="2079" y="3971"/>
                  </a:lnTo>
                  <a:lnTo>
                    <a:pt x="2077" y="3971"/>
                  </a:lnTo>
                  <a:lnTo>
                    <a:pt x="2074" y="3970"/>
                  </a:lnTo>
                  <a:lnTo>
                    <a:pt x="2074" y="3970"/>
                  </a:lnTo>
                  <a:lnTo>
                    <a:pt x="2073" y="3968"/>
                  </a:lnTo>
                  <a:lnTo>
                    <a:pt x="2073" y="3968"/>
                  </a:lnTo>
                  <a:lnTo>
                    <a:pt x="2073" y="3968"/>
                  </a:lnTo>
                  <a:lnTo>
                    <a:pt x="2071" y="3968"/>
                  </a:lnTo>
                  <a:lnTo>
                    <a:pt x="2071" y="3968"/>
                  </a:lnTo>
                  <a:lnTo>
                    <a:pt x="2071" y="3967"/>
                  </a:lnTo>
                  <a:lnTo>
                    <a:pt x="2070" y="3967"/>
                  </a:lnTo>
                  <a:lnTo>
                    <a:pt x="2070" y="3965"/>
                  </a:lnTo>
                  <a:lnTo>
                    <a:pt x="2070" y="3965"/>
                  </a:lnTo>
                  <a:lnTo>
                    <a:pt x="2070" y="3964"/>
                  </a:lnTo>
                  <a:lnTo>
                    <a:pt x="2068" y="3962"/>
                  </a:lnTo>
                  <a:lnTo>
                    <a:pt x="2068" y="3961"/>
                  </a:lnTo>
                  <a:lnTo>
                    <a:pt x="2068" y="3961"/>
                  </a:lnTo>
                  <a:lnTo>
                    <a:pt x="2070" y="3959"/>
                  </a:lnTo>
                  <a:lnTo>
                    <a:pt x="2070" y="3961"/>
                  </a:lnTo>
                  <a:lnTo>
                    <a:pt x="2070" y="3961"/>
                  </a:lnTo>
                  <a:lnTo>
                    <a:pt x="2071" y="3962"/>
                  </a:lnTo>
                  <a:lnTo>
                    <a:pt x="2076" y="3962"/>
                  </a:lnTo>
                  <a:lnTo>
                    <a:pt x="2077" y="3964"/>
                  </a:lnTo>
                  <a:lnTo>
                    <a:pt x="2074" y="3964"/>
                  </a:lnTo>
                  <a:lnTo>
                    <a:pt x="2073" y="3964"/>
                  </a:lnTo>
                  <a:lnTo>
                    <a:pt x="2073" y="3964"/>
                  </a:lnTo>
                  <a:lnTo>
                    <a:pt x="2073" y="3965"/>
                  </a:lnTo>
                  <a:lnTo>
                    <a:pt x="2071" y="3965"/>
                  </a:lnTo>
                  <a:lnTo>
                    <a:pt x="2074" y="3967"/>
                  </a:lnTo>
                  <a:lnTo>
                    <a:pt x="2074" y="3968"/>
                  </a:lnTo>
                  <a:lnTo>
                    <a:pt x="2076" y="3968"/>
                  </a:lnTo>
                  <a:lnTo>
                    <a:pt x="2079" y="3968"/>
                  </a:lnTo>
                  <a:lnTo>
                    <a:pt x="2081" y="3968"/>
                  </a:lnTo>
                  <a:lnTo>
                    <a:pt x="2084" y="3973"/>
                  </a:lnTo>
                  <a:lnTo>
                    <a:pt x="2084" y="3974"/>
                  </a:lnTo>
                  <a:lnTo>
                    <a:pt x="2085" y="3979"/>
                  </a:lnTo>
                  <a:lnTo>
                    <a:pt x="2087" y="3981"/>
                  </a:lnTo>
                  <a:lnTo>
                    <a:pt x="2088" y="3981"/>
                  </a:lnTo>
                  <a:lnTo>
                    <a:pt x="2088" y="3978"/>
                  </a:lnTo>
                  <a:lnTo>
                    <a:pt x="2088" y="3978"/>
                  </a:lnTo>
                  <a:lnTo>
                    <a:pt x="2088" y="3973"/>
                  </a:lnTo>
                  <a:lnTo>
                    <a:pt x="2087" y="3973"/>
                  </a:lnTo>
                  <a:lnTo>
                    <a:pt x="2085" y="3971"/>
                  </a:lnTo>
                  <a:lnTo>
                    <a:pt x="2085" y="3970"/>
                  </a:lnTo>
                  <a:lnTo>
                    <a:pt x="2085" y="3970"/>
                  </a:lnTo>
                  <a:lnTo>
                    <a:pt x="2085" y="3970"/>
                  </a:lnTo>
                  <a:lnTo>
                    <a:pt x="2085" y="3968"/>
                  </a:lnTo>
                  <a:lnTo>
                    <a:pt x="2085" y="3968"/>
                  </a:lnTo>
                  <a:lnTo>
                    <a:pt x="2087" y="3968"/>
                  </a:lnTo>
                  <a:lnTo>
                    <a:pt x="2087" y="3968"/>
                  </a:lnTo>
                  <a:lnTo>
                    <a:pt x="2087" y="3967"/>
                  </a:lnTo>
                  <a:lnTo>
                    <a:pt x="2087" y="3965"/>
                  </a:lnTo>
                  <a:lnTo>
                    <a:pt x="2087" y="3964"/>
                  </a:lnTo>
                  <a:lnTo>
                    <a:pt x="2085" y="3964"/>
                  </a:lnTo>
                  <a:lnTo>
                    <a:pt x="2085" y="3964"/>
                  </a:lnTo>
                  <a:lnTo>
                    <a:pt x="2085" y="3964"/>
                  </a:lnTo>
                  <a:lnTo>
                    <a:pt x="2085" y="3964"/>
                  </a:lnTo>
                  <a:lnTo>
                    <a:pt x="2084" y="3961"/>
                  </a:lnTo>
                  <a:lnTo>
                    <a:pt x="2084" y="3961"/>
                  </a:lnTo>
                  <a:lnTo>
                    <a:pt x="2082" y="3961"/>
                  </a:lnTo>
                  <a:lnTo>
                    <a:pt x="2082" y="3961"/>
                  </a:lnTo>
                  <a:lnTo>
                    <a:pt x="2081" y="3961"/>
                  </a:lnTo>
                  <a:lnTo>
                    <a:pt x="2081" y="3959"/>
                  </a:lnTo>
                  <a:lnTo>
                    <a:pt x="2082" y="3958"/>
                  </a:lnTo>
                  <a:lnTo>
                    <a:pt x="2084" y="3958"/>
                  </a:lnTo>
                  <a:lnTo>
                    <a:pt x="2085" y="3959"/>
                  </a:lnTo>
                  <a:lnTo>
                    <a:pt x="2085" y="3959"/>
                  </a:lnTo>
                  <a:lnTo>
                    <a:pt x="2087" y="3961"/>
                  </a:lnTo>
                  <a:lnTo>
                    <a:pt x="2088" y="3961"/>
                  </a:lnTo>
                  <a:lnTo>
                    <a:pt x="2088" y="3962"/>
                  </a:lnTo>
                  <a:lnTo>
                    <a:pt x="2088" y="3964"/>
                  </a:lnTo>
                  <a:lnTo>
                    <a:pt x="2088" y="3964"/>
                  </a:lnTo>
                  <a:lnTo>
                    <a:pt x="2090" y="3965"/>
                  </a:lnTo>
                  <a:lnTo>
                    <a:pt x="2090" y="3965"/>
                  </a:lnTo>
                  <a:lnTo>
                    <a:pt x="2090" y="3965"/>
                  </a:lnTo>
                  <a:lnTo>
                    <a:pt x="2091" y="3965"/>
                  </a:lnTo>
                  <a:lnTo>
                    <a:pt x="2091" y="3965"/>
                  </a:lnTo>
                  <a:lnTo>
                    <a:pt x="2091" y="3965"/>
                  </a:lnTo>
                  <a:lnTo>
                    <a:pt x="2091" y="3964"/>
                  </a:lnTo>
                  <a:lnTo>
                    <a:pt x="2093" y="3964"/>
                  </a:lnTo>
                  <a:lnTo>
                    <a:pt x="2093" y="3965"/>
                  </a:lnTo>
                  <a:lnTo>
                    <a:pt x="2093" y="3965"/>
                  </a:lnTo>
                  <a:lnTo>
                    <a:pt x="2093" y="3965"/>
                  </a:lnTo>
                  <a:lnTo>
                    <a:pt x="2096" y="3967"/>
                  </a:lnTo>
                  <a:lnTo>
                    <a:pt x="2096" y="3967"/>
                  </a:lnTo>
                  <a:lnTo>
                    <a:pt x="2098" y="3968"/>
                  </a:lnTo>
                  <a:lnTo>
                    <a:pt x="2098" y="3970"/>
                  </a:lnTo>
                  <a:lnTo>
                    <a:pt x="2101" y="3974"/>
                  </a:lnTo>
                  <a:lnTo>
                    <a:pt x="2102" y="3974"/>
                  </a:lnTo>
                  <a:lnTo>
                    <a:pt x="2102" y="3973"/>
                  </a:lnTo>
                  <a:lnTo>
                    <a:pt x="2102" y="3973"/>
                  </a:lnTo>
                  <a:lnTo>
                    <a:pt x="2104" y="3971"/>
                  </a:lnTo>
                  <a:lnTo>
                    <a:pt x="2102" y="3971"/>
                  </a:lnTo>
                  <a:lnTo>
                    <a:pt x="2102" y="3970"/>
                  </a:lnTo>
                  <a:lnTo>
                    <a:pt x="2102" y="3967"/>
                  </a:lnTo>
                  <a:lnTo>
                    <a:pt x="2102" y="3965"/>
                  </a:lnTo>
                  <a:lnTo>
                    <a:pt x="2104" y="3964"/>
                  </a:lnTo>
                  <a:lnTo>
                    <a:pt x="2104" y="3962"/>
                  </a:lnTo>
                  <a:lnTo>
                    <a:pt x="2105" y="3964"/>
                  </a:lnTo>
                  <a:lnTo>
                    <a:pt x="2105" y="3964"/>
                  </a:lnTo>
                  <a:lnTo>
                    <a:pt x="2107" y="3965"/>
                  </a:lnTo>
                  <a:lnTo>
                    <a:pt x="2107" y="3967"/>
                  </a:lnTo>
                  <a:lnTo>
                    <a:pt x="2108" y="3964"/>
                  </a:lnTo>
                  <a:lnTo>
                    <a:pt x="2108" y="3964"/>
                  </a:lnTo>
                  <a:lnTo>
                    <a:pt x="2110" y="3962"/>
                  </a:lnTo>
                  <a:lnTo>
                    <a:pt x="2111" y="3962"/>
                  </a:lnTo>
                  <a:lnTo>
                    <a:pt x="2111" y="3962"/>
                  </a:lnTo>
                  <a:lnTo>
                    <a:pt x="2111" y="3962"/>
                  </a:lnTo>
                  <a:lnTo>
                    <a:pt x="2113" y="3962"/>
                  </a:lnTo>
                  <a:lnTo>
                    <a:pt x="2113" y="3962"/>
                  </a:lnTo>
                  <a:lnTo>
                    <a:pt x="2113" y="3964"/>
                  </a:lnTo>
                  <a:lnTo>
                    <a:pt x="2113" y="3964"/>
                  </a:lnTo>
                  <a:lnTo>
                    <a:pt x="2114" y="3965"/>
                  </a:lnTo>
                  <a:lnTo>
                    <a:pt x="2114" y="3965"/>
                  </a:lnTo>
                  <a:lnTo>
                    <a:pt x="2114" y="3964"/>
                  </a:lnTo>
                  <a:lnTo>
                    <a:pt x="2116" y="3964"/>
                  </a:lnTo>
                  <a:lnTo>
                    <a:pt x="2116" y="3964"/>
                  </a:lnTo>
                  <a:lnTo>
                    <a:pt x="2118" y="3962"/>
                  </a:lnTo>
                  <a:lnTo>
                    <a:pt x="2119" y="3961"/>
                  </a:lnTo>
                  <a:lnTo>
                    <a:pt x="2121" y="3961"/>
                  </a:lnTo>
                  <a:lnTo>
                    <a:pt x="2121" y="3961"/>
                  </a:lnTo>
                  <a:lnTo>
                    <a:pt x="2124" y="3962"/>
                  </a:lnTo>
                  <a:lnTo>
                    <a:pt x="2125" y="3961"/>
                  </a:lnTo>
                  <a:lnTo>
                    <a:pt x="2127" y="3961"/>
                  </a:lnTo>
                  <a:lnTo>
                    <a:pt x="2130" y="3962"/>
                  </a:lnTo>
                  <a:lnTo>
                    <a:pt x="2133" y="3964"/>
                  </a:lnTo>
                  <a:lnTo>
                    <a:pt x="2133" y="3962"/>
                  </a:lnTo>
                  <a:lnTo>
                    <a:pt x="2131" y="3962"/>
                  </a:lnTo>
                  <a:lnTo>
                    <a:pt x="2131" y="3961"/>
                  </a:lnTo>
                  <a:lnTo>
                    <a:pt x="2131" y="3961"/>
                  </a:lnTo>
                  <a:lnTo>
                    <a:pt x="2130" y="3959"/>
                  </a:lnTo>
                  <a:lnTo>
                    <a:pt x="2131" y="3958"/>
                  </a:lnTo>
                  <a:lnTo>
                    <a:pt x="2131" y="3958"/>
                  </a:lnTo>
                  <a:lnTo>
                    <a:pt x="2133" y="3958"/>
                  </a:lnTo>
                  <a:lnTo>
                    <a:pt x="2134" y="3958"/>
                  </a:lnTo>
                  <a:lnTo>
                    <a:pt x="2134" y="3956"/>
                  </a:lnTo>
                  <a:lnTo>
                    <a:pt x="2136" y="3954"/>
                  </a:lnTo>
                  <a:lnTo>
                    <a:pt x="2136" y="3953"/>
                  </a:lnTo>
                  <a:lnTo>
                    <a:pt x="2136" y="3951"/>
                  </a:lnTo>
                  <a:lnTo>
                    <a:pt x="2136" y="3951"/>
                  </a:lnTo>
                  <a:lnTo>
                    <a:pt x="2138" y="3950"/>
                  </a:lnTo>
                  <a:lnTo>
                    <a:pt x="2144" y="3951"/>
                  </a:lnTo>
                  <a:lnTo>
                    <a:pt x="2145" y="3950"/>
                  </a:lnTo>
                  <a:lnTo>
                    <a:pt x="2144" y="3950"/>
                  </a:lnTo>
                  <a:lnTo>
                    <a:pt x="2142" y="3948"/>
                  </a:lnTo>
                  <a:lnTo>
                    <a:pt x="2141" y="3948"/>
                  </a:lnTo>
                  <a:lnTo>
                    <a:pt x="2141" y="3947"/>
                  </a:lnTo>
                  <a:lnTo>
                    <a:pt x="2141" y="3947"/>
                  </a:lnTo>
                  <a:lnTo>
                    <a:pt x="2142" y="3947"/>
                  </a:lnTo>
                  <a:lnTo>
                    <a:pt x="2144" y="3947"/>
                  </a:lnTo>
                  <a:lnTo>
                    <a:pt x="2144" y="3947"/>
                  </a:lnTo>
                  <a:lnTo>
                    <a:pt x="2147" y="3942"/>
                  </a:lnTo>
                  <a:lnTo>
                    <a:pt x="2148" y="3941"/>
                  </a:lnTo>
                  <a:lnTo>
                    <a:pt x="2148" y="3939"/>
                  </a:lnTo>
                  <a:lnTo>
                    <a:pt x="2150" y="3939"/>
                  </a:lnTo>
                  <a:lnTo>
                    <a:pt x="2151" y="3941"/>
                  </a:lnTo>
                  <a:lnTo>
                    <a:pt x="2151" y="3939"/>
                  </a:lnTo>
                  <a:lnTo>
                    <a:pt x="2153" y="3939"/>
                  </a:lnTo>
                  <a:lnTo>
                    <a:pt x="2153" y="3939"/>
                  </a:lnTo>
                  <a:lnTo>
                    <a:pt x="2156" y="3938"/>
                  </a:lnTo>
                  <a:lnTo>
                    <a:pt x="2158" y="3936"/>
                  </a:lnTo>
                  <a:lnTo>
                    <a:pt x="2159" y="3938"/>
                  </a:lnTo>
                  <a:lnTo>
                    <a:pt x="2161" y="3941"/>
                  </a:lnTo>
                  <a:lnTo>
                    <a:pt x="2161" y="3942"/>
                  </a:lnTo>
                  <a:lnTo>
                    <a:pt x="2161" y="3942"/>
                  </a:lnTo>
                  <a:lnTo>
                    <a:pt x="2161" y="3944"/>
                  </a:lnTo>
                  <a:lnTo>
                    <a:pt x="2162" y="3944"/>
                  </a:lnTo>
                  <a:lnTo>
                    <a:pt x="2162" y="3944"/>
                  </a:lnTo>
                  <a:lnTo>
                    <a:pt x="2162" y="3944"/>
                  </a:lnTo>
                  <a:lnTo>
                    <a:pt x="2162" y="3944"/>
                  </a:lnTo>
                  <a:lnTo>
                    <a:pt x="2165" y="3945"/>
                  </a:lnTo>
                  <a:lnTo>
                    <a:pt x="2165" y="3947"/>
                  </a:lnTo>
                  <a:lnTo>
                    <a:pt x="2167" y="3947"/>
                  </a:lnTo>
                  <a:lnTo>
                    <a:pt x="2165" y="3947"/>
                  </a:lnTo>
                  <a:lnTo>
                    <a:pt x="2165" y="3950"/>
                  </a:lnTo>
                  <a:lnTo>
                    <a:pt x="2165" y="3951"/>
                  </a:lnTo>
                  <a:lnTo>
                    <a:pt x="2167" y="3953"/>
                  </a:lnTo>
                  <a:lnTo>
                    <a:pt x="2167" y="3951"/>
                  </a:lnTo>
                  <a:lnTo>
                    <a:pt x="2168" y="3951"/>
                  </a:lnTo>
                  <a:lnTo>
                    <a:pt x="2170" y="3950"/>
                  </a:lnTo>
                  <a:lnTo>
                    <a:pt x="2171" y="3950"/>
                  </a:lnTo>
                  <a:lnTo>
                    <a:pt x="2171" y="3950"/>
                  </a:lnTo>
                  <a:lnTo>
                    <a:pt x="2173" y="3950"/>
                  </a:lnTo>
                  <a:lnTo>
                    <a:pt x="2173" y="3948"/>
                  </a:lnTo>
                  <a:lnTo>
                    <a:pt x="2170" y="3945"/>
                  </a:lnTo>
                  <a:lnTo>
                    <a:pt x="2170" y="3944"/>
                  </a:lnTo>
                  <a:lnTo>
                    <a:pt x="2170" y="3944"/>
                  </a:lnTo>
                  <a:lnTo>
                    <a:pt x="2170" y="3942"/>
                  </a:lnTo>
                  <a:lnTo>
                    <a:pt x="2170" y="3942"/>
                  </a:lnTo>
                  <a:lnTo>
                    <a:pt x="2170" y="3939"/>
                  </a:lnTo>
                  <a:lnTo>
                    <a:pt x="2170" y="3939"/>
                  </a:lnTo>
                  <a:lnTo>
                    <a:pt x="2170" y="3938"/>
                  </a:lnTo>
                  <a:lnTo>
                    <a:pt x="2170" y="3936"/>
                  </a:lnTo>
                  <a:lnTo>
                    <a:pt x="2167" y="3936"/>
                  </a:lnTo>
                  <a:lnTo>
                    <a:pt x="2165" y="3936"/>
                  </a:lnTo>
                  <a:lnTo>
                    <a:pt x="2162" y="3938"/>
                  </a:lnTo>
                  <a:lnTo>
                    <a:pt x="2162" y="3938"/>
                  </a:lnTo>
                  <a:lnTo>
                    <a:pt x="2162" y="3938"/>
                  </a:lnTo>
                  <a:lnTo>
                    <a:pt x="2162" y="3936"/>
                  </a:lnTo>
                  <a:lnTo>
                    <a:pt x="2164" y="3934"/>
                  </a:lnTo>
                  <a:lnTo>
                    <a:pt x="2165" y="3934"/>
                  </a:lnTo>
                  <a:lnTo>
                    <a:pt x="2167" y="3934"/>
                  </a:lnTo>
                  <a:lnTo>
                    <a:pt x="2167" y="3934"/>
                  </a:lnTo>
                  <a:lnTo>
                    <a:pt x="2168" y="3933"/>
                  </a:lnTo>
                  <a:lnTo>
                    <a:pt x="2168" y="3931"/>
                  </a:lnTo>
                  <a:lnTo>
                    <a:pt x="2168" y="3931"/>
                  </a:lnTo>
                  <a:lnTo>
                    <a:pt x="2168" y="3930"/>
                  </a:lnTo>
                  <a:lnTo>
                    <a:pt x="2165" y="3927"/>
                  </a:lnTo>
                  <a:lnTo>
                    <a:pt x="2164" y="3925"/>
                  </a:lnTo>
                  <a:lnTo>
                    <a:pt x="2162" y="3925"/>
                  </a:lnTo>
                  <a:lnTo>
                    <a:pt x="2161" y="3924"/>
                  </a:lnTo>
                  <a:lnTo>
                    <a:pt x="2162" y="3924"/>
                  </a:lnTo>
                  <a:lnTo>
                    <a:pt x="2164" y="3924"/>
                  </a:lnTo>
                  <a:lnTo>
                    <a:pt x="2164" y="3924"/>
                  </a:lnTo>
                  <a:lnTo>
                    <a:pt x="2164" y="3922"/>
                  </a:lnTo>
                  <a:lnTo>
                    <a:pt x="2164" y="3922"/>
                  </a:lnTo>
                  <a:lnTo>
                    <a:pt x="2165" y="3921"/>
                  </a:lnTo>
                  <a:lnTo>
                    <a:pt x="2165" y="3921"/>
                  </a:lnTo>
                  <a:lnTo>
                    <a:pt x="2165" y="3921"/>
                  </a:lnTo>
                  <a:lnTo>
                    <a:pt x="2167" y="3921"/>
                  </a:lnTo>
                  <a:lnTo>
                    <a:pt x="2167" y="3919"/>
                  </a:lnTo>
                  <a:lnTo>
                    <a:pt x="2170" y="3921"/>
                  </a:lnTo>
                  <a:lnTo>
                    <a:pt x="2173" y="3924"/>
                  </a:lnTo>
                  <a:lnTo>
                    <a:pt x="2173" y="3925"/>
                  </a:lnTo>
                  <a:lnTo>
                    <a:pt x="2175" y="3927"/>
                  </a:lnTo>
                  <a:lnTo>
                    <a:pt x="2175" y="3927"/>
                  </a:lnTo>
                  <a:lnTo>
                    <a:pt x="2175" y="3927"/>
                  </a:lnTo>
                  <a:lnTo>
                    <a:pt x="2176" y="3927"/>
                  </a:lnTo>
                  <a:lnTo>
                    <a:pt x="2176" y="3924"/>
                  </a:lnTo>
                  <a:lnTo>
                    <a:pt x="2175" y="3922"/>
                  </a:lnTo>
                  <a:lnTo>
                    <a:pt x="2173" y="3919"/>
                  </a:lnTo>
                  <a:lnTo>
                    <a:pt x="2175" y="3921"/>
                  </a:lnTo>
                  <a:lnTo>
                    <a:pt x="2176" y="3922"/>
                  </a:lnTo>
                  <a:lnTo>
                    <a:pt x="2178" y="3924"/>
                  </a:lnTo>
                  <a:lnTo>
                    <a:pt x="2178" y="3925"/>
                  </a:lnTo>
                  <a:lnTo>
                    <a:pt x="2179" y="3925"/>
                  </a:lnTo>
                  <a:lnTo>
                    <a:pt x="2179" y="3922"/>
                  </a:lnTo>
                  <a:lnTo>
                    <a:pt x="2178" y="3921"/>
                  </a:lnTo>
                  <a:lnTo>
                    <a:pt x="2176" y="3918"/>
                  </a:lnTo>
                  <a:lnTo>
                    <a:pt x="2176" y="3918"/>
                  </a:lnTo>
                  <a:lnTo>
                    <a:pt x="2178" y="3919"/>
                  </a:lnTo>
                  <a:lnTo>
                    <a:pt x="2179" y="3921"/>
                  </a:lnTo>
                  <a:lnTo>
                    <a:pt x="2181" y="3922"/>
                  </a:lnTo>
                  <a:lnTo>
                    <a:pt x="2181" y="3921"/>
                  </a:lnTo>
                  <a:lnTo>
                    <a:pt x="2179" y="3918"/>
                  </a:lnTo>
                  <a:lnTo>
                    <a:pt x="2179" y="3916"/>
                  </a:lnTo>
                  <a:lnTo>
                    <a:pt x="2181" y="3918"/>
                  </a:lnTo>
                  <a:lnTo>
                    <a:pt x="2182" y="3919"/>
                  </a:lnTo>
                  <a:lnTo>
                    <a:pt x="2182" y="3922"/>
                  </a:lnTo>
                  <a:lnTo>
                    <a:pt x="2184" y="3924"/>
                  </a:lnTo>
                  <a:lnTo>
                    <a:pt x="2184" y="3924"/>
                  </a:lnTo>
                  <a:lnTo>
                    <a:pt x="2184" y="3924"/>
                  </a:lnTo>
                  <a:lnTo>
                    <a:pt x="2185" y="3924"/>
                  </a:lnTo>
                  <a:lnTo>
                    <a:pt x="2185" y="3922"/>
                  </a:lnTo>
                  <a:lnTo>
                    <a:pt x="2185" y="3922"/>
                  </a:lnTo>
                  <a:lnTo>
                    <a:pt x="2184" y="3919"/>
                  </a:lnTo>
                  <a:lnTo>
                    <a:pt x="2184" y="3918"/>
                  </a:lnTo>
                  <a:lnTo>
                    <a:pt x="2185" y="3918"/>
                  </a:lnTo>
                  <a:lnTo>
                    <a:pt x="2188" y="3914"/>
                  </a:lnTo>
                  <a:lnTo>
                    <a:pt x="2190" y="3914"/>
                  </a:lnTo>
                  <a:lnTo>
                    <a:pt x="2190" y="3914"/>
                  </a:lnTo>
                  <a:lnTo>
                    <a:pt x="2191" y="3913"/>
                  </a:lnTo>
                  <a:lnTo>
                    <a:pt x="2191" y="3913"/>
                  </a:lnTo>
                  <a:lnTo>
                    <a:pt x="2193" y="3913"/>
                  </a:lnTo>
                  <a:lnTo>
                    <a:pt x="2193" y="3913"/>
                  </a:lnTo>
                  <a:lnTo>
                    <a:pt x="2195" y="3914"/>
                  </a:lnTo>
                  <a:lnTo>
                    <a:pt x="2196" y="3916"/>
                  </a:lnTo>
                  <a:lnTo>
                    <a:pt x="2198" y="3918"/>
                  </a:lnTo>
                  <a:lnTo>
                    <a:pt x="2198" y="3916"/>
                  </a:lnTo>
                  <a:lnTo>
                    <a:pt x="2198" y="3910"/>
                  </a:lnTo>
                  <a:lnTo>
                    <a:pt x="2196" y="3908"/>
                  </a:lnTo>
                  <a:lnTo>
                    <a:pt x="2195" y="3907"/>
                  </a:lnTo>
                  <a:lnTo>
                    <a:pt x="2193" y="3907"/>
                  </a:lnTo>
                  <a:lnTo>
                    <a:pt x="2193" y="3905"/>
                  </a:lnTo>
                  <a:lnTo>
                    <a:pt x="2195" y="3905"/>
                  </a:lnTo>
                  <a:lnTo>
                    <a:pt x="2195" y="3904"/>
                  </a:lnTo>
                  <a:lnTo>
                    <a:pt x="2195" y="3902"/>
                  </a:lnTo>
                  <a:lnTo>
                    <a:pt x="2195" y="3902"/>
                  </a:lnTo>
                  <a:lnTo>
                    <a:pt x="2198" y="3901"/>
                  </a:lnTo>
                  <a:lnTo>
                    <a:pt x="2199" y="3897"/>
                  </a:lnTo>
                  <a:lnTo>
                    <a:pt x="2199" y="3897"/>
                  </a:lnTo>
                  <a:lnTo>
                    <a:pt x="2201" y="3899"/>
                  </a:lnTo>
                  <a:lnTo>
                    <a:pt x="2199" y="3901"/>
                  </a:lnTo>
                  <a:lnTo>
                    <a:pt x="2201" y="3902"/>
                  </a:lnTo>
                  <a:lnTo>
                    <a:pt x="2204" y="3904"/>
                  </a:lnTo>
                  <a:lnTo>
                    <a:pt x="2205" y="3904"/>
                  </a:lnTo>
                  <a:lnTo>
                    <a:pt x="2207" y="3905"/>
                  </a:lnTo>
                  <a:lnTo>
                    <a:pt x="2208" y="3905"/>
                  </a:lnTo>
                  <a:lnTo>
                    <a:pt x="2210" y="3907"/>
                  </a:lnTo>
                  <a:lnTo>
                    <a:pt x="2211" y="3907"/>
                  </a:lnTo>
                  <a:lnTo>
                    <a:pt x="2211" y="3905"/>
                  </a:lnTo>
                  <a:lnTo>
                    <a:pt x="2210" y="3904"/>
                  </a:lnTo>
                  <a:lnTo>
                    <a:pt x="2208" y="3902"/>
                  </a:lnTo>
                  <a:lnTo>
                    <a:pt x="2205" y="3899"/>
                  </a:lnTo>
                  <a:lnTo>
                    <a:pt x="2205" y="3899"/>
                  </a:lnTo>
                  <a:lnTo>
                    <a:pt x="2191" y="3890"/>
                  </a:lnTo>
                  <a:lnTo>
                    <a:pt x="2185" y="3885"/>
                  </a:lnTo>
                  <a:lnTo>
                    <a:pt x="2182" y="3882"/>
                  </a:lnTo>
                  <a:lnTo>
                    <a:pt x="2181" y="3882"/>
                  </a:lnTo>
                  <a:lnTo>
                    <a:pt x="2179" y="3882"/>
                  </a:lnTo>
                  <a:lnTo>
                    <a:pt x="2178" y="3882"/>
                  </a:lnTo>
                  <a:lnTo>
                    <a:pt x="2175" y="3882"/>
                  </a:lnTo>
                  <a:lnTo>
                    <a:pt x="2170" y="3879"/>
                  </a:lnTo>
                  <a:lnTo>
                    <a:pt x="2168" y="3876"/>
                  </a:lnTo>
                  <a:lnTo>
                    <a:pt x="2167" y="3874"/>
                  </a:lnTo>
                  <a:lnTo>
                    <a:pt x="2164" y="3873"/>
                  </a:lnTo>
                  <a:lnTo>
                    <a:pt x="2158" y="3873"/>
                  </a:lnTo>
                  <a:lnTo>
                    <a:pt x="2155" y="3873"/>
                  </a:lnTo>
                  <a:lnTo>
                    <a:pt x="2156" y="3870"/>
                  </a:lnTo>
                  <a:lnTo>
                    <a:pt x="2155" y="3870"/>
                  </a:lnTo>
                  <a:lnTo>
                    <a:pt x="2155" y="3868"/>
                  </a:lnTo>
                  <a:lnTo>
                    <a:pt x="2155" y="3867"/>
                  </a:lnTo>
                  <a:lnTo>
                    <a:pt x="2153" y="3865"/>
                  </a:lnTo>
                  <a:lnTo>
                    <a:pt x="2151" y="3864"/>
                  </a:lnTo>
                  <a:lnTo>
                    <a:pt x="2150" y="3862"/>
                  </a:lnTo>
                  <a:lnTo>
                    <a:pt x="2148" y="3862"/>
                  </a:lnTo>
                  <a:lnTo>
                    <a:pt x="2150" y="3861"/>
                  </a:lnTo>
                  <a:lnTo>
                    <a:pt x="2151" y="3854"/>
                  </a:lnTo>
                  <a:lnTo>
                    <a:pt x="2156" y="3851"/>
                  </a:lnTo>
                  <a:lnTo>
                    <a:pt x="2161" y="3851"/>
                  </a:lnTo>
                  <a:lnTo>
                    <a:pt x="2165" y="3851"/>
                  </a:lnTo>
                  <a:lnTo>
                    <a:pt x="2167" y="3853"/>
                  </a:lnTo>
                  <a:lnTo>
                    <a:pt x="2167" y="3854"/>
                  </a:lnTo>
                  <a:lnTo>
                    <a:pt x="2170" y="3859"/>
                  </a:lnTo>
                  <a:lnTo>
                    <a:pt x="2171" y="3861"/>
                  </a:lnTo>
                  <a:lnTo>
                    <a:pt x="2182" y="3857"/>
                  </a:lnTo>
                  <a:lnTo>
                    <a:pt x="2185" y="3856"/>
                  </a:lnTo>
                  <a:lnTo>
                    <a:pt x="2188" y="3851"/>
                  </a:lnTo>
                  <a:lnTo>
                    <a:pt x="2167" y="3814"/>
                  </a:lnTo>
                  <a:lnTo>
                    <a:pt x="2155" y="3785"/>
                  </a:lnTo>
                  <a:lnTo>
                    <a:pt x="2155" y="3782"/>
                  </a:lnTo>
                  <a:lnTo>
                    <a:pt x="2153" y="3780"/>
                  </a:lnTo>
                  <a:lnTo>
                    <a:pt x="2151" y="3780"/>
                  </a:lnTo>
                  <a:lnTo>
                    <a:pt x="2150" y="3780"/>
                  </a:lnTo>
                  <a:lnTo>
                    <a:pt x="2147" y="3779"/>
                  </a:lnTo>
                  <a:lnTo>
                    <a:pt x="2145" y="3777"/>
                  </a:lnTo>
                  <a:lnTo>
                    <a:pt x="2141" y="3771"/>
                  </a:lnTo>
                  <a:lnTo>
                    <a:pt x="2141" y="3771"/>
                  </a:lnTo>
                  <a:lnTo>
                    <a:pt x="2127" y="3748"/>
                  </a:lnTo>
                  <a:lnTo>
                    <a:pt x="2122" y="3743"/>
                  </a:lnTo>
                  <a:lnTo>
                    <a:pt x="2118" y="3742"/>
                  </a:lnTo>
                  <a:lnTo>
                    <a:pt x="2088" y="3742"/>
                  </a:lnTo>
                  <a:lnTo>
                    <a:pt x="2073" y="3734"/>
                  </a:lnTo>
                  <a:lnTo>
                    <a:pt x="2070" y="3734"/>
                  </a:lnTo>
                  <a:lnTo>
                    <a:pt x="2070" y="3734"/>
                  </a:lnTo>
                  <a:lnTo>
                    <a:pt x="2068" y="3737"/>
                  </a:lnTo>
                  <a:lnTo>
                    <a:pt x="2068" y="3743"/>
                  </a:lnTo>
                  <a:lnTo>
                    <a:pt x="2068" y="3748"/>
                  </a:lnTo>
                  <a:lnTo>
                    <a:pt x="2068" y="3751"/>
                  </a:lnTo>
                  <a:lnTo>
                    <a:pt x="2067" y="3751"/>
                  </a:lnTo>
                  <a:lnTo>
                    <a:pt x="2053" y="3740"/>
                  </a:lnTo>
                  <a:lnTo>
                    <a:pt x="2050" y="3739"/>
                  </a:lnTo>
                  <a:lnTo>
                    <a:pt x="2048" y="3737"/>
                  </a:lnTo>
                  <a:lnTo>
                    <a:pt x="2048" y="3736"/>
                  </a:lnTo>
                  <a:lnTo>
                    <a:pt x="2050" y="3734"/>
                  </a:lnTo>
                  <a:lnTo>
                    <a:pt x="2050" y="3733"/>
                  </a:lnTo>
                  <a:lnTo>
                    <a:pt x="2050" y="3731"/>
                  </a:lnTo>
                  <a:lnTo>
                    <a:pt x="2051" y="3731"/>
                  </a:lnTo>
                  <a:lnTo>
                    <a:pt x="2051" y="3731"/>
                  </a:lnTo>
                  <a:lnTo>
                    <a:pt x="2051" y="3730"/>
                  </a:lnTo>
                  <a:lnTo>
                    <a:pt x="2051" y="3730"/>
                  </a:lnTo>
                  <a:lnTo>
                    <a:pt x="2048" y="3725"/>
                  </a:lnTo>
                  <a:lnTo>
                    <a:pt x="2044" y="3719"/>
                  </a:lnTo>
                  <a:lnTo>
                    <a:pt x="2044" y="3717"/>
                  </a:lnTo>
                  <a:lnTo>
                    <a:pt x="2044" y="3716"/>
                  </a:lnTo>
                  <a:lnTo>
                    <a:pt x="2050" y="3713"/>
                  </a:lnTo>
                  <a:lnTo>
                    <a:pt x="2053" y="3710"/>
                  </a:lnTo>
                  <a:lnTo>
                    <a:pt x="2054" y="3708"/>
                  </a:lnTo>
                  <a:lnTo>
                    <a:pt x="2053" y="3707"/>
                  </a:lnTo>
                  <a:lnTo>
                    <a:pt x="2048" y="3707"/>
                  </a:lnTo>
                  <a:lnTo>
                    <a:pt x="2047" y="3705"/>
                  </a:lnTo>
                  <a:lnTo>
                    <a:pt x="2048" y="3702"/>
                  </a:lnTo>
                  <a:lnTo>
                    <a:pt x="2048" y="3700"/>
                  </a:lnTo>
                  <a:lnTo>
                    <a:pt x="2048" y="3699"/>
                  </a:lnTo>
                  <a:lnTo>
                    <a:pt x="2048" y="3696"/>
                  </a:lnTo>
                  <a:lnTo>
                    <a:pt x="2047" y="3696"/>
                  </a:lnTo>
                  <a:lnTo>
                    <a:pt x="2045" y="3694"/>
                  </a:lnTo>
                  <a:lnTo>
                    <a:pt x="2045" y="3693"/>
                  </a:lnTo>
                  <a:lnTo>
                    <a:pt x="2045" y="3693"/>
                  </a:lnTo>
                  <a:lnTo>
                    <a:pt x="2047" y="3691"/>
                  </a:lnTo>
                  <a:lnTo>
                    <a:pt x="2047" y="3691"/>
                  </a:lnTo>
                  <a:lnTo>
                    <a:pt x="2048" y="3690"/>
                  </a:lnTo>
                  <a:lnTo>
                    <a:pt x="2048" y="3690"/>
                  </a:lnTo>
                  <a:lnTo>
                    <a:pt x="2048" y="3688"/>
                  </a:lnTo>
                  <a:lnTo>
                    <a:pt x="2047" y="3687"/>
                  </a:lnTo>
                  <a:lnTo>
                    <a:pt x="2045" y="3685"/>
                  </a:lnTo>
                  <a:lnTo>
                    <a:pt x="2037" y="3683"/>
                  </a:lnTo>
                  <a:lnTo>
                    <a:pt x="2019" y="3677"/>
                  </a:lnTo>
                  <a:lnTo>
                    <a:pt x="2000" y="3670"/>
                  </a:lnTo>
                  <a:lnTo>
                    <a:pt x="2000" y="3670"/>
                  </a:lnTo>
                  <a:lnTo>
                    <a:pt x="2000" y="3670"/>
                  </a:lnTo>
                  <a:lnTo>
                    <a:pt x="2000" y="3670"/>
                  </a:lnTo>
                  <a:lnTo>
                    <a:pt x="2000" y="3670"/>
                  </a:lnTo>
                  <a:lnTo>
                    <a:pt x="2011" y="3640"/>
                  </a:lnTo>
                  <a:lnTo>
                    <a:pt x="2022" y="3614"/>
                  </a:lnTo>
                  <a:lnTo>
                    <a:pt x="2024" y="3611"/>
                  </a:lnTo>
                  <a:lnTo>
                    <a:pt x="2025" y="3610"/>
                  </a:lnTo>
                  <a:lnTo>
                    <a:pt x="2031" y="3606"/>
                  </a:lnTo>
                  <a:lnTo>
                    <a:pt x="2033" y="3605"/>
                  </a:lnTo>
                  <a:lnTo>
                    <a:pt x="2034" y="3603"/>
                  </a:lnTo>
                  <a:lnTo>
                    <a:pt x="2037" y="3599"/>
                  </a:lnTo>
                  <a:lnTo>
                    <a:pt x="2041" y="3593"/>
                  </a:lnTo>
                  <a:lnTo>
                    <a:pt x="2042" y="3586"/>
                  </a:lnTo>
                  <a:lnTo>
                    <a:pt x="2042" y="3580"/>
                  </a:lnTo>
                  <a:lnTo>
                    <a:pt x="2037" y="3576"/>
                  </a:lnTo>
                  <a:lnTo>
                    <a:pt x="2027" y="3568"/>
                  </a:lnTo>
                  <a:lnTo>
                    <a:pt x="2024" y="3566"/>
                  </a:lnTo>
                  <a:lnTo>
                    <a:pt x="2028" y="3539"/>
                  </a:lnTo>
                  <a:lnTo>
                    <a:pt x="2033" y="3509"/>
                  </a:lnTo>
                  <a:lnTo>
                    <a:pt x="2034" y="3505"/>
                  </a:lnTo>
                  <a:lnTo>
                    <a:pt x="2036" y="3503"/>
                  </a:lnTo>
                  <a:lnTo>
                    <a:pt x="2053" y="3496"/>
                  </a:lnTo>
                  <a:lnTo>
                    <a:pt x="2057" y="3491"/>
                  </a:lnTo>
                  <a:lnTo>
                    <a:pt x="2062" y="3485"/>
                  </a:lnTo>
                  <a:lnTo>
                    <a:pt x="2064" y="3482"/>
                  </a:lnTo>
                  <a:lnTo>
                    <a:pt x="2064" y="3477"/>
                  </a:lnTo>
                  <a:lnTo>
                    <a:pt x="2061" y="3471"/>
                  </a:lnTo>
                  <a:lnTo>
                    <a:pt x="2059" y="3468"/>
                  </a:lnTo>
                  <a:lnTo>
                    <a:pt x="2061" y="3466"/>
                  </a:lnTo>
                  <a:lnTo>
                    <a:pt x="2064" y="3463"/>
                  </a:lnTo>
                  <a:lnTo>
                    <a:pt x="2064" y="3462"/>
                  </a:lnTo>
                  <a:lnTo>
                    <a:pt x="2064" y="3460"/>
                  </a:lnTo>
                  <a:lnTo>
                    <a:pt x="2062" y="3459"/>
                  </a:lnTo>
                  <a:lnTo>
                    <a:pt x="2062" y="3457"/>
                  </a:lnTo>
                  <a:lnTo>
                    <a:pt x="2062" y="3456"/>
                  </a:lnTo>
                  <a:lnTo>
                    <a:pt x="2064" y="3454"/>
                  </a:lnTo>
                  <a:lnTo>
                    <a:pt x="2068" y="3452"/>
                  </a:lnTo>
                  <a:lnTo>
                    <a:pt x="2070" y="3451"/>
                  </a:lnTo>
                  <a:lnTo>
                    <a:pt x="2071" y="3446"/>
                  </a:lnTo>
                  <a:lnTo>
                    <a:pt x="2073" y="3445"/>
                  </a:lnTo>
                  <a:lnTo>
                    <a:pt x="2074" y="3442"/>
                  </a:lnTo>
                  <a:lnTo>
                    <a:pt x="2077" y="3439"/>
                  </a:lnTo>
                  <a:lnTo>
                    <a:pt x="2081" y="3437"/>
                  </a:lnTo>
                  <a:lnTo>
                    <a:pt x="2084" y="3437"/>
                  </a:lnTo>
                  <a:lnTo>
                    <a:pt x="2087" y="3439"/>
                  </a:lnTo>
                  <a:lnTo>
                    <a:pt x="2091" y="3445"/>
                  </a:lnTo>
                  <a:lnTo>
                    <a:pt x="2094" y="3446"/>
                  </a:lnTo>
                  <a:lnTo>
                    <a:pt x="2096" y="3448"/>
                  </a:lnTo>
                  <a:lnTo>
                    <a:pt x="2096" y="3449"/>
                  </a:lnTo>
                  <a:lnTo>
                    <a:pt x="2098" y="3451"/>
                  </a:lnTo>
                  <a:lnTo>
                    <a:pt x="2098" y="3451"/>
                  </a:lnTo>
                  <a:lnTo>
                    <a:pt x="2099" y="3452"/>
                  </a:lnTo>
                  <a:lnTo>
                    <a:pt x="2101" y="3452"/>
                  </a:lnTo>
                  <a:lnTo>
                    <a:pt x="2104" y="3457"/>
                  </a:lnTo>
                  <a:lnTo>
                    <a:pt x="2105" y="3459"/>
                  </a:lnTo>
                  <a:lnTo>
                    <a:pt x="2108" y="3462"/>
                  </a:lnTo>
                  <a:lnTo>
                    <a:pt x="2111" y="3466"/>
                  </a:lnTo>
                  <a:lnTo>
                    <a:pt x="2113" y="3468"/>
                  </a:lnTo>
                  <a:lnTo>
                    <a:pt x="2114" y="3469"/>
                  </a:lnTo>
                  <a:lnTo>
                    <a:pt x="2114" y="3471"/>
                  </a:lnTo>
                  <a:lnTo>
                    <a:pt x="2114" y="3472"/>
                  </a:lnTo>
                  <a:lnTo>
                    <a:pt x="2116" y="3474"/>
                  </a:lnTo>
                  <a:lnTo>
                    <a:pt x="2119" y="3477"/>
                  </a:lnTo>
                  <a:lnTo>
                    <a:pt x="2121" y="3480"/>
                  </a:lnTo>
                  <a:lnTo>
                    <a:pt x="2122" y="3483"/>
                  </a:lnTo>
                  <a:lnTo>
                    <a:pt x="2122" y="3486"/>
                  </a:lnTo>
                  <a:lnTo>
                    <a:pt x="2124" y="3491"/>
                  </a:lnTo>
                  <a:lnTo>
                    <a:pt x="2124" y="3491"/>
                  </a:lnTo>
                  <a:lnTo>
                    <a:pt x="2125" y="3494"/>
                  </a:lnTo>
                  <a:lnTo>
                    <a:pt x="2125" y="3494"/>
                  </a:lnTo>
                  <a:lnTo>
                    <a:pt x="2127" y="3496"/>
                  </a:lnTo>
                  <a:lnTo>
                    <a:pt x="2128" y="3499"/>
                  </a:lnTo>
                  <a:lnTo>
                    <a:pt x="2130" y="3500"/>
                  </a:lnTo>
                  <a:lnTo>
                    <a:pt x="2131" y="3503"/>
                  </a:lnTo>
                  <a:lnTo>
                    <a:pt x="2131" y="3505"/>
                  </a:lnTo>
                  <a:lnTo>
                    <a:pt x="2134" y="3505"/>
                  </a:lnTo>
                  <a:lnTo>
                    <a:pt x="2136" y="3505"/>
                  </a:lnTo>
                  <a:lnTo>
                    <a:pt x="2138" y="3505"/>
                  </a:lnTo>
                  <a:lnTo>
                    <a:pt x="2141" y="3508"/>
                  </a:lnTo>
                  <a:lnTo>
                    <a:pt x="2145" y="3511"/>
                  </a:lnTo>
                  <a:lnTo>
                    <a:pt x="2147" y="3511"/>
                  </a:lnTo>
                  <a:lnTo>
                    <a:pt x="2147" y="3511"/>
                  </a:lnTo>
                  <a:lnTo>
                    <a:pt x="2148" y="3508"/>
                  </a:lnTo>
                  <a:lnTo>
                    <a:pt x="2150" y="3508"/>
                  </a:lnTo>
                  <a:lnTo>
                    <a:pt x="2165" y="3502"/>
                  </a:lnTo>
                  <a:lnTo>
                    <a:pt x="2173" y="3497"/>
                  </a:lnTo>
                  <a:lnTo>
                    <a:pt x="2178" y="3491"/>
                  </a:lnTo>
                  <a:lnTo>
                    <a:pt x="2179" y="3488"/>
                  </a:lnTo>
                  <a:lnTo>
                    <a:pt x="2181" y="3488"/>
                  </a:lnTo>
                  <a:lnTo>
                    <a:pt x="2181" y="3486"/>
                  </a:lnTo>
                  <a:lnTo>
                    <a:pt x="2179" y="3482"/>
                  </a:lnTo>
                  <a:lnTo>
                    <a:pt x="2179" y="3480"/>
                  </a:lnTo>
                  <a:lnTo>
                    <a:pt x="2178" y="3479"/>
                  </a:lnTo>
                  <a:lnTo>
                    <a:pt x="2173" y="3477"/>
                  </a:lnTo>
                  <a:lnTo>
                    <a:pt x="2173" y="3474"/>
                  </a:lnTo>
                  <a:lnTo>
                    <a:pt x="2173" y="3469"/>
                  </a:lnTo>
                  <a:lnTo>
                    <a:pt x="2171" y="3465"/>
                  </a:lnTo>
                  <a:lnTo>
                    <a:pt x="2168" y="3459"/>
                  </a:lnTo>
                  <a:lnTo>
                    <a:pt x="2167" y="3451"/>
                  </a:lnTo>
                  <a:lnTo>
                    <a:pt x="2164" y="3434"/>
                  </a:lnTo>
                  <a:lnTo>
                    <a:pt x="2165" y="3426"/>
                  </a:lnTo>
                  <a:lnTo>
                    <a:pt x="2164" y="3422"/>
                  </a:lnTo>
                  <a:lnTo>
                    <a:pt x="2162" y="3420"/>
                  </a:lnTo>
                  <a:lnTo>
                    <a:pt x="2159" y="3419"/>
                  </a:lnTo>
                  <a:lnTo>
                    <a:pt x="2158" y="3417"/>
                  </a:lnTo>
                  <a:lnTo>
                    <a:pt x="2156" y="3416"/>
                  </a:lnTo>
                  <a:lnTo>
                    <a:pt x="2158" y="3414"/>
                  </a:lnTo>
                  <a:lnTo>
                    <a:pt x="2159" y="3414"/>
                  </a:lnTo>
                  <a:lnTo>
                    <a:pt x="2170" y="3420"/>
                  </a:lnTo>
                  <a:lnTo>
                    <a:pt x="2173" y="3420"/>
                  </a:lnTo>
                  <a:lnTo>
                    <a:pt x="2176" y="3420"/>
                  </a:lnTo>
                  <a:lnTo>
                    <a:pt x="2190" y="3409"/>
                  </a:lnTo>
                  <a:lnTo>
                    <a:pt x="2196" y="3402"/>
                  </a:lnTo>
                  <a:lnTo>
                    <a:pt x="2199" y="3399"/>
                  </a:lnTo>
                  <a:lnTo>
                    <a:pt x="2210" y="3395"/>
                  </a:lnTo>
                  <a:lnTo>
                    <a:pt x="2216" y="3392"/>
                  </a:lnTo>
                  <a:lnTo>
                    <a:pt x="2219" y="3391"/>
                  </a:lnTo>
                  <a:lnTo>
                    <a:pt x="2221" y="3386"/>
                  </a:lnTo>
                  <a:lnTo>
                    <a:pt x="2219" y="3383"/>
                  </a:lnTo>
                  <a:lnTo>
                    <a:pt x="2216" y="3380"/>
                  </a:lnTo>
                  <a:lnTo>
                    <a:pt x="2215" y="3377"/>
                  </a:lnTo>
                  <a:lnTo>
                    <a:pt x="2216" y="3374"/>
                  </a:lnTo>
                  <a:lnTo>
                    <a:pt x="2218" y="3371"/>
                  </a:lnTo>
                  <a:lnTo>
                    <a:pt x="2218" y="3369"/>
                  </a:lnTo>
                  <a:lnTo>
                    <a:pt x="2219" y="3365"/>
                  </a:lnTo>
                  <a:lnTo>
                    <a:pt x="2219" y="3363"/>
                  </a:lnTo>
                  <a:lnTo>
                    <a:pt x="2221" y="3360"/>
                  </a:lnTo>
                  <a:lnTo>
                    <a:pt x="2221" y="3360"/>
                  </a:lnTo>
                  <a:lnTo>
                    <a:pt x="2222" y="3359"/>
                  </a:lnTo>
                  <a:lnTo>
                    <a:pt x="2228" y="3362"/>
                  </a:lnTo>
                  <a:lnTo>
                    <a:pt x="2247" y="3360"/>
                  </a:lnTo>
                  <a:lnTo>
                    <a:pt x="2248" y="3360"/>
                  </a:lnTo>
                  <a:lnTo>
                    <a:pt x="2252" y="3355"/>
                  </a:lnTo>
                  <a:lnTo>
                    <a:pt x="2262" y="3346"/>
                  </a:lnTo>
                  <a:lnTo>
                    <a:pt x="2265" y="3345"/>
                  </a:lnTo>
                  <a:lnTo>
                    <a:pt x="2279" y="3342"/>
                  </a:lnTo>
                  <a:lnTo>
                    <a:pt x="2287" y="3337"/>
                  </a:lnTo>
                  <a:lnTo>
                    <a:pt x="2289" y="3335"/>
                  </a:lnTo>
                  <a:lnTo>
                    <a:pt x="2289" y="3334"/>
                  </a:lnTo>
                  <a:lnTo>
                    <a:pt x="2289" y="3332"/>
                  </a:lnTo>
                  <a:lnTo>
                    <a:pt x="2289" y="3331"/>
                  </a:lnTo>
                  <a:lnTo>
                    <a:pt x="2289" y="3329"/>
                  </a:lnTo>
                  <a:lnTo>
                    <a:pt x="2289" y="3328"/>
                  </a:lnTo>
                  <a:lnTo>
                    <a:pt x="2290" y="3326"/>
                  </a:lnTo>
                  <a:lnTo>
                    <a:pt x="2292" y="3326"/>
                  </a:lnTo>
                  <a:lnTo>
                    <a:pt x="2292" y="3325"/>
                  </a:lnTo>
                  <a:lnTo>
                    <a:pt x="2290" y="3325"/>
                  </a:lnTo>
                  <a:lnTo>
                    <a:pt x="2290" y="3323"/>
                  </a:lnTo>
                  <a:lnTo>
                    <a:pt x="2290" y="3323"/>
                  </a:lnTo>
                  <a:lnTo>
                    <a:pt x="2292" y="3323"/>
                  </a:lnTo>
                  <a:lnTo>
                    <a:pt x="2296" y="3323"/>
                  </a:lnTo>
                  <a:lnTo>
                    <a:pt x="2298" y="3322"/>
                  </a:lnTo>
                  <a:lnTo>
                    <a:pt x="2298" y="3322"/>
                  </a:lnTo>
                  <a:lnTo>
                    <a:pt x="2299" y="3318"/>
                  </a:lnTo>
                  <a:lnTo>
                    <a:pt x="2301" y="3318"/>
                  </a:lnTo>
                  <a:lnTo>
                    <a:pt x="2302" y="3318"/>
                  </a:lnTo>
                  <a:lnTo>
                    <a:pt x="2302" y="3317"/>
                  </a:lnTo>
                  <a:lnTo>
                    <a:pt x="2302" y="3314"/>
                  </a:lnTo>
                  <a:lnTo>
                    <a:pt x="2302" y="3308"/>
                  </a:lnTo>
                  <a:lnTo>
                    <a:pt x="2302" y="3306"/>
                  </a:lnTo>
                  <a:lnTo>
                    <a:pt x="2304" y="3305"/>
                  </a:lnTo>
                  <a:lnTo>
                    <a:pt x="2305" y="3303"/>
                  </a:lnTo>
                  <a:lnTo>
                    <a:pt x="2305" y="3303"/>
                  </a:lnTo>
                  <a:lnTo>
                    <a:pt x="2305" y="3300"/>
                  </a:lnTo>
                  <a:lnTo>
                    <a:pt x="2307" y="3297"/>
                  </a:lnTo>
                  <a:lnTo>
                    <a:pt x="2307" y="3297"/>
                  </a:lnTo>
                  <a:lnTo>
                    <a:pt x="2310" y="3300"/>
                  </a:lnTo>
                  <a:lnTo>
                    <a:pt x="2315" y="3300"/>
                  </a:lnTo>
                  <a:lnTo>
                    <a:pt x="2315" y="3300"/>
                  </a:lnTo>
                  <a:lnTo>
                    <a:pt x="2313" y="3302"/>
                  </a:lnTo>
                  <a:lnTo>
                    <a:pt x="2312" y="3305"/>
                  </a:lnTo>
                  <a:lnTo>
                    <a:pt x="2313" y="3305"/>
                  </a:lnTo>
                  <a:lnTo>
                    <a:pt x="2315" y="3306"/>
                  </a:lnTo>
                  <a:lnTo>
                    <a:pt x="2316" y="3306"/>
                  </a:lnTo>
                  <a:lnTo>
                    <a:pt x="2319" y="3305"/>
                  </a:lnTo>
                  <a:lnTo>
                    <a:pt x="2322" y="3302"/>
                  </a:lnTo>
                  <a:lnTo>
                    <a:pt x="2322" y="3298"/>
                  </a:lnTo>
                  <a:lnTo>
                    <a:pt x="2319" y="3289"/>
                  </a:lnTo>
                  <a:lnTo>
                    <a:pt x="2318" y="3285"/>
                  </a:lnTo>
                  <a:lnTo>
                    <a:pt x="2321" y="3283"/>
                  </a:lnTo>
                  <a:lnTo>
                    <a:pt x="2324" y="3283"/>
                  </a:lnTo>
                  <a:lnTo>
                    <a:pt x="2325" y="3285"/>
                  </a:lnTo>
                  <a:lnTo>
                    <a:pt x="2327" y="3285"/>
                  </a:lnTo>
                  <a:lnTo>
                    <a:pt x="2329" y="3288"/>
                  </a:lnTo>
                  <a:lnTo>
                    <a:pt x="2329" y="3289"/>
                  </a:lnTo>
                  <a:lnTo>
                    <a:pt x="2330" y="3291"/>
                  </a:lnTo>
                  <a:lnTo>
                    <a:pt x="2332" y="3292"/>
                  </a:lnTo>
                  <a:lnTo>
                    <a:pt x="2350" y="3294"/>
                  </a:lnTo>
                  <a:lnTo>
                    <a:pt x="2352" y="3292"/>
                  </a:lnTo>
                  <a:lnTo>
                    <a:pt x="2353" y="3292"/>
                  </a:lnTo>
                  <a:lnTo>
                    <a:pt x="2355" y="3291"/>
                  </a:lnTo>
                  <a:lnTo>
                    <a:pt x="2356" y="3292"/>
                  </a:lnTo>
                  <a:lnTo>
                    <a:pt x="2358" y="3295"/>
                  </a:lnTo>
                  <a:lnTo>
                    <a:pt x="2359" y="3297"/>
                  </a:lnTo>
                  <a:lnTo>
                    <a:pt x="2361" y="3297"/>
                  </a:lnTo>
                  <a:lnTo>
                    <a:pt x="2364" y="3297"/>
                  </a:lnTo>
                  <a:lnTo>
                    <a:pt x="2366" y="3298"/>
                  </a:lnTo>
                  <a:lnTo>
                    <a:pt x="2366" y="3300"/>
                  </a:lnTo>
                  <a:lnTo>
                    <a:pt x="2366" y="3303"/>
                  </a:lnTo>
                  <a:lnTo>
                    <a:pt x="2366" y="3305"/>
                  </a:lnTo>
                  <a:lnTo>
                    <a:pt x="2364" y="3306"/>
                  </a:lnTo>
                  <a:lnTo>
                    <a:pt x="2362" y="3306"/>
                  </a:lnTo>
                  <a:lnTo>
                    <a:pt x="2356" y="3308"/>
                  </a:lnTo>
                  <a:lnTo>
                    <a:pt x="2355" y="3309"/>
                  </a:lnTo>
                  <a:lnTo>
                    <a:pt x="2356" y="3311"/>
                  </a:lnTo>
                  <a:lnTo>
                    <a:pt x="2358" y="3312"/>
                  </a:lnTo>
                  <a:lnTo>
                    <a:pt x="2358" y="3314"/>
                  </a:lnTo>
                  <a:lnTo>
                    <a:pt x="2358" y="3314"/>
                  </a:lnTo>
                  <a:lnTo>
                    <a:pt x="2361" y="3317"/>
                  </a:lnTo>
                  <a:lnTo>
                    <a:pt x="2366" y="3317"/>
                  </a:lnTo>
                  <a:lnTo>
                    <a:pt x="2372" y="3317"/>
                  </a:lnTo>
                  <a:lnTo>
                    <a:pt x="2376" y="3314"/>
                  </a:lnTo>
                  <a:lnTo>
                    <a:pt x="2378" y="3312"/>
                  </a:lnTo>
                  <a:lnTo>
                    <a:pt x="2378" y="3311"/>
                  </a:lnTo>
                  <a:lnTo>
                    <a:pt x="2379" y="3309"/>
                  </a:lnTo>
                  <a:lnTo>
                    <a:pt x="2381" y="3309"/>
                  </a:lnTo>
                  <a:lnTo>
                    <a:pt x="2382" y="3311"/>
                  </a:lnTo>
                  <a:lnTo>
                    <a:pt x="2384" y="3311"/>
                  </a:lnTo>
                  <a:lnTo>
                    <a:pt x="2384" y="3312"/>
                  </a:lnTo>
                  <a:lnTo>
                    <a:pt x="2384" y="3315"/>
                  </a:lnTo>
                  <a:lnTo>
                    <a:pt x="2386" y="3320"/>
                  </a:lnTo>
                  <a:lnTo>
                    <a:pt x="2389" y="3318"/>
                  </a:lnTo>
                  <a:lnTo>
                    <a:pt x="2393" y="3317"/>
                  </a:lnTo>
                  <a:lnTo>
                    <a:pt x="2396" y="3314"/>
                  </a:lnTo>
                  <a:lnTo>
                    <a:pt x="2396" y="3309"/>
                  </a:lnTo>
                  <a:lnTo>
                    <a:pt x="2395" y="3306"/>
                  </a:lnTo>
                  <a:lnTo>
                    <a:pt x="2395" y="3303"/>
                  </a:lnTo>
                  <a:lnTo>
                    <a:pt x="2398" y="3297"/>
                  </a:lnTo>
                  <a:lnTo>
                    <a:pt x="2401" y="3294"/>
                  </a:lnTo>
                  <a:lnTo>
                    <a:pt x="2402" y="3292"/>
                  </a:lnTo>
                  <a:lnTo>
                    <a:pt x="2404" y="3292"/>
                  </a:lnTo>
                  <a:lnTo>
                    <a:pt x="2407" y="3292"/>
                  </a:lnTo>
                  <a:lnTo>
                    <a:pt x="2409" y="3292"/>
                  </a:lnTo>
                  <a:lnTo>
                    <a:pt x="2410" y="3294"/>
                  </a:lnTo>
                  <a:lnTo>
                    <a:pt x="2412" y="3295"/>
                  </a:lnTo>
                  <a:lnTo>
                    <a:pt x="2415" y="3295"/>
                  </a:lnTo>
                  <a:lnTo>
                    <a:pt x="2416" y="3295"/>
                  </a:lnTo>
                  <a:lnTo>
                    <a:pt x="2419" y="3294"/>
                  </a:lnTo>
                  <a:lnTo>
                    <a:pt x="2421" y="3294"/>
                  </a:lnTo>
                  <a:lnTo>
                    <a:pt x="2422" y="3289"/>
                  </a:lnTo>
                  <a:lnTo>
                    <a:pt x="2422" y="3288"/>
                  </a:lnTo>
                  <a:lnTo>
                    <a:pt x="2426" y="3286"/>
                  </a:lnTo>
                  <a:lnTo>
                    <a:pt x="2429" y="3286"/>
                  </a:lnTo>
                  <a:lnTo>
                    <a:pt x="2432" y="3286"/>
                  </a:lnTo>
                  <a:lnTo>
                    <a:pt x="2433" y="3285"/>
                  </a:lnTo>
                  <a:lnTo>
                    <a:pt x="2433" y="3282"/>
                  </a:lnTo>
                  <a:lnTo>
                    <a:pt x="2435" y="3280"/>
                  </a:lnTo>
                  <a:lnTo>
                    <a:pt x="2436" y="3282"/>
                  </a:lnTo>
                  <a:lnTo>
                    <a:pt x="2438" y="3286"/>
                  </a:lnTo>
                  <a:lnTo>
                    <a:pt x="2439" y="3291"/>
                  </a:lnTo>
                  <a:lnTo>
                    <a:pt x="2439" y="3294"/>
                  </a:lnTo>
                  <a:lnTo>
                    <a:pt x="2446" y="3305"/>
                  </a:lnTo>
                  <a:lnTo>
                    <a:pt x="2447" y="3312"/>
                  </a:lnTo>
                  <a:lnTo>
                    <a:pt x="2447" y="3312"/>
                  </a:lnTo>
                  <a:lnTo>
                    <a:pt x="2449" y="3314"/>
                  </a:lnTo>
                  <a:lnTo>
                    <a:pt x="2450" y="3315"/>
                  </a:lnTo>
                  <a:lnTo>
                    <a:pt x="2452" y="3317"/>
                  </a:lnTo>
                  <a:lnTo>
                    <a:pt x="2453" y="3318"/>
                  </a:lnTo>
                  <a:lnTo>
                    <a:pt x="2453" y="3318"/>
                  </a:lnTo>
                  <a:lnTo>
                    <a:pt x="2455" y="3317"/>
                  </a:lnTo>
                  <a:lnTo>
                    <a:pt x="2461" y="3318"/>
                  </a:lnTo>
                  <a:lnTo>
                    <a:pt x="2461" y="3318"/>
                  </a:lnTo>
                  <a:lnTo>
                    <a:pt x="2463" y="3318"/>
                  </a:lnTo>
                  <a:lnTo>
                    <a:pt x="2464" y="3317"/>
                  </a:lnTo>
                  <a:lnTo>
                    <a:pt x="2464" y="3317"/>
                  </a:lnTo>
                  <a:lnTo>
                    <a:pt x="2464" y="3315"/>
                  </a:lnTo>
                  <a:lnTo>
                    <a:pt x="2466" y="3315"/>
                  </a:lnTo>
                  <a:lnTo>
                    <a:pt x="2467" y="3315"/>
                  </a:lnTo>
                  <a:lnTo>
                    <a:pt x="2469" y="3314"/>
                  </a:lnTo>
                  <a:lnTo>
                    <a:pt x="2469" y="3314"/>
                  </a:lnTo>
                  <a:lnTo>
                    <a:pt x="2469" y="3312"/>
                  </a:lnTo>
                  <a:lnTo>
                    <a:pt x="2470" y="3312"/>
                  </a:lnTo>
                  <a:lnTo>
                    <a:pt x="2470" y="3312"/>
                  </a:lnTo>
                  <a:lnTo>
                    <a:pt x="2472" y="3314"/>
                  </a:lnTo>
                  <a:lnTo>
                    <a:pt x="2473" y="3315"/>
                  </a:lnTo>
                  <a:lnTo>
                    <a:pt x="2478" y="3314"/>
                  </a:lnTo>
                  <a:lnTo>
                    <a:pt x="2479" y="3315"/>
                  </a:lnTo>
                  <a:lnTo>
                    <a:pt x="2478" y="3317"/>
                  </a:lnTo>
                  <a:lnTo>
                    <a:pt x="2479" y="3317"/>
                  </a:lnTo>
                  <a:lnTo>
                    <a:pt x="2481" y="3318"/>
                  </a:lnTo>
                  <a:lnTo>
                    <a:pt x="2483" y="3318"/>
                  </a:lnTo>
                  <a:lnTo>
                    <a:pt x="2484" y="3318"/>
                  </a:lnTo>
                  <a:lnTo>
                    <a:pt x="2484" y="3318"/>
                  </a:lnTo>
                  <a:lnTo>
                    <a:pt x="2486" y="3317"/>
                  </a:lnTo>
                  <a:lnTo>
                    <a:pt x="2486" y="3315"/>
                  </a:lnTo>
                  <a:lnTo>
                    <a:pt x="2489" y="3315"/>
                  </a:lnTo>
                  <a:lnTo>
                    <a:pt x="2498" y="3315"/>
                  </a:lnTo>
                  <a:lnTo>
                    <a:pt x="2498" y="3312"/>
                  </a:lnTo>
                  <a:lnTo>
                    <a:pt x="2498" y="3312"/>
                  </a:lnTo>
                  <a:lnTo>
                    <a:pt x="2500" y="3312"/>
                  </a:lnTo>
                  <a:lnTo>
                    <a:pt x="2500" y="3312"/>
                  </a:lnTo>
                  <a:lnTo>
                    <a:pt x="2501" y="3312"/>
                  </a:lnTo>
                  <a:lnTo>
                    <a:pt x="2501" y="3312"/>
                  </a:lnTo>
                  <a:lnTo>
                    <a:pt x="2501" y="3314"/>
                  </a:lnTo>
                  <a:lnTo>
                    <a:pt x="2501" y="3314"/>
                  </a:lnTo>
                  <a:lnTo>
                    <a:pt x="2503" y="3314"/>
                  </a:lnTo>
                  <a:lnTo>
                    <a:pt x="2503" y="3314"/>
                  </a:lnTo>
                  <a:lnTo>
                    <a:pt x="2503" y="3314"/>
                  </a:lnTo>
                  <a:lnTo>
                    <a:pt x="2504" y="3314"/>
                  </a:lnTo>
                  <a:lnTo>
                    <a:pt x="2509" y="3314"/>
                  </a:lnTo>
                  <a:lnTo>
                    <a:pt x="2510" y="3314"/>
                  </a:lnTo>
                  <a:lnTo>
                    <a:pt x="2512" y="3312"/>
                  </a:lnTo>
                  <a:lnTo>
                    <a:pt x="2513" y="3314"/>
                  </a:lnTo>
                  <a:lnTo>
                    <a:pt x="2513" y="3314"/>
                  </a:lnTo>
                  <a:lnTo>
                    <a:pt x="2516" y="3315"/>
                  </a:lnTo>
                  <a:lnTo>
                    <a:pt x="2518" y="3317"/>
                  </a:lnTo>
                  <a:lnTo>
                    <a:pt x="2520" y="3320"/>
                  </a:lnTo>
                  <a:lnTo>
                    <a:pt x="2520" y="3320"/>
                  </a:lnTo>
                  <a:lnTo>
                    <a:pt x="2527" y="3323"/>
                  </a:lnTo>
                  <a:lnTo>
                    <a:pt x="2530" y="3326"/>
                  </a:lnTo>
                  <a:lnTo>
                    <a:pt x="2532" y="3326"/>
                  </a:lnTo>
                  <a:lnTo>
                    <a:pt x="2532" y="3329"/>
                  </a:lnTo>
                  <a:lnTo>
                    <a:pt x="2532" y="3329"/>
                  </a:lnTo>
                  <a:lnTo>
                    <a:pt x="2529" y="3331"/>
                  </a:lnTo>
                  <a:lnTo>
                    <a:pt x="2530" y="3332"/>
                  </a:lnTo>
                  <a:lnTo>
                    <a:pt x="2530" y="3334"/>
                  </a:lnTo>
                  <a:lnTo>
                    <a:pt x="2530" y="3337"/>
                  </a:lnTo>
                  <a:lnTo>
                    <a:pt x="2530" y="3339"/>
                  </a:lnTo>
                  <a:lnTo>
                    <a:pt x="2533" y="3342"/>
                  </a:lnTo>
                  <a:lnTo>
                    <a:pt x="2535" y="3343"/>
                  </a:lnTo>
                  <a:lnTo>
                    <a:pt x="2535" y="3345"/>
                  </a:lnTo>
                  <a:lnTo>
                    <a:pt x="2536" y="3346"/>
                  </a:lnTo>
                  <a:lnTo>
                    <a:pt x="2550" y="3351"/>
                  </a:lnTo>
                  <a:lnTo>
                    <a:pt x="2553" y="3351"/>
                  </a:lnTo>
                  <a:lnTo>
                    <a:pt x="2556" y="3351"/>
                  </a:lnTo>
                  <a:lnTo>
                    <a:pt x="2560" y="3352"/>
                  </a:lnTo>
                  <a:lnTo>
                    <a:pt x="2561" y="3354"/>
                  </a:lnTo>
                  <a:lnTo>
                    <a:pt x="2563" y="3359"/>
                  </a:lnTo>
                  <a:lnTo>
                    <a:pt x="2564" y="3360"/>
                  </a:lnTo>
                  <a:lnTo>
                    <a:pt x="2567" y="3360"/>
                  </a:lnTo>
                  <a:lnTo>
                    <a:pt x="2569" y="3362"/>
                  </a:lnTo>
                  <a:lnTo>
                    <a:pt x="2570" y="3363"/>
                  </a:lnTo>
                  <a:lnTo>
                    <a:pt x="2570" y="3368"/>
                  </a:lnTo>
                  <a:lnTo>
                    <a:pt x="2572" y="3369"/>
                  </a:lnTo>
                  <a:lnTo>
                    <a:pt x="2572" y="3371"/>
                  </a:lnTo>
                  <a:lnTo>
                    <a:pt x="2572" y="3372"/>
                  </a:lnTo>
                  <a:lnTo>
                    <a:pt x="2572" y="3374"/>
                  </a:lnTo>
                  <a:lnTo>
                    <a:pt x="2573" y="3377"/>
                  </a:lnTo>
                  <a:lnTo>
                    <a:pt x="2575" y="3377"/>
                  </a:lnTo>
                  <a:lnTo>
                    <a:pt x="2578" y="3380"/>
                  </a:lnTo>
                  <a:lnTo>
                    <a:pt x="2580" y="3382"/>
                  </a:lnTo>
                  <a:lnTo>
                    <a:pt x="2580" y="3383"/>
                  </a:lnTo>
                  <a:lnTo>
                    <a:pt x="2581" y="3385"/>
                  </a:lnTo>
                  <a:lnTo>
                    <a:pt x="2583" y="3385"/>
                  </a:lnTo>
                  <a:lnTo>
                    <a:pt x="2589" y="3386"/>
                  </a:lnTo>
                  <a:lnTo>
                    <a:pt x="2590" y="3386"/>
                  </a:lnTo>
                  <a:lnTo>
                    <a:pt x="2592" y="3388"/>
                  </a:lnTo>
                  <a:lnTo>
                    <a:pt x="2592" y="3389"/>
                  </a:lnTo>
                  <a:lnTo>
                    <a:pt x="2595" y="3389"/>
                  </a:lnTo>
                  <a:lnTo>
                    <a:pt x="2597" y="3389"/>
                  </a:lnTo>
                  <a:lnTo>
                    <a:pt x="2597" y="3391"/>
                  </a:lnTo>
                  <a:lnTo>
                    <a:pt x="2597" y="3392"/>
                  </a:lnTo>
                  <a:lnTo>
                    <a:pt x="2597" y="3394"/>
                  </a:lnTo>
                  <a:lnTo>
                    <a:pt x="2597" y="3394"/>
                  </a:lnTo>
                  <a:lnTo>
                    <a:pt x="2592" y="3400"/>
                  </a:lnTo>
                  <a:lnTo>
                    <a:pt x="2592" y="3402"/>
                  </a:lnTo>
                  <a:lnTo>
                    <a:pt x="2592" y="3408"/>
                  </a:lnTo>
                  <a:lnTo>
                    <a:pt x="2592" y="3409"/>
                  </a:lnTo>
                  <a:lnTo>
                    <a:pt x="2589" y="3416"/>
                  </a:lnTo>
                  <a:lnTo>
                    <a:pt x="2589" y="3417"/>
                  </a:lnTo>
                  <a:lnTo>
                    <a:pt x="2589" y="3420"/>
                  </a:lnTo>
                  <a:lnTo>
                    <a:pt x="2590" y="3422"/>
                  </a:lnTo>
                  <a:lnTo>
                    <a:pt x="2593" y="3426"/>
                  </a:lnTo>
                  <a:lnTo>
                    <a:pt x="2595" y="3428"/>
                  </a:lnTo>
                  <a:lnTo>
                    <a:pt x="2597" y="3428"/>
                  </a:lnTo>
                  <a:lnTo>
                    <a:pt x="2598" y="3429"/>
                  </a:lnTo>
                  <a:lnTo>
                    <a:pt x="2601" y="3428"/>
                  </a:lnTo>
                  <a:lnTo>
                    <a:pt x="2601" y="3428"/>
                  </a:lnTo>
                  <a:lnTo>
                    <a:pt x="2604" y="3426"/>
                  </a:lnTo>
                  <a:lnTo>
                    <a:pt x="2609" y="3423"/>
                  </a:lnTo>
                  <a:lnTo>
                    <a:pt x="2612" y="3420"/>
                  </a:lnTo>
                  <a:lnTo>
                    <a:pt x="2610" y="3416"/>
                  </a:lnTo>
                  <a:lnTo>
                    <a:pt x="2609" y="3408"/>
                  </a:lnTo>
                  <a:lnTo>
                    <a:pt x="2609" y="3405"/>
                  </a:lnTo>
                  <a:lnTo>
                    <a:pt x="2609" y="3400"/>
                  </a:lnTo>
                  <a:lnTo>
                    <a:pt x="2609" y="3399"/>
                  </a:lnTo>
                  <a:lnTo>
                    <a:pt x="2609" y="3397"/>
                  </a:lnTo>
                  <a:lnTo>
                    <a:pt x="2607" y="3395"/>
                  </a:lnTo>
                  <a:lnTo>
                    <a:pt x="2607" y="3395"/>
                  </a:lnTo>
                  <a:lnTo>
                    <a:pt x="2607" y="3394"/>
                  </a:lnTo>
                  <a:lnTo>
                    <a:pt x="2609" y="3392"/>
                  </a:lnTo>
                  <a:lnTo>
                    <a:pt x="2609" y="3391"/>
                  </a:lnTo>
                  <a:lnTo>
                    <a:pt x="2609" y="3386"/>
                  </a:lnTo>
                  <a:lnTo>
                    <a:pt x="2604" y="3383"/>
                  </a:lnTo>
                  <a:lnTo>
                    <a:pt x="2600" y="3383"/>
                  </a:lnTo>
                  <a:lnTo>
                    <a:pt x="2598" y="3382"/>
                  </a:lnTo>
                  <a:lnTo>
                    <a:pt x="2600" y="3380"/>
                  </a:lnTo>
                  <a:lnTo>
                    <a:pt x="2601" y="3380"/>
                  </a:lnTo>
                  <a:lnTo>
                    <a:pt x="2601" y="3379"/>
                  </a:lnTo>
                  <a:lnTo>
                    <a:pt x="2600" y="3374"/>
                  </a:lnTo>
                  <a:lnTo>
                    <a:pt x="2601" y="3372"/>
                  </a:lnTo>
                  <a:lnTo>
                    <a:pt x="2603" y="3371"/>
                  </a:lnTo>
                  <a:lnTo>
                    <a:pt x="2609" y="3369"/>
                  </a:lnTo>
                  <a:lnTo>
                    <a:pt x="2610" y="3369"/>
                  </a:lnTo>
                  <a:lnTo>
                    <a:pt x="2612" y="3369"/>
                  </a:lnTo>
                  <a:lnTo>
                    <a:pt x="2613" y="3371"/>
                  </a:lnTo>
                  <a:lnTo>
                    <a:pt x="2617" y="3374"/>
                  </a:lnTo>
                  <a:lnTo>
                    <a:pt x="2621" y="3375"/>
                  </a:lnTo>
                  <a:lnTo>
                    <a:pt x="2623" y="3377"/>
                  </a:lnTo>
                  <a:lnTo>
                    <a:pt x="2624" y="3380"/>
                  </a:lnTo>
                  <a:lnTo>
                    <a:pt x="2627" y="3383"/>
                  </a:lnTo>
                  <a:lnTo>
                    <a:pt x="2638" y="3386"/>
                  </a:lnTo>
                  <a:lnTo>
                    <a:pt x="2640" y="3389"/>
                  </a:lnTo>
                  <a:lnTo>
                    <a:pt x="2640" y="3394"/>
                  </a:lnTo>
                  <a:lnTo>
                    <a:pt x="2641" y="3397"/>
                  </a:lnTo>
                  <a:lnTo>
                    <a:pt x="2658" y="3412"/>
                  </a:lnTo>
                  <a:lnTo>
                    <a:pt x="2660" y="3414"/>
                  </a:lnTo>
                  <a:lnTo>
                    <a:pt x="2661" y="3414"/>
                  </a:lnTo>
                  <a:lnTo>
                    <a:pt x="2663" y="3414"/>
                  </a:lnTo>
                  <a:lnTo>
                    <a:pt x="2666" y="3412"/>
                  </a:lnTo>
                  <a:lnTo>
                    <a:pt x="2669" y="3412"/>
                  </a:lnTo>
                  <a:lnTo>
                    <a:pt x="2670" y="3412"/>
                  </a:lnTo>
                  <a:lnTo>
                    <a:pt x="2672" y="3414"/>
                  </a:lnTo>
                  <a:lnTo>
                    <a:pt x="2674" y="3416"/>
                  </a:lnTo>
                  <a:lnTo>
                    <a:pt x="2674" y="3419"/>
                  </a:lnTo>
                  <a:lnTo>
                    <a:pt x="2675" y="3420"/>
                  </a:lnTo>
                  <a:lnTo>
                    <a:pt x="2678" y="3422"/>
                  </a:lnTo>
                  <a:lnTo>
                    <a:pt x="2680" y="3422"/>
                  </a:lnTo>
                  <a:lnTo>
                    <a:pt x="2681" y="3426"/>
                  </a:lnTo>
                  <a:lnTo>
                    <a:pt x="2684" y="3428"/>
                  </a:lnTo>
                  <a:lnTo>
                    <a:pt x="2687" y="3426"/>
                  </a:lnTo>
                  <a:lnTo>
                    <a:pt x="2692" y="3422"/>
                  </a:lnTo>
                  <a:lnTo>
                    <a:pt x="2704" y="3414"/>
                  </a:lnTo>
                  <a:lnTo>
                    <a:pt x="2715" y="3405"/>
                  </a:lnTo>
                  <a:lnTo>
                    <a:pt x="2717" y="3403"/>
                  </a:lnTo>
                  <a:lnTo>
                    <a:pt x="2720" y="3388"/>
                  </a:lnTo>
                  <a:lnTo>
                    <a:pt x="2721" y="3385"/>
                  </a:lnTo>
                  <a:lnTo>
                    <a:pt x="2721" y="3383"/>
                  </a:lnTo>
                  <a:lnTo>
                    <a:pt x="2723" y="3383"/>
                  </a:lnTo>
                  <a:lnTo>
                    <a:pt x="2729" y="3386"/>
                  </a:lnTo>
                  <a:lnTo>
                    <a:pt x="2731" y="3386"/>
                  </a:lnTo>
                  <a:lnTo>
                    <a:pt x="2734" y="3386"/>
                  </a:lnTo>
                  <a:lnTo>
                    <a:pt x="2735" y="3385"/>
                  </a:lnTo>
                  <a:lnTo>
                    <a:pt x="2735" y="3383"/>
                  </a:lnTo>
                  <a:lnTo>
                    <a:pt x="2735" y="3379"/>
                  </a:lnTo>
                  <a:lnTo>
                    <a:pt x="2737" y="3377"/>
                  </a:lnTo>
                  <a:lnTo>
                    <a:pt x="2741" y="3377"/>
                  </a:lnTo>
                  <a:lnTo>
                    <a:pt x="2741" y="3375"/>
                  </a:lnTo>
                  <a:lnTo>
                    <a:pt x="2741" y="3374"/>
                  </a:lnTo>
                  <a:lnTo>
                    <a:pt x="2741" y="3371"/>
                  </a:lnTo>
                  <a:lnTo>
                    <a:pt x="2741" y="3369"/>
                  </a:lnTo>
                  <a:lnTo>
                    <a:pt x="2741" y="3368"/>
                  </a:lnTo>
                  <a:lnTo>
                    <a:pt x="2743" y="3366"/>
                  </a:lnTo>
                  <a:lnTo>
                    <a:pt x="2746" y="3365"/>
                  </a:lnTo>
                  <a:lnTo>
                    <a:pt x="2747" y="3365"/>
                  </a:lnTo>
                  <a:lnTo>
                    <a:pt x="2754" y="3374"/>
                  </a:lnTo>
                  <a:lnTo>
                    <a:pt x="2755" y="3375"/>
                  </a:lnTo>
                  <a:lnTo>
                    <a:pt x="2761" y="3377"/>
                  </a:lnTo>
                  <a:lnTo>
                    <a:pt x="2763" y="3377"/>
                  </a:lnTo>
                  <a:lnTo>
                    <a:pt x="2763" y="3375"/>
                  </a:lnTo>
                  <a:lnTo>
                    <a:pt x="2761" y="3372"/>
                  </a:lnTo>
                  <a:lnTo>
                    <a:pt x="2761" y="3369"/>
                  </a:lnTo>
                  <a:lnTo>
                    <a:pt x="2760" y="3366"/>
                  </a:lnTo>
                  <a:lnTo>
                    <a:pt x="2761" y="3365"/>
                  </a:lnTo>
                  <a:lnTo>
                    <a:pt x="2763" y="3365"/>
                  </a:lnTo>
                  <a:lnTo>
                    <a:pt x="2764" y="3363"/>
                  </a:lnTo>
                  <a:lnTo>
                    <a:pt x="2766" y="3363"/>
                  </a:lnTo>
                  <a:lnTo>
                    <a:pt x="2768" y="3363"/>
                  </a:lnTo>
                  <a:lnTo>
                    <a:pt x="2771" y="3366"/>
                  </a:lnTo>
                  <a:lnTo>
                    <a:pt x="2772" y="3366"/>
                  </a:lnTo>
                  <a:lnTo>
                    <a:pt x="2774" y="3366"/>
                  </a:lnTo>
                  <a:lnTo>
                    <a:pt x="2777" y="3366"/>
                  </a:lnTo>
                  <a:lnTo>
                    <a:pt x="2778" y="3365"/>
                  </a:lnTo>
                  <a:lnTo>
                    <a:pt x="2780" y="3365"/>
                  </a:lnTo>
                  <a:lnTo>
                    <a:pt x="2786" y="3365"/>
                  </a:lnTo>
                  <a:lnTo>
                    <a:pt x="2789" y="3365"/>
                  </a:lnTo>
                  <a:lnTo>
                    <a:pt x="2795" y="3362"/>
                  </a:lnTo>
                  <a:lnTo>
                    <a:pt x="2795" y="3362"/>
                  </a:lnTo>
                  <a:lnTo>
                    <a:pt x="2797" y="3362"/>
                  </a:lnTo>
                  <a:lnTo>
                    <a:pt x="2798" y="3365"/>
                  </a:lnTo>
                  <a:lnTo>
                    <a:pt x="2798" y="3369"/>
                  </a:lnTo>
                  <a:lnTo>
                    <a:pt x="2798" y="3371"/>
                  </a:lnTo>
                  <a:lnTo>
                    <a:pt x="2800" y="3371"/>
                  </a:lnTo>
                  <a:lnTo>
                    <a:pt x="2801" y="3372"/>
                  </a:lnTo>
                  <a:lnTo>
                    <a:pt x="2803" y="3372"/>
                  </a:lnTo>
                  <a:lnTo>
                    <a:pt x="2804" y="3372"/>
                  </a:lnTo>
                  <a:lnTo>
                    <a:pt x="2806" y="3375"/>
                  </a:lnTo>
                  <a:lnTo>
                    <a:pt x="2806" y="3377"/>
                  </a:lnTo>
                  <a:lnTo>
                    <a:pt x="2808" y="3382"/>
                  </a:lnTo>
                  <a:lnTo>
                    <a:pt x="2808" y="3383"/>
                  </a:lnTo>
                  <a:lnTo>
                    <a:pt x="2809" y="3385"/>
                  </a:lnTo>
                  <a:lnTo>
                    <a:pt x="2811" y="3386"/>
                  </a:lnTo>
                  <a:lnTo>
                    <a:pt x="2815" y="3389"/>
                  </a:lnTo>
                  <a:lnTo>
                    <a:pt x="2817" y="3389"/>
                  </a:lnTo>
                  <a:lnTo>
                    <a:pt x="2818" y="3389"/>
                  </a:lnTo>
                  <a:lnTo>
                    <a:pt x="2821" y="3388"/>
                  </a:lnTo>
                  <a:lnTo>
                    <a:pt x="2821" y="3386"/>
                  </a:lnTo>
                  <a:lnTo>
                    <a:pt x="2823" y="3385"/>
                  </a:lnTo>
                  <a:lnTo>
                    <a:pt x="2824" y="3383"/>
                  </a:lnTo>
                  <a:lnTo>
                    <a:pt x="2826" y="3382"/>
                  </a:lnTo>
                  <a:lnTo>
                    <a:pt x="2829" y="3383"/>
                  </a:lnTo>
                  <a:lnTo>
                    <a:pt x="2835" y="3385"/>
                  </a:lnTo>
                  <a:lnTo>
                    <a:pt x="2838" y="3383"/>
                  </a:lnTo>
                  <a:lnTo>
                    <a:pt x="2838" y="3380"/>
                  </a:lnTo>
                  <a:lnTo>
                    <a:pt x="2840" y="3375"/>
                  </a:lnTo>
                  <a:lnTo>
                    <a:pt x="2838" y="3368"/>
                  </a:lnTo>
                  <a:lnTo>
                    <a:pt x="2838" y="3365"/>
                  </a:lnTo>
                  <a:lnTo>
                    <a:pt x="2840" y="3362"/>
                  </a:lnTo>
                  <a:lnTo>
                    <a:pt x="2841" y="3359"/>
                  </a:lnTo>
                  <a:lnTo>
                    <a:pt x="2843" y="3359"/>
                  </a:lnTo>
                  <a:lnTo>
                    <a:pt x="2848" y="3360"/>
                  </a:lnTo>
                  <a:lnTo>
                    <a:pt x="2848" y="3360"/>
                  </a:lnTo>
                  <a:lnTo>
                    <a:pt x="2852" y="3360"/>
                  </a:lnTo>
                  <a:lnTo>
                    <a:pt x="2854" y="3362"/>
                  </a:lnTo>
                  <a:lnTo>
                    <a:pt x="2854" y="3362"/>
                  </a:lnTo>
                  <a:lnTo>
                    <a:pt x="2855" y="3363"/>
                  </a:lnTo>
                  <a:lnTo>
                    <a:pt x="2855" y="3363"/>
                  </a:lnTo>
                  <a:lnTo>
                    <a:pt x="2858" y="3363"/>
                  </a:lnTo>
                  <a:lnTo>
                    <a:pt x="2858" y="3362"/>
                  </a:lnTo>
                  <a:lnTo>
                    <a:pt x="2865" y="3362"/>
                  </a:lnTo>
                  <a:lnTo>
                    <a:pt x="2865" y="3362"/>
                  </a:lnTo>
                  <a:lnTo>
                    <a:pt x="2865" y="3362"/>
                  </a:lnTo>
                  <a:lnTo>
                    <a:pt x="2866" y="3363"/>
                  </a:lnTo>
                  <a:lnTo>
                    <a:pt x="2866" y="3363"/>
                  </a:lnTo>
                  <a:lnTo>
                    <a:pt x="2866" y="3363"/>
                  </a:lnTo>
                  <a:lnTo>
                    <a:pt x="2868" y="3365"/>
                  </a:lnTo>
                  <a:lnTo>
                    <a:pt x="2869" y="3366"/>
                  </a:lnTo>
                  <a:lnTo>
                    <a:pt x="2871" y="3366"/>
                  </a:lnTo>
                  <a:lnTo>
                    <a:pt x="2872" y="3365"/>
                  </a:lnTo>
                  <a:lnTo>
                    <a:pt x="2874" y="3363"/>
                  </a:lnTo>
                  <a:lnTo>
                    <a:pt x="2874" y="3360"/>
                  </a:lnTo>
                  <a:lnTo>
                    <a:pt x="2875" y="3359"/>
                  </a:lnTo>
                  <a:lnTo>
                    <a:pt x="2877" y="3357"/>
                  </a:lnTo>
                  <a:lnTo>
                    <a:pt x="2878" y="3357"/>
                  </a:lnTo>
                  <a:lnTo>
                    <a:pt x="2881" y="3355"/>
                  </a:lnTo>
                  <a:lnTo>
                    <a:pt x="2883" y="3355"/>
                  </a:lnTo>
                  <a:lnTo>
                    <a:pt x="2885" y="3359"/>
                  </a:lnTo>
                  <a:lnTo>
                    <a:pt x="2886" y="3360"/>
                  </a:lnTo>
                  <a:lnTo>
                    <a:pt x="2886" y="3362"/>
                  </a:lnTo>
                  <a:lnTo>
                    <a:pt x="2886" y="3363"/>
                  </a:lnTo>
                  <a:lnTo>
                    <a:pt x="2886" y="3365"/>
                  </a:lnTo>
                  <a:lnTo>
                    <a:pt x="2888" y="3365"/>
                  </a:lnTo>
                  <a:lnTo>
                    <a:pt x="2897" y="3366"/>
                  </a:lnTo>
                  <a:lnTo>
                    <a:pt x="2900" y="3366"/>
                  </a:lnTo>
                  <a:lnTo>
                    <a:pt x="2903" y="3369"/>
                  </a:lnTo>
                  <a:lnTo>
                    <a:pt x="2903" y="3375"/>
                  </a:lnTo>
                  <a:lnTo>
                    <a:pt x="2903" y="3377"/>
                  </a:lnTo>
                  <a:lnTo>
                    <a:pt x="2901" y="3379"/>
                  </a:lnTo>
                  <a:lnTo>
                    <a:pt x="2901" y="3380"/>
                  </a:lnTo>
                  <a:lnTo>
                    <a:pt x="2900" y="3382"/>
                  </a:lnTo>
                  <a:lnTo>
                    <a:pt x="2900" y="3383"/>
                  </a:lnTo>
                  <a:lnTo>
                    <a:pt x="2900" y="3385"/>
                  </a:lnTo>
                  <a:lnTo>
                    <a:pt x="2900" y="3388"/>
                  </a:lnTo>
                  <a:lnTo>
                    <a:pt x="2901" y="3389"/>
                  </a:lnTo>
                  <a:lnTo>
                    <a:pt x="2903" y="3389"/>
                  </a:lnTo>
                  <a:lnTo>
                    <a:pt x="2906" y="3389"/>
                  </a:lnTo>
                  <a:lnTo>
                    <a:pt x="2908" y="3389"/>
                  </a:lnTo>
                  <a:lnTo>
                    <a:pt x="2906" y="3394"/>
                  </a:lnTo>
                  <a:lnTo>
                    <a:pt x="2906" y="3395"/>
                  </a:lnTo>
                  <a:lnTo>
                    <a:pt x="2908" y="3397"/>
                  </a:lnTo>
                  <a:lnTo>
                    <a:pt x="2911" y="3397"/>
                  </a:lnTo>
                  <a:lnTo>
                    <a:pt x="2912" y="3397"/>
                  </a:lnTo>
                  <a:lnTo>
                    <a:pt x="2914" y="3397"/>
                  </a:lnTo>
                  <a:lnTo>
                    <a:pt x="2915" y="3399"/>
                  </a:lnTo>
                  <a:lnTo>
                    <a:pt x="2917" y="3402"/>
                  </a:lnTo>
                  <a:lnTo>
                    <a:pt x="2918" y="3403"/>
                  </a:lnTo>
                  <a:lnTo>
                    <a:pt x="2918" y="3405"/>
                  </a:lnTo>
                  <a:lnTo>
                    <a:pt x="2925" y="3409"/>
                  </a:lnTo>
                  <a:lnTo>
                    <a:pt x="2928" y="3411"/>
                  </a:lnTo>
                  <a:lnTo>
                    <a:pt x="2948" y="3412"/>
                  </a:lnTo>
                  <a:lnTo>
                    <a:pt x="2949" y="3412"/>
                  </a:lnTo>
                  <a:lnTo>
                    <a:pt x="2951" y="3414"/>
                  </a:lnTo>
                  <a:lnTo>
                    <a:pt x="2951" y="3417"/>
                  </a:lnTo>
                  <a:lnTo>
                    <a:pt x="2952" y="3417"/>
                  </a:lnTo>
                  <a:lnTo>
                    <a:pt x="2954" y="3419"/>
                  </a:lnTo>
                  <a:lnTo>
                    <a:pt x="2955" y="3419"/>
                  </a:lnTo>
                  <a:lnTo>
                    <a:pt x="2962" y="3416"/>
                  </a:lnTo>
                  <a:lnTo>
                    <a:pt x="2966" y="3416"/>
                  </a:lnTo>
                  <a:lnTo>
                    <a:pt x="2969" y="3419"/>
                  </a:lnTo>
                  <a:lnTo>
                    <a:pt x="2971" y="3420"/>
                  </a:lnTo>
                  <a:lnTo>
                    <a:pt x="2974" y="3422"/>
                  </a:lnTo>
                  <a:lnTo>
                    <a:pt x="2975" y="3422"/>
                  </a:lnTo>
                  <a:lnTo>
                    <a:pt x="2975" y="3425"/>
                  </a:lnTo>
                  <a:lnTo>
                    <a:pt x="2972" y="3426"/>
                  </a:lnTo>
                  <a:lnTo>
                    <a:pt x="2969" y="3425"/>
                  </a:lnTo>
                  <a:lnTo>
                    <a:pt x="2966" y="3428"/>
                  </a:lnTo>
                  <a:lnTo>
                    <a:pt x="2966" y="3429"/>
                  </a:lnTo>
                  <a:lnTo>
                    <a:pt x="2968" y="3431"/>
                  </a:lnTo>
                  <a:lnTo>
                    <a:pt x="2972" y="3434"/>
                  </a:lnTo>
                  <a:lnTo>
                    <a:pt x="2974" y="3434"/>
                  </a:lnTo>
                  <a:lnTo>
                    <a:pt x="2977" y="3431"/>
                  </a:lnTo>
                  <a:lnTo>
                    <a:pt x="2980" y="3429"/>
                  </a:lnTo>
                  <a:lnTo>
                    <a:pt x="2983" y="3428"/>
                  </a:lnTo>
                  <a:lnTo>
                    <a:pt x="2988" y="3428"/>
                  </a:lnTo>
                  <a:lnTo>
                    <a:pt x="2991" y="3428"/>
                  </a:lnTo>
                  <a:lnTo>
                    <a:pt x="2994" y="3425"/>
                  </a:lnTo>
                  <a:lnTo>
                    <a:pt x="2997" y="3417"/>
                  </a:lnTo>
                  <a:lnTo>
                    <a:pt x="2999" y="3416"/>
                  </a:lnTo>
                  <a:lnTo>
                    <a:pt x="3000" y="3412"/>
                  </a:lnTo>
                  <a:lnTo>
                    <a:pt x="3002" y="3411"/>
                  </a:lnTo>
                  <a:lnTo>
                    <a:pt x="3002" y="3409"/>
                  </a:lnTo>
                  <a:lnTo>
                    <a:pt x="3002" y="3405"/>
                  </a:lnTo>
                  <a:lnTo>
                    <a:pt x="3002" y="3403"/>
                  </a:lnTo>
                  <a:lnTo>
                    <a:pt x="3002" y="3400"/>
                  </a:lnTo>
                  <a:lnTo>
                    <a:pt x="3005" y="3392"/>
                  </a:lnTo>
                  <a:lnTo>
                    <a:pt x="3005" y="3392"/>
                  </a:lnTo>
                  <a:lnTo>
                    <a:pt x="3006" y="3391"/>
                  </a:lnTo>
                  <a:lnTo>
                    <a:pt x="3009" y="3389"/>
                  </a:lnTo>
                  <a:lnTo>
                    <a:pt x="3014" y="3389"/>
                  </a:lnTo>
                  <a:lnTo>
                    <a:pt x="3017" y="3391"/>
                  </a:lnTo>
                  <a:lnTo>
                    <a:pt x="3019" y="3395"/>
                  </a:lnTo>
                  <a:lnTo>
                    <a:pt x="3019" y="3400"/>
                  </a:lnTo>
                  <a:lnTo>
                    <a:pt x="3020" y="3403"/>
                  </a:lnTo>
                  <a:lnTo>
                    <a:pt x="3023" y="3406"/>
                  </a:lnTo>
                  <a:lnTo>
                    <a:pt x="3026" y="3408"/>
                  </a:lnTo>
                  <a:lnTo>
                    <a:pt x="3029" y="3409"/>
                  </a:lnTo>
                  <a:lnTo>
                    <a:pt x="3062" y="3414"/>
                  </a:lnTo>
                  <a:lnTo>
                    <a:pt x="3068" y="3412"/>
                  </a:lnTo>
                  <a:lnTo>
                    <a:pt x="3089" y="3405"/>
                  </a:lnTo>
                  <a:lnTo>
                    <a:pt x="3109" y="3399"/>
                  </a:lnTo>
                  <a:lnTo>
                    <a:pt x="3113" y="3395"/>
                  </a:lnTo>
                  <a:lnTo>
                    <a:pt x="3114" y="3392"/>
                  </a:lnTo>
                  <a:lnTo>
                    <a:pt x="3116" y="3388"/>
                  </a:lnTo>
                  <a:lnTo>
                    <a:pt x="3116" y="3377"/>
                  </a:lnTo>
                  <a:lnTo>
                    <a:pt x="3117" y="3374"/>
                  </a:lnTo>
                  <a:lnTo>
                    <a:pt x="3120" y="3354"/>
                  </a:lnTo>
                  <a:lnTo>
                    <a:pt x="3122" y="3348"/>
                  </a:lnTo>
                  <a:lnTo>
                    <a:pt x="3125" y="3345"/>
                  </a:lnTo>
                  <a:lnTo>
                    <a:pt x="3128" y="3343"/>
                  </a:lnTo>
                  <a:lnTo>
                    <a:pt x="3131" y="3342"/>
                  </a:lnTo>
                  <a:lnTo>
                    <a:pt x="3129" y="3342"/>
                  </a:lnTo>
                  <a:lnTo>
                    <a:pt x="3126" y="3340"/>
                  </a:lnTo>
                  <a:lnTo>
                    <a:pt x="3123" y="3339"/>
                  </a:lnTo>
                  <a:lnTo>
                    <a:pt x="3122" y="3334"/>
                  </a:lnTo>
                  <a:lnTo>
                    <a:pt x="3119" y="3325"/>
                  </a:lnTo>
                  <a:lnTo>
                    <a:pt x="3117" y="3323"/>
                  </a:lnTo>
                  <a:lnTo>
                    <a:pt x="3117" y="3322"/>
                  </a:lnTo>
                  <a:lnTo>
                    <a:pt x="3114" y="3322"/>
                  </a:lnTo>
                  <a:lnTo>
                    <a:pt x="3111" y="3320"/>
                  </a:lnTo>
                  <a:lnTo>
                    <a:pt x="3108" y="3318"/>
                  </a:lnTo>
                  <a:lnTo>
                    <a:pt x="3108" y="3318"/>
                  </a:lnTo>
                  <a:lnTo>
                    <a:pt x="3106" y="3318"/>
                  </a:lnTo>
                  <a:lnTo>
                    <a:pt x="3105" y="3318"/>
                  </a:lnTo>
                  <a:lnTo>
                    <a:pt x="3103" y="3318"/>
                  </a:lnTo>
                  <a:lnTo>
                    <a:pt x="3102" y="3317"/>
                  </a:lnTo>
                  <a:lnTo>
                    <a:pt x="3099" y="3317"/>
                  </a:lnTo>
                  <a:lnTo>
                    <a:pt x="3094" y="3317"/>
                  </a:lnTo>
                  <a:lnTo>
                    <a:pt x="3092" y="3317"/>
                  </a:lnTo>
                  <a:lnTo>
                    <a:pt x="3089" y="3315"/>
                  </a:lnTo>
                  <a:lnTo>
                    <a:pt x="3088" y="3315"/>
                  </a:lnTo>
                  <a:lnTo>
                    <a:pt x="3086" y="3315"/>
                  </a:lnTo>
                  <a:lnTo>
                    <a:pt x="3085" y="3315"/>
                  </a:lnTo>
                  <a:lnTo>
                    <a:pt x="3085" y="3315"/>
                  </a:lnTo>
                  <a:lnTo>
                    <a:pt x="3083" y="3315"/>
                  </a:lnTo>
                  <a:lnTo>
                    <a:pt x="3083" y="3315"/>
                  </a:lnTo>
                  <a:lnTo>
                    <a:pt x="3083" y="3314"/>
                  </a:lnTo>
                  <a:lnTo>
                    <a:pt x="3083" y="3314"/>
                  </a:lnTo>
                  <a:lnTo>
                    <a:pt x="3082" y="3314"/>
                  </a:lnTo>
                  <a:lnTo>
                    <a:pt x="3080" y="3312"/>
                  </a:lnTo>
                  <a:lnTo>
                    <a:pt x="3079" y="3311"/>
                  </a:lnTo>
                  <a:lnTo>
                    <a:pt x="3079" y="3308"/>
                  </a:lnTo>
                  <a:lnTo>
                    <a:pt x="3077" y="3306"/>
                  </a:lnTo>
                  <a:lnTo>
                    <a:pt x="3077" y="3306"/>
                  </a:lnTo>
                  <a:lnTo>
                    <a:pt x="3077" y="3302"/>
                  </a:lnTo>
                  <a:lnTo>
                    <a:pt x="3077" y="3300"/>
                  </a:lnTo>
                  <a:lnTo>
                    <a:pt x="3076" y="3300"/>
                  </a:lnTo>
                  <a:lnTo>
                    <a:pt x="3046" y="3300"/>
                  </a:lnTo>
                  <a:lnTo>
                    <a:pt x="3045" y="3298"/>
                  </a:lnTo>
                  <a:lnTo>
                    <a:pt x="3045" y="3298"/>
                  </a:lnTo>
                  <a:lnTo>
                    <a:pt x="3045" y="3297"/>
                  </a:lnTo>
                  <a:lnTo>
                    <a:pt x="3045" y="3295"/>
                  </a:lnTo>
                  <a:lnTo>
                    <a:pt x="3043" y="3295"/>
                  </a:lnTo>
                  <a:lnTo>
                    <a:pt x="3035" y="3294"/>
                  </a:lnTo>
                  <a:lnTo>
                    <a:pt x="3034" y="3292"/>
                  </a:lnTo>
                  <a:lnTo>
                    <a:pt x="3034" y="3291"/>
                  </a:lnTo>
                  <a:lnTo>
                    <a:pt x="3035" y="3289"/>
                  </a:lnTo>
                  <a:lnTo>
                    <a:pt x="3039" y="3288"/>
                  </a:lnTo>
                  <a:lnTo>
                    <a:pt x="3040" y="3286"/>
                  </a:lnTo>
                  <a:lnTo>
                    <a:pt x="3040" y="3285"/>
                  </a:lnTo>
                  <a:lnTo>
                    <a:pt x="3040" y="3283"/>
                  </a:lnTo>
                  <a:lnTo>
                    <a:pt x="3040" y="3283"/>
                  </a:lnTo>
                  <a:lnTo>
                    <a:pt x="3042" y="3282"/>
                  </a:lnTo>
                  <a:lnTo>
                    <a:pt x="3043" y="3280"/>
                  </a:lnTo>
                  <a:lnTo>
                    <a:pt x="3043" y="3280"/>
                  </a:lnTo>
                  <a:lnTo>
                    <a:pt x="3042" y="3277"/>
                  </a:lnTo>
                  <a:lnTo>
                    <a:pt x="3028" y="3274"/>
                  </a:lnTo>
                  <a:lnTo>
                    <a:pt x="3020" y="3268"/>
                  </a:lnTo>
                  <a:lnTo>
                    <a:pt x="3019" y="3266"/>
                  </a:lnTo>
                  <a:lnTo>
                    <a:pt x="3017" y="3268"/>
                  </a:lnTo>
                  <a:lnTo>
                    <a:pt x="3017" y="3269"/>
                  </a:lnTo>
                  <a:lnTo>
                    <a:pt x="3014" y="3271"/>
                  </a:lnTo>
                  <a:lnTo>
                    <a:pt x="3012" y="3271"/>
                  </a:lnTo>
                  <a:lnTo>
                    <a:pt x="3011" y="3269"/>
                  </a:lnTo>
                  <a:lnTo>
                    <a:pt x="3008" y="3262"/>
                  </a:lnTo>
                  <a:lnTo>
                    <a:pt x="3006" y="3260"/>
                  </a:lnTo>
                  <a:lnTo>
                    <a:pt x="3006" y="3257"/>
                  </a:lnTo>
                  <a:lnTo>
                    <a:pt x="3008" y="3254"/>
                  </a:lnTo>
                  <a:lnTo>
                    <a:pt x="3008" y="3254"/>
                  </a:lnTo>
                  <a:lnTo>
                    <a:pt x="3009" y="3254"/>
                  </a:lnTo>
                  <a:lnTo>
                    <a:pt x="3023" y="3254"/>
                  </a:lnTo>
                  <a:lnTo>
                    <a:pt x="3034" y="3243"/>
                  </a:lnTo>
                  <a:lnTo>
                    <a:pt x="3039" y="3238"/>
                  </a:lnTo>
                  <a:lnTo>
                    <a:pt x="3045" y="3235"/>
                  </a:lnTo>
                  <a:lnTo>
                    <a:pt x="3049" y="3235"/>
                  </a:lnTo>
                  <a:lnTo>
                    <a:pt x="3054" y="3237"/>
                  </a:lnTo>
                  <a:lnTo>
                    <a:pt x="3057" y="3235"/>
                  </a:lnTo>
                  <a:lnTo>
                    <a:pt x="3062" y="3232"/>
                  </a:lnTo>
                  <a:lnTo>
                    <a:pt x="3065" y="3228"/>
                  </a:lnTo>
                  <a:lnTo>
                    <a:pt x="3066" y="3226"/>
                  </a:lnTo>
                  <a:lnTo>
                    <a:pt x="3072" y="3223"/>
                  </a:lnTo>
                  <a:lnTo>
                    <a:pt x="3074" y="3223"/>
                  </a:lnTo>
                  <a:lnTo>
                    <a:pt x="3079" y="3218"/>
                  </a:lnTo>
                  <a:lnTo>
                    <a:pt x="3080" y="3217"/>
                  </a:lnTo>
                  <a:lnTo>
                    <a:pt x="3083" y="3215"/>
                  </a:lnTo>
                  <a:lnTo>
                    <a:pt x="3085" y="3212"/>
                  </a:lnTo>
                  <a:lnTo>
                    <a:pt x="3080" y="3206"/>
                  </a:lnTo>
                  <a:lnTo>
                    <a:pt x="3079" y="3205"/>
                  </a:lnTo>
                  <a:lnTo>
                    <a:pt x="3079" y="3203"/>
                  </a:lnTo>
                  <a:lnTo>
                    <a:pt x="3079" y="3198"/>
                  </a:lnTo>
                  <a:lnTo>
                    <a:pt x="3079" y="3195"/>
                  </a:lnTo>
                  <a:lnTo>
                    <a:pt x="3077" y="3194"/>
                  </a:lnTo>
                  <a:lnTo>
                    <a:pt x="3077" y="3194"/>
                  </a:lnTo>
                  <a:lnTo>
                    <a:pt x="3069" y="3191"/>
                  </a:lnTo>
                  <a:lnTo>
                    <a:pt x="3068" y="3191"/>
                  </a:lnTo>
                  <a:lnTo>
                    <a:pt x="3068" y="3188"/>
                  </a:lnTo>
                  <a:lnTo>
                    <a:pt x="3068" y="3183"/>
                  </a:lnTo>
                  <a:lnTo>
                    <a:pt x="3068" y="3180"/>
                  </a:lnTo>
                  <a:lnTo>
                    <a:pt x="3068" y="3178"/>
                  </a:lnTo>
                  <a:lnTo>
                    <a:pt x="3068" y="3177"/>
                  </a:lnTo>
                  <a:lnTo>
                    <a:pt x="3066" y="3177"/>
                  </a:lnTo>
                  <a:lnTo>
                    <a:pt x="3063" y="3177"/>
                  </a:lnTo>
                  <a:lnTo>
                    <a:pt x="3062" y="3177"/>
                  </a:lnTo>
                  <a:lnTo>
                    <a:pt x="3060" y="3177"/>
                  </a:lnTo>
                  <a:lnTo>
                    <a:pt x="3060" y="3175"/>
                  </a:lnTo>
                  <a:lnTo>
                    <a:pt x="3060" y="3175"/>
                  </a:lnTo>
                  <a:lnTo>
                    <a:pt x="3060" y="3174"/>
                  </a:lnTo>
                  <a:lnTo>
                    <a:pt x="3059" y="3174"/>
                  </a:lnTo>
                  <a:lnTo>
                    <a:pt x="3059" y="3172"/>
                  </a:lnTo>
                  <a:lnTo>
                    <a:pt x="3057" y="3172"/>
                  </a:lnTo>
                  <a:lnTo>
                    <a:pt x="3057" y="3171"/>
                  </a:lnTo>
                  <a:lnTo>
                    <a:pt x="3057" y="3169"/>
                  </a:lnTo>
                  <a:lnTo>
                    <a:pt x="3060" y="3165"/>
                  </a:lnTo>
                  <a:lnTo>
                    <a:pt x="3063" y="3161"/>
                  </a:lnTo>
                  <a:lnTo>
                    <a:pt x="3066" y="3161"/>
                  </a:lnTo>
                  <a:lnTo>
                    <a:pt x="3069" y="3160"/>
                  </a:lnTo>
                  <a:lnTo>
                    <a:pt x="3071" y="3158"/>
                  </a:lnTo>
                  <a:lnTo>
                    <a:pt x="3072" y="3155"/>
                  </a:lnTo>
                  <a:lnTo>
                    <a:pt x="3074" y="3154"/>
                  </a:lnTo>
                  <a:lnTo>
                    <a:pt x="3086" y="3141"/>
                  </a:lnTo>
                  <a:lnTo>
                    <a:pt x="3080" y="3135"/>
                  </a:lnTo>
                  <a:lnTo>
                    <a:pt x="3080" y="3135"/>
                  </a:lnTo>
                  <a:lnTo>
                    <a:pt x="3080" y="3135"/>
                  </a:lnTo>
                  <a:lnTo>
                    <a:pt x="3086" y="3135"/>
                  </a:lnTo>
                  <a:lnTo>
                    <a:pt x="3088" y="3134"/>
                  </a:lnTo>
                  <a:lnTo>
                    <a:pt x="3091" y="3132"/>
                  </a:lnTo>
                  <a:lnTo>
                    <a:pt x="3091" y="3132"/>
                  </a:lnTo>
                  <a:lnTo>
                    <a:pt x="3091" y="3132"/>
                  </a:lnTo>
                  <a:lnTo>
                    <a:pt x="3091" y="3132"/>
                  </a:lnTo>
                  <a:lnTo>
                    <a:pt x="3094" y="3131"/>
                  </a:lnTo>
                  <a:lnTo>
                    <a:pt x="3096" y="3131"/>
                  </a:lnTo>
                  <a:lnTo>
                    <a:pt x="3099" y="3131"/>
                  </a:lnTo>
                  <a:lnTo>
                    <a:pt x="3102" y="3132"/>
                  </a:lnTo>
                  <a:lnTo>
                    <a:pt x="3103" y="3134"/>
                  </a:lnTo>
                  <a:lnTo>
                    <a:pt x="3106" y="3134"/>
                  </a:lnTo>
                  <a:lnTo>
                    <a:pt x="3108" y="3134"/>
                  </a:lnTo>
                  <a:lnTo>
                    <a:pt x="3109" y="3132"/>
                  </a:lnTo>
                  <a:lnTo>
                    <a:pt x="3114" y="3129"/>
                  </a:lnTo>
                  <a:lnTo>
                    <a:pt x="3116" y="3129"/>
                  </a:lnTo>
                  <a:lnTo>
                    <a:pt x="3117" y="3131"/>
                  </a:lnTo>
                  <a:lnTo>
                    <a:pt x="3120" y="3132"/>
                  </a:lnTo>
                  <a:lnTo>
                    <a:pt x="3125" y="3137"/>
                  </a:lnTo>
                  <a:lnTo>
                    <a:pt x="3126" y="3138"/>
                  </a:lnTo>
                  <a:lnTo>
                    <a:pt x="3129" y="3137"/>
                  </a:lnTo>
                  <a:lnTo>
                    <a:pt x="3131" y="3135"/>
                  </a:lnTo>
                  <a:lnTo>
                    <a:pt x="3133" y="3135"/>
                  </a:lnTo>
                  <a:lnTo>
                    <a:pt x="3136" y="3135"/>
                  </a:lnTo>
                  <a:lnTo>
                    <a:pt x="3143" y="3134"/>
                  </a:lnTo>
                  <a:lnTo>
                    <a:pt x="3146" y="3135"/>
                  </a:lnTo>
                  <a:lnTo>
                    <a:pt x="3149" y="3138"/>
                  </a:lnTo>
                  <a:lnTo>
                    <a:pt x="3149" y="3114"/>
                  </a:lnTo>
                  <a:lnTo>
                    <a:pt x="3145" y="3112"/>
                  </a:lnTo>
                  <a:lnTo>
                    <a:pt x="3139" y="3111"/>
                  </a:lnTo>
                  <a:lnTo>
                    <a:pt x="3134" y="3106"/>
                  </a:lnTo>
                  <a:lnTo>
                    <a:pt x="3131" y="3101"/>
                  </a:lnTo>
                  <a:lnTo>
                    <a:pt x="3129" y="3101"/>
                  </a:lnTo>
                  <a:lnTo>
                    <a:pt x="3123" y="3106"/>
                  </a:lnTo>
                  <a:lnTo>
                    <a:pt x="3120" y="3106"/>
                  </a:lnTo>
                  <a:lnTo>
                    <a:pt x="3117" y="3104"/>
                  </a:lnTo>
                  <a:lnTo>
                    <a:pt x="3111" y="3100"/>
                  </a:lnTo>
                  <a:lnTo>
                    <a:pt x="3108" y="3098"/>
                  </a:lnTo>
                  <a:lnTo>
                    <a:pt x="3100" y="3098"/>
                  </a:lnTo>
                  <a:lnTo>
                    <a:pt x="3097" y="3097"/>
                  </a:lnTo>
                  <a:lnTo>
                    <a:pt x="3094" y="3095"/>
                  </a:lnTo>
                  <a:lnTo>
                    <a:pt x="3092" y="3092"/>
                  </a:lnTo>
                  <a:lnTo>
                    <a:pt x="3092" y="3089"/>
                  </a:lnTo>
                  <a:lnTo>
                    <a:pt x="3092" y="3086"/>
                  </a:lnTo>
                  <a:lnTo>
                    <a:pt x="3094" y="3083"/>
                  </a:lnTo>
                  <a:lnTo>
                    <a:pt x="3097" y="3077"/>
                  </a:lnTo>
                  <a:lnTo>
                    <a:pt x="3097" y="3075"/>
                  </a:lnTo>
                  <a:lnTo>
                    <a:pt x="3099" y="3074"/>
                  </a:lnTo>
                  <a:lnTo>
                    <a:pt x="3099" y="3071"/>
                  </a:lnTo>
                  <a:lnTo>
                    <a:pt x="3100" y="3069"/>
                  </a:lnTo>
                  <a:lnTo>
                    <a:pt x="3102" y="3069"/>
                  </a:lnTo>
                  <a:lnTo>
                    <a:pt x="3103" y="3069"/>
                  </a:lnTo>
                  <a:lnTo>
                    <a:pt x="3105" y="3071"/>
                  </a:lnTo>
                  <a:lnTo>
                    <a:pt x="3106" y="3074"/>
                  </a:lnTo>
                  <a:lnTo>
                    <a:pt x="3108" y="3075"/>
                  </a:lnTo>
                  <a:lnTo>
                    <a:pt x="3111" y="3077"/>
                  </a:lnTo>
                  <a:lnTo>
                    <a:pt x="3113" y="3077"/>
                  </a:lnTo>
                  <a:lnTo>
                    <a:pt x="3114" y="3077"/>
                  </a:lnTo>
                  <a:lnTo>
                    <a:pt x="3119" y="3072"/>
                  </a:lnTo>
                  <a:lnTo>
                    <a:pt x="3120" y="3071"/>
                  </a:lnTo>
                  <a:lnTo>
                    <a:pt x="3123" y="3069"/>
                  </a:lnTo>
                  <a:lnTo>
                    <a:pt x="3122" y="3060"/>
                  </a:lnTo>
                  <a:lnTo>
                    <a:pt x="3120" y="3058"/>
                  </a:lnTo>
                  <a:lnTo>
                    <a:pt x="3120" y="3058"/>
                  </a:lnTo>
                  <a:lnTo>
                    <a:pt x="3111" y="3058"/>
                  </a:lnTo>
                  <a:lnTo>
                    <a:pt x="3109" y="3060"/>
                  </a:lnTo>
                  <a:lnTo>
                    <a:pt x="3105" y="3064"/>
                  </a:lnTo>
                  <a:lnTo>
                    <a:pt x="3103" y="3064"/>
                  </a:lnTo>
                  <a:lnTo>
                    <a:pt x="3092" y="3061"/>
                  </a:lnTo>
                  <a:lnTo>
                    <a:pt x="3091" y="3061"/>
                  </a:lnTo>
                  <a:lnTo>
                    <a:pt x="3091" y="3060"/>
                  </a:lnTo>
                  <a:lnTo>
                    <a:pt x="3089" y="3058"/>
                  </a:lnTo>
                  <a:lnTo>
                    <a:pt x="3089" y="3057"/>
                  </a:lnTo>
                  <a:lnTo>
                    <a:pt x="3085" y="3055"/>
                  </a:lnTo>
                  <a:lnTo>
                    <a:pt x="3076" y="3055"/>
                  </a:lnTo>
                  <a:lnTo>
                    <a:pt x="3072" y="3054"/>
                  </a:lnTo>
                  <a:lnTo>
                    <a:pt x="3076" y="3051"/>
                  </a:lnTo>
                  <a:lnTo>
                    <a:pt x="3083" y="3052"/>
                  </a:lnTo>
                  <a:lnTo>
                    <a:pt x="3085" y="3051"/>
                  </a:lnTo>
                  <a:lnTo>
                    <a:pt x="3085" y="3049"/>
                  </a:lnTo>
                  <a:lnTo>
                    <a:pt x="3085" y="3047"/>
                  </a:lnTo>
                  <a:lnTo>
                    <a:pt x="3085" y="3046"/>
                  </a:lnTo>
                  <a:lnTo>
                    <a:pt x="3086" y="3044"/>
                  </a:lnTo>
                  <a:lnTo>
                    <a:pt x="3086" y="3043"/>
                  </a:lnTo>
                  <a:lnTo>
                    <a:pt x="3089" y="3043"/>
                  </a:lnTo>
                  <a:lnTo>
                    <a:pt x="3091" y="3041"/>
                  </a:lnTo>
                  <a:lnTo>
                    <a:pt x="3091" y="3038"/>
                  </a:lnTo>
                  <a:lnTo>
                    <a:pt x="3094" y="3037"/>
                  </a:lnTo>
                  <a:lnTo>
                    <a:pt x="3096" y="3034"/>
                  </a:lnTo>
                  <a:lnTo>
                    <a:pt x="3097" y="3032"/>
                  </a:lnTo>
                  <a:lnTo>
                    <a:pt x="3097" y="3029"/>
                  </a:lnTo>
                  <a:lnTo>
                    <a:pt x="3096" y="3027"/>
                  </a:lnTo>
                  <a:lnTo>
                    <a:pt x="3092" y="3026"/>
                  </a:lnTo>
                  <a:lnTo>
                    <a:pt x="3091" y="3026"/>
                  </a:lnTo>
                  <a:lnTo>
                    <a:pt x="3089" y="3023"/>
                  </a:lnTo>
                  <a:lnTo>
                    <a:pt x="3088" y="3023"/>
                  </a:lnTo>
                  <a:lnTo>
                    <a:pt x="3086" y="3021"/>
                  </a:lnTo>
                  <a:lnTo>
                    <a:pt x="3082" y="3021"/>
                  </a:lnTo>
                  <a:lnTo>
                    <a:pt x="3080" y="3021"/>
                  </a:lnTo>
                  <a:lnTo>
                    <a:pt x="3080" y="3020"/>
                  </a:lnTo>
                  <a:lnTo>
                    <a:pt x="3080" y="3018"/>
                  </a:lnTo>
                  <a:lnTo>
                    <a:pt x="3080" y="3017"/>
                  </a:lnTo>
                  <a:lnTo>
                    <a:pt x="3080" y="3017"/>
                  </a:lnTo>
                  <a:lnTo>
                    <a:pt x="3082" y="3014"/>
                  </a:lnTo>
                  <a:lnTo>
                    <a:pt x="3083" y="3014"/>
                  </a:lnTo>
                  <a:lnTo>
                    <a:pt x="3086" y="3012"/>
                  </a:lnTo>
                  <a:lnTo>
                    <a:pt x="3089" y="3012"/>
                  </a:lnTo>
                  <a:lnTo>
                    <a:pt x="3092" y="3014"/>
                  </a:lnTo>
                  <a:lnTo>
                    <a:pt x="3094" y="3014"/>
                  </a:lnTo>
                  <a:lnTo>
                    <a:pt x="3094" y="3015"/>
                  </a:lnTo>
                  <a:lnTo>
                    <a:pt x="3094" y="3015"/>
                  </a:lnTo>
                  <a:lnTo>
                    <a:pt x="3096" y="3017"/>
                  </a:lnTo>
                  <a:lnTo>
                    <a:pt x="3097" y="3018"/>
                  </a:lnTo>
                  <a:lnTo>
                    <a:pt x="3097" y="3018"/>
                  </a:lnTo>
                  <a:lnTo>
                    <a:pt x="3099" y="3017"/>
                  </a:lnTo>
                  <a:lnTo>
                    <a:pt x="3099" y="3014"/>
                  </a:lnTo>
                  <a:lnTo>
                    <a:pt x="3099" y="3012"/>
                  </a:lnTo>
                  <a:lnTo>
                    <a:pt x="3097" y="3007"/>
                  </a:lnTo>
                  <a:lnTo>
                    <a:pt x="3097" y="3007"/>
                  </a:lnTo>
                  <a:lnTo>
                    <a:pt x="3097" y="3004"/>
                  </a:lnTo>
                  <a:lnTo>
                    <a:pt x="3100" y="3004"/>
                  </a:lnTo>
                  <a:lnTo>
                    <a:pt x="3102" y="3003"/>
                  </a:lnTo>
                  <a:close/>
                  <a:moveTo>
                    <a:pt x="2590" y="661"/>
                  </a:moveTo>
                  <a:lnTo>
                    <a:pt x="2589" y="659"/>
                  </a:lnTo>
                  <a:lnTo>
                    <a:pt x="2581" y="654"/>
                  </a:lnTo>
                  <a:lnTo>
                    <a:pt x="2578" y="653"/>
                  </a:lnTo>
                  <a:lnTo>
                    <a:pt x="2577" y="653"/>
                  </a:lnTo>
                  <a:lnTo>
                    <a:pt x="2577" y="653"/>
                  </a:lnTo>
                  <a:lnTo>
                    <a:pt x="2575" y="654"/>
                  </a:lnTo>
                  <a:lnTo>
                    <a:pt x="2575" y="656"/>
                  </a:lnTo>
                  <a:lnTo>
                    <a:pt x="2577" y="658"/>
                  </a:lnTo>
                  <a:lnTo>
                    <a:pt x="2578" y="658"/>
                  </a:lnTo>
                  <a:lnTo>
                    <a:pt x="2590" y="662"/>
                  </a:lnTo>
                  <a:lnTo>
                    <a:pt x="2590" y="661"/>
                  </a:lnTo>
                  <a:close/>
                  <a:moveTo>
                    <a:pt x="1517" y="1424"/>
                  </a:moveTo>
                  <a:lnTo>
                    <a:pt x="1515" y="1424"/>
                  </a:lnTo>
                  <a:lnTo>
                    <a:pt x="1514" y="1428"/>
                  </a:lnTo>
                  <a:lnTo>
                    <a:pt x="1517" y="1426"/>
                  </a:lnTo>
                  <a:lnTo>
                    <a:pt x="1518" y="1424"/>
                  </a:lnTo>
                  <a:lnTo>
                    <a:pt x="1517" y="1424"/>
                  </a:lnTo>
                  <a:close/>
                  <a:moveTo>
                    <a:pt x="1529" y="1426"/>
                  </a:moveTo>
                  <a:lnTo>
                    <a:pt x="1532" y="1426"/>
                  </a:lnTo>
                  <a:lnTo>
                    <a:pt x="1534" y="1428"/>
                  </a:lnTo>
                  <a:lnTo>
                    <a:pt x="1537" y="1432"/>
                  </a:lnTo>
                  <a:lnTo>
                    <a:pt x="1540" y="1437"/>
                  </a:lnTo>
                  <a:lnTo>
                    <a:pt x="1542" y="1440"/>
                  </a:lnTo>
                  <a:lnTo>
                    <a:pt x="1543" y="1443"/>
                  </a:lnTo>
                  <a:lnTo>
                    <a:pt x="1546" y="1444"/>
                  </a:lnTo>
                  <a:lnTo>
                    <a:pt x="1548" y="1444"/>
                  </a:lnTo>
                  <a:lnTo>
                    <a:pt x="1549" y="1441"/>
                  </a:lnTo>
                  <a:lnTo>
                    <a:pt x="1549" y="1440"/>
                  </a:lnTo>
                  <a:lnTo>
                    <a:pt x="1549" y="1438"/>
                  </a:lnTo>
                  <a:lnTo>
                    <a:pt x="1548" y="1429"/>
                  </a:lnTo>
                  <a:lnTo>
                    <a:pt x="1548" y="1426"/>
                  </a:lnTo>
                  <a:lnTo>
                    <a:pt x="1546" y="1421"/>
                  </a:lnTo>
                  <a:lnTo>
                    <a:pt x="1543" y="1418"/>
                  </a:lnTo>
                  <a:lnTo>
                    <a:pt x="1535" y="1417"/>
                  </a:lnTo>
                  <a:lnTo>
                    <a:pt x="1526" y="1417"/>
                  </a:lnTo>
                  <a:lnTo>
                    <a:pt x="1523" y="1420"/>
                  </a:lnTo>
                  <a:lnTo>
                    <a:pt x="1521" y="1421"/>
                  </a:lnTo>
                  <a:lnTo>
                    <a:pt x="1525" y="1421"/>
                  </a:lnTo>
                  <a:lnTo>
                    <a:pt x="1529" y="1426"/>
                  </a:lnTo>
                  <a:close/>
                  <a:moveTo>
                    <a:pt x="2552" y="748"/>
                  </a:moveTo>
                  <a:lnTo>
                    <a:pt x="2552" y="748"/>
                  </a:lnTo>
                  <a:lnTo>
                    <a:pt x="2550" y="750"/>
                  </a:lnTo>
                  <a:lnTo>
                    <a:pt x="2550" y="751"/>
                  </a:lnTo>
                  <a:lnTo>
                    <a:pt x="2550" y="753"/>
                  </a:lnTo>
                  <a:lnTo>
                    <a:pt x="2550" y="756"/>
                  </a:lnTo>
                  <a:lnTo>
                    <a:pt x="2550" y="758"/>
                  </a:lnTo>
                  <a:lnTo>
                    <a:pt x="2552" y="759"/>
                  </a:lnTo>
                  <a:lnTo>
                    <a:pt x="2555" y="762"/>
                  </a:lnTo>
                  <a:lnTo>
                    <a:pt x="2558" y="761"/>
                  </a:lnTo>
                  <a:lnTo>
                    <a:pt x="2560" y="755"/>
                  </a:lnTo>
                  <a:lnTo>
                    <a:pt x="2560" y="750"/>
                  </a:lnTo>
                  <a:lnTo>
                    <a:pt x="2558" y="747"/>
                  </a:lnTo>
                  <a:lnTo>
                    <a:pt x="2555" y="747"/>
                  </a:lnTo>
                  <a:lnTo>
                    <a:pt x="2552" y="748"/>
                  </a:lnTo>
                  <a:close/>
                  <a:moveTo>
                    <a:pt x="616" y="2187"/>
                  </a:moveTo>
                  <a:lnTo>
                    <a:pt x="617" y="2187"/>
                  </a:lnTo>
                  <a:lnTo>
                    <a:pt x="617" y="2185"/>
                  </a:lnTo>
                  <a:lnTo>
                    <a:pt x="617" y="2185"/>
                  </a:lnTo>
                  <a:lnTo>
                    <a:pt x="616" y="2184"/>
                  </a:lnTo>
                  <a:lnTo>
                    <a:pt x="613" y="2182"/>
                  </a:lnTo>
                  <a:lnTo>
                    <a:pt x="611" y="2182"/>
                  </a:lnTo>
                  <a:lnTo>
                    <a:pt x="611" y="2184"/>
                  </a:lnTo>
                  <a:lnTo>
                    <a:pt x="611" y="2185"/>
                  </a:lnTo>
                  <a:lnTo>
                    <a:pt x="611" y="2187"/>
                  </a:lnTo>
                  <a:lnTo>
                    <a:pt x="611" y="2188"/>
                  </a:lnTo>
                  <a:lnTo>
                    <a:pt x="611" y="2188"/>
                  </a:lnTo>
                  <a:lnTo>
                    <a:pt x="616" y="2187"/>
                  </a:lnTo>
                  <a:close/>
                  <a:moveTo>
                    <a:pt x="2102" y="4144"/>
                  </a:moveTo>
                  <a:lnTo>
                    <a:pt x="2101" y="4144"/>
                  </a:lnTo>
                  <a:lnTo>
                    <a:pt x="2098" y="4144"/>
                  </a:lnTo>
                  <a:lnTo>
                    <a:pt x="2090" y="4144"/>
                  </a:lnTo>
                  <a:lnTo>
                    <a:pt x="2087" y="4145"/>
                  </a:lnTo>
                  <a:lnTo>
                    <a:pt x="2087" y="4147"/>
                  </a:lnTo>
                  <a:lnTo>
                    <a:pt x="2087" y="4148"/>
                  </a:lnTo>
                  <a:lnTo>
                    <a:pt x="2088" y="4148"/>
                  </a:lnTo>
                  <a:lnTo>
                    <a:pt x="2088" y="4148"/>
                  </a:lnTo>
                  <a:lnTo>
                    <a:pt x="2090" y="4148"/>
                  </a:lnTo>
                  <a:lnTo>
                    <a:pt x="2090" y="4148"/>
                  </a:lnTo>
                  <a:lnTo>
                    <a:pt x="2091" y="4150"/>
                  </a:lnTo>
                  <a:lnTo>
                    <a:pt x="2091" y="4150"/>
                  </a:lnTo>
                  <a:lnTo>
                    <a:pt x="2093" y="4150"/>
                  </a:lnTo>
                  <a:lnTo>
                    <a:pt x="2096" y="4150"/>
                  </a:lnTo>
                  <a:lnTo>
                    <a:pt x="2096" y="4150"/>
                  </a:lnTo>
                  <a:lnTo>
                    <a:pt x="2104" y="4145"/>
                  </a:lnTo>
                  <a:lnTo>
                    <a:pt x="2104" y="4144"/>
                  </a:lnTo>
                  <a:lnTo>
                    <a:pt x="2104" y="4144"/>
                  </a:lnTo>
                  <a:lnTo>
                    <a:pt x="2104" y="4144"/>
                  </a:lnTo>
                  <a:lnTo>
                    <a:pt x="2102" y="4144"/>
                  </a:lnTo>
                  <a:close/>
                  <a:moveTo>
                    <a:pt x="2108" y="3978"/>
                  </a:moveTo>
                  <a:lnTo>
                    <a:pt x="2108" y="3979"/>
                  </a:lnTo>
                  <a:lnTo>
                    <a:pt x="2108" y="3984"/>
                  </a:lnTo>
                  <a:lnTo>
                    <a:pt x="2110" y="3987"/>
                  </a:lnTo>
                  <a:lnTo>
                    <a:pt x="2111" y="3990"/>
                  </a:lnTo>
                  <a:lnTo>
                    <a:pt x="2113" y="3991"/>
                  </a:lnTo>
                  <a:lnTo>
                    <a:pt x="2113" y="3991"/>
                  </a:lnTo>
                  <a:lnTo>
                    <a:pt x="2113" y="3991"/>
                  </a:lnTo>
                  <a:lnTo>
                    <a:pt x="2114" y="3991"/>
                  </a:lnTo>
                  <a:lnTo>
                    <a:pt x="2114" y="3991"/>
                  </a:lnTo>
                  <a:lnTo>
                    <a:pt x="2114" y="3991"/>
                  </a:lnTo>
                  <a:lnTo>
                    <a:pt x="2114" y="3990"/>
                  </a:lnTo>
                  <a:lnTo>
                    <a:pt x="2114" y="3984"/>
                  </a:lnTo>
                  <a:lnTo>
                    <a:pt x="2113" y="3982"/>
                  </a:lnTo>
                  <a:lnTo>
                    <a:pt x="2113" y="3981"/>
                  </a:lnTo>
                  <a:lnTo>
                    <a:pt x="2113" y="3979"/>
                  </a:lnTo>
                  <a:lnTo>
                    <a:pt x="2113" y="3978"/>
                  </a:lnTo>
                  <a:lnTo>
                    <a:pt x="2111" y="3976"/>
                  </a:lnTo>
                  <a:lnTo>
                    <a:pt x="2111" y="3973"/>
                  </a:lnTo>
                  <a:lnTo>
                    <a:pt x="2111" y="3971"/>
                  </a:lnTo>
                  <a:lnTo>
                    <a:pt x="2111" y="3970"/>
                  </a:lnTo>
                  <a:lnTo>
                    <a:pt x="2110" y="3971"/>
                  </a:lnTo>
                  <a:lnTo>
                    <a:pt x="2110" y="3971"/>
                  </a:lnTo>
                  <a:lnTo>
                    <a:pt x="2108" y="3973"/>
                  </a:lnTo>
                  <a:lnTo>
                    <a:pt x="2108" y="3973"/>
                  </a:lnTo>
                  <a:lnTo>
                    <a:pt x="2108" y="3973"/>
                  </a:lnTo>
                  <a:lnTo>
                    <a:pt x="2108" y="3974"/>
                  </a:lnTo>
                  <a:lnTo>
                    <a:pt x="2108" y="3976"/>
                  </a:lnTo>
                  <a:lnTo>
                    <a:pt x="2108" y="3978"/>
                  </a:lnTo>
                  <a:close/>
                  <a:moveTo>
                    <a:pt x="1200" y="1378"/>
                  </a:moveTo>
                  <a:lnTo>
                    <a:pt x="1201" y="1381"/>
                  </a:lnTo>
                  <a:lnTo>
                    <a:pt x="1201" y="1384"/>
                  </a:lnTo>
                  <a:lnTo>
                    <a:pt x="1201" y="1386"/>
                  </a:lnTo>
                  <a:lnTo>
                    <a:pt x="1203" y="1386"/>
                  </a:lnTo>
                  <a:lnTo>
                    <a:pt x="1206" y="1383"/>
                  </a:lnTo>
                  <a:lnTo>
                    <a:pt x="1207" y="1381"/>
                  </a:lnTo>
                  <a:lnTo>
                    <a:pt x="1209" y="1381"/>
                  </a:lnTo>
                  <a:lnTo>
                    <a:pt x="1209" y="1380"/>
                  </a:lnTo>
                  <a:lnTo>
                    <a:pt x="1210" y="1378"/>
                  </a:lnTo>
                  <a:lnTo>
                    <a:pt x="1210" y="1377"/>
                  </a:lnTo>
                  <a:lnTo>
                    <a:pt x="1210" y="1374"/>
                  </a:lnTo>
                  <a:lnTo>
                    <a:pt x="1210" y="1371"/>
                  </a:lnTo>
                  <a:lnTo>
                    <a:pt x="1209" y="1371"/>
                  </a:lnTo>
                  <a:lnTo>
                    <a:pt x="1206" y="1369"/>
                  </a:lnTo>
                  <a:lnTo>
                    <a:pt x="1204" y="1367"/>
                  </a:lnTo>
                  <a:lnTo>
                    <a:pt x="1204" y="1366"/>
                  </a:lnTo>
                  <a:lnTo>
                    <a:pt x="1204" y="1364"/>
                  </a:lnTo>
                  <a:lnTo>
                    <a:pt x="1206" y="1361"/>
                  </a:lnTo>
                  <a:lnTo>
                    <a:pt x="1206" y="1358"/>
                  </a:lnTo>
                  <a:lnTo>
                    <a:pt x="1206" y="1360"/>
                  </a:lnTo>
                  <a:lnTo>
                    <a:pt x="1207" y="1363"/>
                  </a:lnTo>
                  <a:lnTo>
                    <a:pt x="1207" y="1363"/>
                  </a:lnTo>
                  <a:lnTo>
                    <a:pt x="1209" y="1367"/>
                  </a:lnTo>
                  <a:lnTo>
                    <a:pt x="1210" y="1367"/>
                  </a:lnTo>
                  <a:lnTo>
                    <a:pt x="1210" y="1366"/>
                  </a:lnTo>
                  <a:lnTo>
                    <a:pt x="1210" y="1364"/>
                  </a:lnTo>
                  <a:lnTo>
                    <a:pt x="1209" y="1357"/>
                  </a:lnTo>
                  <a:lnTo>
                    <a:pt x="1207" y="1352"/>
                  </a:lnTo>
                  <a:lnTo>
                    <a:pt x="1204" y="1351"/>
                  </a:lnTo>
                  <a:lnTo>
                    <a:pt x="1201" y="1349"/>
                  </a:lnTo>
                  <a:lnTo>
                    <a:pt x="1198" y="1349"/>
                  </a:lnTo>
                  <a:lnTo>
                    <a:pt x="1195" y="1349"/>
                  </a:lnTo>
                  <a:lnTo>
                    <a:pt x="1195" y="1352"/>
                  </a:lnTo>
                  <a:lnTo>
                    <a:pt x="1192" y="1352"/>
                  </a:lnTo>
                  <a:lnTo>
                    <a:pt x="1187" y="1352"/>
                  </a:lnTo>
                  <a:lnTo>
                    <a:pt x="1186" y="1354"/>
                  </a:lnTo>
                  <a:lnTo>
                    <a:pt x="1184" y="1358"/>
                  </a:lnTo>
                  <a:lnTo>
                    <a:pt x="1184" y="1363"/>
                  </a:lnTo>
                  <a:lnTo>
                    <a:pt x="1186" y="1366"/>
                  </a:lnTo>
                  <a:lnTo>
                    <a:pt x="1189" y="1371"/>
                  </a:lnTo>
                  <a:lnTo>
                    <a:pt x="1192" y="1372"/>
                  </a:lnTo>
                  <a:lnTo>
                    <a:pt x="1195" y="1374"/>
                  </a:lnTo>
                  <a:lnTo>
                    <a:pt x="1198" y="1374"/>
                  </a:lnTo>
                  <a:lnTo>
                    <a:pt x="1200" y="1374"/>
                  </a:lnTo>
                  <a:lnTo>
                    <a:pt x="1200" y="1375"/>
                  </a:lnTo>
                  <a:lnTo>
                    <a:pt x="1200" y="1377"/>
                  </a:lnTo>
                  <a:lnTo>
                    <a:pt x="1200" y="1378"/>
                  </a:lnTo>
                  <a:close/>
                  <a:moveTo>
                    <a:pt x="659" y="2136"/>
                  </a:moveTo>
                  <a:lnTo>
                    <a:pt x="659" y="2136"/>
                  </a:lnTo>
                  <a:lnTo>
                    <a:pt x="661" y="2136"/>
                  </a:lnTo>
                  <a:lnTo>
                    <a:pt x="661" y="2137"/>
                  </a:lnTo>
                  <a:lnTo>
                    <a:pt x="661" y="2139"/>
                  </a:lnTo>
                  <a:lnTo>
                    <a:pt x="662" y="2140"/>
                  </a:lnTo>
                  <a:lnTo>
                    <a:pt x="664" y="2139"/>
                  </a:lnTo>
                  <a:lnTo>
                    <a:pt x="664" y="2137"/>
                  </a:lnTo>
                  <a:lnTo>
                    <a:pt x="664" y="2137"/>
                  </a:lnTo>
                  <a:lnTo>
                    <a:pt x="664" y="2136"/>
                  </a:lnTo>
                  <a:lnTo>
                    <a:pt x="664" y="2136"/>
                  </a:lnTo>
                  <a:lnTo>
                    <a:pt x="664" y="2136"/>
                  </a:lnTo>
                  <a:lnTo>
                    <a:pt x="664" y="2134"/>
                  </a:lnTo>
                  <a:lnTo>
                    <a:pt x="662" y="2133"/>
                  </a:lnTo>
                  <a:lnTo>
                    <a:pt x="661" y="2133"/>
                  </a:lnTo>
                  <a:lnTo>
                    <a:pt x="661" y="2131"/>
                  </a:lnTo>
                  <a:lnTo>
                    <a:pt x="659" y="2131"/>
                  </a:lnTo>
                  <a:lnTo>
                    <a:pt x="657" y="2131"/>
                  </a:lnTo>
                  <a:lnTo>
                    <a:pt x="657" y="2133"/>
                  </a:lnTo>
                  <a:lnTo>
                    <a:pt x="657" y="2134"/>
                  </a:lnTo>
                  <a:lnTo>
                    <a:pt x="659" y="2136"/>
                  </a:lnTo>
                  <a:close/>
                  <a:moveTo>
                    <a:pt x="670" y="2100"/>
                  </a:moveTo>
                  <a:lnTo>
                    <a:pt x="673" y="2096"/>
                  </a:lnTo>
                  <a:lnTo>
                    <a:pt x="673" y="2093"/>
                  </a:lnTo>
                  <a:lnTo>
                    <a:pt x="671" y="2091"/>
                  </a:lnTo>
                  <a:lnTo>
                    <a:pt x="671" y="2090"/>
                  </a:lnTo>
                  <a:lnTo>
                    <a:pt x="670" y="2090"/>
                  </a:lnTo>
                  <a:lnTo>
                    <a:pt x="670" y="2090"/>
                  </a:lnTo>
                  <a:lnTo>
                    <a:pt x="668" y="2090"/>
                  </a:lnTo>
                  <a:lnTo>
                    <a:pt x="667" y="2091"/>
                  </a:lnTo>
                  <a:lnTo>
                    <a:pt x="667" y="2094"/>
                  </a:lnTo>
                  <a:lnTo>
                    <a:pt x="667" y="2097"/>
                  </a:lnTo>
                  <a:lnTo>
                    <a:pt x="668" y="2099"/>
                  </a:lnTo>
                  <a:lnTo>
                    <a:pt x="670" y="2100"/>
                  </a:lnTo>
                  <a:close/>
                  <a:moveTo>
                    <a:pt x="754" y="2187"/>
                  </a:moveTo>
                  <a:lnTo>
                    <a:pt x="754" y="2187"/>
                  </a:lnTo>
                  <a:lnTo>
                    <a:pt x="758" y="2190"/>
                  </a:lnTo>
                  <a:lnTo>
                    <a:pt x="759" y="2190"/>
                  </a:lnTo>
                  <a:lnTo>
                    <a:pt x="759" y="2188"/>
                  </a:lnTo>
                  <a:lnTo>
                    <a:pt x="759" y="2188"/>
                  </a:lnTo>
                  <a:lnTo>
                    <a:pt x="759" y="2188"/>
                  </a:lnTo>
                  <a:lnTo>
                    <a:pt x="759" y="2187"/>
                  </a:lnTo>
                  <a:lnTo>
                    <a:pt x="758" y="2187"/>
                  </a:lnTo>
                  <a:lnTo>
                    <a:pt x="753" y="2184"/>
                  </a:lnTo>
                  <a:lnTo>
                    <a:pt x="750" y="2182"/>
                  </a:lnTo>
                  <a:lnTo>
                    <a:pt x="748" y="2182"/>
                  </a:lnTo>
                  <a:lnTo>
                    <a:pt x="751" y="2185"/>
                  </a:lnTo>
                  <a:lnTo>
                    <a:pt x="753" y="2185"/>
                  </a:lnTo>
                  <a:lnTo>
                    <a:pt x="754" y="2187"/>
                  </a:lnTo>
                  <a:close/>
                  <a:moveTo>
                    <a:pt x="679" y="2144"/>
                  </a:moveTo>
                  <a:lnTo>
                    <a:pt x="679" y="2144"/>
                  </a:lnTo>
                  <a:lnTo>
                    <a:pt x="679" y="2142"/>
                  </a:lnTo>
                  <a:lnTo>
                    <a:pt x="677" y="2142"/>
                  </a:lnTo>
                  <a:lnTo>
                    <a:pt x="676" y="2142"/>
                  </a:lnTo>
                  <a:lnTo>
                    <a:pt x="671" y="2137"/>
                  </a:lnTo>
                  <a:lnTo>
                    <a:pt x="671" y="2136"/>
                  </a:lnTo>
                  <a:lnTo>
                    <a:pt x="670" y="2136"/>
                  </a:lnTo>
                  <a:lnTo>
                    <a:pt x="670" y="2136"/>
                  </a:lnTo>
                  <a:lnTo>
                    <a:pt x="668" y="2136"/>
                  </a:lnTo>
                  <a:lnTo>
                    <a:pt x="668" y="2134"/>
                  </a:lnTo>
                  <a:lnTo>
                    <a:pt x="668" y="2134"/>
                  </a:lnTo>
                  <a:lnTo>
                    <a:pt x="668" y="2134"/>
                  </a:lnTo>
                  <a:lnTo>
                    <a:pt x="667" y="2134"/>
                  </a:lnTo>
                  <a:lnTo>
                    <a:pt x="665" y="2134"/>
                  </a:lnTo>
                  <a:lnTo>
                    <a:pt x="665" y="2134"/>
                  </a:lnTo>
                  <a:lnTo>
                    <a:pt x="665" y="2136"/>
                  </a:lnTo>
                  <a:lnTo>
                    <a:pt x="665" y="2136"/>
                  </a:lnTo>
                  <a:lnTo>
                    <a:pt x="665" y="2137"/>
                  </a:lnTo>
                  <a:lnTo>
                    <a:pt x="665" y="2139"/>
                  </a:lnTo>
                  <a:lnTo>
                    <a:pt x="667" y="2140"/>
                  </a:lnTo>
                  <a:lnTo>
                    <a:pt x="668" y="2142"/>
                  </a:lnTo>
                  <a:lnTo>
                    <a:pt x="671" y="2145"/>
                  </a:lnTo>
                  <a:lnTo>
                    <a:pt x="673" y="2147"/>
                  </a:lnTo>
                  <a:lnTo>
                    <a:pt x="674" y="2147"/>
                  </a:lnTo>
                  <a:lnTo>
                    <a:pt x="676" y="2147"/>
                  </a:lnTo>
                  <a:lnTo>
                    <a:pt x="677" y="2147"/>
                  </a:lnTo>
                  <a:lnTo>
                    <a:pt x="677" y="2147"/>
                  </a:lnTo>
                  <a:lnTo>
                    <a:pt x="677" y="2145"/>
                  </a:lnTo>
                  <a:lnTo>
                    <a:pt x="677" y="2145"/>
                  </a:lnTo>
                  <a:lnTo>
                    <a:pt x="679" y="214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gray">
            <a:xfrm>
              <a:off x="8077200" y="6962776"/>
              <a:ext cx="1116013" cy="784225"/>
            </a:xfrm>
            <a:custGeom>
              <a:avLst/>
              <a:gdLst>
                <a:gd name="T0" fmla="*/ 694 w 703"/>
                <a:gd name="T1" fmla="*/ 313 h 494"/>
                <a:gd name="T2" fmla="*/ 663 w 703"/>
                <a:gd name="T3" fmla="*/ 314 h 494"/>
                <a:gd name="T4" fmla="*/ 639 w 703"/>
                <a:gd name="T5" fmla="*/ 320 h 494"/>
                <a:gd name="T6" fmla="*/ 602 w 703"/>
                <a:gd name="T7" fmla="*/ 320 h 494"/>
                <a:gd name="T8" fmla="*/ 583 w 703"/>
                <a:gd name="T9" fmla="*/ 289 h 494"/>
                <a:gd name="T10" fmla="*/ 586 w 703"/>
                <a:gd name="T11" fmla="*/ 259 h 494"/>
                <a:gd name="T12" fmla="*/ 588 w 703"/>
                <a:gd name="T13" fmla="*/ 229 h 494"/>
                <a:gd name="T14" fmla="*/ 591 w 703"/>
                <a:gd name="T15" fmla="*/ 211 h 494"/>
                <a:gd name="T16" fmla="*/ 594 w 703"/>
                <a:gd name="T17" fmla="*/ 191 h 494"/>
                <a:gd name="T18" fmla="*/ 586 w 703"/>
                <a:gd name="T19" fmla="*/ 154 h 494"/>
                <a:gd name="T20" fmla="*/ 566 w 703"/>
                <a:gd name="T21" fmla="*/ 129 h 494"/>
                <a:gd name="T22" fmla="*/ 554 w 703"/>
                <a:gd name="T23" fmla="*/ 109 h 494"/>
                <a:gd name="T24" fmla="*/ 543 w 703"/>
                <a:gd name="T25" fmla="*/ 88 h 494"/>
                <a:gd name="T26" fmla="*/ 534 w 703"/>
                <a:gd name="T27" fmla="*/ 77 h 494"/>
                <a:gd name="T28" fmla="*/ 522 w 703"/>
                <a:gd name="T29" fmla="*/ 49 h 494"/>
                <a:gd name="T30" fmla="*/ 514 w 703"/>
                <a:gd name="T31" fmla="*/ 32 h 494"/>
                <a:gd name="T32" fmla="*/ 505 w 703"/>
                <a:gd name="T33" fmla="*/ 15 h 494"/>
                <a:gd name="T34" fmla="*/ 491 w 703"/>
                <a:gd name="T35" fmla="*/ 5 h 494"/>
                <a:gd name="T36" fmla="*/ 451 w 703"/>
                <a:gd name="T37" fmla="*/ 8 h 494"/>
                <a:gd name="T38" fmla="*/ 409 w 703"/>
                <a:gd name="T39" fmla="*/ 38 h 494"/>
                <a:gd name="T40" fmla="*/ 328 w 703"/>
                <a:gd name="T41" fmla="*/ 46 h 494"/>
                <a:gd name="T42" fmla="*/ 286 w 703"/>
                <a:gd name="T43" fmla="*/ 37 h 494"/>
                <a:gd name="T44" fmla="*/ 241 w 703"/>
                <a:gd name="T45" fmla="*/ 32 h 494"/>
                <a:gd name="T46" fmla="*/ 215 w 703"/>
                <a:gd name="T47" fmla="*/ 20 h 494"/>
                <a:gd name="T48" fmla="*/ 192 w 703"/>
                <a:gd name="T49" fmla="*/ 43 h 494"/>
                <a:gd name="T50" fmla="*/ 161 w 703"/>
                <a:gd name="T51" fmla="*/ 58 h 494"/>
                <a:gd name="T52" fmla="*/ 143 w 703"/>
                <a:gd name="T53" fmla="*/ 75 h 494"/>
                <a:gd name="T54" fmla="*/ 118 w 703"/>
                <a:gd name="T55" fmla="*/ 114 h 494"/>
                <a:gd name="T56" fmla="*/ 104 w 703"/>
                <a:gd name="T57" fmla="*/ 140 h 494"/>
                <a:gd name="T58" fmla="*/ 93 w 703"/>
                <a:gd name="T59" fmla="*/ 162 h 494"/>
                <a:gd name="T60" fmla="*/ 81 w 703"/>
                <a:gd name="T61" fmla="*/ 182 h 494"/>
                <a:gd name="T62" fmla="*/ 66 w 703"/>
                <a:gd name="T63" fmla="*/ 219 h 494"/>
                <a:gd name="T64" fmla="*/ 43 w 703"/>
                <a:gd name="T65" fmla="*/ 219 h 494"/>
                <a:gd name="T66" fmla="*/ 27 w 703"/>
                <a:gd name="T67" fmla="*/ 234 h 494"/>
                <a:gd name="T68" fmla="*/ 21 w 703"/>
                <a:gd name="T69" fmla="*/ 259 h 494"/>
                <a:gd name="T70" fmla="*/ 38 w 703"/>
                <a:gd name="T71" fmla="*/ 274 h 494"/>
                <a:gd name="T72" fmla="*/ 40 w 703"/>
                <a:gd name="T73" fmla="*/ 305 h 494"/>
                <a:gd name="T74" fmla="*/ 72 w 703"/>
                <a:gd name="T75" fmla="*/ 328 h 494"/>
                <a:gd name="T76" fmla="*/ 89 w 703"/>
                <a:gd name="T77" fmla="*/ 346 h 494"/>
                <a:gd name="T78" fmla="*/ 86 w 703"/>
                <a:gd name="T79" fmla="*/ 359 h 494"/>
                <a:gd name="T80" fmla="*/ 86 w 703"/>
                <a:gd name="T81" fmla="*/ 376 h 494"/>
                <a:gd name="T82" fmla="*/ 134 w 703"/>
                <a:gd name="T83" fmla="*/ 396 h 494"/>
                <a:gd name="T84" fmla="*/ 161 w 703"/>
                <a:gd name="T85" fmla="*/ 383 h 494"/>
                <a:gd name="T86" fmla="*/ 174 w 703"/>
                <a:gd name="T87" fmla="*/ 400 h 494"/>
                <a:gd name="T88" fmla="*/ 172 w 703"/>
                <a:gd name="T89" fmla="*/ 422 h 494"/>
                <a:gd name="T90" fmla="*/ 198 w 703"/>
                <a:gd name="T91" fmla="*/ 457 h 494"/>
                <a:gd name="T92" fmla="*/ 260 w 703"/>
                <a:gd name="T93" fmla="*/ 474 h 494"/>
                <a:gd name="T94" fmla="*/ 378 w 703"/>
                <a:gd name="T95" fmla="*/ 493 h 494"/>
                <a:gd name="T96" fmla="*/ 414 w 703"/>
                <a:gd name="T97" fmla="*/ 482 h 494"/>
                <a:gd name="T98" fmla="*/ 480 w 703"/>
                <a:gd name="T99" fmla="*/ 447 h 494"/>
                <a:gd name="T100" fmla="*/ 545 w 703"/>
                <a:gd name="T101" fmla="*/ 457 h 494"/>
                <a:gd name="T102" fmla="*/ 620 w 703"/>
                <a:gd name="T103" fmla="*/ 480 h 494"/>
                <a:gd name="T104" fmla="*/ 626 w 703"/>
                <a:gd name="T105" fmla="*/ 440 h 494"/>
                <a:gd name="T106" fmla="*/ 645 w 703"/>
                <a:gd name="T107" fmla="*/ 397 h 494"/>
                <a:gd name="T108" fmla="*/ 634 w 703"/>
                <a:gd name="T109" fmla="*/ 400 h 494"/>
                <a:gd name="T110" fmla="*/ 634 w 703"/>
                <a:gd name="T111" fmla="*/ 396 h 494"/>
                <a:gd name="T112" fmla="*/ 649 w 703"/>
                <a:gd name="T113" fmla="*/ 393 h 494"/>
                <a:gd name="T114" fmla="*/ 637 w 703"/>
                <a:gd name="T115" fmla="*/ 383 h 494"/>
                <a:gd name="T116" fmla="*/ 642 w 703"/>
                <a:gd name="T117" fmla="*/ 368 h 494"/>
                <a:gd name="T118" fmla="*/ 651 w 703"/>
                <a:gd name="T119" fmla="*/ 353 h 494"/>
                <a:gd name="T120" fmla="*/ 662 w 703"/>
                <a:gd name="T121" fmla="*/ 371 h 494"/>
                <a:gd name="T122" fmla="*/ 691 w 703"/>
                <a:gd name="T123" fmla="*/ 373 h 494"/>
                <a:gd name="T124" fmla="*/ 702 w 703"/>
                <a:gd name="T125" fmla="*/ 34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3" h="494">
                  <a:moveTo>
                    <a:pt x="702" y="337"/>
                  </a:moveTo>
                  <a:lnTo>
                    <a:pt x="700" y="336"/>
                  </a:lnTo>
                  <a:lnTo>
                    <a:pt x="699" y="334"/>
                  </a:lnTo>
                  <a:lnTo>
                    <a:pt x="699" y="333"/>
                  </a:lnTo>
                  <a:lnTo>
                    <a:pt x="699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2" y="331"/>
                  </a:lnTo>
                  <a:lnTo>
                    <a:pt x="702" y="330"/>
                  </a:lnTo>
                  <a:lnTo>
                    <a:pt x="702" y="330"/>
                  </a:lnTo>
                  <a:lnTo>
                    <a:pt x="700" y="328"/>
                  </a:lnTo>
                  <a:lnTo>
                    <a:pt x="702" y="325"/>
                  </a:lnTo>
                  <a:lnTo>
                    <a:pt x="702" y="322"/>
                  </a:lnTo>
                  <a:lnTo>
                    <a:pt x="700" y="317"/>
                  </a:lnTo>
                  <a:lnTo>
                    <a:pt x="699" y="316"/>
                  </a:lnTo>
                  <a:lnTo>
                    <a:pt x="697" y="316"/>
                  </a:lnTo>
                  <a:lnTo>
                    <a:pt x="694" y="313"/>
                  </a:lnTo>
                  <a:lnTo>
                    <a:pt x="683" y="310"/>
                  </a:lnTo>
                  <a:lnTo>
                    <a:pt x="677" y="308"/>
                  </a:lnTo>
                  <a:lnTo>
                    <a:pt x="677" y="308"/>
                  </a:lnTo>
                  <a:lnTo>
                    <a:pt x="676" y="308"/>
                  </a:lnTo>
                  <a:lnTo>
                    <a:pt x="676" y="308"/>
                  </a:lnTo>
                  <a:lnTo>
                    <a:pt x="676" y="308"/>
                  </a:lnTo>
                  <a:lnTo>
                    <a:pt x="674" y="308"/>
                  </a:lnTo>
                  <a:lnTo>
                    <a:pt x="674" y="310"/>
                  </a:lnTo>
                  <a:lnTo>
                    <a:pt x="673" y="310"/>
                  </a:lnTo>
                  <a:lnTo>
                    <a:pt x="673" y="310"/>
                  </a:lnTo>
                  <a:lnTo>
                    <a:pt x="671" y="310"/>
                  </a:lnTo>
                  <a:lnTo>
                    <a:pt x="670" y="310"/>
                  </a:lnTo>
                  <a:lnTo>
                    <a:pt x="668" y="310"/>
                  </a:lnTo>
                  <a:lnTo>
                    <a:pt x="666" y="311"/>
                  </a:lnTo>
                  <a:lnTo>
                    <a:pt x="666" y="311"/>
                  </a:lnTo>
                  <a:lnTo>
                    <a:pt x="665" y="313"/>
                  </a:lnTo>
                  <a:lnTo>
                    <a:pt x="665" y="313"/>
                  </a:lnTo>
                  <a:lnTo>
                    <a:pt x="665" y="313"/>
                  </a:lnTo>
                  <a:lnTo>
                    <a:pt x="663" y="314"/>
                  </a:lnTo>
                  <a:lnTo>
                    <a:pt x="662" y="314"/>
                  </a:lnTo>
                  <a:lnTo>
                    <a:pt x="662" y="314"/>
                  </a:lnTo>
                  <a:lnTo>
                    <a:pt x="660" y="316"/>
                  </a:lnTo>
                  <a:lnTo>
                    <a:pt x="657" y="316"/>
                  </a:lnTo>
                  <a:lnTo>
                    <a:pt x="653" y="319"/>
                  </a:lnTo>
                  <a:lnTo>
                    <a:pt x="653" y="320"/>
                  </a:lnTo>
                  <a:lnTo>
                    <a:pt x="651" y="320"/>
                  </a:lnTo>
                  <a:lnTo>
                    <a:pt x="649" y="320"/>
                  </a:lnTo>
                  <a:lnTo>
                    <a:pt x="649" y="320"/>
                  </a:lnTo>
                  <a:lnTo>
                    <a:pt x="648" y="322"/>
                  </a:lnTo>
                  <a:lnTo>
                    <a:pt x="648" y="323"/>
                  </a:lnTo>
                  <a:lnTo>
                    <a:pt x="648" y="325"/>
                  </a:lnTo>
                  <a:lnTo>
                    <a:pt x="646" y="325"/>
                  </a:lnTo>
                  <a:lnTo>
                    <a:pt x="645" y="323"/>
                  </a:lnTo>
                  <a:lnTo>
                    <a:pt x="643" y="323"/>
                  </a:lnTo>
                  <a:lnTo>
                    <a:pt x="643" y="322"/>
                  </a:lnTo>
                  <a:lnTo>
                    <a:pt x="642" y="322"/>
                  </a:lnTo>
                  <a:lnTo>
                    <a:pt x="639" y="320"/>
                  </a:lnTo>
                  <a:lnTo>
                    <a:pt x="639" y="320"/>
                  </a:lnTo>
                  <a:lnTo>
                    <a:pt x="636" y="320"/>
                  </a:lnTo>
                  <a:lnTo>
                    <a:pt x="636" y="322"/>
                  </a:lnTo>
                  <a:lnTo>
                    <a:pt x="636" y="323"/>
                  </a:lnTo>
                  <a:lnTo>
                    <a:pt x="634" y="325"/>
                  </a:lnTo>
                  <a:lnTo>
                    <a:pt x="634" y="325"/>
                  </a:lnTo>
                  <a:lnTo>
                    <a:pt x="634" y="326"/>
                  </a:lnTo>
                  <a:lnTo>
                    <a:pt x="634" y="326"/>
                  </a:lnTo>
                  <a:lnTo>
                    <a:pt x="634" y="328"/>
                  </a:lnTo>
                  <a:lnTo>
                    <a:pt x="637" y="328"/>
                  </a:lnTo>
                  <a:lnTo>
                    <a:pt x="636" y="330"/>
                  </a:lnTo>
                  <a:lnTo>
                    <a:pt x="636" y="330"/>
                  </a:lnTo>
                  <a:lnTo>
                    <a:pt x="633" y="330"/>
                  </a:lnTo>
                  <a:lnTo>
                    <a:pt x="629" y="331"/>
                  </a:lnTo>
                  <a:lnTo>
                    <a:pt x="620" y="328"/>
                  </a:lnTo>
                  <a:lnTo>
                    <a:pt x="614" y="325"/>
                  </a:lnTo>
                  <a:lnTo>
                    <a:pt x="608" y="323"/>
                  </a:lnTo>
                  <a:lnTo>
                    <a:pt x="605" y="322"/>
                  </a:lnTo>
                  <a:lnTo>
                    <a:pt x="603" y="322"/>
                  </a:lnTo>
                  <a:lnTo>
                    <a:pt x="602" y="320"/>
                  </a:lnTo>
                  <a:lnTo>
                    <a:pt x="600" y="317"/>
                  </a:lnTo>
                  <a:lnTo>
                    <a:pt x="599" y="313"/>
                  </a:lnTo>
                  <a:lnTo>
                    <a:pt x="599" y="310"/>
                  </a:lnTo>
                  <a:lnTo>
                    <a:pt x="597" y="308"/>
                  </a:lnTo>
                  <a:lnTo>
                    <a:pt x="596" y="306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5"/>
                  </a:lnTo>
                  <a:lnTo>
                    <a:pt x="589" y="303"/>
                  </a:lnTo>
                  <a:lnTo>
                    <a:pt x="589" y="302"/>
                  </a:lnTo>
                  <a:lnTo>
                    <a:pt x="589" y="299"/>
                  </a:lnTo>
                  <a:lnTo>
                    <a:pt x="589" y="299"/>
                  </a:lnTo>
                  <a:lnTo>
                    <a:pt x="589" y="299"/>
                  </a:lnTo>
                  <a:lnTo>
                    <a:pt x="589" y="297"/>
                  </a:lnTo>
                  <a:lnTo>
                    <a:pt x="588" y="296"/>
                  </a:lnTo>
                  <a:lnTo>
                    <a:pt x="586" y="294"/>
                  </a:lnTo>
                  <a:lnTo>
                    <a:pt x="582" y="291"/>
                  </a:lnTo>
                  <a:lnTo>
                    <a:pt x="583" y="291"/>
                  </a:lnTo>
                  <a:lnTo>
                    <a:pt x="583" y="289"/>
                  </a:lnTo>
                  <a:lnTo>
                    <a:pt x="585" y="288"/>
                  </a:lnTo>
                  <a:lnTo>
                    <a:pt x="586" y="288"/>
                  </a:lnTo>
                  <a:lnTo>
                    <a:pt x="588" y="288"/>
                  </a:lnTo>
                  <a:lnTo>
                    <a:pt x="589" y="288"/>
                  </a:lnTo>
                  <a:lnTo>
                    <a:pt x="589" y="286"/>
                  </a:lnTo>
                  <a:lnTo>
                    <a:pt x="589" y="285"/>
                  </a:lnTo>
                  <a:lnTo>
                    <a:pt x="589" y="274"/>
                  </a:lnTo>
                  <a:lnTo>
                    <a:pt x="588" y="273"/>
                  </a:lnTo>
                  <a:lnTo>
                    <a:pt x="586" y="271"/>
                  </a:lnTo>
                  <a:lnTo>
                    <a:pt x="586" y="266"/>
                  </a:lnTo>
                  <a:lnTo>
                    <a:pt x="585" y="263"/>
                  </a:lnTo>
                  <a:lnTo>
                    <a:pt x="586" y="263"/>
                  </a:lnTo>
                  <a:lnTo>
                    <a:pt x="586" y="263"/>
                  </a:lnTo>
                  <a:lnTo>
                    <a:pt x="586" y="262"/>
                  </a:lnTo>
                  <a:lnTo>
                    <a:pt x="586" y="262"/>
                  </a:lnTo>
                  <a:lnTo>
                    <a:pt x="586" y="260"/>
                  </a:lnTo>
                  <a:lnTo>
                    <a:pt x="586" y="260"/>
                  </a:lnTo>
                  <a:lnTo>
                    <a:pt x="586" y="259"/>
                  </a:lnTo>
                  <a:lnTo>
                    <a:pt x="586" y="259"/>
                  </a:lnTo>
                  <a:lnTo>
                    <a:pt x="586" y="257"/>
                  </a:lnTo>
                  <a:lnTo>
                    <a:pt x="586" y="256"/>
                  </a:lnTo>
                  <a:lnTo>
                    <a:pt x="586" y="256"/>
                  </a:lnTo>
                  <a:lnTo>
                    <a:pt x="585" y="256"/>
                  </a:lnTo>
                  <a:lnTo>
                    <a:pt x="585" y="254"/>
                  </a:lnTo>
                  <a:lnTo>
                    <a:pt x="583" y="248"/>
                  </a:lnTo>
                  <a:lnTo>
                    <a:pt x="583" y="246"/>
                  </a:lnTo>
                  <a:lnTo>
                    <a:pt x="583" y="246"/>
                  </a:lnTo>
                  <a:lnTo>
                    <a:pt x="585" y="242"/>
                  </a:lnTo>
                  <a:lnTo>
                    <a:pt x="585" y="242"/>
                  </a:lnTo>
                  <a:lnTo>
                    <a:pt x="583" y="242"/>
                  </a:lnTo>
                  <a:lnTo>
                    <a:pt x="583" y="240"/>
                  </a:lnTo>
                  <a:lnTo>
                    <a:pt x="585" y="240"/>
                  </a:lnTo>
                  <a:lnTo>
                    <a:pt x="585" y="240"/>
                  </a:lnTo>
                  <a:lnTo>
                    <a:pt x="585" y="239"/>
                  </a:lnTo>
                  <a:lnTo>
                    <a:pt x="585" y="237"/>
                  </a:lnTo>
                  <a:lnTo>
                    <a:pt x="586" y="234"/>
                  </a:lnTo>
                  <a:lnTo>
                    <a:pt x="586" y="231"/>
                  </a:lnTo>
                  <a:lnTo>
                    <a:pt x="588" y="229"/>
                  </a:lnTo>
                  <a:lnTo>
                    <a:pt x="588" y="228"/>
                  </a:lnTo>
                  <a:lnTo>
                    <a:pt x="588" y="228"/>
                  </a:lnTo>
                  <a:lnTo>
                    <a:pt x="586" y="226"/>
                  </a:lnTo>
                  <a:lnTo>
                    <a:pt x="585" y="225"/>
                  </a:lnTo>
                  <a:lnTo>
                    <a:pt x="585" y="223"/>
                  </a:lnTo>
                  <a:lnTo>
                    <a:pt x="586" y="223"/>
                  </a:lnTo>
                  <a:lnTo>
                    <a:pt x="586" y="223"/>
                  </a:lnTo>
                  <a:lnTo>
                    <a:pt x="588" y="222"/>
                  </a:lnTo>
                  <a:lnTo>
                    <a:pt x="586" y="220"/>
                  </a:lnTo>
                  <a:lnTo>
                    <a:pt x="588" y="220"/>
                  </a:lnTo>
                  <a:lnTo>
                    <a:pt x="588" y="219"/>
                  </a:lnTo>
                  <a:lnTo>
                    <a:pt x="589" y="219"/>
                  </a:lnTo>
                  <a:lnTo>
                    <a:pt x="589" y="219"/>
                  </a:lnTo>
                  <a:lnTo>
                    <a:pt x="591" y="217"/>
                  </a:lnTo>
                  <a:lnTo>
                    <a:pt x="591" y="216"/>
                  </a:lnTo>
                  <a:lnTo>
                    <a:pt x="591" y="216"/>
                  </a:lnTo>
                  <a:lnTo>
                    <a:pt x="591" y="214"/>
                  </a:lnTo>
                  <a:lnTo>
                    <a:pt x="591" y="211"/>
                  </a:lnTo>
                  <a:lnTo>
                    <a:pt x="591" y="211"/>
                  </a:lnTo>
                  <a:lnTo>
                    <a:pt x="592" y="211"/>
                  </a:lnTo>
                  <a:lnTo>
                    <a:pt x="592" y="209"/>
                  </a:lnTo>
                  <a:lnTo>
                    <a:pt x="592" y="206"/>
                  </a:lnTo>
                  <a:lnTo>
                    <a:pt x="594" y="206"/>
                  </a:lnTo>
                  <a:lnTo>
                    <a:pt x="594" y="206"/>
                  </a:lnTo>
                  <a:lnTo>
                    <a:pt x="594" y="206"/>
                  </a:lnTo>
                  <a:lnTo>
                    <a:pt x="594" y="205"/>
                  </a:lnTo>
                  <a:lnTo>
                    <a:pt x="594" y="203"/>
                  </a:lnTo>
                  <a:lnTo>
                    <a:pt x="596" y="203"/>
                  </a:lnTo>
                  <a:lnTo>
                    <a:pt x="596" y="203"/>
                  </a:lnTo>
                  <a:lnTo>
                    <a:pt x="596" y="202"/>
                  </a:lnTo>
                  <a:lnTo>
                    <a:pt x="596" y="199"/>
                  </a:lnTo>
                  <a:lnTo>
                    <a:pt x="596" y="197"/>
                  </a:lnTo>
                  <a:lnTo>
                    <a:pt x="596" y="197"/>
                  </a:lnTo>
                  <a:lnTo>
                    <a:pt x="596" y="197"/>
                  </a:lnTo>
                  <a:lnTo>
                    <a:pt x="594" y="197"/>
                  </a:lnTo>
                  <a:lnTo>
                    <a:pt x="594" y="196"/>
                  </a:lnTo>
                  <a:lnTo>
                    <a:pt x="594" y="194"/>
                  </a:lnTo>
                  <a:lnTo>
                    <a:pt x="594" y="191"/>
                  </a:lnTo>
                  <a:lnTo>
                    <a:pt x="594" y="189"/>
                  </a:lnTo>
                  <a:lnTo>
                    <a:pt x="594" y="189"/>
                  </a:lnTo>
                  <a:lnTo>
                    <a:pt x="594" y="188"/>
                  </a:lnTo>
                  <a:lnTo>
                    <a:pt x="594" y="186"/>
                  </a:lnTo>
                  <a:lnTo>
                    <a:pt x="596" y="185"/>
                  </a:lnTo>
                  <a:lnTo>
                    <a:pt x="596" y="183"/>
                  </a:lnTo>
                  <a:lnTo>
                    <a:pt x="596" y="182"/>
                  </a:lnTo>
                  <a:lnTo>
                    <a:pt x="596" y="180"/>
                  </a:lnTo>
                  <a:lnTo>
                    <a:pt x="596" y="180"/>
                  </a:lnTo>
                  <a:lnTo>
                    <a:pt x="594" y="177"/>
                  </a:lnTo>
                  <a:lnTo>
                    <a:pt x="591" y="169"/>
                  </a:lnTo>
                  <a:lnTo>
                    <a:pt x="591" y="166"/>
                  </a:lnTo>
                  <a:lnTo>
                    <a:pt x="588" y="162"/>
                  </a:lnTo>
                  <a:lnTo>
                    <a:pt x="586" y="159"/>
                  </a:lnTo>
                  <a:lnTo>
                    <a:pt x="586" y="157"/>
                  </a:lnTo>
                  <a:lnTo>
                    <a:pt x="586" y="157"/>
                  </a:lnTo>
                  <a:lnTo>
                    <a:pt x="586" y="156"/>
                  </a:lnTo>
                  <a:lnTo>
                    <a:pt x="586" y="154"/>
                  </a:lnTo>
                  <a:lnTo>
                    <a:pt x="586" y="154"/>
                  </a:lnTo>
                  <a:lnTo>
                    <a:pt x="586" y="152"/>
                  </a:lnTo>
                  <a:lnTo>
                    <a:pt x="585" y="151"/>
                  </a:lnTo>
                  <a:lnTo>
                    <a:pt x="585" y="149"/>
                  </a:lnTo>
                  <a:lnTo>
                    <a:pt x="585" y="149"/>
                  </a:lnTo>
                  <a:lnTo>
                    <a:pt x="585" y="148"/>
                  </a:lnTo>
                  <a:lnTo>
                    <a:pt x="583" y="143"/>
                  </a:lnTo>
                  <a:lnTo>
                    <a:pt x="582" y="142"/>
                  </a:lnTo>
                  <a:lnTo>
                    <a:pt x="580" y="139"/>
                  </a:lnTo>
                  <a:lnTo>
                    <a:pt x="580" y="139"/>
                  </a:lnTo>
                  <a:lnTo>
                    <a:pt x="579" y="137"/>
                  </a:lnTo>
                  <a:lnTo>
                    <a:pt x="577" y="137"/>
                  </a:lnTo>
                  <a:lnTo>
                    <a:pt x="576" y="137"/>
                  </a:lnTo>
                  <a:lnTo>
                    <a:pt x="574" y="135"/>
                  </a:lnTo>
                  <a:lnTo>
                    <a:pt x="572" y="135"/>
                  </a:lnTo>
                  <a:lnTo>
                    <a:pt x="572" y="134"/>
                  </a:lnTo>
                  <a:lnTo>
                    <a:pt x="571" y="132"/>
                  </a:lnTo>
                  <a:lnTo>
                    <a:pt x="569" y="132"/>
                  </a:lnTo>
                  <a:lnTo>
                    <a:pt x="568" y="129"/>
                  </a:lnTo>
                  <a:lnTo>
                    <a:pt x="566" y="129"/>
                  </a:lnTo>
                  <a:lnTo>
                    <a:pt x="566" y="128"/>
                  </a:lnTo>
                  <a:lnTo>
                    <a:pt x="566" y="128"/>
                  </a:lnTo>
                  <a:lnTo>
                    <a:pt x="566" y="128"/>
                  </a:lnTo>
                  <a:lnTo>
                    <a:pt x="566" y="126"/>
                  </a:lnTo>
                  <a:lnTo>
                    <a:pt x="563" y="125"/>
                  </a:lnTo>
                  <a:lnTo>
                    <a:pt x="562" y="123"/>
                  </a:lnTo>
                  <a:lnTo>
                    <a:pt x="563" y="123"/>
                  </a:lnTo>
                  <a:lnTo>
                    <a:pt x="563" y="123"/>
                  </a:lnTo>
                  <a:lnTo>
                    <a:pt x="563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19"/>
                  </a:lnTo>
                  <a:lnTo>
                    <a:pt x="560" y="115"/>
                  </a:lnTo>
                  <a:lnTo>
                    <a:pt x="559" y="114"/>
                  </a:lnTo>
                  <a:lnTo>
                    <a:pt x="559" y="114"/>
                  </a:lnTo>
                  <a:lnTo>
                    <a:pt x="557" y="111"/>
                  </a:lnTo>
                  <a:lnTo>
                    <a:pt x="557" y="109"/>
                  </a:lnTo>
                  <a:lnTo>
                    <a:pt x="554" y="109"/>
                  </a:lnTo>
                  <a:lnTo>
                    <a:pt x="554" y="109"/>
                  </a:lnTo>
                  <a:lnTo>
                    <a:pt x="554" y="108"/>
                  </a:lnTo>
                  <a:lnTo>
                    <a:pt x="552" y="108"/>
                  </a:lnTo>
                  <a:lnTo>
                    <a:pt x="551" y="108"/>
                  </a:lnTo>
                  <a:lnTo>
                    <a:pt x="551" y="108"/>
                  </a:lnTo>
                  <a:lnTo>
                    <a:pt x="549" y="106"/>
                  </a:lnTo>
                  <a:lnTo>
                    <a:pt x="548" y="102"/>
                  </a:lnTo>
                  <a:lnTo>
                    <a:pt x="546" y="100"/>
                  </a:lnTo>
                  <a:lnTo>
                    <a:pt x="546" y="100"/>
                  </a:lnTo>
                  <a:lnTo>
                    <a:pt x="545" y="100"/>
                  </a:lnTo>
                  <a:lnTo>
                    <a:pt x="546" y="97"/>
                  </a:lnTo>
                  <a:lnTo>
                    <a:pt x="545" y="95"/>
                  </a:lnTo>
                  <a:lnTo>
                    <a:pt x="545" y="94"/>
                  </a:lnTo>
                  <a:lnTo>
                    <a:pt x="545" y="92"/>
                  </a:lnTo>
                  <a:lnTo>
                    <a:pt x="546" y="92"/>
                  </a:lnTo>
                  <a:lnTo>
                    <a:pt x="546" y="91"/>
                  </a:lnTo>
                  <a:lnTo>
                    <a:pt x="546" y="91"/>
                  </a:lnTo>
                  <a:lnTo>
                    <a:pt x="545" y="89"/>
                  </a:lnTo>
                  <a:lnTo>
                    <a:pt x="543" y="89"/>
                  </a:lnTo>
                  <a:lnTo>
                    <a:pt x="543" y="88"/>
                  </a:lnTo>
                  <a:lnTo>
                    <a:pt x="542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39" y="88"/>
                  </a:lnTo>
                  <a:lnTo>
                    <a:pt x="539" y="86"/>
                  </a:lnTo>
                  <a:lnTo>
                    <a:pt x="537" y="85"/>
                  </a:lnTo>
                  <a:lnTo>
                    <a:pt x="537" y="82"/>
                  </a:lnTo>
                  <a:lnTo>
                    <a:pt x="537" y="82"/>
                  </a:lnTo>
                  <a:lnTo>
                    <a:pt x="536" y="82"/>
                  </a:lnTo>
                  <a:lnTo>
                    <a:pt x="536" y="82"/>
                  </a:lnTo>
                  <a:lnTo>
                    <a:pt x="536" y="82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79"/>
                  </a:lnTo>
                  <a:lnTo>
                    <a:pt x="534" y="77"/>
                  </a:lnTo>
                  <a:lnTo>
                    <a:pt x="534" y="77"/>
                  </a:lnTo>
                  <a:lnTo>
                    <a:pt x="532" y="75"/>
                  </a:lnTo>
                  <a:lnTo>
                    <a:pt x="531" y="74"/>
                  </a:lnTo>
                  <a:lnTo>
                    <a:pt x="525" y="68"/>
                  </a:lnTo>
                  <a:lnTo>
                    <a:pt x="523" y="65"/>
                  </a:lnTo>
                  <a:lnTo>
                    <a:pt x="523" y="62"/>
                  </a:lnTo>
                  <a:lnTo>
                    <a:pt x="525" y="62"/>
                  </a:lnTo>
                  <a:lnTo>
                    <a:pt x="525" y="62"/>
                  </a:lnTo>
                  <a:lnTo>
                    <a:pt x="525" y="60"/>
                  </a:lnTo>
                  <a:lnTo>
                    <a:pt x="525" y="60"/>
                  </a:lnTo>
                  <a:lnTo>
                    <a:pt x="525" y="58"/>
                  </a:lnTo>
                  <a:lnTo>
                    <a:pt x="525" y="58"/>
                  </a:lnTo>
                  <a:lnTo>
                    <a:pt x="523" y="58"/>
                  </a:lnTo>
                  <a:lnTo>
                    <a:pt x="523" y="57"/>
                  </a:lnTo>
                  <a:lnTo>
                    <a:pt x="522" y="57"/>
                  </a:lnTo>
                  <a:lnTo>
                    <a:pt x="522" y="55"/>
                  </a:lnTo>
                  <a:lnTo>
                    <a:pt x="522" y="54"/>
                  </a:lnTo>
                  <a:lnTo>
                    <a:pt x="520" y="52"/>
                  </a:lnTo>
                  <a:lnTo>
                    <a:pt x="519" y="51"/>
                  </a:lnTo>
                  <a:lnTo>
                    <a:pt x="522" y="49"/>
                  </a:lnTo>
                  <a:lnTo>
                    <a:pt x="522" y="49"/>
                  </a:lnTo>
                  <a:lnTo>
                    <a:pt x="520" y="48"/>
                  </a:lnTo>
                  <a:lnTo>
                    <a:pt x="519" y="48"/>
                  </a:lnTo>
                  <a:lnTo>
                    <a:pt x="519" y="48"/>
                  </a:lnTo>
                  <a:lnTo>
                    <a:pt x="519" y="46"/>
                  </a:lnTo>
                  <a:lnTo>
                    <a:pt x="519" y="43"/>
                  </a:lnTo>
                  <a:lnTo>
                    <a:pt x="519" y="43"/>
                  </a:lnTo>
                  <a:lnTo>
                    <a:pt x="517" y="42"/>
                  </a:lnTo>
                  <a:lnTo>
                    <a:pt x="515" y="40"/>
                  </a:lnTo>
                  <a:lnTo>
                    <a:pt x="514" y="40"/>
                  </a:lnTo>
                  <a:lnTo>
                    <a:pt x="515" y="37"/>
                  </a:lnTo>
                  <a:lnTo>
                    <a:pt x="515" y="37"/>
                  </a:lnTo>
                  <a:lnTo>
                    <a:pt x="515" y="37"/>
                  </a:lnTo>
                  <a:lnTo>
                    <a:pt x="514" y="35"/>
                  </a:lnTo>
                  <a:lnTo>
                    <a:pt x="515" y="35"/>
                  </a:lnTo>
                  <a:lnTo>
                    <a:pt x="515" y="34"/>
                  </a:lnTo>
                  <a:lnTo>
                    <a:pt x="515" y="32"/>
                  </a:lnTo>
                  <a:lnTo>
                    <a:pt x="514" y="32"/>
                  </a:lnTo>
                  <a:lnTo>
                    <a:pt x="514" y="32"/>
                  </a:lnTo>
                  <a:lnTo>
                    <a:pt x="512" y="31"/>
                  </a:lnTo>
                  <a:lnTo>
                    <a:pt x="512" y="29"/>
                  </a:lnTo>
                  <a:lnTo>
                    <a:pt x="509" y="31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11" y="28"/>
                  </a:lnTo>
                  <a:lnTo>
                    <a:pt x="511" y="28"/>
                  </a:lnTo>
                  <a:lnTo>
                    <a:pt x="509" y="26"/>
                  </a:lnTo>
                  <a:lnTo>
                    <a:pt x="508" y="25"/>
                  </a:lnTo>
                  <a:lnTo>
                    <a:pt x="506" y="22"/>
                  </a:lnTo>
                  <a:lnTo>
                    <a:pt x="505" y="20"/>
                  </a:lnTo>
                  <a:lnTo>
                    <a:pt x="506" y="18"/>
                  </a:lnTo>
                  <a:lnTo>
                    <a:pt x="506" y="18"/>
                  </a:lnTo>
                  <a:lnTo>
                    <a:pt x="506" y="17"/>
                  </a:lnTo>
                  <a:lnTo>
                    <a:pt x="506" y="17"/>
                  </a:lnTo>
                  <a:lnTo>
                    <a:pt x="506" y="17"/>
                  </a:lnTo>
                  <a:lnTo>
                    <a:pt x="505" y="15"/>
                  </a:lnTo>
                  <a:lnTo>
                    <a:pt x="505" y="15"/>
                  </a:lnTo>
                  <a:lnTo>
                    <a:pt x="503" y="17"/>
                  </a:lnTo>
                  <a:lnTo>
                    <a:pt x="502" y="15"/>
                  </a:lnTo>
                  <a:lnTo>
                    <a:pt x="500" y="15"/>
                  </a:lnTo>
                  <a:lnTo>
                    <a:pt x="500" y="14"/>
                  </a:lnTo>
                  <a:lnTo>
                    <a:pt x="502" y="14"/>
                  </a:lnTo>
                  <a:lnTo>
                    <a:pt x="503" y="14"/>
                  </a:lnTo>
                  <a:lnTo>
                    <a:pt x="503" y="12"/>
                  </a:lnTo>
                  <a:lnTo>
                    <a:pt x="500" y="11"/>
                  </a:lnTo>
                  <a:lnTo>
                    <a:pt x="500" y="11"/>
                  </a:lnTo>
                  <a:lnTo>
                    <a:pt x="499" y="9"/>
                  </a:lnTo>
                  <a:lnTo>
                    <a:pt x="499" y="8"/>
                  </a:lnTo>
                  <a:lnTo>
                    <a:pt x="497" y="9"/>
                  </a:lnTo>
                  <a:lnTo>
                    <a:pt x="497" y="9"/>
                  </a:lnTo>
                  <a:lnTo>
                    <a:pt x="495" y="11"/>
                  </a:lnTo>
                  <a:lnTo>
                    <a:pt x="495" y="8"/>
                  </a:lnTo>
                  <a:lnTo>
                    <a:pt x="495" y="8"/>
                  </a:lnTo>
                  <a:lnTo>
                    <a:pt x="492" y="5"/>
                  </a:lnTo>
                  <a:lnTo>
                    <a:pt x="491" y="5"/>
                  </a:lnTo>
                  <a:lnTo>
                    <a:pt x="489" y="3"/>
                  </a:lnTo>
                  <a:lnTo>
                    <a:pt x="488" y="2"/>
                  </a:lnTo>
                  <a:lnTo>
                    <a:pt x="485" y="3"/>
                  </a:lnTo>
                  <a:lnTo>
                    <a:pt x="483" y="3"/>
                  </a:lnTo>
                  <a:lnTo>
                    <a:pt x="483" y="0"/>
                  </a:lnTo>
                  <a:lnTo>
                    <a:pt x="482" y="2"/>
                  </a:lnTo>
                  <a:lnTo>
                    <a:pt x="482" y="2"/>
                  </a:lnTo>
                  <a:lnTo>
                    <a:pt x="480" y="0"/>
                  </a:lnTo>
                  <a:lnTo>
                    <a:pt x="479" y="0"/>
                  </a:lnTo>
                  <a:lnTo>
                    <a:pt x="474" y="2"/>
                  </a:lnTo>
                  <a:lnTo>
                    <a:pt x="472" y="3"/>
                  </a:lnTo>
                  <a:lnTo>
                    <a:pt x="463" y="5"/>
                  </a:lnTo>
                  <a:lnTo>
                    <a:pt x="462" y="6"/>
                  </a:lnTo>
                  <a:lnTo>
                    <a:pt x="459" y="6"/>
                  </a:lnTo>
                  <a:lnTo>
                    <a:pt x="457" y="6"/>
                  </a:lnTo>
                  <a:lnTo>
                    <a:pt x="454" y="8"/>
                  </a:lnTo>
                  <a:lnTo>
                    <a:pt x="452" y="8"/>
                  </a:lnTo>
                  <a:lnTo>
                    <a:pt x="451" y="8"/>
                  </a:lnTo>
                  <a:lnTo>
                    <a:pt x="451" y="8"/>
                  </a:lnTo>
                  <a:lnTo>
                    <a:pt x="451" y="11"/>
                  </a:lnTo>
                  <a:lnTo>
                    <a:pt x="451" y="14"/>
                  </a:lnTo>
                  <a:lnTo>
                    <a:pt x="449" y="17"/>
                  </a:lnTo>
                  <a:lnTo>
                    <a:pt x="448" y="20"/>
                  </a:lnTo>
                  <a:lnTo>
                    <a:pt x="448" y="23"/>
                  </a:lnTo>
                  <a:lnTo>
                    <a:pt x="446" y="23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442" y="31"/>
                  </a:lnTo>
                  <a:lnTo>
                    <a:pt x="442" y="31"/>
                  </a:lnTo>
                  <a:lnTo>
                    <a:pt x="437" y="34"/>
                  </a:lnTo>
                  <a:lnTo>
                    <a:pt x="435" y="34"/>
                  </a:lnTo>
                  <a:lnTo>
                    <a:pt x="431" y="34"/>
                  </a:lnTo>
                  <a:lnTo>
                    <a:pt x="426" y="35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18" y="35"/>
                  </a:lnTo>
                  <a:lnTo>
                    <a:pt x="415" y="35"/>
                  </a:lnTo>
                  <a:lnTo>
                    <a:pt x="409" y="38"/>
                  </a:lnTo>
                  <a:lnTo>
                    <a:pt x="374" y="42"/>
                  </a:lnTo>
                  <a:lnTo>
                    <a:pt x="371" y="45"/>
                  </a:lnTo>
                  <a:lnTo>
                    <a:pt x="363" y="57"/>
                  </a:lnTo>
                  <a:lnTo>
                    <a:pt x="360" y="58"/>
                  </a:lnTo>
                  <a:lnTo>
                    <a:pt x="360" y="58"/>
                  </a:lnTo>
                  <a:lnTo>
                    <a:pt x="360" y="58"/>
                  </a:lnTo>
                  <a:lnTo>
                    <a:pt x="355" y="62"/>
                  </a:lnTo>
                  <a:lnTo>
                    <a:pt x="349" y="62"/>
                  </a:lnTo>
                  <a:lnTo>
                    <a:pt x="349" y="63"/>
                  </a:lnTo>
                  <a:lnTo>
                    <a:pt x="346" y="63"/>
                  </a:lnTo>
                  <a:lnTo>
                    <a:pt x="345" y="62"/>
                  </a:lnTo>
                  <a:lnTo>
                    <a:pt x="343" y="58"/>
                  </a:lnTo>
                  <a:lnTo>
                    <a:pt x="340" y="55"/>
                  </a:lnTo>
                  <a:lnTo>
                    <a:pt x="340" y="54"/>
                  </a:lnTo>
                  <a:lnTo>
                    <a:pt x="338" y="52"/>
                  </a:lnTo>
                  <a:lnTo>
                    <a:pt x="332" y="51"/>
                  </a:lnTo>
                  <a:lnTo>
                    <a:pt x="331" y="48"/>
                  </a:lnTo>
                  <a:lnTo>
                    <a:pt x="329" y="48"/>
                  </a:lnTo>
                  <a:lnTo>
                    <a:pt x="328" y="46"/>
                  </a:lnTo>
                  <a:lnTo>
                    <a:pt x="328" y="45"/>
                  </a:lnTo>
                  <a:lnTo>
                    <a:pt x="328" y="43"/>
                  </a:lnTo>
                  <a:lnTo>
                    <a:pt x="326" y="42"/>
                  </a:lnTo>
                  <a:lnTo>
                    <a:pt x="325" y="40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15" y="37"/>
                  </a:lnTo>
                  <a:lnTo>
                    <a:pt x="311" y="35"/>
                  </a:lnTo>
                  <a:lnTo>
                    <a:pt x="309" y="35"/>
                  </a:lnTo>
                  <a:lnTo>
                    <a:pt x="308" y="37"/>
                  </a:lnTo>
                  <a:lnTo>
                    <a:pt x="304" y="40"/>
                  </a:lnTo>
                  <a:lnTo>
                    <a:pt x="301" y="40"/>
                  </a:lnTo>
                  <a:lnTo>
                    <a:pt x="297" y="42"/>
                  </a:lnTo>
                  <a:lnTo>
                    <a:pt x="295" y="42"/>
                  </a:lnTo>
                  <a:lnTo>
                    <a:pt x="291" y="40"/>
                  </a:lnTo>
                  <a:lnTo>
                    <a:pt x="291" y="40"/>
                  </a:lnTo>
                  <a:lnTo>
                    <a:pt x="289" y="40"/>
                  </a:lnTo>
                  <a:lnTo>
                    <a:pt x="286" y="37"/>
                  </a:lnTo>
                  <a:lnTo>
                    <a:pt x="284" y="37"/>
                  </a:lnTo>
                  <a:lnTo>
                    <a:pt x="281" y="35"/>
                  </a:lnTo>
                  <a:lnTo>
                    <a:pt x="280" y="35"/>
                  </a:lnTo>
                  <a:lnTo>
                    <a:pt x="278" y="35"/>
                  </a:lnTo>
                  <a:lnTo>
                    <a:pt x="271" y="38"/>
                  </a:lnTo>
                  <a:lnTo>
                    <a:pt x="269" y="38"/>
                  </a:lnTo>
                  <a:lnTo>
                    <a:pt x="268" y="37"/>
                  </a:lnTo>
                  <a:lnTo>
                    <a:pt x="264" y="32"/>
                  </a:lnTo>
                  <a:lnTo>
                    <a:pt x="263" y="32"/>
                  </a:lnTo>
                  <a:lnTo>
                    <a:pt x="258" y="32"/>
                  </a:lnTo>
                  <a:lnTo>
                    <a:pt x="257" y="32"/>
                  </a:lnTo>
                  <a:lnTo>
                    <a:pt x="254" y="31"/>
                  </a:lnTo>
                  <a:lnTo>
                    <a:pt x="247" y="31"/>
                  </a:lnTo>
                  <a:lnTo>
                    <a:pt x="247" y="31"/>
                  </a:lnTo>
                  <a:lnTo>
                    <a:pt x="244" y="31"/>
                  </a:lnTo>
                  <a:lnTo>
                    <a:pt x="243" y="31"/>
                  </a:lnTo>
                  <a:lnTo>
                    <a:pt x="243" y="32"/>
                  </a:lnTo>
                  <a:lnTo>
                    <a:pt x="243" y="32"/>
                  </a:lnTo>
                  <a:lnTo>
                    <a:pt x="241" y="32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35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1"/>
                  </a:lnTo>
                  <a:lnTo>
                    <a:pt x="231" y="29"/>
                  </a:lnTo>
                  <a:lnTo>
                    <a:pt x="226" y="26"/>
                  </a:lnTo>
                  <a:lnTo>
                    <a:pt x="223" y="23"/>
                  </a:lnTo>
                  <a:lnTo>
                    <a:pt x="223" y="22"/>
                  </a:lnTo>
                  <a:lnTo>
                    <a:pt x="217" y="20"/>
                  </a:lnTo>
                  <a:lnTo>
                    <a:pt x="215" y="20"/>
                  </a:lnTo>
                  <a:lnTo>
                    <a:pt x="214" y="20"/>
                  </a:lnTo>
                  <a:lnTo>
                    <a:pt x="212" y="23"/>
                  </a:lnTo>
                  <a:lnTo>
                    <a:pt x="211" y="28"/>
                  </a:lnTo>
                  <a:lnTo>
                    <a:pt x="209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3" y="32"/>
                  </a:lnTo>
                  <a:lnTo>
                    <a:pt x="201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198" y="31"/>
                  </a:lnTo>
                  <a:lnTo>
                    <a:pt x="200" y="34"/>
                  </a:lnTo>
                  <a:lnTo>
                    <a:pt x="198" y="35"/>
                  </a:lnTo>
                  <a:lnTo>
                    <a:pt x="197" y="37"/>
                  </a:lnTo>
                  <a:lnTo>
                    <a:pt x="195" y="37"/>
                  </a:lnTo>
                  <a:lnTo>
                    <a:pt x="195" y="38"/>
                  </a:lnTo>
                  <a:lnTo>
                    <a:pt x="192" y="42"/>
                  </a:lnTo>
                  <a:lnTo>
                    <a:pt x="192" y="43"/>
                  </a:lnTo>
                  <a:lnTo>
                    <a:pt x="189" y="43"/>
                  </a:lnTo>
                  <a:lnTo>
                    <a:pt x="187" y="45"/>
                  </a:lnTo>
                  <a:lnTo>
                    <a:pt x="186" y="46"/>
                  </a:lnTo>
                  <a:lnTo>
                    <a:pt x="186" y="48"/>
                  </a:lnTo>
                  <a:lnTo>
                    <a:pt x="187" y="48"/>
                  </a:lnTo>
                  <a:lnTo>
                    <a:pt x="187" y="49"/>
                  </a:lnTo>
                  <a:lnTo>
                    <a:pt x="186" y="49"/>
                  </a:lnTo>
                  <a:lnTo>
                    <a:pt x="186" y="51"/>
                  </a:lnTo>
                  <a:lnTo>
                    <a:pt x="184" y="51"/>
                  </a:lnTo>
                  <a:lnTo>
                    <a:pt x="183" y="51"/>
                  </a:lnTo>
                  <a:lnTo>
                    <a:pt x="181" y="52"/>
                  </a:lnTo>
                  <a:lnTo>
                    <a:pt x="180" y="54"/>
                  </a:lnTo>
                  <a:lnTo>
                    <a:pt x="178" y="55"/>
                  </a:lnTo>
                  <a:lnTo>
                    <a:pt x="175" y="57"/>
                  </a:lnTo>
                  <a:lnTo>
                    <a:pt x="172" y="57"/>
                  </a:lnTo>
                  <a:lnTo>
                    <a:pt x="170" y="57"/>
                  </a:lnTo>
                  <a:lnTo>
                    <a:pt x="164" y="54"/>
                  </a:lnTo>
                  <a:lnTo>
                    <a:pt x="163" y="55"/>
                  </a:lnTo>
                  <a:lnTo>
                    <a:pt x="161" y="58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58" y="60"/>
                  </a:lnTo>
                  <a:lnTo>
                    <a:pt x="155" y="60"/>
                  </a:lnTo>
                  <a:lnTo>
                    <a:pt x="154" y="60"/>
                  </a:lnTo>
                  <a:lnTo>
                    <a:pt x="152" y="60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49" y="65"/>
                  </a:lnTo>
                  <a:lnTo>
                    <a:pt x="147" y="65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6" y="69"/>
                  </a:lnTo>
                  <a:lnTo>
                    <a:pt x="146" y="71"/>
                  </a:lnTo>
                  <a:lnTo>
                    <a:pt x="143" y="74"/>
                  </a:lnTo>
                  <a:lnTo>
                    <a:pt x="143" y="74"/>
                  </a:lnTo>
                  <a:lnTo>
                    <a:pt x="143" y="75"/>
                  </a:lnTo>
                  <a:lnTo>
                    <a:pt x="143" y="75"/>
                  </a:lnTo>
                  <a:lnTo>
                    <a:pt x="143" y="75"/>
                  </a:lnTo>
                  <a:lnTo>
                    <a:pt x="143" y="77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38" y="79"/>
                  </a:lnTo>
                  <a:lnTo>
                    <a:pt x="134" y="82"/>
                  </a:lnTo>
                  <a:lnTo>
                    <a:pt x="130" y="85"/>
                  </a:lnTo>
                  <a:lnTo>
                    <a:pt x="130" y="86"/>
                  </a:lnTo>
                  <a:lnTo>
                    <a:pt x="130" y="91"/>
                  </a:lnTo>
                  <a:lnTo>
                    <a:pt x="130" y="94"/>
                  </a:lnTo>
                  <a:lnTo>
                    <a:pt x="130" y="97"/>
                  </a:lnTo>
                  <a:lnTo>
                    <a:pt x="129" y="100"/>
                  </a:lnTo>
                  <a:lnTo>
                    <a:pt x="126" y="102"/>
                  </a:lnTo>
                  <a:lnTo>
                    <a:pt x="124" y="103"/>
                  </a:lnTo>
                  <a:lnTo>
                    <a:pt x="123" y="105"/>
                  </a:lnTo>
                  <a:lnTo>
                    <a:pt x="120" y="108"/>
                  </a:lnTo>
                  <a:lnTo>
                    <a:pt x="120" y="109"/>
                  </a:lnTo>
                  <a:lnTo>
                    <a:pt x="120" y="114"/>
                  </a:lnTo>
                  <a:lnTo>
                    <a:pt x="118" y="114"/>
                  </a:lnTo>
                  <a:lnTo>
                    <a:pt x="118" y="115"/>
                  </a:lnTo>
                  <a:lnTo>
                    <a:pt x="118" y="117"/>
                  </a:lnTo>
                  <a:lnTo>
                    <a:pt x="117" y="119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5" y="125"/>
                  </a:lnTo>
                  <a:lnTo>
                    <a:pt x="114" y="125"/>
                  </a:lnTo>
                  <a:lnTo>
                    <a:pt x="114" y="126"/>
                  </a:lnTo>
                  <a:lnTo>
                    <a:pt x="114" y="128"/>
                  </a:lnTo>
                  <a:lnTo>
                    <a:pt x="114" y="129"/>
                  </a:lnTo>
                  <a:lnTo>
                    <a:pt x="112" y="131"/>
                  </a:lnTo>
                  <a:lnTo>
                    <a:pt x="107" y="132"/>
                  </a:lnTo>
                  <a:lnTo>
                    <a:pt x="106" y="134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6" y="140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2"/>
                  </a:lnTo>
                  <a:lnTo>
                    <a:pt x="100" y="154"/>
                  </a:lnTo>
                  <a:lnTo>
                    <a:pt x="100" y="154"/>
                  </a:lnTo>
                  <a:lnTo>
                    <a:pt x="100" y="156"/>
                  </a:lnTo>
                  <a:lnTo>
                    <a:pt x="100" y="157"/>
                  </a:lnTo>
                  <a:lnTo>
                    <a:pt x="98" y="157"/>
                  </a:lnTo>
                  <a:lnTo>
                    <a:pt x="97" y="159"/>
                  </a:lnTo>
                  <a:lnTo>
                    <a:pt x="95" y="160"/>
                  </a:lnTo>
                  <a:lnTo>
                    <a:pt x="93" y="162"/>
                  </a:lnTo>
                  <a:lnTo>
                    <a:pt x="92" y="166"/>
                  </a:lnTo>
                  <a:lnTo>
                    <a:pt x="92" y="166"/>
                  </a:lnTo>
                  <a:lnTo>
                    <a:pt x="92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3" y="171"/>
                  </a:lnTo>
                  <a:lnTo>
                    <a:pt x="93" y="172"/>
                  </a:lnTo>
                  <a:lnTo>
                    <a:pt x="92" y="176"/>
                  </a:lnTo>
                  <a:lnTo>
                    <a:pt x="90" y="176"/>
                  </a:lnTo>
                  <a:lnTo>
                    <a:pt x="89" y="176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7" y="179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1" y="182"/>
                  </a:lnTo>
                  <a:lnTo>
                    <a:pt x="80" y="182"/>
                  </a:lnTo>
                  <a:lnTo>
                    <a:pt x="78" y="183"/>
                  </a:lnTo>
                  <a:lnTo>
                    <a:pt x="78" y="186"/>
                  </a:lnTo>
                  <a:lnTo>
                    <a:pt x="78" y="189"/>
                  </a:lnTo>
                  <a:lnTo>
                    <a:pt x="77" y="191"/>
                  </a:lnTo>
                  <a:lnTo>
                    <a:pt x="75" y="194"/>
                  </a:lnTo>
                  <a:lnTo>
                    <a:pt x="75" y="196"/>
                  </a:lnTo>
                  <a:lnTo>
                    <a:pt x="75" y="197"/>
                  </a:lnTo>
                  <a:lnTo>
                    <a:pt x="77" y="202"/>
                  </a:lnTo>
                  <a:lnTo>
                    <a:pt x="77" y="203"/>
                  </a:lnTo>
                  <a:lnTo>
                    <a:pt x="75" y="205"/>
                  </a:lnTo>
                  <a:lnTo>
                    <a:pt x="72" y="205"/>
                  </a:lnTo>
                  <a:lnTo>
                    <a:pt x="70" y="206"/>
                  </a:lnTo>
                  <a:lnTo>
                    <a:pt x="69" y="208"/>
                  </a:lnTo>
                  <a:lnTo>
                    <a:pt x="69" y="209"/>
                  </a:lnTo>
                  <a:lnTo>
                    <a:pt x="69" y="214"/>
                  </a:lnTo>
                  <a:lnTo>
                    <a:pt x="67" y="217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0" y="223"/>
                  </a:lnTo>
                  <a:lnTo>
                    <a:pt x="58" y="223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5" y="222"/>
                  </a:lnTo>
                  <a:lnTo>
                    <a:pt x="55" y="222"/>
                  </a:lnTo>
                  <a:lnTo>
                    <a:pt x="53" y="222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9" y="220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4" y="219"/>
                  </a:lnTo>
                  <a:lnTo>
                    <a:pt x="43" y="219"/>
                  </a:lnTo>
                  <a:lnTo>
                    <a:pt x="41" y="220"/>
                  </a:lnTo>
                  <a:lnTo>
                    <a:pt x="40" y="220"/>
                  </a:lnTo>
                  <a:lnTo>
                    <a:pt x="40" y="220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5"/>
                  </a:lnTo>
                  <a:lnTo>
                    <a:pt x="36" y="226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8"/>
                  </a:lnTo>
                  <a:lnTo>
                    <a:pt x="35" y="228"/>
                  </a:lnTo>
                  <a:lnTo>
                    <a:pt x="33" y="229"/>
                  </a:lnTo>
                  <a:lnTo>
                    <a:pt x="33" y="231"/>
                  </a:lnTo>
                  <a:lnTo>
                    <a:pt x="33" y="231"/>
                  </a:lnTo>
                  <a:lnTo>
                    <a:pt x="33" y="231"/>
                  </a:lnTo>
                  <a:lnTo>
                    <a:pt x="32" y="233"/>
                  </a:lnTo>
                  <a:lnTo>
                    <a:pt x="30" y="234"/>
                  </a:lnTo>
                  <a:lnTo>
                    <a:pt x="27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4" y="234"/>
                  </a:lnTo>
                  <a:lnTo>
                    <a:pt x="23" y="231"/>
                  </a:lnTo>
                  <a:lnTo>
                    <a:pt x="20" y="231"/>
                  </a:lnTo>
                  <a:lnTo>
                    <a:pt x="16" y="229"/>
                  </a:lnTo>
                  <a:lnTo>
                    <a:pt x="15" y="233"/>
                  </a:lnTo>
                  <a:lnTo>
                    <a:pt x="3" y="233"/>
                  </a:lnTo>
                  <a:lnTo>
                    <a:pt x="0" y="237"/>
                  </a:lnTo>
                  <a:lnTo>
                    <a:pt x="4" y="243"/>
                  </a:lnTo>
                  <a:lnTo>
                    <a:pt x="6" y="245"/>
                  </a:lnTo>
                  <a:lnTo>
                    <a:pt x="7" y="249"/>
                  </a:lnTo>
                  <a:lnTo>
                    <a:pt x="7" y="251"/>
                  </a:lnTo>
                  <a:lnTo>
                    <a:pt x="9" y="253"/>
                  </a:lnTo>
                  <a:lnTo>
                    <a:pt x="12" y="253"/>
                  </a:lnTo>
                  <a:lnTo>
                    <a:pt x="13" y="254"/>
                  </a:lnTo>
                  <a:lnTo>
                    <a:pt x="18" y="257"/>
                  </a:lnTo>
                  <a:lnTo>
                    <a:pt x="20" y="259"/>
                  </a:lnTo>
                  <a:lnTo>
                    <a:pt x="21" y="259"/>
                  </a:lnTo>
                  <a:lnTo>
                    <a:pt x="23" y="259"/>
                  </a:lnTo>
                  <a:lnTo>
                    <a:pt x="24" y="260"/>
                  </a:lnTo>
                  <a:lnTo>
                    <a:pt x="27" y="265"/>
                  </a:lnTo>
                  <a:lnTo>
                    <a:pt x="27" y="265"/>
                  </a:lnTo>
                  <a:lnTo>
                    <a:pt x="29" y="266"/>
                  </a:lnTo>
                  <a:lnTo>
                    <a:pt x="29" y="266"/>
                  </a:lnTo>
                  <a:lnTo>
                    <a:pt x="29" y="268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30" y="271"/>
                  </a:lnTo>
                  <a:lnTo>
                    <a:pt x="30" y="273"/>
                  </a:lnTo>
                  <a:lnTo>
                    <a:pt x="32" y="274"/>
                  </a:lnTo>
                  <a:lnTo>
                    <a:pt x="33" y="276"/>
                  </a:lnTo>
                  <a:lnTo>
                    <a:pt x="33" y="277"/>
                  </a:lnTo>
                  <a:lnTo>
                    <a:pt x="35" y="277"/>
                  </a:lnTo>
                  <a:lnTo>
                    <a:pt x="35" y="277"/>
                  </a:lnTo>
                  <a:lnTo>
                    <a:pt x="36" y="276"/>
                  </a:lnTo>
                  <a:lnTo>
                    <a:pt x="36" y="274"/>
                  </a:lnTo>
                  <a:lnTo>
                    <a:pt x="38" y="274"/>
                  </a:lnTo>
                  <a:lnTo>
                    <a:pt x="38" y="273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6"/>
                  </a:lnTo>
                  <a:lnTo>
                    <a:pt x="40" y="277"/>
                  </a:lnTo>
                  <a:lnTo>
                    <a:pt x="40" y="277"/>
                  </a:lnTo>
                  <a:lnTo>
                    <a:pt x="40" y="283"/>
                  </a:lnTo>
                  <a:lnTo>
                    <a:pt x="40" y="285"/>
                  </a:lnTo>
                  <a:lnTo>
                    <a:pt x="40" y="286"/>
                  </a:lnTo>
                  <a:lnTo>
                    <a:pt x="38" y="288"/>
                  </a:lnTo>
                  <a:lnTo>
                    <a:pt x="38" y="291"/>
                  </a:lnTo>
                  <a:lnTo>
                    <a:pt x="38" y="293"/>
                  </a:lnTo>
                  <a:lnTo>
                    <a:pt x="40" y="296"/>
                  </a:lnTo>
                  <a:lnTo>
                    <a:pt x="41" y="299"/>
                  </a:lnTo>
                  <a:lnTo>
                    <a:pt x="41" y="300"/>
                  </a:lnTo>
                  <a:lnTo>
                    <a:pt x="40" y="300"/>
                  </a:lnTo>
                  <a:lnTo>
                    <a:pt x="38" y="302"/>
                  </a:lnTo>
                  <a:lnTo>
                    <a:pt x="38" y="303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6"/>
                  </a:lnTo>
                  <a:lnTo>
                    <a:pt x="46" y="310"/>
                  </a:lnTo>
                  <a:lnTo>
                    <a:pt x="50" y="314"/>
                  </a:lnTo>
                  <a:lnTo>
                    <a:pt x="53" y="319"/>
                  </a:lnTo>
                  <a:lnTo>
                    <a:pt x="55" y="319"/>
                  </a:lnTo>
                  <a:lnTo>
                    <a:pt x="58" y="320"/>
                  </a:lnTo>
                  <a:lnTo>
                    <a:pt x="61" y="322"/>
                  </a:lnTo>
                  <a:lnTo>
                    <a:pt x="61" y="323"/>
                  </a:lnTo>
                  <a:lnTo>
                    <a:pt x="63" y="323"/>
                  </a:lnTo>
                  <a:lnTo>
                    <a:pt x="63" y="323"/>
                  </a:lnTo>
                  <a:lnTo>
                    <a:pt x="64" y="325"/>
                  </a:lnTo>
                  <a:lnTo>
                    <a:pt x="64" y="323"/>
                  </a:lnTo>
                  <a:lnTo>
                    <a:pt x="66" y="322"/>
                  </a:lnTo>
                  <a:lnTo>
                    <a:pt x="66" y="322"/>
                  </a:lnTo>
                  <a:lnTo>
                    <a:pt x="67" y="323"/>
                  </a:lnTo>
                  <a:lnTo>
                    <a:pt x="70" y="326"/>
                  </a:lnTo>
                  <a:lnTo>
                    <a:pt x="72" y="328"/>
                  </a:lnTo>
                  <a:lnTo>
                    <a:pt x="73" y="330"/>
                  </a:lnTo>
                  <a:lnTo>
                    <a:pt x="75" y="331"/>
                  </a:lnTo>
                  <a:lnTo>
                    <a:pt x="78" y="331"/>
                  </a:lnTo>
                  <a:lnTo>
                    <a:pt x="86" y="333"/>
                  </a:lnTo>
                  <a:lnTo>
                    <a:pt x="89" y="334"/>
                  </a:lnTo>
                  <a:lnTo>
                    <a:pt x="90" y="336"/>
                  </a:lnTo>
                  <a:lnTo>
                    <a:pt x="92" y="339"/>
                  </a:lnTo>
                  <a:lnTo>
                    <a:pt x="93" y="339"/>
                  </a:lnTo>
                  <a:lnTo>
                    <a:pt x="93" y="340"/>
                  </a:lnTo>
                  <a:lnTo>
                    <a:pt x="93" y="342"/>
                  </a:lnTo>
                  <a:lnTo>
                    <a:pt x="92" y="342"/>
                  </a:lnTo>
                  <a:lnTo>
                    <a:pt x="90" y="342"/>
                  </a:lnTo>
                  <a:lnTo>
                    <a:pt x="90" y="343"/>
                  </a:lnTo>
                  <a:lnTo>
                    <a:pt x="89" y="343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89" y="346"/>
                  </a:lnTo>
                  <a:lnTo>
                    <a:pt x="89" y="346"/>
                  </a:lnTo>
                  <a:lnTo>
                    <a:pt x="89" y="346"/>
                  </a:lnTo>
                  <a:lnTo>
                    <a:pt x="89" y="348"/>
                  </a:lnTo>
                  <a:lnTo>
                    <a:pt x="87" y="348"/>
                  </a:lnTo>
                  <a:lnTo>
                    <a:pt x="87" y="350"/>
                  </a:lnTo>
                  <a:lnTo>
                    <a:pt x="87" y="351"/>
                  </a:lnTo>
                  <a:lnTo>
                    <a:pt x="87" y="351"/>
                  </a:lnTo>
                  <a:lnTo>
                    <a:pt x="86" y="351"/>
                  </a:lnTo>
                  <a:lnTo>
                    <a:pt x="86" y="353"/>
                  </a:lnTo>
                  <a:lnTo>
                    <a:pt x="84" y="353"/>
                  </a:lnTo>
                  <a:lnTo>
                    <a:pt x="83" y="353"/>
                  </a:lnTo>
                  <a:lnTo>
                    <a:pt x="83" y="353"/>
                  </a:lnTo>
                  <a:lnTo>
                    <a:pt x="83" y="354"/>
                  </a:lnTo>
                  <a:lnTo>
                    <a:pt x="83" y="356"/>
                  </a:lnTo>
                  <a:lnTo>
                    <a:pt x="83" y="356"/>
                  </a:lnTo>
                  <a:lnTo>
                    <a:pt x="84" y="356"/>
                  </a:lnTo>
                  <a:lnTo>
                    <a:pt x="84" y="356"/>
                  </a:lnTo>
                  <a:lnTo>
                    <a:pt x="84" y="357"/>
                  </a:lnTo>
                  <a:lnTo>
                    <a:pt x="84" y="357"/>
                  </a:lnTo>
                  <a:lnTo>
                    <a:pt x="86" y="359"/>
                  </a:lnTo>
                  <a:lnTo>
                    <a:pt x="90" y="359"/>
                  </a:lnTo>
                  <a:lnTo>
                    <a:pt x="92" y="360"/>
                  </a:lnTo>
                  <a:lnTo>
                    <a:pt x="95" y="362"/>
                  </a:lnTo>
                  <a:lnTo>
                    <a:pt x="95" y="362"/>
                  </a:lnTo>
                  <a:lnTo>
                    <a:pt x="97" y="363"/>
                  </a:lnTo>
                  <a:lnTo>
                    <a:pt x="97" y="366"/>
                  </a:lnTo>
                  <a:lnTo>
                    <a:pt x="95" y="366"/>
                  </a:lnTo>
                  <a:lnTo>
                    <a:pt x="92" y="368"/>
                  </a:lnTo>
                  <a:lnTo>
                    <a:pt x="90" y="368"/>
                  </a:lnTo>
                  <a:lnTo>
                    <a:pt x="86" y="368"/>
                  </a:lnTo>
                  <a:lnTo>
                    <a:pt x="84" y="368"/>
                  </a:lnTo>
                  <a:lnTo>
                    <a:pt x="83" y="370"/>
                  </a:lnTo>
                  <a:lnTo>
                    <a:pt x="81" y="371"/>
                  </a:lnTo>
                  <a:lnTo>
                    <a:pt x="81" y="371"/>
                  </a:lnTo>
                  <a:lnTo>
                    <a:pt x="83" y="373"/>
                  </a:lnTo>
                  <a:lnTo>
                    <a:pt x="83" y="373"/>
                  </a:lnTo>
                  <a:lnTo>
                    <a:pt x="83" y="373"/>
                  </a:lnTo>
                  <a:lnTo>
                    <a:pt x="84" y="374"/>
                  </a:lnTo>
                  <a:lnTo>
                    <a:pt x="86" y="376"/>
                  </a:lnTo>
                  <a:lnTo>
                    <a:pt x="87" y="377"/>
                  </a:lnTo>
                  <a:lnTo>
                    <a:pt x="93" y="377"/>
                  </a:lnTo>
                  <a:lnTo>
                    <a:pt x="98" y="377"/>
                  </a:lnTo>
                  <a:lnTo>
                    <a:pt x="100" y="377"/>
                  </a:lnTo>
                  <a:lnTo>
                    <a:pt x="100" y="379"/>
                  </a:lnTo>
                  <a:lnTo>
                    <a:pt x="101" y="380"/>
                  </a:lnTo>
                  <a:lnTo>
                    <a:pt x="101" y="382"/>
                  </a:lnTo>
                  <a:lnTo>
                    <a:pt x="103" y="385"/>
                  </a:lnTo>
                  <a:lnTo>
                    <a:pt x="104" y="386"/>
                  </a:lnTo>
                  <a:lnTo>
                    <a:pt x="109" y="388"/>
                  </a:lnTo>
                  <a:lnTo>
                    <a:pt x="112" y="388"/>
                  </a:lnTo>
                  <a:lnTo>
                    <a:pt x="115" y="388"/>
                  </a:lnTo>
                  <a:lnTo>
                    <a:pt x="118" y="386"/>
                  </a:lnTo>
                  <a:lnTo>
                    <a:pt x="120" y="386"/>
                  </a:lnTo>
                  <a:lnTo>
                    <a:pt x="121" y="386"/>
                  </a:lnTo>
                  <a:lnTo>
                    <a:pt x="127" y="390"/>
                  </a:lnTo>
                  <a:lnTo>
                    <a:pt x="130" y="390"/>
                  </a:lnTo>
                  <a:lnTo>
                    <a:pt x="130" y="391"/>
                  </a:lnTo>
                  <a:lnTo>
                    <a:pt x="134" y="396"/>
                  </a:lnTo>
                  <a:lnTo>
                    <a:pt x="134" y="396"/>
                  </a:lnTo>
                  <a:lnTo>
                    <a:pt x="134" y="397"/>
                  </a:lnTo>
                  <a:lnTo>
                    <a:pt x="134" y="399"/>
                  </a:lnTo>
                  <a:lnTo>
                    <a:pt x="134" y="399"/>
                  </a:lnTo>
                  <a:lnTo>
                    <a:pt x="135" y="400"/>
                  </a:lnTo>
                  <a:lnTo>
                    <a:pt x="135" y="400"/>
                  </a:lnTo>
                  <a:lnTo>
                    <a:pt x="137" y="402"/>
                  </a:lnTo>
                  <a:lnTo>
                    <a:pt x="137" y="405"/>
                  </a:lnTo>
                  <a:lnTo>
                    <a:pt x="138" y="405"/>
                  </a:lnTo>
                  <a:lnTo>
                    <a:pt x="140" y="407"/>
                  </a:lnTo>
                  <a:lnTo>
                    <a:pt x="141" y="407"/>
                  </a:lnTo>
                  <a:lnTo>
                    <a:pt x="143" y="407"/>
                  </a:lnTo>
                  <a:lnTo>
                    <a:pt x="144" y="405"/>
                  </a:lnTo>
                  <a:lnTo>
                    <a:pt x="152" y="390"/>
                  </a:lnTo>
                  <a:lnTo>
                    <a:pt x="154" y="388"/>
                  </a:lnTo>
                  <a:lnTo>
                    <a:pt x="154" y="386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61" y="383"/>
                  </a:lnTo>
                  <a:lnTo>
                    <a:pt x="163" y="382"/>
                  </a:lnTo>
                  <a:lnTo>
                    <a:pt x="164" y="382"/>
                  </a:lnTo>
                  <a:lnTo>
                    <a:pt x="166" y="382"/>
                  </a:lnTo>
                  <a:lnTo>
                    <a:pt x="166" y="383"/>
                  </a:lnTo>
                  <a:lnTo>
                    <a:pt x="172" y="390"/>
                  </a:lnTo>
                  <a:lnTo>
                    <a:pt x="174" y="391"/>
                  </a:lnTo>
                  <a:lnTo>
                    <a:pt x="177" y="393"/>
                  </a:lnTo>
                  <a:lnTo>
                    <a:pt x="183" y="393"/>
                  </a:lnTo>
                  <a:lnTo>
                    <a:pt x="184" y="394"/>
                  </a:lnTo>
                  <a:lnTo>
                    <a:pt x="187" y="397"/>
                  </a:lnTo>
                  <a:lnTo>
                    <a:pt x="187" y="400"/>
                  </a:lnTo>
                  <a:lnTo>
                    <a:pt x="186" y="400"/>
                  </a:lnTo>
                  <a:lnTo>
                    <a:pt x="184" y="402"/>
                  </a:lnTo>
                  <a:lnTo>
                    <a:pt x="183" y="402"/>
                  </a:lnTo>
                  <a:lnTo>
                    <a:pt x="181" y="402"/>
                  </a:lnTo>
                  <a:lnTo>
                    <a:pt x="178" y="400"/>
                  </a:lnTo>
                  <a:lnTo>
                    <a:pt x="177" y="399"/>
                  </a:lnTo>
                  <a:lnTo>
                    <a:pt x="175" y="399"/>
                  </a:lnTo>
                  <a:lnTo>
                    <a:pt x="174" y="400"/>
                  </a:lnTo>
                  <a:lnTo>
                    <a:pt x="172" y="400"/>
                  </a:lnTo>
                  <a:lnTo>
                    <a:pt x="172" y="402"/>
                  </a:lnTo>
                  <a:lnTo>
                    <a:pt x="172" y="405"/>
                  </a:lnTo>
                  <a:lnTo>
                    <a:pt x="172" y="405"/>
                  </a:lnTo>
                  <a:lnTo>
                    <a:pt x="170" y="405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6" y="407"/>
                  </a:lnTo>
                  <a:lnTo>
                    <a:pt x="166" y="408"/>
                  </a:lnTo>
                  <a:lnTo>
                    <a:pt x="166" y="410"/>
                  </a:lnTo>
                  <a:lnTo>
                    <a:pt x="166" y="410"/>
                  </a:lnTo>
                  <a:lnTo>
                    <a:pt x="166" y="411"/>
                  </a:lnTo>
                  <a:lnTo>
                    <a:pt x="167" y="413"/>
                  </a:lnTo>
                  <a:lnTo>
                    <a:pt x="167" y="413"/>
                  </a:lnTo>
                  <a:lnTo>
                    <a:pt x="169" y="414"/>
                  </a:lnTo>
                  <a:lnTo>
                    <a:pt x="167" y="416"/>
                  </a:lnTo>
                  <a:lnTo>
                    <a:pt x="167" y="416"/>
                  </a:lnTo>
                  <a:lnTo>
                    <a:pt x="169" y="419"/>
                  </a:lnTo>
                  <a:lnTo>
                    <a:pt x="172" y="422"/>
                  </a:lnTo>
                  <a:lnTo>
                    <a:pt x="174" y="425"/>
                  </a:lnTo>
                  <a:lnTo>
                    <a:pt x="177" y="425"/>
                  </a:lnTo>
                  <a:lnTo>
                    <a:pt x="180" y="427"/>
                  </a:lnTo>
                  <a:lnTo>
                    <a:pt x="181" y="427"/>
                  </a:lnTo>
                  <a:lnTo>
                    <a:pt x="181" y="428"/>
                  </a:lnTo>
                  <a:lnTo>
                    <a:pt x="181" y="433"/>
                  </a:lnTo>
                  <a:lnTo>
                    <a:pt x="181" y="434"/>
                  </a:lnTo>
                  <a:lnTo>
                    <a:pt x="181" y="434"/>
                  </a:lnTo>
                  <a:lnTo>
                    <a:pt x="198" y="445"/>
                  </a:lnTo>
                  <a:lnTo>
                    <a:pt x="201" y="447"/>
                  </a:lnTo>
                  <a:lnTo>
                    <a:pt x="204" y="447"/>
                  </a:lnTo>
                  <a:lnTo>
                    <a:pt x="206" y="448"/>
                  </a:lnTo>
                  <a:lnTo>
                    <a:pt x="207" y="448"/>
                  </a:lnTo>
                  <a:lnTo>
                    <a:pt x="207" y="451"/>
                  </a:lnTo>
                  <a:lnTo>
                    <a:pt x="206" y="454"/>
                  </a:lnTo>
                  <a:lnTo>
                    <a:pt x="204" y="456"/>
                  </a:lnTo>
                  <a:lnTo>
                    <a:pt x="203" y="457"/>
                  </a:lnTo>
                  <a:lnTo>
                    <a:pt x="200" y="457"/>
                  </a:lnTo>
                  <a:lnTo>
                    <a:pt x="198" y="457"/>
                  </a:lnTo>
                  <a:lnTo>
                    <a:pt x="197" y="459"/>
                  </a:lnTo>
                  <a:lnTo>
                    <a:pt x="195" y="460"/>
                  </a:lnTo>
                  <a:lnTo>
                    <a:pt x="194" y="470"/>
                  </a:lnTo>
                  <a:lnTo>
                    <a:pt x="194" y="471"/>
                  </a:lnTo>
                  <a:lnTo>
                    <a:pt x="195" y="473"/>
                  </a:lnTo>
                  <a:lnTo>
                    <a:pt x="197" y="474"/>
                  </a:lnTo>
                  <a:lnTo>
                    <a:pt x="198" y="476"/>
                  </a:lnTo>
                  <a:lnTo>
                    <a:pt x="209" y="474"/>
                  </a:lnTo>
                  <a:lnTo>
                    <a:pt x="215" y="474"/>
                  </a:lnTo>
                  <a:lnTo>
                    <a:pt x="217" y="473"/>
                  </a:lnTo>
                  <a:lnTo>
                    <a:pt x="220" y="473"/>
                  </a:lnTo>
                  <a:lnTo>
                    <a:pt x="223" y="471"/>
                  </a:lnTo>
                  <a:lnTo>
                    <a:pt x="229" y="470"/>
                  </a:lnTo>
                  <a:lnTo>
                    <a:pt x="241" y="471"/>
                  </a:lnTo>
                  <a:lnTo>
                    <a:pt x="249" y="474"/>
                  </a:lnTo>
                  <a:lnTo>
                    <a:pt x="251" y="476"/>
                  </a:lnTo>
                  <a:lnTo>
                    <a:pt x="252" y="476"/>
                  </a:lnTo>
                  <a:lnTo>
                    <a:pt x="258" y="474"/>
                  </a:lnTo>
                  <a:lnTo>
                    <a:pt x="260" y="474"/>
                  </a:lnTo>
                  <a:lnTo>
                    <a:pt x="264" y="477"/>
                  </a:lnTo>
                  <a:lnTo>
                    <a:pt x="291" y="484"/>
                  </a:lnTo>
                  <a:lnTo>
                    <a:pt x="291" y="484"/>
                  </a:lnTo>
                  <a:lnTo>
                    <a:pt x="304" y="484"/>
                  </a:lnTo>
                  <a:lnTo>
                    <a:pt x="306" y="484"/>
                  </a:lnTo>
                  <a:lnTo>
                    <a:pt x="308" y="482"/>
                  </a:lnTo>
                  <a:lnTo>
                    <a:pt x="312" y="479"/>
                  </a:lnTo>
                  <a:lnTo>
                    <a:pt x="314" y="479"/>
                  </a:lnTo>
                  <a:lnTo>
                    <a:pt x="317" y="479"/>
                  </a:lnTo>
                  <a:lnTo>
                    <a:pt x="329" y="484"/>
                  </a:lnTo>
                  <a:lnTo>
                    <a:pt x="332" y="485"/>
                  </a:lnTo>
                  <a:lnTo>
                    <a:pt x="335" y="485"/>
                  </a:lnTo>
                  <a:lnTo>
                    <a:pt x="351" y="484"/>
                  </a:lnTo>
                  <a:lnTo>
                    <a:pt x="360" y="487"/>
                  </a:lnTo>
                  <a:lnTo>
                    <a:pt x="369" y="488"/>
                  </a:lnTo>
                  <a:lnTo>
                    <a:pt x="372" y="488"/>
                  </a:lnTo>
                  <a:lnTo>
                    <a:pt x="375" y="490"/>
                  </a:lnTo>
                  <a:lnTo>
                    <a:pt x="375" y="490"/>
                  </a:lnTo>
                  <a:lnTo>
                    <a:pt x="378" y="493"/>
                  </a:lnTo>
                  <a:lnTo>
                    <a:pt x="380" y="494"/>
                  </a:lnTo>
                  <a:lnTo>
                    <a:pt x="385" y="494"/>
                  </a:lnTo>
                  <a:lnTo>
                    <a:pt x="386" y="494"/>
                  </a:lnTo>
                  <a:lnTo>
                    <a:pt x="389" y="493"/>
                  </a:lnTo>
                  <a:lnTo>
                    <a:pt x="389" y="493"/>
                  </a:lnTo>
                  <a:lnTo>
                    <a:pt x="391" y="493"/>
                  </a:lnTo>
                  <a:lnTo>
                    <a:pt x="394" y="493"/>
                  </a:lnTo>
                  <a:lnTo>
                    <a:pt x="395" y="493"/>
                  </a:lnTo>
                  <a:lnTo>
                    <a:pt x="397" y="491"/>
                  </a:lnTo>
                  <a:lnTo>
                    <a:pt x="398" y="491"/>
                  </a:lnTo>
                  <a:lnTo>
                    <a:pt x="400" y="490"/>
                  </a:lnTo>
                  <a:lnTo>
                    <a:pt x="402" y="490"/>
                  </a:lnTo>
                  <a:lnTo>
                    <a:pt x="403" y="488"/>
                  </a:lnTo>
                  <a:lnTo>
                    <a:pt x="405" y="487"/>
                  </a:lnTo>
                  <a:lnTo>
                    <a:pt x="408" y="487"/>
                  </a:lnTo>
                  <a:lnTo>
                    <a:pt x="409" y="487"/>
                  </a:lnTo>
                  <a:lnTo>
                    <a:pt x="412" y="487"/>
                  </a:lnTo>
                  <a:lnTo>
                    <a:pt x="414" y="484"/>
                  </a:lnTo>
                  <a:lnTo>
                    <a:pt x="414" y="482"/>
                  </a:lnTo>
                  <a:lnTo>
                    <a:pt x="417" y="480"/>
                  </a:lnTo>
                  <a:lnTo>
                    <a:pt x="418" y="479"/>
                  </a:lnTo>
                  <a:lnTo>
                    <a:pt x="422" y="474"/>
                  </a:lnTo>
                  <a:lnTo>
                    <a:pt x="423" y="473"/>
                  </a:lnTo>
                  <a:lnTo>
                    <a:pt x="423" y="471"/>
                  </a:lnTo>
                  <a:lnTo>
                    <a:pt x="432" y="465"/>
                  </a:lnTo>
                  <a:lnTo>
                    <a:pt x="432" y="463"/>
                  </a:lnTo>
                  <a:lnTo>
                    <a:pt x="434" y="462"/>
                  </a:lnTo>
                  <a:lnTo>
                    <a:pt x="437" y="459"/>
                  </a:lnTo>
                  <a:lnTo>
                    <a:pt x="440" y="457"/>
                  </a:lnTo>
                  <a:lnTo>
                    <a:pt x="446" y="456"/>
                  </a:lnTo>
                  <a:lnTo>
                    <a:pt x="451" y="453"/>
                  </a:lnTo>
                  <a:lnTo>
                    <a:pt x="452" y="453"/>
                  </a:lnTo>
                  <a:lnTo>
                    <a:pt x="459" y="451"/>
                  </a:lnTo>
                  <a:lnTo>
                    <a:pt x="474" y="450"/>
                  </a:lnTo>
                  <a:lnTo>
                    <a:pt x="477" y="448"/>
                  </a:lnTo>
                  <a:lnTo>
                    <a:pt x="479" y="448"/>
                  </a:lnTo>
                  <a:lnTo>
                    <a:pt x="479" y="448"/>
                  </a:lnTo>
                  <a:lnTo>
                    <a:pt x="480" y="447"/>
                  </a:lnTo>
                  <a:lnTo>
                    <a:pt x="482" y="447"/>
                  </a:lnTo>
                  <a:lnTo>
                    <a:pt x="485" y="447"/>
                  </a:lnTo>
                  <a:lnTo>
                    <a:pt x="488" y="447"/>
                  </a:lnTo>
                  <a:lnTo>
                    <a:pt x="494" y="442"/>
                  </a:lnTo>
                  <a:lnTo>
                    <a:pt x="503" y="442"/>
                  </a:lnTo>
                  <a:lnTo>
                    <a:pt x="505" y="440"/>
                  </a:lnTo>
                  <a:lnTo>
                    <a:pt x="511" y="443"/>
                  </a:lnTo>
                  <a:lnTo>
                    <a:pt x="519" y="445"/>
                  </a:lnTo>
                  <a:lnTo>
                    <a:pt x="520" y="447"/>
                  </a:lnTo>
                  <a:lnTo>
                    <a:pt x="522" y="445"/>
                  </a:lnTo>
                  <a:lnTo>
                    <a:pt x="522" y="445"/>
                  </a:lnTo>
                  <a:lnTo>
                    <a:pt x="523" y="447"/>
                  </a:lnTo>
                  <a:lnTo>
                    <a:pt x="522" y="450"/>
                  </a:lnTo>
                  <a:lnTo>
                    <a:pt x="525" y="451"/>
                  </a:lnTo>
                  <a:lnTo>
                    <a:pt x="528" y="453"/>
                  </a:lnTo>
                  <a:lnTo>
                    <a:pt x="529" y="454"/>
                  </a:lnTo>
                  <a:lnTo>
                    <a:pt x="531" y="456"/>
                  </a:lnTo>
                  <a:lnTo>
                    <a:pt x="531" y="457"/>
                  </a:lnTo>
                  <a:lnTo>
                    <a:pt x="545" y="457"/>
                  </a:lnTo>
                  <a:lnTo>
                    <a:pt x="549" y="456"/>
                  </a:lnTo>
                  <a:lnTo>
                    <a:pt x="551" y="456"/>
                  </a:lnTo>
                  <a:lnTo>
                    <a:pt x="552" y="459"/>
                  </a:lnTo>
                  <a:lnTo>
                    <a:pt x="554" y="459"/>
                  </a:lnTo>
                  <a:lnTo>
                    <a:pt x="557" y="463"/>
                  </a:lnTo>
                  <a:lnTo>
                    <a:pt x="562" y="462"/>
                  </a:lnTo>
                  <a:lnTo>
                    <a:pt x="566" y="459"/>
                  </a:lnTo>
                  <a:lnTo>
                    <a:pt x="571" y="459"/>
                  </a:lnTo>
                  <a:lnTo>
                    <a:pt x="571" y="459"/>
                  </a:lnTo>
                  <a:lnTo>
                    <a:pt x="572" y="462"/>
                  </a:lnTo>
                  <a:lnTo>
                    <a:pt x="576" y="474"/>
                  </a:lnTo>
                  <a:lnTo>
                    <a:pt x="579" y="476"/>
                  </a:lnTo>
                  <a:lnTo>
                    <a:pt x="594" y="484"/>
                  </a:lnTo>
                  <a:lnTo>
                    <a:pt x="609" y="485"/>
                  </a:lnTo>
                  <a:lnTo>
                    <a:pt x="620" y="485"/>
                  </a:lnTo>
                  <a:lnTo>
                    <a:pt x="620" y="484"/>
                  </a:lnTo>
                  <a:lnTo>
                    <a:pt x="620" y="484"/>
                  </a:lnTo>
                  <a:lnTo>
                    <a:pt x="620" y="482"/>
                  </a:lnTo>
                  <a:lnTo>
                    <a:pt x="620" y="480"/>
                  </a:lnTo>
                  <a:lnTo>
                    <a:pt x="622" y="480"/>
                  </a:lnTo>
                  <a:lnTo>
                    <a:pt x="620" y="479"/>
                  </a:lnTo>
                  <a:lnTo>
                    <a:pt x="620" y="477"/>
                  </a:lnTo>
                  <a:lnTo>
                    <a:pt x="622" y="477"/>
                  </a:lnTo>
                  <a:lnTo>
                    <a:pt x="623" y="471"/>
                  </a:lnTo>
                  <a:lnTo>
                    <a:pt x="623" y="470"/>
                  </a:lnTo>
                  <a:lnTo>
                    <a:pt x="625" y="467"/>
                  </a:lnTo>
                  <a:lnTo>
                    <a:pt x="625" y="465"/>
                  </a:lnTo>
                  <a:lnTo>
                    <a:pt x="626" y="462"/>
                  </a:lnTo>
                  <a:lnTo>
                    <a:pt x="626" y="460"/>
                  </a:lnTo>
                  <a:lnTo>
                    <a:pt x="626" y="459"/>
                  </a:lnTo>
                  <a:lnTo>
                    <a:pt x="628" y="459"/>
                  </a:lnTo>
                  <a:lnTo>
                    <a:pt x="628" y="457"/>
                  </a:lnTo>
                  <a:lnTo>
                    <a:pt x="626" y="453"/>
                  </a:lnTo>
                  <a:lnTo>
                    <a:pt x="625" y="445"/>
                  </a:lnTo>
                  <a:lnTo>
                    <a:pt x="625" y="442"/>
                  </a:lnTo>
                  <a:lnTo>
                    <a:pt x="625" y="442"/>
                  </a:lnTo>
                  <a:lnTo>
                    <a:pt x="625" y="440"/>
                  </a:lnTo>
                  <a:lnTo>
                    <a:pt x="626" y="440"/>
                  </a:lnTo>
                  <a:lnTo>
                    <a:pt x="628" y="440"/>
                  </a:lnTo>
                  <a:lnTo>
                    <a:pt x="626" y="440"/>
                  </a:lnTo>
                  <a:lnTo>
                    <a:pt x="626" y="439"/>
                  </a:lnTo>
                  <a:lnTo>
                    <a:pt x="626" y="437"/>
                  </a:lnTo>
                  <a:lnTo>
                    <a:pt x="626" y="434"/>
                  </a:lnTo>
                  <a:lnTo>
                    <a:pt x="625" y="433"/>
                  </a:lnTo>
                  <a:lnTo>
                    <a:pt x="625" y="431"/>
                  </a:lnTo>
                  <a:lnTo>
                    <a:pt x="625" y="427"/>
                  </a:lnTo>
                  <a:lnTo>
                    <a:pt x="625" y="425"/>
                  </a:lnTo>
                  <a:lnTo>
                    <a:pt x="625" y="425"/>
                  </a:lnTo>
                  <a:lnTo>
                    <a:pt x="626" y="423"/>
                  </a:lnTo>
                  <a:lnTo>
                    <a:pt x="626" y="422"/>
                  </a:lnTo>
                  <a:lnTo>
                    <a:pt x="628" y="422"/>
                  </a:lnTo>
                  <a:lnTo>
                    <a:pt x="629" y="422"/>
                  </a:lnTo>
                  <a:lnTo>
                    <a:pt x="629" y="422"/>
                  </a:lnTo>
                  <a:lnTo>
                    <a:pt x="629" y="419"/>
                  </a:lnTo>
                  <a:lnTo>
                    <a:pt x="637" y="410"/>
                  </a:lnTo>
                  <a:lnTo>
                    <a:pt x="640" y="407"/>
                  </a:lnTo>
                  <a:lnTo>
                    <a:pt x="645" y="397"/>
                  </a:lnTo>
                  <a:lnTo>
                    <a:pt x="645" y="396"/>
                  </a:lnTo>
                  <a:lnTo>
                    <a:pt x="646" y="394"/>
                  </a:lnTo>
                  <a:lnTo>
                    <a:pt x="645" y="396"/>
                  </a:lnTo>
                  <a:lnTo>
                    <a:pt x="645" y="397"/>
                  </a:lnTo>
                  <a:lnTo>
                    <a:pt x="643" y="399"/>
                  </a:lnTo>
                  <a:lnTo>
                    <a:pt x="642" y="399"/>
                  </a:lnTo>
                  <a:lnTo>
                    <a:pt x="640" y="399"/>
                  </a:lnTo>
                  <a:lnTo>
                    <a:pt x="640" y="400"/>
                  </a:lnTo>
                  <a:lnTo>
                    <a:pt x="637" y="403"/>
                  </a:lnTo>
                  <a:lnTo>
                    <a:pt x="636" y="405"/>
                  </a:lnTo>
                  <a:lnTo>
                    <a:pt x="636" y="405"/>
                  </a:lnTo>
                  <a:lnTo>
                    <a:pt x="634" y="408"/>
                  </a:lnTo>
                  <a:lnTo>
                    <a:pt x="634" y="410"/>
                  </a:lnTo>
                  <a:lnTo>
                    <a:pt x="634" y="410"/>
                  </a:lnTo>
                  <a:lnTo>
                    <a:pt x="633" y="410"/>
                  </a:lnTo>
                  <a:lnTo>
                    <a:pt x="633" y="408"/>
                  </a:lnTo>
                  <a:lnTo>
                    <a:pt x="633" y="405"/>
                  </a:lnTo>
                  <a:lnTo>
                    <a:pt x="634" y="402"/>
                  </a:lnTo>
                  <a:lnTo>
                    <a:pt x="634" y="400"/>
                  </a:lnTo>
                  <a:lnTo>
                    <a:pt x="634" y="400"/>
                  </a:lnTo>
                  <a:lnTo>
                    <a:pt x="633" y="400"/>
                  </a:lnTo>
                  <a:lnTo>
                    <a:pt x="633" y="400"/>
                  </a:lnTo>
                  <a:lnTo>
                    <a:pt x="633" y="400"/>
                  </a:lnTo>
                  <a:lnTo>
                    <a:pt x="631" y="400"/>
                  </a:lnTo>
                  <a:lnTo>
                    <a:pt x="631" y="399"/>
                  </a:lnTo>
                  <a:lnTo>
                    <a:pt x="633" y="399"/>
                  </a:lnTo>
                  <a:lnTo>
                    <a:pt x="636" y="397"/>
                  </a:lnTo>
                  <a:lnTo>
                    <a:pt x="634" y="397"/>
                  </a:lnTo>
                  <a:lnTo>
                    <a:pt x="634" y="397"/>
                  </a:lnTo>
                  <a:lnTo>
                    <a:pt x="634" y="396"/>
                  </a:lnTo>
                  <a:lnTo>
                    <a:pt x="634" y="394"/>
                  </a:lnTo>
                  <a:lnTo>
                    <a:pt x="633" y="394"/>
                  </a:lnTo>
                  <a:lnTo>
                    <a:pt x="634" y="393"/>
                  </a:lnTo>
                  <a:lnTo>
                    <a:pt x="634" y="393"/>
                  </a:lnTo>
                  <a:lnTo>
                    <a:pt x="636" y="393"/>
                  </a:lnTo>
                  <a:lnTo>
                    <a:pt x="636" y="393"/>
                  </a:lnTo>
                  <a:lnTo>
                    <a:pt x="636" y="394"/>
                  </a:lnTo>
                  <a:lnTo>
                    <a:pt x="634" y="396"/>
                  </a:lnTo>
                  <a:lnTo>
                    <a:pt x="636" y="396"/>
                  </a:lnTo>
                  <a:lnTo>
                    <a:pt x="639" y="393"/>
                  </a:lnTo>
                  <a:lnTo>
                    <a:pt x="640" y="393"/>
                  </a:lnTo>
                  <a:lnTo>
                    <a:pt x="643" y="390"/>
                  </a:lnTo>
                  <a:lnTo>
                    <a:pt x="645" y="390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8" y="388"/>
                  </a:lnTo>
                  <a:lnTo>
                    <a:pt x="648" y="388"/>
                  </a:lnTo>
                  <a:lnTo>
                    <a:pt x="648" y="386"/>
                  </a:lnTo>
                  <a:lnTo>
                    <a:pt x="648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48" y="391"/>
                  </a:lnTo>
                  <a:lnTo>
                    <a:pt x="646" y="393"/>
                  </a:lnTo>
                  <a:lnTo>
                    <a:pt x="649" y="393"/>
                  </a:lnTo>
                  <a:lnTo>
                    <a:pt x="649" y="390"/>
                  </a:lnTo>
                  <a:lnTo>
                    <a:pt x="651" y="388"/>
                  </a:lnTo>
                  <a:lnTo>
                    <a:pt x="651" y="386"/>
                  </a:lnTo>
                  <a:lnTo>
                    <a:pt x="649" y="385"/>
                  </a:lnTo>
                  <a:lnTo>
                    <a:pt x="643" y="383"/>
                  </a:lnTo>
                  <a:lnTo>
                    <a:pt x="645" y="386"/>
                  </a:lnTo>
                  <a:lnTo>
                    <a:pt x="643" y="388"/>
                  </a:lnTo>
                  <a:lnTo>
                    <a:pt x="642" y="390"/>
                  </a:lnTo>
                  <a:lnTo>
                    <a:pt x="640" y="391"/>
                  </a:lnTo>
                  <a:lnTo>
                    <a:pt x="636" y="391"/>
                  </a:lnTo>
                  <a:lnTo>
                    <a:pt x="636" y="391"/>
                  </a:lnTo>
                  <a:lnTo>
                    <a:pt x="636" y="390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7" y="386"/>
                  </a:lnTo>
                  <a:lnTo>
                    <a:pt x="636" y="386"/>
                  </a:lnTo>
                  <a:lnTo>
                    <a:pt x="636" y="386"/>
                  </a:lnTo>
                  <a:lnTo>
                    <a:pt x="636" y="385"/>
                  </a:lnTo>
                  <a:lnTo>
                    <a:pt x="637" y="383"/>
                  </a:lnTo>
                  <a:lnTo>
                    <a:pt x="637" y="383"/>
                  </a:lnTo>
                  <a:lnTo>
                    <a:pt x="642" y="380"/>
                  </a:lnTo>
                  <a:lnTo>
                    <a:pt x="643" y="380"/>
                  </a:lnTo>
                  <a:lnTo>
                    <a:pt x="646" y="380"/>
                  </a:lnTo>
                  <a:lnTo>
                    <a:pt x="646" y="379"/>
                  </a:lnTo>
                  <a:lnTo>
                    <a:pt x="648" y="379"/>
                  </a:lnTo>
                  <a:lnTo>
                    <a:pt x="646" y="377"/>
                  </a:lnTo>
                  <a:lnTo>
                    <a:pt x="646" y="377"/>
                  </a:lnTo>
                  <a:lnTo>
                    <a:pt x="646" y="376"/>
                  </a:lnTo>
                  <a:lnTo>
                    <a:pt x="646" y="376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8" y="373"/>
                  </a:lnTo>
                  <a:lnTo>
                    <a:pt x="645" y="368"/>
                  </a:lnTo>
                  <a:lnTo>
                    <a:pt x="643" y="368"/>
                  </a:lnTo>
                  <a:lnTo>
                    <a:pt x="642" y="368"/>
                  </a:lnTo>
                  <a:lnTo>
                    <a:pt x="642" y="366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3"/>
                  </a:lnTo>
                  <a:lnTo>
                    <a:pt x="642" y="363"/>
                  </a:lnTo>
                  <a:lnTo>
                    <a:pt x="642" y="362"/>
                  </a:lnTo>
                  <a:lnTo>
                    <a:pt x="642" y="360"/>
                  </a:lnTo>
                  <a:lnTo>
                    <a:pt x="643" y="359"/>
                  </a:lnTo>
                  <a:lnTo>
                    <a:pt x="645" y="356"/>
                  </a:lnTo>
                  <a:lnTo>
                    <a:pt x="646" y="356"/>
                  </a:lnTo>
                  <a:lnTo>
                    <a:pt x="648" y="356"/>
                  </a:lnTo>
                  <a:lnTo>
                    <a:pt x="648" y="356"/>
                  </a:lnTo>
                  <a:lnTo>
                    <a:pt x="649" y="354"/>
                  </a:lnTo>
                  <a:lnTo>
                    <a:pt x="649" y="354"/>
                  </a:lnTo>
                  <a:lnTo>
                    <a:pt x="649" y="353"/>
                  </a:lnTo>
                  <a:lnTo>
                    <a:pt x="651" y="353"/>
                  </a:lnTo>
                  <a:lnTo>
                    <a:pt x="653" y="354"/>
                  </a:lnTo>
                  <a:lnTo>
                    <a:pt x="656" y="354"/>
                  </a:lnTo>
                  <a:lnTo>
                    <a:pt x="656" y="354"/>
                  </a:lnTo>
                  <a:lnTo>
                    <a:pt x="659" y="356"/>
                  </a:lnTo>
                  <a:lnTo>
                    <a:pt x="660" y="357"/>
                  </a:lnTo>
                  <a:lnTo>
                    <a:pt x="659" y="359"/>
                  </a:lnTo>
                  <a:lnTo>
                    <a:pt x="656" y="360"/>
                  </a:lnTo>
                  <a:lnTo>
                    <a:pt x="654" y="362"/>
                  </a:lnTo>
                  <a:lnTo>
                    <a:pt x="656" y="368"/>
                  </a:lnTo>
                  <a:lnTo>
                    <a:pt x="656" y="370"/>
                  </a:lnTo>
                  <a:lnTo>
                    <a:pt x="656" y="371"/>
                  </a:lnTo>
                  <a:lnTo>
                    <a:pt x="657" y="371"/>
                  </a:lnTo>
                  <a:lnTo>
                    <a:pt x="659" y="371"/>
                  </a:lnTo>
                  <a:lnTo>
                    <a:pt x="659" y="371"/>
                  </a:lnTo>
                  <a:lnTo>
                    <a:pt x="659" y="370"/>
                  </a:lnTo>
                  <a:lnTo>
                    <a:pt x="659" y="370"/>
                  </a:lnTo>
                  <a:lnTo>
                    <a:pt x="659" y="368"/>
                  </a:lnTo>
                  <a:lnTo>
                    <a:pt x="660" y="370"/>
                  </a:lnTo>
                  <a:lnTo>
                    <a:pt x="662" y="371"/>
                  </a:lnTo>
                  <a:lnTo>
                    <a:pt x="662" y="373"/>
                  </a:lnTo>
                  <a:lnTo>
                    <a:pt x="662" y="374"/>
                  </a:lnTo>
                  <a:lnTo>
                    <a:pt x="660" y="377"/>
                  </a:lnTo>
                  <a:lnTo>
                    <a:pt x="659" y="377"/>
                  </a:lnTo>
                  <a:lnTo>
                    <a:pt x="656" y="379"/>
                  </a:lnTo>
                  <a:lnTo>
                    <a:pt x="653" y="380"/>
                  </a:lnTo>
                  <a:lnTo>
                    <a:pt x="651" y="380"/>
                  </a:lnTo>
                  <a:lnTo>
                    <a:pt x="649" y="380"/>
                  </a:lnTo>
                  <a:lnTo>
                    <a:pt x="649" y="382"/>
                  </a:lnTo>
                  <a:lnTo>
                    <a:pt x="651" y="385"/>
                  </a:lnTo>
                  <a:lnTo>
                    <a:pt x="651" y="386"/>
                  </a:lnTo>
                  <a:lnTo>
                    <a:pt x="651" y="386"/>
                  </a:lnTo>
                  <a:lnTo>
                    <a:pt x="654" y="383"/>
                  </a:lnTo>
                  <a:lnTo>
                    <a:pt x="656" y="382"/>
                  </a:lnTo>
                  <a:lnTo>
                    <a:pt x="663" y="377"/>
                  </a:lnTo>
                  <a:lnTo>
                    <a:pt x="666" y="376"/>
                  </a:lnTo>
                  <a:lnTo>
                    <a:pt x="676" y="376"/>
                  </a:lnTo>
                  <a:lnTo>
                    <a:pt x="690" y="373"/>
                  </a:lnTo>
                  <a:lnTo>
                    <a:pt x="691" y="373"/>
                  </a:lnTo>
                  <a:lnTo>
                    <a:pt x="691" y="373"/>
                  </a:lnTo>
                  <a:lnTo>
                    <a:pt x="693" y="373"/>
                  </a:lnTo>
                  <a:lnTo>
                    <a:pt x="694" y="373"/>
                  </a:lnTo>
                  <a:lnTo>
                    <a:pt x="694" y="373"/>
                  </a:lnTo>
                  <a:lnTo>
                    <a:pt x="696" y="371"/>
                  </a:lnTo>
                  <a:lnTo>
                    <a:pt x="696" y="371"/>
                  </a:lnTo>
                  <a:lnTo>
                    <a:pt x="697" y="371"/>
                  </a:lnTo>
                  <a:lnTo>
                    <a:pt x="697" y="370"/>
                  </a:lnTo>
                  <a:lnTo>
                    <a:pt x="697" y="368"/>
                  </a:lnTo>
                  <a:lnTo>
                    <a:pt x="697" y="366"/>
                  </a:lnTo>
                  <a:lnTo>
                    <a:pt x="699" y="363"/>
                  </a:lnTo>
                  <a:lnTo>
                    <a:pt x="699" y="362"/>
                  </a:lnTo>
                  <a:lnTo>
                    <a:pt x="699" y="360"/>
                  </a:lnTo>
                  <a:lnTo>
                    <a:pt x="699" y="359"/>
                  </a:lnTo>
                  <a:lnTo>
                    <a:pt x="699" y="357"/>
                  </a:lnTo>
                  <a:lnTo>
                    <a:pt x="699" y="356"/>
                  </a:lnTo>
                  <a:lnTo>
                    <a:pt x="700" y="353"/>
                  </a:lnTo>
                  <a:lnTo>
                    <a:pt x="700" y="351"/>
                  </a:lnTo>
                  <a:lnTo>
                    <a:pt x="702" y="342"/>
                  </a:lnTo>
                  <a:lnTo>
                    <a:pt x="702" y="339"/>
                  </a:lnTo>
                  <a:lnTo>
                    <a:pt x="703" y="337"/>
                  </a:lnTo>
                  <a:lnTo>
                    <a:pt x="702" y="337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gray">
            <a:xfrm>
              <a:off x="8077200" y="6962776"/>
              <a:ext cx="1116013" cy="784225"/>
            </a:xfrm>
            <a:custGeom>
              <a:avLst/>
              <a:gdLst>
                <a:gd name="T0" fmla="*/ 694 w 703"/>
                <a:gd name="T1" fmla="*/ 313 h 494"/>
                <a:gd name="T2" fmla="*/ 663 w 703"/>
                <a:gd name="T3" fmla="*/ 314 h 494"/>
                <a:gd name="T4" fmla="*/ 639 w 703"/>
                <a:gd name="T5" fmla="*/ 320 h 494"/>
                <a:gd name="T6" fmla="*/ 602 w 703"/>
                <a:gd name="T7" fmla="*/ 320 h 494"/>
                <a:gd name="T8" fmla="*/ 583 w 703"/>
                <a:gd name="T9" fmla="*/ 289 h 494"/>
                <a:gd name="T10" fmla="*/ 586 w 703"/>
                <a:gd name="T11" fmla="*/ 259 h 494"/>
                <a:gd name="T12" fmla="*/ 588 w 703"/>
                <a:gd name="T13" fmla="*/ 229 h 494"/>
                <a:gd name="T14" fmla="*/ 591 w 703"/>
                <a:gd name="T15" fmla="*/ 211 h 494"/>
                <a:gd name="T16" fmla="*/ 594 w 703"/>
                <a:gd name="T17" fmla="*/ 191 h 494"/>
                <a:gd name="T18" fmla="*/ 586 w 703"/>
                <a:gd name="T19" fmla="*/ 154 h 494"/>
                <a:gd name="T20" fmla="*/ 566 w 703"/>
                <a:gd name="T21" fmla="*/ 129 h 494"/>
                <a:gd name="T22" fmla="*/ 554 w 703"/>
                <a:gd name="T23" fmla="*/ 109 h 494"/>
                <a:gd name="T24" fmla="*/ 543 w 703"/>
                <a:gd name="T25" fmla="*/ 88 h 494"/>
                <a:gd name="T26" fmla="*/ 534 w 703"/>
                <a:gd name="T27" fmla="*/ 77 h 494"/>
                <a:gd name="T28" fmla="*/ 522 w 703"/>
                <a:gd name="T29" fmla="*/ 49 h 494"/>
                <a:gd name="T30" fmla="*/ 514 w 703"/>
                <a:gd name="T31" fmla="*/ 32 h 494"/>
                <a:gd name="T32" fmla="*/ 505 w 703"/>
                <a:gd name="T33" fmla="*/ 15 h 494"/>
                <a:gd name="T34" fmla="*/ 491 w 703"/>
                <a:gd name="T35" fmla="*/ 5 h 494"/>
                <a:gd name="T36" fmla="*/ 451 w 703"/>
                <a:gd name="T37" fmla="*/ 8 h 494"/>
                <a:gd name="T38" fmla="*/ 409 w 703"/>
                <a:gd name="T39" fmla="*/ 38 h 494"/>
                <a:gd name="T40" fmla="*/ 328 w 703"/>
                <a:gd name="T41" fmla="*/ 46 h 494"/>
                <a:gd name="T42" fmla="*/ 286 w 703"/>
                <a:gd name="T43" fmla="*/ 37 h 494"/>
                <a:gd name="T44" fmla="*/ 241 w 703"/>
                <a:gd name="T45" fmla="*/ 32 h 494"/>
                <a:gd name="T46" fmla="*/ 215 w 703"/>
                <a:gd name="T47" fmla="*/ 20 h 494"/>
                <a:gd name="T48" fmla="*/ 192 w 703"/>
                <a:gd name="T49" fmla="*/ 43 h 494"/>
                <a:gd name="T50" fmla="*/ 161 w 703"/>
                <a:gd name="T51" fmla="*/ 58 h 494"/>
                <a:gd name="T52" fmla="*/ 143 w 703"/>
                <a:gd name="T53" fmla="*/ 75 h 494"/>
                <a:gd name="T54" fmla="*/ 118 w 703"/>
                <a:gd name="T55" fmla="*/ 114 h 494"/>
                <a:gd name="T56" fmla="*/ 104 w 703"/>
                <a:gd name="T57" fmla="*/ 140 h 494"/>
                <a:gd name="T58" fmla="*/ 93 w 703"/>
                <a:gd name="T59" fmla="*/ 162 h 494"/>
                <a:gd name="T60" fmla="*/ 81 w 703"/>
                <a:gd name="T61" fmla="*/ 182 h 494"/>
                <a:gd name="T62" fmla="*/ 66 w 703"/>
                <a:gd name="T63" fmla="*/ 219 h 494"/>
                <a:gd name="T64" fmla="*/ 43 w 703"/>
                <a:gd name="T65" fmla="*/ 219 h 494"/>
                <a:gd name="T66" fmla="*/ 27 w 703"/>
                <a:gd name="T67" fmla="*/ 234 h 494"/>
                <a:gd name="T68" fmla="*/ 21 w 703"/>
                <a:gd name="T69" fmla="*/ 259 h 494"/>
                <a:gd name="T70" fmla="*/ 38 w 703"/>
                <a:gd name="T71" fmla="*/ 274 h 494"/>
                <a:gd name="T72" fmla="*/ 40 w 703"/>
                <a:gd name="T73" fmla="*/ 305 h 494"/>
                <a:gd name="T74" fmla="*/ 72 w 703"/>
                <a:gd name="T75" fmla="*/ 328 h 494"/>
                <a:gd name="T76" fmla="*/ 89 w 703"/>
                <a:gd name="T77" fmla="*/ 346 h 494"/>
                <a:gd name="T78" fmla="*/ 86 w 703"/>
                <a:gd name="T79" fmla="*/ 359 h 494"/>
                <a:gd name="T80" fmla="*/ 86 w 703"/>
                <a:gd name="T81" fmla="*/ 376 h 494"/>
                <a:gd name="T82" fmla="*/ 134 w 703"/>
                <a:gd name="T83" fmla="*/ 396 h 494"/>
                <a:gd name="T84" fmla="*/ 161 w 703"/>
                <a:gd name="T85" fmla="*/ 383 h 494"/>
                <a:gd name="T86" fmla="*/ 174 w 703"/>
                <a:gd name="T87" fmla="*/ 400 h 494"/>
                <a:gd name="T88" fmla="*/ 172 w 703"/>
                <a:gd name="T89" fmla="*/ 422 h 494"/>
                <a:gd name="T90" fmla="*/ 198 w 703"/>
                <a:gd name="T91" fmla="*/ 457 h 494"/>
                <a:gd name="T92" fmla="*/ 260 w 703"/>
                <a:gd name="T93" fmla="*/ 474 h 494"/>
                <a:gd name="T94" fmla="*/ 378 w 703"/>
                <a:gd name="T95" fmla="*/ 493 h 494"/>
                <a:gd name="T96" fmla="*/ 414 w 703"/>
                <a:gd name="T97" fmla="*/ 482 h 494"/>
                <a:gd name="T98" fmla="*/ 480 w 703"/>
                <a:gd name="T99" fmla="*/ 447 h 494"/>
                <a:gd name="T100" fmla="*/ 545 w 703"/>
                <a:gd name="T101" fmla="*/ 457 h 494"/>
                <a:gd name="T102" fmla="*/ 620 w 703"/>
                <a:gd name="T103" fmla="*/ 480 h 494"/>
                <a:gd name="T104" fmla="*/ 626 w 703"/>
                <a:gd name="T105" fmla="*/ 440 h 494"/>
                <a:gd name="T106" fmla="*/ 645 w 703"/>
                <a:gd name="T107" fmla="*/ 397 h 494"/>
                <a:gd name="T108" fmla="*/ 634 w 703"/>
                <a:gd name="T109" fmla="*/ 400 h 494"/>
                <a:gd name="T110" fmla="*/ 634 w 703"/>
                <a:gd name="T111" fmla="*/ 396 h 494"/>
                <a:gd name="T112" fmla="*/ 649 w 703"/>
                <a:gd name="T113" fmla="*/ 393 h 494"/>
                <a:gd name="T114" fmla="*/ 637 w 703"/>
                <a:gd name="T115" fmla="*/ 383 h 494"/>
                <a:gd name="T116" fmla="*/ 642 w 703"/>
                <a:gd name="T117" fmla="*/ 368 h 494"/>
                <a:gd name="T118" fmla="*/ 651 w 703"/>
                <a:gd name="T119" fmla="*/ 353 h 494"/>
                <a:gd name="T120" fmla="*/ 662 w 703"/>
                <a:gd name="T121" fmla="*/ 371 h 494"/>
                <a:gd name="T122" fmla="*/ 691 w 703"/>
                <a:gd name="T123" fmla="*/ 373 h 494"/>
                <a:gd name="T124" fmla="*/ 702 w 703"/>
                <a:gd name="T125" fmla="*/ 34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3" h="494">
                  <a:moveTo>
                    <a:pt x="702" y="337"/>
                  </a:moveTo>
                  <a:lnTo>
                    <a:pt x="700" y="336"/>
                  </a:lnTo>
                  <a:lnTo>
                    <a:pt x="699" y="334"/>
                  </a:lnTo>
                  <a:lnTo>
                    <a:pt x="699" y="333"/>
                  </a:lnTo>
                  <a:lnTo>
                    <a:pt x="699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0" y="331"/>
                  </a:lnTo>
                  <a:lnTo>
                    <a:pt x="702" y="331"/>
                  </a:lnTo>
                  <a:lnTo>
                    <a:pt x="702" y="330"/>
                  </a:lnTo>
                  <a:lnTo>
                    <a:pt x="702" y="330"/>
                  </a:lnTo>
                  <a:lnTo>
                    <a:pt x="700" y="328"/>
                  </a:lnTo>
                  <a:lnTo>
                    <a:pt x="702" y="325"/>
                  </a:lnTo>
                  <a:lnTo>
                    <a:pt x="702" y="322"/>
                  </a:lnTo>
                  <a:lnTo>
                    <a:pt x="700" y="317"/>
                  </a:lnTo>
                  <a:lnTo>
                    <a:pt x="699" y="316"/>
                  </a:lnTo>
                  <a:lnTo>
                    <a:pt x="697" y="316"/>
                  </a:lnTo>
                  <a:lnTo>
                    <a:pt x="694" y="313"/>
                  </a:lnTo>
                  <a:lnTo>
                    <a:pt x="683" y="310"/>
                  </a:lnTo>
                  <a:lnTo>
                    <a:pt x="677" y="308"/>
                  </a:lnTo>
                  <a:lnTo>
                    <a:pt x="677" y="308"/>
                  </a:lnTo>
                  <a:lnTo>
                    <a:pt x="676" y="308"/>
                  </a:lnTo>
                  <a:lnTo>
                    <a:pt x="676" y="308"/>
                  </a:lnTo>
                  <a:lnTo>
                    <a:pt x="676" y="308"/>
                  </a:lnTo>
                  <a:lnTo>
                    <a:pt x="674" y="308"/>
                  </a:lnTo>
                  <a:lnTo>
                    <a:pt x="674" y="310"/>
                  </a:lnTo>
                  <a:lnTo>
                    <a:pt x="673" y="310"/>
                  </a:lnTo>
                  <a:lnTo>
                    <a:pt x="673" y="310"/>
                  </a:lnTo>
                  <a:lnTo>
                    <a:pt x="671" y="310"/>
                  </a:lnTo>
                  <a:lnTo>
                    <a:pt x="670" y="310"/>
                  </a:lnTo>
                  <a:lnTo>
                    <a:pt x="668" y="310"/>
                  </a:lnTo>
                  <a:lnTo>
                    <a:pt x="666" y="311"/>
                  </a:lnTo>
                  <a:lnTo>
                    <a:pt x="666" y="311"/>
                  </a:lnTo>
                  <a:lnTo>
                    <a:pt x="665" y="313"/>
                  </a:lnTo>
                  <a:lnTo>
                    <a:pt x="665" y="313"/>
                  </a:lnTo>
                  <a:lnTo>
                    <a:pt x="665" y="313"/>
                  </a:lnTo>
                  <a:lnTo>
                    <a:pt x="663" y="314"/>
                  </a:lnTo>
                  <a:lnTo>
                    <a:pt x="662" y="314"/>
                  </a:lnTo>
                  <a:lnTo>
                    <a:pt x="662" y="314"/>
                  </a:lnTo>
                  <a:lnTo>
                    <a:pt x="660" y="316"/>
                  </a:lnTo>
                  <a:lnTo>
                    <a:pt x="657" y="316"/>
                  </a:lnTo>
                  <a:lnTo>
                    <a:pt x="653" y="319"/>
                  </a:lnTo>
                  <a:lnTo>
                    <a:pt x="653" y="320"/>
                  </a:lnTo>
                  <a:lnTo>
                    <a:pt x="651" y="320"/>
                  </a:lnTo>
                  <a:lnTo>
                    <a:pt x="649" y="320"/>
                  </a:lnTo>
                  <a:lnTo>
                    <a:pt x="649" y="320"/>
                  </a:lnTo>
                  <a:lnTo>
                    <a:pt x="648" y="322"/>
                  </a:lnTo>
                  <a:lnTo>
                    <a:pt x="648" y="323"/>
                  </a:lnTo>
                  <a:lnTo>
                    <a:pt x="648" y="325"/>
                  </a:lnTo>
                  <a:lnTo>
                    <a:pt x="646" y="325"/>
                  </a:lnTo>
                  <a:lnTo>
                    <a:pt x="645" y="323"/>
                  </a:lnTo>
                  <a:lnTo>
                    <a:pt x="643" y="323"/>
                  </a:lnTo>
                  <a:lnTo>
                    <a:pt x="643" y="322"/>
                  </a:lnTo>
                  <a:lnTo>
                    <a:pt x="642" y="322"/>
                  </a:lnTo>
                  <a:lnTo>
                    <a:pt x="639" y="320"/>
                  </a:lnTo>
                  <a:lnTo>
                    <a:pt x="639" y="320"/>
                  </a:lnTo>
                  <a:lnTo>
                    <a:pt x="636" y="320"/>
                  </a:lnTo>
                  <a:lnTo>
                    <a:pt x="636" y="322"/>
                  </a:lnTo>
                  <a:lnTo>
                    <a:pt x="636" y="323"/>
                  </a:lnTo>
                  <a:lnTo>
                    <a:pt x="634" y="325"/>
                  </a:lnTo>
                  <a:lnTo>
                    <a:pt x="634" y="325"/>
                  </a:lnTo>
                  <a:lnTo>
                    <a:pt x="634" y="326"/>
                  </a:lnTo>
                  <a:lnTo>
                    <a:pt x="634" y="326"/>
                  </a:lnTo>
                  <a:lnTo>
                    <a:pt x="634" y="328"/>
                  </a:lnTo>
                  <a:lnTo>
                    <a:pt x="637" y="328"/>
                  </a:lnTo>
                  <a:lnTo>
                    <a:pt x="636" y="330"/>
                  </a:lnTo>
                  <a:lnTo>
                    <a:pt x="636" y="330"/>
                  </a:lnTo>
                  <a:lnTo>
                    <a:pt x="633" y="330"/>
                  </a:lnTo>
                  <a:lnTo>
                    <a:pt x="629" y="331"/>
                  </a:lnTo>
                  <a:lnTo>
                    <a:pt x="620" y="328"/>
                  </a:lnTo>
                  <a:lnTo>
                    <a:pt x="614" y="325"/>
                  </a:lnTo>
                  <a:lnTo>
                    <a:pt x="608" y="323"/>
                  </a:lnTo>
                  <a:lnTo>
                    <a:pt x="605" y="322"/>
                  </a:lnTo>
                  <a:lnTo>
                    <a:pt x="603" y="322"/>
                  </a:lnTo>
                  <a:lnTo>
                    <a:pt x="602" y="320"/>
                  </a:lnTo>
                  <a:lnTo>
                    <a:pt x="600" y="317"/>
                  </a:lnTo>
                  <a:lnTo>
                    <a:pt x="599" y="313"/>
                  </a:lnTo>
                  <a:lnTo>
                    <a:pt x="599" y="310"/>
                  </a:lnTo>
                  <a:lnTo>
                    <a:pt x="597" y="308"/>
                  </a:lnTo>
                  <a:lnTo>
                    <a:pt x="596" y="306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5"/>
                  </a:lnTo>
                  <a:lnTo>
                    <a:pt x="589" y="303"/>
                  </a:lnTo>
                  <a:lnTo>
                    <a:pt x="589" y="302"/>
                  </a:lnTo>
                  <a:lnTo>
                    <a:pt x="589" y="299"/>
                  </a:lnTo>
                  <a:lnTo>
                    <a:pt x="589" y="299"/>
                  </a:lnTo>
                  <a:lnTo>
                    <a:pt x="589" y="299"/>
                  </a:lnTo>
                  <a:lnTo>
                    <a:pt x="589" y="297"/>
                  </a:lnTo>
                  <a:lnTo>
                    <a:pt x="588" y="296"/>
                  </a:lnTo>
                  <a:lnTo>
                    <a:pt x="586" y="294"/>
                  </a:lnTo>
                  <a:lnTo>
                    <a:pt x="582" y="291"/>
                  </a:lnTo>
                  <a:lnTo>
                    <a:pt x="583" y="291"/>
                  </a:lnTo>
                  <a:lnTo>
                    <a:pt x="583" y="289"/>
                  </a:lnTo>
                  <a:lnTo>
                    <a:pt x="585" y="288"/>
                  </a:lnTo>
                  <a:lnTo>
                    <a:pt x="586" y="288"/>
                  </a:lnTo>
                  <a:lnTo>
                    <a:pt x="588" y="288"/>
                  </a:lnTo>
                  <a:lnTo>
                    <a:pt x="589" y="288"/>
                  </a:lnTo>
                  <a:lnTo>
                    <a:pt x="589" y="286"/>
                  </a:lnTo>
                  <a:lnTo>
                    <a:pt x="589" y="285"/>
                  </a:lnTo>
                  <a:lnTo>
                    <a:pt x="589" y="274"/>
                  </a:lnTo>
                  <a:lnTo>
                    <a:pt x="588" y="273"/>
                  </a:lnTo>
                  <a:lnTo>
                    <a:pt x="586" y="271"/>
                  </a:lnTo>
                  <a:lnTo>
                    <a:pt x="586" y="266"/>
                  </a:lnTo>
                  <a:lnTo>
                    <a:pt x="585" y="263"/>
                  </a:lnTo>
                  <a:lnTo>
                    <a:pt x="586" y="263"/>
                  </a:lnTo>
                  <a:lnTo>
                    <a:pt x="586" y="263"/>
                  </a:lnTo>
                  <a:lnTo>
                    <a:pt x="586" y="262"/>
                  </a:lnTo>
                  <a:lnTo>
                    <a:pt x="586" y="262"/>
                  </a:lnTo>
                  <a:lnTo>
                    <a:pt x="586" y="260"/>
                  </a:lnTo>
                  <a:lnTo>
                    <a:pt x="586" y="260"/>
                  </a:lnTo>
                  <a:lnTo>
                    <a:pt x="586" y="259"/>
                  </a:lnTo>
                  <a:lnTo>
                    <a:pt x="586" y="259"/>
                  </a:lnTo>
                  <a:lnTo>
                    <a:pt x="586" y="257"/>
                  </a:lnTo>
                  <a:lnTo>
                    <a:pt x="586" y="256"/>
                  </a:lnTo>
                  <a:lnTo>
                    <a:pt x="586" y="256"/>
                  </a:lnTo>
                  <a:lnTo>
                    <a:pt x="585" y="256"/>
                  </a:lnTo>
                  <a:lnTo>
                    <a:pt x="585" y="254"/>
                  </a:lnTo>
                  <a:lnTo>
                    <a:pt x="583" y="248"/>
                  </a:lnTo>
                  <a:lnTo>
                    <a:pt x="583" y="246"/>
                  </a:lnTo>
                  <a:lnTo>
                    <a:pt x="583" y="246"/>
                  </a:lnTo>
                  <a:lnTo>
                    <a:pt x="585" y="242"/>
                  </a:lnTo>
                  <a:lnTo>
                    <a:pt x="585" y="242"/>
                  </a:lnTo>
                  <a:lnTo>
                    <a:pt x="583" y="242"/>
                  </a:lnTo>
                  <a:lnTo>
                    <a:pt x="583" y="240"/>
                  </a:lnTo>
                  <a:lnTo>
                    <a:pt x="585" y="240"/>
                  </a:lnTo>
                  <a:lnTo>
                    <a:pt x="585" y="240"/>
                  </a:lnTo>
                  <a:lnTo>
                    <a:pt x="585" y="239"/>
                  </a:lnTo>
                  <a:lnTo>
                    <a:pt x="585" y="237"/>
                  </a:lnTo>
                  <a:lnTo>
                    <a:pt x="586" y="234"/>
                  </a:lnTo>
                  <a:lnTo>
                    <a:pt x="586" y="231"/>
                  </a:lnTo>
                  <a:lnTo>
                    <a:pt x="588" y="229"/>
                  </a:lnTo>
                  <a:lnTo>
                    <a:pt x="588" y="228"/>
                  </a:lnTo>
                  <a:lnTo>
                    <a:pt x="588" y="228"/>
                  </a:lnTo>
                  <a:lnTo>
                    <a:pt x="586" y="226"/>
                  </a:lnTo>
                  <a:lnTo>
                    <a:pt x="585" y="225"/>
                  </a:lnTo>
                  <a:lnTo>
                    <a:pt x="585" y="223"/>
                  </a:lnTo>
                  <a:lnTo>
                    <a:pt x="586" y="223"/>
                  </a:lnTo>
                  <a:lnTo>
                    <a:pt x="586" y="223"/>
                  </a:lnTo>
                  <a:lnTo>
                    <a:pt x="588" y="222"/>
                  </a:lnTo>
                  <a:lnTo>
                    <a:pt x="586" y="220"/>
                  </a:lnTo>
                  <a:lnTo>
                    <a:pt x="588" y="220"/>
                  </a:lnTo>
                  <a:lnTo>
                    <a:pt x="588" y="219"/>
                  </a:lnTo>
                  <a:lnTo>
                    <a:pt x="589" y="219"/>
                  </a:lnTo>
                  <a:lnTo>
                    <a:pt x="589" y="219"/>
                  </a:lnTo>
                  <a:lnTo>
                    <a:pt x="591" y="217"/>
                  </a:lnTo>
                  <a:lnTo>
                    <a:pt x="591" y="216"/>
                  </a:lnTo>
                  <a:lnTo>
                    <a:pt x="591" y="216"/>
                  </a:lnTo>
                  <a:lnTo>
                    <a:pt x="591" y="214"/>
                  </a:lnTo>
                  <a:lnTo>
                    <a:pt x="591" y="211"/>
                  </a:lnTo>
                  <a:lnTo>
                    <a:pt x="591" y="211"/>
                  </a:lnTo>
                  <a:lnTo>
                    <a:pt x="592" y="211"/>
                  </a:lnTo>
                  <a:lnTo>
                    <a:pt x="592" y="209"/>
                  </a:lnTo>
                  <a:lnTo>
                    <a:pt x="592" y="206"/>
                  </a:lnTo>
                  <a:lnTo>
                    <a:pt x="594" y="206"/>
                  </a:lnTo>
                  <a:lnTo>
                    <a:pt x="594" y="206"/>
                  </a:lnTo>
                  <a:lnTo>
                    <a:pt x="594" y="206"/>
                  </a:lnTo>
                  <a:lnTo>
                    <a:pt x="594" y="205"/>
                  </a:lnTo>
                  <a:lnTo>
                    <a:pt x="594" y="203"/>
                  </a:lnTo>
                  <a:lnTo>
                    <a:pt x="596" y="203"/>
                  </a:lnTo>
                  <a:lnTo>
                    <a:pt x="596" y="203"/>
                  </a:lnTo>
                  <a:lnTo>
                    <a:pt x="596" y="202"/>
                  </a:lnTo>
                  <a:lnTo>
                    <a:pt x="596" y="199"/>
                  </a:lnTo>
                  <a:lnTo>
                    <a:pt x="596" y="197"/>
                  </a:lnTo>
                  <a:lnTo>
                    <a:pt x="596" y="197"/>
                  </a:lnTo>
                  <a:lnTo>
                    <a:pt x="596" y="197"/>
                  </a:lnTo>
                  <a:lnTo>
                    <a:pt x="594" y="197"/>
                  </a:lnTo>
                  <a:lnTo>
                    <a:pt x="594" y="196"/>
                  </a:lnTo>
                  <a:lnTo>
                    <a:pt x="594" y="194"/>
                  </a:lnTo>
                  <a:lnTo>
                    <a:pt x="594" y="191"/>
                  </a:lnTo>
                  <a:lnTo>
                    <a:pt x="594" y="189"/>
                  </a:lnTo>
                  <a:lnTo>
                    <a:pt x="594" y="189"/>
                  </a:lnTo>
                  <a:lnTo>
                    <a:pt x="594" y="188"/>
                  </a:lnTo>
                  <a:lnTo>
                    <a:pt x="594" y="186"/>
                  </a:lnTo>
                  <a:lnTo>
                    <a:pt x="596" y="185"/>
                  </a:lnTo>
                  <a:lnTo>
                    <a:pt x="596" y="183"/>
                  </a:lnTo>
                  <a:lnTo>
                    <a:pt x="596" y="182"/>
                  </a:lnTo>
                  <a:lnTo>
                    <a:pt x="596" y="180"/>
                  </a:lnTo>
                  <a:lnTo>
                    <a:pt x="596" y="180"/>
                  </a:lnTo>
                  <a:lnTo>
                    <a:pt x="594" y="177"/>
                  </a:lnTo>
                  <a:lnTo>
                    <a:pt x="591" y="169"/>
                  </a:lnTo>
                  <a:lnTo>
                    <a:pt x="591" y="166"/>
                  </a:lnTo>
                  <a:lnTo>
                    <a:pt x="588" y="162"/>
                  </a:lnTo>
                  <a:lnTo>
                    <a:pt x="586" y="159"/>
                  </a:lnTo>
                  <a:lnTo>
                    <a:pt x="586" y="157"/>
                  </a:lnTo>
                  <a:lnTo>
                    <a:pt x="586" y="157"/>
                  </a:lnTo>
                  <a:lnTo>
                    <a:pt x="586" y="156"/>
                  </a:lnTo>
                  <a:lnTo>
                    <a:pt x="586" y="154"/>
                  </a:lnTo>
                  <a:lnTo>
                    <a:pt x="586" y="154"/>
                  </a:lnTo>
                  <a:lnTo>
                    <a:pt x="586" y="152"/>
                  </a:lnTo>
                  <a:lnTo>
                    <a:pt x="585" y="151"/>
                  </a:lnTo>
                  <a:lnTo>
                    <a:pt x="585" y="149"/>
                  </a:lnTo>
                  <a:lnTo>
                    <a:pt x="585" y="149"/>
                  </a:lnTo>
                  <a:lnTo>
                    <a:pt x="585" y="148"/>
                  </a:lnTo>
                  <a:lnTo>
                    <a:pt x="583" y="143"/>
                  </a:lnTo>
                  <a:lnTo>
                    <a:pt x="582" y="142"/>
                  </a:lnTo>
                  <a:lnTo>
                    <a:pt x="580" y="139"/>
                  </a:lnTo>
                  <a:lnTo>
                    <a:pt x="580" y="139"/>
                  </a:lnTo>
                  <a:lnTo>
                    <a:pt x="579" y="137"/>
                  </a:lnTo>
                  <a:lnTo>
                    <a:pt x="577" y="137"/>
                  </a:lnTo>
                  <a:lnTo>
                    <a:pt x="576" y="137"/>
                  </a:lnTo>
                  <a:lnTo>
                    <a:pt x="574" y="135"/>
                  </a:lnTo>
                  <a:lnTo>
                    <a:pt x="572" y="135"/>
                  </a:lnTo>
                  <a:lnTo>
                    <a:pt x="572" y="134"/>
                  </a:lnTo>
                  <a:lnTo>
                    <a:pt x="571" y="132"/>
                  </a:lnTo>
                  <a:lnTo>
                    <a:pt x="569" y="132"/>
                  </a:lnTo>
                  <a:lnTo>
                    <a:pt x="568" y="129"/>
                  </a:lnTo>
                  <a:lnTo>
                    <a:pt x="566" y="129"/>
                  </a:lnTo>
                  <a:lnTo>
                    <a:pt x="566" y="128"/>
                  </a:lnTo>
                  <a:lnTo>
                    <a:pt x="566" y="128"/>
                  </a:lnTo>
                  <a:lnTo>
                    <a:pt x="566" y="128"/>
                  </a:lnTo>
                  <a:lnTo>
                    <a:pt x="566" y="126"/>
                  </a:lnTo>
                  <a:lnTo>
                    <a:pt x="563" y="125"/>
                  </a:lnTo>
                  <a:lnTo>
                    <a:pt x="562" y="123"/>
                  </a:lnTo>
                  <a:lnTo>
                    <a:pt x="563" y="123"/>
                  </a:lnTo>
                  <a:lnTo>
                    <a:pt x="563" y="123"/>
                  </a:lnTo>
                  <a:lnTo>
                    <a:pt x="563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19"/>
                  </a:lnTo>
                  <a:lnTo>
                    <a:pt x="560" y="115"/>
                  </a:lnTo>
                  <a:lnTo>
                    <a:pt x="559" y="114"/>
                  </a:lnTo>
                  <a:lnTo>
                    <a:pt x="559" y="114"/>
                  </a:lnTo>
                  <a:lnTo>
                    <a:pt x="557" y="111"/>
                  </a:lnTo>
                  <a:lnTo>
                    <a:pt x="557" y="109"/>
                  </a:lnTo>
                  <a:lnTo>
                    <a:pt x="554" y="109"/>
                  </a:lnTo>
                  <a:lnTo>
                    <a:pt x="554" y="109"/>
                  </a:lnTo>
                  <a:lnTo>
                    <a:pt x="554" y="108"/>
                  </a:lnTo>
                  <a:lnTo>
                    <a:pt x="552" y="108"/>
                  </a:lnTo>
                  <a:lnTo>
                    <a:pt x="551" y="108"/>
                  </a:lnTo>
                  <a:lnTo>
                    <a:pt x="551" y="108"/>
                  </a:lnTo>
                  <a:lnTo>
                    <a:pt x="549" y="106"/>
                  </a:lnTo>
                  <a:lnTo>
                    <a:pt x="548" y="102"/>
                  </a:lnTo>
                  <a:lnTo>
                    <a:pt x="546" y="100"/>
                  </a:lnTo>
                  <a:lnTo>
                    <a:pt x="546" y="100"/>
                  </a:lnTo>
                  <a:lnTo>
                    <a:pt x="545" y="100"/>
                  </a:lnTo>
                  <a:lnTo>
                    <a:pt x="546" y="97"/>
                  </a:lnTo>
                  <a:lnTo>
                    <a:pt x="545" y="95"/>
                  </a:lnTo>
                  <a:lnTo>
                    <a:pt x="545" y="94"/>
                  </a:lnTo>
                  <a:lnTo>
                    <a:pt x="545" y="92"/>
                  </a:lnTo>
                  <a:lnTo>
                    <a:pt x="546" y="92"/>
                  </a:lnTo>
                  <a:lnTo>
                    <a:pt x="546" y="91"/>
                  </a:lnTo>
                  <a:lnTo>
                    <a:pt x="546" y="91"/>
                  </a:lnTo>
                  <a:lnTo>
                    <a:pt x="545" y="89"/>
                  </a:lnTo>
                  <a:lnTo>
                    <a:pt x="543" y="89"/>
                  </a:lnTo>
                  <a:lnTo>
                    <a:pt x="543" y="88"/>
                  </a:lnTo>
                  <a:lnTo>
                    <a:pt x="542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40" y="88"/>
                  </a:lnTo>
                  <a:lnTo>
                    <a:pt x="539" y="88"/>
                  </a:lnTo>
                  <a:lnTo>
                    <a:pt x="539" y="86"/>
                  </a:lnTo>
                  <a:lnTo>
                    <a:pt x="537" y="85"/>
                  </a:lnTo>
                  <a:lnTo>
                    <a:pt x="537" y="82"/>
                  </a:lnTo>
                  <a:lnTo>
                    <a:pt x="537" y="82"/>
                  </a:lnTo>
                  <a:lnTo>
                    <a:pt x="536" y="82"/>
                  </a:lnTo>
                  <a:lnTo>
                    <a:pt x="536" y="82"/>
                  </a:lnTo>
                  <a:lnTo>
                    <a:pt x="536" y="82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79"/>
                  </a:lnTo>
                  <a:lnTo>
                    <a:pt x="534" y="77"/>
                  </a:lnTo>
                  <a:lnTo>
                    <a:pt x="534" y="77"/>
                  </a:lnTo>
                  <a:lnTo>
                    <a:pt x="532" y="75"/>
                  </a:lnTo>
                  <a:lnTo>
                    <a:pt x="531" y="74"/>
                  </a:lnTo>
                  <a:lnTo>
                    <a:pt x="525" y="68"/>
                  </a:lnTo>
                  <a:lnTo>
                    <a:pt x="523" y="65"/>
                  </a:lnTo>
                  <a:lnTo>
                    <a:pt x="523" y="62"/>
                  </a:lnTo>
                  <a:lnTo>
                    <a:pt x="525" y="62"/>
                  </a:lnTo>
                  <a:lnTo>
                    <a:pt x="525" y="62"/>
                  </a:lnTo>
                  <a:lnTo>
                    <a:pt x="525" y="60"/>
                  </a:lnTo>
                  <a:lnTo>
                    <a:pt x="525" y="60"/>
                  </a:lnTo>
                  <a:lnTo>
                    <a:pt x="525" y="58"/>
                  </a:lnTo>
                  <a:lnTo>
                    <a:pt x="525" y="58"/>
                  </a:lnTo>
                  <a:lnTo>
                    <a:pt x="523" y="58"/>
                  </a:lnTo>
                  <a:lnTo>
                    <a:pt x="523" y="57"/>
                  </a:lnTo>
                  <a:lnTo>
                    <a:pt x="522" y="57"/>
                  </a:lnTo>
                  <a:lnTo>
                    <a:pt x="522" y="55"/>
                  </a:lnTo>
                  <a:lnTo>
                    <a:pt x="522" y="54"/>
                  </a:lnTo>
                  <a:lnTo>
                    <a:pt x="520" y="52"/>
                  </a:lnTo>
                  <a:lnTo>
                    <a:pt x="519" y="51"/>
                  </a:lnTo>
                  <a:lnTo>
                    <a:pt x="522" y="49"/>
                  </a:lnTo>
                  <a:lnTo>
                    <a:pt x="522" y="49"/>
                  </a:lnTo>
                  <a:lnTo>
                    <a:pt x="520" y="48"/>
                  </a:lnTo>
                  <a:lnTo>
                    <a:pt x="519" y="48"/>
                  </a:lnTo>
                  <a:lnTo>
                    <a:pt x="519" y="48"/>
                  </a:lnTo>
                  <a:lnTo>
                    <a:pt x="519" y="46"/>
                  </a:lnTo>
                  <a:lnTo>
                    <a:pt x="519" y="43"/>
                  </a:lnTo>
                  <a:lnTo>
                    <a:pt x="519" y="43"/>
                  </a:lnTo>
                  <a:lnTo>
                    <a:pt x="517" y="42"/>
                  </a:lnTo>
                  <a:lnTo>
                    <a:pt x="515" y="40"/>
                  </a:lnTo>
                  <a:lnTo>
                    <a:pt x="514" y="40"/>
                  </a:lnTo>
                  <a:lnTo>
                    <a:pt x="515" y="37"/>
                  </a:lnTo>
                  <a:lnTo>
                    <a:pt x="515" y="37"/>
                  </a:lnTo>
                  <a:lnTo>
                    <a:pt x="515" y="37"/>
                  </a:lnTo>
                  <a:lnTo>
                    <a:pt x="514" y="35"/>
                  </a:lnTo>
                  <a:lnTo>
                    <a:pt x="515" y="35"/>
                  </a:lnTo>
                  <a:lnTo>
                    <a:pt x="515" y="34"/>
                  </a:lnTo>
                  <a:lnTo>
                    <a:pt x="515" y="32"/>
                  </a:lnTo>
                  <a:lnTo>
                    <a:pt x="514" y="32"/>
                  </a:lnTo>
                  <a:lnTo>
                    <a:pt x="514" y="32"/>
                  </a:lnTo>
                  <a:lnTo>
                    <a:pt x="512" y="31"/>
                  </a:lnTo>
                  <a:lnTo>
                    <a:pt x="512" y="29"/>
                  </a:lnTo>
                  <a:lnTo>
                    <a:pt x="509" y="31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09" y="29"/>
                  </a:lnTo>
                  <a:lnTo>
                    <a:pt x="511" y="28"/>
                  </a:lnTo>
                  <a:lnTo>
                    <a:pt x="511" y="28"/>
                  </a:lnTo>
                  <a:lnTo>
                    <a:pt x="509" y="26"/>
                  </a:lnTo>
                  <a:lnTo>
                    <a:pt x="508" y="25"/>
                  </a:lnTo>
                  <a:lnTo>
                    <a:pt x="506" y="22"/>
                  </a:lnTo>
                  <a:lnTo>
                    <a:pt x="505" y="20"/>
                  </a:lnTo>
                  <a:lnTo>
                    <a:pt x="506" y="18"/>
                  </a:lnTo>
                  <a:lnTo>
                    <a:pt x="506" y="18"/>
                  </a:lnTo>
                  <a:lnTo>
                    <a:pt x="506" y="17"/>
                  </a:lnTo>
                  <a:lnTo>
                    <a:pt x="506" y="17"/>
                  </a:lnTo>
                  <a:lnTo>
                    <a:pt x="506" y="17"/>
                  </a:lnTo>
                  <a:lnTo>
                    <a:pt x="505" y="15"/>
                  </a:lnTo>
                  <a:lnTo>
                    <a:pt x="505" y="15"/>
                  </a:lnTo>
                  <a:lnTo>
                    <a:pt x="503" y="17"/>
                  </a:lnTo>
                  <a:lnTo>
                    <a:pt x="502" y="15"/>
                  </a:lnTo>
                  <a:lnTo>
                    <a:pt x="500" y="15"/>
                  </a:lnTo>
                  <a:lnTo>
                    <a:pt x="500" y="14"/>
                  </a:lnTo>
                  <a:lnTo>
                    <a:pt x="502" y="14"/>
                  </a:lnTo>
                  <a:lnTo>
                    <a:pt x="503" y="14"/>
                  </a:lnTo>
                  <a:lnTo>
                    <a:pt x="503" y="12"/>
                  </a:lnTo>
                  <a:lnTo>
                    <a:pt x="500" y="11"/>
                  </a:lnTo>
                  <a:lnTo>
                    <a:pt x="500" y="11"/>
                  </a:lnTo>
                  <a:lnTo>
                    <a:pt x="499" y="9"/>
                  </a:lnTo>
                  <a:lnTo>
                    <a:pt x="499" y="8"/>
                  </a:lnTo>
                  <a:lnTo>
                    <a:pt x="497" y="9"/>
                  </a:lnTo>
                  <a:lnTo>
                    <a:pt x="497" y="9"/>
                  </a:lnTo>
                  <a:lnTo>
                    <a:pt x="495" y="11"/>
                  </a:lnTo>
                  <a:lnTo>
                    <a:pt x="495" y="8"/>
                  </a:lnTo>
                  <a:lnTo>
                    <a:pt x="495" y="8"/>
                  </a:lnTo>
                  <a:lnTo>
                    <a:pt x="492" y="5"/>
                  </a:lnTo>
                  <a:lnTo>
                    <a:pt x="491" y="5"/>
                  </a:lnTo>
                  <a:lnTo>
                    <a:pt x="489" y="3"/>
                  </a:lnTo>
                  <a:lnTo>
                    <a:pt x="488" y="2"/>
                  </a:lnTo>
                  <a:lnTo>
                    <a:pt x="485" y="3"/>
                  </a:lnTo>
                  <a:lnTo>
                    <a:pt x="483" y="3"/>
                  </a:lnTo>
                  <a:lnTo>
                    <a:pt x="483" y="0"/>
                  </a:lnTo>
                  <a:lnTo>
                    <a:pt x="482" y="2"/>
                  </a:lnTo>
                  <a:lnTo>
                    <a:pt x="482" y="2"/>
                  </a:lnTo>
                  <a:lnTo>
                    <a:pt x="480" y="0"/>
                  </a:lnTo>
                  <a:lnTo>
                    <a:pt x="479" y="0"/>
                  </a:lnTo>
                  <a:lnTo>
                    <a:pt x="474" y="2"/>
                  </a:lnTo>
                  <a:lnTo>
                    <a:pt x="472" y="3"/>
                  </a:lnTo>
                  <a:lnTo>
                    <a:pt x="463" y="5"/>
                  </a:lnTo>
                  <a:lnTo>
                    <a:pt x="462" y="6"/>
                  </a:lnTo>
                  <a:lnTo>
                    <a:pt x="459" y="6"/>
                  </a:lnTo>
                  <a:lnTo>
                    <a:pt x="457" y="6"/>
                  </a:lnTo>
                  <a:lnTo>
                    <a:pt x="454" y="8"/>
                  </a:lnTo>
                  <a:lnTo>
                    <a:pt x="452" y="8"/>
                  </a:lnTo>
                  <a:lnTo>
                    <a:pt x="451" y="8"/>
                  </a:lnTo>
                  <a:lnTo>
                    <a:pt x="451" y="8"/>
                  </a:lnTo>
                  <a:lnTo>
                    <a:pt x="451" y="11"/>
                  </a:lnTo>
                  <a:lnTo>
                    <a:pt x="451" y="14"/>
                  </a:lnTo>
                  <a:lnTo>
                    <a:pt x="449" y="17"/>
                  </a:lnTo>
                  <a:lnTo>
                    <a:pt x="448" y="20"/>
                  </a:lnTo>
                  <a:lnTo>
                    <a:pt x="448" y="23"/>
                  </a:lnTo>
                  <a:lnTo>
                    <a:pt x="446" y="23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442" y="31"/>
                  </a:lnTo>
                  <a:lnTo>
                    <a:pt x="442" y="31"/>
                  </a:lnTo>
                  <a:lnTo>
                    <a:pt x="437" y="34"/>
                  </a:lnTo>
                  <a:lnTo>
                    <a:pt x="435" y="34"/>
                  </a:lnTo>
                  <a:lnTo>
                    <a:pt x="431" y="34"/>
                  </a:lnTo>
                  <a:lnTo>
                    <a:pt x="426" y="35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18" y="35"/>
                  </a:lnTo>
                  <a:lnTo>
                    <a:pt x="415" y="35"/>
                  </a:lnTo>
                  <a:lnTo>
                    <a:pt x="409" y="38"/>
                  </a:lnTo>
                  <a:lnTo>
                    <a:pt x="374" y="42"/>
                  </a:lnTo>
                  <a:lnTo>
                    <a:pt x="371" y="45"/>
                  </a:lnTo>
                  <a:lnTo>
                    <a:pt x="363" y="57"/>
                  </a:lnTo>
                  <a:lnTo>
                    <a:pt x="360" y="58"/>
                  </a:lnTo>
                  <a:lnTo>
                    <a:pt x="360" y="58"/>
                  </a:lnTo>
                  <a:lnTo>
                    <a:pt x="360" y="58"/>
                  </a:lnTo>
                  <a:lnTo>
                    <a:pt x="355" y="62"/>
                  </a:lnTo>
                  <a:lnTo>
                    <a:pt x="349" y="62"/>
                  </a:lnTo>
                  <a:lnTo>
                    <a:pt x="349" y="63"/>
                  </a:lnTo>
                  <a:lnTo>
                    <a:pt x="346" y="63"/>
                  </a:lnTo>
                  <a:lnTo>
                    <a:pt x="345" y="62"/>
                  </a:lnTo>
                  <a:lnTo>
                    <a:pt x="343" y="58"/>
                  </a:lnTo>
                  <a:lnTo>
                    <a:pt x="340" y="55"/>
                  </a:lnTo>
                  <a:lnTo>
                    <a:pt x="340" y="54"/>
                  </a:lnTo>
                  <a:lnTo>
                    <a:pt x="338" y="52"/>
                  </a:lnTo>
                  <a:lnTo>
                    <a:pt x="332" y="51"/>
                  </a:lnTo>
                  <a:lnTo>
                    <a:pt x="331" y="48"/>
                  </a:lnTo>
                  <a:lnTo>
                    <a:pt x="329" y="48"/>
                  </a:lnTo>
                  <a:lnTo>
                    <a:pt x="328" y="46"/>
                  </a:lnTo>
                  <a:lnTo>
                    <a:pt x="328" y="45"/>
                  </a:lnTo>
                  <a:lnTo>
                    <a:pt x="328" y="43"/>
                  </a:lnTo>
                  <a:lnTo>
                    <a:pt x="326" y="42"/>
                  </a:lnTo>
                  <a:lnTo>
                    <a:pt x="325" y="40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15" y="37"/>
                  </a:lnTo>
                  <a:lnTo>
                    <a:pt x="311" y="35"/>
                  </a:lnTo>
                  <a:lnTo>
                    <a:pt x="309" y="35"/>
                  </a:lnTo>
                  <a:lnTo>
                    <a:pt x="308" y="37"/>
                  </a:lnTo>
                  <a:lnTo>
                    <a:pt x="304" y="40"/>
                  </a:lnTo>
                  <a:lnTo>
                    <a:pt x="301" y="40"/>
                  </a:lnTo>
                  <a:lnTo>
                    <a:pt x="297" y="42"/>
                  </a:lnTo>
                  <a:lnTo>
                    <a:pt x="295" y="42"/>
                  </a:lnTo>
                  <a:lnTo>
                    <a:pt x="291" y="40"/>
                  </a:lnTo>
                  <a:lnTo>
                    <a:pt x="291" y="40"/>
                  </a:lnTo>
                  <a:lnTo>
                    <a:pt x="289" y="40"/>
                  </a:lnTo>
                  <a:lnTo>
                    <a:pt x="286" y="37"/>
                  </a:lnTo>
                  <a:lnTo>
                    <a:pt x="284" y="37"/>
                  </a:lnTo>
                  <a:lnTo>
                    <a:pt x="281" y="35"/>
                  </a:lnTo>
                  <a:lnTo>
                    <a:pt x="280" y="35"/>
                  </a:lnTo>
                  <a:lnTo>
                    <a:pt x="278" y="35"/>
                  </a:lnTo>
                  <a:lnTo>
                    <a:pt x="271" y="38"/>
                  </a:lnTo>
                  <a:lnTo>
                    <a:pt x="269" y="38"/>
                  </a:lnTo>
                  <a:lnTo>
                    <a:pt x="268" y="37"/>
                  </a:lnTo>
                  <a:lnTo>
                    <a:pt x="264" y="32"/>
                  </a:lnTo>
                  <a:lnTo>
                    <a:pt x="263" y="32"/>
                  </a:lnTo>
                  <a:lnTo>
                    <a:pt x="258" y="32"/>
                  </a:lnTo>
                  <a:lnTo>
                    <a:pt x="257" y="32"/>
                  </a:lnTo>
                  <a:lnTo>
                    <a:pt x="254" y="31"/>
                  </a:lnTo>
                  <a:lnTo>
                    <a:pt x="247" y="31"/>
                  </a:lnTo>
                  <a:lnTo>
                    <a:pt x="247" y="31"/>
                  </a:lnTo>
                  <a:lnTo>
                    <a:pt x="244" y="31"/>
                  </a:lnTo>
                  <a:lnTo>
                    <a:pt x="243" y="31"/>
                  </a:lnTo>
                  <a:lnTo>
                    <a:pt x="243" y="32"/>
                  </a:lnTo>
                  <a:lnTo>
                    <a:pt x="243" y="32"/>
                  </a:lnTo>
                  <a:lnTo>
                    <a:pt x="241" y="32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35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1"/>
                  </a:lnTo>
                  <a:lnTo>
                    <a:pt x="231" y="29"/>
                  </a:lnTo>
                  <a:lnTo>
                    <a:pt x="226" y="26"/>
                  </a:lnTo>
                  <a:lnTo>
                    <a:pt x="223" y="23"/>
                  </a:lnTo>
                  <a:lnTo>
                    <a:pt x="223" y="22"/>
                  </a:lnTo>
                  <a:lnTo>
                    <a:pt x="217" y="20"/>
                  </a:lnTo>
                  <a:lnTo>
                    <a:pt x="215" y="20"/>
                  </a:lnTo>
                  <a:lnTo>
                    <a:pt x="214" y="20"/>
                  </a:lnTo>
                  <a:lnTo>
                    <a:pt x="212" y="23"/>
                  </a:lnTo>
                  <a:lnTo>
                    <a:pt x="211" y="28"/>
                  </a:lnTo>
                  <a:lnTo>
                    <a:pt x="209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3" y="32"/>
                  </a:lnTo>
                  <a:lnTo>
                    <a:pt x="201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198" y="31"/>
                  </a:lnTo>
                  <a:lnTo>
                    <a:pt x="200" y="34"/>
                  </a:lnTo>
                  <a:lnTo>
                    <a:pt x="198" y="35"/>
                  </a:lnTo>
                  <a:lnTo>
                    <a:pt x="197" y="37"/>
                  </a:lnTo>
                  <a:lnTo>
                    <a:pt x="195" y="37"/>
                  </a:lnTo>
                  <a:lnTo>
                    <a:pt x="195" y="38"/>
                  </a:lnTo>
                  <a:lnTo>
                    <a:pt x="192" y="42"/>
                  </a:lnTo>
                  <a:lnTo>
                    <a:pt x="192" y="43"/>
                  </a:lnTo>
                  <a:lnTo>
                    <a:pt x="189" y="43"/>
                  </a:lnTo>
                  <a:lnTo>
                    <a:pt x="187" y="45"/>
                  </a:lnTo>
                  <a:lnTo>
                    <a:pt x="186" y="46"/>
                  </a:lnTo>
                  <a:lnTo>
                    <a:pt x="186" y="48"/>
                  </a:lnTo>
                  <a:lnTo>
                    <a:pt x="187" y="48"/>
                  </a:lnTo>
                  <a:lnTo>
                    <a:pt x="187" y="49"/>
                  </a:lnTo>
                  <a:lnTo>
                    <a:pt x="186" y="49"/>
                  </a:lnTo>
                  <a:lnTo>
                    <a:pt x="186" y="51"/>
                  </a:lnTo>
                  <a:lnTo>
                    <a:pt x="184" y="51"/>
                  </a:lnTo>
                  <a:lnTo>
                    <a:pt x="183" y="51"/>
                  </a:lnTo>
                  <a:lnTo>
                    <a:pt x="181" y="52"/>
                  </a:lnTo>
                  <a:lnTo>
                    <a:pt x="180" y="54"/>
                  </a:lnTo>
                  <a:lnTo>
                    <a:pt x="178" y="55"/>
                  </a:lnTo>
                  <a:lnTo>
                    <a:pt x="175" y="57"/>
                  </a:lnTo>
                  <a:lnTo>
                    <a:pt x="172" y="57"/>
                  </a:lnTo>
                  <a:lnTo>
                    <a:pt x="170" y="57"/>
                  </a:lnTo>
                  <a:lnTo>
                    <a:pt x="164" y="54"/>
                  </a:lnTo>
                  <a:lnTo>
                    <a:pt x="163" y="55"/>
                  </a:lnTo>
                  <a:lnTo>
                    <a:pt x="161" y="58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58" y="60"/>
                  </a:lnTo>
                  <a:lnTo>
                    <a:pt x="155" y="60"/>
                  </a:lnTo>
                  <a:lnTo>
                    <a:pt x="154" y="60"/>
                  </a:lnTo>
                  <a:lnTo>
                    <a:pt x="152" y="60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49" y="65"/>
                  </a:lnTo>
                  <a:lnTo>
                    <a:pt x="147" y="65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6" y="69"/>
                  </a:lnTo>
                  <a:lnTo>
                    <a:pt x="146" y="71"/>
                  </a:lnTo>
                  <a:lnTo>
                    <a:pt x="143" y="74"/>
                  </a:lnTo>
                  <a:lnTo>
                    <a:pt x="143" y="74"/>
                  </a:lnTo>
                  <a:lnTo>
                    <a:pt x="143" y="75"/>
                  </a:lnTo>
                  <a:lnTo>
                    <a:pt x="143" y="75"/>
                  </a:lnTo>
                  <a:lnTo>
                    <a:pt x="143" y="75"/>
                  </a:lnTo>
                  <a:lnTo>
                    <a:pt x="143" y="77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38" y="79"/>
                  </a:lnTo>
                  <a:lnTo>
                    <a:pt x="134" y="82"/>
                  </a:lnTo>
                  <a:lnTo>
                    <a:pt x="130" y="85"/>
                  </a:lnTo>
                  <a:lnTo>
                    <a:pt x="130" y="86"/>
                  </a:lnTo>
                  <a:lnTo>
                    <a:pt x="130" y="91"/>
                  </a:lnTo>
                  <a:lnTo>
                    <a:pt x="130" y="94"/>
                  </a:lnTo>
                  <a:lnTo>
                    <a:pt x="130" y="97"/>
                  </a:lnTo>
                  <a:lnTo>
                    <a:pt x="129" y="100"/>
                  </a:lnTo>
                  <a:lnTo>
                    <a:pt x="126" y="102"/>
                  </a:lnTo>
                  <a:lnTo>
                    <a:pt x="124" y="103"/>
                  </a:lnTo>
                  <a:lnTo>
                    <a:pt x="123" y="105"/>
                  </a:lnTo>
                  <a:lnTo>
                    <a:pt x="120" y="108"/>
                  </a:lnTo>
                  <a:lnTo>
                    <a:pt x="120" y="109"/>
                  </a:lnTo>
                  <a:lnTo>
                    <a:pt x="120" y="114"/>
                  </a:lnTo>
                  <a:lnTo>
                    <a:pt x="118" y="114"/>
                  </a:lnTo>
                  <a:lnTo>
                    <a:pt x="118" y="115"/>
                  </a:lnTo>
                  <a:lnTo>
                    <a:pt x="118" y="117"/>
                  </a:lnTo>
                  <a:lnTo>
                    <a:pt x="117" y="119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5" y="125"/>
                  </a:lnTo>
                  <a:lnTo>
                    <a:pt x="114" y="125"/>
                  </a:lnTo>
                  <a:lnTo>
                    <a:pt x="114" y="126"/>
                  </a:lnTo>
                  <a:lnTo>
                    <a:pt x="114" y="128"/>
                  </a:lnTo>
                  <a:lnTo>
                    <a:pt x="114" y="129"/>
                  </a:lnTo>
                  <a:lnTo>
                    <a:pt x="112" y="131"/>
                  </a:lnTo>
                  <a:lnTo>
                    <a:pt x="107" y="132"/>
                  </a:lnTo>
                  <a:lnTo>
                    <a:pt x="106" y="134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6" y="140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2"/>
                  </a:lnTo>
                  <a:lnTo>
                    <a:pt x="100" y="154"/>
                  </a:lnTo>
                  <a:lnTo>
                    <a:pt x="100" y="154"/>
                  </a:lnTo>
                  <a:lnTo>
                    <a:pt x="100" y="156"/>
                  </a:lnTo>
                  <a:lnTo>
                    <a:pt x="100" y="157"/>
                  </a:lnTo>
                  <a:lnTo>
                    <a:pt x="98" y="157"/>
                  </a:lnTo>
                  <a:lnTo>
                    <a:pt x="97" y="159"/>
                  </a:lnTo>
                  <a:lnTo>
                    <a:pt x="95" y="160"/>
                  </a:lnTo>
                  <a:lnTo>
                    <a:pt x="93" y="162"/>
                  </a:lnTo>
                  <a:lnTo>
                    <a:pt x="92" y="166"/>
                  </a:lnTo>
                  <a:lnTo>
                    <a:pt x="92" y="166"/>
                  </a:lnTo>
                  <a:lnTo>
                    <a:pt x="92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3" y="171"/>
                  </a:lnTo>
                  <a:lnTo>
                    <a:pt x="93" y="172"/>
                  </a:lnTo>
                  <a:lnTo>
                    <a:pt x="92" y="176"/>
                  </a:lnTo>
                  <a:lnTo>
                    <a:pt x="90" y="176"/>
                  </a:lnTo>
                  <a:lnTo>
                    <a:pt x="89" y="176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7" y="179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1" y="182"/>
                  </a:lnTo>
                  <a:lnTo>
                    <a:pt x="80" y="182"/>
                  </a:lnTo>
                  <a:lnTo>
                    <a:pt x="78" y="183"/>
                  </a:lnTo>
                  <a:lnTo>
                    <a:pt x="78" y="186"/>
                  </a:lnTo>
                  <a:lnTo>
                    <a:pt x="78" y="189"/>
                  </a:lnTo>
                  <a:lnTo>
                    <a:pt x="77" y="191"/>
                  </a:lnTo>
                  <a:lnTo>
                    <a:pt x="75" y="194"/>
                  </a:lnTo>
                  <a:lnTo>
                    <a:pt x="75" y="196"/>
                  </a:lnTo>
                  <a:lnTo>
                    <a:pt x="75" y="197"/>
                  </a:lnTo>
                  <a:lnTo>
                    <a:pt x="77" y="202"/>
                  </a:lnTo>
                  <a:lnTo>
                    <a:pt x="77" y="203"/>
                  </a:lnTo>
                  <a:lnTo>
                    <a:pt x="75" y="205"/>
                  </a:lnTo>
                  <a:lnTo>
                    <a:pt x="72" y="205"/>
                  </a:lnTo>
                  <a:lnTo>
                    <a:pt x="70" y="206"/>
                  </a:lnTo>
                  <a:lnTo>
                    <a:pt x="69" y="208"/>
                  </a:lnTo>
                  <a:lnTo>
                    <a:pt x="69" y="209"/>
                  </a:lnTo>
                  <a:lnTo>
                    <a:pt x="69" y="214"/>
                  </a:lnTo>
                  <a:lnTo>
                    <a:pt x="67" y="217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0" y="223"/>
                  </a:lnTo>
                  <a:lnTo>
                    <a:pt x="58" y="223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5" y="222"/>
                  </a:lnTo>
                  <a:lnTo>
                    <a:pt x="55" y="222"/>
                  </a:lnTo>
                  <a:lnTo>
                    <a:pt x="53" y="222"/>
                  </a:lnTo>
                  <a:lnTo>
                    <a:pt x="50" y="220"/>
                  </a:lnTo>
                  <a:lnTo>
                    <a:pt x="49" y="220"/>
                  </a:lnTo>
                  <a:lnTo>
                    <a:pt x="49" y="220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4" y="219"/>
                  </a:lnTo>
                  <a:lnTo>
                    <a:pt x="43" y="219"/>
                  </a:lnTo>
                  <a:lnTo>
                    <a:pt x="41" y="220"/>
                  </a:lnTo>
                  <a:lnTo>
                    <a:pt x="40" y="220"/>
                  </a:lnTo>
                  <a:lnTo>
                    <a:pt x="40" y="220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5"/>
                  </a:lnTo>
                  <a:lnTo>
                    <a:pt x="36" y="226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5" y="228"/>
                  </a:lnTo>
                  <a:lnTo>
                    <a:pt x="35" y="228"/>
                  </a:lnTo>
                  <a:lnTo>
                    <a:pt x="33" y="229"/>
                  </a:lnTo>
                  <a:lnTo>
                    <a:pt x="33" y="231"/>
                  </a:lnTo>
                  <a:lnTo>
                    <a:pt x="33" y="231"/>
                  </a:lnTo>
                  <a:lnTo>
                    <a:pt x="33" y="231"/>
                  </a:lnTo>
                  <a:lnTo>
                    <a:pt x="32" y="233"/>
                  </a:lnTo>
                  <a:lnTo>
                    <a:pt x="30" y="234"/>
                  </a:lnTo>
                  <a:lnTo>
                    <a:pt x="27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4" y="234"/>
                  </a:lnTo>
                  <a:lnTo>
                    <a:pt x="23" y="231"/>
                  </a:lnTo>
                  <a:lnTo>
                    <a:pt x="20" y="231"/>
                  </a:lnTo>
                  <a:lnTo>
                    <a:pt x="16" y="229"/>
                  </a:lnTo>
                  <a:lnTo>
                    <a:pt x="15" y="233"/>
                  </a:lnTo>
                  <a:lnTo>
                    <a:pt x="3" y="233"/>
                  </a:lnTo>
                  <a:lnTo>
                    <a:pt x="0" y="237"/>
                  </a:lnTo>
                  <a:lnTo>
                    <a:pt x="4" y="243"/>
                  </a:lnTo>
                  <a:lnTo>
                    <a:pt x="6" y="245"/>
                  </a:lnTo>
                  <a:lnTo>
                    <a:pt x="7" y="249"/>
                  </a:lnTo>
                  <a:lnTo>
                    <a:pt x="7" y="251"/>
                  </a:lnTo>
                  <a:lnTo>
                    <a:pt x="9" y="253"/>
                  </a:lnTo>
                  <a:lnTo>
                    <a:pt x="12" y="253"/>
                  </a:lnTo>
                  <a:lnTo>
                    <a:pt x="13" y="254"/>
                  </a:lnTo>
                  <a:lnTo>
                    <a:pt x="18" y="257"/>
                  </a:lnTo>
                  <a:lnTo>
                    <a:pt x="20" y="259"/>
                  </a:lnTo>
                  <a:lnTo>
                    <a:pt x="21" y="259"/>
                  </a:lnTo>
                  <a:lnTo>
                    <a:pt x="23" y="259"/>
                  </a:lnTo>
                  <a:lnTo>
                    <a:pt x="24" y="260"/>
                  </a:lnTo>
                  <a:lnTo>
                    <a:pt x="27" y="265"/>
                  </a:lnTo>
                  <a:lnTo>
                    <a:pt x="27" y="265"/>
                  </a:lnTo>
                  <a:lnTo>
                    <a:pt x="29" y="266"/>
                  </a:lnTo>
                  <a:lnTo>
                    <a:pt x="29" y="266"/>
                  </a:lnTo>
                  <a:lnTo>
                    <a:pt x="29" y="268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30" y="271"/>
                  </a:lnTo>
                  <a:lnTo>
                    <a:pt x="30" y="273"/>
                  </a:lnTo>
                  <a:lnTo>
                    <a:pt x="32" y="274"/>
                  </a:lnTo>
                  <a:lnTo>
                    <a:pt x="33" y="276"/>
                  </a:lnTo>
                  <a:lnTo>
                    <a:pt x="33" y="277"/>
                  </a:lnTo>
                  <a:lnTo>
                    <a:pt x="35" y="277"/>
                  </a:lnTo>
                  <a:lnTo>
                    <a:pt x="35" y="277"/>
                  </a:lnTo>
                  <a:lnTo>
                    <a:pt x="36" y="276"/>
                  </a:lnTo>
                  <a:lnTo>
                    <a:pt x="36" y="274"/>
                  </a:lnTo>
                  <a:lnTo>
                    <a:pt x="38" y="274"/>
                  </a:lnTo>
                  <a:lnTo>
                    <a:pt x="38" y="273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6"/>
                  </a:lnTo>
                  <a:lnTo>
                    <a:pt x="40" y="277"/>
                  </a:lnTo>
                  <a:lnTo>
                    <a:pt x="40" y="277"/>
                  </a:lnTo>
                  <a:lnTo>
                    <a:pt x="40" y="283"/>
                  </a:lnTo>
                  <a:lnTo>
                    <a:pt x="40" y="285"/>
                  </a:lnTo>
                  <a:lnTo>
                    <a:pt x="40" y="286"/>
                  </a:lnTo>
                  <a:lnTo>
                    <a:pt x="38" y="288"/>
                  </a:lnTo>
                  <a:lnTo>
                    <a:pt x="38" y="291"/>
                  </a:lnTo>
                  <a:lnTo>
                    <a:pt x="38" y="293"/>
                  </a:lnTo>
                  <a:lnTo>
                    <a:pt x="40" y="296"/>
                  </a:lnTo>
                  <a:lnTo>
                    <a:pt x="41" y="299"/>
                  </a:lnTo>
                  <a:lnTo>
                    <a:pt x="41" y="300"/>
                  </a:lnTo>
                  <a:lnTo>
                    <a:pt x="40" y="300"/>
                  </a:lnTo>
                  <a:lnTo>
                    <a:pt x="38" y="302"/>
                  </a:lnTo>
                  <a:lnTo>
                    <a:pt x="38" y="303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6"/>
                  </a:lnTo>
                  <a:lnTo>
                    <a:pt x="46" y="310"/>
                  </a:lnTo>
                  <a:lnTo>
                    <a:pt x="50" y="314"/>
                  </a:lnTo>
                  <a:lnTo>
                    <a:pt x="53" y="319"/>
                  </a:lnTo>
                  <a:lnTo>
                    <a:pt x="55" y="319"/>
                  </a:lnTo>
                  <a:lnTo>
                    <a:pt x="58" y="320"/>
                  </a:lnTo>
                  <a:lnTo>
                    <a:pt x="61" y="322"/>
                  </a:lnTo>
                  <a:lnTo>
                    <a:pt x="61" y="323"/>
                  </a:lnTo>
                  <a:lnTo>
                    <a:pt x="63" y="323"/>
                  </a:lnTo>
                  <a:lnTo>
                    <a:pt x="63" y="323"/>
                  </a:lnTo>
                  <a:lnTo>
                    <a:pt x="64" y="325"/>
                  </a:lnTo>
                  <a:lnTo>
                    <a:pt x="64" y="323"/>
                  </a:lnTo>
                  <a:lnTo>
                    <a:pt x="66" y="322"/>
                  </a:lnTo>
                  <a:lnTo>
                    <a:pt x="66" y="322"/>
                  </a:lnTo>
                  <a:lnTo>
                    <a:pt x="67" y="323"/>
                  </a:lnTo>
                  <a:lnTo>
                    <a:pt x="70" y="326"/>
                  </a:lnTo>
                  <a:lnTo>
                    <a:pt x="72" y="328"/>
                  </a:lnTo>
                  <a:lnTo>
                    <a:pt x="73" y="330"/>
                  </a:lnTo>
                  <a:lnTo>
                    <a:pt x="75" y="331"/>
                  </a:lnTo>
                  <a:lnTo>
                    <a:pt x="78" y="331"/>
                  </a:lnTo>
                  <a:lnTo>
                    <a:pt x="86" y="333"/>
                  </a:lnTo>
                  <a:lnTo>
                    <a:pt x="89" y="334"/>
                  </a:lnTo>
                  <a:lnTo>
                    <a:pt x="90" y="336"/>
                  </a:lnTo>
                  <a:lnTo>
                    <a:pt x="92" y="339"/>
                  </a:lnTo>
                  <a:lnTo>
                    <a:pt x="93" y="339"/>
                  </a:lnTo>
                  <a:lnTo>
                    <a:pt x="93" y="340"/>
                  </a:lnTo>
                  <a:lnTo>
                    <a:pt x="93" y="342"/>
                  </a:lnTo>
                  <a:lnTo>
                    <a:pt x="92" y="342"/>
                  </a:lnTo>
                  <a:lnTo>
                    <a:pt x="90" y="342"/>
                  </a:lnTo>
                  <a:lnTo>
                    <a:pt x="90" y="343"/>
                  </a:lnTo>
                  <a:lnTo>
                    <a:pt x="89" y="343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89" y="346"/>
                  </a:lnTo>
                  <a:lnTo>
                    <a:pt x="89" y="346"/>
                  </a:lnTo>
                  <a:lnTo>
                    <a:pt x="89" y="346"/>
                  </a:lnTo>
                  <a:lnTo>
                    <a:pt x="89" y="348"/>
                  </a:lnTo>
                  <a:lnTo>
                    <a:pt x="87" y="348"/>
                  </a:lnTo>
                  <a:lnTo>
                    <a:pt x="87" y="350"/>
                  </a:lnTo>
                  <a:lnTo>
                    <a:pt x="87" y="351"/>
                  </a:lnTo>
                  <a:lnTo>
                    <a:pt x="87" y="351"/>
                  </a:lnTo>
                  <a:lnTo>
                    <a:pt x="86" y="351"/>
                  </a:lnTo>
                  <a:lnTo>
                    <a:pt x="86" y="353"/>
                  </a:lnTo>
                  <a:lnTo>
                    <a:pt x="84" y="353"/>
                  </a:lnTo>
                  <a:lnTo>
                    <a:pt x="83" y="353"/>
                  </a:lnTo>
                  <a:lnTo>
                    <a:pt x="83" y="353"/>
                  </a:lnTo>
                  <a:lnTo>
                    <a:pt x="83" y="354"/>
                  </a:lnTo>
                  <a:lnTo>
                    <a:pt x="83" y="356"/>
                  </a:lnTo>
                  <a:lnTo>
                    <a:pt x="83" y="356"/>
                  </a:lnTo>
                  <a:lnTo>
                    <a:pt x="84" y="356"/>
                  </a:lnTo>
                  <a:lnTo>
                    <a:pt x="84" y="356"/>
                  </a:lnTo>
                  <a:lnTo>
                    <a:pt x="84" y="357"/>
                  </a:lnTo>
                  <a:lnTo>
                    <a:pt x="84" y="357"/>
                  </a:lnTo>
                  <a:lnTo>
                    <a:pt x="86" y="359"/>
                  </a:lnTo>
                  <a:lnTo>
                    <a:pt x="90" y="359"/>
                  </a:lnTo>
                  <a:lnTo>
                    <a:pt x="92" y="360"/>
                  </a:lnTo>
                  <a:lnTo>
                    <a:pt x="95" y="362"/>
                  </a:lnTo>
                  <a:lnTo>
                    <a:pt x="95" y="362"/>
                  </a:lnTo>
                  <a:lnTo>
                    <a:pt x="97" y="363"/>
                  </a:lnTo>
                  <a:lnTo>
                    <a:pt x="97" y="366"/>
                  </a:lnTo>
                  <a:lnTo>
                    <a:pt x="95" y="366"/>
                  </a:lnTo>
                  <a:lnTo>
                    <a:pt x="92" y="368"/>
                  </a:lnTo>
                  <a:lnTo>
                    <a:pt x="90" y="368"/>
                  </a:lnTo>
                  <a:lnTo>
                    <a:pt x="86" y="368"/>
                  </a:lnTo>
                  <a:lnTo>
                    <a:pt x="84" y="368"/>
                  </a:lnTo>
                  <a:lnTo>
                    <a:pt x="83" y="370"/>
                  </a:lnTo>
                  <a:lnTo>
                    <a:pt x="81" y="371"/>
                  </a:lnTo>
                  <a:lnTo>
                    <a:pt x="81" y="371"/>
                  </a:lnTo>
                  <a:lnTo>
                    <a:pt x="83" y="373"/>
                  </a:lnTo>
                  <a:lnTo>
                    <a:pt x="83" y="373"/>
                  </a:lnTo>
                  <a:lnTo>
                    <a:pt x="83" y="373"/>
                  </a:lnTo>
                  <a:lnTo>
                    <a:pt x="84" y="374"/>
                  </a:lnTo>
                  <a:lnTo>
                    <a:pt x="86" y="376"/>
                  </a:lnTo>
                  <a:lnTo>
                    <a:pt x="87" y="377"/>
                  </a:lnTo>
                  <a:lnTo>
                    <a:pt x="93" y="377"/>
                  </a:lnTo>
                  <a:lnTo>
                    <a:pt x="98" y="377"/>
                  </a:lnTo>
                  <a:lnTo>
                    <a:pt x="100" y="377"/>
                  </a:lnTo>
                  <a:lnTo>
                    <a:pt x="100" y="379"/>
                  </a:lnTo>
                  <a:lnTo>
                    <a:pt x="101" y="380"/>
                  </a:lnTo>
                  <a:lnTo>
                    <a:pt x="101" y="382"/>
                  </a:lnTo>
                  <a:lnTo>
                    <a:pt x="103" y="385"/>
                  </a:lnTo>
                  <a:lnTo>
                    <a:pt x="104" y="386"/>
                  </a:lnTo>
                  <a:lnTo>
                    <a:pt x="109" y="388"/>
                  </a:lnTo>
                  <a:lnTo>
                    <a:pt x="112" y="388"/>
                  </a:lnTo>
                  <a:lnTo>
                    <a:pt x="115" y="388"/>
                  </a:lnTo>
                  <a:lnTo>
                    <a:pt x="118" y="386"/>
                  </a:lnTo>
                  <a:lnTo>
                    <a:pt x="120" y="386"/>
                  </a:lnTo>
                  <a:lnTo>
                    <a:pt x="121" y="386"/>
                  </a:lnTo>
                  <a:lnTo>
                    <a:pt x="127" y="390"/>
                  </a:lnTo>
                  <a:lnTo>
                    <a:pt x="130" y="390"/>
                  </a:lnTo>
                  <a:lnTo>
                    <a:pt x="130" y="391"/>
                  </a:lnTo>
                  <a:lnTo>
                    <a:pt x="134" y="396"/>
                  </a:lnTo>
                  <a:lnTo>
                    <a:pt x="134" y="396"/>
                  </a:lnTo>
                  <a:lnTo>
                    <a:pt x="134" y="397"/>
                  </a:lnTo>
                  <a:lnTo>
                    <a:pt x="134" y="399"/>
                  </a:lnTo>
                  <a:lnTo>
                    <a:pt x="134" y="399"/>
                  </a:lnTo>
                  <a:lnTo>
                    <a:pt x="135" y="400"/>
                  </a:lnTo>
                  <a:lnTo>
                    <a:pt x="135" y="400"/>
                  </a:lnTo>
                  <a:lnTo>
                    <a:pt x="137" y="402"/>
                  </a:lnTo>
                  <a:lnTo>
                    <a:pt x="137" y="405"/>
                  </a:lnTo>
                  <a:lnTo>
                    <a:pt x="138" y="405"/>
                  </a:lnTo>
                  <a:lnTo>
                    <a:pt x="140" y="407"/>
                  </a:lnTo>
                  <a:lnTo>
                    <a:pt x="141" y="407"/>
                  </a:lnTo>
                  <a:lnTo>
                    <a:pt x="143" y="407"/>
                  </a:lnTo>
                  <a:lnTo>
                    <a:pt x="144" y="405"/>
                  </a:lnTo>
                  <a:lnTo>
                    <a:pt x="152" y="390"/>
                  </a:lnTo>
                  <a:lnTo>
                    <a:pt x="154" y="388"/>
                  </a:lnTo>
                  <a:lnTo>
                    <a:pt x="154" y="386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61" y="383"/>
                  </a:lnTo>
                  <a:lnTo>
                    <a:pt x="163" y="382"/>
                  </a:lnTo>
                  <a:lnTo>
                    <a:pt x="164" y="382"/>
                  </a:lnTo>
                  <a:lnTo>
                    <a:pt x="166" y="382"/>
                  </a:lnTo>
                  <a:lnTo>
                    <a:pt x="166" y="383"/>
                  </a:lnTo>
                  <a:lnTo>
                    <a:pt x="172" y="390"/>
                  </a:lnTo>
                  <a:lnTo>
                    <a:pt x="174" y="391"/>
                  </a:lnTo>
                  <a:lnTo>
                    <a:pt x="177" y="393"/>
                  </a:lnTo>
                  <a:lnTo>
                    <a:pt x="183" y="393"/>
                  </a:lnTo>
                  <a:lnTo>
                    <a:pt x="184" y="394"/>
                  </a:lnTo>
                  <a:lnTo>
                    <a:pt x="187" y="397"/>
                  </a:lnTo>
                  <a:lnTo>
                    <a:pt x="187" y="400"/>
                  </a:lnTo>
                  <a:lnTo>
                    <a:pt x="186" y="400"/>
                  </a:lnTo>
                  <a:lnTo>
                    <a:pt x="184" y="402"/>
                  </a:lnTo>
                  <a:lnTo>
                    <a:pt x="183" y="402"/>
                  </a:lnTo>
                  <a:lnTo>
                    <a:pt x="181" y="402"/>
                  </a:lnTo>
                  <a:lnTo>
                    <a:pt x="178" y="400"/>
                  </a:lnTo>
                  <a:lnTo>
                    <a:pt x="177" y="399"/>
                  </a:lnTo>
                  <a:lnTo>
                    <a:pt x="175" y="399"/>
                  </a:lnTo>
                  <a:lnTo>
                    <a:pt x="174" y="400"/>
                  </a:lnTo>
                  <a:lnTo>
                    <a:pt x="172" y="400"/>
                  </a:lnTo>
                  <a:lnTo>
                    <a:pt x="172" y="402"/>
                  </a:lnTo>
                  <a:lnTo>
                    <a:pt x="172" y="405"/>
                  </a:lnTo>
                  <a:lnTo>
                    <a:pt x="172" y="405"/>
                  </a:lnTo>
                  <a:lnTo>
                    <a:pt x="170" y="405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6" y="407"/>
                  </a:lnTo>
                  <a:lnTo>
                    <a:pt x="166" y="408"/>
                  </a:lnTo>
                  <a:lnTo>
                    <a:pt x="166" y="410"/>
                  </a:lnTo>
                  <a:lnTo>
                    <a:pt x="166" y="410"/>
                  </a:lnTo>
                  <a:lnTo>
                    <a:pt x="166" y="411"/>
                  </a:lnTo>
                  <a:lnTo>
                    <a:pt x="167" y="413"/>
                  </a:lnTo>
                  <a:lnTo>
                    <a:pt x="167" y="413"/>
                  </a:lnTo>
                  <a:lnTo>
                    <a:pt x="169" y="414"/>
                  </a:lnTo>
                  <a:lnTo>
                    <a:pt x="167" y="416"/>
                  </a:lnTo>
                  <a:lnTo>
                    <a:pt x="167" y="416"/>
                  </a:lnTo>
                  <a:lnTo>
                    <a:pt x="169" y="419"/>
                  </a:lnTo>
                  <a:lnTo>
                    <a:pt x="172" y="422"/>
                  </a:lnTo>
                  <a:lnTo>
                    <a:pt x="174" y="425"/>
                  </a:lnTo>
                  <a:lnTo>
                    <a:pt x="177" y="425"/>
                  </a:lnTo>
                  <a:lnTo>
                    <a:pt x="180" y="427"/>
                  </a:lnTo>
                  <a:lnTo>
                    <a:pt x="181" y="427"/>
                  </a:lnTo>
                  <a:lnTo>
                    <a:pt x="181" y="428"/>
                  </a:lnTo>
                  <a:lnTo>
                    <a:pt x="181" y="433"/>
                  </a:lnTo>
                  <a:lnTo>
                    <a:pt x="181" y="434"/>
                  </a:lnTo>
                  <a:lnTo>
                    <a:pt x="181" y="434"/>
                  </a:lnTo>
                  <a:lnTo>
                    <a:pt x="198" y="445"/>
                  </a:lnTo>
                  <a:lnTo>
                    <a:pt x="201" y="447"/>
                  </a:lnTo>
                  <a:lnTo>
                    <a:pt x="204" y="447"/>
                  </a:lnTo>
                  <a:lnTo>
                    <a:pt x="206" y="448"/>
                  </a:lnTo>
                  <a:lnTo>
                    <a:pt x="207" y="448"/>
                  </a:lnTo>
                  <a:lnTo>
                    <a:pt x="207" y="451"/>
                  </a:lnTo>
                  <a:lnTo>
                    <a:pt x="206" y="454"/>
                  </a:lnTo>
                  <a:lnTo>
                    <a:pt x="204" y="456"/>
                  </a:lnTo>
                  <a:lnTo>
                    <a:pt x="203" y="457"/>
                  </a:lnTo>
                  <a:lnTo>
                    <a:pt x="200" y="457"/>
                  </a:lnTo>
                  <a:lnTo>
                    <a:pt x="198" y="457"/>
                  </a:lnTo>
                  <a:lnTo>
                    <a:pt x="197" y="459"/>
                  </a:lnTo>
                  <a:lnTo>
                    <a:pt x="195" y="460"/>
                  </a:lnTo>
                  <a:lnTo>
                    <a:pt x="194" y="470"/>
                  </a:lnTo>
                  <a:lnTo>
                    <a:pt x="194" y="471"/>
                  </a:lnTo>
                  <a:lnTo>
                    <a:pt x="195" y="473"/>
                  </a:lnTo>
                  <a:lnTo>
                    <a:pt x="197" y="474"/>
                  </a:lnTo>
                  <a:lnTo>
                    <a:pt x="198" y="476"/>
                  </a:lnTo>
                  <a:lnTo>
                    <a:pt x="209" y="474"/>
                  </a:lnTo>
                  <a:lnTo>
                    <a:pt x="215" y="474"/>
                  </a:lnTo>
                  <a:lnTo>
                    <a:pt x="217" y="473"/>
                  </a:lnTo>
                  <a:lnTo>
                    <a:pt x="220" y="473"/>
                  </a:lnTo>
                  <a:lnTo>
                    <a:pt x="223" y="471"/>
                  </a:lnTo>
                  <a:lnTo>
                    <a:pt x="229" y="470"/>
                  </a:lnTo>
                  <a:lnTo>
                    <a:pt x="241" y="471"/>
                  </a:lnTo>
                  <a:lnTo>
                    <a:pt x="249" y="474"/>
                  </a:lnTo>
                  <a:lnTo>
                    <a:pt x="251" y="476"/>
                  </a:lnTo>
                  <a:lnTo>
                    <a:pt x="252" y="476"/>
                  </a:lnTo>
                  <a:lnTo>
                    <a:pt x="258" y="474"/>
                  </a:lnTo>
                  <a:lnTo>
                    <a:pt x="260" y="474"/>
                  </a:lnTo>
                  <a:lnTo>
                    <a:pt x="264" y="477"/>
                  </a:lnTo>
                  <a:lnTo>
                    <a:pt x="291" y="484"/>
                  </a:lnTo>
                  <a:lnTo>
                    <a:pt x="291" y="484"/>
                  </a:lnTo>
                  <a:lnTo>
                    <a:pt x="304" y="484"/>
                  </a:lnTo>
                  <a:lnTo>
                    <a:pt x="306" y="484"/>
                  </a:lnTo>
                  <a:lnTo>
                    <a:pt x="308" y="482"/>
                  </a:lnTo>
                  <a:lnTo>
                    <a:pt x="312" y="479"/>
                  </a:lnTo>
                  <a:lnTo>
                    <a:pt x="314" y="479"/>
                  </a:lnTo>
                  <a:lnTo>
                    <a:pt x="317" y="479"/>
                  </a:lnTo>
                  <a:lnTo>
                    <a:pt x="329" y="484"/>
                  </a:lnTo>
                  <a:lnTo>
                    <a:pt x="332" y="485"/>
                  </a:lnTo>
                  <a:lnTo>
                    <a:pt x="335" y="485"/>
                  </a:lnTo>
                  <a:lnTo>
                    <a:pt x="351" y="484"/>
                  </a:lnTo>
                  <a:lnTo>
                    <a:pt x="360" y="487"/>
                  </a:lnTo>
                  <a:lnTo>
                    <a:pt x="369" y="488"/>
                  </a:lnTo>
                  <a:lnTo>
                    <a:pt x="372" y="488"/>
                  </a:lnTo>
                  <a:lnTo>
                    <a:pt x="375" y="490"/>
                  </a:lnTo>
                  <a:lnTo>
                    <a:pt x="375" y="490"/>
                  </a:lnTo>
                  <a:lnTo>
                    <a:pt x="378" y="493"/>
                  </a:lnTo>
                  <a:lnTo>
                    <a:pt x="380" y="494"/>
                  </a:lnTo>
                  <a:lnTo>
                    <a:pt x="385" y="494"/>
                  </a:lnTo>
                  <a:lnTo>
                    <a:pt x="386" y="494"/>
                  </a:lnTo>
                  <a:lnTo>
                    <a:pt x="389" y="493"/>
                  </a:lnTo>
                  <a:lnTo>
                    <a:pt x="389" y="493"/>
                  </a:lnTo>
                  <a:lnTo>
                    <a:pt x="391" y="493"/>
                  </a:lnTo>
                  <a:lnTo>
                    <a:pt x="394" y="493"/>
                  </a:lnTo>
                  <a:lnTo>
                    <a:pt x="395" y="493"/>
                  </a:lnTo>
                  <a:lnTo>
                    <a:pt x="397" y="491"/>
                  </a:lnTo>
                  <a:lnTo>
                    <a:pt x="398" y="491"/>
                  </a:lnTo>
                  <a:lnTo>
                    <a:pt x="400" y="490"/>
                  </a:lnTo>
                  <a:lnTo>
                    <a:pt x="402" y="490"/>
                  </a:lnTo>
                  <a:lnTo>
                    <a:pt x="403" y="488"/>
                  </a:lnTo>
                  <a:lnTo>
                    <a:pt x="405" y="487"/>
                  </a:lnTo>
                  <a:lnTo>
                    <a:pt x="408" y="487"/>
                  </a:lnTo>
                  <a:lnTo>
                    <a:pt x="409" y="487"/>
                  </a:lnTo>
                  <a:lnTo>
                    <a:pt x="412" y="487"/>
                  </a:lnTo>
                  <a:lnTo>
                    <a:pt x="414" y="484"/>
                  </a:lnTo>
                  <a:lnTo>
                    <a:pt x="414" y="482"/>
                  </a:lnTo>
                  <a:lnTo>
                    <a:pt x="417" y="480"/>
                  </a:lnTo>
                  <a:lnTo>
                    <a:pt x="418" y="479"/>
                  </a:lnTo>
                  <a:lnTo>
                    <a:pt x="422" y="474"/>
                  </a:lnTo>
                  <a:lnTo>
                    <a:pt x="423" y="473"/>
                  </a:lnTo>
                  <a:lnTo>
                    <a:pt x="423" y="471"/>
                  </a:lnTo>
                  <a:lnTo>
                    <a:pt x="432" y="465"/>
                  </a:lnTo>
                  <a:lnTo>
                    <a:pt x="432" y="463"/>
                  </a:lnTo>
                  <a:lnTo>
                    <a:pt x="434" y="462"/>
                  </a:lnTo>
                  <a:lnTo>
                    <a:pt x="437" y="459"/>
                  </a:lnTo>
                  <a:lnTo>
                    <a:pt x="440" y="457"/>
                  </a:lnTo>
                  <a:lnTo>
                    <a:pt x="446" y="456"/>
                  </a:lnTo>
                  <a:lnTo>
                    <a:pt x="451" y="453"/>
                  </a:lnTo>
                  <a:lnTo>
                    <a:pt x="452" y="453"/>
                  </a:lnTo>
                  <a:lnTo>
                    <a:pt x="459" y="451"/>
                  </a:lnTo>
                  <a:lnTo>
                    <a:pt x="474" y="450"/>
                  </a:lnTo>
                  <a:lnTo>
                    <a:pt x="477" y="448"/>
                  </a:lnTo>
                  <a:lnTo>
                    <a:pt x="479" y="448"/>
                  </a:lnTo>
                  <a:lnTo>
                    <a:pt x="479" y="448"/>
                  </a:lnTo>
                  <a:lnTo>
                    <a:pt x="480" y="447"/>
                  </a:lnTo>
                  <a:lnTo>
                    <a:pt x="482" y="447"/>
                  </a:lnTo>
                  <a:lnTo>
                    <a:pt x="485" y="447"/>
                  </a:lnTo>
                  <a:lnTo>
                    <a:pt x="488" y="447"/>
                  </a:lnTo>
                  <a:lnTo>
                    <a:pt x="494" y="442"/>
                  </a:lnTo>
                  <a:lnTo>
                    <a:pt x="503" y="442"/>
                  </a:lnTo>
                  <a:lnTo>
                    <a:pt x="505" y="440"/>
                  </a:lnTo>
                  <a:lnTo>
                    <a:pt x="511" y="443"/>
                  </a:lnTo>
                  <a:lnTo>
                    <a:pt x="519" y="445"/>
                  </a:lnTo>
                  <a:lnTo>
                    <a:pt x="520" y="447"/>
                  </a:lnTo>
                  <a:lnTo>
                    <a:pt x="522" y="445"/>
                  </a:lnTo>
                  <a:lnTo>
                    <a:pt x="522" y="445"/>
                  </a:lnTo>
                  <a:lnTo>
                    <a:pt x="523" y="447"/>
                  </a:lnTo>
                  <a:lnTo>
                    <a:pt x="522" y="450"/>
                  </a:lnTo>
                  <a:lnTo>
                    <a:pt x="525" y="451"/>
                  </a:lnTo>
                  <a:lnTo>
                    <a:pt x="528" y="453"/>
                  </a:lnTo>
                  <a:lnTo>
                    <a:pt x="529" y="454"/>
                  </a:lnTo>
                  <a:lnTo>
                    <a:pt x="531" y="456"/>
                  </a:lnTo>
                  <a:lnTo>
                    <a:pt x="531" y="457"/>
                  </a:lnTo>
                  <a:lnTo>
                    <a:pt x="545" y="457"/>
                  </a:lnTo>
                  <a:lnTo>
                    <a:pt x="549" y="456"/>
                  </a:lnTo>
                  <a:lnTo>
                    <a:pt x="551" y="456"/>
                  </a:lnTo>
                  <a:lnTo>
                    <a:pt x="552" y="459"/>
                  </a:lnTo>
                  <a:lnTo>
                    <a:pt x="554" y="459"/>
                  </a:lnTo>
                  <a:lnTo>
                    <a:pt x="557" y="463"/>
                  </a:lnTo>
                  <a:lnTo>
                    <a:pt x="562" y="462"/>
                  </a:lnTo>
                  <a:lnTo>
                    <a:pt x="566" y="459"/>
                  </a:lnTo>
                  <a:lnTo>
                    <a:pt x="571" y="459"/>
                  </a:lnTo>
                  <a:lnTo>
                    <a:pt x="571" y="459"/>
                  </a:lnTo>
                  <a:lnTo>
                    <a:pt x="572" y="462"/>
                  </a:lnTo>
                  <a:lnTo>
                    <a:pt x="576" y="474"/>
                  </a:lnTo>
                  <a:lnTo>
                    <a:pt x="579" y="476"/>
                  </a:lnTo>
                  <a:lnTo>
                    <a:pt x="594" y="484"/>
                  </a:lnTo>
                  <a:lnTo>
                    <a:pt x="609" y="485"/>
                  </a:lnTo>
                  <a:lnTo>
                    <a:pt x="620" y="485"/>
                  </a:lnTo>
                  <a:lnTo>
                    <a:pt x="620" y="484"/>
                  </a:lnTo>
                  <a:lnTo>
                    <a:pt x="620" y="484"/>
                  </a:lnTo>
                  <a:lnTo>
                    <a:pt x="620" y="482"/>
                  </a:lnTo>
                  <a:lnTo>
                    <a:pt x="620" y="480"/>
                  </a:lnTo>
                  <a:lnTo>
                    <a:pt x="622" y="480"/>
                  </a:lnTo>
                  <a:lnTo>
                    <a:pt x="620" y="479"/>
                  </a:lnTo>
                  <a:lnTo>
                    <a:pt x="620" y="477"/>
                  </a:lnTo>
                  <a:lnTo>
                    <a:pt x="622" y="477"/>
                  </a:lnTo>
                  <a:lnTo>
                    <a:pt x="623" y="471"/>
                  </a:lnTo>
                  <a:lnTo>
                    <a:pt x="623" y="470"/>
                  </a:lnTo>
                  <a:lnTo>
                    <a:pt x="625" y="467"/>
                  </a:lnTo>
                  <a:lnTo>
                    <a:pt x="625" y="465"/>
                  </a:lnTo>
                  <a:lnTo>
                    <a:pt x="626" y="462"/>
                  </a:lnTo>
                  <a:lnTo>
                    <a:pt x="626" y="460"/>
                  </a:lnTo>
                  <a:lnTo>
                    <a:pt x="626" y="459"/>
                  </a:lnTo>
                  <a:lnTo>
                    <a:pt x="628" y="459"/>
                  </a:lnTo>
                  <a:lnTo>
                    <a:pt x="628" y="457"/>
                  </a:lnTo>
                  <a:lnTo>
                    <a:pt x="626" y="453"/>
                  </a:lnTo>
                  <a:lnTo>
                    <a:pt x="625" y="445"/>
                  </a:lnTo>
                  <a:lnTo>
                    <a:pt x="625" y="442"/>
                  </a:lnTo>
                  <a:lnTo>
                    <a:pt x="625" y="442"/>
                  </a:lnTo>
                  <a:lnTo>
                    <a:pt x="625" y="440"/>
                  </a:lnTo>
                  <a:lnTo>
                    <a:pt x="626" y="440"/>
                  </a:lnTo>
                  <a:lnTo>
                    <a:pt x="628" y="440"/>
                  </a:lnTo>
                  <a:lnTo>
                    <a:pt x="626" y="440"/>
                  </a:lnTo>
                  <a:lnTo>
                    <a:pt x="626" y="439"/>
                  </a:lnTo>
                  <a:lnTo>
                    <a:pt x="626" y="437"/>
                  </a:lnTo>
                  <a:lnTo>
                    <a:pt x="626" y="434"/>
                  </a:lnTo>
                  <a:lnTo>
                    <a:pt x="625" y="433"/>
                  </a:lnTo>
                  <a:lnTo>
                    <a:pt x="625" y="431"/>
                  </a:lnTo>
                  <a:lnTo>
                    <a:pt x="625" y="427"/>
                  </a:lnTo>
                  <a:lnTo>
                    <a:pt x="625" y="425"/>
                  </a:lnTo>
                  <a:lnTo>
                    <a:pt x="625" y="425"/>
                  </a:lnTo>
                  <a:lnTo>
                    <a:pt x="626" y="423"/>
                  </a:lnTo>
                  <a:lnTo>
                    <a:pt x="626" y="422"/>
                  </a:lnTo>
                  <a:lnTo>
                    <a:pt x="628" y="422"/>
                  </a:lnTo>
                  <a:lnTo>
                    <a:pt x="629" y="422"/>
                  </a:lnTo>
                  <a:lnTo>
                    <a:pt x="629" y="422"/>
                  </a:lnTo>
                  <a:lnTo>
                    <a:pt x="629" y="419"/>
                  </a:lnTo>
                  <a:lnTo>
                    <a:pt x="637" y="410"/>
                  </a:lnTo>
                  <a:lnTo>
                    <a:pt x="640" y="407"/>
                  </a:lnTo>
                  <a:lnTo>
                    <a:pt x="645" y="397"/>
                  </a:lnTo>
                  <a:lnTo>
                    <a:pt x="645" y="396"/>
                  </a:lnTo>
                  <a:lnTo>
                    <a:pt x="646" y="394"/>
                  </a:lnTo>
                  <a:lnTo>
                    <a:pt x="645" y="396"/>
                  </a:lnTo>
                  <a:lnTo>
                    <a:pt x="645" y="397"/>
                  </a:lnTo>
                  <a:lnTo>
                    <a:pt x="643" y="399"/>
                  </a:lnTo>
                  <a:lnTo>
                    <a:pt x="642" y="399"/>
                  </a:lnTo>
                  <a:lnTo>
                    <a:pt x="640" y="399"/>
                  </a:lnTo>
                  <a:lnTo>
                    <a:pt x="640" y="400"/>
                  </a:lnTo>
                  <a:lnTo>
                    <a:pt x="637" y="403"/>
                  </a:lnTo>
                  <a:lnTo>
                    <a:pt x="636" y="405"/>
                  </a:lnTo>
                  <a:lnTo>
                    <a:pt x="636" y="405"/>
                  </a:lnTo>
                  <a:lnTo>
                    <a:pt x="634" y="408"/>
                  </a:lnTo>
                  <a:lnTo>
                    <a:pt x="634" y="410"/>
                  </a:lnTo>
                  <a:lnTo>
                    <a:pt x="634" y="410"/>
                  </a:lnTo>
                  <a:lnTo>
                    <a:pt x="633" y="410"/>
                  </a:lnTo>
                  <a:lnTo>
                    <a:pt x="633" y="408"/>
                  </a:lnTo>
                  <a:lnTo>
                    <a:pt x="633" y="405"/>
                  </a:lnTo>
                  <a:lnTo>
                    <a:pt x="634" y="402"/>
                  </a:lnTo>
                  <a:lnTo>
                    <a:pt x="634" y="400"/>
                  </a:lnTo>
                  <a:lnTo>
                    <a:pt x="634" y="400"/>
                  </a:lnTo>
                  <a:lnTo>
                    <a:pt x="633" y="400"/>
                  </a:lnTo>
                  <a:lnTo>
                    <a:pt x="633" y="400"/>
                  </a:lnTo>
                  <a:lnTo>
                    <a:pt x="633" y="400"/>
                  </a:lnTo>
                  <a:lnTo>
                    <a:pt x="631" y="400"/>
                  </a:lnTo>
                  <a:lnTo>
                    <a:pt x="631" y="399"/>
                  </a:lnTo>
                  <a:lnTo>
                    <a:pt x="633" y="399"/>
                  </a:lnTo>
                  <a:lnTo>
                    <a:pt x="636" y="397"/>
                  </a:lnTo>
                  <a:lnTo>
                    <a:pt x="634" y="397"/>
                  </a:lnTo>
                  <a:lnTo>
                    <a:pt x="634" y="397"/>
                  </a:lnTo>
                  <a:lnTo>
                    <a:pt x="634" y="396"/>
                  </a:lnTo>
                  <a:lnTo>
                    <a:pt x="634" y="394"/>
                  </a:lnTo>
                  <a:lnTo>
                    <a:pt x="633" y="394"/>
                  </a:lnTo>
                  <a:lnTo>
                    <a:pt x="634" y="393"/>
                  </a:lnTo>
                  <a:lnTo>
                    <a:pt x="634" y="393"/>
                  </a:lnTo>
                  <a:lnTo>
                    <a:pt x="636" y="393"/>
                  </a:lnTo>
                  <a:lnTo>
                    <a:pt x="636" y="393"/>
                  </a:lnTo>
                  <a:lnTo>
                    <a:pt x="636" y="394"/>
                  </a:lnTo>
                  <a:lnTo>
                    <a:pt x="634" y="396"/>
                  </a:lnTo>
                  <a:lnTo>
                    <a:pt x="636" y="396"/>
                  </a:lnTo>
                  <a:lnTo>
                    <a:pt x="639" y="393"/>
                  </a:lnTo>
                  <a:lnTo>
                    <a:pt x="640" y="393"/>
                  </a:lnTo>
                  <a:lnTo>
                    <a:pt x="643" y="390"/>
                  </a:lnTo>
                  <a:lnTo>
                    <a:pt x="645" y="390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8" y="388"/>
                  </a:lnTo>
                  <a:lnTo>
                    <a:pt x="648" y="388"/>
                  </a:lnTo>
                  <a:lnTo>
                    <a:pt x="648" y="386"/>
                  </a:lnTo>
                  <a:lnTo>
                    <a:pt x="648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48" y="391"/>
                  </a:lnTo>
                  <a:lnTo>
                    <a:pt x="646" y="393"/>
                  </a:lnTo>
                  <a:lnTo>
                    <a:pt x="649" y="393"/>
                  </a:lnTo>
                  <a:lnTo>
                    <a:pt x="649" y="390"/>
                  </a:lnTo>
                  <a:lnTo>
                    <a:pt x="651" y="388"/>
                  </a:lnTo>
                  <a:lnTo>
                    <a:pt x="651" y="386"/>
                  </a:lnTo>
                  <a:lnTo>
                    <a:pt x="649" y="385"/>
                  </a:lnTo>
                  <a:lnTo>
                    <a:pt x="643" y="383"/>
                  </a:lnTo>
                  <a:lnTo>
                    <a:pt x="645" y="386"/>
                  </a:lnTo>
                  <a:lnTo>
                    <a:pt x="643" y="388"/>
                  </a:lnTo>
                  <a:lnTo>
                    <a:pt x="642" y="390"/>
                  </a:lnTo>
                  <a:lnTo>
                    <a:pt x="640" y="391"/>
                  </a:lnTo>
                  <a:lnTo>
                    <a:pt x="636" y="391"/>
                  </a:lnTo>
                  <a:lnTo>
                    <a:pt x="636" y="391"/>
                  </a:lnTo>
                  <a:lnTo>
                    <a:pt x="636" y="390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7" y="386"/>
                  </a:lnTo>
                  <a:lnTo>
                    <a:pt x="636" y="386"/>
                  </a:lnTo>
                  <a:lnTo>
                    <a:pt x="636" y="386"/>
                  </a:lnTo>
                  <a:lnTo>
                    <a:pt x="636" y="385"/>
                  </a:lnTo>
                  <a:lnTo>
                    <a:pt x="637" y="383"/>
                  </a:lnTo>
                  <a:lnTo>
                    <a:pt x="637" y="383"/>
                  </a:lnTo>
                  <a:lnTo>
                    <a:pt x="642" y="380"/>
                  </a:lnTo>
                  <a:lnTo>
                    <a:pt x="643" y="380"/>
                  </a:lnTo>
                  <a:lnTo>
                    <a:pt x="646" y="380"/>
                  </a:lnTo>
                  <a:lnTo>
                    <a:pt x="646" y="379"/>
                  </a:lnTo>
                  <a:lnTo>
                    <a:pt x="648" y="379"/>
                  </a:lnTo>
                  <a:lnTo>
                    <a:pt x="646" y="377"/>
                  </a:lnTo>
                  <a:lnTo>
                    <a:pt x="646" y="377"/>
                  </a:lnTo>
                  <a:lnTo>
                    <a:pt x="646" y="376"/>
                  </a:lnTo>
                  <a:lnTo>
                    <a:pt x="646" y="376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6" y="374"/>
                  </a:lnTo>
                  <a:lnTo>
                    <a:pt x="648" y="373"/>
                  </a:lnTo>
                  <a:lnTo>
                    <a:pt x="645" y="368"/>
                  </a:lnTo>
                  <a:lnTo>
                    <a:pt x="643" y="368"/>
                  </a:lnTo>
                  <a:lnTo>
                    <a:pt x="642" y="368"/>
                  </a:lnTo>
                  <a:lnTo>
                    <a:pt x="642" y="366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3"/>
                  </a:lnTo>
                  <a:lnTo>
                    <a:pt x="642" y="363"/>
                  </a:lnTo>
                  <a:lnTo>
                    <a:pt x="642" y="362"/>
                  </a:lnTo>
                  <a:lnTo>
                    <a:pt x="642" y="360"/>
                  </a:lnTo>
                  <a:lnTo>
                    <a:pt x="643" y="359"/>
                  </a:lnTo>
                  <a:lnTo>
                    <a:pt x="645" y="356"/>
                  </a:lnTo>
                  <a:lnTo>
                    <a:pt x="646" y="356"/>
                  </a:lnTo>
                  <a:lnTo>
                    <a:pt x="648" y="356"/>
                  </a:lnTo>
                  <a:lnTo>
                    <a:pt x="648" y="356"/>
                  </a:lnTo>
                  <a:lnTo>
                    <a:pt x="649" y="354"/>
                  </a:lnTo>
                  <a:lnTo>
                    <a:pt x="649" y="354"/>
                  </a:lnTo>
                  <a:lnTo>
                    <a:pt x="649" y="353"/>
                  </a:lnTo>
                  <a:lnTo>
                    <a:pt x="651" y="353"/>
                  </a:lnTo>
                  <a:lnTo>
                    <a:pt x="653" y="354"/>
                  </a:lnTo>
                  <a:lnTo>
                    <a:pt x="656" y="354"/>
                  </a:lnTo>
                  <a:lnTo>
                    <a:pt x="656" y="354"/>
                  </a:lnTo>
                  <a:lnTo>
                    <a:pt x="659" y="356"/>
                  </a:lnTo>
                  <a:lnTo>
                    <a:pt x="660" y="357"/>
                  </a:lnTo>
                  <a:lnTo>
                    <a:pt x="659" y="359"/>
                  </a:lnTo>
                  <a:lnTo>
                    <a:pt x="656" y="360"/>
                  </a:lnTo>
                  <a:lnTo>
                    <a:pt x="654" y="362"/>
                  </a:lnTo>
                  <a:lnTo>
                    <a:pt x="656" y="368"/>
                  </a:lnTo>
                  <a:lnTo>
                    <a:pt x="656" y="370"/>
                  </a:lnTo>
                  <a:lnTo>
                    <a:pt x="656" y="371"/>
                  </a:lnTo>
                  <a:lnTo>
                    <a:pt x="657" y="371"/>
                  </a:lnTo>
                  <a:lnTo>
                    <a:pt x="659" y="371"/>
                  </a:lnTo>
                  <a:lnTo>
                    <a:pt x="659" y="371"/>
                  </a:lnTo>
                  <a:lnTo>
                    <a:pt x="659" y="370"/>
                  </a:lnTo>
                  <a:lnTo>
                    <a:pt x="659" y="370"/>
                  </a:lnTo>
                  <a:lnTo>
                    <a:pt x="659" y="368"/>
                  </a:lnTo>
                  <a:lnTo>
                    <a:pt x="660" y="370"/>
                  </a:lnTo>
                  <a:lnTo>
                    <a:pt x="662" y="371"/>
                  </a:lnTo>
                  <a:lnTo>
                    <a:pt x="662" y="373"/>
                  </a:lnTo>
                  <a:lnTo>
                    <a:pt x="662" y="374"/>
                  </a:lnTo>
                  <a:lnTo>
                    <a:pt x="660" y="377"/>
                  </a:lnTo>
                  <a:lnTo>
                    <a:pt x="659" y="377"/>
                  </a:lnTo>
                  <a:lnTo>
                    <a:pt x="656" y="379"/>
                  </a:lnTo>
                  <a:lnTo>
                    <a:pt x="653" y="380"/>
                  </a:lnTo>
                  <a:lnTo>
                    <a:pt x="651" y="380"/>
                  </a:lnTo>
                  <a:lnTo>
                    <a:pt x="649" y="380"/>
                  </a:lnTo>
                  <a:lnTo>
                    <a:pt x="649" y="382"/>
                  </a:lnTo>
                  <a:lnTo>
                    <a:pt x="651" y="385"/>
                  </a:lnTo>
                  <a:lnTo>
                    <a:pt x="651" y="386"/>
                  </a:lnTo>
                  <a:lnTo>
                    <a:pt x="651" y="386"/>
                  </a:lnTo>
                  <a:lnTo>
                    <a:pt x="654" y="383"/>
                  </a:lnTo>
                  <a:lnTo>
                    <a:pt x="656" y="382"/>
                  </a:lnTo>
                  <a:lnTo>
                    <a:pt x="663" y="377"/>
                  </a:lnTo>
                  <a:lnTo>
                    <a:pt x="666" y="376"/>
                  </a:lnTo>
                  <a:lnTo>
                    <a:pt x="676" y="376"/>
                  </a:lnTo>
                  <a:lnTo>
                    <a:pt x="690" y="373"/>
                  </a:lnTo>
                  <a:lnTo>
                    <a:pt x="691" y="373"/>
                  </a:lnTo>
                  <a:lnTo>
                    <a:pt x="691" y="373"/>
                  </a:lnTo>
                  <a:lnTo>
                    <a:pt x="693" y="373"/>
                  </a:lnTo>
                  <a:lnTo>
                    <a:pt x="694" y="373"/>
                  </a:lnTo>
                  <a:lnTo>
                    <a:pt x="694" y="373"/>
                  </a:lnTo>
                  <a:lnTo>
                    <a:pt x="696" y="371"/>
                  </a:lnTo>
                  <a:lnTo>
                    <a:pt x="696" y="371"/>
                  </a:lnTo>
                  <a:lnTo>
                    <a:pt x="697" y="371"/>
                  </a:lnTo>
                  <a:lnTo>
                    <a:pt x="697" y="370"/>
                  </a:lnTo>
                  <a:lnTo>
                    <a:pt x="697" y="368"/>
                  </a:lnTo>
                  <a:lnTo>
                    <a:pt x="697" y="366"/>
                  </a:lnTo>
                  <a:lnTo>
                    <a:pt x="699" y="363"/>
                  </a:lnTo>
                  <a:lnTo>
                    <a:pt x="699" y="362"/>
                  </a:lnTo>
                  <a:lnTo>
                    <a:pt x="699" y="360"/>
                  </a:lnTo>
                  <a:lnTo>
                    <a:pt x="699" y="359"/>
                  </a:lnTo>
                  <a:lnTo>
                    <a:pt x="699" y="357"/>
                  </a:lnTo>
                  <a:lnTo>
                    <a:pt x="699" y="356"/>
                  </a:lnTo>
                  <a:lnTo>
                    <a:pt x="700" y="353"/>
                  </a:lnTo>
                  <a:lnTo>
                    <a:pt x="700" y="351"/>
                  </a:lnTo>
                  <a:lnTo>
                    <a:pt x="702" y="342"/>
                  </a:lnTo>
                  <a:lnTo>
                    <a:pt x="702" y="339"/>
                  </a:lnTo>
                  <a:lnTo>
                    <a:pt x="703" y="337"/>
                  </a:lnTo>
                  <a:lnTo>
                    <a:pt x="702" y="33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9"/>
            <p:cNvSpPr>
              <a:spLocks noEditPoints="1"/>
            </p:cNvSpPr>
            <p:nvPr/>
          </p:nvSpPr>
          <p:spPr bwMode="gray">
            <a:xfrm>
              <a:off x="4562475" y="7986713"/>
              <a:ext cx="388938" cy="795338"/>
            </a:xfrm>
            <a:custGeom>
              <a:avLst/>
              <a:gdLst>
                <a:gd name="T0" fmla="*/ 34 w 245"/>
                <a:gd name="T1" fmla="*/ 324 h 501"/>
                <a:gd name="T2" fmla="*/ 236 w 245"/>
                <a:gd name="T3" fmla="*/ 51 h 501"/>
                <a:gd name="T4" fmla="*/ 217 w 245"/>
                <a:gd name="T5" fmla="*/ 42 h 501"/>
                <a:gd name="T6" fmla="*/ 205 w 245"/>
                <a:gd name="T7" fmla="*/ 23 h 501"/>
                <a:gd name="T8" fmla="*/ 174 w 245"/>
                <a:gd name="T9" fmla="*/ 17 h 501"/>
                <a:gd name="T10" fmla="*/ 156 w 245"/>
                <a:gd name="T11" fmla="*/ 33 h 501"/>
                <a:gd name="T12" fmla="*/ 144 w 245"/>
                <a:gd name="T13" fmla="*/ 34 h 501"/>
                <a:gd name="T14" fmla="*/ 122 w 245"/>
                <a:gd name="T15" fmla="*/ 29 h 501"/>
                <a:gd name="T16" fmla="*/ 107 w 245"/>
                <a:gd name="T17" fmla="*/ 34 h 501"/>
                <a:gd name="T18" fmla="*/ 103 w 245"/>
                <a:gd name="T19" fmla="*/ 14 h 501"/>
                <a:gd name="T20" fmla="*/ 90 w 245"/>
                <a:gd name="T21" fmla="*/ 3 h 501"/>
                <a:gd name="T22" fmla="*/ 59 w 245"/>
                <a:gd name="T23" fmla="*/ 17 h 501"/>
                <a:gd name="T24" fmla="*/ 51 w 245"/>
                <a:gd name="T25" fmla="*/ 46 h 501"/>
                <a:gd name="T26" fmla="*/ 53 w 245"/>
                <a:gd name="T27" fmla="*/ 65 h 501"/>
                <a:gd name="T28" fmla="*/ 57 w 245"/>
                <a:gd name="T29" fmla="*/ 90 h 501"/>
                <a:gd name="T30" fmla="*/ 59 w 245"/>
                <a:gd name="T31" fmla="*/ 142 h 501"/>
                <a:gd name="T32" fmla="*/ 63 w 245"/>
                <a:gd name="T33" fmla="*/ 140 h 501"/>
                <a:gd name="T34" fmla="*/ 60 w 245"/>
                <a:gd name="T35" fmla="*/ 148 h 501"/>
                <a:gd name="T36" fmla="*/ 56 w 245"/>
                <a:gd name="T37" fmla="*/ 150 h 501"/>
                <a:gd name="T38" fmla="*/ 53 w 245"/>
                <a:gd name="T39" fmla="*/ 200 h 501"/>
                <a:gd name="T40" fmla="*/ 23 w 245"/>
                <a:gd name="T41" fmla="*/ 262 h 501"/>
                <a:gd name="T42" fmla="*/ 10 w 245"/>
                <a:gd name="T43" fmla="*/ 276 h 501"/>
                <a:gd name="T44" fmla="*/ 0 w 245"/>
                <a:gd name="T45" fmla="*/ 327 h 501"/>
                <a:gd name="T46" fmla="*/ 30 w 245"/>
                <a:gd name="T47" fmla="*/ 334 h 501"/>
                <a:gd name="T48" fmla="*/ 53 w 245"/>
                <a:gd name="T49" fmla="*/ 302 h 501"/>
                <a:gd name="T50" fmla="*/ 40 w 245"/>
                <a:gd name="T51" fmla="*/ 330 h 501"/>
                <a:gd name="T52" fmla="*/ 28 w 245"/>
                <a:gd name="T53" fmla="*/ 341 h 501"/>
                <a:gd name="T54" fmla="*/ 19 w 245"/>
                <a:gd name="T55" fmla="*/ 364 h 501"/>
                <a:gd name="T56" fmla="*/ 53 w 245"/>
                <a:gd name="T57" fmla="*/ 357 h 501"/>
                <a:gd name="T58" fmla="*/ 56 w 245"/>
                <a:gd name="T59" fmla="*/ 357 h 501"/>
                <a:gd name="T60" fmla="*/ 40 w 245"/>
                <a:gd name="T61" fmla="*/ 357 h 501"/>
                <a:gd name="T62" fmla="*/ 45 w 245"/>
                <a:gd name="T63" fmla="*/ 408 h 501"/>
                <a:gd name="T64" fmla="*/ 51 w 245"/>
                <a:gd name="T65" fmla="*/ 431 h 501"/>
                <a:gd name="T66" fmla="*/ 46 w 245"/>
                <a:gd name="T67" fmla="*/ 470 h 501"/>
                <a:gd name="T68" fmla="*/ 40 w 245"/>
                <a:gd name="T69" fmla="*/ 496 h 501"/>
                <a:gd name="T70" fmla="*/ 63 w 245"/>
                <a:gd name="T71" fmla="*/ 485 h 501"/>
                <a:gd name="T72" fmla="*/ 108 w 245"/>
                <a:gd name="T73" fmla="*/ 493 h 501"/>
                <a:gd name="T74" fmla="*/ 127 w 245"/>
                <a:gd name="T75" fmla="*/ 495 h 501"/>
                <a:gd name="T76" fmla="*/ 154 w 245"/>
                <a:gd name="T77" fmla="*/ 479 h 501"/>
                <a:gd name="T78" fmla="*/ 147 w 245"/>
                <a:gd name="T79" fmla="*/ 448 h 501"/>
                <a:gd name="T80" fmla="*/ 150 w 245"/>
                <a:gd name="T81" fmla="*/ 438 h 501"/>
                <a:gd name="T82" fmla="*/ 168 w 245"/>
                <a:gd name="T83" fmla="*/ 405 h 501"/>
                <a:gd name="T84" fmla="*/ 185 w 245"/>
                <a:gd name="T85" fmla="*/ 397 h 501"/>
                <a:gd name="T86" fmla="*/ 177 w 245"/>
                <a:gd name="T87" fmla="*/ 387 h 501"/>
                <a:gd name="T88" fmla="*/ 160 w 245"/>
                <a:gd name="T89" fmla="*/ 357 h 501"/>
                <a:gd name="T90" fmla="*/ 165 w 245"/>
                <a:gd name="T91" fmla="*/ 334 h 501"/>
                <a:gd name="T92" fmla="*/ 182 w 245"/>
                <a:gd name="T93" fmla="*/ 319 h 501"/>
                <a:gd name="T94" fmla="*/ 179 w 245"/>
                <a:gd name="T95" fmla="*/ 297 h 501"/>
                <a:gd name="T96" fmla="*/ 165 w 245"/>
                <a:gd name="T97" fmla="*/ 285 h 501"/>
                <a:gd name="T98" fmla="*/ 154 w 245"/>
                <a:gd name="T99" fmla="*/ 259 h 501"/>
                <a:gd name="T100" fmla="*/ 170 w 245"/>
                <a:gd name="T101" fmla="*/ 244 h 501"/>
                <a:gd name="T102" fmla="*/ 187 w 245"/>
                <a:gd name="T103" fmla="*/ 230 h 501"/>
                <a:gd name="T104" fmla="*/ 193 w 245"/>
                <a:gd name="T105" fmla="*/ 214 h 501"/>
                <a:gd name="T106" fmla="*/ 184 w 245"/>
                <a:gd name="T107" fmla="*/ 191 h 501"/>
                <a:gd name="T108" fmla="*/ 200 w 245"/>
                <a:gd name="T109" fmla="*/ 179 h 501"/>
                <a:gd name="T110" fmla="*/ 199 w 245"/>
                <a:gd name="T111" fmla="*/ 148 h 501"/>
                <a:gd name="T112" fmla="*/ 197 w 245"/>
                <a:gd name="T113" fmla="*/ 128 h 501"/>
                <a:gd name="T114" fmla="*/ 200 w 245"/>
                <a:gd name="T115" fmla="*/ 110 h 501"/>
                <a:gd name="T116" fmla="*/ 225 w 245"/>
                <a:gd name="T117" fmla="*/ 85 h 501"/>
                <a:gd name="T118" fmla="*/ 239 w 245"/>
                <a:gd name="T119" fmla="*/ 68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5" h="501">
                  <a:moveTo>
                    <a:pt x="122" y="498"/>
                  </a:moveTo>
                  <a:lnTo>
                    <a:pt x="122" y="498"/>
                  </a:lnTo>
                  <a:lnTo>
                    <a:pt x="120" y="499"/>
                  </a:lnTo>
                  <a:lnTo>
                    <a:pt x="119" y="499"/>
                  </a:lnTo>
                  <a:lnTo>
                    <a:pt x="114" y="499"/>
                  </a:lnTo>
                  <a:lnTo>
                    <a:pt x="114" y="499"/>
                  </a:lnTo>
                  <a:lnTo>
                    <a:pt x="116" y="501"/>
                  </a:lnTo>
                  <a:lnTo>
                    <a:pt x="119" y="501"/>
                  </a:lnTo>
                  <a:lnTo>
                    <a:pt x="120" y="499"/>
                  </a:lnTo>
                  <a:lnTo>
                    <a:pt x="122" y="499"/>
                  </a:lnTo>
                  <a:lnTo>
                    <a:pt x="122" y="499"/>
                  </a:lnTo>
                  <a:lnTo>
                    <a:pt x="122" y="498"/>
                  </a:lnTo>
                  <a:lnTo>
                    <a:pt x="122" y="498"/>
                  </a:lnTo>
                  <a:lnTo>
                    <a:pt x="122" y="498"/>
                  </a:lnTo>
                  <a:close/>
                  <a:moveTo>
                    <a:pt x="34" y="324"/>
                  </a:moveTo>
                  <a:lnTo>
                    <a:pt x="34" y="322"/>
                  </a:lnTo>
                  <a:lnTo>
                    <a:pt x="34" y="320"/>
                  </a:lnTo>
                  <a:lnTo>
                    <a:pt x="34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1" y="324"/>
                  </a:lnTo>
                  <a:lnTo>
                    <a:pt x="31" y="325"/>
                  </a:lnTo>
                  <a:lnTo>
                    <a:pt x="31" y="327"/>
                  </a:lnTo>
                  <a:lnTo>
                    <a:pt x="33" y="325"/>
                  </a:lnTo>
                  <a:lnTo>
                    <a:pt x="34" y="324"/>
                  </a:lnTo>
                  <a:close/>
                  <a:moveTo>
                    <a:pt x="244" y="57"/>
                  </a:moveTo>
                  <a:lnTo>
                    <a:pt x="242" y="57"/>
                  </a:lnTo>
                  <a:lnTo>
                    <a:pt x="239" y="53"/>
                  </a:lnTo>
                  <a:lnTo>
                    <a:pt x="236" y="51"/>
                  </a:lnTo>
                  <a:lnTo>
                    <a:pt x="233" y="49"/>
                  </a:lnTo>
                  <a:lnTo>
                    <a:pt x="227" y="48"/>
                  </a:lnTo>
                  <a:lnTo>
                    <a:pt x="225" y="48"/>
                  </a:lnTo>
                  <a:lnTo>
                    <a:pt x="225" y="49"/>
                  </a:lnTo>
                  <a:lnTo>
                    <a:pt x="225" y="49"/>
                  </a:lnTo>
                  <a:lnTo>
                    <a:pt x="224" y="49"/>
                  </a:lnTo>
                  <a:lnTo>
                    <a:pt x="222" y="51"/>
                  </a:lnTo>
                  <a:lnTo>
                    <a:pt x="222" y="51"/>
                  </a:lnTo>
                  <a:lnTo>
                    <a:pt x="219" y="49"/>
                  </a:lnTo>
                  <a:lnTo>
                    <a:pt x="219" y="48"/>
                  </a:lnTo>
                  <a:lnTo>
                    <a:pt x="217" y="46"/>
                  </a:lnTo>
                  <a:lnTo>
                    <a:pt x="217" y="45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40"/>
                  </a:lnTo>
                  <a:lnTo>
                    <a:pt x="219" y="39"/>
                  </a:lnTo>
                  <a:lnTo>
                    <a:pt x="221" y="31"/>
                  </a:lnTo>
                  <a:lnTo>
                    <a:pt x="221" y="29"/>
                  </a:lnTo>
                  <a:lnTo>
                    <a:pt x="219" y="29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17" y="23"/>
                  </a:lnTo>
                  <a:lnTo>
                    <a:pt x="217" y="22"/>
                  </a:lnTo>
                  <a:lnTo>
                    <a:pt x="216" y="20"/>
                  </a:lnTo>
                  <a:lnTo>
                    <a:pt x="214" y="20"/>
                  </a:lnTo>
                  <a:lnTo>
                    <a:pt x="213" y="22"/>
                  </a:lnTo>
                  <a:lnTo>
                    <a:pt x="211" y="23"/>
                  </a:lnTo>
                  <a:lnTo>
                    <a:pt x="205" y="23"/>
                  </a:lnTo>
                  <a:lnTo>
                    <a:pt x="204" y="22"/>
                  </a:lnTo>
                  <a:lnTo>
                    <a:pt x="200" y="19"/>
                  </a:lnTo>
                  <a:lnTo>
                    <a:pt x="199" y="17"/>
                  </a:lnTo>
                  <a:lnTo>
                    <a:pt x="197" y="20"/>
                  </a:lnTo>
                  <a:lnTo>
                    <a:pt x="196" y="22"/>
                  </a:lnTo>
                  <a:lnTo>
                    <a:pt x="191" y="22"/>
                  </a:lnTo>
                  <a:lnTo>
                    <a:pt x="190" y="22"/>
                  </a:lnTo>
                  <a:lnTo>
                    <a:pt x="188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4" y="20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7" y="19"/>
                  </a:lnTo>
                  <a:lnTo>
                    <a:pt x="174" y="17"/>
                  </a:lnTo>
                  <a:lnTo>
                    <a:pt x="174" y="17"/>
                  </a:lnTo>
                  <a:lnTo>
                    <a:pt x="173" y="19"/>
                  </a:lnTo>
                  <a:lnTo>
                    <a:pt x="171" y="19"/>
                  </a:lnTo>
                  <a:lnTo>
                    <a:pt x="171" y="20"/>
                  </a:lnTo>
                  <a:lnTo>
                    <a:pt x="170" y="22"/>
                  </a:lnTo>
                  <a:lnTo>
                    <a:pt x="171" y="25"/>
                  </a:lnTo>
                  <a:lnTo>
                    <a:pt x="171" y="26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9"/>
                  </a:lnTo>
                  <a:lnTo>
                    <a:pt x="162" y="31"/>
                  </a:lnTo>
                  <a:lnTo>
                    <a:pt x="160" y="31"/>
                  </a:lnTo>
                  <a:lnTo>
                    <a:pt x="157" y="31"/>
                  </a:lnTo>
                  <a:lnTo>
                    <a:pt x="156" y="33"/>
                  </a:lnTo>
                  <a:lnTo>
                    <a:pt x="156" y="33"/>
                  </a:lnTo>
                  <a:lnTo>
                    <a:pt x="153" y="34"/>
                  </a:lnTo>
                  <a:lnTo>
                    <a:pt x="153" y="36"/>
                  </a:lnTo>
                  <a:lnTo>
                    <a:pt x="153" y="34"/>
                  </a:lnTo>
                  <a:lnTo>
                    <a:pt x="151" y="33"/>
                  </a:lnTo>
                  <a:lnTo>
                    <a:pt x="151" y="31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29"/>
                  </a:lnTo>
                  <a:lnTo>
                    <a:pt x="147" y="29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0" y="34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40" y="29"/>
                  </a:lnTo>
                  <a:lnTo>
                    <a:pt x="136" y="28"/>
                  </a:lnTo>
                  <a:lnTo>
                    <a:pt x="134" y="28"/>
                  </a:lnTo>
                  <a:lnTo>
                    <a:pt x="133" y="26"/>
                  </a:lnTo>
                  <a:lnTo>
                    <a:pt x="131" y="26"/>
                  </a:lnTo>
                  <a:lnTo>
                    <a:pt x="130" y="28"/>
                  </a:lnTo>
                  <a:lnTo>
                    <a:pt x="125" y="28"/>
                  </a:lnTo>
                  <a:lnTo>
                    <a:pt x="123" y="28"/>
                  </a:lnTo>
                  <a:lnTo>
                    <a:pt x="122" y="28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31"/>
                  </a:lnTo>
                  <a:lnTo>
                    <a:pt x="119" y="31"/>
                  </a:lnTo>
                  <a:lnTo>
                    <a:pt x="119" y="28"/>
                  </a:lnTo>
                  <a:lnTo>
                    <a:pt x="117" y="25"/>
                  </a:lnTo>
                  <a:lnTo>
                    <a:pt x="116" y="25"/>
                  </a:lnTo>
                  <a:lnTo>
                    <a:pt x="116" y="26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4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0" y="33"/>
                  </a:lnTo>
                  <a:lnTo>
                    <a:pt x="108" y="34"/>
                  </a:lnTo>
                  <a:lnTo>
                    <a:pt x="107" y="34"/>
                  </a:lnTo>
                  <a:lnTo>
                    <a:pt x="103" y="36"/>
                  </a:lnTo>
                  <a:lnTo>
                    <a:pt x="97" y="36"/>
                  </a:lnTo>
                  <a:lnTo>
                    <a:pt x="97" y="34"/>
                  </a:lnTo>
                  <a:lnTo>
                    <a:pt x="97" y="33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6"/>
                  </a:lnTo>
                  <a:lnTo>
                    <a:pt x="94" y="23"/>
                  </a:lnTo>
                  <a:lnTo>
                    <a:pt x="97" y="20"/>
                  </a:lnTo>
                  <a:lnTo>
                    <a:pt x="100" y="17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3" y="11"/>
                  </a:lnTo>
                  <a:lnTo>
                    <a:pt x="102" y="9"/>
                  </a:lnTo>
                  <a:lnTo>
                    <a:pt x="100" y="9"/>
                  </a:lnTo>
                  <a:lnTo>
                    <a:pt x="99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6" y="8"/>
                  </a:lnTo>
                  <a:lnTo>
                    <a:pt x="96" y="3"/>
                  </a:lnTo>
                  <a:lnTo>
                    <a:pt x="96" y="2"/>
                  </a:lnTo>
                  <a:lnTo>
                    <a:pt x="94" y="0"/>
                  </a:lnTo>
                  <a:lnTo>
                    <a:pt x="93" y="2"/>
                  </a:lnTo>
                  <a:lnTo>
                    <a:pt x="91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88" y="3"/>
                  </a:lnTo>
                  <a:lnTo>
                    <a:pt x="87" y="5"/>
                  </a:lnTo>
                  <a:lnTo>
                    <a:pt x="85" y="6"/>
                  </a:lnTo>
                  <a:lnTo>
                    <a:pt x="74" y="8"/>
                  </a:lnTo>
                  <a:lnTo>
                    <a:pt x="73" y="8"/>
                  </a:lnTo>
                  <a:lnTo>
                    <a:pt x="70" y="9"/>
                  </a:lnTo>
                  <a:lnTo>
                    <a:pt x="68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9" y="17"/>
                  </a:lnTo>
                  <a:lnTo>
                    <a:pt x="57" y="17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4" y="23"/>
                  </a:lnTo>
                  <a:lnTo>
                    <a:pt x="51" y="26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5" y="33"/>
                  </a:lnTo>
                  <a:lnTo>
                    <a:pt x="46" y="36"/>
                  </a:lnTo>
                  <a:lnTo>
                    <a:pt x="45" y="40"/>
                  </a:lnTo>
                  <a:lnTo>
                    <a:pt x="45" y="42"/>
                  </a:lnTo>
                  <a:lnTo>
                    <a:pt x="46" y="45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51" y="46"/>
                  </a:lnTo>
                  <a:lnTo>
                    <a:pt x="59" y="43"/>
                  </a:lnTo>
                  <a:lnTo>
                    <a:pt x="59" y="45"/>
                  </a:lnTo>
                  <a:lnTo>
                    <a:pt x="57" y="46"/>
                  </a:lnTo>
                  <a:lnTo>
                    <a:pt x="56" y="46"/>
                  </a:lnTo>
                  <a:lnTo>
                    <a:pt x="51" y="46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51"/>
                  </a:lnTo>
                  <a:lnTo>
                    <a:pt x="50" y="53"/>
                  </a:lnTo>
                  <a:lnTo>
                    <a:pt x="50" y="54"/>
                  </a:lnTo>
                  <a:lnTo>
                    <a:pt x="51" y="56"/>
                  </a:lnTo>
                  <a:lnTo>
                    <a:pt x="51" y="59"/>
                  </a:lnTo>
                  <a:lnTo>
                    <a:pt x="51" y="62"/>
                  </a:lnTo>
                  <a:lnTo>
                    <a:pt x="53" y="63"/>
                  </a:lnTo>
                  <a:lnTo>
                    <a:pt x="53" y="65"/>
                  </a:lnTo>
                  <a:lnTo>
                    <a:pt x="53" y="66"/>
                  </a:lnTo>
                  <a:lnTo>
                    <a:pt x="53" y="69"/>
                  </a:lnTo>
                  <a:lnTo>
                    <a:pt x="53" y="73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7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7" y="90"/>
                  </a:lnTo>
                  <a:lnTo>
                    <a:pt x="56" y="91"/>
                  </a:lnTo>
                  <a:lnTo>
                    <a:pt x="57" y="93"/>
                  </a:lnTo>
                  <a:lnTo>
                    <a:pt x="59" y="97"/>
                  </a:lnTo>
                  <a:lnTo>
                    <a:pt x="60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2"/>
                  </a:lnTo>
                  <a:lnTo>
                    <a:pt x="62" y="105"/>
                  </a:lnTo>
                  <a:lnTo>
                    <a:pt x="62" y="113"/>
                  </a:lnTo>
                  <a:lnTo>
                    <a:pt x="62" y="116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7" y="146"/>
                  </a:lnTo>
                  <a:lnTo>
                    <a:pt x="57" y="143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7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1"/>
                  </a:lnTo>
                  <a:lnTo>
                    <a:pt x="63" y="133"/>
                  </a:lnTo>
                  <a:lnTo>
                    <a:pt x="60" y="136"/>
                  </a:lnTo>
                  <a:lnTo>
                    <a:pt x="60" y="139"/>
                  </a:lnTo>
                  <a:lnTo>
                    <a:pt x="62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7" y="139"/>
                  </a:lnTo>
                  <a:lnTo>
                    <a:pt x="68" y="139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2"/>
                  </a:lnTo>
                  <a:lnTo>
                    <a:pt x="63" y="142"/>
                  </a:lnTo>
                  <a:lnTo>
                    <a:pt x="62" y="142"/>
                  </a:lnTo>
                  <a:lnTo>
                    <a:pt x="62" y="143"/>
                  </a:lnTo>
                  <a:lnTo>
                    <a:pt x="62" y="145"/>
                  </a:lnTo>
                  <a:lnTo>
                    <a:pt x="63" y="145"/>
                  </a:lnTo>
                  <a:lnTo>
                    <a:pt x="62" y="146"/>
                  </a:lnTo>
                  <a:lnTo>
                    <a:pt x="62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59" y="146"/>
                  </a:lnTo>
                  <a:lnTo>
                    <a:pt x="59" y="148"/>
                  </a:lnTo>
                  <a:lnTo>
                    <a:pt x="59" y="148"/>
                  </a:lnTo>
                  <a:lnTo>
                    <a:pt x="59" y="150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7" y="150"/>
                  </a:lnTo>
                  <a:lnTo>
                    <a:pt x="56" y="153"/>
                  </a:lnTo>
                  <a:lnTo>
                    <a:pt x="56" y="151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54" y="156"/>
                  </a:lnTo>
                  <a:lnTo>
                    <a:pt x="53" y="160"/>
                  </a:lnTo>
                  <a:lnTo>
                    <a:pt x="51" y="167"/>
                  </a:lnTo>
                  <a:lnTo>
                    <a:pt x="46" y="187"/>
                  </a:lnTo>
                  <a:lnTo>
                    <a:pt x="45" y="191"/>
                  </a:lnTo>
                  <a:lnTo>
                    <a:pt x="43" y="193"/>
                  </a:lnTo>
                  <a:lnTo>
                    <a:pt x="43" y="196"/>
                  </a:lnTo>
                  <a:lnTo>
                    <a:pt x="45" y="197"/>
                  </a:lnTo>
                  <a:lnTo>
                    <a:pt x="45" y="197"/>
                  </a:lnTo>
                  <a:lnTo>
                    <a:pt x="50" y="197"/>
                  </a:lnTo>
                  <a:lnTo>
                    <a:pt x="50" y="199"/>
                  </a:lnTo>
                  <a:lnTo>
                    <a:pt x="51" y="199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199"/>
                  </a:lnTo>
                  <a:lnTo>
                    <a:pt x="46" y="200"/>
                  </a:lnTo>
                  <a:lnTo>
                    <a:pt x="37" y="228"/>
                  </a:lnTo>
                  <a:lnTo>
                    <a:pt x="31" y="244"/>
                  </a:lnTo>
                  <a:lnTo>
                    <a:pt x="31" y="247"/>
                  </a:lnTo>
                  <a:lnTo>
                    <a:pt x="30" y="250"/>
                  </a:lnTo>
                  <a:lnTo>
                    <a:pt x="30" y="251"/>
                  </a:lnTo>
                  <a:lnTo>
                    <a:pt x="30" y="253"/>
                  </a:lnTo>
                  <a:lnTo>
                    <a:pt x="28" y="256"/>
                  </a:lnTo>
                  <a:lnTo>
                    <a:pt x="28" y="257"/>
                  </a:lnTo>
                  <a:lnTo>
                    <a:pt x="26" y="259"/>
                  </a:lnTo>
                  <a:lnTo>
                    <a:pt x="25" y="260"/>
                  </a:lnTo>
                  <a:lnTo>
                    <a:pt x="23" y="262"/>
                  </a:lnTo>
                  <a:lnTo>
                    <a:pt x="22" y="262"/>
                  </a:lnTo>
                  <a:lnTo>
                    <a:pt x="20" y="265"/>
                  </a:lnTo>
                  <a:lnTo>
                    <a:pt x="19" y="267"/>
                  </a:lnTo>
                  <a:lnTo>
                    <a:pt x="20" y="268"/>
                  </a:lnTo>
                  <a:lnTo>
                    <a:pt x="22" y="270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19" y="268"/>
                  </a:lnTo>
                  <a:lnTo>
                    <a:pt x="17" y="268"/>
                  </a:lnTo>
                  <a:lnTo>
                    <a:pt x="16" y="270"/>
                  </a:lnTo>
                  <a:lnTo>
                    <a:pt x="11" y="274"/>
                  </a:lnTo>
                  <a:lnTo>
                    <a:pt x="6" y="273"/>
                  </a:lnTo>
                  <a:lnTo>
                    <a:pt x="6" y="273"/>
                  </a:lnTo>
                  <a:lnTo>
                    <a:pt x="6" y="274"/>
                  </a:lnTo>
                  <a:lnTo>
                    <a:pt x="10" y="276"/>
                  </a:lnTo>
                  <a:lnTo>
                    <a:pt x="10" y="279"/>
                  </a:lnTo>
                  <a:lnTo>
                    <a:pt x="11" y="284"/>
                  </a:lnTo>
                  <a:lnTo>
                    <a:pt x="11" y="287"/>
                  </a:lnTo>
                  <a:lnTo>
                    <a:pt x="11" y="290"/>
                  </a:lnTo>
                  <a:lnTo>
                    <a:pt x="10" y="293"/>
                  </a:lnTo>
                  <a:lnTo>
                    <a:pt x="8" y="296"/>
                  </a:lnTo>
                  <a:lnTo>
                    <a:pt x="5" y="300"/>
                  </a:lnTo>
                  <a:lnTo>
                    <a:pt x="5" y="304"/>
                  </a:lnTo>
                  <a:lnTo>
                    <a:pt x="3" y="307"/>
                  </a:lnTo>
                  <a:lnTo>
                    <a:pt x="5" y="310"/>
                  </a:lnTo>
                  <a:lnTo>
                    <a:pt x="5" y="316"/>
                  </a:lnTo>
                  <a:lnTo>
                    <a:pt x="3" y="324"/>
                  </a:lnTo>
                  <a:lnTo>
                    <a:pt x="0" y="325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8"/>
                  </a:lnTo>
                  <a:lnTo>
                    <a:pt x="0" y="333"/>
                  </a:lnTo>
                  <a:lnTo>
                    <a:pt x="0" y="334"/>
                  </a:lnTo>
                  <a:lnTo>
                    <a:pt x="0" y="336"/>
                  </a:lnTo>
                  <a:lnTo>
                    <a:pt x="2" y="337"/>
                  </a:lnTo>
                  <a:lnTo>
                    <a:pt x="5" y="336"/>
                  </a:lnTo>
                  <a:lnTo>
                    <a:pt x="6" y="337"/>
                  </a:lnTo>
                  <a:lnTo>
                    <a:pt x="10" y="339"/>
                  </a:lnTo>
                  <a:lnTo>
                    <a:pt x="13" y="341"/>
                  </a:lnTo>
                  <a:lnTo>
                    <a:pt x="14" y="339"/>
                  </a:lnTo>
                  <a:lnTo>
                    <a:pt x="16" y="337"/>
                  </a:lnTo>
                  <a:lnTo>
                    <a:pt x="20" y="337"/>
                  </a:lnTo>
                  <a:lnTo>
                    <a:pt x="25" y="337"/>
                  </a:lnTo>
                  <a:lnTo>
                    <a:pt x="28" y="336"/>
                  </a:lnTo>
                  <a:lnTo>
                    <a:pt x="30" y="334"/>
                  </a:lnTo>
                  <a:lnTo>
                    <a:pt x="30" y="331"/>
                  </a:lnTo>
                  <a:lnTo>
                    <a:pt x="30" y="328"/>
                  </a:lnTo>
                  <a:lnTo>
                    <a:pt x="28" y="327"/>
                  </a:lnTo>
                  <a:lnTo>
                    <a:pt x="30" y="325"/>
                  </a:lnTo>
                  <a:lnTo>
                    <a:pt x="30" y="324"/>
                  </a:lnTo>
                  <a:lnTo>
                    <a:pt x="33" y="320"/>
                  </a:lnTo>
                  <a:lnTo>
                    <a:pt x="36" y="313"/>
                  </a:lnTo>
                  <a:lnTo>
                    <a:pt x="40" y="308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8" y="304"/>
                  </a:lnTo>
                  <a:lnTo>
                    <a:pt x="53" y="300"/>
                  </a:lnTo>
                  <a:lnTo>
                    <a:pt x="54" y="299"/>
                  </a:lnTo>
                  <a:lnTo>
                    <a:pt x="53" y="300"/>
                  </a:lnTo>
                  <a:lnTo>
                    <a:pt x="53" y="302"/>
                  </a:lnTo>
                  <a:lnTo>
                    <a:pt x="50" y="304"/>
                  </a:lnTo>
                  <a:lnTo>
                    <a:pt x="48" y="305"/>
                  </a:lnTo>
                  <a:lnTo>
                    <a:pt x="45" y="305"/>
                  </a:lnTo>
                  <a:lnTo>
                    <a:pt x="43" y="305"/>
                  </a:lnTo>
                  <a:lnTo>
                    <a:pt x="40" y="307"/>
                  </a:lnTo>
                  <a:lnTo>
                    <a:pt x="39" y="310"/>
                  </a:lnTo>
                  <a:lnTo>
                    <a:pt x="36" y="317"/>
                  </a:lnTo>
                  <a:lnTo>
                    <a:pt x="36" y="319"/>
                  </a:lnTo>
                  <a:lnTo>
                    <a:pt x="37" y="322"/>
                  </a:lnTo>
                  <a:lnTo>
                    <a:pt x="37" y="324"/>
                  </a:lnTo>
                  <a:lnTo>
                    <a:pt x="39" y="324"/>
                  </a:lnTo>
                  <a:lnTo>
                    <a:pt x="39" y="325"/>
                  </a:lnTo>
                  <a:lnTo>
                    <a:pt x="39" y="327"/>
                  </a:lnTo>
                  <a:lnTo>
                    <a:pt x="40" y="328"/>
                  </a:lnTo>
                  <a:lnTo>
                    <a:pt x="40" y="330"/>
                  </a:lnTo>
                  <a:lnTo>
                    <a:pt x="40" y="330"/>
                  </a:lnTo>
                  <a:lnTo>
                    <a:pt x="40" y="330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37" y="333"/>
                  </a:lnTo>
                  <a:lnTo>
                    <a:pt x="36" y="334"/>
                  </a:lnTo>
                  <a:lnTo>
                    <a:pt x="34" y="336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1" y="337"/>
                  </a:lnTo>
                  <a:lnTo>
                    <a:pt x="30" y="339"/>
                  </a:lnTo>
                  <a:lnTo>
                    <a:pt x="28" y="339"/>
                  </a:lnTo>
                  <a:lnTo>
                    <a:pt x="28" y="341"/>
                  </a:lnTo>
                  <a:lnTo>
                    <a:pt x="28" y="341"/>
                  </a:lnTo>
                  <a:lnTo>
                    <a:pt x="28" y="341"/>
                  </a:lnTo>
                  <a:lnTo>
                    <a:pt x="26" y="339"/>
                  </a:lnTo>
                  <a:lnTo>
                    <a:pt x="23" y="339"/>
                  </a:lnTo>
                  <a:lnTo>
                    <a:pt x="19" y="341"/>
                  </a:lnTo>
                  <a:lnTo>
                    <a:pt x="17" y="341"/>
                  </a:lnTo>
                  <a:lnTo>
                    <a:pt x="19" y="344"/>
                  </a:lnTo>
                  <a:lnTo>
                    <a:pt x="22" y="347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2" y="359"/>
                  </a:lnTo>
                  <a:lnTo>
                    <a:pt x="20" y="361"/>
                  </a:lnTo>
                  <a:lnTo>
                    <a:pt x="20" y="362"/>
                  </a:lnTo>
                  <a:lnTo>
                    <a:pt x="19" y="362"/>
                  </a:lnTo>
                  <a:lnTo>
                    <a:pt x="19" y="362"/>
                  </a:lnTo>
                  <a:lnTo>
                    <a:pt x="19" y="364"/>
                  </a:lnTo>
                  <a:lnTo>
                    <a:pt x="19" y="364"/>
                  </a:lnTo>
                  <a:lnTo>
                    <a:pt x="20" y="364"/>
                  </a:lnTo>
                  <a:lnTo>
                    <a:pt x="22" y="365"/>
                  </a:lnTo>
                  <a:lnTo>
                    <a:pt x="23" y="364"/>
                  </a:lnTo>
                  <a:lnTo>
                    <a:pt x="25" y="364"/>
                  </a:lnTo>
                  <a:lnTo>
                    <a:pt x="26" y="362"/>
                  </a:lnTo>
                  <a:lnTo>
                    <a:pt x="33" y="362"/>
                  </a:lnTo>
                  <a:lnTo>
                    <a:pt x="37" y="361"/>
                  </a:lnTo>
                  <a:lnTo>
                    <a:pt x="37" y="359"/>
                  </a:lnTo>
                  <a:lnTo>
                    <a:pt x="40" y="356"/>
                  </a:lnTo>
                  <a:lnTo>
                    <a:pt x="43" y="354"/>
                  </a:lnTo>
                  <a:lnTo>
                    <a:pt x="46" y="356"/>
                  </a:lnTo>
                  <a:lnTo>
                    <a:pt x="50" y="357"/>
                  </a:lnTo>
                  <a:lnTo>
                    <a:pt x="51" y="357"/>
                  </a:lnTo>
                  <a:lnTo>
                    <a:pt x="53" y="357"/>
                  </a:lnTo>
                  <a:lnTo>
                    <a:pt x="53" y="357"/>
                  </a:lnTo>
                  <a:lnTo>
                    <a:pt x="53" y="356"/>
                  </a:lnTo>
                  <a:lnTo>
                    <a:pt x="53" y="354"/>
                  </a:lnTo>
                  <a:lnTo>
                    <a:pt x="51" y="354"/>
                  </a:lnTo>
                  <a:lnTo>
                    <a:pt x="51" y="353"/>
                  </a:lnTo>
                  <a:lnTo>
                    <a:pt x="53" y="353"/>
                  </a:lnTo>
                  <a:lnTo>
                    <a:pt x="54" y="350"/>
                  </a:lnTo>
                  <a:lnTo>
                    <a:pt x="54" y="350"/>
                  </a:lnTo>
                  <a:lnTo>
                    <a:pt x="54" y="351"/>
                  </a:lnTo>
                  <a:lnTo>
                    <a:pt x="54" y="353"/>
                  </a:lnTo>
                  <a:lnTo>
                    <a:pt x="56" y="354"/>
                  </a:lnTo>
                  <a:lnTo>
                    <a:pt x="56" y="354"/>
                  </a:lnTo>
                  <a:lnTo>
                    <a:pt x="56" y="354"/>
                  </a:lnTo>
                  <a:lnTo>
                    <a:pt x="56" y="356"/>
                  </a:lnTo>
                  <a:lnTo>
                    <a:pt x="56" y="356"/>
                  </a:lnTo>
                  <a:lnTo>
                    <a:pt x="56" y="357"/>
                  </a:lnTo>
                  <a:lnTo>
                    <a:pt x="56" y="359"/>
                  </a:lnTo>
                  <a:lnTo>
                    <a:pt x="56" y="361"/>
                  </a:lnTo>
                  <a:lnTo>
                    <a:pt x="56" y="361"/>
                  </a:lnTo>
                  <a:lnTo>
                    <a:pt x="62" y="364"/>
                  </a:lnTo>
                  <a:lnTo>
                    <a:pt x="63" y="364"/>
                  </a:lnTo>
                  <a:lnTo>
                    <a:pt x="67" y="364"/>
                  </a:lnTo>
                  <a:lnTo>
                    <a:pt x="62" y="365"/>
                  </a:lnTo>
                  <a:lnTo>
                    <a:pt x="54" y="364"/>
                  </a:lnTo>
                  <a:lnTo>
                    <a:pt x="51" y="364"/>
                  </a:lnTo>
                  <a:lnTo>
                    <a:pt x="51" y="362"/>
                  </a:lnTo>
                  <a:lnTo>
                    <a:pt x="50" y="361"/>
                  </a:lnTo>
                  <a:lnTo>
                    <a:pt x="46" y="361"/>
                  </a:lnTo>
                  <a:lnTo>
                    <a:pt x="43" y="357"/>
                  </a:lnTo>
                  <a:lnTo>
                    <a:pt x="42" y="357"/>
                  </a:lnTo>
                  <a:lnTo>
                    <a:pt x="40" y="357"/>
                  </a:lnTo>
                  <a:lnTo>
                    <a:pt x="43" y="359"/>
                  </a:lnTo>
                  <a:lnTo>
                    <a:pt x="45" y="361"/>
                  </a:lnTo>
                  <a:lnTo>
                    <a:pt x="48" y="364"/>
                  </a:lnTo>
                  <a:lnTo>
                    <a:pt x="50" y="365"/>
                  </a:lnTo>
                  <a:lnTo>
                    <a:pt x="51" y="370"/>
                  </a:lnTo>
                  <a:lnTo>
                    <a:pt x="53" y="374"/>
                  </a:lnTo>
                  <a:lnTo>
                    <a:pt x="53" y="381"/>
                  </a:lnTo>
                  <a:lnTo>
                    <a:pt x="53" y="385"/>
                  </a:lnTo>
                  <a:lnTo>
                    <a:pt x="51" y="391"/>
                  </a:lnTo>
                  <a:lnTo>
                    <a:pt x="50" y="397"/>
                  </a:lnTo>
                  <a:lnTo>
                    <a:pt x="46" y="405"/>
                  </a:lnTo>
                  <a:lnTo>
                    <a:pt x="46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8"/>
                  </a:lnTo>
                  <a:lnTo>
                    <a:pt x="48" y="410"/>
                  </a:lnTo>
                  <a:lnTo>
                    <a:pt x="50" y="410"/>
                  </a:lnTo>
                  <a:lnTo>
                    <a:pt x="51" y="413"/>
                  </a:lnTo>
                  <a:lnTo>
                    <a:pt x="51" y="414"/>
                  </a:lnTo>
                  <a:lnTo>
                    <a:pt x="51" y="418"/>
                  </a:lnTo>
                  <a:lnTo>
                    <a:pt x="51" y="424"/>
                  </a:lnTo>
                  <a:lnTo>
                    <a:pt x="50" y="428"/>
                  </a:lnTo>
                  <a:lnTo>
                    <a:pt x="51" y="430"/>
                  </a:lnTo>
                  <a:lnTo>
                    <a:pt x="53" y="430"/>
                  </a:lnTo>
                  <a:lnTo>
                    <a:pt x="54" y="428"/>
                  </a:lnTo>
                  <a:lnTo>
                    <a:pt x="56" y="428"/>
                  </a:lnTo>
                  <a:lnTo>
                    <a:pt x="56" y="428"/>
                  </a:lnTo>
                  <a:lnTo>
                    <a:pt x="54" y="431"/>
                  </a:lnTo>
                  <a:lnTo>
                    <a:pt x="53" y="431"/>
                  </a:lnTo>
                  <a:lnTo>
                    <a:pt x="51" y="431"/>
                  </a:lnTo>
                  <a:lnTo>
                    <a:pt x="51" y="434"/>
                  </a:lnTo>
                  <a:lnTo>
                    <a:pt x="51" y="438"/>
                  </a:lnTo>
                  <a:lnTo>
                    <a:pt x="50" y="441"/>
                  </a:lnTo>
                  <a:lnTo>
                    <a:pt x="50" y="442"/>
                  </a:lnTo>
                  <a:lnTo>
                    <a:pt x="51" y="444"/>
                  </a:lnTo>
                  <a:lnTo>
                    <a:pt x="51" y="445"/>
                  </a:lnTo>
                  <a:lnTo>
                    <a:pt x="51" y="447"/>
                  </a:lnTo>
                  <a:lnTo>
                    <a:pt x="51" y="451"/>
                  </a:lnTo>
                  <a:lnTo>
                    <a:pt x="51" y="454"/>
                  </a:lnTo>
                  <a:lnTo>
                    <a:pt x="50" y="458"/>
                  </a:lnTo>
                  <a:lnTo>
                    <a:pt x="50" y="461"/>
                  </a:lnTo>
                  <a:lnTo>
                    <a:pt x="48" y="464"/>
                  </a:lnTo>
                  <a:lnTo>
                    <a:pt x="46" y="465"/>
                  </a:lnTo>
                  <a:lnTo>
                    <a:pt x="45" y="468"/>
                  </a:lnTo>
                  <a:lnTo>
                    <a:pt x="46" y="470"/>
                  </a:lnTo>
                  <a:lnTo>
                    <a:pt x="46" y="471"/>
                  </a:lnTo>
                  <a:lnTo>
                    <a:pt x="45" y="476"/>
                  </a:lnTo>
                  <a:lnTo>
                    <a:pt x="43" y="478"/>
                  </a:lnTo>
                  <a:lnTo>
                    <a:pt x="42" y="478"/>
                  </a:lnTo>
                  <a:lnTo>
                    <a:pt x="43" y="481"/>
                  </a:lnTo>
                  <a:lnTo>
                    <a:pt x="42" y="484"/>
                  </a:lnTo>
                  <a:lnTo>
                    <a:pt x="40" y="485"/>
                  </a:lnTo>
                  <a:lnTo>
                    <a:pt x="39" y="490"/>
                  </a:lnTo>
                  <a:lnTo>
                    <a:pt x="37" y="491"/>
                  </a:lnTo>
                  <a:lnTo>
                    <a:pt x="37" y="493"/>
                  </a:lnTo>
                  <a:lnTo>
                    <a:pt x="37" y="495"/>
                  </a:lnTo>
                  <a:lnTo>
                    <a:pt x="37" y="495"/>
                  </a:lnTo>
                  <a:lnTo>
                    <a:pt x="39" y="495"/>
                  </a:lnTo>
                  <a:lnTo>
                    <a:pt x="39" y="496"/>
                  </a:lnTo>
                  <a:lnTo>
                    <a:pt x="40" y="496"/>
                  </a:lnTo>
                  <a:lnTo>
                    <a:pt x="42" y="496"/>
                  </a:lnTo>
                  <a:lnTo>
                    <a:pt x="43" y="495"/>
                  </a:lnTo>
                  <a:lnTo>
                    <a:pt x="43" y="495"/>
                  </a:lnTo>
                  <a:lnTo>
                    <a:pt x="45" y="495"/>
                  </a:lnTo>
                  <a:lnTo>
                    <a:pt x="45" y="493"/>
                  </a:lnTo>
                  <a:lnTo>
                    <a:pt x="46" y="493"/>
                  </a:lnTo>
                  <a:lnTo>
                    <a:pt x="48" y="491"/>
                  </a:lnTo>
                  <a:lnTo>
                    <a:pt x="51" y="491"/>
                  </a:lnTo>
                  <a:lnTo>
                    <a:pt x="51" y="491"/>
                  </a:lnTo>
                  <a:lnTo>
                    <a:pt x="53" y="490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60" y="490"/>
                  </a:lnTo>
                  <a:lnTo>
                    <a:pt x="62" y="487"/>
                  </a:lnTo>
                  <a:lnTo>
                    <a:pt x="63" y="485"/>
                  </a:lnTo>
                  <a:lnTo>
                    <a:pt x="65" y="485"/>
                  </a:lnTo>
                  <a:lnTo>
                    <a:pt x="68" y="485"/>
                  </a:lnTo>
                  <a:lnTo>
                    <a:pt x="71" y="485"/>
                  </a:lnTo>
                  <a:lnTo>
                    <a:pt x="76" y="488"/>
                  </a:lnTo>
                  <a:lnTo>
                    <a:pt x="76" y="488"/>
                  </a:lnTo>
                  <a:lnTo>
                    <a:pt x="79" y="490"/>
                  </a:lnTo>
                  <a:lnTo>
                    <a:pt x="82" y="488"/>
                  </a:lnTo>
                  <a:lnTo>
                    <a:pt x="83" y="488"/>
                  </a:lnTo>
                  <a:lnTo>
                    <a:pt x="87" y="488"/>
                  </a:lnTo>
                  <a:lnTo>
                    <a:pt x="90" y="490"/>
                  </a:lnTo>
                  <a:lnTo>
                    <a:pt x="96" y="488"/>
                  </a:lnTo>
                  <a:lnTo>
                    <a:pt x="97" y="488"/>
                  </a:lnTo>
                  <a:lnTo>
                    <a:pt x="100" y="490"/>
                  </a:lnTo>
                  <a:lnTo>
                    <a:pt x="103" y="490"/>
                  </a:lnTo>
                  <a:lnTo>
                    <a:pt x="108" y="493"/>
                  </a:lnTo>
                  <a:lnTo>
                    <a:pt x="111" y="496"/>
                  </a:lnTo>
                  <a:lnTo>
                    <a:pt x="113" y="498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1" y="496"/>
                  </a:lnTo>
                  <a:lnTo>
                    <a:pt x="113" y="496"/>
                  </a:lnTo>
                  <a:lnTo>
                    <a:pt x="113" y="496"/>
                  </a:lnTo>
                  <a:lnTo>
                    <a:pt x="114" y="496"/>
                  </a:lnTo>
                  <a:lnTo>
                    <a:pt x="114" y="496"/>
                  </a:lnTo>
                  <a:lnTo>
                    <a:pt x="116" y="496"/>
                  </a:lnTo>
                  <a:lnTo>
                    <a:pt x="120" y="496"/>
                  </a:lnTo>
                  <a:lnTo>
                    <a:pt x="122" y="496"/>
                  </a:lnTo>
                  <a:lnTo>
                    <a:pt x="123" y="498"/>
                  </a:lnTo>
                  <a:lnTo>
                    <a:pt x="125" y="498"/>
                  </a:lnTo>
                  <a:lnTo>
                    <a:pt x="127" y="495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4" y="484"/>
                  </a:lnTo>
                  <a:lnTo>
                    <a:pt x="145" y="484"/>
                  </a:lnTo>
                  <a:lnTo>
                    <a:pt x="148" y="481"/>
                  </a:lnTo>
                  <a:lnTo>
                    <a:pt x="150" y="481"/>
                  </a:lnTo>
                  <a:lnTo>
                    <a:pt x="151" y="481"/>
                  </a:lnTo>
                  <a:lnTo>
                    <a:pt x="153" y="481"/>
                  </a:lnTo>
                  <a:lnTo>
                    <a:pt x="154" y="481"/>
                  </a:lnTo>
                  <a:lnTo>
                    <a:pt x="156" y="482"/>
                  </a:lnTo>
                  <a:lnTo>
                    <a:pt x="156" y="481"/>
                  </a:lnTo>
                  <a:lnTo>
                    <a:pt x="156" y="481"/>
                  </a:lnTo>
                  <a:lnTo>
                    <a:pt x="156" y="481"/>
                  </a:lnTo>
                  <a:lnTo>
                    <a:pt x="154" y="479"/>
                  </a:lnTo>
                  <a:lnTo>
                    <a:pt x="154" y="479"/>
                  </a:lnTo>
                  <a:lnTo>
                    <a:pt x="154" y="479"/>
                  </a:lnTo>
                  <a:lnTo>
                    <a:pt x="153" y="474"/>
                  </a:lnTo>
                  <a:lnTo>
                    <a:pt x="153" y="473"/>
                  </a:lnTo>
                  <a:lnTo>
                    <a:pt x="154" y="471"/>
                  </a:lnTo>
                  <a:lnTo>
                    <a:pt x="153" y="468"/>
                  </a:lnTo>
                  <a:lnTo>
                    <a:pt x="153" y="461"/>
                  </a:lnTo>
                  <a:lnTo>
                    <a:pt x="151" y="458"/>
                  </a:lnTo>
                  <a:lnTo>
                    <a:pt x="151" y="458"/>
                  </a:lnTo>
                  <a:lnTo>
                    <a:pt x="151" y="454"/>
                  </a:lnTo>
                  <a:lnTo>
                    <a:pt x="151" y="453"/>
                  </a:lnTo>
                  <a:lnTo>
                    <a:pt x="150" y="451"/>
                  </a:lnTo>
                  <a:lnTo>
                    <a:pt x="150" y="450"/>
                  </a:lnTo>
                  <a:lnTo>
                    <a:pt x="148" y="450"/>
                  </a:lnTo>
                  <a:lnTo>
                    <a:pt x="148" y="448"/>
                  </a:lnTo>
                  <a:lnTo>
                    <a:pt x="147" y="448"/>
                  </a:lnTo>
                  <a:lnTo>
                    <a:pt x="147" y="448"/>
                  </a:lnTo>
                  <a:lnTo>
                    <a:pt x="147" y="447"/>
                  </a:lnTo>
                  <a:lnTo>
                    <a:pt x="147" y="447"/>
                  </a:lnTo>
                  <a:lnTo>
                    <a:pt x="147" y="445"/>
                  </a:lnTo>
                  <a:lnTo>
                    <a:pt x="147" y="445"/>
                  </a:lnTo>
                  <a:lnTo>
                    <a:pt x="147" y="445"/>
                  </a:lnTo>
                  <a:lnTo>
                    <a:pt x="147" y="444"/>
                  </a:lnTo>
                  <a:lnTo>
                    <a:pt x="147" y="444"/>
                  </a:lnTo>
                  <a:lnTo>
                    <a:pt x="147" y="442"/>
                  </a:lnTo>
                  <a:lnTo>
                    <a:pt x="147" y="442"/>
                  </a:lnTo>
                  <a:lnTo>
                    <a:pt x="147" y="442"/>
                  </a:lnTo>
                  <a:lnTo>
                    <a:pt x="148" y="442"/>
                  </a:lnTo>
                  <a:lnTo>
                    <a:pt x="147" y="441"/>
                  </a:lnTo>
                  <a:lnTo>
                    <a:pt x="148" y="441"/>
                  </a:lnTo>
                  <a:lnTo>
                    <a:pt x="150" y="438"/>
                  </a:lnTo>
                  <a:lnTo>
                    <a:pt x="150" y="438"/>
                  </a:lnTo>
                  <a:lnTo>
                    <a:pt x="151" y="436"/>
                  </a:lnTo>
                  <a:lnTo>
                    <a:pt x="151" y="431"/>
                  </a:lnTo>
                  <a:lnTo>
                    <a:pt x="153" y="428"/>
                  </a:lnTo>
                  <a:lnTo>
                    <a:pt x="154" y="427"/>
                  </a:lnTo>
                  <a:lnTo>
                    <a:pt x="160" y="421"/>
                  </a:lnTo>
                  <a:lnTo>
                    <a:pt x="162" y="418"/>
                  </a:lnTo>
                  <a:lnTo>
                    <a:pt x="164" y="414"/>
                  </a:lnTo>
                  <a:lnTo>
                    <a:pt x="165" y="410"/>
                  </a:lnTo>
                  <a:lnTo>
                    <a:pt x="165" y="408"/>
                  </a:lnTo>
                  <a:lnTo>
                    <a:pt x="165" y="407"/>
                  </a:lnTo>
                  <a:lnTo>
                    <a:pt x="165" y="407"/>
                  </a:lnTo>
                  <a:lnTo>
                    <a:pt x="165" y="405"/>
                  </a:lnTo>
                  <a:lnTo>
                    <a:pt x="165" y="405"/>
                  </a:lnTo>
                  <a:lnTo>
                    <a:pt x="168" y="405"/>
                  </a:lnTo>
                  <a:lnTo>
                    <a:pt x="168" y="404"/>
                  </a:lnTo>
                  <a:lnTo>
                    <a:pt x="170" y="404"/>
                  </a:lnTo>
                  <a:lnTo>
                    <a:pt x="171" y="404"/>
                  </a:lnTo>
                  <a:lnTo>
                    <a:pt x="171" y="405"/>
                  </a:lnTo>
                  <a:lnTo>
                    <a:pt x="173" y="404"/>
                  </a:lnTo>
                  <a:lnTo>
                    <a:pt x="174" y="404"/>
                  </a:lnTo>
                  <a:lnTo>
                    <a:pt x="174" y="404"/>
                  </a:lnTo>
                  <a:lnTo>
                    <a:pt x="174" y="402"/>
                  </a:lnTo>
                  <a:lnTo>
                    <a:pt x="176" y="401"/>
                  </a:lnTo>
                  <a:lnTo>
                    <a:pt x="176" y="399"/>
                  </a:lnTo>
                  <a:lnTo>
                    <a:pt x="177" y="401"/>
                  </a:lnTo>
                  <a:lnTo>
                    <a:pt x="182" y="402"/>
                  </a:lnTo>
                  <a:lnTo>
                    <a:pt x="184" y="401"/>
                  </a:lnTo>
                  <a:lnTo>
                    <a:pt x="184" y="399"/>
                  </a:lnTo>
                  <a:lnTo>
                    <a:pt x="185" y="397"/>
                  </a:lnTo>
                  <a:lnTo>
                    <a:pt x="185" y="394"/>
                  </a:lnTo>
                  <a:lnTo>
                    <a:pt x="187" y="393"/>
                  </a:lnTo>
                  <a:lnTo>
                    <a:pt x="188" y="388"/>
                  </a:lnTo>
                  <a:lnTo>
                    <a:pt x="188" y="388"/>
                  </a:lnTo>
                  <a:lnTo>
                    <a:pt x="190" y="385"/>
                  </a:lnTo>
                  <a:lnTo>
                    <a:pt x="190" y="385"/>
                  </a:lnTo>
                  <a:lnTo>
                    <a:pt x="188" y="384"/>
                  </a:lnTo>
                  <a:lnTo>
                    <a:pt x="187" y="384"/>
                  </a:lnTo>
                  <a:lnTo>
                    <a:pt x="184" y="385"/>
                  </a:lnTo>
                  <a:lnTo>
                    <a:pt x="184" y="385"/>
                  </a:lnTo>
                  <a:lnTo>
                    <a:pt x="184" y="385"/>
                  </a:lnTo>
                  <a:lnTo>
                    <a:pt x="182" y="385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7"/>
                  </a:lnTo>
                  <a:lnTo>
                    <a:pt x="177" y="387"/>
                  </a:lnTo>
                  <a:lnTo>
                    <a:pt x="176" y="385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0" y="374"/>
                  </a:lnTo>
                  <a:lnTo>
                    <a:pt x="170" y="373"/>
                  </a:lnTo>
                  <a:lnTo>
                    <a:pt x="162" y="364"/>
                  </a:lnTo>
                  <a:lnTo>
                    <a:pt x="160" y="362"/>
                  </a:lnTo>
                  <a:lnTo>
                    <a:pt x="159" y="362"/>
                  </a:lnTo>
                  <a:lnTo>
                    <a:pt x="160" y="361"/>
                  </a:lnTo>
                  <a:lnTo>
                    <a:pt x="160" y="359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6"/>
                  </a:lnTo>
                  <a:lnTo>
                    <a:pt x="162" y="351"/>
                  </a:lnTo>
                  <a:lnTo>
                    <a:pt x="165" y="347"/>
                  </a:lnTo>
                  <a:lnTo>
                    <a:pt x="165" y="345"/>
                  </a:lnTo>
                  <a:lnTo>
                    <a:pt x="165" y="344"/>
                  </a:lnTo>
                  <a:lnTo>
                    <a:pt x="165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39"/>
                  </a:lnTo>
                  <a:lnTo>
                    <a:pt x="165" y="336"/>
                  </a:lnTo>
                  <a:lnTo>
                    <a:pt x="165" y="336"/>
                  </a:lnTo>
                  <a:lnTo>
                    <a:pt x="165" y="334"/>
                  </a:lnTo>
                  <a:lnTo>
                    <a:pt x="165" y="334"/>
                  </a:lnTo>
                  <a:lnTo>
                    <a:pt x="168" y="331"/>
                  </a:lnTo>
                  <a:lnTo>
                    <a:pt x="170" y="330"/>
                  </a:lnTo>
                  <a:lnTo>
                    <a:pt x="171" y="33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27"/>
                  </a:lnTo>
                  <a:lnTo>
                    <a:pt x="174" y="327"/>
                  </a:lnTo>
                  <a:lnTo>
                    <a:pt x="177" y="325"/>
                  </a:lnTo>
                  <a:lnTo>
                    <a:pt x="179" y="325"/>
                  </a:lnTo>
                  <a:lnTo>
                    <a:pt x="180" y="324"/>
                  </a:lnTo>
                  <a:lnTo>
                    <a:pt x="180" y="324"/>
                  </a:lnTo>
                  <a:lnTo>
                    <a:pt x="182" y="322"/>
                  </a:lnTo>
                  <a:lnTo>
                    <a:pt x="180" y="320"/>
                  </a:lnTo>
                  <a:lnTo>
                    <a:pt x="182" y="319"/>
                  </a:lnTo>
                  <a:lnTo>
                    <a:pt x="180" y="317"/>
                  </a:lnTo>
                  <a:lnTo>
                    <a:pt x="182" y="316"/>
                  </a:lnTo>
                  <a:lnTo>
                    <a:pt x="184" y="314"/>
                  </a:lnTo>
                  <a:lnTo>
                    <a:pt x="187" y="310"/>
                  </a:lnTo>
                  <a:lnTo>
                    <a:pt x="187" y="308"/>
                  </a:lnTo>
                  <a:lnTo>
                    <a:pt x="188" y="307"/>
                  </a:lnTo>
                  <a:lnTo>
                    <a:pt x="187" y="307"/>
                  </a:lnTo>
                  <a:lnTo>
                    <a:pt x="187" y="305"/>
                  </a:lnTo>
                  <a:lnTo>
                    <a:pt x="187" y="304"/>
                  </a:lnTo>
                  <a:lnTo>
                    <a:pt x="187" y="302"/>
                  </a:lnTo>
                  <a:lnTo>
                    <a:pt x="185" y="300"/>
                  </a:lnTo>
                  <a:lnTo>
                    <a:pt x="184" y="299"/>
                  </a:lnTo>
                  <a:lnTo>
                    <a:pt x="182" y="299"/>
                  </a:lnTo>
                  <a:lnTo>
                    <a:pt x="180" y="297"/>
                  </a:lnTo>
                  <a:lnTo>
                    <a:pt x="179" y="297"/>
                  </a:lnTo>
                  <a:lnTo>
                    <a:pt x="177" y="299"/>
                  </a:lnTo>
                  <a:lnTo>
                    <a:pt x="176" y="299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73" y="297"/>
                  </a:lnTo>
                  <a:lnTo>
                    <a:pt x="173" y="297"/>
                  </a:lnTo>
                  <a:lnTo>
                    <a:pt x="174" y="296"/>
                  </a:lnTo>
                  <a:lnTo>
                    <a:pt x="174" y="294"/>
                  </a:lnTo>
                  <a:lnTo>
                    <a:pt x="173" y="293"/>
                  </a:lnTo>
                  <a:lnTo>
                    <a:pt x="171" y="291"/>
                  </a:lnTo>
                  <a:lnTo>
                    <a:pt x="170" y="291"/>
                  </a:lnTo>
                  <a:lnTo>
                    <a:pt x="167" y="290"/>
                  </a:lnTo>
                  <a:lnTo>
                    <a:pt x="167" y="288"/>
                  </a:lnTo>
                  <a:lnTo>
                    <a:pt x="165" y="287"/>
                  </a:lnTo>
                  <a:lnTo>
                    <a:pt x="165" y="285"/>
                  </a:lnTo>
                  <a:lnTo>
                    <a:pt x="167" y="284"/>
                  </a:lnTo>
                  <a:lnTo>
                    <a:pt x="164" y="279"/>
                  </a:lnTo>
                  <a:lnTo>
                    <a:pt x="162" y="277"/>
                  </a:lnTo>
                  <a:lnTo>
                    <a:pt x="160" y="276"/>
                  </a:lnTo>
                  <a:lnTo>
                    <a:pt x="160" y="274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2" y="270"/>
                  </a:lnTo>
                  <a:lnTo>
                    <a:pt x="162" y="267"/>
                  </a:lnTo>
                  <a:lnTo>
                    <a:pt x="162" y="265"/>
                  </a:lnTo>
                  <a:lnTo>
                    <a:pt x="162" y="264"/>
                  </a:lnTo>
                  <a:lnTo>
                    <a:pt x="159" y="264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54" y="259"/>
                  </a:lnTo>
                  <a:lnTo>
                    <a:pt x="154" y="259"/>
                  </a:lnTo>
                  <a:lnTo>
                    <a:pt x="151" y="257"/>
                  </a:lnTo>
                  <a:lnTo>
                    <a:pt x="151" y="256"/>
                  </a:lnTo>
                  <a:lnTo>
                    <a:pt x="148" y="253"/>
                  </a:lnTo>
                  <a:lnTo>
                    <a:pt x="147" y="251"/>
                  </a:lnTo>
                  <a:lnTo>
                    <a:pt x="145" y="245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60" y="245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4" y="244"/>
                  </a:lnTo>
                  <a:lnTo>
                    <a:pt x="167" y="244"/>
                  </a:lnTo>
                  <a:lnTo>
                    <a:pt x="168" y="244"/>
                  </a:lnTo>
                  <a:lnTo>
                    <a:pt x="170" y="244"/>
                  </a:lnTo>
                  <a:lnTo>
                    <a:pt x="171" y="244"/>
                  </a:lnTo>
                  <a:lnTo>
                    <a:pt x="184" y="242"/>
                  </a:lnTo>
                  <a:lnTo>
                    <a:pt x="184" y="242"/>
                  </a:lnTo>
                  <a:lnTo>
                    <a:pt x="185" y="240"/>
                  </a:lnTo>
                  <a:lnTo>
                    <a:pt x="185" y="239"/>
                  </a:lnTo>
                  <a:lnTo>
                    <a:pt x="185" y="239"/>
                  </a:lnTo>
                  <a:lnTo>
                    <a:pt x="185" y="237"/>
                  </a:lnTo>
                  <a:lnTo>
                    <a:pt x="185" y="237"/>
                  </a:lnTo>
                  <a:lnTo>
                    <a:pt x="185" y="236"/>
                  </a:lnTo>
                  <a:lnTo>
                    <a:pt x="187" y="234"/>
                  </a:lnTo>
                  <a:lnTo>
                    <a:pt x="187" y="234"/>
                  </a:lnTo>
                  <a:lnTo>
                    <a:pt x="185" y="233"/>
                  </a:lnTo>
                  <a:lnTo>
                    <a:pt x="185" y="231"/>
                  </a:lnTo>
                  <a:lnTo>
                    <a:pt x="187" y="231"/>
                  </a:lnTo>
                  <a:lnTo>
                    <a:pt x="187" y="230"/>
                  </a:lnTo>
                  <a:lnTo>
                    <a:pt x="188" y="230"/>
                  </a:lnTo>
                  <a:lnTo>
                    <a:pt x="190" y="228"/>
                  </a:lnTo>
                  <a:lnTo>
                    <a:pt x="191" y="227"/>
                  </a:lnTo>
                  <a:lnTo>
                    <a:pt x="191" y="225"/>
                  </a:lnTo>
                  <a:lnTo>
                    <a:pt x="191" y="223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91" y="219"/>
                  </a:lnTo>
                  <a:lnTo>
                    <a:pt x="193" y="219"/>
                  </a:lnTo>
                  <a:lnTo>
                    <a:pt x="193" y="217"/>
                  </a:lnTo>
                  <a:lnTo>
                    <a:pt x="193" y="216"/>
                  </a:lnTo>
                  <a:lnTo>
                    <a:pt x="193" y="214"/>
                  </a:lnTo>
                  <a:lnTo>
                    <a:pt x="193" y="214"/>
                  </a:lnTo>
                  <a:lnTo>
                    <a:pt x="194" y="211"/>
                  </a:lnTo>
                  <a:lnTo>
                    <a:pt x="191" y="207"/>
                  </a:lnTo>
                  <a:lnTo>
                    <a:pt x="190" y="205"/>
                  </a:lnTo>
                  <a:lnTo>
                    <a:pt x="188" y="202"/>
                  </a:lnTo>
                  <a:lnTo>
                    <a:pt x="188" y="202"/>
                  </a:lnTo>
                  <a:lnTo>
                    <a:pt x="187" y="202"/>
                  </a:lnTo>
                  <a:lnTo>
                    <a:pt x="185" y="202"/>
                  </a:lnTo>
                  <a:lnTo>
                    <a:pt x="184" y="200"/>
                  </a:lnTo>
                  <a:lnTo>
                    <a:pt x="184" y="200"/>
                  </a:lnTo>
                  <a:lnTo>
                    <a:pt x="184" y="196"/>
                  </a:lnTo>
                  <a:lnTo>
                    <a:pt x="182" y="196"/>
                  </a:lnTo>
                  <a:lnTo>
                    <a:pt x="184" y="194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5" y="190"/>
                  </a:lnTo>
                  <a:lnTo>
                    <a:pt x="188" y="188"/>
                  </a:lnTo>
                  <a:lnTo>
                    <a:pt x="190" y="188"/>
                  </a:lnTo>
                  <a:lnTo>
                    <a:pt x="190" y="188"/>
                  </a:lnTo>
                  <a:lnTo>
                    <a:pt x="191" y="188"/>
                  </a:lnTo>
                  <a:lnTo>
                    <a:pt x="193" y="188"/>
                  </a:lnTo>
                  <a:lnTo>
                    <a:pt x="194" y="187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5"/>
                  </a:lnTo>
                  <a:lnTo>
                    <a:pt x="196" y="183"/>
                  </a:lnTo>
                  <a:lnTo>
                    <a:pt x="196" y="183"/>
                  </a:lnTo>
                  <a:lnTo>
                    <a:pt x="199" y="180"/>
                  </a:lnTo>
                  <a:lnTo>
                    <a:pt x="199" y="180"/>
                  </a:lnTo>
                  <a:lnTo>
                    <a:pt x="200" y="179"/>
                  </a:lnTo>
                  <a:lnTo>
                    <a:pt x="199" y="176"/>
                  </a:lnTo>
                  <a:lnTo>
                    <a:pt x="196" y="173"/>
                  </a:lnTo>
                  <a:lnTo>
                    <a:pt x="196" y="170"/>
                  </a:lnTo>
                  <a:lnTo>
                    <a:pt x="197" y="167"/>
                  </a:lnTo>
                  <a:lnTo>
                    <a:pt x="199" y="163"/>
                  </a:lnTo>
                  <a:lnTo>
                    <a:pt x="199" y="162"/>
                  </a:lnTo>
                  <a:lnTo>
                    <a:pt x="199" y="160"/>
                  </a:lnTo>
                  <a:lnTo>
                    <a:pt x="199" y="160"/>
                  </a:lnTo>
                  <a:lnTo>
                    <a:pt x="197" y="159"/>
                  </a:lnTo>
                  <a:lnTo>
                    <a:pt x="197" y="157"/>
                  </a:lnTo>
                  <a:lnTo>
                    <a:pt x="196" y="156"/>
                  </a:lnTo>
                  <a:lnTo>
                    <a:pt x="197" y="154"/>
                  </a:lnTo>
                  <a:lnTo>
                    <a:pt x="199" y="151"/>
                  </a:lnTo>
                  <a:lnTo>
                    <a:pt x="199" y="150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3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7" y="134"/>
                  </a:lnTo>
                  <a:lnTo>
                    <a:pt x="197" y="133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30"/>
                  </a:lnTo>
                  <a:lnTo>
                    <a:pt x="199" y="128"/>
                  </a:lnTo>
                  <a:lnTo>
                    <a:pt x="197" y="128"/>
                  </a:lnTo>
                  <a:lnTo>
                    <a:pt x="197" y="126"/>
                  </a:lnTo>
                  <a:lnTo>
                    <a:pt x="196" y="126"/>
                  </a:lnTo>
                  <a:lnTo>
                    <a:pt x="196" y="123"/>
                  </a:lnTo>
                  <a:lnTo>
                    <a:pt x="194" y="120"/>
                  </a:lnTo>
                  <a:lnTo>
                    <a:pt x="193" y="119"/>
                  </a:lnTo>
                  <a:lnTo>
                    <a:pt x="191" y="116"/>
                  </a:lnTo>
                  <a:lnTo>
                    <a:pt x="190" y="114"/>
                  </a:lnTo>
                  <a:lnTo>
                    <a:pt x="190" y="114"/>
                  </a:lnTo>
                  <a:lnTo>
                    <a:pt x="191" y="113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3" y="110"/>
                  </a:lnTo>
                  <a:lnTo>
                    <a:pt x="197" y="110"/>
                  </a:lnTo>
                  <a:lnTo>
                    <a:pt x="199" y="110"/>
                  </a:lnTo>
                  <a:lnTo>
                    <a:pt x="200" y="110"/>
                  </a:lnTo>
                  <a:lnTo>
                    <a:pt x="204" y="105"/>
                  </a:lnTo>
                  <a:lnTo>
                    <a:pt x="204" y="103"/>
                  </a:lnTo>
                  <a:lnTo>
                    <a:pt x="204" y="100"/>
                  </a:lnTo>
                  <a:lnTo>
                    <a:pt x="204" y="99"/>
                  </a:lnTo>
                  <a:lnTo>
                    <a:pt x="205" y="99"/>
                  </a:lnTo>
                  <a:lnTo>
                    <a:pt x="207" y="96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11" y="90"/>
                  </a:lnTo>
                  <a:lnTo>
                    <a:pt x="211" y="90"/>
                  </a:lnTo>
                  <a:lnTo>
                    <a:pt x="213" y="88"/>
                  </a:lnTo>
                  <a:lnTo>
                    <a:pt x="217" y="88"/>
                  </a:lnTo>
                  <a:lnTo>
                    <a:pt x="219" y="88"/>
                  </a:lnTo>
                  <a:lnTo>
                    <a:pt x="224" y="86"/>
                  </a:lnTo>
                  <a:lnTo>
                    <a:pt x="225" y="85"/>
                  </a:lnTo>
                  <a:lnTo>
                    <a:pt x="228" y="82"/>
                  </a:lnTo>
                  <a:lnTo>
                    <a:pt x="230" y="77"/>
                  </a:lnTo>
                  <a:lnTo>
                    <a:pt x="230" y="77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1" y="77"/>
                  </a:lnTo>
                  <a:lnTo>
                    <a:pt x="231" y="77"/>
                  </a:lnTo>
                  <a:lnTo>
                    <a:pt x="231" y="76"/>
                  </a:lnTo>
                  <a:lnTo>
                    <a:pt x="231" y="76"/>
                  </a:lnTo>
                  <a:lnTo>
                    <a:pt x="233" y="76"/>
                  </a:lnTo>
                  <a:lnTo>
                    <a:pt x="234" y="74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9" y="69"/>
                  </a:lnTo>
                  <a:lnTo>
                    <a:pt x="239" y="68"/>
                  </a:lnTo>
                  <a:lnTo>
                    <a:pt x="239" y="68"/>
                  </a:lnTo>
                  <a:lnTo>
                    <a:pt x="239" y="66"/>
                  </a:lnTo>
                  <a:lnTo>
                    <a:pt x="239" y="66"/>
                  </a:lnTo>
                  <a:lnTo>
                    <a:pt x="241" y="63"/>
                  </a:lnTo>
                  <a:lnTo>
                    <a:pt x="245" y="59"/>
                  </a:lnTo>
                  <a:lnTo>
                    <a:pt x="244" y="57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40"/>
            <p:cNvSpPr>
              <a:spLocks noEditPoints="1"/>
            </p:cNvSpPr>
            <p:nvPr/>
          </p:nvSpPr>
          <p:spPr bwMode="gray">
            <a:xfrm>
              <a:off x="4562475" y="7986713"/>
              <a:ext cx="388938" cy="795338"/>
            </a:xfrm>
            <a:custGeom>
              <a:avLst/>
              <a:gdLst>
                <a:gd name="T0" fmla="*/ 34 w 245"/>
                <a:gd name="T1" fmla="*/ 324 h 501"/>
                <a:gd name="T2" fmla="*/ 236 w 245"/>
                <a:gd name="T3" fmla="*/ 51 h 501"/>
                <a:gd name="T4" fmla="*/ 217 w 245"/>
                <a:gd name="T5" fmla="*/ 42 h 501"/>
                <a:gd name="T6" fmla="*/ 205 w 245"/>
                <a:gd name="T7" fmla="*/ 23 h 501"/>
                <a:gd name="T8" fmla="*/ 174 w 245"/>
                <a:gd name="T9" fmla="*/ 17 h 501"/>
                <a:gd name="T10" fmla="*/ 156 w 245"/>
                <a:gd name="T11" fmla="*/ 33 h 501"/>
                <a:gd name="T12" fmla="*/ 144 w 245"/>
                <a:gd name="T13" fmla="*/ 34 h 501"/>
                <a:gd name="T14" fmla="*/ 122 w 245"/>
                <a:gd name="T15" fmla="*/ 29 h 501"/>
                <a:gd name="T16" fmla="*/ 107 w 245"/>
                <a:gd name="T17" fmla="*/ 34 h 501"/>
                <a:gd name="T18" fmla="*/ 103 w 245"/>
                <a:gd name="T19" fmla="*/ 14 h 501"/>
                <a:gd name="T20" fmla="*/ 90 w 245"/>
                <a:gd name="T21" fmla="*/ 3 h 501"/>
                <a:gd name="T22" fmla="*/ 59 w 245"/>
                <a:gd name="T23" fmla="*/ 17 h 501"/>
                <a:gd name="T24" fmla="*/ 51 w 245"/>
                <a:gd name="T25" fmla="*/ 46 h 501"/>
                <a:gd name="T26" fmla="*/ 53 w 245"/>
                <a:gd name="T27" fmla="*/ 65 h 501"/>
                <a:gd name="T28" fmla="*/ 57 w 245"/>
                <a:gd name="T29" fmla="*/ 90 h 501"/>
                <a:gd name="T30" fmla="*/ 59 w 245"/>
                <a:gd name="T31" fmla="*/ 142 h 501"/>
                <a:gd name="T32" fmla="*/ 63 w 245"/>
                <a:gd name="T33" fmla="*/ 140 h 501"/>
                <a:gd name="T34" fmla="*/ 60 w 245"/>
                <a:gd name="T35" fmla="*/ 148 h 501"/>
                <a:gd name="T36" fmla="*/ 56 w 245"/>
                <a:gd name="T37" fmla="*/ 150 h 501"/>
                <a:gd name="T38" fmla="*/ 53 w 245"/>
                <a:gd name="T39" fmla="*/ 200 h 501"/>
                <a:gd name="T40" fmla="*/ 23 w 245"/>
                <a:gd name="T41" fmla="*/ 262 h 501"/>
                <a:gd name="T42" fmla="*/ 10 w 245"/>
                <a:gd name="T43" fmla="*/ 276 h 501"/>
                <a:gd name="T44" fmla="*/ 0 w 245"/>
                <a:gd name="T45" fmla="*/ 327 h 501"/>
                <a:gd name="T46" fmla="*/ 30 w 245"/>
                <a:gd name="T47" fmla="*/ 334 h 501"/>
                <a:gd name="T48" fmla="*/ 53 w 245"/>
                <a:gd name="T49" fmla="*/ 302 h 501"/>
                <a:gd name="T50" fmla="*/ 40 w 245"/>
                <a:gd name="T51" fmla="*/ 330 h 501"/>
                <a:gd name="T52" fmla="*/ 28 w 245"/>
                <a:gd name="T53" fmla="*/ 341 h 501"/>
                <a:gd name="T54" fmla="*/ 19 w 245"/>
                <a:gd name="T55" fmla="*/ 364 h 501"/>
                <a:gd name="T56" fmla="*/ 53 w 245"/>
                <a:gd name="T57" fmla="*/ 357 h 501"/>
                <a:gd name="T58" fmla="*/ 56 w 245"/>
                <a:gd name="T59" fmla="*/ 357 h 501"/>
                <a:gd name="T60" fmla="*/ 40 w 245"/>
                <a:gd name="T61" fmla="*/ 357 h 501"/>
                <a:gd name="T62" fmla="*/ 45 w 245"/>
                <a:gd name="T63" fmla="*/ 408 h 501"/>
                <a:gd name="T64" fmla="*/ 51 w 245"/>
                <a:gd name="T65" fmla="*/ 431 h 501"/>
                <a:gd name="T66" fmla="*/ 46 w 245"/>
                <a:gd name="T67" fmla="*/ 470 h 501"/>
                <a:gd name="T68" fmla="*/ 40 w 245"/>
                <a:gd name="T69" fmla="*/ 496 h 501"/>
                <a:gd name="T70" fmla="*/ 63 w 245"/>
                <a:gd name="T71" fmla="*/ 485 h 501"/>
                <a:gd name="T72" fmla="*/ 108 w 245"/>
                <a:gd name="T73" fmla="*/ 493 h 501"/>
                <a:gd name="T74" fmla="*/ 127 w 245"/>
                <a:gd name="T75" fmla="*/ 495 h 501"/>
                <a:gd name="T76" fmla="*/ 154 w 245"/>
                <a:gd name="T77" fmla="*/ 479 h 501"/>
                <a:gd name="T78" fmla="*/ 147 w 245"/>
                <a:gd name="T79" fmla="*/ 448 h 501"/>
                <a:gd name="T80" fmla="*/ 150 w 245"/>
                <a:gd name="T81" fmla="*/ 438 h 501"/>
                <a:gd name="T82" fmla="*/ 168 w 245"/>
                <a:gd name="T83" fmla="*/ 405 h 501"/>
                <a:gd name="T84" fmla="*/ 185 w 245"/>
                <a:gd name="T85" fmla="*/ 397 h 501"/>
                <a:gd name="T86" fmla="*/ 177 w 245"/>
                <a:gd name="T87" fmla="*/ 387 h 501"/>
                <a:gd name="T88" fmla="*/ 160 w 245"/>
                <a:gd name="T89" fmla="*/ 357 h 501"/>
                <a:gd name="T90" fmla="*/ 165 w 245"/>
                <a:gd name="T91" fmla="*/ 334 h 501"/>
                <a:gd name="T92" fmla="*/ 182 w 245"/>
                <a:gd name="T93" fmla="*/ 319 h 501"/>
                <a:gd name="T94" fmla="*/ 179 w 245"/>
                <a:gd name="T95" fmla="*/ 297 h 501"/>
                <a:gd name="T96" fmla="*/ 165 w 245"/>
                <a:gd name="T97" fmla="*/ 285 h 501"/>
                <a:gd name="T98" fmla="*/ 154 w 245"/>
                <a:gd name="T99" fmla="*/ 259 h 501"/>
                <a:gd name="T100" fmla="*/ 170 w 245"/>
                <a:gd name="T101" fmla="*/ 244 h 501"/>
                <a:gd name="T102" fmla="*/ 187 w 245"/>
                <a:gd name="T103" fmla="*/ 230 h 501"/>
                <a:gd name="T104" fmla="*/ 193 w 245"/>
                <a:gd name="T105" fmla="*/ 214 h 501"/>
                <a:gd name="T106" fmla="*/ 184 w 245"/>
                <a:gd name="T107" fmla="*/ 191 h 501"/>
                <a:gd name="T108" fmla="*/ 200 w 245"/>
                <a:gd name="T109" fmla="*/ 179 h 501"/>
                <a:gd name="T110" fmla="*/ 199 w 245"/>
                <a:gd name="T111" fmla="*/ 148 h 501"/>
                <a:gd name="T112" fmla="*/ 197 w 245"/>
                <a:gd name="T113" fmla="*/ 128 h 501"/>
                <a:gd name="T114" fmla="*/ 200 w 245"/>
                <a:gd name="T115" fmla="*/ 110 h 501"/>
                <a:gd name="T116" fmla="*/ 225 w 245"/>
                <a:gd name="T117" fmla="*/ 85 h 501"/>
                <a:gd name="T118" fmla="*/ 239 w 245"/>
                <a:gd name="T119" fmla="*/ 68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5" h="501">
                  <a:moveTo>
                    <a:pt x="122" y="498"/>
                  </a:moveTo>
                  <a:lnTo>
                    <a:pt x="122" y="498"/>
                  </a:lnTo>
                  <a:lnTo>
                    <a:pt x="120" y="499"/>
                  </a:lnTo>
                  <a:lnTo>
                    <a:pt x="119" y="499"/>
                  </a:lnTo>
                  <a:lnTo>
                    <a:pt x="114" y="499"/>
                  </a:lnTo>
                  <a:lnTo>
                    <a:pt x="114" y="499"/>
                  </a:lnTo>
                  <a:lnTo>
                    <a:pt x="116" y="501"/>
                  </a:lnTo>
                  <a:lnTo>
                    <a:pt x="119" y="501"/>
                  </a:lnTo>
                  <a:lnTo>
                    <a:pt x="120" y="499"/>
                  </a:lnTo>
                  <a:lnTo>
                    <a:pt x="122" y="499"/>
                  </a:lnTo>
                  <a:lnTo>
                    <a:pt x="122" y="499"/>
                  </a:lnTo>
                  <a:lnTo>
                    <a:pt x="122" y="498"/>
                  </a:lnTo>
                  <a:lnTo>
                    <a:pt x="122" y="498"/>
                  </a:lnTo>
                  <a:lnTo>
                    <a:pt x="122" y="498"/>
                  </a:lnTo>
                  <a:close/>
                  <a:moveTo>
                    <a:pt x="34" y="324"/>
                  </a:moveTo>
                  <a:lnTo>
                    <a:pt x="34" y="322"/>
                  </a:lnTo>
                  <a:lnTo>
                    <a:pt x="34" y="320"/>
                  </a:lnTo>
                  <a:lnTo>
                    <a:pt x="34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1" y="324"/>
                  </a:lnTo>
                  <a:lnTo>
                    <a:pt x="31" y="325"/>
                  </a:lnTo>
                  <a:lnTo>
                    <a:pt x="31" y="327"/>
                  </a:lnTo>
                  <a:lnTo>
                    <a:pt x="33" y="325"/>
                  </a:lnTo>
                  <a:lnTo>
                    <a:pt x="34" y="324"/>
                  </a:lnTo>
                  <a:close/>
                  <a:moveTo>
                    <a:pt x="244" y="57"/>
                  </a:moveTo>
                  <a:lnTo>
                    <a:pt x="242" y="57"/>
                  </a:lnTo>
                  <a:lnTo>
                    <a:pt x="239" y="53"/>
                  </a:lnTo>
                  <a:lnTo>
                    <a:pt x="236" y="51"/>
                  </a:lnTo>
                  <a:lnTo>
                    <a:pt x="233" y="49"/>
                  </a:lnTo>
                  <a:lnTo>
                    <a:pt x="227" y="48"/>
                  </a:lnTo>
                  <a:lnTo>
                    <a:pt x="225" y="48"/>
                  </a:lnTo>
                  <a:lnTo>
                    <a:pt x="225" y="49"/>
                  </a:lnTo>
                  <a:lnTo>
                    <a:pt x="225" y="49"/>
                  </a:lnTo>
                  <a:lnTo>
                    <a:pt x="224" y="49"/>
                  </a:lnTo>
                  <a:lnTo>
                    <a:pt x="222" y="51"/>
                  </a:lnTo>
                  <a:lnTo>
                    <a:pt x="222" y="51"/>
                  </a:lnTo>
                  <a:lnTo>
                    <a:pt x="219" y="49"/>
                  </a:lnTo>
                  <a:lnTo>
                    <a:pt x="219" y="48"/>
                  </a:lnTo>
                  <a:lnTo>
                    <a:pt x="217" y="46"/>
                  </a:lnTo>
                  <a:lnTo>
                    <a:pt x="217" y="45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40"/>
                  </a:lnTo>
                  <a:lnTo>
                    <a:pt x="219" y="39"/>
                  </a:lnTo>
                  <a:lnTo>
                    <a:pt x="221" y="31"/>
                  </a:lnTo>
                  <a:lnTo>
                    <a:pt x="221" y="29"/>
                  </a:lnTo>
                  <a:lnTo>
                    <a:pt x="219" y="29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17" y="23"/>
                  </a:lnTo>
                  <a:lnTo>
                    <a:pt x="217" y="22"/>
                  </a:lnTo>
                  <a:lnTo>
                    <a:pt x="216" y="20"/>
                  </a:lnTo>
                  <a:lnTo>
                    <a:pt x="214" y="20"/>
                  </a:lnTo>
                  <a:lnTo>
                    <a:pt x="213" y="22"/>
                  </a:lnTo>
                  <a:lnTo>
                    <a:pt x="211" y="23"/>
                  </a:lnTo>
                  <a:lnTo>
                    <a:pt x="205" y="23"/>
                  </a:lnTo>
                  <a:lnTo>
                    <a:pt x="204" y="22"/>
                  </a:lnTo>
                  <a:lnTo>
                    <a:pt x="200" y="19"/>
                  </a:lnTo>
                  <a:lnTo>
                    <a:pt x="199" y="17"/>
                  </a:lnTo>
                  <a:lnTo>
                    <a:pt x="197" y="20"/>
                  </a:lnTo>
                  <a:lnTo>
                    <a:pt x="196" y="22"/>
                  </a:lnTo>
                  <a:lnTo>
                    <a:pt x="191" y="22"/>
                  </a:lnTo>
                  <a:lnTo>
                    <a:pt x="190" y="22"/>
                  </a:lnTo>
                  <a:lnTo>
                    <a:pt x="188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4" y="20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7" y="19"/>
                  </a:lnTo>
                  <a:lnTo>
                    <a:pt x="174" y="17"/>
                  </a:lnTo>
                  <a:lnTo>
                    <a:pt x="174" y="17"/>
                  </a:lnTo>
                  <a:lnTo>
                    <a:pt x="173" y="19"/>
                  </a:lnTo>
                  <a:lnTo>
                    <a:pt x="171" y="19"/>
                  </a:lnTo>
                  <a:lnTo>
                    <a:pt x="171" y="20"/>
                  </a:lnTo>
                  <a:lnTo>
                    <a:pt x="170" y="22"/>
                  </a:lnTo>
                  <a:lnTo>
                    <a:pt x="171" y="25"/>
                  </a:lnTo>
                  <a:lnTo>
                    <a:pt x="171" y="26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9"/>
                  </a:lnTo>
                  <a:lnTo>
                    <a:pt x="162" y="31"/>
                  </a:lnTo>
                  <a:lnTo>
                    <a:pt x="160" y="31"/>
                  </a:lnTo>
                  <a:lnTo>
                    <a:pt x="157" y="31"/>
                  </a:lnTo>
                  <a:lnTo>
                    <a:pt x="156" y="33"/>
                  </a:lnTo>
                  <a:lnTo>
                    <a:pt x="156" y="33"/>
                  </a:lnTo>
                  <a:lnTo>
                    <a:pt x="153" y="34"/>
                  </a:lnTo>
                  <a:lnTo>
                    <a:pt x="153" y="36"/>
                  </a:lnTo>
                  <a:lnTo>
                    <a:pt x="153" y="34"/>
                  </a:lnTo>
                  <a:lnTo>
                    <a:pt x="151" y="33"/>
                  </a:lnTo>
                  <a:lnTo>
                    <a:pt x="151" y="31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29"/>
                  </a:lnTo>
                  <a:lnTo>
                    <a:pt x="147" y="29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0" y="34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40" y="29"/>
                  </a:lnTo>
                  <a:lnTo>
                    <a:pt x="136" y="28"/>
                  </a:lnTo>
                  <a:lnTo>
                    <a:pt x="134" y="28"/>
                  </a:lnTo>
                  <a:lnTo>
                    <a:pt x="133" y="26"/>
                  </a:lnTo>
                  <a:lnTo>
                    <a:pt x="131" y="26"/>
                  </a:lnTo>
                  <a:lnTo>
                    <a:pt x="130" y="28"/>
                  </a:lnTo>
                  <a:lnTo>
                    <a:pt x="125" y="28"/>
                  </a:lnTo>
                  <a:lnTo>
                    <a:pt x="123" y="28"/>
                  </a:lnTo>
                  <a:lnTo>
                    <a:pt x="122" y="28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31"/>
                  </a:lnTo>
                  <a:lnTo>
                    <a:pt x="119" y="31"/>
                  </a:lnTo>
                  <a:lnTo>
                    <a:pt x="119" y="28"/>
                  </a:lnTo>
                  <a:lnTo>
                    <a:pt x="117" y="25"/>
                  </a:lnTo>
                  <a:lnTo>
                    <a:pt x="116" y="25"/>
                  </a:lnTo>
                  <a:lnTo>
                    <a:pt x="116" y="26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4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0" y="33"/>
                  </a:lnTo>
                  <a:lnTo>
                    <a:pt x="108" y="34"/>
                  </a:lnTo>
                  <a:lnTo>
                    <a:pt x="107" y="34"/>
                  </a:lnTo>
                  <a:lnTo>
                    <a:pt x="103" y="36"/>
                  </a:lnTo>
                  <a:lnTo>
                    <a:pt x="97" y="36"/>
                  </a:lnTo>
                  <a:lnTo>
                    <a:pt x="97" y="34"/>
                  </a:lnTo>
                  <a:lnTo>
                    <a:pt x="97" y="33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6"/>
                  </a:lnTo>
                  <a:lnTo>
                    <a:pt x="94" y="23"/>
                  </a:lnTo>
                  <a:lnTo>
                    <a:pt x="97" y="20"/>
                  </a:lnTo>
                  <a:lnTo>
                    <a:pt x="100" y="17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3" y="11"/>
                  </a:lnTo>
                  <a:lnTo>
                    <a:pt x="102" y="9"/>
                  </a:lnTo>
                  <a:lnTo>
                    <a:pt x="100" y="9"/>
                  </a:lnTo>
                  <a:lnTo>
                    <a:pt x="99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6" y="8"/>
                  </a:lnTo>
                  <a:lnTo>
                    <a:pt x="96" y="3"/>
                  </a:lnTo>
                  <a:lnTo>
                    <a:pt x="96" y="2"/>
                  </a:lnTo>
                  <a:lnTo>
                    <a:pt x="94" y="0"/>
                  </a:lnTo>
                  <a:lnTo>
                    <a:pt x="93" y="2"/>
                  </a:lnTo>
                  <a:lnTo>
                    <a:pt x="91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88" y="3"/>
                  </a:lnTo>
                  <a:lnTo>
                    <a:pt x="87" y="5"/>
                  </a:lnTo>
                  <a:lnTo>
                    <a:pt x="85" y="6"/>
                  </a:lnTo>
                  <a:lnTo>
                    <a:pt x="74" y="8"/>
                  </a:lnTo>
                  <a:lnTo>
                    <a:pt x="73" y="8"/>
                  </a:lnTo>
                  <a:lnTo>
                    <a:pt x="70" y="9"/>
                  </a:lnTo>
                  <a:lnTo>
                    <a:pt x="68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9" y="17"/>
                  </a:lnTo>
                  <a:lnTo>
                    <a:pt x="57" y="17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4" y="23"/>
                  </a:lnTo>
                  <a:lnTo>
                    <a:pt x="51" y="26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5" y="33"/>
                  </a:lnTo>
                  <a:lnTo>
                    <a:pt x="46" y="36"/>
                  </a:lnTo>
                  <a:lnTo>
                    <a:pt x="45" y="40"/>
                  </a:lnTo>
                  <a:lnTo>
                    <a:pt x="45" y="42"/>
                  </a:lnTo>
                  <a:lnTo>
                    <a:pt x="46" y="45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51" y="46"/>
                  </a:lnTo>
                  <a:lnTo>
                    <a:pt x="59" y="43"/>
                  </a:lnTo>
                  <a:lnTo>
                    <a:pt x="59" y="45"/>
                  </a:lnTo>
                  <a:lnTo>
                    <a:pt x="57" y="46"/>
                  </a:lnTo>
                  <a:lnTo>
                    <a:pt x="56" y="46"/>
                  </a:lnTo>
                  <a:lnTo>
                    <a:pt x="51" y="46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51"/>
                  </a:lnTo>
                  <a:lnTo>
                    <a:pt x="50" y="53"/>
                  </a:lnTo>
                  <a:lnTo>
                    <a:pt x="50" y="54"/>
                  </a:lnTo>
                  <a:lnTo>
                    <a:pt x="51" y="56"/>
                  </a:lnTo>
                  <a:lnTo>
                    <a:pt x="51" y="59"/>
                  </a:lnTo>
                  <a:lnTo>
                    <a:pt x="51" y="62"/>
                  </a:lnTo>
                  <a:lnTo>
                    <a:pt x="53" y="63"/>
                  </a:lnTo>
                  <a:lnTo>
                    <a:pt x="53" y="65"/>
                  </a:lnTo>
                  <a:lnTo>
                    <a:pt x="53" y="66"/>
                  </a:lnTo>
                  <a:lnTo>
                    <a:pt x="53" y="69"/>
                  </a:lnTo>
                  <a:lnTo>
                    <a:pt x="53" y="73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7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7" y="90"/>
                  </a:lnTo>
                  <a:lnTo>
                    <a:pt x="56" y="91"/>
                  </a:lnTo>
                  <a:lnTo>
                    <a:pt x="57" y="93"/>
                  </a:lnTo>
                  <a:lnTo>
                    <a:pt x="59" y="97"/>
                  </a:lnTo>
                  <a:lnTo>
                    <a:pt x="60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2"/>
                  </a:lnTo>
                  <a:lnTo>
                    <a:pt x="62" y="105"/>
                  </a:lnTo>
                  <a:lnTo>
                    <a:pt x="62" y="113"/>
                  </a:lnTo>
                  <a:lnTo>
                    <a:pt x="62" y="116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7" y="146"/>
                  </a:lnTo>
                  <a:lnTo>
                    <a:pt x="57" y="143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7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1"/>
                  </a:lnTo>
                  <a:lnTo>
                    <a:pt x="63" y="133"/>
                  </a:lnTo>
                  <a:lnTo>
                    <a:pt x="60" y="136"/>
                  </a:lnTo>
                  <a:lnTo>
                    <a:pt x="60" y="139"/>
                  </a:lnTo>
                  <a:lnTo>
                    <a:pt x="62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7" y="139"/>
                  </a:lnTo>
                  <a:lnTo>
                    <a:pt x="68" y="139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2"/>
                  </a:lnTo>
                  <a:lnTo>
                    <a:pt x="63" y="142"/>
                  </a:lnTo>
                  <a:lnTo>
                    <a:pt x="62" y="142"/>
                  </a:lnTo>
                  <a:lnTo>
                    <a:pt x="62" y="143"/>
                  </a:lnTo>
                  <a:lnTo>
                    <a:pt x="62" y="145"/>
                  </a:lnTo>
                  <a:lnTo>
                    <a:pt x="63" y="145"/>
                  </a:lnTo>
                  <a:lnTo>
                    <a:pt x="62" y="146"/>
                  </a:lnTo>
                  <a:lnTo>
                    <a:pt x="62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59" y="146"/>
                  </a:lnTo>
                  <a:lnTo>
                    <a:pt x="59" y="148"/>
                  </a:lnTo>
                  <a:lnTo>
                    <a:pt x="59" y="148"/>
                  </a:lnTo>
                  <a:lnTo>
                    <a:pt x="59" y="150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7" y="150"/>
                  </a:lnTo>
                  <a:lnTo>
                    <a:pt x="56" y="153"/>
                  </a:lnTo>
                  <a:lnTo>
                    <a:pt x="56" y="151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54" y="156"/>
                  </a:lnTo>
                  <a:lnTo>
                    <a:pt x="53" y="160"/>
                  </a:lnTo>
                  <a:lnTo>
                    <a:pt x="51" y="167"/>
                  </a:lnTo>
                  <a:lnTo>
                    <a:pt x="46" y="187"/>
                  </a:lnTo>
                  <a:lnTo>
                    <a:pt x="45" y="191"/>
                  </a:lnTo>
                  <a:lnTo>
                    <a:pt x="43" y="193"/>
                  </a:lnTo>
                  <a:lnTo>
                    <a:pt x="43" y="196"/>
                  </a:lnTo>
                  <a:lnTo>
                    <a:pt x="45" y="197"/>
                  </a:lnTo>
                  <a:lnTo>
                    <a:pt x="45" y="197"/>
                  </a:lnTo>
                  <a:lnTo>
                    <a:pt x="50" y="197"/>
                  </a:lnTo>
                  <a:lnTo>
                    <a:pt x="50" y="199"/>
                  </a:lnTo>
                  <a:lnTo>
                    <a:pt x="51" y="199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199"/>
                  </a:lnTo>
                  <a:lnTo>
                    <a:pt x="46" y="200"/>
                  </a:lnTo>
                  <a:lnTo>
                    <a:pt x="37" y="228"/>
                  </a:lnTo>
                  <a:lnTo>
                    <a:pt x="31" y="244"/>
                  </a:lnTo>
                  <a:lnTo>
                    <a:pt x="31" y="247"/>
                  </a:lnTo>
                  <a:lnTo>
                    <a:pt x="30" y="250"/>
                  </a:lnTo>
                  <a:lnTo>
                    <a:pt x="30" y="251"/>
                  </a:lnTo>
                  <a:lnTo>
                    <a:pt x="30" y="253"/>
                  </a:lnTo>
                  <a:lnTo>
                    <a:pt x="28" y="256"/>
                  </a:lnTo>
                  <a:lnTo>
                    <a:pt x="28" y="257"/>
                  </a:lnTo>
                  <a:lnTo>
                    <a:pt x="26" y="259"/>
                  </a:lnTo>
                  <a:lnTo>
                    <a:pt x="25" y="260"/>
                  </a:lnTo>
                  <a:lnTo>
                    <a:pt x="23" y="262"/>
                  </a:lnTo>
                  <a:lnTo>
                    <a:pt x="22" y="262"/>
                  </a:lnTo>
                  <a:lnTo>
                    <a:pt x="20" y="265"/>
                  </a:lnTo>
                  <a:lnTo>
                    <a:pt x="19" y="267"/>
                  </a:lnTo>
                  <a:lnTo>
                    <a:pt x="20" y="268"/>
                  </a:lnTo>
                  <a:lnTo>
                    <a:pt x="22" y="270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19" y="268"/>
                  </a:lnTo>
                  <a:lnTo>
                    <a:pt x="17" y="268"/>
                  </a:lnTo>
                  <a:lnTo>
                    <a:pt x="16" y="270"/>
                  </a:lnTo>
                  <a:lnTo>
                    <a:pt x="11" y="274"/>
                  </a:lnTo>
                  <a:lnTo>
                    <a:pt x="6" y="273"/>
                  </a:lnTo>
                  <a:lnTo>
                    <a:pt x="6" y="273"/>
                  </a:lnTo>
                  <a:lnTo>
                    <a:pt x="6" y="274"/>
                  </a:lnTo>
                  <a:lnTo>
                    <a:pt x="10" y="276"/>
                  </a:lnTo>
                  <a:lnTo>
                    <a:pt x="10" y="279"/>
                  </a:lnTo>
                  <a:lnTo>
                    <a:pt x="11" y="284"/>
                  </a:lnTo>
                  <a:lnTo>
                    <a:pt x="11" y="287"/>
                  </a:lnTo>
                  <a:lnTo>
                    <a:pt x="11" y="290"/>
                  </a:lnTo>
                  <a:lnTo>
                    <a:pt x="10" y="293"/>
                  </a:lnTo>
                  <a:lnTo>
                    <a:pt x="8" y="296"/>
                  </a:lnTo>
                  <a:lnTo>
                    <a:pt x="5" y="300"/>
                  </a:lnTo>
                  <a:lnTo>
                    <a:pt x="5" y="304"/>
                  </a:lnTo>
                  <a:lnTo>
                    <a:pt x="3" y="307"/>
                  </a:lnTo>
                  <a:lnTo>
                    <a:pt x="5" y="310"/>
                  </a:lnTo>
                  <a:lnTo>
                    <a:pt x="5" y="316"/>
                  </a:lnTo>
                  <a:lnTo>
                    <a:pt x="3" y="324"/>
                  </a:lnTo>
                  <a:lnTo>
                    <a:pt x="0" y="325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8"/>
                  </a:lnTo>
                  <a:lnTo>
                    <a:pt x="0" y="333"/>
                  </a:lnTo>
                  <a:lnTo>
                    <a:pt x="0" y="334"/>
                  </a:lnTo>
                  <a:lnTo>
                    <a:pt x="0" y="336"/>
                  </a:lnTo>
                  <a:lnTo>
                    <a:pt x="2" y="337"/>
                  </a:lnTo>
                  <a:lnTo>
                    <a:pt x="5" y="336"/>
                  </a:lnTo>
                  <a:lnTo>
                    <a:pt x="6" y="337"/>
                  </a:lnTo>
                  <a:lnTo>
                    <a:pt x="10" y="339"/>
                  </a:lnTo>
                  <a:lnTo>
                    <a:pt x="13" y="341"/>
                  </a:lnTo>
                  <a:lnTo>
                    <a:pt x="14" y="339"/>
                  </a:lnTo>
                  <a:lnTo>
                    <a:pt x="16" y="337"/>
                  </a:lnTo>
                  <a:lnTo>
                    <a:pt x="20" y="337"/>
                  </a:lnTo>
                  <a:lnTo>
                    <a:pt x="25" y="337"/>
                  </a:lnTo>
                  <a:lnTo>
                    <a:pt x="28" y="336"/>
                  </a:lnTo>
                  <a:lnTo>
                    <a:pt x="30" y="334"/>
                  </a:lnTo>
                  <a:lnTo>
                    <a:pt x="30" y="331"/>
                  </a:lnTo>
                  <a:lnTo>
                    <a:pt x="30" y="328"/>
                  </a:lnTo>
                  <a:lnTo>
                    <a:pt x="28" y="327"/>
                  </a:lnTo>
                  <a:lnTo>
                    <a:pt x="30" y="325"/>
                  </a:lnTo>
                  <a:lnTo>
                    <a:pt x="30" y="324"/>
                  </a:lnTo>
                  <a:lnTo>
                    <a:pt x="33" y="320"/>
                  </a:lnTo>
                  <a:lnTo>
                    <a:pt x="36" y="313"/>
                  </a:lnTo>
                  <a:lnTo>
                    <a:pt x="40" y="308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8" y="304"/>
                  </a:lnTo>
                  <a:lnTo>
                    <a:pt x="53" y="300"/>
                  </a:lnTo>
                  <a:lnTo>
                    <a:pt x="54" y="299"/>
                  </a:lnTo>
                  <a:lnTo>
                    <a:pt x="53" y="300"/>
                  </a:lnTo>
                  <a:lnTo>
                    <a:pt x="53" y="302"/>
                  </a:lnTo>
                  <a:lnTo>
                    <a:pt x="50" y="304"/>
                  </a:lnTo>
                  <a:lnTo>
                    <a:pt x="48" y="305"/>
                  </a:lnTo>
                  <a:lnTo>
                    <a:pt x="45" y="305"/>
                  </a:lnTo>
                  <a:lnTo>
                    <a:pt x="43" y="305"/>
                  </a:lnTo>
                  <a:lnTo>
                    <a:pt x="40" y="307"/>
                  </a:lnTo>
                  <a:lnTo>
                    <a:pt x="39" y="310"/>
                  </a:lnTo>
                  <a:lnTo>
                    <a:pt x="36" y="317"/>
                  </a:lnTo>
                  <a:lnTo>
                    <a:pt x="36" y="319"/>
                  </a:lnTo>
                  <a:lnTo>
                    <a:pt x="37" y="322"/>
                  </a:lnTo>
                  <a:lnTo>
                    <a:pt x="37" y="324"/>
                  </a:lnTo>
                  <a:lnTo>
                    <a:pt x="39" y="324"/>
                  </a:lnTo>
                  <a:lnTo>
                    <a:pt x="39" y="325"/>
                  </a:lnTo>
                  <a:lnTo>
                    <a:pt x="39" y="327"/>
                  </a:lnTo>
                  <a:lnTo>
                    <a:pt x="40" y="328"/>
                  </a:lnTo>
                  <a:lnTo>
                    <a:pt x="40" y="330"/>
                  </a:lnTo>
                  <a:lnTo>
                    <a:pt x="40" y="330"/>
                  </a:lnTo>
                  <a:lnTo>
                    <a:pt x="40" y="330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37" y="333"/>
                  </a:lnTo>
                  <a:lnTo>
                    <a:pt x="36" y="334"/>
                  </a:lnTo>
                  <a:lnTo>
                    <a:pt x="34" y="336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1" y="337"/>
                  </a:lnTo>
                  <a:lnTo>
                    <a:pt x="30" y="339"/>
                  </a:lnTo>
                  <a:lnTo>
                    <a:pt x="28" y="339"/>
                  </a:lnTo>
                  <a:lnTo>
                    <a:pt x="28" y="341"/>
                  </a:lnTo>
                  <a:lnTo>
                    <a:pt x="28" y="341"/>
                  </a:lnTo>
                  <a:lnTo>
                    <a:pt x="28" y="341"/>
                  </a:lnTo>
                  <a:lnTo>
                    <a:pt x="26" y="339"/>
                  </a:lnTo>
                  <a:lnTo>
                    <a:pt x="23" y="339"/>
                  </a:lnTo>
                  <a:lnTo>
                    <a:pt x="19" y="341"/>
                  </a:lnTo>
                  <a:lnTo>
                    <a:pt x="17" y="341"/>
                  </a:lnTo>
                  <a:lnTo>
                    <a:pt x="19" y="344"/>
                  </a:lnTo>
                  <a:lnTo>
                    <a:pt x="22" y="347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2" y="359"/>
                  </a:lnTo>
                  <a:lnTo>
                    <a:pt x="20" y="361"/>
                  </a:lnTo>
                  <a:lnTo>
                    <a:pt x="20" y="362"/>
                  </a:lnTo>
                  <a:lnTo>
                    <a:pt x="19" y="362"/>
                  </a:lnTo>
                  <a:lnTo>
                    <a:pt x="19" y="362"/>
                  </a:lnTo>
                  <a:lnTo>
                    <a:pt x="19" y="364"/>
                  </a:lnTo>
                  <a:lnTo>
                    <a:pt x="19" y="364"/>
                  </a:lnTo>
                  <a:lnTo>
                    <a:pt x="20" y="364"/>
                  </a:lnTo>
                  <a:lnTo>
                    <a:pt x="22" y="365"/>
                  </a:lnTo>
                  <a:lnTo>
                    <a:pt x="23" y="364"/>
                  </a:lnTo>
                  <a:lnTo>
                    <a:pt x="25" y="364"/>
                  </a:lnTo>
                  <a:lnTo>
                    <a:pt x="26" y="362"/>
                  </a:lnTo>
                  <a:lnTo>
                    <a:pt x="33" y="362"/>
                  </a:lnTo>
                  <a:lnTo>
                    <a:pt x="37" y="361"/>
                  </a:lnTo>
                  <a:lnTo>
                    <a:pt x="37" y="359"/>
                  </a:lnTo>
                  <a:lnTo>
                    <a:pt x="40" y="356"/>
                  </a:lnTo>
                  <a:lnTo>
                    <a:pt x="43" y="354"/>
                  </a:lnTo>
                  <a:lnTo>
                    <a:pt x="46" y="356"/>
                  </a:lnTo>
                  <a:lnTo>
                    <a:pt x="50" y="357"/>
                  </a:lnTo>
                  <a:lnTo>
                    <a:pt x="51" y="357"/>
                  </a:lnTo>
                  <a:lnTo>
                    <a:pt x="53" y="357"/>
                  </a:lnTo>
                  <a:lnTo>
                    <a:pt x="53" y="357"/>
                  </a:lnTo>
                  <a:lnTo>
                    <a:pt x="53" y="356"/>
                  </a:lnTo>
                  <a:lnTo>
                    <a:pt x="53" y="354"/>
                  </a:lnTo>
                  <a:lnTo>
                    <a:pt x="51" y="354"/>
                  </a:lnTo>
                  <a:lnTo>
                    <a:pt x="51" y="353"/>
                  </a:lnTo>
                  <a:lnTo>
                    <a:pt x="53" y="353"/>
                  </a:lnTo>
                  <a:lnTo>
                    <a:pt x="54" y="350"/>
                  </a:lnTo>
                  <a:lnTo>
                    <a:pt x="54" y="350"/>
                  </a:lnTo>
                  <a:lnTo>
                    <a:pt x="54" y="351"/>
                  </a:lnTo>
                  <a:lnTo>
                    <a:pt x="54" y="353"/>
                  </a:lnTo>
                  <a:lnTo>
                    <a:pt x="56" y="354"/>
                  </a:lnTo>
                  <a:lnTo>
                    <a:pt x="56" y="354"/>
                  </a:lnTo>
                  <a:lnTo>
                    <a:pt x="56" y="354"/>
                  </a:lnTo>
                  <a:lnTo>
                    <a:pt x="56" y="356"/>
                  </a:lnTo>
                  <a:lnTo>
                    <a:pt x="56" y="356"/>
                  </a:lnTo>
                  <a:lnTo>
                    <a:pt x="56" y="357"/>
                  </a:lnTo>
                  <a:lnTo>
                    <a:pt x="56" y="359"/>
                  </a:lnTo>
                  <a:lnTo>
                    <a:pt x="56" y="361"/>
                  </a:lnTo>
                  <a:lnTo>
                    <a:pt x="56" y="361"/>
                  </a:lnTo>
                  <a:lnTo>
                    <a:pt x="62" y="364"/>
                  </a:lnTo>
                  <a:lnTo>
                    <a:pt x="63" y="364"/>
                  </a:lnTo>
                  <a:lnTo>
                    <a:pt x="67" y="364"/>
                  </a:lnTo>
                  <a:lnTo>
                    <a:pt x="62" y="365"/>
                  </a:lnTo>
                  <a:lnTo>
                    <a:pt x="54" y="364"/>
                  </a:lnTo>
                  <a:lnTo>
                    <a:pt x="51" y="364"/>
                  </a:lnTo>
                  <a:lnTo>
                    <a:pt x="51" y="362"/>
                  </a:lnTo>
                  <a:lnTo>
                    <a:pt x="50" y="361"/>
                  </a:lnTo>
                  <a:lnTo>
                    <a:pt x="46" y="361"/>
                  </a:lnTo>
                  <a:lnTo>
                    <a:pt x="43" y="357"/>
                  </a:lnTo>
                  <a:lnTo>
                    <a:pt x="42" y="357"/>
                  </a:lnTo>
                  <a:lnTo>
                    <a:pt x="40" y="357"/>
                  </a:lnTo>
                  <a:lnTo>
                    <a:pt x="43" y="359"/>
                  </a:lnTo>
                  <a:lnTo>
                    <a:pt x="45" y="361"/>
                  </a:lnTo>
                  <a:lnTo>
                    <a:pt x="48" y="364"/>
                  </a:lnTo>
                  <a:lnTo>
                    <a:pt x="50" y="365"/>
                  </a:lnTo>
                  <a:lnTo>
                    <a:pt x="51" y="370"/>
                  </a:lnTo>
                  <a:lnTo>
                    <a:pt x="53" y="374"/>
                  </a:lnTo>
                  <a:lnTo>
                    <a:pt x="53" y="381"/>
                  </a:lnTo>
                  <a:lnTo>
                    <a:pt x="53" y="385"/>
                  </a:lnTo>
                  <a:lnTo>
                    <a:pt x="51" y="391"/>
                  </a:lnTo>
                  <a:lnTo>
                    <a:pt x="50" y="397"/>
                  </a:lnTo>
                  <a:lnTo>
                    <a:pt x="46" y="405"/>
                  </a:lnTo>
                  <a:lnTo>
                    <a:pt x="46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8"/>
                  </a:lnTo>
                  <a:lnTo>
                    <a:pt x="48" y="410"/>
                  </a:lnTo>
                  <a:lnTo>
                    <a:pt x="50" y="410"/>
                  </a:lnTo>
                  <a:lnTo>
                    <a:pt x="51" y="413"/>
                  </a:lnTo>
                  <a:lnTo>
                    <a:pt x="51" y="414"/>
                  </a:lnTo>
                  <a:lnTo>
                    <a:pt x="51" y="418"/>
                  </a:lnTo>
                  <a:lnTo>
                    <a:pt x="51" y="424"/>
                  </a:lnTo>
                  <a:lnTo>
                    <a:pt x="50" y="428"/>
                  </a:lnTo>
                  <a:lnTo>
                    <a:pt x="51" y="430"/>
                  </a:lnTo>
                  <a:lnTo>
                    <a:pt x="53" y="430"/>
                  </a:lnTo>
                  <a:lnTo>
                    <a:pt x="54" y="428"/>
                  </a:lnTo>
                  <a:lnTo>
                    <a:pt x="56" y="428"/>
                  </a:lnTo>
                  <a:lnTo>
                    <a:pt x="56" y="428"/>
                  </a:lnTo>
                  <a:lnTo>
                    <a:pt x="54" y="431"/>
                  </a:lnTo>
                  <a:lnTo>
                    <a:pt x="53" y="431"/>
                  </a:lnTo>
                  <a:lnTo>
                    <a:pt x="51" y="431"/>
                  </a:lnTo>
                  <a:lnTo>
                    <a:pt x="51" y="434"/>
                  </a:lnTo>
                  <a:lnTo>
                    <a:pt x="51" y="438"/>
                  </a:lnTo>
                  <a:lnTo>
                    <a:pt x="50" y="441"/>
                  </a:lnTo>
                  <a:lnTo>
                    <a:pt x="50" y="442"/>
                  </a:lnTo>
                  <a:lnTo>
                    <a:pt x="51" y="444"/>
                  </a:lnTo>
                  <a:lnTo>
                    <a:pt x="51" y="445"/>
                  </a:lnTo>
                  <a:lnTo>
                    <a:pt x="51" y="447"/>
                  </a:lnTo>
                  <a:lnTo>
                    <a:pt x="51" y="451"/>
                  </a:lnTo>
                  <a:lnTo>
                    <a:pt x="51" y="454"/>
                  </a:lnTo>
                  <a:lnTo>
                    <a:pt x="50" y="458"/>
                  </a:lnTo>
                  <a:lnTo>
                    <a:pt x="50" y="461"/>
                  </a:lnTo>
                  <a:lnTo>
                    <a:pt x="48" y="464"/>
                  </a:lnTo>
                  <a:lnTo>
                    <a:pt x="46" y="465"/>
                  </a:lnTo>
                  <a:lnTo>
                    <a:pt x="45" y="468"/>
                  </a:lnTo>
                  <a:lnTo>
                    <a:pt x="46" y="470"/>
                  </a:lnTo>
                  <a:lnTo>
                    <a:pt x="46" y="471"/>
                  </a:lnTo>
                  <a:lnTo>
                    <a:pt x="45" y="476"/>
                  </a:lnTo>
                  <a:lnTo>
                    <a:pt x="43" y="478"/>
                  </a:lnTo>
                  <a:lnTo>
                    <a:pt x="42" y="478"/>
                  </a:lnTo>
                  <a:lnTo>
                    <a:pt x="43" y="481"/>
                  </a:lnTo>
                  <a:lnTo>
                    <a:pt x="42" y="484"/>
                  </a:lnTo>
                  <a:lnTo>
                    <a:pt x="40" y="485"/>
                  </a:lnTo>
                  <a:lnTo>
                    <a:pt x="39" y="490"/>
                  </a:lnTo>
                  <a:lnTo>
                    <a:pt x="37" y="491"/>
                  </a:lnTo>
                  <a:lnTo>
                    <a:pt x="37" y="493"/>
                  </a:lnTo>
                  <a:lnTo>
                    <a:pt x="37" y="495"/>
                  </a:lnTo>
                  <a:lnTo>
                    <a:pt x="37" y="495"/>
                  </a:lnTo>
                  <a:lnTo>
                    <a:pt x="39" y="495"/>
                  </a:lnTo>
                  <a:lnTo>
                    <a:pt x="39" y="496"/>
                  </a:lnTo>
                  <a:lnTo>
                    <a:pt x="40" y="496"/>
                  </a:lnTo>
                  <a:lnTo>
                    <a:pt x="42" y="496"/>
                  </a:lnTo>
                  <a:lnTo>
                    <a:pt x="43" y="495"/>
                  </a:lnTo>
                  <a:lnTo>
                    <a:pt x="43" y="495"/>
                  </a:lnTo>
                  <a:lnTo>
                    <a:pt x="45" y="495"/>
                  </a:lnTo>
                  <a:lnTo>
                    <a:pt x="45" y="493"/>
                  </a:lnTo>
                  <a:lnTo>
                    <a:pt x="46" y="493"/>
                  </a:lnTo>
                  <a:lnTo>
                    <a:pt x="48" y="491"/>
                  </a:lnTo>
                  <a:lnTo>
                    <a:pt x="51" y="491"/>
                  </a:lnTo>
                  <a:lnTo>
                    <a:pt x="51" y="491"/>
                  </a:lnTo>
                  <a:lnTo>
                    <a:pt x="53" y="490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60" y="490"/>
                  </a:lnTo>
                  <a:lnTo>
                    <a:pt x="62" y="487"/>
                  </a:lnTo>
                  <a:lnTo>
                    <a:pt x="63" y="485"/>
                  </a:lnTo>
                  <a:lnTo>
                    <a:pt x="65" y="485"/>
                  </a:lnTo>
                  <a:lnTo>
                    <a:pt x="68" y="485"/>
                  </a:lnTo>
                  <a:lnTo>
                    <a:pt x="71" y="485"/>
                  </a:lnTo>
                  <a:lnTo>
                    <a:pt x="76" y="488"/>
                  </a:lnTo>
                  <a:lnTo>
                    <a:pt x="76" y="488"/>
                  </a:lnTo>
                  <a:lnTo>
                    <a:pt x="79" y="490"/>
                  </a:lnTo>
                  <a:lnTo>
                    <a:pt x="82" y="488"/>
                  </a:lnTo>
                  <a:lnTo>
                    <a:pt x="83" y="488"/>
                  </a:lnTo>
                  <a:lnTo>
                    <a:pt x="87" y="488"/>
                  </a:lnTo>
                  <a:lnTo>
                    <a:pt x="90" y="490"/>
                  </a:lnTo>
                  <a:lnTo>
                    <a:pt x="96" y="488"/>
                  </a:lnTo>
                  <a:lnTo>
                    <a:pt x="97" y="488"/>
                  </a:lnTo>
                  <a:lnTo>
                    <a:pt x="100" y="490"/>
                  </a:lnTo>
                  <a:lnTo>
                    <a:pt x="103" y="490"/>
                  </a:lnTo>
                  <a:lnTo>
                    <a:pt x="108" y="493"/>
                  </a:lnTo>
                  <a:lnTo>
                    <a:pt x="111" y="496"/>
                  </a:lnTo>
                  <a:lnTo>
                    <a:pt x="113" y="498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1" y="496"/>
                  </a:lnTo>
                  <a:lnTo>
                    <a:pt x="113" y="496"/>
                  </a:lnTo>
                  <a:lnTo>
                    <a:pt x="113" y="496"/>
                  </a:lnTo>
                  <a:lnTo>
                    <a:pt x="114" y="496"/>
                  </a:lnTo>
                  <a:lnTo>
                    <a:pt x="114" y="496"/>
                  </a:lnTo>
                  <a:lnTo>
                    <a:pt x="116" y="496"/>
                  </a:lnTo>
                  <a:lnTo>
                    <a:pt x="120" y="496"/>
                  </a:lnTo>
                  <a:lnTo>
                    <a:pt x="122" y="496"/>
                  </a:lnTo>
                  <a:lnTo>
                    <a:pt x="123" y="498"/>
                  </a:lnTo>
                  <a:lnTo>
                    <a:pt x="125" y="498"/>
                  </a:lnTo>
                  <a:lnTo>
                    <a:pt x="127" y="495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4" y="484"/>
                  </a:lnTo>
                  <a:lnTo>
                    <a:pt x="145" y="484"/>
                  </a:lnTo>
                  <a:lnTo>
                    <a:pt x="148" y="481"/>
                  </a:lnTo>
                  <a:lnTo>
                    <a:pt x="150" y="481"/>
                  </a:lnTo>
                  <a:lnTo>
                    <a:pt x="151" y="481"/>
                  </a:lnTo>
                  <a:lnTo>
                    <a:pt x="153" y="481"/>
                  </a:lnTo>
                  <a:lnTo>
                    <a:pt x="154" y="481"/>
                  </a:lnTo>
                  <a:lnTo>
                    <a:pt x="156" y="482"/>
                  </a:lnTo>
                  <a:lnTo>
                    <a:pt x="156" y="481"/>
                  </a:lnTo>
                  <a:lnTo>
                    <a:pt x="156" y="481"/>
                  </a:lnTo>
                  <a:lnTo>
                    <a:pt x="156" y="481"/>
                  </a:lnTo>
                  <a:lnTo>
                    <a:pt x="154" y="479"/>
                  </a:lnTo>
                  <a:lnTo>
                    <a:pt x="154" y="479"/>
                  </a:lnTo>
                  <a:lnTo>
                    <a:pt x="154" y="479"/>
                  </a:lnTo>
                  <a:lnTo>
                    <a:pt x="153" y="474"/>
                  </a:lnTo>
                  <a:lnTo>
                    <a:pt x="153" y="473"/>
                  </a:lnTo>
                  <a:lnTo>
                    <a:pt x="154" y="471"/>
                  </a:lnTo>
                  <a:lnTo>
                    <a:pt x="153" y="468"/>
                  </a:lnTo>
                  <a:lnTo>
                    <a:pt x="153" y="461"/>
                  </a:lnTo>
                  <a:lnTo>
                    <a:pt x="151" y="458"/>
                  </a:lnTo>
                  <a:lnTo>
                    <a:pt x="151" y="458"/>
                  </a:lnTo>
                  <a:lnTo>
                    <a:pt x="151" y="454"/>
                  </a:lnTo>
                  <a:lnTo>
                    <a:pt x="151" y="453"/>
                  </a:lnTo>
                  <a:lnTo>
                    <a:pt x="150" y="451"/>
                  </a:lnTo>
                  <a:lnTo>
                    <a:pt x="150" y="450"/>
                  </a:lnTo>
                  <a:lnTo>
                    <a:pt x="148" y="450"/>
                  </a:lnTo>
                  <a:lnTo>
                    <a:pt x="148" y="448"/>
                  </a:lnTo>
                  <a:lnTo>
                    <a:pt x="147" y="448"/>
                  </a:lnTo>
                  <a:lnTo>
                    <a:pt x="147" y="448"/>
                  </a:lnTo>
                  <a:lnTo>
                    <a:pt x="147" y="447"/>
                  </a:lnTo>
                  <a:lnTo>
                    <a:pt x="147" y="447"/>
                  </a:lnTo>
                  <a:lnTo>
                    <a:pt x="147" y="445"/>
                  </a:lnTo>
                  <a:lnTo>
                    <a:pt x="147" y="445"/>
                  </a:lnTo>
                  <a:lnTo>
                    <a:pt x="147" y="445"/>
                  </a:lnTo>
                  <a:lnTo>
                    <a:pt x="147" y="444"/>
                  </a:lnTo>
                  <a:lnTo>
                    <a:pt x="147" y="444"/>
                  </a:lnTo>
                  <a:lnTo>
                    <a:pt x="147" y="442"/>
                  </a:lnTo>
                  <a:lnTo>
                    <a:pt x="147" y="442"/>
                  </a:lnTo>
                  <a:lnTo>
                    <a:pt x="147" y="442"/>
                  </a:lnTo>
                  <a:lnTo>
                    <a:pt x="148" y="442"/>
                  </a:lnTo>
                  <a:lnTo>
                    <a:pt x="147" y="441"/>
                  </a:lnTo>
                  <a:lnTo>
                    <a:pt x="148" y="441"/>
                  </a:lnTo>
                  <a:lnTo>
                    <a:pt x="150" y="438"/>
                  </a:lnTo>
                  <a:lnTo>
                    <a:pt x="150" y="438"/>
                  </a:lnTo>
                  <a:lnTo>
                    <a:pt x="151" y="436"/>
                  </a:lnTo>
                  <a:lnTo>
                    <a:pt x="151" y="431"/>
                  </a:lnTo>
                  <a:lnTo>
                    <a:pt x="153" y="428"/>
                  </a:lnTo>
                  <a:lnTo>
                    <a:pt x="154" y="427"/>
                  </a:lnTo>
                  <a:lnTo>
                    <a:pt x="160" y="421"/>
                  </a:lnTo>
                  <a:lnTo>
                    <a:pt x="162" y="418"/>
                  </a:lnTo>
                  <a:lnTo>
                    <a:pt x="164" y="414"/>
                  </a:lnTo>
                  <a:lnTo>
                    <a:pt x="165" y="410"/>
                  </a:lnTo>
                  <a:lnTo>
                    <a:pt x="165" y="408"/>
                  </a:lnTo>
                  <a:lnTo>
                    <a:pt x="165" y="407"/>
                  </a:lnTo>
                  <a:lnTo>
                    <a:pt x="165" y="407"/>
                  </a:lnTo>
                  <a:lnTo>
                    <a:pt x="165" y="405"/>
                  </a:lnTo>
                  <a:lnTo>
                    <a:pt x="165" y="405"/>
                  </a:lnTo>
                  <a:lnTo>
                    <a:pt x="168" y="405"/>
                  </a:lnTo>
                  <a:lnTo>
                    <a:pt x="168" y="404"/>
                  </a:lnTo>
                  <a:lnTo>
                    <a:pt x="170" y="404"/>
                  </a:lnTo>
                  <a:lnTo>
                    <a:pt x="171" y="404"/>
                  </a:lnTo>
                  <a:lnTo>
                    <a:pt x="171" y="405"/>
                  </a:lnTo>
                  <a:lnTo>
                    <a:pt x="173" y="404"/>
                  </a:lnTo>
                  <a:lnTo>
                    <a:pt x="174" y="404"/>
                  </a:lnTo>
                  <a:lnTo>
                    <a:pt x="174" y="404"/>
                  </a:lnTo>
                  <a:lnTo>
                    <a:pt x="174" y="402"/>
                  </a:lnTo>
                  <a:lnTo>
                    <a:pt x="176" y="401"/>
                  </a:lnTo>
                  <a:lnTo>
                    <a:pt x="176" y="399"/>
                  </a:lnTo>
                  <a:lnTo>
                    <a:pt x="177" y="401"/>
                  </a:lnTo>
                  <a:lnTo>
                    <a:pt x="182" y="402"/>
                  </a:lnTo>
                  <a:lnTo>
                    <a:pt x="184" y="401"/>
                  </a:lnTo>
                  <a:lnTo>
                    <a:pt x="184" y="399"/>
                  </a:lnTo>
                  <a:lnTo>
                    <a:pt x="185" y="397"/>
                  </a:lnTo>
                  <a:lnTo>
                    <a:pt x="185" y="394"/>
                  </a:lnTo>
                  <a:lnTo>
                    <a:pt x="187" y="393"/>
                  </a:lnTo>
                  <a:lnTo>
                    <a:pt x="188" y="388"/>
                  </a:lnTo>
                  <a:lnTo>
                    <a:pt x="188" y="388"/>
                  </a:lnTo>
                  <a:lnTo>
                    <a:pt x="190" y="385"/>
                  </a:lnTo>
                  <a:lnTo>
                    <a:pt x="190" y="385"/>
                  </a:lnTo>
                  <a:lnTo>
                    <a:pt x="188" y="384"/>
                  </a:lnTo>
                  <a:lnTo>
                    <a:pt x="187" y="384"/>
                  </a:lnTo>
                  <a:lnTo>
                    <a:pt x="184" y="385"/>
                  </a:lnTo>
                  <a:lnTo>
                    <a:pt x="184" y="385"/>
                  </a:lnTo>
                  <a:lnTo>
                    <a:pt x="184" y="385"/>
                  </a:lnTo>
                  <a:lnTo>
                    <a:pt x="182" y="385"/>
                  </a:lnTo>
                  <a:lnTo>
                    <a:pt x="180" y="387"/>
                  </a:lnTo>
                  <a:lnTo>
                    <a:pt x="179" y="387"/>
                  </a:lnTo>
                  <a:lnTo>
                    <a:pt x="177" y="387"/>
                  </a:lnTo>
                  <a:lnTo>
                    <a:pt x="177" y="387"/>
                  </a:lnTo>
                  <a:lnTo>
                    <a:pt x="176" y="385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0" y="374"/>
                  </a:lnTo>
                  <a:lnTo>
                    <a:pt x="170" y="373"/>
                  </a:lnTo>
                  <a:lnTo>
                    <a:pt x="162" y="364"/>
                  </a:lnTo>
                  <a:lnTo>
                    <a:pt x="160" y="362"/>
                  </a:lnTo>
                  <a:lnTo>
                    <a:pt x="159" y="362"/>
                  </a:lnTo>
                  <a:lnTo>
                    <a:pt x="160" y="361"/>
                  </a:lnTo>
                  <a:lnTo>
                    <a:pt x="160" y="359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6"/>
                  </a:lnTo>
                  <a:lnTo>
                    <a:pt x="162" y="351"/>
                  </a:lnTo>
                  <a:lnTo>
                    <a:pt x="165" y="347"/>
                  </a:lnTo>
                  <a:lnTo>
                    <a:pt x="165" y="345"/>
                  </a:lnTo>
                  <a:lnTo>
                    <a:pt x="165" y="344"/>
                  </a:lnTo>
                  <a:lnTo>
                    <a:pt x="165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39"/>
                  </a:lnTo>
                  <a:lnTo>
                    <a:pt x="165" y="336"/>
                  </a:lnTo>
                  <a:lnTo>
                    <a:pt x="165" y="336"/>
                  </a:lnTo>
                  <a:lnTo>
                    <a:pt x="165" y="334"/>
                  </a:lnTo>
                  <a:lnTo>
                    <a:pt x="165" y="334"/>
                  </a:lnTo>
                  <a:lnTo>
                    <a:pt x="168" y="331"/>
                  </a:lnTo>
                  <a:lnTo>
                    <a:pt x="170" y="330"/>
                  </a:lnTo>
                  <a:lnTo>
                    <a:pt x="171" y="33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27"/>
                  </a:lnTo>
                  <a:lnTo>
                    <a:pt x="174" y="327"/>
                  </a:lnTo>
                  <a:lnTo>
                    <a:pt x="177" y="325"/>
                  </a:lnTo>
                  <a:lnTo>
                    <a:pt x="179" y="325"/>
                  </a:lnTo>
                  <a:lnTo>
                    <a:pt x="180" y="324"/>
                  </a:lnTo>
                  <a:lnTo>
                    <a:pt x="180" y="324"/>
                  </a:lnTo>
                  <a:lnTo>
                    <a:pt x="182" y="322"/>
                  </a:lnTo>
                  <a:lnTo>
                    <a:pt x="180" y="320"/>
                  </a:lnTo>
                  <a:lnTo>
                    <a:pt x="182" y="319"/>
                  </a:lnTo>
                  <a:lnTo>
                    <a:pt x="180" y="317"/>
                  </a:lnTo>
                  <a:lnTo>
                    <a:pt x="182" y="316"/>
                  </a:lnTo>
                  <a:lnTo>
                    <a:pt x="184" y="314"/>
                  </a:lnTo>
                  <a:lnTo>
                    <a:pt x="187" y="310"/>
                  </a:lnTo>
                  <a:lnTo>
                    <a:pt x="187" y="308"/>
                  </a:lnTo>
                  <a:lnTo>
                    <a:pt x="188" y="307"/>
                  </a:lnTo>
                  <a:lnTo>
                    <a:pt x="187" y="307"/>
                  </a:lnTo>
                  <a:lnTo>
                    <a:pt x="187" y="305"/>
                  </a:lnTo>
                  <a:lnTo>
                    <a:pt x="187" y="304"/>
                  </a:lnTo>
                  <a:lnTo>
                    <a:pt x="187" y="302"/>
                  </a:lnTo>
                  <a:lnTo>
                    <a:pt x="185" y="300"/>
                  </a:lnTo>
                  <a:lnTo>
                    <a:pt x="184" y="299"/>
                  </a:lnTo>
                  <a:lnTo>
                    <a:pt x="182" y="299"/>
                  </a:lnTo>
                  <a:lnTo>
                    <a:pt x="180" y="297"/>
                  </a:lnTo>
                  <a:lnTo>
                    <a:pt x="179" y="297"/>
                  </a:lnTo>
                  <a:lnTo>
                    <a:pt x="177" y="299"/>
                  </a:lnTo>
                  <a:lnTo>
                    <a:pt x="176" y="299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73" y="297"/>
                  </a:lnTo>
                  <a:lnTo>
                    <a:pt x="173" y="297"/>
                  </a:lnTo>
                  <a:lnTo>
                    <a:pt x="174" y="296"/>
                  </a:lnTo>
                  <a:lnTo>
                    <a:pt x="174" y="294"/>
                  </a:lnTo>
                  <a:lnTo>
                    <a:pt x="173" y="293"/>
                  </a:lnTo>
                  <a:lnTo>
                    <a:pt x="171" y="291"/>
                  </a:lnTo>
                  <a:lnTo>
                    <a:pt x="170" y="291"/>
                  </a:lnTo>
                  <a:lnTo>
                    <a:pt x="167" y="290"/>
                  </a:lnTo>
                  <a:lnTo>
                    <a:pt x="167" y="288"/>
                  </a:lnTo>
                  <a:lnTo>
                    <a:pt x="165" y="287"/>
                  </a:lnTo>
                  <a:lnTo>
                    <a:pt x="165" y="285"/>
                  </a:lnTo>
                  <a:lnTo>
                    <a:pt x="167" y="284"/>
                  </a:lnTo>
                  <a:lnTo>
                    <a:pt x="164" y="279"/>
                  </a:lnTo>
                  <a:lnTo>
                    <a:pt x="162" y="277"/>
                  </a:lnTo>
                  <a:lnTo>
                    <a:pt x="160" y="276"/>
                  </a:lnTo>
                  <a:lnTo>
                    <a:pt x="160" y="274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2" y="270"/>
                  </a:lnTo>
                  <a:lnTo>
                    <a:pt x="162" y="267"/>
                  </a:lnTo>
                  <a:lnTo>
                    <a:pt x="162" y="265"/>
                  </a:lnTo>
                  <a:lnTo>
                    <a:pt x="162" y="264"/>
                  </a:lnTo>
                  <a:lnTo>
                    <a:pt x="159" y="264"/>
                  </a:lnTo>
                  <a:lnTo>
                    <a:pt x="157" y="262"/>
                  </a:lnTo>
                  <a:lnTo>
                    <a:pt x="156" y="262"/>
                  </a:lnTo>
                  <a:lnTo>
                    <a:pt x="154" y="259"/>
                  </a:lnTo>
                  <a:lnTo>
                    <a:pt x="154" y="259"/>
                  </a:lnTo>
                  <a:lnTo>
                    <a:pt x="151" y="257"/>
                  </a:lnTo>
                  <a:lnTo>
                    <a:pt x="151" y="256"/>
                  </a:lnTo>
                  <a:lnTo>
                    <a:pt x="148" y="253"/>
                  </a:lnTo>
                  <a:lnTo>
                    <a:pt x="147" y="251"/>
                  </a:lnTo>
                  <a:lnTo>
                    <a:pt x="145" y="245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60" y="245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4" y="244"/>
                  </a:lnTo>
                  <a:lnTo>
                    <a:pt x="167" y="244"/>
                  </a:lnTo>
                  <a:lnTo>
                    <a:pt x="168" y="244"/>
                  </a:lnTo>
                  <a:lnTo>
                    <a:pt x="170" y="244"/>
                  </a:lnTo>
                  <a:lnTo>
                    <a:pt x="171" y="244"/>
                  </a:lnTo>
                  <a:lnTo>
                    <a:pt x="184" y="242"/>
                  </a:lnTo>
                  <a:lnTo>
                    <a:pt x="184" y="242"/>
                  </a:lnTo>
                  <a:lnTo>
                    <a:pt x="185" y="240"/>
                  </a:lnTo>
                  <a:lnTo>
                    <a:pt x="185" y="239"/>
                  </a:lnTo>
                  <a:lnTo>
                    <a:pt x="185" y="239"/>
                  </a:lnTo>
                  <a:lnTo>
                    <a:pt x="185" y="237"/>
                  </a:lnTo>
                  <a:lnTo>
                    <a:pt x="185" y="237"/>
                  </a:lnTo>
                  <a:lnTo>
                    <a:pt x="185" y="236"/>
                  </a:lnTo>
                  <a:lnTo>
                    <a:pt x="187" y="234"/>
                  </a:lnTo>
                  <a:lnTo>
                    <a:pt x="187" y="234"/>
                  </a:lnTo>
                  <a:lnTo>
                    <a:pt x="185" y="233"/>
                  </a:lnTo>
                  <a:lnTo>
                    <a:pt x="185" y="231"/>
                  </a:lnTo>
                  <a:lnTo>
                    <a:pt x="187" y="231"/>
                  </a:lnTo>
                  <a:lnTo>
                    <a:pt x="187" y="230"/>
                  </a:lnTo>
                  <a:lnTo>
                    <a:pt x="188" y="230"/>
                  </a:lnTo>
                  <a:lnTo>
                    <a:pt x="190" y="228"/>
                  </a:lnTo>
                  <a:lnTo>
                    <a:pt x="191" y="227"/>
                  </a:lnTo>
                  <a:lnTo>
                    <a:pt x="191" y="225"/>
                  </a:lnTo>
                  <a:lnTo>
                    <a:pt x="191" y="223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91" y="219"/>
                  </a:lnTo>
                  <a:lnTo>
                    <a:pt x="193" y="219"/>
                  </a:lnTo>
                  <a:lnTo>
                    <a:pt x="193" y="217"/>
                  </a:lnTo>
                  <a:lnTo>
                    <a:pt x="193" y="216"/>
                  </a:lnTo>
                  <a:lnTo>
                    <a:pt x="193" y="214"/>
                  </a:lnTo>
                  <a:lnTo>
                    <a:pt x="193" y="214"/>
                  </a:lnTo>
                  <a:lnTo>
                    <a:pt x="194" y="211"/>
                  </a:lnTo>
                  <a:lnTo>
                    <a:pt x="191" y="207"/>
                  </a:lnTo>
                  <a:lnTo>
                    <a:pt x="190" y="205"/>
                  </a:lnTo>
                  <a:lnTo>
                    <a:pt x="188" y="202"/>
                  </a:lnTo>
                  <a:lnTo>
                    <a:pt x="188" y="202"/>
                  </a:lnTo>
                  <a:lnTo>
                    <a:pt x="187" y="202"/>
                  </a:lnTo>
                  <a:lnTo>
                    <a:pt x="185" y="202"/>
                  </a:lnTo>
                  <a:lnTo>
                    <a:pt x="184" y="200"/>
                  </a:lnTo>
                  <a:lnTo>
                    <a:pt x="184" y="200"/>
                  </a:lnTo>
                  <a:lnTo>
                    <a:pt x="184" y="196"/>
                  </a:lnTo>
                  <a:lnTo>
                    <a:pt x="182" y="196"/>
                  </a:lnTo>
                  <a:lnTo>
                    <a:pt x="184" y="194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5" y="190"/>
                  </a:lnTo>
                  <a:lnTo>
                    <a:pt x="188" y="188"/>
                  </a:lnTo>
                  <a:lnTo>
                    <a:pt x="190" y="188"/>
                  </a:lnTo>
                  <a:lnTo>
                    <a:pt x="190" y="188"/>
                  </a:lnTo>
                  <a:lnTo>
                    <a:pt x="191" y="188"/>
                  </a:lnTo>
                  <a:lnTo>
                    <a:pt x="193" y="188"/>
                  </a:lnTo>
                  <a:lnTo>
                    <a:pt x="194" y="187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5"/>
                  </a:lnTo>
                  <a:lnTo>
                    <a:pt x="196" y="183"/>
                  </a:lnTo>
                  <a:lnTo>
                    <a:pt x="196" y="183"/>
                  </a:lnTo>
                  <a:lnTo>
                    <a:pt x="199" y="180"/>
                  </a:lnTo>
                  <a:lnTo>
                    <a:pt x="199" y="180"/>
                  </a:lnTo>
                  <a:lnTo>
                    <a:pt x="200" y="179"/>
                  </a:lnTo>
                  <a:lnTo>
                    <a:pt x="199" y="176"/>
                  </a:lnTo>
                  <a:lnTo>
                    <a:pt x="196" y="173"/>
                  </a:lnTo>
                  <a:lnTo>
                    <a:pt x="196" y="170"/>
                  </a:lnTo>
                  <a:lnTo>
                    <a:pt x="197" y="167"/>
                  </a:lnTo>
                  <a:lnTo>
                    <a:pt x="199" y="163"/>
                  </a:lnTo>
                  <a:lnTo>
                    <a:pt x="199" y="162"/>
                  </a:lnTo>
                  <a:lnTo>
                    <a:pt x="199" y="160"/>
                  </a:lnTo>
                  <a:lnTo>
                    <a:pt x="199" y="160"/>
                  </a:lnTo>
                  <a:lnTo>
                    <a:pt x="197" y="159"/>
                  </a:lnTo>
                  <a:lnTo>
                    <a:pt x="197" y="157"/>
                  </a:lnTo>
                  <a:lnTo>
                    <a:pt x="196" y="156"/>
                  </a:lnTo>
                  <a:lnTo>
                    <a:pt x="197" y="154"/>
                  </a:lnTo>
                  <a:lnTo>
                    <a:pt x="199" y="151"/>
                  </a:lnTo>
                  <a:lnTo>
                    <a:pt x="199" y="150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3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7" y="134"/>
                  </a:lnTo>
                  <a:lnTo>
                    <a:pt x="197" y="133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30"/>
                  </a:lnTo>
                  <a:lnTo>
                    <a:pt x="199" y="128"/>
                  </a:lnTo>
                  <a:lnTo>
                    <a:pt x="197" y="128"/>
                  </a:lnTo>
                  <a:lnTo>
                    <a:pt x="197" y="126"/>
                  </a:lnTo>
                  <a:lnTo>
                    <a:pt x="196" y="126"/>
                  </a:lnTo>
                  <a:lnTo>
                    <a:pt x="196" y="123"/>
                  </a:lnTo>
                  <a:lnTo>
                    <a:pt x="194" y="120"/>
                  </a:lnTo>
                  <a:lnTo>
                    <a:pt x="193" y="119"/>
                  </a:lnTo>
                  <a:lnTo>
                    <a:pt x="191" y="116"/>
                  </a:lnTo>
                  <a:lnTo>
                    <a:pt x="190" y="114"/>
                  </a:lnTo>
                  <a:lnTo>
                    <a:pt x="190" y="114"/>
                  </a:lnTo>
                  <a:lnTo>
                    <a:pt x="191" y="113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3" y="110"/>
                  </a:lnTo>
                  <a:lnTo>
                    <a:pt x="197" y="110"/>
                  </a:lnTo>
                  <a:lnTo>
                    <a:pt x="199" y="110"/>
                  </a:lnTo>
                  <a:lnTo>
                    <a:pt x="200" y="110"/>
                  </a:lnTo>
                  <a:lnTo>
                    <a:pt x="204" y="105"/>
                  </a:lnTo>
                  <a:lnTo>
                    <a:pt x="204" y="103"/>
                  </a:lnTo>
                  <a:lnTo>
                    <a:pt x="204" y="100"/>
                  </a:lnTo>
                  <a:lnTo>
                    <a:pt x="204" y="99"/>
                  </a:lnTo>
                  <a:lnTo>
                    <a:pt x="205" y="99"/>
                  </a:lnTo>
                  <a:lnTo>
                    <a:pt x="207" y="96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11" y="90"/>
                  </a:lnTo>
                  <a:lnTo>
                    <a:pt x="211" y="90"/>
                  </a:lnTo>
                  <a:lnTo>
                    <a:pt x="213" y="88"/>
                  </a:lnTo>
                  <a:lnTo>
                    <a:pt x="217" y="88"/>
                  </a:lnTo>
                  <a:lnTo>
                    <a:pt x="219" y="88"/>
                  </a:lnTo>
                  <a:lnTo>
                    <a:pt x="224" y="86"/>
                  </a:lnTo>
                  <a:lnTo>
                    <a:pt x="225" y="85"/>
                  </a:lnTo>
                  <a:lnTo>
                    <a:pt x="228" y="82"/>
                  </a:lnTo>
                  <a:lnTo>
                    <a:pt x="230" y="77"/>
                  </a:lnTo>
                  <a:lnTo>
                    <a:pt x="230" y="77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1" y="77"/>
                  </a:lnTo>
                  <a:lnTo>
                    <a:pt x="231" y="77"/>
                  </a:lnTo>
                  <a:lnTo>
                    <a:pt x="231" y="76"/>
                  </a:lnTo>
                  <a:lnTo>
                    <a:pt x="231" y="76"/>
                  </a:lnTo>
                  <a:lnTo>
                    <a:pt x="233" y="76"/>
                  </a:lnTo>
                  <a:lnTo>
                    <a:pt x="234" y="74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9" y="69"/>
                  </a:lnTo>
                  <a:lnTo>
                    <a:pt x="239" y="68"/>
                  </a:lnTo>
                  <a:lnTo>
                    <a:pt x="239" y="68"/>
                  </a:lnTo>
                  <a:lnTo>
                    <a:pt x="239" y="66"/>
                  </a:lnTo>
                  <a:lnTo>
                    <a:pt x="239" y="66"/>
                  </a:lnTo>
                  <a:lnTo>
                    <a:pt x="241" y="63"/>
                  </a:lnTo>
                  <a:lnTo>
                    <a:pt x="245" y="59"/>
                  </a:lnTo>
                  <a:lnTo>
                    <a:pt x="244" y="5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41"/>
            <p:cNvSpPr>
              <a:spLocks/>
            </p:cNvSpPr>
            <p:nvPr/>
          </p:nvSpPr>
          <p:spPr bwMode="gray">
            <a:xfrm>
              <a:off x="7353300" y="5716588"/>
              <a:ext cx="1185863" cy="1119188"/>
            </a:xfrm>
            <a:custGeom>
              <a:avLst/>
              <a:gdLst>
                <a:gd name="T0" fmla="*/ 728 w 747"/>
                <a:gd name="T1" fmla="*/ 465 h 705"/>
                <a:gd name="T2" fmla="*/ 713 w 747"/>
                <a:gd name="T3" fmla="*/ 425 h 705"/>
                <a:gd name="T4" fmla="*/ 702 w 747"/>
                <a:gd name="T5" fmla="*/ 397 h 705"/>
                <a:gd name="T6" fmla="*/ 707 w 747"/>
                <a:gd name="T7" fmla="*/ 374 h 705"/>
                <a:gd name="T8" fmla="*/ 707 w 747"/>
                <a:gd name="T9" fmla="*/ 343 h 705"/>
                <a:gd name="T10" fmla="*/ 691 w 747"/>
                <a:gd name="T11" fmla="*/ 331 h 705"/>
                <a:gd name="T12" fmla="*/ 725 w 747"/>
                <a:gd name="T13" fmla="*/ 272 h 705"/>
                <a:gd name="T14" fmla="*/ 725 w 747"/>
                <a:gd name="T15" fmla="*/ 218 h 705"/>
                <a:gd name="T16" fmla="*/ 700 w 747"/>
                <a:gd name="T17" fmla="*/ 134 h 705"/>
                <a:gd name="T18" fmla="*/ 696 w 747"/>
                <a:gd name="T19" fmla="*/ 89 h 705"/>
                <a:gd name="T20" fmla="*/ 663 w 747"/>
                <a:gd name="T21" fmla="*/ 63 h 705"/>
                <a:gd name="T22" fmla="*/ 534 w 747"/>
                <a:gd name="T23" fmla="*/ 58 h 705"/>
                <a:gd name="T24" fmla="*/ 340 w 747"/>
                <a:gd name="T25" fmla="*/ 55 h 705"/>
                <a:gd name="T26" fmla="*/ 323 w 747"/>
                <a:gd name="T27" fmla="*/ 21 h 705"/>
                <a:gd name="T28" fmla="*/ 340 w 747"/>
                <a:gd name="T29" fmla="*/ 17 h 705"/>
                <a:gd name="T30" fmla="*/ 268 w 747"/>
                <a:gd name="T31" fmla="*/ 6 h 705"/>
                <a:gd name="T32" fmla="*/ 161 w 747"/>
                <a:gd name="T33" fmla="*/ 61 h 705"/>
                <a:gd name="T34" fmla="*/ 157 w 747"/>
                <a:gd name="T35" fmla="*/ 70 h 705"/>
                <a:gd name="T36" fmla="*/ 18 w 747"/>
                <a:gd name="T37" fmla="*/ 117 h 705"/>
                <a:gd name="T38" fmla="*/ 15 w 747"/>
                <a:gd name="T39" fmla="*/ 127 h 705"/>
                <a:gd name="T40" fmla="*/ 23 w 747"/>
                <a:gd name="T41" fmla="*/ 120 h 705"/>
                <a:gd name="T42" fmla="*/ 37 w 747"/>
                <a:gd name="T43" fmla="*/ 132 h 705"/>
                <a:gd name="T44" fmla="*/ 32 w 747"/>
                <a:gd name="T45" fmla="*/ 152 h 705"/>
                <a:gd name="T46" fmla="*/ 12 w 747"/>
                <a:gd name="T47" fmla="*/ 144 h 705"/>
                <a:gd name="T48" fmla="*/ 21 w 747"/>
                <a:gd name="T49" fmla="*/ 198 h 705"/>
                <a:gd name="T50" fmla="*/ 3 w 747"/>
                <a:gd name="T51" fmla="*/ 238 h 705"/>
                <a:gd name="T52" fmla="*/ 37 w 747"/>
                <a:gd name="T53" fmla="*/ 281 h 705"/>
                <a:gd name="T54" fmla="*/ 44 w 747"/>
                <a:gd name="T55" fmla="*/ 332 h 705"/>
                <a:gd name="T56" fmla="*/ 37 w 747"/>
                <a:gd name="T57" fmla="*/ 380 h 705"/>
                <a:gd name="T58" fmla="*/ 60 w 747"/>
                <a:gd name="T59" fmla="*/ 418 h 705"/>
                <a:gd name="T60" fmla="*/ 63 w 747"/>
                <a:gd name="T61" fmla="*/ 460 h 705"/>
                <a:gd name="T62" fmla="*/ 66 w 747"/>
                <a:gd name="T63" fmla="*/ 477 h 705"/>
                <a:gd name="T64" fmla="*/ 77 w 747"/>
                <a:gd name="T65" fmla="*/ 471 h 705"/>
                <a:gd name="T66" fmla="*/ 92 w 747"/>
                <a:gd name="T67" fmla="*/ 499 h 705"/>
                <a:gd name="T68" fmla="*/ 138 w 747"/>
                <a:gd name="T69" fmla="*/ 511 h 705"/>
                <a:gd name="T70" fmla="*/ 163 w 747"/>
                <a:gd name="T71" fmla="*/ 514 h 705"/>
                <a:gd name="T72" fmla="*/ 158 w 747"/>
                <a:gd name="T73" fmla="*/ 536 h 705"/>
                <a:gd name="T74" fmla="*/ 166 w 747"/>
                <a:gd name="T75" fmla="*/ 549 h 705"/>
                <a:gd name="T76" fmla="*/ 198 w 747"/>
                <a:gd name="T77" fmla="*/ 569 h 705"/>
                <a:gd name="T78" fmla="*/ 215 w 747"/>
                <a:gd name="T79" fmla="*/ 563 h 705"/>
                <a:gd name="T80" fmla="*/ 224 w 747"/>
                <a:gd name="T81" fmla="*/ 546 h 705"/>
                <a:gd name="T82" fmla="*/ 241 w 747"/>
                <a:gd name="T83" fmla="*/ 559 h 705"/>
                <a:gd name="T84" fmla="*/ 269 w 747"/>
                <a:gd name="T85" fmla="*/ 556 h 705"/>
                <a:gd name="T86" fmla="*/ 266 w 747"/>
                <a:gd name="T87" fmla="*/ 577 h 705"/>
                <a:gd name="T88" fmla="*/ 289 w 747"/>
                <a:gd name="T89" fmla="*/ 589 h 705"/>
                <a:gd name="T90" fmla="*/ 309 w 747"/>
                <a:gd name="T91" fmla="*/ 599 h 705"/>
                <a:gd name="T92" fmla="*/ 332 w 747"/>
                <a:gd name="T93" fmla="*/ 616 h 705"/>
                <a:gd name="T94" fmla="*/ 351 w 747"/>
                <a:gd name="T95" fmla="*/ 646 h 705"/>
                <a:gd name="T96" fmla="*/ 377 w 747"/>
                <a:gd name="T97" fmla="*/ 654 h 705"/>
                <a:gd name="T98" fmla="*/ 397 w 747"/>
                <a:gd name="T99" fmla="*/ 636 h 705"/>
                <a:gd name="T100" fmla="*/ 420 w 747"/>
                <a:gd name="T101" fmla="*/ 659 h 705"/>
                <a:gd name="T102" fmla="*/ 419 w 747"/>
                <a:gd name="T103" fmla="*/ 680 h 705"/>
                <a:gd name="T104" fmla="*/ 448 w 747"/>
                <a:gd name="T105" fmla="*/ 669 h 705"/>
                <a:gd name="T106" fmla="*/ 482 w 747"/>
                <a:gd name="T107" fmla="*/ 659 h 705"/>
                <a:gd name="T108" fmla="*/ 517 w 747"/>
                <a:gd name="T109" fmla="*/ 663 h 705"/>
                <a:gd name="T110" fmla="*/ 549 w 747"/>
                <a:gd name="T111" fmla="*/ 657 h 705"/>
                <a:gd name="T112" fmla="*/ 583 w 747"/>
                <a:gd name="T113" fmla="*/ 669 h 705"/>
                <a:gd name="T114" fmla="*/ 623 w 747"/>
                <a:gd name="T115" fmla="*/ 694 h 705"/>
                <a:gd name="T116" fmla="*/ 650 w 747"/>
                <a:gd name="T117" fmla="*/ 699 h 705"/>
                <a:gd name="T118" fmla="*/ 640 w 747"/>
                <a:gd name="T119" fmla="*/ 660 h 705"/>
                <a:gd name="T120" fmla="*/ 656 w 747"/>
                <a:gd name="T121" fmla="*/ 614 h 705"/>
                <a:gd name="T122" fmla="*/ 713 w 747"/>
                <a:gd name="T123" fmla="*/ 546 h 705"/>
                <a:gd name="T124" fmla="*/ 742 w 747"/>
                <a:gd name="T125" fmla="*/ 506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7" h="705">
                  <a:moveTo>
                    <a:pt x="734" y="492"/>
                  </a:moveTo>
                  <a:lnTo>
                    <a:pt x="737" y="492"/>
                  </a:lnTo>
                  <a:lnTo>
                    <a:pt x="739" y="492"/>
                  </a:lnTo>
                  <a:lnTo>
                    <a:pt x="740" y="492"/>
                  </a:lnTo>
                  <a:lnTo>
                    <a:pt x="744" y="492"/>
                  </a:lnTo>
                  <a:lnTo>
                    <a:pt x="745" y="492"/>
                  </a:lnTo>
                  <a:lnTo>
                    <a:pt x="747" y="489"/>
                  </a:lnTo>
                  <a:lnTo>
                    <a:pt x="745" y="488"/>
                  </a:lnTo>
                  <a:lnTo>
                    <a:pt x="739" y="485"/>
                  </a:lnTo>
                  <a:lnTo>
                    <a:pt x="734" y="480"/>
                  </a:lnTo>
                  <a:lnTo>
                    <a:pt x="733" y="479"/>
                  </a:lnTo>
                  <a:lnTo>
                    <a:pt x="733" y="477"/>
                  </a:lnTo>
                  <a:lnTo>
                    <a:pt x="733" y="475"/>
                  </a:lnTo>
                  <a:lnTo>
                    <a:pt x="733" y="475"/>
                  </a:lnTo>
                  <a:lnTo>
                    <a:pt x="731" y="474"/>
                  </a:lnTo>
                  <a:lnTo>
                    <a:pt x="730" y="472"/>
                  </a:lnTo>
                  <a:lnTo>
                    <a:pt x="730" y="472"/>
                  </a:lnTo>
                  <a:lnTo>
                    <a:pt x="728" y="472"/>
                  </a:lnTo>
                  <a:lnTo>
                    <a:pt x="730" y="471"/>
                  </a:lnTo>
                  <a:lnTo>
                    <a:pt x="730" y="471"/>
                  </a:lnTo>
                  <a:lnTo>
                    <a:pt x="728" y="465"/>
                  </a:lnTo>
                  <a:lnTo>
                    <a:pt x="728" y="463"/>
                  </a:lnTo>
                  <a:lnTo>
                    <a:pt x="725" y="460"/>
                  </a:lnTo>
                  <a:lnTo>
                    <a:pt x="725" y="459"/>
                  </a:lnTo>
                  <a:lnTo>
                    <a:pt x="725" y="457"/>
                  </a:lnTo>
                  <a:lnTo>
                    <a:pt x="727" y="457"/>
                  </a:lnTo>
                  <a:lnTo>
                    <a:pt x="725" y="455"/>
                  </a:lnTo>
                  <a:lnTo>
                    <a:pt x="722" y="452"/>
                  </a:lnTo>
                  <a:lnTo>
                    <a:pt x="717" y="449"/>
                  </a:lnTo>
                  <a:lnTo>
                    <a:pt x="716" y="448"/>
                  </a:lnTo>
                  <a:lnTo>
                    <a:pt x="713" y="439"/>
                  </a:lnTo>
                  <a:lnTo>
                    <a:pt x="711" y="437"/>
                  </a:lnTo>
                  <a:lnTo>
                    <a:pt x="710" y="437"/>
                  </a:lnTo>
                  <a:lnTo>
                    <a:pt x="708" y="437"/>
                  </a:lnTo>
                  <a:lnTo>
                    <a:pt x="708" y="434"/>
                  </a:lnTo>
                  <a:lnTo>
                    <a:pt x="708" y="432"/>
                  </a:lnTo>
                  <a:lnTo>
                    <a:pt x="710" y="431"/>
                  </a:lnTo>
                  <a:lnTo>
                    <a:pt x="711" y="429"/>
                  </a:lnTo>
                  <a:lnTo>
                    <a:pt x="711" y="429"/>
                  </a:lnTo>
                  <a:lnTo>
                    <a:pt x="711" y="428"/>
                  </a:lnTo>
                  <a:lnTo>
                    <a:pt x="711" y="426"/>
                  </a:lnTo>
                  <a:lnTo>
                    <a:pt x="713" y="425"/>
                  </a:lnTo>
                  <a:lnTo>
                    <a:pt x="713" y="425"/>
                  </a:lnTo>
                  <a:lnTo>
                    <a:pt x="713" y="423"/>
                  </a:lnTo>
                  <a:lnTo>
                    <a:pt x="710" y="418"/>
                  </a:lnTo>
                  <a:lnTo>
                    <a:pt x="710" y="418"/>
                  </a:lnTo>
                  <a:lnTo>
                    <a:pt x="710" y="415"/>
                  </a:lnTo>
                  <a:lnTo>
                    <a:pt x="710" y="415"/>
                  </a:lnTo>
                  <a:lnTo>
                    <a:pt x="708" y="414"/>
                  </a:lnTo>
                  <a:lnTo>
                    <a:pt x="707" y="414"/>
                  </a:lnTo>
                  <a:lnTo>
                    <a:pt x="707" y="412"/>
                  </a:lnTo>
                  <a:lnTo>
                    <a:pt x="707" y="411"/>
                  </a:lnTo>
                  <a:lnTo>
                    <a:pt x="705" y="409"/>
                  </a:lnTo>
                  <a:lnTo>
                    <a:pt x="705" y="409"/>
                  </a:lnTo>
                  <a:lnTo>
                    <a:pt x="703" y="409"/>
                  </a:lnTo>
                  <a:lnTo>
                    <a:pt x="702" y="406"/>
                  </a:lnTo>
                  <a:lnTo>
                    <a:pt x="703" y="406"/>
                  </a:lnTo>
                  <a:lnTo>
                    <a:pt x="703" y="406"/>
                  </a:lnTo>
                  <a:lnTo>
                    <a:pt x="702" y="405"/>
                  </a:lnTo>
                  <a:lnTo>
                    <a:pt x="702" y="403"/>
                  </a:lnTo>
                  <a:lnTo>
                    <a:pt x="700" y="400"/>
                  </a:lnTo>
                  <a:lnTo>
                    <a:pt x="702" y="397"/>
                  </a:lnTo>
                  <a:lnTo>
                    <a:pt x="702" y="397"/>
                  </a:lnTo>
                  <a:lnTo>
                    <a:pt x="700" y="395"/>
                  </a:lnTo>
                  <a:lnTo>
                    <a:pt x="700" y="394"/>
                  </a:lnTo>
                  <a:lnTo>
                    <a:pt x="702" y="394"/>
                  </a:lnTo>
                  <a:lnTo>
                    <a:pt x="702" y="394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702" y="391"/>
                  </a:lnTo>
                  <a:lnTo>
                    <a:pt x="702" y="391"/>
                  </a:lnTo>
                  <a:lnTo>
                    <a:pt x="702" y="391"/>
                  </a:lnTo>
                  <a:lnTo>
                    <a:pt x="702" y="389"/>
                  </a:lnTo>
                  <a:lnTo>
                    <a:pt x="702" y="389"/>
                  </a:lnTo>
                  <a:lnTo>
                    <a:pt x="702" y="388"/>
                  </a:lnTo>
                  <a:lnTo>
                    <a:pt x="702" y="385"/>
                  </a:lnTo>
                  <a:lnTo>
                    <a:pt x="702" y="385"/>
                  </a:lnTo>
                  <a:lnTo>
                    <a:pt x="702" y="383"/>
                  </a:lnTo>
                  <a:lnTo>
                    <a:pt x="703" y="382"/>
                  </a:lnTo>
                  <a:lnTo>
                    <a:pt x="705" y="380"/>
                  </a:lnTo>
                  <a:lnTo>
                    <a:pt x="707" y="378"/>
                  </a:lnTo>
                  <a:lnTo>
                    <a:pt x="708" y="377"/>
                  </a:lnTo>
                  <a:lnTo>
                    <a:pt x="707" y="374"/>
                  </a:lnTo>
                  <a:lnTo>
                    <a:pt x="705" y="372"/>
                  </a:lnTo>
                  <a:lnTo>
                    <a:pt x="707" y="371"/>
                  </a:lnTo>
                  <a:lnTo>
                    <a:pt x="707" y="369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6"/>
                  </a:lnTo>
                  <a:lnTo>
                    <a:pt x="707" y="362"/>
                  </a:lnTo>
                  <a:lnTo>
                    <a:pt x="708" y="360"/>
                  </a:lnTo>
                  <a:lnTo>
                    <a:pt x="710" y="357"/>
                  </a:lnTo>
                  <a:lnTo>
                    <a:pt x="710" y="355"/>
                  </a:lnTo>
                  <a:lnTo>
                    <a:pt x="711" y="354"/>
                  </a:lnTo>
                  <a:lnTo>
                    <a:pt x="711" y="352"/>
                  </a:lnTo>
                  <a:lnTo>
                    <a:pt x="710" y="348"/>
                  </a:lnTo>
                  <a:lnTo>
                    <a:pt x="708" y="346"/>
                  </a:lnTo>
                  <a:lnTo>
                    <a:pt x="708" y="345"/>
                  </a:lnTo>
                  <a:lnTo>
                    <a:pt x="708" y="343"/>
                  </a:lnTo>
                  <a:lnTo>
                    <a:pt x="708" y="343"/>
                  </a:lnTo>
                  <a:lnTo>
                    <a:pt x="707" y="343"/>
                  </a:lnTo>
                  <a:lnTo>
                    <a:pt x="707" y="341"/>
                  </a:lnTo>
                  <a:lnTo>
                    <a:pt x="707" y="340"/>
                  </a:lnTo>
                  <a:lnTo>
                    <a:pt x="705" y="340"/>
                  </a:lnTo>
                  <a:lnTo>
                    <a:pt x="703" y="338"/>
                  </a:lnTo>
                  <a:lnTo>
                    <a:pt x="700" y="338"/>
                  </a:lnTo>
                  <a:lnTo>
                    <a:pt x="699" y="338"/>
                  </a:lnTo>
                  <a:lnTo>
                    <a:pt x="697" y="334"/>
                  </a:lnTo>
                  <a:lnTo>
                    <a:pt x="697" y="334"/>
                  </a:lnTo>
                  <a:lnTo>
                    <a:pt x="697" y="332"/>
                  </a:lnTo>
                  <a:lnTo>
                    <a:pt x="697" y="332"/>
                  </a:lnTo>
                  <a:lnTo>
                    <a:pt x="696" y="332"/>
                  </a:lnTo>
                  <a:lnTo>
                    <a:pt x="696" y="332"/>
                  </a:lnTo>
                  <a:lnTo>
                    <a:pt x="694" y="332"/>
                  </a:lnTo>
                  <a:lnTo>
                    <a:pt x="694" y="331"/>
                  </a:lnTo>
                  <a:lnTo>
                    <a:pt x="693" y="332"/>
                  </a:lnTo>
                  <a:lnTo>
                    <a:pt x="693" y="332"/>
                  </a:lnTo>
                  <a:lnTo>
                    <a:pt x="693" y="331"/>
                  </a:lnTo>
                  <a:lnTo>
                    <a:pt x="691" y="331"/>
                  </a:lnTo>
                  <a:lnTo>
                    <a:pt x="690" y="331"/>
                  </a:lnTo>
                  <a:lnTo>
                    <a:pt x="690" y="331"/>
                  </a:lnTo>
                  <a:lnTo>
                    <a:pt x="691" y="331"/>
                  </a:lnTo>
                  <a:lnTo>
                    <a:pt x="691" y="329"/>
                  </a:lnTo>
                  <a:lnTo>
                    <a:pt x="688" y="329"/>
                  </a:lnTo>
                  <a:lnTo>
                    <a:pt x="683" y="328"/>
                  </a:lnTo>
                  <a:lnTo>
                    <a:pt x="683" y="326"/>
                  </a:lnTo>
                  <a:lnTo>
                    <a:pt x="682" y="328"/>
                  </a:lnTo>
                  <a:lnTo>
                    <a:pt x="677" y="326"/>
                  </a:lnTo>
                  <a:lnTo>
                    <a:pt x="676" y="325"/>
                  </a:lnTo>
                  <a:lnTo>
                    <a:pt x="676" y="323"/>
                  </a:lnTo>
                  <a:lnTo>
                    <a:pt x="676" y="320"/>
                  </a:lnTo>
                  <a:lnTo>
                    <a:pt x="674" y="320"/>
                  </a:lnTo>
                  <a:lnTo>
                    <a:pt x="674" y="318"/>
                  </a:lnTo>
                  <a:lnTo>
                    <a:pt x="674" y="318"/>
                  </a:lnTo>
                  <a:lnTo>
                    <a:pt x="673" y="318"/>
                  </a:lnTo>
                  <a:lnTo>
                    <a:pt x="677" y="311"/>
                  </a:lnTo>
                  <a:lnTo>
                    <a:pt x="679" y="309"/>
                  </a:lnTo>
                  <a:lnTo>
                    <a:pt x="680" y="306"/>
                  </a:lnTo>
                  <a:lnTo>
                    <a:pt x="690" y="292"/>
                  </a:lnTo>
                  <a:lnTo>
                    <a:pt x="697" y="286"/>
                  </a:lnTo>
                  <a:lnTo>
                    <a:pt x="703" y="283"/>
                  </a:lnTo>
                  <a:lnTo>
                    <a:pt x="716" y="278"/>
                  </a:lnTo>
                  <a:lnTo>
                    <a:pt x="725" y="272"/>
                  </a:lnTo>
                  <a:lnTo>
                    <a:pt x="728" y="269"/>
                  </a:lnTo>
                  <a:lnTo>
                    <a:pt x="730" y="263"/>
                  </a:lnTo>
                  <a:lnTo>
                    <a:pt x="730" y="260"/>
                  </a:lnTo>
                  <a:lnTo>
                    <a:pt x="728" y="244"/>
                  </a:lnTo>
                  <a:lnTo>
                    <a:pt x="728" y="243"/>
                  </a:lnTo>
                  <a:lnTo>
                    <a:pt x="728" y="243"/>
                  </a:lnTo>
                  <a:lnTo>
                    <a:pt x="728" y="243"/>
                  </a:lnTo>
                  <a:lnTo>
                    <a:pt x="728" y="241"/>
                  </a:lnTo>
                  <a:lnTo>
                    <a:pt x="728" y="240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7"/>
                  </a:lnTo>
                  <a:lnTo>
                    <a:pt x="728" y="234"/>
                  </a:lnTo>
                  <a:lnTo>
                    <a:pt x="728" y="232"/>
                  </a:lnTo>
                  <a:lnTo>
                    <a:pt x="728" y="231"/>
                  </a:lnTo>
                  <a:lnTo>
                    <a:pt x="728" y="231"/>
                  </a:lnTo>
                  <a:lnTo>
                    <a:pt x="728" y="228"/>
                  </a:lnTo>
                  <a:lnTo>
                    <a:pt x="725" y="224"/>
                  </a:lnTo>
                  <a:lnTo>
                    <a:pt x="725" y="223"/>
                  </a:lnTo>
                  <a:lnTo>
                    <a:pt x="725" y="221"/>
                  </a:lnTo>
                  <a:lnTo>
                    <a:pt x="725" y="218"/>
                  </a:lnTo>
                  <a:lnTo>
                    <a:pt x="727" y="217"/>
                  </a:lnTo>
                  <a:lnTo>
                    <a:pt x="727" y="215"/>
                  </a:lnTo>
                  <a:lnTo>
                    <a:pt x="728" y="212"/>
                  </a:lnTo>
                  <a:lnTo>
                    <a:pt x="727" y="211"/>
                  </a:lnTo>
                  <a:lnTo>
                    <a:pt x="725" y="211"/>
                  </a:lnTo>
                  <a:lnTo>
                    <a:pt x="724" y="209"/>
                  </a:lnTo>
                  <a:lnTo>
                    <a:pt x="724" y="208"/>
                  </a:lnTo>
                  <a:lnTo>
                    <a:pt x="722" y="204"/>
                  </a:lnTo>
                  <a:lnTo>
                    <a:pt x="722" y="203"/>
                  </a:lnTo>
                  <a:lnTo>
                    <a:pt x="720" y="201"/>
                  </a:lnTo>
                  <a:lnTo>
                    <a:pt x="719" y="198"/>
                  </a:lnTo>
                  <a:lnTo>
                    <a:pt x="716" y="186"/>
                  </a:lnTo>
                  <a:lnTo>
                    <a:pt x="714" y="183"/>
                  </a:lnTo>
                  <a:lnTo>
                    <a:pt x="711" y="175"/>
                  </a:lnTo>
                  <a:lnTo>
                    <a:pt x="705" y="155"/>
                  </a:lnTo>
                  <a:lnTo>
                    <a:pt x="703" y="147"/>
                  </a:lnTo>
                  <a:lnTo>
                    <a:pt x="703" y="140"/>
                  </a:lnTo>
                  <a:lnTo>
                    <a:pt x="703" y="140"/>
                  </a:lnTo>
                  <a:lnTo>
                    <a:pt x="703" y="140"/>
                  </a:lnTo>
                  <a:lnTo>
                    <a:pt x="700" y="137"/>
                  </a:lnTo>
                  <a:lnTo>
                    <a:pt x="700" y="134"/>
                  </a:lnTo>
                  <a:lnTo>
                    <a:pt x="700" y="127"/>
                  </a:lnTo>
                  <a:lnTo>
                    <a:pt x="699" y="124"/>
                  </a:lnTo>
                  <a:lnTo>
                    <a:pt x="697" y="121"/>
                  </a:lnTo>
                  <a:lnTo>
                    <a:pt x="697" y="118"/>
                  </a:lnTo>
                  <a:lnTo>
                    <a:pt x="697" y="114"/>
                  </a:lnTo>
                  <a:lnTo>
                    <a:pt x="697" y="114"/>
                  </a:lnTo>
                  <a:lnTo>
                    <a:pt x="697" y="114"/>
                  </a:lnTo>
                  <a:lnTo>
                    <a:pt x="697" y="112"/>
                  </a:lnTo>
                  <a:lnTo>
                    <a:pt x="697" y="112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09"/>
                  </a:lnTo>
                  <a:lnTo>
                    <a:pt x="696" y="107"/>
                  </a:lnTo>
                  <a:lnTo>
                    <a:pt x="696" y="107"/>
                  </a:lnTo>
                  <a:lnTo>
                    <a:pt x="696" y="106"/>
                  </a:lnTo>
                  <a:lnTo>
                    <a:pt x="697" y="106"/>
                  </a:lnTo>
                  <a:lnTo>
                    <a:pt x="697" y="104"/>
                  </a:lnTo>
                  <a:lnTo>
                    <a:pt x="697" y="101"/>
                  </a:lnTo>
                  <a:lnTo>
                    <a:pt x="697" y="95"/>
                  </a:lnTo>
                  <a:lnTo>
                    <a:pt x="696" y="92"/>
                  </a:lnTo>
                  <a:lnTo>
                    <a:pt x="696" y="89"/>
                  </a:lnTo>
                  <a:lnTo>
                    <a:pt x="694" y="87"/>
                  </a:lnTo>
                  <a:lnTo>
                    <a:pt x="693" y="86"/>
                  </a:lnTo>
                  <a:lnTo>
                    <a:pt x="693" y="84"/>
                  </a:lnTo>
                  <a:lnTo>
                    <a:pt x="691" y="84"/>
                  </a:lnTo>
                  <a:lnTo>
                    <a:pt x="690" y="84"/>
                  </a:lnTo>
                  <a:lnTo>
                    <a:pt x="690" y="83"/>
                  </a:lnTo>
                  <a:lnTo>
                    <a:pt x="688" y="80"/>
                  </a:lnTo>
                  <a:lnTo>
                    <a:pt x="688" y="80"/>
                  </a:lnTo>
                  <a:lnTo>
                    <a:pt x="687" y="78"/>
                  </a:lnTo>
                  <a:lnTo>
                    <a:pt x="685" y="77"/>
                  </a:lnTo>
                  <a:lnTo>
                    <a:pt x="679" y="75"/>
                  </a:lnTo>
                  <a:lnTo>
                    <a:pt x="676" y="72"/>
                  </a:lnTo>
                  <a:lnTo>
                    <a:pt x="671" y="69"/>
                  </a:lnTo>
                  <a:lnTo>
                    <a:pt x="670" y="69"/>
                  </a:lnTo>
                  <a:lnTo>
                    <a:pt x="668" y="69"/>
                  </a:lnTo>
                  <a:lnTo>
                    <a:pt x="667" y="69"/>
                  </a:lnTo>
                  <a:lnTo>
                    <a:pt x="665" y="69"/>
                  </a:lnTo>
                  <a:lnTo>
                    <a:pt x="663" y="67"/>
                  </a:lnTo>
                  <a:lnTo>
                    <a:pt x="663" y="66"/>
                  </a:lnTo>
                  <a:lnTo>
                    <a:pt x="663" y="64"/>
                  </a:lnTo>
                  <a:lnTo>
                    <a:pt x="663" y="63"/>
                  </a:lnTo>
                  <a:lnTo>
                    <a:pt x="663" y="63"/>
                  </a:lnTo>
                  <a:lnTo>
                    <a:pt x="660" y="63"/>
                  </a:lnTo>
                  <a:lnTo>
                    <a:pt x="660" y="61"/>
                  </a:lnTo>
                  <a:lnTo>
                    <a:pt x="660" y="61"/>
                  </a:lnTo>
                  <a:lnTo>
                    <a:pt x="659" y="60"/>
                  </a:lnTo>
                  <a:lnTo>
                    <a:pt x="659" y="60"/>
                  </a:lnTo>
                  <a:lnTo>
                    <a:pt x="659" y="58"/>
                  </a:lnTo>
                  <a:lnTo>
                    <a:pt x="657" y="58"/>
                  </a:lnTo>
                  <a:lnTo>
                    <a:pt x="656" y="58"/>
                  </a:lnTo>
                  <a:lnTo>
                    <a:pt x="654" y="58"/>
                  </a:lnTo>
                  <a:lnTo>
                    <a:pt x="651" y="57"/>
                  </a:lnTo>
                  <a:lnTo>
                    <a:pt x="650" y="55"/>
                  </a:lnTo>
                  <a:lnTo>
                    <a:pt x="647" y="57"/>
                  </a:lnTo>
                  <a:lnTo>
                    <a:pt x="647" y="57"/>
                  </a:lnTo>
                  <a:lnTo>
                    <a:pt x="645" y="60"/>
                  </a:lnTo>
                  <a:lnTo>
                    <a:pt x="643" y="61"/>
                  </a:lnTo>
                  <a:lnTo>
                    <a:pt x="639" y="63"/>
                  </a:lnTo>
                  <a:lnTo>
                    <a:pt x="625" y="63"/>
                  </a:lnTo>
                  <a:lnTo>
                    <a:pt x="606" y="61"/>
                  </a:lnTo>
                  <a:lnTo>
                    <a:pt x="566" y="60"/>
                  </a:lnTo>
                  <a:lnTo>
                    <a:pt x="534" y="58"/>
                  </a:lnTo>
                  <a:lnTo>
                    <a:pt x="506" y="57"/>
                  </a:lnTo>
                  <a:lnTo>
                    <a:pt x="463" y="54"/>
                  </a:lnTo>
                  <a:lnTo>
                    <a:pt x="436" y="52"/>
                  </a:lnTo>
                  <a:lnTo>
                    <a:pt x="420" y="52"/>
                  </a:lnTo>
                  <a:lnTo>
                    <a:pt x="414" y="50"/>
                  </a:lnTo>
                  <a:lnTo>
                    <a:pt x="411" y="50"/>
                  </a:lnTo>
                  <a:lnTo>
                    <a:pt x="408" y="49"/>
                  </a:lnTo>
                  <a:lnTo>
                    <a:pt x="408" y="49"/>
                  </a:lnTo>
                  <a:lnTo>
                    <a:pt x="403" y="54"/>
                  </a:lnTo>
                  <a:lnTo>
                    <a:pt x="400" y="55"/>
                  </a:lnTo>
                  <a:lnTo>
                    <a:pt x="397" y="55"/>
                  </a:lnTo>
                  <a:lnTo>
                    <a:pt x="391" y="58"/>
                  </a:lnTo>
                  <a:lnTo>
                    <a:pt x="363" y="63"/>
                  </a:lnTo>
                  <a:lnTo>
                    <a:pt x="362" y="63"/>
                  </a:lnTo>
                  <a:lnTo>
                    <a:pt x="360" y="61"/>
                  </a:lnTo>
                  <a:lnTo>
                    <a:pt x="360" y="61"/>
                  </a:lnTo>
                  <a:lnTo>
                    <a:pt x="357" y="63"/>
                  </a:lnTo>
                  <a:lnTo>
                    <a:pt x="355" y="63"/>
                  </a:lnTo>
                  <a:lnTo>
                    <a:pt x="342" y="58"/>
                  </a:lnTo>
                  <a:lnTo>
                    <a:pt x="342" y="57"/>
                  </a:lnTo>
                  <a:lnTo>
                    <a:pt x="340" y="55"/>
                  </a:lnTo>
                  <a:lnTo>
                    <a:pt x="340" y="55"/>
                  </a:lnTo>
                  <a:lnTo>
                    <a:pt x="338" y="54"/>
                  </a:lnTo>
                  <a:lnTo>
                    <a:pt x="337" y="54"/>
                  </a:lnTo>
                  <a:lnTo>
                    <a:pt x="335" y="54"/>
                  </a:lnTo>
                  <a:lnTo>
                    <a:pt x="334" y="52"/>
                  </a:lnTo>
                  <a:lnTo>
                    <a:pt x="332" y="52"/>
                  </a:lnTo>
                  <a:lnTo>
                    <a:pt x="331" y="49"/>
                  </a:lnTo>
                  <a:lnTo>
                    <a:pt x="331" y="44"/>
                  </a:lnTo>
                  <a:lnTo>
                    <a:pt x="331" y="40"/>
                  </a:lnTo>
                  <a:lnTo>
                    <a:pt x="331" y="37"/>
                  </a:lnTo>
                  <a:lnTo>
                    <a:pt x="331" y="35"/>
                  </a:lnTo>
                  <a:lnTo>
                    <a:pt x="329" y="29"/>
                  </a:lnTo>
                  <a:lnTo>
                    <a:pt x="328" y="29"/>
                  </a:lnTo>
                  <a:lnTo>
                    <a:pt x="328" y="26"/>
                  </a:lnTo>
                  <a:lnTo>
                    <a:pt x="328" y="24"/>
                  </a:lnTo>
                  <a:lnTo>
                    <a:pt x="326" y="26"/>
                  </a:lnTo>
                  <a:lnTo>
                    <a:pt x="325" y="26"/>
                  </a:lnTo>
                  <a:lnTo>
                    <a:pt x="325" y="26"/>
                  </a:lnTo>
                  <a:lnTo>
                    <a:pt x="325" y="23"/>
                  </a:lnTo>
                  <a:lnTo>
                    <a:pt x="323" y="21"/>
                  </a:lnTo>
                  <a:lnTo>
                    <a:pt x="323" y="21"/>
                  </a:lnTo>
                  <a:lnTo>
                    <a:pt x="325" y="20"/>
                  </a:lnTo>
                  <a:lnTo>
                    <a:pt x="325" y="20"/>
                  </a:lnTo>
                  <a:lnTo>
                    <a:pt x="323" y="17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0" y="13"/>
                  </a:lnTo>
                  <a:lnTo>
                    <a:pt x="320" y="13"/>
                  </a:lnTo>
                  <a:lnTo>
                    <a:pt x="320" y="12"/>
                  </a:lnTo>
                  <a:lnTo>
                    <a:pt x="320" y="10"/>
                  </a:lnTo>
                  <a:lnTo>
                    <a:pt x="320" y="7"/>
                  </a:lnTo>
                  <a:lnTo>
                    <a:pt x="322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5" y="7"/>
                  </a:lnTo>
                  <a:lnTo>
                    <a:pt x="326" y="9"/>
                  </a:lnTo>
                  <a:lnTo>
                    <a:pt x="331" y="10"/>
                  </a:lnTo>
                  <a:lnTo>
                    <a:pt x="334" y="13"/>
                  </a:lnTo>
                  <a:lnTo>
                    <a:pt x="337" y="15"/>
                  </a:lnTo>
                  <a:lnTo>
                    <a:pt x="337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5" y="23"/>
                  </a:lnTo>
                  <a:lnTo>
                    <a:pt x="346" y="24"/>
                  </a:lnTo>
                  <a:lnTo>
                    <a:pt x="348" y="27"/>
                  </a:lnTo>
                  <a:lnTo>
                    <a:pt x="348" y="29"/>
                  </a:lnTo>
                  <a:lnTo>
                    <a:pt x="349" y="29"/>
                  </a:lnTo>
                  <a:lnTo>
                    <a:pt x="349" y="30"/>
                  </a:lnTo>
                  <a:lnTo>
                    <a:pt x="349" y="30"/>
                  </a:lnTo>
                  <a:lnTo>
                    <a:pt x="351" y="30"/>
                  </a:lnTo>
                  <a:lnTo>
                    <a:pt x="351" y="29"/>
                  </a:lnTo>
                  <a:lnTo>
                    <a:pt x="351" y="26"/>
                  </a:lnTo>
                  <a:lnTo>
                    <a:pt x="349" y="24"/>
                  </a:lnTo>
                  <a:lnTo>
                    <a:pt x="345" y="18"/>
                  </a:lnTo>
                  <a:lnTo>
                    <a:pt x="320" y="4"/>
                  </a:lnTo>
                  <a:lnTo>
                    <a:pt x="317" y="3"/>
                  </a:lnTo>
                  <a:lnTo>
                    <a:pt x="317" y="3"/>
                  </a:lnTo>
                  <a:lnTo>
                    <a:pt x="314" y="0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280" y="1"/>
                  </a:lnTo>
                  <a:lnTo>
                    <a:pt x="268" y="6"/>
                  </a:lnTo>
                  <a:lnTo>
                    <a:pt x="240" y="10"/>
                  </a:lnTo>
                  <a:lnTo>
                    <a:pt x="217" y="21"/>
                  </a:lnTo>
                  <a:lnTo>
                    <a:pt x="209" y="29"/>
                  </a:lnTo>
                  <a:lnTo>
                    <a:pt x="208" y="30"/>
                  </a:lnTo>
                  <a:lnTo>
                    <a:pt x="204" y="30"/>
                  </a:lnTo>
                  <a:lnTo>
                    <a:pt x="198" y="34"/>
                  </a:lnTo>
                  <a:lnTo>
                    <a:pt x="183" y="35"/>
                  </a:lnTo>
                  <a:lnTo>
                    <a:pt x="177" y="40"/>
                  </a:lnTo>
                  <a:lnTo>
                    <a:pt x="175" y="41"/>
                  </a:lnTo>
                  <a:lnTo>
                    <a:pt x="174" y="44"/>
                  </a:lnTo>
                  <a:lnTo>
                    <a:pt x="174" y="44"/>
                  </a:lnTo>
                  <a:lnTo>
                    <a:pt x="175" y="43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2" y="47"/>
                  </a:lnTo>
                  <a:lnTo>
                    <a:pt x="172" y="46"/>
                  </a:lnTo>
                  <a:lnTo>
                    <a:pt x="172" y="44"/>
                  </a:lnTo>
                  <a:lnTo>
                    <a:pt x="164" y="55"/>
                  </a:lnTo>
                  <a:lnTo>
                    <a:pt x="161" y="61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4" y="60"/>
                  </a:lnTo>
                  <a:lnTo>
                    <a:pt x="164" y="61"/>
                  </a:lnTo>
                  <a:lnTo>
                    <a:pt x="164" y="63"/>
                  </a:lnTo>
                  <a:lnTo>
                    <a:pt x="161" y="63"/>
                  </a:lnTo>
                  <a:lnTo>
                    <a:pt x="160" y="64"/>
                  </a:lnTo>
                  <a:lnTo>
                    <a:pt x="160" y="66"/>
                  </a:lnTo>
                  <a:lnTo>
                    <a:pt x="158" y="66"/>
                  </a:lnTo>
                  <a:lnTo>
                    <a:pt x="157" y="66"/>
                  </a:lnTo>
                  <a:lnTo>
                    <a:pt x="158" y="64"/>
                  </a:lnTo>
                  <a:lnTo>
                    <a:pt x="160" y="63"/>
                  </a:lnTo>
                  <a:lnTo>
                    <a:pt x="160" y="61"/>
                  </a:lnTo>
                  <a:lnTo>
                    <a:pt x="155" y="66"/>
                  </a:lnTo>
                  <a:lnTo>
                    <a:pt x="152" y="69"/>
                  </a:lnTo>
                  <a:lnTo>
                    <a:pt x="151" y="70"/>
                  </a:lnTo>
                  <a:lnTo>
                    <a:pt x="154" y="69"/>
                  </a:lnTo>
                  <a:lnTo>
                    <a:pt x="155" y="69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7" y="70"/>
                  </a:lnTo>
                  <a:lnTo>
                    <a:pt x="157" y="70"/>
                  </a:lnTo>
                  <a:lnTo>
                    <a:pt x="157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46" y="75"/>
                  </a:lnTo>
                  <a:lnTo>
                    <a:pt x="144" y="74"/>
                  </a:lnTo>
                  <a:lnTo>
                    <a:pt x="149" y="72"/>
                  </a:lnTo>
                  <a:lnTo>
                    <a:pt x="149" y="70"/>
                  </a:lnTo>
                  <a:lnTo>
                    <a:pt x="141" y="74"/>
                  </a:lnTo>
                  <a:lnTo>
                    <a:pt x="129" y="75"/>
                  </a:lnTo>
                  <a:lnTo>
                    <a:pt x="115" y="81"/>
                  </a:lnTo>
                  <a:lnTo>
                    <a:pt x="100" y="86"/>
                  </a:lnTo>
                  <a:lnTo>
                    <a:pt x="87" y="89"/>
                  </a:lnTo>
                  <a:lnTo>
                    <a:pt x="66" y="98"/>
                  </a:lnTo>
                  <a:lnTo>
                    <a:pt x="49" y="103"/>
                  </a:lnTo>
                  <a:lnTo>
                    <a:pt x="29" y="111"/>
                  </a:lnTo>
                  <a:lnTo>
                    <a:pt x="24" y="115"/>
                  </a:lnTo>
                  <a:lnTo>
                    <a:pt x="21" y="117"/>
                  </a:lnTo>
                  <a:lnTo>
                    <a:pt x="18" y="117"/>
                  </a:lnTo>
                  <a:lnTo>
                    <a:pt x="10" y="117"/>
                  </a:lnTo>
                  <a:lnTo>
                    <a:pt x="9" y="115"/>
                  </a:lnTo>
                  <a:lnTo>
                    <a:pt x="7" y="115"/>
                  </a:lnTo>
                  <a:lnTo>
                    <a:pt x="6" y="115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6" y="120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7" y="123"/>
                  </a:lnTo>
                  <a:lnTo>
                    <a:pt x="12" y="127"/>
                  </a:lnTo>
                  <a:lnTo>
                    <a:pt x="12" y="129"/>
                  </a:lnTo>
                  <a:lnTo>
                    <a:pt x="13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7" y="129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27"/>
                  </a:lnTo>
                  <a:lnTo>
                    <a:pt x="17" y="127"/>
                  </a:lnTo>
                  <a:lnTo>
                    <a:pt x="18" y="127"/>
                  </a:lnTo>
                  <a:lnTo>
                    <a:pt x="20" y="126"/>
                  </a:lnTo>
                  <a:lnTo>
                    <a:pt x="20" y="127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3" y="124"/>
                  </a:lnTo>
                  <a:lnTo>
                    <a:pt x="21" y="123"/>
                  </a:lnTo>
                  <a:lnTo>
                    <a:pt x="20" y="123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3" y="120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3" y="121"/>
                  </a:lnTo>
                  <a:lnTo>
                    <a:pt x="24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7"/>
                  </a:lnTo>
                  <a:lnTo>
                    <a:pt x="37" y="127"/>
                  </a:lnTo>
                  <a:lnTo>
                    <a:pt x="37" y="126"/>
                  </a:lnTo>
                  <a:lnTo>
                    <a:pt x="38" y="126"/>
                  </a:lnTo>
                  <a:lnTo>
                    <a:pt x="38" y="127"/>
                  </a:lnTo>
                  <a:lnTo>
                    <a:pt x="37" y="131"/>
                  </a:lnTo>
                  <a:lnTo>
                    <a:pt x="37" y="132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4" y="135"/>
                  </a:lnTo>
                  <a:lnTo>
                    <a:pt x="32" y="141"/>
                  </a:lnTo>
                  <a:lnTo>
                    <a:pt x="32" y="144"/>
                  </a:lnTo>
                  <a:lnTo>
                    <a:pt x="34" y="149"/>
                  </a:lnTo>
                  <a:lnTo>
                    <a:pt x="35" y="151"/>
                  </a:lnTo>
                  <a:lnTo>
                    <a:pt x="37" y="151"/>
                  </a:lnTo>
                  <a:lnTo>
                    <a:pt x="37" y="151"/>
                  </a:lnTo>
                  <a:lnTo>
                    <a:pt x="37" y="151"/>
                  </a:lnTo>
                  <a:lnTo>
                    <a:pt x="37" y="152"/>
                  </a:lnTo>
                  <a:lnTo>
                    <a:pt x="37" y="152"/>
                  </a:lnTo>
                  <a:lnTo>
                    <a:pt x="37" y="154"/>
                  </a:lnTo>
                  <a:lnTo>
                    <a:pt x="35" y="154"/>
                  </a:lnTo>
                  <a:lnTo>
                    <a:pt x="35" y="155"/>
                  </a:lnTo>
                  <a:lnTo>
                    <a:pt x="35" y="157"/>
                  </a:lnTo>
                  <a:lnTo>
                    <a:pt x="35" y="157"/>
                  </a:lnTo>
                  <a:lnTo>
                    <a:pt x="34" y="157"/>
                  </a:lnTo>
                  <a:lnTo>
                    <a:pt x="32" y="152"/>
                  </a:lnTo>
                  <a:lnTo>
                    <a:pt x="30" y="149"/>
                  </a:lnTo>
                  <a:lnTo>
                    <a:pt x="29" y="149"/>
                  </a:lnTo>
                  <a:lnTo>
                    <a:pt x="26" y="147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0" y="144"/>
                  </a:lnTo>
                  <a:lnTo>
                    <a:pt x="18" y="143"/>
                  </a:lnTo>
                  <a:lnTo>
                    <a:pt x="17" y="143"/>
                  </a:lnTo>
                  <a:lnTo>
                    <a:pt x="15" y="140"/>
                  </a:lnTo>
                  <a:lnTo>
                    <a:pt x="15" y="140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2" y="140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2" y="141"/>
                  </a:lnTo>
                  <a:lnTo>
                    <a:pt x="13" y="141"/>
                  </a:lnTo>
                  <a:lnTo>
                    <a:pt x="13" y="143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7"/>
                  </a:lnTo>
                  <a:lnTo>
                    <a:pt x="10" y="151"/>
                  </a:lnTo>
                  <a:lnTo>
                    <a:pt x="12" y="152"/>
                  </a:lnTo>
                  <a:lnTo>
                    <a:pt x="13" y="157"/>
                  </a:lnTo>
                  <a:lnTo>
                    <a:pt x="13" y="158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69"/>
                  </a:lnTo>
                  <a:lnTo>
                    <a:pt x="15" y="171"/>
                  </a:lnTo>
                  <a:lnTo>
                    <a:pt x="17" y="174"/>
                  </a:lnTo>
                  <a:lnTo>
                    <a:pt x="18" y="177"/>
                  </a:lnTo>
                  <a:lnTo>
                    <a:pt x="18" y="183"/>
                  </a:lnTo>
                  <a:lnTo>
                    <a:pt x="20" y="191"/>
                  </a:lnTo>
                  <a:lnTo>
                    <a:pt x="21" y="192"/>
                  </a:lnTo>
                  <a:lnTo>
                    <a:pt x="21" y="194"/>
                  </a:lnTo>
                  <a:lnTo>
                    <a:pt x="21" y="195"/>
                  </a:lnTo>
                  <a:lnTo>
                    <a:pt x="21" y="197"/>
                  </a:lnTo>
                  <a:lnTo>
                    <a:pt x="21" y="198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4" y="200"/>
                  </a:lnTo>
                  <a:lnTo>
                    <a:pt x="21" y="204"/>
                  </a:lnTo>
                  <a:lnTo>
                    <a:pt x="21" y="204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8"/>
                  </a:lnTo>
                  <a:lnTo>
                    <a:pt x="20" y="209"/>
                  </a:lnTo>
                  <a:lnTo>
                    <a:pt x="20" y="212"/>
                  </a:lnTo>
                  <a:lnTo>
                    <a:pt x="20" y="214"/>
                  </a:lnTo>
                  <a:lnTo>
                    <a:pt x="20" y="215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7" y="226"/>
                  </a:lnTo>
                  <a:lnTo>
                    <a:pt x="13" y="228"/>
                  </a:lnTo>
                  <a:lnTo>
                    <a:pt x="10" y="232"/>
                  </a:lnTo>
                  <a:lnTo>
                    <a:pt x="6" y="234"/>
                  </a:lnTo>
                  <a:lnTo>
                    <a:pt x="1" y="237"/>
                  </a:lnTo>
                  <a:lnTo>
                    <a:pt x="1" y="237"/>
                  </a:lnTo>
                  <a:lnTo>
                    <a:pt x="3" y="238"/>
                  </a:lnTo>
                  <a:lnTo>
                    <a:pt x="3" y="243"/>
                  </a:lnTo>
                  <a:lnTo>
                    <a:pt x="3" y="244"/>
                  </a:lnTo>
                  <a:lnTo>
                    <a:pt x="3" y="246"/>
                  </a:lnTo>
                  <a:lnTo>
                    <a:pt x="3" y="248"/>
                  </a:lnTo>
                  <a:lnTo>
                    <a:pt x="0" y="251"/>
                  </a:lnTo>
                  <a:lnTo>
                    <a:pt x="1" y="252"/>
                  </a:lnTo>
                  <a:lnTo>
                    <a:pt x="3" y="252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7" y="254"/>
                  </a:lnTo>
                  <a:lnTo>
                    <a:pt x="9" y="257"/>
                  </a:lnTo>
                  <a:lnTo>
                    <a:pt x="12" y="258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3" y="271"/>
                  </a:lnTo>
                  <a:lnTo>
                    <a:pt x="24" y="271"/>
                  </a:lnTo>
                  <a:lnTo>
                    <a:pt x="26" y="272"/>
                  </a:lnTo>
                  <a:lnTo>
                    <a:pt x="27" y="274"/>
                  </a:lnTo>
                  <a:lnTo>
                    <a:pt x="32" y="277"/>
                  </a:lnTo>
                  <a:lnTo>
                    <a:pt x="37" y="281"/>
                  </a:lnTo>
                  <a:lnTo>
                    <a:pt x="37" y="281"/>
                  </a:lnTo>
                  <a:lnTo>
                    <a:pt x="40" y="283"/>
                  </a:lnTo>
                  <a:lnTo>
                    <a:pt x="37" y="288"/>
                  </a:lnTo>
                  <a:lnTo>
                    <a:pt x="37" y="291"/>
                  </a:lnTo>
                  <a:lnTo>
                    <a:pt x="38" y="292"/>
                  </a:lnTo>
                  <a:lnTo>
                    <a:pt x="38" y="294"/>
                  </a:lnTo>
                  <a:lnTo>
                    <a:pt x="37" y="297"/>
                  </a:lnTo>
                  <a:lnTo>
                    <a:pt x="35" y="298"/>
                  </a:lnTo>
                  <a:lnTo>
                    <a:pt x="30" y="303"/>
                  </a:lnTo>
                  <a:lnTo>
                    <a:pt x="32" y="308"/>
                  </a:lnTo>
                  <a:lnTo>
                    <a:pt x="34" y="312"/>
                  </a:lnTo>
                  <a:lnTo>
                    <a:pt x="35" y="315"/>
                  </a:lnTo>
                  <a:lnTo>
                    <a:pt x="35" y="318"/>
                  </a:lnTo>
                  <a:lnTo>
                    <a:pt x="37" y="320"/>
                  </a:lnTo>
                  <a:lnTo>
                    <a:pt x="38" y="321"/>
                  </a:lnTo>
                  <a:lnTo>
                    <a:pt x="41" y="321"/>
                  </a:lnTo>
                  <a:lnTo>
                    <a:pt x="43" y="323"/>
                  </a:lnTo>
                  <a:lnTo>
                    <a:pt x="44" y="325"/>
                  </a:lnTo>
                  <a:lnTo>
                    <a:pt x="44" y="328"/>
                  </a:lnTo>
                  <a:lnTo>
                    <a:pt x="43" y="329"/>
                  </a:lnTo>
                  <a:lnTo>
                    <a:pt x="43" y="331"/>
                  </a:lnTo>
                  <a:lnTo>
                    <a:pt x="44" y="332"/>
                  </a:lnTo>
                  <a:lnTo>
                    <a:pt x="43" y="334"/>
                  </a:lnTo>
                  <a:lnTo>
                    <a:pt x="43" y="335"/>
                  </a:lnTo>
                  <a:lnTo>
                    <a:pt x="43" y="338"/>
                  </a:lnTo>
                  <a:lnTo>
                    <a:pt x="43" y="340"/>
                  </a:lnTo>
                  <a:lnTo>
                    <a:pt x="47" y="345"/>
                  </a:lnTo>
                  <a:lnTo>
                    <a:pt x="46" y="346"/>
                  </a:lnTo>
                  <a:lnTo>
                    <a:pt x="46" y="348"/>
                  </a:lnTo>
                  <a:lnTo>
                    <a:pt x="46" y="348"/>
                  </a:lnTo>
                  <a:lnTo>
                    <a:pt x="46" y="349"/>
                  </a:lnTo>
                  <a:lnTo>
                    <a:pt x="44" y="351"/>
                  </a:lnTo>
                  <a:lnTo>
                    <a:pt x="43" y="354"/>
                  </a:lnTo>
                  <a:lnTo>
                    <a:pt x="43" y="354"/>
                  </a:lnTo>
                  <a:lnTo>
                    <a:pt x="43" y="362"/>
                  </a:lnTo>
                  <a:lnTo>
                    <a:pt x="43" y="365"/>
                  </a:lnTo>
                  <a:lnTo>
                    <a:pt x="41" y="366"/>
                  </a:lnTo>
                  <a:lnTo>
                    <a:pt x="40" y="368"/>
                  </a:lnTo>
                  <a:lnTo>
                    <a:pt x="35" y="372"/>
                  </a:lnTo>
                  <a:lnTo>
                    <a:pt x="35" y="374"/>
                  </a:lnTo>
                  <a:lnTo>
                    <a:pt x="35" y="377"/>
                  </a:lnTo>
                  <a:lnTo>
                    <a:pt x="35" y="378"/>
                  </a:lnTo>
                  <a:lnTo>
                    <a:pt x="37" y="380"/>
                  </a:lnTo>
                  <a:lnTo>
                    <a:pt x="38" y="382"/>
                  </a:lnTo>
                  <a:lnTo>
                    <a:pt x="38" y="385"/>
                  </a:lnTo>
                  <a:lnTo>
                    <a:pt x="40" y="388"/>
                  </a:lnTo>
                  <a:lnTo>
                    <a:pt x="41" y="389"/>
                  </a:lnTo>
                  <a:lnTo>
                    <a:pt x="44" y="392"/>
                  </a:lnTo>
                  <a:lnTo>
                    <a:pt x="46" y="394"/>
                  </a:lnTo>
                  <a:lnTo>
                    <a:pt x="46" y="397"/>
                  </a:lnTo>
                  <a:lnTo>
                    <a:pt x="46" y="400"/>
                  </a:lnTo>
                  <a:lnTo>
                    <a:pt x="46" y="403"/>
                  </a:lnTo>
                  <a:lnTo>
                    <a:pt x="44" y="406"/>
                  </a:lnTo>
                  <a:lnTo>
                    <a:pt x="43" y="408"/>
                  </a:lnTo>
                  <a:lnTo>
                    <a:pt x="43" y="409"/>
                  </a:lnTo>
                  <a:lnTo>
                    <a:pt x="44" y="409"/>
                  </a:lnTo>
                  <a:lnTo>
                    <a:pt x="46" y="412"/>
                  </a:lnTo>
                  <a:lnTo>
                    <a:pt x="50" y="414"/>
                  </a:lnTo>
                  <a:lnTo>
                    <a:pt x="52" y="414"/>
                  </a:lnTo>
                  <a:lnTo>
                    <a:pt x="52" y="414"/>
                  </a:lnTo>
                  <a:lnTo>
                    <a:pt x="54" y="415"/>
                  </a:lnTo>
                  <a:lnTo>
                    <a:pt x="57" y="417"/>
                  </a:lnTo>
                  <a:lnTo>
                    <a:pt x="58" y="417"/>
                  </a:lnTo>
                  <a:lnTo>
                    <a:pt x="60" y="418"/>
                  </a:lnTo>
                  <a:lnTo>
                    <a:pt x="61" y="420"/>
                  </a:lnTo>
                  <a:lnTo>
                    <a:pt x="63" y="422"/>
                  </a:lnTo>
                  <a:lnTo>
                    <a:pt x="61" y="423"/>
                  </a:lnTo>
                  <a:lnTo>
                    <a:pt x="61" y="426"/>
                  </a:lnTo>
                  <a:lnTo>
                    <a:pt x="63" y="431"/>
                  </a:lnTo>
                  <a:lnTo>
                    <a:pt x="63" y="431"/>
                  </a:lnTo>
                  <a:lnTo>
                    <a:pt x="63" y="432"/>
                  </a:lnTo>
                  <a:lnTo>
                    <a:pt x="63" y="434"/>
                  </a:lnTo>
                  <a:lnTo>
                    <a:pt x="64" y="437"/>
                  </a:lnTo>
                  <a:lnTo>
                    <a:pt x="66" y="439"/>
                  </a:lnTo>
                  <a:lnTo>
                    <a:pt x="67" y="440"/>
                  </a:lnTo>
                  <a:lnTo>
                    <a:pt x="66" y="445"/>
                  </a:lnTo>
                  <a:lnTo>
                    <a:pt x="67" y="445"/>
                  </a:lnTo>
                  <a:lnTo>
                    <a:pt x="67" y="445"/>
                  </a:lnTo>
                  <a:lnTo>
                    <a:pt x="66" y="448"/>
                  </a:lnTo>
                  <a:lnTo>
                    <a:pt x="64" y="451"/>
                  </a:lnTo>
                  <a:lnTo>
                    <a:pt x="64" y="454"/>
                  </a:lnTo>
                  <a:lnTo>
                    <a:pt x="64" y="457"/>
                  </a:lnTo>
                  <a:lnTo>
                    <a:pt x="64" y="459"/>
                  </a:lnTo>
                  <a:lnTo>
                    <a:pt x="63" y="459"/>
                  </a:lnTo>
                  <a:lnTo>
                    <a:pt x="63" y="460"/>
                  </a:lnTo>
                  <a:lnTo>
                    <a:pt x="63" y="460"/>
                  </a:lnTo>
                  <a:lnTo>
                    <a:pt x="63" y="462"/>
                  </a:lnTo>
                  <a:lnTo>
                    <a:pt x="63" y="463"/>
                  </a:lnTo>
                  <a:lnTo>
                    <a:pt x="63" y="465"/>
                  </a:lnTo>
                  <a:lnTo>
                    <a:pt x="58" y="474"/>
                  </a:lnTo>
                  <a:lnTo>
                    <a:pt x="55" y="483"/>
                  </a:lnTo>
                  <a:lnTo>
                    <a:pt x="52" y="486"/>
                  </a:lnTo>
                  <a:lnTo>
                    <a:pt x="52" y="488"/>
                  </a:lnTo>
                  <a:lnTo>
                    <a:pt x="52" y="489"/>
                  </a:lnTo>
                  <a:lnTo>
                    <a:pt x="54" y="489"/>
                  </a:lnTo>
                  <a:lnTo>
                    <a:pt x="55" y="489"/>
                  </a:lnTo>
                  <a:lnTo>
                    <a:pt x="64" y="489"/>
                  </a:lnTo>
                  <a:lnTo>
                    <a:pt x="64" y="488"/>
                  </a:lnTo>
                  <a:lnTo>
                    <a:pt x="64" y="485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2"/>
                  </a:lnTo>
                  <a:lnTo>
                    <a:pt x="66" y="482"/>
                  </a:lnTo>
                  <a:lnTo>
                    <a:pt x="66" y="477"/>
                  </a:lnTo>
                  <a:lnTo>
                    <a:pt x="64" y="475"/>
                  </a:lnTo>
                  <a:lnTo>
                    <a:pt x="63" y="475"/>
                  </a:lnTo>
                  <a:lnTo>
                    <a:pt x="63" y="474"/>
                  </a:lnTo>
                  <a:lnTo>
                    <a:pt x="63" y="474"/>
                  </a:lnTo>
                  <a:lnTo>
                    <a:pt x="63" y="474"/>
                  </a:lnTo>
                  <a:lnTo>
                    <a:pt x="63" y="472"/>
                  </a:lnTo>
                  <a:lnTo>
                    <a:pt x="64" y="472"/>
                  </a:lnTo>
                  <a:lnTo>
                    <a:pt x="64" y="472"/>
                  </a:lnTo>
                  <a:lnTo>
                    <a:pt x="66" y="472"/>
                  </a:lnTo>
                  <a:lnTo>
                    <a:pt x="66" y="471"/>
                  </a:lnTo>
                  <a:lnTo>
                    <a:pt x="66" y="471"/>
                  </a:lnTo>
                  <a:lnTo>
                    <a:pt x="67" y="472"/>
                  </a:lnTo>
                  <a:lnTo>
                    <a:pt x="70" y="472"/>
                  </a:lnTo>
                  <a:lnTo>
                    <a:pt x="72" y="474"/>
                  </a:lnTo>
                  <a:lnTo>
                    <a:pt x="72" y="474"/>
                  </a:lnTo>
                  <a:lnTo>
                    <a:pt x="74" y="475"/>
                  </a:lnTo>
                  <a:lnTo>
                    <a:pt x="74" y="475"/>
                  </a:lnTo>
                  <a:lnTo>
                    <a:pt x="75" y="474"/>
                  </a:lnTo>
                  <a:lnTo>
                    <a:pt x="75" y="474"/>
                  </a:lnTo>
                  <a:lnTo>
                    <a:pt x="75" y="472"/>
                  </a:lnTo>
                  <a:lnTo>
                    <a:pt x="77" y="471"/>
                  </a:lnTo>
                  <a:lnTo>
                    <a:pt x="77" y="472"/>
                  </a:lnTo>
                  <a:lnTo>
                    <a:pt x="77" y="474"/>
                  </a:lnTo>
                  <a:lnTo>
                    <a:pt x="78" y="475"/>
                  </a:lnTo>
                  <a:lnTo>
                    <a:pt x="83" y="475"/>
                  </a:lnTo>
                  <a:lnTo>
                    <a:pt x="84" y="477"/>
                  </a:lnTo>
                  <a:lnTo>
                    <a:pt x="86" y="479"/>
                  </a:lnTo>
                  <a:lnTo>
                    <a:pt x="86" y="480"/>
                  </a:lnTo>
                  <a:lnTo>
                    <a:pt x="84" y="480"/>
                  </a:lnTo>
                  <a:lnTo>
                    <a:pt x="84" y="483"/>
                  </a:lnTo>
                  <a:lnTo>
                    <a:pt x="84" y="485"/>
                  </a:lnTo>
                  <a:lnTo>
                    <a:pt x="86" y="486"/>
                  </a:lnTo>
                  <a:lnTo>
                    <a:pt x="86" y="489"/>
                  </a:lnTo>
                  <a:lnTo>
                    <a:pt x="87" y="489"/>
                  </a:lnTo>
                  <a:lnTo>
                    <a:pt x="89" y="491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2" y="495"/>
                  </a:lnTo>
                  <a:lnTo>
                    <a:pt x="92" y="495"/>
                  </a:lnTo>
                  <a:lnTo>
                    <a:pt x="92" y="497"/>
                  </a:lnTo>
                  <a:lnTo>
                    <a:pt x="92" y="499"/>
                  </a:lnTo>
                  <a:lnTo>
                    <a:pt x="92" y="499"/>
                  </a:lnTo>
                  <a:lnTo>
                    <a:pt x="92" y="500"/>
                  </a:lnTo>
                  <a:lnTo>
                    <a:pt x="94" y="500"/>
                  </a:lnTo>
                  <a:lnTo>
                    <a:pt x="94" y="499"/>
                  </a:lnTo>
                  <a:lnTo>
                    <a:pt x="95" y="497"/>
                  </a:lnTo>
                  <a:lnTo>
                    <a:pt x="95" y="497"/>
                  </a:lnTo>
                  <a:lnTo>
                    <a:pt x="98" y="497"/>
                  </a:lnTo>
                  <a:lnTo>
                    <a:pt x="114" y="502"/>
                  </a:lnTo>
                  <a:lnTo>
                    <a:pt x="114" y="502"/>
                  </a:lnTo>
                  <a:lnTo>
                    <a:pt x="115" y="503"/>
                  </a:lnTo>
                  <a:lnTo>
                    <a:pt x="115" y="505"/>
                  </a:lnTo>
                  <a:lnTo>
                    <a:pt x="117" y="505"/>
                  </a:lnTo>
                  <a:lnTo>
                    <a:pt x="123" y="503"/>
                  </a:lnTo>
                  <a:lnTo>
                    <a:pt x="124" y="503"/>
                  </a:lnTo>
                  <a:lnTo>
                    <a:pt x="124" y="503"/>
                  </a:lnTo>
                  <a:lnTo>
                    <a:pt x="124" y="505"/>
                  </a:lnTo>
                  <a:lnTo>
                    <a:pt x="129" y="511"/>
                  </a:lnTo>
                  <a:lnTo>
                    <a:pt x="129" y="511"/>
                  </a:lnTo>
                  <a:lnTo>
                    <a:pt x="131" y="511"/>
                  </a:lnTo>
                  <a:lnTo>
                    <a:pt x="135" y="509"/>
                  </a:lnTo>
                  <a:lnTo>
                    <a:pt x="137" y="509"/>
                  </a:lnTo>
                  <a:lnTo>
                    <a:pt x="138" y="511"/>
                  </a:lnTo>
                  <a:lnTo>
                    <a:pt x="138" y="512"/>
                  </a:lnTo>
                  <a:lnTo>
                    <a:pt x="140" y="514"/>
                  </a:lnTo>
                  <a:lnTo>
                    <a:pt x="140" y="516"/>
                  </a:lnTo>
                  <a:lnTo>
                    <a:pt x="140" y="517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41" y="519"/>
                  </a:lnTo>
                  <a:lnTo>
                    <a:pt x="146" y="514"/>
                  </a:lnTo>
                  <a:lnTo>
                    <a:pt x="149" y="514"/>
                  </a:lnTo>
                  <a:lnTo>
                    <a:pt x="152" y="517"/>
                  </a:lnTo>
                  <a:lnTo>
                    <a:pt x="152" y="517"/>
                  </a:lnTo>
                  <a:lnTo>
                    <a:pt x="154" y="517"/>
                  </a:lnTo>
                  <a:lnTo>
                    <a:pt x="155" y="516"/>
                  </a:lnTo>
                  <a:lnTo>
                    <a:pt x="155" y="514"/>
                  </a:lnTo>
                  <a:lnTo>
                    <a:pt x="157" y="512"/>
                  </a:lnTo>
                  <a:lnTo>
                    <a:pt x="157" y="512"/>
                  </a:lnTo>
                  <a:lnTo>
                    <a:pt x="160" y="512"/>
                  </a:lnTo>
                  <a:lnTo>
                    <a:pt x="163" y="514"/>
                  </a:lnTo>
                  <a:lnTo>
                    <a:pt x="164" y="514"/>
                  </a:lnTo>
                  <a:lnTo>
                    <a:pt x="171" y="522"/>
                  </a:lnTo>
                  <a:lnTo>
                    <a:pt x="172" y="523"/>
                  </a:lnTo>
                  <a:lnTo>
                    <a:pt x="169" y="525"/>
                  </a:lnTo>
                  <a:lnTo>
                    <a:pt x="169" y="525"/>
                  </a:lnTo>
                  <a:lnTo>
                    <a:pt x="169" y="526"/>
                  </a:lnTo>
                  <a:lnTo>
                    <a:pt x="169" y="526"/>
                  </a:lnTo>
                  <a:lnTo>
                    <a:pt x="169" y="526"/>
                  </a:lnTo>
                  <a:lnTo>
                    <a:pt x="169" y="528"/>
                  </a:lnTo>
                  <a:lnTo>
                    <a:pt x="169" y="528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8" y="531"/>
                  </a:lnTo>
                  <a:lnTo>
                    <a:pt x="166" y="532"/>
                  </a:lnTo>
                  <a:lnTo>
                    <a:pt x="164" y="532"/>
                  </a:lnTo>
                  <a:lnTo>
                    <a:pt x="163" y="532"/>
                  </a:lnTo>
                  <a:lnTo>
                    <a:pt x="161" y="532"/>
                  </a:lnTo>
                  <a:lnTo>
                    <a:pt x="161" y="534"/>
                  </a:lnTo>
                  <a:lnTo>
                    <a:pt x="160" y="534"/>
                  </a:lnTo>
                  <a:lnTo>
                    <a:pt x="158" y="536"/>
                  </a:lnTo>
                  <a:lnTo>
                    <a:pt x="157" y="537"/>
                  </a:lnTo>
                  <a:lnTo>
                    <a:pt x="157" y="537"/>
                  </a:lnTo>
                  <a:lnTo>
                    <a:pt x="157" y="537"/>
                  </a:lnTo>
                  <a:lnTo>
                    <a:pt x="155" y="537"/>
                  </a:lnTo>
                  <a:lnTo>
                    <a:pt x="155" y="539"/>
                  </a:lnTo>
                  <a:lnTo>
                    <a:pt x="157" y="539"/>
                  </a:lnTo>
                  <a:lnTo>
                    <a:pt x="155" y="539"/>
                  </a:lnTo>
                  <a:lnTo>
                    <a:pt x="154" y="540"/>
                  </a:lnTo>
                  <a:lnTo>
                    <a:pt x="155" y="542"/>
                  </a:lnTo>
                  <a:lnTo>
                    <a:pt x="157" y="543"/>
                  </a:lnTo>
                  <a:lnTo>
                    <a:pt x="158" y="546"/>
                  </a:lnTo>
                  <a:lnTo>
                    <a:pt x="158" y="546"/>
                  </a:lnTo>
                  <a:lnTo>
                    <a:pt x="160" y="548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1" y="546"/>
                  </a:lnTo>
                  <a:lnTo>
                    <a:pt x="164" y="546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9"/>
                  </a:lnTo>
                  <a:lnTo>
                    <a:pt x="166" y="549"/>
                  </a:lnTo>
                  <a:lnTo>
                    <a:pt x="166" y="551"/>
                  </a:lnTo>
                  <a:lnTo>
                    <a:pt x="168" y="552"/>
                  </a:lnTo>
                  <a:lnTo>
                    <a:pt x="171" y="554"/>
                  </a:lnTo>
                  <a:lnTo>
                    <a:pt x="172" y="556"/>
                  </a:lnTo>
                  <a:lnTo>
                    <a:pt x="174" y="557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7" y="563"/>
                  </a:lnTo>
                  <a:lnTo>
                    <a:pt x="180" y="565"/>
                  </a:lnTo>
                  <a:lnTo>
                    <a:pt x="180" y="568"/>
                  </a:lnTo>
                  <a:lnTo>
                    <a:pt x="181" y="571"/>
                  </a:lnTo>
                  <a:lnTo>
                    <a:pt x="181" y="572"/>
                  </a:lnTo>
                  <a:lnTo>
                    <a:pt x="183" y="574"/>
                  </a:lnTo>
                  <a:lnTo>
                    <a:pt x="186" y="577"/>
                  </a:lnTo>
                  <a:lnTo>
                    <a:pt x="189" y="579"/>
                  </a:lnTo>
                  <a:lnTo>
                    <a:pt x="192" y="579"/>
                  </a:lnTo>
                  <a:lnTo>
                    <a:pt x="194" y="576"/>
                  </a:lnTo>
                  <a:lnTo>
                    <a:pt x="195" y="574"/>
                  </a:lnTo>
                  <a:lnTo>
                    <a:pt x="197" y="572"/>
                  </a:lnTo>
                  <a:lnTo>
                    <a:pt x="198" y="571"/>
                  </a:lnTo>
                  <a:lnTo>
                    <a:pt x="198" y="569"/>
                  </a:lnTo>
                  <a:lnTo>
                    <a:pt x="201" y="568"/>
                  </a:lnTo>
                  <a:lnTo>
                    <a:pt x="201" y="568"/>
                  </a:lnTo>
                  <a:lnTo>
                    <a:pt x="203" y="568"/>
                  </a:lnTo>
                  <a:lnTo>
                    <a:pt x="204" y="568"/>
                  </a:lnTo>
                  <a:lnTo>
                    <a:pt x="206" y="568"/>
                  </a:lnTo>
                  <a:lnTo>
                    <a:pt x="206" y="566"/>
                  </a:lnTo>
                  <a:lnTo>
                    <a:pt x="208" y="565"/>
                  </a:lnTo>
                  <a:lnTo>
                    <a:pt x="208" y="565"/>
                  </a:lnTo>
                  <a:lnTo>
                    <a:pt x="209" y="565"/>
                  </a:lnTo>
                  <a:lnTo>
                    <a:pt x="211" y="565"/>
                  </a:lnTo>
                  <a:lnTo>
                    <a:pt x="211" y="565"/>
                  </a:lnTo>
                  <a:lnTo>
                    <a:pt x="211" y="565"/>
                  </a:lnTo>
                  <a:lnTo>
                    <a:pt x="211" y="563"/>
                  </a:lnTo>
                  <a:lnTo>
                    <a:pt x="211" y="563"/>
                  </a:lnTo>
                  <a:lnTo>
                    <a:pt x="212" y="563"/>
                  </a:lnTo>
                  <a:lnTo>
                    <a:pt x="212" y="563"/>
                  </a:lnTo>
                  <a:lnTo>
                    <a:pt x="214" y="563"/>
                  </a:lnTo>
                  <a:lnTo>
                    <a:pt x="214" y="565"/>
                  </a:lnTo>
                  <a:lnTo>
                    <a:pt x="215" y="565"/>
                  </a:lnTo>
                  <a:lnTo>
                    <a:pt x="215" y="565"/>
                  </a:lnTo>
                  <a:lnTo>
                    <a:pt x="215" y="563"/>
                  </a:lnTo>
                  <a:lnTo>
                    <a:pt x="214" y="562"/>
                  </a:lnTo>
                  <a:lnTo>
                    <a:pt x="214" y="559"/>
                  </a:lnTo>
                  <a:lnTo>
                    <a:pt x="214" y="557"/>
                  </a:lnTo>
                  <a:lnTo>
                    <a:pt x="212" y="556"/>
                  </a:lnTo>
                  <a:lnTo>
                    <a:pt x="211" y="554"/>
                  </a:lnTo>
                  <a:lnTo>
                    <a:pt x="209" y="552"/>
                  </a:lnTo>
                  <a:lnTo>
                    <a:pt x="208" y="551"/>
                  </a:lnTo>
                  <a:lnTo>
                    <a:pt x="208" y="548"/>
                  </a:lnTo>
                  <a:lnTo>
                    <a:pt x="206" y="546"/>
                  </a:lnTo>
                  <a:lnTo>
                    <a:pt x="204" y="542"/>
                  </a:lnTo>
                  <a:lnTo>
                    <a:pt x="204" y="540"/>
                  </a:lnTo>
                  <a:lnTo>
                    <a:pt x="206" y="539"/>
                  </a:lnTo>
                  <a:lnTo>
                    <a:pt x="208" y="540"/>
                  </a:lnTo>
                  <a:lnTo>
                    <a:pt x="211" y="540"/>
                  </a:lnTo>
                  <a:lnTo>
                    <a:pt x="211" y="542"/>
                  </a:lnTo>
                  <a:lnTo>
                    <a:pt x="212" y="542"/>
                  </a:lnTo>
                  <a:lnTo>
                    <a:pt x="220" y="543"/>
                  </a:lnTo>
                  <a:lnTo>
                    <a:pt x="221" y="543"/>
                  </a:lnTo>
                  <a:lnTo>
                    <a:pt x="223" y="545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8" y="545"/>
                  </a:lnTo>
                  <a:lnTo>
                    <a:pt x="228" y="546"/>
                  </a:lnTo>
                  <a:lnTo>
                    <a:pt x="228" y="546"/>
                  </a:lnTo>
                  <a:lnTo>
                    <a:pt x="228" y="548"/>
                  </a:lnTo>
                  <a:lnTo>
                    <a:pt x="229" y="549"/>
                  </a:lnTo>
                  <a:lnTo>
                    <a:pt x="229" y="549"/>
                  </a:lnTo>
                  <a:lnTo>
                    <a:pt x="231" y="551"/>
                  </a:lnTo>
                  <a:lnTo>
                    <a:pt x="232" y="552"/>
                  </a:lnTo>
                  <a:lnTo>
                    <a:pt x="234" y="552"/>
                  </a:lnTo>
                  <a:lnTo>
                    <a:pt x="238" y="552"/>
                  </a:lnTo>
                  <a:lnTo>
                    <a:pt x="240" y="552"/>
                  </a:lnTo>
                  <a:lnTo>
                    <a:pt x="238" y="554"/>
                  </a:lnTo>
                  <a:lnTo>
                    <a:pt x="238" y="554"/>
                  </a:lnTo>
                  <a:lnTo>
                    <a:pt x="238" y="554"/>
                  </a:lnTo>
                  <a:lnTo>
                    <a:pt x="238" y="556"/>
                  </a:lnTo>
                  <a:lnTo>
                    <a:pt x="238" y="556"/>
                  </a:lnTo>
                  <a:lnTo>
                    <a:pt x="238" y="557"/>
                  </a:lnTo>
                  <a:lnTo>
                    <a:pt x="240" y="559"/>
                  </a:lnTo>
                  <a:lnTo>
                    <a:pt x="240" y="560"/>
                  </a:lnTo>
                  <a:lnTo>
                    <a:pt x="241" y="560"/>
                  </a:lnTo>
                  <a:lnTo>
                    <a:pt x="241" y="559"/>
                  </a:lnTo>
                  <a:lnTo>
                    <a:pt x="243" y="559"/>
                  </a:lnTo>
                  <a:lnTo>
                    <a:pt x="245" y="559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8" y="562"/>
                  </a:lnTo>
                  <a:lnTo>
                    <a:pt x="249" y="559"/>
                  </a:lnTo>
                  <a:lnTo>
                    <a:pt x="252" y="559"/>
                  </a:lnTo>
                  <a:lnTo>
                    <a:pt x="260" y="560"/>
                  </a:lnTo>
                  <a:lnTo>
                    <a:pt x="261" y="559"/>
                  </a:lnTo>
                  <a:lnTo>
                    <a:pt x="263" y="559"/>
                  </a:lnTo>
                  <a:lnTo>
                    <a:pt x="265" y="556"/>
                  </a:lnTo>
                  <a:lnTo>
                    <a:pt x="265" y="554"/>
                  </a:lnTo>
                  <a:lnTo>
                    <a:pt x="265" y="554"/>
                  </a:lnTo>
                  <a:lnTo>
                    <a:pt x="266" y="552"/>
                  </a:lnTo>
                  <a:lnTo>
                    <a:pt x="268" y="554"/>
                  </a:lnTo>
                  <a:lnTo>
                    <a:pt x="268" y="554"/>
                  </a:lnTo>
                  <a:lnTo>
                    <a:pt x="269" y="556"/>
                  </a:lnTo>
                  <a:lnTo>
                    <a:pt x="269" y="556"/>
                  </a:lnTo>
                  <a:lnTo>
                    <a:pt x="269" y="556"/>
                  </a:lnTo>
                  <a:lnTo>
                    <a:pt x="269" y="557"/>
                  </a:lnTo>
                  <a:lnTo>
                    <a:pt x="269" y="557"/>
                  </a:lnTo>
                  <a:lnTo>
                    <a:pt x="268" y="559"/>
                  </a:lnTo>
                  <a:lnTo>
                    <a:pt x="268" y="560"/>
                  </a:lnTo>
                  <a:lnTo>
                    <a:pt x="268" y="562"/>
                  </a:lnTo>
                  <a:lnTo>
                    <a:pt x="269" y="562"/>
                  </a:lnTo>
                  <a:lnTo>
                    <a:pt x="269" y="565"/>
                  </a:lnTo>
                  <a:lnTo>
                    <a:pt x="269" y="566"/>
                  </a:lnTo>
                  <a:lnTo>
                    <a:pt x="268" y="568"/>
                  </a:lnTo>
                  <a:lnTo>
                    <a:pt x="265" y="569"/>
                  </a:lnTo>
                  <a:lnTo>
                    <a:pt x="263" y="569"/>
                  </a:lnTo>
                  <a:lnTo>
                    <a:pt x="258" y="571"/>
                  </a:lnTo>
                  <a:lnTo>
                    <a:pt x="258" y="571"/>
                  </a:lnTo>
                  <a:lnTo>
                    <a:pt x="257" y="572"/>
                  </a:lnTo>
                  <a:lnTo>
                    <a:pt x="258" y="572"/>
                  </a:lnTo>
                  <a:lnTo>
                    <a:pt x="261" y="577"/>
                  </a:lnTo>
                  <a:lnTo>
                    <a:pt x="263" y="577"/>
                  </a:lnTo>
                  <a:lnTo>
                    <a:pt x="263" y="577"/>
                  </a:lnTo>
                  <a:lnTo>
                    <a:pt x="265" y="577"/>
                  </a:lnTo>
                  <a:lnTo>
                    <a:pt x="265" y="577"/>
                  </a:lnTo>
                  <a:lnTo>
                    <a:pt x="266" y="577"/>
                  </a:lnTo>
                  <a:lnTo>
                    <a:pt x="268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8" y="580"/>
                  </a:lnTo>
                  <a:lnTo>
                    <a:pt x="268" y="580"/>
                  </a:lnTo>
                  <a:lnTo>
                    <a:pt x="268" y="580"/>
                  </a:lnTo>
                  <a:lnTo>
                    <a:pt x="269" y="582"/>
                  </a:lnTo>
                  <a:lnTo>
                    <a:pt x="269" y="582"/>
                  </a:lnTo>
                  <a:lnTo>
                    <a:pt x="271" y="583"/>
                  </a:lnTo>
                  <a:lnTo>
                    <a:pt x="271" y="585"/>
                  </a:lnTo>
                  <a:lnTo>
                    <a:pt x="271" y="586"/>
                  </a:lnTo>
                  <a:lnTo>
                    <a:pt x="272" y="588"/>
                  </a:lnTo>
                  <a:lnTo>
                    <a:pt x="277" y="592"/>
                  </a:lnTo>
                  <a:lnTo>
                    <a:pt x="280" y="592"/>
                  </a:lnTo>
                  <a:lnTo>
                    <a:pt x="281" y="592"/>
                  </a:lnTo>
                  <a:lnTo>
                    <a:pt x="285" y="591"/>
                  </a:lnTo>
                  <a:lnTo>
                    <a:pt x="286" y="589"/>
                  </a:lnTo>
                  <a:lnTo>
                    <a:pt x="289" y="589"/>
                  </a:lnTo>
                  <a:lnTo>
                    <a:pt x="291" y="589"/>
                  </a:lnTo>
                  <a:lnTo>
                    <a:pt x="291" y="588"/>
                  </a:lnTo>
                  <a:lnTo>
                    <a:pt x="291" y="588"/>
                  </a:lnTo>
                  <a:lnTo>
                    <a:pt x="291" y="586"/>
                  </a:lnTo>
                  <a:lnTo>
                    <a:pt x="291" y="586"/>
                  </a:lnTo>
                  <a:lnTo>
                    <a:pt x="289" y="586"/>
                  </a:lnTo>
                  <a:lnTo>
                    <a:pt x="289" y="586"/>
                  </a:lnTo>
                  <a:lnTo>
                    <a:pt x="289" y="585"/>
                  </a:lnTo>
                  <a:lnTo>
                    <a:pt x="291" y="585"/>
                  </a:lnTo>
                  <a:lnTo>
                    <a:pt x="291" y="585"/>
                  </a:lnTo>
                  <a:lnTo>
                    <a:pt x="295" y="588"/>
                  </a:lnTo>
                  <a:lnTo>
                    <a:pt x="295" y="589"/>
                  </a:lnTo>
                  <a:lnTo>
                    <a:pt x="295" y="591"/>
                  </a:lnTo>
                  <a:lnTo>
                    <a:pt x="302" y="591"/>
                  </a:lnTo>
                  <a:lnTo>
                    <a:pt x="302" y="592"/>
                  </a:lnTo>
                  <a:lnTo>
                    <a:pt x="305" y="594"/>
                  </a:lnTo>
                  <a:lnTo>
                    <a:pt x="305" y="594"/>
                  </a:lnTo>
                  <a:lnTo>
                    <a:pt x="306" y="596"/>
                  </a:lnTo>
                  <a:lnTo>
                    <a:pt x="308" y="596"/>
                  </a:lnTo>
                  <a:lnTo>
                    <a:pt x="308" y="596"/>
                  </a:lnTo>
                  <a:lnTo>
                    <a:pt x="309" y="599"/>
                  </a:lnTo>
                  <a:lnTo>
                    <a:pt x="309" y="599"/>
                  </a:lnTo>
                  <a:lnTo>
                    <a:pt x="311" y="600"/>
                  </a:lnTo>
                  <a:lnTo>
                    <a:pt x="312" y="600"/>
                  </a:lnTo>
                  <a:lnTo>
                    <a:pt x="314" y="599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7" y="597"/>
                  </a:lnTo>
                  <a:lnTo>
                    <a:pt x="318" y="599"/>
                  </a:lnTo>
                  <a:lnTo>
                    <a:pt x="325" y="602"/>
                  </a:lnTo>
                  <a:lnTo>
                    <a:pt x="326" y="602"/>
                  </a:lnTo>
                  <a:lnTo>
                    <a:pt x="329" y="600"/>
                  </a:lnTo>
                  <a:lnTo>
                    <a:pt x="331" y="600"/>
                  </a:lnTo>
                  <a:lnTo>
                    <a:pt x="331" y="602"/>
                  </a:lnTo>
                  <a:lnTo>
                    <a:pt x="331" y="603"/>
                  </a:lnTo>
                  <a:lnTo>
                    <a:pt x="331" y="605"/>
                  </a:lnTo>
                  <a:lnTo>
                    <a:pt x="332" y="606"/>
                  </a:lnTo>
                  <a:lnTo>
                    <a:pt x="331" y="609"/>
                  </a:lnTo>
                  <a:lnTo>
                    <a:pt x="331" y="613"/>
                  </a:lnTo>
                  <a:lnTo>
                    <a:pt x="332" y="616"/>
                  </a:lnTo>
                  <a:lnTo>
                    <a:pt x="334" y="619"/>
                  </a:lnTo>
                  <a:lnTo>
                    <a:pt x="335" y="622"/>
                  </a:lnTo>
                  <a:lnTo>
                    <a:pt x="335" y="623"/>
                  </a:lnTo>
                  <a:lnTo>
                    <a:pt x="335" y="623"/>
                  </a:lnTo>
                  <a:lnTo>
                    <a:pt x="338" y="625"/>
                  </a:lnTo>
                  <a:lnTo>
                    <a:pt x="340" y="625"/>
                  </a:lnTo>
                  <a:lnTo>
                    <a:pt x="340" y="625"/>
                  </a:lnTo>
                  <a:lnTo>
                    <a:pt x="342" y="626"/>
                  </a:lnTo>
                  <a:lnTo>
                    <a:pt x="343" y="628"/>
                  </a:lnTo>
                  <a:lnTo>
                    <a:pt x="345" y="628"/>
                  </a:lnTo>
                  <a:lnTo>
                    <a:pt x="345" y="626"/>
                  </a:lnTo>
                  <a:lnTo>
                    <a:pt x="346" y="626"/>
                  </a:lnTo>
                  <a:lnTo>
                    <a:pt x="348" y="628"/>
                  </a:lnTo>
                  <a:lnTo>
                    <a:pt x="348" y="628"/>
                  </a:lnTo>
                  <a:lnTo>
                    <a:pt x="348" y="633"/>
                  </a:lnTo>
                  <a:lnTo>
                    <a:pt x="349" y="634"/>
                  </a:lnTo>
                  <a:lnTo>
                    <a:pt x="349" y="636"/>
                  </a:lnTo>
                  <a:lnTo>
                    <a:pt x="349" y="637"/>
                  </a:lnTo>
                  <a:lnTo>
                    <a:pt x="351" y="642"/>
                  </a:lnTo>
                  <a:lnTo>
                    <a:pt x="351" y="643"/>
                  </a:lnTo>
                  <a:lnTo>
                    <a:pt x="351" y="646"/>
                  </a:lnTo>
                  <a:lnTo>
                    <a:pt x="358" y="646"/>
                  </a:lnTo>
                  <a:lnTo>
                    <a:pt x="360" y="648"/>
                  </a:lnTo>
                  <a:lnTo>
                    <a:pt x="360" y="649"/>
                  </a:lnTo>
                  <a:lnTo>
                    <a:pt x="360" y="651"/>
                  </a:lnTo>
                  <a:lnTo>
                    <a:pt x="360" y="653"/>
                  </a:lnTo>
                  <a:lnTo>
                    <a:pt x="360" y="654"/>
                  </a:lnTo>
                  <a:lnTo>
                    <a:pt x="360" y="659"/>
                  </a:lnTo>
                  <a:lnTo>
                    <a:pt x="360" y="660"/>
                  </a:lnTo>
                  <a:lnTo>
                    <a:pt x="362" y="660"/>
                  </a:lnTo>
                  <a:lnTo>
                    <a:pt x="363" y="660"/>
                  </a:lnTo>
                  <a:lnTo>
                    <a:pt x="366" y="659"/>
                  </a:lnTo>
                  <a:lnTo>
                    <a:pt x="368" y="657"/>
                  </a:lnTo>
                  <a:lnTo>
                    <a:pt x="369" y="657"/>
                  </a:lnTo>
                  <a:lnTo>
                    <a:pt x="371" y="659"/>
                  </a:lnTo>
                  <a:lnTo>
                    <a:pt x="371" y="659"/>
                  </a:lnTo>
                  <a:lnTo>
                    <a:pt x="372" y="659"/>
                  </a:lnTo>
                  <a:lnTo>
                    <a:pt x="374" y="659"/>
                  </a:lnTo>
                  <a:lnTo>
                    <a:pt x="375" y="659"/>
                  </a:lnTo>
                  <a:lnTo>
                    <a:pt x="377" y="657"/>
                  </a:lnTo>
                  <a:lnTo>
                    <a:pt x="377" y="656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9" y="654"/>
                  </a:lnTo>
                  <a:lnTo>
                    <a:pt x="379" y="653"/>
                  </a:lnTo>
                  <a:lnTo>
                    <a:pt x="379" y="653"/>
                  </a:lnTo>
                  <a:lnTo>
                    <a:pt x="379" y="653"/>
                  </a:lnTo>
                  <a:lnTo>
                    <a:pt x="379" y="651"/>
                  </a:lnTo>
                  <a:lnTo>
                    <a:pt x="379" y="651"/>
                  </a:lnTo>
                  <a:lnTo>
                    <a:pt x="380" y="648"/>
                  </a:lnTo>
                  <a:lnTo>
                    <a:pt x="380" y="646"/>
                  </a:lnTo>
                  <a:lnTo>
                    <a:pt x="382" y="645"/>
                  </a:lnTo>
                  <a:lnTo>
                    <a:pt x="383" y="645"/>
                  </a:lnTo>
                  <a:lnTo>
                    <a:pt x="385" y="645"/>
                  </a:lnTo>
                  <a:lnTo>
                    <a:pt x="386" y="645"/>
                  </a:lnTo>
                  <a:lnTo>
                    <a:pt x="388" y="643"/>
                  </a:lnTo>
                  <a:lnTo>
                    <a:pt x="388" y="643"/>
                  </a:lnTo>
                  <a:lnTo>
                    <a:pt x="389" y="643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7" y="636"/>
                  </a:lnTo>
                  <a:lnTo>
                    <a:pt x="397" y="636"/>
                  </a:lnTo>
                  <a:lnTo>
                    <a:pt x="399" y="637"/>
                  </a:lnTo>
                  <a:lnTo>
                    <a:pt x="399" y="639"/>
                  </a:lnTo>
                  <a:lnTo>
                    <a:pt x="400" y="640"/>
                  </a:lnTo>
                  <a:lnTo>
                    <a:pt x="402" y="642"/>
                  </a:lnTo>
                  <a:lnTo>
                    <a:pt x="403" y="648"/>
                  </a:lnTo>
                  <a:lnTo>
                    <a:pt x="405" y="651"/>
                  </a:lnTo>
                  <a:lnTo>
                    <a:pt x="405" y="653"/>
                  </a:lnTo>
                  <a:lnTo>
                    <a:pt x="406" y="653"/>
                  </a:lnTo>
                  <a:lnTo>
                    <a:pt x="408" y="654"/>
                  </a:lnTo>
                  <a:lnTo>
                    <a:pt x="411" y="654"/>
                  </a:lnTo>
                  <a:lnTo>
                    <a:pt x="409" y="654"/>
                  </a:lnTo>
                  <a:lnTo>
                    <a:pt x="409" y="656"/>
                  </a:lnTo>
                  <a:lnTo>
                    <a:pt x="409" y="657"/>
                  </a:lnTo>
                  <a:lnTo>
                    <a:pt x="409" y="659"/>
                  </a:lnTo>
                  <a:lnTo>
                    <a:pt x="409" y="659"/>
                  </a:lnTo>
                  <a:lnTo>
                    <a:pt x="414" y="660"/>
                  </a:lnTo>
                  <a:lnTo>
                    <a:pt x="415" y="660"/>
                  </a:lnTo>
                  <a:lnTo>
                    <a:pt x="417" y="660"/>
                  </a:lnTo>
                  <a:lnTo>
                    <a:pt x="420" y="659"/>
                  </a:lnTo>
                  <a:lnTo>
                    <a:pt x="420" y="659"/>
                  </a:lnTo>
                  <a:lnTo>
                    <a:pt x="420" y="659"/>
                  </a:lnTo>
                  <a:lnTo>
                    <a:pt x="422" y="662"/>
                  </a:lnTo>
                  <a:lnTo>
                    <a:pt x="422" y="663"/>
                  </a:lnTo>
                  <a:lnTo>
                    <a:pt x="422" y="668"/>
                  </a:lnTo>
                  <a:lnTo>
                    <a:pt x="422" y="669"/>
                  </a:lnTo>
                  <a:lnTo>
                    <a:pt x="422" y="669"/>
                  </a:lnTo>
                  <a:lnTo>
                    <a:pt x="422" y="671"/>
                  </a:lnTo>
                  <a:lnTo>
                    <a:pt x="422" y="671"/>
                  </a:lnTo>
                  <a:lnTo>
                    <a:pt x="422" y="671"/>
                  </a:lnTo>
                  <a:lnTo>
                    <a:pt x="423" y="671"/>
                  </a:lnTo>
                  <a:lnTo>
                    <a:pt x="423" y="671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4"/>
                  </a:lnTo>
                  <a:lnTo>
                    <a:pt x="423" y="674"/>
                  </a:lnTo>
                  <a:lnTo>
                    <a:pt x="422" y="674"/>
                  </a:lnTo>
                  <a:lnTo>
                    <a:pt x="422" y="674"/>
                  </a:lnTo>
                  <a:lnTo>
                    <a:pt x="419" y="679"/>
                  </a:lnTo>
                  <a:lnTo>
                    <a:pt x="419" y="680"/>
                  </a:lnTo>
                  <a:lnTo>
                    <a:pt x="419" y="680"/>
                  </a:lnTo>
                  <a:lnTo>
                    <a:pt x="420" y="682"/>
                  </a:lnTo>
                  <a:lnTo>
                    <a:pt x="422" y="682"/>
                  </a:lnTo>
                  <a:lnTo>
                    <a:pt x="425" y="683"/>
                  </a:lnTo>
                  <a:lnTo>
                    <a:pt x="426" y="682"/>
                  </a:lnTo>
                  <a:lnTo>
                    <a:pt x="428" y="680"/>
                  </a:lnTo>
                  <a:lnTo>
                    <a:pt x="429" y="680"/>
                  </a:lnTo>
                  <a:lnTo>
                    <a:pt x="431" y="679"/>
                  </a:lnTo>
                  <a:lnTo>
                    <a:pt x="432" y="679"/>
                  </a:lnTo>
                  <a:lnTo>
                    <a:pt x="436" y="679"/>
                  </a:lnTo>
                  <a:lnTo>
                    <a:pt x="439" y="683"/>
                  </a:lnTo>
                  <a:lnTo>
                    <a:pt x="442" y="685"/>
                  </a:lnTo>
                  <a:lnTo>
                    <a:pt x="443" y="683"/>
                  </a:lnTo>
                  <a:lnTo>
                    <a:pt x="443" y="680"/>
                  </a:lnTo>
                  <a:lnTo>
                    <a:pt x="445" y="676"/>
                  </a:lnTo>
                  <a:lnTo>
                    <a:pt x="445" y="676"/>
                  </a:lnTo>
                  <a:lnTo>
                    <a:pt x="445" y="674"/>
                  </a:lnTo>
                  <a:lnTo>
                    <a:pt x="446" y="673"/>
                  </a:lnTo>
                  <a:lnTo>
                    <a:pt x="448" y="669"/>
                  </a:lnTo>
                  <a:lnTo>
                    <a:pt x="448" y="668"/>
                  </a:lnTo>
                  <a:lnTo>
                    <a:pt x="448" y="669"/>
                  </a:lnTo>
                  <a:lnTo>
                    <a:pt x="449" y="669"/>
                  </a:lnTo>
                  <a:lnTo>
                    <a:pt x="451" y="668"/>
                  </a:lnTo>
                  <a:lnTo>
                    <a:pt x="452" y="666"/>
                  </a:lnTo>
                  <a:lnTo>
                    <a:pt x="452" y="666"/>
                  </a:lnTo>
                  <a:lnTo>
                    <a:pt x="459" y="665"/>
                  </a:lnTo>
                  <a:lnTo>
                    <a:pt x="459" y="665"/>
                  </a:lnTo>
                  <a:lnTo>
                    <a:pt x="460" y="663"/>
                  </a:lnTo>
                  <a:lnTo>
                    <a:pt x="460" y="662"/>
                  </a:lnTo>
                  <a:lnTo>
                    <a:pt x="460" y="660"/>
                  </a:lnTo>
                  <a:lnTo>
                    <a:pt x="460" y="660"/>
                  </a:lnTo>
                  <a:lnTo>
                    <a:pt x="462" y="659"/>
                  </a:lnTo>
                  <a:lnTo>
                    <a:pt x="462" y="659"/>
                  </a:lnTo>
                  <a:lnTo>
                    <a:pt x="465" y="660"/>
                  </a:lnTo>
                  <a:lnTo>
                    <a:pt x="469" y="660"/>
                  </a:lnTo>
                  <a:lnTo>
                    <a:pt x="469" y="659"/>
                  </a:lnTo>
                  <a:lnTo>
                    <a:pt x="471" y="659"/>
                  </a:lnTo>
                  <a:lnTo>
                    <a:pt x="477" y="662"/>
                  </a:lnTo>
                  <a:lnTo>
                    <a:pt x="479" y="662"/>
                  </a:lnTo>
                  <a:lnTo>
                    <a:pt x="480" y="662"/>
                  </a:lnTo>
                  <a:lnTo>
                    <a:pt x="480" y="660"/>
                  </a:lnTo>
                  <a:lnTo>
                    <a:pt x="482" y="659"/>
                  </a:lnTo>
                  <a:lnTo>
                    <a:pt x="483" y="659"/>
                  </a:lnTo>
                  <a:lnTo>
                    <a:pt x="483" y="659"/>
                  </a:lnTo>
                  <a:lnTo>
                    <a:pt x="485" y="659"/>
                  </a:lnTo>
                  <a:lnTo>
                    <a:pt x="488" y="659"/>
                  </a:lnTo>
                  <a:lnTo>
                    <a:pt x="489" y="659"/>
                  </a:lnTo>
                  <a:lnTo>
                    <a:pt x="496" y="666"/>
                  </a:lnTo>
                  <a:lnTo>
                    <a:pt x="497" y="666"/>
                  </a:lnTo>
                  <a:lnTo>
                    <a:pt x="499" y="668"/>
                  </a:lnTo>
                  <a:lnTo>
                    <a:pt x="500" y="668"/>
                  </a:lnTo>
                  <a:lnTo>
                    <a:pt x="500" y="668"/>
                  </a:lnTo>
                  <a:lnTo>
                    <a:pt x="502" y="668"/>
                  </a:lnTo>
                  <a:lnTo>
                    <a:pt x="503" y="669"/>
                  </a:lnTo>
                  <a:lnTo>
                    <a:pt x="505" y="671"/>
                  </a:lnTo>
                  <a:lnTo>
                    <a:pt x="506" y="671"/>
                  </a:lnTo>
                  <a:lnTo>
                    <a:pt x="508" y="669"/>
                  </a:lnTo>
                  <a:lnTo>
                    <a:pt x="509" y="669"/>
                  </a:lnTo>
                  <a:lnTo>
                    <a:pt x="513" y="665"/>
                  </a:lnTo>
                  <a:lnTo>
                    <a:pt x="514" y="663"/>
                  </a:lnTo>
                  <a:lnTo>
                    <a:pt x="514" y="663"/>
                  </a:lnTo>
                  <a:lnTo>
                    <a:pt x="516" y="663"/>
                  </a:lnTo>
                  <a:lnTo>
                    <a:pt x="517" y="663"/>
                  </a:lnTo>
                  <a:lnTo>
                    <a:pt x="519" y="662"/>
                  </a:lnTo>
                  <a:lnTo>
                    <a:pt x="517" y="660"/>
                  </a:lnTo>
                  <a:lnTo>
                    <a:pt x="516" y="659"/>
                  </a:lnTo>
                  <a:lnTo>
                    <a:pt x="514" y="659"/>
                  </a:lnTo>
                  <a:lnTo>
                    <a:pt x="516" y="657"/>
                  </a:lnTo>
                  <a:lnTo>
                    <a:pt x="517" y="656"/>
                  </a:lnTo>
                  <a:lnTo>
                    <a:pt x="520" y="656"/>
                  </a:lnTo>
                  <a:lnTo>
                    <a:pt x="522" y="656"/>
                  </a:lnTo>
                  <a:lnTo>
                    <a:pt x="523" y="657"/>
                  </a:lnTo>
                  <a:lnTo>
                    <a:pt x="523" y="657"/>
                  </a:lnTo>
                  <a:lnTo>
                    <a:pt x="525" y="659"/>
                  </a:lnTo>
                  <a:lnTo>
                    <a:pt x="526" y="659"/>
                  </a:lnTo>
                  <a:lnTo>
                    <a:pt x="528" y="657"/>
                  </a:lnTo>
                  <a:lnTo>
                    <a:pt x="529" y="654"/>
                  </a:lnTo>
                  <a:lnTo>
                    <a:pt x="531" y="653"/>
                  </a:lnTo>
                  <a:lnTo>
                    <a:pt x="533" y="653"/>
                  </a:lnTo>
                  <a:lnTo>
                    <a:pt x="537" y="656"/>
                  </a:lnTo>
                  <a:lnTo>
                    <a:pt x="543" y="657"/>
                  </a:lnTo>
                  <a:lnTo>
                    <a:pt x="545" y="657"/>
                  </a:lnTo>
                  <a:lnTo>
                    <a:pt x="548" y="657"/>
                  </a:lnTo>
                  <a:lnTo>
                    <a:pt x="549" y="657"/>
                  </a:lnTo>
                  <a:lnTo>
                    <a:pt x="551" y="656"/>
                  </a:lnTo>
                  <a:lnTo>
                    <a:pt x="551" y="656"/>
                  </a:lnTo>
                  <a:lnTo>
                    <a:pt x="557" y="656"/>
                  </a:lnTo>
                  <a:lnTo>
                    <a:pt x="559" y="656"/>
                  </a:lnTo>
                  <a:lnTo>
                    <a:pt x="559" y="656"/>
                  </a:lnTo>
                  <a:lnTo>
                    <a:pt x="560" y="657"/>
                  </a:lnTo>
                  <a:lnTo>
                    <a:pt x="562" y="659"/>
                  </a:lnTo>
                  <a:lnTo>
                    <a:pt x="562" y="659"/>
                  </a:lnTo>
                  <a:lnTo>
                    <a:pt x="563" y="657"/>
                  </a:lnTo>
                  <a:lnTo>
                    <a:pt x="563" y="659"/>
                  </a:lnTo>
                  <a:lnTo>
                    <a:pt x="565" y="659"/>
                  </a:lnTo>
                  <a:lnTo>
                    <a:pt x="568" y="663"/>
                  </a:lnTo>
                  <a:lnTo>
                    <a:pt x="568" y="665"/>
                  </a:lnTo>
                  <a:lnTo>
                    <a:pt x="570" y="663"/>
                  </a:lnTo>
                  <a:lnTo>
                    <a:pt x="571" y="662"/>
                  </a:lnTo>
                  <a:lnTo>
                    <a:pt x="571" y="662"/>
                  </a:lnTo>
                  <a:lnTo>
                    <a:pt x="573" y="660"/>
                  </a:lnTo>
                  <a:lnTo>
                    <a:pt x="574" y="662"/>
                  </a:lnTo>
                  <a:lnTo>
                    <a:pt x="577" y="665"/>
                  </a:lnTo>
                  <a:lnTo>
                    <a:pt x="582" y="666"/>
                  </a:lnTo>
                  <a:lnTo>
                    <a:pt x="583" y="669"/>
                  </a:lnTo>
                  <a:lnTo>
                    <a:pt x="586" y="673"/>
                  </a:lnTo>
                  <a:lnTo>
                    <a:pt x="586" y="676"/>
                  </a:lnTo>
                  <a:lnTo>
                    <a:pt x="588" y="680"/>
                  </a:lnTo>
                  <a:lnTo>
                    <a:pt x="590" y="682"/>
                  </a:lnTo>
                  <a:lnTo>
                    <a:pt x="594" y="682"/>
                  </a:lnTo>
                  <a:lnTo>
                    <a:pt x="597" y="683"/>
                  </a:lnTo>
                  <a:lnTo>
                    <a:pt x="599" y="685"/>
                  </a:lnTo>
                  <a:lnTo>
                    <a:pt x="599" y="685"/>
                  </a:lnTo>
                  <a:lnTo>
                    <a:pt x="600" y="685"/>
                  </a:lnTo>
                  <a:lnTo>
                    <a:pt x="602" y="685"/>
                  </a:lnTo>
                  <a:lnTo>
                    <a:pt x="602" y="685"/>
                  </a:lnTo>
                  <a:lnTo>
                    <a:pt x="602" y="686"/>
                  </a:lnTo>
                  <a:lnTo>
                    <a:pt x="602" y="686"/>
                  </a:lnTo>
                  <a:lnTo>
                    <a:pt x="602" y="688"/>
                  </a:lnTo>
                  <a:lnTo>
                    <a:pt x="602" y="688"/>
                  </a:lnTo>
                  <a:lnTo>
                    <a:pt x="606" y="690"/>
                  </a:lnTo>
                  <a:lnTo>
                    <a:pt x="610" y="690"/>
                  </a:lnTo>
                  <a:lnTo>
                    <a:pt x="611" y="690"/>
                  </a:lnTo>
                  <a:lnTo>
                    <a:pt x="616" y="693"/>
                  </a:lnTo>
                  <a:lnTo>
                    <a:pt x="619" y="694"/>
                  </a:lnTo>
                  <a:lnTo>
                    <a:pt x="623" y="694"/>
                  </a:lnTo>
                  <a:lnTo>
                    <a:pt x="626" y="696"/>
                  </a:lnTo>
                  <a:lnTo>
                    <a:pt x="628" y="694"/>
                  </a:lnTo>
                  <a:lnTo>
                    <a:pt x="630" y="694"/>
                  </a:lnTo>
                  <a:lnTo>
                    <a:pt x="633" y="697"/>
                  </a:lnTo>
                  <a:lnTo>
                    <a:pt x="634" y="699"/>
                  </a:lnTo>
                  <a:lnTo>
                    <a:pt x="636" y="699"/>
                  </a:lnTo>
                  <a:lnTo>
                    <a:pt x="637" y="699"/>
                  </a:lnTo>
                  <a:lnTo>
                    <a:pt x="640" y="699"/>
                  </a:lnTo>
                  <a:lnTo>
                    <a:pt x="642" y="699"/>
                  </a:lnTo>
                  <a:lnTo>
                    <a:pt x="643" y="699"/>
                  </a:lnTo>
                  <a:lnTo>
                    <a:pt x="643" y="699"/>
                  </a:lnTo>
                  <a:lnTo>
                    <a:pt x="645" y="702"/>
                  </a:lnTo>
                  <a:lnTo>
                    <a:pt x="645" y="702"/>
                  </a:lnTo>
                  <a:lnTo>
                    <a:pt x="647" y="702"/>
                  </a:lnTo>
                  <a:lnTo>
                    <a:pt x="648" y="703"/>
                  </a:lnTo>
                  <a:lnTo>
                    <a:pt x="650" y="705"/>
                  </a:lnTo>
                  <a:lnTo>
                    <a:pt x="651" y="703"/>
                  </a:lnTo>
                  <a:lnTo>
                    <a:pt x="651" y="702"/>
                  </a:lnTo>
                  <a:lnTo>
                    <a:pt x="651" y="702"/>
                  </a:lnTo>
                  <a:lnTo>
                    <a:pt x="650" y="700"/>
                  </a:lnTo>
                  <a:lnTo>
                    <a:pt x="650" y="699"/>
                  </a:lnTo>
                  <a:lnTo>
                    <a:pt x="650" y="697"/>
                  </a:lnTo>
                  <a:lnTo>
                    <a:pt x="650" y="696"/>
                  </a:lnTo>
                  <a:lnTo>
                    <a:pt x="650" y="694"/>
                  </a:lnTo>
                  <a:lnTo>
                    <a:pt x="650" y="693"/>
                  </a:lnTo>
                  <a:lnTo>
                    <a:pt x="647" y="691"/>
                  </a:lnTo>
                  <a:lnTo>
                    <a:pt x="645" y="690"/>
                  </a:lnTo>
                  <a:lnTo>
                    <a:pt x="642" y="688"/>
                  </a:lnTo>
                  <a:lnTo>
                    <a:pt x="640" y="685"/>
                  </a:lnTo>
                  <a:lnTo>
                    <a:pt x="640" y="685"/>
                  </a:lnTo>
                  <a:lnTo>
                    <a:pt x="640" y="685"/>
                  </a:lnTo>
                  <a:lnTo>
                    <a:pt x="639" y="685"/>
                  </a:lnTo>
                  <a:lnTo>
                    <a:pt x="639" y="686"/>
                  </a:lnTo>
                  <a:lnTo>
                    <a:pt x="637" y="686"/>
                  </a:lnTo>
                  <a:lnTo>
                    <a:pt x="637" y="685"/>
                  </a:lnTo>
                  <a:lnTo>
                    <a:pt x="637" y="683"/>
                  </a:lnTo>
                  <a:lnTo>
                    <a:pt x="639" y="682"/>
                  </a:lnTo>
                  <a:lnTo>
                    <a:pt x="640" y="677"/>
                  </a:lnTo>
                  <a:lnTo>
                    <a:pt x="642" y="674"/>
                  </a:lnTo>
                  <a:lnTo>
                    <a:pt x="642" y="673"/>
                  </a:lnTo>
                  <a:lnTo>
                    <a:pt x="640" y="662"/>
                  </a:lnTo>
                  <a:lnTo>
                    <a:pt x="640" y="660"/>
                  </a:lnTo>
                  <a:lnTo>
                    <a:pt x="640" y="659"/>
                  </a:lnTo>
                  <a:lnTo>
                    <a:pt x="639" y="657"/>
                  </a:lnTo>
                  <a:lnTo>
                    <a:pt x="637" y="656"/>
                  </a:lnTo>
                  <a:lnTo>
                    <a:pt x="637" y="656"/>
                  </a:lnTo>
                  <a:lnTo>
                    <a:pt x="637" y="654"/>
                  </a:lnTo>
                  <a:lnTo>
                    <a:pt x="636" y="649"/>
                  </a:lnTo>
                  <a:lnTo>
                    <a:pt x="636" y="648"/>
                  </a:lnTo>
                  <a:lnTo>
                    <a:pt x="634" y="643"/>
                  </a:lnTo>
                  <a:lnTo>
                    <a:pt x="636" y="639"/>
                  </a:lnTo>
                  <a:lnTo>
                    <a:pt x="642" y="631"/>
                  </a:lnTo>
                  <a:lnTo>
                    <a:pt x="643" y="628"/>
                  </a:lnTo>
                  <a:lnTo>
                    <a:pt x="643" y="626"/>
                  </a:lnTo>
                  <a:lnTo>
                    <a:pt x="645" y="626"/>
                  </a:lnTo>
                  <a:lnTo>
                    <a:pt x="647" y="626"/>
                  </a:lnTo>
                  <a:lnTo>
                    <a:pt x="647" y="625"/>
                  </a:lnTo>
                  <a:lnTo>
                    <a:pt x="648" y="625"/>
                  </a:lnTo>
                  <a:lnTo>
                    <a:pt x="653" y="616"/>
                  </a:lnTo>
                  <a:lnTo>
                    <a:pt x="653" y="616"/>
                  </a:lnTo>
                  <a:lnTo>
                    <a:pt x="654" y="614"/>
                  </a:lnTo>
                  <a:lnTo>
                    <a:pt x="656" y="614"/>
                  </a:lnTo>
                  <a:lnTo>
                    <a:pt x="656" y="614"/>
                  </a:lnTo>
                  <a:lnTo>
                    <a:pt x="656" y="613"/>
                  </a:lnTo>
                  <a:lnTo>
                    <a:pt x="657" y="611"/>
                  </a:lnTo>
                  <a:lnTo>
                    <a:pt x="657" y="609"/>
                  </a:lnTo>
                  <a:lnTo>
                    <a:pt x="660" y="606"/>
                  </a:lnTo>
                  <a:lnTo>
                    <a:pt x="668" y="594"/>
                  </a:lnTo>
                  <a:lnTo>
                    <a:pt x="671" y="591"/>
                  </a:lnTo>
                  <a:lnTo>
                    <a:pt x="674" y="589"/>
                  </a:lnTo>
                  <a:lnTo>
                    <a:pt x="676" y="585"/>
                  </a:lnTo>
                  <a:lnTo>
                    <a:pt x="693" y="566"/>
                  </a:lnTo>
                  <a:lnTo>
                    <a:pt x="697" y="565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3" y="560"/>
                  </a:lnTo>
                  <a:lnTo>
                    <a:pt x="710" y="554"/>
                  </a:lnTo>
                  <a:lnTo>
                    <a:pt x="710" y="552"/>
                  </a:lnTo>
                  <a:lnTo>
                    <a:pt x="710" y="551"/>
                  </a:lnTo>
                  <a:lnTo>
                    <a:pt x="711" y="548"/>
                  </a:lnTo>
                  <a:lnTo>
                    <a:pt x="711" y="546"/>
                  </a:lnTo>
                  <a:lnTo>
                    <a:pt x="713" y="546"/>
                  </a:lnTo>
                  <a:lnTo>
                    <a:pt x="714" y="545"/>
                  </a:lnTo>
                  <a:lnTo>
                    <a:pt x="717" y="545"/>
                  </a:lnTo>
                  <a:lnTo>
                    <a:pt x="730" y="545"/>
                  </a:lnTo>
                  <a:lnTo>
                    <a:pt x="734" y="543"/>
                  </a:lnTo>
                  <a:lnTo>
                    <a:pt x="736" y="539"/>
                  </a:lnTo>
                  <a:lnTo>
                    <a:pt x="736" y="537"/>
                  </a:lnTo>
                  <a:lnTo>
                    <a:pt x="736" y="536"/>
                  </a:lnTo>
                  <a:lnTo>
                    <a:pt x="736" y="534"/>
                  </a:lnTo>
                  <a:lnTo>
                    <a:pt x="736" y="532"/>
                  </a:lnTo>
                  <a:lnTo>
                    <a:pt x="740" y="529"/>
                  </a:lnTo>
                  <a:lnTo>
                    <a:pt x="742" y="528"/>
                  </a:lnTo>
                  <a:lnTo>
                    <a:pt x="744" y="526"/>
                  </a:lnTo>
                  <a:lnTo>
                    <a:pt x="744" y="526"/>
                  </a:lnTo>
                  <a:lnTo>
                    <a:pt x="744" y="526"/>
                  </a:lnTo>
                  <a:lnTo>
                    <a:pt x="742" y="525"/>
                  </a:lnTo>
                  <a:lnTo>
                    <a:pt x="742" y="519"/>
                  </a:lnTo>
                  <a:lnTo>
                    <a:pt x="744" y="516"/>
                  </a:lnTo>
                  <a:lnTo>
                    <a:pt x="744" y="516"/>
                  </a:lnTo>
                  <a:lnTo>
                    <a:pt x="742" y="512"/>
                  </a:lnTo>
                  <a:lnTo>
                    <a:pt x="740" y="509"/>
                  </a:lnTo>
                  <a:lnTo>
                    <a:pt x="742" y="506"/>
                  </a:lnTo>
                  <a:lnTo>
                    <a:pt x="739" y="506"/>
                  </a:lnTo>
                  <a:lnTo>
                    <a:pt x="737" y="505"/>
                  </a:lnTo>
                  <a:lnTo>
                    <a:pt x="736" y="503"/>
                  </a:lnTo>
                  <a:lnTo>
                    <a:pt x="737" y="502"/>
                  </a:lnTo>
                  <a:lnTo>
                    <a:pt x="737" y="500"/>
                  </a:lnTo>
                  <a:lnTo>
                    <a:pt x="736" y="500"/>
                  </a:lnTo>
                  <a:lnTo>
                    <a:pt x="733" y="499"/>
                  </a:lnTo>
                  <a:lnTo>
                    <a:pt x="733" y="497"/>
                  </a:lnTo>
                  <a:lnTo>
                    <a:pt x="733" y="495"/>
                  </a:lnTo>
                  <a:lnTo>
                    <a:pt x="733" y="494"/>
                  </a:lnTo>
                  <a:lnTo>
                    <a:pt x="734" y="492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42"/>
            <p:cNvSpPr>
              <a:spLocks/>
            </p:cNvSpPr>
            <p:nvPr/>
          </p:nvSpPr>
          <p:spPr bwMode="gray">
            <a:xfrm>
              <a:off x="7353300" y="5716588"/>
              <a:ext cx="1185863" cy="1119188"/>
            </a:xfrm>
            <a:custGeom>
              <a:avLst/>
              <a:gdLst>
                <a:gd name="T0" fmla="*/ 728 w 747"/>
                <a:gd name="T1" fmla="*/ 465 h 705"/>
                <a:gd name="T2" fmla="*/ 713 w 747"/>
                <a:gd name="T3" fmla="*/ 425 h 705"/>
                <a:gd name="T4" fmla="*/ 702 w 747"/>
                <a:gd name="T5" fmla="*/ 397 h 705"/>
                <a:gd name="T6" fmla="*/ 707 w 747"/>
                <a:gd name="T7" fmla="*/ 374 h 705"/>
                <a:gd name="T8" fmla="*/ 707 w 747"/>
                <a:gd name="T9" fmla="*/ 343 h 705"/>
                <a:gd name="T10" fmla="*/ 691 w 747"/>
                <a:gd name="T11" fmla="*/ 331 h 705"/>
                <a:gd name="T12" fmla="*/ 725 w 747"/>
                <a:gd name="T13" fmla="*/ 272 h 705"/>
                <a:gd name="T14" fmla="*/ 725 w 747"/>
                <a:gd name="T15" fmla="*/ 218 h 705"/>
                <a:gd name="T16" fmla="*/ 700 w 747"/>
                <a:gd name="T17" fmla="*/ 134 h 705"/>
                <a:gd name="T18" fmla="*/ 696 w 747"/>
                <a:gd name="T19" fmla="*/ 89 h 705"/>
                <a:gd name="T20" fmla="*/ 663 w 747"/>
                <a:gd name="T21" fmla="*/ 63 h 705"/>
                <a:gd name="T22" fmla="*/ 534 w 747"/>
                <a:gd name="T23" fmla="*/ 58 h 705"/>
                <a:gd name="T24" fmla="*/ 340 w 747"/>
                <a:gd name="T25" fmla="*/ 55 h 705"/>
                <a:gd name="T26" fmla="*/ 323 w 747"/>
                <a:gd name="T27" fmla="*/ 21 h 705"/>
                <a:gd name="T28" fmla="*/ 340 w 747"/>
                <a:gd name="T29" fmla="*/ 17 h 705"/>
                <a:gd name="T30" fmla="*/ 268 w 747"/>
                <a:gd name="T31" fmla="*/ 6 h 705"/>
                <a:gd name="T32" fmla="*/ 161 w 747"/>
                <a:gd name="T33" fmla="*/ 61 h 705"/>
                <a:gd name="T34" fmla="*/ 157 w 747"/>
                <a:gd name="T35" fmla="*/ 70 h 705"/>
                <a:gd name="T36" fmla="*/ 18 w 747"/>
                <a:gd name="T37" fmla="*/ 117 h 705"/>
                <a:gd name="T38" fmla="*/ 15 w 747"/>
                <a:gd name="T39" fmla="*/ 127 h 705"/>
                <a:gd name="T40" fmla="*/ 23 w 747"/>
                <a:gd name="T41" fmla="*/ 120 h 705"/>
                <a:gd name="T42" fmla="*/ 37 w 747"/>
                <a:gd name="T43" fmla="*/ 132 h 705"/>
                <a:gd name="T44" fmla="*/ 32 w 747"/>
                <a:gd name="T45" fmla="*/ 152 h 705"/>
                <a:gd name="T46" fmla="*/ 12 w 747"/>
                <a:gd name="T47" fmla="*/ 144 h 705"/>
                <a:gd name="T48" fmla="*/ 21 w 747"/>
                <a:gd name="T49" fmla="*/ 198 h 705"/>
                <a:gd name="T50" fmla="*/ 3 w 747"/>
                <a:gd name="T51" fmla="*/ 238 h 705"/>
                <a:gd name="T52" fmla="*/ 37 w 747"/>
                <a:gd name="T53" fmla="*/ 281 h 705"/>
                <a:gd name="T54" fmla="*/ 44 w 747"/>
                <a:gd name="T55" fmla="*/ 332 h 705"/>
                <a:gd name="T56" fmla="*/ 37 w 747"/>
                <a:gd name="T57" fmla="*/ 380 h 705"/>
                <a:gd name="T58" fmla="*/ 60 w 747"/>
                <a:gd name="T59" fmla="*/ 418 h 705"/>
                <a:gd name="T60" fmla="*/ 63 w 747"/>
                <a:gd name="T61" fmla="*/ 460 h 705"/>
                <a:gd name="T62" fmla="*/ 66 w 747"/>
                <a:gd name="T63" fmla="*/ 477 h 705"/>
                <a:gd name="T64" fmla="*/ 77 w 747"/>
                <a:gd name="T65" fmla="*/ 471 h 705"/>
                <a:gd name="T66" fmla="*/ 92 w 747"/>
                <a:gd name="T67" fmla="*/ 499 h 705"/>
                <a:gd name="T68" fmla="*/ 138 w 747"/>
                <a:gd name="T69" fmla="*/ 511 h 705"/>
                <a:gd name="T70" fmla="*/ 163 w 747"/>
                <a:gd name="T71" fmla="*/ 514 h 705"/>
                <a:gd name="T72" fmla="*/ 158 w 747"/>
                <a:gd name="T73" fmla="*/ 536 h 705"/>
                <a:gd name="T74" fmla="*/ 166 w 747"/>
                <a:gd name="T75" fmla="*/ 549 h 705"/>
                <a:gd name="T76" fmla="*/ 198 w 747"/>
                <a:gd name="T77" fmla="*/ 569 h 705"/>
                <a:gd name="T78" fmla="*/ 215 w 747"/>
                <a:gd name="T79" fmla="*/ 563 h 705"/>
                <a:gd name="T80" fmla="*/ 224 w 747"/>
                <a:gd name="T81" fmla="*/ 546 h 705"/>
                <a:gd name="T82" fmla="*/ 241 w 747"/>
                <a:gd name="T83" fmla="*/ 559 h 705"/>
                <a:gd name="T84" fmla="*/ 269 w 747"/>
                <a:gd name="T85" fmla="*/ 556 h 705"/>
                <a:gd name="T86" fmla="*/ 266 w 747"/>
                <a:gd name="T87" fmla="*/ 577 h 705"/>
                <a:gd name="T88" fmla="*/ 289 w 747"/>
                <a:gd name="T89" fmla="*/ 589 h 705"/>
                <a:gd name="T90" fmla="*/ 309 w 747"/>
                <a:gd name="T91" fmla="*/ 599 h 705"/>
                <a:gd name="T92" fmla="*/ 332 w 747"/>
                <a:gd name="T93" fmla="*/ 616 h 705"/>
                <a:gd name="T94" fmla="*/ 351 w 747"/>
                <a:gd name="T95" fmla="*/ 646 h 705"/>
                <a:gd name="T96" fmla="*/ 377 w 747"/>
                <a:gd name="T97" fmla="*/ 654 h 705"/>
                <a:gd name="T98" fmla="*/ 397 w 747"/>
                <a:gd name="T99" fmla="*/ 636 h 705"/>
                <a:gd name="T100" fmla="*/ 420 w 747"/>
                <a:gd name="T101" fmla="*/ 659 h 705"/>
                <a:gd name="T102" fmla="*/ 419 w 747"/>
                <a:gd name="T103" fmla="*/ 680 h 705"/>
                <a:gd name="T104" fmla="*/ 448 w 747"/>
                <a:gd name="T105" fmla="*/ 669 h 705"/>
                <a:gd name="T106" fmla="*/ 482 w 747"/>
                <a:gd name="T107" fmla="*/ 659 h 705"/>
                <a:gd name="T108" fmla="*/ 517 w 747"/>
                <a:gd name="T109" fmla="*/ 663 h 705"/>
                <a:gd name="T110" fmla="*/ 549 w 747"/>
                <a:gd name="T111" fmla="*/ 657 h 705"/>
                <a:gd name="T112" fmla="*/ 583 w 747"/>
                <a:gd name="T113" fmla="*/ 669 h 705"/>
                <a:gd name="T114" fmla="*/ 623 w 747"/>
                <a:gd name="T115" fmla="*/ 694 h 705"/>
                <a:gd name="T116" fmla="*/ 650 w 747"/>
                <a:gd name="T117" fmla="*/ 699 h 705"/>
                <a:gd name="T118" fmla="*/ 640 w 747"/>
                <a:gd name="T119" fmla="*/ 660 h 705"/>
                <a:gd name="T120" fmla="*/ 656 w 747"/>
                <a:gd name="T121" fmla="*/ 614 h 705"/>
                <a:gd name="T122" fmla="*/ 713 w 747"/>
                <a:gd name="T123" fmla="*/ 546 h 705"/>
                <a:gd name="T124" fmla="*/ 742 w 747"/>
                <a:gd name="T125" fmla="*/ 506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7" h="705">
                  <a:moveTo>
                    <a:pt x="734" y="492"/>
                  </a:moveTo>
                  <a:lnTo>
                    <a:pt x="737" y="492"/>
                  </a:lnTo>
                  <a:lnTo>
                    <a:pt x="739" y="492"/>
                  </a:lnTo>
                  <a:lnTo>
                    <a:pt x="740" y="492"/>
                  </a:lnTo>
                  <a:lnTo>
                    <a:pt x="744" y="492"/>
                  </a:lnTo>
                  <a:lnTo>
                    <a:pt x="745" y="492"/>
                  </a:lnTo>
                  <a:lnTo>
                    <a:pt x="747" y="489"/>
                  </a:lnTo>
                  <a:lnTo>
                    <a:pt x="745" y="488"/>
                  </a:lnTo>
                  <a:lnTo>
                    <a:pt x="739" y="485"/>
                  </a:lnTo>
                  <a:lnTo>
                    <a:pt x="734" y="480"/>
                  </a:lnTo>
                  <a:lnTo>
                    <a:pt x="733" y="479"/>
                  </a:lnTo>
                  <a:lnTo>
                    <a:pt x="733" y="477"/>
                  </a:lnTo>
                  <a:lnTo>
                    <a:pt x="733" y="475"/>
                  </a:lnTo>
                  <a:lnTo>
                    <a:pt x="733" y="475"/>
                  </a:lnTo>
                  <a:lnTo>
                    <a:pt x="731" y="474"/>
                  </a:lnTo>
                  <a:lnTo>
                    <a:pt x="730" y="472"/>
                  </a:lnTo>
                  <a:lnTo>
                    <a:pt x="730" y="472"/>
                  </a:lnTo>
                  <a:lnTo>
                    <a:pt x="728" y="472"/>
                  </a:lnTo>
                  <a:lnTo>
                    <a:pt x="730" y="471"/>
                  </a:lnTo>
                  <a:lnTo>
                    <a:pt x="730" y="471"/>
                  </a:lnTo>
                  <a:lnTo>
                    <a:pt x="728" y="465"/>
                  </a:lnTo>
                  <a:lnTo>
                    <a:pt x="728" y="463"/>
                  </a:lnTo>
                  <a:lnTo>
                    <a:pt x="725" y="460"/>
                  </a:lnTo>
                  <a:lnTo>
                    <a:pt x="725" y="459"/>
                  </a:lnTo>
                  <a:lnTo>
                    <a:pt x="725" y="457"/>
                  </a:lnTo>
                  <a:lnTo>
                    <a:pt x="727" y="457"/>
                  </a:lnTo>
                  <a:lnTo>
                    <a:pt x="725" y="455"/>
                  </a:lnTo>
                  <a:lnTo>
                    <a:pt x="722" y="452"/>
                  </a:lnTo>
                  <a:lnTo>
                    <a:pt x="717" y="449"/>
                  </a:lnTo>
                  <a:lnTo>
                    <a:pt x="716" y="448"/>
                  </a:lnTo>
                  <a:lnTo>
                    <a:pt x="713" y="439"/>
                  </a:lnTo>
                  <a:lnTo>
                    <a:pt x="711" y="437"/>
                  </a:lnTo>
                  <a:lnTo>
                    <a:pt x="710" y="437"/>
                  </a:lnTo>
                  <a:lnTo>
                    <a:pt x="708" y="437"/>
                  </a:lnTo>
                  <a:lnTo>
                    <a:pt x="708" y="434"/>
                  </a:lnTo>
                  <a:lnTo>
                    <a:pt x="708" y="432"/>
                  </a:lnTo>
                  <a:lnTo>
                    <a:pt x="710" y="431"/>
                  </a:lnTo>
                  <a:lnTo>
                    <a:pt x="711" y="429"/>
                  </a:lnTo>
                  <a:lnTo>
                    <a:pt x="711" y="429"/>
                  </a:lnTo>
                  <a:lnTo>
                    <a:pt x="711" y="428"/>
                  </a:lnTo>
                  <a:lnTo>
                    <a:pt x="711" y="426"/>
                  </a:lnTo>
                  <a:lnTo>
                    <a:pt x="713" y="425"/>
                  </a:lnTo>
                  <a:lnTo>
                    <a:pt x="713" y="425"/>
                  </a:lnTo>
                  <a:lnTo>
                    <a:pt x="713" y="423"/>
                  </a:lnTo>
                  <a:lnTo>
                    <a:pt x="710" y="418"/>
                  </a:lnTo>
                  <a:lnTo>
                    <a:pt x="710" y="418"/>
                  </a:lnTo>
                  <a:lnTo>
                    <a:pt x="710" y="415"/>
                  </a:lnTo>
                  <a:lnTo>
                    <a:pt x="710" y="415"/>
                  </a:lnTo>
                  <a:lnTo>
                    <a:pt x="708" y="414"/>
                  </a:lnTo>
                  <a:lnTo>
                    <a:pt x="707" y="414"/>
                  </a:lnTo>
                  <a:lnTo>
                    <a:pt x="707" y="412"/>
                  </a:lnTo>
                  <a:lnTo>
                    <a:pt x="707" y="411"/>
                  </a:lnTo>
                  <a:lnTo>
                    <a:pt x="705" y="409"/>
                  </a:lnTo>
                  <a:lnTo>
                    <a:pt x="705" y="409"/>
                  </a:lnTo>
                  <a:lnTo>
                    <a:pt x="703" y="409"/>
                  </a:lnTo>
                  <a:lnTo>
                    <a:pt x="702" y="406"/>
                  </a:lnTo>
                  <a:lnTo>
                    <a:pt x="703" y="406"/>
                  </a:lnTo>
                  <a:lnTo>
                    <a:pt x="703" y="406"/>
                  </a:lnTo>
                  <a:lnTo>
                    <a:pt x="702" y="405"/>
                  </a:lnTo>
                  <a:lnTo>
                    <a:pt x="702" y="403"/>
                  </a:lnTo>
                  <a:lnTo>
                    <a:pt x="700" y="400"/>
                  </a:lnTo>
                  <a:lnTo>
                    <a:pt x="702" y="397"/>
                  </a:lnTo>
                  <a:lnTo>
                    <a:pt x="702" y="397"/>
                  </a:lnTo>
                  <a:lnTo>
                    <a:pt x="700" y="395"/>
                  </a:lnTo>
                  <a:lnTo>
                    <a:pt x="700" y="394"/>
                  </a:lnTo>
                  <a:lnTo>
                    <a:pt x="702" y="394"/>
                  </a:lnTo>
                  <a:lnTo>
                    <a:pt x="702" y="394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702" y="391"/>
                  </a:lnTo>
                  <a:lnTo>
                    <a:pt x="702" y="391"/>
                  </a:lnTo>
                  <a:lnTo>
                    <a:pt x="702" y="391"/>
                  </a:lnTo>
                  <a:lnTo>
                    <a:pt x="702" y="389"/>
                  </a:lnTo>
                  <a:lnTo>
                    <a:pt x="702" y="389"/>
                  </a:lnTo>
                  <a:lnTo>
                    <a:pt x="702" y="388"/>
                  </a:lnTo>
                  <a:lnTo>
                    <a:pt x="702" y="385"/>
                  </a:lnTo>
                  <a:lnTo>
                    <a:pt x="702" y="385"/>
                  </a:lnTo>
                  <a:lnTo>
                    <a:pt x="702" y="383"/>
                  </a:lnTo>
                  <a:lnTo>
                    <a:pt x="703" y="382"/>
                  </a:lnTo>
                  <a:lnTo>
                    <a:pt x="705" y="380"/>
                  </a:lnTo>
                  <a:lnTo>
                    <a:pt x="707" y="378"/>
                  </a:lnTo>
                  <a:lnTo>
                    <a:pt x="708" y="377"/>
                  </a:lnTo>
                  <a:lnTo>
                    <a:pt x="707" y="374"/>
                  </a:lnTo>
                  <a:lnTo>
                    <a:pt x="705" y="372"/>
                  </a:lnTo>
                  <a:lnTo>
                    <a:pt x="707" y="371"/>
                  </a:lnTo>
                  <a:lnTo>
                    <a:pt x="707" y="369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8"/>
                  </a:lnTo>
                  <a:lnTo>
                    <a:pt x="707" y="366"/>
                  </a:lnTo>
                  <a:lnTo>
                    <a:pt x="707" y="362"/>
                  </a:lnTo>
                  <a:lnTo>
                    <a:pt x="708" y="360"/>
                  </a:lnTo>
                  <a:lnTo>
                    <a:pt x="710" y="357"/>
                  </a:lnTo>
                  <a:lnTo>
                    <a:pt x="710" y="355"/>
                  </a:lnTo>
                  <a:lnTo>
                    <a:pt x="711" y="354"/>
                  </a:lnTo>
                  <a:lnTo>
                    <a:pt x="711" y="352"/>
                  </a:lnTo>
                  <a:lnTo>
                    <a:pt x="710" y="348"/>
                  </a:lnTo>
                  <a:lnTo>
                    <a:pt x="708" y="346"/>
                  </a:lnTo>
                  <a:lnTo>
                    <a:pt x="708" y="345"/>
                  </a:lnTo>
                  <a:lnTo>
                    <a:pt x="708" y="343"/>
                  </a:lnTo>
                  <a:lnTo>
                    <a:pt x="708" y="343"/>
                  </a:lnTo>
                  <a:lnTo>
                    <a:pt x="707" y="343"/>
                  </a:lnTo>
                  <a:lnTo>
                    <a:pt x="707" y="341"/>
                  </a:lnTo>
                  <a:lnTo>
                    <a:pt x="707" y="340"/>
                  </a:lnTo>
                  <a:lnTo>
                    <a:pt x="705" y="340"/>
                  </a:lnTo>
                  <a:lnTo>
                    <a:pt x="703" y="338"/>
                  </a:lnTo>
                  <a:lnTo>
                    <a:pt x="700" y="338"/>
                  </a:lnTo>
                  <a:lnTo>
                    <a:pt x="699" y="338"/>
                  </a:lnTo>
                  <a:lnTo>
                    <a:pt x="697" y="334"/>
                  </a:lnTo>
                  <a:lnTo>
                    <a:pt x="697" y="334"/>
                  </a:lnTo>
                  <a:lnTo>
                    <a:pt x="697" y="332"/>
                  </a:lnTo>
                  <a:lnTo>
                    <a:pt x="697" y="332"/>
                  </a:lnTo>
                  <a:lnTo>
                    <a:pt x="696" y="332"/>
                  </a:lnTo>
                  <a:lnTo>
                    <a:pt x="696" y="332"/>
                  </a:lnTo>
                  <a:lnTo>
                    <a:pt x="694" y="332"/>
                  </a:lnTo>
                  <a:lnTo>
                    <a:pt x="694" y="331"/>
                  </a:lnTo>
                  <a:lnTo>
                    <a:pt x="693" y="332"/>
                  </a:lnTo>
                  <a:lnTo>
                    <a:pt x="693" y="332"/>
                  </a:lnTo>
                  <a:lnTo>
                    <a:pt x="693" y="331"/>
                  </a:lnTo>
                  <a:lnTo>
                    <a:pt x="691" y="331"/>
                  </a:lnTo>
                  <a:lnTo>
                    <a:pt x="690" y="331"/>
                  </a:lnTo>
                  <a:lnTo>
                    <a:pt x="690" y="331"/>
                  </a:lnTo>
                  <a:lnTo>
                    <a:pt x="691" y="331"/>
                  </a:lnTo>
                  <a:lnTo>
                    <a:pt x="691" y="329"/>
                  </a:lnTo>
                  <a:lnTo>
                    <a:pt x="688" y="329"/>
                  </a:lnTo>
                  <a:lnTo>
                    <a:pt x="683" y="328"/>
                  </a:lnTo>
                  <a:lnTo>
                    <a:pt x="683" y="326"/>
                  </a:lnTo>
                  <a:lnTo>
                    <a:pt x="682" y="328"/>
                  </a:lnTo>
                  <a:lnTo>
                    <a:pt x="677" y="326"/>
                  </a:lnTo>
                  <a:lnTo>
                    <a:pt x="676" y="325"/>
                  </a:lnTo>
                  <a:lnTo>
                    <a:pt x="676" y="323"/>
                  </a:lnTo>
                  <a:lnTo>
                    <a:pt x="676" y="320"/>
                  </a:lnTo>
                  <a:lnTo>
                    <a:pt x="674" y="320"/>
                  </a:lnTo>
                  <a:lnTo>
                    <a:pt x="674" y="318"/>
                  </a:lnTo>
                  <a:lnTo>
                    <a:pt x="674" y="318"/>
                  </a:lnTo>
                  <a:lnTo>
                    <a:pt x="673" y="318"/>
                  </a:lnTo>
                  <a:lnTo>
                    <a:pt x="677" y="311"/>
                  </a:lnTo>
                  <a:lnTo>
                    <a:pt x="679" y="309"/>
                  </a:lnTo>
                  <a:lnTo>
                    <a:pt x="680" y="306"/>
                  </a:lnTo>
                  <a:lnTo>
                    <a:pt x="690" y="292"/>
                  </a:lnTo>
                  <a:lnTo>
                    <a:pt x="697" y="286"/>
                  </a:lnTo>
                  <a:lnTo>
                    <a:pt x="703" y="283"/>
                  </a:lnTo>
                  <a:lnTo>
                    <a:pt x="716" y="278"/>
                  </a:lnTo>
                  <a:lnTo>
                    <a:pt x="725" y="272"/>
                  </a:lnTo>
                  <a:lnTo>
                    <a:pt x="728" y="269"/>
                  </a:lnTo>
                  <a:lnTo>
                    <a:pt x="730" y="263"/>
                  </a:lnTo>
                  <a:lnTo>
                    <a:pt x="730" y="260"/>
                  </a:lnTo>
                  <a:lnTo>
                    <a:pt x="728" y="244"/>
                  </a:lnTo>
                  <a:lnTo>
                    <a:pt x="728" y="243"/>
                  </a:lnTo>
                  <a:lnTo>
                    <a:pt x="728" y="243"/>
                  </a:lnTo>
                  <a:lnTo>
                    <a:pt x="728" y="243"/>
                  </a:lnTo>
                  <a:lnTo>
                    <a:pt x="728" y="241"/>
                  </a:lnTo>
                  <a:lnTo>
                    <a:pt x="728" y="240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7"/>
                  </a:lnTo>
                  <a:lnTo>
                    <a:pt x="728" y="234"/>
                  </a:lnTo>
                  <a:lnTo>
                    <a:pt x="728" y="232"/>
                  </a:lnTo>
                  <a:lnTo>
                    <a:pt x="728" y="231"/>
                  </a:lnTo>
                  <a:lnTo>
                    <a:pt x="728" y="231"/>
                  </a:lnTo>
                  <a:lnTo>
                    <a:pt x="728" y="228"/>
                  </a:lnTo>
                  <a:lnTo>
                    <a:pt x="725" y="224"/>
                  </a:lnTo>
                  <a:lnTo>
                    <a:pt x="725" y="223"/>
                  </a:lnTo>
                  <a:lnTo>
                    <a:pt x="725" y="221"/>
                  </a:lnTo>
                  <a:lnTo>
                    <a:pt x="725" y="218"/>
                  </a:lnTo>
                  <a:lnTo>
                    <a:pt x="727" y="217"/>
                  </a:lnTo>
                  <a:lnTo>
                    <a:pt x="727" y="215"/>
                  </a:lnTo>
                  <a:lnTo>
                    <a:pt x="728" y="212"/>
                  </a:lnTo>
                  <a:lnTo>
                    <a:pt x="727" y="211"/>
                  </a:lnTo>
                  <a:lnTo>
                    <a:pt x="725" y="211"/>
                  </a:lnTo>
                  <a:lnTo>
                    <a:pt x="724" y="209"/>
                  </a:lnTo>
                  <a:lnTo>
                    <a:pt x="724" y="208"/>
                  </a:lnTo>
                  <a:lnTo>
                    <a:pt x="722" y="204"/>
                  </a:lnTo>
                  <a:lnTo>
                    <a:pt x="722" y="203"/>
                  </a:lnTo>
                  <a:lnTo>
                    <a:pt x="720" y="201"/>
                  </a:lnTo>
                  <a:lnTo>
                    <a:pt x="719" y="198"/>
                  </a:lnTo>
                  <a:lnTo>
                    <a:pt x="716" y="186"/>
                  </a:lnTo>
                  <a:lnTo>
                    <a:pt x="714" y="183"/>
                  </a:lnTo>
                  <a:lnTo>
                    <a:pt x="711" y="175"/>
                  </a:lnTo>
                  <a:lnTo>
                    <a:pt x="705" y="155"/>
                  </a:lnTo>
                  <a:lnTo>
                    <a:pt x="703" y="147"/>
                  </a:lnTo>
                  <a:lnTo>
                    <a:pt x="703" y="140"/>
                  </a:lnTo>
                  <a:lnTo>
                    <a:pt x="703" y="140"/>
                  </a:lnTo>
                  <a:lnTo>
                    <a:pt x="703" y="140"/>
                  </a:lnTo>
                  <a:lnTo>
                    <a:pt x="700" y="137"/>
                  </a:lnTo>
                  <a:lnTo>
                    <a:pt x="700" y="134"/>
                  </a:lnTo>
                  <a:lnTo>
                    <a:pt x="700" y="127"/>
                  </a:lnTo>
                  <a:lnTo>
                    <a:pt x="699" y="124"/>
                  </a:lnTo>
                  <a:lnTo>
                    <a:pt x="697" y="121"/>
                  </a:lnTo>
                  <a:lnTo>
                    <a:pt x="697" y="118"/>
                  </a:lnTo>
                  <a:lnTo>
                    <a:pt x="697" y="114"/>
                  </a:lnTo>
                  <a:lnTo>
                    <a:pt x="697" y="114"/>
                  </a:lnTo>
                  <a:lnTo>
                    <a:pt x="697" y="114"/>
                  </a:lnTo>
                  <a:lnTo>
                    <a:pt x="697" y="112"/>
                  </a:lnTo>
                  <a:lnTo>
                    <a:pt x="697" y="112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09"/>
                  </a:lnTo>
                  <a:lnTo>
                    <a:pt x="696" y="107"/>
                  </a:lnTo>
                  <a:lnTo>
                    <a:pt x="696" y="107"/>
                  </a:lnTo>
                  <a:lnTo>
                    <a:pt x="696" y="106"/>
                  </a:lnTo>
                  <a:lnTo>
                    <a:pt x="697" y="106"/>
                  </a:lnTo>
                  <a:lnTo>
                    <a:pt x="697" y="104"/>
                  </a:lnTo>
                  <a:lnTo>
                    <a:pt x="697" y="101"/>
                  </a:lnTo>
                  <a:lnTo>
                    <a:pt x="697" y="95"/>
                  </a:lnTo>
                  <a:lnTo>
                    <a:pt x="696" y="92"/>
                  </a:lnTo>
                  <a:lnTo>
                    <a:pt x="696" y="89"/>
                  </a:lnTo>
                  <a:lnTo>
                    <a:pt x="694" y="87"/>
                  </a:lnTo>
                  <a:lnTo>
                    <a:pt x="693" y="86"/>
                  </a:lnTo>
                  <a:lnTo>
                    <a:pt x="693" y="84"/>
                  </a:lnTo>
                  <a:lnTo>
                    <a:pt x="691" y="84"/>
                  </a:lnTo>
                  <a:lnTo>
                    <a:pt x="690" y="84"/>
                  </a:lnTo>
                  <a:lnTo>
                    <a:pt x="690" y="83"/>
                  </a:lnTo>
                  <a:lnTo>
                    <a:pt x="688" y="80"/>
                  </a:lnTo>
                  <a:lnTo>
                    <a:pt x="688" y="80"/>
                  </a:lnTo>
                  <a:lnTo>
                    <a:pt x="687" y="78"/>
                  </a:lnTo>
                  <a:lnTo>
                    <a:pt x="685" y="77"/>
                  </a:lnTo>
                  <a:lnTo>
                    <a:pt x="679" y="75"/>
                  </a:lnTo>
                  <a:lnTo>
                    <a:pt x="676" y="72"/>
                  </a:lnTo>
                  <a:lnTo>
                    <a:pt x="671" y="69"/>
                  </a:lnTo>
                  <a:lnTo>
                    <a:pt x="670" y="69"/>
                  </a:lnTo>
                  <a:lnTo>
                    <a:pt x="668" y="69"/>
                  </a:lnTo>
                  <a:lnTo>
                    <a:pt x="667" y="69"/>
                  </a:lnTo>
                  <a:lnTo>
                    <a:pt x="665" y="69"/>
                  </a:lnTo>
                  <a:lnTo>
                    <a:pt x="663" y="67"/>
                  </a:lnTo>
                  <a:lnTo>
                    <a:pt x="663" y="66"/>
                  </a:lnTo>
                  <a:lnTo>
                    <a:pt x="663" y="64"/>
                  </a:lnTo>
                  <a:lnTo>
                    <a:pt x="663" y="63"/>
                  </a:lnTo>
                  <a:lnTo>
                    <a:pt x="663" y="63"/>
                  </a:lnTo>
                  <a:lnTo>
                    <a:pt x="660" y="63"/>
                  </a:lnTo>
                  <a:lnTo>
                    <a:pt x="660" y="61"/>
                  </a:lnTo>
                  <a:lnTo>
                    <a:pt x="660" y="61"/>
                  </a:lnTo>
                  <a:lnTo>
                    <a:pt x="659" y="60"/>
                  </a:lnTo>
                  <a:lnTo>
                    <a:pt x="659" y="60"/>
                  </a:lnTo>
                  <a:lnTo>
                    <a:pt x="659" y="58"/>
                  </a:lnTo>
                  <a:lnTo>
                    <a:pt x="657" y="58"/>
                  </a:lnTo>
                  <a:lnTo>
                    <a:pt x="656" y="58"/>
                  </a:lnTo>
                  <a:lnTo>
                    <a:pt x="654" y="58"/>
                  </a:lnTo>
                  <a:lnTo>
                    <a:pt x="651" y="57"/>
                  </a:lnTo>
                  <a:lnTo>
                    <a:pt x="650" y="55"/>
                  </a:lnTo>
                  <a:lnTo>
                    <a:pt x="647" y="57"/>
                  </a:lnTo>
                  <a:lnTo>
                    <a:pt x="647" y="57"/>
                  </a:lnTo>
                  <a:lnTo>
                    <a:pt x="645" y="60"/>
                  </a:lnTo>
                  <a:lnTo>
                    <a:pt x="643" y="61"/>
                  </a:lnTo>
                  <a:lnTo>
                    <a:pt x="639" y="63"/>
                  </a:lnTo>
                  <a:lnTo>
                    <a:pt x="625" y="63"/>
                  </a:lnTo>
                  <a:lnTo>
                    <a:pt x="606" y="61"/>
                  </a:lnTo>
                  <a:lnTo>
                    <a:pt x="566" y="60"/>
                  </a:lnTo>
                  <a:lnTo>
                    <a:pt x="534" y="58"/>
                  </a:lnTo>
                  <a:lnTo>
                    <a:pt x="506" y="57"/>
                  </a:lnTo>
                  <a:lnTo>
                    <a:pt x="463" y="54"/>
                  </a:lnTo>
                  <a:lnTo>
                    <a:pt x="436" y="52"/>
                  </a:lnTo>
                  <a:lnTo>
                    <a:pt x="420" y="52"/>
                  </a:lnTo>
                  <a:lnTo>
                    <a:pt x="414" y="50"/>
                  </a:lnTo>
                  <a:lnTo>
                    <a:pt x="411" y="50"/>
                  </a:lnTo>
                  <a:lnTo>
                    <a:pt x="408" y="49"/>
                  </a:lnTo>
                  <a:lnTo>
                    <a:pt x="408" y="49"/>
                  </a:lnTo>
                  <a:lnTo>
                    <a:pt x="403" y="54"/>
                  </a:lnTo>
                  <a:lnTo>
                    <a:pt x="400" y="55"/>
                  </a:lnTo>
                  <a:lnTo>
                    <a:pt x="397" y="55"/>
                  </a:lnTo>
                  <a:lnTo>
                    <a:pt x="391" y="58"/>
                  </a:lnTo>
                  <a:lnTo>
                    <a:pt x="363" y="63"/>
                  </a:lnTo>
                  <a:lnTo>
                    <a:pt x="362" y="63"/>
                  </a:lnTo>
                  <a:lnTo>
                    <a:pt x="360" y="61"/>
                  </a:lnTo>
                  <a:lnTo>
                    <a:pt x="360" y="61"/>
                  </a:lnTo>
                  <a:lnTo>
                    <a:pt x="357" y="63"/>
                  </a:lnTo>
                  <a:lnTo>
                    <a:pt x="355" y="63"/>
                  </a:lnTo>
                  <a:lnTo>
                    <a:pt x="342" y="58"/>
                  </a:lnTo>
                  <a:lnTo>
                    <a:pt x="342" y="57"/>
                  </a:lnTo>
                  <a:lnTo>
                    <a:pt x="340" y="55"/>
                  </a:lnTo>
                  <a:lnTo>
                    <a:pt x="340" y="55"/>
                  </a:lnTo>
                  <a:lnTo>
                    <a:pt x="338" y="54"/>
                  </a:lnTo>
                  <a:lnTo>
                    <a:pt x="337" y="54"/>
                  </a:lnTo>
                  <a:lnTo>
                    <a:pt x="335" y="54"/>
                  </a:lnTo>
                  <a:lnTo>
                    <a:pt x="334" y="52"/>
                  </a:lnTo>
                  <a:lnTo>
                    <a:pt x="332" y="52"/>
                  </a:lnTo>
                  <a:lnTo>
                    <a:pt x="331" y="49"/>
                  </a:lnTo>
                  <a:lnTo>
                    <a:pt x="331" y="44"/>
                  </a:lnTo>
                  <a:lnTo>
                    <a:pt x="331" y="40"/>
                  </a:lnTo>
                  <a:lnTo>
                    <a:pt x="331" y="37"/>
                  </a:lnTo>
                  <a:lnTo>
                    <a:pt x="331" y="35"/>
                  </a:lnTo>
                  <a:lnTo>
                    <a:pt x="329" y="29"/>
                  </a:lnTo>
                  <a:lnTo>
                    <a:pt x="328" y="29"/>
                  </a:lnTo>
                  <a:lnTo>
                    <a:pt x="328" y="26"/>
                  </a:lnTo>
                  <a:lnTo>
                    <a:pt x="328" y="24"/>
                  </a:lnTo>
                  <a:lnTo>
                    <a:pt x="326" y="26"/>
                  </a:lnTo>
                  <a:lnTo>
                    <a:pt x="325" y="26"/>
                  </a:lnTo>
                  <a:lnTo>
                    <a:pt x="325" y="26"/>
                  </a:lnTo>
                  <a:lnTo>
                    <a:pt x="325" y="23"/>
                  </a:lnTo>
                  <a:lnTo>
                    <a:pt x="323" y="21"/>
                  </a:lnTo>
                  <a:lnTo>
                    <a:pt x="323" y="21"/>
                  </a:lnTo>
                  <a:lnTo>
                    <a:pt x="325" y="20"/>
                  </a:lnTo>
                  <a:lnTo>
                    <a:pt x="325" y="20"/>
                  </a:lnTo>
                  <a:lnTo>
                    <a:pt x="323" y="17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0" y="13"/>
                  </a:lnTo>
                  <a:lnTo>
                    <a:pt x="320" y="13"/>
                  </a:lnTo>
                  <a:lnTo>
                    <a:pt x="320" y="12"/>
                  </a:lnTo>
                  <a:lnTo>
                    <a:pt x="320" y="10"/>
                  </a:lnTo>
                  <a:lnTo>
                    <a:pt x="320" y="7"/>
                  </a:lnTo>
                  <a:lnTo>
                    <a:pt x="322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5" y="7"/>
                  </a:lnTo>
                  <a:lnTo>
                    <a:pt x="326" y="9"/>
                  </a:lnTo>
                  <a:lnTo>
                    <a:pt x="331" y="10"/>
                  </a:lnTo>
                  <a:lnTo>
                    <a:pt x="334" y="13"/>
                  </a:lnTo>
                  <a:lnTo>
                    <a:pt x="337" y="15"/>
                  </a:lnTo>
                  <a:lnTo>
                    <a:pt x="337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5" y="23"/>
                  </a:lnTo>
                  <a:lnTo>
                    <a:pt x="346" y="24"/>
                  </a:lnTo>
                  <a:lnTo>
                    <a:pt x="348" y="27"/>
                  </a:lnTo>
                  <a:lnTo>
                    <a:pt x="348" y="29"/>
                  </a:lnTo>
                  <a:lnTo>
                    <a:pt x="349" y="29"/>
                  </a:lnTo>
                  <a:lnTo>
                    <a:pt x="349" y="30"/>
                  </a:lnTo>
                  <a:lnTo>
                    <a:pt x="349" y="30"/>
                  </a:lnTo>
                  <a:lnTo>
                    <a:pt x="351" y="30"/>
                  </a:lnTo>
                  <a:lnTo>
                    <a:pt x="351" y="29"/>
                  </a:lnTo>
                  <a:lnTo>
                    <a:pt x="351" y="26"/>
                  </a:lnTo>
                  <a:lnTo>
                    <a:pt x="349" y="24"/>
                  </a:lnTo>
                  <a:lnTo>
                    <a:pt x="345" y="18"/>
                  </a:lnTo>
                  <a:lnTo>
                    <a:pt x="320" y="4"/>
                  </a:lnTo>
                  <a:lnTo>
                    <a:pt x="317" y="3"/>
                  </a:lnTo>
                  <a:lnTo>
                    <a:pt x="317" y="3"/>
                  </a:lnTo>
                  <a:lnTo>
                    <a:pt x="314" y="0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280" y="1"/>
                  </a:lnTo>
                  <a:lnTo>
                    <a:pt x="268" y="6"/>
                  </a:lnTo>
                  <a:lnTo>
                    <a:pt x="240" y="10"/>
                  </a:lnTo>
                  <a:lnTo>
                    <a:pt x="217" y="21"/>
                  </a:lnTo>
                  <a:lnTo>
                    <a:pt x="209" y="29"/>
                  </a:lnTo>
                  <a:lnTo>
                    <a:pt x="208" y="30"/>
                  </a:lnTo>
                  <a:lnTo>
                    <a:pt x="204" y="30"/>
                  </a:lnTo>
                  <a:lnTo>
                    <a:pt x="198" y="34"/>
                  </a:lnTo>
                  <a:lnTo>
                    <a:pt x="183" y="35"/>
                  </a:lnTo>
                  <a:lnTo>
                    <a:pt x="177" y="40"/>
                  </a:lnTo>
                  <a:lnTo>
                    <a:pt x="175" y="41"/>
                  </a:lnTo>
                  <a:lnTo>
                    <a:pt x="174" y="44"/>
                  </a:lnTo>
                  <a:lnTo>
                    <a:pt x="174" y="44"/>
                  </a:lnTo>
                  <a:lnTo>
                    <a:pt x="175" y="43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2" y="47"/>
                  </a:lnTo>
                  <a:lnTo>
                    <a:pt x="172" y="46"/>
                  </a:lnTo>
                  <a:lnTo>
                    <a:pt x="172" y="44"/>
                  </a:lnTo>
                  <a:lnTo>
                    <a:pt x="164" y="55"/>
                  </a:lnTo>
                  <a:lnTo>
                    <a:pt x="161" y="61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4" y="60"/>
                  </a:lnTo>
                  <a:lnTo>
                    <a:pt x="164" y="61"/>
                  </a:lnTo>
                  <a:lnTo>
                    <a:pt x="164" y="63"/>
                  </a:lnTo>
                  <a:lnTo>
                    <a:pt x="161" y="63"/>
                  </a:lnTo>
                  <a:lnTo>
                    <a:pt x="160" y="64"/>
                  </a:lnTo>
                  <a:lnTo>
                    <a:pt x="160" y="66"/>
                  </a:lnTo>
                  <a:lnTo>
                    <a:pt x="158" y="66"/>
                  </a:lnTo>
                  <a:lnTo>
                    <a:pt x="157" y="66"/>
                  </a:lnTo>
                  <a:lnTo>
                    <a:pt x="158" y="64"/>
                  </a:lnTo>
                  <a:lnTo>
                    <a:pt x="160" y="63"/>
                  </a:lnTo>
                  <a:lnTo>
                    <a:pt x="160" y="61"/>
                  </a:lnTo>
                  <a:lnTo>
                    <a:pt x="155" y="66"/>
                  </a:lnTo>
                  <a:lnTo>
                    <a:pt x="152" y="69"/>
                  </a:lnTo>
                  <a:lnTo>
                    <a:pt x="151" y="70"/>
                  </a:lnTo>
                  <a:lnTo>
                    <a:pt x="154" y="69"/>
                  </a:lnTo>
                  <a:lnTo>
                    <a:pt x="155" y="69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7" y="70"/>
                  </a:lnTo>
                  <a:lnTo>
                    <a:pt x="157" y="70"/>
                  </a:lnTo>
                  <a:lnTo>
                    <a:pt x="157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46" y="75"/>
                  </a:lnTo>
                  <a:lnTo>
                    <a:pt x="144" y="74"/>
                  </a:lnTo>
                  <a:lnTo>
                    <a:pt x="149" y="72"/>
                  </a:lnTo>
                  <a:lnTo>
                    <a:pt x="149" y="70"/>
                  </a:lnTo>
                  <a:lnTo>
                    <a:pt x="141" y="74"/>
                  </a:lnTo>
                  <a:lnTo>
                    <a:pt x="129" y="75"/>
                  </a:lnTo>
                  <a:lnTo>
                    <a:pt x="115" y="81"/>
                  </a:lnTo>
                  <a:lnTo>
                    <a:pt x="100" y="86"/>
                  </a:lnTo>
                  <a:lnTo>
                    <a:pt x="87" y="89"/>
                  </a:lnTo>
                  <a:lnTo>
                    <a:pt x="66" y="98"/>
                  </a:lnTo>
                  <a:lnTo>
                    <a:pt x="49" y="103"/>
                  </a:lnTo>
                  <a:lnTo>
                    <a:pt x="29" y="111"/>
                  </a:lnTo>
                  <a:lnTo>
                    <a:pt x="24" y="115"/>
                  </a:lnTo>
                  <a:lnTo>
                    <a:pt x="21" y="117"/>
                  </a:lnTo>
                  <a:lnTo>
                    <a:pt x="18" y="117"/>
                  </a:lnTo>
                  <a:lnTo>
                    <a:pt x="10" y="117"/>
                  </a:lnTo>
                  <a:lnTo>
                    <a:pt x="9" y="115"/>
                  </a:lnTo>
                  <a:lnTo>
                    <a:pt x="7" y="115"/>
                  </a:lnTo>
                  <a:lnTo>
                    <a:pt x="6" y="115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6" y="120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7" y="123"/>
                  </a:lnTo>
                  <a:lnTo>
                    <a:pt x="12" y="127"/>
                  </a:lnTo>
                  <a:lnTo>
                    <a:pt x="12" y="129"/>
                  </a:lnTo>
                  <a:lnTo>
                    <a:pt x="13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7" y="129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27"/>
                  </a:lnTo>
                  <a:lnTo>
                    <a:pt x="17" y="127"/>
                  </a:lnTo>
                  <a:lnTo>
                    <a:pt x="18" y="127"/>
                  </a:lnTo>
                  <a:lnTo>
                    <a:pt x="20" y="126"/>
                  </a:lnTo>
                  <a:lnTo>
                    <a:pt x="20" y="127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3" y="124"/>
                  </a:lnTo>
                  <a:lnTo>
                    <a:pt x="21" y="123"/>
                  </a:lnTo>
                  <a:lnTo>
                    <a:pt x="20" y="123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3" y="120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4" y="120"/>
                  </a:lnTo>
                  <a:lnTo>
                    <a:pt x="23" y="121"/>
                  </a:lnTo>
                  <a:lnTo>
                    <a:pt x="24" y="123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4" y="131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7"/>
                  </a:lnTo>
                  <a:lnTo>
                    <a:pt x="37" y="127"/>
                  </a:lnTo>
                  <a:lnTo>
                    <a:pt x="37" y="126"/>
                  </a:lnTo>
                  <a:lnTo>
                    <a:pt x="38" y="126"/>
                  </a:lnTo>
                  <a:lnTo>
                    <a:pt x="38" y="127"/>
                  </a:lnTo>
                  <a:lnTo>
                    <a:pt x="37" y="131"/>
                  </a:lnTo>
                  <a:lnTo>
                    <a:pt x="37" y="132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4" y="135"/>
                  </a:lnTo>
                  <a:lnTo>
                    <a:pt x="32" y="141"/>
                  </a:lnTo>
                  <a:lnTo>
                    <a:pt x="32" y="144"/>
                  </a:lnTo>
                  <a:lnTo>
                    <a:pt x="34" y="149"/>
                  </a:lnTo>
                  <a:lnTo>
                    <a:pt x="35" y="151"/>
                  </a:lnTo>
                  <a:lnTo>
                    <a:pt x="37" y="151"/>
                  </a:lnTo>
                  <a:lnTo>
                    <a:pt x="37" y="151"/>
                  </a:lnTo>
                  <a:lnTo>
                    <a:pt x="37" y="151"/>
                  </a:lnTo>
                  <a:lnTo>
                    <a:pt x="37" y="152"/>
                  </a:lnTo>
                  <a:lnTo>
                    <a:pt x="37" y="152"/>
                  </a:lnTo>
                  <a:lnTo>
                    <a:pt x="37" y="154"/>
                  </a:lnTo>
                  <a:lnTo>
                    <a:pt x="35" y="154"/>
                  </a:lnTo>
                  <a:lnTo>
                    <a:pt x="35" y="155"/>
                  </a:lnTo>
                  <a:lnTo>
                    <a:pt x="35" y="157"/>
                  </a:lnTo>
                  <a:lnTo>
                    <a:pt x="35" y="157"/>
                  </a:lnTo>
                  <a:lnTo>
                    <a:pt x="34" y="157"/>
                  </a:lnTo>
                  <a:lnTo>
                    <a:pt x="32" y="152"/>
                  </a:lnTo>
                  <a:lnTo>
                    <a:pt x="30" y="149"/>
                  </a:lnTo>
                  <a:lnTo>
                    <a:pt x="29" y="149"/>
                  </a:lnTo>
                  <a:lnTo>
                    <a:pt x="26" y="147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0" y="144"/>
                  </a:lnTo>
                  <a:lnTo>
                    <a:pt x="18" y="143"/>
                  </a:lnTo>
                  <a:lnTo>
                    <a:pt x="17" y="143"/>
                  </a:lnTo>
                  <a:lnTo>
                    <a:pt x="15" y="140"/>
                  </a:lnTo>
                  <a:lnTo>
                    <a:pt x="15" y="140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2" y="140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2" y="141"/>
                  </a:lnTo>
                  <a:lnTo>
                    <a:pt x="13" y="141"/>
                  </a:lnTo>
                  <a:lnTo>
                    <a:pt x="13" y="143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7"/>
                  </a:lnTo>
                  <a:lnTo>
                    <a:pt x="10" y="151"/>
                  </a:lnTo>
                  <a:lnTo>
                    <a:pt x="12" y="152"/>
                  </a:lnTo>
                  <a:lnTo>
                    <a:pt x="13" y="157"/>
                  </a:lnTo>
                  <a:lnTo>
                    <a:pt x="13" y="158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69"/>
                  </a:lnTo>
                  <a:lnTo>
                    <a:pt x="15" y="171"/>
                  </a:lnTo>
                  <a:lnTo>
                    <a:pt x="17" y="174"/>
                  </a:lnTo>
                  <a:lnTo>
                    <a:pt x="18" y="177"/>
                  </a:lnTo>
                  <a:lnTo>
                    <a:pt x="18" y="183"/>
                  </a:lnTo>
                  <a:lnTo>
                    <a:pt x="20" y="191"/>
                  </a:lnTo>
                  <a:lnTo>
                    <a:pt x="21" y="192"/>
                  </a:lnTo>
                  <a:lnTo>
                    <a:pt x="21" y="194"/>
                  </a:lnTo>
                  <a:lnTo>
                    <a:pt x="21" y="195"/>
                  </a:lnTo>
                  <a:lnTo>
                    <a:pt x="21" y="197"/>
                  </a:lnTo>
                  <a:lnTo>
                    <a:pt x="21" y="198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4" y="200"/>
                  </a:lnTo>
                  <a:lnTo>
                    <a:pt x="21" y="204"/>
                  </a:lnTo>
                  <a:lnTo>
                    <a:pt x="21" y="204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8"/>
                  </a:lnTo>
                  <a:lnTo>
                    <a:pt x="20" y="209"/>
                  </a:lnTo>
                  <a:lnTo>
                    <a:pt x="20" y="212"/>
                  </a:lnTo>
                  <a:lnTo>
                    <a:pt x="20" y="214"/>
                  </a:lnTo>
                  <a:lnTo>
                    <a:pt x="20" y="215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7" y="226"/>
                  </a:lnTo>
                  <a:lnTo>
                    <a:pt x="13" y="228"/>
                  </a:lnTo>
                  <a:lnTo>
                    <a:pt x="10" y="232"/>
                  </a:lnTo>
                  <a:lnTo>
                    <a:pt x="6" y="234"/>
                  </a:lnTo>
                  <a:lnTo>
                    <a:pt x="1" y="237"/>
                  </a:lnTo>
                  <a:lnTo>
                    <a:pt x="1" y="237"/>
                  </a:lnTo>
                  <a:lnTo>
                    <a:pt x="3" y="238"/>
                  </a:lnTo>
                  <a:lnTo>
                    <a:pt x="3" y="243"/>
                  </a:lnTo>
                  <a:lnTo>
                    <a:pt x="3" y="244"/>
                  </a:lnTo>
                  <a:lnTo>
                    <a:pt x="3" y="246"/>
                  </a:lnTo>
                  <a:lnTo>
                    <a:pt x="3" y="248"/>
                  </a:lnTo>
                  <a:lnTo>
                    <a:pt x="0" y="251"/>
                  </a:lnTo>
                  <a:lnTo>
                    <a:pt x="1" y="252"/>
                  </a:lnTo>
                  <a:lnTo>
                    <a:pt x="3" y="252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7" y="254"/>
                  </a:lnTo>
                  <a:lnTo>
                    <a:pt x="9" y="257"/>
                  </a:lnTo>
                  <a:lnTo>
                    <a:pt x="12" y="258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3" y="271"/>
                  </a:lnTo>
                  <a:lnTo>
                    <a:pt x="24" y="271"/>
                  </a:lnTo>
                  <a:lnTo>
                    <a:pt x="26" y="272"/>
                  </a:lnTo>
                  <a:lnTo>
                    <a:pt x="27" y="274"/>
                  </a:lnTo>
                  <a:lnTo>
                    <a:pt x="32" y="277"/>
                  </a:lnTo>
                  <a:lnTo>
                    <a:pt x="37" y="281"/>
                  </a:lnTo>
                  <a:lnTo>
                    <a:pt x="37" y="281"/>
                  </a:lnTo>
                  <a:lnTo>
                    <a:pt x="40" y="283"/>
                  </a:lnTo>
                  <a:lnTo>
                    <a:pt x="37" y="288"/>
                  </a:lnTo>
                  <a:lnTo>
                    <a:pt x="37" y="291"/>
                  </a:lnTo>
                  <a:lnTo>
                    <a:pt x="38" y="292"/>
                  </a:lnTo>
                  <a:lnTo>
                    <a:pt x="38" y="294"/>
                  </a:lnTo>
                  <a:lnTo>
                    <a:pt x="37" y="297"/>
                  </a:lnTo>
                  <a:lnTo>
                    <a:pt x="35" y="298"/>
                  </a:lnTo>
                  <a:lnTo>
                    <a:pt x="30" y="303"/>
                  </a:lnTo>
                  <a:lnTo>
                    <a:pt x="32" y="308"/>
                  </a:lnTo>
                  <a:lnTo>
                    <a:pt x="34" y="312"/>
                  </a:lnTo>
                  <a:lnTo>
                    <a:pt x="35" y="315"/>
                  </a:lnTo>
                  <a:lnTo>
                    <a:pt x="35" y="318"/>
                  </a:lnTo>
                  <a:lnTo>
                    <a:pt x="37" y="320"/>
                  </a:lnTo>
                  <a:lnTo>
                    <a:pt x="38" y="321"/>
                  </a:lnTo>
                  <a:lnTo>
                    <a:pt x="41" y="321"/>
                  </a:lnTo>
                  <a:lnTo>
                    <a:pt x="43" y="323"/>
                  </a:lnTo>
                  <a:lnTo>
                    <a:pt x="44" y="325"/>
                  </a:lnTo>
                  <a:lnTo>
                    <a:pt x="44" y="328"/>
                  </a:lnTo>
                  <a:lnTo>
                    <a:pt x="43" y="329"/>
                  </a:lnTo>
                  <a:lnTo>
                    <a:pt x="43" y="331"/>
                  </a:lnTo>
                  <a:lnTo>
                    <a:pt x="44" y="332"/>
                  </a:lnTo>
                  <a:lnTo>
                    <a:pt x="43" y="334"/>
                  </a:lnTo>
                  <a:lnTo>
                    <a:pt x="43" y="335"/>
                  </a:lnTo>
                  <a:lnTo>
                    <a:pt x="43" y="338"/>
                  </a:lnTo>
                  <a:lnTo>
                    <a:pt x="43" y="340"/>
                  </a:lnTo>
                  <a:lnTo>
                    <a:pt x="47" y="345"/>
                  </a:lnTo>
                  <a:lnTo>
                    <a:pt x="46" y="346"/>
                  </a:lnTo>
                  <a:lnTo>
                    <a:pt x="46" y="348"/>
                  </a:lnTo>
                  <a:lnTo>
                    <a:pt x="46" y="348"/>
                  </a:lnTo>
                  <a:lnTo>
                    <a:pt x="46" y="349"/>
                  </a:lnTo>
                  <a:lnTo>
                    <a:pt x="44" y="351"/>
                  </a:lnTo>
                  <a:lnTo>
                    <a:pt x="43" y="354"/>
                  </a:lnTo>
                  <a:lnTo>
                    <a:pt x="43" y="354"/>
                  </a:lnTo>
                  <a:lnTo>
                    <a:pt x="43" y="362"/>
                  </a:lnTo>
                  <a:lnTo>
                    <a:pt x="43" y="365"/>
                  </a:lnTo>
                  <a:lnTo>
                    <a:pt x="41" y="366"/>
                  </a:lnTo>
                  <a:lnTo>
                    <a:pt x="40" y="368"/>
                  </a:lnTo>
                  <a:lnTo>
                    <a:pt x="35" y="372"/>
                  </a:lnTo>
                  <a:lnTo>
                    <a:pt x="35" y="374"/>
                  </a:lnTo>
                  <a:lnTo>
                    <a:pt x="35" y="377"/>
                  </a:lnTo>
                  <a:lnTo>
                    <a:pt x="35" y="378"/>
                  </a:lnTo>
                  <a:lnTo>
                    <a:pt x="37" y="380"/>
                  </a:lnTo>
                  <a:lnTo>
                    <a:pt x="38" y="382"/>
                  </a:lnTo>
                  <a:lnTo>
                    <a:pt x="38" y="385"/>
                  </a:lnTo>
                  <a:lnTo>
                    <a:pt x="40" y="388"/>
                  </a:lnTo>
                  <a:lnTo>
                    <a:pt x="41" y="389"/>
                  </a:lnTo>
                  <a:lnTo>
                    <a:pt x="44" y="392"/>
                  </a:lnTo>
                  <a:lnTo>
                    <a:pt x="46" y="394"/>
                  </a:lnTo>
                  <a:lnTo>
                    <a:pt x="46" y="397"/>
                  </a:lnTo>
                  <a:lnTo>
                    <a:pt x="46" y="400"/>
                  </a:lnTo>
                  <a:lnTo>
                    <a:pt x="46" y="403"/>
                  </a:lnTo>
                  <a:lnTo>
                    <a:pt x="44" y="406"/>
                  </a:lnTo>
                  <a:lnTo>
                    <a:pt x="43" y="408"/>
                  </a:lnTo>
                  <a:lnTo>
                    <a:pt x="43" y="409"/>
                  </a:lnTo>
                  <a:lnTo>
                    <a:pt x="44" y="409"/>
                  </a:lnTo>
                  <a:lnTo>
                    <a:pt x="46" y="412"/>
                  </a:lnTo>
                  <a:lnTo>
                    <a:pt x="50" y="414"/>
                  </a:lnTo>
                  <a:lnTo>
                    <a:pt x="52" y="414"/>
                  </a:lnTo>
                  <a:lnTo>
                    <a:pt x="52" y="414"/>
                  </a:lnTo>
                  <a:lnTo>
                    <a:pt x="54" y="415"/>
                  </a:lnTo>
                  <a:lnTo>
                    <a:pt x="57" y="417"/>
                  </a:lnTo>
                  <a:lnTo>
                    <a:pt x="58" y="417"/>
                  </a:lnTo>
                  <a:lnTo>
                    <a:pt x="60" y="418"/>
                  </a:lnTo>
                  <a:lnTo>
                    <a:pt x="61" y="420"/>
                  </a:lnTo>
                  <a:lnTo>
                    <a:pt x="63" y="422"/>
                  </a:lnTo>
                  <a:lnTo>
                    <a:pt x="61" y="423"/>
                  </a:lnTo>
                  <a:lnTo>
                    <a:pt x="61" y="426"/>
                  </a:lnTo>
                  <a:lnTo>
                    <a:pt x="63" y="431"/>
                  </a:lnTo>
                  <a:lnTo>
                    <a:pt x="63" y="431"/>
                  </a:lnTo>
                  <a:lnTo>
                    <a:pt x="63" y="432"/>
                  </a:lnTo>
                  <a:lnTo>
                    <a:pt x="63" y="434"/>
                  </a:lnTo>
                  <a:lnTo>
                    <a:pt x="64" y="437"/>
                  </a:lnTo>
                  <a:lnTo>
                    <a:pt x="66" y="439"/>
                  </a:lnTo>
                  <a:lnTo>
                    <a:pt x="67" y="440"/>
                  </a:lnTo>
                  <a:lnTo>
                    <a:pt x="66" y="445"/>
                  </a:lnTo>
                  <a:lnTo>
                    <a:pt x="67" y="445"/>
                  </a:lnTo>
                  <a:lnTo>
                    <a:pt x="67" y="445"/>
                  </a:lnTo>
                  <a:lnTo>
                    <a:pt x="66" y="448"/>
                  </a:lnTo>
                  <a:lnTo>
                    <a:pt x="64" y="451"/>
                  </a:lnTo>
                  <a:lnTo>
                    <a:pt x="64" y="454"/>
                  </a:lnTo>
                  <a:lnTo>
                    <a:pt x="64" y="457"/>
                  </a:lnTo>
                  <a:lnTo>
                    <a:pt x="64" y="459"/>
                  </a:lnTo>
                  <a:lnTo>
                    <a:pt x="63" y="459"/>
                  </a:lnTo>
                  <a:lnTo>
                    <a:pt x="63" y="460"/>
                  </a:lnTo>
                  <a:lnTo>
                    <a:pt x="63" y="460"/>
                  </a:lnTo>
                  <a:lnTo>
                    <a:pt x="63" y="462"/>
                  </a:lnTo>
                  <a:lnTo>
                    <a:pt x="63" y="463"/>
                  </a:lnTo>
                  <a:lnTo>
                    <a:pt x="63" y="465"/>
                  </a:lnTo>
                  <a:lnTo>
                    <a:pt x="58" y="474"/>
                  </a:lnTo>
                  <a:lnTo>
                    <a:pt x="55" y="483"/>
                  </a:lnTo>
                  <a:lnTo>
                    <a:pt x="52" y="486"/>
                  </a:lnTo>
                  <a:lnTo>
                    <a:pt x="52" y="488"/>
                  </a:lnTo>
                  <a:lnTo>
                    <a:pt x="52" y="489"/>
                  </a:lnTo>
                  <a:lnTo>
                    <a:pt x="54" y="489"/>
                  </a:lnTo>
                  <a:lnTo>
                    <a:pt x="55" y="489"/>
                  </a:lnTo>
                  <a:lnTo>
                    <a:pt x="64" y="489"/>
                  </a:lnTo>
                  <a:lnTo>
                    <a:pt x="64" y="488"/>
                  </a:lnTo>
                  <a:lnTo>
                    <a:pt x="64" y="485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2"/>
                  </a:lnTo>
                  <a:lnTo>
                    <a:pt x="66" y="482"/>
                  </a:lnTo>
                  <a:lnTo>
                    <a:pt x="66" y="477"/>
                  </a:lnTo>
                  <a:lnTo>
                    <a:pt x="64" y="475"/>
                  </a:lnTo>
                  <a:lnTo>
                    <a:pt x="63" y="475"/>
                  </a:lnTo>
                  <a:lnTo>
                    <a:pt x="63" y="474"/>
                  </a:lnTo>
                  <a:lnTo>
                    <a:pt x="63" y="474"/>
                  </a:lnTo>
                  <a:lnTo>
                    <a:pt x="63" y="474"/>
                  </a:lnTo>
                  <a:lnTo>
                    <a:pt x="63" y="472"/>
                  </a:lnTo>
                  <a:lnTo>
                    <a:pt x="64" y="472"/>
                  </a:lnTo>
                  <a:lnTo>
                    <a:pt x="64" y="472"/>
                  </a:lnTo>
                  <a:lnTo>
                    <a:pt x="66" y="472"/>
                  </a:lnTo>
                  <a:lnTo>
                    <a:pt x="66" y="471"/>
                  </a:lnTo>
                  <a:lnTo>
                    <a:pt x="66" y="471"/>
                  </a:lnTo>
                  <a:lnTo>
                    <a:pt x="67" y="472"/>
                  </a:lnTo>
                  <a:lnTo>
                    <a:pt x="70" y="472"/>
                  </a:lnTo>
                  <a:lnTo>
                    <a:pt x="72" y="474"/>
                  </a:lnTo>
                  <a:lnTo>
                    <a:pt x="72" y="474"/>
                  </a:lnTo>
                  <a:lnTo>
                    <a:pt x="74" y="475"/>
                  </a:lnTo>
                  <a:lnTo>
                    <a:pt x="74" y="475"/>
                  </a:lnTo>
                  <a:lnTo>
                    <a:pt x="75" y="474"/>
                  </a:lnTo>
                  <a:lnTo>
                    <a:pt x="75" y="474"/>
                  </a:lnTo>
                  <a:lnTo>
                    <a:pt x="75" y="472"/>
                  </a:lnTo>
                  <a:lnTo>
                    <a:pt x="77" y="471"/>
                  </a:lnTo>
                  <a:lnTo>
                    <a:pt x="77" y="472"/>
                  </a:lnTo>
                  <a:lnTo>
                    <a:pt x="77" y="474"/>
                  </a:lnTo>
                  <a:lnTo>
                    <a:pt x="78" y="475"/>
                  </a:lnTo>
                  <a:lnTo>
                    <a:pt x="83" y="475"/>
                  </a:lnTo>
                  <a:lnTo>
                    <a:pt x="84" y="477"/>
                  </a:lnTo>
                  <a:lnTo>
                    <a:pt x="86" y="479"/>
                  </a:lnTo>
                  <a:lnTo>
                    <a:pt x="86" y="480"/>
                  </a:lnTo>
                  <a:lnTo>
                    <a:pt x="84" y="480"/>
                  </a:lnTo>
                  <a:lnTo>
                    <a:pt x="84" y="483"/>
                  </a:lnTo>
                  <a:lnTo>
                    <a:pt x="84" y="485"/>
                  </a:lnTo>
                  <a:lnTo>
                    <a:pt x="86" y="486"/>
                  </a:lnTo>
                  <a:lnTo>
                    <a:pt x="86" y="489"/>
                  </a:lnTo>
                  <a:lnTo>
                    <a:pt x="87" y="489"/>
                  </a:lnTo>
                  <a:lnTo>
                    <a:pt x="89" y="491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2" y="495"/>
                  </a:lnTo>
                  <a:lnTo>
                    <a:pt x="92" y="495"/>
                  </a:lnTo>
                  <a:lnTo>
                    <a:pt x="92" y="497"/>
                  </a:lnTo>
                  <a:lnTo>
                    <a:pt x="92" y="499"/>
                  </a:lnTo>
                  <a:lnTo>
                    <a:pt x="92" y="499"/>
                  </a:lnTo>
                  <a:lnTo>
                    <a:pt x="92" y="500"/>
                  </a:lnTo>
                  <a:lnTo>
                    <a:pt x="94" y="500"/>
                  </a:lnTo>
                  <a:lnTo>
                    <a:pt x="94" y="499"/>
                  </a:lnTo>
                  <a:lnTo>
                    <a:pt x="95" y="497"/>
                  </a:lnTo>
                  <a:lnTo>
                    <a:pt x="95" y="497"/>
                  </a:lnTo>
                  <a:lnTo>
                    <a:pt x="98" y="497"/>
                  </a:lnTo>
                  <a:lnTo>
                    <a:pt x="114" y="502"/>
                  </a:lnTo>
                  <a:lnTo>
                    <a:pt x="114" y="502"/>
                  </a:lnTo>
                  <a:lnTo>
                    <a:pt x="115" y="503"/>
                  </a:lnTo>
                  <a:lnTo>
                    <a:pt x="115" y="505"/>
                  </a:lnTo>
                  <a:lnTo>
                    <a:pt x="117" y="505"/>
                  </a:lnTo>
                  <a:lnTo>
                    <a:pt x="123" y="503"/>
                  </a:lnTo>
                  <a:lnTo>
                    <a:pt x="124" y="503"/>
                  </a:lnTo>
                  <a:lnTo>
                    <a:pt x="124" y="503"/>
                  </a:lnTo>
                  <a:lnTo>
                    <a:pt x="124" y="505"/>
                  </a:lnTo>
                  <a:lnTo>
                    <a:pt x="129" y="511"/>
                  </a:lnTo>
                  <a:lnTo>
                    <a:pt x="129" y="511"/>
                  </a:lnTo>
                  <a:lnTo>
                    <a:pt x="131" y="511"/>
                  </a:lnTo>
                  <a:lnTo>
                    <a:pt x="135" y="509"/>
                  </a:lnTo>
                  <a:lnTo>
                    <a:pt x="137" y="509"/>
                  </a:lnTo>
                  <a:lnTo>
                    <a:pt x="138" y="511"/>
                  </a:lnTo>
                  <a:lnTo>
                    <a:pt x="138" y="512"/>
                  </a:lnTo>
                  <a:lnTo>
                    <a:pt x="140" y="514"/>
                  </a:lnTo>
                  <a:lnTo>
                    <a:pt x="140" y="516"/>
                  </a:lnTo>
                  <a:lnTo>
                    <a:pt x="140" y="517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38" y="519"/>
                  </a:lnTo>
                  <a:lnTo>
                    <a:pt x="141" y="519"/>
                  </a:lnTo>
                  <a:lnTo>
                    <a:pt x="146" y="514"/>
                  </a:lnTo>
                  <a:lnTo>
                    <a:pt x="149" y="514"/>
                  </a:lnTo>
                  <a:lnTo>
                    <a:pt x="152" y="517"/>
                  </a:lnTo>
                  <a:lnTo>
                    <a:pt x="152" y="517"/>
                  </a:lnTo>
                  <a:lnTo>
                    <a:pt x="154" y="517"/>
                  </a:lnTo>
                  <a:lnTo>
                    <a:pt x="155" y="516"/>
                  </a:lnTo>
                  <a:lnTo>
                    <a:pt x="155" y="514"/>
                  </a:lnTo>
                  <a:lnTo>
                    <a:pt x="157" y="512"/>
                  </a:lnTo>
                  <a:lnTo>
                    <a:pt x="157" y="512"/>
                  </a:lnTo>
                  <a:lnTo>
                    <a:pt x="160" y="512"/>
                  </a:lnTo>
                  <a:lnTo>
                    <a:pt x="163" y="514"/>
                  </a:lnTo>
                  <a:lnTo>
                    <a:pt x="164" y="514"/>
                  </a:lnTo>
                  <a:lnTo>
                    <a:pt x="171" y="522"/>
                  </a:lnTo>
                  <a:lnTo>
                    <a:pt x="172" y="523"/>
                  </a:lnTo>
                  <a:lnTo>
                    <a:pt x="169" y="525"/>
                  </a:lnTo>
                  <a:lnTo>
                    <a:pt x="169" y="525"/>
                  </a:lnTo>
                  <a:lnTo>
                    <a:pt x="169" y="526"/>
                  </a:lnTo>
                  <a:lnTo>
                    <a:pt x="169" y="526"/>
                  </a:lnTo>
                  <a:lnTo>
                    <a:pt x="169" y="526"/>
                  </a:lnTo>
                  <a:lnTo>
                    <a:pt x="169" y="528"/>
                  </a:lnTo>
                  <a:lnTo>
                    <a:pt x="169" y="528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8" y="531"/>
                  </a:lnTo>
                  <a:lnTo>
                    <a:pt x="166" y="532"/>
                  </a:lnTo>
                  <a:lnTo>
                    <a:pt x="164" y="532"/>
                  </a:lnTo>
                  <a:lnTo>
                    <a:pt x="163" y="532"/>
                  </a:lnTo>
                  <a:lnTo>
                    <a:pt x="161" y="532"/>
                  </a:lnTo>
                  <a:lnTo>
                    <a:pt x="161" y="534"/>
                  </a:lnTo>
                  <a:lnTo>
                    <a:pt x="160" y="534"/>
                  </a:lnTo>
                  <a:lnTo>
                    <a:pt x="158" y="536"/>
                  </a:lnTo>
                  <a:lnTo>
                    <a:pt x="157" y="537"/>
                  </a:lnTo>
                  <a:lnTo>
                    <a:pt x="157" y="537"/>
                  </a:lnTo>
                  <a:lnTo>
                    <a:pt x="157" y="537"/>
                  </a:lnTo>
                  <a:lnTo>
                    <a:pt x="155" y="537"/>
                  </a:lnTo>
                  <a:lnTo>
                    <a:pt x="155" y="539"/>
                  </a:lnTo>
                  <a:lnTo>
                    <a:pt x="157" y="539"/>
                  </a:lnTo>
                  <a:lnTo>
                    <a:pt x="155" y="539"/>
                  </a:lnTo>
                  <a:lnTo>
                    <a:pt x="154" y="540"/>
                  </a:lnTo>
                  <a:lnTo>
                    <a:pt x="155" y="542"/>
                  </a:lnTo>
                  <a:lnTo>
                    <a:pt x="157" y="543"/>
                  </a:lnTo>
                  <a:lnTo>
                    <a:pt x="158" y="546"/>
                  </a:lnTo>
                  <a:lnTo>
                    <a:pt x="158" y="546"/>
                  </a:lnTo>
                  <a:lnTo>
                    <a:pt x="160" y="548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1" y="546"/>
                  </a:lnTo>
                  <a:lnTo>
                    <a:pt x="164" y="546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9"/>
                  </a:lnTo>
                  <a:lnTo>
                    <a:pt x="166" y="549"/>
                  </a:lnTo>
                  <a:lnTo>
                    <a:pt x="166" y="551"/>
                  </a:lnTo>
                  <a:lnTo>
                    <a:pt x="168" y="552"/>
                  </a:lnTo>
                  <a:lnTo>
                    <a:pt x="171" y="554"/>
                  </a:lnTo>
                  <a:lnTo>
                    <a:pt x="172" y="556"/>
                  </a:lnTo>
                  <a:lnTo>
                    <a:pt x="174" y="557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7" y="563"/>
                  </a:lnTo>
                  <a:lnTo>
                    <a:pt x="180" y="565"/>
                  </a:lnTo>
                  <a:lnTo>
                    <a:pt x="180" y="568"/>
                  </a:lnTo>
                  <a:lnTo>
                    <a:pt x="181" y="571"/>
                  </a:lnTo>
                  <a:lnTo>
                    <a:pt x="181" y="572"/>
                  </a:lnTo>
                  <a:lnTo>
                    <a:pt x="183" y="574"/>
                  </a:lnTo>
                  <a:lnTo>
                    <a:pt x="186" y="577"/>
                  </a:lnTo>
                  <a:lnTo>
                    <a:pt x="189" y="579"/>
                  </a:lnTo>
                  <a:lnTo>
                    <a:pt x="192" y="579"/>
                  </a:lnTo>
                  <a:lnTo>
                    <a:pt x="194" y="576"/>
                  </a:lnTo>
                  <a:lnTo>
                    <a:pt x="195" y="574"/>
                  </a:lnTo>
                  <a:lnTo>
                    <a:pt x="197" y="572"/>
                  </a:lnTo>
                  <a:lnTo>
                    <a:pt x="198" y="571"/>
                  </a:lnTo>
                  <a:lnTo>
                    <a:pt x="198" y="569"/>
                  </a:lnTo>
                  <a:lnTo>
                    <a:pt x="201" y="568"/>
                  </a:lnTo>
                  <a:lnTo>
                    <a:pt x="201" y="568"/>
                  </a:lnTo>
                  <a:lnTo>
                    <a:pt x="203" y="568"/>
                  </a:lnTo>
                  <a:lnTo>
                    <a:pt x="204" y="568"/>
                  </a:lnTo>
                  <a:lnTo>
                    <a:pt x="206" y="568"/>
                  </a:lnTo>
                  <a:lnTo>
                    <a:pt x="206" y="566"/>
                  </a:lnTo>
                  <a:lnTo>
                    <a:pt x="208" y="565"/>
                  </a:lnTo>
                  <a:lnTo>
                    <a:pt x="208" y="565"/>
                  </a:lnTo>
                  <a:lnTo>
                    <a:pt x="209" y="565"/>
                  </a:lnTo>
                  <a:lnTo>
                    <a:pt x="211" y="565"/>
                  </a:lnTo>
                  <a:lnTo>
                    <a:pt x="211" y="565"/>
                  </a:lnTo>
                  <a:lnTo>
                    <a:pt x="211" y="565"/>
                  </a:lnTo>
                  <a:lnTo>
                    <a:pt x="211" y="563"/>
                  </a:lnTo>
                  <a:lnTo>
                    <a:pt x="211" y="563"/>
                  </a:lnTo>
                  <a:lnTo>
                    <a:pt x="212" y="563"/>
                  </a:lnTo>
                  <a:lnTo>
                    <a:pt x="212" y="563"/>
                  </a:lnTo>
                  <a:lnTo>
                    <a:pt x="214" y="563"/>
                  </a:lnTo>
                  <a:lnTo>
                    <a:pt x="214" y="565"/>
                  </a:lnTo>
                  <a:lnTo>
                    <a:pt x="215" y="565"/>
                  </a:lnTo>
                  <a:lnTo>
                    <a:pt x="215" y="565"/>
                  </a:lnTo>
                  <a:lnTo>
                    <a:pt x="215" y="563"/>
                  </a:lnTo>
                  <a:lnTo>
                    <a:pt x="214" y="562"/>
                  </a:lnTo>
                  <a:lnTo>
                    <a:pt x="214" y="559"/>
                  </a:lnTo>
                  <a:lnTo>
                    <a:pt x="214" y="557"/>
                  </a:lnTo>
                  <a:lnTo>
                    <a:pt x="212" y="556"/>
                  </a:lnTo>
                  <a:lnTo>
                    <a:pt x="211" y="554"/>
                  </a:lnTo>
                  <a:lnTo>
                    <a:pt x="209" y="552"/>
                  </a:lnTo>
                  <a:lnTo>
                    <a:pt x="208" y="551"/>
                  </a:lnTo>
                  <a:lnTo>
                    <a:pt x="208" y="548"/>
                  </a:lnTo>
                  <a:lnTo>
                    <a:pt x="206" y="546"/>
                  </a:lnTo>
                  <a:lnTo>
                    <a:pt x="204" y="542"/>
                  </a:lnTo>
                  <a:lnTo>
                    <a:pt x="204" y="540"/>
                  </a:lnTo>
                  <a:lnTo>
                    <a:pt x="206" y="539"/>
                  </a:lnTo>
                  <a:lnTo>
                    <a:pt x="208" y="540"/>
                  </a:lnTo>
                  <a:lnTo>
                    <a:pt x="211" y="540"/>
                  </a:lnTo>
                  <a:lnTo>
                    <a:pt x="211" y="542"/>
                  </a:lnTo>
                  <a:lnTo>
                    <a:pt x="212" y="542"/>
                  </a:lnTo>
                  <a:lnTo>
                    <a:pt x="220" y="543"/>
                  </a:lnTo>
                  <a:lnTo>
                    <a:pt x="221" y="543"/>
                  </a:lnTo>
                  <a:lnTo>
                    <a:pt x="223" y="545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8" y="545"/>
                  </a:lnTo>
                  <a:lnTo>
                    <a:pt x="228" y="546"/>
                  </a:lnTo>
                  <a:lnTo>
                    <a:pt x="228" y="546"/>
                  </a:lnTo>
                  <a:lnTo>
                    <a:pt x="228" y="548"/>
                  </a:lnTo>
                  <a:lnTo>
                    <a:pt x="229" y="549"/>
                  </a:lnTo>
                  <a:lnTo>
                    <a:pt x="229" y="549"/>
                  </a:lnTo>
                  <a:lnTo>
                    <a:pt x="231" y="551"/>
                  </a:lnTo>
                  <a:lnTo>
                    <a:pt x="232" y="552"/>
                  </a:lnTo>
                  <a:lnTo>
                    <a:pt x="234" y="552"/>
                  </a:lnTo>
                  <a:lnTo>
                    <a:pt x="238" y="552"/>
                  </a:lnTo>
                  <a:lnTo>
                    <a:pt x="240" y="552"/>
                  </a:lnTo>
                  <a:lnTo>
                    <a:pt x="238" y="554"/>
                  </a:lnTo>
                  <a:lnTo>
                    <a:pt x="238" y="554"/>
                  </a:lnTo>
                  <a:lnTo>
                    <a:pt x="238" y="554"/>
                  </a:lnTo>
                  <a:lnTo>
                    <a:pt x="238" y="556"/>
                  </a:lnTo>
                  <a:lnTo>
                    <a:pt x="238" y="556"/>
                  </a:lnTo>
                  <a:lnTo>
                    <a:pt x="238" y="557"/>
                  </a:lnTo>
                  <a:lnTo>
                    <a:pt x="240" y="559"/>
                  </a:lnTo>
                  <a:lnTo>
                    <a:pt x="240" y="560"/>
                  </a:lnTo>
                  <a:lnTo>
                    <a:pt x="241" y="560"/>
                  </a:lnTo>
                  <a:lnTo>
                    <a:pt x="241" y="559"/>
                  </a:lnTo>
                  <a:lnTo>
                    <a:pt x="243" y="559"/>
                  </a:lnTo>
                  <a:lnTo>
                    <a:pt x="245" y="559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6" y="562"/>
                  </a:lnTo>
                  <a:lnTo>
                    <a:pt x="248" y="562"/>
                  </a:lnTo>
                  <a:lnTo>
                    <a:pt x="249" y="559"/>
                  </a:lnTo>
                  <a:lnTo>
                    <a:pt x="252" y="559"/>
                  </a:lnTo>
                  <a:lnTo>
                    <a:pt x="260" y="560"/>
                  </a:lnTo>
                  <a:lnTo>
                    <a:pt x="261" y="559"/>
                  </a:lnTo>
                  <a:lnTo>
                    <a:pt x="263" y="559"/>
                  </a:lnTo>
                  <a:lnTo>
                    <a:pt x="265" y="556"/>
                  </a:lnTo>
                  <a:lnTo>
                    <a:pt x="265" y="554"/>
                  </a:lnTo>
                  <a:lnTo>
                    <a:pt x="265" y="554"/>
                  </a:lnTo>
                  <a:lnTo>
                    <a:pt x="266" y="552"/>
                  </a:lnTo>
                  <a:lnTo>
                    <a:pt x="268" y="554"/>
                  </a:lnTo>
                  <a:lnTo>
                    <a:pt x="268" y="554"/>
                  </a:lnTo>
                  <a:lnTo>
                    <a:pt x="269" y="556"/>
                  </a:lnTo>
                  <a:lnTo>
                    <a:pt x="269" y="556"/>
                  </a:lnTo>
                  <a:lnTo>
                    <a:pt x="269" y="556"/>
                  </a:lnTo>
                  <a:lnTo>
                    <a:pt x="269" y="557"/>
                  </a:lnTo>
                  <a:lnTo>
                    <a:pt x="269" y="557"/>
                  </a:lnTo>
                  <a:lnTo>
                    <a:pt x="268" y="559"/>
                  </a:lnTo>
                  <a:lnTo>
                    <a:pt x="268" y="560"/>
                  </a:lnTo>
                  <a:lnTo>
                    <a:pt x="268" y="562"/>
                  </a:lnTo>
                  <a:lnTo>
                    <a:pt x="269" y="562"/>
                  </a:lnTo>
                  <a:lnTo>
                    <a:pt x="269" y="565"/>
                  </a:lnTo>
                  <a:lnTo>
                    <a:pt x="269" y="566"/>
                  </a:lnTo>
                  <a:lnTo>
                    <a:pt x="268" y="568"/>
                  </a:lnTo>
                  <a:lnTo>
                    <a:pt x="265" y="569"/>
                  </a:lnTo>
                  <a:lnTo>
                    <a:pt x="263" y="569"/>
                  </a:lnTo>
                  <a:lnTo>
                    <a:pt x="258" y="571"/>
                  </a:lnTo>
                  <a:lnTo>
                    <a:pt x="258" y="571"/>
                  </a:lnTo>
                  <a:lnTo>
                    <a:pt x="257" y="572"/>
                  </a:lnTo>
                  <a:lnTo>
                    <a:pt x="258" y="572"/>
                  </a:lnTo>
                  <a:lnTo>
                    <a:pt x="261" y="577"/>
                  </a:lnTo>
                  <a:lnTo>
                    <a:pt x="263" y="577"/>
                  </a:lnTo>
                  <a:lnTo>
                    <a:pt x="263" y="577"/>
                  </a:lnTo>
                  <a:lnTo>
                    <a:pt x="265" y="577"/>
                  </a:lnTo>
                  <a:lnTo>
                    <a:pt x="265" y="577"/>
                  </a:lnTo>
                  <a:lnTo>
                    <a:pt x="266" y="577"/>
                  </a:lnTo>
                  <a:lnTo>
                    <a:pt x="268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9" y="579"/>
                  </a:lnTo>
                  <a:lnTo>
                    <a:pt x="268" y="580"/>
                  </a:lnTo>
                  <a:lnTo>
                    <a:pt x="268" y="580"/>
                  </a:lnTo>
                  <a:lnTo>
                    <a:pt x="268" y="580"/>
                  </a:lnTo>
                  <a:lnTo>
                    <a:pt x="269" y="582"/>
                  </a:lnTo>
                  <a:lnTo>
                    <a:pt x="269" y="582"/>
                  </a:lnTo>
                  <a:lnTo>
                    <a:pt x="271" y="583"/>
                  </a:lnTo>
                  <a:lnTo>
                    <a:pt x="271" y="585"/>
                  </a:lnTo>
                  <a:lnTo>
                    <a:pt x="271" y="586"/>
                  </a:lnTo>
                  <a:lnTo>
                    <a:pt x="272" y="588"/>
                  </a:lnTo>
                  <a:lnTo>
                    <a:pt x="277" y="592"/>
                  </a:lnTo>
                  <a:lnTo>
                    <a:pt x="280" y="592"/>
                  </a:lnTo>
                  <a:lnTo>
                    <a:pt x="281" y="592"/>
                  </a:lnTo>
                  <a:lnTo>
                    <a:pt x="285" y="591"/>
                  </a:lnTo>
                  <a:lnTo>
                    <a:pt x="286" y="589"/>
                  </a:lnTo>
                  <a:lnTo>
                    <a:pt x="289" y="589"/>
                  </a:lnTo>
                  <a:lnTo>
                    <a:pt x="291" y="589"/>
                  </a:lnTo>
                  <a:lnTo>
                    <a:pt x="291" y="588"/>
                  </a:lnTo>
                  <a:lnTo>
                    <a:pt x="291" y="588"/>
                  </a:lnTo>
                  <a:lnTo>
                    <a:pt x="291" y="586"/>
                  </a:lnTo>
                  <a:lnTo>
                    <a:pt x="291" y="586"/>
                  </a:lnTo>
                  <a:lnTo>
                    <a:pt x="289" y="586"/>
                  </a:lnTo>
                  <a:lnTo>
                    <a:pt x="289" y="586"/>
                  </a:lnTo>
                  <a:lnTo>
                    <a:pt x="289" y="585"/>
                  </a:lnTo>
                  <a:lnTo>
                    <a:pt x="291" y="585"/>
                  </a:lnTo>
                  <a:lnTo>
                    <a:pt x="291" y="585"/>
                  </a:lnTo>
                  <a:lnTo>
                    <a:pt x="295" y="588"/>
                  </a:lnTo>
                  <a:lnTo>
                    <a:pt x="295" y="589"/>
                  </a:lnTo>
                  <a:lnTo>
                    <a:pt x="295" y="591"/>
                  </a:lnTo>
                  <a:lnTo>
                    <a:pt x="302" y="591"/>
                  </a:lnTo>
                  <a:lnTo>
                    <a:pt x="302" y="592"/>
                  </a:lnTo>
                  <a:lnTo>
                    <a:pt x="305" y="594"/>
                  </a:lnTo>
                  <a:lnTo>
                    <a:pt x="305" y="594"/>
                  </a:lnTo>
                  <a:lnTo>
                    <a:pt x="306" y="596"/>
                  </a:lnTo>
                  <a:lnTo>
                    <a:pt x="308" y="596"/>
                  </a:lnTo>
                  <a:lnTo>
                    <a:pt x="308" y="596"/>
                  </a:lnTo>
                  <a:lnTo>
                    <a:pt x="309" y="599"/>
                  </a:lnTo>
                  <a:lnTo>
                    <a:pt x="309" y="599"/>
                  </a:lnTo>
                  <a:lnTo>
                    <a:pt x="311" y="600"/>
                  </a:lnTo>
                  <a:lnTo>
                    <a:pt x="312" y="600"/>
                  </a:lnTo>
                  <a:lnTo>
                    <a:pt x="314" y="599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4" y="597"/>
                  </a:lnTo>
                  <a:lnTo>
                    <a:pt x="317" y="597"/>
                  </a:lnTo>
                  <a:lnTo>
                    <a:pt x="318" y="599"/>
                  </a:lnTo>
                  <a:lnTo>
                    <a:pt x="325" y="602"/>
                  </a:lnTo>
                  <a:lnTo>
                    <a:pt x="326" y="602"/>
                  </a:lnTo>
                  <a:lnTo>
                    <a:pt x="329" y="600"/>
                  </a:lnTo>
                  <a:lnTo>
                    <a:pt x="331" y="600"/>
                  </a:lnTo>
                  <a:lnTo>
                    <a:pt x="331" y="602"/>
                  </a:lnTo>
                  <a:lnTo>
                    <a:pt x="331" y="603"/>
                  </a:lnTo>
                  <a:lnTo>
                    <a:pt x="331" y="605"/>
                  </a:lnTo>
                  <a:lnTo>
                    <a:pt x="332" y="606"/>
                  </a:lnTo>
                  <a:lnTo>
                    <a:pt x="331" y="609"/>
                  </a:lnTo>
                  <a:lnTo>
                    <a:pt x="331" y="613"/>
                  </a:lnTo>
                  <a:lnTo>
                    <a:pt x="332" y="616"/>
                  </a:lnTo>
                  <a:lnTo>
                    <a:pt x="334" y="619"/>
                  </a:lnTo>
                  <a:lnTo>
                    <a:pt x="335" y="622"/>
                  </a:lnTo>
                  <a:lnTo>
                    <a:pt x="335" y="623"/>
                  </a:lnTo>
                  <a:lnTo>
                    <a:pt x="335" y="623"/>
                  </a:lnTo>
                  <a:lnTo>
                    <a:pt x="338" y="625"/>
                  </a:lnTo>
                  <a:lnTo>
                    <a:pt x="340" y="625"/>
                  </a:lnTo>
                  <a:lnTo>
                    <a:pt x="340" y="625"/>
                  </a:lnTo>
                  <a:lnTo>
                    <a:pt x="342" y="626"/>
                  </a:lnTo>
                  <a:lnTo>
                    <a:pt x="343" y="628"/>
                  </a:lnTo>
                  <a:lnTo>
                    <a:pt x="345" y="628"/>
                  </a:lnTo>
                  <a:lnTo>
                    <a:pt x="345" y="626"/>
                  </a:lnTo>
                  <a:lnTo>
                    <a:pt x="346" y="626"/>
                  </a:lnTo>
                  <a:lnTo>
                    <a:pt x="348" y="628"/>
                  </a:lnTo>
                  <a:lnTo>
                    <a:pt x="348" y="628"/>
                  </a:lnTo>
                  <a:lnTo>
                    <a:pt x="348" y="633"/>
                  </a:lnTo>
                  <a:lnTo>
                    <a:pt x="349" y="634"/>
                  </a:lnTo>
                  <a:lnTo>
                    <a:pt x="349" y="636"/>
                  </a:lnTo>
                  <a:lnTo>
                    <a:pt x="349" y="637"/>
                  </a:lnTo>
                  <a:lnTo>
                    <a:pt x="351" y="642"/>
                  </a:lnTo>
                  <a:lnTo>
                    <a:pt x="351" y="643"/>
                  </a:lnTo>
                  <a:lnTo>
                    <a:pt x="351" y="646"/>
                  </a:lnTo>
                  <a:lnTo>
                    <a:pt x="358" y="646"/>
                  </a:lnTo>
                  <a:lnTo>
                    <a:pt x="360" y="648"/>
                  </a:lnTo>
                  <a:lnTo>
                    <a:pt x="360" y="649"/>
                  </a:lnTo>
                  <a:lnTo>
                    <a:pt x="360" y="651"/>
                  </a:lnTo>
                  <a:lnTo>
                    <a:pt x="360" y="653"/>
                  </a:lnTo>
                  <a:lnTo>
                    <a:pt x="360" y="654"/>
                  </a:lnTo>
                  <a:lnTo>
                    <a:pt x="360" y="659"/>
                  </a:lnTo>
                  <a:lnTo>
                    <a:pt x="360" y="660"/>
                  </a:lnTo>
                  <a:lnTo>
                    <a:pt x="362" y="660"/>
                  </a:lnTo>
                  <a:lnTo>
                    <a:pt x="363" y="660"/>
                  </a:lnTo>
                  <a:lnTo>
                    <a:pt x="366" y="659"/>
                  </a:lnTo>
                  <a:lnTo>
                    <a:pt x="368" y="657"/>
                  </a:lnTo>
                  <a:lnTo>
                    <a:pt x="369" y="657"/>
                  </a:lnTo>
                  <a:lnTo>
                    <a:pt x="371" y="659"/>
                  </a:lnTo>
                  <a:lnTo>
                    <a:pt x="371" y="659"/>
                  </a:lnTo>
                  <a:lnTo>
                    <a:pt x="372" y="659"/>
                  </a:lnTo>
                  <a:lnTo>
                    <a:pt x="374" y="659"/>
                  </a:lnTo>
                  <a:lnTo>
                    <a:pt x="375" y="659"/>
                  </a:lnTo>
                  <a:lnTo>
                    <a:pt x="377" y="657"/>
                  </a:lnTo>
                  <a:lnTo>
                    <a:pt x="377" y="656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9" y="654"/>
                  </a:lnTo>
                  <a:lnTo>
                    <a:pt x="379" y="653"/>
                  </a:lnTo>
                  <a:lnTo>
                    <a:pt x="379" y="653"/>
                  </a:lnTo>
                  <a:lnTo>
                    <a:pt x="379" y="653"/>
                  </a:lnTo>
                  <a:lnTo>
                    <a:pt x="379" y="651"/>
                  </a:lnTo>
                  <a:lnTo>
                    <a:pt x="379" y="651"/>
                  </a:lnTo>
                  <a:lnTo>
                    <a:pt x="380" y="648"/>
                  </a:lnTo>
                  <a:lnTo>
                    <a:pt x="380" y="646"/>
                  </a:lnTo>
                  <a:lnTo>
                    <a:pt x="382" y="645"/>
                  </a:lnTo>
                  <a:lnTo>
                    <a:pt x="383" y="645"/>
                  </a:lnTo>
                  <a:lnTo>
                    <a:pt x="385" y="645"/>
                  </a:lnTo>
                  <a:lnTo>
                    <a:pt x="386" y="645"/>
                  </a:lnTo>
                  <a:lnTo>
                    <a:pt x="388" y="643"/>
                  </a:lnTo>
                  <a:lnTo>
                    <a:pt x="388" y="643"/>
                  </a:lnTo>
                  <a:lnTo>
                    <a:pt x="389" y="643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7" y="636"/>
                  </a:lnTo>
                  <a:lnTo>
                    <a:pt x="397" y="636"/>
                  </a:lnTo>
                  <a:lnTo>
                    <a:pt x="399" y="637"/>
                  </a:lnTo>
                  <a:lnTo>
                    <a:pt x="399" y="639"/>
                  </a:lnTo>
                  <a:lnTo>
                    <a:pt x="400" y="640"/>
                  </a:lnTo>
                  <a:lnTo>
                    <a:pt x="402" y="642"/>
                  </a:lnTo>
                  <a:lnTo>
                    <a:pt x="403" y="648"/>
                  </a:lnTo>
                  <a:lnTo>
                    <a:pt x="405" y="651"/>
                  </a:lnTo>
                  <a:lnTo>
                    <a:pt x="405" y="653"/>
                  </a:lnTo>
                  <a:lnTo>
                    <a:pt x="406" y="653"/>
                  </a:lnTo>
                  <a:lnTo>
                    <a:pt x="408" y="654"/>
                  </a:lnTo>
                  <a:lnTo>
                    <a:pt x="411" y="654"/>
                  </a:lnTo>
                  <a:lnTo>
                    <a:pt x="409" y="654"/>
                  </a:lnTo>
                  <a:lnTo>
                    <a:pt x="409" y="656"/>
                  </a:lnTo>
                  <a:lnTo>
                    <a:pt x="409" y="657"/>
                  </a:lnTo>
                  <a:lnTo>
                    <a:pt x="409" y="659"/>
                  </a:lnTo>
                  <a:lnTo>
                    <a:pt x="409" y="659"/>
                  </a:lnTo>
                  <a:lnTo>
                    <a:pt x="414" y="660"/>
                  </a:lnTo>
                  <a:lnTo>
                    <a:pt x="415" y="660"/>
                  </a:lnTo>
                  <a:lnTo>
                    <a:pt x="417" y="660"/>
                  </a:lnTo>
                  <a:lnTo>
                    <a:pt x="420" y="659"/>
                  </a:lnTo>
                  <a:lnTo>
                    <a:pt x="420" y="659"/>
                  </a:lnTo>
                  <a:lnTo>
                    <a:pt x="420" y="659"/>
                  </a:lnTo>
                  <a:lnTo>
                    <a:pt x="422" y="662"/>
                  </a:lnTo>
                  <a:lnTo>
                    <a:pt x="422" y="663"/>
                  </a:lnTo>
                  <a:lnTo>
                    <a:pt x="422" y="668"/>
                  </a:lnTo>
                  <a:lnTo>
                    <a:pt x="422" y="669"/>
                  </a:lnTo>
                  <a:lnTo>
                    <a:pt x="422" y="669"/>
                  </a:lnTo>
                  <a:lnTo>
                    <a:pt x="422" y="671"/>
                  </a:lnTo>
                  <a:lnTo>
                    <a:pt x="422" y="671"/>
                  </a:lnTo>
                  <a:lnTo>
                    <a:pt x="422" y="671"/>
                  </a:lnTo>
                  <a:lnTo>
                    <a:pt x="423" y="671"/>
                  </a:lnTo>
                  <a:lnTo>
                    <a:pt x="423" y="671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3"/>
                  </a:lnTo>
                  <a:lnTo>
                    <a:pt x="423" y="674"/>
                  </a:lnTo>
                  <a:lnTo>
                    <a:pt x="423" y="674"/>
                  </a:lnTo>
                  <a:lnTo>
                    <a:pt x="422" y="674"/>
                  </a:lnTo>
                  <a:lnTo>
                    <a:pt x="422" y="674"/>
                  </a:lnTo>
                  <a:lnTo>
                    <a:pt x="419" y="679"/>
                  </a:lnTo>
                  <a:lnTo>
                    <a:pt x="419" y="680"/>
                  </a:lnTo>
                  <a:lnTo>
                    <a:pt x="419" y="680"/>
                  </a:lnTo>
                  <a:lnTo>
                    <a:pt x="420" y="682"/>
                  </a:lnTo>
                  <a:lnTo>
                    <a:pt x="422" y="682"/>
                  </a:lnTo>
                  <a:lnTo>
                    <a:pt x="425" y="683"/>
                  </a:lnTo>
                  <a:lnTo>
                    <a:pt x="426" y="682"/>
                  </a:lnTo>
                  <a:lnTo>
                    <a:pt x="428" y="680"/>
                  </a:lnTo>
                  <a:lnTo>
                    <a:pt x="429" y="680"/>
                  </a:lnTo>
                  <a:lnTo>
                    <a:pt x="431" y="679"/>
                  </a:lnTo>
                  <a:lnTo>
                    <a:pt x="432" y="679"/>
                  </a:lnTo>
                  <a:lnTo>
                    <a:pt x="436" y="679"/>
                  </a:lnTo>
                  <a:lnTo>
                    <a:pt x="439" y="683"/>
                  </a:lnTo>
                  <a:lnTo>
                    <a:pt x="442" y="685"/>
                  </a:lnTo>
                  <a:lnTo>
                    <a:pt x="443" y="683"/>
                  </a:lnTo>
                  <a:lnTo>
                    <a:pt x="443" y="680"/>
                  </a:lnTo>
                  <a:lnTo>
                    <a:pt x="445" y="676"/>
                  </a:lnTo>
                  <a:lnTo>
                    <a:pt x="445" y="676"/>
                  </a:lnTo>
                  <a:lnTo>
                    <a:pt x="445" y="674"/>
                  </a:lnTo>
                  <a:lnTo>
                    <a:pt x="446" y="673"/>
                  </a:lnTo>
                  <a:lnTo>
                    <a:pt x="448" y="669"/>
                  </a:lnTo>
                  <a:lnTo>
                    <a:pt x="448" y="668"/>
                  </a:lnTo>
                  <a:lnTo>
                    <a:pt x="448" y="669"/>
                  </a:lnTo>
                  <a:lnTo>
                    <a:pt x="449" y="669"/>
                  </a:lnTo>
                  <a:lnTo>
                    <a:pt x="451" y="668"/>
                  </a:lnTo>
                  <a:lnTo>
                    <a:pt x="452" y="666"/>
                  </a:lnTo>
                  <a:lnTo>
                    <a:pt x="452" y="666"/>
                  </a:lnTo>
                  <a:lnTo>
                    <a:pt x="459" y="665"/>
                  </a:lnTo>
                  <a:lnTo>
                    <a:pt x="459" y="665"/>
                  </a:lnTo>
                  <a:lnTo>
                    <a:pt x="460" y="663"/>
                  </a:lnTo>
                  <a:lnTo>
                    <a:pt x="460" y="662"/>
                  </a:lnTo>
                  <a:lnTo>
                    <a:pt x="460" y="660"/>
                  </a:lnTo>
                  <a:lnTo>
                    <a:pt x="460" y="660"/>
                  </a:lnTo>
                  <a:lnTo>
                    <a:pt x="462" y="659"/>
                  </a:lnTo>
                  <a:lnTo>
                    <a:pt x="462" y="659"/>
                  </a:lnTo>
                  <a:lnTo>
                    <a:pt x="465" y="660"/>
                  </a:lnTo>
                  <a:lnTo>
                    <a:pt x="469" y="660"/>
                  </a:lnTo>
                  <a:lnTo>
                    <a:pt x="469" y="659"/>
                  </a:lnTo>
                  <a:lnTo>
                    <a:pt x="471" y="659"/>
                  </a:lnTo>
                  <a:lnTo>
                    <a:pt x="477" y="662"/>
                  </a:lnTo>
                  <a:lnTo>
                    <a:pt x="479" y="662"/>
                  </a:lnTo>
                  <a:lnTo>
                    <a:pt x="480" y="662"/>
                  </a:lnTo>
                  <a:lnTo>
                    <a:pt x="480" y="660"/>
                  </a:lnTo>
                  <a:lnTo>
                    <a:pt x="482" y="659"/>
                  </a:lnTo>
                  <a:lnTo>
                    <a:pt x="483" y="659"/>
                  </a:lnTo>
                  <a:lnTo>
                    <a:pt x="483" y="659"/>
                  </a:lnTo>
                  <a:lnTo>
                    <a:pt x="485" y="659"/>
                  </a:lnTo>
                  <a:lnTo>
                    <a:pt x="488" y="659"/>
                  </a:lnTo>
                  <a:lnTo>
                    <a:pt x="489" y="659"/>
                  </a:lnTo>
                  <a:lnTo>
                    <a:pt x="496" y="666"/>
                  </a:lnTo>
                  <a:lnTo>
                    <a:pt x="497" y="666"/>
                  </a:lnTo>
                  <a:lnTo>
                    <a:pt x="499" y="668"/>
                  </a:lnTo>
                  <a:lnTo>
                    <a:pt x="500" y="668"/>
                  </a:lnTo>
                  <a:lnTo>
                    <a:pt x="500" y="668"/>
                  </a:lnTo>
                  <a:lnTo>
                    <a:pt x="502" y="668"/>
                  </a:lnTo>
                  <a:lnTo>
                    <a:pt x="503" y="669"/>
                  </a:lnTo>
                  <a:lnTo>
                    <a:pt x="505" y="671"/>
                  </a:lnTo>
                  <a:lnTo>
                    <a:pt x="506" y="671"/>
                  </a:lnTo>
                  <a:lnTo>
                    <a:pt x="508" y="669"/>
                  </a:lnTo>
                  <a:lnTo>
                    <a:pt x="509" y="669"/>
                  </a:lnTo>
                  <a:lnTo>
                    <a:pt x="513" y="665"/>
                  </a:lnTo>
                  <a:lnTo>
                    <a:pt x="514" y="663"/>
                  </a:lnTo>
                  <a:lnTo>
                    <a:pt x="514" y="663"/>
                  </a:lnTo>
                  <a:lnTo>
                    <a:pt x="516" y="663"/>
                  </a:lnTo>
                  <a:lnTo>
                    <a:pt x="517" y="663"/>
                  </a:lnTo>
                  <a:lnTo>
                    <a:pt x="519" y="662"/>
                  </a:lnTo>
                  <a:lnTo>
                    <a:pt x="517" y="660"/>
                  </a:lnTo>
                  <a:lnTo>
                    <a:pt x="516" y="659"/>
                  </a:lnTo>
                  <a:lnTo>
                    <a:pt x="514" y="659"/>
                  </a:lnTo>
                  <a:lnTo>
                    <a:pt x="516" y="657"/>
                  </a:lnTo>
                  <a:lnTo>
                    <a:pt x="517" y="656"/>
                  </a:lnTo>
                  <a:lnTo>
                    <a:pt x="520" y="656"/>
                  </a:lnTo>
                  <a:lnTo>
                    <a:pt x="522" y="656"/>
                  </a:lnTo>
                  <a:lnTo>
                    <a:pt x="523" y="657"/>
                  </a:lnTo>
                  <a:lnTo>
                    <a:pt x="523" y="657"/>
                  </a:lnTo>
                  <a:lnTo>
                    <a:pt x="525" y="659"/>
                  </a:lnTo>
                  <a:lnTo>
                    <a:pt x="526" y="659"/>
                  </a:lnTo>
                  <a:lnTo>
                    <a:pt x="528" y="657"/>
                  </a:lnTo>
                  <a:lnTo>
                    <a:pt x="529" y="654"/>
                  </a:lnTo>
                  <a:lnTo>
                    <a:pt x="531" y="653"/>
                  </a:lnTo>
                  <a:lnTo>
                    <a:pt x="533" y="653"/>
                  </a:lnTo>
                  <a:lnTo>
                    <a:pt x="537" y="656"/>
                  </a:lnTo>
                  <a:lnTo>
                    <a:pt x="543" y="657"/>
                  </a:lnTo>
                  <a:lnTo>
                    <a:pt x="545" y="657"/>
                  </a:lnTo>
                  <a:lnTo>
                    <a:pt x="548" y="657"/>
                  </a:lnTo>
                  <a:lnTo>
                    <a:pt x="549" y="657"/>
                  </a:lnTo>
                  <a:lnTo>
                    <a:pt x="551" y="656"/>
                  </a:lnTo>
                  <a:lnTo>
                    <a:pt x="551" y="656"/>
                  </a:lnTo>
                  <a:lnTo>
                    <a:pt x="557" y="656"/>
                  </a:lnTo>
                  <a:lnTo>
                    <a:pt x="559" y="656"/>
                  </a:lnTo>
                  <a:lnTo>
                    <a:pt x="559" y="656"/>
                  </a:lnTo>
                  <a:lnTo>
                    <a:pt x="560" y="657"/>
                  </a:lnTo>
                  <a:lnTo>
                    <a:pt x="562" y="659"/>
                  </a:lnTo>
                  <a:lnTo>
                    <a:pt x="562" y="659"/>
                  </a:lnTo>
                  <a:lnTo>
                    <a:pt x="563" y="657"/>
                  </a:lnTo>
                  <a:lnTo>
                    <a:pt x="563" y="659"/>
                  </a:lnTo>
                  <a:lnTo>
                    <a:pt x="565" y="659"/>
                  </a:lnTo>
                  <a:lnTo>
                    <a:pt x="568" y="663"/>
                  </a:lnTo>
                  <a:lnTo>
                    <a:pt x="568" y="665"/>
                  </a:lnTo>
                  <a:lnTo>
                    <a:pt x="570" y="663"/>
                  </a:lnTo>
                  <a:lnTo>
                    <a:pt x="571" y="662"/>
                  </a:lnTo>
                  <a:lnTo>
                    <a:pt x="571" y="662"/>
                  </a:lnTo>
                  <a:lnTo>
                    <a:pt x="573" y="660"/>
                  </a:lnTo>
                  <a:lnTo>
                    <a:pt x="574" y="662"/>
                  </a:lnTo>
                  <a:lnTo>
                    <a:pt x="577" y="665"/>
                  </a:lnTo>
                  <a:lnTo>
                    <a:pt x="582" y="666"/>
                  </a:lnTo>
                  <a:lnTo>
                    <a:pt x="583" y="669"/>
                  </a:lnTo>
                  <a:lnTo>
                    <a:pt x="586" y="673"/>
                  </a:lnTo>
                  <a:lnTo>
                    <a:pt x="586" y="676"/>
                  </a:lnTo>
                  <a:lnTo>
                    <a:pt x="588" y="680"/>
                  </a:lnTo>
                  <a:lnTo>
                    <a:pt x="590" y="682"/>
                  </a:lnTo>
                  <a:lnTo>
                    <a:pt x="594" y="682"/>
                  </a:lnTo>
                  <a:lnTo>
                    <a:pt x="597" y="683"/>
                  </a:lnTo>
                  <a:lnTo>
                    <a:pt x="599" y="685"/>
                  </a:lnTo>
                  <a:lnTo>
                    <a:pt x="599" y="685"/>
                  </a:lnTo>
                  <a:lnTo>
                    <a:pt x="600" y="685"/>
                  </a:lnTo>
                  <a:lnTo>
                    <a:pt x="602" y="685"/>
                  </a:lnTo>
                  <a:lnTo>
                    <a:pt x="602" y="685"/>
                  </a:lnTo>
                  <a:lnTo>
                    <a:pt x="602" y="686"/>
                  </a:lnTo>
                  <a:lnTo>
                    <a:pt x="602" y="686"/>
                  </a:lnTo>
                  <a:lnTo>
                    <a:pt x="602" y="688"/>
                  </a:lnTo>
                  <a:lnTo>
                    <a:pt x="602" y="688"/>
                  </a:lnTo>
                  <a:lnTo>
                    <a:pt x="606" y="690"/>
                  </a:lnTo>
                  <a:lnTo>
                    <a:pt x="610" y="690"/>
                  </a:lnTo>
                  <a:lnTo>
                    <a:pt x="611" y="690"/>
                  </a:lnTo>
                  <a:lnTo>
                    <a:pt x="616" y="693"/>
                  </a:lnTo>
                  <a:lnTo>
                    <a:pt x="619" y="694"/>
                  </a:lnTo>
                  <a:lnTo>
                    <a:pt x="623" y="694"/>
                  </a:lnTo>
                  <a:lnTo>
                    <a:pt x="626" y="696"/>
                  </a:lnTo>
                  <a:lnTo>
                    <a:pt x="628" y="694"/>
                  </a:lnTo>
                  <a:lnTo>
                    <a:pt x="630" y="694"/>
                  </a:lnTo>
                  <a:lnTo>
                    <a:pt x="633" y="697"/>
                  </a:lnTo>
                  <a:lnTo>
                    <a:pt x="634" y="699"/>
                  </a:lnTo>
                  <a:lnTo>
                    <a:pt x="636" y="699"/>
                  </a:lnTo>
                  <a:lnTo>
                    <a:pt x="637" y="699"/>
                  </a:lnTo>
                  <a:lnTo>
                    <a:pt x="640" y="699"/>
                  </a:lnTo>
                  <a:lnTo>
                    <a:pt x="642" y="699"/>
                  </a:lnTo>
                  <a:lnTo>
                    <a:pt x="643" y="699"/>
                  </a:lnTo>
                  <a:lnTo>
                    <a:pt x="643" y="699"/>
                  </a:lnTo>
                  <a:lnTo>
                    <a:pt x="645" y="702"/>
                  </a:lnTo>
                  <a:lnTo>
                    <a:pt x="645" y="702"/>
                  </a:lnTo>
                  <a:lnTo>
                    <a:pt x="647" y="702"/>
                  </a:lnTo>
                  <a:lnTo>
                    <a:pt x="648" y="703"/>
                  </a:lnTo>
                  <a:lnTo>
                    <a:pt x="650" y="705"/>
                  </a:lnTo>
                  <a:lnTo>
                    <a:pt x="651" y="703"/>
                  </a:lnTo>
                  <a:lnTo>
                    <a:pt x="651" y="702"/>
                  </a:lnTo>
                  <a:lnTo>
                    <a:pt x="651" y="702"/>
                  </a:lnTo>
                  <a:lnTo>
                    <a:pt x="650" y="700"/>
                  </a:lnTo>
                  <a:lnTo>
                    <a:pt x="650" y="699"/>
                  </a:lnTo>
                  <a:lnTo>
                    <a:pt x="650" y="697"/>
                  </a:lnTo>
                  <a:lnTo>
                    <a:pt x="650" y="696"/>
                  </a:lnTo>
                  <a:lnTo>
                    <a:pt x="650" y="694"/>
                  </a:lnTo>
                  <a:lnTo>
                    <a:pt x="650" y="693"/>
                  </a:lnTo>
                  <a:lnTo>
                    <a:pt x="647" y="691"/>
                  </a:lnTo>
                  <a:lnTo>
                    <a:pt x="645" y="690"/>
                  </a:lnTo>
                  <a:lnTo>
                    <a:pt x="642" y="688"/>
                  </a:lnTo>
                  <a:lnTo>
                    <a:pt x="640" y="685"/>
                  </a:lnTo>
                  <a:lnTo>
                    <a:pt x="640" y="685"/>
                  </a:lnTo>
                  <a:lnTo>
                    <a:pt x="640" y="685"/>
                  </a:lnTo>
                  <a:lnTo>
                    <a:pt x="639" y="685"/>
                  </a:lnTo>
                  <a:lnTo>
                    <a:pt x="639" y="686"/>
                  </a:lnTo>
                  <a:lnTo>
                    <a:pt x="637" y="686"/>
                  </a:lnTo>
                  <a:lnTo>
                    <a:pt x="637" y="685"/>
                  </a:lnTo>
                  <a:lnTo>
                    <a:pt x="637" y="683"/>
                  </a:lnTo>
                  <a:lnTo>
                    <a:pt x="639" y="682"/>
                  </a:lnTo>
                  <a:lnTo>
                    <a:pt x="640" y="677"/>
                  </a:lnTo>
                  <a:lnTo>
                    <a:pt x="642" y="674"/>
                  </a:lnTo>
                  <a:lnTo>
                    <a:pt x="642" y="673"/>
                  </a:lnTo>
                  <a:lnTo>
                    <a:pt x="640" y="662"/>
                  </a:lnTo>
                  <a:lnTo>
                    <a:pt x="640" y="660"/>
                  </a:lnTo>
                  <a:lnTo>
                    <a:pt x="640" y="659"/>
                  </a:lnTo>
                  <a:lnTo>
                    <a:pt x="639" y="657"/>
                  </a:lnTo>
                  <a:lnTo>
                    <a:pt x="637" y="656"/>
                  </a:lnTo>
                  <a:lnTo>
                    <a:pt x="637" y="656"/>
                  </a:lnTo>
                  <a:lnTo>
                    <a:pt x="637" y="654"/>
                  </a:lnTo>
                  <a:lnTo>
                    <a:pt x="636" y="649"/>
                  </a:lnTo>
                  <a:lnTo>
                    <a:pt x="636" y="648"/>
                  </a:lnTo>
                  <a:lnTo>
                    <a:pt x="634" y="643"/>
                  </a:lnTo>
                  <a:lnTo>
                    <a:pt x="636" y="639"/>
                  </a:lnTo>
                  <a:lnTo>
                    <a:pt x="642" y="631"/>
                  </a:lnTo>
                  <a:lnTo>
                    <a:pt x="643" y="628"/>
                  </a:lnTo>
                  <a:lnTo>
                    <a:pt x="643" y="626"/>
                  </a:lnTo>
                  <a:lnTo>
                    <a:pt x="645" y="626"/>
                  </a:lnTo>
                  <a:lnTo>
                    <a:pt x="647" y="626"/>
                  </a:lnTo>
                  <a:lnTo>
                    <a:pt x="647" y="625"/>
                  </a:lnTo>
                  <a:lnTo>
                    <a:pt x="648" y="625"/>
                  </a:lnTo>
                  <a:lnTo>
                    <a:pt x="653" y="616"/>
                  </a:lnTo>
                  <a:lnTo>
                    <a:pt x="653" y="616"/>
                  </a:lnTo>
                  <a:lnTo>
                    <a:pt x="654" y="614"/>
                  </a:lnTo>
                  <a:lnTo>
                    <a:pt x="656" y="614"/>
                  </a:lnTo>
                  <a:lnTo>
                    <a:pt x="656" y="614"/>
                  </a:lnTo>
                  <a:lnTo>
                    <a:pt x="656" y="613"/>
                  </a:lnTo>
                  <a:lnTo>
                    <a:pt x="657" y="611"/>
                  </a:lnTo>
                  <a:lnTo>
                    <a:pt x="657" y="609"/>
                  </a:lnTo>
                  <a:lnTo>
                    <a:pt x="660" y="606"/>
                  </a:lnTo>
                  <a:lnTo>
                    <a:pt x="668" y="594"/>
                  </a:lnTo>
                  <a:lnTo>
                    <a:pt x="671" y="591"/>
                  </a:lnTo>
                  <a:lnTo>
                    <a:pt x="674" y="589"/>
                  </a:lnTo>
                  <a:lnTo>
                    <a:pt x="676" y="585"/>
                  </a:lnTo>
                  <a:lnTo>
                    <a:pt x="693" y="566"/>
                  </a:lnTo>
                  <a:lnTo>
                    <a:pt x="697" y="565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0" y="562"/>
                  </a:lnTo>
                  <a:lnTo>
                    <a:pt x="703" y="560"/>
                  </a:lnTo>
                  <a:lnTo>
                    <a:pt x="710" y="554"/>
                  </a:lnTo>
                  <a:lnTo>
                    <a:pt x="710" y="552"/>
                  </a:lnTo>
                  <a:lnTo>
                    <a:pt x="710" y="551"/>
                  </a:lnTo>
                  <a:lnTo>
                    <a:pt x="711" y="548"/>
                  </a:lnTo>
                  <a:lnTo>
                    <a:pt x="711" y="546"/>
                  </a:lnTo>
                  <a:lnTo>
                    <a:pt x="713" y="546"/>
                  </a:lnTo>
                  <a:lnTo>
                    <a:pt x="714" y="545"/>
                  </a:lnTo>
                  <a:lnTo>
                    <a:pt x="717" y="545"/>
                  </a:lnTo>
                  <a:lnTo>
                    <a:pt x="730" y="545"/>
                  </a:lnTo>
                  <a:lnTo>
                    <a:pt x="734" y="543"/>
                  </a:lnTo>
                  <a:lnTo>
                    <a:pt x="736" y="539"/>
                  </a:lnTo>
                  <a:lnTo>
                    <a:pt x="736" y="537"/>
                  </a:lnTo>
                  <a:lnTo>
                    <a:pt x="736" y="536"/>
                  </a:lnTo>
                  <a:lnTo>
                    <a:pt x="736" y="534"/>
                  </a:lnTo>
                  <a:lnTo>
                    <a:pt x="736" y="532"/>
                  </a:lnTo>
                  <a:lnTo>
                    <a:pt x="740" y="529"/>
                  </a:lnTo>
                  <a:lnTo>
                    <a:pt x="742" y="528"/>
                  </a:lnTo>
                  <a:lnTo>
                    <a:pt x="744" y="526"/>
                  </a:lnTo>
                  <a:lnTo>
                    <a:pt x="744" y="526"/>
                  </a:lnTo>
                  <a:lnTo>
                    <a:pt x="744" y="526"/>
                  </a:lnTo>
                  <a:lnTo>
                    <a:pt x="742" y="525"/>
                  </a:lnTo>
                  <a:lnTo>
                    <a:pt x="742" y="519"/>
                  </a:lnTo>
                  <a:lnTo>
                    <a:pt x="744" y="516"/>
                  </a:lnTo>
                  <a:lnTo>
                    <a:pt x="744" y="516"/>
                  </a:lnTo>
                  <a:lnTo>
                    <a:pt x="742" y="512"/>
                  </a:lnTo>
                  <a:lnTo>
                    <a:pt x="740" y="509"/>
                  </a:lnTo>
                  <a:lnTo>
                    <a:pt x="742" y="506"/>
                  </a:lnTo>
                  <a:lnTo>
                    <a:pt x="739" y="506"/>
                  </a:lnTo>
                  <a:lnTo>
                    <a:pt x="737" y="505"/>
                  </a:lnTo>
                  <a:lnTo>
                    <a:pt x="736" y="503"/>
                  </a:lnTo>
                  <a:lnTo>
                    <a:pt x="737" y="502"/>
                  </a:lnTo>
                  <a:lnTo>
                    <a:pt x="737" y="500"/>
                  </a:lnTo>
                  <a:lnTo>
                    <a:pt x="736" y="500"/>
                  </a:lnTo>
                  <a:lnTo>
                    <a:pt x="733" y="499"/>
                  </a:lnTo>
                  <a:lnTo>
                    <a:pt x="733" y="497"/>
                  </a:lnTo>
                  <a:lnTo>
                    <a:pt x="733" y="495"/>
                  </a:lnTo>
                  <a:lnTo>
                    <a:pt x="733" y="494"/>
                  </a:lnTo>
                  <a:lnTo>
                    <a:pt x="734" y="49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43"/>
            <p:cNvSpPr>
              <a:spLocks noEditPoints="1"/>
            </p:cNvSpPr>
            <p:nvPr/>
          </p:nvSpPr>
          <p:spPr bwMode="gray">
            <a:xfrm>
              <a:off x="6081713" y="5975351"/>
              <a:ext cx="454025" cy="539750"/>
            </a:xfrm>
            <a:custGeom>
              <a:avLst/>
              <a:gdLst>
                <a:gd name="T0" fmla="*/ 47 w 286"/>
                <a:gd name="T1" fmla="*/ 262 h 340"/>
                <a:gd name="T2" fmla="*/ 12 w 286"/>
                <a:gd name="T3" fmla="*/ 260 h 340"/>
                <a:gd name="T4" fmla="*/ 11 w 286"/>
                <a:gd name="T5" fmla="*/ 280 h 340"/>
                <a:gd name="T6" fmla="*/ 31 w 286"/>
                <a:gd name="T7" fmla="*/ 283 h 340"/>
                <a:gd name="T8" fmla="*/ 61 w 286"/>
                <a:gd name="T9" fmla="*/ 265 h 340"/>
                <a:gd name="T10" fmla="*/ 41 w 286"/>
                <a:gd name="T11" fmla="*/ 234 h 340"/>
                <a:gd name="T12" fmla="*/ 46 w 286"/>
                <a:gd name="T13" fmla="*/ 223 h 340"/>
                <a:gd name="T14" fmla="*/ 106 w 286"/>
                <a:gd name="T15" fmla="*/ 69 h 340"/>
                <a:gd name="T16" fmla="*/ 114 w 286"/>
                <a:gd name="T17" fmla="*/ 46 h 340"/>
                <a:gd name="T18" fmla="*/ 118 w 286"/>
                <a:gd name="T19" fmla="*/ 38 h 340"/>
                <a:gd name="T20" fmla="*/ 148 w 286"/>
                <a:gd name="T21" fmla="*/ 20 h 340"/>
                <a:gd name="T22" fmla="*/ 152 w 286"/>
                <a:gd name="T23" fmla="*/ 17 h 340"/>
                <a:gd name="T24" fmla="*/ 285 w 286"/>
                <a:gd name="T25" fmla="*/ 38 h 340"/>
                <a:gd name="T26" fmla="*/ 274 w 286"/>
                <a:gd name="T27" fmla="*/ 31 h 340"/>
                <a:gd name="T28" fmla="*/ 251 w 286"/>
                <a:gd name="T29" fmla="*/ 11 h 340"/>
                <a:gd name="T30" fmla="*/ 186 w 286"/>
                <a:gd name="T31" fmla="*/ 23 h 340"/>
                <a:gd name="T32" fmla="*/ 151 w 286"/>
                <a:gd name="T33" fmla="*/ 57 h 340"/>
                <a:gd name="T34" fmla="*/ 108 w 286"/>
                <a:gd name="T35" fmla="*/ 77 h 340"/>
                <a:gd name="T36" fmla="*/ 95 w 286"/>
                <a:gd name="T37" fmla="*/ 105 h 340"/>
                <a:gd name="T38" fmla="*/ 47 w 286"/>
                <a:gd name="T39" fmla="*/ 192 h 340"/>
                <a:gd name="T40" fmla="*/ 52 w 286"/>
                <a:gd name="T41" fmla="*/ 211 h 340"/>
                <a:gd name="T42" fmla="*/ 40 w 286"/>
                <a:gd name="T43" fmla="*/ 215 h 340"/>
                <a:gd name="T44" fmla="*/ 58 w 286"/>
                <a:gd name="T45" fmla="*/ 228 h 340"/>
                <a:gd name="T46" fmla="*/ 63 w 286"/>
                <a:gd name="T47" fmla="*/ 240 h 340"/>
                <a:gd name="T48" fmla="*/ 64 w 286"/>
                <a:gd name="T49" fmla="*/ 248 h 340"/>
                <a:gd name="T50" fmla="*/ 54 w 286"/>
                <a:gd name="T51" fmla="*/ 255 h 340"/>
                <a:gd name="T52" fmla="*/ 37 w 286"/>
                <a:gd name="T53" fmla="*/ 237 h 340"/>
                <a:gd name="T54" fmla="*/ 20 w 286"/>
                <a:gd name="T55" fmla="*/ 257 h 340"/>
                <a:gd name="T56" fmla="*/ 44 w 286"/>
                <a:gd name="T57" fmla="*/ 255 h 340"/>
                <a:gd name="T58" fmla="*/ 66 w 286"/>
                <a:gd name="T59" fmla="*/ 266 h 340"/>
                <a:gd name="T60" fmla="*/ 77 w 286"/>
                <a:gd name="T61" fmla="*/ 259 h 340"/>
                <a:gd name="T62" fmla="*/ 91 w 286"/>
                <a:gd name="T63" fmla="*/ 260 h 340"/>
                <a:gd name="T64" fmla="*/ 108 w 286"/>
                <a:gd name="T65" fmla="*/ 259 h 340"/>
                <a:gd name="T66" fmla="*/ 121 w 286"/>
                <a:gd name="T67" fmla="*/ 255 h 340"/>
                <a:gd name="T68" fmla="*/ 131 w 286"/>
                <a:gd name="T69" fmla="*/ 272 h 340"/>
                <a:gd name="T70" fmla="*/ 157 w 286"/>
                <a:gd name="T71" fmla="*/ 276 h 340"/>
                <a:gd name="T72" fmla="*/ 175 w 286"/>
                <a:gd name="T73" fmla="*/ 288 h 340"/>
                <a:gd name="T74" fmla="*/ 183 w 286"/>
                <a:gd name="T75" fmla="*/ 299 h 340"/>
                <a:gd name="T76" fmla="*/ 180 w 286"/>
                <a:gd name="T77" fmla="*/ 306 h 340"/>
                <a:gd name="T78" fmla="*/ 168 w 286"/>
                <a:gd name="T79" fmla="*/ 329 h 340"/>
                <a:gd name="T80" fmla="*/ 178 w 286"/>
                <a:gd name="T81" fmla="*/ 337 h 340"/>
                <a:gd name="T82" fmla="*/ 194 w 286"/>
                <a:gd name="T83" fmla="*/ 336 h 340"/>
                <a:gd name="T84" fmla="*/ 200 w 286"/>
                <a:gd name="T85" fmla="*/ 323 h 340"/>
                <a:gd name="T86" fmla="*/ 192 w 286"/>
                <a:gd name="T87" fmla="*/ 312 h 340"/>
                <a:gd name="T88" fmla="*/ 192 w 286"/>
                <a:gd name="T89" fmla="*/ 305 h 340"/>
                <a:gd name="T90" fmla="*/ 200 w 286"/>
                <a:gd name="T91" fmla="*/ 285 h 340"/>
                <a:gd name="T92" fmla="*/ 211 w 286"/>
                <a:gd name="T93" fmla="*/ 257 h 340"/>
                <a:gd name="T94" fmla="*/ 195 w 286"/>
                <a:gd name="T95" fmla="*/ 223 h 340"/>
                <a:gd name="T96" fmla="*/ 197 w 286"/>
                <a:gd name="T97" fmla="*/ 211 h 340"/>
                <a:gd name="T98" fmla="*/ 214 w 286"/>
                <a:gd name="T99" fmla="*/ 208 h 340"/>
                <a:gd name="T100" fmla="*/ 231 w 286"/>
                <a:gd name="T101" fmla="*/ 209 h 340"/>
                <a:gd name="T102" fmla="*/ 255 w 286"/>
                <a:gd name="T103" fmla="*/ 192 h 340"/>
                <a:gd name="T104" fmla="*/ 252 w 286"/>
                <a:gd name="T105" fmla="*/ 178 h 340"/>
                <a:gd name="T106" fmla="*/ 272 w 286"/>
                <a:gd name="T107" fmla="*/ 162 h 340"/>
                <a:gd name="T108" fmla="*/ 263 w 286"/>
                <a:gd name="T109" fmla="*/ 138 h 340"/>
                <a:gd name="T110" fmla="*/ 249 w 286"/>
                <a:gd name="T111" fmla="*/ 120 h 340"/>
                <a:gd name="T112" fmla="*/ 274 w 286"/>
                <a:gd name="T113" fmla="*/ 112 h 340"/>
                <a:gd name="T114" fmla="*/ 283 w 286"/>
                <a:gd name="T115" fmla="*/ 52 h 340"/>
                <a:gd name="T116" fmla="*/ 169 w 286"/>
                <a:gd name="T117" fmla="*/ 12 h 340"/>
                <a:gd name="T118" fmla="*/ 208 w 286"/>
                <a:gd name="T119" fmla="*/ 8 h 340"/>
                <a:gd name="T120" fmla="*/ 231 w 286"/>
                <a:gd name="T121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6" h="340">
                  <a:moveTo>
                    <a:pt x="61" y="265"/>
                  </a:moveTo>
                  <a:lnTo>
                    <a:pt x="60" y="265"/>
                  </a:lnTo>
                  <a:lnTo>
                    <a:pt x="60" y="268"/>
                  </a:lnTo>
                  <a:lnTo>
                    <a:pt x="57" y="268"/>
                  </a:lnTo>
                  <a:lnTo>
                    <a:pt x="57" y="266"/>
                  </a:lnTo>
                  <a:lnTo>
                    <a:pt x="55" y="266"/>
                  </a:lnTo>
                  <a:lnTo>
                    <a:pt x="54" y="266"/>
                  </a:lnTo>
                  <a:lnTo>
                    <a:pt x="52" y="266"/>
                  </a:lnTo>
                  <a:lnTo>
                    <a:pt x="52" y="265"/>
                  </a:lnTo>
                  <a:lnTo>
                    <a:pt x="51" y="263"/>
                  </a:lnTo>
                  <a:lnTo>
                    <a:pt x="51" y="263"/>
                  </a:lnTo>
                  <a:lnTo>
                    <a:pt x="49" y="262"/>
                  </a:lnTo>
                  <a:lnTo>
                    <a:pt x="47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4" y="265"/>
                  </a:lnTo>
                  <a:lnTo>
                    <a:pt x="44" y="266"/>
                  </a:lnTo>
                  <a:lnTo>
                    <a:pt x="37" y="269"/>
                  </a:lnTo>
                  <a:lnTo>
                    <a:pt x="35" y="269"/>
                  </a:lnTo>
                  <a:lnTo>
                    <a:pt x="32" y="268"/>
                  </a:lnTo>
                  <a:lnTo>
                    <a:pt x="29" y="268"/>
                  </a:lnTo>
                  <a:lnTo>
                    <a:pt x="27" y="268"/>
                  </a:lnTo>
                  <a:lnTo>
                    <a:pt x="26" y="266"/>
                  </a:lnTo>
                  <a:lnTo>
                    <a:pt x="18" y="263"/>
                  </a:lnTo>
                  <a:lnTo>
                    <a:pt x="14" y="260"/>
                  </a:lnTo>
                  <a:lnTo>
                    <a:pt x="12" y="260"/>
                  </a:lnTo>
                  <a:lnTo>
                    <a:pt x="11" y="262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9"/>
                  </a:lnTo>
                  <a:lnTo>
                    <a:pt x="0" y="272"/>
                  </a:lnTo>
                  <a:lnTo>
                    <a:pt x="0" y="276"/>
                  </a:lnTo>
                  <a:lnTo>
                    <a:pt x="0" y="279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2"/>
                  </a:lnTo>
                  <a:lnTo>
                    <a:pt x="7" y="282"/>
                  </a:lnTo>
                  <a:lnTo>
                    <a:pt x="11" y="282"/>
                  </a:lnTo>
                  <a:lnTo>
                    <a:pt x="11" y="280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7" y="276"/>
                  </a:lnTo>
                  <a:lnTo>
                    <a:pt x="18" y="276"/>
                  </a:lnTo>
                  <a:lnTo>
                    <a:pt x="20" y="276"/>
                  </a:lnTo>
                  <a:lnTo>
                    <a:pt x="29" y="279"/>
                  </a:lnTo>
                  <a:lnTo>
                    <a:pt x="31" y="280"/>
                  </a:lnTo>
                  <a:lnTo>
                    <a:pt x="31" y="282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32" y="285"/>
                  </a:lnTo>
                  <a:lnTo>
                    <a:pt x="34" y="285"/>
                  </a:lnTo>
                  <a:lnTo>
                    <a:pt x="41" y="285"/>
                  </a:lnTo>
                  <a:lnTo>
                    <a:pt x="44" y="285"/>
                  </a:lnTo>
                  <a:lnTo>
                    <a:pt x="47" y="282"/>
                  </a:lnTo>
                  <a:lnTo>
                    <a:pt x="57" y="277"/>
                  </a:lnTo>
                  <a:lnTo>
                    <a:pt x="60" y="274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3" y="265"/>
                  </a:lnTo>
                  <a:lnTo>
                    <a:pt x="61" y="265"/>
                  </a:lnTo>
                  <a:close/>
                  <a:moveTo>
                    <a:pt x="26" y="229"/>
                  </a:moveTo>
                  <a:lnTo>
                    <a:pt x="31" y="229"/>
                  </a:lnTo>
                  <a:lnTo>
                    <a:pt x="31" y="229"/>
                  </a:lnTo>
                  <a:lnTo>
                    <a:pt x="32" y="226"/>
                  </a:lnTo>
                  <a:lnTo>
                    <a:pt x="34" y="226"/>
                  </a:lnTo>
                  <a:lnTo>
                    <a:pt x="34" y="228"/>
                  </a:lnTo>
                  <a:lnTo>
                    <a:pt x="34" y="228"/>
                  </a:lnTo>
                  <a:lnTo>
                    <a:pt x="35" y="228"/>
                  </a:lnTo>
                  <a:lnTo>
                    <a:pt x="38" y="229"/>
                  </a:lnTo>
                  <a:lnTo>
                    <a:pt x="38" y="231"/>
                  </a:lnTo>
                  <a:lnTo>
                    <a:pt x="40" y="232"/>
                  </a:lnTo>
                  <a:lnTo>
                    <a:pt x="40" y="234"/>
                  </a:lnTo>
                  <a:lnTo>
                    <a:pt x="41" y="234"/>
                  </a:lnTo>
                  <a:lnTo>
                    <a:pt x="44" y="235"/>
                  </a:lnTo>
                  <a:lnTo>
                    <a:pt x="46" y="235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4" y="229"/>
                  </a:lnTo>
                  <a:lnTo>
                    <a:pt x="51" y="228"/>
                  </a:lnTo>
                  <a:lnTo>
                    <a:pt x="49" y="228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6" y="223"/>
                  </a:lnTo>
                  <a:lnTo>
                    <a:pt x="44" y="222"/>
                  </a:lnTo>
                  <a:lnTo>
                    <a:pt x="43" y="222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4" y="220"/>
                  </a:lnTo>
                  <a:lnTo>
                    <a:pt x="34" y="222"/>
                  </a:lnTo>
                  <a:lnTo>
                    <a:pt x="27" y="222"/>
                  </a:lnTo>
                  <a:lnTo>
                    <a:pt x="24" y="223"/>
                  </a:lnTo>
                  <a:lnTo>
                    <a:pt x="24" y="228"/>
                  </a:lnTo>
                  <a:lnTo>
                    <a:pt x="24" y="229"/>
                  </a:lnTo>
                  <a:lnTo>
                    <a:pt x="26" y="229"/>
                  </a:lnTo>
                  <a:close/>
                  <a:moveTo>
                    <a:pt x="104" y="69"/>
                  </a:moveTo>
                  <a:lnTo>
                    <a:pt x="106" y="69"/>
                  </a:lnTo>
                  <a:lnTo>
                    <a:pt x="109" y="65"/>
                  </a:lnTo>
                  <a:lnTo>
                    <a:pt x="112" y="63"/>
                  </a:lnTo>
                  <a:lnTo>
                    <a:pt x="114" y="58"/>
                  </a:lnTo>
                  <a:lnTo>
                    <a:pt x="115" y="57"/>
                  </a:lnTo>
                  <a:lnTo>
                    <a:pt x="115" y="55"/>
                  </a:lnTo>
                  <a:lnTo>
                    <a:pt x="114" y="55"/>
                  </a:lnTo>
                  <a:lnTo>
                    <a:pt x="114" y="55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1" y="46"/>
                  </a:lnTo>
                  <a:lnTo>
                    <a:pt x="109" y="49"/>
                  </a:lnTo>
                  <a:lnTo>
                    <a:pt x="108" y="52"/>
                  </a:lnTo>
                  <a:lnTo>
                    <a:pt x="104" y="55"/>
                  </a:lnTo>
                  <a:lnTo>
                    <a:pt x="101" y="58"/>
                  </a:lnTo>
                  <a:lnTo>
                    <a:pt x="100" y="61"/>
                  </a:lnTo>
                  <a:lnTo>
                    <a:pt x="100" y="65"/>
                  </a:lnTo>
                  <a:lnTo>
                    <a:pt x="101" y="68"/>
                  </a:lnTo>
                  <a:lnTo>
                    <a:pt x="104" y="69"/>
                  </a:lnTo>
                  <a:close/>
                  <a:moveTo>
                    <a:pt x="117" y="40"/>
                  </a:moveTo>
                  <a:lnTo>
                    <a:pt x="118" y="38"/>
                  </a:lnTo>
                  <a:lnTo>
                    <a:pt x="124" y="32"/>
                  </a:lnTo>
                  <a:lnTo>
                    <a:pt x="126" y="32"/>
                  </a:lnTo>
                  <a:lnTo>
                    <a:pt x="128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6" y="29"/>
                  </a:lnTo>
                  <a:lnTo>
                    <a:pt x="121" y="32"/>
                  </a:lnTo>
                  <a:lnTo>
                    <a:pt x="115" y="37"/>
                  </a:lnTo>
                  <a:lnTo>
                    <a:pt x="112" y="41"/>
                  </a:lnTo>
                  <a:lnTo>
                    <a:pt x="115" y="43"/>
                  </a:lnTo>
                  <a:lnTo>
                    <a:pt x="117" y="40"/>
                  </a:lnTo>
                  <a:close/>
                  <a:moveTo>
                    <a:pt x="137" y="25"/>
                  </a:moveTo>
                  <a:lnTo>
                    <a:pt x="148" y="20"/>
                  </a:lnTo>
                  <a:lnTo>
                    <a:pt x="151" y="20"/>
                  </a:lnTo>
                  <a:lnTo>
                    <a:pt x="154" y="18"/>
                  </a:lnTo>
                  <a:lnTo>
                    <a:pt x="157" y="18"/>
                  </a:lnTo>
                  <a:lnTo>
                    <a:pt x="158" y="17"/>
                  </a:lnTo>
                  <a:lnTo>
                    <a:pt x="157" y="17"/>
                  </a:lnTo>
                  <a:lnTo>
                    <a:pt x="157" y="15"/>
                  </a:lnTo>
                  <a:lnTo>
                    <a:pt x="157" y="15"/>
                  </a:lnTo>
                  <a:lnTo>
                    <a:pt x="161" y="15"/>
                  </a:lnTo>
                  <a:lnTo>
                    <a:pt x="163" y="15"/>
                  </a:lnTo>
                  <a:lnTo>
                    <a:pt x="166" y="12"/>
                  </a:lnTo>
                  <a:lnTo>
                    <a:pt x="154" y="14"/>
                  </a:lnTo>
                  <a:lnTo>
                    <a:pt x="154" y="15"/>
                  </a:lnTo>
                  <a:lnTo>
                    <a:pt x="152" y="17"/>
                  </a:lnTo>
                  <a:lnTo>
                    <a:pt x="141" y="18"/>
                  </a:lnTo>
                  <a:lnTo>
                    <a:pt x="140" y="18"/>
                  </a:lnTo>
                  <a:lnTo>
                    <a:pt x="140" y="20"/>
                  </a:lnTo>
                  <a:lnTo>
                    <a:pt x="135" y="21"/>
                  </a:lnTo>
                  <a:lnTo>
                    <a:pt x="134" y="23"/>
                  </a:lnTo>
                  <a:lnTo>
                    <a:pt x="135" y="25"/>
                  </a:lnTo>
                  <a:lnTo>
                    <a:pt x="137" y="25"/>
                  </a:lnTo>
                  <a:close/>
                  <a:moveTo>
                    <a:pt x="285" y="48"/>
                  </a:moveTo>
                  <a:lnTo>
                    <a:pt x="285" y="46"/>
                  </a:lnTo>
                  <a:lnTo>
                    <a:pt x="286" y="43"/>
                  </a:lnTo>
                  <a:lnTo>
                    <a:pt x="286" y="41"/>
                  </a:lnTo>
                  <a:lnTo>
                    <a:pt x="285" y="38"/>
                  </a:lnTo>
                  <a:lnTo>
                    <a:pt x="285" y="38"/>
                  </a:lnTo>
                  <a:lnTo>
                    <a:pt x="279" y="37"/>
                  </a:lnTo>
                  <a:lnTo>
                    <a:pt x="277" y="35"/>
                  </a:lnTo>
                  <a:lnTo>
                    <a:pt x="277" y="34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1"/>
                  </a:lnTo>
                  <a:lnTo>
                    <a:pt x="277" y="31"/>
                  </a:lnTo>
                  <a:lnTo>
                    <a:pt x="277" y="31"/>
                  </a:lnTo>
                  <a:lnTo>
                    <a:pt x="275" y="31"/>
                  </a:lnTo>
                  <a:lnTo>
                    <a:pt x="275" y="31"/>
                  </a:lnTo>
                  <a:lnTo>
                    <a:pt x="274" y="31"/>
                  </a:lnTo>
                  <a:lnTo>
                    <a:pt x="274" y="31"/>
                  </a:lnTo>
                  <a:lnTo>
                    <a:pt x="272" y="31"/>
                  </a:lnTo>
                  <a:lnTo>
                    <a:pt x="269" y="29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6" y="26"/>
                  </a:lnTo>
                  <a:lnTo>
                    <a:pt x="266" y="26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2" y="15"/>
                  </a:lnTo>
                  <a:lnTo>
                    <a:pt x="260" y="14"/>
                  </a:lnTo>
                  <a:lnTo>
                    <a:pt x="258" y="12"/>
                  </a:lnTo>
                  <a:lnTo>
                    <a:pt x="251" y="11"/>
                  </a:lnTo>
                  <a:lnTo>
                    <a:pt x="234" y="14"/>
                  </a:lnTo>
                  <a:lnTo>
                    <a:pt x="222" y="17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18" y="18"/>
                  </a:lnTo>
                  <a:lnTo>
                    <a:pt x="217" y="18"/>
                  </a:lnTo>
                  <a:lnTo>
                    <a:pt x="217" y="17"/>
                  </a:lnTo>
                  <a:lnTo>
                    <a:pt x="211" y="17"/>
                  </a:lnTo>
                  <a:lnTo>
                    <a:pt x="201" y="18"/>
                  </a:lnTo>
                  <a:lnTo>
                    <a:pt x="195" y="18"/>
                  </a:lnTo>
                  <a:lnTo>
                    <a:pt x="189" y="21"/>
                  </a:lnTo>
                  <a:lnTo>
                    <a:pt x="188" y="21"/>
                  </a:lnTo>
                  <a:lnTo>
                    <a:pt x="186" y="23"/>
                  </a:lnTo>
                  <a:lnTo>
                    <a:pt x="174" y="28"/>
                  </a:lnTo>
                  <a:lnTo>
                    <a:pt x="171" y="31"/>
                  </a:lnTo>
                  <a:lnTo>
                    <a:pt x="168" y="31"/>
                  </a:lnTo>
                  <a:lnTo>
                    <a:pt x="166" y="31"/>
                  </a:lnTo>
                  <a:lnTo>
                    <a:pt x="165" y="32"/>
                  </a:lnTo>
                  <a:lnTo>
                    <a:pt x="163" y="34"/>
                  </a:lnTo>
                  <a:lnTo>
                    <a:pt x="161" y="35"/>
                  </a:lnTo>
                  <a:lnTo>
                    <a:pt x="160" y="37"/>
                  </a:lnTo>
                  <a:lnTo>
                    <a:pt x="158" y="38"/>
                  </a:lnTo>
                  <a:lnTo>
                    <a:pt x="155" y="41"/>
                  </a:lnTo>
                  <a:lnTo>
                    <a:pt x="154" y="45"/>
                  </a:lnTo>
                  <a:lnTo>
                    <a:pt x="152" y="54"/>
                  </a:lnTo>
                  <a:lnTo>
                    <a:pt x="151" y="57"/>
                  </a:lnTo>
                  <a:lnTo>
                    <a:pt x="149" y="57"/>
                  </a:lnTo>
                  <a:lnTo>
                    <a:pt x="145" y="58"/>
                  </a:lnTo>
                  <a:lnTo>
                    <a:pt x="145" y="60"/>
                  </a:lnTo>
                  <a:lnTo>
                    <a:pt x="143" y="61"/>
                  </a:lnTo>
                  <a:lnTo>
                    <a:pt x="128" y="74"/>
                  </a:lnTo>
                  <a:lnTo>
                    <a:pt x="124" y="75"/>
                  </a:lnTo>
                  <a:lnTo>
                    <a:pt x="121" y="75"/>
                  </a:lnTo>
                  <a:lnTo>
                    <a:pt x="120" y="77"/>
                  </a:lnTo>
                  <a:lnTo>
                    <a:pt x="117" y="80"/>
                  </a:lnTo>
                  <a:lnTo>
                    <a:pt x="115" y="80"/>
                  </a:lnTo>
                  <a:lnTo>
                    <a:pt x="112" y="80"/>
                  </a:lnTo>
                  <a:lnTo>
                    <a:pt x="109" y="80"/>
                  </a:lnTo>
                  <a:lnTo>
                    <a:pt x="108" y="77"/>
                  </a:lnTo>
                  <a:lnTo>
                    <a:pt x="109" y="74"/>
                  </a:lnTo>
                  <a:lnTo>
                    <a:pt x="108" y="72"/>
                  </a:lnTo>
                  <a:lnTo>
                    <a:pt x="108" y="74"/>
                  </a:lnTo>
                  <a:lnTo>
                    <a:pt x="103" y="72"/>
                  </a:lnTo>
                  <a:lnTo>
                    <a:pt x="101" y="74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81"/>
                  </a:lnTo>
                  <a:lnTo>
                    <a:pt x="100" y="86"/>
                  </a:lnTo>
                  <a:lnTo>
                    <a:pt x="97" y="94"/>
                  </a:lnTo>
                  <a:lnTo>
                    <a:pt x="97" y="97"/>
                  </a:lnTo>
                  <a:lnTo>
                    <a:pt x="97" y="100"/>
                  </a:lnTo>
                  <a:lnTo>
                    <a:pt x="95" y="105"/>
                  </a:lnTo>
                  <a:lnTo>
                    <a:pt x="92" y="129"/>
                  </a:lnTo>
                  <a:lnTo>
                    <a:pt x="91" y="132"/>
                  </a:lnTo>
                  <a:lnTo>
                    <a:pt x="91" y="134"/>
                  </a:lnTo>
                  <a:lnTo>
                    <a:pt x="89" y="137"/>
                  </a:lnTo>
                  <a:lnTo>
                    <a:pt x="86" y="149"/>
                  </a:lnTo>
                  <a:lnTo>
                    <a:pt x="78" y="163"/>
                  </a:lnTo>
                  <a:lnTo>
                    <a:pt x="69" y="177"/>
                  </a:lnTo>
                  <a:lnTo>
                    <a:pt x="58" y="189"/>
                  </a:lnTo>
                  <a:lnTo>
                    <a:pt x="55" y="191"/>
                  </a:lnTo>
                  <a:lnTo>
                    <a:pt x="52" y="192"/>
                  </a:lnTo>
                  <a:lnTo>
                    <a:pt x="49" y="191"/>
                  </a:lnTo>
                  <a:lnTo>
                    <a:pt x="49" y="192"/>
                  </a:lnTo>
                  <a:lnTo>
                    <a:pt x="47" y="192"/>
                  </a:lnTo>
                  <a:lnTo>
                    <a:pt x="49" y="195"/>
                  </a:lnTo>
                  <a:lnTo>
                    <a:pt x="51" y="200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3"/>
                  </a:lnTo>
                  <a:lnTo>
                    <a:pt x="49" y="205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1" y="206"/>
                  </a:lnTo>
                  <a:lnTo>
                    <a:pt x="52" y="208"/>
                  </a:lnTo>
                  <a:lnTo>
                    <a:pt x="54" y="209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49" y="209"/>
                  </a:lnTo>
                  <a:lnTo>
                    <a:pt x="46" y="209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0" y="211"/>
                  </a:lnTo>
                  <a:lnTo>
                    <a:pt x="37" y="212"/>
                  </a:lnTo>
                  <a:lnTo>
                    <a:pt x="38" y="215"/>
                  </a:lnTo>
                  <a:lnTo>
                    <a:pt x="38" y="215"/>
                  </a:lnTo>
                  <a:lnTo>
                    <a:pt x="40" y="215"/>
                  </a:lnTo>
                  <a:lnTo>
                    <a:pt x="40" y="215"/>
                  </a:lnTo>
                  <a:lnTo>
                    <a:pt x="41" y="215"/>
                  </a:lnTo>
                  <a:lnTo>
                    <a:pt x="43" y="215"/>
                  </a:lnTo>
                  <a:lnTo>
                    <a:pt x="44" y="214"/>
                  </a:lnTo>
                  <a:lnTo>
                    <a:pt x="46" y="214"/>
                  </a:lnTo>
                  <a:lnTo>
                    <a:pt x="47" y="215"/>
                  </a:lnTo>
                  <a:lnTo>
                    <a:pt x="51" y="217"/>
                  </a:lnTo>
                  <a:lnTo>
                    <a:pt x="51" y="219"/>
                  </a:lnTo>
                  <a:lnTo>
                    <a:pt x="52" y="223"/>
                  </a:lnTo>
                  <a:lnTo>
                    <a:pt x="52" y="225"/>
                  </a:lnTo>
                  <a:lnTo>
                    <a:pt x="58" y="226"/>
                  </a:lnTo>
                  <a:lnTo>
                    <a:pt x="60" y="228"/>
                  </a:lnTo>
                  <a:lnTo>
                    <a:pt x="61" y="228"/>
                  </a:lnTo>
                  <a:lnTo>
                    <a:pt x="58" y="228"/>
                  </a:lnTo>
                  <a:lnTo>
                    <a:pt x="57" y="229"/>
                  </a:lnTo>
                  <a:lnTo>
                    <a:pt x="55" y="229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4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58" y="235"/>
                  </a:lnTo>
                  <a:lnTo>
                    <a:pt x="58" y="237"/>
                  </a:lnTo>
                  <a:lnTo>
                    <a:pt x="61" y="237"/>
                  </a:lnTo>
                  <a:lnTo>
                    <a:pt x="61" y="237"/>
                  </a:lnTo>
                  <a:lnTo>
                    <a:pt x="63" y="237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1" y="239"/>
                  </a:lnTo>
                  <a:lnTo>
                    <a:pt x="60" y="237"/>
                  </a:lnTo>
                  <a:lnTo>
                    <a:pt x="52" y="237"/>
                  </a:lnTo>
                  <a:lnTo>
                    <a:pt x="51" y="239"/>
                  </a:lnTo>
                  <a:lnTo>
                    <a:pt x="46" y="240"/>
                  </a:lnTo>
                  <a:lnTo>
                    <a:pt x="52" y="245"/>
                  </a:lnTo>
                  <a:lnTo>
                    <a:pt x="54" y="246"/>
                  </a:lnTo>
                  <a:lnTo>
                    <a:pt x="55" y="246"/>
                  </a:lnTo>
                  <a:lnTo>
                    <a:pt x="58" y="246"/>
                  </a:lnTo>
                  <a:lnTo>
                    <a:pt x="58" y="246"/>
                  </a:lnTo>
                  <a:lnTo>
                    <a:pt x="61" y="248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7" y="249"/>
                  </a:lnTo>
                  <a:lnTo>
                    <a:pt x="69" y="251"/>
                  </a:lnTo>
                  <a:lnTo>
                    <a:pt x="69" y="254"/>
                  </a:lnTo>
                  <a:lnTo>
                    <a:pt x="69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4" y="257"/>
                  </a:lnTo>
                  <a:lnTo>
                    <a:pt x="63" y="257"/>
                  </a:lnTo>
                  <a:lnTo>
                    <a:pt x="61" y="257"/>
                  </a:lnTo>
                  <a:lnTo>
                    <a:pt x="57" y="257"/>
                  </a:lnTo>
                  <a:lnTo>
                    <a:pt x="55" y="257"/>
                  </a:lnTo>
                  <a:lnTo>
                    <a:pt x="54" y="255"/>
                  </a:lnTo>
                  <a:lnTo>
                    <a:pt x="52" y="251"/>
                  </a:lnTo>
                  <a:lnTo>
                    <a:pt x="52" y="249"/>
                  </a:lnTo>
                  <a:lnTo>
                    <a:pt x="49" y="246"/>
                  </a:lnTo>
                  <a:lnTo>
                    <a:pt x="44" y="245"/>
                  </a:lnTo>
                  <a:lnTo>
                    <a:pt x="38" y="245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38" y="239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15" y="239"/>
                  </a:lnTo>
                  <a:lnTo>
                    <a:pt x="7" y="243"/>
                  </a:lnTo>
                  <a:lnTo>
                    <a:pt x="6" y="245"/>
                  </a:lnTo>
                  <a:lnTo>
                    <a:pt x="6" y="246"/>
                  </a:lnTo>
                  <a:lnTo>
                    <a:pt x="7" y="248"/>
                  </a:lnTo>
                  <a:lnTo>
                    <a:pt x="11" y="251"/>
                  </a:lnTo>
                  <a:lnTo>
                    <a:pt x="11" y="252"/>
                  </a:lnTo>
                  <a:lnTo>
                    <a:pt x="12" y="254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8" y="257"/>
                  </a:lnTo>
                  <a:lnTo>
                    <a:pt x="20" y="257"/>
                  </a:lnTo>
                  <a:lnTo>
                    <a:pt x="23" y="255"/>
                  </a:lnTo>
                  <a:lnTo>
                    <a:pt x="24" y="255"/>
                  </a:lnTo>
                  <a:lnTo>
                    <a:pt x="27" y="259"/>
                  </a:lnTo>
                  <a:lnTo>
                    <a:pt x="32" y="262"/>
                  </a:lnTo>
                  <a:lnTo>
                    <a:pt x="34" y="263"/>
                  </a:lnTo>
                  <a:lnTo>
                    <a:pt x="35" y="263"/>
                  </a:lnTo>
                  <a:lnTo>
                    <a:pt x="35" y="263"/>
                  </a:lnTo>
                  <a:lnTo>
                    <a:pt x="37" y="263"/>
                  </a:lnTo>
                  <a:lnTo>
                    <a:pt x="38" y="262"/>
                  </a:lnTo>
                  <a:lnTo>
                    <a:pt x="40" y="262"/>
                  </a:lnTo>
                  <a:lnTo>
                    <a:pt x="41" y="260"/>
                  </a:lnTo>
                  <a:lnTo>
                    <a:pt x="43" y="257"/>
                  </a:lnTo>
                  <a:lnTo>
                    <a:pt x="44" y="255"/>
                  </a:lnTo>
                  <a:lnTo>
                    <a:pt x="47" y="255"/>
                  </a:lnTo>
                  <a:lnTo>
                    <a:pt x="49" y="257"/>
                  </a:lnTo>
                  <a:lnTo>
                    <a:pt x="52" y="260"/>
                  </a:lnTo>
                  <a:lnTo>
                    <a:pt x="54" y="262"/>
                  </a:lnTo>
                  <a:lnTo>
                    <a:pt x="55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0"/>
                  </a:lnTo>
                  <a:lnTo>
                    <a:pt x="66" y="260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2" y="268"/>
                  </a:lnTo>
                  <a:lnTo>
                    <a:pt x="74" y="268"/>
                  </a:lnTo>
                  <a:lnTo>
                    <a:pt x="77" y="268"/>
                  </a:lnTo>
                  <a:lnTo>
                    <a:pt x="78" y="268"/>
                  </a:lnTo>
                  <a:lnTo>
                    <a:pt x="78" y="265"/>
                  </a:lnTo>
                  <a:lnTo>
                    <a:pt x="78" y="265"/>
                  </a:lnTo>
                  <a:lnTo>
                    <a:pt x="77" y="262"/>
                  </a:lnTo>
                  <a:lnTo>
                    <a:pt x="75" y="262"/>
                  </a:lnTo>
                  <a:lnTo>
                    <a:pt x="75" y="260"/>
                  </a:lnTo>
                  <a:lnTo>
                    <a:pt x="77" y="259"/>
                  </a:lnTo>
                  <a:lnTo>
                    <a:pt x="77" y="259"/>
                  </a:lnTo>
                  <a:lnTo>
                    <a:pt x="75" y="257"/>
                  </a:lnTo>
                  <a:lnTo>
                    <a:pt x="80" y="255"/>
                  </a:lnTo>
                  <a:lnTo>
                    <a:pt x="83" y="254"/>
                  </a:lnTo>
                  <a:lnTo>
                    <a:pt x="86" y="252"/>
                  </a:lnTo>
                  <a:lnTo>
                    <a:pt x="86" y="254"/>
                  </a:lnTo>
                  <a:lnTo>
                    <a:pt x="88" y="254"/>
                  </a:lnTo>
                  <a:lnTo>
                    <a:pt x="88" y="257"/>
                  </a:lnTo>
                  <a:lnTo>
                    <a:pt x="86" y="257"/>
                  </a:lnTo>
                  <a:lnTo>
                    <a:pt x="86" y="259"/>
                  </a:lnTo>
                  <a:lnTo>
                    <a:pt x="88" y="260"/>
                  </a:lnTo>
                  <a:lnTo>
                    <a:pt x="89" y="260"/>
                  </a:lnTo>
                  <a:lnTo>
                    <a:pt x="91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5" y="260"/>
                  </a:lnTo>
                  <a:lnTo>
                    <a:pt x="97" y="259"/>
                  </a:lnTo>
                  <a:lnTo>
                    <a:pt x="101" y="252"/>
                  </a:lnTo>
                  <a:lnTo>
                    <a:pt x="104" y="251"/>
                  </a:lnTo>
                  <a:lnTo>
                    <a:pt x="106" y="251"/>
                  </a:lnTo>
                  <a:lnTo>
                    <a:pt x="106" y="251"/>
                  </a:lnTo>
                  <a:lnTo>
                    <a:pt x="108" y="252"/>
                  </a:lnTo>
                  <a:lnTo>
                    <a:pt x="109" y="254"/>
                  </a:lnTo>
                  <a:lnTo>
                    <a:pt x="109" y="255"/>
                  </a:lnTo>
                  <a:lnTo>
                    <a:pt x="109" y="257"/>
                  </a:lnTo>
                  <a:lnTo>
                    <a:pt x="108" y="259"/>
                  </a:lnTo>
                  <a:lnTo>
                    <a:pt x="109" y="260"/>
                  </a:lnTo>
                  <a:lnTo>
                    <a:pt x="106" y="259"/>
                  </a:lnTo>
                  <a:lnTo>
                    <a:pt x="104" y="260"/>
                  </a:lnTo>
                  <a:lnTo>
                    <a:pt x="104" y="260"/>
                  </a:lnTo>
                  <a:lnTo>
                    <a:pt x="106" y="262"/>
                  </a:lnTo>
                  <a:lnTo>
                    <a:pt x="111" y="262"/>
                  </a:lnTo>
                  <a:lnTo>
                    <a:pt x="112" y="262"/>
                  </a:lnTo>
                  <a:lnTo>
                    <a:pt x="115" y="263"/>
                  </a:lnTo>
                  <a:lnTo>
                    <a:pt x="117" y="263"/>
                  </a:lnTo>
                  <a:lnTo>
                    <a:pt x="118" y="262"/>
                  </a:lnTo>
                  <a:lnTo>
                    <a:pt x="120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23" y="254"/>
                  </a:lnTo>
                  <a:lnTo>
                    <a:pt x="123" y="254"/>
                  </a:lnTo>
                  <a:lnTo>
                    <a:pt x="124" y="254"/>
                  </a:lnTo>
                  <a:lnTo>
                    <a:pt x="124" y="254"/>
                  </a:lnTo>
                  <a:lnTo>
                    <a:pt x="126" y="255"/>
                  </a:lnTo>
                  <a:lnTo>
                    <a:pt x="128" y="257"/>
                  </a:lnTo>
                  <a:lnTo>
                    <a:pt x="128" y="260"/>
                  </a:lnTo>
                  <a:lnTo>
                    <a:pt x="126" y="262"/>
                  </a:lnTo>
                  <a:lnTo>
                    <a:pt x="126" y="265"/>
                  </a:lnTo>
                  <a:lnTo>
                    <a:pt x="128" y="265"/>
                  </a:lnTo>
                  <a:lnTo>
                    <a:pt x="129" y="268"/>
                  </a:lnTo>
                  <a:lnTo>
                    <a:pt x="131" y="269"/>
                  </a:lnTo>
                  <a:lnTo>
                    <a:pt x="131" y="272"/>
                  </a:lnTo>
                  <a:lnTo>
                    <a:pt x="131" y="272"/>
                  </a:lnTo>
                  <a:lnTo>
                    <a:pt x="132" y="274"/>
                  </a:lnTo>
                  <a:lnTo>
                    <a:pt x="135" y="272"/>
                  </a:lnTo>
                  <a:lnTo>
                    <a:pt x="137" y="274"/>
                  </a:lnTo>
                  <a:lnTo>
                    <a:pt x="138" y="276"/>
                  </a:lnTo>
                  <a:lnTo>
                    <a:pt x="138" y="279"/>
                  </a:lnTo>
                  <a:lnTo>
                    <a:pt x="140" y="280"/>
                  </a:lnTo>
                  <a:lnTo>
                    <a:pt x="140" y="280"/>
                  </a:lnTo>
                  <a:lnTo>
                    <a:pt x="141" y="279"/>
                  </a:lnTo>
                  <a:lnTo>
                    <a:pt x="151" y="279"/>
                  </a:lnTo>
                  <a:lnTo>
                    <a:pt x="152" y="279"/>
                  </a:lnTo>
                  <a:lnTo>
                    <a:pt x="155" y="277"/>
                  </a:lnTo>
                  <a:lnTo>
                    <a:pt x="157" y="276"/>
                  </a:lnTo>
                  <a:lnTo>
                    <a:pt x="158" y="276"/>
                  </a:lnTo>
                  <a:lnTo>
                    <a:pt x="160" y="277"/>
                  </a:lnTo>
                  <a:lnTo>
                    <a:pt x="161" y="279"/>
                  </a:lnTo>
                  <a:lnTo>
                    <a:pt x="163" y="282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lnTo>
                    <a:pt x="169" y="286"/>
                  </a:lnTo>
                  <a:lnTo>
                    <a:pt x="169" y="288"/>
                  </a:lnTo>
                  <a:lnTo>
                    <a:pt x="171" y="288"/>
                  </a:lnTo>
                  <a:lnTo>
                    <a:pt x="171" y="289"/>
                  </a:lnTo>
                  <a:lnTo>
                    <a:pt x="172" y="288"/>
                  </a:lnTo>
                  <a:lnTo>
                    <a:pt x="175" y="288"/>
                  </a:lnTo>
                  <a:lnTo>
                    <a:pt x="177" y="288"/>
                  </a:lnTo>
                  <a:lnTo>
                    <a:pt x="177" y="289"/>
                  </a:lnTo>
                  <a:lnTo>
                    <a:pt x="178" y="291"/>
                  </a:lnTo>
                  <a:lnTo>
                    <a:pt x="180" y="292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2"/>
                  </a:lnTo>
                  <a:lnTo>
                    <a:pt x="185" y="294"/>
                  </a:lnTo>
                  <a:lnTo>
                    <a:pt x="183" y="294"/>
                  </a:lnTo>
                  <a:lnTo>
                    <a:pt x="183" y="296"/>
                  </a:lnTo>
                  <a:lnTo>
                    <a:pt x="185" y="297"/>
                  </a:lnTo>
                  <a:lnTo>
                    <a:pt x="185" y="299"/>
                  </a:lnTo>
                  <a:lnTo>
                    <a:pt x="183" y="299"/>
                  </a:lnTo>
                  <a:lnTo>
                    <a:pt x="183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300"/>
                  </a:lnTo>
                  <a:lnTo>
                    <a:pt x="183" y="300"/>
                  </a:lnTo>
                  <a:lnTo>
                    <a:pt x="181" y="302"/>
                  </a:lnTo>
                  <a:lnTo>
                    <a:pt x="181" y="303"/>
                  </a:lnTo>
                  <a:lnTo>
                    <a:pt x="181" y="303"/>
                  </a:lnTo>
                  <a:lnTo>
                    <a:pt x="180" y="303"/>
                  </a:lnTo>
                  <a:lnTo>
                    <a:pt x="180" y="303"/>
                  </a:lnTo>
                  <a:lnTo>
                    <a:pt x="178" y="305"/>
                  </a:lnTo>
                  <a:lnTo>
                    <a:pt x="178" y="306"/>
                  </a:lnTo>
                  <a:lnTo>
                    <a:pt x="180" y="306"/>
                  </a:lnTo>
                  <a:lnTo>
                    <a:pt x="178" y="309"/>
                  </a:lnTo>
                  <a:lnTo>
                    <a:pt x="175" y="314"/>
                  </a:lnTo>
                  <a:lnTo>
                    <a:pt x="177" y="314"/>
                  </a:lnTo>
                  <a:lnTo>
                    <a:pt x="178" y="314"/>
                  </a:lnTo>
                  <a:lnTo>
                    <a:pt x="178" y="314"/>
                  </a:lnTo>
                  <a:lnTo>
                    <a:pt x="178" y="316"/>
                  </a:lnTo>
                  <a:lnTo>
                    <a:pt x="177" y="319"/>
                  </a:lnTo>
                  <a:lnTo>
                    <a:pt x="175" y="320"/>
                  </a:lnTo>
                  <a:lnTo>
                    <a:pt x="175" y="320"/>
                  </a:lnTo>
                  <a:lnTo>
                    <a:pt x="174" y="320"/>
                  </a:lnTo>
                  <a:lnTo>
                    <a:pt x="174" y="322"/>
                  </a:lnTo>
                  <a:lnTo>
                    <a:pt x="168" y="328"/>
                  </a:lnTo>
                  <a:lnTo>
                    <a:pt x="168" y="329"/>
                  </a:lnTo>
                  <a:lnTo>
                    <a:pt x="169" y="331"/>
                  </a:lnTo>
                  <a:lnTo>
                    <a:pt x="171" y="332"/>
                  </a:lnTo>
                  <a:lnTo>
                    <a:pt x="171" y="332"/>
                  </a:lnTo>
                  <a:lnTo>
                    <a:pt x="172" y="334"/>
                  </a:lnTo>
                  <a:lnTo>
                    <a:pt x="174" y="334"/>
                  </a:lnTo>
                  <a:lnTo>
                    <a:pt x="174" y="336"/>
                  </a:lnTo>
                  <a:lnTo>
                    <a:pt x="174" y="339"/>
                  </a:lnTo>
                  <a:lnTo>
                    <a:pt x="174" y="339"/>
                  </a:lnTo>
                  <a:lnTo>
                    <a:pt x="175" y="339"/>
                  </a:lnTo>
                  <a:lnTo>
                    <a:pt x="175" y="339"/>
                  </a:lnTo>
                  <a:lnTo>
                    <a:pt x="177" y="339"/>
                  </a:lnTo>
                  <a:lnTo>
                    <a:pt x="177" y="337"/>
                  </a:lnTo>
                  <a:lnTo>
                    <a:pt x="178" y="337"/>
                  </a:lnTo>
                  <a:lnTo>
                    <a:pt x="178" y="337"/>
                  </a:lnTo>
                  <a:lnTo>
                    <a:pt x="180" y="339"/>
                  </a:lnTo>
                  <a:lnTo>
                    <a:pt x="181" y="339"/>
                  </a:lnTo>
                  <a:lnTo>
                    <a:pt x="188" y="339"/>
                  </a:lnTo>
                  <a:lnTo>
                    <a:pt x="188" y="339"/>
                  </a:lnTo>
                  <a:lnTo>
                    <a:pt x="188" y="339"/>
                  </a:lnTo>
                  <a:lnTo>
                    <a:pt x="189" y="339"/>
                  </a:lnTo>
                  <a:lnTo>
                    <a:pt x="194" y="340"/>
                  </a:lnTo>
                  <a:lnTo>
                    <a:pt x="195" y="339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4" y="336"/>
                  </a:lnTo>
                  <a:lnTo>
                    <a:pt x="194" y="334"/>
                  </a:lnTo>
                  <a:lnTo>
                    <a:pt x="195" y="334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197" y="331"/>
                  </a:lnTo>
                  <a:lnTo>
                    <a:pt x="197" y="329"/>
                  </a:lnTo>
                  <a:lnTo>
                    <a:pt x="197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28"/>
                  </a:lnTo>
                  <a:lnTo>
                    <a:pt x="201" y="326"/>
                  </a:lnTo>
                  <a:lnTo>
                    <a:pt x="201" y="325"/>
                  </a:lnTo>
                  <a:lnTo>
                    <a:pt x="200" y="323"/>
                  </a:lnTo>
                  <a:lnTo>
                    <a:pt x="200" y="322"/>
                  </a:lnTo>
                  <a:lnTo>
                    <a:pt x="201" y="322"/>
                  </a:lnTo>
                  <a:lnTo>
                    <a:pt x="201" y="320"/>
                  </a:lnTo>
                  <a:lnTo>
                    <a:pt x="198" y="320"/>
                  </a:lnTo>
                  <a:lnTo>
                    <a:pt x="197" y="319"/>
                  </a:lnTo>
                  <a:lnTo>
                    <a:pt x="197" y="319"/>
                  </a:lnTo>
                  <a:lnTo>
                    <a:pt x="197" y="317"/>
                  </a:lnTo>
                  <a:lnTo>
                    <a:pt x="195" y="316"/>
                  </a:lnTo>
                  <a:lnTo>
                    <a:pt x="197" y="314"/>
                  </a:lnTo>
                  <a:lnTo>
                    <a:pt x="197" y="314"/>
                  </a:lnTo>
                  <a:lnTo>
                    <a:pt x="197" y="312"/>
                  </a:lnTo>
                  <a:lnTo>
                    <a:pt x="194" y="312"/>
                  </a:lnTo>
                  <a:lnTo>
                    <a:pt x="192" y="312"/>
                  </a:lnTo>
                  <a:lnTo>
                    <a:pt x="191" y="312"/>
                  </a:lnTo>
                  <a:lnTo>
                    <a:pt x="189" y="312"/>
                  </a:lnTo>
                  <a:lnTo>
                    <a:pt x="188" y="314"/>
                  </a:lnTo>
                  <a:lnTo>
                    <a:pt x="188" y="314"/>
                  </a:lnTo>
                  <a:lnTo>
                    <a:pt x="188" y="311"/>
                  </a:lnTo>
                  <a:lnTo>
                    <a:pt x="186" y="308"/>
                  </a:lnTo>
                  <a:lnTo>
                    <a:pt x="186" y="305"/>
                  </a:lnTo>
                  <a:lnTo>
                    <a:pt x="188" y="303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91" y="306"/>
                  </a:lnTo>
                  <a:lnTo>
                    <a:pt x="192" y="306"/>
                  </a:lnTo>
                  <a:lnTo>
                    <a:pt x="192" y="305"/>
                  </a:lnTo>
                  <a:lnTo>
                    <a:pt x="194" y="302"/>
                  </a:lnTo>
                  <a:lnTo>
                    <a:pt x="195" y="302"/>
                  </a:lnTo>
                  <a:lnTo>
                    <a:pt x="201" y="296"/>
                  </a:lnTo>
                  <a:lnTo>
                    <a:pt x="206" y="294"/>
                  </a:lnTo>
                  <a:lnTo>
                    <a:pt x="208" y="292"/>
                  </a:lnTo>
                  <a:lnTo>
                    <a:pt x="206" y="291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3" y="291"/>
                  </a:lnTo>
                  <a:lnTo>
                    <a:pt x="201" y="289"/>
                  </a:lnTo>
                  <a:lnTo>
                    <a:pt x="200" y="288"/>
                  </a:lnTo>
                  <a:lnTo>
                    <a:pt x="200" y="285"/>
                  </a:lnTo>
                  <a:lnTo>
                    <a:pt x="201" y="282"/>
                  </a:lnTo>
                  <a:lnTo>
                    <a:pt x="201" y="282"/>
                  </a:lnTo>
                  <a:lnTo>
                    <a:pt x="203" y="279"/>
                  </a:lnTo>
                  <a:lnTo>
                    <a:pt x="208" y="272"/>
                  </a:lnTo>
                  <a:lnTo>
                    <a:pt x="208" y="271"/>
                  </a:lnTo>
                  <a:lnTo>
                    <a:pt x="211" y="269"/>
                  </a:lnTo>
                  <a:lnTo>
                    <a:pt x="211" y="269"/>
                  </a:lnTo>
                  <a:lnTo>
                    <a:pt x="211" y="268"/>
                  </a:lnTo>
                  <a:lnTo>
                    <a:pt x="211" y="265"/>
                  </a:lnTo>
                  <a:lnTo>
                    <a:pt x="212" y="263"/>
                  </a:lnTo>
                  <a:lnTo>
                    <a:pt x="211" y="263"/>
                  </a:lnTo>
                  <a:lnTo>
                    <a:pt x="211" y="260"/>
                  </a:lnTo>
                  <a:lnTo>
                    <a:pt x="211" y="257"/>
                  </a:lnTo>
                  <a:lnTo>
                    <a:pt x="212" y="255"/>
                  </a:lnTo>
                  <a:lnTo>
                    <a:pt x="211" y="254"/>
                  </a:lnTo>
                  <a:lnTo>
                    <a:pt x="211" y="249"/>
                  </a:lnTo>
                  <a:lnTo>
                    <a:pt x="208" y="246"/>
                  </a:lnTo>
                  <a:lnTo>
                    <a:pt x="203" y="239"/>
                  </a:lnTo>
                  <a:lnTo>
                    <a:pt x="203" y="237"/>
                  </a:lnTo>
                  <a:lnTo>
                    <a:pt x="203" y="235"/>
                  </a:lnTo>
                  <a:lnTo>
                    <a:pt x="203" y="234"/>
                  </a:lnTo>
                  <a:lnTo>
                    <a:pt x="198" y="231"/>
                  </a:lnTo>
                  <a:lnTo>
                    <a:pt x="197" y="229"/>
                  </a:lnTo>
                  <a:lnTo>
                    <a:pt x="198" y="225"/>
                  </a:lnTo>
                  <a:lnTo>
                    <a:pt x="197" y="225"/>
                  </a:lnTo>
                  <a:lnTo>
                    <a:pt x="195" y="223"/>
                  </a:lnTo>
                  <a:lnTo>
                    <a:pt x="195" y="223"/>
                  </a:lnTo>
                  <a:lnTo>
                    <a:pt x="192" y="223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2"/>
                  </a:lnTo>
                  <a:lnTo>
                    <a:pt x="194" y="220"/>
                  </a:lnTo>
                  <a:lnTo>
                    <a:pt x="194" y="217"/>
                  </a:lnTo>
                  <a:lnTo>
                    <a:pt x="192" y="215"/>
                  </a:lnTo>
                  <a:lnTo>
                    <a:pt x="191" y="214"/>
                  </a:lnTo>
                  <a:lnTo>
                    <a:pt x="191" y="212"/>
                  </a:lnTo>
                  <a:lnTo>
                    <a:pt x="192" y="212"/>
                  </a:lnTo>
                  <a:lnTo>
                    <a:pt x="195" y="211"/>
                  </a:lnTo>
                  <a:lnTo>
                    <a:pt x="197" y="211"/>
                  </a:lnTo>
                  <a:lnTo>
                    <a:pt x="198" y="209"/>
                  </a:lnTo>
                  <a:lnTo>
                    <a:pt x="200" y="209"/>
                  </a:lnTo>
                  <a:lnTo>
                    <a:pt x="203" y="208"/>
                  </a:lnTo>
                  <a:lnTo>
                    <a:pt x="205" y="209"/>
                  </a:lnTo>
                  <a:lnTo>
                    <a:pt x="206" y="209"/>
                  </a:lnTo>
                  <a:lnTo>
                    <a:pt x="208" y="209"/>
                  </a:lnTo>
                  <a:lnTo>
                    <a:pt x="208" y="208"/>
                  </a:lnTo>
                  <a:lnTo>
                    <a:pt x="205" y="205"/>
                  </a:lnTo>
                  <a:lnTo>
                    <a:pt x="203" y="205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11" y="206"/>
                  </a:lnTo>
                  <a:lnTo>
                    <a:pt x="214" y="208"/>
                  </a:lnTo>
                  <a:lnTo>
                    <a:pt x="215" y="206"/>
                  </a:lnTo>
                  <a:lnTo>
                    <a:pt x="215" y="206"/>
                  </a:lnTo>
                  <a:lnTo>
                    <a:pt x="217" y="208"/>
                  </a:lnTo>
                  <a:lnTo>
                    <a:pt x="217" y="209"/>
                  </a:lnTo>
                  <a:lnTo>
                    <a:pt x="218" y="209"/>
                  </a:lnTo>
                  <a:lnTo>
                    <a:pt x="220" y="209"/>
                  </a:lnTo>
                  <a:lnTo>
                    <a:pt x="222" y="211"/>
                  </a:lnTo>
                  <a:lnTo>
                    <a:pt x="222" y="212"/>
                  </a:lnTo>
                  <a:lnTo>
                    <a:pt x="225" y="211"/>
                  </a:lnTo>
                  <a:lnTo>
                    <a:pt x="225" y="209"/>
                  </a:lnTo>
                  <a:lnTo>
                    <a:pt x="225" y="208"/>
                  </a:lnTo>
                  <a:lnTo>
                    <a:pt x="229" y="209"/>
                  </a:lnTo>
                  <a:lnTo>
                    <a:pt x="231" y="209"/>
                  </a:lnTo>
                  <a:lnTo>
                    <a:pt x="232" y="208"/>
                  </a:lnTo>
                  <a:lnTo>
                    <a:pt x="235" y="205"/>
                  </a:lnTo>
                  <a:lnTo>
                    <a:pt x="243" y="203"/>
                  </a:lnTo>
                  <a:lnTo>
                    <a:pt x="249" y="203"/>
                  </a:lnTo>
                  <a:lnTo>
                    <a:pt x="252" y="202"/>
                  </a:lnTo>
                  <a:lnTo>
                    <a:pt x="254" y="200"/>
                  </a:lnTo>
                  <a:lnTo>
                    <a:pt x="255" y="197"/>
                  </a:lnTo>
                  <a:lnTo>
                    <a:pt x="255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4"/>
                  </a:lnTo>
                  <a:lnTo>
                    <a:pt x="257" y="192"/>
                  </a:lnTo>
                  <a:lnTo>
                    <a:pt x="255" y="192"/>
                  </a:lnTo>
                  <a:lnTo>
                    <a:pt x="254" y="191"/>
                  </a:lnTo>
                  <a:lnTo>
                    <a:pt x="249" y="188"/>
                  </a:lnTo>
                  <a:lnTo>
                    <a:pt x="248" y="188"/>
                  </a:lnTo>
                  <a:lnTo>
                    <a:pt x="246" y="186"/>
                  </a:lnTo>
                  <a:lnTo>
                    <a:pt x="246" y="185"/>
                  </a:lnTo>
                  <a:lnTo>
                    <a:pt x="248" y="183"/>
                  </a:lnTo>
                  <a:lnTo>
                    <a:pt x="248" y="183"/>
                  </a:lnTo>
                  <a:lnTo>
                    <a:pt x="248" y="183"/>
                  </a:lnTo>
                  <a:lnTo>
                    <a:pt x="249" y="183"/>
                  </a:lnTo>
                  <a:lnTo>
                    <a:pt x="249" y="182"/>
                  </a:lnTo>
                  <a:lnTo>
                    <a:pt x="251" y="180"/>
                  </a:lnTo>
                  <a:lnTo>
                    <a:pt x="251" y="180"/>
                  </a:lnTo>
                  <a:lnTo>
                    <a:pt x="252" y="178"/>
                  </a:lnTo>
                  <a:lnTo>
                    <a:pt x="254" y="177"/>
                  </a:lnTo>
                  <a:lnTo>
                    <a:pt x="254" y="177"/>
                  </a:lnTo>
                  <a:lnTo>
                    <a:pt x="258" y="177"/>
                  </a:lnTo>
                  <a:lnTo>
                    <a:pt x="258" y="175"/>
                  </a:lnTo>
                  <a:lnTo>
                    <a:pt x="260" y="172"/>
                  </a:lnTo>
                  <a:lnTo>
                    <a:pt x="262" y="171"/>
                  </a:lnTo>
                  <a:lnTo>
                    <a:pt x="265" y="169"/>
                  </a:lnTo>
                  <a:lnTo>
                    <a:pt x="266" y="168"/>
                  </a:lnTo>
                  <a:lnTo>
                    <a:pt x="269" y="166"/>
                  </a:lnTo>
                  <a:lnTo>
                    <a:pt x="269" y="165"/>
                  </a:lnTo>
                  <a:lnTo>
                    <a:pt x="272" y="163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2" y="158"/>
                  </a:lnTo>
                  <a:lnTo>
                    <a:pt x="272" y="155"/>
                  </a:lnTo>
                  <a:lnTo>
                    <a:pt x="272" y="154"/>
                  </a:lnTo>
                  <a:lnTo>
                    <a:pt x="274" y="151"/>
                  </a:lnTo>
                  <a:lnTo>
                    <a:pt x="274" y="146"/>
                  </a:lnTo>
                  <a:lnTo>
                    <a:pt x="274" y="143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5" y="138"/>
                  </a:lnTo>
                  <a:lnTo>
                    <a:pt x="263" y="138"/>
                  </a:lnTo>
                  <a:lnTo>
                    <a:pt x="262" y="138"/>
                  </a:lnTo>
                  <a:lnTo>
                    <a:pt x="257" y="137"/>
                  </a:lnTo>
                  <a:lnTo>
                    <a:pt x="251" y="135"/>
                  </a:lnTo>
                  <a:lnTo>
                    <a:pt x="249" y="134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29"/>
                  </a:lnTo>
                  <a:lnTo>
                    <a:pt x="248" y="126"/>
                  </a:lnTo>
                  <a:lnTo>
                    <a:pt x="246" y="125"/>
                  </a:lnTo>
                  <a:lnTo>
                    <a:pt x="248" y="125"/>
                  </a:lnTo>
                  <a:lnTo>
                    <a:pt x="252" y="123"/>
                  </a:lnTo>
                  <a:lnTo>
                    <a:pt x="249" y="120"/>
                  </a:lnTo>
                  <a:lnTo>
                    <a:pt x="249" y="120"/>
                  </a:lnTo>
                  <a:lnTo>
                    <a:pt x="249" y="118"/>
                  </a:lnTo>
                  <a:lnTo>
                    <a:pt x="249" y="118"/>
                  </a:lnTo>
                  <a:lnTo>
                    <a:pt x="249" y="117"/>
                  </a:lnTo>
                  <a:lnTo>
                    <a:pt x="249" y="115"/>
                  </a:lnTo>
                  <a:lnTo>
                    <a:pt x="249" y="114"/>
                  </a:lnTo>
                  <a:lnTo>
                    <a:pt x="251" y="114"/>
                  </a:lnTo>
                  <a:lnTo>
                    <a:pt x="254" y="112"/>
                  </a:lnTo>
                  <a:lnTo>
                    <a:pt x="260" y="112"/>
                  </a:lnTo>
                  <a:lnTo>
                    <a:pt x="265" y="114"/>
                  </a:lnTo>
                  <a:lnTo>
                    <a:pt x="268" y="114"/>
                  </a:lnTo>
                  <a:lnTo>
                    <a:pt x="269" y="114"/>
                  </a:lnTo>
                  <a:lnTo>
                    <a:pt x="272" y="114"/>
                  </a:lnTo>
                  <a:lnTo>
                    <a:pt x="274" y="112"/>
                  </a:lnTo>
                  <a:lnTo>
                    <a:pt x="274" y="108"/>
                  </a:lnTo>
                  <a:lnTo>
                    <a:pt x="275" y="94"/>
                  </a:lnTo>
                  <a:lnTo>
                    <a:pt x="275" y="91"/>
                  </a:lnTo>
                  <a:lnTo>
                    <a:pt x="275" y="88"/>
                  </a:lnTo>
                  <a:lnTo>
                    <a:pt x="277" y="86"/>
                  </a:lnTo>
                  <a:lnTo>
                    <a:pt x="283" y="77"/>
                  </a:lnTo>
                  <a:lnTo>
                    <a:pt x="285" y="72"/>
                  </a:lnTo>
                  <a:lnTo>
                    <a:pt x="285" y="69"/>
                  </a:lnTo>
                  <a:lnTo>
                    <a:pt x="285" y="65"/>
                  </a:lnTo>
                  <a:lnTo>
                    <a:pt x="285" y="55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5" y="48"/>
                  </a:lnTo>
                  <a:close/>
                  <a:moveTo>
                    <a:pt x="172" y="15"/>
                  </a:moveTo>
                  <a:lnTo>
                    <a:pt x="175" y="14"/>
                  </a:lnTo>
                  <a:lnTo>
                    <a:pt x="178" y="14"/>
                  </a:lnTo>
                  <a:lnTo>
                    <a:pt x="186" y="14"/>
                  </a:lnTo>
                  <a:lnTo>
                    <a:pt x="192" y="11"/>
                  </a:lnTo>
                  <a:lnTo>
                    <a:pt x="189" y="9"/>
                  </a:lnTo>
                  <a:lnTo>
                    <a:pt x="172" y="11"/>
                  </a:lnTo>
                  <a:lnTo>
                    <a:pt x="171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71" y="15"/>
                  </a:lnTo>
                  <a:lnTo>
                    <a:pt x="172" y="15"/>
                  </a:lnTo>
                  <a:close/>
                  <a:moveTo>
                    <a:pt x="206" y="11"/>
                  </a:moveTo>
                  <a:lnTo>
                    <a:pt x="206" y="12"/>
                  </a:lnTo>
                  <a:lnTo>
                    <a:pt x="206" y="12"/>
                  </a:lnTo>
                  <a:lnTo>
                    <a:pt x="208" y="11"/>
                  </a:lnTo>
                  <a:lnTo>
                    <a:pt x="220" y="6"/>
                  </a:lnTo>
                  <a:lnTo>
                    <a:pt x="222" y="6"/>
                  </a:lnTo>
                  <a:lnTo>
                    <a:pt x="222" y="6"/>
                  </a:lnTo>
                  <a:lnTo>
                    <a:pt x="220" y="4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8" y="8"/>
                  </a:lnTo>
                  <a:lnTo>
                    <a:pt x="206" y="9"/>
                  </a:lnTo>
                  <a:lnTo>
                    <a:pt x="206" y="11"/>
                  </a:lnTo>
                  <a:lnTo>
                    <a:pt x="206" y="11"/>
                  </a:lnTo>
                  <a:close/>
                  <a:moveTo>
                    <a:pt x="231" y="1"/>
                  </a:move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1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1" y="1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44"/>
            <p:cNvSpPr>
              <a:spLocks noEditPoints="1"/>
            </p:cNvSpPr>
            <p:nvPr/>
          </p:nvSpPr>
          <p:spPr bwMode="gray">
            <a:xfrm>
              <a:off x="6081713" y="5975351"/>
              <a:ext cx="454025" cy="539750"/>
            </a:xfrm>
            <a:custGeom>
              <a:avLst/>
              <a:gdLst>
                <a:gd name="T0" fmla="*/ 47 w 286"/>
                <a:gd name="T1" fmla="*/ 262 h 340"/>
                <a:gd name="T2" fmla="*/ 12 w 286"/>
                <a:gd name="T3" fmla="*/ 260 h 340"/>
                <a:gd name="T4" fmla="*/ 11 w 286"/>
                <a:gd name="T5" fmla="*/ 280 h 340"/>
                <a:gd name="T6" fmla="*/ 31 w 286"/>
                <a:gd name="T7" fmla="*/ 283 h 340"/>
                <a:gd name="T8" fmla="*/ 61 w 286"/>
                <a:gd name="T9" fmla="*/ 265 h 340"/>
                <a:gd name="T10" fmla="*/ 41 w 286"/>
                <a:gd name="T11" fmla="*/ 234 h 340"/>
                <a:gd name="T12" fmla="*/ 46 w 286"/>
                <a:gd name="T13" fmla="*/ 223 h 340"/>
                <a:gd name="T14" fmla="*/ 106 w 286"/>
                <a:gd name="T15" fmla="*/ 69 h 340"/>
                <a:gd name="T16" fmla="*/ 114 w 286"/>
                <a:gd name="T17" fmla="*/ 46 h 340"/>
                <a:gd name="T18" fmla="*/ 118 w 286"/>
                <a:gd name="T19" fmla="*/ 38 h 340"/>
                <a:gd name="T20" fmla="*/ 148 w 286"/>
                <a:gd name="T21" fmla="*/ 20 h 340"/>
                <a:gd name="T22" fmla="*/ 152 w 286"/>
                <a:gd name="T23" fmla="*/ 17 h 340"/>
                <a:gd name="T24" fmla="*/ 285 w 286"/>
                <a:gd name="T25" fmla="*/ 38 h 340"/>
                <a:gd name="T26" fmla="*/ 274 w 286"/>
                <a:gd name="T27" fmla="*/ 31 h 340"/>
                <a:gd name="T28" fmla="*/ 251 w 286"/>
                <a:gd name="T29" fmla="*/ 11 h 340"/>
                <a:gd name="T30" fmla="*/ 186 w 286"/>
                <a:gd name="T31" fmla="*/ 23 h 340"/>
                <a:gd name="T32" fmla="*/ 151 w 286"/>
                <a:gd name="T33" fmla="*/ 57 h 340"/>
                <a:gd name="T34" fmla="*/ 108 w 286"/>
                <a:gd name="T35" fmla="*/ 77 h 340"/>
                <a:gd name="T36" fmla="*/ 95 w 286"/>
                <a:gd name="T37" fmla="*/ 105 h 340"/>
                <a:gd name="T38" fmla="*/ 47 w 286"/>
                <a:gd name="T39" fmla="*/ 192 h 340"/>
                <a:gd name="T40" fmla="*/ 52 w 286"/>
                <a:gd name="T41" fmla="*/ 211 h 340"/>
                <a:gd name="T42" fmla="*/ 40 w 286"/>
                <a:gd name="T43" fmla="*/ 215 h 340"/>
                <a:gd name="T44" fmla="*/ 58 w 286"/>
                <a:gd name="T45" fmla="*/ 228 h 340"/>
                <a:gd name="T46" fmla="*/ 63 w 286"/>
                <a:gd name="T47" fmla="*/ 240 h 340"/>
                <a:gd name="T48" fmla="*/ 64 w 286"/>
                <a:gd name="T49" fmla="*/ 248 h 340"/>
                <a:gd name="T50" fmla="*/ 54 w 286"/>
                <a:gd name="T51" fmla="*/ 255 h 340"/>
                <a:gd name="T52" fmla="*/ 37 w 286"/>
                <a:gd name="T53" fmla="*/ 237 h 340"/>
                <a:gd name="T54" fmla="*/ 20 w 286"/>
                <a:gd name="T55" fmla="*/ 257 h 340"/>
                <a:gd name="T56" fmla="*/ 44 w 286"/>
                <a:gd name="T57" fmla="*/ 255 h 340"/>
                <a:gd name="T58" fmla="*/ 66 w 286"/>
                <a:gd name="T59" fmla="*/ 266 h 340"/>
                <a:gd name="T60" fmla="*/ 77 w 286"/>
                <a:gd name="T61" fmla="*/ 259 h 340"/>
                <a:gd name="T62" fmla="*/ 91 w 286"/>
                <a:gd name="T63" fmla="*/ 260 h 340"/>
                <a:gd name="T64" fmla="*/ 108 w 286"/>
                <a:gd name="T65" fmla="*/ 259 h 340"/>
                <a:gd name="T66" fmla="*/ 121 w 286"/>
                <a:gd name="T67" fmla="*/ 255 h 340"/>
                <a:gd name="T68" fmla="*/ 131 w 286"/>
                <a:gd name="T69" fmla="*/ 272 h 340"/>
                <a:gd name="T70" fmla="*/ 157 w 286"/>
                <a:gd name="T71" fmla="*/ 276 h 340"/>
                <a:gd name="T72" fmla="*/ 175 w 286"/>
                <a:gd name="T73" fmla="*/ 288 h 340"/>
                <a:gd name="T74" fmla="*/ 183 w 286"/>
                <a:gd name="T75" fmla="*/ 299 h 340"/>
                <a:gd name="T76" fmla="*/ 180 w 286"/>
                <a:gd name="T77" fmla="*/ 306 h 340"/>
                <a:gd name="T78" fmla="*/ 168 w 286"/>
                <a:gd name="T79" fmla="*/ 329 h 340"/>
                <a:gd name="T80" fmla="*/ 178 w 286"/>
                <a:gd name="T81" fmla="*/ 337 h 340"/>
                <a:gd name="T82" fmla="*/ 194 w 286"/>
                <a:gd name="T83" fmla="*/ 336 h 340"/>
                <a:gd name="T84" fmla="*/ 200 w 286"/>
                <a:gd name="T85" fmla="*/ 323 h 340"/>
                <a:gd name="T86" fmla="*/ 192 w 286"/>
                <a:gd name="T87" fmla="*/ 312 h 340"/>
                <a:gd name="T88" fmla="*/ 192 w 286"/>
                <a:gd name="T89" fmla="*/ 305 h 340"/>
                <a:gd name="T90" fmla="*/ 200 w 286"/>
                <a:gd name="T91" fmla="*/ 285 h 340"/>
                <a:gd name="T92" fmla="*/ 211 w 286"/>
                <a:gd name="T93" fmla="*/ 257 h 340"/>
                <a:gd name="T94" fmla="*/ 195 w 286"/>
                <a:gd name="T95" fmla="*/ 223 h 340"/>
                <a:gd name="T96" fmla="*/ 197 w 286"/>
                <a:gd name="T97" fmla="*/ 211 h 340"/>
                <a:gd name="T98" fmla="*/ 214 w 286"/>
                <a:gd name="T99" fmla="*/ 208 h 340"/>
                <a:gd name="T100" fmla="*/ 231 w 286"/>
                <a:gd name="T101" fmla="*/ 209 h 340"/>
                <a:gd name="T102" fmla="*/ 255 w 286"/>
                <a:gd name="T103" fmla="*/ 192 h 340"/>
                <a:gd name="T104" fmla="*/ 252 w 286"/>
                <a:gd name="T105" fmla="*/ 178 h 340"/>
                <a:gd name="T106" fmla="*/ 272 w 286"/>
                <a:gd name="T107" fmla="*/ 162 h 340"/>
                <a:gd name="T108" fmla="*/ 263 w 286"/>
                <a:gd name="T109" fmla="*/ 138 h 340"/>
                <a:gd name="T110" fmla="*/ 249 w 286"/>
                <a:gd name="T111" fmla="*/ 120 h 340"/>
                <a:gd name="T112" fmla="*/ 274 w 286"/>
                <a:gd name="T113" fmla="*/ 112 h 340"/>
                <a:gd name="T114" fmla="*/ 283 w 286"/>
                <a:gd name="T115" fmla="*/ 52 h 340"/>
                <a:gd name="T116" fmla="*/ 169 w 286"/>
                <a:gd name="T117" fmla="*/ 12 h 340"/>
                <a:gd name="T118" fmla="*/ 208 w 286"/>
                <a:gd name="T119" fmla="*/ 8 h 340"/>
                <a:gd name="T120" fmla="*/ 231 w 286"/>
                <a:gd name="T121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6" h="340">
                  <a:moveTo>
                    <a:pt x="61" y="265"/>
                  </a:moveTo>
                  <a:lnTo>
                    <a:pt x="60" y="265"/>
                  </a:lnTo>
                  <a:lnTo>
                    <a:pt x="60" y="268"/>
                  </a:lnTo>
                  <a:lnTo>
                    <a:pt x="57" y="268"/>
                  </a:lnTo>
                  <a:lnTo>
                    <a:pt x="57" y="266"/>
                  </a:lnTo>
                  <a:lnTo>
                    <a:pt x="55" y="266"/>
                  </a:lnTo>
                  <a:lnTo>
                    <a:pt x="54" y="266"/>
                  </a:lnTo>
                  <a:lnTo>
                    <a:pt x="52" y="266"/>
                  </a:lnTo>
                  <a:lnTo>
                    <a:pt x="52" y="265"/>
                  </a:lnTo>
                  <a:lnTo>
                    <a:pt x="51" y="263"/>
                  </a:lnTo>
                  <a:lnTo>
                    <a:pt x="51" y="263"/>
                  </a:lnTo>
                  <a:lnTo>
                    <a:pt x="49" y="262"/>
                  </a:lnTo>
                  <a:lnTo>
                    <a:pt x="47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4" y="265"/>
                  </a:lnTo>
                  <a:lnTo>
                    <a:pt x="44" y="266"/>
                  </a:lnTo>
                  <a:lnTo>
                    <a:pt x="37" y="269"/>
                  </a:lnTo>
                  <a:lnTo>
                    <a:pt x="35" y="269"/>
                  </a:lnTo>
                  <a:lnTo>
                    <a:pt x="32" y="268"/>
                  </a:lnTo>
                  <a:lnTo>
                    <a:pt x="29" y="268"/>
                  </a:lnTo>
                  <a:lnTo>
                    <a:pt x="27" y="268"/>
                  </a:lnTo>
                  <a:lnTo>
                    <a:pt x="26" y="266"/>
                  </a:lnTo>
                  <a:lnTo>
                    <a:pt x="18" y="263"/>
                  </a:lnTo>
                  <a:lnTo>
                    <a:pt x="14" y="260"/>
                  </a:lnTo>
                  <a:lnTo>
                    <a:pt x="12" y="260"/>
                  </a:lnTo>
                  <a:lnTo>
                    <a:pt x="11" y="262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9"/>
                  </a:lnTo>
                  <a:lnTo>
                    <a:pt x="0" y="272"/>
                  </a:lnTo>
                  <a:lnTo>
                    <a:pt x="0" y="276"/>
                  </a:lnTo>
                  <a:lnTo>
                    <a:pt x="0" y="279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2"/>
                  </a:lnTo>
                  <a:lnTo>
                    <a:pt x="7" y="282"/>
                  </a:lnTo>
                  <a:lnTo>
                    <a:pt x="11" y="282"/>
                  </a:lnTo>
                  <a:lnTo>
                    <a:pt x="11" y="280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7" y="276"/>
                  </a:lnTo>
                  <a:lnTo>
                    <a:pt x="18" y="276"/>
                  </a:lnTo>
                  <a:lnTo>
                    <a:pt x="20" y="276"/>
                  </a:lnTo>
                  <a:lnTo>
                    <a:pt x="29" y="279"/>
                  </a:lnTo>
                  <a:lnTo>
                    <a:pt x="31" y="280"/>
                  </a:lnTo>
                  <a:lnTo>
                    <a:pt x="31" y="282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32" y="285"/>
                  </a:lnTo>
                  <a:lnTo>
                    <a:pt x="34" y="285"/>
                  </a:lnTo>
                  <a:lnTo>
                    <a:pt x="41" y="285"/>
                  </a:lnTo>
                  <a:lnTo>
                    <a:pt x="44" y="285"/>
                  </a:lnTo>
                  <a:lnTo>
                    <a:pt x="47" y="282"/>
                  </a:lnTo>
                  <a:lnTo>
                    <a:pt x="57" y="277"/>
                  </a:lnTo>
                  <a:lnTo>
                    <a:pt x="60" y="274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3" y="265"/>
                  </a:lnTo>
                  <a:lnTo>
                    <a:pt x="61" y="265"/>
                  </a:lnTo>
                  <a:close/>
                  <a:moveTo>
                    <a:pt x="26" y="229"/>
                  </a:moveTo>
                  <a:lnTo>
                    <a:pt x="31" y="229"/>
                  </a:lnTo>
                  <a:lnTo>
                    <a:pt x="31" y="229"/>
                  </a:lnTo>
                  <a:lnTo>
                    <a:pt x="32" y="226"/>
                  </a:lnTo>
                  <a:lnTo>
                    <a:pt x="34" y="226"/>
                  </a:lnTo>
                  <a:lnTo>
                    <a:pt x="34" y="228"/>
                  </a:lnTo>
                  <a:lnTo>
                    <a:pt x="34" y="228"/>
                  </a:lnTo>
                  <a:lnTo>
                    <a:pt x="35" y="228"/>
                  </a:lnTo>
                  <a:lnTo>
                    <a:pt x="38" y="229"/>
                  </a:lnTo>
                  <a:lnTo>
                    <a:pt x="38" y="231"/>
                  </a:lnTo>
                  <a:lnTo>
                    <a:pt x="40" y="232"/>
                  </a:lnTo>
                  <a:lnTo>
                    <a:pt x="40" y="234"/>
                  </a:lnTo>
                  <a:lnTo>
                    <a:pt x="41" y="234"/>
                  </a:lnTo>
                  <a:lnTo>
                    <a:pt x="44" y="235"/>
                  </a:lnTo>
                  <a:lnTo>
                    <a:pt x="46" y="235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4" y="229"/>
                  </a:lnTo>
                  <a:lnTo>
                    <a:pt x="51" y="228"/>
                  </a:lnTo>
                  <a:lnTo>
                    <a:pt x="49" y="228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6" y="223"/>
                  </a:lnTo>
                  <a:lnTo>
                    <a:pt x="44" y="222"/>
                  </a:lnTo>
                  <a:lnTo>
                    <a:pt x="43" y="222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4" y="220"/>
                  </a:lnTo>
                  <a:lnTo>
                    <a:pt x="34" y="222"/>
                  </a:lnTo>
                  <a:lnTo>
                    <a:pt x="27" y="222"/>
                  </a:lnTo>
                  <a:lnTo>
                    <a:pt x="24" y="223"/>
                  </a:lnTo>
                  <a:lnTo>
                    <a:pt x="24" y="228"/>
                  </a:lnTo>
                  <a:lnTo>
                    <a:pt x="24" y="229"/>
                  </a:lnTo>
                  <a:lnTo>
                    <a:pt x="26" y="229"/>
                  </a:lnTo>
                  <a:close/>
                  <a:moveTo>
                    <a:pt x="104" y="69"/>
                  </a:moveTo>
                  <a:lnTo>
                    <a:pt x="106" y="69"/>
                  </a:lnTo>
                  <a:lnTo>
                    <a:pt x="109" y="65"/>
                  </a:lnTo>
                  <a:lnTo>
                    <a:pt x="112" y="63"/>
                  </a:lnTo>
                  <a:lnTo>
                    <a:pt x="114" y="58"/>
                  </a:lnTo>
                  <a:lnTo>
                    <a:pt x="115" y="57"/>
                  </a:lnTo>
                  <a:lnTo>
                    <a:pt x="115" y="55"/>
                  </a:lnTo>
                  <a:lnTo>
                    <a:pt x="114" y="55"/>
                  </a:lnTo>
                  <a:lnTo>
                    <a:pt x="114" y="55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1" y="46"/>
                  </a:lnTo>
                  <a:lnTo>
                    <a:pt x="109" y="49"/>
                  </a:lnTo>
                  <a:lnTo>
                    <a:pt x="108" y="52"/>
                  </a:lnTo>
                  <a:lnTo>
                    <a:pt x="104" y="55"/>
                  </a:lnTo>
                  <a:lnTo>
                    <a:pt x="101" y="58"/>
                  </a:lnTo>
                  <a:lnTo>
                    <a:pt x="100" y="61"/>
                  </a:lnTo>
                  <a:lnTo>
                    <a:pt x="100" y="65"/>
                  </a:lnTo>
                  <a:lnTo>
                    <a:pt x="101" y="68"/>
                  </a:lnTo>
                  <a:lnTo>
                    <a:pt x="104" y="69"/>
                  </a:lnTo>
                  <a:close/>
                  <a:moveTo>
                    <a:pt x="117" y="40"/>
                  </a:moveTo>
                  <a:lnTo>
                    <a:pt x="118" y="38"/>
                  </a:lnTo>
                  <a:lnTo>
                    <a:pt x="124" y="32"/>
                  </a:lnTo>
                  <a:lnTo>
                    <a:pt x="126" y="32"/>
                  </a:lnTo>
                  <a:lnTo>
                    <a:pt x="128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6" y="29"/>
                  </a:lnTo>
                  <a:lnTo>
                    <a:pt x="121" y="32"/>
                  </a:lnTo>
                  <a:lnTo>
                    <a:pt x="115" y="37"/>
                  </a:lnTo>
                  <a:lnTo>
                    <a:pt x="112" y="41"/>
                  </a:lnTo>
                  <a:lnTo>
                    <a:pt x="115" y="43"/>
                  </a:lnTo>
                  <a:lnTo>
                    <a:pt x="117" y="40"/>
                  </a:lnTo>
                  <a:close/>
                  <a:moveTo>
                    <a:pt x="137" y="25"/>
                  </a:moveTo>
                  <a:lnTo>
                    <a:pt x="148" y="20"/>
                  </a:lnTo>
                  <a:lnTo>
                    <a:pt x="151" y="20"/>
                  </a:lnTo>
                  <a:lnTo>
                    <a:pt x="154" y="18"/>
                  </a:lnTo>
                  <a:lnTo>
                    <a:pt x="157" y="18"/>
                  </a:lnTo>
                  <a:lnTo>
                    <a:pt x="158" y="17"/>
                  </a:lnTo>
                  <a:lnTo>
                    <a:pt x="157" y="17"/>
                  </a:lnTo>
                  <a:lnTo>
                    <a:pt x="157" y="15"/>
                  </a:lnTo>
                  <a:lnTo>
                    <a:pt x="157" y="15"/>
                  </a:lnTo>
                  <a:lnTo>
                    <a:pt x="161" y="15"/>
                  </a:lnTo>
                  <a:lnTo>
                    <a:pt x="163" y="15"/>
                  </a:lnTo>
                  <a:lnTo>
                    <a:pt x="166" y="12"/>
                  </a:lnTo>
                  <a:lnTo>
                    <a:pt x="154" y="14"/>
                  </a:lnTo>
                  <a:lnTo>
                    <a:pt x="154" y="15"/>
                  </a:lnTo>
                  <a:lnTo>
                    <a:pt x="152" y="17"/>
                  </a:lnTo>
                  <a:lnTo>
                    <a:pt x="141" y="18"/>
                  </a:lnTo>
                  <a:lnTo>
                    <a:pt x="140" y="18"/>
                  </a:lnTo>
                  <a:lnTo>
                    <a:pt x="140" y="20"/>
                  </a:lnTo>
                  <a:lnTo>
                    <a:pt x="135" y="21"/>
                  </a:lnTo>
                  <a:lnTo>
                    <a:pt x="134" y="23"/>
                  </a:lnTo>
                  <a:lnTo>
                    <a:pt x="135" y="25"/>
                  </a:lnTo>
                  <a:lnTo>
                    <a:pt x="137" y="25"/>
                  </a:lnTo>
                  <a:close/>
                  <a:moveTo>
                    <a:pt x="285" y="48"/>
                  </a:moveTo>
                  <a:lnTo>
                    <a:pt x="285" y="46"/>
                  </a:lnTo>
                  <a:lnTo>
                    <a:pt x="286" y="43"/>
                  </a:lnTo>
                  <a:lnTo>
                    <a:pt x="286" y="41"/>
                  </a:lnTo>
                  <a:lnTo>
                    <a:pt x="285" y="38"/>
                  </a:lnTo>
                  <a:lnTo>
                    <a:pt x="285" y="38"/>
                  </a:lnTo>
                  <a:lnTo>
                    <a:pt x="279" y="37"/>
                  </a:lnTo>
                  <a:lnTo>
                    <a:pt x="277" y="35"/>
                  </a:lnTo>
                  <a:lnTo>
                    <a:pt x="277" y="34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1"/>
                  </a:lnTo>
                  <a:lnTo>
                    <a:pt x="277" y="31"/>
                  </a:lnTo>
                  <a:lnTo>
                    <a:pt x="277" y="31"/>
                  </a:lnTo>
                  <a:lnTo>
                    <a:pt x="275" y="31"/>
                  </a:lnTo>
                  <a:lnTo>
                    <a:pt x="275" y="31"/>
                  </a:lnTo>
                  <a:lnTo>
                    <a:pt x="274" y="31"/>
                  </a:lnTo>
                  <a:lnTo>
                    <a:pt x="274" y="31"/>
                  </a:lnTo>
                  <a:lnTo>
                    <a:pt x="272" y="31"/>
                  </a:lnTo>
                  <a:lnTo>
                    <a:pt x="269" y="29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6" y="28"/>
                  </a:lnTo>
                  <a:lnTo>
                    <a:pt x="266" y="26"/>
                  </a:lnTo>
                  <a:lnTo>
                    <a:pt x="266" y="26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2" y="15"/>
                  </a:lnTo>
                  <a:lnTo>
                    <a:pt x="260" y="14"/>
                  </a:lnTo>
                  <a:lnTo>
                    <a:pt x="258" y="12"/>
                  </a:lnTo>
                  <a:lnTo>
                    <a:pt x="251" y="11"/>
                  </a:lnTo>
                  <a:lnTo>
                    <a:pt x="234" y="14"/>
                  </a:lnTo>
                  <a:lnTo>
                    <a:pt x="222" y="17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18" y="18"/>
                  </a:lnTo>
                  <a:lnTo>
                    <a:pt x="217" y="18"/>
                  </a:lnTo>
                  <a:lnTo>
                    <a:pt x="217" y="17"/>
                  </a:lnTo>
                  <a:lnTo>
                    <a:pt x="211" y="17"/>
                  </a:lnTo>
                  <a:lnTo>
                    <a:pt x="201" y="18"/>
                  </a:lnTo>
                  <a:lnTo>
                    <a:pt x="195" y="18"/>
                  </a:lnTo>
                  <a:lnTo>
                    <a:pt x="189" y="21"/>
                  </a:lnTo>
                  <a:lnTo>
                    <a:pt x="188" y="21"/>
                  </a:lnTo>
                  <a:lnTo>
                    <a:pt x="186" y="23"/>
                  </a:lnTo>
                  <a:lnTo>
                    <a:pt x="174" y="28"/>
                  </a:lnTo>
                  <a:lnTo>
                    <a:pt x="171" y="31"/>
                  </a:lnTo>
                  <a:lnTo>
                    <a:pt x="168" y="31"/>
                  </a:lnTo>
                  <a:lnTo>
                    <a:pt x="166" y="31"/>
                  </a:lnTo>
                  <a:lnTo>
                    <a:pt x="165" y="32"/>
                  </a:lnTo>
                  <a:lnTo>
                    <a:pt x="163" y="34"/>
                  </a:lnTo>
                  <a:lnTo>
                    <a:pt x="161" y="35"/>
                  </a:lnTo>
                  <a:lnTo>
                    <a:pt x="160" y="37"/>
                  </a:lnTo>
                  <a:lnTo>
                    <a:pt x="158" y="38"/>
                  </a:lnTo>
                  <a:lnTo>
                    <a:pt x="155" y="41"/>
                  </a:lnTo>
                  <a:lnTo>
                    <a:pt x="154" y="45"/>
                  </a:lnTo>
                  <a:lnTo>
                    <a:pt x="152" y="54"/>
                  </a:lnTo>
                  <a:lnTo>
                    <a:pt x="151" y="57"/>
                  </a:lnTo>
                  <a:lnTo>
                    <a:pt x="149" y="57"/>
                  </a:lnTo>
                  <a:lnTo>
                    <a:pt x="145" y="58"/>
                  </a:lnTo>
                  <a:lnTo>
                    <a:pt x="145" y="60"/>
                  </a:lnTo>
                  <a:lnTo>
                    <a:pt x="143" y="61"/>
                  </a:lnTo>
                  <a:lnTo>
                    <a:pt x="128" y="74"/>
                  </a:lnTo>
                  <a:lnTo>
                    <a:pt x="124" y="75"/>
                  </a:lnTo>
                  <a:lnTo>
                    <a:pt x="121" y="75"/>
                  </a:lnTo>
                  <a:lnTo>
                    <a:pt x="120" y="77"/>
                  </a:lnTo>
                  <a:lnTo>
                    <a:pt x="117" y="80"/>
                  </a:lnTo>
                  <a:lnTo>
                    <a:pt x="115" y="80"/>
                  </a:lnTo>
                  <a:lnTo>
                    <a:pt x="112" y="80"/>
                  </a:lnTo>
                  <a:lnTo>
                    <a:pt x="109" y="80"/>
                  </a:lnTo>
                  <a:lnTo>
                    <a:pt x="108" y="77"/>
                  </a:lnTo>
                  <a:lnTo>
                    <a:pt x="109" y="74"/>
                  </a:lnTo>
                  <a:lnTo>
                    <a:pt x="108" y="72"/>
                  </a:lnTo>
                  <a:lnTo>
                    <a:pt x="108" y="74"/>
                  </a:lnTo>
                  <a:lnTo>
                    <a:pt x="103" y="72"/>
                  </a:lnTo>
                  <a:lnTo>
                    <a:pt x="101" y="74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81"/>
                  </a:lnTo>
                  <a:lnTo>
                    <a:pt x="100" y="86"/>
                  </a:lnTo>
                  <a:lnTo>
                    <a:pt x="97" y="94"/>
                  </a:lnTo>
                  <a:lnTo>
                    <a:pt x="97" y="97"/>
                  </a:lnTo>
                  <a:lnTo>
                    <a:pt x="97" y="100"/>
                  </a:lnTo>
                  <a:lnTo>
                    <a:pt x="95" y="105"/>
                  </a:lnTo>
                  <a:lnTo>
                    <a:pt x="92" y="129"/>
                  </a:lnTo>
                  <a:lnTo>
                    <a:pt x="91" y="132"/>
                  </a:lnTo>
                  <a:lnTo>
                    <a:pt x="91" y="134"/>
                  </a:lnTo>
                  <a:lnTo>
                    <a:pt x="89" y="137"/>
                  </a:lnTo>
                  <a:lnTo>
                    <a:pt x="86" y="149"/>
                  </a:lnTo>
                  <a:lnTo>
                    <a:pt x="78" y="163"/>
                  </a:lnTo>
                  <a:lnTo>
                    <a:pt x="69" y="177"/>
                  </a:lnTo>
                  <a:lnTo>
                    <a:pt x="58" y="189"/>
                  </a:lnTo>
                  <a:lnTo>
                    <a:pt x="55" y="191"/>
                  </a:lnTo>
                  <a:lnTo>
                    <a:pt x="52" y="192"/>
                  </a:lnTo>
                  <a:lnTo>
                    <a:pt x="49" y="191"/>
                  </a:lnTo>
                  <a:lnTo>
                    <a:pt x="49" y="192"/>
                  </a:lnTo>
                  <a:lnTo>
                    <a:pt x="47" y="192"/>
                  </a:lnTo>
                  <a:lnTo>
                    <a:pt x="49" y="195"/>
                  </a:lnTo>
                  <a:lnTo>
                    <a:pt x="51" y="200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3"/>
                  </a:lnTo>
                  <a:lnTo>
                    <a:pt x="49" y="205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1" y="206"/>
                  </a:lnTo>
                  <a:lnTo>
                    <a:pt x="52" y="208"/>
                  </a:lnTo>
                  <a:lnTo>
                    <a:pt x="54" y="209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49" y="209"/>
                  </a:lnTo>
                  <a:lnTo>
                    <a:pt x="46" y="209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0" y="211"/>
                  </a:lnTo>
                  <a:lnTo>
                    <a:pt x="37" y="212"/>
                  </a:lnTo>
                  <a:lnTo>
                    <a:pt x="38" y="215"/>
                  </a:lnTo>
                  <a:lnTo>
                    <a:pt x="38" y="215"/>
                  </a:lnTo>
                  <a:lnTo>
                    <a:pt x="40" y="215"/>
                  </a:lnTo>
                  <a:lnTo>
                    <a:pt x="40" y="215"/>
                  </a:lnTo>
                  <a:lnTo>
                    <a:pt x="41" y="215"/>
                  </a:lnTo>
                  <a:lnTo>
                    <a:pt x="43" y="215"/>
                  </a:lnTo>
                  <a:lnTo>
                    <a:pt x="44" y="214"/>
                  </a:lnTo>
                  <a:lnTo>
                    <a:pt x="46" y="214"/>
                  </a:lnTo>
                  <a:lnTo>
                    <a:pt x="47" y="215"/>
                  </a:lnTo>
                  <a:lnTo>
                    <a:pt x="51" y="217"/>
                  </a:lnTo>
                  <a:lnTo>
                    <a:pt x="51" y="219"/>
                  </a:lnTo>
                  <a:lnTo>
                    <a:pt x="52" y="223"/>
                  </a:lnTo>
                  <a:lnTo>
                    <a:pt x="52" y="225"/>
                  </a:lnTo>
                  <a:lnTo>
                    <a:pt x="58" y="226"/>
                  </a:lnTo>
                  <a:lnTo>
                    <a:pt x="60" y="228"/>
                  </a:lnTo>
                  <a:lnTo>
                    <a:pt x="61" y="228"/>
                  </a:lnTo>
                  <a:lnTo>
                    <a:pt x="58" y="228"/>
                  </a:lnTo>
                  <a:lnTo>
                    <a:pt x="57" y="229"/>
                  </a:lnTo>
                  <a:lnTo>
                    <a:pt x="55" y="229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4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58" y="235"/>
                  </a:lnTo>
                  <a:lnTo>
                    <a:pt x="58" y="237"/>
                  </a:lnTo>
                  <a:lnTo>
                    <a:pt x="61" y="237"/>
                  </a:lnTo>
                  <a:lnTo>
                    <a:pt x="61" y="237"/>
                  </a:lnTo>
                  <a:lnTo>
                    <a:pt x="63" y="237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1" y="239"/>
                  </a:lnTo>
                  <a:lnTo>
                    <a:pt x="60" y="237"/>
                  </a:lnTo>
                  <a:lnTo>
                    <a:pt x="52" y="237"/>
                  </a:lnTo>
                  <a:lnTo>
                    <a:pt x="51" y="239"/>
                  </a:lnTo>
                  <a:lnTo>
                    <a:pt x="46" y="240"/>
                  </a:lnTo>
                  <a:lnTo>
                    <a:pt x="52" y="245"/>
                  </a:lnTo>
                  <a:lnTo>
                    <a:pt x="54" y="246"/>
                  </a:lnTo>
                  <a:lnTo>
                    <a:pt x="55" y="246"/>
                  </a:lnTo>
                  <a:lnTo>
                    <a:pt x="58" y="246"/>
                  </a:lnTo>
                  <a:lnTo>
                    <a:pt x="58" y="246"/>
                  </a:lnTo>
                  <a:lnTo>
                    <a:pt x="61" y="248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7" y="249"/>
                  </a:lnTo>
                  <a:lnTo>
                    <a:pt x="69" y="251"/>
                  </a:lnTo>
                  <a:lnTo>
                    <a:pt x="69" y="254"/>
                  </a:lnTo>
                  <a:lnTo>
                    <a:pt x="69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4" y="257"/>
                  </a:lnTo>
                  <a:lnTo>
                    <a:pt x="63" y="257"/>
                  </a:lnTo>
                  <a:lnTo>
                    <a:pt x="61" y="257"/>
                  </a:lnTo>
                  <a:lnTo>
                    <a:pt x="57" y="257"/>
                  </a:lnTo>
                  <a:lnTo>
                    <a:pt x="55" y="257"/>
                  </a:lnTo>
                  <a:lnTo>
                    <a:pt x="54" y="255"/>
                  </a:lnTo>
                  <a:lnTo>
                    <a:pt x="52" y="251"/>
                  </a:lnTo>
                  <a:lnTo>
                    <a:pt x="52" y="249"/>
                  </a:lnTo>
                  <a:lnTo>
                    <a:pt x="49" y="246"/>
                  </a:lnTo>
                  <a:lnTo>
                    <a:pt x="44" y="245"/>
                  </a:lnTo>
                  <a:lnTo>
                    <a:pt x="38" y="245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38" y="239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15" y="239"/>
                  </a:lnTo>
                  <a:lnTo>
                    <a:pt x="7" y="243"/>
                  </a:lnTo>
                  <a:lnTo>
                    <a:pt x="6" y="245"/>
                  </a:lnTo>
                  <a:lnTo>
                    <a:pt x="6" y="246"/>
                  </a:lnTo>
                  <a:lnTo>
                    <a:pt x="7" y="248"/>
                  </a:lnTo>
                  <a:lnTo>
                    <a:pt x="11" y="251"/>
                  </a:lnTo>
                  <a:lnTo>
                    <a:pt x="11" y="252"/>
                  </a:lnTo>
                  <a:lnTo>
                    <a:pt x="12" y="254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8" y="257"/>
                  </a:lnTo>
                  <a:lnTo>
                    <a:pt x="20" y="257"/>
                  </a:lnTo>
                  <a:lnTo>
                    <a:pt x="23" y="255"/>
                  </a:lnTo>
                  <a:lnTo>
                    <a:pt x="24" y="255"/>
                  </a:lnTo>
                  <a:lnTo>
                    <a:pt x="27" y="259"/>
                  </a:lnTo>
                  <a:lnTo>
                    <a:pt x="32" y="262"/>
                  </a:lnTo>
                  <a:lnTo>
                    <a:pt x="34" y="263"/>
                  </a:lnTo>
                  <a:lnTo>
                    <a:pt x="35" y="263"/>
                  </a:lnTo>
                  <a:lnTo>
                    <a:pt x="35" y="263"/>
                  </a:lnTo>
                  <a:lnTo>
                    <a:pt x="37" y="263"/>
                  </a:lnTo>
                  <a:lnTo>
                    <a:pt x="38" y="262"/>
                  </a:lnTo>
                  <a:lnTo>
                    <a:pt x="40" y="262"/>
                  </a:lnTo>
                  <a:lnTo>
                    <a:pt x="41" y="260"/>
                  </a:lnTo>
                  <a:lnTo>
                    <a:pt x="43" y="257"/>
                  </a:lnTo>
                  <a:lnTo>
                    <a:pt x="44" y="255"/>
                  </a:lnTo>
                  <a:lnTo>
                    <a:pt x="47" y="255"/>
                  </a:lnTo>
                  <a:lnTo>
                    <a:pt x="49" y="257"/>
                  </a:lnTo>
                  <a:lnTo>
                    <a:pt x="52" y="260"/>
                  </a:lnTo>
                  <a:lnTo>
                    <a:pt x="54" y="262"/>
                  </a:lnTo>
                  <a:lnTo>
                    <a:pt x="55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0"/>
                  </a:lnTo>
                  <a:lnTo>
                    <a:pt x="66" y="260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2" y="268"/>
                  </a:lnTo>
                  <a:lnTo>
                    <a:pt x="74" y="268"/>
                  </a:lnTo>
                  <a:lnTo>
                    <a:pt x="77" y="268"/>
                  </a:lnTo>
                  <a:lnTo>
                    <a:pt x="78" y="268"/>
                  </a:lnTo>
                  <a:lnTo>
                    <a:pt x="78" y="265"/>
                  </a:lnTo>
                  <a:lnTo>
                    <a:pt x="78" y="265"/>
                  </a:lnTo>
                  <a:lnTo>
                    <a:pt x="77" y="262"/>
                  </a:lnTo>
                  <a:lnTo>
                    <a:pt x="75" y="262"/>
                  </a:lnTo>
                  <a:lnTo>
                    <a:pt x="75" y="260"/>
                  </a:lnTo>
                  <a:lnTo>
                    <a:pt x="77" y="259"/>
                  </a:lnTo>
                  <a:lnTo>
                    <a:pt x="77" y="259"/>
                  </a:lnTo>
                  <a:lnTo>
                    <a:pt x="75" y="257"/>
                  </a:lnTo>
                  <a:lnTo>
                    <a:pt x="80" y="255"/>
                  </a:lnTo>
                  <a:lnTo>
                    <a:pt x="83" y="254"/>
                  </a:lnTo>
                  <a:lnTo>
                    <a:pt x="86" y="252"/>
                  </a:lnTo>
                  <a:lnTo>
                    <a:pt x="86" y="254"/>
                  </a:lnTo>
                  <a:lnTo>
                    <a:pt x="88" y="254"/>
                  </a:lnTo>
                  <a:lnTo>
                    <a:pt x="88" y="257"/>
                  </a:lnTo>
                  <a:lnTo>
                    <a:pt x="86" y="257"/>
                  </a:lnTo>
                  <a:lnTo>
                    <a:pt x="86" y="259"/>
                  </a:lnTo>
                  <a:lnTo>
                    <a:pt x="88" y="260"/>
                  </a:lnTo>
                  <a:lnTo>
                    <a:pt x="89" y="260"/>
                  </a:lnTo>
                  <a:lnTo>
                    <a:pt x="91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5" y="260"/>
                  </a:lnTo>
                  <a:lnTo>
                    <a:pt x="97" y="259"/>
                  </a:lnTo>
                  <a:lnTo>
                    <a:pt x="101" y="252"/>
                  </a:lnTo>
                  <a:lnTo>
                    <a:pt x="104" y="251"/>
                  </a:lnTo>
                  <a:lnTo>
                    <a:pt x="106" y="251"/>
                  </a:lnTo>
                  <a:lnTo>
                    <a:pt x="106" y="251"/>
                  </a:lnTo>
                  <a:lnTo>
                    <a:pt x="108" y="252"/>
                  </a:lnTo>
                  <a:lnTo>
                    <a:pt x="109" y="254"/>
                  </a:lnTo>
                  <a:lnTo>
                    <a:pt x="109" y="255"/>
                  </a:lnTo>
                  <a:lnTo>
                    <a:pt x="109" y="257"/>
                  </a:lnTo>
                  <a:lnTo>
                    <a:pt x="108" y="259"/>
                  </a:lnTo>
                  <a:lnTo>
                    <a:pt x="109" y="260"/>
                  </a:lnTo>
                  <a:lnTo>
                    <a:pt x="106" y="259"/>
                  </a:lnTo>
                  <a:lnTo>
                    <a:pt x="104" y="260"/>
                  </a:lnTo>
                  <a:lnTo>
                    <a:pt x="104" y="260"/>
                  </a:lnTo>
                  <a:lnTo>
                    <a:pt x="106" y="262"/>
                  </a:lnTo>
                  <a:lnTo>
                    <a:pt x="111" y="262"/>
                  </a:lnTo>
                  <a:lnTo>
                    <a:pt x="112" y="262"/>
                  </a:lnTo>
                  <a:lnTo>
                    <a:pt x="115" y="263"/>
                  </a:lnTo>
                  <a:lnTo>
                    <a:pt x="117" y="263"/>
                  </a:lnTo>
                  <a:lnTo>
                    <a:pt x="118" y="262"/>
                  </a:lnTo>
                  <a:lnTo>
                    <a:pt x="120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23" y="254"/>
                  </a:lnTo>
                  <a:lnTo>
                    <a:pt x="123" y="254"/>
                  </a:lnTo>
                  <a:lnTo>
                    <a:pt x="124" y="254"/>
                  </a:lnTo>
                  <a:lnTo>
                    <a:pt x="124" y="254"/>
                  </a:lnTo>
                  <a:lnTo>
                    <a:pt x="126" y="255"/>
                  </a:lnTo>
                  <a:lnTo>
                    <a:pt x="128" y="257"/>
                  </a:lnTo>
                  <a:lnTo>
                    <a:pt x="128" y="260"/>
                  </a:lnTo>
                  <a:lnTo>
                    <a:pt x="126" y="262"/>
                  </a:lnTo>
                  <a:lnTo>
                    <a:pt x="126" y="265"/>
                  </a:lnTo>
                  <a:lnTo>
                    <a:pt x="128" y="265"/>
                  </a:lnTo>
                  <a:lnTo>
                    <a:pt x="129" y="268"/>
                  </a:lnTo>
                  <a:lnTo>
                    <a:pt x="131" y="269"/>
                  </a:lnTo>
                  <a:lnTo>
                    <a:pt x="131" y="272"/>
                  </a:lnTo>
                  <a:lnTo>
                    <a:pt x="131" y="272"/>
                  </a:lnTo>
                  <a:lnTo>
                    <a:pt x="132" y="274"/>
                  </a:lnTo>
                  <a:lnTo>
                    <a:pt x="135" y="272"/>
                  </a:lnTo>
                  <a:lnTo>
                    <a:pt x="137" y="274"/>
                  </a:lnTo>
                  <a:lnTo>
                    <a:pt x="138" y="276"/>
                  </a:lnTo>
                  <a:lnTo>
                    <a:pt x="138" y="279"/>
                  </a:lnTo>
                  <a:lnTo>
                    <a:pt x="140" y="280"/>
                  </a:lnTo>
                  <a:lnTo>
                    <a:pt x="140" y="280"/>
                  </a:lnTo>
                  <a:lnTo>
                    <a:pt x="141" y="279"/>
                  </a:lnTo>
                  <a:lnTo>
                    <a:pt x="151" y="279"/>
                  </a:lnTo>
                  <a:lnTo>
                    <a:pt x="152" y="279"/>
                  </a:lnTo>
                  <a:lnTo>
                    <a:pt x="155" y="277"/>
                  </a:lnTo>
                  <a:lnTo>
                    <a:pt x="157" y="276"/>
                  </a:lnTo>
                  <a:lnTo>
                    <a:pt x="158" y="276"/>
                  </a:lnTo>
                  <a:lnTo>
                    <a:pt x="160" y="277"/>
                  </a:lnTo>
                  <a:lnTo>
                    <a:pt x="161" y="279"/>
                  </a:lnTo>
                  <a:lnTo>
                    <a:pt x="163" y="282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lnTo>
                    <a:pt x="169" y="286"/>
                  </a:lnTo>
                  <a:lnTo>
                    <a:pt x="169" y="288"/>
                  </a:lnTo>
                  <a:lnTo>
                    <a:pt x="171" y="288"/>
                  </a:lnTo>
                  <a:lnTo>
                    <a:pt x="171" y="289"/>
                  </a:lnTo>
                  <a:lnTo>
                    <a:pt x="172" y="288"/>
                  </a:lnTo>
                  <a:lnTo>
                    <a:pt x="175" y="288"/>
                  </a:lnTo>
                  <a:lnTo>
                    <a:pt x="177" y="288"/>
                  </a:lnTo>
                  <a:lnTo>
                    <a:pt x="177" y="289"/>
                  </a:lnTo>
                  <a:lnTo>
                    <a:pt x="178" y="291"/>
                  </a:lnTo>
                  <a:lnTo>
                    <a:pt x="180" y="292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2"/>
                  </a:lnTo>
                  <a:lnTo>
                    <a:pt x="185" y="294"/>
                  </a:lnTo>
                  <a:lnTo>
                    <a:pt x="183" y="294"/>
                  </a:lnTo>
                  <a:lnTo>
                    <a:pt x="183" y="296"/>
                  </a:lnTo>
                  <a:lnTo>
                    <a:pt x="185" y="297"/>
                  </a:lnTo>
                  <a:lnTo>
                    <a:pt x="185" y="299"/>
                  </a:lnTo>
                  <a:lnTo>
                    <a:pt x="183" y="299"/>
                  </a:lnTo>
                  <a:lnTo>
                    <a:pt x="183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300"/>
                  </a:lnTo>
                  <a:lnTo>
                    <a:pt x="183" y="300"/>
                  </a:lnTo>
                  <a:lnTo>
                    <a:pt x="181" y="302"/>
                  </a:lnTo>
                  <a:lnTo>
                    <a:pt x="181" y="303"/>
                  </a:lnTo>
                  <a:lnTo>
                    <a:pt x="181" y="303"/>
                  </a:lnTo>
                  <a:lnTo>
                    <a:pt x="180" y="303"/>
                  </a:lnTo>
                  <a:lnTo>
                    <a:pt x="180" y="303"/>
                  </a:lnTo>
                  <a:lnTo>
                    <a:pt x="178" y="305"/>
                  </a:lnTo>
                  <a:lnTo>
                    <a:pt x="178" y="306"/>
                  </a:lnTo>
                  <a:lnTo>
                    <a:pt x="180" y="306"/>
                  </a:lnTo>
                  <a:lnTo>
                    <a:pt x="178" y="309"/>
                  </a:lnTo>
                  <a:lnTo>
                    <a:pt x="175" y="314"/>
                  </a:lnTo>
                  <a:lnTo>
                    <a:pt x="177" y="314"/>
                  </a:lnTo>
                  <a:lnTo>
                    <a:pt x="178" y="314"/>
                  </a:lnTo>
                  <a:lnTo>
                    <a:pt x="178" y="314"/>
                  </a:lnTo>
                  <a:lnTo>
                    <a:pt x="178" y="316"/>
                  </a:lnTo>
                  <a:lnTo>
                    <a:pt x="177" y="319"/>
                  </a:lnTo>
                  <a:lnTo>
                    <a:pt x="175" y="320"/>
                  </a:lnTo>
                  <a:lnTo>
                    <a:pt x="175" y="320"/>
                  </a:lnTo>
                  <a:lnTo>
                    <a:pt x="174" y="320"/>
                  </a:lnTo>
                  <a:lnTo>
                    <a:pt x="174" y="322"/>
                  </a:lnTo>
                  <a:lnTo>
                    <a:pt x="168" y="328"/>
                  </a:lnTo>
                  <a:lnTo>
                    <a:pt x="168" y="329"/>
                  </a:lnTo>
                  <a:lnTo>
                    <a:pt x="169" y="331"/>
                  </a:lnTo>
                  <a:lnTo>
                    <a:pt x="171" y="332"/>
                  </a:lnTo>
                  <a:lnTo>
                    <a:pt x="171" y="332"/>
                  </a:lnTo>
                  <a:lnTo>
                    <a:pt x="172" y="334"/>
                  </a:lnTo>
                  <a:lnTo>
                    <a:pt x="174" y="334"/>
                  </a:lnTo>
                  <a:lnTo>
                    <a:pt x="174" y="336"/>
                  </a:lnTo>
                  <a:lnTo>
                    <a:pt x="174" y="339"/>
                  </a:lnTo>
                  <a:lnTo>
                    <a:pt x="174" y="339"/>
                  </a:lnTo>
                  <a:lnTo>
                    <a:pt x="175" y="339"/>
                  </a:lnTo>
                  <a:lnTo>
                    <a:pt x="175" y="339"/>
                  </a:lnTo>
                  <a:lnTo>
                    <a:pt x="177" y="339"/>
                  </a:lnTo>
                  <a:lnTo>
                    <a:pt x="177" y="337"/>
                  </a:lnTo>
                  <a:lnTo>
                    <a:pt x="178" y="337"/>
                  </a:lnTo>
                  <a:lnTo>
                    <a:pt x="178" y="337"/>
                  </a:lnTo>
                  <a:lnTo>
                    <a:pt x="180" y="339"/>
                  </a:lnTo>
                  <a:lnTo>
                    <a:pt x="181" y="339"/>
                  </a:lnTo>
                  <a:lnTo>
                    <a:pt x="188" y="339"/>
                  </a:lnTo>
                  <a:lnTo>
                    <a:pt x="188" y="339"/>
                  </a:lnTo>
                  <a:lnTo>
                    <a:pt x="188" y="339"/>
                  </a:lnTo>
                  <a:lnTo>
                    <a:pt x="189" y="339"/>
                  </a:lnTo>
                  <a:lnTo>
                    <a:pt x="194" y="340"/>
                  </a:lnTo>
                  <a:lnTo>
                    <a:pt x="195" y="339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4" y="336"/>
                  </a:lnTo>
                  <a:lnTo>
                    <a:pt x="194" y="334"/>
                  </a:lnTo>
                  <a:lnTo>
                    <a:pt x="195" y="334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197" y="331"/>
                  </a:lnTo>
                  <a:lnTo>
                    <a:pt x="197" y="329"/>
                  </a:lnTo>
                  <a:lnTo>
                    <a:pt x="197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28"/>
                  </a:lnTo>
                  <a:lnTo>
                    <a:pt x="201" y="326"/>
                  </a:lnTo>
                  <a:lnTo>
                    <a:pt x="201" y="325"/>
                  </a:lnTo>
                  <a:lnTo>
                    <a:pt x="200" y="323"/>
                  </a:lnTo>
                  <a:lnTo>
                    <a:pt x="200" y="322"/>
                  </a:lnTo>
                  <a:lnTo>
                    <a:pt x="201" y="322"/>
                  </a:lnTo>
                  <a:lnTo>
                    <a:pt x="201" y="320"/>
                  </a:lnTo>
                  <a:lnTo>
                    <a:pt x="198" y="320"/>
                  </a:lnTo>
                  <a:lnTo>
                    <a:pt x="197" y="319"/>
                  </a:lnTo>
                  <a:lnTo>
                    <a:pt x="197" y="319"/>
                  </a:lnTo>
                  <a:lnTo>
                    <a:pt x="197" y="317"/>
                  </a:lnTo>
                  <a:lnTo>
                    <a:pt x="195" y="316"/>
                  </a:lnTo>
                  <a:lnTo>
                    <a:pt x="197" y="314"/>
                  </a:lnTo>
                  <a:lnTo>
                    <a:pt x="197" y="314"/>
                  </a:lnTo>
                  <a:lnTo>
                    <a:pt x="197" y="312"/>
                  </a:lnTo>
                  <a:lnTo>
                    <a:pt x="194" y="312"/>
                  </a:lnTo>
                  <a:lnTo>
                    <a:pt x="192" y="312"/>
                  </a:lnTo>
                  <a:lnTo>
                    <a:pt x="191" y="312"/>
                  </a:lnTo>
                  <a:lnTo>
                    <a:pt x="189" y="312"/>
                  </a:lnTo>
                  <a:lnTo>
                    <a:pt x="188" y="314"/>
                  </a:lnTo>
                  <a:lnTo>
                    <a:pt x="188" y="314"/>
                  </a:lnTo>
                  <a:lnTo>
                    <a:pt x="188" y="311"/>
                  </a:lnTo>
                  <a:lnTo>
                    <a:pt x="186" y="308"/>
                  </a:lnTo>
                  <a:lnTo>
                    <a:pt x="186" y="305"/>
                  </a:lnTo>
                  <a:lnTo>
                    <a:pt x="188" y="303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91" y="306"/>
                  </a:lnTo>
                  <a:lnTo>
                    <a:pt x="192" y="306"/>
                  </a:lnTo>
                  <a:lnTo>
                    <a:pt x="192" y="305"/>
                  </a:lnTo>
                  <a:lnTo>
                    <a:pt x="194" y="302"/>
                  </a:lnTo>
                  <a:lnTo>
                    <a:pt x="195" y="302"/>
                  </a:lnTo>
                  <a:lnTo>
                    <a:pt x="201" y="296"/>
                  </a:lnTo>
                  <a:lnTo>
                    <a:pt x="206" y="294"/>
                  </a:lnTo>
                  <a:lnTo>
                    <a:pt x="208" y="292"/>
                  </a:lnTo>
                  <a:lnTo>
                    <a:pt x="206" y="291"/>
                  </a:lnTo>
                  <a:lnTo>
                    <a:pt x="208" y="289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3" y="291"/>
                  </a:lnTo>
                  <a:lnTo>
                    <a:pt x="201" y="289"/>
                  </a:lnTo>
                  <a:lnTo>
                    <a:pt x="200" y="288"/>
                  </a:lnTo>
                  <a:lnTo>
                    <a:pt x="200" y="285"/>
                  </a:lnTo>
                  <a:lnTo>
                    <a:pt x="201" y="282"/>
                  </a:lnTo>
                  <a:lnTo>
                    <a:pt x="201" y="282"/>
                  </a:lnTo>
                  <a:lnTo>
                    <a:pt x="203" y="279"/>
                  </a:lnTo>
                  <a:lnTo>
                    <a:pt x="208" y="272"/>
                  </a:lnTo>
                  <a:lnTo>
                    <a:pt x="208" y="271"/>
                  </a:lnTo>
                  <a:lnTo>
                    <a:pt x="211" y="269"/>
                  </a:lnTo>
                  <a:lnTo>
                    <a:pt x="211" y="269"/>
                  </a:lnTo>
                  <a:lnTo>
                    <a:pt x="211" y="268"/>
                  </a:lnTo>
                  <a:lnTo>
                    <a:pt x="211" y="265"/>
                  </a:lnTo>
                  <a:lnTo>
                    <a:pt x="212" y="263"/>
                  </a:lnTo>
                  <a:lnTo>
                    <a:pt x="211" y="263"/>
                  </a:lnTo>
                  <a:lnTo>
                    <a:pt x="211" y="260"/>
                  </a:lnTo>
                  <a:lnTo>
                    <a:pt x="211" y="257"/>
                  </a:lnTo>
                  <a:lnTo>
                    <a:pt x="212" y="255"/>
                  </a:lnTo>
                  <a:lnTo>
                    <a:pt x="211" y="254"/>
                  </a:lnTo>
                  <a:lnTo>
                    <a:pt x="211" y="249"/>
                  </a:lnTo>
                  <a:lnTo>
                    <a:pt x="208" y="246"/>
                  </a:lnTo>
                  <a:lnTo>
                    <a:pt x="203" y="239"/>
                  </a:lnTo>
                  <a:lnTo>
                    <a:pt x="203" y="237"/>
                  </a:lnTo>
                  <a:lnTo>
                    <a:pt x="203" y="235"/>
                  </a:lnTo>
                  <a:lnTo>
                    <a:pt x="203" y="234"/>
                  </a:lnTo>
                  <a:lnTo>
                    <a:pt x="198" y="231"/>
                  </a:lnTo>
                  <a:lnTo>
                    <a:pt x="197" y="229"/>
                  </a:lnTo>
                  <a:lnTo>
                    <a:pt x="198" y="225"/>
                  </a:lnTo>
                  <a:lnTo>
                    <a:pt x="197" y="225"/>
                  </a:lnTo>
                  <a:lnTo>
                    <a:pt x="195" y="223"/>
                  </a:lnTo>
                  <a:lnTo>
                    <a:pt x="195" y="223"/>
                  </a:lnTo>
                  <a:lnTo>
                    <a:pt x="192" y="223"/>
                  </a:lnTo>
                  <a:lnTo>
                    <a:pt x="192" y="223"/>
                  </a:lnTo>
                  <a:lnTo>
                    <a:pt x="192" y="222"/>
                  </a:lnTo>
                  <a:lnTo>
                    <a:pt x="192" y="222"/>
                  </a:lnTo>
                  <a:lnTo>
                    <a:pt x="194" y="220"/>
                  </a:lnTo>
                  <a:lnTo>
                    <a:pt x="194" y="217"/>
                  </a:lnTo>
                  <a:lnTo>
                    <a:pt x="192" y="215"/>
                  </a:lnTo>
                  <a:lnTo>
                    <a:pt x="191" y="214"/>
                  </a:lnTo>
                  <a:lnTo>
                    <a:pt x="191" y="212"/>
                  </a:lnTo>
                  <a:lnTo>
                    <a:pt x="192" y="212"/>
                  </a:lnTo>
                  <a:lnTo>
                    <a:pt x="195" y="211"/>
                  </a:lnTo>
                  <a:lnTo>
                    <a:pt x="197" y="211"/>
                  </a:lnTo>
                  <a:lnTo>
                    <a:pt x="198" y="209"/>
                  </a:lnTo>
                  <a:lnTo>
                    <a:pt x="200" y="209"/>
                  </a:lnTo>
                  <a:lnTo>
                    <a:pt x="203" y="208"/>
                  </a:lnTo>
                  <a:lnTo>
                    <a:pt x="205" y="209"/>
                  </a:lnTo>
                  <a:lnTo>
                    <a:pt x="206" y="209"/>
                  </a:lnTo>
                  <a:lnTo>
                    <a:pt x="208" y="209"/>
                  </a:lnTo>
                  <a:lnTo>
                    <a:pt x="208" y="208"/>
                  </a:lnTo>
                  <a:lnTo>
                    <a:pt x="205" y="205"/>
                  </a:lnTo>
                  <a:lnTo>
                    <a:pt x="203" y="205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11" y="206"/>
                  </a:lnTo>
                  <a:lnTo>
                    <a:pt x="214" y="208"/>
                  </a:lnTo>
                  <a:lnTo>
                    <a:pt x="215" y="206"/>
                  </a:lnTo>
                  <a:lnTo>
                    <a:pt x="215" y="206"/>
                  </a:lnTo>
                  <a:lnTo>
                    <a:pt x="217" y="208"/>
                  </a:lnTo>
                  <a:lnTo>
                    <a:pt x="217" y="209"/>
                  </a:lnTo>
                  <a:lnTo>
                    <a:pt x="218" y="209"/>
                  </a:lnTo>
                  <a:lnTo>
                    <a:pt x="220" y="209"/>
                  </a:lnTo>
                  <a:lnTo>
                    <a:pt x="222" y="211"/>
                  </a:lnTo>
                  <a:lnTo>
                    <a:pt x="222" y="212"/>
                  </a:lnTo>
                  <a:lnTo>
                    <a:pt x="225" y="211"/>
                  </a:lnTo>
                  <a:lnTo>
                    <a:pt x="225" y="209"/>
                  </a:lnTo>
                  <a:lnTo>
                    <a:pt x="225" y="208"/>
                  </a:lnTo>
                  <a:lnTo>
                    <a:pt x="229" y="209"/>
                  </a:lnTo>
                  <a:lnTo>
                    <a:pt x="231" y="209"/>
                  </a:lnTo>
                  <a:lnTo>
                    <a:pt x="232" y="208"/>
                  </a:lnTo>
                  <a:lnTo>
                    <a:pt x="235" y="205"/>
                  </a:lnTo>
                  <a:lnTo>
                    <a:pt x="243" y="203"/>
                  </a:lnTo>
                  <a:lnTo>
                    <a:pt x="249" y="203"/>
                  </a:lnTo>
                  <a:lnTo>
                    <a:pt x="252" y="202"/>
                  </a:lnTo>
                  <a:lnTo>
                    <a:pt x="254" y="200"/>
                  </a:lnTo>
                  <a:lnTo>
                    <a:pt x="255" y="197"/>
                  </a:lnTo>
                  <a:lnTo>
                    <a:pt x="255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4"/>
                  </a:lnTo>
                  <a:lnTo>
                    <a:pt x="257" y="192"/>
                  </a:lnTo>
                  <a:lnTo>
                    <a:pt x="255" y="192"/>
                  </a:lnTo>
                  <a:lnTo>
                    <a:pt x="254" y="191"/>
                  </a:lnTo>
                  <a:lnTo>
                    <a:pt x="249" y="188"/>
                  </a:lnTo>
                  <a:lnTo>
                    <a:pt x="248" y="188"/>
                  </a:lnTo>
                  <a:lnTo>
                    <a:pt x="246" y="186"/>
                  </a:lnTo>
                  <a:lnTo>
                    <a:pt x="246" y="185"/>
                  </a:lnTo>
                  <a:lnTo>
                    <a:pt x="248" y="183"/>
                  </a:lnTo>
                  <a:lnTo>
                    <a:pt x="248" y="183"/>
                  </a:lnTo>
                  <a:lnTo>
                    <a:pt x="248" y="183"/>
                  </a:lnTo>
                  <a:lnTo>
                    <a:pt x="249" y="183"/>
                  </a:lnTo>
                  <a:lnTo>
                    <a:pt x="249" y="182"/>
                  </a:lnTo>
                  <a:lnTo>
                    <a:pt x="251" y="180"/>
                  </a:lnTo>
                  <a:lnTo>
                    <a:pt x="251" y="180"/>
                  </a:lnTo>
                  <a:lnTo>
                    <a:pt x="252" y="178"/>
                  </a:lnTo>
                  <a:lnTo>
                    <a:pt x="254" y="177"/>
                  </a:lnTo>
                  <a:lnTo>
                    <a:pt x="254" y="177"/>
                  </a:lnTo>
                  <a:lnTo>
                    <a:pt x="258" y="177"/>
                  </a:lnTo>
                  <a:lnTo>
                    <a:pt x="258" y="175"/>
                  </a:lnTo>
                  <a:lnTo>
                    <a:pt x="260" y="172"/>
                  </a:lnTo>
                  <a:lnTo>
                    <a:pt x="262" y="171"/>
                  </a:lnTo>
                  <a:lnTo>
                    <a:pt x="265" y="169"/>
                  </a:lnTo>
                  <a:lnTo>
                    <a:pt x="266" y="168"/>
                  </a:lnTo>
                  <a:lnTo>
                    <a:pt x="269" y="166"/>
                  </a:lnTo>
                  <a:lnTo>
                    <a:pt x="269" y="165"/>
                  </a:lnTo>
                  <a:lnTo>
                    <a:pt x="272" y="163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2" y="158"/>
                  </a:lnTo>
                  <a:lnTo>
                    <a:pt x="272" y="155"/>
                  </a:lnTo>
                  <a:lnTo>
                    <a:pt x="272" y="154"/>
                  </a:lnTo>
                  <a:lnTo>
                    <a:pt x="274" y="151"/>
                  </a:lnTo>
                  <a:lnTo>
                    <a:pt x="274" y="146"/>
                  </a:lnTo>
                  <a:lnTo>
                    <a:pt x="274" y="143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5" y="138"/>
                  </a:lnTo>
                  <a:lnTo>
                    <a:pt x="263" y="138"/>
                  </a:lnTo>
                  <a:lnTo>
                    <a:pt x="262" y="138"/>
                  </a:lnTo>
                  <a:lnTo>
                    <a:pt x="257" y="137"/>
                  </a:lnTo>
                  <a:lnTo>
                    <a:pt x="251" y="135"/>
                  </a:lnTo>
                  <a:lnTo>
                    <a:pt x="249" y="134"/>
                  </a:lnTo>
                  <a:lnTo>
                    <a:pt x="248" y="132"/>
                  </a:lnTo>
                  <a:lnTo>
                    <a:pt x="248" y="131"/>
                  </a:lnTo>
                  <a:lnTo>
                    <a:pt x="248" y="129"/>
                  </a:lnTo>
                  <a:lnTo>
                    <a:pt x="248" y="126"/>
                  </a:lnTo>
                  <a:lnTo>
                    <a:pt x="246" y="125"/>
                  </a:lnTo>
                  <a:lnTo>
                    <a:pt x="248" y="125"/>
                  </a:lnTo>
                  <a:lnTo>
                    <a:pt x="252" y="123"/>
                  </a:lnTo>
                  <a:lnTo>
                    <a:pt x="249" y="120"/>
                  </a:lnTo>
                  <a:lnTo>
                    <a:pt x="249" y="120"/>
                  </a:lnTo>
                  <a:lnTo>
                    <a:pt x="249" y="118"/>
                  </a:lnTo>
                  <a:lnTo>
                    <a:pt x="249" y="118"/>
                  </a:lnTo>
                  <a:lnTo>
                    <a:pt x="249" y="117"/>
                  </a:lnTo>
                  <a:lnTo>
                    <a:pt x="249" y="115"/>
                  </a:lnTo>
                  <a:lnTo>
                    <a:pt x="249" y="114"/>
                  </a:lnTo>
                  <a:lnTo>
                    <a:pt x="251" y="114"/>
                  </a:lnTo>
                  <a:lnTo>
                    <a:pt x="254" y="112"/>
                  </a:lnTo>
                  <a:lnTo>
                    <a:pt x="260" y="112"/>
                  </a:lnTo>
                  <a:lnTo>
                    <a:pt x="265" y="114"/>
                  </a:lnTo>
                  <a:lnTo>
                    <a:pt x="268" y="114"/>
                  </a:lnTo>
                  <a:lnTo>
                    <a:pt x="269" y="114"/>
                  </a:lnTo>
                  <a:lnTo>
                    <a:pt x="272" y="114"/>
                  </a:lnTo>
                  <a:lnTo>
                    <a:pt x="274" y="112"/>
                  </a:lnTo>
                  <a:lnTo>
                    <a:pt x="274" y="108"/>
                  </a:lnTo>
                  <a:lnTo>
                    <a:pt x="275" y="94"/>
                  </a:lnTo>
                  <a:lnTo>
                    <a:pt x="275" y="91"/>
                  </a:lnTo>
                  <a:lnTo>
                    <a:pt x="275" y="88"/>
                  </a:lnTo>
                  <a:lnTo>
                    <a:pt x="277" y="86"/>
                  </a:lnTo>
                  <a:lnTo>
                    <a:pt x="283" y="77"/>
                  </a:lnTo>
                  <a:lnTo>
                    <a:pt x="285" y="72"/>
                  </a:lnTo>
                  <a:lnTo>
                    <a:pt x="285" y="69"/>
                  </a:lnTo>
                  <a:lnTo>
                    <a:pt x="285" y="65"/>
                  </a:lnTo>
                  <a:lnTo>
                    <a:pt x="285" y="55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5" y="48"/>
                  </a:lnTo>
                  <a:close/>
                  <a:moveTo>
                    <a:pt x="172" y="15"/>
                  </a:moveTo>
                  <a:lnTo>
                    <a:pt x="175" y="14"/>
                  </a:lnTo>
                  <a:lnTo>
                    <a:pt x="178" y="14"/>
                  </a:lnTo>
                  <a:lnTo>
                    <a:pt x="186" y="14"/>
                  </a:lnTo>
                  <a:lnTo>
                    <a:pt x="192" y="11"/>
                  </a:lnTo>
                  <a:lnTo>
                    <a:pt x="189" y="9"/>
                  </a:lnTo>
                  <a:lnTo>
                    <a:pt x="172" y="11"/>
                  </a:lnTo>
                  <a:lnTo>
                    <a:pt x="171" y="11"/>
                  </a:lnTo>
                  <a:lnTo>
                    <a:pt x="169" y="11"/>
                  </a:lnTo>
                  <a:lnTo>
                    <a:pt x="169" y="12"/>
                  </a:lnTo>
                  <a:lnTo>
                    <a:pt x="171" y="15"/>
                  </a:lnTo>
                  <a:lnTo>
                    <a:pt x="172" y="15"/>
                  </a:lnTo>
                  <a:close/>
                  <a:moveTo>
                    <a:pt x="206" y="11"/>
                  </a:moveTo>
                  <a:lnTo>
                    <a:pt x="206" y="12"/>
                  </a:lnTo>
                  <a:lnTo>
                    <a:pt x="206" y="12"/>
                  </a:lnTo>
                  <a:lnTo>
                    <a:pt x="208" y="11"/>
                  </a:lnTo>
                  <a:lnTo>
                    <a:pt x="220" y="6"/>
                  </a:lnTo>
                  <a:lnTo>
                    <a:pt x="222" y="6"/>
                  </a:lnTo>
                  <a:lnTo>
                    <a:pt x="222" y="6"/>
                  </a:lnTo>
                  <a:lnTo>
                    <a:pt x="220" y="4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8" y="8"/>
                  </a:lnTo>
                  <a:lnTo>
                    <a:pt x="206" y="9"/>
                  </a:lnTo>
                  <a:lnTo>
                    <a:pt x="206" y="11"/>
                  </a:lnTo>
                  <a:lnTo>
                    <a:pt x="206" y="11"/>
                  </a:lnTo>
                  <a:close/>
                  <a:moveTo>
                    <a:pt x="231" y="1"/>
                  </a:move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4" y="1"/>
                  </a:lnTo>
                  <a:lnTo>
                    <a:pt x="231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1" y="1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45"/>
            <p:cNvSpPr>
              <a:spLocks/>
            </p:cNvSpPr>
            <p:nvPr/>
          </p:nvSpPr>
          <p:spPr bwMode="gray">
            <a:xfrm>
              <a:off x="7864475" y="7764463"/>
              <a:ext cx="227013" cy="271463"/>
            </a:xfrm>
            <a:custGeom>
              <a:avLst/>
              <a:gdLst>
                <a:gd name="T0" fmla="*/ 126 w 143"/>
                <a:gd name="T1" fmla="*/ 59 h 171"/>
                <a:gd name="T2" fmla="*/ 112 w 143"/>
                <a:gd name="T3" fmla="*/ 48 h 171"/>
                <a:gd name="T4" fmla="*/ 109 w 143"/>
                <a:gd name="T5" fmla="*/ 45 h 171"/>
                <a:gd name="T6" fmla="*/ 98 w 143"/>
                <a:gd name="T7" fmla="*/ 45 h 171"/>
                <a:gd name="T8" fmla="*/ 90 w 143"/>
                <a:gd name="T9" fmla="*/ 40 h 171"/>
                <a:gd name="T10" fmla="*/ 80 w 143"/>
                <a:gd name="T11" fmla="*/ 31 h 171"/>
                <a:gd name="T12" fmla="*/ 67 w 143"/>
                <a:gd name="T13" fmla="*/ 15 h 171"/>
                <a:gd name="T14" fmla="*/ 52 w 143"/>
                <a:gd name="T15" fmla="*/ 0 h 171"/>
                <a:gd name="T16" fmla="*/ 43 w 143"/>
                <a:gd name="T17" fmla="*/ 2 h 171"/>
                <a:gd name="T18" fmla="*/ 35 w 143"/>
                <a:gd name="T19" fmla="*/ 3 h 171"/>
                <a:gd name="T20" fmla="*/ 36 w 143"/>
                <a:gd name="T21" fmla="*/ 6 h 171"/>
                <a:gd name="T22" fmla="*/ 40 w 143"/>
                <a:gd name="T23" fmla="*/ 11 h 171"/>
                <a:gd name="T24" fmla="*/ 43 w 143"/>
                <a:gd name="T25" fmla="*/ 25 h 171"/>
                <a:gd name="T26" fmla="*/ 41 w 143"/>
                <a:gd name="T27" fmla="*/ 28 h 171"/>
                <a:gd name="T28" fmla="*/ 38 w 143"/>
                <a:gd name="T29" fmla="*/ 22 h 171"/>
                <a:gd name="T30" fmla="*/ 29 w 143"/>
                <a:gd name="T31" fmla="*/ 22 h 171"/>
                <a:gd name="T32" fmla="*/ 18 w 143"/>
                <a:gd name="T33" fmla="*/ 32 h 171"/>
                <a:gd name="T34" fmla="*/ 15 w 143"/>
                <a:gd name="T35" fmla="*/ 54 h 171"/>
                <a:gd name="T36" fmla="*/ 0 w 143"/>
                <a:gd name="T37" fmla="*/ 62 h 171"/>
                <a:gd name="T38" fmla="*/ 0 w 143"/>
                <a:gd name="T39" fmla="*/ 72 h 171"/>
                <a:gd name="T40" fmla="*/ 7 w 143"/>
                <a:gd name="T41" fmla="*/ 86 h 171"/>
                <a:gd name="T42" fmla="*/ 4 w 143"/>
                <a:gd name="T43" fmla="*/ 96 h 171"/>
                <a:gd name="T44" fmla="*/ 1 w 143"/>
                <a:gd name="T45" fmla="*/ 99 h 171"/>
                <a:gd name="T46" fmla="*/ 0 w 143"/>
                <a:gd name="T47" fmla="*/ 106 h 171"/>
                <a:gd name="T48" fmla="*/ 4 w 143"/>
                <a:gd name="T49" fmla="*/ 112 h 171"/>
                <a:gd name="T50" fmla="*/ 4 w 143"/>
                <a:gd name="T51" fmla="*/ 111 h 171"/>
                <a:gd name="T52" fmla="*/ 18 w 143"/>
                <a:gd name="T53" fmla="*/ 109 h 171"/>
                <a:gd name="T54" fmla="*/ 15 w 143"/>
                <a:gd name="T55" fmla="*/ 114 h 171"/>
                <a:gd name="T56" fmla="*/ 9 w 143"/>
                <a:gd name="T57" fmla="*/ 116 h 171"/>
                <a:gd name="T58" fmla="*/ 12 w 143"/>
                <a:gd name="T59" fmla="*/ 119 h 171"/>
                <a:gd name="T60" fmla="*/ 16 w 143"/>
                <a:gd name="T61" fmla="*/ 117 h 171"/>
                <a:gd name="T62" fmla="*/ 20 w 143"/>
                <a:gd name="T63" fmla="*/ 122 h 171"/>
                <a:gd name="T64" fmla="*/ 24 w 143"/>
                <a:gd name="T65" fmla="*/ 129 h 171"/>
                <a:gd name="T66" fmla="*/ 27 w 143"/>
                <a:gd name="T67" fmla="*/ 128 h 171"/>
                <a:gd name="T68" fmla="*/ 33 w 143"/>
                <a:gd name="T69" fmla="*/ 128 h 171"/>
                <a:gd name="T70" fmla="*/ 40 w 143"/>
                <a:gd name="T71" fmla="*/ 140 h 171"/>
                <a:gd name="T72" fmla="*/ 44 w 143"/>
                <a:gd name="T73" fmla="*/ 142 h 171"/>
                <a:gd name="T74" fmla="*/ 52 w 143"/>
                <a:gd name="T75" fmla="*/ 153 h 171"/>
                <a:gd name="T76" fmla="*/ 53 w 143"/>
                <a:gd name="T77" fmla="*/ 159 h 171"/>
                <a:gd name="T78" fmla="*/ 57 w 143"/>
                <a:gd name="T79" fmla="*/ 163 h 171"/>
                <a:gd name="T80" fmla="*/ 69 w 143"/>
                <a:gd name="T81" fmla="*/ 171 h 171"/>
                <a:gd name="T82" fmla="*/ 67 w 143"/>
                <a:gd name="T83" fmla="*/ 165 h 171"/>
                <a:gd name="T84" fmla="*/ 67 w 143"/>
                <a:gd name="T85" fmla="*/ 160 h 171"/>
                <a:gd name="T86" fmla="*/ 67 w 143"/>
                <a:gd name="T87" fmla="*/ 156 h 171"/>
                <a:gd name="T88" fmla="*/ 69 w 143"/>
                <a:gd name="T89" fmla="*/ 145 h 171"/>
                <a:gd name="T90" fmla="*/ 61 w 143"/>
                <a:gd name="T91" fmla="*/ 137 h 171"/>
                <a:gd name="T92" fmla="*/ 72 w 143"/>
                <a:gd name="T93" fmla="*/ 119 h 171"/>
                <a:gd name="T94" fmla="*/ 81 w 143"/>
                <a:gd name="T95" fmla="*/ 108 h 171"/>
                <a:gd name="T96" fmla="*/ 84 w 143"/>
                <a:gd name="T97" fmla="*/ 103 h 171"/>
                <a:gd name="T98" fmla="*/ 90 w 143"/>
                <a:gd name="T99" fmla="*/ 92 h 171"/>
                <a:gd name="T100" fmla="*/ 97 w 143"/>
                <a:gd name="T101" fmla="*/ 97 h 171"/>
                <a:gd name="T102" fmla="*/ 95 w 143"/>
                <a:gd name="T103" fmla="*/ 102 h 171"/>
                <a:gd name="T104" fmla="*/ 103 w 143"/>
                <a:gd name="T105" fmla="*/ 109 h 171"/>
                <a:gd name="T106" fmla="*/ 107 w 143"/>
                <a:gd name="T107" fmla="*/ 106 h 171"/>
                <a:gd name="T108" fmla="*/ 121 w 143"/>
                <a:gd name="T109" fmla="*/ 102 h 171"/>
                <a:gd name="T110" fmla="*/ 123 w 143"/>
                <a:gd name="T111" fmla="*/ 92 h 171"/>
                <a:gd name="T112" fmla="*/ 118 w 143"/>
                <a:gd name="T113" fmla="*/ 83 h 171"/>
                <a:gd name="T114" fmla="*/ 124 w 143"/>
                <a:gd name="T115" fmla="*/ 79 h 171"/>
                <a:gd name="T116" fmla="*/ 130 w 143"/>
                <a:gd name="T117" fmla="*/ 77 h 171"/>
                <a:gd name="T118" fmla="*/ 141 w 143"/>
                <a:gd name="T119" fmla="*/ 6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3" h="171">
                  <a:moveTo>
                    <a:pt x="141" y="66"/>
                  </a:moveTo>
                  <a:lnTo>
                    <a:pt x="141" y="65"/>
                  </a:lnTo>
                  <a:lnTo>
                    <a:pt x="137" y="63"/>
                  </a:lnTo>
                  <a:lnTo>
                    <a:pt x="132" y="60"/>
                  </a:lnTo>
                  <a:lnTo>
                    <a:pt x="130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4" y="59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7" y="51"/>
                  </a:lnTo>
                  <a:lnTo>
                    <a:pt x="112" y="48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0" y="45"/>
                  </a:lnTo>
                  <a:lnTo>
                    <a:pt x="110" y="43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7" y="46"/>
                  </a:lnTo>
                  <a:lnTo>
                    <a:pt x="106" y="46"/>
                  </a:lnTo>
                  <a:lnTo>
                    <a:pt x="104" y="46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98" y="45"/>
                  </a:lnTo>
                  <a:lnTo>
                    <a:pt x="97" y="43"/>
                  </a:lnTo>
                  <a:lnTo>
                    <a:pt x="95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87" y="39"/>
                  </a:lnTo>
                  <a:lnTo>
                    <a:pt x="86" y="37"/>
                  </a:lnTo>
                  <a:lnTo>
                    <a:pt x="84" y="37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0" y="31"/>
                  </a:lnTo>
                  <a:lnTo>
                    <a:pt x="78" y="29"/>
                  </a:lnTo>
                  <a:lnTo>
                    <a:pt x="77" y="28"/>
                  </a:lnTo>
                  <a:lnTo>
                    <a:pt x="77" y="26"/>
                  </a:lnTo>
                  <a:lnTo>
                    <a:pt x="72" y="22"/>
                  </a:lnTo>
                  <a:lnTo>
                    <a:pt x="69" y="17"/>
                  </a:lnTo>
                  <a:lnTo>
                    <a:pt x="67" y="15"/>
                  </a:lnTo>
                  <a:lnTo>
                    <a:pt x="58" y="11"/>
                  </a:lnTo>
                  <a:lnTo>
                    <a:pt x="55" y="9"/>
                  </a:lnTo>
                  <a:lnTo>
                    <a:pt x="55" y="6"/>
                  </a:lnTo>
                  <a:lnTo>
                    <a:pt x="53" y="3"/>
                  </a:lnTo>
                  <a:lnTo>
                    <a:pt x="55" y="2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6" y="5"/>
                  </a:lnTo>
                  <a:lnTo>
                    <a:pt x="44" y="3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11"/>
                  </a:lnTo>
                  <a:lnTo>
                    <a:pt x="43" y="14"/>
                  </a:lnTo>
                  <a:lnTo>
                    <a:pt x="44" y="20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5" y="20"/>
                  </a:lnTo>
                  <a:lnTo>
                    <a:pt x="33" y="20"/>
                  </a:lnTo>
                  <a:lnTo>
                    <a:pt x="29" y="20"/>
                  </a:lnTo>
                  <a:lnTo>
                    <a:pt x="27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7" y="23"/>
                  </a:lnTo>
                  <a:lnTo>
                    <a:pt x="18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5" y="37"/>
                  </a:lnTo>
                  <a:lnTo>
                    <a:pt x="13" y="40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5" y="54"/>
                  </a:lnTo>
                  <a:lnTo>
                    <a:pt x="12" y="52"/>
                  </a:lnTo>
                  <a:lnTo>
                    <a:pt x="7" y="52"/>
                  </a:lnTo>
                  <a:lnTo>
                    <a:pt x="3" y="54"/>
                  </a:lnTo>
                  <a:lnTo>
                    <a:pt x="1" y="56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3"/>
                  </a:lnTo>
                  <a:lnTo>
                    <a:pt x="1" y="68"/>
                  </a:lnTo>
                  <a:lnTo>
                    <a:pt x="3" y="69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1" y="77"/>
                  </a:lnTo>
                  <a:lnTo>
                    <a:pt x="1" y="79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7" y="86"/>
                  </a:lnTo>
                  <a:lnTo>
                    <a:pt x="7" y="89"/>
                  </a:lnTo>
                  <a:lnTo>
                    <a:pt x="7" y="92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6" y="96"/>
                  </a:lnTo>
                  <a:lnTo>
                    <a:pt x="4" y="96"/>
                  </a:lnTo>
                  <a:lnTo>
                    <a:pt x="3" y="97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0" y="99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4"/>
                  </a:lnTo>
                  <a:lnTo>
                    <a:pt x="4" y="116"/>
                  </a:lnTo>
                  <a:lnTo>
                    <a:pt x="6" y="116"/>
                  </a:lnTo>
                  <a:lnTo>
                    <a:pt x="4" y="116"/>
                  </a:lnTo>
                  <a:lnTo>
                    <a:pt x="6" y="112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8" y="108"/>
                  </a:lnTo>
                  <a:lnTo>
                    <a:pt x="18" y="109"/>
                  </a:lnTo>
                  <a:lnTo>
                    <a:pt x="18" y="109"/>
                  </a:lnTo>
                  <a:lnTo>
                    <a:pt x="20" y="114"/>
                  </a:lnTo>
                  <a:lnTo>
                    <a:pt x="20" y="116"/>
                  </a:lnTo>
                  <a:lnTo>
                    <a:pt x="20" y="117"/>
                  </a:lnTo>
                  <a:lnTo>
                    <a:pt x="18" y="116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9" y="112"/>
                  </a:lnTo>
                  <a:lnTo>
                    <a:pt x="7" y="112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10" y="116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5" y="119"/>
                  </a:lnTo>
                  <a:lnTo>
                    <a:pt x="15" y="120"/>
                  </a:lnTo>
                  <a:lnTo>
                    <a:pt x="15" y="120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8" y="119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3"/>
                  </a:lnTo>
                  <a:lnTo>
                    <a:pt x="21" y="125"/>
                  </a:lnTo>
                  <a:lnTo>
                    <a:pt x="24" y="126"/>
                  </a:lnTo>
                  <a:lnTo>
                    <a:pt x="24" y="128"/>
                  </a:lnTo>
                  <a:lnTo>
                    <a:pt x="24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7" y="126"/>
                  </a:lnTo>
                  <a:lnTo>
                    <a:pt x="27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30" y="126"/>
                  </a:lnTo>
                  <a:lnTo>
                    <a:pt x="32" y="126"/>
                  </a:lnTo>
                  <a:lnTo>
                    <a:pt x="33" y="128"/>
                  </a:lnTo>
                  <a:lnTo>
                    <a:pt x="33" y="129"/>
                  </a:lnTo>
                  <a:lnTo>
                    <a:pt x="33" y="132"/>
                  </a:lnTo>
                  <a:lnTo>
                    <a:pt x="35" y="134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41" y="142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6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6"/>
                  </a:lnTo>
                  <a:lnTo>
                    <a:pt x="47" y="148"/>
                  </a:lnTo>
                  <a:lnTo>
                    <a:pt x="52" y="153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2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60"/>
                  </a:lnTo>
                  <a:lnTo>
                    <a:pt x="53" y="160"/>
                  </a:lnTo>
                  <a:lnTo>
                    <a:pt x="53" y="162"/>
                  </a:lnTo>
                  <a:lnTo>
                    <a:pt x="53" y="162"/>
                  </a:lnTo>
                  <a:lnTo>
                    <a:pt x="55" y="163"/>
                  </a:lnTo>
                  <a:lnTo>
                    <a:pt x="57" y="163"/>
                  </a:lnTo>
                  <a:lnTo>
                    <a:pt x="58" y="165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7" y="169"/>
                  </a:lnTo>
                  <a:lnTo>
                    <a:pt x="69" y="171"/>
                  </a:lnTo>
                  <a:lnTo>
                    <a:pt x="69" y="171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67" y="166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63"/>
                  </a:lnTo>
                  <a:lnTo>
                    <a:pt x="67" y="163"/>
                  </a:lnTo>
                  <a:lnTo>
                    <a:pt x="67" y="163"/>
                  </a:lnTo>
                  <a:lnTo>
                    <a:pt x="67" y="162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9" y="159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67" y="156"/>
                  </a:lnTo>
                  <a:lnTo>
                    <a:pt x="67" y="154"/>
                  </a:lnTo>
                  <a:lnTo>
                    <a:pt x="67" y="151"/>
                  </a:lnTo>
                  <a:lnTo>
                    <a:pt x="67" y="149"/>
                  </a:lnTo>
                  <a:lnTo>
                    <a:pt x="69" y="146"/>
                  </a:lnTo>
                  <a:lnTo>
                    <a:pt x="69" y="146"/>
                  </a:lnTo>
                  <a:lnTo>
                    <a:pt x="69" y="145"/>
                  </a:lnTo>
                  <a:lnTo>
                    <a:pt x="67" y="145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1" y="139"/>
                  </a:lnTo>
                  <a:lnTo>
                    <a:pt x="61" y="137"/>
                  </a:lnTo>
                  <a:lnTo>
                    <a:pt x="64" y="134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0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7" y="114"/>
                  </a:lnTo>
                  <a:lnTo>
                    <a:pt x="77" y="112"/>
                  </a:lnTo>
                  <a:lnTo>
                    <a:pt x="78" y="111"/>
                  </a:lnTo>
                  <a:lnTo>
                    <a:pt x="80" y="111"/>
                  </a:lnTo>
                  <a:lnTo>
                    <a:pt x="81" y="108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4" y="103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6" y="99"/>
                  </a:lnTo>
                  <a:lnTo>
                    <a:pt x="86" y="97"/>
                  </a:lnTo>
                  <a:lnTo>
                    <a:pt x="87" y="96"/>
                  </a:lnTo>
                  <a:lnTo>
                    <a:pt x="89" y="92"/>
                  </a:lnTo>
                  <a:lnTo>
                    <a:pt x="90" y="92"/>
                  </a:lnTo>
                  <a:lnTo>
                    <a:pt x="92" y="91"/>
                  </a:lnTo>
                  <a:lnTo>
                    <a:pt x="93" y="91"/>
                  </a:lnTo>
                  <a:lnTo>
                    <a:pt x="95" y="91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7" y="97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100"/>
                  </a:lnTo>
                  <a:lnTo>
                    <a:pt x="95" y="100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7" y="103"/>
                  </a:lnTo>
                  <a:lnTo>
                    <a:pt x="97" y="106"/>
                  </a:lnTo>
                  <a:lnTo>
                    <a:pt x="100" y="108"/>
                  </a:lnTo>
                  <a:lnTo>
                    <a:pt x="101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6" y="108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9" y="105"/>
                  </a:lnTo>
                  <a:lnTo>
                    <a:pt x="112" y="105"/>
                  </a:lnTo>
                  <a:lnTo>
                    <a:pt x="114" y="105"/>
                  </a:lnTo>
                  <a:lnTo>
                    <a:pt x="117" y="102"/>
                  </a:lnTo>
                  <a:lnTo>
                    <a:pt x="118" y="100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1" y="99"/>
                  </a:lnTo>
                  <a:lnTo>
                    <a:pt x="121" y="97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3" y="89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8" y="83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4" y="79"/>
                  </a:lnTo>
                  <a:lnTo>
                    <a:pt x="127" y="80"/>
                  </a:lnTo>
                  <a:lnTo>
                    <a:pt x="129" y="82"/>
                  </a:lnTo>
                  <a:lnTo>
                    <a:pt x="130" y="80"/>
                  </a:lnTo>
                  <a:lnTo>
                    <a:pt x="132" y="79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5" y="74"/>
                  </a:lnTo>
                  <a:lnTo>
                    <a:pt x="141" y="72"/>
                  </a:lnTo>
                  <a:lnTo>
                    <a:pt x="143" y="69"/>
                  </a:lnTo>
                  <a:lnTo>
                    <a:pt x="141" y="6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gray">
            <a:xfrm>
              <a:off x="7864475" y="7764463"/>
              <a:ext cx="227013" cy="271463"/>
            </a:xfrm>
            <a:custGeom>
              <a:avLst/>
              <a:gdLst>
                <a:gd name="T0" fmla="*/ 126 w 143"/>
                <a:gd name="T1" fmla="*/ 59 h 171"/>
                <a:gd name="T2" fmla="*/ 112 w 143"/>
                <a:gd name="T3" fmla="*/ 48 h 171"/>
                <a:gd name="T4" fmla="*/ 109 w 143"/>
                <a:gd name="T5" fmla="*/ 45 h 171"/>
                <a:gd name="T6" fmla="*/ 98 w 143"/>
                <a:gd name="T7" fmla="*/ 45 h 171"/>
                <a:gd name="T8" fmla="*/ 90 w 143"/>
                <a:gd name="T9" fmla="*/ 40 h 171"/>
                <a:gd name="T10" fmla="*/ 80 w 143"/>
                <a:gd name="T11" fmla="*/ 31 h 171"/>
                <a:gd name="T12" fmla="*/ 67 w 143"/>
                <a:gd name="T13" fmla="*/ 15 h 171"/>
                <a:gd name="T14" fmla="*/ 52 w 143"/>
                <a:gd name="T15" fmla="*/ 0 h 171"/>
                <a:gd name="T16" fmla="*/ 43 w 143"/>
                <a:gd name="T17" fmla="*/ 2 h 171"/>
                <a:gd name="T18" fmla="*/ 35 w 143"/>
                <a:gd name="T19" fmla="*/ 3 h 171"/>
                <a:gd name="T20" fmla="*/ 36 w 143"/>
                <a:gd name="T21" fmla="*/ 6 h 171"/>
                <a:gd name="T22" fmla="*/ 40 w 143"/>
                <a:gd name="T23" fmla="*/ 11 h 171"/>
                <a:gd name="T24" fmla="*/ 43 w 143"/>
                <a:gd name="T25" fmla="*/ 25 h 171"/>
                <a:gd name="T26" fmla="*/ 41 w 143"/>
                <a:gd name="T27" fmla="*/ 28 h 171"/>
                <a:gd name="T28" fmla="*/ 38 w 143"/>
                <a:gd name="T29" fmla="*/ 22 h 171"/>
                <a:gd name="T30" fmla="*/ 29 w 143"/>
                <a:gd name="T31" fmla="*/ 22 h 171"/>
                <a:gd name="T32" fmla="*/ 18 w 143"/>
                <a:gd name="T33" fmla="*/ 32 h 171"/>
                <a:gd name="T34" fmla="*/ 15 w 143"/>
                <a:gd name="T35" fmla="*/ 54 h 171"/>
                <a:gd name="T36" fmla="*/ 0 w 143"/>
                <a:gd name="T37" fmla="*/ 62 h 171"/>
                <a:gd name="T38" fmla="*/ 0 w 143"/>
                <a:gd name="T39" fmla="*/ 72 h 171"/>
                <a:gd name="T40" fmla="*/ 7 w 143"/>
                <a:gd name="T41" fmla="*/ 86 h 171"/>
                <a:gd name="T42" fmla="*/ 4 w 143"/>
                <a:gd name="T43" fmla="*/ 96 h 171"/>
                <a:gd name="T44" fmla="*/ 1 w 143"/>
                <a:gd name="T45" fmla="*/ 99 h 171"/>
                <a:gd name="T46" fmla="*/ 0 w 143"/>
                <a:gd name="T47" fmla="*/ 106 h 171"/>
                <a:gd name="T48" fmla="*/ 4 w 143"/>
                <a:gd name="T49" fmla="*/ 112 h 171"/>
                <a:gd name="T50" fmla="*/ 4 w 143"/>
                <a:gd name="T51" fmla="*/ 111 h 171"/>
                <a:gd name="T52" fmla="*/ 18 w 143"/>
                <a:gd name="T53" fmla="*/ 109 h 171"/>
                <a:gd name="T54" fmla="*/ 15 w 143"/>
                <a:gd name="T55" fmla="*/ 114 h 171"/>
                <a:gd name="T56" fmla="*/ 9 w 143"/>
                <a:gd name="T57" fmla="*/ 116 h 171"/>
                <a:gd name="T58" fmla="*/ 12 w 143"/>
                <a:gd name="T59" fmla="*/ 119 h 171"/>
                <a:gd name="T60" fmla="*/ 16 w 143"/>
                <a:gd name="T61" fmla="*/ 117 h 171"/>
                <a:gd name="T62" fmla="*/ 20 w 143"/>
                <a:gd name="T63" fmla="*/ 122 h 171"/>
                <a:gd name="T64" fmla="*/ 24 w 143"/>
                <a:gd name="T65" fmla="*/ 129 h 171"/>
                <a:gd name="T66" fmla="*/ 27 w 143"/>
                <a:gd name="T67" fmla="*/ 128 h 171"/>
                <a:gd name="T68" fmla="*/ 33 w 143"/>
                <a:gd name="T69" fmla="*/ 128 h 171"/>
                <a:gd name="T70" fmla="*/ 40 w 143"/>
                <a:gd name="T71" fmla="*/ 140 h 171"/>
                <a:gd name="T72" fmla="*/ 44 w 143"/>
                <a:gd name="T73" fmla="*/ 142 h 171"/>
                <a:gd name="T74" fmla="*/ 52 w 143"/>
                <a:gd name="T75" fmla="*/ 153 h 171"/>
                <a:gd name="T76" fmla="*/ 53 w 143"/>
                <a:gd name="T77" fmla="*/ 159 h 171"/>
                <a:gd name="T78" fmla="*/ 57 w 143"/>
                <a:gd name="T79" fmla="*/ 163 h 171"/>
                <a:gd name="T80" fmla="*/ 69 w 143"/>
                <a:gd name="T81" fmla="*/ 171 h 171"/>
                <a:gd name="T82" fmla="*/ 67 w 143"/>
                <a:gd name="T83" fmla="*/ 165 h 171"/>
                <a:gd name="T84" fmla="*/ 67 w 143"/>
                <a:gd name="T85" fmla="*/ 160 h 171"/>
                <a:gd name="T86" fmla="*/ 67 w 143"/>
                <a:gd name="T87" fmla="*/ 156 h 171"/>
                <a:gd name="T88" fmla="*/ 69 w 143"/>
                <a:gd name="T89" fmla="*/ 145 h 171"/>
                <a:gd name="T90" fmla="*/ 61 w 143"/>
                <a:gd name="T91" fmla="*/ 137 h 171"/>
                <a:gd name="T92" fmla="*/ 72 w 143"/>
                <a:gd name="T93" fmla="*/ 119 h 171"/>
                <a:gd name="T94" fmla="*/ 81 w 143"/>
                <a:gd name="T95" fmla="*/ 108 h 171"/>
                <a:gd name="T96" fmla="*/ 84 w 143"/>
                <a:gd name="T97" fmla="*/ 103 h 171"/>
                <a:gd name="T98" fmla="*/ 90 w 143"/>
                <a:gd name="T99" fmla="*/ 92 h 171"/>
                <a:gd name="T100" fmla="*/ 97 w 143"/>
                <a:gd name="T101" fmla="*/ 97 h 171"/>
                <a:gd name="T102" fmla="*/ 95 w 143"/>
                <a:gd name="T103" fmla="*/ 102 h 171"/>
                <a:gd name="T104" fmla="*/ 103 w 143"/>
                <a:gd name="T105" fmla="*/ 109 h 171"/>
                <a:gd name="T106" fmla="*/ 107 w 143"/>
                <a:gd name="T107" fmla="*/ 106 h 171"/>
                <a:gd name="T108" fmla="*/ 121 w 143"/>
                <a:gd name="T109" fmla="*/ 102 h 171"/>
                <a:gd name="T110" fmla="*/ 123 w 143"/>
                <a:gd name="T111" fmla="*/ 92 h 171"/>
                <a:gd name="T112" fmla="*/ 118 w 143"/>
                <a:gd name="T113" fmla="*/ 83 h 171"/>
                <a:gd name="T114" fmla="*/ 124 w 143"/>
                <a:gd name="T115" fmla="*/ 79 h 171"/>
                <a:gd name="T116" fmla="*/ 130 w 143"/>
                <a:gd name="T117" fmla="*/ 77 h 171"/>
                <a:gd name="T118" fmla="*/ 141 w 143"/>
                <a:gd name="T119" fmla="*/ 6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3" h="171">
                  <a:moveTo>
                    <a:pt x="141" y="66"/>
                  </a:moveTo>
                  <a:lnTo>
                    <a:pt x="141" y="65"/>
                  </a:lnTo>
                  <a:lnTo>
                    <a:pt x="137" y="63"/>
                  </a:lnTo>
                  <a:lnTo>
                    <a:pt x="132" y="60"/>
                  </a:lnTo>
                  <a:lnTo>
                    <a:pt x="130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4" y="59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7" y="51"/>
                  </a:lnTo>
                  <a:lnTo>
                    <a:pt x="112" y="48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0" y="45"/>
                  </a:lnTo>
                  <a:lnTo>
                    <a:pt x="110" y="43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7" y="46"/>
                  </a:lnTo>
                  <a:lnTo>
                    <a:pt x="106" y="46"/>
                  </a:lnTo>
                  <a:lnTo>
                    <a:pt x="104" y="46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98" y="45"/>
                  </a:lnTo>
                  <a:lnTo>
                    <a:pt x="97" y="43"/>
                  </a:lnTo>
                  <a:lnTo>
                    <a:pt x="95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87" y="39"/>
                  </a:lnTo>
                  <a:lnTo>
                    <a:pt x="86" y="37"/>
                  </a:lnTo>
                  <a:lnTo>
                    <a:pt x="84" y="37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0" y="31"/>
                  </a:lnTo>
                  <a:lnTo>
                    <a:pt x="78" y="29"/>
                  </a:lnTo>
                  <a:lnTo>
                    <a:pt x="77" y="28"/>
                  </a:lnTo>
                  <a:lnTo>
                    <a:pt x="77" y="26"/>
                  </a:lnTo>
                  <a:lnTo>
                    <a:pt x="72" y="22"/>
                  </a:lnTo>
                  <a:lnTo>
                    <a:pt x="69" y="17"/>
                  </a:lnTo>
                  <a:lnTo>
                    <a:pt x="67" y="15"/>
                  </a:lnTo>
                  <a:lnTo>
                    <a:pt x="58" y="11"/>
                  </a:lnTo>
                  <a:lnTo>
                    <a:pt x="55" y="9"/>
                  </a:lnTo>
                  <a:lnTo>
                    <a:pt x="55" y="6"/>
                  </a:lnTo>
                  <a:lnTo>
                    <a:pt x="53" y="3"/>
                  </a:lnTo>
                  <a:lnTo>
                    <a:pt x="55" y="2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6" y="5"/>
                  </a:lnTo>
                  <a:lnTo>
                    <a:pt x="44" y="3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11"/>
                  </a:lnTo>
                  <a:lnTo>
                    <a:pt x="43" y="14"/>
                  </a:lnTo>
                  <a:lnTo>
                    <a:pt x="44" y="20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5" y="20"/>
                  </a:lnTo>
                  <a:lnTo>
                    <a:pt x="33" y="20"/>
                  </a:lnTo>
                  <a:lnTo>
                    <a:pt x="29" y="20"/>
                  </a:lnTo>
                  <a:lnTo>
                    <a:pt x="27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7" y="23"/>
                  </a:lnTo>
                  <a:lnTo>
                    <a:pt x="18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5" y="37"/>
                  </a:lnTo>
                  <a:lnTo>
                    <a:pt x="13" y="40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5" y="54"/>
                  </a:lnTo>
                  <a:lnTo>
                    <a:pt x="12" y="52"/>
                  </a:lnTo>
                  <a:lnTo>
                    <a:pt x="7" y="52"/>
                  </a:lnTo>
                  <a:lnTo>
                    <a:pt x="3" y="54"/>
                  </a:lnTo>
                  <a:lnTo>
                    <a:pt x="1" y="56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3"/>
                  </a:lnTo>
                  <a:lnTo>
                    <a:pt x="1" y="68"/>
                  </a:lnTo>
                  <a:lnTo>
                    <a:pt x="3" y="69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1" y="77"/>
                  </a:lnTo>
                  <a:lnTo>
                    <a:pt x="1" y="79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7" y="86"/>
                  </a:lnTo>
                  <a:lnTo>
                    <a:pt x="7" y="89"/>
                  </a:lnTo>
                  <a:lnTo>
                    <a:pt x="7" y="92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6" y="96"/>
                  </a:lnTo>
                  <a:lnTo>
                    <a:pt x="4" y="96"/>
                  </a:lnTo>
                  <a:lnTo>
                    <a:pt x="3" y="97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0" y="99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4"/>
                  </a:lnTo>
                  <a:lnTo>
                    <a:pt x="4" y="116"/>
                  </a:lnTo>
                  <a:lnTo>
                    <a:pt x="6" y="116"/>
                  </a:lnTo>
                  <a:lnTo>
                    <a:pt x="4" y="116"/>
                  </a:lnTo>
                  <a:lnTo>
                    <a:pt x="6" y="112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8" y="108"/>
                  </a:lnTo>
                  <a:lnTo>
                    <a:pt x="18" y="109"/>
                  </a:lnTo>
                  <a:lnTo>
                    <a:pt x="18" y="109"/>
                  </a:lnTo>
                  <a:lnTo>
                    <a:pt x="20" y="114"/>
                  </a:lnTo>
                  <a:lnTo>
                    <a:pt x="20" y="116"/>
                  </a:lnTo>
                  <a:lnTo>
                    <a:pt x="20" y="117"/>
                  </a:lnTo>
                  <a:lnTo>
                    <a:pt x="18" y="116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9" y="112"/>
                  </a:lnTo>
                  <a:lnTo>
                    <a:pt x="7" y="112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10" y="116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5" y="119"/>
                  </a:lnTo>
                  <a:lnTo>
                    <a:pt x="15" y="120"/>
                  </a:lnTo>
                  <a:lnTo>
                    <a:pt x="15" y="120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8" y="119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3"/>
                  </a:lnTo>
                  <a:lnTo>
                    <a:pt x="21" y="125"/>
                  </a:lnTo>
                  <a:lnTo>
                    <a:pt x="24" y="126"/>
                  </a:lnTo>
                  <a:lnTo>
                    <a:pt x="24" y="128"/>
                  </a:lnTo>
                  <a:lnTo>
                    <a:pt x="24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7" y="126"/>
                  </a:lnTo>
                  <a:lnTo>
                    <a:pt x="27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30" y="126"/>
                  </a:lnTo>
                  <a:lnTo>
                    <a:pt x="32" y="126"/>
                  </a:lnTo>
                  <a:lnTo>
                    <a:pt x="33" y="128"/>
                  </a:lnTo>
                  <a:lnTo>
                    <a:pt x="33" y="129"/>
                  </a:lnTo>
                  <a:lnTo>
                    <a:pt x="33" y="132"/>
                  </a:lnTo>
                  <a:lnTo>
                    <a:pt x="35" y="134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41" y="142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6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6"/>
                  </a:lnTo>
                  <a:lnTo>
                    <a:pt x="47" y="148"/>
                  </a:lnTo>
                  <a:lnTo>
                    <a:pt x="52" y="153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2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60"/>
                  </a:lnTo>
                  <a:lnTo>
                    <a:pt x="53" y="160"/>
                  </a:lnTo>
                  <a:lnTo>
                    <a:pt x="53" y="162"/>
                  </a:lnTo>
                  <a:lnTo>
                    <a:pt x="53" y="162"/>
                  </a:lnTo>
                  <a:lnTo>
                    <a:pt x="55" y="163"/>
                  </a:lnTo>
                  <a:lnTo>
                    <a:pt x="57" y="163"/>
                  </a:lnTo>
                  <a:lnTo>
                    <a:pt x="58" y="165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7" y="169"/>
                  </a:lnTo>
                  <a:lnTo>
                    <a:pt x="69" y="171"/>
                  </a:lnTo>
                  <a:lnTo>
                    <a:pt x="69" y="171"/>
                  </a:lnTo>
                  <a:lnTo>
                    <a:pt x="69" y="169"/>
                  </a:lnTo>
                  <a:lnTo>
                    <a:pt x="69" y="168"/>
                  </a:lnTo>
                  <a:lnTo>
                    <a:pt x="67" y="166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63"/>
                  </a:lnTo>
                  <a:lnTo>
                    <a:pt x="67" y="163"/>
                  </a:lnTo>
                  <a:lnTo>
                    <a:pt x="67" y="163"/>
                  </a:lnTo>
                  <a:lnTo>
                    <a:pt x="67" y="162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9" y="159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67" y="156"/>
                  </a:lnTo>
                  <a:lnTo>
                    <a:pt x="67" y="154"/>
                  </a:lnTo>
                  <a:lnTo>
                    <a:pt x="67" y="151"/>
                  </a:lnTo>
                  <a:lnTo>
                    <a:pt x="67" y="149"/>
                  </a:lnTo>
                  <a:lnTo>
                    <a:pt x="69" y="146"/>
                  </a:lnTo>
                  <a:lnTo>
                    <a:pt x="69" y="146"/>
                  </a:lnTo>
                  <a:lnTo>
                    <a:pt x="69" y="145"/>
                  </a:lnTo>
                  <a:lnTo>
                    <a:pt x="67" y="145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1" y="139"/>
                  </a:lnTo>
                  <a:lnTo>
                    <a:pt x="61" y="137"/>
                  </a:lnTo>
                  <a:lnTo>
                    <a:pt x="64" y="134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70" y="122"/>
                  </a:lnTo>
                  <a:lnTo>
                    <a:pt x="70" y="120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7" y="114"/>
                  </a:lnTo>
                  <a:lnTo>
                    <a:pt x="77" y="112"/>
                  </a:lnTo>
                  <a:lnTo>
                    <a:pt x="78" y="111"/>
                  </a:lnTo>
                  <a:lnTo>
                    <a:pt x="80" y="111"/>
                  </a:lnTo>
                  <a:lnTo>
                    <a:pt x="81" y="108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4" y="103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6" y="99"/>
                  </a:lnTo>
                  <a:lnTo>
                    <a:pt x="86" y="97"/>
                  </a:lnTo>
                  <a:lnTo>
                    <a:pt x="87" y="96"/>
                  </a:lnTo>
                  <a:lnTo>
                    <a:pt x="89" y="92"/>
                  </a:lnTo>
                  <a:lnTo>
                    <a:pt x="90" y="92"/>
                  </a:lnTo>
                  <a:lnTo>
                    <a:pt x="92" y="91"/>
                  </a:lnTo>
                  <a:lnTo>
                    <a:pt x="93" y="91"/>
                  </a:lnTo>
                  <a:lnTo>
                    <a:pt x="95" y="91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7" y="97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100"/>
                  </a:lnTo>
                  <a:lnTo>
                    <a:pt x="95" y="100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7" y="103"/>
                  </a:lnTo>
                  <a:lnTo>
                    <a:pt x="97" y="106"/>
                  </a:lnTo>
                  <a:lnTo>
                    <a:pt x="100" y="108"/>
                  </a:lnTo>
                  <a:lnTo>
                    <a:pt x="101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6" y="108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9" y="105"/>
                  </a:lnTo>
                  <a:lnTo>
                    <a:pt x="112" y="105"/>
                  </a:lnTo>
                  <a:lnTo>
                    <a:pt x="114" y="105"/>
                  </a:lnTo>
                  <a:lnTo>
                    <a:pt x="117" y="102"/>
                  </a:lnTo>
                  <a:lnTo>
                    <a:pt x="118" y="100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1" y="99"/>
                  </a:lnTo>
                  <a:lnTo>
                    <a:pt x="121" y="97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3" y="89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8" y="83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4" y="79"/>
                  </a:lnTo>
                  <a:lnTo>
                    <a:pt x="127" y="80"/>
                  </a:lnTo>
                  <a:lnTo>
                    <a:pt x="129" y="82"/>
                  </a:lnTo>
                  <a:lnTo>
                    <a:pt x="130" y="80"/>
                  </a:lnTo>
                  <a:lnTo>
                    <a:pt x="132" y="79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5" y="74"/>
                  </a:lnTo>
                  <a:lnTo>
                    <a:pt x="141" y="72"/>
                  </a:lnTo>
                  <a:lnTo>
                    <a:pt x="143" y="69"/>
                  </a:lnTo>
                  <a:lnTo>
                    <a:pt x="141" y="6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gray">
            <a:xfrm>
              <a:off x="6556375" y="7727951"/>
              <a:ext cx="6350" cy="7938"/>
            </a:xfrm>
            <a:custGeom>
              <a:avLst/>
              <a:gdLst>
                <a:gd name="T0" fmla="*/ 4 w 4"/>
                <a:gd name="T1" fmla="*/ 2 h 5"/>
                <a:gd name="T2" fmla="*/ 3 w 4"/>
                <a:gd name="T3" fmla="*/ 0 h 5"/>
                <a:gd name="T4" fmla="*/ 1 w 4"/>
                <a:gd name="T5" fmla="*/ 2 h 5"/>
                <a:gd name="T6" fmla="*/ 0 w 4"/>
                <a:gd name="T7" fmla="*/ 3 h 5"/>
                <a:gd name="T8" fmla="*/ 0 w 4"/>
                <a:gd name="T9" fmla="*/ 3 h 5"/>
                <a:gd name="T10" fmla="*/ 0 w 4"/>
                <a:gd name="T11" fmla="*/ 5 h 5"/>
                <a:gd name="T12" fmla="*/ 0 w 4"/>
                <a:gd name="T13" fmla="*/ 5 h 5"/>
                <a:gd name="T14" fmla="*/ 3 w 4"/>
                <a:gd name="T15" fmla="*/ 5 h 5"/>
                <a:gd name="T16" fmla="*/ 3 w 4"/>
                <a:gd name="T17" fmla="*/ 5 h 5"/>
                <a:gd name="T18" fmla="*/ 4 w 4"/>
                <a:gd name="T19" fmla="*/ 3 h 5"/>
                <a:gd name="T20" fmla="*/ 4 w 4"/>
                <a:gd name="T21" fmla="*/ 3 h 5"/>
                <a:gd name="T22" fmla="*/ 4 w 4"/>
                <a:gd name="T2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lnTo>
                    <a:pt x="3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gray">
            <a:xfrm>
              <a:off x="6556375" y="7727951"/>
              <a:ext cx="6350" cy="7938"/>
            </a:xfrm>
            <a:custGeom>
              <a:avLst/>
              <a:gdLst>
                <a:gd name="T0" fmla="*/ 4 w 4"/>
                <a:gd name="T1" fmla="*/ 2 h 5"/>
                <a:gd name="T2" fmla="*/ 3 w 4"/>
                <a:gd name="T3" fmla="*/ 0 h 5"/>
                <a:gd name="T4" fmla="*/ 1 w 4"/>
                <a:gd name="T5" fmla="*/ 2 h 5"/>
                <a:gd name="T6" fmla="*/ 0 w 4"/>
                <a:gd name="T7" fmla="*/ 3 h 5"/>
                <a:gd name="T8" fmla="*/ 0 w 4"/>
                <a:gd name="T9" fmla="*/ 3 h 5"/>
                <a:gd name="T10" fmla="*/ 0 w 4"/>
                <a:gd name="T11" fmla="*/ 5 h 5"/>
                <a:gd name="T12" fmla="*/ 0 w 4"/>
                <a:gd name="T13" fmla="*/ 5 h 5"/>
                <a:gd name="T14" fmla="*/ 3 w 4"/>
                <a:gd name="T15" fmla="*/ 5 h 5"/>
                <a:gd name="T16" fmla="*/ 3 w 4"/>
                <a:gd name="T17" fmla="*/ 5 h 5"/>
                <a:gd name="T18" fmla="*/ 4 w 4"/>
                <a:gd name="T19" fmla="*/ 3 h 5"/>
                <a:gd name="T20" fmla="*/ 4 w 4"/>
                <a:gd name="T21" fmla="*/ 3 h 5"/>
                <a:gd name="T22" fmla="*/ 4 w 4"/>
                <a:gd name="T2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lnTo>
                    <a:pt x="3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gray">
            <a:xfrm>
              <a:off x="8829675" y="6926263"/>
              <a:ext cx="415925" cy="520700"/>
            </a:xfrm>
            <a:custGeom>
              <a:avLst/>
              <a:gdLst>
                <a:gd name="T0" fmla="*/ 251 w 262"/>
                <a:gd name="T1" fmla="*/ 219 h 328"/>
                <a:gd name="T2" fmla="*/ 248 w 262"/>
                <a:gd name="T3" fmla="*/ 206 h 328"/>
                <a:gd name="T4" fmla="*/ 246 w 262"/>
                <a:gd name="T5" fmla="*/ 185 h 328"/>
                <a:gd name="T6" fmla="*/ 234 w 262"/>
                <a:gd name="T7" fmla="*/ 179 h 328"/>
                <a:gd name="T8" fmla="*/ 219 w 262"/>
                <a:gd name="T9" fmla="*/ 169 h 328"/>
                <a:gd name="T10" fmla="*/ 219 w 262"/>
                <a:gd name="T11" fmla="*/ 154 h 328"/>
                <a:gd name="T12" fmla="*/ 219 w 262"/>
                <a:gd name="T13" fmla="*/ 149 h 328"/>
                <a:gd name="T14" fmla="*/ 214 w 262"/>
                <a:gd name="T15" fmla="*/ 126 h 328"/>
                <a:gd name="T16" fmla="*/ 205 w 262"/>
                <a:gd name="T17" fmla="*/ 126 h 328"/>
                <a:gd name="T18" fmla="*/ 192 w 262"/>
                <a:gd name="T19" fmla="*/ 115 h 328"/>
                <a:gd name="T20" fmla="*/ 189 w 262"/>
                <a:gd name="T21" fmla="*/ 100 h 328"/>
                <a:gd name="T22" fmla="*/ 191 w 262"/>
                <a:gd name="T23" fmla="*/ 74 h 328"/>
                <a:gd name="T24" fmla="*/ 186 w 262"/>
                <a:gd name="T25" fmla="*/ 57 h 328"/>
                <a:gd name="T26" fmla="*/ 166 w 262"/>
                <a:gd name="T27" fmla="*/ 52 h 328"/>
                <a:gd name="T28" fmla="*/ 146 w 262"/>
                <a:gd name="T29" fmla="*/ 37 h 328"/>
                <a:gd name="T30" fmla="*/ 134 w 262"/>
                <a:gd name="T31" fmla="*/ 40 h 328"/>
                <a:gd name="T32" fmla="*/ 128 w 262"/>
                <a:gd name="T33" fmla="*/ 35 h 328"/>
                <a:gd name="T34" fmla="*/ 120 w 262"/>
                <a:gd name="T35" fmla="*/ 31 h 328"/>
                <a:gd name="T36" fmla="*/ 109 w 262"/>
                <a:gd name="T37" fmla="*/ 18 h 328"/>
                <a:gd name="T38" fmla="*/ 75 w 262"/>
                <a:gd name="T39" fmla="*/ 3 h 328"/>
                <a:gd name="T40" fmla="*/ 54 w 262"/>
                <a:gd name="T41" fmla="*/ 5 h 328"/>
                <a:gd name="T42" fmla="*/ 31 w 262"/>
                <a:gd name="T43" fmla="*/ 12 h 328"/>
                <a:gd name="T44" fmla="*/ 20 w 262"/>
                <a:gd name="T45" fmla="*/ 11 h 328"/>
                <a:gd name="T46" fmla="*/ 14 w 262"/>
                <a:gd name="T47" fmla="*/ 17 h 328"/>
                <a:gd name="T48" fmla="*/ 1 w 262"/>
                <a:gd name="T49" fmla="*/ 21 h 328"/>
                <a:gd name="T50" fmla="*/ 15 w 262"/>
                <a:gd name="T51" fmla="*/ 26 h 328"/>
                <a:gd name="T52" fmla="*/ 29 w 262"/>
                <a:gd name="T53" fmla="*/ 35 h 328"/>
                <a:gd name="T54" fmla="*/ 32 w 262"/>
                <a:gd name="T55" fmla="*/ 41 h 328"/>
                <a:gd name="T56" fmla="*/ 35 w 262"/>
                <a:gd name="T57" fmla="*/ 54 h 328"/>
                <a:gd name="T58" fmla="*/ 40 w 262"/>
                <a:gd name="T59" fmla="*/ 63 h 328"/>
                <a:gd name="T60" fmla="*/ 46 w 262"/>
                <a:gd name="T61" fmla="*/ 75 h 328"/>
                <a:gd name="T62" fmla="*/ 49 w 262"/>
                <a:gd name="T63" fmla="*/ 85 h 328"/>
                <a:gd name="T64" fmla="*/ 62 w 262"/>
                <a:gd name="T65" fmla="*/ 105 h 328"/>
                <a:gd name="T66" fmla="*/ 69 w 262"/>
                <a:gd name="T67" fmla="*/ 111 h 328"/>
                <a:gd name="T68" fmla="*/ 72 w 262"/>
                <a:gd name="T69" fmla="*/ 123 h 328"/>
                <a:gd name="T70" fmla="*/ 85 w 262"/>
                <a:gd name="T71" fmla="*/ 137 h 328"/>
                <a:gd name="T72" fmla="*/ 92 w 262"/>
                <a:gd name="T73" fmla="*/ 151 h 328"/>
                <a:gd name="T74" fmla="*/ 106 w 262"/>
                <a:gd name="T75" fmla="*/ 162 h 328"/>
                <a:gd name="T76" fmla="*/ 112 w 262"/>
                <a:gd name="T77" fmla="*/ 180 h 328"/>
                <a:gd name="T78" fmla="*/ 120 w 262"/>
                <a:gd name="T79" fmla="*/ 209 h 328"/>
                <a:gd name="T80" fmla="*/ 122 w 262"/>
                <a:gd name="T81" fmla="*/ 225 h 328"/>
                <a:gd name="T82" fmla="*/ 117 w 262"/>
                <a:gd name="T83" fmla="*/ 234 h 328"/>
                <a:gd name="T84" fmla="*/ 112 w 262"/>
                <a:gd name="T85" fmla="*/ 246 h 328"/>
                <a:gd name="T86" fmla="*/ 111 w 262"/>
                <a:gd name="T87" fmla="*/ 263 h 328"/>
                <a:gd name="T88" fmla="*/ 112 w 262"/>
                <a:gd name="T89" fmla="*/ 280 h 328"/>
                <a:gd name="T90" fmla="*/ 114 w 262"/>
                <a:gd name="T91" fmla="*/ 296 h 328"/>
                <a:gd name="T92" fmla="*/ 114 w 262"/>
                <a:gd name="T93" fmla="*/ 319 h 328"/>
                <a:gd name="T94" fmla="*/ 123 w 262"/>
                <a:gd name="T95" fmla="*/ 322 h 328"/>
                <a:gd name="T96" fmla="*/ 143 w 262"/>
                <a:gd name="T97" fmla="*/ 316 h 328"/>
                <a:gd name="T98" fmla="*/ 145 w 262"/>
                <a:gd name="T99" fmla="*/ 302 h 328"/>
                <a:gd name="T100" fmla="*/ 155 w 262"/>
                <a:gd name="T101" fmla="*/ 291 h 328"/>
                <a:gd name="T102" fmla="*/ 174 w 262"/>
                <a:gd name="T103" fmla="*/ 269 h 328"/>
                <a:gd name="T104" fmla="*/ 172 w 262"/>
                <a:gd name="T105" fmla="*/ 242 h 328"/>
                <a:gd name="T106" fmla="*/ 191 w 262"/>
                <a:gd name="T107" fmla="*/ 214 h 328"/>
                <a:gd name="T108" fmla="*/ 199 w 262"/>
                <a:gd name="T109" fmla="*/ 229 h 328"/>
                <a:gd name="T110" fmla="*/ 209 w 262"/>
                <a:gd name="T111" fmla="*/ 222 h 328"/>
                <a:gd name="T112" fmla="*/ 214 w 262"/>
                <a:gd name="T113" fmla="*/ 226 h 328"/>
                <a:gd name="T114" fmla="*/ 226 w 262"/>
                <a:gd name="T115" fmla="*/ 226 h 328"/>
                <a:gd name="T116" fmla="*/ 237 w 262"/>
                <a:gd name="T117" fmla="*/ 23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2" h="328">
                  <a:moveTo>
                    <a:pt x="260" y="225"/>
                  </a:moveTo>
                  <a:lnTo>
                    <a:pt x="260" y="225"/>
                  </a:lnTo>
                  <a:lnTo>
                    <a:pt x="259" y="225"/>
                  </a:lnTo>
                  <a:lnTo>
                    <a:pt x="257" y="226"/>
                  </a:lnTo>
                  <a:lnTo>
                    <a:pt x="257" y="225"/>
                  </a:lnTo>
                  <a:lnTo>
                    <a:pt x="252" y="222"/>
                  </a:lnTo>
                  <a:lnTo>
                    <a:pt x="254" y="222"/>
                  </a:lnTo>
                  <a:lnTo>
                    <a:pt x="252" y="219"/>
                  </a:lnTo>
                  <a:lnTo>
                    <a:pt x="252" y="219"/>
                  </a:lnTo>
                  <a:lnTo>
                    <a:pt x="251" y="219"/>
                  </a:lnTo>
                  <a:lnTo>
                    <a:pt x="251" y="219"/>
                  </a:lnTo>
                  <a:lnTo>
                    <a:pt x="251" y="219"/>
                  </a:lnTo>
                  <a:lnTo>
                    <a:pt x="249" y="219"/>
                  </a:lnTo>
                  <a:lnTo>
                    <a:pt x="249" y="219"/>
                  </a:lnTo>
                  <a:lnTo>
                    <a:pt x="249" y="217"/>
                  </a:lnTo>
                  <a:lnTo>
                    <a:pt x="249" y="217"/>
                  </a:lnTo>
                  <a:lnTo>
                    <a:pt x="246" y="215"/>
                  </a:lnTo>
                  <a:lnTo>
                    <a:pt x="245" y="214"/>
                  </a:lnTo>
                  <a:lnTo>
                    <a:pt x="245" y="212"/>
                  </a:lnTo>
                  <a:lnTo>
                    <a:pt x="246" y="212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48" y="208"/>
                  </a:lnTo>
                  <a:lnTo>
                    <a:pt x="248" y="206"/>
                  </a:lnTo>
                  <a:lnTo>
                    <a:pt x="246" y="205"/>
                  </a:lnTo>
                  <a:lnTo>
                    <a:pt x="246" y="203"/>
                  </a:lnTo>
                  <a:lnTo>
                    <a:pt x="248" y="203"/>
                  </a:lnTo>
                  <a:lnTo>
                    <a:pt x="248" y="202"/>
                  </a:lnTo>
                  <a:lnTo>
                    <a:pt x="248" y="200"/>
                  </a:lnTo>
                  <a:lnTo>
                    <a:pt x="248" y="194"/>
                  </a:lnTo>
                  <a:lnTo>
                    <a:pt x="248" y="191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6" y="188"/>
                  </a:lnTo>
                  <a:lnTo>
                    <a:pt x="246" y="188"/>
                  </a:lnTo>
                  <a:lnTo>
                    <a:pt x="246" y="185"/>
                  </a:lnTo>
                  <a:lnTo>
                    <a:pt x="246" y="185"/>
                  </a:lnTo>
                  <a:lnTo>
                    <a:pt x="246" y="183"/>
                  </a:lnTo>
                  <a:lnTo>
                    <a:pt x="245" y="185"/>
                  </a:lnTo>
                  <a:lnTo>
                    <a:pt x="245" y="185"/>
                  </a:lnTo>
                  <a:lnTo>
                    <a:pt x="243" y="185"/>
                  </a:lnTo>
                  <a:lnTo>
                    <a:pt x="243" y="185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0" y="180"/>
                  </a:lnTo>
                  <a:lnTo>
                    <a:pt x="239" y="179"/>
                  </a:lnTo>
                  <a:lnTo>
                    <a:pt x="236" y="180"/>
                  </a:lnTo>
                  <a:lnTo>
                    <a:pt x="234" y="179"/>
                  </a:lnTo>
                  <a:lnTo>
                    <a:pt x="232" y="179"/>
                  </a:lnTo>
                  <a:lnTo>
                    <a:pt x="231" y="175"/>
                  </a:lnTo>
                  <a:lnTo>
                    <a:pt x="229" y="174"/>
                  </a:lnTo>
                  <a:lnTo>
                    <a:pt x="228" y="174"/>
                  </a:lnTo>
                  <a:lnTo>
                    <a:pt x="226" y="174"/>
                  </a:lnTo>
                  <a:lnTo>
                    <a:pt x="225" y="172"/>
                  </a:lnTo>
                  <a:lnTo>
                    <a:pt x="225" y="172"/>
                  </a:lnTo>
                  <a:lnTo>
                    <a:pt x="223" y="171"/>
                  </a:lnTo>
                  <a:lnTo>
                    <a:pt x="222" y="171"/>
                  </a:lnTo>
                  <a:lnTo>
                    <a:pt x="220" y="171"/>
                  </a:lnTo>
                  <a:lnTo>
                    <a:pt x="220" y="171"/>
                  </a:lnTo>
                  <a:lnTo>
                    <a:pt x="219" y="169"/>
                  </a:lnTo>
                  <a:lnTo>
                    <a:pt x="219" y="168"/>
                  </a:lnTo>
                  <a:lnTo>
                    <a:pt x="220" y="168"/>
                  </a:lnTo>
                  <a:lnTo>
                    <a:pt x="220" y="166"/>
                  </a:lnTo>
                  <a:lnTo>
                    <a:pt x="220" y="162"/>
                  </a:lnTo>
                  <a:lnTo>
                    <a:pt x="222" y="162"/>
                  </a:lnTo>
                  <a:lnTo>
                    <a:pt x="222" y="160"/>
                  </a:lnTo>
                  <a:lnTo>
                    <a:pt x="223" y="158"/>
                  </a:lnTo>
                  <a:lnTo>
                    <a:pt x="223" y="157"/>
                  </a:lnTo>
                  <a:lnTo>
                    <a:pt x="222" y="155"/>
                  </a:lnTo>
                  <a:lnTo>
                    <a:pt x="222" y="154"/>
                  </a:lnTo>
                  <a:lnTo>
                    <a:pt x="220" y="154"/>
                  </a:lnTo>
                  <a:lnTo>
                    <a:pt x="219" y="154"/>
                  </a:lnTo>
                  <a:lnTo>
                    <a:pt x="217" y="155"/>
                  </a:lnTo>
                  <a:lnTo>
                    <a:pt x="217" y="157"/>
                  </a:lnTo>
                  <a:lnTo>
                    <a:pt x="217" y="157"/>
                  </a:lnTo>
                  <a:lnTo>
                    <a:pt x="216" y="157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2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9" y="149"/>
                  </a:lnTo>
                  <a:lnTo>
                    <a:pt x="219" y="146"/>
                  </a:lnTo>
                  <a:lnTo>
                    <a:pt x="219" y="140"/>
                  </a:lnTo>
                  <a:lnTo>
                    <a:pt x="219" y="138"/>
                  </a:lnTo>
                  <a:lnTo>
                    <a:pt x="220" y="137"/>
                  </a:lnTo>
                  <a:lnTo>
                    <a:pt x="220" y="135"/>
                  </a:lnTo>
                  <a:lnTo>
                    <a:pt x="220" y="132"/>
                  </a:lnTo>
                  <a:lnTo>
                    <a:pt x="220" y="131"/>
                  </a:lnTo>
                  <a:lnTo>
                    <a:pt x="219" y="128"/>
                  </a:lnTo>
                  <a:lnTo>
                    <a:pt x="217" y="128"/>
                  </a:lnTo>
                  <a:lnTo>
                    <a:pt x="217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2" y="128"/>
                  </a:lnTo>
                  <a:lnTo>
                    <a:pt x="212" y="131"/>
                  </a:lnTo>
                  <a:lnTo>
                    <a:pt x="212" y="132"/>
                  </a:lnTo>
                  <a:lnTo>
                    <a:pt x="211" y="132"/>
                  </a:lnTo>
                  <a:lnTo>
                    <a:pt x="209" y="134"/>
                  </a:lnTo>
                  <a:lnTo>
                    <a:pt x="208" y="134"/>
                  </a:lnTo>
                  <a:lnTo>
                    <a:pt x="206" y="132"/>
                  </a:lnTo>
                  <a:lnTo>
                    <a:pt x="206" y="132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6"/>
                  </a:lnTo>
                  <a:lnTo>
                    <a:pt x="205" y="125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0" y="123"/>
                  </a:lnTo>
                  <a:lnTo>
                    <a:pt x="200" y="122"/>
                  </a:lnTo>
                  <a:lnTo>
                    <a:pt x="199" y="120"/>
                  </a:lnTo>
                  <a:lnTo>
                    <a:pt x="199" y="118"/>
                  </a:lnTo>
                  <a:lnTo>
                    <a:pt x="197" y="117"/>
                  </a:lnTo>
                  <a:lnTo>
                    <a:pt x="196" y="115"/>
                  </a:lnTo>
                  <a:lnTo>
                    <a:pt x="194" y="114"/>
                  </a:lnTo>
                  <a:lnTo>
                    <a:pt x="192" y="115"/>
                  </a:lnTo>
                  <a:lnTo>
                    <a:pt x="192" y="115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4"/>
                  </a:lnTo>
                  <a:lnTo>
                    <a:pt x="188" y="111"/>
                  </a:lnTo>
                  <a:lnTo>
                    <a:pt x="188" y="111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6" y="105"/>
                  </a:lnTo>
                  <a:lnTo>
                    <a:pt x="188" y="103"/>
                  </a:lnTo>
                  <a:lnTo>
                    <a:pt x="189" y="100"/>
                  </a:lnTo>
                  <a:lnTo>
                    <a:pt x="191" y="97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2" y="85"/>
                  </a:lnTo>
                  <a:lnTo>
                    <a:pt x="194" y="81"/>
                  </a:lnTo>
                  <a:lnTo>
                    <a:pt x="196" y="81"/>
                  </a:lnTo>
                  <a:lnTo>
                    <a:pt x="196" y="80"/>
                  </a:lnTo>
                  <a:lnTo>
                    <a:pt x="194" y="78"/>
                  </a:lnTo>
                  <a:lnTo>
                    <a:pt x="191" y="78"/>
                  </a:lnTo>
                  <a:lnTo>
                    <a:pt x="191" y="77"/>
                  </a:lnTo>
                  <a:lnTo>
                    <a:pt x="191" y="75"/>
                  </a:lnTo>
                  <a:lnTo>
                    <a:pt x="191" y="74"/>
                  </a:lnTo>
                  <a:lnTo>
                    <a:pt x="192" y="72"/>
                  </a:lnTo>
                  <a:lnTo>
                    <a:pt x="194" y="71"/>
                  </a:lnTo>
                  <a:lnTo>
                    <a:pt x="196" y="69"/>
                  </a:lnTo>
                  <a:lnTo>
                    <a:pt x="196" y="68"/>
                  </a:lnTo>
                  <a:lnTo>
                    <a:pt x="194" y="68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89" y="65"/>
                  </a:lnTo>
                  <a:lnTo>
                    <a:pt x="189" y="60"/>
                  </a:lnTo>
                  <a:lnTo>
                    <a:pt x="189" y="58"/>
                  </a:lnTo>
                  <a:lnTo>
                    <a:pt x="188" y="57"/>
                  </a:lnTo>
                  <a:lnTo>
                    <a:pt x="186" y="57"/>
                  </a:lnTo>
                  <a:lnTo>
                    <a:pt x="186" y="55"/>
                  </a:lnTo>
                  <a:lnTo>
                    <a:pt x="185" y="55"/>
                  </a:lnTo>
                  <a:lnTo>
                    <a:pt x="182" y="57"/>
                  </a:lnTo>
                  <a:lnTo>
                    <a:pt x="179" y="61"/>
                  </a:lnTo>
                  <a:lnTo>
                    <a:pt x="175" y="61"/>
                  </a:lnTo>
                  <a:lnTo>
                    <a:pt x="174" y="61"/>
                  </a:lnTo>
                  <a:lnTo>
                    <a:pt x="172" y="60"/>
                  </a:lnTo>
                  <a:lnTo>
                    <a:pt x="171" y="58"/>
                  </a:lnTo>
                  <a:lnTo>
                    <a:pt x="169" y="57"/>
                  </a:lnTo>
                  <a:lnTo>
                    <a:pt x="168" y="54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48"/>
                  </a:lnTo>
                  <a:lnTo>
                    <a:pt x="163" y="45"/>
                  </a:lnTo>
                  <a:lnTo>
                    <a:pt x="163" y="45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3" y="41"/>
                  </a:lnTo>
                  <a:lnTo>
                    <a:pt x="160" y="40"/>
                  </a:lnTo>
                  <a:lnTo>
                    <a:pt x="159" y="40"/>
                  </a:lnTo>
                  <a:lnTo>
                    <a:pt x="152" y="40"/>
                  </a:lnTo>
                  <a:lnTo>
                    <a:pt x="146" y="37"/>
                  </a:lnTo>
                  <a:lnTo>
                    <a:pt x="143" y="37"/>
                  </a:lnTo>
                  <a:lnTo>
                    <a:pt x="142" y="37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39" y="46"/>
                  </a:lnTo>
                  <a:lnTo>
                    <a:pt x="137" y="46"/>
                  </a:lnTo>
                  <a:lnTo>
                    <a:pt x="137" y="45"/>
                  </a:lnTo>
                  <a:lnTo>
                    <a:pt x="134" y="40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34" y="35"/>
                  </a:lnTo>
                  <a:lnTo>
                    <a:pt x="132" y="35"/>
                  </a:lnTo>
                  <a:lnTo>
                    <a:pt x="131" y="37"/>
                  </a:lnTo>
                  <a:lnTo>
                    <a:pt x="131" y="38"/>
                  </a:lnTo>
                  <a:lnTo>
                    <a:pt x="129" y="40"/>
                  </a:lnTo>
                  <a:lnTo>
                    <a:pt x="128" y="40"/>
                  </a:lnTo>
                  <a:lnTo>
                    <a:pt x="126" y="38"/>
                  </a:lnTo>
                  <a:lnTo>
                    <a:pt x="126" y="37"/>
                  </a:lnTo>
                  <a:lnTo>
                    <a:pt x="128" y="35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31" y="32"/>
                  </a:lnTo>
                  <a:lnTo>
                    <a:pt x="131" y="31"/>
                  </a:lnTo>
                  <a:lnTo>
                    <a:pt x="131" y="28"/>
                  </a:lnTo>
                  <a:lnTo>
                    <a:pt x="129" y="28"/>
                  </a:lnTo>
                  <a:lnTo>
                    <a:pt x="129" y="28"/>
                  </a:lnTo>
                  <a:lnTo>
                    <a:pt x="125" y="28"/>
                  </a:lnTo>
                  <a:lnTo>
                    <a:pt x="123" y="28"/>
                  </a:lnTo>
                  <a:lnTo>
                    <a:pt x="123" y="29"/>
                  </a:lnTo>
                  <a:lnTo>
                    <a:pt x="122" y="31"/>
                  </a:lnTo>
                  <a:lnTo>
                    <a:pt x="120" y="31"/>
                  </a:lnTo>
                  <a:lnTo>
                    <a:pt x="118" y="31"/>
                  </a:lnTo>
                  <a:lnTo>
                    <a:pt x="117" y="29"/>
                  </a:lnTo>
                  <a:lnTo>
                    <a:pt x="117" y="26"/>
                  </a:lnTo>
                  <a:lnTo>
                    <a:pt x="117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1" y="28"/>
                  </a:lnTo>
                  <a:lnTo>
                    <a:pt x="109" y="26"/>
                  </a:lnTo>
                  <a:lnTo>
                    <a:pt x="111" y="21"/>
                  </a:lnTo>
                  <a:lnTo>
                    <a:pt x="111" y="20"/>
                  </a:lnTo>
                  <a:lnTo>
                    <a:pt x="109" y="18"/>
                  </a:lnTo>
                  <a:lnTo>
                    <a:pt x="108" y="18"/>
                  </a:lnTo>
                  <a:lnTo>
                    <a:pt x="103" y="17"/>
                  </a:lnTo>
                  <a:lnTo>
                    <a:pt x="100" y="17"/>
                  </a:lnTo>
                  <a:lnTo>
                    <a:pt x="98" y="15"/>
                  </a:lnTo>
                  <a:lnTo>
                    <a:pt x="95" y="14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4" y="9"/>
                  </a:lnTo>
                  <a:lnTo>
                    <a:pt x="92" y="8"/>
                  </a:lnTo>
                  <a:lnTo>
                    <a:pt x="88" y="5"/>
                  </a:lnTo>
                  <a:lnTo>
                    <a:pt x="85" y="3"/>
                  </a:lnTo>
                  <a:lnTo>
                    <a:pt x="75" y="3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1" y="1"/>
                  </a:lnTo>
                  <a:lnTo>
                    <a:pt x="69" y="1"/>
                  </a:lnTo>
                  <a:lnTo>
                    <a:pt x="66" y="1"/>
                  </a:lnTo>
                  <a:lnTo>
                    <a:pt x="65" y="3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5" y="6"/>
                  </a:lnTo>
                  <a:lnTo>
                    <a:pt x="54" y="5"/>
                  </a:lnTo>
                  <a:lnTo>
                    <a:pt x="52" y="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5" y="14"/>
                  </a:lnTo>
                  <a:lnTo>
                    <a:pt x="41" y="14"/>
                  </a:lnTo>
                  <a:lnTo>
                    <a:pt x="34" y="11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5" y="15"/>
                  </a:lnTo>
                  <a:lnTo>
                    <a:pt x="21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4" y="17"/>
                  </a:lnTo>
                  <a:lnTo>
                    <a:pt x="14" y="20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9" y="21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1" y="21"/>
                  </a:lnTo>
                  <a:lnTo>
                    <a:pt x="1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4" y="25"/>
                  </a:lnTo>
                  <a:lnTo>
                    <a:pt x="15" y="26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4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5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9" y="40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1" y="43"/>
                  </a:lnTo>
                  <a:lnTo>
                    <a:pt x="32" y="45"/>
                  </a:lnTo>
                  <a:lnTo>
                    <a:pt x="34" y="48"/>
                  </a:lnTo>
                  <a:lnTo>
                    <a:pt x="35" y="49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1" y="55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0" y="58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0" y="63"/>
                  </a:lnTo>
                  <a:lnTo>
                    <a:pt x="41" y="63"/>
                  </a:lnTo>
                  <a:lnTo>
                    <a:pt x="43" y="65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9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6" y="75"/>
                  </a:lnTo>
                  <a:lnTo>
                    <a:pt x="48" y="77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9" y="80"/>
                  </a:lnTo>
                  <a:lnTo>
                    <a:pt x="49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49" y="85"/>
                  </a:lnTo>
                  <a:lnTo>
                    <a:pt x="49" y="88"/>
                  </a:lnTo>
                  <a:lnTo>
                    <a:pt x="51" y="91"/>
                  </a:lnTo>
                  <a:lnTo>
                    <a:pt x="57" y="97"/>
                  </a:lnTo>
                  <a:lnTo>
                    <a:pt x="58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5"/>
                  </a:lnTo>
                  <a:lnTo>
                    <a:pt x="63" y="108"/>
                  </a:lnTo>
                  <a:lnTo>
                    <a:pt x="65" y="109"/>
                  </a:lnTo>
                  <a:lnTo>
                    <a:pt x="65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8" y="111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1" y="112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5"/>
                  </a:lnTo>
                  <a:lnTo>
                    <a:pt x="71" y="115"/>
                  </a:lnTo>
                  <a:lnTo>
                    <a:pt x="71" y="117"/>
                  </a:lnTo>
                  <a:lnTo>
                    <a:pt x="71" y="118"/>
                  </a:lnTo>
                  <a:lnTo>
                    <a:pt x="72" y="120"/>
                  </a:lnTo>
                  <a:lnTo>
                    <a:pt x="71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4" y="125"/>
                  </a:lnTo>
                  <a:lnTo>
                    <a:pt x="75" y="129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8" y="131"/>
                  </a:lnTo>
                  <a:lnTo>
                    <a:pt x="80" y="131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83" y="132"/>
                  </a:lnTo>
                  <a:lnTo>
                    <a:pt x="83" y="134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6" y="138"/>
                  </a:lnTo>
                  <a:lnTo>
                    <a:pt x="88" y="142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9" y="145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8" y="146"/>
                  </a:lnTo>
                  <a:lnTo>
                    <a:pt x="89" y="148"/>
                  </a:lnTo>
                  <a:lnTo>
                    <a:pt x="92" y="149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5" y="155"/>
                  </a:lnTo>
                  <a:lnTo>
                    <a:pt x="97" y="155"/>
                  </a:lnTo>
                  <a:lnTo>
                    <a:pt x="98" y="157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2" y="160"/>
                  </a:lnTo>
                  <a:lnTo>
                    <a:pt x="103" y="160"/>
                  </a:lnTo>
                  <a:lnTo>
                    <a:pt x="105" y="160"/>
                  </a:lnTo>
                  <a:lnTo>
                    <a:pt x="106" y="162"/>
                  </a:lnTo>
                  <a:lnTo>
                    <a:pt x="106" y="162"/>
                  </a:lnTo>
                  <a:lnTo>
                    <a:pt x="108" y="165"/>
                  </a:lnTo>
                  <a:lnTo>
                    <a:pt x="109" y="166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1" y="174"/>
                  </a:lnTo>
                  <a:lnTo>
                    <a:pt x="112" y="175"/>
                  </a:lnTo>
                  <a:lnTo>
                    <a:pt x="112" y="177"/>
                  </a:lnTo>
                  <a:lnTo>
                    <a:pt x="112" y="177"/>
                  </a:lnTo>
                  <a:lnTo>
                    <a:pt x="112" y="179"/>
                  </a:lnTo>
                  <a:lnTo>
                    <a:pt x="112" y="180"/>
                  </a:lnTo>
                  <a:lnTo>
                    <a:pt x="112" y="180"/>
                  </a:lnTo>
                  <a:lnTo>
                    <a:pt x="112" y="182"/>
                  </a:lnTo>
                  <a:lnTo>
                    <a:pt x="114" y="185"/>
                  </a:lnTo>
                  <a:lnTo>
                    <a:pt x="117" y="189"/>
                  </a:lnTo>
                  <a:lnTo>
                    <a:pt x="117" y="192"/>
                  </a:lnTo>
                  <a:lnTo>
                    <a:pt x="120" y="200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2" y="205"/>
                  </a:lnTo>
                  <a:lnTo>
                    <a:pt x="122" y="206"/>
                  </a:lnTo>
                  <a:lnTo>
                    <a:pt x="122" y="208"/>
                  </a:lnTo>
                  <a:lnTo>
                    <a:pt x="120" y="209"/>
                  </a:lnTo>
                  <a:lnTo>
                    <a:pt x="120" y="211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20" y="214"/>
                  </a:lnTo>
                  <a:lnTo>
                    <a:pt x="120" y="217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22" y="222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0" y="226"/>
                  </a:lnTo>
                  <a:lnTo>
                    <a:pt x="120" y="228"/>
                  </a:lnTo>
                  <a:lnTo>
                    <a:pt x="120" y="229"/>
                  </a:lnTo>
                  <a:lnTo>
                    <a:pt x="120" y="229"/>
                  </a:lnTo>
                  <a:lnTo>
                    <a:pt x="120" y="229"/>
                  </a:lnTo>
                  <a:lnTo>
                    <a:pt x="118" y="229"/>
                  </a:lnTo>
                  <a:lnTo>
                    <a:pt x="118" y="232"/>
                  </a:lnTo>
                  <a:lnTo>
                    <a:pt x="118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7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40"/>
                  </a:lnTo>
                  <a:lnTo>
                    <a:pt x="115" y="242"/>
                  </a:lnTo>
                  <a:lnTo>
                    <a:pt x="115" y="242"/>
                  </a:lnTo>
                  <a:lnTo>
                    <a:pt x="114" y="242"/>
                  </a:lnTo>
                  <a:lnTo>
                    <a:pt x="114" y="243"/>
                  </a:lnTo>
                  <a:lnTo>
                    <a:pt x="112" y="243"/>
                  </a:lnTo>
                  <a:lnTo>
                    <a:pt x="114" y="245"/>
                  </a:lnTo>
                  <a:lnTo>
                    <a:pt x="112" y="246"/>
                  </a:lnTo>
                  <a:lnTo>
                    <a:pt x="112" y="246"/>
                  </a:lnTo>
                  <a:lnTo>
                    <a:pt x="111" y="246"/>
                  </a:lnTo>
                  <a:lnTo>
                    <a:pt x="111" y="248"/>
                  </a:lnTo>
                  <a:lnTo>
                    <a:pt x="112" y="249"/>
                  </a:lnTo>
                  <a:lnTo>
                    <a:pt x="114" y="251"/>
                  </a:lnTo>
                  <a:lnTo>
                    <a:pt x="114" y="251"/>
                  </a:lnTo>
                  <a:lnTo>
                    <a:pt x="114" y="252"/>
                  </a:lnTo>
                  <a:lnTo>
                    <a:pt x="112" y="254"/>
                  </a:lnTo>
                  <a:lnTo>
                    <a:pt x="112" y="257"/>
                  </a:lnTo>
                  <a:lnTo>
                    <a:pt x="111" y="260"/>
                  </a:lnTo>
                  <a:lnTo>
                    <a:pt x="111" y="262"/>
                  </a:lnTo>
                  <a:lnTo>
                    <a:pt x="111" y="263"/>
                  </a:lnTo>
                  <a:lnTo>
                    <a:pt x="111" y="263"/>
                  </a:lnTo>
                  <a:lnTo>
                    <a:pt x="109" y="263"/>
                  </a:lnTo>
                  <a:lnTo>
                    <a:pt x="109" y="265"/>
                  </a:lnTo>
                  <a:lnTo>
                    <a:pt x="111" y="265"/>
                  </a:lnTo>
                  <a:lnTo>
                    <a:pt x="111" y="265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71"/>
                  </a:lnTo>
                  <a:lnTo>
                    <a:pt x="111" y="277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2" y="280"/>
                  </a:lnTo>
                  <a:lnTo>
                    <a:pt x="112" y="282"/>
                  </a:lnTo>
                  <a:lnTo>
                    <a:pt x="112" y="282"/>
                  </a:lnTo>
                  <a:lnTo>
                    <a:pt x="112" y="283"/>
                  </a:lnTo>
                  <a:lnTo>
                    <a:pt x="112" y="283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6"/>
                  </a:lnTo>
                  <a:lnTo>
                    <a:pt x="112" y="286"/>
                  </a:lnTo>
                  <a:lnTo>
                    <a:pt x="111" y="286"/>
                  </a:lnTo>
                  <a:lnTo>
                    <a:pt x="112" y="289"/>
                  </a:lnTo>
                  <a:lnTo>
                    <a:pt x="112" y="294"/>
                  </a:lnTo>
                  <a:lnTo>
                    <a:pt x="114" y="296"/>
                  </a:lnTo>
                  <a:lnTo>
                    <a:pt x="115" y="297"/>
                  </a:lnTo>
                  <a:lnTo>
                    <a:pt x="115" y="308"/>
                  </a:lnTo>
                  <a:lnTo>
                    <a:pt x="115" y="309"/>
                  </a:lnTo>
                  <a:lnTo>
                    <a:pt x="115" y="311"/>
                  </a:lnTo>
                  <a:lnTo>
                    <a:pt x="114" y="311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09" y="312"/>
                  </a:lnTo>
                  <a:lnTo>
                    <a:pt x="109" y="314"/>
                  </a:lnTo>
                  <a:lnTo>
                    <a:pt x="108" y="314"/>
                  </a:lnTo>
                  <a:lnTo>
                    <a:pt x="112" y="317"/>
                  </a:lnTo>
                  <a:lnTo>
                    <a:pt x="114" y="319"/>
                  </a:lnTo>
                  <a:lnTo>
                    <a:pt x="115" y="320"/>
                  </a:lnTo>
                  <a:lnTo>
                    <a:pt x="115" y="322"/>
                  </a:lnTo>
                  <a:lnTo>
                    <a:pt x="115" y="322"/>
                  </a:lnTo>
                  <a:lnTo>
                    <a:pt x="115" y="322"/>
                  </a:lnTo>
                  <a:lnTo>
                    <a:pt x="115" y="325"/>
                  </a:lnTo>
                  <a:lnTo>
                    <a:pt x="115" y="326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6"/>
                  </a:lnTo>
                  <a:lnTo>
                    <a:pt x="120" y="325"/>
                  </a:lnTo>
                  <a:lnTo>
                    <a:pt x="120" y="325"/>
                  </a:lnTo>
                  <a:lnTo>
                    <a:pt x="123" y="322"/>
                  </a:lnTo>
                  <a:lnTo>
                    <a:pt x="129" y="323"/>
                  </a:lnTo>
                  <a:lnTo>
                    <a:pt x="134" y="325"/>
                  </a:lnTo>
                  <a:lnTo>
                    <a:pt x="139" y="325"/>
                  </a:lnTo>
                  <a:lnTo>
                    <a:pt x="140" y="323"/>
                  </a:lnTo>
                  <a:lnTo>
                    <a:pt x="142" y="322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0" y="317"/>
                  </a:lnTo>
                  <a:lnTo>
                    <a:pt x="140" y="317"/>
                  </a:lnTo>
                  <a:lnTo>
                    <a:pt x="142" y="317"/>
                  </a:lnTo>
                  <a:lnTo>
                    <a:pt x="143" y="316"/>
                  </a:lnTo>
                  <a:lnTo>
                    <a:pt x="142" y="314"/>
                  </a:lnTo>
                  <a:lnTo>
                    <a:pt x="142" y="312"/>
                  </a:lnTo>
                  <a:lnTo>
                    <a:pt x="142" y="312"/>
                  </a:lnTo>
                  <a:lnTo>
                    <a:pt x="142" y="311"/>
                  </a:lnTo>
                  <a:lnTo>
                    <a:pt x="140" y="309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9" y="306"/>
                  </a:lnTo>
                  <a:lnTo>
                    <a:pt x="140" y="305"/>
                  </a:lnTo>
                  <a:lnTo>
                    <a:pt x="142" y="303"/>
                  </a:lnTo>
                  <a:lnTo>
                    <a:pt x="143" y="302"/>
                  </a:lnTo>
                  <a:lnTo>
                    <a:pt x="145" y="302"/>
                  </a:lnTo>
                  <a:lnTo>
                    <a:pt x="145" y="300"/>
                  </a:lnTo>
                  <a:lnTo>
                    <a:pt x="145" y="300"/>
                  </a:lnTo>
                  <a:lnTo>
                    <a:pt x="145" y="299"/>
                  </a:lnTo>
                  <a:lnTo>
                    <a:pt x="146" y="297"/>
                  </a:lnTo>
                  <a:lnTo>
                    <a:pt x="151" y="296"/>
                  </a:lnTo>
                  <a:lnTo>
                    <a:pt x="152" y="296"/>
                  </a:lnTo>
                  <a:lnTo>
                    <a:pt x="154" y="294"/>
                  </a:lnTo>
                  <a:lnTo>
                    <a:pt x="154" y="292"/>
                  </a:lnTo>
                  <a:lnTo>
                    <a:pt x="152" y="292"/>
                  </a:lnTo>
                  <a:lnTo>
                    <a:pt x="152" y="291"/>
                  </a:lnTo>
                  <a:lnTo>
                    <a:pt x="154" y="291"/>
                  </a:lnTo>
                  <a:lnTo>
                    <a:pt x="155" y="291"/>
                  </a:lnTo>
                  <a:lnTo>
                    <a:pt x="157" y="289"/>
                  </a:lnTo>
                  <a:lnTo>
                    <a:pt x="159" y="289"/>
                  </a:lnTo>
                  <a:lnTo>
                    <a:pt x="159" y="288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57" y="280"/>
                  </a:lnTo>
                  <a:lnTo>
                    <a:pt x="157" y="279"/>
                  </a:lnTo>
                  <a:lnTo>
                    <a:pt x="159" y="277"/>
                  </a:lnTo>
                  <a:lnTo>
                    <a:pt x="160" y="276"/>
                  </a:lnTo>
                  <a:lnTo>
                    <a:pt x="172" y="272"/>
                  </a:lnTo>
                  <a:lnTo>
                    <a:pt x="174" y="271"/>
                  </a:lnTo>
                  <a:lnTo>
                    <a:pt x="174" y="269"/>
                  </a:lnTo>
                  <a:lnTo>
                    <a:pt x="174" y="265"/>
                  </a:lnTo>
                  <a:lnTo>
                    <a:pt x="172" y="262"/>
                  </a:lnTo>
                  <a:lnTo>
                    <a:pt x="174" y="260"/>
                  </a:lnTo>
                  <a:lnTo>
                    <a:pt x="175" y="257"/>
                  </a:lnTo>
                  <a:lnTo>
                    <a:pt x="179" y="254"/>
                  </a:lnTo>
                  <a:lnTo>
                    <a:pt x="179" y="252"/>
                  </a:lnTo>
                  <a:lnTo>
                    <a:pt x="179" y="249"/>
                  </a:lnTo>
                  <a:lnTo>
                    <a:pt x="177" y="248"/>
                  </a:lnTo>
                  <a:lnTo>
                    <a:pt x="174" y="245"/>
                  </a:lnTo>
                  <a:lnTo>
                    <a:pt x="174" y="245"/>
                  </a:lnTo>
                  <a:lnTo>
                    <a:pt x="172" y="243"/>
                  </a:lnTo>
                  <a:lnTo>
                    <a:pt x="172" y="242"/>
                  </a:lnTo>
                  <a:lnTo>
                    <a:pt x="172" y="240"/>
                  </a:lnTo>
                  <a:lnTo>
                    <a:pt x="174" y="239"/>
                  </a:lnTo>
                  <a:lnTo>
                    <a:pt x="174" y="237"/>
                  </a:lnTo>
                  <a:lnTo>
                    <a:pt x="172" y="232"/>
                  </a:lnTo>
                  <a:lnTo>
                    <a:pt x="172" y="228"/>
                  </a:lnTo>
                  <a:lnTo>
                    <a:pt x="172" y="225"/>
                  </a:lnTo>
                  <a:lnTo>
                    <a:pt x="174" y="223"/>
                  </a:lnTo>
                  <a:lnTo>
                    <a:pt x="179" y="219"/>
                  </a:lnTo>
                  <a:lnTo>
                    <a:pt x="182" y="219"/>
                  </a:lnTo>
                  <a:lnTo>
                    <a:pt x="183" y="217"/>
                  </a:lnTo>
                  <a:lnTo>
                    <a:pt x="189" y="214"/>
                  </a:lnTo>
                  <a:lnTo>
                    <a:pt x="191" y="214"/>
                  </a:lnTo>
                  <a:lnTo>
                    <a:pt x="192" y="215"/>
                  </a:lnTo>
                  <a:lnTo>
                    <a:pt x="192" y="217"/>
                  </a:lnTo>
                  <a:lnTo>
                    <a:pt x="192" y="226"/>
                  </a:lnTo>
                  <a:lnTo>
                    <a:pt x="192" y="228"/>
                  </a:lnTo>
                  <a:lnTo>
                    <a:pt x="192" y="229"/>
                  </a:lnTo>
                  <a:lnTo>
                    <a:pt x="192" y="229"/>
                  </a:lnTo>
                  <a:lnTo>
                    <a:pt x="191" y="231"/>
                  </a:lnTo>
                  <a:lnTo>
                    <a:pt x="191" y="232"/>
                  </a:lnTo>
                  <a:lnTo>
                    <a:pt x="192" y="232"/>
                  </a:lnTo>
                  <a:lnTo>
                    <a:pt x="194" y="232"/>
                  </a:lnTo>
                  <a:lnTo>
                    <a:pt x="197" y="229"/>
                  </a:lnTo>
                  <a:lnTo>
                    <a:pt x="199" y="229"/>
                  </a:lnTo>
                  <a:lnTo>
                    <a:pt x="199" y="229"/>
                  </a:lnTo>
                  <a:lnTo>
                    <a:pt x="199" y="229"/>
                  </a:lnTo>
                  <a:lnTo>
                    <a:pt x="199" y="228"/>
                  </a:lnTo>
                  <a:lnTo>
                    <a:pt x="199" y="226"/>
                  </a:lnTo>
                  <a:lnTo>
                    <a:pt x="199" y="225"/>
                  </a:lnTo>
                  <a:lnTo>
                    <a:pt x="199" y="223"/>
                  </a:lnTo>
                  <a:lnTo>
                    <a:pt x="200" y="220"/>
                  </a:lnTo>
                  <a:lnTo>
                    <a:pt x="202" y="222"/>
                  </a:lnTo>
                  <a:lnTo>
                    <a:pt x="203" y="225"/>
                  </a:lnTo>
                  <a:lnTo>
                    <a:pt x="205" y="226"/>
                  </a:lnTo>
                  <a:lnTo>
                    <a:pt x="206" y="226"/>
                  </a:lnTo>
                  <a:lnTo>
                    <a:pt x="209" y="222"/>
                  </a:lnTo>
                  <a:lnTo>
                    <a:pt x="211" y="220"/>
                  </a:lnTo>
                  <a:lnTo>
                    <a:pt x="211" y="220"/>
                  </a:lnTo>
                  <a:lnTo>
                    <a:pt x="212" y="220"/>
                  </a:lnTo>
                  <a:lnTo>
                    <a:pt x="214" y="220"/>
                  </a:lnTo>
                  <a:lnTo>
                    <a:pt x="214" y="220"/>
                  </a:lnTo>
                  <a:lnTo>
                    <a:pt x="214" y="222"/>
                  </a:lnTo>
                  <a:lnTo>
                    <a:pt x="214" y="222"/>
                  </a:lnTo>
                  <a:lnTo>
                    <a:pt x="214" y="223"/>
                  </a:lnTo>
                  <a:lnTo>
                    <a:pt x="212" y="223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214" y="226"/>
                  </a:lnTo>
                  <a:lnTo>
                    <a:pt x="214" y="226"/>
                  </a:lnTo>
                  <a:lnTo>
                    <a:pt x="217" y="226"/>
                  </a:lnTo>
                  <a:lnTo>
                    <a:pt x="219" y="228"/>
                  </a:lnTo>
                  <a:lnTo>
                    <a:pt x="219" y="228"/>
                  </a:lnTo>
                  <a:lnTo>
                    <a:pt x="220" y="231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3" y="232"/>
                  </a:lnTo>
                  <a:lnTo>
                    <a:pt x="225" y="232"/>
                  </a:lnTo>
                  <a:lnTo>
                    <a:pt x="226" y="231"/>
                  </a:lnTo>
                  <a:lnTo>
                    <a:pt x="226" y="229"/>
                  </a:lnTo>
                  <a:lnTo>
                    <a:pt x="226" y="226"/>
                  </a:lnTo>
                  <a:lnTo>
                    <a:pt x="226" y="226"/>
                  </a:lnTo>
                  <a:lnTo>
                    <a:pt x="228" y="226"/>
                  </a:lnTo>
                  <a:lnTo>
                    <a:pt x="229" y="226"/>
                  </a:lnTo>
                  <a:lnTo>
                    <a:pt x="231" y="223"/>
                  </a:lnTo>
                  <a:lnTo>
                    <a:pt x="231" y="222"/>
                  </a:lnTo>
                  <a:lnTo>
                    <a:pt x="232" y="223"/>
                  </a:lnTo>
                  <a:lnTo>
                    <a:pt x="236" y="226"/>
                  </a:lnTo>
                  <a:lnTo>
                    <a:pt x="237" y="229"/>
                  </a:lnTo>
                  <a:lnTo>
                    <a:pt x="237" y="229"/>
                  </a:lnTo>
                  <a:lnTo>
                    <a:pt x="237" y="231"/>
                  </a:lnTo>
                  <a:lnTo>
                    <a:pt x="237" y="232"/>
                  </a:lnTo>
                  <a:lnTo>
                    <a:pt x="237" y="234"/>
                  </a:lnTo>
                  <a:lnTo>
                    <a:pt x="239" y="235"/>
                  </a:lnTo>
                  <a:lnTo>
                    <a:pt x="240" y="235"/>
                  </a:lnTo>
                  <a:lnTo>
                    <a:pt x="243" y="232"/>
                  </a:lnTo>
                  <a:lnTo>
                    <a:pt x="245" y="231"/>
                  </a:lnTo>
                  <a:lnTo>
                    <a:pt x="246" y="231"/>
                  </a:lnTo>
                  <a:lnTo>
                    <a:pt x="256" y="232"/>
                  </a:lnTo>
                  <a:lnTo>
                    <a:pt x="259" y="231"/>
                  </a:lnTo>
                  <a:lnTo>
                    <a:pt x="260" y="229"/>
                  </a:lnTo>
                  <a:lnTo>
                    <a:pt x="262" y="226"/>
                  </a:lnTo>
                  <a:lnTo>
                    <a:pt x="260" y="225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gray">
            <a:xfrm>
              <a:off x="8829675" y="6926263"/>
              <a:ext cx="415925" cy="520700"/>
            </a:xfrm>
            <a:custGeom>
              <a:avLst/>
              <a:gdLst>
                <a:gd name="T0" fmla="*/ 251 w 262"/>
                <a:gd name="T1" fmla="*/ 219 h 328"/>
                <a:gd name="T2" fmla="*/ 248 w 262"/>
                <a:gd name="T3" fmla="*/ 206 h 328"/>
                <a:gd name="T4" fmla="*/ 246 w 262"/>
                <a:gd name="T5" fmla="*/ 185 h 328"/>
                <a:gd name="T6" fmla="*/ 234 w 262"/>
                <a:gd name="T7" fmla="*/ 179 h 328"/>
                <a:gd name="T8" fmla="*/ 219 w 262"/>
                <a:gd name="T9" fmla="*/ 169 h 328"/>
                <a:gd name="T10" fmla="*/ 219 w 262"/>
                <a:gd name="T11" fmla="*/ 154 h 328"/>
                <a:gd name="T12" fmla="*/ 219 w 262"/>
                <a:gd name="T13" fmla="*/ 149 h 328"/>
                <a:gd name="T14" fmla="*/ 214 w 262"/>
                <a:gd name="T15" fmla="*/ 126 h 328"/>
                <a:gd name="T16" fmla="*/ 205 w 262"/>
                <a:gd name="T17" fmla="*/ 126 h 328"/>
                <a:gd name="T18" fmla="*/ 192 w 262"/>
                <a:gd name="T19" fmla="*/ 115 h 328"/>
                <a:gd name="T20" fmla="*/ 189 w 262"/>
                <a:gd name="T21" fmla="*/ 100 h 328"/>
                <a:gd name="T22" fmla="*/ 191 w 262"/>
                <a:gd name="T23" fmla="*/ 74 h 328"/>
                <a:gd name="T24" fmla="*/ 186 w 262"/>
                <a:gd name="T25" fmla="*/ 57 h 328"/>
                <a:gd name="T26" fmla="*/ 166 w 262"/>
                <a:gd name="T27" fmla="*/ 52 h 328"/>
                <a:gd name="T28" fmla="*/ 146 w 262"/>
                <a:gd name="T29" fmla="*/ 37 h 328"/>
                <a:gd name="T30" fmla="*/ 134 w 262"/>
                <a:gd name="T31" fmla="*/ 40 h 328"/>
                <a:gd name="T32" fmla="*/ 128 w 262"/>
                <a:gd name="T33" fmla="*/ 35 h 328"/>
                <a:gd name="T34" fmla="*/ 120 w 262"/>
                <a:gd name="T35" fmla="*/ 31 h 328"/>
                <a:gd name="T36" fmla="*/ 109 w 262"/>
                <a:gd name="T37" fmla="*/ 18 h 328"/>
                <a:gd name="T38" fmla="*/ 75 w 262"/>
                <a:gd name="T39" fmla="*/ 3 h 328"/>
                <a:gd name="T40" fmla="*/ 54 w 262"/>
                <a:gd name="T41" fmla="*/ 5 h 328"/>
                <a:gd name="T42" fmla="*/ 31 w 262"/>
                <a:gd name="T43" fmla="*/ 12 h 328"/>
                <a:gd name="T44" fmla="*/ 20 w 262"/>
                <a:gd name="T45" fmla="*/ 11 h 328"/>
                <a:gd name="T46" fmla="*/ 14 w 262"/>
                <a:gd name="T47" fmla="*/ 17 h 328"/>
                <a:gd name="T48" fmla="*/ 1 w 262"/>
                <a:gd name="T49" fmla="*/ 21 h 328"/>
                <a:gd name="T50" fmla="*/ 15 w 262"/>
                <a:gd name="T51" fmla="*/ 26 h 328"/>
                <a:gd name="T52" fmla="*/ 29 w 262"/>
                <a:gd name="T53" fmla="*/ 35 h 328"/>
                <a:gd name="T54" fmla="*/ 32 w 262"/>
                <a:gd name="T55" fmla="*/ 41 h 328"/>
                <a:gd name="T56" fmla="*/ 35 w 262"/>
                <a:gd name="T57" fmla="*/ 54 h 328"/>
                <a:gd name="T58" fmla="*/ 40 w 262"/>
                <a:gd name="T59" fmla="*/ 63 h 328"/>
                <a:gd name="T60" fmla="*/ 46 w 262"/>
                <a:gd name="T61" fmla="*/ 75 h 328"/>
                <a:gd name="T62" fmla="*/ 49 w 262"/>
                <a:gd name="T63" fmla="*/ 85 h 328"/>
                <a:gd name="T64" fmla="*/ 62 w 262"/>
                <a:gd name="T65" fmla="*/ 105 h 328"/>
                <a:gd name="T66" fmla="*/ 69 w 262"/>
                <a:gd name="T67" fmla="*/ 111 h 328"/>
                <a:gd name="T68" fmla="*/ 72 w 262"/>
                <a:gd name="T69" fmla="*/ 123 h 328"/>
                <a:gd name="T70" fmla="*/ 85 w 262"/>
                <a:gd name="T71" fmla="*/ 137 h 328"/>
                <a:gd name="T72" fmla="*/ 92 w 262"/>
                <a:gd name="T73" fmla="*/ 151 h 328"/>
                <a:gd name="T74" fmla="*/ 106 w 262"/>
                <a:gd name="T75" fmla="*/ 162 h 328"/>
                <a:gd name="T76" fmla="*/ 112 w 262"/>
                <a:gd name="T77" fmla="*/ 180 h 328"/>
                <a:gd name="T78" fmla="*/ 120 w 262"/>
                <a:gd name="T79" fmla="*/ 209 h 328"/>
                <a:gd name="T80" fmla="*/ 122 w 262"/>
                <a:gd name="T81" fmla="*/ 225 h 328"/>
                <a:gd name="T82" fmla="*/ 117 w 262"/>
                <a:gd name="T83" fmla="*/ 234 h 328"/>
                <a:gd name="T84" fmla="*/ 112 w 262"/>
                <a:gd name="T85" fmla="*/ 246 h 328"/>
                <a:gd name="T86" fmla="*/ 111 w 262"/>
                <a:gd name="T87" fmla="*/ 263 h 328"/>
                <a:gd name="T88" fmla="*/ 112 w 262"/>
                <a:gd name="T89" fmla="*/ 280 h 328"/>
                <a:gd name="T90" fmla="*/ 114 w 262"/>
                <a:gd name="T91" fmla="*/ 296 h 328"/>
                <a:gd name="T92" fmla="*/ 114 w 262"/>
                <a:gd name="T93" fmla="*/ 319 h 328"/>
                <a:gd name="T94" fmla="*/ 123 w 262"/>
                <a:gd name="T95" fmla="*/ 322 h 328"/>
                <a:gd name="T96" fmla="*/ 143 w 262"/>
                <a:gd name="T97" fmla="*/ 316 h 328"/>
                <a:gd name="T98" fmla="*/ 145 w 262"/>
                <a:gd name="T99" fmla="*/ 302 h 328"/>
                <a:gd name="T100" fmla="*/ 155 w 262"/>
                <a:gd name="T101" fmla="*/ 291 h 328"/>
                <a:gd name="T102" fmla="*/ 174 w 262"/>
                <a:gd name="T103" fmla="*/ 269 h 328"/>
                <a:gd name="T104" fmla="*/ 172 w 262"/>
                <a:gd name="T105" fmla="*/ 242 h 328"/>
                <a:gd name="T106" fmla="*/ 191 w 262"/>
                <a:gd name="T107" fmla="*/ 214 h 328"/>
                <a:gd name="T108" fmla="*/ 199 w 262"/>
                <a:gd name="T109" fmla="*/ 229 h 328"/>
                <a:gd name="T110" fmla="*/ 209 w 262"/>
                <a:gd name="T111" fmla="*/ 222 h 328"/>
                <a:gd name="T112" fmla="*/ 214 w 262"/>
                <a:gd name="T113" fmla="*/ 226 h 328"/>
                <a:gd name="T114" fmla="*/ 226 w 262"/>
                <a:gd name="T115" fmla="*/ 226 h 328"/>
                <a:gd name="T116" fmla="*/ 237 w 262"/>
                <a:gd name="T117" fmla="*/ 23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2" h="328">
                  <a:moveTo>
                    <a:pt x="260" y="225"/>
                  </a:moveTo>
                  <a:lnTo>
                    <a:pt x="260" y="225"/>
                  </a:lnTo>
                  <a:lnTo>
                    <a:pt x="259" y="225"/>
                  </a:lnTo>
                  <a:lnTo>
                    <a:pt x="257" y="226"/>
                  </a:lnTo>
                  <a:lnTo>
                    <a:pt x="257" y="225"/>
                  </a:lnTo>
                  <a:lnTo>
                    <a:pt x="252" y="222"/>
                  </a:lnTo>
                  <a:lnTo>
                    <a:pt x="254" y="222"/>
                  </a:lnTo>
                  <a:lnTo>
                    <a:pt x="252" y="219"/>
                  </a:lnTo>
                  <a:lnTo>
                    <a:pt x="252" y="219"/>
                  </a:lnTo>
                  <a:lnTo>
                    <a:pt x="251" y="219"/>
                  </a:lnTo>
                  <a:lnTo>
                    <a:pt x="251" y="219"/>
                  </a:lnTo>
                  <a:lnTo>
                    <a:pt x="251" y="219"/>
                  </a:lnTo>
                  <a:lnTo>
                    <a:pt x="249" y="219"/>
                  </a:lnTo>
                  <a:lnTo>
                    <a:pt x="249" y="219"/>
                  </a:lnTo>
                  <a:lnTo>
                    <a:pt x="249" y="217"/>
                  </a:lnTo>
                  <a:lnTo>
                    <a:pt x="249" y="217"/>
                  </a:lnTo>
                  <a:lnTo>
                    <a:pt x="246" y="215"/>
                  </a:lnTo>
                  <a:lnTo>
                    <a:pt x="245" y="214"/>
                  </a:lnTo>
                  <a:lnTo>
                    <a:pt x="245" y="212"/>
                  </a:lnTo>
                  <a:lnTo>
                    <a:pt x="246" y="212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48" y="208"/>
                  </a:lnTo>
                  <a:lnTo>
                    <a:pt x="248" y="206"/>
                  </a:lnTo>
                  <a:lnTo>
                    <a:pt x="246" y="205"/>
                  </a:lnTo>
                  <a:lnTo>
                    <a:pt x="246" y="203"/>
                  </a:lnTo>
                  <a:lnTo>
                    <a:pt x="248" y="203"/>
                  </a:lnTo>
                  <a:lnTo>
                    <a:pt x="248" y="202"/>
                  </a:lnTo>
                  <a:lnTo>
                    <a:pt x="248" y="200"/>
                  </a:lnTo>
                  <a:lnTo>
                    <a:pt x="248" y="194"/>
                  </a:lnTo>
                  <a:lnTo>
                    <a:pt x="248" y="191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6" y="188"/>
                  </a:lnTo>
                  <a:lnTo>
                    <a:pt x="246" y="188"/>
                  </a:lnTo>
                  <a:lnTo>
                    <a:pt x="246" y="185"/>
                  </a:lnTo>
                  <a:lnTo>
                    <a:pt x="246" y="185"/>
                  </a:lnTo>
                  <a:lnTo>
                    <a:pt x="246" y="183"/>
                  </a:lnTo>
                  <a:lnTo>
                    <a:pt x="245" y="185"/>
                  </a:lnTo>
                  <a:lnTo>
                    <a:pt x="245" y="185"/>
                  </a:lnTo>
                  <a:lnTo>
                    <a:pt x="243" y="185"/>
                  </a:lnTo>
                  <a:lnTo>
                    <a:pt x="243" y="185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0" y="180"/>
                  </a:lnTo>
                  <a:lnTo>
                    <a:pt x="239" y="179"/>
                  </a:lnTo>
                  <a:lnTo>
                    <a:pt x="236" y="180"/>
                  </a:lnTo>
                  <a:lnTo>
                    <a:pt x="234" y="179"/>
                  </a:lnTo>
                  <a:lnTo>
                    <a:pt x="232" y="179"/>
                  </a:lnTo>
                  <a:lnTo>
                    <a:pt x="231" y="175"/>
                  </a:lnTo>
                  <a:lnTo>
                    <a:pt x="229" y="174"/>
                  </a:lnTo>
                  <a:lnTo>
                    <a:pt x="228" y="174"/>
                  </a:lnTo>
                  <a:lnTo>
                    <a:pt x="226" y="174"/>
                  </a:lnTo>
                  <a:lnTo>
                    <a:pt x="225" y="172"/>
                  </a:lnTo>
                  <a:lnTo>
                    <a:pt x="225" y="172"/>
                  </a:lnTo>
                  <a:lnTo>
                    <a:pt x="223" y="171"/>
                  </a:lnTo>
                  <a:lnTo>
                    <a:pt x="222" y="171"/>
                  </a:lnTo>
                  <a:lnTo>
                    <a:pt x="220" y="171"/>
                  </a:lnTo>
                  <a:lnTo>
                    <a:pt x="220" y="171"/>
                  </a:lnTo>
                  <a:lnTo>
                    <a:pt x="219" y="169"/>
                  </a:lnTo>
                  <a:lnTo>
                    <a:pt x="219" y="168"/>
                  </a:lnTo>
                  <a:lnTo>
                    <a:pt x="220" y="168"/>
                  </a:lnTo>
                  <a:lnTo>
                    <a:pt x="220" y="166"/>
                  </a:lnTo>
                  <a:lnTo>
                    <a:pt x="220" y="162"/>
                  </a:lnTo>
                  <a:lnTo>
                    <a:pt x="222" y="162"/>
                  </a:lnTo>
                  <a:lnTo>
                    <a:pt x="222" y="160"/>
                  </a:lnTo>
                  <a:lnTo>
                    <a:pt x="223" y="158"/>
                  </a:lnTo>
                  <a:lnTo>
                    <a:pt x="223" y="157"/>
                  </a:lnTo>
                  <a:lnTo>
                    <a:pt x="222" y="155"/>
                  </a:lnTo>
                  <a:lnTo>
                    <a:pt x="222" y="154"/>
                  </a:lnTo>
                  <a:lnTo>
                    <a:pt x="220" y="154"/>
                  </a:lnTo>
                  <a:lnTo>
                    <a:pt x="219" y="154"/>
                  </a:lnTo>
                  <a:lnTo>
                    <a:pt x="217" y="155"/>
                  </a:lnTo>
                  <a:lnTo>
                    <a:pt x="217" y="157"/>
                  </a:lnTo>
                  <a:lnTo>
                    <a:pt x="217" y="157"/>
                  </a:lnTo>
                  <a:lnTo>
                    <a:pt x="216" y="157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2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9" y="149"/>
                  </a:lnTo>
                  <a:lnTo>
                    <a:pt x="219" y="146"/>
                  </a:lnTo>
                  <a:lnTo>
                    <a:pt x="219" y="140"/>
                  </a:lnTo>
                  <a:lnTo>
                    <a:pt x="219" y="138"/>
                  </a:lnTo>
                  <a:lnTo>
                    <a:pt x="220" y="137"/>
                  </a:lnTo>
                  <a:lnTo>
                    <a:pt x="220" y="135"/>
                  </a:lnTo>
                  <a:lnTo>
                    <a:pt x="220" y="132"/>
                  </a:lnTo>
                  <a:lnTo>
                    <a:pt x="220" y="131"/>
                  </a:lnTo>
                  <a:lnTo>
                    <a:pt x="219" y="128"/>
                  </a:lnTo>
                  <a:lnTo>
                    <a:pt x="217" y="128"/>
                  </a:lnTo>
                  <a:lnTo>
                    <a:pt x="217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2" y="128"/>
                  </a:lnTo>
                  <a:lnTo>
                    <a:pt x="212" y="131"/>
                  </a:lnTo>
                  <a:lnTo>
                    <a:pt x="212" y="132"/>
                  </a:lnTo>
                  <a:lnTo>
                    <a:pt x="211" y="132"/>
                  </a:lnTo>
                  <a:lnTo>
                    <a:pt x="209" y="134"/>
                  </a:lnTo>
                  <a:lnTo>
                    <a:pt x="208" y="134"/>
                  </a:lnTo>
                  <a:lnTo>
                    <a:pt x="206" y="132"/>
                  </a:lnTo>
                  <a:lnTo>
                    <a:pt x="206" y="132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28"/>
                  </a:lnTo>
                  <a:lnTo>
                    <a:pt x="205" y="126"/>
                  </a:lnTo>
                  <a:lnTo>
                    <a:pt x="205" y="125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0" y="123"/>
                  </a:lnTo>
                  <a:lnTo>
                    <a:pt x="200" y="122"/>
                  </a:lnTo>
                  <a:lnTo>
                    <a:pt x="199" y="120"/>
                  </a:lnTo>
                  <a:lnTo>
                    <a:pt x="199" y="118"/>
                  </a:lnTo>
                  <a:lnTo>
                    <a:pt x="197" y="117"/>
                  </a:lnTo>
                  <a:lnTo>
                    <a:pt x="196" y="115"/>
                  </a:lnTo>
                  <a:lnTo>
                    <a:pt x="194" y="114"/>
                  </a:lnTo>
                  <a:lnTo>
                    <a:pt x="192" y="115"/>
                  </a:lnTo>
                  <a:lnTo>
                    <a:pt x="192" y="115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4"/>
                  </a:lnTo>
                  <a:lnTo>
                    <a:pt x="188" y="111"/>
                  </a:lnTo>
                  <a:lnTo>
                    <a:pt x="188" y="111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6" y="105"/>
                  </a:lnTo>
                  <a:lnTo>
                    <a:pt x="188" y="103"/>
                  </a:lnTo>
                  <a:lnTo>
                    <a:pt x="189" y="100"/>
                  </a:lnTo>
                  <a:lnTo>
                    <a:pt x="191" y="97"/>
                  </a:lnTo>
                  <a:lnTo>
                    <a:pt x="192" y="92"/>
                  </a:lnTo>
                  <a:lnTo>
                    <a:pt x="192" y="89"/>
                  </a:lnTo>
                  <a:lnTo>
                    <a:pt x="192" y="85"/>
                  </a:lnTo>
                  <a:lnTo>
                    <a:pt x="194" y="81"/>
                  </a:lnTo>
                  <a:lnTo>
                    <a:pt x="196" y="81"/>
                  </a:lnTo>
                  <a:lnTo>
                    <a:pt x="196" y="80"/>
                  </a:lnTo>
                  <a:lnTo>
                    <a:pt x="194" y="78"/>
                  </a:lnTo>
                  <a:lnTo>
                    <a:pt x="191" y="78"/>
                  </a:lnTo>
                  <a:lnTo>
                    <a:pt x="191" y="77"/>
                  </a:lnTo>
                  <a:lnTo>
                    <a:pt x="191" y="75"/>
                  </a:lnTo>
                  <a:lnTo>
                    <a:pt x="191" y="74"/>
                  </a:lnTo>
                  <a:lnTo>
                    <a:pt x="192" y="72"/>
                  </a:lnTo>
                  <a:lnTo>
                    <a:pt x="194" y="71"/>
                  </a:lnTo>
                  <a:lnTo>
                    <a:pt x="196" y="69"/>
                  </a:lnTo>
                  <a:lnTo>
                    <a:pt x="196" y="68"/>
                  </a:lnTo>
                  <a:lnTo>
                    <a:pt x="194" y="68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89" y="65"/>
                  </a:lnTo>
                  <a:lnTo>
                    <a:pt x="189" y="60"/>
                  </a:lnTo>
                  <a:lnTo>
                    <a:pt x="189" y="58"/>
                  </a:lnTo>
                  <a:lnTo>
                    <a:pt x="188" y="57"/>
                  </a:lnTo>
                  <a:lnTo>
                    <a:pt x="186" y="57"/>
                  </a:lnTo>
                  <a:lnTo>
                    <a:pt x="186" y="55"/>
                  </a:lnTo>
                  <a:lnTo>
                    <a:pt x="185" y="55"/>
                  </a:lnTo>
                  <a:lnTo>
                    <a:pt x="182" y="57"/>
                  </a:lnTo>
                  <a:lnTo>
                    <a:pt x="179" y="61"/>
                  </a:lnTo>
                  <a:lnTo>
                    <a:pt x="175" y="61"/>
                  </a:lnTo>
                  <a:lnTo>
                    <a:pt x="174" y="61"/>
                  </a:lnTo>
                  <a:lnTo>
                    <a:pt x="172" y="60"/>
                  </a:lnTo>
                  <a:lnTo>
                    <a:pt x="171" y="58"/>
                  </a:lnTo>
                  <a:lnTo>
                    <a:pt x="169" y="57"/>
                  </a:lnTo>
                  <a:lnTo>
                    <a:pt x="168" y="54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48"/>
                  </a:lnTo>
                  <a:lnTo>
                    <a:pt x="163" y="45"/>
                  </a:lnTo>
                  <a:lnTo>
                    <a:pt x="163" y="45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3" y="41"/>
                  </a:lnTo>
                  <a:lnTo>
                    <a:pt x="160" y="40"/>
                  </a:lnTo>
                  <a:lnTo>
                    <a:pt x="159" y="40"/>
                  </a:lnTo>
                  <a:lnTo>
                    <a:pt x="152" y="40"/>
                  </a:lnTo>
                  <a:lnTo>
                    <a:pt x="146" y="37"/>
                  </a:lnTo>
                  <a:lnTo>
                    <a:pt x="143" y="37"/>
                  </a:lnTo>
                  <a:lnTo>
                    <a:pt x="142" y="37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39" y="46"/>
                  </a:lnTo>
                  <a:lnTo>
                    <a:pt x="137" y="46"/>
                  </a:lnTo>
                  <a:lnTo>
                    <a:pt x="137" y="45"/>
                  </a:lnTo>
                  <a:lnTo>
                    <a:pt x="134" y="40"/>
                  </a:lnTo>
                  <a:lnTo>
                    <a:pt x="135" y="38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34" y="35"/>
                  </a:lnTo>
                  <a:lnTo>
                    <a:pt x="132" y="35"/>
                  </a:lnTo>
                  <a:lnTo>
                    <a:pt x="131" y="37"/>
                  </a:lnTo>
                  <a:lnTo>
                    <a:pt x="131" y="38"/>
                  </a:lnTo>
                  <a:lnTo>
                    <a:pt x="129" y="40"/>
                  </a:lnTo>
                  <a:lnTo>
                    <a:pt x="128" y="40"/>
                  </a:lnTo>
                  <a:lnTo>
                    <a:pt x="126" y="38"/>
                  </a:lnTo>
                  <a:lnTo>
                    <a:pt x="126" y="37"/>
                  </a:lnTo>
                  <a:lnTo>
                    <a:pt x="128" y="35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31" y="32"/>
                  </a:lnTo>
                  <a:lnTo>
                    <a:pt x="131" y="31"/>
                  </a:lnTo>
                  <a:lnTo>
                    <a:pt x="131" y="28"/>
                  </a:lnTo>
                  <a:lnTo>
                    <a:pt x="129" y="28"/>
                  </a:lnTo>
                  <a:lnTo>
                    <a:pt x="129" y="28"/>
                  </a:lnTo>
                  <a:lnTo>
                    <a:pt x="125" y="28"/>
                  </a:lnTo>
                  <a:lnTo>
                    <a:pt x="123" y="28"/>
                  </a:lnTo>
                  <a:lnTo>
                    <a:pt x="123" y="29"/>
                  </a:lnTo>
                  <a:lnTo>
                    <a:pt x="122" y="31"/>
                  </a:lnTo>
                  <a:lnTo>
                    <a:pt x="120" y="31"/>
                  </a:lnTo>
                  <a:lnTo>
                    <a:pt x="118" y="31"/>
                  </a:lnTo>
                  <a:lnTo>
                    <a:pt x="117" y="29"/>
                  </a:lnTo>
                  <a:lnTo>
                    <a:pt x="117" y="26"/>
                  </a:lnTo>
                  <a:lnTo>
                    <a:pt x="117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1" y="28"/>
                  </a:lnTo>
                  <a:lnTo>
                    <a:pt x="109" y="26"/>
                  </a:lnTo>
                  <a:lnTo>
                    <a:pt x="111" y="21"/>
                  </a:lnTo>
                  <a:lnTo>
                    <a:pt x="111" y="20"/>
                  </a:lnTo>
                  <a:lnTo>
                    <a:pt x="109" y="18"/>
                  </a:lnTo>
                  <a:lnTo>
                    <a:pt x="108" y="18"/>
                  </a:lnTo>
                  <a:lnTo>
                    <a:pt x="103" y="17"/>
                  </a:lnTo>
                  <a:lnTo>
                    <a:pt x="100" y="17"/>
                  </a:lnTo>
                  <a:lnTo>
                    <a:pt x="98" y="15"/>
                  </a:lnTo>
                  <a:lnTo>
                    <a:pt x="95" y="14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4" y="9"/>
                  </a:lnTo>
                  <a:lnTo>
                    <a:pt x="92" y="8"/>
                  </a:lnTo>
                  <a:lnTo>
                    <a:pt x="88" y="5"/>
                  </a:lnTo>
                  <a:lnTo>
                    <a:pt x="85" y="3"/>
                  </a:lnTo>
                  <a:lnTo>
                    <a:pt x="75" y="3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1" y="1"/>
                  </a:lnTo>
                  <a:lnTo>
                    <a:pt x="69" y="1"/>
                  </a:lnTo>
                  <a:lnTo>
                    <a:pt x="66" y="1"/>
                  </a:lnTo>
                  <a:lnTo>
                    <a:pt x="65" y="3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5" y="6"/>
                  </a:lnTo>
                  <a:lnTo>
                    <a:pt x="54" y="5"/>
                  </a:lnTo>
                  <a:lnTo>
                    <a:pt x="52" y="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5" y="14"/>
                  </a:lnTo>
                  <a:lnTo>
                    <a:pt x="41" y="14"/>
                  </a:lnTo>
                  <a:lnTo>
                    <a:pt x="34" y="11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5" y="15"/>
                  </a:lnTo>
                  <a:lnTo>
                    <a:pt x="21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4" y="17"/>
                  </a:lnTo>
                  <a:lnTo>
                    <a:pt x="14" y="20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9" y="21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1" y="21"/>
                  </a:lnTo>
                  <a:lnTo>
                    <a:pt x="1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4" y="25"/>
                  </a:lnTo>
                  <a:lnTo>
                    <a:pt x="15" y="26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4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5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9" y="40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1" y="43"/>
                  </a:lnTo>
                  <a:lnTo>
                    <a:pt x="32" y="45"/>
                  </a:lnTo>
                  <a:lnTo>
                    <a:pt x="34" y="48"/>
                  </a:lnTo>
                  <a:lnTo>
                    <a:pt x="35" y="49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1" y="55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0" y="58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0" y="63"/>
                  </a:lnTo>
                  <a:lnTo>
                    <a:pt x="41" y="63"/>
                  </a:lnTo>
                  <a:lnTo>
                    <a:pt x="43" y="65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9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6" y="75"/>
                  </a:lnTo>
                  <a:lnTo>
                    <a:pt x="48" y="77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9" y="80"/>
                  </a:lnTo>
                  <a:lnTo>
                    <a:pt x="49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49" y="85"/>
                  </a:lnTo>
                  <a:lnTo>
                    <a:pt x="49" y="88"/>
                  </a:lnTo>
                  <a:lnTo>
                    <a:pt x="51" y="91"/>
                  </a:lnTo>
                  <a:lnTo>
                    <a:pt x="57" y="97"/>
                  </a:lnTo>
                  <a:lnTo>
                    <a:pt x="58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5"/>
                  </a:lnTo>
                  <a:lnTo>
                    <a:pt x="63" y="108"/>
                  </a:lnTo>
                  <a:lnTo>
                    <a:pt x="65" y="109"/>
                  </a:lnTo>
                  <a:lnTo>
                    <a:pt x="65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8" y="111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1" y="112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5"/>
                  </a:lnTo>
                  <a:lnTo>
                    <a:pt x="71" y="115"/>
                  </a:lnTo>
                  <a:lnTo>
                    <a:pt x="71" y="117"/>
                  </a:lnTo>
                  <a:lnTo>
                    <a:pt x="71" y="118"/>
                  </a:lnTo>
                  <a:lnTo>
                    <a:pt x="72" y="120"/>
                  </a:lnTo>
                  <a:lnTo>
                    <a:pt x="71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4" y="125"/>
                  </a:lnTo>
                  <a:lnTo>
                    <a:pt x="75" y="129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8" y="131"/>
                  </a:lnTo>
                  <a:lnTo>
                    <a:pt x="80" y="131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83" y="132"/>
                  </a:lnTo>
                  <a:lnTo>
                    <a:pt x="83" y="134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6" y="138"/>
                  </a:lnTo>
                  <a:lnTo>
                    <a:pt x="88" y="142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9" y="145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8" y="146"/>
                  </a:lnTo>
                  <a:lnTo>
                    <a:pt x="89" y="148"/>
                  </a:lnTo>
                  <a:lnTo>
                    <a:pt x="92" y="149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5" y="155"/>
                  </a:lnTo>
                  <a:lnTo>
                    <a:pt x="97" y="155"/>
                  </a:lnTo>
                  <a:lnTo>
                    <a:pt x="98" y="157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2" y="160"/>
                  </a:lnTo>
                  <a:lnTo>
                    <a:pt x="103" y="160"/>
                  </a:lnTo>
                  <a:lnTo>
                    <a:pt x="105" y="160"/>
                  </a:lnTo>
                  <a:lnTo>
                    <a:pt x="106" y="162"/>
                  </a:lnTo>
                  <a:lnTo>
                    <a:pt x="106" y="162"/>
                  </a:lnTo>
                  <a:lnTo>
                    <a:pt x="108" y="165"/>
                  </a:lnTo>
                  <a:lnTo>
                    <a:pt x="109" y="166"/>
                  </a:lnTo>
                  <a:lnTo>
                    <a:pt x="111" y="171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1" y="174"/>
                  </a:lnTo>
                  <a:lnTo>
                    <a:pt x="112" y="175"/>
                  </a:lnTo>
                  <a:lnTo>
                    <a:pt x="112" y="177"/>
                  </a:lnTo>
                  <a:lnTo>
                    <a:pt x="112" y="177"/>
                  </a:lnTo>
                  <a:lnTo>
                    <a:pt x="112" y="179"/>
                  </a:lnTo>
                  <a:lnTo>
                    <a:pt x="112" y="180"/>
                  </a:lnTo>
                  <a:lnTo>
                    <a:pt x="112" y="180"/>
                  </a:lnTo>
                  <a:lnTo>
                    <a:pt x="112" y="182"/>
                  </a:lnTo>
                  <a:lnTo>
                    <a:pt x="114" y="185"/>
                  </a:lnTo>
                  <a:lnTo>
                    <a:pt x="117" y="189"/>
                  </a:lnTo>
                  <a:lnTo>
                    <a:pt x="117" y="192"/>
                  </a:lnTo>
                  <a:lnTo>
                    <a:pt x="120" y="200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2" y="205"/>
                  </a:lnTo>
                  <a:lnTo>
                    <a:pt x="122" y="206"/>
                  </a:lnTo>
                  <a:lnTo>
                    <a:pt x="122" y="208"/>
                  </a:lnTo>
                  <a:lnTo>
                    <a:pt x="120" y="209"/>
                  </a:lnTo>
                  <a:lnTo>
                    <a:pt x="120" y="211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20" y="214"/>
                  </a:lnTo>
                  <a:lnTo>
                    <a:pt x="120" y="217"/>
                  </a:lnTo>
                  <a:lnTo>
                    <a:pt x="120" y="219"/>
                  </a:lnTo>
                  <a:lnTo>
                    <a:pt x="120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22" y="222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0" y="226"/>
                  </a:lnTo>
                  <a:lnTo>
                    <a:pt x="120" y="228"/>
                  </a:lnTo>
                  <a:lnTo>
                    <a:pt x="120" y="229"/>
                  </a:lnTo>
                  <a:lnTo>
                    <a:pt x="120" y="229"/>
                  </a:lnTo>
                  <a:lnTo>
                    <a:pt x="120" y="229"/>
                  </a:lnTo>
                  <a:lnTo>
                    <a:pt x="118" y="229"/>
                  </a:lnTo>
                  <a:lnTo>
                    <a:pt x="118" y="232"/>
                  </a:lnTo>
                  <a:lnTo>
                    <a:pt x="118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7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40"/>
                  </a:lnTo>
                  <a:lnTo>
                    <a:pt x="115" y="242"/>
                  </a:lnTo>
                  <a:lnTo>
                    <a:pt x="115" y="242"/>
                  </a:lnTo>
                  <a:lnTo>
                    <a:pt x="114" y="242"/>
                  </a:lnTo>
                  <a:lnTo>
                    <a:pt x="114" y="243"/>
                  </a:lnTo>
                  <a:lnTo>
                    <a:pt x="112" y="243"/>
                  </a:lnTo>
                  <a:lnTo>
                    <a:pt x="114" y="245"/>
                  </a:lnTo>
                  <a:lnTo>
                    <a:pt x="112" y="246"/>
                  </a:lnTo>
                  <a:lnTo>
                    <a:pt x="112" y="246"/>
                  </a:lnTo>
                  <a:lnTo>
                    <a:pt x="111" y="246"/>
                  </a:lnTo>
                  <a:lnTo>
                    <a:pt x="111" y="248"/>
                  </a:lnTo>
                  <a:lnTo>
                    <a:pt x="112" y="249"/>
                  </a:lnTo>
                  <a:lnTo>
                    <a:pt x="114" y="251"/>
                  </a:lnTo>
                  <a:lnTo>
                    <a:pt x="114" y="251"/>
                  </a:lnTo>
                  <a:lnTo>
                    <a:pt x="114" y="252"/>
                  </a:lnTo>
                  <a:lnTo>
                    <a:pt x="112" y="254"/>
                  </a:lnTo>
                  <a:lnTo>
                    <a:pt x="112" y="257"/>
                  </a:lnTo>
                  <a:lnTo>
                    <a:pt x="111" y="260"/>
                  </a:lnTo>
                  <a:lnTo>
                    <a:pt x="111" y="262"/>
                  </a:lnTo>
                  <a:lnTo>
                    <a:pt x="111" y="263"/>
                  </a:lnTo>
                  <a:lnTo>
                    <a:pt x="111" y="263"/>
                  </a:lnTo>
                  <a:lnTo>
                    <a:pt x="109" y="263"/>
                  </a:lnTo>
                  <a:lnTo>
                    <a:pt x="109" y="265"/>
                  </a:lnTo>
                  <a:lnTo>
                    <a:pt x="111" y="265"/>
                  </a:lnTo>
                  <a:lnTo>
                    <a:pt x="111" y="265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71"/>
                  </a:lnTo>
                  <a:lnTo>
                    <a:pt x="111" y="277"/>
                  </a:lnTo>
                  <a:lnTo>
                    <a:pt x="111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2" y="280"/>
                  </a:lnTo>
                  <a:lnTo>
                    <a:pt x="112" y="282"/>
                  </a:lnTo>
                  <a:lnTo>
                    <a:pt x="112" y="282"/>
                  </a:lnTo>
                  <a:lnTo>
                    <a:pt x="112" y="283"/>
                  </a:lnTo>
                  <a:lnTo>
                    <a:pt x="112" y="283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6"/>
                  </a:lnTo>
                  <a:lnTo>
                    <a:pt x="112" y="286"/>
                  </a:lnTo>
                  <a:lnTo>
                    <a:pt x="111" y="286"/>
                  </a:lnTo>
                  <a:lnTo>
                    <a:pt x="112" y="289"/>
                  </a:lnTo>
                  <a:lnTo>
                    <a:pt x="112" y="294"/>
                  </a:lnTo>
                  <a:lnTo>
                    <a:pt x="114" y="296"/>
                  </a:lnTo>
                  <a:lnTo>
                    <a:pt x="115" y="297"/>
                  </a:lnTo>
                  <a:lnTo>
                    <a:pt x="115" y="308"/>
                  </a:lnTo>
                  <a:lnTo>
                    <a:pt x="115" y="309"/>
                  </a:lnTo>
                  <a:lnTo>
                    <a:pt x="115" y="311"/>
                  </a:lnTo>
                  <a:lnTo>
                    <a:pt x="114" y="311"/>
                  </a:lnTo>
                  <a:lnTo>
                    <a:pt x="112" y="311"/>
                  </a:lnTo>
                  <a:lnTo>
                    <a:pt x="111" y="311"/>
                  </a:lnTo>
                  <a:lnTo>
                    <a:pt x="109" y="312"/>
                  </a:lnTo>
                  <a:lnTo>
                    <a:pt x="109" y="314"/>
                  </a:lnTo>
                  <a:lnTo>
                    <a:pt x="108" y="314"/>
                  </a:lnTo>
                  <a:lnTo>
                    <a:pt x="112" y="317"/>
                  </a:lnTo>
                  <a:lnTo>
                    <a:pt x="114" y="319"/>
                  </a:lnTo>
                  <a:lnTo>
                    <a:pt x="115" y="320"/>
                  </a:lnTo>
                  <a:lnTo>
                    <a:pt x="115" y="322"/>
                  </a:lnTo>
                  <a:lnTo>
                    <a:pt x="115" y="322"/>
                  </a:lnTo>
                  <a:lnTo>
                    <a:pt x="115" y="322"/>
                  </a:lnTo>
                  <a:lnTo>
                    <a:pt x="115" y="325"/>
                  </a:lnTo>
                  <a:lnTo>
                    <a:pt x="115" y="326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6"/>
                  </a:lnTo>
                  <a:lnTo>
                    <a:pt x="120" y="325"/>
                  </a:lnTo>
                  <a:lnTo>
                    <a:pt x="120" y="325"/>
                  </a:lnTo>
                  <a:lnTo>
                    <a:pt x="123" y="322"/>
                  </a:lnTo>
                  <a:lnTo>
                    <a:pt x="129" y="323"/>
                  </a:lnTo>
                  <a:lnTo>
                    <a:pt x="134" y="325"/>
                  </a:lnTo>
                  <a:lnTo>
                    <a:pt x="139" y="325"/>
                  </a:lnTo>
                  <a:lnTo>
                    <a:pt x="140" y="323"/>
                  </a:lnTo>
                  <a:lnTo>
                    <a:pt x="142" y="322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0" y="317"/>
                  </a:lnTo>
                  <a:lnTo>
                    <a:pt x="140" y="317"/>
                  </a:lnTo>
                  <a:lnTo>
                    <a:pt x="142" y="317"/>
                  </a:lnTo>
                  <a:lnTo>
                    <a:pt x="143" y="316"/>
                  </a:lnTo>
                  <a:lnTo>
                    <a:pt x="142" y="314"/>
                  </a:lnTo>
                  <a:lnTo>
                    <a:pt x="142" y="312"/>
                  </a:lnTo>
                  <a:lnTo>
                    <a:pt x="142" y="312"/>
                  </a:lnTo>
                  <a:lnTo>
                    <a:pt x="142" y="311"/>
                  </a:lnTo>
                  <a:lnTo>
                    <a:pt x="140" y="309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9" y="306"/>
                  </a:lnTo>
                  <a:lnTo>
                    <a:pt x="140" y="305"/>
                  </a:lnTo>
                  <a:lnTo>
                    <a:pt x="142" y="303"/>
                  </a:lnTo>
                  <a:lnTo>
                    <a:pt x="143" y="302"/>
                  </a:lnTo>
                  <a:lnTo>
                    <a:pt x="145" y="302"/>
                  </a:lnTo>
                  <a:lnTo>
                    <a:pt x="145" y="300"/>
                  </a:lnTo>
                  <a:lnTo>
                    <a:pt x="145" y="300"/>
                  </a:lnTo>
                  <a:lnTo>
                    <a:pt x="145" y="299"/>
                  </a:lnTo>
                  <a:lnTo>
                    <a:pt x="146" y="297"/>
                  </a:lnTo>
                  <a:lnTo>
                    <a:pt x="151" y="296"/>
                  </a:lnTo>
                  <a:lnTo>
                    <a:pt x="152" y="296"/>
                  </a:lnTo>
                  <a:lnTo>
                    <a:pt x="154" y="294"/>
                  </a:lnTo>
                  <a:lnTo>
                    <a:pt x="154" y="292"/>
                  </a:lnTo>
                  <a:lnTo>
                    <a:pt x="152" y="292"/>
                  </a:lnTo>
                  <a:lnTo>
                    <a:pt x="152" y="291"/>
                  </a:lnTo>
                  <a:lnTo>
                    <a:pt x="154" y="291"/>
                  </a:lnTo>
                  <a:lnTo>
                    <a:pt x="155" y="291"/>
                  </a:lnTo>
                  <a:lnTo>
                    <a:pt x="157" y="289"/>
                  </a:lnTo>
                  <a:lnTo>
                    <a:pt x="159" y="289"/>
                  </a:lnTo>
                  <a:lnTo>
                    <a:pt x="159" y="288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57" y="280"/>
                  </a:lnTo>
                  <a:lnTo>
                    <a:pt x="157" y="279"/>
                  </a:lnTo>
                  <a:lnTo>
                    <a:pt x="159" y="277"/>
                  </a:lnTo>
                  <a:lnTo>
                    <a:pt x="160" y="276"/>
                  </a:lnTo>
                  <a:lnTo>
                    <a:pt x="172" y="272"/>
                  </a:lnTo>
                  <a:lnTo>
                    <a:pt x="174" y="271"/>
                  </a:lnTo>
                  <a:lnTo>
                    <a:pt x="174" y="269"/>
                  </a:lnTo>
                  <a:lnTo>
                    <a:pt x="174" y="265"/>
                  </a:lnTo>
                  <a:lnTo>
                    <a:pt x="172" y="262"/>
                  </a:lnTo>
                  <a:lnTo>
                    <a:pt x="174" y="260"/>
                  </a:lnTo>
                  <a:lnTo>
                    <a:pt x="175" y="257"/>
                  </a:lnTo>
                  <a:lnTo>
                    <a:pt x="179" y="254"/>
                  </a:lnTo>
                  <a:lnTo>
                    <a:pt x="179" y="252"/>
                  </a:lnTo>
                  <a:lnTo>
                    <a:pt x="179" y="249"/>
                  </a:lnTo>
                  <a:lnTo>
                    <a:pt x="177" y="248"/>
                  </a:lnTo>
                  <a:lnTo>
                    <a:pt x="174" y="245"/>
                  </a:lnTo>
                  <a:lnTo>
                    <a:pt x="174" y="245"/>
                  </a:lnTo>
                  <a:lnTo>
                    <a:pt x="172" y="243"/>
                  </a:lnTo>
                  <a:lnTo>
                    <a:pt x="172" y="242"/>
                  </a:lnTo>
                  <a:lnTo>
                    <a:pt x="172" y="240"/>
                  </a:lnTo>
                  <a:lnTo>
                    <a:pt x="174" y="239"/>
                  </a:lnTo>
                  <a:lnTo>
                    <a:pt x="174" y="237"/>
                  </a:lnTo>
                  <a:lnTo>
                    <a:pt x="172" y="232"/>
                  </a:lnTo>
                  <a:lnTo>
                    <a:pt x="172" y="228"/>
                  </a:lnTo>
                  <a:lnTo>
                    <a:pt x="172" y="225"/>
                  </a:lnTo>
                  <a:lnTo>
                    <a:pt x="174" y="223"/>
                  </a:lnTo>
                  <a:lnTo>
                    <a:pt x="179" y="219"/>
                  </a:lnTo>
                  <a:lnTo>
                    <a:pt x="182" y="219"/>
                  </a:lnTo>
                  <a:lnTo>
                    <a:pt x="183" y="217"/>
                  </a:lnTo>
                  <a:lnTo>
                    <a:pt x="189" y="214"/>
                  </a:lnTo>
                  <a:lnTo>
                    <a:pt x="191" y="214"/>
                  </a:lnTo>
                  <a:lnTo>
                    <a:pt x="192" y="215"/>
                  </a:lnTo>
                  <a:lnTo>
                    <a:pt x="192" y="217"/>
                  </a:lnTo>
                  <a:lnTo>
                    <a:pt x="192" y="226"/>
                  </a:lnTo>
                  <a:lnTo>
                    <a:pt x="192" y="228"/>
                  </a:lnTo>
                  <a:lnTo>
                    <a:pt x="192" y="229"/>
                  </a:lnTo>
                  <a:lnTo>
                    <a:pt x="192" y="229"/>
                  </a:lnTo>
                  <a:lnTo>
                    <a:pt x="191" y="231"/>
                  </a:lnTo>
                  <a:lnTo>
                    <a:pt x="191" y="232"/>
                  </a:lnTo>
                  <a:lnTo>
                    <a:pt x="192" y="232"/>
                  </a:lnTo>
                  <a:lnTo>
                    <a:pt x="194" y="232"/>
                  </a:lnTo>
                  <a:lnTo>
                    <a:pt x="197" y="229"/>
                  </a:lnTo>
                  <a:lnTo>
                    <a:pt x="199" y="229"/>
                  </a:lnTo>
                  <a:lnTo>
                    <a:pt x="199" y="229"/>
                  </a:lnTo>
                  <a:lnTo>
                    <a:pt x="199" y="229"/>
                  </a:lnTo>
                  <a:lnTo>
                    <a:pt x="199" y="228"/>
                  </a:lnTo>
                  <a:lnTo>
                    <a:pt x="199" y="226"/>
                  </a:lnTo>
                  <a:lnTo>
                    <a:pt x="199" y="225"/>
                  </a:lnTo>
                  <a:lnTo>
                    <a:pt x="199" y="223"/>
                  </a:lnTo>
                  <a:lnTo>
                    <a:pt x="200" y="220"/>
                  </a:lnTo>
                  <a:lnTo>
                    <a:pt x="202" y="222"/>
                  </a:lnTo>
                  <a:lnTo>
                    <a:pt x="203" y="225"/>
                  </a:lnTo>
                  <a:lnTo>
                    <a:pt x="205" y="226"/>
                  </a:lnTo>
                  <a:lnTo>
                    <a:pt x="206" y="226"/>
                  </a:lnTo>
                  <a:lnTo>
                    <a:pt x="209" y="222"/>
                  </a:lnTo>
                  <a:lnTo>
                    <a:pt x="211" y="220"/>
                  </a:lnTo>
                  <a:lnTo>
                    <a:pt x="211" y="220"/>
                  </a:lnTo>
                  <a:lnTo>
                    <a:pt x="212" y="220"/>
                  </a:lnTo>
                  <a:lnTo>
                    <a:pt x="214" y="220"/>
                  </a:lnTo>
                  <a:lnTo>
                    <a:pt x="214" y="220"/>
                  </a:lnTo>
                  <a:lnTo>
                    <a:pt x="214" y="222"/>
                  </a:lnTo>
                  <a:lnTo>
                    <a:pt x="214" y="222"/>
                  </a:lnTo>
                  <a:lnTo>
                    <a:pt x="214" y="223"/>
                  </a:lnTo>
                  <a:lnTo>
                    <a:pt x="212" y="223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214" y="226"/>
                  </a:lnTo>
                  <a:lnTo>
                    <a:pt x="214" y="226"/>
                  </a:lnTo>
                  <a:lnTo>
                    <a:pt x="217" y="226"/>
                  </a:lnTo>
                  <a:lnTo>
                    <a:pt x="219" y="228"/>
                  </a:lnTo>
                  <a:lnTo>
                    <a:pt x="219" y="228"/>
                  </a:lnTo>
                  <a:lnTo>
                    <a:pt x="220" y="231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3" y="232"/>
                  </a:lnTo>
                  <a:lnTo>
                    <a:pt x="225" y="232"/>
                  </a:lnTo>
                  <a:lnTo>
                    <a:pt x="226" y="231"/>
                  </a:lnTo>
                  <a:lnTo>
                    <a:pt x="226" y="229"/>
                  </a:lnTo>
                  <a:lnTo>
                    <a:pt x="226" y="226"/>
                  </a:lnTo>
                  <a:lnTo>
                    <a:pt x="226" y="226"/>
                  </a:lnTo>
                  <a:lnTo>
                    <a:pt x="228" y="226"/>
                  </a:lnTo>
                  <a:lnTo>
                    <a:pt x="229" y="226"/>
                  </a:lnTo>
                  <a:lnTo>
                    <a:pt x="231" y="223"/>
                  </a:lnTo>
                  <a:lnTo>
                    <a:pt x="231" y="222"/>
                  </a:lnTo>
                  <a:lnTo>
                    <a:pt x="232" y="223"/>
                  </a:lnTo>
                  <a:lnTo>
                    <a:pt x="236" y="226"/>
                  </a:lnTo>
                  <a:lnTo>
                    <a:pt x="237" y="229"/>
                  </a:lnTo>
                  <a:lnTo>
                    <a:pt x="237" y="229"/>
                  </a:lnTo>
                  <a:lnTo>
                    <a:pt x="237" y="231"/>
                  </a:lnTo>
                  <a:lnTo>
                    <a:pt x="237" y="232"/>
                  </a:lnTo>
                  <a:lnTo>
                    <a:pt x="237" y="234"/>
                  </a:lnTo>
                  <a:lnTo>
                    <a:pt x="239" y="235"/>
                  </a:lnTo>
                  <a:lnTo>
                    <a:pt x="240" y="235"/>
                  </a:lnTo>
                  <a:lnTo>
                    <a:pt x="243" y="232"/>
                  </a:lnTo>
                  <a:lnTo>
                    <a:pt x="245" y="231"/>
                  </a:lnTo>
                  <a:lnTo>
                    <a:pt x="246" y="231"/>
                  </a:lnTo>
                  <a:lnTo>
                    <a:pt x="256" y="232"/>
                  </a:lnTo>
                  <a:lnTo>
                    <a:pt x="259" y="231"/>
                  </a:lnTo>
                  <a:lnTo>
                    <a:pt x="260" y="229"/>
                  </a:lnTo>
                  <a:lnTo>
                    <a:pt x="262" y="226"/>
                  </a:lnTo>
                  <a:lnTo>
                    <a:pt x="260" y="225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51"/>
            <p:cNvSpPr>
              <a:spLocks noEditPoints="1"/>
            </p:cNvSpPr>
            <p:nvPr/>
          </p:nvSpPr>
          <p:spPr bwMode="gray">
            <a:xfrm>
              <a:off x="7480300" y="8910638"/>
              <a:ext cx="46038" cy="39688"/>
            </a:xfrm>
            <a:custGeom>
              <a:avLst/>
              <a:gdLst>
                <a:gd name="T0" fmla="*/ 29 w 29"/>
                <a:gd name="T1" fmla="*/ 19 h 25"/>
                <a:gd name="T2" fmla="*/ 27 w 29"/>
                <a:gd name="T3" fmla="*/ 17 h 25"/>
                <a:gd name="T4" fmla="*/ 26 w 29"/>
                <a:gd name="T5" fmla="*/ 16 h 25"/>
                <a:gd name="T6" fmla="*/ 24 w 29"/>
                <a:gd name="T7" fmla="*/ 16 h 25"/>
                <a:gd name="T8" fmla="*/ 24 w 29"/>
                <a:gd name="T9" fmla="*/ 16 h 25"/>
                <a:gd name="T10" fmla="*/ 24 w 29"/>
                <a:gd name="T11" fmla="*/ 14 h 25"/>
                <a:gd name="T12" fmla="*/ 24 w 29"/>
                <a:gd name="T13" fmla="*/ 14 h 25"/>
                <a:gd name="T14" fmla="*/ 23 w 29"/>
                <a:gd name="T15" fmla="*/ 13 h 25"/>
                <a:gd name="T16" fmla="*/ 20 w 29"/>
                <a:gd name="T17" fmla="*/ 11 h 25"/>
                <a:gd name="T18" fmla="*/ 18 w 29"/>
                <a:gd name="T19" fmla="*/ 10 h 25"/>
                <a:gd name="T20" fmla="*/ 12 w 29"/>
                <a:gd name="T21" fmla="*/ 10 h 25"/>
                <a:gd name="T22" fmla="*/ 14 w 29"/>
                <a:gd name="T23" fmla="*/ 8 h 25"/>
                <a:gd name="T24" fmla="*/ 14 w 29"/>
                <a:gd name="T25" fmla="*/ 8 h 25"/>
                <a:gd name="T26" fmla="*/ 15 w 29"/>
                <a:gd name="T27" fmla="*/ 8 h 25"/>
                <a:gd name="T28" fmla="*/ 15 w 29"/>
                <a:gd name="T29" fmla="*/ 8 h 25"/>
                <a:gd name="T30" fmla="*/ 14 w 29"/>
                <a:gd name="T31" fmla="*/ 8 h 25"/>
                <a:gd name="T32" fmla="*/ 12 w 29"/>
                <a:gd name="T33" fmla="*/ 8 h 25"/>
                <a:gd name="T34" fmla="*/ 12 w 29"/>
                <a:gd name="T35" fmla="*/ 8 h 25"/>
                <a:gd name="T36" fmla="*/ 11 w 29"/>
                <a:gd name="T37" fmla="*/ 10 h 25"/>
                <a:gd name="T38" fmla="*/ 12 w 29"/>
                <a:gd name="T39" fmla="*/ 11 h 25"/>
                <a:gd name="T40" fmla="*/ 12 w 29"/>
                <a:gd name="T41" fmla="*/ 13 h 25"/>
                <a:gd name="T42" fmla="*/ 12 w 29"/>
                <a:gd name="T43" fmla="*/ 16 h 25"/>
                <a:gd name="T44" fmla="*/ 12 w 29"/>
                <a:gd name="T45" fmla="*/ 19 h 25"/>
                <a:gd name="T46" fmla="*/ 12 w 29"/>
                <a:gd name="T47" fmla="*/ 19 h 25"/>
                <a:gd name="T48" fmla="*/ 14 w 29"/>
                <a:gd name="T49" fmla="*/ 19 h 25"/>
                <a:gd name="T50" fmla="*/ 14 w 29"/>
                <a:gd name="T51" fmla="*/ 19 h 25"/>
                <a:gd name="T52" fmla="*/ 15 w 29"/>
                <a:gd name="T53" fmla="*/ 22 h 25"/>
                <a:gd name="T54" fmla="*/ 18 w 29"/>
                <a:gd name="T55" fmla="*/ 23 h 25"/>
                <a:gd name="T56" fmla="*/ 21 w 29"/>
                <a:gd name="T57" fmla="*/ 25 h 25"/>
                <a:gd name="T58" fmla="*/ 24 w 29"/>
                <a:gd name="T59" fmla="*/ 25 h 25"/>
                <a:gd name="T60" fmla="*/ 24 w 29"/>
                <a:gd name="T61" fmla="*/ 25 h 25"/>
                <a:gd name="T62" fmla="*/ 26 w 29"/>
                <a:gd name="T63" fmla="*/ 25 h 25"/>
                <a:gd name="T64" fmla="*/ 26 w 29"/>
                <a:gd name="T65" fmla="*/ 23 h 25"/>
                <a:gd name="T66" fmla="*/ 26 w 29"/>
                <a:gd name="T67" fmla="*/ 23 h 25"/>
                <a:gd name="T68" fmla="*/ 27 w 29"/>
                <a:gd name="T69" fmla="*/ 22 h 25"/>
                <a:gd name="T70" fmla="*/ 29 w 29"/>
                <a:gd name="T71" fmla="*/ 23 h 25"/>
                <a:gd name="T72" fmla="*/ 29 w 29"/>
                <a:gd name="T73" fmla="*/ 22 h 25"/>
                <a:gd name="T74" fmla="*/ 29 w 29"/>
                <a:gd name="T75" fmla="*/ 19 h 25"/>
                <a:gd name="T76" fmla="*/ 12 w 29"/>
                <a:gd name="T77" fmla="*/ 3 h 25"/>
                <a:gd name="T78" fmla="*/ 11 w 29"/>
                <a:gd name="T79" fmla="*/ 2 h 25"/>
                <a:gd name="T80" fmla="*/ 7 w 29"/>
                <a:gd name="T81" fmla="*/ 0 h 25"/>
                <a:gd name="T82" fmla="*/ 6 w 29"/>
                <a:gd name="T83" fmla="*/ 0 h 25"/>
                <a:gd name="T84" fmla="*/ 1 w 29"/>
                <a:gd name="T85" fmla="*/ 0 h 25"/>
                <a:gd name="T86" fmla="*/ 0 w 29"/>
                <a:gd name="T87" fmla="*/ 2 h 25"/>
                <a:gd name="T88" fmla="*/ 0 w 29"/>
                <a:gd name="T89" fmla="*/ 2 h 25"/>
                <a:gd name="T90" fmla="*/ 1 w 29"/>
                <a:gd name="T91" fmla="*/ 3 h 25"/>
                <a:gd name="T92" fmla="*/ 1 w 29"/>
                <a:gd name="T93" fmla="*/ 3 h 25"/>
                <a:gd name="T94" fmla="*/ 1 w 29"/>
                <a:gd name="T95" fmla="*/ 5 h 25"/>
                <a:gd name="T96" fmla="*/ 3 w 29"/>
                <a:gd name="T97" fmla="*/ 5 h 25"/>
                <a:gd name="T98" fmla="*/ 4 w 29"/>
                <a:gd name="T99" fmla="*/ 6 h 25"/>
                <a:gd name="T100" fmla="*/ 6 w 29"/>
                <a:gd name="T101" fmla="*/ 6 h 25"/>
                <a:gd name="T102" fmla="*/ 7 w 29"/>
                <a:gd name="T103" fmla="*/ 5 h 25"/>
                <a:gd name="T104" fmla="*/ 9 w 29"/>
                <a:gd name="T105" fmla="*/ 5 h 25"/>
                <a:gd name="T106" fmla="*/ 11 w 29"/>
                <a:gd name="T107" fmla="*/ 5 h 25"/>
                <a:gd name="T108" fmla="*/ 12 w 29"/>
                <a:gd name="T109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25">
                  <a:moveTo>
                    <a:pt x="29" y="19"/>
                  </a:moveTo>
                  <a:lnTo>
                    <a:pt x="27" y="17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3"/>
                  </a:lnTo>
                  <a:lnTo>
                    <a:pt x="20" y="11"/>
                  </a:lnTo>
                  <a:lnTo>
                    <a:pt x="18" y="10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10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22"/>
                  </a:lnTo>
                  <a:lnTo>
                    <a:pt x="18" y="23"/>
                  </a:lnTo>
                  <a:lnTo>
                    <a:pt x="21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19"/>
                  </a:lnTo>
                  <a:close/>
                  <a:moveTo>
                    <a:pt x="12" y="3"/>
                  </a:moveTo>
                  <a:lnTo>
                    <a:pt x="11" y="2"/>
                  </a:lnTo>
                  <a:lnTo>
                    <a:pt x="7" y="0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5"/>
                  </a:lnTo>
                  <a:lnTo>
                    <a:pt x="3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52"/>
            <p:cNvSpPr>
              <a:spLocks noEditPoints="1"/>
            </p:cNvSpPr>
            <p:nvPr/>
          </p:nvSpPr>
          <p:spPr bwMode="gray">
            <a:xfrm>
              <a:off x="7480300" y="8910638"/>
              <a:ext cx="46038" cy="39688"/>
            </a:xfrm>
            <a:custGeom>
              <a:avLst/>
              <a:gdLst>
                <a:gd name="T0" fmla="*/ 29 w 29"/>
                <a:gd name="T1" fmla="*/ 19 h 25"/>
                <a:gd name="T2" fmla="*/ 27 w 29"/>
                <a:gd name="T3" fmla="*/ 17 h 25"/>
                <a:gd name="T4" fmla="*/ 26 w 29"/>
                <a:gd name="T5" fmla="*/ 16 h 25"/>
                <a:gd name="T6" fmla="*/ 24 w 29"/>
                <a:gd name="T7" fmla="*/ 16 h 25"/>
                <a:gd name="T8" fmla="*/ 24 w 29"/>
                <a:gd name="T9" fmla="*/ 16 h 25"/>
                <a:gd name="T10" fmla="*/ 24 w 29"/>
                <a:gd name="T11" fmla="*/ 14 h 25"/>
                <a:gd name="T12" fmla="*/ 24 w 29"/>
                <a:gd name="T13" fmla="*/ 14 h 25"/>
                <a:gd name="T14" fmla="*/ 23 w 29"/>
                <a:gd name="T15" fmla="*/ 13 h 25"/>
                <a:gd name="T16" fmla="*/ 20 w 29"/>
                <a:gd name="T17" fmla="*/ 11 h 25"/>
                <a:gd name="T18" fmla="*/ 18 w 29"/>
                <a:gd name="T19" fmla="*/ 10 h 25"/>
                <a:gd name="T20" fmla="*/ 12 w 29"/>
                <a:gd name="T21" fmla="*/ 10 h 25"/>
                <a:gd name="T22" fmla="*/ 14 w 29"/>
                <a:gd name="T23" fmla="*/ 8 h 25"/>
                <a:gd name="T24" fmla="*/ 14 w 29"/>
                <a:gd name="T25" fmla="*/ 8 h 25"/>
                <a:gd name="T26" fmla="*/ 15 w 29"/>
                <a:gd name="T27" fmla="*/ 8 h 25"/>
                <a:gd name="T28" fmla="*/ 15 w 29"/>
                <a:gd name="T29" fmla="*/ 8 h 25"/>
                <a:gd name="T30" fmla="*/ 14 w 29"/>
                <a:gd name="T31" fmla="*/ 8 h 25"/>
                <a:gd name="T32" fmla="*/ 12 w 29"/>
                <a:gd name="T33" fmla="*/ 8 h 25"/>
                <a:gd name="T34" fmla="*/ 12 w 29"/>
                <a:gd name="T35" fmla="*/ 8 h 25"/>
                <a:gd name="T36" fmla="*/ 11 w 29"/>
                <a:gd name="T37" fmla="*/ 10 h 25"/>
                <a:gd name="T38" fmla="*/ 12 w 29"/>
                <a:gd name="T39" fmla="*/ 11 h 25"/>
                <a:gd name="T40" fmla="*/ 12 w 29"/>
                <a:gd name="T41" fmla="*/ 13 h 25"/>
                <a:gd name="T42" fmla="*/ 12 w 29"/>
                <a:gd name="T43" fmla="*/ 16 h 25"/>
                <a:gd name="T44" fmla="*/ 12 w 29"/>
                <a:gd name="T45" fmla="*/ 19 h 25"/>
                <a:gd name="T46" fmla="*/ 12 w 29"/>
                <a:gd name="T47" fmla="*/ 19 h 25"/>
                <a:gd name="T48" fmla="*/ 14 w 29"/>
                <a:gd name="T49" fmla="*/ 19 h 25"/>
                <a:gd name="T50" fmla="*/ 14 w 29"/>
                <a:gd name="T51" fmla="*/ 19 h 25"/>
                <a:gd name="T52" fmla="*/ 15 w 29"/>
                <a:gd name="T53" fmla="*/ 22 h 25"/>
                <a:gd name="T54" fmla="*/ 18 w 29"/>
                <a:gd name="T55" fmla="*/ 23 h 25"/>
                <a:gd name="T56" fmla="*/ 21 w 29"/>
                <a:gd name="T57" fmla="*/ 25 h 25"/>
                <a:gd name="T58" fmla="*/ 24 w 29"/>
                <a:gd name="T59" fmla="*/ 25 h 25"/>
                <a:gd name="T60" fmla="*/ 24 w 29"/>
                <a:gd name="T61" fmla="*/ 25 h 25"/>
                <a:gd name="T62" fmla="*/ 26 w 29"/>
                <a:gd name="T63" fmla="*/ 25 h 25"/>
                <a:gd name="T64" fmla="*/ 26 w 29"/>
                <a:gd name="T65" fmla="*/ 23 h 25"/>
                <a:gd name="T66" fmla="*/ 26 w 29"/>
                <a:gd name="T67" fmla="*/ 23 h 25"/>
                <a:gd name="T68" fmla="*/ 27 w 29"/>
                <a:gd name="T69" fmla="*/ 22 h 25"/>
                <a:gd name="T70" fmla="*/ 29 w 29"/>
                <a:gd name="T71" fmla="*/ 23 h 25"/>
                <a:gd name="T72" fmla="*/ 29 w 29"/>
                <a:gd name="T73" fmla="*/ 22 h 25"/>
                <a:gd name="T74" fmla="*/ 29 w 29"/>
                <a:gd name="T75" fmla="*/ 19 h 25"/>
                <a:gd name="T76" fmla="*/ 12 w 29"/>
                <a:gd name="T77" fmla="*/ 3 h 25"/>
                <a:gd name="T78" fmla="*/ 11 w 29"/>
                <a:gd name="T79" fmla="*/ 2 h 25"/>
                <a:gd name="T80" fmla="*/ 7 w 29"/>
                <a:gd name="T81" fmla="*/ 0 h 25"/>
                <a:gd name="T82" fmla="*/ 6 w 29"/>
                <a:gd name="T83" fmla="*/ 0 h 25"/>
                <a:gd name="T84" fmla="*/ 1 w 29"/>
                <a:gd name="T85" fmla="*/ 0 h 25"/>
                <a:gd name="T86" fmla="*/ 0 w 29"/>
                <a:gd name="T87" fmla="*/ 2 h 25"/>
                <a:gd name="T88" fmla="*/ 0 w 29"/>
                <a:gd name="T89" fmla="*/ 2 h 25"/>
                <a:gd name="T90" fmla="*/ 1 w 29"/>
                <a:gd name="T91" fmla="*/ 3 h 25"/>
                <a:gd name="T92" fmla="*/ 1 w 29"/>
                <a:gd name="T93" fmla="*/ 3 h 25"/>
                <a:gd name="T94" fmla="*/ 1 w 29"/>
                <a:gd name="T95" fmla="*/ 5 h 25"/>
                <a:gd name="T96" fmla="*/ 3 w 29"/>
                <a:gd name="T97" fmla="*/ 5 h 25"/>
                <a:gd name="T98" fmla="*/ 4 w 29"/>
                <a:gd name="T99" fmla="*/ 6 h 25"/>
                <a:gd name="T100" fmla="*/ 6 w 29"/>
                <a:gd name="T101" fmla="*/ 6 h 25"/>
                <a:gd name="T102" fmla="*/ 7 w 29"/>
                <a:gd name="T103" fmla="*/ 5 h 25"/>
                <a:gd name="T104" fmla="*/ 9 w 29"/>
                <a:gd name="T105" fmla="*/ 5 h 25"/>
                <a:gd name="T106" fmla="*/ 11 w 29"/>
                <a:gd name="T107" fmla="*/ 5 h 25"/>
                <a:gd name="T108" fmla="*/ 12 w 29"/>
                <a:gd name="T109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25">
                  <a:moveTo>
                    <a:pt x="29" y="19"/>
                  </a:moveTo>
                  <a:lnTo>
                    <a:pt x="27" y="17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3"/>
                  </a:lnTo>
                  <a:lnTo>
                    <a:pt x="20" y="11"/>
                  </a:lnTo>
                  <a:lnTo>
                    <a:pt x="18" y="10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10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22"/>
                  </a:lnTo>
                  <a:lnTo>
                    <a:pt x="18" y="23"/>
                  </a:lnTo>
                  <a:lnTo>
                    <a:pt x="21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19"/>
                  </a:lnTo>
                  <a:close/>
                  <a:moveTo>
                    <a:pt x="12" y="3"/>
                  </a:moveTo>
                  <a:lnTo>
                    <a:pt x="11" y="2"/>
                  </a:lnTo>
                  <a:lnTo>
                    <a:pt x="7" y="0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5"/>
                  </a:lnTo>
                  <a:lnTo>
                    <a:pt x="3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53"/>
            <p:cNvSpPr>
              <a:spLocks/>
            </p:cNvSpPr>
            <p:nvPr/>
          </p:nvSpPr>
          <p:spPr bwMode="gray">
            <a:xfrm>
              <a:off x="8101013" y="7953376"/>
              <a:ext cx="303213" cy="239713"/>
            </a:xfrm>
            <a:custGeom>
              <a:avLst/>
              <a:gdLst>
                <a:gd name="T0" fmla="*/ 185 w 191"/>
                <a:gd name="T1" fmla="*/ 60 h 151"/>
                <a:gd name="T2" fmla="*/ 182 w 191"/>
                <a:gd name="T3" fmla="*/ 50 h 151"/>
                <a:gd name="T4" fmla="*/ 180 w 191"/>
                <a:gd name="T5" fmla="*/ 43 h 151"/>
                <a:gd name="T6" fmla="*/ 179 w 191"/>
                <a:gd name="T7" fmla="*/ 37 h 151"/>
                <a:gd name="T8" fmla="*/ 176 w 191"/>
                <a:gd name="T9" fmla="*/ 35 h 151"/>
                <a:gd name="T10" fmla="*/ 169 w 191"/>
                <a:gd name="T11" fmla="*/ 34 h 151"/>
                <a:gd name="T12" fmla="*/ 162 w 191"/>
                <a:gd name="T13" fmla="*/ 29 h 151"/>
                <a:gd name="T14" fmla="*/ 151 w 191"/>
                <a:gd name="T15" fmla="*/ 18 h 151"/>
                <a:gd name="T16" fmla="*/ 135 w 191"/>
                <a:gd name="T17" fmla="*/ 3 h 151"/>
                <a:gd name="T18" fmla="*/ 123 w 191"/>
                <a:gd name="T19" fmla="*/ 6 h 151"/>
                <a:gd name="T20" fmla="*/ 111 w 191"/>
                <a:gd name="T21" fmla="*/ 4 h 151"/>
                <a:gd name="T22" fmla="*/ 94 w 191"/>
                <a:gd name="T23" fmla="*/ 10 h 151"/>
                <a:gd name="T24" fmla="*/ 88 w 191"/>
                <a:gd name="T25" fmla="*/ 13 h 151"/>
                <a:gd name="T26" fmla="*/ 77 w 191"/>
                <a:gd name="T27" fmla="*/ 12 h 151"/>
                <a:gd name="T28" fmla="*/ 72 w 191"/>
                <a:gd name="T29" fmla="*/ 13 h 151"/>
                <a:gd name="T30" fmla="*/ 68 w 191"/>
                <a:gd name="T31" fmla="*/ 15 h 151"/>
                <a:gd name="T32" fmla="*/ 63 w 191"/>
                <a:gd name="T33" fmla="*/ 24 h 151"/>
                <a:gd name="T34" fmla="*/ 60 w 191"/>
                <a:gd name="T35" fmla="*/ 27 h 151"/>
                <a:gd name="T36" fmla="*/ 54 w 191"/>
                <a:gd name="T37" fmla="*/ 21 h 151"/>
                <a:gd name="T38" fmla="*/ 45 w 191"/>
                <a:gd name="T39" fmla="*/ 21 h 151"/>
                <a:gd name="T40" fmla="*/ 25 w 191"/>
                <a:gd name="T41" fmla="*/ 29 h 151"/>
                <a:gd name="T42" fmla="*/ 23 w 191"/>
                <a:gd name="T43" fmla="*/ 44 h 151"/>
                <a:gd name="T44" fmla="*/ 18 w 191"/>
                <a:gd name="T45" fmla="*/ 52 h 151"/>
                <a:gd name="T46" fmla="*/ 14 w 191"/>
                <a:gd name="T47" fmla="*/ 52 h 151"/>
                <a:gd name="T48" fmla="*/ 6 w 191"/>
                <a:gd name="T49" fmla="*/ 52 h 151"/>
                <a:gd name="T50" fmla="*/ 6 w 191"/>
                <a:gd name="T51" fmla="*/ 60 h 151"/>
                <a:gd name="T52" fmla="*/ 6 w 191"/>
                <a:gd name="T53" fmla="*/ 78 h 151"/>
                <a:gd name="T54" fmla="*/ 3 w 191"/>
                <a:gd name="T55" fmla="*/ 81 h 151"/>
                <a:gd name="T56" fmla="*/ 1 w 191"/>
                <a:gd name="T57" fmla="*/ 89 h 151"/>
                <a:gd name="T58" fmla="*/ 3 w 191"/>
                <a:gd name="T59" fmla="*/ 94 h 151"/>
                <a:gd name="T60" fmla="*/ 6 w 191"/>
                <a:gd name="T61" fmla="*/ 98 h 151"/>
                <a:gd name="T62" fmla="*/ 1 w 191"/>
                <a:gd name="T63" fmla="*/ 104 h 151"/>
                <a:gd name="T64" fmla="*/ 9 w 191"/>
                <a:gd name="T65" fmla="*/ 121 h 151"/>
                <a:gd name="T66" fmla="*/ 12 w 191"/>
                <a:gd name="T67" fmla="*/ 127 h 151"/>
                <a:gd name="T68" fmla="*/ 17 w 191"/>
                <a:gd name="T69" fmla="*/ 137 h 151"/>
                <a:gd name="T70" fmla="*/ 25 w 191"/>
                <a:gd name="T71" fmla="*/ 146 h 151"/>
                <a:gd name="T72" fmla="*/ 38 w 191"/>
                <a:gd name="T73" fmla="*/ 146 h 151"/>
                <a:gd name="T74" fmla="*/ 60 w 191"/>
                <a:gd name="T75" fmla="*/ 149 h 151"/>
                <a:gd name="T76" fmla="*/ 71 w 191"/>
                <a:gd name="T77" fmla="*/ 144 h 151"/>
                <a:gd name="T78" fmla="*/ 85 w 191"/>
                <a:gd name="T79" fmla="*/ 149 h 151"/>
                <a:gd name="T80" fmla="*/ 89 w 191"/>
                <a:gd name="T81" fmla="*/ 146 h 151"/>
                <a:gd name="T82" fmla="*/ 99 w 191"/>
                <a:gd name="T83" fmla="*/ 143 h 151"/>
                <a:gd name="T84" fmla="*/ 103 w 191"/>
                <a:gd name="T85" fmla="*/ 137 h 151"/>
                <a:gd name="T86" fmla="*/ 108 w 191"/>
                <a:gd name="T87" fmla="*/ 131 h 151"/>
                <a:gd name="T88" fmla="*/ 109 w 191"/>
                <a:gd name="T89" fmla="*/ 126 h 151"/>
                <a:gd name="T90" fmla="*/ 119 w 191"/>
                <a:gd name="T91" fmla="*/ 121 h 151"/>
                <a:gd name="T92" fmla="*/ 123 w 191"/>
                <a:gd name="T93" fmla="*/ 124 h 151"/>
                <a:gd name="T94" fmla="*/ 132 w 191"/>
                <a:gd name="T95" fmla="*/ 120 h 151"/>
                <a:gd name="T96" fmla="*/ 139 w 191"/>
                <a:gd name="T97" fmla="*/ 124 h 151"/>
                <a:gd name="T98" fmla="*/ 145 w 191"/>
                <a:gd name="T99" fmla="*/ 123 h 151"/>
                <a:gd name="T100" fmla="*/ 152 w 191"/>
                <a:gd name="T101" fmla="*/ 124 h 151"/>
                <a:gd name="T102" fmla="*/ 160 w 191"/>
                <a:gd name="T103" fmla="*/ 123 h 151"/>
                <a:gd name="T104" fmla="*/ 165 w 191"/>
                <a:gd name="T105" fmla="*/ 118 h 151"/>
                <a:gd name="T106" fmla="*/ 168 w 191"/>
                <a:gd name="T107" fmla="*/ 123 h 151"/>
                <a:gd name="T108" fmla="*/ 171 w 191"/>
                <a:gd name="T109" fmla="*/ 104 h 151"/>
                <a:gd name="T110" fmla="*/ 186 w 191"/>
                <a:gd name="T111" fmla="*/ 101 h 151"/>
                <a:gd name="T112" fmla="*/ 186 w 191"/>
                <a:gd name="T113" fmla="*/ 94 h 151"/>
                <a:gd name="T114" fmla="*/ 186 w 191"/>
                <a:gd name="T115" fmla="*/ 81 h 151"/>
                <a:gd name="T116" fmla="*/ 185 w 191"/>
                <a:gd name="T117" fmla="*/ 75 h 151"/>
                <a:gd name="T118" fmla="*/ 188 w 191"/>
                <a:gd name="T119" fmla="*/ 7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151">
                  <a:moveTo>
                    <a:pt x="191" y="63"/>
                  </a:moveTo>
                  <a:lnTo>
                    <a:pt x="189" y="61"/>
                  </a:lnTo>
                  <a:lnTo>
                    <a:pt x="188" y="61"/>
                  </a:lnTo>
                  <a:lnTo>
                    <a:pt x="186" y="60"/>
                  </a:lnTo>
                  <a:lnTo>
                    <a:pt x="186" y="60"/>
                  </a:lnTo>
                  <a:lnTo>
                    <a:pt x="185" y="60"/>
                  </a:lnTo>
                  <a:lnTo>
                    <a:pt x="183" y="55"/>
                  </a:lnTo>
                  <a:lnTo>
                    <a:pt x="183" y="52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0" y="49"/>
                  </a:lnTo>
                  <a:lnTo>
                    <a:pt x="182" y="47"/>
                  </a:lnTo>
                  <a:lnTo>
                    <a:pt x="180" y="47"/>
                  </a:lnTo>
                  <a:lnTo>
                    <a:pt x="180" y="44"/>
                  </a:lnTo>
                  <a:lnTo>
                    <a:pt x="180" y="43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7"/>
                  </a:lnTo>
                  <a:lnTo>
                    <a:pt x="179" y="37"/>
                  </a:lnTo>
                  <a:lnTo>
                    <a:pt x="179" y="35"/>
                  </a:lnTo>
                  <a:lnTo>
                    <a:pt x="179" y="35"/>
                  </a:lnTo>
                  <a:lnTo>
                    <a:pt x="177" y="35"/>
                  </a:lnTo>
                  <a:lnTo>
                    <a:pt x="177" y="35"/>
                  </a:lnTo>
                  <a:lnTo>
                    <a:pt x="176" y="35"/>
                  </a:lnTo>
                  <a:lnTo>
                    <a:pt x="176" y="35"/>
                  </a:lnTo>
                  <a:lnTo>
                    <a:pt x="174" y="35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9" y="34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8" y="32"/>
                  </a:lnTo>
                  <a:lnTo>
                    <a:pt x="168" y="32"/>
                  </a:lnTo>
                  <a:lnTo>
                    <a:pt x="166" y="30"/>
                  </a:lnTo>
                  <a:lnTo>
                    <a:pt x="162" y="29"/>
                  </a:lnTo>
                  <a:lnTo>
                    <a:pt x="162" y="29"/>
                  </a:lnTo>
                  <a:lnTo>
                    <a:pt x="155" y="24"/>
                  </a:lnTo>
                  <a:lnTo>
                    <a:pt x="154" y="23"/>
                  </a:lnTo>
                  <a:lnTo>
                    <a:pt x="154" y="23"/>
                  </a:lnTo>
                  <a:lnTo>
                    <a:pt x="152" y="21"/>
                  </a:lnTo>
                  <a:lnTo>
                    <a:pt x="151" y="18"/>
                  </a:lnTo>
                  <a:lnTo>
                    <a:pt x="148" y="15"/>
                  </a:lnTo>
                  <a:lnTo>
                    <a:pt x="142" y="6"/>
                  </a:lnTo>
                  <a:lnTo>
                    <a:pt x="140" y="6"/>
                  </a:lnTo>
                  <a:lnTo>
                    <a:pt x="139" y="6"/>
                  </a:lnTo>
                  <a:lnTo>
                    <a:pt x="137" y="4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1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2" y="3"/>
                  </a:lnTo>
                  <a:lnTo>
                    <a:pt x="123" y="6"/>
                  </a:lnTo>
                  <a:lnTo>
                    <a:pt x="120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5" y="6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09" y="4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3" y="6"/>
                  </a:lnTo>
                  <a:lnTo>
                    <a:pt x="102" y="7"/>
                  </a:lnTo>
                  <a:lnTo>
                    <a:pt x="94" y="10"/>
                  </a:lnTo>
                  <a:lnTo>
                    <a:pt x="94" y="12"/>
                  </a:lnTo>
                  <a:lnTo>
                    <a:pt x="92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88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0" y="13"/>
                  </a:lnTo>
                  <a:lnTo>
                    <a:pt x="78" y="13"/>
                  </a:lnTo>
                  <a:lnTo>
                    <a:pt x="77" y="12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69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9"/>
                  </a:lnTo>
                  <a:lnTo>
                    <a:pt x="60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6"/>
                  </a:lnTo>
                  <a:lnTo>
                    <a:pt x="57" y="24"/>
                  </a:lnTo>
                  <a:lnTo>
                    <a:pt x="55" y="23"/>
                  </a:lnTo>
                  <a:lnTo>
                    <a:pt x="54" y="21"/>
                  </a:lnTo>
                  <a:lnTo>
                    <a:pt x="51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5" y="21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38" y="24"/>
                  </a:lnTo>
                  <a:lnTo>
                    <a:pt x="34" y="26"/>
                  </a:lnTo>
                  <a:lnTo>
                    <a:pt x="28" y="27"/>
                  </a:lnTo>
                  <a:lnTo>
                    <a:pt x="25" y="29"/>
                  </a:lnTo>
                  <a:lnTo>
                    <a:pt x="23" y="30"/>
                  </a:lnTo>
                  <a:lnTo>
                    <a:pt x="23" y="34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1" y="49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6" y="60"/>
                  </a:lnTo>
                  <a:lnTo>
                    <a:pt x="5" y="61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70"/>
                  </a:lnTo>
                  <a:lnTo>
                    <a:pt x="5" y="74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2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5" y="94"/>
                  </a:lnTo>
                  <a:lnTo>
                    <a:pt x="6" y="94"/>
                  </a:lnTo>
                  <a:lnTo>
                    <a:pt x="6" y="95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1"/>
                  </a:lnTo>
                  <a:lnTo>
                    <a:pt x="5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7"/>
                  </a:lnTo>
                  <a:lnTo>
                    <a:pt x="5" y="114"/>
                  </a:lnTo>
                  <a:lnTo>
                    <a:pt x="5" y="115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7" y="137"/>
                  </a:lnTo>
                  <a:lnTo>
                    <a:pt x="18" y="143"/>
                  </a:lnTo>
                  <a:lnTo>
                    <a:pt x="20" y="144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5" y="146"/>
                  </a:lnTo>
                  <a:lnTo>
                    <a:pt x="28" y="144"/>
                  </a:lnTo>
                  <a:lnTo>
                    <a:pt x="29" y="143"/>
                  </a:lnTo>
                  <a:lnTo>
                    <a:pt x="29" y="143"/>
                  </a:lnTo>
                  <a:lnTo>
                    <a:pt x="32" y="144"/>
                  </a:lnTo>
                  <a:lnTo>
                    <a:pt x="37" y="146"/>
                  </a:lnTo>
                  <a:lnTo>
                    <a:pt x="38" y="146"/>
                  </a:lnTo>
                  <a:lnTo>
                    <a:pt x="38" y="149"/>
                  </a:lnTo>
                  <a:lnTo>
                    <a:pt x="38" y="151"/>
                  </a:lnTo>
                  <a:lnTo>
                    <a:pt x="49" y="151"/>
                  </a:lnTo>
                  <a:lnTo>
                    <a:pt x="55" y="149"/>
                  </a:lnTo>
                  <a:lnTo>
                    <a:pt x="57" y="149"/>
                  </a:lnTo>
                  <a:lnTo>
                    <a:pt x="60" y="149"/>
                  </a:lnTo>
                  <a:lnTo>
                    <a:pt x="60" y="151"/>
                  </a:lnTo>
                  <a:lnTo>
                    <a:pt x="63" y="151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9" y="146"/>
                  </a:lnTo>
                  <a:lnTo>
                    <a:pt x="71" y="144"/>
                  </a:lnTo>
                  <a:lnTo>
                    <a:pt x="72" y="144"/>
                  </a:lnTo>
                  <a:lnTo>
                    <a:pt x="78" y="146"/>
                  </a:lnTo>
                  <a:lnTo>
                    <a:pt x="78" y="146"/>
                  </a:lnTo>
                  <a:lnTo>
                    <a:pt x="82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6" y="147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92" y="143"/>
                  </a:lnTo>
                  <a:lnTo>
                    <a:pt x="95" y="144"/>
                  </a:lnTo>
                  <a:lnTo>
                    <a:pt x="97" y="144"/>
                  </a:lnTo>
                  <a:lnTo>
                    <a:pt x="99" y="143"/>
                  </a:lnTo>
                  <a:lnTo>
                    <a:pt x="99" y="143"/>
                  </a:lnTo>
                  <a:lnTo>
                    <a:pt x="99" y="141"/>
                  </a:lnTo>
                  <a:lnTo>
                    <a:pt x="99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5"/>
                  </a:lnTo>
                  <a:lnTo>
                    <a:pt x="106" y="132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27"/>
                  </a:lnTo>
                  <a:lnTo>
                    <a:pt x="108" y="127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11" y="124"/>
                  </a:lnTo>
                  <a:lnTo>
                    <a:pt x="112" y="124"/>
                  </a:lnTo>
                  <a:lnTo>
                    <a:pt x="117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25" y="124"/>
                  </a:lnTo>
                  <a:lnTo>
                    <a:pt x="128" y="121"/>
                  </a:lnTo>
                  <a:lnTo>
                    <a:pt x="129" y="120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5" y="123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9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2" y="124"/>
                  </a:lnTo>
                  <a:lnTo>
                    <a:pt x="154" y="124"/>
                  </a:lnTo>
                  <a:lnTo>
                    <a:pt x="157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60" y="124"/>
                  </a:lnTo>
                  <a:lnTo>
                    <a:pt x="160" y="123"/>
                  </a:lnTo>
                  <a:lnTo>
                    <a:pt x="162" y="121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3" y="118"/>
                  </a:lnTo>
                  <a:lnTo>
                    <a:pt x="165" y="118"/>
                  </a:lnTo>
                  <a:lnTo>
                    <a:pt x="165" y="118"/>
                  </a:lnTo>
                  <a:lnTo>
                    <a:pt x="165" y="120"/>
                  </a:lnTo>
                  <a:lnTo>
                    <a:pt x="165" y="120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8" y="123"/>
                  </a:lnTo>
                  <a:lnTo>
                    <a:pt x="169" y="121"/>
                  </a:lnTo>
                  <a:lnTo>
                    <a:pt x="169" y="120"/>
                  </a:lnTo>
                  <a:lnTo>
                    <a:pt x="171" y="117"/>
                  </a:lnTo>
                  <a:lnTo>
                    <a:pt x="171" y="109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2" y="104"/>
                  </a:lnTo>
                  <a:lnTo>
                    <a:pt x="174" y="103"/>
                  </a:lnTo>
                  <a:lnTo>
                    <a:pt x="176" y="103"/>
                  </a:lnTo>
                  <a:lnTo>
                    <a:pt x="177" y="103"/>
                  </a:lnTo>
                  <a:lnTo>
                    <a:pt x="183" y="103"/>
                  </a:lnTo>
                  <a:lnTo>
                    <a:pt x="186" y="101"/>
                  </a:lnTo>
                  <a:lnTo>
                    <a:pt x="186" y="100"/>
                  </a:lnTo>
                  <a:lnTo>
                    <a:pt x="185" y="98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2"/>
                  </a:lnTo>
                  <a:lnTo>
                    <a:pt x="186" y="92"/>
                  </a:lnTo>
                  <a:lnTo>
                    <a:pt x="186" y="84"/>
                  </a:lnTo>
                  <a:lnTo>
                    <a:pt x="186" y="83"/>
                  </a:lnTo>
                  <a:lnTo>
                    <a:pt x="186" y="81"/>
                  </a:lnTo>
                  <a:lnTo>
                    <a:pt x="186" y="81"/>
                  </a:lnTo>
                  <a:lnTo>
                    <a:pt x="186" y="80"/>
                  </a:lnTo>
                  <a:lnTo>
                    <a:pt x="185" y="80"/>
                  </a:lnTo>
                  <a:lnTo>
                    <a:pt x="185" y="78"/>
                  </a:lnTo>
                  <a:lnTo>
                    <a:pt x="185" y="77"/>
                  </a:lnTo>
                  <a:lnTo>
                    <a:pt x="185" y="75"/>
                  </a:lnTo>
                  <a:lnTo>
                    <a:pt x="185" y="74"/>
                  </a:lnTo>
                  <a:lnTo>
                    <a:pt x="186" y="74"/>
                  </a:lnTo>
                  <a:lnTo>
                    <a:pt x="186" y="74"/>
                  </a:lnTo>
                  <a:lnTo>
                    <a:pt x="188" y="72"/>
                  </a:lnTo>
                  <a:lnTo>
                    <a:pt x="188" y="72"/>
                  </a:lnTo>
                  <a:lnTo>
                    <a:pt x="188" y="72"/>
                  </a:lnTo>
                  <a:lnTo>
                    <a:pt x="188" y="70"/>
                  </a:lnTo>
                  <a:lnTo>
                    <a:pt x="189" y="69"/>
                  </a:lnTo>
                  <a:lnTo>
                    <a:pt x="189" y="67"/>
                  </a:lnTo>
                  <a:lnTo>
                    <a:pt x="191" y="66"/>
                  </a:lnTo>
                  <a:lnTo>
                    <a:pt x="191" y="6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54"/>
            <p:cNvSpPr>
              <a:spLocks/>
            </p:cNvSpPr>
            <p:nvPr/>
          </p:nvSpPr>
          <p:spPr bwMode="gray">
            <a:xfrm>
              <a:off x="8101013" y="7953376"/>
              <a:ext cx="303213" cy="239713"/>
            </a:xfrm>
            <a:custGeom>
              <a:avLst/>
              <a:gdLst>
                <a:gd name="T0" fmla="*/ 185 w 191"/>
                <a:gd name="T1" fmla="*/ 60 h 151"/>
                <a:gd name="T2" fmla="*/ 182 w 191"/>
                <a:gd name="T3" fmla="*/ 50 h 151"/>
                <a:gd name="T4" fmla="*/ 180 w 191"/>
                <a:gd name="T5" fmla="*/ 43 h 151"/>
                <a:gd name="T6" fmla="*/ 179 w 191"/>
                <a:gd name="T7" fmla="*/ 37 h 151"/>
                <a:gd name="T8" fmla="*/ 176 w 191"/>
                <a:gd name="T9" fmla="*/ 35 h 151"/>
                <a:gd name="T10" fmla="*/ 169 w 191"/>
                <a:gd name="T11" fmla="*/ 34 h 151"/>
                <a:gd name="T12" fmla="*/ 162 w 191"/>
                <a:gd name="T13" fmla="*/ 29 h 151"/>
                <a:gd name="T14" fmla="*/ 151 w 191"/>
                <a:gd name="T15" fmla="*/ 18 h 151"/>
                <a:gd name="T16" fmla="*/ 135 w 191"/>
                <a:gd name="T17" fmla="*/ 3 h 151"/>
                <a:gd name="T18" fmla="*/ 123 w 191"/>
                <a:gd name="T19" fmla="*/ 6 h 151"/>
                <a:gd name="T20" fmla="*/ 111 w 191"/>
                <a:gd name="T21" fmla="*/ 4 h 151"/>
                <a:gd name="T22" fmla="*/ 94 w 191"/>
                <a:gd name="T23" fmla="*/ 10 h 151"/>
                <a:gd name="T24" fmla="*/ 88 w 191"/>
                <a:gd name="T25" fmla="*/ 13 h 151"/>
                <a:gd name="T26" fmla="*/ 77 w 191"/>
                <a:gd name="T27" fmla="*/ 12 h 151"/>
                <a:gd name="T28" fmla="*/ 72 w 191"/>
                <a:gd name="T29" fmla="*/ 13 h 151"/>
                <a:gd name="T30" fmla="*/ 68 w 191"/>
                <a:gd name="T31" fmla="*/ 15 h 151"/>
                <a:gd name="T32" fmla="*/ 63 w 191"/>
                <a:gd name="T33" fmla="*/ 24 h 151"/>
                <a:gd name="T34" fmla="*/ 60 w 191"/>
                <a:gd name="T35" fmla="*/ 27 h 151"/>
                <a:gd name="T36" fmla="*/ 54 w 191"/>
                <a:gd name="T37" fmla="*/ 21 h 151"/>
                <a:gd name="T38" fmla="*/ 45 w 191"/>
                <a:gd name="T39" fmla="*/ 21 h 151"/>
                <a:gd name="T40" fmla="*/ 25 w 191"/>
                <a:gd name="T41" fmla="*/ 29 h 151"/>
                <a:gd name="T42" fmla="*/ 23 w 191"/>
                <a:gd name="T43" fmla="*/ 44 h 151"/>
                <a:gd name="T44" fmla="*/ 18 w 191"/>
                <a:gd name="T45" fmla="*/ 52 h 151"/>
                <a:gd name="T46" fmla="*/ 14 w 191"/>
                <a:gd name="T47" fmla="*/ 52 h 151"/>
                <a:gd name="T48" fmla="*/ 6 w 191"/>
                <a:gd name="T49" fmla="*/ 52 h 151"/>
                <a:gd name="T50" fmla="*/ 6 w 191"/>
                <a:gd name="T51" fmla="*/ 60 h 151"/>
                <a:gd name="T52" fmla="*/ 6 w 191"/>
                <a:gd name="T53" fmla="*/ 78 h 151"/>
                <a:gd name="T54" fmla="*/ 3 w 191"/>
                <a:gd name="T55" fmla="*/ 81 h 151"/>
                <a:gd name="T56" fmla="*/ 1 w 191"/>
                <a:gd name="T57" fmla="*/ 89 h 151"/>
                <a:gd name="T58" fmla="*/ 3 w 191"/>
                <a:gd name="T59" fmla="*/ 94 h 151"/>
                <a:gd name="T60" fmla="*/ 6 w 191"/>
                <a:gd name="T61" fmla="*/ 98 h 151"/>
                <a:gd name="T62" fmla="*/ 1 w 191"/>
                <a:gd name="T63" fmla="*/ 104 h 151"/>
                <a:gd name="T64" fmla="*/ 9 w 191"/>
                <a:gd name="T65" fmla="*/ 121 h 151"/>
                <a:gd name="T66" fmla="*/ 12 w 191"/>
                <a:gd name="T67" fmla="*/ 127 h 151"/>
                <a:gd name="T68" fmla="*/ 17 w 191"/>
                <a:gd name="T69" fmla="*/ 137 h 151"/>
                <a:gd name="T70" fmla="*/ 25 w 191"/>
                <a:gd name="T71" fmla="*/ 146 h 151"/>
                <a:gd name="T72" fmla="*/ 38 w 191"/>
                <a:gd name="T73" fmla="*/ 146 h 151"/>
                <a:gd name="T74" fmla="*/ 60 w 191"/>
                <a:gd name="T75" fmla="*/ 149 h 151"/>
                <a:gd name="T76" fmla="*/ 71 w 191"/>
                <a:gd name="T77" fmla="*/ 144 h 151"/>
                <a:gd name="T78" fmla="*/ 85 w 191"/>
                <a:gd name="T79" fmla="*/ 149 h 151"/>
                <a:gd name="T80" fmla="*/ 89 w 191"/>
                <a:gd name="T81" fmla="*/ 146 h 151"/>
                <a:gd name="T82" fmla="*/ 99 w 191"/>
                <a:gd name="T83" fmla="*/ 143 h 151"/>
                <a:gd name="T84" fmla="*/ 103 w 191"/>
                <a:gd name="T85" fmla="*/ 137 h 151"/>
                <a:gd name="T86" fmla="*/ 108 w 191"/>
                <a:gd name="T87" fmla="*/ 131 h 151"/>
                <a:gd name="T88" fmla="*/ 109 w 191"/>
                <a:gd name="T89" fmla="*/ 126 h 151"/>
                <a:gd name="T90" fmla="*/ 119 w 191"/>
                <a:gd name="T91" fmla="*/ 121 h 151"/>
                <a:gd name="T92" fmla="*/ 123 w 191"/>
                <a:gd name="T93" fmla="*/ 124 h 151"/>
                <a:gd name="T94" fmla="*/ 132 w 191"/>
                <a:gd name="T95" fmla="*/ 120 h 151"/>
                <a:gd name="T96" fmla="*/ 139 w 191"/>
                <a:gd name="T97" fmla="*/ 124 h 151"/>
                <a:gd name="T98" fmla="*/ 145 w 191"/>
                <a:gd name="T99" fmla="*/ 123 h 151"/>
                <a:gd name="T100" fmla="*/ 152 w 191"/>
                <a:gd name="T101" fmla="*/ 124 h 151"/>
                <a:gd name="T102" fmla="*/ 160 w 191"/>
                <a:gd name="T103" fmla="*/ 123 h 151"/>
                <a:gd name="T104" fmla="*/ 165 w 191"/>
                <a:gd name="T105" fmla="*/ 118 h 151"/>
                <a:gd name="T106" fmla="*/ 168 w 191"/>
                <a:gd name="T107" fmla="*/ 123 h 151"/>
                <a:gd name="T108" fmla="*/ 171 w 191"/>
                <a:gd name="T109" fmla="*/ 104 h 151"/>
                <a:gd name="T110" fmla="*/ 186 w 191"/>
                <a:gd name="T111" fmla="*/ 101 h 151"/>
                <a:gd name="T112" fmla="*/ 186 w 191"/>
                <a:gd name="T113" fmla="*/ 94 h 151"/>
                <a:gd name="T114" fmla="*/ 186 w 191"/>
                <a:gd name="T115" fmla="*/ 81 h 151"/>
                <a:gd name="T116" fmla="*/ 185 w 191"/>
                <a:gd name="T117" fmla="*/ 75 h 151"/>
                <a:gd name="T118" fmla="*/ 188 w 191"/>
                <a:gd name="T119" fmla="*/ 7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151">
                  <a:moveTo>
                    <a:pt x="191" y="63"/>
                  </a:moveTo>
                  <a:lnTo>
                    <a:pt x="189" y="61"/>
                  </a:lnTo>
                  <a:lnTo>
                    <a:pt x="188" y="61"/>
                  </a:lnTo>
                  <a:lnTo>
                    <a:pt x="186" y="60"/>
                  </a:lnTo>
                  <a:lnTo>
                    <a:pt x="186" y="60"/>
                  </a:lnTo>
                  <a:lnTo>
                    <a:pt x="185" y="60"/>
                  </a:lnTo>
                  <a:lnTo>
                    <a:pt x="183" y="55"/>
                  </a:lnTo>
                  <a:lnTo>
                    <a:pt x="183" y="52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0" y="49"/>
                  </a:lnTo>
                  <a:lnTo>
                    <a:pt x="182" y="47"/>
                  </a:lnTo>
                  <a:lnTo>
                    <a:pt x="180" y="47"/>
                  </a:lnTo>
                  <a:lnTo>
                    <a:pt x="180" y="44"/>
                  </a:lnTo>
                  <a:lnTo>
                    <a:pt x="180" y="43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7"/>
                  </a:lnTo>
                  <a:lnTo>
                    <a:pt x="179" y="37"/>
                  </a:lnTo>
                  <a:lnTo>
                    <a:pt x="179" y="35"/>
                  </a:lnTo>
                  <a:lnTo>
                    <a:pt x="179" y="35"/>
                  </a:lnTo>
                  <a:lnTo>
                    <a:pt x="177" y="35"/>
                  </a:lnTo>
                  <a:lnTo>
                    <a:pt x="177" y="35"/>
                  </a:lnTo>
                  <a:lnTo>
                    <a:pt x="176" y="35"/>
                  </a:lnTo>
                  <a:lnTo>
                    <a:pt x="176" y="35"/>
                  </a:lnTo>
                  <a:lnTo>
                    <a:pt x="174" y="35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9" y="34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8" y="32"/>
                  </a:lnTo>
                  <a:lnTo>
                    <a:pt x="168" y="32"/>
                  </a:lnTo>
                  <a:lnTo>
                    <a:pt x="166" y="30"/>
                  </a:lnTo>
                  <a:lnTo>
                    <a:pt x="162" y="29"/>
                  </a:lnTo>
                  <a:lnTo>
                    <a:pt x="162" y="29"/>
                  </a:lnTo>
                  <a:lnTo>
                    <a:pt x="155" y="24"/>
                  </a:lnTo>
                  <a:lnTo>
                    <a:pt x="154" y="23"/>
                  </a:lnTo>
                  <a:lnTo>
                    <a:pt x="154" y="23"/>
                  </a:lnTo>
                  <a:lnTo>
                    <a:pt x="152" y="21"/>
                  </a:lnTo>
                  <a:lnTo>
                    <a:pt x="151" y="18"/>
                  </a:lnTo>
                  <a:lnTo>
                    <a:pt x="148" y="15"/>
                  </a:lnTo>
                  <a:lnTo>
                    <a:pt x="142" y="6"/>
                  </a:lnTo>
                  <a:lnTo>
                    <a:pt x="140" y="6"/>
                  </a:lnTo>
                  <a:lnTo>
                    <a:pt x="139" y="6"/>
                  </a:lnTo>
                  <a:lnTo>
                    <a:pt x="137" y="4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1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2" y="3"/>
                  </a:lnTo>
                  <a:lnTo>
                    <a:pt x="123" y="6"/>
                  </a:lnTo>
                  <a:lnTo>
                    <a:pt x="120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5" y="6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09" y="4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3" y="6"/>
                  </a:lnTo>
                  <a:lnTo>
                    <a:pt x="102" y="7"/>
                  </a:lnTo>
                  <a:lnTo>
                    <a:pt x="94" y="10"/>
                  </a:lnTo>
                  <a:lnTo>
                    <a:pt x="94" y="12"/>
                  </a:lnTo>
                  <a:lnTo>
                    <a:pt x="92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88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0" y="13"/>
                  </a:lnTo>
                  <a:lnTo>
                    <a:pt x="78" y="13"/>
                  </a:lnTo>
                  <a:lnTo>
                    <a:pt x="77" y="12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69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9"/>
                  </a:lnTo>
                  <a:lnTo>
                    <a:pt x="60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6"/>
                  </a:lnTo>
                  <a:lnTo>
                    <a:pt x="57" y="24"/>
                  </a:lnTo>
                  <a:lnTo>
                    <a:pt x="55" y="23"/>
                  </a:lnTo>
                  <a:lnTo>
                    <a:pt x="54" y="21"/>
                  </a:lnTo>
                  <a:lnTo>
                    <a:pt x="51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5" y="21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38" y="24"/>
                  </a:lnTo>
                  <a:lnTo>
                    <a:pt x="34" y="26"/>
                  </a:lnTo>
                  <a:lnTo>
                    <a:pt x="28" y="27"/>
                  </a:lnTo>
                  <a:lnTo>
                    <a:pt x="25" y="29"/>
                  </a:lnTo>
                  <a:lnTo>
                    <a:pt x="23" y="30"/>
                  </a:lnTo>
                  <a:lnTo>
                    <a:pt x="23" y="34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1" y="49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6" y="60"/>
                  </a:lnTo>
                  <a:lnTo>
                    <a:pt x="5" y="61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70"/>
                  </a:lnTo>
                  <a:lnTo>
                    <a:pt x="5" y="74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7"/>
                  </a:lnTo>
                  <a:lnTo>
                    <a:pt x="1" y="89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2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5" y="94"/>
                  </a:lnTo>
                  <a:lnTo>
                    <a:pt x="6" y="94"/>
                  </a:lnTo>
                  <a:lnTo>
                    <a:pt x="6" y="95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1"/>
                  </a:lnTo>
                  <a:lnTo>
                    <a:pt x="5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7"/>
                  </a:lnTo>
                  <a:lnTo>
                    <a:pt x="5" y="114"/>
                  </a:lnTo>
                  <a:lnTo>
                    <a:pt x="5" y="115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7" y="137"/>
                  </a:lnTo>
                  <a:lnTo>
                    <a:pt x="18" y="143"/>
                  </a:lnTo>
                  <a:lnTo>
                    <a:pt x="20" y="144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5" y="146"/>
                  </a:lnTo>
                  <a:lnTo>
                    <a:pt x="28" y="144"/>
                  </a:lnTo>
                  <a:lnTo>
                    <a:pt x="29" y="143"/>
                  </a:lnTo>
                  <a:lnTo>
                    <a:pt x="29" y="143"/>
                  </a:lnTo>
                  <a:lnTo>
                    <a:pt x="32" y="144"/>
                  </a:lnTo>
                  <a:lnTo>
                    <a:pt x="37" y="146"/>
                  </a:lnTo>
                  <a:lnTo>
                    <a:pt x="38" y="146"/>
                  </a:lnTo>
                  <a:lnTo>
                    <a:pt x="38" y="149"/>
                  </a:lnTo>
                  <a:lnTo>
                    <a:pt x="38" y="151"/>
                  </a:lnTo>
                  <a:lnTo>
                    <a:pt x="49" y="151"/>
                  </a:lnTo>
                  <a:lnTo>
                    <a:pt x="55" y="149"/>
                  </a:lnTo>
                  <a:lnTo>
                    <a:pt x="57" y="149"/>
                  </a:lnTo>
                  <a:lnTo>
                    <a:pt x="60" y="149"/>
                  </a:lnTo>
                  <a:lnTo>
                    <a:pt x="60" y="151"/>
                  </a:lnTo>
                  <a:lnTo>
                    <a:pt x="63" y="151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9" y="146"/>
                  </a:lnTo>
                  <a:lnTo>
                    <a:pt x="71" y="144"/>
                  </a:lnTo>
                  <a:lnTo>
                    <a:pt x="72" y="144"/>
                  </a:lnTo>
                  <a:lnTo>
                    <a:pt x="78" y="146"/>
                  </a:lnTo>
                  <a:lnTo>
                    <a:pt x="78" y="146"/>
                  </a:lnTo>
                  <a:lnTo>
                    <a:pt x="82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6" y="147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92" y="143"/>
                  </a:lnTo>
                  <a:lnTo>
                    <a:pt x="95" y="144"/>
                  </a:lnTo>
                  <a:lnTo>
                    <a:pt x="97" y="144"/>
                  </a:lnTo>
                  <a:lnTo>
                    <a:pt x="99" y="143"/>
                  </a:lnTo>
                  <a:lnTo>
                    <a:pt x="99" y="143"/>
                  </a:lnTo>
                  <a:lnTo>
                    <a:pt x="99" y="141"/>
                  </a:lnTo>
                  <a:lnTo>
                    <a:pt x="99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5"/>
                  </a:lnTo>
                  <a:lnTo>
                    <a:pt x="106" y="132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27"/>
                  </a:lnTo>
                  <a:lnTo>
                    <a:pt x="108" y="127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11" y="124"/>
                  </a:lnTo>
                  <a:lnTo>
                    <a:pt x="112" y="124"/>
                  </a:lnTo>
                  <a:lnTo>
                    <a:pt x="117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25" y="124"/>
                  </a:lnTo>
                  <a:lnTo>
                    <a:pt x="128" y="121"/>
                  </a:lnTo>
                  <a:lnTo>
                    <a:pt x="129" y="120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32" y="120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9" y="121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5" y="123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9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2" y="124"/>
                  </a:lnTo>
                  <a:lnTo>
                    <a:pt x="154" y="124"/>
                  </a:lnTo>
                  <a:lnTo>
                    <a:pt x="157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60" y="124"/>
                  </a:lnTo>
                  <a:lnTo>
                    <a:pt x="160" y="123"/>
                  </a:lnTo>
                  <a:lnTo>
                    <a:pt x="162" y="121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3" y="118"/>
                  </a:lnTo>
                  <a:lnTo>
                    <a:pt x="165" y="118"/>
                  </a:lnTo>
                  <a:lnTo>
                    <a:pt x="165" y="118"/>
                  </a:lnTo>
                  <a:lnTo>
                    <a:pt x="165" y="120"/>
                  </a:lnTo>
                  <a:lnTo>
                    <a:pt x="165" y="120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8" y="123"/>
                  </a:lnTo>
                  <a:lnTo>
                    <a:pt x="169" y="121"/>
                  </a:lnTo>
                  <a:lnTo>
                    <a:pt x="169" y="120"/>
                  </a:lnTo>
                  <a:lnTo>
                    <a:pt x="171" y="117"/>
                  </a:lnTo>
                  <a:lnTo>
                    <a:pt x="171" y="109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2" y="104"/>
                  </a:lnTo>
                  <a:lnTo>
                    <a:pt x="174" y="103"/>
                  </a:lnTo>
                  <a:lnTo>
                    <a:pt x="176" y="103"/>
                  </a:lnTo>
                  <a:lnTo>
                    <a:pt x="177" y="103"/>
                  </a:lnTo>
                  <a:lnTo>
                    <a:pt x="183" y="103"/>
                  </a:lnTo>
                  <a:lnTo>
                    <a:pt x="186" y="101"/>
                  </a:lnTo>
                  <a:lnTo>
                    <a:pt x="186" y="100"/>
                  </a:lnTo>
                  <a:lnTo>
                    <a:pt x="185" y="98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2"/>
                  </a:lnTo>
                  <a:lnTo>
                    <a:pt x="186" y="92"/>
                  </a:lnTo>
                  <a:lnTo>
                    <a:pt x="186" y="84"/>
                  </a:lnTo>
                  <a:lnTo>
                    <a:pt x="186" y="83"/>
                  </a:lnTo>
                  <a:lnTo>
                    <a:pt x="186" y="81"/>
                  </a:lnTo>
                  <a:lnTo>
                    <a:pt x="186" y="81"/>
                  </a:lnTo>
                  <a:lnTo>
                    <a:pt x="186" y="80"/>
                  </a:lnTo>
                  <a:lnTo>
                    <a:pt x="185" y="80"/>
                  </a:lnTo>
                  <a:lnTo>
                    <a:pt x="185" y="78"/>
                  </a:lnTo>
                  <a:lnTo>
                    <a:pt x="185" y="77"/>
                  </a:lnTo>
                  <a:lnTo>
                    <a:pt x="185" y="75"/>
                  </a:lnTo>
                  <a:lnTo>
                    <a:pt x="185" y="74"/>
                  </a:lnTo>
                  <a:lnTo>
                    <a:pt x="186" y="74"/>
                  </a:lnTo>
                  <a:lnTo>
                    <a:pt x="186" y="74"/>
                  </a:lnTo>
                  <a:lnTo>
                    <a:pt x="188" y="72"/>
                  </a:lnTo>
                  <a:lnTo>
                    <a:pt x="188" y="72"/>
                  </a:lnTo>
                  <a:lnTo>
                    <a:pt x="188" y="72"/>
                  </a:lnTo>
                  <a:lnTo>
                    <a:pt x="188" y="70"/>
                  </a:lnTo>
                  <a:lnTo>
                    <a:pt x="189" y="69"/>
                  </a:lnTo>
                  <a:lnTo>
                    <a:pt x="189" y="67"/>
                  </a:lnTo>
                  <a:lnTo>
                    <a:pt x="191" y="66"/>
                  </a:lnTo>
                  <a:lnTo>
                    <a:pt x="191" y="6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5"/>
            <p:cNvSpPr>
              <a:spLocks/>
            </p:cNvSpPr>
            <p:nvPr/>
          </p:nvSpPr>
          <p:spPr bwMode="gray">
            <a:xfrm>
              <a:off x="6359525" y="6619876"/>
              <a:ext cx="93663" cy="134938"/>
            </a:xfrm>
            <a:custGeom>
              <a:avLst/>
              <a:gdLst>
                <a:gd name="T0" fmla="*/ 53 w 59"/>
                <a:gd name="T1" fmla="*/ 44 h 85"/>
                <a:gd name="T2" fmla="*/ 47 w 59"/>
                <a:gd name="T3" fmla="*/ 39 h 85"/>
                <a:gd name="T4" fmla="*/ 43 w 59"/>
                <a:gd name="T5" fmla="*/ 39 h 85"/>
                <a:gd name="T6" fmla="*/ 42 w 59"/>
                <a:gd name="T7" fmla="*/ 36 h 85"/>
                <a:gd name="T8" fmla="*/ 34 w 59"/>
                <a:gd name="T9" fmla="*/ 25 h 85"/>
                <a:gd name="T10" fmla="*/ 31 w 59"/>
                <a:gd name="T11" fmla="*/ 20 h 85"/>
                <a:gd name="T12" fmla="*/ 30 w 59"/>
                <a:gd name="T13" fmla="*/ 16 h 85"/>
                <a:gd name="T14" fmla="*/ 30 w 59"/>
                <a:gd name="T15" fmla="*/ 13 h 85"/>
                <a:gd name="T16" fmla="*/ 30 w 59"/>
                <a:gd name="T17" fmla="*/ 8 h 85"/>
                <a:gd name="T18" fmla="*/ 30 w 59"/>
                <a:gd name="T19" fmla="*/ 3 h 85"/>
                <a:gd name="T20" fmla="*/ 26 w 59"/>
                <a:gd name="T21" fmla="*/ 2 h 85"/>
                <a:gd name="T22" fmla="*/ 23 w 59"/>
                <a:gd name="T23" fmla="*/ 3 h 85"/>
                <a:gd name="T24" fmla="*/ 22 w 59"/>
                <a:gd name="T25" fmla="*/ 0 h 85"/>
                <a:gd name="T26" fmla="*/ 17 w 59"/>
                <a:gd name="T27" fmla="*/ 3 h 85"/>
                <a:gd name="T28" fmla="*/ 11 w 59"/>
                <a:gd name="T29" fmla="*/ 10 h 85"/>
                <a:gd name="T30" fmla="*/ 11 w 59"/>
                <a:gd name="T31" fmla="*/ 13 h 85"/>
                <a:gd name="T32" fmla="*/ 10 w 59"/>
                <a:gd name="T33" fmla="*/ 17 h 85"/>
                <a:gd name="T34" fmla="*/ 6 w 59"/>
                <a:gd name="T35" fmla="*/ 20 h 85"/>
                <a:gd name="T36" fmla="*/ 6 w 59"/>
                <a:gd name="T37" fmla="*/ 25 h 85"/>
                <a:gd name="T38" fmla="*/ 3 w 59"/>
                <a:gd name="T39" fmla="*/ 27 h 85"/>
                <a:gd name="T40" fmla="*/ 0 w 59"/>
                <a:gd name="T41" fmla="*/ 33 h 85"/>
                <a:gd name="T42" fmla="*/ 3 w 59"/>
                <a:gd name="T43" fmla="*/ 37 h 85"/>
                <a:gd name="T44" fmla="*/ 2 w 59"/>
                <a:gd name="T45" fmla="*/ 37 h 85"/>
                <a:gd name="T46" fmla="*/ 0 w 59"/>
                <a:gd name="T47" fmla="*/ 40 h 85"/>
                <a:gd name="T48" fmla="*/ 2 w 59"/>
                <a:gd name="T49" fmla="*/ 45 h 85"/>
                <a:gd name="T50" fmla="*/ 6 w 59"/>
                <a:gd name="T51" fmla="*/ 50 h 85"/>
                <a:gd name="T52" fmla="*/ 8 w 59"/>
                <a:gd name="T53" fmla="*/ 53 h 85"/>
                <a:gd name="T54" fmla="*/ 10 w 59"/>
                <a:gd name="T55" fmla="*/ 53 h 85"/>
                <a:gd name="T56" fmla="*/ 11 w 59"/>
                <a:gd name="T57" fmla="*/ 54 h 85"/>
                <a:gd name="T58" fmla="*/ 10 w 59"/>
                <a:gd name="T59" fmla="*/ 57 h 85"/>
                <a:gd name="T60" fmla="*/ 11 w 59"/>
                <a:gd name="T61" fmla="*/ 59 h 85"/>
                <a:gd name="T62" fmla="*/ 13 w 59"/>
                <a:gd name="T63" fmla="*/ 62 h 85"/>
                <a:gd name="T64" fmla="*/ 10 w 59"/>
                <a:gd name="T65" fmla="*/ 68 h 85"/>
                <a:gd name="T66" fmla="*/ 8 w 59"/>
                <a:gd name="T67" fmla="*/ 73 h 85"/>
                <a:gd name="T68" fmla="*/ 11 w 59"/>
                <a:gd name="T69" fmla="*/ 79 h 85"/>
                <a:gd name="T70" fmla="*/ 20 w 59"/>
                <a:gd name="T71" fmla="*/ 84 h 85"/>
                <a:gd name="T72" fmla="*/ 28 w 59"/>
                <a:gd name="T73" fmla="*/ 82 h 85"/>
                <a:gd name="T74" fmla="*/ 30 w 59"/>
                <a:gd name="T75" fmla="*/ 79 h 85"/>
                <a:gd name="T76" fmla="*/ 37 w 59"/>
                <a:gd name="T77" fmla="*/ 79 h 85"/>
                <a:gd name="T78" fmla="*/ 45 w 59"/>
                <a:gd name="T79" fmla="*/ 84 h 85"/>
                <a:gd name="T80" fmla="*/ 47 w 59"/>
                <a:gd name="T81" fmla="*/ 74 h 85"/>
                <a:gd name="T82" fmla="*/ 50 w 59"/>
                <a:gd name="T83" fmla="*/ 67 h 85"/>
                <a:gd name="T84" fmla="*/ 53 w 59"/>
                <a:gd name="T85" fmla="*/ 62 h 85"/>
                <a:gd name="T86" fmla="*/ 51 w 59"/>
                <a:gd name="T87" fmla="*/ 60 h 85"/>
                <a:gd name="T88" fmla="*/ 57 w 59"/>
                <a:gd name="T89" fmla="*/ 54 h 85"/>
                <a:gd name="T90" fmla="*/ 57 w 59"/>
                <a:gd name="T91" fmla="*/ 53 h 85"/>
                <a:gd name="T92" fmla="*/ 59 w 59"/>
                <a:gd name="T93" fmla="*/ 50 h 85"/>
                <a:gd name="T94" fmla="*/ 59 w 59"/>
                <a:gd name="T95" fmla="*/ 45 h 85"/>
                <a:gd name="T96" fmla="*/ 59 w 59"/>
                <a:gd name="T97" fmla="*/ 4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" h="85">
                  <a:moveTo>
                    <a:pt x="59" y="44"/>
                  </a:moveTo>
                  <a:lnTo>
                    <a:pt x="57" y="44"/>
                  </a:lnTo>
                  <a:lnTo>
                    <a:pt x="56" y="44"/>
                  </a:lnTo>
                  <a:lnTo>
                    <a:pt x="53" y="44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47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9" y="34"/>
                  </a:lnTo>
                  <a:lnTo>
                    <a:pt x="37" y="33"/>
                  </a:lnTo>
                  <a:lnTo>
                    <a:pt x="36" y="28"/>
                  </a:lnTo>
                  <a:lnTo>
                    <a:pt x="34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1" y="23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28" y="13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8" y="5"/>
                  </a:lnTo>
                  <a:lnTo>
                    <a:pt x="30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5"/>
                  </a:lnTo>
                  <a:lnTo>
                    <a:pt x="16" y="7"/>
                  </a:lnTo>
                  <a:lnTo>
                    <a:pt x="13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3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3" y="60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0" y="71"/>
                  </a:lnTo>
                  <a:lnTo>
                    <a:pt x="8" y="73"/>
                  </a:lnTo>
                  <a:lnTo>
                    <a:pt x="6" y="74"/>
                  </a:lnTo>
                  <a:lnTo>
                    <a:pt x="8" y="77"/>
                  </a:lnTo>
                  <a:lnTo>
                    <a:pt x="10" y="77"/>
                  </a:lnTo>
                  <a:lnTo>
                    <a:pt x="11" y="79"/>
                  </a:lnTo>
                  <a:lnTo>
                    <a:pt x="16" y="80"/>
                  </a:lnTo>
                  <a:lnTo>
                    <a:pt x="17" y="82"/>
                  </a:lnTo>
                  <a:lnTo>
                    <a:pt x="19" y="85"/>
                  </a:lnTo>
                  <a:lnTo>
                    <a:pt x="20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0" y="82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79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36" y="77"/>
                  </a:lnTo>
                  <a:lnTo>
                    <a:pt x="37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3" y="82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47" y="82"/>
                  </a:lnTo>
                  <a:lnTo>
                    <a:pt x="47" y="79"/>
                  </a:lnTo>
                  <a:lnTo>
                    <a:pt x="47" y="74"/>
                  </a:lnTo>
                  <a:lnTo>
                    <a:pt x="48" y="74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50" y="67"/>
                  </a:lnTo>
                  <a:lnTo>
                    <a:pt x="51" y="65"/>
                  </a:lnTo>
                  <a:lnTo>
                    <a:pt x="51" y="64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3" y="59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9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1"/>
                  </a:lnTo>
                  <a:lnTo>
                    <a:pt x="57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56"/>
            <p:cNvSpPr>
              <a:spLocks/>
            </p:cNvSpPr>
            <p:nvPr/>
          </p:nvSpPr>
          <p:spPr bwMode="gray">
            <a:xfrm>
              <a:off x="6359525" y="6619876"/>
              <a:ext cx="93663" cy="134938"/>
            </a:xfrm>
            <a:custGeom>
              <a:avLst/>
              <a:gdLst>
                <a:gd name="T0" fmla="*/ 53 w 59"/>
                <a:gd name="T1" fmla="*/ 44 h 85"/>
                <a:gd name="T2" fmla="*/ 47 w 59"/>
                <a:gd name="T3" fmla="*/ 39 h 85"/>
                <a:gd name="T4" fmla="*/ 43 w 59"/>
                <a:gd name="T5" fmla="*/ 39 h 85"/>
                <a:gd name="T6" fmla="*/ 42 w 59"/>
                <a:gd name="T7" fmla="*/ 36 h 85"/>
                <a:gd name="T8" fmla="*/ 34 w 59"/>
                <a:gd name="T9" fmla="*/ 25 h 85"/>
                <a:gd name="T10" fmla="*/ 31 w 59"/>
                <a:gd name="T11" fmla="*/ 20 h 85"/>
                <a:gd name="T12" fmla="*/ 30 w 59"/>
                <a:gd name="T13" fmla="*/ 16 h 85"/>
                <a:gd name="T14" fmla="*/ 30 w 59"/>
                <a:gd name="T15" fmla="*/ 13 h 85"/>
                <a:gd name="T16" fmla="*/ 30 w 59"/>
                <a:gd name="T17" fmla="*/ 8 h 85"/>
                <a:gd name="T18" fmla="*/ 30 w 59"/>
                <a:gd name="T19" fmla="*/ 3 h 85"/>
                <a:gd name="T20" fmla="*/ 26 w 59"/>
                <a:gd name="T21" fmla="*/ 2 h 85"/>
                <a:gd name="T22" fmla="*/ 23 w 59"/>
                <a:gd name="T23" fmla="*/ 3 h 85"/>
                <a:gd name="T24" fmla="*/ 22 w 59"/>
                <a:gd name="T25" fmla="*/ 0 h 85"/>
                <a:gd name="T26" fmla="*/ 17 w 59"/>
                <a:gd name="T27" fmla="*/ 3 h 85"/>
                <a:gd name="T28" fmla="*/ 11 w 59"/>
                <a:gd name="T29" fmla="*/ 10 h 85"/>
                <a:gd name="T30" fmla="*/ 11 w 59"/>
                <a:gd name="T31" fmla="*/ 13 h 85"/>
                <a:gd name="T32" fmla="*/ 10 w 59"/>
                <a:gd name="T33" fmla="*/ 17 h 85"/>
                <a:gd name="T34" fmla="*/ 6 w 59"/>
                <a:gd name="T35" fmla="*/ 20 h 85"/>
                <a:gd name="T36" fmla="*/ 6 w 59"/>
                <a:gd name="T37" fmla="*/ 25 h 85"/>
                <a:gd name="T38" fmla="*/ 3 w 59"/>
                <a:gd name="T39" fmla="*/ 27 h 85"/>
                <a:gd name="T40" fmla="*/ 0 w 59"/>
                <a:gd name="T41" fmla="*/ 33 h 85"/>
                <a:gd name="T42" fmla="*/ 3 w 59"/>
                <a:gd name="T43" fmla="*/ 37 h 85"/>
                <a:gd name="T44" fmla="*/ 2 w 59"/>
                <a:gd name="T45" fmla="*/ 37 h 85"/>
                <a:gd name="T46" fmla="*/ 0 w 59"/>
                <a:gd name="T47" fmla="*/ 40 h 85"/>
                <a:gd name="T48" fmla="*/ 2 w 59"/>
                <a:gd name="T49" fmla="*/ 45 h 85"/>
                <a:gd name="T50" fmla="*/ 6 w 59"/>
                <a:gd name="T51" fmla="*/ 50 h 85"/>
                <a:gd name="T52" fmla="*/ 8 w 59"/>
                <a:gd name="T53" fmla="*/ 53 h 85"/>
                <a:gd name="T54" fmla="*/ 10 w 59"/>
                <a:gd name="T55" fmla="*/ 53 h 85"/>
                <a:gd name="T56" fmla="*/ 11 w 59"/>
                <a:gd name="T57" fmla="*/ 54 h 85"/>
                <a:gd name="T58" fmla="*/ 10 w 59"/>
                <a:gd name="T59" fmla="*/ 57 h 85"/>
                <a:gd name="T60" fmla="*/ 11 w 59"/>
                <a:gd name="T61" fmla="*/ 59 h 85"/>
                <a:gd name="T62" fmla="*/ 13 w 59"/>
                <a:gd name="T63" fmla="*/ 62 h 85"/>
                <a:gd name="T64" fmla="*/ 10 w 59"/>
                <a:gd name="T65" fmla="*/ 68 h 85"/>
                <a:gd name="T66" fmla="*/ 8 w 59"/>
                <a:gd name="T67" fmla="*/ 73 h 85"/>
                <a:gd name="T68" fmla="*/ 11 w 59"/>
                <a:gd name="T69" fmla="*/ 79 h 85"/>
                <a:gd name="T70" fmla="*/ 20 w 59"/>
                <a:gd name="T71" fmla="*/ 84 h 85"/>
                <a:gd name="T72" fmla="*/ 28 w 59"/>
                <a:gd name="T73" fmla="*/ 82 h 85"/>
                <a:gd name="T74" fmla="*/ 30 w 59"/>
                <a:gd name="T75" fmla="*/ 79 h 85"/>
                <a:gd name="T76" fmla="*/ 37 w 59"/>
                <a:gd name="T77" fmla="*/ 79 h 85"/>
                <a:gd name="T78" fmla="*/ 45 w 59"/>
                <a:gd name="T79" fmla="*/ 84 h 85"/>
                <a:gd name="T80" fmla="*/ 47 w 59"/>
                <a:gd name="T81" fmla="*/ 74 h 85"/>
                <a:gd name="T82" fmla="*/ 50 w 59"/>
                <a:gd name="T83" fmla="*/ 67 h 85"/>
                <a:gd name="T84" fmla="*/ 53 w 59"/>
                <a:gd name="T85" fmla="*/ 62 h 85"/>
                <a:gd name="T86" fmla="*/ 51 w 59"/>
                <a:gd name="T87" fmla="*/ 60 h 85"/>
                <a:gd name="T88" fmla="*/ 57 w 59"/>
                <a:gd name="T89" fmla="*/ 54 h 85"/>
                <a:gd name="T90" fmla="*/ 57 w 59"/>
                <a:gd name="T91" fmla="*/ 53 h 85"/>
                <a:gd name="T92" fmla="*/ 59 w 59"/>
                <a:gd name="T93" fmla="*/ 50 h 85"/>
                <a:gd name="T94" fmla="*/ 59 w 59"/>
                <a:gd name="T95" fmla="*/ 45 h 85"/>
                <a:gd name="T96" fmla="*/ 59 w 59"/>
                <a:gd name="T97" fmla="*/ 4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" h="85">
                  <a:moveTo>
                    <a:pt x="59" y="44"/>
                  </a:moveTo>
                  <a:lnTo>
                    <a:pt x="57" y="44"/>
                  </a:lnTo>
                  <a:lnTo>
                    <a:pt x="56" y="44"/>
                  </a:lnTo>
                  <a:lnTo>
                    <a:pt x="53" y="44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47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9" y="34"/>
                  </a:lnTo>
                  <a:lnTo>
                    <a:pt x="37" y="33"/>
                  </a:lnTo>
                  <a:lnTo>
                    <a:pt x="36" y="28"/>
                  </a:lnTo>
                  <a:lnTo>
                    <a:pt x="34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1" y="23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28" y="13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8" y="5"/>
                  </a:lnTo>
                  <a:lnTo>
                    <a:pt x="30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5"/>
                  </a:lnTo>
                  <a:lnTo>
                    <a:pt x="16" y="7"/>
                  </a:lnTo>
                  <a:lnTo>
                    <a:pt x="13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3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3" y="60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0" y="71"/>
                  </a:lnTo>
                  <a:lnTo>
                    <a:pt x="8" y="73"/>
                  </a:lnTo>
                  <a:lnTo>
                    <a:pt x="6" y="74"/>
                  </a:lnTo>
                  <a:lnTo>
                    <a:pt x="8" y="77"/>
                  </a:lnTo>
                  <a:lnTo>
                    <a:pt x="10" y="77"/>
                  </a:lnTo>
                  <a:lnTo>
                    <a:pt x="11" y="79"/>
                  </a:lnTo>
                  <a:lnTo>
                    <a:pt x="16" y="80"/>
                  </a:lnTo>
                  <a:lnTo>
                    <a:pt x="17" y="82"/>
                  </a:lnTo>
                  <a:lnTo>
                    <a:pt x="19" y="85"/>
                  </a:lnTo>
                  <a:lnTo>
                    <a:pt x="20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0" y="82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79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36" y="77"/>
                  </a:lnTo>
                  <a:lnTo>
                    <a:pt x="37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3" y="82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47" y="82"/>
                  </a:lnTo>
                  <a:lnTo>
                    <a:pt x="47" y="79"/>
                  </a:lnTo>
                  <a:lnTo>
                    <a:pt x="47" y="74"/>
                  </a:lnTo>
                  <a:lnTo>
                    <a:pt x="48" y="74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50" y="67"/>
                  </a:lnTo>
                  <a:lnTo>
                    <a:pt x="51" y="65"/>
                  </a:lnTo>
                  <a:lnTo>
                    <a:pt x="51" y="64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3" y="59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9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1"/>
                  </a:lnTo>
                  <a:lnTo>
                    <a:pt x="57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7"/>
            <p:cNvSpPr>
              <a:spLocks noEditPoints="1"/>
            </p:cNvSpPr>
            <p:nvPr/>
          </p:nvSpPr>
          <p:spPr bwMode="gray">
            <a:xfrm>
              <a:off x="8156575" y="5381626"/>
              <a:ext cx="695325" cy="527050"/>
            </a:xfrm>
            <a:custGeom>
              <a:avLst/>
              <a:gdLst>
                <a:gd name="T0" fmla="*/ 13 w 438"/>
                <a:gd name="T1" fmla="*/ 124 h 332"/>
                <a:gd name="T2" fmla="*/ 10 w 438"/>
                <a:gd name="T3" fmla="*/ 141 h 332"/>
                <a:gd name="T4" fmla="*/ 14 w 438"/>
                <a:gd name="T5" fmla="*/ 121 h 332"/>
                <a:gd name="T6" fmla="*/ 419 w 438"/>
                <a:gd name="T7" fmla="*/ 149 h 332"/>
                <a:gd name="T8" fmla="*/ 416 w 438"/>
                <a:gd name="T9" fmla="*/ 132 h 332"/>
                <a:gd name="T10" fmla="*/ 424 w 438"/>
                <a:gd name="T11" fmla="*/ 109 h 332"/>
                <a:gd name="T12" fmla="*/ 392 w 438"/>
                <a:gd name="T13" fmla="*/ 78 h 332"/>
                <a:gd name="T14" fmla="*/ 355 w 438"/>
                <a:gd name="T15" fmla="*/ 46 h 332"/>
                <a:gd name="T16" fmla="*/ 311 w 438"/>
                <a:gd name="T17" fmla="*/ 34 h 332"/>
                <a:gd name="T18" fmla="*/ 298 w 438"/>
                <a:gd name="T19" fmla="*/ 3 h 332"/>
                <a:gd name="T20" fmla="*/ 290 w 438"/>
                <a:gd name="T21" fmla="*/ 4 h 332"/>
                <a:gd name="T22" fmla="*/ 256 w 438"/>
                <a:gd name="T23" fmla="*/ 20 h 332"/>
                <a:gd name="T24" fmla="*/ 219 w 438"/>
                <a:gd name="T25" fmla="*/ 15 h 332"/>
                <a:gd name="T26" fmla="*/ 208 w 438"/>
                <a:gd name="T27" fmla="*/ 12 h 332"/>
                <a:gd name="T28" fmla="*/ 168 w 438"/>
                <a:gd name="T29" fmla="*/ 10 h 332"/>
                <a:gd name="T30" fmla="*/ 147 w 438"/>
                <a:gd name="T31" fmla="*/ 4 h 332"/>
                <a:gd name="T32" fmla="*/ 119 w 438"/>
                <a:gd name="T33" fmla="*/ 6 h 332"/>
                <a:gd name="T34" fmla="*/ 51 w 438"/>
                <a:gd name="T35" fmla="*/ 18 h 332"/>
                <a:gd name="T36" fmla="*/ 22 w 438"/>
                <a:gd name="T37" fmla="*/ 41 h 332"/>
                <a:gd name="T38" fmla="*/ 10 w 438"/>
                <a:gd name="T39" fmla="*/ 67 h 332"/>
                <a:gd name="T40" fmla="*/ 17 w 438"/>
                <a:gd name="T41" fmla="*/ 100 h 332"/>
                <a:gd name="T42" fmla="*/ 20 w 438"/>
                <a:gd name="T43" fmla="*/ 120 h 332"/>
                <a:gd name="T44" fmla="*/ 23 w 438"/>
                <a:gd name="T45" fmla="*/ 138 h 332"/>
                <a:gd name="T46" fmla="*/ 27 w 438"/>
                <a:gd name="T47" fmla="*/ 146 h 332"/>
                <a:gd name="T48" fmla="*/ 25 w 438"/>
                <a:gd name="T49" fmla="*/ 154 h 332"/>
                <a:gd name="T50" fmla="*/ 51 w 438"/>
                <a:gd name="T51" fmla="*/ 164 h 332"/>
                <a:gd name="T52" fmla="*/ 76 w 438"/>
                <a:gd name="T53" fmla="*/ 180 h 332"/>
                <a:gd name="T54" fmla="*/ 84 w 438"/>
                <a:gd name="T55" fmla="*/ 186 h 332"/>
                <a:gd name="T56" fmla="*/ 120 w 438"/>
                <a:gd name="T57" fmla="*/ 180 h 332"/>
                <a:gd name="T58" fmla="*/ 133 w 438"/>
                <a:gd name="T59" fmla="*/ 195 h 332"/>
                <a:gd name="T60" fmla="*/ 142 w 438"/>
                <a:gd name="T61" fmla="*/ 204 h 332"/>
                <a:gd name="T62" fmla="*/ 137 w 438"/>
                <a:gd name="T63" fmla="*/ 223 h 332"/>
                <a:gd name="T64" fmla="*/ 133 w 438"/>
                <a:gd name="T65" fmla="*/ 231 h 332"/>
                <a:gd name="T66" fmla="*/ 133 w 438"/>
                <a:gd name="T67" fmla="*/ 265 h 332"/>
                <a:gd name="T68" fmla="*/ 151 w 438"/>
                <a:gd name="T69" fmla="*/ 269 h 332"/>
                <a:gd name="T70" fmla="*/ 157 w 438"/>
                <a:gd name="T71" fmla="*/ 275 h 332"/>
                <a:gd name="T72" fmla="*/ 173 w 438"/>
                <a:gd name="T73" fmla="*/ 286 h 332"/>
                <a:gd name="T74" fmla="*/ 187 w 438"/>
                <a:gd name="T75" fmla="*/ 297 h 332"/>
                <a:gd name="T76" fmla="*/ 190 w 438"/>
                <a:gd name="T77" fmla="*/ 318 h 332"/>
                <a:gd name="T78" fmla="*/ 191 w 438"/>
                <a:gd name="T79" fmla="*/ 325 h 332"/>
                <a:gd name="T80" fmla="*/ 214 w 438"/>
                <a:gd name="T81" fmla="*/ 326 h 332"/>
                <a:gd name="T82" fmla="*/ 233 w 438"/>
                <a:gd name="T83" fmla="*/ 326 h 332"/>
                <a:gd name="T84" fmla="*/ 253 w 438"/>
                <a:gd name="T85" fmla="*/ 331 h 332"/>
                <a:gd name="T86" fmla="*/ 279 w 438"/>
                <a:gd name="T87" fmla="*/ 318 h 332"/>
                <a:gd name="T88" fmla="*/ 290 w 438"/>
                <a:gd name="T89" fmla="*/ 318 h 332"/>
                <a:gd name="T90" fmla="*/ 290 w 438"/>
                <a:gd name="T91" fmla="*/ 303 h 332"/>
                <a:gd name="T92" fmla="*/ 305 w 438"/>
                <a:gd name="T93" fmla="*/ 301 h 332"/>
                <a:gd name="T94" fmla="*/ 331 w 438"/>
                <a:gd name="T95" fmla="*/ 286 h 332"/>
                <a:gd name="T96" fmla="*/ 342 w 438"/>
                <a:gd name="T97" fmla="*/ 289 h 332"/>
                <a:gd name="T98" fmla="*/ 342 w 438"/>
                <a:gd name="T99" fmla="*/ 300 h 332"/>
                <a:gd name="T100" fmla="*/ 361 w 438"/>
                <a:gd name="T101" fmla="*/ 298 h 332"/>
                <a:gd name="T102" fmla="*/ 361 w 438"/>
                <a:gd name="T103" fmla="*/ 286 h 332"/>
                <a:gd name="T104" fmla="*/ 356 w 438"/>
                <a:gd name="T105" fmla="*/ 280 h 332"/>
                <a:gd name="T106" fmla="*/ 344 w 438"/>
                <a:gd name="T107" fmla="*/ 274 h 332"/>
                <a:gd name="T108" fmla="*/ 356 w 438"/>
                <a:gd name="T109" fmla="*/ 249 h 332"/>
                <a:gd name="T110" fmla="*/ 358 w 438"/>
                <a:gd name="T111" fmla="*/ 229 h 332"/>
                <a:gd name="T112" fmla="*/ 362 w 438"/>
                <a:gd name="T113" fmla="*/ 215 h 332"/>
                <a:gd name="T114" fmla="*/ 367 w 438"/>
                <a:gd name="T115" fmla="*/ 200 h 332"/>
                <a:gd name="T116" fmla="*/ 388 w 438"/>
                <a:gd name="T117" fmla="*/ 194 h 332"/>
                <a:gd name="T118" fmla="*/ 398 w 438"/>
                <a:gd name="T119" fmla="*/ 172 h 332"/>
                <a:gd name="T120" fmla="*/ 421 w 438"/>
                <a:gd name="T121" fmla="*/ 174 h 332"/>
                <a:gd name="T122" fmla="*/ 433 w 438"/>
                <a:gd name="T123" fmla="*/ 158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8" h="332">
                  <a:moveTo>
                    <a:pt x="14" y="98"/>
                  </a:moveTo>
                  <a:lnTo>
                    <a:pt x="13" y="95"/>
                  </a:lnTo>
                  <a:lnTo>
                    <a:pt x="13" y="98"/>
                  </a:lnTo>
                  <a:lnTo>
                    <a:pt x="13" y="107"/>
                  </a:lnTo>
                  <a:lnTo>
                    <a:pt x="14" y="111"/>
                  </a:lnTo>
                  <a:lnTo>
                    <a:pt x="13" y="111"/>
                  </a:lnTo>
                  <a:lnTo>
                    <a:pt x="14" y="112"/>
                  </a:lnTo>
                  <a:lnTo>
                    <a:pt x="13" y="114"/>
                  </a:lnTo>
                  <a:lnTo>
                    <a:pt x="13" y="124"/>
                  </a:lnTo>
                  <a:lnTo>
                    <a:pt x="10" y="135"/>
                  </a:lnTo>
                  <a:lnTo>
                    <a:pt x="7" y="143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10" y="148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1" y="138"/>
                  </a:lnTo>
                  <a:lnTo>
                    <a:pt x="13" y="137"/>
                  </a:lnTo>
                  <a:lnTo>
                    <a:pt x="14" y="135"/>
                  </a:lnTo>
                  <a:lnTo>
                    <a:pt x="14" y="134"/>
                  </a:lnTo>
                  <a:lnTo>
                    <a:pt x="13" y="132"/>
                  </a:lnTo>
                  <a:lnTo>
                    <a:pt x="13" y="131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4" y="121"/>
                  </a:lnTo>
                  <a:lnTo>
                    <a:pt x="16" y="120"/>
                  </a:lnTo>
                  <a:lnTo>
                    <a:pt x="16" y="117"/>
                  </a:lnTo>
                  <a:lnTo>
                    <a:pt x="16" y="115"/>
                  </a:lnTo>
                  <a:lnTo>
                    <a:pt x="16" y="104"/>
                  </a:lnTo>
                  <a:lnTo>
                    <a:pt x="14" y="98"/>
                  </a:lnTo>
                  <a:close/>
                  <a:moveTo>
                    <a:pt x="438" y="152"/>
                  </a:moveTo>
                  <a:lnTo>
                    <a:pt x="436" y="151"/>
                  </a:lnTo>
                  <a:lnTo>
                    <a:pt x="424" y="149"/>
                  </a:lnTo>
                  <a:lnTo>
                    <a:pt x="419" y="149"/>
                  </a:lnTo>
                  <a:lnTo>
                    <a:pt x="418" y="149"/>
                  </a:lnTo>
                  <a:lnTo>
                    <a:pt x="413" y="148"/>
                  </a:lnTo>
                  <a:lnTo>
                    <a:pt x="412" y="148"/>
                  </a:lnTo>
                  <a:lnTo>
                    <a:pt x="412" y="146"/>
                  </a:lnTo>
                  <a:lnTo>
                    <a:pt x="412" y="143"/>
                  </a:lnTo>
                  <a:lnTo>
                    <a:pt x="415" y="140"/>
                  </a:lnTo>
                  <a:lnTo>
                    <a:pt x="415" y="138"/>
                  </a:lnTo>
                  <a:lnTo>
                    <a:pt x="416" y="134"/>
                  </a:lnTo>
                  <a:lnTo>
                    <a:pt x="416" y="132"/>
                  </a:lnTo>
                  <a:lnTo>
                    <a:pt x="419" y="131"/>
                  </a:lnTo>
                  <a:lnTo>
                    <a:pt x="419" y="129"/>
                  </a:lnTo>
                  <a:lnTo>
                    <a:pt x="418" y="126"/>
                  </a:lnTo>
                  <a:lnTo>
                    <a:pt x="418" y="123"/>
                  </a:lnTo>
                  <a:lnTo>
                    <a:pt x="419" y="120"/>
                  </a:lnTo>
                  <a:lnTo>
                    <a:pt x="421" y="118"/>
                  </a:lnTo>
                  <a:lnTo>
                    <a:pt x="422" y="115"/>
                  </a:lnTo>
                  <a:lnTo>
                    <a:pt x="424" y="112"/>
                  </a:lnTo>
                  <a:lnTo>
                    <a:pt x="424" y="109"/>
                  </a:lnTo>
                  <a:lnTo>
                    <a:pt x="424" y="106"/>
                  </a:lnTo>
                  <a:lnTo>
                    <a:pt x="422" y="103"/>
                  </a:lnTo>
                  <a:lnTo>
                    <a:pt x="418" y="103"/>
                  </a:lnTo>
                  <a:lnTo>
                    <a:pt x="415" y="101"/>
                  </a:lnTo>
                  <a:lnTo>
                    <a:pt x="404" y="97"/>
                  </a:lnTo>
                  <a:lnTo>
                    <a:pt x="399" y="92"/>
                  </a:lnTo>
                  <a:lnTo>
                    <a:pt x="395" y="86"/>
                  </a:lnTo>
                  <a:lnTo>
                    <a:pt x="393" y="81"/>
                  </a:lnTo>
                  <a:lnTo>
                    <a:pt x="392" y="78"/>
                  </a:lnTo>
                  <a:lnTo>
                    <a:pt x="384" y="72"/>
                  </a:lnTo>
                  <a:lnTo>
                    <a:pt x="379" y="67"/>
                  </a:lnTo>
                  <a:lnTo>
                    <a:pt x="376" y="64"/>
                  </a:lnTo>
                  <a:lnTo>
                    <a:pt x="368" y="60"/>
                  </a:lnTo>
                  <a:lnTo>
                    <a:pt x="362" y="54"/>
                  </a:lnTo>
                  <a:lnTo>
                    <a:pt x="361" y="50"/>
                  </a:lnTo>
                  <a:lnTo>
                    <a:pt x="356" y="47"/>
                  </a:lnTo>
                  <a:lnTo>
                    <a:pt x="356" y="47"/>
                  </a:lnTo>
                  <a:lnTo>
                    <a:pt x="355" y="46"/>
                  </a:lnTo>
                  <a:lnTo>
                    <a:pt x="353" y="41"/>
                  </a:lnTo>
                  <a:lnTo>
                    <a:pt x="353" y="40"/>
                  </a:lnTo>
                  <a:lnTo>
                    <a:pt x="352" y="40"/>
                  </a:lnTo>
                  <a:lnTo>
                    <a:pt x="348" y="40"/>
                  </a:lnTo>
                  <a:lnTo>
                    <a:pt x="347" y="40"/>
                  </a:lnTo>
                  <a:lnTo>
                    <a:pt x="342" y="38"/>
                  </a:lnTo>
                  <a:lnTo>
                    <a:pt x="338" y="38"/>
                  </a:lnTo>
                  <a:lnTo>
                    <a:pt x="330" y="37"/>
                  </a:lnTo>
                  <a:lnTo>
                    <a:pt x="311" y="34"/>
                  </a:lnTo>
                  <a:lnTo>
                    <a:pt x="310" y="32"/>
                  </a:lnTo>
                  <a:lnTo>
                    <a:pt x="307" y="29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2" y="20"/>
                  </a:lnTo>
                  <a:lnTo>
                    <a:pt x="302" y="18"/>
                  </a:lnTo>
                  <a:lnTo>
                    <a:pt x="301" y="17"/>
                  </a:lnTo>
                  <a:lnTo>
                    <a:pt x="299" y="7"/>
                  </a:lnTo>
                  <a:lnTo>
                    <a:pt x="298" y="3"/>
                  </a:lnTo>
                  <a:lnTo>
                    <a:pt x="296" y="0"/>
                  </a:lnTo>
                  <a:lnTo>
                    <a:pt x="295" y="0"/>
                  </a:lnTo>
                  <a:lnTo>
                    <a:pt x="293" y="1"/>
                  </a:lnTo>
                  <a:lnTo>
                    <a:pt x="293" y="1"/>
                  </a:lnTo>
                  <a:lnTo>
                    <a:pt x="293" y="3"/>
                  </a:lnTo>
                  <a:lnTo>
                    <a:pt x="293" y="4"/>
                  </a:lnTo>
                  <a:lnTo>
                    <a:pt x="291" y="4"/>
                  </a:lnTo>
                  <a:lnTo>
                    <a:pt x="290" y="4"/>
                  </a:lnTo>
                  <a:lnTo>
                    <a:pt x="290" y="4"/>
                  </a:lnTo>
                  <a:lnTo>
                    <a:pt x="282" y="7"/>
                  </a:lnTo>
                  <a:lnTo>
                    <a:pt x="281" y="9"/>
                  </a:lnTo>
                  <a:lnTo>
                    <a:pt x="278" y="10"/>
                  </a:lnTo>
                  <a:lnTo>
                    <a:pt x="271" y="18"/>
                  </a:lnTo>
                  <a:lnTo>
                    <a:pt x="270" y="20"/>
                  </a:lnTo>
                  <a:lnTo>
                    <a:pt x="265" y="23"/>
                  </a:lnTo>
                  <a:lnTo>
                    <a:pt x="262" y="24"/>
                  </a:lnTo>
                  <a:lnTo>
                    <a:pt x="261" y="23"/>
                  </a:lnTo>
                  <a:lnTo>
                    <a:pt x="256" y="20"/>
                  </a:lnTo>
                  <a:lnTo>
                    <a:pt x="253" y="18"/>
                  </a:lnTo>
                  <a:lnTo>
                    <a:pt x="251" y="20"/>
                  </a:lnTo>
                  <a:lnTo>
                    <a:pt x="242" y="24"/>
                  </a:lnTo>
                  <a:lnTo>
                    <a:pt x="239" y="24"/>
                  </a:lnTo>
                  <a:lnTo>
                    <a:pt x="239" y="24"/>
                  </a:lnTo>
                  <a:lnTo>
                    <a:pt x="238" y="24"/>
                  </a:lnTo>
                  <a:lnTo>
                    <a:pt x="234" y="23"/>
                  </a:lnTo>
                  <a:lnTo>
                    <a:pt x="228" y="17"/>
                  </a:lnTo>
                  <a:lnTo>
                    <a:pt x="219" y="15"/>
                  </a:lnTo>
                  <a:lnTo>
                    <a:pt x="219" y="14"/>
                  </a:lnTo>
                  <a:lnTo>
                    <a:pt x="216" y="14"/>
                  </a:lnTo>
                  <a:lnTo>
                    <a:pt x="211" y="15"/>
                  </a:lnTo>
                  <a:lnTo>
                    <a:pt x="208" y="15"/>
                  </a:lnTo>
                  <a:lnTo>
                    <a:pt x="208" y="15"/>
                  </a:lnTo>
                  <a:lnTo>
                    <a:pt x="208" y="14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5" y="12"/>
                  </a:lnTo>
                  <a:lnTo>
                    <a:pt x="201" y="12"/>
                  </a:lnTo>
                  <a:lnTo>
                    <a:pt x="197" y="12"/>
                  </a:lnTo>
                  <a:lnTo>
                    <a:pt x="193" y="15"/>
                  </a:lnTo>
                  <a:lnTo>
                    <a:pt x="191" y="15"/>
                  </a:lnTo>
                  <a:lnTo>
                    <a:pt x="184" y="12"/>
                  </a:lnTo>
                  <a:lnTo>
                    <a:pt x="177" y="9"/>
                  </a:lnTo>
                  <a:lnTo>
                    <a:pt x="176" y="9"/>
                  </a:lnTo>
                  <a:lnTo>
                    <a:pt x="168" y="10"/>
                  </a:lnTo>
                  <a:lnTo>
                    <a:pt x="167" y="12"/>
                  </a:lnTo>
                  <a:lnTo>
                    <a:pt x="167" y="14"/>
                  </a:lnTo>
                  <a:lnTo>
                    <a:pt x="164" y="17"/>
                  </a:lnTo>
                  <a:lnTo>
                    <a:pt x="159" y="18"/>
                  </a:lnTo>
                  <a:lnTo>
                    <a:pt x="156" y="15"/>
                  </a:lnTo>
                  <a:lnTo>
                    <a:pt x="153" y="9"/>
                  </a:lnTo>
                  <a:lnTo>
                    <a:pt x="151" y="4"/>
                  </a:lnTo>
                  <a:lnTo>
                    <a:pt x="150" y="4"/>
                  </a:lnTo>
                  <a:lnTo>
                    <a:pt x="147" y="4"/>
                  </a:lnTo>
                  <a:lnTo>
                    <a:pt x="145" y="6"/>
                  </a:lnTo>
                  <a:lnTo>
                    <a:pt x="142" y="7"/>
                  </a:lnTo>
                  <a:lnTo>
                    <a:pt x="131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5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19" y="6"/>
                  </a:lnTo>
                  <a:lnTo>
                    <a:pt x="96" y="6"/>
                  </a:lnTo>
                  <a:lnTo>
                    <a:pt x="94" y="6"/>
                  </a:lnTo>
                  <a:lnTo>
                    <a:pt x="93" y="4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79" y="7"/>
                  </a:lnTo>
                  <a:lnTo>
                    <a:pt x="77" y="7"/>
                  </a:lnTo>
                  <a:lnTo>
                    <a:pt x="57" y="17"/>
                  </a:lnTo>
                  <a:lnTo>
                    <a:pt x="51" y="18"/>
                  </a:lnTo>
                  <a:lnTo>
                    <a:pt x="48" y="20"/>
                  </a:lnTo>
                  <a:lnTo>
                    <a:pt x="37" y="27"/>
                  </a:lnTo>
                  <a:lnTo>
                    <a:pt x="36" y="27"/>
                  </a:lnTo>
                  <a:lnTo>
                    <a:pt x="33" y="27"/>
                  </a:lnTo>
                  <a:lnTo>
                    <a:pt x="31" y="29"/>
                  </a:lnTo>
                  <a:lnTo>
                    <a:pt x="28" y="30"/>
                  </a:lnTo>
                  <a:lnTo>
                    <a:pt x="25" y="34"/>
                  </a:lnTo>
                  <a:lnTo>
                    <a:pt x="23" y="37"/>
                  </a:lnTo>
                  <a:lnTo>
                    <a:pt x="22" y="41"/>
                  </a:lnTo>
                  <a:lnTo>
                    <a:pt x="22" y="44"/>
                  </a:lnTo>
                  <a:lnTo>
                    <a:pt x="20" y="47"/>
                  </a:lnTo>
                  <a:lnTo>
                    <a:pt x="17" y="49"/>
                  </a:lnTo>
                  <a:lnTo>
                    <a:pt x="13" y="49"/>
                  </a:lnTo>
                  <a:lnTo>
                    <a:pt x="10" y="49"/>
                  </a:lnTo>
                  <a:lnTo>
                    <a:pt x="11" y="54"/>
                  </a:lnTo>
                  <a:lnTo>
                    <a:pt x="11" y="64"/>
                  </a:lnTo>
                  <a:lnTo>
                    <a:pt x="10" y="66"/>
                  </a:lnTo>
                  <a:lnTo>
                    <a:pt x="10" y="67"/>
                  </a:lnTo>
                  <a:lnTo>
                    <a:pt x="10" y="69"/>
                  </a:lnTo>
                  <a:lnTo>
                    <a:pt x="10" y="75"/>
                  </a:lnTo>
                  <a:lnTo>
                    <a:pt x="11" y="86"/>
                  </a:lnTo>
                  <a:lnTo>
                    <a:pt x="11" y="89"/>
                  </a:lnTo>
                  <a:lnTo>
                    <a:pt x="11" y="92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5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20" y="114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20" y="120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3" y="123"/>
                  </a:lnTo>
                  <a:lnTo>
                    <a:pt x="23" y="127"/>
                  </a:lnTo>
                  <a:lnTo>
                    <a:pt x="25" y="132"/>
                  </a:lnTo>
                  <a:lnTo>
                    <a:pt x="25" y="135"/>
                  </a:lnTo>
                  <a:lnTo>
                    <a:pt x="23" y="137"/>
                  </a:lnTo>
                  <a:lnTo>
                    <a:pt x="23" y="138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6"/>
                  </a:lnTo>
                  <a:lnTo>
                    <a:pt x="25" y="141"/>
                  </a:lnTo>
                  <a:lnTo>
                    <a:pt x="25" y="141"/>
                  </a:lnTo>
                  <a:lnTo>
                    <a:pt x="25" y="144"/>
                  </a:lnTo>
                  <a:lnTo>
                    <a:pt x="25" y="146"/>
                  </a:lnTo>
                  <a:lnTo>
                    <a:pt x="27" y="146"/>
                  </a:lnTo>
                  <a:lnTo>
                    <a:pt x="27" y="148"/>
                  </a:lnTo>
                  <a:lnTo>
                    <a:pt x="27" y="149"/>
                  </a:lnTo>
                  <a:lnTo>
                    <a:pt x="28" y="151"/>
                  </a:lnTo>
                  <a:lnTo>
                    <a:pt x="28" y="151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4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33" y="152"/>
                  </a:lnTo>
                  <a:lnTo>
                    <a:pt x="34" y="152"/>
                  </a:lnTo>
                  <a:lnTo>
                    <a:pt x="36" y="154"/>
                  </a:lnTo>
                  <a:lnTo>
                    <a:pt x="40" y="163"/>
                  </a:lnTo>
                  <a:lnTo>
                    <a:pt x="43" y="164"/>
                  </a:lnTo>
                  <a:lnTo>
                    <a:pt x="51" y="164"/>
                  </a:lnTo>
                  <a:lnTo>
                    <a:pt x="54" y="166"/>
                  </a:lnTo>
                  <a:lnTo>
                    <a:pt x="59" y="171"/>
                  </a:lnTo>
                  <a:lnTo>
                    <a:pt x="60" y="172"/>
                  </a:lnTo>
                  <a:lnTo>
                    <a:pt x="62" y="174"/>
                  </a:lnTo>
                  <a:lnTo>
                    <a:pt x="67" y="174"/>
                  </a:lnTo>
                  <a:lnTo>
                    <a:pt x="70" y="177"/>
                  </a:lnTo>
                  <a:lnTo>
                    <a:pt x="71" y="177"/>
                  </a:lnTo>
                  <a:lnTo>
                    <a:pt x="74" y="178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7" y="180"/>
                  </a:lnTo>
                  <a:lnTo>
                    <a:pt x="79" y="178"/>
                  </a:lnTo>
                  <a:lnTo>
                    <a:pt x="80" y="178"/>
                  </a:lnTo>
                  <a:lnTo>
                    <a:pt x="82" y="178"/>
                  </a:lnTo>
                  <a:lnTo>
                    <a:pt x="82" y="180"/>
                  </a:lnTo>
                  <a:lnTo>
                    <a:pt x="82" y="181"/>
                  </a:lnTo>
                  <a:lnTo>
                    <a:pt x="82" y="184"/>
                  </a:lnTo>
                  <a:lnTo>
                    <a:pt x="84" y="186"/>
                  </a:lnTo>
                  <a:lnTo>
                    <a:pt x="87" y="186"/>
                  </a:lnTo>
                  <a:lnTo>
                    <a:pt x="88" y="186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1" y="183"/>
                  </a:lnTo>
                  <a:lnTo>
                    <a:pt x="99" y="180"/>
                  </a:lnTo>
                  <a:lnTo>
                    <a:pt x="100" y="181"/>
                  </a:lnTo>
                  <a:lnTo>
                    <a:pt x="113" y="183"/>
                  </a:lnTo>
                  <a:lnTo>
                    <a:pt x="120" y="180"/>
                  </a:lnTo>
                  <a:lnTo>
                    <a:pt x="122" y="181"/>
                  </a:lnTo>
                  <a:lnTo>
                    <a:pt x="124" y="181"/>
                  </a:lnTo>
                  <a:lnTo>
                    <a:pt x="124" y="183"/>
                  </a:lnTo>
                  <a:lnTo>
                    <a:pt x="125" y="184"/>
                  </a:lnTo>
                  <a:lnTo>
                    <a:pt x="125" y="191"/>
                  </a:lnTo>
                  <a:lnTo>
                    <a:pt x="127" y="194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6" y="200"/>
                  </a:lnTo>
                  <a:lnTo>
                    <a:pt x="136" y="201"/>
                  </a:lnTo>
                  <a:lnTo>
                    <a:pt x="141" y="203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4" y="217"/>
                  </a:lnTo>
                  <a:lnTo>
                    <a:pt x="142" y="218"/>
                  </a:lnTo>
                  <a:lnTo>
                    <a:pt x="142" y="220"/>
                  </a:lnTo>
                  <a:lnTo>
                    <a:pt x="139" y="221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6" y="224"/>
                  </a:lnTo>
                  <a:lnTo>
                    <a:pt x="136" y="224"/>
                  </a:lnTo>
                  <a:lnTo>
                    <a:pt x="134" y="224"/>
                  </a:lnTo>
                  <a:lnTo>
                    <a:pt x="134" y="226"/>
                  </a:lnTo>
                  <a:lnTo>
                    <a:pt x="134" y="226"/>
                  </a:lnTo>
                  <a:lnTo>
                    <a:pt x="134" y="226"/>
                  </a:lnTo>
                  <a:lnTo>
                    <a:pt x="134" y="228"/>
                  </a:lnTo>
                  <a:lnTo>
                    <a:pt x="134" y="228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2"/>
                  </a:lnTo>
                  <a:lnTo>
                    <a:pt x="133" y="235"/>
                  </a:lnTo>
                  <a:lnTo>
                    <a:pt x="133" y="237"/>
                  </a:lnTo>
                  <a:lnTo>
                    <a:pt x="133" y="238"/>
                  </a:lnTo>
                  <a:lnTo>
                    <a:pt x="131" y="245"/>
                  </a:lnTo>
                  <a:lnTo>
                    <a:pt x="131" y="255"/>
                  </a:lnTo>
                  <a:lnTo>
                    <a:pt x="131" y="260"/>
                  </a:lnTo>
                  <a:lnTo>
                    <a:pt x="133" y="265"/>
                  </a:lnTo>
                  <a:lnTo>
                    <a:pt x="137" y="272"/>
                  </a:lnTo>
                  <a:lnTo>
                    <a:pt x="139" y="271"/>
                  </a:lnTo>
                  <a:lnTo>
                    <a:pt x="141" y="268"/>
                  </a:lnTo>
                  <a:lnTo>
                    <a:pt x="141" y="268"/>
                  </a:lnTo>
                  <a:lnTo>
                    <a:pt x="144" y="266"/>
                  </a:lnTo>
                  <a:lnTo>
                    <a:pt x="145" y="268"/>
                  </a:lnTo>
                  <a:lnTo>
                    <a:pt x="148" y="269"/>
                  </a:lnTo>
                  <a:lnTo>
                    <a:pt x="150" y="269"/>
                  </a:lnTo>
                  <a:lnTo>
                    <a:pt x="151" y="269"/>
                  </a:lnTo>
                  <a:lnTo>
                    <a:pt x="153" y="269"/>
                  </a:lnTo>
                  <a:lnTo>
                    <a:pt x="153" y="271"/>
                  </a:lnTo>
                  <a:lnTo>
                    <a:pt x="153" y="271"/>
                  </a:lnTo>
                  <a:lnTo>
                    <a:pt x="154" y="272"/>
                  </a:lnTo>
                  <a:lnTo>
                    <a:pt x="154" y="272"/>
                  </a:lnTo>
                  <a:lnTo>
                    <a:pt x="154" y="274"/>
                  </a:lnTo>
                  <a:lnTo>
                    <a:pt x="157" y="274"/>
                  </a:lnTo>
                  <a:lnTo>
                    <a:pt x="157" y="274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8"/>
                  </a:lnTo>
                  <a:lnTo>
                    <a:pt x="159" y="280"/>
                  </a:lnTo>
                  <a:lnTo>
                    <a:pt x="161" y="280"/>
                  </a:lnTo>
                  <a:lnTo>
                    <a:pt x="162" y="280"/>
                  </a:lnTo>
                  <a:lnTo>
                    <a:pt x="164" y="280"/>
                  </a:lnTo>
                  <a:lnTo>
                    <a:pt x="165" y="280"/>
                  </a:lnTo>
                  <a:lnTo>
                    <a:pt x="170" y="283"/>
                  </a:lnTo>
                  <a:lnTo>
                    <a:pt x="173" y="286"/>
                  </a:lnTo>
                  <a:lnTo>
                    <a:pt x="179" y="288"/>
                  </a:lnTo>
                  <a:lnTo>
                    <a:pt x="181" y="289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4"/>
                  </a:lnTo>
                  <a:lnTo>
                    <a:pt x="184" y="295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7" y="297"/>
                  </a:lnTo>
                  <a:lnTo>
                    <a:pt x="188" y="298"/>
                  </a:lnTo>
                  <a:lnTo>
                    <a:pt x="190" y="300"/>
                  </a:lnTo>
                  <a:lnTo>
                    <a:pt x="190" y="303"/>
                  </a:lnTo>
                  <a:lnTo>
                    <a:pt x="191" y="306"/>
                  </a:lnTo>
                  <a:lnTo>
                    <a:pt x="191" y="312"/>
                  </a:lnTo>
                  <a:lnTo>
                    <a:pt x="191" y="315"/>
                  </a:lnTo>
                  <a:lnTo>
                    <a:pt x="191" y="317"/>
                  </a:lnTo>
                  <a:lnTo>
                    <a:pt x="190" y="317"/>
                  </a:lnTo>
                  <a:lnTo>
                    <a:pt x="190" y="318"/>
                  </a:lnTo>
                  <a:lnTo>
                    <a:pt x="190" y="318"/>
                  </a:lnTo>
                  <a:lnTo>
                    <a:pt x="190" y="320"/>
                  </a:lnTo>
                  <a:lnTo>
                    <a:pt x="190" y="322"/>
                  </a:lnTo>
                  <a:lnTo>
                    <a:pt x="190" y="322"/>
                  </a:lnTo>
                  <a:lnTo>
                    <a:pt x="191" y="323"/>
                  </a:lnTo>
                  <a:lnTo>
                    <a:pt x="191" y="323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4" y="326"/>
                  </a:lnTo>
                  <a:lnTo>
                    <a:pt x="201" y="331"/>
                  </a:lnTo>
                  <a:lnTo>
                    <a:pt x="202" y="331"/>
                  </a:lnTo>
                  <a:lnTo>
                    <a:pt x="202" y="331"/>
                  </a:lnTo>
                  <a:lnTo>
                    <a:pt x="207" y="329"/>
                  </a:lnTo>
                  <a:lnTo>
                    <a:pt x="211" y="328"/>
                  </a:lnTo>
                  <a:lnTo>
                    <a:pt x="213" y="328"/>
                  </a:lnTo>
                  <a:lnTo>
                    <a:pt x="213" y="326"/>
                  </a:lnTo>
                  <a:lnTo>
                    <a:pt x="214" y="326"/>
                  </a:lnTo>
                  <a:lnTo>
                    <a:pt x="216" y="328"/>
                  </a:lnTo>
                  <a:lnTo>
                    <a:pt x="216" y="328"/>
                  </a:lnTo>
                  <a:lnTo>
                    <a:pt x="216" y="328"/>
                  </a:lnTo>
                  <a:lnTo>
                    <a:pt x="222" y="325"/>
                  </a:lnTo>
                  <a:lnTo>
                    <a:pt x="224" y="325"/>
                  </a:lnTo>
                  <a:lnTo>
                    <a:pt x="225" y="325"/>
                  </a:lnTo>
                  <a:lnTo>
                    <a:pt x="227" y="326"/>
                  </a:lnTo>
                  <a:lnTo>
                    <a:pt x="228" y="326"/>
                  </a:lnTo>
                  <a:lnTo>
                    <a:pt x="233" y="326"/>
                  </a:lnTo>
                  <a:lnTo>
                    <a:pt x="234" y="326"/>
                  </a:lnTo>
                  <a:lnTo>
                    <a:pt x="239" y="323"/>
                  </a:lnTo>
                  <a:lnTo>
                    <a:pt x="242" y="323"/>
                  </a:lnTo>
                  <a:lnTo>
                    <a:pt x="244" y="323"/>
                  </a:lnTo>
                  <a:lnTo>
                    <a:pt x="247" y="326"/>
                  </a:lnTo>
                  <a:lnTo>
                    <a:pt x="248" y="329"/>
                  </a:lnTo>
                  <a:lnTo>
                    <a:pt x="248" y="331"/>
                  </a:lnTo>
                  <a:lnTo>
                    <a:pt x="250" y="331"/>
                  </a:lnTo>
                  <a:lnTo>
                    <a:pt x="253" y="331"/>
                  </a:lnTo>
                  <a:lnTo>
                    <a:pt x="254" y="332"/>
                  </a:lnTo>
                  <a:lnTo>
                    <a:pt x="258" y="332"/>
                  </a:lnTo>
                  <a:lnTo>
                    <a:pt x="261" y="331"/>
                  </a:lnTo>
                  <a:lnTo>
                    <a:pt x="268" y="323"/>
                  </a:lnTo>
                  <a:lnTo>
                    <a:pt x="273" y="322"/>
                  </a:lnTo>
                  <a:lnTo>
                    <a:pt x="278" y="320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81" y="322"/>
                  </a:lnTo>
                  <a:lnTo>
                    <a:pt x="282" y="322"/>
                  </a:lnTo>
                  <a:lnTo>
                    <a:pt x="284" y="323"/>
                  </a:lnTo>
                  <a:lnTo>
                    <a:pt x="288" y="322"/>
                  </a:lnTo>
                  <a:lnTo>
                    <a:pt x="290" y="322"/>
                  </a:lnTo>
                  <a:lnTo>
                    <a:pt x="290" y="318"/>
                  </a:lnTo>
                  <a:lnTo>
                    <a:pt x="290" y="318"/>
                  </a:lnTo>
                  <a:lnTo>
                    <a:pt x="290" y="318"/>
                  </a:lnTo>
                  <a:lnTo>
                    <a:pt x="290" y="315"/>
                  </a:lnTo>
                  <a:lnTo>
                    <a:pt x="290" y="312"/>
                  </a:lnTo>
                  <a:lnTo>
                    <a:pt x="288" y="311"/>
                  </a:lnTo>
                  <a:lnTo>
                    <a:pt x="288" y="308"/>
                  </a:lnTo>
                  <a:lnTo>
                    <a:pt x="288" y="306"/>
                  </a:lnTo>
                  <a:lnTo>
                    <a:pt x="288" y="306"/>
                  </a:lnTo>
                  <a:lnTo>
                    <a:pt x="288" y="306"/>
                  </a:lnTo>
                  <a:lnTo>
                    <a:pt x="288" y="305"/>
                  </a:lnTo>
                  <a:lnTo>
                    <a:pt x="290" y="303"/>
                  </a:lnTo>
                  <a:lnTo>
                    <a:pt x="290" y="303"/>
                  </a:lnTo>
                  <a:lnTo>
                    <a:pt x="290" y="303"/>
                  </a:lnTo>
                  <a:lnTo>
                    <a:pt x="290" y="301"/>
                  </a:lnTo>
                  <a:lnTo>
                    <a:pt x="290" y="300"/>
                  </a:lnTo>
                  <a:lnTo>
                    <a:pt x="293" y="300"/>
                  </a:lnTo>
                  <a:lnTo>
                    <a:pt x="293" y="298"/>
                  </a:lnTo>
                  <a:lnTo>
                    <a:pt x="296" y="298"/>
                  </a:lnTo>
                  <a:lnTo>
                    <a:pt x="301" y="300"/>
                  </a:lnTo>
                  <a:lnTo>
                    <a:pt x="305" y="301"/>
                  </a:lnTo>
                  <a:lnTo>
                    <a:pt x="310" y="301"/>
                  </a:lnTo>
                  <a:lnTo>
                    <a:pt x="313" y="298"/>
                  </a:lnTo>
                  <a:lnTo>
                    <a:pt x="316" y="295"/>
                  </a:lnTo>
                  <a:lnTo>
                    <a:pt x="316" y="292"/>
                  </a:lnTo>
                  <a:lnTo>
                    <a:pt x="318" y="286"/>
                  </a:lnTo>
                  <a:lnTo>
                    <a:pt x="319" y="285"/>
                  </a:lnTo>
                  <a:lnTo>
                    <a:pt x="321" y="285"/>
                  </a:lnTo>
                  <a:lnTo>
                    <a:pt x="325" y="286"/>
                  </a:lnTo>
                  <a:lnTo>
                    <a:pt x="331" y="286"/>
                  </a:lnTo>
                  <a:lnTo>
                    <a:pt x="333" y="285"/>
                  </a:lnTo>
                  <a:lnTo>
                    <a:pt x="336" y="280"/>
                  </a:lnTo>
                  <a:lnTo>
                    <a:pt x="338" y="280"/>
                  </a:lnTo>
                  <a:lnTo>
                    <a:pt x="339" y="280"/>
                  </a:lnTo>
                  <a:lnTo>
                    <a:pt x="339" y="280"/>
                  </a:lnTo>
                  <a:lnTo>
                    <a:pt x="339" y="281"/>
                  </a:lnTo>
                  <a:lnTo>
                    <a:pt x="345" y="288"/>
                  </a:lnTo>
                  <a:lnTo>
                    <a:pt x="344" y="289"/>
                  </a:lnTo>
                  <a:lnTo>
                    <a:pt x="342" y="289"/>
                  </a:lnTo>
                  <a:lnTo>
                    <a:pt x="341" y="289"/>
                  </a:lnTo>
                  <a:lnTo>
                    <a:pt x="341" y="291"/>
                  </a:lnTo>
                  <a:lnTo>
                    <a:pt x="342" y="292"/>
                  </a:lnTo>
                  <a:lnTo>
                    <a:pt x="344" y="292"/>
                  </a:lnTo>
                  <a:lnTo>
                    <a:pt x="342" y="294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98"/>
                  </a:lnTo>
                  <a:lnTo>
                    <a:pt x="342" y="300"/>
                  </a:lnTo>
                  <a:lnTo>
                    <a:pt x="344" y="300"/>
                  </a:lnTo>
                  <a:lnTo>
                    <a:pt x="352" y="301"/>
                  </a:lnTo>
                  <a:lnTo>
                    <a:pt x="353" y="301"/>
                  </a:lnTo>
                  <a:lnTo>
                    <a:pt x="353" y="301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8" y="300"/>
                  </a:lnTo>
                  <a:lnTo>
                    <a:pt x="359" y="298"/>
                  </a:lnTo>
                  <a:lnTo>
                    <a:pt x="361" y="298"/>
                  </a:lnTo>
                  <a:lnTo>
                    <a:pt x="361" y="295"/>
                  </a:lnTo>
                  <a:lnTo>
                    <a:pt x="361" y="291"/>
                  </a:lnTo>
                  <a:lnTo>
                    <a:pt x="362" y="289"/>
                  </a:lnTo>
                  <a:lnTo>
                    <a:pt x="362" y="288"/>
                  </a:lnTo>
                  <a:lnTo>
                    <a:pt x="362" y="288"/>
                  </a:lnTo>
                  <a:lnTo>
                    <a:pt x="362" y="288"/>
                  </a:lnTo>
                  <a:lnTo>
                    <a:pt x="362" y="286"/>
                  </a:lnTo>
                  <a:lnTo>
                    <a:pt x="362" y="286"/>
                  </a:lnTo>
                  <a:lnTo>
                    <a:pt x="361" y="286"/>
                  </a:lnTo>
                  <a:lnTo>
                    <a:pt x="361" y="285"/>
                  </a:lnTo>
                  <a:lnTo>
                    <a:pt x="361" y="283"/>
                  </a:lnTo>
                  <a:lnTo>
                    <a:pt x="359" y="283"/>
                  </a:lnTo>
                  <a:lnTo>
                    <a:pt x="359" y="281"/>
                  </a:lnTo>
                  <a:lnTo>
                    <a:pt x="359" y="281"/>
                  </a:lnTo>
                  <a:lnTo>
                    <a:pt x="358" y="281"/>
                  </a:lnTo>
                  <a:lnTo>
                    <a:pt x="358" y="281"/>
                  </a:lnTo>
                  <a:lnTo>
                    <a:pt x="358" y="281"/>
                  </a:lnTo>
                  <a:lnTo>
                    <a:pt x="356" y="280"/>
                  </a:lnTo>
                  <a:lnTo>
                    <a:pt x="356" y="278"/>
                  </a:lnTo>
                  <a:lnTo>
                    <a:pt x="356" y="277"/>
                  </a:lnTo>
                  <a:lnTo>
                    <a:pt x="355" y="277"/>
                  </a:lnTo>
                  <a:lnTo>
                    <a:pt x="353" y="277"/>
                  </a:lnTo>
                  <a:lnTo>
                    <a:pt x="348" y="278"/>
                  </a:lnTo>
                  <a:lnTo>
                    <a:pt x="345" y="280"/>
                  </a:lnTo>
                  <a:lnTo>
                    <a:pt x="344" y="278"/>
                  </a:lnTo>
                  <a:lnTo>
                    <a:pt x="344" y="277"/>
                  </a:lnTo>
                  <a:lnTo>
                    <a:pt x="344" y="274"/>
                  </a:lnTo>
                  <a:lnTo>
                    <a:pt x="345" y="271"/>
                  </a:lnTo>
                  <a:lnTo>
                    <a:pt x="348" y="268"/>
                  </a:lnTo>
                  <a:lnTo>
                    <a:pt x="350" y="265"/>
                  </a:lnTo>
                  <a:lnTo>
                    <a:pt x="350" y="261"/>
                  </a:lnTo>
                  <a:lnTo>
                    <a:pt x="350" y="258"/>
                  </a:lnTo>
                  <a:lnTo>
                    <a:pt x="350" y="255"/>
                  </a:lnTo>
                  <a:lnTo>
                    <a:pt x="352" y="254"/>
                  </a:lnTo>
                  <a:lnTo>
                    <a:pt x="352" y="252"/>
                  </a:lnTo>
                  <a:lnTo>
                    <a:pt x="356" y="249"/>
                  </a:lnTo>
                  <a:lnTo>
                    <a:pt x="358" y="248"/>
                  </a:lnTo>
                  <a:lnTo>
                    <a:pt x="359" y="246"/>
                  </a:lnTo>
                  <a:lnTo>
                    <a:pt x="359" y="243"/>
                  </a:lnTo>
                  <a:lnTo>
                    <a:pt x="359" y="240"/>
                  </a:lnTo>
                  <a:lnTo>
                    <a:pt x="358" y="235"/>
                  </a:lnTo>
                  <a:lnTo>
                    <a:pt x="356" y="234"/>
                  </a:lnTo>
                  <a:lnTo>
                    <a:pt x="356" y="232"/>
                  </a:lnTo>
                  <a:lnTo>
                    <a:pt x="358" y="231"/>
                  </a:lnTo>
                  <a:lnTo>
                    <a:pt x="358" y="229"/>
                  </a:lnTo>
                  <a:lnTo>
                    <a:pt x="358" y="228"/>
                  </a:lnTo>
                  <a:lnTo>
                    <a:pt x="358" y="226"/>
                  </a:lnTo>
                  <a:lnTo>
                    <a:pt x="358" y="220"/>
                  </a:lnTo>
                  <a:lnTo>
                    <a:pt x="358" y="218"/>
                  </a:lnTo>
                  <a:lnTo>
                    <a:pt x="359" y="217"/>
                  </a:lnTo>
                  <a:lnTo>
                    <a:pt x="361" y="215"/>
                  </a:lnTo>
                  <a:lnTo>
                    <a:pt x="361" y="215"/>
                  </a:lnTo>
                  <a:lnTo>
                    <a:pt x="361" y="215"/>
                  </a:lnTo>
                  <a:lnTo>
                    <a:pt x="362" y="215"/>
                  </a:lnTo>
                  <a:lnTo>
                    <a:pt x="362" y="214"/>
                  </a:lnTo>
                  <a:lnTo>
                    <a:pt x="362" y="212"/>
                  </a:lnTo>
                  <a:lnTo>
                    <a:pt x="361" y="211"/>
                  </a:lnTo>
                  <a:lnTo>
                    <a:pt x="361" y="209"/>
                  </a:lnTo>
                  <a:lnTo>
                    <a:pt x="362" y="206"/>
                  </a:lnTo>
                  <a:lnTo>
                    <a:pt x="364" y="204"/>
                  </a:lnTo>
                  <a:lnTo>
                    <a:pt x="365" y="204"/>
                  </a:lnTo>
                  <a:lnTo>
                    <a:pt x="367" y="201"/>
                  </a:lnTo>
                  <a:lnTo>
                    <a:pt x="367" y="200"/>
                  </a:lnTo>
                  <a:lnTo>
                    <a:pt x="367" y="200"/>
                  </a:lnTo>
                  <a:lnTo>
                    <a:pt x="368" y="198"/>
                  </a:lnTo>
                  <a:lnTo>
                    <a:pt x="368" y="198"/>
                  </a:lnTo>
                  <a:lnTo>
                    <a:pt x="372" y="197"/>
                  </a:lnTo>
                  <a:lnTo>
                    <a:pt x="373" y="197"/>
                  </a:lnTo>
                  <a:lnTo>
                    <a:pt x="376" y="197"/>
                  </a:lnTo>
                  <a:lnTo>
                    <a:pt x="376" y="197"/>
                  </a:lnTo>
                  <a:lnTo>
                    <a:pt x="385" y="195"/>
                  </a:lnTo>
                  <a:lnTo>
                    <a:pt x="388" y="194"/>
                  </a:lnTo>
                  <a:lnTo>
                    <a:pt x="390" y="192"/>
                  </a:lnTo>
                  <a:lnTo>
                    <a:pt x="392" y="191"/>
                  </a:lnTo>
                  <a:lnTo>
                    <a:pt x="392" y="189"/>
                  </a:lnTo>
                  <a:lnTo>
                    <a:pt x="395" y="183"/>
                  </a:lnTo>
                  <a:lnTo>
                    <a:pt x="395" y="181"/>
                  </a:lnTo>
                  <a:lnTo>
                    <a:pt x="396" y="180"/>
                  </a:lnTo>
                  <a:lnTo>
                    <a:pt x="396" y="177"/>
                  </a:lnTo>
                  <a:lnTo>
                    <a:pt x="396" y="175"/>
                  </a:lnTo>
                  <a:lnTo>
                    <a:pt x="398" y="172"/>
                  </a:lnTo>
                  <a:lnTo>
                    <a:pt x="401" y="171"/>
                  </a:lnTo>
                  <a:lnTo>
                    <a:pt x="410" y="174"/>
                  </a:lnTo>
                  <a:lnTo>
                    <a:pt x="410" y="174"/>
                  </a:lnTo>
                  <a:lnTo>
                    <a:pt x="412" y="172"/>
                  </a:lnTo>
                  <a:lnTo>
                    <a:pt x="412" y="172"/>
                  </a:lnTo>
                  <a:lnTo>
                    <a:pt x="412" y="172"/>
                  </a:lnTo>
                  <a:lnTo>
                    <a:pt x="413" y="171"/>
                  </a:lnTo>
                  <a:lnTo>
                    <a:pt x="413" y="171"/>
                  </a:lnTo>
                  <a:lnTo>
                    <a:pt x="421" y="174"/>
                  </a:lnTo>
                  <a:lnTo>
                    <a:pt x="422" y="174"/>
                  </a:lnTo>
                  <a:lnTo>
                    <a:pt x="424" y="172"/>
                  </a:lnTo>
                  <a:lnTo>
                    <a:pt x="425" y="169"/>
                  </a:lnTo>
                  <a:lnTo>
                    <a:pt x="425" y="164"/>
                  </a:lnTo>
                  <a:lnTo>
                    <a:pt x="425" y="163"/>
                  </a:lnTo>
                  <a:lnTo>
                    <a:pt x="427" y="161"/>
                  </a:lnTo>
                  <a:lnTo>
                    <a:pt x="430" y="160"/>
                  </a:lnTo>
                  <a:lnTo>
                    <a:pt x="430" y="158"/>
                  </a:lnTo>
                  <a:lnTo>
                    <a:pt x="433" y="158"/>
                  </a:lnTo>
                  <a:lnTo>
                    <a:pt x="435" y="158"/>
                  </a:lnTo>
                  <a:lnTo>
                    <a:pt x="438" y="157"/>
                  </a:lnTo>
                  <a:lnTo>
                    <a:pt x="438" y="154"/>
                  </a:lnTo>
                  <a:lnTo>
                    <a:pt x="438" y="152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8"/>
            <p:cNvSpPr>
              <a:spLocks noEditPoints="1"/>
            </p:cNvSpPr>
            <p:nvPr/>
          </p:nvSpPr>
          <p:spPr bwMode="gray">
            <a:xfrm>
              <a:off x="8156575" y="5381626"/>
              <a:ext cx="695325" cy="527050"/>
            </a:xfrm>
            <a:custGeom>
              <a:avLst/>
              <a:gdLst>
                <a:gd name="T0" fmla="*/ 13 w 438"/>
                <a:gd name="T1" fmla="*/ 124 h 332"/>
                <a:gd name="T2" fmla="*/ 10 w 438"/>
                <a:gd name="T3" fmla="*/ 141 h 332"/>
                <a:gd name="T4" fmla="*/ 14 w 438"/>
                <a:gd name="T5" fmla="*/ 121 h 332"/>
                <a:gd name="T6" fmla="*/ 419 w 438"/>
                <a:gd name="T7" fmla="*/ 149 h 332"/>
                <a:gd name="T8" fmla="*/ 416 w 438"/>
                <a:gd name="T9" fmla="*/ 132 h 332"/>
                <a:gd name="T10" fmla="*/ 424 w 438"/>
                <a:gd name="T11" fmla="*/ 109 h 332"/>
                <a:gd name="T12" fmla="*/ 392 w 438"/>
                <a:gd name="T13" fmla="*/ 78 h 332"/>
                <a:gd name="T14" fmla="*/ 355 w 438"/>
                <a:gd name="T15" fmla="*/ 46 h 332"/>
                <a:gd name="T16" fmla="*/ 311 w 438"/>
                <a:gd name="T17" fmla="*/ 34 h 332"/>
                <a:gd name="T18" fmla="*/ 298 w 438"/>
                <a:gd name="T19" fmla="*/ 3 h 332"/>
                <a:gd name="T20" fmla="*/ 290 w 438"/>
                <a:gd name="T21" fmla="*/ 4 h 332"/>
                <a:gd name="T22" fmla="*/ 256 w 438"/>
                <a:gd name="T23" fmla="*/ 20 h 332"/>
                <a:gd name="T24" fmla="*/ 219 w 438"/>
                <a:gd name="T25" fmla="*/ 15 h 332"/>
                <a:gd name="T26" fmla="*/ 208 w 438"/>
                <a:gd name="T27" fmla="*/ 12 h 332"/>
                <a:gd name="T28" fmla="*/ 168 w 438"/>
                <a:gd name="T29" fmla="*/ 10 h 332"/>
                <a:gd name="T30" fmla="*/ 147 w 438"/>
                <a:gd name="T31" fmla="*/ 4 h 332"/>
                <a:gd name="T32" fmla="*/ 119 w 438"/>
                <a:gd name="T33" fmla="*/ 6 h 332"/>
                <a:gd name="T34" fmla="*/ 51 w 438"/>
                <a:gd name="T35" fmla="*/ 18 h 332"/>
                <a:gd name="T36" fmla="*/ 22 w 438"/>
                <a:gd name="T37" fmla="*/ 41 h 332"/>
                <a:gd name="T38" fmla="*/ 10 w 438"/>
                <a:gd name="T39" fmla="*/ 67 h 332"/>
                <a:gd name="T40" fmla="*/ 17 w 438"/>
                <a:gd name="T41" fmla="*/ 100 h 332"/>
                <a:gd name="T42" fmla="*/ 20 w 438"/>
                <a:gd name="T43" fmla="*/ 120 h 332"/>
                <a:gd name="T44" fmla="*/ 23 w 438"/>
                <a:gd name="T45" fmla="*/ 138 h 332"/>
                <a:gd name="T46" fmla="*/ 27 w 438"/>
                <a:gd name="T47" fmla="*/ 146 h 332"/>
                <a:gd name="T48" fmla="*/ 25 w 438"/>
                <a:gd name="T49" fmla="*/ 154 h 332"/>
                <a:gd name="T50" fmla="*/ 51 w 438"/>
                <a:gd name="T51" fmla="*/ 164 h 332"/>
                <a:gd name="T52" fmla="*/ 76 w 438"/>
                <a:gd name="T53" fmla="*/ 180 h 332"/>
                <a:gd name="T54" fmla="*/ 84 w 438"/>
                <a:gd name="T55" fmla="*/ 186 h 332"/>
                <a:gd name="T56" fmla="*/ 120 w 438"/>
                <a:gd name="T57" fmla="*/ 180 h 332"/>
                <a:gd name="T58" fmla="*/ 133 w 438"/>
                <a:gd name="T59" fmla="*/ 195 h 332"/>
                <a:gd name="T60" fmla="*/ 142 w 438"/>
                <a:gd name="T61" fmla="*/ 204 h 332"/>
                <a:gd name="T62" fmla="*/ 137 w 438"/>
                <a:gd name="T63" fmla="*/ 223 h 332"/>
                <a:gd name="T64" fmla="*/ 133 w 438"/>
                <a:gd name="T65" fmla="*/ 231 h 332"/>
                <a:gd name="T66" fmla="*/ 133 w 438"/>
                <a:gd name="T67" fmla="*/ 265 h 332"/>
                <a:gd name="T68" fmla="*/ 151 w 438"/>
                <a:gd name="T69" fmla="*/ 269 h 332"/>
                <a:gd name="T70" fmla="*/ 157 w 438"/>
                <a:gd name="T71" fmla="*/ 275 h 332"/>
                <a:gd name="T72" fmla="*/ 173 w 438"/>
                <a:gd name="T73" fmla="*/ 286 h 332"/>
                <a:gd name="T74" fmla="*/ 187 w 438"/>
                <a:gd name="T75" fmla="*/ 297 h 332"/>
                <a:gd name="T76" fmla="*/ 190 w 438"/>
                <a:gd name="T77" fmla="*/ 318 h 332"/>
                <a:gd name="T78" fmla="*/ 191 w 438"/>
                <a:gd name="T79" fmla="*/ 325 h 332"/>
                <a:gd name="T80" fmla="*/ 214 w 438"/>
                <a:gd name="T81" fmla="*/ 326 h 332"/>
                <a:gd name="T82" fmla="*/ 233 w 438"/>
                <a:gd name="T83" fmla="*/ 326 h 332"/>
                <a:gd name="T84" fmla="*/ 253 w 438"/>
                <a:gd name="T85" fmla="*/ 331 h 332"/>
                <a:gd name="T86" fmla="*/ 279 w 438"/>
                <a:gd name="T87" fmla="*/ 318 h 332"/>
                <a:gd name="T88" fmla="*/ 290 w 438"/>
                <a:gd name="T89" fmla="*/ 318 h 332"/>
                <a:gd name="T90" fmla="*/ 290 w 438"/>
                <a:gd name="T91" fmla="*/ 303 h 332"/>
                <a:gd name="T92" fmla="*/ 305 w 438"/>
                <a:gd name="T93" fmla="*/ 301 h 332"/>
                <a:gd name="T94" fmla="*/ 331 w 438"/>
                <a:gd name="T95" fmla="*/ 286 h 332"/>
                <a:gd name="T96" fmla="*/ 342 w 438"/>
                <a:gd name="T97" fmla="*/ 289 h 332"/>
                <a:gd name="T98" fmla="*/ 342 w 438"/>
                <a:gd name="T99" fmla="*/ 300 h 332"/>
                <a:gd name="T100" fmla="*/ 361 w 438"/>
                <a:gd name="T101" fmla="*/ 298 h 332"/>
                <a:gd name="T102" fmla="*/ 361 w 438"/>
                <a:gd name="T103" fmla="*/ 286 h 332"/>
                <a:gd name="T104" fmla="*/ 356 w 438"/>
                <a:gd name="T105" fmla="*/ 280 h 332"/>
                <a:gd name="T106" fmla="*/ 344 w 438"/>
                <a:gd name="T107" fmla="*/ 274 h 332"/>
                <a:gd name="T108" fmla="*/ 356 w 438"/>
                <a:gd name="T109" fmla="*/ 249 h 332"/>
                <a:gd name="T110" fmla="*/ 358 w 438"/>
                <a:gd name="T111" fmla="*/ 229 h 332"/>
                <a:gd name="T112" fmla="*/ 362 w 438"/>
                <a:gd name="T113" fmla="*/ 215 h 332"/>
                <a:gd name="T114" fmla="*/ 367 w 438"/>
                <a:gd name="T115" fmla="*/ 200 h 332"/>
                <a:gd name="T116" fmla="*/ 388 w 438"/>
                <a:gd name="T117" fmla="*/ 194 h 332"/>
                <a:gd name="T118" fmla="*/ 398 w 438"/>
                <a:gd name="T119" fmla="*/ 172 h 332"/>
                <a:gd name="T120" fmla="*/ 421 w 438"/>
                <a:gd name="T121" fmla="*/ 174 h 332"/>
                <a:gd name="T122" fmla="*/ 433 w 438"/>
                <a:gd name="T123" fmla="*/ 158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8" h="332">
                  <a:moveTo>
                    <a:pt x="14" y="98"/>
                  </a:moveTo>
                  <a:lnTo>
                    <a:pt x="13" y="95"/>
                  </a:lnTo>
                  <a:lnTo>
                    <a:pt x="13" y="98"/>
                  </a:lnTo>
                  <a:lnTo>
                    <a:pt x="13" y="107"/>
                  </a:lnTo>
                  <a:lnTo>
                    <a:pt x="14" y="111"/>
                  </a:lnTo>
                  <a:lnTo>
                    <a:pt x="13" y="111"/>
                  </a:lnTo>
                  <a:lnTo>
                    <a:pt x="14" y="112"/>
                  </a:lnTo>
                  <a:lnTo>
                    <a:pt x="13" y="114"/>
                  </a:lnTo>
                  <a:lnTo>
                    <a:pt x="13" y="124"/>
                  </a:lnTo>
                  <a:lnTo>
                    <a:pt x="10" y="135"/>
                  </a:lnTo>
                  <a:lnTo>
                    <a:pt x="7" y="143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10" y="148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1" y="138"/>
                  </a:lnTo>
                  <a:lnTo>
                    <a:pt x="13" y="137"/>
                  </a:lnTo>
                  <a:lnTo>
                    <a:pt x="14" y="135"/>
                  </a:lnTo>
                  <a:lnTo>
                    <a:pt x="14" y="134"/>
                  </a:lnTo>
                  <a:lnTo>
                    <a:pt x="13" y="132"/>
                  </a:lnTo>
                  <a:lnTo>
                    <a:pt x="13" y="131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4" y="121"/>
                  </a:lnTo>
                  <a:lnTo>
                    <a:pt x="16" y="120"/>
                  </a:lnTo>
                  <a:lnTo>
                    <a:pt x="16" y="117"/>
                  </a:lnTo>
                  <a:lnTo>
                    <a:pt x="16" y="115"/>
                  </a:lnTo>
                  <a:lnTo>
                    <a:pt x="16" y="104"/>
                  </a:lnTo>
                  <a:lnTo>
                    <a:pt x="14" y="98"/>
                  </a:lnTo>
                  <a:close/>
                  <a:moveTo>
                    <a:pt x="438" y="152"/>
                  </a:moveTo>
                  <a:lnTo>
                    <a:pt x="436" y="151"/>
                  </a:lnTo>
                  <a:lnTo>
                    <a:pt x="424" y="149"/>
                  </a:lnTo>
                  <a:lnTo>
                    <a:pt x="419" y="149"/>
                  </a:lnTo>
                  <a:lnTo>
                    <a:pt x="418" y="149"/>
                  </a:lnTo>
                  <a:lnTo>
                    <a:pt x="413" y="148"/>
                  </a:lnTo>
                  <a:lnTo>
                    <a:pt x="412" y="148"/>
                  </a:lnTo>
                  <a:lnTo>
                    <a:pt x="412" y="146"/>
                  </a:lnTo>
                  <a:lnTo>
                    <a:pt x="412" y="143"/>
                  </a:lnTo>
                  <a:lnTo>
                    <a:pt x="415" y="140"/>
                  </a:lnTo>
                  <a:lnTo>
                    <a:pt x="415" y="138"/>
                  </a:lnTo>
                  <a:lnTo>
                    <a:pt x="416" y="134"/>
                  </a:lnTo>
                  <a:lnTo>
                    <a:pt x="416" y="132"/>
                  </a:lnTo>
                  <a:lnTo>
                    <a:pt x="419" y="131"/>
                  </a:lnTo>
                  <a:lnTo>
                    <a:pt x="419" y="129"/>
                  </a:lnTo>
                  <a:lnTo>
                    <a:pt x="418" y="126"/>
                  </a:lnTo>
                  <a:lnTo>
                    <a:pt x="418" y="123"/>
                  </a:lnTo>
                  <a:lnTo>
                    <a:pt x="419" y="120"/>
                  </a:lnTo>
                  <a:lnTo>
                    <a:pt x="421" y="118"/>
                  </a:lnTo>
                  <a:lnTo>
                    <a:pt x="422" y="115"/>
                  </a:lnTo>
                  <a:lnTo>
                    <a:pt x="424" y="112"/>
                  </a:lnTo>
                  <a:lnTo>
                    <a:pt x="424" y="109"/>
                  </a:lnTo>
                  <a:lnTo>
                    <a:pt x="424" y="106"/>
                  </a:lnTo>
                  <a:lnTo>
                    <a:pt x="422" y="103"/>
                  </a:lnTo>
                  <a:lnTo>
                    <a:pt x="418" y="103"/>
                  </a:lnTo>
                  <a:lnTo>
                    <a:pt x="415" y="101"/>
                  </a:lnTo>
                  <a:lnTo>
                    <a:pt x="404" y="97"/>
                  </a:lnTo>
                  <a:lnTo>
                    <a:pt x="399" y="92"/>
                  </a:lnTo>
                  <a:lnTo>
                    <a:pt x="395" y="86"/>
                  </a:lnTo>
                  <a:lnTo>
                    <a:pt x="393" y="81"/>
                  </a:lnTo>
                  <a:lnTo>
                    <a:pt x="392" y="78"/>
                  </a:lnTo>
                  <a:lnTo>
                    <a:pt x="384" y="72"/>
                  </a:lnTo>
                  <a:lnTo>
                    <a:pt x="379" y="67"/>
                  </a:lnTo>
                  <a:lnTo>
                    <a:pt x="376" y="64"/>
                  </a:lnTo>
                  <a:lnTo>
                    <a:pt x="368" y="60"/>
                  </a:lnTo>
                  <a:lnTo>
                    <a:pt x="362" y="54"/>
                  </a:lnTo>
                  <a:lnTo>
                    <a:pt x="361" y="50"/>
                  </a:lnTo>
                  <a:lnTo>
                    <a:pt x="356" y="47"/>
                  </a:lnTo>
                  <a:lnTo>
                    <a:pt x="356" y="47"/>
                  </a:lnTo>
                  <a:lnTo>
                    <a:pt x="355" y="46"/>
                  </a:lnTo>
                  <a:lnTo>
                    <a:pt x="353" y="41"/>
                  </a:lnTo>
                  <a:lnTo>
                    <a:pt x="353" y="40"/>
                  </a:lnTo>
                  <a:lnTo>
                    <a:pt x="352" y="40"/>
                  </a:lnTo>
                  <a:lnTo>
                    <a:pt x="348" y="40"/>
                  </a:lnTo>
                  <a:lnTo>
                    <a:pt x="347" y="40"/>
                  </a:lnTo>
                  <a:lnTo>
                    <a:pt x="342" y="38"/>
                  </a:lnTo>
                  <a:lnTo>
                    <a:pt x="338" y="38"/>
                  </a:lnTo>
                  <a:lnTo>
                    <a:pt x="330" y="37"/>
                  </a:lnTo>
                  <a:lnTo>
                    <a:pt x="311" y="34"/>
                  </a:lnTo>
                  <a:lnTo>
                    <a:pt x="310" y="32"/>
                  </a:lnTo>
                  <a:lnTo>
                    <a:pt x="307" y="29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2" y="20"/>
                  </a:lnTo>
                  <a:lnTo>
                    <a:pt x="302" y="18"/>
                  </a:lnTo>
                  <a:lnTo>
                    <a:pt x="301" y="17"/>
                  </a:lnTo>
                  <a:lnTo>
                    <a:pt x="299" y="7"/>
                  </a:lnTo>
                  <a:lnTo>
                    <a:pt x="298" y="3"/>
                  </a:lnTo>
                  <a:lnTo>
                    <a:pt x="296" y="0"/>
                  </a:lnTo>
                  <a:lnTo>
                    <a:pt x="295" y="0"/>
                  </a:lnTo>
                  <a:lnTo>
                    <a:pt x="293" y="1"/>
                  </a:lnTo>
                  <a:lnTo>
                    <a:pt x="293" y="1"/>
                  </a:lnTo>
                  <a:lnTo>
                    <a:pt x="293" y="3"/>
                  </a:lnTo>
                  <a:lnTo>
                    <a:pt x="293" y="4"/>
                  </a:lnTo>
                  <a:lnTo>
                    <a:pt x="291" y="4"/>
                  </a:lnTo>
                  <a:lnTo>
                    <a:pt x="290" y="4"/>
                  </a:lnTo>
                  <a:lnTo>
                    <a:pt x="290" y="4"/>
                  </a:lnTo>
                  <a:lnTo>
                    <a:pt x="282" y="7"/>
                  </a:lnTo>
                  <a:lnTo>
                    <a:pt x="281" y="9"/>
                  </a:lnTo>
                  <a:lnTo>
                    <a:pt x="278" y="10"/>
                  </a:lnTo>
                  <a:lnTo>
                    <a:pt x="271" y="18"/>
                  </a:lnTo>
                  <a:lnTo>
                    <a:pt x="270" y="20"/>
                  </a:lnTo>
                  <a:lnTo>
                    <a:pt x="265" y="23"/>
                  </a:lnTo>
                  <a:lnTo>
                    <a:pt x="262" y="24"/>
                  </a:lnTo>
                  <a:lnTo>
                    <a:pt x="261" y="23"/>
                  </a:lnTo>
                  <a:lnTo>
                    <a:pt x="256" y="20"/>
                  </a:lnTo>
                  <a:lnTo>
                    <a:pt x="253" y="18"/>
                  </a:lnTo>
                  <a:lnTo>
                    <a:pt x="251" y="20"/>
                  </a:lnTo>
                  <a:lnTo>
                    <a:pt x="242" y="24"/>
                  </a:lnTo>
                  <a:lnTo>
                    <a:pt x="239" y="24"/>
                  </a:lnTo>
                  <a:lnTo>
                    <a:pt x="239" y="24"/>
                  </a:lnTo>
                  <a:lnTo>
                    <a:pt x="238" y="24"/>
                  </a:lnTo>
                  <a:lnTo>
                    <a:pt x="234" y="23"/>
                  </a:lnTo>
                  <a:lnTo>
                    <a:pt x="228" y="17"/>
                  </a:lnTo>
                  <a:lnTo>
                    <a:pt x="219" y="15"/>
                  </a:lnTo>
                  <a:lnTo>
                    <a:pt x="219" y="14"/>
                  </a:lnTo>
                  <a:lnTo>
                    <a:pt x="216" y="14"/>
                  </a:lnTo>
                  <a:lnTo>
                    <a:pt x="211" y="15"/>
                  </a:lnTo>
                  <a:lnTo>
                    <a:pt x="208" y="15"/>
                  </a:lnTo>
                  <a:lnTo>
                    <a:pt x="208" y="15"/>
                  </a:lnTo>
                  <a:lnTo>
                    <a:pt x="208" y="14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5" y="12"/>
                  </a:lnTo>
                  <a:lnTo>
                    <a:pt x="201" y="12"/>
                  </a:lnTo>
                  <a:lnTo>
                    <a:pt x="197" y="12"/>
                  </a:lnTo>
                  <a:lnTo>
                    <a:pt x="193" y="15"/>
                  </a:lnTo>
                  <a:lnTo>
                    <a:pt x="191" y="15"/>
                  </a:lnTo>
                  <a:lnTo>
                    <a:pt x="184" y="12"/>
                  </a:lnTo>
                  <a:lnTo>
                    <a:pt x="177" y="9"/>
                  </a:lnTo>
                  <a:lnTo>
                    <a:pt x="176" y="9"/>
                  </a:lnTo>
                  <a:lnTo>
                    <a:pt x="168" y="10"/>
                  </a:lnTo>
                  <a:lnTo>
                    <a:pt x="167" y="12"/>
                  </a:lnTo>
                  <a:lnTo>
                    <a:pt x="167" y="14"/>
                  </a:lnTo>
                  <a:lnTo>
                    <a:pt x="164" y="17"/>
                  </a:lnTo>
                  <a:lnTo>
                    <a:pt x="159" y="18"/>
                  </a:lnTo>
                  <a:lnTo>
                    <a:pt x="156" y="15"/>
                  </a:lnTo>
                  <a:lnTo>
                    <a:pt x="153" y="9"/>
                  </a:lnTo>
                  <a:lnTo>
                    <a:pt x="151" y="4"/>
                  </a:lnTo>
                  <a:lnTo>
                    <a:pt x="150" y="4"/>
                  </a:lnTo>
                  <a:lnTo>
                    <a:pt x="147" y="4"/>
                  </a:lnTo>
                  <a:lnTo>
                    <a:pt x="145" y="6"/>
                  </a:lnTo>
                  <a:lnTo>
                    <a:pt x="142" y="7"/>
                  </a:lnTo>
                  <a:lnTo>
                    <a:pt x="131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5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19" y="6"/>
                  </a:lnTo>
                  <a:lnTo>
                    <a:pt x="96" y="6"/>
                  </a:lnTo>
                  <a:lnTo>
                    <a:pt x="94" y="6"/>
                  </a:lnTo>
                  <a:lnTo>
                    <a:pt x="93" y="4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79" y="7"/>
                  </a:lnTo>
                  <a:lnTo>
                    <a:pt x="77" y="7"/>
                  </a:lnTo>
                  <a:lnTo>
                    <a:pt x="57" y="17"/>
                  </a:lnTo>
                  <a:lnTo>
                    <a:pt x="51" y="18"/>
                  </a:lnTo>
                  <a:lnTo>
                    <a:pt x="48" y="20"/>
                  </a:lnTo>
                  <a:lnTo>
                    <a:pt x="37" y="27"/>
                  </a:lnTo>
                  <a:lnTo>
                    <a:pt x="36" y="27"/>
                  </a:lnTo>
                  <a:lnTo>
                    <a:pt x="33" y="27"/>
                  </a:lnTo>
                  <a:lnTo>
                    <a:pt x="31" y="29"/>
                  </a:lnTo>
                  <a:lnTo>
                    <a:pt x="28" y="30"/>
                  </a:lnTo>
                  <a:lnTo>
                    <a:pt x="25" y="34"/>
                  </a:lnTo>
                  <a:lnTo>
                    <a:pt x="23" y="37"/>
                  </a:lnTo>
                  <a:lnTo>
                    <a:pt x="22" y="41"/>
                  </a:lnTo>
                  <a:lnTo>
                    <a:pt x="22" y="44"/>
                  </a:lnTo>
                  <a:lnTo>
                    <a:pt x="20" y="47"/>
                  </a:lnTo>
                  <a:lnTo>
                    <a:pt x="17" y="49"/>
                  </a:lnTo>
                  <a:lnTo>
                    <a:pt x="13" y="49"/>
                  </a:lnTo>
                  <a:lnTo>
                    <a:pt x="10" y="49"/>
                  </a:lnTo>
                  <a:lnTo>
                    <a:pt x="11" y="54"/>
                  </a:lnTo>
                  <a:lnTo>
                    <a:pt x="11" y="64"/>
                  </a:lnTo>
                  <a:lnTo>
                    <a:pt x="10" y="66"/>
                  </a:lnTo>
                  <a:lnTo>
                    <a:pt x="10" y="67"/>
                  </a:lnTo>
                  <a:lnTo>
                    <a:pt x="10" y="69"/>
                  </a:lnTo>
                  <a:lnTo>
                    <a:pt x="10" y="75"/>
                  </a:lnTo>
                  <a:lnTo>
                    <a:pt x="11" y="86"/>
                  </a:lnTo>
                  <a:lnTo>
                    <a:pt x="11" y="89"/>
                  </a:lnTo>
                  <a:lnTo>
                    <a:pt x="11" y="92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5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20" y="114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20" y="120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3" y="123"/>
                  </a:lnTo>
                  <a:lnTo>
                    <a:pt x="23" y="127"/>
                  </a:lnTo>
                  <a:lnTo>
                    <a:pt x="25" y="132"/>
                  </a:lnTo>
                  <a:lnTo>
                    <a:pt x="25" y="135"/>
                  </a:lnTo>
                  <a:lnTo>
                    <a:pt x="23" y="137"/>
                  </a:lnTo>
                  <a:lnTo>
                    <a:pt x="23" y="138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6"/>
                  </a:lnTo>
                  <a:lnTo>
                    <a:pt x="25" y="141"/>
                  </a:lnTo>
                  <a:lnTo>
                    <a:pt x="25" y="141"/>
                  </a:lnTo>
                  <a:lnTo>
                    <a:pt x="25" y="144"/>
                  </a:lnTo>
                  <a:lnTo>
                    <a:pt x="25" y="146"/>
                  </a:lnTo>
                  <a:lnTo>
                    <a:pt x="27" y="146"/>
                  </a:lnTo>
                  <a:lnTo>
                    <a:pt x="27" y="148"/>
                  </a:lnTo>
                  <a:lnTo>
                    <a:pt x="27" y="149"/>
                  </a:lnTo>
                  <a:lnTo>
                    <a:pt x="28" y="151"/>
                  </a:lnTo>
                  <a:lnTo>
                    <a:pt x="28" y="151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4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33" y="152"/>
                  </a:lnTo>
                  <a:lnTo>
                    <a:pt x="34" y="152"/>
                  </a:lnTo>
                  <a:lnTo>
                    <a:pt x="36" y="154"/>
                  </a:lnTo>
                  <a:lnTo>
                    <a:pt x="40" y="163"/>
                  </a:lnTo>
                  <a:lnTo>
                    <a:pt x="43" y="164"/>
                  </a:lnTo>
                  <a:lnTo>
                    <a:pt x="51" y="164"/>
                  </a:lnTo>
                  <a:lnTo>
                    <a:pt x="54" y="166"/>
                  </a:lnTo>
                  <a:lnTo>
                    <a:pt x="59" y="171"/>
                  </a:lnTo>
                  <a:lnTo>
                    <a:pt x="60" y="172"/>
                  </a:lnTo>
                  <a:lnTo>
                    <a:pt x="62" y="174"/>
                  </a:lnTo>
                  <a:lnTo>
                    <a:pt x="67" y="174"/>
                  </a:lnTo>
                  <a:lnTo>
                    <a:pt x="70" y="177"/>
                  </a:lnTo>
                  <a:lnTo>
                    <a:pt x="71" y="177"/>
                  </a:lnTo>
                  <a:lnTo>
                    <a:pt x="74" y="178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7" y="180"/>
                  </a:lnTo>
                  <a:lnTo>
                    <a:pt x="79" y="178"/>
                  </a:lnTo>
                  <a:lnTo>
                    <a:pt x="80" y="178"/>
                  </a:lnTo>
                  <a:lnTo>
                    <a:pt x="82" y="178"/>
                  </a:lnTo>
                  <a:lnTo>
                    <a:pt x="82" y="180"/>
                  </a:lnTo>
                  <a:lnTo>
                    <a:pt x="82" y="181"/>
                  </a:lnTo>
                  <a:lnTo>
                    <a:pt x="82" y="184"/>
                  </a:lnTo>
                  <a:lnTo>
                    <a:pt x="84" y="186"/>
                  </a:lnTo>
                  <a:lnTo>
                    <a:pt x="87" y="186"/>
                  </a:lnTo>
                  <a:lnTo>
                    <a:pt x="88" y="186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1" y="183"/>
                  </a:lnTo>
                  <a:lnTo>
                    <a:pt x="99" y="180"/>
                  </a:lnTo>
                  <a:lnTo>
                    <a:pt x="100" y="181"/>
                  </a:lnTo>
                  <a:lnTo>
                    <a:pt x="113" y="183"/>
                  </a:lnTo>
                  <a:lnTo>
                    <a:pt x="120" y="180"/>
                  </a:lnTo>
                  <a:lnTo>
                    <a:pt x="122" y="181"/>
                  </a:lnTo>
                  <a:lnTo>
                    <a:pt x="124" y="181"/>
                  </a:lnTo>
                  <a:lnTo>
                    <a:pt x="124" y="183"/>
                  </a:lnTo>
                  <a:lnTo>
                    <a:pt x="125" y="184"/>
                  </a:lnTo>
                  <a:lnTo>
                    <a:pt x="125" y="191"/>
                  </a:lnTo>
                  <a:lnTo>
                    <a:pt x="127" y="194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6" y="200"/>
                  </a:lnTo>
                  <a:lnTo>
                    <a:pt x="136" y="201"/>
                  </a:lnTo>
                  <a:lnTo>
                    <a:pt x="141" y="203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4" y="217"/>
                  </a:lnTo>
                  <a:lnTo>
                    <a:pt x="142" y="218"/>
                  </a:lnTo>
                  <a:lnTo>
                    <a:pt x="142" y="220"/>
                  </a:lnTo>
                  <a:lnTo>
                    <a:pt x="139" y="221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6" y="224"/>
                  </a:lnTo>
                  <a:lnTo>
                    <a:pt x="136" y="224"/>
                  </a:lnTo>
                  <a:lnTo>
                    <a:pt x="134" y="224"/>
                  </a:lnTo>
                  <a:lnTo>
                    <a:pt x="134" y="226"/>
                  </a:lnTo>
                  <a:lnTo>
                    <a:pt x="134" y="226"/>
                  </a:lnTo>
                  <a:lnTo>
                    <a:pt x="134" y="226"/>
                  </a:lnTo>
                  <a:lnTo>
                    <a:pt x="134" y="228"/>
                  </a:lnTo>
                  <a:lnTo>
                    <a:pt x="134" y="228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2"/>
                  </a:lnTo>
                  <a:lnTo>
                    <a:pt x="133" y="235"/>
                  </a:lnTo>
                  <a:lnTo>
                    <a:pt x="133" y="237"/>
                  </a:lnTo>
                  <a:lnTo>
                    <a:pt x="133" y="238"/>
                  </a:lnTo>
                  <a:lnTo>
                    <a:pt x="131" y="245"/>
                  </a:lnTo>
                  <a:lnTo>
                    <a:pt x="131" y="255"/>
                  </a:lnTo>
                  <a:lnTo>
                    <a:pt x="131" y="260"/>
                  </a:lnTo>
                  <a:lnTo>
                    <a:pt x="133" y="265"/>
                  </a:lnTo>
                  <a:lnTo>
                    <a:pt x="137" y="272"/>
                  </a:lnTo>
                  <a:lnTo>
                    <a:pt x="139" y="271"/>
                  </a:lnTo>
                  <a:lnTo>
                    <a:pt x="141" y="268"/>
                  </a:lnTo>
                  <a:lnTo>
                    <a:pt x="141" y="268"/>
                  </a:lnTo>
                  <a:lnTo>
                    <a:pt x="144" y="266"/>
                  </a:lnTo>
                  <a:lnTo>
                    <a:pt x="145" y="268"/>
                  </a:lnTo>
                  <a:lnTo>
                    <a:pt x="148" y="269"/>
                  </a:lnTo>
                  <a:lnTo>
                    <a:pt x="150" y="269"/>
                  </a:lnTo>
                  <a:lnTo>
                    <a:pt x="151" y="269"/>
                  </a:lnTo>
                  <a:lnTo>
                    <a:pt x="153" y="269"/>
                  </a:lnTo>
                  <a:lnTo>
                    <a:pt x="153" y="271"/>
                  </a:lnTo>
                  <a:lnTo>
                    <a:pt x="153" y="271"/>
                  </a:lnTo>
                  <a:lnTo>
                    <a:pt x="154" y="272"/>
                  </a:lnTo>
                  <a:lnTo>
                    <a:pt x="154" y="272"/>
                  </a:lnTo>
                  <a:lnTo>
                    <a:pt x="154" y="274"/>
                  </a:lnTo>
                  <a:lnTo>
                    <a:pt x="157" y="274"/>
                  </a:lnTo>
                  <a:lnTo>
                    <a:pt x="157" y="274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8"/>
                  </a:lnTo>
                  <a:lnTo>
                    <a:pt x="159" y="280"/>
                  </a:lnTo>
                  <a:lnTo>
                    <a:pt x="161" y="280"/>
                  </a:lnTo>
                  <a:lnTo>
                    <a:pt x="162" y="280"/>
                  </a:lnTo>
                  <a:lnTo>
                    <a:pt x="164" y="280"/>
                  </a:lnTo>
                  <a:lnTo>
                    <a:pt x="165" y="280"/>
                  </a:lnTo>
                  <a:lnTo>
                    <a:pt x="170" y="283"/>
                  </a:lnTo>
                  <a:lnTo>
                    <a:pt x="173" y="286"/>
                  </a:lnTo>
                  <a:lnTo>
                    <a:pt x="179" y="288"/>
                  </a:lnTo>
                  <a:lnTo>
                    <a:pt x="181" y="289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4"/>
                  </a:lnTo>
                  <a:lnTo>
                    <a:pt x="184" y="295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7" y="297"/>
                  </a:lnTo>
                  <a:lnTo>
                    <a:pt x="188" y="298"/>
                  </a:lnTo>
                  <a:lnTo>
                    <a:pt x="190" y="300"/>
                  </a:lnTo>
                  <a:lnTo>
                    <a:pt x="190" y="303"/>
                  </a:lnTo>
                  <a:lnTo>
                    <a:pt x="191" y="306"/>
                  </a:lnTo>
                  <a:lnTo>
                    <a:pt x="191" y="312"/>
                  </a:lnTo>
                  <a:lnTo>
                    <a:pt x="191" y="315"/>
                  </a:lnTo>
                  <a:lnTo>
                    <a:pt x="191" y="317"/>
                  </a:lnTo>
                  <a:lnTo>
                    <a:pt x="190" y="317"/>
                  </a:lnTo>
                  <a:lnTo>
                    <a:pt x="190" y="318"/>
                  </a:lnTo>
                  <a:lnTo>
                    <a:pt x="190" y="318"/>
                  </a:lnTo>
                  <a:lnTo>
                    <a:pt x="190" y="320"/>
                  </a:lnTo>
                  <a:lnTo>
                    <a:pt x="190" y="322"/>
                  </a:lnTo>
                  <a:lnTo>
                    <a:pt x="190" y="322"/>
                  </a:lnTo>
                  <a:lnTo>
                    <a:pt x="191" y="323"/>
                  </a:lnTo>
                  <a:lnTo>
                    <a:pt x="191" y="323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4" y="326"/>
                  </a:lnTo>
                  <a:lnTo>
                    <a:pt x="201" y="331"/>
                  </a:lnTo>
                  <a:lnTo>
                    <a:pt x="202" y="331"/>
                  </a:lnTo>
                  <a:lnTo>
                    <a:pt x="202" y="331"/>
                  </a:lnTo>
                  <a:lnTo>
                    <a:pt x="207" y="329"/>
                  </a:lnTo>
                  <a:lnTo>
                    <a:pt x="211" y="328"/>
                  </a:lnTo>
                  <a:lnTo>
                    <a:pt x="213" y="328"/>
                  </a:lnTo>
                  <a:lnTo>
                    <a:pt x="213" y="326"/>
                  </a:lnTo>
                  <a:lnTo>
                    <a:pt x="214" y="326"/>
                  </a:lnTo>
                  <a:lnTo>
                    <a:pt x="216" y="328"/>
                  </a:lnTo>
                  <a:lnTo>
                    <a:pt x="216" y="328"/>
                  </a:lnTo>
                  <a:lnTo>
                    <a:pt x="216" y="328"/>
                  </a:lnTo>
                  <a:lnTo>
                    <a:pt x="222" y="325"/>
                  </a:lnTo>
                  <a:lnTo>
                    <a:pt x="224" y="325"/>
                  </a:lnTo>
                  <a:lnTo>
                    <a:pt x="225" y="325"/>
                  </a:lnTo>
                  <a:lnTo>
                    <a:pt x="227" y="326"/>
                  </a:lnTo>
                  <a:lnTo>
                    <a:pt x="228" y="326"/>
                  </a:lnTo>
                  <a:lnTo>
                    <a:pt x="233" y="326"/>
                  </a:lnTo>
                  <a:lnTo>
                    <a:pt x="234" y="326"/>
                  </a:lnTo>
                  <a:lnTo>
                    <a:pt x="239" y="323"/>
                  </a:lnTo>
                  <a:lnTo>
                    <a:pt x="242" y="323"/>
                  </a:lnTo>
                  <a:lnTo>
                    <a:pt x="244" y="323"/>
                  </a:lnTo>
                  <a:lnTo>
                    <a:pt x="247" y="326"/>
                  </a:lnTo>
                  <a:lnTo>
                    <a:pt x="248" y="329"/>
                  </a:lnTo>
                  <a:lnTo>
                    <a:pt x="248" y="331"/>
                  </a:lnTo>
                  <a:lnTo>
                    <a:pt x="250" y="331"/>
                  </a:lnTo>
                  <a:lnTo>
                    <a:pt x="253" y="331"/>
                  </a:lnTo>
                  <a:lnTo>
                    <a:pt x="254" y="332"/>
                  </a:lnTo>
                  <a:lnTo>
                    <a:pt x="258" y="332"/>
                  </a:lnTo>
                  <a:lnTo>
                    <a:pt x="261" y="331"/>
                  </a:lnTo>
                  <a:lnTo>
                    <a:pt x="268" y="323"/>
                  </a:lnTo>
                  <a:lnTo>
                    <a:pt x="273" y="322"/>
                  </a:lnTo>
                  <a:lnTo>
                    <a:pt x="278" y="320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79" y="318"/>
                  </a:lnTo>
                  <a:lnTo>
                    <a:pt x="281" y="322"/>
                  </a:lnTo>
                  <a:lnTo>
                    <a:pt x="282" y="322"/>
                  </a:lnTo>
                  <a:lnTo>
                    <a:pt x="284" y="323"/>
                  </a:lnTo>
                  <a:lnTo>
                    <a:pt x="288" y="322"/>
                  </a:lnTo>
                  <a:lnTo>
                    <a:pt x="290" y="322"/>
                  </a:lnTo>
                  <a:lnTo>
                    <a:pt x="290" y="318"/>
                  </a:lnTo>
                  <a:lnTo>
                    <a:pt x="290" y="318"/>
                  </a:lnTo>
                  <a:lnTo>
                    <a:pt x="290" y="318"/>
                  </a:lnTo>
                  <a:lnTo>
                    <a:pt x="290" y="315"/>
                  </a:lnTo>
                  <a:lnTo>
                    <a:pt x="290" y="312"/>
                  </a:lnTo>
                  <a:lnTo>
                    <a:pt x="288" y="311"/>
                  </a:lnTo>
                  <a:lnTo>
                    <a:pt x="288" y="308"/>
                  </a:lnTo>
                  <a:lnTo>
                    <a:pt x="288" y="306"/>
                  </a:lnTo>
                  <a:lnTo>
                    <a:pt x="288" y="306"/>
                  </a:lnTo>
                  <a:lnTo>
                    <a:pt x="288" y="306"/>
                  </a:lnTo>
                  <a:lnTo>
                    <a:pt x="288" y="305"/>
                  </a:lnTo>
                  <a:lnTo>
                    <a:pt x="290" y="303"/>
                  </a:lnTo>
                  <a:lnTo>
                    <a:pt x="290" y="303"/>
                  </a:lnTo>
                  <a:lnTo>
                    <a:pt x="290" y="303"/>
                  </a:lnTo>
                  <a:lnTo>
                    <a:pt x="290" y="301"/>
                  </a:lnTo>
                  <a:lnTo>
                    <a:pt x="290" y="300"/>
                  </a:lnTo>
                  <a:lnTo>
                    <a:pt x="293" y="300"/>
                  </a:lnTo>
                  <a:lnTo>
                    <a:pt x="293" y="298"/>
                  </a:lnTo>
                  <a:lnTo>
                    <a:pt x="296" y="298"/>
                  </a:lnTo>
                  <a:lnTo>
                    <a:pt x="301" y="300"/>
                  </a:lnTo>
                  <a:lnTo>
                    <a:pt x="305" y="301"/>
                  </a:lnTo>
                  <a:lnTo>
                    <a:pt x="310" y="301"/>
                  </a:lnTo>
                  <a:lnTo>
                    <a:pt x="313" y="298"/>
                  </a:lnTo>
                  <a:lnTo>
                    <a:pt x="316" y="295"/>
                  </a:lnTo>
                  <a:lnTo>
                    <a:pt x="316" y="292"/>
                  </a:lnTo>
                  <a:lnTo>
                    <a:pt x="318" y="286"/>
                  </a:lnTo>
                  <a:lnTo>
                    <a:pt x="319" y="285"/>
                  </a:lnTo>
                  <a:lnTo>
                    <a:pt x="321" y="285"/>
                  </a:lnTo>
                  <a:lnTo>
                    <a:pt x="325" y="286"/>
                  </a:lnTo>
                  <a:lnTo>
                    <a:pt x="331" y="286"/>
                  </a:lnTo>
                  <a:lnTo>
                    <a:pt x="333" y="285"/>
                  </a:lnTo>
                  <a:lnTo>
                    <a:pt x="336" y="280"/>
                  </a:lnTo>
                  <a:lnTo>
                    <a:pt x="338" y="280"/>
                  </a:lnTo>
                  <a:lnTo>
                    <a:pt x="339" y="280"/>
                  </a:lnTo>
                  <a:lnTo>
                    <a:pt x="339" y="280"/>
                  </a:lnTo>
                  <a:lnTo>
                    <a:pt x="339" y="281"/>
                  </a:lnTo>
                  <a:lnTo>
                    <a:pt x="345" y="288"/>
                  </a:lnTo>
                  <a:lnTo>
                    <a:pt x="344" y="289"/>
                  </a:lnTo>
                  <a:lnTo>
                    <a:pt x="342" y="289"/>
                  </a:lnTo>
                  <a:lnTo>
                    <a:pt x="341" y="289"/>
                  </a:lnTo>
                  <a:lnTo>
                    <a:pt x="341" y="291"/>
                  </a:lnTo>
                  <a:lnTo>
                    <a:pt x="342" y="292"/>
                  </a:lnTo>
                  <a:lnTo>
                    <a:pt x="344" y="292"/>
                  </a:lnTo>
                  <a:lnTo>
                    <a:pt x="342" y="294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98"/>
                  </a:lnTo>
                  <a:lnTo>
                    <a:pt x="342" y="300"/>
                  </a:lnTo>
                  <a:lnTo>
                    <a:pt x="344" y="300"/>
                  </a:lnTo>
                  <a:lnTo>
                    <a:pt x="352" y="301"/>
                  </a:lnTo>
                  <a:lnTo>
                    <a:pt x="353" y="301"/>
                  </a:lnTo>
                  <a:lnTo>
                    <a:pt x="353" y="301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8" y="300"/>
                  </a:lnTo>
                  <a:lnTo>
                    <a:pt x="359" y="298"/>
                  </a:lnTo>
                  <a:lnTo>
                    <a:pt x="361" y="298"/>
                  </a:lnTo>
                  <a:lnTo>
                    <a:pt x="361" y="295"/>
                  </a:lnTo>
                  <a:lnTo>
                    <a:pt x="361" y="291"/>
                  </a:lnTo>
                  <a:lnTo>
                    <a:pt x="362" y="289"/>
                  </a:lnTo>
                  <a:lnTo>
                    <a:pt x="362" y="288"/>
                  </a:lnTo>
                  <a:lnTo>
                    <a:pt x="362" y="288"/>
                  </a:lnTo>
                  <a:lnTo>
                    <a:pt x="362" y="288"/>
                  </a:lnTo>
                  <a:lnTo>
                    <a:pt x="362" y="286"/>
                  </a:lnTo>
                  <a:lnTo>
                    <a:pt x="362" y="286"/>
                  </a:lnTo>
                  <a:lnTo>
                    <a:pt x="361" y="286"/>
                  </a:lnTo>
                  <a:lnTo>
                    <a:pt x="361" y="285"/>
                  </a:lnTo>
                  <a:lnTo>
                    <a:pt x="361" y="283"/>
                  </a:lnTo>
                  <a:lnTo>
                    <a:pt x="359" y="283"/>
                  </a:lnTo>
                  <a:lnTo>
                    <a:pt x="359" y="281"/>
                  </a:lnTo>
                  <a:lnTo>
                    <a:pt x="359" y="281"/>
                  </a:lnTo>
                  <a:lnTo>
                    <a:pt x="358" y="281"/>
                  </a:lnTo>
                  <a:lnTo>
                    <a:pt x="358" y="281"/>
                  </a:lnTo>
                  <a:lnTo>
                    <a:pt x="358" y="281"/>
                  </a:lnTo>
                  <a:lnTo>
                    <a:pt x="356" y="280"/>
                  </a:lnTo>
                  <a:lnTo>
                    <a:pt x="356" y="278"/>
                  </a:lnTo>
                  <a:lnTo>
                    <a:pt x="356" y="277"/>
                  </a:lnTo>
                  <a:lnTo>
                    <a:pt x="355" y="277"/>
                  </a:lnTo>
                  <a:lnTo>
                    <a:pt x="353" y="277"/>
                  </a:lnTo>
                  <a:lnTo>
                    <a:pt x="348" y="278"/>
                  </a:lnTo>
                  <a:lnTo>
                    <a:pt x="345" y="280"/>
                  </a:lnTo>
                  <a:lnTo>
                    <a:pt x="344" y="278"/>
                  </a:lnTo>
                  <a:lnTo>
                    <a:pt x="344" y="277"/>
                  </a:lnTo>
                  <a:lnTo>
                    <a:pt x="344" y="274"/>
                  </a:lnTo>
                  <a:lnTo>
                    <a:pt x="345" y="271"/>
                  </a:lnTo>
                  <a:lnTo>
                    <a:pt x="348" y="268"/>
                  </a:lnTo>
                  <a:lnTo>
                    <a:pt x="350" y="265"/>
                  </a:lnTo>
                  <a:lnTo>
                    <a:pt x="350" y="261"/>
                  </a:lnTo>
                  <a:lnTo>
                    <a:pt x="350" y="258"/>
                  </a:lnTo>
                  <a:lnTo>
                    <a:pt x="350" y="255"/>
                  </a:lnTo>
                  <a:lnTo>
                    <a:pt x="352" y="254"/>
                  </a:lnTo>
                  <a:lnTo>
                    <a:pt x="352" y="252"/>
                  </a:lnTo>
                  <a:lnTo>
                    <a:pt x="356" y="249"/>
                  </a:lnTo>
                  <a:lnTo>
                    <a:pt x="358" y="248"/>
                  </a:lnTo>
                  <a:lnTo>
                    <a:pt x="359" y="246"/>
                  </a:lnTo>
                  <a:lnTo>
                    <a:pt x="359" y="243"/>
                  </a:lnTo>
                  <a:lnTo>
                    <a:pt x="359" y="240"/>
                  </a:lnTo>
                  <a:lnTo>
                    <a:pt x="358" y="235"/>
                  </a:lnTo>
                  <a:lnTo>
                    <a:pt x="356" y="234"/>
                  </a:lnTo>
                  <a:lnTo>
                    <a:pt x="356" y="232"/>
                  </a:lnTo>
                  <a:lnTo>
                    <a:pt x="358" y="231"/>
                  </a:lnTo>
                  <a:lnTo>
                    <a:pt x="358" y="229"/>
                  </a:lnTo>
                  <a:lnTo>
                    <a:pt x="358" y="228"/>
                  </a:lnTo>
                  <a:lnTo>
                    <a:pt x="358" y="226"/>
                  </a:lnTo>
                  <a:lnTo>
                    <a:pt x="358" y="220"/>
                  </a:lnTo>
                  <a:lnTo>
                    <a:pt x="358" y="218"/>
                  </a:lnTo>
                  <a:lnTo>
                    <a:pt x="359" y="217"/>
                  </a:lnTo>
                  <a:lnTo>
                    <a:pt x="361" y="215"/>
                  </a:lnTo>
                  <a:lnTo>
                    <a:pt x="361" y="215"/>
                  </a:lnTo>
                  <a:lnTo>
                    <a:pt x="361" y="215"/>
                  </a:lnTo>
                  <a:lnTo>
                    <a:pt x="362" y="215"/>
                  </a:lnTo>
                  <a:lnTo>
                    <a:pt x="362" y="214"/>
                  </a:lnTo>
                  <a:lnTo>
                    <a:pt x="362" y="212"/>
                  </a:lnTo>
                  <a:lnTo>
                    <a:pt x="361" y="211"/>
                  </a:lnTo>
                  <a:lnTo>
                    <a:pt x="361" y="209"/>
                  </a:lnTo>
                  <a:lnTo>
                    <a:pt x="362" y="206"/>
                  </a:lnTo>
                  <a:lnTo>
                    <a:pt x="364" y="204"/>
                  </a:lnTo>
                  <a:lnTo>
                    <a:pt x="365" y="204"/>
                  </a:lnTo>
                  <a:lnTo>
                    <a:pt x="367" y="201"/>
                  </a:lnTo>
                  <a:lnTo>
                    <a:pt x="367" y="200"/>
                  </a:lnTo>
                  <a:lnTo>
                    <a:pt x="367" y="200"/>
                  </a:lnTo>
                  <a:lnTo>
                    <a:pt x="368" y="198"/>
                  </a:lnTo>
                  <a:lnTo>
                    <a:pt x="368" y="198"/>
                  </a:lnTo>
                  <a:lnTo>
                    <a:pt x="372" y="197"/>
                  </a:lnTo>
                  <a:lnTo>
                    <a:pt x="373" y="197"/>
                  </a:lnTo>
                  <a:lnTo>
                    <a:pt x="376" y="197"/>
                  </a:lnTo>
                  <a:lnTo>
                    <a:pt x="376" y="197"/>
                  </a:lnTo>
                  <a:lnTo>
                    <a:pt x="385" y="195"/>
                  </a:lnTo>
                  <a:lnTo>
                    <a:pt x="388" y="194"/>
                  </a:lnTo>
                  <a:lnTo>
                    <a:pt x="390" y="192"/>
                  </a:lnTo>
                  <a:lnTo>
                    <a:pt x="392" y="191"/>
                  </a:lnTo>
                  <a:lnTo>
                    <a:pt x="392" y="189"/>
                  </a:lnTo>
                  <a:lnTo>
                    <a:pt x="395" y="183"/>
                  </a:lnTo>
                  <a:lnTo>
                    <a:pt x="395" y="181"/>
                  </a:lnTo>
                  <a:lnTo>
                    <a:pt x="396" y="180"/>
                  </a:lnTo>
                  <a:lnTo>
                    <a:pt x="396" y="177"/>
                  </a:lnTo>
                  <a:lnTo>
                    <a:pt x="396" y="175"/>
                  </a:lnTo>
                  <a:lnTo>
                    <a:pt x="398" y="172"/>
                  </a:lnTo>
                  <a:lnTo>
                    <a:pt x="401" y="171"/>
                  </a:lnTo>
                  <a:lnTo>
                    <a:pt x="410" y="174"/>
                  </a:lnTo>
                  <a:lnTo>
                    <a:pt x="410" y="174"/>
                  </a:lnTo>
                  <a:lnTo>
                    <a:pt x="412" y="172"/>
                  </a:lnTo>
                  <a:lnTo>
                    <a:pt x="412" y="172"/>
                  </a:lnTo>
                  <a:lnTo>
                    <a:pt x="412" y="172"/>
                  </a:lnTo>
                  <a:lnTo>
                    <a:pt x="413" y="171"/>
                  </a:lnTo>
                  <a:lnTo>
                    <a:pt x="413" y="171"/>
                  </a:lnTo>
                  <a:lnTo>
                    <a:pt x="421" y="174"/>
                  </a:lnTo>
                  <a:lnTo>
                    <a:pt x="422" y="174"/>
                  </a:lnTo>
                  <a:lnTo>
                    <a:pt x="424" y="172"/>
                  </a:lnTo>
                  <a:lnTo>
                    <a:pt x="425" y="169"/>
                  </a:lnTo>
                  <a:lnTo>
                    <a:pt x="425" y="164"/>
                  </a:lnTo>
                  <a:lnTo>
                    <a:pt x="425" y="163"/>
                  </a:lnTo>
                  <a:lnTo>
                    <a:pt x="427" y="161"/>
                  </a:lnTo>
                  <a:lnTo>
                    <a:pt x="430" y="160"/>
                  </a:lnTo>
                  <a:lnTo>
                    <a:pt x="430" y="158"/>
                  </a:lnTo>
                  <a:lnTo>
                    <a:pt x="433" y="158"/>
                  </a:lnTo>
                  <a:lnTo>
                    <a:pt x="435" y="158"/>
                  </a:lnTo>
                  <a:lnTo>
                    <a:pt x="438" y="157"/>
                  </a:lnTo>
                  <a:lnTo>
                    <a:pt x="438" y="154"/>
                  </a:lnTo>
                  <a:lnTo>
                    <a:pt x="438" y="15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9"/>
            <p:cNvSpPr>
              <a:spLocks/>
            </p:cNvSpPr>
            <p:nvPr/>
          </p:nvSpPr>
          <p:spPr bwMode="gray">
            <a:xfrm>
              <a:off x="6805613" y="7140576"/>
              <a:ext cx="14288" cy="36513"/>
            </a:xfrm>
            <a:custGeom>
              <a:avLst/>
              <a:gdLst>
                <a:gd name="T0" fmla="*/ 9 w 9"/>
                <a:gd name="T1" fmla="*/ 14 h 23"/>
                <a:gd name="T2" fmla="*/ 7 w 9"/>
                <a:gd name="T3" fmla="*/ 11 h 23"/>
                <a:gd name="T4" fmla="*/ 4 w 9"/>
                <a:gd name="T5" fmla="*/ 11 h 23"/>
                <a:gd name="T6" fmla="*/ 4 w 9"/>
                <a:gd name="T7" fmla="*/ 10 h 23"/>
                <a:gd name="T8" fmla="*/ 6 w 9"/>
                <a:gd name="T9" fmla="*/ 8 h 23"/>
                <a:gd name="T10" fmla="*/ 6 w 9"/>
                <a:gd name="T11" fmla="*/ 7 h 23"/>
                <a:gd name="T12" fmla="*/ 4 w 9"/>
                <a:gd name="T13" fmla="*/ 5 h 23"/>
                <a:gd name="T14" fmla="*/ 4 w 9"/>
                <a:gd name="T15" fmla="*/ 5 h 23"/>
                <a:gd name="T16" fmla="*/ 4 w 9"/>
                <a:gd name="T17" fmla="*/ 3 h 23"/>
                <a:gd name="T18" fmla="*/ 4 w 9"/>
                <a:gd name="T19" fmla="*/ 2 h 23"/>
                <a:gd name="T20" fmla="*/ 3 w 9"/>
                <a:gd name="T21" fmla="*/ 0 h 23"/>
                <a:gd name="T22" fmla="*/ 3 w 9"/>
                <a:gd name="T23" fmla="*/ 0 h 23"/>
                <a:gd name="T24" fmla="*/ 1 w 9"/>
                <a:gd name="T25" fmla="*/ 2 h 23"/>
                <a:gd name="T26" fmla="*/ 0 w 9"/>
                <a:gd name="T27" fmla="*/ 5 h 23"/>
                <a:gd name="T28" fmla="*/ 0 w 9"/>
                <a:gd name="T29" fmla="*/ 10 h 23"/>
                <a:gd name="T30" fmla="*/ 0 w 9"/>
                <a:gd name="T31" fmla="*/ 11 h 23"/>
                <a:gd name="T32" fmla="*/ 1 w 9"/>
                <a:gd name="T33" fmla="*/ 13 h 23"/>
                <a:gd name="T34" fmla="*/ 1 w 9"/>
                <a:gd name="T35" fmla="*/ 14 h 23"/>
                <a:gd name="T36" fmla="*/ 1 w 9"/>
                <a:gd name="T37" fmla="*/ 17 h 23"/>
                <a:gd name="T38" fmla="*/ 1 w 9"/>
                <a:gd name="T39" fmla="*/ 19 h 23"/>
                <a:gd name="T40" fmla="*/ 0 w 9"/>
                <a:gd name="T41" fmla="*/ 19 h 23"/>
                <a:gd name="T42" fmla="*/ 0 w 9"/>
                <a:gd name="T43" fmla="*/ 20 h 23"/>
                <a:gd name="T44" fmla="*/ 0 w 9"/>
                <a:gd name="T45" fmla="*/ 22 h 23"/>
                <a:gd name="T46" fmla="*/ 1 w 9"/>
                <a:gd name="T47" fmla="*/ 22 h 23"/>
                <a:gd name="T48" fmla="*/ 6 w 9"/>
                <a:gd name="T49" fmla="*/ 23 h 23"/>
                <a:gd name="T50" fmla="*/ 7 w 9"/>
                <a:gd name="T51" fmla="*/ 22 h 23"/>
                <a:gd name="T52" fmla="*/ 9 w 9"/>
                <a:gd name="T53" fmla="*/ 20 h 23"/>
                <a:gd name="T54" fmla="*/ 9 w 9"/>
                <a:gd name="T55" fmla="*/ 17 h 23"/>
                <a:gd name="T56" fmla="*/ 9 w 9"/>
                <a:gd name="T5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" h="23">
                  <a:moveTo>
                    <a:pt x="9" y="14"/>
                  </a:moveTo>
                  <a:lnTo>
                    <a:pt x="7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6" y="8"/>
                  </a:lnTo>
                  <a:lnTo>
                    <a:pt x="6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7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20"/>
                  </a:lnTo>
                  <a:lnTo>
                    <a:pt x="9" y="17"/>
                  </a:lnTo>
                  <a:lnTo>
                    <a:pt x="9" y="1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60"/>
            <p:cNvSpPr>
              <a:spLocks/>
            </p:cNvSpPr>
            <p:nvPr/>
          </p:nvSpPr>
          <p:spPr bwMode="gray">
            <a:xfrm>
              <a:off x="6805613" y="7140576"/>
              <a:ext cx="14288" cy="36513"/>
            </a:xfrm>
            <a:custGeom>
              <a:avLst/>
              <a:gdLst>
                <a:gd name="T0" fmla="*/ 9 w 9"/>
                <a:gd name="T1" fmla="*/ 14 h 23"/>
                <a:gd name="T2" fmla="*/ 7 w 9"/>
                <a:gd name="T3" fmla="*/ 11 h 23"/>
                <a:gd name="T4" fmla="*/ 4 w 9"/>
                <a:gd name="T5" fmla="*/ 11 h 23"/>
                <a:gd name="T6" fmla="*/ 4 w 9"/>
                <a:gd name="T7" fmla="*/ 10 h 23"/>
                <a:gd name="T8" fmla="*/ 6 w 9"/>
                <a:gd name="T9" fmla="*/ 8 h 23"/>
                <a:gd name="T10" fmla="*/ 6 w 9"/>
                <a:gd name="T11" fmla="*/ 7 h 23"/>
                <a:gd name="T12" fmla="*/ 4 w 9"/>
                <a:gd name="T13" fmla="*/ 5 h 23"/>
                <a:gd name="T14" fmla="*/ 4 w 9"/>
                <a:gd name="T15" fmla="*/ 5 h 23"/>
                <a:gd name="T16" fmla="*/ 4 w 9"/>
                <a:gd name="T17" fmla="*/ 3 h 23"/>
                <a:gd name="T18" fmla="*/ 4 w 9"/>
                <a:gd name="T19" fmla="*/ 2 h 23"/>
                <a:gd name="T20" fmla="*/ 3 w 9"/>
                <a:gd name="T21" fmla="*/ 0 h 23"/>
                <a:gd name="T22" fmla="*/ 3 w 9"/>
                <a:gd name="T23" fmla="*/ 0 h 23"/>
                <a:gd name="T24" fmla="*/ 1 w 9"/>
                <a:gd name="T25" fmla="*/ 2 h 23"/>
                <a:gd name="T26" fmla="*/ 0 w 9"/>
                <a:gd name="T27" fmla="*/ 5 h 23"/>
                <a:gd name="T28" fmla="*/ 0 w 9"/>
                <a:gd name="T29" fmla="*/ 10 h 23"/>
                <a:gd name="T30" fmla="*/ 0 w 9"/>
                <a:gd name="T31" fmla="*/ 11 h 23"/>
                <a:gd name="T32" fmla="*/ 1 w 9"/>
                <a:gd name="T33" fmla="*/ 13 h 23"/>
                <a:gd name="T34" fmla="*/ 1 w 9"/>
                <a:gd name="T35" fmla="*/ 14 h 23"/>
                <a:gd name="T36" fmla="*/ 1 w 9"/>
                <a:gd name="T37" fmla="*/ 17 h 23"/>
                <a:gd name="T38" fmla="*/ 1 w 9"/>
                <a:gd name="T39" fmla="*/ 19 h 23"/>
                <a:gd name="T40" fmla="*/ 0 w 9"/>
                <a:gd name="T41" fmla="*/ 19 h 23"/>
                <a:gd name="T42" fmla="*/ 0 w 9"/>
                <a:gd name="T43" fmla="*/ 20 h 23"/>
                <a:gd name="T44" fmla="*/ 0 w 9"/>
                <a:gd name="T45" fmla="*/ 22 h 23"/>
                <a:gd name="T46" fmla="*/ 1 w 9"/>
                <a:gd name="T47" fmla="*/ 22 h 23"/>
                <a:gd name="T48" fmla="*/ 6 w 9"/>
                <a:gd name="T49" fmla="*/ 23 h 23"/>
                <a:gd name="T50" fmla="*/ 7 w 9"/>
                <a:gd name="T51" fmla="*/ 22 h 23"/>
                <a:gd name="T52" fmla="*/ 9 w 9"/>
                <a:gd name="T53" fmla="*/ 20 h 23"/>
                <a:gd name="T54" fmla="*/ 9 w 9"/>
                <a:gd name="T55" fmla="*/ 17 h 23"/>
                <a:gd name="T56" fmla="*/ 9 w 9"/>
                <a:gd name="T5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" h="23">
                  <a:moveTo>
                    <a:pt x="9" y="14"/>
                  </a:moveTo>
                  <a:lnTo>
                    <a:pt x="7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6" y="8"/>
                  </a:lnTo>
                  <a:lnTo>
                    <a:pt x="6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7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20"/>
                  </a:lnTo>
                  <a:lnTo>
                    <a:pt x="9" y="17"/>
                  </a:lnTo>
                  <a:lnTo>
                    <a:pt x="9" y="1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61"/>
            <p:cNvSpPr>
              <a:spLocks/>
            </p:cNvSpPr>
            <p:nvPr/>
          </p:nvSpPr>
          <p:spPr bwMode="gray">
            <a:xfrm>
              <a:off x="8161338" y="5024438"/>
              <a:ext cx="858838" cy="520700"/>
            </a:xfrm>
            <a:custGeom>
              <a:avLst/>
              <a:gdLst>
                <a:gd name="T0" fmla="*/ 532 w 541"/>
                <a:gd name="T1" fmla="*/ 219 h 328"/>
                <a:gd name="T2" fmla="*/ 524 w 541"/>
                <a:gd name="T3" fmla="*/ 203 h 328"/>
                <a:gd name="T4" fmla="*/ 518 w 541"/>
                <a:gd name="T5" fmla="*/ 174 h 328"/>
                <a:gd name="T6" fmla="*/ 498 w 541"/>
                <a:gd name="T7" fmla="*/ 166 h 328"/>
                <a:gd name="T8" fmla="*/ 504 w 541"/>
                <a:gd name="T9" fmla="*/ 138 h 328"/>
                <a:gd name="T10" fmla="*/ 512 w 541"/>
                <a:gd name="T11" fmla="*/ 109 h 328"/>
                <a:gd name="T12" fmla="*/ 489 w 541"/>
                <a:gd name="T13" fmla="*/ 85 h 328"/>
                <a:gd name="T14" fmla="*/ 450 w 541"/>
                <a:gd name="T15" fmla="*/ 66 h 328"/>
                <a:gd name="T16" fmla="*/ 438 w 541"/>
                <a:gd name="T17" fmla="*/ 65 h 328"/>
                <a:gd name="T18" fmla="*/ 419 w 541"/>
                <a:gd name="T19" fmla="*/ 75 h 328"/>
                <a:gd name="T20" fmla="*/ 413 w 541"/>
                <a:gd name="T21" fmla="*/ 78 h 328"/>
                <a:gd name="T22" fmla="*/ 389 w 541"/>
                <a:gd name="T23" fmla="*/ 52 h 328"/>
                <a:gd name="T24" fmla="*/ 376 w 541"/>
                <a:gd name="T25" fmla="*/ 32 h 328"/>
                <a:gd name="T26" fmla="*/ 349 w 541"/>
                <a:gd name="T27" fmla="*/ 23 h 328"/>
                <a:gd name="T28" fmla="*/ 341 w 541"/>
                <a:gd name="T29" fmla="*/ 15 h 328"/>
                <a:gd name="T30" fmla="*/ 325 w 541"/>
                <a:gd name="T31" fmla="*/ 6 h 328"/>
                <a:gd name="T32" fmla="*/ 322 w 541"/>
                <a:gd name="T33" fmla="*/ 9 h 328"/>
                <a:gd name="T34" fmla="*/ 308 w 541"/>
                <a:gd name="T35" fmla="*/ 1 h 328"/>
                <a:gd name="T36" fmla="*/ 287 w 541"/>
                <a:gd name="T37" fmla="*/ 14 h 328"/>
                <a:gd name="T38" fmla="*/ 267 w 541"/>
                <a:gd name="T39" fmla="*/ 18 h 328"/>
                <a:gd name="T40" fmla="*/ 248 w 541"/>
                <a:gd name="T41" fmla="*/ 31 h 328"/>
                <a:gd name="T42" fmla="*/ 255 w 541"/>
                <a:gd name="T43" fmla="*/ 65 h 328"/>
                <a:gd name="T44" fmla="*/ 256 w 541"/>
                <a:gd name="T45" fmla="*/ 114 h 328"/>
                <a:gd name="T46" fmla="*/ 242 w 541"/>
                <a:gd name="T47" fmla="*/ 132 h 328"/>
                <a:gd name="T48" fmla="*/ 216 w 541"/>
                <a:gd name="T49" fmla="*/ 151 h 328"/>
                <a:gd name="T50" fmla="*/ 178 w 541"/>
                <a:gd name="T51" fmla="*/ 142 h 328"/>
                <a:gd name="T52" fmla="*/ 165 w 541"/>
                <a:gd name="T53" fmla="*/ 111 h 328"/>
                <a:gd name="T54" fmla="*/ 158 w 541"/>
                <a:gd name="T55" fmla="*/ 97 h 328"/>
                <a:gd name="T56" fmla="*/ 122 w 541"/>
                <a:gd name="T57" fmla="*/ 46 h 328"/>
                <a:gd name="T58" fmla="*/ 116 w 541"/>
                <a:gd name="T59" fmla="*/ 46 h 328"/>
                <a:gd name="T60" fmla="*/ 42 w 541"/>
                <a:gd name="T61" fmla="*/ 95 h 328"/>
                <a:gd name="T62" fmla="*/ 34 w 541"/>
                <a:gd name="T63" fmla="*/ 125 h 328"/>
                <a:gd name="T64" fmla="*/ 28 w 541"/>
                <a:gd name="T65" fmla="*/ 152 h 328"/>
                <a:gd name="T66" fmla="*/ 7 w 541"/>
                <a:gd name="T67" fmla="*/ 172 h 328"/>
                <a:gd name="T68" fmla="*/ 2 w 541"/>
                <a:gd name="T69" fmla="*/ 211 h 328"/>
                <a:gd name="T70" fmla="*/ 8 w 541"/>
                <a:gd name="T71" fmla="*/ 217 h 328"/>
                <a:gd name="T72" fmla="*/ 8 w 541"/>
                <a:gd name="T73" fmla="*/ 232 h 328"/>
                <a:gd name="T74" fmla="*/ 5 w 541"/>
                <a:gd name="T75" fmla="*/ 217 h 328"/>
                <a:gd name="T76" fmla="*/ 4 w 541"/>
                <a:gd name="T77" fmla="*/ 226 h 328"/>
                <a:gd name="T78" fmla="*/ 2 w 541"/>
                <a:gd name="T79" fmla="*/ 246 h 328"/>
                <a:gd name="T80" fmla="*/ 7 w 541"/>
                <a:gd name="T81" fmla="*/ 274 h 328"/>
                <a:gd name="T82" fmla="*/ 28 w 541"/>
                <a:gd name="T83" fmla="*/ 254 h 328"/>
                <a:gd name="T84" fmla="*/ 85 w 541"/>
                <a:gd name="T85" fmla="*/ 228 h 328"/>
                <a:gd name="T86" fmla="*/ 125 w 541"/>
                <a:gd name="T87" fmla="*/ 237 h 328"/>
                <a:gd name="T88" fmla="*/ 153 w 541"/>
                <a:gd name="T89" fmla="*/ 240 h 328"/>
                <a:gd name="T90" fmla="*/ 188 w 541"/>
                <a:gd name="T91" fmla="*/ 240 h 328"/>
                <a:gd name="T92" fmla="*/ 205 w 541"/>
                <a:gd name="T93" fmla="*/ 240 h 328"/>
                <a:gd name="T94" fmla="*/ 236 w 541"/>
                <a:gd name="T95" fmla="*/ 249 h 328"/>
                <a:gd name="T96" fmla="*/ 267 w 541"/>
                <a:gd name="T97" fmla="*/ 245 h 328"/>
                <a:gd name="T98" fmla="*/ 290 w 541"/>
                <a:gd name="T99" fmla="*/ 228 h 328"/>
                <a:gd name="T100" fmla="*/ 299 w 541"/>
                <a:gd name="T101" fmla="*/ 245 h 328"/>
                <a:gd name="T102" fmla="*/ 344 w 541"/>
                <a:gd name="T103" fmla="*/ 265 h 328"/>
                <a:gd name="T104" fmla="*/ 359 w 541"/>
                <a:gd name="T105" fmla="*/ 279 h 328"/>
                <a:gd name="T106" fmla="*/ 401 w 541"/>
                <a:gd name="T107" fmla="*/ 322 h 328"/>
                <a:gd name="T108" fmla="*/ 436 w 541"/>
                <a:gd name="T109" fmla="*/ 323 h 328"/>
                <a:gd name="T110" fmla="*/ 467 w 541"/>
                <a:gd name="T111" fmla="*/ 311 h 328"/>
                <a:gd name="T112" fmla="*/ 493 w 541"/>
                <a:gd name="T113" fmla="*/ 311 h 328"/>
                <a:gd name="T114" fmla="*/ 515 w 541"/>
                <a:gd name="T115" fmla="*/ 275 h 328"/>
                <a:gd name="T116" fmla="*/ 529 w 541"/>
                <a:gd name="T117" fmla="*/ 265 h 328"/>
                <a:gd name="T118" fmla="*/ 539 w 541"/>
                <a:gd name="T119" fmla="*/ 249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328">
                  <a:moveTo>
                    <a:pt x="539" y="246"/>
                  </a:moveTo>
                  <a:lnTo>
                    <a:pt x="536" y="237"/>
                  </a:lnTo>
                  <a:lnTo>
                    <a:pt x="536" y="234"/>
                  </a:lnTo>
                  <a:lnTo>
                    <a:pt x="536" y="231"/>
                  </a:lnTo>
                  <a:lnTo>
                    <a:pt x="536" y="226"/>
                  </a:lnTo>
                  <a:lnTo>
                    <a:pt x="536" y="225"/>
                  </a:lnTo>
                  <a:lnTo>
                    <a:pt x="536" y="225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7"/>
                  </a:lnTo>
                  <a:lnTo>
                    <a:pt x="532" y="215"/>
                  </a:lnTo>
                  <a:lnTo>
                    <a:pt x="533" y="214"/>
                  </a:lnTo>
                  <a:lnTo>
                    <a:pt x="533" y="212"/>
                  </a:lnTo>
                  <a:lnTo>
                    <a:pt x="533" y="211"/>
                  </a:lnTo>
                  <a:lnTo>
                    <a:pt x="532" y="209"/>
                  </a:lnTo>
                  <a:lnTo>
                    <a:pt x="526" y="206"/>
                  </a:lnTo>
                  <a:lnTo>
                    <a:pt x="526" y="205"/>
                  </a:lnTo>
                  <a:lnTo>
                    <a:pt x="524" y="203"/>
                  </a:lnTo>
                  <a:lnTo>
                    <a:pt x="524" y="200"/>
                  </a:lnTo>
                  <a:lnTo>
                    <a:pt x="524" y="194"/>
                  </a:lnTo>
                  <a:lnTo>
                    <a:pt x="523" y="191"/>
                  </a:lnTo>
                  <a:lnTo>
                    <a:pt x="515" y="186"/>
                  </a:lnTo>
                  <a:lnTo>
                    <a:pt x="515" y="185"/>
                  </a:lnTo>
                  <a:lnTo>
                    <a:pt x="515" y="182"/>
                  </a:lnTo>
                  <a:lnTo>
                    <a:pt x="516" y="178"/>
                  </a:lnTo>
                  <a:lnTo>
                    <a:pt x="518" y="175"/>
                  </a:lnTo>
                  <a:lnTo>
                    <a:pt x="518" y="174"/>
                  </a:lnTo>
                  <a:lnTo>
                    <a:pt x="516" y="172"/>
                  </a:lnTo>
                  <a:lnTo>
                    <a:pt x="513" y="169"/>
                  </a:lnTo>
                  <a:lnTo>
                    <a:pt x="512" y="168"/>
                  </a:lnTo>
                  <a:lnTo>
                    <a:pt x="509" y="166"/>
                  </a:lnTo>
                  <a:lnTo>
                    <a:pt x="506" y="168"/>
                  </a:lnTo>
                  <a:lnTo>
                    <a:pt x="499" y="171"/>
                  </a:lnTo>
                  <a:lnTo>
                    <a:pt x="498" y="171"/>
                  </a:lnTo>
                  <a:lnTo>
                    <a:pt x="496" y="171"/>
                  </a:lnTo>
                  <a:lnTo>
                    <a:pt x="498" y="166"/>
                  </a:lnTo>
                  <a:lnTo>
                    <a:pt x="503" y="155"/>
                  </a:lnTo>
                  <a:lnTo>
                    <a:pt x="503" y="154"/>
                  </a:lnTo>
                  <a:lnTo>
                    <a:pt x="504" y="151"/>
                  </a:lnTo>
                  <a:lnTo>
                    <a:pt x="504" y="149"/>
                  </a:lnTo>
                  <a:lnTo>
                    <a:pt x="504" y="148"/>
                  </a:lnTo>
                  <a:lnTo>
                    <a:pt x="506" y="145"/>
                  </a:lnTo>
                  <a:lnTo>
                    <a:pt x="506" y="143"/>
                  </a:lnTo>
                  <a:lnTo>
                    <a:pt x="506" y="140"/>
                  </a:lnTo>
                  <a:lnTo>
                    <a:pt x="504" y="138"/>
                  </a:lnTo>
                  <a:lnTo>
                    <a:pt x="501" y="137"/>
                  </a:lnTo>
                  <a:lnTo>
                    <a:pt x="501" y="135"/>
                  </a:lnTo>
                  <a:lnTo>
                    <a:pt x="503" y="132"/>
                  </a:lnTo>
                  <a:lnTo>
                    <a:pt x="509" y="129"/>
                  </a:lnTo>
                  <a:lnTo>
                    <a:pt x="512" y="128"/>
                  </a:lnTo>
                  <a:lnTo>
                    <a:pt x="512" y="125"/>
                  </a:lnTo>
                  <a:lnTo>
                    <a:pt x="512" y="120"/>
                  </a:lnTo>
                  <a:lnTo>
                    <a:pt x="513" y="112"/>
                  </a:lnTo>
                  <a:lnTo>
                    <a:pt x="512" y="109"/>
                  </a:lnTo>
                  <a:lnTo>
                    <a:pt x="512" y="108"/>
                  </a:lnTo>
                  <a:lnTo>
                    <a:pt x="510" y="106"/>
                  </a:lnTo>
                  <a:lnTo>
                    <a:pt x="503" y="101"/>
                  </a:lnTo>
                  <a:lnTo>
                    <a:pt x="501" y="100"/>
                  </a:lnTo>
                  <a:lnTo>
                    <a:pt x="498" y="95"/>
                  </a:lnTo>
                  <a:lnTo>
                    <a:pt x="490" y="92"/>
                  </a:lnTo>
                  <a:lnTo>
                    <a:pt x="487" y="91"/>
                  </a:lnTo>
                  <a:lnTo>
                    <a:pt x="489" y="88"/>
                  </a:lnTo>
                  <a:lnTo>
                    <a:pt x="489" y="85"/>
                  </a:lnTo>
                  <a:lnTo>
                    <a:pt x="489" y="81"/>
                  </a:lnTo>
                  <a:lnTo>
                    <a:pt x="489" y="77"/>
                  </a:lnTo>
                  <a:lnTo>
                    <a:pt x="476" y="77"/>
                  </a:lnTo>
                  <a:lnTo>
                    <a:pt x="473" y="78"/>
                  </a:lnTo>
                  <a:lnTo>
                    <a:pt x="462" y="74"/>
                  </a:lnTo>
                  <a:lnTo>
                    <a:pt x="456" y="74"/>
                  </a:lnTo>
                  <a:lnTo>
                    <a:pt x="455" y="72"/>
                  </a:lnTo>
                  <a:lnTo>
                    <a:pt x="453" y="71"/>
                  </a:lnTo>
                  <a:lnTo>
                    <a:pt x="450" y="66"/>
                  </a:lnTo>
                  <a:lnTo>
                    <a:pt x="449" y="65"/>
                  </a:lnTo>
                  <a:lnTo>
                    <a:pt x="446" y="65"/>
                  </a:lnTo>
                  <a:lnTo>
                    <a:pt x="444" y="65"/>
                  </a:lnTo>
                  <a:lnTo>
                    <a:pt x="442" y="65"/>
                  </a:lnTo>
                  <a:lnTo>
                    <a:pt x="442" y="65"/>
                  </a:lnTo>
                  <a:lnTo>
                    <a:pt x="441" y="63"/>
                  </a:lnTo>
                  <a:lnTo>
                    <a:pt x="441" y="63"/>
                  </a:lnTo>
                  <a:lnTo>
                    <a:pt x="439" y="63"/>
                  </a:lnTo>
                  <a:lnTo>
                    <a:pt x="438" y="65"/>
                  </a:lnTo>
                  <a:lnTo>
                    <a:pt x="436" y="68"/>
                  </a:lnTo>
                  <a:lnTo>
                    <a:pt x="436" y="69"/>
                  </a:lnTo>
                  <a:lnTo>
                    <a:pt x="435" y="71"/>
                  </a:lnTo>
                  <a:lnTo>
                    <a:pt x="433" y="71"/>
                  </a:lnTo>
                  <a:lnTo>
                    <a:pt x="427" y="71"/>
                  </a:lnTo>
                  <a:lnTo>
                    <a:pt x="426" y="71"/>
                  </a:lnTo>
                  <a:lnTo>
                    <a:pt x="422" y="72"/>
                  </a:lnTo>
                  <a:lnTo>
                    <a:pt x="421" y="75"/>
                  </a:lnTo>
                  <a:lnTo>
                    <a:pt x="419" y="75"/>
                  </a:lnTo>
                  <a:lnTo>
                    <a:pt x="419" y="77"/>
                  </a:lnTo>
                  <a:lnTo>
                    <a:pt x="419" y="77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7"/>
                  </a:lnTo>
                  <a:lnTo>
                    <a:pt x="416" y="77"/>
                  </a:lnTo>
                  <a:lnTo>
                    <a:pt x="415" y="77"/>
                  </a:lnTo>
                  <a:lnTo>
                    <a:pt x="413" y="78"/>
                  </a:lnTo>
                  <a:lnTo>
                    <a:pt x="413" y="78"/>
                  </a:lnTo>
                  <a:lnTo>
                    <a:pt x="412" y="77"/>
                  </a:lnTo>
                  <a:lnTo>
                    <a:pt x="409" y="74"/>
                  </a:lnTo>
                  <a:lnTo>
                    <a:pt x="407" y="72"/>
                  </a:lnTo>
                  <a:lnTo>
                    <a:pt x="407" y="72"/>
                  </a:lnTo>
                  <a:lnTo>
                    <a:pt x="401" y="69"/>
                  </a:lnTo>
                  <a:lnTo>
                    <a:pt x="401" y="69"/>
                  </a:lnTo>
                  <a:lnTo>
                    <a:pt x="398" y="66"/>
                  </a:lnTo>
                  <a:lnTo>
                    <a:pt x="395" y="63"/>
                  </a:lnTo>
                  <a:lnTo>
                    <a:pt x="389" y="52"/>
                  </a:lnTo>
                  <a:lnTo>
                    <a:pt x="385" y="49"/>
                  </a:lnTo>
                  <a:lnTo>
                    <a:pt x="378" y="43"/>
                  </a:lnTo>
                  <a:lnTo>
                    <a:pt x="376" y="40"/>
                  </a:lnTo>
                  <a:lnTo>
                    <a:pt x="376" y="38"/>
                  </a:lnTo>
                  <a:lnTo>
                    <a:pt x="376" y="37"/>
                  </a:lnTo>
                  <a:lnTo>
                    <a:pt x="376" y="35"/>
                  </a:lnTo>
                  <a:lnTo>
                    <a:pt x="378" y="35"/>
                  </a:lnTo>
                  <a:lnTo>
                    <a:pt x="376" y="34"/>
                  </a:lnTo>
                  <a:lnTo>
                    <a:pt x="376" y="32"/>
                  </a:lnTo>
                  <a:lnTo>
                    <a:pt x="376" y="32"/>
                  </a:lnTo>
                  <a:lnTo>
                    <a:pt x="359" y="31"/>
                  </a:lnTo>
                  <a:lnTo>
                    <a:pt x="358" y="29"/>
                  </a:lnTo>
                  <a:lnTo>
                    <a:pt x="358" y="26"/>
                  </a:lnTo>
                  <a:lnTo>
                    <a:pt x="356" y="23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3" y="21"/>
                  </a:lnTo>
                  <a:lnTo>
                    <a:pt x="349" y="23"/>
                  </a:lnTo>
                  <a:lnTo>
                    <a:pt x="347" y="23"/>
                  </a:lnTo>
                  <a:lnTo>
                    <a:pt x="345" y="23"/>
                  </a:lnTo>
                  <a:lnTo>
                    <a:pt x="344" y="21"/>
                  </a:lnTo>
                  <a:lnTo>
                    <a:pt x="342" y="20"/>
                  </a:lnTo>
                  <a:lnTo>
                    <a:pt x="342" y="18"/>
                  </a:lnTo>
                  <a:lnTo>
                    <a:pt x="342" y="18"/>
                  </a:lnTo>
                  <a:lnTo>
                    <a:pt x="342" y="18"/>
                  </a:lnTo>
                  <a:lnTo>
                    <a:pt x="342" y="17"/>
                  </a:lnTo>
                  <a:lnTo>
                    <a:pt x="341" y="15"/>
                  </a:lnTo>
                  <a:lnTo>
                    <a:pt x="341" y="15"/>
                  </a:lnTo>
                  <a:lnTo>
                    <a:pt x="338" y="15"/>
                  </a:lnTo>
                  <a:lnTo>
                    <a:pt x="335" y="14"/>
                  </a:lnTo>
                  <a:lnTo>
                    <a:pt x="330" y="8"/>
                  </a:lnTo>
                  <a:lnTo>
                    <a:pt x="327" y="6"/>
                  </a:lnTo>
                  <a:lnTo>
                    <a:pt x="327" y="6"/>
                  </a:lnTo>
                  <a:lnTo>
                    <a:pt x="325" y="6"/>
                  </a:lnTo>
                  <a:lnTo>
                    <a:pt x="325" y="6"/>
                  </a:lnTo>
                  <a:lnTo>
                    <a:pt x="325" y="6"/>
                  </a:lnTo>
                  <a:lnTo>
                    <a:pt x="324" y="4"/>
                  </a:lnTo>
                  <a:lnTo>
                    <a:pt x="324" y="3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21" y="0"/>
                  </a:lnTo>
                  <a:lnTo>
                    <a:pt x="319" y="1"/>
                  </a:lnTo>
                  <a:lnTo>
                    <a:pt x="319" y="3"/>
                  </a:lnTo>
                  <a:lnTo>
                    <a:pt x="321" y="8"/>
                  </a:lnTo>
                  <a:lnTo>
                    <a:pt x="322" y="9"/>
                  </a:lnTo>
                  <a:lnTo>
                    <a:pt x="321" y="1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6" y="12"/>
                  </a:lnTo>
                  <a:lnTo>
                    <a:pt x="315" y="9"/>
                  </a:lnTo>
                  <a:lnTo>
                    <a:pt x="315" y="6"/>
                  </a:lnTo>
                  <a:lnTo>
                    <a:pt x="313" y="3"/>
                  </a:lnTo>
                  <a:lnTo>
                    <a:pt x="312" y="1"/>
                  </a:lnTo>
                  <a:lnTo>
                    <a:pt x="308" y="1"/>
                  </a:lnTo>
                  <a:lnTo>
                    <a:pt x="305" y="1"/>
                  </a:lnTo>
                  <a:lnTo>
                    <a:pt x="304" y="3"/>
                  </a:lnTo>
                  <a:lnTo>
                    <a:pt x="304" y="4"/>
                  </a:lnTo>
                  <a:lnTo>
                    <a:pt x="299" y="9"/>
                  </a:lnTo>
                  <a:lnTo>
                    <a:pt x="298" y="11"/>
                  </a:lnTo>
                  <a:lnTo>
                    <a:pt x="292" y="11"/>
                  </a:lnTo>
                  <a:lnTo>
                    <a:pt x="290" y="12"/>
                  </a:lnTo>
                  <a:lnTo>
                    <a:pt x="288" y="14"/>
                  </a:lnTo>
                  <a:lnTo>
                    <a:pt x="287" y="14"/>
                  </a:lnTo>
                  <a:lnTo>
                    <a:pt x="285" y="14"/>
                  </a:lnTo>
                  <a:lnTo>
                    <a:pt x="284" y="12"/>
                  </a:lnTo>
                  <a:lnTo>
                    <a:pt x="281" y="12"/>
                  </a:lnTo>
                  <a:lnTo>
                    <a:pt x="279" y="14"/>
                  </a:lnTo>
                  <a:lnTo>
                    <a:pt x="279" y="17"/>
                  </a:lnTo>
                  <a:lnTo>
                    <a:pt x="278" y="18"/>
                  </a:lnTo>
                  <a:lnTo>
                    <a:pt x="273" y="18"/>
                  </a:lnTo>
                  <a:lnTo>
                    <a:pt x="267" y="18"/>
                  </a:lnTo>
                  <a:lnTo>
                    <a:pt x="267" y="18"/>
                  </a:lnTo>
                  <a:lnTo>
                    <a:pt x="262" y="21"/>
                  </a:lnTo>
                  <a:lnTo>
                    <a:pt x="259" y="23"/>
                  </a:lnTo>
                  <a:lnTo>
                    <a:pt x="258" y="24"/>
                  </a:lnTo>
                  <a:lnTo>
                    <a:pt x="258" y="28"/>
                  </a:lnTo>
                  <a:lnTo>
                    <a:pt x="256" y="29"/>
                  </a:lnTo>
                  <a:lnTo>
                    <a:pt x="255" y="31"/>
                  </a:lnTo>
                  <a:lnTo>
                    <a:pt x="253" y="31"/>
                  </a:lnTo>
                  <a:lnTo>
                    <a:pt x="250" y="29"/>
                  </a:lnTo>
                  <a:lnTo>
                    <a:pt x="248" y="31"/>
                  </a:lnTo>
                  <a:lnTo>
                    <a:pt x="248" y="32"/>
                  </a:lnTo>
                  <a:lnTo>
                    <a:pt x="248" y="34"/>
                  </a:lnTo>
                  <a:lnTo>
                    <a:pt x="248" y="37"/>
                  </a:lnTo>
                  <a:lnTo>
                    <a:pt x="248" y="45"/>
                  </a:lnTo>
                  <a:lnTo>
                    <a:pt x="248" y="46"/>
                  </a:lnTo>
                  <a:lnTo>
                    <a:pt x="250" y="49"/>
                  </a:lnTo>
                  <a:lnTo>
                    <a:pt x="253" y="55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3" y="69"/>
                  </a:lnTo>
                  <a:lnTo>
                    <a:pt x="253" y="74"/>
                  </a:lnTo>
                  <a:lnTo>
                    <a:pt x="253" y="75"/>
                  </a:lnTo>
                  <a:lnTo>
                    <a:pt x="255" y="77"/>
                  </a:lnTo>
                  <a:lnTo>
                    <a:pt x="255" y="80"/>
                  </a:lnTo>
                  <a:lnTo>
                    <a:pt x="255" y="85"/>
                  </a:lnTo>
                  <a:lnTo>
                    <a:pt x="256" y="101"/>
                  </a:lnTo>
                  <a:lnTo>
                    <a:pt x="256" y="108"/>
                  </a:lnTo>
                  <a:lnTo>
                    <a:pt x="256" y="114"/>
                  </a:lnTo>
                  <a:lnTo>
                    <a:pt x="255" y="117"/>
                  </a:lnTo>
                  <a:lnTo>
                    <a:pt x="250" y="123"/>
                  </a:lnTo>
                  <a:lnTo>
                    <a:pt x="248" y="125"/>
                  </a:lnTo>
                  <a:lnTo>
                    <a:pt x="247" y="126"/>
                  </a:lnTo>
                  <a:lnTo>
                    <a:pt x="247" y="128"/>
                  </a:lnTo>
                  <a:lnTo>
                    <a:pt x="245" y="128"/>
                  </a:lnTo>
                  <a:lnTo>
                    <a:pt x="244" y="129"/>
                  </a:lnTo>
                  <a:lnTo>
                    <a:pt x="242" y="131"/>
                  </a:lnTo>
                  <a:lnTo>
                    <a:pt x="242" y="132"/>
                  </a:lnTo>
                  <a:lnTo>
                    <a:pt x="235" y="137"/>
                  </a:lnTo>
                  <a:lnTo>
                    <a:pt x="231" y="138"/>
                  </a:lnTo>
                  <a:lnTo>
                    <a:pt x="228" y="140"/>
                  </a:lnTo>
                  <a:lnTo>
                    <a:pt x="228" y="142"/>
                  </a:lnTo>
                  <a:lnTo>
                    <a:pt x="227" y="143"/>
                  </a:lnTo>
                  <a:lnTo>
                    <a:pt x="225" y="145"/>
                  </a:lnTo>
                  <a:lnTo>
                    <a:pt x="222" y="148"/>
                  </a:lnTo>
                  <a:lnTo>
                    <a:pt x="221" y="148"/>
                  </a:lnTo>
                  <a:lnTo>
                    <a:pt x="216" y="151"/>
                  </a:lnTo>
                  <a:lnTo>
                    <a:pt x="204" y="154"/>
                  </a:lnTo>
                  <a:lnTo>
                    <a:pt x="199" y="152"/>
                  </a:lnTo>
                  <a:lnTo>
                    <a:pt x="196" y="152"/>
                  </a:lnTo>
                  <a:lnTo>
                    <a:pt x="194" y="151"/>
                  </a:lnTo>
                  <a:lnTo>
                    <a:pt x="194" y="151"/>
                  </a:lnTo>
                  <a:lnTo>
                    <a:pt x="191" y="146"/>
                  </a:lnTo>
                  <a:lnTo>
                    <a:pt x="190" y="145"/>
                  </a:lnTo>
                  <a:lnTo>
                    <a:pt x="184" y="143"/>
                  </a:lnTo>
                  <a:lnTo>
                    <a:pt x="178" y="142"/>
                  </a:lnTo>
                  <a:lnTo>
                    <a:pt x="174" y="137"/>
                  </a:lnTo>
                  <a:lnTo>
                    <a:pt x="173" y="137"/>
                  </a:lnTo>
                  <a:lnTo>
                    <a:pt x="171" y="135"/>
                  </a:lnTo>
                  <a:lnTo>
                    <a:pt x="170" y="134"/>
                  </a:lnTo>
                  <a:lnTo>
                    <a:pt x="168" y="120"/>
                  </a:lnTo>
                  <a:lnTo>
                    <a:pt x="168" y="120"/>
                  </a:lnTo>
                  <a:lnTo>
                    <a:pt x="167" y="118"/>
                  </a:lnTo>
                  <a:lnTo>
                    <a:pt x="167" y="115"/>
                  </a:lnTo>
                  <a:lnTo>
                    <a:pt x="165" y="111"/>
                  </a:lnTo>
                  <a:lnTo>
                    <a:pt x="165" y="108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2" y="101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62" y="98"/>
                  </a:lnTo>
                  <a:lnTo>
                    <a:pt x="161" y="98"/>
                  </a:lnTo>
                  <a:lnTo>
                    <a:pt x="158" y="97"/>
                  </a:lnTo>
                  <a:lnTo>
                    <a:pt x="154" y="95"/>
                  </a:lnTo>
                  <a:lnTo>
                    <a:pt x="148" y="89"/>
                  </a:lnTo>
                  <a:lnTo>
                    <a:pt x="144" y="83"/>
                  </a:lnTo>
                  <a:lnTo>
                    <a:pt x="127" y="69"/>
                  </a:lnTo>
                  <a:lnTo>
                    <a:pt x="122" y="63"/>
                  </a:lnTo>
                  <a:lnTo>
                    <a:pt x="122" y="60"/>
                  </a:lnTo>
                  <a:lnTo>
                    <a:pt x="121" y="57"/>
                  </a:lnTo>
                  <a:lnTo>
                    <a:pt x="122" y="52"/>
                  </a:lnTo>
                  <a:lnTo>
                    <a:pt x="122" y="46"/>
                  </a:lnTo>
                  <a:lnTo>
                    <a:pt x="122" y="46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2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19" y="46"/>
                  </a:lnTo>
                  <a:lnTo>
                    <a:pt x="119" y="46"/>
                  </a:lnTo>
                  <a:lnTo>
                    <a:pt x="116" y="46"/>
                  </a:lnTo>
                  <a:lnTo>
                    <a:pt x="113" y="46"/>
                  </a:lnTo>
                  <a:lnTo>
                    <a:pt x="91" y="58"/>
                  </a:lnTo>
                  <a:lnTo>
                    <a:pt x="77" y="66"/>
                  </a:lnTo>
                  <a:lnTo>
                    <a:pt x="74" y="68"/>
                  </a:lnTo>
                  <a:lnTo>
                    <a:pt x="61" y="69"/>
                  </a:lnTo>
                  <a:lnTo>
                    <a:pt x="57" y="71"/>
                  </a:lnTo>
                  <a:lnTo>
                    <a:pt x="54" y="72"/>
                  </a:lnTo>
                  <a:lnTo>
                    <a:pt x="47" y="89"/>
                  </a:lnTo>
                  <a:lnTo>
                    <a:pt x="42" y="95"/>
                  </a:lnTo>
                  <a:lnTo>
                    <a:pt x="39" y="103"/>
                  </a:lnTo>
                  <a:lnTo>
                    <a:pt x="37" y="105"/>
                  </a:lnTo>
                  <a:lnTo>
                    <a:pt x="36" y="105"/>
                  </a:lnTo>
                  <a:lnTo>
                    <a:pt x="36" y="108"/>
                  </a:lnTo>
                  <a:lnTo>
                    <a:pt x="34" y="109"/>
                  </a:lnTo>
                  <a:lnTo>
                    <a:pt x="34" y="112"/>
                  </a:lnTo>
                  <a:lnTo>
                    <a:pt x="34" y="115"/>
                  </a:lnTo>
                  <a:lnTo>
                    <a:pt x="34" y="123"/>
                  </a:lnTo>
                  <a:lnTo>
                    <a:pt x="34" y="125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4" y="138"/>
                  </a:lnTo>
                  <a:lnTo>
                    <a:pt x="33" y="145"/>
                  </a:lnTo>
                  <a:lnTo>
                    <a:pt x="31" y="148"/>
                  </a:lnTo>
                  <a:lnTo>
                    <a:pt x="30" y="151"/>
                  </a:lnTo>
                  <a:lnTo>
                    <a:pt x="28" y="152"/>
                  </a:lnTo>
                  <a:lnTo>
                    <a:pt x="25" y="154"/>
                  </a:lnTo>
                  <a:lnTo>
                    <a:pt x="25" y="155"/>
                  </a:lnTo>
                  <a:lnTo>
                    <a:pt x="24" y="155"/>
                  </a:lnTo>
                  <a:lnTo>
                    <a:pt x="20" y="160"/>
                  </a:lnTo>
                  <a:lnTo>
                    <a:pt x="19" y="162"/>
                  </a:lnTo>
                  <a:lnTo>
                    <a:pt x="14" y="165"/>
                  </a:lnTo>
                  <a:lnTo>
                    <a:pt x="14" y="166"/>
                  </a:lnTo>
                  <a:lnTo>
                    <a:pt x="8" y="169"/>
                  </a:lnTo>
                  <a:lnTo>
                    <a:pt x="7" y="172"/>
                  </a:lnTo>
                  <a:lnTo>
                    <a:pt x="7" y="174"/>
                  </a:lnTo>
                  <a:lnTo>
                    <a:pt x="8" y="177"/>
                  </a:lnTo>
                  <a:lnTo>
                    <a:pt x="8" y="180"/>
                  </a:lnTo>
                  <a:lnTo>
                    <a:pt x="8" y="191"/>
                  </a:lnTo>
                  <a:lnTo>
                    <a:pt x="7" y="195"/>
                  </a:lnTo>
                  <a:lnTo>
                    <a:pt x="4" y="203"/>
                  </a:lnTo>
                  <a:lnTo>
                    <a:pt x="4" y="209"/>
                  </a:lnTo>
                  <a:lnTo>
                    <a:pt x="2" y="209"/>
                  </a:lnTo>
                  <a:lnTo>
                    <a:pt x="2" y="211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7" y="215"/>
                  </a:lnTo>
                  <a:lnTo>
                    <a:pt x="7" y="215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8" y="225"/>
                  </a:lnTo>
                  <a:lnTo>
                    <a:pt x="8" y="228"/>
                  </a:lnTo>
                  <a:lnTo>
                    <a:pt x="10" y="229"/>
                  </a:lnTo>
                  <a:lnTo>
                    <a:pt x="8" y="231"/>
                  </a:lnTo>
                  <a:lnTo>
                    <a:pt x="8" y="232"/>
                  </a:lnTo>
                  <a:lnTo>
                    <a:pt x="8" y="232"/>
                  </a:lnTo>
                  <a:lnTo>
                    <a:pt x="7" y="231"/>
                  </a:lnTo>
                  <a:lnTo>
                    <a:pt x="5" y="229"/>
                  </a:lnTo>
                  <a:lnTo>
                    <a:pt x="7" y="228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5" y="223"/>
                  </a:lnTo>
                  <a:lnTo>
                    <a:pt x="7" y="222"/>
                  </a:lnTo>
                  <a:lnTo>
                    <a:pt x="5" y="220"/>
                  </a:lnTo>
                  <a:lnTo>
                    <a:pt x="5" y="217"/>
                  </a:lnTo>
                  <a:lnTo>
                    <a:pt x="5" y="215"/>
                  </a:lnTo>
                  <a:lnTo>
                    <a:pt x="4" y="214"/>
                  </a:lnTo>
                  <a:lnTo>
                    <a:pt x="4" y="215"/>
                  </a:lnTo>
                  <a:lnTo>
                    <a:pt x="4" y="219"/>
                  </a:lnTo>
                  <a:lnTo>
                    <a:pt x="4" y="220"/>
                  </a:lnTo>
                  <a:lnTo>
                    <a:pt x="4" y="222"/>
                  </a:lnTo>
                  <a:lnTo>
                    <a:pt x="4" y="225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2" y="228"/>
                  </a:lnTo>
                  <a:lnTo>
                    <a:pt x="2" y="229"/>
                  </a:lnTo>
                  <a:lnTo>
                    <a:pt x="0" y="232"/>
                  </a:lnTo>
                  <a:lnTo>
                    <a:pt x="0" y="234"/>
                  </a:lnTo>
                  <a:lnTo>
                    <a:pt x="0" y="237"/>
                  </a:lnTo>
                  <a:lnTo>
                    <a:pt x="2" y="242"/>
                  </a:lnTo>
                  <a:lnTo>
                    <a:pt x="2" y="243"/>
                  </a:lnTo>
                  <a:lnTo>
                    <a:pt x="2" y="245"/>
                  </a:lnTo>
                  <a:lnTo>
                    <a:pt x="2" y="246"/>
                  </a:lnTo>
                  <a:lnTo>
                    <a:pt x="0" y="249"/>
                  </a:lnTo>
                  <a:lnTo>
                    <a:pt x="0" y="249"/>
                  </a:lnTo>
                  <a:lnTo>
                    <a:pt x="0" y="252"/>
                  </a:lnTo>
                  <a:lnTo>
                    <a:pt x="2" y="255"/>
                  </a:lnTo>
                  <a:lnTo>
                    <a:pt x="5" y="265"/>
                  </a:lnTo>
                  <a:lnTo>
                    <a:pt x="7" y="268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10" y="274"/>
                  </a:lnTo>
                  <a:lnTo>
                    <a:pt x="14" y="274"/>
                  </a:lnTo>
                  <a:lnTo>
                    <a:pt x="17" y="272"/>
                  </a:lnTo>
                  <a:lnTo>
                    <a:pt x="19" y="269"/>
                  </a:lnTo>
                  <a:lnTo>
                    <a:pt x="19" y="266"/>
                  </a:lnTo>
                  <a:lnTo>
                    <a:pt x="20" y="262"/>
                  </a:lnTo>
                  <a:lnTo>
                    <a:pt x="22" y="259"/>
                  </a:lnTo>
                  <a:lnTo>
                    <a:pt x="25" y="255"/>
                  </a:lnTo>
                  <a:lnTo>
                    <a:pt x="28" y="254"/>
                  </a:lnTo>
                  <a:lnTo>
                    <a:pt x="30" y="252"/>
                  </a:lnTo>
                  <a:lnTo>
                    <a:pt x="33" y="252"/>
                  </a:lnTo>
                  <a:lnTo>
                    <a:pt x="34" y="252"/>
                  </a:lnTo>
                  <a:lnTo>
                    <a:pt x="45" y="245"/>
                  </a:lnTo>
                  <a:lnTo>
                    <a:pt x="48" y="243"/>
                  </a:lnTo>
                  <a:lnTo>
                    <a:pt x="54" y="242"/>
                  </a:lnTo>
                  <a:lnTo>
                    <a:pt x="74" y="232"/>
                  </a:lnTo>
                  <a:lnTo>
                    <a:pt x="76" y="232"/>
                  </a:lnTo>
                  <a:lnTo>
                    <a:pt x="85" y="228"/>
                  </a:lnTo>
                  <a:lnTo>
                    <a:pt x="88" y="228"/>
                  </a:lnTo>
                  <a:lnTo>
                    <a:pt x="90" y="229"/>
                  </a:lnTo>
                  <a:lnTo>
                    <a:pt x="91" y="231"/>
                  </a:lnTo>
                  <a:lnTo>
                    <a:pt x="93" y="231"/>
                  </a:lnTo>
                  <a:lnTo>
                    <a:pt x="116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2" y="232"/>
                  </a:lnTo>
                  <a:lnTo>
                    <a:pt x="125" y="237"/>
                  </a:lnTo>
                  <a:lnTo>
                    <a:pt x="127" y="237"/>
                  </a:lnTo>
                  <a:lnTo>
                    <a:pt x="128" y="237"/>
                  </a:lnTo>
                  <a:lnTo>
                    <a:pt x="139" y="232"/>
                  </a:lnTo>
                  <a:lnTo>
                    <a:pt x="142" y="231"/>
                  </a:lnTo>
                  <a:lnTo>
                    <a:pt x="144" y="229"/>
                  </a:lnTo>
                  <a:lnTo>
                    <a:pt x="147" y="229"/>
                  </a:lnTo>
                  <a:lnTo>
                    <a:pt x="148" y="229"/>
                  </a:lnTo>
                  <a:lnTo>
                    <a:pt x="150" y="234"/>
                  </a:lnTo>
                  <a:lnTo>
                    <a:pt x="153" y="240"/>
                  </a:lnTo>
                  <a:lnTo>
                    <a:pt x="156" y="243"/>
                  </a:lnTo>
                  <a:lnTo>
                    <a:pt x="161" y="242"/>
                  </a:lnTo>
                  <a:lnTo>
                    <a:pt x="164" y="239"/>
                  </a:lnTo>
                  <a:lnTo>
                    <a:pt x="164" y="237"/>
                  </a:lnTo>
                  <a:lnTo>
                    <a:pt x="165" y="235"/>
                  </a:lnTo>
                  <a:lnTo>
                    <a:pt x="173" y="234"/>
                  </a:lnTo>
                  <a:lnTo>
                    <a:pt x="174" y="234"/>
                  </a:lnTo>
                  <a:lnTo>
                    <a:pt x="181" y="237"/>
                  </a:lnTo>
                  <a:lnTo>
                    <a:pt x="188" y="240"/>
                  </a:lnTo>
                  <a:lnTo>
                    <a:pt x="190" y="240"/>
                  </a:lnTo>
                  <a:lnTo>
                    <a:pt x="194" y="237"/>
                  </a:lnTo>
                  <a:lnTo>
                    <a:pt x="198" y="237"/>
                  </a:lnTo>
                  <a:lnTo>
                    <a:pt x="202" y="237"/>
                  </a:lnTo>
                  <a:lnTo>
                    <a:pt x="205" y="237"/>
                  </a:lnTo>
                  <a:lnTo>
                    <a:pt x="205" y="237"/>
                  </a:lnTo>
                  <a:lnTo>
                    <a:pt x="205" y="237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8" y="240"/>
                  </a:lnTo>
                  <a:lnTo>
                    <a:pt x="213" y="239"/>
                  </a:lnTo>
                  <a:lnTo>
                    <a:pt x="216" y="239"/>
                  </a:lnTo>
                  <a:lnTo>
                    <a:pt x="216" y="240"/>
                  </a:lnTo>
                  <a:lnTo>
                    <a:pt x="225" y="242"/>
                  </a:lnTo>
                  <a:lnTo>
                    <a:pt x="231" y="248"/>
                  </a:lnTo>
                  <a:lnTo>
                    <a:pt x="235" y="249"/>
                  </a:lnTo>
                  <a:lnTo>
                    <a:pt x="236" y="249"/>
                  </a:lnTo>
                  <a:lnTo>
                    <a:pt x="236" y="249"/>
                  </a:lnTo>
                  <a:lnTo>
                    <a:pt x="239" y="249"/>
                  </a:lnTo>
                  <a:lnTo>
                    <a:pt x="248" y="245"/>
                  </a:lnTo>
                  <a:lnTo>
                    <a:pt x="250" y="243"/>
                  </a:lnTo>
                  <a:lnTo>
                    <a:pt x="253" y="245"/>
                  </a:lnTo>
                  <a:lnTo>
                    <a:pt x="258" y="248"/>
                  </a:lnTo>
                  <a:lnTo>
                    <a:pt x="259" y="249"/>
                  </a:lnTo>
                  <a:lnTo>
                    <a:pt x="262" y="248"/>
                  </a:lnTo>
                  <a:lnTo>
                    <a:pt x="267" y="245"/>
                  </a:lnTo>
                  <a:lnTo>
                    <a:pt x="268" y="243"/>
                  </a:lnTo>
                  <a:lnTo>
                    <a:pt x="275" y="235"/>
                  </a:lnTo>
                  <a:lnTo>
                    <a:pt x="278" y="234"/>
                  </a:lnTo>
                  <a:lnTo>
                    <a:pt x="279" y="232"/>
                  </a:lnTo>
                  <a:lnTo>
                    <a:pt x="287" y="229"/>
                  </a:lnTo>
                  <a:lnTo>
                    <a:pt x="287" y="229"/>
                  </a:lnTo>
                  <a:lnTo>
                    <a:pt x="288" y="229"/>
                  </a:lnTo>
                  <a:lnTo>
                    <a:pt x="290" y="229"/>
                  </a:lnTo>
                  <a:lnTo>
                    <a:pt x="290" y="228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2" y="225"/>
                  </a:lnTo>
                  <a:lnTo>
                    <a:pt x="293" y="225"/>
                  </a:lnTo>
                  <a:lnTo>
                    <a:pt x="295" y="228"/>
                  </a:lnTo>
                  <a:lnTo>
                    <a:pt x="296" y="232"/>
                  </a:lnTo>
                  <a:lnTo>
                    <a:pt x="298" y="242"/>
                  </a:lnTo>
                  <a:lnTo>
                    <a:pt x="299" y="243"/>
                  </a:lnTo>
                  <a:lnTo>
                    <a:pt x="299" y="245"/>
                  </a:lnTo>
                  <a:lnTo>
                    <a:pt x="302" y="248"/>
                  </a:lnTo>
                  <a:lnTo>
                    <a:pt x="302" y="249"/>
                  </a:lnTo>
                  <a:lnTo>
                    <a:pt x="304" y="254"/>
                  </a:lnTo>
                  <a:lnTo>
                    <a:pt x="307" y="257"/>
                  </a:lnTo>
                  <a:lnTo>
                    <a:pt x="308" y="259"/>
                  </a:lnTo>
                  <a:lnTo>
                    <a:pt x="327" y="262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44" y="265"/>
                  </a:lnTo>
                  <a:lnTo>
                    <a:pt x="345" y="265"/>
                  </a:lnTo>
                  <a:lnTo>
                    <a:pt x="349" y="265"/>
                  </a:lnTo>
                  <a:lnTo>
                    <a:pt x="350" y="265"/>
                  </a:lnTo>
                  <a:lnTo>
                    <a:pt x="350" y="266"/>
                  </a:lnTo>
                  <a:lnTo>
                    <a:pt x="352" y="271"/>
                  </a:lnTo>
                  <a:lnTo>
                    <a:pt x="353" y="272"/>
                  </a:lnTo>
                  <a:lnTo>
                    <a:pt x="353" y="272"/>
                  </a:lnTo>
                  <a:lnTo>
                    <a:pt x="358" y="275"/>
                  </a:lnTo>
                  <a:lnTo>
                    <a:pt x="359" y="279"/>
                  </a:lnTo>
                  <a:lnTo>
                    <a:pt x="365" y="285"/>
                  </a:lnTo>
                  <a:lnTo>
                    <a:pt x="373" y="289"/>
                  </a:lnTo>
                  <a:lnTo>
                    <a:pt x="376" y="292"/>
                  </a:lnTo>
                  <a:lnTo>
                    <a:pt x="381" y="297"/>
                  </a:lnTo>
                  <a:lnTo>
                    <a:pt x="389" y="303"/>
                  </a:lnTo>
                  <a:lnTo>
                    <a:pt x="390" y="306"/>
                  </a:lnTo>
                  <a:lnTo>
                    <a:pt x="392" y="311"/>
                  </a:lnTo>
                  <a:lnTo>
                    <a:pt x="396" y="317"/>
                  </a:lnTo>
                  <a:lnTo>
                    <a:pt x="401" y="322"/>
                  </a:lnTo>
                  <a:lnTo>
                    <a:pt x="412" y="326"/>
                  </a:lnTo>
                  <a:lnTo>
                    <a:pt x="415" y="328"/>
                  </a:lnTo>
                  <a:lnTo>
                    <a:pt x="419" y="328"/>
                  </a:lnTo>
                  <a:lnTo>
                    <a:pt x="421" y="325"/>
                  </a:lnTo>
                  <a:lnTo>
                    <a:pt x="422" y="323"/>
                  </a:lnTo>
                  <a:lnTo>
                    <a:pt x="426" y="325"/>
                  </a:lnTo>
                  <a:lnTo>
                    <a:pt x="429" y="326"/>
                  </a:lnTo>
                  <a:lnTo>
                    <a:pt x="430" y="326"/>
                  </a:lnTo>
                  <a:lnTo>
                    <a:pt x="436" y="323"/>
                  </a:lnTo>
                  <a:lnTo>
                    <a:pt x="438" y="320"/>
                  </a:lnTo>
                  <a:lnTo>
                    <a:pt x="442" y="312"/>
                  </a:lnTo>
                  <a:lnTo>
                    <a:pt x="447" y="308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58" y="305"/>
                  </a:lnTo>
                  <a:lnTo>
                    <a:pt x="461" y="306"/>
                  </a:lnTo>
                  <a:lnTo>
                    <a:pt x="462" y="306"/>
                  </a:lnTo>
                  <a:lnTo>
                    <a:pt x="467" y="311"/>
                  </a:lnTo>
                  <a:lnTo>
                    <a:pt x="469" y="312"/>
                  </a:lnTo>
                  <a:lnTo>
                    <a:pt x="470" y="311"/>
                  </a:lnTo>
                  <a:lnTo>
                    <a:pt x="475" y="308"/>
                  </a:lnTo>
                  <a:lnTo>
                    <a:pt x="476" y="306"/>
                  </a:lnTo>
                  <a:lnTo>
                    <a:pt x="478" y="308"/>
                  </a:lnTo>
                  <a:lnTo>
                    <a:pt x="479" y="309"/>
                  </a:lnTo>
                  <a:lnTo>
                    <a:pt x="483" y="311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5" y="309"/>
                  </a:lnTo>
                  <a:lnTo>
                    <a:pt x="495" y="306"/>
                  </a:lnTo>
                  <a:lnTo>
                    <a:pt x="496" y="300"/>
                  </a:lnTo>
                  <a:lnTo>
                    <a:pt x="498" y="294"/>
                  </a:lnTo>
                  <a:lnTo>
                    <a:pt x="506" y="289"/>
                  </a:lnTo>
                  <a:lnTo>
                    <a:pt x="507" y="285"/>
                  </a:lnTo>
                  <a:lnTo>
                    <a:pt x="507" y="282"/>
                  </a:lnTo>
                  <a:lnTo>
                    <a:pt x="510" y="279"/>
                  </a:lnTo>
                  <a:lnTo>
                    <a:pt x="515" y="275"/>
                  </a:lnTo>
                  <a:lnTo>
                    <a:pt x="516" y="274"/>
                  </a:lnTo>
                  <a:lnTo>
                    <a:pt x="516" y="272"/>
                  </a:lnTo>
                  <a:lnTo>
                    <a:pt x="518" y="271"/>
                  </a:lnTo>
                  <a:lnTo>
                    <a:pt x="519" y="269"/>
                  </a:lnTo>
                  <a:lnTo>
                    <a:pt x="519" y="269"/>
                  </a:lnTo>
                  <a:lnTo>
                    <a:pt x="523" y="268"/>
                  </a:lnTo>
                  <a:lnTo>
                    <a:pt x="526" y="266"/>
                  </a:lnTo>
                  <a:lnTo>
                    <a:pt x="529" y="265"/>
                  </a:lnTo>
                  <a:lnTo>
                    <a:pt x="529" y="265"/>
                  </a:lnTo>
                  <a:lnTo>
                    <a:pt x="532" y="263"/>
                  </a:lnTo>
                  <a:lnTo>
                    <a:pt x="535" y="265"/>
                  </a:lnTo>
                  <a:lnTo>
                    <a:pt x="536" y="262"/>
                  </a:lnTo>
                  <a:lnTo>
                    <a:pt x="538" y="259"/>
                  </a:lnTo>
                  <a:lnTo>
                    <a:pt x="538" y="255"/>
                  </a:lnTo>
                  <a:lnTo>
                    <a:pt x="538" y="252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9" y="249"/>
                  </a:lnTo>
                  <a:lnTo>
                    <a:pt x="541" y="248"/>
                  </a:lnTo>
                  <a:lnTo>
                    <a:pt x="539" y="24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62"/>
            <p:cNvSpPr>
              <a:spLocks/>
            </p:cNvSpPr>
            <p:nvPr/>
          </p:nvSpPr>
          <p:spPr bwMode="gray">
            <a:xfrm>
              <a:off x="8161338" y="5024438"/>
              <a:ext cx="858838" cy="520700"/>
            </a:xfrm>
            <a:custGeom>
              <a:avLst/>
              <a:gdLst>
                <a:gd name="T0" fmla="*/ 532 w 541"/>
                <a:gd name="T1" fmla="*/ 219 h 328"/>
                <a:gd name="T2" fmla="*/ 524 w 541"/>
                <a:gd name="T3" fmla="*/ 203 h 328"/>
                <a:gd name="T4" fmla="*/ 518 w 541"/>
                <a:gd name="T5" fmla="*/ 174 h 328"/>
                <a:gd name="T6" fmla="*/ 498 w 541"/>
                <a:gd name="T7" fmla="*/ 166 h 328"/>
                <a:gd name="T8" fmla="*/ 504 w 541"/>
                <a:gd name="T9" fmla="*/ 138 h 328"/>
                <a:gd name="T10" fmla="*/ 512 w 541"/>
                <a:gd name="T11" fmla="*/ 109 h 328"/>
                <a:gd name="T12" fmla="*/ 489 w 541"/>
                <a:gd name="T13" fmla="*/ 85 h 328"/>
                <a:gd name="T14" fmla="*/ 450 w 541"/>
                <a:gd name="T15" fmla="*/ 66 h 328"/>
                <a:gd name="T16" fmla="*/ 438 w 541"/>
                <a:gd name="T17" fmla="*/ 65 h 328"/>
                <a:gd name="T18" fmla="*/ 419 w 541"/>
                <a:gd name="T19" fmla="*/ 75 h 328"/>
                <a:gd name="T20" fmla="*/ 413 w 541"/>
                <a:gd name="T21" fmla="*/ 78 h 328"/>
                <a:gd name="T22" fmla="*/ 389 w 541"/>
                <a:gd name="T23" fmla="*/ 52 h 328"/>
                <a:gd name="T24" fmla="*/ 376 w 541"/>
                <a:gd name="T25" fmla="*/ 32 h 328"/>
                <a:gd name="T26" fmla="*/ 349 w 541"/>
                <a:gd name="T27" fmla="*/ 23 h 328"/>
                <a:gd name="T28" fmla="*/ 341 w 541"/>
                <a:gd name="T29" fmla="*/ 15 h 328"/>
                <a:gd name="T30" fmla="*/ 325 w 541"/>
                <a:gd name="T31" fmla="*/ 6 h 328"/>
                <a:gd name="T32" fmla="*/ 322 w 541"/>
                <a:gd name="T33" fmla="*/ 9 h 328"/>
                <a:gd name="T34" fmla="*/ 308 w 541"/>
                <a:gd name="T35" fmla="*/ 1 h 328"/>
                <a:gd name="T36" fmla="*/ 287 w 541"/>
                <a:gd name="T37" fmla="*/ 14 h 328"/>
                <a:gd name="T38" fmla="*/ 267 w 541"/>
                <a:gd name="T39" fmla="*/ 18 h 328"/>
                <a:gd name="T40" fmla="*/ 248 w 541"/>
                <a:gd name="T41" fmla="*/ 31 h 328"/>
                <a:gd name="T42" fmla="*/ 255 w 541"/>
                <a:gd name="T43" fmla="*/ 65 h 328"/>
                <a:gd name="T44" fmla="*/ 256 w 541"/>
                <a:gd name="T45" fmla="*/ 114 h 328"/>
                <a:gd name="T46" fmla="*/ 242 w 541"/>
                <a:gd name="T47" fmla="*/ 132 h 328"/>
                <a:gd name="T48" fmla="*/ 216 w 541"/>
                <a:gd name="T49" fmla="*/ 151 h 328"/>
                <a:gd name="T50" fmla="*/ 178 w 541"/>
                <a:gd name="T51" fmla="*/ 142 h 328"/>
                <a:gd name="T52" fmla="*/ 165 w 541"/>
                <a:gd name="T53" fmla="*/ 111 h 328"/>
                <a:gd name="T54" fmla="*/ 158 w 541"/>
                <a:gd name="T55" fmla="*/ 97 h 328"/>
                <a:gd name="T56" fmla="*/ 122 w 541"/>
                <a:gd name="T57" fmla="*/ 46 h 328"/>
                <a:gd name="T58" fmla="*/ 116 w 541"/>
                <a:gd name="T59" fmla="*/ 46 h 328"/>
                <a:gd name="T60" fmla="*/ 42 w 541"/>
                <a:gd name="T61" fmla="*/ 95 h 328"/>
                <a:gd name="T62" fmla="*/ 34 w 541"/>
                <a:gd name="T63" fmla="*/ 125 h 328"/>
                <a:gd name="T64" fmla="*/ 28 w 541"/>
                <a:gd name="T65" fmla="*/ 152 h 328"/>
                <a:gd name="T66" fmla="*/ 7 w 541"/>
                <a:gd name="T67" fmla="*/ 172 h 328"/>
                <a:gd name="T68" fmla="*/ 2 w 541"/>
                <a:gd name="T69" fmla="*/ 211 h 328"/>
                <a:gd name="T70" fmla="*/ 8 w 541"/>
                <a:gd name="T71" fmla="*/ 217 h 328"/>
                <a:gd name="T72" fmla="*/ 8 w 541"/>
                <a:gd name="T73" fmla="*/ 232 h 328"/>
                <a:gd name="T74" fmla="*/ 5 w 541"/>
                <a:gd name="T75" fmla="*/ 217 h 328"/>
                <a:gd name="T76" fmla="*/ 4 w 541"/>
                <a:gd name="T77" fmla="*/ 226 h 328"/>
                <a:gd name="T78" fmla="*/ 2 w 541"/>
                <a:gd name="T79" fmla="*/ 246 h 328"/>
                <a:gd name="T80" fmla="*/ 7 w 541"/>
                <a:gd name="T81" fmla="*/ 274 h 328"/>
                <a:gd name="T82" fmla="*/ 28 w 541"/>
                <a:gd name="T83" fmla="*/ 254 h 328"/>
                <a:gd name="T84" fmla="*/ 85 w 541"/>
                <a:gd name="T85" fmla="*/ 228 h 328"/>
                <a:gd name="T86" fmla="*/ 125 w 541"/>
                <a:gd name="T87" fmla="*/ 237 h 328"/>
                <a:gd name="T88" fmla="*/ 153 w 541"/>
                <a:gd name="T89" fmla="*/ 240 h 328"/>
                <a:gd name="T90" fmla="*/ 188 w 541"/>
                <a:gd name="T91" fmla="*/ 240 h 328"/>
                <a:gd name="T92" fmla="*/ 205 w 541"/>
                <a:gd name="T93" fmla="*/ 240 h 328"/>
                <a:gd name="T94" fmla="*/ 236 w 541"/>
                <a:gd name="T95" fmla="*/ 249 h 328"/>
                <a:gd name="T96" fmla="*/ 267 w 541"/>
                <a:gd name="T97" fmla="*/ 245 h 328"/>
                <a:gd name="T98" fmla="*/ 290 w 541"/>
                <a:gd name="T99" fmla="*/ 228 h 328"/>
                <a:gd name="T100" fmla="*/ 299 w 541"/>
                <a:gd name="T101" fmla="*/ 245 h 328"/>
                <a:gd name="T102" fmla="*/ 344 w 541"/>
                <a:gd name="T103" fmla="*/ 265 h 328"/>
                <a:gd name="T104" fmla="*/ 359 w 541"/>
                <a:gd name="T105" fmla="*/ 279 h 328"/>
                <a:gd name="T106" fmla="*/ 401 w 541"/>
                <a:gd name="T107" fmla="*/ 322 h 328"/>
                <a:gd name="T108" fmla="*/ 436 w 541"/>
                <a:gd name="T109" fmla="*/ 323 h 328"/>
                <a:gd name="T110" fmla="*/ 467 w 541"/>
                <a:gd name="T111" fmla="*/ 311 h 328"/>
                <a:gd name="T112" fmla="*/ 493 w 541"/>
                <a:gd name="T113" fmla="*/ 311 h 328"/>
                <a:gd name="T114" fmla="*/ 515 w 541"/>
                <a:gd name="T115" fmla="*/ 275 h 328"/>
                <a:gd name="T116" fmla="*/ 529 w 541"/>
                <a:gd name="T117" fmla="*/ 265 h 328"/>
                <a:gd name="T118" fmla="*/ 539 w 541"/>
                <a:gd name="T119" fmla="*/ 249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328">
                  <a:moveTo>
                    <a:pt x="539" y="246"/>
                  </a:moveTo>
                  <a:lnTo>
                    <a:pt x="536" y="237"/>
                  </a:lnTo>
                  <a:lnTo>
                    <a:pt x="536" y="234"/>
                  </a:lnTo>
                  <a:lnTo>
                    <a:pt x="536" y="231"/>
                  </a:lnTo>
                  <a:lnTo>
                    <a:pt x="536" y="226"/>
                  </a:lnTo>
                  <a:lnTo>
                    <a:pt x="536" y="225"/>
                  </a:lnTo>
                  <a:lnTo>
                    <a:pt x="536" y="225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7"/>
                  </a:lnTo>
                  <a:lnTo>
                    <a:pt x="532" y="215"/>
                  </a:lnTo>
                  <a:lnTo>
                    <a:pt x="533" y="214"/>
                  </a:lnTo>
                  <a:lnTo>
                    <a:pt x="533" y="212"/>
                  </a:lnTo>
                  <a:lnTo>
                    <a:pt x="533" y="211"/>
                  </a:lnTo>
                  <a:lnTo>
                    <a:pt x="532" y="209"/>
                  </a:lnTo>
                  <a:lnTo>
                    <a:pt x="526" y="206"/>
                  </a:lnTo>
                  <a:lnTo>
                    <a:pt x="526" y="205"/>
                  </a:lnTo>
                  <a:lnTo>
                    <a:pt x="524" y="203"/>
                  </a:lnTo>
                  <a:lnTo>
                    <a:pt x="524" y="200"/>
                  </a:lnTo>
                  <a:lnTo>
                    <a:pt x="524" y="194"/>
                  </a:lnTo>
                  <a:lnTo>
                    <a:pt x="523" y="191"/>
                  </a:lnTo>
                  <a:lnTo>
                    <a:pt x="515" y="186"/>
                  </a:lnTo>
                  <a:lnTo>
                    <a:pt x="515" y="185"/>
                  </a:lnTo>
                  <a:lnTo>
                    <a:pt x="515" y="182"/>
                  </a:lnTo>
                  <a:lnTo>
                    <a:pt x="516" y="178"/>
                  </a:lnTo>
                  <a:lnTo>
                    <a:pt x="518" y="175"/>
                  </a:lnTo>
                  <a:lnTo>
                    <a:pt x="518" y="174"/>
                  </a:lnTo>
                  <a:lnTo>
                    <a:pt x="516" y="172"/>
                  </a:lnTo>
                  <a:lnTo>
                    <a:pt x="513" y="169"/>
                  </a:lnTo>
                  <a:lnTo>
                    <a:pt x="512" y="168"/>
                  </a:lnTo>
                  <a:lnTo>
                    <a:pt x="509" y="166"/>
                  </a:lnTo>
                  <a:lnTo>
                    <a:pt x="506" y="168"/>
                  </a:lnTo>
                  <a:lnTo>
                    <a:pt x="499" y="171"/>
                  </a:lnTo>
                  <a:lnTo>
                    <a:pt x="498" y="171"/>
                  </a:lnTo>
                  <a:lnTo>
                    <a:pt x="496" y="171"/>
                  </a:lnTo>
                  <a:lnTo>
                    <a:pt x="498" y="166"/>
                  </a:lnTo>
                  <a:lnTo>
                    <a:pt x="503" y="155"/>
                  </a:lnTo>
                  <a:lnTo>
                    <a:pt x="503" y="154"/>
                  </a:lnTo>
                  <a:lnTo>
                    <a:pt x="504" y="151"/>
                  </a:lnTo>
                  <a:lnTo>
                    <a:pt x="504" y="149"/>
                  </a:lnTo>
                  <a:lnTo>
                    <a:pt x="504" y="148"/>
                  </a:lnTo>
                  <a:lnTo>
                    <a:pt x="506" y="145"/>
                  </a:lnTo>
                  <a:lnTo>
                    <a:pt x="506" y="143"/>
                  </a:lnTo>
                  <a:lnTo>
                    <a:pt x="506" y="140"/>
                  </a:lnTo>
                  <a:lnTo>
                    <a:pt x="504" y="138"/>
                  </a:lnTo>
                  <a:lnTo>
                    <a:pt x="501" y="137"/>
                  </a:lnTo>
                  <a:lnTo>
                    <a:pt x="501" y="135"/>
                  </a:lnTo>
                  <a:lnTo>
                    <a:pt x="503" y="132"/>
                  </a:lnTo>
                  <a:lnTo>
                    <a:pt x="509" y="129"/>
                  </a:lnTo>
                  <a:lnTo>
                    <a:pt x="512" y="128"/>
                  </a:lnTo>
                  <a:lnTo>
                    <a:pt x="512" y="125"/>
                  </a:lnTo>
                  <a:lnTo>
                    <a:pt x="512" y="120"/>
                  </a:lnTo>
                  <a:lnTo>
                    <a:pt x="513" y="112"/>
                  </a:lnTo>
                  <a:lnTo>
                    <a:pt x="512" y="109"/>
                  </a:lnTo>
                  <a:lnTo>
                    <a:pt x="512" y="108"/>
                  </a:lnTo>
                  <a:lnTo>
                    <a:pt x="510" y="106"/>
                  </a:lnTo>
                  <a:lnTo>
                    <a:pt x="503" y="101"/>
                  </a:lnTo>
                  <a:lnTo>
                    <a:pt x="501" y="100"/>
                  </a:lnTo>
                  <a:lnTo>
                    <a:pt x="498" y="95"/>
                  </a:lnTo>
                  <a:lnTo>
                    <a:pt x="490" y="92"/>
                  </a:lnTo>
                  <a:lnTo>
                    <a:pt x="487" y="91"/>
                  </a:lnTo>
                  <a:lnTo>
                    <a:pt x="489" y="88"/>
                  </a:lnTo>
                  <a:lnTo>
                    <a:pt x="489" y="85"/>
                  </a:lnTo>
                  <a:lnTo>
                    <a:pt x="489" y="81"/>
                  </a:lnTo>
                  <a:lnTo>
                    <a:pt x="489" y="77"/>
                  </a:lnTo>
                  <a:lnTo>
                    <a:pt x="476" y="77"/>
                  </a:lnTo>
                  <a:lnTo>
                    <a:pt x="473" y="78"/>
                  </a:lnTo>
                  <a:lnTo>
                    <a:pt x="462" y="74"/>
                  </a:lnTo>
                  <a:lnTo>
                    <a:pt x="456" y="74"/>
                  </a:lnTo>
                  <a:lnTo>
                    <a:pt x="455" y="72"/>
                  </a:lnTo>
                  <a:lnTo>
                    <a:pt x="453" y="71"/>
                  </a:lnTo>
                  <a:lnTo>
                    <a:pt x="450" y="66"/>
                  </a:lnTo>
                  <a:lnTo>
                    <a:pt x="449" y="65"/>
                  </a:lnTo>
                  <a:lnTo>
                    <a:pt x="446" y="65"/>
                  </a:lnTo>
                  <a:lnTo>
                    <a:pt x="444" y="65"/>
                  </a:lnTo>
                  <a:lnTo>
                    <a:pt x="442" y="65"/>
                  </a:lnTo>
                  <a:lnTo>
                    <a:pt x="442" y="65"/>
                  </a:lnTo>
                  <a:lnTo>
                    <a:pt x="441" y="63"/>
                  </a:lnTo>
                  <a:lnTo>
                    <a:pt x="441" y="63"/>
                  </a:lnTo>
                  <a:lnTo>
                    <a:pt x="439" y="63"/>
                  </a:lnTo>
                  <a:lnTo>
                    <a:pt x="438" y="65"/>
                  </a:lnTo>
                  <a:lnTo>
                    <a:pt x="436" y="68"/>
                  </a:lnTo>
                  <a:lnTo>
                    <a:pt x="436" y="69"/>
                  </a:lnTo>
                  <a:lnTo>
                    <a:pt x="435" y="71"/>
                  </a:lnTo>
                  <a:lnTo>
                    <a:pt x="433" y="71"/>
                  </a:lnTo>
                  <a:lnTo>
                    <a:pt x="427" y="71"/>
                  </a:lnTo>
                  <a:lnTo>
                    <a:pt x="426" y="71"/>
                  </a:lnTo>
                  <a:lnTo>
                    <a:pt x="422" y="72"/>
                  </a:lnTo>
                  <a:lnTo>
                    <a:pt x="421" y="75"/>
                  </a:lnTo>
                  <a:lnTo>
                    <a:pt x="419" y="75"/>
                  </a:lnTo>
                  <a:lnTo>
                    <a:pt x="419" y="77"/>
                  </a:lnTo>
                  <a:lnTo>
                    <a:pt x="419" y="77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7"/>
                  </a:lnTo>
                  <a:lnTo>
                    <a:pt x="416" y="77"/>
                  </a:lnTo>
                  <a:lnTo>
                    <a:pt x="415" y="77"/>
                  </a:lnTo>
                  <a:lnTo>
                    <a:pt x="413" y="78"/>
                  </a:lnTo>
                  <a:lnTo>
                    <a:pt x="413" y="78"/>
                  </a:lnTo>
                  <a:lnTo>
                    <a:pt x="412" y="77"/>
                  </a:lnTo>
                  <a:lnTo>
                    <a:pt x="409" y="74"/>
                  </a:lnTo>
                  <a:lnTo>
                    <a:pt x="407" y="72"/>
                  </a:lnTo>
                  <a:lnTo>
                    <a:pt x="407" y="72"/>
                  </a:lnTo>
                  <a:lnTo>
                    <a:pt x="401" y="69"/>
                  </a:lnTo>
                  <a:lnTo>
                    <a:pt x="401" y="69"/>
                  </a:lnTo>
                  <a:lnTo>
                    <a:pt x="398" y="66"/>
                  </a:lnTo>
                  <a:lnTo>
                    <a:pt x="395" y="63"/>
                  </a:lnTo>
                  <a:lnTo>
                    <a:pt x="389" y="52"/>
                  </a:lnTo>
                  <a:lnTo>
                    <a:pt x="385" y="49"/>
                  </a:lnTo>
                  <a:lnTo>
                    <a:pt x="378" y="43"/>
                  </a:lnTo>
                  <a:lnTo>
                    <a:pt x="376" y="40"/>
                  </a:lnTo>
                  <a:lnTo>
                    <a:pt x="376" y="38"/>
                  </a:lnTo>
                  <a:lnTo>
                    <a:pt x="376" y="37"/>
                  </a:lnTo>
                  <a:lnTo>
                    <a:pt x="376" y="35"/>
                  </a:lnTo>
                  <a:lnTo>
                    <a:pt x="378" y="35"/>
                  </a:lnTo>
                  <a:lnTo>
                    <a:pt x="376" y="34"/>
                  </a:lnTo>
                  <a:lnTo>
                    <a:pt x="376" y="32"/>
                  </a:lnTo>
                  <a:lnTo>
                    <a:pt x="376" y="32"/>
                  </a:lnTo>
                  <a:lnTo>
                    <a:pt x="359" y="31"/>
                  </a:lnTo>
                  <a:lnTo>
                    <a:pt x="358" y="29"/>
                  </a:lnTo>
                  <a:lnTo>
                    <a:pt x="358" y="26"/>
                  </a:lnTo>
                  <a:lnTo>
                    <a:pt x="356" y="23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3" y="21"/>
                  </a:lnTo>
                  <a:lnTo>
                    <a:pt x="349" y="23"/>
                  </a:lnTo>
                  <a:lnTo>
                    <a:pt x="347" y="23"/>
                  </a:lnTo>
                  <a:lnTo>
                    <a:pt x="345" y="23"/>
                  </a:lnTo>
                  <a:lnTo>
                    <a:pt x="344" y="21"/>
                  </a:lnTo>
                  <a:lnTo>
                    <a:pt x="342" y="20"/>
                  </a:lnTo>
                  <a:lnTo>
                    <a:pt x="342" y="18"/>
                  </a:lnTo>
                  <a:lnTo>
                    <a:pt x="342" y="18"/>
                  </a:lnTo>
                  <a:lnTo>
                    <a:pt x="342" y="18"/>
                  </a:lnTo>
                  <a:lnTo>
                    <a:pt x="342" y="17"/>
                  </a:lnTo>
                  <a:lnTo>
                    <a:pt x="341" y="15"/>
                  </a:lnTo>
                  <a:lnTo>
                    <a:pt x="341" y="15"/>
                  </a:lnTo>
                  <a:lnTo>
                    <a:pt x="338" y="15"/>
                  </a:lnTo>
                  <a:lnTo>
                    <a:pt x="335" y="14"/>
                  </a:lnTo>
                  <a:lnTo>
                    <a:pt x="330" y="8"/>
                  </a:lnTo>
                  <a:lnTo>
                    <a:pt x="327" y="6"/>
                  </a:lnTo>
                  <a:lnTo>
                    <a:pt x="327" y="6"/>
                  </a:lnTo>
                  <a:lnTo>
                    <a:pt x="325" y="6"/>
                  </a:lnTo>
                  <a:lnTo>
                    <a:pt x="325" y="6"/>
                  </a:lnTo>
                  <a:lnTo>
                    <a:pt x="325" y="6"/>
                  </a:lnTo>
                  <a:lnTo>
                    <a:pt x="324" y="4"/>
                  </a:lnTo>
                  <a:lnTo>
                    <a:pt x="324" y="3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21" y="0"/>
                  </a:lnTo>
                  <a:lnTo>
                    <a:pt x="319" y="1"/>
                  </a:lnTo>
                  <a:lnTo>
                    <a:pt x="319" y="3"/>
                  </a:lnTo>
                  <a:lnTo>
                    <a:pt x="321" y="8"/>
                  </a:lnTo>
                  <a:lnTo>
                    <a:pt x="322" y="9"/>
                  </a:lnTo>
                  <a:lnTo>
                    <a:pt x="321" y="1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6" y="12"/>
                  </a:lnTo>
                  <a:lnTo>
                    <a:pt x="315" y="9"/>
                  </a:lnTo>
                  <a:lnTo>
                    <a:pt x="315" y="6"/>
                  </a:lnTo>
                  <a:lnTo>
                    <a:pt x="313" y="3"/>
                  </a:lnTo>
                  <a:lnTo>
                    <a:pt x="312" y="1"/>
                  </a:lnTo>
                  <a:lnTo>
                    <a:pt x="308" y="1"/>
                  </a:lnTo>
                  <a:lnTo>
                    <a:pt x="305" y="1"/>
                  </a:lnTo>
                  <a:lnTo>
                    <a:pt x="304" y="3"/>
                  </a:lnTo>
                  <a:lnTo>
                    <a:pt x="304" y="4"/>
                  </a:lnTo>
                  <a:lnTo>
                    <a:pt x="299" y="9"/>
                  </a:lnTo>
                  <a:lnTo>
                    <a:pt x="298" y="11"/>
                  </a:lnTo>
                  <a:lnTo>
                    <a:pt x="292" y="11"/>
                  </a:lnTo>
                  <a:lnTo>
                    <a:pt x="290" y="12"/>
                  </a:lnTo>
                  <a:lnTo>
                    <a:pt x="288" y="14"/>
                  </a:lnTo>
                  <a:lnTo>
                    <a:pt x="287" y="14"/>
                  </a:lnTo>
                  <a:lnTo>
                    <a:pt x="285" y="14"/>
                  </a:lnTo>
                  <a:lnTo>
                    <a:pt x="284" y="12"/>
                  </a:lnTo>
                  <a:lnTo>
                    <a:pt x="281" y="12"/>
                  </a:lnTo>
                  <a:lnTo>
                    <a:pt x="279" y="14"/>
                  </a:lnTo>
                  <a:lnTo>
                    <a:pt x="279" y="17"/>
                  </a:lnTo>
                  <a:lnTo>
                    <a:pt x="278" y="18"/>
                  </a:lnTo>
                  <a:lnTo>
                    <a:pt x="273" y="18"/>
                  </a:lnTo>
                  <a:lnTo>
                    <a:pt x="267" y="18"/>
                  </a:lnTo>
                  <a:lnTo>
                    <a:pt x="267" y="18"/>
                  </a:lnTo>
                  <a:lnTo>
                    <a:pt x="262" y="21"/>
                  </a:lnTo>
                  <a:lnTo>
                    <a:pt x="259" y="23"/>
                  </a:lnTo>
                  <a:lnTo>
                    <a:pt x="258" y="24"/>
                  </a:lnTo>
                  <a:lnTo>
                    <a:pt x="258" y="28"/>
                  </a:lnTo>
                  <a:lnTo>
                    <a:pt x="256" y="29"/>
                  </a:lnTo>
                  <a:lnTo>
                    <a:pt x="255" y="31"/>
                  </a:lnTo>
                  <a:lnTo>
                    <a:pt x="253" y="31"/>
                  </a:lnTo>
                  <a:lnTo>
                    <a:pt x="250" y="29"/>
                  </a:lnTo>
                  <a:lnTo>
                    <a:pt x="248" y="31"/>
                  </a:lnTo>
                  <a:lnTo>
                    <a:pt x="248" y="32"/>
                  </a:lnTo>
                  <a:lnTo>
                    <a:pt x="248" y="34"/>
                  </a:lnTo>
                  <a:lnTo>
                    <a:pt x="248" y="37"/>
                  </a:lnTo>
                  <a:lnTo>
                    <a:pt x="248" y="45"/>
                  </a:lnTo>
                  <a:lnTo>
                    <a:pt x="248" y="46"/>
                  </a:lnTo>
                  <a:lnTo>
                    <a:pt x="250" y="49"/>
                  </a:lnTo>
                  <a:lnTo>
                    <a:pt x="253" y="55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3" y="69"/>
                  </a:lnTo>
                  <a:lnTo>
                    <a:pt x="253" y="74"/>
                  </a:lnTo>
                  <a:lnTo>
                    <a:pt x="253" y="75"/>
                  </a:lnTo>
                  <a:lnTo>
                    <a:pt x="255" y="77"/>
                  </a:lnTo>
                  <a:lnTo>
                    <a:pt x="255" y="80"/>
                  </a:lnTo>
                  <a:lnTo>
                    <a:pt x="255" y="85"/>
                  </a:lnTo>
                  <a:lnTo>
                    <a:pt x="256" y="101"/>
                  </a:lnTo>
                  <a:lnTo>
                    <a:pt x="256" y="108"/>
                  </a:lnTo>
                  <a:lnTo>
                    <a:pt x="256" y="114"/>
                  </a:lnTo>
                  <a:lnTo>
                    <a:pt x="255" y="117"/>
                  </a:lnTo>
                  <a:lnTo>
                    <a:pt x="250" y="123"/>
                  </a:lnTo>
                  <a:lnTo>
                    <a:pt x="248" y="125"/>
                  </a:lnTo>
                  <a:lnTo>
                    <a:pt x="247" y="126"/>
                  </a:lnTo>
                  <a:lnTo>
                    <a:pt x="247" y="128"/>
                  </a:lnTo>
                  <a:lnTo>
                    <a:pt x="245" y="128"/>
                  </a:lnTo>
                  <a:lnTo>
                    <a:pt x="244" y="129"/>
                  </a:lnTo>
                  <a:lnTo>
                    <a:pt x="242" y="131"/>
                  </a:lnTo>
                  <a:lnTo>
                    <a:pt x="242" y="132"/>
                  </a:lnTo>
                  <a:lnTo>
                    <a:pt x="235" y="137"/>
                  </a:lnTo>
                  <a:lnTo>
                    <a:pt x="231" y="138"/>
                  </a:lnTo>
                  <a:lnTo>
                    <a:pt x="228" y="140"/>
                  </a:lnTo>
                  <a:lnTo>
                    <a:pt x="228" y="142"/>
                  </a:lnTo>
                  <a:lnTo>
                    <a:pt x="227" y="143"/>
                  </a:lnTo>
                  <a:lnTo>
                    <a:pt x="225" y="145"/>
                  </a:lnTo>
                  <a:lnTo>
                    <a:pt x="222" y="148"/>
                  </a:lnTo>
                  <a:lnTo>
                    <a:pt x="221" y="148"/>
                  </a:lnTo>
                  <a:lnTo>
                    <a:pt x="216" y="151"/>
                  </a:lnTo>
                  <a:lnTo>
                    <a:pt x="204" y="154"/>
                  </a:lnTo>
                  <a:lnTo>
                    <a:pt x="199" y="152"/>
                  </a:lnTo>
                  <a:lnTo>
                    <a:pt x="196" y="152"/>
                  </a:lnTo>
                  <a:lnTo>
                    <a:pt x="194" y="151"/>
                  </a:lnTo>
                  <a:lnTo>
                    <a:pt x="194" y="151"/>
                  </a:lnTo>
                  <a:lnTo>
                    <a:pt x="191" y="146"/>
                  </a:lnTo>
                  <a:lnTo>
                    <a:pt x="190" y="145"/>
                  </a:lnTo>
                  <a:lnTo>
                    <a:pt x="184" y="143"/>
                  </a:lnTo>
                  <a:lnTo>
                    <a:pt x="178" y="142"/>
                  </a:lnTo>
                  <a:lnTo>
                    <a:pt x="174" y="137"/>
                  </a:lnTo>
                  <a:lnTo>
                    <a:pt x="173" y="137"/>
                  </a:lnTo>
                  <a:lnTo>
                    <a:pt x="171" y="135"/>
                  </a:lnTo>
                  <a:lnTo>
                    <a:pt x="170" y="134"/>
                  </a:lnTo>
                  <a:lnTo>
                    <a:pt x="168" y="120"/>
                  </a:lnTo>
                  <a:lnTo>
                    <a:pt x="168" y="120"/>
                  </a:lnTo>
                  <a:lnTo>
                    <a:pt x="167" y="118"/>
                  </a:lnTo>
                  <a:lnTo>
                    <a:pt x="167" y="115"/>
                  </a:lnTo>
                  <a:lnTo>
                    <a:pt x="165" y="111"/>
                  </a:lnTo>
                  <a:lnTo>
                    <a:pt x="165" y="108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2" y="101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62" y="98"/>
                  </a:lnTo>
                  <a:lnTo>
                    <a:pt x="161" y="98"/>
                  </a:lnTo>
                  <a:lnTo>
                    <a:pt x="158" y="97"/>
                  </a:lnTo>
                  <a:lnTo>
                    <a:pt x="154" y="95"/>
                  </a:lnTo>
                  <a:lnTo>
                    <a:pt x="148" y="89"/>
                  </a:lnTo>
                  <a:lnTo>
                    <a:pt x="144" y="83"/>
                  </a:lnTo>
                  <a:lnTo>
                    <a:pt x="127" y="69"/>
                  </a:lnTo>
                  <a:lnTo>
                    <a:pt x="122" y="63"/>
                  </a:lnTo>
                  <a:lnTo>
                    <a:pt x="122" y="60"/>
                  </a:lnTo>
                  <a:lnTo>
                    <a:pt x="121" y="57"/>
                  </a:lnTo>
                  <a:lnTo>
                    <a:pt x="122" y="52"/>
                  </a:lnTo>
                  <a:lnTo>
                    <a:pt x="122" y="46"/>
                  </a:lnTo>
                  <a:lnTo>
                    <a:pt x="122" y="46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2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19" y="46"/>
                  </a:lnTo>
                  <a:lnTo>
                    <a:pt x="119" y="46"/>
                  </a:lnTo>
                  <a:lnTo>
                    <a:pt x="116" y="46"/>
                  </a:lnTo>
                  <a:lnTo>
                    <a:pt x="113" y="46"/>
                  </a:lnTo>
                  <a:lnTo>
                    <a:pt x="91" y="58"/>
                  </a:lnTo>
                  <a:lnTo>
                    <a:pt x="77" y="66"/>
                  </a:lnTo>
                  <a:lnTo>
                    <a:pt x="74" y="68"/>
                  </a:lnTo>
                  <a:lnTo>
                    <a:pt x="61" y="69"/>
                  </a:lnTo>
                  <a:lnTo>
                    <a:pt x="57" y="71"/>
                  </a:lnTo>
                  <a:lnTo>
                    <a:pt x="54" y="72"/>
                  </a:lnTo>
                  <a:lnTo>
                    <a:pt x="47" y="89"/>
                  </a:lnTo>
                  <a:lnTo>
                    <a:pt x="42" y="95"/>
                  </a:lnTo>
                  <a:lnTo>
                    <a:pt x="39" y="103"/>
                  </a:lnTo>
                  <a:lnTo>
                    <a:pt x="37" y="105"/>
                  </a:lnTo>
                  <a:lnTo>
                    <a:pt x="36" y="105"/>
                  </a:lnTo>
                  <a:lnTo>
                    <a:pt x="36" y="108"/>
                  </a:lnTo>
                  <a:lnTo>
                    <a:pt x="34" y="109"/>
                  </a:lnTo>
                  <a:lnTo>
                    <a:pt x="34" y="112"/>
                  </a:lnTo>
                  <a:lnTo>
                    <a:pt x="34" y="115"/>
                  </a:lnTo>
                  <a:lnTo>
                    <a:pt x="34" y="123"/>
                  </a:lnTo>
                  <a:lnTo>
                    <a:pt x="34" y="125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4" y="138"/>
                  </a:lnTo>
                  <a:lnTo>
                    <a:pt x="33" y="145"/>
                  </a:lnTo>
                  <a:lnTo>
                    <a:pt x="31" y="148"/>
                  </a:lnTo>
                  <a:lnTo>
                    <a:pt x="30" y="151"/>
                  </a:lnTo>
                  <a:lnTo>
                    <a:pt x="28" y="152"/>
                  </a:lnTo>
                  <a:lnTo>
                    <a:pt x="25" y="154"/>
                  </a:lnTo>
                  <a:lnTo>
                    <a:pt x="25" y="155"/>
                  </a:lnTo>
                  <a:lnTo>
                    <a:pt x="24" y="155"/>
                  </a:lnTo>
                  <a:lnTo>
                    <a:pt x="20" y="160"/>
                  </a:lnTo>
                  <a:lnTo>
                    <a:pt x="19" y="162"/>
                  </a:lnTo>
                  <a:lnTo>
                    <a:pt x="14" y="165"/>
                  </a:lnTo>
                  <a:lnTo>
                    <a:pt x="14" y="166"/>
                  </a:lnTo>
                  <a:lnTo>
                    <a:pt x="8" y="169"/>
                  </a:lnTo>
                  <a:lnTo>
                    <a:pt x="7" y="172"/>
                  </a:lnTo>
                  <a:lnTo>
                    <a:pt x="7" y="174"/>
                  </a:lnTo>
                  <a:lnTo>
                    <a:pt x="8" y="177"/>
                  </a:lnTo>
                  <a:lnTo>
                    <a:pt x="8" y="180"/>
                  </a:lnTo>
                  <a:lnTo>
                    <a:pt x="8" y="191"/>
                  </a:lnTo>
                  <a:lnTo>
                    <a:pt x="7" y="195"/>
                  </a:lnTo>
                  <a:lnTo>
                    <a:pt x="4" y="203"/>
                  </a:lnTo>
                  <a:lnTo>
                    <a:pt x="4" y="209"/>
                  </a:lnTo>
                  <a:lnTo>
                    <a:pt x="2" y="209"/>
                  </a:lnTo>
                  <a:lnTo>
                    <a:pt x="2" y="211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7" y="215"/>
                  </a:lnTo>
                  <a:lnTo>
                    <a:pt x="7" y="215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8" y="225"/>
                  </a:lnTo>
                  <a:lnTo>
                    <a:pt x="8" y="228"/>
                  </a:lnTo>
                  <a:lnTo>
                    <a:pt x="10" y="229"/>
                  </a:lnTo>
                  <a:lnTo>
                    <a:pt x="8" y="231"/>
                  </a:lnTo>
                  <a:lnTo>
                    <a:pt x="8" y="232"/>
                  </a:lnTo>
                  <a:lnTo>
                    <a:pt x="8" y="232"/>
                  </a:lnTo>
                  <a:lnTo>
                    <a:pt x="7" y="231"/>
                  </a:lnTo>
                  <a:lnTo>
                    <a:pt x="5" y="229"/>
                  </a:lnTo>
                  <a:lnTo>
                    <a:pt x="7" y="228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5" y="223"/>
                  </a:lnTo>
                  <a:lnTo>
                    <a:pt x="7" y="222"/>
                  </a:lnTo>
                  <a:lnTo>
                    <a:pt x="5" y="220"/>
                  </a:lnTo>
                  <a:lnTo>
                    <a:pt x="5" y="217"/>
                  </a:lnTo>
                  <a:lnTo>
                    <a:pt x="5" y="215"/>
                  </a:lnTo>
                  <a:lnTo>
                    <a:pt x="4" y="214"/>
                  </a:lnTo>
                  <a:lnTo>
                    <a:pt x="4" y="215"/>
                  </a:lnTo>
                  <a:lnTo>
                    <a:pt x="4" y="219"/>
                  </a:lnTo>
                  <a:lnTo>
                    <a:pt x="4" y="220"/>
                  </a:lnTo>
                  <a:lnTo>
                    <a:pt x="4" y="222"/>
                  </a:lnTo>
                  <a:lnTo>
                    <a:pt x="4" y="225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2" y="228"/>
                  </a:lnTo>
                  <a:lnTo>
                    <a:pt x="2" y="229"/>
                  </a:lnTo>
                  <a:lnTo>
                    <a:pt x="0" y="232"/>
                  </a:lnTo>
                  <a:lnTo>
                    <a:pt x="0" y="234"/>
                  </a:lnTo>
                  <a:lnTo>
                    <a:pt x="0" y="237"/>
                  </a:lnTo>
                  <a:lnTo>
                    <a:pt x="2" y="242"/>
                  </a:lnTo>
                  <a:lnTo>
                    <a:pt x="2" y="243"/>
                  </a:lnTo>
                  <a:lnTo>
                    <a:pt x="2" y="245"/>
                  </a:lnTo>
                  <a:lnTo>
                    <a:pt x="2" y="246"/>
                  </a:lnTo>
                  <a:lnTo>
                    <a:pt x="0" y="249"/>
                  </a:lnTo>
                  <a:lnTo>
                    <a:pt x="0" y="249"/>
                  </a:lnTo>
                  <a:lnTo>
                    <a:pt x="0" y="252"/>
                  </a:lnTo>
                  <a:lnTo>
                    <a:pt x="2" y="255"/>
                  </a:lnTo>
                  <a:lnTo>
                    <a:pt x="5" y="265"/>
                  </a:lnTo>
                  <a:lnTo>
                    <a:pt x="7" y="268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10" y="274"/>
                  </a:lnTo>
                  <a:lnTo>
                    <a:pt x="14" y="274"/>
                  </a:lnTo>
                  <a:lnTo>
                    <a:pt x="17" y="272"/>
                  </a:lnTo>
                  <a:lnTo>
                    <a:pt x="19" y="269"/>
                  </a:lnTo>
                  <a:lnTo>
                    <a:pt x="19" y="266"/>
                  </a:lnTo>
                  <a:lnTo>
                    <a:pt x="20" y="262"/>
                  </a:lnTo>
                  <a:lnTo>
                    <a:pt x="22" y="259"/>
                  </a:lnTo>
                  <a:lnTo>
                    <a:pt x="25" y="255"/>
                  </a:lnTo>
                  <a:lnTo>
                    <a:pt x="28" y="254"/>
                  </a:lnTo>
                  <a:lnTo>
                    <a:pt x="30" y="252"/>
                  </a:lnTo>
                  <a:lnTo>
                    <a:pt x="33" y="252"/>
                  </a:lnTo>
                  <a:lnTo>
                    <a:pt x="34" y="252"/>
                  </a:lnTo>
                  <a:lnTo>
                    <a:pt x="45" y="245"/>
                  </a:lnTo>
                  <a:lnTo>
                    <a:pt x="48" y="243"/>
                  </a:lnTo>
                  <a:lnTo>
                    <a:pt x="54" y="242"/>
                  </a:lnTo>
                  <a:lnTo>
                    <a:pt x="74" y="232"/>
                  </a:lnTo>
                  <a:lnTo>
                    <a:pt x="76" y="232"/>
                  </a:lnTo>
                  <a:lnTo>
                    <a:pt x="85" y="228"/>
                  </a:lnTo>
                  <a:lnTo>
                    <a:pt x="88" y="228"/>
                  </a:lnTo>
                  <a:lnTo>
                    <a:pt x="90" y="229"/>
                  </a:lnTo>
                  <a:lnTo>
                    <a:pt x="91" y="231"/>
                  </a:lnTo>
                  <a:lnTo>
                    <a:pt x="93" y="231"/>
                  </a:lnTo>
                  <a:lnTo>
                    <a:pt x="116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2" y="232"/>
                  </a:lnTo>
                  <a:lnTo>
                    <a:pt x="125" y="237"/>
                  </a:lnTo>
                  <a:lnTo>
                    <a:pt x="127" y="237"/>
                  </a:lnTo>
                  <a:lnTo>
                    <a:pt x="128" y="237"/>
                  </a:lnTo>
                  <a:lnTo>
                    <a:pt x="139" y="232"/>
                  </a:lnTo>
                  <a:lnTo>
                    <a:pt x="142" y="231"/>
                  </a:lnTo>
                  <a:lnTo>
                    <a:pt x="144" y="229"/>
                  </a:lnTo>
                  <a:lnTo>
                    <a:pt x="147" y="229"/>
                  </a:lnTo>
                  <a:lnTo>
                    <a:pt x="148" y="229"/>
                  </a:lnTo>
                  <a:lnTo>
                    <a:pt x="150" y="234"/>
                  </a:lnTo>
                  <a:lnTo>
                    <a:pt x="153" y="240"/>
                  </a:lnTo>
                  <a:lnTo>
                    <a:pt x="156" y="243"/>
                  </a:lnTo>
                  <a:lnTo>
                    <a:pt x="161" y="242"/>
                  </a:lnTo>
                  <a:lnTo>
                    <a:pt x="164" y="239"/>
                  </a:lnTo>
                  <a:lnTo>
                    <a:pt x="164" y="237"/>
                  </a:lnTo>
                  <a:lnTo>
                    <a:pt x="165" y="235"/>
                  </a:lnTo>
                  <a:lnTo>
                    <a:pt x="173" y="234"/>
                  </a:lnTo>
                  <a:lnTo>
                    <a:pt x="174" y="234"/>
                  </a:lnTo>
                  <a:lnTo>
                    <a:pt x="181" y="237"/>
                  </a:lnTo>
                  <a:lnTo>
                    <a:pt x="188" y="240"/>
                  </a:lnTo>
                  <a:lnTo>
                    <a:pt x="190" y="240"/>
                  </a:lnTo>
                  <a:lnTo>
                    <a:pt x="194" y="237"/>
                  </a:lnTo>
                  <a:lnTo>
                    <a:pt x="198" y="237"/>
                  </a:lnTo>
                  <a:lnTo>
                    <a:pt x="202" y="237"/>
                  </a:lnTo>
                  <a:lnTo>
                    <a:pt x="205" y="237"/>
                  </a:lnTo>
                  <a:lnTo>
                    <a:pt x="205" y="237"/>
                  </a:lnTo>
                  <a:lnTo>
                    <a:pt x="205" y="237"/>
                  </a:lnTo>
                  <a:lnTo>
                    <a:pt x="205" y="239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8" y="240"/>
                  </a:lnTo>
                  <a:lnTo>
                    <a:pt x="213" y="239"/>
                  </a:lnTo>
                  <a:lnTo>
                    <a:pt x="216" y="239"/>
                  </a:lnTo>
                  <a:lnTo>
                    <a:pt x="216" y="240"/>
                  </a:lnTo>
                  <a:lnTo>
                    <a:pt x="225" y="242"/>
                  </a:lnTo>
                  <a:lnTo>
                    <a:pt x="231" y="248"/>
                  </a:lnTo>
                  <a:lnTo>
                    <a:pt x="235" y="249"/>
                  </a:lnTo>
                  <a:lnTo>
                    <a:pt x="236" y="249"/>
                  </a:lnTo>
                  <a:lnTo>
                    <a:pt x="236" y="249"/>
                  </a:lnTo>
                  <a:lnTo>
                    <a:pt x="239" y="249"/>
                  </a:lnTo>
                  <a:lnTo>
                    <a:pt x="248" y="245"/>
                  </a:lnTo>
                  <a:lnTo>
                    <a:pt x="250" y="243"/>
                  </a:lnTo>
                  <a:lnTo>
                    <a:pt x="253" y="245"/>
                  </a:lnTo>
                  <a:lnTo>
                    <a:pt x="258" y="248"/>
                  </a:lnTo>
                  <a:lnTo>
                    <a:pt x="259" y="249"/>
                  </a:lnTo>
                  <a:lnTo>
                    <a:pt x="262" y="248"/>
                  </a:lnTo>
                  <a:lnTo>
                    <a:pt x="267" y="245"/>
                  </a:lnTo>
                  <a:lnTo>
                    <a:pt x="268" y="243"/>
                  </a:lnTo>
                  <a:lnTo>
                    <a:pt x="275" y="235"/>
                  </a:lnTo>
                  <a:lnTo>
                    <a:pt x="278" y="234"/>
                  </a:lnTo>
                  <a:lnTo>
                    <a:pt x="279" y="232"/>
                  </a:lnTo>
                  <a:lnTo>
                    <a:pt x="287" y="229"/>
                  </a:lnTo>
                  <a:lnTo>
                    <a:pt x="287" y="229"/>
                  </a:lnTo>
                  <a:lnTo>
                    <a:pt x="288" y="229"/>
                  </a:lnTo>
                  <a:lnTo>
                    <a:pt x="290" y="229"/>
                  </a:lnTo>
                  <a:lnTo>
                    <a:pt x="290" y="228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2" y="225"/>
                  </a:lnTo>
                  <a:lnTo>
                    <a:pt x="293" y="225"/>
                  </a:lnTo>
                  <a:lnTo>
                    <a:pt x="295" y="228"/>
                  </a:lnTo>
                  <a:lnTo>
                    <a:pt x="296" y="232"/>
                  </a:lnTo>
                  <a:lnTo>
                    <a:pt x="298" y="242"/>
                  </a:lnTo>
                  <a:lnTo>
                    <a:pt x="299" y="243"/>
                  </a:lnTo>
                  <a:lnTo>
                    <a:pt x="299" y="245"/>
                  </a:lnTo>
                  <a:lnTo>
                    <a:pt x="302" y="248"/>
                  </a:lnTo>
                  <a:lnTo>
                    <a:pt x="302" y="249"/>
                  </a:lnTo>
                  <a:lnTo>
                    <a:pt x="304" y="254"/>
                  </a:lnTo>
                  <a:lnTo>
                    <a:pt x="307" y="257"/>
                  </a:lnTo>
                  <a:lnTo>
                    <a:pt x="308" y="259"/>
                  </a:lnTo>
                  <a:lnTo>
                    <a:pt x="327" y="262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44" y="265"/>
                  </a:lnTo>
                  <a:lnTo>
                    <a:pt x="345" y="265"/>
                  </a:lnTo>
                  <a:lnTo>
                    <a:pt x="349" y="265"/>
                  </a:lnTo>
                  <a:lnTo>
                    <a:pt x="350" y="265"/>
                  </a:lnTo>
                  <a:lnTo>
                    <a:pt x="350" y="266"/>
                  </a:lnTo>
                  <a:lnTo>
                    <a:pt x="352" y="271"/>
                  </a:lnTo>
                  <a:lnTo>
                    <a:pt x="353" y="272"/>
                  </a:lnTo>
                  <a:lnTo>
                    <a:pt x="353" y="272"/>
                  </a:lnTo>
                  <a:lnTo>
                    <a:pt x="358" y="275"/>
                  </a:lnTo>
                  <a:lnTo>
                    <a:pt x="359" y="279"/>
                  </a:lnTo>
                  <a:lnTo>
                    <a:pt x="365" y="285"/>
                  </a:lnTo>
                  <a:lnTo>
                    <a:pt x="373" y="289"/>
                  </a:lnTo>
                  <a:lnTo>
                    <a:pt x="376" y="292"/>
                  </a:lnTo>
                  <a:lnTo>
                    <a:pt x="381" y="297"/>
                  </a:lnTo>
                  <a:lnTo>
                    <a:pt x="389" y="303"/>
                  </a:lnTo>
                  <a:lnTo>
                    <a:pt x="390" y="306"/>
                  </a:lnTo>
                  <a:lnTo>
                    <a:pt x="392" y="311"/>
                  </a:lnTo>
                  <a:lnTo>
                    <a:pt x="396" y="317"/>
                  </a:lnTo>
                  <a:lnTo>
                    <a:pt x="401" y="322"/>
                  </a:lnTo>
                  <a:lnTo>
                    <a:pt x="412" y="326"/>
                  </a:lnTo>
                  <a:lnTo>
                    <a:pt x="415" y="328"/>
                  </a:lnTo>
                  <a:lnTo>
                    <a:pt x="419" y="328"/>
                  </a:lnTo>
                  <a:lnTo>
                    <a:pt x="421" y="325"/>
                  </a:lnTo>
                  <a:lnTo>
                    <a:pt x="422" y="323"/>
                  </a:lnTo>
                  <a:lnTo>
                    <a:pt x="426" y="325"/>
                  </a:lnTo>
                  <a:lnTo>
                    <a:pt x="429" y="326"/>
                  </a:lnTo>
                  <a:lnTo>
                    <a:pt x="430" y="326"/>
                  </a:lnTo>
                  <a:lnTo>
                    <a:pt x="436" y="323"/>
                  </a:lnTo>
                  <a:lnTo>
                    <a:pt x="438" y="320"/>
                  </a:lnTo>
                  <a:lnTo>
                    <a:pt x="442" y="312"/>
                  </a:lnTo>
                  <a:lnTo>
                    <a:pt x="447" y="308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58" y="305"/>
                  </a:lnTo>
                  <a:lnTo>
                    <a:pt x="461" y="306"/>
                  </a:lnTo>
                  <a:lnTo>
                    <a:pt x="462" y="306"/>
                  </a:lnTo>
                  <a:lnTo>
                    <a:pt x="467" y="311"/>
                  </a:lnTo>
                  <a:lnTo>
                    <a:pt x="469" y="312"/>
                  </a:lnTo>
                  <a:lnTo>
                    <a:pt x="470" y="311"/>
                  </a:lnTo>
                  <a:lnTo>
                    <a:pt x="475" y="308"/>
                  </a:lnTo>
                  <a:lnTo>
                    <a:pt x="476" y="306"/>
                  </a:lnTo>
                  <a:lnTo>
                    <a:pt x="478" y="308"/>
                  </a:lnTo>
                  <a:lnTo>
                    <a:pt x="479" y="309"/>
                  </a:lnTo>
                  <a:lnTo>
                    <a:pt x="483" y="311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5" y="309"/>
                  </a:lnTo>
                  <a:lnTo>
                    <a:pt x="495" y="306"/>
                  </a:lnTo>
                  <a:lnTo>
                    <a:pt x="496" y="300"/>
                  </a:lnTo>
                  <a:lnTo>
                    <a:pt x="498" y="294"/>
                  </a:lnTo>
                  <a:lnTo>
                    <a:pt x="506" y="289"/>
                  </a:lnTo>
                  <a:lnTo>
                    <a:pt x="507" y="285"/>
                  </a:lnTo>
                  <a:lnTo>
                    <a:pt x="507" y="282"/>
                  </a:lnTo>
                  <a:lnTo>
                    <a:pt x="510" y="279"/>
                  </a:lnTo>
                  <a:lnTo>
                    <a:pt x="515" y="275"/>
                  </a:lnTo>
                  <a:lnTo>
                    <a:pt x="516" y="274"/>
                  </a:lnTo>
                  <a:lnTo>
                    <a:pt x="516" y="272"/>
                  </a:lnTo>
                  <a:lnTo>
                    <a:pt x="518" y="271"/>
                  </a:lnTo>
                  <a:lnTo>
                    <a:pt x="519" y="269"/>
                  </a:lnTo>
                  <a:lnTo>
                    <a:pt x="519" y="269"/>
                  </a:lnTo>
                  <a:lnTo>
                    <a:pt x="523" y="268"/>
                  </a:lnTo>
                  <a:lnTo>
                    <a:pt x="526" y="266"/>
                  </a:lnTo>
                  <a:lnTo>
                    <a:pt x="529" y="265"/>
                  </a:lnTo>
                  <a:lnTo>
                    <a:pt x="529" y="265"/>
                  </a:lnTo>
                  <a:lnTo>
                    <a:pt x="532" y="263"/>
                  </a:lnTo>
                  <a:lnTo>
                    <a:pt x="535" y="265"/>
                  </a:lnTo>
                  <a:lnTo>
                    <a:pt x="536" y="262"/>
                  </a:lnTo>
                  <a:lnTo>
                    <a:pt x="538" y="259"/>
                  </a:lnTo>
                  <a:lnTo>
                    <a:pt x="538" y="255"/>
                  </a:lnTo>
                  <a:lnTo>
                    <a:pt x="538" y="252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9" y="249"/>
                  </a:lnTo>
                  <a:lnTo>
                    <a:pt x="541" y="248"/>
                  </a:lnTo>
                  <a:lnTo>
                    <a:pt x="539" y="24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63"/>
            <p:cNvSpPr>
              <a:spLocks/>
            </p:cNvSpPr>
            <p:nvPr/>
          </p:nvSpPr>
          <p:spPr bwMode="gray">
            <a:xfrm>
              <a:off x="8051800" y="7810501"/>
              <a:ext cx="206375" cy="225425"/>
            </a:xfrm>
            <a:custGeom>
              <a:avLst/>
              <a:gdLst>
                <a:gd name="T0" fmla="*/ 123 w 130"/>
                <a:gd name="T1" fmla="*/ 59 h 142"/>
                <a:gd name="T2" fmla="*/ 114 w 130"/>
                <a:gd name="T3" fmla="*/ 54 h 142"/>
                <a:gd name="T4" fmla="*/ 100 w 130"/>
                <a:gd name="T5" fmla="*/ 53 h 142"/>
                <a:gd name="T6" fmla="*/ 102 w 130"/>
                <a:gd name="T7" fmla="*/ 50 h 142"/>
                <a:gd name="T8" fmla="*/ 102 w 130"/>
                <a:gd name="T9" fmla="*/ 42 h 142"/>
                <a:gd name="T10" fmla="*/ 96 w 130"/>
                <a:gd name="T11" fmla="*/ 39 h 142"/>
                <a:gd name="T12" fmla="*/ 89 w 130"/>
                <a:gd name="T13" fmla="*/ 33 h 142"/>
                <a:gd name="T14" fmla="*/ 85 w 130"/>
                <a:gd name="T15" fmla="*/ 28 h 142"/>
                <a:gd name="T16" fmla="*/ 79 w 130"/>
                <a:gd name="T17" fmla="*/ 17 h 142"/>
                <a:gd name="T18" fmla="*/ 60 w 130"/>
                <a:gd name="T19" fmla="*/ 10 h 142"/>
                <a:gd name="T20" fmla="*/ 60 w 130"/>
                <a:gd name="T21" fmla="*/ 5 h 142"/>
                <a:gd name="T22" fmla="*/ 60 w 130"/>
                <a:gd name="T23" fmla="*/ 2 h 142"/>
                <a:gd name="T24" fmla="*/ 56 w 130"/>
                <a:gd name="T25" fmla="*/ 0 h 142"/>
                <a:gd name="T26" fmla="*/ 43 w 130"/>
                <a:gd name="T27" fmla="*/ 6 h 142"/>
                <a:gd name="T28" fmla="*/ 45 w 130"/>
                <a:gd name="T29" fmla="*/ 14 h 142"/>
                <a:gd name="T30" fmla="*/ 48 w 130"/>
                <a:gd name="T31" fmla="*/ 16 h 142"/>
                <a:gd name="T32" fmla="*/ 42 w 130"/>
                <a:gd name="T33" fmla="*/ 27 h 142"/>
                <a:gd name="T34" fmla="*/ 37 w 130"/>
                <a:gd name="T35" fmla="*/ 28 h 142"/>
                <a:gd name="T36" fmla="*/ 32 w 130"/>
                <a:gd name="T37" fmla="*/ 31 h 142"/>
                <a:gd name="T38" fmla="*/ 34 w 130"/>
                <a:gd name="T39" fmla="*/ 39 h 142"/>
                <a:gd name="T40" fmla="*/ 14 w 130"/>
                <a:gd name="T41" fmla="*/ 47 h 142"/>
                <a:gd name="T42" fmla="*/ 12 w 130"/>
                <a:gd name="T43" fmla="*/ 51 h 142"/>
                <a:gd name="T44" fmla="*/ 3 w 130"/>
                <a:gd name="T45" fmla="*/ 50 h 142"/>
                <a:gd name="T46" fmla="*/ 0 w 130"/>
                <a:gd name="T47" fmla="*/ 56 h 142"/>
                <a:gd name="T48" fmla="*/ 5 w 130"/>
                <a:gd name="T49" fmla="*/ 63 h 142"/>
                <a:gd name="T50" fmla="*/ 3 w 130"/>
                <a:gd name="T51" fmla="*/ 71 h 142"/>
                <a:gd name="T52" fmla="*/ 9 w 130"/>
                <a:gd name="T53" fmla="*/ 77 h 142"/>
                <a:gd name="T54" fmla="*/ 12 w 130"/>
                <a:gd name="T55" fmla="*/ 85 h 142"/>
                <a:gd name="T56" fmla="*/ 14 w 130"/>
                <a:gd name="T57" fmla="*/ 90 h 142"/>
                <a:gd name="T58" fmla="*/ 14 w 130"/>
                <a:gd name="T59" fmla="*/ 94 h 142"/>
                <a:gd name="T60" fmla="*/ 31 w 130"/>
                <a:gd name="T61" fmla="*/ 102 h 142"/>
                <a:gd name="T62" fmla="*/ 39 w 130"/>
                <a:gd name="T63" fmla="*/ 114 h 142"/>
                <a:gd name="T64" fmla="*/ 42 w 130"/>
                <a:gd name="T65" fmla="*/ 130 h 142"/>
                <a:gd name="T66" fmla="*/ 40 w 130"/>
                <a:gd name="T67" fmla="*/ 136 h 142"/>
                <a:gd name="T68" fmla="*/ 40 w 130"/>
                <a:gd name="T69" fmla="*/ 140 h 142"/>
                <a:gd name="T70" fmla="*/ 45 w 130"/>
                <a:gd name="T71" fmla="*/ 140 h 142"/>
                <a:gd name="T72" fmla="*/ 49 w 130"/>
                <a:gd name="T73" fmla="*/ 142 h 142"/>
                <a:gd name="T74" fmla="*/ 54 w 130"/>
                <a:gd name="T75" fmla="*/ 136 h 142"/>
                <a:gd name="T76" fmla="*/ 54 w 130"/>
                <a:gd name="T77" fmla="*/ 124 h 142"/>
                <a:gd name="T78" fmla="*/ 69 w 130"/>
                <a:gd name="T79" fmla="*/ 114 h 142"/>
                <a:gd name="T80" fmla="*/ 79 w 130"/>
                <a:gd name="T81" fmla="*/ 108 h 142"/>
                <a:gd name="T82" fmla="*/ 86 w 130"/>
                <a:gd name="T83" fmla="*/ 113 h 142"/>
                <a:gd name="T84" fmla="*/ 91 w 130"/>
                <a:gd name="T85" fmla="*/ 117 h 142"/>
                <a:gd name="T86" fmla="*/ 94 w 130"/>
                <a:gd name="T87" fmla="*/ 116 h 142"/>
                <a:gd name="T88" fmla="*/ 99 w 130"/>
                <a:gd name="T89" fmla="*/ 105 h 142"/>
                <a:gd name="T90" fmla="*/ 103 w 130"/>
                <a:gd name="T91" fmla="*/ 105 h 142"/>
                <a:gd name="T92" fmla="*/ 105 w 130"/>
                <a:gd name="T93" fmla="*/ 102 h 142"/>
                <a:gd name="T94" fmla="*/ 109 w 130"/>
                <a:gd name="T95" fmla="*/ 103 h 142"/>
                <a:gd name="T96" fmla="*/ 111 w 130"/>
                <a:gd name="T97" fmla="*/ 96 h 142"/>
                <a:gd name="T98" fmla="*/ 119 w 130"/>
                <a:gd name="T99" fmla="*/ 87 h 142"/>
                <a:gd name="T100" fmla="*/ 125 w 130"/>
                <a:gd name="T101" fmla="*/ 71 h 142"/>
                <a:gd name="T102" fmla="*/ 126 w 130"/>
                <a:gd name="T103" fmla="*/ 68 h 142"/>
                <a:gd name="T104" fmla="*/ 126 w 130"/>
                <a:gd name="T105" fmla="*/ 65 h 142"/>
                <a:gd name="T106" fmla="*/ 130 w 130"/>
                <a:gd name="T107" fmla="*/ 6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" h="142">
                  <a:moveTo>
                    <a:pt x="130" y="60"/>
                  </a:moveTo>
                  <a:lnTo>
                    <a:pt x="128" y="59"/>
                  </a:lnTo>
                  <a:lnTo>
                    <a:pt x="126" y="59"/>
                  </a:lnTo>
                  <a:lnTo>
                    <a:pt x="125" y="59"/>
                  </a:lnTo>
                  <a:lnTo>
                    <a:pt x="123" y="59"/>
                  </a:lnTo>
                  <a:lnTo>
                    <a:pt x="120" y="60"/>
                  </a:lnTo>
                  <a:lnTo>
                    <a:pt x="119" y="60"/>
                  </a:lnTo>
                  <a:lnTo>
                    <a:pt x="117" y="59"/>
                  </a:lnTo>
                  <a:lnTo>
                    <a:pt x="116" y="56"/>
                  </a:lnTo>
                  <a:lnTo>
                    <a:pt x="114" y="54"/>
                  </a:lnTo>
                  <a:lnTo>
                    <a:pt x="113" y="54"/>
                  </a:lnTo>
                  <a:lnTo>
                    <a:pt x="105" y="53"/>
                  </a:lnTo>
                  <a:lnTo>
                    <a:pt x="103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102" y="50"/>
                  </a:lnTo>
                  <a:lnTo>
                    <a:pt x="102" y="47"/>
                  </a:lnTo>
                  <a:lnTo>
                    <a:pt x="102" y="45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4" y="39"/>
                  </a:lnTo>
                  <a:lnTo>
                    <a:pt x="93" y="39"/>
                  </a:lnTo>
                  <a:lnTo>
                    <a:pt x="91" y="37"/>
                  </a:lnTo>
                  <a:lnTo>
                    <a:pt x="89" y="36"/>
                  </a:lnTo>
                  <a:lnTo>
                    <a:pt x="89" y="33"/>
                  </a:lnTo>
                  <a:lnTo>
                    <a:pt x="89" y="30"/>
                  </a:lnTo>
                  <a:lnTo>
                    <a:pt x="88" y="27"/>
                  </a:lnTo>
                  <a:lnTo>
                    <a:pt x="86" y="27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3" y="27"/>
                  </a:lnTo>
                  <a:lnTo>
                    <a:pt x="82" y="27"/>
                  </a:lnTo>
                  <a:lnTo>
                    <a:pt x="82" y="20"/>
                  </a:lnTo>
                  <a:lnTo>
                    <a:pt x="80" y="19"/>
                  </a:lnTo>
                  <a:lnTo>
                    <a:pt x="79" y="17"/>
                  </a:lnTo>
                  <a:lnTo>
                    <a:pt x="74" y="17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65" y="13"/>
                  </a:lnTo>
                  <a:lnTo>
                    <a:pt x="60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6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48" y="5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6"/>
                  </a:lnTo>
                  <a:lnTo>
                    <a:pt x="46" y="17"/>
                  </a:lnTo>
                  <a:lnTo>
                    <a:pt x="45" y="22"/>
                  </a:lnTo>
                  <a:lnTo>
                    <a:pt x="43" y="25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7" y="28"/>
                  </a:lnTo>
                  <a:lnTo>
                    <a:pt x="37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1"/>
                  </a:lnTo>
                  <a:lnTo>
                    <a:pt x="31" y="34"/>
                  </a:lnTo>
                  <a:lnTo>
                    <a:pt x="32" y="36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9"/>
                  </a:lnTo>
                  <a:lnTo>
                    <a:pt x="32" y="42"/>
                  </a:lnTo>
                  <a:lnTo>
                    <a:pt x="29" y="42"/>
                  </a:lnTo>
                  <a:lnTo>
                    <a:pt x="23" y="43"/>
                  </a:lnTo>
                  <a:lnTo>
                    <a:pt x="17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50"/>
                  </a:lnTo>
                  <a:lnTo>
                    <a:pt x="12" y="51"/>
                  </a:lnTo>
                  <a:lnTo>
                    <a:pt x="11" y="53"/>
                  </a:lnTo>
                  <a:lnTo>
                    <a:pt x="9" y="51"/>
                  </a:lnTo>
                  <a:lnTo>
                    <a:pt x="6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3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8"/>
                  </a:lnTo>
                  <a:lnTo>
                    <a:pt x="3" y="70"/>
                  </a:lnTo>
                  <a:lnTo>
                    <a:pt x="3" y="71"/>
                  </a:lnTo>
                  <a:lnTo>
                    <a:pt x="3" y="73"/>
                  </a:lnTo>
                  <a:lnTo>
                    <a:pt x="3" y="74"/>
                  </a:lnTo>
                  <a:lnTo>
                    <a:pt x="8" y="76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31" y="102"/>
                  </a:lnTo>
                  <a:lnTo>
                    <a:pt x="32" y="103"/>
                  </a:lnTo>
                  <a:lnTo>
                    <a:pt x="34" y="103"/>
                  </a:lnTo>
                  <a:lnTo>
                    <a:pt x="36" y="107"/>
                  </a:lnTo>
                  <a:lnTo>
                    <a:pt x="37" y="113"/>
                  </a:lnTo>
                  <a:lnTo>
                    <a:pt x="39" y="114"/>
                  </a:lnTo>
                  <a:lnTo>
                    <a:pt x="39" y="116"/>
                  </a:lnTo>
                  <a:lnTo>
                    <a:pt x="39" y="120"/>
                  </a:lnTo>
                  <a:lnTo>
                    <a:pt x="39" y="122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2" y="131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40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6" y="140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9" y="142"/>
                  </a:lnTo>
                  <a:lnTo>
                    <a:pt x="51" y="140"/>
                  </a:lnTo>
                  <a:lnTo>
                    <a:pt x="51" y="140"/>
                  </a:lnTo>
                  <a:lnTo>
                    <a:pt x="52" y="139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4"/>
                  </a:lnTo>
                  <a:lnTo>
                    <a:pt x="54" y="133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4" y="124"/>
                  </a:lnTo>
                  <a:lnTo>
                    <a:pt x="54" y="120"/>
                  </a:lnTo>
                  <a:lnTo>
                    <a:pt x="56" y="119"/>
                  </a:lnTo>
                  <a:lnTo>
                    <a:pt x="59" y="117"/>
                  </a:lnTo>
                  <a:lnTo>
                    <a:pt x="65" y="116"/>
                  </a:lnTo>
                  <a:lnTo>
                    <a:pt x="69" y="114"/>
                  </a:lnTo>
                  <a:lnTo>
                    <a:pt x="73" y="113"/>
                  </a:lnTo>
                  <a:lnTo>
                    <a:pt x="74" y="113"/>
                  </a:lnTo>
                  <a:lnTo>
                    <a:pt x="76" y="111"/>
                  </a:lnTo>
                  <a:lnTo>
                    <a:pt x="77" y="108"/>
                  </a:lnTo>
                  <a:lnTo>
                    <a:pt x="79" y="108"/>
                  </a:lnTo>
                  <a:lnTo>
                    <a:pt x="80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5" y="111"/>
                  </a:lnTo>
                  <a:lnTo>
                    <a:pt x="86" y="113"/>
                  </a:lnTo>
                  <a:lnTo>
                    <a:pt x="88" y="114"/>
                  </a:lnTo>
                  <a:lnTo>
                    <a:pt x="89" y="116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1" y="117"/>
                  </a:lnTo>
                  <a:lnTo>
                    <a:pt x="94" y="119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6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100" y="105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8" y="103"/>
                  </a:lnTo>
                  <a:lnTo>
                    <a:pt x="108" y="102"/>
                  </a:lnTo>
                  <a:lnTo>
                    <a:pt x="109" y="103"/>
                  </a:lnTo>
                  <a:lnTo>
                    <a:pt x="111" y="103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3" y="100"/>
                  </a:lnTo>
                  <a:lnTo>
                    <a:pt x="111" y="96"/>
                  </a:lnTo>
                  <a:lnTo>
                    <a:pt x="111" y="93"/>
                  </a:lnTo>
                  <a:lnTo>
                    <a:pt x="113" y="91"/>
                  </a:lnTo>
                  <a:lnTo>
                    <a:pt x="117" y="90"/>
                  </a:lnTo>
                  <a:lnTo>
                    <a:pt x="119" y="88"/>
                  </a:lnTo>
                  <a:lnTo>
                    <a:pt x="119" y="87"/>
                  </a:lnTo>
                  <a:lnTo>
                    <a:pt x="119" y="83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22" y="77"/>
                  </a:lnTo>
                  <a:lnTo>
                    <a:pt x="125" y="71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5"/>
                  </a:lnTo>
                  <a:lnTo>
                    <a:pt x="126" y="65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30" y="63"/>
                  </a:lnTo>
                  <a:lnTo>
                    <a:pt x="130" y="62"/>
                  </a:lnTo>
                  <a:lnTo>
                    <a:pt x="130" y="6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64"/>
            <p:cNvSpPr>
              <a:spLocks/>
            </p:cNvSpPr>
            <p:nvPr/>
          </p:nvSpPr>
          <p:spPr bwMode="gray">
            <a:xfrm>
              <a:off x="8051800" y="7810501"/>
              <a:ext cx="206375" cy="225425"/>
            </a:xfrm>
            <a:custGeom>
              <a:avLst/>
              <a:gdLst>
                <a:gd name="T0" fmla="*/ 123 w 130"/>
                <a:gd name="T1" fmla="*/ 59 h 142"/>
                <a:gd name="T2" fmla="*/ 114 w 130"/>
                <a:gd name="T3" fmla="*/ 54 h 142"/>
                <a:gd name="T4" fmla="*/ 100 w 130"/>
                <a:gd name="T5" fmla="*/ 53 h 142"/>
                <a:gd name="T6" fmla="*/ 102 w 130"/>
                <a:gd name="T7" fmla="*/ 50 h 142"/>
                <a:gd name="T8" fmla="*/ 102 w 130"/>
                <a:gd name="T9" fmla="*/ 42 h 142"/>
                <a:gd name="T10" fmla="*/ 96 w 130"/>
                <a:gd name="T11" fmla="*/ 39 h 142"/>
                <a:gd name="T12" fmla="*/ 89 w 130"/>
                <a:gd name="T13" fmla="*/ 33 h 142"/>
                <a:gd name="T14" fmla="*/ 85 w 130"/>
                <a:gd name="T15" fmla="*/ 28 h 142"/>
                <a:gd name="T16" fmla="*/ 79 w 130"/>
                <a:gd name="T17" fmla="*/ 17 h 142"/>
                <a:gd name="T18" fmla="*/ 60 w 130"/>
                <a:gd name="T19" fmla="*/ 10 h 142"/>
                <a:gd name="T20" fmla="*/ 60 w 130"/>
                <a:gd name="T21" fmla="*/ 5 h 142"/>
                <a:gd name="T22" fmla="*/ 60 w 130"/>
                <a:gd name="T23" fmla="*/ 2 h 142"/>
                <a:gd name="T24" fmla="*/ 56 w 130"/>
                <a:gd name="T25" fmla="*/ 0 h 142"/>
                <a:gd name="T26" fmla="*/ 43 w 130"/>
                <a:gd name="T27" fmla="*/ 6 h 142"/>
                <a:gd name="T28" fmla="*/ 45 w 130"/>
                <a:gd name="T29" fmla="*/ 14 h 142"/>
                <a:gd name="T30" fmla="*/ 48 w 130"/>
                <a:gd name="T31" fmla="*/ 16 h 142"/>
                <a:gd name="T32" fmla="*/ 42 w 130"/>
                <a:gd name="T33" fmla="*/ 27 h 142"/>
                <a:gd name="T34" fmla="*/ 37 w 130"/>
                <a:gd name="T35" fmla="*/ 28 h 142"/>
                <a:gd name="T36" fmla="*/ 32 w 130"/>
                <a:gd name="T37" fmla="*/ 31 h 142"/>
                <a:gd name="T38" fmla="*/ 34 w 130"/>
                <a:gd name="T39" fmla="*/ 39 h 142"/>
                <a:gd name="T40" fmla="*/ 14 w 130"/>
                <a:gd name="T41" fmla="*/ 47 h 142"/>
                <a:gd name="T42" fmla="*/ 12 w 130"/>
                <a:gd name="T43" fmla="*/ 51 h 142"/>
                <a:gd name="T44" fmla="*/ 3 w 130"/>
                <a:gd name="T45" fmla="*/ 50 h 142"/>
                <a:gd name="T46" fmla="*/ 0 w 130"/>
                <a:gd name="T47" fmla="*/ 56 h 142"/>
                <a:gd name="T48" fmla="*/ 5 w 130"/>
                <a:gd name="T49" fmla="*/ 63 h 142"/>
                <a:gd name="T50" fmla="*/ 3 w 130"/>
                <a:gd name="T51" fmla="*/ 71 h 142"/>
                <a:gd name="T52" fmla="*/ 9 w 130"/>
                <a:gd name="T53" fmla="*/ 77 h 142"/>
                <a:gd name="T54" fmla="*/ 12 w 130"/>
                <a:gd name="T55" fmla="*/ 85 h 142"/>
                <a:gd name="T56" fmla="*/ 14 w 130"/>
                <a:gd name="T57" fmla="*/ 90 h 142"/>
                <a:gd name="T58" fmla="*/ 14 w 130"/>
                <a:gd name="T59" fmla="*/ 94 h 142"/>
                <a:gd name="T60" fmla="*/ 31 w 130"/>
                <a:gd name="T61" fmla="*/ 102 h 142"/>
                <a:gd name="T62" fmla="*/ 39 w 130"/>
                <a:gd name="T63" fmla="*/ 114 h 142"/>
                <a:gd name="T64" fmla="*/ 42 w 130"/>
                <a:gd name="T65" fmla="*/ 130 h 142"/>
                <a:gd name="T66" fmla="*/ 40 w 130"/>
                <a:gd name="T67" fmla="*/ 136 h 142"/>
                <a:gd name="T68" fmla="*/ 40 w 130"/>
                <a:gd name="T69" fmla="*/ 140 h 142"/>
                <a:gd name="T70" fmla="*/ 45 w 130"/>
                <a:gd name="T71" fmla="*/ 140 h 142"/>
                <a:gd name="T72" fmla="*/ 49 w 130"/>
                <a:gd name="T73" fmla="*/ 142 h 142"/>
                <a:gd name="T74" fmla="*/ 54 w 130"/>
                <a:gd name="T75" fmla="*/ 136 h 142"/>
                <a:gd name="T76" fmla="*/ 54 w 130"/>
                <a:gd name="T77" fmla="*/ 124 h 142"/>
                <a:gd name="T78" fmla="*/ 69 w 130"/>
                <a:gd name="T79" fmla="*/ 114 h 142"/>
                <a:gd name="T80" fmla="*/ 79 w 130"/>
                <a:gd name="T81" fmla="*/ 108 h 142"/>
                <a:gd name="T82" fmla="*/ 86 w 130"/>
                <a:gd name="T83" fmla="*/ 113 h 142"/>
                <a:gd name="T84" fmla="*/ 91 w 130"/>
                <a:gd name="T85" fmla="*/ 117 h 142"/>
                <a:gd name="T86" fmla="*/ 94 w 130"/>
                <a:gd name="T87" fmla="*/ 116 h 142"/>
                <a:gd name="T88" fmla="*/ 99 w 130"/>
                <a:gd name="T89" fmla="*/ 105 h 142"/>
                <a:gd name="T90" fmla="*/ 103 w 130"/>
                <a:gd name="T91" fmla="*/ 105 h 142"/>
                <a:gd name="T92" fmla="*/ 105 w 130"/>
                <a:gd name="T93" fmla="*/ 102 h 142"/>
                <a:gd name="T94" fmla="*/ 109 w 130"/>
                <a:gd name="T95" fmla="*/ 103 h 142"/>
                <a:gd name="T96" fmla="*/ 111 w 130"/>
                <a:gd name="T97" fmla="*/ 96 h 142"/>
                <a:gd name="T98" fmla="*/ 119 w 130"/>
                <a:gd name="T99" fmla="*/ 87 h 142"/>
                <a:gd name="T100" fmla="*/ 125 w 130"/>
                <a:gd name="T101" fmla="*/ 71 h 142"/>
                <a:gd name="T102" fmla="*/ 126 w 130"/>
                <a:gd name="T103" fmla="*/ 68 h 142"/>
                <a:gd name="T104" fmla="*/ 126 w 130"/>
                <a:gd name="T105" fmla="*/ 65 h 142"/>
                <a:gd name="T106" fmla="*/ 130 w 130"/>
                <a:gd name="T107" fmla="*/ 6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" h="142">
                  <a:moveTo>
                    <a:pt x="130" y="60"/>
                  </a:moveTo>
                  <a:lnTo>
                    <a:pt x="128" y="59"/>
                  </a:lnTo>
                  <a:lnTo>
                    <a:pt x="126" y="59"/>
                  </a:lnTo>
                  <a:lnTo>
                    <a:pt x="125" y="59"/>
                  </a:lnTo>
                  <a:lnTo>
                    <a:pt x="123" y="59"/>
                  </a:lnTo>
                  <a:lnTo>
                    <a:pt x="120" y="60"/>
                  </a:lnTo>
                  <a:lnTo>
                    <a:pt x="119" y="60"/>
                  </a:lnTo>
                  <a:lnTo>
                    <a:pt x="117" y="59"/>
                  </a:lnTo>
                  <a:lnTo>
                    <a:pt x="116" y="56"/>
                  </a:lnTo>
                  <a:lnTo>
                    <a:pt x="114" y="54"/>
                  </a:lnTo>
                  <a:lnTo>
                    <a:pt x="113" y="54"/>
                  </a:lnTo>
                  <a:lnTo>
                    <a:pt x="105" y="53"/>
                  </a:lnTo>
                  <a:lnTo>
                    <a:pt x="103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102" y="50"/>
                  </a:lnTo>
                  <a:lnTo>
                    <a:pt x="102" y="47"/>
                  </a:lnTo>
                  <a:lnTo>
                    <a:pt x="102" y="45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4" y="39"/>
                  </a:lnTo>
                  <a:lnTo>
                    <a:pt x="93" y="39"/>
                  </a:lnTo>
                  <a:lnTo>
                    <a:pt x="91" y="37"/>
                  </a:lnTo>
                  <a:lnTo>
                    <a:pt x="89" y="36"/>
                  </a:lnTo>
                  <a:lnTo>
                    <a:pt x="89" y="33"/>
                  </a:lnTo>
                  <a:lnTo>
                    <a:pt x="89" y="30"/>
                  </a:lnTo>
                  <a:lnTo>
                    <a:pt x="88" y="27"/>
                  </a:lnTo>
                  <a:lnTo>
                    <a:pt x="86" y="27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3" y="27"/>
                  </a:lnTo>
                  <a:lnTo>
                    <a:pt x="82" y="27"/>
                  </a:lnTo>
                  <a:lnTo>
                    <a:pt x="82" y="20"/>
                  </a:lnTo>
                  <a:lnTo>
                    <a:pt x="80" y="19"/>
                  </a:lnTo>
                  <a:lnTo>
                    <a:pt x="79" y="17"/>
                  </a:lnTo>
                  <a:lnTo>
                    <a:pt x="74" y="17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65" y="13"/>
                  </a:lnTo>
                  <a:lnTo>
                    <a:pt x="60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6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48" y="5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6"/>
                  </a:lnTo>
                  <a:lnTo>
                    <a:pt x="46" y="17"/>
                  </a:lnTo>
                  <a:lnTo>
                    <a:pt x="45" y="22"/>
                  </a:lnTo>
                  <a:lnTo>
                    <a:pt x="43" y="25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7" y="28"/>
                  </a:lnTo>
                  <a:lnTo>
                    <a:pt x="37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1"/>
                  </a:lnTo>
                  <a:lnTo>
                    <a:pt x="31" y="34"/>
                  </a:lnTo>
                  <a:lnTo>
                    <a:pt x="32" y="36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9"/>
                  </a:lnTo>
                  <a:lnTo>
                    <a:pt x="32" y="42"/>
                  </a:lnTo>
                  <a:lnTo>
                    <a:pt x="29" y="42"/>
                  </a:lnTo>
                  <a:lnTo>
                    <a:pt x="23" y="43"/>
                  </a:lnTo>
                  <a:lnTo>
                    <a:pt x="17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50"/>
                  </a:lnTo>
                  <a:lnTo>
                    <a:pt x="12" y="51"/>
                  </a:lnTo>
                  <a:lnTo>
                    <a:pt x="11" y="53"/>
                  </a:lnTo>
                  <a:lnTo>
                    <a:pt x="9" y="51"/>
                  </a:lnTo>
                  <a:lnTo>
                    <a:pt x="6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3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8"/>
                  </a:lnTo>
                  <a:lnTo>
                    <a:pt x="3" y="70"/>
                  </a:lnTo>
                  <a:lnTo>
                    <a:pt x="3" y="71"/>
                  </a:lnTo>
                  <a:lnTo>
                    <a:pt x="3" y="73"/>
                  </a:lnTo>
                  <a:lnTo>
                    <a:pt x="3" y="74"/>
                  </a:lnTo>
                  <a:lnTo>
                    <a:pt x="8" y="76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31" y="102"/>
                  </a:lnTo>
                  <a:lnTo>
                    <a:pt x="32" y="103"/>
                  </a:lnTo>
                  <a:lnTo>
                    <a:pt x="34" y="103"/>
                  </a:lnTo>
                  <a:lnTo>
                    <a:pt x="36" y="107"/>
                  </a:lnTo>
                  <a:lnTo>
                    <a:pt x="37" y="113"/>
                  </a:lnTo>
                  <a:lnTo>
                    <a:pt x="39" y="114"/>
                  </a:lnTo>
                  <a:lnTo>
                    <a:pt x="39" y="116"/>
                  </a:lnTo>
                  <a:lnTo>
                    <a:pt x="39" y="120"/>
                  </a:lnTo>
                  <a:lnTo>
                    <a:pt x="39" y="122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2" y="131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40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6" y="140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9" y="142"/>
                  </a:lnTo>
                  <a:lnTo>
                    <a:pt x="51" y="140"/>
                  </a:lnTo>
                  <a:lnTo>
                    <a:pt x="51" y="140"/>
                  </a:lnTo>
                  <a:lnTo>
                    <a:pt x="52" y="139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4"/>
                  </a:lnTo>
                  <a:lnTo>
                    <a:pt x="54" y="133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4" y="124"/>
                  </a:lnTo>
                  <a:lnTo>
                    <a:pt x="54" y="120"/>
                  </a:lnTo>
                  <a:lnTo>
                    <a:pt x="56" y="119"/>
                  </a:lnTo>
                  <a:lnTo>
                    <a:pt x="59" y="117"/>
                  </a:lnTo>
                  <a:lnTo>
                    <a:pt x="65" y="116"/>
                  </a:lnTo>
                  <a:lnTo>
                    <a:pt x="69" y="114"/>
                  </a:lnTo>
                  <a:lnTo>
                    <a:pt x="73" y="113"/>
                  </a:lnTo>
                  <a:lnTo>
                    <a:pt x="74" y="113"/>
                  </a:lnTo>
                  <a:lnTo>
                    <a:pt x="76" y="111"/>
                  </a:lnTo>
                  <a:lnTo>
                    <a:pt x="77" y="108"/>
                  </a:lnTo>
                  <a:lnTo>
                    <a:pt x="79" y="108"/>
                  </a:lnTo>
                  <a:lnTo>
                    <a:pt x="80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5" y="111"/>
                  </a:lnTo>
                  <a:lnTo>
                    <a:pt x="86" y="113"/>
                  </a:lnTo>
                  <a:lnTo>
                    <a:pt x="88" y="114"/>
                  </a:lnTo>
                  <a:lnTo>
                    <a:pt x="89" y="116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1" y="117"/>
                  </a:lnTo>
                  <a:lnTo>
                    <a:pt x="94" y="119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6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100" y="105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8" y="103"/>
                  </a:lnTo>
                  <a:lnTo>
                    <a:pt x="108" y="102"/>
                  </a:lnTo>
                  <a:lnTo>
                    <a:pt x="109" y="103"/>
                  </a:lnTo>
                  <a:lnTo>
                    <a:pt x="111" y="103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3" y="100"/>
                  </a:lnTo>
                  <a:lnTo>
                    <a:pt x="111" y="96"/>
                  </a:lnTo>
                  <a:lnTo>
                    <a:pt x="111" y="93"/>
                  </a:lnTo>
                  <a:lnTo>
                    <a:pt x="113" y="91"/>
                  </a:lnTo>
                  <a:lnTo>
                    <a:pt x="117" y="90"/>
                  </a:lnTo>
                  <a:lnTo>
                    <a:pt x="119" y="88"/>
                  </a:lnTo>
                  <a:lnTo>
                    <a:pt x="119" y="87"/>
                  </a:lnTo>
                  <a:lnTo>
                    <a:pt x="119" y="83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22" y="77"/>
                  </a:lnTo>
                  <a:lnTo>
                    <a:pt x="125" y="71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5"/>
                  </a:lnTo>
                  <a:lnTo>
                    <a:pt x="126" y="65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30" y="63"/>
                  </a:lnTo>
                  <a:lnTo>
                    <a:pt x="130" y="62"/>
                  </a:lnTo>
                  <a:lnTo>
                    <a:pt x="130" y="6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65"/>
            <p:cNvSpPr>
              <a:spLocks noEditPoints="1"/>
            </p:cNvSpPr>
            <p:nvPr/>
          </p:nvSpPr>
          <p:spPr bwMode="gray">
            <a:xfrm>
              <a:off x="6465888" y="7170738"/>
              <a:ext cx="1408113" cy="1825625"/>
            </a:xfrm>
            <a:custGeom>
              <a:avLst/>
              <a:gdLst>
                <a:gd name="T0" fmla="*/ 263 w 887"/>
                <a:gd name="T1" fmla="*/ 456 h 1150"/>
                <a:gd name="T2" fmla="*/ 423 w 887"/>
                <a:gd name="T3" fmla="*/ 922 h 1150"/>
                <a:gd name="T4" fmla="*/ 123 w 887"/>
                <a:gd name="T5" fmla="*/ 811 h 1150"/>
                <a:gd name="T6" fmla="*/ 227 w 887"/>
                <a:gd name="T7" fmla="*/ 648 h 1150"/>
                <a:gd name="T8" fmla="*/ 220 w 887"/>
                <a:gd name="T9" fmla="*/ 628 h 1150"/>
                <a:gd name="T10" fmla="*/ 209 w 887"/>
                <a:gd name="T11" fmla="*/ 614 h 1150"/>
                <a:gd name="T12" fmla="*/ 172 w 887"/>
                <a:gd name="T13" fmla="*/ 625 h 1150"/>
                <a:gd name="T14" fmla="*/ 117 w 887"/>
                <a:gd name="T15" fmla="*/ 660 h 1150"/>
                <a:gd name="T16" fmla="*/ 134 w 887"/>
                <a:gd name="T17" fmla="*/ 725 h 1150"/>
                <a:gd name="T18" fmla="*/ 137 w 887"/>
                <a:gd name="T19" fmla="*/ 753 h 1150"/>
                <a:gd name="T20" fmla="*/ 141 w 887"/>
                <a:gd name="T21" fmla="*/ 814 h 1150"/>
                <a:gd name="T22" fmla="*/ 181 w 887"/>
                <a:gd name="T23" fmla="*/ 805 h 1150"/>
                <a:gd name="T24" fmla="*/ 217 w 887"/>
                <a:gd name="T25" fmla="*/ 811 h 1150"/>
                <a:gd name="T26" fmla="*/ 231 w 887"/>
                <a:gd name="T27" fmla="*/ 734 h 1150"/>
                <a:gd name="T28" fmla="*/ 134 w 887"/>
                <a:gd name="T29" fmla="*/ 825 h 1150"/>
                <a:gd name="T30" fmla="*/ 214 w 887"/>
                <a:gd name="T31" fmla="*/ 607 h 1150"/>
                <a:gd name="T32" fmla="*/ 640 w 887"/>
                <a:gd name="T33" fmla="*/ 841 h 1150"/>
                <a:gd name="T34" fmla="*/ 848 w 887"/>
                <a:gd name="T35" fmla="*/ 664 h 1150"/>
                <a:gd name="T36" fmla="*/ 713 w 887"/>
                <a:gd name="T37" fmla="*/ 553 h 1150"/>
                <a:gd name="T38" fmla="*/ 543 w 887"/>
                <a:gd name="T39" fmla="*/ 439 h 1150"/>
                <a:gd name="T40" fmla="*/ 431 w 887"/>
                <a:gd name="T41" fmla="*/ 305 h 1150"/>
                <a:gd name="T42" fmla="*/ 437 w 887"/>
                <a:gd name="T43" fmla="*/ 237 h 1150"/>
                <a:gd name="T44" fmla="*/ 425 w 887"/>
                <a:gd name="T45" fmla="*/ 212 h 1150"/>
                <a:gd name="T46" fmla="*/ 420 w 887"/>
                <a:gd name="T47" fmla="*/ 179 h 1150"/>
                <a:gd name="T48" fmla="*/ 435 w 887"/>
                <a:gd name="T49" fmla="*/ 172 h 1150"/>
                <a:gd name="T50" fmla="*/ 508 w 887"/>
                <a:gd name="T51" fmla="*/ 149 h 1150"/>
                <a:gd name="T52" fmla="*/ 519 w 887"/>
                <a:gd name="T53" fmla="*/ 137 h 1150"/>
                <a:gd name="T54" fmla="*/ 506 w 887"/>
                <a:gd name="T55" fmla="*/ 83 h 1150"/>
                <a:gd name="T56" fmla="*/ 429 w 887"/>
                <a:gd name="T57" fmla="*/ 41 h 1150"/>
                <a:gd name="T58" fmla="*/ 375 w 887"/>
                <a:gd name="T59" fmla="*/ 11 h 1150"/>
                <a:gd name="T60" fmla="*/ 306 w 887"/>
                <a:gd name="T61" fmla="*/ 32 h 1150"/>
                <a:gd name="T62" fmla="*/ 258 w 887"/>
                <a:gd name="T63" fmla="*/ 54 h 1150"/>
                <a:gd name="T64" fmla="*/ 227 w 887"/>
                <a:gd name="T65" fmla="*/ 86 h 1150"/>
                <a:gd name="T66" fmla="*/ 178 w 887"/>
                <a:gd name="T67" fmla="*/ 114 h 1150"/>
                <a:gd name="T68" fmla="*/ 147 w 887"/>
                <a:gd name="T69" fmla="*/ 105 h 1150"/>
                <a:gd name="T70" fmla="*/ 95 w 887"/>
                <a:gd name="T71" fmla="*/ 120 h 1150"/>
                <a:gd name="T72" fmla="*/ 18 w 887"/>
                <a:gd name="T73" fmla="*/ 135 h 1150"/>
                <a:gd name="T74" fmla="*/ 21 w 887"/>
                <a:gd name="T75" fmla="*/ 206 h 1150"/>
                <a:gd name="T76" fmla="*/ 32 w 887"/>
                <a:gd name="T77" fmla="*/ 255 h 1150"/>
                <a:gd name="T78" fmla="*/ 77 w 887"/>
                <a:gd name="T79" fmla="*/ 312 h 1150"/>
                <a:gd name="T80" fmla="*/ 134 w 887"/>
                <a:gd name="T81" fmla="*/ 308 h 1150"/>
                <a:gd name="T82" fmla="*/ 215 w 887"/>
                <a:gd name="T83" fmla="*/ 305 h 1150"/>
                <a:gd name="T84" fmla="*/ 272 w 887"/>
                <a:gd name="T85" fmla="*/ 346 h 1150"/>
                <a:gd name="T86" fmla="*/ 337 w 887"/>
                <a:gd name="T87" fmla="*/ 474 h 1150"/>
                <a:gd name="T88" fmla="*/ 388 w 887"/>
                <a:gd name="T89" fmla="*/ 527 h 1150"/>
                <a:gd name="T90" fmla="*/ 491 w 887"/>
                <a:gd name="T91" fmla="*/ 600 h 1150"/>
                <a:gd name="T92" fmla="*/ 579 w 887"/>
                <a:gd name="T93" fmla="*/ 651 h 1150"/>
                <a:gd name="T94" fmla="*/ 620 w 887"/>
                <a:gd name="T95" fmla="*/ 705 h 1150"/>
                <a:gd name="T96" fmla="*/ 688 w 887"/>
                <a:gd name="T97" fmla="*/ 764 h 1150"/>
                <a:gd name="T98" fmla="*/ 673 w 887"/>
                <a:gd name="T99" fmla="*/ 902 h 1150"/>
                <a:gd name="T100" fmla="*/ 768 w 887"/>
                <a:gd name="T101" fmla="*/ 828 h 1150"/>
                <a:gd name="T102" fmla="*/ 739 w 887"/>
                <a:gd name="T103" fmla="*/ 759 h 1150"/>
                <a:gd name="T104" fmla="*/ 790 w 887"/>
                <a:gd name="T105" fmla="*/ 687 h 1150"/>
                <a:gd name="T106" fmla="*/ 876 w 887"/>
                <a:gd name="T107" fmla="*/ 745 h 1150"/>
                <a:gd name="T108" fmla="*/ 428 w 887"/>
                <a:gd name="T109" fmla="*/ 180 h 1150"/>
                <a:gd name="T110" fmla="*/ 662 w 887"/>
                <a:gd name="T111" fmla="*/ 890 h 1150"/>
                <a:gd name="T112" fmla="*/ 559 w 887"/>
                <a:gd name="T113" fmla="*/ 915 h 1150"/>
                <a:gd name="T114" fmla="*/ 482 w 887"/>
                <a:gd name="T115" fmla="*/ 902 h 1150"/>
                <a:gd name="T116" fmla="*/ 435 w 887"/>
                <a:gd name="T117" fmla="*/ 935 h 1150"/>
                <a:gd name="T118" fmla="*/ 520 w 887"/>
                <a:gd name="T119" fmla="*/ 987 h 1150"/>
                <a:gd name="T120" fmla="*/ 637 w 887"/>
                <a:gd name="T121" fmla="*/ 1016 h 1150"/>
                <a:gd name="T122" fmla="*/ 631 w 887"/>
                <a:gd name="T123" fmla="*/ 979 h 1150"/>
                <a:gd name="T124" fmla="*/ 546 w 887"/>
                <a:gd name="T125" fmla="*/ 659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7" h="1150">
                  <a:moveTo>
                    <a:pt x="258" y="471"/>
                  </a:moveTo>
                  <a:lnTo>
                    <a:pt x="258" y="470"/>
                  </a:lnTo>
                  <a:lnTo>
                    <a:pt x="258" y="468"/>
                  </a:lnTo>
                  <a:lnTo>
                    <a:pt x="258" y="468"/>
                  </a:lnTo>
                  <a:lnTo>
                    <a:pt x="257" y="470"/>
                  </a:lnTo>
                  <a:lnTo>
                    <a:pt x="257" y="471"/>
                  </a:lnTo>
                  <a:lnTo>
                    <a:pt x="257" y="471"/>
                  </a:lnTo>
                  <a:lnTo>
                    <a:pt x="255" y="471"/>
                  </a:lnTo>
                  <a:lnTo>
                    <a:pt x="257" y="473"/>
                  </a:lnTo>
                  <a:lnTo>
                    <a:pt x="257" y="473"/>
                  </a:lnTo>
                  <a:lnTo>
                    <a:pt x="258" y="473"/>
                  </a:lnTo>
                  <a:lnTo>
                    <a:pt x="260" y="473"/>
                  </a:lnTo>
                  <a:lnTo>
                    <a:pt x="260" y="471"/>
                  </a:lnTo>
                  <a:lnTo>
                    <a:pt x="260" y="471"/>
                  </a:lnTo>
                  <a:lnTo>
                    <a:pt x="260" y="471"/>
                  </a:lnTo>
                  <a:lnTo>
                    <a:pt x="258" y="471"/>
                  </a:lnTo>
                  <a:close/>
                  <a:moveTo>
                    <a:pt x="284" y="446"/>
                  </a:moveTo>
                  <a:lnTo>
                    <a:pt x="284" y="445"/>
                  </a:lnTo>
                  <a:lnTo>
                    <a:pt x="284" y="445"/>
                  </a:lnTo>
                  <a:lnTo>
                    <a:pt x="284" y="443"/>
                  </a:lnTo>
                  <a:lnTo>
                    <a:pt x="283" y="443"/>
                  </a:lnTo>
                  <a:lnTo>
                    <a:pt x="283" y="442"/>
                  </a:lnTo>
                  <a:lnTo>
                    <a:pt x="281" y="443"/>
                  </a:lnTo>
                  <a:lnTo>
                    <a:pt x="281" y="443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lnTo>
                    <a:pt x="278" y="450"/>
                  </a:lnTo>
                  <a:lnTo>
                    <a:pt x="277" y="450"/>
                  </a:lnTo>
                  <a:lnTo>
                    <a:pt x="277" y="448"/>
                  </a:lnTo>
                  <a:lnTo>
                    <a:pt x="277" y="446"/>
                  </a:lnTo>
                  <a:lnTo>
                    <a:pt x="274" y="446"/>
                  </a:lnTo>
                  <a:lnTo>
                    <a:pt x="272" y="446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50"/>
                  </a:lnTo>
                  <a:lnTo>
                    <a:pt x="272" y="450"/>
                  </a:lnTo>
                  <a:lnTo>
                    <a:pt x="271" y="450"/>
                  </a:lnTo>
                  <a:lnTo>
                    <a:pt x="269" y="450"/>
                  </a:lnTo>
                  <a:lnTo>
                    <a:pt x="268" y="450"/>
                  </a:lnTo>
                  <a:lnTo>
                    <a:pt x="266" y="448"/>
                  </a:lnTo>
                  <a:lnTo>
                    <a:pt x="266" y="448"/>
                  </a:lnTo>
                  <a:lnTo>
                    <a:pt x="264" y="448"/>
                  </a:lnTo>
                  <a:lnTo>
                    <a:pt x="261" y="448"/>
                  </a:lnTo>
                  <a:lnTo>
                    <a:pt x="260" y="450"/>
                  </a:lnTo>
                  <a:lnTo>
                    <a:pt x="260" y="451"/>
                  </a:lnTo>
                  <a:lnTo>
                    <a:pt x="260" y="454"/>
                  </a:lnTo>
                  <a:lnTo>
                    <a:pt x="261" y="456"/>
                  </a:lnTo>
                  <a:lnTo>
                    <a:pt x="263" y="456"/>
                  </a:lnTo>
                  <a:lnTo>
                    <a:pt x="269" y="456"/>
                  </a:lnTo>
                  <a:lnTo>
                    <a:pt x="269" y="456"/>
                  </a:lnTo>
                  <a:lnTo>
                    <a:pt x="271" y="456"/>
                  </a:lnTo>
                  <a:lnTo>
                    <a:pt x="271" y="454"/>
                  </a:lnTo>
                  <a:lnTo>
                    <a:pt x="272" y="456"/>
                  </a:lnTo>
                  <a:lnTo>
                    <a:pt x="275" y="454"/>
                  </a:lnTo>
                  <a:lnTo>
                    <a:pt x="275" y="456"/>
                  </a:lnTo>
                  <a:lnTo>
                    <a:pt x="277" y="453"/>
                  </a:lnTo>
                  <a:lnTo>
                    <a:pt x="277" y="453"/>
                  </a:lnTo>
                  <a:lnTo>
                    <a:pt x="278" y="454"/>
                  </a:lnTo>
                  <a:lnTo>
                    <a:pt x="280" y="454"/>
                  </a:lnTo>
                  <a:lnTo>
                    <a:pt x="280" y="456"/>
                  </a:lnTo>
                  <a:lnTo>
                    <a:pt x="280" y="457"/>
                  </a:lnTo>
                  <a:lnTo>
                    <a:pt x="280" y="457"/>
                  </a:lnTo>
                  <a:lnTo>
                    <a:pt x="281" y="459"/>
                  </a:lnTo>
                  <a:lnTo>
                    <a:pt x="281" y="457"/>
                  </a:lnTo>
                  <a:lnTo>
                    <a:pt x="283" y="459"/>
                  </a:lnTo>
                  <a:lnTo>
                    <a:pt x="283" y="459"/>
                  </a:lnTo>
                  <a:lnTo>
                    <a:pt x="284" y="457"/>
                  </a:lnTo>
                  <a:lnTo>
                    <a:pt x="284" y="456"/>
                  </a:lnTo>
                  <a:lnTo>
                    <a:pt x="283" y="454"/>
                  </a:lnTo>
                  <a:lnTo>
                    <a:pt x="281" y="454"/>
                  </a:lnTo>
                  <a:lnTo>
                    <a:pt x="283" y="453"/>
                  </a:lnTo>
                  <a:lnTo>
                    <a:pt x="283" y="453"/>
                  </a:lnTo>
                  <a:lnTo>
                    <a:pt x="284" y="451"/>
                  </a:lnTo>
                  <a:lnTo>
                    <a:pt x="284" y="450"/>
                  </a:lnTo>
                  <a:lnTo>
                    <a:pt x="284" y="448"/>
                  </a:lnTo>
                  <a:lnTo>
                    <a:pt x="284" y="446"/>
                  </a:lnTo>
                  <a:lnTo>
                    <a:pt x="284" y="446"/>
                  </a:lnTo>
                  <a:close/>
                  <a:moveTo>
                    <a:pt x="274" y="496"/>
                  </a:moveTo>
                  <a:lnTo>
                    <a:pt x="274" y="497"/>
                  </a:lnTo>
                  <a:lnTo>
                    <a:pt x="275" y="497"/>
                  </a:lnTo>
                  <a:lnTo>
                    <a:pt x="275" y="496"/>
                  </a:lnTo>
                  <a:lnTo>
                    <a:pt x="275" y="494"/>
                  </a:lnTo>
                  <a:lnTo>
                    <a:pt x="274" y="496"/>
                  </a:lnTo>
                  <a:close/>
                  <a:moveTo>
                    <a:pt x="321" y="494"/>
                  </a:moveTo>
                  <a:lnTo>
                    <a:pt x="320" y="493"/>
                  </a:lnTo>
                  <a:lnTo>
                    <a:pt x="318" y="491"/>
                  </a:lnTo>
                  <a:lnTo>
                    <a:pt x="318" y="491"/>
                  </a:lnTo>
                  <a:lnTo>
                    <a:pt x="317" y="491"/>
                  </a:lnTo>
                  <a:lnTo>
                    <a:pt x="317" y="493"/>
                  </a:lnTo>
                  <a:lnTo>
                    <a:pt x="317" y="494"/>
                  </a:lnTo>
                  <a:lnTo>
                    <a:pt x="317" y="494"/>
                  </a:lnTo>
                  <a:lnTo>
                    <a:pt x="320" y="497"/>
                  </a:lnTo>
                  <a:lnTo>
                    <a:pt x="321" y="499"/>
                  </a:lnTo>
                  <a:lnTo>
                    <a:pt x="321" y="497"/>
                  </a:lnTo>
                  <a:lnTo>
                    <a:pt x="321" y="496"/>
                  </a:lnTo>
                  <a:lnTo>
                    <a:pt x="321" y="494"/>
                  </a:lnTo>
                  <a:close/>
                  <a:moveTo>
                    <a:pt x="426" y="924"/>
                  </a:moveTo>
                  <a:lnTo>
                    <a:pt x="425" y="924"/>
                  </a:lnTo>
                  <a:lnTo>
                    <a:pt x="425" y="922"/>
                  </a:lnTo>
                  <a:lnTo>
                    <a:pt x="423" y="922"/>
                  </a:lnTo>
                  <a:lnTo>
                    <a:pt x="423" y="922"/>
                  </a:lnTo>
                  <a:lnTo>
                    <a:pt x="423" y="924"/>
                  </a:lnTo>
                  <a:lnTo>
                    <a:pt x="422" y="924"/>
                  </a:lnTo>
                  <a:lnTo>
                    <a:pt x="422" y="924"/>
                  </a:lnTo>
                  <a:lnTo>
                    <a:pt x="423" y="925"/>
                  </a:lnTo>
                  <a:lnTo>
                    <a:pt x="423" y="925"/>
                  </a:lnTo>
                  <a:lnTo>
                    <a:pt x="425" y="924"/>
                  </a:lnTo>
                  <a:lnTo>
                    <a:pt x="425" y="925"/>
                  </a:lnTo>
                  <a:lnTo>
                    <a:pt x="426" y="925"/>
                  </a:lnTo>
                  <a:lnTo>
                    <a:pt x="428" y="925"/>
                  </a:lnTo>
                  <a:lnTo>
                    <a:pt x="428" y="924"/>
                  </a:lnTo>
                  <a:lnTo>
                    <a:pt x="428" y="924"/>
                  </a:lnTo>
                  <a:lnTo>
                    <a:pt x="426" y="924"/>
                  </a:lnTo>
                  <a:close/>
                  <a:moveTo>
                    <a:pt x="406" y="921"/>
                  </a:moveTo>
                  <a:lnTo>
                    <a:pt x="406" y="919"/>
                  </a:lnTo>
                  <a:lnTo>
                    <a:pt x="405" y="918"/>
                  </a:lnTo>
                  <a:lnTo>
                    <a:pt x="403" y="918"/>
                  </a:lnTo>
                  <a:lnTo>
                    <a:pt x="403" y="919"/>
                  </a:lnTo>
                  <a:lnTo>
                    <a:pt x="403" y="919"/>
                  </a:lnTo>
                  <a:lnTo>
                    <a:pt x="405" y="921"/>
                  </a:lnTo>
                  <a:lnTo>
                    <a:pt x="406" y="922"/>
                  </a:lnTo>
                  <a:lnTo>
                    <a:pt x="406" y="922"/>
                  </a:lnTo>
                  <a:lnTo>
                    <a:pt x="406" y="921"/>
                  </a:lnTo>
                  <a:lnTo>
                    <a:pt x="406" y="921"/>
                  </a:lnTo>
                  <a:close/>
                  <a:moveTo>
                    <a:pt x="403" y="1029"/>
                  </a:moveTo>
                  <a:lnTo>
                    <a:pt x="402" y="1025"/>
                  </a:lnTo>
                  <a:lnTo>
                    <a:pt x="400" y="1027"/>
                  </a:lnTo>
                  <a:lnTo>
                    <a:pt x="400" y="1027"/>
                  </a:lnTo>
                  <a:lnTo>
                    <a:pt x="400" y="1027"/>
                  </a:lnTo>
                  <a:lnTo>
                    <a:pt x="398" y="1027"/>
                  </a:lnTo>
                  <a:lnTo>
                    <a:pt x="398" y="1027"/>
                  </a:lnTo>
                  <a:lnTo>
                    <a:pt x="398" y="1025"/>
                  </a:lnTo>
                  <a:lnTo>
                    <a:pt x="397" y="1025"/>
                  </a:lnTo>
                  <a:lnTo>
                    <a:pt x="397" y="1025"/>
                  </a:lnTo>
                  <a:lnTo>
                    <a:pt x="397" y="1025"/>
                  </a:lnTo>
                  <a:lnTo>
                    <a:pt x="395" y="1025"/>
                  </a:lnTo>
                  <a:lnTo>
                    <a:pt x="395" y="1027"/>
                  </a:lnTo>
                  <a:lnTo>
                    <a:pt x="395" y="1029"/>
                  </a:lnTo>
                  <a:lnTo>
                    <a:pt x="395" y="1030"/>
                  </a:lnTo>
                  <a:lnTo>
                    <a:pt x="397" y="1030"/>
                  </a:lnTo>
                  <a:lnTo>
                    <a:pt x="398" y="1033"/>
                  </a:lnTo>
                  <a:lnTo>
                    <a:pt x="400" y="1035"/>
                  </a:lnTo>
                  <a:lnTo>
                    <a:pt x="403" y="1035"/>
                  </a:lnTo>
                  <a:lnTo>
                    <a:pt x="405" y="1033"/>
                  </a:lnTo>
                  <a:lnTo>
                    <a:pt x="405" y="1030"/>
                  </a:lnTo>
                  <a:lnTo>
                    <a:pt x="403" y="1029"/>
                  </a:lnTo>
                  <a:close/>
                  <a:moveTo>
                    <a:pt x="126" y="804"/>
                  </a:moveTo>
                  <a:lnTo>
                    <a:pt x="124" y="805"/>
                  </a:lnTo>
                  <a:lnTo>
                    <a:pt x="121" y="805"/>
                  </a:lnTo>
                  <a:lnTo>
                    <a:pt x="120" y="807"/>
                  </a:lnTo>
                  <a:lnTo>
                    <a:pt x="120" y="808"/>
                  </a:lnTo>
                  <a:lnTo>
                    <a:pt x="121" y="808"/>
                  </a:lnTo>
                  <a:lnTo>
                    <a:pt x="123" y="811"/>
                  </a:lnTo>
                  <a:lnTo>
                    <a:pt x="123" y="811"/>
                  </a:lnTo>
                  <a:lnTo>
                    <a:pt x="123" y="813"/>
                  </a:lnTo>
                  <a:lnTo>
                    <a:pt x="123" y="813"/>
                  </a:lnTo>
                  <a:lnTo>
                    <a:pt x="124" y="813"/>
                  </a:lnTo>
                  <a:lnTo>
                    <a:pt x="126" y="813"/>
                  </a:lnTo>
                  <a:lnTo>
                    <a:pt x="126" y="811"/>
                  </a:lnTo>
                  <a:lnTo>
                    <a:pt x="126" y="807"/>
                  </a:lnTo>
                  <a:lnTo>
                    <a:pt x="126" y="804"/>
                  </a:lnTo>
                  <a:close/>
                  <a:moveTo>
                    <a:pt x="240" y="423"/>
                  </a:moveTo>
                  <a:lnTo>
                    <a:pt x="240" y="423"/>
                  </a:lnTo>
                  <a:lnTo>
                    <a:pt x="240" y="423"/>
                  </a:lnTo>
                  <a:lnTo>
                    <a:pt x="240" y="422"/>
                  </a:lnTo>
                  <a:lnTo>
                    <a:pt x="238" y="423"/>
                  </a:lnTo>
                  <a:lnTo>
                    <a:pt x="237" y="426"/>
                  </a:lnTo>
                  <a:lnTo>
                    <a:pt x="237" y="430"/>
                  </a:lnTo>
                  <a:lnTo>
                    <a:pt x="238" y="428"/>
                  </a:lnTo>
                  <a:lnTo>
                    <a:pt x="240" y="426"/>
                  </a:lnTo>
                  <a:lnTo>
                    <a:pt x="241" y="425"/>
                  </a:lnTo>
                  <a:lnTo>
                    <a:pt x="241" y="423"/>
                  </a:lnTo>
                  <a:lnTo>
                    <a:pt x="240" y="423"/>
                  </a:lnTo>
                  <a:close/>
                  <a:moveTo>
                    <a:pt x="448" y="1147"/>
                  </a:moveTo>
                  <a:lnTo>
                    <a:pt x="448" y="1147"/>
                  </a:lnTo>
                  <a:lnTo>
                    <a:pt x="448" y="1147"/>
                  </a:lnTo>
                  <a:lnTo>
                    <a:pt x="446" y="1147"/>
                  </a:lnTo>
                  <a:lnTo>
                    <a:pt x="443" y="1147"/>
                  </a:lnTo>
                  <a:lnTo>
                    <a:pt x="443" y="1147"/>
                  </a:lnTo>
                  <a:lnTo>
                    <a:pt x="440" y="1147"/>
                  </a:lnTo>
                  <a:lnTo>
                    <a:pt x="440" y="1147"/>
                  </a:lnTo>
                  <a:lnTo>
                    <a:pt x="442" y="1147"/>
                  </a:lnTo>
                  <a:lnTo>
                    <a:pt x="443" y="1149"/>
                  </a:lnTo>
                  <a:lnTo>
                    <a:pt x="445" y="1149"/>
                  </a:lnTo>
                  <a:lnTo>
                    <a:pt x="446" y="1149"/>
                  </a:lnTo>
                  <a:lnTo>
                    <a:pt x="446" y="1150"/>
                  </a:lnTo>
                  <a:lnTo>
                    <a:pt x="446" y="1150"/>
                  </a:lnTo>
                  <a:lnTo>
                    <a:pt x="448" y="1150"/>
                  </a:lnTo>
                  <a:lnTo>
                    <a:pt x="448" y="1149"/>
                  </a:lnTo>
                  <a:lnTo>
                    <a:pt x="448" y="1149"/>
                  </a:lnTo>
                  <a:lnTo>
                    <a:pt x="448" y="1147"/>
                  </a:lnTo>
                  <a:close/>
                  <a:moveTo>
                    <a:pt x="238" y="674"/>
                  </a:moveTo>
                  <a:lnTo>
                    <a:pt x="237" y="673"/>
                  </a:lnTo>
                  <a:lnTo>
                    <a:pt x="237" y="671"/>
                  </a:lnTo>
                  <a:lnTo>
                    <a:pt x="237" y="671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34" y="670"/>
                  </a:lnTo>
                  <a:lnTo>
                    <a:pt x="234" y="668"/>
                  </a:lnTo>
                  <a:lnTo>
                    <a:pt x="234" y="668"/>
                  </a:lnTo>
                  <a:lnTo>
                    <a:pt x="234" y="662"/>
                  </a:lnTo>
                  <a:lnTo>
                    <a:pt x="234" y="660"/>
                  </a:lnTo>
                  <a:lnTo>
                    <a:pt x="231" y="656"/>
                  </a:lnTo>
                  <a:lnTo>
                    <a:pt x="231" y="654"/>
                  </a:lnTo>
                  <a:lnTo>
                    <a:pt x="231" y="653"/>
                  </a:lnTo>
                  <a:lnTo>
                    <a:pt x="227" y="650"/>
                  </a:lnTo>
                  <a:lnTo>
                    <a:pt x="227" y="648"/>
                  </a:lnTo>
                  <a:lnTo>
                    <a:pt x="227" y="650"/>
                  </a:lnTo>
                  <a:lnTo>
                    <a:pt x="226" y="648"/>
                  </a:lnTo>
                  <a:lnTo>
                    <a:pt x="227" y="648"/>
                  </a:lnTo>
                  <a:lnTo>
                    <a:pt x="227" y="647"/>
                  </a:lnTo>
                  <a:lnTo>
                    <a:pt x="229" y="648"/>
                  </a:lnTo>
                  <a:lnTo>
                    <a:pt x="229" y="647"/>
                  </a:lnTo>
                  <a:lnTo>
                    <a:pt x="229" y="645"/>
                  </a:lnTo>
                  <a:lnTo>
                    <a:pt x="229" y="645"/>
                  </a:lnTo>
                  <a:lnTo>
                    <a:pt x="232" y="645"/>
                  </a:lnTo>
                  <a:lnTo>
                    <a:pt x="231" y="644"/>
                  </a:lnTo>
                  <a:lnTo>
                    <a:pt x="229" y="644"/>
                  </a:lnTo>
                  <a:lnTo>
                    <a:pt x="229" y="644"/>
                  </a:lnTo>
                  <a:lnTo>
                    <a:pt x="229" y="642"/>
                  </a:lnTo>
                  <a:lnTo>
                    <a:pt x="227" y="644"/>
                  </a:lnTo>
                  <a:lnTo>
                    <a:pt x="227" y="644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0"/>
                  </a:lnTo>
                  <a:lnTo>
                    <a:pt x="223" y="639"/>
                  </a:lnTo>
                  <a:lnTo>
                    <a:pt x="223" y="639"/>
                  </a:lnTo>
                  <a:lnTo>
                    <a:pt x="224" y="639"/>
                  </a:lnTo>
                  <a:lnTo>
                    <a:pt x="224" y="639"/>
                  </a:lnTo>
                  <a:lnTo>
                    <a:pt x="224" y="637"/>
                  </a:lnTo>
                  <a:lnTo>
                    <a:pt x="226" y="637"/>
                  </a:lnTo>
                  <a:lnTo>
                    <a:pt x="224" y="637"/>
                  </a:lnTo>
                  <a:lnTo>
                    <a:pt x="223" y="637"/>
                  </a:lnTo>
                  <a:lnTo>
                    <a:pt x="221" y="637"/>
                  </a:lnTo>
                  <a:lnTo>
                    <a:pt x="220" y="639"/>
                  </a:lnTo>
                  <a:lnTo>
                    <a:pt x="220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7" y="637"/>
                  </a:lnTo>
                  <a:lnTo>
                    <a:pt x="217" y="637"/>
                  </a:lnTo>
                  <a:lnTo>
                    <a:pt x="215" y="637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20" y="636"/>
                  </a:lnTo>
                  <a:lnTo>
                    <a:pt x="220" y="636"/>
                  </a:lnTo>
                  <a:lnTo>
                    <a:pt x="220" y="634"/>
                  </a:lnTo>
                  <a:lnTo>
                    <a:pt x="221" y="633"/>
                  </a:lnTo>
                  <a:lnTo>
                    <a:pt x="221" y="631"/>
                  </a:lnTo>
                  <a:lnTo>
                    <a:pt x="221" y="630"/>
                  </a:lnTo>
                  <a:lnTo>
                    <a:pt x="223" y="628"/>
                  </a:lnTo>
                  <a:lnTo>
                    <a:pt x="224" y="630"/>
                  </a:lnTo>
                  <a:lnTo>
                    <a:pt x="224" y="630"/>
                  </a:lnTo>
                  <a:lnTo>
                    <a:pt x="226" y="630"/>
                  </a:lnTo>
                  <a:lnTo>
                    <a:pt x="227" y="628"/>
                  </a:lnTo>
                  <a:lnTo>
                    <a:pt x="226" y="628"/>
                  </a:lnTo>
                  <a:lnTo>
                    <a:pt x="223" y="627"/>
                  </a:lnTo>
                  <a:lnTo>
                    <a:pt x="221" y="627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18" y="628"/>
                  </a:lnTo>
                  <a:lnTo>
                    <a:pt x="220" y="627"/>
                  </a:lnTo>
                  <a:lnTo>
                    <a:pt x="218" y="625"/>
                  </a:lnTo>
                  <a:lnTo>
                    <a:pt x="218" y="625"/>
                  </a:lnTo>
                  <a:lnTo>
                    <a:pt x="217" y="627"/>
                  </a:lnTo>
                  <a:lnTo>
                    <a:pt x="217" y="628"/>
                  </a:lnTo>
                  <a:lnTo>
                    <a:pt x="215" y="628"/>
                  </a:lnTo>
                  <a:lnTo>
                    <a:pt x="217" y="627"/>
                  </a:lnTo>
                  <a:lnTo>
                    <a:pt x="218" y="620"/>
                  </a:lnTo>
                  <a:lnTo>
                    <a:pt x="218" y="620"/>
                  </a:lnTo>
                  <a:lnTo>
                    <a:pt x="218" y="620"/>
                  </a:lnTo>
                  <a:lnTo>
                    <a:pt x="218" y="622"/>
                  </a:lnTo>
                  <a:lnTo>
                    <a:pt x="220" y="620"/>
                  </a:lnTo>
                  <a:lnTo>
                    <a:pt x="220" y="619"/>
                  </a:lnTo>
                  <a:lnTo>
                    <a:pt x="220" y="619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18" y="617"/>
                  </a:lnTo>
                  <a:lnTo>
                    <a:pt x="218" y="617"/>
                  </a:lnTo>
                  <a:lnTo>
                    <a:pt x="218" y="617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17" y="614"/>
                  </a:lnTo>
                  <a:lnTo>
                    <a:pt x="217" y="614"/>
                  </a:lnTo>
                  <a:lnTo>
                    <a:pt x="215" y="614"/>
                  </a:lnTo>
                  <a:lnTo>
                    <a:pt x="215" y="616"/>
                  </a:lnTo>
                  <a:lnTo>
                    <a:pt x="215" y="616"/>
                  </a:lnTo>
                  <a:lnTo>
                    <a:pt x="214" y="614"/>
                  </a:lnTo>
                  <a:lnTo>
                    <a:pt x="212" y="614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7"/>
                  </a:lnTo>
                  <a:lnTo>
                    <a:pt x="212" y="617"/>
                  </a:lnTo>
                  <a:lnTo>
                    <a:pt x="212" y="617"/>
                  </a:lnTo>
                  <a:lnTo>
                    <a:pt x="211" y="620"/>
                  </a:lnTo>
                  <a:lnTo>
                    <a:pt x="211" y="617"/>
                  </a:lnTo>
                  <a:lnTo>
                    <a:pt x="211" y="617"/>
                  </a:lnTo>
                  <a:lnTo>
                    <a:pt x="211" y="616"/>
                  </a:lnTo>
                  <a:lnTo>
                    <a:pt x="211" y="616"/>
                  </a:lnTo>
                  <a:lnTo>
                    <a:pt x="209" y="614"/>
                  </a:lnTo>
                  <a:lnTo>
                    <a:pt x="209" y="614"/>
                  </a:lnTo>
                  <a:lnTo>
                    <a:pt x="207" y="613"/>
                  </a:lnTo>
                  <a:lnTo>
                    <a:pt x="209" y="613"/>
                  </a:lnTo>
                  <a:lnTo>
                    <a:pt x="209" y="613"/>
                  </a:lnTo>
                  <a:lnTo>
                    <a:pt x="209" y="613"/>
                  </a:lnTo>
                  <a:lnTo>
                    <a:pt x="209" y="611"/>
                  </a:lnTo>
                  <a:lnTo>
                    <a:pt x="209" y="611"/>
                  </a:lnTo>
                  <a:lnTo>
                    <a:pt x="209" y="611"/>
                  </a:lnTo>
                  <a:lnTo>
                    <a:pt x="207" y="611"/>
                  </a:lnTo>
                  <a:lnTo>
                    <a:pt x="207" y="611"/>
                  </a:lnTo>
                  <a:lnTo>
                    <a:pt x="206" y="611"/>
                  </a:lnTo>
                  <a:lnTo>
                    <a:pt x="206" y="611"/>
                  </a:lnTo>
                  <a:lnTo>
                    <a:pt x="204" y="608"/>
                  </a:lnTo>
                  <a:lnTo>
                    <a:pt x="203" y="608"/>
                  </a:lnTo>
                  <a:lnTo>
                    <a:pt x="203" y="611"/>
                  </a:lnTo>
                  <a:lnTo>
                    <a:pt x="201" y="610"/>
                  </a:lnTo>
                  <a:lnTo>
                    <a:pt x="201" y="610"/>
                  </a:lnTo>
                  <a:lnTo>
                    <a:pt x="200" y="610"/>
                  </a:lnTo>
                  <a:lnTo>
                    <a:pt x="200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200" y="608"/>
                  </a:lnTo>
                  <a:lnTo>
                    <a:pt x="200" y="608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8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07"/>
                  </a:lnTo>
                  <a:lnTo>
                    <a:pt x="197" y="605"/>
                  </a:lnTo>
                  <a:lnTo>
                    <a:pt x="197" y="605"/>
                  </a:lnTo>
                  <a:lnTo>
                    <a:pt x="195" y="605"/>
                  </a:lnTo>
                  <a:lnTo>
                    <a:pt x="195" y="604"/>
                  </a:lnTo>
                  <a:lnTo>
                    <a:pt x="195" y="604"/>
                  </a:lnTo>
                  <a:lnTo>
                    <a:pt x="194" y="604"/>
                  </a:lnTo>
                  <a:lnTo>
                    <a:pt x="192" y="605"/>
                  </a:lnTo>
                  <a:lnTo>
                    <a:pt x="191" y="605"/>
                  </a:lnTo>
                  <a:lnTo>
                    <a:pt x="191" y="607"/>
                  </a:lnTo>
                  <a:lnTo>
                    <a:pt x="191" y="611"/>
                  </a:lnTo>
                  <a:lnTo>
                    <a:pt x="189" y="613"/>
                  </a:lnTo>
                  <a:lnTo>
                    <a:pt x="189" y="614"/>
                  </a:lnTo>
                  <a:lnTo>
                    <a:pt x="187" y="613"/>
                  </a:lnTo>
                  <a:lnTo>
                    <a:pt x="186" y="616"/>
                  </a:lnTo>
                  <a:lnTo>
                    <a:pt x="184" y="616"/>
                  </a:lnTo>
                  <a:lnTo>
                    <a:pt x="180" y="616"/>
                  </a:lnTo>
                  <a:lnTo>
                    <a:pt x="178" y="617"/>
                  </a:lnTo>
                  <a:lnTo>
                    <a:pt x="177" y="619"/>
                  </a:lnTo>
                  <a:lnTo>
                    <a:pt x="175" y="620"/>
                  </a:lnTo>
                  <a:lnTo>
                    <a:pt x="175" y="622"/>
                  </a:lnTo>
                  <a:lnTo>
                    <a:pt x="174" y="624"/>
                  </a:lnTo>
                  <a:lnTo>
                    <a:pt x="174" y="624"/>
                  </a:lnTo>
                  <a:lnTo>
                    <a:pt x="172" y="625"/>
                  </a:lnTo>
                  <a:lnTo>
                    <a:pt x="172" y="625"/>
                  </a:lnTo>
                  <a:lnTo>
                    <a:pt x="171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8"/>
                  </a:lnTo>
                  <a:lnTo>
                    <a:pt x="169" y="628"/>
                  </a:lnTo>
                  <a:lnTo>
                    <a:pt x="166" y="633"/>
                  </a:lnTo>
                  <a:lnTo>
                    <a:pt x="164" y="634"/>
                  </a:lnTo>
                  <a:lnTo>
                    <a:pt x="160" y="637"/>
                  </a:lnTo>
                  <a:lnTo>
                    <a:pt x="160" y="637"/>
                  </a:lnTo>
                  <a:lnTo>
                    <a:pt x="158" y="637"/>
                  </a:lnTo>
                  <a:lnTo>
                    <a:pt x="157" y="637"/>
                  </a:lnTo>
                  <a:lnTo>
                    <a:pt x="150" y="639"/>
                  </a:lnTo>
                  <a:lnTo>
                    <a:pt x="150" y="640"/>
                  </a:lnTo>
                  <a:lnTo>
                    <a:pt x="149" y="642"/>
                  </a:lnTo>
                  <a:lnTo>
                    <a:pt x="147" y="644"/>
                  </a:lnTo>
                  <a:lnTo>
                    <a:pt x="141" y="647"/>
                  </a:lnTo>
                  <a:lnTo>
                    <a:pt x="141" y="647"/>
                  </a:lnTo>
                  <a:lnTo>
                    <a:pt x="138" y="647"/>
                  </a:lnTo>
                  <a:lnTo>
                    <a:pt x="135" y="645"/>
                  </a:lnTo>
                  <a:lnTo>
                    <a:pt x="126" y="644"/>
                  </a:lnTo>
                  <a:lnTo>
                    <a:pt x="124" y="642"/>
                  </a:lnTo>
                  <a:lnTo>
                    <a:pt x="121" y="637"/>
                  </a:lnTo>
                  <a:lnTo>
                    <a:pt x="120" y="637"/>
                  </a:lnTo>
                  <a:lnTo>
                    <a:pt x="121" y="636"/>
                  </a:lnTo>
                  <a:lnTo>
                    <a:pt x="121" y="634"/>
                  </a:lnTo>
                  <a:lnTo>
                    <a:pt x="121" y="634"/>
                  </a:lnTo>
                  <a:lnTo>
                    <a:pt x="120" y="633"/>
                  </a:lnTo>
                  <a:lnTo>
                    <a:pt x="120" y="633"/>
                  </a:lnTo>
                  <a:lnTo>
                    <a:pt x="120" y="633"/>
                  </a:lnTo>
                  <a:lnTo>
                    <a:pt x="118" y="631"/>
                  </a:lnTo>
                  <a:lnTo>
                    <a:pt x="118" y="631"/>
                  </a:lnTo>
                  <a:lnTo>
                    <a:pt x="118" y="633"/>
                  </a:lnTo>
                  <a:lnTo>
                    <a:pt x="117" y="634"/>
                  </a:lnTo>
                  <a:lnTo>
                    <a:pt x="117" y="636"/>
                  </a:lnTo>
                  <a:lnTo>
                    <a:pt x="118" y="637"/>
                  </a:lnTo>
                  <a:lnTo>
                    <a:pt x="118" y="637"/>
                  </a:lnTo>
                  <a:lnTo>
                    <a:pt x="120" y="639"/>
                  </a:lnTo>
                  <a:lnTo>
                    <a:pt x="120" y="640"/>
                  </a:lnTo>
                  <a:lnTo>
                    <a:pt x="118" y="642"/>
                  </a:lnTo>
                  <a:lnTo>
                    <a:pt x="114" y="656"/>
                  </a:lnTo>
                  <a:lnTo>
                    <a:pt x="114" y="656"/>
                  </a:lnTo>
                  <a:lnTo>
                    <a:pt x="115" y="656"/>
                  </a:lnTo>
                  <a:lnTo>
                    <a:pt x="115" y="659"/>
                  </a:lnTo>
                  <a:lnTo>
                    <a:pt x="117" y="659"/>
                  </a:lnTo>
                  <a:lnTo>
                    <a:pt x="117" y="659"/>
                  </a:lnTo>
                  <a:lnTo>
                    <a:pt x="118" y="659"/>
                  </a:lnTo>
                  <a:lnTo>
                    <a:pt x="118" y="659"/>
                  </a:lnTo>
                  <a:lnTo>
                    <a:pt x="118" y="660"/>
                  </a:lnTo>
                  <a:lnTo>
                    <a:pt x="118" y="660"/>
                  </a:lnTo>
                  <a:lnTo>
                    <a:pt x="117" y="660"/>
                  </a:lnTo>
                  <a:lnTo>
                    <a:pt x="117" y="662"/>
                  </a:lnTo>
                  <a:lnTo>
                    <a:pt x="117" y="664"/>
                  </a:lnTo>
                  <a:lnTo>
                    <a:pt x="115" y="665"/>
                  </a:lnTo>
                  <a:lnTo>
                    <a:pt x="114" y="665"/>
                  </a:lnTo>
                  <a:lnTo>
                    <a:pt x="114" y="667"/>
                  </a:lnTo>
                  <a:lnTo>
                    <a:pt x="114" y="670"/>
                  </a:lnTo>
                  <a:lnTo>
                    <a:pt x="115" y="670"/>
                  </a:lnTo>
                  <a:lnTo>
                    <a:pt x="115" y="671"/>
                  </a:lnTo>
                  <a:lnTo>
                    <a:pt x="115" y="670"/>
                  </a:lnTo>
                  <a:lnTo>
                    <a:pt x="117" y="668"/>
                  </a:lnTo>
                  <a:lnTo>
                    <a:pt x="118" y="667"/>
                  </a:lnTo>
                  <a:lnTo>
                    <a:pt x="120" y="667"/>
                  </a:lnTo>
                  <a:lnTo>
                    <a:pt x="118" y="668"/>
                  </a:lnTo>
                  <a:lnTo>
                    <a:pt x="118" y="670"/>
                  </a:lnTo>
                  <a:lnTo>
                    <a:pt x="120" y="671"/>
                  </a:lnTo>
                  <a:lnTo>
                    <a:pt x="123" y="668"/>
                  </a:lnTo>
                  <a:lnTo>
                    <a:pt x="124" y="668"/>
                  </a:lnTo>
                  <a:lnTo>
                    <a:pt x="126" y="670"/>
                  </a:lnTo>
                  <a:lnTo>
                    <a:pt x="127" y="673"/>
                  </a:lnTo>
                  <a:lnTo>
                    <a:pt x="127" y="674"/>
                  </a:lnTo>
                  <a:lnTo>
                    <a:pt x="127" y="677"/>
                  </a:lnTo>
                  <a:lnTo>
                    <a:pt x="129" y="677"/>
                  </a:lnTo>
                  <a:lnTo>
                    <a:pt x="130" y="679"/>
                  </a:lnTo>
                  <a:lnTo>
                    <a:pt x="132" y="681"/>
                  </a:lnTo>
                  <a:lnTo>
                    <a:pt x="132" y="684"/>
                  </a:lnTo>
                  <a:lnTo>
                    <a:pt x="132" y="685"/>
                  </a:lnTo>
                  <a:lnTo>
                    <a:pt x="132" y="691"/>
                  </a:lnTo>
                  <a:lnTo>
                    <a:pt x="132" y="693"/>
                  </a:lnTo>
                  <a:lnTo>
                    <a:pt x="134" y="694"/>
                  </a:lnTo>
                  <a:lnTo>
                    <a:pt x="134" y="693"/>
                  </a:lnTo>
                  <a:lnTo>
                    <a:pt x="137" y="694"/>
                  </a:lnTo>
                  <a:lnTo>
                    <a:pt x="138" y="696"/>
                  </a:lnTo>
                  <a:lnTo>
                    <a:pt x="138" y="699"/>
                  </a:lnTo>
                  <a:lnTo>
                    <a:pt x="138" y="701"/>
                  </a:lnTo>
                  <a:lnTo>
                    <a:pt x="138" y="705"/>
                  </a:lnTo>
                  <a:lnTo>
                    <a:pt x="138" y="711"/>
                  </a:lnTo>
                  <a:lnTo>
                    <a:pt x="138" y="713"/>
                  </a:lnTo>
                  <a:lnTo>
                    <a:pt x="140" y="716"/>
                  </a:lnTo>
                  <a:lnTo>
                    <a:pt x="140" y="716"/>
                  </a:lnTo>
                  <a:lnTo>
                    <a:pt x="140" y="717"/>
                  </a:lnTo>
                  <a:lnTo>
                    <a:pt x="138" y="719"/>
                  </a:lnTo>
                  <a:lnTo>
                    <a:pt x="138" y="721"/>
                  </a:lnTo>
                  <a:lnTo>
                    <a:pt x="138" y="721"/>
                  </a:lnTo>
                  <a:lnTo>
                    <a:pt x="137" y="721"/>
                  </a:lnTo>
                  <a:lnTo>
                    <a:pt x="135" y="722"/>
                  </a:lnTo>
                  <a:lnTo>
                    <a:pt x="134" y="722"/>
                  </a:lnTo>
                  <a:lnTo>
                    <a:pt x="134" y="722"/>
                  </a:lnTo>
                  <a:lnTo>
                    <a:pt x="132" y="722"/>
                  </a:lnTo>
                  <a:lnTo>
                    <a:pt x="132" y="724"/>
                  </a:lnTo>
                  <a:lnTo>
                    <a:pt x="132" y="724"/>
                  </a:lnTo>
                  <a:lnTo>
                    <a:pt x="132" y="724"/>
                  </a:lnTo>
                  <a:lnTo>
                    <a:pt x="134" y="725"/>
                  </a:lnTo>
                  <a:lnTo>
                    <a:pt x="134" y="725"/>
                  </a:lnTo>
                  <a:lnTo>
                    <a:pt x="132" y="728"/>
                  </a:lnTo>
                  <a:lnTo>
                    <a:pt x="132" y="728"/>
                  </a:lnTo>
                  <a:lnTo>
                    <a:pt x="134" y="733"/>
                  </a:lnTo>
                  <a:lnTo>
                    <a:pt x="134" y="733"/>
                  </a:lnTo>
                  <a:lnTo>
                    <a:pt x="132" y="734"/>
                  </a:lnTo>
                  <a:lnTo>
                    <a:pt x="132" y="734"/>
                  </a:lnTo>
                  <a:lnTo>
                    <a:pt x="132" y="734"/>
                  </a:lnTo>
                  <a:lnTo>
                    <a:pt x="134" y="736"/>
                  </a:lnTo>
                  <a:lnTo>
                    <a:pt x="134" y="736"/>
                  </a:lnTo>
                  <a:lnTo>
                    <a:pt x="134" y="736"/>
                  </a:lnTo>
                  <a:lnTo>
                    <a:pt x="135" y="737"/>
                  </a:lnTo>
                  <a:lnTo>
                    <a:pt x="135" y="737"/>
                  </a:lnTo>
                  <a:lnTo>
                    <a:pt x="135" y="739"/>
                  </a:lnTo>
                  <a:lnTo>
                    <a:pt x="135" y="739"/>
                  </a:lnTo>
                  <a:lnTo>
                    <a:pt x="135" y="741"/>
                  </a:lnTo>
                  <a:lnTo>
                    <a:pt x="137" y="737"/>
                  </a:lnTo>
                  <a:lnTo>
                    <a:pt x="137" y="737"/>
                  </a:lnTo>
                  <a:lnTo>
                    <a:pt x="138" y="736"/>
                  </a:lnTo>
                  <a:lnTo>
                    <a:pt x="137" y="736"/>
                  </a:lnTo>
                  <a:lnTo>
                    <a:pt x="137" y="736"/>
                  </a:lnTo>
                  <a:lnTo>
                    <a:pt x="137" y="736"/>
                  </a:lnTo>
                  <a:lnTo>
                    <a:pt x="137" y="737"/>
                  </a:lnTo>
                  <a:lnTo>
                    <a:pt x="135" y="736"/>
                  </a:lnTo>
                  <a:lnTo>
                    <a:pt x="138" y="734"/>
                  </a:lnTo>
                  <a:lnTo>
                    <a:pt x="140" y="734"/>
                  </a:lnTo>
                  <a:lnTo>
                    <a:pt x="143" y="736"/>
                  </a:lnTo>
                  <a:lnTo>
                    <a:pt x="144" y="739"/>
                  </a:lnTo>
                  <a:lnTo>
                    <a:pt x="144" y="741"/>
                  </a:lnTo>
                  <a:lnTo>
                    <a:pt x="144" y="741"/>
                  </a:lnTo>
                  <a:lnTo>
                    <a:pt x="144" y="744"/>
                  </a:lnTo>
                  <a:lnTo>
                    <a:pt x="144" y="745"/>
                  </a:lnTo>
                  <a:lnTo>
                    <a:pt x="143" y="747"/>
                  </a:lnTo>
                  <a:lnTo>
                    <a:pt x="143" y="748"/>
                  </a:lnTo>
                  <a:lnTo>
                    <a:pt x="141" y="750"/>
                  </a:lnTo>
                  <a:lnTo>
                    <a:pt x="143" y="750"/>
                  </a:lnTo>
                  <a:lnTo>
                    <a:pt x="143" y="748"/>
                  </a:lnTo>
                  <a:lnTo>
                    <a:pt x="143" y="748"/>
                  </a:lnTo>
                  <a:lnTo>
                    <a:pt x="143" y="748"/>
                  </a:lnTo>
                  <a:lnTo>
                    <a:pt x="144" y="748"/>
                  </a:lnTo>
                  <a:lnTo>
                    <a:pt x="143" y="748"/>
                  </a:lnTo>
                  <a:lnTo>
                    <a:pt x="141" y="750"/>
                  </a:lnTo>
                  <a:lnTo>
                    <a:pt x="141" y="751"/>
                  </a:lnTo>
                  <a:lnTo>
                    <a:pt x="141" y="753"/>
                  </a:lnTo>
                  <a:lnTo>
                    <a:pt x="141" y="754"/>
                  </a:lnTo>
                  <a:lnTo>
                    <a:pt x="146" y="756"/>
                  </a:lnTo>
                  <a:lnTo>
                    <a:pt x="143" y="756"/>
                  </a:lnTo>
                  <a:lnTo>
                    <a:pt x="141" y="756"/>
                  </a:lnTo>
                  <a:lnTo>
                    <a:pt x="140" y="754"/>
                  </a:lnTo>
                  <a:lnTo>
                    <a:pt x="138" y="750"/>
                  </a:lnTo>
                  <a:lnTo>
                    <a:pt x="138" y="750"/>
                  </a:lnTo>
                  <a:lnTo>
                    <a:pt x="137" y="750"/>
                  </a:lnTo>
                  <a:lnTo>
                    <a:pt x="137" y="750"/>
                  </a:lnTo>
                  <a:lnTo>
                    <a:pt x="137" y="753"/>
                  </a:lnTo>
                  <a:lnTo>
                    <a:pt x="137" y="753"/>
                  </a:lnTo>
                  <a:lnTo>
                    <a:pt x="137" y="754"/>
                  </a:lnTo>
                  <a:lnTo>
                    <a:pt x="137" y="756"/>
                  </a:lnTo>
                  <a:lnTo>
                    <a:pt x="137" y="759"/>
                  </a:lnTo>
                  <a:lnTo>
                    <a:pt x="138" y="764"/>
                  </a:lnTo>
                  <a:lnTo>
                    <a:pt x="138" y="765"/>
                  </a:lnTo>
                  <a:lnTo>
                    <a:pt x="137" y="767"/>
                  </a:lnTo>
                  <a:lnTo>
                    <a:pt x="138" y="767"/>
                  </a:lnTo>
                  <a:lnTo>
                    <a:pt x="137" y="770"/>
                  </a:lnTo>
                  <a:lnTo>
                    <a:pt x="135" y="773"/>
                  </a:lnTo>
                  <a:lnTo>
                    <a:pt x="135" y="774"/>
                  </a:lnTo>
                  <a:lnTo>
                    <a:pt x="132" y="776"/>
                  </a:lnTo>
                  <a:lnTo>
                    <a:pt x="132" y="778"/>
                  </a:lnTo>
                  <a:lnTo>
                    <a:pt x="132" y="778"/>
                  </a:lnTo>
                  <a:lnTo>
                    <a:pt x="132" y="779"/>
                  </a:lnTo>
                  <a:lnTo>
                    <a:pt x="134" y="781"/>
                  </a:lnTo>
                  <a:lnTo>
                    <a:pt x="134" y="782"/>
                  </a:lnTo>
                  <a:lnTo>
                    <a:pt x="134" y="784"/>
                  </a:lnTo>
                  <a:lnTo>
                    <a:pt x="132" y="784"/>
                  </a:lnTo>
                  <a:lnTo>
                    <a:pt x="132" y="785"/>
                  </a:lnTo>
                  <a:lnTo>
                    <a:pt x="130" y="787"/>
                  </a:lnTo>
                  <a:lnTo>
                    <a:pt x="132" y="788"/>
                  </a:lnTo>
                  <a:lnTo>
                    <a:pt x="134" y="790"/>
                  </a:lnTo>
                  <a:lnTo>
                    <a:pt x="134" y="791"/>
                  </a:lnTo>
                  <a:lnTo>
                    <a:pt x="135" y="794"/>
                  </a:lnTo>
                  <a:lnTo>
                    <a:pt x="135" y="796"/>
                  </a:lnTo>
                  <a:lnTo>
                    <a:pt x="132" y="801"/>
                  </a:lnTo>
                  <a:lnTo>
                    <a:pt x="130" y="801"/>
                  </a:lnTo>
                  <a:lnTo>
                    <a:pt x="130" y="802"/>
                  </a:lnTo>
                  <a:lnTo>
                    <a:pt x="132" y="802"/>
                  </a:lnTo>
                  <a:lnTo>
                    <a:pt x="132" y="804"/>
                  </a:lnTo>
                  <a:lnTo>
                    <a:pt x="132" y="804"/>
                  </a:lnTo>
                  <a:lnTo>
                    <a:pt x="134" y="804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5"/>
                  </a:lnTo>
                  <a:lnTo>
                    <a:pt x="135" y="805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7" y="808"/>
                  </a:lnTo>
                  <a:lnTo>
                    <a:pt x="135" y="810"/>
                  </a:lnTo>
                  <a:lnTo>
                    <a:pt x="137" y="811"/>
                  </a:lnTo>
                  <a:lnTo>
                    <a:pt x="137" y="811"/>
                  </a:lnTo>
                  <a:lnTo>
                    <a:pt x="138" y="811"/>
                  </a:lnTo>
                  <a:lnTo>
                    <a:pt x="138" y="813"/>
                  </a:lnTo>
                  <a:lnTo>
                    <a:pt x="138" y="814"/>
                  </a:lnTo>
                  <a:lnTo>
                    <a:pt x="140" y="814"/>
                  </a:lnTo>
                  <a:lnTo>
                    <a:pt x="140" y="814"/>
                  </a:lnTo>
                  <a:lnTo>
                    <a:pt x="141" y="814"/>
                  </a:lnTo>
                  <a:lnTo>
                    <a:pt x="141" y="814"/>
                  </a:lnTo>
                  <a:lnTo>
                    <a:pt x="141" y="816"/>
                  </a:lnTo>
                  <a:lnTo>
                    <a:pt x="141" y="816"/>
                  </a:lnTo>
                  <a:lnTo>
                    <a:pt x="141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6" y="822"/>
                  </a:lnTo>
                  <a:lnTo>
                    <a:pt x="146" y="827"/>
                  </a:lnTo>
                  <a:lnTo>
                    <a:pt x="147" y="827"/>
                  </a:lnTo>
                  <a:lnTo>
                    <a:pt x="149" y="828"/>
                  </a:lnTo>
                  <a:lnTo>
                    <a:pt x="149" y="830"/>
                  </a:lnTo>
                  <a:lnTo>
                    <a:pt x="147" y="831"/>
                  </a:lnTo>
                  <a:lnTo>
                    <a:pt x="147" y="833"/>
                  </a:lnTo>
                  <a:lnTo>
                    <a:pt x="149" y="833"/>
                  </a:lnTo>
                  <a:lnTo>
                    <a:pt x="150" y="833"/>
                  </a:lnTo>
                  <a:lnTo>
                    <a:pt x="150" y="833"/>
                  </a:lnTo>
                  <a:lnTo>
                    <a:pt x="150" y="834"/>
                  </a:lnTo>
                  <a:lnTo>
                    <a:pt x="150" y="836"/>
                  </a:lnTo>
                  <a:lnTo>
                    <a:pt x="152" y="834"/>
                  </a:lnTo>
                  <a:lnTo>
                    <a:pt x="152" y="833"/>
                  </a:lnTo>
                  <a:lnTo>
                    <a:pt x="154" y="831"/>
                  </a:lnTo>
                  <a:lnTo>
                    <a:pt x="155" y="830"/>
                  </a:lnTo>
                  <a:lnTo>
                    <a:pt x="157" y="830"/>
                  </a:lnTo>
                  <a:lnTo>
                    <a:pt x="158" y="830"/>
                  </a:lnTo>
                  <a:lnTo>
                    <a:pt x="160" y="830"/>
                  </a:lnTo>
                  <a:lnTo>
                    <a:pt x="163" y="831"/>
                  </a:lnTo>
                  <a:lnTo>
                    <a:pt x="163" y="833"/>
                  </a:lnTo>
                  <a:lnTo>
                    <a:pt x="163" y="831"/>
                  </a:lnTo>
                  <a:lnTo>
                    <a:pt x="164" y="833"/>
                  </a:lnTo>
                  <a:lnTo>
                    <a:pt x="166" y="834"/>
                  </a:lnTo>
                  <a:lnTo>
                    <a:pt x="167" y="834"/>
                  </a:lnTo>
                  <a:lnTo>
                    <a:pt x="167" y="834"/>
                  </a:lnTo>
                  <a:lnTo>
                    <a:pt x="167" y="833"/>
                  </a:lnTo>
                  <a:lnTo>
                    <a:pt x="169" y="833"/>
                  </a:lnTo>
                  <a:lnTo>
                    <a:pt x="169" y="833"/>
                  </a:lnTo>
                  <a:lnTo>
                    <a:pt x="171" y="831"/>
                  </a:lnTo>
                  <a:lnTo>
                    <a:pt x="177" y="824"/>
                  </a:lnTo>
                  <a:lnTo>
                    <a:pt x="178" y="824"/>
                  </a:lnTo>
                  <a:lnTo>
                    <a:pt x="178" y="824"/>
                  </a:lnTo>
                  <a:lnTo>
                    <a:pt x="178" y="824"/>
                  </a:lnTo>
                  <a:lnTo>
                    <a:pt x="180" y="824"/>
                  </a:lnTo>
                  <a:lnTo>
                    <a:pt x="180" y="824"/>
                  </a:lnTo>
                  <a:lnTo>
                    <a:pt x="180" y="819"/>
                  </a:lnTo>
                  <a:lnTo>
                    <a:pt x="181" y="818"/>
                  </a:lnTo>
                  <a:lnTo>
                    <a:pt x="181" y="818"/>
                  </a:lnTo>
                  <a:lnTo>
                    <a:pt x="180" y="816"/>
                  </a:lnTo>
                  <a:lnTo>
                    <a:pt x="180" y="816"/>
                  </a:lnTo>
                  <a:lnTo>
                    <a:pt x="180" y="814"/>
                  </a:lnTo>
                  <a:lnTo>
                    <a:pt x="180" y="813"/>
                  </a:lnTo>
                  <a:lnTo>
                    <a:pt x="178" y="811"/>
                  </a:lnTo>
                  <a:lnTo>
                    <a:pt x="180" y="808"/>
                  </a:lnTo>
                  <a:lnTo>
                    <a:pt x="180" y="807"/>
                  </a:lnTo>
                  <a:lnTo>
                    <a:pt x="181" y="805"/>
                  </a:lnTo>
                  <a:lnTo>
                    <a:pt x="183" y="802"/>
                  </a:lnTo>
                  <a:lnTo>
                    <a:pt x="184" y="802"/>
                  </a:lnTo>
                  <a:lnTo>
                    <a:pt x="184" y="801"/>
                  </a:lnTo>
                  <a:lnTo>
                    <a:pt x="183" y="801"/>
                  </a:lnTo>
                  <a:lnTo>
                    <a:pt x="181" y="801"/>
                  </a:lnTo>
                  <a:lnTo>
                    <a:pt x="181" y="801"/>
                  </a:lnTo>
                  <a:lnTo>
                    <a:pt x="180" y="801"/>
                  </a:lnTo>
                  <a:lnTo>
                    <a:pt x="180" y="801"/>
                  </a:lnTo>
                  <a:lnTo>
                    <a:pt x="180" y="801"/>
                  </a:lnTo>
                  <a:lnTo>
                    <a:pt x="180" y="799"/>
                  </a:lnTo>
                  <a:lnTo>
                    <a:pt x="180" y="799"/>
                  </a:lnTo>
                  <a:lnTo>
                    <a:pt x="180" y="798"/>
                  </a:lnTo>
                  <a:lnTo>
                    <a:pt x="178" y="798"/>
                  </a:lnTo>
                  <a:lnTo>
                    <a:pt x="178" y="798"/>
                  </a:lnTo>
                  <a:lnTo>
                    <a:pt x="180" y="798"/>
                  </a:lnTo>
                  <a:lnTo>
                    <a:pt x="181" y="798"/>
                  </a:lnTo>
                  <a:lnTo>
                    <a:pt x="181" y="798"/>
                  </a:lnTo>
                  <a:lnTo>
                    <a:pt x="181" y="799"/>
                  </a:lnTo>
                  <a:lnTo>
                    <a:pt x="183" y="799"/>
                  </a:lnTo>
                  <a:lnTo>
                    <a:pt x="183" y="799"/>
                  </a:lnTo>
                  <a:lnTo>
                    <a:pt x="186" y="802"/>
                  </a:lnTo>
                  <a:lnTo>
                    <a:pt x="187" y="804"/>
                  </a:lnTo>
                  <a:lnTo>
                    <a:pt x="191" y="805"/>
                  </a:lnTo>
                  <a:lnTo>
                    <a:pt x="191" y="804"/>
                  </a:lnTo>
                  <a:lnTo>
                    <a:pt x="191" y="804"/>
                  </a:lnTo>
                  <a:lnTo>
                    <a:pt x="192" y="802"/>
                  </a:lnTo>
                  <a:lnTo>
                    <a:pt x="194" y="801"/>
                  </a:lnTo>
                  <a:lnTo>
                    <a:pt x="197" y="801"/>
                  </a:lnTo>
                  <a:lnTo>
                    <a:pt x="198" y="802"/>
                  </a:lnTo>
                  <a:lnTo>
                    <a:pt x="198" y="802"/>
                  </a:lnTo>
                  <a:lnTo>
                    <a:pt x="200" y="802"/>
                  </a:lnTo>
                  <a:lnTo>
                    <a:pt x="200" y="802"/>
                  </a:lnTo>
                  <a:lnTo>
                    <a:pt x="201" y="802"/>
                  </a:lnTo>
                  <a:lnTo>
                    <a:pt x="201" y="804"/>
                  </a:lnTo>
                  <a:lnTo>
                    <a:pt x="203" y="804"/>
                  </a:lnTo>
                  <a:lnTo>
                    <a:pt x="203" y="804"/>
                  </a:lnTo>
                  <a:lnTo>
                    <a:pt x="204" y="805"/>
                  </a:lnTo>
                  <a:lnTo>
                    <a:pt x="206" y="807"/>
                  </a:lnTo>
                  <a:lnTo>
                    <a:pt x="206" y="807"/>
                  </a:lnTo>
                  <a:lnTo>
                    <a:pt x="207" y="808"/>
                  </a:lnTo>
                  <a:lnTo>
                    <a:pt x="209" y="810"/>
                  </a:lnTo>
                  <a:lnTo>
                    <a:pt x="211" y="810"/>
                  </a:lnTo>
                  <a:lnTo>
                    <a:pt x="211" y="811"/>
                  </a:lnTo>
                  <a:lnTo>
                    <a:pt x="211" y="811"/>
                  </a:lnTo>
                  <a:lnTo>
                    <a:pt x="212" y="810"/>
                  </a:lnTo>
                  <a:lnTo>
                    <a:pt x="214" y="810"/>
                  </a:lnTo>
                  <a:lnTo>
                    <a:pt x="215" y="810"/>
                  </a:lnTo>
                  <a:lnTo>
                    <a:pt x="215" y="811"/>
                  </a:lnTo>
                  <a:lnTo>
                    <a:pt x="215" y="811"/>
                  </a:lnTo>
                  <a:lnTo>
                    <a:pt x="215" y="811"/>
                  </a:lnTo>
                  <a:lnTo>
                    <a:pt x="215" y="813"/>
                  </a:lnTo>
                  <a:lnTo>
                    <a:pt x="217" y="813"/>
                  </a:lnTo>
                  <a:lnTo>
                    <a:pt x="217" y="811"/>
                  </a:lnTo>
                  <a:lnTo>
                    <a:pt x="218" y="810"/>
                  </a:lnTo>
                  <a:lnTo>
                    <a:pt x="220" y="810"/>
                  </a:lnTo>
                  <a:lnTo>
                    <a:pt x="220" y="808"/>
                  </a:lnTo>
                  <a:lnTo>
                    <a:pt x="220" y="807"/>
                  </a:lnTo>
                  <a:lnTo>
                    <a:pt x="221" y="805"/>
                  </a:lnTo>
                  <a:lnTo>
                    <a:pt x="221" y="805"/>
                  </a:lnTo>
                  <a:lnTo>
                    <a:pt x="220" y="804"/>
                  </a:lnTo>
                  <a:lnTo>
                    <a:pt x="220" y="804"/>
                  </a:lnTo>
                  <a:lnTo>
                    <a:pt x="220" y="804"/>
                  </a:lnTo>
                  <a:lnTo>
                    <a:pt x="220" y="802"/>
                  </a:lnTo>
                  <a:lnTo>
                    <a:pt x="220" y="801"/>
                  </a:lnTo>
                  <a:lnTo>
                    <a:pt x="221" y="798"/>
                  </a:lnTo>
                  <a:lnTo>
                    <a:pt x="223" y="794"/>
                  </a:lnTo>
                  <a:lnTo>
                    <a:pt x="224" y="794"/>
                  </a:lnTo>
                  <a:lnTo>
                    <a:pt x="224" y="794"/>
                  </a:lnTo>
                  <a:lnTo>
                    <a:pt x="223" y="793"/>
                  </a:lnTo>
                  <a:lnTo>
                    <a:pt x="223" y="791"/>
                  </a:lnTo>
                  <a:lnTo>
                    <a:pt x="223" y="790"/>
                  </a:lnTo>
                  <a:lnTo>
                    <a:pt x="223" y="788"/>
                  </a:lnTo>
                  <a:lnTo>
                    <a:pt x="223" y="785"/>
                  </a:lnTo>
                  <a:lnTo>
                    <a:pt x="226" y="779"/>
                  </a:lnTo>
                  <a:lnTo>
                    <a:pt x="226" y="776"/>
                  </a:lnTo>
                  <a:lnTo>
                    <a:pt x="224" y="774"/>
                  </a:lnTo>
                  <a:lnTo>
                    <a:pt x="226" y="768"/>
                  </a:lnTo>
                  <a:lnTo>
                    <a:pt x="226" y="765"/>
                  </a:lnTo>
                  <a:lnTo>
                    <a:pt x="226" y="762"/>
                  </a:lnTo>
                  <a:lnTo>
                    <a:pt x="226" y="761"/>
                  </a:lnTo>
                  <a:lnTo>
                    <a:pt x="226" y="759"/>
                  </a:lnTo>
                  <a:lnTo>
                    <a:pt x="227" y="759"/>
                  </a:lnTo>
                  <a:lnTo>
                    <a:pt x="227" y="758"/>
                  </a:lnTo>
                  <a:lnTo>
                    <a:pt x="227" y="756"/>
                  </a:lnTo>
                  <a:lnTo>
                    <a:pt x="227" y="754"/>
                  </a:lnTo>
                  <a:lnTo>
                    <a:pt x="227" y="754"/>
                  </a:lnTo>
                  <a:lnTo>
                    <a:pt x="227" y="753"/>
                  </a:lnTo>
                  <a:lnTo>
                    <a:pt x="227" y="750"/>
                  </a:lnTo>
                  <a:lnTo>
                    <a:pt x="227" y="748"/>
                  </a:lnTo>
                  <a:lnTo>
                    <a:pt x="227" y="747"/>
                  </a:lnTo>
                  <a:lnTo>
                    <a:pt x="227" y="744"/>
                  </a:lnTo>
                  <a:lnTo>
                    <a:pt x="229" y="742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39"/>
                  </a:lnTo>
                  <a:lnTo>
                    <a:pt x="229" y="739"/>
                  </a:lnTo>
                  <a:lnTo>
                    <a:pt x="229" y="739"/>
                  </a:lnTo>
                  <a:lnTo>
                    <a:pt x="229" y="737"/>
                  </a:lnTo>
                  <a:lnTo>
                    <a:pt x="229" y="737"/>
                  </a:lnTo>
                  <a:lnTo>
                    <a:pt x="229" y="736"/>
                  </a:lnTo>
                  <a:lnTo>
                    <a:pt x="229" y="734"/>
                  </a:lnTo>
                  <a:lnTo>
                    <a:pt x="231" y="734"/>
                  </a:lnTo>
                  <a:lnTo>
                    <a:pt x="231" y="734"/>
                  </a:lnTo>
                  <a:lnTo>
                    <a:pt x="231" y="734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29" y="733"/>
                  </a:lnTo>
                  <a:lnTo>
                    <a:pt x="229" y="730"/>
                  </a:lnTo>
                  <a:lnTo>
                    <a:pt x="229" y="727"/>
                  </a:lnTo>
                  <a:lnTo>
                    <a:pt x="232" y="721"/>
                  </a:lnTo>
                  <a:lnTo>
                    <a:pt x="232" y="719"/>
                  </a:lnTo>
                  <a:lnTo>
                    <a:pt x="231" y="717"/>
                  </a:lnTo>
                  <a:lnTo>
                    <a:pt x="229" y="714"/>
                  </a:lnTo>
                  <a:lnTo>
                    <a:pt x="229" y="714"/>
                  </a:lnTo>
                  <a:lnTo>
                    <a:pt x="227" y="714"/>
                  </a:lnTo>
                  <a:lnTo>
                    <a:pt x="226" y="713"/>
                  </a:lnTo>
                  <a:lnTo>
                    <a:pt x="224" y="708"/>
                  </a:lnTo>
                  <a:lnTo>
                    <a:pt x="224" y="707"/>
                  </a:lnTo>
                  <a:lnTo>
                    <a:pt x="224" y="702"/>
                  </a:lnTo>
                  <a:lnTo>
                    <a:pt x="224" y="701"/>
                  </a:lnTo>
                  <a:lnTo>
                    <a:pt x="224" y="699"/>
                  </a:lnTo>
                  <a:lnTo>
                    <a:pt x="226" y="697"/>
                  </a:lnTo>
                  <a:lnTo>
                    <a:pt x="227" y="696"/>
                  </a:lnTo>
                  <a:lnTo>
                    <a:pt x="229" y="696"/>
                  </a:lnTo>
                  <a:lnTo>
                    <a:pt x="231" y="693"/>
                  </a:lnTo>
                  <a:lnTo>
                    <a:pt x="231" y="691"/>
                  </a:lnTo>
                  <a:lnTo>
                    <a:pt x="232" y="691"/>
                  </a:lnTo>
                  <a:lnTo>
                    <a:pt x="234" y="690"/>
                  </a:lnTo>
                  <a:lnTo>
                    <a:pt x="234" y="688"/>
                  </a:lnTo>
                  <a:lnTo>
                    <a:pt x="235" y="685"/>
                  </a:lnTo>
                  <a:lnTo>
                    <a:pt x="237" y="682"/>
                  </a:lnTo>
                  <a:lnTo>
                    <a:pt x="238" y="681"/>
                  </a:lnTo>
                  <a:lnTo>
                    <a:pt x="238" y="679"/>
                  </a:lnTo>
                  <a:lnTo>
                    <a:pt x="238" y="677"/>
                  </a:lnTo>
                  <a:lnTo>
                    <a:pt x="240" y="676"/>
                  </a:lnTo>
                  <a:lnTo>
                    <a:pt x="240" y="676"/>
                  </a:lnTo>
                  <a:lnTo>
                    <a:pt x="238" y="674"/>
                  </a:lnTo>
                  <a:close/>
                  <a:moveTo>
                    <a:pt x="138" y="816"/>
                  </a:moveTo>
                  <a:lnTo>
                    <a:pt x="138" y="816"/>
                  </a:lnTo>
                  <a:lnTo>
                    <a:pt x="138" y="816"/>
                  </a:lnTo>
                  <a:lnTo>
                    <a:pt x="138" y="816"/>
                  </a:lnTo>
                  <a:lnTo>
                    <a:pt x="137" y="816"/>
                  </a:lnTo>
                  <a:lnTo>
                    <a:pt x="137" y="816"/>
                  </a:lnTo>
                  <a:lnTo>
                    <a:pt x="137" y="813"/>
                  </a:lnTo>
                  <a:lnTo>
                    <a:pt x="134" y="813"/>
                  </a:lnTo>
                  <a:lnTo>
                    <a:pt x="132" y="813"/>
                  </a:lnTo>
                  <a:lnTo>
                    <a:pt x="130" y="811"/>
                  </a:lnTo>
                  <a:lnTo>
                    <a:pt x="129" y="813"/>
                  </a:lnTo>
                  <a:lnTo>
                    <a:pt x="129" y="814"/>
                  </a:lnTo>
                  <a:lnTo>
                    <a:pt x="129" y="814"/>
                  </a:lnTo>
                  <a:lnTo>
                    <a:pt x="129" y="814"/>
                  </a:lnTo>
                  <a:lnTo>
                    <a:pt x="129" y="818"/>
                  </a:lnTo>
                  <a:lnTo>
                    <a:pt x="130" y="821"/>
                  </a:lnTo>
                  <a:lnTo>
                    <a:pt x="134" y="825"/>
                  </a:lnTo>
                  <a:lnTo>
                    <a:pt x="134" y="825"/>
                  </a:lnTo>
                  <a:lnTo>
                    <a:pt x="134" y="825"/>
                  </a:lnTo>
                  <a:lnTo>
                    <a:pt x="134" y="827"/>
                  </a:lnTo>
                  <a:lnTo>
                    <a:pt x="135" y="827"/>
                  </a:lnTo>
                  <a:lnTo>
                    <a:pt x="135" y="827"/>
                  </a:lnTo>
                  <a:lnTo>
                    <a:pt x="135" y="825"/>
                  </a:lnTo>
                  <a:lnTo>
                    <a:pt x="137" y="824"/>
                  </a:lnTo>
                  <a:lnTo>
                    <a:pt x="137" y="821"/>
                  </a:lnTo>
                  <a:lnTo>
                    <a:pt x="138" y="819"/>
                  </a:lnTo>
                  <a:lnTo>
                    <a:pt x="138" y="818"/>
                  </a:lnTo>
                  <a:lnTo>
                    <a:pt x="138" y="818"/>
                  </a:lnTo>
                  <a:lnTo>
                    <a:pt x="140" y="816"/>
                  </a:lnTo>
                  <a:lnTo>
                    <a:pt x="138" y="816"/>
                  </a:lnTo>
                  <a:lnTo>
                    <a:pt x="138" y="816"/>
                  </a:lnTo>
                  <a:close/>
                  <a:moveTo>
                    <a:pt x="123" y="624"/>
                  </a:moveTo>
                  <a:lnTo>
                    <a:pt x="121" y="624"/>
                  </a:lnTo>
                  <a:lnTo>
                    <a:pt x="120" y="625"/>
                  </a:lnTo>
                  <a:lnTo>
                    <a:pt x="120" y="625"/>
                  </a:lnTo>
                  <a:lnTo>
                    <a:pt x="120" y="627"/>
                  </a:lnTo>
                  <a:lnTo>
                    <a:pt x="120" y="628"/>
                  </a:lnTo>
                  <a:lnTo>
                    <a:pt x="120" y="628"/>
                  </a:lnTo>
                  <a:lnTo>
                    <a:pt x="118" y="630"/>
                  </a:lnTo>
                  <a:lnTo>
                    <a:pt x="121" y="630"/>
                  </a:lnTo>
                  <a:lnTo>
                    <a:pt x="121" y="628"/>
                  </a:lnTo>
                  <a:lnTo>
                    <a:pt x="121" y="625"/>
                  </a:lnTo>
                  <a:lnTo>
                    <a:pt x="124" y="624"/>
                  </a:lnTo>
                  <a:lnTo>
                    <a:pt x="127" y="624"/>
                  </a:lnTo>
                  <a:lnTo>
                    <a:pt x="129" y="622"/>
                  </a:lnTo>
                  <a:lnTo>
                    <a:pt x="129" y="620"/>
                  </a:lnTo>
                  <a:lnTo>
                    <a:pt x="129" y="619"/>
                  </a:lnTo>
                  <a:lnTo>
                    <a:pt x="127" y="619"/>
                  </a:lnTo>
                  <a:lnTo>
                    <a:pt x="127" y="617"/>
                  </a:lnTo>
                  <a:lnTo>
                    <a:pt x="127" y="617"/>
                  </a:lnTo>
                  <a:lnTo>
                    <a:pt x="127" y="617"/>
                  </a:lnTo>
                  <a:lnTo>
                    <a:pt x="126" y="617"/>
                  </a:lnTo>
                  <a:lnTo>
                    <a:pt x="126" y="617"/>
                  </a:lnTo>
                  <a:lnTo>
                    <a:pt x="126" y="619"/>
                  </a:lnTo>
                  <a:lnTo>
                    <a:pt x="126" y="619"/>
                  </a:lnTo>
                  <a:lnTo>
                    <a:pt x="124" y="619"/>
                  </a:lnTo>
                  <a:lnTo>
                    <a:pt x="124" y="619"/>
                  </a:lnTo>
                  <a:lnTo>
                    <a:pt x="124" y="620"/>
                  </a:lnTo>
                  <a:lnTo>
                    <a:pt x="124" y="620"/>
                  </a:lnTo>
                  <a:lnTo>
                    <a:pt x="124" y="622"/>
                  </a:lnTo>
                  <a:lnTo>
                    <a:pt x="123" y="624"/>
                  </a:lnTo>
                  <a:close/>
                  <a:moveTo>
                    <a:pt x="211" y="611"/>
                  </a:moveTo>
                  <a:lnTo>
                    <a:pt x="211" y="611"/>
                  </a:lnTo>
                  <a:lnTo>
                    <a:pt x="212" y="611"/>
                  </a:lnTo>
                  <a:lnTo>
                    <a:pt x="212" y="613"/>
                  </a:lnTo>
                  <a:lnTo>
                    <a:pt x="212" y="613"/>
                  </a:lnTo>
                  <a:lnTo>
                    <a:pt x="214" y="611"/>
                  </a:lnTo>
                  <a:lnTo>
                    <a:pt x="214" y="611"/>
                  </a:lnTo>
                  <a:lnTo>
                    <a:pt x="212" y="611"/>
                  </a:lnTo>
                  <a:lnTo>
                    <a:pt x="214" y="608"/>
                  </a:lnTo>
                  <a:lnTo>
                    <a:pt x="214" y="607"/>
                  </a:lnTo>
                  <a:lnTo>
                    <a:pt x="214" y="607"/>
                  </a:lnTo>
                  <a:lnTo>
                    <a:pt x="214" y="607"/>
                  </a:lnTo>
                  <a:lnTo>
                    <a:pt x="212" y="605"/>
                  </a:lnTo>
                  <a:lnTo>
                    <a:pt x="212" y="605"/>
                  </a:lnTo>
                  <a:lnTo>
                    <a:pt x="212" y="607"/>
                  </a:lnTo>
                  <a:lnTo>
                    <a:pt x="211" y="608"/>
                  </a:lnTo>
                  <a:lnTo>
                    <a:pt x="211" y="608"/>
                  </a:lnTo>
                  <a:lnTo>
                    <a:pt x="211" y="610"/>
                  </a:lnTo>
                  <a:lnTo>
                    <a:pt x="211" y="611"/>
                  </a:lnTo>
                  <a:lnTo>
                    <a:pt x="211" y="611"/>
                  </a:lnTo>
                  <a:close/>
                  <a:moveTo>
                    <a:pt x="209" y="605"/>
                  </a:moveTo>
                  <a:lnTo>
                    <a:pt x="209" y="604"/>
                  </a:lnTo>
                  <a:lnTo>
                    <a:pt x="209" y="604"/>
                  </a:lnTo>
                  <a:lnTo>
                    <a:pt x="209" y="604"/>
                  </a:lnTo>
                  <a:lnTo>
                    <a:pt x="207" y="604"/>
                  </a:lnTo>
                  <a:lnTo>
                    <a:pt x="207" y="604"/>
                  </a:lnTo>
                  <a:lnTo>
                    <a:pt x="207" y="604"/>
                  </a:lnTo>
                  <a:lnTo>
                    <a:pt x="207" y="605"/>
                  </a:lnTo>
                  <a:lnTo>
                    <a:pt x="207" y="605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8"/>
                  </a:lnTo>
                  <a:lnTo>
                    <a:pt x="207" y="608"/>
                  </a:lnTo>
                  <a:lnTo>
                    <a:pt x="211" y="608"/>
                  </a:lnTo>
                  <a:lnTo>
                    <a:pt x="211" y="608"/>
                  </a:lnTo>
                  <a:lnTo>
                    <a:pt x="209" y="607"/>
                  </a:lnTo>
                  <a:lnTo>
                    <a:pt x="209" y="607"/>
                  </a:lnTo>
                  <a:lnTo>
                    <a:pt x="209" y="605"/>
                  </a:lnTo>
                  <a:lnTo>
                    <a:pt x="209" y="605"/>
                  </a:lnTo>
                  <a:close/>
                  <a:moveTo>
                    <a:pt x="622" y="876"/>
                  </a:moveTo>
                  <a:lnTo>
                    <a:pt x="620" y="879"/>
                  </a:lnTo>
                  <a:lnTo>
                    <a:pt x="620" y="881"/>
                  </a:lnTo>
                  <a:lnTo>
                    <a:pt x="622" y="881"/>
                  </a:lnTo>
                  <a:lnTo>
                    <a:pt x="623" y="884"/>
                  </a:lnTo>
                  <a:lnTo>
                    <a:pt x="625" y="882"/>
                  </a:lnTo>
                  <a:lnTo>
                    <a:pt x="625" y="882"/>
                  </a:lnTo>
                  <a:lnTo>
                    <a:pt x="625" y="881"/>
                  </a:lnTo>
                  <a:lnTo>
                    <a:pt x="623" y="879"/>
                  </a:lnTo>
                  <a:lnTo>
                    <a:pt x="623" y="879"/>
                  </a:lnTo>
                  <a:lnTo>
                    <a:pt x="622" y="878"/>
                  </a:lnTo>
                  <a:lnTo>
                    <a:pt x="622" y="876"/>
                  </a:lnTo>
                  <a:lnTo>
                    <a:pt x="622" y="876"/>
                  </a:lnTo>
                  <a:close/>
                  <a:moveTo>
                    <a:pt x="640" y="844"/>
                  </a:moveTo>
                  <a:lnTo>
                    <a:pt x="642" y="844"/>
                  </a:lnTo>
                  <a:lnTo>
                    <a:pt x="642" y="844"/>
                  </a:lnTo>
                  <a:lnTo>
                    <a:pt x="642" y="842"/>
                  </a:lnTo>
                  <a:lnTo>
                    <a:pt x="642" y="842"/>
                  </a:lnTo>
                  <a:lnTo>
                    <a:pt x="642" y="841"/>
                  </a:lnTo>
                  <a:lnTo>
                    <a:pt x="642" y="841"/>
                  </a:lnTo>
                  <a:lnTo>
                    <a:pt x="642" y="841"/>
                  </a:lnTo>
                  <a:lnTo>
                    <a:pt x="640" y="841"/>
                  </a:lnTo>
                  <a:lnTo>
                    <a:pt x="640" y="841"/>
                  </a:lnTo>
                  <a:lnTo>
                    <a:pt x="640" y="841"/>
                  </a:lnTo>
                  <a:lnTo>
                    <a:pt x="640" y="842"/>
                  </a:lnTo>
                  <a:lnTo>
                    <a:pt x="639" y="842"/>
                  </a:lnTo>
                  <a:lnTo>
                    <a:pt x="639" y="842"/>
                  </a:lnTo>
                  <a:lnTo>
                    <a:pt x="639" y="842"/>
                  </a:lnTo>
                  <a:lnTo>
                    <a:pt x="640" y="844"/>
                  </a:lnTo>
                  <a:lnTo>
                    <a:pt x="640" y="844"/>
                  </a:lnTo>
                  <a:close/>
                  <a:moveTo>
                    <a:pt x="622" y="868"/>
                  </a:moveTo>
                  <a:lnTo>
                    <a:pt x="619" y="868"/>
                  </a:lnTo>
                  <a:lnTo>
                    <a:pt x="617" y="868"/>
                  </a:lnTo>
                  <a:lnTo>
                    <a:pt x="617" y="870"/>
                  </a:lnTo>
                  <a:lnTo>
                    <a:pt x="617" y="871"/>
                  </a:lnTo>
                  <a:lnTo>
                    <a:pt x="617" y="873"/>
                  </a:lnTo>
                  <a:lnTo>
                    <a:pt x="619" y="873"/>
                  </a:lnTo>
                  <a:lnTo>
                    <a:pt x="620" y="875"/>
                  </a:lnTo>
                  <a:lnTo>
                    <a:pt x="620" y="875"/>
                  </a:lnTo>
                  <a:lnTo>
                    <a:pt x="622" y="875"/>
                  </a:lnTo>
                  <a:lnTo>
                    <a:pt x="622" y="875"/>
                  </a:lnTo>
                  <a:lnTo>
                    <a:pt x="622" y="873"/>
                  </a:lnTo>
                  <a:lnTo>
                    <a:pt x="622" y="873"/>
                  </a:lnTo>
                  <a:lnTo>
                    <a:pt x="620" y="871"/>
                  </a:lnTo>
                  <a:lnTo>
                    <a:pt x="623" y="871"/>
                  </a:lnTo>
                  <a:lnTo>
                    <a:pt x="623" y="871"/>
                  </a:lnTo>
                  <a:lnTo>
                    <a:pt x="622" y="871"/>
                  </a:lnTo>
                  <a:lnTo>
                    <a:pt x="622" y="870"/>
                  </a:lnTo>
                  <a:lnTo>
                    <a:pt x="622" y="870"/>
                  </a:lnTo>
                  <a:lnTo>
                    <a:pt x="622" y="868"/>
                  </a:lnTo>
                  <a:lnTo>
                    <a:pt x="622" y="868"/>
                  </a:lnTo>
                  <a:close/>
                  <a:moveTo>
                    <a:pt x="887" y="714"/>
                  </a:moveTo>
                  <a:lnTo>
                    <a:pt x="885" y="714"/>
                  </a:lnTo>
                  <a:lnTo>
                    <a:pt x="887" y="713"/>
                  </a:lnTo>
                  <a:lnTo>
                    <a:pt x="885" y="713"/>
                  </a:lnTo>
                  <a:lnTo>
                    <a:pt x="885" y="713"/>
                  </a:lnTo>
                  <a:lnTo>
                    <a:pt x="885" y="711"/>
                  </a:lnTo>
                  <a:lnTo>
                    <a:pt x="881" y="701"/>
                  </a:lnTo>
                  <a:lnTo>
                    <a:pt x="876" y="694"/>
                  </a:lnTo>
                  <a:lnTo>
                    <a:pt x="874" y="693"/>
                  </a:lnTo>
                  <a:lnTo>
                    <a:pt x="873" y="693"/>
                  </a:lnTo>
                  <a:lnTo>
                    <a:pt x="873" y="691"/>
                  </a:lnTo>
                  <a:lnTo>
                    <a:pt x="870" y="688"/>
                  </a:lnTo>
                  <a:lnTo>
                    <a:pt x="868" y="685"/>
                  </a:lnTo>
                  <a:lnTo>
                    <a:pt x="867" y="685"/>
                  </a:lnTo>
                  <a:lnTo>
                    <a:pt x="865" y="682"/>
                  </a:lnTo>
                  <a:lnTo>
                    <a:pt x="865" y="682"/>
                  </a:lnTo>
                  <a:lnTo>
                    <a:pt x="864" y="682"/>
                  </a:lnTo>
                  <a:lnTo>
                    <a:pt x="856" y="677"/>
                  </a:lnTo>
                  <a:lnTo>
                    <a:pt x="850" y="673"/>
                  </a:lnTo>
                  <a:lnTo>
                    <a:pt x="851" y="668"/>
                  </a:lnTo>
                  <a:lnTo>
                    <a:pt x="851" y="668"/>
                  </a:lnTo>
                  <a:lnTo>
                    <a:pt x="848" y="665"/>
                  </a:lnTo>
                  <a:lnTo>
                    <a:pt x="848" y="665"/>
                  </a:lnTo>
                  <a:lnTo>
                    <a:pt x="848" y="664"/>
                  </a:lnTo>
                  <a:lnTo>
                    <a:pt x="848" y="664"/>
                  </a:lnTo>
                  <a:lnTo>
                    <a:pt x="847" y="664"/>
                  </a:lnTo>
                  <a:lnTo>
                    <a:pt x="845" y="664"/>
                  </a:lnTo>
                  <a:lnTo>
                    <a:pt x="845" y="664"/>
                  </a:lnTo>
                  <a:lnTo>
                    <a:pt x="845" y="662"/>
                  </a:lnTo>
                  <a:lnTo>
                    <a:pt x="842" y="660"/>
                  </a:lnTo>
                  <a:lnTo>
                    <a:pt x="836" y="659"/>
                  </a:lnTo>
                  <a:lnTo>
                    <a:pt x="830" y="654"/>
                  </a:lnTo>
                  <a:lnTo>
                    <a:pt x="822" y="651"/>
                  </a:lnTo>
                  <a:lnTo>
                    <a:pt x="820" y="650"/>
                  </a:lnTo>
                  <a:lnTo>
                    <a:pt x="814" y="648"/>
                  </a:lnTo>
                  <a:lnTo>
                    <a:pt x="811" y="647"/>
                  </a:lnTo>
                  <a:lnTo>
                    <a:pt x="810" y="647"/>
                  </a:lnTo>
                  <a:lnTo>
                    <a:pt x="808" y="645"/>
                  </a:lnTo>
                  <a:lnTo>
                    <a:pt x="804" y="640"/>
                  </a:lnTo>
                  <a:lnTo>
                    <a:pt x="802" y="639"/>
                  </a:lnTo>
                  <a:lnTo>
                    <a:pt x="800" y="639"/>
                  </a:lnTo>
                  <a:lnTo>
                    <a:pt x="799" y="637"/>
                  </a:lnTo>
                  <a:lnTo>
                    <a:pt x="796" y="634"/>
                  </a:lnTo>
                  <a:lnTo>
                    <a:pt x="794" y="631"/>
                  </a:lnTo>
                  <a:lnTo>
                    <a:pt x="788" y="627"/>
                  </a:lnTo>
                  <a:lnTo>
                    <a:pt x="777" y="620"/>
                  </a:lnTo>
                  <a:lnTo>
                    <a:pt x="765" y="617"/>
                  </a:lnTo>
                  <a:lnTo>
                    <a:pt x="763" y="616"/>
                  </a:lnTo>
                  <a:lnTo>
                    <a:pt x="762" y="616"/>
                  </a:lnTo>
                  <a:lnTo>
                    <a:pt x="762" y="616"/>
                  </a:lnTo>
                  <a:lnTo>
                    <a:pt x="762" y="616"/>
                  </a:lnTo>
                  <a:lnTo>
                    <a:pt x="760" y="614"/>
                  </a:lnTo>
                  <a:lnTo>
                    <a:pt x="743" y="608"/>
                  </a:lnTo>
                  <a:lnTo>
                    <a:pt x="740" y="607"/>
                  </a:lnTo>
                  <a:lnTo>
                    <a:pt x="739" y="605"/>
                  </a:lnTo>
                  <a:lnTo>
                    <a:pt x="737" y="605"/>
                  </a:lnTo>
                  <a:lnTo>
                    <a:pt x="733" y="604"/>
                  </a:lnTo>
                  <a:lnTo>
                    <a:pt x="722" y="597"/>
                  </a:lnTo>
                  <a:lnTo>
                    <a:pt x="708" y="590"/>
                  </a:lnTo>
                  <a:lnTo>
                    <a:pt x="706" y="590"/>
                  </a:lnTo>
                  <a:lnTo>
                    <a:pt x="705" y="588"/>
                  </a:lnTo>
                  <a:lnTo>
                    <a:pt x="700" y="587"/>
                  </a:lnTo>
                  <a:lnTo>
                    <a:pt x="696" y="583"/>
                  </a:lnTo>
                  <a:lnTo>
                    <a:pt x="694" y="582"/>
                  </a:lnTo>
                  <a:lnTo>
                    <a:pt x="693" y="579"/>
                  </a:lnTo>
                  <a:lnTo>
                    <a:pt x="691" y="576"/>
                  </a:lnTo>
                  <a:lnTo>
                    <a:pt x="691" y="573"/>
                  </a:lnTo>
                  <a:lnTo>
                    <a:pt x="691" y="568"/>
                  </a:lnTo>
                  <a:lnTo>
                    <a:pt x="693" y="567"/>
                  </a:lnTo>
                  <a:lnTo>
                    <a:pt x="700" y="562"/>
                  </a:lnTo>
                  <a:lnTo>
                    <a:pt x="703" y="560"/>
                  </a:lnTo>
                  <a:lnTo>
                    <a:pt x="705" y="557"/>
                  </a:lnTo>
                  <a:lnTo>
                    <a:pt x="706" y="556"/>
                  </a:lnTo>
                  <a:lnTo>
                    <a:pt x="708" y="556"/>
                  </a:lnTo>
                  <a:lnTo>
                    <a:pt x="710" y="556"/>
                  </a:lnTo>
                  <a:lnTo>
                    <a:pt x="711" y="554"/>
                  </a:lnTo>
                  <a:lnTo>
                    <a:pt x="713" y="553"/>
                  </a:lnTo>
                  <a:lnTo>
                    <a:pt x="713" y="551"/>
                  </a:lnTo>
                  <a:lnTo>
                    <a:pt x="713" y="550"/>
                  </a:lnTo>
                  <a:lnTo>
                    <a:pt x="713" y="548"/>
                  </a:lnTo>
                  <a:lnTo>
                    <a:pt x="713" y="545"/>
                  </a:lnTo>
                  <a:lnTo>
                    <a:pt x="713" y="542"/>
                  </a:lnTo>
                  <a:lnTo>
                    <a:pt x="713" y="540"/>
                  </a:lnTo>
                  <a:lnTo>
                    <a:pt x="711" y="540"/>
                  </a:lnTo>
                  <a:lnTo>
                    <a:pt x="710" y="539"/>
                  </a:lnTo>
                  <a:lnTo>
                    <a:pt x="706" y="537"/>
                  </a:lnTo>
                  <a:lnTo>
                    <a:pt x="706" y="537"/>
                  </a:lnTo>
                  <a:lnTo>
                    <a:pt x="700" y="536"/>
                  </a:lnTo>
                  <a:lnTo>
                    <a:pt x="682" y="537"/>
                  </a:lnTo>
                  <a:lnTo>
                    <a:pt x="670" y="537"/>
                  </a:lnTo>
                  <a:lnTo>
                    <a:pt x="657" y="539"/>
                  </a:lnTo>
                  <a:lnTo>
                    <a:pt x="654" y="539"/>
                  </a:lnTo>
                  <a:lnTo>
                    <a:pt x="645" y="537"/>
                  </a:lnTo>
                  <a:lnTo>
                    <a:pt x="637" y="537"/>
                  </a:lnTo>
                  <a:lnTo>
                    <a:pt x="636" y="537"/>
                  </a:lnTo>
                  <a:lnTo>
                    <a:pt x="634" y="537"/>
                  </a:lnTo>
                  <a:lnTo>
                    <a:pt x="633" y="536"/>
                  </a:lnTo>
                  <a:lnTo>
                    <a:pt x="629" y="534"/>
                  </a:lnTo>
                  <a:lnTo>
                    <a:pt x="628" y="533"/>
                  </a:lnTo>
                  <a:lnTo>
                    <a:pt x="626" y="533"/>
                  </a:lnTo>
                  <a:lnTo>
                    <a:pt x="625" y="530"/>
                  </a:lnTo>
                  <a:lnTo>
                    <a:pt x="623" y="530"/>
                  </a:lnTo>
                  <a:lnTo>
                    <a:pt x="620" y="528"/>
                  </a:lnTo>
                  <a:lnTo>
                    <a:pt x="614" y="527"/>
                  </a:lnTo>
                  <a:lnTo>
                    <a:pt x="613" y="525"/>
                  </a:lnTo>
                  <a:lnTo>
                    <a:pt x="609" y="523"/>
                  </a:lnTo>
                  <a:lnTo>
                    <a:pt x="608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5" y="522"/>
                  </a:lnTo>
                  <a:lnTo>
                    <a:pt x="605" y="520"/>
                  </a:lnTo>
                  <a:lnTo>
                    <a:pt x="603" y="519"/>
                  </a:lnTo>
                  <a:lnTo>
                    <a:pt x="603" y="514"/>
                  </a:lnTo>
                  <a:lnTo>
                    <a:pt x="603" y="513"/>
                  </a:lnTo>
                  <a:lnTo>
                    <a:pt x="602" y="511"/>
                  </a:lnTo>
                  <a:lnTo>
                    <a:pt x="599" y="511"/>
                  </a:lnTo>
                  <a:lnTo>
                    <a:pt x="594" y="510"/>
                  </a:lnTo>
                  <a:lnTo>
                    <a:pt x="591" y="508"/>
                  </a:lnTo>
                  <a:lnTo>
                    <a:pt x="582" y="497"/>
                  </a:lnTo>
                  <a:lnTo>
                    <a:pt x="579" y="493"/>
                  </a:lnTo>
                  <a:lnTo>
                    <a:pt x="577" y="491"/>
                  </a:lnTo>
                  <a:lnTo>
                    <a:pt x="571" y="486"/>
                  </a:lnTo>
                  <a:lnTo>
                    <a:pt x="566" y="483"/>
                  </a:lnTo>
                  <a:lnTo>
                    <a:pt x="556" y="470"/>
                  </a:lnTo>
                  <a:lnTo>
                    <a:pt x="556" y="470"/>
                  </a:lnTo>
                  <a:lnTo>
                    <a:pt x="554" y="468"/>
                  </a:lnTo>
                  <a:lnTo>
                    <a:pt x="549" y="460"/>
                  </a:lnTo>
                  <a:lnTo>
                    <a:pt x="548" y="457"/>
                  </a:lnTo>
                  <a:lnTo>
                    <a:pt x="546" y="450"/>
                  </a:lnTo>
                  <a:lnTo>
                    <a:pt x="543" y="439"/>
                  </a:lnTo>
                  <a:lnTo>
                    <a:pt x="540" y="430"/>
                  </a:lnTo>
                  <a:lnTo>
                    <a:pt x="539" y="420"/>
                  </a:lnTo>
                  <a:lnTo>
                    <a:pt x="537" y="417"/>
                  </a:lnTo>
                  <a:lnTo>
                    <a:pt x="536" y="411"/>
                  </a:lnTo>
                  <a:lnTo>
                    <a:pt x="534" y="409"/>
                  </a:lnTo>
                  <a:lnTo>
                    <a:pt x="534" y="409"/>
                  </a:lnTo>
                  <a:lnTo>
                    <a:pt x="534" y="405"/>
                  </a:lnTo>
                  <a:lnTo>
                    <a:pt x="534" y="405"/>
                  </a:lnTo>
                  <a:lnTo>
                    <a:pt x="532" y="403"/>
                  </a:lnTo>
                  <a:lnTo>
                    <a:pt x="522" y="376"/>
                  </a:lnTo>
                  <a:lnTo>
                    <a:pt x="522" y="374"/>
                  </a:lnTo>
                  <a:lnTo>
                    <a:pt x="522" y="373"/>
                  </a:lnTo>
                  <a:lnTo>
                    <a:pt x="520" y="371"/>
                  </a:lnTo>
                  <a:lnTo>
                    <a:pt x="519" y="371"/>
                  </a:lnTo>
                  <a:lnTo>
                    <a:pt x="519" y="371"/>
                  </a:lnTo>
                  <a:lnTo>
                    <a:pt x="517" y="369"/>
                  </a:lnTo>
                  <a:lnTo>
                    <a:pt x="516" y="366"/>
                  </a:lnTo>
                  <a:lnTo>
                    <a:pt x="514" y="366"/>
                  </a:lnTo>
                  <a:lnTo>
                    <a:pt x="514" y="366"/>
                  </a:lnTo>
                  <a:lnTo>
                    <a:pt x="514" y="365"/>
                  </a:lnTo>
                  <a:lnTo>
                    <a:pt x="514" y="365"/>
                  </a:lnTo>
                  <a:lnTo>
                    <a:pt x="514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6"/>
                  </a:lnTo>
                  <a:lnTo>
                    <a:pt x="511" y="366"/>
                  </a:lnTo>
                  <a:lnTo>
                    <a:pt x="511" y="368"/>
                  </a:lnTo>
                  <a:lnTo>
                    <a:pt x="509" y="366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3" y="363"/>
                  </a:lnTo>
                  <a:lnTo>
                    <a:pt x="494" y="357"/>
                  </a:lnTo>
                  <a:lnTo>
                    <a:pt x="471" y="337"/>
                  </a:lnTo>
                  <a:lnTo>
                    <a:pt x="471" y="337"/>
                  </a:lnTo>
                  <a:lnTo>
                    <a:pt x="471" y="336"/>
                  </a:lnTo>
                  <a:lnTo>
                    <a:pt x="465" y="334"/>
                  </a:lnTo>
                  <a:lnTo>
                    <a:pt x="462" y="331"/>
                  </a:lnTo>
                  <a:lnTo>
                    <a:pt x="462" y="331"/>
                  </a:lnTo>
                  <a:lnTo>
                    <a:pt x="457" y="329"/>
                  </a:lnTo>
                  <a:lnTo>
                    <a:pt x="457" y="329"/>
                  </a:lnTo>
                  <a:lnTo>
                    <a:pt x="454" y="329"/>
                  </a:lnTo>
                  <a:lnTo>
                    <a:pt x="452" y="328"/>
                  </a:lnTo>
                  <a:lnTo>
                    <a:pt x="451" y="326"/>
                  </a:lnTo>
                  <a:lnTo>
                    <a:pt x="448" y="325"/>
                  </a:lnTo>
                  <a:lnTo>
                    <a:pt x="443" y="319"/>
                  </a:lnTo>
                  <a:lnTo>
                    <a:pt x="442" y="317"/>
                  </a:lnTo>
                  <a:lnTo>
                    <a:pt x="438" y="316"/>
                  </a:lnTo>
                  <a:lnTo>
                    <a:pt x="437" y="312"/>
                  </a:lnTo>
                  <a:lnTo>
                    <a:pt x="435" y="309"/>
                  </a:lnTo>
                  <a:lnTo>
                    <a:pt x="432" y="306"/>
                  </a:lnTo>
                  <a:lnTo>
                    <a:pt x="431" y="305"/>
                  </a:lnTo>
                  <a:lnTo>
                    <a:pt x="428" y="302"/>
                  </a:lnTo>
                  <a:lnTo>
                    <a:pt x="428" y="297"/>
                  </a:lnTo>
                  <a:lnTo>
                    <a:pt x="426" y="296"/>
                  </a:lnTo>
                  <a:lnTo>
                    <a:pt x="426" y="292"/>
                  </a:lnTo>
                  <a:lnTo>
                    <a:pt x="426" y="292"/>
                  </a:lnTo>
                  <a:lnTo>
                    <a:pt x="425" y="291"/>
                  </a:lnTo>
                  <a:lnTo>
                    <a:pt x="425" y="291"/>
                  </a:lnTo>
                  <a:lnTo>
                    <a:pt x="425" y="289"/>
                  </a:lnTo>
                  <a:lnTo>
                    <a:pt x="425" y="288"/>
                  </a:lnTo>
                  <a:lnTo>
                    <a:pt x="422" y="277"/>
                  </a:lnTo>
                  <a:lnTo>
                    <a:pt x="422" y="272"/>
                  </a:lnTo>
                  <a:lnTo>
                    <a:pt x="422" y="265"/>
                  </a:lnTo>
                  <a:lnTo>
                    <a:pt x="422" y="263"/>
                  </a:lnTo>
                  <a:lnTo>
                    <a:pt x="422" y="263"/>
                  </a:lnTo>
                  <a:lnTo>
                    <a:pt x="422" y="262"/>
                  </a:lnTo>
                  <a:lnTo>
                    <a:pt x="420" y="259"/>
                  </a:lnTo>
                  <a:lnTo>
                    <a:pt x="420" y="254"/>
                  </a:lnTo>
                  <a:lnTo>
                    <a:pt x="420" y="249"/>
                  </a:lnTo>
                  <a:lnTo>
                    <a:pt x="422" y="242"/>
                  </a:lnTo>
                  <a:lnTo>
                    <a:pt x="422" y="242"/>
                  </a:lnTo>
                  <a:lnTo>
                    <a:pt x="422" y="242"/>
                  </a:lnTo>
                  <a:lnTo>
                    <a:pt x="423" y="240"/>
                  </a:lnTo>
                  <a:lnTo>
                    <a:pt x="423" y="240"/>
                  </a:lnTo>
                  <a:lnTo>
                    <a:pt x="425" y="240"/>
                  </a:lnTo>
                  <a:lnTo>
                    <a:pt x="426" y="243"/>
                  </a:lnTo>
                  <a:lnTo>
                    <a:pt x="428" y="243"/>
                  </a:lnTo>
                  <a:lnTo>
                    <a:pt x="429" y="245"/>
                  </a:lnTo>
                  <a:lnTo>
                    <a:pt x="431" y="245"/>
                  </a:lnTo>
                  <a:lnTo>
                    <a:pt x="432" y="243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1" y="242"/>
                  </a:lnTo>
                  <a:lnTo>
                    <a:pt x="431" y="242"/>
                  </a:lnTo>
                  <a:lnTo>
                    <a:pt x="431" y="240"/>
                  </a:lnTo>
                  <a:lnTo>
                    <a:pt x="431" y="240"/>
                  </a:lnTo>
                  <a:lnTo>
                    <a:pt x="432" y="240"/>
                  </a:lnTo>
                  <a:lnTo>
                    <a:pt x="432" y="239"/>
                  </a:lnTo>
                  <a:lnTo>
                    <a:pt x="431" y="239"/>
                  </a:lnTo>
                  <a:lnTo>
                    <a:pt x="431" y="237"/>
                  </a:lnTo>
                  <a:lnTo>
                    <a:pt x="431" y="235"/>
                  </a:lnTo>
                  <a:lnTo>
                    <a:pt x="431" y="234"/>
                  </a:lnTo>
                  <a:lnTo>
                    <a:pt x="432" y="234"/>
                  </a:lnTo>
                  <a:lnTo>
                    <a:pt x="432" y="234"/>
                  </a:lnTo>
                  <a:lnTo>
                    <a:pt x="434" y="234"/>
                  </a:lnTo>
                  <a:lnTo>
                    <a:pt x="434" y="235"/>
                  </a:lnTo>
                  <a:lnTo>
                    <a:pt x="434" y="235"/>
                  </a:lnTo>
                  <a:lnTo>
                    <a:pt x="432" y="239"/>
                  </a:lnTo>
                  <a:lnTo>
                    <a:pt x="434" y="240"/>
                  </a:lnTo>
                  <a:lnTo>
                    <a:pt x="434" y="240"/>
                  </a:lnTo>
                  <a:lnTo>
                    <a:pt x="434" y="242"/>
                  </a:lnTo>
                  <a:lnTo>
                    <a:pt x="434" y="242"/>
                  </a:lnTo>
                  <a:lnTo>
                    <a:pt x="437" y="240"/>
                  </a:lnTo>
                  <a:lnTo>
                    <a:pt x="437" y="237"/>
                  </a:lnTo>
                  <a:lnTo>
                    <a:pt x="437" y="235"/>
                  </a:lnTo>
                  <a:lnTo>
                    <a:pt x="438" y="232"/>
                  </a:lnTo>
                  <a:lnTo>
                    <a:pt x="438" y="231"/>
                  </a:lnTo>
                  <a:lnTo>
                    <a:pt x="438" y="231"/>
                  </a:lnTo>
                  <a:lnTo>
                    <a:pt x="438" y="231"/>
                  </a:lnTo>
                  <a:lnTo>
                    <a:pt x="440" y="231"/>
                  </a:lnTo>
                  <a:lnTo>
                    <a:pt x="440" y="231"/>
                  </a:lnTo>
                  <a:lnTo>
                    <a:pt x="440" y="229"/>
                  </a:lnTo>
                  <a:lnTo>
                    <a:pt x="440" y="228"/>
                  </a:lnTo>
                  <a:lnTo>
                    <a:pt x="440" y="228"/>
                  </a:lnTo>
                  <a:lnTo>
                    <a:pt x="440" y="226"/>
                  </a:lnTo>
                  <a:lnTo>
                    <a:pt x="440" y="225"/>
                  </a:lnTo>
                  <a:lnTo>
                    <a:pt x="440" y="225"/>
                  </a:lnTo>
                  <a:lnTo>
                    <a:pt x="438" y="225"/>
                  </a:lnTo>
                  <a:lnTo>
                    <a:pt x="437" y="225"/>
                  </a:lnTo>
                  <a:lnTo>
                    <a:pt x="437" y="225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38" y="225"/>
                  </a:lnTo>
                  <a:lnTo>
                    <a:pt x="437" y="226"/>
                  </a:lnTo>
                  <a:lnTo>
                    <a:pt x="435" y="225"/>
                  </a:lnTo>
                  <a:lnTo>
                    <a:pt x="434" y="222"/>
                  </a:lnTo>
                  <a:lnTo>
                    <a:pt x="434" y="222"/>
                  </a:lnTo>
                  <a:lnTo>
                    <a:pt x="432" y="222"/>
                  </a:lnTo>
                  <a:lnTo>
                    <a:pt x="431" y="220"/>
                  </a:lnTo>
                  <a:lnTo>
                    <a:pt x="432" y="219"/>
                  </a:lnTo>
                  <a:lnTo>
                    <a:pt x="431" y="219"/>
                  </a:lnTo>
                  <a:lnTo>
                    <a:pt x="429" y="217"/>
                  </a:lnTo>
                  <a:lnTo>
                    <a:pt x="428" y="217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20"/>
                  </a:lnTo>
                  <a:lnTo>
                    <a:pt x="428" y="222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9" y="220"/>
                  </a:lnTo>
                  <a:lnTo>
                    <a:pt x="429" y="219"/>
                  </a:lnTo>
                  <a:lnTo>
                    <a:pt x="428" y="219"/>
                  </a:lnTo>
                  <a:lnTo>
                    <a:pt x="428" y="217"/>
                  </a:lnTo>
                  <a:lnTo>
                    <a:pt x="426" y="215"/>
                  </a:lnTo>
                  <a:lnTo>
                    <a:pt x="425" y="214"/>
                  </a:lnTo>
                  <a:lnTo>
                    <a:pt x="425" y="214"/>
                  </a:lnTo>
                  <a:lnTo>
                    <a:pt x="425" y="214"/>
                  </a:lnTo>
                  <a:lnTo>
                    <a:pt x="426" y="215"/>
                  </a:lnTo>
                  <a:lnTo>
                    <a:pt x="423" y="215"/>
                  </a:lnTo>
                  <a:lnTo>
                    <a:pt x="423" y="214"/>
                  </a:lnTo>
                  <a:lnTo>
                    <a:pt x="423" y="212"/>
                  </a:lnTo>
                  <a:lnTo>
                    <a:pt x="425" y="209"/>
                  </a:lnTo>
                  <a:lnTo>
                    <a:pt x="425" y="211"/>
                  </a:lnTo>
                  <a:lnTo>
                    <a:pt x="425" y="211"/>
                  </a:lnTo>
                  <a:lnTo>
                    <a:pt x="425" y="212"/>
                  </a:lnTo>
                  <a:lnTo>
                    <a:pt x="425" y="212"/>
                  </a:lnTo>
                  <a:lnTo>
                    <a:pt x="426" y="212"/>
                  </a:lnTo>
                  <a:lnTo>
                    <a:pt x="425" y="209"/>
                  </a:lnTo>
                  <a:lnTo>
                    <a:pt x="425" y="205"/>
                  </a:lnTo>
                  <a:lnTo>
                    <a:pt x="425" y="203"/>
                  </a:lnTo>
                  <a:lnTo>
                    <a:pt x="423" y="202"/>
                  </a:lnTo>
                  <a:lnTo>
                    <a:pt x="423" y="200"/>
                  </a:lnTo>
                  <a:lnTo>
                    <a:pt x="425" y="199"/>
                  </a:lnTo>
                  <a:lnTo>
                    <a:pt x="423" y="200"/>
                  </a:lnTo>
                  <a:lnTo>
                    <a:pt x="422" y="202"/>
                  </a:lnTo>
                  <a:lnTo>
                    <a:pt x="420" y="202"/>
                  </a:lnTo>
                  <a:lnTo>
                    <a:pt x="420" y="202"/>
                  </a:lnTo>
                  <a:lnTo>
                    <a:pt x="420" y="202"/>
                  </a:lnTo>
                  <a:lnTo>
                    <a:pt x="422" y="203"/>
                  </a:lnTo>
                  <a:lnTo>
                    <a:pt x="420" y="203"/>
                  </a:lnTo>
                  <a:lnTo>
                    <a:pt x="418" y="202"/>
                  </a:lnTo>
                  <a:lnTo>
                    <a:pt x="417" y="200"/>
                  </a:lnTo>
                  <a:lnTo>
                    <a:pt x="418" y="199"/>
                  </a:lnTo>
                  <a:lnTo>
                    <a:pt x="417" y="199"/>
                  </a:lnTo>
                  <a:lnTo>
                    <a:pt x="417" y="197"/>
                  </a:lnTo>
                  <a:lnTo>
                    <a:pt x="417" y="197"/>
                  </a:lnTo>
                  <a:lnTo>
                    <a:pt x="418" y="197"/>
                  </a:lnTo>
                  <a:lnTo>
                    <a:pt x="417" y="195"/>
                  </a:lnTo>
                  <a:lnTo>
                    <a:pt x="417" y="194"/>
                  </a:lnTo>
                  <a:lnTo>
                    <a:pt x="417" y="192"/>
                  </a:lnTo>
                  <a:lnTo>
                    <a:pt x="415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5" y="195"/>
                  </a:lnTo>
                  <a:lnTo>
                    <a:pt x="414" y="195"/>
                  </a:lnTo>
                  <a:lnTo>
                    <a:pt x="414" y="195"/>
                  </a:lnTo>
                  <a:lnTo>
                    <a:pt x="412" y="194"/>
                  </a:lnTo>
                  <a:lnTo>
                    <a:pt x="412" y="192"/>
                  </a:lnTo>
                  <a:lnTo>
                    <a:pt x="412" y="191"/>
                  </a:lnTo>
                  <a:lnTo>
                    <a:pt x="414" y="189"/>
                  </a:lnTo>
                  <a:lnTo>
                    <a:pt x="414" y="191"/>
                  </a:lnTo>
                  <a:lnTo>
                    <a:pt x="415" y="191"/>
                  </a:lnTo>
                  <a:lnTo>
                    <a:pt x="417" y="191"/>
                  </a:lnTo>
                  <a:lnTo>
                    <a:pt x="417" y="189"/>
                  </a:lnTo>
                  <a:lnTo>
                    <a:pt x="417" y="189"/>
                  </a:lnTo>
                  <a:lnTo>
                    <a:pt x="418" y="188"/>
                  </a:lnTo>
                  <a:lnTo>
                    <a:pt x="417" y="186"/>
                  </a:lnTo>
                  <a:lnTo>
                    <a:pt x="418" y="186"/>
                  </a:lnTo>
                  <a:lnTo>
                    <a:pt x="418" y="186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20" y="183"/>
                  </a:lnTo>
                  <a:lnTo>
                    <a:pt x="420" y="183"/>
                  </a:lnTo>
                  <a:lnTo>
                    <a:pt x="420" y="182"/>
                  </a:lnTo>
                  <a:lnTo>
                    <a:pt x="420" y="182"/>
                  </a:lnTo>
                  <a:lnTo>
                    <a:pt x="420" y="180"/>
                  </a:lnTo>
                  <a:lnTo>
                    <a:pt x="420" y="179"/>
                  </a:lnTo>
                  <a:lnTo>
                    <a:pt x="420" y="179"/>
                  </a:lnTo>
                  <a:lnTo>
                    <a:pt x="420" y="179"/>
                  </a:lnTo>
                  <a:lnTo>
                    <a:pt x="420" y="177"/>
                  </a:lnTo>
                  <a:lnTo>
                    <a:pt x="422" y="174"/>
                  </a:lnTo>
                  <a:lnTo>
                    <a:pt x="425" y="172"/>
                  </a:lnTo>
                  <a:lnTo>
                    <a:pt x="428" y="171"/>
                  </a:lnTo>
                  <a:lnTo>
                    <a:pt x="429" y="171"/>
                  </a:lnTo>
                  <a:lnTo>
                    <a:pt x="429" y="171"/>
                  </a:lnTo>
                  <a:lnTo>
                    <a:pt x="431" y="171"/>
                  </a:lnTo>
                  <a:lnTo>
                    <a:pt x="432" y="171"/>
                  </a:lnTo>
                  <a:lnTo>
                    <a:pt x="432" y="171"/>
                  </a:lnTo>
                  <a:lnTo>
                    <a:pt x="432" y="171"/>
                  </a:lnTo>
                  <a:lnTo>
                    <a:pt x="431" y="169"/>
                  </a:lnTo>
                  <a:lnTo>
                    <a:pt x="429" y="168"/>
                  </a:lnTo>
                  <a:lnTo>
                    <a:pt x="431" y="166"/>
                  </a:lnTo>
                  <a:lnTo>
                    <a:pt x="431" y="169"/>
                  </a:lnTo>
                  <a:lnTo>
                    <a:pt x="431" y="169"/>
                  </a:lnTo>
                  <a:lnTo>
                    <a:pt x="432" y="168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34" y="168"/>
                  </a:lnTo>
                  <a:lnTo>
                    <a:pt x="435" y="166"/>
                  </a:lnTo>
                  <a:lnTo>
                    <a:pt x="437" y="163"/>
                  </a:lnTo>
                  <a:lnTo>
                    <a:pt x="438" y="163"/>
                  </a:lnTo>
                  <a:lnTo>
                    <a:pt x="438" y="165"/>
                  </a:lnTo>
                  <a:lnTo>
                    <a:pt x="440" y="165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3" y="165"/>
                  </a:lnTo>
                  <a:lnTo>
                    <a:pt x="445" y="165"/>
                  </a:lnTo>
                  <a:lnTo>
                    <a:pt x="443" y="166"/>
                  </a:lnTo>
                  <a:lnTo>
                    <a:pt x="443" y="168"/>
                  </a:lnTo>
                  <a:lnTo>
                    <a:pt x="442" y="168"/>
                  </a:lnTo>
                  <a:lnTo>
                    <a:pt x="440" y="168"/>
                  </a:lnTo>
                  <a:lnTo>
                    <a:pt x="440" y="169"/>
                  </a:lnTo>
                  <a:lnTo>
                    <a:pt x="440" y="171"/>
                  </a:lnTo>
                  <a:lnTo>
                    <a:pt x="440" y="171"/>
                  </a:lnTo>
                  <a:lnTo>
                    <a:pt x="437" y="171"/>
                  </a:lnTo>
                  <a:lnTo>
                    <a:pt x="437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69"/>
                  </a:lnTo>
                  <a:lnTo>
                    <a:pt x="438" y="171"/>
                  </a:lnTo>
                  <a:lnTo>
                    <a:pt x="438" y="169"/>
                  </a:lnTo>
                  <a:lnTo>
                    <a:pt x="437" y="171"/>
                  </a:lnTo>
                  <a:lnTo>
                    <a:pt x="437" y="171"/>
                  </a:lnTo>
                  <a:lnTo>
                    <a:pt x="435" y="171"/>
                  </a:lnTo>
                  <a:lnTo>
                    <a:pt x="437" y="171"/>
                  </a:lnTo>
                  <a:lnTo>
                    <a:pt x="435" y="172"/>
                  </a:lnTo>
                  <a:lnTo>
                    <a:pt x="435" y="172"/>
                  </a:lnTo>
                  <a:lnTo>
                    <a:pt x="435" y="172"/>
                  </a:lnTo>
                  <a:lnTo>
                    <a:pt x="435" y="171"/>
                  </a:lnTo>
                  <a:lnTo>
                    <a:pt x="434" y="171"/>
                  </a:lnTo>
                  <a:lnTo>
                    <a:pt x="434" y="172"/>
                  </a:lnTo>
                  <a:lnTo>
                    <a:pt x="434" y="172"/>
                  </a:lnTo>
                  <a:lnTo>
                    <a:pt x="434" y="172"/>
                  </a:lnTo>
                  <a:lnTo>
                    <a:pt x="432" y="172"/>
                  </a:lnTo>
                  <a:lnTo>
                    <a:pt x="434" y="174"/>
                  </a:lnTo>
                  <a:lnTo>
                    <a:pt x="432" y="174"/>
                  </a:lnTo>
                  <a:lnTo>
                    <a:pt x="432" y="175"/>
                  </a:lnTo>
                  <a:lnTo>
                    <a:pt x="431" y="177"/>
                  </a:lnTo>
                  <a:lnTo>
                    <a:pt x="432" y="177"/>
                  </a:lnTo>
                  <a:lnTo>
                    <a:pt x="434" y="175"/>
                  </a:lnTo>
                  <a:lnTo>
                    <a:pt x="437" y="175"/>
                  </a:lnTo>
                  <a:lnTo>
                    <a:pt x="438" y="175"/>
                  </a:lnTo>
                  <a:lnTo>
                    <a:pt x="438" y="174"/>
                  </a:lnTo>
                  <a:lnTo>
                    <a:pt x="446" y="171"/>
                  </a:lnTo>
                  <a:lnTo>
                    <a:pt x="459" y="165"/>
                  </a:lnTo>
                  <a:lnTo>
                    <a:pt x="471" y="157"/>
                  </a:lnTo>
                  <a:lnTo>
                    <a:pt x="474" y="157"/>
                  </a:lnTo>
                  <a:lnTo>
                    <a:pt x="480" y="155"/>
                  </a:lnTo>
                  <a:lnTo>
                    <a:pt x="482" y="155"/>
                  </a:lnTo>
                  <a:lnTo>
                    <a:pt x="483" y="154"/>
                  </a:lnTo>
                  <a:lnTo>
                    <a:pt x="483" y="154"/>
                  </a:lnTo>
                  <a:lnTo>
                    <a:pt x="483" y="152"/>
                  </a:lnTo>
                  <a:lnTo>
                    <a:pt x="486" y="151"/>
                  </a:lnTo>
                  <a:lnTo>
                    <a:pt x="486" y="149"/>
                  </a:lnTo>
                  <a:lnTo>
                    <a:pt x="483" y="151"/>
                  </a:lnTo>
                  <a:lnTo>
                    <a:pt x="482" y="151"/>
                  </a:lnTo>
                  <a:lnTo>
                    <a:pt x="482" y="149"/>
                  </a:lnTo>
                  <a:lnTo>
                    <a:pt x="480" y="148"/>
                  </a:lnTo>
                  <a:lnTo>
                    <a:pt x="482" y="146"/>
                  </a:lnTo>
                  <a:lnTo>
                    <a:pt x="483" y="146"/>
                  </a:lnTo>
                  <a:lnTo>
                    <a:pt x="485" y="146"/>
                  </a:lnTo>
                  <a:lnTo>
                    <a:pt x="485" y="145"/>
                  </a:lnTo>
                  <a:lnTo>
                    <a:pt x="483" y="145"/>
                  </a:lnTo>
                  <a:lnTo>
                    <a:pt x="483" y="143"/>
                  </a:lnTo>
                  <a:lnTo>
                    <a:pt x="483" y="142"/>
                  </a:lnTo>
                  <a:lnTo>
                    <a:pt x="485" y="142"/>
                  </a:lnTo>
                  <a:lnTo>
                    <a:pt x="485" y="142"/>
                  </a:lnTo>
                  <a:lnTo>
                    <a:pt x="486" y="143"/>
                  </a:lnTo>
                  <a:lnTo>
                    <a:pt x="486" y="145"/>
                  </a:lnTo>
                  <a:lnTo>
                    <a:pt x="488" y="143"/>
                  </a:lnTo>
                  <a:lnTo>
                    <a:pt x="488" y="142"/>
                  </a:lnTo>
                  <a:lnTo>
                    <a:pt x="491" y="142"/>
                  </a:lnTo>
                  <a:lnTo>
                    <a:pt x="491" y="142"/>
                  </a:lnTo>
                  <a:lnTo>
                    <a:pt x="492" y="142"/>
                  </a:lnTo>
                  <a:lnTo>
                    <a:pt x="494" y="143"/>
                  </a:lnTo>
                  <a:lnTo>
                    <a:pt x="494" y="143"/>
                  </a:lnTo>
                  <a:lnTo>
                    <a:pt x="502" y="145"/>
                  </a:lnTo>
                  <a:lnTo>
                    <a:pt x="503" y="145"/>
                  </a:lnTo>
                  <a:lnTo>
                    <a:pt x="503" y="146"/>
                  </a:lnTo>
                  <a:lnTo>
                    <a:pt x="506" y="146"/>
                  </a:lnTo>
                  <a:lnTo>
                    <a:pt x="508" y="149"/>
                  </a:lnTo>
                  <a:lnTo>
                    <a:pt x="508" y="149"/>
                  </a:lnTo>
                  <a:lnTo>
                    <a:pt x="506" y="151"/>
                  </a:lnTo>
                  <a:lnTo>
                    <a:pt x="505" y="151"/>
                  </a:lnTo>
                  <a:lnTo>
                    <a:pt x="503" y="151"/>
                  </a:lnTo>
                  <a:lnTo>
                    <a:pt x="505" y="152"/>
                  </a:lnTo>
                  <a:lnTo>
                    <a:pt x="508" y="151"/>
                  </a:lnTo>
                  <a:lnTo>
                    <a:pt x="509" y="151"/>
                  </a:lnTo>
                  <a:lnTo>
                    <a:pt x="511" y="149"/>
                  </a:lnTo>
                  <a:lnTo>
                    <a:pt x="511" y="148"/>
                  </a:lnTo>
                  <a:lnTo>
                    <a:pt x="514" y="148"/>
                  </a:lnTo>
                  <a:lnTo>
                    <a:pt x="514" y="148"/>
                  </a:lnTo>
                  <a:lnTo>
                    <a:pt x="514" y="146"/>
                  </a:lnTo>
                  <a:lnTo>
                    <a:pt x="517" y="146"/>
                  </a:lnTo>
                  <a:lnTo>
                    <a:pt x="516" y="145"/>
                  </a:lnTo>
                  <a:lnTo>
                    <a:pt x="514" y="143"/>
                  </a:lnTo>
                  <a:lnTo>
                    <a:pt x="516" y="140"/>
                  </a:lnTo>
                  <a:lnTo>
                    <a:pt x="517" y="140"/>
                  </a:lnTo>
                  <a:lnTo>
                    <a:pt x="519" y="140"/>
                  </a:lnTo>
                  <a:lnTo>
                    <a:pt x="522" y="142"/>
                  </a:lnTo>
                  <a:lnTo>
                    <a:pt x="523" y="143"/>
                  </a:lnTo>
                  <a:lnTo>
                    <a:pt x="529" y="149"/>
                  </a:lnTo>
                  <a:lnTo>
                    <a:pt x="531" y="151"/>
                  </a:lnTo>
                  <a:lnTo>
                    <a:pt x="531" y="152"/>
                  </a:lnTo>
                  <a:lnTo>
                    <a:pt x="532" y="154"/>
                  </a:lnTo>
                  <a:lnTo>
                    <a:pt x="531" y="155"/>
                  </a:lnTo>
                  <a:lnTo>
                    <a:pt x="534" y="157"/>
                  </a:lnTo>
                  <a:lnTo>
                    <a:pt x="534" y="157"/>
                  </a:lnTo>
                  <a:lnTo>
                    <a:pt x="534" y="158"/>
                  </a:lnTo>
                  <a:lnTo>
                    <a:pt x="536" y="158"/>
                  </a:lnTo>
                  <a:lnTo>
                    <a:pt x="534" y="158"/>
                  </a:lnTo>
                  <a:lnTo>
                    <a:pt x="532" y="158"/>
                  </a:lnTo>
                  <a:lnTo>
                    <a:pt x="529" y="158"/>
                  </a:lnTo>
                  <a:lnTo>
                    <a:pt x="529" y="160"/>
                  </a:lnTo>
                  <a:lnTo>
                    <a:pt x="528" y="160"/>
                  </a:lnTo>
                  <a:lnTo>
                    <a:pt x="532" y="160"/>
                  </a:lnTo>
                  <a:lnTo>
                    <a:pt x="536" y="162"/>
                  </a:lnTo>
                  <a:lnTo>
                    <a:pt x="539" y="162"/>
                  </a:lnTo>
                  <a:lnTo>
                    <a:pt x="540" y="160"/>
                  </a:lnTo>
                  <a:lnTo>
                    <a:pt x="542" y="158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0" y="155"/>
                  </a:lnTo>
                  <a:lnTo>
                    <a:pt x="539" y="155"/>
                  </a:lnTo>
                  <a:lnTo>
                    <a:pt x="534" y="145"/>
                  </a:lnTo>
                  <a:lnTo>
                    <a:pt x="528" y="143"/>
                  </a:lnTo>
                  <a:lnTo>
                    <a:pt x="528" y="142"/>
                  </a:lnTo>
                  <a:lnTo>
                    <a:pt x="525" y="140"/>
                  </a:lnTo>
                  <a:lnTo>
                    <a:pt x="523" y="138"/>
                  </a:lnTo>
                  <a:lnTo>
                    <a:pt x="520" y="138"/>
                  </a:lnTo>
                  <a:lnTo>
                    <a:pt x="519" y="138"/>
                  </a:lnTo>
                  <a:lnTo>
                    <a:pt x="519" y="137"/>
                  </a:lnTo>
                  <a:lnTo>
                    <a:pt x="517" y="135"/>
                  </a:lnTo>
                  <a:lnTo>
                    <a:pt x="519" y="132"/>
                  </a:lnTo>
                  <a:lnTo>
                    <a:pt x="520" y="126"/>
                  </a:lnTo>
                  <a:lnTo>
                    <a:pt x="520" y="125"/>
                  </a:lnTo>
                  <a:lnTo>
                    <a:pt x="522" y="123"/>
                  </a:lnTo>
                  <a:lnTo>
                    <a:pt x="522" y="122"/>
                  </a:lnTo>
                  <a:lnTo>
                    <a:pt x="520" y="118"/>
                  </a:lnTo>
                  <a:lnTo>
                    <a:pt x="520" y="118"/>
                  </a:lnTo>
                  <a:lnTo>
                    <a:pt x="519" y="120"/>
                  </a:lnTo>
                  <a:lnTo>
                    <a:pt x="516" y="120"/>
                  </a:lnTo>
                  <a:lnTo>
                    <a:pt x="514" y="122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09" y="117"/>
                  </a:lnTo>
                  <a:lnTo>
                    <a:pt x="511" y="115"/>
                  </a:lnTo>
                  <a:lnTo>
                    <a:pt x="511" y="115"/>
                  </a:lnTo>
                  <a:lnTo>
                    <a:pt x="512" y="115"/>
                  </a:lnTo>
                  <a:lnTo>
                    <a:pt x="512" y="114"/>
                  </a:lnTo>
                  <a:lnTo>
                    <a:pt x="512" y="114"/>
                  </a:lnTo>
                  <a:lnTo>
                    <a:pt x="511" y="112"/>
                  </a:lnTo>
                  <a:lnTo>
                    <a:pt x="512" y="111"/>
                  </a:lnTo>
                  <a:lnTo>
                    <a:pt x="514" y="109"/>
                  </a:lnTo>
                  <a:lnTo>
                    <a:pt x="522" y="105"/>
                  </a:lnTo>
                  <a:lnTo>
                    <a:pt x="523" y="100"/>
                  </a:lnTo>
                  <a:lnTo>
                    <a:pt x="523" y="98"/>
                  </a:lnTo>
                  <a:lnTo>
                    <a:pt x="523" y="98"/>
                  </a:lnTo>
                  <a:lnTo>
                    <a:pt x="522" y="98"/>
                  </a:lnTo>
                  <a:lnTo>
                    <a:pt x="522" y="98"/>
                  </a:lnTo>
                  <a:lnTo>
                    <a:pt x="519" y="98"/>
                  </a:lnTo>
                  <a:lnTo>
                    <a:pt x="517" y="98"/>
                  </a:lnTo>
                  <a:lnTo>
                    <a:pt x="516" y="95"/>
                  </a:lnTo>
                  <a:lnTo>
                    <a:pt x="514" y="94"/>
                  </a:lnTo>
                  <a:lnTo>
                    <a:pt x="511" y="94"/>
                  </a:lnTo>
                  <a:lnTo>
                    <a:pt x="511" y="94"/>
                  </a:lnTo>
                  <a:lnTo>
                    <a:pt x="508" y="94"/>
                  </a:lnTo>
                  <a:lnTo>
                    <a:pt x="506" y="92"/>
                  </a:lnTo>
                  <a:lnTo>
                    <a:pt x="508" y="95"/>
                  </a:lnTo>
                  <a:lnTo>
                    <a:pt x="506" y="95"/>
                  </a:lnTo>
                  <a:lnTo>
                    <a:pt x="505" y="94"/>
                  </a:lnTo>
                  <a:lnTo>
                    <a:pt x="505" y="92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3" y="89"/>
                  </a:lnTo>
                  <a:lnTo>
                    <a:pt x="503" y="88"/>
                  </a:lnTo>
                  <a:lnTo>
                    <a:pt x="503" y="86"/>
                  </a:lnTo>
                  <a:lnTo>
                    <a:pt x="505" y="85"/>
                  </a:lnTo>
                  <a:lnTo>
                    <a:pt x="505" y="85"/>
                  </a:lnTo>
                  <a:lnTo>
                    <a:pt x="506" y="83"/>
                  </a:lnTo>
                  <a:lnTo>
                    <a:pt x="506" y="80"/>
                  </a:lnTo>
                  <a:lnTo>
                    <a:pt x="508" y="80"/>
                  </a:lnTo>
                  <a:lnTo>
                    <a:pt x="509" y="80"/>
                  </a:lnTo>
                  <a:lnTo>
                    <a:pt x="509" y="78"/>
                  </a:lnTo>
                  <a:lnTo>
                    <a:pt x="511" y="77"/>
                  </a:lnTo>
                  <a:lnTo>
                    <a:pt x="516" y="75"/>
                  </a:lnTo>
                  <a:lnTo>
                    <a:pt x="517" y="74"/>
                  </a:lnTo>
                  <a:lnTo>
                    <a:pt x="519" y="72"/>
                  </a:lnTo>
                  <a:lnTo>
                    <a:pt x="520" y="71"/>
                  </a:lnTo>
                  <a:lnTo>
                    <a:pt x="523" y="69"/>
                  </a:lnTo>
                  <a:lnTo>
                    <a:pt x="525" y="69"/>
                  </a:lnTo>
                  <a:lnTo>
                    <a:pt x="526" y="69"/>
                  </a:lnTo>
                  <a:lnTo>
                    <a:pt x="526" y="68"/>
                  </a:lnTo>
                  <a:lnTo>
                    <a:pt x="526" y="68"/>
                  </a:lnTo>
                  <a:lnTo>
                    <a:pt x="526" y="65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28" y="63"/>
                  </a:lnTo>
                  <a:lnTo>
                    <a:pt x="528" y="61"/>
                  </a:lnTo>
                  <a:lnTo>
                    <a:pt x="526" y="61"/>
                  </a:lnTo>
                  <a:lnTo>
                    <a:pt x="525" y="61"/>
                  </a:lnTo>
                  <a:lnTo>
                    <a:pt x="517" y="58"/>
                  </a:lnTo>
                  <a:lnTo>
                    <a:pt x="512" y="58"/>
                  </a:lnTo>
                  <a:lnTo>
                    <a:pt x="512" y="58"/>
                  </a:lnTo>
                  <a:lnTo>
                    <a:pt x="511" y="57"/>
                  </a:lnTo>
                  <a:lnTo>
                    <a:pt x="511" y="57"/>
                  </a:lnTo>
                  <a:lnTo>
                    <a:pt x="506" y="57"/>
                  </a:lnTo>
                  <a:lnTo>
                    <a:pt x="503" y="57"/>
                  </a:lnTo>
                  <a:lnTo>
                    <a:pt x="495" y="58"/>
                  </a:lnTo>
                  <a:lnTo>
                    <a:pt x="492" y="58"/>
                  </a:lnTo>
                  <a:lnTo>
                    <a:pt x="491" y="57"/>
                  </a:lnTo>
                  <a:lnTo>
                    <a:pt x="486" y="55"/>
                  </a:lnTo>
                  <a:lnTo>
                    <a:pt x="480" y="54"/>
                  </a:lnTo>
                  <a:lnTo>
                    <a:pt x="463" y="52"/>
                  </a:lnTo>
                  <a:lnTo>
                    <a:pt x="459" y="49"/>
                  </a:lnTo>
                  <a:lnTo>
                    <a:pt x="457" y="49"/>
                  </a:lnTo>
                  <a:lnTo>
                    <a:pt x="455" y="48"/>
                  </a:lnTo>
                  <a:lnTo>
                    <a:pt x="455" y="49"/>
                  </a:lnTo>
                  <a:lnTo>
                    <a:pt x="454" y="49"/>
                  </a:lnTo>
                  <a:lnTo>
                    <a:pt x="454" y="49"/>
                  </a:lnTo>
                  <a:lnTo>
                    <a:pt x="452" y="49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48" y="48"/>
                  </a:lnTo>
                  <a:lnTo>
                    <a:pt x="443" y="48"/>
                  </a:lnTo>
                  <a:lnTo>
                    <a:pt x="442" y="48"/>
                  </a:lnTo>
                  <a:lnTo>
                    <a:pt x="440" y="46"/>
                  </a:lnTo>
                  <a:lnTo>
                    <a:pt x="438" y="45"/>
                  </a:lnTo>
                  <a:lnTo>
                    <a:pt x="435" y="45"/>
                  </a:lnTo>
                  <a:lnTo>
                    <a:pt x="434" y="45"/>
                  </a:lnTo>
                  <a:lnTo>
                    <a:pt x="431" y="43"/>
                  </a:lnTo>
                  <a:lnTo>
                    <a:pt x="429" y="41"/>
                  </a:lnTo>
                  <a:lnTo>
                    <a:pt x="428" y="37"/>
                  </a:lnTo>
                  <a:lnTo>
                    <a:pt x="426" y="35"/>
                  </a:lnTo>
                  <a:lnTo>
                    <a:pt x="425" y="34"/>
                  </a:lnTo>
                  <a:lnTo>
                    <a:pt x="423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32"/>
                  </a:lnTo>
                  <a:lnTo>
                    <a:pt x="422" y="32"/>
                  </a:lnTo>
                  <a:lnTo>
                    <a:pt x="422" y="31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2" y="28"/>
                  </a:lnTo>
                  <a:lnTo>
                    <a:pt x="422" y="26"/>
                  </a:lnTo>
                  <a:lnTo>
                    <a:pt x="422" y="25"/>
                  </a:lnTo>
                  <a:lnTo>
                    <a:pt x="420" y="23"/>
                  </a:lnTo>
                  <a:lnTo>
                    <a:pt x="417" y="23"/>
                  </a:lnTo>
                  <a:lnTo>
                    <a:pt x="415" y="23"/>
                  </a:lnTo>
                  <a:lnTo>
                    <a:pt x="415" y="21"/>
                  </a:lnTo>
                  <a:lnTo>
                    <a:pt x="415" y="21"/>
                  </a:lnTo>
                  <a:lnTo>
                    <a:pt x="414" y="20"/>
                  </a:lnTo>
                  <a:lnTo>
                    <a:pt x="412" y="20"/>
                  </a:lnTo>
                  <a:lnTo>
                    <a:pt x="411" y="20"/>
                  </a:lnTo>
                  <a:lnTo>
                    <a:pt x="411" y="20"/>
                  </a:lnTo>
                  <a:lnTo>
                    <a:pt x="412" y="18"/>
                  </a:lnTo>
                  <a:lnTo>
                    <a:pt x="412" y="17"/>
                  </a:lnTo>
                  <a:lnTo>
                    <a:pt x="411" y="17"/>
                  </a:lnTo>
                  <a:lnTo>
                    <a:pt x="411" y="15"/>
                  </a:lnTo>
                  <a:lnTo>
                    <a:pt x="411" y="12"/>
                  </a:lnTo>
                  <a:lnTo>
                    <a:pt x="409" y="12"/>
                  </a:lnTo>
                  <a:lnTo>
                    <a:pt x="409" y="11"/>
                  </a:lnTo>
                  <a:lnTo>
                    <a:pt x="411" y="9"/>
                  </a:lnTo>
                  <a:lnTo>
                    <a:pt x="414" y="6"/>
                  </a:lnTo>
                  <a:lnTo>
                    <a:pt x="415" y="4"/>
                  </a:lnTo>
                  <a:lnTo>
                    <a:pt x="417" y="3"/>
                  </a:lnTo>
                  <a:lnTo>
                    <a:pt x="417" y="1"/>
                  </a:lnTo>
                  <a:lnTo>
                    <a:pt x="414" y="0"/>
                  </a:lnTo>
                  <a:lnTo>
                    <a:pt x="411" y="1"/>
                  </a:lnTo>
                  <a:lnTo>
                    <a:pt x="409" y="1"/>
                  </a:lnTo>
                  <a:lnTo>
                    <a:pt x="402" y="4"/>
                  </a:lnTo>
                  <a:lnTo>
                    <a:pt x="397" y="6"/>
                  </a:lnTo>
                  <a:lnTo>
                    <a:pt x="394" y="6"/>
                  </a:lnTo>
                  <a:lnTo>
                    <a:pt x="391" y="8"/>
                  </a:lnTo>
                  <a:lnTo>
                    <a:pt x="388" y="11"/>
                  </a:lnTo>
                  <a:lnTo>
                    <a:pt x="385" y="11"/>
                  </a:lnTo>
                  <a:lnTo>
                    <a:pt x="383" y="11"/>
                  </a:lnTo>
                  <a:lnTo>
                    <a:pt x="382" y="12"/>
                  </a:lnTo>
                  <a:lnTo>
                    <a:pt x="382" y="12"/>
                  </a:lnTo>
                  <a:lnTo>
                    <a:pt x="380" y="12"/>
                  </a:lnTo>
                  <a:lnTo>
                    <a:pt x="377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1" y="9"/>
                  </a:lnTo>
                  <a:lnTo>
                    <a:pt x="369" y="9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6" y="11"/>
                  </a:lnTo>
                  <a:lnTo>
                    <a:pt x="366" y="11"/>
                  </a:lnTo>
                  <a:lnTo>
                    <a:pt x="365" y="11"/>
                  </a:lnTo>
                  <a:lnTo>
                    <a:pt x="365" y="11"/>
                  </a:lnTo>
                  <a:lnTo>
                    <a:pt x="365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1" y="9"/>
                  </a:lnTo>
                  <a:lnTo>
                    <a:pt x="361" y="9"/>
                  </a:lnTo>
                  <a:lnTo>
                    <a:pt x="360" y="9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57" y="12"/>
                  </a:lnTo>
                  <a:lnTo>
                    <a:pt x="355" y="12"/>
                  </a:lnTo>
                  <a:lnTo>
                    <a:pt x="352" y="12"/>
                  </a:lnTo>
                  <a:lnTo>
                    <a:pt x="349" y="11"/>
                  </a:lnTo>
                  <a:lnTo>
                    <a:pt x="345" y="12"/>
                  </a:lnTo>
                  <a:lnTo>
                    <a:pt x="340" y="14"/>
                  </a:lnTo>
                  <a:lnTo>
                    <a:pt x="338" y="14"/>
                  </a:lnTo>
                  <a:lnTo>
                    <a:pt x="334" y="20"/>
                  </a:lnTo>
                  <a:lnTo>
                    <a:pt x="332" y="20"/>
                  </a:lnTo>
                  <a:lnTo>
                    <a:pt x="332" y="25"/>
                  </a:lnTo>
                  <a:lnTo>
                    <a:pt x="331" y="28"/>
                  </a:lnTo>
                  <a:lnTo>
                    <a:pt x="331" y="28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9" y="31"/>
                  </a:lnTo>
                  <a:lnTo>
                    <a:pt x="328" y="34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5" y="34"/>
                  </a:lnTo>
                  <a:lnTo>
                    <a:pt x="321" y="34"/>
                  </a:lnTo>
                  <a:lnTo>
                    <a:pt x="320" y="34"/>
                  </a:lnTo>
                  <a:lnTo>
                    <a:pt x="318" y="35"/>
                  </a:lnTo>
                  <a:lnTo>
                    <a:pt x="317" y="35"/>
                  </a:lnTo>
                  <a:lnTo>
                    <a:pt x="317" y="35"/>
                  </a:lnTo>
                  <a:lnTo>
                    <a:pt x="31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09" y="32"/>
                  </a:lnTo>
                  <a:lnTo>
                    <a:pt x="308" y="32"/>
                  </a:lnTo>
                  <a:lnTo>
                    <a:pt x="306" y="32"/>
                  </a:lnTo>
                  <a:lnTo>
                    <a:pt x="306" y="32"/>
                  </a:lnTo>
                  <a:lnTo>
                    <a:pt x="306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1" y="26"/>
                  </a:lnTo>
                  <a:lnTo>
                    <a:pt x="288" y="26"/>
                  </a:lnTo>
                  <a:lnTo>
                    <a:pt x="286" y="25"/>
                  </a:lnTo>
                  <a:lnTo>
                    <a:pt x="286" y="28"/>
                  </a:lnTo>
                  <a:lnTo>
                    <a:pt x="284" y="29"/>
                  </a:lnTo>
                  <a:lnTo>
                    <a:pt x="284" y="29"/>
                  </a:lnTo>
                  <a:lnTo>
                    <a:pt x="283" y="32"/>
                  </a:lnTo>
                  <a:lnTo>
                    <a:pt x="283" y="34"/>
                  </a:lnTo>
                  <a:lnTo>
                    <a:pt x="284" y="35"/>
                  </a:lnTo>
                  <a:lnTo>
                    <a:pt x="284" y="37"/>
                  </a:lnTo>
                  <a:lnTo>
                    <a:pt x="283" y="37"/>
                  </a:lnTo>
                  <a:lnTo>
                    <a:pt x="281" y="38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41"/>
                  </a:lnTo>
                  <a:lnTo>
                    <a:pt x="281" y="43"/>
                  </a:lnTo>
                  <a:lnTo>
                    <a:pt x="280" y="45"/>
                  </a:lnTo>
                  <a:lnTo>
                    <a:pt x="280" y="45"/>
                  </a:lnTo>
                  <a:lnTo>
                    <a:pt x="280" y="48"/>
                  </a:lnTo>
                  <a:lnTo>
                    <a:pt x="281" y="49"/>
                  </a:lnTo>
                  <a:lnTo>
                    <a:pt x="284" y="49"/>
                  </a:lnTo>
                  <a:lnTo>
                    <a:pt x="286" y="51"/>
                  </a:lnTo>
                  <a:lnTo>
                    <a:pt x="288" y="52"/>
                  </a:lnTo>
                  <a:lnTo>
                    <a:pt x="288" y="55"/>
                  </a:lnTo>
                  <a:lnTo>
                    <a:pt x="286" y="58"/>
                  </a:lnTo>
                  <a:lnTo>
                    <a:pt x="286" y="58"/>
                  </a:lnTo>
                  <a:lnTo>
                    <a:pt x="284" y="60"/>
                  </a:lnTo>
                  <a:lnTo>
                    <a:pt x="284" y="60"/>
                  </a:lnTo>
                  <a:lnTo>
                    <a:pt x="278" y="58"/>
                  </a:lnTo>
                  <a:lnTo>
                    <a:pt x="275" y="58"/>
                  </a:lnTo>
                  <a:lnTo>
                    <a:pt x="275" y="58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2" y="57"/>
                  </a:lnTo>
                  <a:lnTo>
                    <a:pt x="269" y="55"/>
                  </a:lnTo>
                  <a:lnTo>
                    <a:pt x="269" y="54"/>
                  </a:lnTo>
                  <a:lnTo>
                    <a:pt x="269" y="52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6" y="51"/>
                  </a:lnTo>
                  <a:lnTo>
                    <a:pt x="260" y="52"/>
                  </a:lnTo>
                  <a:lnTo>
                    <a:pt x="258" y="52"/>
                  </a:lnTo>
                  <a:lnTo>
                    <a:pt x="258" y="54"/>
                  </a:lnTo>
                  <a:lnTo>
                    <a:pt x="257" y="57"/>
                  </a:lnTo>
                  <a:lnTo>
                    <a:pt x="257" y="58"/>
                  </a:lnTo>
                  <a:lnTo>
                    <a:pt x="255" y="60"/>
                  </a:lnTo>
                  <a:lnTo>
                    <a:pt x="255" y="60"/>
                  </a:lnTo>
                  <a:lnTo>
                    <a:pt x="255" y="61"/>
                  </a:lnTo>
                  <a:lnTo>
                    <a:pt x="254" y="63"/>
                  </a:lnTo>
                  <a:lnTo>
                    <a:pt x="254" y="65"/>
                  </a:lnTo>
                  <a:lnTo>
                    <a:pt x="254" y="66"/>
                  </a:lnTo>
                  <a:lnTo>
                    <a:pt x="254" y="66"/>
                  </a:lnTo>
                  <a:lnTo>
                    <a:pt x="255" y="68"/>
                  </a:lnTo>
                  <a:lnTo>
                    <a:pt x="255" y="68"/>
                  </a:lnTo>
                  <a:lnTo>
                    <a:pt x="254" y="69"/>
                  </a:lnTo>
                  <a:lnTo>
                    <a:pt x="255" y="71"/>
                  </a:lnTo>
                  <a:lnTo>
                    <a:pt x="257" y="72"/>
                  </a:lnTo>
                  <a:lnTo>
                    <a:pt x="261" y="72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0" y="78"/>
                  </a:lnTo>
                  <a:lnTo>
                    <a:pt x="260" y="80"/>
                  </a:lnTo>
                  <a:lnTo>
                    <a:pt x="258" y="81"/>
                  </a:lnTo>
                  <a:lnTo>
                    <a:pt x="258" y="81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3" y="88"/>
                  </a:lnTo>
                  <a:lnTo>
                    <a:pt x="264" y="89"/>
                  </a:lnTo>
                  <a:lnTo>
                    <a:pt x="263" y="91"/>
                  </a:lnTo>
                  <a:lnTo>
                    <a:pt x="261" y="92"/>
                  </a:lnTo>
                  <a:lnTo>
                    <a:pt x="258" y="94"/>
                  </a:lnTo>
                  <a:lnTo>
                    <a:pt x="255" y="94"/>
                  </a:lnTo>
                  <a:lnTo>
                    <a:pt x="255" y="91"/>
                  </a:lnTo>
                  <a:lnTo>
                    <a:pt x="255" y="89"/>
                  </a:lnTo>
                  <a:lnTo>
                    <a:pt x="252" y="88"/>
                  </a:lnTo>
                  <a:lnTo>
                    <a:pt x="251" y="86"/>
                  </a:lnTo>
                  <a:lnTo>
                    <a:pt x="251" y="83"/>
                  </a:lnTo>
                  <a:lnTo>
                    <a:pt x="251" y="81"/>
                  </a:lnTo>
                  <a:lnTo>
                    <a:pt x="249" y="80"/>
                  </a:lnTo>
                  <a:lnTo>
                    <a:pt x="248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1" y="78"/>
                  </a:lnTo>
                  <a:lnTo>
                    <a:pt x="237" y="80"/>
                  </a:lnTo>
                  <a:lnTo>
                    <a:pt x="235" y="81"/>
                  </a:lnTo>
                  <a:lnTo>
                    <a:pt x="234" y="81"/>
                  </a:lnTo>
                  <a:lnTo>
                    <a:pt x="232" y="80"/>
                  </a:lnTo>
                  <a:lnTo>
                    <a:pt x="231" y="80"/>
                  </a:lnTo>
                  <a:lnTo>
                    <a:pt x="231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1" y="85"/>
                  </a:lnTo>
                  <a:lnTo>
                    <a:pt x="229" y="86"/>
                  </a:lnTo>
                  <a:lnTo>
                    <a:pt x="227" y="86"/>
                  </a:lnTo>
                  <a:lnTo>
                    <a:pt x="220" y="86"/>
                  </a:lnTo>
                  <a:lnTo>
                    <a:pt x="218" y="86"/>
                  </a:lnTo>
                  <a:lnTo>
                    <a:pt x="217" y="85"/>
                  </a:lnTo>
                  <a:lnTo>
                    <a:pt x="215" y="83"/>
                  </a:lnTo>
                  <a:lnTo>
                    <a:pt x="214" y="80"/>
                  </a:lnTo>
                  <a:lnTo>
                    <a:pt x="214" y="78"/>
                  </a:lnTo>
                  <a:lnTo>
                    <a:pt x="211" y="78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7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09" y="65"/>
                  </a:lnTo>
                  <a:lnTo>
                    <a:pt x="207" y="65"/>
                  </a:lnTo>
                  <a:lnTo>
                    <a:pt x="207" y="66"/>
                  </a:lnTo>
                  <a:lnTo>
                    <a:pt x="207" y="66"/>
                  </a:lnTo>
                  <a:lnTo>
                    <a:pt x="207" y="68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4" y="66"/>
                  </a:lnTo>
                  <a:lnTo>
                    <a:pt x="204" y="65"/>
                  </a:lnTo>
                  <a:lnTo>
                    <a:pt x="203" y="63"/>
                  </a:lnTo>
                  <a:lnTo>
                    <a:pt x="198" y="65"/>
                  </a:lnTo>
                  <a:lnTo>
                    <a:pt x="197" y="66"/>
                  </a:lnTo>
                  <a:lnTo>
                    <a:pt x="197" y="68"/>
                  </a:lnTo>
                  <a:lnTo>
                    <a:pt x="195" y="71"/>
                  </a:lnTo>
                  <a:lnTo>
                    <a:pt x="197" y="72"/>
                  </a:lnTo>
                  <a:lnTo>
                    <a:pt x="197" y="72"/>
                  </a:lnTo>
                  <a:lnTo>
                    <a:pt x="197" y="74"/>
                  </a:lnTo>
                  <a:lnTo>
                    <a:pt x="197" y="75"/>
                  </a:lnTo>
                  <a:lnTo>
                    <a:pt x="197" y="77"/>
                  </a:lnTo>
                  <a:lnTo>
                    <a:pt x="198" y="80"/>
                  </a:lnTo>
                  <a:lnTo>
                    <a:pt x="198" y="81"/>
                  </a:lnTo>
                  <a:lnTo>
                    <a:pt x="198" y="85"/>
                  </a:lnTo>
                  <a:lnTo>
                    <a:pt x="195" y="89"/>
                  </a:lnTo>
                  <a:lnTo>
                    <a:pt x="195" y="92"/>
                  </a:lnTo>
                  <a:lnTo>
                    <a:pt x="194" y="94"/>
                  </a:lnTo>
                  <a:lnTo>
                    <a:pt x="194" y="94"/>
                  </a:lnTo>
                  <a:lnTo>
                    <a:pt x="192" y="95"/>
                  </a:lnTo>
                  <a:lnTo>
                    <a:pt x="191" y="95"/>
                  </a:lnTo>
                  <a:lnTo>
                    <a:pt x="191" y="97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84" y="103"/>
                  </a:lnTo>
                  <a:lnTo>
                    <a:pt x="183" y="105"/>
                  </a:lnTo>
                  <a:lnTo>
                    <a:pt x="183" y="106"/>
                  </a:lnTo>
                  <a:lnTo>
                    <a:pt x="183" y="109"/>
                  </a:lnTo>
                  <a:lnTo>
                    <a:pt x="183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0" y="112"/>
                  </a:lnTo>
                  <a:lnTo>
                    <a:pt x="178" y="114"/>
                  </a:lnTo>
                  <a:lnTo>
                    <a:pt x="178" y="114"/>
                  </a:lnTo>
                  <a:lnTo>
                    <a:pt x="178" y="118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8" y="125"/>
                  </a:lnTo>
                  <a:lnTo>
                    <a:pt x="178" y="125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1" y="126"/>
                  </a:lnTo>
                  <a:lnTo>
                    <a:pt x="183" y="128"/>
                  </a:lnTo>
                  <a:lnTo>
                    <a:pt x="183" y="131"/>
                  </a:lnTo>
                  <a:lnTo>
                    <a:pt x="180" y="134"/>
                  </a:lnTo>
                  <a:lnTo>
                    <a:pt x="178" y="137"/>
                  </a:lnTo>
                  <a:lnTo>
                    <a:pt x="175" y="135"/>
                  </a:lnTo>
                  <a:lnTo>
                    <a:pt x="174" y="135"/>
                  </a:lnTo>
                  <a:lnTo>
                    <a:pt x="171" y="135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1" y="128"/>
                  </a:lnTo>
                  <a:lnTo>
                    <a:pt x="169" y="125"/>
                  </a:lnTo>
                  <a:lnTo>
                    <a:pt x="167" y="123"/>
                  </a:lnTo>
                  <a:lnTo>
                    <a:pt x="167" y="123"/>
                  </a:lnTo>
                  <a:lnTo>
                    <a:pt x="167" y="122"/>
                  </a:lnTo>
                  <a:lnTo>
                    <a:pt x="163" y="120"/>
                  </a:lnTo>
                  <a:lnTo>
                    <a:pt x="161" y="120"/>
                  </a:lnTo>
                  <a:lnTo>
                    <a:pt x="160" y="120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63" y="115"/>
                  </a:lnTo>
                  <a:lnTo>
                    <a:pt x="164" y="112"/>
                  </a:lnTo>
                  <a:lnTo>
                    <a:pt x="166" y="111"/>
                  </a:lnTo>
                  <a:lnTo>
                    <a:pt x="163" y="108"/>
                  </a:lnTo>
                  <a:lnTo>
                    <a:pt x="163" y="108"/>
                  </a:lnTo>
                  <a:lnTo>
                    <a:pt x="160" y="108"/>
                  </a:lnTo>
                  <a:lnTo>
                    <a:pt x="158" y="108"/>
                  </a:lnTo>
                  <a:lnTo>
                    <a:pt x="158" y="108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4" y="108"/>
                  </a:lnTo>
                  <a:lnTo>
                    <a:pt x="150" y="105"/>
                  </a:lnTo>
                  <a:lnTo>
                    <a:pt x="149" y="105"/>
                  </a:lnTo>
                  <a:lnTo>
                    <a:pt x="147" y="105"/>
                  </a:lnTo>
                  <a:lnTo>
                    <a:pt x="143" y="97"/>
                  </a:lnTo>
                  <a:lnTo>
                    <a:pt x="141" y="95"/>
                  </a:lnTo>
                  <a:lnTo>
                    <a:pt x="140" y="94"/>
                  </a:lnTo>
                  <a:lnTo>
                    <a:pt x="137" y="94"/>
                  </a:lnTo>
                  <a:lnTo>
                    <a:pt x="135" y="92"/>
                  </a:lnTo>
                  <a:lnTo>
                    <a:pt x="135" y="91"/>
                  </a:lnTo>
                  <a:lnTo>
                    <a:pt x="135" y="88"/>
                  </a:lnTo>
                  <a:lnTo>
                    <a:pt x="135" y="85"/>
                  </a:lnTo>
                  <a:lnTo>
                    <a:pt x="137" y="80"/>
                  </a:lnTo>
                  <a:lnTo>
                    <a:pt x="137" y="77"/>
                  </a:lnTo>
                  <a:lnTo>
                    <a:pt x="137" y="74"/>
                  </a:lnTo>
                  <a:lnTo>
                    <a:pt x="137" y="71"/>
                  </a:lnTo>
                  <a:lnTo>
                    <a:pt x="135" y="69"/>
                  </a:lnTo>
                  <a:lnTo>
                    <a:pt x="134" y="69"/>
                  </a:lnTo>
                  <a:lnTo>
                    <a:pt x="132" y="69"/>
                  </a:lnTo>
                  <a:lnTo>
                    <a:pt x="129" y="69"/>
                  </a:lnTo>
                  <a:lnTo>
                    <a:pt x="127" y="71"/>
                  </a:lnTo>
                  <a:lnTo>
                    <a:pt x="126" y="72"/>
                  </a:lnTo>
                  <a:lnTo>
                    <a:pt x="124" y="74"/>
                  </a:lnTo>
                  <a:lnTo>
                    <a:pt x="124" y="74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4" y="77"/>
                  </a:lnTo>
                  <a:lnTo>
                    <a:pt x="124" y="78"/>
                  </a:lnTo>
                  <a:lnTo>
                    <a:pt x="123" y="78"/>
                  </a:lnTo>
                  <a:lnTo>
                    <a:pt x="121" y="80"/>
                  </a:lnTo>
                  <a:lnTo>
                    <a:pt x="118" y="85"/>
                  </a:lnTo>
                  <a:lnTo>
                    <a:pt x="117" y="86"/>
                  </a:lnTo>
                  <a:lnTo>
                    <a:pt x="114" y="86"/>
                  </a:lnTo>
                  <a:lnTo>
                    <a:pt x="110" y="86"/>
                  </a:lnTo>
                  <a:lnTo>
                    <a:pt x="110" y="88"/>
                  </a:lnTo>
                  <a:lnTo>
                    <a:pt x="109" y="89"/>
                  </a:lnTo>
                  <a:lnTo>
                    <a:pt x="109" y="91"/>
                  </a:lnTo>
                  <a:lnTo>
                    <a:pt x="109" y="91"/>
                  </a:lnTo>
                  <a:lnTo>
                    <a:pt x="110" y="92"/>
                  </a:lnTo>
                  <a:lnTo>
                    <a:pt x="114" y="97"/>
                  </a:lnTo>
                  <a:lnTo>
                    <a:pt x="114" y="100"/>
                  </a:lnTo>
                  <a:lnTo>
                    <a:pt x="112" y="105"/>
                  </a:lnTo>
                  <a:lnTo>
                    <a:pt x="109" y="106"/>
                  </a:lnTo>
                  <a:lnTo>
                    <a:pt x="107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4" y="109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3" y="115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5" y="120"/>
                  </a:lnTo>
                  <a:lnTo>
                    <a:pt x="93" y="120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89" y="126"/>
                  </a:lnTo>
                  <a:lnTo>
                    <a:pt x="87" y="126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2"/>
                  </a:lnTo>
                  <a:lnTo>
                    <a:pt x="77" y="122"/>
                  </a:lnTo>
                  <a:lnTo>
                    <a:pt x="69" y="118"/>
                  </a:lnTo>
                  <a:lnTo>
                    <a:pt x="67" y="120"/>
                  </a:lnTo>
                  <a:lnTo>
                    <a:pt x="67" y="122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3" y="123"/>
                  </a:lnTo>
                  <a:lnTo>
                    <a:pt x="58" y="126"/>
                  </a:lnTo>
                  <a:lnTo>
                    <a:pt x="55" y="128"/>
                  </a:lnTo>
                  <a:lnTo>
                    <a:pt x="50" y="126"/>
                  </a:lnTo>
                  <a:lnTo>
                    <a:pt x="49" y="128"/>
                  </a:lnTo>
                  <a:lnTo>
                    <a:pt x="47" y="128"/>
                  </a:lnTo>
                  <a:lnTo>
                    <a:pt x="43" y="131"/>
                  </a:lnTo>
                  <a:lnTo>
                    <a:pt x="40" y="131"/>
                  </a:lnTo>
                  <a:lnTo>
                    <a:pt x="38" y="131"/>
                  </a:lnTo>
                  <a:lnTo>
                    <a:pt x="35" y="131"/>
                  </a:lnTo>
                  <a:lnTo>
                    <a:pt x="33" y="129"/>
                  </a:lnTo>
                  <a:lnTo>
                    <a:pt x="30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7" y="128"/>
                  </a:lnTo>
                  <a:lnTo>
                    <a:pt x="27" y="129"/>
                  </a:lnTo>
                  <a:lnTo>
                    <a:pt x="26" y="131"/>
                  </a:lnTo>
                  <a:lnTo>
                    <a:pt x="26" y="132"/>
                  </a:lnTo>
                  <a:lnTo>
                    <a:pt x="23" y="134"/>
                  </a:lnTo>
                  <a:lnTo>
                    <a:pt x="21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5" y="135"/>
                  </a:lnTo>
                  <a:lnTo>
                    <a:pt x="13" y="135"/>
                  </a:lnTo>
                  <a:lnTo>
                    <a:pt x="13" y="137"/>
                  </a:lnTo>
                  <a:lnTo>
                    <a:pt x="12" y="138"/>
                  </a:lnTo>
                  <a:lnTo>
                    <a:pt x="12" y="142"/>
                  </a:lnTo>
                  <a:lnTo>
                    <a:pt x="13" y="143"/>
                  </a:lnTo>
                  <a:lnTo>
                    <a:pt x="13" y="148"/>
                  </a:lnTo>
                  <a:lnTo>
                    <a:pt x="15" y="149"/>
                  </a:lnTo>
                  <a:lnTo>
                    <a:pt x="16" y="151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7"/>
                  </a:lnTo>
                  <a:lnTo>
                    <a:pt x="26" y="158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2"/>
                  </a:lnTo>
                  <a:lnTo>
                    <a:pt x="26" y="163"/>
                  </a:lnTo>
                  <a:lnTo>
                    <a:pt x="27" y="163"/>
                  </a:lnTo>
                  <a:lnTo>
                    <a:pt x="27" y="168"/>
                  </a:lnTo>
                  <a:lnTo>
                    <a:pt x="27" y="169"/>
                  </a:lnTo>
                  <a:lnTo>
                    <a:pt x="30" y="171"/>
                  </a:lnTo>
                  <a:lnTo>
                    <a:pt x="33" y="174"/>
                  </a:lnTo>
                  <a:lnTo>
                    <a:pt x="35" y="174"/>
                  </a:lnTo>
                  <a:lnTo>
                    <a:pt x="35" y="175"/>
                  </a:lnTo>
                  <a:lnTo>
                    <a:pt x="35" y="177"/>
                  </a:lnTo>
                  <a:lnTo>
                    <a:pt x="37" y="177"/>
                  </a:lnTo>
                  <a:lnTo>
                    <a:pt x="37" y="179"/>
                  </a:lnTo>
                  <a:lnTo>
                    <a:pt x="40" y="180"/>
                  </a:lnTo>
                  <a:lnTo>
                    <a:pt x="41" y="180"/>
                  </a:lnTo>
                  <a:lnTo>
                    <a:pt x="41" y="182"/>
                  </a:lnTo>
                  <a:lnTo>
                    <a:pt x="40" y="183"/>
                  </a:lnTo>
                  <a:lnTo>
                    <a:pt x="38" y="186"/>
                  </a:lnTo>
                  <a:lnTo>
                    <a:pt x="37" y="189"/>
                  </a:lnTo>
                  <a:lnTo>
                    <a:pt x="35" y="189"/>
                  </a:lnTo>
                  <a:lnTo>
                    <a:pt x="37" y="192"/>
                  </a:lnTo>
                  <a:lnTo>
                    <a:pt x="37" y="194"/>
                  </a:lnTo>
                  <a:lnTo>
                    <a:pt x="37" y="195"/>
                  </a:lnTo>
                  <a:lnTo>
                    <a:pt x="35" y="197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2" y="200"/>
                  </a:lnTo>
                  <a:lnTo>
                    <a:pt x="32" y="200"/>
                  </a:lnTo>
                  <a:lnTo>
                    <a:pt x="30" y="199"/>
                  </a:lnTo>
                  <a:lnTo>
                    <a:pt x="29" y="200"/>
                  </a:lnTo>
                  <a:lnTo>
                    <a:pt x="26" y="202"/>
                  </a:lnTo>
                  <a:lnTo>
                    <a:pt x="24" y="202"/>
                  </a:lnTo>
                  <a:lnTo>
                    <a:pt x="24" y="205"/>
                  </a:lnTo>
                  <a:lnTo>
                    <a:pt x="23" y="205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6"/>
                  </a:lnTo>
                  <a:lnTo>
                    <a:pt x="20" y="206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16" y="209"/>
                  </a:lnTo>
                  <a:lnTo>
                    <a:pt x="15" y="209"/>
                  </a:lnTo>
                  <a:lnTo>
                    <a:pt x="12" y="208"/>
                  </a:lnTo>
                  <a:lnTo>
                    <a:pt x="9" y="206"/>
                  </a:lnTo>
                  <a:lnTo>
                    <a:pt x="9" y="208"/>
                  </a:lnTo>
                  <a:lnTo>
                    <a:pt x="7" y="208"/>
                  </a:lnTo>
                  <a:lnTo>
                    <a:pt x="7" y="208"/>
                  </a:lnTo>
                  <a:lnTo>
                    <a:pt x="6" y="208"/>
                  </a:lnTo>
                  <a:lnTo>
                    <a:pt x="4" y="208"/>
                  </a:lnTo>
                  <a:lnTo>
                    <a:pt x="4" y="209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0" y="211"/>
                  </a:lnTo>
                  <a:lnTo>
                    <a:pt x="0" y="212"/>
                  </a:lnTo>
                  <a:lnTo>
                    <a:pt x="1" y="214"/>
                  </a:lnTo>
                  <a:lnTo>
                    <a:pt x="1" y="215"/>
                  </a:lnTo>
                  <a:lnTo>
                    <a:pt x="1" y="215"/>
                  </a:lnTo>
                  <a:lnTo>
                    <a:pt x="1" y="217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4" y="220"/>
                  </a:lnTo>
                  <a:lnTo>
                    <a:pt x="6" y="220"/>
                  </a:lnTo>
                  <a:lnTo>
                    <a:pt x="9" y="222"/>
                  </a:lnTo>
                  <a:lnTo>
                    <a:pt x="9" y="225"/>
                  </a:lnTo>
                  <a:lnTo>
                    <a:pt x="9" y="231"/>
                  </a:lnTo>
                  <a:lnTo>
                    <a:pt x="10" y="232"/>
                  </a:lnTo>
                  <a:lnTo>
                    <a:pt x="12" y="235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23" y="237"/>
                  </a:lnTo>
                  <a:lnTo>
                    <a:pt x="24" y="237"/>
                  </a:lnTo>
                  <a:lnTo>
                    <a:pt x="27" y="239"/>
                  </a:lnTo>
                  <a:lnTo>
                    <a:pt x="29" y="240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5"/>
                  </a:lnTo>
                  <a:lnTo>
                    <a:pt x="29" y="245"/>
                  </a:lnTo>
                  <a:lnTo>
                    <a:pt x="29" y="248"/>
                  </a:lnTo>
                  <a:lnTo>
                    <a:pt x="30" y="249"/>
                  </a:lnTo>
                  <a:lnTo>
                    <a:pt x="30" y="251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6" y="257"/>
                  </a:lnTo>
                  <a:lnTo>
                    <a:pt x="24" y="259"/>
                  </a:lnTo>
                  <a:lnTo>
                    <a:pt x="24" y="260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1" y="268"/>
                  </a:lnTo>
                  <a:lnTo>
                    <a:pt x="18" y="271"/>
                  </a:lnTo>
                  <a:lnTo>
                    <a:pt x="16" y="272"/>
                  </a:lnTo>
                  <a:lnTo>
                    <a:pt x="16" y="276"/>
                  </a:lnTo>
                  <a:lnTo>
                    <a:pt x="18" y="279"/>
                  </a:lnTo>
                  <a:lnTo>
                    <a:pt x="21" y="280"/>
                  </a:lnTo>
                  <a:lnTo>
                    <a:pt x="23" y="282"/>
                  </a:lnTo>
                  <a:lnTo>
                    <a:pt x="20" y="283"/>
                  </a:lnTo>
                  <a:lnTo>
                    <a:pt x="20" y="285"/>
                  </a:lnTo>
                  <a:lnTo>
                    <a:pt x="20" y="288"/>
                  </a:lnTo>
                  <a:lnTo>
                    <a:pt x="20" y="288"/>
                  </a:lnTo>
                  <a:lnTo>
                    <a:pt x="18" y="289"/>
                  </a:lnTo>
                  <a:lnTo>
                    <a:pt x="20" y="289"/>
                  </a:lnTo>
                  <a:lnTo>
                    <a:pt x="20" y="291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23" y="296"/>
                  </a:lnTo>
                  <a:lnTo>
                    <a:pt x="23" y="296"/>
                  </a:lnTo>
                  <a:lnTo>
                    <a:pt x="24" y="297"/>
                  </a:lnTo>
                  <a:lnTo>
                    <a:pt x="26" y="297"/>
                  </a:lnTo>
                  <a:lnTo>
                    <a:pt x="26" y="299"/>
                  </a:lnTo>
                  <a:lnTo>
                    <a:pt x="26" y="300"/>
                  </a:lnTo>
                  <a:lnTo>
                    <a:pt x="26" y="300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9" y="303"/>
                  </a:lnTo>
                  <a:lnTo>
                    <a:pt x="29" y="303"/>
                  </a:lnTo>
                  <a:lnTo>
                    <a:pt x="30" y="302"/>
                  </a:lnTo>
                  <a:lnTo>
                    <a:pt x="32" y="302"/>
                  </a:lnTo>
                  <a:lnTo>
                    <a:pt x="32" y="302"/>
                  </a:lnTo>
                  <a:lnTo>
                    <a:pt x="37" y="305"/>
                  </a:lnTo>
                  <a:lnTo>
                    <a:pt x="40" y="306"/>
                  </a:lnTo>
                  <a:lnTo>
                    <a:pt x="47" y="311"/>
                  </a:lnTo>
                  <a:lnTo>
                    <a:pt x="49" y="311"/>
                  </a:lnTo>
                  <a:lnTo>
                    <a:pt x="50" y="311"/>
                  </a:lnTo>
                  <a:lnTo>
                    <a:pt x="52" y="312"/>
                  </a:lnTo>
                  <a:lnTo>
                    <a:pt x="52" y="312"/>
                  </a:lnTo>
                  <a:lnTo>
                    <a:pt x="53" y="314"/>
                  </a:lnTo>
                  <a:lnTo>
                    <a:pt x="53" y="314"/>
                  </a:lnTo>
                  <a:lnTo>
                    <a:pt x="53" y="314"/>
                  </a:lnTo>
                  <a:lnTo>
                    <a:pt x="57" y="314"/>
                  </a:lnTo>
                  <a:lnTo>
                    <a:pt x="70" y="311"/>
                  </a:lnTo>
                  <a:lnTo>
                    <a:pt x="72" y="311"/>
                  </a:lnTo>
                  <a:lnTo>
                    <a:pt x="75" y="309"/>
                  </a:lnTo>
                  <a:lnTo>
                    <a:pt x="78" y="309"/>
                  </a:lnTo>
                  <a:lnTo>
                    <a:pt x="77" y="312"/>
                  </a:lnTo>
                  <a:lnTo>
                    <a:pt x="78" y="314"/>
                  </a:lnTo>
                  <a:lnTo>
                    <a:pt x="80" y="316"/>
                  </a:lnTo>
                  <a:lnTo>
                    <a:pt x="80" y="319"/>
                  </a:lnTo>
                  <a:lnTo>
                    <a:pt x="80" y="319"/>
                  </a:lnTo>
                  <a:lnTo>
                    <a:pt x="80" y="320"/>
                  </a:lnTo>
                  <a:lnTo>
                    <a:pt x="80" y="322"/>
                  </a:lnTo>
                  <a:lnTo>
                    <a:pt x="78" y="322"/>
                  </a:lnTo>
                  <a:lnTo>
                    <a:pt x="78" y="323"/>
                  </a:lnTo>
                  <a:lnTo>
                    <a:pt x="77" y="325"/>
                  </a:lnTo>
                  <a:lnTo>
                    <a:pt x="77" y="326"/>
                  </a:lnTo>
                  <a:lnTo>
                    <a:pt x="75" y="328"/>
                  </a:lnTo>
                  <a:lnTo>
                    <a:pt x="73" y="329"/>
                  </a:lnTo>
                  <a:lnTo>
                    <a:pt x="70" y="332"/>
                  </a:lnTo>
                  <a:lnTo>
                    <a:pt x="69" y="336"/>
                  </a:lnTo>
                  <a:lnTo>
                    <a:pt x="66" y="339"/>
                  </a:lnTo>
                  <a:lnTo>
                    <a:pt x="64" y="342"/>
                  </a:lnTo>
                  <a:lnTo>
                    <a:pt x="64" y="343"/>
                  </a:lnTo>
                  <a:lnTo>
                    <a:pt x="66" y="348"/>
                  </a:lnTo>
                  <a:lnTo>
                    <a:pt x="67" y="348"/>
                  </a:lnTo>
                  <a:lnTo>
                    <a:pt x="67" y="349"/>
                  </a:lnTo>
                  <a:lnTo>
                    <a:pt x="69" y="349"/>
                  </a:lnTo>
                  <a:lnTo>
                    <a:pt x="69" y="349"/>
                  </a:lnTo>
                  <a:lnTo>
                    <a:pt x="72" y="349"/>
                  </a:lnTo>
                  <a:lnTo>
                    <a:pt x="81" y="349"/>
                  </a:lnTo>
                  <a:lnTo>
                    <a:pt x="84" y="348"/>
                  </a:lnTo>
                  <a:lnTo>
                    <a:pt x="87" y="346"/>
                  </a:lnTo>
                  <a:lnTo>
                    <a:pt x="100" y="342"/>
                  </a:lnTo>
                  <a:lnTo>
                    <a:pt x="106" y="339"/>
                  </a:lnTo>
                  <a:lnTo>
                    <a:pt x="107" y="339"/>
                  </a:lnTo>
                  <a:lnTo>
                    <a:pt x="109" y="339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6"/>
                  </a:lnTo>
                  <a:lnTo>
                    <a:pt x="110" y="336"/>
                  </a:lnTo>
                  <a:lnTo>
                    <a:pt x="112" y="334"/>
                  </a:lnTo>
                  <a:lnTo>
                    <a:pt x="114" y="332"/>
                  </a:lnTo>
                  <a:lnTo>
                    <a:pt x="115" y="332"/>
                  </a:lnTo>
                  <a:lnTo>
                    <a:pt x="115" y="331"/>
                  </a:lnTo>
                  <a:lnTo>
                    <a:pt x="115" y="329"/>
                  </a:lnTo>
                  <a:lnTo>
                    <a:pt x="115" y="326"/>
                  </a:lnTo>
                  <a:lnTo>
                    <a:pt x="120" y="323"/>
                  </a:lnTo>
                  <a:lnTo>
                    <a:pt x="120" y="322"/>
                  </a:lnTo>
                  <a:lnTo>
                    <a:pt x="120" y="320"/>
                  </a:lnTo>
                  <a:lnTo>
                    <a:pt x="120" y="319"/>
                  </a:lnTo>
                  <a:lnTo>
                    <a:pt x="120" y="317"/>
                  </a:lnTo>
                  <a:lnTo>
                    <a:pt x="121" y="317"/>
                  </a:lnTo>
                  <a:lnTo>
                    <a:pt x="123" y="314"/>
                  </a:lnTo>
                  <a:lnTo>
                    <a:pt x="123" y="312"/>
                  </a:lnTo>
                  <a:lnTo>
                    <a:pt x="124" y="312"/>
                  </a:lnTo>
                  <a:lnTo>
                    <a:pt x="126" y="311"/>
                  </a:lnTo>
                  <a:lnTo>
                    <a:pt x="130" y="309"/>
                  </a:lnTo>
                  <a:lnTo>
                    <a:pt x="132" y="308"/>
                  </a:lnTo>
                  <a:lnTo>
                    <a:pt x="134" y="308"/>
                  </a:lnTo>
                  <a:lnTo>
                    <a:pt x="134" y="306"/>
                  </a:lnTo>
                  <a:lnTo>
                    <a:pt x="134" y="305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7" y="302"/>
                  </a:lnTo>
                  <a:lnTo>
                    <a:pt x="137" y="300"/>
                  </a:lnTo>
                  <a:lnTo>
                    <a:pt x="137" y="299"/>
                  </a:lnTo>
                  <a:lnTo>
                    <a:pt x="138" y="296"/>
                  </a:lnTo>
                  <a:lnTo>
                    <a:pt x="143" y="292"/>
                  </a:lnTo>
                  <a:lnTo>
                    <a:pt x="146" y="291"/>
                  </a:lnTo>
                  <a:lnTo>
                    <a:pt x="146" y="289"/>
                  </a:lnTo>
                  <a:lnTo>
                    <a:pt x="147" y="289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54" y="286"/>
                  </a:lnTo>
                  <a:lnTo>
                    <a:pt x="154" y="286"/>
                  </a:lnTo>
                  <a:lnTo>
                    <a:pt x="154" y="286"/>
                  </a:lnTo>
                  <a:lnTo>
                    <a:pt x="155" y="285"/>
                  </a:lnTo>
                  <a:lnTo>
                    <a:pt x="157" y="283"/>
                  </a:lnTo>
                  <a:lnTo>
                    <a:pt x="158" y="283"/>
                  </a:lnTo>
                  <a:lnTo>
                    <a:pt x="160" y="283"/>
                  </a:lnTo>
                  <a:lnTo>
                    <a:pt x="164" y="283"/>
                  </a:lnTo>
                  <a:lnTo>
                    <a:pt x="166" y="285"/>
                  </a:lnTo>
                  <a:lnTo>
                    <a:pt x="166" y="285"/>
                  </a:lnTo>
                  <a:lnTo>
                    <a:pt x="167" y="285"/>
                  </a:lnTo>
                  <a:lnTo>
                    <a:pt x="172" y="285"/>
                  </a:lnTo>
                  <a:lnTo>
                    <a:pt x="172" y="285"/>
                  </a:lnTo>
                  <a:lnTo>
                    <a:pt x="174" y="286"/>
                  </a:lnTo>
                  <a:lnTo>
                    <a:pt x="178" y="288"/>
                  </a:lnTo>
                  <a:lnTo>
                    <a:pt x="186" y="288"/>
                  </a:lnTo>
                  <a:lnTo>
                    <a:pt x="187" y="289"/>
                  </a:lnTo>
                  <a:lnTo>
                    <a:pt x="189" y="292"/>
                  </a:lnTo>
                  <a:lnTo>
                    <a:pt x="189" y="294"/>
                  </a:lnTo>
                  <a:lnTo>
                    <a:pt x="191" y="294"/>
                  </a:lnTo>
                  <a:lnTo>
                    <a:pt x="194" y="296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4" y="291"/>
                  </a:lnTo>
                  <a:lnTo>
                    <a:pt x="195" y="291"/>
                  </a:lnTo>
                  <a:lnTo>
                    <a:pt x="197" y="292"/>
                  </a:lnTo>
                  <a:lnTo>
                    <a:pt x="204" y="297"/>
                  </a:lnTo>
                  <a:lnTo>
                    <a:pt x="206" y="299"/>
                  </a:lnTo>
                  <a:lnTo>
                    <a:pt x="209" y="300"/>
                  </a:lnTo>
                  <a:lnTo>
                    <a:pt x="209" y="302"/>
                  </a:lnTo>
                  <a:lnTo>
                    <a:pt x="211" y="303"/>
                  </a:lnTo>
                  <a:lnTo>
                    <a:pt x="212" y="303"/>
                  </a:lnTo>
                  <a:lnTo>
                    <a:pt x="212" y="303"/>
                  </a:lnTo>
                  <a:lnTo>
                    <a:pt x="214" y="302"/>
                  </a:lnTo>
                  <a:lnTo>
                    <a:pt x="214" y="303"/>
                  </a:lnTo>
                  <a:lnTo>
                    <a:pt x="215" y="305"/>
                  </a:lnTo>
                  <a:lnTo>
                    <a:pt x="215" y="305"/>
                  </a:lnTo>
                  <a:lnTo>
                    <a:pt x="220" y="306"/>
                  </a:lnTo>
                  <a:lnTo>
                    <a:pt x="220" y="308"/>
                  </a:lnTo>
                  <a:lnTo>
                    <a:pt x="221" y="309"/>
                  </a:lnTo>
                  <a:lnTo>
                    <a:pt x="221" y="309"/>
                  </a:lnTo>
                  <a:lnTo>
                    <a:pt x="224" y="312"/>
                  </a:lnTo>
                  <a:lnTo>
                    <a:pt x="224" y="312"/>
                  </a:lnTo>
                  <a:lnTo>
                    <a:pt x="226" y="312"/>
                  </a:lnTo>
                  <a:lnTo>
                    <a:pt x="227" y="312"/>
                  </a:lnTo>
                  <a:lnTo>
                    <a:pt x="229" y="312"/>
                  </a:lnTo>
                  <a:lnTo>
                    <a:pt x="231" y="316"/>
                  </a:lnTo>
                  <a:lnTo>
                    <a:pt x="231" y="316"/>
                  </a:lnTo>
                  <a:lnTo>
                    <a:pt x="235" y="319"/>
                  </a:lnTo>
                  <a:lnTo>
                    <a:pt x="238" y="320"/>
                  </a:lnTo>
                  <a:lnTo>
                    <a:pt x="240" y="322"/>
                  </a:lnTo>
                  <a:lnTo>
                    <a:pt x="240" y="323"/>
                  </a:lnTo>
                  <a:lnTo>
                    <a:pt x="240" y="323"/>
                  </a:lnTo>
                  <a:lnTo>
                    <a:pt x="241" y="323"/>
                  </a:lnTo>
                  <a:lnTo>
                    <a:pt x="240" y="322"/>
                  </a:lnTo>
                  <a:lnTo>
                    <a:pt x="240" y="322"/>
                  </a:lnTo>
                  <a:lnTo>
                    <a:pt x="240" y="320"/>
                  </a:lnTo>
                  <a:lnTo>
                    <a:pt x="241" y="320"/>
                  </a:lnTo>
                  <a:lnTo>
                    <a:pt x="241" y="320"/>
                  </a:lnTo>
                  <a:lnTo>
                    <a:pt x="240" y="320"/>
                  </a:lnTo>
                  <a:lnTo>
                    <a:pt x="240" y="319"/>
                  </a:lnTo>
                  <a:lnTo>
                    <a:pt x="240" y="319"/>
                  </a:lnTo>
                  <a:lnTo>
                    <a:pt x="238" y="317"/>
                  </a:lnTo>
                  <a:lnTo>
                    <a:pt x="238" y="317"/>
                  </a:lnTo>
                  <a:lnTo>
                    <a:pt x="240" y="317"/>
                  </a:lnTo>
                  <a:lnTo>
                    <a:pt x="240" y="317"/>
                  </a:lnTo>
                  <a:lnTo>
                    <a:pt x="240" y="316"/>
                  </a:lnTo>
                  <a:lnTo>
                    <a:pt x="240" y="316"/>
                  </a:lnTo>
                  <a:lnTo>
                    <a:pt x="243" y="319"/>
                  </a:lnTo>
                  <a:lnTo>
                    <a:pt x="244" y="317"/>
                  </a:lnTo>
                  <a:lnTo>
                    <a:pt x="244" y="319"/>
                  </a:lnTo>
                  <a:lnTo>
                    <a:pt x="248" y="322"/>
                  </a:lnTo>
                  <a:lnTo>
                    <a:pt x="249" y="322"/>
                  </a:lnTo>
                  <a:lnTo>
                    <a:pt x="249" y="323"/>
                  </a:lnTo>
                  <a:lnTo>
                    <a:pt x="251" y="323"/>
                  </a:lnTo>
                  <a:lnTo>
                    <a:pt x="251" y="322"/>
                  </a:lnTo>
                  <a:lnTo>
                    <a:pt x="251" y="322"/>
                  </a:lnTo>
                  <a:lnTo>
                    <a:pt x="251" y="322"/>
                  </a:lnTo>
                  <a:lnTo>
                    <a:pt x="252" y="322"/>
                  </a:lnTo>
                  <a:lnTo>
                    <a:pt x="254" y="322"/>
                  </a:lnTo>
                  <a:lnTo>
                    <a:pt x="255" y="322"/>
                  </a:lnTo>
                  <a:lnTo>
                    <a:pt x="257" y="325"/>
                  </a:lnTo>
                  <a:lnTo>
                    <a:pt x="258" y="325"/>
                  </a:lnTo>
                  <a:lnTo>
                    <a:pt x="260" y="325"/>
                  </a:lnTo>
                  <a:lnTo>
                    <a:pt x="263" y="329"/>
                  </a:lnTo>
                  <a:lnTo>
                    <a:pt x="266" y="332"/>
                  </a:lnTo>
                  <a:lnTo>
                    <a:pt x="268" y="336"/>
                  </a:lnTo>
                  <a:lnTo>
                    <a:pt x="271" y="343"/>
                  </a:lnTo>
                  <a:lnTo>
                    <a:pt x="272" y="346"/>
                  </a:lnTo>
                  <a:lnTo>
                    <a:pt x="274" y="371"/>
                  </a:lnTo>
                  <a:lnTo>
                    <a:pt x="275" y="379"/>
                  </a:lnTo>
                  <a:lnTo>
                    <a:pt x="277" y="380"/>
                  </a:lnTo>
                  <a:lnTo>
                    <a:pt x="278" y="382"/>
                  </a:lnTo>
                  <a:lnTo>
                    <a:pt x="280" y="383"/>
                  </a:lnTo>
                  <a:lnTo>
                    <a:pt x="284" y="389"/>
                  </a:lnTo>
                  <a:lnTo>
                    <a:pt x="291" y="402"/>
                  </a:lnTo>
                  <a:lnTo>
                    <a:pt x="292" y="405"/>
                  </a:lnTo>
                  <a:lnTo>
                    <a:pt x="292" y="406"/>
                  </a:lnTo>
                  <a:lnTo>
                    <a:pt x="292" y="411"/>
                  </a:lnTo>
                  <a:lnTo>
                    <a:pt x="292" y="413"/>
                  </a:lnTo>
                  <a:lnTo>
                    <a:pt x="292" y="414"/>
                  </a:lnTo>
                  <a:lnTo>
                    <a:pt x="292" y="416"/>
                  </a:lnTo>
                  <a:lnTo>
                    <a:pt x="292" y="419"/>
                  </a:lnTo>
                  <a:lnTo>
                    <a:pt x="292" y="420"/>
                  </a:lnTo>
                  <a:lnTo>
                    <a:pt x="292" y="422"/>
                  </a:lnTo>
                  <a:lnTo>
                    <a:pt x="291" y="426"/>
                  </a:lnTo>
                  <a:lnTo>
                    <a:pt x="289" y="430"/>
                  </a:lnTo>
                  <a:lnTo>
                    <a:pt x="288" y="431"/>
                  </a:lnTo>
                  <a:lnTo>
                    <a:pt x="289" y="436"/>
                  </a:lnTo>
                  <a:lnTo>
                    <a:pt x="291" y="437"/>
                  </a:lnTo>
                  <a:lnTo>
                    <a:pt x="292" y="436"/>
                  </a:lnTo>
                  <a:lnTo>
                    <a:pt x="292" y="436"/>
                  </a:lnTo>
                  <a:lnTo>
                    <a:pt x="292" y="434"/>
                  </a:lnTo>
                  <a:lnTo>
                    <a:pt x="295" y="434"/>
                  </a:lnTo>
                  <a:lnTo>
                    <a:pt x="300" y="434"/>
                  </a:lnTo>
                  <a:lnTo>
                    <a:pt x="303" y="434"/>
                  </a:lnTo>
                  <a:lnTo>
                    <a:pt x="308" y="437"/>
                  </a:lnTo>
                  <a:lnTo>
                    <a:pt x="309" y="437"/>
                  </a:lnTo>
                  <a:lnTo>
                    <a:pt x="309" y="439"/>
                  </a:lnTo>
                  <a:lnTo>
                    <a:pt x="311" y="440"/>
                  </a:lnTo>
                  <a:lnTo>
                    <a:pt x="309" y="440"/>
                  </a:lnTo>
                  <a:lnTo>
                    <a:pt x="309" y="442"/>
                  </a:lnTo>
                  <a:lnTo>
                    <a:pt x="309" y="442"/>
                  </a:lnTo>
                  <a:lnTo>
                    <a:pt x="309" y="445"/>
                  </a:lnTo>
                  <a:lnTo>
                    <a:pt x="309" y="446"/>
                  </a:lnTo>
                  <a:lnTo>
                    <a:pt x="308" y="448"/>
                  </a:lnTo>
                  <a:lnTo>
                    <a:pt x="306" y="450"/>
                  </a:lnTo>
                  <a:lnTo>
                    <a:pt x="318" y="454"/>
                  </a:lnTo>
                  <a:lnTo>
                    <a:pt x="323" y="456"/>
                  </a:lnTo>
                  <a:lnTo>
                    <a:pt x="325" y="457"/>
                  </a:lnTo>
                  <a:lnTo>
                    <a:pt x="325" y="459"/>
                  </a:lnTo>
                  <a:lnTo>
                    <a:pt x="326" y="459"/>
                  </a:lnTo>
                  <a:lnTo>
                    <a:pt x="326" y="460"/>
                  </a:lnTo>
                  <a:lnTo>
                    <a:pt x="326" y="462"/>
                  </a:lnTo>
                  <a:lnTo>
                    <a:pt x="328" y="463"/>
                  </a:lnTo>
                  <a:lnTo>
                    <a:pt x="331" y="465"/>
                  </a:lnTo>
                  <a:lnTo>
                    <a:pt x="332" y="466"/>
                  </a:lnTo>
                  <a:lnTo>
                    <a:pt x="332" y="468"/>
                  </a:lnTo>
                  <a:lnTo>
                    <a:pt x="334" y="470"/>
                  </a:lnTo>
                  <a:lnTo>
                    <a:pt x="335" y="471"/>
                  </a:lnTo>
                  <a:lnTo>
                    <a:pt x="335" y="473"/>
                  </a:lnTo>
                  <a:lnTo>
                    <a:pt x="337" y="474"/>
                  </a:lnTo>
                  <a:lnTo>
                    <a:pt x="337" y="474"/>
                  </a:lnTo>
                  <a:lnTo>
                    <a:pt x="338" y="474"/>
                  </a:lnTo>
                  <a:lnTo>
                    <a:pt x="338" y="474"/>
                  </a:lnTo>
                  <a:lnTo>
                    <a:pt x="338" y="476"/>
                  </a:lnTo>
                  <a:lnTo>
                    <a:pt x="340" y="477"/>
                  </a:lnTo>
                  <a:lnTo>
                    <a:pt x="340" y="480"/>
                  </a:lnTo>
                  <a:lnTo>
                    <a:pt x="340" y="482"/>
                  </a:lnTo>
                  <a:lnTo>
                    <a:pt x="340" y="485"/>
                  </a:lnTo>
                  <a:lnTo>
                    <a:pt x="338" y="486"/>
                  </a:lnTo>
                  <a:lnTo>
                    <a:pt x="337" y="486"/>
                  </a:lnTo>
                  <a:lnTo>
                    <a:pt x="335" y="485"/>
                  </a:lnTo>
                  <a:lnTo>
                    <a:pt x="334" y="486"/>
                  </a:lnTo>
                  <a:lnTo>
                    <a:pt x="334" y="486"/>
                  </a:lnTo>
                  <a:lnTo>
                    <a:pt x="334" y="488"/>
                  </a:lnTo>
                  <a:lnTo>
                    <a:pt x="334" y="490"/>
                  </a:lnTo>
                  <a:lnTo>
                    <a:pt x="334" y="491"/>
                  </a:lnTo>
                  <a:lnTo>
                    <a:pt x="337" y="491"/>
                  </a:lnTo>
                  <a:lnTo>
                    <a:pt x="337" y="493"/>
                  </a:lnTo>
                  <a:lnTo>
                    <a:pt x="338" y="494"/>
                  </a:lnTo>
                  <a:lnTo>
                    <a:pt x="338" y="493"/>
                  </a:lnTo>
                  <a:lnTo>
                    <a:pt x="338" y="493"/>
                  </a:lnTo>
                  <a:lnTo>
                    <a:pt x="340" y="493"/>
                  </a:lnTo>
                  <a:lnTo>
                    <a:pt x="340" y="494"/>
                  </a:lnTo>
                  <a:lnTo>
                    <a:pt x="340" y="493"/>
                  </a:lnTo>
                  <a:lnTo>
                    <a:pt x="341" y="491"/>
                  </a:lnTo>
                  <a:lnTo>
                    <a:pt x="341" y="490"/>
                  </a:lnTo>
                  <a:lnTo>
                    <a:pt x="343" y="488"/>
                  </a:lnTo>
                  <a:lnTo>
                    <a:pt x="343" y="488"/>
                  </a:lnTo>
                  <a:lnTo>
                    <a:pt x="345" y="488"/>
                  </a:lnTo>
                  <a:lnTo>
                    <a:pt x="346" y="488"/>
                  </a:lnTo>
                  <a:lnTo>
                    <a:pt x="351" y="490"/>
                  </a:lnTo>
                  <a:lnTo>
                    <a:pt x="354" y="490"/>
                  </a:lnTo>
                  <a:lnTo>
                    <a:pt x="352" y="490"/>
                  </a:lnTo>
                  <a:lnTo>
                    <a:pt x="354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1"/>
                  </a:lnTo>
                  <a:lnTo>
                    <a:pt x="358" y="491"/>
                  </a:lnTo>
                  <a:lnTo>
                    <a:pt x="363" y="494"/>
                  </a:lnTo>
                  <a:lnTo>
                    <a:pt x="366" y="496"/>
                  </a:lnTo>
                  <a:lnTo>
                    <a:pt x="375" y="502"/>
                  </a:lnTo>
                  <a:lnTo>
                    <a:pt x="377" y="505"/>
                  </a:lnTo>
                  <a:lnTo>
                    <a:pt x="382" y="513"/>
                  </a:lnTo>
                  <a:lnTo>
                    <a:pt x="382" y="514"/>
                  </a:lnTo>
                  <a:lnTo>
                    <a:pt x="382" y="516"/>
                  </a:lnTo>
                  <a:lnTo>
                    <a:pt x="383" y="517"/>
                  </a:lnTo>
                  <a:lnTo>
                    <a:pt x="385" y="519"/>
                  </a:lnTo>
                  <a:lnTo>
                    <a:pt x="385" y="520"/>
                  </a:lnTo>
                  <a:lnTo>
                    <a:pt x="386" y="522"/>
                  </a:lnTo>
                  <a:lnTo>
                    <a:pt x="386" y="523"/>
                  </a:lnTo>
                  <a:lnTo>
                    <a:pt x="388" y="525"/>
                  </a:lnTo>
                  <a:lnTo>
                    <a:pt x="388" y="527"/>
                  </a:lnTo>
                  <a:lnTo>
                    <a:pt x="389" y="527"/>
                  </a:lnTo>
                  <a:lnTo>
                    <a:pt x="395" y="527"/>
                  </a:lnTo>
                  <a:lnTo>
                    <a:pt x="395" y="527"/>
                  </a:lnTo>
                  <a:lnTo>
                    <a:pt x="397" y="528"/>
                  </a:lnTo>
                  <a:lnTo>
                    <a:pt x="398" y="530"/>
                  </a:lnTo>
                  <a:lnTo>
                    <a:pt x="400" y="530"/>
                  </a:lnTo>
                  <a:lnTo>
                    <a:pt x="400" y="531"/>
                  </a:lnTo>
                  <a:lnTo>
                    <a:pt x="403" y="531"/>
                  </a:lnTo>
                  <a:lnTo>
                    <a:pt x="403" y="531"/>
                  </a:lnTo>
                  <a:lnTo>
                    <a:pt x="403" y="533"/>
                  </a:lnTo>
                  <a:lnTo>
                    <a:pt x="405" y="534"/>
                  </a:lnTo>
                  <a:lnTo>
                    <a:pt x="405" y="534"/>
                  </a:lnTo>
                  <a:lnTo>
                    <a:pt x="412" y="540"/>
                  </a:lnTo>
                  <a:lnTo>
                    <a:pt x="414" y="542"/>
                  </a:lnTo>
                  <a:lnTo>
                    <a:pt x="415" y="545"/>
                  </a:lnTo>
                  <a:lnTo>
                    <a:pt x="417" y="548"/>
                  </a:lnTo>
                  <a:lnTo>
                    <a:pt x="417" y="550"/>
                  </a:lnTo>
                  <a:lnTo>
                    <a:pt x="417" y="551"/>
                  </a:lnTo>
                  <a:lnTo>
                    <a:pt x="417" y="553"/>
                  </a:lnTo>
                  <a:lnTo>
                    <a:pt x="417" y="554"/>
                  </a:lnTo>
                  <a:lnTo>
                    <a:pt x="418" y="556"/>
                  </a:lnTo>
                  <a:lnTo>
                    <a:pt x="420" y="557"/>
                  </a:lnTo>
                  <a:lnTo>
                    <a:pt x="422" y="557"/>
                  </a:lnTo>
                  <a:lnTo>
                    <a:pt x="422" y="557"/>
                  </a:lnTo>
                  <a:lnTo>
                    <a:pt x="423" y="559"/>
                  </a:lnTo>
                  <a:lnTo>
                    <a:pt x="425" y="559"/>
                  </a:lnTo>
                  <a:lnTo>
                    <a:pt x="426" y="560"/>
                  </a:lnTo>
                  <a:lnTo>
                    <a:pt x="434" y="567"/>
                  </a:lnTo>
                  <a:lnTo>
                    <a:pt x="442" y="576"/>
                  </a:lnTo>
                  <a:lnTo>
                    <a:pt x="448" y="583"/>
                  </a:lnTo>
                  <a:lnTo>
                    <a:pt x="448" y="585"/>
                  </a:lnTo>
                  <a:lnTo>
                    <a:pt x="449" y="583"/>
                  </a:lnTo>
                  <a:lnTo>
                    <a:pt x="449" y="583"/>
                  </a:lnTo>
                  <a:lnTo>
                    <a:pt x="451" y="583"/>
                  </a:lnTo>
                  <a:lnTo>
                    <a:pt x="457" y="588"/>
                  </a:lnTo>
                  <a:lnTo>
                    <a:pt x="459" y="588"/>
                  </a:lnTo>
                  <a:lnTo>
                    <a:pt x="463" y="588"/>
                  </a:lnTo>
                  <a:lnTo>
                    <a:pt x="465" y="588"/>
                  </a:lnTo>
                  <a:lnTo>
                    <a:pt x="468" y="590"/>
                  </a:lnTo>
                  <a:lnTo>
                    <a:pt x="469" y="591"/>
                  </a:lnTo>
                  <a:lnTo>
                    <a:pt x="474" y="596"/>
                  </a:lnTo>
                  <a:lnTo>
                    <a:pt x="475" y="597"/>
                  </a:lnTo>
                  <a:lnTo>
                    <a:pt x="477" y="600"/>
                  </a:lnTo>
                  <a:lnTo>
                    <a:pt x="477" y="602"/>
                  </a:lnTo>
                  <a:lnTo>
                    <a:pt x="479" y="604"/>
                  </a:lnTo>
                  <a:lnTo>
                    <a:pt x="479" y="605"/>
                  </a:lnTo>
                  <a:lnTo>
                    <a:pt x="479" y="607"/>
                  </a:lnTo>
                  <a:lnTo>
                    <a:pt x="480" y="607"/>
                  </a:lnTo>
                  <a:lnTo>
                    <a:pt x="482" y="607"/>
                  </a:lnTo>
                  <a:lnTo>
                    <a:pt x="485" y="605"/>
                  </a:lnTo>
                  <a:lnTo>
                    <a:pt x="486" y="604"/>
                  </a:lnTo>
                  <a:lnTo>
                    <a:pt x="489" y="602"/>
                  </a:lnTo>
                  <a:lnTo>
                    <a:pt x="491" y="600"/>
                  </a:lnTo>
                  <a:lnTo>
                    <a:pt x="497" y="600"/>
                  </a:lnTo>
                  <a:lnTo>
                    <a:pt x="500" y="600"/>
                  </a:lnTo>
                  <a:lnTo>
                    <a:pt x="511" y="605"/>
                  </a:lnTo>
                  <a:lnTo>
                    <a:pt x="512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8"/>
                  </a:lnTo>
                  <a:lnTo>
                    <a:pt x="516" y="608"/>
                  </a:lnTo>
                  <a:lnTo>
                    <a:pt x="516" y="608"/>
                  </a:lnTo>
                  <a:lnTo>
                    <a:pt x="519" y="608"/>
                  </a:lnTo>
                  <a:lnTo>
                    <a:pt x="517" y="605"/>
                  </a:lnTo>
                  <a:lnTo>
                    <a:pt x="520" y="604"/>
                  </a:lnTo>
                  <a:lnTo>
                    <a:pt x="525" y="604"/>
                  </a:lnTo>
                  <a:lnTo>
                    <a:pt x="525" y="605"/>
                  </a:lnTo>
                  <a:lnTo>
                    <a:pt x="526" y="605"/>
                  </a:lnTo>
                  <a:lnTo>
                    <a:pt x="528" y="604"/>
                  </a:lnTo>
                  <a:lnTo>
                    <a:pt x="529" y="605"/>
                  </a:lnTo>
                  <a:lnTo>
                    <a:pt x="534" y="608"/>
                  </a:lnTo>
                  <a:lnTo>
                    <a:pt x="539" y="614"/>
                  </a:lnTo>
                  <a:lnTo>
                    <a:pt x="542" y="619"/>
                  </a:lnTo>
                  <a:lnTo>
                    <a:pt x="543" y="624"/>
                  </a:lnTo>
                  <a:lnTo>
                    <a:pt x="543" y="624"/>
                  </a:lnTo>
                  <a:lnTo>
                    <a:pt x="543" y="627"/>
                  </a:lnTo>
                  <a:lnTo>
                    <a:pt x="543" y="627"/>
                  </a:lnTo>
                  <a:lnTo>
                    <a:pt x="545" y="628"/>
                  </a:lnTo>
                  <a:lnTo>
                    <a:pt x="548" y="630"/>
                  </a:lnTo>
                  <a:lnTo>
                    <a:pt x="551" y="637"/>
                  </a:lnTo>
                  <a:lnTo>
                    <a:pt x="552" y="642"/>
                  </a:lnTo>
                  <a:lnTo>
                    <a:pt x="554" y="645"/>
                  </a:lnTo>
                  <a:lnTo>
                    <a:pt x="552" y="650"/>
                  </a:lnTo>
                  <a:lnTo>
                    <a:pt x="554" y="650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48"/>
                  </a:lnTo>
                  <a:lnTo>
                    <a:pt x="556" y="647"/>
                  </a:lnTo>
                  <a:lnTo>
                    <a:pt x="556" y="645"/>
                  </a:lnTo>
                  <a:lnTo>
                    <a:pt x="557" y="645"/>
                  </a:lnTo>
                  <a:lnTo>
                    <a:pt x="559" y="647"/>
                  </a:lnTo>
                  <a:lnTo>
                    <a:pt x="560" y="647"/>
                  </a:lnTo>
                  <a:lnTo>
                    <a:pt x="562" y="647"/>
                  </a:lnTo>
                  <a:lnTo>
                    <a:pt x="563" y="648"/>
                  </a:lnTo>
                  <a:lnTo>
                    <a:pt x="565" y="648"/>
                  </a:lnTo>
                  <a:lnTo>
                    <a:pt x="566" y="647"/>
                  </a:lnTo>
                  <a:lnTo>
                    <a:pt x="566" y="645"/>
                  </a:lnTo>
                  <a:lnTo>
                    <a:pt x="568" y="645"/>
                  </a:lnTo>
                  <a:lnTo>
                    <a:pt x="571" y="645"/>
                  </a:lnTo>
                  <a:lnTo>
                    <a:pt x="572" y="645"/>
                  </a:lnTo>
                  <a:lnTo>
                    <a:pt x="572" y="647"/>
                  </a:lnTo>
                  <a:lnTo>
                    <a:pt x="576" y="650"/>
                  </a:lnTo>
                  <a:lnTo>
                    <a:pt x="577" y="651"/>
                  </a:lnTo>
                  <a:lnTo>
                    <a:pt x="579" y="651"/>
                  </a:lnTo>
                  <a:lnTo>
                    <a:pt x="579" y="653"/>
                  </a:lnTo>
                  <a:lnTo>
                    <a:pt x="580" y="653"/>
                  </a:lnTo>
                  <a:lnTo>
                    <a:pt x="582" y="654"/>
                  </a:lnTo>
                  <a:lnTo>
                    <a:pt x="583" y="653"/>
                  </a:lnTo>
                  <a:lnTo>
                    <a:pt x="585" y="654"/>
                  </a:lnTo>
                  <a:lnTo>
                    <a:pt x="585" y="656"/>
                  </a:lnTo>
                  <a:lnTo>
                    <a:pt x="586" y="657"/>
                  </a:lnTo>
                  <a:lnTo>
                    <a:pt x="585" y="659"/>
                  </a:lnTo>
                  <a:lnTo>
                    <a:pt x="583" y="660"/>
                  </a:lnTo>
                  <a:lnTo>
                    <a:pt x="580" y="664"/>
                  </a:lnTo>
                  <a:lnTo>
                    <a:pt x="580" y="664"/>
                  </a:lnTo>
                  <a:lnTo>
                    <a:pt x="579" y="665"/>
                  </a:lnTo>
                  <a:lnTo>
                    <a:pt x="579" y="665"/>
                  </a:lnTo>
                  <a:lnTo>
                    <a:pt x="577" y="665"/>
                  </a:lnTo>
                  <a:lnTo>
                    <a:pt x="576" y="667"/>
                  </a:lnTo>
                  <a:lnTo>
                    <a:pt x="574" y="668"/>
                  </a:lnTo>
                  <a:lnTo>
                    <a:pt x="574" y="670"/>
                  </a:lnTo>
                  <a:lnTo>
                    <a:pt x="576" y="671"/>
                  </a:lnTo>
                  <a:lnTo>
                    <a:pt x="577" y="670"/>
                  </a:lnTo>
                  <a:lnTo>
                    <a:pt x="580" y="668"/>
                  </a:lnTo>
                  <a:lnTo>
                    <a:pt x="582" y="667"/>
                  </a:lnTo>
                  <a:lnTo>
                    <a:pt x="585" y="667"/>
                  </a:lnTo>
                  <a:lnTo>
                    <a:pt x="586" y="665"/>
                  </a:lnTo>
                  <a:lnTo>
                    <a:pt x="588" y="667"/>
                  </a:lnTo>
                  <a:lnTo>
                    <a:pt x="591" y="667"/>
                  </a:lnTo>
                  <a:lnTo>
                    <a:pt x="593" y="667"/>
                  </a:lnTo>
                  <a:lnTo>
                    <a:pt x="596" y="664"/>
                  </a:lnTo>
                  <a:lnTo>
                    <a:pt x="597" y="664"/>
                  </a:lnTo>
                  <a:lnTo>
                    <a:pt x="600" y="664"/>
                  </a:lnTo>
                  <a:lnTo>
                    <a:pt x="602" y="664"/>
                  </a:lnTo>
                  <a:lnTo>
                    <a:pt x="603" y="662"/>
                  </a:lnTo>
                  <a:lnTo>
                    <a:pt x="606" y="660"/>
                  </a:lnTo>
                  <a:lnTo>
                    <a:pt x="608" y="662"/>
                  </a:lnTo>
                  <a:lnTo>
                    <a:pt x="609" y="664"/>
                  </a:lnTo>
                  <a:lnTo>
                    <a:pt x="613" y="665"/>
                  </a:lnTo>
                  <a:lnTo>
                    <a:pt x="614" y="668"/>
                  </a:lnTo>
                  <a:lnTo>
                    <a:pt x="616" y="671"/>
                  </a:lnTo>
                  <a:lnTo>
                    <a:pt x="623" y="685"/>
                  </a:lnTo>
                  <a:lnTo>
                    <a:pt x="625" y="688"/>
                  </a:lnTo>
                  <a:lnTo>
                    <a:pt x="625" y="691"/>
                  </a:lnTo>
                  <a:lnTo>
                    <a:pt x="623" y="691"/>
                  </a:lnTo>
                  <a:lnTo>
                    <a:pt x="622" y="693"/>
                  </a:lnTo>
                  <a:lnTo>
                    <a:pt x="622" y="693"/>
                  </a:lnTo>
                  <a:lnTo>
                    <a:pt x="620" y="694"/>
                  </a:lnTo>
                  <a:lnTo>
                    <a:pt x="620" y="694"/>
                  </a:lnTo>
                  <a:lnTo>
                    <a:pt x="619" y="694"/>
                  </a:lnTo>
                  <a:lnTo>
                    <a:pt x="619" y="696"/>
                  </a:lnTo>
                  <a:lnTo>
                    <a:pt x="620" y="697"/>
                  </a:lnTo>
                  <a:lnTo>
                    <a:pt x="619" y="699"/>
                  </a:lnTo>
                  <a:lnTo>
                    <a:pt x="617" y="702"/>
                  </a:lnTo>
                  <a:lnTo>
                    <a:pt x="617" y="704"/>
                  </a:lnTo>
                  <a:lnTo>
                    <a:pt x="619" y="704"/>
                  </a:lnTo>
                  <a:lnTo>
                    <a:pt x="620" y="705"/>
                  </a:lnTo>
                  <a:lnTo>
                    <a:pt x="622" y="704"/>
                  </a:lnTo>
                  <a:lnTo>
                    <a:pt x="622" y="705"/>
                  </a:lnTo>
                  <a:lnTo>
                    <a:pt x="623" y="705"/>
                  </a:lnTo>
                  <a:lnTo>
                    <a:pt x="625" y="707"/>
                  </a:lnTo>
                  <a:lnTo>
                    <a:pt x="626" y="708"/>
                  </a:lnTo>
                  <a:lnTo>
                    <a:pt x="626" y="710"/>
                  </a:lnTo>
                  <a:lnTo>
                    <a:pt x="628" y="710"/>
                  </a:lnTo>
                  <a:lnTo>
                    <a:pt x="629" y="710"/>
                  </a:lnTo>
                  <a:lnTo>
                    <a:pt x="631" y="710"/>
                  </a:lnTo>
                  <a:lnTo>
                    <a:pt x="633" y="710"/>
                  </a:lnTo>
                  <a:lnTo>
                    <a:pt x="634" y="710"/>
                  </a:lnTo>
                  <a:lnTo>
                    <a:pt x="639" y="714"/>
                  </a:lnTo>
                  <a:lnTo>
                    <a:pt x="640" y="716"/>
                  </a:lnTo>
                  <a:lnTo>
                    <a:pt x="642" y="717"/>
                  </a:lnTo>
                  <a:lnTo>
                    <a:pt x="643" y="719"/>
                  </a:lnTo>
                  <a:lnTo>
                    <a:pt x="645" y="722"/>
                  </a:lnTo>
                  <a:lnTo>
                    <a:pt x="643" y="724"/>
                  </a:lnTo>
                  <a:lnTo>
                    <a:pt x="643" y="724"/>
                  </a:lnTo>
                  <a:lnTo>
                    <a:pt x="645" y="724"/>
                  </a:lnTo>
                  <a:lnTo>
                    <a:pt x="645" y="724"/>
                  </a:lnTo>
                  <a:lnTo>
                    <a:pt x="646" y="724"/>
                  </a:lnTo>
                  <a:lnTo>
                    <a:pt x="646" y="724"/>
                  </a:lnTo>
                  <a:lnTo>
                    <a:pt x="648" y="724"/>
                  </a:lnTo>
                  <a:lnTo>
                    <a:pt x="650" y="727"/>
                  </a:lnTo>
                  <a:lnTo>
                    <a:pt x="651" y="727"/>
                  </a:lnTo>
                  <a:lnTo>
                    <a:pt x="654" y="727"/>
                  </a:lnTo>
                  <a:lnTo>
                    <a:pt x="656" y="727"/>
                  </a:lnTo>
                  <a:lnTo>
                    <a:pt x="659" y="724"/>
                  </a:lnTo>
                  <a:lnTo>
                    <a:pt x="662" y="722"/>
                  </a:lnTo>
                  <a:lnTo>
                    <a:pt x="662" y="721"/>
                  </a:lnTo>
                  <a:lnTo>
                    <a:pt x="665" y="719"/>
                  </a:lnTo>
                  <a:lnTo>
                    <a:pt x="670" y="719"/>
                  </a:lnTo>
                  <a:lnTo>
                    <a:pt x="671" y="719"/>
                  </a:lnTo>
                  <a:lnTo>
                    <a:pt x="671" y="721"/>
                  </a:lnTo>
                  <a:lnTo>
                    <a:pt x="671" y="721"/>
                  </a:lnTo>
                  <a:lnTo>
                    <a:pt x="673" y="722"/>
                  </a:lnTo>
                  <a:lnTo>
                    <a:pt x="674" y="725"/>
                  </a:lnTo>
                  <a:lnTo>
                    <a:pt x="677" y="728"/>
                  </a:lnTo>
                  <a:lnTo>
                    <a:pt x="679" y="730"/>
                  </a:lnTo>
                  <a:lnTo>
                    <a:pt x="679" y="731"/>
                  </a:lnTo>
                  <a:lnTo>
                    <a:pt x="680" y="733"/>
                  </a:lnTo>
                  <a:lnTo>
                    <a:pt x="682" y="737"/>
                  </a:lnTo>
                  <a:lnTo>
                    <a:pt x="682" y="739"/>
                  </a:lnTo>
                  <a:lnTo>
                    <a:pt x="682" y="744"/>
                  </a:lnTo>
                  <a:lnTo>
                    <a:pt x="682" y="744"/>
                  </a:lnTo>
                  <a:lnTo>
                    <a:pt x="682" y="744"/>
                  </a:lnTo>
                  <a:lnTo>
                    <a:pt x="683" y="745"/>
                  </a:lnTo>
                  <a:lnTo>
                    <a:pt x="683" y="747"/>
                  </a:lnTo>
                  <a:lnTo>
                    <a:pt x="683" y="747"/>
                  </a:lnTo>
                  <a:lnTo>
                    <a:pt x="685" y="756"/>
                  </a:lnTo>
                  <a:lnTo>
                    <a:pt x="685" y="758"/>
                  </a:lnTo>
                  <a:lnTo>
                    <a:pt x="686" y="761"/>
                  </a:lnTo>
                  <a:lnTo>
                    <a:pt x="688" y="764"/>
                  </a:lnTo>
                  <a:lnTo>
                    <a:pt x="688" y="767"/>
                  </a:lnTo>
                  <a:lnTo>
                    <a:pt x="690" y="768"/>
                  </a:lnTo>
                  <a:lnTo>
                    <a:pt x="690" y="770"/>
                  </a:lnTo>
                  <a:lnTo>
                    <a:pt x="691" y="771"/>
                  </a:lnTo>
                  <a:lnTo>
                    <a:pt x="694" y="773"/>
                  </a:lnTo>
                  <a:lnTo>
                    <a:pt x="696" y="778"/>
                  </a:lnTo>
                  <a:lnTo>
                    <a:pt x="699" y="781"/>
                  </a:lnTo>
                  <a:lnTo>
                    <a:pt x="702" y="790"/>
                  </a:lnTo>
                  <a:lnTo>
                    <a:pt x="702" y="793"/>
                  </a:lnTo>
                  <a:lnTo>
                    <a:pt x="705" y="816"/>
                  </a:lnTo>
                  <a:lnTo>
                    <a:pt x="710" y="825"/>
                  </a:lnTo>
                  <a:lnTo>
                    <a:pt x="710" y="827"/>
                  </a:lnTo>
                  <a:lnTo>
                    <a:pt x="711" y="828"/>
                  </a:lnTo>
                  <a:lnTo>
                    <a:pt x="713" y="828"/>
                  </a:lnTo>
                  <a:lnTo>
                    <a:pt x="714" y="828"/>
                  </a:lnTo>
                  <a:lnTo>
                    <a:pt x="714" y="830"/>
                  </a:lnTo>
                  <a:lnTo>
                    <a:pt x="716" y="833"/>
                  </a:lnTo>
                  <a:lnTo>
                    <a:pt x="716" y="836"/>
                  </a:lnTo>
                  <a:lnTo>
                    <a:pt x="714" y="841"/>
                  </a:lnTo>
                  <a:lnTo>
                    <a:pt x="714" y="844"/>
                  </a:lnTo>
                  <a:lnTo>
                    <a:pt x="713" y="847"/>
                  </a:lnTo>
                  <a:lnTo>
                    <a:pt x="710" y="848"/>
                  </a:lnTo>
                  <a:lnTo>
                    <a:pt x="710" y="848"/>
                  </a:lnTo>
                  <a:lnTo>
                    <a:pt x="708" y="850"/>
                  </a:lnTo>
                  <a:lnTo>
                    <a:pt x="702" y="848"/>
                  </a:lnTo>
                  <a:lnTo>
                    <a:pt x="699" y="848"/>
                  </a:lnTo>
                  <a:lnTo>
                    <a:pt x="696" y="850"/>
                  </a:lnTo>
                  <a:lnTo>
                    <a:pt x="691" y="853"/>
                  </a:lnTo>
                  <a:lnTo>
                    <a:pt x="688" y="855"/>
                  </a:lnTo>
                  <a:lnTo>
                    <a:pt x="686" y="855"/>
                  </a:lnTo>
                  <a:lnTo>
                    <a:pt x="686" y="856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9"/>
                  </a:lnTo>
                  <a:lnTo>
                    <a:pt x="688" y="859"/>
                  </a:lnTo>
                  <a:lnTo>
                    <a:pt x="688" y="861"/>
                  </a:lnTo>
                  <a:lnTo>
                    <a:pt x="690" y="861"/>
                  </a:lnTo>
                  <a:lnTo>
                    <a:pt x="691" y="862"/>
                  </a:lnTo>
                  <a:lnTo>
                    <a:pt x="693" y="865"/>
                  </a:lnTo>
                  <a:lnTo>
                    <a:pt x="693" y="868"/>
                  </a:lnTo>
                  <a:lnTo>
                    <a:pt x="691" y="873"/>
                  </a:lnTo>
                  <a:lnTo>
                    <a:pt x="686" y="884"/>
                  </a:lnTo>
                  <a:lnTo>
                    <a:pt x="685" y="888"/>
                  </a:lnTo>
                  <a:lnTo>
                    <a:pt x="685" y="888"/>
                  </a:lnTo>
                  <a:lnTo>
                    <a:pt x="683" y="890"/>
                  </a:lnTo>
                  <a:lnTo>
                    <a:pt x="683" y="890"/>
                  </a:lnTo>
                  <a:lnTo>
                    <a:pt x="683" y="891"/>
                  </a:lnTo>
                  <a:lnTo>
                    <a:pt x="676" y="893"/>
                  </a:lnTo>
                  <a:lnTo>
                    <a:pt x="673" y="895"/>
                  </a:lnTo>
                  <a:lnTo>
                    <a:pt x="671" y="896"/>
                  </a:lnTo>
                  <a:lnTo>
                    <a:pt x="673" y="899"/>
                  </a:lnTo>
                  <a:lnTo>
                    <a:pt x="673" y="902"/>
                  </a:lnTo>
                  <a:lnTo>
                    <a:pt x="673" y="904"/>
                  </a:lnTo>
                  <a:lnTo>
                    <a:pt x="673" y="905"/>
                  </a:lnTo>
                  <a:lnTo>
                    <a:pt x="671" y="907"/>
                  </a:lnTo>
                  <a:lnTo>
                    <a:pt x="671" y="908"/>
                  </a:lnTo>
                  <a:lnTo>
                    <a:pt x="671" y="910"/>
                  </a:lnTo>
                  <a:lnTo>
                    <a:pt x="674" y="913"/>
                  </a:lnTo>
                  <a:lnTo>
                    <a:pt x="673" y="915"/>
                  </a:lnTo>
                  <a:lnTo>
                    <a:pt x="671" y="916"/>
                  </a:lnTo>
                  <a:lnTo>
                    <a:pt x="673" y="919"/>
                  </a:lnTo>
                  <a:lnTo>
                    <a:pt x="674" y="921"/>
                  </a:lnTo>
                  <a:lnTo>
                    <a:pt x="676" y="922"/>
                  </a:lnTo>
                  <a:lnTo>
                    <a:pt x="677" y="922"/>
                  </a:lnTo>
                  <a:lnTo>
                    <a:pt x="679" y="924"/>
                  </a:lnTo>
                  <a:lnTo>
                    <a:pt x="680" y="924"/>
                  </a:lnTo>
                  <a:lnTo>
                    <a:pt x="694" y="924"/>
                  </a:lnTo>
                  <a:lnTo>
                    <a:pt x="699" y="925"/>
                  </a:lnTo>
                  <a:lnTo>
                    <a:pt x="700" y="924"/>
                  </a:lnTo>
                  <a:lnTo>
                    <a:pt x="703" y="924"/>
                  </a:lnTo>
                  <a:lnTo>
                    <a:pt x="705" y="924"/>
                  </a:lnTo>
                  <a:lnTo>
                    <a:pt x="705" y="922"/>
                  </a:lnTo>
                  <a:lnTo>
                    <a:pt x="706" y="921"/>
                  </a:lnTo>
                  <a:lnTo>
                    <a:pt x="706" y="919"/>
                  </a:lnTo>
                  <a:lnTo>
                    <a:pt x="708" y="918"/>
                  </a:lnTo>
                  <a:lnTo>
                    <a:pt x="710" y="907"/>
                  </a:lnTo>
                  <a:lnTo>
                    <a:pt x="711" y="904"/>
                  </a:lnTo>
                  <a:lnTo>
                    <a:pt x="722" y="891"/>
                  </a:lnTo>
                  <a:lnTo>
                    <a:pt x="723" y="888"/>
                  </a:lnTo>
                  <a:lnTo>
                    <a:pt x="731" y="885"/>
                  </a:lnTo>
                  <a:lnTo>
                    <a:pt x="734" y="885"/>
                  </a:lnTo>
                  <a:lnTo>
                    <a:pt x="736" y="882"/>
                  </a:lnTo>
                  <a:lnTo>
                    <a:pt x="737" y="882"/>
                  </a:lnTo>
                  <a:lnTo>
                    <a:pt x="737" y="881"/>
                  </a:lnTo>
                  <a:lnTo>
                    <a:pt x="740" y="878"/>
                  </a:lnTo>
                  <a:lnTo>
                    <a:pt x="742" y="878"/>
                  </a:lnTo>
                  <a:lnTo>
                    <a:pt x="742" y="870"/>
                  </a:lnTo>
                  <a:lnTo>
                    <a:pt x="742" y="867"/>
                  </a:lnTo>
                  <a:lnTo>
                    <a:pt x="740" y="861"/>
                  </a:lnTo>
                  <a:lnTo>
                    <a:pt x="740" y="855"/>
                  </a:lnTo>
                  <a:lnTo>
                    <a:pt x="740" y="853"/>
                  </a:lnTo>
                  <a:lnTo>
                    <a:pt x="739" y="851"/>
                  </a:lnTo>
                  <a:lnTo>
                    <a:pt x="739" y="851"/>
                  </a:lnTo>
                  <a:lnTo>
                    <a:pt x="739" y="848"/>
                  </a:lnTo>
                  <a:lnTo>
                    <a:pt x="740" y="847"/>
                  </a:lnTo>
                  <a:lnTo>
                    <a:pt x="740" y="845"/>
                  </a:lnTo>
                  <a:lnTo>
                    <a:pt x="742" y="844"/>
                  </a:lnTo>
                  <a:lnTo>
                    <a:pt x="742" y="842"/>
                  </a:lnTo>
                  <a:lnTo>
                    <a:pt x="745" y="841"/>
                  </a:lnTo>
                  <a:lnTo>
                    <a:pt x="748" y="838"/>
                  </a:lnTo>
                  <a:lnTo>
                    <a:pt x="750" y="838"/>
                  </a:lnTo>
                  <a:lnTo>
                    <a:pt x="750" y="836"/>
                  </a:lnTo>
                  <a:lnTo>
                    <a:pt x="753" y="834"/>
                  </a:lnTo>
                  <a:lnTo>
                    <a:pt x="762" y="830"/>
                  </a:lnTo>
                  <a:lnTo>
                    <a:pt x="768" y="828"/>
                  </a:lnTo>
                  <a:lnTo>
                    <a:pt x="770" y="828"/>
                  </a:lnTo>
                  <a:lnTo>
                    <a:pt x="771" y="828"/>
                  </a:lnTo>
                  <a:lnTo>
                    <a:pt x="773" y="830"/>
                  </a:lnTo>
                  <a:lnTo>
                    <a:pt x="774" y="831"/>
                  </a:lnTo>
                  <a:lnTo>
                    <a:pt x="776" y="831"/>
                  </a:lnTo>
                  <a:lnTo>
                    <a:pt x="779" y="830"/>
                  </a:lnTo>
                  <a:lnTo>
                    <a:pt x="780" y="830"/>
                  </a:lnTo>
                  <a:lnTo>
                    <a:pt x="780" y="833"/>
                  </a:lnTo>
                  <a:lnTo>
                    <a:pt x="782" y="830"/>
                  </a:lnTo>
                  <a:lnTo>
                    <a:pt x="783" y="830"/>
                  </a:lnTo>
                  <a:lnTo>
                    <a:pt x="783" y="830"/>
                  </a:lnTo>
                  <a:lnTo>
                    <a:pt x="783" y="828"/>
                  </a:lnTo>
                  <a:lnTo>
                    <a:pt x="787" y="827"/>
                  </a:lnTo>
                  <a:lnTo>
                    <a:pt x="787" y="825"/>
                  </a:lnTo>
                  <a:lnTo>
                    <a:pt x="787" y="822"/>
                  </a:lnTo>
                  <a:lnTo>
                    <a:pt x="787" y="822"/>
                  </a:lnTo>
                  <a:lnTo>
                    <a:pt x="787" y="821"/>
                  </a:lnTo>
                  <a:lnTo>
                    <a:pt x="788" y="821"/>
                  </a:lnTo>
                  <a:lnTo>
                    <a:pt x="788" y="819"/>
                  </a:lnTo>
                  <a:lnTo>
                    <a:pt x="785" y="819"/>
                  </a:lnTo>
                  <a:lnTo>
                    <a:pt x="785" y="819"/>
                  </a:lnTo>
                  <a:lnTo>
                    <a:pt x="783" y="818"/>
                  </a:lnTo>
                  <a:lnTo>
                    <a:pt x="782" y="814"/>
                  </a:lnTo>
                  <a:lnTo>
                    <a:pt x="782" y="811"/>
                  </a:lnTo>
                  <a:lnTo>
                    <a:pt x="783" y="805"/>
                  </a:lnTo>
                  <a:lnTo>
                    <a:pt x="783" y="802"/>
                  </a:lnTo>
                  <a:lnTo>
                    <a:pt x="783" y="802"/>
                  </a:lnTo>
                  <a:lnTo>
                    <a:pt x="782" y="799"/>
                  </a:lnTo>
                  <a:lnTo>
                    <a:pt x="782" y="798"/>
                  </a:lnTo>
                  <a:lnTo>
                    <a:pt x="782" y="798"/>
                  </a:lnTo>
                  <a:lnTo>
                    <a:pt x="782" y="796"/>
                  </a:lnTo>
                  <a:lnTo>
                    <a:pt x="782" y="790"/>
                  </a:lnTo>
                  <a:lnTo>
                    <a:pt x="785" y="784"/>
                  </a:lnTo>
                  <a:lnTo>
                    <a:pt x="782" y="784"/>
                  </a:lnTo>
                  <a:lnTo>
                    <a:pt x="780" y="782"/>
                  </a:lnTo>
                  <a:lnTo>
                    <a:pt x="777" y="781"/>
                  </a:lnTo>
                  <a:lnTo>
                    <a:pt x="776" y="779"/>
                  </a:lnTo>
                  <a:lnTo>
                    <a:pt x="774" y="778"/>
                  </a:lnTo>
                  <a:lnTo>
                    <a:pt x="774" y="776"/>
                  </a:lnTo>
                  <a:lnTo>
                    <a:pt x="773" y="776"/>
                  </a:lnTo>
                  <a:lnTo>
                    <a:pt x="771" y="776"/>
                  </a:lnTo>
                  <a:lnTo>
                    <a:pt x="770" y="774"/>
                  </a:lnTo>
                  <a:lnTo>
                    <a:pt x="767" y="771"/>
                  </a:lnTo>
                  <a:lnTo>
                    <a:pt x="762" y="770"/>
                  </a:lnTo>
                  <a:lnTo>
                    <a:pt x="760" y="768"/>
                  </a:lnTo>
                  <a:lnTo>
                    <a:pt x="760" y="768"/>
                  </a:lnTo>
                  <a:lnTo>
                    <a:pt x="759" y="767"/>
                  </a:lnTo>
                  <a:lnTo>
                    <a:pt x="759" y="765"/>
                  </a:lnTo>
                  <a:lnTo>
                    <a:pt x="757" y="764"/>
                  </a:lnTo>
                  <a:lnTo>
                    <a:pt x="754" y="764"/>
                  </a:lnTo>
                  <a:lnTo>
                    <a:pt x="745" y="762"/>
                  </a:lnTo>
                  <a:lnTo>
                    <a:pt x="743" y="762"/>
                  </a:lnTo>
                  <a:lnTo>
                    <a:pt x="739" y="759"/>
                  </a:lnTo>
                  <a:lnTo>
                    <a:pt x="737" y="756"/>
                  </a:lnTo>
                  <a:lnTo>
                    <a:pt x="739" y="754"/>
                  </a:lnTo>
                  <a:lnTo>
                    <a:pt x="739" y="753"/>
                  </a:lnTo>
                  <a:lnTo>
                    <a:pt x="736" y="751"/>
                  </a:lnTo>
                  <a:lnTo>
                    <a:pt x="736" y="748"/>
                  </a:lnTo>
                  <a:lnTo>
                    <a:pt x="736" y="745"/>
                  </a:lnTo>
                  <a:lnTo>
                    <a:pt x="737" y="742"/>
                  </a:lnTo>
                  <a:lnTo>
                    <a:pt x="739" y="737"/>
                  </a:lnTo>
                  <a:lnTo>
                    <a:pt x="742" y="734"/>
                  </a:lnTo>
                  <a:lnTo>
                    <a:pt x="743" y="733"/>
                  </a:lnTo>
                  <a:lnTo>
                    <a:pt x="745" y="731"/>
                  </a:lnTo>
                  <a:lnTo>
                    <a:pt x="747" y="730"/>
                  </a:lnTo>
                  <a:lnTo>
                    <a:pt x="745" y="727"/>
                  </a:lnTo>
                  <a:lnTo>
                    <a:pt x="743" y="724"/>
                  </a:lnTo>
                  <a:lnTo>
                    <a:pt x="743" y="722"/>
                  </a:lnTo>
                  <a:lnTo>
                    <a:pt x="743" y="719"/>
                  </a:lnTo>
                  <a:lnTo>
                    <a:pt x="745" y="716"/>
                  </a:lnTo>
                  <a:lnTo>
                    <a:pt x="747" y="714"/>
                  </a:lnTo>
                  <a:lnTo>
                    <a:pt x="750" y="713"/>
                  </a:lnTo>
                  <a:lnTo>
                    <a:pt x="753" y="708"/>
                  </a:lnTo>
                  <a:lnTo>
                    <a:pt x="753" y="707"/>
                  </a:lnTo>
                  <a:lnTo>
                    <a:pt x="754" y="707"/>
                  </a:lnTo>
                  <a:lnTo>
                    <a:pt x="756" y="701"/>
                  </a:lnTo>
                  <a:lnTo>
                    <a:pt x="757" y="697"/>
                  </a:lnTo>
                  <a:lnTo>
                    <a:pt x="763" y="688"/>
                  </a:lnTo>
                  <a:lnTo>
                    <a:pt x="767" y="684"/>
                  </a:lnTo>
                  <a:lnTo>
                    <a:pt x="771" y="679"/>
                  </a:lnTo>
                  <a:lnTo>
                    <a:pt x="777" y="676"/>
                  </a:lnTo>
                  <a:lnTo>
                    <a:pt x="782" y="676"/>
                  </a:lnTo>
                  <a:lnTo>
                    <a:pt x="783" y="677"/>
                  </a:lnTo>
                  <a:lnTo>
                    <a:pt x="785" y="677"/>
                  </a:lnTo>
                  <a:lnTo>
                    <a:pt x="785" y="677"/>
                  </a:lnTo>
                  <a:lnTo>
                    <a:pt x="787" y="677"/>
                  </a:lnTo>
                  <a:lnTo>
                    <a:pt x="787" y="679"/>
                  </a:lnTo>
                  <a:lnTo>
                    <a:pt x="787" y="679"/>
                  </a:lnTo>
                  <a:lnTo>
                    <a:pt x="788" y="681"/>
                  </a:lnTo>
                  <a:lnTo>
                    <a:pt x="790" y="679"/>
                  </a:lnTo>
                  <a:lnTo>
                    <a:pt x="790" y="679"/>
                  </a:lnTo>
                  <a:lnTo>
                    <a:pt x="791" y="677"/>
                  </a:lnTo>
                  <a:lnTo>
                    <a:pt x="793" y="679"/>
                  </a:lnTo>
                  <a:lnTo>
                    <a:pt x="793" y="679"/>
                  </a:lnTo>
                  <a:lnTo>
                    <a:pt x="793" y="679"/>
                  </a:lnTo>
                  <a:lnTo>
                    <a:pt x="796" y="677"/>
                  </a:lnTo>
                  <a:lnTo>
                    <a:pt x="797" y="679"/>
                  </a:lnTo>
                  <a:lnTo>
                    <a:pt x="797" y="681"/>
                  </a:lnTo>
                  <a:lnTo>
                    <a:pt x="796" y="681"/>
                  </a:lnTo>
                  <a:lnTo>
                    <a:pt x="791" y="681"/>
                  </a:lnTo>
                  <a:lnTo>
                    <a:pt x="790" y="681"/>
                  </a:lnTo>
                  <a:lnTo>
                    <a:pt x="791" y="682"/>
                  </a:lnTo>
                  <a:lnTo>
                    <a:pt x="791" y="684"/>
                  </a:lnTo>
                  <a:lnTo>
                    <a:pt x="790" y="685"/>
                  </a:lnTo>
                  <a:lnTo>
                    <a:pt x="788" y="685"/>
                  </a:lnTo>
                  <a:lnTo>
                    <a:pt x="790" y="687"/>
                  </a:lnTo>
                  <a:lnTo>
                    <a:pt x="791" y="688"/>
                  </a:lnTo>
                  <a:lnTo>
                    <a:pt x="796" y="690"/>
                  </a:lnTo>
                  <a:lnTo>
                    <a:pt x="799" y="693"/>
                  </a:lnTo>
                  <a:lnTo>
                    <a:pt x="800" y="693"/>
                  </a:lnTo>
                  <a:lnTo>
                    <a:pt x="800" y="693"/>
                  </a:lnTo>
                  <a:lnTo>
                    <a:pt x="802" y="694"/>
                  </a:lnTo>
                  <a:lnTo>
                    <a:pt x="804" y="694"/>
                  </a:lnTo>
                  <a:lnTo>
                    <a:pt x="804" y="694"/>
                  </a:lnTo>
                  <a:lnTo>
                    <a:pt x="805" y="694"/>
                  </a:lnTo>
                  <a:lnTo>
                    <a:pt x="807" y="694"/>
                  </a:lnTo>
                  <a:lnTo>
                    <a:pt x="810" y="697"/>
                  </a:lnTo>
                  <a:lnTo>
                    <a:pt x="811" y="697"/>
                  </a:lnTo>
                  <a:lnTo>
                    <a:pt x="836" y="699"/>
                  </a:lnTo>
                  <a:lnTo>
                    <a:pt x="837" y="699"/>
                  </a:lnTo>
                  <a:lnTo>
                    <a:pt x="840" y="702"/>
                  </a:lnTo>
                  <a:lnTo>
                    <a:pt x="840" y="702"/>
                  </a:lnTo>
                  <a:lnTo>
                    <a:pt x="840" y="702"/>
                  </a:lnTo>
                  <a:lnTo>
                    <a:pt x="840" y="704"/>
                  </a:lnTo>
                  <a:lnTo>
                    <a:pt x="842" y="705"/>
                  </a:lnTo>
                  <a:lnTo>
                    <a:pt x="842" y="707"/>
                  </a:lnTo>
                  <a:lnTo>
                    <a:pt x="842" y="708"/>
                  </a:lnTo>
                  <a:lnTo>
                    <a:pt x="842" y="710"/>
                  </a:lnTo>
                  <a:lnTo>
                    <a:pt x="844" y="711"/>
                  </a:lnTo>
                  <a:lnTo>
                    <a:pt x="845" y="713"/>
                  </a:lnTo>
                  <a:lnTo>
                    <a:pt x="848" y="714"/>
                  </a:lnTo>
                  <a:lnTo>
                    <a:pt x="848" y="717"/>
                  </a:lnTo>
                  <a:lnTo>
                    <a:pt x="848" y="719"/>
                  </a:lnTo>
                  <a:lnTo>
                    <a:pt x="845" y="721"/>
                  </a:lnTo>
                  <a:lnTo>
                    <a:pt x="847" y="722"/>
                  </a:lnTo>
                  <a:lnTo>
                    <a:pt x="848" y="722"/>
                  </a:lnTo>
                  <a:lnTo>
                    <a:pt x="848" y="724"/>
                  </a:lnTo>
                  <a:lnTo>
                    <a:pt x="850" y="725"/>
                  </a:lnTo>
                  <a:lnTo>
                    <a:pt x="850" y="725"/>
                  </a:lnTo>
                  <a:lnTo>
                    <a:pt x="848" y="727"/>
                  </a:lnTo>
                  <a:lnTo>
                    <a:pt x="847" y="727"/>
                  </a:lnTo>
                  <a:lnTo>
                    <a:pt x="847" y="727"/>
                  </a:lnTo>
                  <a:lnTo>
                    <a:pt x="848" y="728"/>
                  </a:lnTo>
                  <a:lnTo>
                    <a:pt x="853" y="736"/>
                  </a:lnTo>
                  <a:lnTo>
                    <a:pt x="854" y="736"/>
                  </a:lnTo>
                  <a:lnTo>
                    <a:pt x="854" y="736"/>
                  </a:lnTo>
                  <a:lnTo>
                    <a:pt x="857" y="737"/>
                  </a:lnTo>
                  <a:lnTo>
                    <a:pt x="861" y="741"/>
                  </a:lnTo>
                  <a:lnTo>
                    <a:pt x="862" y="741"/>
                  </a:lnTo>
                  <a:lnTo>
                    <a:pt x="864" y="742"/>
                  </a:lnTo>
                  <a:lnTo>
                    <a:pt x="865" y="742"/>
                  </a:lnTo>
                  <a:lnTo>
                    <a:pt x="868" y="742"/>
                  </a:lnTo>
                  <a:lnTo>
                    <a:pt x="868" y="742"/>
                  </a:lnTo>
                  <a:lnTo>
                    <a:pt x="873" y="745"/>
                  </a:lnTo>
                  <a:lnTo>
                    <a:pt x="873" y="745"/>
                  </a:lnTo>
                  <a:lnTo>
                    <a:pt x="873" y="747"/>
                  </a:lnTo>
                  <a:lnTo>
                    <a:pt x="874" y="747"/>
                  </a:lnTo>
                  <a:lnTo>
                    <a:pt x="876" y="747"/>
                  </a:lnTo>
                  <a:lnTo>
                    <a:pt x="876" y="745"/>
                  </a:lnTo>
                  <a:lnTo>
                    <a:pt x="876" y="744"/>
                  </a:lnTo>
                  <a:lnTo>
                    <a:pt x="876" y="744"/>
                  </a:lnTo>
                  <a:lnTo>
                    <a:pt x="877" y="739"/>
                  </a:lnTo>
                  <a:lnTo>
                    <a:pt x="877" y="737"/>
                  </a:lnTo>
                  <a:lnTo>
                    <a:pt x="877" y="734"/>
                  </a:lnTo>
                  <a:lnTo>
                    <a:pt x="877" y="734"/>
                  </a:lnTo>
                  <a:lnTo>
                    <a:pt x="877" y="731"/>
                  </a:lnTo>
                  <a:lnTo>
                    <a:pt x="877" y="730"/>
                  </a:lnTo>
                  <a:lnTo>
                    <a:pt x="879" y="728"/>
                  </a:lnTo>
                  <a:lnTo>
                    <a:pt x="881" y="725"/>
                  </a:lnTo>
                  <a:lnTo>
                    <a:pt x="882" y="722"/>
                  </a:lnTo>
                  <a:lnTo>
                    <a:pt x="884" y="721"/>
                  </a:lnTo>
                  <a:lnTo>
                    <a:pt x="884" y="719"/>
                  </a:lnTo>
                  <a:lnTo>
                    <a:pt x="885" y="717"/>
                  </a:lnTo>
                  <a:lnTo>
                    <a:pt x="887" y="716"/>
                  </a:lnTo>
                  <a:lnTo>
                    <a:pt x="887" y="716"/>
                  </a:lnTo>
                  <a:lnTo>
                    <a:pt x="887" y="714"/>
                  </a:lnTo>
                  <a:close/>
                  <a:moveTo>
                    <a:pt x="437" y="334"/>
                  </a:moveTo>
                  <a:lnTo>
                    <a:pt x="437" y="334"/>
                  </a:lnTo>
                  <a:lnTo>
                    <a:pt x="437" y="334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5" y="339"/>
                  </a:lnTo>
                  <a:lnTo>
                    <a:pt x="432" y="339"/>
                  </a:lnTo>
                  <a:lnTo>
                    <a:pt x="431" y="337"/>
                  </a:lnTo>
                  <a:lnTo>
                    <a:pt x="429" y="336"/>
                  </a:lnTo>
                  <a:lnTo>
                    <a:pt x="431" y="332"/>
                  </a:lnTo>
                  <a:lnTo>
                    <a:pt x="432" y="331"/>
                  </a:lnTo>
                  <a:lnTo>
                    <a:pt x="432" y="331"/>
                  </a:lnTo>
                  <a:lnTo>
                    <a:pt x="435" y="329"/>
                  </a:lnTo>
                  <a:lnTo>
                    <a:pt x="437" y="329"/>
                  </a:lnTo>
                  <a:lnTo>
                    <a:pt x="437" y="329"/>
                  </a:lnTo>
                  <a:lnTo>
                    <a:pt x="437" y="332"/>
                  </a:lnTo>
                  <a:lnTo>
                    <a:pt x="437" y="334"/>
                  </a:lnTo>
                  <a:close/>
                  <a:moveTo>
                    <a:pt x="428" y="177"/>
                  </a:move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6" y="175"/>
                  </a:lnTo>
                  <a:lnTo>
                    <a:pt x="425" y="177"/>
                  </a:lnTo>
                  <a:lnTo>
                    <a:pt x="425" y="179"/>
                  </a:lnTo>
                  <a:lnTo>
                    <a:pt x="426" y="179"/>
                  </a:lnTo>
                  <a:lnTo>
                    <a:pt x="428" y="177"/>
                  </a:lnTo>
                  <a:close/>
                  <a:moveTo>
                    <a:pt x="429" y="179"/>
                  </a:moveTo>
                  <a:lnTo>
                    <a:pt x="431" y="179"/>
                  </a:lnTo>
                  <a:lnTo>
                    <a:pt x="432" y="179"/>
                  </a:lnTo>
                  <a:lnTo>
                    <a:pt x="432" y="180"/>
                  </a:lnTo>
                  <a:lnTo>
                    <a:pt x="431" y="179"/>
                  </a:lnTo>
                  <a:lnTo>
                    <a:pt x="429" y="177"/>
                  </a:lnTo>
                  <a:lnTo>
                    <a:pt x="429" y="179"/>
                  </a:lnTo>
                  <a:lnTo>
                    <a:pt x="428" y="180"/>
                  </a:lnTo>
                  <a:lnTo>
                    <a:pt x="426" y="185"/>
                  </a:lnTo>
                  <a:lnTo>
                    <a:pt x="425" y="186"/>
                  </a:lnTo>
                  <a:lnTo>
                    <a:pt x="425" y="186"/>
                  </a:lnTo>
                  <a:lnTo>
                    <a:pt x="429" y="179"/>
                  </a:lnTo>
                  <a:close/>
                  <a:moveTo>
                    <a:pt x="614" y="867"/>
                  </a:moveTo>
                  <a:lnTo>
                    <a:pt x="614" y="865"/>
                  </a:lnTo>
                  <a:lnTo>
                    <a:pt x="614" y="865"/>
                  </a:lnTo>
                  <a:lnTo>
                    <a:pt x="614" y="864"/>
                  </a:lnTo>
                  <a:lnTo>
                    <a:pt x="616" y="864"/>
                  </a:lnTo>
                  <a:lnTo>
                    <a:pt x="614" y="862"/>
                  </a:lnTo>
                  <a:lnTo>
                    <a:pt x="613" y="862"/>
                  </a:lnTo>
                  <a:lnTo>
                    <a:pt x="611" y="862"/>
                  </a:lnTo>
                  <a:lnTo>
                    <a:pt x="609" y="864"/>
                  </a:lnTo>
                  <a:lnTo>
                    <a:pt x="611" y="865"/>
                  </a:lnTo>
                  <a:lnTo>
                    <a:pt x="614" y="867"/>
                  </a:lnTo>
                  <a:close/>
                  <a:moveTo>
                    <a:pt x="506" y="648"/>
                  </a:moveTo>
                  <a:lnTo>
                    <a:pt x="506" y="650"/>
                  </a:lnTo>
                  <a:lnTo>
                    <a:pt x="506" y="650"/>
                  </a:lnTo>
                  <a:lnTo>
                    <a:pt x="508" y="650"/>
                  </a:lnTo>
                  <a:lnTo>
                    <a:pt x="508" y="648"/>
                  </a:lnTo>
                  <a:lnTo>
                    <a:pt x="506" y="648"/>
                  </a:lnTo>
                  <a:close/>
                  <a:moveTo>
                    <a:pt x="489" y="851"/>
                  </a:moveTo>
                  <a:lnTo>
                    <a:pt x="491" y="850"/>
                  </a:lnTo>
                  <a:lnTo>
                    <a:pt x="489" y="850"/>
                  </a:lnTo>
                  <a:lnTo>
                    <a:pt x="489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6" y="851"/>
                  </a:lnTo>
                  <a:lnTo>
                    <a:pt x="486" y="851"/>
                  </a:lnTo>
                  <a:lnTo>
                    <a:pt x="488" y="851"/>
                  </a:lnTo>
                  <a:lnTo>
                    <a:pt x="489" y="851"/>
                  </a:lnTo>
                  <a:close/>
                  <a:moveTo>
                    <a:pt x="593" y="865"/>
                  </a:moveTo>
                  <a:lnTo>
                    <a:pt x="594" y="865"/>
                  </a:lnTo>
                  <a:lnTo>
                    <a:pt x="594" y="864"/>
                  </a:lnTo>
                  <a:lnTo>
                    <a:pt x="593" y="864"/>
                  </a:lnTo>
                  <a:lnTo>
                    <a:pt x="593" y="864"/>
                  </a:lnTo>
                  <a:lnTo>
                    <a:pt x="593" y="862"/>
                  </a:lnTo>
                  <a:lnTo>
                    <a:pt x="591" y="862"/>
                  </a:lnTo>
                  <a:lnTo>
                    <a:pt x="591" y="862"/>
                  </a:lnTo>
                  <a:lnTo>
                    <a:pt x="591" y="864"/>
                  </a:lnTo>
                  <a:lnTo>
                    <a:pt x="591" y="864"/>
                  </a:lnTo>
                  <a:lnTo>
                    <a:pt x="593" y="865"/>
                  </a:lnTo>
                  <a:close/>
                  <a:moveTo>
                    <a:pt x="666" y="896"/>
                  </a:moveTo>
                  <a:lnTo>
                    <a:pt x="668" y="895"/>
                  </a:lnTo>
                  <a:lnTo>
                    <a:pt x="671" y="893"/>
                  </a:lnTo>
                  <a:lnTo>
                    <a:pt x="671" y="893"/>
                  </a:lnTo>
                  <a:lnTo>
                    <a:pt x="673" y="893"/>
                  </a:lnTo>
                  <a:lnTo>
                    <a:pt x="673" y="893"/>
                  </a:lnTo>
                  <a:lnTo>
                    <a:pt x="673" y="891"/>
                  </a:lnTo>
                  <a:lnTo>
                    <a:pt x="670" y="891"/>
                  </a:lnTo>
                  <a:lnTo>
                    <a:pt x="666" y="888"/>
                  </a:lnTo>
                  <a:lnTo>
                    <a:pt x="663" y="888"/>
                  </a:lnTo>
                  <a:lnTo>
                    <a:pt x="662" y="890"/>
                  </a:lnTo>
                  <a:lnTo>
                    <a:pt x="660" y="891"/>
                  </a:lnTo>
                  <a:lnTo>
                    <a:pt x="657" y="893"/>
                  </a:lnTo>
                  <a:lnTo>
                    <a:pt x="656" y="895"/>
                  </a:lnTo>
                  <a:lnTo>
                    <a:pt x="654" y="896"/>
                  </a:lnTo>
                  <a:lnTo>
                    <a:pt x="648" y="898"/>
                  </a:lnTo>
                  <a:lnTo>
                    <a:pt x="646" y="898"/>
                  </a:lnTo>
                  <a:lnTo>
                    <a:pt x="645" y="898"/>
                  </a:lnTo>
                  <a:lnTo>
                    <a:pt x="643" y="898"/>
                  </a:lnTo>
                  <a:lnTo>
                    <a:pt x="643" y="898"/>
                  </a:lnTo>
                  <a:lnTo>
                    <a:pt x="642" y="896"/>
                  </a:lnTo>
                  <a:lnTo>
                    <a:pt x="643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5"/>
                  </a:lnTo>
                  <a:lnTo>
                    <a:pt x="642" y="895"/>
                  </a:lnTo>
                  <a:lnTo>
                    <a:pt x="642" y="895"/>
                  </a:lnTo>
                  <a:lnTo>
                    <a:pt x="639" y="901"/>
                  </a:lnTo>
                  <a:lnTo>
                    <a:pt x="637" y="902"/>
                  </a:lnTo>
                  <a:lnTo>
                    <a:pt x="634" y="904"/>
                  </a:lnTo>
                  <a:lnTo>
                    <a:pt x="633" y="905"/>
                  </a:lnTo>
                  <a:lnTo>
                    <a:pt x="631" y="905"/>
                  </a:lnTo>
                  <a:lnTo>
                    <a:pt x="629" y="905"/>
                  </a:lnTo>
                  <a:lnTo>
                    <a:pt x="629" y="905"/>
                  </a:lnTo>
                  <a:lnTo>
                    <a:pt x="628" y="904"/>
                  </a:lnTo>
                  <a:lnTo>
                    <a:pt x="628" y="904"/>
                  </a:lnTo>
                  <a:lnTo>
                    <a:pt x="628" y="902"/>
                  </a:lnTo>
                  <a:lnTo>
                    <a:pt x="625" y="904"/>
                  </a:lnTo>
                  <a:lnTo>
                    <a:pt x="623" y="902"/>
                  </a:lnTo>
                  <a:lnTo>
                    <a:pt x="622" y="902"/>
                  </a:lnTo>
                  <a:lnTo>
                    <a:pt x="622" y="902"/>
                  </a:lnTo>
                  <a:lnTo>
                    <a:pt x="620" y="901"/>
                  </a:lnTo>
                  <a:lnTo>
                    <a:pt x="620" y="899"/>
                  </a:lnTo>
                  <a:lnTo>
                    <a:pt x="617" y="899"/>
                  </a:lnTo>
                  <a:lnTo>
                    <a:pt x="617" y="899"/>
                  </a:lnTo>
                  <a:lnTo>
                    <a:pt x="616" y="901"/>
                  </a:lnTo>
                  <a:lnTo>
                    <a:pt x="616" y="901"/>
                  </a:lnTo>
                  <a:lnTo>
                    <a:pt x="609" y="902"/>
                  </a:lnTo>
                  <a:lnTo>
                    <a:pt x="608" y="902"/>
                  </a:lnTo>
                  <a:lnTo>
                    <a:pt x="605" y="902"/>
                  </a:lnTo>
                  <a:lnTo>
                    <a:pt x="605" y="902"/>
                  </a:lnTo>
                  <a:lnTo>
                    <a:pt x="602" y="905"/>
                  </a:lnTo>
                  <a:lnTo>
                    <a:pt x="600" y="908"/>
                  </a:lnTo>
                  <a:lnTo>
                    <a:pt x="597" y="910"/>
                  </a:lnTo>
                  <a:lnTo>
                    <a:pt x="588" y="913"/>
                  </a:lnTo>
                  <a:lnTo>
                    <a:pt x="585" y="915"/>
                  </a:lnTo>
                  <a:lnTo>
                    <a:pt x="582" y="913"/>
                  </a:lnTo>
                  <a:lnTo>
                    <a:pt x="579" y="915"/>
                  </a:lnTo>
                  <a:lnTo>
                    <a:pt x="574" y="916"/>
                  </a:lnTo>
                  <a:lnTo>
                    <a:pt x="571" y="916"/>
                  </a:lnTo>
                  <a:lnTo>
                    <a:pt x="562" y="915"/>
                  </a:lnTo>
                  <a:lnTo>
                    <a:pt x="559" y="915"/>
                  </a:lnTo>
                  <a:lnTo>
                    <a:pt x="557" y="916"/>
                  </a:lnTo>
                  <a:lnTo>
                    <a:pt x="556" y="915"/>
                  </a:lnTo>
                  <a:lnTo>
                    <a:pt x="554" y="915"/>
                  </a:lnTo>
                  <a:lnTo>
                    <a:pt x="551" y="913"/>
                  </a:lnTo>
                  <a:lnTo>
                    <a:pt x="551" y="915"/>
                  </a:lnTo>
                  <a:lnTo>
                    <a:pt x="545" y="915"/>
                  </a:lnTo>
                  <a:lnTo>
                    <a:pt x="545" y="916"/>
                  </a:lnTo>
                  <a:lnTo>
                    <a:pt x="543" y="916"/>
                  </a:lnTo>
                  <a:lnTo>
                    <a:pt x="542" y="918"/>
                  </a:lnTo>
                  <a:lnTo>
                    <a:pt x="539" y="918"/>
                  </a:lnTo>
                  <a:lnTo>
                    <a:pt x="536" y="919"/>
                  </a:lnTo>
                  <a:lnTo>
                    <a:pt x="534" y="919"/>
                  </a:lnTo>
                  <a:lnTo>
                    <a:pt x="529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8"/>
                  </a:lnTo>
                  <a:lnTo>
                    <a:pt x="523" y="918"/>
                  </a:lnTo>
                  <a:lnTo>
                    <a:pt x="522" y="916"/>
                  </a:lnTo>
                  <a:lnTo>
                    <a:pt x="519" y="913"/>
                  </a:lnTo>
                  <a:lnTo>
                    <a:pt x="517" y="913"/>
                  </a:lnTo>
                  <a:lnTo>
                    <a:pt x="516" y="911"/>
                  </a:lnTo>
                  <a:lnTo>
                    <a:pt x="516" y="911"/>
                  </a:lnTo>
                  <a:lnTo>
                    <a:pt x="516" y="910"/>
                  </a:lnTo>
                  <a:lnTo>
                    <a:pt x="516" y="908"/>
                  </a:lnTo>
                  <a:lnTo>
                    <a:pt x="514" y="907"/>
                  </a:lnTo>
                  <a:lnTo>
                    <a:pt x="505" y="908"/>
                  </a:lnTo>
                  <a:lnTo>
                    <a:pt x="503" y="905"/>
                  </a:lnTo>
                  <a:lnTo>
                    <a:pt x="503" y="904"/>
                  </a:lnTo>
                  <a:lnTo>
                    <a:pt x="503" y="901"/>
                  </a:lnTo>
                  <a:lnTo>
                    <a:pt x="503" y="901"/>
                  </a:lnTo>
                  <a:lnTo>
                    <a:pt x="500" y="899"/>
                  </a:lnTo>
                  <a:lnTo>
                    <a:pt x="500" y="898"/>
                  </a:lnTo>
                  <a:lnTo>
                    <a:pt x="500" y="898"/>
                  </a:lnTo>
                  <a:lnTo>
                    <a:pt x="500" y="898"/>
                  </a:lnTo>
                  <a:lnTo>
                    <a:pt x="499" y="896"/>
                  </a:lnTo>
                  <a:lnTo>
                    <a:pt x="499" y="896"/>
                  </a:lnTo>
                  <a:lnTo>
                    <a:pt x="497" y="898"/>
                  </a:lnTo>
                  <a:lnTo>
                    <a:pt x="495" y="898"/>
                  </a:lnTo>
                  <a:lnTo>
                    <a:pt x="495" y="898"/>
                  </a:lnTo>
                  <a:lnTo>
                    <a:pt x="494" y="898"/>
                  </a:lnTo>
                  <a:lnTo>
                    <a:pt x="494" y="898"/>
                  </a:lnTo>
                  <a:lnTo>
                    <a:pt x="492" y="901"/>
                  </a:lnTo>
                  <a:lnTo>
                    <a:pt x="491" y="901"/>
                  </a:lnTo>
                  <a:lnTo>
                    <a:pt x="489" y="901"/>
                  </a:lnTo>
                  <a:lnTo>
                    <a:pt x="488" y="901"/>
                  </a:lnTo>
                  <a:lnTo>
                    <a:pt x="485" y="899"/>
                  </a:lnTo>
                  <a:lnTo>
                    <a:pt x="483" y="899"/>
                  </a:lnTo>
                  <a:lnTo>
                    <a:pt x="483" y="899"/>
                  </a:lnTo>
                  <a:lnTo>
                    <a:pt x="482" y="901"/>
                  </a:lnTo>
                  <a:lnTo>
                    <a:pt x="482" y="901"/>
                  </a:lnTo>
                  <a:lnTo>
                    <a:pt x="482" y="902"/>
                  </a:lnTo>
                  <a:lnTo>
                    <a:pt x="480" y="904"/>
                  </a:lnTo>
                  <a:lnTo>
                    <a:pt x="480" y="905"/>
                  </a:lnTo>
                  <a:lnTo>
                    <a:pt x="480" y="905"/>
                  </a:lnTo>
                  <a:lnTo>
                    <a:pt x="480" y="907"/>
                  </a:lnTo>
                  <a:lnTo>
                    <a:pt x="480" y="908"/>
                  </a:lnTo>
                  <a:lnTo>
                    <a:pt x="480" y="908"/>
                  </a:lnTo>
                  <a:lnTo>
                    <a:pt x="480" y="908"/>
                  </a:lnTo>
                  <a:lnTo>
                    <a:pt x="480" y="910"/>
                  </a:lnTo>
                  <a:lnTo>
                    <a:pt x="477" y="911"/>
                  </a:lnTo>
                  <a:lnTo>
                    <a:pt x="471" y="915"/>
                  </a:lnTo>
                  <a:lnTo>
                    <a:pt x="468" y="915"/>
                  </a:lnTo>
                  <a:lnTo>
                    <a:pt x="466" y="913"/>
                  </a:lnTo>
                  <a:lnTo>
                    <a:pt x="466" y="913"/>
                  </a:lnTo>
                  <a:lnTo>
                    <a:pt x="465" y="911"/>
                  </a:lnTo>
                  <a:lnTo>
                    <a:pt x="463" y="911"/>
                  </a:lnTo>
                  <a:lnTo>
                    <a:pt x="462" y="910"/>
                  </a:lnTo>
                  <a:lnTo>
                    <a:pt x="460" y="907"/>
                  </a:lnTo>
                  <a:lnTo>
                    <a:pt x="459" y="902"/>
                  </a:lnTo>
                  <a:lnTo>
                    <a:pt x="457" y="901"/>
                  </a:lnTo>
                  <a:lnTo>
                    <a:pt x="457" y="901"/>
                  </a:lnTo>
                  <a:lnTo>
                    <a:pt x="455" y="901"/>
                  </a:lnTo>
                  <a:lnTo>
                    <a:pt x="455" y="899"/>
                  </a:lnTo>
                  <a:lnTo>
                    <a:pt x="454" y="901"/>
                  </a:lnTo>
                  <a:lnTo>
                    <a:pt x="455" y="904"/>
                  </a:lnTo>
                  <a:lnTo>
                    <a:pt x="455" y="905"/>
                  </a:lnTo>
                  <a:lnTo>
                    <a:pt x="454" y="907"/>
                  </a:lnTo>
                  <a:lnTo>
                    <a:pt x="452" y="907"/>
                  </a:lnTo>
                  <a:lnTo>
                    <a:pt x="451" y="907"/>
                  </a:lnTo>
                  <a:lnTo>
                    <a:pt x="451" y="907"/>
                  </a:lnTo>
                  <a:lnTo>
                    <a:pt x="449" y="907"/>
                  </a:lnTo>
                  <a:lnTo>
                    <a:pt x="449" y="908"/>
                  </a:lnTo>
                  <a:lnTo>
                    <a:pt x="449" y="910"/>
                  </a:lnTo>
                  <a:lnTo>
                    <a:pt x="446" y="911"/>
                  </a:lnTo>
                  <a:lnTo>
                    <a:pt x="445" y="910"/>
                  </a:lnTo>
                  <a:lnTo>
                    <a:pt x="442" y="913"/>
                  </a:lnTo>
                  <a:lnTo>
                    <a:pt x="440" y="915"/>
                  </a:lnTo>
                  <a:lnTo>
                    <a:pt x="437" y="916"/>
                  </a:lnTo>
                  <a:lnTo>
                    <a:pt x="438" y="916"/>
                  </a:lnTo>
                  <a:lnTo>
                    <a:pt x="438" y="918"/>
                  </a:lnTo>
                  <a:lnTo>
                    <a:pt x="438" y="919"/>
                  </a:lnTo>
                  <a:lnTo>
                    <a:pt x="437" y="922"/>
                  </a:lnTo>
                  <a:lnTo>
                    <a:pt x="435" y="925"/>
                  </a:lnTo>
                  <a:lnTo>
                    <a:pt x="435" y="925"/>
                  </a:lnTo>
                  <a:lnTo>
                    <a:pt x="435" y="925"/>
                  </a:lnTo>
                  <a:lnTo>
                    <a:pt x="435" y="927"/>
                  </a:lnTo>
                  <a:lnTo>
                    <a:pt x="435" y="927"/>
                  </a:lnTo>
                  <a:lnTo>
                    <a:pt x="437" y="928"/>
                  </a:lnTo>
                  <a:lnTo>
                    <a:pt x="437" y="928"/>
                  </a:lnTo>
                  <a:lnTo>
                    <a:pt x="437" y="930"/>
                  </a:lnTo>
                  <a:lnTo>
                    <a:pt x="435" y="932"/>
                  </a:lnTo>
                  <a:lnTo>
                    <a:pt x="435" y="932"/>
                  </a:lnTo>
                  <a:lnTo>
                    <a:pt x="435" y="933"/>
                  </a:lnTo>
                  <a:lnTo>
                    <a:pt x="435" y="935"/>
                  </a:lnTo>
                  <a:lnTo>
                    <a:pt x="435" y="935"/>
                  </a:lnTo>
                  <a:lnTo>
                    <a:pt x="434" y="935"/>
                  </a:lnTo>
                  <a:lnTo>
                    <a:pt x="434" y="935"/>
                  </a:lnTo>
                  <a:lnTo>
                    <a:pt x="432" y="936"/>
                  </a:lnTo>
                  <a:lnTo>
                    <a:pt x="432" y="936"/>
                  </a:lnTo>
                  <a:lnTo>
                    <a:pt x="434" y="938"/>
                  </a:lnTo>
                  <a:lnTo>
                    <a:pt x="434" y="939"/>
                  </a:lnTo>
                  <a:lnTo>
                    <a:pt x="435" y="941"/>
                  </a:lnTo>
                  <a:lnTo>
                    <a:pt x="435" y="941"/>
                  </a:lnTo>
                  <a:lnTo>
                    <a:pt x="435" y="942"/>
                  </a:lnTo>
                  <a:lnTo>
                    <a:pt x="435" y="944"/>
                  </a:lnTo>
                  <a:lnTo>
                    <a:pt x="437" y="945"/>
                  </a:lnTo>
                  <a:lnTo>
                    <a:pt x="437" y="947"/>
                  </a:lnTo>
                  <a:lnTo>
                    <a:pt x="438" y="948"/>
                  </a:lnTo>
                  <a:lnTo>
                    <a:pt x="440" y="950"/>
                  </a:lnTo>
                  <a:lnTo>
                    <a:pt x="443" y="950"/>
                  </a:lnTo>
                  <a:lnTo>
                    <a:pt x="445" y="950"/>
                  </a:lnTo>
                  <a:lnTo>
                    <a:pt x="445" y="952"/>
                  </a:lnTo>
                  <a:lnTo>
                    <a:pt x="448" y="956"/>
                  </a:lnTo>
                  <a:lnTo>
                    <a:pt x="451" y="958"/>
                  </a:lnTo>
                  <a:lnTo>
                    <a:pt x="452" y="958"/>
                  </a:lnTo>
                  <a:lnTo>
                    <a:pt x="459" y="958"/>
                  </a:lnTo>
                  <a:lnTo>
                    <a:pt x="465" y="958"/>
                  </a:lnTo>
                  <a:lnTo>
                    <a:pt x="471" y="958"/>
                  </a:lnTo>
                  <a:lnTo>
                    <a:pt x="474" y="959"/>
                  </a:lnTo>
                  <a:lnTo>
                    <a:pt x="475" y="961"/>
                  </a:lnTo>
                  <a:lnTo>
                    <a:pt x="475" y="962"/>
                  </a:lnTo>
                  <a:lnTo>
                    <a:pt x="477" y="964"/>
                  </a:lnTo>
                  <a:lnTo>
                    <a:pt x="477" y="964"/>
                  </a:lnTo>
                  <a:lnTo>
                    <a:pt x="477" y="965"/>
                  </a:lnTo>
                  <a:lnTo>
                    <a:pt x="479" y="965"/>
                  </a:lnTo>
                  <a:lnTo>
                    <a:pt x="479" y="964"/>
                  </a:lnTo>
                  <a:lnTo>
                    <a:pt x="488" y="965"/>
                  </a:lnTo>
                  <a:lnTo>
                    <a:pt x="489" y="965"/>
                  </a:lnTo>
                  <a:lnTo>
                    <a:pt x="489" y="967"/>
                  </a:lnTo>
                  <a:lnTo>
                    <a:pt x="489" y="967"/>
                  </a:lnTo>
                  <a:lnTo>
                    <a:pt x="491" y="967"/>
                  </a:lnTo>
                  <a:lnTo>
                    <a:pt x="491" y="968"/>
                  </a:lnTo>
                  <a:lnTo>
                    <a:pt x="492" y="970"/>
                  </a:lnTo>
                  <a:lnTo>
                    <a:pt x="494" y="970"/>
                  </a:lnTo>
                  <a:lnTo>
                    <a:pt x="494" y="970"/>
                  </a:lnTo>
                  <a:lnTo>
                    <a:pt x="495" y="975"/>
                  </a:lnTo>
                  <a:lnTo>
                    <a:pt x="497" y="975"/>
                  </a:lnTo>
                  <a:lnTo>
                    <a:pt x="499" y="975"/>
                  </a:lnTo>
                  <a:lnTo>
                    <a:pt x="499" y="976"/>
                  </a:lnTo>
                  <a:lnTo>
                    <a:pt x="500" y="976"/>
                  </a:lnTo>
                  <a:lnTo>
                    <a:pt x="503" y="979"/>
                  </a:lnTo>
                  <a:lnTo>
                    <a:pt x="506" y="982"/>
                  </a:lnTo>
                  <a:lnTo>
                    <a:pt x="509" y="984"/>
                  </a:lnTo>
                  <a:lnTo>
                    <a:pt x="512" y="984"/>
                  </a:lnTo>
                  <a:lnTo>
                    <a:pt x="516" y="985"/>
                  </a:lnTo>
                  <a:lnTo>
                    <a:pt x="519" y="985"/>
                  </a:lnTo>
                  <a:lnTo>
                    <a:pt x="520" y="987"/>
                  </a:lnTo>
                  <a:lnTo>
                    <a:pt x="526" y="993"/>
                  </a:lnTo>
                  <a:lnTo>
                    <a:pt x="529" y="995"/>
                  </a:lnTo>
                  <a:lnTo>
                    <a:pt x="531" y="996"/>
                  </a:lnTo>
                  <a:lnTo>
                    <a:pt x="534" y="996"/>
                  </a:lnTo>
                  <a:lnTo>
                    <a:pt x="537" y="998"/>
                  </a:lnTo>
                  <a:lnTo>
                    <a:pt x="542" y="1001"/>
                  </a:lnTo>
                  <a:lnTo>
                    <a:pt x="545" y="1002"/>
                  </a:lnTo>
                  <a:lnTo>
                    <a:pt x="546" y="1002"/>
                  </a:lnTo>
                  <a:lnTo>
                    <a:pt x="548" y="1001"/>
                  </a:lnTo>
                  <a:lnTo>
                    <a:pt x="548" y="1001"/>
                  </a:lnTo>
                  <a:lnTo>
                    <a:pt x="557" y="999"/>
                  </a:lnTo>
                  <a:lnTo>
                    <a:pt x="559" y="1001"/>
                  </a:lnTo>
                  <a:lnTo>
                    <a:pt x="565" y="1004"/>
                  </a:lnTo>
                  <a:lnTo>
                    <a:pt x="571" y="1007"/>
                  </a:lnTo>
                  <a:lnTo>
                    <a:pt x="577" y="1013"/>
                  </a:lnTo>
                  <a:lnTo>
                    <a:pt x="579" y="1016"/>
                  </a:lnTo>
                  <a:lnTo>
                    <a:pt x="585" y="1029"/>
                  </a:lnTo>
                  <a:lnTo>
                    <a:pt x="586" y="1030"/>
                  </a:lnTo>
                  <a:lnTo>
                    <a:pt x="593" y="1032"/>
                  </a:lnTo>
                  <a:lnTo>
                    <a:pt x="593" y="1032"/>
                  </a:lnTo>
                  <a:lnTo>
                    <a:pt x="594" y="1032"/>
                  </a:lnTo>
                  <a:lnTo>
                    <a:pt x="599" y="1033"/>
                  </a:lnTo>
                  <a:lnTo>
                    <a:pt x="600" y="1035"/>
                  </a:lnTo>
                  <a:lnTo>
                    <a:pt x="600" y="1036"/>
                  </a:lnTo>
                  <a:lnTo>
                    <a:pt x="605" y="1036"/>
                  </a:lnTo>
                  <a:lnTo>
                    <a:pt x="606" y="1038"/>
                  </a:lnTo>
                  <a:lnTo>
                    <a:pt x="608" y="1038"/>
                  </a:lnTo>
                  <a:lnTo>
                    <a:pt x="608" y="1038"/>
                  </a:lnTo>
                  <a:lnTo>
                    <a:pt x="608" y="1039"/>
                  </a:lnTo>
                  <a:lnTo>
                    <a:pt x="613" y="1036"/>
                  </a:lnTo>
                  <a:lnTo>
                    <a:pt x="616" y="1036"/>
                  </a:lnTo>
                  <a:lnTo>
                    <a:pt x="619" y="1036"/>
                  </a:lnTo>
                  <a:lnTo>
                    <a:pt x="622" y="1039"/>
                  </a:lnTo>
                  <a:lnTo>
                    <a:pt x="623" y="1039"/>
                  </a:lnTo>
                  <a:lnTo>
                    <a:pt x="623" y="1039"/>
                  </a:lnTo>
                  <a:lnTo>
                    <a:pt x="625" y="1038"/>
                  </a:lnTo>
                  <a:lnTo>
                    <a:pt x="625" y="1038"/>
                  </a:lnTo>
                  <a:lnTo>
                    <a:pt x="626" y="1039"/>
                  </a:lnTo>
                  <a:lnTo>
                    <a:pt x="626" y="1039"/>
                  </a:lnTo>
                  <a:lnTo>
                    <a:pt x="628" y="1039"/>
                  </a:lnTo>
                  <a:lnTo>
                    <a:pt x="628" y="1041"/>
                  </a:lnTo>
                  <a:lnTo>
                    <a:pt x="629" y="1042"/>
                  </a:lnTo>
                  <a:lnTo>
                    <a:pt x="631" y="1042"/>
                  </a:lnTo>
                  <a:lnTo>
                    <a:pt x="633" y="1042"/>
                  </a:lnTo>
                  <a:lnTo>
                    <a:pt x="634" y="1041"/>
                  </a:lnTo>
                  <a:lnTo>
                    <a:pt x="634" y="1039"/>
                  </a:lnTo>
                  <a:lnTo>
                    <a:pt x="633" y="1035"/>
                  </a:lnTo>
                  <a:lnTo>
                    <a:pt x="631" y="1032"/>
                  </a:lnTo>
                  <a:lnTo>
                    <a:pt x="631" y="1030"/>
                  </a:lnTo>
                  <a:lnTo>
                    <a:pt x="633" y="1029"/>
                  </a:lnTo>
                  <a:lnTo>
                    <a:pt x="633" y="1027"/>
                  </a:lnTo>
                  <a:lnTo>
                    <a:pt x="636" y="1018"/>
                  </a:lnTo>
                  <a:lnTo>
                    <a:pt x="637" y="1016"/>
                  </a:lnTo>
                  <a:lnTo>
                    <a:pt x="639" y="1015"/>
                  </a:lnTo>
                  <a:lnTo>
                    <a:pt x="640" y="1015"/>
                  </a:lnTo>
                  <a:lnTo>
                    <a:pt x="642" y="1015"/>
                  </a:lnTo>
                  <a:lnTo>
                    <a:pt x="642" y="1013"/>
                  </a:lnTo>
                  <a:lnTo>
                    <a:pt x="645" y="1013"/>
                  </a:lnTo>
                  <a:lnTo>
                    <a:pt x="645" y="1013"/>
                  </a:lnTo>
                  <a:lnTo>
                    <a:pt x="643" y="1012"/>
                  </a:lnTo>
                  <a:lnTo>
                    <a:pt x="645" y="1012"/>
                  </a:lnTo>
                  <a:lnTo>
                    <a:pt x="645" y="1012"/>
                  </a:lnTo>
                  <a:lnTo>
                    <a:pt x="645" y="1012"/>
                  </a:lnTo>
                  <a:lnTo>
                    <a:pt x="646" y="1010"/>
                  </a:lnTo>
                  <a:lnTo>
                    <a:pt x="648" y="1009"/>
                  </a:lnTo>
                  <a:lnTo>
                    <a:pt x="648" y="1010"/>
                  </a:lnTo>
                  <a:lnTo>
                    <a:pt x="648" y="1010"/>
                  </a:lnTo>
                  <a:lnTo>
                    <a:pt x="650" y="1010"/>
                  </a:lnTo>
                  <a:lnTo>
                    <a:pt x="650" y="1009"/>
                  </a:lnTo>
                  <a:lnTo>
                    <a:pt x="648" y="1007"/>
                  </a:lnTo>
                  <a:lnTo>
                    <a:pt x="648" y="1007"/>
                  </a:lnTo>
                  <a:lnTo>
                    <a:pt x="646" y="1007"/>
                  </a:lnTo>
                  <a:lnTo>
                    <a:pt x="645" y="1007"/>
                  </a:lnTo>
                  <a:lnTo>
                    <a:pt x="645" y="1005"/>
                  </a:lnTo>
                  <a:lnTo>
                    <a:pt x="646" y="1004"/>
                  </a:lnTo>
                  <a:lnTo>
                    <a:pt x="646" y="1005"/>
                  </a:lnTo>
                  <a:lnTo>
                    <a:pt x="648" y="1002"/>
                  </a:lnTo>
                  <a:lnTo>
                    <a:pt x="646" y="1001"/>
                  </a:lnTo>
                  <a:lnTo>
                    <a:pt x="646" y="1001"/>
                  </a:lnTo>
                  <a:lnTo>
                    <a:pt x="643" y="1001"/>
                  </a:lnTo>
                  <a:lnTo>
                    <a:pt x="643" y="999"/>
                  </a:lnTo>
                  <a:lnTo>
                    <a:pt x="642" y="998"/>
                  </a:lnTo>
                  <a:lnTo>
                    <a:pt x="642" y="998"/>
                  </a:lnTo>
                  <a:lnTo>
                    <a:pt x="643" y="996"/>
                  </a:lnTo>
                  <a:lnTo>
                    <a:pt x="643" y="996"/>
                  </a:lnTo>
                  <a:lnTo>
                    <a:pt x="642" y="996"/>
                  </a:lnTo>
                  <a:lnTo>
                    <a:pt x="640" y="996"/>
                  </a:lnTo>
                  <a:lnTo>
                    <a:pt x="639" y="995"/>
                  </a:lnTo>
                  <a:lnTo>
                    <a:pt x="639" y="992"/>
                  </a:lnTo>
                  <a:lnTo>
                    <a:pt x="639" y="990"/>
                  </a:lnTo>
                  <a:lnTo>
                    <a:pt x="639" y="988"/>
                  </a:lnTo>
                  <a:lnTo>
                    <a:pt x="640" y="988"/>
                  </a:lnTo>
                  <a:lnTo>
                    <a:pt x="640" y="988"/>
                  </a:lnTo>
                  <a:lnTo>
                    <a:pt x="640" y="988"/>
                  </a:lnTo>
                  <a:lnTo>
                    <a:pt x="640" y="990"/>
                  </a:lnTo>
                  <a:lnTo>
                    <a:pt x="642" y="990"/>
                  </a:lnTo>
                  <a:lnTo>
                    <a:pt x="642" y="988"/>
                  </a:lnTo>
                  <a:lnTo>
                    <a:pt x="643" y="988"/>
                  </a:lnTo>
                  <a:lnTo>
                    <a:pt x="643" y="988"/>
                  </a:lnTo>
                  <a:lnTo>
                    <a:pt x="643" y="987"/>
                  </a:lnTo>
                  <a:lnTo>
                    <a:pt x="642" y="985"/>
                  </a:lnTo>
                  <a:lnTo>
                    <a:pt x="640" y="984"/>
                  </a:lnTo>
                  <a:lnTo>
                    <a:pt x="637" y="984"/>
                  </a:lnTo>
                  <a:lnTo>
                    <a:pt x="633" y="981"/>
                  </a:lnTo>
                  <a:lnTo>
                    <a:pt x="633" y="981"/>
                  </a:lnTo>
                  <a:lnTo>
                    <a:pt x="631" y="979"/>
                  </a:lnTo>
                  <a:lnTo>
                    <a:pt x="631" y="978"/>
                  </a:lnTo>
                  <a:lnTo>
                    <a:pt x="631" y="968"/>
                  </a:lnTo>
                  <a:lnTo>
                    <a:pt x="631" y="967"/>
                  </a:lnTo>
                  <a:lnTo>
                    <a:pt x="631" y="965"/>
                  </a:lnTo>
                  <a:lnTo>
                    <a:pt x="633" y="962"/>
                  </a:lnTo>
                  <a:lnTo>
                    <a:pt x="637" y="958"/>
                  </a:lnTo>
                  <a:lnTo>
                    <a:pt x="637" y="955"/>
                  </a:lnTo>
                  <a:lnTo>
                    <a:pt x="639" y="953"/>
                  </a:lnTo>
                  <a:lnTo>
                    <a:pt x="639" y="950"/>
                  </a:lnTo>
                  <a:lnTo>
                    <a:pt x="639" y="948"/>
                  </a:lnTo>
                  <a:lnTo>
                    <a:pt x="639" y="947"/>
                  </a:lnTo>
                  <a:lnTo>
                    <a:pt x="640" y="945"/>
                  </a:lnTo>
                  <a:lnTo>
                    <a:pt x="640" y="945"/>
                  </a:lnTo>
                  <a:lnTo>
                    <a:pt x="640" y="944"/>
                  </a:lnTo>
                  <a:lnTo>
                    <a:pt x="640" y="942"/>
                  </a:lnTo>
                  <a:lnTo>
                    <a:pt x="640" y="941"/>
                  </a:lnTo>
                  <a:lnTo>
                    <a:pt x="640" y="939"/>
                  </a:lnTo>
                  <a:lnTo>
                    <a:pt x="642" y="936"/>
                  </a:lnTo>
                  <a:lnTo>
                    <a:pt x="645" y="935"/>
                  </a:lnTo>
                  <a:lnTo>
                    <a:pt x="645" y="933"/>
                  </a:lnTo>
                  <a:lnTo>
                    <a:pt x="646" y="930"/>
                  </a:lnTo>
                  <a:lnTo>
                    <a:pt x="654" y="919"/>
                  </a:lnTo>
                  <a:lnTo>
                    <a:pt x="662" y="910"/>
                  </a:lnTo>
                  <a:lnTo>
                    <a:pt x="663" y="905"/>
                  </a:lnTo>
                  <a:lnTo>
                    <a:pt x="668" y="899"/>
                  </a:lnTo>
                  <a:lnTo>
                    <a:pt x="666" y="899"/>
                  </a:lnTo>
                  <a:lnTo>
                    <a:pt x="666" y="898"/>
                  </a:lnTo>
                  <a:lnTo>
                    <a:pt x="666" y="896"/>
                  </a:lnTo>
                  <a:close/>
                  <a:moveTo>
                    <a:pt x="466" y="1115"/>
                  </a:moveTo>
                  <a:lnTo>
                    <a:pt x="465" y="1115"/>
                  </a:lnTo>
                  <a:lnTo>
                    <a:pt x="465" y="1115"/>
                  </a:lnTo>
                  <a:lnTo>
                    <a:pt x="465" y="1115"/>
                  </a:lnTo>
                  <a:lnTo>
                    <a:pt x="465" y="1116"/>
                  </a:lnTo>
                  <a:lnTo>
                    <a:pt x="465" y="1116"/>
                  </a:lnTo>
                  <a:lnTo>
                    <a:pt x="465" y="1116"/>
                  </a:lnTo>
                  <a:lnTo>
                    <a:pt x="466" y="1116"/>
                  </a:lnTo>
                  <a:lnTo>
                    <a:pt x="466" y="1116"/>
                  </a:lnTo>
                  <a:lnTo>
                    <a:pt x="466" y="1115"/>
                  </a:lnTo>
                  <a:lnTo>
                    <a:pt x="466" y="1115"/>
                  </a:lnTo>
                  <a:close/>
                  <a:moveTo>
                    <a:pt x="577" y="865"/>
                  </a:moveTo>
                  <a:lnTo>
                    <a:pt x="576" y="865"/>
                  </a:lnTo>
                  <a:lnTo>
                    <a:pt x="576" y="867"/>
                  </a:lnTo>
                  <a:lnTo>
                    <a:pt x="577" y="867"/>
                  </a:lnTo>
                  <a:lnTo>
                    <a:pt x="577" y="865"/>
                  </a:lnTo>
                  <a:close/>
                  <a:moveTo>
                    <a:pt x="539" y="656"/>
                  </a:moveTo>
                  <a:lnTo>
                    <a:pt x="539" y="657"/>
                  </a:lnTo>
                  <a:lnTo>
                    <a:pt x="540" y="657"/>
                  </a:lnTo>
                  <a:lnTo>
                    <a:pt x="542" y="659"/>
                  </a:lnTo>
                  <a:lnTo>
                    <a:pt x="542" y="659"/>
                  </a:lnTo>
                  <a:lnTo>
                    <a:pt x="543" y="659"/>
                  </a:lnTo>
                  <a:lnTo>
                    <a:pt x="543" y="657"/>
                  </a:lnTo>
                  <a:lnTo>
                    <a:pt x="545" y="657"/>
                  </a:lnTo>
                  <a:lnTo>
                    <a:pt x="546" y="659"/>
                  </a:lnTo>
                  <a:lnTo>
                    <a:pt x="546" y="657"/>
                  </a:lnTo>
                  <a:lnTo>
                    <a:pt x="548" y="657"/>
                  </a:lnTo>
                  <a:lnTo>
                    <a:pt x="548" y="656"/>
                  </a:lnTo>
                  <a:lnTo>
                    <a:pt x="548" y="656"/>
                  </a:lnTo>
                  <a:lnTo>
                    <a:pt x="548" y="656"/>
                  </a:lnTo>
                  <a:lnTo>
                    <a:pt x="546" y="654"/>
                  </a:lnTo>
                  <a:lnTo>
                    <a:pt x="542" y="653"/>
                  </a:lnTo>
                  <a:lnTo>
                    <a:pt x="540" y="653"/>
                  </a:lnTo>
                  <a:lnTo>
                    <a:pt x="540" y="653"/>
                  </a:lnTo>
                  <a:lnTo>
                    <a:pt x="540" y="654"/>
                  </a:lnTo>
                  <a:lnTo>
                    <a:pt x="540" y="654"/>
                  </a:lnTo>
                  <a:lnTo>
                    <a:pt x="539" y="65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66"/>
            <p:cNvSpPr>
              <a:spLocks noEditPoints="1"/>
            </p:cNvSpPr>
            <p:nvPr/>
          </p:nvSpPr>
          <p:spPr bwMode="gray">
            <a:xfrm>
              <a:off x="6465888" y="7170738"/>
              <a:ext cx="1408113" cy="1825625"/>
            </a:xfrm>
            <a:custGeom>
              <a:avLst/>
              <a:gdLst>
                <a:gd name="T0" fmla="*/ 263 w 887"/>
                <a:gd name="T1" fmla="*/ 456 h 1150"/>
                <a:gd name="T2" fmla="*/ 423 w 887"/>
                <a:gd name="T3" fmla="*/ 922 h 1150"/>
                <a:gd name="T4" fmla="*/ 123 w 887"/>
                <a:gd name="T5" fmla="*/ 811 h 1150"/>
                <a:gd name="T6" fmla="*/ 227 w 887"/>
                <a:gd name="T7" fmla="*/ 648 h 1150"/>
                <a:gd name="T8" fmla="*/ 220 w 887"/>
                <a:gd name="T9" fmla="*/ 628 h 1150"/>
                <a:gd name="T10" fmla="*/ 209 w 887"/>
                <a:gd name="T11" fmla="*/ 614 h 1150"/>
                <a:gd name="T12" fmla="*/ 172 w 887"/>
                <a:gd name="T13" fmla="*/ 625 h 1150"/>
                <a:gd name="T14" fmla="*/ 117 w 887"/>
                <a:gd name="T15" fmla="*/ 660 h 1150"/>
                <a:gd name="T16" fmla="*/ 134 w 887"/>
                <a:gd name="T17" fmla="*/ 725 h 1150"/>
                <a:gd name="T18" fmla="*/ 137 w 887"/>
                <a:gd name="T19" fmla="*/ 753 h 1150"/>
                <a:gd name="T20" fmla="*/ 141 w 887"/>
                <a:gd name="T21" fmla="*/ 814 h 1150"/>
                <a:gd name="T22" fmla="*/ 181 w 887"/>
                <a:gd name="T23" fmla="*/ 805 h 1150"/>
                <a:gd name="T24" fmla="*/ 217 w 887"/>
                <a:gd name="T25" fmla="*/ 811 h 1150"/>
                <a:gd name="T26" fmla="*/ 231 w 887"/>
                <a:gd name="T27" fmla="*/ 734 h 1150"/>
                <a:gd name="T28" fmla="*/ 134 w 887"/>
                <a:gd name="T29" fmla="*/ 825 h 1150"/>
                <a:gd name="T30" fmla="*/ 214 w 887"/>
                <a:gd name="T31" fmla="*/ 607 h 1150"/>
                <a:gd name="T32" fmla="*/ 640 w 887"/>
                <a:gd name="T33" fmla="*/ 841 h 1150"/>
                <a:gd name="T34" fmla="*/ 848 w 887"/>
                <a:gd name="T35" fmla="*/ 664 h 1150"/>
                <a:gd name="T36" fmla="*/ 713 w 887"/>
                <a:gd name="T37" fmla="*/ 553 h 1150"/>
                <a:gd name="T38" fmla="*/ 543 w 887"/>
                <a:gd name="T39" fmla="*/ 439 h 1150"/>
                <a:gd name="T40" fmla="*/ 431 w 887"/>
                <a:gd name="T41" fmla="*/ 305 h 1150"/>
                <a:gd name="T42" fmla="*/ 437 w 887"/>
                <a:gd name="T43" fmla="*/ 237 h 1150"/>
                <a:gd name="T44" fmla="*/ 425 w 887"/>
                <a:gd name="T45" fmla="*/ 212 h 1150"/>
                <a:gd name="T46" fmla="*/ 420 w 887"/>
                <a:gd name="T47" fmla="*/ 179 h 1150"/>
                <a:gd name="T48" fmla="*/ 435 w 887"/>
                <a:gd name="T49" fmla="*/ 172 h 1150"/>
                <a:gd name="T50" fmla="*/ 508 w 887"/>
                <a:gd name="T51" fmla="*/ 149 h 1150"/>
                <a:gd name="T52" fmla="*/ 519 w 887"/>
                <a:gd name="T53" fmla="*/ 137 h 1150"/>
                <a:gd name="T54" fmla="*/ 506 w 887"/>
                <a:gd name="T55" fmla="*/ 83 h 1150"/>
                <a:gd name="T56" fmla="*/ 429 w 887"/>
                <a:gd name="T57" fmla="*/ 41 h 1150"/>
                <a:gd name="T58" fmla="*/ 375 w 887"/>
                <a:gd name="T59" fmla="*/ 11 h 1150"/>
                <a:gd name="T60" fmla="*/ 306 w 887"/>
                <a:gd name="T61" fmla="*/ 32 h 1150"/>
                <a:gd name="T62" fmla="*/ 258 w 887"/>
                <a:gd name="T63" fmla="*/ 54 h 1150"/>
                <a:gd name="T64" fmla="*/ 227 w 887"/>
                <a:gd name="T65" fmla="*/ 86 h 1150"/>
                <a:gd name="T66" fmla="*/ 178 w 887"/>
                <a:gd name="T67" fmla="*/ 114 h 1150"/>
                <a:gd name="T68" fmla="*/ 147 w 887"/>
                <a:gd name="T69" fmla="*/ 105 h 1150"/>
                <a:gd name="T70" fmla="*/ 95 w 887"/>
                <a:gd name="T71" fmla="*/ 120 h 1150"/>
                <a:gd name="T72" fmla="*/ 18 w 887"/>
                <a:gd name="T73" fmla="*/ 135 h 1150"/>
                <a:gd name="T74" fmla="*/ 21 w 887"/>
                <a:gd name="T75" fmla="*/ 206 h 1150"/>
                <a:gd name="T76" fmla="*/ 32 w 887"/>
                <a:gd name="T77" fmla="*/ 255 h 1150"/>
                <a:gd name="T78" fmla="*/ 77 w 887"/>
                <a:gd name="T79" fmla="*/ 312 h 1150"/>
                <a:gd name="T80" fmla="*/ 134 w 887"/>
                <a:gd name="T81" fmla="*/ 308 h 1150"/>
                <a:gd name="T82" fmla="*/ 215 w 887"/>
                <a:gd name="T83" fmla="*/ 305 h 1150"/>
                <a:gd name="T84" fmla="*/ 272 w 887"/>
                <a:gd name="T85" fmla="*/ 346 h 1150"/>
                <a:gd name="T86" fmla="*/ 337 w 887"/>
                <a:gd name="T87" fmla="*/ 474 h 1150"/>
                <a:gd name="T88" fmla="*/ 388 w 887"/>
                <a:gd name="T89" fmla="*/ 527 h 1150"/>
                <a:gd name="T90" fmla="*/ 491 w 887"/>
                <a:gd name="T91" fmla="*/ 600 h 1150"/>
                <a:gd name="T92" fmla="*/ 579 w 887"/>
                <a:gd name="T93" fmla="*/ 651 h 1150"/>
                <a:gd name="T94" fmla="*/ 620 w 887"/>
                <a:gd name="T95" fmla="*/ 705 h 1150"/>
                <a:gd name="T96" fmla="*/ 688 w 887"/>
                <a:gd name="T97" fmla="*/ 764 h 1150"/>
                <a:gd name="T98" fmla="*/ 673 w 887"/>
                <a:gd name="T99" fmla="*/ 902 h 1150"/>
                <a:gd name="T100" fmla="*/ 768 w 887"/>
                <a:gd name="T101" fmla="*/ 828 h 1150"/>
                <a:gd name="T102" fmla="*/ 739 w 887"/>
                <a:gd name="T103" fmla="*/ 759 h 1150"/>
                <a:gd name="T104" fmla="*/ 790 w 887"/>
                <a:gd name="T105" fmla="*/ 687 h 1150"/>
                <a:gd name="T106" fmla="*/ 876 w 887"/>
                <a:gd name="T107" fmla="*/ 745 h 1150"/>
                <a:gd name="T108" fmla="*/ 428 w 887"/>
                <a:gd name="T109" fmla="*/ 180 h 1150"/>
                <a:gd name="T110" fmla="*/ 662 w 887"/>
                <a:gd name="T111" fmla="*/ 890 h 1150"/>
                <a:gd name="T112" fmla="*/ 559 w 887"/>
                <a:gd name="T113" fmla="*/ 915 h 1150"/>
                <a:gd name="T114" fmla="*/ 482 w 887"/>
                <a:gd name="T115" fmla="*/ 902 h 1150"/>
                <a:gd name="T116" fmla="*/ 435 w 887"/>
                <a:gd name="T117" fmla="*/ 935 h 1150"/>
                <a:gd name="T118" fmla="*/ 520 w 887"/>
                <a:gd name="T119" fmla="*/ 987 h 1150"/>
                <a:gd name="T120" fmla="*/ 637 w 887"/>
                <a:gd name="T121" fmla="*/ 1016 h 1150"/>
                <a:gd name="T122" fmla="*/ 631 w 887"/>
                <a:gd name="T123" fmla="*/ 979 h 1150"/>
                <a:gd name="T124" fmla="*/ 546 w 887"/>
                <a:gd name="T125" fmla="*/ 659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7" h="1150">
                  <a:moveTo>
                    <a:pt x="258" y="471"/>
                  </a:moveTo>
                  <a:lnTo>
                    <a:pt x="258" y="470"/>
                  </a:lnTo>
                  <a:lnTo>
                    <a:pt x="258" y="468"/>
                  </a:lnTo>
                  <a:lnTo>
                    <a:pt x="258" y="468"/>
                  </a:lnTo>
                  <a:lnTo>
                    <a:pt x="257" y="470"/>
                  </a:lnTo>
                  <a:lnTo>
                    <a:pt x="257" y="471"/>
                  </a:lnTo>
                  <a:lnTo>
                    <a:pt x="257" y="471"/>
                  </a:lnTo>
                  <a:lnTo>
                    <a:pt x="255" y="471"/>
                  </a:lnTo>
                  <a:lnTo>
                    <a:pt x="257" y="473"/>
                  </a:lnTo>
                  <a:lnTo>
                    <a:pt x="257" y="473"/>
                  </a:lnTo>
                  <a:lnTo>
                    <a:pt x="258" y="473"/>
                  </a:lnTo>
                  <a:lnTo>
                    <a:pt x="260" y="473"/>
                  </a:lnTo>
                  <a:lnTo>
                    <a:pt x="260" y="471"/>
                  </a:lnTo>
                  <a:lnTo>
                    <a:pt x="260" y="471"/>
                  </a:lnTo>
                  <a:lnTo>
                    <a:pt x="260" y="471"/>
                  </a:lnTo>
                  <a:lnTo>
                    <a:pt x="258" y="471"/>
                  </a:lnTo>
                  <a:close/>
                  <a:moveTo>
                    <a:pt x="284" y="446"/>
                  </a:moveTo>
                  <a:lnTo>
                    <a:pt x="284" y="445"/>
                  </a:lnTo>
                  <a:lnTo>
                    <a:pt x="284" y="445"/>
                  </a:lnTo>
                  <a:lnTo>
                    <a:pt x="284" y="443"/>
                  </a:lnTo>
                  <a:lnTo>
                    <a:pt x="283" y="443"/>
                  </a:lnTo>
                  <a:lnTo>
                    <a:pt x="283" y="442"/>
                  </a:lnTo>
                  <a:lnTo>
                    <a:pt x="281" y="443"/>
                  </a:lnTo>
                  <a:lnTo>
                    <a:pt x="281" y="443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lnTo>
                    <a:pt x="278" y="450"/>
                  </a:lnTo>
                  <a:lnTo>
                    <a:pt x="277" y="450"/>
                  </a:lnTo>
                  <a:lnTo>
                    <a:pt x="277" y="448"/>
                  </a:lnTo>
                  <a:lnTo>
                    <a:pt x="277" y="446"/>
                  </a:lnTo>
                  <a:lnTo>
                    <a:pt x="274" y="446"/>
                  </a:lnTo>
                  <a:lnTo>
                    <a:pt x="272" y="446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48"/>
                  </a:lnTo>
                  <a:lnTo>
                    <a:pt x="272" y="450"/>
                  </a:lnTo>
                  <a:lnTo>
                    <a:pt x="272" y="450"/>
                  </a:lnTo>
                  <a:lnTo>
                    <a:pt x="271" y="450"/>
                  </a:lnTo>
                  <a:lnTo>
                    <a:pt x="269" y="450"/>
                  </a:lnTo>
                  <a:lnTo>
                    <a:pt x="268" y="450"/>
                  </a:lnTo>
                  <a:lnTo>
                    <a:pt x="266" y="448"/>
                  </a:lnTo>
                  <a:lnTo>
                    <a:pt x="266" y="448"/>
                  </a:lnTo>
                  <a:lnTo>
                    <a:pt x="264" y="448"/>
                  </a:lnTo>
                  <a:lnTo>
                    <a:pt x="261" y="448"/>
                  </a:lnTo>
                  <a:lnTo>
                    <a:pt x="260" y="450"/>
                  </a:lnTo>
                  <a:lnTo>
                    <a:pt x="260" y="451"/>
                  </a:lnTo>
                  <a:lnTo>
                    <a:pt x="260" y="454"/>
                  </a:lnTo>
                  <a:lnTo>
                    <a:pt x="261" y="456"/>
                  </a:lnTo>
                  <a:lnTo>
                    <a:pt x="263" y="456"/>
                  </a:lnTo>
                  <a:lnTo>
                    <a:pt x="269" y="456"/>
                  </a:lnTo>
                  <a:lnTo>
                    <a:pt x="269" y="456"/>
                  </a:lnTo>
                  <a:lnTo>
                    <a:pt x="271" y="456"/>
                  </a:lnTo>
                  <a:lnTo>
                    <a:pt x="271" y="454"/>
                  </a:lnTo>
                  <a:lnTo>
                    <a:pt x="272" y="456"/>
                  </a:lnTo>
                  <a:lnTo>
                    <a:pt x="275" y="454"/>
                  </a:lnTo>
                  <a:lnTo>
                    <a:pt x="275" y="456"/>
                  </a:lnTo>
                  <a:lnTo>
                    <a:pt x="277" y="453"/>
                  </a:lnTo>
                  <a:lnTo>
                    <a:pt x="277" y="453"/>
                  </a:lnTo>
                  <a:lnTo>
                    <a:pt x="278" y="454"/>
                  </a:lnTo>
                  <a:lnTo>
                    <a:pt x="280" y="454"/>
                  </a:lnTo>
                  <a:lnTo>
                    <a:pt x="280" y="456"/>
                  </a:lnTo>
                  <a:lnTo>
                    <a:pt x="280" y="457"/>
                  </a:lnTo>
                  <a:lnTo>
                    <a:pt x="280" y="457"/>
                  </a:lnTo>
                  <a:lnTo>
                    <a:pt x="281" y="459"/>
                  </a:lnTo>
                  <a:lnTo>
                    <a:pt x="281" y="457"/>
                  </a:lnTo>
                  <a:lnTo>
                    <a:pt x="283" y="459"/>
                  </a:lnTo>
                  <a:lnTo>
                    <a:pt x="283" y="459"/>
                  </a:lnTo>
                  <a:lnTo>
                    <a:pt x="284" y="457"/>
                  </a:lnTo>
                  <a:lnTo>
                    <a:pt x="284" y="456"/>
                  </a:lnTo>
                  <a:lnTo>
                    <a:pt x="283" y="454"/>
                  </a:lnTo>
                  <a:lnTo>
                    <a:pt x="281" y="454"/>
                  </a:lnTo>
                  <a:lnTo>
                    <a:pt x="283" y="453"/>
                  </a:lnTo>
                  <a:lnTo>
                    <a:pt x="283" y="453"/>
                  </a:lnTo>
                  <a:lnTo>
                    <a:pt x="284" y="451"/>
                  </a:lnTo>
                  <a:lnTo>
                    <a:pt x="284" y="450"/>
                  </a:lnTo>
                  <a:lnTo>
                    <a:pt x="284" y="448"/>
                  </a:lnTo>
                  <a:lnTo>
                    <a:pt x="284" y="446"/>
                  </a:lnTo>
                  <a:lnTo>
                    <a:pt x="284" y="446"/>
                  </a:lnTo>
                  <a:close/>
                  <a:moveTo>
                    <a:pt x="274" y="496"/>
                  </a:moveTo>
                  <a:lnTo>
                    <a:pt x="274" y="497"/>
                  </a:lnTo>
                  <a:lnTo>
                    <a:pt x="275" y="497"/>
                  </a:lnTo>
                  <a:lnTo>
                    <a:pt x="275" y="496"/>
                  </a:lnTo>
                  <a:lnTo>
                    <a:pt x="275" y="494"/>
                  </a:lnTo>
                  <a:lnTo>
                    <a:pt x="274" y="496"/>
                  </a:lnTo>
                  <a:close/>
                  <a:moveTo>
                    <a:pt x="321" y="494"/>
                  </a:moveTo>
                  <a:lnTo>
                    <a:pt x="320" y="493"/>
                  </a:lnTo>
                  <a:lnTo>
                    <a:pt x="318" y="491"/>
                  </a:lnTo>
                  <a:lnTo>
                    <a:pt x="318" y="491"/>
                  </a:lnTo>
                  <a:lnTo>
                    <a:pt x="317" y="491"/>
                  </a:lnTo>
                  <a:lnTo>
                    <a:pt x="317" y="493"/>
                  </a:lnTo>
                  <a:lnTo>
                    <a:pt x="317" y="494"/>
                  </a:lnTo>
                  <a:lnTo>
                    <a:pt x="317" y="494"/>
                  </a:lnTo>
                  <a:lnTo>
                    <a:pt x="320" y="497"/>
                  </a:lnTo>
                  <a:lnTo>
                    <a:pt x="321" y="499"/>
                  </a:lnTo>
                  <a:lnTo>
                    <a:pt x="321" y="497"/>
                  </a:lnTo>
                  <a:lnTo>
                    <a:pt x="321" y="496"/>
                  </a:lnTo>
                  <a:lnTo>
                    <a:pt x="321" y="494"/>
                  </a:lnTo>
                  <a:close/>
                  <a:moveTo>
                    <a:pt x="426" y="924"/>
                  </a:moveTo>
                  <a:lnTo>
                    <a:pt x="425" y="924"/>
                  </a:lnTo>
                  <a:lnTo>
                    <a:pt x="425" y="922"/>
                  </a:lnTo>
                  <a:lnTo>
                    <a:pt x="423" y="922"/>
                  </a:lnTo>
                  <a:lnTo>
                    <a:pt x="423" y="922"/>
                  </a:lnTo>
                  <a:lnTo>
                    <a:pt x="423" y="924"/>
                  </a:lnTo>
                  <a:lnTo>
                    <a:pt x="422" y="924"/>
                  </a:lnTo>
                  <a:lnTo>
                    <a:pt x="422" y="924"/>
                  </a:lnTo>
                  <a:lnTo>
                    <a:pt x="423" y="925"/>
                  </a:lnTo>
                  <a:lnTo>
                    <a:pt x="423" y="925"/>
                  </a:lnTo>
                  <a:lnTo>
                    <a:pt x="425" y="924"/>
                  </a:lnTo>
                  <a:lnTo>
                    <a:pt x="425" y="925"/>
                  </a:lnTo>
                  <a:lnTo>
                    <a:pt x="426" y="925"/>
                  </a:lnTo>
                  <a:lnTo>
                    <a:pt x="428" y="925"/>
                  </a:lnTo>
                  <a:lnTo>
                    <a:pt x="428" y="924"/>
                  </a:lnTo>
                  <a:lnTo>
                    <a:pt x="428" y="924"/>
                  </a:lnTo>
                  <a:lnTo>
                    <a:pt x="426" y="924"/>
                  </a:lnTo>
                  <a:close/>
                  <a:moveTo>
                    <a:pt x="406" y="921"/>
                  </a:moveTo>
                  <a:lnTo>
                    <a:pt x="406" y="919"/>
                  </a:lnTo>
                  <a:lnTo>
                    <a:pt x="405" y="918"/>
                  </a:lnTo>
                  <a:lnTo>
                    <a:pt x="403" y="918"/>
                  </a:lnTo>
                  <a:lnTo>
                    <a:pt x="403" y="919"/>
                  </a:lnTo>
                  <a:lnTo>
                    <a:pt x="403" y="919"/>
                  </a:lnTo>
                  <a:lnTo>
                    <a:pt x="405" y="921"/>
                  </a:lnTo>
                  <a:lnTo>
                    <a:pt x="406" y="922"/>
                  </a:lnTo>
                  <a:lnTo>
                    <a:pt x="406" y="922"/>
                  </a:lnTo>
                  <a:lnTo>
                    <a:pt x="406" y="921"/>
                  </a:lnTo>
                  <a:lnTo>
                    <a:pt x="406" y="921"/>
                  </a:lnTo>
                  <a:close/>
                  <a:moveTo>
                    <a:pt x="403" y="1029"/>
                  </a:moveTo>
                  <a:lnTo>
                    <a:pt x="402" y="1025"/>
                  </a:lnTo>
                  <a:lnTo>
                    <a:pt x="400" y="1027"/>
                  </a:lnTo>
                  <a:lnTo>
                    <a:pt x="400" y="1027"/>
                  </a:lnTo>
                  <a:lnTo>
                    <a:pt x="400" y="1027"/>
                  </a:lnTo>
                  <a:lnTo>
                    <a:pt x="398" y="1027"/>
                  </a:lnTo>
                  <a:lnTo>
                    <a:pt x="398" y="1027"/>
                  </a:lnTo>
                  <a:lnTo>
                    <a:pt x="398" y="1025"/>
                  </a:lnTo>
                  <a:lnTo>
                    <a:pt x="397" y="1025"/>
                  </a:lnTo>
                  <a:lnTo>
                    <a:pt x="397" y="1025"/>
                  </a:lnTo>
                  <a:lnTo>
                    <a:pt x="397" y="1025"/>
                  </a:lnTo>
                  <a:lnTo>
                    <a:pt x="395" y="1025"/>
                  </a:lnTo>
                  <a:lnTo>
                    <a:pt x="395" y="1027"/>
                  </a:lnTo>
                  <a:lnTo>
                    <a:pt x="395" y="1029"/>
                  </a:lnTo>
                  <a:lnTo>
                    <a:pt x="395" y="1030"/>
                  </a:lnTo>
                  <a:lnTo>
                    <a:pt x="397" y="1030"/>
                  </a:lnTo>
                  <a:lnTo>
                    <a:pt x="398" y="1033"/>
                  </a:lnTo>
                  <a:lnTo>
                    <a:pt x="400" y="1035"/>
                  </a:lnTo>
                  <a:lnTo>
                    <a:pt x="403" y="1035"/>
                  </a:lnTo>
                  <a:lnTo>
                    <a:pt x="405" y="1033"/>
                  </a:lnTo>
                  <a:lnTo>
                    <a:pt x="405" y="1030"/>
                  </a:lnTo>
                  <a:lnTo>
                    <a:pt x="403" y="1029"/>
                  </a:lnTo>
                  <a:close/>
                  <a:moveTo>
                    <a:pt x="126" y="804"/>
                  </a:moveTo>
                  <a:lnTo>
                    <a:pt x="124" y="805"/>
                  </a:lnTo>
                  <a:lnTo>
                    <a:pt x="121" y="805"/>
                  </a:lnTo>
                  <a:lnTo>
                    <a:pt x="120" y="807"/>
                  </a:lnTo>
                  <a:lnTo>
                    <a:pt x="120" y="808"/>
                  </a:lnTo>
                  <a:lnTo>
                    <a:pt x="121" y="808"/>
                  </a:lnTo>
                  <a:lnTo>
                    <a:pt x="123" y="811"/>
                  </a:lnTo>
                  <a:lnTo>
                    <a:pt x="123" y="811"/>
                  </a:lnTo>
                  <a:lnTo>
                    <a:pt x="123" y="813"/>
                  </a:lnTo>
                  <a:lnTo>
                    <a:pt x="123" y="813"/>
                  </a:lnTo>
                  <a:lnTo>
                    <a:pt x="124" y="813"/>
                  </a:lnTo>
                  <a:lnTo>
                    <a:pt x="126" y="813"/>
                  </a:lnTo>
                  <a:lnTo>
                    <a:pt x="126" y="811"/>
                  </a:lnTo>
                  <a:lnTo>
                    <a:pt x="126" y="807"/>
                  </a:lnTo>
                  <a:lnTo>
                    <a:pt x="126" y="804"/>
                  </a:lnTo>
                  <a:close/>
                  <a:moveTo>
                    <a:pt x="240" y="423"/>
                  </a:moveTo>
                  <a:lnTo>
                    <a:pt x="240" y="423"/>
                  </a:lnTo>
                  <a:lnTo>
                    <a:pt x="240" y="423"/>
                  </a:lnTo>
                  <a:lnTo>
                    <a:pt x="240" y="422"/>
                  </a:lnTo>
                  <a:lnTo>
                    <a:pt x="238" y="423"/>
                  </a:lnTo>
                  <a:lnTo>
                    <a:pt x="237" y="426"/>
                  </a:lnTo>
                  <a:lnTo>
                    <a:pt x="237" y="430"/>
                  </a:lnTo>
                  <a:lnTo>
                    <a:pt x="238" y="428"/>
                  </a:lnTo>
                  <a:lnTo>
                    <a:pt x="240" y="426"/>
                  </a:lnTo>
                  <a:lnTo>
                    <a:pt x="241" y="425"/>
                  </a:lnTo>
                  <a:lnTo>
                    <a:pt x="241" y="423"/>
                  </a:lnTo>
                  <a:lnTo>
                    <a:pt x="240" y="423"/>
                  </a:lnTo>
                  <a:close/>
                  <a:moveTo>
                    <a:pt x="448" y="1147"/>
                  </a:moveTo>
                  <a:lnTo>
                    <a:pt x="448" y="1147"/>
                  </a:lnTo>
                  <a:lnTo>
                    <a:pt x="448" y="1147"/>
                  </a:lnTo>
                  <a:lnTo>
                    <a:pt x="446" y="1147"/>
                  </a:lnTo>
                  <a:lnTo>
                    <a:pt x="443" y="1147"/>
                  </a:lnTo>
                  <a:lnTo>
                    <a:pt x="443" y="1147"/>
                  </a:lnTo>
                  <a:lnTo>
                    <a:pt x="440" y="1147"/>
                  </a:lnTo>
                  <a:lnTo>
                    <a:pt x="440" y="1147"/>
                  </a:lnTo>
                  <a:lnTo>
                    <a:pt x="442" y="1147"/>
                  </a:lnTo>
                  <a:lnTo>
                    <a:pt x="443" y="1149"/>
                  </a:lnTo>
                  <a:lnTo>
                    <a:pt x="445" y="1149"/>
                  </a:lnTo>
                  <a:lnTo>
                    <a:pt x="446" y="1149"/>
                  </a:lnTo>
                  <a:lnTo>
                    <a:pt x="446" y="1150"/>
                  </a:lnTo>
                  <a:lnTo>
                    <a:pt x="446" y="1150"/>
                  </a:lnTo>
                  <a:lnTo>
                    <a:pt x="448" y="1150"/>
                  </a:lnTo>
                  <a:lnTo>
                    <a:pt x="448" y="1149"/>
                  </a:lnTo>
                  <a:lnTo>
                    <a:pt x="448" y="1149"/>
                  </a:lnTo>
                  <a:lnTo>
                    <a:pt x="448" y="1147"/>
                  </a:lnTo>
                  <a:close/>
                  <a:moveTo>
                    <a:pt x="238" y="674"/>
                  </a:moveTo>
                  <a:lnTo>
                    <a:pt x="237" y="673"/>
                  </a:lnTo>
                  <a:lnTo>
                    <a:pt x="237" y="671"/>
                  </a:lnTo>
                  <a:lnTo>
                    <a:pt x="237" y="671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34" y="670"/>
                  </a:lnTo>
                  <a:lnTo>
                    <a:pt x="234" y="668"/>
                  </a:lnTo>
                  <a:lnTo>
                    <a:pt x="234" y="668"/>
                  </a:lnTo>
                  <a:lnTo>
                    <a:pt x="234" y="662"/>
                  </a:lnTo>
                  <a:lnTo>
                    <a:pt x="234" y="660"/>
                  </a:lnTo>
                  <a:lnTo>
                    <a:pt x="231" y="656"/>
                  </a:lnTo>
                  <a:lnTo>
                    <a:pt x="231" y="654"/>
                  </a:lnTo>
                  <a:lnTo>
                    <a:pt x="231" y="653"/>
                  </a:lnTo>
                  <a:lnTo>
                    <a:pt x="227" y="650"/>
                  </a:lnTo>
                  <a:lnTo>
                    <a:pt x="227" y="648"/>
                  </a:lnTo>
                  <a:lnTo>
                    <a:pt x="227" y="650"/>
                  </a:lnTo>
                  <a:lnTo>
                    <a:pt x="226" y="648"/>
                  </a:lnTo>
                  <a:lnTo>
                    <a:pt x="227" y="648"/>
                  </a:lnTo>
                  <a:lnTo>
                    <a:pt x="227" y="647"/>
                  </a:lnTo>
                  <a:lnTo>
                    <a:pt x="229" y="648"/>
                  </a:lnTo>
                  <a:lnTo>
                    <a:pt x="229" y="647"/>
                  </a:lnTo>
                  <a:lnTo>
                    <a:pt x="229" y="645"/>
                  </a:lnTo>
                  <a:lnTo>
                    <a:pt x="229" y="645"/>
                  </a:lnTo>
                  <a:lnTo>
                    <a:pt x="232" y="645"/>
                  </a:lnTo>
                  <a:lnTo>
                    <a:pt x="231" y="644"/>
                  </a:lnTo>
                  <a:lnTo>
                    <a:pt x="229" y="644"/>
                  </a:lnTo>
                  <a:lnTo>
                    <a:pt x="229" y="644"/>
                  </a:lnTo>
                  <a:lnTo>
                    <a:pt x="229" y="642"/>
                  </a:lnTo>
                  <a:lnTo>
                    <a:pt x="227" y="644"/>
                  </a:lnTo>
                  <a:lnTo>
                    <a:pt x="227" y="644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0"/>
                  </a:lnTo>
                  <a:lnTo>
                    <a:pt x="223" y="639"/>
                  </a:lnTo>
                  <a:lnTo>
                    <a:pt x="223" y="639"/>
                  </a:lnTo>
                  <a:lnTo>
                    <a:pt x="224" y="639"/>
                  </a:lnTo>
                  <a:lnTo>
                    <a:pt x="224" y="639"/>
                  </a:lnTo>
                  <a:lnTo>
                    <a:pt x="224" y="637"/>
                  </a:lnTo>
                  <a:lnTo>
                    <a:pt x="226" y="637"/>
                  </a:lnTo>
                  <a:lnTo>
                    <a:pt x="224" y="637"/>
                  </a:lnTo>
                  <a:lnTo>
                    <a:pt x="223" y="637"/>
                  </a:lnTo>
                  <a:lnTo>
                    <a:pt x="221" y="637"/>
                  </a:lnTo>
                  <a:lnTo>
                    <a:pt x="220" y="639"/>
                  </a:lnTo>
                  <a:lnTo>
                    <a:pt x="220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7" y="637"/>
                  </a:lnTo>
                  <a:lnTo>
                    <a:pt x="217" y="637"/>
                  </a:lnTo>
                  <a:lnTo>
                    <a:pt x="215" y="637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15" y="636"/>
                  </a:lnTo>
                  <a:lnTo>
                    <a:pt x="220" y="636"/>
                  </a:lnTo>
                  <a:lnTo>
                    <a:pt x="220" y="636"/>
                  </a:lnTo>
                  <a:lnTo>
                    <a:pt x="220" y="634"/>
                  </a:lnTo>
                  <a:lnTo>
                    <a:pt x="221" y="633"/>
                  </a:lnTo>
                  <a:lnTo>
                    <a:pt x="221" y="631"/>
                  </a:lnTo>
                  <a:lnTo>
                    <a:pt x="221" y="630"/>
                  </a:lnTo>
                  <a:lnTo>
                    <a:pt x="223" y="628"/>
                  </a:lnTo>
                  <a:lnTo>
                    <a:pt x="224" y="630"/>
                  </a:lnTo>
                  <a:lnTo>
                    <a:pt x="224" y="630"/>
                  </a:lnTo>
                  <a:lnTo>
                    <a:pt x="226" y="630"/>
                  </a:lnTo>
                  <a:lnTo>
                    <a:pt x="227" y="628"/>
                  </a:lnTo>
                  <a:lnTo>
                    <a:pt x="226" y="628"/>
                  </a:lnTo>
                  <a:lnTo>
                    <a:pt x="223" y="627"/>
                  </a:lnTo>
                  <a:lnTo>
                    <a:pt x="221" y="627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20" y="628"/>
                  </a:lnTo>
                  <a:lnTo>
                    <a:pt x="218" y="628"/>
                  </a:lnTo>
                  <a:lnTo>
                    <a:pt x="220" y="627"/>
                  </a:lnTo>
                  <a:lnTo>
                    <a:pt x="218" y="625"/>
                  </a:lnTo>
                  <a:lnTo>
                    <a:pt x="218" y="625"/>
                  </a:lnTo>
                  <a:lnTo>
                    <a:pt x="217" y="627"/>
                  </a:lnTo>
                  <a:lnTo>
                    <a:pt x="217" y="628"/>
                  </a:lnTo>
                  <a:lnTo>
                    <a:pt x="215" y="628"/>
                  </a:lnTo>
                  <a:lnTo>
                    <a:pt x="217" y="627"/>
                  </a:lnTo>
                  <a:lnTo>
                    <a:pt x="218" y="620"/>
                  </a:lnTo>
                  <a:lnTo>
                    <a:pt x="218" y="620"/>
                  </a:lnTo>
                  <a:lnTo>
                    <a:pt x="218" y="620"/>
                  </a:lnTo>
                  <a:lnTo>
                    <a:pt x="218" y="622"/>
                  </a:lnTo>
                  <a:lnTo>
                    <a:pt x="220" y="620"/>
                  </a:lnTo>
                  <a:lnTo>
                    <a:pt x="220" y="619"/>
                  </a:lnTo>
                  <a:lnTo>
                    <a:pt x="220" y="619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20" y="617"/>
                  </a:lnTo>
                  <a:lnTo>
                    <a:pt x="218" y="617"/>
                  </a:lnTo>
                  <a:lnTo>
                    <a:pt x="218" y="617"/>
                  </a:lnTo>
                  <a:lnTo>
                    <a:pt x="218" y="617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17" y="614"/>
                  </a:lnTo>
                  <a:lnTo>
                    <a:pt x="217" y="614"/>
                  </a:lnTo>
                  <a:lnTo>
                    <a:pt x="215" y="614"/>
                  </a:lnTo>
                  <a:lnTo>
                    <a:pt x="215" y="616"/>
                  </a:lnTo>
                  <a:lnTo>
                    <a:pt x="215" y="616"/>
                  </a:lnTo>
                  <a:lnTo>
                    <a:pt x="214" y="614"/>
                  </a:lnTo>
                  <a:lnTo>
                    <a:pt x="212" y="614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6"/>
                  </a:lnTo>
                  <a:lnTo>
                    <a:pt x="212" y="617"/>
                  </a:lnTo>
                  <a:lnTo>
                    <a:pt x="212" y="617"/>
                  </a:lnTo>
                  <a:lnTo>
                    <a:pt x="212" y="617"/>
                  </a:lnTo>
                  <a:lnTo>
                    <a:pt x="211" y="620"/>
                  </a:lnTo>
                  <a:lnTo>
                    <a:pt x="211" y="617"/>
                  </a:lnTo>
                  <a:lnTo>
                    <a:pt x="211" y="617"/>
                  </a:lnTo>
                  <a:lnTo>
                    <a:pt x="211" y="616"/>
                  </a:lnTo>
                  <a:lnTo>
                    <a:pt x="211" y="616"/>
                  </a:lnTo>
                  <a:lnTo>
                    <a:pt x="209" y="614"/>
                  </a:lnTo>
                  <a:lnTo>
                    <a:pt x="209" y="614"/>
                  </a:lnTo>
                  <a:lnTo>
                    <a:pt x="207" y="613"/>
                  </a:lnTo>
                  <a:lnTo>
                    <a:pt x="209" y="613"/>
                  </a:lnTo>
                  <a:lnTo>
                    <a:pt x="209" y="613"/>
                  </a:lnTo>
                  <a:lnTo>
                    <a:pt x="209" y="613"/>
                  </a:lnTo>
                  <a:lnTo>
                    <a:pt x="209" y="611"/>
                  </a:lnTo>
                  <a:lnTo>
                    <a:pt x="209" y="611"/>
                  </a:lnTo>
                  <a:lnTo>
                    <a:pt x="209" y="611"/>
                  </a:lnTo>
                  <a:lnTo>
                    <a:pt x="207" y="611"/>
                  </a:lnTo>
                  <a:lnTo>
                    <a:pt x="207" y="611"/>
                  </a:lnTo>
                  <a:lnTo>
                    <a:pt x="206" y="611"/>
                  </a:lnTo>
                  <a:lnTo>
                    <a:pt x="206" y="611"/>
                  </a:lnTo>
                  <a:lnTo>
                    <a:pt x="204" y="608"/>
                  </a:lnTo>
                  <a:lnTo>
                    <a:pt x="203" y="608"/>
                  </a:lnTo>
                  <a:lnTo>
                    <a:pt x="203" y="611"/>
                  </a:lnTo>
                  <a:lnTo>
                    <a:pt x="201" y="610"/>
                  </a:lnTo>
                  <a:lnTo>
                    <a:pt x="201" y="610"/>
                  </a:lnTo>
                  <a:lnTo>
                    <a:pt x="200" y="610"/>
                  </a:lnTo>
                  <a:lnTo>
                    <a:pt x="200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200" y="608"/>
                  </a:lnTo>
                  <a:lnTo>
                    <a:pt x="200" y="608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8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10"/>
                  </a:lnTo>
                  <a:lnTo>
                    <a:pt x="198" y="607"/>
                  </a:lnTo>
                  <a:lnTo>
                    <a:pt x="197" y="605"/>
                  </a:lnTo>
                  <a:lnTo>
                    <a:pt x="197" y="605"/>
                  </a:lnTo>
                  <a:lnTo>
                    <a:pt x="195" y="605"/>
                  </a:lnTo>
                  <a:lnTo>
                    <a:pt x="195" y="604"/>
                  </a:lnTo>
                  <a:lnTo>
                    <a:pt x="195" y="604"/>
                  </a:lnTo>
                  <a:lnTo>
                    <a:pt x="194" y="604"/>
                  </a:lnTo>
                  <a:lnTo>
                    <a:pt x="192" y="605"/>
                  </a:lnTo>
                  <a:lnTo>
                    <a:pt x="191" y="605"/>
                  </a:lnTo>
                  <a:lnTo>
                    <a:pt x="191" y="607"/>
                  </a:lnTo>
                  <a:lnTo>
                    <a:pt x="191" y="611"/>
                  </a:lnTo>
                  <a:lnTo>
                    <a:pt x="189" y="613"/>
                  </a:lnTo>
                  <a:lnTo>
                    <a:pt x="189" y="614"/>
                  </a:lnTo>
                  <a:lnTo>
                    <a:pt x="187" y="613"/>
                  </a:lnTo>
                  <a:lnTo>
                    <a:pt x="186" y="616"/>
                  </a:lnTo>
                  <a:lnTo>
                    <a:pt x="184" y="616"/>
                  </a:lnTo>
                  <a:lnTo>
                    <a:pt x="180" y="616"/>
                  </a:lnTo>
                  <a:lnTo>
                    <a:pt x="178" y="617"/>
                  </a:lnTo>
                  <a:lnTo>
                    <a:pt x="177" y="619"/>
                  </a:lnTo>
                  <a:lnTo>
                    <a:pt x="175" y="620"/>
                  </a:lnTo>
                  <a:lnTo>
                    <a:pt x="175" y="622"/>
                  </a:lnTo>
                  <a:lnTo>
                    <a:pt x="174" y="624"/>
                  </a:lnTo>
                  <a:lnTo>
                    <a:pt x="174" y="624"/>
                  </a:lnTo>
                  <a:lnTo>
                    <a:pt x="172" y="625"/>
                  </a:lnTo>
                  <a:lnTo>
                    <a:pt x="172" y="625"/>
                  </a:lnTo>
                  <a:lnTo>
                    <a:pt x="171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7"/>
                  </a:lnTo>
                  <a:lnTo>
                    <a:pt x="169" y="628"/>
                  </a:lnTo>
                  <a:lnTo>
                    <a:pt x="169" y="628"/>
                  </a:lnTo>
                  <a:lnTo>
                    <a:pt x="166" y="633"/>
                  </a:lnTo>
                  <a:lnTo>
                    <a:pt x="164" y="634"/>
                  </a:lnTo>
                  <a:lnTo>
                    <a:pt x="160" y="637"/>
                  </a:lnTo>
                  <a:lnTo>
                    <a:pt x="160" y="637"/>
                  </a:lnTo>
                  <a:lnTo>
                    <a:pt x="158" y="637"/>
                  </a:lnTo>
                  <a:lnTo>
                    <a:pt x="157" y="637"/>
                  </a:lnTo>
                  <a:lnTo>
                    <a:pt x="150" y="639"/>
                  </a:lnTo>
                  <a:lnTo>
                    <a:pt x="150" y="640"/>
                  </a:lnTo>
                  <a:lnTo>
                    <a:pt x="149" y="642"/>
                  </a:lnTo>
                  <a:lnTo>
                    <a:pt x="147" y="644"/>
                  </a:lnTo>
                  <a:lnTo>
                    <a:pt x="141" y="647"/>
                  </a:lnTo>
                  <a:lnTo>
                    <a:pt x="141" y="647"/>
                  </a:lnTo>
                  <a:lnTo>
                    <a:pt x="138" y="647"/>
                  </a:lnTo>
                  <a:lnTo>
                    <a:pt x="135" y="645"/>
                  </a:lnTo>
                  <a:lnTo>
                    <a:pt x="126" y="644"/>
                  </a:lnTo>
                  <a:lnTo>
                    <a:pt x="124" y="642"/>
                  </a:lnTo>
                  <a:lnTo>
                    <a:pt x="121" y="637"/>
                  </a:lnTo>
                  <a:lnTo>
                    <a:pt x="120" y="637"/>
                  </a:lnTo>
                  <a:lnTo>
                    <a:pt x="121" y="636"/>
                  </a:lnTo>
                  <a:lnTo>
                    <a:pt x="121" y="634"/>
                  </a:lnTo>
                  <a:lnTo>
                    <a:pt x="121" y="634"/>
                  </a:lnTo>
                  <a:lnTo>
                    <a:pt x="120" y="633"/>
                  </a:lnTo>
                  <a:lnTo>
                    <a:pt x="120" y="633"/>
                  </a:lnTo>
                  <a:lnTo>
                    <a:pt x="120" y="633"/>
                  </a:lnTo>
                  <a:lnTo>
                    <a:pt x="118" y="631"/>
                  </a:lnTo>
                  <a:lnTo>
                    <a:pt x="118" y="631"/>
                  </a:lnTo>
                  <a:lnTo>
                    <a:pt x="118" y="633"/>
                  </a:lnTo>
                  <a:lnTo>
                    <a:pt x="117" y="634"/>
                  </a:lnTo>
                  <a:lnTo>
                    <a:pt x="117" y="636"/>
                  </a:lnTo>
                  <a:lnTo>
                    <a:pt x="118" y="637"/>
                  </a:lnTo>
                  <a:lnTo>
                    <a:pt x="118" y="637"/>
                  </a:lnTo>
                  <a:lnTo>
                    <a:pt x="120" y="639"/>
                  </a:lnTo>
                  <a:lnTo>
                    <a:pt x="120" y="640"/>
                  </a:lnTo>
                  <a:lnTo>
                    <a:pt x="118" y="642"/>
                  </a:lnTo>
                  <a:lnTo>
                    <a:pt x="114" y="656"/>
                  </a:lnTo>
                  <a:lnTo>
                    <a:pt x="114" y="656"/>
                  </a:lnTo>
                  <a:lnTo>
                    <a:pt x="115" y="656"/>
                  </a:lnTo>
                  <a:lnTo>
                    <a:pt x="115" y="659"/>
                  </a:lnTo>
                  <a:lnTo>
                    <a:pt x="117" y="659"/>
                  </a:lnTo>
                  <a:lnTo>
                    <a:pt x="117" y="659"/>
                  </a:lnTo>
                  <a:lnTo>
                    <a:pt x="118" y="659"/>
                  </a:lnTo>
                  <a:lnTo>
                    <a:pt x="118" y="659"/>
                  </a:lnTo>
                  <a:lnTo>
                    <a:pt x="118" y="660"/>
                  </a:lnTo>
                  <a:lnTo>
                    <a:pt x="118" y="660"/>
                  </a:lnTo>
                  <a:lnTo>
                    <a:pt x="117" y="660"/>
                  </a:lnTo>
                  <a:lnTo>
                    <a:pt x="117" y="662"/>
                  </a:lnTo>
                  <a:lnTo>
                    <a:pt x="117" y="664"/>
                  </a:lnTo>
                  <a:lnTo>
                    <a:pt x="115" y="665"/>
                  </a:lnTo>
                  <a:lnTo>
                    <a:pt x="114" y="665"/>
                  </a:lnTo>
                  <a:lnTo>
                    <a:pt x="114" y="667"/>
                  </a:lnTo>
                  <a:lnTo>
                    <a:pt x="114" y="670"/>
                  </a:lnTo>
                  <a:lnTo>
                    <a:pt x="115" y="670"/>
                  </a:lnTo>
                  <a:lnTo>
                    <a:pt x="115" y="671"/>
                  </a:lnTo>
                  <a:lnTo>
                    <a:pt x="115" y="670"/>
                  </a:lnTo>
                  <a:lnTo>
                    <a:pt x="117" y="668"/>
                  </a:lnTo>
                  <a:lnTo>
                    <a:pt x="118" y="667"/>
                  </a:lnTo>
                  <a:lnTo>
                    <a:pt x="120" y="667"/>
                  </a:lnTo>
                  <a:lnTo>
                    <a:pt x="118" y="668"/>
                  </a:lnTo>
                  <a:lnTo>
                    <a:pt x="118" y="670"/>
                  </a:lnTo>
                  <a:lnTo>
                    <a:pt x="120" y="671"/>
                  </a:lnTo>
                  <a:lnTo>
                    <a:pt x="123" y="668"/>
                  </a:lnTo>
                  <a:lnTo>
                    <a:pt x="124" y="668"/>
                  </a:lnTo>
                  <a:lnTo>
                    <a:pt x="126" y="670"/>
                  </a:lnTo>
                  <a:lnTo>
                    <a:pt x="127" y="673"/>
                  </a:lnTo>
                  <a:lnTo>
                    <a:pt x="127" y="674"/>
                  </a:lnTo>
                  <a:lnTo>
                    <a:pt x="127" y="677"/>
                  </a:lnTo>
                  <a:lnTo>
                    <a:pt x="129" y="677"/>
                  </a:lnTo>
                  <a:lnTo>
                    <a:pt x="130" y="679"/>
                  </a:lnTo>
                  <a:lnTo>
                    <a:pt x="132" y="681"/>
                  </a:lnTo>
                  <a:lnTo>
                    <a:pt x="132" y="684"/>
                  </a:lnTo>
                  <a:lnTo>
                    <a:pt x="132" y="685"/>
                  </a:lnTo>
                  <a:lnTo>
                    <a:pt x="132" y="691"/>
                  </a:lnTo>
                  <a:lnTo>
                    <a:pt x="132" y="693"/>
                  </a:lnTo>
                  <a:lnTo>
                    <a:pt x="134" y="694"/>
                  </a:lnTo>
                  <a:lnTo>
                    <a:pt x="134" y="693"/>
                  </a:lnTo>
                  <a:lnTo>
                    <a:pt x="137" y="694"/>
                  </a:lnTo>
                  <a:lnTo>
                    <a:pt x="138" y="696"/>
                  </a:lnTo>
                  <a:lnTo>
                    <a:pt x="138" y="699"/>
                  </a:lnTo>
                  <a:lnTo>
                    <a:pt x="138" y="701"/>
                  </a:lnTo>
                  <a:lnTo>
                    <a:pt x="138" y="705"/>
                  </a:lnTo>
                  <a:lnTo>
                    <a:pt x="138" y="711"/>
                  </a:lnTo>
                  <a:lnTo>
                    <a:pt x="138" y="713"/>
                  </a:lnTo>
                  <a:lnTo>
                    <a:pt x="140" y="716"/>
                  </a:lnTo>
                  <a:lnTo>
                    <a:pt x="140" y="716"/>
                  </a:lnTo>
                  <a:lnTo>
                    <a:pt x="140" y="717"/>
                  </a:lnTo>
                  <a:lnTo>
                    <a:pt x="138" y="719"/>
                  </a:lnTo>
                  <a:lnTo>
                    <a:pt x="138" y="721"/>
                  </a:lnTo>
                  <a:lnTo>
                    <a:pt x="138" y="721"/>
                  </a:lnTo>
                  <a:lnTo>
                    <a:pt x="137" y="721"/>
                  </a:lnTo>
                  <a:lnTo>
                    <a:pt x="135" y="722"/>
                  </a:lnTo>
                  <a:lnTo>
                    <a:pt x="134" y="722"/>
                  </a:lnTo>
                  <a:lnTo>
                    <a:pt x="134" y="722"/>
                  </a:lnTo>
                  <a:lnTo>
                    <a:pt x="132" y="722"/>
                  </a:lnTo>
                  <a:lnTo>
                    <a:pt x="132" y="724"/>
                  </a:lnTo>
                  <a:lnTo>
                    <a:pt x="132" y="724"/>
                  </a:lnTo>
                  <a:lnTo>
                    <a:pt x="132" y="724"/>
                  </a:lnTo>
                  <a:lnTo>
                    <a:pt x="134" y="725"/>
                  </a:lnTo>
                  <a:lnTo>
                    <a:pt x="134" y="725"/>
                  </a:lnTo>
                  <a:lnTo>
                    <a:pt x="132" y="728"/>
                  </a:lnTo>
                  <a:lnTo>
                    <a:pt x="132" y="728"/>
                  </a:lnTo>
                  <a:lnTo>
                    <a:pt x="134" y="733"/>
                  </a:lnTo>
                  <a:lnTo>
                    <a:pt x="134" y="733"/>
                  </a:lnTo>
                  <a:lnTo>
                    <a:pt x="132" y="734"/>
                  </a:lnTo>
                  <a:lnTo>
                    <a:pt x="132" y="734"/>
                  </a:lnTo>
                  <a:lnTo>
                    <a:pt x="132" y="734"/>
                  </a:lnTo>
                  <a:lnTo>
                    <a:pt x="134" y="736"/>
                  </a:lnTo>
                  <a:lnTo>
                    <a:pt x="134" y="736"/>
                  </a:lnTo>
                  <a:lnTo>
                    <a:pt x="134" y="736"/>
                  </a:lnTo>
                  <a:lnTo>
                    <a:pt x="135" y="737"/>
                  </a:lnTo>
                  <a:lnTo>
                    <a:pt x="135" y="737"/>
                  </a:lnTo>
                  <a:lnTo>
                    <a:pt x="135" y="739"/>
                  </a:lnTo>
                  <a:lnTo>
                    <a:pt x="135" y="739"/>
                  </a:lnTo>
                  <a:lnTo>
                    <a:pt x="135" y="741"/>
                  </a:lnTo>
                  <a:lnTo>
                    <a:pt x="137" y="737"/>
                  </a:lnTo>
                  <a:lnTo>
                    <a:pt x="137" y="737"/>
                  </a:lnTo>
                  <a:lnTo>
                    <a:pt x="138" y="736"/>
                  </a:lnTo>
                  <a:lnTo>
                    <a:pt x="137" y="736"/>
                  </a:lnTo>
                  <a:lnTo>
                    <a:pt x="137" y="736"/>
                  </a:lnTo>
                  <a:lnTo>
                    <a:pt x="137" y="736"/>
                  </a:lnTo>
                  <a:lnTo>
                    <a:pt x="137" y="737"/>
                  </a:lnTo>
                  <a:lnTo>
                    <a:pt x="135" y="736"/>
                  </a:lnTo>
                  <a:lnTo>
                    <a:pt x="138" y="734"/>
                  </a:lnTo>
                  <a:lnTo>
                    <a:pt x="140" y="734"/>
                  </a:lnTo>
                  <a:lnTo>
                    <a:pt x="143" y="736"/>
                  </a:lnTo>
                  <a:lnTo>
                    <a:pt x="144" y="739"/>
                  </a:lnTo>
                  <a:lnTo>
                    <a:pt x="144" y="741"/>
                  </a:lnTo>
                  <a:lnTo>
                    <a:pt x="144" y="741"/>
                  </a:lnTo>
                  <a:lnTo>
                    <a:pt x="144" y="744"/>
                  </a:lnTo>
                  <a:lnTo>
                    <a:pt x="144" y="745"/>
                  </a:lnTo>
                  <a:lnTo>
                    <a:pt x="143" y="747"/>
                  </a:lnTo>
                  <a:lnTo>
                    <a:pt x="143" y="748"/>
                  </a:lnTo>
                  <a:lnTo>
                    <a:pt x="141" y="750"/>
                  </a:lnTo>
                  <a:lnTo>
                    <a:pt x="143" y="750"/>
                  </a:lnTo>
                  <a:lnTo>
                    <a:pt x="143" y="748"/>
                  </a:lnTo>
                  <a:lnTo>
                    <a:pt x="143" y="748"/>
                  </a:lnTo>
                  <a:lnTo>
                    <a:pt x="143" y="748"/>
                  </a:lnTo>
                  <a:lnTo>
                    <a:pt x="144" y="748"/>
                  </a:lnTo>
                  <a:lnTo>
                    <a:pt x="143" y="748"/>
                  </a:lnTo>
                  <a:lnTo>
                    <a:pt x="141" y="750"/>
                  </a:lnTo>
                  <a:lnTo>
                    <a:pt x="141" y="751"/>
                  </a:lnTo>
                  <a:lnTo>
                    <a:pt x="141" y="753"/>
                  </a:lnTo>
                  <a:lnTo>
                    <a:pt x="141" y="754"/>
                  </a:lnTo>
                  <a:lnTo>
                    <a:pt x="146" y="756"/>
                  </a:lnTo>
                  <a:lnTo>
                    <a:pt x="143" y="756"/>
                  </a:lnTo>
                  <a:lnTo>
                    <a:pt x="141" y="756"/>
                  </a:lnTo>
                  <a:lnTo>
                    <a:pt x="140" y="754"/>
                  </a:lnTo>
                  <a:lnTo>
                    <a:pt x="138" y="750"/>
                  </a:lnTo>
                  <a:lnTo>
                    <a:pt x="138" y="750"/>
                  </a:lnTo>
                  <a:lnTo>
                    <a:pt x="137" y="750"/>
                  </a:lnTo>
                  <a:lnTo>
                    <a:pt x="137" y="750"/>
                  </a:lnTo>
                  <a:lnTo>
                    <a:pt x="137" y="753"/>
                  </a:lnTo>
                  <a:lnTo>
                    <a:pt x="137" y="753"/>
                  </a:lnTo>
                  <a:lnTo>
                    <a:pt x="137" y="754"/>
                  </a:lnTo>
                  <a:lnTo>
                    <a:pt x="137" y="756"/>
                  </a:lnTo>
                  <a:lnTo>
                    <a:pt x="137" y="759"/>
                  </a:lnTo>
                  <a:lnTo>
                    <a:pt x="138" y="764"/>
                  </a:lnTo>
                  <a:lnTo>
                    <a:pt x="138" y="765"/>
                  </a:lnTo>
                  <a:lnTo>
                    <a:pt x="137" y="767"/>
                  </a:lnTo>
                  <a:lnTo>
                    <a:pt x="138" y="767"/>
                  </a:lnTo>
                  <a:lnTo>
                    <a:pt x="137" y="770"/>
                  </a:lnTo>
                  <a:lnTo>
                    <a:pt x="135" y="773"/>
                  </a:lnTo>
                  <a:lnTo>
                    <a:pt x="135" y="774"/>
                  </a:lnTo>
                  <a:lnTo>
                    <a:pt x="132" y="776"/>
                  </a:lnTo>
                  <a:lnTo>
                    <a:pt x="132" y="778"/>
                  </a:lnTo>
                  <a:lnTo>
                    <a:pt x="132" y="778"/>
                  </a:lnTo>
                  <a:lnTo>
                    <a:pt x="132" y="779"/>
                  </a:lnTo>
                  <a:lnTo>
                    <a:pt x="134" y="781"/>
                  </a:lnTo>
                  <a:lnTo>
                    <a:pt x="134" y="782"/>
                  </a:lnTo>
                  <a:lnTo>
                    <a:pt x="134" y="784"/>
                  </a:lnTo>
                  <a:lnTo>
                    <a:pt x="132" y="784"/>
                  </a:lnTo>
                  <a:lnTo>
                    <a:pt x="132" y="785"/>
                  </a:lnTo>
                  <a:lnTo>
                    <a:pt x="130" y="787"/>
                  </a:lnTo>
                  <a:lnTo>
                    <a:pt x="132" y="788"/>
                  </a:lnTo>
                  <a:lnTo>
                    <a:pt x="134" y="790"/>
                  </a:lnTo>
                  <a:lnTo>
                    <a:pt x="134" y="791"/>
                  </a:lnTo>
                  <a:lnTo>
                    <a:pt x="135" y="794"/>
                  </a:lnTo>
                  <a:lnTo>
                    <a:pt x="135" y="796"/>
                  </a:lnTo>
                  <a:lnTo>
                    <a:pt x="132" y="801"/>
                  </a:lnTo>
                  <a:lnTo>
                    <a:pt x="130" y="801"/>
                  </a:lnTo>
                  <a:lnTo>
                    <a:pt x="130" y="802"/>
                  </a:lnTo>
                  <a:lnTo>
                    <a:pt x="132" y="802"/>
                  </a:lnTo>
                  <a:lnTo>
                    <a:pt x="132" y="804"/>
                  </a:lnTo>
                  <a:lnTo>
                    <a:pt x="132" y="804"/>
                  </a:lnTo>
                  <a:lnTo>
                    <a:pt x="134" y="804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5"/>
                  </a:lnTo>
                  <a:lnTo>
                    <a:pt x="135" y="805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7" y="808"/>
                  </a:lnTo>
                  <a:lnTo>
                    <a:pt x="135" y="810"/>
                  </a:lnTo>
                  <a:lnTo>
                    <a:pt x="137" y="811"/>
                  </a:lnTo>
                  <a:lnTo>
                    <a:pt x="137" y="811"/>
                  </a:lnTo>
                  <a:lnTo>
                    <a:pt x="138" y="811"/>
                  </a:lnTo>
                  <a:lnTo>
                    <a:pt x="138" y="813"/>
                  </a:lnTo>
                  <a:lnTo>
                    <a:pt x="138" y="814"/>
                  </a:lnTo>
                  <a:lnTo>
                    <a:pt x="140" y="814"/>
                  </a:lnTo>
                  <a:lnTo>
                    <a:pt x="140" y="814"/>
                  </a:lnTo>
                  <a:lnTo>
                    <a:pt x="141" y="814"/>
                  </a:lnTo>
                  <a:lnTo>
                    <a:pt x="141" y="814"/>
                  </a:lnTo>
                  <a:lnTo>
                    <a:pt x="141" y="816"/>
                  </a:lnTo>
                  <a:lnTo>
                    <a:pt x="141" y="816"/>
                  </a:lnTo>
                  <a:lnTo>
                    <a:pt x="141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6" y="822"/>
                  </a:lnTo>
                  <a:lnTo>
                    <a:pt x="146" y="827"/>
                  </a:lnTo>
                  <a:lnTo>
                    <a:pt x="147" y="827"/>
                  </a:lnTo>
                  <a:lnTo>
                    <a:pt x="149" y="828"/>
                  </a:lnTo>
                  <a:lnTo>
                    <a:pt x="149" y="830"/>
                  </a:lnTo>
                  <a:lnTo>
                    <a:pt x="147" y="831"/>
                  </a:lnTo>
                  <a:lnTo>
                    <a:pt x="147" y="833"/>
                  </a:lnTo>
                  <a:lnTo>
                    <a:pt x="149" y="833"/>
                  </a:lnTo>
                  <a:lnTo>
                    <a:pt x="150" y="833"/>
                  </a:lnTo>
                  <a:lnTo>
                    <a:pt x="150" y="833"/>
                  </a:lnTo>
                  <a:lnTo>
                    <a:pt x="150" y="834"/>
                  </a:lnTo>
                  <a:lnTo>
                    <a:pt x="150" y="836"/>
                  </a:lnTo>
                  <a:lnTo>
                    <a:pt x="152" y="834"/>
                  </a:lnTo>
                  <a:lnTo>
                    <a:pt x="152" y="833"/>
                  </a:lnTo>
                  <a:lnTo>
                    <a:pt x="154" y="831"/>
                  </a:lnTo>
                  <a:lnTo>
                    <a:pt x="155" y="830"/>
                  </a:lnTo>
                  <a:lnTo>
                    <a:pt x="157" y="830"/>
                  </a:lnTo>
                  <a:lnTo>
                    <a:pt x="158" y="830"/>
                  </a:lnTo>
                  <a:lnTo>
                    <a:pt x="160" y="830"/>
                  </a:lnTo>
                  <a:lnTo>
                    <a:pt x="163" y="831"/>
                  </a:lnTo>
                  <a:lnTo>
                    <a:pt x="163" y="833"/>
                  </a:lnTo>
                  <a:lnTo>
                    <a:pt x="163" y="831"/>
                  </a:lnTo>
                  <a:lnTo>
                    <a:pt x="164" y="833"/>
                  </a:lnTo>
                  <a:lnTo>
                    <a:pt x="166" y="834"/>
                  </a:lnTo>
                  <a:lnTo>
                    <a:pt x="167" y="834"/>
                  </a:lnTo>
                  <a:lnTo>
                    <a:pt x="167" y="834"/>
                  </a:lnTo>
                  <a:lnTo>
                    <a:pt x="167" y="833"/>
                  </a:lnTo>
                  <a:lnTo>
                    <a:pt x="169" y="833"/>
                  </a:lnTo>
                  <a:lnTo>
                    <a:pt x="169" y="833"/>
                  </a:lnTo>
                  <a:lnTo>
                    <a:pt x="171" y="831"/>
                  </a:lnTo>
                  <a:lnTo>
                    <a:pt x="177" y="824"/>
                  </a:lnTo>
                  <a:lnTo>
                    <a:pt x="178" y="824"/>
                  </a:lnTo>
                  <a:lnTo>
                    <a:pt x="178" y="824"/>
                  </a:lnTo>
                  <a:lnTo>
                    <a:pt x="178" y="824"/>
                  </a:lnTo>
                  <a:lnTo>
                    <a:pt x="180" y="824"/>
                  </a:lnTo>
                  <a:lnTo>
                    <a:pt x="180" y="824"/>
                  </a:lnTo>
                  <a:lnTo>
                    <a:pt x="180" y="819"/>
                  </a:lnTo>
                  <a:lnTo>
                    <a:pt x="181" y="818"/>
                  </a:lnTo>
                  <a:lnTo>
                    <a:pt x="181" y="818"/>
                  </a:lnTo>
                  <a:lnTo>
                    <a:pt x="180" y="816"/>
                  </a:lnTo>
                  <a:lnTo>
                    <a:pt x="180" y="816"/>
                  </a:lnTo>
                  <a:lnTo>
                    <a:pt x="180" y="814"/>
                  </a:lnTo>
                  <a:lnTo>
                    <a:pt x="180" y="813"/>
                  </a:lnTo>
                  <a:lnTo>
                    <a:pt x="178" y="811"/>
                  </a:lnTo>
                  <a:lnTo>
                    <a:pt x="180" y="808"/>
                  </a:lnTo>
                  <a:lnTo>
                    <a:pt x="180" y="807"/>
                  </a:lnTo>
                  <a:lnTo>
                    <a:pt x="181" y="805"/>
                  </a:lnTo>
                  <a:lnTo>
                    <a:pt x="183" y="802"/>
                  </a:lnTo>
                  <a:lnTo>
                    <a:pt x="184" y="802"/>
                  </a:lnTo>
                  <a:lnTo>
                    <a:pt x="184" y="801"/>
                  </a:lnTo>
                  <a:lnTo>
                    <a:pt x="183" y="801"/>
                  </a:lnTo>
                  <a:lnTo>
                    <a:pt x="181" y="801"/>
                  </a:lnTo>
                  <a:lnTo>
                    <a:pt x="181" y="801"/>
                  </a:lnTo>
                  <a:lnTo>
                    <a:pt x="180" y="801"/>
                  </a:lnTo>
                  <a:lnTo>
                    <a:pt x="180" y="801"/>
                  </a:lnTo>
                  <a:lnTo>
                    <a:pt x="180" y="801"/>
                  </a:lnTo>
                  <a:lnTo>
                    <a:pt x="180" y="799"/>
                  </a:lnTo>
                  <a:lnTo>
                    <a:pt x="180" y="799"/>
                  </a:lnTo>
                  <a:lnTo>
                    <a:pt x="180" y="798"/>
                  </a:lnTo>
                  <a:lnTo>
                    <a:pt x="178" y="798"/>
                  </a:lnTo>
                  <a:lnTo>
                    <a:pt x="178" y="798"/>
                  </a:lnTo>
                  <a:lnTo>
                    <a:pt x="180" y="798"/>
                  </a:lnTo>
                  <a:lnTo>
                    <a:pt x="181" y="798"/>
                  </a:lnTo>
                  <a:lnTo>
                    <a:pt x="181" y="798"/>
                  </a:lnTo>
                  <a:lnTo>
                    <a:pt x="181" y="799"/>
                  </a:lnTo>
                  <a:lnTo>
                    <a:pt x="183" y="799"/>
                  </a:lnTo>
                  <a:lnTo>
                    <a:pt x="183" y="799"/>
                  </a:lnTo>
                  <a:lnTo>
                    <a:pt x="186" y="802"/>
                  </a:lnTo>
                  <a:lnTo>
                    <a:pt x="187" y="804"/>
                  </a:lnTo>
                  <a:lnTo>
                    <a:pt x="191" y="805"/>
                  </a:lnTo>
                  <a:lnTo>
                    <a:pt x="191" y="804"/>
                  </a:lnTo>
                  <a:lnTo>
                    <a:pt x="191" y="804"/>
                  </a:lnTo>
                  <a:lnTo>
                    <a:pt x="192" y="802"/>
                  </a:lnTo>
                  <a:lnTo>
                    <a:pt x="194" y="801"/>
                  </a:lnTo>
                  <a:lnTo>
                    <a:pt x="197" y="801"/>
                  </a:lnTo>
                  <a:lnTo>
                    <a:pt x="198" y="802"/>
                  </a:lnTo>
                  <a:lnTo>
                    <a:pt x="198" y="802"/>
                  </a:lnTo>
                  <a:lnTo>
                    <a:pt x="200" y="802"/>
                  </a:lnTo>
                  <a:lnTo>
                    <a:pt x="200" y="802"/>
                  </a:lnTo>
                  <a:lnTo>
                    <a:pt x="201" y="802"/>
                  </a:lnTo>
                  <a:lnTo>
                    <a:pt x="201" y="804"/>
                  </a:lnTo>
                  <a:lnTo>
                    <a:pt x="203" y="804"/>
                  </a:lnTo>
                  <a:lnTo>
                    <a:pt x="203" y="804"/>
                  </a:lnTo>
                  <a:lnTo>
                    <a:pt x="204" y="805"/>
                  </a:lnTo>
                  <a:lnTo>
                    <a:pt x="206" y="807"/>
                  </a:lnTo>
                  <a:lnTo>
                    <a:pt x="206" y="807"/>
                  </a:lnTo>
                  <a:lnTo>
                    <a:pt x="207" y="808"/>
                  </a:lnTo>
                  <a:lnTo>
                    <a:pt x="209" y="810"/>
                  </a:lnTo>
                  <a:lnTo>
                    <a:pt x="211" y="810"/>
                  </a:lnTo>
                  <a:lnTo>
                    <a:pt x="211" y="811"/>
                  </a:lnTo>
                  <a:lnTo>
                    <a:pt x="211" y="811"/>
                  </a:lnTo>
                  <a:lnTo>
                    <a:pt x="212" y="810"/>
                  </a:lnTo>
                  <a:lnTo>
                    <a:pt x="214" y="810"/>
                  </a:lnTo>
                  <a:lnTo>
                    <a:pt x="215" y="810"/>
                  </a:lnTo>
                  <a:lnTo>
                    <a:pt x="215" y="811"/>
                  </a:lnTo>
                  <a:lnTo>
                    <a:pt x="215" y="811"/>
                  </a:lnTo>
                  <a:lnTo>
                    <a:pt x="215" y="811"/>
                  </a:lnTo>
                  <a:lnTo>
                    <a:pt x="215" y="813"/>
                  </a:lnTo>
                  <a:lnTo>
                    <a:pt x="217" y="813"/>
                  </a:lnTo>
                  <a:lnTo>
                    <a:pt x="217" y="811"/>
                  </a:lnTo>
                  <a:lnTo>
                    <a:pt x="218" y="810"/>
                  </a:lnTo>
                  <a:lnTo>
                    <a:pt x="220" y="810"/>
                  </a:lnTo>
                  <a:lnTo>
                    <a:pt x="220" y="808"/>
                  </a:lnTo>
                  <a:lnTo>
                    <a:pt x="220" y="807"/>
                  </a:lnTo>
                  <a:lnTo>
                    <a:pt x="221" y="805"/>
                  </a:lnTo>
                  <a:lnTo>
                    <a:pt x="221" y="805"/>
                  </a:lnTo>
                  <a:lnTo>
                    <a:pt x="220" y="804"/>
                  </a:lnTo>
                  <a:lnTo>
                    <a:pt x="220" y="804"/>
                  </a:lnTo>
                  <a:lnTo>
                    <a:pt x="220" y="804"/>
                  </a:lnTo>
                  <a:lnTo>
                    <a:pt x="220" y="802"/>
                  </a:lnTo>
                  <a:lnTo>
                    <a:pt x="220" y="801"/>
                  </a:lnTo>
                  <a:lnTo>
                    <a:pt x="221" y="798"/>
                  </a:lnTo>
                  <a:lnTo>
                    <a:pt x="223" y="794"/>
                  </a:lnTo>
                  <a:lnTo>
                    <a:pt x="224" y="794"/>
                  </a:lnTo>
                  <a:lnTo>
                    <a:pt x="224" y="794"/>
                  </a:lnTo>
                  <a:lnTo>
                    <a:pt x="223" y="793"/>
                  </a:lnTo>
                  <a:lnTo>
                    <a:pt x="223" y="791"/>
                  </a:lnTo>
                  <a:lnTo>
                    <a:pt x="223" y="790"/>
                  </a:lnTo>
                  <a:lnTo>
                    <a:pt x="223" y="788"/>
                  </a:lnTo>
                  <a:lnTo>
                    <a:pt x="223" y="785"/>
                  </a:lnTo>
                  <a:lnTo>
                    <a:pt x="226" y="779"/>
                  </a:lnTo>
                  <a:lnTo>
                    <a:pt x="226" y="776"/>
                  </a:lnTo>
                  <a:lnTo>
                    <a:pt x="224" y="774"/>
                  </a:lnTo>
                  <a:lnTo>
                    <a:pt x="226" y="768"/>
                  </a:lnTo>
                  <a:lnTo>
                    <a:pt x="226" y="765"/>
                  </a:lnTo>
                  <a:lnTo>
                    <a:pt x="226" y="762"/>
                  </a:lnTo>
                  <a:lnTo>
                    <a:pt x="226" y="761"/>
                  </a:lnTo>
                  <a:lnTo>
                    <a:pt x="226" y="759"/>
                  </a:lnTo>
                  <a:lnTo>
                    <a:pt x="227" y="759"/>
                  </a:lnTo>
                  <a:lnTo>
                    <a:pt x="227" y="758"/>
                  </a:lnTo>
                  <a:lnTo>
                    <a:pt x="227" y="756"/>
                  </a:lnTo>
                  <a:lnTo>
                    <a:pt x="227" y="754"/>
                  </a:lnTo>
                  <a:lnTo>
                    <a:pt x="227" y="754"/>
                  </a:lnTo>
                  <a:lnTo>
                    <a:pt x="227" y="753"/>
                  </a:lnTo>
                  <a:lnTo>
                    <a:pt x="227" y="750"/>
                  </a:lnTo>
                  <a:lnTo>
                    <a:pt x="227" y="748"/>
                  </a:lnTo>
                  <a:lnTo>
                    <a:pt x="227" y="747"/>
                  </a:lnTo>
                  <a:lnTo>
                    <a:pt x="227" y="744"/>
                  </a:lnTo>
                  <a:lnTo>
                    <a:pt x="229" y="742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41"/>
                  </a:lnTo>
                  <a:lnTo>
                    <a:pt x="229" y="739"/>
                  </a:lnTo>
                  <a:lnTo>
                    <a:pt x="229" y="739"/>
                  </a:lnTo>
                  <a:lnTo>
                    <a:pt x="229" y="739"/>
                  </a:lnTo>
                  <a:lnTo>
                    <a:pt x="229" y="737"/>
                  </a:lnTo>
                  <a:lnTo>
                    <a:pt x="229" y="737"/>
                  </a:lnTo>
                  <a:lnTo>
                    <a:pt x="229" y="736"/>
                  </a:lnTo>
                  <a:lnTo>
                    <a:pt x="229" y="734"/>
                  </a:lnTo>
                  <a:lnTo>
                    <a:pt x="231" y="734"/>
                  </a:lnTo>
                  <a:lnTo>
                    <a:pt x="231" y="734"/>
                  </a:lnTo>
                  <a:lnTo>
                    <a:pt x="231" y="734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31" y="733"/>
                  </a:lnTo>
                  <a:lnTo>
                    <a:pt x="229" y="733"/>
                  </a:lnTo>
                  <a:lnTo>
                    <a:pt x="229" y="730"/>
                  </a:lnTo>
                  <a:lnTo>
                    <a:pt x="229" y="727"/>
                  </a:lnTo>
                  <a:lnTo>
                    <a:pt x="232" y="721"/>
                  </a:lnTo>
                  <a:lnTo>
                    <a:pt x="232" y="719"/>
                  </a:lnTo>
                  <a:lnTo>
                    <a:pt x="231" y="717"/>
                  </a:lnTo>
                  <a:lnTo>
                    <a:pt x="229" y="714"/>
                  </a:lnTo>
                  <a:lnTo>
                    <a:pt x="229" y="714"/>
                  </a:lnTo>
                  <a:lnTo>
                    <a:pt x="227" y="714"/>
                  </a:lnTo>
                  <a:lnTo>
                    <a:pt x="226" y="713"/>
                  </a:lnTo>
                  <a:lnTo>
                    <a:pt x="224" y="708"/>
                  </a:lnTo>
                  <a:lnTo>
                    <a:pt x="224" y="707"/>
                  </a:lnTo>
                  <a:lnTo>
                    <a:pt x="224" y="702"/>
                  </a:lnTo>
                  <a:lnTo>
                    <a:pt x="224" y="701"/>
                  </a:lnTo>
                  <a:lnTo>
                    <a:pt x="224" y="699"/>
                  </a:lnTo>
                  <a:lnTo>
                    <a:pt x="226" y="697"/>
                  </a:lnTo>
                  <a:lnTo>
                    <a:pt x="227" y="696"/>
                  </a:lnTo>
                  <a:lnTo>
                    <a:pt x="229" y="696"/>
                  </a:lnTo>
                  <a:lnTo>
                    <a:pt x="231" y="693"/>
                  </a:lnTo>
                  <a:lnTo>
                    <a:pt x="231" y="691"/>
                  </a:lnTo>
                  <a:lnTo>
                    <a:pt x="232" y="691"/>
                  </a:lnTo>
                  <a:lnTo>
                    <a:pt x="234" y="690"/>
                  </a:lnTo>
                  <a:lnTo>
                    <a:pt x="234" y="688"/>
                  </a:lnTo>
                  <a:lnTo>
                    <a:pt x="235" y="685"/>
                  </a:lnTo>
                  <a:lnTo>
                    <a:pt x="237" y="682"/>
                  </a:lnTo>
                  <a:lnTo>
                    <a:pt x="238" y="681"/>
                  </a:lnTo>
                  <a:lnTo>
                    <a:pt x="238" y="679"/>
                  </a:lnTo>
                  <a:lnTo>
                    <a:pt x="238" y="677"/>
                  </a:lnTo>
                  <a:lnTo>
                    <a:pt x="240" y="676"/>
                  </a:lnTo>
                  <a:lnTo>
                    <a:pt x="240" y="676"/>
                  </a:lnTo>
                  <a:lnTo>
                    <a:pt x="238" y="674"/>
                  </a:lnTo>
                  <a:close/>
                  <a:moveTo>
                    <a:pt x="138" y="816"/>
                  </a:moveTo>
                  <a:lnTo>
                    <a:pt x="138" y="816"/>
                  </a:lnTo>
                  <a:lnTo>
                    <a:pt x="138" y="816"/>
                  </a:lnTo>
                  <a:lnTo>
                    <a:pt x="138" y="816"/>
                  </a:lnTo>
                  <a:lnTo>
                    <a:pt x="137" y="816"/>
                  </a:lnTo>
                  <a:lnTo>
                    <a:pt x="137" y="816"/>
                  </a:lnTo>
                  <a:lnTo>
                    <a:pt x="137" y="813"/>
                  </a:lnTo>
                  <a:lnTo>
                    <a:pt x="134" y="813"/>
                  </a:lnTo>
                  <a:lnTo>
                    <a:pt x="132" y="813"/>
                  </a:lnTo>
                  <a:lnTo>
                    <a:pt x="130" y="811"/>
                  </a:lnTo>
                  <a:lnTo>
                    <a:pt x="129" y="813"/>
                  </a:lnTo>
                  <a:lnTo>
                    <a:pt x="129" y="814"/>
                  </a:lnTo>
                  <a:lnTo>
                    <a:pt x="129" y="814"/>
                  </a:lnTo>
                  <a:lnTo>
                    <a:pt x="129" y="814"/>
                  </a:lnTo>
                  <a:lnTo>
                    <a:pt x="129" y="818"/>
                  </a:lnTo>
                  <a:lnTo>
                    <a:pt x="130" y="821"/>
                  </a:lnTo>
                  <a:lnTo>
                    <a:pt x="134" y="825"/>
                  </a:lnTo>
                  <a:lnTo>
                    <a:pt x="134" y="825"/>
                  </a:lnTo>
                  <a:lnTo>
                    <a:pt x="134" y="825"/>
                  </a:lnTo>
                  <a:lnTo>
                    <a:pt x="134" y="827"/>
                  </a:lnTo>
                  <a:lnTo>
                    <a:pt x="135" y="827"/>
                  </a:lnTo>
                  <a:lnTo>
                    <a:pt x="135" y="827"/>
                  </a:lnTo>
                  <a:lnTo>
                    <a:pt x="135" y="825"/>
                  </a:lnTo>
                  <a:lnTo>
                    <a:pt x="137" y="824"/>
                  </a:lnTo>
                  <a:lnTo>
                    <a:pt x="137" y="821"/>
                  </a:lnTo>
                  <a:lnTo>
                    <a:pt x="138" y="819"/>
                  </a:lnTo>
                  <a:lnTo>
                    <a:pt x="138" y="818"/>
                  </a:lnTo>
                  <a:lnTo>
                    <a:pt x="138" y="818"/>
                  </a:lnTo>
                  <a:lnTo>
                    <a:pt x="140" y="816"/>
                  </a:lnTo>
                  <a:lnTo>
                    <a:pt x="138" y="816"/>
                  </a:lnTo>
                  <a:lnTo>
                    <a:pt x="138" y="816"/>
                  </a:lnTo>
                  <a:close/>
                  <a:moveTo>
                    <a:pt x="123" y="624"/>
                  </a:moveTo>
                  <a:lnTo>
                    <a:pt x="121" y="624"/>
                  </a:lnTo>
                  <a:lnTo>
                    <a:pt x="120" y="625"/>
                  </a:lnTo>
                  <a:lnTo>
                    <a:pt x="120" y="625"/>
                  </a:lnTo>
                  <a:lnTo>
                    <a:pt x="120" y="627"/>
                  </a:lnTo>
                  <a:lnTo>
                    <a:pt x="120" y="628"/>
                  </a:lnTo>
                  <a:lnTo>
                    <a:pt x="120" y="628"/>
                  </a:lnTo>
                  <a:lnTo>
                    <a:pt x="118" y="630"/>
                  </a:lnTo>
                  <a:lnTo>
                    <a:pt x="121" y="630"/>
                  </a:lnTo>
                  <a:lnTo>
                    <a:pt x="121" y="628"/>
                  </a:lnTo>
                  <a:lnTo>
                    <a:pt x="121" y="625"/>
                  </a:lnTo>
                  <a:lnTo>
                    <a:pt x="124" y="624"/>
                  </a:lnTo>
                  <a:lnTo>
                    <a:pt x="127" y="624"/>
                  </a:lnTo>
                  <a:lnTo>
                    <a:pt x="129" y="622"/>
                  </a:lnTo>
                  <a:lnTo>
                    <a:pt x="129" y="620"/>
                  </a:lnTo>
                  <a:lnTo>
                    <a:pt x="129" y="619"/>
                  </a:lnTo>
                  <a:lnTo>
                    <a:pt x="127" y="619"/>
                  </a:lnTo>
                  <a:lnTo>
                    <a:pt x="127" y="617"/>
                  </a:lnTo>
                  <a:lnTo>
                    <a:pt x="127" y="617"/>
                  </a:lnTo>
                  <a:lnTo>
                    <a:pt x="127" y="617"/>
                  </a:lnTo>
                  <a:lnTo>
                    <a:pt x="126" y="617"/>
                  </a:lnTo>
                  <a:lnTo>
                    <a:pt x="126" y="617"/>
                  </a:lnTo>
                  <a:lnTo>
                    <a:pt x="126" y="619"/>
                  </a:lnTo>
                  <a:lnTo>
                    <a:pt x="126" y="619"/>
                  </a:lnTo>
                  <a:lnTo>
                    <a:pt x="124" y="619"/>
                  </a:lnTo>
                  <a:lnTo>
                    <a:pt x="124" y="619"/>
                  </a:lnTo>
                  <a:lnTo>
                    <a:pt x="124" y="620"/>
                  </a:lnTo>
                  <a:lnTo>
                    <a:pt x="124" y="620"/>
                  </a:lnTo>
                  <a:lnTo>
                    <a:pt x="124" y="622"/>
                  </a:lnTo>
                  <a:lnTo>
                    <a:pt x="123" y="624"/>
                  </a:lnTo>
                  <a:close/>
                  <a:moveTo>
                    <a:pt x="211" y="611"/>
                  </a:moveTo>
                  <a:lnTo>
                    <a:pt x="211" y="611"/>
                  </a:lnTo>
                  <a:lnTo>
                    <a:pt x="212" y="611"/>
                  </a:lnTo>
                  <a:lnTo>
                    <a:pt x="212" y="613"/>
                  </a:lnTo>
                  <a:lnTo>
                    <a:pt x="212" y="613"/>
                  </a:lnTo>
                  <a:lnTo>
                    <a:pt x="214" y="611"/>
                  </a:lnTo>
                  <a:lnTo>
                    <a:pt x="214" y="611"/>
                  </a:lnTo>
                  <a:lnTo>
                    <a:pt x="212" y="611"/>
                  </a:lnTo>
                  <a:lnTo>
                    <a:pt x="214" y="608"/>
                  </a:lnTo>
                  <a:lnTo>
                    <a:pt x="214" y="607"/>
                  </a:lnTo>
                  <a:lnTo>
                    <a:pt x="214" y="607"/>
                  </a:lnTo>
                  <a:lnTo>
                    <a:pt x="214" y="607"/>
                  </a:lnTo>
                  <a:lnTo>
                    <a:pt x="212" y="605"/>
                  </a:lnTo>
                  <a:lnTo>
                    <a:pt x="212" y="605"/>
                  </a:lnTo>
                  <a:lnTo>
                    <a:pt x="212" y="607"/>
                  </a:lnTo>
                  <a:lnTo>
                    <a:pt x="211" y="608"/>
                  </a:lnTo>
                  <a:lnTo>
                    <a:pt x="211" y="608"/>
                  </a:lnTo>
                  <a:lnTo>
                    <a:pt x="211" y="610"/>
                  </a:lnTo>
                  <a:lnTo>
                    <a:pt x="211" y="611"/>
                  </a:lnTo>
                  <a:lnTo>
                    <a:pt x="211" y="611"/>
                  </a:lnTo>
                  <a:close/>
                  <a:moveTo>
                    <a:pt x="209" y="605"/>
                  </a:moveTo>
                  <a:lnTo>
                    <a:pt x="209" y="604"/>
                  </a:lnTo>
                  <a:lnTo>
                    <a:pt x="209" y="604"/>
                  </a:lnTo>
                  <a:lnTo>
                    <a:pt x="209" y="604"/>
                  </a:lnTo>
                  <a:lnTo>
                    <a:pt x="207" y="604"/>
                  </a:lnTo>
                  <a:lnTo>
                    <a:pt x="207" y="604"/>
                  </a:lnTo>
                  <a:lnTo>
                    <a:pt x="207" y="604"/>
                  </a:lnTo>
                  <a:lnTo>
                    <a:pt x="207" y="605"/>
                  </a:lnTo>
                  <a:lnTo>
                    <a:pt x="207" y="605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7"/>
                  </a:lnTo>
                  <a:lnTo>
                    <a:pt x="206" y="608"/>
                  </a:lnTo>
                  <a:lnTo>
                    <a:pt x="207" y="608"/>
                  </a:lnTo>
                  <a:lnTo>
                    <a:pt x="211" y="608"/>
                  </a:lnTo>
                  <a:lnTo>
                    <a:pt x="211" y="608"/>
                  </a:lnTo>
                  <a:lnTo>
                    <a:pt x="209" y="607"/>
                  </a:lnTo>
                  <a:lnTo>
                    <a:pt x="209" y="607"/>
                  </a:lnTo>
                  <a:lnTo>
                    <a:pt x="209" y="605"/>
                  </a:lnTo>
                  <a:lnTo>
                    <a:pt x="209" y="605"/>
                  </a:lnTo>
                  <a:close/>
                  <a:moveTo>
                    <a:pt x="622" y="876"/>
                  </a:moveTo>
                  <a:lnTo>
                    <a:pt x="620" y="879"/>
                  </a:lnTo>
                  <a:lnTo>
                    <a:pt x="620" y="881"/>
                  </a:lnTo>
                  <a:lnTo>
                    <a:pt x="622" y="881"/>
                  </a:lnTo>
                  <a:lnTo>
                    <a:pt x="623" y="884"/>
                  </a:lnTo>
                  <a:lnTo>
                    <a:pt x="625" y="882"/>
                  </a:lnTo>
                  <a:lnTo>
                    <a:pt x="625" y="882"/>
                  </a:lnTo>
                  <a:lnTo>
                    <a:pt x="625" y="881"/>
                  </a:lnTo>
                  <a:lnTo>
                    <a:pt x="623" y="879"/>
                  </a:lnTo>
                  <a:lnTo>
                    <a:pt x="623" y="879"/>
                  </a:lnTo>
                  <a:lnTo>
                    <a:pt x="622" y="878"/>
                  </a:lnTo>
                  <a:lnTo>
                    <a:pt x="622" y="876"/>
                  </a:lnTo>
                  <a:lnTo>
                    <a:pt x="622" y="876"/>
                  </a:lnTo>
                  <a:close/>
                  <a:moveTo>
                    <a:pt x="640" y="844"/>
                  </a:moveTo>
                  <a:lnTo>
                    <a:pt x="642" y="844"/>
                  </a:lnTo>
                  <a:lnTo>
                    <a:pt x="642" y="844"/>
                  </a:lnTo>
                  <a:lnTo>
                    <a:pt x="642" y="842"/>
                  </a:lnTo>
                  <a:lnTo>
                    <a:pt x="642" y="842"/>
                  </a:lnTo>
                  <a:lnTo>
                    <a:pt x="642" y="841"/>
                  </a:lnTo>
                  <a:lnTo>
                    <a:pt x="642" y="841"/>
                  </a:lnTo>
                  <a:lnTo>
                    <a:pt x="642" y="841"/>
                  </a:lnTo>
                  <a:lnTo>
                    <a:pt x="640" y="841"/>
                  </a:lnTo>
                  <a:lnTo>
                    <a:pt x="640" y="841"/>
                  </a:lnTo>
                  <a:lnTo>
                    <a:pt x="640" y="841"/>
                  </a:lnTo>
                  <a:lnTo>
                    <a:pt x="640" y="842"/>
                  </a:lnTo>
                  <a:lnTo>
                    <a:pt x="639" y="842"/>
                  </a:lnTo>
                  <a:lnTo>
                    <a:pt x="639" y="842"/>
                  </a:lnTo>
                  <a:lnTo>
                    <a:pt x="639" y="842"/>
                  </a:lnTo>
                  <a:lnTo>
                    <a:pt x="640" y="844"/>
                  </a:lnTo>
                  <a:lnTo>
                    <a:pt x="640" y="844"/>
                  </a:lnTo>
                  <a:close/>
                  <a:moveTo>
                    <a:pt x="622" y="868"/>
                  </a:moveTo>
                  <a:lnTo>
                    <a:pt x="619" y="868"/>
                  </a:lnTo>
                  <a:lnTo>
                    <a:pt x="617" y="868"/>
                  </a:lnTo>
                  <a:lnTo>
                    <a:pt x="617" y="870"/>
                  </a:lnTo>
                  <a:lnTo>
                    <a:pt x="617" y="871"/>
                  </a:lnTo>
                  <a:lnTo>
                    <a:pt x="617" y="873"/>
                  </a:lnTo>
                  <a:lnTo>
                    <a:pt x="619" y="873"/>
                  </a:lnTo>
                  <a:lnTo>
                    <a:pt x="620" y="875"/>
                  </a:lnTo>
                  <a:lnTo>
                    <a:pt x="620" y="875"/>
                  </a:lnTo>
                  <a:lnTo>
                    <a:pt x="622" y="875"/>
                  </a:lnTo>
                  <a:lnTo>
                    <a:pt x="622" y="875"/>
                  </a:lnTo>
                  <a:lnTo>
                    <a:pt x="622" y="873"/>
                  </a:lnTo>
                  <a:lnTo>
                    <a:pt x="622" y="873"/>
                  </a:lnTo>
                  <a:lnTo>
                    <a:pt x="620" y="871"/>
                  </a:lnTo>
                  <a:lnTo>
                    <a:pt x="623" y="871"/>
                  </a:lnTo>
                  <a:lnTo>
                    <a:pt x="623" y="871"/>
                  </a:lnTo>
                  <a:lnTo>
                    <a:pt x="622" y="871"/>
                  </a:lnTo>
                  <a:lnTo>
                    <a:pt x="622" y="870"/>
                  </a:lnTo>
                  <a:lnTo>
                    <a:pt x="622" y="870"/>
                  </a:lnTo>
                  <a:lnTo>
                    <a:pt x="622" y="868"/>
                  </a:lnTo>
                  <a:lnTo>
                    <a:pt x="622" y="868"/>
                  </a:lnTo>
                  <a:close/>
                  <a:moveTo>
                    <a:pt x="887" y="714"/>
                  </a:moveTo>
                  <a:lnTo>
                    <a:pt x="885" y="714"/>
                  </a:lnTo>
                  <a:lnTo>
                    <a:pt x="887" y="713"/>
                  </a:lnTo>
                  <a:lnTo>
                    <a:pt x="885" y="713"/>
                  </a:lnTo>
                  <a:lnTo>
                    <a:pt x="885" y="713"/>
                  </a:lnTo>
                  <a:lnTo>
                    <a:pt x="885" y="711"/>
                  </a:lnTo>
                  <a:lnTo>
                    <a:pt x="881" y="701"/>
                  </a:lnTo>
                  <a:lnTo>
                    <a:pt x="876" y="694"/>
                  </a:lnTo>
                  <a:lnTo>
                    <a:pt x="874" y="693"/>
                  </a:lnTo>
                  <a:lnTo>
                    <a:pt x="873" y="693"/>
                  </a:lnTo>
                  <a:lnTo>
                    <a:pt x="873" y="691"/>
                  </a:lnTo>
                  <a:lnTo>
                    <a:pt x="870" y="688"/>
                  </a:lnTo>
                  <a:lnTo>
                    <a:pt x="868" y="685"/>
                  </a:lnTo>
                  <a:lnTo>
                    <a:pt x="867" y="685"/>
                  </a:lnTo>
                  <a:lnTo>
                    <a:pt x="865" y="682"/>
                  </a:lnTo>
                  <a:lnTo>
                    <a:pt x="865" y="682"/>
                  </a:lnTo>
                  <a:lnTo>
                    <a:pt x="864" y="682"/>
                  </a:lnTo>
                  <a:lnTo>
                    <a:pt x="856" y="677"/>
                  </a:lnTo>
                  <a:lnTo>
                    <a:pt x="850" y="673"/>
                  </a:lnTo>
                  <a:lnTo>
                    <a:pt x="851" y="668"/>
                  </a:lnTo>
                  <a:lnTo>
                    <a:pt x="851" y="668"/>
                  </a:lnTo>
                  <a:lnTo>
                    <a:pt x="848" y="665"/>
                  </a:lnTo>
                  <a:lnTo>
                    <a:pt x="848" y="665"/>
                  </a:lnTo>
                  <a:lnTo>
                    <a:pt x="848" y="664"/>
                  </a:lnTo>
                  <a:lnTo>
                    <a:pt x="848" y="664"/>
                  </a:lnTo>
                  <a:lnTo>
                    <a:pt x="847" y="664"/>
                  </a:lnTo>
                  <a:lnTo>
                    <a:pt x="845" y="664"/>
                  </a:lnTo>
                  <a:lnTo>
                    <a:pt x="845" y="664"/>
                  </a:lnTo>
                  <a:lnTo>
                    <a:pt x="845" y="662"/>
                  </a:lnTo>
                  <a:lnTo>
                    <a:pt x="842" y="660"/>
                  </a:lnTo>
                  <a:lnTo>
                    <a:pt x="836" y="659"/>
                  </a:lnTo>
                  <a:lnTo>
                    <a:pt x="830" y="654"/>
                  </a:lnTo>
                  <a:lnTo>
                    <a:pt x="822" y="651"/>
                  </a:lnTo>
                  <a:lnTo>
                    <a:pt x="820" y="650"/>
                  </a:lnTo>
                  <a:lnTo>
                    <a:pt x="814" y="648"/>
                  </a:lnTo>
                  <a:lnTo>
                    <a:pt x="811" y="647"/>
                  </a:lnTo>
                  <a:lnTo>
                    <a:pt x="810" y="647"/>
                  </a:lnTo>
                  <a:lnTo>
                    <a:pt x="808" y="645"/>
                  </a:lnTo>
                  <a:lnTo>
                    <a:pt x="804" y="640"/>
                  </a:lnTo>
                  <a:lnTo>
                    <a:pt x="802" y="639"/>
                  </a:lnTo>
                  <a:lnTo>
                    <a:pt x="800" y="639"/>
                  </a:lnTo>
                  <a:lnTo>
                    <a:pt x="799" y="637"/>
                  </a:lnTo>
                  <a:lnTo>
                    <a:pt x="796" y="634"/>
                  </a:lnTo>
                  <a:lnTo>
                    <a:pt x="794" y="631"/>
                  </a:lnTo>
                  <a:lnTo>
                    <a:pt x="788" y="627"/>
                  </a:lnTo>
                  <a:lnTo>
                    <a:pt x="777" y="620"/>
                  </a:lnTo>
                  <a:lnTo>
                    <a:pt x="765" y="617"/>
                  </a:lnTo>
                  <a:lnTo>
                    <a:pt x="763" y="616"/>
                  </a:lnTo>
                  <a:lnTo>
                    <a:pt x="762" y="616"/>
                  </a:lnTo>
                  <a:lnTo>
                    <a:pt x="762" y="616"/>
                  </a:lnTo>
                  <a:lnTo>
                    <a:pt x="762" y="616"/>
                  </a:lnTo>
                  <a:lnTo>
                    <a:pt x="760" y="614"/>
                  </a:lnTo>
                  <a:lnTo>
                    <a:pt x="743" y="608"/>
                  </a:lnTo>
                  <a:lnTo>
                    <a:pt x="740" y="607"/>
                  </a:lnTo>
                  <a:lnTo>
                    <a:pt x="739" y="605"/>
                  </a:lnTo>
                  <a:lnTo>
                    <a:pt x="737" y="605"/>
                  </a:lnTo>
                  <a:lnTo>
                    <a:pt x="733" y="604"/>
                  </a:lnTo>
                  <a:lnTo>
                    <a:pt x="722" y="597"/>
                  </a:lnTo>
                  <a:lnTo>
                    <a:pt x="708" y="590"/>
                  </a:lnTo>
                  <a:lnTo>
                    <a:pt x="706" y="590"/>
                  </a:lnTo>
                  <a:lnTo>
                    <a:pt x="705" y="588"/>
                  </a:lnTo>
                  <a:lnTo>
                    <a:pt x="700" y="587"/>
                  </a:lnTo>
                  <a:lnTo>
                    <a:pt x="696" y="583"/>
                  </a:lnTo>
                  <a:lnTo>
                    <a:pt x="694" y="582"/>
                  </a:lnTo>
                  <a:lnTo>
                    <a:pt x="693" y="579"/>
                  </a:lnTo>
                  <a:lnTo>
                    <a:pt x="691" y="576"/>
                  </a:lnTo>
                  <a:lnTo>
                    <a:pt x="691" y="573"/>
                  </a:lnTo>
                  <a:lnTo>
                    <a:pt x="691" y="568"/>
                  </a:lnTo>
                  <a:lnTo>
                    <a:pt x="693" y="567"/>
                  </a:lnTo>
                  <a:lnTo>
                    <a:pt x="700" y="562"/>
                  </a:lnTo>
                  <a:lnTo>
                    <a:pt x="703" y="560"/>
                  </a:lnTo>
                  <a:lnTo>
                    <a:pt x="705" y="557"/>
                  </a:lnTo>
                  <a:lnTo>
                    <a:pt x="706" y="556"/>
                  </a:lnTo>
                  <a:lnTo>
                    <a:pt x="708" y="556"/>
                  </a:lnTo>
                  <a:lnTo>
                    <a:pt x="710" y="556"/>
                  </a:lnTo>
                  <a:lnTo>
                    <a:pt x="711" y="554"/>
                  </a:lnTo>
                  <a:lnTo>
                    <a:pt x="713" y="553"/>
                  </a:lnTo>
                  <a:lnTo>
                    <a:pt x="713" y="551"/>
                  </a:lnTo>
                  <a:lnTo>
                    <a:pt x="713" y="550"/>
                  </a:lnTo>
                  <a:lnTo>
                    <a:pt x="713" y="548"/>
                  </a:lnTo>
                  <a:lnTo>
                    <a:pt x="713" y="545"/>
                  </a:lnTo>
                  <a:lnTo>
                    <a:pt x="713" y="542"/>
                  </a:lnTo>
                  <a:lnTo>
                    <a:pt x="713" y="540"/>
                  </a:lnTo>
                  <a:lnTo>
                    <a:pt x="711" y="540"/>
                  </a:lnTo>
                  <a:lnTo>
                    <a:pt x="710" y="539"/>
                  </a:lnTo>
                  <a:lnTo>
                    <a:pt x="706" y="537"/>
                  </a:lnTo>
                  <a:lnTo>
                    <a:pt x="706" y="537"/>
                  </a:lnTo>
                  <a:lnTo>
                    <a:pt x="700" y="536"/>
                  </a:lnTo>
                  <a:lnTo>
                    <a:pt x="682" y="537"/>
                  </a:lnTo>
                  <a:lnTo>
                    <a:pt x="670" y="537"/>
                  </a:lnTo>
                  <a:lnTo>
                    <a:pt x="657" y="539"/>
                  </a:lnTo>
                  <a:lnTo>
                    <a:pt x="654" y="539"/>
                  </a:lnTo>
                  <a:lnTo>
                    <a:pt x="645" y="537"/>
                  </a:lnTo>
                  <a:lnTo>
                    <a:pt x="637" y="537"/>
                  </a:lnTo>
                  <a:lnTo>
                    <a:pt x="636" y="537"/>
                  </a:lnTo>
                  <a:lnTo>
                    <a:pt x="634" y="537"/>
                  </a:lnTo>
                  <a:lnTo>
                    <a:pt x="633" y="536"/>
                  </a:lnTo>
                  <a:lnTo>
                    <a:pt x="629" y="534"/>
                  </a:lnTo>
                  <a:lnTo>
                    <a:pt x="628" y="533"/>
                  </a:lnTo>
                  <a:lnTo>
                    <a:pt x="626" y="533"/>
                  </a:lnTo>
                  <a:lnTo>
                    <a:pt x="625" y="530"/>
                  </a:lnTo>
                  <a:lnTo>
                    <a:pt x="623" y="530"/>
                  </a:lnTo>
                  <a:lnTo>
                    <a:pt x="620" y="528"/>
                  </a:lnTo>
                  <a:lnTo>
                    <a:pt x="614" y="527"/>
                  </a:lnTo>
                  <a:lnTo>
                    <a:pt x="613" y="525"/>
                  </a:lnTo>
                  <a:lnTo>
                    <a:pt x="609" y="523"/>
                  </a:lnTo>
                  <a:lnTo>
                    <a:pt x="608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5" y="522"/>
                  </a:lnTo>
                  <a:lnTo>
                    <a:pt x="605" y="520"/>
                  </a:lnTo>
                  <a:lnTo>
                    <a:pt x="603" y="519"/>
                  </a:lnTo>
                  <a:lnTo>
                    <a:pt x="603" y="514"/>
                  </a:lnTo>
                  <a:lnTo>
                    <a:pt x="603" y="513"/>
                  </a:lnTo>
                  <a:lnTo>
                    <a:pt x="602" y="511"/>
                  </a:lnTo>
                  <a:lnTo>
                    <a:pt x="599" y="511"/>
                  </a:lnTo>
                  <a:lnTo>
                    <a:pt x="594" y="510"/>
                  </a:lnTo>
                  <a:lnTo>
                    <a:pt x="591" y="508"/>
                  </a:lnTo>
                  <a:lnTo>
                    <a:pt x="582" y="497"/>
                  </a:lnTo>
                  <a:lnTo>
                    <a:pt x="579" y="493"/>
                  </a:lnTo>
                  <a:lnTo>
                    <a:pt x="577" y="491"/>
                  </a:lnTo>
                  <a:lnTo>
                    <a:pt x="571" y="486"/>
                  </a:lnTo>
                  <a:lnTo>
                    <a:pt x="566" y="483"/>
                  </a:lnTo>
                  <a:lnTo>
                    <a:pt x="556" y="470"/>
                  </a:lnTo>
                  <a:lnTo>
                    <a:pt x="556" y="470"/>
                  </a:lnTo>
                  <a:lnTo>
                    <a:pt x="554" y="468"/>
                  </a:lnTo>
                  <a:lnTo>
                    <a:pt x="549" y="460"/>
                  </a:lnTo>
                  <a:lnTo>
                    <a:pt x="548" y="457"/>
                  </a:lnTo>
                  <a:lnTo>
                    <a:pt x="546" y="450"/>
                  </a:lnTo>
                  <a:lnTo>
                    <a:pt x="543" y="439"/>
                  </a:lnTo>
                  <a:lnTo>
                    <a:pt x="540" y="430"/>
                  </a:lnTo>
                  <a:lnTo>
                    <a:pt x="539" y="420"/>
                  </a:lnTo>
                  <a:lnTo>
                    <a:pt x="537" y="417"/>
                  </a:lnTo>
                  <a:lnTo>
                    <a:pt x="536" y="411"/>
                  </a:lnTo>
                  <a:lnTo>
                    <a:pt x="534" y="409"/>
                  </a:lnTo>
                  <a:lnTo>
                    <a:pt x="534" y="409"/>
                  </a:lnTo>
                  <a:lnTo>
                    <a:pt x="534" y="405"/>
                  </a:lnTo>
                  <a:lnTo>
                    <a:pt x="534" y="405"/>
                  </a:lnTo>
                  <a:lnTo>
                    <a:pt x="532" y="403"/>
                  </a:lnTo>
                  <a:lnTo>
                    <a:pt x="522" y="376"/>
                  </a:lnTo>
                  <a:lnTo>
                    <a:pt x="522" y="374"/>
                  </a:lnTo>
                  <a:lnTo>
                    <a:pt x="522" y="373"/>
                  </a:lnTo>
                  <a:lnTo>
                    <a:pt x="520" y="371"/>
                  </a:lnTo>
                  <a:lnTo>
                    <a:pt x="519" y="371"/>
                  </a:lnTo>
                  <a:lnTo>
                    <a:pt x="519" y="371"/>
                  </a:lnTo>
                  <a:lnTo>
                    <a:pt x="517" y="369"/>
                  </a:lnTo>
                  <a:lnTo>
                    <a:pt x="516" y="366"/>
                  </a:lnTo>
                  <a:lnTo>
                    <a:pt x="514" y="366"/>
                  </a:lnTo>
                  <a:lnTo>
                    <a:pt x="514" y="366"/>
                  </a:lnTo>
                  <a:lnTo>
                    <a:pt x="514" y="365"/>
                  </a:lnTo>
                  <a:lnTo>
                    <a:pt x="514" y="365"/>
                  </a:lnTo>
                  <a:lnTo>
                    <a:pt x="514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6"/>
                  </a:lnTo>
                  <a:lnTo>
                    <a:pt x="511" y="366"/>
                  </a:lnTo>
                  <a:lnTo>
                    <a:pt x="511" y="368"/>
                  </a:lnTo>
                  <a:lnTo>
                    <a:pt x="509" y="366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3" y="363"/>
                  </a:lnTo>
                  <a:lnTo>
                    <a:pt x="494" y="357"/>
                  </a:lnTo>
                  <a:lnTo>
                    <a:pt x="471" y="337"/>
                  </a:lnTo>
                  <a:lnTo>
                    <a:pt x="471" y="337"/>
                  </a:lnTo>
                  <a:lnTo>
                    <a:pt x="471" y="336"/>
                  </a:lnTo>
                  <a:lnTo>
                    <a:pt x="465" y="334"/>
                  </a:lnTo>
                  <a:lnTo>
                    <a:pt x="462" y="331"/>
                  </a:lnTo>
                  <a:lnTo>
                    <a:pt x="462" y="331"/>
                  </a:lnTo>
                  <a:lnTo>
                    <a:pt x="457" y="329"/>
                  </a:lnTo>
                  <a:lnTo>
                    <a:pt x="457" y="329"/>
                  </a:lnTo>
                  <a:lnTo>
                    <a:pt x="454" y="329"/>
                  </a:lnTo>
                  <a:lnTo>
                    <a:pt x="452" y="328"/>
                  </a:lnTo>
                  <a:lnTo>
                    <a:pt x="451" y="326"/>
                  </a:lnTo>
                  <a:lnTo>
                    <a:pt x="448" y="325"/>
                  </a:lnTo>
                  <a:lnTo>
                    <a:pt x="443" y="319"/>
                  </a:lnTo>
                  <a:lnTo>
                    <a:pt x="442" y="317"/>
                  </a:lnTo>
                  <a:lnTo>
                    <a:pt x="438" y="316"/>
                  </a:lnTo>
                  <a:lnTo>
                    <a:pt x="437" y="312"/>
                  </a:lnTo>
                  <a:lnTo>
                    <a:pt x="435" y="309"/>
                  </a:lnTo>
                  <a:lnTo>
                    <a:pt x="432" y="306"/>
                  </a:lnTo>
                  <a:lnTo>
                    <a:pt x="431" y="305"/>
                  </a:lnTo>
                  <a:lnTo>
                    <a:pt x="428" y="302"/>
                  </a:lnTo>
                  <a:lnTo>
                    <a:pt x="428" y="297"/>
                  </a:lnTo>
                  <a:lnTo>
                    <a:pt x="426" y="296"/>
                  </a:lnTo>
                  <a:lnTo>
                    <a:pt x="426" y="292"/>
                  </a:lnTo>
                  <a:lnTo>
                    <a:pt x="426" y="292"/>
                  </a:lnTo>
                  <a:lnTo>
                    <a:pt x="425" y="291"/>
                  </a:lnTo>
                  <a:lnTo>
                    <a:pt x="425" y="291"/>
                  </a:lnTo>
                  <a:lnTo>
                    <a:pt x="425" y="289"/>
                  </a:lnTo>
                  <a:lnTo>
                    <a:pt x="425" y="288"/>
                  </a:lnTo>
                  <a:lnTo>
                    <a:pt x="422" y="277"/>
                  </a:lnTo>
                  <a:lnTo>
                    <a:pt x="422" y="272"/>
                  </a:lnTo>
                  <a:lnTo>
                    <a:pt x="422" y="265"/>
                  </a:lnTo>
                  <a:lnTo>
                    <a:pt x="422" y="263"/>
                  </a:lnTo>
                  <a:lnTo>
                    <a:pt x="422" y="263"/>
                  </a:lnTo>
                  <a:lnTo>
                    <a:pt x="422" y="262"/>
                  </a:lnTo>
                  <a:lnTo>
                    <a:pt x="420" y="259"/>
                  </a:lnTo>
                  <a:lnTo>
                    <a:pt x="420" y="254"/>
                  </a:lnTo>
                  <a:lnTo>
                    <a:pt x="420" y="249"/>
                  </a:lnTo>
                  <a:lnTo>
                    <a:pt x="422" y="242"/>
                  </a:lnTo>
                  <a:lnTo>
                    <a:pt x="422" y="242"/>
                  </a:lnTo>
                  <a:lnTo>
                    <a:pt x="422" y="242"/>
                  </a:lnTo>
                  <a:lnTo>
                    <a:pt x="423" y="240"/>
                  </a:lnTo>
                  <a:lnTo>
                    <a:pt x="423" y="240"/>
                  </a:lnTo>
                  <a:lnTo>
                    <a:pt x="425" y="240"/>
                  </a:lnTo>
                  <a:lnTo>
                    <a:pt x="426" y="243"/>
                  </a:lnTo>
                  <a:lnTo>
                    <a:pt x="428" y="243"/>
                  </a:lnTo>
                  <a:lnTo>
                    <a:pt x="429" y="245"/>
                  </a:lnTo>
                  <a:lnTo>
                    <a:pt x="431" y="245"/>
                  </a:lnTo>
                  <a:lnTo>
                    <a:pt x="432" y="243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1" y="242"/>
                  </a:lnTo>
                  <a:lnTo>
                    <a:pt x="431" y="242"/>
                  </a:lnTo>
                  <a:lnTo>
                    <a:pt x="431" y="240"/>
                  </a:lnTo>
                  <a:lnTo>
                    <a:pt x="431" y="240"/>
                  </a:lnTo>
                  <a:lnTo>
                    <a:pt x="432" y="240"/>
                  </a:lnTo>
                  <a:lnTo>
                    <a:pt x="432" y="239"/>
                  </a:lnTo>
                  <a:lnTo>
                    <a:pt x="431" y="239"/>
                  </a:lnTo>
                  <a:lnTo>
                    <a:pt x="431" y="237"/>
                  </a:lnTo>
                  <a:lnTo>
                    <a:pt x="431" y="235"/>
                  </a:lnTo>
                  <a:lnTo>
                    <a:pt x="431" y="234"/>
                  </a:lnTo>
                  <a:lnTo>
                    <a:pt x="432" y="234"/>
                  </a:lnTo>
                  <a:lnTo>
                    <a:pt x="432" y="234"/>
                  </a:lnTo>
                  <a:lnTo>
                    <a:pt x="434" y="234"/>
                  </a:lnTo>
                  <a:lnTo>
                    <a:pt x="434" y="235"/>
                  </a:lnTo>
                  <a:lnTo>
                    <a:pt x="434" y="235"/>
                  </a:lnTo>
                  <a:lnTo>
                    <a:pt x="432" y="239"/>
                  </a:lnTo>
                  <a:lnTo>
                    <a:pt x="434" y="240"/>
                  </a:lnTo>
                  <a:lnTo>
                    <a:pt x="434" y="240"/>
                  </a:lnTo>
                  <a:lnTo>
                    <a:pt x="434" y="242"/>
                  </a:lnTo>
                  <a:lnTo>
                    <a:pt x="434" y="242"/>
                  </a:lnTo>
                  <a:lnTo>
                    <a:pt x="437" y="240"/>
                  </a:lnTo>
                  <a:lnTo>
                    <a:pt x="437" y="237"/>
                  </a:lnTo>
                  <a:lnTo>
                    <a:pt x="437" y="235"/>
                  </a:lnTo>
                  <a:lnTo>
                    <a:pt x="438" y="232"/>
                  </a:lnTo>
                  <a:lnTo>
                    <a:pt x="438" y="231"/>
                  </a:lnTo>
                  <a:lnTo>
                    <a:pt x="438" y="231"/>
                  </a:lnTo>
                  <a:lnTo>
                    <a:pt x="438" y="231"/>
                  </a:lnTo>
                  <a:lnTo>
                    <a:pt x="440" y="231"/>
                  </a:lnTo>
                  <a:lnTo>
                    <a:pt x="440" y="231"/>
                  </a:lnTo>
                  <a:lnTo>
                    <a:pt x="440" y="229"/>
                  </a:lnTo>
                  <a:lnTo>
                    <a:pt x="440" y="228"/>
                  </a:lnTo>
                  <a:lnTo>
                    <a:pt x="440" y="228"/>
                  </a:lnTo>
                  <a:lnTo>
                    <a:pt x="440" y="226"/>
                  </a:lnTo>
                  <a:lnTo>
                    <a:pt x="440" y="225"/>
                  </a:lnTo>
                  <a:lnTo>
                    <a:pt x="440" y="225"/>
                  </a:lnTo>
                  <a:lnTo>
                    <a:pt x="438" y="225"/>
                  </a:lnTo>
                  <a:lnTo>
                    <a:pt x="437" y="225"/>
                  </a:lnTo>
                  <a:lnTo>
                    <a:pt x="437" y="225"/>
                  </a:lnTo>
                  <a:lnTo>
                    <a:pt x="437" y="225"/>
                  </a:lnTo>
                  <a:lnTo>
                    <a:pt x="438" y="225"/>
                  </a:lnTo>
                  <a:lnTo>
                    <a:pt x="438" y="225"/>
                  </a:lnTo>
                  <a:lnTo>
                    <a:pt x="437" y="226"/>
                  </a:lnTo>
                  <a:lnTo>
                    <a:pt x="435" y="225"/>
                  </a:lnTo>
                  <a:lnTo>
                    <a:pt x="434" y="222"/>
                  </a:lnTo>
                  <a:lnTo>
                    <a:pt x="434" y="222"/>
                  </a:lnTo>
                  <a:lnTo>
                    <a:pt x="432" y="222"/>
                  </a:lnTo>
                  <a:lnTo>
                    <a:pt x="431" y="220"/>
                  </a:lnTo>
                  <a:lnTo>
                    <a:pt x="432" y="219"/>
                  </a:lnTo>
                  <a:lnTo>
                    <a:pt x="431" y="219"/>
                  </a:lnTo>
                  <a:lnTo>
                    <a:pt x="429" y="217"/>
                  </a:lnTo>
                  <a:lnTo>
                    <a:pt x="428" y="217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20"/>
                  </a:lnTo>
                  <a:lnTo>
                    <a:pt x="428" y="222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8" y="220"/>
                  </a:lnTo>
                  <a:lnTo>
                    <a:pt x="429" y="220"/>
                  </a:lnTo>
                  <a:lnTo>
                    <a:pt x="429" y="219"/>
                  </a:lnTo>
                  <a:lnTo>
                    <a:pt x="428" y="219"/>
                  </a:lnTo>
                  <a:lnTo>
                    <a:pt x="428" y="217"/>
                  </a:lnTo>
                  <a:lnTo>
                    <a:pt x="426" y="215"/>
                  </a:lnTo>
                  <a:lnTo>
                    <a:pt x="425" y="214"/>
                  </a:lnTo>
                  <a:lnTo>
                    <a:pt x="425" y="214"/>
                  </a:lnTo>
                  <a:lnTo>
                    <a:pt x="425" y="214"/>
                  </a:lnTo>
                  <a:lnTo>
                    <a:pt x="426" y="215"/>
                  </a:lnTo>
                  <a:lnTo>
                    <a:pt x="423" y="215"/>
                  </a:lnTo>
                  <a:lnTo>
                    <a:pt x="423" y="214"/>
                  </a:lnTo>
                  <a:lnTo>
                    <a:pt x="423" y="212"/>
                  </a:lnTo>
                  <a:lnTo>
                    <a:pt x="425" y="209"/>
                  </a:lnTo>
                  <a:lnTo>
                    <a:pt x="425" y="211"/>
                  </a:lnTo>
                  <a:lnTo>
                    <a:pt x="425" y="211"/>
                  </a:lnTo>
                  <a:lnTo>
                    <a:pt x="425" y="212"/>
                  </a:lnTo>
                  <a:lnTo>
                    <a:pt x="425" y="212"/>
                  </a:lnTo>
                  <a:lnTo>
                    <a:pt x="426" y="212"/>
                  </a:lnTo>
                  <a:lnTo>
                    <a:pt x="425" y="209"/>
                  </a:lnTo>
                  <a:lnTo>
                    <a:pt x="425" y="205"/>
                  </a:lnTo>
                  <a:lnTo>
                    <a:pt x="425" y="203"/>
                  </a:lnTo>
                  <a:lnTo>
                    <a:pt x="423" y="202"/>
                  </a:lnTo>
                  <a:lnTo>
                    <a:pt x="423" y="200"/>
                  </a:lnTo>
                  <a:lnTo>
                    <a:pt x="425" y="199"/>
                  </a:lnTo>
                  <a:lnTo>
                    <a:pt x="423" y="200"/>
                  </a:lnTo>
                  <a:lnTo>
                    <a:pt x="422" y="202"/>
                  </a:lnTo>
                  <a:lnTo>
                    <a:pt x="420" y="202"/>
                  </a:lnTo>
                  <a:lnTo>
                    <a:pt x="420" y="202"/>
                  </a:lnTo>
                  <a:lnTo>
                    <a:pt x="420" y="202"/>
                  </a:lnTo>
                  <a:lnTo>
                    <a:pt x="422" y="203"/>
                  </a:lnTo>
                  <a:lnTo>
                    <a:pt x="420" y="203"/>
                  </a:lnTo>
                  <a:lnTo>
                    <a:pt x="418" y="202"/>
                  </a:lnTo>
                  <a:lnTo>
                    <a:pt x="417" y="200"/>
                  </a:lnTo>
                  <a:lnTo>
                    <a:pt x="418" y="199"/>
                  </a:lnTo>
                  <a:lnTo>
                    <a:pt x="417" y="199"/>
                  </a:lnTo>
                  <a:lnTo>
                    <a:pt x="417" y="197"/>
                  </a:lnTo>
                  <a:lnTo>
                    <a:pt x="417" y="197"/>
                  </a:lnTo>
                  <a:lnTo>
                    <a:pt x="418" y="197"/>
                  </a:lnTo>
                  <a:lnTo>
                    <a:pt x="417" y="195"/>
                  </a:lnTo>
                  <a:lnTo>
                    <a:pt x="417" y="194"/>
                  </a:lnTo>
                  <a:lnTo>
                    <a:pt x="417" y="192"/>
                  </a:lnTo>
                  <a:lnTo>
                    <a:pt x="415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5" y="195"/>
                  </a:lnTo>
                  <a:lnTo>
                    <a:pt x="414" y="195"/>
                  </a:lnTo>
                  <a:lnTo>
                    <a:pt x="414" y="195"/>
                  </a:lnTo>
                  <a:lnTo>
                    <a:pt x="412" y="194"/>
                  </a:lnTo>
                  <a:lnTo>
                    <a:pt x="412" y="192"/>
                  </a:lnTo>
                  <a:lnTo>
                    <a:pt x="412" y="191"/>
                  </a:lnTo>
                  <a:lnTo>
                    <a:pt x="414" y="189"/>
                  </a:lnTo>
                  <a:lnTo>
                    <a:pt x="414" y="191"/>
                  </a:lnTo>
                  <a:lnTo>
                    <a:pt x="415" y="191"/>
                  </a:lnTo>
                  <a:lnTo>
                    <a:pt x="417" y="191"/>
                  </a:lnTo>
                  <a:lnTo>
                    <a:pt x="417" y="189"/>
                  </a:lnTo>
                  <a:lnTo>
                    <a:pt x="417" y="189"/>
                  </a:lnTo>
                  <a:lnTo>
                    <a:pt x="418" y="188"/>
                  </a:lnTo>
                  <a:lnTo>
                    <a:pt x="417" y="186"/>
                  </a:lnTo>
                  <a:lnTo>
                    <a:pt x="418" y="186"/>
                  </a:lnTo>
                  <a:lnTo>
                    <a:pt x="418" y="186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20" y="183"/>
                  </a:lnTo>
                  <a:lnTo>
                    <a:pt x="420" y="183"/>
                  </a:lnTo>
                  <a:lnTo>
                    <a:pt x="420" y="182"/>
                  </a:lnTo>
                  <a:lnTo>
                    <a:pt x="420" y="182"/>
                  </a:lnTo>
                  <a:lnTo>
                    <a:pt x="420" y="180"/>
                  </a:lnTo>
                  <a:lnTo>
                    <a:pt x="420" y="179"/>
                  </a:lnTo>
                  <a:lnTo>
                    <a:pt x="420" y="179"/>
                  </a:lnTo>
                  <a:lnTo>
                    <a:pt x="420" y="179"/>
                  </a:lnTo>
                  <a:lnTo>
                    <a:pt x="420" y="177"/>
                  </a:lnTo>
                  <a:lnTo>
                    <a:pt x="422" y="174"/>
                  </a:lnTo>
                  <a:lnTo>
                    <a:pt x="425" y="172"/>
                  </a:lnTo>
                  <a:lnTo>
                    <a:pt x="428" y="171"/>
                  </a:lnTo>
                  <a:lnTo>
                    <a:pt x="429" y="171"/>
                  </a:lnTo>
                  <a:lnTo>
                    <a:pt x="429" y="171"/>
                  </a:lnTo>
                  <a:lnTo>
                    <a:pt x="431" y="171"/>
                  </a:lnTo>
                  <a:lnTo>
                    <a:pt x="432" y="171"/>
                  </a:lnTo>
                  <a:lnTo>
                    <a:pt x="432" y="171"/>
                  </a:lnTo>
                  <a:lnTo>
                    <a:pt x="432" y="171"/>
                  </a:lnTo>
                  <a:lnTo>
                    <a:pt x="431" y="169"/>
                  </a:lnTo>
                  <a:lnTo>
                    <a:pt x="429" y="168"/>
                  </a:lnTo>
                  <a:lnTo>
                    <a:pt x="431" y="166"/>
                  </a:lnTo>
                  <a:lnTo>
                    <a:pt x="431" y="169"/>
                  </a:lnTo>
                  <a:lnTo>
                    <a:pt x="431" y="169"/>
                  </a:lnTo>
                  <a:lnTo>
                    <a:pt x="432" y="168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34" y="168"/>
                  </a:lnTo>
                  <a:lnTo>
                    <a:pt x="435" y="166"/>
                  </a:lnTo>
                  <a:lnTo>
                    <a:pt x="437" y="163"/>
                  </a:lnTo>
                  <a:lnTo>
                    <a:pt x="438" y="163"/>
                  </a:lnTo>
                  <a:lnTo>
                    <a:pt x="438" y="165"/>
                  </a:lnTo>
                  <a:lnTo>
                    <a:pt x="440" y="165"/>
                  </a:lnTo>
                  <a:lnTo>
                    <a:pt x="442" y="166"/>
                  </a:lnTo>
                  <a:lnTo>
                    <a:pt x="442" y="166"/>
                  </a:lnTo>
                  <a:lnTo>
                    <a:pt x="443" y="165"/>
                  </a:lnTo>
                  <a:lnTo>
                    <a:pt x="445" y="165"/>
                  </a:lnTo>
                  <a:lnTo>
                    <a:pt x="443" y="166"/>
                  </a:lnTo>
                  <a:lnTo>
                    <a:pt x="443" y="168"/>
                  </a:lnTo>
                  <a:lnTo>
                    <a:pt x="442" y="168"/>
                  </a:lnTo>
                  <a:lnTo>
                    <a:pt x="440" y="168"/>
                  </a:lnTo>
                  <a:lnTo>
                    <a:pt x="440" y="169"/>
                  </a:lnTo>
                  <a:lnTo>
                    <a:pt x="440" y="171"/>
                  </a:lnTo>
                  <a:lnTo>
                    <a:pt x="440" y="171"/>
                  </a:lnTo>
                  <a:lnTo>
                    <a:pt x="437" y="171"/>
                  </a:lnTo>
                  <a:lnTo>
                    <a:pt x="437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71"/>
                  </a:lnTo>
                  <a:lnTo>
                    <a:pt x="438" y="169"/>
                  </a:lnTo>
                  <a:lnTo>
                    <a:pt x="438" y="171"/>
                  </a:lnTo>
                  <a:lnTo>
                    <a:pt x="438" y="169"/>
                  </a:lnTo>
                  <a:lnTo>
                    <a:pt x="437" y="171"/>
                  </a:lnTo>
                  <a:lnTo>
                    <a:pt x="437" y="171"/>
                  </a:lnTo>
                  <a:lnTo>
                    <a:pt x="435" y="171"/>
                  </a:lnTo>
                  <a:lnTo>
                    <a:pt x="437" y="171"/>
                  </a:lnTo>
                  <a:lnTo>
                    <a:pt x="435" y="172"/>
                  </a:lnTo>
                  <a:lnTo>
                    <a:pt x="435" y="172"/>
                  </a:lnTo>
                  <a:lnTo>
                    <a:pt x="435" y="172"/>
                  </a:lnTo>
                  <a:lnTo>
                    <a:pt x="435" y="171"/>
                  </a:lnTo>
                  <a:lnTo>
                    <a:pt x="434" y="171"/>
                  </a:lnTo>
                  <a:lnTo>
                    <a:pt x="434" y="172"/>
                  </a:lnTo>
                  <a:lnTo>
                    <a:pt x="434" y="172"/>
                  </a:lnTo>
                  <a:lnTo>
                    <a:pt x="434" y="172"/>
                  </a:lnTo>
                  <a:lnTo>
                    <a:pt x="432" y="172"/>
                  </a:lnTo>
                  <a:lnTo>
                    <a:pt x="434" y="174"/>
                  </a:lnTo>
                  <a:lnTo>
                    <a:pt x="432" y="174"/>
                  </a:lnTo>
                  <a:lnTo>
                    <a:pt x="432" y="175"/>
                  </a:lnTo>
                  <a:lnTo>
                    <a:pt x="431" y="177"/>
                  </a:lnTo>
                  <a:lnTo>
                    <a:pt x="432" y="177"/>
                  </a:lnTo>
                  <a:lnTo>
                    <a:pt x="434" y="175"/>
                  </a:lnTo>
                  <a:lnTo>
                    <a:pt x="437" y="175"/>
                  </a:lnTo>
                  <a:lnTo>
                    <a:pt x="438" y="175"/>
                  </a:lnTo>
                  <a:lnTo>
                    <a:pt x="438" y="174"/>
                  </a:lnTo>
                  <a:lnTo>
                    <a:pt x="446" y="171"/>
                  </a:lnTo>
                  <a:lnTo>
                    <a:pt x="459" y="165"/>
                  </a:lnTo>
                  <a:lnTo>
                    <a:pt x="471" y="157"/>
                  </a:lnTo>
                  <a:lnTo>
                    <a:pt x="474" y="157"/>
                  </a:lnTo>
                  <a:lnTo>
                    <a:pt x="480" y="155"/>
                  </a:lnTo>
                  <a:lnTo>
                    <a:pt x="482" y="155"/>
                  </a:lnTo>
                  <a:lnTo>
                    <a:pt x="483" y="154"/>
                  </a:lnTo>
                  <a:lnTo>
                    <a:pt x="483" y="154"/>
                  </a:lnTo>
                  <a:lnTo>
                    <a:pt x="483" y="152"/>
                  </a:lnTo>
                  <a:lnTo>
                    <a:pt x="486" y="151"/>
                  </a:lnTo>
                  <a:lnTo>
                    <a:pt x="486" y="149"/>
                  </a:lnTo>
                  <a:lnTo>
                    <a:pt x="483" y="151"/>
                  </a:lnTo>
                  <a:lnTo>
                    <a:pt x="482" y="151"/>
                  </a:lnTo>
                  <a:lnTo>
                    <a:pt x="482" y="149"/>
                  </a:lnTo>
                  <a:lnTo>
                    <a:pt x="480" y="148"/>
                  </a:lnTo>
                  <a:lnTo>
                    <a:pt x="482" y="146"/>
                  </a:lnTo>
                  <a:lnTo>
                    <a:pt x="483" y="146"/>
                  </a:lnTo>
                  <a:lnTo>
                    <a:pt x="485" y="146"/>
                  </a:lnTo>
                  <a:lnTo>
                    <a:pt x="485" y="145"/>
                  </a:lnTo>
                  <a:lnTo>
                    <a:pt x="483" y="145"/>
                  </a:lnTo>
                  <a:lnTo>
                    <a:pt x="483" y="143"/>
                  </a:lnTo>
                  <a:lnTo>
                    <a:pt x="483" y="142"/>
                  </a:lnTo>
                  <a:lnTo>
                    <a:pt x="485" y="142"/>
                  </a:lnTo>
                  <a:lnTo>
                    <a:pt x="485" y="142"/>
                  </a:lnTo>
                  <a:lnTo>
                    <a:pt x="486" y="143"/>
                  </a:lnTo>
                  <a:lnTo>
                    <a:pt x="486" y="145"/>
                  </a:lnTo>
                  <a:lnTo>
                    <a:pt x="488" y="143"/>
                  </a:lnTo>
                  <a:lnTo>
                    <a:pt x="488" y="142"/>
                  </a:lnTo>
                  <a:lnTo>
                    <a:pt x="491" y="142"/>
                  </a:lnTo>
                  <a:lnTo>
                    <a:pt x="491" y="142"/>
                  </a:lnTo>
                  <a:lnTo>
                    <a:pt x="492" y="142"/>
                  </a:lnTo>
                  <a:lnTo>
                    <a:pt x="494" y="143"/>
                  </a:lnTo>
                  <a:lnTo>
                    <a:pt x="494" y="143"/>
                  </a:lnTo>
                  <a:lnTo>
                    <a:pt x="502" y="145"/>
                  </a:lnTo>
                  <a:lnTo>
                    <a:pt x="503" y="145"/>
                  </a:lnTo>
                  <a:lnTo>
                    <a:pt x="503" y="146"/>
                  </a:lnTo>
                  <a:lnTo>
                    <a:pt x="506" y="146"/>
                  </a:lnTo>
                  <a:lnTo>
                    <a:pt x="508" y="149"/>
                  </a:lnTo>
                  <a:lnTo>
                    <a:pt x="508" y="149"/>
                  </a:lnTo>
                  <a:lnTo>
                    <a:pt x="506" y="151"/>
                  </a:lnTo>
                  <a:lnTo>
                    <a:pt x="505" y="151"/>
                  </a:lnTo>
                  <a:lnTo>
                    <a:pt x="503" y="151"/>
                  </a:lnTo>
                  <a:lnTo>
                    <a:pt x="505" y="152"/>
                  </a:lnTo>
                  <a:lnTo>
                    <a:pt x="508" y="151"/>
                  </a:lnTo>
                  <a:lnTo>
                    <a:pt x="509" y="151"/>
                  </a:lnTo>
                  <a:lnTo>
                    <a:pt x="511" y="149"/>
                  </a:lnTo>
                  <a:lnTo>
                    <a:pt x="511" y="148"/>
                  </a:lnTo>
                  <a:lnTo>
                    <a:pt x="514" y="148"/>
                  </a:lnTo>
                  <a:lnTo>
                    <a:pt x="514" y="148"/>
                  </a:lnTo>
                  <a:lnTo>
                    <a:pt x="514" y="146"/>
                  </a:lnTo>
                  <a:lnTo>
                    <a:pt x="517" y="146"/>
                  </a:lnTo>
                  <a:lnTo>
                    <a:pt x="516" y="145"/>
                  </a:lnTo>
                  <a:lnTo>
                    <a:pt x="514" y="143"/>
                  </a:lnTo>
                  <a:lnTo>
                    <a:pt x="516" y="140"/>
                  </a:lnTo>
                  <a:lnTo>
                    <a:pt x="517" y="140"/>
                  </a:lnTo>
                  <a:lnTo>
                    <a:pt x="519" y="140"/>
                  </a:lnTo>
                  <a:lnTo>
                    <a:pt x="522" y="142"/>
                  </a:lnTo>
                  <a:lnTo>
                    <a:pt x="523" y="143"/>
                  </a:lnTo>
                  <a:lnTo>
                    <a:pt x="529" y="149"/>
                  </a:lnTo>
                  <a:lnTo>
                    <a:pt x="531" y="151"/>
                  </a:lnTo>
                  <a:lnTo>
                    <a:pt x="531" y="152"/>
                  </a:lnTo>
                  <a:lnTo>
                    <a:pt x="532" y="154"/>
                  </a:lnTo>
                  <a:lnTo>
                    <a:pt x="531" y="155"/>
                  </a:lnTo>
                  <a:lnTo>
                    <a:pt x="534" y="157"/>
                  </a:lnTo>
                  <a:lnTo>
                    <a:pt x="534" y="157"/>
                  </a:lnTo>
                  <a:lnTo>
                    <a:pt x="534" y="158"/>
                  </a:lnTo>
                  <a:lnTo>
                    <a:pt x="536" y="158"/>
                  </a:lnTo>
                  <a:lnTo>
                    <a:pt x="534" y="158"/>
                  </a:lnTo>
                  <a:lnTo>
                    <a:pt x="532" y="158"/>
                  </a:lnTo>
                  <a:lnTo>
                    <a:pt x="529" y="158"/>
                  </a:lnTo>
                  <a:lnTo>
                    <a:pt x="529" y="160"/>
                  </a:lnTo>
                  <a:lnTo>
                    <a:pt x="528" y="160"/>
                  </a:lnTo>
                  <a:lnTo>
                    <a:pt x="532" y="160"/>
                  </a:lnTo>
                  <a:lnTo>
                    <a:pt x="536" y="162"/>
                  </a:lnTo>
                  <a:lnTo>
                    <a:pt x="539" y="162"/>
                  </a:lnTo>
                  <a:lnTo>
                    <a:pt x="540" y="160"/>
                  </a:lnTo>
                  <a:lnTo>
                    <a:pt x="542" y="158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2" y="157"/>
                  </a:lnTo>
                  <a:lnTo>
                    <a:pt x="540" y="155"/>
                  </a:lnTo>
                  <a:lnTo>
                    <a:pt x="539" y="155"/>
                  </a:lnTo>
                  <a:lnTo>
                    <a:pt x="534" y="145"/>
                  </a:lnTo>
                  <a:lnTo>
                    <a:pt x="528" y="143"/>
                  </a:lnTo>
                  <a:lnTo>
                    <a:pt x="528" y="142"/>
                  </a:lnTo>
                  <a:lnTo>
                    <a:pt x="525" y="140"/>
                  </a:lnTo>
                  <a:lnTo>
                    <a:pt x="523" y="138"/>
                  </a:lnTo>
                  <a:lnTo>
                    <a:pt x="520" y="138"/>
                  </a:lnTo>
                  <a:lnTo>
                    <a:pt x="519" y="138"/>
                  </a:lnTo>
                  <a:lnTo>
                    <a:pt x="519" y="137"/>
                  </a:lnTo>
                  <a:lnTo>
                    <a:pt x="517" y="135"/>
                  </a:lnTo>
                  <a:lnTo>
                    <a:pt x="519" y="132"/>
                  </a:lnTo>
                  <a:lnTo>
                    <a:pt x="520" y="126"/>
                  </a:lnTo>
                  <a:lnTo>
                    <a:pt x="520" y="125"/>
                  </a:lnTo>
                  <a:lnTo>
                    <a:pt x="522" y="123"/>
                  </a:lnTo>
                  <a:lnTo>
                    <a:pt x="522" y="122"/>
                  </a:lnTo>
                  <a:lnTo>
                    <a:pt x="520" y="118"/>
                  </a:lnTo>
                  <a:lnTo>
                    <a:pt x="520" y="118"/>
                  </a:lnTo>
                  <a:lnTo>
                    <a:pt x="519" y="120"/>
                  </a:lnTo>
                  <a:lnTo>
                    <a:pt x="516" y="120"/>
                  </a:lnTo>
                  <a:lnTo>
                    <a:pt x="514" y="122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11" y="118"/>
                  </a:lnTo>
                  <a:lnTo>
                    <a:pt x="509" y="117"/>
                  </a:lnTo>
                  <a:lnTo>
                    <a:pt x="511" y="115"/>
                  </a:lnTo>
                  <a:lnTo>
                    <a:pt x="511" y="115"/>
                  </a:lnTo>
                  <a:lnTo>
                    <a:pt x="512" y="115"/>
                  </a:lnTo>
                  <a:lnTo>
                    <a:pt x="512" y="114"/>
                  </a:lnTo>
                  <a:lnTo>
                    <a:pt x="512" y="114"/>
                  </a:lnTo>
                  <a:lnTo>
                    <a:pt x="511" y="112"/>
                  </a:lnTo>
                  <a:lnTo>
                    <a:pt x="512" y="111"/>
                  </a:lnTo>
                  <a:lnTo>
                    <a:pt x="514" y="109"/>
                  </a:lnTo>
                  <a:lnTo>
                    <a:pt x="522" y="105"/>
                  </a:lnTo>
                  <a:lnTo>
                    <a:pt x="523" y="100"/>
                  </a:lnTo>
                  <a:lnTo>
                    <a:pt x="523" y="98"/>
                  </a:lnTo>
                  <a:lnTo>
                    <a:pt x="523" y="98"/>
                  </a:lnTo>
                  <a:lnTo>
                    <a:pt x="522" y="98"/>
                  </a:lnTo>
                  <a:lnTo>
                    <a:pt x="522" y="98"/>
                  </a:lnTo>
                  <a:lnTo>
                    <a:pt x="519" y="98"/>
                  </a:lnTo>
                  <a:lnTo>
                    <a:pt x="517" y="98"/>
                  </a:lnTo>
                  <a:lnTo>
                    <a:pt x="516" y="95"/>
                  </a:lnTo>
                  <a:lnTo>
                    <a:pt x="514" y="94"/>
                  </a:lnTo>
                  <a:lnTo>
                    <a:pt x="511" y="94"/>
                  </a:lnTo>
                  <a:lnTo>
                    <a:pt x="511" y="94"/>
                  </a:lnTo>
                  <a:lnTo>
                    <a:pt x="508" y="94"/>
                  </a:lnTo>
                  <a:lnTo>
                    <a:pt x="506" y="92"/>
                  </a:lnTo>
                  <a:lnTo>
                    <a:pt x="508" y="95"/>
                  </a:lnTo>
                  <a:lnTo>
                    <a:pt x="506" y="95"/>
                  </a:lnTo>
                  <a:lnTo>
                    <a:pt x="505" y="94"/>
                  </a:lnTo>
                  <a:lnTo>
                    <a:pt x="505" y="92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3" y="89"/>
                  </a:lnTo>
                  <a:lnTo>
                    <a:pt x="503" y="88"/>
                  </a:lnTo>
                  <a:lnTo>
                    <a:pt x="503" y="86"/>
                  </a:lnTo>
                  <a:lnTo>
                    <a:pt x="505" y="85"/>
                  </a:lnTo>
                  <a:lnTo>
                    <a:pt x="505" y="85"/>
                  </a:lnTo>
                  <a:lnTo>
                    <a:pt x="506" y="83"/>
                  </a:lnTo>
                  <a:lnTo>
                    <a:pt x="506" y="80"/>
                  </a:lnTo>
                  <a:lnTo>
                    <a:pt x="508" y="80"/>
                  </a:lnTo>
                  <a:lnTo>
                    <a:pt x="509" y="80"/>
                  </a:lnTo>
                  <a:lnTo>
                    <a:pt x="509" y="78"/>
                  </a:lnTo>
                  <a:lnTo>
                    <a:pt x="511" y="77"/>
                  </a:lnTo>
                  <a:lnTo>
                    <a:pt x="516" y="75"/>
                  </a:lnTo>
                  <a:lnTo>
                    <a:pt x="517" y="74"/>
                  </a:lnTo>
                  <a:lnTo>
                    <a:pt x="519" y="72"/>
                  </a:lnTo>
                  <a:lnTo>
                    <a:pt x="520" y="71"/>
                  </a:lnTo>
                  <a:lnTo>
                    <a:pt x="523" y="69"/>
                  </a:lnTo>
                  <a:lnTo>
                    <a:pt x="525" y="69"/>
                  </a:lnTo>
                  <a:lnTo>
                    <a:pt x="526" y="69"/>
                  </a:lnTo>
                  <a:lnTo>
                    <a:pt x="526" y="68"/>
                  </a:lnTo>
                  <a:lnTo>
                    <a:pt x="526" y="68"/>
                  </a:lnTo>
                  <a:lnTo>
                    <a:pt x="526" y="65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28" y="63"/>
                  </a:lnTo>
                  <a:lnTo>
                    <a:pt x="528" y="61"/>
                  </a:lnTo>
                  <a:lnTo>
                    <a:pt x="526" y="61"/>
                  </a:lnTo>
                  <a:lnTo>
                    <a:pt x="525" y="61"/>
                  </a:lnTo>
                  <a:lnTo>
                    <a:pt x="517" y="58"/>
                  </a:lnTo>
                  <a:lnTo>
                    <a:pt x="512" y="58"/>
                  </a:lnTo>
                  <a:lnTo>
                    <a:pt x="512" y="58"/>
                  </a:lnTo>
                  <a:lnTo>
                    <a:pt x="511" y="57"/>
                  </a:lnTo>
                  <a:lnTo>
                    <a:pt x="511" y="57"/>
                  </a:lnTo>
                  <a:lnTo>
                    <a:pt x="506" y="57"/>
                  </a:lnTo>
                  <a:lnTo>
                    <a:pt x="503" y="57"/>
                  </a:lnTo>
                  <a:lnTo>
                    <a:pt x="495" y="58"/>
                  </a:lnTo>
                  <a:lnTo>
                    <a:pt x="492" y="58"/>
                  </a:lnTo>
                  <a:lnTo>
                    <a:pt x="491" y="57"/>
                  </a:lnTo>
                  <a:lnTo>
                    <a:pt x="486" y="55"/>
                  </a:lnTo>
                  <a:lnTo>
                    <a:pt x="480" y="54"/>
                  </a:lnTo>
                  <a:lnTo>
                    <a:pt x="463" y="52"/>
                  </a:lnTo>
                  <a:lnTo>
                    <a:pt x="459" y="49"/>
                  </a:lnTo>
                  <a:lnTo>
                    <a:pt x="457" y="49"/>
                  </a:lnTo>
                  <a:lnTo>
                    <a:pt x="455" y="48"/>
                  </a:lnTo>
                  <a:lnTo>
                    <a:pt x="455" y="49"/>
                  </a:lnTo>
                  <a:lnTo>
                    <a:pt x="454" y="49"/>
                  </a:lnTo>
                  <a:lnTo>
                    <a:pt x="454" y="49"/>
                  </a:lnTo>
                  <a:lnTo>
                    <a:pt x="452" y="49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51" y="48"/>
                  </a:lnTo>
                  <a:lnTo>
                    <a:pt x="448" y="48"/>
                  </a:lnTo>
                  <a:lnTo>
                    <a:pt x="443" y="48"/>
                  </a:lnTo>
                  <a:lnTo>
                    <a:pt x="442" y="48"/>
                  </a:lnTo>
                  <a:lnTo>
                    <a:pt x="440" y="46"/>
                  </a:lnTo>
                  <a:lnTo>
                    <a:pt x="438" y="45"/>
                  </a:lnTo>
                  <a:lnTo>
                    <a:pt x="435" y="45"/>
                  </a:lnTo>
                  <a:lnTo>
                    <a:pt x="434" y="45"/>
                  </a:lnTo>
                  <a:lnTo>
                    <a:pt x="431" y="43"/>
                  </a:lnTo>
                  <a:lnTo>
                    <a:pt x="429" y="41"/>
                  </a:lnTo>
                  <a:lnTo>
                    <a:pt x="428" y="37"/>
                  </a:lnTo>
                  <a:lnTo>
                    <a:pt x="426" y="35"/>
                  </a:lnTo>
                  <a:lnTo>
                    <a:pt x="425" y="34"/>
                  </a:lnTo>
                  <a:lnTo>
                    <a:pt x="423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32"/>
                  </a:lnTo>
                  <a:lnTo>
                    <a:pt x="422" y="32"/>
                  </a:lnTo>
                  <a:lnTo>
                    <a:pt x="422" y="31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2" y="28"/>
                  </a:lnTo>
                  <a:lnTo>
                    <a:pt x="422" y="26"/>
                  </a:lnTo>
                  <a:lnTo>
                    <a:pt x="422" y="25"/>
                  </a:lnTo>
                  <a:lnTo>
                    <a:pt x="420" y="23"/>
                  </a:lnTo>
                  <a:lnTo>
                    <a:pt x="417" y="23"/>
                  </a:lnTo>
                  <a:lnTo>
                    <a:pt x="415" y="23"/>
                  </a:lnTo>
                  <a:lnTo>
                    <a:pt x="415" y="21"/>
                  </a:lnTo>
                  <a:lnTo>
                    <a:pt x="415" y="21"/>
                  </a:lnTo>
                  <a:lnTo>
                    <a:pt x="414" y="20"/>
                  </a:lnTo>
                  <a:lnTo>
                    <a:pt x="412" y="20"/>
                  </a:lnTo>
                  <a:lnTo>
                    <a:pt x="411" y="20"/>
                  </a:lnTo>
                  <a:lnTo>
                    <a:pt x="411" y="20"/>
                  </a:lnTo>
                  <a:lnTo>
                    <a:pt x="412" y="18"/>
                  </a:lnTo>
                  <a:lnTo>
                    <a:pt x="412" y="17"/>
                  </a:lnTo>
                  <a:lnTo>
                    <a:pt x="411" y="17"/>
                  </a:lnTo>
                  <a:lnTo>
                    <a:pt x="411" y="15"/>
                  </a:lnTo>
                  <a:lnTo>
                    <a:pt x="411" y="12"/>
                  </a:lnTo>
                  <a:lnTo>
                    <a:pt x="409" y="12"/>
                  </a:lnTo>
                  <a:lnTo>
                    <a:pt x="409" y="11"/>
                  </a:lnTo>
                  <a:lnTo>
                    <a:pt x="411" y="9"/>
                  </a:lnTo>
                  <a:lnTo>
                    <a:pt x="414" y="6"/>
                  </a:lnTo>
                  <a:lnTo>
                    <a:pt x="415" y="4"/>
                  </a:lnTo>
                  <a:lnTo>
                    <a:pt x="417" y="3"/>
                  </a:lnTo>
                  <a:lnTo>
                    <a:pt x="417" y="1"/>
                  </a:lnTo>
                  <a:lnTo>
                    <a:pt x="414" y="0"/>
                  </a:lnTo>
                  <a:lnTo>
                    <a:pt x="411" y="1"/>
                  </a:lnTo>
                  <a:lnTo>
                    <a:pt x="409" y="1"/>
                  </a:lnTo>
                  <a:lnTo>
                    <a:pt x="402" y="4"/>
                  </a:lnTo>
                  <a:lnTo>
                    <a:pt x="397" y="6"/>
                  </a:lnTo>
                  <a:lnTo>
                    <a:pt x="394" y="6"/>
                  </a:lnTo>
                  <a:lnTo>
                    <a:pt x="391" y="8"/>
                  </a:lnTo>
                  <a:lnTo>
                    <a:pt x="388" y="11"/>
                  </a:lnTo>
                  <a:lnTo>
                    <a:pt x="385" y="11"/>
                  </a:lnTo>
                  <a:lnTo>
                    <a:pt x="383" y="11"/>
                  </a:lnTo>
                  <a:lnTo>
                    <a:pt x="382" y="12"/>
                  </a:lnTo>
                  <a:lnTo>
                    <a:pt x="382" y="12"/>
                  </a:lnTo>
                  <a:lnTo>
                    <a:pt x="380" y="12"/>
                  </a:lnTo>
                  <a:lnTo>
                    <a:pt x="377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5" y="11"/>
                  </a:lnTo>
                  <a:lnTo>
                    <a:pt x="371" y="9"/>
                  </a:lnTo>
                  <a:lnTo>
                    <a:pt x="369" y="9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8" y="11"/>
                  </a:lnTo>
                  <a:lnTo>
                    <a:pt x="366" y="11"/>
                  </a:lnTo>
                  <a:lnTo>
                    <a:pt x="366" y="11"/>
                  </a:lnTo>
                  <a:lnTo>
                    <a:pt x="365" y="11"/>
                  </a:lnTo>
                  <a:lnTo>
                    <a:pt x="365" y="11"/>
                  </a:lnTo>
                  <a:lnTo>
                    <a:pt x="365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1" y="9"/>
                  </a:lnTo>
                  <a:lnTo>
                    <a:pt x="361" y="9"/>
                  </a:lnTo>
                  <a:lnTo>
                    <a:pt x="360" y="9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57" y="12"/>
                  </a:lnTo>
                  <a:lnTo>
                    <a:pt x="355" y="12"/>
                  </a:lnTo>
                  <a:lnTo>
                    <a:pt x="352" y="12"/>
                  </a:lnTo>
                  <a:lnTo>
                    <a:pt x="349" y="11"/>
                  </a:lnTo>
                  <a:lnTo>
                    <a:pt x="345" y="12"/>
                  </a:lnTo>
                  <a:lnTo>
                    <a:pt x="340" y="14"/>
                  </a:lnTo>
                  <a:lnTo>
                    <a:pt x="338" y="14"/>
                  </a:lnTo>
                  <a:lnTo>
                    <a:pt x="334" y="20"/>
                  </a:lnTo>
                  <a:lnTo>
                    <a:pt x="332" y="20"/>
                  </a:lnTo>
                  <a:lnTo>
                    <a:pt x="332" y="25"/>
                  </a:lnTo>
                  <a:lnTo>
                    <a:pt x="331" y="28"/>
                  </a:lnTo>
                  <a:lnTo>
                    <a:pt x="331" y="28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9" y="31"/>
                  </a:lnTo>
                  <a:lnTo>
                    <a:pt x="328" y="34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5" y="34"/>
                  </a:lnTo>
                  <a:lnTo>
                    <a:pt x="321" y="34"/>
                  </a:lnTo>
                  <a:lnTo>
                    <a:pt x="320" y="34"/>
                  </a:lnTo>
                  <a:lnTo>
                    <a:pt x="318" y="35"/>
                  </a:lnTo>
                  <a:lnTo>
                    <a:pt x="317" y="35"/>
                  </a:lnTo>
                  <a:lnTo>
                    <a:pt x="317" y="35"/>
                  </a:lnTo>
                  <a:lnTo>
                    <a:pt x="31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12" y="34"/>
                  </a:lnTo>
                  <a:lnTo>
                    <a:pt x="311" y="34"/>
                  </a:lnTo>
                  <a:lnTo>
                    <a:pt x="309" y="32"/>
                  </a:lnTo>
                  <a:lnTo>
                    <a:pt x="308" y="32"/>
                  </a:lnTo>
                  <a:lnTo>
                    <a:pt x="306" y="32"/>
                  </a:lnTo>
                  <a:lnTo>
                    <a:pt x="306" y="32"/>
                  </a:lnTo>
                  <a:lnTo>
                    <a:pt x="306" y="32"/>
                  </a:lnTo>
                  <a:lnTo>
                    <a:pt x="306" y="31"/>
                  </a:lnTo>
                  <a:lnTo>
                    <a:pt x="308" y="31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1" y="26"/>
                  </a:lnTo>
                  <a:lnTo>
                    <a:pt x="288" y="26"/>
                  </a:lnTo>
                  <a:lnTo>
                    <a:pt x="286" y="25"/>
                  </a:lnTo>
                  <a:lnTo>
                    <a:pt x="286" y="28"/>
                  </a:lnTo>
                  <a:lnTo>
                    <a:pt x="284" y="29"/>
                  </a:lnTo>
                  <a:lnTo>
                    <a:pt x="284" y="29"/>
                  </a:lnTo>
                  <a:lnTo>
                    <a:pt x="283" y="32"/>
                  </a:lnTo>
                  <a:lnTo>
                    <a:pt x="283" y="34"/>
                  </a:lnTo>
                  <a:lnTo>
                    <a:pt x="284" y="35"/>
                  </a:lnTo>
                  <a:lnTo>
                    <a:pt x="284" y="37"/>
                  </a:lnTo>
                  <a:lnTo>
                    <a:pt x="283" y="37"/>
                  </a:lnTo>
                  <a:lnTo>
                    <a:pt x="281" y="38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41"/>
                  </a:lnTo>
                  <a:lnTo>
                    <a:pt x="281" y="43"/>
                  </a:lnTo>
                  <a:lnTo>
                    <a:pt x="280" y="45"/>
                  </a:lnTo>
                  <a:lnTo>
                    <a:pt x="280" y="45"/>
                  </a:lnTo>
                  <a:lnTo>
                    <a:pt x="280" y="48"/>
                  </a:lnTo>
                  <a:lnTo>
                    <a:pt x="281" y="49"/>
                  </a:lnTo>
                  <a:lnTo>
                    <a:pt x="284" y="49"/>
                  </a:lnTo>
                  <a:lnTo>
                    <a:pt x="286" y="51"/>
                  </a:lnTo>
                  <a:lnTo>
                    <a:pt x="288" y="52"/>
                  </a:lnTo>
                  <a:lnTo>
                    <a:pt x="288" y="55"/>
                  </a:lnTo>
                  <a:lnTo>
                    <a:pt x="286" y="58"/>
                  </a:lnTo>
                  <a:lnTo>
                    <a:pt x="286" y="58"/>
                  </a:lnTo>
                  <a:lnTo>
                    <a:pt x="284" y="60"/>
                  </a:lnTo>
                  <a:lnTo>
                    <a:pt x="284" y="60"/>
                  </a:lnTo>
                  <a:lnTo>
                    <a:pt x="278" y="58"/>
                  </a:lnTo>
                  <a:lnTo>
                    <a:pt x="275" y="58"/>
                  </a:lnTo>
                  <a:lnTo>
                    <a:pt x="275" y="58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2" y="57"/>
                  </a:lnTo>
                  <a:lnTo>
                    <a:pt x="269" y="55"/>
                  </a:lnTo>
                  <a:lnTo>
                    <a:pt x="269" y="54"/>
                  </a:lnTo>
                  <a:lnTo>
                    <a:pt x="269" y="52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6" y="51"/>
                  </a:lnTo>
                  <a:lnTo>
                    <a:pt x="260" y="52"/>
                  </a:lnTo>
                  <a:lnTo>
                    <a:pt x="258" y="52"/>
                  </a:lnTo>
                  <a:lnTo>
                    <a:pt x="258" y="54"/>
                  </a:lnTo>
                  <a:lnTo>
                    <a:pt x="257" y="57"/>
                  </a:lnTo>
                  <a:lnTo>
                    <a:pt x="257" y="58"/>
                  </a:lnTo>
                  <a:lnTo>
                    <a:pt x="255" y="60"/>
                  </a:lnTo>
                  <a:lnTo>
                    <a:pt x="255" y="60"/>
                  </a:lnTo>
                  <a:lnTo>
                    <a:pt x="255" y="61"/>
                  </a:lnTo>
                  <a:lnTo>
                    <a:pt x="254" y="63"/>
                  </a:lnTo>
                  <a:lnTo>
                    <a:pt x="254" y="65"/>
                  </a:lnTo>
                  <a:lnTo>
                    <a:pt x="254" y="66"/>
                  </a:lnTo>
                  <a:lnTo>
                    <a:pt x="254" y="66"/>
                  </a:lnTo>
                  <a:lnTo>
                    <a:pt x="255" y="68"/>
                  </a:lnTo>
                  <a:lnTo>
                    <a:pt x="255" y="68"/>
                  </a:lnTo>
                  <a:lnTo>
                    <a:pt x="254" y="69"/>
                  </a:lnTo>
                  <a:lnTo>
                    <a:pt x="255" y="71"/>
                  </a:lnTo>
                  <a:lnTo>
                    <a:pt x="257" y="72"/>
                  </a:lnTo>
                  <a:lnTo>
                    <a:pt x="261" y="72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0" y="78"/>
                  </a:lnTo>
                  <a:lnTo>
                    <a:pt x="260" y="80"/>
                  </a:lnTo>
                  <a:lnTo>
                    <a:pt x="258" y="81"/>
                  </a:lnTo>
                  <a:lnTo>
                    <a:pt x="258" y="81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3" y="88"/>
                  </a:lnTo>
                  <a:lnTo>
                    <a:pt x="264" y="89"/>
                  </a:lnTo>
                  <a:lnTo>
                    <a:pt x="263" y="91"/>
                  </a:lnTo>
                  <a:lnTo>
                    <a:pt x="261" y="92"/>
                  </a:lnTo>
                  <a:lnTo>
                    <a:pt x="258" y="94"/>
                  </a:lnTo>
                  <a:lnTo>
                    <a:pt x="255" y="94"/>
                  </a:lnTo>
                  <a:lnTo>
                    <a:pt x="255" y="91"/>
                  </a:lnTo>
                  <a:lnTo>
                    <a:pt x="255" y="89"/>
                  </a:lnTo>
                  <a:lnTo>
                    <a:pt x="252" y="88"/>
                  </a:lnTo>
                  <a:lnTo>
                    <a:pt x="251" y="86"/>
                  </a:lnTo>
                  <a:lnTo>
                    <a:pt x="251" y="83"/>
                  </a:lnTo>
                  <a:lnTo>
                    <a:pt x="251" y="81"/>
                  </a:lnTo>
                  <a:lnTo>
                    <a:pt x="249" y="80"/>
                  </a:lnTo>
                  <a:lnTo>
                    <a:pt x="248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1" y="78"/>
                  </a:lnTo>
                  <a:lnTo>
                    <a:pt x="237" y="80"/>
                  </a:lnTo>
                  <a:lnTo>
                    <a:pt x="235" y="81"/>
                  </a:lnTo>
                  <a:lnTo>
                    <a:pt x="234" y="81"/>
                  </a:lnTo>
                  <a:lnTo>
                    <a:pt x="232" y="80"/>
                  </a:lnTo>
                  <a:lnTo>
                    <a:pt x="231" y="80"/>
                  </a:lnTo>
                  <a:lnTo>
                    <a:pt x="231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1" y="85"/>
                  </a:lnTo>
                  <a:lnTo>
                    <a:pt x="229" y="86"/>
                  </a:lnTo>
                  <a:lnTo>
                    <a:pt x="227" y="86"/>
                  </a:lnTo>
                  <a:lnTo>
                    <a:pt x="220" y="86"/>
                  </a:lnTo>
                  <a:lnTo>
                    <a:pt x="218" y="86"/>
                  </a:lnTo>
                  <a:lnTo>
                    <a:pt x="217" y="85"/>
                  </a:lnTo>
                  <a:lnTo>
                    <a:pt x="215" y="83"/>
                  </a:lnTo>
                  <a:lnTo>
                    <a:pt x="214" y="80"/>
                  </a:lnTo>
                  <a:lnTo>
                    <a:pt x="214" y="78"/>
                  </a:lnTo>
                  <a:lnTo>
                    <a:pt x="211" y="78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7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09" y="65"/>
                  </a:lnTo>
                  <a:lnTo>
                    <a:pt x="207" y="65"/>
                  </a:lnTo>
                  <a:lnTo>
                    <a:pt x="207" y="66"/>
                  </a:lnTo>
                  <a:lnTo>
                    <a:pt x="207" y="66"/>
                  </a:lnTo>
                  <a:lnTo>
                    <a:pt x="207" y="68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4" y="66"/>
                  </a:lnTo>
                  <a:lnTo>
                    <a:pt x="204" y="65"/>
                  </a:lnTo>
                  <a:lnTo>
                    <a:pt x="203" y="63"/>
                  </a:lnTo>
                  <a:lnTo>
                    <a:pt x="198" y="65"/>
                  </a:lnTo>
                  <a:lnTo>
                    <a:pt x="197" y="66"/>
                  </a:lnTo>
                  <a:lnTo>
                    <a:pt x="197" y="68"/>
                  </a:lnTo>
                  <a:lnTo>
                    <a:pt x="195" y="71"/>
                  </a:lnTo>
                  <a:lnTo>
                    <a:pt x="197" y="72"/>
                  </a:lnTo>
                  <a:lnTo>
                    <a:pt x="197" y="72"/>
                  </a:lnTo>
                  <a:lnTo>
                    <a:pt x="197" y="74"/>
                  </a:lnTo>
                  <a:lnTo>
                    <a:pt x="197" y="75"/>
                  </a:lnTo>
                  <a:lnTo>
                    <a:pt x="197" y="77"/>
                  </a:lnTo>
                  <a:lnTo>
                    <a:pt x="198" y="80"/>
                  </a:lnTo>
                  <a:lnTo>
                    <a:pt x="198" y="81"/>
                  </a:lnTo>
                  <a:lnTo>
                    <a:pt x="198" y="85"/>
                  </a:lnTo>
                  <a:lnTo>
                    <a:pt x="195" y="89"/>
                  </a:lnTo>
                  <a:lnTo>
                    <a:pt x="195" y="92"/>
                  </a:lnTo>
                  <a:lnTo>
                    <a:pt x="194" y="94"/>
                  </a:lnTo>
                  <a:lnTo>
                    <a:pt x="194" y="94"/>
                  </a:lnTo>
                  <a:lnTo>
                    <a:pt x="192" y="95"/>
                  </a:lnTo>
                  <a:lnTo>
                    <a:pt x="191" y="95"/>
                  </a:lnTo>
                  <a:lnTo>
                    <a:pt x="191" y="97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84" y="103"/>
                  </a:lnTo>
                  <a:lnTo>
                    <a:pt x="183" y="105"/>
                  </a:lnTo>
                  <a:lnTo>
                    <a:pt x="183" y="106"/>
                  </a:lnTo>
                  <a:lnTo>
                    <a:pt x="183" y="109"/>
                  </a:lnTo>
                  <a:lnTo>
                    <a:pt x="183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0" y="112"/>
                  </a:lnTo>
                  <a:lnTo>
                    <a:pt x="178" y="114"/>
                  </a:lnTo>
                  <a:lnTo>
                    <a:pt x="178" y="114"/>
                  </a:lnTo>
                  <a:lnTo>
                    <a:pt x="178" y="118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7" y="122"/>
                  </a:lnTo>
                  <a:lnTo>
                    <a:pt x="178" y="125"/>
                  </a:lnTo>
                  <a:lnTo>
                    <a:pt x="178" y="125"/>
                  </a:lnTo>
                  <a:lnTo>
                    <a:pt x="180" y="126"/>
                  </a:lnTo>
                  <a:lnTo>
                    <a:pt x="181" y="126"/>
                  </a:lnTo>
                  <a:lnTo>
                    <a:pt x="181" y="126"/>
                  </a:lnTo>
                  <a:lnTo>
                    <a:pt x="183" y="128"/>
                  </a:lnTo>
                  <a:lnTo>
                    <a:pt x="183" y="131"/>
                  </a:lnTo>
                  <a:lnTo>
                    <a:pt x="180" y="134"/>
                  </a:lnTo>
                  <a:lnTo>
                    <a:pt x="178" y="137"/>
                  </a:lnTo>
                  <a:lnTo>
                    <a:pt x="175" y="135"/>
                  </a:lnTo>
                  <a:lnTo>
                    <a:pt x="174" y="135"/>
                  </a:lnTo>
                  <a:lnTo>
                    <a:pt x="171" y="135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1" y="128"/>
                  </a:lnTo>
                  <a:lnTo>
                    <a:pt x="169" y="125"/>
                  </a:lnTo>
                  <a:lnTo>
                    <a:pt x="167" y="123"/>
                  </a:lnTo>
                  <a:lnTo>
                    <a:pt x="167" y="123"/>
                  </a:lnTo>
                  <a:lnTo>
                    <a:pt x="167" y="122"/>
                  </a:lnTo>
                  <a:lnTo>
                    <a:pt x="163" y="120"/>
                  </a:lnTo>
                  <a:lnTo>
                    <a:pt x="161" y="120"/>
                  </a:lnTo>
                  <a:lnTo>
                    <a:pt x="160" y="120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63" y="115"/>
                  </a:lnTo>
                  <a:lnTo>
                    <a:pt x="164" y="112"/>
                  </a:lnTo>
                  <a:lnTo>
                    <a:pt x="166" y="111"/>
                  </a:lnTo>
                  <a:lnTo>
                    <a:pt x="163" y="108"/>
                  </a:lnTo>
                  <a:lnTo>
                    <a:pt x="163" y="108"/>
                  </a:lnTo>
                  <a:lnTo>
                    <a:pt x="160" y="108"/>
                  </a:lnTo>
                  <a:lnTo>
                    <a:pt x="158" y="108"/>
                  </a:lnTo>
                  <a:lnTo>
                    <a:pt x="158" y="108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4" y="108"/>
                  </a:lnTo>
                  <a:lnTo>
                    <a:pt x="150" y="105"/>
                  </a:lnTo>
                  <a:lnTo>
                    <a:pt x="149" y="105"/>
                  </a:lnTo>
                  <a:lnTo>
                    <a:pt x="147" y="105"/>
                  </a:lnTo>
                  <a:lnTo>
                    <a:pt x="143" y="97"/>
                  </a:lnTo>
                  <a:lnTo>
                    <a:pt x="141" y="95"/>
                  </a:lnTo>
                  <a:lnTo>
                    <a:pt x="140" y="94"/>
                  </a:lnTo>
                  <a:lnTo>
                    <a:pt x="137" y="94"/>
                  </a:lnTo>
                  <a:lnTo>
                    <a:pt x="135" y="92"/>
                  </a:lnTo>
                  <a:lnTo>
                    <a:pt x="135" y="91"/>
                  </a:lnTo>
                  <a:lnTo>
                    <a:pt x="135" y="88"/>
                  </a:lnTo>
                  <a:lnTo>
                    <a:pt x="135" y="85"/>
                  </a:lnTo>
                  <a:lnTo>
                    <a:pt x="137" y="80"/>
                  </a:lnTo>
                  <a:lnTo>
                    <a:pt x="137" y="77"/>
                  </a:lnTo>
                  <a:lnTo>
                    <a:pt x="137" y="74"/>
                  </a:lnTo>
                  <a:lnTo>
                    <a:pt x="137" y="71"/>
                  </a:lnTo>
                  <a:lnTo>
                    <a:pt x="135" y="69"/>
                  </a:lnTo>
                  <a:lnTo>
                    <a:pt x="134" y="69"/>
                  </a:lnTo>
                  <a:lnTo>
                    <a:pt x="132" y="69"/>
                  </a:lnTo>
                  <a:lnTo>
                    <a:pt x="129" y="69"/>
                  </a:lnTo>
                  <a:lnTo>
                    <a:pt x="127" y="71"/>
                  </a:lnTo>
                  <a:lnTo>
                    <a:pt x="126" y="72"/>
                  </a:lnTo>
                  <a:lnTo>
                    <a:pt x="124" y="74"/>
                  </a:lnTo>
                  <a:lnTo>
                    <a:pt x="124" y="74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4" y="77"/>
                  </a:lnTo>
                  <a:lnTo>
                    <a:pt x="124" y="78"/>
                  </a:lnTo>
                  <a:lnTo>
                    <a:pt x="123" y="78"/>
                  </a:lnTo>
                  <a:lnTo>
                    <a:pt x="121" y="80"/>
                  </a:lnTo>
                  <a:lnTo>
                    <a:pt x="118" y="85"/>
                  </a:lnTo>
                  <a:lnTo>
                    <a:pt x="117" y="86"/>
                  </a:lnTo>
                  <a:lnTo>
                    <a:pt x="114" y="86"/>
                  </a:lnTo>
                  <a:lnTo>
                    <a:pt x="110" y="86"/>
                  </a:lnTo>
                  <a:lnTo>
                    <a:pt x="110" y="88"/>
                  </a:lnTo>
                  <a:lnTo>
                    <a:pt x="109" y="89"/>
                  </a:lnTo>
                  <a:lnTo>
                    <a:pt x="109" y="91"/>
                  </a:lnTo>
                  <a:lnTo>
                    <a:pt x="109" y="91"/>
                  </a:lnTo>
                  <a:lnTo>
                    <a:pt x="110" y="92"/>
                  </a:lnTo>
                  <a:lnTo>
                    <a:pt x="114" y="97"/>
                  </a:lnTo>
                  <a:lnTo>
                    <a:pt x="114" y="100"/>
                  </a:lnTo>
                  <a:lnTo>
                    <a:pt x="112" y="105"/>
                  </a:lnTo>
                  <a:lnTo>
                    <a:pt x="109" y="106"/>
                  </a:lnTo>
                  <a:lnTo>
                    <a:pt x="107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4" y="109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3" y="115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5" y="120"/>
                  </a:lnTo>
                  <a:lnTo>
                    <a:pt x="93" y="120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89" y="126"/>
                  </a:lnTo>
                  <a:lnTo>
                    <a:pt x="87" y="126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2"/>
                  </a:lnTo>
                  <a:lnTo>
                    <a:pt x="77" y="122"/>
                  </a:lnTo>
                  <a:lnTo>
                    <a:pt x="69" y="118"/>
                  </a:lnTo>
                  <a:lnTo>
                    <a:pt x="67" y="120"/>
                  </a:lnTo>
                  <a:lnTo>
                    <a:pt x="67" y="122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3" y="123"/>
                  </a:lnTo>
                  <a:lnTo>
                    <a:pt x="58" y="126"/>
                  </a:lnTo>
                  <a:lnTo>
                    <a:pt x="55" y="128"/>
                  </a:lnTo>
                  <a:lnTo>
                    <a:pt x="50" y="126"/>
                  </a:lnTo>
                  <a:lnTo>
                    <a:pt x="49" y="128"/>
                  </a:lnTo>
                  <a:lnTo>
                    <a:pt x="47" y="128"/>
                  </a:lnTo>
                  <a:lnTo>
                    <a:pt x="43" y="131"/>
                  </a:lnTo>
                  <a:lnTo>
                    <a:pt x="40" y="131"/>
                  </a:lnTo>
                  <a:lnTo>
                    <a:pt x="38" y="131"/>
                  </a:lnTo>
                  <a:lnTo>
                    <a:pt x="35" y="131"/>
                  </a:lnTo>
                  <a:lnTo>
                    <a:pt x="33" y="129"/>
                  </a:lnTo>
                  <a:lnTo>
                    <a:pt x="30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7" y="128"/>
                  </a:lnTo>
                  <a:lnTo>
                    <a:pt x="27" y="129"/>
                  </a:lnTo>
                  <a:lnTo>
                    <a:pt x="26" y="131"/>
                  </a:lnTo>
                  <a:lnTo>
                    <a:pt x="26" y="132"/>
                  </a:lnTo>
                  <a:lnTo>
                    <a:pt x="23" y="134"/>
                  </a:lnTo>
                  <a:lnTo>
                    <a:pt x="21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5" y="135"/>
                  </a:lnTo>
                  <a:lnTo>
                    <a:pt x="13" y="135"/>
                  </a:lnTo>
                  <a:lnTo>
                    <a:pt x="13" y="137"/>
                  </a:lnTo>
                  <a:lnTo>
                    <a:pt x="12" y="138"/>
                  </a:lnTo>
                  <a:lnTo>
                    <a:pt x="12" y="142"/>
                  </a:lnTo>
                  <a:lnTo>
                    <a:pt x="13" y="143"/>
                  </a:lnTo>
                  <a:lnTo>
                    <a:pt x="13" y="148"/>
                  </a:lnTo>
                  <a:lnTo>
                    <a:pt x="15" y="149"/>
                  </a:lnTo>
                  <a:lnTo>
                    <a:pt x="16" y="151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7"/>
                  </a:lnTo>
                  <a:lnTo>
                    <a:pt x="26" y="158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2"/>
                  </a:lnTo>
                  <a:lnTo>
                    <a:pt x="26" y="163"/>
                  </a:lnTo>
                  <a:lnTo>
                    <a:pt x="27" y="163"/>
                  </a:lnTo>
                  <a:lnTo>
                    <a:pt x="27" y="168"/>
                  </a:lnTo>
                  <a:lnTo>
                    <a:pt x="27" y="169"/>
                  </a:lnTo>
                  <a:lnTo>
                    <a:pt x="30" y="171"/>
                  </a:lnTo>
                  <a:lnTo>
                    <a:pt x="33" y="174"/>
                  </a:lnTo>
                  <a:lnTo>
                    <a:pt x="35" y="174"/>
                  </a:lnTo>
                  <a:lnTo>
                    <a:pt x="35" y="175"/>
                  </a:lnTo>
                  <a:lnTo>
                    <a:pt x="35" y="177"/>
                  </a:lnTo>
                  <a:lnTo>
                    <a:pt x="37" y="177"/>
                  </a:lnTo>
                  <a:lnTo>
                    <a:pt x="37" y="179"/>
                  </a:lnTo>
                  <a:lnTo>
                    <a:pt x="40" y="180"/>
                  </a:lnTo>
                  <a:lnTo>
                    <a:pt x="41" y="180"/>
                  </a:lnTo>
                  <a:lnTo>
                    <a:pt x="41" y="182"/>
                  </a:lnTo>
                  <a:lnTo>
                    <a:pt x="40" y="183"/>
                  </a:lnTo>
                  <a:lnTo>
                    <a:pt x="38" y="186"/>
                  </a:lnTo>
                  <a:lnTo>
                    <a:pt x="37" y="189"/>
                  </a:lnTo>
                  <a:lnTo>
                    <a:pt x="35" y="189"/>
                  </a:lnTo>
                  <a:lnTo>
                    <a:pt x="37" y="192"/>
                  </a:lnTo>
                  <a:lnTo>
                    <a:pt x="37" y="194"/>
                  </a:lnTo>
                  <a:lnTo>
                    <a:pt x="37" y="195"/>
                  </a:lnTo>
                  <a:lnTo>
                    <a:pt x="35" y="197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2" y="200"/>
                  </a:lnTo>
                  <a:lnTo>
                    <a:pt x="32" y="200"/>
                  </a:lnTo>
                  <a:lnTo>
                    <a:pt x="30" y="199"/>
                  </a:lnTo>
                  <a:lnTo>
                    <a:pt x="29" y="200"/>
                  </a:lnTo>
                  <a:lnTo>
                    <a:pt x="26" y="202"/>
                  </a:lnTo>
                  <a:lnTo>
                    <a:pt x="24" y="202"/>
                  </a:lnTo>
                  <a:lnTo>
                    <a:pt x="24" y="205"/>
                  </a:lnTo>
                  <a:lnTo>
                    <a:pt x="23" y="205"/>
                  </a:lnTo>
                  <a:lnTo>
                    <a:pt x="21" y="206"/>
                  </a:lnTo>
                  <a:lnTo>
                    <a:pt x="20" y="206"/>
                  </a:lnTo>
                  <a:lnTo>
                    <a:pt x="20" y="206"/>
                  </a:lnTo>
                  <a:lnTo>
                    <a:pt x="20" y="206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16" y="209"/>
                  </a:lnTo>
                  <a:lnTo>
                    <a:pt x="15" y="209"/>
                  </a:lnTo>
                  <a:lnTo>
                    <a:pt x="12" y="208"/>
                  </a:lnTo>
                  <a:lnTo>
                    <a:pt x="9" y="206"/>
                  </a:lnTo>
                  <a:lnTo>
                    <a:pt x="9" y="208"/>
                  </a:lnTo>
                  <a:lnTo>
                    <a:pt x="7" y="208"/>
                  </a:lnTo>
                  <a:lnTo>
                    <a:pt x="7" y="208"/>
                  </a:lnTo>
                  <a:lnTo>
                    <a:pt x="6" y="208"/>
                  </a:lnTo>
                  <a:lnTo>
                    <a:pt x="4" y="208"/>
                  </a:lnTo>
                  <a:lnTo>
                    <a:pt x="4" y="209"/>
                  </a:lnTo>
                  <a:lnTo>
                    <a:pt x="1" y="211"/>
                  </a:lnTo>
                  <a:lnTo>
                    <a:pt x="1" y="211"/>
                  </a:lnTo>
                  <a:lnTo>
                    <a:pt x="0" y="211"/>
                  </a:lnTo>
                  <a:lnTo>
                    <a:pt x="0" y="212"/>
                  </a:lnTo>
                  <a:lnTo>
                    <a:pt x="1" y="214"/>
                  </a:lnTo>
                  <a:lnTo>
                    <a:pt x="1" y="215"/>
                  </a:lnTo>
                  <a:lnTo>
                    <a:pt x="1" y="215"/>
                  </a:lnTo>
                  <a:lnTo>
                    <a:pt x="1" y="217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4" y="220"/>
                  </a:lnTo>
                  <a:lnTo>
                    <a:pt x="6" y="220"/>
                  </a:lnTo>
                  <a:lnTo>
                    <a:pt x="9" y="222"/>
                  </a:lnTo>
                  <a:lnTo>
                    <a:pt x="9" y="225"/>
                  </a:lnTo>
                  <a:lnTo>
                    <a:pt x="9" y="231"/>
                  </a:lnTo>
                  <a:lnTo>
                    <a:pt x="10" y="232"/>
                  </a:lnTo>
                  <a:lnTo>
                    <a:pt x="12" y="235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23" y="237"/>
                  </a:lnTo>
                  <a:lnTo>
                    <a:pt x="24" y="237"/>
                  </a:lnTo>
                  <a:lnTo>
                    <a:pt x="27" y="239"/>
                  </a:lnTo>
                  <a:lnTo>
                    <a:pt x="29" y="240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5"/>
                  </a:lnTo>
                  <a:lnTo>
                    <a:pt x="29" y="245"/>
                  </a:lnTo>
                  <a:lnTo>
                    <a:pt x="29" y="248"/>
                  </a:lnTo>
                  <a:lnTo>
                    <a:pt x="30" y="249"/>
                  </a:lnTo>
                  <a:lnTo>
                    <a:pt x="30" y="251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6" y="257"/>
                  </a:lnTo>
                  <a:lnTo>
                    <a:pt x="24" y="259"/>
                  </a:lnTo>
                  <a:lnTo>
                    <a:pt x="24" y="260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1" y="268"/>
                  </a:lnTo>
                  <a:lnTo>
                    <a:pt x="18" y="271"/>
                  </a:lnTo>
                  <a:lnTo>
                    <a:pt x="16" y="272"/>
                  </a:lnTo>
                  <a:lnTo>
                    <a:pt x="16" y="276"/>
                  </a:lnTo>
                  <a:lnTo>
                    <a:pt x="18" y="279"/>
                  </a:lnTo>
                  <a:lnTo>
                    <a:pt x="21" y="280"/>
                  </a:lnTo>
                  <a:lnTo>
                    <a:pt x="23" y="282"/>
                  </a:lnTo>
                  <a:lnTo>
                    <a:pt x="20" y="283"/>
                  </a:lnTo>
                  <a:lnTo>
                    <a:pt x="20" y="285"/>
                  </a:lnTo>
                  <a:lnTo>
                    <a:pt x="20" y="288"/>
                  </a:lnTo>
                  <a:lnTo>
                    <a:pt x="20" y="288"/>
                  </a:lnTo>
                  <a:lnTo>
                    <a:pt x="18" y="289"/>
                  </a:lnTo>
                  <a:lnTo>
                    <a:pt x="20" y="289"/>
                  </a:lnTo>
                  <a:lnTo>
                    <a:pt x="20" y="291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23" y="296"/>
                  </a:lnTo>
                  <a:lnTo>
                    <a:pt x="23" y="296"/>
                  </a:lnTo>
                  <a:lnTo>
                    <a:pt x="24" y="297"/>
                  </a:lnTo>
                  <a:lnTo>
                    <a:pt x="26" y="297"/>
                  </a:lnTo>
                  <a:lnTo>
                    <a:pt x="26" y="299"/>
                  </a:lnTo>
                  <a:lnTo>
                    <a:pt x="26" y="300"/>
                  </a:lnTo>
                  <a:lnTo>
                    <a:pt x="26" y="300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9" y="303"/>
                  </a:lnTo>
                  <a:lnTo>
                    <a:pt x="29" y="303"/>
                  </a:lnTo>
                  <a:lnTo>
                    <a:pt x="30" y="302"/>
                  </a:lnTo>
                  <a:lnTo>
                    <a:pt x="32" y="302"/>
                  </a:lnTo>
                  <a:lnTo>
                    <a:pt x="32" y="302"/>
                  </a:lnTo>
                  <a:lnTo>
                    <a:pt x="37" y="305"/>
                  </a:lnTo>
                  <a:lnTo>
                    <a:pt x="40" y="306"/>
                  </a:lnTo>
                  <a:lnTo>
                    <a:pt x="47" y="311"/>
                  </a:lnTo>
                  <a:lnTo>
                    <a:pt x="49" y="311"/>
                  </a:lnTo>
                  <a:lnTo>
                    <a:pt x="50" y="311"/>
                  </a:lnTo>
                  <a:lnTo>
                    <a:pt x="52" y="312"/>
                  </a:lnTo>
                  <a:lnTo>
                    <a:pt x="52" y="312"/>
                  </a:lnTo>
                  <a:lnTo>
                    <a:pt x="53" y="314"/>
                  </a:lnTo>
                  <a:lnTo>
                    <a:pt x="53" y="314"/>
                  </a:lnTo>
                  <a:lnTo>
                    <a:pt x="53" y="314"/>
                  </a:lnTo>
                  <a:lnTo>
                    <a:pt x="57" y="314"/>
                  </a:lnTo>
                  <a:lnTo>
                    <a:pt x="70" y="311"/>
                  </a:lnTo>
                  <a:lnTo>
                    <a:pt x="72" y="311"/>
                  </a:lnTo>
                  <a:lnTo>
                    <a:pt x="75" y="309"/>
                  </a:lnTo>
                  <a:lnTo>
                    <a:pt x="78" y="309"/>
                  </a:lnTo>
                  <a:lnTo>
                    <a:pt x="77" y="312"/>
                  </a:lnTo>
                  <a:lnTo>
                    <a:pt x="78" y="314"/>
                  </a:lnTo>
                  <a:lnTo>
                    <a:pt x="80" y="316"/>
                  </a:lnTo>
                  <a:lnTo>
                    <a:pt x="80" y="319"/>
                  </a:lnTo>
                  <a:lnTo>
                    <a:pt x="80" y="319"/>
                  </a:lnTo>
                  <a:lnTo>
                    <a:pt x="80" y="320"/>
                  </a:lnTo>
                  <a:lnTo>
                    <a:pt x="80" y="322"/>
                  </a:lnTo>
                  <a:lnTo>
                    <a:pt x="78" y="322"/>
                  </a:lnTo>
                  <a:lnTo>
                    <a:pt x="78" y="323"/>
                  </a:lnTo>
                  <a:lnTo>
                    <a:pt x="77" y="325"/>
                  </a:lnTo>
                  <a:lnTo>
                    <a:pt x="77" y="326"/>
                  </a:lnTo>
                  <a:lnTo>
                    <a:pt x="75" y="328"/>
                  </a:lnTo>
                  <a:lnTo>
                    <a:pt x="73" y="329"/>
                  </a:lnTo>
                  <a:lnTo>
                    <a:pt x="70" y="332"/>
                  </a:lnTo>
                  <a:lnTo>
                    <a:pt x="69" y="336"/>
                  </a:lnTo>
                  <a:lnTo>
                    <a:pt x="66" y="339"/>
                  </a:lnTo>
                  <a:lnTo>
                    <a:pt x="64" y="342"/>
                  </a:lnTo>
                  <a:lnTo>
                    <a:pt x="64" y="343"/>
                  </a:lnTo>
                  <a:lnTo>
                    <a:pt x="66" y="348"/>
                  </a:lnTo>
                  <a:lnTo>
                    <a:pt x="67" y="348"/>
                  </a:lnTo>
                  <a:lnTo>
                    <a:pt x="67" y="349"/>
                  </a:lnTo>
                  <a:lnTo>
                    <a:pt x="69" y="349"/>
                  </a:lnTo>
                  <a:lnTo>
                    <a:pt x="69" y="349"/>
                  </a:lnTo>
                  <a:lnTo>
                    <a:pt x="72" y="349"/>
                  </a:lnTo>
                  <a:lnTo>
                    <a:pt x="81" y="349"/>
                  </a:lnTo>
                  <a:lnTo>
                    <a:pt x="84" y="348"/>
                  </a:lnTo>
                  <a:lnTo>
                    <a:pt x="87" y="346"/>
                  </a:lnTo>
                  <a:lnTo>
                    <a:pt x="100" y="342"/>
                  </a:lnTo>
                  <a:lnTo>
                    <a:pt x="106" y="339"/>
                  </a:lnTo>
                  <a:lnTo>
                    <a:pt x="107" y="339"/>
                  </a:lnTo>
                  <a:lnTo>
                    <a:pt x="109" y="339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6"/>
                  </a:lnTo>
                  <a:lnTo>
                    <a:pt x="110" y="336"/>
                  </a:lnTo>
                  <a:lnTo>
                    <a:pt x="112" y="334"/>
                  </a:lnTo>
                  <a:lnTo>
                    <a:pt x="114" y="332"/>
                  </a:lnTo>
                  <a:lnTo>
                    <a:pt x="115" y="332"/>
                  </a:lnTo>
                  <a:lnTo>
                    <a:pt x="115" y="331"/>
                  </a:lnTo>
                  <a:lnTo>
                    <a:pt x="115" y="329"/>
                  </a:lnTo>
                  <a:lnTo>
                    <a:pt x="115" y="326"/>
                  </a:lnTo>
                  <a:lnTo>
                    <a:pt x="120" y="323"/>
                  </a:lnTo>
                  <a:lnTo>
                    <a:pt x="120" y="322"/>
                  </a:lnTo>
                  <a:lnTo>
                    <a:pt x="120" y="320"/>
                  </a:lnTo>
                  <a:lnTo>
                    <a:pt x="120" y="319"/>
                  </a:lnTo>
                  <a:lnTo>
                    <a:pt x="120" y="317"/>
                  </a:lnTo>
                  <a:lnTo>
                    <a:pt x="121" y="317"/>
                  </a:lnTo>
                  <a:lnTo>
                    <a:pt x="123" y="314"/>
                  </a:lnTo>
                  <a:lnTo>
                    <a:pt x="123" y="312"/>
                  </a:lnTo>
                  <a:lnTo>
                    <a:pt x="124" y="312"/>
                  </a:lnTo>
                  <a:lnTo>
                    <a:pt x="126" y="311"/>
                  </a:lnTo>
                  <a:lnTo>
                    <a:pt x="130" y="309"/>
                  </a:lnTo>
                  <a:lnTo>
                    <a:pt x="132" y="308"/>
                  </a:lnTo>
                  <a:lnTo>
                    <a:pt x="134" y="308"/>
                  </a:lnTo>
                  <a:lnTo>
                    <a:pt x="134" y="306"/>
                  </a:lnTo>
                  <a:lnTo>
                    <a:pt x="134" y="305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5" y="303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7" y="302"/>
                  </a:lnTo>
                  <a:lnTo>
                    <a:pt x="137" y="300"/>
                  </a:lnTo>
                  <a:lnTo>
                    <a:pt x="137" y="299"/>
                  </a:lnTo>
                  <a:lnTo>
                    <a:pt x="138" y="296"/>
                  </a:lnTo>
                  <a:lnTo>
                    <a:pt x="143" y="292"/>
                  </a:lnTo>
                  <a:lnTo>
                    <a:pt x="146" y="291"/>
                  </a:lnTo>
                  <a:lnTo>
                    <a:pt x="146" y="289"/>
                  </a:lnTo>
                  <a:lnTo>
                    <a:pt x="147" y="289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54" y="286"/>
                  </a:lnTo>
                  <a:lnTo>
                    <a:pt x="154" y="286"/>
                  </a:lnTo>
                  <a:lnTo>
                    <a:pt x="154" y="286"/>
                  </a:lnTo>
                  <a:lnTo>
                    <a:pt x="155" y="285"/>
                  </a:lnTo>
                  <a:lnTo>
                    <a:pt x="157" y="283"/>
                  </a:lnTo>
                  <a:lnTo>
                    <a:pt x="158" y="283"/>
                  </a:lnTo>
                  <a:lnTo>
                    <a:pt x="160" y="283"/>
                  </a:lnTo>
                  <a:lnTo>
                    <a:pt x="164" y="283"/>
                  </a:lnTo>
                  <a:lnTo>
                    <a:pt x="166" y="285"/>
                  </a:lnTo>
                  <a:lnTo>
                    <a:pt x="166" y="285"/>
                  </a:lnTo>
                  <a:lnTo>
                    <a:pt x="167" y="285"/>
                  </a:lnTo>
                  <a:lnTo>
                    <a:pt x="172" y="285"/>
                  </a:lnTo>
                  <a:lnTo>
                    <a:pt x="172" y="285"/>
                  </a:lnTo>
                  <a:lnTo>
                    <a:pt x="174" y="286"/>
                  </a:lnTo>
                  <a:lnTo>
                    <a:pt x="178" y="288"/>
                  </a:lnTo>
                  <a:lnTo>
                    <a:pt x="186" y="288"/>
                  </a:lnTo>
                  <a:lnTo>
                    <a:pt x="187" y="289"/>
                  </a:lnTo>
                  <a:lnTo>
                    <a:pt x="189" y="292"/>
                  </a:lnTo>
                  <a:lnTo>
                    <a:pt x="189" y="294"/>
                  </a:lnTo>
                  <a:lnTo>
                    <a:pt x="191" y="294"/>
                  </a:lnTo>
                  <a:lnTo>
                    <a:pt x="194" y="296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4" y="291"/>
                  </a:lnTo>
                  <a:lnTo>
                    <a:pt x="195" y="291"/>
                  </a:lnTo>
                  <a:lnTo>
                    <a:pt x="197" y="292"/>
                  </a:lnTo>
                  <a:lnTo>
                    <a:pt x="204" y="297"/>
                  </a:lnTo>
                  <a:lnTo>
                    <a:pt x="206" y="299"/>
                  </a:lnTo>
                  <a:lnTo>
                    <a:pt x="209" y="300"/>
                  </a:lnTo>
                  <a:lnTo>
                    <a:pt x="209" y="302"/>
                  </a:lnTo>
                  <a:lnTo>
                    <a:pt x="211" y="303"/>
                  </a:lnTo>
                  <a:lnTo>
                    <a:pt x="212" y="303"/>
                  </a:lnTo>
                  <a:lnTo>
                    <a:pt x="212" y="303"/>
                  </a:lnTo>
                  <a:lnTo>
                    <a:pt x="214" y="302"/>
                  </a:lnTo>
                  <a:lnTo>
                    <a:pt x="214" y="303"/>
                  </a:lnTo>
                  <a:lnTo>
                    <a:pt x="215" y="305"/>
                  </a:lnTo>
                  <a:lnTo>
                    <a:pt x="215" y="305"/>
                  </a:lnTo>
                  <a:lnTo>
                    <a:pt x="220" y="306"/>
                  </a:lnTo>
                  <a:lnTo>
                    <a:pt x="220" y="308"/>
                  </a:lnTo>
                  <a:lnTo>
                    <a:pt x="221" y="309"/>
                  </a:lnTo>
                  <a:lnTo>
                    <a:pt x="221" y="309"/>
                  </a:lnTo>
                  <a:lnTo>
                    <a:pt x="224" y="312"/>
                  </a:lnTo>
                  <a:lnTo>
                    <a:pt x="224" y="312"/>
                  </a:lnTo>
                  <a:lnTo>
                    <a:pt x="226" y="312"/>
                  </a:lnTo>
                  <a:lnTo>
                    <a:pt x="227" y="312"/>
                  </a:lnTo>
                  <a:lnTo>
                    <a:pt x="229" y="312"/>
                  </a:lnTo>
                  <a:lnTo>
                    <a:pt x="231" y="316"/>
                  </a:lnTo>
                  <a:lnTo>
                    <a:pt x="231" y="316"/>
                  </a:lnTo>
                  <a:lnTo>
                    <a:pt x="235" y="319"/>
                  </a:lnTo>
                  <a:lnTo>
                    <a:pt x="238" y="320"/>
                  </a:lnTo>
                  <a:lnTo>
                    <a:pt x="240" y="322"/>
                  </a:lnTo>
                  <a:lnTo>
                    <a:pt x="240" y="323"/>
                  </a:lnTo>
                  <a:lnTo>
                    <a:pt x="240" y="323"/>
                  </a:lnTo>
                  <a:lnTo>
                    <a:pt x="241" y="323"/>
                  </a:lnTo>
                  <a:lnTo>
                    <a:pt x="240" y="322"/>
                  </a:lnTo>
                  <a:lnTo>
                    <a:pt x="240" y="322"/>
                  </a:lnTo>
                  <a:lnTo>
                    <a:pt x="240" y="320"/>
                  </a:lnTo>
                  <a:lnTo>
                    <a:pt x="241" y="320"/>
                  </a:lnTo>
                  <a:lnTo>
                    <a:pt x="241" y="320"/>
                  </a:lnTo>
                  <a:lnTo>
                    <a:pt x="240" y="320"/>
                  </a:lnTo>
                  <a:lnTo>
                    <a:pt x="240" y="319"/>
                  </a:lnTo>
                  <a:lnTo>
                    <a:pt x="240" y="319"/>
                  </a:lnTo>
                  <a:lnTo>
                    <a:pt x="238" y="317"/>
                  </a:lnTo>
                  <a:lnTo>
                    <a:pt x="238" y="317"/>
                  </a:lnTo>
                  <a:lnTo>
                    <a:pt x="240" y="317"/>
                  </a:lnTo>
                  <a:lnTo>
                    <a:pt x="240" y="317"/>
                  </a:lnTo>
                  <a:lnTo>
                    <a:pt x="240" y="316"/>
                  </a:lnTo>
                  <a:lnTo>
                    <a:pt x="240" y="316"/>
                  </a:lnTo>
                  <a:lnTo>
                    <a:pt x="243" y="319"/>
                  </a:lnTo>
                  <a:lnTo>
                    <a:pt x="244" y="317"/>
                  </a:lnTo>
                  <a:lnTo>
                    <a:pt x="244" y="319"/>
                  </a:lnTo>
                  <a:lnTo>
                    <a:pt x="248" y="322"/>
                  </a:lnTo>
                  <a:lnTo>
                    <a:pt x="249" y="322"/>
                  </a:lnTo>
                  <a:lnTo>
                    <a:pt x="249" y="323"/>
                  </a:lnTo>
                  <a:lnTo>
                    <a:pt x="251" y="323"/>
                  </a:lnTo>
                  <a:lnTo>
                    <a:pt x="251" y="322"/>
                  </a:lnTo>
                  <a:lnTo>
                    <a:pt x="251" y="322"/>
                  </a:lnTo>
                  <a:lnTo>
                    <a:pt x="251" y="322"/>
                  </a:lnTo>
                  <a:lnTo>
                    <a:pt x="252" y="322"/>
                  </a:lnTo>
                  <a:lnTo>
                    <a:pt x="254" y="322"/>
                  </a:lnTo>
                  <a:lnTo>
                    <a:pt x="255" y="322"/>
                  </a:lnTo>
                  <a:lnTo>
                    <a:pt x="257" y="325"/>
                  </a:lnTo>
                  <a:lnTo>
                    <a:pt x="258" y="325"/>
                  </a:lnTo>
                  <a:lnTo>
                    <a:pt x="260" y="325"/>
                  </a:lnTo>
                  <a:lnTo>
                    <a:pt x="263" y="329"/>
                  </a:lnTo>
                  <a:lnTo>
                    <a:pt x="266" y="332"/>
                  </a:lnTo>
                  <a:lnTo>
                    <a:pt x="268" y="336"/>
                  </a:lnTo>
                  <a:lnTo>
                    <a:pt x="271" y="343"/>
                  </a:lnTo>
                  <a:lnTo>
                    <a:pt x="272" y="346"/>
                  </a:lnTo>
                  <a:lnTo>
                    <a:pt x="274" y="371"/>
                  </a:lnTo>
                  <a:lnTo>
                    <a:pt x="275" y="379"/>
                  </a:lnTo>
                  <a:lnTo>
                    <a:pt x="277" y="380"/>
                  </a:lnTo>
                  <a:lnTo>
                    <a:pt x="278" y="382"/>
                  </a:lnTo>
                  <a:lnTo>
                    <a:pt x="280" y="383"/>
                  </a:lnTo>
                  <a:lnTo>
                    <a:pt x="284" y="389"/>
                  </a:lnTo>
                  <a:lnTo>
                    <a:pt x="291" y="402"/>
                  </a:lnTo>
                  <a:lnTo>
                    <a:pt x="292" y="405"/>
                  </a:lnTo>
                  <a:lnTo>
                    <a:pt x="292" y="406"/>
                  </a:lnTo>
                  <a:lnTo>
                    <a:pt x="292" y="411"/>
                  </a:lnTo>
                  <a:lnTo>
                    <a:pt x="292" y="413"/>
                  </a:lnTo>
                  <a:lnTo>
                    <a:pt x="292" y="414"/>
                  </a:lnTo>
                  <a:lnTo>
                    <a:pt x="292" y="416"/>
                  </a:lnTo>
                  <a:lnTo>
                    <a:pt x="292" y="419"/>
                  </a:lnTo>
                  <a:lnTo>
                    <a:pt x="292" y="420"/>
                  </a:lnTo>
                  <a:lnTo>
                    <a:pt x="292" y="422"/>
                  </a:lnTo>
                  <a:lnTo>
                    <a:pt x="291" y="426"/>
                  </a:lnTo>
                  <a:lnTo>
                    <a:pt x="289" y="430"/>
                  </a:lnTo>
                  <a:lnTo>
                    <a:pt x="288" y="431"/>
                  </a:lnTo>
                  <a:lnTo>
                    <a:pt x="289" y="436"/>
                  </a:lnTo>
                  <a:lnTo>
                    <a:pt x="291" y="437"/>
                  </a:lnTo>
                  <a:lnTo>
                    <a:pt x="292" y="436"/>
                  </a:lnTo>
                  <a:lnTo>
                    <a:pt x="292" y="436"/>
                  </a:lnTo>
                  <a:lnTo>
                    <a:pt x="292" y="434"/>
                  </a:lnTo>
                  <a:lnTo>
                    <a:pt x="295" y="434"/>
                  </a:lnTo>
                  <a:lnTo>
                    <a:pt x="300" y="434"/>
                  </a:lnTo>
                  <a:lnTo>
                    <a:pt x="303" y="434"/>
                  </a:lnTo>
                  <a:lnTo>
                    <a:pt x="308" y="437"/>
                  </a:lnTo>
                  <a:lnTo>
                    <a:pt x="309" y="437"/>
                  </a:lnTo>
                  <a:lnTo>
                    <a:pt x="309" y="439"/>
                  </a:lnTo>
                  <a:lnTo>
                    <a:pt x="311" y="440"/>
                  </a:lnTo>
                  <a:lnTo>
                    <a:pt x="309" y="440"/>
                  </a:lnTo>
                  <a:lnTo>
                    <a:pt x="309" y="442"/>
                  </a:lnTo>
                  <a:lnTo>
                    <a:pt x="309" y="442"/>
                  </a:lnTo>
                  <a:lnTo>
                    <a:pt x="309" y="445"/>
                  </a:lnTo>
                  <a:lnTo>
                    <a:pt x="309" y="446"/>
                  </a:lnTo>
                  <a:lnTo>
                    <a:pt x="308" y="448"/>
                  </a:lnTo>
                  <a:lnTo>
                    <a:pt x="306" y="450"/>
                  </a:lnTo>
                  <a:lnTo>
                    <a:pt x="318" y="454"/>
                  </a:lnTo>
                  <a:lnTo>
                    <a:pt x="323" y="456"/>
                  </a:lnTo>
                  <a:lnTo>
                    <a:pt x="325" y="457"/>
                  </a:lnTo>
                  <a:lnTo>
                    <a:pt x="325" y="459"/>
                  </a:lnTo>
                  <a:lnTo>
                    <a:pt x="326" y="459"/>
                  </a:lnTo>
                  <a:lnTo>
                    <a:pt x="326" y="460"/>
                  </a:lnTo>
                  <a:lnTo>
                    <a:pt x="326" y="462"/>
                  </a:lnTo>
                  <a:lnTo>
                    <a:pt x="328" y="463"/>
                  </a:lnTo>
                  <a:lnTo>
                    <a:pt x="331" y="465"/>
                  </a:lnTo>
                  <a:lnTo>
                    <a:pt x="332" y="466"/>
                  </a:lnTo>
                  <a:lnTo>
                    <a:pt x="332" y="468"/>
                  </a:lnTo>
                  <a:lnTo>
                    <a:pt x="334" y="470"/>
                  </a:lnTo>
                  <a:lnTo>
                    <a:pt x="335" y="471"/>
                  </a:lnTo>
                  <a:lnTo>
                    <a:pt x="335" y="473"/>
                  </a:lnTo>
                  <a:lnTo>
                    <a:pt x="337" y="474"/>
                  </a:lnTo>
                  <a:lnTo>
                    <a:pt x="337" y="474"/>
                  </a:lnTo>
                  <a:lnTo>
                    <a:pt x="338" y="474"/>
                  </a:lnTo>
                  <a:lnTo>
                    <a:pt x="338" y="474"/>
                  </a:lnTo>
                  <a:lnTo>
                    <a:pt x="338" y="476"/>
                  </a:lnTo>
                  <a:lnTo>
                    <a:pt x="340" y="477"/>
                  </a:lnTo>
                  <a:lnTo>
                    <a:pt x="340" y="480"/>
                  </a:lnTo>
                  <a:lnTo>
                    <a:pt x="340" y="482"/>
                  </a:lnTo>
                  <a:lnTo>
                    <a:pt x="340" y="485"/>
                  </a:lnTo>
                  <a:lnTo>
                    <a:pt x="338" y="486"/>
                  </a:lnTo>
                  <a:lnTo>
                    <a:pt x="337" y="486"/>
                  </a:lnTo>
                  <a:lnTo>
                    <a:pt x="335" y="485"/>
                  </a:lnTo>
                  <a:lnTo>
                    <a:pt x="334" y="486"/>
                  </a:lnTo>
                  <a:lnTo>
                    <a:pt x="334" y="486"/>
                  </a:lnTo>
                  <a:lnTo>
                    <a:pt x="334" y="488"/>
                  </a:lnTo>
                  <a:lnTo>
                    <a:pt x="334" y="490"/>
                  </a:lnTo>
                  <a:lnTo>
                    <a:pt x="334" y="491"/>
                  </a:lnTo>
                  <a:lnTo>
                    <a:pt x="337" y="491"/>
                  </a:lnTo>
                  <a:lnTo>
                    <a:pt x="337" y="493"/>
                  </a:lnTo>
                  <a:lnTo>
                    <a:pt x="338" y="494"/>
                  </a:lnTo>
                  <a:lnTo>
                    <a:pt x="338" y="493"/>
                  </a:lnTo>
                  <a:lnTo>
                    <a:pt x="338" y="493"/>
                  </a:lnTo>
                  <a:lnTo>
                    <a:pt x="340" y="493"/>
                  </a:lnTo>
                  <a:lnTo>
                    <a:pt x="340" y="494"/>
                  </a:lnTo>
                  <a:lnTo>
                    <a:pt x="340" y="493"/>
                  </a:lnTo>
                  <a:lnTo>
                    <a:pt x="341" y="491"/>
                  </a:lnTo>
                  <a:lnTo>
                    <a:pt x="341" y="490"/>
                  </a:lnTo>
                  <a:lnTo>
                    <a:pt x="343" y="488"/>
                  </a:lnTo>
                  <a:lnTo>
                    <a:pt x="343" y="488"/>
                  </a:lnTo>
                  <a:lnTo>
                    <a:pt x="345" y="488"/>
                  </a:lnTo>
                  <a:lnTo>
                    <a:pt x="346" y="488"/>
                  </a:lnTo>
                  <a:lnTo>
                    <a:pt x="351" y="490"/>
                  </a:lnTo>
                  <a:lnTo>
                    <a:pt x="354" y="490"/>
                  </a:lnTo>
                  <a:lnTo>
                    <a:pt x="352" y="490"/>
                  </a:lnTo>
                  <a:lnTo>
                    <a:pt x="354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1"/>
                  </a:lnTo>
                  <a:lnTo>
                    <a:pt x="358" y="491"/>
                  </a:lnTo>
                  <a:lnTo>
                    <a:pt x="363" y="494"/>
                  </a:lnTo>
                  <a:lnTo>
                    <a:pt x="366" y="496"/>
                  </a:lnTo>
                  <a:lnTo>
                    <a:pt x="375" y="502"/>
                  </a:lnTo>
                  <a:lnTo>
                    <a:pt x="377" y="505"/>
                  </a:lnTo>
                  <a:lnTo>
                    <a:pt x="382" y="513"/>
                  </a:lnTo>
                  <a:lnTo>
                    <a:pt x="382" y="514"/>
                  </a:lnTo>
                  <a:lnTo>
                    <a:pt x="382" y="516"/>
                  </a:lnTo>
                  <a:lnTo>
                    <a:pt x="383" y="517"/>
                  </a:lnTo>
                  <a:lnTo>
                    <a:pt x="385" y="519"/>
                  </a:lnTo>
                  <a:lnTo>
                    <a:pt x="385" y="520"/>
                  </a:lnTo>
                  <a:lnTo>
                    <a:pt x="386" y="522"/>
                  </a:lnTo>
                  <a:lnTo>
                    <a:pt x="386" y="523"/>
                  </a:lnTo>
                  <a:lnTo>
                    <a:pt x="388" y="525"/>
                  </a:lnTo>
                  <a:lnTo>
                    <a:pt x="388" y="527"/>
                  </a:lnTo>
                  <a:lnTo>
                    <a:pt x="389" y="527"/>
                  </a:lnTo>
                  <a:lnTo>
                    <a:pt x="395" y="527"/>
                  </a:lnTo>
                  <a:lnTo>
                    <a:pt x="395" y="527"/>
                  </a:lnTo>
                  <a:lnTo>
                    <a:pt x="397" y="528"/>
                  </a:lnTo>
                  <a:lnTo>
                    <a:pt x="398" y="530"/>
                  </a:lnTo>
                  <a:lnTo>
                    <a:pt x="400" y="530"/>
                  </a:lnTo>
                  <a:lnTo>
                    <a:pt x="400" y="531"/>
                  </a:lnTo>
                  <a:lnTo>
                    <a:pt x="403" y="531"/>
                  </a:lnTo>
                  <a:lnTo>
                    <a:pt x="403" y="531"/>
                  </a:lnTo>
                  <a:lnTo>
                    <a:pt x="403" y="533"/>
                  </a:lnTo>
                  <a:lnTo>
                    <a:pt x="405" y="534"/>
                  </a:lnTo>
                  <a:lnTo>
                    <a:pt x="405" y="534"/>
                  </a:lnTo>
                  <a:lnTo>
                    <a:pt x="412" y="540"/>
                  </a:lnTo>
                  <a:lnTo>
                    <a:pt x="414" y="542"/>
                  </a:lnTo>
                  <a:lnTo>
                    <a:pt x="415" y="545"/>
                  </a:lnTo>
                  <a:lnTo>
                    <a:pt x="417" y="548"/>
                  </a:lnTo>
                  <a:lnTo>
                    <a:pt x="417" y="550"/>
                  </a:lnTo>
                  <a:lnTo>
                    <a:pt x="417" y="551"/>
                  </a:lnTo>
                  <a:lnTo>
                    <a:pt x="417" y="553"/>
                  </a:lnTo>
                  <a:lnTo>
                    <a:pt x="417" y="554"/>
                  </a:lnTo>
                  <a:lnTo>
                    <a:pt x="418" y="556"/>
                  </a:lnTo>
                  <a:lnTo>
                    <a:pt x="420" y="557"/>
                  </a:lnTo>
                  <a:lnTo>
                    <a:pt x="422" y="557"/>
                  </a:lnTo>
                  <a:lnTo>
                    <a:pt x="422" y="557"/>
                  </a:lnTo>
                  <a:lnTo>
                    <a:pt x="423" y="559"/>
                  </a:lnTo>
                  <a:lnTo>
                    <a:pt x="425" y="559"/>
                  </a:lnTo>
                  <a:lnTo>
                    <a:pt x="426" y="560"/>
                  </a:lnTo>
                  <a:lnTo>
                    <a:pt x="434" y="567"/>
                  </a:lnTo>
                  <a:lnTo>
                    <a:pt x="442" y="576"/>
                  </a:lnTo>
                  <a:lnTo>
                    <a:pt x="448" y="583"/>
                  </a:lnTo>
                  <a:lnTo>
                    <a:pt x="448" y="585"/>
                  </a:lnTo>
                  <a:lnTo>
                    <a:pt x="449" y="583"/>
                  </a:lnTo>
                  <a:lnTo>
                    <a:pt x="449" y="583"/>
                  </a:lnTo>
                  <a:lnTo>
                    <a:pt x="451" y="583"/>
                  </a:lnTo>
                  <a:lnTo>
                    <a:pt x="457" y="588"/>
                  </a:lnTo>
                  <a:lnTo>
                    <a:pt x="459" y="588"/>
                  </a:lnTo>
                  <a:lnTo>
                    <a:pt x="463" y="588"/>
                  </a:lnTo>
                  <a:lnTo>
                    <a:pt x="465" y="588"/>
                  </a:lnTo>
                  <a:lnTo>
                    <a:pt x="468" y="590"/>
                  </a:lnTo>
                  <a:lnTo>
                    <a:pt x="469" y="591"/>
                  </a:lnTo>
                  <a:lnTo>
                    <a:pt x="474" y="596"/>
                  </a:lnTo>
                  <a:lnTo>
                    <a:pt x="475" y="597"/>
                  </a:lnTo>
                  <a:lnTo>
                    <a:pt x="477" y="600"/>
                  </a:lnTo>
                  <a:lnTo>
                    <a:pt x="477" y="602"/>
                  </a:lnTo>
                  <a:lnTo>
                    <a:pt x="479" y="604"/>
                  </a:lnTo>
                  <a:lnTo>
                    <a:pt x="479" y="605"/>
                  </a:lnTo>
                  <a:lnTo>
                    <a:pt x="479" y="607"/>
                  </a:lnTo>
                  <a:lnTo>
                    <a:pt x="480" y="607"/>
                  </a:lnTo>
                  <a:lnTo>
                    <a:pt x="482" y="607"/>
                  </a:lnTo>
                  <a:lnTo>
                    <a:pt x="485" y="605"/>
                  </a:lnTo>
                  <a:lnTo>
                    <a:pt x="486" y="604"/>
                  </a:lnTo>
                  <a:lnTo>
                    <a:pt x="489" y="602"/>
                  </a:lnTo>
                  <a:lnTo>
                    <a:pt x="491" y="600"/>
                  </a:lnTo>
                  <a:lnTo>
                    <a:pt x="497" y="600"/>
                  </a:lnTo>
                  <a:lnTo>
                    <a:pt x="500" y="600"/>
                  </a:lnTo>
                  <a:lnTo>
                    <a:pt x="511" y="605"/>
                  </a:lnTo>
                  <a:lnTo>
                    <a:pt x="512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8"/>
                  </a:lnTo>
                  <a:lnTo>
                    <a:pt x="516" y="608"/>
                  </a:lnTo>
                  <a:lnTo>
                    <a:pt x="516" y="608"/>
                  </a:lnTo>
                  <a:lnTo>
                    <a:pt x="519" y="608"/>
                  </a:lnTo>
                  <a:lnTo>
                    <a:pt x="517" y="605"/>
                  </a:lnTo>
                  <a:lnTo>
                    <a:pt x="520" y="604"/>
                  </a:lnTo>
                  <a:lnTo>
                    <a:pt x="525" y="604"/>
                  </a:lnTo>
                  <a:lnTo>
                    <a:pt x="525" y="605"/>
                  </a:lnTo>
                  <a:lnTo>
                    <a:pt x="526" y="605"/>
                  </a:lnTo>
                  <a:lnTo>
                    <a:pt x="528" y="604"/>
                  </a:lnTo>
                  <a:lnTo>
                    <a:pt x="529" y="605"/>
                  </a:lnTo>
                  <a:lnTo>
                    <a:pt x="534" y="608"/>
                  </a:lnTo>
                  <a:lnTo>
                    <a:pt x="539" y="614"/>
                  </a:lnTo>
                  <a:lnTo>
                    <a:pt x="542" y="619"/>
                  </a:lnTo>
                  <a:lnTo>
                    <a:pt x="543" y="624"/>
                  </a:lnTo>
                  <a:lnTo>
                    <a:pt x="543" y="624"/>
                  </a:lnTo>
                  <a:lnTo>
                    <a:pt x="543" y="627"/>
                  </a:lnTo>
                  <a:lnTo>
                    <a:pt x="543" y="627"/>
                  </a:lnTo>
                  <a:lnTo>
                    <a:pt x="545" y="628"/>
                  </a:lnTo>
                  <a:lnTo>
                    <a:pt x="548" y="630"/>
                  </a:lnTo>
                  <a:lnTo>
                    <a:pt x="551" y="637"/>
                  </a:lnTo>
                  <a:lnTo>
                    <a:pt x="552" y="642"/>
                  </a:lnTo>
                  <a:lnTo>
                    <a:pt x="554" y="645"/>
                  </a:lnTo>
                  <a:lnTo>
                    <a:pt x="552" y="650"/>
                  </a:lnTo>
                  <a:lnTo>
                    <a:pt x="554" y="650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48"/>
                  </a:lnTo>
                  <a:lnTo>
                    <a:pt x="556" y="647"/>
                  </a:lnTo>
                  <a:lnTo>
                    <a:pt x="556" y="645"/>
                  </a:lnTo>
                  <a:lnTo>
                    <a:pt x="557" y="645"/>
                  </a:lnTo>
                  <a:lnTo>
                    <a:pt x="559" y="647"/>
                  </a:lnTo>
                  <a:lnTo>
                    <a:pt x="560" y="647"/>
                  </a:lnTo>
                  <a:lnTo>
                    <a:pt x="562" y="647"/>
                  </a:lnTo>
                  <a:lnTo>
                    <a:pt x="563" y="648"/>
                  </a:lnTo>
                  <a:lnTo>
                    <a:pt x="565" y="648"/>
                  </a:lnTo>
                  <a:lnTo>
                    <a:pt x="566" y="647"/>
                  </a:lnTo>
                  <a:lnTo>
                    <a:pt x="566" y="645"/>
                  </a:lnTo>
                  <a:lnTo>
                    <a:pt x="568" y="645"/>
                  </a:lnTo>
                  <a:lnTo>
                    <a:pt x="571" y="645"/>
                  </a:lnTo>
                  <a:lnTo>
                    <a:pt x="572" y="645"/>
                  </a:lnTo>
                  <a:lnTo>
                    <a:pt x="572" y="647"/>
                  </a:lnTo>
                  <a:lnTo>
                    <a:pt x="576" y="650"/>
                  </a:lnTo>
                  <a:lnTo>
                    <a:pt x="577" y="651"/>
                  </a:lnTo>
                  <a:lnTo>
                    <a:pt x="579" y="651"/>
                  </a:lnTo>
                  <a:lnTo>
                    <a:pt x="579" y="653"/>
                  </a:lnTo>
                  <a:lnTo>
                    <a:pt x="580" y="653"/>
                  </a:lnTo>
                  <a:lnTo>
                    <a:pt x="582" y="654"/>
                  </a:lnTo>
                  <a:lnTo>
                    <a:pt x="583" y="653"/>
                  </a:lnTo>
                  <a:lnTo>
                    <a:pt x="585" y="654"/>
                  </a:lnTo>
                  <a:lnTo>
                    <a:pt x="585" y="656"/>
                  </a:lnTo>
                  <a:lnTo>
                    <a:pt x="586" y="657"/>
                  </a:lnTo>
                  <a:lnTo>
                    <a:pt x="585" y="659"/>
                  </a:lnTo>
                  <a:lnTo>
                    <a:pt x="583" y="660"/>
                  </a:lnTo>
                  <a:lnTo>
                    <a:pt x="580" y="664"/>
                  </a:lnTo>
                  <a:lnTo>
                    <a:pt x="580" y="664"/>
                  </a:lnTo>
                  <a:lnTo>
                    <a:pt x="579" y="665"/>
                  </a:lnTo>
                  <a:lnTo>
                    <a:pt x="579" y="665"/>
                  </a:lnTo>
                  <a:lnTo>
                    <a:pt x="577" y="665"/>
                  </a:lnTo>
                  <a:lnTo>
                    <a:pt x="576" y="667"/>
                  </a:lnTo>
                  <a:lnTo>
                    <a:pt x="574" y="668"/>
                  </a:lnTo>
                  <a:lnTo>
                    <a:pt x="574" y="670"/>
                  </a:lnTo>
                  <a:lnTo>
                    <a:pt x="576" y="671"/>
                  </a:lnTo>
                  <a:lnTo>
                    <a:pt x="577" y="670"/>
                  </a:lnTo>
                  <a:lnTo>
                    <a:pt x="580" y="668"/>
                  </a:lnTo>
                  <a:lnTo>
                    <a:pt x="582" y="667"/>
                  </a:lnTo>
                  <a:lnTo>
                    <a:pt x="585" y="667"/>
                  </a:lnTo>
                  <a:lnTo>
                    <a:pt x="586" y="665"/>
                  </a:lnTo>
                  <a:lnTo>
                    <a:pt x="588" y="667"/>
                  </a:lnTo>
                  <a:lnTo>
                    <a:pt x="591" y="667"/>
                  </a:lnTo>
                  <a:lnTo>
                    <a:pt x="593" y="667"/>
                  </a:lnTo>
                  <a:lnTo>
                    <a:pt x="596" y="664"/>
                  </a:lnTo>
                  <a:lnTo>
                    <a:pt x="597" y="664"/>
                  </a:lnTo>
                  <a:lnTo>
                    <a:pt x="600" y="664"/>
                  </a:lnTo>
                  <a:lnTo>
                    <a:pt x="602" y="664"/>
                  </a:lnTo>
                  <a:lnTo>
                    <a:pt x="603" y="662"/>
                  </a:lnTo>
                  <a:lnTo>
                    <a:pt x="606" y="660"/>
                  </a:lnTo>
                  <a:lnTo>
                    <a:pt x="608" y="662"/>
                  </a:lnTo>
                  <a:lnTo>
                    <a:pt x="609" y="664"/>
                  </a:lnTo>
                  <a:lnTo>
                    <a:pt x="613" y="665"/>
                  </a:lnTo>
                  <a:lnTo>
                    <a:pt x="614" y="668"/>
                  </a:lnTo>
                  <a:lnTo>
                    <a:pt x="616" y="671"/>
                  </a:lnTo>
                  <a:lnTo>
                    <a:pt x="623" y="685"/>
                  </a:lnTo>
                  <a:lnTo>
                    <a:pt x="625" y="688"/>
                  </a:lnTo>
                  <a:lnTo>
                    <a:pt x="625" y="691"/>
                  </a:lnTo>
                  <a:lnTo>
                    <a:pt x="623" y="691"/>
                  </a:lnTo>
                  <a:lnTo>
                    <a:pt x="622" y="693"/>
                  </a:lnTo>
                  <a:lnTo>
                    <a:pt x="622" y="693"/>
                  </a:lnTo>
                  <a:lnTo>
                    <a:pt x="620" y="694"/>
                  </a:lnTo>
                  <a:lnTo>
                    <a:pt x="620" y="694"/>
                  </a:lnTo>
                  <a:lnTo>
                    <a:pt x="619" y="694"/>
                  </a:lnTo>
                  <a:lnTo>
                    <a:pt x="619" y="696"/>
                  </a:lnTo>
                  <a:lnTo>
                    <a:pt x="620" y="697"/>
                  </a:lnTo>
                  <a:lnTo>
                    <a:pt x="619" y="699"/>
                  </a:lnTo>
                  <a:lnTo>
                    <a:pt x="617" y="702"/>
                  </a:lnTo>
                  <a:lnTo>
                    <a:pt x="617" y="704"/>
                  </a:lnTo>
                  <a:lnTo>
                    <a:pt x="619" y="704"/>
                  </a:lnTo>
                  <a:lnTo>
                    <a:pt x="620" y="705"/>
                  </a:lnTo>
                  <a:lnTo>
                    <a:pt x="622" y="704"/>
                  </a:lnTo>
                  <a:lnTo>
                    <a:pt x="622" y="705"/>
                  </a:lnTo>
                  <a:lnTo>
                    <a:pt x="623" y="705"/>
                  </a:lnTo>
                  <a:lnTo>
                    <a:pt x="625" y="707"/>
                  </a:lnTo>
                  <a:lnTo>
                    <a:pt x="626" y="708"/>
                  </a:lnTo>
                  <a:lnTo>
                    <a:pt x="626" y="710"/>
                  </a:lnTo>
                  <a:lnTo>
                    <a:pt x="628" y="710"/>
                  </a:lnTo>
                  <a:lnTo>
                    <a:pt x="629" y="710"/>
                  </a:lnTo>
                  <a:lnTo>
                    <a:pt x="631" y="710"/>
                  </a:lnTo>
                  <a:lnTo>
                    <a:pt x="633" y="710"/>
                  </a:lnTo>
                  <a:lnTo>
                    <a:pt x="634" y="710"/>
                  </a:lnTo>
                  <a:lnTo>
                    <a:pt x="639" y="714"/>
                  </a:lnTo>
                  <a:lnTo>
                    <a:pt x="640" y="716"/>
                  </a:lnTo>
                  <a:lnTo>
                    <a:pt x="642" y="717"/>
                  </a:lnTo>
                  <a:lnTo>
                    <a:pt x="643" y="719"/>
                  </a:lnTo>
                  <a:lnTo>
                    <a:pt x="645" y="722"/>
                  </a:lnTo>
                  <a:lnTo>
                    <a:pt x="643" y="724"/>
                  </a:lnTo>
                  <a:lnTo>
                    <a:pt x="643" y="724"/>
                  </a:lnTo>
                  <a:lnTo>
                    <a:pt x="645" y="724"/>
                  </a:lnTo>
                  <a:lnTo>
                    <a:pt x="645" y="724"/>
                  </a:lnTo>
                  <a:lnTo>
                    <a:pt x="646" y="724"/>
                  </a:lnTo>
                  <a:lnTo>
                    <a:pt x="646" y="724"/>
                  </a:lnTo>
                  <a:lnTo>
                    <a:pt x="648" y="724"/>
                  </a:lnTo>
                  <a:lnTo>
                    <a:pt x="650" y="727"/>
                  </a:lnTo>
                  <a:lnTo>
                    <a:pt x="651" y="727"/>
                  </a:lnTo>
                  <a:lnTo>
                    <a:pt x="654" y="727"/>
                  </a:lnTo>
                  <a:lnTo>
                    <a:pt x="656" y="727"/>
                  </a:lnTo>
                  <a:lnTo>
                    <a:pt x="659" y="724"/>
                  </a:lnTo>
                  <a:lnTo>
                    <a:pt x="662" y="722"/>
                  </a:lnTo>
                  <a:lnTo>
                    <a:pt x="662" y="721"/>
                  </a:lnTo>
                  <a:lnTo>
                    <a:pt x="665" y="719"/>
                  </a:lnTo>
                  <a:lnTo>
                    <a:pt x="670" y="719"/>
                  </a:lnTo>
                  <a:lnTo>
                    <a:pt x="671" y="719"/>
                  </a:lnTo>
                  <a:lnTo>
                    <a:pt x="671" y="721"/>
                  </a:lnTo>
                  <a:lnTo>
                    <a:pt x="671" y="721"/>
                  </a:lnTo>
                  <a:lnTo>
                    <a:pt x="673" y="722"/>
                  </a:lnTo>
                  <a:lnTo>
                    <a:pt x="674" y="725"/>
                  </a:lnTo>
                  <a:lnTo>
                    <a:pt x="677" y="728"/>
                  </a:lnTo>
                  <a:lnTo>
                    <a:pt x="679" y="730"/>
                  </a:lnTo>
                  <a:lnTo>
                    <a:pt x="679" y="731"/>
                  </a:lnTo>
                  <a:lnTo>
                    <a:pt x="680" y="733"/>
                  </a:lnTo>
                  <a:lnTo>
                    <a:pt x="682" y="737"/>
                  </a:lnTo>
                  <a:lnTo>
                    <a:pt x="682" y="739"/>
                  </a:lnTo>
                  <a:lnTo>
                    <a:pt x="682" y="744"/>
                  </a:lnTo>
                  <a:lnTo>
                    <a:pt x="682" y="744"/>
                  </a:lnTo>
                  <a:lnTo>
                    <a:pt x="682" y="744"/>
                  </a:lnTo>
                  <a:lnTo>
                    <a:pt x="683" y="745"/>
                  </a:lnTo>
                  <a:lnTo>
                    <a:pt x="683" y="747"/>
                  </a:lnTo>
                  <a:lnTo>
                    <a:pt x="683" y="747"/>
                  </a:lnTo>
                  <a:lnTo>
                    <a:pt x="685" y="756"/>
                  </a:lnTo>
                  <a:lnTo>
                    <a:pt x="685" y="758"/>
                  </a:lnTo>
                  <a:lnTo>
                    <a:pt x="686" y="761"/>
                  </a:lnTo>
                  <a:lnTo>
                    <a:pt x="688" y="764"/>
                  </a:lnTo>
                  <a:lnTo>
                    <a:pt x="688" y="767"/>
                  </a:lnTo>
                  <a:lnTo>
                    <a:pt x="690" y="768"/>
                  </a:lnTo>
                  <a:lnTo>
                    <a:pt x="690" y="770"/>
                  </a:lnTo>
                  <a:lnTo>
                    <a:pt x="691" y="771"/>
                  </a:lnTo>
                  <a:lnTo>
                    <a:pt x="694" y="773"/>
                  </a:lnTo>
                  <a:lnTo>
                    <a:pt x="696" y="778"/>
                  </a:lnTo>
                  <a:lnTo>
                    <a:pt x="699" y="781"/>
                  </a:lnTo>
                  <a:lnTo>
                    <a:pt x="702" y="790"/>
                  </a:lnTo>
                  <a:lnTo>
                    <a:pt x="702" y="793"/>
                  </a:lnTo>
                  <a:lnTo>
                    <a:pt x="705" y="816"/>
                  </a:lnTo>
                  <a:lnTo>
                    <a:pt x="710" y="825"/>
                  </a:lnTo>
                  <a:lnTo>
                    <a:pt x="710" y="827"/>
                  </a:lnTo>
                  <a:lnTo>
                    <a:pt x="711" y="828"/>
                  </a:lnTo>
                  <a:lnTo>
                    <a:pt x="713" y="828"/>
                  </a:lnTo>
                  <a:lnTo>
                    <a:pt x="714" y="828"/>
                  </a:lnTo>
                  <a:lnTo>
                    <a:pt x="714" y="830"/>
                  </a:lnTo>
                  <a:lnTo>
                    <a:pt x="716" y="833"/>
                  </a:lnTo>
                  <a:lnTo>
                    <a:pt x="716" y="836"/>
                  </a:lnTo>
                  <a:lnTo>
                    <a:pt x="714" y="841"/>
                  </a:lnTo>
                  <a:lnTo>
                    <a:pt x="714" y="844"/>
                  </a:lnTo>
                  <a:lnTo>
                    <a:pt x="713" y="847"/>
                  </a:lnTo>
                  <a:lnTo>
                    <a:pt x="710" y="848"/>
                  </a:lnTo>
                  <a:lnTo>
                    <a:pt x="710" y="848"/>
                  </a:lnTo>
                  <a:lnTo>
                    <a:pt x="708" y="850"/>
                  </a:lnTo>
                  <a:lnTo>
                    <a:pt x="702" y="848"/>
                  </a:lnTo>
                  <a:lnTo>
                    <a:pt x="699" y="848"/>
                  </a:lnTo>
                  <a:lnTo>
                    <a:pt x="696" y="850"/>
                  </a:lnTo>
                  <a:lnTo>
                    <a:pt x="691" y="853"/>
                  </a:lnTo>
                  <a:lnTo>
                    <a:pt x="688" y="855"/>
                  </a:lnTo>
                  <a:lnTo>
                    <a:pt x="686" y="855"/>
                  </a:lnTo>
                  <a:lnTo>
                    <a:pt x="686" y="856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9"/>
                  </a:lnTo>
                  <a:lnTo>
                    <a:pt x="688" y="859"/>
                  </a:lnTo>
                  <a:lnTo>
                    <a:pt x="688" y="861"/>
                  </a:lnTo>
                  <a:lnTo>
                    <a:pt x="690" y="861"/>
                  </a:lnTo>
                  <a:lnTo>
                    <a:pt x="691" y="862"/>
                  </a:lnTo>
                  <a:lnTo>
                    <a:pt x="693" y="865"/>
                  </a:lnTo>
                  <a:lnTo>
                    <a:pt x="693" y="868"/>
                  </a:lnTo>
                  <a:lnTo>
                    <a:pt x="691" y="873"/>
                  </a:lnTo>
                  <a:lnTo>
                    <a:pt x="686" y="884"/>
                  </a:lnTo>
                  <a:lnTo>
                    <a:pt x="685" y="888"/>
                  </a:lnTo>
                  <a:lnTo>
                    <a:pt x="685" y="888"/>
                  </a:lnTo>
                  <a:lnTo>
                    <a:pt x="683" y="890"/>
                  </a:lnTo>
                  <a:lnTo>
                    <a:pt x="683" y="890"/>
                  </a:lnTo>
                  <a:lnTo>
                    <a:pt x="683" y="891"/>
                  </a:lnTo>
                  <a:lnTo>
                    <a:pt x="676" y="893"/>
                  </a:lnTo>
                  <a:lnTo>
                    <a:pt x="673" y="895"/>
                  </a:lnTo>
                  <a:lnTo>
                    <a:pt x="671" y="896"/>
                  </a:lnTo>
                  <a:lnTo>
                    <a:pt x="673" y="899"/>
                  </a:lnTo>
                  <a:lnTo>
                    <a:pt x="673" y="902"/>
                  </a:lnTo>
                  <a:lnTo>
                    <a:pt x="673" y="904"/>
                  </a:lnTo>
                  <a:lnTo>
                    <a:pt x="673" y="905"/>
                  </a:lnTo>
                  <a:lnTo>
                    <a:pt x="671" y="907"/>
                  </a:lnTo>
                  <a:lnTo>
                    <a:pt x="671" y="908"/>
                  </a:lnTo>
                  <a:lnTo>
                    <a:pt x="671" y="910"/>
                  </a:lnTo>
                  <a:lnTo>
                    <a:pt x="674" y="913"/>
                  </a:lnTo>
                  <a:lnTo>
                    <a:pt x="673" y="915"/>
                  </a:lnTo>
                  <a:lnTo>
                    <a:pt x="671" y="916"/>
                  </a:lnTo>
                  <a:lnTo>
                    <a:pt x="673" y="919"/>
                  </a:lnTo>
                  <a:lnTo>
                    <a:pt x="674" y="921"/>
                  </a:lnTo>
                  <a:lnTo>
                    <a:pt x="676" y="922"/>
                  </a:lnTo>
                  <a:lnTo>
                    <a:pt x="677" y="922"/>
                  </a:lnTo>
                  <a:lnTo>
                    <a:pt x="679" y="924"/>
                  </a:lnTo>
                  <a:lnTo>
                    <a:pt x="680" y="924"/>
                  </a:lnTo>
                  <a:lnTo>
                    <a:pt x="694" y="924"/>
                  </a:lnTo>
                  <a:lnTo>
                    <a:pt x="699" y="925"/>
                  </a:lnTo>
                  <a:lnTo>
                    <a:pt x="700" y="924"/>
                  </a:lnTo>
                  <a:lnTo>
                    <a:pt x="703" y="924"/>
                  </a:lnTo>
                  <a:lnTo>
                    <a:pt x="705" y="924"/>
                  </a:lnTo>
                  <a:lnTo>
                    <a:pt x="705" y="922"/>
                  </a:lnTo>
                  <a:lnTo>
                    <a:pt x="706" y="921"/>
                  </a:lnTo>
                  <a:lnTo>
                    <a:pt x="706" y="919"/>
                  </a:lnTo>
                  <a:lnTo>
                    <a:pt x="708" y="918"/>
                  </a:lnTo>
                  <a:lnTo>
                    <a:pt x="710" y="907"/>
                  </a:lnTo>
                  <a:lnTo>
                    <a:pt x="711" y="904"/>
                  </a:lnTo>
                  <a:lnTo>
                    <a:pt x="722" y="891"/>
                  </a:lnTo>
                  <a:lnTo>
                    <a:pt x="723" y="888"/>
                  </a:lnTo>
                  <a:lnTo>
                    <a:pt x="731" y="885"/>
                  </a:lnTo>
                  <a:lnTo>
                    <a:pt x="734" y="885"/>
                  </a:lnTo>
                  <a:lnTo>
                    <a:pt x="736" y="882"/>
                  </a:lnTo>
                  <a:lnTo>
                    <a:pt x="737" y="882"/>
                  </a:lnTo>
                  <a:lnTo>
                    <a:pt x="737" y="881"/>
                  </a:lnTo>
                  <a:lnTo>
                    <a:pt x="740" y="878"/>
                  </a:lnTo>
                  <a:lnTo>
                    <a:pt x="742" y="878"/>
                  </a:lnTo>
                  <a:lnTo>
                    <a:pt x="742" y="870"/>
                  </a:lnTo>
                  <a:lnTo>
                    <a:pt x="742" y="867"/>
                  </a:lnTo>
                  <a:lnTo>
                    <a:pt x="740" y="861"/>
                  </a:lnTo>
                  <a:lnTo>
                    <a:pt x="740" y="855"/>
                  </a:lnTo>
                  <a:lnTo>
                    <a:pt x="740" y="853"/>
                  </a:lnTo>
                  <a:lnTo>
                    <a:pt x="739" y="851"/>
                  </a:lnTo>
                  <a:lnTo>
                    <a:pt x="739" y="851"/>
                  </a:lnTo>
                  <a:lnTo>
                    <a:pt x="739" y="848"/>
                  </a:lnTo>
                  <a:lnTo>
                    <a:pt x="740" y="847"/>
                  </a:lnTo>
                  <a:lnTo>
                    <a:pt x="740" y="845"/>
                  </a:lnTo>
                  <a:lnTo>
                    <a:pt x="742" y="844"/>
                  </a:lnTo>
                  <a:lnTo>
                    <a:pt x="742" y="842"/>
                  </a:lnTo>
                  <a:lnTo>
                    <a:pt x="745" y="841"/>
                  </a:lnTo>
                  <a:lnTo>
                    <a:pt x="748" y="838"/>
                  </a:lnTo>
                  <a:lnTo>
                    <a:pt x="750" y="838"/>
                  </a:lnTo>
                  <a:lnTo>
                    <a:pt x="750" y="836"/>
                  </a:lnTo>
                  <a:lnTo>
                    <a:pt x="753" y="834"/>
                  </a:lnTo>
                  <a:lnTo>
                    <a:pt x="762" y="830"/>
                  </a:lnTo>
                  <a:lnTo>
                    <a:pt x="768" y="828"/>
                  </a:lnTo>
                  <a:lnTo>
                    <a:pt x="770" y="828"/>
                  </a:lnTo>
                  <a:lnTo>
                    <a:pt x="771" y="828"/>
                  </a:lnTo>
                  <a:lnTo>
                    <a:pt x="773" y="830"/>
                  </a:lnTo>
                  <a:lnTo>
                    <a:pt x="774" y="831"/>
                  </a:lnTo>
                  <a:lnTo>
                    <a:pt x="776" y="831"/>
                  </a:lnTo>
                  <a:lnTo>
                    <a:pt x="779" y="830"/>
                  </a:lnTo>
                  <a:lnTo>
                    <a:pt x="780" y="830"/>
                  </a:lnTo>
                  <a:lnTo>
                    <a:pt x="780" y="833"/>
                  </a:lnTo>
                  <a:lnTo>
                    <a:pt x="782" y="830"/>
                  </a:lnTo>
                  <a:lnTo>
                    <a:pt x="783" y="830"/>
                  </a:lnTo>
                  <a:lnTo>
                    <a:pt x="783" y="830"/>
                  </a:lnTo>
                  <a:lnTo>
                    <a:pt x="783" y="828"/>
                  </a:lnTo>
                  <a:lnTo>
                    <a:pt x="787" y="827"/>
                  </a:lnTo>
                  <a:lnTo>
                    <a:pt x="787" y="825"/>
                  </a:lnTo>
                  <a:lnTo>
                    <a:pt x="787" y="822"/>
                  </a:lnTo>
                  <a:lnTo>
                    <a:pt x="787" y="822"/>
                  </a:lnTo>
                  <a:lnTo>
                    <a:pt x="787" y="821"/>
                  </a:lnTo>
                  <a:lnTo>
                    <a:pt x="788" y="821"/>
                  </a:lnTo>
                  <a:lnTo>
                    <a:pt x="788" y="819"/>
                  </a:lnTo>
                  <a:lnTo>
                    <a:pt x="785" y="819"/>
                  </a:lnTo>
                  <a:lnTo>
                    <a:pt x="785" y="819"/>
                  </a:lnTo>
                  <a:lnTo>
                    <a:pt x="783" y="818"/>
                  </a:lnTo>
                  <a:lnTo>
                    <a:pt x="782" y="814"/>
                  </a:lnTo>
                  <a:lnTo>
                    <a:pt x="782" y="811"/>
                  </a:lnTo>
                  <a:lnTo>
                    <a:pt x="783" y="805"/>
                  </a:lnTo>
                  <a:lnTo>
                    <a:pt x="783" y="802"/>
                  </a:lnTo>
                  <a:lnTo>
                    <a:pt x="783" y="802"/>
                  </a:lnTo>
                  <a:lnTo>
                    <a:pt x="782" y="799"/>
                  </a:lnTo>
                  <a:lnTo>
                    <a:pt x="782" y="798"/>
                  </a:lnTo>
                  <a:lnTo>
                    <a:pt x="782" y="798"/>
                  </a:lnTo>
                  <a:lnTo>
                    <a:pt x="782" y="796"/>
                  </a:lnTo>
                  <a:lnTo>
                    <a:pt x="782" y="790"/>
                  </a:lnTo>
                  <a:lnTo>
                    <a:pt x="785" y="784"/>
                  </a:lnTo>
                  <a:lnTo>
                    <a:pt x="782" y="784"/>
                  </a:lnTo>
                  <a:lnTo>
                    <a:pt x="780" y="782"/>
                  </a:lnTo>
                  <a:lnTo>
                    <a:pt x="777" y="781"/>
                  </a:lnTo>
                  <a:lnTo>
                    <a:pt x="776" y="779"/>
                  </a:lnTo>
                  <a:lnTo>
                    <a:pt x="774" y="778"/>
                  </a:lnTo>
                  <a:lnTo>
                    <a:pt x="774" y="776"/>
                  </a:lnTo>
                  <a:lnTo>
                    <a:pt x="773" y="776"/>
                  </a:lnTo>
                  <a:lnTo>
                    <a:pt x="771" y="776"/>
                  </a:lnTo>
                  <a:lnTo>
                    <a:pt x="770" y="774"/>
                  </a:lnTo>
                  <a:lnTo>
                    <a:pt x="767" y="771"/>
                  </a:lnTo>
                  <a:lnTo>
                    <a:pt x="762" y="770"/>
                  </a:lnTo>
                  <a:lnTo>
                    <a:pt x="760" y="768"/>
                  </a:lnTo>
                  <a:lnTo>
                    <a:pt x="760" y="768"/>
                  </a:lnTo>
                  <a:lnTo>
                    <a:pt x="759" y="767"/>
                  </a:lnTo>
                  <a:lnTo>
                    <a:pt x="759" y="765"/>
                  </a:lnTo>
                  <a:lnTo>
                    <a:pt x="757" y="764"/>
                  </a:lnTo>
                  <a:lnTo>
                    <a:pt x="754" y="764"/>
                  </a:lnTo>
                  <a:lnTo>
                    <a:pt x="745" y="762"/>
                  </a:lnTo>
                  <a:lnTo>
                    <a:pt x="743" y="762"/>
                  </a:lnTo>
                  <a:lnTo>
                    <a:pt x="739" y="759"/>
                  </a:lnTo>
                  <a:lnTo>
                    <a:pt x="737" y="756"/>
                  </a:lnTo>
                  <a:lnTo>
                    <a:pt x="739" y="754"/>
                  </a:lnTo>
                  <a:lnTo>
                    <a:pt x="739" y="753"/>
                  </a:lnTo>
                  <a:lnTo>
                    <a:pt x="736" y="751"/>
                  </a:lnTo>
                  <a:lnTo>
                    <a:pt x="736" y="748"/>
                  </a:lnTo>
                  <a:lnTo>
                    <a:pt x="736" y="745"/>
                  </a:lnTo>
                  <a:lnTo>
                    <a:pt x="737" y="742"/>
                  </a:lnTo>
                  <a:lnTo>
                    <a:pt x="739" y="737"/>
                  </a:lnTo>
                  <a:lnTo>
                    <a:pt x="742" y="734"/>
                  </a:lnTo>
                  <a:lnTo>
                    <a:pt x="743" y="733"/>
                  </a:lnTo>
                  <a:lnTo>
                    <a:pt x="745" y="731"/>
                  </a:lnTo>
                  <a:lnTo>
                    <a:pt x="747" y="730"/>
                  </a:lnTo>
                  <a:lnTo>
                    <a:pt x="745" y="727"/>
                  </a:lnTo>
                  <a:lnTo>
                    <a:pt x="743" y="724"/>
                  </a:lnTo>
                  <a:lnTo>
                    <a:pt x="743" y="722"/>
                  </a:lnTo>
                  <a:lnTo>
                    <a:pt x="743" y="719"/>
                  </a:lnTo>
                  <a:lnTo>
                    <a:pt x="745" y="716"/>
                  </a:lnTo>
                  <a:lnTo>
                    <a:pt x="747" y="714"/>
                  </a:lnTo>
                  <a:lnTo>
                    <a:pt x="750" y="713"/>
                  </a:lnTo>
                  <a:lnTo>
                    <a:pt x="753" y="708"/>
                  </a:lnTo>
                  <a:lnTo>
                    <a:pt x="753" y="707"/>
                  </a:lnTo>
                  <a:lnTo>
                    <a:pt x="754" y="707"/>
                  </a:lnTo>
                  <a:lnTo>
                    <a:pt x="756" y="701"/>
                  </a:lnTo>
                  <a:lnTo>
                    <a:pt x="757" y="697"/>
                  </a:lnTo>
                  <a:lnTo>
                    <a:pt x="763" y="688"/>
                  </a:lnTo>
                  <a:lnTo>
                    <a:pt x="767" y="684"/>
                  </a:lnTo>
                  <a:lnTo>
                    <a:pt x="771" y="679"/>
                  </a:lnTo>
                  <a:lnTo>
                    <a:pt x="777" y="676"/>
                  </a:lnTo>
                  <a:lnTo>
                    <a:pt x="782" y="676"/>
                  </a:lnTo>
                  <a:lnTo>
                    <a:pt x="783" y="677"/>
                  </a:lnTo>
                  <a:lnTo>
                    <a:pt x="785" y="677"/>
                  </a:lnTo>
                  <a:lnTo>
                    <a:pt x="785" y="677"/>
                  </a:lnTo>
                  <a:lnTo>
                    <a:pt x="787" y="677"/>
                  </a:lnTo>
                  <a:lnTo>
                    <a:pt x="787" y="679"/>
                  </a:lnTo>
                  <a:lnTo>
                    <a:pt x="787" y="679"/>
                  </a:lnTo>
                  <a:lnTo>
                    <a:pt x="788" y="681"/>
                  </a:lnTo>
                  <a:lnTo>
                    <a:pt x="790" y="679"/>
                  </a:lnTo>
                  <a:lnTo>
                    <a:pt x="790" y="679"/>
                  </a:lnTo>
                  <a:lnTo>
                    <a:pt x="791" y="677"/>
                  </a:lnTo>
                  <a:lnTo>
                    <a:pt x="793" y="679"/>
                  </a:lnTo>
                  <a:lnTo>
                    <a:pt x="793" y="679"/>
                  </a:lnTo>
                  <a:lnTo>
                    <a:pt x="793" y="679"/>
                  </a:lnTo>
                  <a:lnTo>
                    <a:pt x="796" y="677"/>
                  </a:lnTo>
                  <a:lnTo>
                    <a:pt x="797" y="679"/>
                  </a:lnTo>
                  <a:lnTo>
                    <a:pt x="797" y="681"/>
                  </a:lnTo>
                  <a:lnTo>
                    <a:pt x="796" y="681"/>
                  </a:lnTo>
                  <a:lnTo>
                    <a:pt x="791" y="681"/>
                  </a:lnTo>
                  <a:lnTo>
                    <a:pt x="790" y="681"/>
                  </a:lnTo>
                  <a:lnTo>
                    <a:pt x="791" y="682"/>
                  </a:lnTo>
                  <a:lnTo>
                    <a:pt x="791" y="684"/>
                  </a:lnTo>
                  <a:lnTo>
                    <a:pt x="790" y="685"/>
                  </a:lnTo>
                  <a:lnTo>
                    <a:pt x="788" y="685"/>
                  </a:lnTo>
                  <a:lnTo>
                    <a:pt x="790" y="687"/>
                  </a:lnTo>
                  <a:lnTo>
                    <a:pt x="791" y="688"/>
                  </a:lnTo>
                  <a:lnTo>
                    <a:pt x="796" y="690"/>
                  </a:lnTo>
                  <a:lnTo>
                    <a:pt x="799" y="693"/>
                  </a:lnTo>
                  <a:lnTo>
                    <a:pt x="800" y="693"/>
                  </a:lnTo>
                  <a:lnTo>
                    <a:pt x="800" y="693"/>
                  </a:lnTo>
                  <a:lnTo>
                    <a:pt x="802" y="694"/>
                  </a:lnTo>
                  <a:lnTo>
                    <a:pt x="804" y="694"/>
                  </a:lnTo>
                  <a:lnTo>
                    <a:pt x="804" y="694"/>
                  </a:lnTo>
                  <a:lnTo>
                    <a:pt x="805" y="694"/>
                  </a:lnTo>
                  <a:lnTo>
                    <a:pt x="807" y="694"/>
                  </a:lnTo>
                  <a:lnTo>
                    <a:pt x="810" y="697"/>
                  </a:lnTo>
                  <a:lnTo>
                    <a:pt x="811" y="697"/>
                  </a:lnTo>
                  <a:lnTo>
                    <a:pt x="836" y="699"/>
                  </a:lnTo>
                  <a:lnTo>
                    <a:pt x="837" y="699"/>
                  </a:lnTo>
                  <a:lnTo>
                    <a:pt x="840" y="702"/>
                  </a:lnTo>
                  <a:lnTo>
                    <a:pt x="840" y="702"/>
                  </a:lnTo>
                  <a:lnTo>
                    <a:pt x="840" y="702"/>
                  </a:lnTo>
                  <a:lnTo>
                    <a:pt x="840" y="704"/>
                  </a:lnTo>
                  <a:lnTo>
                    <a:pt x="842" y="705"/>
                  </a:lnTo>
                  <a:lnTo>
                    <a:pt x="842" y="707"/>
                  </a:lnTo>
                  <a:lnTo>
                    <a:pt x="842" y="708"/>
                  </a:lnTo>
                  <a:lnTo>
                    <a:pt x="842" y="710"/>
                  </a:lnTo>
                  <a:lnTo>
                    <a:pt x="844" y="711"/>
                  </a:lnTo>
                  <a:lnTo>
                    <a:pt x="845" y="713"/>
                  </a:lnTo>
                  <a:lnTo>
                    <a:pt x="848" y="714"/>
                  </a:lnTo>
                  <a:lnTo>
                    <a:pt x="848" y="717"/>
                  </a:lnTo>
                  <a:lnTo>
                    <a:pt x="848" y="719"/>
                  </a:lnTo>
                  <a:lnTo>
                    <a:pt x="845" y="721"/>
                  </a:lnTo>
                  <a:lnTo>
                    <a:pt x="847" y="722"/>
                  </a:lnTo>
                  <a:lnTo>
                    <a:pt x="848" y="722"/>
                  </a:lnTo>
                  <a:lnTo>
                    <a:pt x="848" y="724"/>
                  </a:lnTo>
                  <a:lnTo>
                    <a:pt x="850" y="725"/>
                  </a:lnTo>
                  <a:lnTo>
                    <a:pt x="850" y="725"/>
                  </a:lnTo>
                  <a:lnTo>
                    <a:pt x="848" y="727"/>
                  </a:lnTo>
                  <a:lnTo>
                    <a:pt x="847" y="727"/>
                  </a:lnTo>
                  <a:lnTo>
                    <a:pt x="847" y="727"/>
                  </a:lnTo>
                  <a:lnTo>
                    <a:pt x="848" y="728"/>
                  </a:lnTo>
                  <a:lnTo>
                    <a:pt x="853" y="736"/>
                  </a:lnTo>
                  <a:lnTo>
                    <a:pt x="854" y="736"/>
                  </a:lnTo>
                  <a:lnTo>
                    <a:pt x="854" y="736"/>
                  </a:lnTo>
                  <a:lnTo>
                    <a:pt x="857" y="737"/>
                  </a:lnTo>
                  <a:lnTo>
                    <a:pt x="861" y="741"/>
                  </a:lnTo>
                  <a:lnTo>
                    <a:pt x="862" y="741"/>
                  </a:lnTo>
                  <a:lnTo>
                    <a:pt x="864" y="742"/>
                  </a:lnTo>
                  <a:lnTo>
                    <a:pt x="865" y="742"/>
                  </a:lnTo>
                  <a:lnTo>
                    <a:pt x="868" y="742"/>
                  </a:lnTo>
                  <a:lnTo>
                    <a:pt x="868" y="742"/>
                  </a:lnTo>
                  <a:lnTo>
                    <a:pt x="873" y="745"/>
                  </a:lnTo>
                  <a:lnTo>
                    <a:pt x="873" y="745"/>
                  </a:lnTo>
                  <a:lnTo>
                    <a:pt x="873" y="747"/>
                  </a:lnTo>
                  <a:lnTo>
                    <a:pt x="874" y="747"/>
                  </a:lnTo>
                  <a:lnTo>
                    <a:pt x="876" y="747"/>
                  </a:lnTo>
                  <a:lnTo>
                    <a:pt x="876" y="745"/>
                  </a:lnTo>
                  <a:lnTo>
                    <a:pt x="876" y="744"/>
                  </a:lnTo>
                  <a:lnTo>
                    <a:pt x="876" y="744"/>
                  </a:lnTo>
                  <a:lnTo>
                    <a:pt x="877" y="739"/>
                  </a:lnTo>
                  <a:lnTo>
                    <a:pt x="877" y="737"/>
                  </a:lnTo>
                  <a:lnTo>
                    <a:pt x="877" y="734"/>
                  </a:lnTo>
                  <a:lnTo>
                    <a:pt x="877" y="734"/>
                  </a:lnTo>
                  <a:lnTo>
                    <a:pt x="877" y="731"/>
                  </a:lnTo>
                  <a:lnTo>
                    <a:pt x="877" y="730"/>
                  </a:lnTo>
                  <a:lnTo>
                    <a:pt x="879" y="728"/>
                  </a:lnTo>
                  <a:lnTo>
                    <a:pt x="881" y="725"/>
                  </a:lnTo>
                  <a:lnTo>
                    <a:pt x="882" y="722"/>
                  </a:lnTo>
                  <a:lnTo>
                    <a:pt x="884" y="721"/>
                  </a:lnTo>
                  <a:lnTo>
                    <a:pt x="884" y="719"/>
                  </a:lnTo>
                  <a:lnTo>
                    <a:pt x="885" y="717"/>
                  </a:lnTo>
                  <a:lnTo>
                    <a:pt x="887" y="716"/>
                  </a:lnTo>
                  <a:lnTo>
                    <a:pt x="887" y="716"/>
                  </a:lnTo>
                  <a:lnTo>
                    <a:pt x="887" y="714"/>
                  </a:lnTo>
                  <a:close/>
                  <a:moveTo>
                    <a:pt x="437" y="334"/>
                  </a:moveTo>
                  <a:lnTo>
                    <a:pt x="437" y="334"/>
                  </a:lnTo>
                  <a:lnTo>
                    <a:pt x="437" y="334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7" y="336"/>
                  </a:lnTo>
                  <a:lnTo>
                    <a:pt x="435" y="339"/>
                  </a:lnTo>
                  <a:lnTo>
                    <a:pt x="432" y="339"/>
                  </a:lnTo>
                  <a:lnTo>
                    <a:pt x="431" y="337"/>
                  </a:lnTo>
                  <a:lnTo>
                    <a:pt x="429" y="336"/>
                  </a:lnTo>
                  <a:lnTo>
                    <a:pt x="431" y="332"/>
                  </a:lnTo>
                  <a:lnTo>
                    <a:pt x="432" y="331"/>
                  </a:lnTo>
                  <a:lnTo>
                    <a:pt x="432" y="331"/>
                  </a:lnTo>
                  <a:lnTo>
                    <a:pt x="435" y="329"/>
                  </a:lnTo>
                  <a:lnTo>
                    <a:pt x="437" y="329"/>
                  </a:lnTo>
                  <a:lnTo>
                    <a:pt x="437" y="329"/>
                  </a:lnTo>
                  <a:lnTo>
                    <a:pt x="437" y="332"/>
                  </a:lnTo>
                  <a:lnTo>
                    <a:pt x="437" y="334"/>
                  </a:lnTo>
                  <a:close/>
                  <a:moveTo>
                    <a:pt x="428" y="177"/>
                  </a:move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6" y="175"/>
                  </a:lnTo>
                  <a:lnTo>
                    <a:pt x="425" y="177"/>
                  </a:lnTo>
                  <a:lnTo>
                    <a:pt x="425" y="179"/>
                  </a:lnTo>
                  <a:lnTo>
                    <a:pt x="426" y="179"/>
                  </a:lnTo>
                  <a:lnTo>
                    <a:pt x="428" y="177"/>
                  </a:lnTo>
                  <a:close/>
                  <a:moveTo>
                    <a:pt x="429" y="179"/>
                  </a:moveTo>
                  <a:lnTo>
                    <a:pt x="431" y="179"/>
                  </a:lnTo>
                  <a:lnTo>
                    <a:pt x="432" y="179"/>
                  </a:lnTo>
                  <a:lnTo>
                    <a:pt x="432" y="180"/>
                  </a:lnTo>
                  <a:lnTo>
                    <a:pt x="431" y="179"/>
                  </a:lnTo>
                  <a:lnTo>
                    <a:pt x="429" y="177"/>
                  </a:lnTo>
                  <a:lnTo>
                    <a:pt x="429" y="179"/>
                  </a:lnTo>
                  <a:lnTo>
                    <a:pt x="428" y="180"/>
                  </a:lnTo>
                  <a:lnTo>
                    <a:pt x="426" y="185"/>
                  </a:lnTo>
                  <a:lnTo>
                    <a:pt x="425" y="186"/>
                  </a:lnTo>
                  <a:lnTo>
                    <a:pt x="425" y="186"/>
                  </a:lnTo>
                  <a:lnTo>
                    <a:pt x="429" y="179"/>
                  </a:lnTo>
                  <a:close/>
                  <a:moveTo>
                    <a:pt x="614" y="867"/>
                  </a:moveTo>
                  <a:lnTo>
                    <a:pt x="614" y="865"/>
                  </a:lnTo>
                  <a:lnTo>
                    <a:pt x="614" y="865"/>
                  </a:lnTo>
                  <a:lnTo>
                    <a:pt x="614" y="864"/>
                  </a:lnTo>
                  <a:lnTo>
                    <a:pt x="616" y="864"/>
                  </a:lnTo>
                  <a:lnTo>
                    <a:pt x="614" y="862"/>
                  </a:lnTo>
                  <a:lnTo>
                    <a:pt x="613" y="862"/>
                  </a:lnTo>
                  <a:lnTo>
                    <a:pt x="611" y="862"/>
                  </a:lnTo>
                  <a:lnTo>
                    <a:pt x="609" y="864"/>
                  </a:lnTo>
                  <a:lnTo>
                    <a:pt x="611" y="865"/>
                  </a:lnTo>
                  <a:lnTo>
                    <a:pt x="614" y="867"/>
                  </a:lnTo>
                  <a:close/>
                  <a:moveTo>
                    <a:pt x="506" y="648"/>
                  </a:moveTo>
                  <a:lnTo>
                    <a:pt x="506" y="650"/>
                  </a:lnTo>
                  <a:lnTo>
                    <a:pt x="506" y="650"/>
                  </a:lnTo>
                  <a:lnTo>
                    <a:pt x="508" y="650"/>
                  </a:lnTo>
                  <a:lnTo>
                    <a:pt x="508" y="648"/>
                  </a:lnTo>
                  <a:lnTo>
                    <a:pt x="506" y="648"/>
                  </a:lnTo>
                  <a:close/>
                  <a:moveTo>
                    <a:pt x="489" y="851"/>
                  </a:moveTo>
                  <a:lnTo>
                    <a:pt x="491" y="850"/>
                  </a:lnTo>
                  <a:lnTo>
                    <a:pt x="489" y="850"/>
                  </a:lnTo>
                  <a:lnTo>
                    <a:pt x="489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6" y="851"/>
                  </a:lnTo>
                  <a:lnTo>
                    <a:pt x="486" y="851"/>
                  </a:lnTo>
                  <a:lnTo>
                    <a:pt x="488" y="851"/>
                  </a:lnTo>
                  <a:lnTo>
                    <a:pt x="489" y="851"/>
                  </a:lnTo>
                  <a:close/>
                  <a:moveTo>
                    <a:pt x="593" y="865"/>
                  </a:moveTo>
                  <a:lnTo>
                    <a:pt x="594" y="865"/>
                  </a:lnTo>
                  <a:lnTo>
                    <a:pt x="594" y="864"/>
                  </a:lnTo>
                  <a:lnTo>
                    <a:pt x="593" y="864"/>
                  </a:lnTo>
                  <a:lnTo>
                    <a:pt x="593" y="864"/>
                  </a:lnTo>
                  <a:lnTo>
                    <a:pt x="593" y="862"/>
                  </a:lnTo>
                  <a:lnTo>
                    <a:pt x="591" y="862"/>
                  </a:lnTo>
                  <a:lnTo>
                    <a:pt x="591" y="862"/>
                  </a:lnTo>
                  <a:lnTo>
                    <a:pt x="591" y="864"/>
                  </a:lnTo>
                  <a:lnTo>
                    <a:pt x="591" y="864"/>
                  </a:lnTo>
                  <a:lnTo>
                    <a:pt x="593" y="865"/>
                  </a:lnTo>
                  <a:close/>
                  <a:moveTo>
                    <a:pt x="666" y="896"/>
                  </a:moveTo>
                  <a:lnTo>
                    <a:pt x="668" y="895"/>
                  </a:lnTo>
                  <a:lnTo>
                    <a:pt x="671" y="893"/>
                  </a:lnTo>
                  <a:lnTo>
                    <a:pt x="671" y="893"/>
                  </a:lnTo>
                  <a:lnTo>
                    <a:pt x="673" y="893"/>
                  </a:lnTo>
                  <a:lnTo>
                    <a:pt x="673" y="893"/>
                  </a:lnTo>
                  <a:lnTo>
                    <a:pt x="673" y="891"/>
                  </a:lnTo>
                  <a:lnTo>
                    <a:pt x="670" y="891"/>
                  </a:lnTo>
                  <a:lnTo>
                    <a:pt x="666" y="888"/>
                  </a:lnTo>
                  <a:lnTo>
                    <a:pt x="663" y="888"/>
                  </a:lnTo>
                  <a:lnTo>
                    <a:pt x="662" y="890"/>
                  </a:lnTo>
                  <a:lnTo>
                    <a:pt x="660" y="891"/>
                  </a:lnTo>
                  <a:lnTo>
                    <a:pt x="657" y="893"/>
                  </a:lnTo>
                  <a:lnTo>
                    <a:pt x="656" y="895"/>
                  </a:lnTo>
                  <a:lnTo>
                    <a:pt x="654" y="896"/>
                  </a:lnTo>
                  <a:lnTo>
                    <a:pt x="648" y="898"/>
                  </a:lnTo>
                  <a:lnTo>
                    <a:pt x="646" y="898"/>
                  </a:lnTo>
                  <a:lnTo>
                    <a:pt x="645" y="898"/>
                  </a:lnTo>
                  <a:lnTo>
                    <a:pt x="643" y="898"/>
                  </a:lnTo>
                  <a:lnTo>
                    <a:pt x="643" y="898"/>
                  </a:lnTo>
                  <a:lnTo>
                    <a:pt x="642" y="896"/>
                  </a:lnTo>
                  <a:lnTo>
                    <a:pt x="643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3"/>
                  </a:lnTo>
                  <a:lnTo>
                    <a:pt x="642" y="895"/>
                  </a:lnTo>
                  <a:lnTo>
                    <a:pt x="642" y="895"/>
                  </a:lnTo>
                  <a:lnTo>
                    <a:pt x="642" y="895"/>
                  </a:lnTo>
                  <a:lnTo>
                    <a:pt x="639" y="901"/>
                  </a:lnTo>
                  <a:lnTo>
                    <a:pt x="637" y="902"/>
                  </a:lnTo>
                  <a:lnTo>
                    <a:pt x="634" y="904"/>
                  </a:lnTo>
                  <a:lnTo>
                    <a:pt x="633" y="905"/>
                  </a:lnTo>
                  <a:lnTo>
                    <a:pt x="631" y="905"/>
                  </a:lnTo>
                  <a:lnTo>
                    <a:pt x="629" y="905"/>
                  </a:lnTo>
                  <a:lnTo>
                    <a:pt x="629" y="905"/>
                  </a:lnTo>
                  <a:lnTo>
                    <a:pt x="628" y="904"/>
                  </a:lnTo>
                  <a:lnTo>
                    <a:pt x="628" y="904"/>
                  </a:lnTo>
                  <a:lnTo>
                    <a:pt x="628" y="902"/>
                  </a:lnTo>
                  <a:lnTo>
                    <a:pt x="625" y="904"/>
                  </a:lnTo>
                  <a:lnTo>
                    <a:pt x="623" y="902"/>
                  </a:lnTo>
                  <a:lnTo>
                    <a:pt x="622" y="902"/>
                  </a:lnTo>
                  <a:lnTo>
                    <a:pt x="622" y="902"/>
                  </a:lnTo>
                  <a:lnTo>
                    <a:pt x="620" y="901"/>
                  </a:lnTo>
                  <a:lnTo>
                    <a:pt x="620" y="899"/>
                  </a:lnTo>
                  <a:lnTo>
                    <a:pt x="617" y="899"/>
                  </a:lnTo>
                  <a:lnTo>
                    <a:pt x="617" y="899"/>
                  </a:lnTo>
                  <a:lnTo>
                    <a:pt x="616" y="901"/>
                  </a:lnTo>
                  <a:lnTo>
                    <a:pt x="616" y="901"/>
                  </a:lnTo>
                  <a:lnTo>
                    <a:pt x="609" y="902"/>
                  </a:lnTo>
                  <a:lnTo>
                    <a:pt x="608" y="902"/>
                  </a:lnTo>
                  <a:lnTo>
                    <a:pt x="605" y="902"/>
                  </a:lnTo>
                  <a:lnTo>
                    <a:pt x="605" y="902"/>
                  </a:lnTo>
                  <a:lnTo>
                    <a:pt x="602" y="905"/>
                  </a:lnTo>
                  <a:lnTo>
                    <a:pt x="600" y="908"/>
                  </a:lnTo>
                  <a:lnTo>
                    <a:pt x="597" y="910"/>
                  </a:lnTo>
                  <a:lnTo>
                    <a:pt x="588" y="913"/>
                  </a:lnTo>
                  <a:lnTo>
                    <a:pt x="585" y="915"/>
                  </a:lnTo>
                  <a:lnTo>
                    <a:pt x="582" y="913"/>
                  </a:lnTo>
                  <a:lnTo>
                    <a:pt x="579" y="915"/>
                  </a:lnTo>
                  <a:lnTo>
                    <a:pt x="574" y="916"/>
                  </a:lnTo>
                  <a:lnTo>
                    <a:pt x="571" y="916"/>
                  </a:lnTo>
                  <a:lnTo>
                    <a:pt x="562" y="915"/>
                  </a:lnTo>
                  <a:lnTo>
                    <a:pt x="559" y="915"/>
                  </a:lnTo>
                  <a:lnTo>
                    <a:pt x="557" y="916"/>
                  </a:lnTo>
                  <a:lnTo>
                    <a:pt x="556" y="915"/>
                  </a:lnTo>
                  <a:lnTo>
                    <a:pt x="554" y="915"/>
                  </a:lnTo>
                  <a:lnTo>
                    <a:pt x="551" y="913"/>
                  </a:lnTo>
                  <a:lnTo>
                    <a:pt x="551" y="915"/>
                  </a:lnTo>
                  <a:lnTo>
                    <a:pt x="545" y="915"/>
                  </a:lnTo>
                  <a:lnTo>
                    <a:pt x="545" y="916"/>
                  </a:lnTo>
                  <a:lnTo>
                    <a:pt x="543" y="916"/>
                  </a:lnTo>
                  <a:lnTo>
                    <a:pt x="542" y="918"/>
                  </a:lnTo>
                  <a:lnTo>
                    <a:pt x="539" y="918"/>
                  </a:lnTo>
                  <a:lnTo>
                    <a:pt x="536" y="919"/>
                  </a:lnTo>
                  <a:lnTo>
                    <a:pt x="534" y="919"/>
                  </a:lnTo>
                  <a:lnTo>
                    <a:pt x="529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9"/>
                  </a:lnTo>
                  <a:lnTo>
                    <a:pt x="528" y="918"/>
                  </a:lnTo>
                  <a:lnTo>
                    <a:pt x="523" y="918"/>
                  </a:lnTo>
                  <a:lnTo>
                    <a:pt x="522" y="916"/>
                  </a:lnTo>
                  <a:lnTo>
                    <a:pt x="519" y="913"/>
                  </a:lnTo>
                  <a:lnTo>
                    <a:pt x="517" y="913"/>
                  </a:lnTo>
                  <a:lnTo>
                    <a:pt x="516" y="911"/>
                  </a:lnTo>
                  <a:lnTo>
                    <a:pt x="516" y="911"/>
                  </a:lnTo>
                  <a:lnTo>
                    <a:pt x="516" y="910"/>
                  </a:lnTo>
                  <a:lnTo>
                    <a:pt x="516" y="908"/>
                  </a:lnTo>
                  <a:lnTo>
                    <a:pt x="514" y="907"/>
                  </a:lnTo>
                  <a:lnTo>
                    <a:pt x="505" y="908"/>
                  </a:lnTo>
                  <a:lnTo>
                    <a:pt x="503" y="905"/>
                  </a:lnTo>
                  <a:lnTo>
                    <a:pt x="503" y="904"/>
                  </a:lnTo>
                  <a:lnTo>
                    <a:pt x="503" y="901"/>
                  </a:lnTo>
                  <a:lnTo>
                    <a:pt x="503" y="901"/>
                  </a:lnTo>
                  <a:lnTo>
                    <a:pt x="500" y="899"/>
                  </a:lnTo>
                  <a:lnTo>
                    <a:pt x="500" y="898"/>
                  </a:lnTo>
                  <a:lnTo>
                    <a:pt x="500" y="898"/>
                  </a:lnTo>
                  <a:lnTo>
                    <a:pt x="500" y="898"/>
                  </a:lnTo>
                  <a:lnTo>
                    <a:pt x="499" y="896"/>
                  </a:lnTo>
                  <a:lnTo>
                    <a:pt x="499" y="896"/>
                  </a:lnTo>
                  <a:lnTo>
                    <a:pt x="497" y="898"/>
                  </a:lnTo>
                  <a:lnTo>
                    <a:pt x="495" y="898"/>
                  </a:lnTo>
                  <a:lnTo>
                    <a:pt x="495" y="898"/>
                  </a:lnTo>
                  <a:lnTo>
                    <a:pt x="494" y="898"/>
                  </a:lnTo>
                  <a:lnTo>
                    <a:pt x="494" y="898"/>
                  </a:lnTo>
                  <a:lnTo>
                    <a:pt x="492" y="901"/>
                  </a:lnTo>
                  <a:lnTo>
                    <a:pt x="491" y="901"/>
                  </a:lnTo>
                  <a:lnTo>
                    <a:pt x="489" y="901"/>
                  </a:lnTo>
                  <a:lnTo>
                    <a:pt x="488" y="901"/>
                  </a:lnTo>
                  <a:lnTo>
                    <a:pt x="485" y="899"/>
                  </a:lnTo>
                  <a:lnTo>
                    <a:pt x="483" y="899"/>
                  </a:lnTo>
                  <a:lnTo>
                    <a:pt x="483" y="899"/>
                  </a:lnTo>
                  <a:lnTo>
                    <a:pt x="482" y="901"/>
                  </a:lnTo>
                  <a:lnTo>
                    <a:pt x="482" y="901"/>
                  </a:lnTo>
                  <a:lnTo>
                    <a:pt x="482" y="902"/>
                  </a:lnTo>
                  <a:lnTo>
                    <a:pt x="480" y="904"/>
                  </a:lnTo>
                  <a:lnTo>
                    <a:pt x="480" y="905"/>
                  </a:lnTo>
                  <a:lnTo>
                    <a:pt x="480" y="905"/>
                  </a:lnTo>
                  <a:lnTo>
                    <a:pt x="480" y="907"/>
                  </a:lnTo>
                  <a:lnTo>
                    <a:pt x="480" y="908"/>
                  </a:lnTo>
                  <a:lnTo>
                    <a:pt x="480" y="908"/>
                  </a:lnTo>
                  <a:lnTo>
                    <a:pt x="480" y="908"/>
                  </a:lnTo>
                  <a:lnTo>
                    <a:pt x="480" y="910"/>
                  </a:lnTo>
                  <a:lnTo>
                    <a:pt x="477" y="911"/>
                  </a:lnTo>
                  <a:lnTo>
                    <a:pt x="471" y="915"/>
                  </a:lnTo>
                  <a:lnTo>
                    <a:pt x="468" y="915"/>
                  </a:lnTo>
                  <a:lnTo>
                    <a:pt x="466" y="913"/>
                  </a:lnTo>
                  <a:lnTo>
                    <a:pt x="466" y="913"/>
                  </a:lnTo>
                  <a:lnTo>
                    <a:pt x="465" y="911"/>
                  </a:lnTo>
                  <a:lnTo>
                    <a:pt x="463" y="911"/>
                  </a:lnTo>
                  <a:lnTo>
                    <a:pt x="462" y="910"/>
                  </a:lnTo>
                  <a:lnTo>
                    <a:pt x="460" y="907"/>
                  </a:lnTo>
                  <a:lnTo>
                    <a:pt x="459" y="902"/>
                  </a:lnTo>
                  <a:lnTo>
                    <a:pt x="457" y="901"/>
                  </a:lnTo>
                  <a:lnTo>
                    <a:pt x="457" y="901"/>
                  </a:lnTo>
                  <a:lnTo>
                    <a:pt x="455" y="901"/>
                  </a:lnTo>
                  <a:lnTo>
                    <a:pt x="455" y="899"/>
                  </a:lnTo>
                  <a:lnTo>
                    <a:pt x="454" y="901"/>
                  </a:lnTo>
                  <a:lnTo>
                    <a:pt x="455" y="904"/>
                  </a:lnTo>
                  <a:lnTo>
                    <a:pt x="455" y="905"/>
                  </a:lnTo>
                  <a:lnTo>
                    <a:pt x="454" y="907"/>
                  </a:lnTo>
                  <a:lnTo>
                    <a:pt x="452" y="907"/>
                  </a:lnTo>
                  <a:lnTo>
                    <a:pt x="451" y="907"/>
                  </a:lnTo>
                  <a:lnTo>
                    <a:pt x="451" y="907"/>
                  </a:lnTo>
                  <a:lnTo>
                    <a:pt x="449" y="907"/>
                  </a:lnTo>
                  <a:lnTo>
                    <a:pt x="449" y="908"/>
                  </a:lnTo>
                  <a:lnTo>
                    <a:pt x="449" y="910"/>
                  </a:lnTo>
                  <a:lnTo>
                    <a:pt x="446" y="911"/>
                  </a:lnTo>
                  <a:lnTo>
                    <a:pt x="445" y="910"/>
                  </a:lnTo>
                  <a:lnTo>
                    <a:pt x="442" y="913"/>
                  </a:lnTo>
                  <a:lnTo>
                    <a:pt x="440" y="915"/>
                  </a:lnTo>
                  <a:lnTo>
                    <a:pt x="437" y="916"/>
                  </a:lnTo>
                  <a:lnTo>
                    <a:pt x="438" y="916"/>
                  </a:lnTo>
                  <a:lnTo>
                    <a:pt x="438" y="918"/>
                  </a:lnTo>
                  <a:lnTo>
                    <a:pt x="438" y="919"/>
                  </a:lnTo>
                  <a:lnTo>
                    <a:pt x="437" y="922"/>
                  </a:lnTo>
                  <a:lnTo>
                    <a:pt x="435" y="925"/>
                  </a:lnTo>
                  <a:lnTo>
                    <a:pt x="435" y="925"/>
                  </a:lnTo>
                  <a:lnTo>
                    <a:pt x="435" y="925"/>
                  </a:lnTo>
                  <a:lnTo>
                    <a:pt x="435" y="927"/>
                  </a:lnTo>
                  <a:lnTo>
                    <a:pt x="435" y="927"/>
                  </a:lnTo>
                  <a:lnTo>
                    <a:pt x="437" y="928"/>
                  </a:lnTo>
                  <a:lnTo>
                    <a:pt x="437" y="928"/>
                  </a:lnTo>
                  <a:lnTo>
                    <a:pt x="437" y="930"/>
                  </a:lnTo>
                  <a:lnTo>
                    <a:pt x="435" y="932"/>
                  </a:lnTo>
                  <a:lnTo>
                    <a:pt x="435" y="932"/>
                  </a:lnTo>
                  <a:lnTo>
                    <a:pt x="435" y="933"/>
                  </a:lnTo>
                  <a:lnTo>
                    <a:pt x="435" y="935"/>
                  </a:lnTo>
                  <a:lnTo>
                    <a:pt x="435" y="935"/>
                  </a:lnTo>
                  <a:lnTo>
                    <a:pt x="434" y="935"/>
                  </a:lnTo>
                  <a:lnTo>
                    <a:pt x="434" y="935"/>
                  </a:lnTo>
                  <a:lnTo>
                    <a:pt x="432" y="936"/>
                  </a:lnTo>
                  <a:lnTo>
                    <a:pt x="432" y="936"/>
                  </a:lnTo>
                  <a:lnTo>
                    <a:pt x="434" y="938"/>
                  </a:lnTo>
                  <a:lnTo>
                    <a:pt x="434" y="939"/>
                  </a:lnTo>
                  <a:lnTo>
                    <a:pt x="435" y="941"/>
                  </a:lnTo>
                  <a:lnTo>
                    <a:pt x="435" y="941"/>
                  </a:lnTo>
                  <a:lnTo>
                    <a:pt x="435" y="942"/>
                  </a:lnTo>
                  <a:lnTo>
                    <a:pt x="435" y="944"/>
                  </a:lnTo>
                  <a:lnTo>
                    <a:pt x="437" y="945"/>
                  </a:lnTo>
                  <a:lnTo>
                    <a:pt x="437" y="947"/>
                  </a:lnTo>
                  <a:lnTo>
                    <a:pt x="438" y="948"/>
                  </a:lnTo>
                  <a:lnTo>
                    <a:pt x="440" y="950"/>
                  </a:lnTo>
                  <a:lnTo>
                    <a:pt x="443" y="950"/>
                  </a:lnTo>
                  <a:lnTo>
                    <a:pt x="445" y="950"/>
                  </a:lnTo>
                  <a:lnTo>
                    <a:pt x="445" y="952"/>
                  </a:lnTo>
                  <a:lnTo>
                    <a:pt x="448" y="956"/>
                  </a:lnTo>
                  <a:lnTo>
                    <a:pt x="451" y="958"/>
                  </a:lnTo>
                  <a:lnTo>
                    <a:pt x="452" y="958"/>
                  </a:lnTo>
                  <a:lnTo>
                    <a:pt x="459" y="958"/>
                  </a:lnTo>
                  <a:lnTo>
                    <a:pt x="465" y="958"/>
                  </a:lnTo>
                  <a:lnTo>
                    <a:pt x="471" y="958"/>
                  </a:lnTo>
                  <a:lnTo>
                    <a:pt x="474" y="959"/>
                  </a:lnTo>
                  <a:lnTo>
                    <a:pt x="475" y="961"/>
                  </a:lnTo>
                  <a:lnTo>
                    <a:pt x="475" y="962"/>
                  </a:lnTo>
                  <a:lnTo>
                    <a:pt x="477" y="964"/>
                  </a:lnTo>
                  <a:lnTo>
                    <a:pt x="477" y="964"/>
                  </a:lnTo>
                  <a:lnTo>
                    <a:pt x="477" y="965"/>
                  </a:lnTo>
                  <a:lnTo>
                    <a:pt x="479" y="965"/>
                  </a:lnTo>
                  <a:lnTo>
                    <a:pt x="479" y="964"/>
                  </a:lnTo>
                  <a:lnTo>
                    <a:pt x="488" y="965"/>
                  </a:lnTo>
                  <a:lnTo>
                    <a:pt x="489" y="965"/>
                  </a:lnTo>
                  <a:lnTo>
                    <a:pt x="489" y="967"/>
                  </a:lnTo>
                  <a:lnTo>
                    <a:pt x="489" y="967"/>
                  </a:lnTo>
                  <a:lnTo>
                    <a:pt x="491" y="967"/>
                  </a:lnTo>
                  <a:lnTo>
                    <a:pt x="491" y="968"/>
                  </a:lnTo>
                  <a:lnTo>
                    <a:pt x="492" y="970"/>
                  </a:lnTo>
                  <a:lnTo>
                    <a:pt x="494" y="970"/>
                  </a:lnTo>
                  <a:lnTo>
                    <a:pt x="494" y="970"/>
                  </a:lnTo>
                  <a:lnTo>
                    <a:pt x="495" y="975"/>
                  </a:lnTo>
                  <a:lnTo>
                    <a:pt x="497" y="975"/>
                  </a:lnTo>
                  <a:lnTo>
                    <a:pt x="499" y="975"/>
                  </a:lnTo>
                  <a:lnTo>
                    <a:pt x="499" y="976"/>
                  </a:lnTo>
                  <a:lnTo>
                    <a:pt x="500" y="976"/>
                  </a:lnTo>
                  <a:lnTo>
                    <a:pt x="503" y="979"/>
                  </a:lnTo>
                  <a:lnTo>
                    <a:pt x="506" y="982"/>
                  </a:lnTo>
                  <a:lnTo>
                    <a:pt x="509" y="984"/>
                  </a:lnTo>
                  <a:lnTo>
                    <a:pt x="512" y="984"/>
                  </a:lnTo>
                  <a:lnTo>
                    <a:pt x="516" y="985"/>
                  </a:lnTo>
                  <a:lnTo>
                    <a:pt x="519" y="985"/>
                  </a:lnTo>
                  <a:lnTo>
                    <a:pt x="520" y="987"/>
                  </a:lnTo>
                  <a:lnTo>
                    <a:pt x="526" y="993"/>
                  </a:lnTo>
                  <a:lnTo>
                    <a:pt x="529" y="995"/>
                  </a:lnTo>
                  <a:lnTo>
                    <a:pt x="531" y="996"/>
                  </a:lnTo>
                  <a:lnTo>
                    <a:pt x="534" y="996"/>
                  </a:lnTo>
                  <a:lnTo>
                    <a:pt x="537" y="998"/>
                  </a:lnTo>
                  <a:lnTo>
                    <a:pt x="542" y="1001"/>
                  </a:lnTo>
                  <a:lnTo>
                    <a:pt x="545" y="1002"/>
                  </a:lnTo>
                  <a:lnTo>
                    <a:pt x="546" y="1002"/>
                  </a:lnTo>
                  <a:lnTo>
                    <a:pt x="548" y="1001"/>
                  </a:lnTo>
                  <a:lnTo>
                    <a:pt x="548" y="1001"/>
                  </a:lnTo>
                  <a:lnTo>
                    <a:pt x="557" y="999"/>
                  </a:lnTo>
                  <a:lnTo>
                    <a:pt x="559" y="1001"/>
                  </a:lnTo>
                  <a:lnTo>
                    <a:pt x="565" y="1004"/>
                  </a:lnTo>
                  <a:lnTo>
                    <a:pt x="571" y="1007"/>
                  </a:lnTo>
                  <a:lnTo>
                    <a:pt x="577" y="1013"/>
                  </a:lnTo>
                  <a:lnTo>
                    <a:pt x="579" y="1016"/>
                  </a:lnTo>
                  <a:lnTo>
                    <a:pt x="585" y="1029"/>
                  </a:lnTo>
                  <a:lnTo>
                    <a:pt x="586" y="1030"/>
                  </a:lnTo>
                  <a:lnTo>
                    <a:pt x="593" y="1032"/>
                  </a:lnTo>
                  <a:lnTo>
                    <a:pt x="593" y="1032"/>
                  </a:lnTo>
                  <a:lnTo>
                    <a:pt x="594" y="1032"/>
                  </a:lnTo>
                  <a:lnTo>
                    <a:pt x="599" y="1033"/>
                  </a:lnTo>
                  <a:lnTo>
                    <a:pt x="600" y="1035"/>
                  </a:lnTo>
                  <a:lnTo>
                    <a:pt x="600" y="1036"/>
                  </a:lnTo>
                  <a:lnTo>
                    <a:pt x="605" y="1036"/>
                  </a:lnTo>
                  <a:lnTo>
                    <a:pt x="606" y="1038"/>
                  </a:lnTo>
                  <a:lnTo>
                    <a:pt x="608" y="1038"/>
                  </a:lnTo>
                  <a:lnTo>
                    <a:pt x="608" y="1038"/>
                  </a:lnTo>
                  <a:lnTo>
                    <a:pt x="608" y="1039"/>
                  </a:lnTo>
                  <a:lnTo>
                    <a:pt x="613" y="1036"/>
                  </a:lnTo>
                  <a:lnTo>
                    <a:pt x="616" y="1036"/>
                  </a:lnTo>
                  <a:lnTo>
                    <a:pt x="619" y="1036"/>
                  </a:lnTo>
                  <a:lnTo>
                    <a:pt x="622" y="1039"/>
                  </a:lnTo>
                  <a:lnTo>
                    <a:pt x="623" y="1039"/>
                  </a:lnTo>
                  <a:lnTo>
                    <a:pt x="623" y="1039"/>
                  </a:lnTo>
                  <a:lnTo>
                    <a:pt x="625" y="1038"/>
                  </a:lnTo>
                  <a:lnTo>
                    <a:pt x="625" y="1038"/>
                  </a:lnTo>
                  <a:lnTo>
                    <a:pt x="626" y="1039"/>
                  </a:lnTo>
                  <a:lnTo>
                    <a:pt x="626" y="1039"/>
                  </a:lnTo>
                  <a:lnTo>
                    <a:pt x="628" y="1039"/>
                  </a:lnTo>
                  <a:lnTo>
                    <a:pt x="628" y="1041"/>
                  </a:lnTo>
                  <a:lnTo>
                    <a:pt x="629" y="1042"/>
                  </a:lnTo>
                  <a:lnTo>
                    <a:pt x="631" y="1042"/>
                  </a:lnTo>
                  <a:lnTo>
                    <a:pt x="633" y="1042"/>
                  </a:lnTo>
                  <a:lnTo>
                    <a:pt x="634" y="1041"/>
                  </a:lnTo>
                  <a:lnTo>
                    <a:pt x="634" y="1039"/>
                  </a:lnTo>
                  <a:lnTo>
                    <a:pt x="633" y="1035"/>
                  </a:lnTo>
                  <a:lnTo>
                    <a:pt x="631" y="1032"/>
                  </a:lnTo>
                  <a:lnTo>
                    <a:pt x="631" y="1030"/>
                  </a:lnTo>
                  <a:lnTo>
                    <a:pt x="633" y="1029"/>
                  </a:lnTo>
                  <a:lnTo>
                    <a:pt x="633" y="1027"/>
                  </a:lnTo>
                  <a:lnTo>
                    <a:pt x="636" y="1018"/>
                  </a:lnTo>
                  <a:lnTo>
                    <a:pt x="637" y="1016"/>
                  </a:lnTo>
                  <a:lnTo>
                    <a:pt x="639" y="1015"/>
                  </a:lnTo>
                  <a:lnTo>
                    <a:pt x="640" y="1015"/>
                  </a:lnTo>
                  <a:lnTo>
                    <a:pt x="642" y="1015"/>
                  </a:lnTo>
                  <a:lnTo>
                    <a:pt x="642" y="1013"/>
                  </a:lnTo>
                  <a:lnTo>
                    <a:pt x="645" y="1013"/>
                  </a:lnTo>
                  <a:lnTo>
                    <a:pt x="645" y="1013"/>
                  </a:lnTo>
                  <a:lnTo>
                    <a:pt x="643" y="1012"/>
                  </a:lnTo>
                  <a:lnTo>
                    <a:pt x="645" y="1012"/>
                  </a:lnTo>
                  <a:lnTo>
                    <a:pt x="645" y="1012"/>
                  </a:lnTo>
                  <a:lnTo>
                    <a:pt x="645" y="1012"/>
                  </a:lnTo>
                  <a:lnTo>
                    <a:pt x="646" y="1010"/>
                  </a:lnTo>
                  <a:lnTo>
                    <a:pt x="648" y="1009"/>
                  </a:lnTo>
                  <a:lnTo>
                    <a:pt x="648" y="1010"/>
                  </a:lnTo>
                  <a:lnTo>
                    <a:pt x="648" y="1010"/>
                  </a:lnTo>
                  <a:lnTo>
                    <a:pt x="650" y="1010"/>
                  </a:lnTo>
                  <a:lnTo>
                    <a:pt x="650" y="1009"/>
                  </a:lnTo>
                  <a:lnTo>
                    <a:pt x="648" y="1007"/>
                  </a:lnTo>
                  <a:lnTo>
                    <a:pt x="648" y="1007"/>
                  </a:lnTo>
                  <a:lnTo>
                    <a:pt x="646" y="1007"/>
                  </a:lnTo>
                  <a:lnTo>
                    <a:pt x="645" y="1007"/>
                  </a:lnTo>
                  <a:lnTo>
                    <a:pt x="645" y="1005"/>
                  </a:lnTo>
                  <a:lnTo>
                    <a:pt x="646" y="1004"/>
                  </a:lnTo>
                  <a:lnTo>
                    <a:pt x="646" y="1005"/>
                  </a:lnTo>
                  <a:lnTo>
                    <a:pt x="648" y="1002"/>
                  </a:lnTo>
                  <a:lnTo>
                    <a:pt x="646" y="1001"/>
                  </a:lnTo>
                  <a:lnTo>
                    <a:pt x="646" y="1001"/>
                  </a:lnTo>
                  <a:lnTo>
                    <a:pt x="643" y="1001"/>
                  </a:lnTo>
                  <a:lnTo>
                    <a:pt x="643" y="999"/>
                  </a:lnTo>
                  <a:lnTo>
                    <a:pt x="642" y="998"/>
                  </a:lnTo>
                  <a:lnTo>
                    <a:pt x="642" y="998"/>
                  </a:lnTo>
                  <a:lnTo>
                    <a:pt x="643" y="996"/>
                  </a:lnTo>
                  <a:lnTo>
                    <a:pt x="643" y="996"/>
                  </a:lnTo>
                  <a:lnTo>
                    <a:pt x="642" y="996"/>
                  </a:lnTo>
                  <a:lnTo>
                    <a:pt x="640" y="996"/>
                  </a:lnTo>
                  <a:lnTo>
                    <a:pt x="639" y="995"/>
                  </a:lnTo>
                  <a:lnTo>
                    <a:pt x="639" y="992"/>
                  </a:lnTo>
                  <a:lnTo>
                    <a:pt x="639" y="990"/>
                  </a:lnTo>
                  <a:lnTo>
                    <a:pt x="639" y="988"/>
                  </a:lnTo>
                  <a:lnTo>
                    <a:pt x="640" y="988"/>
                  </a:lnTo>
                  <a:lnTo>
                    <a:pt x="640" y="988"/>
                  </a:lnTo>
                  <a:lnTo>
                    <a:pt x="640" y="988"/>
                  </a:lnTo>
                  <a:lnTo>
                    <a:pt x="640" y="990"/>
                  </a:lnTo>
                  <a:lnTo>
                    <a:pt x="642" y="990"/>
                  </a:lnTo>
                  <a:lnTo>
                    <a:pt x="642" y="988"/>
                  </a:lnTo>
                  <a:lnTo>
                    <a:pt x="643" y="988"/>
                  </a:lnTo>
                  <a:lnTo>
                    <a:pt x="643" y="988"/>
                  </a:lnTo>
                  <a:lnTo>
                    <a:pt x="643" y="987"/>
                  </a:lnTo>
                  <a:lnTo>
                    <a:pt x="642" y="985"/>
                  </a:lnTo>
                  <a:lnTo>
                    <a:pt x="640" y="984"/>
                  </a:lnTo>
                  <a:lnTo>
                    <a:pt x="637" y="984"/>
                  </a:lnTo>
                  <a:lnTo>
                    <a:pt x="633" y="981"/>
                  </a:lnTo>
                  <a:lnTo>
                    <a:pt x="633" y="981"/>
                  </a:lnTo>
                  <a:lnTo>
                    <a:pt x="631" y="979"/>
                  </a:lnTo>
                  <a:lnTo>
                    <a:pt x="631" y="978"/>
                  </a:lnTo>
                  <a:lnTo>
                    <a:pt x="631" y="968"/>
                  </a:lnTo>
                  <a:lnTo>
                    <a:pt x="631" y="967"/>
                  </a:lnTo>
                  <a:lnTo>
                    <a:pt x="631" y="965"/>
                  </a:lnTo>
                  <a:lnTo>
                    <a:pt x="633" y="962"/>
                  </a:lnTo>
                  <a:lnTo>
                    <a:pt x="637" y="958"/>
                  </a:lnTo>
                  <a:lnTo>
                    <a:pt x="637" y="955"/>
                  </a:lnTo>
                  <a:lnTo>
                    <a:pt x="639" y="953"/>
                  </a:lnTo>
                  <a:lnTo>
                    <a:pt x="639" y="950"/>
                  </a:lnTo>
                  <a:lnTo>
                    <a:pt x="639" y="948"/>
                  </a:lnTo>
                  <a:lnTo>
                    <a:pt x="639" y="947"/>
                  </a:lnTo>
                  <a:lnTo>
                    <a:pt x="640" y="945"/>
                  </a:lnTo>
                  <a:lnTo>
                    <a:pt x="640" y="945"/>
                  </a:lnTo>
                  <a:lnTo>
                    <a:pt x="640" y="944"/>
                  </a:lnTo>
                  <a:lnTo>
                    <a:pt x="640" y="942"/>
                  </a:lnTo>
                  <a:lnTo>
                    <a:pt x="640" y="941"/>
                  </a:lnTo>
                  <a:lnTo>
                    <a:pt x="640" y="939"/>
                  </a:lnTo>
                  <a:lnTo>
                    <a:pt x="642" y="936"/>
                  </a:lnTo>
                  <a:lnTo>
                    <a:pt x="645" y="935"/>
                  </a:lnTo>
                  <a:lnTo>
                    <a:pt x="645" y="933"/>
                  </a:lnTo>
                  <a:lnTo>
                    <a:pt x="646" y="930"/>
                  </a:lnTo>
                  <a:lnTo>
                    <a:pt x="654" y="919"/>
                  </a:lnTo>
                  <a:lnTo>
                    <a:pt x="662" y="910"/>
                  </a:lnTo>
                  <a:lnTo>
                    <a:pt x="663" y="905"/>
                  </a:lnTo>
                  <a:lnTo>
                    <a:pt x="668" y="899"/>
                  </a:lnTo>
                  <a:lnTo>
                    <a:pt x="666" y="899"/>
                  </a:lnTo>
                  <a:lnTo>
                    <a:pt x="666" y="898"/>
                  </a:lnTo>
                  <a:lnTo>
                    <a:pt x="666" y="896"/>
                  </a:lnTo>
                  <a:close/>
                  <a:moveTo>
                    <a:pt x="466" y="1115"/>
                  </a:moveTo>
                  <a:lnTo>
                    <a:pt x="465" y="1115"/>
                  </a:lnTo>
                  <a:lnTo>
                    <a:pt x="465" y="1115"/>
                  </a:lnTo>
                  <a:lnTo>
                    <a:pt x="465" y="1115"/>
                  </a:lnTo>
                  <a:lnTo>
                    <a:pt x="465" y="1116"/>
                  </a:lnTo>
                  <a:lnTo>
                    <a:pt x="465" y="1116"/>
                  </a:lnTo>
                  <a:lnTo>
                    <a:pt x="465" y="1116"/>
                  </a:lnTo>
                  <a:lnTo>
                    <a:pt x="466" y="1116"/>
                  </a:lnTo>
                  <a:lnTo>
                    <a:pt x="466" y="1116"/>
                  </a:lnTo>
                  <a:lnTo>
                    <a:pt x="466" y="1115"/>
                  </a:lnTo>
                  <a:lnTo>
                    <a:pt x="466" y="1115"/>
                  </a:lnTo>
                  <a:close/>
                  <a:moveTo>
                    <a:pt x="577" y="865"/>
                  </a:moveTo>
                  <a:lnTo>
                    <a:pt x="576" y="865"/>
                  </a:lnTo>
                  <a:lnTo>
                    <a:pt x="576" y="867"/>
                  </a:lnTo>
                  <a:lnTo>
                    <a:pt x="577" y="867"/>
                  </a:lnTo>
                  <a:lnTo>
                    <a:pt x="577" y="865"/>
                  </a:lnTo>
                  <a:close/>
                  <a:moveTo>
                    <a:pt x="539" y="656"/>
                  </a:moveTo>
                  <a:lnTo>
                    <a:pt x="539" y="657"/>
                  </a:lnTo>
                  <a:lnTo>
                    <a:pt x="540" y="657"/>
                  </a:lnTo>
                  <a:lnTo>
                    <a:pt x="542" y="659"/>
                  </a:lnTo>
                  <a:lnTo>
                    <a:pt x="542" y="659"/>
                  </a:lnTo>
                  <a:lnTo>
                    <a:pt x="543" y="659"/>
                  </a:lnTo>
                  <a:lnTo>
                    <a:pt x="543" y="657"/>
                  </a:lnTo>
                  <a:lnTo>
                    <a:pt x="545" y="657"/>
                  </a:lnTo>
                  <a:lnTo>
                    <a:pt x="546" y="659"/>
                  </a:lnTo>
                  <a:lnTo>
                    <a:pt x="546" y="657"/>
                  </a:lnTo>
                  <a:lnTo>
                    <a:pt x="548" y="657"/>
                  </a:lnTo>
                  <a:lnTo>
                    <a:pt x="548" y="656"/>
                  </a:lnTo>
                  <a:lnTo>
                    <a:pt x="548" y="656"/>
                  </a:lnTo>
                  <a:lnTo>
                    <a:pt x="548" y="656"/>
                  </a:lnTo>
                  <a:lnTo>
                    <a:pt x="546" y="654"/>
                  </a:lnTo>
                  <a:lnTo>
                    <a:pt x="542" y="653"/>
                  </a:lnTo>
                  <a:lnTo>
                    <a:pt x="540" y="653"/>
                  </a:lnTo>
                  <a:lnTo>
                    <a:pt x="540" y="653"/>
                  </a:lnTo>
                  <a:lnTo>
                    <a:pt x="540" y="654"/>
                  </a:lnTo>
                  <a:lnTo>
                    <a:pt x="540" y="654"/>
                  </a:lnTo>
                  <a:lnTo>
                    <a:pt x="539" y="65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67"/>
            <p:cNvSpPr>
              <a:spLocks noEditPoints="1"/>
            </p:cNvSpPr>
            <p:nvPr/>
          </p:nvSpPr>
          <p:spPr bwMode="gray">
            <a:xfrm>
              <a:off x="4445000" y="5603876"/>
              <a:ext cx="531813" cy="779463"/>
            </a:xfrm>
            <a:custGeom>
              <a:avLst/>
              <a:gdLst>
                <a:gd name="T0" fmla="*/ 63 w 335"/>
                <a:gd name="T1" fmla="*/ 291 h 491"/>
                <a:gd name="T2" fmla="*/ 37 w 335"/>
                <a:gd name="T3" fmla="*/ 192 h 491"/>
                <a:gd name="T4" fmla="*/ 148 w 335"/>
                <a:gd name="T5" fmla="*/ 51 h 491"/>
                <a:gd name="T6" fmla="*/ 327 w 335"/>
                <a:gd name="T7" fmla="*/ 275 h 491"/>
                <a:gd name="T8" fmla="*/ 322 w 335"/>
                <a:gd name="T9" fmla="*/ 243 h 491"/>
                <a:gd name="T10" fmla="*/ 307 w 335"/>
                <a:gd name="T11" fmla="*/ 180 h 491"/>
                <a:gd name="T12" fmla="*/ 302 w 335"/>
                <a:gd name="T13" fmla="*/ 171 h 491"/>
                <a:gd name="T14" fmla="*/ 271 w 335"/>
                <a:gd name="T15" fmla="*/ 146 h 491"/>
                <a:gd name="T16" fmla="*/ 248 w 335"/>
                <a:gd name="T17" fmla="*/ 148 h 491"/>
                <a:gd name="T18" fmla="*/ 227 w 335"/>
                <a:gd name="T19" fmla="*/ 158 h 491"/>
                <a:gd name="T20" fmla="*/ 182 w 335"/>
                <a:gd name="T21" fmla="*/ 112 h 491"/>
                <a:gd name="T22" fmla="*/ 214 w 335"/>
                <a:gd name="T23" fmla="*/ 83 h 491"/>
                <a:gd name="T24" fmla="*/ 248 w 335"/>
                <a:gd name="T25" fmla="*/ 31 h 491"/>
                <a:gd name="T26" fmla="*/ 231 w 335"/>
                <a:gd name="T27" fmla="*/ 9 h 491"/>
                <a:gd name="T28" fmla="*/ 210 w 335"/>
                <a:gd name="T29" fmla="*/ 55 h 491"/>
                <a:gd name="T30" fmla="*/ 202 w 335"/>
                <a:gd name="T31" fmla="*/ 17 h 491"/>
                <a:gd name="T32" fmla="*/ 199 w 335"/>
                <a:gd name="T33" fmla="*/ 26 h 491"/>
                <a:gd name="T34" fmla="*/ 188 w 335"/>
                <a:gd name="T35" fmla="*/ 23 h 491"/>
                <a:gd name="T36" fmla="*/ 154 w 335"/>
                <a:gd name="T37" fmla="*/ 48 h 491"/>
                <a:gd name="T38" fmla="*/ 161 w 335"/>
                <a:gd name="T39" fmla="*/ 72 h 491"/>
                <a:gd name="T40" fmla="*/ 125 w 335"/>
                <a:gd name="T41" fmla="*/ 89 h 491"/>
                <a:gd name="T42" fmla="*/ 154 w 335"/>
                <a:gd name="T43" fmla="*/ 101 h 491"/>
                <a:gd name="T44" fmla="*/ 170 w 335"/>
                <a:gd name="T45" fmla="*/ 114 h 491"/>
                <a:gd name="T46" fmla="*/ 148 w 335"/>
                <a:gd name="T47" fmla="*/ 140 h 491"/>
                <a:gd name="T48" fmla="*/ 117 w 335"/>
                <a:gd name="T49" fmla="*/ 143 h 491"/>
                <a:gd name="T50" fmla="*/ 87 w 335"/>
                <a:gd name="T51" fmla="*/ 137 h 491"/>
                <a:gd name="T52" fmla="*/ 45 w 335"/>
                <a:gd name="T53" fmla="*/ 149 h 491"/>
                <a:gd name="T54" fmla="*/ 28 w 335"/>
                <a:gd name="T55" fmla="*/ 149 h 491"/>
                <a:gd name="T56" fmla="*/ 40 w 335"/>
                <a:gd name="T57" fmla="*/ 155 h 491"/>
                <a:gd name="T58" fmla="*/ 43 w 335"/>
                <a:gd name="T59" fmla="*/ 175 h 491"/>
                <a:gd name="T60" fmla="*/ 43 w 335"/>
                <a:gd name="T61" fmla="*/ 195 h 491"/>
                <a:gd name="T62" fmla="*/ 42 w 335"/>
                <a:gd name="T63" fmla="*/ 214 h 491"/>
                <a:gd name="T64" fmla="*/ 27 w 335"/>
                <a:gd name="T65" fmla="*/ 238 h 491"/>
                <a:gd name="T66" fmla="*/ 42 w 335"/>
                <a:gd name="T67" fmla="*/ 254 h 491"/>
                <a:gd name="T68" fmla="*/ 50 w 335"/>
                <a:gd name="T69" fmla="*/ 263 h 491"/>
                <a:gd name="T70" fmla="*/ 63 w 335"/>
                <a:gd name="T71" fmla="*/ 272 h 491"/>
                <a:gd name="T72" fmla="*/ 114 w 335"/>
                <a:gd name="T73" fmla="*/ 280 h 491"/>
                <a:gd name="T74" fmla="*/ 82 w 335"/>
                <a:gd name="T75" fmla="*/ 302 h 491"/>
                <a:gd name="T76" fmla="*/ 63 w 335"/>
                <a:gd name="T77" fmla="*/ 337 h 491"/>
                <a:gd name="T78" fmla="*/ 87 w 335"/>
                <a:gd name="T79" fmla="*/ 352 h 491"/>
                <a:gd name="T80" fmla="*/ 108 w 335"/>
                <a:gd name="T81" fmla="*/ 349 h 491"/>
                <a:gd name="T82" fmla="*/ 62 w 335"/>
                <a:gd name="T83" fmla="*/ 365 h 491"/>
                <a:gd name="T84" fmla="*/ 56 w 335"/>
                <a:gd name="T85" fmla="*/ 394 h 491"/>
                <a:gd name="T86" fmla="*/ 8 w 335"/>
                <a:gd name="T87" fmla="*/ 400 h 491"/>
                <a:gd name="T88" fmla="*/ 20 w 335"/>
                <a:gd name="T89" fmla="*/ 409 h 491"/>
                <a:gd name="T90" fmla="*/ 14 w 335"/>
                <a:gd name="T91" fmla="*/ 429 h 491"/>
                <a:gd name="T92" fmla="*/ 19 w 335"/>
                <a:gd name="T93" fmla="*/ 442 h 491"/>
                <a:gd name="T94" fmla="*/ 56 w 335"/>
                <a:gd name="T95" fmla="*/ 443 h 491"/>
                <a:gd name="T96" fmla="*/ 31 w 335"/>
                <a:gd name="T97" fmla="*/ 468 h 491"/>
                <a:gd name="T98" fmla="*/ 70 w 335"/>
                <a:gd name="T99" fmla="*/ 454 h 491"/>
                <a:gd name="T100" fmla="*/ 56 w 335"/>
                <a:gd name="T101" fmla="*/ 480 h 491"/>
                <a:gd name="T102" fmla="*/ 79 w 335"/>
                <a:gd name="T103" fmla="*/ 477 h 491"/>
                <a:gd name="T104" fmla="*/ 91 w 335"/>
                <a:gd name="T105" fmla="*/ 486 h 491"/>
                <a:gd name="T106" fmla="*/ 124 w 335"/>
                <a:gd name="T107" fmla="*/ 474 h 491"/>
                <a:gd name="T108" fmla="*/ 147 w 335"/>
                <a:gd name="T109" fmla="*/ 460 h 491"/>
                <a:gd name="T110" fmla="*/ 162 w 335"/>
                <a:gd name="T111" fmla="*/ 445 h 491"/>
                <a:gd name="T112" fmla="*/ 167 w 335"/>
                <a:gd name="T113" fmla="*/ 448 h 491"/>
                <a:gd name="T114" fmla="*/ 216 w 335"/>
                <a:gd name="T115" fmla="*/ 425 h 491"/>
                <a:gd name="T116" fmla="*/ 250 w 335"/>
                <a:gd name="T117" fmla="*/ 405 h 491"/>
                <a:gd name="T118" fmla="*/ 265 w 335"/>
                <a:gd name="T119" fmla="*/ 408 h 491"/>
                <a:gd name="T120" fmla="*/ 298 w 335"/>
                <a:gd name="T121" fmla="*/ 400 h 491"/>
                <a:gd name="T122" fmla="*/ 298 w 335"/>
                <a:gd name="T123" fmla="*/ 380 h 491"/>
                <a:gd name="T124" fmla="*/ 333 w 335"/>
                <a:gd name="T125" fmla="*/ 30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5" h="491">
                  <a:moveTo>
                    <a:pt x="51" y="469"/>
                  </a:moveTo>
                  <a:lnTo>
                    <a:pt x="51" y="468"/>
                  </a:lnTo>
                  <a:lnTo>
                    <a:pt x="51" y="468"/>
                  </a:lnTo>
                  <a:lnTo>
                    <a:pt x="50" y="468"/>
                  </a:lnTo>
                  <a:lnTo>
                    <a:pt x="50" y="468"/>
                  </a:lnTo>
                  <a:lnTo>
                    <a:pt x="47" y="468"/>
                  </a:lnTo>
                  <a:lnTo>
                    <a:pt x="45" y="468"/>
                  </a:lnTo>
                  <a:lnTo>
                    <a:pt x="43" y="468"/>
                  </a:lnTo>
                  <a:lnTo>
                    <a:pt x="42" y="469"/>
                  </a:lnTo>
                  <a:lnTo>
                    <a:pt x="42" y="469"/>
                  </a:lnTo>
                  <a:lnTo>
                    <a:pt x="43" y="471"/>
                  </a:lnTo>
                  <a:lnTo>
                    <a:pt x="43" y="471"/>
                  </a:lnTo>
                  <a:lnTo>
                    <a:pt x="50" y="469"/>
                  </a:lnTo>
                  <a:lnTo>
                    <a:pt x="51" y="469"/>
                  </a:lnTo>
                  <a:close/>
                  <a:moveTo>
                    <a:pt x="13" y="436"/>
                  </a:moveTo>
                  <a:lnTo>
                    <a:pt x="14" y="436"/>
                  </a:lnTo>
                  <a:lnTo>
                    <a:pt x="14" y="434"/>
                  </a:lnTo>
                  <a:lnTo>
                    <a:pt x="14" y="434"/>
                  </a:lnTo>
                  <a:lnTo>
                    <a:pt x="13" y="434"/>
                  </a:lnTo>
                  <a:lnTo>
                    <a:pt x="13" y="434"/>
                  </a:lnTo>
                  <a:lnTo>
                    <a:pt x="11" y="433"/>
                  </a:lnTo>
                  <a:lnTo>
                    <a:pt x="11" y="433"/>
                  </a:lnTo>
                  <a:lnTo>
                    <a:pt x="10" y="433"/>
                  </a:lnTo>
                  <a:lnTo>
                    <a:pt x="10" y="434"/>
                  </a:lnTo>
                  <a:lnTo>
                    <a:pt x="5" y="436"/>
                  </a:lnTo>
                  <a:lnTo>
                    <a:pt x="3" y="437"/>
                  </a:lnTo>
                  <a:lnTo>
                    <a:pt x="5" y="439"/>
                  </a:lnTo>
                  <a:lnTo>
                    <a:pt x="7" y="439"/>
                  </a:lnTo>
                  <a:lnTo>
                    <a:pt x="7" y="437"/>
                  </a:lnTo>
                  <a:lnTo>
                    <a:pt x="10" y="437"/>
                  </a:lnTo>
                  <a:lnTo>
                    <a:pt x="13" y="436"/>
                  </a:lnTo>
                  <a:close/>
                  <a:moveTo>
                    <a:pt x="54" y="286"/>
                  </a:moveTo>
                  <a:lnTo>
                    <a:pt x="53" y="285"/>
                  </a:lnTo>
                  <a:lnTo>
                    <a:pt x="51" y="285"/>
                  </a:lnTo>
                  <a:lnTo>
                    <a:pt x="50" y="286"/>
                  </a:lnTo>
                  <a:lnTo>
                    <a:pt x="53" y="288"/>
                  </a:lnTo>
                  <a:lnTo>
                    <a:pt x="62" y="291"/>
                  </a:lnTo>
                  <a:lnTo>
                    <a:pt x="63" y="291"/>
                  </a:lnTo>
                  <a:lnTo>
                    <a:pt x="63" y="289"/>
                  </a:lnTo>
                  <a:lnTo>
                    <a:pt x="62" y="289"/>
                  </a:lnTo>
                  <a:lnTo>
                    <a:pt x="62" y="289"/>
                  </a:lnTo>
                  <a:lnTo>
                    <a:pt x="60" y="289"/>
                  </a:lnTo>
                  <a:lnTo>
                    <a:pt x="60" y="288"/>
                  </a:lnTo>
                  <a:lnTo>
                    <a:pt x="62" y="288"/>
                  </a:lnTo>
                  <a:lnTo>
                    <a:pt x="60" y="286"/>
                  </a:lnTo>
                  <a:lnTo>
                    <a:pt x="59" y="286"/>
                  </a:lnTo>
                  <a:lnTo>
                    <a:pt x="57" y="285"/>
                  </a:lnTo>
                  <a:lnTo>
                    <a:pt x="56" y="286"/>
                  </a:lnTo>
                  <a:lnTo>
                    <a:pt x="54" y="286"/>
                  </a:lnTo>
                  <a:close/>
                  <a:moveTo>
                    <a:pt x="57" y="272"/>
                  </a:moveTo>
                  <a:lnTo>
                    <a:pt x="59" y="274"/>
                  </a:lnTo>
                  <a:lnTo>
                    <a:pt x="62" y="274"/>
                  </a:lnTo>
                  <a:lnTo>
                    <a:pt x="63" y="271"/>
                  </a:lnTo>
                  <a:lnTo>
                    <a:pt x="62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7" y="268"/>
                  </a:lnTo>
                  <a:lnTo>
                    <a:pt x="57" y="269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2"/>
                  </a:lnTo>
                  <a:close/>
                  <a:moveTo>
                    <a:pt x="22" y="183"/>
                  </a:moveTo>
                  <a:lnTo>
                    <a:pt x="23" y="183"/>
                  </a:lnTo>
                  <a:lnTo>
                    <a:pt x="30" y="182"/>
                  </a:lnTo>
                  <a:lnTo>
                    <a:pt x="31" y="182"/>
                  </a:lnTo>
                  <a:lnTo>
                    <a:pt x="33" y="183"/>
                  </a:lnTo>
                  <a:lnTo>
                    <a:pt x="33" y="185"/>
                  </a:lnTo>
                  <a:lnTo>
                    <a:pt x="31" y="186"/>
                  </a:lnTo>
                  <a:lnTo>
                    <a:pt x="31" y="188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6" y="191"/>
                  </a:lnTo>
                  <a:lnTo>
                    <a:pt x="37" y="192"/>
                  </a:lnTo>
                  <a:lnTo>
                    <a:pt x="39" y="192"/>
                  </a:lnTo>
                  <a:lnTo>
                    <a:pt x="40" y="191"/>
                  </a:lnTo>
                  <a:lnTo>
                    <a:pt x="40" y="189"/>
                  </a:lnTo>
                  <a:lnTo>
                    <a:pt x="40" y="188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3"/>
                  </a:lnTo>
                  <a:lnTo>
                    <a:pt x="42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80"/>
                  </a:lnTo>
                  <a:lnTo>
                    <a:pt x="39" y="178"/>
                  </a:lnTo>
                  <a:lnTo>
                    <a:pt x="40" y="178"/>
                  </a:lnTo>
                  <a:lnTo>
                    <a:pt x="39" y="175"/>
                  </a:lnTo>
                  <a:lnTo>
                    <a:pt x="37" y="175"/>
                  </a:lnTo>
                  <a:lnTo>
                    <a:pt x="31" y="175"/>
                  </a:lnTo>
                  <a:lnTo>
                    <a:pt x="30" y="175"/>
                  </a:lnTo>
                  <a:lnTo>
                    <a:pt x="28" y="177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2" y="177"/>
                  </a:lnTo>
                  <a:lnTo>
                    <a:pt x="22" y="175"/>
                  </a:lnTo>
                  <a:lnTo>
                    <a:pt x="22" y="178"/>
                  </a:lnTo>
                  <a:lnTo>
                    <a:pt x="20" y="180"/>
                  </a:lnTo>
                  <a:lnTo>
                    <a:pt x="19" y="180"/>
                  </a:lnTo>
                  <a:lnTo>
                    <a:pt x="16" y="180"/>
                  </a:lnTo>
                  <a:lnTo>
                    <a:pt x="16" y="182"/>
                  </a:lnTo>
                  <a:lnTo>
                    <a:pt x="19" y="182"/>
                  </a:lnTo>
                  <a:lnTo>
                    <a:pt x="22" y="183"/>
                  </a:lnTo>
                  <a:close/>
                  <a:moveTo>
                    <a:pt x="145" y="54"/>
                  </a:moveTo>
                  <a:lnTo>
                    <a:pt x="150" y="54"/>
                  </a:lnTo>
                  <a:lnTo>
                    <a:pt x="148" y="51"/>
                  </a:lnTo>
                  <a:lnTo>
                    <a:pt x="148" y="49"/>
                  </a:lnTo>
                  <a:lnTo>
                    <a:pt x="147" y="49"/>
                  </a:lnTo>
                  <a:lnTo>
                    <a:pt x="147" y="49"/>
                  </a:lnTo>
                  <a:lnTo>
                    <a:pt x="145" y="48"/>
                  </a:lnTo>
                  <a:lnTo>
                    <a:pt x="145" y="48"/>
                  </a:lnTo>
                  <a:lnTo>
                    <a:pt x="145" y="48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5" y="49"/>
                  </a:lnTo>
                  <a:lnTo>
                    <a:pt x="144" y="49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335" y="306"/>
                  </a:moveTo>
                  <a:lnTo>
                    <a:pt x="331" y="303"/>
                  </a:lnTo>
                  <a:lnTo>
                    <a:pt x="330" y="302"/>
                  </a:lnTo>
                  <a:lnTo>
                    <a:pt x="330" y="300"/>
                  </a:lnTo>
                  <a:lnTo>
                    <a:pt x="331" y="297"/>
                  </a:lnTo>
                  <a:lnTo>
                    <a:pt x="331" y="294"/>
                  </a:lnTo>
                  <a:lnTo>
                    <a:pt x="331" y="291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28" y="283"/>
                  </a:lnTo>
                  <a:lnTo>
                    <a:pt x="328" y="282"/>
                  </a:lnTo>
                  <a:lnTo>
                    <a:pt x="328" y="280"/>
                  </a:lnTo>
                  <a:lnTo>
                    <a:pt x="328" y="279"/>
                  </a:lnTo>
                  <a:lnTo>
                    <a:pt x="327" y="277"/>
                  </a:lnTo>
                  <a:lnTo>
                    <a:pt x="327" y="277"/>
                  </a:lnTo>
                  <a:lnTo>
                    <a:pt x="327" y="275"/>
                  </a:lnTo>
                  <a:lnTo>
                    <a:pt x="327" y="274"/>
                  </a:lnTo>
                  <a:lnTo>
                    <a:pt x="325" y="272"/>
                  </a:lnTo>
                  <a:lnTo>
                    <a:pt x="325" y="269"/>
                  </a:lnTo>
                  <a:lnTo>
                    <a:pt x="327" y="269"/>
                  </a:lnTo>
                  <a:lnTo>
                    <a:pt x="327" y="268"/>
                  </a:lnTo>
                  <a:lnTo>
                    <a:pt x="327" y="268"/>
                  </a:lnTo>
                  <a:lnTo>
                    <a:pt x="325" y="266"/>
                  </a:lnTo>
                  <a:lnTo>
                    <a:pt x="325" y="266"/>
                  </a:lnTo>
                  <a:lnTo>
                    <a:pt x="324" y="266"/>
                  </a:lnTo>
                  <a:lnTo>
                    <a:pt x="322" y="266"/>
                  </a:lnTo>
                  <a:lnTo>
                    <a:pt x="321" y="265"/>
                  </a:lnTo>
                  <a:lnTo>
                    <a:pt x="321" y="263"/>
                  </a:lnTo>
                  <a:lnTo>
                    <a:pt x="318" y="260"/>
                  </a:lnTo>
                  <a:lnTo>
                    <a:pt x="318" y="260"/>
                  </a:lnTo>
                  <a:lnTo>
                    <a:pt x="318" y="259"/>
                  </a:lnTo>
                  <a:lnTo>
                    <a:pt x="322" y="255"/>
                  </a:lnTo>
                  <a:lnTo>
                    <a:pt x="322" y="254"/>
                  </a:lnTo>
                  <a:lnTo>
                    <a:pt x="324" y="254"/>
                  </a:lnTo>
                  <a:lnTo>
                    <a:pt x="325" y="254"/>
                  </a:lnTo>
                  <a:lnTo>
                    <a:pt x="325" y="254"/>
                  </a:lnTo>
                  <a:lnTo>
                    <a:pt x="325" y="255"/>
                  </a:lnTo>
                  <a:lnTo>
                    <a:pt x="327" y="255"/>
                  </a:lnTo>
                  <a:lnTo>
                    <a:pt x="327" y="255"/>
                  </a:lnTo>
                  <a:lnTo>
                    <a:pt x="328" y="257"/>
                  </a:lnTo>
                  <a:lnTo>
                    <a:pt x="330" y="257"/>
                  </a:lnTo>
                  <a:lnTo>
                    <a:pt x="330" y="255"/>
                  </a:lnTo>
                  <a:lnTo>
                    <a:pt x="328" y="254"/>
                  </a:lnTo>
                  <a:lnTo>
                    <a:pt x="325" y="254"/>
                  </a:lnTo>
                  <a:lnTo>
                    <a:pt x="324" y="252"/>
                  </a:lnTo>
                  <a:lnTo>
                    <a:pt x="325" y="252"/>
                  </a:lnTo>
                  <a:lnTo>
                    <a:pt x="325" y="252"/>
                  </a:lnTo>
                  <a:lnTo>
                    <a:pt x="325" y="251"/>
                  </a:lnTo>
                  <a:lnTo>
                    <a:pt x="325" y="251"/>
                  </a:lnTo>
                  <a:lnTo>
                    <a:pt x="324" y="249"/>
                  </a:lnTo>
                  <a:lnTo>
                    <a:pt x="324" y="248"/>
                  </a:lnTo>
                  <a:lnTo>
                    <a:pt x="319" y="245"/>
                  </a:lnTo>
                  <a:lnTo>
                    <a:pt x="321" y="245"/>
                  </a:lnTo>
                  <a:lnTo>
                    <a:pt x="322" y="243"/>
                  </a:lnTo>
                  <a:lnTo>
                    <a:pt x="324" y="245"/>
                  </a:lnTo>
                  <a:lnTo>
                    <a:pt x="324" y="245"/>
                  </a:lnTo>
                  <a:lnTo>
                    <a:pt x="325" y="245"/>
                  </a:lnTo>
                  <a:lnTo>
                    <a:pt x="325" y="242"/>
                  </a:lnTo>
                  <a:lnTo>
                    <a:pt x="325" y="242"/>
                  </a:lnTo>
                  <a:lnTo>
                    <a:pt x="327" y="240"/>
                  </a:lnTo>
                  <a:lnTo>
                    <a:pt x="327" y="240"/>
                  </a:lnTo>
                  <a:lnTo>
                    <a:pt x="328" y="237"/>
                  </a:lnTo>
                  <a:lnTo>
                    <a:pt x="328" y="235"/>
                  </a:lnTo>
                  <a:lnTo>
                    <a:pt x="328" y="234"/>
                  </a:lnTo>
                  <a:lnTo>
                    <a:pt x="328" y="232"/>
                  </a:lnTo>
                  <a:lnTo>
                    <a:pt x="327" y="231"/>
                  </a:lnTo>
                  <a:lnTo>
                    <a:pt x="325" y="229"/>
                  </a:lnTo>
                  <a:lnTo>
                    <a:pt x="324" y="229"/>
                  </a:lnTo>
                  <a:lnTo>
                    <a:pt x="321" y="228"/>
                  </a:lnTo>
                  <a:lnTo>
                    <a:pt x="321" y="225"/>
                  </a:lnTo>
                  <a:lnTo>
                    <a:pt x="319" y="223"/>
                  </a:lnTo>
                  <a:lnTo>
                    <a:pt x="318" y="223"/>
                  </a:lnTo>
                  <a:lnTo>
                    <a:pt x="318" y="222"/>
                  </a:lnTo>
                  <a:lnTo>
                    <a:pt x="316" y="222"/>
                  </a:lnTo>
                  <a:lnTo>
                    <a:pt x="316" y="218"/>
                  </a:lnTo>
                  <a:lnTo>
                    <a:pt x="316" y="217"/>
                  </a:lnTo>
                  <a:lnTo>
                    <a:pt x="316" y="212"/>
                  </a:lnTo>
                  <a:lnTo>
                    <a:pt x="316" y="208"/>
                  </a:lnTo>
                  <a:lnTo>
                    <a:pt x="316" y="205"/>
                  </a:lnTo>
                  <a:lnTo>
                    <a:pt x="318" y="203"/>
                  </a:lnTo>
                  <a:lnTo>
                    <a:pt x="316" y="202"/>
                  </a:lnTo>
                  <a:lnTo>
                    <a:pt x="315" y="200"/>
                  </a:lnTo>
                  <a:lnTo>
                    <a:pt x="315" y="198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0" y="194"/>
                  </a:lnTo>
                  <a:lnTo>
                    <a:pt x="308" y="192"/>
                  </a:lnTo>
                  <a:lnTo>
                    <a:pt x="307" y="191"/>
                  </a:lnTo>
                  <a:lnTo>
                    <a:pt x="305" y="188"/>
                  </a:lnTo>
                  <a:lnTo>
                    <a:pt x="305" y="186"/>
                  </a:lnTo>
                  <a:lnTo>
                    <a:pt x="307" y="182"/>
                  </a:lnTo>
                  <a:lnTo>
                    <a:pt x="307" y="180"/>
                  </a:lnTo>
                  <a:lnTo>
                    <a:pt x="307" y="178"/>
                  </a:lnTo>
                  <a:lnTo>
                    <a:pt x="308" y="177"/>
                  </a:lnTo>
                  <a:lnTo>
                    <a:pt x="307" y="177"/>
                  </a:lnTo>
                  <a:lnTo>
                    <a:pt x="307" y="175"/>
                  </a:lnTo>
                  <a:lnTo>
                    <a:pt x="311" y="177"/>
                  </a:lnTo>
                  <a:lnTo>
                    <a:pt x="316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21" y="180"/>
                  </a:lnTo>
                  <a:lnTo>
                    <a:pt x="322" y="182"/>
                  </a:lnTo>
                  <a:lnTo>
                    <a:pt x="324" y="180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2" y="174"/>
                  </a:lnTo>
                  <a:lnTo>
                    <a:pt x="321" y="172"/>
                  </a:lnTo>
                  <a:lnTo>
                    <a:pt x="321" y="171"/>
                  </a:lnTo>
                  <a:lnTo>
                    <a:pt x="319" y="171"/>
                  </a:lnTo>
                  <a:lnTo>
                    <a:pt x="319" y="169"/>
                  </a:lnTo>
                  <a:lnTo>
                    <a:pt x="315" y="165"/>
                  </a:lnTo>
                  <a:lnTo>
                    <a:pt x="315" y="165"/>
                  </a:lnTo>
                  <a:lnTo>
                    <a:pt x="313" y="165"/>
                  </a:lnTo>
                  <a:lnTo>
                    <a:pt x="311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08" y="165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6"/>
                  </a:lnTo>
                  <a:lnTo>
                    <a:pt x="307" y="166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9"/>
                  </a:lnTo>
                  <a:lnTo>
                    <a:pt x="305" y="169"/>
                  </a:lnTo>
                  <a:lnTo>
                    <a:pt x="304" y="171"/>
                  </a:lnTo>
                  <a:lnTo>
                    <a:pt x="302" y="171"/>
                  </a:lnTo>
                  <a:lnTo>
                    <a:pt x="302" y="171"/>
                  </a:lnTo>
                  <a:lnTo>
                    <a:pt x="301" y="171"/>
                  </a:lnTo>
                  <a:lnTo>
                    <a:pt x="301" y="169"/>
                  </a:lnTo>
                  <a:lnTo>
                    <a:pt x="301" y="169"/>
                  </a:lnTo>
                  <a:lnTo>
                    <a:pt x="301" y="169"/>
                  </a:lnTo>
                  <a:lnTo>
                    <a:pt x="298" y="169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0" y="171"/>
                  </a:lnTo>
                  <a:lnTo>
                    <a:pt x="290" y="171"/>
                  </a:lnTo>
                  <a:lnTo>
                    <a:pt x="290" y="171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7" y="172"/>
                  </a:lnTo>
                  <a:lnTo>
                    <a:pt x="285" y="169"/>
                  </a:lnTo>
                  <a:lnTo>
                    <a:pt x="284" y="169"/>
                  </a:lnTo>
                  <a:lnTo>
                    <a:pt x="285" y="166"/>
                  </a:lnTo>
                  <a:lnTo>
                    <a:pt x="285" y="165"/>
                  </a:lnTo>
                  <a:lnTo>
                    <a:pt x="284" y="163"/>
                  </a:lnTo>
                  <a:lnTo>
                    <a:pt x="285" y="161"/>
                  </a:lnTo>
                  <a:lnTo>
                    <a:pt x="287" y="158"/>
                  </a:lnTo>
                  <a:lnTo>
                    <a:pt x="287" y="157"/>
                  </a:lnTo>
                  <a:lnTo>
                    <a:pt x="285" y="155"/>
                  </a:lnTo>
                  <a:lnTo>
                    <a:pt x="285" y="154"/>
                  </a:lnTo>
                  <a:lnTo>
                    <a:pt x="284" y="154"/>
                  </a:lnTo>
                  <a:lnTo>
                    <a:pt x="282" y="152"/>
                  </a:lnTo>
                  <a:lnTo>
                    <a:pt x="281" y="152"/>
                  </a:lnTo>
                  <a:lnTo>
                    <a:pt x="281" y="152"/>
                  </a:lnTo>
                  <a:lnTo>
                    <a:pt x="281" y="154"/>
                  </a:lnTo>
                  <a:lnTo>
                    <a:pt x="279" y="154"/>
                  </a:lnTo>
                  <a:lnTo>
                    <a:pt x="279" y="154"/>
                  </a:lnTo>
                  <a:lnTo>
                    <a:pt x="278" y="154"/>
                  </a:lnTo>
                  <a:lnTo>
                    <a:pt x="276" y="152"/>
                  </a:lnTo>
                  <a:lnTo>
                    <a:pt x="274" y="151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1" y="145"/>
                  </a:lnTo>
                  <a:lnTo>
                    <a:pt x="271" y="145"/>
                  </a:lnTo>
                  <a:lnTo>
                    <a:pt x="268" y="143"/>
                  </a:lnTo>
                  <a:lnTo>
                    <a:pt x="270" y="141"/>
                  </a:lnTo>
                  <a:lnTo>
                    <a:pt x="270" y="140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5" y="131"/>
                  </a:lnTo>
                  <a:lnTo>
                    <a:pt x="265" y="131"/>
                  </a:lnTo>
                  <a:lnTo>
                    <a:pt x="261" y="126"/>
                  </a:lnTo>
                  <a:lnTo>
                    <a:pt x="258" y="125"/>
                  </a:lnTo>
                  <a:lnTo>
                    <a:pt x="256" y="126"/>
                  </a:lnTo>
                  <a:lnTo>
                    <a:pt x="253" y="128"/>
                  </a:lnTo>
                  <a:lnTo>
                    <a:pt x="250" y="134"/>
                  </a:lnTo>
                  <a:lnTo>
                    <a:pt x="248" y="135"/>
                  </a:lnTo>
                  <a:lnTo>
                    <a:pt x="247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8"/>
                  </a:lnTo>
                  <a:lnTo>
                    <a:pt x="245" y="138"/>
                  </a:lnTo>
                  <a:lnTo>
                    <a:pt x="245" y="140"/>
                  </a:lnTo>
                  <a:lnTo>
                    <a:pt x="244" y="138"/>
                  </a:lnTo>
                  <a:lnTo>
                    <a:pt x="244" y="138"/>
                  </a:lnTo>
                  <a:lnTo>
                    <a:pt x="244" y="140"/>
                  </a:lnTo>
                  <a:lnTo>
                    <a:pt x="247" y="141"/>
                  </a:lnTo>
                  <a:lnTo>
                    <a:pt x="245" y="143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48" y="149"/>
                  </a:lnTo>
                  <a:lnTo>
                    <a:pt x="247" y="151"/>
                  </a:lnTo>
                  <a:lnTo>
                    <a:pt x="242" y="151"/>
                  </a:lnTo>
                  <a:lnTo>
                    <a:pt x="242" y="152"/>
                  </a:lnTo>
                  <a:lnTo>
                    <a:pt x="241" y="152"/>
                  </a:lnTo>
                  <a:lnTo>
                    <a:pt x="241" y="154"/>
                  </a:lnTo>
                  <a:lnTo>
                    <a:pt x="241" y="155"/>
                  </a:lnTo>
                  <a:lnTo>
                    <a:pt x="241" y="155"/>
                  </a:lnTo>
                  <a:lnTo>
                    <a:pt x="241" y="155"/>
                  </a:lnTo>
                  <a:lnTo>
                    <a:pt x="241" y="157"/>
                  </a:lnTo>
                  <a:lnTo>
                    <a:pt x="239" y="157"/>
                  </a:lnTo>
                  <a:lnTo>
                    <a:pt x="241" y="158"/>
                  </a:lnTo>
                  <a:lnTo>
                    <a:pt x="241" y="160"/>
                  </a:lnTo>
                  <a:lnTo>
                    <a:pt x="239" y="161"/>
                  </a:lnTo>
                  <a:lnTo>
                    <a:pt x="239" y="161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8" y="160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60"/>
                  </a:lnTo>
                  <a:lnTo>
                    <a:pt x="236" y="163"/>
                  </a:lnTo>
                  <a:lnTo>
                    <a:pt x="236" y="163"/>
                  </a:lnTo>
                  <a:lnTo>
                    <a:pt x="234" y="163"/>
                  </a:lnTo>
                  <a:lnTo>
                    <a:pt x="231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7" y="158"/>
                  </a:lnTo>
                  <a:lnTo>
                    <a:pt x="224" y="161"/>
                  </a:lnTo>
                  <a:lnTo>
                    <a:pt x="222" y="161"/>
                  </a:lnTo>
                  <a:lnTo>
                    <a:pt x="214" y="160"/>
                  </a:lnTo>
                  <a:lnTo>
                    <a:pt x="213" y="160"/>
                  </a:lnTo>
                  <a:lnTo>
                    <a:pt x="213" y="158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1" y="152"/>
                  </a:lnTo>
                  <a:lnTo>
                    <a:pt x="197" y="152"/>
                  </a:lnTo>
                  <a:lnTo>
                    <a:pt x="196" y="151"/>
                  </a:lnTo>
                  <a:lnTo>
                    <a:pt x="194" y="149"/>
                  </a:lnTo>
                  <a:lnTo>
                    <a:pt x="194" y="143"/>
                  </a:lnTo>
                  <a:lnTo>
                    <a:pt x="194" y="141"/>
                  </a:lnTo>
                  <a:lnTo>
                    <a:pt x="193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8" y="140"/>
                  </a:lnTo>
                  <a:lnTo>
                    <a:pt x="187" y="138"/>
                  </a:lnTo>
                  <a:lnTo>
                    <a:pt x="187" y="137"/>
                  </a:lnTo>
                  <a:lnTo>
                    <a:pt x="185" y="132"/>
                  </a:lnTo>
                  <a:lnTo>
                    <a:pt x="182" y="132"/>
                  </a:lnTo>
                  <a:lnTo>
                    <a:pt x="181" y="131"/>
                  </a:lnTo>
                  <a:lnTo>
                    <a:pt x="179" y="129"/>
                  </a:lnTo>
                  <a:lnTo>
                    <a:pt x="176" y="125"/>
                  </a:lnTo>
                  <a:lnTo>
                    <a:pt x="174" y="123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20"/>
                  </a:lnTo>
                  <a:lnTo>
                    <a:pt x="173" y="118"/>
                  </a:lnTo>
                  <a:lnTo>
                    <a:pt x="173" y="118"/>
                  </a:lnTo>
                  <a:lnTo>
                    <a:pt x="174" y="118"/>
                  </a:lnTo>
                  <a:lnTo>
                    <a:pt x="177" y="117"/>
                  </a:lnTo>
                  <a:lnTo>
                    <a:pt x="179" y="115"/>
                  </a:lnTo>
                  <a:lnTo>
                    <a:pt x="181" y="115"/>
                  </a:lnTo>
                  <a:lnTo>
                    <a:pt x="181" y="114"/>
                  </a:lnTo>
                  <a:lnTo>
                    <a:pt x="182" y="112"/>
                  </a:lnTo>
                  <a:lnTo>
                    <a:pt x="184" y="111"/>
                  </a:lnTo>
                  <a:lnTo>
                    <a:pt x="185" y="109"/>
                  </a:lnTo>
                  <a:lnTo>
                    <a:pt x="190" y="109"/>
                  </a:lnTo>
                  <a:lnTo>
                    <a:pt x="193" y="111"/>
                  </a:lnTo>
                  <a:lnTo>
                    <a:pt x="196" y="109"/>
                  </a:lnTo>
                  <a:lnTo>
                    <a:pt x="204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4" y="100"/>
                  </a:lnTo>
                  <a:lnTo>
                    <a:pt x="202" y="98"/>
                  </a:lnTo>
                  <a:lnTo>
                    <a:pt x="201" y="97"/>
                  </a:lnTo>
                  <a:lnTo>
                    <a:pt x="199" y="97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196" y="97"/>
                  </a:lnTo>
                  <a:lnTo>
                    <a:pt x="196" y="97"/>
                  </a:lnTo>
                  <a:lnTo>
                    <a:pt x="194" y="95"/>
                  </a:lnTo>
                  <a:lnTo>
                    <a:pt x="194" y="95"/>
                  </a:lnTo>
                  <a:lnTo>
                    <a:pt x="193" y="94"/>
                  </a:lnTo>
                  <a:lnTo>
                    <a:pt x="191" y="94"/>
                  </a:lnTo>
                  <a:lnTo>
                    <a:pt x="191" y="92"/>
                  </a:lnTo>
                  <a:lnTo>
                    <a:pt x="191" y="91"/>
                  </a:lnTo>
                  <a:lnTo>
                    <a:pt x="191" y="91"/>
                  </a:lnTo>
                  <a:lnTo>
                    <a:pt x="190" y="89"/>
                  </a:lnTo>
                  <a:lnTo>
                    <a:pt x="194" y="88"/>
                  </a:lnTo>
                  <a:lnTo>
                    <a:pt x="196" y="84"/>
                  </a:lnTo>
                  <a:lnTo>
                    <a:pt x="197" y="84"/>
                  </a:lnTo>
                  <a:lnTo>
                    <a:pt x="199" y="86"/>
                  </a:lnTo>
                  <a:lnTo>
                    <a:pt x="202" y="88"/>
                  </a:lnTo>
                  <a:lnTo>
                    <a:pt x="205" y="88"/>
                  </a:lnTo>
                  <a:lnTo>
                    <a:pt x="207" y="86"/>
                  </a:lnTo>
                  <a:lnTo>
                    <a:pt x="210" y="83"/>
                  </a:lnTo>
                  <a:lnTo>
                    <a:pt x="211" y="83"/>
                  </a:lnTo>
                  <a:lnTo>
                    <a:pt x="214" y="83"/>
                  </a:lnTo>
                  <a:lnTo>
                    <a:pt x="216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19" y="78"/>
                  </a:lnTo>
                  <a:lnTo>
                    <a:pt x="219" y="77"/>
                  </a:lnTo>
                  <a:lnTo>
                    <a:pt x="224" y="69"/>
                  </a:lnTo>
                  <a:lnTo>
                    <a:pt x="225" y="68"/>
                  </a:lnTo>
                  <a:lnTo>
                    <a:pt x="227" y="64"/>
                  </a:lnTo>
                  <a:lnTo>
                    <a:pt x="227" y="63"/>
                  </a:lnTo>
                  <a:lnTo>
                    <a:pt x="227" y="60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30" y="55"/>
                  </a:lnTo>
                  <a:lnTo>
                    <a:pt x="228" y="52"/>
                  </a:lnTo>
                  <a:lnTo>
                    <a:pt x="228" y="51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30" y="49"/>
                  </a:lnTo>
                  <a:lnTo>
                    <a:pt x="231" y="46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8" y="44"/>
                  </a:lnTo>
                  <a:lnTo>
                    <a:pt x="239" y="43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41" y="41"/>
                  </a:lnTo>
                  <a:lnTo>
                    <a:pt x="241" y="40"/>
                  </a:lnTo>
                  <a:lnTo>
                    <a:pt x="242" y="38"/>
                  </a:lnTo>
                  <a:lnTo>
                    <a:pt x="244" y="35"/>
                  </a:lnTo>
                  <a:lnTo>
                    <a:pt x="247" y="31"/>
                  </a:lnTo>
                  <a:lnTo>
                    <a:pt x="248" y="31"/>
                  </a:lnTo>
                  <a:lnTo>
                    <a:pt x="250" y="29"/>
                  </a:lnTo>
                  <a:lnTo>
                    <a:pt x="251" y="29"/>
                  </a:lnTo>
                  <a:lnTo>
                    <a:pt x="254" y="26"/>
                  </a:lnTo>
                  <a:lnTo>
                    <a:pt x="258" y="24"/>
                  </a:lnTo>
                  <a:lnTo>
                    <a:pt x="259" y="23"/>
                  </a:lnTo>
                  <a:lnTo>
                    <a:pt x="262" y="23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2" y="17"/>
                  </a:lnTo>
                  <a:lnTo>
                    <a:pt x="261" y="17"/>
                  </a:lnTo>
                  <a:lnTo>
                    <a:pt x="259" y="17"/>
                  </a:lnTo>
                  <a:lnTo>
                    <a:pt x="256" y="15"/>
                  </a:lnTo>
                  <a:lnTo>
                    <a:pt x="253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5" y="6"/>
                  </a:lnTo>
                  <a:lnTo>
                    <a:pt x="244" y="4"/>
                  </a:lnTo>
                  <a:lnTo>
                    <a:pt x="241" y="3"/>
                  </a:lnTo>
                  <a:lnTo>
                    <a:pt x="241" y="3"/>
                  </a:lnTo>
                  <a:lnTo>
                    <a:pt x="234" y="1"/>
                  </a:lnTo>
                  <a:lnTo>
                    <a:pt x="233" y="0"/>
                  </a:lnTo>
                  <a:lnTo>
                    <a:pt x="231" y="0"/>
                  </a:lnTo>
                  <a:lnTo>
                    <a:pt x="230" y="0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3" y="3"/>
                  </a:lnTo>
                  <a:lnTo>
                    <a:pt x="233" y="6"/>
                  </a:lnTo>
                  <a:lnTo>
                    <a:pt x="236" y="9"/>
                  </a:lnTo>
                  <a:lnTo>
                    <a:pt x="241" y="12"/>
                  </a:lnTo>
                  <a:lnTo>
                    <a:pt x="239" y="14"/>
                  </a:lnTo>
                  <a:lnTo>
                    <a:pt x="238" y="14"/>
                  </a:lnTo>
                  <a:lnTo>
                    <a:pt x="236" y="14"/>
                  </a:lnTo>
                  <a:lnTo>
                    <a:pt x="234" y="12"/>
                  </a:lnTo>
                  <a:lnTo>
                    <a:pt x="234" y="12"/>
                  </a:lnTo>
                  <a:lnTo>
                    <a:pt x="236" y="12"/>
                  </a:lnTo>
                  <a:lnTo>
                    <a:pt x="234" y="9"/>
                  </a:lnTo>
                  <a:lnTo>
                    <a:pt x="233" y="9"/>
                  </a:lnTo>
                  <a:lnTo>
                    <a:pt x="231" y="9"/>
                  </a:lnTo>
                  <a:lnTo>
                    <a:pt x="230" y="12"/>
                  </a:lnTo>
                  <a:lnTo>
                    <a:pt x="228" y="12"/>
                  </a:lnTo>
                  <a:lnTo>
                    <a:pt x="227" y="12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4" y="12"/>
                  </a:lnTo>
                  <a:lnTo>
                    <a:pt x="222" y="12"/>
                  </a:lnTo>
                  <a:lnTo>
                    <a:pt x="222" y="12"/>
                  </a:lnTo>
                  <a:lnTo>
                    <a:pt x="221" y="12"/>
                  </a:lnTo>
                  <a:lnTo>
                    <a:pt x="221" y="14"/>
                  </a:lnTo>
                  <a:lnTo>
                    <a:pt x="221" y="17"/>
                  </a:lnTo>
                  <a:lnTo>
                    <a:pt x="221" y="18"/>
                  </a:lnTo>
                  <a:lnTo>
                    <a:pt x="219" y="20"/>
                  </a:lnTo>
                  <a:lnTo>
                    <a:pt x="219" y="21"/>
                  </a:lnTo>
                  <a:lnTo>
                    <a:pt x="219" y="23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6"/>
                  </a:lnTo>
                  <a:lnTo>
                    <a:pt x="225" y="31"/>
                  </a:lnTo>
                  <a:lnTo>
                    <a:pt x="225" y="31"/>
                  </a:lnTo>
                  <a:lnTo>
                    <a:pt x="225" y="34"/>
                  </a:lnTo>
                  <a:lnTo>
                    <a:pt x="224" y="37"/>
                  </a:lnTo>
                  <a:lnTo>
                    <a:pt x="224" y="37"/>
                  </a:lnTo>
                  <a:lnTo>
                    <a:pt x="224" y="38"/>
                  </a:lnTo>
                  <a:lnTo>
                    <a:pt x="225" y="38"/>
                  </a:lnTo>
                  <a:lnTo>
                    <a:pt x="225" y="40"/>
                  </a:lnTo>
                  <a:lnTo>
                    <a:pt x="225" y="43"/>
                  </a:lnTo>
                  <a:lnTo>
                    <a:pt x="225" y="44"/>
                  </a:lnTo>
                  <a:lnTo>
                    <a:pt x="224" y="44"/>
                  </a:lnTo>
                  <a:lnTo>
                    <a:pt x="222" y="44"/>
                  </a:lnTo>
                  <a:lnTo>
                    <a:pt x="221" y="46"/>
                  </a:lnTo>
                  <a:lnTo>
                    <a:pt x="219" y="48"/>
                  </a:lnTo>
                  <a:lnTo>
                    <a:pt x="219" y="48"/>
                  </a:lnTo>
                  <a:lnTo>
                    <a:pt x="211" y="54"/>
                  </a:lnTo>
                  <a:lnTo>
                    <a:pt x="210" y="55"/>
                  </a:lnTo>
                  <a:lnTo>
                    <a:pt x="208" y="55"/>
                  </a:lnTo>
                  <a:lnTo>
                    <a:pt x="208" y="55"/>
                  </a:lnTo>
                  <a:lnTo>
                    <a:pt x="210" y="54"/>
                  </a:lnTo>
                  <a:lnTo>
                    <a:pt x="213" y="51"/>
                  </a:lnTo>
                  <a:lnTo>
                    <a:pt x="216" y="48"/>
                  </a:lnTo>
                  <a:lnTo>
                    <a:pt x="218" y="46"/>
                  </a:lnTo>
                  <a:lnTo>
                    <a:pt x="218" y="44"/>
                  </a:lnTo>
                  <a:lnTo>
                    <a:pt x="216" y="43"/>
                  </a:lnTo>
                  <a:lnTo>
                    <a:pt x="211" y="44"/>
                  </a:lnTo>
                  <a:lnTo>
                    <a:pt x="211" y="43"/>
                  </a:lnTo>
                  <a:lnTo>
                    <a:pt x="216" y="40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9" y="38"/>
                  </a:lnTo>
                  <a:lnTo>
                    <a:pt x="221" y="37"/>
                  </a:lnTo>
                  <a:lnTo>
                    <a:pt x="221" y="35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9" y="31"/>
                  </a:lnTo>
                  <a:lnTo>
                    <a:pt x="218" y="29"/>
                  </a:lnTo>
                  <a:lnTo>
                    <a:pt x="218" y="28"/>
                  </a:lnTo>
                  <a:lnTo>
                    <a:pt x="218" y="26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4" y="20"/>
                  </a:lnTo>
                  <a:lnTo>
                    <a:pt x="214" y="18"/>
                  </a:lnTo>
                  <a:lnTo>
                    <a:pt x="213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1" y="14"/>
                  </a:lnTo>
                  <a:lnTo>
                    <a:pt x="210" y="14"/>
                  </a:lnTo>
                  <a:lnTo>
                    <a:pt x="210" y="14"/>
                  </a:lnTo>
                  <a:lnTo>
                    <a:pt x="207" y="17"/>
                  </a:lnTo>
                  <a:lnTo>
                    <a:pt x="205" y="17"/>
                  </a:lnTo>
                  <a:lnTo>
                    <a:pt x="202" y="17"/>
                  </a:lnTo>
                  <a:lnTo>
                    <a:pt x="202" y="17"/>
                  </a:lnTo>
                  <a:lnTo>
                    <a:pt x="201" y="21"/>
                  </a:lnTo>
                  <a:lnTo>
                    <a:pt x="201" y="23"/>
                  </a:lnTo>
                  <a:lnTo>
                    <a:pt x="202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5" y="26"/>
                  </a:lnTo>
                  <a:lnTo>
                    <a:pt x="205" y="28"/>
                  </a:lnTo>
                  <a:lnTo>
                    <a:pt x="207" y="28"/>
                  </a:lnTo>
                  <a:lnTo>
                    <a:pt x="207" y="26"/>
                  </a:lnTo>
                  <a:lnTo>
                    <a:pt x="205" y="24"/>
                  </a:lnTo>
                  <a:lnTo>
                    <a:pt x="205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8" y="23"/>
                  </a:lnTo>
                  <a:lnTo>
                    <a:pt x="208" y="24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0" y="32"/>
                  </a:lnTo>
                  <a:lnTo>
                    <a:pt x="208" y="32"/>
                  </a:lnTo>
                  <a:lnTo>
                    <a:pt x="208" y="35"/>
                  </a:lnTo>
                  <a:lnTo>
                    <a:pt x="207" y="37"/>
                  </a:lnTo>
                  <a:lnTo>
                    <a:pt x="207" y="35"/>
                  </a:lnTo>
                  <a:lnTo>
                    <a:pt x="208" y="34"/>
                  </a:lnTo>
                  <a:lnTo>
                    <a:pt x="208" y="32"/>
                  </a:lnTo>
                  <a:lnTo>
                    <a:pt x="207" y="32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7" y="28"/>
                  </a:lnTo>
                  <a:lnTo>
                    <a:pt x="205" y="28"/>
                  </a:lnTo>
                  <a:lnTo>
                    <a:pt x="204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4"/>
                  </a:lnTo>
                  <a:lnTo>
                    <a:pt x="199" y="24"/>
                  </a:lnTo>
                  <a:lnTo>
                    <a:pt x="199" y="23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197" y="18"/>
                  </a:lnTo>
                  <a:lnTo>
                    <a:pt x="196" y="20"/>
                  </a:lnTo>
                  <a:lnTo>
                    <a:pt x="194" y="21"/>
                  </a:lnTo>
                  <a:lnTo>
                    <a:pt x="196" y="24"/>
                  </a:lnTo>
                  <a:lnTo>
                    <a:pt x="197" y="28"/>
                  </a:lnTo>
                  <a:lnTo>
                    <a:pt x="197" y="29"/>
                  </a:lnTo>
                  <a:lnTo>
                    <a:pt x="196" y="31"/>
                  </a:lnTo>
                  <a:lnTo>
                    <a:pt x="196" y="32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3" y="32"/>
                  </a:lnTo>
                  <a:lnTo>
                    <a:pt x="193" y="31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4" y="29"/>
                  </a:lnTo>
                  <a:lnTo>
                    <a:pt x="196" y="28"/>
                  </a:lnTo>
                  <a:lnTo>
                    <a:pt x="194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0" y="26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5" y="28"/>
                  </a:lnTo>
                  <a:lnTo>
                    <a:pt x="185" y="26"/>
                  </a:lnTo>
                  <a:lnTo>
                    <a:pt x="188" y="24"/>
                  </a:lnTo>
                  <a:lnTo>
                    <a:pt x="188" y="23"/>
                  </a:lnTo>
                  <a:lnTo>
                    <a:pt x="187" y="21"/>
                  </a:lnTo>
                  <a:lnTo>
                    <a:pt x="185" y="21"/>
                  </a:lnTo>
                  <a:lnTo>
                    <a:pt x="184" y="23"/>
                  </a:lnTo>
                  <a:lnTo>
                    <a:pt x="184" y="26"/>
                  </a:lnTo>
                  <a:lnTo>
                    <a:pt x="182" y="26"/>
                  </a:lnTo>
                  <a:lnTo>
                    <a:pt x="181" y="28"/>
                  </a:lnTo>
                  <a:lnTo>
                    <a:pt x="176" y="29"/>
                  </a:lnTo>
                  <a:lnTo>
                    <a:pt x="174" y="32"/>
                  </a:lnTo>
                  <a:lnTo>
                    <a:pt x="173" y="34"/>
                  </a:lnTo>
                  <a:lnTo>
                    <a:pt x="173" y="34"/>
                  </a:lnTo>
                  <a:lnTo>
                    <a:pt x="173" y="32"/>
                  </a:lnTo>
                  <a:lnTo>
                    <a:pt x="173" y="31"/>
                  </a:lnTo>
                  <a:lnTo>
                    <a:pt x="174" y="31"/>
                  </a:lnTo>
                  <a:lnTo>
                    <a:pt x="174" y="29"/>
                  </a:lnTo>
                  <a:lnTo>
                    <a:pt x="173" y="29"/>
                  </a:lnTo>
                  <a:lnTo>
                    <a:pt x="171" y="31"/>
                  </a:lnTo>
                  <a:lnTo>
                    <a:pt x="170" y="31"/>
                  </a:lnTo>
                  <a:lnTo>
                    <a:pt x="165" y="29"/>
                  </a:lnTo>
                  <a:lnTo>
                    <a:pt x="164" y="29"/>
                  </a:lnTo>
                  <a:lnTo>
                    <a:pt x="164" y="31"/>
                  </a:lnTo>
                  <a:lnTo>
                    <a:pt x="162" y="34"/>
                  </a:lnTo>
                  <a:lnTo>
                    <a:pt x="162" y="35"/>
                  </a:lnTo>
                  <a:lnTo>
                    <a:pt x="161" y="37"/>
                  </a:lnTo>
                  <a:lnTo>
                    <a:pt x="162" y="38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3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57" y="44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4" y="4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51"/>
                  </a:lnTo>
                  <a:lnTo>
                    <a:pt x="154" y="54"/>
                  </a:lnTo>
                  <a:lnTo>
                    <a:pt x="156" y="55"/>
                  </a:lnTo>
                  <a:lnTo>
                    <a:pt x="157" y="57"/>
                  </a:lnTo>
                  <a:lnTo>
                    <a:pt x="156" y="58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3" y="58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60"/>
                  </a:lnTo>
                  <a:lnTo>
                    <a:pt x="153" y="63"/>
                  </a:lnTo>
                  <a:lnTo>
                    <a:pt x="154" y="64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1"/>
                  </a:lnTo>
                  <a:lnTo>
                    <a:pt x="157" y="61"/>
                  </a:lnTo>
                  <a:lnTo>
                    <a:pt x="159" y="61"/>
                  </a:lnTo>
                  <a:lnTo>
                    <a:pt x="161" y="63"/>
                  </a:lnTo>
                  <a:lnTo>
                    <a:pt x="161" y="64"/>
                  </a:lnTo>
                  <a:lnTo>
                    <a:pt x="162" y="66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6"/>
                  </a:lnTo>
                  <a:lnTo>
                    <a:pt x="156" y="69"/>
                  </a:lnTo>
                  <a:lnTo>
                    <a:pt x="157" y="69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2"/>
                  </a:lnTo>
                  <a:lnTo>
                    <a:pt x="159" y="72"/>
                  </a:lnTo>
                  <a:lnTo>
                    <a:pt x="154" y="69"/>
                  </a:lnTo>
                  <a:lnTo>
                    <a:pt x="151" y="71"/>
                  </a:lnTo>
                  <a:lnTo>
                    <a:pt x="150" y="71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7" y="71"/>
                  </a:lnTo>
                  <a:lnTo>
                    <a:pt x="147" y="72"/>
                  </a:lnTo>
                  <a:lnTo>
                    <a:pt x="145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5" y="74"/>
                  </a:lnTo>
                  <a:lnTo>
                    <a:pt x="148" y="75"/>
                  </a:lnTo>
                  <a:lnTo>
                    <a:pt x="151" y="77"/>
                  </a:lnTo>
                  <a:lnTo>
                    <a:pt x="154" y="80"/>
                  </a:lnTo>
                  <a:lnTo>
                    <a:pt x="153" y="81"/>
                  </a:lnTo>
                  <a:lnTo>
                    <a:pt x="151" y="80"/>
                  </a:lnTo>
                  <a:lnTo>
                    <a:pt x="151" y="78"/>
                  </a:lnTo>
                  <a:lnTo>
                    <a:pt x="150" y="77"/>
                  </a:lnTo>
                  <a:lnTo>
                    <a:pt x="148" y="77"/>
                  </a:lnTo>
                  <a:lnTo>
                    <a:pt x="145" y="77"/>
                  </a:lnTo>
                  <a:lnTo>
                    <a:pt x="145" y="78"/>
                  </a:lnTo>
                  <a:lnTo>
                    <a:pt x="145" y="80"/>
                  </a:lnTo>
                  <a:lnTo>
                    <a:pt x="151" y="80"/>
                  </a:lnTo>
                  <a:lnTo>
                    <a:pt x="151" y="81"/>
                  </a:lnTo>
                  <a:lnTo>
                    <a:pt x="150" y="81"/>
                  </a:lnTo>
                  <a:lnTo>
                    <a:pt x="145" y="80"/>
                  </a:lnTo>
                  <a:lnTo>
                    <a:pt x="137" y="80"/>
                  </a:lnTo>
                  <a:lnTo>
                    <a:pt x="136" y="80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7" y="88"/>
                  </a:lnTo>
                  <a:lnTo>
                    <a:pt x="125" y="89"/>
                  </a:lnTo>
                  <a:lnTo>
                    <a:pt x="125" y="89"/>
                  </a:lnTo>
                  <a:lnTo>
                    <a:pt x="127" y="91"/>
                  </a:lnTo>
                  <a:lnTo>
                    <a:pt x="127" y="91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33" y="95"/>
                  </a:lnTo>
                  <a:lnTo>
                    <a:pt x="134" y="97"/>
                  </a:lnTo>
                  <a:lnTo>
                    <a:pt x="134" y="98"/>
                  </a:lnTo>
                  <a:lnTo>
                    <a:pt x="134" y="98"/>
                  </a:lnTo>
                  <a:lnTo>
                    <a:pt x="141" y="98"/>
                  </a:lnTo>
                  <a:lnTo>
                    <a:pt x="142" y="100"/>
                  </a:lnTo>
                  <a:lnTo>
                    <a:pt x="144" y="100"/>
                  </a:lnTo>
                  <a:lnTo>
                    <a:pt x="144" y="98"/>
                  </a:lnTo>
                  <a:lnTo>
                    <a:pt x="145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0" y="100"/>
                  </a:lnTo>
                  <a:lnTo>
                    <a:pt x="150" y="100"/>
                  </a:lnTo>
                  <a:lnTo>
                    <a:pt x="151" y="101"/>
                  </a:lnTo>
                  <a:lnTo>
                    <a:pt x="151" y="100"/>
                  </a:lnTo>
                  <a:lnTo>
                    <a:pt x="151" y="98"/>
                  </a:lnTo>
                  <a:lnTo>
                    <a:pt x="153" y="95"/>
                  </a:lnTo>
                  <a:lnTo>
                    <a:pt x="154" y="95"/>
                  </a:lnTo>
                  <a:lnTo>
                    <a:pt x="154" y="98"/>
                  </a:lnTo>
                  <a:lnTo>
                    <a:pt x="154" y="98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6" y="100"/>
                  </a:lnTo>
                  <a:lnTo>
                    <a:pt x="156" y="101"/>
                  </a:lnTo>
                  <a:lnTo>
                    <a:pt x="154" y="101"/>
                  </a:lnTo>
                  <a:lnTo>
                    <a:pt x="153" y="103"/>
                  </a:lnTo>
                  <a:lnTo>
                    <a:pt x="151" y="105"/>
                  </a:lnTo>
                  <a:lnTo>
                    <a:pt x="151" y="106"/>
                  </a:lnTo>
                  <a:lnTo>
                    <a:pt x="153" y="106"/>
                  </a:lnTo>
                  <a:lnTo>
                    <a:pt x="153" y="105"/>
                  </a:lnTo>
                  <a:lnTo>
                    <a:pt x="154" y="105"/>
                  </a:lnTo>
                  <a:lnTo>
                    <a:pt x="157" y="100"/>
                  </a:lnTo>
                  <a:lnTo>
                    <a:pt x="159" y="100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8" y="97"/>
                  </a:lnTo>
                  <a:lnTo>
                    <a:pt x="173" y="97"/>
                  </a:lnTo>
                  <a:lnTo>
                    <a:pt x="174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7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3" y="100"/>
                  </a:lnTo>
                  <a:lnTo>
                    <a:pt x="173" y="100"/>
                  </a:lnTo>
                  <a:lnTo>
                    <a:pt x="171" y="98"/>
                  </a:lnTo>
                  <a:lnTo>
                    <a:pt x="173" y="101"/>
                  </a:lnTo>
                  <a:lnTo>
                    <a:pt x="168" y="105"/>
                  </a:lnTo>
                  <a:lnTo>
                    <a:pt x="168" y="108"/>
                  </a:lnTo>
                  <a:lnTo>
                    <a:pt x="165" y="111"/>
                  </a:lnTo>
                  <a:lnTo>
                    <a:pt x="165" y="112"/>
                  </a:lnTo>
                  <a:lnTo>
                    <a:pt x="167" y="112"/>
                  </a:lnTo>
                  <a:lnTo>
                    <a:pt x="170" y="112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7"/>
                  </a:lnTo>
                  <a:lnTo>
                    <a:pt x="162" y="117"/>
                  </a:lnTo>
                  <a:lnTo>
                    <a:pt x="156" y="118"/>
                  </a:lnTo>
                  <a:lnTo>
                    <a:pt x="156" y="118"/>
                  </a:lnTo>
                  <a:lnTo>
                    <a:pt x="154" y="120"/>
                  </a:lnTo>
                  <a:lnTo>
                    <a:pt x="151" y="121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18"/>
                  </a:lnTo>
                  <a:lnTo>
                    <a:pt x="151" y="118"/>
                  </a:lnTo>
                  <a:lnTo>
                    <a:pt x="150" y="117"/>
                  </a:lnTo>
                  <a:lnTo>
                    <a:pt x="150" y="120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3"/>
                  </a:lnTo>
                  <a:lnTo>
                    <a:pt x="148" y="125"/>
                  </a:lnTo>
                  <a:lnTo>
                    <a:pt x="139" y="131"/>
                  </a:lnTo>
                  <a:lnTo>
                    <a:pt x="137" y="131"/>
                  </a:lnTo>
                  <a:lnTo>
                    <a:pt x="136" y="131"/>
                  </a:lnTo>
                  <a:lnTo>
                    <a:pt x="136" y="132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6" y="135"/>
                  </a:lnTo>
                  <a:lnTo>
                    <a:pt x="144" y="135"/>
                  </a:lnTo>
                  <a:lnTo>
                    <a:pt x="145" y="135"/>
                  </a:lnTo>
                  <a:lnTo>
                    <a:pt x="147" y="137"/>
                  </a:lnTo>
                  <a:lnTo>
                    <a:pt x="147" y="137"/>
                  </a:lnTo>
                  <a:lnTo>
                    <a:pt x="145" y="138"/>
                  </a:lnTo>
                  <a:lnTo>
                    <a:pt x="144" y="137"/>
                  </a:lnTo>
                  <a:lnTo>
                    <a:pt x="142" y="137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4" y="140"/>
                  </a:lnTo>
                  <a:lnTo>
                    <a:pt x="145" y="138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50" y="143"/>
                  </a:lnTo>
                  <a:lnTo>
                    <a:pt x="145" y="141"/>
                  </a:lnTo>
                  <a:lnTo>
                    <a:pt x="144" y="141"/>
                  </a:lnTo>
                  <a:lnTo>
                    <a:pt x="144" y="143"/>
                  </a:lnTo>
                  <a:lnTo>
                    <a:pt x="142" y="143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39" y="143"/>
                  </a:lnTo>
                  <a:lnTo>
                    <a:pt x="139" y="145"/>
                  </a:lnTo>
                  <a:lnTo>
                    <a:pt x="139" y="145"/>
                  </a:lnTo>
                  <a:lnTo>
                    <a:pt x="141" y="145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5" y="151"/>
                  </a:lnTo>
                  <a:lnTo>
                    <a:pt x="144" y="152"/>
                  </a:lnTo>
                  <a:lnTo>
                    <a:pt x="142" y="152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6"/>
                  </a:lnTo>
                  <a:lnTo>
                    <a:pt x="137" y="145"/>
                  </a:lnTo>
                  <a:lnTo>
                    <a:pt x="134" y="143"/>
                  </a:lnTo>
                  <a:lnTo>
                    <a:pt x="130" y="145"/>
                  </a:lnTo>
                  <a:lnTo>
                    <a:pt x="128" y="143"/>
                  </a:lnTo>
                  <a:lnTo>
                    <a:pt x="127" y="145"/>
                  </a:lnTo>
                  <a:lnTo>
                    <a:pt x="125" y="145"/>
                  </a:lnTo>
                  <a:lnTo>
                    <a:pt x="122" y="145"/>
                  </a:lnTo>
                  <a:lnTo>
                    <a:pt x="120" y="145"/>
                  </a:lnTo>
                  <a:lnTo>
                    <a:pt x="119" y="143"/>
                  </a:lnTo>
                  <a:lnTo>
                    <a:pt x="117" y="143"/>
                  </a:lnTo>
                  <a:lnTo>
                    <a:pt x="116" y="141"/>
                  </a:lnTo>
                  <a:lnTo>
                    <a:pt x="116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0" y="140"/>
                  </a:lnTo>
                  <a:lnTo>
                    <a:pt x="107" y="141"/>
                  </a:lnTo>
                  <a:lnTo>
                    <a:pt x="105" y="143"/>
                  </a:lnTo>
                  <a:lnTo>
                    <a:pt x="105" y="146"/>
                  </a:lnTo>
                  <a:lnTo>
                    <a:pt x="104" y="149"/>
                  </a:lnTo>
                  <a:lnTo>
                    <a:pt x="102" y="151"/>
                  </a:lnTo>
                  <a:lnTo>
                    <a:pt x="100" y="151"/>
                  </a:lnTo>
                  <a:lnTo>
                    <a:pt x="100" y="154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60"/>
                  </a:lnTo>
                  <a:lnTo>
                    <a:pt x="100" y="160"/>
                  </a:lnTo>
                  <a:lnTo>
                    <a:pt x="100" y="157"/>
                  </a:lnTo>
                  <a:lnTo>
                    <a:pt x="99" y="155"/>
                  </a:lnTo>
                  <a:lnTo>
                    <a:pt x="99" y="154"/>
                  </a:lnTo>
                  <a:lnTo>
                    <a:pt x="94" y="151"/>
                  </a:lnTo>
                  <a:lnTo>
                    <a:pt x="94" y="149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4" y="146"/>
                  </a:lnTo>
                  <a:lnTo>
                    <a:pt x="94" y="145"/>
                  </a:lnTo>
                  <a:lnTo>
                    <a:pt x="94" y="145"/>
                  </a:lnTo>
                  <a:lnTo>
                    <a:pt x="94" y="143"/>
                  </a:lnTo>
                  <a:lnTo>
                    <a:pt x="94" y="143"/>
                  </a:lnTo>
                  <a:lnTo>
                    <a:pt x="94" y="141"/>
                  </a:lnTo>
                  <a:lnTo>
                    <a:pt x="94" y="141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1" y="141"/>
                  </a:lnTo>
                  <a:lnTo>
                    <a:pt x="91" y="140"/>
                  </a:lnTo>
                  <a:lnTo>
                    <a:pt x="91" y="138"/>
                  </a:lnTo>
                  <a:lnTo>
                    <a:pt x="90" y="138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4" y="137"/>
                  </a:lnTo>
                  <a:lnTo>
                    <a:pt x="74" y="137"/>
                  </a:lnTo>
                  <a:lnTo>
                    <a:pt x="73" y="137"/>
                  </a:lnTo>
                  <a:lnTo>
                    <a:pt x="71" y="138"/>
                  </a:lnTo>
                  <a:lnTo>
                    <a:pt x="71" y="138"/>
                  </a:lnTo>
                  <a:lnTo>
                    <a:pt x="57" y="137"/>
                  </a:lnTo>
                  <a:lnTo>
                    <a:pt x="56" y="137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48" y="135"/>
                  </a:lnTo>
                  <a:lnTo>
                    <a:pt x="48" y="137"/>
                  </a:lnTo>
                  <a:lnTo>
                    <a:pt x="48" y="138"/>
                  </a:lnTo>
                  <a:lnTo>
                    <a:pt x="48" y="140"/>
                  </a:lnTo>
                  <a:lnTo>
                    <a:pt x="53" y="141"/>
                  </a:lnTo>
                  <a:lnTo>
                    <a:pt x="54" y="141"/>
                  </a:lnTo>
                  <a:lnTo>
                    <a:pt x="53" y="141"/>
                  </a:lnTo>
                  <a:lnTo>
                    <a:pt x="51" y="141"/>
                  </a:lnTo>
                  <a:lnTo>
                    <a:pt x="51" y="141"/>
                  </a:lnTo>
                  <a:lnTo>
                    <a:pt x="51" y="143"/>
                  </a:lnTo>
                  <a:lnTo>
                    <a:pt x="53" y="143"/>
                  </a:lnTo>
                  <a:lnTo>
                    <a:pt x="53" y="145"/>
                  </a:lnTo>
                  <a:lnTo>
                    <a:pt x="54" y="145"/>
                  </a:lnTo>
                  <a:lnTo>
                    <a:pt x="53" y="145"/>
                  </a:lnTo>
                  <a:lnTo>
                    <a:pt x="50" y="143"/>
                  </a:lnTo>
                  <a:lnTo>
                    <a:pt x="48" y="143"/>
                  </a:lnTo>
                  <a:lnTo>
                    <a:pt x="47" y="143"/>
                  </a:lnTo>
                  <a:lnTo>
                    <a:pt x="45" y="145"/>
                  </a:lnTo>
                  <a:lnTo>
                    <a:pt x="45" y="148"/>
                  </a:lnTo>
                  <a:lnTo>
                    <a:pt x="47" y="149"/>
                  </a:lnTo>
                  <a:lnTo>
                    <a:pt x="45" y="149"/>
                  </a:lnTo>
                  <a:lnTo>
                    <a:pt x="43" y="151"/>
                  </a:lnTo>
                  <a:lnTo>
                    <a:pt x="43" y="152"/>
                  </a:lnTo>
                  <a:lnTo>
                    <a:pt x="42" y="151"/>
                  </a:lnTo>
                  <a:lnTo>
                    <a:pt x="40" y="151"/>
                  </a:lnTo>
                  <a:lnTo>
                    <a:pt x="39" y="151"/>
                  </a:lnTo>
                  <a:lnTo>
                    <a:pt x="37" y="149"/>
                  </a:lnTo>
                  <a:lnTo>
                    <a:pt x="37" y="148"/>
                  </a:lnTo>
                  <a:lnTo>
                    <a:pt x="40" y="149"/>
                  </a:lnTo>
                  <a:lnTo>
                    <a:pt x="42" y="149"/>
                  </a:lnTo>
                  <a:lnTo>
                    <a:pt x="43" y="148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3"/>
                  </a:lnTo>
                  <a:lnTo>
                    <a:pt x="43" y="145"/>
                  </a:lnTo>
                  <a:lnTo>
                    <a:pt x="43" y="145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0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7" y="141"/>
                  </a:lnTo>
                  <a:lnTo>
                    <a:pt x="37" y="141"/>
                  </a:lnTo>
                  <a:lnTo>
                    <a:pt x="37" y="140"/>
                  </a:lnTo>
                  <a:lnTo>
                    <a:pt x="37" y="140"/>
                  </a:lnTo>
                  <a:lnTo>
                    <a:pt x="36" y="138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4" y="141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0" y="145"/>
                  </a:lnTo>
                  <a:lnTo>
                    <a:pt x="30" y="146"/>
                  </a:lnTo>
                  <a:lnTo>
                    <a:pt x="30" y="148"/>
                  </a:lnTo>
                  <a:lnTo>
                    <a:pt x="28" y="148"/>
                  </a:lnTo>
                  <a:lnTo>
                    <a:pt x="28" y="149"/>
                  </a:lnTo>
                  <a:lnTo>
                    <a:pt x="30" y="149"/>
                  </a:lnTo>
                  <a:lnTo>
                    <a:pt x="31" y="149"/>
                  </a:lnTo>
                  <a:lnTo>
                    <a:pt x="31" y="151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5"/>
                  </a:lnTo>
                  <a:lnTo>
                    <a:pt x="28" y="157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5"/>
                  </a:lnTo>
                  <a:lnTo>
                    <a:pt x="28" y="166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1" y="166"/>
                  </a:lnTo>
                  <a:lnTo>
                    <a:pt x="31" y="165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58"/>
                  </a:lnTo>
                  <a:lnTo>
                    <a:pt x="30" y="158"/>
                  </a:lnTo>
                  <a:lnTo>
                    <a:pt x="30" y="157"/>
                  </a:lnTo>
                  <a:lnTo>
                    <a:pt x="31" y="157"/>
                  </a:lnTo>
                  <a:lnTo>
                    <a:pt x="33" y="157"/>
                  </a:lnTo>
                  <a:lnTo>
                    <a:pt x="33" y="157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6" y="152"/>
                  </a:lnTo>
                  <a:lnTo>
                    <a:pt x="34" y="151"/>
                  </a:lnTo>
                  <a:lnTo>
                    <a:pt x="36" y="151"/>
                  </a:lnTo>
                  <a:lnTo>
                    <a:pt x="37" y="151"/>
                  </a:lnTo>
                  <a:lnTo>
                    <a:pt x="40" y="154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9" y="155"/>
                  </a:lnTo>
                  <a:lnTo>
                    <a:pt x="37" y="155"/>
                  </a:lnTo>
                  <a:lnTo>
                    <a:pt x="40" y="158"/>
                  </a:lnTo>
                  <a:lnTo>
                    <a:pt x="42" y="160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9" y="158"/>
                  </a:lnTo>
                  <a:lnTo>
                    <a:pt x="40" y="160"/>
                  </a:lnTo>
                  <a:lnTo>
                    <a:pt x="40" y="161"/>
                  </a:lnTo>
                  <a:lnTo>
                    <a:pt x="43" y="163"/>
                  </a:lnTo>
                  <a:lnTo>
                    <a:pt x="42" y="163"/>
                  </a:lnTo>
                  <a:lnTo>
                    <a:pt x="39" y="165"/>
                  </a:lnTo>
                  <a:lnTo>
                    <a:pt x="37" y="165"/>
                  </a:lnTo>
                  <a:lnTo>
                    <a:pt x="39" y="168"/>
                  </a:lnTo>
                  <a:lnTo>
                    <a:pt x="40" y="169"/>
                  </a:lnTo>
                  <a:lnTo>
                    <a:pt x="42" y="169"/>
                  </a:lnTo>
                  <a:lnTo>
                    <a:pt x="45" y="166"/>
                  </a:lnTo>
                  <a:lnTo>
                    <a:pt x="43" y="166"/>
                  </a:lnTo>
                  <a:lnTo>
                    <a:pt x="43" y="165"/>
                  </a:lnTo>
                  <a:lnTo>
                    <a:pt x="45" y="165"/>
                  </a:lnTo>
                  <a:lnTo>
                    <a:pt x="45" y="165"/>
                  </a:lnTo>
                  <a:lnTo>
                    <a:pt x="45" y="165"/>
                  </a:lnTo>
                  <a:lnTo>
                    <a:pt x="45" y="163"/>
                  </a:lnTo>
                  <a:lnTo>
                    <a:pt x="47" y="163"/>
                  </a:lnTo>
                  <a:lnTo>
                    <a:pt x="48" y="163"/>
                  </a:lnTo>
                  <a:lnTo>
                    <a:pt x="48" y="163"/>
                  </a:lnTo>
                  <a:lnTo>
                    <a:pt x="47" y="165"/>
                  </a:lnTo>
                  <a:lnTo>
                    <a:pt x="47" y="166"/>
                  </a:lnTo>
                  <a:lnTo>
                    <a:pt x="47" y="166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7" y="169"/>
                  </a:lnTo>
                  <a:lnTo>
                    <a:pt x="45" y="169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3" y="172"/>
                  </a:lnTo>
                  <a:lnTo>
                    <a:pt x="43" y="174"/>
                  </a:lnTo>
                  <a:lnTo>
                    <a:pt x="43" y="175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8" y="178"/>
                  </a:lnTo>
                  <a:lnTo>
                    <a:pt x="48" y="178"/>
                  </a:lnTo>
                  <a:lnTo>
                    <a:pt x="47" y="178"/>
                  </a:lnTo>
                  <a:lnTo>
                    <a:pt x="48" y="182"/>
                  </a:lnTo>
                  <a:lnTo>
                    <a:pt x="48" y="183"/>
                  </a:lnTo>
                  <a:lnTo>
                    <a:pt x="50" y="183"/>
                  </a:lnTo>
                  <a:lnTo>
                    <a:pt x="50" y="183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1" y="183"/>
                  </a:lnTo>
                  <a:lnTo>
                    <a:pt x="51" y="183"/>
                  </a:lnTo>
                  <a:lnTo>
                    <a:pt x="53" y="185"/>
                  </a:lnTo>
                  <a:lnTo>
                    <a:pt x="51" y="186"/>
                  </a:lnTo>
                  <a:lnTo>
                    <a:pt x="51" y="188"/>
                  </a:lnTo>
                  <a:lnTo>
                    <a:pt x="53" y="188"/>
                  </a:lnTo>
                  <a:lnTo>
                    <a:pt x="51" y="189"/>
                  </a:lnTo>
                  <a:lnTo>
                    <a:pt x="51" y="188"/>
                  </a:lnTo>
                  <a:lnTo>
                    <a:pt x="50" y="185"/>
                  </a:lnTo>
                  <a:lnTo>
                    <a:pt x="50" y="185"/>
                  </a:lnTo>
                  <a:lnTo>
                    <a:pt x="48" y="185"/>
                  </a:lnTo>
                  <a:lnTo>
                    <a:pt x="47" y="183"/>
                  </a:lnTo>
                  <a:lnTo>
                    <a:pt x="47" y="183"/>
                  </a:lnTo>
                  <a:lnTo>
                    <a:pt x="42" y="183"/>
                  </a:lnTo>
                  <a:lnTo>
                    <a:pt x="42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8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3" y="195"/>
                  </a:lnTo>
                  <a:lnTo>
                    <a:pt x="47" y="194"/>
                  </a:lnTo>
                  <a:lnTo>
                    <a:pt x="54" y="191"/>
                  </a:lnTo>
                  <a:lnTo>
                    <a:pt x="65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8" y="194"/>
                  </a:lnTo>
                  <a:lnTo>
                    <a:pt x="67" y="194"/>
                  </a:lnTo>
                  <a:lnTo>
                    <a:pt x="68" y="195"/>
                  </a:lnTo>
                  <a:lnTo>
                    <a:pt x="68" y="195"/>
                  </a:lnTo>
                  <a:lnTo>
                    <a:pt x="67" y="197"/>
                  </a:lnTo>
                  <a:lnTo>
                    <a:pt x="65" y="198"/>
                  </a:lnTo>
                  <a:lnTo>
                    <a:pt x="67" y="198"/>
                  </a:lnTo>
                  <a:lnTo>
                    <a:pt x="67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7" y="202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3" y="205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0" y="206"/>
                  </a:lnTo>
                  <a:lnTo>
                    <a:pt x="48" y="206"/>
                  </a:lnTo>
                  <a:lnTo>
                    <a:pt x="47" y="206"/>
                  </a:lnTo>
                  <a:lnTo>
                    <a:pt x="43" y="208"/>
                  </a:lnTo>
                  <a:lnTo>
                    <a:pt x="43" y="208"/>
                  </a:lnTo>
                  <a:lnTo>
                    <a:pt x="43" y="209"/>
                  </a:lnTo>
                  <a:lnTo>
                    <a:pt x="43" y="212"/>
                  </a:lnTo>
                  <a:lnTo>
                    <a:pt x="42" y="214"/>
                  </a:lnTo>
                  <a:lnTo>
                    <a:pt x="42" y="217"/>
                  </a:lnTo>
                  <a:lnTo>
                    <a:pt x="43" y="222"/>
                  </a:lnTo>
                  <a:lnTo>
                    <a:pt x="50" y="226"/>
                  </a:lnTo>
                  <a:lnTo>
                    <a:pt x="53" y="228"/>
                  </a:lnTo>
                  <a:lnTo>
                    <a:pt x="57" y="226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3" y="228"/>
                  </a:lnTo>
                  <a:lnTo>
                    <a:pt x="50" y="228"/>
                  </a:lnTo>
                  <a:lnTo>
                    <a:pt x="48" y="226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3" y="228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3" y="228"/>
                  </a:lnTo>
                  <a:lnTo>
                    <a:pt x="34" y="229"/>
                  </a:lnTo>
                  <a:lnTo>
                    <a:pt x="39" y="232"/>
                  </a:lnTo>
                  <a:lnTo>
                    <a:pt x="37" y="234"/>
                  </a:lnTo>
                  <a:lnTo>
                    <a:pt x="36" y="235"/>
                  </a:lnTo>
                  <a:lnTo>
                    <a:pt x="36" y="235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1" y="232"/>
                  </a:lnTo>
                  <a:lnTo>
                    <a:pt x="28" y="232"/>
                  </a:lnTo>
                  <a:lnTo>
                    <a:pt x="28" y="232"/>
                  </a:lnTo>
                  <a:lnTo>
                    <a:pt x="28" y="234"/>
                  </a:lnTo>
                  <a:lnTo>
                    <a:pt x="28" y="234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3" y="234"/>
                  </a:lnTo>
                  <a:lnTo>
                    <a:pt x="20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7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8" y="242"/>
                  </a:lnTo>
                  <a:lnTo>
                    <a:pt x="31" y="243"/>
                  </a:lnTo>
                  <a:lnTo>
                    <a:pt x="34" y="243"/>
                  </a:lnTo>
                  <a:lnTo>
                    <a:pt x="36" y="243"/>
                  </a:lnTo>
                  <a:lnTo>
                    <a:pt x="34" y="245"/>
                  </a:lnTo>
                  <a:lnTo>
                    <a:pt x="33" y="245"/>
                  </a:lnTo>
                  <a:lnTo>
                    <a:pt x="31" y="243"/>
                  </a:lnTo>
                  <a:lnTo>
                    <a:pt x="30" y="243"/>
                  </a:lnTo>
                  <a:lnTo>
                    <a:pt x="30" y="245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3" y="245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30" y="248"/>
                  </a:lnTo>
                  <a:lnTo>
                    <a:pt x="27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5" y="251"/>
                  </a:lnTo>
                  <a:lnTo>
                    <a:pt x="25" y="251"/>
                  </a:lnTo>
                  <a:lnTo>
                    <a:pt x="25" y="251"/>
                  </a:lnTo>
                  <a:lnTo>
                    <a:pt x="27" y="252"/>
                  </a:lnTo>
                  <a:lnTo>
                    <a:pt x="28" y="252"/>
                  </a:lnTo>
                  <a:lnTo>
                    <a:pt x="31" y="251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4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9" y="255"/>
                  </a:lnTo>
                  <a:lnTo>
                    <a:pt x="40" y="255"/>
                  </a:lnTo>
                  <a:lnTo>
                    <a:pt x="40" y="255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3" y="249"/>
                  </a:lnTo>
                  <a:lnTo>
                    <a:pt x="43" y="249"/>
                  </a:lnTo>
                  <a:lnTo>
                    <a:pt x="43" y="251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7" y="249"/>
                  </a:lnTo>
                  <a:lnTo>
                    <a:pt x="47" y="249"/>
                  </a:lnTo>
                  <a:lnTo>
                    <a:pt x="48" y="249"/>
                  </a:lnTo>
                  <a:lnTo>
                    <a:pt x="47" y="249"/>
                  </a:lnTo>
                  <a:lnTo>
                    <a:pt x="45" y="251"/>
                  </a:lnTo>
                  <a:lnTo>
                    <a:pt x="45" y="252"/>
                  </a:lnTo>
                  <a:lnTo>
                    <a:pt x="45" y="254"/>
                  </a:lnTo>
                  <a:lnTo>
                    <a:pt x="47" y="254"/>
                  </a:lnTo>
                  <a:lnTo>
                    <a:pt x="48" y="252"/>
                  </a:lnTo>
                  <a:lnTo>
                    <a:pt x="48" y="252"/>
                  </a:lnTo>
                  <a:lnTo>
                    <a:pt x="50" y="251"/>
                  </a:lnTo>
                  <a:lnTo>
                    <a:pt x="50" y="251"/>
                  </a:lnTo>
                  <a:lnTo>
                    <a:pt x="51" y="251"/>
                  </a:lnTo>
                  <a:lnTo>
                    <a:pt x="51" y="251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3" y="252"/>
                  </a:lnTo>
                  <a:lnTo>
                    <a:pt x="53" y="254"/>
                  </a:lnTo>
                  <a:lnTo>
                    <a:pt x="51" y="255"/>
                  </a:lnTo>
                  <a:lnTo>
                    <a:pt x="48" y="257"/>
                  </a:lnTo>
                  <a:lnTo>
                    <a:pt x="47" y="257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3" y="260"/>
                  </a:lnTo>
                  <a:lnTo>
                    <a:pt x="43" y="262"/>
                  </a:lnTo>
                  <a:lnTo>
                    <a:pt x="43" y="263"/>
                  </a:lnTo>
                  <a:lnTo>
                    <a:pt x="45" y="263"/>
                  </a:lnTo>
                  <a:lnTo>
                    <a:pt x="48" y="263"/>
                  </a:lnTo>
                  <a:lnTo>
                    <a:pt x="50" y="263"/>
                  </a:lnTo>
                  <a:lnTo>
                    <a:pt x="51" y="265"/>
                  </a:lnTo>
                  <a:lnTo>
                    <a:pt x="51" y="265"/>
                  </a:lnTo>
                  <a:lnTo>
                    <a:pt x="56" y="263"/>
                  </a:lnTo>
                  <a:lnTo>
                    <a:pt x="56" y="262"/>
                  </a:lnTo>
                  <a:lnTo>
                    <a:pt x="59" y="259"/>
                  </a:lnTo>
                  <a:lnTo>
                    <a:pt x="59" y="257"/>
                  </a:lnTo>
                  <a:lnTo>
                    <a:pt x="59" y="255"/>
                  </a:lnTo>
                  <a:lnTo>
                    <a:pt x="60" y="255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3" y="255"/>
                  </a:lnTo>
                  <a:lnTo>
                    <a:pt x="63" y="255"/>
                  </a:lnTo>
                  <a:lnTo>
                    <a:pt x="62" y="259"/>
                  </a:lnTo>
                  <a:lnTo>
                    <a:pt x="62" y="260"/>
                  </a:lnTo>
                  <a:lnTo>
                    <a:pt x="63" y="262"/>
                  </a:lnTo>
                  <a:lnTo>
                    <a:pt x="65" y="262"/>
                  </a:lnTo>
                  <a:lnTo>
                    <a:pt x="65" y="259"/>
                  </a:lnTo>
                  <a:lnTo>
                    <a:pt x="65" y="257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7" y="254"/>
                  </a:lnTo>
                  <a:lnTo>
                    <a:pt x="70" y="255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5" y="263"/>
                  </a:lnTo>
                  <a:lnTo>
                    <a:pt x="65" y="268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5" y="274"/>
                  </a:lnTo>
                  <a:lnTo>
                    <a:pt x="67" y="272"/>
                  </a:lnTo>
                  <a:lnTo>
                    <a:pt x="67" y="271"/>
                  </a:lnTo>
                  <a:lnTo>
                    <a:pt x="67" y="269"/>
                  </a:lnTo>
                  <a:lnTo>
                    <a:pt x="68" y="266"/>
                  </a:lnTo>
                  <a:lnTo>
                    <a:pt x="70" y="266"/>
                  </a:lnTo>
                  <a:lnTo>
                    <a:pt x="70" y="268"/>
                  </a:lnTo>
                  <a:lnTo>
                    <a:pt x="68" y="271"/>
                  </a:lnTo>
                  <a:lnTo>
                    <a:pt x="70" y="271"/>
                  </a:lnTo>
                  <a:lnTo>
                    <a:pt x="70" y="272"/>
                  </a:lnTo>
                  <a:lnTo>
                    <a:pt x="71" y="274"/>
                  </a:lnTo>
                  <a:lnTo>
                    <a:pt x="73" y="274"/>
                  </a:lnTo>
                  <a:lnTo>
                    <a:pt x="76" y="274"/>
                  </a:lnTo>
                  <a:lnTo>
                    <a:pt x="77" y="274"/>
                  </a:lnTo>
                  <a:lnTo>
                    <a:pt x="79" y="272"/>
                  </a:lnTo>
                  <a:lnTo>
                    <a:pt x="80" y="272"/>
                  </a:lnTo>
                  <a:lnTo>
                    <a:pt x="105" y="269"/>
                  </a:lnTo>
                  <a:lnTo>
                    <a:pt x="108" y="269"/>
                  </a:lnTo>
                  <a:lnTo>
                    <a:pt x="110" y="268"/>
                  </a:lnTo>
                  <a:lnTo>
                    <a:pt x="114" y="269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1" y="271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3" y="272"/>
                  </a:lnTo>
                  <a:lnTo>
                    <a:pt x="113" y="274"/>
                  </a:lnTo>
                  <a:lnTo>
                    <a:pt x="111" y="274"/>
                  </a:lnTo>
                  <a:lnTo>
                    <a:pt x="108" y="274"/>
                  </a:lnTo>
                  <a:lnTo>
                    <a:pt x="107" y="275"/>
                  </a:lnTo>
                  <a:lnTo>
                    <a:pt x="108" y="275"/>
                  </a:lnTo>
                  <a:lnTo>
                    <a:pt x="116" y="275"/>
                  </a:lnTo>
                  <a:lnTo>
                    <a:pt x="116" y="275"/>
                  </a:lnTo>
                  <a:lnTo>
                    <a:pt x="117" y="275"/>
                  </a:lnTo>
                  <a:lnTo>
                    <a:pt x="119" y="275"/>
                  </a:lnTo>
                  <a:lnTo>
                    <a:pt x="116" y="277"/>
                  </a:lnTo>
                  <a:lnTo>
                    <a:pt x="114" y="279"/>
                  </a:lnTo>
                  <a:lnTo>
                    <a:pt x="114" y="280"/>
                  </a:lnTo>
                  <a:lnTo>
                    <a:pt x="114" y="282"/>
                  </a:lnTo>
                  <a:lnTo>
                    <a:pt x="114" y="282"/>
                  </a:lnTo>
                  <a:lnTo>
                    <a:pt x="116" y="285"/>
                  </a:lnTo>
                  <a:lnTo>
                    <a:pt x="114" y="285"/>
                  </a:lnTo>
                  <a:lnTo>
                    <a:pt x="113" y="283"/>
                  </a:lnTo>
                  <a:lnTo>
                    <a:pt x="113" y="283"/>
                  </a:lnTo>
                  <a:lnTo>
                    <a:pt x="111" y="282"/>
                  </a:lnTo>
                  <a:lnTo>
                    <a:pt x="113" y="280"/>
                  </a:lnTo>
                  <a:lnTo>
                    <a:pt x="111" y="280"/>
                  </a:lnTo>
                  <a:lnTo>
                    <a:pt x="111" y="282"/>
                  </a:lnTo>
                  <a:lnTo>
                    <a:pt x="110" y="282"/>
                  </a:lnTo>
                  <a:lnTo>
                    <a:pt x="108" y="282"/>
                  </a:lnTo>
                  <a:lnTo>
                    <a:pt x="107" y="282"/>
                  </a:lnTo>
                  <a:lnTo>
                    <a:pt x="107" y="282"/>
                  </a:lnTo>
                  <a:lnTo>
                    <a:pt x="110" y="283"/>
                  </a:lnTo>
                  <a:lnTo>
                    <a:pt x="110" y="285"/>
                  </a:lnTo>
                  <a:lnTo>
                    <a:pt x="108" y="285"/>
                  </a:lnTo>
                  <a:lnTo>
                    <a:pt x="107" y="283"/>
                  </a:lnTo>
                  <a:lnTo>
                    <a:pt x="105" y="282"/>
                  </a:lnTo>
                  <a:lnTo>
                    <a:pt x="100" y="283"/>
                  </a:lnTo>
                  <a:lnTo>
                    <a:pt x="100" y="283"/>
                  </a:lnTo>
                  <a:lnTo>
                    <a:pt x="104" y="285"/>
                  </a:lnTo>
                  <a:lnTo>
                    <a:pt x="105" y="286"/>
                  </a:lnTo>
                  <a:lnTo>
                    <a:pt x="105" y="288"/>
                  </a:lnTo>
                  <a:lnTo>
                    <a:pt x="104" y="286"/>
                  </a:lnTo>
                  <a:lnTo>
                    <a:pt x="102" y="288"/>
                  </a:lnTo>
                  <a:lnTo>
                    <a:pt x="100" y="288"/>
                  </a:lnTo>
                  <a:lnTo>
                    <a:pt x="99" y="289"/>
                  </a:lnTo>
                  <a:lnTo>
                    <a:pt x="97" y="288"/>
                  </a:lnTo>
                  <a:lnTo>
                    <a:pt x="94" y="285"/>
                  </a:lnTo>
                  <a:lnTo>
                    <a:pt x="91" y="283"/>
                  </a:lnTo>
                  <a:lnTo>
                    <a:pt x="90" y="285"/>
                  </a:lnTo>
                  <a:lnTo>
                    <a:pt x="90" y="286"/>
                  </a:lnTo>
                  <a:lnTo>
                    <a:pt x="88" y="289"/>
                  </a:lnTo>
                  <a:lnTo>
                    <a:pt x="87" y="291"/>
                  </a:lnTo>
                  <a:lnTo>
                    <a:pt x="85" y="292"/>
                  </a:lnTo>
                  <a:lnTo>
                    <a:pt x="80" y="300"/>
                  </a:lnTo>
                  <a:lnTo>
                    <a:pt x="82" y="302"/>
                  </a:lnTo>
                  <a:lnTo>
                    <a:pt x="80" y="302"/>
                  </a:lnTo>
                  <a:lnTo>
                    <a:pt x="80" y="303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4" y="309"/>
                  </a:lnTo>
                  <a:lnTo>
                    <a:pt x="77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2"/>
                  </a:lnTo>
                  <a:lnTo>
                    <a:pt x="79" y="317"/>
                  </a:lnTo>
                  <a:lnTo>
                    <a:pt x="79" y="319"/>
                  </a:lnTo>
                  <a:lnTo>
                    <a:pt x="79" y="320"/>
                  </a:lnTo>
                  <a:lnTo>
                    <a:pt x="77" y="320"/>
                  </a:lnTo>
                  <a:lnTo>
                    <a:pt x="77" y="322"/>
                  </a:lnTo>
                  <a:lnTo>
                    <a:pt x="77" y="322"/>
                  </a:lnTo>
                  <a:lnTo>
                    <a:pt x="77" y="323"/>
                  </a:lnTo>
                  <a:lnTo>
                    <a:pt x="76" y="325"/>
                  </a:lnTo>
                  <a:lnTo>
                    <a:pt x="76" y="326"/>
                  </a:lnTo>
                  <a:lnTo>
                    <a:pt x="74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9"/>
                  </a:lnTo>
                  <a:lnTo>
                    <a:pt x="74" y="329"/>
                  </a:lnTo>
                  <a:lnTo>
                    <a:pt x="74" y="329"/>
                  </a:lnTo>
                  <a:lnTo>
                    <a:pt x="74" y="331"/>
                  </a:lnTo>
                  <a:lnTo>
                    <a:pt x="74" y="332"/>
                  </a:lnTo>
                  <a:lnTo>
                    <a:pt x="73" y="332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4"/>
                  </a:lnTo>
                  <a:lnTo>
                    <a:pt x="70" y="334"/>
                  </a:lnTo>
                  <a:lnTo>
                    <a:pt x="67" y="334"/>
                  </a:lnTo>
                  <a:lnTo>
                    <a:pt x="67" y="334"/>
                  </a:lnTo>
                  <a:lnTo>
                    <a:pt x="65" y="336"/>
                  </a:lnTo>
                  <a:lnTo>
                    <a:pt x="65" y="336"/>
                  </a:lnTo>
                  <a:lnTo>
                    <a:pt x="63" y="336"/>
                  </a:lnTo>
                  <a:lnTo>
                    <a:pt x="63" y="337"/>
                  </a:lnTo>
                  <a:lnTo>
                    <a:pt x="65" y="337"/>
                  </a:lnTo>
                  <a:lnTo>
                    <a:pt x="50" y="352"/>
                  </a:lnTo>
                  <a:lnTo>
                    <a:pt x="45" y="354"/>
                  </a:lnTo>
                  <a:lnTo>
                    <a:pt x="42" y="356"/>
                  </a:lnTo>
                  <a:lnTo>
                    <a:pt x="40" y="356"/>
                  </a:lnTo>
                  <a:lnTo>
                    <a:pt x="40" y="357"/>
                  </a:lnTo>
                  <a:lnTo>
                    <a:pt x="54" y="356"/>
                  </a:lnTo>
                  <a:lnTo>
                    <a:pt x="56" y="354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59" y="352"/>
                  </a:lnTo>
                  <a:lnTo>
                    <a:pt x="59" y="351"/>
                  </a:lnTo>
                  <a:lnTo>
                    <a:pt x="60" y="351"/>
                  </a:lnTo>
                  <a:lnTo>
                    <a:pt x="63" y="349"/>
                  </a:lnTo>
                  <a:lnTo>
                    <a:pt x="70" y="346"/>
                  </a:lnTo>
                  <a:lnTo>
                    <a:pt x="70" y="346"/>
                  </a:lnTo>
                  <a:lnTo>
                    <a:pt x="68" y="345"/>
                  </a:lnTo>
                  <a:lnTo>
                    <a:pt x="68" y="345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1" y="345"/>
                  </a:lnTo>
                  <a:lnTo>
                    <a:pt x="71" y="346"/>
                  </a:lnTo>
                  <a:lnTo>
                    <a:pt x="71" y="348"/>
                  </a:lnTo>
                  <a:lnTo>
                    <a:pt x="74" y="348"/>
                  </a:lnTo>
                  <a:lnTo>
                    <a:pt x="74" y="348"/>
                  </a:lnTo>
                  <a:lnTo>
                    <a:pt x="76" y="349"/>
                  </a:lnTo>
                  <a:lnTo>
                    <a:pt x="77" y="349"/>
                  </a:lnTo>
                  <a:lnTo>
                    <a:pt x="79" y="351"/>
                  </a:lnTo>
                  <a:lnTo>
                    <a:pt x="82" y="349"/>
                  </a:lnTo>
                  <a:lnTo>
                    <a:pt x="88" y="348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88" y="349"/>
                  </a:lnTo>
                  <a:lnTo>
                    <a:pt x="87" y="351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88" y="352"/>
                  </a:lnTo>
                  <a:lnTo>
                    <a:pt x="88" y="352"/>
                  </a:lnTo>
                  <a:lnTo>
                    <a:pt x="90" y="352"/>
                  </a:lnTo>
                  <a:lnTo>
                    <a:pt x="90" y="352"/>
                  </a:lnTo>
                  <a:lnTo>
                    <a:pt x="91" y="351"/>
                  </a:lnTo>
                  <a:lnTo>
                    <a:pt x="91" y="351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107" y="340"/>
                  </a:lnTo>
                  <a:lnTo>
                    <a:pt x="108" y="336"/>
                  </a:lnTo>
                  <a:lnTo>
                    <a:pt x="108" y="334"/>
                  </a:lnTo>
                  <a:lnTo>
                    <a:pt x="111" y="332"/>
                  </a:lnTo>
                  <a:lnTo>
                    <a:pt x="113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4" y="334"/>
                  </a:lnTo>
                  <a:lnTo>
                    <a:pt x="114" y="336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4" y="339"/>
                  </a:lnTo>
                  <a:lnTo>
                    <a:pt x="113" y="340"/>
                  </a:lnTo>
                  <a:lnTo>
                    <a:pt x="113" y="340"/>
                  </a:lnTo>
                  <a:lnTo>
                    <a:pt x="114" y="340"/>
                  </a:lnTo>
                  <a:lnTo>
                    <a:pt x="116" y="342"/>
                  </a:lnTo>
                  <a:lnTo>
                    <a:pt x="120" y="340"/>
                  </a:lnTo>
                  <a:lnTo>
                    <a:pt x="124" y="340"/>
                  </a:lnTo>
                  <a:lnTo>
                    <a:pt x="128" y="343"/>
                  </a:lnTo>
                  <a:lnTo>
                    <a:pt x="130" y="343"/>
                  </a:lnTo>
                  <a:lnTo>
                    <a:pt x="127" y="343"/>
                  </a:lnTo>
                  <a:lnTo>
                    <a:pt x="114" y="345"/>
                  </a:lnTo>
                  <a:lnTo>
                    <a:pt x="113" y="346"/>
                  </a:lnTo>
                  <a:lnTo>
                    <a:pt x="113" y="346"/>
                  </a:lnTo>
                  <a:lnTo>
                    <a:pt x="111" y="348"/>
                  </a:lnTo>
                  <a:lnTo>
                    <a:pt x="111" y="348"/>
                  </a:lnTo>
                  <a:lnTo>
                    <a:pt x="110" y="349"/>
                  </a:lnTo>
                  <a:lnTo>
                    <a:pt x="108" y="349"/>
                  </a:lnTo>
                  <a:lnTo>
                    <a:pt x="107" y="349"/>
                  </a:lnTo>
                  <a:lnTo>
                    <a:pt x="107" y="348"/>
                  </a:lnTo>
                  <a:lnTo>
                    <a:pt x="105" y="349"/>
                  </a:lnTo>
                  <a:lnTo>
                    <a:pt x="96" y="351"/>
                  </a:lnTo>
                  <a:lnTo>
                    <a:pt x="96" y="352"/>
                  </a:lnTo>
                  <a:lnTo>
                    <a:pt x="94" y="354"/>
                  </a:lnTo>
                  <a:lnTo>
                    <a:pt x="93" y="354"/>
                  </a:lnTo>
                  <a:lnTo>
                    <a:pt x="90" y="354"/>
                  </a:lnTo>
                  <a:lnTo>
                    <a:pt x="85" y="354"/>
                  </a:lnTo>
                  <a:lnTo>
                    <a:pt x="85" y="356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77" y="354"/>
                  </a:lnTo>
                  <a:lnTo>
                    <a:pt x="77" y="354"/>
                  </a:lnTo>
                  <a:lnTo>
                    <a:pt x="77" y="356"/>
                  </a:lnTo>
                  <a:lnTo>
                    <a:pt x="76" y="356"/>
                  </a:lnTo>
                  <a:lnTo>
                    <a:pt x="76" y="357"/>
                  </a:lnTo>
                  <a:lnTo>
                    <a:pt x="74" y="356"/>
                  </a:lnTo>
                  <a:lnTo>
                    <a:pt x="74" y="356"/>
                  </a:lnTo>
                  <a:lnTo>
                    <a:pt x="74" y="356"/>
                  </a:lnTo>
                  <a:lnTo>
                    <a:pt x="68" y="356"/>
                  </a:lnTo>
                  <a:lnTo>
                    <a:pt x="65" y="354"/>
                  </a:lnTo>
                  <a:lnTo>
                    <a:pt x="63" y="354"/>
                  </a:lnTo>
                  <a:lnTo>
                    <a:pt x="63" y="356"/>
                  </a:lnTo>
                  <a:lnTo>
                    <a:pt x="63" y="356"/>
                  </a:lnTo>
                  <a:lnTo>
                    <a:pt x="62" y="356"/>
                  </a:lnTo>
                  <a:lnTo>
                    <a:pt x="60" y="357"/>
                  </a:lnTo>
                  <a:lnTo>
                    <a:pt x="60" y="359"/>
                  </a:lnTo>
                  <a:lnTo>
                    <a:pt x="60" y="360"/>
                  </a:lnTo>
                  <a:lnTo>
                    <a:pt x="60" y="360"/>
                  </a:lnTo>
                  <a:lnTo>
                    <a:pt x="60" y="362"/>
                  </a:lnTo>
                  <a:lnTo>
                    <a:pt x="60" y="362"/>
                  </a:lnTo>
                  <a:lnTo>
                    <a:pt x="60" y="363"/>
                  </a:lnTo>
                  <a:lnTo>
                    <a:pt x="60" y="363"/>
                  </a:lnTo>
                  <a:lnTo>
                    <a:pt x="60" y="363"/>
                  </a:lnTo>
                  <a:lnTo>
                    <a:pt x="60" y="365"/>
                  </a:lnTo>
                  <a:lnTo>
                    <a:pt x="60" y="365"/>
                  </a:lnTo>
                  <a:lnTo>
                    <a:pt x="62" y="365"/>
                  </a:lnTo>
                  <a:lnTo>
                    <a:pt x="63" y="365"/>
                  </a:lnTo>
                  <a:lnTo>
                    <a:pt x="63" y="368"/>
                  </a:lnTo>
                  <a:lnTo>
                    <a:pt x="62" y="366"/>
                  </a:lnTo>
                  <a:lnTo>
                    <a:pt x="60" y="366"/>
                  </a:lnTo>
                  <a:lnTo>
                    <a:pt x="59" y="366"/>
                  </a:lnTo>
                  <a:lnTo>
                    <a:pt x="57" y="366"/>
                  </a:lnTo>
                  <a:lnTo>
                    <a:pt x="56" y="368"/>
                  </a:lnTo>
                  <a:lnTo>
                    <a:pt x="54" y="369"/>
                  </a:lnTo>
                  <a:lnTo>
                    <a:pt x="48" y="372"/>
                  </a:lnTo>
                  <a:lnTo>
                    <a:pt x="42" y="372"/>
                  </a:lnTo>
                  <a:lnTo>
                    <a:pt x="40" y="374"/>
                  </a:lnTo>
                  <a:lnTo>
                    <a:pt x="40" y="374"/>
                  </a:lnTo>
                  <a:lnTo>
                    <a:pt x="42" y="376"/>
                  </a:lnTo>
                  <a:lnTo>
                    <a:pt x="43" y="377"/>
                  </a:lnTo>
                  <a:lnTo>
                    <a:pt x="47" y="377"/>
                  </a:lnTo>
                  <a:lnTo>
                    <a:pt x="48" y="379"/>
                  </a:lnTo>
                  <a:lnTo>
                    <a:pt x="48" y="385"/>
                  </a:lnTo>
                  <a:lnTo>
                    <a:pt x="50" y="386"/>
                  </a:lnTo>
                  <a:lnTo>
                    <a:pt x="47" y="388"/>
                  </a:lnTo>
                  <a:lnTo>
                    <a:pt x="47" y="388"/>
                  </a:lnTo>
                  <a:lnTo>
                    <a:pt x="47" y="389"/>
                  </a:lnTo>
                  <a:lnTo>
                    <a:pt x="47" y="389"/>
                  </a:lnTo>
                  <a:lnTo>
                    <a:pt x="48" y="389"/>
                  </a:lnTo>
                  <a:lnTo>
                    <a:pt x="48" y="389"/>
                  </a:lnTo>
                  <a:lnTo>
                    <a:pt x="48" y="389"/>
                  </a:lnTo>
                  <a:lnTo>
                    <a:pt x="47" y="389"/>
                  </a:lnTo>
                  <a:lnTo>
                    <a:pt x="47" y="389"/>
                  </a:lnTo>
                  <a:lnTo>
                    <a:pt x="45" y="389"/>
                  </a:lnTo>
                  <a:lnTo>
                    <a:pt x="45" y="389"/>
                  </a:lnTo>
                  <a:lnTo>
                    <a:pt x="45" y="391"/>
                  </a:lnTo>
                  <a:lnTo>
                    <a:pt x="47" y="391"/>
                  </a:lnTo>
                  <a:lnTo>
                    <a:pt x="47" y="392"/>
                  </a:lnTo>
                  <a:lnTo>
                    <a:pt x="48" y="391"/>
                  </a:lnTo>
                  <a:lnTo>
                    <a:pt x="48" y="391"/>
                  </a:lnTo>
                  <a:lnTo>
                    <a:pt x="51" y="392"/>
                  </a:lnTo>
                  <a:lnTo>
                    <a:pt x="53" y="392"/>
                  </a:lnTo>
                  <a:lnTo>
                    <a:pt x="54" y="394"/>
                  </a:lnTo>
                  <a:lnTo>
                    <a:pt x="56" y="394"/>
                  </a:lnTo>
                  <a:lnTo>
                    <a:pt x="50" y="396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8" y="394"/>
                  </a:lnTo>
                  <a:lnTo>
                    <a:pt x="47" y="396"/>
                  </a:lnTo>
                  <a:lnTo>
                    <a:pt x="45" y="397"/>
                  </a:lnTo>
                  <a:lnTo>
                    <a:pt x="42" y="396"/>
                  </a:lnTo>
                  <a:lnTo>
                    <a:pt x="40" y="396"/>
                  </a:lnTo>
                  <a:lnTo>
                    <a:pt x="37" y="394"/>
                  </a:lnTo>
                  <a:lnTo>
                    <a:pt x="37" y="394"/>
                  </a:lnTo>
                  <a:lnTo>
                    <a:pt x="36" y="394"/>
                  </a:lnTo>
                  <a:lnTo>
                    <a:pt x="36" y="392"/>
                  </a:lnTo>
                  <a:lnTo>
                    <a:pt x="36" y="391"/>
                  </a:lnTo>
                  <a:lnTo>
                    <a:pt x="34" y="389"/>
                  </a:lnTo>
                  <a:lnTo>
                    <a:pt x="36" y="388"/>
                  </a:lnTo>
                  <a:lnTo>
                    <a:pt x="34" y="386"/>
                  </a:lnTo>
                  <a:lnTo>
                    <a:pt x="31" y="386"/>
                  </a:lnTo>
                  <a:lnTo>
                    <a:pt x="33" y="389"/>
                  </a:lnTo>
                  <a:lnTo>
                    <a:pt x="33" y="392"/>
                  </a:lnTo>
                  <a:lnTo>
                    <a:pt x="31" y="394"/>
                  </a:lnTo>
                  <a:lnTo>
                    <a:pt x="28" y="396"/>
                  </a:lnTo>
                  <a:lnTo>
                    <a:pt x="23" y="396"/>
                  </a:lnTo>
                  <a:lnTo>
                    <a:pt x="23" y="396"/>
                  </a:lnTo>
                  <a:lnTo>
                    <a:pt x="25" y="391"/>
                  </a:lnTo>
                  <a:lnTo>
                    <a:pt x="23" y="389"/>
                  </a:lnTo>
                  <a:lnTo>
                    <a:pt x="16" y="392"/>
                  </a:lnTo>
                  <a:lnTo>
                    <a:pt x="14" y="392"/>
                  </a:lnTo>
                  <a:lnTo>
                    <a:pt x="13" y="396"/>
                  </a:lnTo>
                  <a:lnTo>
                    <a:pt x="13" y="396"/>
                  </a:lnTo>
                  <a:lnTo>
                    <a:pt x="11" y="397"/>
                  </a:lnTo>
                  <a:lnTo>
                    <a:pt x="10" y="397"/>
                  </a:lnTo>
                  <a:lnTo>
                    <a:pt x="10" y="397"/>
                  </a:lnTo>
                  <a:lnTo>
                    <a:pt x="8" y="399"/>
                  </a:lnTo>
                  <a:lnTo>
                    <a:pt x="8" y="399"/>
                  </a:lnTo>
                  <a:lnTo>
                    <a:pt x="10" y="400"/>
                  </a:lnTo>
                  <a:lnTo>
                    <a:pt x="8" y="400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8" y="403"/>
                  </a:lnTo>
                  <a:lnTo>
                    <a:pt x="8" y="403"/>
                  </a:lnTo>
                  <a:lnTo>
                    <a:pt x="7" y="403"/>
                  </a:lnTo>
                  <a:lnTo>
                    <a:pt x="5" y="402"/>
                  </a:lnTo>
                  <a:lnTo>
                    <a:pt x="5" y="400"/>
                  </a:lnTo>
                  <a:lnTo>
                    <a:pt x="5" y="400"/>
                  </a:lnTo>
                  <a:lnTo>
                    <a:pt x="2" y="402"/>
                  </a:lnTo>
                  <a:lnTo>
                    <a:pt x="2" y="403"/>
                  </a:lnTo>
                  <a:lnTo>
                    <a:pt x="2" y="403"/>
                  </a:lnTo>
                  <a:lnTo>
                    <a:pt x="2" y="405"/>
                  </a:lnTo>
                  <a:lnTo>
                    <a:pt x="2" y="406"/>
                  </a:lnTo>
                  <a:lnTo>
                    <a:pt x="0" y="406"/>
                  </a:lnTo>
                  <a:lnTo>
                    <a:pt x="2" y="408"/>
                  </a:lnTo>
                  <a:lnTo>
                    <a:pt x="2" y="411"/>
                  </a:lnTo>
                  <a:lnTo>
                    <a:pt x="2" y="412"/>
                  </a:lnTo>
                  <a:lnTo>
                    <a:pt x="3" y="412"/>
                  </a:lnTo>
                  <a:lnTo>
                    <a:pt x="5" y="412"/>
                  </a:lnTo>
                  <a:lnTo>
                    <a:pt x="8" y="411"/>
                  </a:lnTo>
                  <a:lnTo>
                    <a:pt x="10" y="411"/>
                  </a:lnTo>
                  <a:lnTo>
                    <a:pt x="10" y="411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11" y="409"/>
                  </a:lnTo>
                  <a:lnTo>
                    <a:pt x="14" y="411"/>
                  </a:lnTo>
                  <a:lnTo>
                    <a:pt x="16" y="411"/>
                  </a:lnTo>
                  <a:lnTo>
                    <a:pt x="16" y="411"/>
                  </a:lnTo>
                  <a:lnTo>
                    <a:pt x="14" y="409"/>
                  </a:lnTo>
                  <a:lnTo>
                    <a:pt x="14" y="409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6" y="408"/>
                  </a:lnTo>
                  <a:lnTo>
                    <a:pt x="16" y="408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20" y="409"/>
                  </a:lnTo>
                  <a:lnTo>
                    <a:pt x="20" y="409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3" y="409"/>
                  </a:lnTo>
                  <a:lnTo>
                    <a:pt x="34" y="408"/>
                  </a:lnTo>
                  <a:lnTo>
                    <a:pt x="36" y="408"/>
                  </a:lnTo>
                  <a:lnTo>
                    <a:pt x="37" y="408"/>
                  </a:lnTo>
                  <a:lnTo>
                    <a:pt x="39" y="408"/>
                  </a:lnTo>
                  <a:lnTo>
                    <a:pt x="39" y="409"/>
                  </a:lnTo>
                  <a:lnTo>
                    <a:pt x="39" y="411"/>
                  </a:lnTo>
                  <a:lnTo>
                    <a:pt x="40" y="411"/>
                  </a:lnTo>
                  <a:lnTo>
                    <a:pt x="40" y="409"/>
                  </a:lnTo>
                  <a:lnTo>
                    <a:pt x="39" y="406"/>
                  </a:lnTo>
                  <a:lnTo>
                    <a:pt x="54" y="406"/>
                  </a:lnTo>
                  <a:lnTo>
                    <a:pt x="51" y="408"/>
                  </a:lnTo>
                  <a:lnTo>
                    <a:pt x="53" y="408"/>
                  </a:lnTo>
                  <a:lnTo>
                    <a:pt x="53" y="409"/>
                  </a:lnTo>
                  <a:lnTo>
                    <a:pt x="53" y="409"/>
                  </a:lnTo>
                  <a:lnTo>
                    <a:pt x="48" y="411"/>
                  </a:lnTo>
                  <a:lnTo>
                    <a:pt x="45" y="409"/>
                  </a:lnTo>
                  <a:lnTo>
                    <a:pt x="43" y="409"/>
                  </a:lnTo>
                  <a:lnTo>
                    <a:pt x="42" y="416"/>
                  </a:lnTo>
                  <a:lnTo>
                    <a:pt x="42" y="417"/>
                  </a:lnTo>
                  <a:lnTo>
                    <a:pt x="40" y="417"/>
                  </a:lnTo>
                  <a:lnTo>
                    <a:pt x="39" y="417"/>
                  </a:lnTo>
                  <a:lnTo>
                    <a:pt x="39" y="416"/>
                  </a:lnTo>
                  <a:lnTo>
                    <a:pt x="39" y="414"/>
                  </a:lnTo>
                  <a:lnTo>
                    <a:pt x="39" y="414"/>
                  </a:lnTo>
                  <a:lnTo>
                    <a:pt x="37" y="417"/>
                  </a:lnTo>
                  <a:lnTo>
                    <a:pt x="34" y="420"/>
                  </a:lnTo>
                  <a:lnTo>
                    <a:pt x="27" y="422"/>
                  </a:lnTo>
                  <a:lnTo>
                    <a:pt x="22" y="423"/>
                  </a:lnTo>
                  <a:lnTo>
                    <a:pt x="20" y="425"/>
                  </a:lnTo>
                  <a:lnTo>
                    <a:pt x="17" y="425"/>
                  </a:lnTo>
                  <a:lnTo>
                    <a:pt x="16" y="426"/>
                  </a:lnTo>
                  <a:lnTo>
                    <a:pt x="17" y="428"/>
                  </a:lnTo>
                  <a:lnTo>
                    <a:pt x="16" y="428"/>
                  </a:lnTo>
                  <a:lnTo>
                    <a:pt x="14" y="429"/>
                  </a:lnTo>
                  <a:lnTo>
                    <a:pt x="13" y="429"/>
                  </a:lnTo>
                  <a:lnTo>
                    <a:pt x="13" y="429"/>
                  </a:lnTo>
                  <a:lnTo>
                    <a:pt x="14" y="431"/>
                  </a:lnTo>
                  <a:lnTo>
                    <a:pt x="16" y="431"/>
                  </a:lnTo>
                  <a:lnTo>
                    <a:pt x="16" y="433"/>
                  </a:lnTo>
                  <a:lnTo>
                    <a:pt x="17" y="434"/>
                  </a:lnTo>
                  <a:lnTo>
                    <a:pt x="17" y="434"/>
                  </a:lnTo>
                  <a:lnTo>
                    <a:pt x="17" y="434"/>
                  </a:lnTo>
                  <a:lnTo>
                    <a:pt x="17" y="436"/>
                  </a:lnTo>
                  <a:lnTo>
                    <a:pt x="17" y="436"/>
                  </a:lnTo>
                  <a:lnTo>
                    <a:pt x="16" y="436"/>
                  </a:lnTo>
                  <a:lnTo>
                    <a:pt x="10" y="439"/>
                  </a:lnTo>
                  <a:lnTo>
                    <a:pt x="7" y="439"/>
                  </a:lnTo>
                  <a:lnTo>
                    <a:pt x="7" y="439"/>
                  </a:lnTo>
                  <a:lnTo>
                    <a:pt x="7" y="439"/>
                  </a:lnTo>
                  <a:lnTo>
                    <a:pt x="8" y="439"/>
                  </a:lnTo>
                  <a:lnTo>
                    <a:pt x="8" y="439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7" y="440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8" y="442"/>
                  </a:lnTo>
                  <a:lnTo>
                    <a:pt x="8" y="442"/>
                  </a:lnTo>
                  <a:lnTo>
                    <a:pt x="7" y="443"/>
                  </a:lnTo>
                  <a:lnTo>
                    <a:pt x="8" y="443"/>
                  </a:lnTo>
                  <a:lnTo>
                    <a:pt x="10" y="443"/>
                  </a:lnTo>
                  <a:lnTo>
                    <a:pt x="11" y="443"/>
                  </a:lnTo>
                  <a:lnTo>
                    <a:pt x="11" y="445"/>
                  </a:lnTo>
                  <a:lnTo>
                    <a:pt x="10" y="448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4" y="446"/>
                  </a:lnTo>
                  <a:lnTo>
                    <a:pt x="16" y="446"/>
                  </a:lnTo>
                  <a:lnTo>
                    <a:pt x="16" y="446"/>
                  </a:lnTo>
                  <a:lnTo>
                    <a:pt x="17" y="443"/>
                  </a:lnTo>
                  <a:lnTo>
                    <a:pt x="19" y="442"/>
                  </a:lnTo>
                  <a:lnTo>
                    <a:pt x="22" y="443"/>
                  </a:lnTo>
                  <a:lnTo>
                    <a:pt x="23" y="446"/>
                  </a:lnTo>
                  <a:lnTo>
                    <a:pt x="22" y="449"/>
                  </a:lnTo>
                  <a:lnTo>
                    <a:pt x="19" y="451"/>
                  </a:lnTo>
                  <a:lnTo>
                    <a:pt x="27" y="454"/>
                  </a:lnTo>
                  <a:lnTo>
                    <a:pt x="27" y="456"/>
                  </a:lnTo>
                  <a:lnTo>
                    <a:pt x="28" y="456"/>
                  </a:lnTo>
                  <a:lnTo>
                    <a:pt x="30" y="454"/>
                  </a:lnTo>
                  <a:lnTo>
                    <a:pt x="31" y="453"/>
                  </a:lnTo>
                  <a:lnTo>
                    <a:pt x="33" y="451"/>
                  </a:lnTo>
                  <a:lnTo>
                    <a:pt x="34" y="451"/>
                  </a:lnTo>
                  <a:lnTo>
                    <a:pt x="37" y="451"/>
                  </a:lnTo>
                  <a:lnTo>
                    <a:pt x="40" y="448"/>
                  </a:lnTo>
                  <a:lnTo>
                    <a:pt x="40" y="448"/>
                  </a:lnTo>
                  <a:lnTo>
                    <a:pt x="42" y="448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6"/>
                  </a:lnTo>
                  <a:lnTo>
                    <a:pt x="47" y="446"/>
                  </a:lnTo>
                  <a:lnTo>
                    <a:pt x="47" y="446"/>
                  </a:lnTo>
                  <a:lnTo>
                    <a:pt x="45" y="448"/>
                  </a:lnTo>
                  <a:lnTo>
                    <a:pt x="45" y="448"/>
                  </a:lnTo>
                  <a:lnTo>
                    <a:pt x="47" y="448"/>
                  </a:lnTo>
                  <a:lnTo>
                    <a:pt x="48" y="446"/>
                  </a:lnTo>
                  <a:lnTo>
                    <a:pt x="48" y="446"/>
                  </a:lnTo>
                  <a:lnTo>
                    <a:pt x="50" y="445"/>
                  </a:lnTo>
                  <a:lnTo>
                    <a:pt x="51" y="445"/>
                  </a:lnTo>
                  <a:lnTo>
                    <a:pt x="53" y="445"/>
                  </a:lnTo>
                  <a:lnTo>
                    <a:pt x="53" y="443"/>
                  </a:lnTo>
                  <a:lnTo>
                    <a:pt x="54" y="443"/>
                  </a:lnTo>
                  <a:lnTo>
                    <a:pt x="62" y="440"/>
                  </a:lnTo>
                  <a:lnTo>
                    <a:pt x="67" y="439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0" y="443"/>
                  </a:lnTo>
                  <a:lnTo>
                    <a:pt x="59" y="445"/>
                  </a:lnTo>
                  <a:lnTo>
                    <a:pt x="56" y="443"/>
                  </a:lnTo>
                  <a:lnTo>
                    <a:pt x="56" y="445"/>
                  </a:lnTo>
                  <a:lnTo>
                    <a:pt x="56" y="445"/>
                  </a:lnTo>
                  <a:lnTo>
                    <a:pt x="54" y="446"/>
                  </a:lnTo>
                  <a:lnTo>
                    <a:pt x="53" y="446"/>
                  </a:lnTo>
                  <a:lnTo>
                    <a:pt x="51" y="449"/>
                  </a:lnTo>
                  <a:lnTo>
                    <a:pt x="50" y="449"/>
                  </a:lnTo>
                  <a:lnTo>
                    <a:pt x="50" y="451"/>
                  </a:lnTo>
                  <a:lnTo>
                    <a:pt x="51" y="451"/>
                  </a:lnTo>
                  <a:lnTo>
                    <a:pt x="53" y="451"/>
                  </a:lnTo>
                  <a:lnTo>
                    <a:pt x="53" y="453"/>
                  </a:lnTo>
                  <a:lnTo>
                    <a:pt x="50" y="453"/>
                  </a:lnTo>
                  <a:lnTo>
                    <a:pt x="48" y="453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7" y="454"/>
                  </a:lnTo>
                  <a:lnTo>
                    <a:pt x="45" y="456"/>
                  </a:lnTo>
                  <a:lnTo>
                    <a:pt x="43" y="456"/>
                  </a:lnTo>
                  <a:lnTo>
                    <a:pt x="43" y="456"/>
                  </a:lnTo>
                  <a:lnTo>
                    <a:pt x="43" y="454"/>
                  </a:lnTo>
                  <a:lnTo>
                    <a:pt x="45" y="453"/>
                  </a:lnTo>
                  <a:lnTo>
                    <a:pt x="42" y="454"/>
                  </a:lnTo>
                  <a:lnTo>
                    <a:pt x="40" y="456"/>
                  </a:lnTo>
                  <a:lnTo>
                    <a:pt x="37" y="457"/>
                  </a:lnTo>
                  <a:lnTo>
                    <a:pt x="36" y="459"/>
                  </a:lnTo>
                  <a:lnTo>
                    <a:pt x="39" y="459"/>
                  </a:lnTo>
                  <a:lnTo>
                    <a:pt x="39" y="460"/>
                  </a:lnTo>
                  <a:lnTo>
                    <a:pt x="36" y="463"/>
                  </a:lnTo>
                  <a:lnTo>
                    <a:pt x="34" y="463"/>
                  </a:lnTo>
                  <a:lnTo>
                    <a:pt x="31" y="463"/>
                  </a:lnTo>
                  <a:lnTo>
                    <a:pt x="30" y="463"/>
                  </a:lnTo>
                  <a:lnTo>
                    <a:pt x="28" y="465"/>
                  </a:lnTo>
                  <a:lnTo>
                    <a:pt x="30" y="465"/>
                  </a:lnTo>
                  <a:lnTo>
                    <a:pt x="31" y="466"/>
                  </a:lnTo>
                  <a:lnTo>
                    <a:pt x="31" y="466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9"/>
                  </a:lnTo>
                  <a:lnTo>
                    <a:pt x="31" y="469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3"/>
                  </a:lnTo>
                  <a:lnTo>
                    <a:pt x="25" y="473"/>
                  </a:lnTo>
                  <a:lnTo>
                    <a:pt x="25" y="473"/>
                  </a:lnTo>
                  <a:lnTo>
                    <a:pt x="23" y="474"/>
                  </a:lnTo>
                  <a:lnTo>
                    <a:pt x="25" y="474"/>
                  </a:lnTo>
                  <a:lnTo>
                    <a:pt x="27" y="473"/>
                  </a:lnTo>
                  <a:lnTo>
                    <a:pt x="28" y="473"/>
                  </a:lnTo>
                  <a:lnTo>
                    <a:pt x="31" y="473"/>
                  </a:lnTo>
                  <a:lnTo>
                    <a:pt x="31" y="473"/>
                  </a:lnTo>
                  <a:lnTo>
                    <a:pt x="33" y="473"/>
                  </a:lnTo>
                  <a:lnTo>
                    <a:pt x="34" y="473"/>
                  </a:lnTo>
                  <a:lnTo>
                    <a:pt x="36" y="471"/>
                  </a:lnTo>
                  <a:lnTo>
                    <a:pt x="40" y="469"/>
                  </a:lnTo>
                  <a:lnTo>
                    <a:pt x="40" y="469"/>
                  </a:lnTo>
                  <a:lnTo>
                    <a:pt x="40" y="469"/>
                  </a:lnTo>
                  <a:lnTo>
                    <a:pt x="42" y="469"/>
                  </a:lnTo>
                  <a:lnTo>
                    <a:pt x="42" y="468"/>
                  </a:lnTo>
                  <a:lnTo>
                    <a:pt x="42" y="468"/>
                  </a:lnTo>
                  <a:lnTo>
                    <a:pt x="42" y="468"/>
                  </a:lnTo>
                  <a:lnTo>
                    <a:pt x="45" y="466"/>
                  </a:lnTo>
                  <a:lnTo>
                    <a:pt x="54" y="465"/>
                  </a:lnTo>
                  <a:lnTo>
                    <a:pt x="57" y="463"/>
                  </a:lnTo>
                  <a:lnTo>
                    <a:pt x="62" y="463"/>
                  </a:lnTo>
                  <a:lnTo>
                    <a:pt x="63" y="462"/>
                  </a:lnTo>
                  <a:lnTo>
                    <a:pt x="65" y="462"/>
                  </a:lnTo>
                  <a:lnTo>
                    <a:pt x="68" y="459"/>
                  </a:lnTo>
                  <a:lnTo>
                    <a:pt x="68" y="459"/>
                  </a:lnTo>
                  <a:lnTo>
                    <a:pt x="70" y="459"/>
                  </a:lnTo>
                  <a:lnTo>
                    <a:pt x="70" y="457"/>
                  </a:lnTo>
                  <a:lnTo>
                    <a:pt x="70" y="456"/>
                  </a:lnTo>
                  <a:lnTo>
                    <a:pt x="70" y="454"/>
                  </a:lnTo>
                  <a:lnTo>
                    <a:pt x="68" y="453"/>
                  </a:lnTo>
                  <a:lnTo>
                    <a:pt x="70" y="454"/>
                  </a:lnTo>
                  <a:lnTo>
                    <a:pt x="70" y="454"/>
                  </a:lnTo>
                  <a:lnTo>
                    <a:pt x="71" y="454"/>
                  </a:lnTo>
                  <a:lnTo>
                    <a:pt x="71" y="456"/>
                  </a:lnTo>
                  <a:lnTo>
                    <a:pt x="71" y="456"/>
                  </a:lnTo>
                  <a:lnTo>
                    <a:pt x="71" y="457"/>
                  </a:lnTo>
                  <a:lnTo>
                    <a:pt x="71" y="457"/>
                  </a:lnTo>
                  <a:lnTo>
                    <a:pt x="71" y="457"/>
                  </a:lnTo>
                  <a:lnTo>
                    <a:pt x="73" y="457"/>
                  </a:lnTo>
                  <a:lnTo>
                    <a:pt x="74" y="459"/>
                  </a:lnTo>
                  <a:lnTo>
                    <a:pt x="76" y="459"/>
                  </a:lnTo>
                  <a:lnTo>
                    <a:pt x="76" y="457"/>
                  </a:lnTo>
                  <a:lnTo>
                    <a:pt x="77" y="459"/>
                  </a:lnTo>
                  <a:lnTo>
                    <a:pt x="77" y="459"/>
                  </a:lnTo>
                  <a:lnTo>
                    <a:pt x="77" y="459"/>
                  </a:lnTo>
                  <a:lnTo>
                    <a:pt x="77" y="460"/>
                  </a:lnTo>
                  <a:lnTo>
                    <a:pt x="77" y="460"/>
                  </a:lnTo>
                  <a:lnTo>
                    <a:pt x="76" y="462"/>
                  </a:lnTo>
                  <a:lnTo>
                    <a:pt x="74" y="463"/>
                  </a:lnTo>
                  <a:lnTo>
                    <a:pt x="71" y="465"/>
                  </a:lnTo>
                  <a:lnTo>
                    <a:pt x="68" y="465"/>
                  </a:lnTo>
                  <a:lnTo>
                    <a:pt x="67" y="466"/>
                  </a:lnTo>
                  <a:lnTo>
                    <a:pt x="65" y="468"/>
                  </a:lnTo>
                  <a:lnTo>
                    <a:pt x="56" y="473"/>
                  </a:lnTo>
                  <a:lnTo>
                    <a:pt x="53" y="474"/>
                  </a:lnTo>
                  <a:lnTo>
                    <a:pt x="53" y="474"/>
                  </a:lnTo>
                  <a:lnTo>
                    <a:pt x="53" y="476"/>
                  </a:lnTo>
                  <a:lnTo>
                    <a:pt x="51" y="476"/>
                  </a:lnTo>
                  <a:lnTo>
                    <a:pt x="51" y="477"/>
                  </a:lnTo>
                  <a:lnTo>
                    <a:pt x="48" y="479"/>
                  </a:lnTo>
                  <a:lnTo>
                    <a:pt x="53" y="479"/>
                  </a:lnTo>
                  <a:lnTo>
                    <a:pt x="67" y="471"/>
                  </a:lnTo>
                  <a:lnTo>
                    <a:pt x="70" y="471"/>
                  </a:lnTo>
                  <a:lnTo>
                    <a:pt x="68" y="473"/>
                  </a:lnTo>
                  <a:lnTo>
                    <a:pt x="65" y="474"/>
                  </a:lnTo>
                  <a:lnTo>
                    <a:pt x="65" y="474"/>
                  </a:lnTo>
                  <a:lnTo>
                    <a:pt x="60" y="479"/>
                  </a:lnTo>
                  <a:lnTo>
                    <a:pt x="60" y="479"/>
                  </a:lnTo>
                  <a:lnTo>
                    <a:pt x="57" y="480"/>
                  </a:lnTo>
                  <a:lnTo>
                    <a:pt x="56" y="480"/>
                  </a:lnTo>
                  <a:lnTo>
                    <a:pt x="54" y="482"/>
                  </a:lnTo>
                  <a:lnTo>
                    <a:pt x="51" y="485"/>
                  </a:lnTo>
                  <a:lnTo>
                    <a:pt x="50" y="485"/>
                  </a:lnTo>
                  <a:lnTo>
                    <a:pt x="48" y="486"/>
                  </a:lnTo>
                  <a:lnTo>
                    <a:pt x="50" y="486"/>
                  </a:lnTo>
                  <a:lnTo>
                    <a:pt x="50" y="488"/>
                  </a:lnTo>
                  <a:lnTo>
                    <a:pt x="50" y="488"/>
                  </a:lnTo>
                  <a:lnTo>
                    <a:pt x="50" y="488"/>
                  </a:lnTo>
                  <a:lnTo>
                    <a:pt x="50" y="489"/>
                  </a:lnTo>
                  <a:lnTo>
                    <a:pt x="50" y="489"/>
                  </a:lnTo>
                  <a:lnTo>
                    <a:pt x="50" y="491"/>
                  </a:lnTo>
                  <a:lnTo>
                    <a:pt x="50" y="489"/>
                  </a:lnTo>
                  <a:lnTo>
                    <a:pt x="51" y="491"/>
                  </a:lnTo>
                  <a:lnTo>
                    <a:pt x="53" y="489"/>
                  </a:lnTo>
                  <a:lnTo>
                    <a:pt x="53" y="488"/>
                  </a:lnTo>
                  <a:lnTo>
                    <a:pt x="53" y="489"/>
                  </a:lnTo>
                  <a:lnTo>
                    <a:pt x="59" y="488"/>
                  </a:lnTo>
                  <a:lnTo>
                    <a:pt x="57" y="488"/>
                  </a:lnTo>
                  <a:lnTo>
                    <a:pt x="57" y="488"/>
                  </a:lnTo>
                  <a:lnTo>
                    <a:pt x="57" y="486"/>
                  </a:lnTo>
                  <a:lnTo>
                    <a:pt x="62" y="483"/>
                  </a:lnTo>
                  <a:lnTo>
                    <a:pt x="62" y="482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3" y="485"/>
                  </a:lnTo>
                  <a:lnTo>
                    <a:pt x="65" y="485"/>
                  </a:lnTo>
                  <a:lnTo>
                    <a:pt x="67" y="485"/>
                  </a:lnTo>
                  <a:lnTo>
                    <a:pt x="67" y="483"/>
                  </a:lnTo>
                  <a:lnTo>
                    <a:pt x="68" y="483"/>
                  </a:lnTo>
                  <a:lnTo>
                    <a:pt x="70" y="483"/>
                  </a:lnTo>
                  <a:lnTo>
                    <a:pt x="70" y="483"/>
                  </a:lnTo>
                  <a:lnTo>
                    <a:pt x="70" y="482"/>
                  </a:lnTo>
                  <a:lnTo>
                    <a:pt x="70" y="482"/>
                  </a:lnTo>
                  <a:lnTo>
                    <a:pt x="76" y="480"/>
                  </a:lnTo>
                  <a:lnTo>
                    <a:pt x="77" y="479"/>
                  </a:lnTo>
                  <a:lnTo>
                    <a:pt x="77" y="477"/>
                  </a:lnTo>
                  <a:lnTo>
                    <a:pt x="77" y="477"/>
                  </a:lnTo>
                  <a:lnTo>
                    <a:pt x="79" y="477"/>
                  </a:lnTo>
                  <a:lnTo>
                    <a:pt x="80" y="479"/>
                  </a:lnTo>
                  <a:lnTo>
                    <a:pt x="80" y="479"/>
                  </a:lnTo>
                  <a:lnTo>
                    <a:pt x="80" y="480"/>
                  </a:lnTo>
                  <a:lnTo>
                    <a:pt x="80" y="482"/>
                  </a:lnTo>
                  <a:lnTo>
                    <a:pt x="80" y="483"/>
                  </a:lnTo>
                  <a:lnTo>
                    <a:pt x="80" y="485"/>
                  </a:lnTo>
                  <a:lnTo>
                    <a:pt x="82" y="483"/>
                  </a:lnTo>
                  <a:lnTo>
                    <a:pt x="84" y="482"/>
                  </a:lnTo>
                  <a:lnTo>
                    <a:pt x="84" y="482"/>
                  </a:lnTo>
                  <a:lnTo>
                    <a:pt x="85" y="480"/>
                  </a:lnTo>
                  <a:lnTo>
                    <a:pt x="87" y="479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5" y="482"/>
                  </a:lnTo>
                  <a:lnTo>
                    <a:pt x="84" y="482"/>
                  </a:lnTo>
                  <a:lnTo>
                    <a:pt x="84" y="483"/>
                  </a:lnTo>
                  <a:lnTo>
                    <a:pt x="82" y="485"/>
                  </a:lnTo>
                  <a:lnTo>
                    <a:pt x="84" y="485"/>
                  </a:lnTo>
                  <a:lnTo>
                    <a:pt x="84" y="485"/>
                  </a:lnTo>
                  <a:lnTo>
                    <a:pt x="85" y="485"/>
                  </a:lnTo>
                  <a:lnTo>
                    <a:pt x="85" y="485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2" y="488"/>
                  </a:lnTo>
                  <a:lnTo>
                    <a:pt x="85" y="488"/>
                  </a:lnTo>
                  <a:lnTo>
                    <a:pt x="85" y="488"/>
                  </a:lnTo>
                  <a:lnTo>
                    <a:pt x="87" y="486"/>
                  </a:lnTo>
                  <a:lnTo>
                    <a:pt x="87" y="486"/>
                  </a:lnTo>
                  <a:lnTo>
                    <a:pt x="88" y="486"/>
                  </a:lnTo>
                  <a:lnTo>
                    <a:pt x="88" y="486"/>
                  </a:lnTo>
                  <a:lnTo>
                    <a:pt x="88" y="485"/>
                  </a:lnTo>
                  <a:lnTo>
                    <a:pt x="90" y="483"/>
                  </a:lnTo>
                  <a:lnTo>
                    <a:pt x="91" y="485"/>
                  </a:lnTo>
                  <a:lnTo>
                    <a:pt x="91" y="485"/>
                  </a:lnTo>
                  <a:lnTo>
                    <a:pt x="91" y="485"/>
                  </a:lnTo>
                  <a:lnTo>
                    <a:pt x="91" y="486"/>
                  </a:lnTo>
                  <a:lnTo>
                    <a:pt x="91" y="485"/>
                  </a:lnTo>
                  <a:lnTo>
                    <a:pt x="93" y="486"/>
                  </a:lnTo>
                  <a:lnTo>
                    <a:pt x="93" y="486"/>
                  </a:lnTo>
                  <a:lnTo>
                    <a:pt x="94" y="486"/>
                  </a:lnTo>
                  <a:lnTo>
                    <a:pt x="94" y="485"/>
                  </a:lnTo>
                  <a:lnTo>
                    <a:pt x="94" y="485"/>
                  </a:lnTo>
                  <a:lnTo>
                    <a:pt x="96" y="483"/>
                  </a:lnTo>
                  <a:lnTo>
                    <a:pt x="96" y="483"/>
                  </a:lnTo>
                  <a:lnTo>
                    <a:pt x="96" y="483"/>
                  </a:lnTo>
                  <a:lnTo>
                    <a:pt x="96" y="482"/>
                  </a:lnTo>
                  <a:lnTo>
                    <a:pt x="97" y="482"/>
                  </a:lnTo>
                  <a:lnTo>
                    <a:pt x="99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9"/>
                  </a:lnTo>
                  <a:lnTo>
                    <a:pt x="102" y="479"/>
                  </a:lnTo>
                  <a:lnTo>
                    <a:pt x="102" y="477"/>
                  </a:lnTo>
                  <a:lnTo>
                    <a:pt x="102" y="477"/>
                  </a:lnTo>
                  <a:lnTo>
                    <a:pt x="102" y="477"/>
                  </a:lnTo>
                  <a:lnTo>
                    <a:pt x="104" y="479"/>
                  </a:lnTo>
                  <a:lnTo>
                    <a:pt x="105" y="479"/>
                  </a:lnTo>
                  <a:lnTo>
                    <a:pt x="110" y="477"/>
                  </a:lnTo>
                  <a:lnTo>
                    <a:pt x="110" y="477"/>
                  </a:lnTo>
                  <a:lnTo>
                    <a:pt x="111" y="477"/>
                  </a:lnTo>
                  <a:lnTo>
                    <a:pt x="113" y="477"/>
                  </a:lnTo>
                  <a:lnTo>
                    <a:pt x="114" y="479"/>
                  </a:lnTo>
                  <a:lnTo>
                    <a:pt x="114" y="479"/>
                  </a:lnTo>
                  <a:lnTo>
                    <a:pt x="114" y="479"/>
                  </a:lnTo>
                  <a:lnTo>
                    <a:pt x="114" y="480"/>
                  </a:lnTo>
                  <a:lnTo>
                    <a:pt x="116" y="480"/>
                  </a:lnTo>
                  <a:lnTo>
                    <a:pt x="116" y="479"/>
                  </a:lnTo>
                  <a:lnTo>
                    <a:pt x="116" y="479"/>
                  </a:lnTo>
                  <a:lnTo>
                    <a:pt x="119" y="477"/>
                  </a:lnTo>
                  <a:lnTo>
                    <a:pt x="119" y="477"/>
                  </a:lnTo>
                  <a:lnTo>
                    <a:pt x="120" y="474"/>
                  </a:lnTo>
                  <a:lnTo>
                    <a:pt x="122" y="473"/>
                  </a:lnTo>
                  <a:lnTo>
                    <a:pt x="124" y="474"/>
                  </a:lnTo>
                  <a:lnTo>
                    <a:pt x="124" y="473"/>
                  </a:lnTo>
                  <a:lnTo>
                    <a:pt x="124" y="473"/>
                  </a:lnTo>
                  <a:lnTo>
                    <a:pt x="125" y="474"/>
                  </a:lnTo>
                  <a:lnTo>
                    <a:pt x="125" y="474"/>
                  </a:lnTo>
                  <a:lnTo>
                    <a:pt x="128" y="474"/>
                  </a:lnTo>
                  <a:lnTo>
                    <a:pt x="128" y="474"/>
                  </a:lnTo>
                  <a:lnTo>
                    <a:pt x="130" y="476"/>
                  </a:lnTo>
                  <a:lnTo>
                    <a:pt x="130" y="476"/>
                  </a:lnTo>
                  <a:lnTo>
                    <a:pt x="130" y="476"/>
                  </a:lnTo>
                  <a:lnTo>
                    <a:pt x="133" y="476"/>
                  </a:lnTo>
                  <a:lnTo>
                    <a:pt x="133" y="474"/>
                  </a:lnTo>
                  <a:lnTo>
                    <a:pt x="133" y="473"/>
                  </a:lnTo>
                  <a:lnTo>
                    <a:pt x="133" y="473"/>
                  </a:lnTo>
                  <a:lnTo>
                    <a:pt x="134" y="471"/>
                  </a:lnTo>
                  <a:lnTo>
                    <a:pt x="133" y="471"/>
                  </a:lnTo>
                  <a:lnTo>
                    <a:pt x="133" y="469"/>
                  </a:lnTo>
                  <a:lnTo>
                    <a:pt x="134" y="469"/>
                  </a:lnTo>
                  <a:lnTo>
                    <a:pt x="134" y="469"/>
                  </a:lnTo>
                  <a:lnTo>
                    <a:pt x="131" y="469"/>
                  </a:lnTo>
                  <a:lnTo>
                    <a:pt x="130" y="468"/>
                  </a:lnTo>
                  <a:lnTo>
                    <a:pt x="128" y="466"/>
                  </a:lnTo>
                  <a:lnTo>
                    <a:pt x="137" y="468"/>
                  </a:lnTo>
                  <a:lnTo>
                    <a:pt x="141" y="466"/>
                  </a:lnTo>
                  <a:lnTo>
                    <a:pt x="142" y="466"/>
                  </a:lnTo>
                  <a:lnTo>
                    <a:pt x="144" y="468"/>
                  </a:lnTo>
                  <a:lnTo>
                    <a:pt x="145" y="471"/>
                  </a:lnTo>
                  <a:lnTo>
                    <a:pt x="145" y="471"/>
                  </a:lnTo>
                  <a:lnTo>
                    <a:pt x="145" y="469"/>
                  </a:lnTo>
                  <a:lnTo>
                    <a:pt x="145" y="468"/>
                  </a:lnTo>
                  <a:lnTo>
                    <a:pt x="145" y="466"/>
                  </a:lnTo>
                  <a:lnTo>
                    <a:pt x="145" y="466"/>
                  </a:lnTo>
                  <a:lnTo>
                    <a:pt x="147" y="463"/>
                  </a:lnTo>
                  <a:lnTo>
                    <a:pt x="147" y="463"/>
                  </a:lnTo>
                  <a:lnTo>
                    <a:pt x="147" y="463"/>
                  </a:lnTo>
                  <a:lnTo>
                    <a:pt x="148" y="462"/>
                  </a:lnTo>
                  <a:lnTo>
                    <a:pt x="148" y="462"/>
                  </a:lnTo>
                  <a:lnTo>
                    <a:pt x="148" y="460"/>
                  </a:lnTo>
                  <a:lnTo>
                    <a:pt x="147" y="460"/>
                  </a:lnTo>
                  <a:lnTo>
                    <a:pt x="147" y="462"/>
                  </a:lnTo>
                  <a:lnTo>
                    <a:pt x="145" y="462"/>
                  </a:lnTo>
                  <a:lnTo>
                    <a:pt x="144" y="460"/>
                  </a:lnTo>
                  <a:lnTo>
                    <a:pt x="144" y="460"/>
                  </a:lnTo>
                  <a:lnTo>
                    <a:pt x="144" y="460"/>
                  </a:lnTo>
                  <a:lnTo>
                    <a:pt x="147" y="460"/>
                  </a:lnTo>
                  <a:lnTo>
                    <a:pt x="148" y="460"/>
                  </a:lnTo>
                  <a:lnTo>
                    <a:pt x="150" y="463"/>
                  </a:lnTo>
                  <a:lnTo>
                    <a:pt x="150" y="462"/>
                  </a:lnTo>
                  <a:lnTo>
                    <a:pt x="150" y="462"/>
                  </a:lnTo>
                  <a:lnTo>
                    <a:pt x="150" y="460"/>
                  </a:lnTo>
                  <a:lnTo>
                    <a:pt x="150" y="459"/>
                  </a:lnTo>
                  <a:lnTo>
                    <a:pt x="150" y="459"/>
                  </a:lnTo>
                  <a:lnTo>
                    <a:pt x="151" y="459"/>
                  </a:lnTo>
                  <a:lnTo>
                    <a:pt x="153" y="460"/>
                  </a:lnTo>
                  <a:lnTo>
                    <a:pt x="153" y="462"/>
                  </a:lnTo>
                  <a:lnTo>
                    <a:pt x="153" y="460"/>
                  </a:lnTo>
                  <a:lnTo>
                    <a:pt x="154" y="459"/>
                  </a:lnTo>
                  <a:lnTo>
                    <a:pt x="157" y="459"/>
                  </a:lnTo>
                  <a:lnTo>
                    <a:pt x="159" y="457"/>
                  </a:lnTo>
                  <a:lnTo>
                    <a:pt x="161" y="456"/>
                  </a:lnTo>
                  <a:lnTo>
                    <a:pt x="162" y="454"/>
                  </a:lnTo>
                  <a:lnTo>
                    <a:pt x="164" y="453"/>
                  </a:lnTo>
                  <a:lnTo>
                    <a:pt x="162" y="453"/>
                  </a:lnTo>
                  <a:lnTo>
                    <a:pt x="162" y="451"/>
                  </a:lnTo>
                  <a:lnTo>
                    <a:pt x="162" y="451"/>
                  </a:lnTo>
                  <a:lnTo>
                    <a:pt x="162" y="451"/>
                  </a:lnTo>
                  <a:lnTo>
                    <a:pt x="164" y="448"/>
                  </a:lnTo>
                  <a:lnTo>
                    <a:pt x="161" y="448"/>
                  </a:lnTo>
                  <a:lnTo>
                    <a:pt x="162" y="448"/>
                  </a:lnTo>
                  <a:lnTo>
                    <a:pt x="162" y="448"/>
                  </a:lnTo>
                  <a:lnTo>
                    <a:pt x="164" y="448"/>
                  </a:lnTo>
                  <a:lnTo>
                    <a:pt x="164" y="448"/>
                  </a:lnTo>
                  <a:lnTo>
                    <a:pt x="162" y="446"/>
                  </a:lnTo>
                  <a:lnTo>
                    <a:pt x="162" y="446"/>
                  </a:lnTo>
                  <a:lnTo>
                    <a:pt x="162" y="446"/>
                  </a:lnTo>
                  <a:lnTo>
                    <a:pt x="162" y="445"/>
                  </a:lnTo>
                  <a:lnTo>
                    <a:pt x="162" y="445"/>
                  </a:lnTo>
                  <a:lnTo>
                    <a:pt x="159" y="445"/>
                  </a:lnTo>
                  <a:lnTo>
                    <a:pt x="161" y="442"/>
                  </a:lnTo>
                  <a:lnTo>
                    <a:pt x="159" y="440"/>
                  </a:lnTo>
                  <a:lnTo>
                    <a:pt x="156" y="439"/>
                  </a:lnTo>
                  <a:lnTo>
                    <a:pt x="153" y="439"/>
                  </a:lnTo>
                  <a:lnTo>
                    <a:pt x="154" y="437"/>
                  </a:lnTo>
                  <a:lnTo>
                    <a:pt x="156" y="437"/>
                  </a:lnTo>
                  <a:lnTo>
                    <a:pt x="159" y="437"/>
                  </a:lnTo>
                  <a:lnTo>
                    <a:pt x="161" y="437"/>
                  </a:lnTo>
                  <a:lnTo>
                    <a:pt x="162" y="437"/>
                  </a:lnTo>
                  <a:lnTo>
                    <a:pt x="164" y="436"/>
                  </a:lnTo>
                  <a:lnTo>
                    <a:pt x="164" y="437"/>
                  </a:lnTo>
                  <a:lnTo>
                    <a:pt x="164" y="437"/>
                  </a:lnTo>
                  <a:lnTo>
                    <a:pt x="167" y="437"/>
                  </a:lnTo>
                  <a:lnTo>
                    <a:pt x="168" y="437"/>
                  </a:lnTo>
                  <a:lnTo>
                    <a:pt x="170" y="439"/>
                  </a:lnTo>
                  <a:lnTo>
                    <a:pt x="170" y="437"/>
                  </a:lnTo>
                  <a:lnTo>
                    <a:pt x="171" y="437"/>
                  </a:lnTo>
                  <a:lnTo>
                    <a:pt x="171" y="437"/>
                  </a:lnTo>
                  <a:lnTo>
                    <a:pt x="171" y="439"/>
                  </a:lnTo>
                  <a:lnTo>
                    <a:pt x="171" y="439"/>
                  </a:lnTo>
                  <a:lnTo>
                    <a:pt x="170" y="439"/>
                  </a:lnTo>
                  <a:lnTo>
                    <a:pt x="170" y="440"/>
                  </a:lnTo>
                  <a:lnTo>
                    <a:pt x="171" y="440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3"/>
                  </a:lnTo>
                  <a:lnTo>
                    <a:pt x="170" y="443"/>
                  </a:lnTo>
                  <a:lnTo>
                    <a:pt x="168" y="443"/>
                  </a:lnTo>
                  <a:lnTo>
                    <a:pt x="168" y="445"/>
                  </a:lnTo>
                  <a:lnTo>
                    <a:pt x="168" y="445"/>
                  </a:lnTo>
                  <a:lnTo>
                    <a:pt x="168" y="446"/>
                  </a:lnTo>
                  <a:lnTo>
                    <a:pt x="168" y="446"/>
                  </a:lnTo>
                  <a:lnTo>
                    <a:pt x="167" y="446"/>
                  </a:lnTo>
                  <a:lnTo>
                    <a:pt x="167" y="446"/>
                  </a:lnTo>
                  <a:lnTo>
                    <a:pt x="167" y="448"/>
                  </a:lnTo>
                  <a:lnTo>
                    <a:pt x="167" y="448"/>
                  </a:lnTo>
                  <a:lnTo>
                    <a:pt x="167" y="448"/>
                  </a:lnTo>
                  <a:lnTo>
                    <a:pt x="168" y="448"/>
                  </a:lnTo>
                  <a:lnTo>
                    <a:pt x="170" y="448"/>
                  </a:lnTo>
                  <a:lnTo>
                    <a:pt x="174" y="448"/>
                  </a:lnTo>
                  <a:lnTo>
                    <a:pt x="177" y="446"/>
                  </a:lnTo>
                  <a:lnTo>
                    <a:pt x="184" y="446"/>
                  </a:lnTo>
                  <a:lnTo>
                    <a:pt x="185" y="445"/>
                  </a:lnTo>
                  <a:lnTo>
                    <a:pt x="184" y="443"/>
                  </a:lnTo>
                  <a:lnTo>
                    <a:pt x="185" y="442"/>
                  </a:lnTo>
                  <a:lnTo>
                    <a:pt x="188" y="440"/>
                  </a:lnTo>
                  <a:lnTo>
                    <a:pt x="191" y="440"/>
                  </a:lnTo>
                  <a:lnTo>
                    <a:pt x="193" y="439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1" y="436"/>
                  </a:lnTo>
                  <a:lnTo>
                    <a:pt x="193" y="436"/>
                  </a:lnTo>
                  <a:lnTo>
                    <a:pt x="193" y="434"/>
                  </a:lnTo>
                  <a:lnTo>
                    <a:pt x="194" y="433"/>
                  </a:lnTo>
                  <a:lnTo>
                    <a:pt x="196" y="431"/>
                  </a:lnTo>
                  <a:lnTo>
                    <a:pt x="196" y="431"/>
                  </a:lnTo>
                  <a:lnTo>
                    <a:pt x="196" y="428"/>
                  </a:lnTo>
                  <a:lnTo>
                    <a:pt x="196" y="428"/>
                  </a:lnTo>
                  <a:lnTo>
                    <a:pt x="196" y="426"/>
                  </a:lnTo>
                  <a:lnTo>
                    <a:pt x="197" y="428"/>
                  </a:lnTo>
                  <a:lnTo>
                    <a:pt x="197" y="428"/>
                  </a:lnTo>
                  <a:lnTo>
                    <a:pt x="197" y="429"/>
                  </a:lnTo>
                  <a:lnTo>
                    <a:pt x="197" y="429"/>
                  </a:lnTo>
                  <a:lnTo>
                    <a:pt x="205" y="431"/>
                  </a:lnTo>
                  <a:lnTo>
                    <a:pt x="207" y="431"/>
                  </a:lnTo>
                  <a:lnTo>
                    <a:pt x="207" y="429"/>
                  </a:lnTo>
                  <a:lnTo>
                    <a:pt x="207" y="428"/>
                  </a:lnTo>
                  <a:lnTo>
                    <a:pt x="208" y="426"/>
                  </a:lnTo>
                  <a:lnTo>
                    <a:pt x="213" y="428"/>
                  </a:lnTo>
                  <a:lnTo>
                    <a:pt x="213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2"/>
                  </a:lnTo>
                  <a:lnTo>
                    <a:pt x="219" y="419"/>
                  </a:lnTo>
                  <a:lnTo>
                    <a:pt x="219" y="417"/>
                  </a:lnTo>
                  <a:lnTo>
                    <a:pt x="219" y="417"/>
                  </a:lnTo>
                  <a:lnTo>
                    <a:pt x="218" y="417"/>
                  </a:lnTo>
                  <a:lnTo>
                    <a:pt x="216" y="416"/>
                  </a:lnTo>
                  <a:lnTo>
                    <a:pt x="214" y="416"/>
                  </a:lnTo>
                  <a:lnTo>
                    <a:pt x="213" y="416"/>
                  </a:lnTo>
                  <a:lnTo>
                    <a:pt x="213" y="417"/>
                  </a:lnTo>
                  <a:lnTo>
                    <a:pt x="213" y="416"/>
                  </a:lnTo>
                  <a:lnTo>
                    <a:pt x="213" y="414"/>
                  </a:lnTo>
                  <a:lnTo>
                    <a:pt x="214" y="412"/>
                  </a:lnTo>
                  <a:lnTo>
                    <a:pt x="216" y="412"/>
                  </a:lnTo>
                  <a:lnTo>
                    <a:pt x="216" y="412"/>
                  </a:lnTo>
                  <a:lnTo>
                    <a:pt x="216" y="412"/>
                  </a:lnTo>
                  <a:lnTo>
                    <a:pt x="218" y="414"/>
                  </a:lnTo>
                  <a:lnTo>
                    <a:pt x="218" y="414"/>
                  </a:lnTo>
                  <a:lnTo>
                    <a:pt x="218" y="414"/>
                  </a:lnTo>
                  <a:lnTo>
                    <a:pt x="219" y="414"/>
                  </a:lnTo>
                  <a:lnTo>
                    <a:pt x="219" y="412"/>
                  </a:lnTo>
                  <a:lnTo>
                    <a:pt x="219" y="412"/>
                  </a:lnTo>
                  <a:lnTo>
                    <a:pt x="222" y="412"/>
                  </a:lnTo>
                  <a:lnTo>
                    <a:pt x="227" y="409"/>
                  </a:lnTo>
                  <a:lnTo>
                    <a:pt x="241" y="408"/>
                  </a:lnTo>
                  <a:lnTo>
                    <a:pt x="244" y="408"/>
                  </a:lnTo>
                  <a:lnTo>
                    <a:pt x="245" y="408"/>
                  </a:lnTo>
                  <a:lnTo>
                    <a:pt x="247" y="408"/>
                  </a:lnTo>
                  <a:lnTo>
                    <a:pt x="247" y="408"/>
                  </a:lnTo>
                  <a:lnTo>
                    <a:pt x="248" y="406"/>
                  </a:lnTo>
                  <a:lnTo>
                    <a:pt x="248" y="406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5"/>
                  </a:lnTo>
                  <a:lnTo>
                    <a:pt x="251" y="405"/>
                  </a:lnTo>
                  <a:lnTo>
                    <a:pt x="250" y="405"/>
                  </a:lnTo>
                  <a:lnTo>
                    <a:pt x="250" y="403"/>
                  </a:lnTo>
                  <a:lnTo>
                    <a:pt x="251" y="403"/>
                  </a:lnTo>
                  <a:lnTo>
                    <a:pt x="253" y="403"/>
                  </a:lnTo>
                  <a:lnTo>
                    <a:pt x="254" y="405"/>
                  </a:lnTo>
                  <a:lnTo>
                    <a:pt x="251" y="408"/>
                  </a:lnTo>
                  <a:lnTo>
                    <a:pt x="251" y="409"/>
                  </a:lnTo>
                  <a:lnTo>
                    <a:pt x="253" y="408"/>
                  </a:lnTo>
                  <a:lnTo>
                    <a:pt x="256" y="408"/>
                  </a:lnTo>
                  <a:lnTo>
                    <a:pt x="258" y="408"/>
                  </a:lnTo>
                  <a:lnTo>
                    <a:pt x="259" y="406"/>
                  </a:lnTo>
                  <a:lnTo>
                    <a:pt x="262" y="403"/>
                  </a:lnTo>
                  <a:lnTo>
                    <a:pt x="262" y="403"/>
                  </a:lnTo>
                  <a:lnTo>
                    <a:pt x="262" y="402"/>
                  </a:lnTo>
                  <a:lnTo>
                    <a:pt x="261" y="402"/>
                  </a:lnTo>
                  <a:lnTo>
                    <a:pt x="261" y="400"/>
                  </a:lnTo>
                  <a:lnTo>
                    <a:pt x="262" y="397"/>
                  </a:lnTo>
                  <a:lnTo>
                    <a:pt x="262" y="397"/>
                  </a:lnTo>
                  <a:lnTo>
                    <a:pt x="261" y="394"/>
                  </a:lnTo>
                  <a:lnTo>
                    <a:pt x="261" y="394"/>
                  </a:lnTo>
                  <a:lnTo>
                    <a:pt x="261" y="392"/>
                  </a:lnTo>
                  <a:lnTo>
                    <a:pt x="261" y="392"/>
                  </a:lnTo>
                  <a:lnTo>
                    <a:pt x="261" y="391"/>
                  </a:lnTo>
                  <a:lnTo>
                    <a:pt x="259" y="389"/>
                  </a:lnTo>
                  <a:lnTo>
                    <a:pt x="261" y="391"/>
                  </a:lnTo>
                  <a:lnTo>
                    <a:pt x="262" y="394"/>
                  </a:lnTo>
                  <a:lnTo>
                    <a:pt x="262" y="396"/>
                  </a:lnTo>
                  <a:lnTo>
                    <a:pt x="264" y="396"/>
                  </a:lnTo>
                  <a:lnTo>
                    <a:pt x="264" y="397"/>
                  </a:lnTo>
                  <a:lnTo>
                    <a:pt x="265" y="399"/>
                  </a:lnTo>
                  <a:lnTo>
                    <a:pt x="265" y="399"/>
                  </a:lnTo>
                  <a:lnTo>
                    <a:pt x="267" y="403"/>
                  </a:lnTo>
                  <a:lnTo>
                    <a:pt x="267" y="405"/>
                  </a:lnTo>
                  <a:lnTo>
                    <a:pt x="265" y="406"/>
                  </a:lnTo>
                  <a:lnTo>
                    <a:pt x="265" y="406"/>
                  </a:lnTo>
                  <a:lnTo>
                    <a:pt x="264" y="408"/>
                  </a:lnTo>
                  <a:lnTo>
                    <a:pt x="264" y="409"/>
                  </a:lnTo>
                  <a:lnTo>
                    <a:pt x="265" y="409"/>
                  </a:lnTo>
                  <a:lnTo>
                    <a:pt x="265" y="408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73" y="403"/>
                  </a:lnTo>
                  <a:lnTo>
                    <a:pt x="271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1" y="402"/>
                  </a:lnTo>
                  <a:lnTo>
                    <a:pt x="273" y="400"/>
                  </a:lnTo>
                  <a:lnTo>
                    <a:pt x="273" y="400"/>
                  </a:lnTo>
                  <a:lnTo>
                    <a:pt x="273" y="397"/>
                  </a:lnTo>
                  <a:lnTo>
                    <a:pt x="273" y="397"/>
                  </a:lnTo>
                  <a:lnTo>
                    <a:pt x="273" y="399"/>
                  </a:lnTo>
                  <a:lnTo>
                    <a:pt x="271" y="399"/>
                  </a:lnTo>
                  <a:lnTo>
                    <a:pt x="271" y="399"/>
                  </a:lnTo>
                  <a:lnTo>
                    <a:pt x="271" y="397"/>
                  </a:lnTo>
                  <a:lnTo>
                    <a:pt x="271" y="397"/>
                  </a:lnTo>
                  <a:lnTo>
                    <a:pt x="271" y="396"/>
                  </a:lnTo>
                  <a:lnTo>
                    <a:pt x="271" y="396"/>
                  </a:lnTo>
                  <a:lnTo>
                    <a:pt x="273" y="396"/>
                  </a:lnTo>
                  <a:lnTo>
                    <a:pt x="274" y="396"/>
                  </a:lnTo>
                  <a:lnTo>
                    <a:pt x="276" y="394"/>
                  </a:lnTo>
                  <a:lnTo>
                    <a:pt x="278" y="392"/>
                  </a:lnTo>
                  <a:lnTo>
                    <a:pt x="278" y="394"/>
                  </a:lnTo>
                  <a:lnTo>
                    <a:pt x="276" y="396"/>
                  </a:lnTo>
                  <a:lnTo>
                    <a:pt x="274" y="397"/>
                  </a:lnTo>
                  <a:lnTo>
                    <a:pt x="274" y="397"/>
                  </a:lnTo>
                  <a:lnTo>
                    <a:pt x="274" y="399"/>
                  </a:lnTo>
                  <a:lnTo>
                    <a:pt x="276" y="399"/>
                  </a:lnTo>
                  <a:lnTo>
                    <a:pt x="281" y="399"/>
                  </a:lnTo>
                  <a:lnTo>
                    <a:pt x="287" y="400"/>
                  </a:lnTo>
                  <a:lnTo>
                    <a:pt x="287" y="400"/>
                  </a:lnTo>
                  <a:lnTo>
                    <a:pt x="290" y="403"/>
                  </a:lnTo>
                  <a:lnTo>
                    <a:pt x="291" y="403"/>
                  </a:lnTo>
                  <a:lnTo>
                    <a:pt x="295" y="402"/>
                  </a:lnTo>
                  <a:lnTo>
                    <a:pt x="298" y="400"/>
                  </a:lnTo>
                  <a:lnTo>
                    <a:pt x="299" y="400"/>
                  </a:lnTo>
                  <a:lnTo>
                    <a:pt x="299" y="400"/>
                  </a:lnTo>
                  <a:lnTo>
                    <a:pt x="301" y="400"/>
                  </a:lnTo>
                  <a:lnTo>
                    <a:pt x="299" y="400"/>
                  </a:lnTo>
                  <a:lnTo>
                    <a:pt x="299" y="402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0"/>
                  </a:lnTo>
                  <a:lnTo>
                    <a:pt x="304" y="400"/>
                  </a:lnTo>
                  <a:lnTo>
                    <a:pt x="304" y="399"/>
                  </a:lnTo>
                  <a:lnTo>
                    <a:pt x="305" y="399"/>
                  </a:lnTo>
                  <a:lnTo>
                    <a:pt x="305" y="399"/>
                  </a:lnTo>
                  <a:lnTo>
                    <a:pt x="305" y="400"/>
                  </a:lnTo>
                  <a:lnTo>
                    <a:pt x="305" y="400"/>
                  </a:lnTo>
                  <a:lnTo>
                    <a:pt x="304" y="402"/>
                  </a:lnTo>
                  <a:lnTo>
                    <a:pt x="304" y="402"/>
                  </a:lnTo>
                  <a:lnTo>
                    <a:pt x="305" y="403"/>
                  </a:lnTo>
                  <a:lnTo>
                    <a:pt x="305" y="403"/>
                  </a:lnTo>
                  <a:lnTo>
                    <a:pt x="307" y="403"/>
                  </a:lnTo>
                  <a:lnTo>
                    <a:pt x="307" y="402"/>
                  </a:lnTo>
                  <a:lnTo>
                    <a:pt x="308" y="400"/>
                  </a:lnTo>
                  <a:lnTo>
                    <a:pt x="310" y="396"/>
                  </a:lnTo>
                  <a:lnTo>
                    <a:pt x="307" y="391"/>
                  </a:lnTo>
                  <a:lnTo>
                    <a:pt x="305" y="389"/>
                  </a:lnTo>
                  <a:lnTo>
                    <a:pt x="307" y="386"/>
                  </a:lnTo>
                  <a:lnTo>
                    <a:pt x="307" y="385"/>
                  </a:lnTo>
                  <a:lnTo>
                    <a:pt x="304" y="388"/>
                  </a:lnTo>
                  <a:lnTo>
                    <a:pt x="304" y="389"/>
                  </a:lnTo>
                  <a:lnTo>
                    <a:pt x="304" y="388"/>
                  </a:lnTo>
                  <a:lnTo>
                    <a:pt x="302" y="388"/>
                  </a:lnTo>
                  <a:lnTo>
                    <a:pt x="301" y="386"/>
                  </a:lnTo>
                  <a:lnTo>
                    <a:pt x="301" y="385"/>
                  </a:lnTo>
                  <a:lnTo>
                    <a:pt x="301" y="383"/>
                  </a:lnTo>
                  <a:lnTo>
                    <a:pt x="299" y="383"/>
                  </a:lnTo>
                  <a:lnTo>
                    <a:pt x="298" y="382"/>
                  </a:lnTo>
                  <a:lnTo>
                    <a:pt x="298" y="382"/>
                  </a:lnTo>
                  <a:lnTo>
                    <a:pt x="298" y="380"/>
                  </a:lnTo>
                  <a:lnTo>
                    <a:pt x="298" y="380"/>
                  </a:lnTo>
                  <a:lnTo>
                    <a:pt x="298" y="379"/>
                  </a:lnTo>
                  <a:lnTo>
                    <a:pt x="299" y="379"/>
                  </a:lnTo>
                  <a:lnTo>
                    <a:pt x="299" y="379"/>
                  </a:lnTo>
                  <a:lnTo>
                    <a:pt x="299" y="380"/>
                  </a:lnTo>
                  <a:lnTo>
                    <a:pt x="301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7" y="382"/>
                  </a:lnTo>
                  <a:lnTo>
                    <a:pt x="307" y="383"/>
                  </a:lnTo>
                  <a:lnTo>
                    <a:pt x="307" y="382"/>
                  </a:lnTo>
                  <a:lnTo>
                    <a:pt x="307" y="379"/>
                  </a:lnTo>
                  <a:lnTo>
                    <a:pt x="307" y="377"/>
                  </a:lnTo>
                  <a:lnTo>
                    <a:pt x="307" y="376"/>
                  </a:lnTo>
                  <a:lnTo>
                    <a:pt x="308" y="372"/>
                  </a:lnTo>
                  <a:lnTo>
                    <a:pt x="310" y="371"/>
                  </a:lnTo>
                  <a:lnTo>
                    <a:pt x="311" y="369"/>
                  </a:lnTo>
                  <a:lnTo>
                    <a:pt x="313" y="368"/>
                  </a:lnTo>
                  <a:lnTo>
                    <a:pt x="318" y="360"/>
                  </a:lnTo>
                  <a:lnTo>
                    <a:pt x="318" y="359"/>
                  </a:lnTo>
                  <a:lnTo>
                    <a:pt x="319" y="352"/>
                  </a:lnTo>
                  <a:lnTo>
                    <a:pt x="318" y="351"/>
                  </a:lnTo>
                  <a:lnTo>
                    <a:pt x="318" y="348"/>
                  </a:lnTo>
                  <a:lnTo>
                    <a:pt x="318" y="346"/>
                  </a:lnTo>
                  <a:lnTo>
                    <a:pt x="318" y="343"/>
                  </a:lnTo>
                  <a:lnTo>
                    <a:pt x="321" y="337"/>
                  </a:lnTo>
                  <a:lnTo>
                    <a:pt x="322" y="334"/>
                  </a:lnTo>
                  <a:lnTo>
                    <a:pt x="322" y="334"/>
                  </a:lnTo>
                  <a:lnTo>
                    <a:pt x="322" y="331"/>
                  </a:lnTo>
                  <a:lnTo>
                    <a:pt x="324" y="325"/>
                  </a:lnTo>
                  <a:lnTo>
                    <a:pt x="325" y="323"/>
                  </a:lnTo>
                  <a:lnTo>
                    <a:pt x="325" y="322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31" y="312"/>
                  </a:lnTo>
                  <a:lnTo>
                    <a:pt x="331" y="311"/>
                  </a:lnTo>
                  <a:lnTo>
                    <a:pt x="333" y="311"/>
                  </a:lnTo>
                  <a:lnTo>
                    <a:pt x="333" y="309"/>
                  </a:lnTo>
                  <a:lnTo>
                    <a:pt x="333" y="308"/>
                  </a:lnTo>
                  <a:lnTo>
                    <a:pt x="335" y="308"/>
                  </a:lnTo>
                  <a:lnTo>
                    <a:pt x="335" y="30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68"/>
            <p:cNvSpPr>
              <a:spLocks noEditPoints="1"/>
            </p:cNvSpPr>
            <p:nvPr/>
          </p:nvSpPr>
          <p:spPr bwMode="gray">
            <a:xfrm>
              <a:off x="4445000" y="5603876"/>
              <a:ext cx="531813" cy="779463"/>
            </a:xfrm>
            <a:custGeom>
              <a:avLst/>
              <a:gdLst>
                <a:gd name="T0" fmla="*/ 63 w 335"/>
                <a:gd name="T1" fmla="*/ 291 h 491"/>
                <a:gd name="T2" fmla="*/ 37 w 335"/>
                <a:gd name="T3" fmla="*/ 192 h 491"/>
                <a:gd name="T4" fmla="*/ 148 w 335"/>
                <a:gd name="T5" fmla="*/ 51 h 491"/>
                <a:gd name="T6" fmla="*/ 327 w 335"/>
                <a:gd name="T7" fmla="*/ 275 h 491"/>
                <a:gd name="T8" fmla="*/ 322 w 335"/>
                <a:gd name="T9" fmla="*/ 243 h 491"/>
                <a:gd name="T10" fmla="*/ 307 w 335"/>
                <a:gd name="T11" fmla="*/ 180 h 491"/>
                <a:gd name="T12" fmla="*/ 302 w 335"/>
                <a:gd name="T13" fmla="*/ 171 h 491"/>
                <a:gd name="T14" fmla="*/ 271 w 335"/>
                <a:gd name="T15" fmla="*/ 146 h 491"/>
                <a:gd name="T16" fmla="*/ 248 w 335"/>
                <a:gd name="T17" fmla="*/ 148 h 491"/>
                <a:gd name="T18" fmla="*/ 227 w 335"/>
                <a:gd name="T19" fmla="*/ 158 h 491"/>
                <a:gd name="T20" fmla="*/ 182 w 335"/>
                <a:gd name="T21" fmla="*/ 112 h 491"/>
                <a:gd name="T22" fmla="*/ 214 w 335"/>
                <a:gd name="T23" fmla="*/ 83 h 491"/>
                <a:gd name="T24" fmla="*/ 248 w 335"/>
                <a:gd name="T25" fmla="*/ 31 h 491"/>
                <a:gd name="T26" fmla="*/ 231 w 335"/>
                <a:gd name="T27" fmla="*/ 9 h 491"/>
                <a:gd name="T28" fmla="*/ 210 w 335"/>
                <a:gd name="T29" fmla="*/ 55 h 491"/>
                <a:gd name="T30" fmla="*/ 202 w 335"/>
                <a:gd name="T31" fmla="*/ 17 h 491"/>
                <a:gd name="T32" fmla="*/ 199 w 335"/>
                <a:gd name="T33" fmla="*/ 26 h 491"/>
                <a:gd name="T34" fmla="*/ 188 w 335"/>
                <a:gd name="T35" fmla="*/ 23 h 491"/>
                <a:gd name="T36" fmla="*/ 154 w 335"/>
                <a:gd name="T37" fmla="*/ 48 h 491"/>
                <a:gd name="T38" fmla="*/ 161 w 335"/>
                <a:gd name="T39" fmla="*/ 72 h 491"/>
                <a:gd name="T40" fmla="*/ 125 w 335"/>
                <a:gd name="T41" fmla="*/ 89 h 491"/>
                <a:gd name="T42" fmla="*/ 154 w 335"/>
                <a:gd name="T43" fmla="*/ 101 h 491"/>
                <a:gd name="T44" fmla="*/ 170 w 335"/>
                <a:gd name="T45" fmla="*/ 114 h 491"/>
                <a:gd name="T46" fmla="*/ 148 w 335"/>
                <a:gd name="T47" fmla="*/ 140 h 491"/>
                <a:gd name="T48" fmla="*/ 117 w 335"/>
                <a:gd name="T49" fmla="*/ 143 h 491"/>
                <a:gd name="T50" fmla="*/ 87 w 335"/>
                <a:gd name="T51" fmla="*/ 137 h 491"/>
                <a:gd name="T52" fmla="*/ 45 w 335"/>
                <a:gd name="T53" fmla="*/ 149 h 491"/>
                <a:gd name="T54" fmla="*/ 28 w 335"/>
                <a:gd name="T55" fmla="*/ 149 h 491"/>
                <a:gd name="T56" fmla="*/ 40 w 335"/>
                <a:gd name="T57" fmla="*/ 155 h 491"/>
                <a:gd name="T58" fmla="*/ 43 w 335"/>
                <a:gd name="T59" fmla="*/ 175 h 491"/>
                <a:gd name="T60" fmla="*/ 43 w 335"/>
                <a:gd name="T61" fmla="*/ 195 h 491"/>
                <a:gd name="T62" fmla="*/ 42 w 335"/>
                <a:gd name="T63" fmla="*/ 214 h 491"/>
                <a:gd name="T64" fmla="*/ 27 w 335"/>
                <a:gd name="T65" fmla="*/ 238 h 491"/>
                <a:gd name="T66" fmla="*/ 42 w 335"/>
                <a:gd name="T67" fmla="*/ 254 h 491"/>
                <a:gd name="T68" fmla="*/ 50 w 335"/>
                <a:gd name="T69" fmla="*/ 263 h 491"/>
                <a:gd name="T70" fmla="*/ 63 w 335"/>
                <a:gd name="T71" fmla="*/ 272 h 491"/>
                <a:gd name="T72" fmla="*/ 114 w 335"/>
                <a:gd name="T73" fmla="*/ 280 h 491"/>
                <a:gd name="T74" fmla="*/ 82 w 335"/>
                <a:gd name="T75" fmla="*/ 302 h 491"/>
                <a:gd name="T76" fmla="*/ 63 w 335"/>
                <a:gd name="T77" fmla="*/ 337 h 491"/>
                <a:gd name="T78" fmla="*/ 87 w 335"/>
                <a:gd name="T79" fmla="*/ 352 h 491"/>
                <a:gd name="T80" fmla="*/ 108 w 335"/>
                <a:gd name="T81" fmla="*/ 349 h 491"/>
                <a:gd name="T82" fmla="*/ 62 w 335"/>
                <a:gd name="T83" fmla="*/ 365 h 491"/>
                <a:gd name="T84" fmla="*/ 56 w 335"/>
                <a:gd name="T85" fmla="*/ 394 h 491"/>
                <a:gd name="T86" fmla="*/ 8 w 335"/>
                <a:gd name="T87" fmla="*/ 400 h 491"/>
                <a:gd name="T88" fmla="*/ 20 w 335"/>
                <a:gd name="T89" fmla="*/ 409 h 491"/>
                <a:gd name="T90" fmla="*/ 14 w 335"/>
                <a:gd name="T91" fmla="*/ 429 h 491"/>
                <a:gd name="T92" fmla="*/ 19 w 335"/>
                <a:gd name="T93" fmla="*/ 442 h 491"/>
                <a:gd name="T94" fmla="*/ 56 w 335"/>
                <a:gd name="T95" fmla="*/ 443 h 491"/>
                <a:gd name="T96" fmla="*/ 31 w 335"/>
                <a:gd name="T97" fmla="*/ 468 h 491"/>
                <a:gd name="T98" fmla="*/ 70 w 335"/>
                <a:gd name="T99" fmla="*/ 454 h 491"/>
                <a:gd name="T100" fmla="*/ 56 w 335"/>
                <a:gd name="T101" fmla="*/ 480 h 491"/>
                <a:gd name="T102" fmla="*/ 79 w 335"/>
                <a:gd name="T103" fmla="*/ 477 h 491"/>
                <a:gd name="T104" fmla="*/ 91 w 335"/>
                <a:gd name="T105" fmla="*/ 486 h 491"/>
                <a:gd name="T106" fmla="*/ 124 w 335"/>
                <a:gd name="T107" fmla="*/ 474 h 491"/>
                <a:gd name="T108" fmla="*/ 147 w 335"/>
                <a:gd name="T109" fmla="*/ 460 h 491"/>
                <a:gd name="T110" fmla="*/ 162 w 335"/>
                <a:gd name="T111" fmla="*/ 445 h 491"/>
                <a:gd name="T112" fmla="*/ 167 w 335"/>
                <a:gd name="T113" fmla="*/ 448 h 491"/>
                <a:gd name="T114" fmla="*/ 216 w 335"/>
                <a:gd name="T115" fmla="*/ 425 h 491"/>
                <a:gd name="T116" fmla="*/ 250 w 335"/>
                <a:gd name="T117" fmla="*/ 405 h 491"/>
                <a:gd name="T118" fmla="*/ 265 w 335"/>
                <a:gd name="T119" fmla="*/ 408 h 491"/>
                <a:gd name="T120" fmla="*/ 298 w 335"/>
                <a:gd name="T121" fmla="*/ 400 h 491"/>
                <a:gd name="T122" fmla="*/ 298 w 335"/>
                <a:gd name="T123" fmla="*/ 380 h 491"/>
                <a:gd name="T124" fmla="*/ 333 w 335"/>
                <a:gd name="T125" fmla="*/ 30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5" h="491">
                  <a:moveTo>
                    <a:pt x="51" y="469"/>
                  </a:moveTo>
                  <a:lnTo>
                    <a:pt x="51" y="468"/>
                  </a:lnTo>
                  <a:lnTo>
                    <a:pt x="51" y="468"/>
                  </a:lnTo>
                  <a:lnTo>
                    <a:pt x="50" y="468"/>
                  </a:lnTo>
                  <a:lnTo>
                    <a:pt x="50" y="468"/>
                  </a:lnTo>
                  <a:lnTo>
                    <a:pt x="47" y="468"/>
                  </a:lnTo>
                  <a:lnTo>
                    <a:pt x="45" y="468"/>
                  </a:lnTo>
                  <a:lnTo>
                    <a:pt x="43" y="468"/>
                  </a:lnTo>
                  <a:lnTo>
                    <a:pt x="42" y="469"/>
                  </a:lnTo>
                  <a:lnTo>
                    <a:pt x="42" y="469"/>
                  </a:lnTo>
                  <a:lnTo>
                    <a:pt x="43" y="471"/>
                  </a:lnTo>
                  <a:lnTo>
                    <a:pt x="43" y="471"/>
                  </a:lnTo>
                  <a:lnTo>
                    <a:pt x="50" y="469"/>
                  </a:lnTo>
                  <a:lnTo>
                    <a:pt x="51" y="469"/>
                  </a:lnTo>
                  <a:close/>
                  <a:moveTo>
                    <a:pt x="13" y="436"/>
                  </a:moveTo>
                  <a:lnTo>
                    <a:pt x="14" y="436"/>
                  </a:lnTo>
                  <a:lnTo>
                    <a:pt x="14" y="434"/>
                  </a:lnTo>
                  <a:lnTo>
                    <a:pt x="14" y="434"/>
                  </a:lnTo>
                  <a:lnTo>
                    <a:pt x="13" y="434"/>
                  </a:lnTo>
                  <a:lnTo>
                    <a:pt x="13" y="434"/>
                  </a:lnTo>
                  <a:lnTo>
                    <a:pt x="11" y="433"/>
                  </a:lnTo>
                  <a:lnTo>
                    <a:pt x="11" y="433"/>
                  </a:lnTo>
                  <a:lnTo>
                    <a:pt x="10" y="433"/>
                  </a:lnTo>
                  <a:lnTo>
                    <a:pt x="10" y="434"/>
                  </a:lnTo>
                  <a:lnTo>
                    <a:pt x="5" y="436"/>
                  </a:lnTo>
                  <a:lnTo>
                    <a:pt x="3" y="437"/>
                  </a:lnTo>
                  <a:lnTo>
                    <a:pt x="5" y="439"/>
                  </a:lnTo>
                  <a:lnTo>
                    <a:pt x="7" y="439"/>
                  </a:lnTo>
                  <a:lnTo>
                    <a:pt x="7" y="437"/>
                  </a:lnTo>
                  <a:lnTo>
                    <a:pt x="10" y="437"/>
                  </a:lnTo>
                  <a:lnTo>
                    <a:pt x="13" y="436"/>
                  </a:lnTo>
                  <a:close/>
                  <a:moveTo>
                    <a:pt x="54" y="286"/>
                  </a:moveTo>
                  <a:lnTo>
                    <a:pt x="53" y="285"/>
                  </a:lnTo>
                  <a:lnTo>
                    <a:pt x="51" y="285"/>
                  </a:lnTo>
                  <a:lnTo>
                    <a:pt x="50" y="286"/>
                  </a:lnTo>
                  <a:lnTo>
                    <a:pt x="53" y="288"/>
                  </a:lnTo>
                  <a:lnTo>
                    <a:pt x="62" y="291"/>
                  </a:lnTo>
                  <a:lnTo>
                    <a:pt x="63" y="291"/>
                  </a:lnTo>
                  <a:lnTo>
                    <a:pt x="63" y="289"/>
                  </a:lnTo>
                  <a:lnTo>
                    <a:pt x="62" y="289"/>
                  </a:lnTo>
                  <a:lnTo>
                    <a:pt x="62" y="289"/>
                  </a:lnTo>
                  <a:lnTo>
                    <a:pt x="60" y="289"/>
                  </a:lnTo>
                  <a:lnTo>
                    <a:pt x="60" y="288"/>
                  </a:lnTo>
                  <a:lnTo>
                    <a:pt x="62" y="288"/>
                  </a:lnTo>
                  <a:lnTo>
                    <a:pt x="60" y="286"/>
                  </a:lnTo>
                  <a:lnTo>
                    <a:pt x="59" y="286"/>
                  </a:lnTo>
                  <a:lnTo>
                    <a:pt x="57" y="285"/>
                  </a:lnTo>
                  <a:lnTo>
                    <a:pt x="56" y="286"/>
                  </a:lnTo>
                  <a:lnTo>
                    <a:pt x="54" y="286"/>
                  </a:lnTo>
                  <a:close/>
                  <a:moveTo>
                    <a:pt x="57" y="272"/>
                  </a:moveTo>
                  <a:lnTo>
                    <a:pt x="59" y="274"/>
                  </a:lnTo>
                  <a:lnTo>
                    <a:pt x="62" y="274"/>
                  </a:lnTo>
                  <a:lnTo>
                    <a:pt x="63" y="271"/>
                  </a:lnTo>
                  <a:lnTo>
                    <a:pt x="62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7" y="268"/>
                  </a:lnTo>
                  <a:lnTo>
                    <a:pt x="57" y="269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2"/>
                  </a:lnTo>
                  <a:close/>
                  <a:moveTo>
                    <a:pt x="22" y="183"/>
                  </a:moveTo>
                  <a:lnTo>
                    <a:pt x="23" y="183"/>
                  </a:lnTo>
                  <a:lnTo>
                    <a:pt x="30" y="182"/>
                  </a:lnTo>
                  <a:lnTo>
                    <a:pt x="31" y="182"/>
                  </a:lnTo>
                  <a:lnTo>
                    <a:pt x="33" y="183"/>
                  </a:lnTo>
                  <a:lnTo>
                    <a:pt x="33" y="185"/>
                  </a:lnTo>
                  <a:lnTo>
                    <a:pt x="31" y="186"/>
                  </a:lnTo>
                  <a:lnTo>
                    <a:pt x="31" y="188"/>
                  </a:lnTo>
                  <a:lnTo>
                    <a:pt x="33" y="189"/>
                  </a:lnTo>
                  <a:lnTo>
                    <a:pt x="33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6" y="191"/>
                  </a:lnTo>
                  <a:lnTo>
                    <a:pt x="37" y="192"/>
                  </a:lnTo>
                  <a:lnTo>
                    <a:pt x="39" y="192"/>
                  </a:lnTo>
                  <a:lnTo>
                    <a:pt x="40" y="191"/>
                  </a:lnTo>
                  <a:lnTo>
                    <a:pt x="40" y="189"/>
                  </a:lnTo>
                  <a:lnTo>
                    <a:pt x="40" y="188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3"/>
                  </a:lnTo>
                  <a:lnTo>
                    <a:pt x="42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80"/>
                  </a:lnTo>
                  <a:lnTo>
                    <a:pt x="39" y="178"/>
                  </a:lnTo>
                  <a:lnTo>
                    <a:pt x="40" y="178"/>
                  </a:lnTo>
                  <a:lnTo>
                    <a:pt x="39" y="175"/>
                  </a:lnTo>
                  <a:lnTo>
                    <a:pt x="37" y="175"/>
                  </a:lnTo>
                  <a:lnTo>
                    <a:pt x="31" y="175"/>
                  </a:lnTo>
                  <a:lnTo>
                    <a:pt x="30" y="175"/>
                  </a:lnTo>
                  <a:lnTo>
                    <a:pt x="28" y="177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2" y="177"/>
                  </a:lnTo>
                  <a:lnTo>
                    <a:pt x="22" y="175"/>
                  </a:lnTo>
                  <a:lnTo>
                    <a:pt x="22" y="178"/>
                  </a:lnTo>
                  <a:lnTo>
                    <a:pt x="20" y="180"/>
                  </a:lnTo>
                  <a:lnTo>
                    <a:pt x="19" y="180"/>
                  </a:lnTo>
                  <a:lnTo>
                    <a:pt x="16" y="180"/>
                  </a:lnTo>
                  <a:lnTo>
                    <a:pt x="16" y="182"/>
                  </a:lnTo>
                  <a:lnTo>
                    <a:pt x="19" y="182"/>
                  </a:lnTo>
                  <a:lnTo>
                    <a:pt x="22" y="183"/>
                  </a:lnTo>
                  <a:close/>
                  <a:moveTo>
                    <a:pt x="145" y="54"/>
                  </a:moveTo>
                  <a:lnTo>
                    <a:pt x="150" y="54"/>
                  </a:lnTo>
                  <a:lnTo>
                    <a:pt x="148" y="51"/>
                  </a:lnTo>
                  <a:lnTo>
                    <a:pt x="148" y="49"/>
                  </a:lnTo>
                  <a:lnTo>
                    <a:pt x="147" y="49"/>
                  </a:lnTo>
                  <a:lnTo>
                    <a:pt x="147" y="49"/>
                  </a:lnTo>
                  <a:lnTo>
                    <a:pt x="145" y="48"/>
                  </a:lnTo>
                  <a:lnTo>
                    <a:pt x="145" y="48"/>
                  </a:lnTo>
                  <a:lnTo>
                    <a:pt x="145" y="48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5" y="49"/>
                  </a:lnTo>
                  <a:lnTo>
                    <a:pt x="144" y="49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335" y="306"/>
                  </a:moveTo>
                  <a:lnTo>
                    <a:pt x="331" y="303"/>
                  </a:lnTo>
                  <a:lnTo>
                    <a:pt x="330" y="302"/>
                  </a:lnTo>
                  <a:lnTo>
                    <a:pt x="330" y="300"/>
                  </a:lnTo>
                  <a:lnTo>
                    <a:pt x="331" y="297"/>
                  </a:lnTo>
                  <a:lnTo>
                    <a:pt x="331" y="294"/>
                  </a:lnTo>
                  <a:lnTo>
                    <a:pt x="331" y="291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31" y="289"/>
                  </a:lnTo>
                  <a:lnTo>
                    <a:pt x="328" y="283"/>
                  </a:lnTo>
                  <a:lnTo>
                    <a:pt x="328" y="282"/>
                  </a:lnTo>
                  <a:lnTo>
                    <a:pt x="328" y="280"/>
                  </a:lnTo>
                  <a:lnTo>
                    <a:pt x="328" y="279"/>
                  </a:lnTo>
                  <a:lnTo>
                    <a:pt x="327" y="277"/>
                  </a:lnTo>
                  <a:lnTo>
                    <a:pt x="327" y="277"/>
                  </a:lnTo>
                  <a:lnTo>
                    <a:pt x="327" y="275"/>
                  </a:lnTo>
                  <a:lnTo>
                    <a:pt x="327" y="274"/>
                  </a:lnTo>
                  <a:lnTo>
                    <a:pt x="325" y="272"/>
                  </a:lnTo>
                  <a:lnTo>
                    <a:pt x="325" y="269"/>
                  </a:lnTo>
                  <a:lnTo>
                    <a:pt x="327" y="269"/>
                  </a:lnTo>
                  <a:lnTo>
                    <a:pt x="327" y="268"/>
                  </a:lnTo>
                  <a:lnTo>
                    <a:pt x="327" y="268"/>
                  </a:lnTo>
                  <a:lnTo>
                    <a:pt x="325" y="266"/>
                  </a:lnTo>
                  <a:lnTo>
                    <a:pt x="325" y="266"/>
                  </a:lnTo>
                  <a:lnTo>
                    <a:pt x="324" y="266"/>
                  </a:lnTo>
                  <a:lnTo>
                    <a:pt x="322" y="266"/>
                  </a:lnTo>
                  <a:lnTo>
                    <a:pt x="321" y="265"/>
                  </a:lnTo>
                  <a:lnTo>
                    <a:pt x="321" y="263"/>
                  </a:lnTo>
                  <a:lnTo>
                    <a:pt x="318" y="260"/>
                  </a:lnTo>
                  <a:lnTo>
                    <a:pt x="318" y="260"/>
                  </a:lnTo>
                  <a:lnTo>
                    <a:pt x="318" y="259"/>
                  </a:lnTo>
                  <a:lnTo>
                    <a:pt x="322" y="255"/>
                  </a:lnTo>
                  <a:lnTo>
                    <a:pt x="322" y="254"/>
                  </a:lnTo>
                  <a:lnTo>
                    <a:pt x="324" y="254"/>
                  </a:lnTo>
                  <a:lnTo>
                    <a:pt x="325" y="254"/>
                  </a:lnTo>
                  <a:lnTo>
                    <a:pt x="325" y="254"/>
                  </a:lnTo>
                  <a:lnTo>
                    <a:pt x="325" y="255"/>
                  </a:lnTo>
                  <a:lnTo>
                    <a:pt x="327" y="255"/>
                  </a:lnTo>
                  <a:lnTo>
                    <a:pt x="327" y="255"/>
                  </a:lnTo>
                  <a:lnTo>
                    <a:pt x="328" y="257"/>
                  </a:lnTo>
                  <a:lnTo>
                    <a:pt x="330" y="257"/>
                  </a:lnTo>
                  <a:lnTo>
                    <a:pt x="330" y="255"/>
                  </a:lnTo>
                  <a:lnTo>
                    <a:pt x="328" y="254"/>
                  </a:lnTo>
                  <a:lnTo>
                    <a:pt x="325" y="254"/>
                  </a:lnTo>
                  <a:lnTo>
                    <a:pt x="324" y="252"/>
                  </a:lnTo>
                  <a:lnTo>
                    <a:pt x="325" y="252"/>
                  </a:lnTo>
                  <a:lnTo>
                    <a:pt x="325" y="252"/>
                  </a:lnTo>
                  <a:lnTo>
                    <a:pt x="325" y="251"/>
                  </a:lnTo>
                  <a:lnTo>
                    <a:pt x="325" y="251"/>
                  </a:lnTo>
                  <a:lnTo>
                    <a:pt x="324" y="249"/>
                  </a:lnTo>
                  <a:lnTo>
                    <a:pt x="324" y="248"/>
                  </a:lnTo>
                  <a:lnTo>
                    <a:pt x="319" y="245"/>
                  </a:lnTo>
                  <a:lnTo>
                    <a:pt x="321" y="245"/>
                  </a:lnTo>
                  <a:lnTo>
                    <a:pt x="322" y="243"/>
                  </a:lnTo>
                  <a:lnTo>
                    <a:pt x="324" y="245"/>
                  </a:lnTo>
                  <a:lnTo>
                    <a:pt x="324" y="245"/>
                  </a:lnTo>
                  <a:lnTo>
                    <a:pt x="325" y="245"/>
                  </a:lnTo>
                  <a:lnTo>
                    <a:pt x="325" y="242"/>
                  </a:lnTo>
                  <a:lnTo>
                    <a:pt x="325" y="242"/>
                  </a:lnTo>
                  <a:lnTo>
                    <a:pt x="327" y="240"/>
                  </a:lnTo>
                  <a:lnTo>
                    <a:pt x="327" y="240"/>
                  </a:lnTo>
                  <a:lnTo>
                    <a:pt x="328" y="237"/>
                  </a:lnTo>
                  <a:lnTo>
                    <a:pt x="328" y="235"/>
                  </a:lnTo>
                  <a:lnTo>
                    <a:pt x="328" y="234"/>
                  </a:lnTo>
                  <a:lnTo>
                    <a:pt x="328" y="232"/>
                  </a:lnTo>
                  <a:lnTo>
                    <a:pt x="327" y="231"/>
                  </a:lnTo>
                  <a:lnTo>
                    <a:pt x="325" y="229"/>
                  </a:lnTo>
                  <a:lnTo>
                    <a:pt x="324" y="229"/>
                  </a:lnTo>
                  <a:lnTo>
                    <a:pt x="321" y="228"/>
                  </a:lnTo>
                  <a:lnTo>
                    <a:pt x="321" y="225"/>
                  </a:lnTo>
                  <a:lnTo>
                    <a:pt x="319" y="223"/>
                  </a:lnTo>
                  <a:lnTo>
                    <a:pt x="318" y="223"/>
                  </a:lnTo>
                  <a:lnTo>
                    <a:pt x="318" y="222"/>
                  </a:lnTo>
                  <a:lnTo>
                    <a:pt x="316" y="222"/>
                  </a:lnTo>
                  <a:lnTo>
                    <a:pt x="316" y="218"/>
                  </a:lnTo>
                  <a:lnTo>
                    <a:pt x="316" y="217"/>
                  </a:lnTo>
                  <a:lnTo>
                    <a:pt x="316" y="212"/>
                  </a:lnTo>
                  <a:lnTo>
                    <a:pt x="316" y="208"/>
                  </a:lnTo>
                  <a:lnTo>
                    <a:pt x="316" y="205"/>
                  </a:lnTo>
                  <a:lnTo>
                    <a:pt x="318" y="203"/>
                  </a:lnTo>
                  <a:lnTo>
                    <a:pt x="316" y="202"/>
                  </a:lnTo>
                  <a:lnTo>
                    <a:pt x="315" y="200"/>
                  </a:lnTo>
                  <a:lnTo>
                    <a:pt x="315" y="198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0" y="194"/>
                  </a:lnTo>
                  <a:lnTo>
                    <a:pt x="308" y="192"/>
                  </a:lnTo>
                  <a:lnTo>
                    <a:pt x="307" y="191"/>
                  </a:lnTo>
                  <a:lnTo>
                    <a:pt x="305" y="188"/>
                  </a:lnTo>
                  <a:lnTo>
                    <a:pt x="305" y="186"/>
                  </a:lnTo>
                  <a:lnTo>
                    <a:pt x="307" y="182"/>
                  </a:lnTo>
                  <a:lnTo>
                    <a:pt x="307" y="180"/>
                  </a:lnTo>
                  <a:lnTo>
                    <a:pt x="307" y="178"/>
                  </a:lnTo>
                  <a:lnTo>
                    <a:pt x="308" y="177"/>
                  </a:lnTo>
                  <a:lnTo>
                    <a:pt x="307" y="177"/>
                  </a:lnTo>
                  <a:lnTo>
                    <a:pt x="307" y="175"/>
                  </a:lnTo>
                  <a:lnTo>
                    <a:pt x="311" y="177"/>
                  </a:lnTo>
                  <a:lnTo>
                    <a:pt x="316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21" y="180"/>
                  </a:lnTo>
                  <a:lnTo>
                    <a:pt x="322" y="182"/>
                  </a:lnTo>
                  <a:lnTo>
                    <a:pt x="324" y="180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2" y="174"/>
                  </a:lnTo>
                  <a:lnTo>
                    <a:pt x="321" y="172"/>
                  </a:lnTo>
                  <a:lnTo>
                    <a:pt x="321" y="171"/>
                  </a:lnTo>
                  <a:lnTo>
                    <a:pt x="319" y="171"/>
                  </a:lnTo>
                  <a:lnTo>
                    <a:pt x="319" y="169"/>
                  </a:lnTo>
                  <a:lnTo>
                    <a:pt x="315" y="165"/>
                  </a:lnTo>
                  <a:lnTo>
                    <a:pt x="315" y="165"/>
                  </a:lnTo>
                  <a:lnTo>
                    <a:pt x="313" y="165"/>
                  </a:lnTo>
                  <a:lnTo>
                    <a:pt x="311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08" y="165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6"/>
                  </a:lnTo>
                  <a:lnTo>
                    <a:pt x="307" y="166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9"/>
                  </a:lnTo>
                  <a:lnTo>
                    <a:pt x="305" y="169"/>
                  </a:lnTo>
                  <a:lnTo>
                    <a:pt x="304" y="171"/>
                  </a:lnTo>
                  <a:lnTo>
                    <a:pt x="302" y="171"/>
                  </a:lnTo>
                  <a:lnTo>
                    <a:pt x="302" y="171"/>
                  </a:lnTo>
                  <a:lnTo>
                    <a:pt x="301" y="171"/>
                  </a:lnTo>
                  <a:lnTo>
                    <a:pt x="301" y="169"/>
                  </a:lnTo>
                  <a:lnTo>
                    <a:pt x="301" y="169"/>
                  </a:lnTo>
                  <a:lnTo>
                    <a:pt x="301" y="169"/>
                  </a:lnTo>
                  <a:lnTo>
                    <a:pt x="298" y="169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0" y="171"/>
                  </a:lnTo>
                  <a:lnTo>
                    <a:pt x="290" y="171"/>
                  </a:lnTo>
                  <a:lnTo>
                    <a:pt x="290" y="171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7" y="172"/>
                  </a:lnTo>
                  <a:lnTo>
                    <a:pt x="285" y="169"/>
                  </a:lnTo>
                  <a:lnTo>
                    <a:pt x="284" y="169"/>
                  </a:lnTo>
                  <a:lnTo>
                    <a:pt x="285" y="166"/>
                  </a:lnTo>
                  <a:lnTo>
                    <a:pt x="285" y="165"/>
                  </a:lnTo>
                  <a:lnTo>
                    <a:pt x="284" y="163"/>
                  </a:lnTo>
                  <a:lnTo>
                    <a:pt x="285" y="161"/>
                  </a:lnTo>
                  <a:lnTo>
                    <a:pt x="287" y="158"/>
                  </a:lnTo>
                  <a:lnTo>
                    <a:pt x="287" y="157"/>
                  </a:lnTo>
                  <a:lnTo>
                    <a:pt x="285" y="155"/>
                  </a:lnTo>
                  <a:lnTo>
                    <a:pt x="285" y="154"/>
                  </a:lnTo>
                  <a:lnTo>
                    <a:pt x="284" y="154"/>
                  </a:lnTo>
                  <a:lnTo>
                    <a:pt x="282" y="152"/>
                  </a:lnTo>
                  <a:lnTo>
                    <a:pt x="281" y="152"/>
                  </a:lnTo>
                  <a:lnTo>
                    <a:pt x="281" y="152"/>
                  </a:lnTo>
                  <a:lnTo>
                    <a:pt x="281" y="154"/>
                  </a:lnTo>
                  <a:lnTo>
                    <a:pt x="279" y="154"/>
                  </a:lnTo>
                  <a:lnTo>
                    <a:pt x="279" y="154"/>
                  </a:lnTo>
                  <a:lnTo>
                    <a:pt x="278" y="154"/>
                  </a:lnTo>
                  <a:lnTo>
                    <a:pt x="276" y="152"/>
                  </a:lnTo>
                  <a:lnTo>
                    <a:pt x="274" y="151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1" y="145"/>
                  </a:lnTo>
                  <a:lnTo>
                    <a:pt x="271" y="145"/>
                  </a:lnTo>
                  <a:lnTo>
                    <a:pt x="268" y="143"/>
                  </a:lnTo>
                  <a:lnTo>
                    <a:pt x="270" y="141"/>
                  </a:lnTo>
                  <a:lnTo>
                    <a:pt x="270" y="140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5" y="131"/>
                  </a:lnTo>
                  <a:lnTo>
                    <a:pt x="265" y="131"/>
                  </a:lnTo>
                  <a:lnTo>
                    <a:pt x="261" y="126"/>
                  </a:lnTo>
                  <a:lnTo>
                    <a:pt x="258" y="125"/>
                  </a:lnTo>
                  <a:lnTo>
                    <a:pt x="256" y="126"/>
                  </a:lnTo>
                  <a:lnTo>
                    <a:pt x="253" y="128"/>
                  </a:lnTo>
                  <a:lnTo>
                    <a:pt x="250" y="134"/>
                  </a:lnTo>
                  <a:lnTo>
                    <a:pt x="248" y="135"/>
                  </a:lnTo>
                  <a:lnTo>
                    <a:pt x="247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8"/>
                  </a:lnTo>
                  <a:lnTo>
                    <a:pt x="245" y="138"/>
                  </a:lnTo>
                  <a:lnTo>
                    <a:pt x="245" y="140"/>
                  </a:lnTo>
                  <a:lnTo>
                    <a:pt x="244" y="138"/>
                  </a:lnTo>
                  <a:lnTo>
                    <a:pt x="244" y="138"/>
                  </a:lnTo>
                  <a:lnTo>
                    <a:pt x="244" y="140"/>
                  </a:lnTo>
                  <a:lnTo>
                    <a:pt x="247" y="141"/>
                  </a:lnTo>
                  <a:lnTo>
                    <a:pt x="245" y="143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48" y="149"/>
                  </a:lnTo>
                  <a:lnTo>
                    <a:pt x="247" y="151"/>
                  </a:lnTo>
                  <a:lnTo>
                    <a:pt x="242" y="151"/>
                  </a:lnTo>
                  <a:lnTo>
                    <a:pt x="242" y="152"/>
                  </a:lnTo>
                  <a:lnTo>
                    <a:pt x="241" y="152"/>
                  </a:lnTo>
                  <a:lnTo>
                    <a:pt x="241" y="154"/>
                  </a:lnTo>
                  <a:lnTo>
                    <a:pt x="241" y="155"/>
                  </a:lnTo>
                  <a:lnTo>
                    <a:pt x="241" y="155"/>
                  </a:lnTo>
                  <a:lnTo>
                    <a:pt x="241" y="155"/>
                  </a:lnTo>
                  <a:lnTo>
                    <a:pt x="241" y="157"/>
                  </a:lnTo>
                  <a:lnTo>
                    <a:pt x="239" y="157"/>
                  </a:lnTo>
                  <a:lnTo>
                    <a:pt x="241" y="158"/>
                  </a:lnTo>
                  <a:lnTo>
                    <a:pt x="241" y="160"/>
                  </a:lnTo>
                  <a:lnTo>
                    <a:pt x="239" y="161"/>
                  </a:lnTo>
                  <a:lnTo>
                    <a:pt x="239" y="161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8" y="160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60"/>
                  </a:lnTo>
                  <a:lnTo>
                    <a:pt x="236" y="163"/>
                  </a:lnTo>
                  <a:lnTo>
                    <a:pt x="236" y="163"/>
                  </a:lnTo>
                  <a:lnTo>
                    <a:pt x="234" y="163"/>
                  </a:lnTo>
                  <a:lnTo>
                    <a:pt x="231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8" y="160"/>
                  </a:lnTo>
                  <a:lnTo>
                    <a:pt x="227" y="158"/>
                  </a:lnTo>
                  <a:lnTo>
                    <a:pt x="224" y="161"/>
                  </a:lnTo>
                  <a:lnTo>
                    <a:pt x="222" y="161"/>
                  </a:lnTo>
                  <a:lnTo>
                    <a:pt x="214" y="160"/>
                  </a:lnTo>
                  <a:lnTo>
                    <a:pt x="213" y="160"/>
                  </a:lnTo>
                  <a:lnTo>
                    <a:pt x="213" y="158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1" y="152"/>
                  </a:lnTo>
                  <a:lnTo>
                    <a:pt x="197" y="152"/>
                  </a:lnTo>
                  <a:lnTo>
                    <a:pt x="196" y="151"/>
                  </a:lnTo>
                  <a:lnTo>
                    <a:pt x="194" y="149"/>
                  </a:lnTo>
                  <a:lnTo>
                    <a:pt x="194" y="143"/>
                  </a:lnTo>
                  <a:lnTo>
                    <a:pt x="194" y="141"/>
                  </a:lnTo>
                  <a:lnTo>
                    <a:pt x="193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8" y="140"/>
                  </a:lnTo>
                  <a:lnTo>
                    <a:pt x="187" y="138"/>
                  </a:lnTo>
                  <a:lnTo>
                    <a:pt x="187" y="137"/>
                  </a:lnTo>
                  <a:lnTo>
                    <a:pt x="185" y="132"/>
                  </a:lnTo>
                  <a:lnTo>
                    <a:pt x="182" y="132"/>
                  </a:lnTo>
                  <a:lnTo>
                    <a:pt x="181" y="131"/>
                  </a:lnTo>
                  <a:lnTo>
                    <a:pt x="179" y="129"/>
                  </a:lnTo>
                  <a:lnTo>
                    <a:pt x="176" y="125"/>
                  </a:lnTo>
                  <a:lnTo>
                    <a:pt x="174" y="123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20"/>
                  </a:lnTo>
                  <a:lnTo>
                    <a:pt x="173" y="118"/>
                  </a:lnTo>
                  <a:lnTo>
                    <a:pt x="173" y="118"/>
                  </a:lnTo>
                  <a:lnTo>
                    <a:pt x="174" y="118"/>
                  </a:lnTo>
                  <a:lnTo>
                    <a:pt x="177" y="117"/>
                  </a:lnTo>
                  <a:lnTo>
                    <a:pt x="179" y="115"/>
                  </a:lnTo>
                  <a:lnTo>
                    <a:pt x="181" y="115"/>
                  </a:lnTo>
                  <a:lnTo>
                    <a:pt x="181" y="114"/>
                  </a:lnTo>
                  <a:lnTo>
                    <a:pt x="182" y="112"/>
                  </a:lnTo>
                  <a:lnTo>
                    <a:pt x="184" y="111"/>
                  </a:lnTo>
                  <a:lnTo>
                    <a:pt x="185" y="109"/>
                  </a:lnTo>
                  <a:lnTo>
                    <a:pt x="190" y="109"/>
                  </a:lnTo>
                  <a:lnTo>
                    <a:pt x="193" y="111"/>
                  </a:lnTo>
                  <a:lnTo>
                    <a:pt x="196" y="109"/>
                  </a:lnTo>
                  <a:lnTo>
                    <a:pt x="204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4" y="100"/>
                  </a:lnTo>
                  <a:lnTo>
                    <a:pt x="202" y="98"/>
                  </a:lnTo>
                  <a:lnTo>
                    <a:pt x="201" y="97"/>
                  </a:lnTo>
                  <a:lnTo>
                    <a:pt x="199" y="97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196" y="97"/>
                  </a:lnTo>
                  <a:lnTo>
                    <a:pt x="196" y="97"/>
                  </a:lnTo>
                  <a:lnTo>
                    <a:pt x="194" y="95"/>
                  </a:lnTo>
                  <a:lnTo>
                    <a:pt x="194" y="95"/>
                  </a:lnTo>
                  <a:lnTo>
                    <a:pt x="193" y="94"/>
                  </a:lnTo>
                  <a:lnTo>
                    <a:pt x="191" y="94"/>
                  </a:lnTo>
                  <a:lnTo>
                    <a:pt x="191" y="92"/>
                  </a:lnTo>
                  <a:lnTo>
                    <a:pt x="191" y="91"/>
                  </a:lnTo>
                  <a:lnTo>
                    <a:pt x="191" y="91"/>
                  </a:lnTo>
                  <a:lnTo>
                    <a:pt x="190" y="89"/>
                  </a:lnTo>
                  <a:lnTo>
                    <a:pt x="194" y="88"/>
                  </a:lnTo>
                  <a:lnTo>
                    <a:pt x="196" y="84"/>
                  </a:lnTo>
                  <a:lnTo>
                    <a:pt x="197" y="84"/>
                  </a:lnTo>
                  <a:lnTo>
                    <a:pt x="199" y="86"/>
                  </a:lnTo>
                  <a:lnTo>
                    <a:pt x="202" y="88"/>
                  </a:lnTo>
                  <a:lnTo>
                    <a:pt x="205" y="88"/>
                  </a:lnTo>
                  <a:lnTo>
                    <a:pt x="207" y="86"/>
                  </a:lnTo>
                  <a:lnTo>
                    <a:pt x="210" y="83"/>
                  </a:lnTo>
                  <a:lnTo>
                    <a:pt x="211" y="83"/>
                  </a:lnTo>
                  <a:lnTo>
                    <a:pt x="214" y="83"/>
                  </a:lnTo>
                  <a:lnTo>
                    <a:pt x="216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19" y="78"/>
                  </a:lnTo>
                  <a:lnTo>
                    <a:pt x="219" y="77"/>
                  </a:lnTo>
                  <a:lnTo>
                    <a:pt x="224" y="69"/>
                  </a:lnTo>
                  <a:lnTo>
                    <a:pt x="225" y="68"/>
                  </a:lnTo>
                  <a:lnTo>
                    <a:pt x="227" y="64"/>
                  </a:lnTo>
                  <a:lnTo>
                    <a:pt x="227" y="63"/>
                  </a:lnTo>
                  <a:lnTo>
                    <a:pt x="227" y="60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30" y="55"/>
                  </a:lnTo>
                  <a:lnTo>
                    <a:pt x="228" y="52"/>
                  </a:lnTo>
                  <a:lnTo>
                    <a:pt x="228" y="51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30" y="49"/>
                  </a:lnTo>
                  <a:lnTo>
                    <a:pt x="231" y="46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8" y="44"/>
                  </a:lnTo>
                  <a:lnTo>
                    <a:pt x="239" y="43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41" y="41"/>
                  </a:lnTo>
                  <a:lnTo>
                    <a:pt x="241" y="40"/>
                  </a:lnTo>
                  <a:lnTo>
                    <a:pt x="242" y="38"/>
                  </a:lnTo>
                  <a:lnTo>
                    <a:pt x="244" y="35"/>
                  </a:lnTo>
                  <a:lnTo>
                    <a:pt x="247" y="31"/>
                  </a:lnTo>
                  <a:lnTo>
                    <a:pt x="248" y="31"/>
                  </a:lnTo>
                  <a:lnTo>
                    <a:pt x="250" y="29"/>
                  </a:lnTo>
                  <a:lnTo>
                    <a:pt x="251" y="29"/>
                  </a:lnTo>
                  <a:lnTo>
                    <a:pt x="254" y="26"/>
                  </a:lnTo>
                  <a:lnTo>
                    <a:pt x="258" y="24"/>
                  </a:lnTo>
                  <a:lnTo>
                    <a:pt x="259" y="23"/>
                  </a:lnTo>
                  <a:lnTo>
                    <a:pt x="262" y="23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2" y="17"/>
                  </a:lnTo>
                  <a:lnTo>
                    <a:pt x="261" y="17"/>
                  </a:lnTo>
                  <a:lnTo>
                    <a:pt x="259" y="17"/>
                  </a:lnTo>
                  <a:lnTo>
                    <a:pt x="256" y="15"/>
                  </a:lnTo>
                  <a:lnTo>
                    <a:pt x="253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5" y="6"/>
                  </a:lnTo>
                  <a:lnTo>
                    <a:pt x="244" y="4"/>
                  </a:lnTo>
                  <a:lnTo>
                    <a:pt x="241" y="3"/>
                  </a:lnTo>
                  <a:lnTo>
                    <a:pt x="241" y="3"/>
                  </a:lnTo>
                  <a:lnTo>
                    <a:pt x="234" y="1"/>
                  </a:lnTo>
                  <a:lnTo>
                    <a:pt x="233" y="0"/>
                  </a:lnTo>
                  <a:lnTo>
                    <a:pt x="231" y="0"/>
                  </a:lnTo>
                  <a:lnTo>
                    <a:pt x="230" y="0"/>
                  </a:lnTo>
                  <a:lnTo>
                    <a:pt x="230" y="1"/>
                  </a:lnTo>
                  <a:lnTo>
                    <a:pt x="231" y="1"/>
                  </a:lnTo>
                  <a:lnTo>
                    <a:pt x="233" y="3"/>
                  </a:lnTo>
                  <a:lnTo>
                    <a:pt x="233" y="6"/>
                  </a:lnTo>
                  <a:lnTo>
                    <a:pt x="236" y="9"/>
                  </a:lnTo>
                  <a:lnTo>
                    <a:pt x="241" y="12"/>
                  </a:lnTo>
                  <a:lnTo>
                    <a:pt x="239" y="14"/>
                  </a:lnTo>
                  <a:lnTo>
                    <a:pt x="238" y="14"/>
                  </a:lnTo>
                  <a:lnTo>
                    <a:pt x="236" y="14"/>
                  </a:lnTo>
                  <a:lnTo>
                    <a:pt x="234" y="12"/>
                  </a:lnTo>
                  <a:lnTo>
                    <a:pt x="234" y="12"/>
                  </a:lnTo>
                  <a:lnTo>
                    <a:pt x="236" y="12"/>
                  </a:lnTo>
                  <a:lnTo>
                    <a:pt x="234" y="9"/>
                  </a:lnTo>
                  <a:lnTo>
                    <a:pt x="233" y="9"/>
                  </a:lnTo>
                  <a:lnTo>
                    <a:pt x="231" y="9"/>
                  </a:lnTo>
                  <a:lnTo>
                    <a:pt x="230" y="12"/>
                  </a:lnTo>
                  <a:lnTo>
                    <a:pt x="228" y="12"/>
                  </a:lnTo>
                  <a:lnTo>
                    <a:pt x="227" y="12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4" y="12"/>
                  </a:lnTo>
                  <a:lnTo>
                    <a:pt x="222" y="12"/>
                  </a:lnTo>
                  <a:lnTo>
                    <a:pt x="222" y="12"/>
                  </a:lnTo>
                  <a:lnTo>
                    <a:pt x="221" y="12"/>
                  </a:lnTo>
                  <a:lnTo>
                    <a:pt x="221" y="14"/>
                  </a:lnTo>
                  <a:lnTo>
                    <a:pt x="221" y="17"/>
                  </a:lnTo>
                  <a:lnTo>
                    <a:pt x="221" y="18"/>
                  </a:lnTo>
                  <a:lnTo>
                    <a:pt x="219" y="20"/>
                  </a:lnTo>
                  <a:lnTo>
                    <a:pt x="219" y="21"/>
                  </a:lnTo>
                  <a:lnTo>
                    <a:pt x="219" y="23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6"/>
                  </a:lnTo>
                  <a:lnTo>
                    <a:pt x="225" y="31"/>
                  </a:lnTo>
                  <a:lnTo>
                    <a:pt x="225" y="31"/>
                  </a:lnTo>
                  <a:lnTo>
                    <a:pt x="225" y="34"/>
                  </a:lnTo>
                  <a:lnTo>
                    <a:pt x="224" y="37"/>
                  </a:lnTo>
                  <a:lnTo>
                    <a:pt x="224" y="37"/>
                  </a:lnTo>
                  <a:lnTo>
                    <a:pt x="224" y="38"/>
                  </a:lnTo>
                  <a:lnTo>
                    <a:pt x="225" y="38"/>
                  </a:lnTo>
                  <a:lnTo>
                    <a:pt x="225" y="40"/>
                  </a:lnTo>
                  <a:lnTo>
                    <a:pt x="225" y="43"/>
                  </a:lnTo>
                  <a:lnTo>
                    <a:pt x="225" y="44"/>
                  </a:lnTo>
                  <a:lnTo>
                    <a:pt x="224" y="44"/>
                  </a:lnTo>
                  <a:lnTo>
                    <a:pt x="222" y="44"/>
                  </a:lnTo>
                  <a:lnTo>
                    <a:pt x="221" y="46"/>
                  </a:lnTo>
                  <a:lnTo>
                    <a:pt x="219" y="48"/>
                  </a:lnTo>
                  <a:lnTo>
                    <a:pt x="219" y="48"/>
                  </a:lnTo>
                  <a:lnTo>
                    <a:pt x="211" y="54"/>
                  </a:lnTo>
                  <a:lnTo>
                    <a:pt x="210" y="55"/>
                  </a:lnTo>
                  <a:lnTo>
                    <a:pt x="208" y="55"/>
                  </a:lnTo>
                  <a:lnTo>
                    <a:pt x="208" y="55"/>
                  </a:lnTo>
                  <a:lnTo>
                    <a:pt x="210" y="54"/>
                  </a:lnTo>
                  <a:lnTo>
                    <a:pt x="213" y="51"/>
                  </a:lnTo>
                  <a:lnTo>
                    <a:pt x="216" y="48"/>
                  </a:lnTo>
                  <a:lnTo>
                    <a:pt x="218" y="46"/>
                  </a:lnTo>
                  <a:lnTo>
                    <a:pt x="218" y="44"/>
                  </a:lnTo>
                  <a:lnTo>
                    <a:pt x="216" y="43"/>
                  </a:lnTo>
                  <a:lnTo>
                    <a:pt x="211" y="44"/>
                  </a:lnTo>
                  <a:lnTo>
                    <a:pt x="211" y="43"/>
                  </a:lnTo>
                  <a:lnTo>
                    <a:pt x="216" y="40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9" y="38"/>
                  </a:lnTo>
                  <a:lnTo>
                    <a:pt x="221" y="37"/>
                  </a:lnTo>
                  <a:lnTo>
                    <a:pt x="221" y="35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9" y="31"/>
                  </a:lnTo>
                  <a:lnTo>
                    <a:pt x="218" y="29"/>
                  </a:lnTo>
                  <a:lnTo>
                    <a:pt x="218" y="28"/>
                  </a:lnTo>
                  <a:lnTo>
                    <a:pt x="218" y="26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4" y="20"/>
                  </a:lnTo>
                  <a:lnTo>
                    <a:pt x="214" y="18"/>
                  </a:lnTo>
                  <a:lnTo>
                    <a:pt x="213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1" y="14"/>
                  </a:lnTo>
                  <a:lnTo>
                    <a:pt x="210" y="14"/>
                  </a:lnTo>
                  <a:lnTo>
                    <a:pt x="210" y="14"/>
                  </a:lnTo>
                  <a:lnTo>
                    <a:pt x="207" y="17"/>
                  </a:lnTo>
                  <a:lnTo>
                    <a:pt x="205" y="17"/>
                  </a:lnTo>
                  <a:lnTo>
                    <a:pt x="202" y="17"/>
                  </a:lnTo>
                  <a:lnTo>
                    <a:pt x="202" y="17"/>
                  </a:lnTo>
                  <a:lnTo>
                    <a:pt x="201" y="21"/>
                  </a:lnTo>
                  <a:lnTo>
                    <a:pt x="201" y="23"/>
                  </a:lnTo>
                  <a:lnTo>
                    <a:pt x="202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5" y="26"/>
                  </a:lnTo>
                  <a:lnTo>
                    <a:pt x="205" y="28"/>
                  </a:lnTo>
                  <a:lnTo>
                    <a:pt x="207" y="28"/>
                  </a:lnTo>
                  <a:lnTo>
                    <a:pt x="207" y="26"/>
                  </a:lnTo>
                  <a:lnTo>
                    <a:pt x="205" y="24"/>
                  </a:lnTo>
                  <a:lnTo>
                    <a:pt x="205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8" y="23"/>
                  </a:lnTo>
                  <a:lnTo>
                    <a:pt x="208" y="24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0" y="32"/>
                  </a:lnTo>
                  <a:lnTo>
                    <a:pt x="208" y="32"/>
                  </a:lnTo>
                  <a:lnTo>
                    <a:pt x="208" y="35"/>
                  </a:lnTo>
                  <a:lnTo>
                    <a:pt x="207" y="37"/>
                  </a:lnTo>
                  <a:lnTo>
                    <a:pt x="207" y="35"/>
                  </a:lnTo>
                  <a:lnTo>
                    <a:pt x="208" y="34"/>
                  </a:lnTo>
                  <a:lnTo>
                    <a:pt x="208" y="32"/>
                  </a:lnTo>
                  <a:lnTo>
                    <a:pt x="207" y="32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7" y="28"/>
                  </a:lnTo>
                  <a:lnTo>
                    <a:pt x="205" y="28"/>
                  </a:lnTo>
                  <a:lnTo>
                    <a:pt x="204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4"/>
                  </a:lnTo>
                  <a:lnTo>
                    <a:pt x="199" y="24"/>
                  </a:lnTo>
                  <a:lnTo>
                    <a:pt x="199" y="23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197" y="18"/>
                  </a:lnTo>
                  <a:lnTo>
                    <a:pt x="196" y="20"/>
                  </a:lnTo>
                  <a:lnTo>
                    <a:pt x="194" y="21"/>
                  </a:lnTo>
                  <a:lnTo>
                    <a:pt x="196" y="24"/>
                  </a:lnTo>
                  <a:lnTo>
                    <a:pt x="197" y="28"/>
                  </a:lnTo>
                  <a:lnTo>
                    <a:pt x="197" y="29"/>
                  </a:lnTo>
                  <a:lnTo>
                    <a:pt x="196" y="31"/>
                  </a:lnTo>
                  <a:lnTo>
                    <a:pt x="196" y="32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3" y="32"/>
                  </a:lnTo>
                  <a:lnTo>
                    <a:pt x="193" y="31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4" y="29"/>
                  </a:lnTo>
                  <a:lnTo>
                    <a:pt x="196" y="28"/>
                  </a:lnTo>
                  <a:lnTo>
                    <a:pt x="194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0" y="26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5" y="28"/>
                  </a:lnTo>
                  <a:lnTo>
                    <a:pt x="185" y="26"/>
                  </a:lnTo>
                  <a:lnTo>
                    <a:pt x="188" y="24"/>
                  </a:lnTo>
                  <a:lnTo>
                    <a:pt x="188" y="23"/>
                  </a:lnTo>
                  <a:lnTo>
                    <a:pt x="187" y="21"/>
                  </a:lnTo>
                  <a:lnTo>
                    <a:pt x="185" y="21"/>
                  </a:lnTo>
                  <a:lnTo>
                    <a:pt x="184" y="23"/>
                  </a:lnTo>
                  <a:lnTo>
                    <a:pt x="184" y="26"/>
                  </a:lnTo>
                  <a:lnTo>
                    <a:pt x="182" y="26"/>
                  </a:lnTo>
                  <a:lnTo>
                    <a:pt x="181" y="28"/>
                  </a:lnTo>
                  <a:lnTo>
                    <a:pt x="176" y="29"/>
                  </a:lnTo>
                  <a:lnTo>
                    <a:pt x="174" y="32"/>
                  </a:lnTo>
                  <a:lnTo>
                    <a:pt x="173" y="34"/>
                  </a:lnTo>
                  <a:lnTo>
                    <a:pt x="173" y="34"/>
                  </a:lnTo>
                  <a:lnTo>
                    <a:pt x="173" y="32"/>
                  </a:lnTo>
                  <a:lnTo>
                    <a:pt x="173" y="31"/>
                  </a:lnTo>
                  <a:lnTo>
                    <a:pt x="174" y="31"/>
                  </a:lnTo>
                  <a:lnTo>
                    <a:pt x="174" y="29"/>
                  </a:lnTo>
                  <a:lnTo>
                    <a:pt x="173" y="29"/>
                  </a:lnTo>
                  <a:lnTo>
                    <a:pt x="171" y="31"/>
                  </a:lnTo>
                  <a:lnTo>
                    <a:pt x="170" y="31"/>
                  </a:lnTo>
                  <a:lnTo>
                    <a:pt x="165" y="29"/>
                  </a:lnTo>
                  <a:lnTo>
                    <a:pt x="164" y="29"/>
                  </a:lnTo>
                  <a:lnTo>
                    <a:pt x="164" y="31"/>
                  </a:lnTo>
                  <a:lnTo>
                    <a:pt x="162" y="34"/>
                  </a:lnTo>
                  <a:lnTo>
                    <a:pt x="162" y="35"/>
                  </a:lnTo>
                  <a:lnTo>
                    <a:pt x="161" y="37"/>
                  </a:lnTo>
                  <a:lnTo>
                    <a:pt x="162" y="38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3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57" y="44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4" y="4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51"/>
                  </a:lnTo>
                  <a:lnTo>
                    <a:pt x="154" y="54"/>
                  </a:lnTo>
                  <a:lnTo>
                    <a:pt x="156" y="55"/>
                  </a:lnTo>
                  <a:lnTo>
                    <a:pt x="157" y="57"/>
                  </a:lnTo>
                  <a:lnTo>
                    <a:pt x="156" y="58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3" y="58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60"/>
                  </a:lnTo>
                  <a:lnTo>
                    <a:pt x="153" y="63"/>
                  </a:lnTo>
                  <a:lnTo>
                    <a:pt x="154" y="64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1"/>
                  </a:lnTo>
                  <a:lnTo>
                    <a:pt x="157" y="61"/>
                  </a:lnTo>
                  <a:lnTo>
                    <a:pt x="159" y="61"/>
                  </a:lnTo>
                  <a:lnTo>
                    <a:pt x="161" y="63"/>
                  </a:lnTo>
                  <a:lnTo>
                    <a:pt x="161" y="64"/>
                  </a:lnTo>
                  <a:lnTo>
                    <a:pt x="162" y="66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6"/>
                  </a:lnTo>
                  <a:lnTo>
                    <a:pt x="156" y="69"/>
                  </a:lnTo>
                  <a:lnTo>
                    <a:pt x="157" y="69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2"/>
                  </a:lnTo>
                  <a:lnTo>
                    <a:pt x="159" y="72"/>
                  </a:lnTo>
                  <a:lnTo>
                    <a:pt x="154" y="69"/>
                  </a:lnTo>
                  <a:lnTo>
                    <a:pt x="151" y="71"/>
                  </a:lnTo>
                  <a:lnTo>
                    <a:pt x="150" y="71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7" y="71"/>
                  </a:lnTo>
                  <a:lnTo>
                    <a:pt x="147" y="72"/>
                  </a:lnTo>
                  <a:lnTo>
                    <a:pt x="145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5" y="74"/>
                  </a:lnTo>
                  <a:lnTo>
                    <a:pt x="148" y="75"/>
                  </a:lnTo>
                  <a:lnTo>
                    <a:pt x="151" y="77"/>
                  </a:lnTo>
                  <a:lnTo>
                    <a:pt x="154" y="80"/>
                  </a:lnTo>
                  <a:lnTo>
                    <a:pt x="153" y="81"/>
                  </a:lnTo>
                  <a:lnTo>
                    <a:pt x="151" y="80"/>
                  </a:lnTo>
                  <a:lnTo>
                    <a:pt x="151" y="78"/>
                  </a:lnTo>
                  <a:lnTo>
                    <a:pt x="150" y="77"/>
                  </a:lnTo>
                  <a:lnTo>
                    <a:pt x="148" y="77"/>
                  </a:lnTo>
                  <a:lnTo>
                    <a:pt x="145" y="77"/>
                  </a:lnTo>
                  <a:lnTo>
                    <a:pt x="145" y="78"/>
                  </a:lnTo>
                  <a:lnTo>
                    <a:pt x="145" y="80"/>
                  </a:lnTo>
                  <a:lnTo>
                    <a:pt x="151" y="80"/>
                  </a:lnTo>
                  <a:lnTo>
                    <a:pt x="151" y="81"/>
                  </a:lnTo>
                  <a:lnTo>
                    <a:pt x="150" y="81"/>
                  </a:lnTo>
                  <a:lnTo>
                    <a:pt x="145" y="80"/>
                  </a:lnTo>
                  <a:lnTo>
                    <a:pt x="137" y="80"/>
                  </a:lnTo>
                  <a:lnTo>
                    <a:pt x="136" y="80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7" y="88"/>
                  </a:lnTo>
                  <a:lnTo>
                    <a:pt x="125" y="89"/>
                  </a:lnTo>
                  <a:lnTo>
                    <a:pt x="125" y="89"/>
                  </a:lnTo>
                  <a:lnTo>
                    <a:pt x="127" y="91"/>
                  </a:lnTo>
                  <a:lnTo>
                    <a:pt x="127" y="91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33" y="95"/>
                  </a:lnTo>
                  <a:lnTo>
                    <a:pt x="134" y="97"/>
                  </a:lnTo>
                  <a:lnTo>
                    <a:pt x="134" y="98"/>
                  </a:lnTo>
                  <a:lnTo>
                    <a:pt x="134" y="98"/>
                  </a:lnTo>
                  <a:lnTo>
                    <a:pt x="141" y="98"/>
                  </a:lnTo>
                  <a:lnTo>
                    <a:pt x="142" y="100"/>
                  </a:lnTo>
                  <a:lnTo>
                    <a:pt x="144" y="100"/>
                  </a:lnTo>
                  <a:lnTo>
                    <a:pt x="144" y="98"/>
                  </a:lnTo>
                  <a:lnTo>
                    <a:pt x="145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0" y="100"/>
                  </a:lnTo>
                  <a:lnTo>
                    <a:pt x="150" y="100"/>
                  </a:lnTo>
                  <a:lnTo>
                    <a:pt x="151" y="101"/>
                  </a:lnTo>
                  <a:lnTo>
                    <a:pt x="151" y="100"/>
                  </a:lnTo>
                  <a:lnTo>
                    <a:pt x="151" y="98"/>
                  </a:lnTo>
                  <a:lnTo>
                    <a:pt x="153" y="95"/>
                  </a:lnTo>
                  <a:lnTo>
                    <a:pt x="154" y="95"/>
                  </a:lnTo>
                  <a:lnTo>
                    <a:pt x="154" y="98"/>
                  </a:lnTo>
                  <a:lnTo>
                    <a:pt x="154" y="98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6" y="100"/>
                  </a:lnTo>
                  <a:lnTo>
                    <a:pt x="156" y="101"/>
                  </a:lnTo>
                  <a:lnTo>
                    <a:pt x="154" y="101"/>
                  </a:lnTo>
                  <a:lnTo>
                    <a:pt x="153" y="103"/>
                  </a:lnTo>
                  <a:lnTo>
                    <a:pt x="151" y="105"/>
                  </a:lnTo>
                  <a:lnTo>
                    <a:pt x="151" y="106"/>
                  </a:lnTo>
                  <a:lnTo>
                    <a:pt x="153" y="106"/>
                  </a:lnTo>
                  <a:lnTo>
                    <a:pt x="153" y="105"/>
                  </a:lnTo>
                  <a:lnTo>
                    <a:pt x="154" y="105"/>
                  </a:lnTo>
                  <a:lnTo>
                    <a:pt x="157" y="100"/>
                  </a:lnTo>
                  <a:lnTo>
                    <a:pt x="159" y="100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8" y="97"/>
                  </a:lnTo>
                  <a:lnTo>
                    <a:pt x="173" y="97"/>
                  </a:lnTo>
                  <a:lnTo>
                    <a:pt x="174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5"/>
                  </a:lnTo>
                  <a:lnTo>
                    <a:pt x="176" y="97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3" y="100"/>
                  </a:lnTo>
                  <a:lnTo>
                    <a:pt x="173" y="100"/>
                  </a:lnTo>
                  <a:lnTo>
                    <a:pt x="171" y="98"/>
                  </a:lnTo>
                  <a:lnTo>
                    <a:pt x="173" y="101"/>
                  </a:lnTo>
                  <a:lnTo>
                    <a:pt x="168" y="105"/>
                  </a:lnTo>
                  <a:lnTo>
                    <a:pt x="168" y="108"/>
                  </a:lnTo>
                  <a:lnTo>
                    <a:pt x="165" y="111"/>
                  </a:lnTo>
                  <a:lnTo>
                    <a:pt x="165" y="112"/>
                  </a:lnTo>
                  <a:lnTo>
                    <a:pt x="167" y="112"/>
                  </a:lnTo>
                  <a:lnTo>
                    <a:pt x="170" y="112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7"/>
                  </a:lnTo>
                  <a:lnTo>
                    <a:pt x="162" y="117"/>
                  </a:lnTo>
                  <a:lnTo>
                    <a:pt x="156" y="118"/>
                  </a:lnTo>
                  <a:lnTo>
                    <a:pt x="156" y="118"/>
                  </a:lnTo>
                  <a:lnTo>
                    <a:pt x="154" y="120"/>
                  </a:lnTo>
                  <a:lnTo>
                    <a:pt x="151" y="121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18"/>
                  </a:lnTo>
                  <a:lnTo>
                    <a:pt x="151" y="118"/>
                  </a:lnTo>
                  <a:lnTo>
                    <a:pt x="150" y="117"/>
                  </a:lnTo>
                  <a:lnTo>
                    <a:pt x="150" y="120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3"/>
                  </a:lnTo>
                  <a:lnTo>
                    <a:pt x="148" y="125"/>
                  </a:lnTo>
                  <a:lnTo>
                    <a:pt x="139" y="131"/>
                  </a:lnTo>
                  <a:lnTo>
                    <a:pt x="137" y="131"/>
                  </a:lnTo>
                  <a:lnTo>
                    <a:pt x="136" y="131"/>
                  </a:lnTo>
                  <a:lnTo>
                    <a:pt x="136" y="132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6" y="135"/>
                  </a:lnTo>
                  <a:lnTo>
                    <a:pt x="144" y="135"/>
                  </a:lnTo>
                  <a:lnTo>
                    <a:pt x="145" y="135"/>
                  </a:lnTo>
                  <a:lnTo>
                    <a:pt x="147" y="137"/>
                  </a:lnTo>
                  <a:lnTo>
                    <a:pt x="147" y="137"/>
                  </a:lnTo>
                  <a:lnTo>
                    <a:pt x="145" y="138"/>
                  </a:lnTo>
                  <a:lnTo>
                    <a:pt x="144" y="137"/>
                  </a:lnTo>
                  <a:lnTo>
                    <a:pt x="142" y="137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44" y="140"/>
                  </a:lnTo>
                  <a:lnTo>
                    <a:pt x="145" y="138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50" y="143"/>
                  </a:lnTo>
                  <a:lnTo>
                    <a:pt x="145" y="141"/>
                  </a:lnTo>
                  <a:lnTo>
                    <a:pt x="144" y="141"/>
                  </a:lnTo>
                  <a:lnTo>
                    <a:pt x="144" y="143"/>
                  </a:lnTo>
                  <a:lnTo>
                    <a:pt x="142" y="143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39" y="143"/>
                  </a:lnTo>
                  <a:lnTo>
                    <a:pt x="139" y="145"/>
                  </a:lnTo>
                  <a:lnTo>
                    <a:pt x="139" y="145"/>
                  </a:lnTo>
                  <a:lnTo>
                    <a:pt x="141" y="145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5" y="149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5" y="151"/>
                  </a:lnTo>
                  <a:lnTo>
                    <a:pt x="144" y="152"/>
                  </a:lnTo>
                  <a:lnTo>
                    <a:pt x="142" y="152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6"/>
                  </a:lnTo>
                  <a:lnTo>
                    <a:pt x="137" y="145"/>
                  </a:lnTo>
                  <a:lnTo>
                    <a:pt x="134" y="143"/>
                  </a:lnTo>
                  <a:lnTo>
                    <a:pt x="130" y="145"/>
                  </a:lnTo>
                  <a:lnTo>
                    <a:pt x="128" y="143"/>
                  </a:lnTo>
                  <a:lnTo>
                    <a:pt x="127" y="145"/>
                  </a:lnTo>
                  <a:lnTo>
                    <a:pt x="125" y="145"/>
                  </a:lnTo>
                  <a:lnTo>
                    <a:pt x="122" y="145"/>
                  </a:lnTo>
                  <a:lnTo>
                    <a:pt x="120" y="145"/>
                  </a:lnTo>
                  <a:lnTo>
                    <a:pt x="119" y="143"/>
                  </a:lnTo>
                  <a:lnTo>
                    <a:pt x="117" y="143"/>
                  </a:lnTo>
                  <a:lnTo>
                    <a:pt x="116" y="141"/>
                  </a:lnTo>
                  <a:lnTo>
                    <a:pt x="116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0" y="140"/>
                  </a:lnTo>
                  <a:lnTo>
                    <a:pt x="107" y="141"/>
                  </a:lnTo>
                  <a:lnTo>
                    <a:pt x="105" y="143"/>
                  </a:lnTo>
                  <a:lnTo>
                    <a:pt x="105" y="146"/>
                  </a:lnTo>
                  <a:lnTo>
                    <a:pt x="104" y="149"/>
                  </a:lnTo>
                  <a:lnTo>
                    <a:pt x="102" y="151"/>
                  </a:lnTo>
                  <a:lnTo>
                    <a:pt x="100" y="151"/>
                  </a:lnTo>
                  <a:lnTo>
                    <a:pt x="100" y="154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60"/>
                  </a:lnTo>
                  <a:lnTo>
                    <a:pt x="100" y="160"/>
                  </a:lnTo>
                  <a:lnTo>
                    <a:pt x="100" y="157"/>
                  </a:lnTo>
                  <a:lnTo>
                    <a:pt x="99" y="155"/>
                  </a:lnTo>
                  <a:lnTo>
                    <a:pt x="99" y="154"/>
                  </a:lnTo>
                  <a:lnTo>
                    <a:pt x="94" y="151"/>
                  </a:lnTo>
                  <a:lnTo>
                    <a:pt x="94" y="149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4" y="146"/>
                  </a:lnTo>
                  <a:lnTo>
                    <a:pt x="94" y="145"/>
                  </a:lnTo>
                  <a:lnTo>
                    <a:pt x="94" y="145"/>
                  </a:lnTo>
                  <a:lnTo>
                    <a:pt x="94" y="143"/>
                  </a:lnTo>
                  <a:lnTo>
                    <a:pt x="94" y="143"/>
                  </a:lnTo>
                  <a:lnTo>
                    <a:pt x="94" y="141"/>
                  </a:lnTo>
                  <a:lnTo>
                    <a:pt x="94" y="141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1" y="141"/>
                  </a:lnTo>
                  <a:lnTo>
                    <a:pt x="91" y="140"/>
                  </a:lnTo>
                  <a:lnTo>
                    <a:pt x="91" y="138"/>
                  </a:lnTo>
                  <a:lnTo>
                    <a:pt x="90" y="138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4" y="137"/>
                  </a:lnTo>
                  <a:lnTo>
                    <a:pt x="74" y="137"/>
                  </a:lnTo>
                  <a:lnTo>
                    <a:pt x="73" y="137"/>
                  </a:lnTo>
                  <a:lnTo>
                    <a:pt x="71" y="138"/>
                  </a:lnTo>
                  <a:lnTo>
                    <a:pt x="71" y="138"/>
                  </a:lnTo>
                  <a:lnTo>
                    <a:pt x="57" y="137"/>
                  </a:lnTo>
                  <a:lnTo>
                    <a:pt x="56" y="137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48" y="135"/>
                  </a:lnTo>
                  <a:lnTo>
                    <a:pt x="48" y="137"/>
                  </a:lnTo>
                  <a:lnTo>
                    <a:pt x="48" y="138"/>
                  </a:lnTo>
                  <a:lnTo>
                    <a:pt x="48" y="140"/>
                  </a:lnTo>
                  <a:lnTo>
                    <a:pt x="53" y="141"/>
                  </a:lnTo>
                  <a:lnTo>
                    <a:pt x="54" y="141"/>
                  </a:lnTo>
                  <a:lnTo>
                    <a:pt x="53" y="141"/>
                  </a:lnTo>
                  <a:lnTo>
                    <a:pt x="51" y="141"/>
                  </a:lnTo>
                  <a:lnTo>
                    <a:pt x="51" y="141"/>
                  </a:lnTo>
                  <a:lnTo>
                    <a:pt x="51" y="143"/>
                  </a:lnTo>
                  <a:lnTo>
                    <a:pt x="53" y="143"/>
                  </a:lnTo>
                  <a:lnTo>
                    <a:pt x="53" y="145"/>
                  </a:lnTo>
                  <a:lnTo>
                    <a:pt x="54" y="145"/>
                  </a:lnTo>
                  <a:lnTo>
                    <a:pt x="53" y="145"/>
                  </a:lnTo>
                  <a:lnTo>
                    <a:pt x="50" y="143"/>
                  </a:lnTo>
                  <a:lnTo>
                    <a:pt x="48" y="143"/>
                  </a:lnTo>
                  <a:lnTo>
                    <a:pt x="47" y="143"/>
                  </a:lnTo>
                  <a:lnTo>
                    <a:pt x="45" y="145"/>
                  </a:lnTo>
                  <a:lnTo>
                    <a:pt x="45" y="148"/>
                  </a:lnTo>
                  <a:lnTo>
                    <a:pt x="47" y="149"/>
                  </a:lnTo>
                  <a:lnTo>
                    <a:pt x="45" y="149"/>
                  </a:lnTo>
                  <a:lnTo>
                    <a:pt x="43" y="151"/>
                  </a:lnTo>
                  <a:lnTo>
                    <a:pt x="43" y="152"/>
                  </a:lnTo>
                  <a:lnTo>
                    <a:pt x="42" y="151"/>
                  </a:lnTo>
                  <a:lnTo>
                    <a:pt x="40" y="151"/>
                  </a:lnTo>
                  <a:lnTo>
                    <a:pt x="39" y="151"/>
                  </a:lnTo>
                  <a:lnTo>
                    <a:pt x="37" y="149"/>
                  </a:lnTo>
                  <a:lnTo>
                    <a:pt x="37" y="148"/>
                  </a:lnTo>
                  <a:lnTo>
                    <a:pt x="40" y="149"/>
                  </a:lnTo>
                  <a:lnTo>
                    <a:pt x="42" y="149"/>
                  </a:lnTo>
                  <a:lnTo>
                    <a:pt x="43" y="148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3"/>
                  </a:lnTo>
                  <a:lnTo>
                    <a:pt x="43" y="145"/>
                  </a:lnTo>
                  <a:lnTo>
                    <a:pt x="43" y="145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0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7" y="141"/>
                  </a:lnTo>
                  <a:lnTo>
                    <a:pt x="37" y="141"/>
                  </a:lnTo>
                  <a:lnTo>
                    <a:pt x="37" y="140"/>
                  </a:lnTo>
                  <a:lnTo>
                    <a:pt x="37" y="140"/>
                  </a:lnTo>
                  <a:lnTo>
                    <a:pt x="36" y="138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4" y="141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0" y="145"/>
                  </a:lnTo>
                  <a:lnTo>
                    <a:pt x="30" y="146"/>
                  </a:lnTo>
                  <a:lnTo>
                    <a:pt x="30" y="148"/>
                  </a:lnTo>
                  <a:lnTo>
                    <a:pt x="28" y="148"/>
                  </a:lnTo>
                  <a:lnTo>
                    <a:pt x="28" y="149"/>
                  </a:lnTo>
                  <a:lnTo>
                    <a:pt x="30" y="149"/>
                  </a:lnTo>
                  <a:lnTo>
                    <a:pt x="31" y="149"/>
                  </a:lnTo>
                  <a:lnTo>
                    <a:pt x="31" y="151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5"/>
                  </a:lnTo>
                  <a:lnTo>
                    <a:pt x="28" y="157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5"/>
                  </a:lnTo>
                  <a:lnTo>
                    <a:pt x="28" y="166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1" y="166"/>
                  </a:lnTo>
                  <a:lnTo>
                    <a:pt x="31" y="165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58"/>
                  </a:lnTo>
                  <a:lnTo>
                    <a:pt x="30" y="158"/>
                  </a:lnTo>
                  <a:lnTo>
                    <a:pt x="30" y="157"/>
                  </a:lnTo>
                  <a:lnTo>
                    <a:pt x="31" y="157"/>
                  </a:lnTo>
                  <a:lnTo>
                    <a:pt x="33" y="157"/>
                  </a:lnTo>
                  <a:lnTo>
                    <a:pt x="33" y="157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6" y="152"/>
                  </a:lnTo>
                  <a:lnTo>
                    <a:pt x="34" y="151"/>
                  </a:lnTo>
                  <a:lnTo>
                    <a:pt x="36" y="151"/>
                  </a:lnTo>
                  <a:lnTo>
                    <a:pt x="37" y="151"/>
                  </a:lnTo>
                  <a:lnTo>
                    <a:pt x="40" y="154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9" y="155"/>
                  </a:lnTo>
                  <a:lnTo>
                    <a:pt x="37" y="155"/>
                  </a:lnTo>
                  <a:lnTo>
                    <a:pt x="40" y="158"/>
                  </a:lnTo>
                  <a:lnTo>
                    <a:pt x="42" y="160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9" y="158"/>
                  </a:lnTo>
                  <a:lnTo>
                    <a:pt x="40" y="160"/>
                  </a:lnTo>
                  <a:lnTo>
                    <a:pt x="40" y="161"/>
                  </a:lnTo>
                  <a:lnTo>
                    <a:pt x="43" y="163"/>
                  </a:lnTo>
                  <a:lnTo>
                    <a:pt x="42" y="163"/>
                  </a:lnTo>
                  <a:lnTo>
                    <a:pt x="39" y="165"/>
                  </a:lnTo>
                  <a:lnTo>
                    <a:pt x="37" y="165"/>
                  </a:lnTo>
                  <a:lnTo>
                    <a:pt x="39" y="168"/>
                  </a:lnTo>
                  <a:lnTo>
                    <a:pt x="40" y="169"/>
                  </a:lnTo>
                  <a:lnTo>
                    <a:pt x="42" y="169"/>
                  </a:lnTo>
                  <a:lnTo>
                    <a:pt x="45" y="166"/>
                  </a:lnTo>
                  <a:lnTo>
                    <a:pt x="43" y="166"/>
                  </a:lnTo>
                  <a:lnTo>
                    <a:pt x="43" y="165"/>
                  </a:lnTo>
                  <a:lnTo>
                    <a:pt x="45" y="165"/>
                  </a:lnTo>
                  <a:lnTo>
                    <a:pt x="45" y="165"/>
                  </a:lnTo>
                  <a:lnTo>
                    <a:pt x="45" y="165"/>
                  </a:lnTo>
                  <a:lnTo>
                    <a:pt x="45" y="163"/>
                  </a:lnTo>
                  <a:lnTo>
                    <a:pt x="47" y="163"/>
                  </a:lnTo>
                  <a:lnTo>
                    <a:pt x="48" y="163"/>
                  </a:lnTo>
                  <a:lnTo>
                    <a:pt x="48" y="163"/>
                  </a:lnTo>
                  <a:lnTo>
                    <a:pt x="47" y="165"/>
                  </a:lnTo>
                  <a:lnTo>
                    <a:pt x="47" y="166"/>
                  </a:lnTo>
                  <a:lnTo>
                    <a:pt x="47" y="166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7" y="169"/>
                  </a:lnTo>
                  <a:lnTo>
                    <a:pt x="45" y="169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3" y="172"/>
                  </a:lnTo>
                  <a:lnTo>
                    <a:pt x="43" y="174"/>
                  </a:lnTo>
                  <a:lnTo>
                    <a:pt x="43" y="175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8" y="178"/>
                  </a:lnTo>
                  <a:lnTo>
                    <a:pt x="48" y="178"/>
                  </a:lnTo>
                  <a:lnTo>
                    <a:pt x="47" y="178"/>
                  </a:lnTo>
                  <a:lnTo>
                    <a:pt x="48" y="182"/>
                  </a:lnTo>
                  <a:lnTo>
                    <a:pt x="48" y="183"/>
                  </a:lnTo>
                  <a:lnTo>
                    <a:pt x="50" y="183"/>
                  </a:lnTo>
                  <a:lnTo>
                    <a:pt x="50" y="183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1" y="183"/>
                  </a:lnTo>
                  <a:lnTo>
                    <a:pt x="51" y="183"/>
                  </a:lnTo>
                  <a:lnTo>
                    <a:pt x="53" y="185"/>
                  </a:lnTo>
                  <a:lnTo>
                    <a:pt x="51" y="186"/>
                  </a:lnTo>
                  <a:lnTo>
                    <a:pt x="51" y="188"/>
                  </a:lnTo>
                  <a:lnTo>
                    <a:pt x="53" y="188"/>
                  </a:lnTo>
                  <a:lnTo>
                    <a:pt x="51" y="189"/>
                  </a:lnTo>
                  <a:lnTo>
                    <a:pt x="51" y="188"/>
                  </a:lnTo>
                  <a:lnTo>
                    <a:pt x="50" y="185"/>
                  </a:lnTo>
                  <a:lnTo>
                    <a:pt x="50" y="185"/>
                  </a:lnTo>
                  <a:lnTo>
                    <a:pt x="48" y="185"/>
                  </a:lnTo>
                  <a:lnTo>
                    <a:pt x="47" y="183"/>
                  </a:lnTo>
                  <a:lnTo>
                    <a:pt x="47" y="183"/>
                  </a:lnTo>
                  <a:lnTo>
                    <a:pt x="42" y="183"/>
                  </a:lnTo>
                  <a:lnTo>
                    <a:pt x="42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8"/>
                  </a:lnTo>
                  <a:lnTo>
                    <a:pt x="42" y="189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3" y="195"/>
                  </a:lnTo>
                  <a:lnTo>
                    <a:pt x="47" y="194"/>
                  </a:lnTo>
                  <a:lnTo>
                    <a:pt x="54" y="191"/>
                  </a:lnTo>
                  <a:lnTo>
                    <a:pt x="65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1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68" y="194"/>
                  </a:lnTo>
                  <a:lnTo>
                    <a:pt x="67" y="194"/>
                  </a:lnTo>
                  <a:lnTo>
                    <a:pt x="68" y="195"/>
                  </a:lnTo>
                  <a:lnTo>
                    <a:pt x="68" y="195"/>
                  </a:lnTo>
                  <a:lnTo>
                    <a:pt x="67" y="197"/>
                  </a:lnTo>
                  <a:lnTo>
                    <a:pt x="65" y="198"/>
                  </a:lnTo>
                  <a:lnTo>
                    <a:pt x="67" y="198"/>
                  </a:lnTo>
                  <a:lnTo>
                    <a:pt x="67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7" y="202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3" y="205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0" y="206"/>
                  </a:lnTo>
                  <a:lnTo>
                    <a:pt x="48" y="206"/>
                  </a:lnTo>
                  <a:lnTo>
                    <a:pt x="47" y="206"/>
                  </a:lnTo>
                  <a:lnTo>
                    <a:pt x="43" y="208"/>
                  </a:lnTo>
                  <a:lnTo>
                    <a:pt x="43" y="208"/>
                  </a:lnTo>
                  <a:lnTo>
                    <a:pt x="43" y="209"/>
                  </a:lnTo>
                  <a:lnTo>
                    <a:pt x="43" y="212"/>
                  </a:lnTo>
                  <a:lnTo>
                    <a:pt x="42" y="214"/>
                  </a:lnTo>
                  <a:lnTo>
                    <a:pt x="42" y="217"/>
                  </a:lnTo>
                  <a:lnTo>
                    <a:pt x="43" y="222"/>
                  </a:lnTo>
                  <a:lnTo>
                    <a:pt x="50" y="226"/>
                  </a:lnTo>
                  <a:lnTo>
                    <a:pt x="53" y="228"/>
                  </a:lnTo>
                  <a:lnTo>
                    <a:pt x="57" y="226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3" y="228"/>
                  </a:lnTo>
                  <a:lnTo>
                    <a:pt x="50" y="228"/>
                  </a:lnTo>
                  <a:lnTo>
                    <a:pt x="48" y="226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3" y="228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3" y="228"/>
                  </a:lnTo>
                  <a:lnTo>
                    <a:pt x="34" y="229"/>
                  </a:lnTo>
                  <a:lnTo>
                    <a:pt x="39" y="232"/>
                  </a:lnTo>
                  <a:lnTo>
                    <a:pt x="37" y="234"/>
                  </a:lnTo>
                  <a:lnTo>
                    <a:pt x="36" y="235"/>
                  </a:lnTo>
                  <a:lnTo>
                    <a:pt x="36" y="235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1" y="232"/>
                  </a:lnTo>
                  <a:lnTo>
                    <a:pt x="28" y="232"/>
                  </a:lnTo>
                  <a:lnTo>
                    <a:pt x="28" y="232"/>
                  </a:lnTo>
                  <a:lnTo>
                    <a:pt x="28" y="234"/>
                  </a:lnTo>
                  <a:lnTo>
                    <a:pt x="28" y="234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3" y="234"/>
                  </a:lnTo>
                  <a:lnTo>
                    <a:pt x="20" y="235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7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8" y="242"/>
                  </a:lnTo>
                  <a:lnTo>
                    <a:pt x="31" y="243"/>
                  </a:lnTo>
                  <a:lnTo>
                    <a:pt x="34" y="243"/>
                  </a:lnTo>
                  <a:lnTo>
                    <a:pt x="36" y="243"/>
                  </a:lnTo>
                  <a:lnTo>
                    <a:pt x="34" y="245"/>
                  </a:lnTo>
                  <a:lnTo>
                    <a:pt x="33" y="245"/>
                  </a:lnTo>
                  <a:lnTo>
                    <a:pt x="31" y="243"/>
                  </a:lnTo>
                  <a:lnTo>
                    <a:pt x="30" y="243"/>
                  </a:lnTo>
                  <a:lnTo>
                    <a:pt x="30" y="245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3" y="245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30" y="248"/>
                  </a:lnTo>
                  <a:lnTo>
                    <a:pt x="27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5" y="251"/>
                  </a:lnTo>
                  <a:lnTo>
                    <a:pt x="25" y="251"/>
                  </a:lnTo>
                  <a:lnTo>
                    <a:pt x="25" y="251"/>
                  </a:lnTo>
                  <a:lnTo>
                    <a:pt x="27" y="252"/>
                  </a:lnTo>
                  <a:lnTo>
                    <a:pt x="28" y="252"/>
                  </a:lnTo>
                  <a:lnTo>
                    <a:pt x="31" y="251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4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9" y="255"/>
                  </a:lnTo>
                  <a:lnTo>
                    <a:pt x="40" y="255"/>
                  </a:lnTo>
                  <a:lnTo>
                    <a:pt x="40" y="255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3" y="249"/>
                  </a:lnTo>
                  <a:lnTo>
                    <a:pt x="43" y="249"/>
                  </a:lnTo>
                  <a:lnTo>
                    <a:pt x="43" y="251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7" y="249"/>
                  </a:lnTo>
                  <a:lnTo>
                    <a:pt x="47" y="249"/>
                  </a:lnTo>
                  <a:lnTo>
                    <a:pt x="48" y="249"/>
                  </a:lnTo>
                  <a:lnTo>
                    <a:pt x="47" y="249"/>
                  </a:lnTo>
                  <a:lnTo>
                    <a:pt x="45" y="251"/>
                  </a:lnTo>
                  <a:lnTo>
                    <a:pt x="45" y="252"/>
                  </a:lnTo>
                  <a:lnTo>
                    <a:pt x="45" y="254"/>
                  </a:lnTo>
                  <a:lnTo>
                    <a:pt x="47" y="254"/>
                  </a:lnTo>
                  <a:lnTo>
                    <a:pt x="48" y="252"/>
                  </a:lnTo>
                  <a:lnTo>
                    <a:pt x="48" y="252"/>
                  </a:lnTo>
                  <a:lnTo>
                    <a:pt x="50" y="251"/>
                  </a:lnTo>
                  <a:lnTo>
                    <a:pt x="50" y="251"/>
                  </a:lnTo>
                  <a:lnTo>
                    <a:pt x="51" y="251"/>
                  </a:lnTo>
                  <a:lnTo>
                    <a:pt x="51" y="251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3" y="252"/>
                  </a:lnTo>
                  <a:lnTo>
                    <a:pt x="53" y="254"/>
                  </a:lnTo>
                  <a:lnTo>
                    <a:pt x="51" y="255"/>
                  </a:lnTo>
                  <a:lnTo>
                    <a:pt x="48" y="257"/>
                  </a:lnTo>
                  <a:lnTo>
                    <a:pt x="47" y="257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3" y="260"/>
                  </a:lnTo>
                  <a:lnTo>
                    <a:pt x="43" y="262"/>
                  </a:lnTo>
                  <a:lnTo>
                    <a:pt x="43" y="263"/>
                  </a:lnTo>
                  <a:lnTo>
                    <a:pt x="45" y="263"/>
                  </a:lnTo>
                  <a:lnTo>
                    <a:pt x="48" y="263"/>
                  </a:lnTo>
                  <a:lnTo>
                    <a:pt x="50" y="263"/>
                  </a:lnTo>
                  <a:lnTo>
                    <a:pt x="51" y="265"/>
                  </a:lnTo>
                  <a:lnTo>
                    <a:pt x="51" y="265"/>
                  </a:lnTo>
                  <a:lnTo>
                    <a:pt x="56" y="263"/>
                  </a:lnTo>
                  <a:lnTo>
                    <a:pt x="56" y="262"/>
                  </a:lnTo>
                  <a:lnTo>
                    <a:pt x="59" y="259"/>
                  </a:lnTo>
                  <a:lnTo>
                    <a:pt x="59" y="257"/>
                  </a:lnTo>
                  <a:lnTo>
                    <a:pt x="59" y="255"/>
                  </a:lnTo>
                  <a:lnTo>
                    <a:pt x="60" y="255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3" y="255"/>
                  </a:lnTo>
                  <a:lnTo>
                    <a:pt x="63" y="255"/>
                  </a:lnTo>
                  <a:lnTo>
                    <a:pt x="62" y="259"/>
                  </a:lnTo>
                  <a:lnTo>
                    <a:pt x="62" y="260"/>
                  </a:lnTo>
                  <a:lnTo>
                    <a:pt x="63" y="262"/>
                  </a:lnTo>
                  <a:lnTo>
                    <a:pt x="65" y="262"/>
                  </a:lnTo>
                  <a:lnTo>
                    <a:pt x="65" y="259"/>
                  </a:lnTo>
                  <a:lnTo>
                    <a:pt x="65" y="257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7" y="254"/>
                  </a:lnTo>
                  <a:lnTo>
                    <a:pt x="70" y="255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5" y="263"/>
                  </a:lnTo>
                  <a:lnTo>
                    <a:pt x="65" y="268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5" y="274"/>
                  </a:lnTo>
                  <a:lnTo>
                    <a:pt x="67" y="272"/>
                  </a:lnTo>
                  <a:lnTo>
                    <a:pt x="67" y="271"/>
                  </a:lnTo>
                  <a:lnTo>
                    <a:pt x="67" y="269"/>
                  </a:lnTo>
                  <a:lnTo>
                    <a:pt x="68" y="266"/>
                  </a:lnTo>
                  <a:lnTo>
                    <a:pt x="70" y="266"/>
                  </a:lnTo>
                  <a:lnTo>
                    <a:pt x="70" y="268"/>
                  </a:lnTo>
                  <a:lnTo>
                    <a:pt x="68" y="271"/>
                  </a:lnTo>
                  <a:lnTo>
                    <a:pt x="70" y="271"/>
                  </a:lnTo>
                  <a:lnTo>
                    <a:pt x="70" y="272"/>
                  </a:lnTo>
                  <a:lnTo>
                    <a:pt x="71" y="274"/>
                  </a:lnTo>
                  <a:lnTo>
                    <a:pt x="73" y="274"/>
                  </a:lnTo>
                  <a:lnTo>
                    <a:pt x="76" y="274"/>
                  </a:lnTo>
                  <a:lnTo>
                    <a:pt x="77" y="274"/>
                  </a:lnTo>
                  <a:lnTo>
                    <a:pt x="79" y="272"/>
                  </a:lnTo>
                  <a:lnTo>
                    <a:pt x="80" y="272"/>
                  </a:lnTo>
                  <a:lnTo>
                    <a:pt x="105" y="269"/>
                  </a:lnTo>
                  <a:lnTo>
                    <a:pt x="108" y="269"/>
                  </a:lnTo>
                  <a:lnTo>
                    <a:pt x="110" y="268"/>
                  </a:lnTo>
                  <a:lnTo>
                    <a:pt x="114" y="269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1" y="271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3" y="272"/>
                  </a:lnTo>
                  <a:lnTo>
                    <a:pt x="113" y="274"/>
                  </a:lnTo>
                  <a:lnTo>
                    <a:pt x="111" y="274"/>
                  </a:lnTo>
                  <a:lnTo>
                    <a:pt x="108" y="274"/>
                  </a:lnTo>
                  <a:lnTo>
                    <a:pt x="107" y="275"/>
                  </a:lnTo>
                  <a:lnTo>
                    <a:pt x="108" y="275"/>
                  </a:lnTo>
                  <a:lnTo>
                    <a:pt x="116" y="275"/>
                  </a:lnTo>
                  <a:lnTo>
                    <a:pt x="116" y="275"/>
                  </a:lnTo>
                  <a:lnTo>
                    <a:pt x="117" y="275"/>
                  </a:lnTo>
                  <a:lnTo>
                    <a:pt x="119" y="275"/>
                  </a:lnTo>
                  <a:lnTo>
                    <a:pt x="116" y="277"/>
                  </a:lnTo>
                  <a:lnTo>
                    <a:pt x="114" y="279"/>
                  </a:lnTo>
                  <a:lnTo>
                    <a:pt x="114" y="280"/>
                  </a:lnTo>
                  <a:lnTo>
                    <a:pt x="114" y="282"/>
                  </a:lnTo>
                  <a:lnTo>
                    <a:pt x="114" y="282"/>
                  </a:lnTo>
                  <a:lnTo>
                    <a:pt x="116" y="285"/>
                  </a:lnTo>
                  <a:lnTo>
                    <a:pt x="114" y="285"/>
                  </a:lnTo>
                  <a:lnTo>
                    <a:pt x="113" y="283"/>
                  </a:lnTo>
                  <a:lnTo>
                    <a:pt x="113" y="283"/>
                  </a:lnTo>
                  <a:lnTo>
                    <a:pt x="111" y="282"/>
                  </a:lnTo>
                  <a:lnTo>
                    <a:pt x="113" y="280"/>
                  </a:lnTo>
                  <a:lnTo>
                    <a:pt x="111" y="280"/>
                  </a:lnTo>
                  <a:lnTo>
                    <a:pt x="111" y="282"/>
                  </a:lnTo>
                  <a:lnTo>
                    <a:pt x="110" y="282"/>
                  </a:lnTo>
                  <a:lnTo>
                    <a:pt x="108" y="282"/>
                  </a:lnTo>
                  <a:lnTo>
                    <a:pt x="107" y="282"/>
                  </a:lnTo>
                  <a:lnTo>
                    <a:pt x="107" y="282"/>
                  </a:lnTo>
                  <a:lnTo>
                    <a:pt x="110" y="283"/>
                  </a:lnTo>
                  <a:lnTo>
                    <a:pt x="110" y="285"/>
                  </a:lnTo>
                  <a:lnTo>
                    <a:pt x="108" y="285"/>
                  </a:lnTo>
                  <a:lnTo>
                    <a:pt x="107" y="283"/>
                  </a:lnTo>
                  <a:lnTo>
                    <a:pt x="105" y="282"/>
                  </a:lnTo>
                  <a:lnTo>
                    <a:pt x="100" y="283"/>
                  </a:lnTo>
                  <a:lnTo>
                    <a:pt x="100" y="283"/>
                  </a:lnTo>
                  <a:lnTo>
                    <a:pt x="104" y="285"/>
                  </a:lnTo>
                  <a:lnTo>
                    <a:pt x="105" y="286"/>
                  </a:lnTo>
                  <a:lnTo>
                    <a:pt x="105" y="288"/>
                  </a:lnTo>
                  <a:lnTo>
                    <a:pt x="104" y="286"/>
                  </a:lnTo>
                  <a:lnTo>
                    <a:pt x="102" y="288"/>
                  </a:lnTo>
                  <a:lnTo>
                    <a:pt x="100" y="288"/>
                  </a:lnTo>
                  <a:lnTo>
                    <a:pt x="99" y="289"/>
                  </a:lnTo>
                  <a:lnTo>
                    <a:pt x="97" y="288"/>
                  </a:lnTo>
                  <a:lnTo>
                    <a:pt x="94" y="285"/>
                  </a:lnTo>
                  <a:lnTo>
                    <a:pt x="91" y="283"/>
                  </a:lnTo>
                  <a:lnTo>
                    <a:pt x="90" y="285"/>
                  </a:lnTo>
                  <a:lnTo>
                    <a:pt x="90" y="286"/>
                  </a:lnTo>
                  <a:lnTo>
                    <a:pt x="88" y="289"/>
                  </a:lnTo>
                  <a:lnTo>
                    <a:pt x="87" y="291"/>
                  </a:lnTo>
                  <a:lnTo>
                    <a:pt x="85" y="292"/>
                  </a:lnTo>
                  <a:lnTo>
                    <a:pt x="80" y="300"/>
                  </a:lnTo>
                  <a:lnTo>
                    <a:pt x="82" y="302"/>
                  </a:lnTo>
                  <a:lnTo>
                    <a:pt x="80" y="302"/>
                  </a:lnTo>
                  <a:lnTo>
                    <a:pt x="80" y="303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4" y="309"/>
                  </a:lnTo>
                  <a:lnTo>
                    <a:pt x="77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2"/>
                  </a:lnTo>
                  <a:lnTo>
                    <a:pt x="79" y="317"/>
                  </a:lnTo>
                  <a:lnTo>
                    <a:pt x="79" y="319"/>
                  </a:lnTo>
                  <a:lnTo>
                    <a:pt x="79" y="320"/>
                  </a:lnTo>
                  <a:lnTo>
                    <a:pt x="77" y="320"/>
                  </a:lnTo>
                  <a:lnTo>
                    <a:pt x="77" y="322"/>
                  </a:lnTo>
                  <a:lnTo>
                    <a:pt x="77" y="322"/>
                  </a:lnTo>
                  <a:lnTo>
                    <a:pt x="77" y="323"/>
                  </a:lnTo>
                  <a:lnTo>
                    <a:pt x="76" y="325"/>
                  </a:lnTo>
                  <a:lnTo>
                    <a:pt x="76" y="326"/>
                  </a:lnTo>
                  <a:lnTo>
                    <a:pt x="74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9"/>
                  </a:lnTo>
                  <a:lnTo>
                    <a:pt x="74" y="329"/>
                  </a:lnTo>
                  <a:lnTo>
                    <a:pt x="74" y="329"/>
                  </a:lnTo>
                  <a:lnTo>
                    <a:pt x="74" y="331"/>
                  </a:lnTo>
                  <a:lnTo>
                    <a:pt x="74" y="332"/>
                  </a:lnTo>
                  <a:lnTo>
                    <a:pt x="73" y="332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4"/>
                  </a:lnTo>
                  <a:lnTo>
                    <a:pt x="70" y="334"/>
                  </a:lnTo>
                  <a:lnTo>
                    <a:pt x="67" y="334"/>
                  </a:lnTo>
                  <a:lnTo>
                    <a:pt x="67" y="334"/>
                  </a:lnTo>
                  <a:lnTo>
                    <a:pt x="65" y="336"/>
                  </a:lnTo>
                  <a:lnTo>
                    <a:pt x="65" y="336"/>
                  </a:lnTo>
                  <a:lnTo>
                    <a:pt x="63" y="336"/>
                  </a:lnTo>
                  <a:lnTo>
                    <a:pt x="63" y="337"/>
                  </a:lnTo>
                  <a:lnTo>
                    <a:pt x="65" y="337"/>
                  </a:lnTo>
                  <a:lnTo>
                    <a:pt x="50" y="352"/>
                  </a:lnTo>
                  <a:lnTo>
                    <a:pt x="45" y="354"/>
                  </a:lnTo>
                  <a:lnTo>
                    <a:pt x="42" y="356"/>
                  </a:lnTo>
                  <a:lnTo>
                    <a:pt x="40" y="356"/>
                  </a:lnTo>
                  <a:lnTo>
                    <a:pt x="40" y="357"/>
                  </a:lnTo>
                  <a:lnTo>
                    <a:pt x="54" y="356"/>
                  </a:lnTo>
                  <a:lnTo>
                    <a:pt x="56" y="354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59" y="352"/>
                  </a:lnTo>
                  <a:lnTo>
                    <a:pt x="59" y="351"/>
                  </a:lnTo>
                  <a:lnTo>
                    <a:pt x="60" y="351"/>
                  </a:lnTo>
                  <a:lnTo>
                    <a:pt x="63" y="349"/>
                  </a:lnTo>
                  <a:lnTo>
                    <a:pt x="70" y="346"/>
                  </a:lnTo>
                  <a:lnTo>
                    <a:pt x="70" y="346"/>
                  </a:lnTo>
                  <a:lnTo>
                    <a:pt x="68" y="345"/>
                  </a:lnTo>
                  <a:lnTo>
                    <a:pt x="68" y="345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1" y="345"/>
                  </a:lnTo>
                  <a:lnTo>
                    <a:pt x="71" y="346"/>
                  </a:lnTo>
                  <a:lnTo>
                    <a:pt x="71" y="348"/>
                  </a:lnTo>
                  <a:lnTo>
                    <a:pt x="74" y="348"/>
                  </a:lnTo>
                  <a:lnTo>
                    <a:pt x="74" y="348"/>
                  </a:lnTo>
                  <a:lnTo>
                    <a:pt x="76" y="349"/>
                  </a:lnTo>
                  <a:lnTo>
                    <a:pt x="77" y="349"/>
                  </a:lnTo>
                  <a:lnTo>
                    <a:pt x="79" y="351"/>
                  </a:lnTo>
                  <a:lnTo>
                    <a:pt x="82" y="349"/>
                  </a:lnTo>
                  <a:lnTo>
                    <a:pt x="88" y="348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88" y="349"/>
                  </a:lnTo>
                  <a:lnTo>
                    <a:pt x="87" y="351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88" y="352"/>
                  </a:lnTo>
                  <a:lnTo>
                    <a:pt x="88" y="352"/>
                  </a:lnTo>
                  <a:lnTo>
                    <a:pt x="90" y="352"/>
                  </a:lnTo>
                  <a:lnTo>
                    <a:pt x="90" y="352"/>
                  </a:lnTo>
                  <a:lnTo>
                    <a:pt x="91" y="351"/>
                  </a:lnTo>
                  <a:lnTo>
                    <a:pt x="91" y="351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107" y="340"/>
                  </a:lnTo>
                  <a:lnTo>
                    <a:pt x="108" y="336"/>
                  </a:lnTo>
                  <a:lnTo>
                    <a:pt x="108" y="334"/>
                  </a:lnTo>
                  <a:lnTo>
                    <a:pt x="111" y="332"/>
                  </a:lnTo>
                  <a:lnTo>
                    <a:pt x="113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4" y="334"/>
                  </a:lnTo>
                  <a:lnTo>
                    <a:pt x="114" y="336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4" y="339"/>
                  </a:lnTo>
                  <a:lnTo>
                    <a:pt x="113" y="340"/>
                  </a:lnTo>
                  <a:lnTo>
                    <a:pt x="113" y="340"/>
                  </a:lnTo>
                  <a:lnTo>
                    <a:pt x="114" y="340"/>
                  </a:lnTo>
                  <a:lnTo>
                    <a:pt x="116" y="342"/>
                  </a:lnTo>
                  <a:lnTo>
                    <a:pt x="120" y="340"/>
                  </a:lnTo>
                  <a:lnTo>
                    <a:pt x="124" y="340"/>
                  </a:lnTo>
                  <a:lnTo>
                    <a:pt x="128" y="343"/>
                  </a:lnTo>
                  <a:lnTo>
                    <a:pt x="130" y="343"/>
                  </a:lnTo>
                  <a:lnTo>
                    <a:pt x="127" y="343"/>
                  </a:lnTo>
                  <a:lnTo>
                    <a:pt x="114" y="345"/>
                  </a:lnTo>
                  <a:lnTo>
                    <a:pt x="113" y="346"/>
                  </a:lnTo>
                  <a:lnTo>
                    <a:pt x="113" y="346"/>
                  </a:lnTo>
                  <a:lnTo>
                    <a:pt x="111" y="348"/>
                  </a:lnTo>
                  <a:lnTo>
                    <a:pt x="111" y="348"/>
                  </a:lnTo>
                  <a:lnTo>
                    <a:pt x="110" y="349"/>
                  </a:lnTo>
                  <a:lnTo>
                    <a:pt x="108" y="349"/>
                  </a:lnTo>
                  <a:lnTo>
                    <a:pt x="107" y="349"/>
                  </a:lnTo>
                  <a:lnTo>
                    <a:pt x="107" y="348"/>
                  </a:lnTo>
                  <a:lnTo>
                    <a:pt x="105" y="349"/>
                  </a:lnTo>
                  <a:lnTo>
                    <a:pt x="96" y="351"/>
                  </a:lnTo>
                  <a:lnTo>
                    <a:pt x="96" y="352"/>
                  </a:lnTo>
                  <a:lnTo>
                    <a:pt x="94" y="354"/>
                  </a:lnTo>
                  <a:lnTo>
                    <a:pt x="93" y="354"/>
                  </a:lnTo>
                  <a:lnTo>
                    <a:pt x="90" y="354"/>
                  </a:lnTo>
                  <a:lnTo>
                    <a:pt x="85" y="354"/>
                  </a:lnTo>
                  <a:lnTo>
                    <a:pt x="85" y="356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77" y="354"/>
                  </a:lnTo>
                  <a:lnTo>
                    <a:pt x="77" y="354"/>
                  </a:lnTo>
                  <a:lnTo>
                    <a:pt x="77" y="356"/>
                  </a:lnTo>
                  <a:lnTo>
                    <a:pt x="76" y="356"/>
                  </a:lnTo>
                  <a:lnTo>
                    <a:pt x="76" y="357"/>
                  </a:lnTo>
                  <a:lnTo>
                    <a:pt x="74" y="356"/>
                  </a:lnTo>
                  <a:lnTo>
                    <a:pt x="74" y="356"/>
                  </a:lnTo>
                  <a:lnTo>
                    <a:pt x="74" y="356"/>
                  </a:lnTo>
                  <a:lnTo>
                    <a:pt x="68" y="356"/>
                  </a:lnTo>
                  <a:lnTo>
                    <a:pt x="65" y="354"/>
                  </a:lnTo>
                  <a:lnTo>
                    <a:pt x="63" y="354"/>
                  </a:lnTo>
                  <a:lnTo>
                    <a:pt x="63" y="356"/>
                  </a:lnTo>
                  <a:lnTo>
                    <a:pt x="63" y="356"/>
                  </a:lnTo>
                  <a:lnTo>
                    <a:pt x="62" y="356"/>
                  </a:lnTo>
                  <a:lnTo>
                    <a:pt x="60" y="357"/>
                  </a:lnTo>
                  <a:lnTo>
                    <a:pt x="60" y="359"/>
                  </a:lnTo>
                  <a:lnTo>
                    <a:pt x="60" y="360"/>
                  </a:lnTo>
                  <a:lnTo>
                    <a:pt x="60" y="360"/>
                  </a:lnTo>
                  <a:lnTo>
                    <a:pt x="60" y="362"/>
                  </a:lnTo>
                  <a:lnTo>
                    <a:pt x="60" y="362"/>
                  </a:lnTo>
                  <a:lnTo>
                    <a:pt x="60" y="363"/>
                  </a:lnTo>
                  <a:lnTo>
                    <a:pt x="60" y="363"/>
                  </a:lnTo>
                  <a:lnTo>
                    <a:pt x="60" y="363"/>
                  </a:lnTo>
                  <a:lnTo>
                    <a:pt x="60" y="365"/>
                  </a:lnTo>
                  <a:lnTo>
                    <a:pt x="60" y="365"/>
                  </a:lnTo>
                  <a:lnTo>
                    <a:pt x="62" y="365"/>
                  </a:lnTo>
                  <a:lnTo>
                    <a:pt x="63" y="365"/>
                  </a:lnTo>
                  <a:lnTo>
                    <a:pt x="63" y="368"/>
                  </a:lnTo>
                  <a:lnTo>
                    <a:pt x="62" y="366"/>
                  </a:lnTo>
                  <a:lnTo>
                    <a:pt x="60" y="366"/>
                  </a:lnTo>
                  <a:lnTo>
                    <a:pt x="59" y="366"/>
                  </a:lnTo>
                  <a:lnTo>
                    <a:pt x="57" y="366"/>
                  </a:lnTo>
                  <a:lnTo>
                    <a:pt x="56" y="368"/>
                  </a:lnTo>
                  <a:lnTo>
                    <a:pt x="54" y="369"/>
                  </a:lnTo>
                  <a:lnTo>
                    <a:pt x="48" y="372"/>
                  </a:lnTo>
                  <a:lnTo>
                    <a:pt x="42" y="372"/>
                  </a:lnTo>
                  <a:lnTo>
                    <a:pt x="40" y="374"/>
                  </a:lnTo>
                  <a:lnTo>
                    <a:pt x="40" y="374"/>
                  </a:lnTo>
                  <a:lnTo>
                    <a:pt x="42" y="376"/>
                  </a:lnTo>
                  <a:lnTo>
                    <a:pt x="43" y="377"/>
                  </a:lnTo>
                  <a:lnTo>
                    <a:pt x="47" y="377"/>
                  </a:lnTo>
                  <a:lnTo>
                    <a:pt x="48" y="379"/>
                  </a:lnTo>
                  <a:lnTo>
                    <a:pt x="48" y="385"/>
                  </a:lnTo>
                  <a:lnTo>
                    <a:pt x="50" y="386"/>
                  </a:lnTo>
                  <a:lnTo>
                    <a:pt x="47" y="388"/>
                  </a:lnTo>
                  <a:lnTo>
                    <a:pt x="47" y="388"/>
                  </a:lnTo>
                  <a:lnTo>
                    <a:pt x="47" y="389"/>
                  </a:lnTo>
                  <a:lnTo>
                    <a:pt x="47" y="389"/>
                  </a:lnTo>
                  <a:lnTo>
                    <a:pt x="48" y="389"/>
                  </a:lnTo>
                  <a:lnTo>
                    <a:pt x="48" y="389"/>
                  </a:lnTo>
                  <a:lnTo>
                    <a:pt x="48" y="389"/>
                  </a:lnTo>
                  <a:lnTo>
                    <a:pt x="47" y="389"/>
                  </a:lnTo>
                  <a:lnTo>
                    <a:pt x="47" y="389"/>
                  </a:lnTo>
                  <a:lnTo>
                    <a:pt x="45" y="389"/>
                  </a:lnTo>
                  <a:lnTo>
                    <a:pt x="45" y="389"/>
                  </a:lnTo>
                  <a:lnTo>
                    <a:pt x="45" y="391"/>
                  </a:lnTo>
                  <a:lnTo>
                    <a:pt x="47" y="391"/>
                  </a:lnTo>
                  <a:lnTo>
                    <a:pt x="47" y="392"/>
                  </a:lnTo>
                  <a:lnTo>
                    <a:pt x="48" y="391"/>
                  </a:lnTo>
                  <a:lnTo>
                    <a:pt x="48" y="391"/>
                  </a:lnTo>
                  <a:lnTo>
                    <a:pt x="51" y="392"/>
                  </a:lnTo>
                  <a:lnTo>
                    <a:pt x="53" y="392"/>
                  </a:lnTo>
                  <a:lnTo>
                    <a:pt x="54" y="394"/>
                  </a:lnTo>
                  <a:lnTo>
                    <a:pt x="56" y="394"/>
                  </a:lnTo>
                  <a:lnTo>
                    <a:pt x="50" y="396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8" y="394"/>
                  </a:lnTo>
                  <a:lnTo>
                    <a:pt x="47" y="396"/>
                  </a:lnTo>
                  <a:lnTo>
                    <a:pt x="45" y="397"/>
                  </a:lnTo>
                  <a:lnTo>
                    <a:pt x="42" y="396"/>
                  </a:lnTo>
                  <a:lnTo>
                    <a:pt x="40" y="396"/>
                  </a:lnTo>
                  <a:lnTo>
                    <a:pt x="37" y="394"/>
                  </a:lnTo>
                  <a:lnTo>
                    <a:pt x="37" y="394"/>
                  </a:lnTo>
                  <a:lnTo>
                    <a:pt x="36" y="394"/>
                  </a:lnTo>
                  <a:lnTo>
                    <a:pt x="36" y="392"/>
                  </a:lnTo>
                  <a:lnTo>
                    <a:pt x="36" y="391"/>
                  </a:lnTo>
                  <a:lnTo>
                    <a:pt x="34" y="389"/>
                  </a:lnTo>
                  <a:lnTo>
                    <a:pt x="36" y="388"/>
                  </a:lnTo>
                  <a:lnTo>
                    <a:pt x="34" y="386"/>
                  </a:lnTo>
                  <a:lnTo>
                    <a:pt x="31" y="386"/>
                  </a:lnTo>
                  <a:lnTo>
                    <a:pt x="33" y="389"/>
                  </a:lnTo>
                  <a:lnTo>
                    <a:pt x="33" y="392"/>
                  </a:lnTo>
                  <a:lnTo>
                    <a:pt x="31" y="394"/>
                  </a:lnTo>
                  <a:lnTo>
                    <a:pt x="28" y="396"/>
                  </a:lnTo>
                  <a:lnTo>
                    <a:pt x="23" y="396"/>
                  </a:lnTo>
                  <a:lnTo>
                    <a:pt x="23" y="396"/>
                  </a:lnTo>
                  <a:lnTo>
                    <a:pt x="25" y="391"/>
                  </a:lnTo>
                  <a:lnTo>
                    <a:pt x="23" y="389"/>
                  </a:lnTo>
                  <a:lnTo>
                    <a:pt x="16" y="392"/>
                  </a:lnTo>
                  <a:lnTo>
                    <a:pt x="14" y="392"/>
                  </a:lnTo>
                  <a:lnTo>
                    <a:pt x="13" y="396"/>
                  </a:lnTo>
                  <a:lnTo>
                    <a:pt x="13" y="396"/>
                  </a:lnTo>
                  <a:lnTo>
                    <a:pt x="11" y="397"/>
                  </a:lnTo>
                  <a:lnTo>
                    <a:pt x="10" y="397"/>
                  </a:lnTo>
                  <a:lnTo>
                    <a:pt x="10" y="397"/>
                  </a:lnTo>
                  <a:lnTo>
                    <a:pt x="8" y="399"/>
                  </a:lnTo>
                  <a:lnTo>
                    <a:pt x="8" y="399"/>
                  </a:lnTo>
                  <a:lnTo>
                    <a:pt x="10" y="400"/>
                  </a:lnTo>
                  <a:lnTo>
                    <a:pt x="8" y="400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8" y="403"/>
                  </a:lnTo>
                  <a:lnTo>
                    <a:pt x="8" y="403"/>
                  </a:lnTo>
                  <a:lnTo>
                    <a:pt x="7" y="403"/>
                  </a:lnTo>
                  <a:lnTo>
                    <a:pt x="5" y="402"/>
                  </a:lnTo>
                  <a:lnTo>
                    <a:pt x="5" y="400"/>
                  </a:lnTo>
                  <a:lnTo>
                    <a:pt x="5" y="400"/>
                  </a:lnTo>
                  <a:lnTo>
                    <a:pt x="2" y="402"/>
                  </a:lnTo>
                  <a:lnTo>
                    <a:pt x="2" y="403"/>
                  </a:lnTo>
                  <a:lnTo>
                    <a:pt x="2" y="403"/>
                  </a:lnTo>
                  <a:lnTo>
                    <a:pt x="2" y="405"/>
                  </a:lnTo>
                  <a:lnTo>
                    <a:pt x="2" y="406"/>
                  </a:lnTo>
                  <a:lnTo>
                    <a:pt x="0" y="406"/>
                  </a:lnTo>
                  <a:lnTo>
                    <a:pt x="2" y="408"/>
                  </a:lnTo>
                  <a:lnTo>
                    <a:pt x="2" y="411"/>
                  </a:lnTo>
                  <a:lnTo>
                    <a:pt x="2" y="412"/>
                  </a:lnTo>
                  <a:lnTo>
                    <a:pt x="3" y="412"/>
                  </a:lnTo>
                  <a:lnTo>
                    <a:pt x="5" y="412"/>
                  </a:lnTo>
                  <a:lnTo>
                    <a:pt x="8" y="411"/>
                  </a:lnTo>
                  <a:lnTo>
                    <a:pt x="10" y="411"/>
                  </a:lnTo>
                  <a:lnTo>
                    <a:pt x="10" y="411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11" y="409"/>
                  </a:lnTo>
                  <a:lnTo>
                    <a:pt x="14" y="411"/>
                  </a:lnTo>
                  <a:lnTo>
                    <a:pt x="16" y="411"/>
                  </a:lnTo>
                  <a:lnTo>
                    <a:pt x="16" y="411"/>
                  </a:lnTo>
                  <a:lnTo>
                    <a:pt x="14" y="409"/>
                  </a:lnTo>
                  <a:lnTo>
                    <a:pt x="14" y="409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6" y="408"/>
                  </a:lnTo>
                  <a:lnTo>
                    <a:pt x="16" y="408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20" y="409"/>
                  </a:lnTo>
                  <a:lnTo>
                    <a:pt x="20" y="409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3" y="409"/>
                  </a:lnTo>
                  <a:lnTo>
                    <a:pt x="34" y="408"/>
                  </a:lnTo>
                  <a:lnTo>
                    <a:pt x="36" y="408"/>
                  </a:lnTo>
                  <a:lnTo>
                    <a:pt x="37" y="408"/>
                  </a:lnTo>
                  <a:lnTo>
                    <a:pt x="39" y="408"/>
                  </a:lnTo>
                  <a:lnTo>
                    <a:pt x="39" y="409"/>
                  </a:lnTo>
                  <a:lnTo>
                    <a:pt x="39" y="411"/>
                  </a:lnTo>
                  <a:lnTo>
                    <a:pt x="40" y="411"/>
                  </a:lnTo>
                  <a:lnTo>
                    <a:pt x="40" y="409"/>
                  </a:lnTo>
                  <a:lnTo>
                    <a:pt x="39" y="406"/>
                  </a:lnTo>
                  <a:lnTo>
                    <a:pt x="54" y="406"/>
                  </a:lnTo>
                  <a:lnTo>
                    <a:pt x="51" y="408"/>
                  </a:lnTo>
                  <a:lnTo>
                    <a:pt x="53" y="408"/>
                  </a:lnTo>
                  <a:lnTo>
                    <a:pt x="53" y="409"/>
                  </a:lnTo>
                  <a:lnTo>
                    <a:pt x="53" y="409"/>
                  </a:lnTo>
                  <a:lnTo>
                    <a:pt x="48" y="411"/>
                  </a:lnTo>
                  <a:lnTo>
                    <a:pt x="45" y="409"/>
                  </a:lnTo>
                  <a:lnTo>
                    <a:pt x="43" y="409"/>
                  </a:lnTo>
                  <a:lnTo>
                    <a:pt x="42" y="416"/>
                  </a:lnTo>
                  <a:lnTo>
                    <a:pt x="42" y="417"/>
                  </a:lnTo>
                  <a:lnTo>
                    <a:pt x="40" y="417"/>
                  </a:lnTo>
                  <a:lnTo>
                    <a:pt x="39" y="417"/>
                  </a:lnTo>
                  <a:lnTo>
                    <a:pt x="39" y="416"/>
                  </a:lnTo>
                  <a:lnTo>
                    <a:pt x="39" y="414"/>
                  </a:lnTo>
                  <a:lnTo>
                    <a:pt x="39" y="414"/>
                  </a:lnTo>
                  <a:lnTo>
                    <a:pt x="37" y="417"/>
                  </a:lnTo>
                  <a:lnTo>
                    <a:pt x="34" y="420"/>
                  </a:lnTo>
                  <a:lnTo>
                    <a:pt x="27" y="422"/>
                  </a:lnTo>
                  <a:lnTo>
                    <a:pt x="22" y="423"/>
                  </a:lnTo>
                  <a:lnTo>
                    <a:pt x="20" y="425"/>
                  </a:lnTo>
                  <a:lnTo>
                    <a:pt x="17" y="425"/>
                  </a:lnTo>
                  <a:lnTo>
                    <a:pt x="16" y="426"/>
                  </a:lnTo>
                  <a:lnTo>
                    <a:pt x="17" y="428"/>
                  </a:lnTo>
                  <a:lnTo>
                    <a:pt x="16" y="428"/>
                  </a:lnTo>
                  <a:lnTo>
                    <a:pt x="14" y="429"/>
                  </a:lnTo>
                  <a:lnTo>
                    <a:pt x="13" y="429"/>
                  </a:lnTo>
                  <a:lnTo>
                    <a:pt x="13" y="429"/>
                  </a:lnTo>
                  <a:lnTo>
                    <a:pt x="14" y="431"/>
                  </a:lnTo>
                  <a:lnTo>
                    <a:pt x="16" y="431"/>
                  </a:lnTo>
                  <a:lnTo>
                    <a:pt x="16" y="433"/>
                  </a:lnTo>
                  <a:lnTo>
                    <a:pt x="17" y="434"/>
                  </a:lnTo>
                  <a:lnTo>
                    <a:pt x="17" y="434"/>
                  </a:lnTo>
                  <a:lnTo>
                    <a:pt x="17" y="434"/>
                  </a:lnTo>
                  <a:lnTo>
                    <a:pt x="17" y="436"/>
                  </a:lnTo>
                  <a:lnTo>
                    <a:pt x="17" y="436"/>
                  </a:lnTo>
                  <a:lnTo>
                    <a:pt x="16" y="436"/>
                  </a:lnTo>
                  <a:lnTo>
                    <a:pt x="10" y="439"/>
                  </a:lnTo>
                  <a:lnTo>
                    <a:pt x="7" y="439"/>
                  </a:lnTo>
                  <a:lnTo>
                    <a:pt x="7" y="439"/>
                  </a:lnTo>
                  <a:lnTo>
                    <a:pt x="7" y="439"/>
                  </a:lnTo>
                  <a:lnTo>
                    <a:pt x="8" y="439"/>
                  </a:lnTo>
                  <a:lnTo>
                    <a:pt x="8" y="439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7" y="440"/>
                  </a:lnTo>
                  <a:lnTo>
                    <a:pt x="8" y="440"/>
                  </a:lnTo>
                  <a:lnTo>
                    <a:pt x="8" y="440"/>
                  </a:lnTo>
                  <a:lnTo>
                    <a:pt x="8" y="442"/>
                  </a:lnTo>
                  <a:lnTo>
                    <a:pt x="8" y="442"/>
                  </a:lnTo>
                  <a:lnTo>
                    <a:pt x="7" y="443"/>
                  </a:lnTo>
                  <a:lnTo>
                    <a:pt x="8" y="443"/>
                  </a:lnTo>
                  <a:lnTo>
                    <a:pt x="10" y="443"/>
                  </a:lnTo>
                  <a:lnTo>
                    <a:pt x="11" y="443"/>
                  </a:lnTo>
                  <a:lnTo>
                    <a:pt x="11" y="445"/>
                  </a:lnTo>
                  <a:lnTo>
                    <a:pt x="10" y="448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4" y="446"/>
                  </a:lnTo>
                  <a:lnTo>
                    <a:pt x="16" y="446"/>
                  </a:lnTo>
                  <a:lnTo>
                    <a:pt x="16" y="446"/>
                  </a:lnTo>
                  <a:lnTo>
                    <a:pt x="17" y="443"/>
                  </a:lnTo>
                  <a:lnTo>
                    <a:pt x="19" y="442"/>
                  </a:lnTo>
                  <a:lnTo>
                    <a:pt x="22" y="443"/>
                  </a:lnTo>
                  <a:lnTo>
                    <a:pt x="23" y="446"/>
                  </a:lnTo>
                  <a:lnTo>
                    <a:pt x="22" y="449"/>
                  </a:lnTo>
                  <a:lnTo>
                    <a:pt x="19" y="451"/>
                  </a:lnTo>
                  <a:lnTo>
                    <a:pt x="27" y="454"/>
                  </a:lnTo>
                  <a:lnTo>
                    <a:pt x="27" y="456"/>
                  </a:lnTo>
                  <a:lnTo>
                    <a:pt x="28" y="456"/>
                  </a:lnTo>
                  <a:lnTo>
                    <a:pt x="30" y="454"/>
                  </a:lnTo>
                  <a:lnTo>
                    <a:pt x="31" y="453"/>
                  </a:lnTo>
                  <a:lnTo>
                    <a:pt x="33" y="451"/>
                  </a:lnTo>
                  <a:lnTo>
                    <a:pt x="34" y="451"/>
                  </a:lnTo>
                  <a:lnTo>
                    <a:pt x="37" y="451"/>
                  </a:lnTo>
                  <a:lnTo>
                    <a:pt x="40" y="448"/>
                  </a:lnTo>
                  <a:lnTo>
                    <a:pt x="40" y="448"/>
                  </a:lnTo>
                  <a:lnTo>
                    <a:pt x="42" y="448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6"/>
                  </a:lnTo>
                  <a:lnTo>
                    <a:pt x="47" y="446"/>
                  </a:lnTo>
                  <a:lnTo>
                    <a:pt x="47" y="446"/>
                  </a:lnTo>
                  <a:lnTo>
                    <a:pt x="45" y="448"/>
                  </a:lnTo>
                  <a:lnTo>
                    <a:pt x="45" y="448"/>
                  </a:lnTo>
                  <a:lnTo>
                    <a:pt x="47" y="448"/>
                  </a:lnTo>
                  <a:lnTo>
                    <a:pt x="48" y="446"/>
                  </a:lnTo>
                  <a:lnTo>
                    <a:pt x="48" y="446"/>
                  </a:lnTo>
                  <a:lnTo>
                    <a:pt x="50" y="445"/>
                  </a:lnTo>
                  <a:lnTo>
                    <a:pt x="51" y="445"/>
                  </a:lnTo>
                  <a:lnTo>
                    <a:pt x="53" y="445"/>
                  </a:lnTo>
                  <a:lnTo>
                    <a:pt x="53" y="443"/>
                  </a:lnTo>
                  <a:lnTo>
                    <a:pt x="54" y="443"/>
                  </a:lnTo>
                  <a:lnTo>
                    <a:pt x="62" y="440"/>
                  </a:lnTo>
                  <a:lnTo>
                    <a:pt x="67" y="439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0" y="443"/>
                  </a:lnTo>
                  <a:lnTo>
                    <a:pt x="59" y="445"/>
                  </a:lnTo>
                  <a:lnTo>
                    <a:pt x="56" y="443"/>
                  </a:lnTo>
                  <a:lnTo>
                    <a:pt x="56" y="445"/>
                  </a:lnTo>
                  <a:lnTo>
                    <a:pt x="56" y="445"/>
                  </a:lnTo>
                  <a:lnTo>
                    <a:pt x="54" y="446"/>
                  </a:lnTo>
                  <a:lnTo>
                    <a:pt x="53" y="446"/>
                  </a:lnTo>
                  <a:lnTo>
                    <a:pt x="51" y="449"/>
                  </a:lnTo>
                  <a:lnTo>
                    <a:pt x="50" y="449"/>
                  </a:lnTo>
                  <a:lnTo>
                    <a:pt x="50" y="451"/>
                  </a:lnTo>
                  <a:lnTo>
                    <a:pt x="51" y="451"/>
                  </a:lnTo>
                  <a:lnTo>
                    <a:pt x="53" y="451"/>
                  </a:lnTo>
                  <a:lnTo>
                    <a:pt x="53" y="453"/>
                  </a:lnTo>
                  <a:lnTo>
                    <a:pt x="50" y="453"/>
                  </a:lnTo>
                  <a:lnTo>
                    <a:pt x="48" y="453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7" y="454"/>
                  </a:lnTo>
                  <a:lnTo>
                    <a:pt x="45" y="456"/>
                  </a:lnTo>
                  <a:lnTo>
                    <a:pt x="43" y="456"/>
                  </a:lnTo>
                  <a:lnTo>
                    <a:pt x="43" y="456"/>
                  </a:lnTo>
                  <a:lnTo>
                    <a:pt x="43" y="454"/>
                  </a:lnTo>
                  <a:lnTo>
                    <a:pt x="45" y="453"/>
                  </a:lnTo>
                  <a:lnTo>
                    <a:pt x="42" y="454"/>
                  </a:lnTo>
                  <a:lnTo>
                    <a:pt x="40" y="456"/>
                  </a:lnTo>
                  <a:lnTo>
                    <a:pt x="37" y="457"/>
                  </a:lnTo>
                  <a:lnTo>
                    <a:pt x="36" y="459"/>
                  </a:lnTo>
                  <a:lnTo>
                    <a:pt x="39" y="459"/>
                  </a:lnTo>
                  <a:lnTo>
                    <a:pt x="39" y="460"/>
                  </a:lnTo>
                  <a:lnTo>
                    <a:pt x="36" y="463"/>
                  </a:lnTo>
                  <a:lnTo>
                    <a:pt x="34" y="463"/>
                  </a:lnTo>
                  <a:lnTo>
                    <a:pt x="31" y="463"/>
                  </a:lnTo>
                  <a:lnTo>
                    <a:pt x="30" y="463"/>
                  </a:lnTo>
                  <a:lnTo>
                    <a:pt x="28" y="465"/>
                  </a:lnTo>
                  <a:lnTo>
                    <a:pt x="30" y="465"/>
                  </a:lnTo>
                  <a:lnTo>
                    <a:pt x="31" y="466"/>
                  </a:lnTo>
                  <a:lnTo>
                    <a:pt x="31" y="466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69"/>
                  </a:lnTo>
                  <a:lnTo>
                    <a:pt x="31" y="469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3"/>
                  </a:lnTo>
                  <a:lnTo>
                    <a:pt x="25" y="473"/>
                  </a:lnTo>
                  <a:lnTo>
                    <a:pt x="25" y="473"/>
                  </a:lnTo>
                  <a:lnTo>
                    <a:pt x="23" y="474"/>
                  </a:lnTo>
                  <a:lnTo>
                    <a:pt x="25" y="474"/>
                  </a:lnTo>
                  <a:lnTo>
                    <a:pt x="27" y="473"/>
                  </a:lnTo>
                  <a:lnTo>
                    <a:pt x="28" y="473"/>
                  </a:lnTo>
                  <a:lnTo>
                    <a:pt x="31" y="473"/>
                  </a:lnTo>
                  <a:lnTo>
                    <a:pt x="31" y="473"/>
                  </a:lnTo>
                  <a:lnTo>
                    <a:pt x="33" y="473"/>
                  </a:lnTo>
                  <a:lnTo>
                    <a:pt x="34" y="473"/>
                  </a:lnTo>
                  <a:lnTo>
                    <a:pt x="36" y="471"/>
                  </a:lnTo>
                  <a:lnTo>
                    <a:pt x="40" y="469"/>
                  </a:lnTo>
                  <a:lnTo>
                    <a:pt x="40" y="469"/>
                  </a:lnTo>
                  <a:lnTo>
                    <a:pt x="40" y="469"/>
                  </a:lnTo>
                  <a:lnTo>
                    <a:pt x="42" y="469"/>
                  </a:lnTo>
                  <a:lnTo>
                    <a:pt x="42" y="468"/>
                  </a:lnTo>
                  <a:lnTo>
                    <a:pt x="42" y="468"/>
                  </a:lnTo>
                  <a:lnTo>
                    <a:pt x="42" y="468"/>
                  </a:lnTo>
                  <a:lnTo>
                    <a:pt x="45" y="466"/>
                  </a:lnTo>
                  <a:lnTo>
                    <a:pt x="54" y="465"/>
                  </a:lnTo>
                  <a:lnTo>
                    <a:pt x="57" y="463"/>
                  </a:lnTo>
                  <a:lnTo>
                    <a:pt x="62" y="463"/>
                  </a:lnTo>
                  <a:lnTo>
                    <a:pt x="63" y="462"/>
                  </a:lnTo>
                  <a:lnTo>
                    <a:pt x="65" y="462"/>
                  </a:lnTo>
                  <a:lnTo>
                    <a:pt x="68" y="459"/>
                  </a:lnTo>
                  <a:lnTo>
                    <a:pt x="68" y="459"/>
                  </a:lnTo>
                  <a:lnTo>
                    <a:pt x="70" y="459"/>
                  </a:lnTo>
                  <a:lnTo>
                    <a:pt x="70" y="457"/>
                  </a:lnTo>
                  <a:lnTo>
                    <a:pt x="70" y="456"/>
                  </a:lnTo>
                  <a:lnTo>
                    <a:pt x="70" y="454"/>
                  </a:lnTo>
                  <a:lnTo>
                    <a:pt x="68" y="453"/>
                  </a:lnTo>
                  <a:lnTo>
                    <a:pt x="70" y="454"/>
                  </a:lnTo>
                  <a:lnTo>
                    <a:pt x="70" y="454"/>
                  </a:lnTo>
                  <a:lnTo>
                    <a:pt x="71" y="454"/>
                  </a:lnTo>
                  <a:lnTo>
                    <a:pt x="71" y="456"/>
                  </a:lnTo>
                  <a:lnTo>
                    <a:pt x="71" y="456"/>
                  </a:lnTo>
                  <a:lnTo>
                    <a:pt x="71" y="457"/>
                  </a:lnTo>
                  <a:lnTo>
                    <a:pt x="71" y="457"/>
                  </a:lnTo>
                  <a:lnTo>
                    <a:pt x="71" y="457"/>
                  </a:lnTo>
                  <a:lnTo>
                    <a:pt x="73" y="457"/>
                  </a:lnTo>
                  <a:lnTo>
                    <a:pt x="74" y="459"/>
                  </a:lnTo>
                  <a:lnTo>
                    <a:pt x="76" y="459"/>
                  </a:lnTo>
                  <a:lnTo>
                    <a:pt x="76" y="457"/>
                  </a:lnTo>
                  <a:lnTo>
                    <a:pt x="77" y="459"/>
                  </a:lnTo>
                  <a:lnTo>
                    <a:pt x="77" y="459"/>
                  </a:lnTo>
                  <a:lnTo>
                    <a:pt x="77" y="459"/>
                  </a:lnTo>
                  <a:lnTo>
                    <a:pt x="77" y="460"/>
                  </a:lnTo>
                  <a:lnTo>
                    <a:pt x="77" y="460"/>
                  </a:lnTo>
                  <a:lnTo>
                    <a:pt x="76" y="462"/>
                  </a:lnTo>
                  <a:lnTo>
                    <a:pt x="74" y="463"/>
                  </a:lnTo>
                  <a:lnTo>
                    <a:pt x="71" y="465"/>
                  </a:lnTo>
                  <a:lnTo>
                    <a:pt x="68" y="465"/>
                  </a:lnTo>
                  <a:lnTo>
                    <a:pt x="67" y="466"/>
                  </a:lnTo>
                  <a:lnTo>
                    <a:pt x="65" y="468"/>
                  </a:lnTo>
                  <a:lnTo>
                    <a:pt x="56" y="473"/>
                  </a:lnTo>
                  <a:lnTo>
                    <a:pt x="53" y="474"/>
                  </a:lnTo>
                  <a:lnTo>
                    <a:pt x="53" y="474"/>
                  </a:lnTo>
                  <a:lnTo>
                    <a:pt x="53" y="476"/>
                  </a:lnTo>
                  <a:lnTo>
                    <a:pt x="51" y="476"/>
                  </a:lnTo>
                  <a:lnTo>
                    <a:pt x="51" y="477"/>
                  </a:lnTo>
                  <a:lnTo>
                    <a:pt x="48" y="479"/>
                  </a:lnTo>
                  <a:lnTo>
                    <a:pt x="53" y="479"/>
                  </a:lnTo>
                  <a:lnTo>
                    <a:pt x="67" y="471"/>
                  </a:lnTo>
                  <a:lnTo>
                    <a:pt x="70" y="471"/>
                  </a:lnTo>
                  <a:lnTo>
                    <a:pt x="68" y="473"/>
                  </a:lnTo>
                  <a:lnTo>
                    <a:pt x="65" y="474"/>
                  </a:lnTo>
                  <a:lnTo>
                    <a:pt x="65" y="474"/>
                  </a:lnTo>
                  <a:lnTo>
                    <a:pt x="60" y="479"/>
                  </a:lnTo>
                  <a:lnTo>
                    <a:pt x="60" y="479"/>
                  </a:lnTo>
                  <a:lnTo>
                    <a:pt x="57" y="480"/>
                  </a:lnTo>
                  <a:lnTo>
                    <a:pt x="56" y="480"/>
                  </a:lnTo>
                  <a:lnTo>
                    <a:pt x="54" y="482"/>
                  </a:lnTo>
                  <a:lnTo>
                    <a:pt x="51" y="485"/>
                  </a:lnTo>
                  <a:lnTo>
                    <a:pt x="50" y="485"/>
                  </a:lnTo>
                  <a:lnTo>
                    <a:pt x="48" y="486"/>
                  </a:lnTo>
                  <a:lnTo>
                    <a:pt x="50" y="486"/>
                  </a:lnTo>
                  <a:lnTo>
                    <a:pt x="50" y="488"/>
                  </a:lnTo>
                  <a:lnTo>
                    <a:pt x="50" y="488"/>
                  </a:lnTo>
                  <a:lnTo>
                    <a:pt x="50" y="488"/>
                  </a:lnTo>
                  <a:lnTo>
                    <a:pt x="50" y="489"/>
                  </a:lnTo>
                  <a:lnTo>
                    <a:pt x="50" y="489"/>
                  </a:lnTo>
                  <a:lnTo>
                    <a:pt x="50" y="491"/>
                  </a:lnTo>
                  <a:lnTo>
                    <a:pt x="50" y="489"/>
                  </a:lnTo>
                  <a:lnTo>
                    <a:pt x="51" y="491"/>
                  </a:lnTo>
                  <a:lnTo>
                    <a:pt x="53" y="489"/>
                  </a:lnTo>
                  <a:lnTo>
                    <a:pt x="53" y="488"/>
                  </a:lnTo>
                  <a:lnTo>
                    <a:pt x="53" y="489"/>
                  </a:lnTo>
                  <a:lnTo>
                    <a:pt x="59" y="488"/>
                  </a:lnTo>
                  <a:lnTo>
                    <a:pt x="57" y="488"/>
                  </a:lnTo>
                  <a:lnTo>
                    <a:pt x="57" y="488"/>
                  </a:lnTo>
                  <a:lnTo>
                    <a:pt x="57" y="486"/>
                  </a:lnTo>
                  <a:lnTo>
                    <a:pt x="62" y="483"/>
                  </a:lnTo>
                  <a:lnTo>
                    <a:pt x="62" y="482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3" y="485"/>
                  </a:lnTo>
                  <a:lnTo>
                    <a:pt x="65" y="485"/>
                  </a:lnTo>
                  <a:lnTo>
                    <a:pt x="67" y="485"/>
                  </a:lnTo>
                  <a:lnTo>
                    <a:pt x="67" y="483"/>
                  </a:lnTo>
                  <a:lnTo>
                    <a:pt x="68" y="483"/>
                  </a:lnTo>
                  <a:lnTo>
                    <a:pt x="70" y="483"/>
                  </a:lnTo>
                  <a:lnTo>
                    <a:pt x="70" y="483"/>
                  </a:lnTo>
                  <a:lnTo>
                    <a:pt x="70" y="482"/>
                  </a:lnTo>
                  <a:lnTo>
                    <a:pt x="70" y="482"/>
                  </a:lnTo>
                  <a:lnTo>
                    <a:pt x="76" y="480"/>
                  </a:lnTo>
                  <a:lnTo>
                    <a:pt x="77" y="479"/>
                  </a:lnTo>
                  <a:lnTo>
                    <a:pt x="77" y="477"/>
                  </a:lnTo>
                  <a:lnTo>
                    <a:pt x="77" y="477"/>
                  </a:lnTo>
                  <a:lnTo>
                    <a:pt x="79" y="477"/>
                  </a:lnTo>
                  <a:lnTo>
                    <a:pt x="80" y="479"/>
                  </a:lnTo>
                  <a:lnTo>
                    <a:pt x="80" y="479"/>
                  </a:lnTo>
                  <a:lnTo>
                    <a:pt x="80" y="480"/>
                  </a:lnTo>
                  <a:lnTo>
                    <a:pt x="80" y="482"/>
                  </a:lnTo>
                  <a:lnTo>
                    <a:pt x="80" y="483"/>
                  </a:lnTo>
                  <a:lnTo>
                    <a:pt x="80" y="485"/>
                  </a:lnTo>
                  <a:lnTo>
                    <a:pt x="82" y="483"/>
                  </a:lnTo>
                  <a:lnTo>
                    <a:pt x="84" y="482"/>
                  </a:lnTo>
                  <a:lnTo>
                    <a:pt x="84" y="482"/>
                  </a:lnTo>
                  <a:lnTo>
                    <a:pt x="85" y="480"/>
                  </a:lnTo>
                  <a:lnTo>
                    <a:pt x="87" y="479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7" y="480"/>
                  </a:lnTo>
                  <a:lnTo>
                    <a:pt x="85" y="482"/>
                  </a:lnTo>
                  <a:lnTo>
                    <a:pt x="84" y="482"/>
                  </a:lnTo>
                  <a:lnTo>
                    <a:pt x="84" y="483"/>
                  </a:lnTo>
                  <a:lnTo>
                    <a:pt x="82" y="485"/>
                  </a:lnTo>
                  <a:lnTo>
                    <a:pt x="84" y="485"/>
                  </a:lnTo>
                  <a:lnTo>
                    <a:pt x="84" y="485"/>
                  </a:lnTo>
                  <a:lnTo>
                    <a:pt x="85" y="485"/>
                  </a:lnTo>
                  <a:lnTo>
                    <a:pt x="85" y="485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2" y="488"/>
                  </a:lnTo>
                  <a:lnTo>
                    <a:pt x="85" y="488"/>
                  </a:lnTo>
                  <a:lnTo>
                    <a:pt x="85" y="488"/>
                  </a:lnTo>
                  <a:lnTo>
                    <a:pt x="87" y="486"/>
                  </a:lnTo>
                  <a:lnTo>
                    <a:pt x="87" y="486"/>
                  </a:lnTo>
                  <a:lnTo>
                    <a:pt x="88" y="486"/>
                  </a:lnTo>
                  <a:lnTo>
                    <a:pt x="88" y="486"/>
                  </a:lnTo>
                  <a:lnTo>
                    <a:pt x="88" y="485"/>
                  </a:lnTo>
                  <a:lnTo>
                    <a:pt x="90" y="483"/>
                  </a:lnTo>
                  <a:lnTo>
                    <a:pt x="91" y="485"/>
                  </a:lnTo>
                  <a:lnTo>
                    <a:pt x="91" y="485"/>
                  </a:lnTo>
                  <a:lnTo>
                    <a:pt x="91" y="485"/>
                  </a:lnTo>
                  <a:lnTo>
                    <a:pt x="91" y="486"/>
                  </a:lnTo>
                  <a:lnTo>
                    <a:pt x="91" y="485"/>
                  </a:lnTo>
                  <a:lnTo>
                    <a:pt x="93" y="486"/>
                  </a:lnTo>
                  <a:lnTo>
                    <a:pt x="93" y="486"/>
                  </a:lnTo>
                  <a:lnTo>
                    <a:pt x="94" y="486"/>
                  </a:lnTo>
                  <a:lnTo>
                    <a:pt x="94" y="485"/>
                  </a:lnTo>
                  <a:lnTo>
                    <a:pt x="94" y="485"/>
                  </a:lnTo>
                  <a:lnTo>
                    <a:pt x="96" y="483"/>
                  </a:lnTo>
                  <a:lnTo>
                    <a:pt x="96" y="483"/>
                  </a:lnTo>
                  <a:lnTo>
                    <a:pt x="96" y="483"/>
                  </a:lnTo>
                  <a:lnTo>
                    <a:pt x="96" y="482"/>
                  </a:lnTo>
                  <a:lnTo>
                    <a:pt x="97" y="482"/>
                  </a:lnTo>
                  <a:lnTo>
                    <a:pt x="99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9"/>
                  </a:lnTo>
                  <a:lnTo>
                    <a:pt x="102" y="479"/>
                  </a:lnTo>
                  <a:lnTo>
                    <a:pt x="102" y="477"/>
                  </a:lnTo>
                  <a:lnTo>
                    <a:pt x="102" y="477"/>
                  </a:lnTo>
                  <a:lnTo>
                    <a:pt x="102" y="477"/>
                  </a:lnTo>
                  <a:lnTo>
                    <a:pt x="104" y="479"/>
                  </a:lnTo>
                  <a:lnTo>
                    <a:pt x="105" y="479"/>
                  </a:lnTo>
                  <a:lnTo>
                    <a:pt x="110" y="477"/>
                  </a:lnTo>
                  <a:lnTo>
                    <a:pt x="110" y="477"/>
                  </a:lnTo>
                  <a:lnTo>
                    <a:pt x="111" y="477"/>
                  </a:lnTo>
                  <a:lnTo>
                    <a:pt x="113" y="477"/>
                  </a:lnTo>
                  <a:lnTo>
                    <a:pt x="114" y="479"/>
                  </a:lnTo>
                  <a:lnTo>
                    <a:pt x="114" y="479"/>
                  </a:lnTo>
                  <a:lnTo>
                    <a:pt x="114" y="479"/>
                  </a:lnTo>
                  <a:lnTo>
                    <a:pt x="114" y="480"/>
                  </a:lnTo>
                  <a:lnTo>
                    <a:pt x="116" y="480"/>
                  </a:lnTo>
                  <a:lnTo>
                    <a:pt x="116" y="479"/>
                  </a:lnTo>
                  <a:lnTo>
                    <a:pt x="116" y="479"/>
                  </a:lnTo>
                  <a:lnTo>
                    <a:pt x="119" y="477"/>
                  </a:lnTo>
                  <a:lnTo>
                    <a:pt x="119" y="477"/>
                  </a:lnTo>
                  <a:lnTo>
                    <a:pt x="120" y="474"/>
                  </a:lnTo>
                  <a:lnTo>
                    <a:pt x="122" y="473"/>
                  </a:lnTo>
                  <a:lnTo>
                    <a:pt x="124" y="474"/>
                  </a:lnTo>
                  <a:lnTo>
                    <a:pt x="124" y="473"/>
                  </a:lnTo>
                  <a:lnTo>
                    <a:pt x="124" y="473"/>
                  </a:lnTo>
                  <a:lnTo>
                    <a:pt x="125" y="474"/>
                  </a:lnTo>
                  <a:lnTo>
                    <a:pt x="125" y="474"/>
                  </a:lnTo>
                  <a:lnTo>
                    <a:pt x="128" y="474"/>
                  </a:lnTo>
                  <a:lnTo>
                    <a:pt x="128" y="474"/>
                  </a:lnTo>
                  <a:lnTo>
                    <a:pt x="130" y="476"/>
                  </a:lnTo>
                  <a:lnTo>
                    <a:pt x="130" y="476"/>
                  </a:lnTo>
                  <a:lnTo>
                    <a:pt x="130" y="476"/>
                  </a:lnTo>
                  <a:lnTo>
                    <a:pt x="133" y="476"/>
                  </a:lnTo>
                  <a:lnTo>
                    <a:pt x="133" y="474"/>
                  </a:lnTo>
                  <a:lnTo>
                    <a:pt x="133" y="473"/>
                  </a:lnTo>
                  <a:lnTo>
                    <a:pt x="133" y="473"/>
                  </a:lnTo>
                  <a:lnTo>
                    <a:pt x="134" y="471"/>
                  </a:lnTo>
                  <a:lnTo>
                    <a:pt x="133" y="471"/>
                  </a:lnTo>
                  <a:lnTo>
                    <a:pt x="133" y="469"/>
                  </a:lnTo>
                  <a:lnTo>
                    <a:pt x="134" y="469"/>
                  </a:lnTo>
                  <a:lnTo>
                    <a:pt x="134" y="469"/>
                  </a:lnTo>
                  <a:lnTo>
                    <a:pt x="131" y="469"/>
                  </a:lnTo>
                  <a:lnTo>
                    <a:pt x="130" y="468"/>
                  </a:lnTo>
                  <a:lnTo>
                    <a:pt x="128" y="466"/>
                  </a:lnTo>
                  <a:lnTo>
                    <a:pt x="137" y="468"/>
                  </a:lnTo>
                  <a:lnTo>
                    <a:pt x="141" y="466"/>
                  </a:lnTo>
                  <a:lnTo>
                    <a:pt x="142" y="466"/>
                  </a:lnTo>
                  <a:lnTo>
                    <a:pt x="144" y="468"/>
                  </a:lnTo>
                  <a:lnTo>
                    <a:pt x="145" y="471"/>
                  </a:lnTo>
                  <a:lnTo>
                    <a:pt x="145" y="471"/>
                  </a:lnTo>
                  <a:lnTo>
                    <a:pt x="145" y="469"/>
                  </a:lnTo>
                  <a:lnTo>
                    <a:pt x="145" y="468"/>
                  </a:lnTo>
                  <a:lnTo>
                    <a:pt x="145" y="466"/>
                  </a:lnTo>
                  <a:lnTo>
                    <a:pt x="145" y="466"/>
                  </a:lnTo>
                  <a:lnTo>
                    <a:pt x="147" y="463"/>
                  </a:lnTo>
                  <a:lnTo>
                    <a:pt x="147" y="463"/>
                  </a:lnTo>
                  <a:lnTo>
                    <a:pt x="147" y="463"/>
                  </a:lnTo>
                  <a:lnTo>
                    <a:pt x="148" y="462"/>
                  </a:lnTo>
                  <a:lnTo>
                    <a:pt x="148" y="462"/>
                  </a:lnTo>
                  <a:lnTo>
                    <a:pt x="148" y="460"/>
                  </a:lnTo>
                  <a:lnTo>
                    <a:pt x="147" y="460"/>
                  </a:lnTo>
                  <a:lnTo>
                    <a:pt x="147" y="462"/>
                  </a:lnTo>
                  <a:lnTo>
                    <a:pt x="145" y="462"/>
                  </a:lnTo>
                  <a:lnTo>
                    <a:pt x="144" y="460"/>
                  </a:lnTo>
                  <a:lnTo>
                    <a:pt x="144" y="460"/>
                  </a:lnTo>
                  <a:lnTo>
                    <a:pt x="144" y="460"/>
                  </a:lnTo>
                  <a:lnTo>
                    <a:pt x="147" y="460"/>
                  </a:lnTo>
                  <a:lnTo>
                    <a:pt x="148" y="460"/>
                  </a:lnTo>
                  <a:lnTo>
                    <a:pt x="150" y="463"/>
                  </a:lnTo>
                  <a:lnTo>
                    <a:pt x="150" y="462"/>
                  </a:lnTo>
                  <a:lnTo>
                    <a:pt x="150" y="462"/>
                  </a:lnTo>
                  <a:lnTo>
                    <a:pt x="150" y="460"/>
                  </a:lnTo>
                  <a:lnTo>
                    <a:pt x="150" y="459"/>
                  </a:lnTo>
                  <a:lnTo>
                    <a:pt x="150" y="459"/>
                  </a:lnTo>
                  <a:lnTo>
                    <a:pt x="151" y="459"/>
                  </a:lnTo>
                  <a:lnTo>
                    <a:pt x="153" y="460"/>
                  </a:lnTo>
                  <a:lnTo>
                    <a:pt x="153" y="462"/>
                  </a:lnTo>
                  <a:lnTo>
                    <a:pt x="153" y="460"/>
                  </a:lnTo>
                  <a:lnTo>
                    <a:pt x="154" y="459"/>
                  </a:lnTo>
                  <a:lnTo>
                    <a:pt x="157" y="459"/>
                  </a:lnTo>
                  <a:lnTo>
                    <a:pt x="159" y="457"/>
                  </a:lnTo>
                  <a:lnTo>
                    <a:pt x="161" y="456"/>
                  </a:lnTo>
                  <a:lnTo>
                    <a:pt x="162" y="454"/>
                  </a:lnTo>
                  <a:lnTo>
                    <a:pt x="164" y="453"/>
                  </a:lnTo>
                  <a:lnTo>
                    <a:pt x="162" y="453"/>
                  </a:lnTo>
                  <a:lnTo>
                    <a:pt x="162" y="451"/>
                  </a:lnTo>
                  <a:lnTo>
                    <a:pt x="162" y="451"/>
                  </a:lnTo>
                  <a:lnTo>
                    <a:pt x="162" y="451"/>
                  </a:lnTo>
                  <a:lnTo>
                    <a:pt x="164" y="448"/>
                  </a:lnTo>
                  <a:lnTo>
                    <a:pt x="161" y="448"/>
                  </a:lnTo>
                  <a:lnTo>
                    <a:pt x="162" y="448"/>
                  </a:lnTo>
                  <a:lnTo>
                    <a:pt x="162" y="448"/>
                  </a:lnTo>
                  <a:lnTo>
                    <a:pt x="164" y="448"/>
                  </a:lnTo>
                  <a:lnTo>
                    <a:pt x="164" y="448"/>
                  </a:lnTo>
                  <a:lnTo>
                    <a:pt x="162" y="446"/>
                  </a:lnTo>
                  <a:lnTo>
                    <a:pt x="162" y="446"/>
                  </a:lnTo>
                  <a:lnTo>
                    <a:pt x="162" y="446"/>
                  </a:lnTo>
                  <a:lnTo>
                    <a:pt x="162" y="445"/>
                  </a:lnTo>
                  <a:lnTo>
                    <a:pt x="162" y="445"/>
                  </a:lnTo>
                  <a:lnTo>
                    <a:pt x="159" y="445"/>
                  </a:lnTo>
                  <a:lnTo>
                    <a:pt x="161" y="442"/>
                  </a:lnTo>
                  <a:lnTo>
                    <a:pt x="159" y="440"/>
                  </a:lnTo>
                  <a:lnTo>
                    <a:pt x="156" y="439"/>
                  </a:lnTo>
                  <a:lnTo>
                    <a:pt x="153" y="439"/>
                  </a:lnTo>
                  <a:lnTo>
                    <a:pt x="154" y="437"/>
                  </a:lnTo>
                  <a:lnTo>
                    <a:pt x="156" y="437"/>
                  </a:lnTo>
                  <a:lnTo>
                    <a:pt x="159" y="437"/>
                  </a:lnTo>
                  <a:lnTo>
                    <a:pt x="161" y="437"/>
                  </a:lnTo>
                  <a:lnTo>
                    <a:pt x="162" y="437"/>
                  </a:lnTo>
                  <a:lnTo>
                    <a:pt x="164" y="436"/>
                  </a:lnTo>
                  <a:lnTo>
                    <a:pt x="164" y="437"/>
                  </a:lnTo>
                  <a:lnTo>
                    <a:pt x="164" y="437"/>
                  </a:lnTo>
                  <a:lnTo>
                    <a:pt x="167" y="437"/>
                  </a:lnTo>
                  <a:lnTo>
                    <a:pt x="168" y="437"/>
                  </a:lnTo>
                  <a:lnTo>
                    <a:pt x="170" y="439"/>
                  </a:lnTo>
                  <a:lnTo>
                    <a:pt x="170" y="437"/>
                  </a:lnTo>
                  <a:lnTo>
                    <a:pt x="171" y="437"/>
                  </a:lnTo>
                  <a:lnTo>
                    <a:pt x="171" y="437"/>
                  </a:lnTo>
                  <a:lnTo>
                    <a:pt x="171" y="439"/>
                  </a:lnTo>
                  <a:lnTo>
                    <a:pt x="171" y="439"/>
                  </a:lnTo>
                  <a:lnTo>
                    <a:pt x="170" y="439"/>
                  </a:lnTo>
                  <a:lnTo>
                    <a:pt x="170" y="440"/>
                  </a:lnTo>
                  <a:lnTo>
                    <a:pt x="171" y="440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3"/>
                  </a:lnTo>
                  <a:lnTo>
                    <a:pt x="170" y="443"/>
                  </a:lnTo>
                  <a:lnTo>
                    <a:pt x="168" y="443"/>
                  </a:lnTo>
                  <a:lnTo>
                    <a:pt x="168" y="445"/>
                  </a:lnTo>
                  <a:lnTo>
                    <a:pt x="168" y="445"/>
                  </a:lnTo>
                  <a:lnTo>
                    <a:pt x="168" y="446"/>
                  </a:lnTo>
                  <a:lnTo>
                    <a:pt x="168" y="446"/>
                  </a:lnTo>
                  <a:lnTo>
                    <a:pt x="167" y="446"/>
                  </a:lnTo>
                  <a:lnTo>
                    <a:pt x="167" y="446"/>
                  </a:lnTo>
                  <a:lnTo>
                    <a:pt x="167" y="448"/>
                  </a:lnTo>
                  <a:lnTo>
                    <a:pt x="167" y="448"/>
                  </a:lnTo>
                  <a:lnTo>
                    <a:pt x="167" y="448"/>
                  </a:lnTo>
                  <a:lnTo>
                    <a:pt x="168" y="448"/>
                  </a:lnTo>
                  <a:lnTo>
                    <a:pt x="170" y="448"/>
                  </a:lnTo>
                  <a:lnTo>
                    <a:pt x="174" y="448"/>
                  </a:lnTo>
                  <a:lnTo>
                    <a:pt x="177" y="446"/>
                  </a:lnTo>
                  <a:lnTo>
                    <a:pt x="184" y="446"/>
                  </a:lnTo>
                  <a:lnTo>
                    <a:pt x="185" y="445"/>
                  </a:lnTo>
                  <a:lnTo>
                    <a:pt x="184" y="443"/>
                  </a:lnTo>
                  <a:lnTo>
                    <a:pt x="185" y="442"/>
                  </a:lnTo>
                  <a:lnTo>
                    <a:pt x="188" y="440"/>
                  </a:lnTo>
                  <a:lnTo>
                    <a:pt x="191" y="440"/>
                  </a:lnTo>
                  <a:lnTo>
                    <a:pt x="193" y="439"/>
                  </a:lnTo>
                  <a:lnTo>
                    <a:pt x="194" y="437"/>
                  </a:lnTo>
                  <a:lnTo>
                    <a:pt x="193" y="437"/>
                  </a:lnTo>
                  <a:lnTo>
                    <a:pt x="191" y="436"/>
                  </a:lnTo>
                  <a:lnTo>
                    <a:pt x="193" y="436"/>
                  </a:lnTo>
                  <a:lnTo>
                    <a:pt x="193" y="434"/>
                  </a:lnTo>
                  <a:lnTo>
                    <a:pt x="194" y="433"/>
                  </a:lnTo>
                  <a:lnTo>
                    <a:pt x="196" y="431"/>
                  </a:lnTo>
                  <a:lnTo>
                    <a:pt x="196" y="431"/>
                  </a:lnTo>
                  <a:lnTo>
                    <a:pt x="196" y="428"/>
                  </a:lnTo>
                  <a:lnTo>
                    <a:pt x="196" y="428"/>
                  </a:lnTo>
                  <a:lnTo>
                    <a:pt x="196" y="426"/>
                  </a:lnTo>
                  <a:lnTo>
                    <a:pt x="197" y="428"/>
                  </a:lnTo>
                  <a:lnTo>
                    <a:pt x="197" y="428"/>
                  </a:lnTo>
                  <a:lnTo>
                    <a:pt x="197" y="429"/>
                  </a:lnTo>
                  <a:lnTo>
                    <a:pt x="197" y="429"/>
                  </a:lnTo>
                  <a:lnTo>
                    <a:pt x="205" y="431"/>
                  </a:lnTo>
                  <a:lnTo>
                    <a:pt x="207" y="431"/>
                  </a:lnTo>
                  <a:lnTo>
                    <a:pt x="207" y="429"/>
                  </a:lnTo>
                  <a:lnTo>
                    <a:pt x="207" y="428"/>
                  </a:lnTo>
                  <a:lnTo>
                    <a:pt x="208" y="426"/>
                  </a:lnTo>
                  <a:lnTo>
                    <a:pt x="213" y="428"/>
                  </a:lnTo>
                  <a:lnTo>
                    <a:pt x="213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2"/>
                  </a:lnTo>
                  <a:lnTo>
                    <a:pt x="219" y="419"/>
                  </a:lnTo>
                  <a:lnTo>
                    <a:pt x="219" y="417"/>
                  </a:lnTo>
                  <a:lnTo>
                    <a:pt x="219" y="417"/>
                  </a:lnTo>
                  <a:lnTo>
                    <a:pt x="218" y="417"/>
                  </a:lnTo>
                  <a:lnTo>
                    <a:pt x="216" y="416"/>
                  </a:lnTo>
                  <a:lnTo>
                    <a:pt x="214" y="416"/>
                  </a:lnTo>
                  <a:lnTo>
                    <a:pt x="213" y="416"/>
                  </a:lnTo>
                  <a:lnTo>
                    <a:pt x="213" y="417"/>
                  </a:lnTo>
                  <a:lnTo>
                    <a:pt x="213" y="416"/>
                  </a:lnTo>
                  <a:lnTo>
                    <a:pt x="213" y="414"/>
                  </a:lnTo>
                  <a:lnTo>
                    <a:pt x="214" y="412"/>
                  </a:lnTo>
                  <a:lnTo>
                    <a:pt x="216" y="412"/>
                  </a:lnTo>
                  <a:lnTo>
                    <a:pt x="216" y="412"/>
                  </a:lnTo>
                  <a:lnTo>
                    <a:pt x="216" y="412"/>
                  </a:lnTo>
                  <a:lnTo>
                    <a:pt x="218" y="414"/>
                  </a:lnTo>
                  <a:lnTo>
                    <a:pt x="218" y="414"/>
                  </a:lnTo>
                  <a:lnTo>
                    <a:pt x="218" y="414"/>
                  </a:lnTo>
                  <a:lnTo>
                    <a:pt x="219" y="414"/>
                  </a:lnTo>
                  <a:lnTo>
                    <a:pt x="219" y="412"/>
                  </a:lnTo>
                  <a:lnTo>
                    <a:pt x="219" y="412"/>
                  </a:lnTo>
                  <a:lnTo>
                    <a:pt x="222" y="412"/>
                  </a:lnTo>
                  <a:lnTo>
                    <a:pt x="227" y="409"/>
                  </a:lnTo>
                  <a:lnTo>
                    <a:pt x="241" y="408"/>
                  </a:lnTo>
                  <a:lnTo>
                    <a:pt x="244" y="408"/>
                  </a:lnTo>
                  <a:lnTo>
                    <a:pt x="245" y="408"/>
                  </a:lnTo>
                  <a:lnTo>
                    <a:pt x="247" y="408"/>
                  </a:lnTo>
                  <a:lnTo>
                    <a:pt x="247" y="408"/>
                  </a:lnTo>
                  <a:lnTo>
                    <a:pt x="248" y="406"/>
                  </a:lnTo>
                  <a:lnTo>
                    <a:pt x="248" y="406"/>
                  </a:lnTo>
                  <a:lnTo>
                    <a:pt x="250" y="405"/>
                  </a:lnTo>
                  <a:lnTo>
                    <a:pt x="250" y="405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5"/>
                  </a:lnTo>
                  <a:lnTo>
                    <a:pt x="251" y="405"/>
                  </a:lnTo>
                  <a:lnTo>
                    <a:pt x="250" y="405"/>
                  </a:lnTo>
                  <a:lnTo>
                    <a:pt x="250" y="403"/>
                  </a:lnTo>
                  <a:lnTo>
                    <a:pt x="251" y="403"/>
                  </a:lnTo>
                  <a:lnTo>
                    <a:pt x="253" y="403"/>
                  </a:lnTo>
                  <a:lnTo>
                    <a:pt x="254" y="405"/>
                  </a:lnTo>
                  <a:lnTo>
                    <a:pt x="251" y="408"/>
                  </a:lnTo>
                  <a:lnTo>
                    <a:pt x="251" y="409"/>
                  </a:lnTo>
                  <a:lnTo>
                    <a:pt x="253" y="408"/>
                  </a:lnTo>
                  <a:lnTo>
                    <a:pt x="256" y="408"/>
                  </a:lnTo>
                  <a:lnTo>
                    <a:pt x="258" y="408"/>
                  </a:lnTo>
                  <a:lnTo>
                    <a:pt x="259" y="406"/>
                  </a:lnTo>
                  <a:lnTo>
                    <a:pt x="262" y="403"/>
                  </a:lnTo>
                  <a:lnTo>
                    <a:pt x="262" y="403"/>
                  </a:lnTo>
                  <a:lnTo>
                    <a:pt x="262" y="402"/>
                  </a:lnTo>
                  <a:lnTo>
                    <a:pt x="261" y="402"/>
                  </a:lnTo>
                  <a:lnTo>
                    <a:pt x="261" y="400"/>
                  </a:lnTo>
                  <a:lnTo>
                    <a:pt x="262" y="397"/>
                  </a:lnTo>
                  <a:lnTo>
                    <a:pt x="262" y="397"/>
                  </a:lnTo>
                  <a:lnTo>
                    <a:pt x="261" y="394"/>
                  </a:lnTo>
                  <a:lnTo>
                    <a:pt x="261" y="394"/>
                  </a:lnTo>
                  <a:lnTo>
                    <a:pt x="261" y="392"/>
                  </a:lnTo>
                  <a:lnTo>
                    <a:pt x="261" y="392"/>
                  </a:lnTo>
                  <a:lnTo>
                    <a:pt x="261" y="391"/>
                  </a:lnTo>
                  <a:lnTo>
                    <a:pt x="259" y="389"/>
                  </a:lnTo>
                  <a:lnTo>
                    <a:pt x="261" y="391"/>
                  </a:lnTo>
                  <a:lnTo>
                    <a:pt x="262" y="394"/>
                  </a:lnTo>
                  <a:lnTo>
                    <a:pt x="262" y="396"/>
                  </a:lnTo>
                  <a:lnTo>
                    <a:pt x="264" y="396"/>
                  </a:lnTo>
                  <a:lnTo>
                    <a:pt x="264" y="397"/>
                  </a:lnTo>
                  <a:lnTo>
                    <a:pt x="265" y="399"/>
                  </a:lnTo>
                  <a:lnTo>
                    <a:pt x="265" y="399"/>
                  </a:lnTo>
                  <a:lnTo>
                    <a:pt x="267" y="403"/>
                  </a:lnTo>
                  <a:lnTo>
                    <a:pt x="267" y="405"/>
                  </a:lnTo>
                  <a:lnTo>
                    <a:pt x="265" y="406"/>
                  </a:lnTo>
                  <a:lnTo>
                    <a:pt x="265" y="406"/>
                  </a:lnTo>
                  <a:lnTo>
                    <a:pt x="264" y="408"/>
                  </a:lnTo>
                  <a:lnTo>
                    <a:pt x="264" y="409"/>
                  </a:lnTo>
                  <a:lnTo>
                    <a:pt x="265" y="409"/>
                  </a:lnTo>
                  <a:lnTo>
                    <a:pt x="265" y="408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73" y="403"/>
                  </a:lnTo>
                  <a:lnTo>
                    <a:pt x="271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3" y="402"/>
                  </a:lnTo>
                  <a:lnTo>
                    <a:pt x="271" y="402"/>
                  </a:lnTo>
                  <a:lnTo>
                    <a:pt x="273" y="400"/>
                  </a:lnTo>
                  <a:lnTo>
                    <a:pt x="273" y="400"/>
                  </a:lnTo>
                  <a:lnTo>
                    <a:pt x="273" y="397"/>
                  </a:lnTo>
                  <a:lnTo>
                    <a:pt x="273" y="397"/>
                  </a:lnTo>
                  <a:lnTo>
                    <a:pt x="273" y="399"/>
                  </a:lnTo>
                  <a:lnTo>
                    <a:pt x="271" y="399"/>
                  </a:lnTo>
                  <a:lnTo>
                    <a:pt x="271" y="399"/>
                  </a:lnTo>
                  <a:lnTo>
                    <a:pt x="271" y="397"/>
                  </a:lnTo>
                  <a:lnTo>
                    <a:pt x="271" y="397"/>
                  </a:lnTo>
                  <a:lnTo>
                    <a:pt x="271" y="396"/>
                  </a:lnTo>
                  <a:lnTo>
                    <a:pt x="271" y="396"/>
                  </a:lnTo>
                  <a:lnTo>
                    <a:pt x="273" y="396"/>
                  </a:lnTo>
                  <a:lnTo>
                    <a:pt x="274" y="396"/>
                  </a:lnTo>
                  <a:lnTo>
                    <a:pt x="276" y="394"/>
                  </a:lnTo>
                  <a:lnTo>
                    <a:pt x="278" y="392"/>
                  </a:lnTo>
                  <a:lnTo>
                    <a:pt x="278" y="394"/>
                  </a:lnTo>
                  <a:lnTo>
                    <a:pt x="276" y="396"/>
                  </a:lnTo>
                  <a:lnTo>
                    <a:pt x="274" y="397"/>
                  </a:lnTo>
                  <a:lnTo>
                    <a:pt x="274" y="397"/>
                  </a:lnTo>
                  <a:lnTo>
                    <a:pt x="274" y="399"/>
                  </a:lnTo>
                  <a:lnTo>
                    <a:pt x="276" y="399"/>
                  </a:lnTo>
                  <a:lnTo>
                    <a:pt x="281" y="399"/>
                  </a:lnTo>
                  <a:lnTo>
                    <a:pt x="287" y="400"/>
                  </a:lnTo>
                  <a:lnTo>
                    <a:pt x="287" y="400"/>
                  </a:lnTo>
                  <a:lnTo>
                    <a:pt x="290" y="403"/>
                  </a:lnTo>
                  <a:lnTo>
                    <a:pt x="291" y="403"/>
                  </a:lnTo>
                  <a:lnTo>
                    <a:pt x="295" y="402"/>
                  </a:lnTo>
                  <a:lnTo>
                    <a:pt x="298" y="400"/>
                  </a:lnTo>
                  <a:lnTo>
                    <a:pt x="299" y="400"/>
                  </a:lnTo>
                  <a:lnTo>
                    <a:pt x="299" y="400"/>
                  </a:lnTo>
                  <a:lnTo>
                    <a:pt x="301" y="400"/>
                  </a:lnTo>
                  <a:lnTo>
                    <a:pt x="299" y="400"/>
                  </a:lnTo>
                  <a:lnTo>
                    <a:pt x="299" y="402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0"/>
                  </a:lnTo>
                  <a:lnTo>
                    <a:pt x="304" y="400"/>
                  </a:lnTo>
                  <a:lnTo>
                    <a:pt x="304" y="399"/>
                  </a:lnTo>
                  <a:lnTo>
                    <a:pt x="305" y="399"/>
                  </a:lnTo>
                  <a:lnTo>
                    <a:pt x="305" y="399"/>
                  </a:lnTo>
                  <a:lnTo>
                    <a:pt x="305" y="400"/>
                  </a:lnTo>
                  <a:lnTo>
                    <a:pt x="305" y="400"/>
                  </a:lnTo>
                  <a:lnTo>
                    <a:pt x="304" y="402"/>
                  </a:lnTo>
                  <a:lnTo>
                    <a:pt x="304" y="402"/>
                  </a:lnTo>
                  <a:lnTo>
                    <a:pt x="305" y="403"/>
                  </a:lnTo>
                  <a:lnTo>
                    <a:pt x="305" y="403"/>
                  </a:lnTo>
                  <a:lnTo>
                    <a:pt x="307" y="403"/>
                  </a:lnTo>
                  <a:lnTo>
                    <a:pt x="307" y="402"/>
                  </a:lnTo>
                  <a:lnTo>
                    <a:pt x="308" y="400"/>
                  </a:lnTo>
                  <a:lnTo>
                    <a:pt x="310" y="396"/>
                  </a:lnTo>
                  <a:lnTo>
                    <a:pt x="307" y="391"/>
                  </a:lnTo>
                  <a:lnTo>
                    <a:pt x="305" y="389"/>
                  </a:lnTo>
                  <a:lnTo>
                    <a:pt x="307" y="386"/>
                  </a:lnTo>
                  <a:lnTo>
                    <a:pt x="307" y="385"/>
                  </a:lnTo>
                  <a:lnTo>
                    <a:pt x="304" y="388"/>
                  </a:lnTo>
                  <a:lnTo>
                    <a:pt x="304" y="389"/>
                  </a:lnTo>
                  <a:lnTo>
                    <a:pt x="304" y="388"/>
                  </a:lnTo>
                  <a:lnTo>
                    <a:pt x="302" y="388"/>
                  </a:lnTo>
                  <a:lnTo>
                    <a:pt x="301" y="386"/>
                  </a:lnTo>
                  <a:lnTo>
                    <a:pt x="301" y="385"/>
                  </a:lnTo>
                  <a:lnTo>
                    <a:pt x="301" y="383"/>
                  </a:lnTo>
                  <a:lnTo>
                    <a:pt x="299" y="383"/>
                  </a:lnTo>
                  <a:lnTo>
                    <a:pt x="298" y="382"/>
                  </a:lnTo>
                  <a:lnTo>
                    <a:pt x="298" y="382"/>
                  </a:lnTo>
                  <a:lnTo>
                    <a:pt x="298" y="380"/>
                  </a:lnTo>
                  <a:lnTo>
                    <a:pt x="298" y="380"/>
                  </a:lnTo>
                  <a:lnTo>
                    <a:pt x="298" y="379"/>
                  </a:lnTo>
                  <a:lnTo>
                    <a:pt x="299" y="379"/>
                  </a:lnTo>
                  <a:lnTo>
                    <a:pt x="299" y="379"/>
                  </a:lnTo>
                  <a:lnTo>
                    <a:pt x="299" y="380"/>
                  </a:lnTo>
                  <a:lnTo>
                    <a:pt x="301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7" y="382"/>
                  </a:lnTo>
                  <a:lnTo>
                    <a:pt x="307" y="383"/>
                  </a:lnTo>
                  <a:lnTo>
                    <a:pt x="307" y="382"/>
                  </a:lnTo>
                  <a:lnTo>
                    <a:pt x="307" y="379"/>
                  </a:lnTo>
                  <a:lnTo>
                    <a:pt x="307" y="377"/>
                  </a:lnTo>
                  <a:lnTo>
                    <a:pt x="307" y="376"/>
                  </a:lnTo>
                  <a:lnTo>
                    <a:pt x="308" y="372"/>
                  </a:lnTo>
                  <a:lnTo>
                    <a:pt x="310" y="371"/>
                  </a:lnTo>
                  <a:lnTo>
                    <a:pt x="311" y="369"/>
                  </a:lnTo>
                  <a:lnTo>
                    <a:pt x="313" y="368"/>
                  </a:lnTo>
                  <a:lnTo>
                    <a:pt x="318" y="360"/>
                  </a:lnTo>
                  <a:lnTo>
                    <a:pt x="318" y="359"/>
                  </a:lnTo>
                  <a:lnTo>
                    <a:pt x="319" y="352"/>
                  </a:lnTo>
                  <a:lnTo>
                    <a:pt x="318" y="351"/>
                  </a:lnTo>
                  <a:lnTo>
                    <a:pt x="318" y="348"/>
                  </a:lnTo>
                  <a:lnTo>
                    <a:pt x="318" y="346"/>
                  </a:lnTo>
                  <a:lnTo>
                    <a:pt x="318" y="343"/>
                  </a:lnTo>
                  <a:lnTo>
                    <a:pt x="321" y="337"/>
                  </a:lnTo>
                  <a:lnTo>
                    <a:pt x="322" y="334"/>
                  </a:lnTo>
                  <a:lnTo>
                    <a:pt x="322" y="334"/>
                  </a:lnTo>
                  <a:lnTo>
                    <a:pt x="322" y="331"/>
                  </a:lnTo>
                  <a:lnTo>
                    <a:pt x="324" y="325"/>
                  </a:lnTo>
                  <a:lnTo>
                    <a:pt x="325" y="323"/>
                  </a:lnTo>
                  <a:lnTo>
                    <a:pt x="325" y="322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31" y="312"/>
                  </a:lnTo>
                  <a:lnTo>
                    <a:pt x="331" y="311"/>
                  </a:lnTo>
                  <a:lnTo>
                    <a:pt x="333" y="311"/>
                  </a:lnTo>
                  <a:lnTo>
                    <a:pt x="333" y="309"/>
                  </a:lnTo>
                  <a:lnTo>
                    <a:pt x="333" y="308"/>
                  </a:lnTo>
                  <a:lnTo>
                    <a:pt x="335" y="308"/>
                  </a:lnTo>
                  <a:lnTo>
                    <a:pt x="335" y="30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9"/>
            <p:cNvSpPr>
              <a:spLocks noEditPoints="1"/>
            </p:cNvSpPr>
            <p:nvPr/>
          </p:nvSpPr>
          <p:spPr bwMode="gray">
            <a:xfrm>
              <a:off x="2782888" y="2851151"/>
              <a:ext cx="1304925" cy="884238"/>
            </a:xfrm>
            <a:custGeom>
              <a:avLst/>
              <a:gdLst>
                <a:gd name="T0" fmla="*/ 821 w 822"/>
                <a:gd name="T1" fmla="*/ 266 h 557"/>
                <a:gd name="T2" fmla="*/ 810 w 822"/>
                <a:gd name="T3" fmla="*/ 231 h 557"/>
                <a:gd name="T4" fmla="*/ 799 w 822"/>
                <a:gd name="T5" fmla="*/ 183 h 557"/>
                <a:gd name="T6" fmla="*/ 733 w 822"/>
                <a:gd name="T7" fmla="*/ 151 h 557"/>
                <a:gd name="T8" fmla="*/ 698 w 822"/>
                <a:gd name="T9" fmla="*/ 85 h 557"/>
                <a:gd name="T10" fmla="*/ 682 w 822"/>
                <a:gd name="T11" fmla="*/ 77 h 557"/>
                <a:gd name="T12" fmla="*/ 642 w 822"/>
                <a:gd name="T13" fmla="*/ 20 h 557"/>
                <a:gd name="T14" fmla="*/ 599 w 822"/>
                <a:gd name="T15" fmla="*/ 14 h 557"/>
                <a:gd name="T16" fmla="*/ 605 w 822"/>
                <a:gd name="T17" fmla="*/ 78 h 557"/>
                <a:gd name="T18" fmla="*/ 564 w 822"/>
                <a:gd name="T19" fmla="*/ 72 h 557"/>
                <a:gd name="T20" fmla="*/ 521 w 822"/>
                <a:gd name="T21" fmla="*/ 122 h 557"/>
                <a:gd name="T22" fmla="*/ 474 w 822"/>
                <a:gd name="T23" fmla="*/ 120 h 557"/>
                <a:gd name="T24" fmla="*/ 471 w 822"/>
                <a:gd name="T25" fmla="*/ 131 h 557"/>
                <a:gd name="T26" fmla="*/ 424 w 822"/>
                <a:gd name="T27" fmla="*/ 71 h 557"/>
                <a:gd name="T28" fmla="*/ 376 w 822"/>
                <a:gd name="T29" fmla="*/ 111 h 557"/>
                <a:gd name="T30" fmla="*/ 347 w 822"/>
                <a:gd name="T31" fmla="*/ 117 h 557"/>
                <a:gd name="T32" fmla="*/ 313 w 822"/>
                <a:gd name="T33" fmla="*/ 137 h 557"/>
                <a:gd name="T34" fmla="*/ 299 w 822"/>
                <a:gd name="T35" fmla="*/ 194 h 557"/>
                <a:gd name="T36" fmla="*/ 265 w 822"/>
                <a:gd name="T37" fmla="*/ 202 h 557"/>
                <a:gd name="T38" fmla="*/ 250 w 822"/>
                <a:gd name="T39" fmla="*/ 217 h 557"/>
                <a:gd name="T40" fmla="*/ 211 w 822"/>
                <a:gd name="T41" fmla="*/ 146 h 557"/>
                <a:gd name="T42" fmla="*/ 223 w 822"/>
                <a:gd name="T43" fmla="*/ 97 h 557"/>
                <a:gd name="T44" fmla="*/ 196 w 822"/>
                <a:gd name="T45" fmla="*/ 65 h 557"/>
                <a:gd name="T46" fmla="*/ 156 w 822"/>
                <a:gd name="T47" fmla="*/ 20 h 557"/>
                <a:gd name="T48" fmla="*/ 105 w 822"/>
                <a:gd name="T49" fmla="*/ 45 h 557"/>
                <a:gd name="T50" fmla="*/ 148 w 822"/>
                <a:gd name="T51" fmla="*/ 60 h 557"/>
                <a:gd name="T52" fmla="*/ 159 w 822"/>
                <a:gd name="T53" fmla="*/ 120 h 557"/>
                <a:gd name="T54" fmla="*/ 129 w 822"/>
                <a:gd name="T55" fmla="*/ 114 h 557"/>
                <a:gd name="T56" fmla="*/ 103 w 822"/>
                <a:gd name="T57" fmla="*/ 77 h 557"/>
                <a:gd name="T58" fmla="*/ 63 w 822"/>
                <a:gd name="T59" fmla="*/ 112 h 557"/>
                <a:gd name="T60" fmla="*/ 83 w 822"/>
                <a:gd name="T61" fmla="*/ 154 h 557"/>
                <a:gd name="T62" fmla="*/ 49 w 822"/>
                <a:gd name="T63" fmla="*/ 169 h 557"/>
                <a:gd name="T64" fmla="*/ 42 w 822"/>
                <a:gd name="T65" fmla="*/ 200 h 557"/>
                <a:gd name="T66" fmla="*/ 112 w 822"/>
                <a:gd name="T67" fmla="*/ 188 h 557"/>
                <a:gd name="T68" fmla="*/ 137 w 822"/>
                <a:gd name="T69" fmla="*/ 183 h 557"/>
                <a:gd name="T70" fmla="*/ 182 w 822"/>
                <a:gd name="T71" fmla="*/ 179 h 557"/>
                <a:gd name="T72" fmla="*/ 205 w 822"/>
                <a:gd name="T73" fmla="*/ 206 h 557"/>
                <a:gd name="T74" fmla="*/ 191 w 822"/>
                <a:gd name="T75" fmla="*/ 262 h 557"/>
                <a:gd name="T76" fmla="*/ 136 w 822"/>
                <a:gd name="T77" fmla="*/ 280 h 557"/>
                <a:gd name="T78" fmla="*/ 100 w 822"/>
                <a:gd name="T79" fmla="*/ 282 h 557"/>
                <a:gd name="T80" fmla="*/ 46 w 822"/>
                <a:gd name="T81" fmla="*/ 326 h 557"/>
                <a:gd name="T82" fmla="*/ 145 w 822"/>
                <a:gd name="T83" fmla="*/ 322 h 557"/>
                <a:gd name="T84" fmla="*/ 163 w 822"/>
                <a:gd name="T85" fmla="*/ 346 h 557"/>
                <a:gd name="T86" fmla="*/ 183 w 822"/>
                <a:gd name="T87" fmla="*/ 373 h 557"/>
                <a:gd name="T88" fmla="*/ 228 w 822"/>
                <a:gd name="T89" fmla="*/ 359 h 557"/>
                <a:gd name="T90" fmla="*/ 193 w 822"/>
                <a:gd name="T91" fmla="*/ 406 h 557"/>
                <a:gd name="T92" fmla="*/ 199 w 822"/>
                <a:gd name="T93" fmla="*/ 417 h 557"/>
                <a:gd name="T94" fmla="*/ 193 w 822"/>
                <a:gd name="T95" fmla="*/ 437 h 557"/>
                <a:gd name="T96" fmla="*/ 137 w 822"/>
                <a:gd name="T97" fmla="*/ 453 h 557"/>
                <a:gd name="T98" fmla="*/ 209 w 822"/>
                <a:gd name="T99" fmla="*/ 480 h 557"/>
                <a:gd name="T100" fmla="*/ 288 w 822"/>
                <a:gd name="T101" fmla="*/ 480 h 557"/>
                <a:gd name="T102" fmla="*/ 307 w 822"/>
                <a:gd name="T103" fmla="*/ 496 h 557"/>
                <a:gd name="T104" fmla="*/ 334 w 822"/>
                <a:gd name="T105" fmla="*/ 531 h 557"/>
                <a:gd name="T106" fmla="*/ 471 w 822"/>
                <a:gd name="T107" fmla="*/ 536 h 557"/>
                <a:gd name="T108" fmla="*/ 496 w 822"/>
                <a:gd name="T109" fmla="*/ 502 h 557"/>
                <a:gd name="T110" fmla="*/ 561 w 822"/>
                <a:gd name="T111" fmla="*/ 486 h 557"/>
                <a:gd name="T112" fmla="*/ 575 w 822"/>
                <a:gd name="T113" fmla="*/ 485 h 557"/>
                <a:gd name="T114" fmla="*/ 631 w 822"/>
                <a:gd name="T115" fmla="*/ 440 h 557"/>
                <a:gd name="T116" fmla="*/ 687 w 822"/>
                <a:gd name="T117" fmla="*/ 405 h 557"/>
                <a:gd name="T118" fmla="*/ 718 w 822"/>
                <a:gd name="T119" fmla="*/ 397 h 557"/>
                <a:gd name="T120" fmla="*/ 752 w 822"/>
                <a:gd name="T121" fmla="*/ 360 h 557"/>
                <a:gd name="T122" fmla="*/ 787 w 822"/>
                <a:gd name="T123" fmla="*/ 329 h 557"/>
                <a:gd name="T124" fmla="*/ 789 w 822"/>
                <a:gd name="T125" fmla="*/ 274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557">
                  <a:moveTo>
                    <a:pt x="319" y="550"/>
                  </a:moveTo>
                  <a:lnTo>
                    <a:pt x="319" y="550"/>
                  </a:lnTo>
                  <a:lnTo>
                    <a:pt x="319" y="550"/>
                  </a:lnTo>
                  <a:lnTo>
                    <a:pt x="317" y="550"/>
                  </a:lnTo>
                  <a:lnTo>
                    <a:pt x="316" y="550"/>
                  </a:lnTo>
                  <a:lnTo>
                    <a:pt x="316" y="551"/>
                  </a:lnTo>
                  <a:lnTo>
                    <a:pt x="316" y="554"/>
                  </a:lnTo>
                  <a:lnTo>
                    <a:pt x="317" y="554"/>
                  </a:lnTo>
                  <a:lnTo>
                    <a:pt x="317" y="556"/>
                  </a:lnTo>
                  <a:lnTo>
                    <a:pt x="317" y="557"/>
                  </a:lnTo>
                  <a:lnTo>
                    <a:pt x="319" y="556"/>
                  </a:lnTo>
                  <a:lnTo>
                    <a:pt x="319" y="554"/>
                  </a:lnTo>
                  <a:lnTo>
                    <a:pt x="320" y="553"/>
                  </a:lnTo>
                  <a:lnTo>
                    <a:pt x="319" y="551"/>
                  </a:lnTo>
                  <a:lnTo>
                    <a:pt x="319" y="550"/>
                  </a:lnTo>
                  <a:close/>
                  <a:moveTo>
                    <a:pt x="507" y="505"/>
                  </a:moveTo>
                  <a:lnTo>
                    <a:pt x="505" y="505"/>
                  </a:lnTo>
                  <a:lnTo>
                    <a:pt x="505" y="505"/>
                  </a:lnTo>
                  <a:lnTo>
                    <a:pt x="504" y="505"/>
                  </a:lnTo>
                  <a:lnTo>
                    <a:pt x="501" y="508"/>
                  </a:lnTo>
                  <a:lnTo>
                    <a:pt x="501" y="510"/>
                  </a:lnTo>
                  <a:lnTo>
                    <a:pt x="504" y="508"/>
                  </a:lnTo>
                  <a:lnTo>
                    <a:pt x="505" y="508"/>
                  </a:lnTo>
                  <a:lnTo>
                    <a:pt x="505" y="508"/>
                  </a:lnTo>
                  <a:lnTo>
                    <a:pt x="505" y="510"/>
                  </a:lnTo>
                  <a:lnTo>
                    <a:pt x="505" y="510"/>
                  </a:lnTo>
                  <a:lnTo>
                    <a:pt x="505" y="511"/>
                  </a:lnTo>
                  <a:lnTo>
                    <a:pt x="505" y="511"/>
                  </a:lnTo>
                  <a:lnTo>
                    <a:pt x="507" y="508"/>
                  </a:lnTo>
                  <a:lnTo>
                    <a:pt x="507" y="507"/>
                  </a:lnTo>
                  <a:lnTo>
                    <a:pt x="507" y="505"/>
                  </a:lnTo>
                  <a:lnTo>
                    <a:pt x="507" y="505"/>
                  </a:lnTo>
                  <a:close/>
                  <a:moveTo>
                    <a:pt x="457" y="105"/>
                  </a:moveTo>
                  <a:lnTo>
                    <a:pt x="457" y="106"/>
                  </a:lnTo>
                  <a:lnTo>
                    <a:pt x="459" y="108"/>
                  </a:lnTo>
                  <a:lnTo>
                    <a:pt x="459" y="109"/>
                  </a:lnTo>
                  <a:lnTo>
                    <a:pt x="461" y="109"/>
                  </a:lnTo>
                  <a:lnTo>
                    <a:pt x="461" y="108"/>
                  </a:lnTo>
                  <a:lnTo>
                    <a:pt x="461" y="106"/>
                  </a:lnTo>
                  <a:lnTo>
                    <a:pt x="461" y="103"/>
                  </a:lnTo>
                  <a:lnTo>
                    <a:pt x="459" y="103"/>
                  </a:lnTo>
                  <a:lnTo>
                    <a:pt x="459" y="102"/>
                  </a:lnTo>
                  <a:lnTo>
                    <a:pt x="457" y="100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7" y="105"/>
                  </a:lnTo>
                  <a:close/>
                  <a:moveTo>
                    <a:pt x="822" y="268"/>
                  </a:moveTo>
                  <a:lnTo>
                    <a:pt x="821" y="268"/>
                  </a:lnTo>
                  <a:lnTo>
                    <a:pt x="821" y="266"/>
                  </a:lnTo>
                  <a:lnTo>
                    <a:pt x="821" y="263"/>
                  </a:lnTo>
                  <a:lnTo>
                    <a:pt x="821" y="260"/>
                  </a:lnTo>
                  <a:lnTo>
                    <a:pt x="821" y="257"/>
                  </a:lnTo>
                  <a:lnTo>
                    <a:pt x="821" y="254"/>
                  </a:lnTo>
                  <a:lnTo>
                    <a:pt x="818" y="257"/>
                  </a:lnTo>
                  <a:lnTo>
                    <a:pt x="816" y="262"/>
                  </a:lnTo>
                  <a:lnTo>
                    <a:pt x="816" y="262"/>
                  </a:lnTo>
                  <a:lnTo>
                    <a:pt x="815" y="263"/>
                  </a:lnTo>
                  <a:lnTo>
                    <a:pt x="813" y="265"/>
                  </a:lnTo>
                  <a:lnTo>
                    <a:pt x="813" y="266"/>
                  </a:lnTo>
                  <a:lnTo>
                    <a:pt x="813" y="265"/>
                  </a:lnTo>
                  <a:lnTo>
                    <a:pt x="812" y="265"/>
                  </a:lnTo>
                  <a:lnTo>
                    <a:pt x="812" y="263"/>
                  </a:lnTo>
                  <a:lnTo>
                    <a:pt x="812" y="263"/>
                  </a:lnTo>
                  <a:lnTo>
                    <a:pt x="809" y="263"/>
                  </a:lnTo>
                  <a:lnTo>
                    <a:pt x="809" y="263"/>
                  </a:lnTo>
                  <a:lnTo>
                    <a:pt x="810" y="262"/>
                  </a:lnTo>
                  <a:lnTo>
                    <a:pt x="810" y="262"/>
                  </a:lnTo>
                  <a:lnTo>
                    <a:pt x="812" y="262"/>
                  </a:lnTo>
                  <a:lnTo>
                    <a:pt x="812" y="260"/>
                  </a:lnTo>
                  <a:lnTo>
                    <a:pt x="810" y="259"/>
                  </a:lnTo>
                  <a:lnTo>
                    <a:pt x="804" y="260"/>
                  </a:lnTo>
                  <a:lnTo>
                    <a:pt x="804" y="259"/>
                  </a:lnTo>
                  <a:lnTo>
                    <a:pt x="807" y="257"/>
                  </a:lnTo>
                  <a:lnTo>
                    <a:pt x="809" y="257"/>
                  </a:lnTo>
                  <a:lnTo>
                    <a:pt x="812" y="256"/>
                  </a:lnTo>
                  <a:lnTo>
                    <a:pt x="812" y="256"/>
                  </a:lnTo>
                  <a:lnTo>
                    <a:pt x="812" y="254"/>
                  </a:lnTo>
                  <a:lnTo>
                    <a:pt x="812" y="254"/>
                  </a:lnTo>
                  <a:lnTo>
                    <a:pt x="812" y="252"/>
                  </a:lnTo>
                  <a:lnTo>
                    <a:pt x="813" y="251"/>
                  </a:lnTo>
                  <a:lnTo>
                    <a:pt x="813" y="249"/>
                  </a:lnTo>
                  <a:lnTo>
                    <a:pt x="813" y="249"/>
                  </a:lnTo>
                  <a:lnTo>
                    <a:pt x="810" y="249"/>
                  </a:lnTo>
                  <a:lnTo>
                    <a:pt x="806" y="249"/>
                  </a:lnTo>
                  <a:lnTo>
                    <a:pt x="793" y="249"/>
                  </a:lnTo>
                  <a:lnTo>
                    <a:pt x="786" y="251"/>
                  </a:lnTo>
                  <a:lnTo>
                    <a:pt x="782" y="249"/>
                  </a:lnTo>
                  <a:lnTo>
                    <a:pt x="787" y="249"/>
                  </a:lnTo>
                  <a:lnTo>
                    <a:pt x="792" y="248"/>
                  </a:lnTo>
                  <a:lnTo>
                    <a:pt x="801" y="248"/>
                  </a:lnTo>
                  <a:lnTo>
                    <a:pt x="812" y="245"/>
                  </a:lnTo>
                  <a:lnTo>
                    <a:pt x="813" y="245"/>
                  </a:lnTo>
                  <a:lnTo>
                    <a:pt x="816" y="240"/>
                  </a:lnTo>
                  <a:lnTo>
                    <a:pt x="818" y="239"/>
                  </a:lnTo>
                  <a:lnTo>
                    <a:pt x="818" y="237"/>
                  </a:lnTo>
                  <a:lnTo>
                    <a:pt x="816" y="235"/>
                  </a:lnTo>
                  <a:lnTo>
                    <a:pt x="815" y="232"/>
                  </a:lnTo>
                  <a:lnTo>
                    <a:pt x="810" y="231"/>
                  </a:lnTo>
                  <a:lnTo>
                    <a:pt x="809" y="229"/>
                  </a:lnTo>
                  <a:lnTo>
                    <a:pt x="801" y="232"/>
                  </a:lnTo>
                  <a:lnTo>
                    <a:pt x="798" y="231"/>
                  </a:lnTo>
                  <a:lnTo>
                    <a:pt x="786" y="235"/>
                  </a:lnTo>
                  <a:lnTo>
                    <a:pt x="786" y="234"/>
                  </a:lnTo>
                  <a:lnTo>
                    <a:pt x="787" y="232"/>
                  </a:lnTo>
                  <a:lnTo>
                    <a:pt x="793" y="232"/>
                  </a:lnTo>
                  <a:lnTo>
                    <a:pt x="796" y="229"/>
                  </a:lnTo>
                  <a:lnTo>
                    <a:pt x="798" y="229"/>
                  </a:lnTo>
                  <a:lnTo>
                    <a:pt x="801" y="229"/>
                  </a:lnTo>
                  <a:lnTo>
                    <a:pt x="804" y="228"/>
                  </a:lnTo>
                  <a:lnTo>
                    <a:pt x="806" y="226"/>
                  </a:lnTo>
                  <a:lnTo>
                    <a:pt x="806" y="223"/>
                  </a:lnTo>
                  <a:lnTo>
                    <a:pt x="799" y="222"/>
                  </a:lnTo>
                  <a:lnTo>
                    <a:pt x="798" y="220"/>
                  </a:lnTo>
                  <a:lnTo>
                    <a:pt x="801" y="219"/>
                  </a:lnTo>
                  <a:lnTo>
                    <a:pt x="807" y="219"/>
                  </a:lnTo>
                  <a:lnTo>
                    <a:pt x="810" y="217"/>
                  </a:lnTo>
                  <a:lnTo>
                    <a:pt x="810" y="215"/>
                  </a:lnTo>
                  <a:lnTo>
                    <a:pt x="810" y="214"/>
                  </a:lnTo>
                  <a:lnTo>
                    <a:pt x="810" y="212"/>
                  </a:lnTo>
                  <a:lnTo>
                    <a:pt x="809" y="211"/>
                  </a:lnTo>
                  <a:lnTo>
                    <a:pt x="812" y="209"/>
                  </a:lnTo>
                  <a:lnTo>
                    <a:pt x="812" y="209"/>
                  </a:lnTo>
                  <a:lnTo>
                    <a:pt x="812" y="208"/>
                  </a:lnTo>
                  <a:lnTo>
                    <a:pt x="812" y="203"/>
                  </a:lnTo>
                  <a:lnTo>
                    <a:pt x="812" y="203"/>
                  </a:lnTo>
                  <a:lnTo>
                    <a:pt x="812" y="202"/>
                  </a:lnTo>
                  <a:lnTo>
                    <a:pt x="813" y="199"/>
                  </a:lnTo>
                  <a:lnTo>
                    <a:pt x="815" y="197"/>
                  </a:lnTo>
                  <a:lnTo>
                    <a:pt x="815" y="192"/>
                  </a:lnTo>
                  <a:lnTo>
                    <a:pt x="813" y="192"/>
                  </a:lnTo>
                  <a:lnTo>
                    <a:pt x="812" y="189"/>
                  </a:lnTo>
                  <a:lnTo>
                    <a:pt x="810" y="189"/>
                  </a:lnTo>
                  <a:lnTo>
                    <a:pt x="810" y="189"/>
                  </a:lnTo>
                  <a:lnTo>
                    <a:pt x="809" y="189"/>
                  </a:lnTo>
                  <a:lnTo>
                    <a:pt x="809" y="188"/>
                  </a:lnTo>
                  <a:lnTo>
                    <a:pt x="809" y="188"/>
                  </a:lnTo>
                  <a:lnTo>
                    <a:pt x="809" y="186"/>
                  </a:lnTo>
                  <a:lnTo>
                    <a:pt x="809" y="185"/>
                  </a:lnTo>
                  <a:lnTo>
                    <a:pt x="807" y="185"/>
                  </a:lnTo>
                  <a:lnTo>
                    <a:pt x="804" y="186"/>
                  </a:lnTo>
                  <a:lnTo>
                    <a:pt x="801" y="191"/>
                  </a:lnTo>
                  <a:lnTo>
                    <a:pt x="799" y="191"/>
                  </a:lnTo>
                  <a:lnTo>
                    <a:pt x="799" y="189"/>
                  </a:lnTo>
                  <a:lnTo>
                    <a:pt x="799" y="188"/>
                  </a:lnTo>
                  <a:lnTo>
                    <a:pt x="799" y="186"/>
                  </a:lnTo>
                  <a:lnTo>
                    <a:pt x="799" y="185"/>
                  </a:lnTo>
                  <a:lnTo>
                    <a:pt x="799" y="183"/>
                  </a:lnTo>
                  <a:lnTo>
                    <a:pt x="798" y="182"/>
                  </a:lnTo>
                  <a:lnTo>
                    <a:pt x="798" y="182"/>
                  </a:lnTo>
                  <a:lnTo>
                    <a:pt x="795" y="182"/>
                  </a:lnTo>
                  <a:lnTo>
                    <a:pt x="795" y="180"/>
                  </a:lnTo>
                  <a:lnTo>
                    <a:pt x="796" y="180"/>
                  </a:lnTo>
                  <a:lnTo>
                    <a:pt x="796" y="179"/>
                  </a:lnTo>
                  <a:lnTo>
                    <a:pt x="796" y="177"/>
                  </a:lnTo>
                  <a:lnTo>
                    <a:pt x="796" y="175"/>
                  </a:lnTo>
                  <a:lnTo>
                    <a:pt x="795" y="174"/>
                  </a:lnTo>
                  <a:lnTo>
                    <a:pt x="793" y="174"/>
                  </a:lnTo>
                  <a:lnTo>
                    <a:pt x="786" y="175"/>
                  </a:lnTo>
                  <a:lnTo>
                    <a:pt x="784" y="175"/>
                  </a:lnTo>
                  <a:lnTo>
                    <a:pt x="767" y="166"/>
                  </a:lnTo>
                  <a:lnTo>
                    <a:pt x="767" y="168"/>
                  </a:lnTo>
                  <a:lnTo>
                    <a:pt x="770" y="169"/>
                  </a:lnTo>
                  <a:lnTo>
                    <a:pt x="772" y="172"/>
                  </a:lnTo>
                  <a:lnTo>
                    <a:pt x="765" y="168"/>
                  </a:lnTo>
                  <a:lnTo>
                    <a:pt x="762" y="166"/>
                  </a:lnTo>
                  <a:lnTo>
                    <a:pt x="761" y="168"/>
                  </a:lnTo>
                  <a:lnTo>
                    <a:pt x="752" y="182"/>
                  </a:lnTo>
                  <a:lnTo>
                    <a:pt x="752" y="185"/>
                  </a:lnTo>
                  <a:lnTo>
                    <a:pt x="750" y="186"/>
                  </a:lnTo>
                  <a:lnTo>
                    <a:pt x="747" y="188"/>
                  </a:lnTo>
                  <a:lnTo>
                    <a:pt x="747" y="189"/>
                  </a:lnTo>
                  <a:lnTo>
                    <a:pt x="745" y="189"/>
                  </a:lnTo>
                  <a:lnTo>
                    <a:pt x="744" y="194"/>
                  </a:lnTo>
                  <a:lnTo>
                    <a:pt x="744" y="195"/>
                  </a:lnTo>
                  <a:lnTo>
                    <a:pt x="744" y="192"/>
                  </a:lnTo>
                  <a:lnTo>
                    <a:pt x="745" y="189"/>
                  </a:lnTo>
                  <a:lnTo>
                    <a:pt x="745" y="188"/>
                  </a:lnTo>
                  <a:lnTo>
                    <a:pt x="752" y="180"/>
                  </a:lnTo>
                  <a:lnTo>
                    <a:pt x="753" y="177"/>
                  </a:lnTo>
                  <a:lnTo>
                    <a:pt x="756" y="172"/>
                  </a:lnTo>
                  <a:lnTo>
                    <a:pt x="759" y="168"/>
                  </a:lnTo>
                  <a:lnTo>
                    <a:pt x="761" y="166"/>
                  </a:lnTo>
                  <a:lnTo>
                    <a:pt x="765" y="165"/>
                  </a:lnTo>
                  <a:lnTo>
                    <a:pt x="764" y="163"/>
                  </a:lnTo>
                  <a:lnTo>
                    <a:pt x="759" y="160"/>
                  </a:lnTo>
                  <a:lnTo>
                    <a:pt x="758" y="158"/>
                  </a:lnTo>
                  <a:lnTo>
                    <a:pt x="756" y="157"/>
                  </a:lnTo>
                  <a:lnTo>
                    <a:pt x="756" y="157"/>
                  </a:lnTo>
                  <a:lnTo>
                    <a:pt x="756" y="155"/>
                  </a:lnTo>
                  <a:lnTo>
                    <a:pt x="756" y="154"/>
                  </a:lnTo>
                  <a:lnTo>
                    <a:pt x="758" y="152"/>
                  </a:lnTo>
                  <a:lnTo>
                    <a:pt x="761" y="145"/>
                  </a:lnTo>
                  <a:lnTo>
                    <a:pt x="758" y="142"/>
                  </a:lnTo>
                  <a:lnTo>
                    <a:pt x="755" y="143"/>
                  </a:lnTo>
                  <a:lnTo>
                    <a:pt x="750" y="146"/>
                  </a:lnTo>
                  <a:lnTo>
                    <a:pt x="733" y="151"/>
                  </a:lnTo>
                  <a:lnTo>
                    <a:pt x="729" y="154"/>
                  </a:lnTo>
                  <a:lnTo>
                    <a:pt x="725" y="154"/>
                  </a:lnTo>
                  <a:lnTo>
                    <a:pt x="722" y="152"/>
                  </a:lnTo>
                  <a:lnTo>
                    <a:pt x="724" y="149"/>
                  </a:lnTo>
                  <a:lnTo>
                    <a:pt x="725" y="146"/>
                  </a:lnTo>
                  <a:lnTo>
                    <a:pt x="727" y="142"/>
                  </a:lnTo>
                  <a:lnTo>
                    <a:pt x="724" y="146"/>
                  </a:lnTo>
                  <a:lnTo>
                    <a:pt x="721" y="148"/>
                  </a:lnTo>
                  <a:lnTo>
                    <a:pt x="719" y="148"/>
                  </a:lnTo>
                  <a:lnTo>
                    <a:pt x="722" y="145"/>
                  </a:lnTo>
                  <a:lnTo>
                    <a:pt x="724" y="142"/>
                  </a:lnTo>
                  <a:lnTo>
                    <a:pt x="724" y="138"/>
                  </a:lnTo>
                  <a:lnTo>
                    <a:pt x="725" y="135"/>
                  </a:lnTo>
                  <a:lnTo>
                    <a:pt x="732" y="132"/>
                  </a:lnTo>
                  <a:lnTo>
                    <a:pt x="736" y="126"/>
                  </a:lnTo>
                  <a:lnTo>
                    <a:pt x="736" y="125"/>
                  </a:lnTo>
                  <a:lnTo>
                    <a:pt x="738" y="125"/>
                  </a:lnTo>
                  <a:lnTo>
                    <a:pt x="739" y="120"/>
                  </a:lnTo>
                  <a:lnTo>
                    <a:pt x="739" y="118"/>
                  </a:lnTo>
                  <a:lnTo>
                    <a:pt x="739" y="117"/>
                  </a:lnTo>
                  <a:lnTo>
                    <a:pt x="739" y="115"/>
                  </a:lnTo>
                  <a:lnTo>
                    <a:pt x="739" y="115"/>
                  </a:lnTo>
                  <a:lnTo>
                    <a:pt x="741" y="114"/>
                  </a:lnTo>
                  <a:lnTo>
                    <a:pt x="741" y="114"/>
                  </a:lnTo>
                  <a:lnTo>
                    <a:pt x="741" y="111"/>
                  </a:lnTo>
                  <a:lnTo>
                    <a:pt x="739" y="108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8" y="105"/>
                  </a:lnTo>
                  <a:lnTo>
                    <a:pt x="736" y="103"/>
                  </a:lnTo>
                  <a:lnTo>
                    <a:pt x="736" y="102"/>
                  </a:lnTo>
                  <a:lnTo>
                    <a:pt x="736" y="97"/>
                  </a:lnTo>
                  <a:lnTo>
                    <a:pt x="735" y="94"/>
                  </a:lnTo>
                  <a:lnTo>
                    <a:pt x="733" y="92"/>
                  </a:lnTo>
                  <a:lnTo>
                    <a:pt x="732" y="92"/>
                  </a:lnTo>
                  <a:lnTo>
                    <a:pt x="729" y="92"/>
                  </a:lnTo>
                  <a:lnTo>
                    <a:pt x="722" y="98"/>
                  </a:lnTo>
                  <a:lnTo>
                    <a:pt x="718" y="98"/>
                  </a:lnTo>
                  <a:lnTo>
                    <a:pt x="713" y="95"/>
                  </a:lnTo>
                  <a:lnTo>
                    <a:pt x="705" y="95"/>
                  </a:lnTo>
                  <a:lnTo>
                    <a:pt x="704" y="94"/>
                  </a:lnTo>
                  <a:lnTo>
                    <a:pt x="704" y="94"/>
                  </a:lnTo>
                  <a:lnTo>
                    <a:pt x="705" y="92"/>
                  </a:lnTo>
                  <a:lnTo>
                    <a:pt x="707" y="92"/>
                  </a:lnTo>
                  <a:lnTo>
                    <a:pt x="707" y="89"/>
                  </a:lnTo>
                  <a:lnTo>
                    <a:pt x="705" y="88"/>
                  </a:lnTo>
                  <a:lnTo>
                    <a:pt x="701" y="86"/>
                  </a:lnTo>
                  <a:lnTo>
                    <a:pt x="699" y="86"/>
                  </a:lnTo>
                  <a:lnTo>
                    <a:pt x="698" y="85"/>
                  </a:lnTo>
                  <a:lnTo>
                    <a:pt x="699" y="80"/>
                  </a:lnTo>
                  <a:lnTo>
                    <a:pt x="701" y="78"/>
                  </a:lnTo>
                  <a:lnTo>
                    <a:pt x="705" y="78"/>
                  </a:lnTo>
                  <a:lnTo>
                    <a:pt x="707" y="78"/>
                  </a:lnTo>
                  <a:lnTo>
                    <a:pt x="713" y="71"/>
                  </a:lnTo>
                  <a:lnTo>
                    <a:pt x="715" y="69"/>
                  </a:lnTo>
                  <a:lnTo>
                    <a:pt x="715" y="66"/>
                  </a:lnTo>
                  <a:lnTo>
                    <a:pt x="716" y="65"/>
                  </a:lnTo>
                  <a:lnTo>
                    <a:pt x="715" y="63"/>
                  </a:lnTo>
                  <a:lnTo>
                    <a:pt x="715" y="63"/>
                  </a:lnTo>
                  <a:lnTo>
                    <a:pt x="713" y="58"/>
                  </a:lnTo>
                  <a:lnTo>
                    <a:pt x="713" y="58"/>
                  </a:lnTo>
                  <a:lnTo>
                    <a:pt x="713" y="57"/>
                  </a:lnTo>
                  <a:lnTo>
                    <a:pt x="712" y="57"/>
                  </a:lnTo>
                  <a:lnTo>
                    <a:pt x="710" y="55"/>
                  </a:lnTo>
                  <a:lnTo>
                    <a:pt x="712" y="52"/>
                  </a:lnTo>
                  <a:lnTo>
                    <a:pt x="715" y="51"/>
                  </a:lnTo>
                  <a:lnTo>
                    <a:pt x="721" y="49"/>
                  </a:lnTo>
                  <a:lnTo>
                    <a:pt x="727" y="45"/>
                  </a:lnTo>
                  <a:lnTo>
                    <a:pt x="739" y="38"/>
                  </a:lnTo>
                  <a:lnTo>
                    <a:pt x="744" y="34"/>
                  </a:lnTo>
                  <a:lnTo>
                    <a:pt x="729" y="37"/>
                  </a:lnTo>
                  <a:lnTo>
                    <a:pt x="727" y="35"/>
                  </a:lnTo>
                  <a:lnTo>
                    <a:pt x="724" y="34"/>
                  </a:lnTo>
                  <a:lnTo>
                    <a:pt x="722" y="32"/>
                  </a:lnTo>
                  <a:lnTo>
                    <a:pt x="716" y="34"/>
                  </a:lnTo>
                  <a:lnTo>
                    <a:pt x="715" y="35"/>
                  </a:lnTo>
                  <a:lnTo>
                    <a:pt x="712" y="38"/>
                  </a:lnTo>
                  <a:lnTo>
                    <a:pt x="710" y="40"/>
                  </a:lnTo>
                  <a:lnTo>
                    <a:pt x="710" y="43"/>
                  </a:lnTo>
                  <a:lnTo>
                    <a:pt x="709" y="46"/>
                  </a:lnTo>
                  <a:lnTo>
                    <a:pt x="704" y="49"/>
                  </a:lnTo>
                  <a:lnTo>
                    <a:pt x="704" y="51"/>
                  </a:lnTo>
                  <a:lnTo>
                    <a:pt x="704" y="52"/>
                  </a:lnTo>
                  <a:lnTo>
                    <a:pt x="702" y="54"/>
                  </a:lnTo>
                  <a:lnTo>
                    <a:pt x="698" y="55"/>
                  </a:lnTo>
                  <a:lnTo>
                    <a:pt x="688" y="55"/>
                  </a:lnTo>
                  <a:lnTo>
                    <a:pt x="687" y="57"/>
                  </a:lnTo>
                  <a:lnTo>
                    <a:pt x="685" y="58"/>
                  </a:lnTo>
                  <a:lnTo>
                    <a:pt x="685" y="61"/>
                  </a:lnTo>
                  <a:lnTo>
                    <a:pt x="687" y="65"/>
                  </a:lnTo>
                  <a:lnTo>
                    <a:pt x="685" y="69"/>
                  </a:lnTo>
                  <a:lnTo>
                    <a:pt x="685" y="71"/>
                  </a:lnTo>
                  <a:lnTo>
                    <a:pt x="684" y="74"/>
                  </a:lnTo>
                  <a:lnTo>
                    <a:pt x="684" y="74"/>
                  </a:lnTo>
                  <a:lnTo>
                    <a:pt x="684" y="75"/>
                  </a:lnTo>
                  <a:lnTo>
                    <a:pt x="684" y="75"/>
                  </a:lnTo>
                  <a:lnTo>
                    <a:pt x="684" y="75"/>
                  </a:lnTo>
                  <a:lnTo>
                    <a:pt x="682" y="77"/>
                  </a:lnTo>
                  <a:lnTo>
                    <a:pt x="681" y="75"/>
                  </a:lnTo>
                  <a:lnTo>
                    <a:pt x="679" y="74"/>
                  </a:lnTo>
                  <a:lnTo>
                    <a:pt x="678" y="71"/>
                  </a:lnTo>
                  <a:lnTo>
                    <a:pt x="675" y="69"/>
                  </a:lnTo>
                  <a:lnTo>
                    <a:pt x="673" y="68"/>
                  </a:lnTo>
                  <a:lnTo>
                    <a:pt x="672" y="66"/>
                  </a:lnTo>
                  <a:lnTo>
                    <a:pt x="672" y="65"/>
                  </a:lnTo>
                  <a:lnTo>
                    <a:pt x="672" y="63"/>
                  </a:lnTo>
                  <a:lnTo>
                    <a:pt x="672" y="65"/>
                  </a:lnTo>
                  <a:lnTo>
                    <a:pt x="670" y="65"/>
                  </a:lnTo>
                  <a:lnTo>
                    <a:pt x="670" y="65"/>
                  </a:lnTo>
                  <a:lnTo>
                    <a:pt x="670" y="63"/>
                  </a:lnTo>
                  <a:lnTo>
                    <a:pt x="668" y="61"/>
                  </a:lnTo>
                  <a:lnTo>
                    <a:pt x="668" y="61"/>
                  </a:lnTo>
                  <a:lnTo>
                    <a:pt x="665" y="63"/>
                  </a:lnTo>
                  <a:lnTo>
                    <a:pt x="659" y="63"/>
                  </a:lnTo>
                  <a:lnTo>
                    <a:pt x="659" y="61"/>
                  </a:lnTo>
                  <a:lnTo>
                    <a:pt x="659" y="60"/>
                  </a:lnTo>
                  <a:lnTo>
                    <a:pt x="659" y="57"/>
                  </a:lnTo>
                  <a:lnTo>
                    <a:pt x="659" y="55"/>
                  </a:lnTo>
                  <a:lnTo>
                    <a:pt x="658" y="55"/>
                  </a:lnTo>
                  <a:lnTo>
                    <a:pt x="656" y="54"/>
                  </a:lnTo>
                  <a:lnTo>
                    <a:pt x="655" y="54"/>
                  </a:lnTo>
                  <a:lnTo>
                    <a:pt x="655" y="54"/>
                  </a:lnTo>
                  <a:lnTo>
                    <a:pt x="653" y="52"/>
                  </a:lnTo>
                  <a:lnTo>
                    <a:pt x="656" y="49"/>
                  </a:lnTo>
                  <a:lnTo>
                    <a:pt x="658" y="48"/>
                  </a:lnTo>
                  <a:lnTo>
                    <a:pt x="661" y="41"/>
                  </a:lnTo>
                  <a:lnTo>
                    <a:pt x="659" y="37"/>
                  </a:lnTo>
                  <a:lnTo>
                    <a:pt x="659" y="35"/>
                  </a:lnTo>
                  <a:lnTo>
                    <a:pt x="659" y="34"/>
                  </a:lnTo>
                  <a:lnTo>
                    <a:pt x="658" y="32"/>
                  </a:lnTo>
                  <a:lnTo>
                    <a:pt x="658" y="31"/>
                  </a:lnTo>
                  <a:lnTo>
                    <a:pt x="656" y="31"/>
                  </a:lnTo>
                  <a:lnTo>
                    <a:pt x="648" y="31"/>
                  </a:lnTo>
                  <a:lnTo>
                    <a:pt x="648" y="29"/>
                  </a:lnTo>
                  <a:lnTo>
                    <a:pt x="648" y="28"/>
                  </a:lnTo>
                  <a:lnTo>
                    <a:pt x="648" y="26"/>
                  </a:lnTo>
                  <a:lnTo>
                    <a:pt x="648" y="28"/>
                  </a:lnTo>
                  <a:lnTo>
                    <a:pt x="645" y="26"/>
                  </a:lnTo>
                  <a:lnTo>
                    <a:pt x="642" y="28"/>
                  </a:lnTo>
                  <a:lnTo>
                    <a:pt x="641" y="26"/>
                  </a:lnTo>
                  <a:lnTo>
                    <a:pt x="642" y="25"/>
                  </a:lnTo>
                  <a:lnTo>
                    <a:pt x="642" y="25"/>
                  </a:lnTo>
                  <a:lnTo>
                    <a:pt x="641" y="23"/>
                  </a:lnTo>
                  <a:lnTo>
                    <a:pt x="641" y="23"/>
                  </a:lnTo>
                  <a:lnTo>
                    <a:pt x="642" y="21"/>
                  </a:lnTo>
                  <a:lnTo>
                    <a:pt x="642" y="20"/>
                  </a:lnTo>
                  <a:lnTo>
                    <a:pt x="642" y="20"/>
                  </a:lnTo>
                  <a:lnTo>
                    <a:pt x="641" y="20"/>
                  </a:lnTo>
                  <a:lnTo>
                    <a:pt x="641" y="17"/>
                  </a:lnTo>
                  <a:lnTo>
                    <a:pt x="642" y="15"/>
                  </a:lnTo>
                  <a:lnTo>
                    <a:pt x="644" y="15"/>
                  </a:lnTo>
                  <a:lnTo>
                    <a:pt x="644" y="14"/>
                  </a:lnTo>
                  <a:lnTo>
                    <a:pt x="641" y="12"/>
                  </a:lnTo>
                  <a:lnTo>
                    <a:pt x="635" y="6"/>
                  </a:lnTo>
                  <a:lnTo>
                    <a:pt x="631" y="8"/>
                  </a:lnTo>
                  <a:lnTo>
                    <a:pt x="630" y="8"/>
                  </a:lnTo>
                  <a:lnTo>
                    <a:pt x="627" y="6"/>
                  </a:lnTo>
                  <a:lnTo>
                    <a:pt x="624" y="6"/>
                  </a:lnTo>
                  <a:lnTo>
                    <a:pt x="622" y="6"/>
                  </a:lnTo>
                  <a:lnTo>
                    <a:pt x="622" y="8"/>
                  </a:lnTo>
                  <a:lnTo>
                    <a:pt x="621" y="11"/>
                  </a:lnTo>
                  <a:lnTo>
                    <a:pt x="621" y="12"/>
                  </a:lnTo>
                  <a:lnTo>
                    <a:pt x="619" y="12"/>
                  </a:lnTo>
                  <a:lnTo>
                    <a:pt x="619" y="9"/>
                  </a:lnTo>
                  <a:lnTo>
                    <a:pt x="619" y="9"/>
                  </a:lnTo>
                  <a:lnTo>
                    <a:pt x="618" y="11"/>
                  </a:lnTo>
                  <a:lnTo>
                    <a:pt x="618" y="12"/>
                  </a:lnTo>
                  <a:lnTo>
                    <a:pt x="616" y="14"/>
                  </a:lnTo>
                  <a:lnTo>
                    <a:pt x="616" y="15"/>
                  </a:lnTo>
                  <a:lnTo>
                    <a:pt x="616" y="15"/>
                  </a:lnTo>
                  <a:lnTo>
                    <a:pt x="615" y="15"/>
                  </a:lnTo>
                  <a:lnTo>
                    <a:pt x="613" y="15"/>
                  </a:lnTo>
                  <a:lnTo>
                    <a:pt x="611" y="15"/>
                  </a:lnTo>
                  <a:lnTo>
                    <a:pt x="613" y="15"/>
                  </a:lnTo>
                  <a:lnTo>
                    <a:pt x="613" y="14"/>
                  </a:lnTo>
                  <a:lnTo>
                    <a:pt x="611" y="14"/>
                  </a:lnTo>
                  <a:lnTo>
                    <a:pt x="611" y="12"/>
                  </a:lnTo>
                  <a:lnTo>
                    <a:pt x="610" y="11"/>
                  </a:lnTo>
                  <a:lnTo>
                    <a:pt x="610" y="9"/>
                  </a:lnTo>
                  <a:lnTo>
                    <a:pt x="608" y="11"/>
                  </a:lnTo>
                  <a:lnTo>
                    <a:pt x="607" y="12"/>
                  </a:lnTo>
                  <a:lnTo>
                    <a:pt x="605" y="12"/>
                  </a:lnTo>
                  <a:lnTo>
                    <a:pt x="605" y="14"/>
                  </a:lnTo>
                  <a:lnTo>
                    <a:pt x="605" y="14"/>
                  </a:lnTo>
                  <a:lnTo>
                    <a:pt x="605" y="15"/>
                  </a:lnTo>
                  <a:lnTo>
                    <a:pt x="605" y="15"/>
                  </a:lnTo>
                  <a:lnTo>
                    <a:pt x="605" y="15"/>
                  </a:lnTo>
                  <a:lnTo>
                    <a:pt x="604" y="14"/>
                  </a:lnTo>
                  <a:lnTo>
                    <a:pt x="604" y="12"/>
                  </a:lnTo>
                  <a:lnTo>
                    <a:pt x="604" y="11"/>
                  </a:lnTo>
                  <a:lnTo>
                    <a:pt x="604" y="9"/>
                  </a:lnTo>
                  <a:lnTo>
                    <a:pt x="604" y="9"/>
                  </a:lnTo>
                  <a:lnTo>
                    <a:pt x="601" y="9"/>
                  </a:lnTo>
                  <a:lnTo>
                    <a:pt x="601" y="11"/>
                  </a:lnTo>
                  <a:lnTo>
                    <a:pt x="599" y="12"/>
                  </a:lnTo>
                  <a:lnTo>
                    <a:pt x="599" y="14"/>
                  </a:lnTo>
                  <a:lnTo>
                    <a:pt x="599" y="15"/>
                  </a:lnTo>
                  <a:lnTo>
                    <a:pt x="598" y="15"/>
                  </a:lnTo>
                  <a:lnTo>
                    <a:pt x="598" y="14"/>
                  </a:lnTo>
                  <a:lnTo>
                    <a:pt x="598" y="12"/>
                  </a:lnTo>
                  <a:lnTo>
                    <a:pt x="598" y="11"/>
                  </a:lnTo>
                  <a:lnTo>
                    <a:pt x="596" y="11"/>
                  </a:lnTo>
                  <a:lnTo>
                    <a:pt x="595" y="14"/>
                  </a:lnTo>
                  <a:lnTo>
                    <a:pt x="595" y="17"/>
                  </a:lnTo>
                  <a:lnTo>
                    <a:pt x="596" y="18"/>
                  </a:lnTo>
                  <a:lnTo>
                    <a:pt x="598" y="25"/>
                  </a:lnTo>
                  <a:lnTo>
                    <a:pt x="599" y="26"/>
                  </a:lnTo>
                  <a:lnTo>
                    <a:pt x="599" y="28"/>
                  </a:lnTo>
                  <a:lnTo>
                    <a:pt x="598" y="28"/>
                  </a:lnTo>
                  <a:lnTo>
                    <a:pt x="598" y="31"/>
                  </a:lnTo>
                  <a:lnTo>
                    <a:pt x="598" y="31"/>
                  </a:lnTo>
                  <a:lnTo>
                    <a:pt x="599" y="31"/>
                  </a:lnTo>
                  <a:lnTo>
                    <a:pt x="598" y="32"/>
                  </a:lnTo>
                  <a:lnTo>
                    <a:pt x="598" y="34"/>
                  </a:lnTo>
                  <a:lnTo>
                    <a:pt x="598" y="34"/>
                  </a:lnTo>
                  <a:lnTo>
                    <a:pt x="598" y="34"/>
                  </a:lnTo>
                  <a:lnTo>
                    <a:pt x="599" y="34"/>
                  </a:lnTo>
                  <a:lnTo>
                    <a:pt x="598" y="37"/>
                  </a:lnTo>
                  <a:lnTo>
                    <a:pt x="599" y="38"/>
                  </a:lnTo>
                  <a:lnTo>
                    <a:pt x="601" y="40"/>
                  </a:lnTo>
                  <a:lnTo>
                    <a:pt x="601" y="41"/>
                  </a:lnTo>
                  <a:lnTo>
                    <a:pt x="601" y="43"/>
                  </a:lnTo>
                  <a:lnTo>
                    <a:pt x="601" y="45"/>
                  </a:lnTo>
                  <a:lnTo>
                    <a:pt x="601" y="45"/>
                  </a:lnTo>
                  <a:lnTo>
                    <a:pt x="602" y="46"/>
                  </a:lnTo>
                  <a:lnTo>
                    <a:pt x="602" y="46"/>
                  </a:lnTo>
                  <a:lnTo>
                    <a:pt x="602" y="46"/>
                  </a:lnTo>
                  <a:lnTo>
                    <a:pt x="604" y="49"/>
                  </a:lnTo>
                  <a:lnTo>
                    <a:pt x="604" y="51"/>
                  </a:lnTo>
                  <a:lnTo>
                    <a:pt x="605" y="52"/>
                  </a:lnTo>
                  <a:lnTo>
                    <a:pt x="605" y="55"/>
                  </a:lnTo>
                  <a:lnTo>
                    <a:pt x="605" y="57"/>
                  </a:lnTo>
                  <a:lnTo>
                    <a:pt x="604" y="58"/>
                  </a:lnTo>
                  <a:lnTo>
                    <a:pt x="604" y="60"/>
                  </a:lnTo>
                  <a:lnTo>
                    <a:pt x="604" y="61"/>
                  </a:lnTo>
                  <a:lnTo>
                    <a:pt x="604" y="61"/>
                  </a:lnTo>
                  <a:lnTo>
                    <a:pt x="604" y="61"/>
                  </a:lnTo>
                  <a:lnTo>
                    <a:pt x="602" y="63"/>
                  </a:lnTo>
                  <a:lnTo>
                    <a:pt x="601" y="65"/>
                  </a:lnTo>
                  <a:lnTo>
                    <a:pt x="601" y="68"/>
                  </a:lnTo>
                  <a:lnTo>
                    <a:pt x="601" y="71"/>
                  </a:lnTo>
                  <a:lnTo>
                    <a:pt x="601" y="72"/>
                  </a:lnTo>
                  <a:lnTo>
                    <a:pt x="602" y="74"/>
                  </a:lnTo>
                  <a:lnTo>
                    <a:pt x="605" y="77"/>
                  </a:lnTo>
                  <a:lnTo>
                    <a:pt x="605" y="78"/>
                  </a:lnTo>
                  <a:lnTo>
                    <a:pt x="602" y="78"/>
                  </a:lnTo>
                  <a:lnTo>
                    <a:pt x="599" y="74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0" y="74"/>
                  </a:lnTo>
                  <a:lnTo>
                    <a:pt x="591" y="72"/>
                  </a:lnTo>
                  <a:lnTo>
                    <a:pt x="599" y="68"/>
                  </a:lnTo>
                  <a:lnTo>
                    <a:pt x="598" y="68"/>
                  </a:lnTo>
                  <a:lnTo>
                    <a:pt x="595" y="71"/>
                  </a:lnTo>
                  <a:lnTo>
                    <a:pt x="588" y="72"/>
                  </a:lnTo>
                  <a:lnTo>
                    <a:pt x="585" y="74"/>
                  </a:lnTo>
                  <a:lnTo>
                    <a:pt x="587" y="75"/>
                  </a:lnTo>
                  <a:lnTo>
                    <a:pt x="587" y="77"/>
                  </a:lnTo>
                  <a:lnTo>
                    <a:pt x="587" y="78"/>
                  </a:lnTo>
                  <a:lnTo>
                    <a:pt x="588" y="81"/>
                  </a:lnTo>
                  <a:lnTo>
                    <a:pt x="588" y="83"/>
                  </a:lnTo>
                  <a:lnTo>
                    <a:pt x="590" y="85"/>
                  </a:lnTo>
                  <a:lnTo>
                    <a:pt x="591" y="86"/>
                  </a:lnTo>
                  <a:lnTo>
                    <a:pt x="591" y="88"/>
                  </a:lnTo>
                  <a:lnTo>
                    <a:pt x="590" y="86"/>
                  </a:lnTo>
                  <a:lnTo>
                    <a:pt x="588" y="83"/>
                  </a:lnTo>
                  <a:lnTo>
                    <a:pt x="587" y="80"/>
                  </a:lnTo>
                  <a:lnTo>
                    <a:pt x="584" y="78"/>
                  </a:lnTo>
                  <a:lnTo>
                    <a:pt x="584" y="78"/>
                  </a:lnTo>
                  <a:lnTo>
                    <a:pt x="582" y="80"/>
                  </a:lnTo>
                  <a:lnTo>
                    <a:pt x="581" y="85"/>
                  </a:lnTo>
                  <a:lnTo>
                    <a:pt x="581" y="85"/>
                  </a:lnTo>
                  <a:lnTo>
                    <a:pt x="579" y="81"/>
                  </a:lnTo>
                  <a:lnTo>
                    <a:pt x="578" y="81"/>
                  </a:lnTo>
                  <a:lnTo>
                    <a:pt x="579" y="80"/>
                  </a:lnTo>
                  <a:lnTo>
                    <a:pt x="581" y="78"/>
                  </a:lnTo>
                  <a:lnTo>
                    <a:pt x="582" y="78"/>
                  </a:lnTo>
                  <a:lnTo>
                    <a:pt x="582" y="78"/>
                  </a:lnTo>
                  <a:lnTo>
                    <a:pt x="581" y="77"/>
                  </a:lnTo>
                  <a:lnTo>
                    <a:pt x="570" y="80"/>
                  </a:lnTo>
                  <a:lnTo>
                    <a:pt x="568" y="81"/>
                  </a:lnTo>
                  <a:lnTo>
                    <a:pt x="568" y="83"/>
                  </a:lnTo>
                  <a:lnTo>
                    <a:pt x="570" y="83"/>
                  </a:lnTo>
                  <a:lnTo>
                    <a:pt x="568" y="85"/>
                  </a:lnTo>
                  <a:lnTo>
                    <a:pt x="568" y="85"/>
                  </a:lnTo>
                  <a:lnTo>
                    <a:pt x="567" y="85"/>
                  </a:lnTo>
                  <a:lnTo>
                    <a:pt x="565" y="83"/>
                  </a:lnTo>
                  <a:lnTo>
                    <a:pt x="565" y="81"/>
                  </a:lnTo>
                  <a:lnTo>
                    <a:pt x="567" y="81"/>
                  </a:lnTo>
                  <a:lnTo>
                    <a:pt x="567" y="81"/>
                  </a:lnTo>
                  <a:lnTo>
                    <a:pt x="567" y="81"/>
                  </a:lnTo>
                  <a:lnTo>
                    <a:pt x="567" y="80"/>
                  </a:lnTo>
                  <a:lnTo>
                    <a:pt x="567" y="80"/>
                  </a:lnTo>
                  <a:lnTo>
                    <a:pt x="564" y="72"/>
                  </a:lnTo>
                  <a:lnTo>
                    <a:pt x="562" y="68"/>
                  </a:lnTo>
                  <a:lnTo>
                    <a:pt x="562" y="68"/>
                  </a:lnTo>
                  <a:lnTo>
                    <a:pt x="561" y="66"/>
                  </a:lnTo>
                  <a:lnTo>
                    <a:pt x="553" y="66"/>
                  </a:lnTo>
                  <a:lnTo>
                    <a:pt x="551" y="65"/>
                  </a:lnTo>
                  <a:lnTo>
                    <a:pt x="550" y="68"/>
                  </a:lnTo>
                  <a:lnTo>
                    <a:pt x="545" y="69"/>
                  </a:lnTo>
                  <a:lnTo>
                    <a:pt x="544" y="71"/>
                  </a:lnTo>
                  <a:lnTo>
                    <a:pt x="542" y="74"/>
                  </a:lnTo>
                  <a:lnTo>
                    <a:pt x="542" y="75"/>
                  </a:lnTo>
                  <a:lnTo>
                    <a:pt x="542" y="75"/>
                  </a:lnTo>
                  <a:lnTo>
                    <a:pt x="544" y="77"/>
                  </a:lnTo>
                  <a:lnTo>
                    <a:pt x="544" y="78"/>
                  </a:lnTo>
                  <a:lnTo>
                    <a:pt x="542" y="81"/>
                  </a:lnTo>
                  <a:lnTo>
                    <a:pt x="542" y="81"/>
                  </a:lnTo>
                  <a:lnTo>
                    <a:pt x="541" y="83"/>
                  </a:lnTo>
                  <a:lnTo>
                    <a:pt x="538" y="85"/>
                  </a:lnTo>
                  <a:lnTo>
                    <a:pt x="536" y="88"/>
                  </a:lnTo>
                  <a:lnTo>
                    <a:pt x="534" y="89"/>
                  </a:lnTo>
                  <a:lnTo>
                    <a:pt x="534" y="92"/>
                  </a:lnTo>
                  <a:lnTo>
                    <a:pt x="534" y="95"/>
                  </a:lnTo>
                  <a:lnTo>
                    <a:pt x="534" y="95"/>
                  </a:lnTo>
                  <a:lnTo>
                    <a:pt x="534" y="97"/>
                  </a:lnTo>
                  <a:lnTo>
                    <a:pt x="534" y="98"/>
                  </a:lnTo>
                  <a:lnTo>
                    <a:pt x="533" y="100"/>
                  </a:lnTo>
                  <a:lnTo>
                    <a:pt x="533" y="102"/>
                  </a:lnTo>
                  <a:lnTo>
                    <a:pt x="533" y="103"/>
                  </a:lnTo>
                  <a:lnTo>
                    <a:pt x="531" y="105"/>
                  </a:lnTo>
                  <a:lnTo>
                    <a:pt x="531" y="106"/>
                  </a:lnTo>
                  <a:lnTo>
                    <a:pt x="531" y="108"/>
                  </a:lnTo>
                  <a:lnTo>
                    <a:pt x="531" y="108"/>
                  </a:lnTo>
                  <a:lnTo>
                    <a:pt x="531" y="109"/>
                  </a:lnTo>
                  <a:lnTo>
                    <a:pt x="531" y="111"/>
                  </a:lnTo>
                  <a:lnTo>
                    <a:pt x="531" y="112"/>
                  </a:lnTo>
                  <a:lnTo>
                    <a:pt x="531" y="112"/>
                  </a:lnTo>
                  <a:lnTo>
                    <a:pt x="530" y="109"/>
                  </a:lnTo>
                  <a:lnTo>
                    <a:pt x="530" y="106"/>
                  </a:lnTo>
                  <a:lnTo>
                    <a:pt x="528" y="106"/>
                  </a:lnTo>
                  <a:lnTo>
                    <a:pt x="516" y="106"/>
                  </a:lnTo>
                  <a:lnTo>
                    <a:pt x="519" y="108"/>
                  </a:lnTo>
                  <a:lnTo>
                    <a:pt x="525" y="108"/>
                  </a:lnTo>
                  <a:lnTo>
                    <a:pt x="524" y="108"/>
                  </a:lnTo>
                  <a:lnTo>
                    <a:pt x="522" y="109"/>
                  </a:lnTo>
                  <a:lnTo>
                    <a:pt x="521" y="109"/>
                  </a:lnTo>
                  <a:lnTo>
                    <a:pt x="519" y="109"/>
                  </a:lnTo>
                  <a:lnTo>
                    <a:pt x="519" y="112"/>
                  </a:lnTo>
                  <a:lnTo>
                    <a:pt x="521" y="115"/>
                  </a:lnTo>
                  <a:lnTo>
                    <a:pt x="521" y="117"/>
                  </a:lnTo>
                  <a:lnTo>
                    <a:pt x="521" y="122"/>
                  </a:lnTo>
                  <a:lnTo>
                    <a:pt x="521" y="118"/>
                  </a:lnTo>
                  <a:lnTo>
                    <a:pt x="518" y="111"/>
                  </a:lnTo>
                  <a:lnTo>
                    <a:pt x="516" y="108"/>
                  </a:lnTo>
                  <a:lnTo>
                    <a:pt x="514" y="105"/>
                  </a:lnTo>
                  <a:lnTo>
                    <a:pt x="511" y="103"/>
                  </a:lnTo>
                  <a:lnTo>
                    <a:pt x="511" y="102"/>
                  </a:lnTo>
                  <a:lnTo>
                    <a:pt x="510" y="95"/>
                  </a:lnTo>
                  <a:lnTo>
                    <a:pt x="508" y="94"/>
                  </a:lnTo>
                  <a:lnTo>
                    <a:pt x="507" y="89"/>
                  </a:lnTo>
                  <a:lnTo>
                    <a:pt x="505" y="88"/>
                  </a:lnTo>
                  <a:lnTo>
                    <a:pt x="504" y="88"/>
                  </a:lnTo>
                  <a:lnTo>
                    <a:pt x="501" y="85"/>
                  </a:lnTo>
                  <a:lnTo>
                    <a:pt x="501" y="83"/>
                  </a:lnTo>
                  <a:lnTo>
                    <a:pt x="497" y="83"/>
                  </a:lnTo>
                  <a:lnTo>
                    <a:pt x="496" y="83"/>
                  </a:lnTo>
                  <a:lnTo>
                    <a:pt x="496" y="81"/>
                  </a:lnTo>
                  <a:lnTo>
                    <a:pt x="494" y="78"/>
                  </a:lnTo>
                  <a:lnTo>
                    <a:pt x="494" y="77"/>
                  </a:lnTo>
                  <a:lnTo>
                    <a:pt x="491" y="75"/>
                  </a:lnTo>
                  <a:lnTo>
                    <a:pt x="484" y="77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4"/>
                  </a:lnTo>
                  <a:lnTo>
                    <a:pt x="481" y="74"/>
                  </a:lnTo>
                  <a:lnTo>
                    <a:pt x="477" y="74"/>
                  </a:lnTo>
                  <a:lnTo>
                    <a:pt x="476" y="74"/>
                  </a:lnTo>
                  <a:lnTo>
                    <a:pt x="474" y="72"/>
                  </a:lnTo>
                  <a:lnTo>
                    <a:pt x="473" y="72"/>
                  </a:lnTo>
                  <a:lnTo>
                    <a:pt x="467" y="71"/>
                  </a:lnTo>
                  <a:lnTo>
                    <a:pt x="465" y="72"/>
                  </a:lnTo>
                  <a:lnTo>
                    <a:pt x="464" y="77"/>
                  </a:lnTo>
                  <a:lnTo>
                    <a:pt x="464" y="86"/>
                  </a:lnTo>
                  <a:lnTo>
                    <a:pt x="464" y="94"/>
                  </a:lnTo>
                  <a:lnTo>
                    <a:pt x="467" y="100"/>
                  </a:lnTo>
                  <a:lnTo>
                    <a:pt x="467" y="102"/>
                  </a:lnTo>
                  <a:lnTo>
                    <a:pt x="465" y="102"/>
                  </a:lnTo>
                  <a:lnTo>
                    <a:pt x="465" y="102"/>
                  </a:lnTo>
                  <a:lnTo>
                    <a:pt x="467" y="103"/>
                  </a:lnTo>
                  <a:lnTo>
                    <a:pt x="468" y="108"/>
                  </a:lnTo>
                  <a:lnTo>
                    <a:pt x="470" y="109"/>
                  </a:lnTo>
                  <a:lnTo>
                    <a:pt x="471" y="111"/>
                  </a:lnTo>
                  <a:lnTo>
                    <a:pt x="471" y="114"/>
                  </a:lnTo>
                  <a:lnTo>
                    <a:pt x="471" y="115"/>
                  </a:lnTo>
                  <a:lnTo>
                    <a:pt x="471" y="117"/>
                  </a:lnTo>
                  <a:lnTo>
                    <a:pt x="473" y="120"/>
                  </a:lnTo>
                  <a:lnTo>
                    <a:pt x="474" y="122"/>
                  </a:lnTo>
                  <a:lnTo>
                    <a:pt x="474" y="120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20"/>
                  </a:lnTo>
                  <a:lnTo>
                    <a:pt x="476" y="120"/>
                  </a:lnTo>
                  <a:lnTo>
                    <a:pt x="477" y="120"/>
                  </a:lnTo>
                  <a:lnTo>
                    <a:pt x="479" y="123"/>
                  </a:lnTo>
                  <a:lnTo>
                    <a:pt x="479" y="123"/>
                  </a:lnTo>
                  <a:lnTo>
                    <a:pt x="479" y="123"/>
                  </a:lnTo>
                  <a:lnTo>
                    <a:pt x="481" y="123"/>
                  </a:lnTo>
                  <a:lnTo>
                    <a:pt x="481" y="125"/>
                  </a:lnTo>
                  <a:lnTo>
                    <a:pt x="481" y="126"/>
                  </a:lnTo>
                  <a:lnTo>
                    <a:pt x="481" y="128"/>
                  </a:lnTo>
                  <a:lnTo>
                    <a:pt x="482" y="135"/>
                  </a:lnTo>
                  <a:lnTo>
                    <a:pt x="482" y="138"/>
                  </a:lnTo>
                  <a:lnTo>
                    <a:pt x="482" y="142"/>
                  </a:lnTo>
                  <a:lnTo>
                    <a:pt x="482" y="143"/>
                  </a:lnTo>
                  <a:lnTo>
                    <a:pt x="481" y="143"/>
                  </a:lnTo>
                  <a:lnTo>
                    <a:pt x="481" y="145"/>
                  </a:lnTo>
                  <a:lnTo>
                    <a:pt x="481" y="146"/>
                  </a:lnTo>
                  <a:lnTo>
                    <a:pt x="481" y="148"/>
                  </a:lnTo>
                  <a:lnTo>
                    <a:pt x="481" y="149"/>
                  </a:lnTo>
                  <a:lnTo>
                    <a:pt x="481" y="151"/>
                  </a:lnTo>
                  <a:lnTo>
                    <a:pt x="481" y="152"/>
                  </a:lnTo>
                  <a:lnTo>
                    <a:pt x="479" y="152"/>
                  </a:lnTo>
                  <a:lnTo>
                    <a:pt x="479" y="154"/>
                  </a:lnTo>
                  <a:lnTo>
                    <a:pt x="479" y="155"/>
                  </a:lnTo>
                  <a:lnTo>
                    <a:pt x="481" y="157"/>
                  </a:lnTo>
                  <a:lnTo>
                    <a:pt x="482" y="157"/>
                  </a:lnTo>
                  <a:lnTo>
                    <a:pt x="482" y="158"/>
                  </a:lnTo>
                  <a:lnTo>
                    <a:pt x="484" y="160"/>
                  </a:lnTo>
                  <a:lnTo>
                    <a:pt x="484" y="163"/>
                  </a:lnTo>
                  <a:lnTo>
                    <a:pt x="484" y="168"/>
                  </a:lnTo>
                  <a:lnTo>
                    <a:pt x="482" y="169"/>
                  </a:lnTo>
                  <a:lnTo>
                    <a:pt x="482" y="169"/>
                  </a:lnTo>
                  <a:lnTo>
                    <a:pt x="481" y="166"/>
                  </a:lnTo>
                  <a:lnTo>
                    <a:pt x="481" y="163"/>
                  </a:lnTo>
                  <a:lnTo>
                    <a:pt x="481" y="160"/>
                  </a:lnTo>
                  <a:lnTo>
                    <a:pt x="477" y="157"/>
                  </a:lnTo>
                  <a:lnTo>
                    <a:pt x="474" y="154"/>
                  </a:lnTo>
                  <a:lnTo>
                    <a:pt x="474" y="154"/>
                  </a:lnTo>
                  <a:lnTo>
                    <a:pt x="474" y="152"/>
                  </a:lnTo>
                  <a:lnTo>
                    <a:pt x="474" y="145"/>
                  </a:lnTo>
                  <a:lnTo>
                    <a:pt x="474" y="143"/>
                  </a:lnTo>
                  <a:lnTo>
                    <a:pt x="473" y="140"/>
                  </a:lnTo>
                  <a:lnTo>
                    <a:pt x="471" y="138"/>
                  </a:lnTo>
                  <a:lnTo>
                    <a:pt x="473" y="132"/>
                  </a:lnTo>
                  <a:lnTo>
                    <a:pt x="471" y="131"/>
                  </a:lnTo>
                  <a:lnTo>
                    <a:pt x="471" y="129"/>
                  </a:lnTo>
                  <a:lnTo>
                    <a:pt x="471" y="128"/>
                  </a:lnTo>
                  <a:lnTo>
                    <a:pt x="470" y="128"/>
                  </a:lnTo>
                  <a:lnTo>
                    <a:pt x="468" y="128"/>
                  </a:lnTo>
                  <a:lnTo>
                    <a:pt x="468" y="128"/>
                  </a:lnTo>
                  <a:lnTo>
                    <a:pt x="468" y="128"/>
                  </a:lnTo>
                  <a:lnTo>
                    <a:pt x="468" y="126"/>
                  </a:lnTo>
                  <a:lnTo>
                    <a:pt x="467" y="125"/>
                  </a:lnTo>
                  <a:lnTo>
                    <a:pt x="467" y="122"/>
                  </a:lnTo>
                  <a:lnTo>
                    <a:pt x="467" y="120"/>
                  </a:lnTo>
                  <a:lnTo>
                    <a:pt x="465" y="118"/>
                  </a:lnTo>
                  <a:lnTo>
                    <a:pt x="464" y="115"/>
                  </a:lnTo>
                  <a:lnTo>
                    <a:pt x="462" y="114"/>
                  </a:lnTo>
                  <a:lnTo>
                    <a:pt x="462" y="114"/>
                  </a:lnTo>
                  <a:lnTo>
                    <a:pt x="456" y="114"/>
                  </a:lnTo>
                  <a:lnTo>
                    <a:pt x="453" y="111"/>
                  </a:lnTo>
                  <a:lnTo>
                    <a:pt x="447" y="109"/>
                  </a:lnTo>
                  <a:lnTo>
                    <a:pt x="447" y="108"/>
                  </a:lnTo>
                  <a:lnTo>
                    <a:pt x="448" y="105"/>
                  </a:lnTo>
                  <a:lnTo>
                    <a:pt x="450" y="100"/>
                  </a:lnTo>
                  <a:lnTo>
                    <a:pt x="448" y="97"/>
                  </a:lnTo>
                  <a:lnTo>
                    <a:pt x="448" y="92"/>
                  </a:lnTo>
                  <a:lnTo>
                    <a:pt x="447" y="89"/>
                  </a:lnTo>
                  <a:lnTo>
                    <a:pt x="445" y="88"/>
                  </a:lnTo>
                  <a:lnTo>
                    <a:pt x="445" y="88"/>
                  </a:lnTo>
                  <a:lnTo>
                    <a:pt x="444" y="86"/>
                  </a:lnTo>
                  <a:lnTo>
                    <a:pt x="444" y="86"/>
                  </a:lnTo>
                  <a:lnTo>
                    <a:pt x="442" y="86"/>
                  </a:lnTo>
                  <a:lnTo>
                    <a:pt x="442" y="88"/>
                  </a:lnTo>
                  <a:lnTo>
                    <a:pt x="441" y="88"/>
                  </a:lnTo>
                  <a:lnTo>
                    <a:pt x="439" y="88"/>
                  </a:lnTo>
                  <a:lnTo>
                    <a:pt x="439" y="88"/>
                  </a:lnTo>
                  <a:lnTo>
                    <a:pt x="441" y="83"/>
                  </a:lnTo>
                  <a:lnTo>
                    <a:pt x="442" y="80"/>
                  </a:lnTo>
                  <a:lnTo>
                    <a:pt x="441" y="80"/>
                  </a:lnTo>
                  <a:lnTo>
                    <a:pt x="439" y="78"/>
                  </a:lnTo>
                  <a:lnTo>
                    <a:pt x="437" y="75"/>
                  </a:lnTo>
                  <a:lnTo>
                    <a:pt x="436" y="74"/>
                  </a:lnTo>
                  <a:lnTo>
                    <a:pt x="434" y="74"/>
                  </a:lnTo>
                  <a:lnTo>
                    <a:pt x="428" y="78"/>
                  </a:lnTo>
                  <a:lnTo>
                    <a:pt x="428" y="78"/>
                  </a:lnTo>
                  <a:lnTo>
                    <a:pt x="428" y="75"/>
                  </a:lnTo>
                  <a:lnTo>
                    <a:pt x="430" y="72"/>
                  </a:lnTo>
                  <a:lnTo>
                    <a:pt x="430" y="69"/>
                  </a:lnTo>
                  <a:lnTo>
                    <a:pt x="427" y="68"/>
                  </a:lnTo>
                  <a:lnTo>
                    <a:pt x="424" y="68"/>
                  </a:lnTo>
                  <a:lnTo>
                    <a:pt x="422" y="68"/>
                  </a:lnTo>
                  <a:lnTo>
                    <a:pt x="424" y="69"/>
                  </a:lnTo>
                  <a:lnTo>
                    <a:pt x="424" y="71"/>
                  </a:lnTo>
                  <a:lnTo>
                    <a:pt x="422" y="75"/>
                  </a:lnTo>
                  <a:lnTo>
                    <a:pt x="420" y="77"/>
                  </a:lnTo>
                  <a:lnTo>
                    <a:pt x="419" y="77"/>
                  </a:lnTo>
                  <a:lnTo>
                    <a:pt x="419" y="71"/>
                  </a:lnTo>
                  <a:lnTo>
                    <a:pt x="417" y="69"/>
                  </a:lnTo>
                  <a:lnTo>
                    <a:pt x="411" y="72"/>
                  </a:lnTo>
                  <a:lnTo>
                    <a:pt x="408" y="75"/>
                  </a:lnTo>
                  <a:lnTo>
                    <a:pt x="407" y="75"/>
                  </a:lnTo>
                  <a:lnTo>
                    <a:pt x="407" y="78"/>
                  </a:lnTo>
                  <a:lnTo>
                    <a:pt x="407" y="81"/>
                  </a:lnTo>
                  <a:lnTo>
                    <a:pt x="405" y="83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7" y="86"/>
                  </a:lnTo>
                  <a:lnTo>
                    <a:pt x="407" y="86"/>
                  </a:lnTo>
                  <a:lnTo>
                    <a:pt x="407" y="88"/>
                  </a:lnTo>
                  <a:lnTo>
                    <a:pt x="407" y="88"/>
                  </a:lnTo>
                  <a:lnTo>
                    <a:pt x="407" y="89"/>
                  </a:lnTo>
                  <a:lnTo>
                    <a:pt x="407" y="91"/>
                  </a:lnTo>
                  <a:lnTo>
                    <a:pt x="408" y="91"/>
                  </a:lnTo>
                  <a:lnTo>
                    <a:pt x="408" y="92"/>
                  </a:lnTo>
                  <a:lnTo>
                    <a:pt x="407" y="92"/>
                  </a:lnTo>
                  <a:lnTo>
                    <a:pt x="405" y="89"/>
                  </a:lnTo>
                  <a:lnTo>
                    <a:pt x="404" y="88"/>
                  </a:lnTo>
                  <a:lnTo>
                    <a:pt x="404" y="86"/>
                  </a:lnTo>
                  <a:lnTo>
                    <a:pt x="404" y="86"/>
                  </a:lnTo>
                  <a:lnTo>
                    <a:pt x="404" y="86"/>
                  </a:lnTo>
                  <a:lnTo>
                    <a:pt x="402" y="86"/>
                  </a:lnTo>
                  <a:lnTo>
                    <a:pt x="402" y="86"/>
                  </a:lnTo>
                  <a:lnTo>
                    <a:pt x="400" y="88"/>
                  </a:lnTo>
                  <a:lnTo>
                    <a:pt x="402" y="91"/>
                  </a:lnTo>
                  <a:lnTo>
                    <a:pt x="399" y="89"/>
                  </a:lnTo>
                  <a:lnTo>
                    <a:pt x="396" y="88"/>
                  </a:lnTo>
                  <a:lnTo>
                    <a:pt x="387" y="89"/>
                  </a:lnTo>
                  <a:lnTo>
                    <a:pt x="382" y="91"/>
                  </a:lnTo>
                  <a:lnTo>
                    <a:pt x="380" y="92"/>
                  </a:lnTo>
                  <a:lnTo>
                    <a:pt x="380" y="94"/>
                  </a:lnTo>
                  <a:lnTo>
                    <a:pt x="379" y="94"/>
                  </a:lnTo>
                  <a:lnTo>
                    <a:pt x="379" y="95"/>
                  </a:lnTo>
                  <a:lnTo>
                    <a:pt x="380" y="98"/>
                  </a:lnTo>
                  <a:lnTo>
                    <a:pt x="380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0" y="106"/>
                  </a:lnTo>
                  <a:lnTo>
                    <a:pt x="380" y="108"/>
                  </a:lnTo>
                  <a:lnTo>
                    <a:pt x="379" y="108"/>
                  </a:lnTo>
                  <a:lnTo>
                    <a:pt x="377" y="108"/>
                  </a:lnTo>
                  <a:lnTo>
                    <a:pt x="376" y="109"/>
                  </a:lnTo>
                  <a:lnTo>
                    <a:pt x="376" y="111"/>
                  </a:lnTo>
                  <a:lnTo>
                    <a:pt x="376" y="112"/>
                  </a:lnTo>
                  <a:lnTo>
                    <a:pt x="376" y="114"/>
                  </a:lnTo>
                  <a:lnTo>
                    <a:pt x="379" y="118"/>
                  </a:lnTo>
                  <a:lnTo>
                    <a:pt x="379" y="120"/>
                  </a:lnTo>
                  <a:lnTo>
                    <a:pt x="382" y="126"/>
                  </a:lnTo>
                  <a:lnTo>
                    <a:pt x="384" y="131"/>
                  </a:lnTo>
                  <a:lnTo>
                    <a:pt x="384" y="134"/>
                  </a:lnTo>
                  <a:lnTo>
                    <a:pt x="384" y="138"/>
                  </a:lnTo>
                  <a:lnTo>
                    <a:pt x="384" y="145"/>
                  </a:lnTo>
                  <a:lnTo>
                    <a:pt x="382" y="149"/>
                  </a:lnTo>
                  <a:lnTo>
                    <a:pt x="382" y="152"/>
                  </a:lnTo>
                  <a:lnTo>
                    <a:pt x="380" y="154"/>
                  </a:lnTo>
                  <a:lnTo>
                    <a:pt x="379" y="154"/>
                  </a:lnTo>
                  <a:lnTo>
                    <a:pt x="379" y="154"/>
                  </a:lnTo>
                  <a:lnTo>
                    <a:pt x="379" y="152"/>
                  </a:lnTo>
                  <a:lnTo>
                    <a:pt x="379" y="152"/>
                  </a:lnTo>
                  <a:lnTo>
                    <a:pt x="379" y="151"/>
                  </a:lnTo>
                  <a:lnTo>
                    <a:pt x="379" y="151"/>
                  </a:lnTo>
                  <a:lnTo>
                    <a:pt x="377" y="151"/>
                  </a:lnTo>
                  <a:lnTo>
                    <a:pt x="377" y="151"/>
                  </a:lnTo>
                  <a:lnTo>
                    <a:pt x="376" y="151"/>
                  </a:lnTo>
                  <a:lnTo>
                    <a:pt x="376" y="149"/>
                  </a:lnTo>
                  <a:lnTo>
                    <a:pt x="374" y="148"/>
                  </a:lnTo>
                  <a:lnTo>
                    <a:pt x="373" y="148"/>
                  </a:lnTo>
                  <a:lnTo>
                    <a:pt x="373" y="149"/>
                  </a:lnTo>
                  <a:lnTo>
                    <a:pt x="371" y="154"/>
                  </a:lnTo>
                  <a:lnTo>
                    <a:pt x="370" y="151"/>
                  </a:lnTo>
                  <a:lnTo>
                    <a:pt x="367" y="149"/>
                  </a:lnTo>
                  <a:lnTo>
                    <a:pt x="365" y="148"/>
                  </a:lnTo>
                  <a:lnTo>
                    <a:pt x="363" y="146"/>
                  </a:lnTo>
                  <a:lnTo>
                    <a:pt x="363" y="140"/>
                  </a:lnTo>
                  <a:lnTo>
                    <a:pt x="363" y="138"/>
                  </a:lnTo>
                  <a:lnTo>
                    <a:pt x="363" y="137"/>
                  </a:lnTo>
                  <a:lnTo>
                    <a:pt x="362" y="134"/>
                  </a:lnTo>
                  <a:lnTo>
                    <a:pt x="360" y="132"/>
                  </a:lnTo>
                  <a:lnTo>
                    <a:pt x="360" y="131"/>
                  </a:lnTo>
                  <a:lnTo>
                    <a:pt x="360" y="129"/>
                  </a:lnTo>
                  <a:lnTo>
                    <a:pt x="360" y="128"/>
                  </a:lnTo>
                  <a:lnTo>
                    <a:pt x="360" y="128"/>
                  </a:lnTo>
                  <a:lnTo>
                    <a:pt x="359" y="128"/>
                  </a:lnTo>
                  <a:lnTo>
                    <a:pt x="359" y="128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3" y="125"/>
                  </a:lnTo>
                  <a:lnTo>
                    <a:pt x="350" y="123"/>
                  </a:lnTo>
                  <a:lnTo>
                    <a:pt x="348" y="122"/>
                  </a:lnTo>
                  <a:lnTo>
                    <a:pt x="348" y="118"/>
                  </a:lnTo>
                  <a:lnTo>
                    <a:pt x="347" y="117"/>
                  </a:lnTo>
                  <a:lnTo>
                    <a:pt x="345" y="114"/>
                  </a:lnTo>
                  <a:lnTo>
                    <a:pt x="343" y="112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09"/>
                  </a:lnTo>
                  <a:lnTo>
                    <a:pt x="343" y="109"/>
                  </a:lnTo>
                  <a:lnTo>
                    <a:pt x="343" y="108"/>
                  </a:lnTo>
                  <a:lnTo>
                    <a:pt x="342" y="106"/>
                  </a:lnTo>
                  <a:lnTo>
                    <a:pt x="342" y="105"/>
                  </a:lnTo>
                  <a:lnTo>
                    <a:pt x="339" y="98"/>
                  </a:lnTo>
                  <a:lnTo>
                    <a:pt x="337" y="95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6" y="91"/>
                  </a:lnTo>
                  <a:lnTo>
                    <a:pt x="336" y="89"/>
                  </a:lnTo>
                  <a:lnTo>
                    <a:pt x="334" y="88"/>
                  </a:lnTo>
                  <a:lnTo>
                    <a:pt x="333" y="88"/>
                  </a:lnTo>
                  <a:lnTo>
                    <a:pt x="333" y="85"/>
                  </a:lnTo>
                  <a:lnTo>
                    <a:pt x="331" y="81"/>
                  </a:lnTo>
                  <a:lnTo>
                    <a:pt x="330" y="83"/>
                  </a:lnTo>
                  <a:lnTo>
                    <a:pt x="330" y="81"/>
                  </a:lnTo>
                  <a:lnTo>
                    <a:pt x="328" y="81"/>
                  </a:lnTo>
                  <a:lnTo>
                    <a:pt x="325" y="81"/>
                  </a:lnTo>
                  <a:lnTo>
                    <a:pt x="323" y="81"/>
                  </a:lnTo>
                  <a:lnTo>
                    <a:pt x="320" y="85"/>
                  </a:lnTo>
                  <a:lnTo>
                    <a:pt x="319" y="86"/>
                  </a:lnTo>
                  <a:lnTo>
                    <a:pt x="317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4" y="88"/>
                  </a:lnTo>
                  <a:lnTo>
                    <a:pt x="313" y="88"/>
                  </a:lnTo>
                  <a:lnTo>
                    <a:pt x="310" y="88"/>
                  </a:lnTo>
                  <a:lnTo>
                    <a:pt x="308" y="88"/>
                  </a:lnTo>
                  <a:lnTo>
                    <a:pt x="307" y="89"/>
                  </a:lnTo>
                  <a:lnTo>
                    <a:pt x="308" y="92"/>
                  </a:lnTo>
                  <a:lnTo>
                    <a:pt x="308" y="95"/>
                  </a:lnTo>
                  <a:lnTo>
                    <a:pt x="307" y="97"/>
                  </a:lnTo>
                  <a:lnTo>
                    <a:pt x="305" y="100"/>
                  </a:lnTo>
                  <a:lnTo>
                    <a:pt x="307" y="102"/>
                  </a:lnTo>
                  <a:lnTo>
                    <a:pt x="308" y="103"/>
                  </a:lnTo>
                  <a:lnTo>
                    <a:pt x="308" y="105"/>
                  </a:lnTo>
                  <a:lnTo>
                    <a:pt x="310" y="108"/>
                  </a:lnTo>
                  <a:lnTo>
                    <a:pt x="310" y="114"/>
                  </a:lnTo>
                  <a:lnTo>
                    <a:pt x="310" y="117"/>
                  </a:lnTo>
                  <a:lnTo>
                    <a:pt x="313" y="123"/>
                  </a:lnTo>
                  <a:lnTo>
                    <a:pt x="314" y="129"/>
                  </a:lnTo>
                  <a:lnTo>
                    <a:pt x="316" y="134"/>
                  </a:lnTo>
                  <a:lnTo>
                    <a:pt x="313" y="135"/>
                  </a:lnTo>
                  <a:lnTo>
                    <a:pt x="313" y="137"/>
                  </a:lnTo>
                  <a:lnTo>
                    <a:pt x="316" y="138"/>
                  </a:lnTo>
                  <a:lnTo>
                    <a:pt x="317" y="143"/>
                  </a:lnTo>
                  <a:lnTo>
                    <a:pt x="319" y="146"/>
                  </a:lnTo>
                  <a:lnTo>
                    <a:pt x="319" y="151"/>
                  </a:lnTo>
                  <a:lnTo>
                    <a:pt x="319" y="154"/>
                  </a:lnTo>
                  <a:lnTo>
                    <a:pt x="319" y="157"/>
                  </a:lnTo>
                  <a:lnTo>
                    <a:pt x="317" y="158"/>
                  </a:lnTo>
                  <a:lnTo>
                    <a:pt x="317" y="160"/>
                  </a:lnTo>
                  <a:lnTo>
                    <a:pt x="316" y="160"/>
                  </a:lnTo>
                  <a:lnTo>
                    <a:pt x="316" y="163"/>
                  </a:lnTo>
                  <a:lnTo>
                    <a:pt x="317" y="165"/>
                  </a:lnTo>
                  <a:lnTo>
                    <a:pt x="319" y="166"/>
                  </a:lnTo>
                  <a:lnTo>
                    <a:pt x="317" y="166"/>
                  </a:lnTo>
                  <a:lnTo>
                    <a:pt x="316" y="166"/>
                  </a:lnTo>
                  <a:lnTo>
                    <a:pt x="314" y="166"/>
                  </a:lnTo>
                  <a:lnTo>
                    <a:pt x="314" y="168"/>
                  </a:lnTo>
                  <a:lnTo>
                    <a:pt x="314" y="171"/>
                  </a:lnTo>
                  <a:lnTo>
                    <a:pt x="314" y="172"/>
                  </a:lnTo>
                  <a:lnTo>
                    <a:pt x="313" y="174"/>
                  </a:lnTo>
                  <a:lnTo>
                    <a:pt x="311" y="179"/>
                  </a:lnTo>
                  <a:lnTo>
                    <a:pt x="310" y="180"/>
                  </a:lnTo>
                  <a:lnTo>
                    <a:pt x="311" y="183"/>
                  </a:lnTo>
                  <a:lnTo>
                    <a:pt x="310" y="185"/>
                  </a:lnTo>
                  <a:lnTo>
                    <a:pt x="310" y="188"/>
                  </a:lnTo>
                  <a:lnTo>
                    <a:pt x="310" y="191"/>
                  </a:lnTo>
                  <a:lnTo>
                    <a:pt x="308" y="188"/>
                  </a:lnTo>
                  <a:lnTo>
                    <a:pt x="310" y="180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5" y="180"/>
                  </a:lnTo>
                  <a:lnTo>
                    <a:pt x="303" y="180"/>
                  </a:lnTo>
                  <a:lnTo>
                    <a:pt x="302" y="180"/>
                  </a:lnTo>
                  <a:lnTo>
                    <a:pt x="299" y="182"/>
                  </a:lnTo>
                  <a:lnTo>
                    <a:pt x="300" y="183"/>
                  </a:lnTo>
                  <a:lnTo>
                    <a:pt x="302" y="183"/>
                  </a:lnTo>
                  <a:lnTo>
                    <a:pt x="303" y="183"/>
                  </a:lnTo>
                  <a:lnTo>
                    <a:pt x="305" y="183"/>
                  </a:lnTo>
                  <a:lnTo>
                    <a:pt x="307" y="186"/>
                  </a:lnTo>
                  <a:lnTo>
                    <a:pt x="307" y="186"/>
                  </a:lnTo>
                  <a:lnTo>
                    <a:pt x="307" y="191"/>
                  </a:lnTo>
                  <a:lnTo>
                    <a:pt x="305" y="194"/>
                  </a:lnTo>
                  <a:lnTo>
                    <a:pt x="305" y="195"/>
                  </a:lnTo>
                  <a:lnTo>
                    <a:pt x="303" y="195"/>
                  </a:lnTo>
                  <a:lnTo>
                    <a:pt x="303" y="197"/>
                  </a:lnTo>
                  <a:lnTo>
                    <a:pt x="302" y="197"/>
                  </a:lnTo>
                  <a:lnTo>
                    <a:pt x="302" y="197"/>
                  </a:lnTo>
                  <a:lnTo>
                    <a:pt x="300" y="195"/>
                  </a:lnTo>
                  <a:lnTo>
                    <a:pt x="300" y="195"/>
                  </a:lnTo>
                  <a:lnTo>
                    <a:pt x="299" y="194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7" y="191"/>
                  </a:lnTo>
                  <a:lnTo>
                    <a:pt x="297" y="189"/>
                  </a:lnTo>
                  <a:lnTo>
                    <a:pt x="296" y="189"/>
                  </a:lnTo>
                  <a:lnTo>
                    <a:pt x="296" y="189"/>
                  </a:lnTo>
                  <a:lnTo>
                    <a:pt x="296" y="188"/>
                  </a:lnTo>
                  <a:lnTo>
                    <a:pt x="296" y="186"/>
                  </a:lnTo>
                  <a:lnTo>
                    <a:pt x="296" y="185"/>
                  </a:lnTo>
                  <a:lnTo>
                    <a:pt x="296" y="183"/>
                  </a:lnTo>
                  <a:lnTo>
                    <a:pt x="296" y="182"/>
                  </a:lnTo>
                  <a:lnTo>
                    <a:pt x="296" y="182"/>
                  </a:lnTo>
                  <a:lnTo>
                    <a:pt x="296" y="180"/>
                  </a:lnTo>
                  <a:lnTo>
                    <a:pt x="293" y="179"/>
                  </a:lnTo>
                  <a:lnTo>
                    <a:pt x="293" y="180"/>
                  </a:lnTo>
                  <a:lnTo>
                    <a:pt x="293" y="183"/>
                  </a:lnTo>
                  <a:lnTo>
                    <a:pt x="293" y="186"/>
                  </a:lnTo>
                  <a:lnTo>
                    <a:pt x="291" y="188"/>
                  </a:lnTo>
                  <a:lnTo>
                    <a:pt x="291" y="185"/>
                  </a:lnTo>
                  <a:lnTo>
                    <a:pt x="291" y="182"/>
                  </a:lnTo>
                  <a:lnTo>
                    <a:pt x="291" y="179"/>
                  </a:lnTo>
                  <a:lnTo>
                    <a:pt x="291" y="177"/>
                  </a:lnTo>
                  <a:lnTo>
                    <a:pt x="291" y="172"/>
                  </a:lnTo>
                  <a:lnTo>
                    <a:pt x="291" y="166"/>
                  </a:lnTo>
                  <a:lnTo>
                    <a:pt x="291" y="165"/>
                  </a:lnTo>
                  <a:lnTo>
                    <a:pt x="293" y="165"/>
                  </a:lnTo>
                  <a:lnTo>
                    <a:pt x="293" y="165"/>
                  </a:lnTo>
                  <a:lnTo>
                    <a:pt x="293" y="163"/>
                  </a:lnTo>
                  <a:lnTo>
                    <a:pt x="291" y="163"/>
                  </a:lnTo>
                  <a:lnTo>
                    <a:pt x="291" y="163"/>
                  </a:lnTo>
                  <a:lnTo>
                    <a:pt x="291" y="163"/>
                  </a:lnTo>
                  <a:lnTo>
                    <a:pt x="290" y="162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3"/>
                  </a:lnTo>
                  <a:lnTo>
                    <a:pt x="283" y="165"/>
                  </a:lnTo>
                  <a:lnTo>
                    <a:pt x="279" y="171"/>
                  </a:lnTo>
                  <a:lnTo>
                    <a:pt x="270" y="177"/>
                  </a:lnTo>
                  <a:lnTo>
                    <a:pt x="268" y="182"/>
                  </a:lnTo>
                  <a:lnTo>
                    <a:pt x="268" y="183"/>
                  </a:lnTo>
                  <a:lnTo>
                    <a:pt x="266" y="188"/>
                  </a:lnTo>
                  <a:lnTo>
                    <a:pt x="266" y="189"/>
                  </a:lnTo>
                  <a:lnTo>
                    <a:pt x="266" y="191"/>
                  </a:lnTo>
                  <a:lnTo>
                    <a:pt x="265" y="191"/>
                  </a:lnTo>
                  <a:lnTo>
                    <a:pt x="265" y="194"/>
                  </a:lnTo>
                  <a:lnTo>
                    <a:pt x="265" y="197"/>
                  </a:lnTo>
                  <a:lnTo>
                    <a:pt x="265" y="202"/>
                  </a:lnTo>
                  <a:lnTo>
                    <a:pt x="266" y="206"/>
                  </a:lnTo>
                  <a:lnTo>
                    <a:pt x="268" y="212"/>
                  </a:lnTo>
                  <a:lnTo>
                    <a:pt x="270" y="219"/>
                  </a:lnTo>
                  <a:lnTo>
                    <a:pt x="271" y="222"/>
                  </a:lnTo>
                  <a:lnTo>
                    <a:pt x="271" y="223"/>
                  </a:lnTo>
                  <a:lnTo>
                    <a:pt x="270" y="222"/>
                  </a:lnTo>
                  <a:lnTo>
                    <a:pt x="266" y="222"/>
                  </a:lnTo>
                  <a:lnTo>
                    <a:pt x="266" y="220"/>
                  </a:lnTo>
                  <a:lnTo>
                    <a:pt x="266" y="219"/>
                  </a:lnTo>
                  <a:lnTo>
                    <a:pt x="263" y="214"/>
                  </a:lnTo>
                  <a:lnTo>
                    <a:pt x="262" y="208"/>
                  </a:lnTo>
                  <a:lnTo>
                    <a:pt x="260" y="203"/>
                  </a:lnTo>
                  <a:lnTo>
                    <a:pt x="257" y="203"/>
                  </a:lnTo>
                  <a:lnTo>
                    <a:pt x="257" y="205"/>
                  </a:lnTo>
                  <a:lnTo>
                    <a:pt x="257" y="211"/>
                  </a:lnTo>
                  <a:lnTo>
                    <a:pt x="259" y="225"/>
                  </a:lnTo>
                  <a:lnTo>
                    <a:pt x="259" y="226"/>
                  </a:lnTo>
                  <a:lnTo>
                    <a:pt x="259" y="229"/>
                  </a:lnTo>
                  <a:lnTo>
                    <a:pt x="257" y="231"/>
                  </a:lnTo>
                  <a:lnTo>
                    <a:pt x="257" y="231"/>
                  </a:lnTo>
                  <a:lnTo>
                    <a:pt x="257" y="232"/>
                  </a:lnTo>
                  <a:lnTo>
                    <a:pt x="257" y="234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9"/>
                  </a:lnTo>
                  <a:lnTo>
                    <a:pt x="257" y="242"/>
                  </a:lnTo>
                  <a:lnTo>
                    <a:pt x="257" y="243"/>
                  </a:lnTo>
                  <a:lnTo>
                    <a:pt x="259" y="245"/>
                  </a:lnTo>
                  <a:lnTo>
                    <a:pt x="259" y="246"/>
                  </a:lnTo>
                  <a:lnTo>
                    <a:pt x="259" y="251"/>
                  </a:lnTo>
                  <a:lnTo>
                    <a:pt x="259" y="254"/>
                  </a:lnTo>
                  <a:lnTo>
                    <a:pt x="257" y="254"/>
                  </a:lnTo>
                  <a:lnTo>
                    <a:pt x="257" y="256"/>
                  </a:lnTo>
                  <a:lnTo>
                    <a:pt x="256" y="254"/>
                  </a:lnTo>
                  <a:lnTo>
                    <a:pt x="256" y="252"/>
                  </a:lnTo>
                  <a:lnTo>
                    <a:pt x="257" y="249"/>
                  </a:lnTo>
                  <a:lnTo>
                    <a:pt x="256" y="246"/>
                  </a:lnTo>
                  <a:lnTo>
                    <a:pt x="254" y="243"/>
                  </a:lnTo>
                  <a:lnTo>
                    <a:pt x="253" y="242"/>
                  </a:lnTo>
                  <a:lnTo>
                    <a:pt x="253" y="242"/>
                  </a:lnTo>
                  <a:lnTo>
                    <a:pt x="253" y="240"/>
                  </a:lnTo>
                  <a:lnTo>
                    <a:pt x="254" y="240"/>
                  </a:lnTo>
                  <a:lnTo>
                    <a:pt x="254" y="240"/>
                  </a:lnTo>
                  <a:lnTo>
                    <a:pt x="253" y="239"/>
                  </a:lnTo>
                  <a:lnTo>
                    <a:pt x="250" y="229"/>
                  </a:lnTo>
                  <a:lnTo>
                    <a:pt x="250" y="228"/>
                  </a:lnTo>
                  <a:lnTo>
                    <a:pt x="250" y="223"/>
                  </a:lnTo>
                  <a:lnTo>
                    <a:pt x="250" y="222"/>
                  </a:lnTo>
                  <a:lnTo>
                    <a:pt x="250" y="217"/>
                  </a:lnTo>
                  <a:lnTo>
                    <a:pt x="250" y="215"/>
                  </a:lnTo>
                  <a:lnTo>
                    <a:pt x="250" y="212"/>
                  </a:lnTo>
                  <a:lnTo>
                    <a:pt x="250" y="212"/>
                  </a:lnTo>
                  <a:lnTo>
                    <a:pt x="248" y="211"/>
                  </a:lnTo>
                  <a:lnTo>
                    <a:pt x="250" y="208"/>
                  </a:lnTo>
                  <a:lnTo>
                    <a:pt x="248" y="206"/>
                  </a:lnTo>
                  <a:lnTo>
                    <a:pt x="245" y="203"/>
                  </a:lnTo>
                  <a:lnTo>
                    <a:pt x="243" y="200"/>
                  </a:lnTo>
                  <a:lnTo>
                    <a:pt x="242" y="199"/>
                  </a:lnTo>
                  <a:lnTo>
                    <a:pt x="240" y="199"/>
                  </a:lnTo>
                  <a:lnTo>
                    <a:pt x="239" y="200"/>
                  </a:lnTo>
                  <a:lnTo>
                    <a:pt x="236" y="202"/>
                  </a:lnTo>
                  <a:lnTo>
                    <a:pt x="228" y="205"/>
                  </a:lnTo>
                  <a:lnTo>
                    <a:pt x="228" y="203"/>
                  </a:lnTo>
                  <a:lnTo>
                    <a:pt x="233" y="202"/>
                  </a:lnTo>
                  <a:lnTo>
                    <a:pt x="237" y="197"/>
                  </a:lnTo>
                  <a:lnTo>
                    <a:pt x="240" y="191"/>
                  </a:lnTo>
                  <a:lnTo>
                    <a:pt x="242" y="185"/>
                  </a:lnTo>
                  <a:lnTo>
                    <a:pt x="240" y="177"/>
                  </a:lnTo>
                  <a:lnTo>
                    <a:pt x="236" y="179"/>
                  </a:lnTo>
                  <a:lnTo>
                    <a:pt x="233" y="182"/>
                  </a:lnTo>
                  <a:lnTo>
                    <a:pt x="228" y="185"/>
                  </a:lnTo>
                  <a:lnTo>
                    <a:pt x="228" y="183"/>
                  </a:lnTo>
                  <a:lnTo>
                    <a:pt x="230" y="182"/>
                  </a:lnTo>
                  <a:lnTo>
                    <a:pt x="234" y="175"/>
                  </a:lnTo>
                  <a:lnTo>
                    <a:pt x="234" y="172"/>
                  </a:lnTo>
                  <a:lnTo>
                    <a:pt x="234" y="171"/>
                  </a:lnTo>
                  <a:lnTo>
                    <a:pt x="231" y="169"/>
                  </a:lnTo>
                  <a:lnTo>
                    <a:pt x="219" y="169"/>
                  </a:lnTo>
                  <a:lnTo>
                    <a:pt x="217" y="169"/>
                  </a:lnTo>
                  <a:lnTo>
                    <a:pt x="217" y="168"/>
                  </a:lnTo>
                  <a:lnTo>
                    <a:pt x="216" y="168"/>
                  </a:lnTo>
                  <a:lnTo>
                    <a:pt x="216" y="166"/>
                  </a:lnTo>
                  <a:lnTo>
                    <a:pt x="216" y="163"/>
                  </a:lnTo>
                  <a:lnTo>
                    <a:pt x="214" y="163"/>
                  </a:lnTo>
                  <a:lnTo>
                    <a:pt x="214" y="162"/>
                  </a:lnTo>
                  <a:lnTo>
                    <a:pt x="213" y="160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4" y="157"/>
                  </a:lnTo>
                  <a:lnTo>
                    <a:pt x="214" y="154"/>
                  </a:lnTo>
                  <a:lnTo>
                    <a:pt x="214" y="154"/>
                  </a:lnTo>
                  <a:lnTo>
                    <a:pt x="213" y="151"/>
                  </a:lnTo>
                  <a:lnTo>
                    <a:pt x="213" y="151"/>
                  </a:lnTo>
                  <a:lnTo>
                    <a:pt x="211" y="149"/>
                  </a:lnTo>
                  <a:lnTo>
                    <a:pt x="208" y="148"/>
                  </a:lnTo>
                  <a:lnTo>
                    <a:pt x="206" y="146"/>
                  </a:lnTo>
                  <a:lnTo>
                    <a:pt x="208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6" y="149"/>
                  </a:lnTo>
                  <a:lnTo>
                    <a:pt x="216" y="151"/>
                  </a:lnTo>
                  <a:lnTo>
                    <a:pt x="216" y="154"/>
                  </a:lnTo>
                  <a:lnTo>
                    <a:pt x="217" y="155"/>
                  </a:lnTo>
                  <a:lnTo>
                    <a:pt x="219" y="157"/>
                  </a:lnTo>
                  <a:lnTo>
                    <a:pt x="219" y="157"/>
                  </a:lnTo>
                  <a:lnTo>
                    <a:pt x="220" y="160"/>
                  </a:lnTo>
                  <a:lnTo>
                    <a:pt x="222" y="160"/>
                  </a:lnTo>
                  <a:lnTo>
                    <a:pt x="231" y="162"/>
                  </a:lnTo>
                  <a:lnTo>
                    <a:pt x="234" y="160"/>
                  </a:lnTo>
                  <a:lnTo>
                    <a:pt x="239" y="152"/>
                  </a:lnTo>
                  <a:lnTo>
                    <a:pt x="239" y="151"/>
                  </a:lnTo>
                  <a:lnTo>
                    <a:pt x="234" y="148"/>
                  </a:lnTo>
                  <a:lnTo>
                    <a:pt x="233" y="148"/>
                  </a:lnTo>
                  <a:lnTo>
                    <a:pt x="231" y="148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36" y="145"/>
                  </a:lnTo>
                  <a:lnTo>
                    <a:pt x="239" y="142"/>
                  </a:lnTo>
                  <a:lnTo>
                    <a:pt x="240" y="140"/>
                  </a:lnTo>
                  <a:lnTo>
                    <a:pt x="243" y="131"/>
                  </a:lnTo>
                  <a:lnTo>
                    <a:pt x="243" y="129"/>
                  </a:lnTo>
                  <a:lnTo>
                    <a:pt x="240" y="128"/>
                  </a:lnTo>
                  <a:lnTo>
                    <a:pt x="242" y="126"/>
                  </a:lnTo>
                  <a:lnTo>
                    <a:pt x="243" y="123"/>
                  </a:lnTo>
                  <a:lnTo>
                    <a:pt x="243" y="120"/>
                  </a:lnTo>
                  <a:lnTo>
                    <a:pt x="242" y="117"/>
                  </a:lnTo>
                  <a:lnTo>
                    <a:pt x="240" y="115"/>
                  </a:lnTo>
                  <a:lnTo>
                    <a:pt x="231" y="117"/>
                  </a:lnTo>
                  <a:lnTo>
                    <a:pt x="231" y="115"/>
                  </a:lnTo>
                  <a:lnTo>
                    <a:pt x="236" y="114"/>
                  </a:lnTo>
                  <a:lnTo>
                    <a:pt x="236" y="112"/>
                  </a:lnTo>
                  <a:lnTo>
                    <a:pt x="234" y="111"/>
                  </a:lnTo>
                  <a:lnTo>
                    <a:pt x="226" y="112"/>
                  </a:lnTo>
                  <a:lnTo>
                    <a:pt x="222" y="114"/>
                  </a:lnTo>
                  <a:lnTo>
                    <a:pt x="220" y="115"/>
                  </a:lnTo>
                  <a:lnTo>
                    <a:pt x="219" y="112"/>
                  </a:lnTo>
                  <a:lnTo>
                    <a:pt x="220" y="112"/>
                  </a:lnTo>
                  <a:lnTo>
                    <a:pt x="228" y="109"/>
                  </a:lnTo>
                  <a:lnTo>
                    <a:pt x="230" y="108"/>
                  </a:lnTo>
                  <a:lnTo>
                    <a:pt x="240" y="108"/>
                  </a:lnTo>
                  <a:lnTo>
                    <a:pt x="240" y="103"/>
                  </a:lnTo>
                  <a:lnTo>
                    <a:pt x="239" y="102"/>
                  </a:lnTo>
                  <a:lnTo>
                    <a:pt x="237" y="100"/>
                  </a:lnTo>
                  <a:lnTo>
                    <a:pt x="234" y="100"/>
                  </a:lnTo>
                  <a:lnTo>
                    <a:pt x="226" y="102"/>
                  </a:lnTo>
                  <a:lnTo>
                    <a:pt x="225" y="100"/>
                  </a:lnTo>
                  <a:lnTo>
                    <a:pt x="223" y="97"/>
                  </a:lnTo>
                  <a:lnTo>
                    <a:pt x="223" y="97"/>
                  </a:lnTo>
                  <a:lnTo>
                    <a:pt x="223" y="94"/>
                  </a:lnTo>
                  <a:lnTo>
                    <a:pt x="223" y="94"/>
                  </a:lnTo>
                  <a:lnTo>
                    <a:pt x="225" y="92"/>
                  </a:lnTo>
                  <a:lnTo>
                    <a:pt x="226" y="92"/>
                  </a:lnTo>
                  <a:lnTo>
                    <a:pt x="225" y="91"/>
                  </a:lnTo>
                  <a:lnTo>
                    <a:pt x="225" y="91"/>
                  </a:lnTo>
                  <a:lnTo>
                    <a:pt x="225" y="89"/>
                  </a:lnTo>
                  <a:lnTo>
                    <a:pt x="223" y="88"/>
                  </a:lnTo>
                  <a:lnTo>
                    <a:pt x="223" y="88"/>
                  </a:lnTo>
                  <a:lnTo>
                    <a:pt x="220" y="88"/>
                  </a:lnTo>
                  <a:lnTo>
                    <a:pt x="217" y="89"/>
                  </a:lnTo>
                  <a:lnTo>
                    <a:pt x="217" y="89"/>
                  </a:lnTo>
                  <a:lnTo>
                    <a:pt x="219" y="94"/>
                  </a:lnTo>
                  <a:lnTo>
                    <a:pt x="219" y="95"/>
                  </a:lnTo>
                  <a:lnTo>
                    <a:pt x="219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6" y="100"/>
                  </a:lnTo>
                  <a:lnTo>
                    <a:pt x="214" y="102"/>
                  </a:lnTo>
                  <a:lnTo>
                    <a:pt x="216" y="98"/>
                  </a:lnTo>
                  <a:lnTo>
                    <a:pt x="216" y="97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6" y="91"/>
                  </a:lnTo>
                  <a:lnTo>
                    <a:pt x="214" y="91"/>
                  </a:lnTo>
                  <a:lnTo>
                    <a:pt x="213" y="92"/>
                  </a:lnTo>
                  <a:lnTo>
                    <a:pt x="213" y="92"/>
                  </a:lnTo>
                  <a:lnTo>
                    <a:pt x="211" y="91"/>
                  </a:lnTo>
                  <a:lnTo>
                    <a:pt x="211" y="89"/>
                  </a:lnTo>
                  <a:lnTo>
                    <a:pt x="209" y="86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9" y="80"/>
                  </a:lnTo>
                  <a:lnTo>
                    <a:pt x="209" y="80"/>
                  </a:lnTo>
                  <a:lnTo>
                    <a:pt x="209" y="78"/>
                  </a:lnTo>
                  <a:lnTo>
                    <a:pt x="209" y="77"/>
                  </a:lnTo>
                  <a:lnTo>
                    <a:pt x="209" y="74"/>
                  </a:lnTo>
                  <a:lnTo>
                    <a:pt x="208" y="74"/>
                  </a:lnTo>
                  <a:lnTo>
                    <a:pt x="208" y="71"/>
                  </a:lnTo>
                  <a:lnTo>
                    <a:pt x="208" y="71"/>
                  </a:lnTo>
                  <a:lnTo>
                    <a:pt x="203" y="68"/>
                  </a:lnTo>
                  <a:lnTo>
                    <a:pt x="203" y="69"/>
                  </a:lnTo>
                  <a:lnTo>
                    <a:pt x="202" y="69"/>
                  </a:lnTo>
                  <a:lnTo>
                    <a:pt x="200" y="69"/>
                  </a:lnTo>
                  <a:lnTo>
                    <a:pt x="200" y="69"/>
                  </a:lnTo>
                  <a:lnTo>
                    <a:pt x="199" y="68"/>
                  </a:lnTo>
                  <a:lnTo>
                    <a:pt x="196" y="65"/>
                  </a:lnTo>
                  <a:lnTo>
                    <a:pt x="194" y="65"/>
                  </a:lnTo>
                  <a:lnTo>
                    <a:pt x="194" y="65"/>
                  </a:lnTo>
                  <a:lnTo>
                    <a:pt x="193" y="66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96" y="61"/>
                  </a:lnTo>
                  <a:lnTo>
                    <a:pt x="196" y="60"/>
                  </a:lnTo>
                  <a:lnTo>
                    <a:pt x="193" y="57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89" y="55"/>
                  </a:lnTo>
                  <a:lnTo>
                    <a:pt x="188" y="55"/>
                  </a:lnTo>
                  <a:lnTo>
                    <a:pt x="183" y="55"/>
                  </a:lnTo>
                  <a:lnTo>
                    <a:pt x="183" y="52"/>
                  </a:lnTo>
                  <a:lnTo>
                    <a:pt x="183" y="52"/>
                  </a:lnTo>
                  <a:lnTo>
                    <a:pt x="182" y="52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0" y="55"/>
                  </a:lnTo>
                  <a:lnTo>
                    <a:pt x="179" y="54"/>
                  </a:lnTo>
                  <a:lnTo>
                    <a:pt x="179" y="52"/>
                  </a:lnTo>
                  <a:lnTo>
                    <a:pt x="177" y="52"/>
                  </a:lnTo>
                  <a:lnTo>
                    <a:pt x="176" y="54"/>
                  </a:lnTo>
                  <a:lnTo>
                    <a:pt x="174" y="54"/>
                  </a:lnTo>
                  <a:lnTo>
                    <a:pt x="174" y="55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4" y="52"/>
                  </a:lnTo>
                  <a:lnTo>
                    <a:pt x="174" y="51"/>
                  </a:lnTo>
                  <a:lnTo>
                    <a:pt x="173" y="49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3" y="45"/>
                  </a:lnTo>
                  <a:lnTo>
                    <a:pt x="174" y="43"/>
                  </a:lnTo>
                  <a:lnTo>
                    <a:pt x="174" y="45"/>
                  </a:lnTo>
                  <a:lnTo>
                    <a:pt x="174" y="43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38"/>
                  </a:lnTo>
                  <a:lnTo>
                    <a:pt x="169" y="35"/>
                  </a:lnTo>
                  <a:lnTo>
                    <a:pt x="163" y="32"/>
                  </a:lnTo>
                  <a:lnTo>
                    <a:pt x="162" y="29"/>
                  </a:lnTo>
                  <a:lnTo>
                    <a:pt x="162" y="25"/>
                  </a:lnTo>
                  <a:lnTo>
                    <a:pt x="160" y="21"/>
                  </a:lnTo>
                  <a:lnTo>
                    <a:pt x="157" y="18"/>
                  </a:lnTo>
                  <a:lnTo>
                    <a:pt x="156" y="18"/>
                  </a:lnTo>
                  <a:lnTo>
                    <a:pt x="156" y="20"/>
                  </a:lnTo>
                  <a:lnTo>
                    <a:pt x="157" y="21"/>
                  </a:lnTo>
                  <a:lnTo>
                    <a:pt x="159" y="23"/>
                  </a:lnTo>
                  <a:lnTo>
                    <a:pt x="159" y="26"/>
                  </a:lnTo>
                  <a:lnTo>
                    <a:pt x="157" y="26"/>
                  </a:lnTo>
                  <a:lnTo>
                    <a:pt x="152" y="23"/>
                  </a:lnTo>
                  <a:lnTo>
                    <a:pt x="149" y="21"/>
                  </a:lnTo>
                  <a:lnTo>
                    <a:pt x="146" y="18"/>
                  </a:lnTo>
                  <a:lnTo>
                    <a:pt x="145" y="20"/>
                  </a:lnTo>
                  <a:lnTo>
                    <a:pt x="145" y="21"/>
                  </a:lnTo>
                  <a:lnTo>
                    <a:pt x="145" y="23"/>
                  </a:lnTo>
                  <a:lnTo>
                    <a:pt x="143" y="25"/>
                  </a:lnTo>
                  <a:lnTo>
                    <a:pt x="140" y="28"/>
                  </a:lnTo>
                  <a:lnTo>
                    <a:pt x="139" y="28"/>
                  </a:lnTo>
                  <a:lnTo>
                    <a:pt x="137" y="26"/>
                  </a:lnTo>
                  <a:lnTo>
                    <a:pt x="134" y="23"/>
                  </a:lnTo>
                  <a:lnTo>
                    <a:pt x="131" y="21"/>
                  </a:lnTo>
                  <a:lnTo>
                    <a:pt x="128" y="20"/>
                  </a:lnTo>
                  <a:lnTo>
                    <a:pt x="126" y="18"/>
                  </a:lnTo>
                  <a:lnTo>
                    <a:pt x="119" y="18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12" y="23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4" y="28"/>
                  </a:lnTo>
                  <a:lnTo>
                    <a:pt x="112" y="26"/>
                  </a:lnTo>
                  <a:lnTo>
                    <a:pt x="109" y="25"/>
                  </a:lnTo>
                  <a:lnTo>
                    <a:pt x="108" y="23"/>
                  </a:lnTo>
                  <a:lnTo>
                    <a:pt x="105" y="25"/>
                  </a:lnTo>
                  <a:lnTo>
                    <a:pt x="106" y="28"/>
                  </a:lnTo>
                  <a:lnTo>
                    <a:pt x="109" y="31"/>
                  </a:lnTo>
                  <a:lnTo>
                    <a:pt x="111" y="32"/>
                  </a:lnTo>
                  <a:lnTo>
                    <a:pt x="114" y="32"/>
                  </a:lnTo>
                  <a:lnTo>
                    <a:pt x="112" y="38"/>
                  </a:lnTo>
                  <a:lnTo>
                    <a:pt x="109" y="38"/>
                  </a:lnTo>
                  <a:lnTo>
                    <a:pt x="105" y="37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3" y="41"/>
                  </a:lnTo>
                  <a:lnTo>
                    <a:pt x="105" y="45"/>
                  </a:lnTo>
                  <a:lnTo>
                    <a:pt x="108" y="46"/>
                  </a:lnTo>
                  <a:lnTo>
                    <a:pt x="120" y="49"/>
                  </a:lnTo>
                  <a:lnTo>
                    <a:pt x="122" y="48"/>
                  </a:lnTo>
                  <a:lnTo>
                    <a:pt x="122" y="46"/>
                  </a:lnTo>
                  <a:lnTo>
                    <a:pt x="125" y="41"/>
                  </a:lnTo>
                  <a:lnTo>
                    <a:pt x="126" y="40"/>
                  </a:lnTo>
                  <a:lnTo>
                    <a:pt x="128" y="38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29" y="40"/>
                  </a:lnTo>
                  <a:lnTo>
                    <a:pt x="128" y="43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1" y="46"/>
                  </a:lnTo>
                  <a:lnTo>
                    <a:pt x="132" y="45"/>
                  </a:lnTo>
                  <a:lnTo>
                    <a:pt x="139" y="38"/>
                  </a:lnTo>
                  <a:lnTo>
                    <a:pt x="142" y="37"/>
                  </a:lnTo>
                  <a:lnTo>
                    <a:pt x="145" y="37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7" y="48"/>
                  </a:lnTo>
                  <a:lnTo>
                    <a:pt x="137" y="49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42" y="52"/>
                  </a:lnTo>
                  <a:lnTo>
                    <a:pt x="145" y="51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2" y="49"/>
                  </a:lnTo>
                  <a:lnTo>
                    <a:pt x="151" y="49"/>
                  </a:lnTo>
                  <a:lnTo>
                    <a:pt x="151" y="51"/>
                  </a:lnTo>
                  <a:lnTo>
                    <a:pt x="149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9" y="54"/>
                  </a:lnTo>
                  <a:lnTo>
                    <a:pt x="152" y="55"/>
                  </a:lnTo>
                  <a:lnTo>
                    <a:pt x="162" y="54"/>
                  </a:lnTo>
                  <a:lnTo>
                    <a:pt x="160" y="55"/>
                  </a:lnTo>
                  <a:lnTo>
                    <a:pt x="157" y="55"/>
                  </a:lnTo>
                  <a:lnTo>
                    <a:pt x="154" y="58"/>
                  </a:lnTo>
                  <a:lnTo>
                    <a:pt x="152" y="60"/>
                  </a:lnTo>
                  <a:lnTo>
                    <a:pt x="148" y="60"/>
                  </a:lnTo>
                  <a:lnTo>
                    <a:pt x="149" y="61"/>
                  </a:lnTo>
                  <a:lnTo>
                    <a:pt x="149" y="63"/>
                  </a:lnTo>
                  <a:lnTo>
                    <a:pt x="149" y="63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1"/>
                  </a:lnTo>
                  <a:lnTo>
                    <a:pt x="145" y="61"/>
                  </a:lnTo>
                  <a:lnTo>
                    <a:pt x="145" y="60"/>
                  </a:lnTo>
                  <a:lnTo>
                    <a:pt x="145" y="60"/>
                  </a:lnTo>
                  <a:lnTo>
                    <a:pt x="143" y="60"/>
                  </a:lnTo>
                  <a:lnTo>
                    <a:pt x="142" y="60"/>
                  </a:lnTo>
                  <a:lnTo>
                    <a:pt x="134" y="57"/>
                  </a:lnTo>
                  <a:lnTo>
                    <a:pt x="131" y="57"/>
                  </a:lnTo>
                  <a:lnTo>
                    <a:pt x="120" y="60"/>
                  </a:lnTo>
                  <a:lnTo>
                    <a:pt x="117" y="61"/>
                  </a:lnTo>
                  <a:lnTo>
                    <a:pt x="120" y="71"/>
                  </a:lnTo>
                  <a:lnTo>
                    <a:pt x="125" y="75"/>
                  </a:lnTo>
                  <a:lnTo>
                    <a:pt x="143" y="83"/>
                  </a:lnTo>
                  <a:lnTo>
                    <a:pt x="148" y="88"/>
                  </a:lnTo>
                  <a:lnTo>
                    <a:pt x="154" y="91"/>
                  </a:lnTo>
                  <a:lnTo>
                    <a:pt x="154" y="91"/>
                  </a:lnTo>
                  <a:lnTo>
                    <a:pt x="156" y="89"/>
                  </a:lnTo>
                  <a:lnTo>
                    <a:pt x="160" y="88"/>
                  </a:lnTo>
                  <a:lnTo>
                    <a:pt x="162" y="88"/>
                  </a:lnTo>
                  <a:lnTo>
                    <a:pt x="160" y="89"/>
                  </a:lnTo>
                  <a:lnTo>
                    <a:pt x="159" y="91"/>
                  </a:lnTo>
                  <a:lnTo>
                    <a:pt x="157" y="91"/>
                  </a:lnTo>
                  <a:lnTo>
                    <a:pt x="156" y="91"/>
                  </a:lnTo>
                  <a:lnTo>
                    <a:pt x="156" y="92"/>
                  </a:lnTo>
                  <a:lnTo>
                    <a:pt x="154" y="95"/>
                  </a:lnTo>
                  <a:lnTo>
                    <a:pt x="154" y="97"/>
                  </a:lnTo>
                  <a:lnTo>
                    <a:pt x="154" y="100"/>
                  </a:lnTo>
                  <a:lnTo>
                    <a:pt x="156" y="100"/>
                  </a:lnTo>
                  <a:lnTo>
                    <a:pt x="157" y="102"/>
                  </a:lnTo>
                  <a:lnTo>
                    <a:pt x="159" y="105"/>
                  </a:lnTo>
                  <a:lnTo>
                    <a:pt x="159" y="108"/>
                  </a:lnTo>
                  <a:lnTo>
                    <a:pt x="160" y="111"/>
                  </a:lnTo>
                  <a:lnTo>
                    <a:pt x="160" y="114"/>
                  </a:lnTo>
                  <a:lnTo>
                    <a:pt x="162" y="118"/>
                  </a:lnTo>
                  <a:lnTo>
                    <a:pt x="163" y="120"/>
                  </a:lnTo>
                  <a:lnTo>
                    <a:pt x="163" y="122"/>
                  </a:lnTo>
                  <a:lnTo>
                    <a:pt x="160" y="123"/>
                  </a:lnTo>
                  <a:lnTo>
                    <a:pt x="157" y="132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6" y="131"/>
                  </a:lnTo>
                  <a:lnTo>
                    <a:pt x="157" y="128"/>
                  </a:lnTo>
                  <a:lnTo>
                    <a:pt x="157" y="126"/>
                  </a:lnTo>
                  <a:lnTo>
                    <a:pt x="159" y="120"/>
                  </a:lnTo>
                  <a:lnTo>
                    <a:pt x="159" y="118"/>
                  </a:lnTo>
                  <a:lnTo>
                    <a:pt x="157" y="118"/>
                  </a:lnTo>
                  <a:lnTo>
                    <a:pt x="157" y="120"/>
                  </a:lnTo>
                  <a:lnTo>
                    <a:pt x="157" y="122"/>
                  </a:lnTo>
                  <a:lnTo>
                    <a:pt x="157" y="122"/>
                  </a:lnTo>
                  <a:lnTo>
                    <a:pt x="156" y="122"/>
                  </a:lnTo>
                  <a:lnTo>
                    <a:pt x="156" y="120"/>
                  </a:lnTo>
                  <a:lnTo>
                    <a:pt x="156" y="118"/>
                  </a:lnTo>
                  <a:lnTo>
                    <a:pt x="156" y="117"/>
                  </a:lnTo>
                  <a:lnTo>
                    <a:pt x="156" y="115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2" y="114"/>
                  </a:lnTo>
                  <a:lnTo>
                    <a:pt x="152" y="111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9" y="111"/>
                  </a:lnTo>
                  <a:lnTo>
                    <a:pt x="149" y="114"/>
                  </a:lnTo>
                  <a:lnTo>
                    <a:pt x="145" y="128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0" y="134"/>
                  </a:lnTo>
                  <a:lnTo>
                    <a:pt x="142" y="131"/>
                  </a:lnTo>
                  <a:lnTo>
                    <a:pt x="145" y="120"/>
                  </a:lnTo>
                  <a:lnTo>
                    <a:pt x="145" y="118"/>
                  </a:lnTo>
                  <a:lnTo>
                    <a:pt x="145" y="118"/>
                  </a:lnTo>
                  <a:lnTo>
                    <a:pt x="146" y="117"/>
                  </a:lnTo>
                  <a:lnTo>
                    <a:pt x="146" y="115"/>
                  </a:lnTo>
                  <a:lnTo>
                    <a:pt x="146" y="114"/>
                  </a:lnTo>
                  <a:lnTo>
                    <a:pt x="146" y="109"/>
                  </a:lnTo>
                  <a:lnTo>
                    <a:pt x="146" y="109"/>
                  </a:lnTo>
                  <a:lnTo>
                    <a:pt x="146" y="108"/>
                  </a:lnTo>
                  <a:lnTo>
                    <a:pt x="143" y="103"/>
                  </a:lnTo>
                  <a:lnTo>
                    <a:pt x="140" y="100"/>
                  </a:lnTo>
                  <a:lnTo>
                    <a:pt x="140" y="98"/>
                  </a:lnTo>
                  <a:lnTo>
                    <a:pt x="140" y="97"/>
                  </a:lnTo>
                  <a:lnTo>
                    <a:pt x="140" y="95"/>
                  </a:lnTo>
                  <a:lnTo>
                    <a:pt x="139" y="95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2" y="95"/>
                  </a:lnTo>
                  <a:lnTo>
                    <a:pt x="132" y="98"/>
                  </a:lnTo>
                  <a:lnTo>
                    <a:pt x="131" y="103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9" y="122"/>
                  </a:lnTo>
                  <a:lnTo>
                    <a:pt x="128" y="118"/>
                  </a:lnTo>
                  <a:lnTo>
                    <a:pt x="129" y="114"/>
                  </a:lnTo>
                  <a:lnTo>
                    <a:pt x="129" y="109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6" y="108"/>
                  </a:lnTo>
                  <a:lnTo>
                    <a:pt x="125" y="112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0" y="114"/>
                  </a:lnTo>
                  <a:lnTo>
                    <a:pt x="122" y="112"/>
                  </a:lnTo>
                  <a:lnTo>
                    <a:pt x="125" y="109"/>
                  </a:lnTo>
                  <a:lnTo>
                    <a:pt x="126" y="105"/>
                  </a:lnTo>
                  <a:lnTo>
                    <a:pt x="128" y="102"/>
                  </a:lnTo>
                  <a:lnTo>
                    <a:pt x="126" y="100"/>
                  </a:lnTo>
                  <a:lnTo>
                    <a:pt x="125" y="100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123" y="102"/>
                  </a:lnTo>
                  <a:lnTo>
                    <a:pt x="122" y="98"/>
                  </a:lnTo>
                  <a:lnTo>
                    <a:pt x="122" y="97"/>
                  </a:lnTo>
                  <a:lnTo>
                    <a:pt x="120" y="95"/>
                  </a:lnTo>
                  <a:lnTo>
                    <a:pt x="120" y="97"/>
                  </a:lnTo>
                  <a:lnTo>
                    <a:pt x="119" y="97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3"/>
                  </a:lnTo>
                  <a:lnTo>
                    <a:pt x="112" y="108"/>
                  </a:lnTo>
                  <a:lnTo>
                    <a:pt x="111" y="111"/>
                  </a:lnTo>
                  <a:lnTo>
                    <a:pt x="111" y="111"/>
                  </a:lnTo>
                  <a:lnTo>
                    <a:pt x="111" y="109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7" y="100"/>
                  </a:lnTo>
                  <a:lnTo>
                    <a:pt x="117" y="98"/>
                  </a:lnTo>
                  <a:lnTo>
                    <a:pt x="117" y="97"/>
                  </a:lnTo>
                  <a:lnTo>
                    <a:pt x="117" y="94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6" y="88"/>
                  </a:lnTo>
                  <a:lnTo>
                    <a:pt x="114" y="86"/>
                  </a:lnTo>
                  <a:lnTo>
                    <a:pt x="114" y="85"/>
                  </a:lnTo>
                  <a:lnTo>
                    <a:pt x="112" y="85"/>
                  </a:lnTo>
                  <a:lnTo>
                    <a:pt x="111" y="85"/>
                  </a:lnTo>
                  <a:lnTo>
                    <a:pt x="108" y="91"/>
                  </a:lnTo>
                  <a:lnTo>
                    <a:pt x="106" y="88"/>
                  </a:lnTo>
                  <a:lnTo>
                    <a:pt x="108" y="85"/>
                  </a:lnTo>
                  <a:lnTo>
                    <a:pt x="106" y="81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0" y="77"/>
                  </a:lnTo>
                  <a:lnTo>
                    <a:pt x="92" y="71"/>
                  </a:lnTo>
                  <a:lnTo>
                    <a:pt x="82" y="68"/>
                  </a:lnTo>
                  <a:lnTo>
                    <a:pt x="79" y="68"/>
                  </a:lnTo>
                  <a:lnTo>
                    <a:pt x="79" y="71"/>
                  </a:lnTo>
                  <a:lnTo>
                    <a:pt x="79" y="72"/>
                  </a:lnTo>
                  <a:lnTo>
                    <a:pt x="75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4"/>
                  </a:lnTo>
                  <a:lnTo>
                    <a:pt x="71" y="75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2" y="80"/>
                  </a:lnTo>
                  <a:lnTo>
                    <a:pt x="80" y="80"/>
                  </a:lnTo>
                  <a:lnTo>
                    <a:pt x="82" y="80"/>
                  </a:lnTo>
                  <a:lnTo>
                    <a:pt x="85" y="85"/>
                  </a:lnTo>
                  <a:lnTo>
                    <a:pt x="86" y="88"/>
                  </a:lnTo>
                  <a:lnTo>
                    <a:pt x="79" y="81"/>
                  </a:lnTo>
                  <a:lnTo>
                    <a:pt x="74" y="80"/>
                  </a:lnTo>
                  <a:lnTo>
                    <a:pt x="68" y="81"/>
                  </a:lnTo>
                  <a:lnTo>
                    <a:pt x="65" y="83"/>
                  </a:lnTo>
                  <a:lnTo>
                    <a:pt x="68" y="86"/>
                  </a:lnTo>
                  <a:lnTo>
                    <a:pt x="72" y="91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7" y="95"/>
                  </a:lnTo>
                  <a:lnTo>
                    <a:pt x="80" y="97"/>
                  </a:lnTo>
                  <a:lnTo>
                    <a:pt x="82" y="97"/>
                  </a:lnTo>
                  <a:lnTo>
                    <a:pt x="83" y="98"/>
                  </a:lnTo>
                  <a:lnTo>
                    <a:pt x="86" y="105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6" y="106"/>
                  </a:lnTo>
                  <a:lnTo>
                    <a:pt x="85" y="105"/>
                  </a:lnTo>
                  <a:lnTo>
                    <a:pt x="83" y="103"/>
                  </a:lnTo>
                  <a:lnTo>
                    <a:pt x="83" y="100"/>
                  </a:lnTo>
                  <a:lnTo>
                    <a:pt x="80" y="102"/>
                  </a:lnTo>
                  <a:lnTo>
                    <a:pt x="77" y="100"/>
                  </a:lnTo>
                  <a:lnTo>
                    <a:pt x="63" y="92"/>
                  </a:lnTo>
                  <a:lnTo>
                    <a:pt x="60" y="91"/>
                  </a:lnTo>
                  <a:lnTo>
                    <a:pt x="57" y="92"/>
                  </a:lnTo>
                  <a:lnTo>
                    <a:pt x="55" y="94"/>
                  </a:lnTo>
                  <a:lnTo>
                    <a:pt x="55" y="97"/>
                  </a:lnTo>
                  <a:lnTo>
                    <a:pt x="55" y="103"/>
                  </a:lnTo>
                  <a:lnTo>
                    <a:pt x="55" y="105"/>
                  </a:lnTo>
                  <a:lnTo>
                    <a:pt x="59" y="109"/>
                  </a:lnTo>
                  <a:lnTo>
                    <a:pt x="62" y="112"/>
                  </a:lnTo>
                  <a:lnTo>
                    <a:pt x="63" y="112"/>
                  </a:lnTo>
                  <a:lnTo>
                    <a:pt x="65" y="114"/>
                  </a:lnTo>
                  <a:lnTo>
                    <a:pt x="66" y="115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80" y="125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91" y="129"/>
                  </a:lnTo>
                  <a:lnTo>
                    <a:pt x="94" y="131"/>
                  </a:lnTo>
                  <a:lnTo>
                    <a:pt x="100" y="134"/>
                  </a:lnTo>
                  <a:lnTo>
                    <a:pt x="97" y="135"/>
                  </a:lnTo>
                  <a:lnTo>
                    <a:pt x="94" y="134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77" y="126"/>
                  </a:lnTo>
                  <a:lnTo>
                    <a:pt x="72" y="128"/>
                  </a:lnTo>
                  <a:lnTo>
                    <a:pt x="71" y="128"/>
                  </a:lnTo>
                  <a:lnTo>
                    <a:pt x="69" y="126"/>
                  </a:lnTo>
                  <a:lnTo>
                    <a:pt x="66" y="123"/>
                  </a:lnTo>
                  <a:lnTo>
                    <a:pt x="65" y="122"/>
                  </a:lnTo>
                  <a:lnTo>
                    <a:pt x="60" y="122"/>
                  </a:lnTo>
                  <a:lnTo>
                    <a:pt x="55" y="118"/>
                  </a:lnTo>
                  <a:lnTo>
                    <a:pt x="54" y="118"/>
                  </a:lnTo>
                  <a:lnTo>
                    <a:pt x="51" y="122"/>
                  </a:lnTo>
                  <a:lnTo>
                    <a:pt x="51" y="128"/>
                  </a:lnTo>
                  <a:lnTo>
                    <a:pt x="52" y="134"/>
                  </a:lnTo>
                  <a:lnTo>
                    <a:pt x="55" y="138"/>
                  </a:lnTo>
                  <a:lnTo>
                    <a:pt x="59" y="143"/>
                  </a:lnTo>
                  <a:lnTo>
                    <a:pt x="60" y="145"/>
                  </a:lnTo>
                  <a:lnTo>
                    <a:pt x="62" y="146"/>
                  </a:lnTo>
                  <a:lnTo>
                    <a:pt x="65" y="145"/>
                  </a:lnTo>
                  <a:lnTo>
                    <a:pt x="68" y="146"/>
                  </a:lnTo>
                  <a:lnTo>
                    <a:pt x="71" y="149"/>
                  </a:lnTo>
                  <a:lnTo>
                    <a:pt x="91" y="149"/>
                  </a:lnTo>
                  <a:lnTo>
                    <a:pt x="94" y="146"/>
                  </a:lnTo>
                  <a:lnTo>
                    <a:pt x="97" y="145"/>
                  </a:lnTo>
                  <a:lnTo>
                    <a:pt x="102" y="145"/>
                  </a:lnTo>
                  <a:lnTo>
                    <a:pt x="100" y="146"/>
                  </a:lnTo>
                  <a:lnTo>
                    <a:pt x="97" y="148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9" y="151"/>
                  </a:lnTo>
                  <a:lnTo>
                    <a:pt x="97" y="152"/>
                  </a:lnTo>
                  <a:lnTo>
                    <a:pt x="96" y="152"/>
                  </a:lnTo>
                  <a:lnTo>
                    <a:pt x="92" y="151"/>
                  </a:lnTo>
                  <a:lnTo>
                    <a:pt x="91" y="151"/>
                  </a:lnTo>
                  <a:lnTo>
                    <a:pt x="89" y="152"/>
                  </a:lnTo>
                  <a:lnTo>
                    <a:pt x="83" y="154"/>
                  </a:lnTo>
                  <a:lnTo>
                    <a:pt x="82" y="152"/>
                  </a:lnTo>
                  <a:lnTo>
                    <a:pt x="80" y="152"/>
                  </a:lnTo>
                  <a:lnTo>
                    <a:pt x="75" y="154"/>
                  </a:lnTo>
                  <a:lnTo>
                    <a:pt x="75" y="155"/>
                  </a:lnTo>
                  <a:lnTo>
                    <a:pt x="75" y="157"/>
                  </a:lnTo>
                  <a:lnTo>
                    <a:pt x="77" y="160"/>
                  </a:lnTo>
                  <a:lnTo>
                    <a:pt x="79" y="160"/>
                  </a:lnTo>
                  <a:lnTo>
                    <a:pt x="82" y="163"/>
                  </a:lnTo>
                  <a:lnTo>
                    <a:pt x="85" y="163"/>
                  </a:lnTo>
                  <a:lnTo>
                    <a:pt x="94" y="163"/>
                  </a:lnTo>
                  <a:lnTo>
                    <a:pt x="92" y="165"/>
                  </a:lnTo>
                  <a:lnTo>
                    <a:pt x="92" y="165"/>
                  </a:lnTo>
                  <a:lnTo>
                    <a:pt x="91" y="165"/>
                  </a:lnTo>
                  <a:lnTo>
                    <a:pt x="89" y="165"/>
                  </a:lnTo>
                  <a:lnTo>
                    <a:pt x="86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6" y="169"/>
                  </a:lnTo>
                  <a:lnTo>
                    <a:pt x="86" y="169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0" y="169"/>
                  </a:lnTo>
                  <a:lnTo>
                    <a:pt x="80" y="172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74"/>
                  </a:lnTo>
                  <a:lnTo>
                    <a:pt x="74" y="175"/>
                  </a:lnTo>
                  <a:lnTo>
                    <a:pt x="72" y="174"/>
                  </a:lnTo>
                  <a:lnTo>
                    <a:pt x="72" y="171"/>
                  </a:lnTo>
                  <a:lnTo>
                    <a:pt x="74" y="169"/>
                  </a:lnTo>
                  <a:lnTo>
                    <a:pt x="74" y="168"/>
                  </a:lnTo>
                  <a:lnTo>
                    <a:pt x="72" y="165"/>
                  </a:lnTo>
                  <a:lnTo>
                    <a:pt x="72" y="163"/>
                  </a:lnTo>
                  <a:lnTo>
                    <a:pt x="71" y="162"/>
                  </a:lnTo>
                  <a:lnTo>
                    <a:pt x="69" y="158"/>
                  </a:lnTo>
                  <a:lnTo>
                    <a:pt x="68" y="158"/>
                  </a:lnTo>
                  <a:lnTo>
                    <a:pt x="37" y="140"/>
                  </a:lnTo>
                  <a:lnTo>
                    <a:pt x="34" y="140"/>
                  </a:lnTo>
                  <a:lnTo>
                    <a:pt x="31" y="143"/>
                  </a:lnTo>
                  <a:lnTo>
                    <a:pt x="31" y="145"/>
                  </a:lnTo>
                  <a:lnTo>
                    <a:pt x="32" y="148"/>
                  </a:lnTo>
                  <a:lnTo>
                    <a:pt x="31" y="149"/>
                  </a:lnTo>
                  <a:lnTo>
                    <a:pt x="32" y="152"/>
                  </a:lnTo>
                  <a:lnTo>
                    <a:pt x="35" y="158"/>
                  </a:lnTo>
                  <a:lnTo>
                    <a:pt x="37" y="162"/>
                  </a:lnTo>
                  <a:lnTo>
                    <a:pt x="39" y="163"/>
                  </a:lnTo>
                  <a:lnTo>
                    <a:pt x="43" y="165"/>
                  </a:lnTo>
                  <a:lnTo>
                    <a:pt x="46" y="168"/>
                  </a:lnTo>
                  <a:lnTo>
                    <a:pt x="49" y="169"/>
                  </a:lnTo>
                  <a:lnTo>
                    <a:pt x="52" y="171"/>
                  </a:lnTo>
                  <a:lnTo>
                    <a:pt x="54" y="172"/>
                  </a:lnTo>
                  <a:lnTo>
                    <a:pt x="55" y="175"/>
                  </a:lnTo>
                  <a:lnTo>
                    <a:pt x="52" y="175"/>
                  </a:lnTo>
                  <a:lnTo>
                    <a:pt x="46" y="171"/>
                  </a:lnTo>
                  <a:lnTo>
                    <a:pt x="34" y="168"/>
                  </a:lnTo>
                  <a:lnTo>
                    <a:pt x="35" y="171"/>
                  </a:lnTo>
                  <a:lnTo>
                    <a:pt x="39" y="174"/>
                  </a:lnTo>
                  <a:lnTo>
                    <a:pt x="40" y="177"/>
                  </a:lnTo>
                  <a:lnTo>
                    <a:pt x="43" y="182"/>
                  </a:lnTo>
                  <a:lnTo>
                    <a:pt x="45" y="182"/>
                  </a:lnTo>
                  <a:lnTo>
                    <a:pt x="46" y="185"/>
                  </a:lnTo>
                  <a:lnTo>
                    <a:pt x="48" y="186"/>
                  </a:lnTo>
                  <a:lnTo>
                    <a:pt x="49" y="188"/>
                  </a:lnTo>
                  <a:lnTo>
                    <a:pt x="49" y="189"/>
                  </a:lnTo>
                  <a:lnTo>
                    <a:pt x="52" y="189"/>
                  </a:lnTo>
                  <a:lnTo>
                    <a:pt x="55" y="189"/>
                  </a:lnTo>
                  <a:lnTo>
                    <a:pt x="51" y="191"/>
                  </a:lnTo>
                  <a:lnTo>
                    <a:pt x="49" y="191"/>
                  </a:lnTo>
                  <a:lnTo>
                    <a:pt x="46" y="191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3" y="185"/>
                  </a:lnTo>
                  <a:lnTo>
                    <a:pt x="39" y="183"/>
                  </a:lnTo>
                  <a:lnTo>
                    <a:pt x="35" y="182"/>
                  </a:lnTo>
                  <a:lnTo>
                    <a:pt x="31" y="177"/>
                  </a:lnTo>
                  <a:lnTo>
                    <a:pt x="29" y="175"/>
                  </a:lnTo>
                  <a:lnTo>
                    <a:pt x="28" y="175"/>
                  </a:lnTo>
                  <a:lnTo>
                    <a:pt x="20" y="171"/>
                  </a:lnTo>
                  <a:lnTo>
                    <a:pt x="18" y="171"/>
                  </a:lnTo>
                  <a:lnTo>
                    <a:pt x="17" y="171"/>
                  </a:lnTo>
                  <a:lnTo>
                    <a:pt x="15" y="172"/>
                  </a:lnTo>
                  <a:lnTo>
                    <a:pt x="14" y="174"/>
                  </a:lnTo>
                  <a:lnTo>
                    <a:pt x="14" y="177"/>
                  </a:lnTo>
                  <a:lnTo>
                    <a:pt x="14" y="180"/>
                  </a:lnTo>
                  <a:lnTo>
                    <a:pt x="12" y="183"/>
                  </a:lnTo>
                  <a:lnTo>
                    <a:pt x="12" y="185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91"/>
                  </a:lnTo>
                  <a:lnTo>
                    <a:pt x="5" y="192"/>
                  </a:lnTo>
                  <a:lnTo>
                    <a:pt x="0" y="194"/>
                  </a:lnTo>
                  <a:lnTo>
                    <a:pt x="2" y="197"/>
                  </a:lnTo>
                  <a:lnTo>
                    <a:pt x="5" y="197"/>
                  </a:lnTo>
                  <a:lnTo>
                    <a:pt x="26" y="195"/>
                  </a:lnTo>
                  <a:lnTo>
                    <a:pt x="37" y="200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42" y="200"/>
                  </a:lnTo>
                  <a:lnTo>
                    <a:pt x="43" y="202"/>
                  </a:lnTo>
                  <a:lnTo>
                    <a:pt x="43" y="205"/>
                  </a:lnTo>
                  <a:lnTo>
                    <a:pt x="43" y="205"/>
                  </a:lnTo>
                  <a:lnTo>
                    <a:pt x="42" y="203"/>
                  </a:lnTo>
                  <a:lnTo>
                    <a:pt x="40" y="203"/>
                  </a:lnTo>
                  <a:lnTo>
                    <a:pt x="42" y="205"/>
                  </a:lnTo>
                  <a:lnTo>
                    <a:pt x="42" y="206"/>
                  </a:lnTo>
                  <a:lnTo>
                    <a:pt x="43" y="208"/>
                  </a:lnTo>
                  <a:lnTo>
                    <a:pt x="42" y="209"/>
                  </a:lnTo>
                  <a:lnTo>
                    <a:pt x="42" y="209"/>
                  </a:lnTo>
                  <a:lnTo>
                    <a:pt x="45" y="212"/>
                  </a:lnTo>
                  <a:lnTo>
                    <a:pt x="48" y="212"/>
                  </a:lnTo>
                  <a:lnTo>
                    <a:pt x="62" y="209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6" y="202"/>
                  </a:lnTo>
                  <a:lnTo>
                    <a:pt x="66" y="200"/>
                  </a:lnTo>
                  <a:lnTo>
                    <a:pt x="69" y="202"/>
                  </a:lnTo>
                  <a:lnTo>
                    <a:pt x="79" y="199"/>
                  </a:lnTo>
                  <a:lnTo>
                    <a:pt x="83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3" y="194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4"/>
                  </a:lnTo>
                  <a:lnTo>
                    <a:pt x="88" y="195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92" y="197"/>
                  </a:lnTo>
                  <a:lnTo>
                    <a:pt x="97" y="199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0" y="194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0" y="189"/>
                  </a:lnTo>
                  <a:lnTo>
                    <a:pt x="100" y="185"/>
                  </a:lnTo>
                  <a:lnTo>
                    <a:pt x="102" y="182"/>
                  </a:lnTo>
                  <a:lnTo>
                    <a:pt x="103" y="180"/>
                  </a:lnTo>
                  <a:lnTo>
                    <a:pt x="103" y="182"/>
                  </a:lnTo>
                  <a:lnTo>
                    <a:pt x="103" y="185"/>
                  </a:lnTo>
                  <a:lnTo>
                    <a:pt x="106" y="186"/>
                  </a:lnTo>
                  <a:lnTo>
                    <a:pt x="109" y="188"/>
                  </a:lnTo>
                  <a:lnTo>
                    <a:pt x="112" y="188"/>
                  </a:lnTo>
                  <a:lnTo>
                    <a:pt x="117" y="186"/>
                  </a:lnTo>
                  <a:lnTo>
                    <a:pt x="119" y="185"/>
                  </a:lnTo>
                  <a:lnTo>
                    <a:pt x="119" y="183"/>
                  </a:lnTo>
                  <a:lnTo>
                    <a:pt x="119" y="177"/>
                  </a:lnTo>
                  <a:lnTo>
                    <a:pt x="119" y="175"/>
                  </a:lnTo>
                  <a:lnTo>
                    <a:pt x="120" y="177"/>
                  </a:lnTo>
                  <a:lnTo>
                    <a:pt x="120" y="179"/>
                  </a:lnTo>
                  <a:lnTo>
                    <a:pt x="120" y="180"/>
                  </a:lnTo>
                  <a:lnTo>
                    <a:pt x="120" y="182"/>
                  </a:lnTo>
                  <a:lnTo>
                    <a:pt x="122" y="183"/>
                  </a:lnTo>
                  <a:lnTo>
                    <a:pt x="125" y="182"/>
                  </a:lnTo>
                  <a:lnTo>
                    <a:pt x="126" y="179"/>
                  </a:lnTo>
                  <a:lnTo>
                    <a:pt x="126" y="174"/>
                  </a:lnTo>
                  <a:lnTo>
                    <a:pt x="129" y="175"/>
                  </a:lnTo>
                  <a:lnTo>
                    <a:pt x="129" y="177"/>
                  </a:lnTo>
                  <a:lnTo>
                    <a:pt x="131" y="179"/>
                  </a:lnTo>
                  <a:lnTo>
                    <a:pt x="129" y="180"/>
                  </a:lnTo>
                  <a:lnTo>
                    <a:pt x="125" y="185"/>
                  </a:lnTo>
                  <a:lnTo>
                    <a:pt x="123" y="186"/>
                  </a:lnTo>
                  <a:lnTo>
                    <a:pt x="123" y="188"/>
                  </a:lnTo>
                  <a:lnTo>
                    <a:pt x="126" y="188"/>
                  </a:lnTo>
                  <a:lnTo>
                    <a:pt x="126" y="188"/>
                  </a:lnTo>
                  <a:lnTo>
                    <a:pt x="126" y="189"/>
                  </a:lnTo>
                  <a:lnTo>
                    <a:pt x="126" y="189"/>
                  </a:lnTo>
                  <a:lnTo>
                    <a:pt x="129" y="189"/>
                  </a:lnTo>
                  <a:lnTo>
                    <a:pt x="131" y="189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1" y="192"/>
                  </a:lnTo>
                  <a:lnTo>
                    <a:pt x="131" y="194"/>
                  </a:lnTo>
                  <a:lnTo>
                    <a:pt x="132" y="194"/>
                  </a:lnTo>
                  <a:lnTo>
                    <a:pt x="134" y="195"/>
                  </a:lnTo>
                  <a:lnTo>
                    <a:pt x="136" y="195"/>
                  </a:lnTo>
                  <a:lnTo>
                    <a:pt x="137" y="194"/>
                  </a:lnTo>
                  <a:lnTo>
                    <a:pt x="134" y="180"/>
                  </a:lnTo>
                  <a:lnTo>
                    <a:pt x="134" y="179"/>
                  </a:lnTo>
                  <a:lnTo>
                    <a:pt x="132" y="174"/>
                  </a:lnTo>
                  <a:lnTo>
                    <a:pt x="132" y="172"/>
                  </a:lnTo>
                  <a:lnTo>
                    <a:pt x="132" y="172"/>
                  </a:lnTo>
                  <a:lnTo>
                    <a:pt x="134" y="172"/>
                  </a:lnTo>
                  <a:lnTo>
                    <a:pt x="136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39" y="172"/>
                  </a:lnTo>
                  <a:lnTo>
                    <a:pt x="139" y="172"/>
                  </a:lnTo>
                  <a:lnTo>
                    <a:pt x="139" y="172"/>
                  </a:lnTo>
                  <a:lnTo>
                    <a:pt x="137" y="177"/>
                  </a:lnTo>
                  <a:lnTo>
                    <a:pt x="137" y="180"/>
                  </a:lnTo>
                  <a:lnTo>
                    <a:pt x="137" y="183"/>
                  </a:lnTo>
                  <a:lnTo>
                    <a:pt x="139" y="188"/>
                  </a:lnTo>
                  <a:lnTo>
                    <a:pt x="139" y="189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2" y="189"/>
                  </a:lnTo>
                  <a:lnTo>
                    <a:pt x="142" y="188"/>
                  </a:lnTo>
                  <a:lnTo>
                    <a:pt x="143" y="183"/>
                  </a:lnTo>
                  <a:lnTo>
                    <a:pt x="143" y="183"/>
                  </a:lnTo>
                  <a:lnTo>
                    <a:pt x="145" y="188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8" y="188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49" y="182"/>
                  </a:lnTo>
                  <a:lnTo>
                    <a:pt x="148" y="179"/>
                  </a:lnTo>
                  <a:lnTo>
                    <a:pt x="148" y="175"/>
                  </a:lnTo>
                  <a:lnTo>
                    <a:pt x="148" y="174"/>
                  </a:lnTo>
                  <a:lnTo>
                    <a:pt x="148" y="172"/>
                  </a:lnTo>
                  <a:lnTo>
                    <a:pt x="149" y="171"/>
                  </a:lnTo>
                  <a:lnTo>
                    <a:pt x="149" y="174"/>
                  </a:lnTo>
                  <a:lnTo>
                    <a:pt x="151" y="180"/>
                  </a:lnTo>
                  <a:lnTo>
                    <a:pt x="152" y="183"/>
                  </a:lnTo>
                  <a:lnTo>
                    <a:pt x="152" y="185"/>
                  </a:lnTo>
                  <a:lnTo>
                    <a:pt x="152" y="188"/>
                  </a:lnTo>
                  <a:lnTo>
                    <a:pt x="152" y="191"/>
                  </a:lnTo>
                  <a:lnTo>
                    <a:pt x="152" y="194"/>
                  </a:lnTo>
                  <a:lnTo>
                    <a:pt x="154" y="194"/>
                  </a:lnTo>
                  <a:lnTo>
                    <a:pt x="159" y="192"/>
                  </a:lnTo>
                  <a:lnTo>
                    <a:pt x="159" y="191"/>
                  </a:lnTo>
                  <a:lnTo>
                    <a:pt x="160" y="189"/>
                  </a:lnTo>
                  <a:lnTo>
                    <a:pt x="159" y="188"/>
                  </a:lnTo>
                  <a:lnTo>
                    <a:pt x="159" y="186"/>
                  </a:lnTo>
                  <a:lnTo>
                    <a:pt x="160" y="186"/>
                  </a:lnTo>
                  <a:lnTo>
                    <a:pt x="162" y="188"/>
                  </a:lnTo>
                  <a:lnTo>
                    <a:pt x="162" y="188"/>
                  </a:lnTo>
                  <a:lnTo>
                    <a:pt x="163" y="188"/>
                  </a:lnTo>
                  <a:lnTo>
                    <a:pt x="165" y="185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6" y="186"/>
                  </a:lnTo>
                  <a:lnTo>
                    <a:pt x="163" y="189"/>
                  </a:lnTo>
                  <a:lnTo>
                    <a:pt x="163" y="191"/>
                  </a:lnTo>
                  <a:lnTo>
                    <a:pt x="169" y="189"/>
                  </a:lnTo>
                  <a:lnTo>
                    <a:pt x="171" y="189"/>
                  </a:lnTo>
                  <a:lnTo>
                    <a:pt x="174" y="186"/>
                  </a:lnTo>
                  <a:lnTo>
                    <a:pt x="180" y="179"/>
                  </a:lnTo>
                  <a:lnTo>
                    <a:pt x="182" y="179"/>
                  </a:lnTo>
                  <a:lnTo>
                    <a:pt x="180" y="180"/>
                  </a:lnTo>
                  <a:lnTo>
                    <a:pt x="179" y="180"/>
                  </a:lnTo>
                  <a:lnTo>
                    <a:pt x="179" y="182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8"/>
                  </a:lnTo>
                  <a:lnTo>
                    <a:pt x="177" y="188"/>
                  </a:lnTo>
                  <a:lnTo>
                    <a:pt x="176" y="188"/>
                  </a:lnTo>
                  <a:lnTo>
                    <a:pt x="173" y="191"/>
                  </a:lnTo>
                  <a:lnTo>
                    <a:pt x="163" y="192"/>
                  </a:lnTo>
                  <a:lnTo>
                    <a:pt x="162" y="194"/>
                  </a:lnTo>
                  <a:lnTo>
                    <a:pt x="160" y="197"/>
                  </a:lnTo>
                  <a:lnTo>
                    <a:pt x="162" y="199"/>
                  </a:lnTo>
                  <a:lnTo>
                    <a:pt x="165" y="200"/>
                  </a:lnTo>
                  <a:lnTo>
                    <a:pt x="169" y="205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5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80" y="200"/>
                  </a:lnTo>
                  <a:lnTo>
                    <a:pt x="180" y="199"/>
                  </a:lnTo>
                  <a:lnTo>
                    <a:pt x="182" y="195"/>
                  </a:lnTo>
                  <a:lnTo>
                    <a:pt x="182" y="194"/>
                  </a:lnTo>
                  <a:lnTo>
                    <a:pt x="182" y="191"/>
                  </a:lnTo>
                  <a:lnTo>
                    <a:pt x="182" y="192"/>
                  </a:lnTo>
                  <a:lnTo>
                    <a:pt x="183" y="195"/>
                  </a:lnTo>
                  <a:lnTo>
                    <a:pt x="185" y="197"/>
                  </a:lnTo>
                  <a:lnTo>
                    <a:pt x="185" y="199"/>
                  </a:lnTo>
                  <a:lnTo>
                    <a:pt x="186" y="199"/>
                  </a:lnTo>
                  <a:lnTo>
                    <a:pt x="186" y="197"/>
                  </a:lnTo>
                  <a:lnTo>
                    <a:pt x="186" y="195"/>
                  </a:lnTo>
                  <a:lnTo>
                    <a:pt x="188" y="195"/>
                  </a:lnTo>
                  <a:lnTo>
                    <a:pt x="188" y="195"/>
                  </a:lnTo>
                  <a:lnTo>
                    <a:pt x="189" y="194"/>
                  </a:lnTo>
                  <a:lnTo>
                    <a:pt x="191" y="194"/>
                  </a:lnTo>
                  <a:lnTo>
                    <a:pt x="191" y="197"/>
                  </a:lnTo>
                  <a:lnTo>
                    <a:pt x="193" y="199"/>
                  </a:lnTo>
                  <a:lnTo>
                    <a:pt x="194" y="202"/>
                  </a:lnTo>
                  <a:lnTo>
                    <a:pt x="193" y="203"/>
                  </a:lnTo>
                  <a:lnTo>
                    <a:pt x="191" y="206"/>
                  </a:lnTo>
                  <a:lnTo>
                    <a:pt x="193" y="206"/>
                  </a:lnTo>
                  <a:lnTo>
                    <a:pt x="197" y="205"/>
                  </a:lnTo>
                  <a:lnTo>
                    <a:pt x="203" y="206"/>
                  </a:lnTo>
                  <a:lnTo>
                    <a:pt x="205" y="206"/>
                  </a:lnTo>
                  <a:lnTo>
                    <a:pt x="213" y="203"/>
                  </a:lnTo>
                  <a:lnTo>
                    <a:pt x="211" y="205"/>
                  </a:lnTo>
                  <a:lnTo>
                    <a:pt x="208" y="206"/>
                  </a:lnTo>
                  <a:lnTo>
                    <a:pt x="199" y="209"/>
                  </a:lnTo>
                  <a:lnTo>
                    <a:pt x="194" y="212"/>
                  </a:lnTo>
                  <a:lnTo>
                    <a:pt x="194" y="212"/>
                  </a:lnTo>
                  <a:lnTo>
                    <a:pt x="194" y="215"/>
                  </a:lnTo>
                  <a:lnTo>
                    <a:pt x="194" y="215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89" y="217"/>
                  </a:lnTo>
                  <a:lnTo>
                    <a:pt x="185" y="219"/>
                  </a:lnTo>
                  <a:lnTo>
                    <a:pt x="182" y="223"/>
                  </a:lnTo>
                  <a:lnTo>
                    <a:pt x="174" y="228"/>
                  </a:lnTo>
                  <a:lnTo>
                    <a:pt x="166" y="231"/>
                  </a:lnTo>
                  <a:lnTo>
                    <a:pt x="165" y="232"/>
                  </a:lnTo>
                  <a:lnTo>
                    <a:pt x="162" y="235"/>
                  </a:lnTo>
                  <a:lnTo>
                    <a:pt x="162" y="237"/>
                  </a:lnTo>
                  <a:lnTo>
                    <a:pt x="159" y="237"/>
                  </a:lnTo>
                  <a:lnTo>
                    <a:pt x="157" y="237"/>
                  </a:lnTo>
                  <a:lnTo>
                    <a:pt x="159" y="240"/>
                  </a:lnTo>
                  <a:lnTo>
                    <a:pt x="157" y="242"/>
                  </a:lnTo>
                  <a:lnTo>
                    <a:pt x="152" y="243"/>
                  </a:lnTo>
                  <a:lnTo>
                    <a:pt x="151" y="246"/>
                  </a:lnTo>
                  <a:lnTo>
                    <a:pt x="149" y="249"/>
                  </a:lnTo>
                  <a:lnTo>
                    <a:pt x="148" y="251"/>
                  </a:lnTo>
                  <a:lnTo>
                    <a:pt x="152" y="249"/>
                  </a:lnTo>
                  <a:lnTo>
                    <a:pt x="154" y="249"/>
                  </a:lnTo>
                  <a:lnTo>
                    <a:pt x="156" y="251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4" y="252"/>
                  </a:lnTo>
                  <a:lnTo>
                    <a:pt x="152" y="251"/>
                  </a:lnTo>
                  <a:lnTo>
                    <a:pt x="151" y="252"/>
                  </a:lnTo>
                  <a:lnTo>
                    <a:pt x="149" y="254"/>
                  </a:lnTo>
                  <a:lnTo>
                    <a:pt x="148" y="254"/>
                  </a:lnTo>
                  <a:lnTo>
                    <a:pt x="149" y="256"/>
                  </a:lnTo>
                  <a:lnTo>
                    <a:pt x="151" y="257"/>
                  </a:lnTo>
                  <a:lnTo>
                    <a:pt x="159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66" y="260"/>
                  </a:lnTo>
                  <a:lnTo>
                    <a:pt x="188" y="263"/>
                  </a:lnTo>
                  <a:lnTo>
                    <a:pt x="191" y="262"/>
                  </a:lnTo>
                  <a:lnTo>
                    <a:pt x="202" y="252"/>
                  </a:lnTo>
                  <a:lnTo>
                    <a:pt x="202" y="251"/>
                  </a:lnTo>
                  <a:lnTo>
                    <a:pt x="202" y="251"/>
                  </a:lnTo>
                  <a:lnTo>
                    <a:pt x="202" y="249"/>
                  </a:lnTo>
                  <a:lnTo>
                    <a:pt x="203" y="248"/>
                  </a:lnTo>
                  <a:lnTo>
                    <a:pt x="206" y="248"/>
                  </a:lnTo>
                  <a:lnTo>
                    <a:pt x="209" y="249"/>
                  </a:lnTo>
                  <a:lnTo>
                    <a:pt x="209" y="256"/>
                  </a:lnTo>
                  <a:lnTo>
                    <a:pt x="206" y="265"/>
                  </a:lnTo>
                  <a:lnTo>
                    <a:pt x="205" y="268"/>
                  </a:lnTo>
                  <a:lnTo>
                    <a:pt x="203" y="268"/>
                  </a:lnTo>
                  <a:lnTo>
                    <a:pt x="203" y="269"/>
                  </a:lnTo>
                  <a:lnTo>
                    <a:pt x="202" y="269"/>
                  </a:lnTo>
                  <a:lnTo>
                    <a:pt x="202" y="272"/>
                  </a:lnTo>
                  <a:lnTo>
                    <a:pt x="203" y="272"/>
                  </a:lnTo>
                  <a:lnTo>
                    <a:pt x="205" y="274"/>
                  </a:lnTo>
                  <a:lnTo>
                    <a:pt x="205" y="277"/>
                  </a:lnTo>
                  <a:lnTo>
                    <a:pt x="203" y="279"/>
                  </a:lnTo>
                  <a:lnTo>
                    <a:pt x="194" y="279"/>
                  </a:lnTo>
                  <a:lnTo>
                    <a:pt x="193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89" y="279"/>
                  </a:lnTo>
                  <a:lnTo>
                    <a:pt x="188" y="277"/>
                  </a:lnTo>
                  <a:lnTo>
                    <a:pt x="186" y="277"/>
                  </a:lnTo>
                  <a:lnTo>
                    <a:pt x="180" y="277"/>
                  </a:lnTo>
                  <a:lnTo>
                    <a:pt x="180" y="277"/>
                  </a:lnTo>
                  <a:lnTo>
                    <a:pt x="179" y="279"/>
                  </a:lnTo>
                  <a:lnTo>
                    <a:pt x="179" y="279"/>
                  </a:lnTo>
                  <a:lnTo>
                    <a:pt x="171" y="276"/>
                  </a:lnTo>
                  <a:lnTo>
                    <a:pt x="162" y="274"/>
                  </a:lnTo>
                  <a:lnTo>
                    <a:pt x="156" y="276"/>
                  </a:lnTo>
                  <a:lnTo>
                    <a:pt x="149" y="276"/>
                  </a:lnTo>
                  <a:lnTo>
                    <a:pt x="148" y="276"/>
                  </a:lnTo>
                  <a:lnTo>
                    <a:pt x="148" y="279"/>
                  </a:lnTo>
                  <a:lnTo>
                    <a:pt x="146" y="279"/>
                  </a:lnTo>
                  <a:lnTo>
                    <a:pt x="145" y="279"/>
                  </a:lnTo>
                  <a:lnTo>
                    <a:pt x="143" y="282"/>
                  </a:lnTo>
                  <a:lnTo>
                    <a:pt x="145" y="285"/>
                  </a:lnTo>
                  <a:lnTo>
                    <a:pt x="146" y="286"/>
                  </a:lnTo>
                  <a:lnTo>
                    <a:pt x="146" y="286"/>
                  </a:lnTo>
                  <a:lnTo>
                    <a:pt x="146" y="288"/>
                  </a:lnTo>
                  <a:lnTo>
                    <a:pt x="145" y="286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39" y="282"/>
                  </a:lnTo>
                  <a:lnTo>
                    <a:pt x="139" y="279"/>
                  </a:lnTo>
                  <a:lnTo>
                    <a:pt x="137" y="279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4" y="279"/>
                  </a:lnTo>
                  <a:lnTo>
                    <a:pt x="134" y="279"/>
                  </a:lnTo>
                  <a:lnTo>
                    <a:pt x="137" y="277"/>
                  </a:lnTo>
                  <a:lnTo>
                    <a:pt x="139" y="276"/>
                  </a:lnTo>
                  <a:lnTo>
                    <a:pt x="137" y="276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9" y="272"/>
                  </a:lnTo>
                  <a:lnTo>
                    <a:pt x="137" y="272"/>
                  </a:lnTo>
                  <a:lnTo>
                    <a:pt x="136" y="272"/>
                  </a:lnTo>
                  <a:lnTo>
                    <a:pt x="136" y="271"/>
                  </a:lnTo>
                  <a:lnTo>
                    <a:pt x="137" y="271"/>
                  </a:lnTo>
                  <a:lnTo>
                    <a:pt x="134" y="271"/>
                  </a:lnTo>
                  <a:lnTo>
                    <a:pt x="128" y="277"/>
                  </a:lnTo>
                  <a:lnTo>
                    <a:pt x="125" y="279"/>
                  </a:lnTo>
                  <a:lnTo>
                    <a:pt x="125" y="279"/>
                  </a:lnTo>
                  <a:lnTo>
                    <a:pt x="129" y="279"/>
                  </a:lnTo>
                  <a:lnTo>
                    <a:pt x="131" y="279"/>
                  </a:lnTo>
                  <a:lnTo>
                    <a:pt x="126" y="282"/>
                  </a:lnTo>
                  <a:lnTo>
                    <a:pt x="122" y="283"/>
                  </a:lnTo>
                  <a:lnTo>
                    <a:pt x="120" y="285"/>
                  </a:lnTo>
                  <a:lnTo>
                    <a:pt x="120" y="286"/>
                  </a:lnTo>
                  <a:lnTo>
                    <a:pt x="119" y="283"/>
                  </a:lnTo>
                  <a:lnTo>
                    <a:pt x="116" y="282"/>
                  </a:lnTo>
                  <a:lnTo>
                    <a:pt x="114" y="282"/>
                  </a:lnTo>
                  <a:lnTo>
                    <a:pt x="111" y="285"/>
                  </a:lnTo>
                  <a:lnTo>
                    <a:pt x="111" y="286"/>
                  </a:lnTo>
                  <a:lnTo>
                    <a:pt x="111" y="288"/>
                  </a:lnTo>
                  <a:lnTo>
                    <a:pt x="111" y="289"/>
                  </a:lnTo>
                  <a:lnTo>
                    <a:pt x="109" y="289"/>
                  </a:lnTo>
                  <a:lnTo>
                    <a:pt x="108" y="289"/>
                  </a:lnTo>
                  <a:lnTo>
                    <a:pt x="108" y="289"/>
                  </a:lnTo>
                  <a:lnTo>
                    <a:pt x="108" y="292"/>
                  </a:lnTo>
                  <a:lnTo>
                    <a:pt x="106" y="294"/>
                  </a:lnTo>
                  <a:lnTo>
                    <a:pt x="106" y="296"/>
                  </a:lnTo>
                  <a:lnTo>
                    <a:pt x="108" y="299"/>
                  </a:lnTo>
                  <a:lnTo>
                    <a:pt x="103" y="292"/>
                  </a:lnTo>
                  <a:lnTo>
                    <a:pt x="103" y="291"/>
                  </a:lnTo>
                  <a:lnTo>
                    <a:pt x="105" y="289"/>
                  </a:lnTo>
                  <a:lnTo>
                    <a:pt x="105" y="289"/>
                  </a:lnTo>
                  <a:lnTo>
                    <a:pt x="106" y="289"/>
                  </a:lnTo>
                  <a:lnTo>
                    <a:pt x="105" y="288"/>
                  </a:lnTo>
                  <a:lnTo>
                    <a:pt x="105" y="286"/>
                  </a:lnTo>
                  <a:lnTo>
                    <a:pt x="108" y="285"/>
                  </a:lnTo>
                  <a:lnTo>
                    <a:pt x="108" y="283"/>
                  </a:lnTo>
                  <a:lnTo>
                    <a:pt x="109" y="282"/>
                  </a:lnTo>
                  <a:lnTo>
                    <a:pt x="103" y="280"/>
                  </a:lnTo>
                  <a:lnTo>
                    <a:pt x="100" y="282"/>
                  </a:lnTo>
                  <a:lnTo>
                    <a:pt x="97" y="283"/>
                  </a:lnTo>
                  <a:lnTo>
                    <a:pt x="97" y="286"/>
                  </a:lnTo>
                  <a:lnTo>
                    <a:pt x="97" y="289"/>
                  </a:lnTo>
                  <a:lnTo>
                    <a:pt x="99" y="291"/>
                  </a:lnTo>
                  <a:lnTo>
                    <a:pt x="99" y="292"/>
                  </a:lnTo>
                  <a:lnTo>
                    <a:pt x="99" y="296"/>
                  </a:lnTo>
                  <a:lnTo>
                    <a:pt x="97" y="297"/>
                  </a:lnTo>
                  <a:lnTo>
                    <a:pt x="96" y="297"/>
                  </a:lnTo>
                  <a:lnTo>
                    <a:pt x="94" y="296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89" y="294"/>
                  </a:lnTo>
                  <a:lnTo>
                    <a:pt x="89" y="291"/>
                  </a:lnTo>
                  <a:lnTo>
                    <a:pt x="89" y="289"/>
                  </a:lnTo>
                  <a:lnTo>
                    <a:pt x="86" y="289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2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0" y="292"/>
                  </a:lnTo>
                  <a:lnTo>
                    <a:pt x="77" y="294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1" y="299"/>
                  </a:lnTo>
                  <a:lnTo>
                    <a:pt x="69" y="299"/>
                  </a:lnTo>
                  <a:lnTo>
                    <a:pt x="68" y="302"/>
                  </a:lnTo>
                  <a:lnTo>
                    <a:pt x="68" y="302"/>
                  </a:lnTo>
                  <a:lnTo>
                    <a:pt x="60" y="300"/>
                  </a:lnTo>
                  <a:lnTo>
                    <a:pt x="54" y="297"/>
                  </a:lnTo>
                  <a:lnTo>
                    <a:pt x="52" y="297"/>
                  </a:lnTo>
                  <a:lnTo>
                    <a:pt x="45" y="299"/>
                  </a:lnTo>
                  <a:lnTo>
                    <a:pt x="43" y="300"/>
                  </a:lnTo>
                  <a:lnTo>
                    <a:pt x="40" y="303"/>
                  </a:lnTo>
                  <a:lnTo>
                    <a:pt x="39" y="303"/>
                  </a:lnTo>
                  <a:lnTo>
                    <a:pt x="37" y="302"/>
                  </a:lnTo>
                  <a:lnTo>
                    <a:pt x="37" y="303"/>
                  </a:lnTo>
                  <a:lnTo>
                    <a:pt x="39" y="311"/>
                  </a:lnTo>
                  <a:lnTo>
                    <a:pt x="40" y="314"/>
                  </a:lnTo>
                  <a:lnTo>
                    <a:pt x="42" y="317"/>
                  </a:lnTo>
                  <a:lnTo>
                    <a:pt x="45" y="322"/>
                  </a:lnTo>
                  <a:lnTo>
                    <a:pt x="45" y="323"/>
                  </a:lnTo>
                  <a:lnTo>
                    <a:pt x="45" y="326"/>
                  </a:lnTo>
                  <a:lnTo>
                    <a:pt x="46" y="326"/>
                  </a:lnTo>
                  <a:lnTo>
                    <a:pt x="46" y="328"/>
                  </a:lnTo>
                  <a:lnTo>
                    <a:pt x="48" y="329"/>
                  </a:lnTo>
                  <a:lnTo>
                    <a:pt x="54" y="333"/>
                  </a:lnTo>
                  <a:lnTo>
                    <a:pt x="55" y="333"/>
                  </a:lnTo>
                  <a:lnTo>
                    <a:pt x="59" y="329"/>
                  </a:lnTo>
                  <a:lnTo>
                    <a:pt x="60" y="329"/>
                  </a:lnTo>
                  <a:lnTo>
                    <a:pt x="65" y="329"/>
                  </a:lnTo>
                  <a:lnTo>
                    <a:pt x="68" y="328"/>
                  </a:lnTo>
                  <a:lnTo>
                    <a:pt x="68" y="323"/>
                  </a:lnTo>
                  <a:lnTo>
                    <a:pt x="69" y="320"/>
                  </a:lnTo>
                  <a:lnTo>
                    <a:pt x="71" y="317"/>
                  </a:lnTo>
                  <a:lnTo>
                    <a:pt x="74" y="316"/>
                  </a:lnTo>
                  <a:lnTo>
                    <a:pt x="75" y="316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2" y="317"/>
                  </a:lnTo>
                  <a:lnTo>
                    <a:pt x="82" y="320"/>
                  </a:lnTo>
                  <a:lnTo>
                    <a:pt x="82" y="320"/>
                  </a:lnTo>
                  <a:lnTo>
                    <a:pt x="83" y="320"/>
                  </a:lnTo>
                  <a:lnTo>
                    <a:pt x="83" y="319"/>
                  </a:lnTo>
                  <a:lnTo>
                    <a:pt x="85" y="319"/>
                  </a:lnTo>
                  <a:lnTo>
                    <a:pt x="86" y="316"/>
                  </a:lnTo>
                  <a:lnTo>
                    <a:pt x="86" y="316"/>
                  </a:lnTo>
                  <a:lnTo>
                    <a:pt x="92" y="314"/>
                  </a:lnTo>
                  <a:lnTo>
                    <a:pt x="97" y="314"/>
                  </a:lnTo>
                  <a:lnTo>
                    <a:pt x="102" y="319"/>
                  </a:lnTo>
                  <a:lnTo>
                    <a:pt x="111" y="319"/>
                  </a:lnTo>
                  <a:lnTo>
                    <a:pt x="120" y="319"/>
                  </a:lnTo>
                  <a:lnTo>
                    <a:pt x="129" y="320"/>
                  </a:lnTo>
                  <a:lnTo>
                    <a:pt x="129" y="320"/>
                  </a:lnTo>
                  <a:lnTo>
                    <a:pt x="131" y="320"/>
                  </a:lnTo>
                  <a:lnTo>
                    <a:pt x="136" y="323"/>
                  </a:lnTo>
                  <a:lnTo>
                    <a:pt x="137" y="323"/>
                  </a:lnTo>
                  <a:lnTo>
                    <a:pt x="137" y="322"/>
                  </a:lnTo>
                  <a:lnTo>
                    <a:pt x="132" y="320"/>
                  </a:lnTo>
                  <a:lnTo>
                    <a:pt x="132" y="319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2" y="320"/>
                  </a:lnTo>
                  <a:lnTo>
                    <a:pt x="142" y="322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0" y="323"/>
                  </a:lnTo>
                  <a:lnTo>
                    <a:pt x="139" y="323"/>
                  </a:lnTo>
                  <a:lnTo>
                    <a:pt x="140" y="325"/>
                  </a:lnTo>
                  <a:lnTo>
                    <a:pt x="148" y="323"/>
                  </a:lnTo>
                  <a:lnTo>
                    <a:pt x="146" y="323"/>
                  </a:lnTo>
                  <a:lnTo>
                    <a:pt x="145" y="322"/>
                  </a:lnTo>
                  <a:lnTo>
                    <a:pt x="145" y="322"/>
                  </a:lnTo>
                  <a:lnTo>
                    <a:pt x="146" y="320"/>
                  </a:lnTo>
                  <a:lnTo>
                    <a:pt x="149" y="319"/>
                  </a:lnTo>
                  <a:lnTo>
                    <a:pt x="149" y="317"/>
                  </a:lnTo>
                  <a:lnTo>
                    <a:pt x="154" y="319"/>
                  </a:lnTo>
                  <a:lnTo>
                    <a:pt x="154" y="317"/>
                  </a:lnTo>
                  <a:lnTo>
                    <a:pt x="156" y="317"/>
                  </a:lnTo>
                  <a:lnTo>
                    <a:pt x="156" y="317"/>
                  </a:lnTo>
                  <a:lnTo>
                    <a:pt x="156" y="317"/>
                  </a:lnTo>
                  <a:lnTo>
                    <a:pt x="157" y="319"/>
                  </a:lnTo>
                  <a:lnTo>
                    <a:pt x="157" y="317"/>
                  </a:lnTo>
                  <a:lnTo>
                    <a:pt x="159" y="316"/>
                  </a:lnTo>
                  <a:lnTo>
                    <a:pt x="159" y="316"/>
                  </a:lnTo>
                  <a:lnTo>
                    <a:pt x="159" y="316"/>
                  </a:lnTo>
                  <a:lnTo>
                    <a:pt x="159" y="317"/>
                  </a:lnTo>
                  <a:lnTo>
                    <a:pt x="157" y="320"/>
                  </a:lnTo>
                  <a:lnTo>
                    <a:pt x="157" y="322"/>
                  </a:lnTo>
                  <a:lnTo>
                    <a:pt x="159" y="322"/>
                  </a:lnTo>
                  <a:lnTo>
                    <a:pt x="157" y="325"/>
                  </a:lnTo>
                  <a:lnTo>
                    <a:pt x="162" y="325"/>
                  </a:lnTo>
                  <a:lnTo>
                    <a:pt x="165" y="325"/>
                  </a:lnTo>
                  <a:lnTo>
                    <a:pt x="166" y="328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5" y="331"/>
                  </a:lnTo>
                  <a:lnTo>
                    <a:pt x="163" y="333"/>
                  </a:lnTo>
                  <a:lnTo>
                    <a:pt x="163" y="334"/>
                  </a:lnTo>
                  <a:lnTo>
                    <a:pt x="162" y="336"/>
                  </a:lnTo>
                  <a:lnTo>
                    <a:pt x="159" y="339"/>
                  </a:lnTo>
                  <a:lnTo>
                    <a:pt x="159" y="339"/>
                  </a:lnTo>
                  <a:lnTo>
                    <a:pt x="160" y="340"/>
                  </a:lnTo>
                  <a:lnTo>
                    <a:pt x="162" y="339"/>
                  </a:lnTo>
                  <a:lnTo>
                    <a:pt x="165" y="337"/>
                  </a:lnTo>
                  <a:lnTo>
                    <a:pt x="166" y="336"/>
                  </a:lnTo>
                  <a:lnTo>
                    <a:pt x="168" y="336"/>
                  </a:lnTo>
                  <a:lnTo>
                    <a:pt x="171" y="334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4" y="334"/>
                  </a:lnTo>
                  <a:lnTo>
                    <a:pt x="165" y="339"/>
                  </a:lnTo>
                  <a:lnTo>
                    <a:pt x="165" y="339"/>
                  </a:lnTo>
                  <a:lnTo>
                    <a:pt x="165" y="339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5" y="342"/>
                  </a:lnTo>
                  <a:lnTo>
                    <a:pt x="163" y="343"/>
                  </a:lnTo>
                  <a:lnTo>
                    <a:pt x="163" y="345"/>
                  </a:lnTo>
                  <a:lnTo>
                    <a:pt x="165" y="345"/>
                  </a:lnTo>
                  <a:lnTo>
                    <a:pt x="163" y="346"/>
                  </a:lnTo>
                  <a:lnTo>
                    <a:pt x="160" y="345"/>
                  </a:lnTo>
                  <a:lnTo>
                    <a:pt x="159" y="343"/>
                  </a:lnTo>
                  <a:lnTo>
                    <a:pt x="157" y="343"/>
                  </a:lnTo>
                  <a:lnTo>
                    <a:pt x="157" y="345"/>
                  </a:lnTo>
                  <a:lnTo>
                    <a:pt x="159" y="346"/>
                  </a:lnTo>
                  <a:lnTo>
                    <a:pt x="160" y="346"/>
                  </a:lnTo>
                  <a:lnTo>
                    <a:pt x="160" y="348"/>
                  </a:lnTo>
                  <a:lnTo>
                    <a:pt x="162" y="348"/>
                  </a:lnTo>
                  <a:lnTo>
                    <a:pt x="162" y="349"/>
                  </a:lnTo>
                  <a:lnTo>
                    <a:pt x="163" y="351"/>
                  </a:lnTo>
                  <a:lnTo>
                    <a:pt x="163" y="351"/>
                  </a:lnTo>
                  <a:lnTo>
                    <a:pt x="163" y="353"/>
                  </a:lnTo>
                  <a:lnTo>
                    <a:pt x="163" y="354"/>
                  </a:lnTo>
                  <a:lnTo>
                    <a:pt x="163" y="357"/>
                  </a:lnTo>
                  <a:lnTo>
                    <a:pt x="163" y="360"/>
                  </a:lnTo>
                  <a:lnTo>
                    <a:pt x="165" y="362"/>
                  </a:lnTo>
                  <a:lnTo>
                    <a:pt x="166" y="362"/>
                  </a:lnTo>
                  <a:lnTo>
                    <a:pt x="168" y="360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62"/>
                  </a:lnTo>
                  <a:lnTo>
                    <a:pt x="171" y="362"/>
                  </a:lnTo>
                  <a:lnTo>
                    <a:pt x="171" y="362"/>
                  </a:lnTo>
                  <a:lnTo>
                    <a:pt x="173" y="362"/>
                  </a:lnTo>
                  <a:lnTo>
                    <a:pt x="173" y="362"/>
                  </a:lnTo>
                  <a:lnTo>
                    <a:pt x="173" y="363"/>
                  </a:lnTo>
                  <a:lnTo>
                    <a:pt x="173" y="363"/>
                  </a:lnTo>
                  <a:lnTo>
                    <a:pt x="173" y="365"/>
                  </a:lnTo>
                  <a:lnTo>
                    <a:pt x="173" y="366"/>
                  </a:lnTo>
                  <a:lnTo>
                    <a:pt x="173" y="368"/>
                  </a:lnTo>
                  <a:lnTo>
                    <a:pt x="171" y="371"/>
                  </a:lnTo>
                  <a:lnTo>
                    <a:pt x="171" y="374"/>
                  </a:lnTo>
                  <a:lnTo>
                    <a:pt x="171" y="373"/>
                  </a:lnTo>
                  <a:lnTo>
                    <a:pt x="173" y="373"/>
                  </a:lnTo>
                  <a:lnTo>
                    <a:pt x="173" y="373"/>
                  </a:lnTo>
                  <a:lnTo>
                    <a:pt x="173" y="371"/>
                  </a:lnTo>
                  <a:lnTo>
                    <a:pt x="174" y="374"/>
                  </a:lnTo>
                  <a:lnTo>
                    <a:pt x="176" y="376"/>
                  </a:lnTo>
                  <a:lnTo>
                    <a:pt x="176" y="377"/>
                  </a:lnTo>
                  <a:lnTo>
                    <a:pt x="177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7"/>
                  </a:lnTo>
                  <a:lnTo>
                    <a:pt x="180" y="377"/>
                  </a:lnTo>
                  <a:lnTo>
                    <a:pt x="180" y="376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3" y="374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6" y="368"/>
                  </a:lnTo>
                  <a:lnTo>
                    <a:pt x="186" y="366"/>
                  </a:lnTo>
                  <a:lnTo>
                    <a:pt x="186" y="365"/>
                  </a:lnTo>
                  <a:lnTo>
                    <a:pt x="186" y="362"/>
                  </a:lnTo>
                  <a:lnTo>
                    <a:pt x="186" y="360"/>
                  </a:lnTo>
                  <a:lnTo>
                    <a:pt x="188" y="359"/>
                  </a:lnTo>
                  <a:lnTo>
                    <a:pt x="188" y="363"/>
                  </a:lnTo>
                  <a:lnTo>
                    <a:pt x="186" y="365"/>
                  </a:lnTo>
                  <a:lnTo>
                    <a:pt x="188" y="366"/>
                  </a:lnTo>
                  <a:lnTo>
                    <a:pt x="189" y="366"/>
                  </a:lnTo>
                  <a:lnTo>
                    <a:pt x="191" y="366"/>
                  </a:lnTo>
                  <a:lnTo>
                    <a:pt x="193" y="365"/>
                  </a:lnTo>
                  <a:lnTo>
                    <a:pt x="196" y="360"/>
                  </a:lnTo>
                  <a:lnTo>
                    <a:pt x="199" y="360"/>
                  </a:lnTo>
                  <a:lnTo>
                    <a:pt x="200" y="360"/>
                  </a:lnTo>
                  <a:lnTo>
                    <a:pt x="200" y="359"/>
                  </a:lnTo>
                  <a:lnTo>
                    <a:pt x="202" y="357"/>
                  </a:lnTo>
                  <a:lnTo>
                    <a:pt x="205" y="356"/>
                  </a:lnTo>
                  <a:lnTo>
                    <a:pt x="208" y="353"/>
                  </a:lnTo>
                  <a:lnTo>
                    <a:pt x="209" y="353"/>
                  </a:lnTo>
                  <a:lnTo>
                    <a:pt x="209" y="351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6" y="343"/>
                  </a:lnTo>
                  <a:lnTo>
                    <a:pt x="214" y="345"/>
                  </a:lnTo>
                  <a:lnTo>
                    <a:pt x="214" y="345"/>
                  </a:lnTo>
                  <a:lnTo>
                    <a:pt x="213" y="348"/>
                  </a:lnTo>
                  <a:lnTo>
                    <a:pt x="213" y="348"/>
                  </a:lnTo>
                  <a:lnTo>
                    <a:pt x="214" y="348"/>
                  </a:lnTo>
                  <a:lnTo>
                    <a:pt x="219" y="343"/>
                  </a:lnTo>
                  <a:lnTo>
                    <a:pt x="220" y="343"/>
                  </a:lnTo>
                  <a:lnTo>
                    <a:pt x="226" y="345"/>
                  </a:lnTo>
                  <a:lnTo>
                    <a:pt x="226" y="346"/>
                  </a:lnTo>
                  <a:lnTo>
                    <a:pt x="220" y="345"/>
                  </a:lnTo>
                  <a:lnTo>
                    <a:pt x="219" y="346"/>
                  </a:lnTo>
                  <a:lnTo>
                    <a:pt x="217" y="348"/>
                  </a:lnTo>
                  <a:lnTo>
                    <a:pt x="214" y="349"/>
                  </a:lnTo>
                  <a:lnTo>
                    <a:pt x="214" y="351"/>
                  </a:lnTo>
                  <a:lnTo>
                    <a:pt x="222" y="351"/>
                  </a:lnTo>
                  <a:lnTo>
                    <a:pt x="222" y="353"/>
                  </a:lnTo>
                  <a:lnTo>
                    <a:pt x="219" y="354"/>
                  </a:lnTo>
                  <a:lnTo>
                    <a:pt x="219" y="354"/>
                  </a:lnTo>
                  <a:lnTo>
                    <a:pt x="220" y="357"/>
                  </a:lnTo>
                  <a:lnTo>
                    <a:pt x="222" y="359"/>
                  </a:lnTo>
                  <a:lnTo>
                    <a:pt x="223" y="359"/>
                  </a:lnTo>
                  <a:lnTo>
                    <a:pt x="226" y="359"/>
                  </a:lnTo>
                  <a:lnTo>
                    <a:pt x="228" y="359"/>
                  </a:lnTo>
                  <a:lnTo>
                    <a:pt x="220" y="359"/>
                  </a:lnTo>
                  <a:lnTo>
                    <a:pt x="220" y="357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6" y="356"/>
                  </a:lnTo>
                  <a:lnTo>
                    <a:pt x="216" y="353"/>
                  </a:lnTo>
                  <a:lnTo>
                    <a:pt x="213" y="353"/>
                  </a:lnTo>
                  <a:lnTo>
                    <a:pt x="213" y="353"/>
                  </a:lnTo>
                  <a:lnTo>
                    <a:pt x="211" y="353"/>
                  </a:lnTo>
                  <a:lnTo>
                    <a:pt x="209" y="354"/>
                  </a:lnTo>
                  <a:lnTo>
                    <a:pt x="208" y="356"/>
                  </a:lnTo>
                  <a:lnTo>
                    <a:pt x="205" y="359"/>
                  </a:lnTo>
                  <a:lnTo>
                    <a:pt x="203" y="360"/>
                  </a:lnTo>
                  <a:lnTo>
                    <a:pt x="203" y="362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206" y="363"/>
                  </a:lnTo>
                  <a:lnTo>
                    <a:pt x="206" y="365"/>
                  </a:lnTo>
                  <a:lnTo>
                    <a:pt x="202" y="365"/>
                  </a:lnTo>
                  <a:lnTo>
                    <a:pt x="194" y="369"/>
                  </a:lnTo>
                  <a:lnTo>
                    <a:pt x="191" y="371"/>
                  </a:lnTo>
                  <a:lnTo>
                    <a:pt x="191" y="373"/>
                  </a:lnTo>
                  <a:lnTo>
                    <a:pt x="191" y="374"/>
                  </a:lnTo>
                  <a:lnTo>
                    <a:pt x="189" y="376"/>
                  </a:lnTo>
                  <a:lnTo>
                    <a:pt x="189" y="379"/>
                  </a:lnTo>
                  <a:lnTo>
                    <a:pt x="189" y="379"/>
                  </a:lnTo>
                  <a:lnTo>
                    <a:pt x="188" y="379"/>
                  </a:lnTo>
                  <a:lnTo>
                    <a:pt x="188" y="379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8" y="386"/>
                  </a:lnTo>
                  <a:lnTo>
                    <a:pt x="186" y="388"/>
                  </a:lnTo>
                  <a:lnTo>
                    <a:pt x="188" y="391"/>
                  </a:lnTo>
                  <a:lnTo>
                    <a:pt x="189" y="391"/>
                  </a:lnTo>
                  <a:lnTo>
                    <a:pt x="189" y="391"/>
                  </a:lnTo>
                  <a:lnTo>
                    <a:pt x="191" y="389"/>
                  </a:lnTo>
                  <a:lnTo>
                    <a:pt x="194" y="389"/>
                  </a:lnTo>
                  <a:lnTo>
                    <a:pt x="200" y="389"/>
                  </a:lnTo>
                  <a:lnTo>
                    <a:pt x="199" y="391"/>
                  </a:lnTo>
                  <a:lnTo>
                    <a:pt x="196" y="393"/>
                  </a:lnTo>
                  <a:lnTo>
                    <a:pt x="194" y="394"/>
                  </a:lnTo>
                  <a:lnTo>
                    <a:pt x="193" y="393"/>
                  </a:lnTo>
                  <a:lnTo>
                    <a:pt x="191" y="394"/>
                  </a:lnTo>
                  <a:lnTo>
                    <a:pt x="188" y="397"/>
                  </a:lnTo>
                  <a:lnTo>
                    <a:pt x="185" y="400"/>
                  </a:lnTo>
                  <a:lnTo>
                    <a:pt x="182" y="402"/>
                  </a:lnTo>
                  <a:lnTo>
                    <a:pt x="182" y="403"/>
                  </a:lnTo>
                  <a:lnTo>
                    <a:pt x="189" y="406"/>
                  </a:lnTo>
                  <a:lnTo>
                    <a:pt x="193" y="406"/>
                  </a:lnTo>
                  <a:lnTo>
                    <a:pt x="196" y="403"/>
                  </a:lnTo>
                  <a:lnTo>
                    <a:pt x="196" y="402"/>
                  </a:lnTo>
                  <a:lnTo>
                    <a:pt x="200" y="400"/>
                  </a:lnTo>
                  <a:lnTo>
                    <a:pt x="200" y="399"/>
                  </a:lnTo>
                  <a:lnTo>
                    <a:pt x="202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05" y="397"/>
                  </a:lnTo>
                  <a:lnTo>
                    <a:pt x="205" y="396"/>
                  </a:lnTo>
                  <a:lnTo>
                    <a:pt x="205" y="396"/>
                  </a:lnTo>
                  <a:lnTo>
                    <a:pt x="205" y="394"/>
                  </a:lnTo>
                  <a:lnTo>
                    <a:pt x="211" y="389"/>
                  </a:lnTo>
                  <a:lnTo>
                    <a:pt x="217" y="388"/>
                  </a:lnTo>
                  <a:lnTo>
                    <a:pt x="231" y="389"/>
                  </a:lnTo>
                  <a:lnTo>
                    <a:pt x="230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0" y="391"/>
                  </a:lnTo>
                  <a:lnTo>
                    <a:pt x="230" y="391"/>
                  </a:lnTo>
                  <a:lnTo>
                    <a:pt x="228" y="391"/>
                  </a:lnTo>
                  <a:lnTo>
                    <a:pt x="228" y="393"/>
                  </a:lnTo>
                  <a:lnTo>
                    <a:pt x="230" y="393"/>
                  </a:lnTo>
                  <a:lnTo>
                    <a:pt x="234" y="391"/>
                  </a:lnTo>
                  <a:lnTo>
                    <a:pt x="233" y="393"/>
                  </a:lnTo>
                  <a:lnTo>
                    <a:pt x="231" y="394"/>
                  </a:lnTo>
                  <a:lnTo>
                    <a:pt x="230" y="396"/>
                  </a:lnTo>
                  <a:lnTo>
                    <a:pt x="219" y="393"/>
                  </a:lnTo>
                  <a:lnTo>
                    <a:pt x="217" y="393"/>
                  </a:lnTo>
                  <a:lnTo>
                    <a:pt x="216" y="394"/>
                  </a:lnTo>
                  <a:lnTo>
                    <a:pt x="213" y="396"/>
                  </a:lnTo>
                  <a:lnTo>
                    <a:pt x="214" y="396"/>
                  </a:lnTo>
                  <a:lnTo>
                    <a:pt x="214" y="397"/>
                  </a:lnTo>
                  <a:lnTo>
                    <a:pt x="216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9" y="397"/>
                  </a:lnTo>
                  <a:lnTo>
                    <a:pt x="208" y="397"/>
                  </a:lnTo>
                  <a:lnTo>
                    <a:pt x="208" y="399"/>
                  </a:lnTo>
                  <a:lnTo>
                    <a:pt x="206" y="402"/>
                  </a:lnTo>
                  <a:lnTo>
                    <a:pt x="205" y="405"/>
                  </a:lnTo>
                  <a:lnTo>
                    <a:pt x="202" y="408"/>
                  </a:lnTo>
                  <a:lnTo>
                    <a:pt x="197" y="411"/>
                  </a:lnTo>
                  <a:lnTo>
                    <a:pt x="199" y="414"/>
                  </a:lnTo>
                  <a:lnTo>
                    <a:pt x="197" y="416"/>
                  </a:lnTo>
                  <a:lnTo>
                    <a:pt x="196" y="417"/>
                  </a:lnTo>
                  <a:lnTo>
                    <a:pt x="197" y="417"/>
                  </a:lnTo>
                  <a:lnTo>
                    <a:pt x="199" y="417"/>
                  </a:lnTo>
                  <a:lnTo>
                    <a:pt x="199" y="416"/>
                  </a:lnTo>
                  <a:lnTo>
                    <a:pt x="200" y="416"/>
                  </a:lnTo>
                  <a:lnTo>
                    <a:pt x="202" y="416"/>
                  </a:lnTo>
                  <a:lnTo>
                    <a:pt x="203" y="416"/>
                  </a:lnTo>
                  <a:lnTo>
                    <a:pt x="205" y="417"/>
                  </a:lnTo>
                  <a:lnTo>
                    <a:pt x="203" y="420"/>
                  </a:lnTo>
                  <a:lnTo>
                    <a:pt x="205" y="420"/>
                  </a:lnTo>
                  <a:lnTo>
                    <a:pt x="208" y="419"/>
                  </a:lnTo>
                  <a:lnTo>
                    <a:pt x="209" y="420"/>
                  </a:lnTo>
                  <a:lnTo>
                    <a:pt x="211" y="420"/>
                  </a:lnTo>
                  <a:lnTo>
                    <a:pt x="209" y="422"/>
                  </a:lnTo>
                  <a:lnTo>
                    <a:pt x="208" y="423"/>
                  </a:lnTo>
                  <a:lnTo>
                    <a:pt x="208" y="425"/>
                  </a:lnTo>
                  <a:lnTo>
                    <a:pt x="208" y="426"/>
                  </a:lnTo>
                  <a:lnTo>
                    <a:pt x="209" y="426"/>
                  </a:lnTo>
                  <a:lnTo>
                    <a:pt x="213" y="425"/>
                  </a:lnTo>
                  <a:lnTo>
                    <a:pt x="211" y="428"/>
                  </a:lnTo>
                  <a:lnTo>
                    <a:pt x="209" y="428"/>
                  </a:lnTo>
                  <a:lnTo>
                    <a:pt x="208" y="428"/>
                  </a:lnTo>
                  <a:lnTo>
                    <a:pt x="205" y="426"/>
                  </a:lnTo>
                  <a:lnTo>
                    <a:pt x="203" y="428"/>
                  </a:lnTo>
                  <a:lnTo>
                    <a:pt x="205" y="430"/>
                  </a:lnTo>
                  <a:lnTo>
                    <a:pt x="205" y="430"/>
                  </a:lnTo>
                  <a:lnTo>
                    <a:pt x="203" y="430"/>
                  </a:lnTo>
                  <a:lnTo>
                    <a:pt x="203" y="431"/>
                  </a:lnTo>
                  <a:lnTo>
                    <a:pt x="203" y="433"/>
                  </a:lnTo>
                  <a:lnTo>
                    <a:pt x="205" y="433"/>
                  </a:lnTo>
                  <a:lnTo>
                    <a:pt x="205" y="433"/>
                  </a:lnTo>
                  <a:lnTo>
                    <a:pt x="206" y="433"/>
                  </a:lnTo>
                  <a:lnTo>
                    <a:pt x="205" y="434"/>
                  </a:lnTo>
                  <a:lnTo>
                    <a:pt x="203" y="434"/>
                  </a:lnTo>
                  <a:lnTo>
                    <a:pt x="202" y="433"/>
                  </a:lnTo>
                  <a:lnTo>
                    <a:pt x="200" y="431"/>
                  </a:lnTo>
                  <a:lnTo>
                    <a:pt x="200" y="431"/>
                  </a:lnTo>
                  <a:lnTo>
                    <a:pt x="200" y="430"/>
                  </a:lnTo>
                  <a:lnTo>
                    <a:pt x="188" y="428"/>
                  </a:lnTo>
                  <a:lnTo>
                    <a:pt x="186" y="430"/>
                  </a:lnTo>
                  <a:lnTo>
                    <a:pt x="189" y="430"/>
                  </a:lnTo>
                  <a:lnTo>
                    <a:pt x="191" y="431"/>
                  </a:lnTo>
                  <a:lnTo>
                    <a:pt x="196" y="436"/>
                  </a:lnTo>
                  <a:lnTo>
                    <a:pt x="196" y="436"/>
                  </a:lnTo>
                  <a:lnTo>
                    <a:pt x="194" y="437"/>
                  </a:lnTo>
                  <a:lnTo>
                    <a:pt x="196" y="437"/>
                  </a:lnTo>
                  <a:lnTo>
                    <a:pt x="196" y="439"/>
                  </a:lnTo>
                  <a:lnTo>
                    <a:pt x="194" y="439"/>
                  </a:lnTo>
                  <a:lnTo>
                    <a:pt x="194" y="439"/>
                  </a:lnTo>
                  <a:lnTo>
                    <a:pt x="193" y="439"/>
                  </a:lnTo>
                  <a:lnTo>
                    <a:pt x="191" y="439"/>
                  </a:lnTo>
                  <a:lnTo>
                    <a:pt x="193" y="437"/>
                  </a:lnTo>
                  <a:lnTo>
                    <a:pt x="193" y="437"/>
                  </a:lnTo>
                  <a:lnTo>
                    <a:pt x="191" y="436"/>
                  </a:lnTo>
                  <a:lnTo>
                    <a:pt x="189" y="436"/>
                  </a:lnTo>
                  <a:lnTo>
                    <a:pt x="186" y="437"/>
                  </a:lnTo>
                  <a:lnTo>
                    <a:pt x="186" y="440"/>
                  </a:lnTo>
                  <a:lnTo>
                    <a:pt x="188" y="440"/>
                  </a:lnTo>
                  <a:lnTo>
                    <a:pt x="189" y="440"/>
                  </a:lnTo>
                  <a:lnTo>
                    <a:pt x="191" y="442"/>
                  </a:lnTo>
                  <a:lnTo>
                    <a:pt x="193" y="443"/>
                  </a:lnTo>
                  <a:lnTo>
                    <a:pt x="193" y="443"/>
                  </a:lnTo>
                  <a:lnTo>
                    <a:pt x="193" y="445"/>
                  </a:lnTo>
                  <a:lnTo>
                    <a:pt x="191" y="445"/>
                  </a:lnTo>
                  <a:lnTo>
                    <a:pt x="191" y="445"/>
                  </a:lnTo>
                  <a:lnTo>
                    <a:pt x="191" y="443"/>
                  </a:lnTo>
                  <a:lnTo>
                    <a:pt x="189" y="446"/>
                  </a:lnTo>
                  <a:lnTo>
                    <a:pt x="186" y="448"/>
                  </a:lnTo>
                  <a:lnTo>
                    <a:pt x="180" y="450"/>
                  </a:lnTo>
                  <a:lnTo>
                    <a:pt x="177" y="453"/>
                  </a:lnTo>
                  <a:lnTo>
                    <a:pt x="176" y="453"/>
                  </a:lnTo>
                  <a:lnTo>
                    <a:pt x="174" y="453"/>
                  </a:lnTo>
                  <a:lnTo>
                    <a:pt x="173" y="451"/>
                  </a:lnTo>
                  <a:lnTo>
                    <a:pt x="171" y="451"/>
                  </a:lnTo>
                  <a:lnTo>
                    <a:pt x="171" y="451"/>
                  </a:lnTo>
                  <a:lnTo>
                    <a:pt x="168" y="453"/>
                  </a:lnTo>
                  <a:lnTo>
                    <a:pt x="163" y="454"/>
                  </a:lnTo>
                  <a:lnTo>
                    <a:pt x="163" y="454"/>
                  </a:lnTo>
                  <a:lnTo>
                    <a:pt x="162" y="456"/>
                  </a:lnTo>
                  <a:lnTo>
                    <a:pt x="162" y="457"/>
                  </a:lnTo>
                  <a:lnTo>
                    <a:pt x="160" y="457"/>
                  </a:lnTo>
                  <a:lnTo>
                    <a:pt x="162" y="459"/>
                  </a:lnTo>
                  <a:lnTo>
                    <a:pt x="160" y="460"/>
                  </a:lnTo>
                  <a:lnTo>
                    <a:pt x="159" y="460"/>
                  </a:lnTo>
                  <a:lnTo>
                    <a:pt x="151" y="460"/>
                  </a:lnTo>
                  <a:lnTo>
                    <a:pt x="149" y="460"/>
                  </a:lnTo>
                  <a:lnTo>
                    <a:pt x="148" y="457"/>
                  </a:lnTo>
                  <a:lnTo>
                    <a:pt x="149" y="457"/>
                  </a:lnTo>
                  <a:lnTo>
                    <a:pt x="148" y="454"/>
                  </a:lnTo>
                  <a:lnTo>
                    <a:pt x="146" y="450"/>
                  </a:lnTo>
                  <a:lnTo>
                    <a:pt x="145" y="446"/>
                  </a:lnTo>
                  <a:lnTo>
                    <a:pt x="142" y="445"/>
                  </a:lnTo>
                  <a:lnTo>
                    <a:pt x="140" y="442"/>
                  </a:lnTo>
                  <a:lnTo>
                    <a:pt x="139" y="442"/>
                  </a:lnTo>
                  <a:lnTo>
                    <a:pt x="137" y="442"/>
                  </a:lnTo>
                  <a:lnTo>
                    <a:pt x="137" y="443"/>
                  </a:lnTo>
                  <a:lnTo>
                    <a:pt x="136" y="445"/>
                  </a:lnTo>
                  <a:lnTo>
                    <a:pt x="137" y="446"/>
                  </a:lnTo>
                  <a:lnTo>
                    <a:pt x="136" y="448"/>
                  </a:lnTo>
                  <a:lnTo>
                    <a:pt x="137" y="451"/>
                  </a:lnTo>
                  <a:lnTo>
                    <a:pt x="137" y="453"/>
                  </a:lnTo>
                  <a:lnTo>
                    <a:pt x="136" y="454"/>
                  </a:lnTo>
                  <a:lnTo>
                    <a:pt x="136" y="457"/>
                  </a:lnTo>
                  <a:lnTo>
                    <a:pt x="136" y="462"/>
                  </a:lnTo>
                  <a:lnTo>
                    <a:pt x="137" y="463"/>
                  </a:lnTo>
                  <a:lnTo>
                    <a:pt x="139" y="465"/>
                  </a:lnTo>
                  <a:lnTo>
                    <a:pt x="140" y="465"/>
                  </a:lnTo>
                  <a:lnTo>
                    <a:pt x="142" y="463"/>
                  </a:lnTo>
                  <a:lnTo>
                    <a:pt x="142" y="463"/>
                  </a:lnTo>
                  <a:lnTo>
                    <a:pt x="142" y="465"/>
                  </a:lnTo>
                  <a:lnTo>
                    <a:pt x="142" y="466"/>
                  </a:lnTo>
                  <a:lnTo>
                    <a:pt x="139" y="466"/>
                  </a:lnTo>
                  <a:lnTo>
                    <a:pt x="139" y="468"/>
                  </a:lnTo>
                  <a:lnTo>
                    <a:pt x="137" y="474"/>
                  </a:lnTo>
                  <a:lnTo>
                    <a:pt x="136" y="476"/>
                  </a:lnTo>
                  <a:lnTo>
                    <a:pt x="136" y="477"/>
                  </a:lnTo>
                  <a:lnTo>
                    <a:pt x="137" y="477"/>
                  </a:lnTo>
                  <a:lnTo>
                    <a:pt x="137" y="479"/>
                  </a:lnTo>
                  <a:lnTo>
                    <a:pt x="139" y="480"/>
                  </a:lnTo>
                  <a:lnTo>
                    <a:pt x="137" y="482"/>
                  </a:lnTo>
                  <a:lnTo>
                    <a:pt x="137" y="483"/>
                  </a:lnTo>
                  <a:lnTo>
                    <a:pt x="137" y="483"/>
                  </a:lnTo>
                  <a:lnTo>
                    <a:pt x="137" y="486"/>
                  </a:lnTo>
                  <a:lnTo>
                    <a:pt x="137" y="486"/>
                  </a:lnTo>
                  <a:lnTo>
                    <a:pt x="139" y="488"/>
                  </a:lnTo>
                  <a:lnTo>
                    <a:pt x="139" y="490"/>
                  </a:lnTo>
                  <a:lnTo>
                    <a:pt x="140" y="488"/>
                  </a:lnTo>
                  <a:lnTo>
                    <a:pt x="140" y="488"/>
                  </a:lnTo>
                  <a:lnTo>
                    <a:pt x="140" y="488"/>
                  </a:lnTo>
                  <a:lnTo>
                    <a:pt x="142" y="486"/>
                  </a:lnTo>
                  <a:lnTo>
                    <a:pt x="143" y="486"/>
                  </a:lnTo>
                  <a:lnTo>
                    <a:pt x="149" y="486"/>
                  </a:lnTo>
                  <a:lnTo>
                    <a:pt x="151" y="486"/>
                  </a:lnTo>
                  <a:lnTo>
                    <a:pt x="151" y="486"/>
                  </a:lnTo>
                  <a:lnTo>
                    <a:pt x="152" y="485"/>
                  </a:lnTo>
                  <a:lnTo>
                    <a:pt x="156" y="483"/>
                  </a:lnTo>
                  <a:lnTo>
                    <a:pt x="159" y="482"/>
                  </a:lnTo>
                  <a:lnTo>
                    <a:pt x="160" y="482"/>
                  </a:lnTo>
                  <a:lnTo>
                    <a:pt x="159" y="483"/>
                  </a:lnTo>
                  <a:lnTo>
                    <a:pt x="160" y="485"/>
                  </a:lnTo>
                  <a:lnTo>
                    <a:pt x="162" y="483"/>
                  </a:lnTo>
                  <a:lnTo>
                    <a:pt x="163" y="480"/>
                  </a:lnTo>
                  <a:lnTo>
                    <a:pt x="165" y="480"/>
                  </a:lnTo>
                  <a:lnTo>
                    <a:pt x="185" y="485"/>
                  </a:lnTo>
                  <a:lnTo>
                    <a:pt x="188" y="483"/>
                  </a:lnTo>
                  <a:lnTo>
                    <a:pt x="189" y="483"/>
                  </a:lnTo>
                  <a:lnTo>
                    <a:pt x="193" y="483"/>
                  </a:lnTo>
                  <a:lnTo>
                    <a:pt x="205" y="479"/>
                  </a:lnTo>
                  <a:lnTo>
                    <a:pt x="208" y="479"/>
                  </a:lnTo>
                  <a:lnTo>
                    <a:pt x="209" y="480"/>
                  </a:lnTo>
                  <a:lnTo>
                    <a:pt x="213" y="483"/>
                  </a:lnTo>
                  <a:lnTo>
                    <a:pt x="216" y="485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79"/>
                  </a:lnTo>
                  <a:lnTo>
                    <a:pt x="239" y="476"/>
                  </a:lnTo>
                  <a:lnTo>
                    <a:pt x="240" y="476"/>
                  </a:lnTo>
                  <a:lnTo>
                    <a:pt x="243" y="476"/>
                  </a:lnTo>
                  <a:lnTo>
                    <a:pt x="246" y="476"/>
                  </a:lnTo>
                  <a:lnTo>
                    <a:pt x="248" y="477"/>
                  </a:lnTo>
                  <a:lnTo>
                    <a:pt x="248" y="474"/>
                  </a:lnTo>
                  <a:lnTo>
                    <a:pt x="246" y="473"/>
                  </a:lnTo>
                  <a:lnTo>
                    <a:pt x="242" y="471"/>
                  </a:lnTo>
                  <a:lnTo>
                    <a:pt x="242" y="470"/>
                  </a:lnTo>
                  <a:lnTo>
                    <a:pt x="243" y="470"/>
                  </a:lnTo>
                  <a:lnTo>
                    <a:pt x="245" y="466"/>
                  </a:lnTo>
                  <a:lnTo>
                    <a:pt x="246" y="465"/>
                  </a:lnTo>
                  <a:lnTo>
                    <a:pt x="246" y="465"/>
                  </a:lnTo>
                  <a:lnTo>
                    <a:pt x="251" y="463"/>
                  </a:lnTo>
                  <a:lnTo>
                    <a:pt x="251" y="463"/>
                  </a:lnTo>
                  <a:lnTo>
                    <a:pt x="256" y="466"/>
                  </a:lnTo>
                  <a:lnTo>
                    <a:pt x="260" y="466"/>
                  </a:lnTo>
                  <a:lnTo>
                    <a:pt x="259" y="468"/>
                  </a:lnTo>
                  <a:lnTo>
                    <a:pt x="256" y="468"/>
                  </a:lnTo>
                  <a:lnTo>
                    <a:pt x="250" y="468"/>
                  </a:lnTo>
                  <a:lnTo>
                    <a:pt x="251" y="473"/>
                  </a:lnTo>
                  <a:lnTo>
                    <a:pt x="251" y="474"/>
                  </a:lnTo>
                  <a:lnTo>
                    <a:pt x="250" y="476"/>
                  </a:lnTo>
                  <a:lnTo>
                    <a:pt x="251" y="477"/>
                  </a:lnTo>
                  <a:lnTo>
                    <a:pt x="254" y="479"/>
                  </a:lnTo>
                  <a:lnTo>
                    <a:pt x="256" y="480"/>
                  </a:lnTo>
                  <a:lnTo>
                    <a:pt x="259" y="482"/>
                  </a:lnTo>
                  <a:lnTo>
                    <a:pt x="268" y="486"/>
                  </a:lnTo>
                  <a:lnTo>
                    <a:pt x="274" y="491"/>
                  </a:lnTo>
                  <a:lnTo>
                    <a:pt x="277" y="494"/>
                  </a:lnTo>
                  <a:lnTo>
                    <a:pt x="277" y="493"/>
                  </a:lnTo>
                  <a:lnTo>
                    <a:pt x="277" y="491"/>
                  </a:lnTo>
                  <a:lnTo>
                    <a:pt x="279" y="491"/>
                  </a:lnTo>
                  <a:lnTo>
                    <a:pt x="280" y="491"/>
                  </a:lnTo>
                  <a:lnTo>
                    <a:pt x="282" y="490"/>
                  </a:lnTo>
                  <a:lnTo>
                    <a:pt x="285" y="486"/>
                  </a:lnTo>
                  <a:lnTo>
                    <a:pt x="286" y="483"/>
                  </a:lnTo>
                  <a:lnTo>
                    <a:pt x="286" y="480"/>
                  </a:lnTo>
                  <a:lnTo>
                    <a:pt x="285" y="480"/>
                  </a:lnTo>
                  <a:lnTo>
                    <a:pt x="285" y="479"/>
                  </a:lnTo>
                  <a:lnTo>
                    <a:pt x="288" y="480"/>
                  </a:lnTo>
                  <a:lnTo>
                    <a:pt x="288" y="485"/>
                  </a:lnTo>
                  <a:lnTo>
                    <a:pt x="288" y="490"/>
                  </a:lnTo>
                  <a:lnTo>
                    <a:pt x="285" y="493"/>
                  </a:lnTo>
                  <a:lnTo>
                    <a:pt x="285" y="494"/>
                  </a:lnTo>
                  <a:lnTo>
                    <a:pt x="286" y="494"/>
                  </a:lnTo>
                  <a:lnTo>
                    <a:pt x="293" y="493"/>
                  </a:lnTo>
                  <a:lnTo>
                    <a:pt x="293" y="494"/>
                  </a:lnTo>
                  <a:lnTo>
                    <a:pt x="293" y="494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94" y="494"/>
                  </a:lnTo>
                  <a:lnTo>
                    <a:pt x="294" y="496"/>
                  </a:lnTo>
                  <a:lnTo>
                    <a:pt x="291" y="496"/>
                  </a:lnTo>
                  <a:lnTo>
                    <a:pt x="290" y="496"/>
                  </a:lnTo>
                  <a:lnTo>
                    <a:pt x="290" y="497"/>
                  </a:lnTo>
                  <a:lnTo>
                    <a:pt x="290" y="497"/>
                  </a:lnTo>
                  <a:lnTo>
                    <a:pt x="286" y="496"/>
                  </a:lnTo>
                  <a:lnTo>
                    <a:pt x="286" y="494"/>
                  </a:lnTo>
                  <a:lnTo>
                    <a:pt x="282" y="494"/>
                  </a:lnTo>
                  <a:lnTo>
                    <a:pt x="286" y="499"/>
                  </a:lnTo>
                  <a:lnTo>
                    <a:pt x="290" y="500"/>
                  </a:lnTo>
                  <a:lnTo>
                    <a:pt x="293" y="503"/>
                  </a:lnTo>
                  <a:lnTo>
                    <a:pt x="296" y="505"/>
                  </a:lnTo>
                  <a:lnTo>
                    <a:pt x="296" y="505"/>
                  </a:lnTo>
                  <a:lnTo>
                    <a:pt x="297" y="503"/>
                  </a:lnTo>
                  <a:lnTo>
                    <a:pt x="297" y="502"/>
                  </a:lnTo>
                  <a:lnTo>
                    <a:pt x="297" y="499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9" y="497"/>
                  </a:lnTo>
                  <a:lnTo>
                    <a:pt x="300" y="496"/>
                  </a:lnTo>
                  <a:lnTo>
                    <a:pt x="303" y="493"/>
                  </a:lnTo>
                  <a:lnTo>
                    <a:pt x="307" y="488"/>
                  </a:lnTo>
                  <a:lnTo>
                    <a:pt x="307" y="486"/>
                  </a:lnTo>
                  <a:lnTo>
                    <a:pt x="307" y="486"/>
                  </a:lnTo>
                  <a:lnTo>
                    <a:pt x="307" y="485"/>
                  </a:lnTo>
                  <a:lnTo>
                    <a:pt x="307" y="483"/>
                  </a:lnTo>
                  <a:lnTo>
                    <a:pt x="308" y="485"/>
                  </a:lnTo>
                  <a:lnTo>
                    <a:pt x="308" y="486"/>
                  </a:lnTo>
                  <a:lnTo>
                    <a:pt x="308" y="488"/>
                  </a:lnTo>
                  <a:lnTo>
                    <a:pt x="305" y="493"/>
                  </a:lnTo>
                  <a:lnTo>
                    <a:pt x="311" y="496"/>
                  </a:lnTo>
                  <a:lnTo>
                    <a:pt x="313" y="497"/>
                  </a:lnTo>
                  <a:lnTo>
                    <a:pt x="314" y="500"/>
                  </a:lnTo>
                  <a:lnTo>
                    <a:pt x="316" y="502"/>
                  </a:lnTo>
                  <a:lnTo>
                    <a:pt x="313" y="502"/>
                  </a:lnTo>
                  <a:lnTo>
                    <a:pt x="310" y="497"/>
                  </a:lnTo>
                  <a:lnTo>
                    <a:pt x="307" y="496"/>
                  </a:lnTo>
                  <a:lnTo>
                    <a:pt x="302" y="497"/>
                  </a:lnTo>
                  <a:lnTo>
                    <a:pt x="299" y="499"/>
                  </a:lnTo>
                  <a:lnTo>
                    <a:pt x="297" y="500"/>
                  </a:lnTo>
                  <a:lnTo>
                    <a:pt x="299" y="503"/>
                  </a:lnTo>
                  <a:lnTo>
                    <a:pt x="299" y="503"/>
                  </a:lnTo>
                  <a:lnTo>
                    <a:pt x="297" y="505"/>
                  </a:lnTo>
                  <a:lnTo>
                    <a:pt x="297" y="505"/>
                  </a:lnTo>
                  <a:lnTo>
                    <a:pt x="299" y="510"/>
                  </a:lnTo>
                  <a:lnTo>
                    <a:pt x="302" y="513"/>
                  </a:lnTo>
                  <a:lnTo>
                    <a:pt x="307" y="517"/>
                  </a:lnTo>
                  <a:lnTo>
                    <a:pt x="305" y="514"/>
                  </a:lnTo>
                  <a:lnTo>
                    <a:pt x="303" y="511"/>
                  </a:lnTo>
                  <a:lnTo>
                    <a:pt x="302" y="508"/>
                  </a:lnTo>
                  <a:lnTo>
                    <a:pt x="302" y="507"/>
                  </a:lnTo>
                  <a:lnTo>
                    <a:pt x="303" y="507"/>
                  </a:lnTo>
                  <a:lnTo>
                    <a:pt x="303" y="508"/>
                  </a:lnTo>
                  <a:lnTo>
                    <a:pt x="305" y="510"/>
                  </a:lnTo>
                  <a:lnTo>
                    <a:pt x="305" y="513"/>
                  </a:lnTo>
                  <a:lnTo>
                    <a:pt x="307" y="514"/>
                  </a:lnTo>
                  <a:lnTo>
                    <a:pt x="308" y="516"/>
                  </a:lnTo>
                  <a:lnTo>
                    <a:pt x="310" y="517"/>
                  </a:lnTo>
                  <a:lnTo>
                    <a:pt x="311" y="519"/>
                  </a:lnTo>
                  <a:lnTo>
                    <a:pt x="308" y="517"/>
                  </a:lnTo>
                  <a:lnTo>
                    <a:pt x="308" y="519"/>
                  </a:lnTo>
                  <a:lnTo>
                    <a:pt x="310" y="520"/>
                  </a:lnTo>
                  <a:lnTo>
                    <a:pt x="311" y="520"/>
                  </a:lnTo>
                  <a:lnTo>
                    <a:pt x="313" y="520"/>
                  </a:lnTo>
                  <a:lnTo>
                    <a:pt x="314" y="517"/>
                  </a:lnTo>
                  <a:lnTo>
                    <a:pt x="314" y="519"/>
                  </a:lnTo>
                  <a:lnTo>
                    <a:pt x="313" y="522"/>
                  </a:lnTo>
                  <a:lnTo>
                    <a:pt x="314" y="522"/>
                  </a:lnTo>
                  <a:lnTo>
                    <a:pt x="316" y="522"/>
                  </a:lnTo>
                  <a:lnTo>
                    <a:pt x="317" y="522"/>
                  </a:lnTo>
                  <a:lnTo>
                    <a:pt x="316" y="523"/>
                  </a:lnTo>
                  <a:lnTo>
                    <a:pt x="314" y="523"/>
                  </a:lnTo>
                  <a:lnTo>
                    <a:pt x="313" y="523"/>
                  </a:lnTo>
                  <a:lnTo>
                    <a:pt x="313" y="522"/>
                  </a:lnTo>
                  <a:lnTo>
                    <a:pt x="314" y="523"/>
                  </a:lnTo>
                  <a:lnTo>
                    <a:pt x="325" y="534"/>
                  </a:lnTo>
                  <a:lnTo>
                    <a:pt x="328" y="534"/>
                  </a:lnTo>
                  <a:lnTo>
                    <a:pt x="333" y="534"/>
                  </a:lnTo>
                  <a:lnTo>
                    <a:pt x="333" y="531"/>
                  </a:lnTo>
                  <a:lnTo>
                    <a:pt x="333" y="531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1"/>
                  </a:lnTo>
                  <a:lnTo>
                    <a:pt x="334" y="531"/>
                  </a:lnTo>
                  <a:lnTo>
                    <a:pt x="336" y="534"/>
                  </a:lnTo>
                  <a:lnTo>
                    <a:pt x="356" y="536"/>
                  </a:lnTo>
                  <a:lnTo>
                    <a:pt x="348" y="534"/>
                  </a:lnTo>
                  <a:lnTo>
                    <a:pt x="348" y="533"/>
                  </a:lnTo>
                  <a:lnTo>
                    <a:pt x="356" y="534"/>
                  </a:lnTo>
                  <a:lnTo>
                    <a:pt x="356" y="534"/>
                  </a:lnTo>
                  <a:lnTo>
                    <a:pt x="357" y="533"/>
                  </a:lnTo>
                  <a:lnTo>
                    <a:pt x="359" y="533"/>
                  </a:lnTo>
                  <a:lnTo>
                    <a:pt x="359" y="534"/>
                  </a:lnTo>
                  <a:lnTo>
                    <a:pt x="359" y="534"/>
                  </a:lnTo>
                  <a:lnTo>
                    <a:pt x="359" y="534"/>
                  </a:lnTo>
                  <a:lnTo>
                    <a:pt x="357" y="536"/>
                  </a:lnTo>
                  <a:lnTo>
                    <a:pt x="360" y="537"/>
                  </a:lnTo>
                  <a:lnTo>
                    <a:pt x="373" y="540"/>
                  </a:lnTo>
                  <a:lnTo>
                    <a:pt x="380" y="547"/>
                  </a:lnTo>
                  <a:lnTo>
                    <a:pt x="387" y="548"/>
                  </a:lnTo>
                  <a:lnTo>
                    <a:pt x="391" y="551"/>
                  </a:lnTo>
                  <a:lnTo>
                    <a:pt x="391" y="551"/>
                  </a:lnTo>
                  <a:lnTo>
                    <a:pt x="402" y="553"/>
                  </a:lnTo>
                  <a:lnTo>
                    <a:pt x="404" y="551"/>
                  </a:lnTo>
                  <a:lnTo>
                    <a:pt x="405" y="553"/>
                  </a:lnTo>
                  <a:lnTo>
                    <a:pt x="405" y="553"/>
                  </a:lnTo>
                  <a:lnTo>
                    <a:pt x="408" y="553"/>
                  </a:lnTo>
                  <a:lnTo>
                    <a:pt x="408" y="554"/>
                  </a:lnTo>
                  <a:lnTo>
                    <a:pt x="408" y="554"/>
                  </a:lnTo>
                  <a:lnTo>
                    <a:pt x="407" y="554"/>
                  </a:lnTo>
                  <a:lnTo>
                    <a:pt x="410" y="556"/>
                  </a:lnTo>
                  <a:lnTo>
                    <a:pt x="414" y="553"/>
                  </a:lnTo>
                  <a:lnTo>
                    <a:pt x="430" y="557"/>
                  </a:lnTo>
                  <a:lnTo>
                    <a:pt x="433" y="557"/>
                  </a:lnTo>
                  <a:lnTo>
                    <a:pt x="448" y="554"/>
                  </a:lnTo>
                  <a:lnTo>
                    <a:pt x="457" y="550"/>
                  </a:lnTo>
                  <a:lnTo>
                    <a:pt x="474" y="547"/>
                  </a:lnTo>
                  <a:lnTo>
                    <a:pt x="473" y="547"/>
                  </a:lnTo>
                  <a:lnTo>
                    <a:pt x="471" y="547"/>
                  </a:lnTo>
                  <a:lnTo>
                    <a:pt x="468" y="547"/>
                  </a:lnTo>
                  <a:lnTo>
                    <a:pt x="468" y="545"/>
                  </a:lnTo>
                  <a:lnTo>
                    <a:pt x="467" y="543"/>
                  </a:lnTo>
                  <a:lnTo>
                    <a:pt x="467" y="540"/>
                  </a:lnTo>
                  <a:lnTo>
                    <a:pt x="467" y="540"/>
                  </a:lnTo>
                  <a:lnTo>
                    <a:pt x="465" y="539"/>
                  </a:lnTo>
                  <a:lnTo>
                    <a:pt x="464" y="536"/>
                  </a:lnTo>
                  <a:lnTo>
                    <a:pt x="464" y="536"/>
                  </a:lnTo>
                  <a:lnTo>
                    <a:pt x="464" y="534"/>
                  </a:lnTo>
                  <a:lnTo>
                    <a:pt x="464" y="534"/>
                  </a:lnTo>
                  <a:lnTo>
                    <a:pt x="465" y="534"/>
                  </a:lnTo>
                  <a:lnTo>
                    <a:pt x="464" y="533"/>
                  </a:lnTo>
                  <a:lnTo>
                    <a:pt x="465" y="533"/>
                  </a:lnTo>
                  <a:lnTo>
                    <a:pt x="471" y="536"/>
                  </a:lnTo>
                  <a:lnTo>
                    <a:pt x="473" y="536"/>
                  </a:lnTo>
                  <a:lnTo>
                    <a:pt x="476" y="536"/>
                  </a:lnTo>
                  <a:lnTo>
                    <a:pt x="479" y="536"/>
                  </a:lnTo>
                  <a:lnTo>
                    <a:pt x="479" y="536"/>
                  </a:lnTo>
                  <a:lnTo>
                    <a:pt x="476" y="536"/>
                  </a:lnTo>
                  <a:lnTo>
                    <a:pt x="476" y="537"/>
                  </a:lnTo>
                  <a:lnTo>
                    <a:pt x="474" y="539"/>
                  </a:lnTo>
                  <a:lnTo>
                    <a:pt x="473" y="540"/>
                  </a:lnTo>
                  <a:lnTo>
                    <a:pt x="471" y="540"/>
                  </a:lnTo>
                  <a:lnTo>
                    <a:pt x="471" y="542"/>
                  </a:lnTo>
                  <a:lnTo>
                    <a:pt x="473" y="545"/>
                  </a:lnTo>
                  <a:lnTo>
                    <a:pt x="477" y="545"/>
                  </a:lnTo>
                  <a:lnTo>
                    <a:pt x="482" y="540"/>
                  </a:lnTo>
                  <a:lnTo>
                    <a:pt x="490" y="537"/>
                  </a:lnTo>
                  <a:lnTo>
                    <a:pt x="493" y="533"/>
                  </a:lnTo>
                  <a:lnTo>
                    <a:pt x="496" y="528"/>
                  </a:lnTo>
                  <a:lnTo>
                    <a:pt x="497" y="522"/>
                  </a:lnTo>
                  <a:lnTo>
                    <a:pt x="497" y="523"/>
                  </a:lnTo>
                  <a:lnTo>
                    <a:pt x="491" y="523"/>
                  </a:lnTo>
                  <a:lnTo>
                    <a:pt x="491" y="522"/>
                  </a:lnTo>
                  <a:lnTo>
                    <a:pt x="491" y="520"/>
                  </a:lnTo>
                  <a:lnTo>
                    <a:pt x="491" y="520"/>
                  </a:lnTo>
                  <a:lnTo>
                    <a:pt x="490" y="520"/>
                  </a:lnTo>
                  <a:lnTo>
                    <a:pt x="491" y="519"/>
                  </a:lnTo>
                  <a:lnTo>
                    <a:pt x="493" y="520"/>
                  </a:lnTo>
                  <a:lnTo>
                    <a:pt x="493" y="517"/>
                  </a:lnTo>
                  <a:lnTo>
                    <a:pt x="496" y="517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7" y="520"/>
                  </a:lnTo>
                  <a:lnTo>
                    <a:pt x="499" y="519"/>
                  </a:lnTo>
                  <a:lnTo>
                    <a:pt x="502" y="513"/>
                  </a:lnTo>
                  <a:lnTo>
                    <a:pt x="501" y="513"/>
                  </a:lnTo>
                  <a:lnTo>
                    <a:pt x="494" y="513"/>
                  </a:lnTo>
                  <a:lnTo>
                    <a:pt x="493" y="513"/>
                  </a:lnTo>
                  <a:lnTo>
                    <a:pt x="493" y="514"/>
                  </a:lnTo>
                  <a:lnTo>
                    <a:pt x="491" y="514"/>
                  </a:lnTo>
                  <a:lnTo>
                    <a:pt x="490" y="514"/>
                  </a:lnTo>
                  <a:lnTo>
                    <a:pt x="490" y="513"/>
                  </a:lnTo>
                  <a:lnTo>
                    <a:pt x="490" y="511"/>
                  </a:lnTo>
                  <a:lnTo>
                    <a:pt x="491" y="510"/>
                  </a:lnTo>
                  <a:lnTo>
                    <a:pt x="493" y="511"/>
                  </a:lnTo>
                  <a:lnTo>
                    <a:pt x="493" y="511"/>
                  </a:lnTo>
                  <a:lnTo>
                    <a:pt x="494" y="510"/>
                  </a:lnTo>
                  <a:lnTo>
                    <a:pt x="494" y="507"/>
                  </a:lnTo>
                  <a:lnTo>
                    <a:pt x="496" y="503"/>
                  </a:lnTo>
                  <a:lnTo>
                    <a:pt x="496" y="502"/>
                  </a:lnTo>
                  <a:lnTo>
                    <a:pt x="497" y="502"/>
                  </a:lnTo>
                  <a:lnTo>
                    <a:pt x="499" y="502"/>
                  </a:lnTo>
                  <a:lnTo>
                    <a:pt x="501" y="500"/>
                  </a:lnTo>
                  <a:lnTo>
                    <a:pt x="501" y="500"/>
                  </a:lnTo>
                  <a:lnTo>
                    <a:pt x="502" y="500"/>
                  </a:lnTo>
                  <a:lnTo>
                    <a:pt x="502" y="500"/>
                  </a:lnTo>
                  <a:lnTo>
                    <a:pt x="501" y="499"/>
                  </a:lnTo>
                  <a:lnTo>
                    <a:pt x="504" y="499"/>
                  </a:lnTo>
                  <a:lnTo>
                    <a:pt x="505" y="499"/>
                  </a:lnTo>
                  <a:lnTo>
                    <a:pt x="507" y="500"/>
                  </a:lnTo>
                  <a:lnTo>
                    <a:pt x="508" y="499"/>
                  </a:lnTo>
                  <a:lnTo>
                    <a:pt x="508" y="497"/>
                  </a:lnTo>
                  <a:lnTo>
                    <a:pt x="508" y="496"/>
                  </a:lnTo>
                  <a:lnTo>
                    <a:pt x="508" y="494"/>
                  </a:lnTo>
                  <a:lnTo>
                    <a:pt x="510" y="496"/>
                  </a:lnTo>
                  <a:lnTo>
                    <a:pt x="516" y="499"/>
                  </a:lnTo>
                  <a:lnTo>
                    <a:pt x="516" y="500"/>
                  </a:lnTo>
                  <a:lnTo>
                    <a:pt x="513" y="500"/>
                  </a:lnTo>
                  <a:lnTo>
                    <a:pt x="511" y="500"/>
                  </a:lnTo>
                  <a:lnTo>
                    <a:pt x="508" y="503"/>
                  </a:lnTo>
                  <a:lnTo>
                    <a:pt x="508" y="507"/>
                  </a:lnTo>
                  <a:lnTo>
                    <a:pt x="518" y="500"/>
                  </a:lnTo>
                  <a:lnTo>
                    <a:pt x="518" y="499"/>
                  </a:lnTo>
                  <a:lnTo>
                    <a:pt x="518" y="497"/>
                  </a:lnTo>
                  <a:lnTo>
                    <a:pt x="518" y="497"/>
                  </a:lnTo>
                  <a:lnTo>
                    <a:pt x="518" y="497"/>
                  </a:lnTo>
                  <a:lnTo>
                    <a:pt x="518" y="496"/>
                  </a:lnTo>
                  <a:lnTo>
                    <a:pt x="519" y="497"/>
                  </a:lnTo>
                  <a:lnTo>
                    <a:pt x="519" y="497"/>
                  </a:lnTo>
                  <a:lnTo>
                    <a:pt x="521" y="496"/>
                  </a:lnTo>
                  <a:lnTo>
                    <a:pt x="521" y="493"/>
                  </a:lnTo>
                  <a:lnTo>
                    <a:pt x="522" y="494"/>
                  </a:lnTo>
                  <a:lnTo>
                    <a:pt x="522" y="496"/>
                  </a:lnTo>
                  <a:lnTo>
                    <a:pt x="521" y="497"/>
                  </a:lnTo>
                  <a:lnTo>
                    <a:pt x="521" y="499"/>
                  </a:lnTo>
                  <a:lnTo>
                    <a:pt x="527" y="497"/>
                  </a:lnTo>
                  <a:lnTo>
                    <a:pt x="538" y="494"/>
                  </a:lnTo>
                  <a:lnTo>
                    <a:pt x="547" y="488"/>
                  </a:lnTo>
                  <a:lnTo>
                    <a:pt x="547" y="491"/>
                  </a:lnTo>
                  <a:lnTo>
                    <a:pt x="548" y="491"/>
                  </a:lnTo>
                  <a:lnTo>
                    <a:pt x="548" y="490"/>
                  </a:lnTo>
                  <a:lnTo>
                    <a:pt x="550" y="490"/>
                  </a:lnTo>
                  <a:lnTo>
                    <a:pt x="553" y="491"/>
                  </a:lnTo>
                  <a:lnTo>
                    <a:pt x="553" y="491"/>
                  </a:lnTo>
                  <a:lnTo>
                    <a:pt x="559" y="491"/>
                  </a:lnTo>
                  <a:lnTo>
                    <a:pt x="562" y="491"/>
                  </a:lnTo>
                  <a:lnTo>
                    <a:pt x="562" y="490"/>
                  </a:lnTo>
                  <a:lnTo>
                    <a:pt x="562" y="488"/>
                  </a:lnTo>
                  <a:lnTo>
                    <a:pt x="561" y="486"/>
                  </a:lnTo>
                  <a:lnTo>
                    <a:pt x="561" y="483"/>
                  </a:lnTo>
                  <a:lnTo>
                    <a:pt x="559" y="482"/>
                  </a:lnTo>
                  <a:lnTo>
                    <a:pt x="561" y="480"/>
                  </a:lnTo>
                  <a:lnTo>
                    <a:pt x="562" y="480"/>
                  </a:lnTo>
                  <a:lnTo>
                    <a:pt x="564" y="480"/>
                  </a:lnTo>
                  <a:lnTo>
                    <a:pt x="564" y="479"/>
                  </a:lnTo>
                  <a:lnTo>
                    <a:pt x="564" y="477"/>
                  </a:lnTo>
                  <a:lnTo>
                    <a:pt x="564" y="476"/>
                  </a:lnTo>
                  <a:lnTo>
                    <a:pt x="564" y="471"/>
                  </a:lnTo>
                  <a:lnTo>
                    <a:pt x="564" y="471"/>
                  </a:lnTo>
                  <a:lnTo>
                    <a:pt x="565" y="471"/>
                  </a:lnTo>
                  <a:lnTo>
                    <a:pt x="565" y="473"/>
                  </a:lnTo>
                  <a:lnTo>
                    <a:pt x="567" y="473"/>
                  </a:lnTo>
                  <a:lnTo>
                    <a:pt x="567" y="474"/>
                  </a:lnTo>
                  <a:lnTo>
                    <a:pt x="567" y="477"/>
                  </a:lnTo>
                  <a:lnTo>
                    <a:pt x="565" y="482"/>
                  </a:lnTo>
                  <a:lnTo>
                    <a:pt x="567" y="482"/>
                  </a:lnTo>
                  <a:lnTo>
                    <a:pt x="567" y="482"/>
                  </a:lnTo>
                  <a:lnTo>
                    <a:pt x="567" y="483"/>
                  </a:lnTo>
                  <a:lnTo>
                    <a:pt x="565" y="483"/>
                  </a:lnTo>
                  <a:lnTo>
                    <a:pt x="565" y="483"/>
                  </a:lnTo>
                  <a:lnTo>
                    <a:pt x="565" y="485"/>
                  </a:lnTo>
                  <a:lnTo>
                    <a:pt x="565" y="486"/>
                  </a:lnTo>
                  <a:lnTo>
                    <a:pt x="565" y="488"/>
                  </a:lnTo>
                  <a:lnTo>
                    <a:pt x="565" y="490"/>
                  </a:lnTo>
                  <a:lnTo>
                    <a:pt x="564" y="493"/>
                  </a:lnTo>
                  <a:lnTo>
                    <a:pt x="565" y="493"/>
                  </a:lnTo>
                  <a:lnTo>
                    <a:pt x="567" y="491"/>
                  </a:lnTo>
                  <a:lnTo>
                    <a:pt x="567" y="491"/>
                  </a:lnTo>
                  <a:lnTo>
                    <a:pt x="567" y="490"/>
                  </a:lnTo>
                  <a:lnTo>
                    <a:pt x="567" y="486"/>
                  </a:lnTo>
                  <a:lnTo>
                    <a:pt x="567" y="485"/>
                  </a:lnTo>
                  <a:lnTo>
                    <a:pt x="567" y="480"/>
                  </a:lnTo>
                  <a:lnTo>
                    <a:pt x="567" y="479"/>
                  </a:lnTo>
                  <a:lnTo>
                    <a:pt x="568" y="480"/>
                  </a:lnTo>
                  <a:lnTo>
                    <a:pt x="568" y="482"/>
                  </a:lnTo>
                  <a:lnTo>
                    <a:pt x="568" y="483"/>
                  </a:lnTo>
                  <a:lnTo>
                    <a:pt x="568" y="488"/>
                  </a:lnTo>
                  <a:lnTo>
                    <a:pt x="568" y="490"/>
                  </a:lnTo>
                  <a:lnTo>
                    <a:pt x="570" y="491"/>
                  </a:lnTo>
                  <a:lnTo>
                    <a:pt x="570" y="490"/>
                  </a:lnTo>
                  <a:lnTo>
                    <a:pt x="570" y="486"/>
                  </a:lnTo>
                  <a:lnTo>
                    <a:pt x="570" y="483"/>
                  </a:lnTo>
                  <a:lnTo>
                    <a:pt x="570" y="482"/>
                  </a:lnTo>
                  <a:lnTo>
                    <a:pt x="570" y="480"/>
                  </a:lnTo>
                  <a:lnTo>
                    <a:pt x="570" y="480"/>
                  </a:lnTo>
                  <a:lnTo>
                    <a:pt x="571" y="480"/>
                  </a:lnTo>
                  <a:lnTo>
                    <a:pt x="573" y="480"/>
                  </a:lnTo>
                  <a:lnTo>
                    <a:pt x="575" y="485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1"/>
                  </a:lnTo>
                  <a:lnTo>
                    <a:pt x="578" y="490"/>
                  </a:lnTo>
                  <a:lnTo>
                    <a:pt x="579" y="488"/>
                  </a:lnTo>
                  <a:lnTo>
                    <a:pt x="579" y="485"/>
                  </a:lnTo>
                  <a:lnTo>
                    <a:pt x="578" y="483"/>
                  </a:lnTo>
                  <a:lnTo>
                    <a:pt x="579" y="483"/>
                  </a:lnTo>
                  <a:lnTo>
                    <a:pt x="581" y="482"/>
                  </a:lnTo>
                  <a:lnTo>
                    <a:pt x="581" y="482"/>
                  </a:lnTo>
                  <a:lnTo>
                    <a:pt x="579" y="482"/>
                  </a:lnTo>
                  <a:lnTo>
                    <a:pt x="579" y="480"/>
                  </a:lnTo>
                  <a:lnTo>
                    <a:pt x="578" y="480"/>
                  </a:lnTo>
                  <a:lnTo>
                    <a:pt x="579" y="482"/>
                  </a:lnTo>
                  <a:lnTo>
                    <a:pt x="581" y="482"/>
                  </a:lnTo>
                  <a:lnTo>
                    <a:pt x="591" y="479"/>
                  </a:lnTo>
                  <a:lnTo>
                    <a:pt x="602" y="470"/>
                  </a:lnTo>
                  <a:lnTo>
                    <a:pt x="602" y="471"/>
                  </a:lnTo>
                  <a:lnTo>
                    <a:pt x="601" y="473"/>
                  </a:lnTo>
                  <a:lnTo>
                    <a:pt x="601" y="474"/>
                  </a:lnTo>
                  <a:lnTo>
                    <a:pt x="599" y="474"/>
                  </a:lnTo>
                  <a:lnTo>
                    <a:pt x="601" y="473"/>
                  </a:lnTo>
                  <a:lnTo>
                    <a:pt x="605" y="468"/>
                  </a:lnTo>
                  <a:lnTo>
                    <a:pt x="610" y="463"/>
                  </a:lnTo>
                  <a:lnTo>
                    <a:pt x="611" y="462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1" y="459"/>
                  </a:lnTo>
                  <a:lnTo>
                    <a:pt x="610" y="459"/>
                  </a:lnTo>
                  <a:lnTo>
                    <a:pt x="611" y="456"/>
                  </a:lnTo>
                  <a:lnTo>
                    <a:pt x="613" y="454"/>
                  </a:lnTo>
                  <a:lnTo>
                    <a:pt x="618" y="451"/>
                  </a:lnTo>
                  <a:lnTo>
                    <a:pt x="618" y="453"/>
                  </a:lnTo>
                  <a:lnTo>
                    <a:pt x="619" y="453"/>
                  </a:lnTo>
                  <a:lnTo>
                    <a:pt x="624" y="450"/>
                  </a:lnTo>
                  <a:lnTo>
                    <a:pt x="624" y="448"/>
                  </a:lnTo>
                  <a:lnTo>
                    <a:pt x="622" y="448"/>
                  </a:lnTo>
                  <a:lnTo>
                    <a:pt x="622" y="448"/>
                  </a:lnTo>
                  <a:lnTo>
                    <a:pt x="622" y="446"/>
                  </a:lnTo>
                  <a:lnTo>
                    <a:pt x="624" y="445"/>
                  </a:lnTo>
                  <a:lnTo>
                    <a:pt x="624" y="446"/>
                  </a:lnTo>
                  <a:lnTo>
                    <a:pt x="625" y="448"/>
                  </a:lnTo>
                  <a:lnTo>
                    <a:pt x="625" y="446"/>
                  </a:lnTo>
                  <a:lnTo>
                    <a:pt x="627" y="445"/>
                  </a:lnTo>
                  <a:lnTo>
                    <a:pt x="628" y="443"/>
                  </a:lnTo>
                  <a:lnTo>
                    <a:pt x="631" y="440"/>
                  </a:lnTo>
                  <a:lnTo>
                    <a:pt x="631" y="440"/>
                  </a:lnTo>
                  <a:lnTo>
                    <a:pt x="633" y="440"/>
                  </a:lnTo>
                  <a:lnTo>
                    <a:pt x="638" y="436"/>
                  </a:lnTo>
                  <a:lnTo>
                    <a:pt x="638" y="434"/>
                  </a:lnTo>
                  <a:lnTo>
                    <a:pt x="635" y="434"/>
                  </a:lnTo>
                  <a:lnTo>
                    <a:pt x="638" y="433"/>
                  </a:lnTo>
                  <a:lnTo>
                    <a:pt x="656" y="426"/>
                  </a:lnTo>
                  <a:lnTo>
                    <a:pt x="659" y="425"/>
                  </a:lnTo>
                  <a:lnTo>
                    <a:pt x="658" y="423"/>
                  </a:lnTo>
                  <a:lnTo>
                    <a:pt x="652" y="425"/>
                  </a:lnTo>
                  <a:lnTo>
                    <a:pt x="658" y="420"/>
                  </a:lnTo>
                  <a:lnTo>
                    <a:pt x="659" y="417"/>
                  </a:lnTo>
                  <a:lnTo>
                    <a:pt x="661" y="417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2" y="417"/>
                  </a:lnTo>
                  <a:lnTo>
                    <a:pt x="667" y="416"/>
                  </a:lnTo>
                  <a:lnTo>
                    <a:pt x="672" y="416"/>
                  </a:lnTo>
                  <a:lnTo>
                    <a:pt x="676" y="414"/>
                  </a:lnTo>
                  <a:lnTo>
                    <a:pt x="678" y="413"/>
                  </a:lnTo>
                  <a:lnTo>
                    <a:pt x="676" y="413"/>
                  </a:lnTo>
                  <a:lnTo>
                    <a:pt x="675" y="413"/>
                  </a:lnTo>
                  <a:lnTo>
                    <a:pt x="673" y="411"/>
                  </a:lnTo>
                  <a:lnTo>
                    <a:pt x="675" y="409"/>
                  </a:lnTo>
                  <a:lnTo>
                    <a:pt x="679" y="411"/>
                  </a:lnTo>
                  <a:lnTo>
                    <a:pt x="681" y="409"/>
                  </a:lnTo>
                  <a:lnTo>
                    <a:pt x="682" y="408"/>
                  </a:lnTo>
                  <a:lnTo>
                    <a:pt x="682" y="405"/>
                  </a:lnTo>
                  <a:lnTo>
                    <a:pt x="682" y="402"/>
                  </a:lnTo>
                  <a:lnTo>
                    <a:pt x="681" y="400"/>
                  </a:lnTo>
                  <a:lnTo>
                    <a:pt x="681" y="399"/>
                  </a:lnTo>
                  <a:lnTo>
                    <a:pt x="682" y="400"/>
                  </a:lnTo>
                  <a:lnTo>
                    <a:pt x="682" y="400"/>
                  </a:lnTo>
                  <a:lnTo>
                    <a:pt x="684" y="400"/>
                  </a:lnTo>
                  <a:lnTo>
                    <a:pt x="684" y="399"/>
                  </a:lnTo>
                  <a:lnTo>
                    <a:pt x="684" y="397"/>
                  </a:lnTo>
                  <a:lnTo>
                    <a:pt x="682" y="394"/>
                  </a:lnTo>
                  <a:lnTo>
                    <a:pt x="681" y="393"/>
                  </a:lnTo>
                  <a:lnTo>
                    <a:pt x="679" y="391"/>
                  </a:lnTo>
                  <a:lnTo>
                    <a:pt x="676" y="389"/>
                  </a:lnTo>
                  <a:lnTo>
                    <a:pt x="676" y="389"/>
                  </a:lnTo>
                  <a:lnTo>
                    <a:pt x="678" y="389"/>
                  </a:lnTo>
                  <a:lnTo>
                    <a:pt x="681" y="391"/>
                  </a:lnTo>
                  <a:lnTo>
                    <a:pt x="682" y="393"/>
                  </a:lnTo>
                  <a:lnTo>
                    <a:pt x="684" y="394"/>
                  </a:lnTo>
                  <a:lnTo>
                    <a:pt x="685" y="397"/>
                  </a:lnTo>
                  <a:lnTo>
                    <a:pt x="687" y="400"/>
                  </a:lnTo>
                  <a:lnTo>
                    <a:pt x="685" y="403"/>
                  </a:lnTo>
                  <a:lnTo>
                    <a:pt x="685" y="405"/>
                  </a:lnTo>
                  <a:lnTo>
                    <a:pt x="687" y="405"/>
                  </a:lnTo>
                  <a:lnTo>
                    <a:pt x="688" y="406"/>
                  </a:lnTo>
                  <a:lnTo>
                    <a:pt x="690" y="406"/>
                  </a:lnTo>
                  <a:lnTo>
                    <a:pt x="690" y="405"/>
                  </a:lnTo>
                  <a:lnTo>
                    <a:pt x="690" y="403"/>
                  </a:lnTo>
                  <a:lnTo>
                    <a:pt x="688" y="403"/>
                  </a:lnTo>
                  <a:lnTo>
                    <a:pt x="688" y="402"/>
                  </a:lnTo>
                  <a:lnTo>
                    <a:pt x="688" y="400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2" y="402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3" y="406"/>
                  </a:lnTo>
                  <a:lnTo>
                    <a:pt x="696" y="405"/>
                  </a:lnTo>
                  <a:lnTo>
                    <a:pt x="696" y="406"/>
                  </a:lnTo>
                  <a:lnTo>
                    <a:pt x="695" y="411"/>
                  </a:lnTo>
                  <a:lnTo>
                    <a:pt x="696" y="411"/>
                  </a:lnTo>
                  <a:lnTo>
                    <a:pt x="696" y="411"/>
                  </a:lnTo>
                  <a:lnTo>
                    <a:pt x="698" y="409"/>
                  </a:lnTo>
                  <a:lnTo>
                    <a:pt x="696" y="409"/>
                  </a:lnTo>
                  <a:lnTo>
                    <a:pt x="698" y="408"/>
                  </a:lnTo>
                  <a:lnTo>
                    <a:pt x="698" y="408"/>
                  </a:lnTo>
                  <a:lnTo>
                    <a:pt x="699" y="408"/>
                  </a:lnTo>
                  <a:lnTo>
                    <a:pt x="701" y="409"/>
                  </a:lnTo>
                  <a:lnTo>
                    <a:pt x="701" y="408"/>
                  </a:lnTo>
                  <a:lnTo>
                    <a:pt x="702" y="406"/>
                  </a:lnTo>
                  <a:lnTo>
                    <a:pt x="702" y="405"/>
                  </a:lnTo>
                  <a:lnTo>
                    <a:pt x="704" y="406"/>
                  </a:lnTo>
                  <a:lnTo>
                    <a:pt x="705" y="408"/>
                  </a:lnTo>
                  <a:lnTo>
                    <a:pt x="709" y="409"/>
                  </a:lnTo>
                  <a:lnTo>
                    <a:pt x="710" y="411"/>
                  </a:lnTo>
                  <a:lnTo>
                    <a:pt x="712" y="413"/>
                  </a:lnTo>
                  <a:lnTo>
                    <a:pt x="715" y="413"/>
                  </a:lnTo>
                  <a:lnTo>
                    <a:pt x="716" y="411"/>
                  </a:lnTo>
                  <a:lnTo>
                    <a:pt x="718" y="409"/>
                  </a:lnTo>
                  <a:lnTo>
                    <a:pt x="719" y="409"/>
                  </a:lnTo>
                  <a:lnTo>
                    <a:pt x="719" y="406"/>
                  </a:lnTo>
                  <a:lnTo>
                    <a:pt x="719" y="405"/>
                  </a:lnTo>
                  <a:lnTo>
                    <a:pt x="718" y="405"/>
                  </a:lnTo>
                  <a:lnTo>
                    <a:pt x="718" y="405"/>
                  </a:lnTo>
                  <a:lnTo>
                    <a:pt x="716" y="405"/>
                  </a:lnTo>
                  <a:lnTo>
                    <a:pt x="715" y="405"/>
                  </a:lnTo>
                  <a:lnTo>
                    <a:pt x="715" y="403"/>
                  </a:lnTo>
                  <a:lnTo>
                    <a:pt x="715" y="402"/>
                  </a:lnTo>
                  <a:lnTo>
                    <a:pt x="715" y="402"/>
                  </a:lnTo>
                  <a:lnTo>
                    <a:pt x="716" y="402"/>
                  </a:lnTo>
                  <a:lnTo>
                    <a:pt x="716" y="400"/>
                  </a:lnTo>
                  <a:lnTo>
                    <a:pt x="718" y="399"/>
                  </a:lnTo>
                  <a:lnTo>
                    <a:pt x="718" y="397"/>
                  </a:lnTo>
                  <a:lnTo>
                    <a:pt x="719" y="397"/>
                  </a:lnTo>
                  <a:lnTo>
                    <a:pt x="719" y="399"/>
                  </a:lnTo>
                  <a:lnTo>
                    <a:pt x="719" y="399"/>
                  </a:lnTo>
                  <a:lnTo>
                    <a:pt x="718" y="400"/>
                  </a:lnTo>
                  <a:lnTo>
                    <a:pt x="718" y="402"/>
                  </a:lnTo>
                  <a:lnTo>
                    <a:pt x="719" y="400"/>
                  </a:lnTo>
                  <a:lnTo>
                    <a:pt x="721" y="397"/>
                  </a:lnTo>
                  <a:lnTo>
                    <a:pt x="722" y="396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9" y="389"/>
                  </a:lnTo>
                  <a:lnTo>
                    <a:pt x="729" y="389"/>
                  </a:lnTo>
                  <a:lnTo>
                    <a:pt x="730" y="388"/>
                  </a:lnTo>
                  <a:lnTo>
                    <a:pt x="732" y="386"/>
                  </a:lnTo>
                  <a:lnTo>
                    <a:pt x="732" y="386"/>
                  </a:lnTo>
                  <a:lnTo>
                    <a:pt x="732" y="386"/>
                  </a:lnTo>
                  <a:lnTo>
                    <a:pt x="732" y="383"/>
                  </a:lnTo>
                  <a:lnTo>
                    <a:pt x="732" y="383"/>
                  </a:lnTo>
                  <a:lnTo>
                    <a:pt x="733" y="383"/>
                  </a:lnTo>
                  <a:lnTo>
                    <a:pt x="741" y="385"/>
                  </a:lnTo>
                  <a:lnTo>
                    <a:pt x="742" y="385"/>
                  </a:lnTo>
                  <a:lnTo>
                    <a:pt x="739" y="386"/>
                  </a:lnTo>
                  <a:lnTo>
                    <a:pt x="733" y="389"/>
                  </a:lnTo>
                  <a:lnTo>
                    <a:pt x="730" y="391"/>
                  </a:lnTo>
                  <a:lnTo>
                    <a:pt x="732" y="391"/>
                  </a:lnTo>
                  <a:lnTo>
                    <a:pt x="738" y="388"/>
                  </a:lnTo>
                  <a:lnTo>
                    <a:pt x="745" y="388"/>
                  </a:lnTo>
                  <a:lnTo>
                    <a:pt x="745" y="386"/>
                  </a:lnTo>
                  <a:lnTo>
                    <a:pt x="745" y="385"/>
                  </a:lnTo>
                  <a:lnTo>
                    <a:pt x="745" y="383"/>
                  </a:lnTo>
                  <a:lnTo>
                    <a:pt x="745" y="383"/>
                  </a:lnTo>
                  <a:lnTo>
                    <a:pt x="747" y="382"/>
                  </a:lnTo>
                  <a:lnTo>
                    <a:pt x="747" y="382"/>
                  </a:lnTo>
                  <a:lnTo>
                    <a:pt x="747" y="382"/>
                  </a:lnTo>
                  <a:lnTo>
                    <a:pt x="747" y="380"/>
                  </a:lnTo>
                  <a:lnTo>
                    <a:pt x="747" y="379"/>
                  </a:lnTo>
                  <a:lnTo>
                    <a:pt x="747" y="379"/>
                  </a:lnTo>
                  <a:lnTo>
                    <a:pt x="747" y="377"/>
                  </a:lnTo>
                  <a:lnTo>
                    <a:pt x="747" y="376"/>
                  </a:lnTo>
                  <a:lnTo>
                    <a:pt x="750" y="373"/>
                  </a:lnTo>
                  <a:lnTo>
                    <a:pt x="750" y="371"/>
                  </a:lnTo>
                  <a:lnTo>
                    <a:pt x="750" y="366"/>
                  </a:lnTo>
                  <a:lnTo>
                    <a:pt x="750" y="365"/>
                  </a:lnTo>
                  <a:lnTo>
                    <a:pt x="752" y="363"/>
                  </a:lnTo>
                  <a:lnTo>
                    <a:pt x="758" y="356"/>
                  </a:lnTo>
                  <a:lnTo>
                    <a:pt x="759" y="353"/>
                  </a:lnTo>
                  <a:lnTo>
                    <a:pt x="759" y="353"/>
                  </a:lnTo>
                  <a:lnTo>
                    <a:pt x="756" y="354"/>
                  </a:lnTo>
                  <a:lnTo>
                    <a:pt x="752" y="360"/>
                  </a:lnTo>
                  <a:lnTo>
                    <a:pt x="749" y="362"/>
                  </a:lnTo>
                  <a:lnTo>
                    <a:pt x="749" y="363"/>
                  </a:lnTo>
                  <a:lnTo>
                    <a:pt x="747" y="363"/>
                  </a:lnTo>
                  <a:lnTo>
                    <a:pt x="745" y="362"/>
                  </a:lnTo>
                  <a:lnTo>
                    <a:pt x="745" y="360"/>
                  </a:lnTo>
                  <a:lnTo>
                    <a:pt x="744" y="360"/>
                  </a:lnTo>
                  <a:lnTo>
                    <a:pt x="742" y="359"/>
                  </a:lnTo>
                  <a:lnTo>
                    <a:pt x="742" y="356"/>
                  </a:lnTo>
                  <a:lnTo>
                    <a:pt x="742" y="354"/>
                  </a:lnTo>
                  <a:lnTo>
                    <a:pt x="753" y="354"/>
                  </a:lnTo>
                  <a:lnTo>
                    <a:pt x="755" y="354"/>
                  </a:lnTo>
                  <a:lnTo>
                    <a:pt x="755" y="353"/>
                  </a:lnTo>
                  <a:lnTo>
                    <a:pt x="755" y="351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0" y="345"/>
                  </a:lnTo>
                  <a:lnTo>
                    <a:pt x="749" y="343"/>
                  </a:lnTo>
                  <a:lnTo>
                    <a:pt x="753" y="340"/>
                  </a:lnTo>
                  <a:lnTo>
                    <a:pt x="765" y="345"/>
                  </a:lnTo>
                  <a:lnTo>
                    <a:pt x="764" y="343"/>
                  </a:lnTo>
                  <a:lnTo>
                    <a:pt x="765" y="342"/>
                  </a:lnTo>
                  <a:lnTo>
                    <a:pt x="764" y="340"/>
                  </a:lnTo>
                  <a:lnTo>
                    <a:pt x="759" y="339"/>
                  </a:lnTo>
                  <a:lnTo>
                    <a:pt x="759" y="339"/>
                  </a:lnTo>
                  <a:lnTo>
                    <a:pt x="758" y="336"/>
                  </a:lnTo>
                  <a:lnTo>
                    <a:pt x="756" y="333"/>
                  </a:lnTo>
                  <a:lnTo>
                    <a:pt x="756" y="331"/>
                  </a:lnTo>
                  <a:lnTo>
                    <a:pt x="756" y="329"/>
                  </a:lnTo>
                  <a:lnTo>
                    <a:pt x="756" y="329"/>
                  </a:lnTo>
                  <a:lnTo>
                    <a:pt x="752" y="328"/>
                  </a:lnTo>
                  <a:lnTo>
                    <a:pt x="750" y="326"/>
                  </a:lnTo>
                  <a:lnTo>
                    <a:pt x="750" y="325"/>
                  </a:lnTo>
                  <a:lnTo>
                    <a:pt x="752" y="323"/>
                  </a:lnTo>
                  <a:lnTo>
                    <a:pt x="752" y="320"/>
                  </a:lnTo>
                  <a:lnTo>
                    <a:pt x="750" y="320"/>
                  </a:lnTo>
                  <a:lnTo>
                    <a:pt x="749" y="320"/>
                  </a:lnTo>
                  <a:lnTo>
                    <a:pt x="749" y="320"/>
                  </a:lnTo>
                  <a:lnTo>
                    <a:pt x="747" y="319"/>
                  </a:lnTo>
                  <a:lnTo>
                    <a:pt x="753" y="320"/>
                  </a:lnTo>
                  <a:lnTo>
                    <a:pt x="755" y="322"/>
                  </a:lnTo>
                  <a:lnTo>
                    <a:pt x="756" y="325"/>
                  </a:lnTo>
                  <a:lnTo>
                    <a:pt x="758" y="326"/>
                  </a:lnTo>
                  <a:lnTo>
                    <a:pt x="759" y="334"/>
                  </a:lnTo>
                  <a:lnTo>
                    <a:pt x="761" y="336"/>
                  </a:lnTo>
                  <a:lnTo>
                    <a:pt x="762" y="336"/>
                  </a:lnTo>
                  <a:lnTo>
                    <a:pt x="765" y="337"/>
                  </a:lnTo>
                  <a:lnTo>
                    <a:pt x="782" y="333"/>
                  </a:lnTo>
                  <a:lnTo>
                    <a:pt x="786" y="329"/>
                  </a:lnTo>
                  <a:lnTo>
                    <a:pt x="787" y="329"/>
                  </a:lnTo>
                  <a:lnTo>
                    <a:pt x="786" y="328"/>
                  </a:lnTo>
                  <a:lnTo>
                    <a:pt x="784" y="325"/>
                  </a:lnTo>
                  <a:lnTo>
                    <a:pt x="782" y="322"/>
                  </a:lnTo>
                  <a:lnTo>
                    <a:pt x="782" y="322"/>
                  </a:lnTo>
                  <a:lnTo>
                    <a:pt x="784" y="320"/>
                  </a:lnTo>
                  <a:lnTo>
                    <a:pt x="784" y="320"/>
                  </a:lnTo>
                  <a:lnTo>
                    <a:pt x="784" y="319"/>
                  </a:lnTo>
                  <a:lnTo>
                    <a:pt x="787" y="320"/>
                  </a:lnTo>
                  <a:lnTo>
                    <a:pt x="795" y="320"/>
                  </a:lnTo>
                  <a:lnTo>
                    <a:pt x="798" y="320"/>
                  </a:lnTo>
                  <a:lnTo>
                    <a:pt x="798" y="317"/>
                  </a:lnTo>
                  <a:lnTo>
                    <a:pt x="796" y="316"/>
                  </a:lnTo>
                  <a:lnTo>
                    <a:pt x="789" y="312"/>
                  </a:lnTo>
                  <a:lnTo>
                    <a:pt x="790" y="311"/>
                  </a:lnTo>
                  <a:lnTo>
                    <a:pt x="798" y="314"/>
                  </a:lnTo>
                  <a:lnTo>
                    <a:pt x="799" y="314"/>
                  </a:lnTo>
                  <a:lnTo>
                    <a:pt x="801" y="311"/>
                  </a:lnTo>
                  <a:lnTo>
                    <a:pt x="802" y="311"/>
                  </a:lnTo>
                  <a:lnTo>
                    <a:pt x="802" y="309"/>
                  </a:lnTo>
                  <a:lnTo>
                    <a:pt x="802" y="308"/>
                  </a:lnTo>
                  <a:lnTo>
                    <a:pt x="802" y="306"/>
                  </a:lnTo>
                  <a:lnTo>
                    <a:pt x="801" y="306"/>
                  </a:lnTo>
                  <a:lnTo>
                    <a:pt x="796" y="302"/>
                  </a:lnTo>
                  <a:lnTo>
                    <a:pt x="786" y="299"/>
                  </a:lnTo>
                  <a:lnTo>
                    <a:pt x="781" y="296"/>
                  </a:lnTo>
                  <a:lnTo>
                    <a:pt x="782" y="296"/>
                  </a:lnTo>
                  <a:lnTo>
                    <a:pt x="787" y="297"/>
                  </a:lnTo>
                  <a:lnTo>
                    <a:pt x="795" y="296"/>
                  </a:lnTo>
                  <a:lnTo>
                    <a:pt x="801" y="299"/>
                  </a:lnTo>
                  <a:lnTo>
                    <a:pt x="804" y="300"/>
                  </a:lnTo>
                  <a:lnTo>
                    <a:pt x="807" y="297"/>
                  </a:lnTo>
                  <a:lnTo>
                    <a:pt x="807" y="294"/>
                  </a:lnTo>
                  <a:lnTo>
                    <a:pt x="799" y="291"/>
                  </a:lnTo>
                  <a:lnTo>
                    <a:pt x="795" y="288"/>
                  </a:lnTo>
                  <a:lnTo>
                    <a:pt x="795" y="286"/>
                  </a:lnTo>
                  <a:lnTo>
                    <a:pt x="795" y="285"/>
                  </a:lnTo>
                  <a:lnTo>
                    <a:pt x="793" y="283"/>
                  </a:lnTo>
                  <a:lnTo>
                    <a:pt x="792" y="282"/>
                  </a:lnTo>
                  <a:lnTo>
                    <a:pt x="792" y="282"/>
                  </a:lnTo>
                  <a:lnTo>
                    <a:pt x="769" y="279"/>
                  </a:lnTo>
                  <a:lnTo>
                    <a:pt x="769" y="279"/>
                  </a:lnTo>
                  <a:lnTo>
                    <a:pt x="782" y="277"/>
                  </a:lnTo>
                  <a:lnTo>
                    <a:pt x="786" y="274"/>
                  </a:lnTo>
                  <a:lnTo>
                    <a:pt x="786" y="274"/>
                  </a:lnTo>
                  <a:lnTo>
                    <a:pt x="784" y="272"/>
                  </a:lnTo>
                  <a:lnTo>
                    <a:pt x="784" y="271"/>
                  </a:lnTo>
                  <a:lnTo>
                    <a:pt x="782" y="269"/>
                  </a:lnTo>
                  <a:lnTo>
                    <a:pt x="786" y="271"/>
                  </a:lnTo>
                  <a:lnTo>
                    <a:pt x="789" y="274"/>
                  </a:lnTo>
                  <a:lnTo>
                    <a:pt x="793" y="276"/>
                  </a:lnTo>
                  <a:lnTo>
                    <a:pt x="796" y="277"/>
                  </a:lnTo>
                  <a:lnTo>
                    <a:pt x="796" y="279"/>
                  </a:lnTo>
                  <a:lnTo>
                    <a:pt x="798" y="279"/>
                  </a:lnTo>
                  <a:lnTo>
                    <a:pt x="799" y="282"/>
                  </a:lnTo>
                  <a:lnTo>
                    <a:pt x="799" y="283"/>
                  </a:lnTo>
                  <a:lnTo>
                    <a:pt x="799" y="285"/>
                  </a:lnTo>
                  <a:lnTo>
                    <a:pt x="801" y="286"/>
                  </a:lnTo>
                  <a:lnTo>
                    <a:pt x="806" y="285"/>
                  </a:lnTo>
                  <a:lnTo>
                    <a:pt x="812" y="286"/>
                  </a:lnTo>
                  <a:lnTo>
                    <a:pt x="813" y="286"/>
                  </a:lnTo>
                  <a:lnTo>
                    <a:pt x="815" y="283"/>
                  </a:lnTo>
                  <a:lnTo>
                    <a:pt x="816" y="283"/>
                  </a:lnTo>
                  <a:lnTo>
                    <a:pt x="816" y="282"/>
                  </a:lnTo>
                  <a:lnTo>
                    <a:pt x="816" y="280"/>
                  </a:lnTo>
                  <a:lnTo>
                    <a:pt x="815" y="279"/>
                  </a:lnTo>
                  <a:lnTo>
                    <a:pt x="816" y="277"/>
                  </a:lnTo>
                  <a:lnTo>
                    <a:pt x="819" y="276"/>
                  </a:lnTo>
                  <a:lnTo>
                    <a:pt x="821" y="274"/>
                  </a:lnTo>
                  <a:lnTo>
                    <a:pt x="822" y="272"/>
                  </a:lnTo>
                  <a:lnTo>
                    <a:pt x="822" y="269"/>
                  </a:lnTo>
                  <a:lnTo>
                    <a:pt x="822" y="268"/>
                  </a:lnTo>
                  <a:close/>
                  <a:moveTo>
                    <a:pt x="488" y="6"/>
                  </a:moveTo>
                  <a:lnTo>
                    <a:pt x="488" y="5"/>
                  </a:lnTo>
                  <a:lnTo>
                    <a:pt x="490" y="3"/>
                  </a:lnTo>
                  <a:lnTo>
                    <a:pt x="488" y="3"/>
                  </a:lnTo>
                  <a:lnTo>
                    <a:pt x="487" y="0"/>
                  </a:lnTo>
                  <a:lnTo>
                    <a:pt x="487" y="1"/>
                  </a:lnTo>
                  <a:lnTo>
                    <a:pt x="487" y="5"/>
                  </a:lnTo>
                  <a:lnTo>
                    <a:pt x="488" y="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70"/>
            <p:cNvSpPr>
              <a:spLocks noEditPoints="1"/>
            </p:cNvSpPr>
            <p:nvPr/>
          </p:nvSpPr>
          <p:spPr bwMode="gray">
            <a:xfrm>
              <a:off x="2782888" y="2851151"/>
              <a:ext cx="1304925" cy="884238"/>
            </a:xfrm>
            <a:custGeom>
              <a:avLst/>
              <a:gdLst>
                <a:gd name="T0" fmla="*/ 821 w 822"/>
                <a:gd name="T1" fmla="*/ 266 h 557"/>
                <a:gd name="T2" fmla="*/ 810 w 822"/>
                <a:gd name="T3" fmla="*/ 231 h 557"/>
                <a:gd name="T4" fmla="*/ 799 w 822"/>
                <a:gd name="T5" fmla="*/ 183 h 557"/>
                <a:gd name="T6" fmla="*/ 733 w 822"/>
                <a:gd name="T7" fmla="*/ 151 h 557"/>
                <a:gd name="T8" fmla="*/ 698 w 822"/>
                <a:gd name="T9" fmla="*/ 85 h 557"/>
                <a:gd name="T10" fmla="*/ 682 w 822"/>
                <a:gd name="T11" fmla="*/ 77 h 557"/>
                <a:gd name="T12" fmla="*/ 642 w 822"/>
                <a:gd name="T13" fmla="*/ 20 h 557"/>
                <a:gd name="T14" fmla="*/ 599 w 822"/>
                <a:gd name="T15" fmla="*/ 14 h 557"/>
                <a:gd name="T16" fmla="*/ 605 w 822"/>
                <a:gd name="T17" fmla="*/ 78 h 557"/>
                <a:gd name="T18" fmla="*/ 564 w 822"/>
                <a:gd name="T19" fmla="*/ 72 h 557"/>
                <a:gd name="T20" fmla="*/ 521 w 822"/>
                <a:gd name="T21" fmla="*/ 122 h 557"/>
                <a:gd name="T22" fmla="*/ 474 w 822"/>
                <a:gd name="T23" fmla="*/ 120 h 557"/>
                <a:gd name="T24" fmla="*/ 471 w 822"/>
                <a:gd name="T25" fmla="*/ 131 h 557"/>
                <a:gd name="T26" fmla="*/ 424 w 822"/>
                <a:gd name="T27" fmla="*/ 71 h 557"/>
                <a:gd name="T28" fmla="*/ 376 w 822"/>
                <a:gd name="T29" fmla="*/ 111 h 557"/>
                <a:gd name="T30" fmla="*/ 347 w 822"/>
                <a:gd name="T31" fmla="*/ 117 h 557"/>
                <a:gd name="T32" fmla="*/ 313 w 822"/>
                <a:gd name="T33" fmla="*/ 137 h 557"/>
                <a:gd name="T34" fmla="*/ 299 w 822"/>
                <a:gd name="T35" fmla="*/ 194 h 557"/>
                <a:gd name="T36" fmla="*/ 265 w 822"/>
                <a:gd name="T37" fmla="*/ 202 h 557"/>
                <a:gd name="T38" fmla="*/ 250 w 822"/>
                <a:gd name="T39" fmla="*/ 217 h 557"/>
                <a:gd name="T40" fmla="*/ 211 w 822"/>
                <a:gd name="T41" fmla="*/ 146 h 557"/>
                <a:gd name="T42" fmla="*/ 223 w 822"/>
                <a:gd name="T43" fmla="*/ 97 h 557"/>
                <a:gd name="T44" fmla="*/ 196 w 822"/>
                <a:gd name="T45" fmla="*/ 65 h 557"/>
                <a:gd name="T46" fmla="*/ 156 w 822"/>
                <a:gd name="T47" fmla="*/ 20 h 557"/>
                <a:gd name="T48" fmla="*/ 105 w 822"/>
                <a:gd name="T49" fmla="*/ 45 h 557"/>
                <a:gd name="T50" fmla="*/ 148 w 822"/>
                <a:gd name="T51" fmla="*/ 60 h 557"/>
                <a:gd name="T52" fmla="*/ 159 w 822"/>
                <a:gd name="T53" fmla="*/ 120 h 557"/>
                <a:gd name="T54" fmla="*/ 129 w 822"/>
                <a:gd name="T55" fmla="*/ 114 h 557"/>
                <a:gd name="T56" fmla="*/ 103 w 822"/>
                <a:gd name="T57" fmla="*/ 77 h 557"/>
                <a:gd name="T58" fmla="*/ 63 w 822"/>
                <a:gd name="T59" fmla="*/ 112 h 557"/>
                <a:gd name="T60" fmla="*/ 83 w 822"/>
                <a:gd name="T61" fmla="*/ 154 h 557"/>
                <a:gd name="T62" fmla="*/ 49 w 822"/>
                <a:gd name="T63" fmla="*/ 169 h 557"/>
                <a:gd name="T64" fmla="*/ 42 w 822"/>
                <a:gd name="T65" fmla="*/ 200 h 557"/>
                <a:gd name="T66" fmla="*/ 112 w 822"/>
                <a:gd name="T67" fmla="*/ 188 h 557"/>
                <a:gd name="T68" fmla="*/ 137 w 822"/>
                <a:gd name="T69" fmla="*/ 183 h 557"/>
                <a:gd name="T70" fmla="*/ 182 w 822"/>
                <a:gd name="T71" fmla="*/ 179 h 557"/>
                <a:gd name="T72" fmla="*/ 205 w 822"/>
                <a:gd name="T73" fmla="*/ 206 h 557"/>
                <a:gd name="T74" fmla="*/ 191 w 822"/>
                <a:gd name="T75" fmla="*/ 262 h 557"/>
                <a:gd name="T76" fmla="*/ 136 w 822"/>
                <a:gd name="T77" fmla="*/ 280 h 557"/>
                <a:gd name="T78" fmla="*/ 100 w 822"/>
                <a:gd name="T79" fmla="*/ 282 h 557"/>
                <a:gd name="T80" fmla="*/ 46 w 822"/>
                <a:gd name="T81" fmla="*/ 326 h 557"/>
                <a:gd name="T82" fmla="*/ 145 w 822"/>
                <a:gd name="T83" fmla="*/ 322 h 557"/>
                <a:gd name="T84" fmla="*/ 163 w 822"/>
                <a:gd name="T85" fmla="*/ 346 h 557"/>
                <a:gd name="T86" fmla="*/ 183 w 822"/>
                <a:gd name="T87" fmla="*/ 373 h 557"/>
                <a:gd name="T88" fmla="*/ 228 w 822"/>
                <a:gd name="T89" fmla="*/ 359 h 557"/>
                <a:gd name="T90" fmla="*/ 193 w 822"/>
                <a:gd name="T91" fmla="*/ 406 h 557"/>
                <a:gd name="T92" fmla="*/ 199 w 822"/>
                <a:gd name="T93" fmla="*/ 417 h 557"/>
                <a:gd name="T94" fmla="*/ 193 w 822"/>
                <a:gd name="T95" fmla="*/ 437 h 557"/>
                <a:gd name="T96" fmla="*/ 137 w 822"/>
                <a:gd name="T97" fmla="*/ 453 h 557"/>
                <a:gd name="T98" fmla="*/ 209 w 822"/>
                <a:gd name="T99" fmla="*/ 480 h 557"/>
                <a:gd name="T100" fmla="*/ 288 w 822"/>
                <a:gd name="T101" fmla="*/ 480 h 557"/>
                <a:gd name="T102" fmla="*/ 307 w 822"/>
                <a:gd name="T103" fmla="*/ 496 h 557"/>
                <a:gd name="T104" fmla="*/ 334 w 822"/>
                <a:gd name="T105" fmla="*/ 531 h 557"/>
                <a:gd name="T106" fmla="*/ 471 w 822"/>
                <a:gd name="T107" fmla="*/ 536 h 557"/>
                <a:gd name="T108" fmla="*/ 496 w 822"/>
                <a:gd name="T109" fmla="*/ 502 h 557"/>
                <a:gd name="T110" fmla="*/ 561 w 822"/>
                <a:gd name="T111" fmla="*/ 486 h 557"/>
                <a:gd name="T112" fmla="*/ 575 w 822"/>
                <a:gd name="T113" fmla="*/ 485 h 557"/>
                <a:gd name="T114" fmla="*/ 631 w 822"/>
                <a:gd name="T115" fmla="*/ 440 h 557"/>
                <a:gd name="T116" fmla="*/ 687 w 822"/>
                <a:gd name="T117" fmla="*/ 405 h 557"/>
                <a:gd name="T118" fmla="*/ 718 w 822"/>
                <a:gd name="T119" fmla="*/ 397 h 557"/>
                <a:gd name="T120" fmla="*/ 752 w 822"/>
                <a:gd name="T121" fmla="*/ 360 h 557"/>
                <a:gd name="T122" fmla="*/ 787 w 822"/>
                <a:gd name="T123" fmla="*/ 329 h 557"/>
                <a:gd name="T124" fmla="*/ 789 w 822"/>
                <a:gd name="T125" fmla="*/ 274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557">
                  <a:moveTo>
                    <a:pt x="319" y="550"/>
                  </a:moveTo>
                  <a:lnTo>
                    <a:pt x="319" y="550"/>
                  </a:lnTo>
                  <a:lnTo>
                    <a:pt x="319" y="550"/>
                  </a:lnTo>
                  <a:lnTo>
                    <a:pt x="317" y="550"/>
                  </a:lnTo>
                  <a:lnTo>
                    <a:pt x="316" y="550"/>
                  </a:lnTo>
                  <a:lnTo>
                    <a:pt x="316" y="551"/>
                  </a:lnTo>
                  <a:lnTo>
                    <a:pt x="316" y="554"/>
                  </a:lnTo>
                  <a:lnTo>
                    <a:pt x="317" y="554"/>
                  </a:lnTo>
                  <a:lnTo>
                    <a:pt x="317" y="556"/>
                  </a:lnTo>
                  <a:lnTo>
                    <a:pt x="317" y="557"/>
                  </a:lnTo>
                  <a:lnTo>
                    <a:pt x="319" y="556"/>
                  </a:lnTo>
                  <a:lnTo>
                    <a:pt x="319" y="554"/>
                  </a:lnTo>
                  <a:lnTo>
                    <a:pt x="320" y="553"/>
                  </a:lnTo>
                  <a:lnTo>
                    <a:pt x="319" y="551"/>
                  </a:lnTo>
                  <a:lnTo>
                    <a:pt x="319" y="550"/>
                  </a:lnTo>
                  <a:close/>
                  <a:moveTo>
                    <a:pt x="507" y="505"/>
                  </a:moveTo>
                  <a:lnTo>
                    <a:pt x="505" y="505"/>
                  </a:lnTo>
                  <a:lnTo>
                    <a:pt x="505" y="505"/>
                  </a:lnTo>
                  <a:lnTo>
                    <a:pt x="504" y="505"/>
                  </a:lnTo>
                  <a:lnTo>
                    <a:pt x="501" y="508"/>
                  </a:lnTo>
                  <a:lnTo>
                    <a:pt x="501" y="510"/>
                  </a:lnTo>
                  <a:lnTo>
                    <a:pt x="504" y="508"/>
                  </a:lnTo>
                  <a:lnTo>
                    <a:pt x="505" y="508"/>
                  </a:lnTo>
                  <a:lnTo>
                    <a:pt x="505" y="508"/>
                  </a:lnTo>
                  <a:lnTo>
                    <a:pt x="505" y="510"/>
                  </a:lnTo>
                  <a:lnTo>
                    <a:pt x="505" y="510"/>
                  </a:lnTo>
                  <a:lnTo>
                    <a:pt x="505" y="511"/>
                  </a:lnTo>
                  <a:lnTo>
                    <a:pt x="505" y="511"/>
                  </a:lnTo>
                  <a:lnTo>
                    <a:pt x="507" y="508"/>
                  </a:lnTo>
                  <a:lnTo>
                    <a:pt x="507" y="507"/>
                  </a:lnTo>
                  <a:lnTo>
                    <a:pt x="507" y="505"/>
                  </a:lnTo>
                  <a:lnTo>
                    <a:pt x="507" y="505"/>
                  </a:lnTo>
                  <a:close/>
                  <a:moveTo>
                    <a:pt x="457" y="105"/>
                  </a:moveTo>
                  <a:lnTo>
                    <a:pt x="457" y="106"/>
                  </a:lnTo>
                  <a:lnTo>
                    <a:pt x="459" y="108"/>
                  </a:lnTo>
                  <a:lnTo>
                    <a:pt x="459" y="109"/>
                  </a:lnTo>
                  <a:lnTo>
                    <a:pt x="461" y="109"/>
                  </a:lnTo>
                  <a:lnTo>
                    <a:pt x="461" y="108"/>
                  </a:lnTo>
                  <a:lnTo>
                    <a:pt x="461" y="106"/>
                  </a:lnTo>
                  <a:lnTo>
                    <a:pt x="461" y="103"/>
                  </a:lnTo>
                  <a:lnTo>
                    <a:pt x="459" y="103"/>
                  </a:lnTo>
                  <a:lnTo>
                    <a:pt x="459" y="102"/>
                  </a:lnTo>
                  <a:lnTo>
                    <a:pt x="457" y="100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7" y="105"/>
                  </a:lnTo>
                  <a:close/>
                  <a:moveTo>
                    <a:pt x="822" y="268"/>
                  </a:moveTo>
                  <a:lnTo>
                    <a:pt x="821" y="268"/>
                  </a:lnTo>
                  <a:lnTo>
                    <a:pt x="821" y="266"/>
                  </a:lnTo>
                  <a:lnTo>
                    <a:pt x="821" y="263"/>
                  </a:lnTo>
                  <a:lnTo>
                    <a:pt x="821" y="260"/>
                  </a:lnTo>
                  <a:lnTo>
                    <a:pt x="821" y="257"/>
                  </a:lnTo>
                  <a:lnTo>
                    <a:pt x="821" y="254"/>
                  </a:lnTo>
                  <a:lnTo>
                    <a:pt x="818" y="257"/>
                  </a:lnTo>
                  <a:lnTo>
                    <a:pt x="816" y="262"/>
                  </a:lnTo>
                  <a:lnTo>
                    <a:pt x="816" y="262"/>
                  </a:lnTo>
                  <a:lnTo>
                    <a:pt x="815" y="263"/>
                  </a:lnTo>
                  <a:lnTo>
                    <a:pt x="813" y="265"/>
                  </a:lnTo>
                  <a:lnTo>
                    <a:pt x="813" y="266"/>
                  </a:lnTo>
                  <a:lnTo>
                    <a:pt x="813" y="265"/>
                  </a:lnTo>
                  <a:lnTo>
                    <a:pt x="812" y="265"/>
                  </a:lnTo>
                  <a:lnTo>
                    <a:pt x="812" y="263"/>
                  </a:lnTo>
                  <a:lnTo>
                    <a:pt x="812" y="263"/>
                  </a:lnTo>
                  <a:lnTo>
                    <a:pt x="809" y="263"/>
                  </a:lnTo>
                  <a:lnTo>
                    <a:pt x="809" y="263"/>
                  </a:lnTo>
                  <a:lnTo>
                    <a:pt x="810" y="262"/>
                  </a:lnTo>
                  <a:lnTo>
                    <a:pt x="810" y="262"/>
                  </a:lnTo>
                  <a:lnTo>
                    <a:pt x="812" y="262"/>
                  </a:lnTo>
                  <a:lnTo>
                    <a:pt x="812" y="260"/>
                  </a:lnTo>
                  <a:lnTo>
                    <a:pt x="810" y="259"/>
                  </a:lnTo>
                  <a:lnTo>
                    <a:pt x="804" y="260"/>
                  </a:lnTo>
                  <a:lnTo>
                    <a:pt x="804" y="259"/>
                  </a:lnTo>
                  <a:lnTo>
                    <a:pt x="807" y="257"/>
                  </a:lnTo>
                  <a:lnTo>
                    <a:pt x="809" y="257"/>
                  </a:lnTo>
                  <a:lnTo>
                    <a:pt x="812" y="256"/>
                  </a:lnTo>
                  <a:lnTo>
                    <a:pt x="812" y="256"/>
                  </a:lnTo>
                  <a:lnTo>
                    <a:pt x="812" y="254"/>
                  </a:lnTo>
                  <a:lnTo>
                    <a:pt x="812" y="254"/>
                  </a:lnTo>
                  <a:lnTo>
                    <a:pt x="812" y="252"/>
                  </a:lnTo>
                  <a:lnTo>
                    <a:pt x="813" y="251"/>
                  </a:lnTo>
                  <a:lnTo>
                    <a:pt x="813" y="249"/>
                  </a:lnTo>
                  <a:lnTo>
                    <a:pt x="813" y="249"/>
                  </a:lnTo>
                  <a:lnTo>
                    <a:pt x="810" y="249"/>
                  </a:lnTo>
                  <a:lnTo>
                    <a:pt x="806" y="249"/>
                  </a:lnTo>
                  <a:lnTo>
                    <a:pt x="793" y="249"/>
                  </a:lnTo>
                  <a:lnTo>
                    <a:pt x="786" y="251"/>
                  </a:lnTo>
                  <a:lnTo>
                    <a:pt x="782" y="249"/>
                  </a:lnTo>
                  <a:lnTo>
                    <a:pt x="787" y="249"/>
                  </a:lnTo>
                  <a:lnTo>
                    <a:pt x="792" y="248"/>
                  </a:lnTo>
                  <a:lnTo>
                    <a:pt x="801" y="248"/>
                  </a:lnTo>
                  <a:lnTo>
                    <a:pt x="812" y="245"/>
                  </a:lnTo>
                  <a:lnTo>
                    <a:pt x="813" y="245"/>
                  </a:lnTo>
                  <a:lnTo>
                    <a:pt x="816" y="240"/>
                  </a:lnTo>
                  <a:lnTo>
                    <a:pt x="818" y="239"/>
                  </a:lnTo>
                  <a:lnTo>
                    <a:pt x="818" y="237"/>
                  </a:lnTo>
                  <a:lnTo>
                    <a:pt x="816" y="235"/>
                  </a:lnTo>
                  <a:lnTo>
                    <a:pt x="815" y="232"/>
                  </a:lnTo>
                  <a:lnTo>
                    <a:pt x="810" y="231"/>
                  </a:lnTo>
                  <a:lnTo>
                    <a:pt x="809" y="229"/>
                  </a:lnTo>
                  <a:lnTo>
                    <a:pt x="801" y="232"/>
                  </a:lnTo>
                  <a:lnTo>
                    <a:pt x="798" y="231"/>
                  </a:lnTo>
                  <a:lnTo>
                    <a:pt x="786" y="235"/>
                  </a:lnTo>
                  <a:lnTo>
                    <a:pt x="786" y="234"/>
                  </a:lnTo>
                  <a:lnTo>
                    <a:pt x="787" y="232"/>
                  </a:lnTo>
                  <a:lnTo>
                    <a:pt x="793" y="232"/>
                  </a:lnTo>
                  <a:lnTo>
                    <a:pt x="796" y="229"/>
                  </a:lnTo>
                  <a:lnTo>
                    <a:pt x="798" y="229"/>
                  </a:lnTo>
                  <a:lnTo>
                    <a:pt x="801" y="229"/>
                  </a:lnTo>
                  <a:lnTo>
                    <a:pt x="804" y="228"/>
                  </a:lnTo>
                  <a:lnTo>
                    <a:pt x="806" y="226"/>
                  </a:lnTo>
                  <a:lnTo>
                    <a:pt x="806" y="223"/>
                  </a:lnTo>
                  <a:lnTo>
                    <a:pt x="799" y="222"/>
                  </a:lnTo>
                  <a:lnTo>
                    <a:pt x="798" y="220"/>
                  </a:lnTo>
                  <a:lnTo>
                    <a:pt x="801" y="219"/>
                  </a:lnTo>
                  <a:lnTo>
                    <a:pt x="807" y="219"/>
                  </a:lnTo>
                  <a:lnTo>
                    <a:pt x="810" y="217"/>
                  </a:lnTo>
                  <a:lnTo>
                    <a:pt x="810" y="215"/>
                  </a:lnTo>
                  <a:lnTo>
                    <a:pt x="810" y="214"/>
                  </a:lnTo>
                  <a:lnTo>
                    <a:pt x="810" y="212"/>
                  </a:lnTo>
                  <a:lnTo>
                    <a:pt x="809" y="211"/>
                  </a:lnTo>
                  <a:lnTo>
                    <a:pt x="812" y="209"/>
                  </a:lnTo>
                  <a:lnTo>
                    <a:pt x="812" y="209"/>
                  </a:lnTo>
                  <a:lnTo>
                    <a:pt x="812" y="208"/>
                  </a:lnTo>
                  <a:lnTo>
                    <a:pt x="812" y="203"/>
                  </a:lnTo>
                  <a:lnTo>
                    <a:pt x="812" y="203"/>
                  </a:lnTo>
                  <a:lnTo>
                    <a:pt x="812" y="202"/>
                  </a:lnTo>
                  <a:lnTo>
                    <a:pt x="813" y="199"/>
                  </a:lnTo>
                  <a:lnTo>
                    <a:pt x="815" y="197"/>
                  </a:lnTo>
                  <a:lnTo>
                    <a:pt x="815" y="192"/>
                  </a:lnTo>
                  <a:lnTo>
                    <a:pt x="813" y="192"/>
                  </a:lnTo>
                  <a:lnTo>
                    <a:pt x="812" y="189"/>
                  </a:lnTo>
                  <a:lnTo>
                    <a:pt x="810" y="189"/>
                  </a:lnTo>
                  <a:lnTo>
                    <a:pt x="810" y="189"/>
                  </a:lnTo>
                  <a:lnTo>
                    <a:pt x="809" y="189"/>
                  </a:lnTo>
                  <a:lnTo>
                    <a:pt x="809" y="188"/>
                  </a:lnTo>
                  <a:lnTo>
                    <a:pt x="809" y="188"/>
                  </a:lnTo>
                  <a:lnTo>
                    <a:pt x="809" y="186"/>
                  </a:lnTo>
                  <a:lnTo>
                    <a:pt x="809" y="185"/>
                  </a:lnTo>
                  <a:lnTo>
                    <a:pt x="807" y="185"/>
                  </a:lnTo>
                  <a:lnTo>
                    <a:pt x="804" y="186"/>
                  </a:lnTo>
                  <a:lnTo>
                    <a:pt x="801" y="191"/>
                  </a:lnTo>
                  <a:lnTo>
                    <a:pt x="799" y="191"/>
                  </a:lnTo>
                  <a:lnTo>
                    <a:pt x="799" y="189"/>
                  </a:lnTo>
                  <a:lnTo>
                    <a:pt x="799" y="188"/>
                  </a:lnTo>
                  <a:lnTo>
                    <a:pt x="799" y="186"/>
                  </a:lnTo>
                  <a:lnTo>
                    <a:pt x="799" y="185"/>
                  </a:lnTo>
                  <a:lnTo>
                    <a:pt x="799" y="183"/>
                  </a:lnTo>
                  <a:lnTo>
                    <a:pt x="798" y="182"/>
                  </a:lnTo>
                  <a:lnTo>
                    <a:pt x="798" y="182"/>
                  </a:lnTo>
                  <a:lnTo>
                    <a:pt x="795" y="182"/>
                  </a:lnTo>
                  <a:lnTo>
                    <a:pt x="795" y="180"/>
                  </a:lnTo>
                  <a:lnTo>
                    <a:pt x="796" y="180"/>
                  </a:lnTo>
                  <a:lnTo>
                    <a:pt x="796" y="179"/>
                  </a:lnTo>
                  <a:lnTo>
                    <a:pt x="796" y="177"/>
                  </a:lnTo>
                  <a:lnTo>
                    <a:pt x="796" y="175"/>
                  </a:lnTo>
                  <a:lnTo>
                    <a:pt x="795" y="174"/>
                  </a:lnTo>
                  <a:lnTo>
                    <a:pt x="793" y="174"/>
                  </a:lnTo>
                  <a:lnTo>
                    <a:pt x="786" y="175"/>
                  </a:lnTo>
                  <a:lnTo>
                    <a:pt x="784" y="175"/>
                  </a:lnTo>
                  <a:lnTo>
                    <a:pt x="767" y="166"/>
                  </a:lnTo>
                  <a:lnTo>
                    <a:pt x="767" y="168"/>
                  </a:lnTo>
                  <a:lnTo>
                    <a:pt x="770" y="169"/>
                  </a:lnTo>
                  <a:lnTo>
                    <a:pt x="772" y="172"/>
                  </a:lnTo>
                  <a:lnTo>
                    <a:pt x="765" y="168"/>
                  </a:lnTo>
                  <a:lnTo>
                    <a:pt x="762" y="166"/>
                  </a:lnTo>
                  <a:lnTo>
                    <a:pt x="761" y="168"/>
                  </a:lnTo>
                  <a:lnTo>
                    <a:pt x="752" y="182"/>
                  </a:lnTo>
                  <a:lnTo>
                    <a:pt x="752" y="185"/>
                  </a:lnTo>
                  <a:lnTo>
                    <a:pt x="750" y="186"/>
                  </a:lnTo>
                  <a:lnTo>
                    <a:pt x="747" y="188"/>
                  </a:lnTo>
                  <a:lnTo>
                    <a:pt x="747" y="189"/>
                  </a:lnTo>
                  <a:lnTo>
                    <a:pt x="745" y="189"/>
                  </a:lnTo>
                  <a:lnTo>
                    <a:pt x="744" y="194"/>
                  </a:lnTo>
                  <a:lnTo>
                    <a:pt x="744" y="195"/>
                  </a:lnTo>
                  <a:lnTo>
                    <a:pt x="744" y="192"/>
                  </a:lnTo>
                  <a:lnTo>
                    <a:pt x="745" y="189"/>
                  </a:lnTo>
                  <a:lnTo>
                    <a:pt x="745" y="188"/>
                  </a:lnTo>
                  <a:lnTo>
                    <a:pt x="752" y="180"/>
                  </a:lnTo>
                  <a:lnTo>
                    <a:pt x="753" y="177"/>
                  </a:lnTo>
                  <a:lnTo>
                    <a:pt x="756" y="172"/>
                  </a:lnTo>
                  <a:lnTo>
                    <a:pt x="759" y="168"/>
                  </a:lnTo>
                  <a:lnTo>
                    <a:pt x="761" y="166"/>
                  </a:lnTo>
                  <a:lnTo>
                    <a:pt x="765" y="165"/>
                  </a:lnTo>
                  <a:lnTo>
                    <a:pt x="764" y="163"/>
                  </a:lnTo>
                  <a:lnTo>
                    <a:pt x="759" y="160"/>
                  </a:lnTo>
                  <a:lnTo>
                    <a:pt x="758" y="158"/>
                  </a:lnTo>
                  <a:lnTo>
                    <a:pt x="756" y="157"/>
                  </a:lnTo>
                  <a:lnTo>
                    <a:pt x="756" y="157"/>
                  </a:lnTo>
                  <a:lnTo>
                    <a:pt x="756" y="155"/>
                  </a:lnTo>
                  <a:lnTo>
                    <a:pt x="756" y="154"/>
                  </a:lnTo>
                  <a:lnTo>
                    <a:pt x="758" y="152"/>
                  </a:lnTo>
                  <a:lnTo>
                    <a:pt x="761" y="145"/>
                  </a:lnTo>
                  <a:lnTo>
                    <a:pt x="758" y="142"/>
                  </a:lnTo>
                  <a:lnTo>
                    <a:pt x="755" y="143"/>
                  </a:lnTo>
                  <a:lnTo>
                    <a:pt x="750" y="146"/>
                  </a:lnTo>
                  <a:lnTo>
                    <a:pt x="733" y="151"/>
                  </a:lnTo>
                  <a:lnTo>
                    <a:pt x="729" y="154"/>
                  </a:lnTo>
                  <a:lnTo>
                    <a:pt x="725" y="154"/>
                  </a:lnTo>
                  <a:lnTo>
                    <a:pt x="722" y="152"/>
                  </a:lnTo>
                  <a:lnTo>
                    <a:pt x="724" y="149"/>
                  </a:lnTo>
                  <a:lnTo>
                    <a:pt x="725" y="146"/>
                  </a:lnTo>
                  <a:lnTo>
                    <a:pt x="727" y="142"/>
                  </a:lnTo>
                  <a:lnTo>
                    <a:pt x="724" y="146"/>
                  </a:lnTo>
                  <a:lnTo>
                    <a:pt x="721" y="148"/>
                  </a:lnTo>
                  <a:lnTo>
                    <a:pt x="719" y="148"/>
                  </a:lnTo>
                  <a:lnTo>
                    <a:pt x="722" y="145"/>
                  </a:lnTo>
                  <a:lnTo>
                    <a:pt x="724" y="142"/>
                  </a:lnTo>
                  <a:lnTo>
                    <a:pt x="724" y="138"/>
                  </a:lnTo>
                  <a:lnTo>
                    <a:pt x="725" y="135"/>
                  </a:lnTo>
                  <a:lnTo>
                    <a:pt x="732" y="132"/>
                  </a:lnTo>
                  <a:lnTo>
                    <a:pt x="736" y="126"/>
                  </a:lnTo>
                  <a:lnTo>
                    <a:pt x="736" y="125"/>
                  </a:lnTo>
                  <a:lnTo>
                    <a:pt x="738" y="125"/>
                  </a:lnTo>
                  <a:lnTo>
                    <a:pt x="739" y="120"/>
                  </a:lnTo>
                  <a:lnTo>
                    <a:pt x="739" y="118"/>
                  </a:lnTo>
                  <a:lnTo>
                    <a:pt x="739" y="117"/>
                  </a:lnTo>
                  <a:lnTo>
                    <a:pt x="739" y="115"/>
                  </a:lnTo>
                  <a:lnTo>
                    <a:pt x="739" y="115"/>
                  </a:lnTo>
                  <a:lnTo>
                    <a:pt x="741" y="114"/>
                  </a:lnTo>
                  <a:lnTo>
                    <a:pt x="741" y="114"/>
                  </a:lnTo>
                  <a:lnTo>
                    <a:pt x="741" y="111"/>
                  </a:lnTo>
                  <a:lnTo>
                    <a:pt x="739" y="108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8" y="105"/>
                  </a:lnTo>
                  <a:lnTo>
                    <a:pt x="736" y="103"/>
                  </a:lnTo>
                  <a:lnTo>
                    <a:pt x="736" y="102"/>
                  </a:lnTo>
                  <a:lnTo>
                    <a:pt x="736" y="97"/>
                  </a:lnTo>
                  <a:lnTo>
                    <a:pt x="735" y="94"/>
                  </a:lnTo>
                  <a:lnTo>
                    <a:pt x="733" y="92"/>
                  </a:lnTo>
                  <a:lnTo>
                    <a:pt x="732" y="92"/>
                  </a:lnTo>
                  <a:lnTo>
                    <a:pt x="729" y="92"/>
                  </a:lnTo>
                  <a:lnTo>
                    <a:pt x="722" y="98"/>
                  </a:lnTo>
                  <a:lnTo>
                    <a:pt x="718" y="98"/>
                  </a:lnTo>
                  <a:lnTo>
                    <a:pt x="713" y="95"/>
                  </a:lnTo>
                  <a:lnTo>
                    <a:pt x="705" y="95"/>
                  </a:lnTo>
                  <a:lnTo>
                    <a:pt x="704" y="94"/>
                  </a:lnTo>
                  <a:lnTo>
                    <a:pt x="704" y="94"/>
                  </a:lnTo>
                  <a:lnTo>
                    <a:pt x="705" y="92"/>
                  </a:lnTo>
                  <a:lnTo>
                    <a:pt x="707" y="92"/>
                  </a:lnTo>
                  <a:lnTo>
                    <a:pt x="707" y="89"/>
                  </a:lnTo>
                  <a:lnTo>
                    <a:pt x="705" y="88"/>
                  </a:lnTo>
                  <a:lnTo>
                    <a:pt x="701" y="86"/>
                  </a:lnTo>
                  <a:lnTo>
                    <a:pt x="699" y="86"/>
                  </a:lnTo>
                  <a:lnTo>
                    <a:pt x="698" y="85"/>
                  </a:lnTo>
                  <a:lnTo>
                    <a:pt x="699" y="80"/>
                  </a:lnTo>
                  <a:lnTo>
                    <a:pt x="701" y="78"/>
                  </a:lnTo>
                  <a:lnTo>
                    <a:pt x="705" y="78"/>
                  </a:lnTo>
                  <a:lnTo>
                    <a:pt x="707" y="78"/>
                  </a:lnTo>
                  <a:lnTo>
                    <a:pt x="713" y="71"/>
                  </a:lnTo>
                  <a:lnTo>
                    <a:pt x="715" y="69"/>
                  </a:lnTo>
                  <a:lnTo>
                    <a:pt x="715" y="66"/>
                  </a:lnTo>
                  <a:lnTo>
                    <a:pt x="716" y="65"/>
                  </a:lnTo>
                  <a:lnTo>
                    <a:pt x="715" y="63"/>
                  </a:lnTo>
                  <a:lnTo>
                    <a:pt x="715" y="63"/>
                  </a:lnTo>
                  <a:lnTo>
                    <a:pt x="713" y="58"/>
                  </a:lnTo>
                  <a:lnTo>
                    <a:pt x="713" y="58"/>
                  </a:lnTo>
                  <a:lnTo>
                    <a:pt x="713" y="57"/>
                  </a:lnTo>
                  <a:lnTo>
                    <a:pt x="712" y="57"/>
                  </a:lnTo>
                  <a:lnTo>
                    <a:pt x="710" y="55"/>
                  </a:lnTo>
                  <a:lnTo>
                    <a:pt x="712" y="52"/>
                  </a:lnTo>
                  <a:lnTo>
                    <a:pt x="715" y="51"/>
                  </a:lnTo>
                  <a:lnTo>
                    <a:pt x="721" y="49"/>
                  </a:lnTo>
                  <a:lnTo>
                    <a:pt x="727" y="45"/>
                  </a:lnTo>
                  <a:lnTo>
                    <a:pt x="739" y="38"/>
                  </a:lnTo>
                  <a:lnTo>
                    <a:pt x="744" y="34"/>
                  </a:lnTo>
                  <a:lnTo>
                    <a:pt x="729" y="37"/>
                  </a:lnTo>
                  <a:lnTo>
                    <a:pt x="727" y="35"/>
                  </a:lnTo>
                  <a:lnTo>
                    <a:pt x="724" y="34"/>
                  </a:lnTo>
                  <a:lnTo>
                    <a:pt x="722" y="32"/>
                  </a:lnTo>
                  <a:lnTo>
                    <a:pt x="716" y="34"/>
                  </a:lnTo>
                  <a:lnTo>
                    <a:pt x="715" y="35"/>
                  </a:lnTo>
                  <a:lnTo>
                    <a:pt x="712" y="38"/>
                  </a:lnTo>
                  <a:lnTo>
                    <a:pt x="710" y="40"/>
                  </a:lnTo>
                  <a:lnTo>
                    <a:pt x="710" y="43"/>
                  </a:lnTo>
                  <a:lnTo>
                    <a:pt x="709" y="46"/>
                  </a:lnTo>
                  <a:lnTo>
                    <a:pt x="704" y="49"/>
                  </a:lnTo>
                  <a:lnTo>
                    <a:pt x="704" y="51"/>
                  </a:lnTo>
                  <a:lnTo>
                    <a:pt x="704" y="52"/>
                  </a:lnTo>
                  <a:lnTo>
                    <a:pt x="702" y="54"/>
                  </a:lnTo>
                  <a:lnTo>
                    <a:pt x="698" y="55"/>
                  </a:lnTo>
                  <a:lnTo>
                    <a:pt x="688" y="55"/>
                  </a:lnTo>
                  <a:lnTo>
                    <a:pt x="687" y="57"/>
                  </a:lnTo>
                  <a:lnTo>
                    <a:pt x="685" y="58"/>
                  </a:lnTo>
                  <a:lnTo>
                    <a:pt x="685" y="61"/>
                  </a:lnTo>
                  <a:lnTo>
                    <a:pt x="687" y="65"/>
                  </a:lnTo>
                  <a:lnTo>
                    <a:pt x="685" y="69"/>
                  </a:lnTo>
                  <a:lnTo>
                    <a:pt x="685" y="71"/>
                  </a:lnTo>
                  <a:lnTo>
                    <a:pt x="684" y="74"/>
                  </a:lnTo>
                  <a:lnTo>
                    <a:pt x="684" y="74"/>
                  </a:lnTo>
                  <a:lnTo>
                    <a:pt x="684" y="75"/>
                  </a:lnTo>
                  <a:lnTo>
                    <a:pt x="684" y="75"/>
                  </a:lnTo>
                  <a:lnTo>
                    <a:pt x="684" y="75"/>
                  </a:lnTo>
                  <a:lnTo>
                    <a:pt x="682" y="77"/>
                  </a:lnTo>
                  <a:lnTo>
                    <a:pt x="681" y="75"/>
                  </a:lnTo>
                  <a:lnTo>
                    <a:pt x="679" y="74"/>
                  </a:lnTo>
                  <a:lnTo>
                    <a:pt x="678" y="71"/>
                  </a:lnTo>
                  <a:lnTo>
                    <a:pt x="675" y="69"/>
                  </a:lnTo>
                  <a:lnTo>
                    <a:pt x="673" y="68"/>
                  </a:lnTo>
                  <a:lnTo>
                    <a:pt x="672" y="66"/>
                  </a:lnTo>
                  <a:lnTo>
                    <a:pt x="672" y="65"/>
                  </a:lnTo>
                  <a:lnTo>
                    <a:pt x="672" y="63"/>
                  </a:lnTo>
                  <a:lnTo>
                    <a:pt x="672" y="65"/>
                  </a:lnTo>
                  <a:lnTo>
                    <a:pt x="670" y="65"/>
                  </a:lnTo>
                  <a:lnTo>
                    <a:pt x="670" y="65"/>
                  </a:lnTo>
                  <a:lnTo>
                    <a:pt x="670" y="63"/>
                  </a:lnTo>
                  <a:lnTo>
                    <a:pt x="668" y="61"/>
                  </a:lnTo>
                  <a:lnTo>
                    <a:pt x="668" y="61"/>
                  </a:lnTo>
                  <a:lnTo>
                    <a:pt x="665" y="63"/>
                  </a:lnTo>
                  <a:lnTo>
                    <a:pt x="659" y="63"/>
                  </a:lnTo>
                  <a:lnTo>
                    <a:pt x="659" y="61"/>
                  </a:lnTo>
                  <a:lnTo>
                    <a:pt x="659" y="60"/>
                  </a:lnTo>
                  <a:lnTo>
                    <a:pt x="659" y="57"/>
                  </a:lnTo>
                  <a:lnTo>
                    <a:pt x="659" y="55"/>
                  </a:lnTo>
                  <a:lnTo>
                    <a:pt x="658" y="55"/>
                  </a:lnTo>
                  <a:lnTo>
                    <a:pt x="656" y="54"/>
                  </a:lnTo>
                  <a:lnTo>
                    <a:pt x="655" y="54"/>
                  </a:lnTo>
                  <a:lnTo>
                    <a:pt x="655" y="54"/>
                  </a:lnTo>
                  <a:lnTo>
                    <a:pt x="653" y="52"/>
                  </a:lnTo>
                  <a:lnTo>
                    <a:pt x="656" y="49"/>
                  </a:lnTo>
                  <a:lnTo>
                    <a:pt x="658" y="48"/>
                  </a:lnTo>
                  <a:lnTo>
                    <a:pt x="661" y="41"/>
                  </a:lnTo>
                  <a:lnTo>
                    <a:pt x="659" y="37"/>
                  </a:lnTo>
                  <a:lnTo>
                    <a:pt x="659" y="35"/>
                  </a:lnTo>
                  <a:lnTo>
                    <a:pt x="659" y="34"/>
                  </a:lnTo>
                  <a:lnTo>
                    <a:pt x="658" y="32"/>
                  </a:lnTo>
                  <a:lnTo>
                    <a:pt x="658" y="31"/>
                  </a:lnTo>
                  <a:lnTo>
                    <a:pt x="656" y="31"/>
                  </a:lnTo>
                  <a:lnTo>
                    <a:pt x="648" y="31"/>
                  </a:lnTo>
                  <a:lnTo>
                    <a:pt x="648" y="29"/>
                  </a:lnTo>
                  <a:lnTo>
                    <a:pt x="648" y="28"/>
                  </a:lnTo>
                  <a:lnTo>
                    <a:pt x="648" y="26"/>
                  </a:lnTo>
                  <a:lnTo>
                    <a:pt x="648" y="28"/>
                  </a:lnTo>
                  <a:lnTo>
                    <a:pt x="645" y="26"/>
                  </a:lnTo>
                  <a:lnTo>
                    <a:pt x="642" y="28"/>
                  </a:lnTo>
                  <a:lnTo>
                    <a:pt x="641" y="26"/>
                  </a:lnTo>
                  <a:lnTo>
                    <a:pt x="642" y="25"/>
                  </a:lnTo>
                  <a:lnTo>
                    <a:pt x="642" y="25"/>
                  </a:lnTo>
                  <a:lnTo>
                    <a:pt x="641" y="23"/>
                  </a:lnTo>
                  <a:lnTo>
                    <a:pt x="641" y="23"/>
                  </a:lnTo>
                  <a:lnTo>
                    <a:pt x="642" y="21"/>
                  </a:lnTo>
                  <a:lnTo>
                    <a:pt x="642" y="20"/>
                  </a:lnTo>
                  <a:lnTo>
                    <a:pt x="642" y="20"/>
                  </a:lnTo>
                  <a:lnTo>
                    <a:pt x="641" y="20"/>
                  </a:lnTo>
                  <a:lnTo>
                    <a:pt x="641" y="17"/>
                  </a:lnTo>
                  <a:lnTo>
                    <a:pt x="642" y="15"/>
                  </a:lnTo>
                  <a:lnTo>
                    <a:pt x="644" y="15"/>
                  </a:lnTo>
                  <a:lnTo>
                    <a:pt x="644" y="14"/>
                  </a:lnTo>
                  <a:lnTo>
                    <a:pt x="641" y="12"/>
                  </a:lnTo>
                  <a:lnTo>
                    <a:pt x="635" y="6"/>
                  </a:lnTo>
                  <a:lnTo>
                    <a:pt x="631" y="8"/>
                  </a:lnTo>
                  <a:lnTo>
                    <a:pt x="630" y="8"/>
                  </a:lnTo>
                  <a:lnTo>
                    <a:pt x="627" y="6"/>
                  </a:lnTo>
                  <a:lnTo>
                    <a:pt x="624" y="6"/>
                  </a:lnTo>
                  <a:lnTo>
                    <a:pt x="622" y="6"/>
                  </a:lnTo>
                  <a:lnTo>
                    <a:pt x="622" y="8"/>
                  </a:lnTo>
                  <a:lnTo>
                    <a:pt x="621" y="11"/>
                  </a:lnTo>
                  <a:lnTo>
                    <a:pt x="621" y="12"/>
                  </a:lnTo>
                  <a:lnTo>
                    <a:pt x="619" y="12"/>
                  </a:lnTo>
                  <a:lnTo>
                    <a:pt x="619" y="9"/>
                  </a:lnTo>
                  <a:lnTo>
                    <a:pt x="619" y="9"/>
                  </a:lnTo>
                  <a:lnTo>
                    <a:pt x="618" y="11"/>
                  </a:lnTo>
                  <a:lnTo>
                    <a:pt x="618" y="12"/>
                  </a:lnTo>
                  <a:lnTo>
                    <a:pt x="616" y="14"/>
                  </a:lnTo>
                  <a:lnTo>
                    <a:pt x="616" y="15"/>
                  </a:lnTo>
                  <a:lnTo>
                    <a:pt x="616" y="15"/>
                  </a:lnTo>
                  <a:lnTo>
                    <a:pt x="615" y="15"/>
                  </a:lnTo>
                  <a:lnTo>
                    <a:pt x="613" y="15"/>
                  </a:lnTo>
                  <a:lnTo>
                    <a:pt x="611" y="15"/>
                  </a:lnTo>
                  <a:lnTo>
                    <a:pt x="613" y="15"/>
                  </a:lnTo>
                  <a:lnTo>
                    <a:pt x="613" y="14"/>
                  </a:lnTo>
                  <a:lnTo>
                    <a:pt x="611" y="14"/>
                  </a:lnTo>
                  <a:lnTo>
                    <a:pt x="611" y="12"/>
                  </a:lnTo>
                  <a:lnTo>
                    <a:pt x="610" y="11"/>
                  </a:lnTo>
                  <a:lnTo>
                    <a:pt x="610" y="9"/>
                  </a:lnTo>
                  <a:lnTo>
                    <a:pt x="608" y="11"/>
                  </a:lnTo>
                  <a:lnTo>
                    <a:pt x="607" y="12"/>
                  </a:lnTo>
                  <a:lnTo>
                    <a:pt x="605" y="12"/>
                  </a:lnTo>
                  <a:lnTo>
                    <a:pt x="605" y="14"/>
                  </a:lnTo>
                  <a:lnTo>
                    <a:pt x="605" y="14"/>
                  </a:lnTo>
                  <a:lnTo>
                    <a:pt x="605" y="15"/>
                  </a:lnTo>
                  <a:lnTo>
                    <a:pt x="605" y="15"/>
                  </a:lnTo>
                  <a:lnTo>
                    <a:pt x="605" y="15"/>
                  </a:lnTo>
                  <a:lnTo>
                    <a:pt x="604" y="14"/>
                  </a:lnTo>
                  <a:lnTo>
                    <a:pt x="604" y="12"/>
                  </a:lnTo>
                  <a:lnTo>
                    <a:pt x="604" y="11"/>
                  </a:lnTo>
                  <a:lnTo>
                    <a:pt x="604" y="9"/>
                  </a:lnTo>
                  <a:lnTo>
                    <a:pt x="604" y="9"/>
                  </a:lnTo>
                  <a:lnTo>
                    <a:pt x="601" y="9"/>
                  </a:lnTo>
                  <a:lnTo>
                    <a:pt x="601" y="11"/>
                  </a:lnTo>
                  <a:lnTo>
                    <a:pt x="599" y="12"/>
                  </a:lnTo>
                  <a:lnTo>
                    <a:pt x="599" y="14"/>
                  </a:lnTo>
                  <a:lnTo>
                    <a:pt x="599" y="15"/>
                  </a:lnTo>
                  <a:lnTo>
                    <a:pt x="598" y="15"/>
                  </a:lnTo>
                  <a:lnTo>
                    <a:pt x="598" y="14"/>
                  </a:lnTo>
                  <a:lnTo>
                    <a:pt x="598" y="12"/>
                  </a:lnTo>
                  <a:lnTo>
                    <a:pt x="598" y="11"/>
                  </a:lnTo>
                  <a:lnTo>
                    <a:pt x="596" y="11"/>
                  </a:lnTo>
                  <a:lnTo>
                    <a:pt x="595" y="14"/>
                  </a:lnTo>
                  <a:lnTo>
                    <a:pt x="595" y="17"/>
                  </a:lnTo>
                  <a:lnTo>
                    <a:pt x="596" y="18"/>
                  </a:lnTo>
                  <a:lnTo>
                    <a:pt x="598" y="25"/>
                  </a:lnTo>
                  <a:lnTo>
                    <a:pt x="599" y="26"/>
                  </a:lnTo>
                  <a:lnTo>
                    <a:pt x="599" y="28"/>
                  </a:lnTo>
                  <a:lnTo>
                    <a:pt x="598" y="28"/>
                  </a:lnTo>
                  <a:lnTo>
                    <a:pt x="598" y="31"/>
                  </a:lnTo>
                  <a:lnTo>
                    <a:pt x="598" y="31"/>
                  </a:lnTo>
                  <a:lnTo>
                    <a:pt x="599" y="31"/>
                  </a:lnTo>
                  <a:lnTo>
                    <a:pt x="598" y="32"/>
                  </a:lnTo>
                  <a:lnTo>
                    <a:pt x="598" y="34"/>
                  </a:lnTo>
                  <a:lnTo>
                    <a:pt x="598" y="34"/>
                  </a:lnTo>
                  <a:lnTo>
                    <a:pt x="598" y="34"/>
                  </a:lnTo>
                  <a:lnTo>
                    <a:pt x="599" y="34"/>
                  </a:lnTo>
                  <a:lnTo>
                    <a:pt x="598" y="37"/>
                  </a:lnTo>
                  <a:lnTo>
                    <a:pt x="599" y="38"/>
                  </a:lnTo>
                  <a:lnTo>
                    <a:pt x="601" y="40"/>
                  </a:lnTo>
                  <a:lnTo>
                    <a:pt x="601" y="41"/>
                  </a:lnTo>
                  <a:lnTo>
                    <a:pt x="601" y="43"/>
                  </a:lnTo>
                  <a:lnTo>
                    <a:pt x="601" y="45"/>
                  </a:lnTo>
                  <a:lnTo>
                    <a:pt x="601" y="45"/>
                  </a:lnTo>
                  <a:lnTo>
                    <a:pt x="602" y="46"/>
                  </a:lnTo>
                  <a:lnTo>
                    <a:pt x="602" y="46"/>
                  </a:lnTo>
                  <a:lnTo>
                    <a:pt x="602" y="46"/>
                  </a:lnTo>
                  <a:lnTo>
                    <a:pt x="604" y="49"/>
                  </a:lnTo>
                  <a:lnTo>
                    <a:pt x="604" y="51"/>
                  </a:lnTo>
                  <a:lnTo>
                    <a:pt x="605" y="52"/>
                  </a:lnTo>
                  <a:lnTo>
                    <a:pt x="605" y="55"/>
                  </a:lnTo>
                  <a:lnTo>
                    <a:pt x="605" y="57"/>
                  </a:lnTo>
                  <a:lnTo>
                    <a:pt x="604" y="58"/>
                  </a:lnTo>
                  <a:lnTo>
                    <a:pt x="604" y="60"/>
                  </a:lnTo>
                  <a:lnTo>
                    <a:pt x="604" y="61"/>
                  </a:lnTo>
                  <a:lnTo>
                    <a:pt x="604" y="61"/>
                  </a:lnTo>
                  <a:lnTo>
                    <a:pt x="604" y="61"/>
                  </a:lnTo>
                  <a:lnTo>
                    <a:pt x="602" y="63"/>
                  </a:lnTo>
                  <a:lnTo>
                    <a:pt x="601" y="65"/>
                  </a:lnTo>
                  <a:lnTo>
                    <a:pt x="601" y="68"/>
                  </a:lnTo>
                  <a:lnTo>
                    <a:pt x="601" y="71"/>
                  </a:lnTo>
                  <a:lnTo>
                    <a:pt x="601" y="72"/>
                  </a:lnTo>
                  <a:lnTo>
                    <a:pt x="602" y="74"/>
                  </a:lnTo>
                  <a:lnTo>
                    <a:pt x="605" y="77"/>
                  </a:lnTo>
                  <a:lnTo>
                    <a:pt x="605" y="78"/>
                  </a:lnTo>
                  <a:lnTo>
                    <a:pt x="602" y="78"/>
                  </a:lnTo>
                  <a:lnTo>
                    <a:pt x="599" y="74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0" y="74"/>
                  </a:lnTo>
                  <a:lnTo>
                    <a:pt x="591" y="72"/>
                  </a:lnTo>
                  <a:lnTo>
                    <a:pt x="599" y="68"/>
                  </a:lnTo>
                  <a:lnTo>
                    <a:pt x="598" y="68"/>
                  </a:lnTo>
                  <a:lnTo>
                    <a:pt x="595" y="71"/>
                  </a:lnTo>
                  <a:lnTo>
                    <a:pt x="588" y="72"/>
                  </a:lnTo>
                  <a:lnTo>
                    <a:pt x="585" y="74"/>
                  </a:lnTo>
                  <a:lnTo>
                    <a:pt x="587" y="75"/>
                  </a:lnTo>
                  <a:lnTo>
                    <a:pt x="587" y="77"/>
                  </a:lnTo>
                  <a:lnTo>
                    <a:pt x="587" y="78"/>
                  </a:lnTo>
                  <a:lnTo>
                    <a:pt x="588" y="81"/>
                  </a:lnTo>
                  <a:lnTo>
                    <a:pt x="588" y="83"/>
                  </a:lnTo>
                  <a:lnTo>
                    <a:pt x="590" y="85"/>
                  </a:lnTo>
                  <a:lnTo>
                    <a:pt x="591" y="86"/>
                  </a:lnTo>
                  <a:lnTo>
                    <a:pt x="591" y="88"/>
                  </a:lnTo>
                  <a:lnTo>
                    <a:pt x="590" y="86"/>
                  </a:lnTo>
                  <a:lnTo>
                    <a:pt x="588" y="83"/>
                  </a:lnTo>
                  <a:lnTo>
                    <a:pt x="587" y="80"/>
                  </a:lnTo>
                  <a:lnTo>
                    <a:pt x="584" y="78"/>
                  </a:lnTo>
                  <a:lnTo>
                    <a:pt x="584" y="78"/>
                  </a:lnTo>
                  <a:lnTo>
                    <a:pt x="582" y="80"/>
                  </a:lnTo>
                  <a:lnTo>
                    <a:pt x="581" y="85"/>
                  </a:lnTo>
                  <a:lnTo>
                    <a:pt x="581" y="85"/>
                  </a:lnTo>
                  <a:lnTo>
                    <a:pt x="579" y="81"/>
                  </a:lnTo>
                  <a:lnTo>
                    <a:pt x="578" y="81"/>
                  </a:lnTo>
                  <a:lnTo>
                    <a:pt x="579" y="80"/>
                  </a:lnTo>
                  <a:lnTo>
                    <a:pt x="581" y="78"/>
                  </a:lnTo>
                  <a:lnTo>
                    <a:pt x="582" y="78"/>
                  </a:lnTo>
                  <a:lnTo>
                    <a:pt x="582" y="78"/>
                  </a:lnTo>
                  <a:lnTo>
                    <a:pt x="581" y="77"/>
                  </a:lnTo>
                  <a:lnTo>
                    <a:pt x="570" y="80"/>
                  </a:lnTo>
                  <a:lnTo>
                    <a:pt x="568" y="81"/>
                  </a:lnTo>
                  <a:lnTo>
                    <a:pt x="568" y="83"/>
                  </a:lnTo>
                  <a:lnTo>
                    <a:pt x="570" y="83"/>
                  </a:lnTo>
                  <a:lnTo>
                    <a:pt x="568" y="85"/>
                  </a:lnTo>
                  <a:lnTo>
                    <a:pt x="568" y="85"/>
                  </a:lnTo>
                  <a:lnTo>
                    <a:pt x="567" y="85"/>
                  </a:lnTo>
                  <a:lnTo>
                    <a:pt x="565" y="83"/>
                  </a:lnTo>
                  <a:lnTo>
                    <a:pt x="565" y="81"/>
                  </a:lnTo>
                  <a:lnTo>
                    <a:pt x="567" y="81"/>
                  </a:lnTo>
                  <a:lnTo>
                    <a:pt x="567" y="81"/>
                  </a:lnTo>
                  <a:lnTo>
                    <a:pt x="567" y="81"/>
                  </a:lnTo>
                  <a:lnTo>
                    <a:pt x="567" y="80"/>
                  </a:lnTo>
                  <a:lnTo>
                    <a:pt x="567" y="80"/>
                  </a:lnTo>
                  <a:lnTo>
                    <a:pt x="564" y="72"/>
                  </a:lnTo>
                  <a:lnTo>
                    <a:pt x="562" y="68"/>
                  </a:lnTo>
                  <a:lnTo>
                    <a:pt x="562" y="68"/>
                  </a:lnTo>
                  <a:lnTo>
                    <a:pt x="561" y="66"/>
                  </a:lnTo>
                  <a:lnTo>
                    <a:pt x="553" y="66"/>
                  </a:lnTo>
                  <a:lnTo>
                    <a:pt x="551" y="65"/>
                  </a:lnTo>
                  <a:lnTo>
                    <a:pt x="550" y="68"/>
                  </a:lnTo>
                  <a:lnTo>
                    <a:pt x="545" y="69"/>
                  </a:lnTo>
                  <a:lnTo>
                    <a:pt x="544" y="71"/>
                  </a:lnTo>
                  <a:lnTo>
                    <a:pt x="542" y="74"/>
                  </a:lnTo>
                  <a:lnTo>
                    <a:pt x="542" y="75"/>
                  </a:lnTo>
                  <a:lnTo>
                    <a:pt x="542" y="75"/>
                  </a:lnTo>
                  <a:lnTo>
                    <a:pt x="544" y="77"/>
                  </a:lnTo>
                  <a:lnTo>
                    <a:pt x="544" y="78"/>
                  </a:lnTo>
                  <a:lnTo>
                    <a:pt x="542" y="81"/>
                  </a:lnTo>
                  <a:lnTo>
                    <a:pt x="542" y="81"/>
                  </a:lnTo>
                  <a:lnTo>
                    <a:pt x="541" y="83"/>
                  </a:lnTo>
                  <a:lnTo>
                    <a:pt x="538" y="85"/>
                  </a:lnTo>
                  <a:lnTo>
                    <a:pt x="536" y="88"/>
                  </a:lnTo>
                  <a:lnTo>
                    <a:pt x="534" y="89"/>
                  </a:lnTo>
                  <a:lnTo>
                    <a:pt x="534" y="92"/>
                  </a:lnTo>
                  <a:lnTo>
                    <a:pt x="534" y="95"/>
                  </a:lnTo>
                  <a:lnTo>
                    <a:pt x="534" y="95"/>
                  </a:lnTo>
                  <a:lnTo>
                    <a:pt x="534" y="97"/>
                  </a:lnTo>
                  <a:lnTo>
                    <a:pt x="534" y="98"/>
                  </a:lnTo>
                  <a:lnTo>
                    <a:pt x="533" y="100"/>
                  </a:lnTo>
                  <a:lnTo>
                    <a:pt x="533" y="102"/>
                  </a:lnTo>
                  <a:lnTo>
                    <a:pt x="533" y="103"/>
                  </a:lnTo>
                  <a:lnTo>
                    <a:pt x="531" y="105"/>
                  </a:lnTo>
                  <a:lnTo>
                    <a:pt x="531" y="106"/>
                  </a:lnTo>
                  <a:lnTo>
                    <a:pt x="531" y="108"/>
                  </a:lnTo>
                  <a:lnTo>
                    <a:pt x="531" y="108"/>
                  </a:lnTo>
                  <a:lnTo>
                    <a:pt x="531" y="109"/>
                  </a:lnTo>
                  <a:lnTo>
                    <a:pt x="531" y="111"/>
                  </a:lnTo>
                  <a:lnTo>
                    <a:pt x="531" y="112"/>
                  </a:lnTo>
                  <a:lnTo>
                    <a:pt x="531" y="112"/>
                  </a:lnTo>
                  <a:lnTo>
                    <a:pt x="530" y="109"/>
                  </a:lnTo>
                  <a:lnTo>
                    <a:pt x="530" y="106"/>
                  </a:lnTo>
                  <a:lnTo>
                    <a:pt x="528" y="106"/>
                  </a:lnTo>
                  <a:lnTo>
                    <a:pt x="516" y="106"/>
                  </a:lnTo>
                  <a:lnTo>
                    <a:pt x="519" y="108"/>
                  </a:lnTo>
                  <a:lnTo>
                    <a:pt x="525" y="108"/>
                  </a:lnTo>
                  <a:lnTo>
                    <a:pt x="524" y="108"/>
                  </a:lnTo>
                  <a:lnTo>
                    <a:pt x="522" y="109"/>
                  </a:lnTo>
                  <a:lnTo>
                    <a:pt x="521" y="109"/>
                  </a:lnTo>
                  <a:lnTo>
                    <a:pt x="519" y="109"/>
                  </a:lnTo>
                  <a:lnTo>
                    <a:pt x="519" y="112"/>
                  </a:lnTo>
                  <a:lnTo>
                    <a:pt x="521" y="115"/>
                  </a:lnTo>
                  <a:lnTo>
                    <a:pt x="521" y="117"/>
                  </a:lnTo>
                  <a:lnTo>
                    <a:pt x="521" y="122"/>
                  </a:lnTo>
                  <a:lnTo>
                    <a:pt x="521" y="118"/>
                  </a:lnTo>
                  <a:lnTo>
                    <a:pt x="518" y="111"/>
                  </a:lnTo>
                  <a:lnTo>
                    <a:pt x="516" y="108"/>
                  </a:lnTo>
                  <a:lnTo>
                    <a:pt x="514" y="105"/>
                  </a:lnTo>
                  <a:lnTo>
                    <a:pt x="511" y="103"/>
                  </a:lnTo>
                  <a:lnTo>
                    <a:pt x="511" y="102"/>
                  </a:lnTo>
                  <a:lnTo>
                    <a:pt x="510" y="95"/>
                  </a:lnTo>
                  <a:lnTo>
                    <a:pt x="508" y="94"/>
                  </a:lnTo>
                  <a:lnTo>
                    <a:pt x="507" y="89"/>
                  </a:lnTo>
                  <a:lnTo>
                    <a:pt x="505" y="88"/>
                  </a:lnTo>
                  <a:lnTo>
                    <a:pt x="504" y="88"/>
                  </a:lnTo>
                  <a:lnTo>
                    <a:pt x="501" y="85"/>
                  </a:lnTo>
                  <a:lnTo>
                    <a:pt x="501" y="83"/>
                  </a:lnTo>
                  <a:lnTo>
                    <a:pt x="497" y="83"/>
                  </a:lnTo>
                  <a:lnTo>
                    <a:pt x="496" y="83"/>
                  </a:lnTo>
                  <a:lnTo>
                    <a:pt x="496" y="81"/>
                  </a:lnTo>
                  <a:lnTo>
                    <a:pt x="494" y="78"/>
                  </a:lnTo>
                  <a:lnTo>
                    <a:pt x="494" y="77"/>
                  </a:lnTo>
                  <a:lnTo>
                    <a:pt x="491" y="75"/>
                  </a:lnTo>
                  <a:lnTo>
                    <a:pt x="484" y="77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5"/>
                  </a:lnTo>
                  <a:lnTo>
                    <a:pt x="481" y="74"/>
                  </a:lnTo>
                  <a:lnTo>
                    <a:pt x="481" y="74"/>
                  </a:lnTo>
                  <a:lnTo>
                    <a:pt x="477" y="74"/>
                  </a:lnTo>
                  <a:lnTo>
                    <a:pt x="476" y="74"/>
                  </a:lnTo>
                  <a:lnTo>
                    <a:pt x="474" y="72"/>
                  </a:lnTo>
                  <a:lnTo>
                    <a:pt x="473" y="72"/>
                  </a:lnTo>
                  <a:lnTo>
                    <a:pt x="467" y="71"/>
                  </a:lnTo>
                  <a:lnTo>
                    <a:pt x="465" y="72"/>
                  </a:lnTo>
                  <a:lnTo>
                    <a:pt x="464" y="77"/>
                  </a:lnTo>
                  <a:lnTo>
                    <a:pt x="464" y="86"/>
                  </a:lnTo>
                  <a:lnTo>
                    <a:pt x="464" y="94"/>
                  </a:lnTo>
                  <a:lnTo>
                    <a:pt x="467" y="100"/>
                  </a:lnTo>
                  <a:lnTo>
                    <a:pt x="467" y="102"/>
                  </a:lnTo>
                  <a:lnTo>
                    <a:pt x="465" y="102"/>
                  </a:lnTo>
                  <a:lnTo>
                    <a:pt x="465" y="102"/>
                  </a:lnTo>
                  <a:lnTo>
                    <a:pt x="467" y="103"/>
                  </a:lnTo>
                  <a:lnTo>
                    <a:pt x="468" y="108"/>
                  </a:lnTo>
                  <a:lnTo>
                    <a:pt x="470" y="109"/>
                  </a:lnTo>
                  <a:lnTo>
                    <a:pt x="471" y="111"/>
                  </a:lnTo>
                  <a:lnTo>
                    <a:pt x="471" y="114"/>
                  </a:lnTo>
                  <a:lnTo>
                    <a:pt x="471" y="115"/>
                  </a:lnTo>
                  <a:lnTo>
                    <a:pt x="471" y="117"/>
                  </a:lnTo>
                  <a:lnTo>
                    <a:pt x="473" y="120"/>
                  </a:lnTo>
                  <a:lnTo>
                    <a:pt x="474" y="122"/>
                  </a:lnTo>
                  <a:lnTo>
                    <a:pt x="474" y="120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18"/>
                  </a:lnTo>
                  <a:lnTo>
                    <a:pt x="476" y="120"/>
                  </a:lnTo>
                  <a:lnTo>
                    <a:pt x="476" y="120"/>
                  </a:lnTo>
                  <a:lnTo>
                    <a:pt x="477" y="120"/>
                  </a:lnTo>
                  <a:lnTo>
                    <a:pt x="479" y="123"/>
                  </a:lnTo>
                  <a:lnTo>
                    <a:pt x="479" y="123"/>
                  </a:lnTo>
                  <a:lnTo>
                    <a:pt x="479" y="123"/>
                  </a:lnTo>
                  <a:lnTo>
                    <a:pt x="481" y="123"/>
                  </a:lnTo>
                  <a:lnTo>
                    <a:pt x="481" y="125"/>
                  </a:lnTo>
                  <a:lnTo>
                    <a:pt x="481" y="126"/>
                  </a:lnTo>
                  <a:lnTo>
                    <a:pt x="481" y="128"/>
                  </a:lnTo>
                  <a:lnTo>
                    <a:pt x="482" y="135"/>
                  </a:lnTo>
                  <a:lnTo>
                    <a:pt x="482" y="138"/>
                  </a:lnTo>
                  <a:lnTo>
                    <a:pt x="482" y="142"/>
                  </a:lnTo>
                  <a:lnTo>
                    <a:pt x="482" y="143"/>
                  </a:lnTo>
                  <a:lnTo>
                    <a:pt x="481" y="143"/>
                  </a:lnTo>
                  <a:lnTo>
                    <a:pt x="481" y="145"/>
                  </a:lnTo>
                  <a:lnTo>
                    <a:pt x="481" y="146"/>
                  </a:lnTo>
                  <a:lnTo>
                    <a:pt x="481" y="148"/>
                  </a:lnTo>
                  <a:lnTo>
                    <a:pt x="481" y="149"/>
                  </a:lnTo>
                  <a:lnTo>
                    <a:pt x="481" y="151"/>
                  </a:lnTo>
                  <a:lnTo>
                    <a:pt x="481" y="152"/>
                  </a:lnTo>
                  <a:lnTo>
                    <a:pt x="479" y="152"/>
                  </a:lnTo>
                  <a:lnTo>
                    <a:pt x="479" y="154"/>
                  </a:lnTo>
                  <a:lnTo>
                    <a:pt x="479" y="155"/>
                  </a:lnTo>
                  <a:lnTo>
                    <a:pt x="481" y="157"/>
                  </a:lnTo>
                  <a:lnTo>
                    <a:pt x="482" y="157"/>
                  </a:lnTo>
                  <a:lnTo>
                    <a:pt x="482" y="158"/>
                  </a:lnTo>
                  <a:lnTo>
                    <a:pt x="484" y="160"/>
                  </a:lnTo>
                  <a:lnTo>
                    <a:pt x="484" y="163"/>
                  </a:lnTo>
                  <a:lnTo>
                    <a:pt x="484" y="168"/>
                  </a:lnTo>
                  <a:lnTo>
                    <a:pt x="482" y="169"/>
                  </a:lnTo>
                  <a:lnTo>
                    <a:pt x="482" y="169"/>
                  </a:lnTo>
                  <a:lnTo>
                    <a:pt x="481" y="166"/>
                  </a:lnTo>
                  <a:lnTo>
                    <a:pt x="481" y="163"/>
                  </a:lnTo>
                  <a:lnTo>
                    <a:pt x="481" y="160"/>
                  </a:lnTo>
                  <a:lnTo>
                    <a:pt x="477" y="157"/>
                  </a:lnTo>
                  <a:lnTo>
                    <a:pt x="474" y="154"/>
                  </a:lnTo>
                  <a:lnTo>
                    <a:pt x="474" y="154"/>
                  </a:lnTo>
                  <a:lnTo>
                    <a:pt x="474" y="152"/>
                  </a:lnTo>
                  <a:lnTo>
                    <a:pt x="474" y="145"/>
                  </a:lnTo>
                  <a:lnTo>
                    <a:pt x="474" y="143"/>
                  </a:lnTo>
                  <a:lnTo>
                    <a:pt x="473" y="140"/>
                  </a:lnTo>
                  <a:lnTo>
                    <a:pt x="471" y="138"/>
                  </a:lnTo>
                  <a:lnTo>
                    <a:pt x="473" y="132"/>
                  </a:lnTo>
                  <a:lnTo>
                    <a:pt x="471" y="131"/>
                  </a:lnTo>
                  <a:lnTo>
                    <a:pt x="471" y="129"/>
                  </a:lnTo>
                  <a:lnTo>
                    <a:pt x="471" y="128"/>
                  </a:lnTo>
                  <a:lnTo>
                    <a:pt x="470" y="128"/>
                  </a:lnTo>
                  <a:lnTo>
                    <a:pt x="468" y="128"/>
                  </a:lnTo>
                  <a:lnTo>
                    <a:pt x="468" y="128"/>
                  </a:lnTo>
                  <a:lnTo>
                    <a:pt x="468" y="128"/>
                  </a:lnTo>
                  <a:lnTo>
                    <a:pt x="468" y="126"/>
                  </a:lnTo>
                  <a:lnTo>
                    <a:pt x="467" y="125"/>
                  </a:lnTo>
                  <a:lnTo>
                    <a:pt x="467" y="122"/>
                  </a:lnTo>
                  <a:lnTo>
                    <a:pt x="467" y="120"/>
                  </a:lnTo>
                  <a:lnTo>
                    <a:pt x="465" y="118"/>
                  </a:lnTo>
                  <a:lnTo>
                    <a:pt x="464" y="115"/>
                  </a:lnTo>
                  <a:lnTo>
                    <a:pt x="462" y="114"/>
                  </a:lnTo>
                  <a:lnTo>
                    <a:pt x="462" y="114"/>
                  </a:lnTo>
                  <a:lnTo>
                    <a:pt x="456" y="114"/>
                  </a:lnTo>
                  <a:lnTo>
                    <a:pt x="453" y="111"/>
                  </a:lnTo>
                  <a:lnTo>
                    <a:pt x="447" y="109"/>
                  </a:lnTo>
                  <a:lnTo>
                    <a:pt x="447" y="108"/>
                  </a:lnTo>
                  <a:lnTo>
                    <a:pt x="448" y="105"/>
                  </a:lnTo>
                  <a:lnTo>
                    <a:pt x="450" y="100"/>
                  </a:lnTo>
                  <a:lnTo>
                    <a:pt x="448" y="97"/>
                  </a:lnTo>
                  <a:lnTo>
                    <a:pt x="448" y="92"/>
                  </a:lnTo>
                  <a:lnTo>
                    <a:pt x="447" y="89"/>
                  </a:lnTo>
                  <a:lnTo>
                    <a:pt x="445" y="88"/>
                  </a:lnTo>
                  <a:lnTo>
                    <a:pt x="445" y="88"/>
                  </a:lnTo>
                  <a:lnTo>
                    <a:pt x="444" y="86"/>
                  </a:lnTo>
                  <a:lnTo>
                    <a:pt x="444" y="86"/>
                  </a:lnTo>
                  <a:lnTo>
                    <a:pt x="442" y="86"/>
                  </a:lnTo>
                  <a:lnTo>
                    <a:pt x="442" y="88"/>
                  </a:lnTo>
                  <a:lnTo>
                    <a:pt x="441" y="88"/>
                  </a:lnTo>
                  <a:lnTo>
                    <a:pt x="439" y="88"/>
                  </a:lnTo>
                  <a:lnTo>
                    <a:pt x="439" y="88"/>
                  </a:lnTo>
                  <a:lnTo>
                    <a:pt x="441" y="83"/>
                  </a:lnTo>
                  <a:lnTo>
                    <a:pt x="442" y="80"/>
                  </a:lnTo>
                  <a:lnTo>
                    <a:pt x="441" y="80"/>
                  </a:lnTo>
                  <a:lnTo>
                    <a:pt x="439" y="78"/>
                  </a:lnTo>
                  <a:lnTo>
                    <a:pt x="437" y="75"/>
                  </a:lnTo>
                  <a:lnTo>
                    <a:pt x="436" y="74"/>
                  </a:lnTo>
                  <a:lnTo>
                    <a:pt x="434" y="74"/>
                  </a:lnTo>
                  <a:lnTo>
                    <a:pt x="428" y="78"/>
                  </a:lnTo>
                  <a:lnTo>
                    <a:pt x="428" y="78"/>
                  </a:lnTo>
                  <a:lnTo>
                    <a:pt x="428" y="75"/>
                  </a:lnTo>
                  <a:lnTo>
                    <a:pt x="430" y="72"/>
                  </a:lnTo>
                  <a:lnTo>
                    <a:pt x="430" y="69"/>
                  </a:lnTo>
                  <a:lnTo>
                    <a:pt x="427" y="68"/>
                  </a:lnTo>
                  <a:lnTo>
                    <a:pt x="424" y="68"/>
                  </a:lnTo>
                  <a:lnTo>
                    <a:pt x="422" y="68"/>
                  </a:lnTo>
                  <a:lnTo>
                    <a:pt x="424" y="69"/>
                  </a:lnTo>
                  <a:lnTo>
                    <a:pt x="424" y="71"/>
                  </a:lnTo>
                  <a:lnTo>
                    <a:pt x="422" y="75"/>
                  </a:lnTo>
                  <a:lnTo>
                    <a:pt x="420" y="77"/>
                  </a:lnTo>
                  <a:lnTo>
                    <a:pt x="419" y="77"/>
                  </a:lnTo>
                  <a:lnTo>
                    <a:pt x="419" y="71"/>
                  </a:lnTo>
                  <a:lnTo>
                    <a:pt x="417" y="69"/>
                  </a:lnTo>
                  <a:lnTo>
                    <a:pt x="411" y="72"/>
                  </a:lnTo>
                  <a:lnTo>
                    <a:pt x="408" y="75"/>
                  </a:lnTo>
                  <a:lnTo>
                    <a:pt x="407" y="75"/>
                  </a:lnTo>
                  <a:lnTo>
                    <a:pt x="407" y="78"/>
                  </a:lnTo>
                  <a:lnTo>
                    <a:pt x="407" y="81"/>
                  </a:lnTo>
                  <a:lnTo>
                    <a:pt x="405" y="83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7" y="86"/>
                  </a:lnTo>
                  <a:lnTo>
                    <a:pt x="407" y="86"/>
                  </a:lnTo>
                  <a:lnTo>
                    <a:pt x="407" y="88"/>
                  </a:lnTo>
                  <a:lnTo>
                    <a:pt x="407" y="88"/>
                  </a:lnTo>
                  <a:lnTo>
                    <a:pt x="407" y="89"/>
                  </a:lnTo>
                  <a:lnTo>
                    <a:pt x="407" y="91"/>
                  </a:lnTo>
                  <a:lnTo>
                    <a:pt x="408" y="91"/>
                  </a:lnTo>
                  <a:lnTo>
                    <a:pt x="408" y="92"/>
                  </a:lnTo>
                  <a:lnTo>
                    <a:pt x="407" y="92"/>
                  </a:lnTo>
                  <a:lnTo>
                    <a:pt x="405" y="89"/>
                  </a:lnTo>
                  <a:lnTo>
                    <a:pt x="404" y="88"/>
                  </a:lnTo>
                  <a:lnTo>
                    <a:pt x="404" y="86"/>
                  </a:lnTo>
                  <a:lnTo>
                    <a:pt x="404" y="86"/>
                  </a:lnTo>
                  <a:lnTo>
                    <a:pt x="404" y="86"/>
                  </a:lnTo>
                  <a:lnTo>
                    <a:pt x="402" y="86"/>
                  </a:lnTo>
                  <a:lnTo>
                    <a:pt x="402" y="86"/>
                  </a:lnTo>
                  <a:lnTo>
                    <a:pt x="400" y="88"/>
                  </a:lnTo>
                  <a:lnTo>
                    <a:pt x="402" y="91"/>
                  </a:lnTo>
                  <a:lnTo>
                    <a:pt x="399" y="89"/>
                  </a:lnTo>
                  <a:lnTo>
                    <a:pt x="396" y="88"/>
                  </a:lnTo>
                  <a:lnTo>
                    <a:pt x="387" y="89"/>
                  </a:lnTo>
                  <a:lnTo>
                    <a:pt x="382" y="91"/>
                  </a:lnTo>
                  <a:lnTo>
                    <a:pt x="380" y="92"/>
                  </a:lnTo>
                  <a:lnTo>
                    <a:pt x="380" y="94"/>
                  </a:lnTo>
                  <a:lnTo>
                    <a:pt x="379" y="94"/>
                  </a:lnTo>
                  <a:lnTo>
                    <a:pt x="379" y="95"/>
                  </a:lnTo>
                  <a:lnTo>
                    <a:pt x="380" y="98"/>
                  </a:lnTo>
                  <a:lnTo>
                    <a:pt x="380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0" y="106"/>
                  </a:lnTo>
                  <a:lnTo>
                    <a:pt x="380" y="108"/>
                  </a:lnTo>
                  <a:lnTo>
                    <a:pt x="379" y="108"/>
                  </a:lnTo>
                  <a:lnTo>
                    <a:pt x="377" y="108"/>
                  </a:lnTo>
                  <a:lnTo>
                    <a:pt x="376" y="109"/>
                  </a:lnTo>
                  <a:lnTo>
                    <a:pt x="376" y="111"/>
                  </a:lnTo>
                  <a:lnTo>
                    <a:pt x="376" y="112"/>
                  </a:lnTo>
                  <a:lnTo>
                    <a:pt x="376" y="114"/>
                  </a:lnTo>
                  <a:lnTo>
                    <a:pt x="379" y="118"/>
                  </a:lnTo>
                  <a:lnTo>
                    <a:pt x="379" y="120"/>
                  </a:lnTo>
                  <a:lnTo>
                    <a:pt x="382" y="126"/>
                  </a:lnTo>
                  <a:lnTo>
                    <a:pt x="384" y="131"/>
                  </a:lnTo>
                  <a:lnTo>
                    <a:pt x="384" y="134"/>
                  </a:lnTo>
                  <a:lnTo>
                    <a:pt x="384" y="138"/>
                  </a:lnTo>
                  <a:lnTo>
                    <a:pt x="384" y="145"/>
                  </a:lnTo>
                  <a:lnTo>
                    <a:pt x="382" y="149"/>
                  </a:lnTo>
                  <a:lnTo>
                    <a:pt x="382" y="152"/>
                  </a:lnTo>
                  <a:lnTo>
                    <a:pt x="380" y="154"/>
                  </a:lnTo>
                  <a:lnTo>
                    <a:pt x="379" y="154"/>
                  </a:lnTo>
                  <a:lnTo>
                    <a:pt x="379" y="154"/>
                  </a:lnTo>
                  <a:lnTo>
                    <a:pt x="379" y="152"/>
                  </a:lnTo>
                  <a:lnTo>
                    <a:pt x="379" y="152"/>
                  </a:lnTo>
                  <a:lnTo>
                    <a:pt x="379" y="151"/>
                  </a:lnTo>
                  <a:lnTo>
                    <a:pt x="379" y="151"/>
                  </a:lnTo>
                  <a:lnTo>
                    <a:pt x="377" y="151"/>
                  </a:lnTo>
                  <a:lnTo>
                    <a:pt x="377" y="151"/>
                  </a:lnTo>
                  <a:lnTo>
                    <a:pt x="376" y="151"/>
                  </a:lnTo>
                  <a:lnTo>
                    <a:pt x="376" y="149"/>
                  </a:lnTo>
                  <a:lnTo>
                    <a:pt x="374" y="148"/>
                  </a:lnTo>
                  <a:lnTo>
                    <a:pt x="373" y="148"/>
                  </a:lnTo>
                  <a:lnTo>
                    <a:pt x="373" y="149"/>
                  </a:lnTo>
                  <a:lnTo>
                    <a:pt x="371" y="154"/>
                  </a:lnTo>
                  <a:lnTo>
                    <a:pt x="370" y="151"/>
                  </a:lnTo>
                  <a:lnTo>
                    <a:pt x="367" y="149"/>
                  </a:lnTo>
                  <a:lnTo>
                    <a:pt x="365" y="148"/>
                  </a:lnTo>
                  <a:lnTo>
                    <a:pt x="363" y="146"/>
                  </a:lnTo>
                  <a:lnTo>
                    <a:pt x="363" y="140"/>
                  </a:lnTo>
                  <a:lnTo>
                    <a:pt x="363" y="138"/>
                  </a:lnTo>
                  <a:lnTo>
                    <a:pt x="363" y="137"/>
                  </a:lnTo>
                  <a:lnTo>
                    <a:pt x="362" y="134"/>
                  </a:lnTo>
                  <a:lnTo>
                    <a:pt x="360" y="132"/>
                  </a:lnTo>
                  <a:lnTo>
                    <a:pt x="360" y="131"/>
                  </a:lnTo>
                  <a:lnTo>
                    <a:pt x="360" y="129"/>
                  </a:lnTo>
                  <a:lnTo>
                    <a:pt x="360" y="128"/>
                  </a:lnTo>
                  <a:lnTo>
                    <a:pt x="360" y="128"/>
                  </a:lnTo>
                  <a:lnTo>
                    <a:pt x="359" y="128"/>
                  </a:lnTo>
                  <a:lnTo>
                    <a:pt x="359" y="128"/>
                  </a:lnTo>
                  <a:lnTo>
                    <a:pt x="357" y="126"/>
                  </a:lnTo>
                  <a:lnTo>
                    <a:pt x="357" y="126"/>
                  </a:lnTo>
                  <a:lnTo>
                    <a:pt x="356" y="126"/>
                  </a:lnTo>
                  <a:lnTo>
                    <a:pt x="353" y="125"/>
                  </a:lnTo>
                  <a:lnTo>
                    <a:pt x="350" y="123"/>
                  </a:lnTo>
                  <a:lnTo>
                    <a:pt x="348" y="122"/>
                  </a:lnTo>
                  <a:lnTo>
                    <a:pt x="348" y="118"/>
                  </a:lnTo>
                  <a:lnTo>
                    <a:pt x="347" y="117"/>
                  </a:lnTo>
                  <a:lnTo>
                    <a:pt x="345" y="114"/>
                  </a:lnTo>
                  <a:lnTo>
                    <a:pt x="343" y="112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09"/>
                  </a:lnTo>
                  <a:lnTo>
                    <a:pt x="343" y="109"/>
                  </a:lnTo>
                  <a:lnTo>
                    <a:pt x="343" y="108"/>
                  </a:lnTo>
                  <a:lnTo>
                    <a:pt x="342" y="106"/>
                  </a:lnTo>
                  <a:lnTo>
                    <a:pt x="342" y="105"/>
                  </a:lnTo>
                  <a:lnTo>
                    <a:pt x="339" y="98"/>
                  </a:lnTo>
                  <a:lnTo>
                    <a:pt x="337" y="95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6" y="91"/>
                  </a:lnTo>
                  <a:lnTo>
                    <a:pt x="336" y="89"/>
                  </a:lnTo>
                  <a:lnTo>
                    <a:pt x="334" y="88"/>
                  </a:lnTo>
                  <a:lnTo>
                    <a:pt x="333" y="88"/>
                  </a:lnTo>
                  <a:lnTo>
                    <a:pt x="333" y="85"/>
                  </a:lnTo>
                  <a:lnTo>
                    <a:pt x="331" y="81"/>
                  </a:lnTo>
                  <a:lnTo>
                    <a:pt x="330" y="83"/>
                  </a:lnTo>
                  <a:lnTo>
                    <a:pt x="330" y="81"/>
                  </a:lnTo>
                  <a:lnTo>
                    <a:pt x="328" y="81"/>
                  </a:lnTo>
                  <a:lnTo>
                    <a:pt x="325" y="81"/>
                  </a:lnTo>
                  <a:lnTo>
                    <a:pt x="323" y="81"/>
                  </a:lnTo>
                  <a:lnTo>
                    <a:pt x="320" y="85"/>
                  </a:lnTo>
                  <a:lnTo>
                    <a:pt x="319" y="86"/>
                  </a:lnTo>
                  <a:lnTo>
                    <a:pt x="317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4" y="88"/>
                  </a:lnTo>
                  <a:lnTo>
                    <a:pt x="313" y="88"/>
                  </a:lnTo>
                  <a:lnTo>
                    <a:pt x="310" y="88"/>
                  </a:lnTo>
                  <a:lnTo>
                    <a:pt x="308" y="88"/>
                  </a:lnTo>
                  <a:lnTo>
                    <a:pt x="307" y="89"/>
                  </a:lnTo>
                  <a:lnTo>
                    <a:pt x="308" y="92"/>
                  </a:lnTo>
                  <a:lnTo>
                    <a:pt x="308" y="95"/>
                  </a:lnTo>
                  <a:lnTo>
                    <a:pt x="307" y="97"/>
                  </a:lnTo>
                  <a:lnTo>
                    <a:pt x="305" y="100"/>
                  </a:lnTo>
                  <a:lnTo>
                    <a:pt x="307" y="102"/>
                  </a:lnTo>
                  <a:lnTo>
                    <a:pt x="308" y="103"/>
                  </a:lnTo>
                  <a:lnTo>
                    <a:pt x="308" y="105"/>
                  </a:lnTo>
                  <a:lnTo>
                    <a:pt x="310" y="108"/>
                  </a:lnTo>
                  <a:lnTo>
                    <a:pt x="310" y="114"/>
                  </a:lnTo>
                  <a:lnTo>
                    <a:pt x="310" y="117"/>
                  </a:lnTo>
                  <a:lnTo>
                    <a:pt x="313" y="123"/>
                  </a:lnTo>
                  <a:lnTo>
                    <a:pt x="314" y="129"/>
                  </a:lnTo>
                  <a:lnTo>
                    <a:pt x="316" y="134"/>
                  </a:lnTo>
                  <a:lnTo>
                    <a:pt x="313" y="135"/>
                  </a:lnTo>
                  <a:lnTo>
                    <a:pt x="313" y="137"/>
                  </a:lnTo>
                  <a:lnTo>
                    <a:pt x="316" y="138"/>
                  </a:lnTo>
                  <a:lnTo>
                    <a:pt x="317" y="143"/>
                  </a:lnTo>
                  <a:lnTo>
                    <a:pt x="319" y="146"/>
                  </a:lnTo>
                  <a:lnTo>
                    <a:pt x="319" y="151"/>
                  </a:lnTo>
                  <a:lnTo>
                    <a:pt x="319" y="154"/>
                  </a:lnTo>
                  <a:lnTo>
                    <a:pt x="319" y="157"/>
                  </a:lnTo>
                  <a:lnTo>
                    <a:pt x="317" y="158"/>
                  </a:lnTo>
                  <a:lnTo>
                    <a:pt x="317" y="160"/>
                  </a:lnTo>
                  <a:lnTo>
                    <a:pt x="316" y="160"/>
                  </a:lnTo>
                  <a:lnTo>
                    <a:pt x="316" y="163"/>
                  </a:lnTo>
                  <a:lnTo>
                    <a:pt x="317" y="165"/>
                  </a:lnTo>
                  <a:lnTo>
                    <a:pt x="319" y="166"/>
                  </a:lnTo>
                  <a:lnTo>
                    <a:pt x="317" y="166"/>
                  </a:lnTo>
                  <a:lnTo>
                    <a:pt x="316" y="166"/>
                  </a:lnTo>
                  <a:lnTo>
                    <a:pt x="314" y="166"/>
                  </a:lnTo>
                  <a:lnTo>
                    <a:pt x="314" y="168"/>
                  </a:lnTo>
                  <a:lnTo>
                    <a:pt x="314" y="171"/>
                  </a:lnTo>
                  <a:lnTo>
                    <a:pt x="314" y="172"/>
                  </a:lnTo>
                  <a:lnTo>
                    <a:pt x="313" y="174"/>
                  </a:lnTo>
                  <a:lnTo>
                    <a:pt x="311" y="179"/>
                  </a:lnTo>
                  <a:lnTo>
                    <a:pt x="310" y="180"/>
                  </a:lnTo>
                  <a:lnTo>
                    <a:pt x="311" y="183"/>
                  </a:lnTo>
                  <a:lnTo>
                    <a:pt x="310" y="185"/>
                  </a:lnTo>
                  <a:lnTo>
                    <a:pt x="310" y="188"/>
                  </a:lnTo>
                  <a:lnTo>
                    <a:pt x="310" y="191"/>
                  </a:lnTo>
                  <a:lnTo>
                    <a:pt x="308" y="188"/>
                  </a:lnTo>
                  <a:lnTo>
                    <a:pt x="310" y="180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5" y="180"/>
                  </a:lnTo>
                  <a:lnTo>
                    <a:pt x="303" y="180"/>
                  </a:lnTo>
                  <a:lnTo>
                    <a:pt x="302" y="180"/>
                  </a:lnTo>
                  <a:lnTo>
                    <a:pt x="299" y="182"/>
                  </a:lnTo>
                  <a:lnTo>
                    <a:pt x="300" y="183"/>
                  </a:lnTo>
                  <a:lnTo>
                    <a:pt x="302" y="183"/>
                  </a:lnTo>
                  <a:lnTo>
                    <a:pt x="303" y="183"/>
                  </a:lnTo>
                  <a:lnTo>
                    <a:pt x="305" y="183"/>
                  </a:lnTo>
                  <a:lnTo>
                    <a:pt x="307" y="186"/>
                  </a:lnTo>
                  <a:lnTo>
                    <a:pt x="307" y="186"/>
                  </a:lnTo>
                  <a:lnTo>
                    <a:pt x="307" y="191"/>
                  </a:lnTo>
                  <a:lnTo>
                    <a:pt x="305" y="194"/>
                  </a:lnTo>
                  <a:lnTo>
                    <a:pt x="305" y="195"/>
                  </a:lnTo>
                  <a:lnTo>
                    <a:pt x="303" y="195"/>
                  </a:lnTo>
                  <a:lnTo>
                    <a:pt x="303" y="197"/>
                  </a:lnTo>
                  <a:lnTo>
                    <a:pt x="302" y="197"/>
                  </a:lnTo>
                  <a:lnTo>
                    <a:pt x="302" y="197"/>
                  </a:lnTo>
                  <a:lnTo>
                    <a:pt x="300" y="195"/>
                  </a:lnTo>
                  <a:lnTo>
                    <a:pt x="300" y="195"/>
                  </a:lnTo>
                  <a:lnTo>
                    <a:pt x="299" y="194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7" y="191"/>
                  </a:lnTo>
                  <a:lnTo>
                    <a:pt x="297" y="189"/>
                  </a:lnTo>
                  <a:lnTo>
                    <a:pt x="296" y="189"/>
                  </a:lnTo>
                  <a:lnTo>
                    <a:pt x="296" y="189"/>
                  </a:lnTo>
                  <a:lnTo>
                    <a:pt x="296" y="188"/>
                  </a:lnTo>
                  <a:lnTo>
                    <a:pt x="296" y="186"/>
                  </a:lnTo>
                  <a:lnTo>
                    <a:pt x="296" y="185"/>
                  </a:lnTo>
                  <a:lnTo>
                    <a:pt x="296" y="183"/>
                  </a:lnTo>
                  <a:lnTo>
                    <a:pt x="296" y="182"/>
                  </a:lnTo>
                  <a:lnTo>
                    <a:pt x="296" y="182"/>
                  </a:lnTo>
                  <a:lnTo>
                    <a:pt x="296" y="180"/>
                  </a:lnTo>
                  <a:lnTo>
                    <a:pt x="293" y="179"/>
                  </a:lnTo>
                  <a:lnTo>
                    <a:pt x="293" y="180"/>
                  </a:lnTo>
                  <a:lnTo>
                    <a:pt x="293" y="183"/>
                  </a:lnTo>
                  <a:lnTo>
                    <a:pt x="293" y="186"/>
                  </a:lnTo>
                  <a:lnTo>
                    <a:pt x="291" y="188"/>
                  </a:lnTo>
                  <a:lnTo>
                    <a:pt x="291" y="185"/>
                  </a:lnTo>
                  <a:lnTo>
                    <a:pt x="291" y="182"/>
                  </a:lnTo>
                  <a:lnTo>
                    <a:pt x="291" y="179"/>
                  </a:lnTo>
                  <a:lnTo>
                    <a:pt x="291" y="177"/>
                  </a:lnTo>
                  <a:lnTo>
                    <a:pt x="291" y="172"/>
                  </a:lnTo>
                  <a:lnTo>
                    <a:pt x="291" y="166"/>
                  </a:lnTo>
                  <a:lnTo>
                    <a:pt x="291" y="165"/>
                  </a:lnTo>
                  <a:lnTo>
                    <a:pt x="293" y="165"/>
                  </a:lnTo>
                  <a:lnTo>
                    <a:pt x="293" y="165"/>
                  </a:lnTo>
                  <a:lnTo>
                    <a:pt x="293" y="163"/>
                  </a:lnTo>
                  <a:lnTo>
                    <a:pt x="291" y="163"/>
                  </a:lnTo>
                  <a:lnTo>
                    <a:pt x="291" y="163"/>
                  </a:lnTo>
                  <a:lnTo>
                    <a:pt x="291" y="163"/>
                  </a:lnTo>
                  <a:lnTo>
                    <a:pt x="290" y="162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3"/>
                  </a:lnTo>
                  <a:lnTo>
                    <a:pt x="283" y="165"/>
                  </a:lnTo>
                  <a:lnTo>
                    <a:pt x="279" y="171"/>
                  </a:lnTo>
                  <a:lnTo>
                    <a:pt x="270" y="177"/>
                  </a:lnTo>
                  <a:lnTo>
                    <a:pt x="268" y="182"/>
                  </a:lnTo>
                  <a:lnTo>
                    <a:pt x="268" y="183"/>
                  </a:lnTo>
                  <a:lnTo>
                    <a:pt x="266" y="188"/>
                  </a:lnTo>
                  <a:lnTo>
                    <a:pt x="266" y="189"/>
                  </a:lnTo>
                  <a:lnTo>
                    <a:pt x="266" y="191"/>
                  </a:lnTo>
                  <a:lnTo>
                    <a:pt x="265" y="191"/>
                  </a:lnTo>
                  <a:lnTo>
                    <a:pt x="265" y="194"/>
                  </a:lnTo>
                  <a:lnTo>
                    <a:pt x="265" y="197"/>
                  </a:lnTo>
                  <a:lnTo>
                    <a:pt x="265" y="202"/>
                  </a:lnTo>
                  <a:lnTo>
                    <a:pt x="266" y="206"/>
                  </a:lnTo>
                  <a:lnTo>
                    <a:pt x="268" y="212"/>
                  </a:lnTo>
                  <a:lnTo>
                    <a:pt x="270" y="219"/>
                  </a:lnTo>
                  <a:lnTo>
                    <a:pt x="271" y="222"/>
                  </a:lnTo>
                  <a:lnTo>
                    <a:pt x="271" y="223"/>
                  </a:lnTo>
                  <a:lnTo>
                    <a:pt x="270" y="222"/>
                  </a:lnTo>
                  <a:lnTo>
                    <a:pt x="266" y="222"/>
                  </a:lnTo>
                  <a:lnTo>
                    <a:pt x="266" y="220"/>
                  </a:lnTo>
                  <a:lnTo>
                    <a:pt x="266" y="219"/>
                  </a:lnTo>
                  <a:lnTo>
                    <a:pt x="263" y="214"/>
                  </a:lnTo>
                  <a:lnTo>
                    <a:pt x="262" y="208"/>
                  </a:lnTo>
                  <a:lnTo>
                    <a:pt x="260" y="203"/>
                  </a:lnTo>
                  <a:lnTo>
                    <a:pt x="257" y="203"/>
                  </a:lnTo>
                  <a:lnTo>
                    <a:pt x="257" y="205"/>
                  </a:lnTo>
                  <a:lnTo>
                    <a:pt x="257" y="211"/>
                  </a:lnTo>
                  <a:lnTo>
                    <a:pt x="259" y="225"/>
                  </a:lnTo>
                  <a:lnTo>
                    <a:pt x="259" y="226"/>
                  </a:lnTo>
                  <a:lnTo>
                    <a:pt x="259" y="229"/>
                  </a:lnTo>
                  <a:lnTo>
                    <a:pt x="257" y="231"/>
                  </a:lnTo>
                  <a:lnTo>
                    <a:pt x="257" y="231"/>
                  </a:lnTo>
                  <a:lnTo>
                    <a:pt x="257" y="232"/>
                  </a:lnTo>
                  <a:lnTo>
                    <a:pt x="257" y="234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9"/>
                  </a:lnTo>
                  <a:lnTo>
                    <a:pt x="257" y="242"/>
                  </a:lnTo>
                  <a:lnTo>
                    <a:pt x="257" y="243"/>
                  </a:lnTo>
                  <a:lnTo>
                    <a:pt x="259" y="245"/>
                  </a:lnTo>
                  <a:lnTo>
                    <a:pt x="259" y="246"/>
                  </a:lnTo>
                  <a:lnTo>
                    <a:pt x="259" y="251"/>
                  </a:lnTo>
                  <a:lnTo>
                    <a:pt x="259" y="254"/>
                  </a:lnTo>
                  <a:lnTo>
                    <a:pt x="257" y="254"/>
                  </a:lnTo>
                  <a:lnTo>
                    <a:pt x="257" y="256"/>
                  </a:lnTo>
                  <a:lnTo>
                    <a:pt x="256" y="254"/>
                  </a:lnTo>
                  <a:lnTo>
                    <a:pt x="256" y="252"/>
                  </a:lnTo>
                  <a:lnTo>
                    <a:pt x="257" y="249"/>
                  </a:lnTo>
                  <a:lnTo>
                    <a:pt x="256" y="246"/>
                  </a:lnTo>
                  <a:lnTo>
                    <a:pt x="254" y="243"/>
                  </a:lnTo>
                  <a:lnTo>
                    <a:pt x="253" y="242"/>
                  </a:lnTo>
                  <a:lnTo>
                    <a:pt x="253" y="242"/>
                  </a:lnTo>
                  <a:lnTo>
                    <a:pt x="253" y="240"/>
                  </a:lnTo>
                  <a:lnTo>
                    <a:pt x="254" y="240"/>
                  </a:lnTo>
                  <a:lnTo>
                    <a:pt x="254" y="240"/>
                  </a:lnTo>
                  <a:lnTo>
                    <a:pt x="253" y="239"/>
                  </a:lnTo>
                  <a:lnTo>
                    <a:pt x="250" y="229"/>
                  </a:lnTo>
                  <a:lnTo>
                    <a:pt x="250" y="228"/>
                  </a:lnTo>
                  <a:lnTo>
                    <a:pt x="250" y="223"/>
                  </a:lnTo>
                  <a:lnTo>
                    <a:pt x="250" y="222"/>
                  </a:lnTo>
                  <a:lnTo>
                    <a:pt x="250" y="217"/>
                  </a:lnTo>
                  <a:lnTo>
                    <a:pt x="250" y="215"/>
                  </a:lnTo>
                  <a:lnTo>
                    <a:pt x="250" y="212"/>
                  </a:lnTo>
                  <a:lnTo>
                    <a:pt x="250" y="212"/>
                  </a:lnTo>
                  <a:lnTo>
                    <a:pt x="248" y="211"/>
                  </a:lnTo>
                  <a:lnTo>
                    <a:pt x="250" y="208"/>
                  </a:lnTo>
                  <a:lnTo>
                    <a:pt x="248" y="206"/>
                  </a:lnTo>
                  <a:lnTo>
                    <a:pt x="245" y="203"/>
                  </a:lnTo>
                  <a:lnTo>
                    <a:pt x="243" y="200"/>
                  </a:lnTo>
                  <a:lnTo>
                    <a:pt x="242" y="199"/>
                  </a:lnTo>
                  <a:lnTo>
                    <a:pt x="240" y="199"/>
                  </a:lnTo>
                  <a:lnTo>
                    <a:pt x="239" y="200"/>
                  </a:lnTo>
                  <a:lnTo>
                    <a:pt x="236" y="202"/>
                  </a:lnTo>
                  <a:lnTo>
                    <a:pt x="228" y="205"/>
                  </a:lnTo>
                  <a:lnTo>
                    <a:pt x="228" y="203"/>
                  </a:lnTo>
                  <a:lnTo>
                    <a:pt x="233" y="202"/>
                  </a:lnTo>
                  <a:lnTo>
                    <a:pt x="237" y="197"/>
                  </a:lnTo>
                  <a:lnTo>
                    <a:pt x="240" y="191"/>
                  </a:lnTo>
                  <a:lnTo>
                    <a:pt x="242" y="185"/>
                  </a:lnTo>
                  <a:lnTo>
                    <a:pt x="240" y="177"/>
                  </a:lnTo>
                  <a:lnTo>
                    <a:pt x="236" y="179"/>
                  </a:lnTo>
                  <a:lnTo>
                    <a:pt x="233" y="182"/>
                  </a:lnTo>
                  <a:lnTo>
                    <a:pt x="228" y="185"/>
                  </a:lnTo>
                  <a:lnTo>
                    <a:pt x="228" y="183"/>
                  </a:lnTo>
                  <a:lnTo>
                    <a:pt x="230" y="182"/>
                  </a:lnTo>
                  <a:lnTo>
                    <a:pt x="234" y="175"/>
                  </a:lnTo>
                  <a:lnTo>
                    <a:pt x="234" y="172"/>
                  </a:lnTo>
                  <a:lnTo>
                    <a:pt x="234" y="171"/>
                  </a:lnTo>
                  <a:lnTo>
                    <a:pt x="231" y="169"/>
                  </a:lnTo>
                  <a:lnTo>
                    <a:pt x="219" y="169"/>
                  </a:lnTo>
                  <a:lnTo>
                    <a:pt x="217" y="169"/>
                  </a:lnTo>
                  <a:lnTo>
                    <a:pt x="217" y="168"/>
                  </a:lnTo>
                  <a:lnTo>
                    <a:pt x="216" y="168"/>
                  </a:lnTo>
                  <a:lnTo>
                    <a:pt x="216" y="166"/>
                  </a:lnTo>
                  <a:lnTo>
                    <a:pt x="216" y="163"/>
                  </a:lnTo>
                  <a:lnTo>
                    <a:pt x="214" y="163"/>
                  </a:lnTo>
                  <a:lnTo>
                    <a:pt x="214" y="162"/>
                  </a:lnTo>
                  <a:lnTo>
                    <a:pt x="213" y="160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4" y="157"/>
                  </a:lnTo>
                  <a:lnTo>
                    <a:pt x="214" y="154"/>
                  </a:lnTo>
                  <a:lnTo>
                    <a:pt x="214" y="154"/>
                  </a:lnTo>
                  <a:lnTo>
                    <a:pt x="213" y="151"/>
                  </a:lnTo>
                  <a:lnTo>
                    <a:pt x="213" y="151"/>
                  </a:lnTo>
                  <a:lnTo>
                    <a:pt x="211" y="149"/>
                  </a:lnTo>
                  <a:lnTo>
                    <a:pt x="208" y="148"/>
                  </a:lnTo>
                  <a:lnTo>
                    <a:pt x="206" y="146"/>
                  </a:lnTo>
                  <a:lnTo>
                    <a:pt x="208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6" y="149"/>
                  </a:lnTo>
                  <a:lnTo>
                    <a:pt x="216" y="151"/>
                  </a:lnTo>
                  <a:lnTo>
                    <a:pt x="216" y="154"/>
                  </a:lnTo>
                  <a:lnTo>
                    <a:pt x="217" y="155"/>
                  </a:lnTo>
                  <a:lnTo>
                    <a:pt x="219" y="157"/>
                  </a:lnTo>
                  <a:lnTo>
                    <a:pt x="219" y="157"/>
                  </a:lnTo>
                  <a:lnTo>
                    <a:pt x="220" y="160"/>
                  </a:lnTo>
                  <a:lnTo>
                    <a:pt x="222" y="160"/>
                  </a:lnTo>
                  <a:lnTo>
                    <a:pt x="231" y="162"/>
                  </a:lnTo>
                  <a:lnTo>
                    <a:pt x="234" y="160"/>
                  </a:lnTo>
                  <a:lnTo>
                    <a:pt x="239" y="152"/>
                  </a:lnTo>
                  <a:lnTo>
                    <a:pt x="239" y="151"/>
                  </a:lnTo>
                  <a:lnTo>
                    <a:pt x="234" y="148"/>
                  </a:lnTo>
                  <a:lnTo>
                    <a:pt x="233" y="148"/>
                  </a:lnTo>
                  <a:lnTo>
                    <a:pt x="231" y="148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36" y="145"/>
                  </a:lnTo>
                  <a:lnTo>
                    <a:pt x="239" y="142"/>
                  </a:lnTo>
                  <a:lnTo>
                    <a:pt x="240" y="140"/>
                  </a:lnTo>
                  <a:lnTo>
                    <a:pt x="243" y="131"/>
                  </a:lnTo>
                  <a:lnTo>
                    <a:pt x="243" y="129"/>
                  </a:lnTo>
                  <a:lnTo>
                    <a:pt x="240" y="128"/>
                  </a:lnTo>
                  <a:lnTo>
                    <a:pt x="242" y="126"/>
                  </a:lnTo>
                  <a:lnTo>
                    <a:pt x="243" y="123"/>
                  </a:lnTo>
                  <a:lnTo>
                    <a:pt x="243" y="120"/>
                  </a:lnTo>
                  <a:lnTo>
                    <a:pt x="242" y="117"/>
                  </a:lnTo>
                  <a:lnTo>
                    <a:pt x="240" y="115"/>
                  </a:lnTo>
                  <a:lnTo>
                    <a:pt x="231" y="117"/>
                  </a:lnTo>
                  <a:lnTo>
                    <a:pt x="231" y="115"/>
                  </a:lnTo>
                  <a:lnTo>
                    <a:pt x="236" y="114"/>
                  </a:lnTo>
                  <a:lnTo>
                    <a:pt x="236" y="112"/>
                  </a:lnTo>
                  <a:lnTo>
                    <a:pt x="234" y="111"/>
                  </a:lnTo>
                  <a:lnTo>
                    <a:pt x="226" y="112"/>
                  </a:lnTo>
                  <a:lnTo>
                    <a:pt x="222" y="114"/>
                  </a:lnTo>
                  <a:lnTo>
                    <a:pt x="220" y="115"/>
                  </a:lnTo>
                  <a:lnTo>
                    <a:pt x="219" y="112"/>
                  </a:lnTo>
                  <a:lnTo>
                    <a:pt x="220" y="112"/>
                  </a:lnTo>
                  <a:lnTo>
                    <a:pt x="228" y="109"/>
                  </a:lnTo>
                  <a:lnTo>
                    <a:pt x="230" y="108"/>
                  </a:lnTo>
                  <a:lnTo>
                    <a:pt x="240" y="108"/>
                  </a:lnTo>
                  <a:lnTo>
                    <a:pt x="240" y="103"/>
                  </a:lnTo>
                  <a:lnTo>
                    <a:pt x="239" y="102"/>
                  </a:lnTo>
                  <a:lnTo>
                    <a:pt x="237" y="100"/>
                  </a:lnTo>
                  <a:lnTo>
                    <a:pt x="234" y="100"/>
                  </a:lnTo>
                  <a:lnTo>
                    <a:pt x="226" y="102"/>
                  </a:lnTo>
                  <a:lnTo>
                    <a:pt x="225" y="100"/>
                  </a:lnTo>
                  <a:lnTo>
                    <a:pt x="223" y="97"/>
                  </a:lnTo>
                  <a:lnTo>
                    <a:pt x="223" y="97"/>
                  </a:lnTo>
                  <a:lnTo>
                    <a:pt x="223" y="94"/>
                  </a:lnTo>
                  <a:lnTo>
                    <a:pt x="223" y="94"/>
                  </a:lnTo>
                  <a:lnTo>
                    <a:pt x="225" y="92"/>
                  </a:lnTo>
                  <a:lnTo>
                    <a:pt x="226" y="92"/>
                  </a:lnTo>
                  <a:lnTo>
                    <a:pt x="225" y="91"/>
                  </a:lnTo>
                  <a:lnTo>
                    <a:pt x="225" y="91"/>
                  </a:lnTo>
                  <a:lnTo>
                    <a:pt x="225" y="89"/>
                  </a:lnTo>
                  <a:lnTo>
                    <a:pt x="223" y="88"/>
                  </a:lnTo>
                  <a:lnTo>
                    <a:pt x="223" y="88"/>
                  </a:lnTo>
                  <a:lnTo>
                    <a:pt x="220" y="88"/>
                  </a:lnTo>
                  <a:lnTo>
                    <a:pt x="217" y="89"/>
                  </a:lnTo>
                  <a:lnTo>
                    <a:pt x="217" y="89"/>
                  </a:lnTo>
                  <a:lnTo>
                    <a:pt x="219" y="94"/>
                  </a:lnTo>
                  <a:lnTo>
                    <a:pt x="219" y="95"/>
                  </a:lnTo>
                  <a:lnTo>
                    <a:pt x="219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6" y="100"/>
                  </a:lnTo>
                  <a:lnTo>
                    <a:pt x="214" y="102"/>
                  </a:lnTo>
                  <a:lnTo>
                    <a:pt x="216" y="98"/>
                  </a:lnTo>
                  <a:lnTo>
                    <a:pt x="216" y="97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6" y="91"/>
                  </a:lnTo>
                  <a:lnTo>
                    <a:pt x="214" y="91"/>
                  </a:lnTo>
                  <a:lnTo>
                    <a:pt x="213" y="92"/>
                  </a:lnTo>
                  <a:lnTo>
                    <a:pt x="213" y="92"/>
                  </a:lnTo>
                  <a:lnTo>
                    <a:pt x="211" y="91"/>
                  </a:lnTo>
                  <a:lnTo>
                    <a:pt x="211" y="89"/>
                  </a:lnTo>
                  <a:lnTo>
                    <a:pt x="209" y="86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9" y="80"/>
                  </a:lnTo>
                  <a:lnTo>
                    <a:pt x="209" y="80"/>
                  </a:lnTo>
                  <a:lnTo>
                    <a:pt x="209" y="78"/>
                  </a:lnTo>
                  <a:lnTo>
                    <a:pt x="209" y="77"/>
                  </a:lnTo>
                  <a:lnTo>
                    <a:pt x="209" y="74"/>
                  </a:lnTo>
                  <a:lnTo>
                    <a:pt x="208" y="74"/>
                  </a:lnTo>
                  <a:lnTo>
                    <a:pt x="208" y="71"/>
                  </a:lnTo>
                  <a:lnTo>
                    <a:pt x="208" y="71"/>
                  </a:lnTo>
                  <a:lnTo>
                    <a:pt x="203" y="68"/>
                  </a:lnTo>
                  <a:lnTo>
                    <a:pt x="203" y="69"/>
                  </a:lnTo>
                  <a:lnTo>
                    <a:pt x="202" y="69"/>
                  </a:lnTo>
                  <a:lnTo>
                    <a:pt x="200" y="69"/>
                  </a:lnTo>
                  <a:lnTo>
                    <a:pt x="200" y="69"/>
                  </a:lnTo>
                  <a:lnTo>
                    <a:pt x="199" y="68"/>
                  </a:lnTo>
                  <a:lnTo>
                    <a:pt x="196" y="65"/>
                  </a:lnTo>
                  <a:lnTo>
                    <a:pt x="194" y="65"/>
                  </a:lnTo>
                  <a:lnTo>
                    <a:pt x="194" y="65"/>
                  </a:lnTo>
                  <a:lnTo>
                    <a:pt x="193" y="66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96" y="61"/>
                  </a:lnTo>
                  <a:lnTo>
                    <a:pt x="196" y="60"/>
                  </a:lnTo>
                  <a:lnTo>
                    <a:pt x="193" y="57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89" y="55"/>
                  </a:lnTo>
                  <a:lnTo>
                    <a:pt x="188" y="55"/>
                  </a:lnTo>
                  <a:lnTo>
                    <a:pt x="183" y="55"/>
                  </a:lnTo>
                  <a:lnTo>
                    <a:pt x="183" y="52"/>
                  </a:lnTo>
                  <a:lnTo>
                    <a:pt x="183" y="52"/>
                  </a:lnTo>
                  <a:lnTo>
                    <a:pt x="182" y="52"/>
                  </a:lnTo>
                  <a:lnTo>
                    <a:pt x="180" y="54"/>
                  </a:lnTo>
                  <a:lnTo>
                    <a:pt x="180" y="55"/>
                  </a:lnTo>
                  <a:lnTo>
                    <a:pt x="180" y="55"/>
                  </a:lnTo>
                  <a:lnTo>
                    <a:pt x="179" y="54"/>
                  </a:lnTo>
                  <a:lnTo>
                    <a:pt x="179" y="52"/>
                  </a:lnTo>
                  <a:lnTo>
                    <a:pt x="177" y="52"/>
                  </a:lnTo>
                  <a:lnTo>
                    <a:pt x="176" y="54"/>
                  </a:lnTo>
                  <a:lnTo>
                    <a:pt x="174" y="54"/>
                  </a:lnTo>
                  <a:lnTo>
                    <a:pt x="174" y="55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4" y="52"/>
                  </a:lnTo>
                  <a:lnTo>
                    <a:pt x="174" y="51"/>
                  </a:lnTo>
                  <a:lnTo>
                    <a:pt x="173" y="49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3" y="45"/>
                  </a:lnTo>
                  <a:lnTo>
                    <a:pt x="174" y="43"/>
                  </a:lnTo>
                  <a:lnTo>
                    <a:pt x="174" y="45"/>
                  </a:lnTo>
                  <a:lnTo>
                    <a:pt x="174" y="43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38"/>
                  </a:lnTo>
                  <a:lnTo>
                    <a:pt x="169" y="35"/>
                  </a:lnTo>
                  <a:lnTo>
                    <a:pt x="163" y="32"/>
                  </a:lnTo>
                  <a:lnTo>
                    <a:pt x="162" y="29"/>
                  </a:lnTo>
                  <a:lnTo>
                    <a:pt x="162" y="25"/>
                  </a:lnTo>
                  <a:lnTo>
                    <a:pt x="160" y="21"/>
                  </a:lnTo>
                  <a:lnTo>
                    <a:pt x="157" y="18"/>
                  </a:lnTo>
                  <a:lnTo>
                    <a:pt x="156" y="18"/>
                  </a:lnTo>
                  <a:lnTo>
                    <a:pt x="156" y="20"/>
                  </a:lnTo>
                  <a:lnTo>
                    <a:pt x="157" y="21"/>
                  </a:lnTo>
                  <a:lnTo>
                    <a:pt x="159" y="23"/>
                  </a:lnTo>
                  <a:lnTo>
                    <a:pt x="159" y="26"/>
                  </a:lnTo>
                  <a:lnTo>
                    <a:pt x="157" y="26"/>
                  </a:lnTo>
                  <a:lnTo>
                    <a:pt x="152" y="23"/>
                  </a:lnTo>
                  <a:lnTo>
                    <a:pt x="149" y="21"/>
                  </a:lnTo>
                  <a:lnTo>
                    <a:pt x="146" y="18"/>
                  </a:lnTo>
                  <a:lnTo>
                    <a:pt x="145" y="20"/>
                  </a:lnTo>
                  <a:lnTo>
                    <a:pt x="145" y="21"/>
                  </a:lnTo>
                  <a:lnTo>
                    <a:pt x="145" y="23"/>
                  </a:lnTo>
                  <a:lnTo>
                    <a:pt x="143" y="25"/>
                  </a:lnTo>
                  <a:lnTo>
                    <a:pt x="140" y="28"/>
                  </a:lnTo>
                  <a:lnTo>
                    <a:pt x="139" y="28"/>
                  </a:lnTo>
                  <a:lnTo>
                    <a:pt x="137" y="26"/>
                  </a:lnTo>
                  <a:lnTo>
                    <a:pt x="134" y="23"/>
                  </a:lnTo>
                  <a:lnTo>
                    <a:pt x="131" y="21"/>
                  </a:lnTo>
                  <a:lnTo>
                    <a:pt x="128" y="20"/>
                  </a:lnTo>
                  <a:lnTo>
                    <a:pt x="126" y="18"/>
                  </a:lnTo>
                  <a:lnTo>
                    <a:pt x="119" y="18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12" y="23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4" y="28"/>
                  </a:lnTo>
                  <a:lnTo>
                    <a:pt x="112" y="26"/>
                  </a:lnTo>
                  <a:lnTo>
                    <a:pt x="109" y="25"/>
                  </a:lnTo>
                  <a:lnTo>
                    <a:pt x="108" y="23"/>
                  </a:lnTo>
                  <a:lnTo>
                    <a:pt x="105" y="25"/>
                  </a:lnTo>
                  <a:lnTo>
                    <a:pt x="106" y="28"/>
                  </a:lnTo>
                  <a:lnTo>
                    <a:pt x="109" y="31"/>
                  </a:lnTo>
                  <a:lnTo>
                    <a:pt x="111" y="32"/>
                  </a:lnTo>
                  <a:lnTo>
                    <a:pt x="114" y="32"/>
                  </a:lnTo>
                  <a:lnTo>
                    <a:pt x="112" y="38"/>
                  </a:lnTo>
                  <a:lnTo>
                    <a:pt x="109" y="38"/>
                  </a:lnTo>
                  <a:lnTo>
                    <a:pt x="105" y="37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3" y="41"/>
                  </a:lnTo>
                  <a:lnTo>
                    <a:pt x="105" y="45"/>
                  </a:lnTo>
                  <a:lnTo>
                    <a:pt x="108" y="46"/>
                  </a:lnTo>
                  <a:lnTo>
                    <a:pt x="120" y="49"/>
                  </a:lnTo>
                  <a:lnTo>
                    <a:pt x="122" y="48"/>
                  </a:lnTo>
                  <a:lnTo>
                    <a:pt x="122" y="46"/>
                  </a:lnTo>
                  <a:lnTo>
                    <a:pt x="125" y="41"/>
                  </a:lnTo>
                  <a:lnTo>
                    <a:pt x="126" y="40"/>
                  </a:lnTo>
                  <a:lnTo>
                    <a:pt x="128" y="38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29" y="40"/>
                  </a:lnTo>
                  <a:lnTo>
                    <a:pt x="128" y="43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1" y="46"/>
                  </a:lnTo>
                  <a:lnTo>
                    <a:pt x="132" y="45"/>
                  </a:lnTo>
                  <a:lnTo>
                    <a:pt x="139" y="38"/>
                  </a:lnTo>
                  <a:lnTo>
                    <a:pt x="142" y="37"/>
                  </a:lnTo>
                  <a:lnTo>
                    <a:pt x="145" y="37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7" y="48"/>
                  </a:lnTo>
                  <a:lnTo>
                    <a:pt x="137" y="49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42" y="52"/>
                  </a:lnTo>
                  <a:lnTo>
                    <a:pt x="145" y="51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2" y="49"/>
                  </a:lnTo>
                  <a:lnTo>
                    <a:pt x="151" y="49"/>
                  </a:lnTo>
                  <a:lnTo>
                    <a:pt x="151" y="51"/>
                  </a:lnTo>
                  <a:lnTo>
                    <a:pt x="149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9" y="54"/>
                  </a:lnTo>
                  <a:lnTo>
                    <a:pt x="152" y="55"/>
                  </a:lnTo>
                  <a:lnTo>
                    <a:pt x="162" y="54"/>
                  </a:lnTo>
                  <a:lnTo>
                    <a:pt x="160" y="55"/>
                  </a:lnTo>
                  <a:lnTo>
                    <a:pt x="157" y="55"/>
                  </a:lnTo>
                  <a:lnTo>
                    <a:pt x="154" y="58"/>
                  </a:lnTo>
                  <a:lnTo>
                    <a:pt x="152" y="60"/>
                  </a:lnTo>
                  <a:lnTo>
                    <a:pt x="148" y="60"/>
                  </a:lnTo>
                  <a:lnTo>
                    <a:pt x="149" y="61"/>
                  </a:lnTo>
                  <a:lnTo>
                    <a:pt x="149" y="63"/>
                  </a:lnTo>
                  <a:lnTo>
                    <a:pt x="149" y="63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1"/>
                  </a:lnTo>
                  <a:lnTo>
                    <a:pt x="145" y="61"/>
                  </a:lnTo>
                  <a:lnTo>
                    <a:pt x="145" y="60"/>
                  </a:lnTo>
                  <a:lnTo>
                    <a:pt x="145" y="60"/>
                  </a:lnTo>
                  <a:lnTo>
                    <a:pt x="143" y="60"/>
                  </a:lnTo>
                  <a:lnTo>
                    <a:pt x="142" y="60"/>
                  </a:lnTo>
                  <a:lnTo>
                    <a:pt x="134" y="57"/>
                  </a:lnTo>
                  <a:lnTo>
                    <a:pt x="131" y="57"/>
                  </a:lnTo>
                  <a:lnTo>
                    <a:pt x="120" y="60"/>
                  </a:lnTo>
                  <a:lnTo>
                    <a:pt x="117" y="61"/>
                  </a:lnTo>
                  <a:lnTo>
                    <a:pt x="120" y="71"/>
                  </a:lnTo>
                  <a:lnTo>
                    <a:pt x="125" y="75"/>
                  </a:lnTo>
                  <a:lnTo>
                    <a:pt x="143" y="83"/>
                  </a:lnTo>
                  <a:lnTo>
                    <a:pt x="148" y="88"/>
                  </a:lnTo>
                  <a:lnTo>
                    <a:pt x="154" y="91"/>
                  </a:lnTo>
                  <a:lnTo>
                    <a:pt x="154" y="91"/>
                  </a:lnTo>
                  <a:lnTo>
                    <a:pt x="156" y="89"/>
                  </a:lnTo>
                  <a:lnTo>
                    <a:pt x="160" y="88"/>
                  </a:lnTo>
                  <a:lnTo>
                    <a:pt x="162" y="88"/>
                  </a:lnTo>
                  <a:lnTo>
                    <a:pt x="160" y="89"/>
                  </a:lnTo>
                  <a:lnTo>
                    <a:pt x="159" y="91"/>
                  </a:lnTo>
                  <a:lnTo>
                    <a:pt x="157" y="91"/>
                  </a:lnTo>
                  <a:lnTo>
                    <a:pt x="156" y="91"/>
                  </a:lnTo>
                  <a:lnTo>
                    <a:pt x="156" y="92"/>
                  </a:lnTo>
                  <a:lnTo>
                    <a:pt x="154" y="95"/>
                  </a:lnTo>
                  <a:lnTo>
                    <a:pt x="154" y="97"/>
                  </a:lnTo>
                  <a:lnTo>
                    <a:pt x="154" y="100"/>
                  </a:lnTo>
                  <a:lnTo>
                    <a:pt x="156" y="100"/>
                  </a:lnTo>
                  <a:lnTo>
                    <a:pt x="157" y="102"/>
                  </a:lnTo>
                  <a:lnTo>
                    <a:pt x="159" y="105"/>
                  </a:lnTo>
                  <a:lnTo>
                    <a:pt x="159" y="108"/>
                  </a:lnTo>
                  <a:lnTo>
                    <a:pt x="160" y="111"/>
                  </a:lnTo>
                  <a:lnTo>
                    <a:pt x="160" y="114"/>
                  </a:lnTo>
                  <a:lnTo>
                    <a:pt x="162" y="118"/>
                  </a:lnTo>
                  <a:lnTo>
                    <a:pt x="163" y="120"/>
                  </a:lnTo>
                  <a:lnTo>
                    <a:pt x="163" y="122"/>
                  </a:lnTo>
                  <a:lnTo>
                    <a:pt x="160" y="123"/>
                  </a:lnTo>
                  <a:lnTo>
                    <a:pt x="157" y="132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6" y="131"/>
                  </a:lnTo>
                  <a:lnTo>
                    <a:pt x="157" y="128"/>
                  </a:lnTo>
                  <a:lnTo>
                    <a:pt x="157" y="126"/>
                  </a:lnTo>
                  <a:lnTo>
                    <a:pt x="159" y="120"/>
                  </a:lnTo>
                  <a:lnTo>
                    <a:pt x="159" y="118"/>
                  </a:lnTo>
                  <a:lnTo>
                    <a:pt x="157" y="118"/>
                  </a:lnTo>
                  <a:lnTo>
                    <a:pt x="157" y="120"/>
                  </a:lnTo>
                  <a:lnTo>
                    <a:pt x="157" y="122"/>
                  </a:lnTo>
                  <a:lnTo>
                    <a:pt x="157" y="122"/>
                  </a:lnTo>
                  <a:lnTo>
                    <a:pt x="156" y="122"/>
                  </a:lnTo>
                  <a:lnTo>
                    <a:pt x="156" y="120"/>
                  </a:lnTo>
                  <a:lnTo>
                    <a:pt x="156" y="118"/>
                  </a:lnTo>
                  <a:lnTo>
                    <a:pt x="156" y="117"/>
                  </a:lnTo>
                  <a:lnTo>
                    <a:pt x="156" y="115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2" y="114"/>
                  </a:lnTo>
                  <a:lnTo>
                    <a:pt x="152" y="111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9" y="111"/>
                  </a:lnTo>
                  <a:lnTo>
                    <a:pt x="149" y="114"/>
                  </a:lnTo>
                  <a:lnTo>
                    <a:pt x="145" y="128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0" y="134"/>
                  </a:lnTo>
                  <a:lnTo>
                    <a:pt x="142" y="131"/>
                  </a:lnTo>
                  <a:lnTo>
                    <a:pt x="145" y="120"/>
                  </a:lnTo>
                  <a:lnTo>
                    <a:pt x="145" y="118"/>
                  </a:lnTo>
                  <a:lnTo>
                    <a:pt x="145" y="118"/>
                  </a:lnTo>
                  <a:lnTo>
                    <a:pt x="146" y="117"/>
                  </a:lnTo>
                  <a:lnTo>
                    <a:pt x="146" y="115"/>
                  </a:lnTo>
                  <a:lnTo>
                    <a:pt x="146" y="114"/>
                  </a:lnTo>
                  <a:lnTo>
                    <a:pt x="146" y="109"/>
                  </a:lnTo>
                  <a:lnTo>
                    <a:pt x="146" y="109"/>
                  </a:lnTo>
                  <a:lnTo>
                    <a:pt x="146" y="108"/>
                  </a:lnTo>
                  <a:lnTo>
                    <a:pt x="143" y="103"/>
                  </a:lnTo>
                  <a:lnTo>
                    <a:pt x="140" y="100"/>
                  </a:lnTo>
                  <a:lnTo>
                    <a:pt x="140" y="98"/>
                  </a:lnTo>
                  <a:lnTo>
                    <a:pt x="140" y="97"/>
                  </a:lnTo>
                  <a:lnTo>
                    <a:pt x="140" y="95"/>
                  </a:lnTo>
                  <a:lnTo>
                    <a:pt x="139" y="95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2" y="95"/>
                  </a:lnTo>
                  <a:lnTo>
                    <a:pt x="132" y="98"/>
                  </a:lnTo>
                  <a:lnTo>
                    <a:pt x="131" y="103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9" y="122"/>
                  </a:lnTo>
                  <a:lnTo>
                    <a:pt x="128" y="118"/>
                  </a:lnTo>
                  <a:lnTo>
                    <a:pt x="129" y="114"/>
                  </a:lnTo>
                  <a:lnTo>
                    <a:pt x="129" y="109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6" y="108"/>
                  </a:lnTo>
                  <a:lnTo>
                    <a:pt x="125" y="112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0" y="114"/>
                  </a:lnTo>
                  <a:lnTo>
                    <a:pt x="122" y="112"/>
                  </a:lnTo>
                  <a:lnTo>
                    <a:pt x="125" y="109"/>
                  </a:lnTo>
                  <a:lnTo>
                    <a:pt x="126" y="105"/>
                  </a:lnTo>
                  <a:lnTo>
                    <a:pt x="128" y="102"/>
                  </a:lnTo>
                  <a:lnTo>
                    <a:pt x="126" y="100"/>
                  </a:lnTo>
                  <a:lnTo>
                    <a:pt x="125" y="100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123" y="102"/>
                  </a:lnTo>
                  <a:lnTo>
                    <a:pt x="122" y="98"/>
                  </a:lnTo>
                  <a:lnTo>
                    <a:pt x="122" y="97"/>
                  </a:lnTo>
                  <a:lnTo>
                    <a:pt x="120" y="95"/>
                  </a:lnTo>
                  <a:lnTo>
                    <a:pt x="120" y="97"/>
                  </a:lnTo>
                  <a:lnTo>
                    <a:pt x="119" y="97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3"/>
                  </a:lnTo>
                  <a:lnTo>
                    <a:pt x="112" y="108"/>
                  </a:lnTo>
                  <a:lnTo>
                    <a:pt x="111" y="111"/>
                  </a:lnTo>
                  <a:lnTo>
                    <a:pt x="111" y="111"/>
                  </a:lnTo>
                  <a:lnTo>
                    <a:pt x="111" y="109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7" y="100"/>
                  </a:lnTo>
                  <a:lnTo>
                    <a:pt x="117" y="98"/>
                  </a:lnTo>
                  <a:lnTo>
                    <a:pt x="117" y="97"/>
                  </a:lnTo>
                  <a:lnTo>
                    <a:pt x="117" y="94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6" y="88"/>
                  </a:lnTo>
                  <a:lnTo>
                    <a:pt x="114" y="86"/>
                  </a:lnTo>
                  <a:lnTo>
                    <a:pt x="114" y="85"/>
                  </a:lnTo>
                  <a:lnTo>
                    <a:pt x="112" y="85"/>
                  </a:lnTo>
                  <a:lnTo>
                    <a:pt x="111" y="85"/>
                  </a:lnTo>
                  <a:lnTo>
                    <a:pt x="108" y="91"/>
                  </a:lnTo>
                  <a:lnTo>
                    <a:pt x="106" y="88"/>
                  </a:lnTo>
                  <a:lnTo>
                    <a:pt x="108" y="85"/>
                  </a:lnTo>
                  <a:lnTo>
                    <a:pt x="106" y="81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0" y="77"/>
                  </a:lnTo>
                  <a:lnTo>
                    <a:pt x="92" y="71"/>
                  </a:lnTo>
                  <a:lnTo>
                    <a:pt x="82" y="68"/>
                  </a:lnTo>
                  <a:lnTo>
                    <a:pt x="79" y="68"/>
                  </a:lnTo>
                  <a:lnTo>
                    <a:pt x="79" y="71"/>
                  </a:lnTo>
                  <a:lnTo>
                    <a:pt x="79" y="72"/>
                  </a:lnTo>
                  <a:lnTo>
                    <a:pt x="75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4"/>
                  </a:lnTo>
                  <a:lnTo>
                    <a:pt x="71" y="75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2" y="80"/>
                  </a:lnTo>
                  <a:lnTo>
                    <a:pt x="80" y="80"/>
                  </a:lnTo>
                  <a:lnTo>
                    <a:pt x="82" y="80"/>
                  </a:lnTo>
                  <a:lnTo>
                    <a:pt x="85" y="85"/>
                  </a:lnTo>
                  <a:lnTo>
                    <a:pt x="86" y="88"/>
                  </a:lnTo>
                  <a:lnTo>
                    <a:pt x="79" y="81"/>
                  </a:lnTo>
                  <a:lnTo>
                    <a:pt x="74" y="80"/>
                  </a:lnTo>
                  <a:lnTo>
                    <a:pt x="68" y="81"/>
                  </a:lnTo>
                  <a:lnTo>
                    <a:pt x="65" y="83"/>
                  </a:lnTo>
                  <a:lnTo>
                    <a:pt x="68" y="86"/>
                  </a:lnTo>
                  <a:lnTo>
                    <a:pt x="72" y="91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7" y="95"/>
                  </a:lnTo>
                  <a:lnTo>
                    <a:pt x="80" y="97"/>
                  </a:lnTo>
                  <a:lnTo>
                    <a:pt x="82" y="97"/>
                  </a:lnTo>
                  <a:lnTo>
                    <a:pt x="83" y="98"/>
                  </a:lnTo>
                  <a:lnTo>
                    <a:pt x="86" y="105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6" y="106"/>
                  </a:lnTo>
                  <a:lnTo>
                    <a:pt x="85" y="105"/>
                  </a:lnTo>
                  <a:lnTo>
                    <a:pt x="83" y="103"/>
                  </a:lnTo>
                  <a:lnTo>
                    <a:pt x="83" y="100"/>
                  </a:lnTo>
                  <a:lnTo>
                    <a:pt x="80" y="102"/>
                  </a:lnTo>
                  <a:lnTo>
                    <a:pt x="77" y="100"/>
                  </a:lnTo>
                  <a:lnTo>
                    <a:pt x="63" y="92"/>
                  </a:lnTo>
                  <a:lnTo>
                    <a:pt x="60" y="91"/>
                  </a:lnTo>
                  <a:lnTo>
                    <a:pt x="57" y="92"/>
                  </a:lnTo>
                  <a:lnTo>
                    <a:pt x="55" y="94"/>
                  </a:lnTo>
                  <a:lnTo>
                    <a:pt x="55" y="97"/>
                  </a:lnTo>
                  <a:lnTo>
                    <a:pt x="55" y="103"/>
                  </a:lnTo>
                  <a:lnTo>
                    <a:pt x="55" y="105"/>
                  </a:lnTo>
                  <a:lnTo>
                    <a:pt x="59" y="109"/>
                  </a:lnTo>
                  <a:lnTo>
                    <a:pt x="62" y="112"/>
                  </a:lnTo>
                  <a:lnTo>
                    <a:pt x="63" y="112"/>
                  </a:lnTo>
                  <a:lnTo>
                    <a:pt x="65" y="114"/>
                  </a:lnTo>
                  <a:lnTo>
                    <a:pt x="66" y="115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80" y="125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91" y="129"/>
                  </a:lnTo>
                  <a:lnTo>
                    <a:pt x="94" y="131"/>
                  </a:lnTo>
                  <a:lnTo>
                    <a:pt x="100" y="134"/>
                  </a:lnTo>
                  <a:lnTo>
                    <a:pt x="97" y="135"/>
                  </a:lnTo>
                  <a:lnTo>
                    <a:pt x="94" y="134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77" y="126"/>
                  </a:lnTo>
                  <a:lnTo>
                    <a:pt x="72" y="128"/>
                  </a:lnTo>
                  <a:lnTo>
                    <a:pt x="71" y="128"/>
                  </a:lnTo>
                  <a:lnTo>
                    <a:pt x="69" y="126"/>
                  </a:lnTo>
                  <a:lnTo>
                    <a:pt x="66" y="123"/>
                  </a:lnTo>
                  <a:lnTo>
                    <a:pt x="65" y="122"/>
                  </a:lnTo>
                  <a:lnTo>
                    <a:pt x="60" y="122"/>
                  </a:lnTo>
                  <a:lnTo>
                    <a:pt x="55" y="118"/>
                  </a:lnTo>
                  <a:lnTo>
                    <a:pt x="54" y="118"/>
                  </a:lnTo>
                  <a:lnTo>
                    <a:pt x="51" y="122"/>
                  </a:lnTo>
                  <a:lnTo>
                    <a:pt x="51" y="128"/>
                  </a:lnTo>
                  <a:lnTo>
                    <a:pt x="52" y="134"/>
                  </a:lnTo>
                  <a:lnTo>
                    <a:pt x="55" y="138"/>
                  </a:lnTo>
                  <a:lnTo>
                    <a:pt x="59" y="143"/>
                  </a:lnTo>
                  <a:lnTo>
                    <a:pt x="60" y="145"/>
                  </a:lnTo>
                  <a:lnTo>
                    <a:pt x="62" y="146"/>
                  </a:lnTo>
                  <a:lnTo>
                    <a:pt x="65" y="145"/>
                  </a:lnTo>
                  <a:lnTo>
                    <a:pt x="68" y="146"/>
                  </a:lnTo>
                  <a:lnTo>
                    <a:pt x="71" y="149"/>
                  </a:lnTo>
                  <a:lnTo>
                    <a:pt x="91" y="149"/>
                  </a:lnTo>
                  <a:lnTo>
                    <a:pt x="94" y="146"/>
                  </a:lnTo>
                  <a:lnTo>
                    <a:pt x="97" y="145"/>
                  </a:lnTo>
                  <a:lnTo>
                    <a:pt x="102" y="145"/>
                  </a:lnTo>
                  <a:lnTo>
                    <a:pt x="100" y="146"/>
                  </a:lnTo>
                  <a:lnTo>
                    <a:pt x="97" y="148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9" y="151"/>
                  </a:lnTo>
                  <a:lnTo>
                    <a:pt x="97" y="152"/>
                  </a:lnTo>
                  <a:lnTo>
                    <a:pt x="96" y="152"/>
                  </a:lnTo>
                  <a:lnTo>
                    <a:pt x="92" y="151"/>
                  </a:lnTo>
                  <a:lnTo>
                    <a:pt x="91" y="151"/>
                  </a:lnTo>
                  <a:lnTo>
                    <a:pt x="89" y="152"/>
                  </a:lnTo>
                  <a:lnTo>
                    <a:pt x="83" y="154"/>
                  </a:lnTo>
                  <a:lnTo>
                    <a:pt x="82" y="152"/>
                  </a:lnTo>
                  <a:lnTo>
                    <a:pt x="80" y="152"/>
                  </a:lnTo>
                  <a:lnTo>
                    <a:pt x="75" y="154"/>
                  </a:lnTo>
                  <a:lnTo>
                    <a:pt x="75" y="155"/>
                  </a:lnTo>
                  <a:lnTo>
                    <a:pt x="75" y="157"/>
                  </a:lnTo>
                  <a:lnTo>
                    <a:pt x="77" y="160"/>
                  </a:lnTo>
                  <a:lnTo>
                    <a:pt x="79" y="160"/>
                  </a:lnTo>
                  <a:lnTo>
                    <a:pt x="82" y="163"/>
                  </a:lnTo>
                  <a:lnTo>
                    <a:pt x="85" y="163"/>
                  </a:lnTo>
                  <a:lnTo>
                    <a:pt x="94" y="163"/>
                  </a:lnTo>
                  <a:lnTo>
                    <a:pt x="92" y="165"/>
                  </a:lnTo>
                  <a:lnTo>
                    <a:pt x="92" y="165"/>
                  </a:lnTo>
                  <a:lnTo>
                    <a:pt x="91" y="165"/>
                  </a:lnTo>
                  <a:lnTo>
                    <a:pt x="89" y="165"/>
                  </a:lnTo>
                  <a:lnTo>
                    <a:pt x="86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6" y="169"/>
                  </a:lnTo>
                  <a:lnTo>
                    <a:pt x="86" y="169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0" y="169"/>
                  </a:lnTo>
                  <a:lnTo>
                    <a:pt x="80" y="172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74"/>
                  </a:lnTo>
                  <a:lnTo>
                    <a:pt x="74" y="175"/>
                  </a:lnTo>
                  <a:lnTo>
                    <a:pt x="72" y="174"/>
                  </a:lnTo>
                  <a:lnTo>
                    <a:pt x="72" y="171"/>
                  </a:lnTo>
                  <a:lnTo>
                    <a:pt x="74" y="169"/>
                  </a:lnTo>
                  <a:lnTo>
                    <a:pt x="74" y="168"/>
                  </a:lnTo>
                  <a:lnTo>
                    <a:pt x="72" y="165"/>
                  </a:lnTo>
                  <a:lnTo>
                    <a:pt x="72" y="163"/>
                  </a:lnTo>
                  <a:lnTo>
                    <a:pt x="71" y="162"/>
                  </a:lnTo>
                  <a:lnTo>
                    <a:pt x="69" y="158"/>
                  </a:lnTo>
                  <a:lnTo>
                    <a:pt x="68" y="158"/>
                  </a:lnTo>
                  <a:lnTo>
                    <a:pt x="37" y="140"/>
                  </a:lnTo>
                  <a:lnTo>
                    <a:pt x="34" y="140"/>
                  </a:lnTo>
                  <a:lnTo>
                    <a:pt x="31" y="143"/>
                  </a:lnTo>
                  <a:lnTo>
                    <a:pt x="31" y="145"/>
                  </a:lnTo>
                  <a:lnTo>
                    <a:pt x="32" y="148"/>
                  </a:lnTo>
                  <a:lnTo>
                    <a:pt x="31" y="149"/>
                  </a:lnTo>
                  <a:lnTo>
                    <a:pt x="32" y="152"/>
                  </a:lnTo>
                  <a:lnTo>
                    <a:pt x="35" y="158"/>
                  </a:lnTo>
                  <a:lnTo>
                    <a:pt x="37" y="162"/>
                  </a:lnTo>
                  <a:lnTo>
                    <a:pt x="39" y="163"/>
                  </a:lnTo>
                  <a:lnTo>
                    <a:pt x="43" y="165"/>
                  </a:lnTo>
                  <a:lnTo>
                    <a:pt x="46" y="168"/>
                  </a:lnTo>
                  <a:lnTo>
                    <a:pt x="49" y="169"/>
                  </a:lnTo>
                  <a:lnTo>
                    <a:pt x="52" y="171"/>
                  </a:lnTo>
                  <a:lnTo>
                    <a:pt x="54" y="172"/>
                  </a:lnTo>
                  <a:lnTo>
                    <a:pt x="55" y="175"/>
                  </a:lnTo>
                  <a:lnTo>
                    <a:pt x="52" y="175"/>
                  </a:lnTo>
                  <a:lnTo>
                    <a:pt x="46" y="171"/>
                  </a:lnTo>
                  <a:lnTo>
                    <a:pt x="34" y="168"/>
                  </a:lnTo>
                  <a:lnTo>
                    <a:pt x="35" y="171"/>
                  </a:lnTo>
                  <a:lnTo>
                    <a:pt x="39" y="174"/>
                  </a:lnTo>
                  <a:lnTo>
                    <a:pt x="40" y="177"/>
                  </a:lnTo>
                  <a:lnTo>
                    <a:pt x="43" y="182"/>
                  </a:lnTo>
                  <a:lnTo>
                    <a:pt x="45" y="182"/>
                  </a:lnTo>
                  <a:lnTo>
                    <a:pt x="46" y="185"/>
                  </a:lnTo>
                  <a:lnTo>
                    <a:pt x="48" y="186"/>
                  </a:lnTo>
                  <a:lnTo>
                    <a:pt x="49" y="188"/>
                  </a:lnTo>
                  <a:lnTo>
                    <a:pt x="49" y="189"/>
                  </a:lnTo>
                  <a:lnTo>
                    <a:pt x="52" y="189"/>
                  </a:lnTo>
                  <a:lnTo>
                    <a:pt x="55" y="189"/>
                  </a:lnTo>
                  <a:lnTo>
                    <a:pt x="51" y="191"/>
                  </a:lnTo>
                  <a:lnTo>
                    <a:pt x="49" y="191"/>
                  </a:lnTo>
                  <a:lnTo>
                    <a:pt x="46" y="191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3" y="185"/>
                  </a:lnTo>
                  <a:lnTo>
                    <a:pt x="39" y="183"/>
                  </a:lnTo>
                  <a:lnTo>
                    <a:pt x="35" y="182"/>
                  </a:lnTo>
                  <a:lnTo>
                    <a:pt x="31" y="177"/>
                  </a:lnTo>
                  <a:lnTo>
                    <a:pt x="29" y="175"/>
                  </a:lnTo>
                  <a:lnTo>
                    <a:pt x="28" y="175"/>
                  </a:lnTo>
                  <a:lnTo>
                    <a:pt x="20" y="171"/>
                  </a:lnTo>
                  <a:lnTo>
                    <a:pt x="18" y="171"/>
                  </a:lnTo>
                  <a:lnTo>
                    <a:pt x="17" y="171"/>
                  </a:lnTo>
                  <a:lnTo>
                    <a:pt x="15" y="172"/>
                  </a:lnTo>
                  <a:lnTo>
                    <a:pt x="14" y="174"/>
                  </a:lnTo>
                  <a:lnTo>
                    <a:pt x="14" y="177"/>
                  </a:lnTo>
                  <a:lnTo>
                    <a:pt x="14" y="180"/>
                  </a:lnTo>
                  <a:lnTo>
                    <a:pt x="12" y="183"/>
                  </a:lnTo>
                  <a:lnTo>
                    <a:pt x="12" y="185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91"/>
                  </a:lnTo>
                  <a:lnTo>
                    <a:pt x="5" y="192"/>
                  </a:lnTo>
                  <a:lnTo>
                    <a:pt x="0" y="194"/>
                  </a:lnTo>
                  <a:lnTo>
                    <a:pt x="2" y="197"/>
                  </a:lnTo>
                  <a:lnTo>
                    <a:pt x="5" y="197"/>
                  </a:lnTo>
                  <a:lnTo>
                    <a:pt x="26" y="195"/>
                  </a:lnTo>
                  <a:lnTo>
                    <a:pt x="37" y="200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42" y="200"/>
                  </a:lnTo>
                  <a:lnTo>
                    <a:pt x="43" y="202"/>
                  </a:lnTo>
                  <a:lnTo>
                    <a:pt x="43" y="205"/>
                  </a:lnTo>
                  <a:lnTo>
                    <a:pt x="43" y="205"/>
                  </a:lnTo>
                  <a:lnTo>
                    <a:pt x="42" y="203"/>
                  </a:lnTo>
                  <a:lnTo>
                    <a:pt x="40" y="203"/>
                  </a:lnTo>
                  <a:lnTo>
                    <a:pt x="42" y="205"/>
                  </a:lnTo>
                  <a:lnTo>
                    <a:pt x="42" y="206"/>
                  </a:lnTo>
                  <a:lnTo>
                    <a:pt x="43" y="208"/>
                  </a:lnTo>
                  <a:lnTo>
                    <a:pt x="42" y="209"/>
                  </a:lnTo>
                  <a:lnTo>
                    <a:pt x="42" y="209"/>
                  </a:lnTo>
                  <a:lnTo>
                    <a:pt x="45" y="212"/>
                  </a:lnTo>
                  <a:lnTo>
                    <a:pt x="48" y="212"/>
                  </a:lnTo>
                  <a:lnTo>
                    <a:pt x="62" y="209"/>
                  </a:lnTo>
                  <a:lnTo>
                    <a:pt x="65" y="203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6" y="202"/>
                  </a:lnTo>
                  <a:lnTo>
                    <a:pt x="66" y="200"/>
                  </a:lnTo>
                  <a:lnTo>
                    <a:pt x="69" y="202"/>
                  </a:lnTo>
                  <a:lnTo>
                    <a:pt x="79" y="199"/>
                  </a:lnTo>
                  <a:lnTo>
                    <a:pt x="83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3" y="194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4"/>
                  </a:lnTo>
                  <a:lnTo>
                    <a:pt x="88" y="195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92" y="197"/>
                  </a:lnTo>
                  <a:lnTo>
                    <a:pt x="97" y="199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0" y="194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0" y="189"/>
                  </a:lnTo>
                  <a:lnTo>
                    <a:pt x="100" y="185"/>
                  </a:lnTo>
                  <a:lnTo>
                    <a:pt x="102" y="182"/>
                  </a:lnTo>
                  <a:lnTo>
                    <a:pt x="103" y="180"/>
                  </a:lnTo>
                  <a:lnTo>
                    <a:pt x="103" y="182"/>
                  </a:lnTo>
                  <a:lnTo>
                    <a:pt x="103" y="185"/>
                  </a:lnTo>
                  <a:lnTo>
                    <a:pt x="106" y="186"/>
                  </a:lnTo>
                  <a:lnTo>
                    <a:pt x="109" y="188"/>
                  </a:lnTo>
                  <a:lnTo>
                    <a:pt x="112" y="188"/>
                  </a:lnTo>
                  <a:lnTo>
                    <a:pt x="117" y="186"/>
                  </a:lnTo>
                  <a:lnTo>
                    <a:pt x="119" y="185"/>
                  </a:lnTo>
                  <a:lnTo>
                    <a:pt x="119" y="183"/>
                  </a:lnTo>
                  <a:lnTo>
                    <a:pt x="119" y="177"/>
                  </a:lnTo>
                  <a:lnTo>
                    <a:pt x="119" y="175"/>
                  </a:lnTo>
                  <a:lnTo>
                    <a:pt x="120" y="177"/>
                  </a:lnTo>
                  <a:lnTo>
                    <a:pt x="120" y="179"/>
                  </a:lnTo>
                  <a:lnTo>
                    <a:pt x="120" y="180"/>
                  </a:lnTo>
                  <a:lnTo>
                    <a:pt x="120" y="182"/>
                  </a:lnTo>
                  <a:lnTo>
                    <a:pt x="122" y="183"/>
                  </a:lnTo>
                  <a:lnTo>
                    <a:pt x="125" y="182"/>
                  </a:lnTo>
                  <a:lnTo>
                    <a:pt x="126" y="179"/>
                  </a:lnTo>
                  <a:lnTo>
                    <a:pt x="126" y="174"/>
                  </a:lnTo>
                  <a:lnTo>
                    <a:pt x="129" y="175"/>
                  </a:lnTo>
                  <a:lnTo>
                    <a:pt x="129" y="177"/>
                  </a:lnTo>
                  <a:lnTo>
                    <a:pt x="131" y="179"/>
                  </a:lnTo>
                  <a:lnTo>
                    <a:pt x="129" y="180"/>
                  </a:lnTo>
                  <a:lnTo>
                    <a:pt x="125" y="185"/>
                  </a:lnTo>
                  <a:lnTo>
                    <a:pt x="123" y="186"/>
                  </a:lnTo>
                  <a:lnTo>
                    <a:pt x="123" y="188"/>
                  </a:lnTo>
                  <a:lnTo>
                    <a:pt x="126" y="188"/>
                  </a:lnTo>
                  <a:lnTo>
                    <a:pt x="126" y="188"/>
                  </a:lnTo>
                  <a:lnTo>
                    <a:pt x="126" y="189"/>
                  </a:lnTo>
                  <a:lnTo>
                    <a:pt x="126" y="189"/>
                  </a:lnTo>
                  <a:lnTo>
                    <a:pt x="129" y="189"/>
                  </a:lnTo>
                  <a:lnTo>
                    <a:pt x="131" y="189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1" y="192"/>
                  </a:lnTo>
                  <a:lnTo>
                    <a:pt x="131" y="194"/>
                  </a:lnTo>
                  <a:lnTo>
                    <a:pt x="132" y="194"/>
                  </a:lnTo>
                  <a:lnTo>
                    <a:pt x="134" y="195"/>
                  </a:lnTo>
                  <a:lnTo>
                    <a:pt x="136" y="195"/>
                  </a:lnTo>
                  <a:lnTo>
                    <a:pt x="137" y="194"/>
                  </a:lnTo>
                  <a:lnTo>
                    <a:pt x="134" y="180"/>
                  </a:lnTo>
                  <a:lnTo>
                    <a:pt x="134" y="179"/>
                  </a:lnTo>
                  <a:lnTo>
                    <a:pt x="132" y="174"/>
                  </a:lnTo>
                  <a:lnTo>
                    <a:pt x="132" y="172"/>
                  </a:lnTo>
                  <a:lnTo>
                    <a:pt x="132" y="172"/>
                  </a:lnTo>
                  <a:lnTo>
                    <a:pt x="134" y="172"/>
                  </a:lnTo>
                  <a:lnTo>
                    <a:pt x="136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39" y="172"/>
                  </a:lnTo>
                  <a:lnTo>
                    <a:pt x="139" y="172"/>
                  </a:lnTo>
                  <a:lnTo>
                    <a:pt x="139" y="172"/>
                  </a:lnTo>
                  <a:lnTo>
                    <a:pt x="137" y="177"/>
                  </a:lnTo>
                  <a:lnTo>
                    <a:pt x="137" y="180"/>
                  </a:lnTo>
                  <a:lnTo>
                    <a:pt x="137" y="183"/>
                  </a:lnTo>
                  <a:lnTo>
                    <a:pt x="139" y="188"/>
                  </a:lnTo>
                  <a:lnTo>
                    <a:pt x="139" y="189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2" y="189"/>
                  </a:lnTo>
                  <a:lnTo>
                    <a:pt x="142" y="188"/>
                  </a:lnTo>
                  <a:lnTo>
                    <a:pt x="143" y="183"/>
                  </a:lnTo>
                  <a:lnTo>
                    <a:pt x="143" y="183"/>
                  </a:lnTo>
                  <a:lnTo>
                    <a:pt x="145" y="188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8" y="188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49" y="182"/>
                  </a:lnTo>
                  <a:lnTo>
                    <a:pt x="148" y="179"/>
                  </a:lnTo>
                  <a:lnTo>
                    <a:pt x="148" y="175"/>
                  </a:lnTo>
                  <a:lnTo>
                    <a:pt x="148" y="174"/>
                  </a:lnTo>
                  <a:lnTo>
                    <a:pt x="148" y="172"/>
                  </a:lnTo>
                  <a:lnTo>
                    <a:pt x="149" y="171"/>
                  </a:lnTo>
                  <a:lnTo>
                    <a:pt x="149" y="174"/>
                  </a:lnTo>
                  <a:lnTo>
                    <a:pt x="151" y="180"/>
                  </a:lnTo>
                  <a:lnTo>
                    <a:pt x="152" y="183"/>
                  </a:lnTo>
                  <a:lnTo>
                    <a:pt x="152" y="185"/>
                  </a:lnTo>
                  <a:lnTo>
                    <a:pt x="152" y="188"/>
                  </a:lnTo>
                  <a:lnTo>
                    <a:pt x="152" y="191"/>
                  </a:lnTo>
                  <a:lnTo>
                    <a:pt x="152" y="194"/>
                  </a:lnTo>
                  <a:lnTo>
                    <a:pt x="154" y="194"/>
                  </a:lnTo>
                  <a:lnTo>
                    <a:pt x="159" y="192"/>
                  </a:lnTo>
                  <a:lnTo>
                    <a:pt x="159" y="191"/>
                  </a:lnTo>
                  <a:lnTo>
                    <a:pt x="160" y="189"/>
                  </a:lnTo>
                  <a:lnTo>
                    <a:pt x="159" y="188"/>
                  </a:lnTo>
                  <a:lnTo>
                    <a:pt x="159" y="186"/>
                  </a:lnTo>
                  <a:lnTo>
                    <a:pt x="160" y="186"/>
                  </a:lnTo>
                  <a:lnTo>
                    <a:pt x="162" y="188"/>
                  </a:lnTo>
                  <a:lnTo>
                    <a:pt x="162" y="188"/>
                  </a:lnTo>
                  <a:lnTo>
                    <a:pt x="163" y="188"/>
                  </a:lnTo>
                  <a:lnTo>
                    <a:pt x="165" y="185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6" y="186"/>
                  </a:lnTo>
                  <a:lnTo>
                    <a:pt x="163" y="189"/>
                  </a:lnTo>
                  <a:lnTo>
                    <a:pt x="163" y="191"/>
                  </a:lnTo>
                  <a:lnTo>
                    <a:pt x="169" y="189"/>
                  </a:lnTo>
                  <a:lnTo>
                    <a:pt x="171" y="189"/>
                  </a:lnTo>
                  <a:lnTo>
                    <a:pt x="174" y="186"/>
                  </a:lnTo>
                  <a:lnTo>
                    <a:pt x="180" y="179"/>
                  </a:lnTo>
                  <a:lnTo>
                    <a:pt x="182" y="179"/>
                  </a:lnTo>
                  <a:lnTo>
                    <a:pt x="180" y="180"/>
                  </a:lnTo>
                  <a:lnTo>
                    <a:pt x="179" y="180"/>
                  </a:lnTo>
                  <a:lnTo>
                    <a:pt x="179" y="182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8"/>
                  </a:lnTo>
                  <a:lnTo>
                    <a:pt x="177" y="188"/>
                  </a:lnTo>
                  <a:lnTo>
                    <a:pt x="176" y="188"/>
                  </a:lnTo>
                  <a:lnTo>
                    <a:pt x="173" y="191"/>
                  </a:lnTo>
                  <a:lnTo>
                    <a:pt x="163" y="192"/>
                  </a:lnTo>
                  <a:lnTo>
                    <a:pt x="162" y="194"/>
                  </a:lnTo>
                  <a:lnTo>
                    <a:pt x="160" y="197"/>
                  </a:lnTo>
                  <a:lnTo>
                    <a:pt x="162" y="199"/>
                  </a:lnTo>
                  <a:lnTo>
                    <a:pt x="165" y="200"/>
                  </a:lnTo>
                  <a:lnTo>
                    <a:pt x="169" y="205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5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80" y="200"/>
                  </a:lnTo>
                  <a:lnTo>
                    <a:pt x="180" y="199"/>
                  </a:lnTo>
                  <a:lnTo>
                    <a:pt x="182" y="195"/>
                  </a:lnTo>
                  <a:lnTo>
                    <a:pt x="182" y="194"/>
                  </a:lnTo>
                  <a:lnTo>
                    <a:pt x="182" y="191"/>
                  </a:lnTo>
                  <a:lnTo>
                    <a:pt x="182" y="192"/>
                  </a:lnTo>
                  <a:lnTo>
                    <a:pt x="183" y="195"/>
                  </a:lnTo>
                  <a:lnTo>
                    <a:pt x="185" y="197"/>
                  </a:lnTo>
                  <a:lnTo>
                    <a:pt x="185" y="199"/>
                  </a:lnTo>
                  <a:lnTo>
                    <a:pt x="186" y="199"/>
                  </a:lnTo>
                  <a:lnTo>
                    <a:pt x="186" y="197"/>
                  </a:lnTo>
                  <a:lnTo>
                    <a:pt x="186" y="195"/>
                  </a:lnTo>
                  <a:lnTo>
                    <a:pt x="188" y="195"/>
                  </a:lnTo>
                  <a:lnTo>
                    <a:pt x="188" y="195"/>
                  </a:lnTo>
                  <a:lnTo>
                    <a:pt x="189" y="194"/>
                  </a:lnTo>
                  <a:lnTo>
                    <a:pt x="191" y="194"/>
                  </a:lnTo>
                  <a:lnTo>
                    <a:pt x="191" y="197"/>
                  </a:lnTo>
                  <a:lnTo>
                    <a:pt x="193" y="199"/>
                  </a:lnTo>
                  <a:lnTo>
                    <a:pt x="194" y="202"/>
                  </a:lnTo>
                  <a:lnTo>
                    <a:pt x="193" y="203"/>
                  </a:lnTo>
                  <a:lnTo>
                    <a:pt x="191" y="206"/>
                  </a:lnTo>
                  <a:lnTo>
                    <a:pt x="193" y="206"/>
                  </a:lnTo>
                  <a:lnTo>
                    <a:pt x="197" y="205"/>
                  </a:lnTo>
                  <a:lnTo>
                    <a:pt x="203" y="206"/>
                  </a:lnTo>
                  <a:lnTo>
                    <a:pt x="205" y="206"/>
                  </a:lnTo>
                  <a:lnTo>
                    <a:pt x="213" y="203"/>
                  </a:lnTo>
                  <a:lnTo>
                    <a:pt x="211" y="205"/>
                  </a:lnTo>
                  <a:lnTo>
                    <a:pt x="208" y="206"/>
                  </a:lnTo>
                  <a:lnTo>
                    <a:pt x="199" y="209"/>
                  </a:lnTo>
                  <a:lnTo>
                    <a:pt x="194" y="212"/>
                  </a:lnTo>
                  <a:lnTo>
                    <a:pt x="194" y="212"/>
                  </a:lnTo>
                  <a:lnTo>
                    <a:pt x="194" y="215"/>
                  </a:lnTo>
                  <a:lnTo>
                    <a:pt x="194" y="215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89" y="217"/>
                  </a:lnTo>
                  <a:lnTo>
                    <a:pt x="185" y="219"/>
                  </a:lnTo>
                  <a:lnTo>
                    <a:pt x="182" y="223"/>
                  </a:lnTo>
                  <a:lnTo>
                    <a:pt x="174" y="228"/>
                  </a:lnTo>
                  <a:lnTo>
                    <a:pt x="166" y="231"/>
                  </a:lnTo>
                  <a:lnTo>
                    <a:pt x="165" y="232"/>
                  </a:lnTo>
                  <a:lnTo>
                    <a:pt x="162" y="235"/>
                  </a:lnTo>
                  <a:lnTo>
                    <a:pt x="162" y="237"/>
                  </a:lnTo>
                  <a:lnTo>
                    <a:pt x="159" y="237"/>
                  </a:lnTo>
                  <a:lnTo>
                    <a:pt x="157" y="237"/>
                  </a:lnTo>
                  <a:lnTo>
                    <a:pt x="159" y="240"/>
                  </a:lnTo>
                  <a:lnTo>
                    <a:pt x="157" y="242"/>
                  </a:lnTo>
                  <a:lnTo>
                    <a:pt x="152" y="243"/>
                  </a:lnTo>
                  <a:lnTo>
                    <a:pt x="151" y="246"/>
                  </a:lnTo>
                  <a:lnTo>
                    <a:pt x="149" y="249"/>
                  </a:lnTo>
                  <a:lnTo>
                    <a:pt x="148" y="251"/>
                  </a:lnTo>
                  <a:lnTo>
                    <a:pt x="152" y="249"/>
                  </a:lnTo>
                  <a:lnTo>
                    <a:pt x="154" y="249"/>
                  </a:lnTo>
                  <a:lnTo>
                    <a:pt x="156" y="251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4" y="252"/>
                  </a:lnTo>
                  <a:lnTo>
                    <a:pt x="152" y="251"/>
                  </a:lnTo>
                  <a:lnTo>
                    <a:pt x="151" y="252"/>
                  </a:lnTo>
                  <a:lnTo>
                    <a:pt x="149" y="254"/>
                  </a:lnTo>
                  <a:lnTo>
                    <a:pt x="148" y="254"/>
                  </a:lnTo>
                  <a:lnTo>
                    <a:pt x="149" y="256"/>
                  </a:lnTo>
                  <a:lnTo>
                    <a:pt x="151" y="257"/>
                  </a:lnTo>
                  <a:lnTo>
                    <a:pt x="159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66" y="260"/>
                  </a:lnTo>
                  <a:lnTo>
                    <a:pt x="188" y="263"/>
                  </a:lnTo>
                  <a:lnTo>
                    <a:pt x="191" y="262"/>
                  </a:lnTo>
                  <a:lnTo>
                    <a:pt x="202" y="252"/>
                  </a:lnTo>
                  <a:lnTo>
                    <a:pt x="202" y="251"/>
                  </a:lnTo>
                  <a:lnTo>
                    <a:pt x="202" y="251"/>
                  </a:lnTo>
                  <a:lnTo>
                    <a:pt x="202" y="249"/>
                  </a:lnTo>
                  <a:lnTo>
                    <a:pt x="203" y="248"/>
                  </a:lnTo>
                  <a:lnTo>
                    <a:pt x="206" y="248"/>
                  </a:lnTo>
                  <a:lnTo>
                    <a:pt x="209" y="249"/>
                  </a:lnTo>
                  <a:lnTo>
                    <a:pt x="209" y="256"/>
                  </a:lnTo>
                  <a:lnTo>
                    <a:pt x="206" y="265"/>
                  </a:lnTo>
                  <a:lnTo>
                    <a:pt x="205" y="268"/>
                  </a:lnTo>
                  <a:lnTo>
                    <a:pt x="203" y="268"/>
                  </a:lnTo>
                  <a:lnTo>
                    <a:pt x="203" y="269"/>
                  </a:lnTo>
                  <a:lnTo>
                    <a:pt x="202" y="269"/>
                  </a:lnTo>
                  <a:lnTo>
                    <a:pt x="202" y="272"/>
                  </a:lnTo>
                  <a:lnTo>
                    <a:pt x="203" y="272"/>
                  </a:lnTo>
                  <a:lnTo>
                    <a:pt x="205" y="274"/>
                  </a:lnTo>
                  <a:lnTo>
                    <a:pt x="205" y="277"/>
                  </a:lnTo>
                  <a:lnTo>
                    <a:pt x="203" y="279"/>
                  </a:lnTo>
                  <a:lnTo>
                    <a:pt x="194" y="279"/>
                  </a:lnTo>
                  <a:lnTo>
                    <a:pt x="193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89" y="279"/>
                  </a:lnTo>
                  <a:lnTo>
                    <a:pt x="188" y="277"/>
                  </a:lnTo>
                  <a:lnTo>
                    <a:pt x="186" y="277"/>
                  </a:lnTo>
                  <a:lnTo>
                    <a:pt x="180" y="277"/>
                  </a:lnTo>
                  <a:lnTo>
                    <a:pt x="180" y="277"/>
                  </a:lnTo>
                  <a:lnTo>
                    <a:pt x="179" y="279"/>
                  </a:lnTo>
                  <a:lnTo>
                    <a:pt x="179" y="279"/>
                  </a:lnTo>
                  <a:lnTo>
                    <a:pt x="171" y="276"/>
                  </a:lnTo>
                  <a:lnTo>
                    <a:pt x="162" y="274"/>
                  </a:lnTo>
                  <a:lnTo>
                    <a:pt x="156" y="276"/>
                  </a:lnTo>
                  <a:lnTo>
                    <a:pt x="149" y="276"/>
                  </a:lnTo>
                  <a:lnTo>
                    <a:pt x="148" y="276"/>
                  </a:lnTo>
                  <a:lnTo>
                    <a:pt x="148" y="279"/>
                  </a:lnTo>
                  <a:lnTo>
                    <a:pt x="146" y="279"/>
                  </a:lnTo>
                  <a:lnTo>
                    <a:pt x="145" y="279"/>
                  </a:lnTo>
                  <a:lnTo>
                    <a:pt x="143" y="282"/>
                  </a:lnTo>
                  <a:lnTo>
                    <a:pt x="145" y="285"/>
                  </a:lnTo>
                  <a:lnTo>
                    <a:pt x="146" y="286"/>
                  </a:lnTo>
                  <a:lnTo>
                    <a:pt x="146" y="286"/>
                  </a:lnTo>
                  <a:lnTo>
                    <a:pt x="146" y="288"/>
                  </a:lnTo>
                  <a:lnTo>
                    <a:pt x="145" y="286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39" y="282"/>
                  </a:lnTo>
                  <a:lnTo>
                    <a:pt x="139" y="279"/>
                  </a:lnTo>
                  <a:lnTo>
                    <a:pt x="137" y="279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4" y="279"/>
                  </a:lnTo>
                  <a:lnTo>
                    <a:pt x="134" y="279"/>
                  </a:lnTo>
                  <a:lnTo>
                    <a:pt x="137" y="277"/>
                  </a:lnTo>
                  <a:lnTo>
                    <a:pt x="139" y="276"/>
                  </a:lnTo>
                  <a:lnTo>
                    <a:pt x="137" y="276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9" y="272"/>
                  </a:lnTo>
                  <a:lnTo>
                    <a:pt x="137" y="272"/>
                  </a:lnTo>
                  <a:lnTo>
                    <a:pt x="136" y="272"/>
                  </a:lnTo>
                  <a:lnTo>
                    <a:pt x="136" y="271"/>
                  </a:lnTo>
                  <a:lnTo>
                    <a:pt x="137" y="271"/>
                  </a:lnTo>
                  <a:lnTo>
                    <a:pt x="134" y="271"/>
                  </a:lnTo>
                  <a:lnTo>
                    <a:pt x="128" y="277"/>
                  </a:lnTo>
                  <a:lnTo>
                    <a:pt x="125" y="279"/>
                  </a:lnTo>
                  <a:lnTo>
                    <a:pt x="125" y="279"/>
                  </a:lnTo>
                  <a:lnTo>
                    <a:pt x="129" y="279"/>
                  </a:lnTo>
                  <a:lnTo>
                    <a:pt x="131" y="279"/>
                  </a:lnTo>
                  <a:lnTo>
                    <a:pt x="126" y="282"/>
                  </a:lnTo>
                  <a:lnTo>
                    <a:pt x="122" y="283"/>
                  </a:lnTo>
                  <a:lnTo>
                    <a:pt x="120" y="285"/>
                  </a:lnTo>
                  <a:lnTo>
                    <a:pt x="120" y="286"/>
                  </a:lnTo>
                  <a:lnTo>
                    <a:pt x="119" y="283"/>
                  </a:lnTo>
                  <a:lnTo>
                    <a:pt x="116" y="282"/>
                  </a:lnTo>
                  <a:lnTo>
                    <a:pt x="114" y="282"/>
                  </a:lnTo>
                  <a:lnTo>
                    <a:pt x="111" y="285"/>
                  </a:lnTo>
                  <a:lnTo>
                    <a:pt x="111" y="286"/>
                  </a:lnTo>
                  <a:lnTo>
                    <a:pt x="111" y="288"/>
                  </a:lnTo>
                  <a:lnTo>
                    <a:pt x="111" y="289"/>
                  </a:lnTo>
                  <a:lnTo>
                    <a:pt x="109" y="289"/>
                  </a:lnTo>
                  <a:lnTo>
                    <a:pt x="108" y="289"/>
                  </a:lnTo>
                  <a:lnTo>
                    <a:pt x="108" y="289"/>
                  </a:lnTo>
                  <a:lnTo>
                    <a:pt x="108" y="292"/>
                  </a:lnTo>
                  <a:lnTo>
                    <a:pt x="106" y="294"/>
                  </a:lnTo>
                  <a:lnTo>
                    <a:pt x="106" y="296"/>
                  </a:lnTo>
                  <a:lnTo>
                    <a:pt x="108" y="299"/>
                  </a:lnTo>
                  <a:lnTo>
                    <a:pt x="103" y="292"/>
                  </a:lnTo>
                  <a:lnTo>
                    <a:pt x="103" y="291"/>
                  </a:lnTo>
                  <a:lnTo>
                    <a:pt x="105" y="289"/>
                  </a:lnTo>
                  <a:lnTo>
                    <a:pt x="105" y="289"/>
                  </a:lnTo>
                  <a:lnTo>
                    <a:pt x="106" y="289"/>
                  </a:lnTo>
                  <a:lnTo>
                    <a:pt x="105" y="288"/>
                  </a:lnTo>
                  <a:lnTo>
                    <a:pt x="105" y="286"/>
                  </a:lnTo>
                  <a:lnTo>
                    <a:pt x="108" y="285"/>
                  </a:lnTo>
                  <a:lnTo>
                    <a:pt x="108" y="283"/>
                  </a:lnTo>
                  <a:lnTo>
                    <a:pt x="109" y="282"/>
                  </a:lnTo>
                  <a:lnTo>
                    <a:pt x="103" y="280"/>
                  </a:lnTo>
                  <a:lnTo>
                    <a:pt x="100" y="282"/>
                  </a:lnTo>
                  <a:lnTo>
                    <a:pt x="97" y="283"/>
                  </a:lnTo>
                  <a:lnTo>
                    <a:pt x="97" y="286"/>
                  </a:lnTo>
                  <a:lnTo>
                    <a:pt x="97" y="289"/>
                  </a:lnTo>
                  <a:lnTo>
                    <a:pt x="99" y="291"/>
                  </a:lnTo>
                  <a:lnTo>
                    <a:pt x="99" y="292"/>
                  </a:lnTo>
                  <a:lnTo>
                    <a:pt x="99" y="296"/>
                  </a:lnTo>
                  <a:lnTo>
                    <a:pt x="97" y="297"/>
                  </a:lnTo>
                  <a:lnTo>
                    <a:pt x="96" y="297"/>
                  </a:lnTo>
                  <a:lnTo>
                    <a:pt x="94" y="296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89" y="294"/>
                  </a:lnTo>
                  <a:lnTo>
                    <a:pt x="89" y="291"/>
                  </a:lnTo>
                  <a:lnTo>
                    <a:pt x="89" y="289"/>
                  </a:lnTo>
                  <a:lnTo>
                    <a:pt x="86" y="289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2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0" y="292"/>
                  </a:lnTo>
                  <a:lnTo>
                    <a:pt x="77" y="294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1" y="299"/>
                  </a:lnTo>
                  <a:lnTo>
                    <a:pt x="69" y="299"/>
                  </a:lnTo>
                  <a:lnTo>
                    <a:pt x="68" y="302"/>
                  </a:lnTo>
                  <a:lnTo>
                    <a:pt x="68" y="302"/>
                  </a:lnTo>
                  <a:lnTo>
                    <a:pt x="60" y="300"/>
                  </a:lnTo>
                  <a:lnTo>
                    <a:pt x="54" y="297"/>
                  </a:lnTo>
                  <a:lnTo>
                    <a:pt x="52" y="297"/>
                  </a:lnTo>
                  <a:lnTo>
                    <a:pt x="45" y="299"/>
                  </a:lnTo>
                  <a:lnTo>
                    <a:pt x="43" y="300"/>
                  </a:lnTo>
                  <a:lnTo>
                    <a:pt x="40" y="303"/>
                  </a:lnTo>
                  <a:lnTo>
                    <a:pt x="39" y="303"/>
                  </a:lnTo>
                  <a:lnTo>
                    <a:pt x="37" y="302"/>
                  </a:lnTo>
                  <a:lnTo>
                    <a:pt x="37" y="303"/>
                  </a:lnTo>
                  <a:lnTo>
                    <a:pt x="39" y="311"/>
                  </a:lnTo>
                  <a:lnTo>
                    <a:pt x="40" y="314"/>
                  </a:lnTo>
                  <a:lnTo>
                    <a:pt x="42" y="317"/>
                  </a:lnTo>
                  <a:lnTo>
                    <a:pt x="45" y="322"/>
                  </a:lnTo>
                  <a:lnTo>
                    <a:pt x="45" y="323"/>
                  </a:lnTo>
                  <a:lnTo>
                    <a:pt x="45" y="326"/>
                  </a:lnTo>
                  <a:lnTo>
                    <a:pt x="46" y="326"/>
                  </a:lnTo>
                  <a:lnTo>
                    <a:pt x="46" y="328"/>
                  </a:lnTo>
                  <a:lnTo>
                    <a:pt x="48" y="329"/>
                  </a:lnTo>
                  <a:lnTo>
                    <a:pt x="54" y="333"/>
                  </a:lnTo>
                  <a:lnTo>
                    <a:pt x="55" y="333"/>
                  </a:lnTo>
                  <a:lnTo>
                    <a:pt x="59" y="329"/>
                  </a:lnTo>
                  <a:lnTo>
                    <a:pt x="60" y="329"/>
                  </a:lnTo>
                  <a:lnTo>
                    <a:pt x="65" y="329"/>
                  </a:lnTo>
                  <a:lnTo>
                    <a:pt x="68" y="328"/>
                  </a:lnTo>
                  <a:lnTo>
                    <a:pt x="68" y="323"/>
                  </a:lnTo>
                  <a:lnTo>
                    <a:pt x="69" y="320"/>
                  </a:lnTo>
                  <a:lnTo>
                    <a:pt x="71" y="317"/>
                  </a:lnTo>
                  <a:lnTo>
                    <a:pt x="74" y="316"/>
                  </a:lnTo>
                  <a:lnTo>
                    <a:pt x="75" y="316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2" y="317"/>
                  </a:lnTo>
                  <a:lnTo>
                    <a:pt x="82" y="320"/>
                  </a:lnTo>
                  <a:lnTo>
                    <a:pt x="82" y="320"/>
                  </a:lnTo>
                  <a:lnTo>
                    <a:pt x="83" y="320"/>
                  </a:lnTo>
                  <a:lnTo>
                    <a:pt x="83" y="319"/>
                  </a:lnTo>
                  <a:lnTo>
                    <a:pt x="85" y="319"/>
                  </a:lnTo>
                  <a:lnTo>
                    <a:pt x="86" y="316"/>
                  </a:lnTo>
                  <a:lnTo>
                    <a:pt x="86" y="316"/>
                  </a:lnTo>
                  <a:lnTo>
                    <a:pt x="92" y="314"/>
                  </a:lnTo>
                  <a:lnTo>
                    <a:pt x="97" y="314"/>
                  </a:lnTo>
                  <a:lnTo>
                    <a:pt x="102" y="319"/>
                  </a:lnTo>
                  <a:lnTo>
                    <a:pt x="111" y="319"/>
                  </a:lnTo>
                  <a:lnTo>
                    <a:pt x="120" y="319"/>
                  </a:lnTo>
                  <a:lnTo>
                    <a:pt x="129" y="320"/>
                  </a:lnTo>
                  <a:lnTo>
                    <a:pt x="129" y="320"/>
                  </a:lnTo>
                  <a:lnTo>
                    <a:pt x="131" y="320"/>
                  </a:lnTo>
                  <a:lnTo>
                    <a:pt x="136" y="323"/>
                  </a:lnTo>
                  <a:lnTo>
                    <a:pt x="137" y="323"/>
                  </a:lnTo>
                  <a:lnTo>
                    <a:pt x="137" y="322"/>
                  </a:lnTo>
                  <a:lnTo>
                    <a:pt x="132" y="320"/>
                  </a:lnTo>
                  <a:lnTo>
                    <a:pt x="132" y="319"/>
                  </a:lnTo>
                  <a:lnTo>
                    <a:pt x="140" y="319"/>
                  </a:lnTo>
                  <a:lnTo>
                    <a:pt x="140" y="319"/>
                  </a:lnTo>
                  <a:lnTo>
                    <a:pt x="142" y="320"/>
                  </a:lnTo>
                  <a:lnTo>
                    <a:pt x="142" y="322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0" y="323"/>
                  </a:lnTo>
                  <a:lnTo>
                    <a:pt x="139" y="323"/>
                  </a:lnTo>
                  <a:lnTo>
                    <a:pt x="140" y="325"/>
                  </a:lnTo>
                  <a:lnTo>
                    <a:pt x="148" y="323"/>
                  </a:lnTo>
                  <a:lnTo>
                    <a:pt x="146" y="323"/>
                  </a:lnTo>
                  <a:lnTo>
                    <a:pt x="145" y="322"/>
                  </a:lnTo>
                  <a:lnTo>
                    <a:pt x="145" y="322"/>
                  </a:lnTo>
                  <a:lnTo>
                    <a:pt x="146" y="320"/>
                  </a:lnTo>
                  <a:lnTo>
                    <a:pt x="149" y="319"/>
                  </a:lnTo>
                  <a:lnTo>
                    <a:pt x="149" y="317"/>
                  </a:lnTo>
                  <a:lnTo>
                    <a:pt x="154" y="319"/>
                  </a:lnTo>
                  <a:lnTo>
                    <a:pt x="154" y="317"/>
                  </a:lnTo>
                  <a:lnTo>
                    <a:pt x="156" y="317"/>
                  </a:lnTo>
                  <a:lnTo>
                    <a:pt x="156" y="317"/>
                  </a:lnTo>
                  <a:lnTo>
                    <a:pt x="156" y="317"/>
                  </a:lnTo>
                  <a:lnTo>
                    <a:pt x="157" y="319"/>
                  </a:lnTo>
                  <a:lnTo>
                    <a:pt x="157" y="317"/>
                  </a:lnTo>
                  <a:lnTo>
                    <a:pt x="159" y="316"/>
                  </a:lnTo>
                  <a:lnTo>
                    <a:pt x="159" y="316"/>
                  </a:lnTo>
                  <a:lnTo>
                    <a:pt x="159" y="316"/>
                  </a:lnTo>
                  <a:lnTo>
                    <a:pt x="159" y="317"/>
                  </a:lnTo>
                  <a:lnTo>
                    <a:pt x="157" y="320"/>
                  </a:lnTo>
                  <a:lnTo>
                    <a:pt x="157" y="322"/>
                  </a:lnTo>
                  <a:lnTo>
                    <a:pt x="159" y="322"/>
                  </a:lnTo>
                  <a:lnTo>
                    <a:pt x="157" y="325"/>
                  </a:lnTo>
                  <a:lnTo>
                    <a:pt x="162" y="325"/>
                  </a:lnTo>
                  <a:lnTo>
                    <a:pt x="165" y="325"/>
                  </a:lnTo>
                  <a:lnTo>
                    <a:pt x="166" y="328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5" y="331"/>
                  </a:lnTo>
                  <a:lnTo>
                    <a:pt x="163" y="333"/>
                  </a:lnTo>
                  <a:lnTo>
                    <a:pt x="163" y="334"/>
                  </a:lnTo>
                  <a:lnTo>
                    <a:pt x="162" y="336"/>
                  </a:lnTo>
                  <a:lnTo>
                    <a:pt x="159" y="339"/>
                  </a:lnTo>
                  <a:lnTo>
                    <a:pt x="159" y="339"/>
                  </a:lnTo>
                  <a:lnTo>
                    <a:pt x="160" y="340"/>
                  </a:lnTo>
                  <a:lnTo>
                    <a:pt x="162" y="339"/>
                  </a:lnTo>
                  <a:lnTo>
                    <a:pt x="165" y="337"/>
                  </a:lnTo>
                  <a:lnTo>
                    <a:pt x="166" y="336"/>
                  </a:lnTo>
                  <a:lnTo>
                    <a:pt x="168" y="336"/>
                  </a:lnTo>
                  <a:lnTo>
                    <a:pt x="171" y="334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4" y="334"/>
                  </a:lnTo>
                  <a:lnTo>
                    <a:pt x="165" y="339"/>
                  </a:lnTo>
                  <a:lnTo>
                    <a:pt x="165" y="339"/>
                  </a:lnTo>
                  <a:lnTo>
                    <a:pt x="165" y="339"/>
                  </a:lnTo>
                  <a:lnTo>
                    <a:pt x="166" y="340"/>
                  </a:lnTo>
                  <a:lnTo>
                    <a:pt x="165" y="340"/>
                  </a:lnTo>
                  <a:lnTo>
                    <a:pt x="165" y="342"/>
                  </a:lnTo>
                  <a:lnTo>
                    <a:pt x="163" y="343"/>
                  </a:lnTo>
                  <a:lnTo>
                    <a:pt x="163" y="345"/>
                  </a:lnTo>
                  <a:lnTo>
                    <a:pt x="165" y="345"/>
                  </a:lnTo>
                  <a:lnTo>
                    <a:pt x="163" y="346"/>
                  </a:lnTo>
                  <a:lnTo>
                    <a:pt x="160" y="345"/>
                  </a:lnTo>
                  <a:lnTo>
                    <a:pt x="159" y="343"/>
                  </a:lnTo>
                  <a:lnTo>
                    <a:pt x="157" y="343"/>
                  </a:lnTo>
                  <a:lnTo>
                    <a:pt x="157" y="345"/>
                  </a:lnTo>
                  <a:lnTo>
                    <a:pt x="159" y="346"/>
                  </a:lnTo>
                  <a:lnTo>
                    <a:pt x="160" y="346"/>
                  </a:lnTo>
                  <a:lnTo>
                    <a:pt x="160" y="348"/>
                  </a:lnTo>
                  <a:lnTo>
                    <a:pt x="162" y="348"/>
                  </a:lnTo>
                  <a:lnTo>
                    <a:pt x="162" y="349"/>
                  </a:lnTo>
                  <a:lnTo>
                    <a:pt x="163" y="351"/>
                  </a:lnTo>
                  <a:lnTo>
                    <a:pt x="163" y="351"/>
                  </a:lnTo>
                  <a:lnTo>
                    <a:pt x="163" y="353"/>
                  </a:lnTo>
                  <a:lnTo>
                    <a:pt x="163" y="354"/>
                  </a:lnTo>
                  <a:lnTo>
                    <a:pt x="163" y="357"/>
                  </a:lnTo>
                  <a:lnTo>
                    <a:pt x="163" y="360"/>
                  </a:lnTo>
                  <a:lnTo>
                    <a:pt x="165" y="362"/>
                  </a:lnTo>
                  <a:lnTo>
                    <a:pt x="166" y="362"/>
                  </a:lnTo>
                  <a:lnTo>
                    <a:pt x="168" y="360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1" y="362"/>
                  </a:lnTo>
                  <a:lnTo>
                    <a:pt x="171" y="362"/>
                  </a:lnTo>
                  <a:lnTo>
                    <a:pt x="171" y="362"/>
                  </a:lnTo>
                  <a:lnTo>
                    <a:pt x="173" y="362"/>
                  </a:lnTo>
                  <a:lnTo>
                    <a:pt x="173" y="362"/>
                  </a:lnTo>
                  <a:lnTo>
                    <a:pt x="173" y="363"/>
                  </a:lnTo>
                  <a:lnTo>
                    <a:pt x="173" y="363"/>
                  </a:lnTo>
                  <a:lnTo>
                    <a:pt x="173" y="365"/>
                  </a:lnTo>
                  <a:lnTo>
                    <a:pt x="173" y="366"/>
                  </a:lnTo>
                  <a:lnTo>
                    <a:pt x="173" y="368"/>
                  </a:lnTo>
                  <a:lnTo>
                    <a:pt x="171" y="371"/>
                  </a:lnTo>
                  <a:lnTo>
                    <a:pt x="171" y="374"/>
                  </a:lnTo>
                  <a:lnTo>
                    <a:pt x="171" y="373"/>
                  </a:lnTo>
                  <a:lnTo>
                    <a:pt x="173" y="373"/>
                  </a:lnTo>
                  <a:lnTo>
                    <a:pt x="173" y="373"/>
                  </a:lnTo>
                  <a:lnTo>
                    <a:pt x="173" y="371"/>
                  </a:lnTo>
                  <a:lnTo>
                    <a:pt x="174" y="374"/>
                  </a:lnTo>
                  <a:lnTo>
                    <a:pt x="176" y="376"/>
                  </a:lnTo>
                  <a:lnTo>
                    <a:pt x="176" y="377"/>
                  </a:lnTo>
                  <a:lnTo>
                    <a:pt x="177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7"/>
                  </a:lnTo>
                  <a:lnTo>
                    <a:pt x="180" y="377"/>
                  </a:lnTo>
                  <a:lnTo>
                    <a:pt x="180" y="376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3" y="374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6" y="368"/>
                  </a:lnTo>
                  <a:lnTo>
                    <a:pt x="186" y="366"/>
                  </a:lnTo>
                  <a:lnTo>
                    <a:pt x="186" y="365"/>
                  </a:lnTo>
                  <a:lnTo>
                    <a:pt x="186" y="362"/>
                  </a:lnTo>
                  <a:lnTo>
                    <a:pt x="186" y="360"/>
                  </a:lnTo>
                  <a:lnTo>
                    <a:pt x="188" y="359"/>
                  </a:lnTo>
                  <a:lnTo>
                    <a:pt x="188" y="363"/>
                  </a:lnTo>
                  <a:lnTo>
                    <a:pt x="186" y="365"/>
                  </a:lnTo>
                  <a:lnTo>
                    <a:pt x="188" y="366"/>
                  </a:lnTo>
                  <a:lnTo>
                    <a:pt x="189" y="366"/>
                  </a:lnTo>
                  <a:lnTo>
                    <a:pt x="191" y="366"/>
                  </a:lnTo>
                  <a:lnTo>
                    <a:pt x="193" y="365"/>
                  </a:lnTo>
                  <a:lnTo>
                    <a:pt x="196" y="360"/>
                  </a:lnTo>
                  <a:lnTo>
                    <a:pt x="199" y="360"/>
                  </a:lnTo>
                  <a:lnTo>
                    <a:pt x="200" y="360"/>
                  </a:lnTo>
                  <a:lnTo>
                    <a:pt x="200" y="359"/>
                  </a:lnTo>
                  <a:lnTo>
                    <a:pt x="202" y="357"/>
                  </a:lnTo>
                  <a:lnTo>
                    <a:pt x="205" y="356"/>
                  </a:lnTo>
                  <a:lnTo>
                    <a:pt x="208" y="353"/>
                  </a:lnTo>
                  <a:lnTo>
                    <a:pt x="209" y="353"/>
                  </a:lnTo>
                  <a:lnTo>
                    <a:pt x="209" y="351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6" y="343"/>
                  </a:lnTo>
                  <a:lnTo>
                    <a:pt x="214" y="345"/>
                  </a:lnTo>
                  <a:lnTo>
                    <a:pt x="214" y="345"/>
                  </a:lnTo>
                  <a:lnTo>
                    <a:pt x="213" y="348"/>
                  </a:lnTo>
                  <a:lnTo>
                    <a:pt x="213" y="348"/>
                  </a:lnTo>
                  <a:lnTo>
                    <a:pt x="214" y="348"/>
                  </a:lnTo>
                  <a:lnTo>
                    <a:pt x="219" y="343"/>
                  </a:lnTo>
                  <a:lnTo>
                    <a:pt x="220" y="343"/>
                  </a:lnTo>
                  <a:lnTo>
                    <a:pt x="226" y="345"/>
                  </a:lnTo>
                  <a:lnTo>
                    <a:pt x="226" y="346"/>
                  </a:lnTo>
                  <a:lnTo>
                    <a:pt x="220" y="345"/>
                  </a:lnTo>
                  <a:lnTo>
                    <a:pt x="219" y="346"/>
                  </a:lnTo>
                  <a:lnTo>
                    <a:pt x="217" y="348"/>
                  </a:lnTo>
                  <a:lnTo>
                    <a:pt x="214" y="349"/>
                  </a:lnTo>
                  <a:lnTo>
                    <a:pt x="214" y="351"/>
                  </a:lnTo>
                  <a:lnTo>
                    <a:pt x="222" y="351"/>
                  </a:lnTo>
                  <a:lnTo>
                    <a:pt x="222" y="353"/>
                  </a:lnTo>
                  <a:lnTo>
                    <a:pt x="219" y="354"/>
                  </a:lnTo>
                  <a:lnTo>
                    <a:pt x="219" y="354"/>
                  </a:lnTo>
                  <a:lnTo>
                    <a:pt x="220" y="357"/>
                  </a:lnTo>
                  <a:lnTo>
                    <a:pt x="222" y="359"/>
                  </a:lnTo>
                  <a:lnTo>
                    <a:pt x="223" y="359"/>
                  </a:lnTo>
                  <a:lnTo>
                    <a:pt x="226" y="359"/>
                  </a:lnTo>
                  <a:lnTo>
                    <a:pt x="228" y="359"/>
                  </a:lnTo>
                  <a:lnTo>
                    <a:pt x="220" y="359"/>
                  </a:lnTo>
                  <a:lnTo>
                    <a:pt x="220" y="357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6" y="356"/>
                  </a:lnTo>
                  <a:lnTo>
                    <a:pt x="216" y="353"/>
                  </a:lnTo>
                  <a:lnTo>
                    <a:pt x="213" y="353"/>
                  </a:lnTo>
                  <a:lnTo>
                    <a:pt x="213" y="353"/>
                  </a:lnTo>
                  <a:lnTo>
                    <a:pt x="211" y="353"/>
                  </a:lnTo>
                  <a:lnTo>
                    <a:pt x="209" y="354"/>
                  </a:lnTo>
                  <a:lnTo>
                    <a:pt x="208" y="356"/>
                  </a:lnTo>
                  <a:lnTo>
                    <a:pt x="205" y="359"/>
                  </a:lnTo>
                  <a:lnTo>
                    <a:pt x="203" y="360"/>
                  </a:lnTo>
                  <a:lnTo>
                    <a:pt x="203" y="362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206" y="363"/>
                  </a:lnTo>
                  <a:lnTo>
                    <a:pt x="206" y="365"/>
                  </a:lnTo>
                  <a:lnTo>
                    <a:pt x="202" y="365"/>
                  </a:lnTo>
                  <a:lnTo>
                    <a:pt x="194" y="369"/>
                  </a:lnTo>
                  <a:lnTo>
                    <a:pt x="191" y="371"/>
                  </a:lnTo>
                  <a:lnTo>
                    <a:pt x="191" y="373"/>
                  </a:lnTo>
                  <a:lnTo>
                    <a:pt x="191" y="374"/>
                  </a:lnTo>
                  <a:lnTo>
                    <a:pt x="189" y="376"/>
                  </a:lnTo>
                  <a:lnTo>
                    <a:pt x="189" y="379"/>
                  </a:lnTo>
                  <a:lnTo>
                    <a:pt x="189" y="379"/>
                  </a:lnTo>
                  <a:lnTo>
                    <a:pt x="188" y="379"/>
                  </a:lnTo>
                  <a:lnTo>
                    <a:pt x="188" y="379"/>
                  </a:lnTo>
                  <a:lnTo>
                    <a:pt x="188" y="382"/>
                  </a:lnTo>
                  <a:lnTo>
                    <a:pt x="188" y="383"/>
                  </a:lnTo>
                  <a:lnTo>
                    <a:pt x="188" y="386"/>
                  </a:lnTo>
                  <a:lnTo>
                    <a:pt x="186" y="388"/>
                  </a:lnTo>
                  <a:lnTo>
                    <a:pt x="188" y="391"/>
                  </a:lnTo>
                  <a:lnTo>
                    <a:pt x="189" y="391"/>
                  </a:lnTo>
                  <a:lnTo>
                    <a:pt x="189" y="391"/>
                  </a:lnTo>
                  <a:lnTo>
                    <a:pt x="191" y="389"/>
                  </a:lnTo>
                  <a:lnTo>
                    <a:pt x="194" y="389"/>
                  </a:lnTo>
                  <a:lnTo>
                    <a:pt x="200" y="389"/>
                  </a:lnTo>
                  <a:lnTo>
                    <a:pt x="199" y="391"/>
                  </a:lnTo>
                  <a:lnTo>
                    <a:pt x="196" y="393"/>
                  </a:lnTo>
                  <a:lnTo>
                    <a:pt x="194" y="394"/>
                  </a:lnTo>
                  <a:lnTo>
                    <a:pt x="193" y="393"/>
                  </a:lnTo>
                  <a:lnTo>
                    <a:pt x="191" y="394"/>
                  </a:lnTo>
                  <a:lnTo>
                    <a:pt x="188" y="397"/>
                  </a:lnTo>
                  <a:lnTo>
                    <a:pt x="185" y="400"/>
                  </a:lnTo>
                  <a:lnTo>
                    <a:pt x="182" y="402"/>
                  </a:lnTo>
                  <a:lnTo>
                    <a:pt x="182" y="403"/>
                  </a:lnTo>
                  <a:lnTo>
                    <a:pt x="189" y="406"/>
                  </a:lnTo>
                  <a:lnTo>
                    <a:pt x="193" y="406"/>
                  </a:lnTo>
                  <a:lnTo>
                    <a:pt x="196" y="403"/>
                  </a:lnTo>
                  <a:lnTo>
                    <a:pt x="196" y="402"/>
                  </a:lnTo>
                  <a:lnTo>
                    <a:pt x="200" y="400"/>
                  </a:lnTo>
                  <a:lnTo>
                    <a:pt x="200" y="399"/>
                  </a:lnTo>
                  <a:lnTo>
                    <a:pt x="202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05" y="397"/>
                  </a:lnTo>
                  <a:lnTo>
                    <a:pt x="205" y="396"/>
                  </a:lnTo>
                  <a:lnTo>
                    <a:pt x="205" y="396"/>
                  </a:lnTo>
                  <a:lnTo>
                    <a:pt x="205" y="394"/>
                  </a:lnTo>
                  <a:lnTo>
                    <a:pt x="211" y="389"/>
                  </a:lnTo>
                  <a:lnTo>
                    <a:pt x="217" y="388"/>
                  </a:lnTo>
                  <a:lnTo>
                    <a:pt x="231" y="389"/>
                  </a:lnTo>
                  <a:lnTo>
                    <a:pt x="230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30" y="391"/>
                  </a:lnTo>
                  <a:lnTo>
                    <a:pt x="230" y="391"/>
                  </a:lnTo>
                  <a:lnTo>
                    <a:pt x="228" y="391"/>
                  </a:lnTo>
                  <a:lnTo>
                    <a:pt x="228" y="393"/>
                  </a:lnTo>
                  <a:lnTo>
                    <a:pt x="230" y="393"/>
                  </a:lnTo>
                  <a:lnTo>
                    <a:pt x="234" y="391"/>
                  </a:lnTo>
                  <a:lnTo>
                    <a:pt x="233" y="393"/>
                  </a:lnTo>
                  <a:lnTo>
                    <a:pt x="231" y="394"/>
                  </a:lnTo>
                  <a:lnTo>
                    <a:pt x="230" y="396"/>
                  </a:lnTo>
                  <a:lnTo>
                    <a:pt x="219" y="393"/>
                  </a:lnTo>
                  <a:lnTo>
                    <a:pt x="217" y="393"/>
                  </a:lnTo>
                  <a:lnTo>
                    <a:pt x="216" y="394"/>
                  </a:lnTo>
                  <a:lnTo>
                    <a:pt x="213" y="396"/>
                  </a:lnTo>
                  <a:lnTo>
                    <a:pt x="214" y="396"/>
                  </a:lnTo>
                  <a:lnTo>
                    <a:pt x="214" y="397"/>
                  </a:lnTo>
                  <a:lnTo>
                    <a:pt x="216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9" y="397"/>
                  </a:lnTo>
                  <a:lnTo>
                    <a:pt x="208" y="397"/>
                  </a:lnTo>
                  <a:lnTo>
                    <a:pt x="208" y="399"/>
                  </a:lnTo>
                  <a:lnTo>
                    <a:pt x="206" y="402"/>
                  </a:lnTo>
                  <a:lnTo>
                    <a:pt x="205" y="405"/>
                  </a:lnTo>
                  <a:lnTo>
                    <a:pt x="202" y="408"/>
                  </a:lnTo>
                  <a:lnTo>
                    <a:pt x="197" y="411"/>
                  </a:lnTo>
                  <a:lnTo>
                    <a:pt x="199" y="414"/>
                  </a:lnTo>
                  <a:lnTo>
                    <a:pt x="197" y="416"/>
                  </a:lnTo>
                  <a:lnTo>
                    <a:pt x="196" y="417"/>
                  </a:lnTo>
                  <a:lnTo>
                    <a:pt x="197" y="417"/>
                  </a:lnTo>
                  <a:lnTo>
                    <a:pt x="199" y="417"/>
                  </a:lnTo>
                  <a:lnTo>
                    <a:pt x="199" y="416"/>
                  </a:lnTo>
                  <a:lnTo>
                    <a:pt x="200" y="416"/>
                  </a:lnTo>
                  <a:lnTo>
                    <a:pt x="202" y="416"/>
                  </a:lnTo>
                  <a:lnTo>
                    <a:pt x="203" y="416"/>
                  </a:lnTo>
                  <a:lnTo>
                    <a:pt x="205" y="417"/>
                  </a:lnTo>
                  <a:lnTo>
                    <a:pt x="203" y="420"/>
                  </a:lnTo>
                  <a:lnTo>
                    <a:pt x="205" y="420"/>
                  </a:lnTo>
                  <a:lnTo>
                    <a:pt x="208" y="419"/>
                  </a:lnTo>
                  <a:lnTo>
                    <a:pt x="209" y="420"/>
                  </a:lnTo>
                  <a:lnTo>
                    <a:pt x="211" y="420"/>
                  </a:lnTo>
                  <a:lnTo>
                    <a:pt x="209" y="422"/>
                  </a:lnTo>
                  <a:lnTo>
                    <a:pt x="208" y="423"/>
                  </a:lnTo>
                  <a:lnTo>
                    <a:pt x="208" y="425"/>
                  </a:lnTo>
                  <a:lnTo>
                    <a:pt x="208" y="426"/>
                  </a:lnTo>
                  <a:lnTo>
                    <a:pt x="209" y="426"/>
                  </a:lnTo>
                  <a:lnTo>
                    <a:pt x="213" y="425"/>
                  </a:lnTo>
                  <a:lnTo>
                    <a:pt x="211" y="428"/>
                  </a:lnTo>
                  <a:lnTo>
                    <a:pt x="209" y="428"/>
                  </a:lnTo>
                  <a:lnTo>
                    <a:pt x="208" y="428"/>
                  </a:lnTo>
                  <a:lnTo>
                    <a:pt x="205" y="426"/>
                  </a:lnTo>
                  <a:lnTo>
                    <a:pt x="203" y="428"/>
                  </a:lnTo>
                  <a:lnTo>
                    <a:pt x="205" y="430"/>
                  </a:lnTo>
                  <a:lnTo>
                    <a:pt x="205" y="430"/>
                  </a:lnTo>
                  <a:lnTo>
                    <a:pt x="203" y="430"/>
                  </a:lnTo>
                  <a:lnTo>
                    <a:pt x="203" y="431"/>
                  </a:lnTo>
                  <a:lnTo>
                    <a:pt x="203" y="433"/>
                  </a:lnTo>
                  <a:lnTo>
                    <a:pt x="205" y="433"/>
                  </a:lnTo>
                  <a:lnTo>
                    <a:pt x="205" y="433"/>
                  </a:lnTo>
                  <a:lnTo>
                    <a:pt x="206" y="433"/>
                  </a:lnTo>
                  <a:lnTo>
                    <a:pt x="205" y="434"/>
                  </a:lnTo>
                  <a:lnTo>
                    <a:pt x="203" y="434"/>
                  </a:lnTo>
                  <a:lnTo>
                    <a:pt x="202" y="433"/>
                  </a:lnTo>
                  <a:lnTo>
                    <a:pt x="200" y="431"/>
                  </a:lnTo>
                  <a:lnTo>
                    <a:pt x="200" y="431"/>
                  </a:lnTo>
                  <a:lnTo>
                    <a:pt x="200" y="430"/>
                  </a:lnTo>
                  <a:lnTo>
                    <a:pt x="188" y="428"/>
                  </a:lnTo>
                  <a:lnTo>
                    <a:pt x="186" y="430"/>
                  </a:lnTo>
                  <a:lnTo>
                    <a:pt x="189" y="430"/>
                  </a:lnTo>
                  <a:lnTo>
                    <a:pt x="191" y="431"/>
                  </a:lnTo>
                  <a:lnTo>
                    <a:pt x="196" y="436"/>
                  </a:lnTo>
                  <a:lnTo>
                    <a:pt x="196" y="436"/>
                  </a:lnTo>
                  <a:lnTo>
                    <a:pt x="194" y="437"/>
                  </a:lnTo>
                  <a:lnTo>
                    <a:pt x="196" y="437"/>
                  </a:lnTo>
                  <a:lnTo>
                    <a:pt x="196" y="439"/>
                  </a:lnTo>
                  <a:lnTo>
                    <a:pt x="194" y="439"/>
                  </a:lnTo>
                  <a:lnTo>
                    <a:pt x="194" y="439"/>
                  </a:lnTo>
                  <a:lnTo>
                    <a:pt x="193" y="439"/>
                  </a:lnTo>
                  <a:lnTo>
                    <a:pt x="191" y="439"/>
                  </a:lnTo>
                  <a:lnTo>
                    <a:pt x="193" y="437"/>
                  </a:lnTo>
                  <a:lnTo>
                    <a:pt x="193" y="437"/>
                  </a:lnTo>
                  <a:lnTo>
                    <a:pt x="191" y="436"/>
                  </a:lnTo>
                  <a:lnTo>
                    <a:pt x="189" y="436"/>
                  </a:lnTo>
                  <a:lnTo>
                    <a:pt x="186" y="437"/>
                  </a:lnTo>
                  <a:lnTo>
                    <a:pt x="186" y="440"/>
                  </a:lnTo>
                  <a:lnTo>
                    <a:pt x="188" y="440"/>
                  </a:lnTo>
                  <a:lnTo>
                    <a:pt x="189" y="440"/>
                  </a:lnTo>
                  <a:lnTo>
                    <a:pt x="191" y="442"/>
                  </a:lnTo>
                  <a:lnTo>
                    <a:pt x="193" y="443"/>
                  </a:lnTo>
                  <a:lnTo>
                    <a:pt x="193" y="443"/>
                  </a:lnTo>
                  <a:lnTo>
                    <a:pt x="193" y="445"/>
                  </a:lnTo>
                  <a:lnTo>
                    <a:pt x="191" y="445"/>
                  </a:lnTo>
                  <a:lnTo>
                    <a:pt x="191" y="445"/>
                  </a:lnTo>
                  <a:lnTo>
                    <a:pt x="191" y="443"/>
                  </a:lnTo>
                  <a:lnTo>
                    <a:pt x="189" y="446"/>
                  </a:lnTo>
                  <a:lnTo>
                    <a:pt x="186" y="448"/>
                  </a:lnTo>
                  <a:lnTo>
                    <a:pt x="180" y="450"/>
                  </a:lnTo>
                  <a:lnTo>
                    <a:pt x="177" y="453"/>
                  </a:lnTo>
                  <a:lnTo>
                    <a:pt x="176" y="453"/>
                  </a:lnTo>
                  <a:lnTo>
                    <a:pt x="174" y="453"/>
                  </a:lnTo>
                  <a:lnTo>
                    <a:pt x="173" y="451"/>
                  </a:lnTo>
                  <a:lnTo>
                    <a:pt x="171" y="451"/>
                  </a:lnTo>
                  <a:lnTo>
                    <a:pt x="171" y="451"/>
                  </a:lnTo>
                  <a:lnTo>
                    <a:pt x="168" y="453"/>
                  </a:lnTo>
                  <a:lnTo>
                    <a:pt x="163" y="454"/>
                  </a:lnTo>
                  <a:lnTo>
                    <a:pt x="163" y="454"/>
                  </a:lnTo>
                  <a:lnTo>
                    <a:pt x="162" y="456"/>
                  </a:lnTo>
                  <a:lnTo>
                    <a:pt x="162" y="457"/>
                  </a:lnTo>
                  <a:lnTo>
                    <a:pt x="160" y="457"/>
                  </a:lnTo>
                  <a:lnTo>
                    <a:pt x="162" y="459"/>
                  </a:lnTo>
                  <a:lnTo>
                    <a:pt x="160" y="460"/>
                  </a:lnTo>
                  <a:lnTo>
                    <a:pt x="159" y="460"/>
                  </a:lnTo>
                  <a:lnTo>
                    <a:pt x="151" y="460"/>
                  </a:lnTo>
                  <a:lnTo>
                    <a:pt x="149" y="460"/>
                  </a:lnTo>
                  <a:lnTo>
                    <a:pt x="148" y="457"/>
                  </a:lnTo>
                  <a:lnTo>
                    <a:pt x="149" y="457"/>
                  </a:lnTo>
                  <a:lnTo>
                    <a:pt x="148" y="454"/>
                  </a:lnTo>
                  <a:lnTo>
                    <a:pt x="146" y="450"/>
                  </a:lnTo>
                  <a:lnTo>
                    <a:pt x="145" y="446"/>
                  </a:lnTo>
                  <a:lnTo>
                    <a:pt x="142" y="445"/>
                  </a:lnTo>
                  <a:lnTo>
                    <a:pt x="140" y="442"/>
                  </a:lnTo>
                  <a:lnTo>
                    <a:pt x="139" y="442"/>
                  </a:lnTo>
                  <a:lnTo>
                    <a:pt x="137" y="442"/>
                  </a:lnTo>
                  <a:lnTo>
                    <a:pt x="137" y="443"/>
                  </a:lnTo>
                  <a:lnTo>
                    <a:pt x="136" y="445"/>
                  </a:lnTo>
                  <a:lnTo>
                    <a:pt x="137" y="446"/>
                  </a:lnTo>
                  <a:lnTo>
                    <a:pt x="136" y="448"/>
                  </a:lnTo>
                  <a:lnTo>
                    <a:pt x="137" y="451"/>
                  </a:lnTo>
                  <a:lnTo>
                    <a:pt x="137" y="453"/>
                  </a:lnTo>
                  <a:lnTo>
                    <a:pt x="136" y="454"/>
                  </a:lnTo>
                  <a:lnTo>
                    <a:pt x="136" y="457"/>
                  </a:lnTo>
                  <a:lnTo>
                    <a:pt x="136" y="462"/>
                  </a:lnTo>
                  <a:lnTo>
                    <a:pt x="137" y="463"/>
                  </a:lnTo>
                  <a:lnTo>
                    <a:pt x="139" y="465"/>
                  </a:lnTo>
                  <a:lnTo>
                    <a:pt x="140" y="465"/>
                  </a:lnTo>
                  <a:lnTo>
                    <a:pt x="142" y="463"/>
                  </a:lnTo>
                  <a:lnTo>
                    <a:pt x="142" y="463"/>
                  </a:lnTo>
                  <a:lnTo>
                    <a:pt x="142" y="465"/>
                  </a:lnTo>
                  <a:lnTo>
                    <a:pt x="142" y="466"/>
                  </a:lnTo>
                  <a:lnTo>
                    <a:pt x="139" y="466"/>
                  </a:lnTo>
                  <a:lnTo>
                    <a:pt x="139" y="468"/>
                  </a:lnTo>
                  <a:lnTo>
                    <a:pt x="137" y="474"/>
                  </a:lnTo>
                  <a:lnTo>
                    <a:pt x="136" y="476"/>
                  </a:lnTo>
                  <a:lnTo>
                    <a:pt x="136" y="477"/>
                  </a:lnTo>
                  <a:lnTo>
                    <a:pt x="137" y="477"/>
                  </a:lnTo>
                  <a:lnTo>
                    <a:pt x="137" y="479"/>
                  </a:lnTo>
                  <a:lnTo>
                    <a:pt x="139" y="480"/>
                  </a:lnTo>
                  <a:lnTo>
                    <a:pt x="137" y="482"/>
                  </a:lnTo>
                  <a:lnTo>
                    <a:pt x="137" y="483"/>
                  </a:lnTo>
                  <a:lnTo>
                    <a:pt x="137" y="483"/>
                  </a:lnTo>
                  <a:lnTo>
                    <a:pt x="137" y="486"/>
                  </a:lnTo>
                  <a:lnTo>
                    <a:pt x="137" y="486"/>
                  </a:lnTo>
                  <a:lnTo>
                    <a:pt x="139" y="488"/>
                  </a:lnTo>
                  <a:lnTo>
                    <a:pt x="139" y="490"/>
                  </a:lnTo>
                  <a:lnTo>
                    <a:pt x="140" y="488"/>
                  </a:lnTo>
                  <a:lnTo>
                    <a:pt x="140" y="488"/>
                  </a:lnTo>
                  <a:lnTo>
                    <a:pt x="140" y="488"/>
                  </a:lnTo>
                  <a:lnTo>
                    <a:pt x="142" y="486"/>
                  </a:lnTo>
                  <a:lnTo>
                    <a:pt x="143" y="486"/>
                  </a:lnTo>
                  <a:lnTo>
                    <a:pt x="149" y="486"/>
                  </a:lnTo>
                  <a:lnTo>
                    <a:pt x="151" y="486"/>
                  </a:lnTo>
                  <a:lnTo>
                    <a:pt x="151" y="486"/>
                  </a:lnTo>
                  <a:lnTo>
                    <a:pt x="152" y="485"/>
                  </a:lnTo>
                  <a:lnTo>
                    <a:pt x="156" y="483"/>
                  </a:lnTo>
                  <a:lnTo>
                    <a:pt x="159" y="482"/>
                  </a:lnTo>
                  <a:lnTo>
                    <a:pt x="160" y="482"/>
                  </a:lnTo>
                  <a:lnTo>
                    <a:pt x="159" y="483"/>
                  </a:lnTo>
                  <a:lnTo>
                    <a:pt x="160" y="485"/>
                  </a:lnTo>
                  <a:lnTo>
                    <a:pt x="162" y="483"/>
                  </a:lnTo>
                  <a:lnTo>
                    <a:pt x="163" y="480"/>
                  </a:lnTo>
                  <a:lnTo>
                    <a:pt x="165" y="480"/>
                  </a:lnTo>
                  <a:lnTo>
                    <a:pt x="185" y="485"/>
                  </a:lnTo>
                  <a:lnTo>
                    <a:pt x="188" y="483"/>
                  </a:lnTo>
                  <a:lnTo>
                    <a:pt x="189" y="483"/>
                  </a:lnTo>
                  <a:lnTo>
                    <a:pt x="193" y="483"/>
                  </a:lnTo>
                  <a:lnTo>
                    <a:pt x="205" y="479"/>
                  </a:lnTo>
                  <a:lnTo>
                    <a:pt x="208" y="479"/>
                  </a:lnTo>
                  <a:lnTo>
                    <a:pt x="209" y="480"/>
                  </a:lnTo>
                  <a:lnTo>
                    <a:pt x="213" y="483"/>
                  </a:lnTo>
                  <a:lnTo>
                    <a:pt x="216" y="485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82"/>
                  </a:lnTo>
                  <a:lnTo>
                    <a:pt x="237" y="479"/>
                  </a:lnTo>
                  <a:lnTo>
                    <a:pt x="239" y="476"/>
                  </a:lnTo>
                  <a:lnTo>
                    <a:pt x="240" y="476"/>
                  </a:lnTo>
                  <a:lnTo>
                    <a:pt x="243" y="476"/>
                  </a:lnTo>
                  <a:lnTo>
                    <a:pt x="246" y="476"/>
                  </a:lnTo>
                  <a:lnTo>
                    <a:pt x="248" y="477"/>
                  </a:lnTo>
                  <a:lnTo>
                    <a:pt x="248" y="474"/>
                  </a:lnTo>
                  <a:lnTo>
                    <a:pt x="246" y="473"/>
                  </a:lnTo>
                  <a:lnTo>
                    <a:pt x="242" y="471"/>
                  </a:lnTo>
                  <a:lnTo>
                    <a:pt x="242" y="470"/>
                  </a:lnTo>
                  <a:lnTo>
                    <a:pt x="243" y="470"/>
                  </a:lnTo>
                  <a:lnTo>
                    <a:pt x="245" y="466"/>
                  </a:lnTo>
                  <a:lnTo>
                    <a:pt x="246" y="465"/>
                  </a:lnTo>
                  <a:lnTo>
                    <a:pt x="246" y="465"/>
                  </a:lnTo>
                  <a:lnTo>
                    <a:pt x="251" y="463"/>
                  </a:lnTo>
                  <a:lnTo>
                    <a:pt x="251" y="463"/>
                  </a:lnTo>
                  <a:lnTo>
                    <a:pt x="256" y="466"/>
                  </a:lnTo>
                  <a:lnTo>
                    <a:pt x="260" y="466"/>
                  </a:lnTo>
                  <a:lnTo>
                    <a:pt x="259" y="468"/>
                  </a:lnTo>
                  <a:lnTo>
                    <a:pt x="256" y="468"/>
                  </a:lnTo>
                  <a:lnTo>
                    <a:pt x="250" y="468"/>
                  </a:lnTo>
                  <a:lnTo>
                    <a:pt x="251" y="473"/>
                  </a:lnTo>
                  <a:lnTo>
                    <a:pt x="251" y="474"/>
                  </a:lnTo>
                  <a:lnTo>
                    <a:pt x="250" y="476"/>
                  </a:lnTo>
                  <a:lnTo>
                    <a:pt x="251" y="477"/>
                  </a:lnTo>
                  <a:lnTo>
                    <a:pt x="254" y="479"/>
                  </a:lnTo>
                  <a:lnTo>
                    <a:pt x="256" y="480"/>
                  </a:lnTo>
                  <a:lnTo>
                    <a:pt x="259" y="482"/>
                  </a:lnTo>
                  <a:lnTo>
                    <a:pt x="268" y="486"/>
                  </a:lnTo>
                  <a:lnTo>
                    <a:pt x="274" y="491"/>
                  </a:lnTo>
                  <a:lnTo>
                    <a:pt x="277" y="494"/>
                  </a:lnTo>
                  <a:lnTo>
                    <a:pt x="277" y="493"/>
                  </a:lnTo>
                  <a:lnTo>
                    <a:pt x="277" y="491"/>
                  </a:lnTo>
                  <a:lnTo>
                    <a:pt x="279" y="491"/>
                  </a:lnTo>
                  <a:lnTo>
                    <a:pt x="280" y="491"/>
                  </a:lnTo>
                  <a:lnTo>
                    <a:pt x="282" y="490"/>
                  </a:lnTo>
                  <a:lnTo>
                    <a:pt x="285" y="486"/>
                  </a:lnTo>
                  <a:lnTo>
                    <a:pt x="286" y="483"/>
                  </a:lnTo>
                  <a:lnTo>
                    <a:pt x="286" y="480"/>
                  </a:lnTo>
                  <a:lnTo>
                    <a:pt x="285" y="480"/>
                  </a:lnTo>
                  <a:lnTo>
                    <a:pt x="285" y="479"/>
                  </a:lnTo>
                  <a:lnTo>
                    <a:pt x="288" y="480"/>
                  </a:lnTo>
                  <a:lnTo>
                    <a:pt x="288" y="485"/>
                  </a:lnTo>
                  <a:lnTo>
                    <a:pt x="288" y="490"/>
                  </a:lnTo>
                  <a:lnTo>
                    <a:pt x="285" y="493"/>
                  </a:lnTo>
                  <a:lnTo>
                    <a:pt x="285" y="494"/>
                  </a:lnTo>
                  <a:lnTo>
                    <a:pt x="286" y="494"/>
                  </a:lnTo>
                  <a:lnTo>
                    <a:pt x="293" y="493"/>
                  </a:lnTo>
                  <a:lnTo>
                    <a:pt x="293" y="494"/>
                  </a:lnTo>
                  <a:lnTo>
                    <a:pt x="293" y="494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94" y="494"/>
                  </a:lnTo>
                  <a:lnTo>
                    <a:pt x="294" y="496"/>
                  </a:lnTo>
                  <a:lnTo>
                    <a:pt x="291" y="496"/>
                  </a:lnTo>
                  <a:lnTo>
                    <a:pt x="290" y="496"/>
                  </a:lnTo>
                  <a:lnTo>
                    <a:pt x="290" y="497"/>
                  </a:lnTo>
                  <a:lnTo>
                    <a:pt x="290" y="497"/>
                  </a:lnTo>
                  <a:lnTo>
                    <a:pt x="286" y="496"/>
                  </a:lnTo>
                  <a:lnTo>
                    <a:pt x="286" y="494"/>
                  </a:lnTo>
                  <a:lnTo>
                    <a:pt x="282" y="494"/>
                  </a:lnTo>
                  <a:lnTo>
                    <a:pt x="286" y="499"/>
                  </a:lnTo>
                  <a:lnTo>
                    <a:pt x="290" y="500"/>
                  </a:lnTo>
                  <a:lnTo>
                    <a:pt x="293" y="503"/>
                  </a:lnTo>
                  <a:lnTo>
                    <a:pt x="296" y="505"/>
                  </a:lnTo>
                  <a:lnTo>
                    <a:pt x="296" y="505"/>
                  </a:lnTo>
                  <a:lnTo>
                    <a:pt x="297" y="503"/>
                  </a:lnTo>
                  <a:lnTo>
                    <a:pt x="297" y="502"/>
                  </a:lnTo>
                  <a:lnTo>
                    <a:pt x="297" y="499"/>
                  </a:lnTo>
                  <a:lnTo>
                    <a:pt x="297" y="497"/>
                  </a:lnTo>
                  <a:lnTo>
                    <a:pt x="297" y="497"/>
                  </a:lnTo>
                  <a:lnTo>
                    <a:pt x="299" y="497"/>
                  </a:lnTo>
                  <a:lnTo>
                    <a:pt x="300" y="496"/>
                  </a:lnTo>
                  <a:lnTo>
                    <a:pt x="303" y="493"/>
                  </a:lnTo>
                  <a:lnTo>
                    <a:pt x="307" y="488"/>
                  </a:lnTo>
                  <a:lnTo>
                    <a:pt x="307" y="486"/>
                  </a:lnTo>
                  <a:lnTo>
                    <a:pt x="307" y="486"/>
                  </a:lnTo>
                  <a:lnTo>
                    <a:pt x="307" y="485"/>
                  </a:lnTo>
                  <a:lnTo>
                    <a:pt x="307" y="483"/>
                  </a:lnTo>
                  <a:lnTo>
                    <a:pt x="308" y="485"/>
                  </a:lnTo>
                  <a:lnTo>
                    <a:pt x="308" y="486"/>
                  </a:lnTo>
                  <a:lnTo>
                    <a:pt x="308" y="488"/>
                  </a:lnTo>
                  <a:lnTo>
                    <a:pt x="305" y="493"/>
                  </a:lnTo>
                  <a:lnTo>
                    <a:pt x="311" y="496"/>
                  </a:lnTo>
                  <a:lnTo>
                    <a:pt x="313" y="497"/>
                  </a:lnTo>
                  <a:lnTo>
                    <a:pt x="314" y="500"/>
                  </a:lnTo>
                  <a:lnTo>
                    <a:pt x="316" y="502"/>
                  </a:lnTo>
                  <a:lnTo>
                    <a:pt x="313" y="502"/>
                  </a:lnTo>
                  <a:lnTo>
                    <a:pt x="310" y="497"/>
                  </a:lnTo>
                  <a:lnTo>
                    <a:pt x="307" y="496"/>
                  </a:lnTo>
                  <a:lnTo>
                    <a:pt x="302" y="497"/>
                  </a:lnTo>
                  <a:lnTo>
                    <a:pt x="299" y="499"/>
                  </a:lnTo>
                  <a:lnTo>
                    <a:pt x="297" y="500"/>
                  </a:lnTo>
                  <a:lnTo>
                    <a:pt x="299" y="503"/>
                  </a:lnTo>
                  <a:lnTo>
                    <a:pt x="299" y="503"/>
                  </a:lnTo>
                  <a:lnTo>
                    <a:pt x="297" y="505"/>
                  </a:lnTo>
                  <a:lnTo>
                    <a:pt x="297" y="505"/>
                  </a:lnTo>
                  <a:lnTo>
                    <a:pt x="299" y="510"/>
                  </a:lnTo>
                  <a:lnTo>
                    <a:pt x="302" y="513"/>
                  </a:lnTo>
                  <a:lnTo>
                    <a:pt x="307" y="517"/>
                  </a:lnTo>
                  <a:lnTo>
                    <a:pt x="305" y="514"/>
                  </a:lnTo>
                  <a:lnTo>
                    <a:pt x="303" y="511"/>
                  </a:lnTo>
                  <a:lnTo>
                    <a:pt x="302" y="508"/>
                  </a:lnTo>
                  <a:lnTo>
                    <a:pt x="302" y="507"/>
                  </a:lnTo>
                  <a:lnTo>
                    <a:pt x="303" y="507"/>
                  </a:lnTo>
                  <a:lnTo>
                    <a:pt x="303" y="508"/>
                  </a:lnTo>
                  <a:lnTo>
                    <a:pt x="305" y="510"/>
                  </a:lnTo>
                  <a:lnTo>
                    <a:pt x="305" y="513"/>
                  </a:lnTo>
                  <a:lnTo>
                    <a:pt x="307" y="514"/>
                  </a:lnTo>
                  <a:lnTo>
                    <a:pt x="308" y="516"/>
                  </a:lnTo>
                  <a:lnTo>
                    <a:pt x="310" y="517"/>
                  </a:lnTo>
                  <a:lnTo>
                    <a:pt x="311" y="519"/>
                  </a:lnTo>
                  <a:lnTo>
                    <a:pt x="308" y="517"/>
                  </a:lnTo>
                  <a:lnTo>
                    <a:pt x="308" y="519"/>
                  </a:lnTo>
                  <a:lnTo>
                    <a:pt x="310" y="520"/>
                  </a:lnTo>
                  <a:lnTo>
                    <a:pt x="311" y="520"/>
                  </a:lnTo>
                  <a:lnTo>
                    <a:pt x="313" y="520"/>
                  </a:lnTo>
                  <a:lnTo>
                    <a:pt x="314" y="517"/>
                  </a:lnTo>
                  <a:lnTo>
                    <a:pt x="314" y="519"/>
                  </a:lnTo>
                  <a:lnTo>
                    <a:pt x="313" y="522"/>
                  </a:lnTo>
                  <a:lnTo>
                    <a:pt x="314" y="522"/>
                  </a:lnTo>
                  <a:lnTo>
                    <a:pt x="316" y="522"/>
                  </a:lnTo>
                  <a:lnTo>
                    <a:pt x="317" y="522"/>
                  </a:lnTo>
                  <a:lnTo>
                    <a:pt x="316" y="523"/>
                  </a:lnTo>
                  <a:lnTo>
                    <a:pt x="314" y="523"/>
                  </a:lnTo>
                  <a:lnTo>
                    <a:pt x="313" y="523"/>
                  </a:lnTo>
                  <a:lnTo>
                    <a:pt x="313" y="522"/>
                  </a:lnTo>
                  <a:lnTo>
                    <a:pt x="314" y="523"/>
                  </a:lnTo>
                  <a:lnTo>
                    <a:pt x="325" y="534"/>
                  </a:lnTo>
                  <a:lnTo>
                    <a:pt x="328" y="534"/>
                  </a:lnTo>
                  <a:lnTo>
                    <a:pt x="333" y="534"/>
                  </a:lnTo>
                  <a:lnTo>
                    <a:pt x="333" y="531"/>
                  </a:lnTo>
                  <a:lnTo>
                    <a:pt x="333" y="531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3"/>
                  </a:lnTo>
                  <a:lnTo>
                    <a:pt x="334" y="531"/>
                  </a:lnTo>
                  <a:lnTo>
                    <a:pt x="334" y="531"/>
                  </a:lnTo>
                  <a:lnTo>
                    <a:pt x="336" y="534"/>
                  </a:lnTo>
                  <a:lnTo>
                    <a:pt x="356" y="536"/>
                  </a:lnTo>
                  <a:lnTo>
                    <a:pt x="348" y="534"/>
                  </a:lnTo>
                  <a:lnTo>
                    <a:pt x="348" y="533"/>
                  </a:lnTo>
                  <a:lnTo>
                    <a:pt x="356" y="534"/>
                  </a:lnTo>
                  <a:lnTo>
                    <a:pt x="356" y="534"/>
                  </a:lnTo>
                  <a:lnTo>
                    <a:pt x="357" y="533"/>
                  </a:lnTo>
                  <a:lnTo>
                    <a:pt x="359" y="533"/>
                  </a:lnTo>
                  <a:lnTo>
                    <a:pt x="359" y="534"/>
                  </a:lnTo>
                  <a:lnTo>
                    <a:pt x="359" y="534"/>
                  </a:lnTo>
                  <a:lnTo>
                    <a:pt x="359" y="534"/>
                  </a:lnTo>
                  <a:lnTo>
                    <a:pt x="357" y="536"/>
                  </a:lnTo>
                  <a:lnTo>
                    <a:pt x="360" y="537"/>
                  </a:lnTo>
                  <a:lnTo>
                    <a:pt x="373" y="540"/>
                  </a:lnTo>
                  <a:lnTo>
                    <a:pt x="380" y="547"/>
                  </a:lnTo>
                  <a:lnTo>
                    <a:pt x="387" y="548"/>
                  </a:lnTo>
                  <a:lnTo>
                    <a:pt x="391" y="551"/>
                  </a:lnTo>
                  <a:lnTo>
                    <a:pt x="391" y="551"/>
                  </a:lnTo>
                  <a:lnTo>
                    <a:pt x="402" y="553"/>
                  </a:lnTo>
                  <a:lnTo>
                    <a:pt x="404" y="551"/>
                  </a:lnTo>
                  <a:lnTo>
                    <a:pt x="405" y="553"/>
                  </a:lnTo>
                  <a:lnTo>
                    <a:pt x="405" y="553"/>
                  </a:lnTo>
                  <a:lnTo>
                    <a:pt x="408" y="553"/>
                  </a:lnTo>
                  <a:lnTo>
                    <a:pt x="408" y="554"/>
                  </a:lnTo>
                  <a:lnTo>
                    <a:pt x="408" y="554"/>
                  </a:lnTo>
                  <a:lnTo>
                    <a:pt x="407" y="554"/>
                  </a:lnTo>
                  <a:lnTo>
                    <a:pt x="410" y="556"/>
                  </a:lnTo>
                  <a:lnTo>
                    <a:pt x="414" y="553"/>
                  </a:lnTo>
                  <a:lnTo>
                    <a:pt x="430" y="557"/>
                  </a:lnTo>
                  <a:lnTo>
                    <a:pt x="433" y="557"/>
                  </a:lnTo>
                  <a:lnTo>
                    <a:pt x="448" y="554"/>
                  </a:lnTo>
                  <a:lnTo>
                    <a:pt x="457" y="550"/>
                  </a:lnTo>
                  <a:lnTo>
                    <a:pt x="474" y="547"/>
                  </a:lnTo>
                  <a:lnTo>
                    <a:pt x="473" y="547"/>
                  </a:lnTo>
                  <a:lnTo>
                    <a:pt x="471" y="547"/>
                  </a:lnTo>
                  <a:lnTo>
                    <a:pt x="468" y="547"/>
                  </a:lnTo>
                  <a:lnTo>
                    <a:pt x="468" y="545"/>
                  </a:lnTo>
                  <a:lnTo>
                    <a:pt x="467" y="543"/>
                  </a:lnTo>
                  <a:lnTo>
                    <a:pt x="467" y="540"/>
                  </a:lnTo>
                  <a:lnTo>
                    <a:pt x="467" y="540"/>
                  </a:lnTo>
                  <a:lnTo>
                    <a:pt x="465" y="539"/>
                  </a:lnTo>
                  <a:lnTo>
                    <a:pt x="464" y="536"/>
                  </a:lnTo>
                  <a:lnTo>
                    <a:pt x="464" y="536"/>
                  </a:lnTo>
                  <a:lnTo>
                    <a:pt x="464" y="534"/>
                  </a:lnTo>
                  <a:lnTo>
                    <a:pt x="464" y="534"/>
                  </a:lnTo>
                  <a:lnTo>
                    <a:pt x="465" y="534"/>
                  </a:lnTo>
                  <a:lnTo>
                    <a:pt x="464" y="533"/>
                  </a:lnTo>
                  <a:lnTo>
                    <a:pt x="465" y="533"/>
                  </a:lnTo>
                  <a:lnTo>
                    <a:pt x="471" y="536"/>
                  </a:lnTo>
                  <a:lnTo>
                    <a:pt x="473" y="536"/>
                  </a:lnTo>
                  <a:lnTo>
                    <a:pt x="476" y="536"/>
                  </a:lnTo>
                  <a:lnTo>
                    <a:pt x="479" y="536"/>
                  </a:lnTo>
                  <a:lnTo>
                    <a:pt x="479" y="536"/>
                  </a:lnTo>
                  <a:lnTo>
                    <a:pt x="476" y="536"/>
                  </a:lnTo>
                  <a:lnTo>
                    <a:pt x="476" y="537"/>
                  </a:lnTo>
                  <a:lnTo>
                    <a:pt x="474" y="539"/>
                  </a:lnTo>
                  <a:lnTo>
                    <a:pt x="473" y="540"/>
                  </a:lnTo>
                  <a:lnTo>
                    <a:pt x="471" y="540"/>
                  </a:lnTo>
                  <a:lnTo>
                    <a:pt x="471" y="542"/>
                  </a:lnTo>
                  <a:lnTo>
                    <a:pt x="473" y="545"/>
                  </a:lnTo>
                  <a:lnTo>
                    <a:pt x="477" y="545"/>
                  </a:lnTo>
                  <a:lnTo>
                    <a:pt x="482" y="540"/>
                  </a:lnTo>
                  <a:lnTo>
                    <a:pt x="490" y="537"/>
                  </a:lnTo>
                  <a:lnTo>
                    <a:pt x="493" y="533"/>
                  </a:lnTo>
                  <a:lnTo>
                    <a:pt x="496" y="528"/>
                  </a:lnTo>
                  <a:lnTo>
                    <a:pt x="497" y="522"/>
                  </a:lnTo>
                  <a:lnTo>
                    <a:pt x="497" y="523"/>
                  </a:lnTo>
                  <a:lnTo>
                    <a:pt x="491" y="523"/>
                  </a:lnTo>
                  <a:lnTo>
                    <a:pt x="491" y="522"/>
                  </a:lnTo>
                  <a:lnTo>
                    <a:pt x="491" y="520"/>
                  </a:lnTo>
                  <a:lnTo>
                    <a:pt x="491" y="520"/>
                  </a:lnTo>
                  <a:lnTo>
                    <a:pt x="490" y="520"/>
                  </a:lnTo>
                  <a:lnTo>
                    <a:pt x="491" y="519"/>
                  </a:lnTo>
                  <a:lnTo>
                    <a:pt x="493" y="520"/>
                  </a:lnTo>
                  <a:lnTo>
                    <a:pt x="493" y="517"/>
                  </a:lnTo>
                  <a:lnTo>
                    <a:pt x="496" y="517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6" y="519"/>
                  </a:lnTo>
                  <a:lnTo>
                    <a:pt x="497" y="520"/>
                  </a:lnTo>
                  <a:lnTo>
                    <a:pt x="499" y="519"/>
                  </a:lnTo>
                  <a:lnTo>
                    <a:pt x="502" y="513"/>
                  </a:lnTo>
                  <a:lnTo>
                    <a:pt x="501" y="513"/>
                  </a:lnTo>
                  <a:lnTo>
                    <a:pt x="494" y="513"/>
                  </a:lnTo>
                  <a:lnTo>
                    <a:pt x="493" y="513"/>
                  </a:lnTo>
                  <a:lnTo>
                    <a:pt x="493" y="514"/>
                  </a:lnTo>
                  <a:lnTo>
                    <a:pt x="491" y="514"/>
                  </a:lnTo>
                  <a:lnTo>
                    <a:pt x="490" y="514"/>
                  </a:lnTo>
                  <a:lnTo>
                    <a:pt x="490" y="513"/>
                  </a:lnTo>
                  <a:lnTo>
                    <a:pt x="490" y="511"/>
                  </a:lnTo>
                  <a:lnTo>
                    <a:pt x="491" y="510"/>
                  </a:lnTo>
                  <a:lnTo>
                    <a:pt x="493" y="511"/>
                  </a:lnTo>
                  <a:lnTo>
                    <a:pt x="493" y="511"/>
                  </a:lnTo>
                  <a:lnTo>
                    <a:pt x="494" y="510"/>
                  </a:lnTo>
                  <a:lnTo>
                    <a:pt x="494" y="507"/>
                  </a:lnTo>
                  <a:lnTo>
                    <a:pt x="496" y="503"/>
                  </a:lnTo>
                  <a:lnTo>
                    <a:pt x="496" y="502"/>
                  </a:lnTo>
                  <a:lnTo>
                    <a:pt x="497" y="502"/>
                  </a:lnTo>
                  <a:lnTo>
                    <a:pt x="499" y="502"/>
                  </a:lnTo>
                  <a:lnTo>
                    <a:pt x="501" y="500"/>
                  </a:lnTo>
                  <a:lnTo>
                    <a:pt x="501" y="500"/>
                  </a:lnTo>
                  <a:lnTo>
                    <a:pt x="502" y="500"/>
                  </a:lnTo>
                  <a:lnTo>
                    <a:pt x="502" y="500"/>
                  </a:lnTo>
                  <a:lnTo>
                    <a:pt x="501" y="499"/>
                  </a:lnTo>
                  <a:lnTo>
                    <a:pt x="504" y="499"/>
                  </a:lnTo>
                  <a:lnTo>
                    <a:pt x="505" y="499"/>
                  </a:lnTo>
                  <a:lnTo>
                    <a:pt x="507" y="500"/>
                  </a:lnTo>
                  <a:lnTo>
                    <a:pt x="508" y="499"/>
                  </a:lnTo>
                  <a:lnTo>
                    <a:pt x="508" y="497"/>
                  </a:lnTo>
                  <a:lnTo>
                    <a:pt x="508" y="496"/>
                  </a:lnTo>
                  <a:lnTo>
                    <a:pt x="508" y="494"/>
                  </a:lnTo>
                  <a:lnTo>
                    <a:pt x="510" y="496"/>
                  </a:lnTo>
                  <a:lnTo>
                    <a:pt x="516" y="499"/>
                  </a:lnTo>
                  <a:lnTo>
                    <a:pt x="516" y="500"/>
                  </a:lnTo>
                  <a:lnTo>
                    <a:pt x="513" y="500"/>
                  </a:lnTo>
                  <a:lnTo>
                    <a:pt x="511" y="500"/>
                  </a:lnTo>
                  <a:lnTo>
                    <a:pt x="508" y="503"/>
                  </a:lnTo>
                  <a:lnTo>
                    <a:pt x="508" y="507"/>
                  </a:lnTo>
                  <a:lnTo>
                    <a:pt x="518" y="500"/>
                  </a:lnTo>
                  <a:lnTo>
                    <a:pt x="518" y="499"/>
                  </a:lnTo>
                  <a:lnTo>
                    <a:pt x="518" y="497"/>
                  </a:lnTo>
                  <a:lnTo>
                    <a:pt x="518" y="497"/>
                  </a:lnTo>
                  <a:lnTo>
                    <a:pt x="518" y="497"/>
                  </a:lnTo>
                  <a:lnTo>
                    <a:pt x="518" y="496"/>
                  </a:lnTo>
                  <a:lnTo>
                    <a:pt x="519" y="497"/>
                  </a:lnTo>
                  <a:lnTo>
                    <a:pt x="519" y="497"/>
                  </a:lnTo>
                  <a:lnTo>
                    <a:pt x="521" y="496"/>
                  </a:lnTo>
                  <a:lnTo>
                    <a:pt x="521" y="493"/>
                  </a:lnTo>
                  <a:lnTo>
                    <a:pt x="522" y="494"/>
                  </a:lnTo>
                  <a:lnTo>
                    <a:pt x="522" y="496"/>
                  </a:lnTo>
                  <a:lnTo>
                    <a:pt x="521" y="497"/>
                  </a:lnTo>
                  <a:lnTo>
                    <a:pt x="521" y="499"/>
                  </a:lnTo>
                  <a:lnTo>
                    <a:pt x="527" y="497"/>
                  </a:lnTo>
                  <a:lnTo>
                    <a:pt x="538" y="494"/>
                  </a:lnTo>
                  <a:lnTo>
                    <a:pt x="547" y="488"/>
                  </a:lnTo>
                  <a:lnTo>
                    <a:pt x="547" y="491"/>
                  </a:lnTo>
                  <a:lnTo>
                    <a:pt x="548" y="491"/>
                  </a:lnTo>
                  <a:lnTo>
                    <a:pt x="548" y="490"/>
                  </a:lnTo>
                  <a:lnTo>
                    <a:pt x="550" y="490"/>
                  </a:lnTo>
                  <a:lnTo>
                    <a:pt x="553" y="491"/>
                  </a:lnTo>
                  <a:lnTo>
                    <a:pt x="553" y="491"/>
                  </a:lnTo>
                  <a:lnTo>
                    <a:pt x="559" y="491"/>
                  </a:lnTo>
                  <a:lnTo>
                    <a:pt x="562" y="491"/>
                  </a:lnTo>
                  <a:lnTo>
                    <a:pt x="562" y="490"/>
                  </a:lnTo>
                  <a:lnTo>
                    <a:pt x="562" y="488"/>
                  </a:lnTo>
                  <a:lnTo>
                    <a:pt x="561" y="486"/>
                  </a:lnTo>
                  <a:lnTo>
                    <a:pt x="561" y="483"/>
                  </a:lnTo>
                  <a:lnTo>
                    <a:pt x="559" y="482"/>
                  </a:lnTo>
                  <a:lnTo>
                    <a:pt x="561" y="480"/>
                  </a:lnTo>
                  <a:lnTo>
                    <a:pt x="562" y="480"/>
                  </a:lnTo>
                  <a:lnTo>
                    <a:pt x="564" y="480"/>
                  </a:lnTo>
                  <a:lnTo>
                    <a:pt x="564" y="479"/>
                  </a:lnTo>
                  <a:lnTo>
                    <a:pt x="564" y="477"/>
                  </a:lnTo>
                  <a:lnTo>
                    <a:pt x="564" y="476"/>
                  </a:lnTo>
                  <a:lnTo>
                    <a:pt x="564" y="471"/>
                  </a:lnTo>
                  <a:lnTo>
                    <a:pt x="564" y="471"/>
                  </a:lnTo>
                  <a:lnTo>
                    <a:pt x="565" y="471"/>
                  </a:lnTo>
                  <a:lnTo>
                    <a:pt x="565" y="473"/>
                  </a:lnTo>
                  <a:lnTo>
                    <a:pt x="567" y="473"/>
                  </a:lnTo>
                  <a:lnTo>
                    <a:pt x="567" y="474"/>
                  </a:lnTo>
                  <a:lnTo>
                    <a:pt x="567" y="477"/>
                  </a:lnTo>
                  <a:lnTo>
                    <a:pt x="565" y="482"/>
                  </a:lnTo>
                  <a:lnTo>
                    <a:pt x="567" y="482"/>
                  </a:lnTo>
                  <a:lnTo>
                    <a:pt x="567" y="482"/>
                  </a:lnTo>
                  <a:lnTo>
                    <a:pt x="567" y="483"/>
                  </a:lnTo>
                  <a:lnTo>
                    <a:pt x="565" y="483"/>
                  </a:lnTo>
                  <a:lnTo>
                    <a:pt x="565" y="483"/>
                  </a:lnTo>
                  <a:lnTo>
                    <a:pt x="565" y="485"/>
                  </a:lnTo>
                  <a:lnTo>
                    <a:pt x="565" y="486"/>
                  </a:lnTo>
                  <a:lnTo>
                    <a:pt x="565" y="488"/>
                  </a:lnTo>
                  <a:lnTo>
                    <a:pt x="565" y="490"/>
                  </a:lnTo>
                  <a:lnTo>
                    <a:pt x="564" y="493"/>
                  </a:lnTo>
                  <a:lnTo>
                    <a:pt x="565" y="493"/>
                  </a:lnTo>
                  <a:lnTo>
                    <a:pt x="567" y="491"/>
                  </a:lnTo>
                  <a:lnTo>
                    <a:pt x="567" y="491"/>
                  </a:lnTo>
                  <a:lnTo>
                    <a:pt x="567" y="490"/>
                  </a:lnTo>
                  <a:lnTo>
                    <a:pt x="567" y="486"/>
                  </a:lnTo>
                  <a:lnTo>
                    <a:pt x="567" y="485"/>
                  </a:lnTo>
                  <a:lnTo>
                    <a:pt x="567" y="480"/>
                  </a:lnTo>
                  <a:lnTo>
                    <a:pt x="567" y="479"/>
                  </a:lnTo>
                  <a:lnTo>
                    <a:pt x="568" y="480"/>
                  </a:lnTo>
                  <a:lnTo>
                    <a:pt x="568" y="482"/>
                  </a:lnTo>
                  <a:lnTo>
                    <a:pt x="568" y="483"/>
                  </a:lnTo>
                  <a:lnTo>
                    <a:pt x="568" y="488"/>
                  </a:lnTo>
                  <a:lnTo>
                    <a:pt x="568" y="490"/>
                  </a:lnTo>
                  <a:lnTo>
                    <a:pt x="570" y="491"/>
                  </a:lnTo>
                  <a:lnTo>
                    <a:pt x="570" y="490"/>
                  </a:lnTo>
                  <a:lnTo>
                    <a:pt x="570" y="486"/>
                  </a:lnTo>
                  <a:lnTo>
                    <a:pt x="570" y="483"/>
                  </a:lnTo>
                  <a:lnTo>
                    <a:pt x="570" y="482"/>
                  </a:lnTo>
                  <a:lnTo>
                    <a:pt x="570" y="480"/>
                  </a:lnTo>
                  <a:lnTo>
                    <a:pt x="570" y="480"/>
                  </a:lnTo>
                  <a:lnTo>
                    <a:pt x="571" y="480"/>
                  </a:lnTo>
                  <a:lnTo>
                    <a:pt x="573" y="480"/>
                  </a:lnTo>
                  <a:lnTo>
                    <a:pt x="575" y="485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1"/>
                  </a:lnTo>
                  <a:lnTo>
                    <a:pt x="578" y="490"/>
                  </a:lnTo>
                  <a:lnTo>
                    <a:pt x="579" y="488"/>
                  </a:lnTo>
                  <a:lnTo>
                    <a:pt x="579" y="485"/>
                  </a:lnTo>
                  <a:lnTo>
                    <a:pt x="578" y="483"/>
                  </a:lnTo>
                  <a:lnTo>
                    <a:pt x="579" y="483"/>
                  </a:lnTo>
                  <a:lnTo>
                    <a:pt x="581" y="482"/>
                  </a:lnTo>
                  <a:lnTo>
                    <a:pt x="581" y="482"/>
                  </a:lnTo>
                  <a:lnTo>
                    <a:pt x="579" y="482"/>
                  </a:lnTo>
                  <a:lnTo>
                    <a:pt x="579" y="480"/>
                  </a:lnTo>
                  <a:lnTo>
                    <a:pt x="578" y="480"/>
                  </a:lnTo>
                  <a:lnTo>
                    <a:pt x="579" y="482"/>
                  </a:lnTo>
                  <a:lnTo>
                    <a:pt x="581" y="482"/>
                  </a:lnTo>
                  <a:lnTo>
                    <a:pt x="591" y="479"/>
                  </a:lnTo>
                  <a:lnTo>
                    <a:pt x="602" y="470"/>
                  </a:lnTo>
                  <a:lnTo>
                    <a:pt x="602" y="471"/>
                  </a:lnTo>
                  <a:lnTo>
                    <a:pt x="601" y="473"/>
                  </a:lnTo>
                  <a:lnTo>
                    <a:pt x="601" y="474"/>
                  </a:lnTo>
                  <a:lnTo>
                    <a:pt x="599" y="474"/>
                  </a:lnTo>
                  <a:lnTo>
                    <a:pt x="601" y="473"/>
                  </a:lnTo>
                  <a:lnTo>
                    <a:pt x="605" y="468"/>
                  </a:lnTo>
                  <a:lnTo>
                    <a:pt x="610" y="463"/>
                  </a:lnTo>
                  <a:lnTo>
                    <a:pt x="611" y="462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1" y="459"/>
                  </a:lnTo>
                  <a:lnTo>
                    <a:pt x="610" y="459"/>
                  </a:lnTo>
                  <a:lnTo>
                    <a:pt x="611" y="456"/>
                  </a:lnTo>
                  <a:lnTo>
                    <a:pt x="613" y="454"/>
                  </a:lnTo>
                  <a:lnTo>
                    <a:pt x="618" y="451"/>
                  </a:lnTo>
                  <a:lnTo>
                    <a:pt x="618" y="453"/>
                  </a:lnTo>
                  <a:lnTo>
                    <a:pt x="619" y="453"/>
                  </a:lnTo>
                  <a:lnTo>
                    <a:pt x="624" y="450"/>
                  </a:lnTo>
                  <a:lnTo>
                    <a:pt x="624" y="448"/>
                  </a:lnTo>
                  <a:lnTo>
                    <a:pt x="622" y="448"/>
                  </a:lnTo>
                  <a:lnTo>
                    <a:pt x="622" y="448"/>
                  </a:lnTo>
                  <a:lnTo>
                    <a:pt x="622" y="446"/>
                  </a:lnTo>
                  <a:lnTo>
                    <a:pt x="624" y="445"/>
                  </a:lnTo>
                  <a:lnTo>
                    <a:pt x="624" y="446"/>
                  </a:lnTo>
                  <a:lnTo>
                    <a:pt x="625" y="448"/>
                  </a:lnTo>
                  <a:lnTo>
                    <a:pt x="625" y="446"/>
                  </a:lnTo>
                  <a:lnTo>
                    <a:pt x="627" y="445"/>
                  </a:lnTo>
                  <a:lnTo>
                    <a:pt x="628" y="443"/>
                  </a:lnTo>
                  <a:lnTo>
                    <a:pt x="631" y="440"/>
                  </a:lnTo>
                  <a:lnTo>
                    <a:pt x="631" y="440"/>
                  </a:lnTo>
                  <a:lnTo>
                    <a:pt x="633" y="440"/>
                  </a:lnTo>
                  <a:lnTo>
                    <a:pt x="638" y="436"/>
                  </a:lnTo>
                  <a:lnTo>
                    <a:pt x="638" y="434"/>
                  </a:lnTo>
                  <a:lnTo>
                    <a:pt x="635" y="434"/>
                  </a:lnTo>
                  <a:lnTo>
                    <a:pt x="638" y="433"/>
                  </a:lnTo>
                  <a:lnTo>
                    <a:pt x="656" y="426"/>
                  </a:lnTo>
                  <a:lnTo>
                    <a:pt x="659" y="425"/>
                  </a:lnTo>
                  <a:lnTo>
                    <a:pt x="658" y="423"/>
                  </a:lnTo>
                  <a:lnTo>
                    <a:pt x="652" y="425"/>
                  </a:lnTo>
                  <a:lnTo>
                    <a:pt x="658" y="420"/>
                  </a:lnTo>
                  <a:lnTo>
                    <a:pt x="659" y="417"/>
                  </a:lnTo>
                  <a:lnTo>
                    <a:pt x="661" y="417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2" y="417"/>
                  </a:lnTo>
                  <a:lnTo>
                    <a:pt x="667" y="416"/>
                  </a:lnTo>
                  <a:lnTo>
                    <a:pt x="672" y="416"/>
                  </a:lnTo>
                  <a:lnTo>
                    <a:pt x="676" y="414"/>
                  </a:lnTo>
                  <a:lnTo>
                    <a:pt x="678" y="413"/>
                  </a:lnTo>
                  <a:lnTo>
                    <a:pt x="676" y="413"/>
                  </a:lnTo>
                  <a:lnTo>
                    <a:pt x="675" y="413"/>
                  </a:lnTo>
                  <a:lnTo>
                    <a:pt x="673" y="411"/>
                  </a:lnTo>
                  <a:lnTo>
                    <a:pt x="675" y="409"/>
                  </a:lnTo>
                  <a:lnTo>
                    <a:pt x="679" y="411"/>
                  </a:lnTo>
                  <a:lnTo>
                    <a:pt x="681" y="409"/>
                  </a:lnTo>
                  <a:lnTo>
                    <a:pt x="682" y="408"/>
                  </a:lnTo>
                  <a:lnTo>
                    <a:pt x="682" y="405"/>
                  </a:lnTo>
                  <a:lnTo>
                    <a:pt x="682" y="402"/>
                  </a:lnTo>
                  <a:lnTo>
                    <a:pt x="681" y="400"/>
                  </a:lnTo>
                  <a:lnTo>
                    <a:pt x="681" y="399"/>
                  </a:lnTo>
                  <a:lnTo>
                    <a:pt x="682" y="400"/>
                  </a:lnTo>
                  <a:lnTo>
                    <a:pt x="682" y="400"/>
                  </a:lnTo>
                  <a:lnTo>
                    <a:pt x="684" y="400"/>
                  </a:lnTo>
                  <a:lnTo>
                    <a:pt x="684" y="399"/>
                  </a:lnTo>
                  <a:lnTo>
                    <a:pt x="684" y="397"/>
                  </a:lnTo>
                  <a:lnTo>
                    <a:pt x="682" y="394"/>
                  </a:lnTo>
                  <a:lnTo>
                    <a:pt x="681" y="393"/>
                  </a:lnTo>
                  <a:lnTo>
                    <a:pt x="679" y="391"/>
                  </a:lnTo>
                  <a:lnTo>
                    <a:pt x="676" y="389"/>
                  </a:lnTo>
                  <a:lnTo>
                    <a:pt x="676" y="389"/>
                  </a:lnTo>
                  <a:lnTo>
                    <a:pt x="678" y="389"/>
                  </a:lnTo>
                  <a:lnTo>
                    <a:pt x="681" y="391"/>
                  </a:lnTo>
                  <a:lnTo>
                    <a:pt x="682" y="393"/>
                  </a:lnTo>
                  <a:lnTo>
                    <a:pt x="684" y="394"/>
                  </a:lnTo>
                  <a:lnTo>
                    <a:pt x="685" y="397"/>
                  </a:lnTo>
                  <a:lnTo>
                    <a:pt x="687" y="400"/>
                  </a:lnTo>
                  <a:lnTo>
                    <a:pt x="685" y="403"/>
                  </a:lnTo>
                  <a:lnTo>
                    <a:pt x="685" y="405"/>
                  </a:lnTo>
                  <a:lnTo>
                    <a:pt x="687" y="405"/>
                  </a:lnTo>
                  <a:lnTo>
                    <a:pt x="688" y="406"/>
                  </a:lnTo>
                  <a:lnTo>
                    <a:pt x="690" y="406"/>
                  </a:lnTo>
                  <a:lnTo>
                    <a:pt x="690" y="405"/>
                  </a:lnTo>
                  <a:lnTo>
                    <a:pt x="690" y="403"/>
                  </a:lnTo>
                  <a:lnTo>
                    <a:pt x="688" y="403"/>
                  </a:lnTo>
                  <a:lnTo>
                    <a:pt x="688" y="402"/>
                  </a:lnTo>
                  <a:lnTo>
                    <a:pt x="688" y="400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2" y="402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3" y="406"/>
                  </a:lnTo>
                  <a:lnTo>
                    <a:pt x="696" y="405"/>
                  </a:lnTo>
                  <a:lnTo>
                    <a:pt x="696" y="406"/>
                  </a:lnTo>
                  <a:lnTo>
                    <a:pt x="695" y="411"/>
                  </a:lnTo>
                  <a:lnTo>
                    <a:pt x="696" y="411"/>
                  </a:lnTo>
                  <a:lnTo>
                    <a:pt x="696" y="411"/>
                  </a:lnTo>
                  <a:lnTo>
                    <a:pt x="698" y="409"/>
                  </a:lnTo>
                  <a:lnTo>
                    <a:pt x="696" y="409"/>
                  </a:lnTo>
                  <a:lnTo>
                    <a:pt x="698" y="408"/>
                  </a:lnTo>
                  <a:lnTo>
                    <a:pt x="698" y="408"/>
                  </a:lnTo>
                  <a:lnTo>
                    <a:pt x="699" y="408"/>
                  </a:lnTo>
                  <a:lnTo>
                    <a:pt x="701" y="409"/>
                  </a:lnTo>
                  <a:lnTo>
                    <a:pt x="701" y="408"/>
                  </a:lnTo>
                  <a:lnTo>
                    <a:pt x="702" y="406"/>
                  </a:lnTo>
                  <a:lnTo>
                    <a:pt x="702" y="405"/>
                  </a:lnTo>
                  <a:lnTo>
                    <a:pt x="704" y="406"/>
                  </a:lnTo>
                  <a:lnTo>
                    <a:pt x="705" y="408"/>
                  </a:lnTo>
                  <a:lnTo>
                    <a:pt x="709" y="409"/>
                  </a:lnTo>
                  <a:lnTo>
                    <a:pt x="710" y="411"/>
                  </a:lnTo>
                  <a:lnTo>
                    <a:pt x="712" y="413"/>
                  </a:lnTo>
                  <a:lnTo>
                    <a:pt x="715" y="413"/>
                  </a:lnTo>
                  <a:lnTo>
                    <a:pt x="716" y="411"/>
                  </a:lnTo>
                  <a:lnTo>
                    <a:pt x="718" y="409"/>
                  </a:lnTo>
                  <a:lnTo>
                    <a:pt x="719" y="409"/>
                  </a:lnTo>
                  <a:lnTo>
                    <a:pt x="719" y="406"/>
                  </a:lnTo>
                  <a:lnTo>
                    <a:pt x="719" y="405"/>
                  </a:lnTo>
                  <a:lnTo>
                    <a:pt x="718" y="405"/>
                  </a:lnTo>
                  <a:lnTo>
                    <a:pt x="718" y="405"/>
                  </a:lnTo>
                  <a:lnTo>
                    <a:pt x="716" y="405"/>
                  </a:lnTo>
                  <a:lnTo>
                    <a:pt x="715" y="405"/>
                  </a:lnTo>
                  <a:lnTo>
                    <a:pt x="715" y="403"/>
                  </a:lnTo>
                  <a:lnTo>
                    <a:pt x="715" y="402"/>
                  </a:lnTo>
                  <a:lnTo>
                    <a:pt x="715" y="402"/>
                  </a:lnTo>
                  <a:lnTo>
                    <a:pt x="716" y="402"/>
                  </a:lnTo>
                  <a:lnTo>
                    <a:pt x="716" y="400"/>
                  </a:lnTo>
                  <a:lnTo>
                    <a:pt x="718" y="399"/>
                  </a:lnTo>
                  <a:lnTo>
                    <a:pt x="718" y="397"/>
                  </a:lnTo>
                  <a:lnTo>
                    <a:pt x="719" y="397"/>
                  </a:lnTo>
                  <a:lnTo>
                    <a:pt x="719" y="399"/>
                  </a:lnTo>
                  <a:lnTo>
                    <a:pt x="719" y="399"/>
                  </a:lnTo>
                  <a:lnTo>
                    <a:pt x="718" y="400"/>
                  </a:lnTo>
                  <a:lnTo>
                    <a:pt x="718" y="402"/>
                  </a:lnTo>
                  <a:lnTo>
                    <a:pt x="719" y="400"/>
                  </a:lnTo>
                  <a:lnTo>
                    <a:pt x="721" y="397"/>
                  </a:lnTo>
                  <a:lnTo>
                    <a:pt x="722" y="396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9" y="389"/>
                  </a:lnTo>
                  <a:lnTo>
                    <a:pt x="729" y="389"/>
                  </a:lnTo>
                  <a:lnTo>
                    <a:pt x="730" y="388"/>
                  </a:lnTo>
                  <a:lnTo>
                    <a:pt x="732" y="386"/>
                  </a:lnTo>
                  <a:lnTo>
                    <a:pt x="732" y="386"/>
                  </a:lnTo>
                  <a:lnTo>
                    <a:pt x="732" y="386"/>
                  </a:lnTo>
                  <a:lnTo>
                    <a:pt x="732" y="383"/>
                  </a:lnTo>
                  <a:lnTo>
                    <a:pt x="732" y="383"/>
                  </a:lnTo>
                  <a:lnTo>
                    <a:pt x="733" y="383"/>
                  </a:lnTo>
                  <a:lnTo>
                    <a:pt x="741" y="385"/>
                  </a:lnTo>
                  <a:lnTo>
                    <a:pt x="742" y="385"/>
                  </a:lnTo>
                  <a:lnTo>
                    <a:pt x="739" y="386"/>
                  </a:lnTo>
                  <a:lnTo>
                    <a:pt x="733" y="389"/>
                  </a:lnTo>
                  <a:lnTo>
                    <a:pt x="730" y="391"/>
                  </a:lnTo>
                  <a:lnTo>
                    <a:pt x="732" y="391"/>
                  </a:lnTo>
                  <a:lnTo>
                    <a:pt x="738" y="388"/>
                  </a:lnTo>
                  <a:lnTo>
                    <a:pt x="745" y="388"/>
                  </a:lnTo>
                  <a:lnTo>
                    <a:pt x="745" y="386"/>
                  </a:lnTo>
                  <a:lnTo>
                    <a:pt x="745" y="385"/>
                  </a:lnTo>
                  <a:lnTo>
                    <a:pt x="745" y="383"/>
                  </a:lnTo>
                  <a:lnTo>
                    <a:pt x="745" y="383"/>
                  </a:lnTo>
                  <a:lnTo>
                    <a:pt x="747" y="382"/>
                  </a:lnTo>
                  <a:lnTo>
                    <a:pt x="747" y="382"/>
                  </a:lnTo>
                  <a:lnTo>
                    <a:pt x="747" y="382"/>
                  </a:lnTo>
                  <a:lnTo>
                    <a:pt x="747" y="380"/>
                  </a:lnTo>
                  <a:lnTo>
                    <a:pt x="747" y="379"/>
                  </a:lnTo>
                  <a:lnTo>
                    <a:pt x="747" y="379"/>
                  </a:lnTo>
                  <a:lnTo>
                    <a:pt x="747" y="377"/>
                  </a:lnTo>
                  <a:lnTo>
                    <a:pt x="747" y="376"/>
                  </a:lnTo>
                  <a:lnTo>
                    <a:pt x="750" y="373"/>
                  </a:lnTo>
                  <a:lnTo>
                    <a:pt x="750" y="371"/>
                  </a:lnTo>
                  <a:lnTo>
                    <a:pt x="750" y="366"/>
                  </a:lnTo>
                  <a:lnTo>
                    <a:pt x="750" y="365"/>
                  </a:lnTo>
                  <a:lnTo>
                    <a:pt x="752" y="363"/>
                  </a:lnTo>
                  <a:lnTo>
                    <a:pt x="758" y="356"/>
                  </a:lnTo>
                  <a:lnTo>
                    <a:pt x="759" y="353"/>
                  </a:lnTo>
                  <a:lnTo>
                    <a:pt x="759" y="353"/>
                  </a:lnTo>
                  <a:lnTo>
                    <a:pt x="756" y="354"/>
                  </a:lnTo>
                  <a:lnTo>
                    <a:pt x="752" y="360"/>
                  </a:lnTo>
                  <a:lnTo>
                    <a:pt x="749" y="362"/>
                  </a:lnTo>
                  <a:lnTo>
                    <a:pt x="749" y="363"/>
                  </a:lnTo>
                  <a:lnTo>
                    <a:pt x="747" y="363"/>
                  </a:lnTo>
                  <a:lnTo>
                    <a:pt x="745" y="362"/>
                  </a:lnTo>
                  <a:lnTo>
                    <a:pt x="745" y="360"/>
                  </a:lnTo>
                  <a:lnTo>
                    <a:pt x="744" y="360"/>
                  </a:lnTo>
                  <a:lnTo>
                    <a:pt x="742" y="359"/>
                  </a:lnTo>
                  <a:lnTo>
                    <a:pt x="742" y="356"/>
                  </a:lnTo>
                  <a:lnTo>
                    <a:pt x="742" y="354"/>
                  </a:lnTo>
                  <a:lnTo>
                    <a:pt x="753" y="354"/>
                  </a:lnTo>
                  <a:lnTo>
                    <a:pt x="755" y="354"/>
                  </a:lnTo>
                  <a:lnTo>
                    <a:pt x="755" y="353"/>
                  </a:lnTo>
                  <a:lnTo>
                    <a:pt x="755" y="351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0" y="345"/>
                  </a:lnTo>
                  <a:lnTo>
                    <a:pt x="749" y="343"/>
                  </a:lnTo>
                  <a:lnTo>
                    <a:pt x="753" y="340"/>
                  </a:lnTo>
                  <a:lnTo>
                    <a:pt x="765" y="345"/>
                  </a:lnTo>
                  <a:lnTo>
                    <a:pt x="764" y="343"/>
                  </a:lnTo>
                  <a:lnTo>
                    <a:pt x="765" y="342"/>
                  </a:lnTo>
                  <a:lnTo>
                    <a:pt x="764" y="340"/>
                  </a:lnTo>
                  <a:lnTo>
                    <a:pt x="759" y="339"/>
                  </a:lnTo>
                  <a:lnTo>
                    <a:pt x="759" y="339"/>
                  </a:lnTo>
                  <a:lnTo>
                    <a:pt x="758" y="336"/>
                  </a:lnTo>
                  <a:lnTo>
                    <a:pt x="756" y="333"/>
                  </a:lnTo>
                  <a:lnTo>
                    <a:pt x="756" y="331"/>
                  </a:lnTo>
                  <a:lnTo>
                    <a:pt x="756" y="329"/>
                  </a:lnTo>
                  <a:lnTo>
                    <a:pt x="756" y="329"/>
                  </a:lnTo>
                  <a:lnTo>
                    <a:pt x="752" y="328"/>
                  </a:lnTo>
                  <a:lnTo>
                    <a:pt x="750" y="326"/>
                  </a:lnTo>
                  <a:lnTo>
                    <a:pt x="750" y="325"/>
                  </a:lnTo>
                  <a:lnTo>
                    <a:pt x="752" y="323"/>
                  </a:lnTo>
                  <a:lnTo>
                    <a:pt x="752" y="320"/>
                  </a:lnTo>
                  <a:lnTo>
                    <a:pt x="750" y="320"/>
                  </a:lnTo>
                  <a:lnTo>
                    <a:pt x="749" y="320"/>
                  </a:lnTo>
                  <a:lnTo>
                    <a:pt x="749" y="320"/>
                  </a:lnTo>
                  <a:lnTo>
                    <a:pt x="747" y="319"/>
                  </a:lnTo>
                  <a:lnTo>
                    <a:pt x="753" y="320"/>
                  </a:lnTo>
                  <a:lnTo>
                    <a:pt x="755" y="322"/>
                  </a:lnTo>
                  <a:lnTo>
                    <a:pt x="756" y="325"/>
                  </a:lnTo>
                  <a:lnTo>
                    <a:pt x="758" y="326"/>
                  </a:lnTo>
                  <a:lnTo>
                    <a:pt x="759" y="334"/>
                  </a:lnTo>
                  <a:lnTo>
                    <a:pt x="761" y="336"/>
                  </a:lnTo>
                  <a:lnTo>
                    <a:pt x="762" y="336"/>
                  </a:lnTo>
                  <a:lnTo>
                    <a:pt x="765" y="337"/>
                  </a:lnTo>
                  <a:lnTo>
                    <a:pt x="782" y="333"/>
                  </a:lnTo>
                  <a:lnTo>
                    <a:pt x="786" y="329"/>
                  </a:lnTo>
                  <a:lnTo>
                    <a:pt x="787" y="329"/>
                  </a:lnTo>
                  <a:lnTo>
                    <a:pt x="786" y="328"/>
                  </a:lnTo>
                  <a:lnTo>
                    <a:pt x="784" y="325"/>
                  </a:lnTo>
                  <a:lnTo>
                    <a:pt x="782" y="322"/>
                  </a:lnTo>
                  <a:lnTo>
                    <a:pt x="782" y="322"/>
                  </a:lnTo>
                  <a:lnTo>
                    <a:pt x="784" y="320"/>
                  </a:lnTo>
                  <a:lnTo>
                    <a:pt x="784" y="320"/>
                  </a:lnTo>
                  <a:lnTo>
                    <a:pt x="784" y="319"/>
                  </a:lnTo>
                  <a:lnTo>
                    <a:pt x="787" y="320"/>
                  </a:lnTo>
                  <a:lnTo>
                    <a:pt x="795" y="320"/>
                  </a:lnTo>
                  <a:lnTo>
                    <a:pt x="798" y="320"/>
                  </a:lnTo>
                  <a:lnTo>
                    <a:pt x="798" y="317"/>
                  </a:lnTo>
                  <a:lnTo>
                    <a:pt x="796" y="316"/>
                  </a:lnTo>
                  <a:lnTo>
                    <a:pt x="789" y="312"/>
                  </a:lnTo>
                  <a:lnTo>
                    <a:pt x="790" y="311"/>
                  </a:lnTo>
                  <a:lnTo>
                    <a:pt x="798" y="314"/>
                  </a:lnTo>
                  <a:lnTo>
                    <a:pt x="799" y="314"/>
                  </a:lnTo>
                  <a:lnTo>
                    <a:pt x="801" y="311"/>
                  </a:lnTo>
                  <a:lnTo>
                    <a:pt x="802" y="311"/>
                  </a:lnTo>
                  <a:lnTo>
                    <a:pt x="802" y="309"/>
                  </a:lnTo>
                  <a:lnTo>
                    <a:pt x="802" y="308"/>
                  </a:lnTo>
                  <a:lnTo>
                    <a:pt x="802" y="306"/>
                  </a:lnTo>
                  <a:lnTo>
                    <a:pt x="801" y="306"/>
                  </a:lnTo>
                  <a:lnTo>
                    <a:pt x="796" y="302"/>
                  </a:lnTo>
                  <a:lnTo>
                    <a:pt x="786" y="299"/>
                  </a:lnTo>
                  <a:lnTo>
                    <a:pt x="781" y="296"/>
                  </a:lnTo>
                  <a:lnTo>
                    <a:pt x="782" y="296"/>
                  </a:lnTo>
                  <a:lnTo>
                    <a:pt x="787" y="297"/>
                  </a:lnTo>
                  <a:lnTo>
                    <a:pt x="795" y="296"/>
                  </a:lnTo>
                  <a:lnTo>
                    <a:pt x="801" y="299"/>
                  </a:lnTo>
                  <a:lnTo>
                    <a:pt x="804" y="300"/>
                  </a:lnTo>
                  <a:lnTo>
                    <a:pt x="807" y="297"/>
                  </a:lnTo>
                  <a:lnTo>
                    <a:pt x="807" y="294"/>
                  </a:lnTo>
                  <a:lnTo>
                    <a:pt x="799" y="291"/>
                  </a:lnTo>
                  <a:lnTo>
                    <a:pt x="795" y="288"/>
                  </a:lnTo>
                  <a:lnTo>
                    <a:pt x="795" y="286"/>
                  </a:lnTo>
                  <a:lnTo>
                    <a:pt x="795" y="285"/>
                  </a:lnTo>
                  <a:lnTo>
                    <a:pt x="793" y="283"/>
                  </a:lnTo>
                  <a:lnTo>
                    <a:pt x="792" y="282"/>
                  </a:lnTo>
                  <a:lnTo>
                    <a:pt x="792" y="282"/>
                  </a:lnTo>
                  <a:lnTo>
                    <a:pt x="769" y="279"/>
                  </a:lnTo>
                  <a:lnTo>
                    <a:pt x="769" y="279"/>
                  </a:lnTo>
                  <a:lnTo>
                    <a:pt x="782" y="277"/>
                  </a:lnTo>
                  <a:lnTo>
                    <a:pt x="786" y="274"/>
                  </a:lnTo>
                  <a:lnTo>
                    <a:pt x="786" y="274"/>
                  </a:lnTo>
                  <a:lnTo>
                    <a:pt x="784" y="272"/>
                  </a:lnTo>
                  <a:lnTo>
                    <a:pt x="784" y="271"/>
                  </a:lnTo>
                  <a:lnTo>
                    <a:pt x="782" y="269"/>
                  </a:lnTo>
                  <a:lnTo>
                    <a:pt x="786" y="271"/>
                  </a:lnTo>
                  <a:lnTo>
                    <a:pt x="789" y="274"/>
                  </a:lnTo>
                  <a:lnTo>
                    <a:pt x="793" y="276"/>
                  </a:lnTo>
                  <a:lnTo>
                    <a:pt x="796" y="277"/>
                  </a:lnTo>
                  <a:lnTo>
                    <a:pt x="796" y="279"/>
                  </a:lnTo>
                  <a:lnTo>
                    <a:pt x="798" y="279"/>
                  </a:lnTo>
                  <a:lnTo>
                    <a:pt x="799" y="282"/>
                  </a:lnTo>
                  <a:lnTo>
                    <a:pt x="799" y="283"/>
                  </a:lnTo>
                  <a:lnTo>
                    <a:pt x="799" y="285"/>
                  </a:lnTo>
                  <a:lnTo>
                    <a:pt x="801" y="286"/>
                  </a:lnTo>
                  <a:lnTo>
                    <a:pt x="806" y="285"/>
                  </a:lnTo>
                  <a:lnTo>
                    <a:pt x="812" y="286"/>
                  </a:lnTo>
                  <a:lnTo>
                    <a:pt x="813" y="286"/>
                  </a:lnTo>
                  <a:lnTo>
                    <a:pt x="815" y="283"/>
                  </a:lnTo>
                  <a:lnTo>
                    <a:pt x="816" y="283"/>
                  </a:lnTo>
                  <a:lnTo>
                    <a:pt x="816" y="282"/>
                  </a:lnTo>
                  <a:lnTo>
                    <a:pt x="816" y="280"/>
                  </a:lnTo>
                  <a:lnTo>
                    <a:pt x="815" y="279"/>
                  </a:lnTo>
                  <a:lnTo>
                    <a:pt x="816" y="277"/>
                  </a:lnTo>
                  <a:lnTo>
                    <a:pt x="819" y="276"/>
                  </a:lnTo>
                  <a:lnTo>
                    <a:pt x="821" y="274"/>
                  </a:lnTo>
                  <a:lnTo>
                    <a:pt x="822" y="272"/>
                  </a:lnTo>
                  <a:lnTo>
                    <a:pt x="822" y="269"/>
                  </a:lnTo>
                  <a:lnTo>
                    <a:pt x="822" y="268"/>
                  </a:lnTo>
                  <a:close/>
                  <a:moveTo>
                    <a:pt x="488" y="6"/>
                  </a:moveTo>
                  <a:lnTo>
                    <a:pt x="488" y="5"/>
                  </a:lnTo>
                  <a:lnTo>
                    <a:pt x="490" y="3"/>
                  </a:lnTo>
                  <a:lnTo>
                    <a:pt x="488" y="3"/>
                  </a:lnTo>
                  <a:lnTo>
                    <a:pt x="487" y="0"/>
                  </a:lnTo>
                  <a:lnTo>
                    <a:pt x="487" y="1"/>
                  </a:lnTo>
                  <a:lnTo>
                    <a:pt x="487" y="5"/>
                  </a:lnTo>
                  <a:lnTo>
                    <a:pt x="488" y="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71"/>
            <p:cNvSpPr>
              <a:spLocks/>
            </p:cNvSpPr>
            <p:nvPr/>
          </p:nvSpPr>
          <p:spPr bwMode="gray">
            <a:xfrm>
              <a:off x="7586663" y="6911976"/>
              <a:ext cx="800100" cy="488950"/>
            </a:xfrm>
            <a:custGeom>
              <a:avLst/>
              <a:gdLst>
                <a:gd name="T0" fmla="*/ 493 w 504"/>
                <a:gd name="T1" fmla="*/ 50 h 308"/>
                <a:gd name="T2" fmla="*/ 473 w 504"/>
                <a:gd name="T3" fmla="*/ 37 h 308"/>
                <a:gd name="T4" fmla="*/ 461 w 504"/>
                <a:gd name="T5" fmla="*/ 24 h 308"/>
                <a:gd name="T6" fmla="*/ 449 w 504"/>
                <a:gd name="T7" fmla="*/ 18 h 308"/>
                <a:gd name="T8" fmla="*/ 418 w 504"/>
                <a:gd name="T9" fmla="*/ 23 h 308"/>
                <a:gd name="T10" fmla="*/ 398 w 504"/>
                <a:gd name="T11" fmla="*/ 1 h 308"/>
                <a:gd name="T12" fmla="*/ 373 w 504"/>
                <a:gd name="T13" fmla="*/ 9 h 308"/>
                <a:gd name="T14" fmla="*/ 329 w 504"/>
                <a:gd name="T15" fmla="*/ 3 h 308"/>
                <a:gd name="T16" fmla="*/ 318 w 504"/>
                <a:gd name="T17" fmla="*/ 26 h 308"/>
                <a:gd name="T18" fmla="*/ 299 w 504"/>
                <a:gd name="T19" fmla="*/ 37 h 308"/>
                <a:gd name="T20" fmla="*/ 278 w 504"/>
                <a:gd name="T21" fmla="*/ 46 h 308"/>
                <a:gd name="T22" fmla="*/ 262 w 504"/>
                <a:gd name="T23" fmla="*/ 38 h 308"/>
                <a:gd name="T24" fmla="*/ 248 w 504"/>
                <a:gd name="T25" fmla="*/ 54 h 308"/>
                <a:gd name="T26" fmla="*/ 199 w 504"/>
                <a:gd name="T27" fmla="*/ 64 h 308"/>
                <a:gd name="T28" fmla="*/ 198 w 504"/>
                <a:gd name="T29" fmla="*/ 83 h 308"/>
                <a:gd name="T30" fmla="*/ 121 w 504"/>
                <a:gd name="T31" fmla="*/ 87 h 308"/>
                <a:gd name="T32" fmla="*/ 104 w 504"/>
                <a:gd name="T33" fmla="*/ 75 h 308"/>
                <a:gd name="T34" fmla="*/ 74 w 504"/>
                <a:gd name="T35" fmla="*/ 69 h 308"/>
                <a:gd name="T36" fmla="*/ 68 w 504"/>
                <a:gd name="T37" fmla="*/ 80 h 308"/>
                <a:gd name="T38" fmla="*/ 61 w 504"/>
                <a:gd name="T39" fmla="*/ 98 h 308"/>
                <a:gd name="T40" fmla="*/ 37 w 504"/>
                <a:gd name="T41" fmla="*/ 90 h 308"/>
                <a:gd name="T42" fmla="*/ 24 w 504"/>
                <a:gd name="T43" fmla="*/ 100 h 308"/>
                <a:gd name="T44" fmla="*/ 44 w 504"/>
                <a:gd name="T45" fmla="*/ 115 h 308"/>
                <a:gd name="T46" fmla="*/ 25 w 504"/>
                <a:gd name="T47" fmla="*/ 134 h 308"/>
                <a:gd name="T48" fmla="*/ 24 w 504"/>
                <a:gd name="T49" fmla="*/ 151 h 308"/>
                <a:gd name="T50" fmla="*/ 28 w 504"/>
                <a:gd name="T51" fmla="*/ 161 h 308"/>
                <a:gd name="T52" fmla="*/ 30 w 504"/>
                <a:gd name="T53" fmla="*/ 172 h 308"/>
                <a:gd name="T54" fmla="*/ 13 w 504"/>
                <a:gd name="T55" fmla="*/ 174 h 308"/>
                <a:gd name="T56" fmla="*/ 0 w 504"/>
                <a:gd name="T57" fmla="*/ 188 h 308"/>
                <a:gd name="T58" fmla="*/ 16 w 504"/>
                <a:gd name="T59" fmla="*/ 194 h 308"/>
                <a:gd name="T60" fmla="*/ 21 w 504"/>
                <a:gd name="T61" fmla="*/ 206 h 308"/>
                <a:gd name="T62" fmla="*/ 31 w 504"/>
                <a:gd name="T63" fmla="*/ 226 h 308"/>
                <a:gd name="T64" fmla="*/ 48 w 504"/>
                <a:gd name="T65" fmla="*/ 238 h 308"/>
                <a:gd name="T66" fmla="*/ 56 w 504"/>
                <a:gd name="T67" fmla="*/ 240 h 308"/>
                <a:gd name="T68" fmla="*/ 70 w 504"/>
                <a:gd name="T69" fmla="*/ 263 h 308"/>
                <a:gd name="T70" fmla="*/ 90 w 504"/>
                <a:gd name="T71" fmla="*/ 281 h 308"/>
                <a:gd name="T72" fmla="*/ 98 w 504"/>
                <a:gd name="T73" fmla="*/ 285 h 308"/>
                <a:gd name="T74" fmla="*/ 116 w 504"/>
                <a:gd name="T75" fmla="*/ 297 h 308"/>
                <a:gd name="T76" fmla="*/ 148 w 504"/>
                <a:gd name="T77" fmla="*/ 305 h 308"/>
                <a:gd name="T78" fmla="*/ 170 w 504"/>
                <a:gd name="T79" fmla="*/ 308 h 308"/>
                <a:gd name="T80" fmla="*/ 188 w 504"/>
                <a:gd name="T81" fmla="*/ 294 h 308"/>
                <a:gd name="T82" fmla="*/ 202 w 504"/>
                <a:gd name="T83" fmla="*/ 291 h 308"/>
                <a:gd name="T84" fmla="*/ 215 w 504"/>
                <a:gd name="T85" fmla="*/ 286 h 308"/>
                <a:gd name="T86" fmla="*/ 236 w 504"/>
                <a:gd name="T87" fmla="*/ 281 h 308"/>
                <a:gd name="T88" fmla="*/ 250 w 504"/>
                <a:gd name="T89" fmla="*/ 272 h 308"/>
                <a:gd name="T90" fmla="*/ 265 w 504"/>
                <a:gd name="T91" fmla="*/ 261 h 308"/>
                <a:gd name="T92" fmla="*/ 299 w 504"/>
                <a:gd name="T93" fmla="*/ 265 h 308"/>
                <a:gd name="T94" fmla="*/ 335 w 504"/>
                <a:gd name="T95" fmla="*/ 266 h 308"/>
                <a:gd name="T96" fmla="*/ 345 w 504"/>
                <a:gd name="T97" fmla="*/ 257 h 308"/>
                <a:gd name="T98" fmla="*/ 359 w 504"/>
                <a:gd name="T99" fmla="*/ 252 h 308"/>
                <a:gd name="T100" fmla="*/ 378 w 504"/>
                <a:gd name="T101" fmla="*/ 246 h 308"/>
                <a:gd name="T102" fmla="*/ 387 w 504"/>
                <a:gd name="T103" fmla="*/ 215 h 308"/>
                <a:gd name="T104" fmla="*/ 401 w 504"/>
                <a:gd name="T105" fmla="*/ 201 h 308"/>
                <a:gd name="T106" fmla="*/ 409 w 504"/>
                <a:gd name="T107" fmla="*/ 186 h 308"/>
                <a:gd name="T108" fmla="*/ 412 w 504"/>
                <a:gd name="T109" fmla="*/ 171 h 308"/>
                <a:gd name="T110" fmla="*/ 426 w 504"/>
                <a:gd name="T111" fmla="*/ 151 h 308"/>
                <a:gd name="T112" fmla="*/ 439 w 504"/>
                <a:gd name="T113" fmla="*/ 118 h 308"/>
                <a:gd name="T114" fmla="*/ 455 w 504"/>
                <a:gd name="T115" fmla="*/ 100 h 308"/>
                <a:gd name="T116" fmla="*/ 472 w 504"/>
                <a:gd name="T117" fmla="*/ 87 h 308"/>
                <a:gd name="T118" fmla="*/ 495 w 504"/>
                <a:gd name="T119" fmla="*/ 8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308">
                  <a:moveTo>
                    <a:pt x="503" y="66"/>
                  </a:moveTo>
                  <a:lnTo>
                    <a:pt x="501" y="66"/>
                  </a:lnTo>
                  <a:lnTo>
                    <a:pt x="503" y="63"/>
                  </a:lnTo>
                  <a:lnTo>
                    <a:pt x="503" y="61"/>
                  </a:lnTo>
                  <a:lnTo>
                    <a:pt x="504" y="61"/>
                  </a:lnTo>
                  <a:lnTo>
                    <a:pt x="504" y="60"/>
                  </a:lnTo>
                  <a:lnTo>
                    <a:pt x="503" y="58"/>
                  </a:lnTo>
                  <a:lnTo>
                    <a:pt x="503" y="57"/>
                  </a:lnTo>
                  <a:lnTo>
                    <a:pt x="501" y="55"/>
                  </a:lnTo>
                  <a:lnTo>
                    <a:pt x="500" y="52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5" y="50"/>
                  </a:lnTo>
                  <a:lnTo>
                    <a:pt x="493" y="50"/>
                  </a:lnTo>
                  <a:lnTo>
                    <a:pt x="492" y="50"/>
                  </a:lnTo>
                  <a:lnTo>
                    <a:pt x="492" y="52"/>
                  </a:lnTo>
                  <a:lnTo>
                    <a:pt x="486" y="52"/>
                  </a:lnTo>
                  <a:lnTo>
                    <a:pt x="484" y="52"/>
                  </a:lnTo>
                  <a:lnTo>
                    <a:pt x="484" y="52"/>
                  </a:lnTo>
                  <a:lnTo>
                    <a:pt x="484" y="52"/>
                  </a:lnTo>
                  <a:lnTo>
                    <a:pt x="483" y="49"/>
                  </a:lnTo>
                  <a:lnTo>
                    <a:pt x="483" y="46"/>
                  </a:lnTo>
                  <a:lnTo>
                    <a:pt x="481" y="43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3" y="37"/>
                  </a:lnTo>
                  <a:lnTo>
                    <a:pt x="472" y="37"/>
                  </a:lnTo>
                  <a:lnTo>
                    <a:pt x="470" y="37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7" y="37"/>
                  </a:lnTo>
                  <a:lnTo>
                    <a:pt x="467" y="37"/>
                  </a:lnTo>
                  <a:lnTo>
                    <a:pt x="467" y="37"/>
                  </a:lnTo>
                  <a:lnTo>
                    <a:pt x="466" y="35"/>
                  </a:lnTo>
                  <a:lnTo>
                    <a:pt x="463" y="30"/>
                  </a:lnTo>
                  <a:lnTo>
                    <a:pt x="461" y="27"/>
                  </a:lnTo>
                  <a:lnTo>
                    <a:pt x="461" y="26"/>
                  </a:lnTo>
                  <a:lnTo>
                    <a:pt x="461" y="24"/>
                  </a:lnTo>
                  <a:lnTo>
                    <a:pt x="461" y="24"/>
                  </a:lnTo>
                  <a:lnTo>
                    <a:pt x="461" y="23"/>
                  </a:lnTo>
                  <a:lnTo>
                    <a:pt x="461" y="23"/>
                  </a:lnTo>
                  <a:lnTo>
                    <a:pt x="458" y="23"/>
                  </a:lnTo>
                  <a:lnTo>
                    <a:pt x="458" y="21"/>
                  </a:lnTo>
                  <a:lnTo>
                    <a:pt x="459" y="18"/>
                  </a:lnTo>
                  <a:lnTo>
                    <a:pt x="456" y="17"/>
                  </a:lnTo>
                  <a:lnTo>
                    <a:pt x="455" y="17"/>
                  </a:lnTo>
                  <a:lnTo>
                    <a:pt x="452" y="17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49" y="18"/>
                  </a:lnTo>
                  <a:lnTo>
                    <a:pt x="449" y="20"/>
                  </a:lnTo>
                  <a:lnTo>
                    <a:pt x="447" y="21"/>
                  </a:lnTo>
                  <a:lnTo>
                    <a:pt x="446" y="21"/>
                  </a:lnTo>
                  <a:lnTo>
                    <a:pt x="441" y="21"/>
                  </a:lnTo>
                  <a:lnTo>
                    <a:pt x="439" y="21"/>
                  </a:lnTo>
                  <a:lnTo>
                    <a:pt x="438" y="21"/>
                  </a:lnTo>
                  <a:lnTo>
                    <a:pt x="435" y="21"/>
                  </a:lnTo>
                  <a:lnTo>
                    <a:pt x="433" y="21"/>
                  </a:lnTo>
                  <a:lnTo>
                    <a:pt x="430" y="23"/>
                  </a:lnTo>
                  <a:lnTo>
                    <a:pt x="427" y="23"/>
                  </a:lnTo>
                  <a:lnTo>
                    <a:pt x="424" y="26"/>
                  </a:lnTo>
                  <a:lnTo>
                    <a:pt x="421" y="26"/>
                  </a:lnTo>
                  <a:lnTo>
                    <a:pt x="419" y="24"/>
                  </a:lnTo>
                  <a:lnTo>
                    <a:pt x="418" y="23"/>
                  </a:lnTo>
                  <a:lnTo>
                    <a:pt x="415" y="21"/>
                  </a:lnTo>
                  <a:lnTo>
                    <a:pt x="412" y="15"/>
                  </a:lnTo>
                  <a:lnTo>
                    <a:pt x="410" y="14"/>
                  </a:lnTo>
                  <a:lnTo>
                    <a:pt x="410" y="9"/>
                  </a:lnTo>
                  <a:lnTo>
                    <a:pt x="409" y="7"/>
                  </a:lnTo>
                  <a:lnTo>
                    <a:pt x="407" y="7"/>
                  </a:lnTo>
                  <a:lnTo>
                    <a:pt x="406" y="7"/>
                  </a:lnTo>
                  <a:lnTo>
                    <a:pt x="404" y="7"/>
                  </a:lnTo>
                  <a:lnTo>
                    <a:pt x="404" y="6"/>
                  </a:lnTo>
                  <a:lnTo>
                    <a:pt x="402" y="4"/>
                  </a:lnTo>
                  <a:lnTo>
                    <a:pt x="402" y="3"/>
                  </a:lnTo>
                  <a:lnTo>
                    <a:pt x="401" y="3"/>
                  </a:lnTo>
                  <a:lnTo>
                    <a:pt x="401" y="3"/>
                  </a:lnTo>
                  <a:lnTo>
                    <a:pt x="398" y="1"/>
                  </a:lnTo>
                  <a:lnTo>
                    <a:pt x="396" y="0"/>
                  </a:lnTo>
                  <a:lnTo>
                    <a:pt x="393" y="1"/>
                  </a:lnTo>
                  <a:lnTo>
                    <a:pt x="390" y="1"/>
                  </a:lnTo>
                  <a:lnTo>
                    <a:pt x="389" y="1"/>
                  </a:lnTo>
                  <a:lnTo>
                    <a:pt x="387" y="3"/>
                  </a:lnTo>
                  <a:lnTo>
                    <a:pt x="387" y="4"/>
                  </a:lnTo>
                  <a:lnTo>
                    <a:pt x="387" y="4"/>
                  </a:lnTo>
                  <a:lnTo>
                    <a:pt x="386" y="6"/>
                  </a:lnTo>
                  <a:lnTo>
                    <a:pt x="384" y="7"/>
                  </a:lnTo>
                  <a:lnTo>
                    <a:pt x="384" y="6"/>
                  </a:lnTo>
                  <a:lnTo>
                    <a:pt x="382" y="6"/>
                  </a:lnTo>
                  <a:lnTo>
                    <a:pt x="381" y="4"/>
                  </a:lnTo>
                  <a:lnTo>
                    <a:pt x="379" y="6"/>
                  </a:lnTo>
                  <a:lnTo>
                    <a:pt x="373" y="9"/>
                  </a:lnTo>
                  <a:lnTo>
                    <a:pt x="372" y="7"/>
                  </a:lnTo>
                  <a:lnTo>
                    <a:pt x="370" y="6"/>
                  </a:lnTo>
                  <a:lnTo>
                    <a:pt x="367" y="6"/>
                  </a:lnTo>
                  <a:lnTo>
                    <a:pt x="366" y="4"/>
                  </a:lnTo>
                  <a:lnTo>
                    <a:pt x="364" y="6"/>
                  </a:lnTo>
                  <a:lnTo>
                    <a:pt x="361" y="4"/>
                  </a:lnTo>
                  <a:lnTo>
                    <a:pt x="356" y="3"/>
                  </a:lnTo>
                  <a:lnTo>
                    <a:pt x="355" y="3"/>
                  </a:lnTo>
                  <a:lnTo>
                    <a:pt x="353" y="1"/>
                  </a:lnTo>
                  <a:lnTo>
                    <a:pt x="352" y="0"/>
                  </a:lnTo>
                  <a:lnTo>
                    <a:pt x="350" y="0"/>
                  </a:lnTo>
                  <a:lnTo>
                    <a:pt x="349" y="0"/>
                  </a:lnTo>
                  <a:lnTo>
                    <a:pt x="333" y="3"/>
                  </a:lnTo>
                  <a:lnTo>
                    <a:pt x="329" y="3"/>
                  </a:lnTo>
                  <a:lnTo>
                    <a:pt x="327" y="4"/>
                  </a:lnTo>
                  <a:lnTo>
                    <a:pt x="327" y="4"/>
                  </a:lnTo>
                  <a:lnTo>
                    <a:pt x="327" y="6"/>
                  </a:lnTo>
                  <a:lnTo>
                    <a:pt x="327" y="7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5" y="10"/>
                  </a:lnTo>
                  <a:lnTo>
                    <a:pt x="325" y="10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1" y="17"/>
                  </a:lnTo>
                  <a:lnTo>
                    <a:pt x="318" y="26"/>
                  </a:lnTo>
                  <a:lnTo>
                    <a:pt x="316" y="29"/>
                  </a:lnTo>
                  <a:lnTo>
                    <a:pt x="315" y="32"/>
                  </a:lnTo>
                  <a:lnTo>
                    <a:pt x="313" y="34"/>
                  </a:lnTo>
                  <a:lnTo>
                    <a:pt x="312" y="35"/>
                  </a:lnTo>
                  <a:lnTo>
                    <a:pt x="310" y="35"/>
                  </a:lnTo>
                  <a:lnTo>
                    <a:pt x="309" y="34"/>
                  </a:lnTo>
                  <a:lnTo>
                    <a:pt x="307" y="32"/>
                  </a:lnTo>
                  <a:lnTo>
                    <a:pt x="307" y="34"/>
                  </a:lnTo>
                  <a:lnTo>
                    <a:pt x="304" y="35"/>
                  </a:lnTo>
                  <a:lnTo>
                    <a:pt x="304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299" y="37"/>
                  </a:lnTo>
                  <a:lnTo>
                    <a:pt x="299" y="37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6" y="41"/>
                  </a:lnTo>
                  <a:lnTo>
                    <a:pt x="293" y="43"/>
                  </a:lnTo>
                  <a:lnTo>
                    <a:pt x="293" y="43"/>
                  </a:lnTo>
                  <a:lnTo>
                    <a:pt x="290" y="44"/>
                  </a:lnTo>
                  <a:lnTo>
                    <a:pt x="289" y="46"/>
                  </a:lnTo>
                  <a:lnTo>
                    <a:pt x="285" y="49"/>
                  </a:lnTo>
                  <a:lnTo>
                    <a:pt x="284" y="49"/>
                  </a:lnTo>
                  <a:lnTo>
                    <a:pt x="282" y="49"/>
                  </a:lnTo>
                  <a:lnTo>
                    <a:pt x="279" y="46"/>
                  </a:lnTo>
                  <a:lnTo>
                    <a:pt x="278" y="46"/>
                  </a:lnTo>
                  <a:lnTo>
                    <a:pt x="275" y="46"/>
                  </a:lnTo>
                  <a:lnTo>
                    <a:pt x="275" y="46"/>
                  </a:lnTo>
                  <a:lnTo>
                    <a:pt x="273" y="46"/>
                  </a:lnTo>
                  <a:lnTo>
                    <a:pt x="273" y="44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3" y="41"/>
                  </a:lnTo>
                  <a:lnTo>
                    <a:pt x="270" y="40"/>
                  </a:lnTo>
                  <a:lnTo>
                    <a:pt x="267" y="41"/>
                  </a:lnTo>
                  <a:lnTo>
                    <a:pt x="267" y="41"/>
                  </a:lnTo>
                  <a:lnTo>
                    <a:pt x="265" y="38"/>
                  </a:lnTo>
                  <a:lnTo>
                    <a:pt x="264" y="38"/>
                  </a:lnTo>
                  <a:lnTo>
                    <a:pt x="264" y="38"/>
                  </a:lnTo>
                  <a:lnTo>
                    <a:pt x="262" y="38"/>
                  </a:lnTo>
                  <a:lnTo>
                    <a:pt x="256" y="40"/>
                  </a:lnTo>
                  <a:lnTo>
                    <a:pt x="255" y="40"/>
                  </a:lnTo>
                  <a:lnTo>
                    <a:pt x="253" y="41"/>
                  </a:lnTo>
                  <a:lnTo>
                    <a:pt x="253" y="46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50"/>
                  </a:lnTo>
                  <a:lnTo>
                    <a:pt x="252" y="50"/>
                  </a:lnTo>
                  <a:lnTo>
                    <a:pt x="248" y="54"/>
                  </a:lnTo>
                  <a:lnTo>
                    <a:pt x="238" y="54"/>
                  </a:lnTo>
                  <a:lnTo>
                    <a:pt x="233" y="57"/>
                  </a:lnTo>
                  <a:lnTo>
                    <a:pt x="233" y="57"/>
                  </a:lnTo>
                  <a:lnTo>
                    <a:pt x="224" y="55"/>
                  </a:lnTo>
                  <a:lnTo>
                    <a:pt x="219" y="55"/>
                  </a:lnTo>
                  <a:lnTo>
                    <a:pt x="218" y="55"/>
                  </a:lnTo>
                  <a:lnTo>
                    <a:pt x="216" y="55"/>
                  </a:lnTo>
                  <a:lnTo>
                    <a:pt x="215" y="57"/>
                  </a:lnTo>
                  <a:lnTo>
                    <a:pt x="211" y="57"/>
                  </a:lnTo>
                  <a:lnTo>
                    <a:pt x="204" y="58"/>
                  </a:lnTo>
                  <a:lnTo>
                    <a:pt x="202" y="60"/>
                  </a:lnTo>
                  <a:lnTo>
                    <a:pt x="201" y="63"/>
                  </a:lnTo>
                  <a:lnTo>
                    <a:pt x="201" y="64"/>
                  </a:lnTo>
                  <a:lnTo>
                    <a:pt x="199" y="64"/>
                  </a:lnTo>
                  <a:lnTo>
                    <a:pt x="198" y="64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72"/>
                  </a:lnTo>
                  <a:lnTo>
                    <a:pt x="198" y="75"/>
                  </a:lnTo>
                  <a:lnTo>
                    <a:pt x="198" y="77"/>
                  </a:lnTo>
                  <a:lnTo>
                    <a:pt x="199" y="80"/>
                  </a:lnTo>
                  <a:lnTo>
                    <a:pt x="202" y="81"/>
                  </a:lnTo>
                  <a:lnTo>
                    <a:pt x="202" y="81"/>
                  </a:lnTo>
                  <a:lnTo>
                    <a:pt x="201" y="81"/>
                  </a:lnTo>
                  <a:lnTo>
                    <a:pt x="199" y="83"/>
                  </a:lnTo>
                  <a:lnTo>
                    <a:pt x="198" y="83"/>
                  </a:lnTo>
                  <a:lnTo>
                    <a:pt x="195" y="86"/>
                  </a:lnTo>
                  <a:lnTo>
                    <a:pt x="193" y="87"/>
                  </a:lnTo>
                  <a:lnTo>
                    <a:pt x="191" y="87"/>
                  </a:lnTo>
                  <a:lnTo>
                    <a:pt x="188" y="87"/>
                  </a:lnTo>
                  <a:lnTo>
                    <a:pt x="187" y="86"/>
                  </a:lnTo>
                  <a:lnTo>
                    <a:pt x="182" y="86"/>
                  </a:lnTo>
                  <a:lnTo>
                    <a:pt x="168" y="87"/>
                  </a:lnTo>
                  <a:lnTo>
                    <a:pt x="162" y="90"/>
                  </a:lnTo>
                  <a:lnTo>
                    <a:pt x="159" y="90"/>
                  </a:lnTo>
                  <a:lnTo>
                    <a:pt x="150" y="89"/>
                  </a:lnTo>
                  <a:lnTo>
                    <a:pt x="133" y="90"/>
                  </a:lnTo>
                  <a:lnTo>
                    <a:pt x="128" y="90"/>
                  </a:lnTo>
                  <a:lnTo>
                    <a:pt x="122" y="89"/>
                  </a:lnTo>
                  <a:lnTo>
                    <a:pt x="121" y="87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16" y="84"/>
                  </a:lnTo>
                  <a:lnTo>
                    <a:pt x="114" y="83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0" y="81"/>
                  </a:lnTo>
                  <a:lnTo>
                    <a:pt x="108" y="81"/>
                  </a:lnTo>
                  <a:lnTo>
                    <a:pt x="107" y="77"/>
                  </a:lnTo>
                  <a:lnTo>
                    <a:pt x="105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2" y="75"/>
                  </a:lnTo>
                  <a:lnTo>
                    <a:pt x="94" y="64"/>
                  </a:lnTo>
                  <a:lnTo>
                    <a:pt x="93" y="63"/>
                  </a:lnTo>
                  <a:lnTo>
                    <a:pt x="88" y="63"/>
                  </a:lnTo>
                  <a:lnTo>
                    <a:pt x="87" y="61"/>
                  </a:lnTo>
                  <a:lnTo>
                    <a:pt x="84" y="61"/>
                  </a:lnTo>
                  <a:lnTo>
                    <a:pt x="81" y="61"/>
                  </a:lnTo>
                  <a:lnTo>
                    <a:pt x="79" y="63"/>
                  </a:lnTo>
                  <a:lnTo>
                    <a:pt x="73" y="66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2"/>
                  </a:lnTo>
                  <a:lnTo>
                    <a:pt x="73" y="74"/>
                  </a:lnTo>
                  <a:lnTo>
                    <a:pt x="73" y="75"/>
                  </a:lnTo>
                  <a:lnTo>
                    <a:pt x="73" y="77"/>
                  </a:lnTo>
                  <a:lnTo>
                    <a:pt x="71" y="77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0" y="80"/>
                  </a:lnTo>
                  <a:lnTo>
                    <a:pt x="70" y="81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0" y="84"/>
                  </a:lnTo>
                  <a:lnTo>
                    <a:pt x="70" y="87"/>
                  </a:lnTo>
                  <a:lnTo>
                    <a:pt x="71" y="89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5"/>
                  </a:lnTo>
                  <a:lnTo>
                    <a:pt x="73" y="95"/>
                  </a:lnTo>
                  <a:lnTo>
                    <a:pt x="71" y="95"/>
                  </a:lnTo>
                  <a:lnTo>
                    <a:pt x="65" y="97"/>
                  </a:lnTo>
                  <a:lnTo>
                    <a:pt x="61" y="98"/>
                  </a:lnTo>
                  <a:lnTo>
                    <a:pt x="57" y="97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48" y="98"/>
                  </a:lnTo>
                  <a:lnTo>
                    <a:pt x="47" y="98"/>
                  </a:lnTo>
                  <a:lnTo>
                    <a:pt x="47" y="97"/>
                  </a:lnTo>
                  <a:lnTo>
                    <a:pt x="45" y="95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4" y="92"/>
                  </a:lnTo>
                  <a:lnTo>
                    <a:pt x="37" y="90"/>
                  </a:lnTo>
                  <a:lnTo>
                    <a:pt x="34" y="90"/>
                  </a:lnTo>
                  <a:lnTo>
                    <a:pt x="33" y="90"/>
                  </a:lnTo>
                  <a:lnTo>
                    <a:pt x="31" y="92"/>
                  </a:lnTo>
                  <a:lnTo>
                    <a:pt x="31" y="94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8" y="97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5" y="97"/>
                  </a:lnTo>
                  <a:lnTo>
                    <a:pt x="25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5" y="101"/>
                  </a:lnTo>
                  <a:lnTo>
                    <a:pt x="28" y="103"/>
                  </a:lnTo>
                  <a:lnTo>
                    <a:pt x="31" y="103"/>
                  </a:lnTo>
                  <a:lnTo>
                    <a:pt x="36" y="104"/>
                  </a:lnTo>
                  <a:lnTo>
                    <a:pt x="37" y="104"/>
                  </a:lnTo>
                  <a:lnTo>
                    <a:pt x="39" y="104"/>
                  </a:lnTo>
                  <a:lnTo>
                    <a:pt x="41" y="106"/>
                  </a:lnTo>
                  <a:lnTo>
                    <a:pt x="42" y="109"/>
                  </a:lnTo>
                  <a:lnTo>
                    <a:pt x="41" y="111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4"/>
                  </a:lnTo>
                  <a:lnTo>
                    <a:pt x="44" y="115"/>
                  </a:lnTo>
                  <a:lnTo>
                    <a:pt x="44" y="117"/>
                  </a:lnTo>
                  <a:lnTo>
                    <a:pt x="41" y="118"/>
                  </a:lnTo>
                  <a:lnTo>
                    <a:pt x="41" y="118"/>
                  </a:lnTo>
                  <a:lnTo>
                    <a:pt x="41" y="123"/>
                  </a:lnTo>
                  <a:lnTo>
                    <a:pt x="39" y="124"/>
                  </a:lnTo>
                  <a:lnTo>
                    <a:pt x="36" y="126"/>
                  </a:lnTo>
                  <a:lnTo>
                    <a:pt x="28" y="131"/>
                  </a:lnTo>
                  <a:lnTo>
                    <a:pt x="28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9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8" y="141"/>
                  </a:lnTo>
                  <a:lnTo>
                    <a:pt x="28" y="143"/>
                  </a:lnTo>
                  <a:lnTo>
                    <a:pt x="28" y="144"/>
                  </a:lnTo>
                  <a:lnTo>
                    <a:pt x="27" y="144"/>
                  </a:lnTo>
                  <a:lnTo>
                    <a:pt x="24" y="146"/>
                  </a:lnTo>
                  <a:lnTo>
                    <a:pt x="24" y="146"/>
                  </a:lnTo>
                  <a:lnTo>
                    <a:pt x="25" y="147"/>
                  </a:lnTo>
                  <a:lnTo>
                    <a:pt x="24" y="151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7"/>
                  </a:lnTo>
                  <a:lnTo>
                    <a:pt x="25" y="157"/>
                  </a:lnTo>
                  <a:lnTo>
                    <a:pt x="27" y="157"/>
                  </a:lnTo>
                  <a:lnTo>
                    <a:pt x="28" y="157"/>
                  </a:lnTo>
                  <a:lnTo>
                    <a:pt x="30" y="157"/>
                  </a:lnTo>
                  <a:lnTo>
                    <a:pt x="31" y="158"/>
                  </a:lnTo>
                  <a:lnTo>
                    <a:pt x="30" y="158"/>
                  </a:lnTo>
                  <a:lnTo>
                    <a:pt x="28" y="161"/>
                  </a:lnTo>
                  <a:lnTo>
                    <a:pt x="27" y="163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30" y="167"/>
                  </a:lnTo>
                  <a:lnTo>
                    <a:pt x="28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8" y="171"/>
                  </a:lnTo>
                  <a:lnTo>
                    <a:pt x="28" y="172"/>
                  </a:lnTo>
                  <a:lnTo>
                    <a:pt x="30" y="172"/>
                  </a:lnTo>
                  <a:lnTo>
                    <a:pt x="28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2" y="172"/>
                  </a:lnTo>
                  <a:lnTo>
                    <a:pt x="21" y="172"/>
                  </a:lnTo>
                  <a:lnTo>
                    <a:pt x="17" y="172"/>
                  </a:lnTo>
                  <a:lnTo>
                    <a:pt x="14" y="172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3" y="175"/>
                  </a:lnTo>
                  <a:lnTo>
                    <a:pt x="11" y="175"/>
                  </a:lnTo>
                  <a:lnTo>
                    <a:pt x="11" y="175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80"/>
                  </a:lnTo>
                  <a:lnTo>
                    <a:pt x="7" y="180"/>
                  </a:lnTo>
                  <a:lnTo>
                    <a:pt x="5" y="181"/>
                  </a:lnTo>
                  <a:lnTo>
                    <a:pt x="5" y="183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0" y="188"/>
                  </a:lnTo>
                  <a:lnTo>
                    <a:pt x="2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3" y="188"/>
                  </a:lnTo>
                  <a:lnTo>
                    <a:pt x="14" y="188"/>
                  </a:lnTo>
                  <a:lnTo>
                    <a:pt x="14" y="189"/>
                  </a:lnTo>
                  <a:lnTo>
                    <a:pt x="16" y="189"/>
                  </a:lnTo>
                  <a:lnTo>
                    <a:pt x="16" y="191"/>
                  </a:lnTo>
                  <a:lnTo>
                    <a:pt x="17" y="191"/>
                  </a:lnTo>
                  <a:lnTo>
                    <a:pt x="17" y="191"/>
                  </a:lnTo>
                  <a:lnTo>
                    <a:pt x="17" y="192"/>
                  </a:lnTo>
                  <a:lnTo>
                    <a:pt x="17" y="192"/>
                  </a:lnTo>
                  <a:lnTo>
                    <a:pt x="16" y="194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6" y="200"/>
                  </a:lnTo>
                  <a:lnTo>
                    <a:pt x="17" y="201"/>
                  </a:lnTo>
                  <a:lnTo>
                    <a:pt x="17" y="203"/>
                  </a:lnTo>
                  <a:lnTo>
                    <a:pt x="19" y="203"/>
                  </a:lnTo>
                  <a:lnTo>
                    <a:pt x="19" y="203"/>
                  </a:lnTo>
                  <a:lnTo>
                    <a:pt x="19" y="206"/>
                  </a:lnTo>
                  <a:lnTo>
                    <a:pt x="21" y="206"/>
                  </a:lnTo>
                  <a:lnTo>
                    <a:pt x="21" y="206"/>
                  </a:lnTo>
                  <a:lnTo>
                    <a:pt x="21" y="206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4" y="209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1" y="211"/>
                  </a:lnTo>
                  <a:lnTo>
                    <a:pt x="21" y="211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2" y="214"/>
                  </a:lnTo>
                  <a:lnTo>
                    <a:pt x="25" y="215"/>
                  </a:lnTo>
                  <a:lnTo>
                    <a:pt x="28" y="220"/>
                  </a:lnTo>
                  <a:lnTo>
                    <a:pt x="30" y="221"/>
                  </a:lnTo>
                  <a:lnTo>
                    <a:pt x="31" y="226"/>
                  </a:lnTo>
                  <a:lnTo>
                    <a:pt x="31" y="228"/>
                  </a:lnTo>
                  <a:lnTo>
                    <a:pt x="34" y="229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29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9" y="229"/>
                  </a:lnTo>
                  <a:lnTo>
                    <a:pt x="41" y="229"/>
                  </a:lnTo>
                  <a:lnTo>
                    <a:pt x="42" y="231"/>
                  </a:lnTo>
                  <a:lnTo>
                    <a:pt x="44" y="232"/>
                  </a:lnTo>
                  <a:lnTo>
                    <a:pt x="45" y="234"/>
                  </a:lnTo>
                  <a:lnTo>
                    <a:pt x="45" y="237"/>
                  </a:lnTo>
                  <a:lnTo>
                    <a:pt x="48" y="238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38"/>
                  </a:lnTo>
                  <a:lnTo>
                    <a:pt x="51" y="238"/>
                  </a:lnTo>
                  <a:lnTo>
                    <a:pt x="53" y="238"/>
                  </a:lnTo>
                  <a:lnTo>
                    <a:pt x="53" y="238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3"/>
                  </a:lnTo>
                  <a:lnTo>
                    <a:pt x="57" y="246"/>
                  </a:lnTo>
                  <a:lnTo>
                    <a:pt x="59" y="248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61" y="251"/>
                  </a:lnTo>
                  <a:lnTo>
                    <a:pt x="62" y="254"/>
                  </a:lnTo>
                  <a:lnTo>
                    <a:pt x="65" y="257"/>
                  </a:lnTo>
                  <a:lnTo>
                    <a:pt x="65" y="258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3"/>
                  </a:lnTo>
                  <a:lnTo>
                    <a:pt x="71" y="265"/>
                  </a:lnTo>
                  <a:lnTo>
                    <a:pt x="74" y="266"/>
                  </a:lnTo>
                  <a:lnTo>
                    <a:pt x="76" y="268"/>
                  </a:lnTo>
                  <a:lnTo>
                    <a:pt x="82" y="268"/>
                  </a:lnTo>
                  <a:lnTo>
                    <a:pt x="82" y="268"/>
                  </a:lnTo>
                  <a:lnTo>
                    <a:pt x="85" y="272"/>
                  </a:lnTo>
                  <a:lnTo>
                    <a:pt x="87" y="272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8" y="278"/>
                  </a:lnTo>
                  <a:lnTo>
                    <a:pt x="88" y="280"/>
                  </a:lnTo>
                  <a:lnTo>
                    <a:pt x="90" y="280"/>
                  </a:lnTo>
                  <a:lnTo>
                    <a:pt x="91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88" y="281"/>
                  </a:lnTo>
                  <a:lnTo>
                    <a:pt x="88" y="281"/>
                  </a:lnTo>
                  <a:lnTo>
                    <a:pt x="90" y="283"/>
                  </a:lnTo>
                  <a:lnTo>
                    <a:pt x="90" y="283"/>
                  </a:lnTo>
                  <a:lnTo>
                    <a:pt x="91" y="283"/>
                  </a:lnTo>
                  <a:lnTo>
                    <a:pt x="91" y="283"/>
                  </a:lnTo>
                  <a:lnTo>
                    <a:pt x="93" y="281"/>
                  </a:lnTo>
                  <a:lnTo>
                    <a:pt x="93" y="285"/>
                  </a:lnTo>
                  <a:lnTo>
                    <a:pt x="93" y="285"/>
                  </a:lnTo>
                  <a:lnTo>
                    <a:pt x="93" y="285"/>
                  </a:lnTo>
                  <a:lnTo>
                    <a:pt x="94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98" y="286"/>
                  </a:lnTo>
                  <a:lnTo>
                    <a:pt x="98" y="286"/>
                  </a:lnTo>
                  <a:lnTo>
                    <a:pt x="98" y="286"/>
                  </a:lnTo>
                  <a:lnTo>
                    <a:pt x="99" y="286"/>
                  </a:lnTo>
                  <a:lnTo>
                    <a:pt x="99" y="285"/>
                  </a:lnTo>
                  <a:lnTo>
                    <a:pt x="105" y="286"/>
                  </a:lnTo>
                  <a:lnTo>
                    <a:pt x="108" y="286"/>
                  </a:lnTo>
                  <a:lnTo>
                    <a:pt x="111" y="288"/>
                  </a:lnTo>
                  <a:lnTo>
                    <a:pt x="114" y="291"/>
                  </a:lnTo>
                  <a:lnTo>
                    <a:pt x="116" y="292"/>
                  </a:lnTo>
                  <a:lnTo>
                    <a:pt x="116" y="292"/>
                  </a:lnTo>
                  <a:lnTo>
                    <a:pt x="116" y="294"/>
                  </a:lnTo>
                  <a:lnTo>
                    <a:pt x="116" y="295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9" y="297"/>
                  </a:lnTo>
                  <a:lnTo>
                    <a:pt x="127" y="300"/>
                  </a:lnTo>
                  <a:lnTo>
                    <a:pt x="130" y="301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3" y="305"/>
                  </a:lnTo>
                  <a:lnTo>
                    <a:pt x="133" y="303"/>
                  </a:lnTo>
                  <a:lnTo>
                    <a:pt x="133" y="303"/>
                  </a:lnTo>
                  <a:lnTo>
                    <a:pt x="139" y="303"/>
                  </a:lnTo>
                  <a:lnTo>
                    <a:pt x="148" y="305"/>
                  </a:lnTo>
                  <a:lnTo>
                    <a:pt x="148" y="305"/>
                  </a:lnTo>
                  <a:lnTo>
                    <a:pt x="150" y="305"/>
                  </a:lnTo>
                  <a:lnTo>
                    <a:pt x="150" y="303"/>
                  </a:lnTo>
                  <a:lnTo>
                    <a:pt x="151" y="303"/>
                  </a:lnTo>
                  <a:lnTo>
                    <a:pt x="158" y="303"/>
                  </a:lnTo>
                  <a:lnTo>
                    <a:pt x="159" y="303"/>
                  </a:lnTo>
                  <a:lnTo>
                    <a:pt x="161" y="306"/>
                  </a:lnTo>
                  <a:lnTo>
                    <a:pt x="162" y="306"/>
                  </a:lnTo>
                  <a:lnTo>
                    <a:pt x="164" y="306"/>
                  </a:lnTo>
                  <a:lnTo>
                    <a:pt x="165" y="308"/>
                  </a:lnTo>
                  <a:lnTo>
                    <a:pt x="167" y="306"/>
                  </a:lnTo>
                  <a:lnTo>
                    <a:pt x="168" y="306"/>
                  </a:lnTo>
                  <a:lnTo>
                    <a:pt x="168" y="306"/>
                  </a:lnTo>
                  <a:lnTo>
                    <a:pt x="170" y="308"/>
                  </a:lnTo>
                  <a:lnTo>
                    <a:pt x="170" y="308"/>
                  </a:lnTo>
                  <a:lnTo>
                    <a:pt x="171" y="308"/>
                  </a:lnTo>
                  <a:lnTo>
                    <a:pt x="171" y="308"/>
                  </a:lnTo>
                  <a:lnTo>
                    <a:pt x="171" y="308"/>
                  </a:lnTo>
                  <a:lnTo>
                    <a:pt x="173" y="308"/>
                  </a:lnTo>
                  <a:lnTo>
                    <a:pt x="175" y="306"/>
                  </a:lnTo>
                  <a:lnTo>
                    <a:pt x="176" y="303"/>
                  </a:lnTo>
                  <a:lnTo>
                    <a:pt x="178" y="303"/>
                  </a:lnTo>
                  <a:lnTo>
                    <a:pt x="179" y="303"/>
                  </a:lnTo>
                  <a:lnTo>
                    <a:pt x="181" y="303"/>
                  </a:lnTo>
                  <a:lnTo>
                    <a:pt x="184" y="300"/>
                  </a:lnTo>
                  <a:lnTo>
                    <a:pt x="185" y="298"/>
                  </a:lnTo>
                  <a:lnTo>
                    <a:pt x="187" y="295"/>
                  </a:lnTo>
                  <a:lnTo>
                    <a:pt x="188" y="294"/>
                  </a:lnTo>
                  <a:lnTo>
                    <a:pt x="188" y="294"/>
                  </a:lnTo>
                  <a:lnTo>
                    <a:pt x="188" y="294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90" y="291"/>
                  </a:lnTo>
                  <a:lnTo>
                    <a:pt x="191" y="291"/>
                  </a:lnTo>
                  <a:lnTo>
                    <a:pt x="196" y="291"/>
                  </a:lnTo>
                  <a:lnTo>
                    <a:pt x="199" y="292"/>
                  </a:lnTo>
                  <a:lnTo>
                    <a:pt x="199" y="292"/>
                  </a:lnTo>
                  <a:lnTo>
                    <a:pt x="201" y="292"/>
                  </a:lnTo>
                  <a:lnTo>
                    <a:pt x="201" y="292"/>
                  </a:lnTo>
                  <a:lnTo>
                    <a:pt x="201" y="291"/>
                  </a:lnTo>
                  <a:lnTo>
                    <a:pt x="202" y="289"/>
                  </a:lnTo>
                  <a:lnTo>
                    <a:pt x="202" y="291"/>
                  </a:lnTo>
                  <a:lnTo>
                    <a:pt x="202" y="291"/>
                  </a:lnTo>
                  <a:lnTo>
                    <a:pt x="204" y="291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7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13" y="288"/>
                  </a:lnTo>
                  <a:lnTo>
                    <a:pt x="215" y="289"/>
                  </a:lnTo>
                  <a:lnTo>
                    <a:pt x="215" y="289"/>
                  </a:lnTo>
                  <a:lnTo>
                    <a:pt x="215" y="288"/>
                  </a:lnTo>
                  <a:lnTo>
                    <a:pt x="215" y="288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6"/>
                  </a:lnTo>
                  <a:lnTo>
                    <a:pt x="215" y="286"/>
                  </a:lnTo>
                  <a:lnTo>
                    <a:pt x="216" y="285"/>
                  </a:lnTo>
                  <a:lnTo>
                    <a:pt x="219" y="285"/>
                  </a:lnTo>
                  <a:lnTo>
                    <a:pt x="219" y="285"/>
                  </a:lnTo>
                  <a:lnTo>
                    <a:pt x="219" y="281"/>
                  </a:lnTo>
                  <a:lnTo>
                    <a:pt x="221" y="278"/>
                  </a:lnTo>
                  <a:lnTo>
                    <a:pt x="222" y="278"/>
                  </a:lnTo>
                  <a:lnTo>
                    <a:pt x="224" y="278"/>
                  </a:lnTo>
                  <a:lnTo>
                    <a:pt x="225" y="281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33" y="283"/>
                  </a:lnTo>
                  <a:lnTo>
                    <a:pt x="236" y="283"/>
                  </a:lnTo>
                  <a:lnTo>
                    <a:pt x="236" y="281"/>
                  </a:lnTo>
                  <a:lnTo>
                    <a:pt x="238" y="280"/>
                  </a:lnTo>
                  <a:lnTo>
                    <a:pt x="238" y="278"/>
                  </a:lnTo>
                  <a:lnTo>
                    <a:pt x="238" y="278"/>
                  </a:lnTo>
                  <a:lnTo>
                    <a:pt x="239" y="277"/>
                  </a:lnTo>
                  <a:lnTo>
                    <a:pt x="241" y="277"/>
                  </a:lnTo>
                  <a:lnTo>
                    <a:pt x="244" y="277"/>
                  </a:lnTo>
                  <a:lnTo>
                    <a:pt x="244" y="277"/>
                  </a:lnTo>
                  <a:lnTo>
                    <a:pt x="245" y="275"/>
                  </a:lnTo>
                  <a:lnTo>
                    <a:pt x="245" y="275"/>
                  </a:lnTo>
                  <a:lnTo>
                    <a:pt x="247" y="274"/>
                  </a:lnTo>
                  <a:lnTo>
                    <a:pt x="247" y="274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50" y="272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3" y="269"/>
                  </a:lnTo>
                  <a:lnTo>
                    <a:pt x="253" y="268"/>
                  </a:lnTo>
                  <a:lnTo>
                    <a:pt x="253" y="268"/>
                  </a:lnTo>
                  <a:lnTo>
                    <a:pt x="253" y="266"/>
                  </a:lnTo>
                  <a:lnTo>
                    <a:pt x="253" y="265"/>
                  </a:lnTo>
                  <a:lnTo>
                    <a:pt x="255" y="263"/>
                  </a:lnTo>
                  <a:lnTo>
                    <a:pt x="258" y="263"/>
                  </a:lnTo>
                  <a:lnTo>
                    <a:pt x="258" y="263"/>
                  </a:lnTo>
                  <a:lnTo>
                    <a:pt x="261" y="263"/>
                  </a:lnTo>
                  <a:lnTo>
                    <a:pt x="264" y="261"/>
                  </a:lnTo>
                  <a:lnTo>
                    <a:pt x="265" y="261"/>
                  </a:lnTo>
                  <a:lnTo>
                    <a:pt x="267" y="263"/>
                  </a:lnTo>
                  <a:lnTo>
                    <a:pt x="268" y="263"/>
                  </a:lnTo>
                  <a:lnTo>
                    <a:pt x="273" y="266"/>
                  </a:lnTo>
                  <a:lnTo>
                    <a:pt x="275" y="266"/>
                  </a:lnTo>
                  <a:lnTo>
                    <a:pt x="281" y="265"/>
                  </a:lnTo>
                  <a:lnTo>
                    <a:pt x="282" y="263"/>
                  </a:lnTo>
                  <a:lnTo>
                    <a:pt x="285" y="263"/>
                  </a:lnTo>
                  <a:lnTo>
                    <a:pt x="290" y="263"/>
                  </a:lnTo>
                  <a:lnTo>
                    <a:pt x="293" y="265"/>
                  </a:lnTo>
                  <a:lnTo>
                    <a:pt x="295" y="265"/>
                  </a:lnTo>
                  <a:lnTo>
                    <a:pt x="298" y="265"/>
                  </a:lnTo>
                  <a:lnTo>
                    <a:pt x="298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301" y="266"/>
                  </a:lnTo>
                  <a:lnTo>
                    <a:pt x="301" y="266"/>
                  </a:lnTo>
                  <a:lnTo>
                    <a:pt x="301" y="266"/>
                  </a:lnTo>
                  <a:lnTo>
                    <a:pt x="304" y="265"/>
                  </a:lnTo>
                  <a:lnTo>
                    <a:pt x="304" y="266"/>
                  </a:lnTo>
                  <a:lnTo>
                    <a:pt x="309" y="269"/>
                  </a:lnTo>
                  <a:lnTo>
                    <a:pt x="312" y="265"/>
                  </a:lnTo>
                  <a:lnTo>
                    <a:pt x="324" y="265"/>
                  </a:lnTo>
                  <a:lnTo>
                    <a:pt x="325" y="261"/>
                  </a:lnTo>
                  <a:lnTo>
                    <a:pt x="329" y="263"/>
                  </a:lnTo>
                  <a:lnTo>
                    <a:pt x="332" y="263"/>
                  </a:lnTo>
                  <a:lnTo>
                    <a:pt x="333" y="266"/>
                  </a:lnTo>
                  <a:lnTo>
                    <a:pt x="335" y="266"/>
                  </a:lnTo>
                  <a:lnTo>
                    <a:pt x="335" y="266"/>
                  </a:lnTo>
                  <a:lnTo>
                    <a:pt x="336" y="266"/>
                  </a:lnTo>
                  <a:lnTo>
                    <a:pt x="339" y="266"/>
                  </a:lnTo>
                  <a:lnTo>
                    <a:pt x="341" y="265"/>
                  </a:lnTo>
                  <a:lnTo>
                    <a:pt x="342" y="263"/>
                  </a:lnTo>
                  <a:lnTo>
                    <a:pt x="342" y="263"/>
                  </a:lnTo>
                  <a:lnTo>
                    <a:pt x="342" y="263"/>
                  </a:lnTo>
                  <a:lnTo>
                    <a:pt x="342" y="261"/>
                  </a:lnTo>
                  <a:lnTo>
                    <a:pt x="344" y="260"/>
                  </a:lnTo>
                  <a:lnTo>
                    <a:pt x="344" y="260"/>
                  </a:lnTo>
                  <a:lnTo>
                    <a:pt x="345" y="260"/>
                  </a:lnTo>
                  <a:lnTo>
                    <a:pt x="345" y="260"/>
                  </a:lnTo>
                  <a:lnTo>
                    <a:pt x="345" y="260"/>
                  </a:lnTo>
                  <a:lnTo>
                    <a:pt x="345" y="258"/>
                  </a:lnTo>
                  <a:lnTo>
                    <a:pt x="345" y="257"/>
                  </a:lnTo>
                  <a:lnTo>
                    <a:pt x="345" y="255"/>
                  </a:lnTo>
                  <a:lnTo>
                    <a:pt x="345" y="255"/>
                  </a:lnTo>
                  <a:lnTo>
                    <a:pt x="349" y="252"/>
                  </a:lnTo>
                  <a:lnTo>
                    <a:pt x="349" y="252"/>
                  </a:lnTo>
                  <a:lnTo>
                    <a:pt x="350" y="252"/>
                  </a:lnTo>
                  <a:lnTo>
                    <a:pt x="352" y="251"/>
                  </a:lnTo>
                  <a:lnTo>
                    <a:pt x="353" y="251"/>
                  </a:lnTo>
                  <a:lnTo>
                    <a:pt x="353" y="252"/>
                  </a:lnTo>
                  <a:lnTo>
                    <a:pt x="355" y="252"/>
                  </a:lnTo>
                  <a:lnTo>
                    <a:pt x="356" y="254"/>
                  </a:lnTo>
                  <a:lnTo>
                    <a:pt x="356" y="254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9" y="252"/>
                  </a:lnTo>
                  <a:lnTo>
                    <a:pt x="362" y="254"/>
                  </a:lnTo>
                  <a:lnTo>
                    <a:pt x="364" y="254"/>
                  </a:lnTo>
                  <a:lnTo>
                    <a:pt x="364" y="254"/>
                  </a:lnTo>
                  <a:lnTo>
                    <a:pt x="366" y="254"/>
                  </a:lnTo>
                  <a:lnTo>
                    <a:pt x="366" y="254"/>
                  </a:lnTo>
                  <a:lnTo>
                    <a:pt x="366" y="254"/>
                  </a:lnTo>
                  <a:lnTo>
                    <a:pt x="367" y="255"/>
                  </a:lnTo>
                  <a:lnTo>
                    <a:pt x="369" y="255"/>
                  </a:lnTo>
                  <a:lnTo>
                    <a:pt x="372" y="251"/>
                  </a:lnTo>
                  <a:lnTo>
                    <a:pt x="373" y="251"/>
                  </a:lnTo>
                  <a:lnTo>
                    <a:pt x="375" y="251"/>
                  </a:lnTo>
                  <a:lnTo>
                    <a:pt x="376" y="251"/>
                  </a:lnTo>
                  <a:lnTo>
                    <a:pt x="376" y="249"/>
                  </a:lnTo>
                  <a:lnTo>
                    <a:pt x="378" y="246"/>
                  </a:lnTo>
                  <a:lnTo>
                    <a:pt x="378" y="241"/>
                  </a:lnTo>
                  <a:lnTo>
                    <a:pt x="378" y="240"/>
                  </a:lnTo>
                  <a:lnTo>
                    <a:pt x="379" y="238"/>
                  </a:lnTo>
                  <a:lnTo>
                    <a:pt x="381" y="237"/>
                  </a:lnTo>
                  <a:lnTo>
                    <a:pt x="384" y="237"/>
                  </a:lnTo>
                  <a:lnTo>
                    <a:pt x="386" y="235"/>
                  </a:lnTo>
                  <a:lnTo>
                    <a:pt x="386" y="234"/>
                  </a:lnTo>
                  <a:lnTo>
                    <a:pt x="384" y="229"/>
                  </a:lnTo>
                  <a:lnTo>
                    <a:pt x="384" y="228"/>
                  </a:lnTo>
                  <a:lnTo>
                    <a:pt x="384" y="226"/>
                  </a:lnTo>
                  <a:lnTo>
                    <a:pt x="386" y="223"/>
                  </a:lnTo>
                  <a:lnTo>
                    <a:pt x="387" y="221"/>
                  </a:lnTo>
                  <a:lnTo>
                    <a:pt x="387" y="218"/>
                  </a:lnTo>
                  <a:lnTo>
                    <a:pt x="387" y="215"/>
                  </a:lnTo>
                  <a:lnTo>
                    <a:pt x="389" y="214"/>
                  </a:lnTo>
                  <a:lnTo>
                    <a:pt x="390" y="214"/>
                  </a:lnTo>
                  <a:lnTo>
                    <a:pt x="393" y="214"/>
                  </a:lnTo>
                  <a:lnTo>
                    <a:pt x="395" y="214"/>
                  </a:lnTo>
                  <a:lnTo>
                    <a:pt x="396" y="211"/>
                  </a:lnTo>
                  <a:lnTo>
                    <a:pt x="396" y="209"/>
                  </a:lnTo>
                  <a:lnTo>
                    <a:pt x="396" y="209"/>
                  </a:lnTo>
                  <a:lnTo>
                    <a:pt x="398" y="208"/>
                  </a:lnTo>
                  <a:lnTo>
                    <a:pt x="399" y="208"/>
                  </a:lnTo>
                  <a:lnTo>
                    <a:pt x="401" y="208"/>
                  </a:lnTo>
                  <a:lnTo>
                    <a:pt x="402" y="204"/>
                  </a:lnTo>
                  <a:lnTo>
                    <a:pt x="402" y="203"/>
                  </a:lnTo>
                  <a:lnTo>
                    <a:pt x="401" y="201"/>
                  </a:lnTo>
                  <a:lnTo>
                    <a:pt x="401" y="201"/>
                  </a:lnTo>
                  <a:lnTo>
                    <a:pt x="401" y="201"/>
                  </a:lnTo>
                  <a:lnTo>
                    <a:pt x="399" y="200"/>
                  </a:lnTo>
                  <a:lnTo>
                    <a:pt x="399" y="200"/>
                  </a:lnTo>
                  <a:lnTo>
                    <a:pt x="401" y="200"/>
                  </a:lnTo>
                  <a:lnTo>
                    <a:pt x="401" y="198"/>
                  </a:lnTo>
                  <a:lnTo>
                    <a:pt x="401" y="198"/>
                  </a:lnTo>
                  <a:lnTo>
                    <a:pt x="402" y="194"/>
                  </a:lnTo>
                  <a:lnTo>
                    <a:pt x="404" y="192"/>
                  </a:lnTo>
                  <a:lnTo>
                    <a:pt x="406" y="191"/>
                  </a:lnTo>
                  <a:lnTo>
                    <a:pt x="407" y="189"/>
                  </a:lnTo>
                  <a:lnTo>
                    <a:pt x="409" y="189"/>
                  </a:lnTo>
                  <a:lnTo>
                    <a:pt x="409" y="188"/>
                  </a:lnTo>
                  <a:lnTo>
                    <a:pt x="409" y="186"/>
                  </a:lnTo>
                  <a:lnTo>
                    <a:pt x="409" y="186"/>
                  </a:lnTo>
                  <a:lnTo>
                    <a:pt x="409" y="184"/>
                  </a:lnTo>
                  <a:lnTo>
                    <a:pt x="409" y="183"/>
                  </a:lnTo>
                  <a:lnTo>
                    <a:pt x="409" y="183"/>
                  </a:lnTo>
                  <a:lnTo>
                    <a:pt x="409" y="183"/>
                  </a:lnTo>
                  <a:lnTo>
                    <a:pt x="413" y="180"/>
                  </a:lnTo>
                  <a:lnTo>
                    <a:pt x="413" y="178"/>
                  </a:lnTo>
                  <a:lnTo>
                    <a:pt x="415" y="174"/>
                  </a:lnTo>
                  <a:lnTo>
                    <a:pt x="415" y="174"/>
                  </a:lnTo>
                  <a:lnTo>
                    <a:pt x="415" y="174"/>
                  </a:lnTo>
                  <a:lnTo>
                    <a:pt x="415" y="172"/>
                  </a:lnTo>
                  <a:lnTo>
                    <a:pt x="413" y="172"/>
                  </a:lnTo>
                  <a:lnTo>
                    <a:pt x="413" y="172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5" y="166"/>
                  </a:lnTo>
                  <a:lnTo>
                    <a:pt x="416" y="164"/>
                  </a:lnTo>
                  <a:lnTo>
                    <a:pt x="421" y="163"/>
                  </a:lnTo>
                  <a:lnTo>
                    <a:pt x="423" y="161"/>
                  </a:lnTo>
                  <a:lnTo>
                    <a:pt x="423" y="160"/>
                  </a:lnTo>
                  <a:lnTo>
                    <a:pt x="423" y="158"/>
                  </a:lnTo>
                  <a:lnTo>
                    <a:pt x="423" y="157"/>
                  </a:lnTo>
                  <a:lnTo>
                    <a:pt x="424" y="157"/>
                  </a:lnTo>
                  <a:lnTo>
                    <a:pt x="426" y="155"/>
                  </a:lnTo>
                  <a:lnTo>
                    <a:pt x="426" y="154"/>
                  </a:lnTo>
                  <a:lnTo>
                    <a:pt x="427" y="152"/>
                  </a:lnTo>
                  <a:lnTo>
                    <a:pt x="427" y="152"/>
                  </a:lnTo>
                  <a:lnTo>
                    <a:pt x="426" y="151"/>
                  </a:lnTo>
                  <a:lnTo>
                    <a:pt x="427" y="149"/>
                  </a:lnTo>
                  <a:lnTo>
                    <a:pt x="427" y="147"/>
                  </a:lnTo>
                  <a:lnTo>
                    <a:pt x="427" y="146"/>
                  </a:lnTo>
                  <a:lnTo>
                    <a:pt x="429" y="146"/>
                  </a:lnTo>
                  <a:lnTo>
                    <a:pt x="429" y="141"/>
                  </a:lnTo>
                  <a:lnTo>
                    <a:pt x="429" y="140"/>
                  </a:lnTo>
                  <a:lnTo>
                    <a:pt x="432" y="137"/>
                  </a:lnTo>
                  <a:lnTo>
                    <a:pt x="433" y="135"/>
                  </a:lnTo>
                  <a:lnTo>
                    <a:pt x="435" y="134"/>
                  </a:lnTo>
                  <a:lnTo>
                    <a:pt x="438" y="132"/>
                  </a:lnTo>
                  <a:lnTo>
                    <a:pt x="439" y="129"/>
                  </a:lnTo>
                  <a:lnTo>
                    <a:pt x="439" y="126"/>
                  </a:lnTo>
                  <a:lnTo>
                    <a:pt x="439" y="123"/>
                  </a:lnTo>
                  <a:lnTo>
                    <a:pt x="439" y="118"/>
                  </a:lnTo>
                  <a:lnTo>
                    <a:pt x="439" y="117"/>
                  </a:lnTo>
                  <a:lnTo>
                    <a:pt x="443" y="114"/>
                  </a:lnTo>
                  <a:lnTo>
                    <a:pt x="447" y="111"/>
                  </a:lnTo>
                  <a:lnTo>
                    <a:pt x="450" y="109"/>
                  </a:lnTo>
                  <a:lnTo>
                    <a:pt x="450" y="109"/>
                  </a:lnTo>
                  <a:lnTo>
                    <a:pt x="452" y="109"/>
                  </a:lnTo>
                  <a:lnTo>
                    <a:pt x="452" y="107"/>
                  </a:lnTo>
                  <a:lnTo>
                    <a:pt x="452" y="107"/>
                  </a:lnTo>
                  <a:lnTo>
                    <a:pt x="452" y="107"/>
                  </a:lnTo>
                  <a:lnTo>
                    <a:pt x="452" y="106"/>
                  </a:lnTo>
                  <a:lnTo>
                    <a:pt x="452" y="106"/>
                  </a:lnTo>
                  <a:lnTo>
                    <a:pt x="455" y="103"/>
                  </a:lnTo>
                  <a:lnTo>
                    <a:pt x="455" y="101"/>
                  </a:lnTo>
                  <a:lnTo>
                    <a:pt x="455" y="100"/>
                  </a:lnTo>
                  <a:lnTo>
                    <a:pt x="455" y="98"/>
                  </a:lnTo>
                  <a:lnTo>
                    <a:pt x="455" y="98"/>
                  </a:lnTo>
                  <a:lnTo>
                    <a:pt x="456" y="97"/>
                  </a:lnTo>
                  <a:lnTo>
                    <a:pt x="458" y="97"/>
                  </a:lnTo>
                  <a:lnTo>
                    <a:pt x="459" y="94"/>
                  </a:lnTo>
                  <a:lnTo>
                    <a:pt x="459" y="94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7" y="92"/>
                  </a:lnTo>
                  <a:lnTo>
                    <a:pt x="469" y="92"/>
                  </a:lnTo>
                  <a:lnTo>
                    <a:pt x="469" y="92"/>
                  </a:lnTo>
                  <a:lnTo>
                    <a:pt x="470" y="90"/>
                  </a:lnTo>
                  <a:lnTo>
                    <a:pt x="472" y="87"/>
                  </a:lnTo>
                  <a:lnTo>
                    <a:pt x="473" y="86"/>
                  </a:lnTo>
                  <a:lnTo>
                    <a:pt x="479" y="89"/>
                  </a:lnTo>
                  <a:lnTo>
                    <a:pt x="481" y="89"/>
                  </a:lnTo>
                  <a:lnTo>
                    <a:pt x="484" y="89"/>
                  </a:lnTo>
                  <a:lnTo>
                    <a:pt x="487" y="87"/>
                  </a:lnTo>
                  <a:lnTo>
                    <a:pt x="489" y="86"/>
                  </a:lnTo>
                  <a:lnTo>
                    <a:pt x="490" y="84"/>
                  </a:lnTo>
                  <a:lnTo>
                    <a:pt x="492" y="83"/>
                  </a:lnTo>
                  <a:lnTo>
                    <a:pt x="493" y="83"/>
                  </a:lnTo>
                  <a:lnTo>
                    <a:pt x="495" y="83"/>
                  </a:lnTo>
                  <a:lnTo>
                    <a:pt x="495" y="81"/>
                  </a:lnTo>
                  <a:lnTo>
                    <a:pt x="496" y="81"/>
                  </a:lnTo>
                  <a:lnTo>
                    <a:pt x="496" y="80"/>
                  </a:lnTo>
                  <a:lnTo>
                    <a:pt x="495" y="80"/>
                  </a:lnTo>
                  <a:lnTo>
                    <a:pt x="495" y="78"/>
                  </a:lnTo>
                  <a:lnTo>
                    <a:pt x="496" y="77"/>
                  </a:lnTo>
                  <a:lnTo>
                    <a:pt x="498" y="75"/>
                  </a:lnTo>
                  <a:lnTo>
                    <a:pt x="501" y="75"/>
                  </a:lnTo>
                  <a:lnTo>
                    <a:pt x="501" y="74"/>
                  </a:lnTo>
                  <a:lnTo>
                    <a:pt x="504" y="70"/>
                  </a:lnTo>
                  <a:lnTo>
                    <a:pt x="504" y="69"/>
                  </a:lnTo>
                  <a:lnTo>
                    <a:pt x="503" y="66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72"/>
            <p:cNvSpPr>
              <a:spLocks/>
            </p:cNvSpPr>
            <p:nvPr/>
          </p:nvSpPr>
          <p:spPr bwMode="gray">
            <a:xfrm>
              <a:off x="7586663" y="6911976"/>
              <a:ext cx="800100" cy="488950"/>
            </a:xfrm>
            <a:custGeom>
              <a:avLst/>
              <a:gdLst>
                <a:gd name="T0" fmla="*/ 493 w 504"/>
                <a:gd name="T1" fmla="*/ 50 h 308"/>
                <a:gd name="T2" fmla="*/ 473 w 504"/>
                <a:gd name="T3" fmla="*/ 37 h 308"/>
                <a:gd name="T4" fmla="*/ 461 w 504"/>
                <a:gd name="T5" fmla="*/ 24 h 308"/>
                <a:gd name="T6" fmla="*/ 449 w 504"/>
                <a:gd name="T7" fmla="*/ 18 h 308"/>
                <a:gd name="T8" fmla="*/ 418 w 504"/>
                <a:gd name="T9" fmla="*/ 23 h 308"/>
                <a:gd name="T10" fmla="*/ 398 w 504"/>
                <a:gd name="T11" fmla="*/ 1 h 308"/>
                <a:gd name="T12" fmla="*/ 373 w 504"/>
                <a:gd name="T13" fmla="*/ 9 h 308"/>
                <a:gd name="T14" fmla="*/ 329 w 504"/>
                <a:gd name="T15" fmla="*/ 3 h 308"/>
                <a:gd name="T16" fmla="*/ 318 w 504"/>
                <a:gd name="T17" fmla="*/ 26 h 308"/>
                <a:gd name="T18" fmla="*/ 299 w 504"/>
                <a:gd name="T19" fmla="*/ 37 h 308"/>
                <a:gd name="T20" fmla="*/ 278 w 504"/>
                <a:gd name="T21" fmla="*/ 46 h 308"/>
                <a:gd name="T22" fmla="*/ 262 w 504"/>
                <a:gd name="T23" fmla="*/ 38 h 308"/>
                <a:gd name="T24" fmla="*/ 248 w 504"/>
                <a:gd name="T25" fmla="*/ 54 h 308"/>
                <a:gd name="T26" fmla="*/ 199 w 504"/>
                <a:gd name="T27" fmla="*/ 64 h 308"/>
                <a:gd name="T28" fmla="*/ 198 w 504"/>
                <a:gd name="T29" fmla="*/ 83 h 308"/>
                <a:gd name="T30" fmla="*/ 121 w 504"/>
                <a:gd name="T31" fmla="*/ 87 h 308"/>
                <a:gd name="T32" fmla="*/ 104 w 504"/>
                <a:gd name="T33" fmla="*/ 75 h 308"/>
                <a:gd name="T34" fmla="*/ 74 w 504"/>
                <a:gd name="T35" fmla="*/ 69 h 308"/>
                <a:gd name="T36" fmla="*/ 68 w 504"/>
                <a:gd name="T37" fmla="*/ 80 h 308"/>
                <a:gd name="T38" fmla="*/ 61 w 504"/>
                <a:gd name="T39" fmla="*/ 98 h 308"/>
                <a:gd name="T40" fmla="*/ 37 w 504"/>
                <a:gd name="T41" fmla="*/ 90 h 308"/>
                <a:gd name="T42" fmla="*/ 24 w 504"/>
                <a:gd name="T43" fmla="*/ 100 h 308"/>
                <a:gd name="T44" fmla="*/ 44 w 504"/>
                <a:gd name="T45" fmla="*/ 115 h 308"/>
                <a:gd name="T46" fmla="*/ 25 w 504"/>
                <a:gd name="T47" fmla="*/ 134 h 308"/>
                <a:gd name="T48" fmla="*/ 24 w 504"/>
                <a:gd name="T49" fmla="*/ 151 h 308"/>
                <a:gd name="T50" fmla="*/ 28 w 504"/>
                <a:gd name="T51" fmla="*/ 161 h 308"/>
                <a:gd name="T52" fmla="*/ 30 w 504"/>
                <a:gd name="T53" fmla="*/ 172 h 308"/>
                <a:gd name="T54" fmla="*/ 13 w 504"/>
                <a:gd name="T55" fmla="*/ 174 h 308"/>
                <a:gd name="T56" fmla="*/ 0 w 504"/>
                <a:gd name="T57" fmla="*/ 188 h 308"/>
                <a:gd name="T58" fmla="*/ 16 w 504"/>
                <a:gd name="T59" fmla="*/ 194 h 308"/>
                <a:gd name="T60" fmla="*/ 21 w 504"/>
                <a:gd name="T61" fmla="*/ 206 h 308"/>
                <a:gd name="T62" fmla="*/ 31 w 504"/>
                <a:gd name="T63" fmla="*/ 226 h 308"/>
                <a:gd name="T64" fmla="*/ 48 w 504"/>
                <a:gd name="T65" fmla="*/ 238 h 308"/>
                <a:gd name="T66" fmla="*/ 56 w 504"/>
                <a:gd name="T67" fmla="*/ 240 h 308"/>
                <a:gd name="T68" fmla="*/ 70 w 504"/>
                <a:gd name="T69" fmla="*/ 263 h 308"/>
                <a:gd name="T70" fmla="*/ 90 w 504"/>
                <a:gd name="T71" fmla="*/ 281 h 308"/>
                <a:gd name="T72" fmla="*/ 98 w 504"/>
                <a:gd name="T73" fmla="*/ 285 h 308"/>
                <a:gd name="T74" fmla="*/ 116 w 504"/>
                <a:gd name="T75" fmla="*/ 297 h 308"/>
                <a:gd name="T76" fmla="*/ 148 w 504"/>
                <a:gd name="T77" fmla="*/ 305 h 308"/>
                <a:gd name="T78" fmla="*/ 170 w 504"/>
                <a:gd name="T79" fmla="*/ 308 h 308"/>
                <a:gd name="T80" fmla="*/ 188 w 504"/>
                <a:gd name="T81" fmla="*/ 294 h 308"/>
                <a:gd name="T82" fmla="*/ 202 w 504"/>
                <a:gd name="T83" fmla="*/ 291 h 308"/>
                <a:gd name="T84" fmla="*/ 215 w 504"/>
                <a:gd name="T85" fmla="*/ 286 h 308"/>
                <a:gd name="T86" fmla="*/ 236 w 504"/>
                <a:gd name="T87" fmla="*/ 281 h 308"/>
                <a:gd name="T88" fmla="*/ 250 w 504"/>
                <a:gd name="T89" fmla="*/ 272 h 308"/>
                <a:gd name="T90" fmla="*/ 265 w 504"/>
                <a:gd name="T91" fmla="*/ 261 h 308"/>
                <a:gd name="T92" fmla="*/ 299 w 504"/>
                <a:gd name="T93" fmla="*/ 265 h 308"/>
                <a:gd name="T94" fmla="*/ 335 w 504"/>
                <a:gd name="T95" fmla="*/ 266 h 308"/>
                <a:gd name="T96" fmla="*/ 345 w 504"/>
                <a:gd name="T97" fmla="*/ 257 h 308"/>
                <a:gd name="T98" fmla="*/ 359 w 504"/>
                <a:gd name="T99" fmla="*/ 252 h 308"/>
                <a:gd name="T100" fmla="*/ 378 w 504"/>
                <a:gd name="T101" fmla="*/ 246 h 308"/>
                <a:gd name="T102" fmla="*/ 387 w 504"/>
                <a:gd name="T103" fmla="*/ 215 h 308"/>
                <a:gd name="T104" fmla="*/ 401 w 504"/>
                <a:gd name="T105" fmla="*/ 201 h 308"/>
                <a:gd name="T106" fmla="*/ 409 w 504"/>
                <a:gd name="T107" fmla="*/ 186 h 308"/>
                <a:gd name="T108" fmla="*/ 412 w 504"/>
                <a:gd name="T109" fmla="*/ 171 h 308"/>
                <a:gd name="T110" fmla="*/ 426 w 504"/>
                <a:gd name="T111" fmla="*/ 151 h 308"/>
                <a:gd name="T112" fmla="*/ 439 w 504"/>
                <a:gd name="T113" fmla="*/ 118 h 308"/>
                <a:gd name="T114" fmla="*/ 455 w 504"/>
                <a:gd name="T115" fmla="*/ 100 h 308"/>
                <a:gd name="T116" fmla="*/ 472 w 504"/>
                <a:gd name="T117" fmla="*/ 87 h 308"/>
                <a:gd name="T118" fmla="*/ 495 w 504"/>
                <a:gd name="T119" fmla="*/ 8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4" h="308">
                  <a:moveTo>
                    <a:pt x="503" y="66"/>
                  </a:moveTo>
                  <a:lnTo>
                    <a:pt x="501" y="66"/>
                  </a:lnTo>
                  <a:lnTo>
                    <a:pt x="503" y="63"/>
                  </a:lnTo>
                  <a:lnTo>
                    <a:pt x="503" y="61"/>
                  </a:lnTo>
                  <a:lnTo>
                    <a:pt x="504" y="61"/>
                  </a:lnTo>
                  <a:lnTo>
                    <a:pt x="504" y="60"/>
                  </a:lnTo>
                  <a:lnTo>
                    <a:pt x="503" y="58"/>
                  </a:lnTo>
                  <a:lnTo>
                    <a:pt x="503" y="57"/>
                  </a:lnTo>
                  <a:lnTo>
                    <a:pt x="501" y="55"/>
                  </a:lnTo>
                  <a:lnTo>
                    <a:pt x="500" y="52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5" y="50"/>
                  </a:lnTo>
                  <a:lnTo>
                    <a:pt x="493" y="50"/>
                  </a:lnTo>
                  <a:lnTo>
                    <a:pt x="492" y="50"/>
                  </a:lnTo>
                  <a:lnTo>
                    <a:pt x="492" y="52"/>
                  </a:lnTo>
                  <a:lnTo>
                    <a:pt x="486" y="52"/>
                  </a:lnTo>
                  <a:lnTo>
                    <a:pt x="484" y="52"/>
                  </a:lnTo>
                  <a:lnTo>
                    <a:pt x="484" y="52"/>
                  </a:lnTo>
                  <a:lnTo>
                    <a:pt x="484" y="52"/>
                  </a:lnTo>
                  <a:lnTo>
                    <a:pt x="483" y="49"/>
                  </a:lnTo>
                  <a:lnTo>
                    <a:pt x="483" y="46"/>
                  </a:lnTo>
                  <a:lnTo>
                    <a:pt x="481" y="43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5" y="35"/>
                  </a:lnTo>
                  <a:lnTo>
                    <a:pt x="473" y="37"/>
                  </a:lnTo>
                  <a:lnTo>
                    <a:pt x="472" y="37"/>
                  </a:lnTo>
                  <a:lnTo>
                    <a:pt x="470" y="37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9" y="35"/>
                  </a:lnTo>
                  <a:lnTo>
                    <a:pt x="467" y="37"/>
                  </a:lnTo>
                  <a:lnTo>
                    <a:pt x="467" y="37"/>
                  </a:lnTo>
                  <a:lnTo>
                    <a:pt x="467" y="37"/>
                  </a:lnTo>
                  <a:lnTo>
                    <a:pt x="466" y="35"/>
                  </a:lnTo>
                  <a:lnTo>
                    <a:pt x="463" y="30"/>
                  </a:lnTo>
                  <a:lnTo>
                    <a:pt x="461" y="27"/>
                  </a:lnTo>
                  <a:lnTo>
                    <a:pt x="461" y="26"/>
                  </a:lnTo>
                  <a:lnTo>
                    <a:pt x="461" y="24"/>
                  </a:lnTo>
                  <a:lnTo>
                    <a:pt x="461" y="24"/>
                  </a:lnTo>
                  <a:lnTo>
                    <a:pt x="461" y="23"/>
                  </a:lnTo>
                  <a:lnTo>
                    <a:pt x="461" y="23"/>
                  </a:lnTo>
                  <a:lnTo>
                    <a:pt x="458" y="23"/>
                  </a:lnTo>
                  <a:lnTo>
                    <a:pt x="458" y="21"/>
                  </a:lnTo>
                  <a:lnTo>
                    <a:pt x="459" y="18"/>
                  </a:lnTo>
                  <a:lnTo>
                    <a:pt x="456" y="17"/>
                  </a:lnTo>
                  <a:lnTo>
                    <a:pt x="455" y="17"/>
                  </a:lnTo>
                  <a:lnTo>
                    <a:pt x="452" y="17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52" y="18"/>
                  </a:lnTo>
                  <a:lnTo>
                    <a:pt x="449" y="18"/>
                  </a:lnTo>
                  <a:lnTo>
                    <a:pt x="449" y="20"/>
                  </a:lnTo>
                  <a:lnTo>
                    <a:pt x="447" y="21"/>
                  </a:lnTo>
                  <a:lnTo>
                    <a:pt x="446" y="21"/>
                  </a:lnTo>
                  <a:lnTo>
                    <a:pt x="441" y="21"/>
                  </a:lnTo>
                  <a:lnTo>
                    <a:pt x="439" y="21"/>
                  </a:lnTo>
                  <a:lnTo>
                    <a:pt x="438" y="21"/>
                  </a:lnTo>
                  <a:lnTo>
                    <a:pt x="435" y="21"/>
                  </a:lnTo>
                  <a:lnTo>
                    <a:pt x="433" y="21"/>
                  </a:lnTo>
                  <a:lnTo>
                    <a:pt x="430" y="23"/>
                  </a:lnTo>
                  <a:lnTo>
                    <a:pt x="427" y="23"/>
                  </a:lnTo>
                  <a:lnTo>
                    <a:pt x="424" y="26"/>
                  </a:lnTo>
                  <a:lnTo>
                    <a:pt x="421" y="26"/>
                  </a:lnTo>
                  <a:lnTo>
                    <a:pt x="419" y="24"/>
                  </a:lnTo>
                  <a:lnTo>
                    <a:pt x="418" y="23"/>
                  </a:lnTo>
                  <a:lnTo>
                    <a:pt x="415" y="21"/>
                  </a:lnTo>
                  <a:lnTo>
                    <a:pt x="412" y="15"/>
                  </a:lnTo>
                  <a:lnTo>
                    <a:pt x="410" y="14"/>
                  </a:lnTo>
                  <a:lnTo>
                    <a:pt x="410" y="9"/>
                  </a:lnTo>
                  <a:lnTo>
                    <a:pt x="409" y="7"/>
                  </a:lnTo>
                  <a:lnTo>
                    <a:pt x="407" y="7"/>
                  </a:lnTo>
                  <a:lnTo>
                    <a:pt x="406" y="7"/>
                  </a:lnTo>
                  <a:lnTo>
                    <a:pt x="404" y="7"/>
                  </a:lnTo>
                  <a:lnTo>
                    <a:pt x="404" y="6"/>
                  </a:lnTo>
                  <a:lnTo>
                    <a:pt x="402" y="4"/>
                  </a:lnTo>
                  <a:lnTo>
                    <a:pt x="402" y="3"/>
                  </a:lnTo>
                  <a:lnTo>
                    <a:pt x="401" y="3"/>
                  </a:lnTo>
                  <a:lnTo>
                    <a:pt x="401" y="3"/>
                  </a:lnTo>
                  <a:lnTo>
                    <a:pt x="398" y="1"/>
                  </a:lnTo>
                  <a:lnTo>
                    <a:pt x="396" y="0"/>
                  </a:lnTo>
                  <a:lnTo>
                    <a:pt x="393" y="1"/>
                  </a:lnTo>
                  <a:lnTo>
                    <a:pt x="390" y="1"/>
                  </a:lnTo>
                  <a:lnTo>
                    <a:pt x="389" y="1"/>
                  </a:lnTo>
                  <a:lnTo>
                    <a:pt x="387" y="3"/>
                  </a:lnTo>
                  <a:lnTo>
                    <a:pt x="387" y="4"/>
                  </a:lnTo>
                  <a:lnTo>
                    <a:pt x="387" y="4"/>
                  </a:lnTo>
                  <a:lnTo>
                    <a:pt x="386" y="6"/>
                  </a:lnTo>
                  <a:lnTo>
                    <a:pt x="384" y="7"/>
                  </a:lnTo>
                  <a:lnTo>
                    <a:pt x="384" y="6"/>
                  </a:lnTo>
                  <a:lnTo>
                    <a:pt x="382" y="6"/>
                  </a:lnTo>
                  <a:lnTo>
                    <a:pt x="381" y="4"/>
                  </a:lnTo>
                  <a:lnTo>
                    <a:pt x="379" y="6"/>
                  </a:lnTo>
                  <a:lnTo>
                    <a:pt x="373" y="9"/>
                  </a:lnTo>
                  <a:lnTo>
                    <a:pt x="372" y="7"/>
                  </a:lnTo>
                  <a:lnTo>
                    <a:pt x="370" y="6"/>
                  </a:lnTo>
                  <a:lnTo>
                    <a:pt x="367" y="6"/>
                  </a:lnTo>
                  <a:lnTo>
                    <a:pt x="366" y="4"/>
                  </a:lnTo>
                  <a:lnTo>
                    <a:pt x="364" y="6"/>
                  </a:lnTo>
                  <a:lnTo>
                    <a:pt x="361" y="4"/>
                  </a:lnTo>
                  <a:lnTo>
                    <a:pt x="356" y="3"/>
                  </a:lnTo>
                  <a:lnTo>
                    <a:pt x="355" y="3"/>
                  </a:lnTo>
                  <a:lnTo>
                    <a:pt x="353" y="1"/>
                  </a:lnTo>
                  <a:lnTo>
                    <a:pt x="352" y="0"/>
                  </a:lnTo>
                  <a:lnTo>
                    <a:pt x="350" y="0"/>
                  </a:lnTo>
                  <a:lnTo>
                    <a:pt x="349" y="0"/>
                  </a:lnTo>
                  <a:lnTo>
                    <a:pt x="333" y="3"/>
                  </a:lnTo>
                  <a:lnTo>
                    <a:pt x="329" y="3"/>
                  </a:lnTo>
                  <a:lnTo>
                    <a:pt x="327" y="4"/>
                  </a:lnTo>
                  <a:lnTo>
                    <a:pt x="327" y="4"/>
                  </a:lnTo>
                  <a:lnTo>
                    <a:pt x="327" y="6"/>
                  </a:lnTo>
                  <a:lnTo>
                    <a:pt x="327" y="7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5" y="10"/>
                  </a:lnTo>
                  <a:lnTo>
                    <a:pt x="325" y="10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1" y="17"/>
                  </a:lnTo>
                  <a:lnTo>
                    <a:pt x="318" y="26"/>
                  </a:lnTo>
                  <a:lnTo>
                    <a:pt x="316" y="29"/>
                  </a:lnTo>
                  <a:lnTo>
                    <a:pt x="315" y="32"/>
                  </a:lnTo>
                  <a:lnTo>
                    <a:pt x="313" y="34"/>
                  </a:lnTo>
                  <a:lnTo>
                    <a:pt x="312" y="35"/>
                  </a:lnTo>
                  <a:lnTo>
                    <a:pt x="310" y="35"/>
                  </a:lnTo>
                  <a:lnTo>
                    <a:pt x="309" y="34"/>
                  </a:lnTo>
                  <a:lnTo>
                    <a:pt x="307" y="32"/>
                  </a:lnTo>
                  <a:lnTo>
                    <a:pt x="307" y="34"/>
                  </a:lnTo>
                  <a:lnTo>
                    <a:pt x="304" y="35"/>
                  </a:lnTo>
                  <a:lnTo>
                    <a:pt x="304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299" y="37"/>
                  </a:lnTo>
                  <a:lnTo>
                    <a:pt x="299" y="37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6" y="41"/>
                  </a:lnTo>
                  <a:lnTo>
                    <a:pt x="293" y="43"/>
                  </a:lnTo>
                  <a:lnTo>
                    <a:pt x="293" y="43"/>
                  </a:lnTo>
                  <a:lnTo>
                    <a:pt x="290" y="44"/>
                  </a:lnTo>
                  <a:lnTo>
                    <a:pt x="289" y="46"/>
                  </a:lnTo>
                  <a:lnTo>
                    <a:pt x="285" y="49"/>
                  </a:lnTo>
                  <a:lnTo>
                    <a:pt x="284" y="49"/>
                  </a:lnTo>
                  <a:lnTo>
                    <a:pt x="282" y="49"/>
                  </a:lnTo>
                  <a:lnTo>
                    <a:pt x="279" y="46"/>
                  </a:lnTo>
                  <a:lnTo>
                    <a:pt x="278" y="46"/>
                  </a:lnTo>
                  <a:lnTo>
                    <a:pt x="275" y="46"/>
                  </a:lnTo>
                  <a:lnTo>
                    <a:pt x="275" y="46"/>
                  </a:lnTo>
                  <a:lnTo>
                    <a:pt x="273" y="46"/>
                  </a:lnTo>
                  <a:lnTo>
                    <a:pt x="273" y="44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3" y="41"/>
                  </a:lnTo>
                  <a:lnTo>
                    <a:pt x="270" y="40"/>
                  </a:lnTo>
                  <a:lnTo>
                    <a:pt x="267" y="41"/>
                  </a:lnTo>
                  <a:lnTo>
                    <a:pt x="267" y="41"/>
                  </a:lnTo>
                  <a:lnTo>
                    <a:pt x="265" y="38"/>
                  </a:lnTo>
                  <a:lnTo>
                    <a:pt x="264" y="38"/>
                  </a:lnTo>
                  <a:lnTo>
                    <a:pt x="264" y="38"/>
                  </a:lnTo>
                  <a:lnTo>
                    <a:pt x="262" y="38"/>
                  </a:lnTo>
                  <a:lnTo>
                    <a:pt x="256" y="40"/>
                  </a:lnTo>
                  <a:lnTo>
                    <a:pt x="255" y="40"/>
                  </a:lnTo>
                  <a:lnTo>
                    <a:pt x="253" y="41"/>
                  </a:lnTo>
                  <a:lnTo>
                    <a:pt x="253" y="46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7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50"/>
                  </a:lnTo>
                  <a:lnTo>
                    <a:pt x="252" y="50"/>
                  </a:lnTo>
                  <a:lnTo>
                    <a:pt x="248" y="54"/>
                  </a:lnTo>
                  <a:lnTo>
                    <a:pt x="238" y="54"/>
                  </a:lnTo>
                  <a:lnTo>
                    <a:pt x="233" y="57"/>
                  </a:lnTo>
                  <a:lnTo>
                    <a:pt x="233" y="57"/>
                  </a:lnTo>
                  <a:lnTo>
                    <a:pt x="224" y="55"/>
                  </a:lnTo>
                  <a:lnTo>
                    <a:pt x="219" y="55"/>
                  </a:lnTo>
                  <a:lnTo>
                    <a:pt x="218" y="55"/>
                  </a:lnTo>
                  <a:lnTo>
                    <a:pt x="216" y="55"/>
                  </a:lnTo>
                  <a:lnTo>
                    <a:pt x="215" y="57"/>
                  </a:lnTo>
                  <a:lnTo>
                    <a:pt x="211" y="57"/>
                  </a:lnTo>
                  <a:lnTo>
                    <a:pt x="204" y="58"/>
                  </a:lnTo>
                  <a:lnTo>
                    <a:pt x="202" y="60"/>
                  </a:lnTo>
                  <a:lnTo>
                    <a:pt x="201" y="63"/>
                  </a:lnTo>
                  <a:lnTo>
                    <a:pt x="201" y="64"/>
                  </a:lnTo>
                  <a:lnTo>
                    <a:pt x="199" y="64"/>
                  </a:lnTo>
                  <a:lnTo>
                    <a:pt x="198" y="64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72"/>
                  </a:lnTo>
                  <a:lnTo>
                    <a:pt x="198" y="75"/>
                  </a:lnTo>
                  <a:lnTo>
                    <a:pt x="198" y="77"/>
                  </a:lnTo>
                  <a:lnTo>
                    <a:pt x="199" y="80"/>
                  </a:lnTo>
                  <a:lnTo>
                    <a:pt x="202" y="81"/>
                  </a:lnTo>
                  <a:lnTo>
                    <a:pt x="202" y="81"/>
                  </a:lnTo>
                  <a:lnTo>
                    <a:pt x="201" y="81"/>
                  </a:lnTo>
                  <a:lnTo>
                    <a:pt x="199" y="83"/>
                  </a:lnTo>
                  <a:lnTo>
                    <a:pt x="198" y="83"/>
                  </a:lnTo>
                  <a:lnTo>
                    <a:pt x="195" y="86"/>
                  </a:lnTo>
                  <a:lnTo>
                    <a:pt x="193" y="87"/>
                  </a:lnTo>
                  <a:lnTo>
                    <a:pt x="191" y="87"/>
                  </a:lnTo>
                  <a:lnTo>
                    <a:pt x="188" y="87"/>
                  </a:lnTo>
                  <a:lnTo>
                    <a:pt x="187" y="86"/>
                  </a:lnTo>
                  <a:lnTo>
                    <a:pt x="182" y="86"/>
                  </a:lnTo>
                  <a:lnTo>
                    <a:pt x="168" y="87"/>
                  </a:lnTo>
                  <a:lnTo>
                    <a:pt x="162" y="90"/>
                  </a:lnTo>
                  <a:lnTo>
                    <a:pt x="159" y="90"/>
                  </a:lnTo>
                  <a:lnTo>
                    <a:pt x="150" y="89"/>
                  </a:lnTo>
                  <a:lnTo>
                    <a:pt x="133" y="90"/>
                  </a:lnTo>
                  <a:lnTo>
                    <a:pt x="128" y="90"/>
                  </a:lnTo>
                  <a:lnTo>
                    <a:pt x="122" y="89"/>
                  </a:lnTo>
                  <a:lnTo>
                    <a:pt x="121" y="87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16" y="84"/>
                  </a:lnTo>
                  <a:lnTo>
                    <a:pt x="114" y="83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0" y="81"/>
                  </a:lnTo>
                  <a:lnTo>
                    <a:pt x="108" y="81"/>
                  </a:lnTo>
                  <a:lnTo>
                    <a:pt x="107" y="77"/>
                  </a:lnTo>
                  <a:lnTo>
                    <a:pt x="105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2" y="75"/>
                  </a:lnTo>
                  <a:lnTo>
                    <a:pt x="94" y="64"/>
                  </a:lnTo>
                  <a:lnTo>
                    <a:pt x="93" y="63"/>
                  </a:lnTo>
                  <a:lnTo>
                    <a:pt x="88" y="63"/>
                  </a:lnTo>
                  <a:lnTo>
                    <a:pt x="87" y="61"/>
                  </a:lnTo>
                  <a:lnTo>
                    <a:pt x="84" y="61"/>
                  </a:lnTo>
                  <a:lnTo>
                    <a:pt x="81" y="61"/>
                  </a:lnTo>
                  <a:lnTo>
                    <a:pt x="79" y="63"/>
                  </a:lnTo>
                  <a:lnTo>
                    <a:pt x="73" y="66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2"/>
                  </a:lnTo>
                  <a:lnTo>
                    <a:pt x="73" y="74"/>
                  </a:lnTo>
                  <a:lnTo>
                    <a:pt x="73" y="75"/>
                  </a:lnTo>
                  <a:lnTo>
                    <a:pt x="73" y="77"/>
                  </a:lnTo>
                  <a:lnTo>
                    <a:pt x="71" y="77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0" y="80"/>
                  </a:lnTo>
                  <a:lnTo>
                    <a:pt x="70" y="81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0" y="84"/>
                  </a:lnTo>
                  <a:lnTo>
                    <a:pt x="70" y="87"/>
                  </a:lnTo>
                  <a:lnTo>
                    <a:pt x="71" y="89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5"/>
                  </a:lnTo>
                  <a:lnTo>
                    <a:pt x="73" y="95"/>
                  </a:lnTo>
                  <a:lnTo>
                    <a:pt x="71" y="95"/>
                  </a:lnTo>
                  <a:lnTo>
                    <a:pt x="65" y="97"/>
                  </a:lnTo>
                  <a:lnTo>
                    <a:pt x="61" y="98"/>
                  </a:lnTo>
                  <a:lnTo>
                    <a:pt x="57" y="97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48" y="98"/>
                  </a:lnTo>
                  <a:lnTo>
                    <a:pt x="47" y="98"/>
                  </a:lnTo>
                  <a:lnTo>
                    <a:pt x="47" y="97"/>
                  </a:lnTo>
                  <a:lnTo>
                    <a:pt x="45" y="95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4" y="92"/>
                  </a:lnTo>
                  <a:lnTo>
                    <a:pt x="37" y="90"/>
                  </a:lnTo>
                  <a:lnTo>
                    <a:pt x="34" y="90"/>
                  </a:lnTo>
                  <a:lnTo>
                    <a:pt x="33" y="90"/>
                  </a:lnTo>
                  <a:lnTo>
                    <a:pt x="31" y="92"/>
                  </a:lnTo>
                  <a:lnTo>
                    <a:pt x="31" y="94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8" y="97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5" y="97"/>
                  </a:lnTo>
                  <a:lnTo>
                    <a:pt x="25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5" y="101"/>
                  </a:lnTo>
                  <a:lnTo>
                    <a:pt x="28" y="103"/>
                  </a:lnTo>
                  <a:lnTo>
                    <a:pt x="31" y="103"/>
                  </a:lnTo>
                  <a:lnTo>
                    <a:pt x="36" y="104"/>
                  </a:lnTo>
                  <a:lnTo>
                    <a:pt x="37" y="104"/>
                  </a:lnTo>
                  <a:lnTo>
                    <a:pt x="39" y="104"/>
                  </a:lnTo>
                  <a:lnTo>
                    <a:pt x="41" y="106"/>
                  </a:lnTo>
                  <a:lnTo>
                    <a:pt x="42" y="109"/>
                  </a:lnTo>
                  <a:lnTo>
                    <a:pt x="41" y="111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4"/>
                  </a:lnTo>
                  <a:lnTo>
                    <a:pt x="44" y="115"/>
                  </a:lnTo>
                  <a:lnTo>
                    <a:pt x="44" y="117"/>
                  </a:lnTo>
                  <a:lnTo>
                    <a:pt x="41" y="118"/>
                  </a:lnTo>
                  <a:lnTo>
                    <a:pt x="41" y="118"/>
                  </a:lnTo>
                  <a:lnTo>
                    <a:pt x="41" y="123"/>
                  </a:lnTo>
                  <a:lnTo>
                    <a:pt x="39" y="124"/>
                  </a:lnTo>
                  <a:lnTo>
                    <a:pt x="36" y="126"/>
                  </a:lnTo>
                  <a:lnTo>
                    <a:pt x="28" y="131"/>
                  </a:lnTo>
                  <a:lnTo>
                    <a:pt x="28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9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8" y="141"/>
                  </a:lnTo>
                  <a:lnTo>
                    <a:pt x="28" y="143"/>
                  </a:lnTo>
                  <a:lnTo>
                    <a:pt x="28" y="144"/>
                  </a:lnTo>
                  <a:lnTo>
                    <a:pt x="27" y="144"/>
                  </a:lnTo>
                  <a:lnTo>
                    <a:pt x="24" y="146"/>
                  </a:lnTo>
                  <a:lnTo>
                    <a:pt x="24" y="146"/>
                  </a:lnTo>
                  <a:lnTo>
                    <a:pt x="25" y="147"/>
                  </a:lnTo>
                  <a:lnTo>
                    <a:pt x="24" y="151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7"/>
                  </a:lnTo>
                  <a:lnTo>
                    <a:pt x="25" y="157"/>
                  </a:lnTo>
                  <a:lnTo>
                    <a:pt x="27" y="157"/>
                  </a:lnTo>
                  <a:lnTo>
                    <a:pt x="28" y="157"/>
                  </a:lnTo>
                  <a:lnTo>
                    <a:pt x="30" y="157"/>
                  </a:lnTo>
                  <a:lnTo>
                    <a:pt x="31" y="158"/>
                  </a:lnTo>
                  <a:lnTo>
                    <a:pt x="30" y="158"/>
                  </a:lnTo>
                  <a:lnTo>
                    <a:pt x="28" y="161"/>
                  </a:lnTo>
                  <a:lnTo>
                    <a:pt x="27" y="163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30" y="167"/>
                  </a:lnTo>
                  <a:lnTo>
                    <a:pt x="28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8" y="171"/>
                  </a:lnTo>
                  <a:lnTo>
                    <a:pt x="28" y="172"/>
                  </a:lnTo>
                  <a:lnTo>
                    <a:pt x="30" y="172"/>
                  </a:lnTo>
                  <a:lnTo>
                    <a:pt x="28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2" y="172"/>
                  </a:lnTo>
                  <a:lnTo>
                    <a:pt x="21" y="172"/>
                  </a:lnTo>
                  <a:lnTo>
                    <a:pt x="17" y="172"/>
                  </a:lnTo>
                  <a:lnTo>
                    <a:pt x="14" y="172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3" y="175"/>
                  </a:lnTo>
                  <a:lnTo>
                    <a:pt x="11" y="175"/>
                  </a:lnTo>
                  <a:lnTo>
                    <a:pt x="11" y="175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80"/>
                  </a:lnTo>
                  <a:lnTo>
                    <a:pt x="7" y="180"/>
                  </a:lnTo>
                  <a:lnTo>
                    <a:pt x="5" y="181"/>
                  </a:lnTo>
                  <a:lnTo>
                    <a:pt x="5" y="183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0" y="188"/>
                  </a:lnTo>
                  <a:lnTo>
                    <a:pt x="2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3" y="188"/>
                  </a:lnTo>
                  <a:lnTo>
                    <a:pt x="14" y="188"/>
                  </a:lnTo>
                  <a:lnTo>
                    <a:pt x="14" y="189"/>
                  </a:lnTo>
                  <a:lnTo>
                    <a:pt x="16" y="189"/>
                  </a:lnTo>
                  <a:lnTo>
                    <a:pt x="16" y="191"/>
                  </a:lnTo>
                  <a:lnTo>
                    <a:pt x="17" y="191"/>
                  </a:lnTo>
                  <a:lnTo>
                    <a:pt x="17" y="191"/>
                  </a:lnTo>
                  <a:lnTo>
                    <a:pt x="17" y="192"/>
                  </a:lnTo>
                  <a:lnTo>
                    <a:pt x="17" y="192"/>
                  </a:lnTo>
                  <a:lnTo>
                    <a:pt x="16" y="194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6" y="200"/>
                  </a:lnTo>
                  <a:lnTo>
                    <a:pt x="17" y="201"/>
                  </a:lnTo>
                  <a:lnTo>
                    <a:pt x="17" y="203"/>
                  </a:lnTo>
                  <a:lnTo>
                    <a:pt x="19" y="203"/>
                  </a:lnTo>
                  <a:lnTo>
                    <a:pt x="19" y="203"/>
                  </a:lnTo>
                  <a:lnTo>
                    <a:pt x="19" y="206"/>
                  </a:lnTo>
                  <a:lnTo>
                    <a:pt x="21" y="206"/>
                  </a:lnTo>
                  <a:lnTo>
                    <a:pt x="21" y="206"/>
                  </a:lnTo>
                  <a:lnTo>
                    <a:pt x="21" y="206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4" y="209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1" y="211"/>
                  </a:lnTo>
                  <a:lnTo>
                    <a:pt x="21" y="211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2" y="214"/>
                  </a:lnTo>
                  <a:lnTo>
                    <a:pt x="25" y="215"/>
                  </a:lnTo>
                  <a:lnTo>
                    <a:pt x="28" y="220"/>
                  </a:lnTo>
                  <a:lnTo>
                    <a:pt x="30" y="221"/>
                  </a:lnTo>
                  <a:lnTo>
                    <a:pt x="31" y="226"/>
                  </a:lnTo>
                  <a:lnTo>
                    <a:pt x="31" y="228"/>
                  </a:lnTo>
                  <a:lnTo>
                    <a:pt x="34" y="229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29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9" y="229"/>
                  </a:lnTo>
                  <a:lnTo>
                    <a:pt x="41" y="229"/>
                  </a:lnTo>
                  <a:lnTo>
                    <a:pt x="42" y="231"/>
                  </a:lnTo>
                  <a:lnTo>
                    <a:pt x="44" y="232"/>
                  </a:lnTo>
                  <a:lnTo>
                    <a:pt x="45" y="234"/>
                  </a:lnTo>
                  <a:lnTo>
                    <a:pt x="45" y="237"/>
                  </a:lnTo>
                  <a:lnTo>
                    <a:pt x="48" y="238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38"/>
                  </a:lnTo>
                  <a:lnTo>
                    <a:pt x="51" y="238"/>
                  </a:lnTo>
                  <a:lnTo>
                    <a:pt x="53" y="238"/>
                  </a:lnTo>
                  <a:lnTo>
                    <a:pt x="53" y="238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3"/>
                  </a:lnTo>
                  <a:lnTo>
                    <a:pt x="57" y="246"/>
                  </a:lnTo>
                  <a:lnTo>
                    <a:pt x="59" y="248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61" y="251"/>
                  </a:lnTo>
                  <a:lnTo>
                    <a:pt x="62" y="254"/>
                  </a:lnTo>
                  <a:lnTo>
                    <a:pt x="65" y="257"/>
                  </a:lnTo>
                  <a:lnTo>
                    <a:pt x="65" y="258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3"/>
                  </a:lnTo>
                  <a:lnTo>
                    <a:pt x="71" y="265"/>
                  </a:lnTo>
                  <a:lnTo>
                    <a:pt x="74" y="266"/>
                  </a:lnTo>
                  <a:lnTo>
                    <a:pt x="76" y="268"/>
                  </a:lnTo>
                  <a:lnTo>
                    <a:pt x="82" y="268"/>
                  </a:lnTo>
                  <a:lnTo>
                    <a:pt x="82" y="268"/>
                  </a:lnTo>
                  <a:lnTo>
                    <a:pt x="85" y="272"/>
                  </a:lnTo>
                  <a:lnTo>
                    <a:pt x="87" y="272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8" y="278"/>
                  </a:lnTo>
                  <a:lnTo>
                    <a:pt x="88" y="280"/>
                  </a:lnTo>
                  <a:lnTo>
                    <a:pt x="90" y="280"/>
                  </a:lnTo>
                  <a:lnTo>
                    <a:pt x="91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88" y="281"/>
                  </a:lnTo>
                  <a:lnTo>
                    <a:pt x="88" y="281"/>
                  </a:lnTo>
                  <a:lnTo>
                    <a:pt x="90" y="283"/>
                  </a:lnTo>
                  <a:lnTo>
                    <a:pt x="90" y="283"/>
                  </a:lnTo>
                  <a:lnTo>
                    <a:pt x="91" y="283"/>
                  </a:lnTo>
                  <a:lnTo>
                    <a:pt x="91" y="283"/>
                  </a:lnTo>
                  <a:lnTo>
                    <a:pt x="93" y="281"/>
                  </a:lnTo>
                  <a:lnTo>
                    <a:pt x="93" y="285"/>
                  </a:lnTo>
                  <a:lnTo>
                    <a:pt x="93" y="285"/>
                  </a:lnTo>
                  <a:lnTo>
                    <a:pt x="93" y="285"/>
                  </a:lnTo>
                  <a:lnTo>
                    <a:pt x="94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98" y="286"/>
                  </a:lnTo>
                  <a:lnTo>
                    <a:pt x="98" y="286"/>
                  </a:lnTo>
                  <a:lnTo>
                    <a:pt x="98" y="286"/>
                  </a:lnTo>
                  <a:lnTo>
                    <a:pt x="99" y="286"/>
                  </a:lnTo>
                  <a:lnTo>
                    <a:pt x="99" y="285"/>
                  </a:lnTo>
                  <a:lnTo>
                    <a:pt x="105" y="286"/>
                  </a:lnTo>
                  <a:lnTo>
                    <a:pt x="108" y="286"/>
                  </a:lnTo>
                  <a:lnTo>
                    <a:pt x="111" y="288"/>
                  </a:lnTo>
                  <a:lnTo>
                    <a:pt x="114" y="291"/>
                  </a:lnTo>
                  <a:lnTo>
                    <a:pt x="116" y="292"/>
                  </a:lnTo>
                  <a:lnTo>
                    <a:pt x="116" y="292"/>
                  </a:lnTo>
                  <a:lnTo>
                    <a:pt x="116" y="294"/>
                  </a:lnTo>
                  <a:lnTo>
                    <a:pt x="116" y="295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9" y="297"/>
                  </a:lnTo>
                  <a:lnTo>
                    <a:pt x="127" y="300"/>
                  </a:lnTo>
                  <a:lnTo>
                    <a:pt x="130" y="301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3" y="305"/>
                  </a:lnTo>
                  <a:lnTo>
                    <a:pt x="133" y="303"/>
                  </a:lnTo>
                  <a:lnTo>
                    <a:pt x="133" y="303"/>
                  </a:lnTo>
                  <a:lnTo>
                    <a:pt x="139" y="303"/>
                  </a:lnTo>
                  <a:lnTo>
                    <a:pt x="148" y="305"/>
                  </a:lnTo>
                  <a:lnTo>
                    <a:pt x="148" y="305"/>
                  </a:lnTo>
                  <a:lnTo>
                    <a:pt x="150" y="305"/>
                  </a:lnTo>
                  <a:lnTo>
                    <a:pt x="150" y="303"/>
                  </a:lnTo>
                  <a:lnTo>
                    <a:pt x="151" y="303"/>
                  </a:lnTo>
                  <a:lnTo>
                    <a:pt x="158" y="303"/>
                  </a:lnTo>
                  <a:lnTo>
                    <a:pt x="159" y="303"/>
                  </a:lnTo>
                  <a:lnTo>
                    <a:pt x="161" y="306"/>
                  </a:lnTo>
                  <a:lnTo>
                    <a:pt x="162" y="306"/>
                  </a:lnTo>
                  <a:lnTo>
                    <a:pt x="164" y="306"/>
                  </a:lnTo>
                  <a:lnTo>
                    <a:pt x="165" y="308"/>
                  </a:lnTo>
                  <a:lnTo>
                    <a:pt x="167" y="306"/>
                  </a:lnTo>
                  <a:lnTo>
                    <a:pt x="168" y="306"/>
                  </a:lnTo>
                  <a:lnTo>
                    <a:pt x="168" y="306"/>
                  </a:lnTo>
                  <a:lnTo>
                    <a:pt x="170" y="308"/>
                  </a:lnTo>
                  <a:lnTo>
                    <a:pt x="170" y="308"/>
                  </a:lnTo>
                  <a:lnTo>
                    <a:pt x="171" y="308"/>
                  </a:lnTo>
                  <a:lnTo>
                    <a:pt x="171" y="308"/>
                  </a:lnTo>
                  <a:lnTo>
                    <a:pt x="171" y="308"/>
                  </a:lnTo>
                  <a:lnTo>
                    <a:pt x="173" y="308"/>
                  </a:lnTo>
                  <a:lnTo>
                    <a:pt x="175" y="306"/>
                  </a:lnTo>
                  <a:lnTo>
                    <a:pt x="176" y="303"/>
                  </a:lnTo>
                  <a:lnTo>
                    <a:pt x="178" y="303"/>
                  </a:lnTo>
                  <a:lnTo>
                    <a:pt x="179" y="303"/>
                  </a:lnTo>
                  <a:lnTo>
                    <a:pt x="181" y="303"/>
                  </a:lnTo>
                  <a:lnTo>
                    <a:pt x="184" y="300"/>
                  </a:lnTo>
                  <a:lnTo>
                    <a:pt x="185" y="298"/>
                  </a:lnTo>
                  <a:lnTo>
                    <a:pt x="187" y="295"/>
                  </a:lnTo>
                  <a:lnTo>
                    <a:pt x="188" y="294"/>
                  </a:lnTo>
                  <a:lnTo>
                    <a:pt x="188" y="294"/>
                  </a:lnTo>
                  <a:lnTo>
                    <a:pt x="188" y="294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90" y="291"/>
                  </a:lnTo>
                  <a:lnTo>
                    <a:pt x="191" y="291"/>
                  </a:lnTo>
                  <a:lnTo>
                    <a:pt x="196" y="291"/>
                  </a:lnTo>
                  <a:lnTo>
                    <a:pt x="199" y="292"/>
                  </a:lnTo>
                  <a:lnTo>
                    <a:pt x="199" y="292"/>
                  </a:lnTo>
                  <a:lnTo>
                    <a:pt x="201" y="292"/>
                  </a:lnTo>
                  <a:lnTo>
                    <a:pt x="201" y="292"/>
                  </a:lnTo>
                  <a:lnTo>
                    <a:pt x="201" y="291"/>
                  </a:lnTo>
                  <a:lnTo>
                    <a:pt x="202" y="289"/>
                  </a:lnTo>
                  <a:lnTo>
                    <a:pt x="202" y="291"/>
                  </a:lnTo>
                  <a:lnTo>
                    <a:pt x="202" y="291"/>
                  </a:lnTo>
                  <a:lnTo>
                    <a:pt x="204" y="291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7" y="28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13" y="288"/>
                  </a:lnTo>
                  <a:lnTo>
                    <a:pt x="215" y="289"/>
                  </a:lnTo>
                  <a:lnTo>
                    <a:pt x="215" y="289"/>
                  </a:lnTo>
                  <a:lnTo>
                    <a:pt x="215" y="288"/>
                  </a:lnTo>
                  <a:lnTo>
                    <a:pt x="215" y="288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6"/>
                  </a:lnTo>
                  <a:lnTo>
                    <a:pt x="215" y="286"/>
                  </a:lnTo>
                  <a:lnTo>
                    <a:pt x="216" y="285"/>
                  </a:lnTo>
                  <a:lnTo>
                    <a:pt x="219" y="285"/>
                  </a:lnTo>
                  <a:lnTo>
                    <a:pt x="219" y="285"/>
                  </a:lnTo>
                  <a:lnTo>
                    <a:pt x="219" y="281"/>
                  </a:lnTo>
                  <a:lnTo>
                    <a:pt x="221" y="278"/>
                  </a:lnTo>
                  <a:lnTo>
                    <a:pt x="222" y="278"/>
                  </a:lnTo>
                  <a:lnTo>
                    <a:pt x="224" y="278"/>
                  </a:lnTo>
                  <a:lnTo>
                    <a:pt x="225" y="281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33" y="283"/>
                  </a:lnTo>
                  <a:lnTo>
                    <a:pt x="236" y="283"/>
                  </a:lnTo>
                  <a:lnTo>
                    <a:pt x="236" y="281"/>
                  </a:lnTo>
                  <a:lnTo>
                    <a:pt x="238" y="280"/>
                  </a:lnTo>
                  <a:lnTo>
                    <a:pt x="238" y="278"/>
                  </a:lnTo>
                  <a:lnTo>
                    <a:pt x="238" y="278"/>
                  </a:lnTo>
                  <a:lnTo>
                    <a:pt x="239" y="277"/>
                  </a:lnTo>
                  <a:lnTo>
                    <a:pt x="241" y="277"/>
                  </a:lnTo>
                  <a:lnTo>
                    <a:pt x="244" y="277"/>
                  </a:lnTo>
                  <a:lnTo>
                    <a:pt x="244" y="277"/>
                  </a:lnTo>
                  <a:lnTo>
                    <a:pt x="245" y="275"/>
                  </a:lnTo>
                  <a:lnTo>
                    <a:pt x="245" y="275"/>
                  </a:lnTo>
                  <a:lnTo>
                    <a:pt x="247" y="274"/>
                  </a:lnTo>
                  <a:lnTo>
                    <a:pt x="247" y="274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50" y="272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3" y="269"/>
                  </a:lnTo>
                  <a:lnTo>
                    <a:pt x="253" y="268"/>
                  </a:lnTo>
                  <a:lnTo>
                    <a:pt x="253" y="268"/>
                  </a:lnTo>
                  <a:lnTo>
                    <a:pt x="253" y="266"/>
                  </a:lnTo>
                  <a:lnTo>
                    <a:pt x="253" y="265"/>
                  </a:lnTo>
                  <a:lnTo>
                    <a:pt x="255" y="263"/>
                  </a:lnTo>
                  <a:lnTo>
                    <a:pt x="258" y="263"/>
                  </a:lnTo>
                  <a:lnTo>
                    <a:pt x="258" y="263"/>
                  </a:lnTo>
                  <a:lnTo>
                    <a:pt x="261" y="263"/>
                  </a:lnTo>
                  <a:lnTo>
                    <a:pt x="264" y="261"/>
                  </a:lnTo>
                  <a:lnTo>
                    <a:pt x="265" y="261"/>
                  </a:lnTo>
                  <a:lnTo>
                    <a:pt x="267" y="263"/>
                  </a:lnTo>
                  <a:lnTo>
                    <a:pt x="268" y="263"/>
                  </a:lnTo>
                  <a:lnTo>
                    <a:pt x="273" y="266"/>
                  </a:lnTo>
                  <a:lnTo>
                    <a:pt x="275" y="266"/>
                  </a:lnTo>
                  <a:lnTo>
                    <a:pt x="281" y="265"/>
                  </a:lnTo>
                  <a:lnTo>
                    <a:pt x="282" y="263"/>
                  </a:lnTo>
                  <a:lnTo>
                    <a:pt x="285" y="263"/>
                  </a:lnTo>
                  <a:lnTo>
                    <a:pt x="290" y="263"/>
                  </a:lnTo>
                  <a:lnTo>
                    <a:pt x="293" y="265"/>
                  </a:lnTo>
                  <a:lnTo>
                    <a:pt x="295" y="265"/>
                  </a:lnTo>
                  <a:lnTo>
                    <a:pt x="298" y="265"/>
                  </a:lnTo>
                  <a:lnTo>
                    <a:pt x="298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301" y="266"/>
                  </a:lnTo>
                  <a:lnTo>
                    <a:pt x="301" y="266"/>
                  </a:lnTo>
                  <a:lnTo>
                    <a:pt x="301" y="266"/>
                  </a:lnTo>
                  <a:lnTo>
                    <a:pt x="304" y="265"/>
                  </a:lnTo>
                  <a:lnTo>
                    <a:pt x="304" y="266"/>
                  </a:lnTo>
                  <a:lnTo>
                    <a:pt x="309" y="269"/>
                  </a:lnTo>
                  <a:lnTo>
                    <a:pt x="312" y="265"/>
                  </a:lnTo>
                  <a:lnTo>
                    <a:pt x="324" y="265"/>
                  </a:lnTo>
                  <a:lnTo>
                    <a:pt x="325" y="261"/>
                  </a:lnTo>
                  <a:lnTo>
                    <a:pt x="329" y="263"/>
                  </a:lnTo>
                  <a:lnTo>
                    <a:pt x="332" y="263"/>
                  </a:lnTo>
                  <a:lnTo>
                    <a:pt x="333" y="266"/>
                  </a:lnTo>
                  <a:lnTo>
                    <a:pt x="335" y="266"/>
                  </a:lnTo>
                  <a:lnTo>
                    <a:pt x="335" y="266"/>
                  </a:lnTo>
                  <a:lnTo>
                    <a:pt x="336" y="266"/>
                  </a:lnTo>
                  <a:lnTo>
                    <a:pt x="339" y="266"/>
                  </a:lnTo>
                  <a:lnTo>
                    <a:pt x="341" y="265"/>
                  </a:lnTo>
                  <a:lnTo>
                    <a:pt x="342" y="263"/>
                  </a:lnTo>
                  <a:lnTo>
                    <a:pt x="342" y="263"/>
                  </a:lnTo>
                  <a:lnTo>
                    <a:pt x="342" y="263"/>
                  </a:lnTo>
                  <a:lnTo>
                    <a:pt x="342" y="261"/>
                  </a:lnTo>
                  <a:lnTo>
                    <a:pt x="344" y="260"/>
                  </a:lnTo>
                  <a:lnTo>
                    <a:pt x="344" y="260"/>
                  </a:lnTo>
                  <a:lnTo>
                    <a:pt x="345" y="260"/>
                  </a:lnTo>
                  <a:lnTo>
                    <a:pt x="345" y="260"/>
                  </a:lnTo>
                  <a:lnTo>
                    <a:pt x="345" y="260"/>
                  </a:lnTo>
                  <a:lnTo>
                    <a:pt x="345" y="258"/>
                  </a:lnTo>
                  <a:lnTo>
                    <a:pt x="345" y="257"/>
                  </a:lnTo>
                  <a:lnTo>
                    <a:pt x="345" y="255"/>
                  </a:lnTo>
                  <a:lnTo>
                    <a:pt x="345" y="255"/>
                  </a:lnTo>
                  <a:lnTo>
                    <a:pt x="349" y="252"/>
                  </a:lnTo>
                  <a:lnTo>
                    <a:pt x="349" y="252"/>
                  </a:lnTo>
                  <a:lnTo>
                    <a:pt x="350" y="252"/>
                  </a:lnTo>
                  <a:lnTo>
                    <a:pt x="352" y="251"/>
                  </a:lnTo>
                  <a:lnTo>
                    <a:pt x="353" y="251"/>
                  </a:lnTo>
                  <a:lnTo>
                    <a:pt x="353" y="252"/>
                  </a:lnTo>
                  <a:lnTo>
                    <a:pt x="355" y="252"/>
                  </a:lnTo>
                  <a:lnTo>
                    <a:pt x="356" y="254"/>
                  </a:lnTo>
                  <a:lnTo>
                    <a:pt x="356" y="254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9" y="252"/>
                  </a:lnTo>
                  <a:lnTo>
                    <a:pt x="362" y="254"/>
                  </a:lnTo>
                  <a:lnTo>
                    <a:pt x="364" y="254"/>
                  </a:lnTo>
                  <a:lnTo>
                    <a:pt x="364" y="254"/>
                  </a:lnTo>
                  <a:lnTo>
                    <a:pt x="366" y="254"/>
                  </a:lnTo>
                  <a:lnTo>
                    <a:pt x="366" y="254"/>
                  </a:lnTo>
                  <a:lnTo>
                    <a:pt x="366" y="254"/>
                  </a:lnTo>
                  <a:lnTo>
                    <a:pt x="367" y="255"/>
                  </a:lnTo>
                  <a:lnTo>
                    <a:pt x="369" y="255"/>
                  </a:lnTo>
                  <a:lnTo>
                    <a:pt x="372" y="251"/>
                  </a:lnTo>
                  <a:lnTo>
                    <a:pt x="373" y="251"/>
                  </a:lnTo>
                  <a:lnTo>
                    <a:pt x="375" y="251"/>
                  </a:lnTo>
                  <a:lnTo>
                    <a:pt x="376" y="251"/>
                  </a:lnTo>
                  <a:lnTo>
                    <a:pt x="376" y="249"/>
                  </a:lnTo>
                  <a:lnTo>
                    <a:pt x="378" y="246"/>
                  </a:lnTo>
                  <a:lnTo>
                    <a:pt x="378" y="241"/>
                  </a:lnTo>
                  <a:lnTo>
                    <a:pt x="378" y="240"/>
                  </a:lnTo>
                  <a:lnTo>
                    <a:pt x="379" y="238"/>
                  </a:lnTo>
                  <a:lnTo>
                    <a:pt x="381" y="237"/>
                  </a:lnTo>
                  <a:lnTo>
                    <a:pt x="384" y="237"/>
                  </a:lnTo>
                  <a:lnTo>
                    <a:pt x="386" y="235"/>
                  </a:lnTo>
                  <a:lnTo>
                    <a:pt x="386" y="234"/>
                  </a:lnTo>
                  <a:lnTo>
                    <a:pt x="384" y="229"/>
                  </a:lnTo>
                  <a:lnTo>
                    <a:pt x="384" y="228"/>
                  </a:lnTo>
                  <a:lnTo>
                    <a:pt x="384" y="226"/>
                  </a:lnTo>
                  <a:lnTo>
                    <a:pt x="386" y="223"/>
                  </a:lnTo>
                  <a:lnTo>
                    <a:pt x="387" y="221"/>
                  </a:lnTo>
                  <a:lnTo>
                    <a:pt x="387" y="218"/>
                  </a:lnTo>
                  <a:lnTo>
                    <a:pt x="387" y="215"/>
                  </a:lnTo>
                  <a:lnTo>
                    <a:pt x="389" y="214"/>
                  </a:lnTo>
                  <a:lnTo>
                    <a:pt x="390" y="214"/>
                  </a:lnTo>
                  <a:lnTo>
                    <a:pt x="393" y="214"/>
                  </a:lnTo>
                  <a:lnTo>
                    <a:pt x="395" y="214"/>
                  </a:lnTo>
                  <a:lnTo>
                    <a:pt x="396" y="211"/>
                  </a:lnTo>
                  <a:lnTo>
                    <a:pt x="396" y="209"/>
                  </a:lnTo>
                  <a:lnTo>
                    <a:pt x="396" y="209"/>
                  </a:lnTo>
                  <a:lnTo>
                    <a:pt x="398" y="208"/>
                  </a:lnTo>
                  <a:lnTo>
                    <a:pt x="399" y="208"/>
                  </a:lnTo>
                  <a:lnTo>
                    <a:pt x="401" y="208"/>
                  </a:lnTo>
                  <a:lnTo>
                    <a:pt x="402" y="204"/>
                  </a:lnTo>
                  <a:lnTo>
                    <a:pt x="402" y="203"/>
                  </a:lnTo>
                  <a:lnTo>
                    <a:pt x="401" y="201"/>
                  </a:lnTo>
                  <a:lnTo>
                    <a:pt x="401" y="201"/>
                  </a:lnTo>
                  <a:lnTo>
                    <a:pt x="401" y="201"/>
                  </a:lnTo>
                  <a:lnTo>
                    <a:pt x="399" y="200"/>
                  </a:lnTo>
                  <a:lnTo>
                    <a:pt x="399" y="200"/>
                  </a:lnTo>
                  <a:lnTo>
                    <a:pt x="401" y="200"/>
                  </a:lnTo>
                  <a:lnTo>
                    <a:pt x="401" y="198"/>
                  </a:lnTo>
                  <a:lnTo>
                    <a:pt x="401" y="198"/>
                  </a:lnTo>
                  <a:lnTo>
                    <a:pt x="402" y="194"/>
                  </a:lnTo>
                  <a:lnTo>
                    <a:pt x="404" y="192"/>
                  </a:lnTo>
                  <a:lnTo>
                    <a:pt x="406" y="191"/>
                  </a:lnTo>
                  <a:lnTo>
                    <a:pt x="407" y="189"/>
                  </a:lnTo>
                  <a:lnTo>
                    <a:pt x="409" y="189"/>
                  </a:lnTo>
                  <a:lnTo>
                    <a:pt x="409" y="188"/>
                  </a:lnTo>
                  <a:lnTo>
                    <a:pt x="409" y="186"/>
                  </a:lnTo>
                  <a:lnTo>
                    <a:pt x="409" y="186"/>
                  </a:lnTo>
                  <a:lnTo>
                    <a:pt x="409" y="184"/>
                  </a:lnTo>
                  <a:lnTo>
                    <a:pt x="409" y="183"/>
                  </a:lnTo>
                  <a:lnTo>
                    <a:pt x="409" y="183"/>
                  </a:lnTo>
                  <a:lnTo>
                    <a:pt x="409" y="183"/>
                  </a:lnTo>
                  <a:lnTo>
                    <a:pt x="413" y="180"/>
                  </a:lnTo>
                  <a:lnTo>
                    <a:pt x="413" y="178"/>
                  </a:lnTo>
                  <a:lnTo>
                    <a:pt x="415" y="174"/>
                  </a:lnTo>
                  <a:lnTo>
                    <a:pt x="415" y="174"/>
                  </a:lnTo>
                  <a:lnTo>
                    <a:pt x="415" y="174"/>
                  </a:lnTo>
                  <a:lnTo>
                    <a:pt x="415" y="172"/>
                  </a:lnTo>
                  <a:lnTo>
                    <a:pt x="413" y="172"/>
                  </a:lnTo>
                  <a:lnTo>
                    <a:pt x="413" y="172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5" y="166"/>
                  </a:lnTo>
                  <a:lnTo>
                    <a:pt x="416" y="164"/>
                  </a:lnTo>
                  <a:lnTo>
                    <a:pt x="421" y="163"/>
                  </a:lnTo>
                  <a:lnTo>
                    <a:pt x="423" y="161"/>
                  </a:lnTo>
                  <a:lnTo>
                    <a:pt x="423" y="160"/>
                  </a:lnTo>
                  <a:lnTo>
                    <a:pt x="423" y="158"/>
                  </a:lnTo>
                  <a:lnTo>
                    <a:pt x="423" y="157"/>
                  </a:lnTo>
                  <a:lnTo>
                    <a:pt x="424" y="157"/>
                  </a:lnTo>
                  <a:lnTo>
                    <a:pt x="426" y="155"/>
                  </a:lnTo>
                  <a:lnTo>
                    <a:pt x="426" y="154"/>
                  </a:lnTo>
                  <a:lnTo>
                    <a:pt x="427" y="152"/>
                  </a:lnTo>
                  <a:lnTo>
                    <a:pt x="427" y="152"/>
                  </a:lnTo>
                  <a:lnTo>
                    <a:pt x="426" y="151"/>
                  </a:lnTo>
                  <a:lnTo>
                    <a:pt x="427" y="149"/>
                  </a:lnTo>
                  <a:lnTo>
                    <a:pt x="427" y="147"/>
                  </a:lnTo>
                  <a:lnTo>
                    <a:pt x="427" y="146"/>
                  </a:lnTo>
                  <a:lnTo>
                    <a:pt x="429" y="146"/>
                  </a:lnTo>
                  <a:lnTo>
                    <a:pt x="429" y="141"/>
                  </a:lnTo>
                  <a:lnTo>
                    <a:pt x="429" y="140"/>
                  </a:lnTo>
                  <a:lnTo>
                    <a:pt x="432" y="137"/>
                  </a:lnTo>
                  <a:lnTo>
                    <a:pt x="433" y="135"/>
                  </a:lnTo>
                  <a:lnTo>
                    <a:pt x="435" y="134"/>
                  </a:lnTo>
                  <a:lnTo>
                    <a:pt x="438" y="132"/>
                  </a:lnTo>
                  <a:lnTo>
                    <a:pt x="439" y="129"/>
                  </a:lnTo>
                  <a:lnTo>
                    <a:pt x="439" y="126"/>
                  </a:lnTo>
                  <a:lnTo>
                    <a:pt x="439" y="123"/>
                  </a:lnTo>
                  <a:lnTo>
                    <a:pt x="439" y="118"/>
                  </a:lnTo>
                  <a:lnTo>
                    <a:pt x="439" y="117"/>
                  </a:lnTo>
                  <a:lnTo>
                    <a:pt x="443" y="114"/>
                  </a:lnTo>
                  <a:lnTo>
                    <a:pt x="447" y="111"/>
                  </a:lnTo>
                  <a:lnTo>
                    <a:pt x="450" y="109"/>
                  </a:lnTo>
                  <a:lnTo>
                    <a:pt x="450" y="109"/>
                  </a:lnTo>
                  <a:lnTo>
                    <a:pt x="452" y="109"/>
                  </a:lnTo>
                  <a:lnTo>
                    <a:pt x="452" y="107"/>
                  </a:lnTo>
                  <a:lnTo>
                    <a:pt x="452" y="107"/>
                  </a:lnTo>
                  <a:lnTo>
                    <a:pt x="452" y="107"/>
                  </a:lnTo>
                  <a:lnTo>
                    <a:pt x="452" y="106"/>
                  </a:lnTo>
                  <a:lnTo>
                    <a:pt x="452" y="106"/>
                  </a:lnTo>
                  <a:lnTo>
                    <a:pt x="455" y="103"/>
                  </a:lnTo>
                  <a:lnTo>
                    <a:pt x="455" y="101"/>
                  </a:lnTo>
                  <a:lnTo>
                    <a:pt x="455" y="100"/>
                  </a:lnTo>
                  <a:lnTo>
                    <a:pt x="455" y="98"/>
                  </a:lnTo>
                  <a:lnTo>
                    <a:pt x="455" y="98"/>
                  </a:lnTo>
                  <a:lnTo>
                    <a:pt x="456" y="97"/>
                  </a:lnTo>
                  <a:lnTo>
                    <a:pt x="458" y="97"/>
                  </a:lnTo>
                  <a:lnTo>
                    <a:pt x="459" y="94"/>
                  </a:lnTo>
                  <a:lnTo>
                    <a:pt x="459" y="94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7" y="92"/>
                  </a:lnTo>
                  <a:lnTo>
                    <a:pt x="469" y="92"/>
                  </a:lnTo>
                  <a:lnTo>
                    <a:pt x="469" y="92"/>
                  </a:lnTo>
                  <a:lnTo>
                    <a:pt x="470" y="90"/>
                  </a:lnTo>
                  <a:lnTo>
                    <a:pt x="472" y="87"/>
                  </a:lnTo>
                  <a:lnTo>
                    <a:pt x="473" y="86"/>
                  </a:lnTo>
                  <a:lnTo>
                    <a:pt x="479" y="89"/>
                  </a:lnTo>
                  <a:lnTo>
                    <a:pt x="481" y="89"/>
                  </a:lnTo>
                  <a:lnTo>
                    <a:pt x="484" y="89"/>
                  </a:lnTo>
                  <a:lnTo>
                    <a:pt x="487" y="87"/>
                  </a:lnTo>
                  <a:lnTo>
                    <a:pt x="489" y="86"/>
                  </a:lnTo>
                  <a:lnTo>
                    <a:pt x="490" y="84"/>
                  </a:lnTo>
                  <a:lnTo>
                    <a:pt x="492" y="83"/>
                  </a:lnTo>
                  <a:lnTo>
                    <a:pt x="493" y="83"/>
                  </a:lnTo>
                  <a:lnTo>
                    <a:pt x="495" y="83"/>
                  </a:lnTo>
                  <a:lnTo>
                    <a:pt x="495" y="81"/>
                  </a:lnTo>
                  <a:lnTo>
                    <a:pt x="496" y="81"/>
                  </a:lnTo>
                  <a:lnTo>
                    <a:pt x="496" y="80"/>
                  </a:lnTo>
                  <a:lnTo>
                    <a:pt x="495" y="80"/>
                  </a:lnTo>
                  <a:lnTo>
                    <a:pt x="495" y="78"/>
                  </a:lnTo>
                  <a:lnTo>
                    <a:pt x="496" y="77"/>
                  </a:lnTo>
                  <a:lnTo>
                    <a:pt x="498" y="75"/>
                  </a:lnTo>
                  <a:lnTo>
                    <a:pt x="501" y="75"/>
                  </a:lnTo>
                  <a:lnTo>
                    <a:pt x="501" y="74"/>
                  </a:lnTo>
                  <a:lnTo>
                    <a:pt x="504" y="70"/>
                  </a:lnTo>
                  <a:lnTo>
                    <a:pt x="504" y="69"/>
                  </a:lnTo>
                  <a:lnTo>
                    <a:pt x="503" y="6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73"/>
            <p:cNvSpPr>
              <a:spLocks noEditPoints="1"/>
            </p:cNvSpPr>
            <p:nvPr/>
          </p:nvSpPr>
          <p:spPr bwMode="gray">
            <a:xfrm>
              <a:off x="8002588" y="8050213"/>
              <a:ext cx="1020763" cy="1041400"/>
            </a:xfrm>
            <a:custGeom>
              <a:avLst/>
              <a:gdLst>
                <a:gd name="T0" fmla="*/ 459 w 643"/>
                <a:gd name="T1" fmla="*/ 630 h 656"/>
                <a:gd name="T2" fmla="*/ 345 w 643"/>
                <a:gd name="T3" fmla="*/ 601 h 656"/>
                <a:gd name="T4" fmla="*/ 293 w 643"/>
                <a:gd name="T5" fmla="*/ 604 h 656"/>
                <a:gd name="T6" fmla="*/ 407 w 643"/>
                <a:gd name="T7" fmla="*/ 645 h 656"/>
                <a:gd name="T8" fmla="*/ 561 w 643"/>
                <a:gd name="T9" fmla="*/ 567 h 656"/>
                <a:gd name="T10" fmla="*/ 247 w 643"/>
                <a:gd name="T11" fmla="*/ 533 h 656"/>
                <a:gd name="T12" fmla="*/ 624 w 643"/>
                <a:gd name="T13" fmla="*/ 544 h 656"/>
                <a:gd name="T14" fmla="*/ 581 w 643"/>
                <a:gd name="T15" fmla="*/ 515 h 656"/>
                <a:gd name="T16" fmla="*/ 615 w 643"/>
                <a:gd name="T17" fmla="*/ 491 h 656"/>
                <a:gd name="T18" fmla="*/ 362 w 643"/>
                <a:gd name="T19" fmla="*/ 488 h 656"/>
                <a:gd name="T20" fmla="*/ 433 w 643"/>
                <a:gd name="T21" fmla="*/ 473 h 656"/>
                <a:gd name="T22" fmla="*/ 473 w 643"/>
                <a:gd name="T23" fmla="*/ 465 h 656"/>
                <a:gd name="T24" fmla="*/ 550 w 643"/>
                <a:gd name="T25" fmla="*/ 456 h 656"/>
                <a:gd name="T26" fmla="*/ 541 w 643"/>
                <a:gd name="T27" fmla="*/ 447 h 656"/>
                <a:gd name="T28" fmla="*/ 364 w 643"/>
                <a:gd name="T29" fmla="*/ 438 h 656"/>
                <a:gd name="T30" fmla="*/ 518 w 643"/>
                <a:gd name="T31" fmla="*/ 428 h 656"/>
                <a:gd name="T32" fmla="*/ 396 w 643"/>
                <a:gd name="T33" fmla="*/ 410 h 656"/>
                <a:gd name="T34" fmla="*/ 399 w 643"/>
                <a:gd name="T35" fmla="*/ 394 h 656"/>
                <a:gd name="T36" fmla="*/ 541 w 643"/>
                <a:gd name="T37" fmla="*/ 396 h 656"/>
                <a:gd name="T38" fmla="*/ 93 w 643"/>
                <a:gd name="T39" fmla="*/ 396 h 656"/>
                <a:gd name="T40" fmla="*/ 288 w 643"/>
                <a:gd name="T41" fmla="*/ 364 h 656"/>
                <a:gd name="T42" fmla="*/ 62 w 643"/>
                <a:gd name="T43" fmla="*/ 333 h 656"/>
                <a:gd name="T44" fmla="*/ 85 w 643"/>
                <a:gd name="T45" fmla="*/ 328 h 656"/>
                <a:gd name="T46" fmla="*/ 485 w 643"/>
                <a:gd name="T47" fmla="*/ 319 h 656"/>
                <a:gd name="T48" fmla="*/ 80 w 643"/>
                <a:gd name="T49" fmla="*/ 284 h 656"/>
                <a:gd name="T50" fmla="*/ 376 w 643"/>
                <a:gd name="T51" fmla="*/ 290 h 656"/>
                <a:gd name="T52" fmla="*/ 342 w 643"/>
                <a:gd name="T53" fmla="*/ 328 h 656"/>
                <a:gd name="T54" fmla="*/ 241 w 643"/>
                <a:gd name="T55" fmla="*/ 285 h 656"/>
                <a:gd name="T56" fmla="*/ 336 w 643"/>
                <a:gd name="T57" fmla="*/ 339 h 656"/>
                <a:gd name="T58" fmla="*/ 318 w 643"/>
                <a:gd name="T59" fmla="*/ 251 h 656"/>
                <a:gd name="T60" fmla="*/ 485 w 643"/>
                <a:gd name="T61" fmla="*/ 239 h 656"/>
                <a:gd name="T62" fmla="*/ 404 w 643"/>
                <a:gd name="T63" fmla="*/ 219 h 656"/>
                <a:gd name="T64" fmla="*/ 28 w 643"/>
                <a:gd name="T65" fmla="*/ 230 h 656"/>
                <a:gd name="T66" fmla="*/ 424 w 643"/>
                <a:gd name="T67" fmla="*/ 191 h 656"/>
                <a:gd name="T68" fmla="*/ 373 w 643"/>
                <a:gd name="T69" fmla="*/ 116 h 656"/>
                <a:gd name="T70" fmla="*/ 261 w 643"/>
                <a:gd name="T71" fmla="*/ 387 h 656"/>
                <a:gd name="T72" fmla="*/ 321 w 643"/>
                <a:gd name="T73" fmla="*/ 388 h 656"/>
                <a:gd name="T74" fmla="*/ 296 w 643"/>
                <a:gd name="T75" fmla="*/ 321 h 656"/>
                <a:gd name="T76" fmla="*/ 222 w 643"/>
                <a:gd name="T77" fmla="*/ 277 h 656"/>
                <a:gd name="T78" fmla="*/ 253 w 643"/>
                <a:gd name="T79" fmla="*/ 236 h 656"/>
                <a:gd name="T80" fmla="*/ 221 w 643"/>
                <a:gd name="T81" fmla="*/ 168 h 656"/>
                <a:gd name="T82" fmla="*/ 264 w 643"/>
                <a:gd name="T83" fmla="*/ 145 h 656"/>
                <a:gd name="T84" fmla="*/ 327 w 643"/>
                <a:gd name="T85" fmla="*/ 170 h 656"/>
                <a:gd name="T86" fmla="*/ 315 w 643"/>
                <a:gd name="T87" fmla="*/ 122 h 656"/>
                <a:gd name="T88" fmla="*/ 412 w 643"/>
                <a:gd name="T89" fmla="*/ 79 h 656"/>
                <a:gd name="T90" fmla="*/ 502 w 643"/>
                <a:gd name="T91" fmla="*/ 74 h 656"/>
                <a:gd name="T92" fmla="*/ 487 w 643"/>
                <a:gd name="T93" fmla="*/ 28 h 656"/>
                <a:gd name="T94" fmla="*/ 359 w 643"/>
                <a:gd name="T95" fmla="*/ 23 h 656"/>
                <a:gd name="T96" fmla="*/ 227 w 643"/>
                <a:gd name="T97" fmla="*/ 59 h 656"/>
                <a:gd name="T98" fmla="*/ 100 w 643"/>
                <a:gd name="T99" fmla="*/ 90 h 656"/>
                <a:gd name="T100" fmla="*/ 50 w 643"/>
                <a:gd name="T101" fmla="*/ 191 h 656"/>
                <a:gd name="T102" fmla="*/ 50 w 643"/>
                <a:gd name="T103" fmla="*/ 234 h 656"/>
                <a:gd name="T104" fmla="*/ 96 w 643"/>
                <a:gd name="T105" fmla="*/ 262 h 656"/>
                <a:gd name="T106" fmla="*/ 87 w 643"/>
                <a:gd name="T107" fmla="*/ 273 h 656"/>
                <a:gd name="T108" fmla="*/ 110 w 643"/>
                <a:gd name="T109" fmla="*/ 331 h 656"/>
                <a:gd name="T110" fmla="*/ 159 w 643"/>
                <a:gd name="T111" fmla="*/ 331 h 656"/>
                <a:gd name="T112" fmla="*/ 228 w 643"/>
                <a:gd name="T113" fmla="*/ 331 h 656"/>
                <a:gd name="T114" fmla="*/ 216 w 643"/>
                <a:gd name="T115" fmla="*/ 351 h 656"/>
                <a:gd name="T116" fmla="*/ 124 w 643"/>
                <a:gd name="T117" fmla="*/ 384 h 656"/>
                <a:gd name="T118" fmla="*/ 188 w 643"/>
                <a:gd name="T119" fmla="*/ 461 h 656"/>
                <a:gd name="T120" fmla="*/ 238 w 643"/>
                <a:gd name="T121" fmla="*/ 487 h 656"/>
                <a:gd name="T122" fmla="*/ 251 w 643"/>
                <a:gd name="T123" fmla="*/ 458 h 656"/>
                <a:gd name="T124" fmla="*/ 256 w 643"/>
                <a:gd name="T125" fmla="*/ 411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3" h="656">
                  <a:moveTo>
                    <a:pt x="336" y="655"/>
                  </a:moveTo>
                  <a:lnTo>
                    <a:pt x="336" y="655"/>
                  </a:lnTo>
                  <a:lnTo>
                    <a:pt x="336" y="653"/>
                  </a:lnTo>
                  <a:lnTo>
                    <a:pt x="336" y="653"/>
                  </a:lnTo>
                  <a:lnTo>
                    <a:pt x="335" y="652"/>
                  </a:lnTo>
                  <a:lnTo>
                    <a:pt x="333" y="652"/>
                  </a:lnTo>
                  <a:lnTo>
                    <a:pt x="333" y="652"/>
                  </a:lnTo>
                  <a:lnTo>
                    <a:pt x="331" y="653"/>
                  </a:lnTo>
                  <a:lnTo>
                    <a:pt x="331" y="653"/>
                  </a:lnTo>
                  <a:lnTo>
                    <a:pt x="331" y="653"/>
                  </a:lnTo>
                  <a:lnTo>
                    <a:pt x="330" y="653"/>
                  </a:lnTo>
                  <a:lnTo>
                    <a:pt x="330" y="653"/>
                  </a:lnTo>
                  <a:lnTo>
                    <a:pt x="333" y="656"/>
                  </a:lnTo>
                  <a:lnTo>
                    <a:pt x="335" y="656"/>
                  </a:lnTo>
                  <a:lnTo>
                    <a:pt x="336" y="656"/>
                  </a:lnTo>
                  <a:lnTo>
                    <a:pt x="336" y="656"/>
                  </a:lnTo>
                  <a:lnTo>
                    <a:pt x="336" y="656"/>
                  </a:lnTo>
                  <a:lnTo>
                    <a:pt x="336" y="655"/>
                  </a:lnTo>
                  <a:close/>
                  <a:moveTo>
                    <a:pt x="550" y="601"/>
                  </a:moveTo>
                  <a:lnTo>
                    <a:pt x="549" y="601"/>
                  </a:lnTo>
                  <a:lnTo>
                    <a:pt x="547" y="601"/>
                  </a:lnTo>
                  <a:lnTo>
                    <a:pt x="544" y="602"/>
                  </a:lnTo>
                  <a:lnTo>
                    <a:pt x="544" y="602"/>
                  </a:lnTo>
                  <a:lnTo>
                    <a:pt x="542" y="602"/>
                  </a:lnTo>
                  <a:lnTo>
                    <a:pt x="542" y="602"/>
                  </a:lnTo>
                  <a:lnTo>
                    <a:pt x="542" y="602"/>
                  </a:lnTo>
                  <a:lnTo>
                    <a:pt x="541" y="604"/>
                  </a:lnTo>
                  <a:lnTo>
                    <a:pt x="541" y="604"/>
                  </a:lnTo>
                  <a:lnTo>
                    <a:pt x="541" y="604"/>
                  </a:lnTo>
                  <a:lnTo>
                    <a:pt x="539" y="605"/>
                  </a:lnTo>
                  <a:lnTo>
                    <a:pt x="539" y="605"/>
                  </a:lnTo>
                  <a:lnTo>
                    <a:pt x="538" y="607"/>
                  </a:lnTo>
                  <a:lnTo>
                    <a:pt x="539" y="607"/>
                  </a:lnTo>
                  <a:lnTo>
                    <a:pt x="539" y="608"/>
                  </a:lnTo>
                  <a:lnTo>
                    <a:pt x="541" y="608"/>
                  </a:lnTo>
                  <a:lnTo>
                    <a:pt x="541" y="608"/>
                  </a:lnTo>
                  <a:lnTo>
                    <a:pt x="542" y="607"/>
                  </a:lnTo>
                  <a:lnTo>
                    <a:pt x="544" y="607"/>
                  </a:lnTo>
                  <a:lnTo>
                    <a:pt x="544" y="607"/>
                  </a:lnTo>
                  <a:lnTo>
                    <a:pt x="546" y="605"/>
                  </a:lnTo>
                  <a:lnTo>
                    <a:pt x="546" y="605"/>
                  </a:lnTo>
                  <a:lnTo>
                    <a:pt x="547" y="605"/>
                  </a:lnTo>
                  <a:lnTo>
                    <a:pt x="547" y="604"/>
                  </a:lnTo>
                  <a:lnTo>
                    <a:pt x="549" y="604"/>
                  </a:lnTo>
                  <a:lnTo>
                    <a:pt x="550" y="604"/>
                  </a:lnTo>
                  <a:lnTo>
                    <a:pt x="550" y="604"/>
                  </a:lnTo>
                  <a:lnTo>
                    <a:pt x="550" y="602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50" y="601"/>
                  </a:lnTo>
                  <a:close/>
                  <a:moveTo>
                    <a:pt x="498" y="615"/>
                  </a:moveTo>
                  <a:lnTo>
                    <a:pt x="498" y="613"/>
                  </a:lnTo>
                  <a:lnTo>
                    <a:pt x="499" y="612"/>
                  </a:lnTo>
                  <a:lnTo>
                    <a:pt x="498" y="612"/>
                  </a:lnTo>
                  <a:lnTo>
                    <a:pt x="498" y="612"/>
                  </a:lnTo>
                  <a:lnTo>
                    <a:pt x="498" y="613"/>
                  </a:lnTo>
                  <a:lnTo>
                    <a:pt x="498" y="613"/>
                  </a:lnTo>
                  <a:lnTo>
                    <a:pt x="498" y="613"/>
                  </a:lnTo>
                  <a:lnTo>
                    <a:pt x="496" y="613"/>
                  </a:lnTo>
                  <a:lnTo>
                    <a:pt x="498" y="615"/>
                  </a:lnTo>
                  <a:lnTo>
                    <a:pt x="495" y="615"/>
                  </a:lnTo>
                  <a:lnTo>
                    <a:pt x="493" y="616"/>
                  </a:lnTo>
                  <a:lnTo>
                    <a:pt x="492" y="618"/>
                  </a:lnTo>
                  <a:lnTo>
                    <a:pt x="490" y="619"/>
                  </a:lnTo>
                  <a:lnTo>
                    <a:pt x="490" y="619"/>
                  </a:lnTo>
                  <a:lnTo>
                    <a:pt x="490" y="621"/>
                  </a:lnTo>
                  <a:lnTo>
                    <a:pt x="490" y="621"/>
                  </a:lnTo>
                  <a:lnTo>
                    <a:pt x="489" y="621"/>
                  </a:lnTo>
                  <a:lnTo>
                    <a:pt x="487" y="622"/>
                  </a:lnTo>
                  <a:lnTo>
                    <a:pt x="485" y="622"/>
                  </a:lnTo>
                  <a:lnTo>
                    <a:pt x="484" y="621"/>
                  </a:lnTo>
                  <a:lnTo>
                    <a:pt x="484" y="621"/>
                  </a:lnTo>
                  <a:lnTo>
                    <a:pt x="481" y="619"/>
                  </a:lnTo>
                  <a:lnTo>
                    <a:pt x="481" y="619"/>
                  </a:lnTo>
                  <a:lnTo>
                    <a:pt x="479" y="619"/>
                  </a:lnTo>
                  <a:lnTo>
                    <a:pt x="479" y="619"/>
                  </a:lnTo>
                  <a:lnTo>
                    <a:pt x="479" y="619"/>
                  </a:lnTo>
                  <a:lnTo>
                    <a:pt x="478" y="619"/>
                  </a:lnTo>
                  <a:lnTo>
                    <a:pt x="478" y="619"/>
                  </a:lnTo>
                  <a:lnTo>
                    <a:pt x="478" y="619"/>
                  </a:lnTo>
                  <a:lnTo>
                    <a:pt x="476" y="621"/>
                  </a:lnTo>
                  <a:lnTo>
                    <a:pt x="475" y="622"/>
                  </a:lnTo>
                  <a:lnTo>
                    <a:pt x="473" y="622"/>
                  </a:lnTo>
                  <a:lnTo>
                    <a:pt x="472" y="622"/>
                  </a:lnTo>
                  <a:lnTo>
                    <a:pt x="469" y="624"/>
                  </a:lnTo>
                  <a:lnTo>
                    <a:pt x="467" y="624"/>
                  </a:lnTo>
                  <a:lnTo>
                    <a:pt x="467" y="624"/>
                  </a:lnTo>
                  <a:lnTo>
                    <a:pt x="467" y="625"/>
                  </a:lnTo>
                  <a:lnTo>
                    <a:pt x="465" y="625"/>
                  </a:lnTo>
                  <a:lnTo>
                    <a:pt x="465" y="625"/>
                  </a:lnTo>
                  <a:lnTo>
                    <a:pt x="465" y="625"/>
                  </a:lnTo>
                  <a:lnTo>
                    <a:pt x="464" y="627"/>
                  </a:lnTo>
                  <a:lnTo>
                    <a:pt x="462" y="629"/>
                  </a:lnTo>
                  <a:lnTo>
                    <a:pt x="462" y="630"/>
                  </a:lnTo>
                  <a:lnTo>
                    <a:pt x="459" y="630"/>
                  </a:lnTo>
                  <a:lnTo>
                    <a:pt x="459" y="630"/>
                  </a:lnTo>
                  <a:lnTo>
                    <a:pt x="458" y="629"/>
                  </a:lnTo>
                  <a:lnTo>
                    <a:pt x="456" y="629"/>
                  </a:lnTo>
                  <a:lnTo>
                    <a:pt x="456" y="629"/>
                  </a:lnTo>
                  <a:lnTo>
                    <a:pt x="455" y="629"/>
                  </a:lnTo>
                  <a:lnTo>
                    <a:pt x="455" y="625"/>
                  </a:lnTo>
                  <a:lnTo>
                    <a:pt x="455" y="625"/>
                  </a:lnTo>
                  <a:lnTo>
                    <a:pt x="455" y="624"/>
                  </a:lnTo>
                  <a:lnTo>
                    <a:pt x="453" y="624"/>
                  </a:lnTo>
                  <a:lnTo>
                    <a:pt x="455" y="622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6" y="619"/>
                  </a:lnTo>
                  <a:lnTo>
                    <a:pt x="455" y="618"/>
                  </a:lnTo>
                  <a:lnTo>
                    <a:pt x="456" y="618"/>
                  </a:lnTo>
                  <a:lnTo>
                    <a:pt x="456" y="616"/>
                  </a:lnTo>
                  <a:lnTo>
                    <a:pt x="456" y="616"/>
                  </a:lnTo>
                  <a:lnTo>
                    <a:pt x="456" y="618"/>
                  </a:lnTo>
                  <a:lnTo>
                    <a:pt x="458" y="616"/>
                  </a:lnTo>
                  <a:lnTo>
                    <a:pt x="456" y="616"/>
                  </a:lnTo>
                  <a:lnTo>
                    <a:pt x="456" y="616"/>
                  </a:lnTo>
                  <a:lnTo>
                    <a:pt x="458" y="615"/>
                  </a:lnTo>
                  <a:lnTo>
                    <a:pt x="456" y="615"/>
                  </a:lnTo>
                  <a:lnTo>
                    <a:pt x="456" y="615"/>
                  </a:lnTo>
                  <a:lnTo>
                    <a:pt x="456" y="615"/>
                  </a:lnTo>
                  <a:lnTo>
                    <a:pt x="456" y="616"/>
                  </a:lnTo>
                  <a:lnTo>
                    <a:pt x="455" y="616"/>
                  </a:lnTo>
                  <a:lnTo>
                    <a:pt x="455" y="616"/>
                  </a:lnTo>
                  <a:lnTo>
                    <a:pt x="455" y="615"/>
                  </a:lnTo>
                  <a:lnTo>
                    <a:pt x="455" y="615"/>
                  </a:lnTo>
                  <a:lnTo>
                    <a:pt x="455" y="613"/>
                  </a:lnTo>
                  <a:lnTo>
                    <a:pt x="456" y="612"/>
                  </a:lnTo>
                  <a:lnTo>
                    <a:pt x="458" y="612"/>
                  </a:lnTo>
                  <a:lnTo>
                    <a:pt x="458" y="610"/>
                  </a:lnTo>
                  <a:lnTo>
                    <a:pt x="453" y="610"/>
                  </a:lnTo>
                  <a:lnTo>
                    <a:pt x="453" y="610"/>
                  </a:lnTo>
                  <a:lnTo>
                    <a:pt x="452" y="608"/>
                  </a:lnTo>
                  <a:lnTo>
                    <a:pt x="450" y="608"/>
                  </a:lnTo>
                  <a:lnTo>
                    <a:pt x="449" y="608"/>
                  </a:lnTo>
                  <a:lnTo>
                    <a:pt x="436" y="613"/>
                  </a:lnTo>
                  <a:lnTo>
                    <a:pt x="435" y="613"/>
                  </a:lnTo>
                  <a:lnTo>
                    <a:pt x="433" y="613"/>
                  </a:lnTo>
                  <a:lnTo>
                    <a:pt x="432" y="612"/>
                  </a:lnTo>
                  <a:lnTo>
                    <a:pt x="430" y="610"/>
                  </a:lnTo>
                  <a:lnTo>
                    <a:pt x="428" y="608"/>
                  </a:lnTo>
                  <a:lnTo>
                    <a:pt x="428" y="610"/>
                  </a:lnTo>
                  <a:lnTo>
                    <a:pt x="428" y="608"/>
                  </a:lnTo>
                  <a:lnTo>
                    <a:pt x="427" y="610"/>
                  </a:lnTo>
                  <a:lnTo>
                    <a:pt x="425" y="610"/>
                  </a:lnTo>
                  <a:lnTo>
                    <a:pt x="424" y="608"/>
                  </a:lnTo>
                  <a:lnTo>
                    <a:pt x="419" y="610"/>
                  </a:lnTo>
                  <a:lnTo>
                    <a:pt x="418" y="610"/>
                  </a:lnTo>
                  <a:lnTo>
                    <a:pt x="416" y="610"/>
                  </a:lnTo>
                  <a:lnTo>
                    <a:pt x="416" y="608"/>
                  </a:lnTo>
                  <a:lnTo>
                    <a:pt x="416" y="608"/>
                  </a:lnTo>
                  <a:lnTo>
                    <a:pt x="416" y="608"/>
                  </a:lnTo>
                  <a:lnTo>
                    <a:pt x="415" y="608"/>
                  </a:lnTo>
                  <a:lnTo>
                    <a:pt x="412" y="608"/>
                  </a:lnTo>
                  <a:lnTo>
                    <a:pt x="408" y="608"/>
                  </a:lnTo>
                  <a:lnTo>
                    <a:pt x="407" y="608"/>
                  </a:lnTo>
                  <a:lnTo>
                    <a:pt x="405" y="608"/>
                  </a:lnTo>
                  <a:lnTo>
                    <a:pt x="404" y="605"/>
                  </a:lnTo>
                  <a:lnTo>
                    <a:pt x="404" y="605"/>
                  </a:lnTo>
                  <a:lnTo>
                    <a:pt x="405" y="604"/>
                  </a:lnTo>
                  <a:lnTo>
                    <a:pt x="405" y="604"/>
                  </a:lnTo>
                  <a:lnTo>
                    <a:pt x="405" y="604"/>
                  </a:lnTo>
                  <a:lnTo>
                    <a:pt x="404" y="604"/>
                  </a:lnTo>
                  <a:lnTo>
                    <a:pt x="402" y="604"/>
                  </a:lnTo>
                  <a:lnTo>
                    <a:pt x="402" y="602"/>
                  </a:lnTo>
                  <a:lnTo>
                    <a:pt x="399" y="602"/>
                  </a:lnTo>
                  <a:lnTo>
                    <a:pt x="399" y="602"/>
                  </a:lnTo>
                  <a:lnTo>
                    <a:pt x="398" y="602"/>
                  </a:lnTo>
                  <a:lnTo>
                    <a:pt x="398" y="602"/>
                  </a:lnTo>
                  <a:lnTo>
                    <a:pt x="398" y="604"/>
                  </a:lnTo>
                  <a:lnTo>
                    <a:pt x="393" y="602"/>
                  </a:lnTo>
                  <a:lnTo>
                    <a:pt x="392" y="602"/>
                  </a:lnTo>
                  <a:lnTo>
                    <a:pt x="390" y="602"/>
                  </a:lnTo>
                  <a:lnTo>
                    <a:pt x="388" y="604"/>
                  </a:lnTo>
                  <a:lnTo>
                    <a:pt x="387" y="602"/>
                  </a:lnTo>
                  <a:lnTo>
                    <a:pt x="381" y="601"/>
                  </a:lnTo>
                  <a:lnTo>
                    <a:pt x="378" y="601"/>
                  </a:lnTo>
                  <a:lnTo>
                    <a:pt x="376" y="602"/>
                  </a:lnTo>
                  <a:lnTo>
                    <a:pt x="375" y="602"/>
                  </a:lnTo>
                  <a:lnTo>
                    <a:pt x="370" y="604"/>
                  </a:lnTo>
                  <a:lnTo>
                    <a:pt x="368" y="605"/>
                  </a:lnTo>
                  <a:lnTo>
                    <a:pt x="362" y="607"/>
                  </a:lnTo>
                  <a:lnTo>
                    <a:pt x="361" y="607"/>
                  </a:lnTo>
                  <a:lnTo>
                    <a:pt x="358" y="607"/>
                  </a:lnTo>
                  <a:lnTo>
                    <a:pt x="351" y="608"/>
                  </a:lnTo>
                  <a:lnTo>
                    <a:pt x="348" y="607"/>
                  </a:lnTo>
                  <a:lnTo>
                    <a:pt x="348" y="607"/>
                  </a:lnTo>
                  <a:lnTo>
                    <a:pt x="347" y="607"/>
                  </a:lnTo>
                  <a:lnTo>
                    <a:pt x="347" y="607"/>
                  </a:lnTo>
                  <a:lnTo>
                    <a:pt x="345" y="605"/>
                  </a:lnTo>
                  <a:lnTo>
                    <a:pt x="347" y="602"/>
                  </a:lnTo>
                  <a:lnTo>
                    <a:pt x="345" y="601"/>
                  </a:lnTo>
                  <a:lnTo>
                    <a:pt x="345" y="596"/>
                  </a:lnTo>
                  <a:lnTo>
                    <a:pt x="344" y="598"/>
                  </a:lnTo>
                  <a:lnTo>
                    <a:pt x="342" y="598"/>
                  </a:lnTo>
                  <a:lnTo>
                    <a:pt x="342" y="599"/>
                  </a:lnTo>
                  <a:lnTo>
                    <a:pt x="341" y="599"/>
                  </a:lnTo>
                  <a:lnTo>
                    <a:pt x="339" y="599"/>
                  </a:lnTo>
                  <a:lnTo>
                    <a:pt x="336" y="598"/>
                  </a:lnTo>
                  <a:lnTo>
                    <a:pt x="335" y="596"/>
                  </a:lnTo>
                  <a:lnTo>
                    <a:pt x="333" y="596"/>
                  </a:lnTo>
                  <a:lnTo>
                    <a:pt x="331" y="595"/>
                  </a:lnTo>
                  <a:lnTo>
                    <a:pt x="331" y="595"/>
                  </a:lnTo>
                  <a:lnTo>
                    <a:pt x="333" y="593"/>
                  </a:lnTo>
                  <a:lnTo>
                    <a:pt x="335" y="593"/>
                  </a:lnTo>
                  <a:lnTo>
                    <a:pt x="338" y="595"/>
                  </a:lnTo>
                  <a:lnTo>
                    <a:pt x="339" y="595"/>
                  </a:lnTo>
                  <a:lnTo>
                    <a:pt x="339" y="593"/>
                  </a:lnTo>
                  <a:lnTo>
                    <a:pt x="341" y="593"/>
                  </a:lnTo>
                  <a:lnTo>
                    <a:pt x="341" y="593"/>
                  </a:lnTo>
                  <a:lnTo>
                    <a:pt x="341" y="592"/>
                  </a:lnTo>
                  <a:lnTo>
                    <a:pt x="341" y="592"/>
                  </a:lnTo>
                  <a:lnTo>
                    <a:pt x="342" y="592"/>
                  </a:lnTo>
                  <a:lnTo>
                    <a:pt x="341" y="587"/>
                  </a:lnTo>
                  <a:lnTo>
                    <a:pt x="338" y="585"/>
                  </a:lnTo>
                  <a:lnTo>
                    <a:pt x="335" y="585"/>
                  </a:lnTo>
                  <a:lnTo>
                    <a:pt x="333" y="587"/>
                  </a:lnTo>
                  <a:lnTo>
                    <a:pt x="333" y="590"/>
                  </a:lnTo>
                  <a:lnTo>
                    <a:pt x="331" y="590"/>
                  </a:lnTo>
                  <a:lnTo>
                    <a:pt x="330" y="590"/>
                  </a:lnTo>
                  <a:lnTo>
                    <a:pt x="330" y="590"/>
                  </a:lnTo>
                  <a:lnTo>
                    <a:pt x="330" y="592"/>
                  </a:lnTo>
                  <a:lnTo>
                    <a:pt x="330" y="592"/>
                  </a:lnTo>
                  <a:lnTo>
                    <a:pt x="328" y="593"/>
                  </a:lnTo>
                  <a:lnTo>
                    <a:pt x="328" y="593"/>
                  </a:lnTo>
                  <a:lnTo>
                    <a:pt x="327" y="593"/>
                  </a:lnTo>
                  <a:lnTo>
                    <a:pt x="322" y="593"/>
                  </a:lnTo>
                  <a:lnTo>
                    <a:pt x="321" y="593"/>
                  </a:lnTo>
                  <a:lnTo>
                    <a:pt x="319" y="592"/>
                  </a:lnTo>
                  <a:lnTo>
                    <a:pt x="313" y="592"/>
                  </a:lnTo>
                  <a:lnTo>
                    <a:pt x="311" y="590"/>
                  </a:lnTo>
                  <a:lnTo>
                    <a:pt x="310" y="588"/>
                  </a:lnTo>
                  <a:lnTo>
                    <a:pt x="310" y="587"/>
                  </a:lnTo>
                  <a:lnTo>
                    <a:pt x="310" y="585"/>
                  </a:lnTo>
                  <a:lnTo>
                    <a:pt x="310" y="582"/>
                  </a:lnTo>
                  <a:lnTo>
                    <a:pt x="308" y="581"/>
                  </a:lnTo>
                  <a:lnTo>
                    <a:pt x="310" y="579"/>
                  </a:lnTo>
                  <a:lnTo>
                    <a:pt x="310" y="579"/>
                  </a:lnTo>
                  <a:lnTo>
                    <a:pt x="308" y="578"/>
                  </a:lnTo>
                  <a:lnTo>
                    <a:pt x="308" y="578"/>
                  </a:lnTo>
                  <a:lnTo>
                    <a:pt x="307" y="578"/>
                  </a:lnTo>
                  <a:lnTo>
                    <a:pt x="307" y="579"/>
                  </a:lnTo>
                  <a:lnTo>
                    <a:pt x="305" y="581"/>
                  </a:lnTo>
                  <a:lnTo>
                    <a:pt x="305" y="581"/>
                  </a:lnTo>
                  <a:lnTo>
                    <a:pt x="305" y="582"/>
                  </a:lnTo>
                  <a:lnTo>
                    <a:pt x="305" y="584"/>
                  </a:lnTo>
                  <a:lnTo>
                    <a:pt x="305" y="585"/>
                  </a:lnTo>
                  <a:lnTo>
                    <a:pt x="305" y="587"/>
                  </a:lnTo>
                  <a:lnTo>
                    <a:pt x="305" y="588"/>
                  </a:lnTo>
                  <a:lnTo>
                    <a:pt x="307" y="590"/>
                  </a:lnTo>
                  <a:lnTo>
                    <a:pt x="307" y="592"/>
                  </a:lnTo>
                  <a:lnTo>
                    <a:pt x="305" y="593"/>
                  </a:lnTo>
                  <a:lnTo>
                    <a:pt x="304" y="595"/>
                  </a:lnTo>
                  <a:lnTo>
                    <a:pt x="302" y="595"/>
                  </a:lnTo>
                  <a:lnTo>
                    <a:pt x="301" y="595"/>
                  </a:lnTo>
                  <a:lnTo>
                    <a:pt x="301" y="595"/>
                  </a:lnTo>
                  <a:lnTo>
                    <a:pt x="299" y="595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8" y="593"/>
                  </a:lnTo>
                  <a:lnTo>
                    <a:pt x="298" y="592"/>
                  </a:lnTo>
                  <a:lnTo>
                    <a:pt x="298" y="590"/>
                  </a:lnTo>
                  <a:lnTo>
                    <a:pt x="298" y="587"/>
                  </a:lnTo>
                  <a:lnTo>
                    <a:pt x="298" y="584"/>
                  </a:lnTo>
                  <a:lnTo>
                    <a:pt x="296" y="585"/>
                  </a:lnTo>
                  <a:lnTo>
                    <a:pt x="294" y="588"/>
                  </a:lnTo>
                  <a:lnTo>
                    <a:pt x="296" y="588"/>
                  </a:lnTo>
                  <a:lnTo>
                    <a:pt x="294" y="590"/>
                  </a:lnTo>
                  <a:lnTo>
                    <a:pt x="294" y="592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5"/>
                  </a:lnTo>
                  <a:lnTo>
                    <a:pt x="294" y="595"/>
                  </a:lnTo>
                  <a:lnTo>
                    <a:pt x="294" y="595"/>
                  </a:lnTo>
                  <a:lnTo>
                    <a:pt x="294" y="596"/>
                  </a:lnTo>
                  <a:lnTo>
                    <a:pt x="293" y="599"/>
                  </a:lnTo>
                  <a:lnTo>
                    <a:pt x="293" y="599"/>
                  </a:lnTo>
                  <a:lnTo>
                    <a:pt x="294" y="599"/>
                  </a:lnTo>
                  <a:lnTo>
                    <a:pt x="294" y="599"/>
                  </a:lnTo>
                  <a:lnTo>
                    <a:pt x="294" y="601"/>
                  </a:lnTo>
                  <a:lnTo>
                    <a:pt x="294" y="601"/>
                  </a:lnTo>
                  <a:lnTo>
                    <a:pt x="294" y="602"/>
                  </a:lnTo>
                  <a:lnTo>
                    <a:pt x="293" y="604"/>
                  </a:lnTo>
                  <a:lnTo>
                    <a:pt x="291" y="607"/>
                  </a:lnTo>
                  <a:lnTo>
                    <a:pt x="293" y="608"/>
                  </a:lnTo>
                  <a:lnTo>
                    <a:pt x="293" y="608"/>
                  </a:lnTo>
                  <a:lnTo>
                    <a:pt x="293" y="610"/>
                  </a:lnTo>
                  <a:lnTo>
                    <a:pt x="293" y="610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1" y="612"/>
                  </a:lnTo>
                  <a:lnTo>
                    <a:pt x="291" y="612"/>
                  </a:lnTo>
                  <a:lnTo>
                    <a:pt x="290" y="612"/>
                  </a:lnTo>
                  <a:lnTo>
                    <a:pt x="290" y="613"/>
                  </a:lnTo>
                  <a:lnTo>
                    <a:pt x="290" y="613"/>
                  </a:lnTo>
                  <a:lnTo>
                    <a:pt x="291" y="613"/>
                  </a:lnTo>
                  <a:lnTo>
                    <a:pt x="291" y="613"/>
                  </a:lnTo>
                  <a:lnTo>
                    <a:pt x="290" y="613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93" y="615"/>
                  </a:lnTo>
                  <a:lnTo>
                    <a:pt x="293" y="616"/>
                  </a:lnTo>
                  <a:lnTo>
                    <a:pt x="293" y="616"/>
                  </a:lnTo>
                  <a:lnTo>
                    <a:pt x="294" y="616"/>
                  </a:lnTo>
                  <a:lnTo>
                    <a:pt x="294" y="616"/>
                  </a:lnTo>
                  <a:lnTo>
                    <a:pt x="296" y="618"/>
                  </a:lnTo>
                  <a:lnTo>
                    <a:pt x="296" y="618"/>
                  </a:lnTo>
                  <a:lnTo>
                    <a:pt x="296" y="618"/>
                  </a:lnTo>
                  <a:lnTo>
                    <a:pt x="298" y="619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5" y="619"/>
                  </a:lnTo>
                  <a:lnTo>
                    <a:pt x="310" y="619"/>
                  </a:lnTo>
                  <a:lnTo>
                    <a:pt x="311" y="618"/>
                  </a:lnTo>
                  <a:lnTo>
                    <a:pt x="311" y="618"/>
                  </a:lnTo>
                  <a:lnTo>
                    <a:pt x="313" y="618"/>
                  </a:lnTo>
                  <a:lnTo>
                    <a:pt x="313" y="618"/>
                  </a:lnTo>
                  <a:lnTo>
                    <a:pt x="313" y="618"/>
                  </a:lnTo>
                  <a:lnTo>
                    <a:pt x="316" y="619"/>
                  </a:lnTo>
                  <a:lnTo>
                    <a:pt x="319" y="619"/>
                  </a:lnTo>
                  <a:lnTo>
                    <a:pt x="325" y="619"/>
                  </a:lnTo>
                  <a:lnTo>
                    <a:pt x="327" y="619"/>
                  </a:lnTo>
                  <a:lnTo>
                    <a:pt x="328" y="622"/>
                  </a:lnTo>
                  <a:lnTo>
                    <a:pt x="330" y="622"/>
                  </a:lnTo>
                  <a:lnTo>
                    <a:pt x="331" y="622"/>
                  </a:lnTo>
                  <a:lnTo>
                    <a:pt x="333" y="622"/>
                  </a:lnTo>
                  <a:lnTo>
                    <a:pt x="333" y="621"/>
                  </a:lnTo>
                  <a:lnTo>
                    <a:pt x="333" y="621"/>
                  </a:lnTo>
                  <a:lnTo>
                    <a:pt x="335" y="622"/>
                  </a:lnTo>
                  <a:lnTo>
                    <a:pt x="341" y="622"/>
                  </a:lnTo>
                  <a:lnTo>
                    <a:pt x="341" y="622"/>
                  </a:lnTo>
                  <a:lnTo>
                    <a:pt x="341" y="622"/>
                  </a:lnTo>
                  <a:lnTo>
                    <a:pt x="341" y="621"/>
                  </a:lnTo>
                  <a:lnTo>
                    <a:pt x="342" y="621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8" y="624"/>
                  </a:lnTo>
                  <a:lnTo>
                    <a:pt x="356" y="622"/>
                  </a:lnTo>
                  <a:lnTo>
                    <a:pt x="356" y="624"/>
                  </a:lnTo>
                  <a:lnTo>
                    <a:pt x="356" y="624"/>
                  </a:lnTo>
                  <a:lnTo>
                    <a:pt x="361" y="627"/>
                  </a:lnTo>
                  <a:lnTo>
                    <a:pt x="362" y="625"/>
                  </a:lnTo>
                  <a:lnTo>
                    <a:pt x="364" y="627"/>
                  </a:lnTo>
                  <a:lnTo>
                    <a:pt x="365" y="627"/>
                  </a:lnTo>
                  <a:lnTo>
                    <a:pt x="365" y="629"/>
                  </a:lnTo>
                  <a:lnTo>
                    <a:pt x="367" y="630"/>
                  </a:lnTo>
                  <a:lnTo>
                    <a:pt x="368" y="630"/>
                  </a:lnTo>
                  <a:lnTo>
                    <a:pt x="368" y="630"/>
                  </a:lnTo>
                  <a:lnTo>
                    <a:pt x="370" y="630"/>
                  </a:lnTo>
                  <a:lnTo>
                    <a:pt x="370" y="632"/>
                  </a:lnTo>
                  <a:lnTo>
                    <a:pt x="373" y="632"/>
                  </a:lnTo>
                  <a:lnTo>
                    <a:pt x="379" y="632"/>
                  </a:lnTo>
                  <a:lnTo>
                    <a:pt x="379" y="632"/>
                  </a:lnTo>
                  <a:lnTo>
                    <a:pt x="381" y="632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2" y="633"/>
                  </a:lnTo>
                  <a:lnTo>
                    <a:pt x="382" y="635"/>
                  </a:lnTo>
                  <a:lnTo>
                    <a:pt x="382" y="635"/>
                  </a:lnTo>
                  <a:lnTo>
                    <a:pt x="382" y="636"/>
                  </a:lnTo>
                  <a:lnTo>
                    <a:pt x="382" y="638"/>
                  </a:lnTo>
                  <a:lnTo>
                    <a:pt x="382" y="639"/>
                  </a:lnTo>
                  <a:lnTo>
                    <a:pt x="382" y="641"/>
                  </a:lnTo>
                  <a:lnTo>
                    <a:pt x="382" y="644"/>
                  </a:lnTo>
                  <a:lnTo>
                    <a:pt x="382" y="645"/>
                  </a:lnTo>
                  <a:lnTo>
                    <a:pt x="381" y="645"/>
                  </a:lnTo>
                  <a:lnTo>
                    <a:pt x="381" y="647"/>
                  </a:lnTo>
                  <a:lnTo>
                    <a:pt x="399" y="645"/>
                  </a:lnTo>
                  <a:lnTo>
                    <a:pt x="401" y="645"/>
                  </a:lnTo>
                  <a:lnTo>
                    <a:pt x="402" y="647"/>
                  </a:lnTo>
                  <a:lnTo>
                    <a:pt x="404" y="645"/>
                  </a:lnTo>
                  <a:lnTo>
                    <a:pt x="405" y="645"/>
                  </a:lnTo>
                  <a:lnTo>
                    <a:pt x="407" y="645"/>
                  </a:lnTo>
                  <a:lnTo>
                    <a:pt x="407" y="645"/>
                  </a:lnTo>
                  <a:lnTo>
                    <a:pt x="407" y="645"/>
                  </a:lnTo>
                  <a:lnTo>
                    <a:pt x="408" y="645"/>
                  </a:lnTo>
                  <a:lnTo>
                    <a:pt x="408" y="645"/>
                  </a:lnTo>
                  <a:lnTo>
                    <a:pt x="410" y="645"/>
                  </a:lnTo>
                  <a:lnTo>
                    <a:pt x="410" y="645"/>
                  </a:lnTo>
                  <a:lnTo>
                    <a:pt x="410" y="644"/>
                  </a:lnTo>
                  <a:lnTo>
                    <a:pt x="412" y="644"/>
                  </a:lnTo>
                  <a:lnTo>
                    <a:pt x="416" y="644"/>
                  </a:lnTo>
                  <a:lnTo>
                    <a:pt x="418" y="644"/>
                  </a:lnTo>
                  <a:lnTo>
                    <a:pt x="422" y="642"/>
                  </a:lnTo>
                  <a:lnTo>
                    <a:pt x="422" y="642"/>
                  </a:lnTo>
                  <a:lnTo>
                    <a:pt x="424" y="641"/>
                  </a:lnTo>
                  <a:lnTo>
                    <a:pt x="425" y="641"/>
                  </a:lnTo>
                  <a:lnTo>
                    <a:pt x="427" y="641"/>
                  </a:lnTo>
                  <a:lnTo>
                    <a:pt x="432" y="641"/>
                  </a:lnTo>
                  <a:lnTo>
                    <a:pt x="439" y="641"/>
                  </a:lnTo>
                  <a:lnTo>
                    <a:pt x="439" y="641"/>
                  </a:lnTo>
                  <a:lnTo>
                    <a:pt x="441" y="641"/>
                  </a:lnTo>
                  <a:lnTo>
                    <a:pt x="445" y="639"/>
                  </a:lnTo>
                  <a:lnTo>
                    <a:pt x="461" y="639"/>
                  </a:lnTo>
                  <a:lnTo>
                    <a:pt x="467" y="638"/>
                  </a:lnTo>
                  <a:lnTo>
                    <a:pt x="470" y="638"/>
                  </a:lnTo>
                  <a:lnTo>
                    <a:pt x="472" y="638"/>
                  </a:lnTo>
                  <a:lnTo>
                    <a:pt x="473" y="638"/>
                  </a:lnTo>
                  <a:lnTo>
                    <a:pt x="473" y="636"/>
                  </a:lnTo>
                  <a:lnTo>
                    <a:pt x="475" y="636"/>
                  </a:lnTo>
                  <a:lnTo>
                    <a:pt x="475" y="636"/>
                  </a:lnTo>
                  <a:lnTo>
                    <a:pt x="475" y="638"/>
                  </a:lnTo>
                  <a:lnTo>
                    <a:pt x="476" y="638"/>
                  </a:lnTo>
                  <a:lnTo>
                    <a:pt x="478" y="638"/>
                  </a:lnTo>
                  <a:lnTo>
                    <a:pt x="479" y="638"/>
                  </a:lnTo>
                  <a:lnTo>
                    <a:pt x="481" y="638"/>
                  </a:lnTo>
                  <a:lnTo>
                    <a:pt x="482" y="639"/>
                  </a:lnTo>
                  <a:lnTo>
                    <a:pt x="482" y="639"/>
                  </a:lnTo>
                  <a:lnTo>
                    <a:pt x="482" y="641"/>
                  </a:lnTo>
                  <a:lnTo>
                    <a:pt x="485" y="641"/>
                  </a:lnTo>
                  <a:lnTo>
                    <a:pt x="485" y="639"/>
                  </a:lnTo>
                  <a:lnTo>
                    <a:pt x="490" y="638"/>
                  </a:lnTo>
                  <a:lnTo>
                    <a:pt x="492" y="638"/>
                  </a:lnTo>
                  <a:lnTo>
                    <a:pt x="492" y="638"/>
                  </a:lnTo>
                  <a:lnTo>
                    <a:pt x="493" y="638"/>
                  </a:lnTo>
                  <a:lnTo>
                    <a:pt x="493" y="636"/>
                  </a:lnTo>
                  <a:lnTo>
                    <a:pt x="495" y="635"/>
                  </a:lnTo>
                  <a:lnTo>
                    <a:pt x="495" y="633"/>
                  </a:lnTo>
                  <a:lnTo>
                    <a:pt x="495" y="633"/>
                  </a:lnTo>
                  <a:lnTo>
                    <a:pt x="496" y="632"/>
                  </a:lnTo>
                  <a:lnTo>
                    <a:pt x="496" y="630"/>
                  </a:lnTo>
                  <a:lnTo>
                    <a:pt x="498" y="629"/>
                  </a:lnTo>
                  <a:lnTo>
                    <a:pt x="496" y="627"/>
                  </a:lnTo>
                  <a:lnTo>
                    <a:pt x="498" y="625"/>
                  </a:lnTo>
                  <a:lnTo>
                    <a:pt x="498" y="624"/>
                  </a:lnTo>
                  <a:lnTo>
                    <a:pt x="499" y="622"/>
                  </a:lnTo>
                  <a:lnTo>
                    <a:pt x="498" y="624"/>
                  </a:lnTo>
                  <a:lnTo>
                    <a:pt x="496" y="621"/>
                  </a:lnTo>
                  <a:lnTo>
                    <a:pt x="495" y="616"/>
                  </a:lnTo>
                  <a:lnTo>
                    <a:pt x="496" y="615"/>
                  </a:lnTo>
                  <a:lnTo>
                    <a:pt x="498" y="615"/>
                  </a:lnTo>
                  <a:close/>
                  <a:moveTo>
                    <a:pt x="566" y="593"/>
                  </a:move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4" y="585"/>
                  </a:lnTo>
                  <a:lnTo>
                    <a:pt x="561" y="584"/>
                  </a:lnTo>
                  <a:lnTo>
                    <a:pt x="561" y="584"/>
                  </a:lnTo>
                  <a:lnTo>
                    <a:pt x="561" y="582"/>
                  </a:lnTo>
                  <a:lnTo>
                    <a:pt x="562" y="581"/>
                  </a:lnTo>
                  <a:lnTo>
                    <a:pt x="562" y="579"/>
                  </a:lnTo>
                  <a:lnTo>
                    <a:pt x="562" y="579"/>
                  </a:lnTo>
                  <a:lnTo>
                    <a:pt x="564" y="578"/>
                  </a:lnTo>
                  <a:lnTo>
                    <a:pt x="564" y="576"/>
                  </a:lnTo>
                  <a:lnTo>
                    <a:pt x="564" y="576"/>
                  </a:lnTo>
                  <a:lnTo>
                    <a:pt x="566" y="575"/>
                  </a:lnTo>
                  <a:lnTo>
                    <a:pt x="566" y="575"/>
                  </a:lnTo>
                  <a:lnTo>
                    <a:pt x="566" y="573"/>
                  </a:lnTo>
                  <a:lnTo>
                    <a:pt x="566" y="573"/>
                  </a:lnTo>
                  <a:lnTo>
                    <a:pt x="566" y="572"/>
                  </a:lnTo>
                  <a:lnTo>
                    <a:pt x="566" y="570"/>
                  </a:lnTo>
                  <a:lnTo>
                    <a:pt x="566" y="568"/>
                  </a:lnTo>
                  <a:lnTo>
                    <a:pt x="567" y="567"/>
                  </a:lnTo>
                  <a:lnTo>
                    <a:pt x="567" y="565"/>
                  </a:lnTo>
                  <a:lnTo>
                    <a:pt x="567" y="565"/>
                  </a:lnTo>
                  <a:lnTo>
                    <a:pt x="566" y="565"/>
                  </a:lnTo>
                  <a:lnTo>
                    <a:pt x="566" y="565"/>
                  </a:lnTo>
                  <a:lnTo>
                    <a:pt x="566" y="565"/>
                  </a:lnTo>
                  <a:lnTo>
                    <a:pt x="564" y="567"/>
                  </a:lnTo>
                  <a:lnTo>
                    <a:pt x="564" y="567"/>
                  </a:lnTo>
                  <a:lnTo>
                    <a:pt x="562" y="567"/>
                  </a:lnTo>
                  <a:lnTo>
                    <a:pt x="562" y="567"/>
                  </a:lnTo>
                  <a:lnTo>
                    <a:pt x="562" y="567"/>
                  </a:lnTo>
                  <a:lnTo>
                    <a:pt x="561" y="567"/>
                  </a:lnTo>
                  <a:lnTo>
                    <a:pt x="561" y="568"/>
                  </a:lnTo>
                  <a:lnTo>
                    <a:pt x="562" y="570"/>
                  </a:lnTo>
                  <a:lnTo>
                    <a:pt x="562" y="572"/>
                  </a:lnTo>
                  <a:lnTo>
                    <a:pt x="561" y="575"/>
                  </a:lnTo>
                  <a:lnTo>
                    <a:pt x="559" y="578"/>
                  </a:lnTo>
                  <a:lnTo>
                    <a:pt x="559" y="579"/>
                  </a:lnTo>
                  <a:lnTo>
                    <a:pt x="558" y="582"/>
                  </a:lnTo>
                  <a:lnTo>
                    <a:pt x="556" y="582"/>
                  </a:lnTo>
                  <a:lnTo>
                    <a:pt x="556" y="584"/>
                  </a:lnTo>
                  <a:lnTo>
                    <a:pt x="555" y="584"/>
                  </a:lnTo>
                  <a:lnTo>
                    <a:pt x="555" y="585"/>
                  </a:lnTo>
                  <a:lnTo>
                    <a:pt x="555" y="587"/>
                  </a:lnTo>
                  <a:lnTo>
                    <a:pt x="555" y="587"/>
                  </a:lnTo>
                  <a:lnTo>
                    <a:pt x="558" y="588"/>
                  </a:lnTo>
                  <a:lnTo>
                    <a:pt x="558" y="588"/>
                  </a:lnTo>
                  <a:lnTo>
                    <a:pt x="558" y="590"/>
                  </a:lnTo>
                  <a:lnTo>
                    <a:pt x="558" y="590"/>
                  </a:lnTo>
                  <a:lnTo>
                    <a:pt x="558" y="592"/>
                  </a:lnTo>
                  <a:lnTo>
                    <a:pt x="558" y="593"/>
                  </a:lnTo>
                  <a:lnTo>
                    <a:pt x="559" y="595"/>
                  </a:lnTo>
                  <a:lnTo>
                    <a:pt x="558" y="596"/>
                  </a:lnTo>
                  <a:lnTo>
                    <a:pt x="558" y="596"/>
                  </a:lnTo>
                  <a:lnTo>
                    <a:pt x="558" y="598"/>
                  </a:lnTo>
                  <a:lnTo>
                    <a:pt x="558" y="598"/>
                  </a:lnTo>
                  <a:lnTo>
                    <a:pt x="558" y="598"/>
                  </a:lnTo>
                  <a:lnTo>
                    <a:pt x="556" y="598"/>
                  </a:lnTo>
                  <a:lnTo>
                    <a:pt x="556" y="599"/>
                  </a:lnTo>
                  <a:lnTo>
                    <a:pt x="558" y="601"/>
                  </a:lnTo>
                  <a:lnTo>
                    <a:pt x="558" y="601"/>
                  </a:lnTo>
                  <a:lnTo>
                    <a:pt x="559" y="601"/>
                  </a:lnTo>
                  <a:lnTo>
                    <a:pt x="559" y="601"/>
                  </a:lnTo>
                  <a:lnTo>
                    <a:pt x="561" y="602"/>
                  </a:lnTo>
                  <a:lnTo>
                    <a:pt x="559" y="604"/>
                  </a:lnTo>
                  <a:lnTo>
                    <a:pt x="561" y="602"/>
                  </a:lnTo>
                  <a:lnTo>
                    <a:pt x="561" y="602"/>
                  </a:lnTo>
                  <a:lnTo>
                    <a:pt x="562" y="602"/>
                  </a:lnTo>
                  <a:lnTo>
                    <a:pt x="562" y="601"/>
                  </a:lnTo>
                  <a:lnTo>
                    <a:pt x="562" y="601"/>
                  </a:lnTo>
                  <a:lnTo>
                    <a:pt x="561" y="601"/>
                  </a:lnTo>
                  <a:lnTo>
                    <a:pt x="561" y="601"/>
                  </a:lnTo>
                  <a:lnTo>
                    <a:pt x="561" y="602"/>
                  </a:lnTo>
                  <a:lnTo>
                    <a:pt x="562" y="599"/>
                  </a:lnTo>
                  <a:lnTo>
                    <a:pt x="562" y="598"/>
                  </a:lnTo>
                  <a:lnTo>
                    <a:pt x="566" y="596"/>
                  </a:lnTo>
                  <a:lnTo>
                    <a:pt x="567" y="598"/>
                  </a:lnTo>
                  <a:lnTo>
                    <a:pt x="567" y="595"/>
                  </a:lnTo>
                  <a:lnTo>
                    <a:pt x="567" y="595"/>
                  </a:lnTo>
                  <a:lnTo>
                    <a:pt x="566" y="593"/>
                  </a:lnTo>
                  <a:close/>
                  <a:moveTo>
                    <a:pt x="276" y="561"/>
                  </a:moveTo>
                  <a:lnTo>
                    <a:pt x="274" y="559"/>
                  </a:lnTo>
                  <a:lnTo>
                    <a:pt x="273" y="559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9"/>
                  </a:lnTo>
                  <a:lnTo>
                    <a:pt x="273" y="561"/>
                  </a:lnTo>
                  <a:lnTo>
                    <a:pt x="274" y="562"/>
                  </a:lnTo>
                  <a:lnTo>
                    <a:pt x="276" y="564"/>
                  </a:lnTo>
                  <a:lnTo>
                    <a:pt x="276" y="565"/>
                  </a:lnTo>
                  <a:lnTo>
                    <a:pt x="276" y="565"/>
                  </a:lnTo>
                  <a:lnTo>
                    <a:pt x="276" y="561"/>
                  </a:lnTo>
                  <a:lnTo>
                    <a:pt x="276" y="561"/>
                  </a:lnTo>
                  <a:close/>
                  <a:moveTo>
                    <a:pt x="592" y="527"/>
                  </a:moveTo>
                  <a:lnTo>
                    <a:pt x="590" y="527"/>
                  </a:lnTo>
                  <a:lnTo>
                    <a:pt x="590" y="527"/>
                  </a:lnTo>
                  <a:lnTo>
                    <a:pt x="589" y="527"/>
                  </a:lnTo>
                  <a:lnTo>
                    <a:pt x="589" y="528"/>
                  </a:lnTo>
                  <a:lnTo>
                    <a:pt x="589" y="528"/>
                  </a:lnTo>
                  <a:lnTo>
                    <a:pt x="589" y="530"/>
                  </a:lnTo>
                  <a:lnTo>
                    <a:pt x="590" y="530"/>
                  </a:lnTo>
                  <a:lnTo>
                    <a:pt x="592" y="530"/>
                  </a:lnTo>
                  <a:lnTo>
                    <a:pt x="593" y="530"/>
                  </a:lnTo>
                  <a:lnTo>
                    <a:pt x="595" y="528"/>
                  </a:lnTo>
                  <a:lnTo>
                    <a:pt x="595" y="530"/>
                  </a:lnTo>
                  <a:lnTo>
                    <a:pt x="595" y="528"/>
                  </a:lnTo>
                  <a:lnTo>
                    <a:pt x="596" y="528"/>
                  </a:lnTo>
                  <a:lnTo>
                    <a:pt x="596" y="527"/>
                  </a:lnTo>
                  <a:lnTo>
                    <a:pt x="596" y="527"/>
                  </a:lnTo>
                  <a:lnTo>
                    <a:pt x="592" y="527"/>
                  </a:lnTo>
                  <a:close/>
                  <a:moveTo>
                    <a:pt x="258" y="524"/>
                  </a:moveTo>
                  <a:lnTo>
                    <a:pt x="253" y="521"/>
                  </a:lnTo>
                  <a:lnTo>
                    <a:pt x="251" y="519"/>
                  </a:lnTo>
                  <a:lnTo>
                    <a:pt x="248" y="515"/>
                  </a:lnTo>
                  <a:lnTo>
                    <a:pt x="248" y="513"/>
                  </a:lnTo>
                  <a:lnTo>
                    <a:pt x="247" y="515"/>
                  </a:lnTo>
                  <a:lnTo>
                    <a:pt x="245" y="518"/>
                  </a:lnTo>
                  <a:lnTo>
                    <a:pt x="245" y="519"/>
                  </a:lnTo>
                  <a:lnTo>
                    <a:pt x="245" y="519"/>
                  </a:lnTo>
                  <a:lnTo>
                    <a:pt x="245" y="521"/>
                  </a:lnTo>
                  <a:lnTo>
                    <a:pt x="245" y="522"/>
                  </a:lnTo>
                  <a:lnTo>
                    <a:pt x="245" y="525"/>
                  </a:lnTo>
                  <a:lnTo>
                    <a:pt x="245" y="530"/>
                  </a:lnTo>
                  <a:lnTo>
                    <a:pt x="245" y="530"/>
                  </a:lnTo>
                  <a:lnTo>
                    <a:pt x="247" y="531"/>
                  </a:lnTo>
                  <a:lnTo>
                    <a:pt x="247" y="533"/>
                  </a:lnTo>
                  <a:lnTo>
                    <a:pt x="247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5"/>
                  </a:lnTo>
                  <a:lnTo>
                    <a:pt x="250" y="535"/>
                  </a:lnTo>
                  <a:lnTo>
                    <a:pt x="251" y="535"/>
                  </a:lnTo>
                  <a:lnTo>
                    <a:pt x="251" y="536"/>
                  </a:lnTo>
                  <a:lnTo>
                    <a:pt x="251" y="536"/>
                  </a:lnTo>
                  <a:lnTo>
                    <a:pt x="253" y="536"/>
                  </a:lnTo>
                  <a:lnTo>
                    <a:pt x="254" y="536"/>
                  </a:lnTo>
                  <a:lnTo>
                    <a:pt x="256" y="536"/>
                  </a:lnTo>
                  <a:lnTo>
                    <a:pt x="256" y="536"/>
                  </a:lnTo>
                  <a:lnTo>
                    <a:pt x="256" y="530"/>
                  </a:lnTo>
                  <a:lnTo>
                    <a:pt x="256" y="530"/>
                  </a:lnTo>
                  <a:lnTo>
                    <a:pt x="258" y="528"/>
                  </a:lnTo>
                  <a:lnTo>
                    <a:pt x="258" y="528"/>
                  </a:lnTo>
                  <a:lnTo>
                    <a:pt x="259" y="528"/>
                  </a:lnTo>
                  <a:lnTo>
                    <a:pt x="259" y="527"/>
                  </a:lnTo>
                  <a:lnTo>
                    <a:pt x="259" y="525"/>
                  </a:lnTo>
                  <a:lnTo>
                    <a:pt x="258" y="524"/>
                  </a:lnTo>
                  <a:close/>
                  <a:moveTo>
                    <a:pt x="458" y="511"/>
                  </a:moveTo>
                  <a:lnTo>
                    <a:pt x="458" y="513"/>
                  </a:lnTo>
                  <a:lnTo>
                    <a:pt x="456" y="513"/>
                  </a:lnTo>
                  <a:lnTo>
                    <a:pt x="456" y="515"/>
                  </a:lnTo>
                  <a:lnTo>
                    <a:pt x="455" y="515"/>
                  </a:lnTo>
                  <a:lnTo>
                    <a:pt x="455" y="515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9" y="516"/>
                  </a:lnTo>
                  <a:lnTo>
                    <a:pt x="459" y="516"/>
                  </a:lnTo>
                  <a:lnTo>
                    <a:pt x="461" y="516"/>
                  </a:lnTo>
                  <a:lnTo>
                    <a:pt x="462" y="516"/>
                  </a:lnTo>
                  <a:lnTo>
                    <a:pt x="462" y="516"/>
                  </a:lnTo>
                  <a:lnTo>
                    <a:pt x="464" y="516"/>
                  </a:lnTo>
                  <a:lnTo>
                    <a:pt x="464" y="518"/>
                  </a:lnTo>
                  <a:lnTo>
                    <a:pt x="464" y="516"/>
                  </a:lnTo>
                  <a:lnTo>
                    <a:pt x="462" y="516"/>
                  </a:lnTo>
                  <a:lnTo>
                    <a:pt x="461" y="513"/>
                  </a:lnTo>
                  <a:lnTo>
                    <a:pt x="458" y="511"/>
                  </a:lnTo>
                  <a:close/>
                  <a:moveTo>
                    <a:pt x="643" y="508"/>
                  </a:moveTo>
                  <a:lnTo>
                    <a:pt x="641" y="508"/>
                  </a:lnTo>
                  <a:lnTo>
                    <a:pt x="641" y="507"/>
                  </a:lnTo>
                  <a:lnTo>
                    <a:pt x="639" y="507"/>
                  </a:lnTo>
                  <a:lnTo>
                    <a:pt x="638" y="510"/>
                  </a:lnTo>
                  <a:lnTo>
                    <a:pt x="633" y="510"/>
                  </a:lnTo>
                  <a:lnTo>
                    <a:pt x="630" y="511"/>
                  </a:lnTo>
                  <a:lnTo>
                    <a:pt x="629" y="511"/>
                  </a:lnTo>
                  <a:lnTo>
                    <a:pt x="621" y="516"/>
                  </a:lnTo>
                  <a:lnTo>
                    <a:pt x="616" y="518"/>
                  </a:lnTo>
                  <a:lnTo>
                    <a:pt x="616" y="519"/>
                  </a:lnTo>
                  <a:lnTo>
                    <a:pt x="615" y="519"/>
                  </a:lnTo>
                  <a:lnTo>
                    <a:pt x="613" y="522"/>
                  </a:lnTo>
                  <a:lnTo>
                    <a:pt x="612" y="522"/>
                  </a:lnTo>
                  <a:lnTo>
                    <a:pt x="612" y="524"/>
                  </a:lnTo>
                  <a:lnTo>
                    <a:pt x="610" y="524"/>
                  </a:lnTo>
                  <a:lnTo>
                    <a:pt x="610" y="524"/>
                  </a:lnTo>
                  <a:lnTo>
                    <a:pt x="609" y="525"/>
                  </a:lnTo>
                  <a:lnTo>
                    <a:pt x="609" y="527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7" y="530"/>
                  </a:lnTo>
                  <a:lnTo>
                    <a:pt x="607" y="530"/>
                  </a:lnTo>
                  <a:lnTo>
                    <a:pt x="607" y="531"/>
                  </a:lnTo>
                  <a:lnTo>
                    <a:pt x="607" y="531"/>
                  </a:lnTo>
                  <a:lnTo>
                    <a:pt x="604" y="531"/>
                  </a:lnTo>
                  <a:lnTo>
                    <a:pt x="603" y="535"/>
                  </a:lnTo>
                  <a:lnTo>
                    <a:pt x="601" y="535"/>
                  </a:lnTo>
                  <a:lnTo>
                    <a:pt x="601" y="536"/>
                  </a:lnTo>
                  <a:lnTo>
                    <a:pt x="601" y="536"/>
                  </a:lnTo>
                  <a:lnTo>
                    <a:pt x="603" y="535"/>
                  </a:lnTo>
                  <a:lnTo>
                    <a:pt x="603" y="536"/>
                  </a:lnTo>
                  <a:lnTo>
                    <a:pt x="603" y="536"/>
                  </a:lnTo>
                  <a:lnTo>
                    <a:pt x="603" y="538"/>
                  </a:lnTo>
                  <a:lnTo>
                    <a:pt x="603" y="538"/>
                  </a:lnTo>
                  <a:lnTo>
                    <a:pt x="604" y="539"/>
                  </a:lnTo>
                  <a:lnTo>
                    <a:pt x="606" y="541"/>
                  </a:lnTo>
                  <a:lnTo>
                    <a:pt x="606" y="541"/>
                  </a:lnTo>
                  <a:lnTo>
                    <a:pt x="606" y="544"/>
                  </a:lnTo>
                  <a:lnTo>
                    <a:pt x="606" y="545"/>
                  </a:lnTo>
                  <a:lnTo>
                    <a:pt x="604" y="552"/>
                  </a:lnTo>
                  <a:lnTo>
                    <a:pt x="603" y="553"/>
                  </a:lnTo>
                  <a:lnTo>
                    <a:pt x="604" y="556"/>
                  </a:lnTo>
                  <a:lnTo>
                    <a:pt x="604" y="556"/>
                  </a:lnTo>
                  <a:lnTo>
                    <a:pt x="604" y="558"/>
                  </a:lnTo>
                  <a:lnTo>
                    <a:pt x="607" y="559"/>
                  </a:lnTo>
                  <a:lnTo>
                    <a:pt x="612" y="558"/>
                  </a:lnTo>
                  <a:lnTo>
                    <a:pt x="613" y="555"/>
                  </a:lnTo>
                  <a:lnTo>
                    <a:pt x="616" y="552"/>
                  </a:lnTo>
                  <a:lnTo>
                    <a:pt x="619" y="547"/>
                  </a:lnTo>
                  <a:lnTo>
                    <a:pt x="621" y="545"/>
                  </a:lnTo>
                  <a:lnTo>
                    <a:pt x="624" y="544"/>
                  </a:lnTo>
                  <a:lnTo>
                    <a:pt x="626" y="542"/>
                  </a:lnTo>
                  <a:lnTo>
                    <a:pt x="627" y="542"/>
                  </a:lnTo>
                  <a:lnTo>
                    <a:pt x="630" y="544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1"/>
                  </a:lnTo>
                  <a:lnTo>
                    <a:pt x="632" y="541"/>
                  </a:lnTo>
                  <a:lnTo>
                    <a:pt x="632" y="539"/>
                  </a:lnTo>
                  <a:lnTo>
                    <a:pt x="630" y="539"/>
                  </a:lnTo>
                  <a:lnTo>
                    <a:pt x="630" y="539"/>
                  </a:lnTo>
                  <a:lnTo>
                    <a:pt x="629" y="539"/>
                  </a:lnTo>
                  <a:lnTo>
                    <a:pt x="629" y="538"/>
                  </a:lnTo>
                  <a:lnTo>
                    <a:pt x="630" y="535"/>
                  </a:lnTo>
                  <a:lnTo>
                    <a:pt x="632" y="533"/>
                  </a:lnTo>
                  <a:lnTo>
                    <a:pt x="632" y="533"/>
                  </a:lnTo>
                  <a:lnTo>
                    <a:pt x="632" y="533"/>
                  </a:lnTo>
                  <a:lnTo>
                    <a:pt x="632" y="531"/>
                  </a:lnTo>
                  <a:lnTo>
                    <a:pt x="632" y="531"/>
                  </a:lnTo>
                  <a:lnTo>
                    <a:pt x="633" y="531"/>
                  </a:lnTo>
                  <a:lnTo>
                    <a:pt x="633" y="531"/>
                  </a:lnTo>
                  <a:lnTo>
                    <a:pt x="635" y="531"/>
                  </a:lnTo>
                  <a:lnTo>
                    <a:pt x="635" y="528"/>
                  </a:lnTo>
                  <a:lnTo>
                    <a:pt x="636" y="528"/>
                  </a:lnTo>
                  <a:lnTo>
                    <a:pt x="636" y="527"/>
                  </a:lnTo>
                  <a:lnTo>
                    <a:pt x="636" y="527"/>
                  </a:lnTo>
                  <a:lnTo>
                    <a:pt x="636" y="524"/>
                  </a:lnTo>
                  <a:lnTo>
                    <a:pt x="638" y="522"/>
                  </a:lnTo>
                  <a:lnTo>
                    <a:pt x="639" y="521"/>
                  </a:lnTo>
                  <a:lnTo>
                    <a:pt x="639" y="519"/>
                  </a:lnTo>
                  <a:lnTo>
                    <a:pt x="639" y="516"/>
                  </a:lnTo>
                  <a:lnTo>
                    <a:pt x="639" y="516"/>
                  </a:lnTo>
                  <a:lnTo>
                    <a:pt x="641" y="515"/>
                  </a:lnTo>
                  <a:lnTo>
                    <a:pt x="641" y="510"/>
                  </a:lnTo>
                  <a:lnTo>
                    <a:pt x="643" y="510"/>
                  </a:lnTo>
                  <a:lnTo>
                    <a:pt x="643" y="508"/>
                  </a:lnTo>
                  <a:close/>
                  <a:moveTo>
                    <a:pt x="432" y="515"/>
                  </a:moveTo>
                  <a:lnTo>
                    <a:pt x="432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28" y="518"/>
                  </a:lnTo>
                  <a:lnTo>
                    <a:pt x="433" y="518"/>
                  </a:lnTo>
                  <a:lnTo>
                    <a:pt x="435" y="518"/>
                  </a:lnTo>
                  <a:lnTo>
                    <a:pt x="436" y="518"/>
                  </a:lnTo>
                  <a:lnTo>
                    <a:pt x="436" y="516"/>
                  </a:lnTo>
                  <a:lnTo>
                    <a:pt x="438" y="515"/>
                  </a:lnTo>
                  <a:lnTo>
                    <a:pt x="438" y="513"/>
                  </a:lnTo>
                  <a:lnTo>
                    <a:pt x="436" y="510"/>
                  </a:lnTo>
                  <a:lnTo>
                    <a:pt x="435" y="508"/>
                  </a:lnTo>
                  <a:lnTo>
                    <a:pt x="432" y="505"/>
                  </a:lnTo>
                  <a:lnTo>
                    <a:pt x="430" y="505"/>
                  </a:lnTo>
                  <a:lnTo>
                    <a:pt x="428" y="505"/>
                  </a:lnTo>
                  <a:lnTo>
                    <a:pt x="428" y="505"/>
                  </a:lnTo>
                  <a:lnTo>
                    <a:pt x="428" y="505"/>
                  </a:lnTo>
                  <a:lnTo>
                    <a:pt x="428" y="507"/>
                  </a:lnTo>
                  <a:lnTo>
                    <a:pt x="432" y="507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2" y="510"/>
                  </a:lnTo>
                  <a:lnTo>
                    <a:pt x="433" y="510"/>
                  </a:lnTo>
                  <a:lnTo>
                    <a:pt x="433" y="511"/>
                  </a:lnTo>
                  <a:lnTo>
                    <a:pt x="433" y="513"/>
                  </a:lnTo>
                  <a:lnTo>
                    <a:pt x="433" y="513"/>
                  </a:lnTo>
                  <a:lnTo>
                    <a:pt x="432" y="515"/>
                  </a:lnTo>
                  <a:close/>
                  <a:moveTo>
                    <a:pt x="583" y="511"/>
                  </a:moveTo>
                  <a:lnTo>
                    <a:pt x="583" y="510"/>
                  </a:lnTo>
                  <a:lnTo>
                    <a:pt x="581" y="511"/>
                  </a:lnTo>
                  <a:lnTo>
                    <a:pt x="579" y="511"/>
                  </a:lnTo>
                  <a:lnTo>
                    <a:pt x="578" y="510"/>
                  </a:lnTo>
                  <a:lnTo>
                    <a:pt x="579" y="508"/>
                  </a:lnTo>
                  <a:lnTo>
                    <a:pt x="578" y="508"/>
                  </a:lnTo>
                  <a:lnTo>
                    <a:pt x="578" y="505"/>
                  </a:lnTo>
                  <a:lnTo>
                    <a:pt x="576" y="505"/>
                  </a:lnTo>
                  <a:lnTo>
                    <a:pt x="575" y="505"/>
                  </a:lnTo>
                  <a:lnTo>
                    <a:pt x="573" y="507"/>
                  </a:lnTo>
                  <a:lnTo>
                    <a:pt x="573" y="507"/>
                  </a:lnTo>
                  <a:lnTo>
                    <a:pt x="572" y="505"/>
                  </a:lnTo>
                  <a:lnTo>
                    <a:pt x="572" y="507"/>
                  </a:lnTo>
                  <a:lnTo>
                    <a:pt x="572" y="507"/>
                  </a:lnTo>
                  <a:lnTo>
                    <a:pt x="572" y="508"/>
                  </a:lnTo>
                  <a:lnTo>
                    <a:pt x="572" y="510"/>
                  </a:lnTo>
                  <a:lnTo>
                    <a:pt x="573" y="510"/>
                  </a:lnTo>
                  <a:lnTo>
                    <a:pt x="573" y="511"/>
                  </a:lnTo>
                  <a:lnTo>
                    <a:pt x="573" y="511"/>
                  </a:lnTo>
                  <a:lnTo>
                    <a:pt x="575" y="510"/>
                  </a:lnTo>
                  <a:lnTo>
                    <a:pt x="575" y="510"/>
                  </a:lnTo>
                  <a:lnTo>
                    <a:pt x="576" y="510"/>
                  </a:lnTo>
                  <a:lnTo>
                    <a:pt x="576" y="510"/>
                  </a:lnTo>
                  <a:lnTo>
                    <a:pt x="576" y="511"/>
                  </a:lnTo>
                  <a:lnTo>
                    <a:pt x="576" y="513"/>
                  </a:lnTo>
                  <a:lnTo>
                    <a:pt x="578" y="515"/>
                  </a:lnTo>
                  <a:lnTo>
                    <a:pt x="579" y="515"/>
                  </a:lnTo>
                  <a:lnTo>
                    <a:pt x="579" y="515"/>
                  </a:lnTo>
                  <a:lnTo>
                    <a:pt x="579" y="515"/>
                  </a:lnTo>
                  <a:lnTo>
                    <a:pt x="581" y="515"/>
                  </a:lnTo>
                  <a:lnTo>
                    <a:pt x="581" y="513"/>
                  </a:lnTo>
                  <a:lnTo>
                    <a:pt x="583" y="513"/>
                  </a:lnTo>
                  <a:lnTo>
                    <a:pt x="583" y="511"/>
                  </a:lnTo>
                  <a:lnTo>
                    <a:pt x="583" y="511"/>
                  </a:lnTo>
                  <a:lnTo>
                    <a:pt x="583" y="511"/>
                  </a:lnTo>
                  <a:close/>
                  <a:moveTo>
                    <a:pt x="562" y="493"/>
                  </a:moveTo>
                  <a:lnTo>
                    <a:pt x="559" y="495"/>
                  </a:lnTo>
                  <a:lnTo>
                    <a:pt x="559" y="496"/>
                  </a:lnTo>
                  <a:lnTo>
                    <a:pt x="559" y="496"/>
                  </a:lnTo>
                  <a:lnTo>
                    <a:pt x="559" y="498"/>
                  </a:lnTo>
                  <a:lnTo>
                    <a:pt x="562" y="498"/>
                  </a:lnTo>
                  <a:lnTo>
                    <a:pt x="562" y="498"/>
                  </a:lnTo>
                  <a:lnTo>
                    <a:pt x="564" y="496"/>
                  </a:lnTo>
                  <a:lnTo>
                    <a:pt x="566" y="495"/>
                  </a:lnTo>
                  <a:lnTo>
                    <a:pt x="564" y="493"/>
                  </a:lnTo>
                  <a:lnTo>
                    <a:pt x="564" y="493"/>
                  </a:lnTo>
                  <a:lnTo>
                    <a:pt x="562" y="493"/>
                  </a:lnTo>
                  <a:close/>
                  <a:moveTo>
                    <a:pt x="507" y="491"/>
                  </a:moveTo>
                  <a:lnTo>
                    <a:pt x="504" y="490"/>
                  </a:lnTo>
                  <a:lnTo>
                    <a:pt x="502" y="490"/>
                  </a:lnTo>
                  <a:lnTo>
                    <a:pt x="502" y="491"/>
                  </a:lnTo>
                  <a:lnTo>
                    <a:pt x="502" y="491"/>
                  </a:lnTo>
                  <a:lnTo>
                    <a:pt x="504" y="491"/>
                  </a:lnTo>
                  <a:lnTo>
                    <a:pt x="504" y="493"/>
                  </a:lnTo>
                  <a:lnTo>
                    <a:pt x="504" y="493"/>
                  </a:lnTo>
                  <a:lnTo>
                    <a:pt x="504" y="493"/>
                  </a:lnTo>
                  <a:lnTo>
                    <a:pt x="504" y="495"/>
                  </a:lnTo>
                  <a:lnTo>
                    <a:pt x="506" y="495"/>
                  </a:lnTo>
                  <a:lnTo>
                    <a:pt x="504" y="495"/>
                  </a:lnTo>
                  <a:lnTo>
                    <a:pt x="504" y="495"/>
                  </a:lnTo>
                  <a:lnTo>
                    <a:pt x="504" y="495"/>
                  </a:lnTo>
                  <a:lnTo>
                    <a:pt x="502" y="495"/>
                  </a:lnTo>
                  <a:lnTo>
                    <a:pt x="502" y="495"/>
                  </a:lnTo>
                  <a:lnTo>
                    <a:pt x="501" y="496"/>
                  </a:lnTo>
                  <a:lnTo>
                    <a:pt x="501" y="496"/>
                  </a:lnTo>
                  <a:lnTo>
                    <a:pt x="499" y="496"/>
                  </a:lnTo>
                  <a:lnTo>
                    <a:pt x="498" y="495"/>
                  </a:lnTo>
                  <a:lnTo>
                    <a:pt x="498" y="495"/>
                  </a:lnTo>
                  <a:lnTo>
                    <a:pt x="496" y="495"/>
                  </a:lnTo>
                  <a:lnTo>
                    <a:pt x="495" y="495"/>
                  </a:lnTo>
                  <a:lnTo>
                    <a:pt x="495" y="495"/>
                  </a:lnTo>
                  <a:lnTo>
                    <a:pt x="495" y="496"/>
                  </a:lnTo>
                  <a:lnTo>
                    <a:pt x="496" y="498"/>
                  </a:lnTo>
                  <a:lnTo>
                    <a:pt x="495" y="498"/>
                  </a:lnTo>
                  <a:lnTo>
                    <a:pt x="495" y="498"/>
                  </a:lnTo>
                  <a:lnTo>
                    <a:pt x="495" y="499"/>
                  </a:lnTo>
                  <a:lnTo>
                    <a:pt x="496" y="499"/>
                  </a:lnTo>
                  <a:lnTo>
                    <a:pt x="498" y="502"/>
                  </a:lnTo>
                  <a:lnTo>
                    <a:pt x="499" y="502"/>
                  </a:lnTo>
                  <a:lnTo>
                    <a:pt x="501" y="502"/>
                  </a:lnTo>
                  <a:lnTo>
                    <a:pt x="501" y="502"/>
                  </a:lnTo>
                  <a:lnTo>
                    <a:pt x="501" y="501"/>
                  </a:lnTo>
                  <a:lnTo>
                    <a:pt x="501" y="499"/>
                  </a:lnTo>
                  <a:lnTo>
                    <a:pt x="502" y="498"/>
                  </a:lnTo>
                  <a:lnTo>
                    <a:pt x="502" y="496"/>
                  </a:lnTo>
                  <a:lnTo>
                    <a:pt x="504" y="496"/>
                  </a:lnTo>
                  <a:lnTo>
                    <a:pt x="506" y="496"/>
                  </a:lnTo>
                  <a:lnTo>
                    <a:pt x="507" y="496"/>
                  </a:lnTo>
                  <a:lnTo>
                    <a:pt x="509" y="495"/>
                  </a:lnTo>
                  <a:lnTo>
                    <a:pt x="509" y="496"/>
                  </a:lnTo>
                  <a:lnTo>
                    <a:pt x="509" y="496"/>
                  </a:lnTo>
                  <a:lnTo>
                    <a:pt x="510" y="496"/>
                  </a:lnTo>
                  <a:lnTo>
                    <a:pt x="510" y="496"/>
                  </a:lnTo>
                  <a:lnTo>
                    <a:pt x="510" y="495"/>
                  </a:lnTo>
                  <a:lnTo>
                    <a:pt x="507" y="491"/>
                  </a:lnTo>
                  <a:close/>
                  <a:moveTo>
                    <a:pt x="609" y="498"/>
                  </a:moveTo>
                  <a:lnTo>
                    <a:pt x="610" y="498"/>
                  </a:lnTo>
                  <a:lnTo>
                    <a:pt x="613" y="499"/>
                  </a:lnTo>
                  <a:lnTo>
                    <a:pt x="612" y="499"/>
                  </a:lnTo>
                  <a:lnTo>
                    <a:pt x="612" y="499"/>
                  </a:lnTo>
                  <a:lnTo>
                    <a:pt x="612" y="501"/>
                  </a:lnTo>
                  <a:lnTo>
                    <a:pt x="612" y="501"/>
                  </a:lnTo>
                  <a:lnTo>
                    <a:pt x="612" y="501"/>
                  </a:lnTo>
                  <a:lnTo>
                    <a:pt x="613" y="501"/>
                  </a:lnTo>
                  <a:lnTo>
                    <a:pt x="615" y="499"/>
                  </a:lnTo>
                  <a:lnTo>
                    <a:pt x="615" y="499"/>
                  </a:lnTo>
                  <a:lnTo>
                    <a:pt x="615" y="499"/>
                  </a:lnTo>
                  <a:lnTo>
                    <a:pt x="615" y="498"/>
                  </a:lnTo>
                  <a:lnTo>
                    <a:pt x="613" y="498"/>
                  </a:lnTo>
                  <a:lnTo>
                    <a:pt x="615" y="498"/>
                  </a:lnTo>
                  <a:lnTo>
                    <a:pt x="615" y="498"/>
                  </a:lnTo>
                  <a:lnTo>
                    <a:pt x="615" y="496"/>
                  </a:lnTo>
                  <a:lnTo>
                    <a:pt x="615" y="496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3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2" y="493"/>
                  </a:lnTo>
                  <a:lnTo>
                    <a:pt x="612" y="493"/>
                  </a:lnTo>
                  <a:lnTo>
                    <a:pt x="612" y="493"/>
                  </a:lnTo>
                  <a:lnTo>
                    <a:pt x="610" y="493"/>
                  </a:lnTo>
                  <a:lnTo>
                    <a:pt x="610" y="491"/>
                  </a:lnTo>
                  <a:lnTo>
                    <a:pt x="612" y="491"/>
                  </a:lnTo>
                  <a:lnTo>
                    <a:pt x="613" y="490"/>
                  </a:lnTo>
                  <a:lnTo>
                    <a:pt x="613" y="490"/>
                  </a:lnTo>
                  <a:lnTo>
                    <a:pt x="612" y="490"/>
                  </a:lnTo>
                  <a:lnTo>
                    <a:pt x="610" y="491"/>
                  </a:lnTo>
                  <a:lnTo>
                    <a:pt x="609" y="493"/>
                  </a:lnTo>
                  <a:lnTo>
                    <a:pt x="609" y="491"/>
                  </a:lnTo>
                  <a:lnTo>
                    <a:pt x="609" y="491"/>
                  </a:lnTo>
                  <a:lnTo>
                    <a:pt x="609" y="493"/>
                  </a:lnTo>
                  <a:lnTo>
                    <a:pt x="609" y="493"/>
                  </a:lnTo>
                  <a:lnTo>
                    <a:pt x="609" y="493"/>
                  </a:lnTo>
                  <a:lnTo>
                    <a:pt x="607" y="495"/>
                  </a:lnTo>
                  <a:lnTo>
                    <a:pt x="607" y="495"/>
                  </a:lnTo>
                  <a:lnTo>
                    <a:pt x="606" y="496"/>
                  </a:lnTo>
                  <a:lnTo>
                    <a:pt x="610" y="496"/>
                  </a:lnTo>
                  <a:lnTo>
                    <a:pt x="609" y="498"/>
                  </a:lnTo>
                  <a:close/>
                  <a:moveTo>
                    <a:pt x="392" y="488"/>
                  </a:moveTo>
                  <a:lnTo>
                    <a:pt x="390" y="488"/>
                  </a:lnTo>
                  <a:lnTo>
                    <a:pt x="388" y="488"/>
                  </a:lnTo>
                  <a:lnTo>
                    <a:pt x="390" y="490"/>
                  </a:lnTo>
                  <a:lnTo>
                    <a:pt x="390" y="490"/>
                  </a:lnTo>
                  <a:lnTo>
                    <a:pt x="392" y="491"/>
                  </a:lnTo>
                  <a:lnTo>
                    <a:pt x="393" y="491"/>
                  </a:lnTo>
                  <a:lnTo>
                    <a:pt x="395" y="493"/>
                  </a:lnTo>
                  <a:lnTo>
                    <a:pt x="396" y="495"/>
                  </a:lnTo>
                  <a:lnTo>
                    <a:pt x="398" y="495"/>
                  </a:lnTo>
                  <a:lnTo>
                    <a:pt x="398" y="493"/>
                  </a:lnTo>
                  <a:lnTo>
                    <a:pt x="398" y="491"/>
                  </a:lnTo>
                  <a:lnTo>
                    <a:pt x="392" y="488"/>
                  </a:lnTo>
                  <a:close/>
                  <a:moveTo>
                    <a:pt x="415" y="482"/>
                  </a:moveTo>
                  <a:lnTo>
                    <a:pt x="412" y="482"/>
                  </a:lnTo>
                  <a:lnTo>
                    <a:pt x="412" y="484"/>
                  </a:lnTo>
                  <a:lnTo>
                    <a:pt x="410" y="484"/>
                  </a:lnTo>
                  <a:lnTo>
                    <a:pt x="408" y="485"/>
                  </a:lnTo>
                  <a:lnTo>
                    <a:pt x="405" y="490"/>
                  </a:lnTo>
                  <a:lnTo>
                    <a:pt x="408" y="490"/>
                  </a:lnTo>
                  <a:lnTo>
                    <a:pt x="410" y="488"/>
                  </a:lnTo>
                  <a:lnTo>
                    <a:pt x="415" y="484"/>
                  </a:lnTo>
                  <a:lnTo>
                    <a:pt x="415" y="484"/>
                  </a:lnTo>
                  <a:lnTo>
                    <a:pt x="415" y="484"/>
                  </a:lnTo>
                  <a:lnTo>
                    <a:pt x="415" y="482"/>
                  </a:lnTo>
                  <a:close/>
                  <a:moveTo>
                    <a:pt x="161" y="479"/>
                  </a:moveTo>
                  <a:lnTo>
                    <a:pt x="159" y="479"/>
                  </a:lnTo>
                  <a:lnTo>
                    <a:pt x="159" y="481"/>
                  </a:lnTo>
                  <a:lnTo>
                    <a:pt x="159" y="484"/>
                  </a:lnTo>
                  <a:lnTo>
                    <a:pt x="161" y="482"/>
                  </a:lnTo>
                  <a:lnTo>
                    <a:pt x="161" y="484"/>
                  </a:lnTo>
                  <a:lnTo>
                    <a:pt x="161" y="484"/>
                  </a:lnTo>
                  <a:lnTo>
                    <a:pt x="161" y="484"/>
                  </a:lnTo>
                  <a:lnTo>
                    <a:pt x="161" y="485"/>
                  </a:lnTo>
                  <a:lnTo>
                    <a:pt x="161" y="482"/>
                  </a:lnTo>
                  <a:lnTo>
                    <a:pt x="161" y="481"/>
                  </a:lnTo>
                  <a:lnTo>
                    <a:pt x="161" y="481"/>
                  </a:lnTo>
                  <a:lnTo>
                    <a:pt x="161" y="479"/>
                  </a:lnTo>
                  <a:close/>
                  <a:moveTo>
                    <a:pt x="365" y="479"/>
                  </a:moveTo>
                  <a:lnTo>
                    <a:pt x="364" y="479"/>
                  </a:lnTo>
                  <a:lnTo>
                    <a:pt x="362" y="481"/>
                  </a:lnTo>
                  <a:lnTo>
                    <a:pt x="359" y="479"/>
                  </a:lnTo>
                  <a:lnTo>
                    <a:pt x="359" y="479"/>
                  </a:lnTo>
                  <a:lnTo>
                    <a:pt x="358" y="478"/>
                  </a:lnTo>
                  <a:lnTo>
                    <a:pt x="356" y="479"/>
                  </a:lnTo>
                  <a:lnTo>
                    <a:pt x="356" y="479"/>
                  </a:lnTo>
                  <a:lnTo>
                    <a:pt x="358" y="481"/>
                  </a:lnTo>
                  <a:lnTo>
                    <a:pt x="358" y="482"/>
                  </a:lnTo>
                  <a:lnTo>
                    <a:pt x="359" y="482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61" y="484"/>
                  </a:lnTo>
                  <a:lnTo>
                    <a:pt x="361" y="485"/>
                  </a:lnTo>
                  <a:lnTo>
                    <a:pt x="358" y="485"/>
                  </a:lnTo>
                  <a:lnTo>
                    <a:pt x="356" y="484"/>
                  </a:lnTo>
                  <a:lnTo>
                    <a:pt x="356" y="481"/>
                  </a:lnTo>
                  <a:lnTo>
                    <a:pt x="355" y="482"/>
                  </a:lnTo>
                  <a:lnTo>
                    <a:pt x="355" y="481"/>
                  </a:lnTo>
                  <a:lnTo>
                    <a:pt x="353" y="481"/>
                  </a:lnTo>
                  <a:lnTo>
                    <a:pt x="353" y="481"/>
                  </a:lnTo>
                  <a:lnTo>
                    <a:pt x="353" y="479"/>
                  </a:lnTo>
                  <a:lnTo>
                    <a:pt x="351" y="481"/>
                  </a:lnTo>
                  <a:lnTo>
                    <a:pt x="351" y="482"/>
                  </a:lnTo>
                  <a:lnTo>
                    <a:pt x="351" y="482"/>
                  </a:lnTo>
                  <a:lnTo>
                    <a:pt x="351" y="482"/>
                  </a:lnTo>
                  <a:lnTo>
                    <a:pt x="351" y="484"/>
                  </a:lnTo>
                  <a:lnTo>
                    <a:pt x="351" y="484"/>
                  </a:lnTo>
                  <a:lnTo>
                    <a:pt x="351" y="484"/>
                  </a:lnTo>
                  <a:lnTo>
                    <a:pt x="351" y="485"/>
                  </a:lnTo>
                  <a:lnTo>
                    <a:pt x="351" y="485"/>
                  </a:lnTo>
                  <a:lnTo>
                    <a:pt x="350" y="488"/>
                  </a:lnTo>
                  <a:lnTo>
                    <a:pt x="351" y="490"/>
                  </a:lnTo>
                  <a:lnTo>
                    <a:pt x="353" y="488"/>
                  </a:lnTo>
                  <a:lnTo>
                    <a:pt x="362" y="488"/>
                  </a:lnTo>
                  <a:lnTo>
                    <a:pt x="365" y="487"/>
                  </a:lnTo>
                  <a:lnTo>
                    <a:pt x="367" y="487"/>
                  </a:lnTo>
                  <a:lnTo>
                    <a:pt x="367" y="485"/>
                  </a:lnTo>
                  <a:lnTo>
                    <a:pt x="367" y="481"/>
                  </a:lnTo>
                  <a:lnTo>
                    <a:pt x="367" y="479"/>
                  </a:lnTo>
                  <a:lnTo>
                    <a:pt x="365" y="479"/>
                  </a:lnTo>
                  <a:close/>
                  <a:moveTo>
                    <a:pt x="375" y="481"/>
                  </a:moveTo>
                  <a:lnTo>
                    <a:pt x="376" y="481"/>
                  </a:lnTo>
                  <a:lnTo>
                    <a:pt x="376" y="479"/>
                  </a:lnTo>
                  <a:lnTo>
                    <a:pt x="376" y="478"/>
                  </a:lnTo>
                  <a:lnTo>
                    <a:pt x="375" y="478"/>
                  </a:lnTo>
                  <a:lnTo>
                    <a:pt x="375" y="476"/>
                  </a:lnTo>
                  <a:lnTo>
                    <a:pt x="375" y="476"/>
                  </a:lnTo>
                  <a:lnTo>
                    <a:pt x="375" y="476"/>
                  </a:lnTo>
                  <a:lnTo>
                    <a:pt x="373" y="476"/>
                  </a:lnTo>
                  <a:lnTo>
                    <a:pt x="372" y="478"/>
                  </a:lnTo>
                  <a:lnTo>
                    <a:pt x="373" y="479"/>
                  </a:lnTo>
                  <a:lnTo>
                    <a:pt x="375" y="481"/>
                  </a:lnTo>
                  <a:close/>
                  <a:moveTo>
                    <a:pt x="421" y="482"/>
                  </a:moveTo>
                  <a:lnTo>
                    <a:pt x="421" y="482"/>
                  </a:lnTo>
                  <a:lnTo>
                    <a:pt x="421" y="482"/>
                  </a:lnTo>
                  <a:lnTo>
                    <a:pt x="425" y="487"/>
                  </a:lnTo>
                  <a:lnTo>
                    <a:pt x="428" y="488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0" y="485"/>
                  </a:lnTo>
                  <a:lnTo>
                    <a:pt x="430" y="484"/>
                  </a:lnTo>
                  <a:lnTo>
                    <a:pt x="430" y="484"/>
                  </a:lnTo>
                  <a:lnTo>
                    <a:pt x="432" y="484"/>
                  </a:lnTo>
                  <a:lnTo>
                    <a:pt x="430" y="482"/>
                  </a:lnTo>
                  <a:lnTo>
                    <a:pt x="430" y="481"/>
                  </a:lnTo>
                  <a:lnTo>
                    <a:pt x="428" y="481"/>
                  </a:lnTo>
                  <a:lnTo>
                    <a:pt x="427" y="481"/>
                  </a:lnTo>
                  <a:lnTo>
                    <a:pt x="425" y="479"/>
                  </a:lnTo>
                  <a:lnTo>
                    <a:pt x="424" y="478"/>
                  </a:lnTo>
                  <a:lnTo>
                    <a:pt x="424" y="476"/>
                  </a:lnTo>
                  <a:lnTo>
                    <a:pt x="421" y="479"/>
                  </a:lnTo>
                  <a:lnTo>
                    <a:pt x="421" y="479"/>
                  </a:lnTo>
                  <a:lnTo>
                    <a:pt x="421" y="481"/>
                  </a:lnTo>
                  <a:lnTo>
                    <a:pt x="419" y="481"/>
                  </a:lnTo>
                  <a:lnTo>
                    <a:pt x="419" y="482"/>
                  </a:lnTo>
                  <a:lnTo>
                    <a:pt x="421" y="482"/>
                  </a:lnTo>
                  <a:lnTo>
                    <a:pt x="422" y="482"/>
                  </a:lnTo>
                  <a:lnTo>
                    <a:pt x="421" y="482"/>
                  </a:lnTo>
                  <a:lnTo>
                    <a:pt x="421" y="482"/>
                  </a:lnTo>
                  <a:close/>
                  <a:moveTo>
                    <a:pt x="156" y="476"/>
                  </a:moveTo>
                  <a:lnTo>
                    <a:pt x="156" y="476"/>
                  </a:lnTo>
                  <a:lnTo>
                    <a:pt x="156" y="475"/>
                  </a:lnTo>
                  <a:lnTo>
                    <a:pt x="156" y="476"/>
                  </a:lnTo>
                  <a:lnTo>
                    <a:pt x="154" y="478"/>
                  </a:lnTo>
                  <a:lnTo>
                    <a:pt x="154" y="481"/>
                  </a:lnTo>
                  <a:lnTo>
                    <a:pt x="156" y="479"/>
                  </a:lnTo>
                  <a:lnTo>
                    <a:pt x="156" y="479"/>
                  </a:lnTo>
                  <a:lnTo>
                    <a:pt x="156" y="478"/>
                  </a:lnTo>
                  <a:lnTo>
                    <a:pt x="156" y="478"/>
                  </a:lnTo>
                  <a:lnTo>
                    <a:pt x="157" y="478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6" y="476"/>
                  </a:lnTo>
                  <a:close/>
                  <a:moveTo>
                    <a:pt x="318" y="471"/>
                  </a:moveTo>
                  <a:lnTo>
                    <a:pt x="318" y="471"/>
                  </a:lnTo>
                  <a:lnTo>
                    <a:pt x="318" y="471"/>
                  </a:lnTo>
                  <a:lnTo>
                    <a:pt x="318" y="473"/>
                  </a:lnTo>
                  <a:lnTo>
                    <a:pt x="318" y="473"/>
                  </a:lnTo>
                  <a:lnTo>
                    <a:pt x="318" y="471"/>
                  </a:lnTo>
                  <a:lnTo>
                    <a:pt x="318" y="471"/>
                  </a:lnTo>
                  <a:close/>
                  <a:moveTo>
                    <a:pt x="368" y="478"/>
                  </a:moveTo>
                  <a:lnTo>
                    <a:pt x="372" y="473"/>
                  </a:lnTo>
                  <a:lnTo>
                    <a:pt x="372" y="473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1"/>
                  </a:lnTo>
                  <a:lnTo>
                    <a:pt x="370" y="471"/>
                  </a:lnTo>
                  <a:lnTo>
                    <a:pt x="368" y="471"/>
                  </a:lnTo>
                  <a:lnTo>
                    <a:pt x="368" y="471"/>
                  </a:lnTo>
                  <a:lnTo>
                    <a:pt x="367" y="471"/>
                  </a:lnTo>
                  <a:lnTo>
                    <a:pt x="367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5"/>
                  </a:lnTo>
                  <a:lnTo>
                    <a:pt x="365" y="475"/>
                  </a:lnTo>
                  <a:lnTo>
                    <a:pt x="365" y="476"/>
                  </a:lnTo>
                  <a:lnTo>
                    <a:pt x="367" y="478"/>
                  </a:lnTo>
                  <a:lnTo>
                    <a:pt x="368" y="478"/>
                  </a:lnTo>
                  <a:lnTo>
                    <a:pt x="368" y="478"/>
                  </a:lnTo>
                  <a:close/>
                  <a:moveTo>
                    <a:pt x="436" y="468"/>
                  </a:moveTo>
                  <a:lnTo>
                    <a:pt x="435" y="470"/>
                  </a:lnTo>
                  <a:lnTo>
                    <a:pt x="433" y="471"/>
                  </a:lnTo>
                  <a:lnTo>
                    <a:pt x="433" y="473"/>
                  </a:lnTo>
                  <a:lnTo>
                    <a:pt x="433" y="473"/>
                  </a:lnTo>
                  <a:lnTo>
                    <a:pt x="435" y="473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6" y="470"/>
                  </a:lnTo>
                  <a:lnTo>
                    <a:pt x="436" y="470"/>
                  </a:lnTo>
                  <a:lnTo>
                    <a:pt x="436" y="468"/>
                  </a:lnTo>
                  <a:lnTo>
                    <a:pt x="436" y="468"/>
                  </a:lnTo>
                  <a:close/>
                  <a:moveTo>
                    <a:pt x="558" y="479"/>
                  </a:moveTo>
                  <a:lnTo>
                    <a:pt x="559" y="479"/>
                  </a:lnTo>
                  <a:lnTo>
                    <a:pt x="564" y="475"/>
                  </a:lnTo>
                  <a:lnTo>
                    <a:pt x="566" y="473"/>
                  </a:lnTo>
                  <a:lnTo>
                    <a:pt x="573" y="471"/>
                  </a:lnTo>
                  <a:lnTo>
                    <a:pt x="576" y="470"/>
                  </a:lnTo>
                  <a:lnTo>
                    <a:pt x="575" y="468"/>
                  </a:lnTo>
                  <a:lnTo>
                    <a:pt x="572" y="467"/>
                  </a:lnTo>
                  <a:lnTo>
                    <a:pt x="570" y="465"/>
                  </a:lnTo>
                  <a:lnTo>
                    <a:pt x="570" y="465"/>
                  </a:lnTo>
                  <a:lnTo>
                    <a:pt x="562" y="467"/>
                  </a:lnTo>
                  <a:lnTo>
                    <a:pt x="555" y="471"/>
                  </a:lnTo>
                  <a:lnTo>
                    <a:pt x="553" y="473"/>
                  </a:lnTo>
                  <a:lnTo>
                    <a:pt x="552" y="475"/>
                  </a:lnTo>
                  <a:lnTo>
                    <a:pt x="550" y="476"/>
                  </a:lnTo>
                  <a:lnTo>
                    <a:pt x="550" y="478"/>
                  </a:lnTo>
                  <a:lnTo>
                    <a:pt x="549" y="479"/>
                  </a:lnTo>
                  <a:lnTo>
                    <a:pt x="547" y="478"/>
                  </a:lnTo>
                  <a:lnTo>
                    <a:pt x="547" y="478"/>
                  </a:lnTo>
                  <a:lnTo>
                    <a:pt x="546" y="478"/>
                  </a:lnTo>
                  <a:lnTo>
                    <a:pt x="546" y="479"/>
                  </a:lnTo>
                  <a:lnTo>
                    <a:pt x="546" y="479"/>
                  </a:lnTo>
                  <a:lnTo>
                    <a:pt x="544" y="479"/>
                  </a:lnTo>
                  <a:lnTo>
                    <a:pt x="544" y="481"/>
                  </a:lnTo>
                  <a:lnTo>
                    <a:pt x="544" y="484"/>
                  </a:lnTo>
                  <a:lnTo>
                    <a:pt x="544" y="484"/>
                  </a:lnTo>
                  <a:lnTo>
                    <a:pt x="546" y="485"/>
                  </a:lnTo>
                  <a:lnTo>
                    <a:pt x="547" y="487"/>
                  </a:lnTo>
                  <a:lnTo>
                    <a:pt x="547" y="487"/>
                  </a:lnTo>
                  <a:lnTo>
                    <a:pt x="547" y="485"/>
                  </a:lnTo>
                  <a:lnTo>
                    <a:pt x="547" y="484"/>
                  </a:lnTo>
                  <a:lnTo>
                    <a:pt x="547" y="484"/>
                  </a:lnTo>
                  <a:lnTo>
                    <a:pt x="549" y="482"/>
                  </a:lnTo>
                  <a:lnTo>
                    <a:pt x="549" y="481"/>
                  </a:lnTo>
                  <a:lnTo>
                    <a:pt x="549" y="479"/>
                  </a:lnTo>
                  <a:lnTo>
                    <a:pt x="553" y="478"/>
                  </a:lnTo>
                  <a:lnTo>
                    <a:pt x="555" y="479"/>
                  </a:lnTo>
                  <a:lnTo>
                    <a:pt x="556" y="479"/>
                  </a:lnTo>
                  <a:lnTo>
                    <a:pt x="558" y="479"/>
                  </a:lnTo>
                  <a:close/>
                  <a:moveTo>
                    <a:pt x="450" y="468"/>
                  </a:moveTo>
                  <a:lnTo>
                    <a:pt x="452" y="468"/>
                  </a:lnTo>
                  <a:lnTo>
                    <a:pt x="452" y="467"/>
                  </a:lnTo>
                  <a:lnTo>
                    <a:pt x="450" y="465"/>
                  </a:lnTo>
                  <a:lnTo>
                    <a:pt x="449" y="465"/>
                  </a:lnTo>
                  <a:lnTo>
                    <a:pt x="449" y="465"/>
                  </a:lnTo>
                  <a:lnTo>
                    <a:pt x="447" y="467"/>
                  </a:lnTo>
                  <a:lnTo>
                    <a:pt x="447" y="467"/>
                  </a:lnTo>
                  <a:lnTo>
                    <a:pt x="445" y="468"/>
                  </a:lnTo>
                  <a:lnTo>
                    <a:pt x="449" y="468"/>
                  </a:lnTo>
                  <a:lnTo>
                    <a:pt x="450" y="468"/>
                  </a:lnTo>
                  <a:close/>
                  <a:moveTo>
                    <a:pt x="287" y="464"/>
                  </a:moveTo>
                  <a:lnTo>
                    <a:pt x="285" y="464"/>
                  </a:lnTo>
                  <a:lnTo>
                    <a:pt x="285" y="464"/>
                  </a:lnTo>
                  <a:lnTo>
                    <a:pt x="285" y="464"/>
                  </a:lnTo>
                  <a:lnTo>
                    <a:pt x="285" y="465"/>
                  </a:lnTo>
                  <a:lnTo>
                    <a:pt x="285" y="465"/>
                  </a:lnTo>
                  <a:lnTo>
                    <a:pt x="285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4"/>
                  </a:lnTo>
                  <a:close/>
                  <a:moveTo>
                    <a:pt x="467" y="475"/>
                  </a:moveTo>
                  <a:lnTo>
                    <a:pt x="470" y="471"/>
                  </a:lnTo>
                  <a:lnTo>
                    <a:pt x="470" y="471"/>
                  </a:lnTo>
                  <a:lnTo>
                    <a:pt x="472" y="470"/>
                  </a:lnTo>
                  <a:lnTo>
                    <a:pt x="475" y="468"/>
                  </a:lnTo>
                  <a:lnTo>
                    <a:pt x="476" y="467"/>
                  </a:lnTo>
                  <a:lnTo>
                    <a:pt x="476" y="467"/>
                  </a:lnTo>
                  <a:lnTo>
                    <a:pt x="478" y="467"/>
                  </a:lnTo>
                  <a:lnTo>
                    <a:pt x="479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79" y="465"/>
                  </a:lnTo>
                  <a:lnTo>
                    <a:pt x="478" y="465"/>
                  </a:lnTo>
                  <a:lnTo>
                    <a:pt x="476" y="464"/>
                  </a:lnTo>
                  <a:lnTo>
                    <a:pt x="476" y="462"/>
                  </a:lnTo>
                  <a:lnTo>
                    <a:pt x="475" y="462"/>
                  </a:lnTo>
                  <a:lnTo>
                    <a:pt x="475" y="464"/>
                  </a:lnTo>
                  <a:lnTo>
                    <a:pt x="473" y="464"/>
                  </a:lnTo>
                  <a:lnTo>
                    <a:pt x="472" y="464"/>
                  </a:lnTo>
                  <a:lnTo>
                    <a:pt x="472" y="465"/>
                  </a:lnTo>
                  <a:lnTo>
                    <a:pt x="472" y="465"/>
                  </a:lnTo>
                  <a:lnTo>
                    <a:pt x="473" y="465"/>
                  </a:lnTo>
                  <a:lnTo>
                    <a:pt x="473" y="465"/>
                  </a:lnTo>
                  <a:lnTo>
                    <a:pt x="473" y="465"/>
                  </a:lnTo>
                  <a:lnTo>
                    <a:pt x="473" y="467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3"/>
                  </a:lnTo>
                  <a:lnTo>
                    <a:pt x="465" y="471"/>
                  </a:lnTo>
                  <a:lnTo>
                    <a:pt x="464" y="475"/>
                  </a:lnTo>
                  <a:lnTo>
                    <a:pt x="464" y="475"/>
                  </a:lnTo>
                  <a:lnTo>
                    <a:pt x="462" y="475"/>
                  </a:lnTo>
                  <a:lnTo>
                    <a:pt x="461" y="475"/>
                  </a:lnTo>
                  <a:lnTo>
                    <a:pt x="461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8" y="475"/>
                  </a:lnTo>
                  <a:lnTo>
                    <a:pt x="458" y="476"/>
                  </a:lnTo>
                  <a:lnTo>
                    <a:pt x="456" y="476"/>
                  </a:lnTo>
                  <a:lnTo>
                    <a:pt x="456" y="476"/>
                  </a:lnTo>
                  <a:lnTo>
                    <a:pt x="458" y="478"/>
                  </a:lnTo>
                  <a:lnTo>
                    <a:pt x="461" y="478"/>
                  </a:lnTo>
                  <a:lnTo>
                    <a:pt x="467" y="476"/>
                  </a:lnTo>
                  <a:lnTo>
                    <a:pt x="467" y="475"/>
                  </a:lnTo>
                  <a:close/>
                  <a:moveTo>
                    <a:pt x="404" y="459"/>
                  </a:moveTo>
                  <a:lnTo>
                    <a:pt x="405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5" y="459"/>
                  </a:lnTo>
                  <a:lnTo>
                    <a:pt x="405" y="459"/>
                  </a:lnTo>
                  <a:lnTo>
                    <a:pt x="405" y="458"/>
                  </a:lnTo>
                  <a:lnTo>
                    <a:pt x="407" y="453"/>
                  </a:lnTo>
                  <a:lnTo>
                    <a:pt x="407" y="453"/>
                  </a:lnTo>
                  <a:lnTo>
                    <a:pt x="405" y="453"/>
                  </a:lnTo>
                  <a:lnTo>
                    <a:pt x="404" y="455"/>
                  </a:lnTo>
                  <a:lnTo>
                    <a:pt x="402" y="456"/>
                  </a:lnTo>
                  <a:lnTo>
                    <a:pt x="404" y="458"/>
                  </a:lnTo>
                  <a:lnTo>
                    <a:pt x="404" y="459"/>
                  </a:lnTo>
                  <a:close/>
                  <a:moveTo>
                    <a:pt x="376" y="459"/>
                  </a:moveTo>
                  <a:lnTo>
                    <a:pt x="378" y="461"/>
                  </a:lnTo>
                  <a:lnTo>
                    <a:pt x="378" y="464"/>
                  </a:lnTo>
                  <a:lnTo>
                    <a:pt x="379" y="465"/>
                  </a:lnTo>
                  <a:lnTo>
                    <a:pt x="382" y="462"/>
                  </a:lnTo>
                  <a:lnTo>
                    <a:pt x="382" y="462"/>
                  </a:lnTo>
                  <a:lnTo>
                    <a:pt x="384" y="462"/>
                  </a:lnTo>
                  <a:lnTo>
                    <a:pt x="384" y="462"/>
                  </a:lnTo>
                  <a:lnTo>
                    <a:pt x="384" y="461"/>
                  </a:lnTo>
                  <a:lnTo>
                    <a:pt x="382" y="458"/>
                  </a:lnTo>
                  <a:lnTo>
                    <a:pt x="379" y="455"/>
                  </a:lnTo>
                  <a:lnTo>
                    <a:pt x="379" y="453"/>
                  </a:lnTo>
                  <a:lnTo>
                    <a:pt x="378" y="453"/>
                  </a:lnTo>
                  <a:lnTo>
                    <a:pt x="378" y="455"/>
                  </a:lnTo>
                  <a:lnTo>
                    <a:pt x="378" y="455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5"/>
                  </a:lnTo>
                  <a:lnTo>
                    <a:pt x="375" y="455"/>
                  </a:lnTo>
                  <a:lnTo>
                    <a:pt x="375" y="455"/>
                  </a:lnTo>
                  <a:lnTo>
                    <a:pt x="376" y="456"/>
                  </a:lnTo>
                  <a:lnTo>
                    <a:pt x="376" y="458"/>
                  </a:lnTo>
                  <a:lnTo>
                    <a:pt x="376" y="458"/>
                  </a:lnTo>
                  <a:lnTo>
                    <a:pt x="376" y="459"/>
                  </a:lnTo>
                  <a:close/>
                  <a:moveTo>
                    <a:pt x="544" y="461"/>
                  </a:moveTo>
                  <a:lnTo>
                    <a:pt x="542" y="462"/>
                  </a:lnTo>
                  <a:lnTo>
                    <a:pt x="544" y="462"/>
                  </a:lnTo>
                  <a:lnTo>
                    <a:pt x="544" y="462"/>
                  </a:lnTo>
                  <a:lnTo>
                    <a:pt x="546" y="462"/>
                  </a:lnTo>
                  <a:lnTo>
                    <a:pt x="546" y="464"/>
                  </a:lnTo>
                  <a:lnTo>
                    <a:pt x="546" y="464"/>
                  </a:lnTo>
                  <a:lnTo>
                    <a:pt x="547" y="464"/>
                  </a:lnTo>
                  <a:lnTo>
                    <a:pt x="547" y="464"/>
                  </a:lnTo>
                  <a:lnTo>
                    <a:pt x="549" y="464"/>
                  </a:lnTo>
                  <a:lnTo>
                    <a:pt x="549" y="464"/>
                  </a:lnTo>
                  <a:lnTo>
                    <a:pt x="549" y="462"/>
                  </a:lnTo>
                  <a:lnTo>
                    <a:pt x="549" y="462"/>
                  </a:lnTo>
                  <a:lnTo>
                    <a:pt x="549" y="461"/>
                  </a:lnTo>
                  <a:lnTo>
                    <a:pt x="552" y="462"/>
                  </a:lnTo>
                  <a:lnTo>
                    <a:pt x="553" y="462"/>
                  </a:lnTo>
                  <a:lnTo>
                    <a:pt x="553" y="461"/>
                  </a:lnTo>
                  <a:lnTo>
                    <a:pt x="553" y="461"/>
                  </a:lnTo>
                  <a:lnTo>
                    <a:pt x="553" y="461"/>
                  </a:lnTo>
                  <a:lnTo>
                    <a:pt x="552" y="461"/>
                  </a:lnTo>
                  <a:lnTo>
                    <a:pt x="552" y="461"/>
                  </a:lnTo>
                  <a:lnTo>
                    <a:pt x="552" y="461"/>
                  </a:lnTo>
                  <a:lnTo>
                    <a:pt x="553" y="461"/>
                  </a:lnTo>
                  <a:lnTo>
                    <a:pt x="553" y="459"/>
                  </a:lnTo>
                  <a:lnTo>
                    <a:pt x="553" y="458"/>
                  </a:lnTo>
                  <a:lnTo>
                    <a:pt x="553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0" y="456"/>
                  </a:lnTo>
                  <a:lnTo>
                    <a:pt x="550" y="458"/>
                  </a:lnTo>
                  <a:lnTo>
                    <a:pt x="550" y="456"/>
                  </a:lnTo>
                  <a:lnTo>
                    <a:pt x="549" y="455"/>
                  </a:lnTo>
                  <a:lnTo>
                    <a:pt x="549" y="455"/>
                  </a:lnTo>
                  <a:lnTo>
                    <a:pt x="547" y="453"/>
                  </a:lnTo>
                  <a:lnTo>
                    <a:pt x="549" y="453"/>
                  </a:lnTo>
                  <a:lnTo>
                    <a:pt x="549" y="453"/>
                  </a:lnTo>
                  <a:lnTo>
                    <a:pt x="542" y="450"/>
                  </a:lnTo>
                  <a:lnTo>
                    <a:pt x="541" y="448"/>
                  </a:lnTo>
                  <a:lnTo>
                    <a:pt x="541" y="450"/>
                  </a:lnTo>
                  <a:lnTo>
                    <a:pt x="541" y="450"/>
                  </a:lnTo>
                  <a:lnTo>
                    <a:pt x="542" y="450"/>
                  </a:lnTo>
                  <a:lnTo>
                    <a:pt x="542" y="451"/>
                  </a:lnTo>
                  <a:lnTo>
                    <a:pt x="542" y="453"/>
                  </a:lnTo>
                  <a:lnTo>
                    <a:pt x="544" y="453"/>
                  </a:lnTo>
                  <a:lnTo>
                    <a:pt x="544" y="453"/>
                  </a:lnTo>
                  <a:lnTo>
                    <a:pt x="544" y="453"/>
                  </a:lnTo>
                  <a:lnTo>
                    <a:pt x="546" y="453"/>
                  </a:lnTo>
                  <a:lnTo>
                    <a:pt x="546" y="453"/>
                  </a:lnTo>
                  <a:lnTo>
                    <a:pt x="546" y="453"/>
                  </a:lnTo>
                  <a:lnTo>
                    <a:pt x="546" y="455"/>
                  </a:lnTo>
                  <a:lnTo>
                    <a:pt x="546" y="455"/>
                  </a:lnTo>
                  <a:lnTo>
                    <a:pt x="546" y="456"/>
                  </a:lnTo>
                  <a:lnTo>
                    <a:pt x="546" y="456"/>
                  </a:lnTo>
                  <a:lnTo>
                    <a:pt x="546" y="456"/>
                  </a:lnTo>
                  <a:lnTo>
                    <a:pt x="544" y="458"/>
                  </a:lnTo>
                  <a:lnTo>
                    <a:pt x="544" y="459"/>
                  </a:lnTo>
                  <a:lnTo>
                    <a:pt x="544" y="461"/>
                  </a:lnTo>
                  <a:lnTo>
                    <a:pt x="544" y="461"/>
                  </a:lnTo>
                  <a:lnTo>
                    <a:pt x="544" y="461"/>
                  </a:lnTo>
                  <a:close/>
                  <a:moveTo>
                    <a:pt x="462" y="444"/>
                  </a:moveTo>
                  <a:lnTo>
                    <a:pt x="461" y="445"/>
                  </a:lnTo>
                  <a:lnTo>
                    <a:pt x="461" y="445"/>
                  </a:lnTo>
                  <a:lnTo>
                    <a:pt x="459" y="445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7"/>
                  </a:lnTo>
                  <a:lnTo>
                    <a:pt x="462" y="448"/>
                  </a:lnTo>
                  <a:lnTo>
                    <a:pt x="462" y="448"/>
                  </a:lnTo>
                  <a:lnTo>
                    <a:pt x="462" y="447"/>
                  </a:lnTo>
                  <a:lnTo>
                    <a:pt x="464" y="447"/>
                  </a:lnTo>
                  <a:lnTo>
                    <a:pt x="464" y="447"/>
                  </a:lnTo>
                  <a:lnTo>
                    <a:pt x="462" y="445"/>
                  </a:lnTo>
                  <a:lnTo>
                    <a:pt x="462" y="445"/>
                  </a:lnTo>
                  <a:lnTo>
                    <a:pt x="462" y="444"/>
                  </a:lnTo>
                  <a:close/>
                  <a:moveTo>
                    <a:pt x="416" y="458"/>
                  </a:moveTo>
                  <a:lnTo>
                    <a:pt x="418" y="456"/>
                  </a:lnTo>
                  <a:lnTo>
                    <a:pt x="419" y="456"/>
                  </a:lnTo>
                  <a:lnTo>
                    <a:pt x="419" y="455"/>
                  </a:lnTo>
                  <a:lnTo>
                    <a:pt x="421" y="455"/>
                  </a:lnTo>
                  <a:lnTo>
                    <a:pt x="421" y="453"/>
                  </a:lnTo>
                  <a:lnTo>
                    <a:pt x="421" y="453"/>
                  </a:lnTo>
                  <a:lnTo>
                    <a:pt x="422" y="453"/>
                  </a:lnTo>
                  <a:lnTo>
                    <a:pt x="422" y="451"/>
                  </a:lnTo>
                  <a:lnTo>
                    <a:pt x="421" y="451"/>
                  </a:lnTo>
                  <a:lnTo>
                    <a:pt x="421" y="451"/>
                  </a:lnTo>
                  <a:lnTo>
                    <a:pt x="422" y="451"/>
                  </a:lnTo>
                  <a:lnTo>
                    <a:pt x="422" y="450"/>
                  </a:lnTo>
                  <a:lnTo>
                    <a:pt x="421" y="450"/>
                  </a:lnTo>
                  <a:lnTo>
                    <a:pt x="421" y="448"/>
                  </a:lnTo>
                  <a:lnTo>
                    <a:pt x="422" y="445"/>
                  </a:lnTo>
                  <a:lnTo>
                    <a:pt x="422" y="445"/>
                  </a:lnTo>
                  <a:lnTo>
                    <a:pt x="422" y="444"/>
                  </a:lnTo>
                  <a:lnTo>
                    <a:pt x="422" y="444"/>
                  </a:lnTo>
                  <a:lnTo>
                    <a:pt x="422" y="442"/>
                  </a:lnTo>
                  <a:lnTo>
                    <a:pt x="422" y="442"/>
                  </a:lnTo>
                  <a:lnTo>
                    <a:pt x="421" y="442"/>
                  </a:lnTo>
                  <a:lnTo>
                    <a:pt x="421" y="444"/>
                  </a:lnTo>
                  <a:lnTo>
                    <a:pt x="421" y="444"/>
                  </a:lnTo>
                  <a:lnTo>
                    <a:pt x="421" y="445"/>
                  </a:lnTo>
                  <a:lnTo>
                    <a:pt x="418" y="445"/>
                  </a:lnTo>
                  <a:lnTo>
                    <a:pt x="418" y="444"/>
                  </a:lnTo>
                  <a:lnTo>
                    <a:pt x="419" y="442"/>
                  </a:lnTo>
                  <a:lnTo>
                    <a:pt x="416" y="444"/>
                  </a:lnTo>
                  <a:lnTo>
                    <a:pt x="415" y="445"/>
                  </a:lnTo>
                  <a:lnTo>
                    <a:pt x="412" y="447"/>
                  </a:lnTo>
                  <a:lnTo>
                    <a:pt x="412" y="448"/>
                  </a:lnTo>
                  <a:lnTo>
                    <a:pt x="412" y="448"/>
                  </a:lnTo>
                  <a:lnTo>
                    <a:pt x="412" y="448"/>
                  </a:lnTo>
                  <a:lnTo>
                    <a:pt x="413" y="448"/>
                  </a:lnTo>
                  <a:lnTo>
                    <a:pt x="410" y="450"/>
                  </a:lnTo>
                  <a:lnTo>
                    <a:pt x="410" y="451"/>
                  </a:lnTo>
                  <a:lnTo>
                    <a:pt x="408" y="455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10" y="456"/>
                  </a:lnTo>
                  <a:lnTo>
                    <a:pt x="412" y="458"/>
                  </a:lnTo>
                  <a:lnTo>
                    <a:pt x="412" y="458"/>
                  </a:lnTo>
                  <a:lnTo>
                    <a:pt x="415" y="458"/>
                  </a:lnTo>
                  <a:lnTo>
                    <a:pt x="416" y="458"/>
                  </a:lnTo>
                  <a:close/>
                  <a:moveTo>
                    <a:pt x="538" y="447"/>
                  </a:moveTo>
                  <a:lnTo>
                    <a:pt x="538" y="447"/>
                  </a:lnTo>
                  <a:lnTo>
                    <a:pt x="538" y="448"/>
                  </a:lnTo>
                  <a:lnTo>
                    <a:pt x="539" y="448"/>
                  </a:lnTo>
                  <a:lnTo>
                    <a:pt x="539" y="448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5"/>
                  </a:lnTo>
                  <a:lnTo>
                    <a:pt x="541" y="444"/>
                  </a:lnTo>
                  <a:lnTo>
                    <a:pt x="539" y="444"/>
                  </a:lnTo>
                  <a:lnTo>
                    <a:pt x="539" y="442"/>
                  </a:lnTo>
                  <a:lnTo>
                    <a:pt x="539" y="442"/>
                  </a:lnTo>
                  <a:lnTo>
                    <a:pt x="538" y="442"/>
                  </a:lnTo>
                  <a:lnTo>
                    <a:pt x="538" y="441"/>
                  </a:lnTo>
                  <a:lnTo>
                    <a:pt x="539" y="441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6" y="439"/>
                  </a:lnTo>
                  <a:lnTo>
                    <a:pt x="536" y="439"/>
                  </a:lnTo>
                  <a:lnTo>
                    <a:pt x="536" y="439"/>
                  </a:lnTo>
                  <a:lnTo>
                    <a:pt x="535" y="438"/>
                  </a:lnTo>
                  <a:lnTo>
                    <a:pt x="535" y="439"/>
                  </a:lnTo>
                  <a:lnTo>
                    <a:pt x="535" y="439"/>
                  </a:lnTo>
                  <a:lnTo>
                    <a:pt x="535" y="439"/>
                  </a:lnTo>
                  <a:lnTo>
                    <a:pt x="533" y="439"/>
                  </a:lnTo>
                  <a:lnTo>
                    <a:pt x="533" y="441"/>
                  </a:lnTo>
                  <a:lnTo>
                    <a:pt x="533" y="441"/>
                  </a:lnTo>
                  <a:lnTo>
                    <a:pt x="533" y="442"/>
                  </a:lnTo>
                  <a:lnTo>
                    <a:pt x="535" y="442"/>
                  </a:lnTo>
                  <a:lnTo>
                    <a:pt x="535" y="442"/>
                  </a:lnTo>
                  <a:lnTo>
                    <a:pt x="536" y="444"/>
                  </a:lnTo>
                  <a:lnTo>
                    <a:pt x="536" y="444"/>
                  </a:lnTo>
                  <a:lnTo>
                    <a:pt x="536" y="445"/>
                  </a:lnTo>
                  <a:lnTo>
                    <a:pt x="536" y="445"/>
                  </a:lnTo>
                  <a:lnTo>
                    <a:pt x="536" y="445"/>
                  </a:lnTo>
                  <a:lnTo>
                    <a:pt x="538" y="445"/>
                  </a:lnTo>
                  <a:lnTo>
                    <a:pt x="539" y="445"/>
                  </a:lnTo>
                  <a:lnTo>
                    <a:pt x="538" y="445"/>
                  </a:lnTo>
                  <a:lnTo>
                    <a:pt x="538" y="447"/>
                  </a:lnTo>
                  <a:close/>
                  <a:moveTo>
                    <a:pt x="439" y="461"/>
                  </a:moveTo>
                  <a:lnTo>
                    <a:pt x="441" y="461"/>
                  </a:lnTo>
                  <a:lnTo>
                    <a:pt x="442" y="461"/>
                  </a:lnTo>
                  <a:lnTo>
                    <a:pt x="442" y="459"/>
                  </a:lnTo>
                  <a:lnTo>
                    <a:pt x="444" y="455"/>
                  </a:lnTo>
                  <a:lnTo>
                    <a:pt x="444" y="453"/>
                  </a:lnTo>
                  <a:lnTo>
                    <a:pt x="445" y="450"/>
                  </a:lnTo>
                  <a:lnTo>
                    <a:pt x="445" y="448"/>
                  </a:lnTo>
                  <a:lnTo>
                    <a:pt x="445" y="444"/>
                  </a:lnTo>
                  <a:lnTo>
                    <a:pt x="444" y="442"/>
                  </a:lnTo>
                  <a:lnTo>
                    <a:pt x="444" y="441"/>
                  </a:lnTo>
                  <a:lnTo>
                    <a:pt x="442" y="439"/>
                  </a:lnTo>
                  <a:lnTo>
                    <a:pt x="441" y="438"/>
                  </a:lnTo>
                  <a:lnTo>
                    <a:pt x="439" y="439"/>
                  </a:lnTo>
                  <a:lnTo>
                    <a:pt x="439" y="439"/>
                  </a:lnTo>
                  <a:lnTo>
                    <a:pt x="438" y="439"/>
                  </a:lnTo>
                  <a:lnTo>
                    <a:pt x="438" y="439"/>
                  </a:lnTo>
                  <a:lnTo>
                    <a:pt x="436" y="441"/>
                  </a:lnTo>
                  <a:lnTo>
                    <a:pt x="436" y="442"/>
                  </a:lnTo>
                  <a:lnTo>
                    <a:pt x="432" y="445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7" y="448"/>
                  </a:lnTo>
                  <a:lnTo>
                    <a:pt x="427" y="448"/>
                  </a:lnTo>
                  <a:lnTo>
                    <a:pt x="427" y="448"/>
                  </a:lnTo>
                  <a:lnTo>
                    <a:pt x="427" y="450"/>
                  </a:lnTo>
                  <a:lnTo>
                    <a:pt x="427" y="450"/>
                  </a:lnTo>
                  <a:lnTo>
                    <a:pt x="427" y="450"/>
                  </a:lnTo>
                  <a:lnTo>
                    <a:pt x="428" y="451"/>
                  </a:lnTo>
                  <a:lnTo>
                    <a:pt x="430" y="453"/>
                  </a:lnTo>
                  <a:lnTo>
                    <a:pt x="428" y="455"/>
                  </a:lnTo>
                  <a:lnTo>
                    <a:pt x="428" y="455"/>
                  </a:lnTo>
                  <a:lnTo>
                    <a:pt x="428" y="455"/>
                  </a:lnTo>
                  <a:lnTo>
                    <a:pt x="430" y="456"/>
                  </a:lnTo>
                  <a:lnTo>
                    <a:pt x="430" y="456"/>
                  </a:lnTo>
                  <a:lnTo>
                    <a:pt x="430" y="458"/>
                  </a:lnTo>
                  <a:lnTo>
                    <a:pt x="430" y="458"/>
                  </a:lnTo>
                  <a:lnTo>
                    <a:pt x="430" y="458"/>
                  </a:lnTo>
                  <a:lnTo>
                    <a:pt x="432" y="459"/>
                  </a:lnTo>
                  <a:lnTo>
                    <a:pt x="433" y="461"/>
                  </a:lnTo>
                  <a:lnTo>
                    <a:pt x="433" y="461"/>
                  </a:lnTo>
                  <a:lnTo>
                    <a:pt x="433" y="462"/>
                  </a:lnTo>
                  <a:lnTo>
                    <a:pt x="433" y="464"/>
                  </a:lnTo>
                  <a:lnTo>
                    <a:pt x="433" y="464"/>
                  </a:lnTo>
                  <a:lnTo>
                    <a:pt x="435" y="464"/>
                  </a:lnTo>
                  <a:lnTo>
                    <a:pt x="435" y="464"/>
                  </a:lnTo>
                  <a:lnTo>
                    <a:pt x="435" y="464"/>
                  </a:lnTo>
                  <a:lnTo>
                    <a:pt x="436" y="464"/>
                  </a:lnTo>
                  <a:lnTo>
                    <a:pt x="438" y="464"/>
                  </a:lnTo>
                  <a:lnTo>
                    <a:pt x="439" y="461"/>
                  </a:lnTo>
                  <a:close/>
                  <a:moveTo>
                    <a:pt x="365" y="445"/>
                  </a:moveTo>
                  <a:lnTo>
                    <a:pt x="367" y="444"/>
                  </a:lnTo>
                  <a:lnTo>
                    <a:pt x="367" y="441"/>
                  </a:lnTo>
                  <a:lnTo>
                    <a:pt x="365" y="439"/>
                  </a:lnTo>
                  <a:lnTo>
                    <a:pt x="365" y="438"/>
                  </a:lnTo>
                  <a:lnTo>
                    <a:pt x="365" y="438"/>
                  </a:lnTo>
                  <a:lnTo>
                    <a:pt x="365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2" y="438"/>
                  </a:lnTo>
                  <a:lnTo>
                    <a:pt x="361" y="438"/>
                  </a:lnTo>
                  <a:lnTo>
                    <a:pt x="359" y="439"/>
                  </a:lnTo>
                  <a:lnTo>
                    <a:pt x="359" y="441"/>
                  </a:lnTo>
                  <a:lnTo>
                    <a:pt x="359" y="441"/>
                  </a:lnTo>
                  <a:lnTo>
                    <a:pt x="359" y="441"/>
                  </a:lnTo>
                  <a:lnTo>
                    <a:pt x="359" y="442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9" y="444"/>
                  </a:lnTo>
                  <a:lnTo>
                    <a:pt x="358" y="444"/>
                  </a:lnTo>
                  <a:lnTo>
                    <a:pt x="358" y="444"/>
                  </a:lnTo>
                  <a:lnTo>
                    <a:pt x="358" y="445"/>
                  </a:lnTo>
                  <a:lnTo>
                    <a:pt x="358" y="445"/>
                  </a:lnTo>
                  <a:lnTo>
                    <a:pt x="359" y="444"/>
                  </a:lnTo>
                  <a:lnTo>
                    <a:pt x="359" y="444"/>
                  </a:lnTo>
                  <a:lnTo>
                    <a:pt x="359" y="445"/>
                  </a:lnTo>
                  <a:lnTo>
                    <a:pt x="361" y="444"/>
                  </a:lnTo>
                  <a:lnTo>
                    <a:pt x="361" y="444"/>
                  </a:lnTo>
                  <a:lnTo>
                    <a:pt x="361" y="444"/>
                  </a:lnTo>
                  <a:lnTo>
                    <a:pt x="361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4" y="445"/>
                  </a:lnTo>
                  <a:lnTo>
                    <a:pt x="364" y="445"/>
                  </a:lnTo>
                  <a:lnTo>
                    <a:pt x="364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5" y="445"/>
                  </a:lnTo>
                  <a:lnTo>
                    <a:pt x="365" y="445"/>
                  </a:lnTo>
                  <a:lnTo>
                    <a:pt x="365" y="444"/>
                  </a:lnTo>
                  <a:lnTo>
                    <a:pt x="365" y="444"/>
                  </a:lnTo>
                  <a:lnTo>
                    <a:pt x="365" y="445"/>
                  </a:lnTo>
                  <a:close/>
                  <a:moveTo>
                    <a:pt x="264" y="431"/>
                  </a:moveTo>
                  <a:lnTo>
                    <a:pt x="262" y="430"/>
                  </a:lnTo>
                  <a:lnTo>
                    <a:pt x="262" y="430"/>
                  </a:lnTo>
                  <a:lnTo>
                    <a:pt x="261" y="430"/>
                  </a:lnTo>
                  <a:lnTo>
                    <a:pt x="261" y="430"/>
                  </a:lnTo>
                  <a:lnTo>
                    <a:pt x="259" y="431"/>
                  </a:lnTo>
                  <a:lnTo>
                    <a:pt x="259" y="431"/>
                  </a:lnTo>
                  <a:lnTo>
                    <a:pt x="261" y="433"/>
                  </a:lnTo>
                  <a:lnTo>
                    <a:pt x="261" y="433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4"/>
                  </a:lnTo>
                  <a:lnTo>
                    <a:pt x="264" y="433"/>
                  </a:lnTo>
                  <a:lnTo>
                    <a:pt x="264" y="433"/>
                  </a:lnTo>
                  <a:lnTo>
                    <a:pt x="264" y="431"/>
                  </a:lnTo>
                  <a:lnTo>
                    <a:pt x="264" y="431"/>
                  </a:lnTo>
                  <a:close/>
                  <a:moveTo>
                    <a:pt x="291" y="425"/>
                  </a:moveTo>
                  <a:lnTo>
                    <a:pt x="293" y="424"/>
                  </a:lnTo>
                  <a:lnTo>
                    <a:pt x="294" y="424"/>
                  </a:lnTo>
                  <a:lnTo>
                    <a:pt x="296" y="422"/>
                  </a:lnTo>
                  <a:lnTo>
                    <a:pt x="293" y="422"/>
                  </a:lnTo>
                  <a:lnTo>
                    <a:pt x="291" y="424"/>
                  </a:lnTo>
                  <a:lnTo>
                    <a:pt x="288" y="424"/>
                  </a:lnTo>
                  <a:lnTo>
                    <a:pt x="287" y="424"/>
                  </a:lnTo>
                  <a:lnTo>
                    <a:pt x="279" y="428"/>
                  </a:lnTo>
                  <a:lnTo>
                    <a:pt x="279" y="428"/>
                  </a:lnTo>
                  <a:lnTo>
                    <a:pt x="282" y="428"/>
                  </a:lnTo>
                  <a:lnTo>
                    <a:pt x="285" y="427"/>
                  </a:lnTo>
                  <a:lnTo>
                    <a:pt x="287" y="427"/>
                  </a:lnTo>
                  <a:lnTo>
                    <a:pt x="288" y="427"/>
                  </a:lnTo>
                  <a:lnTo>
                    <a:pt x="290" y="427"/>
                  </a:lnTo>
                  <a:lnTo>
                    <a:pt x="290" y="424"/>
                  </a:lnTo>
                  <a:lnTo>
                    <a:pt x="291" y="425"/>
                  </a:lnTo>
                  <a:close/>
                  <a:moveTo>
                    <a:pt x="519" y="424"/>
                  </a:moveTo>
                  <a:lnTo>
                    <a:pt x="519" y="424"/>
                  </a:lnTo>
                  <a:lnTo>
                    <a:pt x="519" y="424"/>
                  </a:lnTo>
                  <a:lnTo>
                    <a:pt x="518" y="422"/>
                  </a:lnTo>
                  <a:lnTo>
                    <a:pt x="518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5" y="422"/>
                  </a:lnTo>
                  <a:lnTo>
                    <a:pt x="515" y="424"/>
                  </a:lnTo>
                  <a:lnTo>
                    <a:pt x="515" y="425"/>
                  </a:lnTo>
                  <a:lnTo>
                    <a:pt x="515" y="425"/>
                  </a:lnTo>
                  <a:lnTo>
                    <a:pt x="515" y="427"/>
                  </a:lnTo>
                  <a:lnTo>
                    <a:pt x="515" y="427"/>
                  </a:lnTo>
                  <a:lnTo>
                    <a:pt x="515" y="428"/>
                  </a:lnTo>
                  <a:lnTo>
                    <a:pt x="515" y="430"/>
                  </a:lnTo>
                  <a:lnTo>
                    <a:pt x="516" y="430"/>
                  </a:lnTo>
                  <a:lnTo>
                    <a:pt x="516" y="430"/>
                  </a:lnTo>
                  <a:lnTo>
                    <a:pt x="516" y="431"/>
                  </a:lnTo>
                  <a:lnTo>
                    <a:pt x="516" y="431"/>
                  </a:lnTo>
                  <a:lnTo>
                    <a:pt x="518" y="431"/>
                  </a:lnTo>
                  <a:lnTo>
                    <a:pt x="518" y="428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5"/>
                  </a:lnTo>
                  <a:lnTo>
                    <a:pt x="518" y="425"/>
                  </a:lnTo>
                  <a:lnTo>
                    <a:pt x="518" y="425"/>
                  </a:lnTo>
                  <a:lnTo>
                    <a:pt x="518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21" y="425"/>
                  </a:lnTo>
                  <a:lnTo>
                    <a:pt x="521" y="424"/>
                  </a:lnTo>
                  <a:lnTo>
                    <a:pt x="519" y="424"/>
                  </a:lnTo>
                  <a:close/>
                  <a:moveTo>
                    <a:pt x="355" y="424"/>
                  </a:moveTo>
                  <a:lnTo>
                    <a:pt x="355" y="425"/>
                  </a:lnTo>
                  <a:lnTo>
                    <a:pt x="353" y="428"/>
                  </a:lnTo>
                  <a:lnTo>
                    <a:pt x="356" y="428"/>
                  </a:lnTo>
                  <a:lnTo>
                    <a:pt x="358" y="427"/>
                  </a:lnTo>
                  <a:lnTo>
                    <a:pt x="358" y="425"/>
                  </a:lnTo>
                  <a:lnTo>
                    <a:pt x="359" y="424"/>
                  </a:lnTo>
                  <a:lnTo>
                    <a:pt x="359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2" y="419"/>
                  </a:lnTo>
                  <a:lnTo>
                    <a:pt x="361" y="418"/>
                  </a:lnTo>
                  <a:lnTo>
                    <a:pt x="359" y="416"/>
                  </a:lnTo>
                  <a:lnTo>
                    <a:pt x="359" y="414"/>
                  </a:lnTo>
                  <a:lnTo>
                    <a:pt x="359" y="413"/>
                  </a:lnTo>
                  <a:lnTo>
                    <a:pt x="359" y="413"/>
                  </a:lnTo>
                  <a:lnTo>
                    <a:pt x="359" y="411"/>
                  </a:lnTo>
                  <a:lnTo>
                    <a:pt x="359" y="411"/>
                  </a:lnTo>
                  <a:lnTo>
                    <a:pt x="358" y="413"/>
                  </a:lnTo>
                  <a:lnTo>
                    <a:pt x="356" y="414"/>
                  </a:lnTo>
                  <a:lnTo>
                    <a:pt x="355" y="416"/>
                  </a:lnTo>
                  <a:lnTo>
                    <a:pt x="353" y="419"/>
                  </a:lnTo>
                  <a:lnTo>
                    <a:pt x="355" y="418"/>
                  </a:lnTo>
                  <a:lnTo>
                    <a:pt x="356" y="419"/>
                  </a:lnTo>
                  <a:lnTo>
                    <a:pt x="356" y="419"/>
                  </a:lnTo>
                  <a:lnTo>
                    <a:pt x="355" y="421"/>
                  </a:lnTo>
                  <a:lnTo>
                    <a:pt x="355" y="421"/>
                  </a:lnTo>
                  <a:lnTo>
                    <a:pt x="356" y="421"/>
                  </a:lnTo>
                  <a:lnTo>
                    <a:pt x="356" y="422"/>
                  </a:lnTo>
                  <a:lnTo>
                    <a:pt x="356" y="422"/>
                  </a:lnTo>
                  <a:lnTo>
                    <a:pt x="356" y="422"/>
                  </a:lnTo>
                  <a:lnTo>
                    <a:pt x="355" y="424"/>
                  </a:lnTo>
                  <a:close/>
                  <a:moveTo>
                    <a:pt x="430" y="418"/>
                  </a:moveTo>
                  <a:lnTo>
                    <a:pt x="430" y="418"/>
                  </a:lnTo>
                  <a:lnTo>
                    <a:pt x="432" y="418"/>
                  </a:lnTo>
                  <a:lnTo>
                    <a:pt x="432" y="416"/>
                  </a:lnTo>
                  <a:lnTo>
                    <a:pt x="433" y="416"/>
                  </a:lnTo>
                  <a:lnTo>
                    <a:pt x="433" y="416"/>
                  </a:lnTo>
                  <a:lnTo>
                    <a:pt x="435" y="416"/>
                  </a:lnTo>
                  <a:lnTo>
                    <a:pt x="435" y="414"/>
                  </a:lnTo>
                  <a:lnTo>
                    <a:pt x="436" y="414"/>
                  </a:lnTo>
                  <a:lnTo>
                    <a:pt x="435" y="413"/>
                  </a:lnTo>
                  <a:lnTo>
                    <a:pt x="433" y="413"/>
                  </a:lnTo>
                  <a:lnTo>
                    <a:pt x="433" y="413"/>
                  </a:lnTo>
                  <a:lnTo>
                    <a:pt x="433" y="411"/>
                  </a:lnTo>
                  <a:lnTo>
                    <a:pt x="433" y="411"/>
                  </a:lnTo>
                  <a:lnTo>
                    <a:pt x="430" y="411"/>
                  </a:lnTo>
                  <a:lnTo>
                    <a:pt x="430" y="411"/>
                  </a:lnTo>
                  <a:lnTo>
                    <a:pt x="430" y="413"/>
                  </a:lnTo>
                  <a:lnTo>
                    <a:pt x="428" y="413"/>
                  </a:lnTo>
                  <a:lnTo>
                    <a:pt x="427" y="410"/>
                  </a:lnTo>
                  <a:lnTo>
                    <a:pt x="425" y="410"/>
                  </a:lnTo>
                  <a:lnTo>
                    <a:pt x="425" y="411"/>
                  </a:lnTo>
                  <a:lnTo>
                    <a:pt x="424" y="411"/>
                  </a:lnTo>
                  <a:lnTo>
                    <a:pt x="424" y="413"/>
                  </a:lnTo>
                  <a:lnTo>
                    <a:pt x="425" y="413"/>
                  </a:lnTo>
                  <a:lnTo>
                    <a:pt x="425" y="414"/>
                  </a:lnTo>
                  <a:lnTo>
                    <a:pt x="425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9"/>
                  </a:lnTo>
                  <a:lnTo>
                    <a:pt x="430" y="418"/>
                  </a:lnTo>
                  <a:close/>
                  <a:moveTo>
                    <a:pt x="398" y="419"/>
                  </a:moveTo>
                  <a:lnTo>
                    <a:pt x="398" y="418"/>
                  </a:lnTo>
                  <a:lnTo>
                    <a:pt x="398" y="418"/>
                  </a:lnTo>
                  <a:lnTo>
                    <a:pt x="398" y="418"/>
                  </a:lnTo>
                  <a:lnTo>
                    <a:pt x="396" y="416"/>
                  </a:lnTo>
                  <a:lnTo>
                    <a:pt x="396" y="416"/>
                  </a:lnTo>
                  <a:lnTo>
                    <a:pt x="396" y="416"/>
                  </a:lnTo>
                  <a:lnTo>
                    <a:pt x="398" y="414"/>
                  </a:lnTo>
                  <a:lnTo>
                    <a:pt x="398" y="414"/>
                  </a:lnTo>
                  <a:lnTo>
                    <a:pt x="398" y="413"/>
                  </a:lnTo>
                  <a:lnTo>
                    <a:pt x="398" y="411"/>
                  </a:lnTo>
                  <a:lnTo>
                    <a:pt x="396" y="410"/>
                  </a:lnTo>
                  <a:lnTo>
                    <a:pt x="396" y="410"/>
                  </a:lnTo>
                  <a:lnTo>
                    <a:pt x="393" y="410"/>
                  </a:lnTo>
                  <a:lnTo>
                    <a:pt x="393" y="410"/>
                  </a:lnTo>
                  <a:lnTo>
                    <a:pt x="393" y="410"/>
                  </a:lnTo>
                  <a:lnTo>
                    <a:pt x="393" y="413"/>
                  </a:lnTo>
                  <a:lnTo>
                    <a:pt x="393" y="413"/>
                  </a:lnTo>
                  <a:lnTo>
                    <a:pt x="393" y="414"/>
                  </a:lnTo>
                  <a:lnTo>
                    <a:pt x="393" y="416"/>
                  </a:lnTo>
                  <a:lnTo>
                    <a:pt x="392" y="416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0" y="419"/>
                  </a:lnTo>
                  <a:lnTo>
                    <a:pt x="390" y="419"/>
                  </a:lnTo>
                  <a:lnTo>
                    <a:pt x="392" y="421"/>
                  </a:lnTo>
                  <a:lnTo>
                    <a:pt x="393" y="419"/>
                  </a:lnTo>
                  <a:lnTo>
                    <a:pt x="393" y="421"/>
                  </a:lnTo>
                  <a:lnTo>
                    <a:pt x="392" y="421"/>
                  </a:lnTo>
                  <a:lnTo>
                    <a:pt x="392" y="422"/>
                  </a:lnTo>
                  <a:lnTo>
                    <a:pt x="392" y="422"/>
                  </a:lnTo>
                  <a:lnTo>
                    <a:pt x="392" y="424"/>
                  </a:lnTo>
                  <a:lnTo>
                    <a:pt x="393" y="422"/>
                  </a:lnTo>
                  <a:lnTo>
                    <a:pt x="398" y="421"/>
                  </a:lnTo>
                  <a:lnTo>
                    <a:pt x="398" y="419"/>
                  </a:lnTo>
                  <a:lnTo>
                    <a:pt x="398" y="419"/>
                  </a:lnTo>
                  <a:close/>
                  <a:moveTo>
                    <a:pt x="288" y="405"/>
                  </a:moveTo>
                  <a:lnTo>
                    <a:pt x="287" y="405"/>
                  </a:lnTo>
                  <a:lnTo>
                    <a:pt x="287" y="407"/>
                  </a:lnTo>
                  <a:lnTo>
                    <a:pt x="287" y="407"/>
                  </a:lnTo>
                  <a:lnTo>
                    <a:pt x="284" y="408"/>
                  </a:lnTo>
                  <a:lnTo>
                    <a:pt x="284" y="408"/>
                  </a:lnTo>
                  <a:lnTo>
                    <a:pt x="285" y="410"/>
                  </a:lnTo>
                  <a:lnTo>
                    <a:pt x="288" y="410"/>
                  </a:lnTo>
                  <a:lnTo>
                    <a:pt x="290" y="410"/>
                  </a:lnTo>
                  <a:lnTo>
                    <a:pt x="291" y="408"/>
                  </a:lnTo>
                  <a:lnTo>
                    <a:pt x="291" y="408"/>
                  </a:lnTo>
                  <a:lnTo>
                    <a:pt x="290" y="408"/>
                  </a:lnTo>
                  <a:lnTo>
                    <a:pt x="290" y="407"/>
                  </a:lnTo>
                  <a:lnTo>
                    <a:pt x="288" y="407"/>
                  </a:lnTo>
                  <a:lnTo>
                    <a:pt x="288" y="405"/>
                  </a:lnTo>
                  <a:lnTo>
                    <a:pt x="288" y="405"/>
                  </a:lnTo>
                  <a:lnTo>
                    <a:pt x="288" y="405"/>
                  </a:lnTo>
                  <a:lnTo>
                    <a:pt x="288" y="405"/>
                  </a:lnTo>
                  <a:close/>
                  <a:moveTo>
                    <a:pt x="382" y="399"/>
                  </a:moveTo>
                  <a:lnTo>
                    <a:pt x="381" y="398"/>
                  </a:lnTo>
                  <a:lnTo>
                    <a:pt x="379" y="398"/>
                  </a:lnTo>
                  <a:lnTo>
                    <a:pt x="379" y="399"/>
                  </a:lnTo>
                  <a:lnTo>
                    <a:pt x="378" y="399"/>
                  </a:lnTo>
                  <a:lnTo>
                    <a:pt x="376" y="401"/>
                  </a:lnTo>
                  <a:lnTo>
                    <a:pt x="376" y="401"/>
                  </a:lnTo>
                  <a:lnTo>
                    <a:pt x="376" y="401"/>
                  </a:lnTo>
                  <a:lnTo>
                    <a:pt x="379" y="402"/>
                  </a:lnTo>
                  <a:lnTo>
                    <a:pt x="382" y="401"/>
                  </a:lnTo>
                  <a:lnTo>
                    <a:pt x="381" y="401"/>
                  </a:lnTo>
                  <a:lnTo>
                    <a:pt x="381" y="399"/>
                  </a:lnTo>
                  <a:lnTo>
                    <a:pt x="382" y="399"/>
                  </a:lnTo>
                  <a:close/>
                  <a:moveTo>
                    <a:pt x="401" y="396"/>
                  </a:moveTo>
                  <a:lnTo>
                    <a:pt x="401" y="398"/>
                  </a:lnTo>
                  <a:lnTo>
                    <a:pt x="401" y="398"/>
                  </a:lnTo>
                  <a:lnTo>
                    <a:pt x="404" y="399"/>
                  </a:lnTo>
                  <a:lnTo>
                    <a:pt x="407" y="402"/>
                  </a:lnTo>
                  <a:lnTo>
                    <a:pt x="407" y="402"/>
                  </a:lnTo>
                  <a:lnTo>
                    <a:pt x="408" y="404"/>
                  </a:lnTo>
                  <a:lnTo>
                    <a:pt x="410" y="405"/>
                  </a:lnTo>
                  <a:lnTo>
                    <a:pt x="410" y="405"/>
                  </a:lnTo>
                  <a:lnTo>
                    <a:pt x="412" y="405"/>
                  </a:lnTo>
                  <a:lnTo>
                    <a:pt x="413" y="407"/>
                  </a:lnTo>
                  <a:lnTo>
                    <a:pt x="416" y="407"/>
                  </a:lnTo>
                  <a:lnTo>
                    <a:pt x="418" y="407"/>
                  </a:lnTo>
                  <a:lnTo>
                    <a:pt x="418" y="404"/>
                  </a:lnTo>
                  <a:lnTo>
                    <a:pt x="421" y="402"/>
                  </a:lnTo>
                  <a:lnTo>
                    <a:pt x="419" y="401"/>
                  </a:lnTo>
                  <a:lnTo>
                    <a:pt x="419" y="401"/>
                  </a:lnTo>
                  <a:lnTo>
                    <a:pt x="419" y="399"/>
                  </a:lnTo>
                  <a:lnTo>
                    <a:pt x="419" y="399"/>
                  </a:lnTo>
                  <a:lnTo>
                    <a:pt x="419" y="399"/>
                  </a:lnTo>
                  <a:lnTo>
                    <a:pt x="418" y="398"/>
                  </a:lnTo>
                  <a:lnTo>
                    <a:pt x="415" y="398"/>
                  </a:lnTo>
                  <a:lnTo>
                    <a:pt x="413" y="396"/>
                  </a:lnTo>
                  <a:lnTo>
                    <a:pt x="412" y="398"/>
                  </a:lnTo>
                  <a:lnTo>
                    <a:pt x="412" y="398"/>
                  </a:lnTo>
                  <a:lnTo>
                    <a:pt x="410" y="396"/>
                  </a:lnTo>
                  <a:lnTo>
                    <a:pt x="408" y="396"/>
                  </a:lnTo>
                  <a:lnTo>
                    <a:pt x="407" y="398"/>
                  </a:lnTo>
                  <a:lnTo>
                    <a:pt x="407" y="396"/>
                  </a:lnTo>
                  <a:lnTo>
                    <a:pt x="407" y="396"/>
                  </a:lnTo>
                  <a:lnTo>
                    <a:pt x="405" y="396"/>
                  </a:lnTo>
                  <a:lnTo>
                    <a:pt x="405" y="396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3"/>
                  </a:lnTo>
                  <a:lnTo>
                    <a:pt x="401" y="393"/>
                  </a:lnTo>
                  <a:lnTo>
                    <a:pt x="399" y="393"/>
                  </a:lnTo>
                  <a:lnTo>
                    <a:pt x="399" y="394"/>
                  </a:lnTo>
                  <a:lnTo>
                    <a:pt x="399" y="396"/>
                  </a:lnTo>
                  <a:lnTo>
                    <a:pt x="401" y="396"/>
                  </a:lnTo>
                  <a:close/>
                  <a:moveTo>
                    <a:pt x="347" y="407"/>
                  </a:moveTo>
                  <a:lnTo>
                    <a:pt x="348" y="408"/>
                  </a:lnTo>
                  <a:lnTo>
                    <a:pt x="350" y="407"/>
                  </a:lnTo>
                  <a:lnTo>
                    <a:pt x="351" y="404"/>
                  </a:lnTo>
                  <a:lnTo>
                    <a:pt x="355" y="402"/>
                  </a:lnTo>
                  <a:lnTo>
                    <a:pt x="356" y="399"/>
                  </a:lnTo>
                  <a:lnTo>
                    <a:pt x="356" y="396"/>
                  </a:lnTo>
                  <a:lnTo>
                    <a:pt x="355" y="393"/>
                  </a:lnTo>
                  <a:lnTo>
                    <a:pt x="355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1" y="393"/>
                  </a:lnTo>
                  <a:lnTo>
                    <a:pt x="351" y="393"/>
                  </a:lnTo>
                  <a:lnTo>
                    <a:pt x="350" y="393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1" y="394"/>
                  </a:lnTo>
                  <a:lnTo>
                    <a:pt x="351" y="394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48" y="396"/>
                  </a:lnTo>
                  <a:lnTo>
                    <a:pt x="347" y="399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7" y="407"/>
                  </a:lnTo>
                  <a:lnTo>
                    <a:pt x="347" y="407"/>
                  </a:lnTo>
                  <a:close/>
                  <a:moveTo>
                    <a:pt x="482" y="407"/>
                  </a:moveTo>
                  <a:lnTo>
                    <a:pt x="484" y="405"/>
                  </a:lnTo>
                  <a:lnTo>
                    <a:pt x="485" y="405"/>
                  </a:lnTo>
                  <a:lnTo>
                    <a:pt x="492" y="404"/>
                  </a:lnTo>
                  <a:lnTo>
                    <a:pt x="493" y="404"/>
                  </a:lnTo>
                  <a:lnTo>
                    <a:pt x="499" y="398"/>
                  </a:lnTo>
                  <a:lnTo>
                    <a:pt x="501" y="396"/>
                  </a:lnTo>
                  <a:lnTo>
                    <a:pt x="502" y="393"/>
                  </a:lnTo>
                  <a:lnTo>
                    <a:pt x="499" y="393"/>
                  </a:lnTo>
                  <a:lnTo>
                    <a:pt x="496" y="394"/>
                  </a:lnTo>
                  <a:lnTo>
                    <a:pt x="495" y="396"/>
                  </a:lnTo>
                  <a:lnTo>
                    <a:pt x="492" y="398"/>
                  </a:lnTo>
                  <a:lnTo>
                    <a:pt x="490" y="398"/>
                  </a:lnTo>
                  <a:lnTo>
                    <a:pt x="489" y="398"/>
                  </a:lnTo>
                  <a:lnTo>
                    <a:pt x="487" y="398"/>
                  </a:lnTo>
                  <a:lnTo>
                    <a:pt x="482" y="398"/>
                  </a:lnTo>
                  <a:lnTo>
                    <a:pt x="481" y="398"/>
                  </a:lnTo>
                  <a:lnTo>
                    <a:pt x="479" y="398"/>
                  </a:lnTo>
                  <a:lnTo>
                    <a:pt x="478" y="399"/>
                  </a:lnTo>
                  <a:lnTo>
                    <a:pt x="478" y="401"/>
                  </a:lnTo>
                  <a:lnTo>
                    <a:pt x="476" y="402"/>
                  </a:lnTo>
                  <a:lnTo>
                    <a:pt x="476" y="404"/>
                  </a:lnTo>
                  <a:lnTo>
                    <a:pt x="473" y="405"/>
                  </a:lnTo>
                  <a:lnTo>
                    <a:pt x="473" y="407"/>
                  </a:lnTo>
                  <a:lnTo>
                    <a:pt x="473" y="408"/>
                  </a:lnTo>
                  <a:lnTo>
                    <a:pt x="475" y="410"/>
                  </a:lnTo>
                  <a:lnTo>
                    <a:pt x="478" y="408"/>
                  </a:lnTo>
                  <a:lnTo>
                    <a:pt x="478" y="408"/>
                  </a:lnTo>
                  <a:lnTo>
                    <a:pt x="479" y="408"/>
                  </a:lnTo>
                  <a:lnTo>
                    <a:pt x="479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82" y="407"/>
                  </a:lnTo>
                  <a:close/>
                  <a:moveTo>
                    <a:pt x="294" y="385"/>
                  </a:moveTo>
                  <a:lnTo>
                    <a:pt x="293" y="385"/>
                  </a:lnTo>
                  <a:lnTo>
                    <a:pt x="284" y="385"/>
                  </a:lnTo>
                  <a:lnTo>
                    <a:pt x="284" y="385"/>
                  </a:lnTo>
                  <a:lnTo>
                    <a:pt x="284" y="387"/>
                  </a:lnTo>
                  <a:lnTo>
                    <a:pt x="284" y="388"/>
                  </a:lnTo>
                  <a:lnTo>
                    <a:pt x="285" y="390"/>
                  </a:lnTo>
                  <a:lnTo>
                    <a:pt x="287" y="390"/>
                  </a:lnTo>
                  <a:lnTo>
                    <a:pt x="287" y="390"/>
                  </a:lnTo>
                  <a:lnTo>
                    <a:pt x="287" y="391"/>
                  </a:lnTo>
                  <a:lnTo>
                    <a:pt x="285" y="391"/>
                  </a:lnTo>
                  <a:lnTo>
                    <a:pt x="285" y="393"/>
                  </a:lnTo>
                  <a:lnTo>
                    <a:pt x="287" y="393"/>
                  </a:lnTo>
                  <a:lnTo>
                    <a:pt x="287" y="393"/>
                  </a:lnTo>
                  <a:lnTo>
                    <a:pt x="288" y="393"/>
                  </a:lnTo>
                  <a:lnTo>
                    <a:pt x="288" y="393"/>
                  </a:lnTo>
                  <a:lnTo>
                    <a:pt x="290" y="393"/>
                  </a:lnTo>
                  <a:lnTo>
                    <a:pt x="291" y="393"/>
                  </a:lnTo>
                  <a:lnTo>
                    <a:pt x="291" y="391"/>
                  </a:lnTo>
                  <a:lnTo>
                    <a:pt x="291" y="390"/>
                  </a:lnTo>
                  <a:lnTo>
                    <a:pt x="291" y="390"/>
                  </a:lnTo>
                  <a:lnTo>
                    <a:pt x="293" y="388"/>
                  </a:lnTo>
                  <a:lnTo>
                    <a:pt x="293" y="387"/>
                  </a:lnTo>
                  <a:lnTo>
                    <a:pt x="293" y="387"/>
                  </a:lnTo>
                  <a:lnTo>
                    <a:pt x="294" y="385"/>
                  </a:lnTo>
                  <a:close/>
                  <a:moveTo>
                    <a:pt x="533" y="396"/>
                  </a:moveTo>
                  <a:lnTo>
                    <a:pt x="533" y="396"/>
                  </a:lnTo>
                  <a:lnTo>
                    <a:pt x="533" y="396"/>
                  </a:lnTo>
                  <a:lnTo>
                    <a:pt x="535" y="398"/>
                  </a:lnTo>
                  <a:lnTo>
                    <a:pt x="539" y="398"/>
                  </a:lnTo>
                  <a:lnTo>
                    <a:pt x="539" y="398"/>
                  </a:lnTo>
                  <a:lnTo>
                    <a:pt x="541" y="396"/>
                  </a:lnTo>
                  <a:lnTo>
                    <a:pt x="541" y="396"/>
                  </a:lnTo>
                  <a:lnTo>
                    <a:pt x="541" y="396"/>
                  </a:lnTo>
                  <a:lnTo>
                    <a:pt x="541" y="394"/>
                  </a:lnTo>
                  <a:lnTo>
                    <a:pt x="542" y="394"/>
                  </a:lnTo>
                  <a:lnTo>
                    <a:pt x="542" y="393"/>
                  </a:lnTo>
                  <a:lnTo>
                    <a:pt x="550" y="391"/>
                  </a:lnTo>
                  <a:lnTo>
                    <a:pt x="553" y="390"/>
                  </a:lnTo>
                  <a:lnTo>
                    <a:pt x="555" y="391"/>
                  </a:lnTo>
                  <a:lnTo>
                    <a:pt x="555" y="390"/>
                  </a:lnTo>
                  <a:lnTo>
                    <a:pt x="555" y="388"/>
                  </a:lnTo>
                  <a:lnTo>
                    <a:pt x="555" y="388"/>
                  </a:lnTo>
                  <a:lnTo>
                    <a:pt x="553" y="390"/>
                  </a:lnTo>
                  <a:lnTo>
                    <a:pt x="553" y="388"/>
                  </a:lnTo>
                  <a:lnTo>
                    <a:pt x="552" y="387"/>
                  </a:lnTo>
                  <a:lnTo>
                    <a:pt x="552" y="387"/>
                  </a:lnTo>
                  <a:lnTo>
                    <a:pt x="552" y="385"/>
                  </a:lnTo>
                  <a:lnTo>
                    <a:pt x="553" y="385"/>
                  </a:lnTo>
                  <a:lnTo>
                    <a:pt x="555" y="385"/>
                  </a:lnTo>
                  <a:lnTo>
                    <a:pt x="552" y="384"/>
                  </a:lnTo>
                  <a:lnTo>
                    <a:pt x="549" y="384"/>
                  </a:lnTo>
                  <a:lnTo>
                    <a:pt x="549" y="382"/>
                  </a:lnTo>
                  <a:lnTo>
                    <a:pt x="549" y="384"/>
                  </a:lnTo>
                  <a:lnTo>
                    <a:pt x="547" y="384"/>
                  </a:lnTo>
                  <a:lnTo>
                    <a:pt x="547" y="384"/>
                  </a:lnTo>
                  <a:lnTo>
                    <a:pt x="546" y="384"/>
                  </a:lnTo>
                  <a:lnTo>
                    <a:pt x="547" y="384"/>
                  </a:lnTo>
                  <a:lnTo>
                    <a:pt x="547" y="385"/>
                  </a:lnTo>
                  <a:lnTo>
                    <a:pt x="547" y="387"/>
                  </a:lnTo>
                  <a:lnTo>
                    <a:pt x="547" y="387"/>
                  </a:lnTo>
                  <a:lnTo>
                    <a:pt x="547" y="387"/>
                  </a:lnTo>
                  <a:lnTo>
                    <a:pt x="544" y="384"/>
                  </a:lnTo>
                  <a:lnTo>
                    <a:pt x="541" y="384"/>
                  </a:lnTo>
                  <a:lnTo>
                    <a:pt x="539" y="382"/>
                  </a:lnTo>
                  <a:lnTo>
                    <a:pt x="538" y="382"/>
                  </a:lnTo>
                  <a:lnTo>
                    <a:pt x="535" y="381"/>
                  </a:lnTo>
                  <a:lnTo>
                    <a:pt x="533" y="381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85"/>
                  </a:lnTo>
                  <a:lnTo>
                    <a:pt x="522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7"/>
                  </a:lnTo>
                  <a:lnTo>
                    <a:pt x="518" y="388"/>
                  </a:lnTo>
                  <a:lnTo>
                    <a:pt x="518" y="390"/>
                  </a:lnTo>
                  <a:lnTo>
                    <a:pt x="519" y="391"/>
                  </a:lnTo>
                  <a:lnTo>
                    <a:pt x="519" y="393"/>
                  </a:lnTo>
                  <a:lnTo>
                    <a:pt x="519" y="394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2" y="393"/>
                  </a:lnTo>
                  <a:lnTo>
                    <a:pt x="522" y="391"/>
                  </a:lnTo>
                  <a:lnTo>
                    <a:pt x="524" y="391"/>
                  </a:lnTo>
                  <a:lnTo>
                    <a:pt x="526" y="391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90"/>
                  </a:lnTo>
                  <a:lnTo>
                    <a:pt x="530" y="391"/>
                  </a:lnTo>
                  <a:lnTo>
                    <a:pt x="532" y="391"/>
                  </a:lnTo>
                  <a:lnTo>
                    <a:pt x="532" y="393"/>
                  </a:lnTo>
                  <a:lnTo>
                    <a:pt x="533" y="394"/>
                  </a:lnTo>
                  <a:lnTo>
                    <a:pt x="533" y="396"/>
                  </a:lnTo>
                  <a:close/>
                  <a:moveTo>
                    <a:pt x="97" y="385"/>
                  </a:moveTo>
                  <a:lnTo>
                    <a:pt x="96" y="384"/>
                  </a:lnTo>
                  <a:lnTo>
                    <a:pt x="94" y="381"/>
                  </a:lnTo>
                  <a:lnTo>
                    <a:pt x="91" y="379"/>
                  </a:lnTo>
                  <a:lnTo>
                    <a:pt x="88" y="378"/>
                  </a:lnTo>
                  <a:lnTo>
                    <a:pt x="87" y="378"/>
                  </a:lnTo>
                  <a:lnTo>
                    <a:pt x="85" y="378"/>
                  </a:lnTo>
                  <a:lnTo>
                    <a:pt x="83" y="376"/>
                  </a:lnTo>
                  <a:lnTo>
                    <a:pt x="83" y="374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0"/>
                  </a:lnTo>
                  <a:lnTo>
                    <a:pt x="80" y="370"/>
                  </a:lnTo>
                  <a:lnTo>
                    <a:pt x="77" y="371"/>
                  </a:lnTo>
                  <a:lnTo>
                    <a:pt x="74" y="376"/>
                  </a:lnTo>
                  <a:lnTo>
                    <a:pt x="76" y="378"/>
                  </a:lnTo>
                  <a:lnTo>
                    <a:pt x="74" y="378"/>
                  </a:lnTo>
                  <a:lnTo>
                    <a:pt x="76" y="379"/>
                  </a:lnTo>
                  <a:lnTo>
                    <a:pt x="74" y="381"/>
                  </a:lnTo>
                  <a:lnTo>
                    <a:pt x="76" y="381"/>
                  </a:lnTo>
                  <a:lnTo>
                    <a:pt x="79" y="385"/>
                  </a:lnTo>
                  <a:lnTo>
                    <a:pt x="80" y="387"/>
                  </a:lnTo>
                  <a:lnTo>
                    <a:pt x="80" y="388"/>
                  </a:lnTo>
                  <a:lnTo>
                    <a:pt x="83" y="390"/>
                  </a:lnTo>
                  <a:lnTo>
                    <a:pt x="87" y="393"/>
                  </a:lnTo>
                  <a:lnTo>
                    <a:pt x="88" y="396"/>
                  </a:lnTo>
                  <a:lnTo>
                    <a:pt x="90" y="396"/>
                  </a:lnTo>
                  <a:lnTo>
                    <a:pt x="91" y="396"/>
                  </a:lnTo>
                  <a:lnTo>
                    <a:pt x="91" y="396"/>
                  </a:lnTo>
                  <a:lnTo>
                    <a:pt x="93" y="396"/>
                  </a:lnTo>
                  <a:lnTo>
                    <a:pt x="93" y="394"/>
                  </a:lnTo>
                  <a:lnTo>
                    <a:pt x="91" y="393"/>
                  </a:lnTo>
                  <a:lnTo>
                    <a:pt x="91" y="393"/>
                  </a:lnTo>
                  <a:lnTo>
                    <a:pt x="91" y="391"/>
                  </a:lnTo>
                  <a:lnTo>
                    <a:pt x="93" y="391"/>
                  </a:lnTo>
                  <a:lnTo>
                    <a:pt x="93" y="391"/>
                  </a:lnTo>
                  <a:lnTo>
                    <a:pt x="93" y="390"/>
                  </a:lnTo>
                  <a:lnTo>
                    <a:pt x="94" y="388"/>
                  </a:lnTo>
                  <a:lnTo>
                    <a:pt x="96" y="388"/>
                  </a:lnTo>
                  <a:lnTo>
                    <a:pt x="97" y="388"/>
                  </a:lnTo>
                  <a:lnTo>
                    <a:pt x="99" y="390"/>
                  </a:lnTo>
                  <a:lnTo>
                    <a:pt x="102" y="390"/>
                  </a:lnTo>
                  <a:lnTo>
                    <a:pt x="104" y="391"/>
                  </a:lnTo>
                  <a:lnTo>
                    <a:pt x="102" y="388"/>
                  </a:lnTo>
                  <a:lnTo>
                    <a:pt x="97" y="385"/>
                  </a:lnTo>
                  <a:close/>
                  <a:moveTo>
                    <a:pt x="399" y="388"/>
                  </a:moveTo>
                  <a:lnTo>
                    <a:pt x="401" y="387"/>
                  </a:lnTo>
                  <a:lnTo>
                    <a:pt x="401" y="385"/>
                  </a:lnTo>
                  <a:lnTo>
                    <a:pt x="399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4"/>
                  </a:lnTo>
                  <a:lnTo>
                    <a:pt x="398" y="384"/>
                  </a:lnTo>
                  <a:lnTo>
                    <a:pt x="399" y="382"/>
                  </a:lnTo>
                  <a:lnTo>
                    <a:pt x="399" y="382"/>
                  </a:lnTo>
                  <a:lnTo>
                    <a:pt x="399" y="381"/>
                  </a:lnTo>
                  <a:lnTo>
                    <a:pt x="399" y="381"/>
                  </a:lnTo>
                  <a:lnTo>
                    <a:pt x="399" y="381"/>
                  </a:lnTo>
                  <a:lnTo>
                    <a:pt x="396" y="378"/>
                  </a:lnTo>
                  <a:lnTo>
                    <a:pt x="398" y="374"/>
                  </a:lnTo>
                  <a:lnTo>
                    <a:pt x="398" y="373"/>
                  </a:lnTo>
                  <a:lnTo>
                    <a:pt x="398" y="373"/>
                  </a:lnTo>
                  <a:lnTo>
                    <a:pt x="392" y="373"/>
                  </a:lnTo>
                  <a:lnTo>
                    <a:pt x="390" y="371"/>
                  </a:lnTo>
                  <a:lnTo>
                    <a:pt x="388" y="371"/>
                  </a:lnTo>
                  <a:lnTo>
                    <a:pt x="388" y="370"/>
                  </a:lnTo>
                  <a:lnTo>
                    <a:pt x="388" y="368"/>
                  </a:lnTo>
                  <a:lnTo>
                    <a:pt x="388" y="368"/>
                  </a:lnTo>
                  <a:lnTo>
                    <a:pt x="388" y="368"/>
                  </a:lnTo>
                  <a:lnTo>
                    <a:pt x="388" y="367"/>
                  </a:lnTo>
                  <a:lnTo>
                    <a:pt x="387" y="367"/>
                  </a:lnTo>
                  <a:lnTo>
                    <a:pt x="387" y="365"/>
                  </a:lnTo>
                  <a:lnTo>
                    <a:pt x="385" y="365"/>
                  </a:lnTo>
                  <a:lnTo>
                    <a:pt x="385" y="365"/>
                  </a:lnTo>
                  <a:lnTo>
                    <a:pt x="385" y="365"/>
                  </a:lnTo>
                  <a:lnTo>
                    <a:pt x="385" y="364"/>
                  </a:lnTo>
                  <a:lnTo>
                    <a:pt x="384" y="364"/>
                  </a:lnTo>
                  <a:lnTo>
                    <a:pt x="382" y="364"/>
                  </a:lnTo>
                  <a:lnTo>
                    <a:pt x="379" y="367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8" y="368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9" y="373"/>
                  </a:lnTo>
                  <a:lnTo>
                    <a:pt x="379" y="373"/>
                  </a:lnTo>
                  <a:lnTo>
                    <a:pt x="379" y="374"/>
                  </a:lnTo>
                  <a:lnTo>
                    <a:pt x="379" y="374"/>
                  </a:lnTo>
                  <a:lnTo>
                    <a:pt x="381" y="374"/>
                  </a:lnTo>
                  <a:lnTo>
                    <a:pt x="381" y="373"/>
                  </a:lnTo>
                  <a:lnTo>
                    <a:pt x="381" y="373"/>
                  </a:lnTo>
                  <a:lnTo>
                    <a:pt x="382" y="374"/>
                  </a:lnTo>
                  <a:lnTo>
                    <a:pt x="384" y="376"/>
                  </a:lnTo>
                  <a:lnTo>
                    <a:pt x="385" y="378"/>
                  </a:lnTo>
                  <a:lnTo>
                    <a:pt x="385" y="381"/>
                  </a:lnTo>
                  <a:lnTo>
                    <a:pt x="387" y="381"/>
                  </a:lnTo>
                  <a:lnTo>
                    <a:pt x="388" y="381"/>
                  </a:lnTo>
                  <a:lnTo>
                    <a:pt x="390" y="384"/>
                  </a:lnTo>
                  <a:lnTo>
                    <a:pt x="390" y="384"/>
                  </a:lnTo>
                  <a:lnTo>
                    <a:pt x="392" y="385"/>
                  </a:lnTo>
                  <a:lnTo>
                    <a:pt x="392" y="385"/>
                  </a:lnTo>
                  <a:lnTo>
                    <a:pt x="393" y="385"/>
                  </a:lnTo>
                  <a:lnTo>
                    <a:pt x="393" y="385"/>
                  </a:lnTo>
                  <a:lnTo>
                    <a:pt x="395" y="390"/>
                  </a:lnTo>
                  <a:lnTo>
                    <a:pt x="396" y="391"/>
                  </a:lnTo>
                  <a:lnTo>
                    <a:pt x="398" y="391"/>
                  </a:lnTo>
                  <a:lnTo>
                    <a:pt x="398" y="393"/>
                  </a:lnTo>
                  <a:lnTo>
                    <a:pt x="398" y="393"/>
                  </a:lnTo>
                  <a:lnTo>
                    <a:pt x="398" y="391"/>
                  </a:lnTo>
                  <a:lnTo>
                    <a:pt x="398" y="391"/>
                  </a:lnTo>
                  <a:lnTo>
                    <a:pt x="399" y="390"/>
                  </a:lnTo>
                  <a:lnTo>
                    <a:pt x="399" y="388"/>
                  </a:lnTo>
                  <a:close/>
                  <a:moveTo>
                    <a:pt x="293" y="368"/>
                  </a:move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1" y="367"/>
                  </a:lnTo>
                  <a:lnTo>
                    <a:pt x="291" y="365"/>
                  </a:lnTo>
                  <a:lnTo>
                    <a:pt x="291" y="365"/>
                  </a:lnTo>
                  <a:lnTo>
                    <a:pt x="291" y="365"/>
                  </a:lnTo>
                  <a:lnTo>
                    <a:pt x="291" y="364"/>
                  </a:lnTo>
                  <a:lnTo>
                    <a:pt x="290" y="364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7" y="364"/>
                  </a:lnTo>
                  <a:lnTo>
                    <a:pt x="287" y="364"/>
                  </a:lnTo>
                  <a:lnTo>
                    <a:pt x="287" y="364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5" y="365"/>
                  </a:lnTo>
                  <a:lnTo>
                    <a:pt x="285" y="365"/>
                  </a:lnTo>
                  <a:lnTo>
                    <a:pt x="284" y="365"/>
                  </a:lnTo>
                  <a:lnTo>
                    <a:pt x="285" y="365"/>
                  </a:lnTo>
                  <a:lnTo>
                    <a:pt x="285" y="365"/>
                  </a:lnTo>
                  <a:lnTo>
                    <a:pt x="284" y="367"/>
                  </a:lnTo>
                  <a:lnTo>
                    <a:pt x="284" y="367"/>
                  </a:lnTo>
                  <a:lnTo>
                    <a:pt x="285" y="368"/>
                  </a:lnTo>
                  <a:lnTo>
                    <a:pt x="287" y="368"/>
                  </a:lnTo>
                  <a:lnTo>
                    <a:pt x="287" y="368"/>
                  </a:lnTo>
                  <a:lnTo>
                    <a:pt x="287" y="367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88" y="368"/>
                  </a:lnTo>
                  <a:lnTo>
                    <a:pt x="288" y="368"/>
                  </a:lnTo>
                  <a:lnTo>
                    <a:pt x="287" y="370"/>
                  </a:lnTo>
                  <a:lnTo>
                    <a:pt x="285" y="370"/>
                  </a:lnTo>
                  <a:lnTo>
                    <a:pt x="284" y="370"/>
                  </a:lnTo>
                  <a:lnTo>
                    <a:pt x="282" y="371"/>
                  </a:lnTo>
                  <a:lnTo>
                    <a:pt x="282" y="371"/>
                  </a:lnTo>
                  <a:lnTo>
                    <a:pt x="282" y="373"/>
                  </a:lnTo>
                  <a:lnTo>
                    <a:pt x="282" y="373"/>
                  </a:lnTo>
                  <a:lnTo>
                    <a:pt x="284" y="373"/>
                  </a:lnTo>
                  <a:lnTo>
                    <a:pt x="285" y="374"/>
                  </a:lnTo>
                  <a:lnTo>
                    <a:pt x="287" y="374"/>
                  </a:lnTo>
                  <a:lnTo>
                    <a:pt x="288" y="374"/>
                  </a:lnTo>
                  <a:lnTo>
                    <a:pt x="288" y="373"/>
                  </a:lnTo>
                  <a:lnTo>
                    <a:pt x="290" y="373"/>
                  </a:lnTo>
                  <a:lnTo>
                    <a:pt x="290" y="373"/>
                  </a:lnTo>
                  <a:lnTo>
                    <a:pt x="290" y="373"/>
                  </a:lnTo>
                  <a:lnTo>
                    <a:pt x="291" y="371"/>
                  </a:lnTo>
                  <a:lnTo>
                    <a:pt x="293" y="370"/>
                  </a:lnTo>
                  <a:lnTo>
                    <a:pt x="291" y="370"/>
                  </a:lnTo>
                  <a:lnTo>
                    <a:pt x="294" y="368"/>
                  </a:lnTo>
                  <a:lnTo>
                    <a:pt x="293" y="368"/>
                  </a:lnTo>
                  <a:close/>
                  <a:moveTo>
                    <a:pt x="79" y="354"/>
                  </a:moveTo>
                  <a:lnTo>
                    <a:pt x="80" y="356"/>
                  </a:lnTo>
                  <a:lnTo>
                    <a:pt x="82" y="357"/>
                  </a:lnTo>
                  <a:lnTo>
                    <a:pt x="83" y="357"/>
                  </a:lnTo>
                  <a:lnTo>
                    <a:pt x="83" y="357"/>
                  </a:lnTo>
                  <a:lnTo>
                    <a:pt x="85" y="357"/>
                  </a:lnTo>
                  <a:lnTo>
                    <a:pt x="85" y="357"/>
                  </a:lnTo>
                  <a:lnTo>
                    <a:pt x="88" y="357"/>
                  </a:lnTo>
                  <a:lnTo>
                    <a:pt x="88" y="357"/>
                  </a:lnTo>
                  <a:lnTo>
                    <a:pt x="88" y="356"/>
                  </a:lnTo>
                  <a:lnTo>
                    <a:pt x="88" y="354"/>
                  </a:lnTo>
                  <a:lnTo>
                    <a:pt x="88" y="353"/>
                  </a:lnTo>
                  <a:lnTo>
                    <a:pt x="88" y="351"/>
                  </a:lnTo>
                  <a:lnTo>
                    <a:pt x="85" y="347"/>
                  </a:lnTo>
                  <a:lnTo>
                    <a:pt x="85" y="345"/>
                  </a:lnTo>
                  <a:lnTo>
                    <a:pt x="82" y="342"/>
                  </a:lnTo>
                  <a:lnTo>
                    <a:pt x="80" y="341"/>
                  </a:lnTo>
                  <a:lnTo>
                    <a:pt x="80" y="339"/>
                  </a:lnTo>
                  <a:lnTo>
                    <a:pt x="80" y="339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7" y="339"/>
                  </a:lnTo>
                  <a:lnTo>
                    <a:pt x="76" y="339"/>
                  </a:lnTo>
                  <a:lnTo>
                    <a:pt x="76" y="339"/>
                  </a:lnTo>
                  <a:lnTo>
                    <a:pt x="74" y="336"/>
                  </a:lnTo>
                  <a:lnTo>
                    <a:pt x="73" y="334"/>
                  </a:lnTo>
                  <a:lnTo>
                    <a:pt x="74" y="334"/>
                  </a:lnTo>
                  <a:lnTo>
                    <a:pt x="74" y="333"/>
                  </a:lnTo>
                  <a:lnTo>
                    <a:pt x="76" y="333"/>
                  </a:lnTo>
                  <a:lnTo>
                    <a:pt x="76" y="331"/>
                  </a:lnTo>
                  <a:lnTo>
                    <a:pt x="76" y="330"/>
                  </a:lnTo>
                  <a:lnTo>
                    <a:pt x="71" y="319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68" y="322"/>
                  </a:lnTo>
                  <a:lnTo>
                    <a:pt x="68" y="324"/>
                  </a:lnTo>
                  <a:lnTo>
                    <a:pt x="68" y="324"/>
                  </a:lnTo>
                  <a:lnTo>
                    <a:pt x="70" y="327"/>
                  </a:lnTo>
                  <a:lnTo>
                    <a:pt x="68" y="327"/>
                  </a:lnTo>
                  <a:lnTo>
                    <a:pt x="68" y="328"/>
                  </a:lnTo>
                  <a:lnTo>
                    <a:pt x="68" y="330"/>
                  </a:lnTo>
                  <a:lnTo>
                    <a:pt x="68" y="331"/>
                  </a:lnTo>
                  <a:lnTo>
                    <a:pt x="67" y="333"/>
                  </a:lnTo>
                  <a:lnTo>
                    <a:pt x="65" y="334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3" y="333"/>
                  </a:lnTo>
                  <a:lnTo>
                    <a:pt x="63" y="333"/>
                  </a:lnTo>
                  <a:lnTo>
                    <a:pt x="62" y="333"/>
                  </a:lnTo>
                  <a:lnTo>
                    <a:pt x="62" y="331"/>
                  </a:lnTo>
                  <a:lnTo>
                    <a:pt x="60" y="330"/>
                  </a:lnTo>
                  <a:lnTo>
                    <a:pt x="60" y="330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0"/>
                  </a:lnTo>
                  <a:lnTo>
                    <a:pt x="59" y="330"/>
                  </a:lnTo>
                  <a:lnTo>
                    <a:pt x="59" y="331"/>
                  </a:lnTo>
                  <a:lnTo>
                    <a:pt x="57" y="334"/>
                  </a:lnTo>
                  <a:lnTo>
                    <a:pt x="57" y="337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4" y="339"/>
                  </a:lnTo>
                  <a:lnTo>
                    <a:pt x="54" y="341"/>
                  </a:lnTo>
                  <a:lnTo>
                    <a:pt x="56" y="341"/>
                  </a:lnTo>
                  <a:lnTo>
                    <a:pt x="56" y="342"/>
                  </a:lnTo>
                  <a:lnTo>
                    <a:pt x="54" y="344"/>
                  </a:lnTo>
                  <a:lnTo>
                    <a:pt x="54" y="344"/>
                  </a:lnTo>
                  <a:lnTo>
                    <a:pt x="54" y="345"/>
                  </a:lnTo>
                  <a:lnTo>
                    <a:pt x="54" y="347"/>
                  </a:lnTo>
                  <a:lnTo>
                    <a:pt x="56" y="348"/>
                  </a:lnTo>
                  <a:lnTo>
                    <a:pt x="57" y="350"/>
                  </a:lnTo>
                  <a:lnTo>
                    <a:pt x="57" y="350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60" y="347"/>
                  </a:lnTo>
                  <a:lnTo>
                    <a:pt x="60" y="345"/>
                  </a:lnTo>
                  <a:lnTo>
                    <a:pt x="60" y="344"/>
                  </a:lnTo>
                  <a:lnTo>
                    <a:pt x="60" y="341"/>
                  </a:lnTo>
                  <a:lnTo>
                    <a:pt x="60" y="339"/>
                  </a:lnTo>
                  <a:lnTo>
                    <a:pt x="60" y="337"/>
                  </a:lnTo>
                  <a:lnTo>
                    <a:pt x="62" y="337"/>
                  </a:lnTo>
                  <a:lnTo>
                    <a:pt x="62" y="339"/>
                  </a:lnTo>
                  <a:lnTo>
                    <a:pt x="65" y="344"/>
                  </a:lnTo>
                  <a:lnTo>
                    <a:pt x="65" y="345"/>
                  </a:lnTo>
                  <a:lnTo>
                    <a:pt x="67" y="347"/>
                  </a:lnTo>
                  <a:lnTo>
                    <a:pt x="67" y="347"/>
                  </a:lnTo>
                  <a:lnTo>
                    <a:pt x="65" y="347"/>
                  </a:lnTo>
                  <a:lnTo>
                    <a:pt x="65" y="345"/>
                  </a:lnTo>
                  <a:lnTo>
                    <a:pt x="63" y="345"/>
                  </a:lnTo>
                  <a:lnTo>
                    <a:pt x="63" y="347"/>
                  </a:lnTo>
                  <a:lnTo>
                    <a:pt x="65" y="348"/>
                  </a:lnTo>
                  <a:lnTo>
                    <a:pt x="65" y="350"/>
                  </a:lnTo>
                  <a:lnTo>
                    <a:pt x="65" y="351"/>
                  </a:lnTo>
                  <a:lnTo>
                    <a:pt x="65" y="351"/>
                  </a:lnTo>
                  <a:lnTo>
                    <a:pt x="67" y="353"/>
                  </a:lnTo>
                  <a:lnTo>
                    <a:pt x="70" y="354"/>
                  </a:lnTo>
                  <a:lnTo>
                    <a:pt x="71" y="354"/>
                  </a:lnTo>
                  <a:lnTo>
                    <a:pt x="71" y="353"/>
                  </a:lnTo>
                  <a:lnTo>
                    <a:pt x="74" y="353"/>
                  </a:lnTo>
                  <a:lnTo>
                    <a:pt x="77" y="353"/>
                  </a:lnTo>
                  <a:lnTo>
                    <a:pt x="79" y="354"/>
                  </a:lnTo>
                  <a:close/>
                  <a:moveTo>
                    <a:pt x="82" y="327"/>
                  </a:moveTo>
                  <a:lnTo>
                    <a:pt x="82" y="327"/>
                  </a:lnTo>
                  <a:lnTo>
                    <a:pt x="80" y="327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0" y="328"/>
                  </a:lnTo>
                  <a:lnTo>
                    <a:pt x="80" y="328"/>
                  </a:lnTo>
                  <a:lnTo>
                    <a:pt x="79" y="328"/>
                  </a:lnTo>
                  <a:lnTo>
                    <a:pt x="79" y="328"/>
                  </a:lnTo>
                  <a:lnTo>
                    <a:pt x="80" y="325"/>
                  </a:lnTo>
                  <a:lnTo>
                    <a:pt x="80" y="324"/>
                  </a:lnTo>
                  <a:lnTo>
                    <a:pt x="82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1"/>
                  </a:lnTo>
                  <a:lnTo>
                    <a:pt x="77" y="321"/>
                  </a:lnTo>
                  <a:lnTo>
                    <a:pt x="79" y="319"/>
                  </a:lnTo>
                  <a:lnTo>
                    <a:pt x="79" y="317"/>
                  </a:lnTo>
                  <a:lnTo>
                    <a:pt x="79" y="316"/>
                  </a:lnTo>
                  <a:lnTo>
                    <a:pt x="77" y="316"/>
                  </a:lnTo>
                  <a:lnTo>
                    <a:pt x="77" y="319"/>
                  </a:lnTo>
                  <a:lnTo>
                    <a:pt x="76" y="319"/>
                  </a:lnTo>
                  <a:lnTo>
                    <a:pt x="74" y="317"/>
                  </a:lnTo>
                  <a:lnTo>
                    <a:pt x="74" y="319"/>
                  </a:lnTo>
                  <a:lnTo>
                    <a:pt x="74" y="321"/>
                  </a:lnTo>
                  <a:lnTo>
                    <a:pt x="76" y="321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7" y="325"/>
                  </a:lnTo>
                  <a:lnTo>
                    <a:pt x="77" y="325"/>
                  </a:lnTo>
                  <a:lnTo>
                    <a:pt x="79" y="328"/>
                  </a:lnTo>
                  <a:lnTo>
                    <a:pt x="79" y="330"/>
                  </a:lnTo>
                  <a:lnTo>
                    <a:pt x="80" y="331"/>
                  </a:lnTo>
                  <a:lnTo>
                    <a:pt x="80" y="331"/>
                  </a:lnTo>
                  <a:lnTo>
                    <a:pt x="80" y="333"/>
                  </a:lnTo>
                  <a:lnTo>
                    <a:pt x="82" y="334"/>
                  </a:lnTo>
                  <a:lnTo>
                    <a:pt x="83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1"/>
                  </a:lnTo>
                  <a:lnTo>
                    <a:pt x="83" y="331"/>
                  </a:lnTo>
                  <a:lnTo>
                    <a:pt x="83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3" y="327"/>
                  </a:lnTo>
                  <a:lnTo>
                    <a:pt x="83" y="327"/>
                  </a:lnTo>
                  <a:lnTo>
                    <a:pt x="82" y="327"/>
                  </a:lnTo>
                  <a:close/>
                  <a:moveTo>
                    <a:pt x="96" y="311"/>
                  </a:moveTo>
                  <a:lnTo>
                    <a:pt x="96" y="311"/>
                  </a:lnTo>
                  <a:lnTo>
                    <a:pt x="96" y="310"/>
                  </a:lnTo>
                  <a:lnTo>
                    <a:pt x="97" y="308"/>
                  </a:lnTo>
                  <a:lnTo>
                    <a:pt x="99" y="307"/>
                  </a:lnTo>
                  <a:lnTo>
                    <a:pt x="97" y="307"/>
                  </a:lnTo>
                  <a:lnTo>
                    <a:pt x="96" y="311"/>
                  </a:lnTo>
                  <a:lnTo>
                    <a:pt x="96" y="311"/>
                  </a:lnTo>
                  <a:close/>
                  <a:moveTo>
                    <a:pt x="484" y="311"/>
                  </a:moveTo>
                  <a:lnTo>
                    <a:pt x="484" y="311"/>
                  </a:lnTo>
                  <a:lnTo>
                    <a:pt x="484" y="311"/>
                  </a:lnTo>
                  <a:lnTo>
                    <a:pt x="484" y="313"/>
                  </a:lnTo>
                  <a:lnTo>
                    <a:pt x="481" y="308"/>
                  </a:lnTo>
                  <a:lnTo>
                    <a:pt x="479" y="308"/>
                  </a:lnTo>
                  <a:lnTo>
                    <a:pt x="476" y="307"/>
                  </a:lnTo>
                  <a:lnTo>
                    <a:pt x="475" y="307"/>
                  </a:lnTo>
                  <a:lnTo>
                    <a:pt x="464" y="308"/>
                  </a:lnTo>
                  <a:lnTo>
                    <a:pt x="464" y="310"/>
                  </a:lnTo>
                  <a:lnTo>
                    <a:pt x="464" y="311"/>
                  </a:lnTo>
                  <a:lnTo>
                    <a:pt x="462" y="313"/>
                  </a:lnTo>
                  <a:lnTo>
                    <a:pt x="462" y="313"/>
                  </a:lnTo>
                  <a:lnTo>
                    <a:pt x="464" y="314"/>
                  </a:lnTo>
                  <a:lnTo>
                    <a:pt x="465" y="317"/>
                  </a:lnTo>
                  <a:lnTo>
                    <a:pt x="467" y="319"/>
                  </a:lnTo>
                  <a:lnTo>
                    <a:pt x="469" y="319"/>
                  </a:lnTo>
                  <a:lnTo>
                    <a:pt x="470" y="319"/>
                  </a:lnTo>
                  <a:lnTo>
                    <a:pt x="470" y="319"/>
                  </a:lnTo>
                  <a:lnTo>
                    <a:pt x="472" y="321"/>
                  </a:lnTo>
                  <a:lnTo>
                    <a:pt x="472" y="322"/>
                  </a:lnTo>
                  <a:lnTo>
                    <a:pt x="472" y="324"/>
                  </a:lnTo>
                  <a:lnTo>
                    <a:pt x="472" y="324"/>
                  </a:lnTo>
                  <a:lnTo>
                    <a:pt x="472" y="325"/>
                  </a:lnTo>
                  <a:lnTo>
                    <a:pt x="472" y="325"/>
                  </a:lnTo>
                  <a:lnTo>
                    <a:pt x="473" y="325"/>
                  </a:lnTo>
                  <a:lnTo>
                    <a:pt x="473" y="327"/>
                  </a:lnTo>
                  <a:lnTo>
                    <a:pt x="473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8"/>
                  </a:lnTo>
                  <a:lnTo>
                    <a:pt x="475" y="330"/>
                  </a:lnTo>
                  <a:lnTo>
                    <a:pt x="475" y="331"/>
                  </a:lnTo>
                  <a:lnTo>
                    <a:pt x="473" y="331"/>
                  </a:lnTo>
                  <a:lnTo>
                    <a:pt x="473" y="333"/>
                  </a:lnTo>
                  <a:lnTo>
                    <a:pt x="473" y="334"/>
                  </a:lnTo>
                  <a:lnTo>
                    <a:pt x="473" y="334"/>
                  </a:lnTo>
                  <a:lnTo>
                    <a:pt x="472" y="334"/>
                  </a:lnTo>
                  <a:lnTo>
                    <a:pt x="470" y="334"/>
                  </a:lnTo>
                  <a:lnTo>
                    <a:pt x="470" y="336"/>
                  </a:lnTo>
                  <a:lnTo>
                    <a:pt x="469" y="336"/>
                  </a:lnTo>
                  <a:lnTo>
                    <a:pt x="469" y="336"/>
                  </a:lnTo>
                  <a:lnTo>
                    <a:pt x="467" y="337"/>
                  </a:lnTo>
                  <a:lnTo>
                    <a:pt x="465" y="337"/>
                  </a:lnTo>
                  <a:lnTo>
                    <a:pt x="465" y="339"/>
                  </a:lnTo>
                  <a:lnTo>
                    <a:pt x="465" y="341"/>
                  </a:lnTo>
                  <a:lnTo>
                    <a:pt x="465" y="341"/>
                  </a:lnTo>
                  <a:lnTo>
                    <a:pt x="467" y="341"/>
                  </a:lnTo>
                  <a:lnTo>
                    <a:pt x="467" y="341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4"/>
                  </a:lnTo>
                  <a:lnTo>
                    <a:pt x="470" y="344"/>
                  </a:lnTo>
                  <a:lnTo>
                    <a:pt x="470" y="345"/>
                  </a:lnTo>
                  <a:lnTo>
                    <a:pt x="470" y="345"/>
                  </a:lnTo>
                  <a:lnTo>
                    <a:pt x="472" y="345"/>
                  </a:lnTo>
                  <a:lnTo>
                    <a:pt x="473" y="347"/>
                  </a:lnTo>
                  <a:lnTo>
                    <a:pt x="473" y="348"/>
                  </a:lnTo>
                  <a:lnTo>
                    <a:pt x="475" y="348"/>
                  </a:lnTo>
                  <a:lnTo>
                    <a:pt x="476" y="348"/>
                  </a:lnTo>
                  <a:lnTo>
                    <a:pt x="476" y="348"/>
                  </a:lnTo>
                  <a:lnTo>
                    <a:pt x="478" y="348"/>
                  </a:lnTo>
                  <a:lnTo>
                    <a:pt x="478" y="345"/>
                  </a:lnTo>
                  <a:lnTo>
                    <a:pt x="478" y="345"/>
                  </a:lnTo>
                  <a:lnTo>
                    <a:pt x="482" y="344"/>
                  </a:lnTo>
                  <a:lnTo>
                    <a:pt x="484" y="342"/>
                  </a:lnTo>
                  <a:lnTo>
                    <a:pt x="484" y="341"/>
                  </a:lnTo>
                  <a:lnTo>
                    <a:pt x="482" y="339"/>
                  </a:lnTo>
                  <a:lnTo>
                    <a:pt x="484" y="336"/>
                  </a:lnTo>
                  <a:lnTo>
                    <a:pt x="485" y="336"/>
                  </a:lnTo>
                  <a:lnTo>
                    <a:pt x="487" y="334"/>
                  </a:lnTo>
                  <a:lnTo>
                    <a:pt x="487" y="331"/>
                  </a:lnTo>
                  <a:lnTo>
                    <a:pt x="485" y="324"/>
                  </a:lnTo>
                  <a:lnTo>
                    <a:pt x="485" y="322"/>
                  </a:lnTo>
                  <a:lnTo>
                    <a:pt x="485" y="322"/>
                  </a:lnTo>
                  <a:lnTo>
                    <a:pt x="487" y="321"/>
                  </a:lnTo>
                  <a:lnTo>
                    <a:pt x="487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4" y="317"/>
                  </a:lnTo>
                  <a:lnTo>
                    <a:pt x="485" y="317"/>
                  </a:lnTo>
                  <a:lnTo>
                    <a:pt x="487" y="316"/>
                  </a:lnTo>
                  <a:lnTo>
                    <a:pt x="487" y="313"/>
                  </a:lnTo>
                  <a:lnTo>
                    <a:pt x="487" y="313"/>
                  </a:lnTo>
                  <a:lnTo>
                    <a:pt x="487" y="311"/>
                  </a:lnTo>
                  <a:lnTo>
                    <a:pt x="485" y="310"/>
                  </a:lnTo>
                  <a:lnTo>
                    <a:pt x="485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1"/>
                  </a:lnTo>
                  <a:lnTo>
                    <a:pt x="484" y="311"/>
                  </a:lnTo>
                  <a:close/>
                  <a:moveTo>
                    <a:pt x="445" y="313"/>
                  </a:move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5" y="307"/>
                  </a:lnTo>
                  <a:lnTo>
                    <a:pt x="445" y="305"/>
                  </a:lnTo>
                  <a:lnTo>
                    <a:pt x="444" y="305"/>
                  </a:lnTo>
                  <a:lnTo>
                    <a:pt x="444" y="307"/>
                  </a:lnTo>
                  <a:lnTo>
                    <a:pt x="444" y="307"/>
                  </a:lnTo>
                  <a:lnTo>
                    <a:pt x="442" y="305"/>
                  </a:lnTo>
                  <a:lnTo>
                    <a:pt x="442" y="305"/>
                  </a:lnTo>
                  <a:lnTo>
                    <a:pt x="442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39" y="307"/>
                  </a:lnTo>
                  <a:lnTo>
                    <a:pt x="439" y="307"/>
                  </a:lnTo>
                  <a:lnTo>
                    <a:pt x="441" y="308"/>
                  </a:lnTo>
                  <a:lnTo>
                    <a:pt x="441" y="308"/>
                  </a:lnTo>
                  <a:lnTo>
                    <a:pt x="441" y="308"/>
                  </a:lnTo>
                  <a:lnTo>
                    <a:pt x="442" y="310"/>
                  </a:lnTo>
                  <a:lnTo>
                    <a:pt x="442" y="310"/>
                  </a:lnTo>
                  <a:lnTo>
                    <a:pt x="442" y="311"/>
                  </a:lnTo>
                  <a:lnTo>
                    <a:pt x="442" y="311"/>
                  </a:lnTo>
                  <a:lnTo>
                    <a:pt x="442" y="311"/>
                  </a:lnTo>
                  <a:lnTo>
                    <a:pt x="442" y="313"/>
                  </a:lnTo>
                  <a:lnTo>
                    <a:pt x="444" y="313"/>
                  </a:lnTo>
                  <a:lnTo>
                    <a:pt x="444" y="313"/>
                  </a:lnTo>
                  <a:lnTo>
                    <a:pt x="445" y="313"/>
                  </a:lnTo>
                  <a:lnTo>
                    <a:pt x="445" y="313"/>
                  </a:lnTo>
                  <a:lnTo>
                    <a:pt x="445" y="313"/>
                  </a:lnTo>
                  <a:close/>
                  <a:moveTo>
                    <a:pt x="99" y="304"/>
                  </a:moveTo>
                  <a:lnTo>
                    <a:pt x="99" y="302"/>
                  </a:lnTo>
                  <a:lnTo>
                    <a:pt x="99" y="302"/>
                  </a:lnTo>
                  <a:lnTo>
                    <a:pt x="97" y="302"/>
                  </a:lnTo>
                  <a:lnTo>
                    <a:pt x="96" y="302"/>
                  </a:lnTo>
                  <a:lnTo>
                    <a:pt x="94" y="304"/>
                  </a:lnTo>
                  <a:lnTo>
                    <a:pt x="93" y="307"/>
                  </a:lnTo>
                  <a:lnTo>
                    <a:pt x="93" y="308"/>
                  </a:lnTo>
                  <a:lnTo>
                    <a:pt x="93" y="308"/>
                  </a:lnTo>
                  <a:lnTo>
                    <a:pt x="94" y="308"/>
                  </a:lnTo>
                  <a:lnTo>
                    <a:pt x="94" y="307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9" y="304"/>
                  </a:lnTo>
                  <a:lnTo>
                    <a:pt x="99" y="304"/>
                  </a:lnTo>
                  <a:close/>
                  <a:moveTo>
                    <a:pt x="88" y="301"/>
                  </a:moveTo>
                  <a:lnTo>
                    <a:pt x="88" y="301"/>
                  </a:lnTo>
                  <a:lnTo>
                    <a:pt x="87" y="301"/>
                  </a:lnTo>
                  <a:lnTo>
                    <a:pt x="87" y="299"/>
                  </a:lnTo>
                  <a:lnTo>
                    <a:pt x="85" y="301"/>
                  </a:lnTo>
                  <a:lnTo>
                    <a:pt x="83" y="301"/>
                  </a:lnTo>
                  <a:lnTo>
                    <a:pt x="83" y="302"/>
                  </a:lnTo>
                  <a:lnTo>
                    <a:pt x="85" y="304"/>
                  </a:lnTo>
                  <a:lnTo>
                    <a:pt x="87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5" y="304"/>
                  </a:lnTo>
                  <a:lnTo>
                    <a:pt x="85" y="304"/>
                  </a:lnTo>
                  <a:lnTo>
                    <a:pt x="87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close/>
                  <a:moveTo>
                    <a:pt x="82" y="288"/>
                  </a:moveTo>
                  <a:lnTo>
                    <a:pt x="82" y="287"/>
                  </a:lnTo>
                  <a:lnTo>
                    <a:pt x="82" y="285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7"/>
                  </a:lnTo>
                  <a:lnTo>
                    <a:pt x="74" y="288"/>
                  </a:lnTo>
                  <a:lnTo>
                    <a:pt x="74" y="290"/>
                  </a:lnTo>
                  <a:lnTo>
                    <a:pt x="73" y="290"/>
                  </a:lnTo>
                  <a:lnTo>
                    <a:pt x="73" y="293"/>
                  </a:lnTo>
                  <a:lnTo>
                    <a:pt x="71" y="294"/>
                  </a:lnTo>
                  <a:lnTo>
                    <a:pt x="71" y="297"/>
                  </a:lnTo>
                  <a:lnTo>
                    <a:pt x="70" y="307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1" y="307"/>
                  </a:lnTo>
                  <a:lnTo>
                    <a:pt x="71" y="307"/>
                  </a:lnTo>
                  <a:lnTo>
                    <a:pt x="73" y="305"/>
                  </a:lnTo>
                  <a:lnTo>
                    <a:pt x="73" y="304"/>
                  </a:lnTo>
                  <a:lnTo>
                    <a:pt x="74" y="307"/>
                  </a:lnTo>
                  <a:lnTo>
                    <a:pt x="76" y="307"/>
                  </a:lnTo>
                  <a:lnTo>
                    <a:pt x="76" y="307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6" y="307"/>
                  </a:lnTo>
                  <a:lnTo>
                    <a:pt x="77" y="307"/>
                  </a:lnTo>
                  <a:lnTo>
                    <a:pt x="77" y="305"/>
                  </a:lnTo>
                  <a:lnTo>
                    <a:pt x="79" y="307"/>
                  </a:lnTo>
                  <a:lnTo>
                    <a:pt x="79" y="305"/>
                  </a:lnTo>
                  <a:lnTo>
                    <a:pt x="79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2" y="297"/>
                  </a:lnTo>
                  <a:lnTo>
                    <a:pt x="82" y="296"/>
                  </a:lnTo>
                  <a:lnTo>
                    <a:pt x="82" y="297"/>
                  </a:lnTo>
                  <a:lnTo>
                    <a:pt x="82" y="299"/>
                  </a:lnTo>
                  <a:lnTo>
                    <a:pt x="80" y="299"/>
                  </a:lnTo>
                  <a:lnTo>
                    <a:pt x="80" y="299"/>
                  </a:lnTo>
                  <a:lnTo>
                    <a:pt x="80" y="299"/>
                  </a:lnTo>
                  <a:lnTo>
                    <a:pt x="80" y="297"/>
                  </a:lnTo>
                  <a:lnTo>
                    <a:pt x="82" y="294"/>
                  </a:lnTo>
                  <a:lnTo>
                    <a:pt x="83" y="294"/>
                  </a:lnTo>
                  <a:lnTo>
                    <a:pt x="83" y="294"/>
                  </a:lnTo>
                  <a:lnTo>
                    <a:pt x="83" y="293"/>
                  </a:lnTo>
                  <a:lnTo>
                    <a:pt x="83" y="293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3" y="290"/>
                  </a:lnTo>
                  <a:lnTo>
                    <a:pt x="82" y="288"/>
                  </a:lnTo>
                  <a:close/>
                  <a:moveTo>
                    <a:pt x="361" y="277"/>
                  </a:moveTo>
                  <a:lnTo>
                    <a:pt x="359" y="277"/>
                  </a:lnTo>
                  <a:lnTo>
                    <a:pt x="359" y="279"/>
                  </a:lnTo>
                  <a:lnTo>
                    <a:pt x="359" y="279"/>
                  </a:lnTo>
                  <a:lnTo>
                    <a:pt x="359" y="280"/>
                  </a:lnTo>
                  <a:lnTo>
                    <a:pt x="359" y="280"/>
                  </a:lnTo>
                  <a:lnTo>
                    <a:pt x="361" y="279"/>
                  </a:lnTo>
                  <a:lnTo>
                    <a:pt x="361" y="280"/>
                  </a:lnTo>
                  <a:lnTo>
                    <a:pt x="361" y="280"/>
                  </a:lnTo>
                  <a:lnTo>
                    <a:pt x="362" y="280"/>
                  </a:lnTo>
                  <a:lnTo>
                    <a:pt x="362" y="280"/>
                  </a:lnTo>
                  <a:lnTo>
                    <a:pt x="362" y="282"/>
                  </a:lnTo>
                  <a:lnTo>
                    <a:pt x="364" y="282"/>
                  </a:lnTo>
                  <a:lnTo>
                    <a:pt x="364" y="284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67" y="284"/>
                  </a:lnTo>
                  <a:lnTo>
                    <a:pt x="367" y="284"/>
                  </a:lnTo>
                  <a:lnTo>
                    <a:pt x="367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7"/>
                  </a:lnTo>
                  <a:lnTo>
                    <a:pt x="365" y="288"/>
                  </a:lnTo>
                  <a:lnTo>
                    <a:pt x="368" y="291"/>
                  </a:lnTo>
                  <a:lnTo>
                    <a:pt x="368" y="290"/>
                  </a:lnTo>
                  <a:lnTo>
                    <a:pt x="370" y="290"/>
                  </a:lnTo>
                  <a:lnTo>
                    <a:pt x="370" y="288"/>
                  </a:lnTo>
                  <a:lnTo>
                    <a:pt x="372" y="288"/>
                  </a:lnTo>
                  <a:lnTo>
                    <a:pt x="372" y="290"/>
                  </a:lnTo>
                  <a:lnTo>
                    <a:pt x="372" y="290"/>
                  </a:lnTo>
                  <a:lnTo>
                    <a:pt x="373" y="291"/>
                  </a:lnTo>
                  <a:lnTo>
                    <a:pt x="373" y="290"/>
                  </a:lnTo>
                  <a:lnTo>
                    <a:pt x="375" y="290"/>
                  </a:lnTo>
                  <a:lnTo>
                    <a:pt x="375" y="291"/>
                  </a:lnTo>
                  <a:lnTo>
                    <a:pt x="375" y="291"/>
                  </a:lnTo>
                  <a:lnTo>
                    <a:pt x="376" y="290"/>
                  </a:lnTo>
                  <a:lnTo>
                    <a:pt x="376" y="290"/>
                  </a:lnTo>
                  <a:lnTo>
                    <a:pt x="376" y="290"/>
                  </a:lnTo>
                  <a:lnTo>
                    <a:pt x="378" y="290"/>
                  </a:lnTo>
                  <a:lnTo>
                    <a:pt x="378" y="290"/>
                  </a:lnTo>
                  <a:lnTo>
                    <a:pt x="378" y="288"/>
                  </a:lnTo>
                  <a:lnTo>
                    <a:pt x="378" y="288"/>
                  </a:lnTo>
                  <a:lnTo>
                    <a:pt x="378" y="287"/>
                  </a:lnTo>
                  <a:lnTo>
                    <a:pt x="378" y="287"/>
                  </a:lnTo>
                  <a:lnTo>
                    <a:pt x="376" y="287"/>
                  </a:lnTo>
                  <a:lnTo>
                    <a:pt x="376" y="285"/>
                  </a:lnTo>
                  <a:lnTo>
                    <a:pt x="375" y="284"/>
                  </a:lnTo>
                  <a:lnTo>
                    <a:pt x="372" y="282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70" y="276"/>
                  </a:lnTo>
                  <a:lnTo>
                    <a:pt x="368" y="276"/>
                  </a:lnTo>
                  <a:lnTo>
                    <a:pt x="368" y="274"/>
                  </a:lnTo>
                  <a:lnTo>
                    <a:pt x="362" y="271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3"/>
                  </a:lnTo>
                  <a:lnTo>
                    <a:pt x="361" y="274"/>
                  </a:lnTo>
                  <a:lnTo>
                    <a:pt x="361" y="276"/>
                  </a:lnTo>
                  <a:lnTo>
                    <a:pt x="361" y="277"/>
                  </a:lnTo>
                  <a:lnTo>
                    <a:pt x="361" y="277"/>
                  </a:lnTo>
                  <a:close/>
                  <a:moveTo>
                    <a:pt x="342" y="354"/>
                  </a:move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4" y="354"/>
                  </a:lnTo>
                  <a:lnTo>
                    <a:pt x="345" y="354"/>
                  </a:lnTo>
                  <a:lnTo>
                    <a:pt x="347" y="354"/>
                  </a:lnTo>
                  <a:lnTo>
                    <a:pt x="348" y="356"/>
                  </a:lnTo>
                  <a:lnTo>
                    <a:pt x="348" y="357"/>
                  </a:lnTo>
                  <a:lnTo>
                    <a:pt x="348" y="356"/>
                  </a:lnTo>
                  <a:lnTo>
                    <a:pt x="350" y="357"/>
                  </a:lnTo>
                  <a:lnTo>
                    <a:pt x="351" y="359"/>
                  </a:lnTo>
                  <a:lnTo>
                    <a:pt x="350" y="361"/>
                  </a:lnTo>
                  <a:lnTo>
                    <a:pt x="350" y="361"/>
                  </a:lnTo>
                  <a:lnTo>
                    <a:pt x="350" y="361"/>
                  </a:lnTo>
                  <a:lnTo>
                    <a:pt x="351" y="362"/>
                  </a:lnTo>
                  <a:lnTo>
                    <a:pt x="351" y="364"/>
                  </a:lnTo>
                  <a:lnTo>
                    <a:pt x="351" y="364"/>
                  </a:lnTo>
                  <a:lnTo>
                    <a:pt x="353" y="365"/>
                  </a:lnTo>
                  <a:lnTo>
                    <a:pt x="355" y="367"/>
                  </a:lnTo>
                  <a:lnTo>
                    <a:pt x="355" y="367"/>
                  </a:lnTo>
                  <a:lnTo>
                    <a:pt x="356" y="365"/>
                  </a:lnTo>
                  <a:lnTo>
                    <a:pt x="356" y="365"/>
                  </a:lnTo>
                  <a:lnTo>
                    <a:pt x="355" y="364"/>
                  </a:lnTo>
                  <a:lnTo>
                    <a:pt x="356" y="362"/>
                  </a:lnTo>
                  <a:lnTo>
                    <a:pt x="358" y="362"/>
                  </a:lnTo>
                  <a:lnTo>
                    <a:pt x="359" y="362"/>
                  </a:lnTo>
                  <a:lnTo>
                    <a:pt x="359" y="362"/>
                  </a:lnTo>
                  <a:lnTo>
                    <a:pt x="361" y="365"/>
                  </a:lnTo>
                  <a:lnTo>
                    <a:pt x="362" y="367"/>
                  </a:lnTo>
                  <a:lnTo>
                    <a:pt x="362" y="367"/>
                  </a:lnTo>
                  <a:lnTo>
                    <a:pt x="362" y="367"/>
                  </a:lnTo>
                  <a:lnTo>
                    <a:pt x="364" y="367"/>
                  </a:lnTo>
                  <a:lnTo>
                    <a:pt x="365" y="367"/>
                  </a:lnTo>
                  <a:lnTo>
                    <a:pt x="367" y="365"/>
                  </a:lnTo>
                  <a:lnTo>
                    <a:pt x="368" y="365"/>
                  </a:lnTo>
                  <a:lnTo>
                    <a:pt x="370" y="364"/>
                  </a:lnTo>
                  <a:lnTo>
                    <a:pt x="370" y="359"/>
                  </a:lnTo>
                  <a:lnTo>
                    <a:pt x="370" y="357"/>
                  </a:lnTo>
                  <a:lnTo>
                    <a:pt x="370" y="356"/>
                  </a:lnTo>
                  <a:lnTo>
                    <a:pt x="370" y="353"/>
                  </a:lnTo>
                  <a:lnTo>
                    <a:pt x="370" y="348"/>
                  </a:lnTo>
                  <a:lnTo>
                    <a:pt x="364" y="350"/>
                  </a:lnTo>
                  <a:lnTo>
                    <a:pt x="362" y="350"/>
                  </a:lnTo>
                  <a:lnTo>
                    <a:pt x="361" y="350"/>
                  </a:lnTo>
                  <a:lnTo>
                    <a:pt x="358" y="350"/>
                  </a:lnTo>
                  <a:lnTo>
                    <a:pt x="356" y="348"/>
                  </a:lnTo>
                  <a:lnTo>
                    <a:pt x="355" y="348"/>
                  </a:lnTo>
                  <a:lnTo>
                    <a:pt x="351" y="348"/>
                  </a:lnTo>
                  <a:lnTo>
                    <a:pt x="351" y="348"/>
                  </a:lnTo>
                  <a:lnTo>
                    <a:pt x="351" y="347"/>
                  </a:lnTo>
                  <a:lnTo>
                    <a:pt x="351" y="347"/>
                  </a:lnTo>
                  <a:lnTo>
                    <a:pt x="351" y="345"/>
                  </a:lnTo>
                  <a:lnTo>
                    <a:pt x="348" y="345"/>
                  </a:lnTo>
                  <a:lnTo>
                    <a:pt x="347" y="344"/>
                  </a:lnTo>
                  <a:lnTo>
                    <a:pt x="345" y="342"/>
                  </a:lnTo>
                  <a:lnTo>
                    <a:pt x="345" y="341"/>
                  </a:lnTo>
                  <a:lnTo>
                    <a:pt x="345" y="341"/>
                  </a:lnTo>
                  <a:lnTo>
                    <a:pt x="345" y="339"/>
                  </a:lnTo>
                  <a:lnTo>
                    <a:pt x="345" y="339"/>
                  </a:lnTo>
                  <a:lnTo>
                    <a:pt x="345" y="337"/>
                  </a:lnTo>
                  <a:lnTo>
                    <a:pt x="345" y="336"/>
                  </a:lnTo>
                  <a:lnTo>
                    <a:pt x="345" y="336"/>
                  </a:lnTo>
                  <a:lnTo>
                    <a:pt x="345" y="336"/>
                  </a:lnTo>
                  <a:lnTo>
                    <a:pt x="344" y="334"/>
                  </a:lnTo>
                  <a:lnTo>
                    <a:pt x="344" y="334"/>
                  </a:lnTo>
                  <a:lnTo>
                    <a:pt x="342" y="331"/>
                  </a:lnTo>
                  <a:lnTo>
                    <a:pt x="342" y="330"/>
                  </a:lnTo>
                  <a:lnTo>
                    <a:pt x="342" y="328"/>
                  </a:lnTo>
                  <a:lnTo>
                    <a:pt x="342" y="328"/>
                  </a:lnTo>
                  <a:lnTo>
                    <a:pt x="341" y="325"/>
                  </a:lnTo>
                  <a:lnTo>
                    <a:pt x="341" y="325"/>
                  </a:lnTo>
                  <a:lnTo>
                    <a:pt x="342" y="325"/>
                  </a:lnTo>
                  <a:lnTo>
                    <a:pt x="342" y="324"/>
                  </a:lnTo>
                  <a:lnTo>
                    <a:pt x="341" y="322"/>
                  </a:lnTo>
                  <a:lnTo>
                    <a:pt x="341" y="319"/>
                  </a:lnTo>
                  <a:lnTo>
                    <a:pt x="342" y="316"/>
                  </a:lnTo>
                  <a:lnTo>
                    <a:pt x="344" y="314"/>
                  </a:lnTo>
                  <a:lnTo>
                    <a:pt x="342" y="313"/>
                  </a:lnTo>
                  <a:lnTo>
                    <a:pt x="336" y="307"/>
                  </a:lnTo>
                  <a:lnTo>
                    <a:pt x="336" y="307"/>
                  </a:lnTo>
                  <a:lnTo>
                    <a:pt x="336" y="305"/>
                  </a:lnTo>
                  <a:lnTo>
                    <a:pt x="336" y="304"/>
                  </a:lnTo>
                  <a:lnTo>
                    <a:pt x="336" y="302"/>
                  </a:lnTo>
                  <a:lnTo>
                    <a:pt x="338" y="302"/>
                  </a:lnTo>
                  <a:lnTo>
                    <a:pt x="338" y="302"/>
                  </a:lnTo>
                  <a:lnTo>
                    <a:pt x="336" y="301"/>
                  </a:lnTo>
                  <a:lnTo>
                    <a:pt x="331" y="299"/>
                  </a:lnTo>
                  <a:lnTo>
                    <a:pt x="330" y="299"/>
                  </a:lnTo>
                  <a:lnTo>
                    <a:pt x="328" y="299"/>
                  </a:lnTo>
                  <a:lnTo>
                    <a:pt x="327" y="299"/>
                  </a:lnTo>
                  <a:lnTo>
                    <a:pt x="325" y="299"/>
                  </a:lnTo>
                  <a:lnTo>
                    <a:pt x="324" y="301"/>
                  </a:lnTo>
                  <a:lnTo>
                    <a:pt x="322" y="301"/>
                  </a:lnTo>
                  <a:lnTo>
                    <a:pt x="321" y="299"/>
                  </a:lnTo>
                  <a:lnTo>
                    <a:pt x="319" y="299"/>
                  </a:lnTo>
                  <a:lnTo>
                    <a:pt x="316" y="299"/>
                  </a:lnTo>
                  <a:lnTo>
                    <a:pt x="313" y="297"/>
                  </a:lnTo>
                  <a:lnTo>
                    <a:pt x="310" y="296"/>
                  </a:lnTo>
                  <a:lnTo>
                    <a:pt x="308" y="296"/>
                  </a:lnTo>
                  <a:lnTo>
                    <a:pt x="307" y="294"/>
                  </a:lnTo>
                  <a:lnTo>
                    <a:pt x="307" y="293"/>
                  </a:lnTo>
                  <a:lnTo>
                    <a:pt x="305" y="291"/>
                  </a:lnTo>
                  <a:lnTo>
                    <a:pt x="304" y="291"/>
                  </a:lnTo>
                  <a:lnTo>
                    <a:pt x="302" y="293"/>
                  </a:lnTo>
                  <a:lnTo>
                    <a:pt x="302" y="291"/>
                  </a:lnTo>
                  <a:lnTo>
                    <a:pt x="301" y="293"/>
                  </a:lnTo>
                  <a:lnTo>
                    <a:pt x="301" y="291"/>
                  </a:lnTo>
                  <a:lnTo>
                    <a:pt x="298" y="291"/>
                  </a:lnTo>
                  <a:lnTo>
                    <a:pt x="298" y="290"/>
                  </a:lnTo>
                  <a:lnTo>
                    <a:pt x="296" y="291"/>
                  </a:lnTo>
                  <a:lnTo>
                    <a:pt x="296" y="291"/>
                  </a:lnTo>
                  <a:lnTo>
                    <a:pt x="296" y="290"/>
                  </a:lnTo>
                  <a:lnTo>
                    <a:pt x="296" y="290"/>
                  </a:lnTo>
                  <a:lnTo>
                    <a:pt x="296" y="288"/>
                  </a:lnTo>
                  <a:lnTo>
                    <a:pt x="294" y="288"/>
                  </a:lnTo>
                  <a:lnTo>
                    <a:pt x="291" y="285"/>
                  </a:lnTo>
                  <a:lnTo>
                    <a:pt x="288" y="284"/>
                  </a:lnTo>
                  <a:lnTo>
                    <a:pt x="287" y="282"/>
                  </a:lnTo>
                  <a:lnTo>
                    <a:pt x="285" y="280"/>
                  </a:lnTo>
                  <a:lnTo>
                    <a:pt x="285" y="279"/>
                  </a:lnTo>
                  <a:lnTo>
                    <a:pt x="285" y="279"/>
                  </a:lnTo>
                  <a:lnTo>
                    <a:pt x="284" y="274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1" y="271"/>
                  </a:lnTo>
                  <a:lnTo>
                    <a:pt x="279" y="270"/>
                  </a:lnTo>
                  <a:lnTo>
                    <a:pt x="281" y="268"/>
                  </a:lnTo>
                  <a:lnTo>
                    <a:pt x="279" y="268"/>
                  </a:lnTo>
                  <a:lnTo>
                    <a:pt x="279" y="267"/>
                  </a:lnTo>
                  <a:lnTo>
                    <a:pt x="278" y="267"/>
                  </a:lnTo>
                  <a:lnTo>
                    <a:pt x="276" y="267"/>
                  </a:lnTo>
                  <a:lnTo>
                    <a:pt x="276" y="267"/>
                  </a:lnTo>
                  <a:lnTo>
                    <a:pt x="274" y="265"/>
                  </a:lnTo>
                  <a:lnTo>
                    <a:pt x="274" y="265"/>
                  </a:lnTo>
                  <a:lnTo>
                    <a:pt x="273" y="265"/>
                  </a:lnTo>
                  <a:lnTo>
                    <a:pt x="268" y="267"/>
                  </a:lnTo>
                  <a:lnTo>
                    <a:pt x="267" y="268"/>
                  </a:lnTo>
                  <a:lnTo>
                    <a:pt x="262" y="268"/>
                  </a:lnTo>
                  <a:lnTo>
                    <a:pt x="262" y="268"/>
                  </a:lnTo>
                  <a:lnTo>
                    <a:pt x="261" y="270"/>
                  </a:lnTo>
                  <a:lnTo>
                    <a:pt x="259" y="270"/>
                  </a:lnTo>
                  <a:lnTo>
                    <a:pt x="259" y="271"/>
                  </a:lnTo>
                  <a:lnTo>
                    <a:pt x="259" y="271"/>
                  </a:lnTo>
                  <a:lnTo>
                    <a:pt x="259" y="273"/>
                  </a:lnTo>
                  <a:lnTo>
                    <a:pt x="259" y="273"/>
                  </a:lnTo>
                  <a:lnTo>
                    <a:pt x="258" y="273"/>
                  </a:lnTo>
                  <a:lnTo>
                    <a:pt x="256" y="273"/>
                  </a:lnTo>
                  <a:lnTo>
                    <a:pt x="256" y="274"/>
                  </a:lnTo>
                  <a:lnTo>
                    <a:pt x="254" y="274"/>
                  </a:lnTo>
                  <a:lnTo>
                    <a:pt x="254" y="276"/>
                  </a:lnTo>
                  <a:lnTo>
                    <a:pt x="254" y="276"/>
                  </a:lnTo>
                  <a:lnTo>
                    <a:pt x="253" y="276"/>
                  </a:lnTo>
                  <a:lnTo>
                    <a:pt x="251" y="277"/>
                  </a:lnTo>
                  <a:lnTo>
                    <a:pt x="248" y="277"/>
                  </a:lnTo>
                  <a:lnTo>
                    <a:pt x="245" y="280"/>
                  </a:lnTo>
                  <a:lnTo>
                    <a:pt x="244" y="280"/>
                  </a:lnTo>
                  <a:lnTo>
                    <a:pt x="242" y="280"/>
                  </a:lnTo>
                  <a:lnTo>
                    <a:pt x="241" y="282"/>
                  </a:lnTo>
                  <a:lnTo>
                    <a:pt x="241" y="282"/>
                  </a:lnTo>
                  <a:lnTo>
                    <a:pt x="241" y="282"/>
                  </a:lnTo>
                  <a:lnTo>
                    <a:pt x="239" y="284"/>
                  </a:lnTo>
                  <a:lnTo>
                    <a:pt x="239" y="285"/>
                  </a:lnTo>
                  <a:lnTo>
                    <a:pt x="239" y="285"/>
                  </a:lnTo>
                  <a:lnTo>
                    <a:pt x="241" y="285"/>
                  </a:lnTo>
                  <a:lnTo>
                    <a:pt x="250" y="284"/>
                  </a:lnTo>
                  <a:lnTo>
                    <a:pt x="250" y="284"/>
                  </a:lnTo>
                  <a:lnTo>
                    <a:pt x="251" y="284"/>
                  </a:lnTo>
                  <a:lnTo>
                    <a:pt x="251" y="282"/>
                  </a:lnTo>
                  <a:lnTo>
                    <a:pt x="251" y="280"/>
                  </a:lnTo>
                  <a:lnTo>
                    <a:pt x="250" y="280"/>
                  </a:lnTo>
                  <a:lnTo>
                    <a:pt x="248" y="280"/>
                  </a:lnTo>
                  <a:lnTo>
                    <a:pt x="248" y="279"/>
                  </a:lnTo>
                  <a:lnTo>
                    <a:pt x="250" y="279"/>
                  </a:lnTo>
                  <a:lnTo>
                    <a:pt x="251" y="279"/>
                  </a:lnTo>
                  <a:lnTo>
                    <a:pt x="251" y="280"/>
                  </a:lnTo>
                  <a:lnTo>
                    <a:pt x="253" y="280"/>
                  </a:lnTo>
                  <a:lnTo>
                    <a:pt x="254" y="280"/>
                  </a:lnTo>
                  <a:lnTo>
                    <a:pt x="254" y="280"/>
                  </a:lnTo>
                  <a:lnTo>
                    <a:pt x="256" y="282"/>
                  </a:lnTo>
                  <a:lnTo>
                    <a:pt x="258" y="284"/>
                  </a:lnTo>
                  <a:lnTo>
                    <a:pt x="258" y="284"/>
                  </a:lnTo>
                  <a:lnTo>
                    <a:pt x="261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5" y="284"/>
                  </a:lnTo>
                  <a:lnTo>
                    <a:pt x="267" y="285"/>
                  </a:lnTo>
                  <a:lnTo>
                    <a:pt x="274" y="290"/>
                  </a:lnTo>
                  <a:lnTo>
                    <a:pt x="276" y="291"/>
                  </a:lnTo>
                  <a:lnTo>
                    <a:pt x="276" y="291"/>
                  </a:lnTo>
                  <a:lnTo>
                    <a:pt x="278" y="293"/>
                  </a:lnTo>
                  <a:lnTo>
                    <a:pt x="278" y="294"/>
                  </a:lnTo>
                  <a:lnTo>
                    <a:pt x="278" y="294"/>
                  </a:lnTo>
                  <a:lnTo>
                    <a:pt x="281" y="296"/>
                  </a:lnTo>
                  <a:lnTo>
                    <a:pt x="282" y="297"/>
                  </a:lnTo>
                  <a:lnTo>
                    <a:pt x="284" y="299"/>
                  </a:lnTo>
                  <a:lnTo>
                    <a:pt x="285" y="299"/>
                  </a:lnTo>
                  <a:lnTo>
                    <a:pt x="285" y="301"/>
                  </a:lnTo>
                  <a:lnTo>
                    <a:pt x="285" y="301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8" y="304"/>
                  </a:lnTo>
                  <a:lnTo>
                    <a:pt x="290" y="305"/>
                  </a:lnTo>
                  <a:lnTo>
                    <a:pt x="290" y="307"/>
                  </a:lnTo>
                  <a:lnTo>
                    <a:pt x="290" y="307"/>
                  </a:lnTo>
                  <a:lnTo>
                    <a:pt x="290" y="308"/>
                  </a:lnTo>
                  <a:lnTo>
                    <a:pt x="291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8" y="311"/>
                  </a:lnTo>
                  <a:lnTo>
                    <a:pt x="299" y="313"/>
                  </a:lnTo>
                  <a:lnTo>
                    <a:pt x="299" y="314"/>
                  </a:lnTo>
                  <a:lnTo>
                    <a:pt x="299" y="314"/>
                  </a:lnTo>
                  <a:lnTo>
                    <a:pt x="299" y="314"/>
                  </a:lnTo>
                  <a:lnTo>
                    <a:pt x="299" y="316"/>
                  </a:lnTo>
                  <a:lnTo>
                    <a:pt x="298" y="317"/>
                  </a:lnTo>
                  <a:lnTo>
                    <a:pt x="298" y="319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98" y="321"/>
                  </a:lnTo>
                  <a:lnTo>
                    <a:pt x="298" y="321"/>
                  </a:lnTo>
                  <a:lnTo>
                    <a:pt x="298" y="321"/>
                  </a:lnTo>
                  <a:lnTo>
                    <a:pt x="299" y="324"/>
                  </a:lnTo>
                  <a:lnTo>
                    <a:pt x="301" y="325"/>
                  </a:lnTo>
                  <a:lnTo>
                    <a:pt x="301" y="325"/>
                  </a:lnTo>
                  <a:lnTo>
                    <a:pt x="304" y="325"/>
                  </a:lnTo>
                  <a:lnTo>
                    <a:pt x="305" y="325"/>
                  </a:lnTo>
                  <a:lnTo>
                    <a:pt x="310" y="325"/>
                  </a:lnTo>
                  <a:lnTo>
                    <a:pt x="311" y="325"/>
                  </a:lnTo>
                  <a:lnTo>
                    <a:pt x="313" y="325"/>
                  </a:lnTo>
                  <a:lnTo>
                    <a:pt x="315" y="325"/>
                  </a:lnTo>
                  <a:lnTo>
                    <a:pt x="316" y="325"/>
                  </a:lnTo>
                  <a:lnTo>
                    <a:pt x="319" y="327"/>
                  </a:lnTo>
                  <a:lnTo>
                    <a:pt x="319" y="327"/>
                  </a:lnTo>
                  <a:lnTo>
                    <a:pt x="325" y="325"/>
                  </a:lnTo>
                  <a:lnTo>
                    <a:pt x="330" y="327"/>
                  </a:lnTo>
                  <a:lnTo>
                    <a:pt x="330" y="325"/>
                  </a:lnTo>
                  <a:lnTo>
                    <a:pt x="330" y="327"/>
                  </a:lnTo>
                  <a:lnTo>
                    <a:pt x="331" y="328"/>
                  </a:lnTo>
                  <a:lnTo>
                    <a:pt x="331" y="328"/>
                  </a:lnTo>
                  <a:lnTo>
                    <a:pt x="330" y="328"/>
                  </a:lnTo>
                  <a:lnTo>
                    <a:pt x="331" y="330"/>
                  </a:lnTo>
                  <a:lnTo>
                    <a:pt x="331" y="330"/>
                  </a:lnTo>
                  <a:lnTo>
                    <a:pt x="331" y="331"/>
                  </a:lnTo>
                  <a:lnTo>
                    <a:pt x="330" y="331"/>
                  </a:lnTo>
                  <a:lnTo>
                    <a:pt x="328" y="333"/>
                  </a:lnTo>
                  <a:lnTo>
                    <a:pt x="330" y="333"/>
                  </a:lnTo>
                  <a:lnTo>
                    <a:pt x="333" y="333"/>
                  </a:lnTo>
                  <a:lnTo>
                    <a:pt x="335" y="333"/>
                  </a:lnTo>
                  <a:lnTo>
                    <a:pt x="336" y="334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6" y="339"/>
                  </a:lnTo>
                  <a:lnTo>
                    <a:pt x="336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7"/>
                  </a:lnTo>
                  <a:lnTo>
                    <a:pt x="339" y="337"/>
                  </a:lnTo>
                  <a:lnTo>
                    <a:pt x="338" y="339"/>
                  </a:lnTo>
                  <a:lnTo>
                    <a:pt x="336" y="341"/>
                  </a:lnTo>
                  <a:lnTo>
                    <a:pt x="336" y="344"/>
                  </a:lnTo>
                  <a:lnTo>
                    <a:pt x="338" y="344"/>
                  </a:lnTo>
                  <a:lnTo>
                    <a:pt x="338" y="342"/>
                  </a:lnTo>
                  <a:lnTo>
                    <a:pt x="338" y="342"/>
                  </a:lnTo>
                  <a:lnTo>
                    <a:pt x="339" y="342"/>
                  </a:lnTo>
                  <a:lnTo>
                    <a:pt x="341" y="344"/>
                  </a:lnTo>
                  <a:lnTo>
                    <a:pt x="341" y="345"/>
                  </a:lnTo>
                  <a:lnTo>
                    <a:pt x="342" y="347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1" y="350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2" y="351"/>
                  </a:lnTo>
                  <a:lnTo>
                    <a:pt x="342" y="351"/>
                  </a:lnTo>
                  <a:lnTo>
                    <a:pt x="342" y="354"/>
                  </a:lnTo>
                  <a:lnTo>
                    <a:pt x="342" y="354"/>
                  </a:lnTo>
                  <a:close/>
                  <a:moveTo>
                    <a:pt x="284" y="254"/>
                  </a:moveTo>
                  <a:lnTo>
                    <a:pt x="284" y="254"/>
                  </a:lnTo>
                  <a:lnTo>
                    <a:pt x="285" y="256"/>
                  </a:lnTo>
                  <a:lnTo>
                    <a:pt x="285" y="256"/>
                  </a:lnTo>
                  <a:lnTo>
                    <a:pt x="287" y="256"/>
                  </a:lnTo>
                  <a:lnTo>
                    <a:pt x="287" y="254"/>
                  </a:lnTo>
                  <a:lnTo>
                    <a:pt x="288" y="253"/>
                  </a:lnTo>
                  <a:lnTo>
                    <a:pt x="290" y="253"/>
                  </a:lnTo>
                  <a:lnTo>
                    <a:pt x="290" y="251"/>
                  </a:lnTo>
                  <a:lnTo>
                    <a:pt x="290" y="250"/>
                  </a:lnTo>
                  <a:lnTo>
                    <a:pt x="288" y="250"/>
                  </a:lnTo>
                  <a:lnTo>
                    <a:pt x="287" y="248"/>
                  </a:lnTo>
                  <a:lnTo>
                    <a:pt x="287" y="248"/>
                  </a:lnTo>
                  <a:lnTo>
                    <a:pt x="285" y="250"/>
                  </a:lnTo>
                  <a:lnTo>
                    <a:pt x="284" y="251"/>
                  </a:lnTo>
                  <a:lnTo>
                    <a:pt x="284" y="251"/>
                  </a:lnTo>
                  <a:lnTo>
                    <a:pt x="284" y="253"/>
                  </a:lnTo>
                  <a:lnTo>
                    <a:pt x="282" y="253"/>
                  </a:lnTo>
                  <a:lnTo>
                    <a:pt x="282" y="253"/>
                  </a:lnTo>
                  <a:lnTo>
                    <a:pt x="281" y="254"/>
                  </a:lnTo>
                  <a:lnTo>
                    <a:pt x="282" y="254"/>
                  </a:lnTo>
                  <a:lnTo>
                    <a:pt x="282" y="254"/>
                  </a:lnTo>
                  <a:lnTo>
                    <a:pt x="284" y="254"/>
                  </a:lnTo>
                  <a:close/>
                  <a:moveTo>
                    <a:pt x="304" y="254"/>
                  </a:moveTo>
                  <a:lnTo>
                    <a:pt x="302" y="253"/>
                  </a:lnTo>
                  <a:lnTo>
                    <a:pt x="299" y="251"/>
                  </a:lnTo>
                  <a:lnTo>
                    <a:pt x="298" y="248"/>
                  </a:lnTo>
                  <a:lnTo>
                    <a:pt x="298" y="248"/>
                  </a:lnTo>
                  <a:lnTo>
                    <a:pt x="298" y="248"/>
                  </a:lnTo>
                  <a:lnTo>
                    <a:pt x="296" y="248"/>
                  </a:lnTo>
                  <a:lnTo>
                    <a:pt x="296" y="248"/>
                  </a:lnTo>
                  <a:lnTo>
                    <a:pt x="296" y="248"/>
                  </a:lnTo>
                  <a:lnTo>
                    <a:pt x="298" y="253"/>
                  </a:lnTo>
                  <a:lnTo>
                    <a:pt x="298" y="254"/>
                  </a:lnTo>
                  <a:lnTo>
                    <a:pt x="299" y="254"/>
                  </a:lnTo>
                  <a:lnTo>
                    <a:pt x="301" y="257"/>
                  </a:lnTo>
                  <a:lnTo>
                    <a:pt x="302" y="257"/>
                  </a:lnTo>
                  <a:lnTo>
                    <a:pt x="302" y="257"/>
                  </a:lnTo>
                  <a:lnTo>
                    <a:pt x="301" y="259"/>
                  </a:lnTo>
                  <a:lnTo>
                    <a:pt x="301" y="259"/>
                  </a:lnTo>
                  <a:lnTo>
                    <a:pt x="302" y="260"/>
                  </a:lnTo>
                  <a:lnTo>
                    <a:pt x="304" y="260"/>
                  </a:lnTo>
                  <a:lnTo>
                    <a:pt x="305" y="260"/>
                  </a:lnTo>
                  <a:lnTo>
                    <a:pt x="305" y="262"/>
                  </a:lnTo>
                  <a:lnTo>
                    <a:pt x="307" y="260"/>
                  </a:lnTo>
                  <a:lnTo>
                    <a:pt x="308" y="260"/>
                  </a:lnTo>
                  <a:lnTo>
                    <a:pt x="311" y="257"/>
                  </a:lnTo>
                  <a:lnTo>
                    <a:pt x="311" y="257"/>
                  </a:lnTo>
                  <a:lnTo>
                    <a:pt x="310" y="256"/>
                  </a:lnTo>
                  <a:lnTo>
                    <a:pt x="307" y="256"/>
                  </a:lnTo>
                  <a:lnTo>
                    <a:pt x="307" y="256"/>
                  </a:lnTo>
                  <a:lnTo>
                    <a:pt x="307" y="254"/>
                  </a:lnTo>
                  <a:lnTo>
                    <a:pt x="304" y="254"/>
                  </a:lnTo>
                  <a:close/>
                  <a:moveTo>
                    <a:pt x="42" y="248"/>
                  </a:moveTo>
                  <a:lnTo>
                    <a:pt x="40" y="247"/>
                  </a:lnTo>
                  <a:lnTo>
                    <a:pt x="39" y="245"/>
                  </a:lnTo>
                  <a:lnTo>
                    <a:pt x="37" y="247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40" y="251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3" y="250"/>
                  </a:lnTo>
                  <a:lnTo>
                    <a:pt x="42" y="248"/>
                  </a:lnTo>
                  <a:close/>
                  <a:moveTo>
                    <a:pt x="324" y="242"/>
                  </a:moveTo>
                  <a:lnTo>
                    <a:pt x="324" y="242"/>
                  </a:lnTo>
                  <a:lnTo>
                    <a:pt x="324" y="240"/>
                  </a:lnTo>
                  <a:lnTo>
                    <a:pt x="322" y="242"/>
                  </a:lnTo>
                  <a:lnTo>
                    <a:pt x="318" y="248"/>
                  </a:lnTo>
                  <a:lnTo>
                    <a:pt x="318" y="251"/>
                  </a:lnTo>
                  <a:lnTo>
                    <a:pt x="316" y="253"/>
                  </a:lnTo>
                  <a:lnTo>
                    <a:pt x="315" y="253"/>
                  </a:lnTo>
                  <a:lnTo>
                    <a:pt x="315" y="254"/>
                  </a:lnTo>
                  <a:lnTo>
                    <a:pt x="316" y="254"/>
                  </a:lnTo>
                  <a:lnTo>
                    <a:pt x="319" y="253"/>
                  </a:lnTo>
                  <a:lnTo>
                    <a:pt x="321" y="251"/>
                  </a:lnTo>
                  <a:lnTo>
                    <a:pt x="322" y="248"/>
                  </a:lnTo>
                  <a:lnTo>
                    <a:pt x="322" y="247"/>
                  </a:lnTo>
                  <a:lnTo>
                    <a:pt x="324" y="245"/>
                  </a:lnTo>
                  <a:lnTo>
                    <a:pt x="324" y="242"/>
                  </a:lnTo>
                  <a:lnTo>
                    <a:pt x="322" y="242"/>
                  </a:lnTo>
                  <a:lnTo>
                    <a:pt x="322" y="242"/>
                  </a:lnTo>
                  <a:lnTo>
                    <a:pt x="324" y="242"/>
                  </a:lnTo>
                  <a:close/>
                  <a:moveTo>
                    <a:pt x="330" y="239"/>
                  </a:moveTo>
                  <a:lnTo>
                    <a:pt x="331" y="240"/>
                  </a:lnTo>
                  <a:lnTo>
                    <a:pt x="333" y="239"/>
                  </a:lnTo>
                  <a:lnTo>
                    <a:pt x="333" y="237"/>
                  </a:lnTo>
                  <a:lnTo>
                    <a:pt x="333" y="236"/>
                  </a:lnTo>
                  <a:lnTo>
                    <a:pt x="333" y="236"/>
                  </a:lnTo>
                  <a:lnTo>
                    <a:pt x="333" y="234"/>
                  </a:lnTo>
                  <a:lnTo>
                    <a:pt x="331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31" y="234"/>
                  </a:lnTo>
                  <a:lnTo>
                    <a:pt x="331" y="234"/>
                  </a:lnTo>
                  <a:lnTo>
                    <a:pt x="330" y="234"/>
                  </a:lnTo>
                  <a:lnTo>
                    <a:pt x="330" y="236"/>
                  </a:lnTo>
                  <a:lnTo>
                    <a:pt x="330" y="237"/>
                  </a:lnTo>
                  <a:lnTo>
                    <a:pt x="330" y="237"/>
                  </a:lnTo>
                  <a:lnTo>
                    <a:pt x="330" y="239"/>
                  </a:lnTo>
                  <a:lnTo>
                    <a:pt x="331" y="239"/>
                  </a:lnTo>
                  <a:lnTo>
                    <a:pt x="330" y="239"/>
                  </a:lnTo>
                  <a:lnTo>
                    <a:pt x="330" y="239"/>
                  </a:lnTo>
                  <a:close/>
                  <a:moveTo>
                    <a:pt x="516" y="270"/>
                  </a:moveTo>
                  <a:lnTo>
                    <a:pt x="516" y="270"/>
                  </a:lnTo>
                  <a:lnTo>
                    <a:pt x="516" y="270"/>
                  </a:lnTo>
                  <a:lnTo>
                    <a:pt x="516" y="268"/>
                  </a:lnTo>
                  <a:lnTo>
                    <a:pt x="516" y="268"/>
                  </a:lnTo>
                  <a:lnTo>
                    <a:pt x="515" y="267"/>
                  </a:lnTo>
                  <a:lnTo>
                    <a:pt x="512" y="262"/>
                  </a:lnTo>
                  <a:lnTo>
                    <a:pt x="509" y="260"/>
                  </a:lnTo>
                  <a:lnTo>
                    <a:pt x="509" y="259"/>
                  </a:lnTo>
                  <a:lnTo>
                    <a:pt x="509" y="257"/>
                  </a:lnTo>
                  <a:lnTo>
                    <a:pt x="512" y="257"/>
                  </a:lnTo>
                  <a:lnTo>
                    <a:pt x="513" y="259"/>
                  </a:lnTo>
                  <a:lnTo>
                    <a:pt x="513" y="260"/>
                  </a:lnTo>
                  <a:lnTo>
                    <a:pt x="513" y="260"/>
                  </a:lnTo>
                  <a:lnTo>
                    <a:pt x="515" y="260"/>
                  </a:lnTo>
                  <a:lnTo>
                    <a:pt x="515" y="262"/>
                  </a:lnTo>
                  <a:lnTo>
                    <a:pt x="515" y="262"/>
                  </a:lnTo>
                  <a:lnTo>
                    <a:pt x="513" y="262"/>
                  </a:lnTo>
                  <a:lnTo>
                    <a:pt x="513" y="264"/>
                  </a:lnTo>
                  <a:lnTo>
                    <a:pt x="513" y="264"/>
                  </a:lnTo>
                  <a:lnTo>
                    <a:pt x="513" y="264"/>
                  </a:lnTo>
                  <a:lnTo>
                    <a:pt x="515" y="265"/>
                  </a:lnTo>
                  <a:lnTo>
                    <a:pt x="513" y="265"/>
                  </a:lnTo>
                  <a:lnTo>
                    <a:pt x="515" y="267"/>
                  </a:lnTo>
                  <a:lnTo>
                    <a:pt x="515" y="267"/>
                  </a:lnTo>
                  <a:lnTo>
                    <a:pt x="516" y="267"/>
                  </a:lnTo>
                  <a:lnTo>
                    <a:pt x="518" y="267"/>
                  </a:lnTo>
                  <a:lnTo>
                    <a:pt x="519" y="268"/>
                  </a:lnTo>
                  <a:lnTo>
                    <a:pt x="521" y="267"/>
                  </a:lnTo>
                  <a:lnTo>
                    <a:pt x="521" y="265"/>
                  </a:lnTo>
                  <a:lnTo>
                    <a:pt x="521" y="264"/>
                  </a:lnTo>
                  <a:lnTo>
                    <a:pt x="519" y="264"/>
                  </a:lnTo>
                  <a:lnTo>
                    <a:pt x="518" y="262"/>
                  </a:lnTo>
                  <a:lnTo>
                    <a:pt x="518" y="259"/>
                  </a:lnTo>
                  <a:lnTo>
                    <a:pt x="518" y="257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6" y="256"/>
                  </a:lnTo>
                  <a:lnTo>
                    <a:pt x="515" y="254"/>
                  </a:lnTo>
                  <a:lnTo>
                    <a:pt x="515" y="254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13" y="251"/>
                  </a:lnTo>
                  <a:lnTo>
                    <a:pt x="513" y="251"/>
                  </a:lnTo>
                  <a:lnTo>
                    <a:pt x="510" y="247"/>
                  </a:lnTo>
                  <a:lnTo>
                    <a:pt x="510" y="247"/>
                  </a:lnTo>
                  <a:lnTo>
                    <a:pt x="510" y="247"/>
                  </a:lnTo>
                  <a:lnTo>
                    <a:pt x="507" y="245"/>
                  </a:lnTo>
                  <a:lnTo>
                    <a:pt x="504" y="242"/>
                  </a:lnTo>
                  <a:lnTo>
                    <a:pt x="504" y="242"/>
                  </a:lnTo>
                  <a:lnTo>
                    <a:pt x="506" y="237"/>
                  </a:lnTo>
                  <a:lnTo>
                    <a:pt x="507" y="237"/>
                  </a:lnTo>
                  <a:lnTo>
                    <a:pt x="506" y="236"/>
                  </a:lnTo>
                  <a:lnTo>
                    <a:pt x="502" y="236"/>
                  </a:lnTo>
                  <a:lnTo>
                    <a:pt x="502" y="234"/>
                  </a:lnTo>
                  <a:lnTo>
                    <a:pt x="502" y="233"/>
                  </a:lnTo>
                  <a:lnTo>
                    <a:pt x="501" y="233"/>
                  </a:lnTo>
                  <a:lnTo>
                    <a:pt x="487" y="233"/>
                  </a:lnTo>
                  <a:lnTo>
                    <a:pt x="489" y="234"/>
                  </a:lnTo>
                  <a:lnTo>
                    <a:pt x="489" y="237"/>
                  </a:lnTo>
                  <a:lnTo>
                    <a:pt x="487" y="237"/>
                  </a:lnTo>
                  <a:lnTo>
                    <a:pt x="485" y="239"/>
                  </a:lnTo>
                  <a:lnTo>
                    <a:pt x="482" y="239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8" y="240"/>
                  </a:lnTo>
                  <a:lnTo>
                    <a:pt x="478" y="240"/>
                  </a:lnTo>
                  <a:lnTo>
                    <a:pt x="478" y="242"/>
                  </a:lnTo>
                  <a:lnTo>
                    <a:pt x="476" y="242"/>
                  </a:lnTo>
                  <a:lnTo>
                    <a:pt x="473" y="242"/>
                  </a:lnTo>
                  <a:lnTo>
                    <a:pt x="470" y="242"/>
                  </a:lnTo>
                  <a:lnTo>
                    <a:pt x="470" y="240"/>
                  </a:lnTo>
                  <a:lnTo>
                    <a:pt x="469" y="240"/>
                  </a:lnTo>
                  <a:lnTo>
                    <a:pt x="469" y="240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4" y="245"/>
                  </a:lnTo>
                  <a:lnTo>
                    <a:pt x="464" y="245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8"/>
                  </a:lnTo>
                  <a:lnTo>
                    <a:pt x="464" y="248"/>
                  </a:lnTo>
                  <a:lnTo>
                    <a:pt x="464" y="248"/>
                  </a:lnTo>
                  <a:lnTo>
                    <a:pt x="464" y="250"/>
                  </a:lnTo>
                  <a:lnTo>
                    <a:pt x="464" y="251"/>
                  </a:lnTo>
                  <a:lnTo>
                    <a:pt x="462" y="251"/>
                  </a:lnTo>
                  <a:lnTo>
                    <a:pt x="462" y="251"/>
                  </a:lnTo>
                  <a:lnTo>
                    <a:pt x="464" y="253"/>
                  </a:lnTo>
                  <a:lnTo>
                    <a:pt x="467" y="254"/>
                  </a:lnTo>
                  <a:lnTo>
                    <a:pt x="469" y="256"/>
                  </a:lnTo>
                  <a:lnTo>
                    <a:pt x="470" y="256"/>
                  </a:lnTo>
                  <a:lnTo>
                    <a:pt x="470" y="256"/>
                  </a:lnTo>
                  <a:lnTo>
                    <a:pt x="472" y="257"/>
                  </a:lnTo>
                  <a:lnTo>
                    <a:pt x="472" y="257"/>
                  </a:lnTo>
                  <a:lnTo>
                    <a:pt x="478" y="260"/>
                  </a:lnTo>
                  <a:lnTo>
                    <a:pt x="479" y="260"/>
                  </a:lnTo>
                  <a:lnTo>
                    <a:pt x="481" y="259"/>
                  </a:lnTo>
                  <a:lnTo>
                    <a:pt x="482" y="259"/>
                  </a:lnTo>
                  <a:lnTo>
                    <a:pt x="485" y="254"/>
                  </a:lnTo>
                  <a:lnTo>
                    <a:pt x="485" y="254"/>
                  </a:lnTo>
                  <a:lnTo>
                    <a:pt x="487" y="251"/>
                  </a:lnTo>
                  <a:lnTo>
                    <a:pt x="489" y="250"/>
                  </a:lnTo>
                  <a:lnTo>
                    <a:pt x="489" y="250"/>
                  </a:lnTo>
                  <a:lnTo>
                    <a:pt x="490" y="250"/>
                  </a:lnTo>
                  <a:lnTo>
                    <a:pt x="492" y="248"/>
                  </a:lnTo>
                  <a:lnTo>
                    <a:pt x="493" y="250"/>
                  </a:lnTo>
                  <a:lnTo>
                    <a:pt x="495" y="250"/>
                  </a:lnTo>
                  <a:lnTo>
                    <a:pt x="496" y="250"/>
                  </a:lnTo>
                  <a:lnTo>
                    <a:pt x="496" y="251"/>
                  </a:lnTo>
                  <a:lnTo>
                    <a:pt x="498" y="251"/>
                  </a:lnTo>
                  <a:lnTo>
                    <a:pt x="496" y="253"/>
                  </a:lnTo>
                  <a:lnTo>
                    <a:pt x="496" y="253"/>
                  </a:lnTo>
                  <a:lnTo>
                    <a:pt x="495" y="254"/>
                  </a:lnTo>
                  <a:lnTo>
                    <a:pt x="492" y="256"/>
                  </a:lnTo>
                  <a:lnTo>
                    <a:pt x="492" y="256"/>
                  </a:lnTo>
                  <a:lnTo>
                    <a:pt x="490" y="256"/>
                  </a:lnTo>
                  <a:lnTo>
                    <a:pt x="490" y="256"/>
                  </a:lnTo>
                  <a:lnTo>
                    <a:pt x="489" y="257"/>
                  </a:lnTo>
                  <a:lnTo>
                    <a:pt x="487" y="259"/>
                  </a:lnTo>
                  <a:lnTo>
                    <a:pt x="487" y="259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2" y="260"/>
                  </a:lnTo>
                  <a:lnTo>
                    <a:pt x="482" y="260"/>
                  </a:lnTo>
                  <a:lnTo>
                    <a:pt x="482" y="260"/>
                  </a:lnTo>
                  <a:lnTo>
                    <a:pt x="482" y="262"/>
                  </a:lnTo>
                  <a:lnTo>
                    <a:pt x="482" y="262"/>
                  </a:lnTo>
                  <a:lnTo>
                    <a:pt x="484" y="262"/>
                  </a:lnTo>
                  <a:lnTo>
                    <a:pt x="485" y="265"/>
                  </a:lnTo>
                  <a:lnTo>
                    <a:pt x="487" y="267"/>
                  </a:lnTo>
                  <a:lnTo>
                    <a:pt x="487" y="267"/>
                  </a:lnTo>
                  <a:lnTo>
                    <a:pt x="492" y="267"/>
                  </a:lnTo>
                  <a:lnTo>
                    <a:pt x="496" y="268"/>
                  </a:lnTo>
                  <a:lnTo>
                    <a:pt x="498" y="268"/>
                  </a:lnTo>
                  <a:lnTo>
                    <a:pt x="499" y="270"/>
                  </a:lnTo>
                  <a:lnTo>
                    <a:pt x="501" y="270"/>
                  </a:lnTo>
                  <a:lnTo>
                    <a:pt x="504" y="271"/>
                  </a:lnTo>
                  <a:lnTo>
                    <a:pt x="506" y="271"/>
                  </a:lnTo>
                  <a:lnTo>
                    <a:pt x="507" y="271"/>
                  </a:lnTo>
                  <a:lnTo>
                    <a:pt x="512" y="271"/>
                  </a:lnTo>
                  <a:lnTo>
                    <a:pt x="515" y="271"/>
                  </a:lnTo>
                  <a:lnTo>
                    <a:pt x="516" y="270"/>
                  </a:lnTo>
                  <a:lnTo>
                    <a:pt x="516" y="270"/>
                  </a:lnTo>
                  <a:close/>
                  <a:moveTo>
                    <a:pt x="399" y="219"/>
                  </a:moveTo>
                  <a:lnTo>
                    <a:pt x="399" y="224"/>
                  </a:lnTo>
                  <a:lnTo>
                    <a:pt x="401" y="224"/>
                  </a:lnTo>
                  <a:lnTo>
                    <a:pt x="404" y="219"/>
                  </a:lnTo>
                  <a:lnTo>
                    <a:pt x="404" y="216"/>
                  </a:lnTo>
                  <a:lnTo>
                    <a:pt x="402" y="214"/>
                  </a:lnTo>
                  <a:lnTo>
                    <a:pt x="401" y="214"/>
                  </a:lnTo>
                  <a:lnTo>
                    <a:pt x="401" y="214"/>
                  </a:lnTo>
                  <a:lnTo>
                    <a:pt x="401" y="216"/>
                  </a:lnTo>
                  <a:lnTo>
                    <a:pt x="401" y="216"/>
                  </a:lnTo>
                  <a:lnTo>
                    <a:pt x="399" y="217"/>
                  </a:lnTo>
                  <a:lnTo>
                    <a:pt x="399" y="219"/>
                  </a:lnTo>
                  <a:close/>
                  <a:moveTo>
                    <a:pt x="36" y="231"/>
                  </a:moveTo>
                  <a:lnTo>
                    <a:pt x="36" y="228"/>
                  </a:lnTo>
                  <a:lnTo>
                    <a:pt x="36" y="227"/>
                  </a:lnTo>
                  <a:lnTo>
                    <a:pt x="34" y="227"/>
                  </a:lnTo>
                  <a:lnTo>
                    <a:pt x="34" y="225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1" y="227"/>
                  </a:lnTo>
                  <a:lnTo>
                    <a:pt x="31" y="227"/>
                  </a:lnTo>
                  <a:lnTo>
                    <a:pt x="28" y="225"/>
                  </a:lnTo>
                  <a:lnTo>
                    <a:pt x="28" y="225"/>
                  </a:lnTo>
                  <a:lnTo>
                    <a:pt x="25" y="225"/>
                  </a:lnTo>
                  <a:lnTo>
                    <a:pt x="25" y="224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2" y="213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23" y="211"/>
                  </a:lnTo>
                  <a:lnTo>
                    <a:pt x="23" y="208"/>
                  </a:lnTo>
                  <a:lnTo>
                    <a:pt x="22" y="208"/>
                  </a:lnTo>
                  <a:lnTo>
                    <a:pt x="17" y="207"/>
                  </a:lnTo>
                  <a:lnTo>
                    <a:pt x="17" y="205"/>
                  </a:lnTo>
                  <a:lnTo>
                    <a:pt x="19" y="205"/>
                  </a:lnTo>
                  <a:lnTo>
                    <a:pt x="19" y="205"/>
                  </a:lnTo>
                  <a:lnTo>
                    <a:pt x="17" y="205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7" y="202"/>
                  </a:lnTo>
                  <a:lnTo>
                    <a:pt x="17" y="200"/>
                  </a:lnTo>
                  <a:lnTo>
                    <a:pt x="22" y="199"/>
                  </a:lnTo>
                  <a:lnTo>
                    <a:pt x="23" y="197"/>
                  </a:lnTo>
                  <a:lnTo>
                    <a:pt x="25" y="196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4"/>
                  </a:lnTo>
                  <a:lnTo>
                    <a:pt x="23" y="194"/>
                  </a:lnTo>
                  <a:lnTo>
                    <a:pt x="23" y="193"/>
                  </a:lnTo>
                  <a:lnTo>
                    <a:pt x="22" y="193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19" y="191"/>
                  </a:lnTo>
                  <a:lnTo>
                    <a:pt x="19" y="190"/>
                  </a:lnTo>
                  <a:lnTo>
                    <a:pt x="17" y="190"/>
                  </a:lnTo>
                  <a:lnTo>
                    <a:pt x="16" y="191"/>
                  </a:lnTo>
                  <a:lnTo>
                    <a:pt x="14" y="191"/>
                  </a:lnTo>
                  <a:lnTo>
                    <a:pt x="11" y="193"/>
                  </a:lnTo>
                  <a:lnTo>
                    <a:pt x="5" y="193"/>
                  </a:lnTo>
                  <a:lnTo>
                    <a:pt x="3" y="193"/>
                  </a:lnTo>
                  <a:lnTo>
                    <a:pt x="3" y="193"/>
                  </a:lnTo>
                  <a:lnTo>
                    <a:pt x="2" y="196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3" y="199"/>
                  </a:lnTo>
                  <a:lnTo>
                    <a:pt x="3" y="200"/>
                  </a:lnTo>
                  <a:lnTo>
                    <a:pt x="3" y="199"/>
                  </a:lnTo>
                  <a:lnTo>
                    <a:pt x="5" y="200"/>
                  </a:lnTo>
                  <a:lnTo>
                    <a:pt x="5" y="202"/>
                  </a:lnTo>
                  <a:lnTo>
                    <a:pt x="5" y="204"/>
                  </a:lnTo>
                  <a:lnTo>
                    <a:pt x="5" y="204"/>
                  </a:lnTo>
                  <a:lnTo>
                    <a:pt x="6" y="204"/>
                  </a:lnTo>
                  <a:lnTo>
                    <a:pt x="8" y="204"/>
                  </a:lnTo>
                  <a:lnTo>
                    <a:pt x="8" y="205"/>
                  </a:lnTo>
                  <a:lnTo>
                    <a:pt x="10" y="210"/>
                  </a:lnTo>
                  <a:lnTo>
                    <a:pt x="11" y="210"/>
                  </a:lnTo>
                  <a:lnTo>
                    <a:pt x="13" y="211"/>
                  </a:lnTo>
                  <a:lnTo>
                    <a:pt x="14" y="213"/>
                  </a:lnTo>
                  <a:lnTo>
                    <a:pt x="16" y="214"/>
                  </a:lnTo>
                  <a:lnTo>
                    <a:pt x="17" y="216"/>
                  </a:lnTo>
                  <a:lnTo>
                    <a:pt x="17" y="220"/>
                  </a:lnTo>
                  <a:lnTo>
                    <a:pt x="17" y="222"/>
                  </a:lnTo>
                  <a:lnTo>
                    <a:pt x="19" y="224"/>
                  </a:lnTo>
                  <a:lnTo>
                    <a:pt x="20" y="225"/>
                  </a:lnTo>
                  <a:lnTo>
                    <a:pt x="19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7" y="228"/>
                  </a:lnTo>
                  <a:lnTo>
                    <a:pt x="28" y="230"/>
                  </a:lnTo>
                  <a:lnTo>
                    <a:pt x="28" y="231"/>
                  </a:lnTo>
                  <a:lnTo>
                    <a:pt x="30" y="231"/>
                  </a:lnTo>
                  <a:lnTo>
                    <a:pt x="31" y="231"/>
                  </a:lnTo>
                  <a:lnTo>
                    <a:pt x="33" y="231"/>
                  </a:lnTo>
                  <a:lnTo>
                    <a:pt x="34" y="233"/>
                  </a:lnTo>
                  <a:lnTo>
                    <a:pt x="36" y="233"/>
                  </a:lnTo>
                  <a:lnTo>
                    <a:pt x="36" y="234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6" y="231"/>
                  </a:lnTo>
                  <a:close/>
                  <a:moveTo>
                    <a:pt x="421" y="174"/>
                  </a:moveTo>
                  <a:lnTo>
                    <a:pt x="421" y="174"/>
                  </a:lnTo>
                  <a:lnTo>
                    <a:pt x="419" y="173"/>
                  </a:lnTo>
                  <a:lnTo>
                    <a:pt x="418" y="171"/>
                  </a:lnTo>
                  <a:lnTo>
                    <a:pt x="413" y="173"/>
                  </a:lnTo>
                  <a:lnTo>
                    <a:pt x="413" y="173"/>
                  </a:lnTo>
                  <a:lnTo>
                    <a:pt x="412" y="173"/>
                  </a:lnTo>
                  <a:lnTo>
                    <a:pt x="412" y="173"/>
                  </a:lnTo>
                  <a:lnTo>
                    <a:pt x="412" y="173"/>
                  </a:lnTo>
                  <a:lnTo>
                    <a:pt x="410" y="171"/>
                  </a:lnTo>
                  <a:lnTo>
                    <a:pt x="405" y="173"/>
                  </a:lnTo>
                  <a:lnTo>
                    <a:pt x="404" y="173"/>
                  </a:lnTo>
                  <a:lnTo>
                    <a:pt x="404" y="174"/>
                  </a:lnTo>
                  <a:lnTo>
                    <a:pt x="404" y="174"/>
                  </a:lnTo>
                  <a:lnTo>
                    <a:pt x="404" y="176"/>
                  </a:lnTo>
                  <a:lnTo>
                    <a:pt x="404" y="176"/>
                  </a:lnTo>
                  <a:lnTo>
                    <a:pt x="404" y="177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5" y="180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4" y="188"/>
                  </a:lnTo>
                  <a:lnTo>
                    <a:pt x="404" y="188"/>
                  </a:lnTo>
                  <a:lnTo>
                    <a:pt x="405" y="188"/>
                  </a:lnTo>
                  <a:lnTo>
                    <a:pt x="405" y="188"/>
                  </a:lnTo>
                  <a:lnTo>
                    <a:pt x="410" y="187"/>
                  </a:lnTo>
                  <a:lnTo>
                    <a:pt x="410" y="187"/>
                  </a:lnTo>
                  <a:lnTo>
                    <a:pt x="410" y="187"/>
                  </a:lnTo>
                  <a:lnTo>
                    <a:pt x="410" y="188"/>
                  </a:lnTo>
                  <a:lnTo>
                    <a:pt x="410" y="188"/>
                  </a:lnTo>
                  <a:lnTo>
                    <a:pt x="412" y="188"/>
                  </a:lnTo>
                  <a:lnTo>
                    <a:pt x="412" y="188"/>
                  </a:lnTo>
                  <a:lnTo>
                    <a:pt x="412" y="187"/>
                  </a:lnTo>
                  <a:lnTo>
                    <a:pt x="413" y="187"/>
                  </a:lnTo>
                  <a:lnTo>
                    <a:pt x="413" y="187"/>
                  </a:lnTo>
                  <a:lnTo>
                    <a:pt x="413" y="188"/>
                  </a:lnTo>
                  <a:lnTo>
                    <a:pt x="412" y="190"/>
                  </a:lnTo>
                  <a:lnTo>
                    <a:pt x="415" y="191"/>
                  </a:lnTo>
                  <a:lnTo>
                    <a:pt x="415" y="191"/>
                  </a:lnTo>
                  <a:lnTo>
                    <a:pt x="416" y="191"/>
                  </a:lnTo>
                  <a:lnTo>
                    <a:pt x="418" y="191"/>
                  </a:lnTo>
                  <a:lnTo>
                    <a:pt x="416" y="190"/>
                  </a:lnTo>
                  <a:lnTo>
                    <a:pt x="416" y="188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8"/>
                  </a:lnTo>
                  <a:lnTo>
                    <a:pt x="415" y="187"/>
                  </a:lnTo>
                  <a:lnTo>
                    <a:pt x="415" y="185"/>
                  </a:lnTo>
                  <a:lnTo>
                    <a:pt x="416" y="183"/>
                  </a:lnTo>
                  <a:lnTo>
                    <a:pt x="418" y="183"/>
                  </a:lnTo>
                  <a:lnTo>
                    <a:pt x="418" y="183"/>
                  </a:lnTo>
                  <a:lnTo>
                    <a:pt x="416" y="183"/>
                  </a:lnTo>
                  <a:lnTo>
                    <a:pt x="416" y="183"/>
                  </a:lnTo>
                  <a:lnTo>
                    <a:pt x="416" y="183"/>
                  </a:lnTo>
                  <a:lnTo>
                    <a:pt x="419" y="180"/>
                  </a:lnTo>
                  <a:lnTo>
                    <a:pt x="419" y="180"/>
                  </a:lnTo>
                  <a:lnTo>
                    <a:pt x="421" y="180"/>
                  </a:lnTo>
                  <a:lnTo>
                    <a:pt x="421" y="182"/>
                  </a:lnTo>
                  <a:lnTo>
                    <a:pt x="422" y="183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19" y="187"/>
                  </a:lnTo>
                  <a:lnTo>
                    <a:pt x="419" y="187"/>
                  </a:lnTo>
                  <a:lnTo>
                    <a:pt x="421" y="188"/>
                  </a:lnTo>
                  <a:lnTo>
                    <a:pt x="422" y="190"/>
                  </a:lnTo>
                  <a:lnTo>
                    <a:pt x="422" y="190"/>
                  </a:lnTo>
                  <a:lnTo>
                    <a:pt x="422" y="190"/>
                  </a:lnTo>
                  <a:lnTo>
                    <a:pt x="422" y="191"/>
                  </a:lnTo>
                  <a:lnTo>
                    <a:pt x="424" y="191"/>
                  </a:lnTo>
                  <a:lnTo>
                    <a:pt x="425" y="193"/>
                  </a:lnTo>
                  <a:lnTo>
                    <a:pt x="425" y="193"/>
                  </a:lnTo>
                  <a:lnTo>
                    <a:pt x="427" y="193"/>
                  </a:lnTo>
                  <a:lnTo>
                    <a:pt x="427" y="193"/>
                  </a:lnTo>
                  <a:lnTo>
                    <a:pt x="427" y="191"/>
                  </a:lnTo>
                  <a:lnTo>
                    <a:pt x="427" y="191"/>
                  </a:lnTo>
                  <a:lnTo>
                    <a:pt x="428" y="191"/>
                  </a:lnTo>
                  <a:lnTo>
                    <a:pt x="428" y="190"/>
                  </a:lnTo>
                  <a:lnTo>
                    <a:pt x="428" y="190"/>
                  </a:lnTo>
                  <a:lnTo>
                    <a:pt x="428" y="190"/>
                  </a:lnTo>
                  <a:lnTo>
                    <a:pt x="427" y="188"/>
                  </a:lnTo>
                  <a:lnTo>
                    <a:pt x="427" y="188"/>
                  </a:lnTo>
                  <a:lnTo>
                    <a:pt x="427" y="187"/>
                  </a:lnTo>
                  <a:lnTo>
                    <a:pt x="427" y="185"/>
                  </a:lnTo>
                  <a:lnTo>
                    <a:pt x="425" y="185"/>
                  </a:lnTo>
                  <a:lnTo>
                    <a:pt x="427" y="183"/>
                  </a:lnTo>
                  <a:lnTo>
                    <a:pt x="427" y="183"/>
                  </a:lnTo>
                  <a:lnTo>
                    <a:pt x="428" y="182"/>
                  </a:lnTo>
                  <a:lnTo>
                    <a:pt x="428" y="182"/>
                  </a:lnTo>
                  <a:lnTo>
                    <a:pt x="427" y="182"/>
                  </a:lnTo>
                  <a:lnTo>
                    <a:pt x="427" y="180"/>
                  </a:lnTo>
                  <a:lnTo>
                    <a:pt x="428" y="180"/>
                  </a:lnTo>
                  <a:lnTo>
                    <a:pt x="428" y="180"/>
                  </a:lnTo>
                  <a:lnTo>
                    <a:pt x="430" y="180"/>
                  </a:lnTo>
                  <a:lnTo>
                    <a:pt x="430" y="177"/>
                  </a:lnTo>
                  <a:lnTo>
                    <a:pt x="430" y="176"/>
                  </a:lnTo>
                  <a:lnTo>
                    <a:pt x="433" y="174"/>
                  </a:lnTo>
                  <a:lnTo>
                    <a:pt x="435" y="174"/>
                  </a:lnTo>
                  <a:lnTo>
                    <a:pt x="435" y="173"/>
                  </a:lnTo>
                  <a:lnTo>
                    <a:pt x="435" y="173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0"/>
                  </a:lnTo>
                  <a:lnTo>
                    <a:pt x="435" y="170"/>
                  </a:lnTo>
                  <a:lnTo>
                    <a:pt x="432" y="170"/>
                  </a:lnTo>
                  <a:lnTo>
                    <a:pt x="432" y="171"/>
                  </a:lnTo>
                  <a:lnTo>
                    <a:pt x="430" y="171"/>
                  </a:lnTo>
                  <a:lnTo>
                    <a:pt x="430" y="171"/>
                  </a:lnTo>
                  <a:lnTo>
                    <a:pt x="428" y="171"/>
                  </a:lnTo>
                  <a:lnTo>
                    <a:pt x="427" y="174"/>
                  </a:lnTo>
                  <a:lnTo>
                    <a:pt x="427" y="174"/>
                  </a:lnTo>
                  <a:lnTo>
                    <a:pt x="425" y="176"/>
                  </a:lnTo>
                  <a:lnTo>
                    <a:pt x="424" y="176"/>
                  </a:lnTo>
                  <a:lnTo>
                    <a:pt x="422" y="177"/>
                  </a:lnTo>
                  <a:lnTo>
                    <a:pt x="422" y="176"/>
                  </a:lnTo>
                  <a:lnTo>
                    <a:pt x="421" y="174"/>
                  </a:lnTo>
                  <a:close/>
                  <a:moveTo>
                    <a:pt x="452" y="127"/>
                  </a:moveTo>
                  <a:lnTo>
                    <a:pt x="452" y="125"/>
                  </a:lnTo>
                  <a:lnTo>
                    <a:pt x="450" y="125"/>
                  </a:lnTo>
                  <a:lnTo>
                    <a:pt x="444" y="122"/>
                  </a:lnTo>
                  <a:lnTo>
                    <a:pt x="441" y="122"/>
                  </a:lnTo>
                  <a:lnTo>
                    <a:pt x="439" y="123"/>
                  </a:lnTo>
                  <a:lnTo>
                    <a:pt x="435" y="127"/>
                  </a:lnTo>
                  <a:lnTo>
                    <a:pt x="433" y="127"/>
                  </a:lnTo>
                  <a:lnTo>
                    <a:pt x="435" y="127"/>
                  </a:lnTo>
                  <a:lnTo>
                    <a:pt x="436" y="128"/>
                  </a:lnTo>
                  <a:lnTo>
                    <a:pt x="441" y="133"/>
                  </a:lnTo>
                  <a:lnTo>
                    <a:pt x="442" y="134"/>
                  </a:lnTo>
                  <a:lnTo>
                    <a:pt x="445" y="134"/>
                  </a:lnTo>
                  <a:lnTo>
                    <a:pt x="452" y="131"/>
                  </a:lnTo>
                  <a:lnTo>
                    <a:pt x="453" y="131"/>
                  </a:lnTo>
                  <a:lnTo>
                    <a:pt x="452" y="130"/>
                  </a:lnTo>
                  <a:lnTo>
                    <a:pt x="453" y="128"/>
                  </a:lnTo>
                  <a:lnTo>
                    <a:pt x="452" y="127"/>
                  </a:lnTo>
                  <a:close/>
                  <a:moveTo>
                    <a:pt x="385" y="102"/>
                  </a:moveTo>
                  <a:lnTo>
                    <a:pt x="385" y="100"/>
                  </a:lnTo>
                  <a:lnTo>
                    <a:pt x="384" y="100"/>
                  </a:lnTo>
                  <a:lnTo>
                    <a:pt x="384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1" y="97"/>
                  </a:lnTo>
                  <a:lnTo>
                    <a:pt x="381" y="97"/>
                  </a:lnTo>
                  <a:lnTo>
                    <a:pt x="381" y="96"/>
                  </a:lnTo>
                  <a:lnTo>
                    <a:pt x="379" y="96"/>
                  </a:lnTo>
                  <a:lnTo>
                    <a:pt x="376" y="96"/>
                  </a:lnTo>
                  <a:lnTo>
                    <a:pt x="375" y="94"/>
                  </a:lnTo>
                  <a:lnTo>
                    <a:pt x="368" y="99"/>
                  </a:lnTo>
                  <a:lnTo>
                    <a:pt x="365" y="103"/>
                  </a:lnTo>
                  <a:lnTo>
                    <a:pt x="365" y="105"/>
                  </a:lnTo>
                  <a:lnTo>
                    <a:pt x="364" y="108"/>
                  </a:lnTo>
                  <a:lnTo>
                    <a:pt x="365" y="111"/>
                  </a:lnTo>
                  <a:lnTo>
                    <a:pt x="365" y="111"/>
                  </a:lnTo>
                  <a:lnTo>
                    <a:pt x="367" y="111"/>
                  </a:lnTo>
                  <a:lnTo>
                    <a:pt x="370" y="111"/>
                  </a:lnTo>
                  <a:lnTo>
                    <a:pt x="370" y="113"/>
                  </a:lnTo>
                  <a:lnTo>
                    <a:pt x="372" y="113"/>
                  </a:lnTo>
                  <a:lnTo>
                    <a:pt x="372" y="113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3" y="116"/>
                  </a:lnTo>
                  <a:lnTo>
                    <a:pt x="375" y="116"/>
                  </a:lnTo>
                  <a:lnTo>
                    <a:pt x="375" y="117"/>
                  </a:lnTo>
                  <a:lnTo>
                    <a:pt x="375" y="117"/>
                  </a:lnTo>
                  <a:lnTo>
                    <a:pt x="378" y="114"/>
                  </a:lnTo>
                  <a:lnTo>
                    <a:pt x="378" y="114"/>
                  </a:lnTo>
                  <a:lnTo>
                    <a:pt x="381" y="114"/>
                  </a:lnTo>
                  <a:lnTo>
                    <a:pt x="382" y="114"/>
                  </a:lnTo>
                  <a:lnTo>
                    <a:pt x="382" y="113"/>
                  </a:lnTo>
                  <a:lnTo>
                    <a:pt x="382" y="113"/>
                  </a:lnTo>
                  <a:lnTo>
                    <a:pt x="384" y="113"/>
                  </a:lnTo>
                  <a:lnTo>
                    <a:pt x="384" y="113"/>
                  </a:lnTo>
                  <a:lnTo>
                    <a:pt x="385" y="113"/>
                  </a:lnTo>
                  <a:lnTo>
                    <a:pt x="384" y="111"/>
                  </a:lnTo>
                  <a:lnTo>
                    <a:pt x="384" y="111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5" y="105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2" y="102"/>
                  </a:lnTo>
                  <a:lnTo>
                    <a:pt x="384" y="102"/>
                  </a:lnTo>
                  <a:lnTo>
                    <a:pt x="385" y="102"/>
                  </a:lnTo>
                  <a:close/>
                  <a:moveTo>
                    <a:pt x="271" y="424"/>
                  </a:moveTo>
                  <a:lnTo>
                    <a:pt x="271" y="424"/>
                  </a:lnTo>
                  <a:lnTo>
                    <a:pt x="271" y="424"/>
                  </a:lnTo>
                  <a:lnTo>
                    <a:pt x="271" y="422"/>
                  </a:lnTo>
                  <a:lnTo>
                    <a:pt x="270" y="422"/>
                  </a:lnTo>
                  <a:lnTo>
                    <a:pt x="270" y="422"/>
                  </a:lnTo>
                  <a:lnTo>
                    <a:pt x="268" y="422"/>
                  </a:lnTo>
                  <a:lnTo>
                    <a:pt x="268" y="421"/>
                  </a:lnTo>
                  <a:lnTo>
                    <a:pt x="271" y="421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6" y="419"/>
                  </a:lnTo>
                  <a:lnTo>
                    <a:pt x="285" y="418"/>
                  </a:lnTo>
                  <a:lnTo>
                    <a:pt x="285" y="418"/>
                  </a:lnTo>
                  <a:lnTo>
                    <a:pt x="290" y="418"/>
                  </a:lnTo>
                  <a:lnTo>
                    <a:pt x="291" y="416"/>
                  </a:lnTo>
                  <a:lnTo>
                    <a:pt x="291" y="416"/>
                  </a:lnTo>
                  <a:lnTo>
                    <a:pt x="291" y="414"/>
                  </a:lnTo>
                  <a:lnTo>
                    <a:pt x="290" y="414"/>
                  </a:lnTo>
                  <a:lnTo>
                    <a:pt x="291" y="414"/>
                  </a:lnTo>
                  <a:lnTo>
                    <a:pt x="291" y="414"/>
                  </a:lnTo>
                  <a:lnTo>
                    <a:pt x="288" y="411"/>
                  </a:lnTo>
                  <a:lnTo>
                    <a:pt x="287" y="411"/>
                  </a:lnTo>
                  <a:lnTo>
                    <a:pt x="284" y="410"/>
                  </a:lnTo>
                  <a:lnTo>
                    <a:pt x="282" y="410"/>
                  </a:lnTo>
                  <a:lnTo>
                    <a:pt x="282" y="408"/>
                  </a:lnTo>
                  <a:lnTo>
                    <a:pt x="281" y="408"/>
                  </a:lnTo>
                  <a:lnTo>
                    <a:pt x="281" y="408"/>
                  </a:lnTo>
                  <a:lnTo>
                    <a:pt x="282" y="408"/>
                  </a:lnTo>
                  <a:lnTo>
                    <a:pt x="284" y="408"/>
                  </a:lnTo>
                  <a:lnTo>
                    <a:pt x="284" y="407"/>
                  </a:lnTo>
                  <a:lnTo>
                    <a:pt x="282" y="407"/>
                  </a:lnTo>
                  <a:lnTo>
                    <a:pt x="281" y="407"/>
                  </a:lnTo>
                  <a:lnTo>
                    <a:pt x="281" y="405"/>
                  </a:lnTo>
                  <a:lnTo>
                    <a:pt x="279" y="405"/>
                  </a:lnTo>
                  <a:lnTo>
                    <a:pt x="281" y="404"/>
                  </a:lnTo>
                  <a:lnTo>
                    <a:pt x="282" y="401"/>
                  </a:lnTo>
                  <a:lnTo>
                    <a:pt x="282" y="399"/>
                  </a:lnTo>
                  <a:lnTo>
                    <a:pt x="282" y="398"/>
                  </a:lnTo>
                  <a:lnTo>
                    <a:pt x="278" y="398"/>
                  </a:lnTo>
                  <a:lnTo>
                    <a:pt x="276" y="399"/>
                  </a:lnTo>
                  <a:lnTo>
                    <a:pt x="274" y="399"/>
                  </a:lnTo>
                  <a:lnTo>
                    <a:pt x="274" y="401"/>
                  </a:lnTo>
                  <a:lnTo>
                    <a:pt x="278" y="401"/>
                  </a:lnTo>
                  <a:lnTo>
                    <a:pt x="279" y="404"/>
                  </a:lnTo>
                  <a:lnTo>
                    <a:pt x="279" y="405"/>
                  </a:lnTo>
                  <a:lnTo>
                    <a:pt x="278" y="407"/>
                  </a:lnTo>
                  <a:lnTo>
                    <a:pt x="276" y="407"/>
                  </a:lnTo>
                  <a:lnTo>
                    <a:pt x="274" y="407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0" y="402"/>
                  </a:lnTo>
                  <a:lnTo>
                    <a:pt x="268" y="402"/>
                  </a:lnTo>
                  <a:lnTo>
                    <a:pt x="267" y="401"/>
                  </a:lnTo>
                  <a:lnTo>
                    <a:pt x="265" y="399"/>
                  </a:lnTo>
                  <a:lnTo>
                    <a:pt x="264" y="399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4" y="394"/>
                  </a:lnTo>
                  <a:lnTo>
                    <a:pt x="264" y="393"/>
                  </a:lnTo>
                  <a:lnTo>
                    <a:pt x="264" y="391"/>
                  </a:lnTo>
                  <a:lnTo>
                    <a:pt x="265" y="390"/>
                  </a:lnTo>
                  <a:lnTo>
                    <a:pt x="264" y="390"/>
                  </a:lnTo>
                  <a:lnTo>
                    <a:pt x="262" y="390"/>
                  </a:lnTo>
                  <a:lnTo>
                    <a:pt x="261" y="388"/>
                  </a:lnTo>
                  <a:lnTo>
                    <a:pt x="261" y="387"/>
                  </a:lnTo>
                  <a:lnTo>
                    <a:pt x="261" y="387"/>
                  </a:lnTo>
                  <a:lnTo>
                    <a:pt x="262" y="385"/>
                  </a:lnTo>
                  <a:lnTo>
                    <a:pt x="264" y="385"/>
                  </a:lnTo>
                  <a:lnTo>
                    <a:pt x="265" y="385"/>
                  </a:lnTo>
                  <a:lnTo>
                    <a:pt x="265" y="385"/>
                  </a:lnTo>
                  <a:lnTo>
                    <a:pt x="265" y="384"/>
                  </a:lnTo>
                  <a:lnTo>
                    <a:pt x="265" y="384"/>
                  </a:lnTo>
                  <a:lnTo>
                    <a:pt x="265" y="382"/>
                  </a:lnTo>
                  <a:lnTo>
                    <a:pt x="265" y="382"/>
                  </a:lnTo>
                  <a:lnTo>
                    <a:pt x="264" y="381"/>
                  </a:lnTo>
                  <a:lnTo>
                    <a:pt x="262" y="379"/>
                  </a:lnTo>
                  <a:lnTo>
                    <a:pt x="261" y="378"/>
                  </a:lnTo>
                  <a:lnTo>
                    <a:pt x="259" y="378"/>
                  </a:lnTo>
                  <a:lnTo>
                    <a:pt x="258" y="379"/>
                  </a:lnTo>
                  <a:lnTo>
                    <a:pt x="256" y="378"/>
                  </a:lnTo>
                  <a:lnTo>
                    <a:pt x="254" y="378"/>
                  </a:lnTo>
                  <a:lnTo>
                    <a:pt x="253" y="378"/>
                  </a:lnTo>
                  <a:lnTo>
                    <a:pt x="251" y="376"/>
                  </a:lnTo>
                  <a:lnTo>
                    <a:pt x="251" y="374"/>
                  </a:lnTo>
                  <a:lnTo>
                    <a:pt x="251" y="373"/>
                  </a:lnTo>
                  <a:lnTo>
                    <a:pt x="253" y="373"/>
                  </a:lnTo>
                  <a:lnTo>
                    <a:pt x="253" y="371"/>
                  </a:lnTo>
                  <a:lnTo>
                    <a:pt x="253" y="371"/>
                  </a:lnTo>
                  <a:lnTo>
                    <a:pt x="253" y="370"/>
                  </a:lnTo>
                  <a:lnTo>
                    <a:pt x="254" y="371"/>
                  </a:lnTo>
                  <a:lnTo>
                    <a:pt x="254" y="371"/>
                  </a:lnTo>
                  <a:lnTo>
                    <a:pt x="254" y="371"/>
                  </a:lnTo>
                  <a:lnTo>
                    <a:pt x="256" y="370"/>
                  </a:lnTo>
                  <a:lnTo>
                    <a:pt x="259" y="371"/>
                  </a:lnTo>
                  <a:lnTo>
                    <a:pt x="262" y="370"/>
                  </a:lnTo>
                  <a:lnTo>
                    <a:pt x="264" y="370"/>
                  </a:lnTo>
                  <a:lnTo>
                    <a:pt x="267" y="367"/>
                  </a:lnTo>
                  <a:lnTo>
                    <a:pt x="268" y="365"/>
                  </a:lnTo>
                  <a:lnTo>
                    <a:pt x="276" y="365"/>
                  </a:lnTo>
                  <a:lnTo>
                    <a:pt x="282" y="365"/>
                  </a:lnTo>
                  <a:lnTo>
                    <a:pt x="284" y="365"/>
                  </a:lnTo>
                  <a:lnTo>
                    <a:pt x="281" y="365"/>
                  </a:lnTo>
                  <a:lnTo>
                    <a:pt x="282" y="364"/>
                  </a:lnTo>
                  <a:lnTo>
                    <a:pt x="285" y="362"/>
                  </a:lnTo>
                  <a:lnTo>
                    <a:pt x="287" y="361"/>
                  </a:lnTo>
                  <a:lnTo>
                    <a:pt x="287" y="361"/>
                  </a:lnTo>
                  <a:lnTo>
                    <a:pt x="288" y="361"/>
                  </a:lnTo>
                  <a:lnTo>
                    <a:pt x="290" y="361"/>
                  </a:lnTo>
                  <a:lnTo>
                    <a:pt x="290" y="361"/>
                  </a:lnTo>
                  <a:lnTo>
                    <a:pt x="290" y="359"/>
                  </a:lnTo>
                  <a:lnTo>
                    <a:pt x="291" y="359"/>
                  </a:lnTo>
                  <a:lnTo>
                    <a:pt x="293" y="359"/>
                  </a:lnTo>
                  <a:lnTo>
                    <a:pt x="294" y="359"/>
                  </a:lnTo>
                  <a:lnTo>
                    <a:pt x="294" y="359"/>
                  </a:lnTo>
                  <a:lnTo>
                    <a:pt x="294" y="359"/>
                  </a:lnTo>
                  <a:lnTo>
                    <a:pt x="296" y="361"/>
                  </a:lnTo>
                  <a:lnTo>
                    <a:pt x="296" y="362"/>
                  </a:lnTo>
                  <a:lnTo>
                    <a:pt x="296" y="362"/>
                  </a:lnTo>
                  <a:lnTo>
                    <a:pt x="293" y="365"/>
                  </a:lnTo>
                  <a:lnTo>
                    <a:pt x="293" y="367"/>
                  </a:lnTo>
                  <a:lnTo>
                    <a:pt x="294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8" y="367"/>
                  </a:lnTo>
                  <a:lnTo>
                    <a:pt x="298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70"/>
                  </a:lnTo>
                  <a:lnTo>
                    <a:pt x="299" y="370"/>
                  </a:lnTo>
                  <a:lnTo>
                    <a:pt x="299" y="370"/>
                  </a:lnTo>
                  <a:lnTo>
                    <a:pt x="301" y="370"/>
                  </a:lnTo>
                  <a:lnTo>
                    <a:pt x="301" y="368"/>
                  </a:lnTo>
                  <a:lnTo>
                    <a:pt x="302" y="368"/>
                  </a:lnTo>
                  <a:lnTo>
                    <a:pt x="304" y="370"/>
                  </a:lnTo>
                  <a:lnTo>
                    <a:pt x="304" y="370"/>
                  </a:lnTo>
                  <a:lnTo>
                    <a:pt x="307" y="374"/>
                  </a:lnTo>
                  <a:lnTo>
                    <a:pt x="307" y="378"/>
                  </a:lnTo>
                  <a:lnTo>
                    <a:pt x="308" y="379"/>
                  </a:lnTo>
                  <a:lnTo>
                    <a:pt x="310" y="379"/>
                  </a:lnTo>
                  <a:lnTo>
                    <a:pt x="308" y="381"/>
                  </a:lnTo>
                  <a:lnTo>
                    <a:pt x="310" y="381"/>
                  </a:lnTo>
                  <a:lnTo>
                    <a:pt x="310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1"/>
                  </a:lnTo>
                  <a:lnTo>
                    <a:pt x="311" y="382"/>
                  </a:lnTo>
                  <a:lnTo>
                    <a:pt x="311" y="382"/>
                  </a:lnTo>
                  <a:lnTo>
                    <a:pt x="313" y="379"/>
                  </a:lnTo>
                  <a:lnTo>
                    <a:pt x="313" y="379"/>
                  </a:lnTo>
                  <a:lnTo>
                    <a:pt x="313" y="381"/>
                  </a:lnTo>
                  <a:lnTo>
                    <a:pt x="313" y="381"/>
                  </a:lnTo>
                  <a:lnTo>
                    <a:pt x="313" y="381"/>
                  </a:lnTo>
                  <a:lnTo>
                    <a:pt x="315" y="381"/>
                  </a:lnTo>
                  <a:lnTo>
                    <a:pt x="315" y="381"/>
                  </a:lnTo>
                  <a:lnTo>
                    <a:pt x="316" y="382"/>
                  </a:lnTo>
                  <a:lnTo>
                    <a:pt x="318" y="384"/>
                  </a:lnTo>
                  <a:lnTo>
                    <a:pt x="318" y="385"/>
                  </a:lnTo>
                  <a:lnTo>
                    <a:pt x="319" y="384"/>
                  </a:lnTo>
                  <a:lnTo>
                    <a:pt x="319" y="384"/>
                  </a:lnTo>
                  <a:lnTo>
                    <a:pt x="321" y="388"/>
                  </a:lnTo>
                  <a:lnTo>
                    <a:pt x="321" y="390"/>
                  </a:lnTo>
                  <a:lnTo>
                    <a:pt x="322" y="390"/>
                  </a:lnTo>
                  <a:lnTo>
                    <a:pt x="322" y="390"/>
                  </a:lnTo>
                  <a:lnTo>
                    <a:pt x="322" y="393"/>
                  </a:lnTo>
                  <a:lnTo>
                    <a:pt x="322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8" y="396"/>
                  </a:lnTo>
                  <a:lnTo>
                    <a:pt x="328" y="396"/>
                  </a:lnTo>
                  <a:lnTo>
                    <a:pt x="330" y="394"/>
                  </a:lnTo>
                  <a:lnTo>
                    <a:pt x="331" y="393"/>
                  </a:lnTo>
                  <a:lnTo>
                    <a:pt x="331" y="393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88"/>
                  </a:lnTo>
                  <a:lnTo>
                    <a:pt x="333" y="387"/>
                  </a:lnTo>
                  <a:lnTo>
                    <a:pt x="333" y="385"/>
                  </a:lnTo>
                  <a:lnTo>
                    <a:pt x="333" y="384"/>
                  </a:lnTo>
                  <a:lnTo>
                    <a:pt x="333" y="382"/>
                  </a:lnTo>
                  <a:lnTo>
                    <a:pt x="331" y="381"/>
                  </a:lnTo>
                  <a:lnTo>
                    <a:pt x="330" y="381"/>
                  </a:lnTo>
                  <a:lnTo>
                    <a:pt x="330" y="379"/>
                  </a:lnTo>
                  <a:lnTo>
                    <a:pt x="330" y="379"/>
                  </a:lnTo>
                  <a:lnTo>
                    <a:pt x="331" y="379"/>
                  </a:lnTo>
                  <a:lnTo>
                    <a:pt x="331" y="379"/>
                  </a:lnTo>
                  <a:lnTo>
                    <a:pt x="331" y="378"/>
                  </a:lnTo>
                  <a:lnTo>
                    <a:pt x="331" y="378"/>
                  </a:lnTo>
                  <a:lnTo>
                    <a:pt x="331" y="378"/>
                  </a:lnTo>
                  <a:lnTo>
                    <a:pt x="331" y="376"/>
                  </a:lnTo>
                  <a:lnTo>
                    <a:pt x="330" y="376"/>
                  </a:lnTo>
                  <a:lnTo>
                    <a:pt x="330" y="376"/>
                  </a:lnTo>
                  <a:lnTo>
                    <a:pt x="330" y="374"/>
                  </a:lnTo>
                  <a:lnTo>
                    <a:pt x="330" y="374"/>
                  </a:lnTo>
                  <a:lnTo>
                    <a:pt x="328" y="374"/>
                  </a:lnTo>
                  <a:lnTo>
                    <a:pt x="328" y="374"/>
                  </a:lnTo>
                  <a:lnTo>
                    <a:pt x="327" y="373"/>
                  </a:lnTo>
                  <a:lnTo>
                    <a:pt x="330" y="373"/>
                  </a:lnTo>
                  <a:lnTo>
                    <a:pt x="330" y="373"/>
                  </a:lnTo>
                  <a:lnTo>
                    <a:pt x="330" y="371"/>
                  </a:lnTo>
                  <a:lnTo>
                    <a:pt x="328" y="371"/>
                  </a:lnTo>
                  <a:lnTo>
                    <a:pt x="328" y="370"/>
                  </a:lnTo>
                  <a:lnTo>
                    <a:pt x="327" y="370"/>
                  </a:lnTo>
                  <a:lnTo>
                    <a:pt x="327" y="370"/>
                  </a:lnTo>
                  <a:lnTo>
                    <a:pt x="327" y="368"/>
                  </a:lnTo>
                  <a:lnTo>
                    <a:pt x="327" y="367"/>
                  </a:lnTo>
                  <a:lnTo>
                    <a:pt x="327" y="367"/>
                  </a:lnTo>
                  <a:lnTo>
                    <a:pt x="328" y="365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8" y="362"/>
                  </a:lnTo>
                  <a:lnTo>
                    <a:pt x="328" y="361"/>
                  </a:lnTo>
                  <a:lnTo>
                    <a:pt x="327" y="359"/>
                  </a:lnTo>
                  <a:lnTo>
                    <a:pt x="327" y="357"/>
                  </a:lnTo>
                  <a:lnTo>
                    <a:pt x="325" y="354"/>
                  </a:lnTo>
                  <a:lnTo>
                    <a:pt x="325" y="351"/>
                  </a:lnTo>
                  <a:lnTo>
                    <a:pt x="330" y="350"/>
                  </a:lnTo>
                  <a:lnTo>
                    <a:pt x="330" y="350"/>
                  </a:lnTo>
                  <a:lnTo>
                    <a:pt x="331" y="351"/>
                  </a:lnTo>
                  <a:lnTo>
                    <a:pt x="331" y="350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3" y="348"/>
                  </a:lnTo>
                  <a:lnTo>
                    <a:pt x="331" y="347"/>
                  </a:lnTo>
                  <a:lnTo>
                    <a:pt x="331" y="347"/>
                  </a:lnTo>
                  <a:lnTo>
                    <a:pt x="331" y="345"/>
                  </a:lnTo>
                  <a:lnTo>
                    <a:pt x="331" y="345"/>
                  </a:lnTo>
                  <a:lnTo>
                    <a:pt x="331" y="344"/>
                  </a:lnTo>
                  <a:lnTo>
                    <a:pt x="330" y="344"/>
                  </a:lnTo>
                  <a:lnTo>
                    <a:pt x="330" y="344"/>
                  </a:lnTo>
                  <a:lnTo>
                    <a:pt x="330" y="342"/>
                  </a:lnTo>
                  <a:lnTo>
                    <a:pt x="325" y="339"/>
                  </a:lnTo>
                  <a:lnTo>
                    <a:pt x="324" y="337"/>
                  </a:lnTo>
                  <a:lnTo>
                    <a:pt x="322" y="336"/>
                  </a:lnTo>
                  <a:lnTo>
                    <a:pt x="321" y="336"/>
                  </a:lnTo>
                  <a:lnTo>
                    <a:pt x="319" y="336"/>
                  </a:lnTo>
                  <a:lnTo>
                    <a:pt x="313" y="333"/>
                  </a:lnTo>
                  <a:lnTo>
                    <a:pt x="311" y="333"/>
                  </a:lnTo>
                  <a:lnTo>
                    <a:pt x="310" y="331"/>
                  </a:lnTo>
                  <a:lnTo>
                    <a:pt x="305" y="331"/>
                  </a:lnTo>
                  <a:lnTo>
                    <a:pt x="305" y="331"/>
                  </a:lnTo>
                  <a:lnTo>
                    <a:pt x="302" y="330"/>
                  </a:lnTo>
                  <a:lnTo>
                    <a:pt x="299" y="324"/>
                  </a:lnTo>
                  <a:lnTo>
                    <a:pt x="296" y="324"/>
                  </a:lnTo>
                  <a:lnTo>
                    <a:pt x="296" y="322"/>
                  </a:lnTo>
                  <a:lnTo>
                    <a:pt x="296" y="322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4" y="316"/>
                  </a:lnTo>
                  <a:lnTo>
                    <a:pt x="293" y="314"/>
                  </a:lnTo>
                  <a:lnTo>
                    <a:pt x="291" y="316"/>
                  </a:lnTo>
                  <a:lnTo>
                    <a:pt x="290" y="317"/>
                  </a:lnTo>
                  <a:lnTo>
                    <a:pt x="284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8" y="314"/>
                  </a:lnTo>
                  <a:lnTo>
                    <a:pt x="278" y="314"/>
                  </a:lnTo>
                  <a:lnTo>
                    <a:pt x="279" y="314"/>
                  </a:lnTo>
                  <a:lnTo>
                    <a:pt x="281" y="313"/>
                  </a:lnTo>
                  <a:lnTo>
                    <a:pt x="281" y="313"/>
                  </a:lnTo>
                  <a:lnTo>
                    <a:pt x="279" y="313"/>
                  </a:lnTo>
                  <a:lnTo>
                    <a:pt x="278" y="311"/>
                  </a:lnTo>
                  <a:lnTo>
                    <a:pt x="276" y="311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4" y="310"/>
                  </a:lnTo>
                  <a:lnTo>
                    <a:pt x="273" y="311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6" y="307"/>
                  </a:lnTo>
                  <a:lnTo>
                    <a:pt x="276" y="307"/>
                  </a:lnTo>
                  <a:lnTo>
                    <a:pt x="278" y="305"/>
                  </a:lnTo>
                  <a:lnTo>
                    <a:pt x="276" y="304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3" y="301"/>
                  </a:lnTo>
                  <a:lnTo>
                    <a:pt x="271" y="301"/>
                  </a:lnTo>
                  <a:lnTo>
                    <a:pt x="270" y="301"/>
                  </a:lnTo>
                  <a:lnTo>
                    <a:pt x="267" y="299"/>
                  </a:lnTo>
                  <a:lnTo>
                    <a:pt x="265" y="299"/>
                  </a:lnTo>
                  <a:lnTo>
                    <a:pt x="265" y="299"/>
                  </a:lnTo>
                  <a:lnTo>
                    <a:pt x="265" y="299"/>
                  </a:lnTo>
                  <a:lnTo>
                    <a:pt x="267" y="301"/>
                  </a:lnTo>
                  <a:lnTo>
                    <a:pt x="265" y="302"/>
                  </a:lnTo>
                  <a:lnTo>
                    <a:pt x="265" y="302"/>
                  </a:lnTo>
                  <a:lnTo>
                    <a:pt x="264" y="302"/>
                  </a:lnTo>
                  <a:lnTo>
                    <a:pt x="262" y="302"/>
                  </a:lnTo>
                  <a:lnTo>
                    <a:pt x="262" y="304"/>
                  </a:lnTo>
                  <a:lnTo>
                    <a:pt x="261" y="304"/>
                  </a:lnTo>
                  <a:lnTo>
                    <a:pt x="259" y="304"/>
                  </a:lnTo>
                  <a:lnTo>
                    <a:pt x="259" y="302"/>
                  </a:lnTo>
                  <a:lnTo>
                    <a:pt x="256" y="294"/>
                  </a:lnTo>
                  <a:lnTo>
                    <a:pt x="254" y="293"/>
                  </a:lnTo>
                  <a:lnTo>
                    <a:pt x="253" y="293"/>
                  </a:lnTo>
                  <a:lnTo>
                    <a:pt x="248" y="293"/>
                  </a:lnTo>
                  <a:lnTo>
                    <a:pt x="248" y="291"/>
                  </a:lnTo>
                  <a:lnTo>
                    <a:pt x="247" y="290"/>
                  </a:lnTo>
                  <a:lnTo>
                    <a:pt x="245" y="290"/>
                  </a:lnTo>
                  <a:lnTo>
                    <a:pt x="244" y="290"/>
                  </a:lnTo>
                  <a:lnTo>
                    <a:pt x="244" y="291"/>
                  </a:lnTo>
                  <a:lnTo>
                    <a:pt x="242" y="293"/>
                  </a:lnTo>
                  <a:lnTo>
                    <a:pt x="242" y="291"/>
                  </a:lnTo>
                  <a:lnTo>
                    <a:pt x="241" y="290"/>
                  </a:lnTo>
                  <a:lnTo>
                    <a:pt x="239" y="290"/>
                  </a:lnTo>
                  <a:lnTo>
                    <a:pt x="238" y="288"/>
                  </a:lnTo>
                  <a:lnTo>
                    <a:pt x="238" y="288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4" y="290"/>
                  </a:lnTo>
                  <a:lnTo>
                    <a:pt x="234" y="288"/>
                  </a:lnTo>
                  <a:lnTo>
                    <a:pt x="233" y="288"/>
                  </a:lnTo>
                  <a:lnTo>
                    <a:pt x="231" y="287"/>
                  </a:lnTo>
                  <a:lnTo>
                    <a:pt x="230" y="284"/>
                  </a:lnTo>
                  <a:lnTo>
                    <a:pt x="228" y="284"/>
                  </a:lnTo>
                  <a:lnTo>
                    <a:pt x="225" y="285"/>
                  </a:lnTo>
                  <a:lnTo>
                    <a:pt x="225" y="285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5"/>
                  </a:lnTo>
                  <a:lnTo>
                    <a:pt x="222" y="284"/>
                  </a:lnTo>
                  <a:lnTo>
                    <a:pt x="222" y="284"/>
                  </a:lnTo>
                  <a:lnTo>
                    <a:pt x="221" y="285"/>
                  </a:lnTo>
                  <a:lnTo>
                    <a:pt x="219" y="284"/>
                  </a:lnTo>
                  <a:lnTo>
                    <a:pt x="219" y="284"/>
                  </a:lnTo>
                  <a:lnTo>
                    <a:pt x="221" y="282"/>
                  </a:lnTo>
                  <a:lnTo>
                    <a:pt x="221" y="282"/>
                  </a:lnTo>
                  <a:lnTo>
                    <a:pt x="216" y="282"/>
                  </a:lnTo>
                  <a:lnTo>
                    <a:pt x="216" y="279"/>
                  </a:lnTo>
                  <a:lnTo>
                    <a:pt x="217" y="280"/>
                  </a:lnTo>
                  <a:lnTo>
                    <a:pt x="217" y="280"/>
                  </a:lnTo>
                  <a:lnTo>
                    <a:pt x="217" y="279"/>
                  </a:lnTo>
                  <a:lnTo>
                    <a:pt x="219" y="279"/>
                  </a:lnTo>
                  <a:lnTo>
                    <a:pt x="219" y="279"/>
                  </a:lnTo>
                  <a:lnTo>
                    <a:pt x="221" y="279"/>
                  </a:lnTo>
                  <a:lnTo>
                    <a:pt x="221" y="279"/>
                  </a:lnTo>
                  <a:lnTo>
                    <a:pt x="221" y="279"/>
                  </a:lnTo>
                  <a:lnTo>
                    <a:pt x="222" y="277"/>
                  </a:lnTo>
                  <a:lnTo>
                    <a:pt x="224" y="277"/>
                  </a:lnTo>
                  <a:lnTo>
                    <a:pt x="224" y="277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30" y="279"/>
                  </a:lnTo>
                  <a:lnTo>
                    <a:pt x="231" y="279"/>
                  </a:lnTo>
                  <a:lnTo>
                    <a:pt x="231" y="280"/>
                  </a:lnTo>
                  <a:lnTo>
                    <a:pt x="231" y="280"/>
                  </a:lnTo>
                  <a:lnTo>
                    <a:pt x="234" y="280"/>
                  </a:lnTo>
                  <a:lnTo>
                    <a:pt x="236" y="280"/>
                  </a:lnTo>
                  <a:lnTo>
                    <a:pt x="236" y="280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41" y="276"/>
                  </a:lnTo>
                  <a:lnTo>
                    <a:pt x="241" y="276"/>
                  </a:lnTo>
                  <a:lnTo>
                    <a:pt x="242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4" y="276"/>
                  </a:lnTo>
                  <a:lnTo>
                    <a:pt x="245" y="276"/>
                  </a:lnTo>
                  <a:lnTo>
                    <a:pt x="247" y="276"/>
                  </a:lnTo>
                  <a:lnTo>
                    <a:pt x="248" y="276"/>
                  </a:lnTo>
                  <a:lnTo>
                    <a:pt x="247" y="274"/>
                  </a:lnTo>
                  <a:lnTo>
                    <a:pt x="247" y="274"/>
                  </a:lnTo>
                  <a:lnTo>
                    <a:pt x="248" y="274"/>
                  </a:lnTo>
                  <a:lnTo>
                    <a:pt x="248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1" y="271"/>
                  </a:lnTo>
                  <a:lnTo>
                    <a:pt x="253" y="271"/>
                  </a:lnTo>
                  <a:lnTo>
                    <a:pt x="253" y="271"/>
                  </a:lnTo>
                  <a:lnTo>
                    <a:pt x="253" y="268"/>
                  </a:lnTo>
                  <a:lnTo>
                    <a:pt x="253" y="268"/>
                  </a:lnTo>
                  <a:lnTo>
                    <a:pt x="254" y="267"/>
                  </a:lnTo>
                  <a:lnTo>
                    <a:pt x="258" y="267"/>
                  </a:lnTo>
                  <a:lnTo>
                    <a:pt x="258" y="265"/>
                  </a:lnTo>
                  <a:lnTo>
                    <a:pt x="258" y="265"/>
                  </a:lnTo>
                  <a:lnTo>
                    <a:pt x="254" y="265"/>
                  </a:lnTo>
                  <a:lnTo>
                    <a:pt x="253" y="265"/>
                  </a:lnTo>
                  <a:lnTo>
                    <a:pt x="250" y="268"/>
                  </a:lnTo>
                  <a:lnTo>
                    <a:pt x="248" y="267"/>
                  </a:lnTo>
                  <a:lnTo>
                    <a:pt x="250" y="265"/>
                  </a:lnTo>
                  <a:lnTo>
                    <a:pt x="251" y="264"/>
                  </a:lnTo>
                  <a:lnTo>
                    <a:pt x="251" y="264"/>
                  </a:lnTo>
                  <a:lnTo>
                    <a:pt x="251" y="264"/>
                  </a:lnTo>
                  <a:lnTo>
                    <a:pt x="251" y="262"/>
                  </a:lnTo>
                  <a:lnTo>
                    <a:pt x="251" y="260"/>
                  </a:lnTo>
                  <a:lnTo>
                    <a:pt x="250" y="259"/>
                  </a:lnTo>
                  <a:lnTo>
                    <a:pt x="248" y="257"/>
                  </a:lnTo>
                  <a:lnTo>
                    <a:pt x="247" y="256"/>
                  </a:lnTo>
                  <a:lnTo>
                    <a:pt x="247" y="257"/>
                  </a:lnTo>
                  <a:lnTo>
                    <a:pt x="248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5" y="254"/>
                  </a:lnTo>
                  <a:lnTo>
                    <a:pt x="245" y="253"/>
                  </a:lnTo>
                  <a:lnTo>
                    <a:pt x="245" y="251"/>
                  </a:lnTo>
                  <a:lnTo>
                    <a:pt x="244" y="253"/>
                  </a:lnTo>
                  <a:lnTo>
                    <a:pt x="244" y="251"/>
                  </a:lnTo>
                  <a:lnTo>
                    <a:pt x="244" y="251"/>
                  </a:lnTo>
                  <a:lnTo>
                    <a:pt x="242" y="251"/>
                  </a:lnTo>
                  <a:lnTo>
                    <a:pt x="244" y="251"/>
                  </a:lnTo>
                  <a:lnTo>
                    <a:pt x="242" y="253"/>
                  </a:lnTo>
                  <a:lnTo>
                    <a:pt x="242" y="253"/>
                  </a:lnTo>
                  <a:lnTo>
                    <a:pt x="241" y="253"/>
                  </a:lnTo>
                  <a:lnTo>
                    <a:pt x="239" y="248"/>
                  </a:lnTo>
                  <a:lnTo>
                    <a:pt x="239" y="247"/>
                  </a:lnTo>
                  <a:lnTo>
                    <a:pt x="239" y="242"/>
                  </a:lnTo>
                  <a:lnTo>
                    <a:pt x="241" y="240"/>
                  </a:lnTo>
                  <a:lnTo>
                    <a:pt x="244" y="240"/>
                  </a:lnTo>
                  <a:lnTo>
                    <a:pt x="245" y="240"/>
                  </a:lnTo>
                  <a:lnTo>
                    <a:pt x="248" y="240"/>
                  </a:lnTo>
                  <a:lnTo>
                    <a:pt x="247" y="239"/>
                  </a:lnTo>
                  <a:lnTo>
                    <a:pt x="247" y="237"/>
                  </a:lnTo>
                  <a:lnTo>
                    <a:pt x="247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7" y="234"/>
                  </a:lnTo>
                  <a:lnTo>
                    <a:pt x="248" y="234"/>
                  </a:lnTo>
                  <a:lnTo>
                    <a:pt x="250" y="234"/>
                  </a:lnTo>
                  <a:lnTo>
                    <a:pt x="251" y="234"/>
                  </a:lnTo>
                  <a:lnTo>
                    <a:pt x="251" y="234"/>
                  </a:lnTo>
                  <a:lnTo>
                    <a:pt x="253" y="234"/>
                  </a:lnTo>
                  <a:lnTo>
                    <a:pt x="253" y="236"/>
                  </a:lnTo>
                  <a:lnTo>
                    <a:pt x="253" y="237"/>
                  </a:lnTo>
                  <a:lnTo>
                    <a:pt x="253" y="237"/>
                  </a:lnTo>
                  <a:lnTo>
                    <a:pt x="253" y="237"/>
                  </a:lnTo>
                  <a:lnTo>
                    <a:pt x="253" y="239"/>
                  </a:lnTo>
                  <a:lnTo>
                    <a:pt x="259" y="239"/>
                  </a:lnTo>
                  <a:lnTo>
                    <a:pt x="261" y="239"/>
                  </a:lnTo>
                  <a:lnTo>
                    <a:pt x="262" y="240"/>
                  </a:lnTo>
                  <a:lnTo>
                    <a:pt x="264" y="242"/>
                  </a:lnTo>
                  <a:lnTo>
                    <a:pt x="265" y="244"/>
                  </a:lnTo>
                  <a:lnTo>
                    <a:pt x="265" y="245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8" y="251"/>
                  </a:lnTo>
                  <a:lnTo>
                    <a:pt x="268" y="251"/>
                  </a:lnTo>
                  <a:lnTo>
                    <a:pt x="268" y="253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59" y="259"/>
                  </a:lnTo>
                  <a:lnTo>
                    <a:pt x="261" y="254"/>
                  </a:lnTo>
                  <a:lnTo>
                    <a:pt x="261" y="253"/>
                  </a:lnTo>
                  <a:lnTo>
                    <a:pt x="258" y="254"/>
                  </a:lnTo>
                  <a:lnTo>
                    <a:pt x="258" y="256"/>
                  </a:lnTo>
                  <a:lnTo>
                    <a:pt x="258" y="257"/>
                  </a:lnTo>
                  <a:lnTo>
                    <a:pt x="256" y="257"/>
                  </a:lnTo>
                  <a:lnTo>
                    <a:pt x="256" y="259"/>
                  </a:lnTo>
                  <a:lnTo>
                    <a:pt x="259" y="260"/>
                  </a:lnTo>
                  <a:lnTo>
                    <a:pt x="261" y="260"/>
                  </a:lnTo>
                  <a:lnTo>
                    <a:pt x="262" y="260"/>
                  </a:lnTo>
                  <a:lnTo>
                    <a:pt x="262" y="259"/>
                  </a:lnTo>
                  <a:lnTo>
                    <a:pt x="265" y="259"/>
                  </a:lnTo>
                  <a:lnTo>
                    <a:pt x="267" y="259"/>
                  </a:lnTo>
                  <a:lnTo>
                    <a:pt x="267" y="259"/>
                  </a:lnTo>
                  <a:lnTo>
                    <a:pt x="267" y="259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70" y="256"/>
                  </a:lnTo>
                  <a:lnTo>
                    <a:pt x="273" y="254"/>
                  </a:lnTo>
                  <a:lnTo>
                    <a:pt x="274" y="254"/>
                  </a:lnTo>
                  <a:lnTo>
                    <a:pt x="276" y="253"/>
                  </a:lnTo>
                  <a:lnTo>
                    <a:pt x="278" y="251"/>
                  </a:lnTo>
                  <a:lnTo>
                    <a:pt x="278" y="250"/>
                  </a:lnTo>
                  <a:lnTo>
                    <a:pt x="273" y="244"/>
                  </a:lnTo>
                  <a:lnTo>
                    <a:pt x="271" y="237"/>
                  </a:lnTo>
                  <a:lnTo>
                    <a:pt x="268" y="234"/>
                  </a:lnTo>
                  <a:lnTo>
                    <a:pt x="268" y="233"/>
                  </a:lnTo>
                  <a:lnTo>
                    <a:pt x="261" y="225"/>
                  </a:lnTo>
                  <a:lnTo>
                    <a:pt x="261" y="224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6" y="219"/>
                  </a:lnTo>
                  <a:lnTo>
                    <a:pt x="253" y="217"/>
                  </a:lnTo>
                  <a:lnTo>
                    <a:pt x="248" y="214"/>
                  </a:lnTo>
                  <a:lnTo>
                    <a:pt x="247" y="213"/>
                  </a:lnTo>
                  <a:lnTo>
                    <a:pt x="247" y="211"/>
                  </a:lnTo>
                  <a:lnTo>
                    <a:pt x="245" y="205"/>
                  </a:lnTo>
                  <a:lnTo>
                    <a:pt x="242" y="200"/>
                  </a:lnTo>
                  <a:lnTo>
                    <a:pt x="242" y="199"/>
                  </a:lnTo>
                  <a:lnTo>
                    <a:pt x="242" y="196"/>
                  </a:lnTo>
                  <a:lnTo>
                    <a:pt x="242" y="194"/>
                  </a:lnTo>
                  <a:lnTo>
                    <a:pt x="241" y="193"/>
                  </a:lnTo>
                  <a:lnTo>
                    <a:pt x="241" y="191"/>
                  </a:lnTo>
                  <a:lnTo>
                    <a:pt x="238" y="190"/>
                  </a:lnTo>
                  <a:lnTo>
                    <a:pt x="238" y="188"/>
                  </a:lnTo>
                  <a:lnTo>
                    <a:pt x="236" y="187"/>
                  </a:lnTo>
                  <a:lnTo>
                    <a:pt x="233" y="185"/>
                  </a:lnTo>
                  <a:lnTo>
                    <a:pt x="231" y="183"/>
                  </a:lnTo>
                  <a:lnTo>
                    <a:pt x="231" y="182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7"/>
                  </a:lnTo>
                  <a:lnTo>
                    <a:pt x="230" y="176"/>
                  </a:lnTo>
                  <a:lnTo>
                    <a:pt x="230" y="176"/>
                  </a:lnTo>
                  <a:lnTo>
                    <a:pt x="230" y="176"/>
                  </a:lnTo>
                  <a:lnTo>
                    <a:pt x="228" y="176"/>
                  </a:lnTo>
                  <a:lnTo>
                    <a:pt x="227" y="176"/>
                  </a:lnTo>
                  <a:lnTo>
                    <a:pt x="227" y="174"/>
                  </a:lnTo>
                  <a:lnTo>
                    <a:pt x="227" y="174"/>
                  </a:lnTo>
                  <a:lnTo>
                    <a:pt x="222" y="171"/>
                  </a:lnTo>
                  <a:lnTo>
                    <a:pt x="221" y="168"/>
                  </a:lnTo>
                  <a:lnTo>
                    <a:pt x="221" y="168"/>
                  </a:lnTo>
                  <a:lnTo>
                    <a:pt x="221" y="168"/>
                  </a:lnTo>
                  <a:lnTo>
                    <a:pt x="221" y="167"/>
                  </a:lnTo>
                  <a:lnTo>
                    <a:pt x="221" y="163"/>
                  </a:lnTo>
                  <a:lnTo>
                    <a:pt x="219" y="162"/>
                  </a:lnTo>
                  <a:lnTo>
                    <a:pt x="219" y="160"/>
                  </a:lnTo>
                  <a:lnTo>
                    <a:pt x="219" y="159"/>
                  </a:lnTo>
                  <a:lnTo>
                    <a:pt x="219" y="156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4" y="142"/>
                  </a:lnTo>
                  <a:lnTo>
                    <a:pt x="225" y="139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5" y="136"/>
                  </a:lnTo>
                  <a:lnTo>
                    <a:pt x="224" y="134"/>
                  </a:lnTo>
                  <a:lnTo>
                    <a:pt x="224" y="133"/>
                  </a:lnTo>
                  <a:lnTo>
                    <a:pt x="222" y="133"/>
                  </a:lnTo>
                  <a:lnTo>
                    <a:pt x="222" y="131"/>
                  </a:lnTo>
                  <a:lnTo>
                    <a:pt x="222" y="130"/>
                  </a:lnTo>
                  <a:lnTo>
                    <a:pt x="222" y="128"/>
                  </a:lnTo>
                  <a:lnTo>
                    <a:pt x="221" y="127"/>
                  </a:lnTo>
                  <a:lnTo>
                    <a:pt x="222" y="127"/>
                  </a:lnTo>
                  <a:lnTo>
                    <a:pt x="222" y="127"/>
                  </a:lnTo>
                  <a:lnTo>
                    <a:pt x="224" y="127"/>
                  </a:lnTo>
                  <a:lnTo>
                    <a:pt x="225" y="127"/>
                  </a:lnTo>
                  <a:lnTo>
                    <a:pt x="225" y="127"/>
                  </a:lnTo>
                  <a:lnTo>
                    <a:pt x="227" y="127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8" y="125"/>
                  </a:lnTo>
                  <a:lnTo>
                    <a:pt x="227" y="123"/>
                  </a:lnTo>
                  <a:lnTo>
                    <a:pt x="227" y="122"/>
                  </a:lnTo>
                  <a:lnTo>
                    <a:pt x="228" y="122"/>
                  </a:lnTo>
                  <a:lnTo>
                    <a:pt x="228" y="122"/>
                  </a:lnTo>
                  <a:lnTo>
                    <a:pt x="228" y="122"/>
                  </a:lnTo>
                  <a:lnTo>
                    <a:pt x="230" y="122"/>
                  </a:lnTo>
                  <a:lnTo>
                    <a:pt x="230" y="123"/>
                  </a:lnTo>
                  <a:lnTo>
                    <a:pt x="231" y="123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9"/>
                  </a:lnTo>
                  <a:lnTo>
                    <a:pt x="234" y="117"/>
                  </a:lnTo>
                  <a:lnTo>
                    <a:pt x="236" y="116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38" y="117"/>
                  </a:lnTo>
                  <a:lnTo>
                    <a:pt x="238" y="117"/>
                  </a:lnTo>
                  <a:lnTo>
                    <a:pt x="239" y="116"/>
                  </a:lnTo>
                  <a:lnTo>
                    <a:pt x="241" y="116"/>
                  </a:lnTo>
                  <a:lnTo>
                    <a:pt x="241" y="114"/>
                  </a:lnTo>
                  <a:lnTo>
                    <a:pt x="242" y="114"/>
                  </a:lnTo>
                  <a:lnTo>
                    <a:pt x="242" y="113"/>
                  </a:lnTo>
                  <a:lnTo>
                    <a:pt x="241" y="111"/>
                  </a:lnTo>
                  <a:lnTo>
                    <a:pt x="244" y="110"/>
                  </a:lnTo>
                  <a:lnTo>
                    <a:pt x="245" y="110"/>
                  </a:lnTo>
                  <a:lnTo>
                    <a:pt x="247" y="111"/>
                  </a:lnTo>
                  <a:lnTo>
                    <a:pt x="248" y="114"/>
                  </a:lnTo>
                  <a:lnTo>
                    <a:pt x="248" y="114"/>
                  </a:lnTo>
                  <a:lnTo>
                    <a:pt x="248" y="116"/>
                  </a:lnTo>
                  <a:lnTo>
                    <a:pt x="248" y="116"/>
                  </a:lnTo>
                  <a:lnTo>
                    <a:pt x="248" y="116"/>
                  </a:lnTo>
                  <a:lnTo>
                    <a:pt x="250" y="117"/>
                  </a:lnTo>
                  <a:lnTo>
                    <a:pt x="251" y="119"/>
                  </a:lnTo>
                  <a:lnTo>
                    <a:pt x="250" y="120"/>
                  </a:lnTo>
                  <a:lnTo>
                    <a:pt x="250" y="120"/>
                  </a:lnTo>
                  <a:lnTo>
                    <a:pt x="248" y="122"/>
                  </a:lnTo>
                  <a:lnTo>
                    <a:pt x="248" y="122"/>
                  </a:lnTo>
                  <a:lnTo>
                    <a:pt x="245" y="123"/>
                  </a:lnTo>
                  <a:lnTo>
                    <a:pt x="241" y="123"/>
                  </a:lnTo>
                  <a:lnTo>
                    <a:pt x="239" y="123"/>
                  </a:lnTo>
                  <a:lnTo>
                    <a:pt x="239" y="125"/>
                  </a:lnTo>
                  <a:lnTo>
                    <a:pt x="242" y="128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4" y="133"/>
                  </a:lnTo>
                  <a:lnTo>
                    <a:pt x="244" y="134"/>
                  </a:lnTo>
                  <a:lnTo>
                    <a:pt x="244" y="136"/>
                  </a:lnTo>
                  <a:lnTo>
                    <a:pt x="247" y="134"/>
                  </a:lnTo>
                  <a:lnTo>
                    <a:pt x="248" y="136"/>
                  </a:lnTo>
                  <a:lnTo>
                    <a:pt x="250" y="136"/>
                  </a:lnTo>
                  <a:lnTo>
                    <a:pt x="253" y="139"/>
                  </a:lnTo>
                  <a:lnTo>
                    <a:pt x="254" y="140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64" y="147"/>
                  </a:lnTo>
                  <a:lnTo>
                    <a:pt x="264" y="145"/>
                  </a:lnTo>
                  <a:lnTo>
                    <a:pt x="265" y="147"/>
                  </a:lnTo>
                  <a:lnTo>
                    <a:pt x="267" y="147"/>
                  </a:lnTo>
                  <a:lnTo>
                    <a:pt x="270" y="148"/>
                  </a:lnTo>
                  <a:lnTo>
                    <a:pt x="271" y="148"/>
                  </a:lnTo>
                  <a:lnTo>
                    <a:pt x="274" y="150"/>
                  </a:lnTo>
                  <a:lnTo>
                    <a:pt x="276" y="153"/>
                  </a:lnTo>
                  <a:lnTo>
                    <a:pt x="276" y="156"/>
                  </a:lnTo>
                  <a:lnTo>
                    <a:pt x="276" y="159"/>
                  </a:lnTo>
                  <a:lnTo>
                    <a:pt x="274" y="162"/>
                  </a:lnTo>
                  <a:lnTo>
                    <a:pt x="276" y="163"/>
                  </a:lnTo>
                  <a:lnTo>
                    <a:pt x="278" y="165"/>
                  </a:lnTo>
                  <a:lnTo>
                    <a:pt x="278" y="167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1" y="171"/>
                  </a:lnTo>
                  <a:lnTo>
                    <a:pt x="281" y="173"/>
                  </a:lnTo>
                  <a:lnTo>
                    <a:pt x="281" y="174"/>
                  </a:lnTo>
                  <a:lnTo>
                    <a:pt x="279" y="176"/>
                  </a:lnTo>
                  <a:lnTo>
                    <a:pt x="279" y="176"/>
                  </a:lnTo>
                  <a:lnTo>
                    <a:pt x="279" y="176"/>
                  </a:lnTo>
                  <a:lnTo>
                    <a:pt x="285" y="176"/>
                  </a:lnTo>
                  <a:lnTo>
                    <a:pt x="287" y="176"/>
                  </a:lnTo>
                  <a:lnTo>
                    <a:pt x="298" y="180"/>
                  </a:lnTo>
                  <a:lnTo>
                    <a:pt x="304" y="180"/>
                  </a:lnTo>
                  <a:lnTo>
                    <a:pt x="305" y="180"/>
                  </a:lnTo>
                  <a:lnTo>
                    <a:pt x="307" y="180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5" y="179"/>
                  </a:lnTo>
                  <a:lnTo>
                    <a:pt x="304" y="179"/>
                  </a:lnTo>
                  <a:lnTo>
                    <a:pt x="304" y="177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298" y="173"/>
                  </a:lnTo>
                  <a:lnTo>
                    <a:pt x="288" y="168"/>
                  </a:lnTo>
                  <a:lnTo>
                    <a:pt x="287" y="167"/>
                  </a:lnTo>
                  <a:lnTo>
                    <a:pt x="282" y="160"/>
                  </a:lnTo>
                  <a:lnTo>
                    <a:pt x="282" y="159"/>
                  </a:lnTo>
                  <a:lnTo>
                    <a:pt x="282" y="159"/>
                  </a:lnTo>
                  <a:lnTo>
                    <a:pt x="281" y="159"/>
                  </a:lnTo>
                  <a:lnTo>
                    <a:pt x="279" y="159"/>
                  </a:lnTo>
                  <a:lnTo>
                    <a:pt x="279" y="157"/>
                  </a:lnTo>
                  <a:lnTo>
                    <a:pt x="279" y="157"/>
                  </a:lnTo>
                  <a:lnTo>
                    <a:pt x="279" y="156"/>
                  </a:lnTo>
                  <a:lnTo>
                    <a:pt x="278" y="154"/>
                  </a:lnTo>
                  <a:lnTo>
                    <a:pt x="278" y="153"/>
                  </a:lnTo>
                  <a:lnTo>
                    <a:pt x="278" y="151"/>
                  </a:lnTo>
                  <a:lnTo>
                    <a:pt x="279" y="147"/>
                  </a:lnTo>
                  <a:lnTo>
                    <a:pt x="282" y="145"/>
                  </a:lnTo>
                  <a:lnTo>
                    <a:pt x="285" y="145"/>
                  </a:lnTo>
                  <a:lnTo>
                    <a:pt x="288" y="147"/>
                  </a:lnTo>
                  <a:lnTo>
                    <a:pt x="291" y="150"/>
                  </a:lnTo>
                  <a:lnTo>
                    <a:pt x="298" y="150"/>
                  </a:lnTo>
                  <a:lnTo>
                    <a:pt x="299" y="150"/>
                  </a:lnTo>
                  <a:lnTo>
                    <a:pt x="302" y="151"/>
                  </a:lnTo>
                  <a:lnTo>
                    <a:pt x="308" y="160"/>
                  </a:lnTo>
                  <a:lnTo>
                    <a:pt x="310" y="160"/>
                  </a:lnTo>
                  <a:lnTo>
                    <a:pt x="310" y="162"/>
                  </a:lnTo>
                  <a:lnTo>
                    <a:pt x="310" y="163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5"/>
                  </a:lnTo>
                  <a:lnTo>
                    <a:pt x="310" y="167"/>
                  </a:lnTo>
                  <a:lnTo>
                    <a:pt x="311" y="167"/>
                  </a:lnTo>
                  <a:lnTo>
                    <a:pt x="313" y="171"/>
                  </a:lnTo>
                  <a:lnTo>
                    <a:pt x="313" y="171"/>
                  </a:lnTo>
                  <a:lnTo>
                    <a:pt x="313" y="171"/>
                  </a:lnTo>
                  <a:lnTo>
                    <a:pt x="315" y="170"/>
                  </a:lnTo>
                  <a:lnTo>
                    <a:pt x="315" y="170"/>
                  </a:lnTo>
                  <a:lnTo>
                    <a:pt x="316" y="171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19" y="174"/>
                  </a:lnTo>
                  <a:lnTo>
                    <a:pt x="319" y="174"/>
                  </a:lnTo>
                  <a:lnTo>
                    <a:pt x="319" y="176"/>
                  </a:lnTo>
                  <a:lnTo>
                    <a:pt x="319" y="176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321" y="177"/>
                  </a:lnTo>
                  <a:lnTo>
                    <a:pt x="322" y="177"/>
                  </a:lnTo>
                  <a:lnTo>
                    <a:pt x="325" y="177"/>
                  </a:lnTo>
                  <a:lnTo>
                    <a:pt x="325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5" y="176"/>
                  </a:lnTo>
                  <a:lnTo>
                    <a:pt x="327" y="176"/>
                  </a:lnTo>
                  <a:lnTo>
                    <a:pt x="327" y="174"/>
                  </a:lnTo>
                  <a:lnTo>
                    <a:pt x="325" y="174"/>
                  </a:lnTo>
                  <a:lnTo>
                    <a:pt x="325" y="173"/>
                  </a:lnTo>
                  <a:lnTo>
                    <a:pt x="328" y="171"/>
                  </a:lnTo>
                  <a:lnTo>
                    <a:pt x="327" y="171"/>
                  </a:lnTo>
                  <a:lnTo>
                    <a:pt x="327" y="170"/>
                  </a:lnTo>
                  <a:lnTo>
                    <a:pt x="327" y="170"/>
                  </a:lnTo>
                  <a:lnTo>
                    <a:pt x="327" y="168"/>
                  </a:lnTo>
                  <a:lnTo>
                    <a:pt x="327" y="170"/>
                  </a:lnTo>
                  <a:lnTo>
                    <a:pt x="325" y="170"/>
                  </a:lnTo>
                  <a:lnTo>
                    <a:pt x="325" y="168"/>
                  </a:lnTo>
                  <a:lnTo>
                    <a:pt x="325" y="168"/>
                  </a:lnTo>
                  <a:lnTo>
                    <a:pt x="325" y="167"/>
                  </a:lnTo>
                  <a:lnTo>
                    <a:pt x="325" y="167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7" y="165"/>
                  </a:lnTo>
                  <a:lnTo>
                    <a:pt x="325" y="165"/>
                  </a:lnTo>
                  <a:lnTo>
                    <a:pt x="325" y="163"/>
                  </a:lnTo>
                  <a:lnTo>
                    <a:pt x="325" y="163"/>
                  </a:lnTo>
                  <a:lnTo>
                    <a:pt x="325" y="162"/>
                  </a:lnTo>
                  <a:lnTo>
                    <a:pt x="325" y="160"/>
                  </a:lnTo>
                  <a:lnTo>
                    <a:pt x="325" y="160"/>
                  </a:lnTo>
                  <a:lnTo>
                    <a:pt x="322" y="159"/>
                  </a:lnTo>
                  <a:lnTo>
                    <a:pt x="321" y="159"/>
                  </a:lnTo>
                  <a:lnTo>
                    <a:pt x="321" y="157"/>
                  </a:lnTo>
                  <a:lnTo>
                    <a:pt x="319" y="156"/>
                  </a:lnTo>
                  <a:lnTo>
                    <a:pt x="318" y="156"/>
                  </a:lnTo>
                  <a:lnTo>
                    <a:pt x="316" y="156"/>
                  </a:lnTo>
                  <a:lnTo>
                    <a:pt x="311" y="154"/>
                  </a:lnTo>
                  <a:lnTo>
                    <a:pt x="311" y="154"/>
                  </a:lnTo>
                  <a:lnTo>
                    <a:pt x="310" y="153"/>
                  </a:lnTo>
                  <a:lnTo>
                    <a:pt x="308" y="151"/>
                  </a:lnTo>
                  <a:lnTo>
                    <a:pt x="308" y="150"/>
                  </a:lnTo>
                  <a:lnTo>
                    <a:pt x="305" y="148"/>
                  </a:lnTo>
                  <a:lnTo>
                    <a:pt x="305" y="148"/>
                  </a:lnTo>
                  <a:lnTo>
                    <a:pt x="305" y="148"/>
                  </a:lnTo>
                  <a:lnTo>
                    <a:pt x="304" y="145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5" y="139"/>
                  </a:lnTo>
                  <a:lnTo>
                    <a:pt x="305" y="139"/>
                  </a:lnTo>
                  <a:lnTo>
                    <a:pt x="307" y="139"/>
                  </a:lnTo>
                  <a:lnTo>
                    <a:pt x="307" y="137"/>
                  </a:lnTo>
                  <a:lnTo>
                    <a:pt x="308" y="139"/>
                  </a:lnTo>
                  <a:lnTo>
                    <a:pt x="310" y="139"/>
                  </a:lnTo>
                  <a:lnTo>
                    <a:pt x="315" y="137"/>
                  </a:lnTo>
                  <a:lnTo>
                    <a:pt x="315" y="136"/>
                  </a:lnTo>
                  <a:lnTo>
                    <a:pt x="318" y="137"/>
                  </a:lnTo>
                  <a:lnTo>
                    <a:pt x="321" y="137"/>
                  </a:lnTo>
                  <a:lnTo>
                    <a:pt x="322" y="137"/>
                  </a:lnTo>
                  <a:lnTo>
                    <a:pt x="324" y="139"/>
                  </a:lnTo>
                  <a:lnTo>
                    <a:pt x="325" y="142"/>
                  </a:lnTo>
                  <a:lnTo>
                    <a:pt x="328" y="142"/>
                  </a:lnTo>
                  <a:lnTo>
                    <a:pt x="330" y="143"/>
                  </a:lnTo>
                  <a:lnTo>
                    <a:pt x="336" y="145"/>
                  </a:lnTo>
                  <a:lnTo>
                    <a:pt x="339" y="147"/>
                  </a:lnTo>
                  <a:lnTo>
                    <a:pt x="341" y="148"/>
                  </a:lnTo>
                  <a:lnTo>
                    <a:pt x="342" y="151"/>
                  </a:lnTo>
                  <a:lnTo>
                    <a:pt x="344" y="154"/>
                  </a:lnTo>
                  <a:lnTo>
                    <a:pt x="345" y="156"/>
                  </a:lnTo>
                  <a:lnTo>
                    <a:pt x="347" y="156"/>
                  </a:lnTo>
                  <a:lnTo>
                    <a:pt x="348" y="157"/>
                  </a:lnTo>
                  <a:lnTo>
                    <a:pt x="348" y="159"/>
                  </a:lnTo>
                  <a:lnTo>
                    <a:pt x="348" y="160"/>
                  </a:lnTo>
                  <a:lnTo>
                    <a:pt x="350" y="160"/>
                  </a:lnTo>
                  <a:lnTo>
                    <a:pt x="353" y="160"/>
                  </a:lnTo>
                  <a:lnTo>
                    <a:pt x="356" y="157"/>
                  </a:lnTo>
                  <a:lnTo>
                    <a:pt x="355" y="156"/>
                  </a:lnTo>
                  <a:lnTo>
                    <a:pt x="350" y="151"/>
                  </a:lnTo>
                  <a:lnTo>
                    <a:pt x="347" y="145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1" y="142"/>
                  </a:lnTo>
                  <a:lnTo>
                    <a:pt x="341" y="139"/>
                  </a:lnTo>
                  <a:lnTo>
                    <a:pt x="339" y="139"/>
                  </a:lnTo>
                  <a:lnTo>
                    <a:pt x="339" y="139"/>
                  </a:lnTo>
                  <a:lnTo>
                    <a:pt x="336" y="137"/>
                  </a:lnTo>
                  <a:lnTo>
                    <a:pt x="336" y="137"/>
                  </a:lnTo>
                  <a:lnTo>
                    <a:pt x="335" y="137"/>
                  </a:lnTo>
                  <a:lnTo>
                    <a:pt x="333" y="137"/>
                  </a:lnTo>
                  <a:lnTo>
                    <a:pt x="331" y="136"/>
                  </a:lnTo>
                  <a:lnTo>
                    <a:pt x="330" y="134"/>
                  </a:lnTo>
                  <a:lnTo>
                    <a:pt x="328" y="131"/>
                  </a:lnTo>
                  <a:lnTo>
                    <a:pt x="327" y="130"/>
                  </a:lnTo>
                  <a:lnTo>
                    <a:pt x="325" y="130"/>
                  </a:lnTo>
                  <a:lnTo>
                    <a:pt x="327" y="130"/>
                  </a:lnTo>
                  <a:lnTo>
                    <a:pt x="325" y="131"/>
                  </a:lnTo>
                  <a:lnTo>
                    <a:pt x="327" y="133"/>
                  </a:lnTo>
                  <a:lnTo>
                    <a:pt x="327" y="134"/>
                  </a:lnTo>
                  <a:lnTo>
                    <a:pt x="327" y="134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4" y="136"/>
                  </a:lnTo>
                  <a:lnTo>
                    <a:pt x="322" y="136"/>
                  </a:lnTo>
                  <a:lnTo>
                    <a:pt x="321" y="134"/>
                  </a:lnTo>
                  <a:lnTo>
                    <a:pt x="319" y="134"/>
                  </a:lnTo>
                  <a:lnTo>
                    <a:pt x="318" y="133"/>
                  </a:lnTo>
                  <a:lnTo>
                    <a:pt x="316" y="133"/>
                  </a:lnTo>
                  <a:lnTo>
                    <a:pt x="313" y="128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5" y="122"/>
                  </a:lnTo>
                  <a:lnTo>
                    <a:pt x="319" y="122"/>
                  </a:lnTo>
                  <a:lnTo>
                    <a:pt x="321" y="122"/>
                  </a:lnTo>
                  <a:lnTo>
                    <a:pt x="321" y="120"/>
                  </a:lnTo>
                  <a:lnTo>
                    <a:pt x="319" y="119"/>
                  </a:lnTo>
                  <a:lnTo>
                    <a:pt x="318" y="117"/>
                  </a:lnTo>
                  <a:lnTo>
                    <a:pt x="318" y="119"/>
                  </a:lnTo>
                  <a:lnTo>
                    <a:pt x="316" y="119"/>
                  </a:lnTo>
                  <a:lnTo>
                    <a:pt x="315" y="119"/>
                  </a:lnTo>
                  <a:lnTo>
                    <a:pt x="315" y="117"/>
                  </a:lnTo>
                  <a:lnTo>
                    <a:pt x="311" y="116"/>
                  </a:lnTo>
                  <a:lnTo>
                    <a:pt x="311" y="116"/>
                  </a:lnTo>
                  <a:lnTo>
                    <a:pt x="310" y="114"/>
                  </a:lnTo>
                  <a:lnTo>
                    <a:pt x="310" y="111"/>
                  </a:lnTo>
                  <a:lnTo>
                    <a:pt x="308" y="110"/>
                  </a:lnTo>
                  <a:lnTo>
                    <a:pt x="307" y="110"/>
                  </a:lnTo>
                  <a:lnTo>
                    <a:pt x="305" y="108"/>
                  </a:lnTo>
                  <a:lnTo>
                    <a:pt x="304" y="106"/>
                  </a:lnTo>
                  <a:lnTo>
                    <a:pt x="304" y="105"/>
                  </a:lnTo>
                  <a:lnTo>
                    <a:pt x="304" y="102"/>
                  </a:lnTo>
                  <a:lnTo>
                    <a:pt x="305" y="100"/>
                  </a:lnTo>
                  <a:lnTo>
                    <a:pt x="307" y="99"/>
                  </a:lnTo>
                  <a:lnTo>
                    <a:pt x="308" y="99"/>
                  </a:lnTo>
                  <a:lnTo>
                    <a:pt x="311" y="97"/>
                  </a:lnTo>
                  <a:lnTo>
                    <a:pt x="315" y="96"/>
                  </a:lnTo>
                  <a:lnTo>
                    <a:pt x="316" y="97"/>
                  </a:lnTo>
                  <a:lnTo>
                    <a:pt x="318" y="97"/>
                  </a:lnTo>
                  <a:lnTo>
                    <a:pt x="325" y="102"/>
                  </a:lnTo>
                  <a:lnTo>
                    <a:pt x="328" y="102"/>
                  </a:lnTo>
                  <a:lnTo>
                    <a:pt x="331" y="102"/>
                  </a:lnTo>
                  <a:lnTo>
                    <a:pt x="335" y="102"/>
                  </a:lnTo>
                  <a:lnTo>
                    <a:pt x="342" y="97"/>
                  </a:lnTo>
                  <a:lnTo>
                    <a:pt x="351" y="91"/>
                  </a:lnTo>
                  <a:lnTo>
                    <a:pt x="351" y="91"/>
                  </a:lnTo>
                  <a:lnTo>
                    <a:pt x="350" y="91"/>
                  </a:lnTo>
                  <a:lnTo>
                    <a:pt x="350" y="91"/>
                  </a:lnTo>
                  <a:lnTo>
                    <a:pt x="348" y="91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1" y="90"/>
                  </a:lnTo>
                  <a:lnTo>
                    <a:pt x="351" y="88"/>
                  </a:lnTo>
                  <a:lnTo>
                    <a:pt x="350" y="88"/>
                  </a:lnTo>
                  <a:lnTo>
                    <a:pt x="350" y="86"/>
                  </a:lnTo>
                  <a:lnTo>
                    <a:pt x="351" y="86"/>
                  </a:lnTo>
                  <a:lnTo>
                    <a:pt x="355" y="83"/>
                  </a:lnTo>
                  <a:lnTo>
                    <a:pt x="356" y="82"/>
                  </a:lnTo>
                  <a:lnTo>
                    <a:pt x="358" y="80"/>
                  </a:lnTo>
                  <a:lnTo>
                    <a:pt x="359" y="80"/>
                  </a:lnTo>
                  <a:lnTo>
                    <a:pt x="361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8" y="80"/>
                  </a:lnTo>
                  <a:lnTo>
                    <a:pt x="368" y="82"/>
                  </a:lnTo>
                  <a:lnTo>
                    <a:pt x="370" y="82"/>
                  </a:lnTo>
                  <a:lnTo>
                    <a:pt x="370" y="83"/>
                  </a:lnTo>
                  <a:lnTo>
                    <a:pt x="372" y="83"/>
                  </a:lnTo>
                  <a:lnTo>
                    <a:pt x="372" y="85"/>
                  </a:lnTo>
                  <a:lnTo>
                    <a:pt x="372" y="86"/>
                  </a:lnTo>
                  <a:lnTo>
                    <a:pt x="373" y="88"/>
                  </a:lnTo>
                  <a:lnTo>
                    <a:pt x="373" y="90"/>
                  </a:lnTo>
                  <a:lnTo>
                    <a:pt x="373" y="90"/>
                  </a:lnTo>
                  <a:lnTo>
                    <a:pt x="375" y="88"/>
                  </a:lnTo>
                  <a:lnTo>
                    <a:pt x="376" y="86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90"/>
                  </a:lnTo>
                  <a:lnTo>
                    <a:pt x="379" y="90"/>
                  </a:lnTo>
                  <a:lnTo>
                    <a:pt x="381" y="90"/>
                  </a:lnTo>
                  <a:lnTo>
                    <a:pt x="384" y="88"/>
                  </a:lnTo>
                  <a:lnTo>
                    <a:pt x="385" y="90"/>
                  </a:lnTo>
                  <a:lnTo>
                    <a:pt x="388" y="88"/>
                  </a:lnTo>
                  <a:lnTo>
                    <a:pt x="390" y="85"/>
                  </a:lnTo>
                  <a:lnTo>
                    <a:pt x="393" y="83"/>
                  </a:lnTo>
                  <a:lnTo>
                    <a:pt x="395" y="82"/>
                  </a:lnTo>
                  <a:lnTo>
                    <a:pt x="396" y="82"/>
                  </a:lnTo>
                  <a:lnTo>
                    <a:pt x="398" y="80"/>
                  </a:lnTo>
                  <a:lnTo>
                    <a:pt x="399" y="80"/>
                  </a:lnTo>
                  <a:lnTo>
                    <a:pt x="401" y="80"/>
                  </a:lnTo>
                  <a:lnTo>
                    <a:pt x="401" y="80"/>
                  </a:lnTo>
                  <a:lnTo>
                    <a:pt x="401" y="79"/>
                  </a:lnTo>
                  <a:lnTo>
                    <a:pt x="401" y="79"/>
                  </a:lnTo>
                  <a:lnTo>
                    <a:pt x="402" y="77"/>
                  </a:lnTo>
                  <a:lnTo>
                    <a:pt x="404" y="76"/>
                  </a:lnTo>
                  <a:lnTo>
                    <a:pt x="404" y="74"/>
                  </a:lnTo>
                  <a:lnTo>
                    <a:pt x="405" y="74"/>
                  </a:lnTo>
                  <a:lnTo>
                    <a:pt x="412" y="74"/>
                  </a:lnTo>
                  <a:lnTo>
                    <a:pt x="412" y="74"/>
                  </a:lnTo>
                  <a:lnTo>
                    <a:pt x="413" y="76"/>
                  </a:lnTo>
                  <a:lnTo>
                    <a:pt x="413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9"/>
                  </a:lnTo>
                  <a:lnTo>
                    <a:pt x="412" y="79"/>
                  </a:lnTo>
                  <a:lnTo>
                    <a:pt x="412" y="79"/>
                  </a:lnTo>
                  <a:lnTo>
                    <a:pt x="413" y="80"/>
                  </a:lnTo>
                  <a:lnTo>
                    <a:pt x="415" y="80"/>
                  </a:lnTo>
                  <a:lnTo>
                    <a:pt x="421" y="82"/>
                  </a:lnTo>
                  <a:lnTo>
                    <a:pt x="421" y="82"/>
                  </a:lnTo>
                  <a:lnTo>
                    <a:pt x="421" y="82"/>
                  </a:lnTo>
                  <a:lnTo>
                    <a:pt x="424" y="80"/>
                  </a:lnTo>
                  <a:lnTo>
                    <a:pt x="427" y="80"/>
                  </a:lnTo>
                  <a:lnTo>
                    <a:pt x="430" y="83"/>
                  </a:lnTo>
                  <a:lnTo>
                    <a:pt x="432" y="85"/>
                  </a:lnTo>
                  <a:lnTo>
                    <a:pt x="433" y="85"/>
                  </a:lnTo>
                  <a:lnTo>
                    <a:pt x="438" y="85"/>
                  </a:lnTo>
                  <a:lnTo>
                    <a:pt x="438" y="86"/>
                  </a:lnTo>
                  <a:lnTo>
                    <a:pt x="439" y="86"/>
                  </a:lnTo>
                  <a:lnTo>
                    <a:pt x="441" y="88"/>
                  </a:lnTo>
                  <a:lnTo>
                    <a:pt x="442" y="88"/>
                  </a:lnTo>
                  <a:lnTo>
                    <a:pt x="442" y="88"/>
                  </a:lnTo>
                  <a:lnTo>
                    <a:pt x="445" y="88"/>
                  </a:lnTo>
                  <a:lnTo>
                    <a:pt x="449" y="88"/>
                  </a:lnTo>
                  <a:lnTo>
                    <a:pt x="452" y="90"/>
                  </a:lnTo>
                  <a:lnTo>
                    <a:pt x="455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2" y="90"/>
                  </a:lnTo>
                  <a:lnTo>
                    <a:pt x="467" y="90"/>
                  </a:lnTo>
                  <a:lnTo>
                    <a:pt x="467" y="91"/>
                  </a:lnTo>
                  <a:lnTo>
                    <a:pt x="469" y="90"/>
                  </a:lnTo>
                  <a:lnTo>
                    <a:pt x="472" y="90"/>
                  </a:lnTo>
                  <a:lnTo>
                    <a:pt x="475" y="91"/>
                  </a:lnTo>
                  <a:lnTo>
                    <a:pt x="475" y="93"/>
                  </a:lnTo>
                  <a:lnTo>
                    <a:pt x="476" y="93"/>
                  </a:lnTo>
                  <a:lnTo>
                    <a:pt x="476" y="93"/>
                  </a:lnTo>
                  <a:lnTo>
                    <a:pt x="475" y="91"/>
                  </a:lnTo>
                  <a:lnTo>
                    <a:pt x="475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6" y="93"/>
                  </a:lnTo>
                  <a:lnTo>
                    <a:pt x="476" y="93"/>
                  </a:lnTo>
                  <a:lnTo>
                    <a:pt x="478" y="91"/>
                  </a:lnTo>
                  <a:lnTo>
                    <a:pt x="479" y="91"/>
                  </a:lnTo>
                  <a:lnTo>
                    <a:pt x="479" y="93"/>
                  </a:lnTo>
                  <a:lnTo>
                    <a:pt x="479" y="93"/>
                  </a:lnTo>
                  <a:lnTo>
                    <a:pt x="478" y="94"/>
                  </a:lnTo>
                  <a:lnTo>
                    <a:pt x="476" y="94"/>
                  </a:lnTo>
                  <a:lnTo>
                    <a:pt x="476" y="94"/>
                  </a:lnTo>
                  <a:lnTo>
                    <a:pt x="476" y="94"/>
                  </a:lnTo>
                  <a:lnTo>
                    <a:pt x="478" y="96"/>
                  </a:lnTo>
                  <a:lnTo>
                    <a:pt x="478" y="97"/>
                  </a:lnTo>
                  <a:lnTo>
                    <a:pt x="478" y="99"/>
                  </a:lnTo>
                  <a:lnTo>
                    <a:pt x="479" y="100"/>
                  </a:lnTo>
                  <a:lnTo>
                    <a:pt x="479" y="100"/>
                  </a:lnTo>
                  <a:lnTo>
                    <a:pt x="481" y="100"/>
                  </a:lnTo>
                  <a:lnTo>
                    <a:pt x="484" y="100"/>
                  </a:lnTo>
                  <a:lnTo>
                    <a:pt x="485" y="97"/>
                  </a:lnTo>
                  <a:lnTo>
                    <a:pt x="485" y="96"/>
                  </a:lnTo>
                  <a:lnTo>
                    <a:pt x="487" y="94"/>
                  </a:lnTo>
                  <a:lnTo>
                    <a:pt x="492" y="90"/>
                  </a:lnTo>
                  <a:lnTo>
                    <a:pt x="490" y="90"/>
                  </a:lnTo>
                  <a:lnTo>
                    <a:pt x="490" y="88"/>
                  </a:lnTo>
                  <a:lnTo>
                    <a:pt x="490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5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5" y="85"/>
                  </a:lnTo>
                  <a:lnTo>
                    <a:pt x="495" y="83"/>
                  </a:lnTo>
                  <a:lnTo>
                    <a:pt x="495" y="83"/>
                  </a:lnTo>
                  <a:lnTo>
                    <a:pt x="495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6" y="85"/>
                  </a:lnTo>
                  <a:lnTo>
                    <a:pt x="498" y="83"/>
                  </a:lnTo>
                  <a:lnTo>
                    <a:pt x="498" y="83"/>
                  </a:lnTo>
                  <a:lnTo>
                    <a:pt x="498" y="83"/>
                  </a:lnTo>
                  <a:lnTo>
                    <a:pt x="498" y="82"/>
                  </a:lnTo>
                  <a:lnTo>
                    <a:pt x="498" y="82"/>
                  </a:lnTo>
                  <a:lnTo>
                    <a:pt x="501" y="80"/>
                  </a:lnTo>
                  <a:lnTo>
                    <a:pt x="501" y="80"/>
                  </a:lnTo>
                  <a:lnTo>
                    <a:pt x="502" y="79"/>
                  </a:lnTo>
                  <a:lnTo>
                    <a:pt x="502" y="79"/>
                  </a:lnTo>
                  <a:lnTo>
                    <a:pt x="501" y="77"/>
                  </a:lnTo>
                  <a:lnTo>
                    <a:pt x="501" y="77"/>
                  </a:lnTo>
                  <a:lnTo>
                    <a:pt x="499" y="76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2" y="74"/>
                  </a:lnTo>
                  <a:lnTo>
                    <a:pt x="502" y="74"/>
                  </a:lnTo>
                  <a:lnTo>
                    <a:pt x="504" y="73"/>
                  </a:lnTo>
                  <a:lnTo>
                    <a:pt x="502" y="73"/>
                  </a:lnTo>
                  <a:lnTo>
                    <a:pt x="501" y="71"/>
                  </a:lnTo>
                  <a:lnTo>
                    <a:pt x="501" y="70"/>
                  </a:lnTo>
                  <a:lnTo>
                    <a:pt x="499" y="68"/>
                  </a:lnTo>
                  <a:lnTo>
                    <a:pt x="499" y="66"/>
                  </a:lnTo>
                  <a:lnTo>
                    <a:pt x="501" y="63"/>
                  </a:lnTo>
                  <a:lnTo>
                    <a:pt x="499" y="63"/>
                  </a:lnTo>
                  <a:lnTo>
                    <a:pt x="499" y="63"/>
                  </a:lnTo>
                  <a:lnTo>
                    <a:pt x="499" y="62"/>
                  </a:lnTo>
                  <a:lnTo>
                    <a:pt x="501" y="60"/>
                  </a:lnTo>
                  <a:lnTo>
                    <a:pt x="499" y="59"/>
                  </a:lnTo>
                  <a:lnTo>
                    <a:pt x="499" y="57"/>
                  </a:lnTo>
                  <a:lnTo>
                    <a:pt x="499" y="54"/>
                  </a:lnTo>
                  <a:lnTo>
                    <a:pt x="501" y="53"/>
                  </a:lnTo>
                  <a:lnTo>
                    <a:pt x="499" y="51"/>
                  </a:lnTo>
                  <a:lnTo>
                    <a:pt x="499" y="50"/>
                  </a:lnTo>
                  <a:lnTo>
                    <a:pt x="504" y="50"/>
                  </a:lnTo>
                  <a:lnTo>
                    <a:pt x="506" y="50"/>
                  </a:lnTo>
                  <a:lnTo>
                    <a:pt x="509" y="48"/>
                  </a:lnTo>
                  <a:lnTo>
                    <a:pt x="510" y="46"/>
                  </a:lnTo>
                  <a:lnTo>
                    <a:pt x="510" y="45"/>
                  </a:lnTo>
                  <a:lnTo>
                    <a:pt x="510" y="45"/>
                  </a:lnTo>
                  <a:lnTo>
                    <a:pt x="512" y="45"/>
                  </a:lnTo>
                  <a:lnTo>
                    <a:pt x="512" y="45"/>
                  </a:lnTo>
                  <a:lnTo>
                    <a:pt x="515" y="40"/>
                  </a:lnTo>
                  <a:lnTo>
                    <a:pt x="516" y="42"/>
                  </a:lnTo>
                  <a:lnTo>
                    <a:pt x="518" y="42"/>
                  </a:lnTo>
                  <a:lnTo>
                    <a:pt x="519" y="43"/>
                  </a:lnTo>
                  <a:lnTo>
                    <a:pt x="521" y="42"/>
                  </a:lnTo>
                  <a:lnTo>
                    <a:pt x="521" y="42"/>
                  </a:lnTo>
                  <a:lnTo>
                    <a:pt x="522" y="40"/>
                  </a:lnTo>
                  <a:lnTo>
                    <a:pt x="522" y="37"/>
                  </a:lnTo>
                  <a:lnTo>
                    <a:pt x="522" y="36"/>
                  </a:lnTo>
                  <a:lnTo>
                    <a:pt x="522" y="34"/>
                  </a:lnTo>
                  <a:lnTo>
                    <a:pt x="521" y="29"/>
                  </a:lnTo>
                  <a:lnTo>
                    <a:pt x="521" y="25"/>
                  </a:lnTo>
                  <a:lnTo>
                    <a:pt x="521" y="23"/>
                  </a:lnTo>
                  <a:lnTo>
                    <a:pt x="519" y="22"/>
                  </a:lnTo>
                  <a:lnTo>
                    <a:pt x="519" y="22"/>
                  </a:lnTo>
                  <a:lnTo>
                    <a:pt x="519" y="19"/>
                  </a:lnTo>
                  <a:lnTo>
                    <a:pt x="519" y="17"/>
                  </a:lnTo>
                  <a:lnTo>
                    <a:pt x="519" y="17"/>
                  </a:lnTo>
                  <a:lnTo>
                    <a:pt x="519" y="16"/>
                  </a:lnTo>
                  <a:lnTo>
                    <a:pt x="519" y="16"/>
                  </a:lnTo>
                  <a:lnTo>
                    <a:pt x="519" y="14"/>
                  </a:lnTo>
                  <a:lnTo>
                    <a:pt x="518" y="17"/>
                  </a:lnTo>
                  <a:lnTo>
                    <a:pt x="518" y="16"/>
                  </a:lnTo>
                  <a:lnTo>
                    <a:pt x="515" y="14"/>
                  </a:lnTo>
                  <a:lnTo>
                    <a:pt x="510" y="11"/>
                  </a:lnTo>
                  <a:lnTo>
                    <a:pt x="510" y="9"/>
                  </a:lnTo>
                  <a:lnTo>
                    <a:pt x="510" y="8"/>
                  </a:lnTo>
                  <a:lnTo>
                    <a:pt x="510" y="8"/>
                  </a:lnTo>
                  <a:lnTo>
                    <a:pt x="509" y="8"/>
                  </a:lnTo>
                  <a:lnTo>
                    <a:pt x="506" y="6"/>
                  </a:lnTo>
                  <a:lnTo>
                    <a:pt x="504" y="5"/>
                  </a:lnTo>
                  <a:lnTo>
                    <a:pt x="502" y="5"/>
                  </a:lnTo>
                  <a:lnTo>
                    <a:pt x="499" y="5"/>
                  </a:lnTo>
                  <a:lnTo>
                    <a:pt x="498" y="5"/>
                  </a:lnTo>
                  <a:lnTo>
                    <a:pt x="496" y="5"/>
                  </a:lnTo>
                  <a:lnTo>
                    <a:pt x="495" y="3"/>
                  </a:lnTo>
                  <a:lnTo>
                    <a:pt x="493" y="2"/>
                  </a:lnTo>
                  <a:lnTo>
                    <a:pt x="492" y="2"/>
                  </a:lnTo>
                  <a:lnTo>
                    <a:pt x="492" y="0"/>
                  </a:lnTo>
                  <a:lnTo>
                    <a:pt x="490" y="2"/>
                  </a:lnTo>
                  <a:lnTo>
                    <a:pt x="485" y="3"/>
                  </a:lnTo>
                  <a:lnTo>
                    <a:pt x="484" y="3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79" y="5"/>
                  </a:lnTo>
                  <a:lnTo>
                    <a:pt x="479" y="6"/>
                  </a:lnTo>
                  <a:lnTo>
                    <a:pt x="479" y="6"/>
                  </a:lnTo>
                  <a:lnTo>
                    <a:pt x="479" y="8"/>
                  </a:lnTo>
                  <a:lnTo>
                    <a:pt x="479" y="9"/>
                  </a:lnTo>
                  <a:lnTo>
                    <a:pt x="479" y="11"/>
                  </a:lnTo>
                  <a:lnTo>
                    <a:pt x="479" y="11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2" y="13"/>
                  </a:lnTo>
                  <a:lnTo>
                    <a:pt x="484" y="14"/>
                  </a:lnTo>
                  <a:lnTo>
                    <a:pt x="484" y="14"/>
                  </a:lnTo>
                  <a:lnTo>
                    <a:pt x="484" y="16"/>
                  </a:lnTo>
                  <a:lnTo>
                    <a:pt x="485" y="17"/>
                  </a:lnTo>
                  <a:lnTo>
                    <a:pt x="485" y="19"/>
                  </a:lnTo>
                  <a:lnTo>
                    <a:pt x="485" y="20"/>
                  </a:lnTo>
                  <a:lnTo>
                    <a:pt x="485" y="20"/>
                  </a:lnTo>
                  <a:lnTo>
                    <a:pt x="485" y="20"/>
                  </a:lnTo>
                  <a:lnTo>
                    <a:pt x="487" y="22"/>
                  </a:lnTo>
                  <a:lnTo>
                    <a:pt x="487" y="22"/>
                  </a:lnTo>
                  <a:lnTo>
                    <a:pt x="487" y="23"/>
                  </a:lnTo>
                  <a:lnTo>
                    <a:pt x="487" y="23"/>
                  </a:lnTo>
                  <a:lnTo>
                    <a:pt x="487" y="25"/>
                  </a:lnTo>
                  <a:lnTo>
                    <a:pt x="487" y="26"/>
                  </a:lnTo>
                  <a:lnTo>
                    <a:pt x="487" y="28"/>
                  </a:lnTo>
                  <a:lnTo>
                    <a:pt x="485" y="28"/>
                  </a:lnTo>
                  <a:lnTo>
                    <a:pt x="487" y="29"/>
                  </a:lnTo>
                  <a:lnTo>
                    <a:pt x="487" y="29"/>
                  </a:lnTo>
                  <a:lnTo>
                    <a:pt x="489" y="31"/>
                  </a:lnTo>
                  <a:lnTo>
                    <a:pt x="489" y="31"/>
                  </a:lnTo>
                  <a:lnTo>
                    <a:pt x="489" y="33"/>
                  </a:lnTo>
                  <a:lnTo>
                    <a:pt x="489" y="33"/>
                  </a:lnTo>
                  <a:lnTo>
                    <a:pt x="487" y="33"/>
                  </a:lnTo>
                  <a:lnTo>
                    <a:pt x="487" y="34"/>
                  </a:lnTo>
                  <a:lnTo>
                    <a:pt x="487" y="36"/>
                  </a:lnTo>
                  <a:lnTo>
                    <a:pt x="485" y="39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76" y="42"/>
                  </a:lnTo>
                  <a:lnTo>
                    <a:pt x="476" y="42"/>
                  </a:lnTo>
                  <a:lnTo>
                    <a:pt x="475" y="43"/>
                  </a:lnTo>
                  <a:lnTo>
                    <a:pt x="472" y="43"/>
                  </a:lnTo>
                  <a:lnTo>
                    <a:pt x="472" y="45"/>
                  </a:lnTo>
                  <a:lnTo>
                    <a:pt x="470" y="43"/>
                  </a:lnTo>
                  <a:lnTo>
                    <a:pt x="470" y="43"/>
                  </a:lnTo>
                  <a:lnTo>
                    <a:pt x="467" y="45"/>
                  </a:lnTo>
                  <a:lnTo>
                    <a:pt x="467" y="45"/>
                  </a:lnTo>
                  <a:lnTo>
                    <a:pt x="465" y="45"/>
                  </a:lnTo>
                  <a:lnTo>
                    <a:pt x="462" y="42"/>
                  </a:lnTo>
                  <a:lnTo>
                    <a:pt x="461" y="42"/>
                  </a:lnTo>
                  <a:lnTo>
                    <a:pt x="461" y="42"/>
                  </a:lnTo>
                  <a:lnTo>
                    <a:pt x="458" y="43"/>
                  </a:lnTo>
                  <a:lnTo>
                    <a:pt x="455" y="43"/>
                  </a:lnTo>
                  <a:lnTo>
                    <a:pt x="455" y="45"/>
                  </a:lnTo>
                  <a:lnTo>
                    <a:pt x="453" y="45"/>
                  </a:lnTo>
                  <a:lnTo>
                    <a:pt x="453" y="45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50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42" y="43"/>
                  </a:lnTo>
                  <a:lnTo>
                    <a:pt x="441" y="45"/>
                  </a:lnTo>
                  <a:lnTo>
                    <a:pt x="441" y="45"/>
                  </a:lnTo>
                  <a:lnTo>
                    <a:pt x="439" y="46"/>
                  </a:lnTo>
                  <a:lnTo>
                    <a:pt x="439" y="48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36" y="46"/>
                  </a:lnTo>
                  <a:lnTo>
                    <a:pt x="435" y="48"/>
                  </a:lnTo>
                  <a:lnTo>
                    <a:pt x="422" y="51"/>
                  </a:lnTo>
                  <a:lnTo>
                    <a:pt x="421" y="51"/>
                  </a:lnTo>
                  <a:lnTo>
                    <a:pt x="419" y="51"/>
                  </a:lnTo>
                  <a:lnTo>
                    <a:pt x="418" y="51"/>
                  </a:lnTo>
                  <a:lnTo>
                    <a:pt x="415" y="46"/>
                  </a:lnTo>
                  <a:lnTo>
                    <a:pt x="413" y="45"/>
                  </a:lnTo>
                  <a:lnTo>
                    <a:pt x="412" y="45"/>
                  </a:lnTo>
                  <a:lnTo>
                    <a:pt x="410" y="43"/>
                  </a:lnTo>
                  <a:lnTo>
                    <a:pt x="408" y="43"/>
                  </a:lnTo>
                  <a:lnTo>
                    <a:pt x="408" y="42"/>
                  </a:lnTo>
                  <a:lnTo>
                    <a:pt x="408" y="42"/>
                  </a:lnTo>
                  <a:lnTo>
                    <a:pt x="408" y="42"/>
                  </a:lnTo>
                  <a:lnTo>
                    <a:pt x="407" y="42"/>
                  </a:lnTo>
                  <a:lnTo>
                    <a:pt x="395" y="37"/>
                  </a:lnTo>
                  <a:lnTo>
                    <a:pt x="393" y="36"/>
                  </a:lnTo>
                  <a:lnTo>
                    <a:pt x="392" y="36"/>
                  </a:lnTo>
                  <a:lnTo>
                    <a:pt x="390" y="36"/>
                  </a:lnTo>
                  <a:lnTo>
                    <a:pt x="388" y="36"/>
                  </a:lnTo>
                  <a:lnTo>
                    <a:pt x="387" y="37"/>
                  </a:lnTo>
                  <a:lnTo>
                    <a:pt x="385" y="37"/>
                  </a:lnTo>
                  <a:lnTo>
                    <a:pt x="387" y="39"/>
                  </a:lnTo>
                  <a:lnTo>
                    <a:pt x="385" y="40"/>
                  </a:lnTo>
                  <a:lnTo>
                    <a:pt x="384" y="40"/>
                  </a:lnTo>
                  <a:lnTo>
                    <a:pt x="382" y="39"/>
                  </a:lnTo>
                  <a:lnTo>
                    <a:pt x="379" y="36"/>
                  </a:lnTo>
                  <a:lnTo>
                    <a:pt x="379" y="34"/>
                  </a:lnTo>
                  <a:lnTo>
                    <a:pt x="378" y="34"/>
                  </a:lnTo>
                  <a:lnTo>
                    <a:pt x="376" y="34"/>
                  </a:lnTo>
                  <a:lnTo>
                    <a:pt x="375" y="34"/>
                  </a:lnTo>
                  <a:lnTo>
                    <a:pt x="375" y="33"/>
                  </a:lnTo>
                  <a:lnTo>
                    <a:pt x="372" y="33"/>
                  </a:lnTo>
                  <a:lnTo>
                    <a:pt x="372" y="33"/>
                  </a:lnTo>
                  <a:lnTo>
                    <a:pt x="370" y="31"/>
                  </a:lnTo>
                  <a:lnTo>
                    <a:pt x="370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68" y="29"/>
                  </a:lnTo>
                  <a:lnTo>
                    <a:pt x="368" y="28"/>
                  </a:lnTo>
                  <a:lnTo>
                    <a:pt x="368" y="28"/>
                  </a:lnTo>
                  <a:lnTo>
                    <a:pt x="367" y="28"/>
                  </a:lnTo>
                  <a:lnTo>
                    <a:pt x="367" y="28"/>
                  </a:lnTo>
                  <a:lnTo>
                    <a:pt x="367" y="26"/>
                  </a:lnTo>
                  <a:lnTo>
                    <a:pt x="367" y="23"/>
                  </a:lnTo>
                  <a:lnTo>
                    <a:pt x="365" y="22"/>
                  </a:lnTo>
                  <a:lnTo>
                    <a:pt x="364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59" y="23"/>
                  </a:lnTo>
                  <a:lnTo>
                    <a:pt x="358" y="23"/>
                  </a:lnTo>
                  <a:lnTo>
                    <a:pt x="356" y="23"/>
                  </a:lnTo>
                  <a:lnTo>
                    <a:pt x="355" y="23"/>
                  </a:lnTo>
                  <a:lnTo>
                    <a:pt x="353" y="23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8" y="25"/>
                  </a:lnTo>
                  <a:lnTo>
                    <a:pt x="348" y="25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8" y="23"/>
                  </a:lnTo>
                  <a:lnTo>
                    <a:pt x="348" y="22"/>
                  </a:lnTo>
                  <a:lnTo>
                    <a:pt x="347" y="20"/>
                  </a:lnTo>
                  <a:lnTo>
                    <a:pt x="345" y="20"/>
                  </a:lnTo>
                  <a:lnTo>
                    <a:pt x="344" y="20"/>
                  </a:lnTo>
                  <a:lnTo>
                    <a:pt x="342" y="20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39" y="22"/>
                  </a:lnTo>
                  <a:lnTo>
                    <a:pt x="339" y="23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8" y="25"/>
                  </a:lnTo>
                  <a:lnTo>
                    <a:pt x="338" y="23"/>
                  </a:lnTo>
                  <a:lnTo>
                    <a:pt x="338" y="23"/>
                  </a:lnTo>
                  <a:lnTo>
                    <a:pt x="335" y="22"/>
                  </a:lnTo>
                  <a:lnTo>
                    <a:pt x="331" y="22"/>
                  </a:lnTo>
                  <a:lnTo>
                    <a:pt x="330" y="23"/>
                  </a:lnTo>
                  <a:lnTo>
                    <a:pt x="330" y="26"/>
                  </a:lnTo>
                  <a:lnTo>
                    <a:pt x="330" y="28"/>
                  </a:lnTo>
                  <a:lnTo>
                    <a:pt x="330" y="29"/>
                  </a:lnTo>
                  <a:lnTo>
                    <a:pt x="330" y="29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29"/>
                  </a:lnTo>
                  <a:lnTo>
                    <a:pt x="327" y="29"/>
                  </a:lnTo>
                  <a:lnTo>
                    <a:pt x="325" y="31"/>
                  </a:lnTo>
                  <a:lnTo>
                    <a:pt x="325" y="31"/>
                  </a:lnTo>
                  <a:lnTo>
                    <a:pt x="325" y="31"/>
                  </a:lnTo>
                  <a:lnTo>
                    <a:pt x="324" y="33"/>
                  </a:lnTo>
                  <a:lnTo>
                    <a:pt x="322" y="33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6" y="31"/>
                  </a:lnTo>
                  <a:lnTo>
                    <a:pt x="316" y="31"/>
                  </a:lnTo>
                  <a:lnTo>
                    <a:pt x="315" y="33"/>
                  </a:lnTo>
                  <a:lnTo>
                    <a:pt x="313" y="33"/>
                  </a:lnTo>
                  <a:lnTo>
                    <a:pt x="311" y="33"/>
                  </a:lnTo>
                  <a:lnTo>
                    <a:pt x="310" y="33"/>
                  </a:lnTo>
                  <a:lnTo>
                    <a:pt x="308" y="36"/>
                  </a:lnTo>
                  <a:lnTo>
                    <a:pt x="307" y="36"/>
                  </a:lnTo>
                  <a:lnTo>
                    <a:pt x="304" y="36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299" y="37"/>
                  </a:lnTo>
                  <a:lnTo>
                    <a:pt x="299" y="39"/>
                  </a:lnTo>
                  <a:lnTo>
                    <a:pt x="298" y="39"/>
                  </a:lnTo>
                  <a:lnTo>
                    <a:pt x="294" y="39"/>
                  </a:lnTo>
                  <a:lnTo>
                    <a:pt x="290" y="36"/>
                  </a:lnTo>
                  <a:lnTo>
                    <a:pt x="282" y="36"/>
                  </a:lnTo>
                  <a:lnTo>
                    <a:pt x="281" y="36"/>
                  </a:lnTo>
                  <a:lnTo>
                    <a:pt x="279" y="37"/>
                  </a:lnTo>
                  <a:lnTo>
                    <a:pt x="278" y="39"/>
                  </a:lnTo>
                  <a:lnTo>
                    <a:pt x="276" y="39"/>
                  </a:lnTo>
                  <a:lnTo>
                    <a:pt x="276" y="39"/>
                  </a:lnTo>
                  <a:lnTo>
                    <a:pt x="274" y="37"/>
                  </a:lnTo>
                  <a:lnTo>
                    <a:pt x="273" y="36"/>
                  </a:lnTo>
                  <a:lnTo>
                    <a:pt x="271" y="36"/>
                  </a:lnTo>
                  <a:lnTo>
                    <a:pt x="270" y="37"/>
                  </a:lnTo>
                  <a:lnTo>
                    <a:pt x="268" y="37"/>
                  </a:lnTo>
                  <a:lnTo>
                    <a:pt x="268" y="39"/>
                  </a:lnTo>
                  <a:lnTo>
                    <a:pt x="267" y="40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3"/>
                  </a:lnTo>
                  <a:lnTo>
                    <a:pt x="265" y="43"/>
                  </a:lnTo>
                  <a:lnTo>
                    <a:pt x="264" y="43"/>
                  </a:lnTo>
                  <a:lnTo>
                    <a:pt x="261" y="45"/>
                  </a:lnTo>
                  <a:lnTo>
                    <a:pt x="245" y="42"/>
                  </a:lnTo>
                  <a:lnTo>
                    <a:pt x="239" y="42"/>
                  </a:lnTo>
                  <a:lnTo>
                    <a:pt x="238" y="42"/>
                  </a:lnTo>
                  <a:lnTo>
                    <a:pt x="236" y="42"/>
                  </a:lnTo>
                  <a:lnTo>
                    <a:pt x="234" y="43"/>
                  </a:lnTo>
                  <a:lnTo>
                    <a:pt x="233" y="43"/>
                  </a:lnTo>
                  <a:lnTo>
                    <a:pt x="233" y="46"/>
                  </a:lnTo>
                  <a:lnTo>
                    <a:pt x="233" y="48"/>
                  </a:lnTo>
                  <a:lnTo>
                    <a:pt x="233" y="56"/>
                  </a:lnTo>
                  <a:lnTo>
                    <a:pt x="231" y="59"/>
                  </a:lnTo>
                  <a:lnTo>
                    <a:pt x="231" y="60"/>
                  </a:lnTo>
                  <a:lnTo>
                    <a:pt x="230" y="62"/>
                  </a:lnTo>
                  <a:lnTo>
                    <a:pt x="228" y="60"/>
                  </a:lnTo>
                  <a:lnTo>
                    <a:pt x="228" y="60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25" y="57"/>
                  </a:lnTo>
                  <a:lnTo>
                    <a:pt x="224" y="57"/>
                  </a:lnTo>
                  <a:lnTo>
                    <a:pt x="224" y="59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2" y="62"/>
                  </a:lnTo>
                  <a:lnTo>
                    <a:pt x="222" y="63"/>
                  </a:lnTo>
                  <a:lnTo>
                    <a:pt x="221" y="63"/>
                  </a:lnTo>
                  <a:lnTo>
                    <a:pt x="221" y="63"/>
                  </a:lnTo>
                  <a:lnTo>
                    <a:pt x="219" y="63"/>
                  </a:lnTo>
                  <a:lnTo>
                    <a:pt x="216" y="63"/>
                  </a:lnTo>
                  <a:lnTo>
                    <a:pt x="214" y="63"/>
                  </a:lnTo>
                  <a:lnTo>
                    <a:pt x="213" y="63"/>
                  </a:lnTo>
                  <a:lnTo>
                    <a:pt x="213" y="63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8" y="63"/>
                  </a:lnTo>
                  <a:lnTo>
                    <a:pt x="207" y="62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2" y="62"/>
                  </a:lnTo>
                  <a:lnTo>
                    <a:pt x="201" y="63"/>
                  </a:lnTo>
                  <a:lnTo>
                    <a:pt x="201" y="63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0"/>
                  </a:lnTo>
                  <a:lnTo>
                    <a:pt x="199" y="60"/>
                  </a:lnTo>
                  <a:lnTo>
                    <a:pt x="197" y="60"/>
                  </a:lnTo>
                  <a:lnTo>
                    <a:pt x="194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1" y="59"/>
                  </a:lnTo>
                  <a:lnTo>
                    <a:pt x="190" y="60"/>
                  </a:lnTo>
                  <a:lnTo>
                    <a:pt x="187" y="63"/>
                  </a:lnTo>
                  <a:lnTo>
                    <a:pt x="185" y="63"/>
                  </a:lnTo>
                  <a:lnTo>
                    <a:pt x="185" y="63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82" y="60"/>
                  </a:lnTo>
                  <a:lnTo>
                    <a:pt x="182" y="60"/>
                  </a:lnTo>
                  <a:lnTo>
                    <a:pt x="181" y="60"/>
                  </a:lnTo>
                  <a:lnTo>
                    <a:pt x="181" y="60"/>
                  </a:lnTo>
                  <a:lnTo>
                    <a:pt x="181" y="62"/>
                  </a:lnTo>
                  <a:lnTo>
                    <a:pt x="179" y="62"/>
                  </a:lnTo>
                  <a:lnTo>
                    <a:pt x="174" y="63"/>
                  </a:lnTo>
                  <a:lnTo>
                    <a:pt x="173" y="63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70" y="70"/>
                  </a:lnTo>
                  <a:lnTo>
                    <a:pt x="170" y="70"/>
                  </a:lnTo>
                  <a:lnTo>
                    <a:pt x="170" y="70"/>
                  </a:lnTo>
                  <a:lnTo>
                    <a:pt x="168" y="71"/>
                  </a:lnTo>
                  <a:lnTo>
                    <a:pt x="167" y="74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2" y="77"/>
                  </a:lnTo>
                  <a:lnTo>
                    <a:pt x="162" y="79"/>
                  </a:lnTo>
                  <a:lnTo>
                    <a:pt x="161" y="79"/>
                  </a:lnTo>
                  <a:lnTo>
                    <a:pt x="161" y="80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59" y="83"/>
                  </a:lnTo>
                  <a:lnTo>
                    <a:pt x="157" y="83"/>
                  </a:lnTo>
                  <a:lnTo>
                    <a:pt x="154" y="82"/>
                  </a:lnTo>
                  <a:lnTo>
                    <a:pt x="151" y="83"/>
                  </a:lnTo>
                  <a:lnTo>
                    <a:pt x="151" y="83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48" y="86"/>
                  </a:lnTo>
                  <a:lnTo>
                    <a:pt x="147" y="88"/>
                  </a:lnTo>
                  <a:lnTo>
                    <a:pt x="147" y="88"/>
                  </a:lnTo>
                  <a:lnTo>
                    <a:pt x="144" y="88"/>
                  </a:lnTo>
                  <a:lnTo>
                    <a:pt x="140" y="85"/>
                  </a:lnTo>
                  <a:lnTo>
                    <a:pt x="140" y="85"/>
                  </a:lnTo>
                  <a:lnTo>
                    <a:pt x="134" y="83"/>
                  </a:lnTo>
                  <a:lnTo>
                    <a:pt x="133" y="83"/>
                  </a:lnTo>
                  <a:lnTo>
                    <a:pt x="131" y="85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2" y="90"/>
                  </a:lnTo>
                  <a:lnTo>
                    <a:pt x="122" y="88"/>
                  </a:lnTo>
                  <a:lnTo>
                    <a:pt x="119" y="88"/>
                  </a:lnTo>
                  <a:lnTo>
                    <a:pt x="117" y="88"/>
                  </a:lnTo>
                  <a:lnTo>
                    <a:pt x="111" y="90"/>
                  </a:lnTo>
                  <a:lnTo>
                    <a:pt x="100" y="90"/>
                  </a:lnTo>
                  <a:lnTo>
                    <a:pt x="100" y="94"/>
                  </a:lnTo>
                  <a:lnTo>
                    <a:pt x="100" y="97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100" y="99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2" y="103"/>
                  </a:lnTo>
                  <a:lnTo>
                    <a:pt x="105" y="105"/>
                  </a:lnTo>
                  <a:lnTo>
                    <a:pt x="105" y="106"/>
                  </a:lnTo>
                  <a:lnTo>
                    <a:pt x="105" y="108"/>
                  </a:lnTo>
                  <a:lnTo>
                    <a:pt x="105" y="111"/>
                  </a:lnTo>
                  <a:lnTo>
                    <a:pt x="105" y="113"/>
                  </a:lnTo>
                  <a:lnTo>
                    <a:pt x="105" y="116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4" y="119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2" y="122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99" y="123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9" y="127"/>
                  </a:lnTo>
                  <a:lnTo>
                    <a:pt x="96" y="128"/>
                  </a:lnTo>
                  <a:lnTo>
                    <a:pt x="94" y="128"/>
                  </a:lnTo>
                  <a:lnTo>
                    <a:pt x="93" y="127"/>
                  </a:lnTo>
                  <a:lnTo>
                    <a:pt x="91" y="127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30"/>
                  </a:lnTo>
                  <a:lnTo>
                    <a:pt x="88" y="130"/>
                  </a:lnTo>
                  <a:lnTo>
                    <a:pt x="88" y="13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3"/>
                  </a:lnTo>
                  <a:lnTo>
                    <a:pt x="87" y="136"/>
                  </a:lnTo>
                  <a:lnTo>
                    <a:pt x="87" y="136"/>
                  </a:lnTo>
                  <a:lnTo>
                    <a:pt x="87" y="137"/>
                  </a:lnTo>
                  <a:lnTo>
                    <a:pt x="85" y="139"/>
                  </a:lnTo>
                  <a:lnTo>
                    <a:pt x="85" y="140"/>
                  </a:lnTo>
                  <a:lnTo>
                    <a:pt x="83" y="142"/>
                  </a:lnTo>
                  <a:lnTo>
                    <a:pt x="83" y="143"/>
                  </a:lnTo>
                  <a:lnTo>
                    <a:pt x="83" y="143"/>
                  </a:lnTo>
                  <a:lnTo>
                    <a:pt x="82" y="143"/>
                  </a:lnTo>
                  <a:lnTo>
                    <a:pt x="82" y="145"/>
                  </a:lnTo>
                  <a:lnTo>
                    <a:pt x="80" y="145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1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77" y="156"/>
                  </a:lnTo>
                  <a:lnTo>
                    <a:pt x="77" y="156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79" y="159"/>
                  </a:lnTo>
                  <a:lnTo>
                    <a:pt x="79" y="160"/>
                  </a:lnTo>
                  <a:lnTo>
                    <a:pt x="77" y="163"/>
                  </a:lnTo>
                  <a:lnTo>
                    <a:pt x="77" y="163"/>
                  </a:lnTo>
                  <a:lnTo>
                    <a:pt x="76" y="163"/>
                  </a:lnTo>
                  <a:lnTo>
                    <a:pt x="74" y="165"/>
                  </a:lnTo>
                  <a:lnTo>
                    <a:pt x="71" y="167"/>
                  </a:lnTo>
                  <a:lnTo>
                    <a:pt x="70" y="167"/>
                  </a:lnTo>
                  <a:lnTo>
                    <a:pt x="67" y="165"/>
                  </a:lnTo>
                  <a:lnTo>
                    <a:pt x="65" y="167"/>
                  </a:lnTo>
                  <a:lnTo>
                    <a:pt x="63" y="167"/>
                  </a:lnTo>
                  <a:lnTo>
                    <a:pt x="60" y="167"/>
                  </a:lnTo>
                  <a:lnTo>
                    <a:pt x="59" y="167"/>
                  </a:lnTo>
                  <a:lnTo>
                    <a:pt x="59" y="168"/>
                  </a:lnTo>
                  <a:lnTo>
                    <a:pt x="57" y="170"/>
                  </a:lnTo>
                  <a:lnTo>
                    <a:pt x="57" y="171"/>
                  </a:lnTo>
                  <a:lnTo>
                    <a:pt x="57" y="173"/>
                  </a:lnTo>
                  <a:lnTo>
                    <a:pt x="56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53" y="180"/>
                  </a:lnTo>
                  <a:lnTo>
                    <a:pt x="53" y="180"/>
                  </a:lnTo>
                  <a:lnTo>
                    <a:pt x="54" y="183"/>
                  </a:lnTo>
                  <a:lnTo>
                    <a:pt x="57" y="188"/>
                  </a:lnTo>
                  <a:lnTo>
                    <a:pt x="59" y="190"/>
                  </a:lnTo>
                  <a:lnTo>
                    <a:pt x="57" y="193"/>
                  </a:lnTo>
                  <a:lnTo>
                    <a:pt x="56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50" y="197"/>
                  </a:lnTo>
                  <a:lnTo>
                    <a:pt x="50" y="197"/>
                  </a:lnTo>
                  <a:lnTo>
                    <a:pt x="50" y="197"/>
                  </a:lnTo>
                  <a:lnTo>
                    <a:pt x="51" y="199"/>
                  </a:lnTo>
                  <a:lnTo>
                    <a:pt x="51" y="199"/>
                  </a:lnTo>
                  <a:lnTo>
                    <a:pt x="51" y="200"/>
                  </a:lnTo>
                  <a:lnTo>
                    <a:pt x="50" y="200"/>
                  </a:lnTo>
                  <a:lnTo>
                    <a:pt x="48" y="202"/>
                  </a:lnTo>
                  <a:lnTo>
                    <a:pt x="47" y="204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3" y="205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8"/>
                  </a:lnTo>
                  <a:lnTo>
                    <a:pt x="42" y="208"/>
                  </a:lnTo>
                  <a:lnTo>
                    <a:pt x="40" y="207"/>
                  </a:lnTo>
                  <a:lnTo>
                    <a:pt x="39" y="205"/>
                  </a:lnTo>
                  <a:lnTo>
                    <a:pt x="36" y="204"/>
                  </a:lnTo>
                  <a:lnTo>
                    <a:pt x="33" y="202"/>
                  </a:lnTo>
                  <a:lnTo>
                    <a:pt x="30" y="202"/>
                  </a:lnTo>
                  <a:lnTo>
                    <a:pt x="28" y="202"/>
                  </a:lnTo>
                  <a:lnTo>
                    <a:pt x="30" y="202"/>
                  </a:lnTo>
                  <a:lnTo>
                    <a:pt x="30" y="202"/>
                  </a:lnTo>
                  <a:lnTo>
                    <a:pt x="30" y="204"/>
                  </a:lnTo>
                  <a:lnTo>
                    <a:pt x="33" y="204"/>
                  </a:lnTo>
                  <a:lnTo>
                    <a:pt x="36" y="204"/>
                  </a:lnTo>
                  <a:lnTo>
                    <a:pt x="36" y="205"/>
                  </a:lnTo>
                  <a:lnTo>
                    <a:pt x="36" y="205"/>
                  </a:lnTo>
                  <a:lnTo>
                    <a:pt x="37" y="205"/>
                  </a:lnTo>
                  <a:lnTo>
                    <a:pt x="37" y="205"/>
                  </a:lnTo>
                  <a:lnTo>
                    <a:pt x="39" y="207"/>
                  </a:lnTo>
                  <a:lnTo>
                    <a:pt x="39" y="207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42" y="208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39" y="214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9" y="217"/>
                  </a:lnTo>
                  <a:lnTo>
                    <a:pt x="39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2" y="217"/>
                  </a:lnTo>
                  <a:lnTo>
                    <a:pt x="43" y="217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20"/>
                  </a:lnTo>
                  <a:lnTo>
                    <a:pt x="45" y="219"/>
                  </a:lnTo>
                  <a:lnTo>
                    <a:pt x="47" y="219"/>
                  </a:lnTo>
                  <a:lnTo>
                    <a:pt x="48" y="219"/>
                  </a:lnTo>
                  <a:lnTo>
                    <a:pt x="48" y="220"/>
                  </a:lnTo>
                  <a:lnTo>
                    <a:pt x="48" y="220"/>
                  </a:lnTo>
                  <a:lnTo>
                    <a:pt x="48" y="222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8" y="224"/>
                  </a:lnTo>
                  <a:lnTo>
                    <a:pt x="48" y="225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47" y="227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47" y="228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1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1" y="237"/>
                  </a:lnTo>
                  <a:lnTo>
                    <a:pt x="53" y="239"/>
                  </a:lnTo>
                  <a:lnTo>
                    <a:pt x="56" y="242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2" y="240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2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7" y="250"/>
                  </a:lnTo>
                  <a:lnTo>
                    <a:pt x="73" y="257"/>
                  </a:lnTo>
                  <a:lnTo>
                    <a:pt x="76" y="259"/>
                  </a:lnTo>
                  <a:lnTo>
                    <a:pt x="77" y="260"/>
                  </a:lnTo>
                  <a:lnTo>
                    <a:pt x="80" y="262"/>
                  </a:lnTo>
                  <a:lnTo>
                    <a:pt x="80" y="264"/>
                  </a:lnTo>
                  <a:lnTo>
                    <a:pt x="82" y="267"/>
                  </a:lnTo>
                  <a:lnTo>
                    <a:pt x="82" y="268"/>
                  </a:lnTo>
                  <a:lnTo>
                    <a:pt x="82" y="268"/>
                  </a:lnTo>
                  <a:lnTo>
                    <a:pt x="80" y="268"/>
                  </a:lnTo>
                  <a:lnTo>
                    <a:pt x="80" y="268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2" y="270"/>
                  </a:lnTo>
                  <a:lnTo>
                    <a:pt x="82" y="270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5" y="271"/>
                  </a:lnTo>
                  <a:lnTo>
                    <a:pt x="85" y="271"/>
                  </a:lnTo>
                  <a:lnTo>
                    <a:pt x="85" y="271"/>
                  </a:lnTo>
                  <a:lnTo>
                    <a:pt x="87" y="271"/>
                  </a:lnTo>
                  <a:lnTo>
                    <a:pt x="88" y="271"/>
                  </a:lnTo>
                  <a:lnTo>
                    <a:pt x="90" y="273"/>
                  </a:lnTo>
                  <a:lnTo>
                    <a:pt x="90" y="273"/>
                  </a:lnTo>
                  <a:lnTo>
                    <a:pt x="91" y="273"/>
                  </a:lnTo>
                  <a:lnTo>
                    <a:pt x="90" y="271"/>
                  </a:lnTo>
                  <a:lnTo>
                    <a:pt x="90" y="271"/>
                  </a:lnTo>
                  <a:lnTo>
                    <a:pt x="88" y="270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3" y="267"/>
                  </a:lnTo>
                  <a:lnTo>
                    <a:pt x="83" y="267"/>
                  </a:lnTo>
                  <a:lnTo>
                    <a:pt x="83" y="267"/>
                  </a:lnTo>
                  <a:lnTo>
                    <a:pt x="85" y="267"/>
                  </a:lnTo>
                  <a:lnTo>
                    <a:pt x="85" y="265"/>
                  </a:lnTo>
                  <a:lnTo>
                    <a:pt x="87" y="265"/>
                  </a:lnTo>
                  <a:lnTo>
                    <a:pt x="87" y="265"/>
                  </a:lnTo>
                  <a:lnTo>
                    <a:pt x="87" y="264"/>
                  </a:lnTo>
                  <a:lnTo>
                    <a:pt x="87" y="264"/>
                  </a:lnTo>
                  <a:lnTo>
                    <a:pt x="87" y="262"/>
                  </a:lnTo>
                  <a:lnTo>
                    <a:pt x="88" y="260"/>
                  </a:lnTo>
                  <a:lnTo>
                    <a:pt x="87" y="260"/>
                  </a:lnTo>
                  <a:lnTo>
                    <a:pt x="87" y="260"/>
                  </a:lnTo>
                  <a:lnTo>
                    <a:pt x="87" y="260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8" y="257"/>
                  </a:lnTo>
                  <a:lnTo>
                    <a:pt x="90" y="259"/>
                  </a:lnTo>
                  <a:lnTo>
                    <a:pt x="90" y="257"/>
                  </a:lnTo>
                  <a:lnTo>
                    <a:pt x="91" y="259"/>
                  </a:lnTo>
                  <a:lnTo>
                    <a:pt x="91" y="260"/>
                  </a:lnTo>
                  <a:lnTo>
                    <a:pt x="90" y="262"/>
                  </a:lnTo>
                  <a:lnTo>
                    <a:pt x="90" y="262"/>
                  </a:lnTo>
                  <a:lnTo>
                    <a:pt x="91" y="262"/>
                  </a:lnTo>
                  <a:lnTo>
                    <a:pt x="91" y="260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3" y="262"/>
                  </a:lnTo>
                  <a:lnTo>
                    <a:pt x="93" y="264"/>
                  </a:lnTo>
                  <a:lnTo>
                    <a:pt x="93" y="264"/>
                  </a:lnTo>
                  <a:lnTo>
                    <a:pt x="93" y="265"/>
                  </a:lnTo>
                  <a:lnTo>
                    <a:pt x="91" y="265"/>
                  </a:lnTo>
                  <a:lnTo>
                    <a:pt x="94" y="265"/>
                  </a:lnTo>
                  <a:lnTo>
                    <a:pt x="94" y="265"/>
                  </a:lnTo>
                  <a:lnTo>
                    <a:pt x="93" y="265"/>
                  </a:lnTo>
                  <a:lnTo>
                    <a:pt x="93" y="264"/>
                  </a:lnTo>
                  <a:lnTo>
                    <a:pt x="93" y="264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7" y="262"/>
                  </a:lnTo>
                  <a:lnTo>
                    <a:pt x="97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100" y="265"/>
                  </a:lnTo>
                  <a:lnTo>
                    <a:pt x="100" y="265"/>
                  </a:lnTo>
                  <a:lnTo>
                    <a:pt x="102" y="265"/>
                  </a:lnTo>
                  <a:lnTo>
                    <a:pt x="102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8" y="268"/>
                  </a:lnTo>
                  <a:lnTo>
                    <a:pt x="107" y="267"/>
                  </a:lnTo>
                  <a:lnTo>
                    <a:pt x="107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10" y="265"/>
                  </a:lnTo>
                  <a:lnTo>
                    <a:pt x="108" y="265"/>
                  </a:lnTo>
                  <a:lnTo>
                    <a:pt x="108" y="264"/>
                  </a:lnTo>
                  <a:lnTo>
                    <a:pt x="108" y="264"/>
                  </a:lnTo>
                  <a:lnTo>
                    <a:pt x="110" y="262"/>
                  </a:lnTo>
                  <a:lnTo>
                    <a:pt x="113" y="267"/>
                  </a:lnTo>
                  <a:lnTo>
                    <a:pt x="114" y="268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3" y="274"/>
                  </a:lnTo>
                  <a:lnTo>
                    <a:pt x="114" y="276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6" y="277"/>
                  </a:lnTo>
                  <a:lnTo>
                    <a:pt x="116" y="277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6" y="280"/>
                  </a:lnTo>
                  <a:lnTo>
                    <a:pt x="116" y="280"/>
                  </a:lnTo>
                  <a:lnTo>
                    <a:pt x="116" y="280"/>
                  </a:lnTo>
                  <a:lnTo>
                    <a:pt x="114" y="280"/>
                  </a:lnTo>
                  <a:lnTo>
                    <a:pt x="114" y="280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1" y="277"/>
                  </a:lnTo>
                  <a:lnTo>
                    <a:pt x="110" y="277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0" y="280"/>
                  </a:lnTo>
                  <a:lnTo>
                    <a:pt x="110" y="280"/>
                  </a:lnTo>
                  <a:lnTo>
                    <a:pt x="110" y="280"/>
                  </a:lnTo>
                  <a:lnTo>
                    <a:pt x="110" y="282"/>
                  </a:lnTo>
                  <a:lnTo>
                    <a:pt x="108" y="280"/>
                  </a:lnTo>
                  <a:lnTo>
                    <a:pt x="107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5" y="277"/>
                  </a:lnTo>
                  <a:lnTo>
                    <a:pt x="105" y="276"/>
                  </a:lnTo>
                  <a:lnTo>
                    <a:pt x="105" y="276"/>
                  </a:lnTo>
                  <a:lnTo>
                    <a:pt x="104" y="274"/>
                  </a:lnTo>
                  <a:lnTo>
                    <a:pt x="104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0" y="274"/>
                  </a:lnTo>
                  <a:lnTo>
                    <a:pt x="99" y="274"/>
                  </a:lnTo>
                  <a:lnTo>
                    <a:pt x="99" y="274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4"/>
                  </a:lnTo>
                  <a:lnTo>
                    <a:pt x="96" y="276"/>
                  </a:lnTo>
                  <a:lnTo>
                    <a:pt x="94" y="276"/>
                  </a:lnTo>
                  <a:lnTo>
                    <a:pt x="93" y="276"/>
                  </a:lnTo>
                  <a:lnTo>
                    <a:pt x="94" y="276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3"/>
                  </a:lnTo>
                  <a:lnTo>
                    <a:pt x="93" y="273"/>
                  </a:lnTo>
                  <a:lnTo>
                    <a:pt x="93" y="273"/>
                  </a:lnTo>
                  <a:lnTo>
                    <a:pt x="91" y="274"/>
                  </a:lnTo>
                  <a:lnTo>
                    <a:pt x="91" y="276"/>
                  </a:lnTo>
                  <a:lnTo>
                    <a:pt x="90" y="276"/>
                  </a:lnTo>
                  <a:lnTo>
                    <a:pt x="88" y="276"/>
                  </a:lnTo>
                  <a:lnTo>
                    <a:pt x="87" y="274"/>
                  </a:lnTo>
                  <a:lnTo>
                    <a:pt x="87" y="273"/>
                  </a:lnTo>
                  <a:lnTo>
                    <a:pt x="87" y="273"/>
                  </a:lnTo>
                  <a:lnTo>
                    <a:pt x="85" y="274"/>
                  </a:lnTo>
                  <a:lnTo>
                    <a:pt x="85" y="276"/>
                  </a:lnTo>
                  <a:lnTo>
                    <a:pt x="85" y="277"/>
                  </a:lnTo>
                  <a:lnTo>
                    <a:pt x="85" y="279"/>
                  </a:lnTo>
                  <a:lnTo>
                    <a:pt x="87" y="280"/>
                  </a:lnTo>
                  <a:lnTo>
                    <a:pt x="88" y="280"/>
                  </a:lnTo>
                  <a:lnTo>
                    <a:pt x="88" y="280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7" y="282"/>
                  </a:lnTo>
                  <a:lnTo>
                    <a:pt x="85" y="282"/>
                  </a:lnTo>
                  <a:lnTo>
                    <a:pt x="85" y="282"/>
                  </a:lnTo>
                  <a:lnTo>
                    <a:pt x="83" y="284"/>
                  </a:lnTo>
                  <a:lnTo>
                    <a:pt x="83" y="285"/>
                  </a:lnTo>
                  <a:lnTo>
                    <a:pt x="83" y="287"/>
                  </a:lnTo>
                  <a:lnTo>
                    <a:pt x="83" y="288"/>
                  </a:lnTo>
                  <a:lnTo>
                    <a:pt x="85" y="290"/>
                  </a:lnTo>
                  <a:lnTo>
                    <a:pt x="85" y="290"/>
                  </a:lnTo>
                  <a:lnTo>
                    <a:pt x="87" y="291"/>
                  </a:lnTo>
                  <a:lnTo>
                    <a:pt x="87" y="291"/>
                  </a:lnTo>
                  <a:lnTo>
                    <a:pt x="87" y="291"/>
                  </a:lnTo>
                  <a:lnTo>
                    <a:pt x="88" y="291"/>
                  </a:lnTo>
                  <a:lnTo>
                    <a:pt x="88" y="290"/>
                  </a:lnTo>
                  <a:lnTo>
                    <a:pt x="88" y="290"/>
                  </a:lnTo>
                  <a:lnTo>
                    <a:pt x="90" y="291"/>
                  </a:lnTo>
                  <a:lnTo>
                    <a:pt x="90" y="290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3" y="288"/>
                  </a:lnTo>
                  <a:lnTo>
                    <a:pt x="94" y="288"/>
                  </a:lnTo>
                  <a:lnTo>
                    <a:pt x="94" y="290"/>
                  </a:lnTo>
                  <a:lnTo>
                    <a:pt x="96" y="297"/>
                  </a:lnTo>
                  <a:lnTo>
                    <a:pt x="97" y="299"/>
                  </a:lnTo>
                  <a:lnTo>
                    <a:pt x="97" y="299"/>
                  </a:lnTo>
                  <a:lnTo>
                    <a:pt x="99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4" y="304"/>
                  </a:lnTo>
                  <a:lnTo>
                    <a:pt x="105" y="307"/>
                  </a:lnTo>
                  <a:lnTo>
                    <a:pt x="105" y="308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4"/>
                  </a:lnTo>
                  <a:lnTo>
                    <a:pt x="105" y="316"/>
                  </a:lnTo>
                  <a:lnTo>
                    <a:pt x="105" y="316"/>
                  </a:lnTo>
                  <a:lnTo>
                    <a:pt x="107" y="316"/>
                  </a:lnTo>
                  <a:lnTo>
                    <a:pt x="108" y="314"/>
                  </a:lnTo>
                  <a:lnTo>
                    <a:pt x="108" y="314"/>
                  </a:lnTo>
                  <a:lnTo>
                    <a:pt x="108" y="314"/>
                  </a:lnTo>
                  <a:lnTo>
                    <a:pt x="110" y="313"/>
                  </a:lnTo>
                  <a:lnTo>
                    <a:pt x="110" y="313"/>
                  </a:lnTo>
                  <a:lnTo>
                    <a:pt x="110" y="313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6"/>
                  </a:lnTo>
                  <a:lnTo>
                    <a:pt x="110" y="316"/>
                  </a:lnTo>
                  <a:lnTo>
                    <a:pt x="110" y="316"/>
                  </a:lnTo>
                  <a:lnTo>
                    <a:pt x="111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1" y="317"/>
                  </a:lnTo>
                  <a:lnTo>
                    <a:pt x="111" y="319"/>
                  </a:lnTo>
                  <a:lnTo>
                    <a:pt x="111" y="319"/>
                  </a:lnTo>
                  <a:lnTo>
                    <a:pt x="111" y="322"/>
                  </a:lnTo>
                  <a:lnTo>
                    <a:pt x="111" y="322"/>
                  </a:lnTo>
                  <a:lnTo>
                    <a:pt x="111" y="322"/>
                  </a:lnTo>
                  <a:lnTo>
                    <a:pt x="111" y="324"/>
                  </a:lnTo>
                  <a:lnTo>
                    <a:pt x="111" y="324"/>
                  </a:lnTo>
                  <a:lnTo>
                    <a:pt x="110" y="324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4"/>
                  </a:lnTo>
                  <a:lnTo>
                    <a:pt x="110" y="325"/>
                  </a:lnTo>
                  <a:lnTo>
                    <a:pt x="110" y="325"/>
                  </a:lnTo>
                  <a:lnTo>
                    <a:pt x="111" y="325"/>
                  </a:lnTo>
                  <a:lnTo>
                    <a:pt x="111" y="325"/>
                  </a:lnTo>
                  <a:lnTo>
                    <a:pt x="113" y="325"/>
                  </a:lnTo>
                  <a:lnTo>
                    <a:pt x="113" y="325"/>
                  </a:lnTo>
                  <a:lnTo>
                    <a:pt x="113" y="327"/>
                  </a:lnTo>
                  <a:lnTo>
                    <a:pt x="113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7"/>
                  </a:lnTo>
                  <a:lnTo>
                    <a:pt x="111" y="328"/>
                  </a:lnTo>
                  <a:lnTo>
                    <a:pt x="110" y="330"/>
                  </a:lnTo>
                  <a:lnTo>
                    <a:pt x="110" y="328"/>
                  </a:lnTo>
                  <a:lnTo>
                    <a:pt x="111" y="328"/>
                  </a:lnTo>
                  <a:lnTo>
                    <a:pt x="111" y="330"/>
                  </a:lnTo>
                  <a:lnTo>
                    <a:pt x="111" y="330"/>
                  </a:lnTo>
                  <a:lnTo>
                    <a:pt x="110" y="331"/>
                  </a:lnTo>
                  <a:lnTo>
                    <a:pt x="110" y="331"/>
                  </a:lnTo>
                  <a:lnTo>
                    <a:pt x="110" y="331"/>
                  </a:lnTo>
                  <a:lnTo>
                    <a:pt x="113" y="331"/>
                  </a:lnTo>
                  <a:lnTo>
                    <a:pt x="113" y="331"/>
                  </a:lnTo>
                  <a:lnTo>
                    <a:pt x="114" y="333"/>
                  </a:lnTo>
                  <a:lnTo>
                    <a:pt x="114" y="334"/>
                  </a:lnTo>
                  <a:lnTo>
                    <a:pt x="114" y="334"/>
                  </a:lnTo>
                  <a:lnTo>
                    <a:pt x="116" y="334"/>
                  </a:lnTo>
                  <a:lnTo>
                    <a:pt x="116" y="334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6" y="333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9" y="331"/>
                  </a:lnTo>
                  <a:lnTo>
                    <a:pt x="119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2" y="331"/>
                  </a:lnTo>
                  <a:lnTo>
                    <a:pt x="124" y="331"/>
                  </a:lnTo>
                  <a:lnTo>
                    <a:pt x="124" y="330"/>
                  </a:lnTo>
                  <a:lnTo>
                    <a:pt x="124" y="330"/>
                  </a:lnTo>
                  <a:lnTo>
                    <a:pt x="124" y="330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5" y="330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7"/>
                  </a:lnTo>
                  <a:lnTo>
                    <a:pt x="127" y="327"/>
                  </a:lnTo>
                  <a:lnTo>
                    <a:pt x="128" y="327"/>
                  </a:lnTo>
                  <a:lnTo>
                    <a:pt x="128" y="327"/>
                  </a:lnTo>
                  <a:lnTo>
                    <a:pt x="128" y="325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2"/>
                  </a:lnTo>
                  <a:lnTo>
                    <a:pt x="130" y="322"/>
                  </a:lnTo>
                  <a:lnTo>
                    <a:pt x="127" y="317"/>
                  </a:lnTo>
                  <a:lnTo>
                    <a:pt x="127" y="317"/>
                  </a:lnTo>
                  <a:lnTo>
                    <a:pt x="127" y="317"/>
                  </a:lnTo>
                  <a:lnTo>
                    <a:pt x="127" y="316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30" y="319"/>
                  </a:lnTo>
                  <a:lnTo>
                    <a:pt x="131" y="325"/>
                  </a:lnTo>
                  <a:lnTo>
                    <a:pt x="131" y="325"/>
                  </a:lnTo>
                  <a:lnTo>
                    <a:pt x="133" y="325"/>
                  </a:lnTo>
                  <a:lnTo>
                    <a:pt x="134" y="327"/>
                  </a:lnTo>
                  <a:lnTo>
                    <a:pt x="134" y="327"/>
                  </a:lnTo>
                  <a:lnTo>
                    <a:pt x="134" y="330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9" y="328"/>
                  </a:lnTo>
                  <a:lnTo>
                    <a:pt x="137" y="330"/>
                  </a:lnTo>
                  <a:lnTo>
                    <a:pt x="139" y="330"/>
                  </a:lnTo>
                  <a:lnTo>
                    <a:pt x="139" y="330"/>
                  </a:lnTo>
                  <a:lnTo>
                    <a:pt x="139" y="330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3"/>
                  </a:lnTo>
                  <a:lnTo>
                    <a:pt x="136" y="331"/>
                  </a:lnTo>
                  <a:lnTo>
                    <a:pt x="134" y="333"/>
                  </a:lnTo>
                  <a:lnTo>
                    <a:pt x="137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42" y="336"/>
                  </a:lnTo>
                  <a:lnTo>
                    <a:pt x="142" y="336"/>
                  </a:lnTo>
                  <a:lnTo>
                    <a:pt x="144" y="334"/>
                  </a:lnTo>
                  <a:lnTo>
                    <a:pt x="148" y="330"/>
                  </a:lnTo>
                  <a:lnTo>
                    <a:pt x="148" y="331"/>
                  </a:lnTo>
                  <a:lnTo>
                    <a:pt x="150" y="331"/>
                  </a:lnTo>
                  <a:lnTo>
                    <a:pt x="151" y="330"/>
                  </a:lnTo>
                  <a:lnTo>
                    <a:pt x="153" y="330"/>
                  </a:lnTo>
                  <a:lnTo>
                    <a:pt x="156" y="330"/>
                  </a:lnTo>
                  <a:lnTo>
                    <a:pt x="159" y="331"/>
                  </a:lnTo>
                  <a:lnTo>
                    <a:pt x="161" y="333"/>
                  </a:lnTo>
                  <a:lnTo>
                    <a:pt x="161" y="331"/>
                  </a:lnTo>
                  <a:lnTo>
                    <a:pt x="161" y="330"/>
                  </a:lnTo>
                  <a:lnTo>
                    <a:pt x="162" y="330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7"/>
                  </a:lnTo>
                  <a:lnTo>
                    <a:pt x="167" y="328"/>
                  </a:lnTo>
                  <a:lnTo>
                    <a:pt x="167" y="328"/>
                  </a:lnTo>
                  <a:lnTo>
                    <a:pt x="168" y="328"/>
                  </a:lnTo>
                  <a:lnTo>
                    <a:pt x="170" y="328"/>
                  </a:lnTo>
                  <a:lnTo>
                    <a:pt x="173" y="325"/>
                  </a:lnTo>
                  <a:lnTo>
                    <a:pt x="174" y="325"/>
                  </a:lnTo>
                  <a:lnTo>
                    <a:pt x="176" y="325"/>
                  </a:lnTo>
                  <a:lnTo>
                    <a:pt x="179" y="327"/>
                  </a:lnTo>
                  <a:lnTo>
                    <a:pt x="179" y="325"/>
                  </a:lnTo>
                  <a:lnTo>
                    <a:pt x="181" y="325"/>
                  </a:lnTo>
                  <a:lnTo>
                    <a:pt x="185" y="328"/>
                  </a:lnTo>
                  <a:lnTo>
                    <a:pt x="187" y="328"/>
                  </a:lnTo>
                  <a:lnTo>
                    <a:pt x="188" y="330"/>
                  </a:lnTo>
                  <a:lnTo>
                    <a:pt x="188" y="330"/>
                  </a:lnTo>
                  <a:lnTo>
                    <a:pt x="188" y="330"/>
                  </a:lnTo>
                  <a:lnTo>
                    <a:pt x="190" y="330"/>
                  </a:lnTo>
                  <a:lnTo>
                    <a:pt x="190" y="330"/>
                  </a:lnTo>
                  <a:lnTo>
                    <a:pt x="191" y="331"/>
                  </a:lnTo>
                  <a:lnTo>
                    <a:pt x="191" y="333"/>
                  </a:lnTo>
                  <a:lnTo>
                    <a:pt x="191" y="333"/>
                  </a:lnTo>
                  <a:lnTo>
                    <a:pt x="193" y="331"/>
                  </a:lnTo>
                  <a:lnTo>
                    <a:pt x="193" y="330"/>
                  </a:lnTo>
                  <a:lnTo>
                    <a:pt x="194" y="330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0"/>
                  </a:lnTo>
                  <a:lnTo>
                    <a:pt x="197" y="330"/>
                  </a:lnTo>
                  <a:lnTo>
                    <a:pt x="199" y="330"/>
                  </a:lnTo>
                  <a:lnTo>
                    <a:pt x="199" y="331"/>
                  </a:lnTo>
                  <a:lnTo>
                    <a:pt x="202" y="330"/>
                  </a:lnTo>
                  <a:lnTo>
                    <a:pt x="204" y="331"/>
                  </a:lnTo>
                  <a:lnTo>
                    <a:pt x="205" y="331"/>
                  </a:lnTo>
                  <a:lnTo>
                    <a:pt x="207" y="331"/>
                  </a:lnTo>
                  <a:lnTo>
                    <a:pt x="207" y="330"/>
                  </a:lnTo>
                  <a:lnTo>
                    <a:pt x="205" y="330"/>
                  </a:lnTo>
                  <a:lnTo>
                    <a:pt x="207" y="330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7" y="327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5" y="327"/>
                  </a:lnTo>
                  <a:lnTo>
                    <a:pt x="205" y="327"/>
                  </a:lnTo>
                  <a:lnTo>
                    <a:pt x="205" y="325"/>
                  </a:lnTo>
                  <a:lnTo>
                    <a:pt x="208" y="324"/>
                  </a:lnTo>
                  <a:lnTo>
                    <a:pt x="208" y="324"/>
                  </a:lnTo>
                  <a:lnTo>
                    <a:pt x="208" y="322"/>
                  </a:lnTo>
                  <a:lnTo>
                    <a:pt x="207" y="321"/>
                  </a:lnTo>
                  <a:lnTo>
                    <a:pt x="211" y="322"/>
                  </a:lnTo>
                  <a:lnTo>
                    <a:pt x="211" y="324"/>
                  </a:lnTo>
                  <a:lnTo>
                    <a:pt x="211" y="324"/>
                  </a:lnTo>
                  <a:lnTo>
                    <a:pt x="213" y="324"/>
                  </a:lnTo>
                  <a:lnTo>
                    <a:pt x="213" y="325"/>
                  </a:lnTo>
                  <a:lnTo>
                    <a:pt x="216" y="330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6" y="333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4"/>
                  </a:lnTo>
                  <a:lnTo>
                    <a:pt x="217" y="334"/>
                  </a:lnTo>
                  <a:lnTo>
                    <a:pt x="219" y="336"/>
                  </a:lnTo>
                  <a:lnTo>
                    <a:pt x="221" y="336"/>
                  </a:lnTo>
                  <a:lnTo>
                    <a:pt x="221" y="336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1" y="333"/>
                  </a:lnTo>
                  <a:lnTo>
                    <a:pt x="221" y="331"/>
                  </a:lnTo>
                  <a:lnTo>
                    <a:pt x="222" y="331"/>
                  </a:lnTo>
                  <a:lnTo>
                    <a:pt x="222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225" y="330"/>
                  </a:lnTo>
                  <a:lnTo>
                    <a:pt x="225" y="330"/>
                  </a:lnTo>
                  <a:lnTo>
                    <a:pt x="225" y="328"/>
                  </a:lnTo>
                  <a:lnTo>
                    <a:pt x="224" y="328"/>
                  </a:lnTo>
                  <a:lnTo>
                    <a:pt x="225" y="327"/>
                  </a:lnTo>
                  <a:lnTo>
                    <a:pt x="227" y="327"/>
                  </a:lnTo>
                  <a:lnTo>
                    <a:pt x="228" y="330"/>
                  </a:lnTo>
                  <a:lnTo>
                    <a:pt x="228" y="331"/>
                  </a:lnTo>
                  <a:lnTo>
                    <a:pt x="228" y="333"/>
                  </a:lnTo>
                  <a:lnTo>
                    <a:pt x="230" y="333"/>
                  </a:lnTo>
                  <a:lnTo>
                    <a:pt x="230" y="334"/>
                  </a:lnTo>
                  <a:lnTo>
                    <a:pt x="231" y="334"/>
                  </a:lnTo>
                  <a:lnTo>
                    <a:pt x="233" y="336"/>
                  </a:lnTo>
                  <a:lnTo>
                    <a:pt x="236" y="336"/>
                  </a:lnTo>
                  <a:lnTo>
                    <a:pt x="238" y="337"/>
                  </a:lnTo>
                  <a:lnTo>
                    <a:pt x="236" y="337"/>
                  </a:lnTo>
                  <a:lnTo>
                    <a:pt x="234" y="339"/>
                  </a:lnTo>
                  <a:lnTo>
                    <a:pt x="234" y="341"/>
                  </a:lnTo>
                  <a:lnTo>
                    <a:pt x="238" y="342"/>
                  </a:lnTo>
                  <a:lnTo>
                    <a:pt x="239" y="342"/>
                  </a:lnTo>
                  <a:lnTo>
                    <a:pt x="241" y="341"/>
                  </a:lnTo>
                  <a:lnTo>
                    <a:pt x="242" y="341"/>
                  </a:lnTo>
                  <a:lnTo>
                    <a:pt x="242" y="341"/>
                  </a:lnTo>
                  <a:lnTo>
                    <a:pt x="244" y="342"/>
                  </a:lnTo>
                  <a:lnTo>
                    <a:pt x="244" y="342"/>
                  </a:lnTo>
                  <a:lnTo>
                    <a:pt x="244" y="341"/>
                  </a:lnTo>
                  <a:lnTo>
                    <a:pt x="244" y="341"/>
                  </a:lnTo>
                  <a:lnTo>
                    <a:pt x="245" y="345"/>
                  </a:lnTo>
                  <a:lnTo>
                    <a:pt x="247" y="345"/>
                  </a:lnTo>
                  <a:lnTo>
                    <a:pt x="248" y="345"/>
                  </a:lnTo>
                  <a:lnTo>
                    <a:pt x="250" y="345"/>
                  </a:lnTo>
                  <a:lnTo>
                    <a:pt x="250" y="344"/>
                  </a:lnTo>
                  <a:lnTo>
                    <a:pt x="248" y="344"/>
                  </a:lnTo>
                  <a:lnTo>
                    <a:pt x="247" y="344"/>
                  </a:lnTo>
                  <a:lnTo>
                    <a:pt x="247" y="344"/>
                  </a:lnTo>
                  <a:lnTo>
                    <a:pt x="247" y="342"/>
                  </a:lnTo>
                  <a:lnTo>
                    <a:pt x="248" y="342"/>
                  </a:lnTo>
                  <a:lnTo>
                    <a:pt x="253" y="342"/>
                  </a:lnTo>
                  <a:lnTo>
                    <a:pt x="254" y="344"/>
                  </a:lnTo>
                  <a:lnTo>
                    <a:pt x="254" y="344"/>
                  </a:lnTo>
                  <a:lnTo>
                    <a:pt x="256" y="345"/>
                  </a:lnTo>
                  <a:lnTo>
                    <a:pt x="254" y="345"/>
                  </a:lnTo>
                  <a:lnTo>
                    <a:pt x="254" y="345"/>
                  </a:lnTo>
                  <a:lnTo>
                    <a:pt x="258" y="347"/>
                  </a:lnTo>
                  <a:lnTo>
                    <a:pt x="258" y="347"/>
                  </a:lnTo>
                  <a:lnTo>
                    <a:pt x="261" y="344"/>
                  </a:lnTo>
                  <a:lnTo>
                    <a:pt x="261" y="344"/>
                  </a:lnTo>
                  <a:lnTo>
                    <a:pt x="264" y="345"/>
                  </a:lnTo>
                  <a:lnTo>
                    <a:pt x="262" y="347"/>
                  </a:lnTo>
                  <a:lnTo>
                    <a:pt x="262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50"/>
                  </a:lnTo>
                  <a:lnTo>
                    <a:pt x="268" y="350"/>
                  </a:lnTo>
                  <a:lnTo>
                    <a:pt x="265" y="350"/>
                  </a:lnTo>
                  <a:lnTo>
                    <a:pt x="265" y="350"/>
                  </a:lnTo>
                  <a:lnTo>
                    <a:pt x="265" y="351"/>
                  </a:lnTo>
                  <a:lnTo>
                    <a:pt x="265" y="351"/>
                  </a:lnTo>
                  <a:lnTo>
                    <a:pt x="267" y="351"/>
                  </a:lnTo>
                  <a:lnTo>
                    <a:pt x="268" y="353"/>
                  </a:lnTo>
                  <a:lnTo>
                    <a:pt x="268" y="354"/>
                  </a:lnTo>
                  <a:lnTo>
                    <a:pt x="267" y="354"/>
                  </a:lnTo>
                  <a:lnTo>
                    <a:pt x="267" y="354"/>
                  </a:lnTo>
                  <a:lnTo>
                    <a:pt x="265" y="356"/>
                  </a:lnTo>
                  <a:lnTo>
                    <a:pt x="259" y="357"/>
                  </a:lnTo>
                  <a:lnTo>
                    <a:pt x="258" y="357"/>
                  </a:lnTo>
                  <a:lnTo>
                    <a:pt x="254" y="357"/>
                  </a:lnTo>
                  <a:lnTo>
                    <a:pt x="253" y="357"/>
                  </a:lnTo>
                  <a:lnTo>
                    <a:pt x="250" y="356"/>
                  </a:lnTo>
                  <a:lnTo>
                    <a:pt x="248" y="356"/>
                  </a:lnTo>
                  <a:lnTo>
                    <a:pt x="247" y="356"/>
                  </a:lnTo>
                  <a:lnTo>
                    <a:pt x="245" y="357"/>
                  </a:lnTo>
                  <a:lnTo>
                    <a:pt x="244" y="357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1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7" y="362"/>
                  </a:lnTo>
                  <a:lnTo>
                    <a:pt x="247" y="362"/>
                  </a:lnTo>
                  <a:lnTo>
                    <a:pt x="248" y="364"/>
                  </a:lnTo>
                  <a:lnTo>
                    <a:pt x="250" y="364"/>
                  </a:lnTo>
                  <a:lnTo>
                    <a:pt x="250" y="365"/>
                  </a:lnTo>
                  <a:lnTo>
                    <a:pt x="250" y="365"/>
                  </a:lnTo>
                  <a:lnTo>
                    <a:pt x="248" y="368"/>
                  </a:lnTo>
                  <a:lnTo>
                    <a:pt x="248" y="368"/>
                  </a:lnTo>
                  <a:lnTo>
                    <a:pt x="247" y="368"/>
                  </a:lnTo>
                  <a:lnTo>
                    <a:pt x="247" y="368"/>
                  </a:lnTo>
                  <a:lnTo>
                    <a:pt x="247" y="368"/>
                  </a:lnTo>
                  <a:lnTo>
                    <a:pt x="244" y="370"/>
                  </a:lnTo>
                  <a:lnTo>
                    <a:pt x="244" y="370"/>
                  </a:lnTo>
                  <a:lnTo>
                    <a:pt x="242" y="370"/>
                  </a:lnTo>
                  <a:lnTo>
                    <a:pt x="241" y="368"/>
                  </a:lnTo>
                  <a:lnTo>
                    <a:pt x="239" y="367"/>
                  </a:lnTo>
                  <a:lnTo>
                    <a:pt x="238" y="365"/>
                  </a:lnTo>
                  <a:lnTo>
                    <a:pt x="238" y="365"/>
                  </a:lnTo>
                  <a:lnTo>
                    <a:pt x="236" y="364"/>
                  </a:lnTo>
                  <a:lnTo>
                    <a:pt x="230" y="357"/>
                  </a:lnTo>
                  <a:lnTo>
                    <a:pt x="228" y="357"/>
                  </a:lnTo>
                  <a:lnTo>
                    <a:pt x="228" y="357"/>
                  </a:lnTo>
                  <a:lnTo>
                    <a:pt x="224" y="356"/>
                  </a:lnTo>
                  <a:lnTo>
                    <a:pt x="216" y="351"/>
                  </a:lnTo>
                  <a:lnTo>
                    <a:pt x="210" y="350"/>
                  </a:lnTo>
                  <a:lnTo>
                    <a:pt x="210" y="350"/>
                  </a:lnTo>
                  <a:lnTo>
                    <a:pt x="208" y="350"/>
                  </a:lnTo>
                  <a:lnTo>
                    <a:pt x="208" y="350"/>
                  </a:lnTo>
                  <a:lnTo>
                    <a:pt x="207" y="350"/>
                  </a:lnTo>
                  <a:lnTo>
                    <a:pt x="205" y="348"/>
                  </a:lnTo>
                  <a:lnTo>
                    <a:pt x="204" y="347"/>
                  </a:lnTo>
                  <a:lnTo>
                    <a:pt x="202" y="347"/>
                  </a:lnTo>
                  <a:lnTo>
                    <a:pt x="201" y="347"/>
                  </a:lnTo>
                  <a:lnTo>
                    <a:pt x="201" y="347"/>
                  </a:lnTo>
                  <a:lnTo>
                    <a:pt x="196" y="345"/>
                  </a:lnTo>
                  <a:lnTo>
                    <a:pt x="194" y="345"/>
                  </a:lnTo>
                  <a:lnTo>
                    <a:pt x="194" y="345"/>
                  </a:lnTo>
                  <a:lnTo>
                    <a:pt x="193" y="345"/>
                  </a:lnTo>
                  <a:lnTo>
                    <a:pt x="193" y="345"/>
                  </a:lnTo>
                  <a:lnTo>
                    <a:pt x="193" y="345"/>
                  </a:lnTo>
                  <a:lnTo>
                    <a:pt x="190" y="344"/>
                  </a:lnTo>
                  <a:lnTo>
                    <a:pt x="190" y="344"/>
                  </a:lnTo>
                  <a:lnTo>
                    <a:pt x="188" y="342"/>
                  </a:lnTo>
                  <a:lnTo>
                    <a:pt x="188" y="341"/>
                  </a:lnTo>
                  <a:lnTo>
                    <a:pt x="188" y="339"/>
                  </a:lnTo>
                  <a:lnTo>
                    <a:pt x="187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5" y="339"/>
                  </a:lnTo>
                  <a:lnTo>
                    <a:pt x="185" y="339"/>
                  </a:lnTo>
                  <a:lnTo>
                    <a:pt x="184" y="339"/>
                  </a:lnTo>
                  <a:lnTo>
                    <a:pt x="184" y="339"/>
                  </a:lnTo>
                  <a:lnTo>
                    <a:pt x="181" y="337"/>
                  </a:lnTo>
                  <a:lnTo>
                    <a:pt x="181" y="337"/>
                  </a:lnTo>
                  <a:lnTo>
                    <a:pt x="181" y="336"/>
                  </a:lnTo>
                  <a:lnTo>
                    <a:pt x="179" y="334"/>
                  </a:lnTo>
                  <a:lnTo>
                    <a:pt x="179" y="334"/>
                  </a:lnTo>
                  <a:lnTo>
                    <a:pt x="177" y="333"/>
                  </a:lnTo>
                  <a:lnTo>
                    <a:pt x="177" y="333"/>
                  </a:lnTo>
                  <a:lnTo>
                    <a:pt x="176" y="333"/>
                  </a:lnTo>
                  <a:lnTo>
                    <a:pt x="174" y="333"/>
                  </a:lnTo>
                  <a:lnTo>
                    <a:pt x="174" y="331"/>
                  </a:lnTo>
                  <a:lnTo>
                    <a:pt x="173" y="333"/>
                  </a:lnTo>
                  <a:lnTo>
                    <a:pt x="173" y="333"/>
                  </a:lnTo>
                  <a:lnTo>
                    <a:pt x="171" y="333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1" y="336"/>
                  </a:lnTo>
                  <a:lnTo>
                    <a:pt x="159" y="337"/>
                  </a:lnTo>
                  <a:lnTo>
                    <a:pt x="156" y="344"/>
                  </a:lnTo>
                  <a:lnTo>
                    <a:pt x="153" y="347"/>
                  </a:lnTo>
                  <a:lnTo>
                    <a:pt x="151" y="348"/>
                  </a:lnTo>
                  <a:lnTo>
                    <a:pt x="150" y="348"/>
                  </a:lnTo>
                  <a:lnTo>
                    <a:pt x="148" y="350"/>
                  </a:lnTo>
                  <a:lnTo>
                    <a:pt x="142" y="348"/>
                  </a:lnTo>
                  <a:lnTo>
                    <a:pt x="139" y="345"/>
                  </a:lnTo>
                  <a:lnTo>
                    <a:pt x="137" y="345"/>
                  </a:lnTo>
                  <a:lnTo>
                    <a:pt x="136" y="345"/>
                  </a:lnTo>
                  <a:lnTo>
                    <a:pt x="134" y="344"/>
                  </a:lnTo>
                  <a:lnTo>
                    <a:pt x="133" y="344"/>
                  </a:lnTo>
                  <a:lnTo>
                    <a:pt x="133" y="344"/>
                  </a:lnTo>
                  <a:lnTo>
                    <a:pt x="133" y="344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31" y="350"/>
                  </a:lnTo>
                  <a:lnTo>
                    <a:pt x="131" y="351"/>
                  </a:lnTo>
                  <a:lnTo>
                    <a:pt x="130" y="351"/>
                  </a:lnTo>
                  <a:lnTo>
                    <a:pt x="128" y="356"/>
                  </a:lnTo>
                  <a:lnTo>
                    <a:pt x="128" y="357"/>
                  </a:lnTo>
                  <a:lnTo>
                    <a:pt x="124" y="362"/>
                  </a:lnTo>
                  <a:lnTo>
                    <a:pt x="125" y="362"/>
                  </a:lnTo>
                  <a:lnTo>
                    <a:pt x="125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2"/>
                  </a:lnTo>
                  <a:lnTo>
                    <a:pt x="127" y="362"/>
                  </a:lnTo>
                  <a:lnTo>
                    <a:pt x="125" y="364"/>
                  </a:lnTo>
                  <a:lnTo>
                    <a:pt x="125" y="364"/>
                  </a:lnTo>
                  <a:lnTo>
                    <a:pt x="124" y="364"/>
                  </a:lnTo>
                  <a:lnTo>
                    <a:pt x="122" y="365"/>
                  </a:lnTo>
                  <a:lnTo>
                    <a:pt x="119" y="368"/>
                  </a:lnTo>
                  <a:lnTo>
                    <a:pt x="116" y="370"/>
                  </a:lnTo>
                  <a:lnTo>
                    <a:pt x="113" y="368"/>
                  </a:lnTo>
                  <a:lnTo>
                    <a:pt x="113" y="368"/>
                  </a:lnTo>
                  <a:lnTo>
                    <a:pt x="111" y="374"/>
                  </a:lnTo>
                  <a:lnTo>
                    <a:pt x="111" y="376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3" y="379"/>
                  </a:lnTo>
                  <a:lnTo>
                    <a:pt x="120" y="381"/>
                  </a:lnTo>
                  <a:lnTo>
                    <a:pt x="124" y="382"/>
                  </a:lnTo>
                  <a:lnTo>
                    <a:pt x="124" y="384"/>
                  </a:lnTo>
                  <a:lnTo>
                    <a:pt x="125" y="385"/>
                  </a:lnTo>
                  <a:lnTo>
                    <a:pt x="127" y="390"/>
                  </a:lnTo>
                  <a:lnTo>
                    <a:pt x="127" y="391"/>
                  </a:lnTo>
                  <a:lnTo>
                    <a:pt x="127" y="393"/>
                  </a:lnTo>
                  <a:lnTo>
                    <a:pt x="125" y="394"/>
                  </a:lnTo>
                  <a:lnTo>
                    <a:pt x="127" y="394"/>
                  </a:lnTo>
                  <a:lnTo>
                    <a:pt x="127" y="396"/>
                  </a:lnTo>
                  <a:lnTo>
                    <a:pt x="127" y="396"/>
                  </a:lnTo>
                  <a:lnTo>
                    <a:pt x="127" y="398"/>
                  </a:lnTo>
                  <a:lnTo>
                    <a:pt x="127" y="398"/>
                  </a:lnTo>
                  <a:lnTo>
                    <a:pt x="127" y="394"/>
                  </a:lnTo>
                  <a:lnTo>
                    <a:pt x="128" y="394"/>
                  </a:lnTo>
                  <a:lnTo>
                    <a:pt x="133" y="396"/>
                  </a:lnTo>
                  <a:lnTo>
                    <a:pt x="134" y="396"/>
                  </a:lnTo>
                  <a:lnTo>
                    <a:pt x="136" y="399"/>
                  </a:lnTo>
                  <a:lnTo>
                    <a:pt x="136" y="399"/>
                  </a:lnTo>
                  <a:lnTo>
                    <a:pt x="137" y="401"/>
                  </a:lnTo>
                  <a:lnTo>
                    <a:pt x="144" y="405"/>
                  </a:lnTo>
                  <a:lnTo>
                    <a:pt x="145" y="407"/>
                  </a:lnTo>
                  <a:lnTo>
                    <a:pt x="148" y="410"/>
                  </a:lnTo>
                  <a:lnTo>
                    <a:pt x="153" y="421"/>
                  </a:lnTo>
                  <a:lnTo>
                    <a:pt x="154" y="422"/>
                  </a:lnTo>
                  <a:lnTo>
                    <a:pt x="154" y="424"/>
                  </a:lnTo>
                  <a:lnTo>
                    <a:pt x="154" y="427"/>
                  </a:lnTo>
                  <a:lnTo>
                    <a:pt x="154" y="430"/>
                  </a:lnTo>
                  <a:lnTo>
                    <a:pt x="151" y="433"/>
                  </a:lnTo>
                  <a:lnTo>
                    <a:pt x="147" y="436"/>
                  </a:lnTo>
                  <a:lnTo>
                    <a:pt x="145" y="439"/>
                  </a:lnTo>
                  <a:lnTo>
                    <a:pt x="145" y="442"/>
                  </a:lnTo>
                  <a:lnTo>
                    <a:pt x="145" y="447"/>
                  </a:lnTo>
                  <a:lnTo>
                    <a:pt x="147" y="450"/>
                  </a:lnTo>
                  <a:lnTo>
                    <a:pt x="148" y="453"/>
                  </a:lnTo>
                  <a:lnTo>
                    <a:pt x="150" y="455"/>
                  </a:lnTo>
                  <a:lnTo>
                    <a:pt x="151" y="458"/>
                  </a:lnTo>
                  <a:lnTo>
                    <a:pt x="153" y="461"/>
                  </a:lnTo>
                  <a:lnTo>
                    <a:pt x="153" y="459"/>
                  </a:lnTo>
                  <a:lnTo>
                    <a:pt x="153" y="459"/>
                  </a:lnTo>
                  <a:lnTo>
                    <a:pt x="154" y="459"/>
                  </a:lnTo>
                  <a:lnTo>
                    <a:pt x="154" y="461"/>
                  </a:lnTo>
                  <a:lnTo>
                    <a:pt x="153" y="461"/>
                  </a:lnTo>
                  <a:lnTo>
                    <a:pt x="153" y="461"/>
                  </a:lnTo>
                  <a:lnTo>
                    <a:pt x="154" y="461"/>
                  </a:lnTo>
                  <a:lnTo>
                    <a:pt x="156" y="461"/>
                  </a:lnTo>
                  <a:lnTo>
                    <a:pt x="156" y="462"/>
                  </a:lnTo>
                  <a:lnTo>
                    <a:pt x="156" y="464"/>
                  </a:lnTo>
                  <a:lnTo>
                    <a:pt x="156" y="465"/>
                  </a:lnTo>
                  <a:lnTo>
                    <a:pt x="154" y="467"/>
                  </a:lnTo>
                  <a:lnTo>
                    <a:pt x="154" y="467"/>
                  </a:lnTo>
                  <a:lnTo>
                    <a:pt x="154" y="468"/>
                  </a:lnTo>
                  <a:lnTo>
                    <a:pt x="154" y="470"/>
                  </a:lnTo>
                  <a:lnTo>
                    <a:pt x="154" y="470"/>
                  </a:lnTo>
                  <a:lnTo>
                    <a:pt x="154" y="471"/>
                  </a:lnTo>
                  <a:lnTo>
                    <a:pt x="154" y="471"/>
                  </a:lnTo>
                  <a:lnTo>
                    <a:pt x="156" y="473"/>
                  </a:lnTo>
                  <a:lnTo>
                    <a:pt x="156" y="473"/>
                  </a:lnTo>
                  <a:lnTo>
                    <a:pt x="156" y="473"/>
                  </a:lnTo>
                  <a:lnTo>
                    <a:pt x="157" y="473"/>
                  </a:lnTo>
                  <a:lnTo>
                    <a:pt x="157" y="475"/>
                  </a:lnTo>
                  <a:lnTo>
                    <a:pt x="159" y="475"/>
                  </a:lnTo>
                  <a:lnTo>
                    <a:pt x="161" y="476"/>
                  </a:lnTo>
                  <a:lnTo>
                    <a:pt x="162" y="475"/>
                  </a:lnTo>
                  <a:lnTo>
                    <a:pt x="164" y="475"/>
                  </a:lnTo>
                  <a:lnTo>
                    <a:pt x="164" y="475"/>
                  </a:lnTo>
                  <a:lnTo>
                    <a:pt x="167" y="479"/>
                  </a:lnTo>
                  <a:lnTo>
                    <a:pt x="167" y="479"/>
                  </a:lnTo>
                  <a:lnTo>
                    <a:pt x="168" y="482"/>
                  </a:lnTo>
                  <a:lnTo>
                    <a:pt x="168" y="482"/>
                  </a:lnTo>
                  <a:lnTo>
                    <a:pt x="170" y="482"/>
                  </a:lnTo>
                  <a:lnTo>
                    <a:pt x="170" y="481"/>
                  </a:lnTo>
                  <a:lnTo>
                    <a:pt x="173" y="479"/>
                  </a:lnTo>
                  <a:lnTo>
                    <a:pt x="173" y="478"/>
                  </a:lnTo>
                  <a:lnTo>
                    <a:pt x="173" y="478"/>
                  </a:lnTo>
                  <a:lnTo>
                    <a:pt x="173" y="476"/>
                  </a:lnTo>
                  <a:lnTo>
                    <a:pt x="174" y="476"/>
                  </a:lnTo>
                  <a:lnTo>
                    <a:pt x="176" y="476"/>
                  </a:lnTo>
                  <a:lnTo>
                    <a:pt x="176" y="475"/>
                  </a:lnTo>
                  <a:lnTo>
                    <a:pt x="174" y="475"/>
                  </a:lnTo>
                  <a:lnTo>
                    <a:pt x="173" y="475"/>
                  </a:lnTo>
                  <a:lnTo>
                    <a:pt x="173" y="473"/>
                  </a:lnTo>
                  <a:lnTo>
                    <a:pt x="173" y="473"/>
                  </a:lnTo>
                  <a:lnTo>
                    <a:pt x="173" y="471"/>
                  </a:lnTo>
                  <a:lnTo>
                    <a:pt x="171" y="470"/>
                  </a:lnTo>
                  <a:lnTo>
                    <a:pt x="171" y="470"/>
                  </a:lnTo>
                  <a:lnTo>
                    <a:pt x="171" y="468"/>
                  </a:lnTo>
                  <a:lnTo>
                    <a:pt x="173" y="468"/>
                  </a:lnTo>
                  <a:lnTo>
                    <a:pt x="173" y="459"/>
                  </a:lnTo>
                  <a:lnTo>
                    <a:pt x="173" y="458"/>
                  </a:lnTo>
                  <a:lnTo>
                    <a:pt x="174" y="456"/>
                  </a:lnTo>
                  <a:lnTo>
                    <a:pt x="177" y="456"/>
                  </a:lnTo>
                  <a:lnTo>
                    <a:pt x="179" y="455"/>
                  </a:lnTo>
                  <a:lnTo>
                    <a:pt x="181" y="453"/>
                  </a:lnTo>
                  <a:lnTo>
                    <a:pt x="184" y="455"/>
                  </a:lnTo>
                  <a:lnTo>
                    <a:pt x="188" y="455"/>
                  </a:lnTo>
                  <a:lnTo>
                    <a:pt x="190" y="456"/>
                  </a:lnTo>
                  <a:lnTo>
                    <a:pt x="188" y="458"/>
                  </a:lnTo>
                  <a:lnTo>
                    <a:pt x="188" y="461"/>
                  </a:lnTo>
                  <a:lnTo>
                    <a:pt x="188" y="461"/>
                  </a:lnTo>
                  <a:lnTo>
                    <a:pt x="188" y="462"/>
                  </a:lnTo>
                  <a:lnTo>
                    <a:pt x="188" y="462"/>
                  </a:lnTo>
                  <a:lnTo>
                    <a:pt x="188" y="464"/>
                  </a:lnTo>
                  <a:lnTo>
                    <a:pt x="187" y="464"/>
                  </a:lnTo>
                  <a:lnTo>
                    <a:pt x="188" y="465"/>
                  </a:lnTo>
                  <a:lnTo>
                    <a:pt x="188" y="465"/>
                  </a:lnTo>
                  <a:lnTo>
                    <a:pt x="190" y="467"/>
                  </a:lnTo>
                  <a:lnTo>
                    <a:pt x="193" y="465"/>
                  </a:lnTo>
                  <a:lnTo>
                    <a:pt x="194" y="467"/>
                  </a:lnTo>
                  <a:lnTo>
                    <a:pt x="199" y="473"/>
                  </a:lnTo>
                  <a:lnTo>
                    <a:pt x="201" y="476"/>
                  </a:lnTo>
                  <a:lnTo>
                    <a:pt x="201" y="478"/>
                  </a:lnTo>
                  <a:lnTo>
                    <a:pt x="202" y="479"/>
                  </a:lnTo>
                  <a:lnTo>
                    <a:pt x="202" y="482"/>
                  </a:lnTo>
                  <a:lnTo>
                    <a:pt x="204" y="484"/>
                  </a:lnTo>
                  <a:lnTo>
                    <a:pt x="207" y="484"/>
                  </a:lnTo>
                  <a:lnTo>
                    <a:pt x="205" y="487"/>
                  </a:lnTo>
                  <a:lnTo>
                    <a:pt x="205" y="488"/>
                  </a:lnTo>
                  <a:lnTo>
                    <a:pt x="207" y="490"/>
                  </a:lnTo>
                  <a:lnTo>
                    <a:pt x="207" y="490"/>
                  </a:lnTo>
                  <a:lnTo>
                    <a:pt x="205" y="490"/>
                  </a:lnTo>
                  <a:lnTo>
                    <a:pt x="205" y="491"/>
                  </a:lnTo>
                  <a:lnTo>
                    <a:pt x="205" y="493"/>
                  </a:lnTo>
                  <a:lnTo>
                    <a:pt x="205" y="493"/>
                  </a:lnTo>
                  <a:lnTo>
                    <a:pt x="207" y="493"/>
                  </a:lnTo>
                  <a:lnTo>
                    <a:pt x="205" y="495"/>
                  </a:lnTo>
                  <a:lnTo>
                    <a:pt x="205" y="496"/>
                  </a:lnTo>
                  <a:lnTo>
                    <a:pt x="207" y="496"/>
                  </a:lnTo>
                  <a:lnTo>
                    <a:pt x="207" y="498"/>
                  </a:lnTo>
                  <a:lnTo>
                    <a:pt x="207" y="499"/>
                  </a:lnTo>
                  <a:lnTo>
                    <a:pt x="205" y="499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4" y="502"/>
                  </a:lnTo>
                  <a:lnTo>
                    <a:pt x="205" y="504"/>
                  </a:lnTo>
                  <a:lnTo>
                    <a:pt x="205" y="504"/>
                  </a:lnTo>
                  <a:lnTo>
                    <a:pt x="205" y="505"/>
                  </a:lnTo>
                  <a:lnTo>
                    <a:pt x="207" y="505"/>
                  </a:lnTo>
                  <a:lnTo>
                    <a:pt x="207" y="504"/>
                  </a:lnTo>
                  <a:lnTo>
                    <a:pt x="208" y="504"/>
                  </a:lnTo>
                  <a:lnTo>
                    <a:pt x="208" y="505"/>
                  </a:lnTo>
                  <a:lnTo>
                    <a:pt x="211" y="507"/>
                  </a:lnTo>
                  <a:lnTo>
                    <a:pt x="213" y="507"/>
                  </a:lnTo>
                  <a:lnTo>
                    <a:pt x="213" y="508"/>
                  </a:lnTo>
                  <a:lnTo>
                    <a:pt x="213" y="510"/>
                  </a:lnTo>
                  <a:lnTo>
                    <a:pt x="213" y="511"/>
                  </a:lnTo>
                  <a:lnTo>
                    <a:pt x="214" y="513"/>
                  </a:lnTo>
                  <a:lnTo>
                    <a:pt x="214" y="513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0"/>
                  </a:lnTo>
                  <a:lnTo>
                    <a:pt x="214" y="508"/>
                  </a:lnTo>
                  <a:lnTo>
                    <a:pt x="214" y="508"/>
                  </a:lnTo>
                  <a:lnTo>
                    <a:pt x="216" y="507"/>
                  </a:lnTo>
                  <a:lnTo>
                    <a:pt x="216" y="507"/>
                  </a:lnTo>
                  <a:lnTo>
                    <a:pt x="216" y="507"/>
                  </a:lnTo>
                  <a:lnTo>
                    <a:pt x="214" y="502"/>
                  </a:lnTo>
                  <a:lnTo>
                    <a:pt x="214" y="501"/>
                  </a:lnTo>
                  <a:lnTo>
                    <a:pt x="213" y="499"/>
                  </a:lnTo>
                  <a:lnTo>
                    <a:pt x="213" y="493"/>
                  </a:lnTo>
                  <a:lnTo>
                    <a:pt x="214" y="493"/>
                  </a:lnTo>
                  <a:lnTo>
                    <a:pt x="214" y="491"/>
                  </a:lnTo>
                  <a:lnTo>
                    <a:pt x="216" y="493"/>
                  </a:lnTo>
                  <a:lnTo>
                    <a:pt x="216" y="493"/>
                  </a:lnTo>
                  <a:lnTo>
                    <a:pt x="217" y="491"/>
                  </a:lnTo>
                  <a:lnTo>
                    <a:pt x="216" y="490"/>
                  </a:lnTo>
                  <a:lnTo>
                    <a:pt x="216" y="490"/>
                  </a:lnTo>
                  <a:lnTo>
                    <a:pt x="216" y="488"/>
                  </a:lnTo>
                  <a:lnTo>
                    <a:pt x="216" y="488"/>
                  </a:lnTo>
                  <a:lnTo>
                    <a:pt x="216" y="487"/>
                  </a:lnTo>
                  <a:lnTo>
                    <a:pt x="217" y="487"/>
                  </a:lnTo>
                  <a:lnTo>
                    <a:pt x="217" y="488"/>
                  </a:lnTo>
                  <a:lnTo>
                    <a:pt x="217" y="488"/>
                  </a:lnTo>
                  <a:lnTo>
                    <a:pt x="217" y="490"/>
                  </a:lnTo>
                  <a:lnTo>
                    <a:pt x="219" y="490"/>
                  </a:lnTo>
                  <a:lnTo>
                    <a:pt x="219" y="488"/>
                  </a:lnTo>
                  <a:lnTo>
                    <a:pt x="219" y="487"/>
                  </a:lnTo>
                  <a:lnTo>
                    <a:pt x="217" y="485"/>
                  </a:lnTo>
                  <a:lnTo>
                    <a:pt x="216" y="485"/>
                  </a:lnTo>
                  <a:lnTo>
                    <a:pt x="217" y="484"/>
                  </a:lnTo>
                  <a:lnTo>
                    <a:pt x="217" y="482"/>
                  </a:lnTo>
                  <a:lnTo>
                    <a:pt x="221" y="481"/>
                  </a:lnTo>
                  <a:lnTo>
                    <a:pt x="221" y="478"/>
                  </a:lnTo>
                  <a:lnTo>
                    <a:pt x="224" y="475"/>
                  </a:lnTo>
                  <a:lnTo>
                    <a:pt x="228" y="475"/>
                  </a:lnTo>
                  <a:lnTo>
                    <a:pt x="233" y="475"/>
                  </a:lnTo>
                  <a:lnTo>
                    <a:pt x="234" y="475"/>
                  </a:lnTo>
                  <a:lnTo>
                    <a:pt x="236" y="476"/>
                  </a:lnTo>
                  <a:lnTo>
                    <a:pt x="238" y="478"/>
                  </a:lnTo>
                  <a:lnTo>
                    <a:pt x="238" y="481"/>
                  </a:lnTo>
                  <a:lnTo>
                    <a:pt x="239" y="484"/>
                  </a:lnTo>
                  <a:lnTo>
                    <a:pt x="239" y="484"/>
                  </a:lnTo>
                  <a:lnTo>
                    <a:pt x="238" y="487"/>
                  </a:lnTo>
                  <a:lnTo>
                    <a:pt x="238" y="487"/>
                  </a:lnTo>
                  <a:lnTo>
                    <a:pt x="239" y="488"/>
                  </a:lnTo>
                  <a:lnTo>
                    <a:pt x="239" y="487"/>
                  </a:lnTo>
                  <a:lnTo>
                    <a:pt x="241" y="485"/>
                  </a:lnTo>
                  <a:lnTo>
                    <a:pt x="241" y="485"/>
                  </a:lnTo>
                  <a:lnTo>
                    <a:pt x="244" y="488"/>
                  </a:lnTo>
                  <a:lnTo>
                    <a:pt x="244" y="490"/>
                  </a:lnTo>
                  <a:lnTo>
                    <a:pt x="242" y="491"/>
                  </a:lnTo>
                  <a:lnTo>
                    <a:pt x="245" y="493"/>
                  </a:lnTo>
                  <a:lnTo>
                    <a:pt x="247" y="495"/>
                  </a:lnTo>
                  <a:lnTo>
                    <a:pt x="247" y="495"/>
                  </a:lnTo>
                  <a:lnTo>
                    <a:pt x="248" y="499"/>
                  </a:lnTo>
                  <a:lnTo>
                    <a:pt x="250" y="501"/>
                  </a:lnTo>
                  <a:lnTo>
                    <a:pt x="250" y="501"/>
                  </a:lnTo>
                  <a:lnTo>
                    <a:pt x="251" y="501"/>
                  </a:lnTo>
                  <a:lnTo>
                    <a:pt x="254" y="501"/>
                  </a:lnTo>
                  <a:lnTo>
                    <a:pt x="256" y="501"/>
                  </a:lnTo>
                  <a:lnTo>
                    <a:pt x="258" y="502"/>
                  </a:lnTo>
                  <a:lnTo>
                    <a:pt x="258" y="504"/>
                  </a:lnTo>
                  <a:lnTo>
                    <a:pt x="258" y="505"/>
                  </a:lnTo>
                  <a:lnTo>
                    <a:pt x="258" y="505"/>
                  </a:lnTo>
                  <a:lnTo>
                    <a:pt x="258" y="507"/>
                  </a:lnTo>
                  <a:lnTo>
                    <a:pt x="259" y="507"/>
                  </a:lnTo>
                  <a:lnTo>
                    <a:pt x="259" y="508"/>
                  </a:lnTo>
                  <a:lnTo>
                    <a:pt x="262" y="510"/>
                  </a:lnTo>
                  <a:lnTo>
                    <a:pt x="264" y="508"/>
                  </a:lnTo>
                  <a:lnTo>
                    <a:pt x="264" y="508"/>
                  </a:lnTo>
                  <a:lnTo>
                    <a:pt x="267" y="510"/>
                  </a:lnTo>
                  <a:lnTo>
                    <a:pt x="267" y="507"/>
                  </a:lnTo>
                  <a:lnTo>
                    <a:pt x="265" y="505"/>
                  </a:lnTo>
                  <a:lnTo>
                    <a:pt x="264" y="504"/>
                  </a:lnTo>
                  <a:lnTo>
                    <a:pt x="262" y="502"/>
                  </a:lnTo>
                  <a:lnTo>
                    <a:pt x="262" y="502"/>
                  </a:lnTo>
                  <a:lnTo>
                    <a:pt x="264" y="502"/>
                  </a:lnTo>
                  <a:lnTo>
                    <a:pt x="264" y="501"/>
                  </a:lnTo>
                  <a:lnTo>
                    <a:pt x="262" y="501"/>
                  </a:lnTo>
                  <a:lnTo>
                    <a:pt x="262" y="501"/>
                  </a:lnTo>
                  <a:lnTo>
                    <a:pt x="262" y="499"/>
                  </a:lnTo>
                  <a:lnTo>
                    <a:pt x="264" y="499"/>
                  </a:lnTo>
                  <a:lnTo>
                    <a:pt x="262" y="499"/>
                  </a:lnTo>
                  <a:lnTo>
                    <a:pt x="262" y="499"/>
                  </a:lnTo>
                  <a:lnTo>
                    <a:pt x="262" y="499"/>
                  </a:lnTo>
                  <a:lnTo>
                    <a:pt x="262" y="498"/>
                  </a:lnTo>
                  <a:lnTo>
                    <a:pt x="261" y="498"/>
                  </a:lnTo>
                  <a:lnTo>
                    <a:pt x="259" y="496"/>
                  </a:lnTo>
                  <a:lnTo>
                    <a:pt x="258" y="496"/>
                  </a:lnTo>
                  <a:lnTo>
                    <a:pt x="258" y="496"/>
                  </a:lnTo>
                  <a:lnTo>
                    <a:pt x="258" y="495"/>
                  </a:lnTo>
                  <a:lnTo>
                    <a:pt x="256" y="491"/>
                  </a:lnTo>
                  <a:lnTo>
                    <a:pt x="254" y="490"/>
                  </a:lnTo>
                  <a:lnTo>
                    <a:pt x="254" y="487"/>
                  </a:lnTo>
                  <a:lnTo>
                    <a:pt x="256" y="485"/>
                  </a:lnTo>
                  <a:lnTo>
                    <a:pt x="254" y="485"/>
                  </a:lnTo>
                  <a:lnTo>
                    <a:pt x="254" y="485"/>
                  </a:lnTo>
                  <a:lnTo>
                    <a:pt x="254" y="484"/>
                  </a:lnTo>
                  <a:lnTo>
                    <a:pt x="254" y="484"/>
                  </a:lnTo>
                  <a:lnTo>
                    <a:pt x="254" y="484"/>
                  </a:lnTo>
                  <a:lnTo>
                    <a:pt x="254" y="482"/>
                  </a:lnTo>
                  <a:lnTo>
                    <a:pt x="254" y="481"/>
                  </a:lnTo>
                  <a:lnTo>
                    <a:pt x="256" y="481"/>
                  </a:lnTo>
                  <a:lnTo>
                    <a:pt x="256" y="481"/>
                  </a:lnTo>
                  <a:lnTo>
                    <a:pt x="258" y="482"/>
                  </a:lnTo>
                  <a:lnTo>
                    <a:pt x="259" y="482"/>
                  </a:lnTo>
                  <a:lnTo>
                    <a:pt x="259" y="481"/>
                  </a:lnTo>
                  <a:lnTo>
                    <a:pt x="259" y="481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61" y="478"/>
                  </a:lnTo>
                  <a:lnTo>
                    <a:pt x="261" y="478"/>
                  </a:lnTo>
                  <a:lnTo>
                    <a:pt x="259" y="476"/>
                  </a:lnTo>
                  <a:lnTo>
                    <a:pt x="259" y="476"/>
                  </a:lnTo>
                  <a:lnTo>
                    <a:pt x="258" y="476"/>
                  </a:lnTo>
                  <a:lnTo>
                    <a:pt x="258" y="476"/>
                  </a:lnTo>
                  <a:lnTo>
                    <a:pt x="259" y="476"/>
                  </a:lnTo>
                  <a:lnTo>
                    <a:pt x="259" y="475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6" y="470"/>
                  </a:lnTo>
                  <a:lnTo>
                    <a:pt x="256" y="468"/>
                  </a:lnTo>
                  <a:lnTo>
                    <a:pt x="256" y="468"/>
                  </a:lnTo>
                  <a:lnTo>
                    <a:pt x="254" y="467"/>
                  </a:lnTo>
                  <a:lnTo>
                    <a:pt x="253" y="464"/>
                  </a:lnTo>
                  <a:lnTo>
                    <a:pt x="253" y="462"/>
                  </a:lnTo>
                  <a:lnTo>
                    <a:pt x="253" y="462"/>
                  </a:lnTo>
                  <a:lnTo>
                    <a:pt x="253" y="461"/>
                  </a:lnTo>
                  <a:lnTo>
                    <a:pt x="253" y="461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61"/>
                  </a:lnTo>
                  <a:lnTo>
                    <a:pt x="251" y="459"/>
                  </a:lnTo>
                  <a:lnTo>
                    <a:pt x="251" y="459"/>
                  </a:lnTo>
                  <a:lnTo>
                    <a:pt x="251" y="458"/>
                  </a:lnTo>
                  <a:lnTo>
                    <a:pt x="251" y="458"/>
                  </a:lnTo>
                  <a:lnTo>
                    <a:pt x="253" y="458"/>
                  </a:lnTo>
                  <a:lnTo>
                    <a:pt x="253" y="458"/>
                  </a:lnTo>
                  <a:lnTo>
                    <a:pt x="253" y="456"/>
                  </a:lnTo>
                  <a:lnTo>
                    <a:pt x="251" y="455"/>
                  </a:lnTo>
                  <a:lnTo>
                    <a:pt x="251" y="455"/>
                  </a:lnTo>
                  <a:lnTo>
                    <a:pt x="250" y="451"/>
                  </a:lnTo>
                  <a:lnTo>
                    <a:pt x="250" y="450"/>
                  </a:lnTo>
                  <a:lnTo>
                    <a:pt x="250" y="450"/>
                  </a:lnTo>
                  <a:lnTo>
                    <a:pt x="250" y="450"/>
                  </a:lnTo>
                  <a:lnTo>
                    <a:pt x="250" y="448"/>
                  </a:lnTo>
                  <a:lnTo>
                    <a:pt x="248" y="448"/>
                  </a:lnTo>
                  <a:lnTo>
                    <a:pt x="250" y="447"/>
                  </a:lnTo>
                  <a:lnTo>
                    <a:pt x="248" y="447"/>
                  </a:lnTo>
                  <a:lnTo>
                    <a:pt x="248" y="447"/>
                  </a:lnTo>
                  <a:lnTo>
                    <a:pt x="250" y="447"/>
                  </a:lnTo>
                  <a:lnTo>
                    <a:pt x="248" y="447"/>
                  </a:lnTo>
                  <a:lnTo>
                    <a:pt x="248" y="447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7" y="445"/>
                  </a:lnTo>
                  <a:lnTo>
                    <a:pt x="245" y="445"/>
                  </a:lnTo>
                  <a:lnTo>
                    <a:pt x="244" y="444"/>
                  </a:lnTo>
                  <a:lnTo>
                    <a:pt x="244" y="442"/>
                  </a:lnTo>
                  <a:lnTo>
                    <a:pt x="245" y="441"/>
                  </a:lnTo>
                  <a:lnTo>
                    <a:pt x="245" y="441"/>
                  </a:lnTo>
                  <a:lnTo>
                    <a:pt x="245" y="439"/>
                  </a:lnTo>
                  <a:lnTo>
                    <a:pt x="245" y="439"/>
                  </a:lnTo>
                  <a:lnTo>
                    <a:pt x="244" y="438"/>
                  </a:lnTo>
                  <a:lnTo>
                    <a:pt x="244" y="438"/>
                  </a:lnTo>
                  <a:lnTo>
                    <a:pt x="242" y="433"/>
                  </a:lnTo>
                  <a:lnTo>
                    <a:pt x="241" y="431"/>
                  </a:lnTo>
                  <a:lnTo>
                    <a:pt x="239" y="428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8" y="427"/>
                  </a:lnTo>
                  <a:lnTo>
                    <a:pt x="239" y="425"/>
                  </a:lnTo>
                  <a:lnTo>
                    <a:pt x="238" y="424"/>
                  </a:lnTo>
                  <a:lnTo>
                    <a:pt x="234" y="419"/>
                  </a:lnTo>
                  <a:lnTo>
                    <a:pt x="234" y="419"/>
                  </a:lnTo>
                  <a:lnTo>
                    <a:pt x="234" y="418"/>
                  </a:lnTo>
                  <a:lnTo>
                    <a:pt x="234" y="416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4"/>
                  </a:lnTo>
                  <a:lnTo>
                    <a:pt x="233" y="413"/>
                  </a:lnTo>
                  <a:lnTo>
                    <a:pt x="233" y="413"/>
                  </a:lnTo>
                  <a:lnTo>
                    <a:pt x="233" y="413"/>
                  </a:lnTo>
                  <a:lnTo>
                    <a:pt x="233" y="411"/>
                  </a:lnTo>
                  <a:lnTo>
                    <a:pt x="231" y="411"/>
                  </a:lnTo>
                  <a:lnTo>
                    <a:pt x="231" y="410"/>
                  </a:lnTo>
                  <a:lnTo>
                    <a:pt x="233" y="410"/>
                  </a:lnTo>
                  <a:lnTo>
                    <a:pt x="233" y="408"/>
                  </a:lnTo>
                  <a:lnTo>
                    <a:pt x="233" y="408"/>
                  </a:lnTo>
                  <a:lnTo>
                    <a:pt x="231" y="407"/>
                  </a:lnTo>
                  <a:lnTo>
                    <a:pt x="231" y="407"/>
                  </a:lnTo>
                  <a:lnTo>
                    <a:pt x="231" y="404"/>
                  </a:lnTo>
                  <a:lnTo>
                    <a:pt x="233" y="402"/>
                  </a:lnTo>
                  <a:lnTo>
                    <a:pt x="234" y="402"/>
                  </a:lnTo>
                  <a:lnTo>
                    <a:pt x="236" y="401"/>
                  </a:lnTo>
                  <a:lnTo>
                    <a:pt x="236" y="402"/>
                  </a:lnTo>
                  <a:lnTo>
                    <a:pt x="238" y="404"/>
                  </a:lnTo>
                  <a:lnTo>
                    <a:pt x="238" y="404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39" y="405"/>
                  </a:lnTo>
                  <a:lnTo>
                    <a:pt x="239" y="407"/>
                  </a:lnTo>
                  <a:lnTo>
                    <a:pt x="239" y="407"/>
                  </a:lnTo>
                  <a:lnTo>
                    <a:pt x="241" y="408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4" y="407"/>
                  </a:lnTo>
                  <a:lnTo>
                    <a:pt x="245" y="407"/>
                  </a:lnTo>
                  <a:lnTo>
                    <a:pt x="247" y="408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7" y="407"/>
                  </a:lnTo>
                  <a:lnTo>
                    <a:pt x="247" y="407"/>
                  </a:lnTo>
                  <a:lnTo>
                    <a:pt x="247" y="407"/>
                  </a:lnTo>
                  <a:lnTo>
                    <a:pt x="247" y="408"/>
                  </a:lnTo>
                  <a:lnTo>
                    <a:pt x="247" y="408"/>
                  </a:lnTo>
                  <a:lnTo>
                    <a:pt x="248" y="408"/>
                  </a:lnTo>
                  <a:lnTo>
                    <a:pt x="248" y="408"/>
                  </a:lnTo>
                  <a:lnTo>
                    <a:pt x="248" y="408"/>
                  </a:lnTo>
                  <a:lnTo>
                    <a:pt x="250" y="408"/>
                  </a:lnTo>
                  <a:lnTo>
                    <a:pt x="250" y="410"/>
                  </a:lnTo>
                  <a:lnTo>
                    <a:pt x="251" y="411"/>
                  </a:lnTo>
                  <a:lnTo>
                    <a:pt x="253" y="414"/>
                  </a:lnTo>
                  <a:lnTo>
                    <a:pt x="253" y="413"/>
                  </a:lnTo>
                  <a:lnTo>
                    <a:pt x="253" y="413"/>
                  </a:lnTo>
                  <a:lnTo>
                    <a:pt x="256" y="411"/>
                  </a:lnTo>
                  <a:lnTo>
                    <a:pt x="256" y="413"/>
                  </a:lnTo>
                  <a:lnTo>
                    <a:pt x="256" y="414"/>
                  </a:lnTo>
                  <a:lnTo>
                    <a:pt x="256" y="414"/>
                  </a:lnTo>
                  <a:lnTo>
                    <a:pt x="259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2" y="414"/>
                  </a:lnTo>
                  <a:lnTo>
                    <a:pt x="262" y="416"/>
                  </a:lnTo>
                  <a:lnTo>
                    <a:pt x="262" y="416"/>
                  </a:lnTo>
                  <a:lnTo>
                    <a:pt x="262" y="418"/>
                  </a:lnTo>
                  <a:lnTo>
                    <a:pt x="262" y="418"/>
                  </a:lnTo>
                  <a:lnTo>
                    <a:pt x="262" y="419"/>
                  </a:lnTo>
                  <a:lnTo>
                    <a:pt x="262" y="418"/>
                  </a:lnTo>
                  <a:lnTo>
                    <a:pt x="261" y="418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9" y="424"/>
                  </a:lnTo>
                  <a:lnTo>
                    <a:pt x="259" y="424"/>
                  </a:lnTo>
                  <a:lnTo>
                    <a:pt x="261" y="425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1" y="425"/>
                  </a:lnTo>
                  <a:lnTo>
                    <a:pt x="261" y="427"/>
                  </a:lnTo>
                  <a:lnTo>
                    <a:pt x="262" y="427"/>
                  </a:lnTo>
                  <a:lnTo>
                    <a:pt x="264" y="427"/>
                  </a:lnTo>
                  <a:lnTo>
                    <a:pt x="264" y="427"/>
                  </a:lnTo>
                  <a:lnTo>
                    <a:pt x="264" y="427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4" y="428"/>
                  </a:lnTo>
                  <a:lnTo>
                    <a:pt x="265" y="428"/>
                  </a:lnTo>
                  <a:lnTo>
                    <a:pt x="265" y="428"/>
                  </a:lnTo>
                  <a:lnTo>
                    <a:pt x="267" y="428"/>
                  </a:lnTo>
                  <a:lnTo>
                    <a:pt x="267" y="427"/>
                  </a:lnTo>
                  <a:lnTo>
                    <a:pt x="265" y="425"/>
                  </a:lnTo>
                  <a:lnTo>
                    <a:pt x="265" y="425"/>
                  </a:lnTo>
                  <a:lnTo>
                    <a:pt x="267" y="425"/>
                  </a:lnTo>
                  <a:lnTo>
                    <a:pt x="270" y="425"/>
                  </a:lnTo>
                  <a:lnTo>
                    <a:pt x="271" y="425"/>
                  </a:lnTo>
                  <a:lnTo>
                    <a:pt x="273" y="424"/>
                  </a:lnTo>
                  <a:lnTo>
                    <a:pt x="271" y="42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74"/>
            <p:cNvSpPr>
              <a:spLocks noEditPoints="1"/>
            </p:cNvSpPr>
            <p:nvPr/>
          </p:nvSpPr>
          <p:spPr bwMode="gray">
            <a:xfrm>
              <a:off x="8002588" y="8050213"/>
              <a:ext cx="1020763" cy="1041400"/>
            </a:xfrm>
            <a:custGeom>
              <a:avLst/>
              <a:gdLst>
                <a:gd name="T0" fmla="*/ 459 w 643"/>
                <a:gd name="T1" fmla="*/ 630 h 656"/>
                <a:gd name="T2" fmla="*/ 345 w 643"/>
                <a:gd name="T3" fmla="*/ 601 h 656"/>
                <a:gd name="T4" fmla="*/ 293 w 643"/>
                <a:gd name="T5" fmla="*/ 604 h 656"/>
                <a:gd name="T6" fmla="*/ 407 w 643"/>
                <a:gd name="T7" fmla="*/ 645 h 656"/>
                <a:gd name="T8" fmla="*/ 561 w 643"/>
                <a:gd name="T9" fmla="*/ 567 h 656"/>
                <a:gd name="T10" fmla="*/ 247 w 643"/>
                <a:gd name="T11" fmla="*/ 533 h 656"/>
                <a:gd name="T12" fmla="*/ 624 w 643"/>
                <a:gd name="T13" fmla="*/ 544 h 656"/>
                <a:gd name="T14" fmla="*/ 581 w 643"/>
                <a:gd name="T15" fmla="*/ 515 h 656"/>
                <a:gd name="T16" fmla="*/ 615 w 643"/>
                <a:gd name="T17" fmla="*/ 491 h 656"/>
                <a:gd name="T18" fmla="*/ 362 w 643"/>
                <a:gd name="T19" fmla="*/ 488 h 656"/>
                <a:gd name="T20" fmla="*/ 433 w 643"/>
                <a:gd name="T21" fmla="*/ 473 h 656"/>
                <a:gd name="T22" fmla="*/ 473 w 643"/>
                <a:gd name="T23" fmla="*/ 465 h 656"/>
                <a:gd name="T24" fmla="*/ 550 w 643"/>
                <a:gd name="T25" fmla="*/ 456 h 656"/>
                <a:gd name="T26" fmla="*/ 541 w 643"/>
                <a:gd name="T27" fmla="*/ 447 h 656"/>
                <a:gd name="T28" fmla="*/ 364 w 643"/>
                <a:gd name="T29" fmla="*/ 438 h 656"/>
                <a:gd name="T30" fmla="*/ 518 w 643"/>
                <a:gd name="T31" fmla="*/ 428 h 656"/>
                <a:gd name="T32" fmla="*/ 396 w 643"/>
                <a:gd name="T33" fmla="*/ 410 h 656"/>
                <a:gd name="T34" fmla="*/ 399 w 643"/>
                <a:gd name="T35" fmla="*/ 394 h 656"/>
                <a:gd name="T36" fmla="*/ 541 w 643"/>
                <a:gd name="T37" fmla="*/ 396 h 656"/>
                <a:gd name="T38" fmla="*/ 93 w 643"/>
                <a:gd name="T39" fmla="*/ 396 h 656"/>
                <a:gd name="T40" fmla="*/ 288 w 643"/>
                <a:gd name="T41" fmla="*/ 364 h 656"/>
                <a:gd name="T42" fmla="*/ 62 w 643"/>
                <a:gd name="T43" fmla="*/ 333 h 656"/>
                <a:gd name="T44" fmla="*/ 85 w 643"/>
                <a:gd name="T45" fmla="*/ 328 h 656"/>
                <a:gd name="T46" fmla="*/ 485 w 643"/>
                <a:gd name="T47" fmla="*/ 319 h 656"/>
                <a:gd name="T48" fmla="*/ 80 w 643"/>
                <a:gd name="T49" fmla="*/ 284 h 656"/>
                <a:gd name="T50" fmla="*/ 376 w 643"/>
                <a:gd name="T51" fmla="*/ 290 h 656"/>
                <a:gd name="T52" fmla="*/ 342 w 643"/>
                <a:gd name="T53" fmla="*/ 328 h 656"/>
                <a:gd name="T54" fmla="*/ 241 w 643"/>
                <a:gd name="T55" fmla="*/ 285 h 656"/>
                <a:gd name="T56" fmla="*/ 336 w 643"/>
                <a:gd name="T57" fmla="*/ 339 h 656"/>
                <a:gd name="T58" fmla="*/ 318 w 643"/>
                <a:gd name="T59" fmla="*/ 251 h 656"/>
                <a:gd name="T60" fmla="*/ 485 w 643"/>
                <a:gd name="T61" fmla="*/ 239 h 656"/>
                <a:gd name="T62" fmla="*/ 404 w 643"/>
                <a:gd name="T63" fmla="*/ 219 h 656"/>
                <a:gd name="T64" fmla="*/ 28 w 643"/>
                <a:gd name="T65" fmla="*/ 230 h 656"/>
                <a:gd name="T66" fmla="*/ 424 w 643"/>
                <a:gd name="T67" fmla="*/ 191 h 656"/>
                <a:gd name="T68" fmla="*/ 373 w 643"/>
                <a:gd name="T69" fmla="*/ 116 h 656"/>
                <a:gd name="T70" fmla="*/ 261 w 643"/>
                <a:gd name="T71" fmla="*/ 387 h 656"/>
                <a:gd name="T72" fmla="*/ 321 w 643"/>
                <a:gd name="T73" fmla="*/ 388 h 656"/>
                <a:gd name="T74" fmla="*/ 296 w 643"/>
                <a:gd name="T75" fmla="*/ 321 h 656"/>
                <a:gd name="T76" fmla="*/ 222 w 643"/>
                <a:gd name="T77" fmla="*/ 277 h 656"/>
                <a:gd name="T78" fmla="*/ 253 w 643"/>
                <a:gd name="T79" fmla="*/ 236 h 656"/>
                <a:gd name="T80" fmla="*/ 221 w 643"/>
                <a:gd name="T81" fmla="*/ 168 h 656"/>
                <a:gd name="T82" fmla="*/ 264 w 643"/>
                <a:gd name="T83" fmla="*/ 145 h 656"/>
                <a:gd name="T84" fmla="*/ 327 w 643"/>
                <a:gd name="T85" fmla="*/ 170 h 656"/>
                <a:gd name="T86" fmla="*/ 315 w 643"/>
                <a:gd name="T87" fmla="*/ 122 h 656"/>
                <a:gd name="T88" fmla="*/ 412 w 643"/>
                <a:gd name="T89" fmla="*/ 79 h 656"/>
                <a:gd name="T90" fmla="*/ 502 w 643"/>
                <a:gd name="T91" fmla="*/ 74 h 656"/>
                <a:gd name="T92" fmla="*/ 487 w 643"/>
                <a:gd name="T93" fmla="*/ 28 h 656"/>
                <a:gd name="T94" fmla="*/ 359 w 643"/>
                <a:gd name="T95" fmla="*/ 23 h 656"/>
                <a:gd name="T96" fmla="*/ 227 w 643"/>
                <a:gd name="T97" fmla="*/ 59 h 656"/>
                <a:gd name="T98" fmla="*/ 100 w 643"/>
                <a:gd name="T99" fmla="*/ 90 h 656"/>
                <a:gd name="T100" fmla="*/ 50 w 643"/>
                <a:gd name="T101" fmla="*/ 191 h 656"/>
                <a:gd name="T102" fmla="*/ 50 w 643"/>
                <a:gd name="T103" fmla="*/ 234 h 656"/>
                <a:gd name="T104" fmla="*/ 96 w 643"/>
                <a:gd name="T105" fmla="*/ 262 h 656"/>
                <a:gd name="T106" fmla="*/ 87 w 643"/>
                <a:gd name="T107" fmla="*/ 273 h 656"/>
                <a:gd name="T108" fmla="*/ 110 w 643"/>
                <a:gd name="T109" fmla="*/ 331 h 656"/>
                <a:gd name="T110" fmla="*/ 159 w 643"/>
                <a:gd name="T111" fmla="*/ 331 h 656"/>
                <a:gd name="T112" fmla="*/ 228 w 643"/>
                <a:gd name="T113" fmla="*/ 331 h 656"/>
                <a:gd name="T114" fmla="*/ 216 w 643"/>
                <a:gd name="T115" fmla="*/ 351 h 656"/>
                <a:gd name="T116" fmla="*/ 124 w 643"/>
                <a:gd name="T117" fmla="*/ 384 h 656"/>
                <a:gd name="T118" fmla="*/ 188 w 643"/>
                <a:gd name="T119" fmla="*/ 461 h 656"/>
                <a:gd name="T120" fmla="*/ 238 w 643"/>
                <a:gd name="T121" fmla="*/ 487 h 656"/>
                <a:gd name="T122" fmla="*/ 251 w 643"/>
                <a:gd name="T123" fmla="*/ 458 h 656"/>
                <a:gd name="T124" fmla="*/ 256 w 643"/>
                <a:gd name="T125" fmla="*/ 411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3" h="656">
                  <a:moveTo>
                    <a:pt x="336" y="655"/>
                  </a:moveTo>
                  <a:lnTo>
                    <a:pt x="336" y="655"/>
                  </a:lnTo>
                  <a:lnTo>
                    <a:pt x="336" y="653"/>
                  </a:lnTo>
                  <a:lnTo>
                    <a:pt x="336" y="653"/>
                  </a:lnTo>
                  <a:lnTo>
                    <a:pt x="335" y="652"/>
                  </a:lnTo>
                  <a:lnTo>
                    <a:pt x="333" y="652"/>
                  </a:lnTo>
                  <a:lnTo>
                    <a:pt x="333" y="652"/>
                  </a:lnTo>
                  <a:lnTo>
                    <a:pt x="331" y="653"/>
                  </a:lnTo>
                  <a:lnTo>
                    <a:pt x="331" y="653"/>
                  </a:lnTo>
                  <a:lnTo>
                    <a:pt x="331" y="653"/>
                  </a:lnTo>
                  <a:lnTo>
                    <a:pt x="330" y="653"/>
                  </a:lnTo>
                  <a:lnTo>
                    <a:pt x="330" y="653"/>
                  </a:lnTo>
                  <a:lnTo>
                    <a:pt x="333" y="656"/>
                  </a:lnTo>
                  <a:lnTo>
                    <a:pt x="335" y="656"/>
                  </a:lnTo>
                  <a:lnTo>
                    <a:pt x="336" y="656"/>
                  </a:lnTo>
                  <a:lnTo>
                    <a:pt x="336" y="656"/>
                  </a:lnTo>
                  <a:lnTo>
                    <a:pt x="336" y="656"/>
                  </a:lnTo>
                  <a:lnTo>
                    <a:pt x="336" y="655"/>
                  </a:lnTo>
                  <a:close/>
                  <a:moveTo>
                    <a:pt x="550" y="601"/>
                  </a:moveTo>
                  <a:lnTo>
                    <a:pt x="549" y="601"/>
                  </a:lnTo>
                  <a:lnTo>
                    <a:pt x="547" y="601"/>
                  </a:lnTo>
                  <a:lnTo>
                    <a:pt x="544" y="602"/>
                  </a:lnTo>
                  <a:lnTo>
                    <a:pt x="544" y="602"/>
                  </a:lnTo>
                  <a:lnTo>
                    <a:pt x="542" y="602"/>
                  </a:lnTo>
                  <a:lnTo>
                    <a:pt x="542" y="602"/>
                  </a:lnTo>
                  <a:lnTo>
                    <a:pt x="542" y="602"/>
                  </a:lnTo>
                  <a:lnTo>
                    <a:pt x="541" y="604"/>
                  </a:lnTo>
                  <a:lnTo>
                    <a:pt x="541" y="604"/>
                  </a:lnTo>
                  <a:lnTo>
                    <a:pt x="541" y="604"/>
                  </a:lnTo>
                  <a:lnTo>
                    <a:pt x="539" y="605"/>
                  </a:lnTo>
                  <a:lnTo>
                    <a:pt x="539" y="605"/>
                  </a:lnTo>
                  <a:lnTo>
                    <a:pt x="538" y="607"/>
                  </a:lnTo>
                  <a:lnTo>
                    <a:pt x="539" y="607"/>
                  </a:lnTo>
                  <a:lnTo>
                    <a:pt x="539" y="608"/>
                  </a:lnTo>
                  <a:lnTo>
                    <a:pt x="541" y="608"/>
                  </a:lnTo>
                  <a:lnTo>
                    <a:pt x="541" y="608"/>
                  </a:lnTo>
                  <a:lnTo>
                    <a:pt x="542" y="607"/>
                  </a:lnTo>
                  <a:lnTo>
                    <a:pt x="544" y="607"/>
                  </a:lnTo>
                  <a:lnTo>
                    <a:pt x="544" y="607"/>
                  </a:lnTo>
                  <a:lnTo>
                    <a:pt x="546" y="605"/>
                  </a:lnTo>
                  <a:lnTo>
                    <a:pt x="546" y="605"/>
                  </a:lnTo>
                  <a:lnTo>
                    <a:pt x="547" y="605"/>
                  </a:lnTo>
                  <a:lnTo>
                    <a:pt x="547" y="604"/>
                  </a:lnTo>
                  <a:lnTo>
                    <a:pt x="549" y="604"/>
                  </a:lnTo>
                  <a:lnTo>
                    <a:pt x="550" y="604"/>
                  </a:lnTo>
                  <a:lnTo>
                    <a:pt x="550" y="604"/>
                  </a:lnTo>
                  <a:lnTo>
                    <a:pt x="550" y="602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50" y="601"/>
                  </a:lnTo>
                  <a:close/>
                  <a:moveTo>
                    <a:pt x="498" y="615"/>
                  </a:moveTo>
                  <a:lnTo>
                    <a:pt x="498" y="613"/>
                  </a:lnTo>
                  <a:lnTo>
                    <a:pt x="499" y="612"/>
                  </a:lnTo>
                  <a:lnTo>
                    <a:pt x="498" y="612"/>
                  </a:lnTo>
                  <a:lnTo>
                    <a:pt x="498" y="612"/>
                  </a:lnTo>
                  <a:lnTo>
                    <a:pt x="498" y="613"/>
                  </a:lnTo>
                  <a:lnTo>
                    <a:pt x="498" y="613"/>
                  </a:lnTo>
                  <a:lnTo>
                    <a:pt x="498" y="613"/>
                  </a:lnTo>
                  <a:lnTo>
                    <a:pt x="496" y="613"/>
                  </a:lnTo>
                  <a:lnTo>
                    <a:pt x="498" y="615"/>
                  </a:lnTo>
                  <a:lnTo>
                    <a:pt x="495" y="615"/>
                  </a:lnTo>
                  <a:lnTo>
                    <a:pt x="493" y="616"/>
                  </a:lnTo>
                  <a:lnTo>
                    <a:pt x="492" y="618"/>
                  </a:lnTo>
                  <a:lnTo>
                    <a:pt x="490" y="619"/>
                  </a:lnTo>
                  <a:lnTo>
                    <a:pt x="490" y="619"/>
                  </a:lnTo>
                  <a:lnTo>
                    <a:pt x="490" y="621"/>
                  </a:lnTo>
                  <a:lnTo>
                    <a:pt x="490" y="621"/>
                  </a:lnTo>
                  <a:lnTo>
                    <a:pt x="489" y="621"/>
                  </a:lnTo>
                  <a:lnTo>
                    <a:pt x="487" y="622"/>
                  </a:lnTo>
                  <a:lnTo>
                    <a:pt x="485" y="622"/>
                  </a:lnTo>
                  <a:lnTo>
                    <a:pt x="484" y="621"/>
                  </a:lnTo>
                  <a:lnTo>
                    <a:pt x="484" y="621"/>
                  </a:lnTo>
                  <a:lnTo>
                    <a:pt x="481" y="619"/>
                  </a:lnTo>
                  <a:lnTo>
                    <a:pt x="481" y="619"/>
                  </a:lnTo>
                  <a:lnTo>
                    <a:pt x="479" y="619"/>
                  </a:lnTo>
                  <a:lnTo>
                    <a:pt x="479" y="619"/>
                  </a:lnTo>
                  <a:lnTo>
                    <a:pt x="479" y="619"/>
                  </a:lnTo>
                  <a:lnTo>
                    <a:pt x="478" y="619"/>
                  </a:lnTo>
                  <a:lnTo>
                    <a:pt x="478" y="619"/>
                  </a:lnTo>
                  <a:lnTo>
                    <a:pt x="478" y="619"/>
                  </a:lnTo>
                  <a:lnTo>
                    <a:pt x="476" y="621"/>
                  </a:lnTo>
                  <a:lnTo>
                    <a:pt x="475" y="622"/>
                  </a:lnTo>
                  <a:lnTo>
                    <a:pt x="473" y="622"/>
                  </a:lnTo>
                  <a:lnTo>
                    <a:pt x="472" y="622"/>
                  </a:lnTo>
                  <a:lnTo>
                    <a:pt x="469" y="624"/>
                  </a:lnTo>
                  <a:lnTo>
                    <a:pt x="467" y="624"/>
                  </a:lnTo>
                  <a:lnTo>
                    <a:pt x="467" y="624"/>
                  </a:lnTo>
                  <a:lnTo>
                    <a:pt x="467" y="625"/>
                  </a:lnTo>
                  <a:lnTo>
                    <a:pt x="465" y="625"/>
                  </a:lnTo>
                  <a:lnTo>
                    <a:pt x="465" y="625"/>
                  </a:lnTo>
                  <a:lnTo>
                    <a:pt x="465" y="625"/>
                  </a:lnTo>
                  <a:lnTo>
                    <a:pt x="464" y="627"/>
                  </a:lnTo>
                  <a:lnTo>
                    <a:pt x="462" y="629"/>
                  </a:lnTo>
                  <a:lnTo>
                    <a:pt x="462" y="630"/>
                  </a:lnTo>
                  <a:lnTo>
                    <a:pt x="459" y="630"/>
                  </a:lnTo>
                  <a:lnTo>
                    <a:pt x="459" y="630"/>
                  </a:lnTo>
                  <a:lnTo>
                    <a:pt x="458" y="629"/>
                  </a:lnTo>
                  <a:lnTo>
                    <a:pt x="456" y="629"/>
                  </a:lnTo>
                  <a:lnTo>
                    <a:pt x="456" y="629"/>
                  </a:lnTo>
                  <a:lnTo>
                    <a:pt x="455" y="629"/>
                  </a:lnTo>
                  <a:lnTo>
                    <a:pt x="455" y="625"/>
                  </a:lnTo>
                  <a:lnTo>
                    <a:pt x="455" y="625"/>
                  </a:lnTo>
                  <a:lnTo>
                    <a:pt x="455" y="624"/>
                  </a:lnTo>
                  <a:lnTo>
                    <a:pt x="453" y="624"/>
                  </a:lnTo>
                  <a:lnTo>
                    <a:pt x="455" y="622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6" y="619"/>
                  </a:lnTo>
                  <a:lnTo>
                    <a:pt x="455" y="618"/>
                  </a:lnTo>
                  <a:lnTo>
                    <a:pt x="456" y="618"/>
                  </a:lnTo>
                  <a:lnTo>
                    <a:pt x="456" y="616"/>
                  </a:lnTo>
                  <a:lnTo>
                    <a:pt x="456" y="616"/>
                  </a:lnTo>
                  <a:lnTo>
                    <a:pt x="456" y="618"/>
                  </a:lnTo>
                  <a:lnTo>
                    <a:pt x="458" y="616"/>
                  </a:lnTo>
                  <a:lnTo>
                    <a:pt x="456" y="616"/>
                  </a:lnTo>
                  <a:lnTo>
                    <a:pt x="456" y="616"/>
                  </a:lnTo>
                  <a:lnTo>
                    <a:pt x="458" y="615"/>
                  </a:lnTo>
                  <a:lnTo>
                    <a:pt x="456" y="615"/>
                  </a:lnTo>
                  <a:lnTo>
                    <a:pt x="456" y="615"/>
                  </a:lnTo>
                  <a:lnTo>
                    <a:pt x="456" y="615"/>
                  </a:lnTo>
                  <a:lnTo>
                    <a:pt x="456" y="616"/>
                  </a:lnTo>
                  <a:lnTo>
                    <a:pt x="455" y="616"/>
                  </a:lnTo>
                  <a:lnTo>
                    <a:pt x="455" y="616"/>
                  </a:lnTo>
                  <a:lnTo>
                    <a:pt x="455" y="615"/>
                  </a:lnTo>
                  <a:lnTo>
                    <a:pt x="455" y="615"/>
                  </a:lnTo>
                  <a:lnTo>
                    <a:pt x="455" y="613"/>
                  </a:lnTo>
                  <a:lnTo>
                    <a:pt x="456" y="612"/>
                  </a:lnTo>
                  <a:lnTo>
                    <a:pt x="458" y="612"/>
                  </a:lnTo>
                  <a:lnTo>
                    <a:pt x="458" y="610"/>
                  </a:lnTo>
                  <a:lnTo>
                    <a:pt x="453" y="610"/>
                  </a:lnTo>
                  <a:lnTo>
                    <a:pt x="453" y="610"/>
                  </a:lnTo>
                  <a:lnTo>
                    <a:pt x="452" y="608"/>
                  </a:lnTo>
                  <a:lnTo>
                    <a:pt x="450" y="608"/>
                  </a:lnTo>
                  <a:lnTo>
                    <a:pt x="449" y="608"/>
                  </a:lnTo>
                  <a:lnTo>
                    <a:pt x="436" y="613"/>
                  </a:lnTo>
                  <a:lnTo>
                    <a:pt x="435" y="613"/>
                  </a:lnTo>
                  <a:lnTo>
                    <a:pt x="433" y="613"/>
                  </a:lnTo>
                  <a:lnTo>
                    <a:pt x="432" y="612"/>
                  </a:lnTo>
                  <a:lnTo>
                    <a:pt x="430" y="610"/>
                  </a:lnTo>
                  <a:lnTo>
                    <a:pt x="428" y="608"/>
                  </a:lnTo>
                  <a:lnTo>
                    <a:pt x="428" y="610"/>
                  </a:lnTo>
                  <a:lnTo>
                    <a:pt x="428" y="608"/>
                  </a:lnTo>
                  <a:lnTo>
                    <a:pt x="427" y="610"/>
                  </a:lnTo>
                  <a:lnTo>
                    <a:pt x="425" y="610"/>
                  </a:lnTo>
                  <a:lnTo>
                    <a:pt x="424" y="608"/>
                  </a:lnTo>
                  <a:lnTo>
                    <a:pt x="419" y="610"/>
                  </a:lnTo>
                  <a:lnTo>
                    <a:pt x="418" y="610"/>
                  </a:lnTo>
                  <a:lnTo>
                    <a:pt x="416" y="610"/>
                  </a:lnTo>
                  <a:lnTo>
                    <a:pt x="416" y="608"/>
                  </a:lnTo>
                  <a:lnTo>
                    <a:pt x="416" y="608"/>
                  </a:lnTo>
                  <a:lnTo>
                    <a:pt x="416" y="608"/>
                  </a:lnTo>
                  <a:lnTo>
                    <a:pt x="415" y="608"/>
                  </a:lnTo>
                  <a:lnTo>
                    <a:pt x="412" y="608"/>
                  </a:lnTo>
                  <a:lnTo>
                    <a:pt x="408" y="608"/>
                  </a:lnTo>
                  <a:lnTo>
                    <a:pt x="407" y="608"/>
                  </a:lnTo>
                  <a:lnTo>
                    <a:pt x="405" y="608"/>
                  </a:lnTo>
                  <a:lnTo>
                    <a:pt x="404" y="605"/>
                  </a:lnTo>
                  <a:lnTo>
                    <a:pt x="404" y="605"/>
                  </a:lnTo>
                  <a:lnTo>
                    <a:pt x="405" y="604"/>
                  </a:lnTo>
                  <a:lnTo>
                    <a:pt x="405" y="604"/>
                  </a:lnTo>
                  <a:lnTo>
                    <a:pt x="405" y="604"/>
                  </a:lnTo>
                  <a:lnTo>
                    <a:pt x="404" y="604"/>
                  </a:lnTo>
                  <a:lnTo>
                    <a:pt x="402" y="604"/>
                  </a:lnTo>
                  <a:lnTo>
                    <a:pt x="402" y="602"/>
                  </a:lnTo>
                  <a:lnTo>
                    <a:pt x="399" y="602"/>
                  </a:lnTo>
                  <a:lnTo>
                    <a:pt x="399" y="602"/>
                  </a:lnTo>
                  <a:lnTo>
                    <a:pt x="398" y="602"/>
                  </a:lnTo>
                  <a:lnTo>
                    <a:pt x="398" y="602"/>
                  </a:lnTo>
                  <a:lnTo>
                    <a:pt x="398" y="604"/>
                  </a:lnTo>
                  <a:lnTo>
                    <a:pt x="393" y="602"/>
                  </a:lnTo>
                  <a:lnTo>
                    <a:pt x="392" y="602"/>
                  </a:lnTo>
                  <a:lnTo>
                    <a:pt x="390" y="602"/>
                  </a:lnTo>
                  <a:lnTo>
                    <a:pt x="388" y="604"/>
                  </a:lnTo>
                  <a:lnTo>
                    <a:pt x="387" y="602"/>
                  </a:lnTo>
                  <a:lnTo>
                    <a:pt x="381" y="601"/>
                  </a:lnTo>
                  <a:lnTo>
                    <a:pt x="378" y="601"/>
                  </a:lnTo>
                  <a:lnTo>
                    <a:pt x="376" y="602"/>
                  </a:lnTo>
                  <a:lnTo>
                    <a:pt x="375" y="602"/>
                  </a:lnTo>
                  <a:lnTo>
                    <a:pt x="370" y="604"/>
                  </a:lnTo>
                  <a:lnTo>
                    <a:pt x="368" y="605"/>
                  </a:lnTo>
                  <a:lnTo>
                    <a:pt x="362" y="607"/>
                  </a:lnTo>
                  <a:lnTo>
                    <a:pt x="361" y="607"/>
                  </a:lnTo>
                  <a:lnTo>
                    <a:pt x="358" y="607"/>
                  </a:lnTo>
                  <a:lnTo>
                    <a:pt x="351" y="608"/>
                  </a:lnTo>
                  <a:lnTo>
                    <a:pt x="348" y="607"/>
                  </a:lnTo>
                  <a:lnTo>
                    <a:pt x="348" y="607"/>
                  </a:lnTo>
                  <a:lnTo>
                    <a:pt x="347" y="607"/>
                  </a:lnTo>
                  <a:lnTo>
                    <a:pt x="347" y="607"/>
                  </a:lnTo>
                  <a:lnTo>
                    <a:pt x="345" y="605"/>
                  </a:lnTo>
                  <a:lnTo>
                    <a:pt x="347" y="602"/>
                  </a:lnTo>
                  <a:lnTo>
                    <a:pt x="345" y="601"/>
                  </a:lnTo>
                  <a:lnTo>
                    <a:pt x="345" y="596"/>
                  </a:lnTo>
                  <a:lnTo>
                    <a:pt x="344" y="598"/>
                  </a:lnTo>
                  <a:lnTo>
                    <a:pt x="342" y="598"/>
                  </a:lnTo>
                  <a:lnTo>
                    <a:pt x="342" y="599"/>
                  </a:lnTo>
                  <a:lnTo>
                    <a:pt x="341" y="599"/>
                  </a:lnTo>
                  <a:lnTo>
                    <a:pt x="339" y="599"/>
                  </a:lnTo>
                  <a:lnTo>
                    <a:pt x="336" y="598"/>
                  </a:lnTo>
                  <a:lnTo>
                    <a:pt x="335" y="596"/>
                  </a:lnTo>
                  <a:lnTo>
                    <a:pt x="333" y="596"/>
                  </a:lnTo>
                  <a:lnTo>
                    <a:pt x="331" y="595"/>
                  </a:lnTo>
                  <a:lnTo>
                    <a:pt x="331" y="595"/>
                  </a:lnTo>
                  <a:lnTo>
                    <a:pt x="333" y="593"/>
                  </a:lnTo>
                  <a:lnTo>
                    <a:pt x="335" y="593"/>
                  </a:lnTo>
                  <a:lnTo>
                    <a:pt x="338" y="595"/>
                  </a:lnTo>
                  <a:lnTo>
                    <a:pt x="339" y="595"/>
                  </a:lnTo>
                  <a:lnTo>
                    <a:pt x="339" y="593"/>
                  </a:lnTo>
                  <a:lnTo>
                    <a:pt x="341" y="593"/>
                  </a:lnTo>
                  <a:lnTo>
                    <a:pt x="341" y="593"/>
                  </a:lnTo>
                  <a:lnTo>
                    <a:pt x="341" y="592"/>
                  </a:lnTo>
                  <a:lnTo>
                    <a:pt x="341" y="592"/>
                  </a:lnTo>
                  <a:lnTo>
                    <a:pt x="342" y="592"/>
                  </a:lnTo>
                  <a:lnTo>
                    <a:pt x="341" y="587"/>
                  </a:lnTo>
                  <a:lnTo>
                    <a:pt x="338" y="585"/>
                  </a:lnTo>
                  <a:lnTo>
                    <a:pt x="335" y="585"/>
                  </a:lnTo>
                  <a:lnTo>
                    <a:pt x="333" y="587"/>
                  </a:lnTo>
                  <a:lnTo>
                    <a:pt x="333" y="590"/>
                  </a:lnTo>
                  <a:lnTo>
                    <a:pt x="331" y="590"/>
                  </a:lnTo>
                  <a:lnTo>
                    <a:pt x="330" y="590"/>
                  </a:lnTo>
                  <a:lnTo>
                    <a:pt x="330" y="590"/>
                  </a:lnTo>
                  <a:lnTo>
                    <a:pt x="330" y="592"/>
                  </a:lnTo>
                  <a:lnTo>
                    <a:pt x="330" y="592"/>
                  </a:lnTo>
                  <a:lnTo>
                    <a:pt x="328" y="593"/>
                  </a:lnTo>
                  <a:lnTo>
                    <a:pt x="328" y="593"/>
                  </a:lnTo>
                  <a:lnTo>
                    <a:pt x="327" y="593"/>
                  </a:lnTo>
                  <a:lnTo>
                    <a:pt x="322" y="593"/>
                  </a:lnTo>
                  <a:lnTo>
                    <a:pt x="321" y="593"/>
                  </a:lnTo>
                  <a:lnTo>
                    <a:pt x="319" y="592"/>
                  </a:lnTo>
                  <a:lnTo>
                    <a:pt x="313" y="592"/>
                  </a:lnTo>
                  <a:lnTo>
                    <a:pt x="311" y="590"/>
                  </a:lnTo>
                  <a:lnTo>
                    <a:pt x="310" y="588"/>
                  </a:lnTo>
                  <a:lnTo>
                    <a:pt x="310" y="587"/>
                  </a:lnTo>
                  <a:lnTo>
                    <a:pt x="310" y="585"/>
                  </a:lnTo>
                  <a:lnTo>
                    <a:pt x="310" y="582"/>
                  </a:lnTo>
                  <a:lnTo>
                    <a:pt x="308" y="581"/>
                  </a:lnTo>
                  <a:lnTo>
                    <a:pt x="310" y="579"/>
                  </a:lnTo>
                  <a:lnTo>
                    <a:pt x="310" y="579"/>
                  </a:lnTo>
                  <a:lnTo>
                    <a:pt x="308" y="578"/>
                  </a:lnTo>
                  <a:lnTo>
                    <a:pt x="308" y="578"/>
                  </a:lnTo>
                  <a:lnTo>
                    <a:pt x="307" y="578"/>
                  </a:lnTo>
                  <a:lnTo>
                    <a:pt x="307" y="579"/>
                  </a:lnTo>
                  <a:lnTo>
                    <a:pt x="305" y="581"/>
                  </a:lnTo>
                  <a:lnTo>
                    <a:pt x="305" y="581"/>
                  </a:lnTo>
                  <a:lnTo>
                    <a:pt x="305" y="582"/>
                  </a:lnTo>
                  <a:lnTo>
                    <a:pt x="305" y="584"/>
                  </a:lnTo>
                  <a:lnTo>
                    <a:pt x="305" y="585"/>
                  </a:lnTo>
                  <a:lnTo>
                    <a:pt x="305" y="587"/>
                  </a:lnTo>
                  <a:lnTo>
                    <a:pt x="305" y="588"/>
                  </a:lnTo>
                  <a:lnTo>
                    <a:pt x="307" y="590"/>
                  </a:lnTo>
                  <a:lnTo>
                    <a:pt x="307" y="592"/>
                  </a:lnTo>
                  <a:lnTo>
                    <a:pt x="305" y="593"/>
                  </a:lnTo>
                  <a:lnTo>
                    <a:pt x="304" y="595"/>
                  </a:lnTo>
                  <a:lnTo>
                    <a:pt x="302" y="595"/>
                  </a:lnTo>
                  <a:lnTo>
                    <a:pt x="301" y="595"/>
                  </a:lnTo>
                  <a:lnTo>
                    <a:pt x="301" y="595"/>
                  </a:lnTo>
                  <a:lnTo>
                    <a:pt x="299" y="595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9" y="593"/>
                  </a:lnTo>
                  <a:lnTo>
                    <a:pt x="298" y="593"/>
                  </a:lnTo>
                  <a:lnTo>
                    <a:pt x="298" y="592"/>
                  </a:lnTo>
                  <a:lnTo>
                    <a:pt x="298" y="590"/>
                  </a:lnTo>
                  <a:lnTo>
                    <a:pt x="298" y="587"/>
                  </a:lnTo>
                  <a:lnTo>
                    <a:pt x="298" y="584"/>
                  </a:lnTo>
                  <a:lnTo>
                    <a:pt x="296" y="585"/>
                  </a:lnTo>
                  <a:lnTo>
                    <a:pt x="294" y="588"/>
                  </a:lnTo>
                  <a:lnTo>
                    <a:pt x="296" y="588"/>
                  </a:lnTo>
                  <a:lnTo>
                    <a:pt x="294" y="590"/>
                  </a:lnTo>
                  <a:lnTo>
                    <a:pt x="294" y="592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3"/>
                  </a:lnTo>
                  <a:lnTo>
                    <a:pt x="294" y="595"/>
                  </a:lnTo>
                  <a:lnTo>
                    <a:pt x="294" y="595"/>
                  </a:lnTo>
                  <a:lnTo>
                    <a:pt x="294" y="595"/>
                  </a:lnTo>
                  <a:lnTo>
                    <a:pt x="294" y="596"/>
                  </a:lnTo>
                  <a:lnTo>
                    <a:pt x="293" y="599"/>
                  </a:lnTo>
                  <a:lnTo>
                    <a:pt x="293" y="599"/>
                  </a:lnTo>
                  <a:lnTo>
                    <a:pt x="294" y="599"/>
                  </a:lnTo>
                  <a:lnTo>
                    <a:pt x="294" y="599"/>
                  </a:lnTo>
                  <a:lnTo>
                    <a:pt x="294" y="601"/>
                  </a:lnTo>
                  <a:lnTo>
                    <a:pt x="294" y="601"/>
                  </a:lnTo>
                  <a:lnTo>
                    <a:pt x="294" y="602"/>
                  </a:lnTo>
                  <a:lnTo>
                    <a:pt x="293" y="604"/>
                  </a:lnTo>
                  <a:lnTo>
                    <a:pt x="291" y="607"/>
                  </a:lnTo>
                  <a:lnTo>
                    <a:pt x="293" y="608"/>
                  </a:lnTo>
                  <a:lnTo>
                    <a:pt x="293" y="608"/>
                  </a:lnTo>
                  <a:lnTo>
                    <a:pt x="293" y="610"/>
                  </a:lnTo>
                  <a:lnTo>
                    <a:pt x="293" y="610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3" y="612"/>
                  </a:lnTo>
                  <a:lnTo>
                    <a:pt x="291" y="612"/>
                  </a:lnTo>
                  <a:lnTo>
                    <a:pt x="291" y="612"/>
                  </a:lnTo>
                  <a:lnTo>
                    <a:pt x="290" y="612"/>
                  </a:lnTo>
                  <a:lnTo>
                    <a:pt x="290" y="613"/>
                  </a:lnTo>
                  <a:lnTo>
                    <a:pt x="290" y="613"/>
                  </a:lnTo>
                  <a:lnTo>
                    <a:pt x="291" y="613"/>
                  </a:lnTo>
                  <a:lnTo>
                    <a:pt x="291" y="613"/>
                  </a:lnTo>
                  <a:lnTo>
                    <a:pt x="290" y="613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93" y="615"/>
                  </a:lnTo>
                  <a:lnTo>
                    <a:pt x="293" y="616"/>
                  </a:lnTo>
                  <a:lnTo>
                    <a:pt x="293" y="616"/>
                  </a:lnTo>
                  <a:lnTo>
                    <a:pt x="294" y="616"/>
                  </a:lnTo>
                  <a:lnTo>
                    <a:pt x="294" y="616"/>
                  </a:lnTo>
                  <a:lnTo>
                    <a:pt x="296" y="618"/>
                  </a:lnTo>
                  <a:lnTo>
                    <a:pt x="296" y="618"/>
                  </a:lnTo>
                  <a:lnTo>
                    <a:pt x="296" y="618"/>
                  </a:lnTo>
                  <a:lnTo>
                    <a:pt x="298" y="619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5" y="619"/>
                  </a:lnTo>
                  <a:lnTo>
                    <a:pt x="310" y="619"/>
                  </a:lnTo>
                  <a:lnTo>
                    <a:pt x="311" y="618"/>
                  </a:lnTo>
                  <a:lnTo>
                    <a:pt x="311" y="618"/>
                  </a:lnTo>
                  <a:lnTo>
                    <a:pt x="313" y="618"/>
                  </a:lnTo>
                  <a:lnTo>
                    <a:pt x="313" y="618"/>
                  </a:lnTo>
                  <a:lnTo>
                    <a:pt x="313" y="618"/>
                  </a:lnTo>
                  <a:lnTo>
                    <a:pt x="316" y="619"/>
                  </a:lnTo>
                  <a:lnTo>
                    <a:pt x="319" y="619"/>
                  </a:lnTo>
                  <a:lnTo>
                    <a:pt x="325" y="619"/>
                  </a:lnTo>
                  <a:lnTo>
                    <a:pt x="327" y="619"/>
                  </a:lnTo>
                  <a:lnTo>
                    <a:pt x="328" y="622"/>
                  </a:lnTo>
                  <a:lnTo>
                    <a:pt x="330" y="622"/>
                  </a:lnTo>
                  <a:lnTo>
                    <a:pt x="331" y="622"/>
                  </a:lnTo>
                  <a:lnTo>
                    <a:pt x="333" y="622"/>
                  </a:lnTo>
                  <a:lnTo>
                    <a:pt x="333" y="621"/>
                  </a:lnTo>
                  <a:lnTo>
                    <a:pt x="333" y="621"/>
                  </a:lnTo>
                  <a:lnTo>
                    <a:pt x="335" y="622"/>
                  </a:lnTo>
                  <a:lnTo>
                    <a:pt x="341" y="622"/>
                  </a:lnTo>
                  <a:lnTo>
                    <a:pt x="341" y="622"/>
                  </a:lnTo>
                  <a:lnTo>
                    <a:pt x="341" y="622"/>
                  </a:lnTo>
                  <a:lnTo>
                    <a:pt x="341" y="621"/>
                  </a:lnTo>
                  <a:lnTo>
                    <a:pt x="342" y="621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2" y="622"/>
                  </a:lnTo>
                  <a:lnTo>
                    <a:pt x="348" y="624"/>
                  </a:lnTo>
                  <a:lnTo>
                    <a:pt x="356" y="622"/>
                  </a:lnTo>
                  <a:lnTo>
                    <a:pt x="356" y="624"/>
                  </a:lnTo>
                  <a:lnTo>
                    <a:pt x="356" y="624"/>
                  </a:lnTo>
                  <a:lnTo>
                    <a:pt x="361" y="627"/>
                  </a:lnTo>
                  <a:lnTo>
                    <a:pt x="362" y="625"/>
                  </a:lnTo>
                  <a:lnTo>
                    <a:pt x="364" y="627"/>
                  </a:lnTo>
                  <a:lnTo>
                    <a:pt x="365" y="627"/>
                  </a:lnTo>
                  <a:lnTo>
                    <a:pt x="365" y="629"/>
                  </a:lnTo>
                  <a:lnTo>
                    <a:pt x="367" y="630"/>
                  </a:lnTo>
                  <a:lnTo>
                    <a:pt x="368" y="630"/>
                  </a:lnTo>
                  <a:lnTo>
                    <a:pt x="368" y="630"/>
                  </a:lnTo>
                  <a:lnTo>
                    <a:pt x="370" y="630"/>
                  </a:lnTo>
                  <a:lnTo>
                    <a:pt x="370" y="632"/>
                  </a:lnTo>
                  <a:lnTo>
                    <a:pt x="373" y="632"/>
                  </a:lnTo>
                  <a:lnTo>
                    <a:pt x="379" y="632"/>
                  </a:lnTo>
                  <a:lnTo>
                    <a:pt x="379" y="632"/>
                  </a:lnTo>
                  <a:lnTo>
                    <a:pt x="381" y="632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2" y="633"/>
                  </a:lnTo>
                  <a:lnTo>
                    <a:pt x="382" y="635"/>
                  </a:lnTo>
                  <a:lnTo>
                    <a:pt x="382" y="635"/>
                  </a:lnTo>
                  <a:lnTo>
                    <a:pt x="382" y="636"/>
                  </a:lnTo>
                  <a:lnTo>
                    <a:pt x="382" y="638"/>
                  </a:lnTo>
                  <a:lnTo>
                    <a:pt x="382" y="639"/>
                  </a:lnTo>
                  <a:lnTo>
                    <a:pt x="382" y="641"/>
                  </a:lnTo>
                  <a:lnTo>
                    <a:pt x="382" y="644"/>
                  </a:lnTo>
                  <a:lnTo>
                    <a:pt x="382" y="645"/>
                  </a:lnTo>
                  <a:lnTo>
                    <a:pt x="381" y="645"/>
                  </a:lnTo>
                  <a:lnTo>
                    <a:pt x="381" y="647"/>
                  </a:lnTo>
                  <a:lnTo>
                    <a:pt x="399" y="645"/>
                  </a:lnTo>
                  <a:lnTo>
                    <a:pt x="401" y="645"/>
                  </a:lnTo>
                  <a:lnTo>
                    <a:pt x="402" y="647"/>
                  </a:lnTo>
                  <a:lnTo>
                    <a:pt x="404" y="645"/>
                  </a:lnTo>
                  <a:lnTo>
                    <a:pt x="405" y="645"/>
                  </a:lnTo>
                  <a:lnTo>
                    <a:pt x="407" y="645"/>
                  </a:lnTo>
                  <a:lnTo>
                    <a:pt x="407" y="645"/>
                  </a:lnTo>
                  <a:lnTo>
                    <a:pt x="407" y="645"/>
                  </a:lnTo>
                  <a:lnTo>
                    <a:pt x="408" y="645"/>
                  </a:lnTo>
                  <a:lnTo>
                    <a:pt x="408" y="645"/>
                  </a:lnTo>
                  <a:lnTo>
                    <a:pt x="410" y="645"/>
                  </a:lnTo>
                  <a:lnTo>
                    <a:pt x="410" y="645"/>
                  </a:lnTo>
                  <a:lnTo>
                    <a:pt x="410" y="644"/>
                  </a:lnTo>
                  <a:lnTo>
                    <a:pt x="412" y="644"/>
                  </a:lnTo>
                  <a:lnTo>
                    <a:pt x="416" y="644"/>
                  </a:lnTo>
                  <a:lnTo>
                    <a:pt x="418" y="644"/>
                  </a:lnTo>
                  <a:lnTo>
                    <a:pt x="422" y="642"/>
                  </a:lnTo>
                  <a:lnTo>
                    <a:pt x="422" y="642"/>
                  </a:lnTo>
                  <a:lnTo>
                    <a:pt x="424" y="641"/>
                  </a:lnTo>
                  <a:lnTo>
                    <a:pt x="425" y="641"/>
                  </a:lnTo>
                  <a:lnTo>
                    <a:pt x="427" y="641"/>
                  </a:lnTo>
                  <a:lnTo>
                    <a:pt x="432" y="641"/>
                  </a:lnTo>
                  <a:lnTo>
                    <a:pt x="439" y="641"/>
                  </a:lnTo>
                  <a:lnTo>
                    <a:pt x="439" y="641"/>
                  </a:lnTo>
                  <a:lnTo>
                    <a:pt x="441" y="641"/>
                  </a:lnTo>
                  <a:lnTo>
                    <a:pt x="445" y="639"/>
                  </a:lnTo>
                  <a:lnTo>
                    <a:pt x="461" y="639"/>
                  </a:lnTo>
                  <a:lnTo>
                    <a:pt x="467" y="638"/>
                  </a:lnTo>
                  <a:lnTo>
                    <a:pt x="470" y="638"/>
                  </a:lnTo>
                  <a:lnTo>
                    <a:pt x="472" y="638"/>
                  </a:lnTo>
                  <a:lnTo>
                    <a:pt x="473" y="638"/>
                  </a:lnTo>
                  <a:lnTo>
                    <a:pt x="473" y="636"/>
                  </a:lnTo>
                  <a:lnTo>
                    <a:pt x="475" y="636"/>
                  </a:lnTo>
                  <a:lnTo>
                    <a:pt x="475" y="636"/>
                  </a:lnTo>
                  <a:lnTo>
                    <a:pt x="475" y="638"/>
                  </a:lnTo>
                  <a:lnTo>
                    <a:pt x="476" y="638"/>
                  </a:lnTo>
                  <a:lnTo>
                    <a:pt x="478" y="638"/>
                  </a:lnTo>
                  <a:lnTo>
                    <a:pt x="479" y="638"/>
                  </a:lnTo>
                  <a:lnTo>
                    <a:pt x="481" y="638"/>
                  </a:lnTo>
                  <a:lnTo>
                    <a:pt x="482" y="639"/>
                  </a:lnTo>
                  <a:lnTo>
                    <a:pt x="482" y="639"/>
                  </a:lnTo>
                  <a:lnTo>
                    <a:pt x="482" y="641"/>
                  </a:lnTo>
                  <a:lnTo>
                    <a:pt x="485" y="641"/>
                  </a:lnTo>
                  <a:lnTo>
                    <a:pt x="485" y="639"/>
                  </a:lnTo>
                  <a:lnTo>
                    <a:pt x="490" y="638"/>
                  </a:lnTo>
                  <a:lnTo>
                    <a:pt x="492" y="638"/>
                  </a:lnTo>
                  <a:lnTo>
                    <a:pt x="492" y="638"/>
                  </a:lnTo>
                  <a:lnTo>
                    <a:pt x="493" y="638"/>
                  </a:lnTo>
                  <a:lnTo>
                    <a:pt x="493" y="636"/>
                  </a:lnTo>
                  <a:lnTo>
                    <a:pt x="495" y="635"/>
                  </a:lnTo>
                  <a:lnTo>
                    <a:pt x="495" y="633"/>
                  </a:lnTo>
                  <a:lnTo>
                    <a:pt x="495" y="633"/>
                  </a:lnTo>
                  <a:lnTo>
                    <a:pt x="496" y="632"/>
                  </a:lnTo>
                  <a:lnTo>
                    <a:pt x="496" y="630"/>
                  </a:lnTo>
                  <a:lnTo>
                    <a:pt x="498" y="629"/>
                  </a:lnTo>
                  <a:lnTo>
                    <a:pt x="496" y="627"/>
                  </a:lnTo>
                  <a:lnTo>
                    <a:pt x="498" y="625"/>
                  </a:lnTo>
                  <a:lnTo>
                    <a:pt x="498" y="624"/>
                  </a:lnTo>
                  <a:lnTo>
                    <a:pt x="499" y="622"/>
                  </a:lnTo>
                  <a:lnTo>
                    <a:pt x="498" y="624"/>
                  </a:lnTo>
                  <a:lnTo>
                    <a:pt x="496" y="621"/>
                  </a:lnTo>
                  <a:lnTo>
                    <a:pt x="495" y="616"/>
                  </a:lnTo>
                  <a:lnTo>
                    <a:pt x="496" y="615"/>
                  </a:lnTo>
                  <a:lnTo>
                    <a:pt x="498" y="615"/>
                  </a:lnTo>
                  <a:close/>
                  <a:moveTo>
                    <a:pt x="566" y="593"/>
                  </a:move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6" y="590"/>
                  </a:lnTo>
                  <a:lnTo>
                    <a:pt x="564" y="585"/>
                  </a:lnTo>
                  <a:lnTo>
                    <a:pt x="561" y="584"/>
                  </a:lnTo>
                  <a:lnTo>
                    <a:pt x="561" y="584"/>
                  </a:lnTo>
                  <a:lnTo>
                    <a:pt x="561" y="582"/>
                  </a:lnTo>
                  <a:lnTo>
                    <a:pt x="562" y="581"/>
                  </a:lnTo>
                  <a:lnTo>
                    <a:pt x="562" y="579"/>
                  </a:lnTo>
                  <a:lnTo>
                    <a:pt x="562" y="579"/>
                  </a:lnTo>
                  <a:lnTo>
                    <a:pt x="564" y="578"/>
                  </a:lnTo>
                  <a:lnTo>
                    <a:pt x="564" y="576"/>
                  </a:lnTo>
                  <a:lnTo>
                    <a:pt x="564" y="576"/>
                  </a:lnTo>
                  <a:lnTo>
                    <a:pt x="566" y="575"/>
                  </a:lnTo>
                  <a:lnTo>
                    <a:pt x="566" y="575"/>
                  </a:lnTo>
                  <a:lnTo>
                    <a:pt x="566" y="573"/>
                  </a:lnTo>
                  <a:lnTo>
                    <a:pt x="566" y="573"/>
                  </a:lnTo>
                  <a:lnTo>
                    <a:pt x="566" y="572"/>
                  </a:lnTo>
                  <a:lnTo>
                    <a:pt x="566" y="570"/>
                  </a:lnTo>
                  <a:lnTo>
                    <a:pt x="566" y="568"/>
                  </a:lnTo>
                  <a:lnTo>
                    <a:pt x="567" y="567"/>
                  </a:lnTo>
                  <a:lnTo>
                    <a:pt x="567" y="565"/>
                  </a:lnTo>
                  <a:lnTo>
                    <a:pt x="567" y="565"/>
                  </a:lnTo>
                  <a:lnTo>
                    <a:pt x="566" y="565"/>
                  </a:lnTo>
                  <a:lnTo>
                    <a:pt x="566" y="565"/>
                  </a:lnTo>
                  <a:lnTo>
                    <a:pt x="566" y="565"/>
                  </a:lnTo>
                  <a:lnTo>
                    <a:pt x="564" y="567"/>
                  </a:lnTo>
                  <a:lnTo>
                    <a:pt x="564" y="567"/>
                  </a:lnTo>
                  <a:lnTo>
                    <a:pt x="562" y="567"/>
                  </a:lnTo>
                  <a:lnTo>
                    <a:pt x="562" y="567"/>
                  </a:lnTo>
                  <a:lnTo>
                    <a:pt x="562" y="567"/>
                  </a:lnTo>
                  <a:lnTo>
                    <a:pt x="561" y="567"/>
                  </a:lnTo>
                  <a:lnTo>
                    <a:pt x="561" y="568"/>
                  </a:lnTo>
                  <a:lnTo>
                    <a:pt x="562" y="570"/>
                  </a:lnTo>
                  <a:lnTo>
                    <a:pt x="562" y="572"/>
                  </a:lnTo>
                  <a:lnTo>
                    <a:pt x="561" y="575"/>
                  </a:lnTo>
                  <a:lnTo>
                    <a:pt x="559" y="578"/>
                  </a:lnTo>
                  <a:lnTo>
                    <a:pt x="559" y="579"/>
                  </a:lnTo>
                  <a:lnTo>
                    <a:pt x="558" y="582"/>
                  </a:lnTo>
                  <a:lnTo>
                    <a:pt x="556" y="582"/>
                  </a:lnTo>
                  <a:lnTo>
                    <a:pt x="556" y="584"/>
                  </a:lnTo>
                  <a:lnTo>
                    <a:pt x="555" y="584"/>
                  </a:lnTo>
                  <a:lnTo>
                    <a:pt x="555" y="585"/>
                  </a:lnTo>
                  <a:lnTo>
                    <a:pt x="555" y="587"/>
                  </a:lnTo>
                  <a:lnTo>
                    <a:pt x="555" y="587"/>
                  </a:lnTo>
                  <a:lnTo>
                    <a:pt x="558" y="588"/>
                  </a:lnTo>
                  <a:lnTo>
                    <a:pt x="558" y="588"/>
                  </a:lnTo>
                  <a:lnTo>
                    <a:pt x="558" y="590"/>
                  </a:lnTo>
                  <a:lnTo>
                    <a:pt x="558" y="590"/>
                  </a:lnTo>
                  <a:lnTo>
                    <a:pt x="558" y="592"/>
                  </a:lnTo>
                  <a:lnTo>
                    <a:pt x="558" y="593"/>
                  </a:lnTo>
                  <a:lnTo>
                    <a:pt x="559" y="595"/>
                  </a:lnTo>
                  <a:lnTo>
                    <a:pt x="558" y="596"/>
                  </a:lnTo>
                  <a:lnTo>
                    <a:pt x="558" y="596"/>
                  </a:lnTo>
                  <a:lnTo>
                    <a:pt x="558" y="598"/>
                  </a:lnTo>
                  <a:lnTo>
                    <a:pt x="558" y="598"/>
                  </a:lnTo>
                  <a:lnTo>
                    <a:pt x="558" y="598"/>
                  </a:lnTo>
                  <a:lnTo>
                    <a:pt x="556" y="598"/>
                  </a:lnTo>
                  <a:lnTo>
                    <a:pt x="556" y="599"/>
                  </a:lnTo>
                  <a:lnTo>
                    <a:pt x="558" y="601"/>
                  </a:lnTo>
                  <a:lnTo>
                    <a:pt x="558" y="601"/>
                  </a:lnTo>
                  <a:lnTo>
                    <a:pt x="559" y="601"/>
                  </a:lnTo>
                  <a:lnTo>
                    <a:pt x="559" y="601"/>
                  </a:lnTo>
                  <a:lnTo>
                    <a:pt x="561" y="602"/>
                  </a:lnTo>
                  <a:lnTo>
                    <a:pt x="559" y="604"/>
                  </a:lnTo>
                  <a:lnTo>
                    <a:pt x="561" y="602"/>
                  </a:lnTo>
                  <a:lnTo>
                    <a:pt x="561" y="602"/>
                  </a:lnTo>
                  <a:lnTo>
                    <a:pt x="562" y="602"/>
                  </a:lnTo>
                  <a:lnTo>
                    <a:pt x="562" y="601"/>
                  </a:lnTo>
                  <a:lnTo>
                    <a:pt x="562" y="601"/>
                  </a:lnTo>
                  <a:lnTo>
                    <a:pt x="561" y="601"/>
                  </a:lnTo>
                  <a:lnTo>
                    <a:pt x="561" y="601"/>
                  </a:lnTo>
                  <a:lnTo>
                    <a:pt x="561" y="602"/>
                  </a:lnTo>
                  <a:lnTo>
                    <a:pt x="562" y="599"/>
                  </a:lnTo>
                  <a:lnTo>
                    <a:pt x="562" y="598"/>
                  </a:lnTo>
                  <a:lnTo>
                    <a:pt x="566" y="596"/>
                  </a:lnTo>
                  <a:lnTo>
                    <a:pt x="567" y="598"/>
                  </a:lnTo>
                  <a:lnTo>
                    <a:pt x="567" y="595"/>
                  </a:lnTo>
                  <a:lnTo>
                    <a:pt x="567" y="595"/>
                  </a:lnTo>
                  <a:lnTo>
                    <a:pt x="566" y="593"/>
                  </a:lnTo>
                  <a:close/>
                  <a:moveTo>
                    <a:pt x="276" y="561"/>
                  </a:moveTo>
                  <a:lnTo>
                    <a:pt x="274" y="559"/>
                  </a:lnTo>
                  <a:lnTo>
                    <a:pt x="273" y="559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8"/>
                  </a:lnTo>
                  <a:lnTo>
                    <a:pt x="273" y="559"/>
                  </a:lnTo>
                  <a:lnTo>
                    <a:pt x="273" y="561"/>
                  </a:lnTo>
                  <a:lnTo>
                    <a:pt x="274" y="562"/>
                  </a:lnTo>
                  <a:lnTo>
                    <a:pt x="276" y="564"/>
                  </a:lnTo>
                  <a:lnTo>
                    <a:pt x="276" y="565"/>
                  </a:lnTo>
                  <a:lnTo>
                    <a:pt x="276" y="565"/>
                  </a:lnTo>
                  <a:lnTo>
                    <a:pt x="276" y="561"/>
                  </a:lnTo>
                  <a:lnTo>
                    <a:pt x="276" y="561"/>
                  </a:lnTo>
                  <a:close/>
                  <a:moveTo>
                    <a:pt x="592" y="527"/>
                  </a:moveTo>
                  <a:lnTo>
                    <a:pt x="590" y="527"/>
                  </a:lnTo>
                  <a:lnTo>
                    <a:pt x="590" y="527"/>
                  </a:lnTo>
                  <a:lnTo>
                    <a:pt x="589" y="527"/>
                  </a:lnTo>
                  <a:lnTo>
                    <a:pt x="589" y="528"/>
                  </a:lnTo>
                  <a:lnTo>
                    <a:pt x="589" y="528"/>
                  </a:lnTo>
                  <a:lnTo>
                    <a:pt x="589" y="530"/>
                  </a:lnTo>
                  <a:lnTo>
                    <a:pt x="590" y="530"/>
                  </a:lnTo>
                  <a:lnTo>
                    <a:pt x="592" y="530"/>
                  </a:lnTo>
                  <a:lnTo>
                    <a:pt x="593" y="530"/>
                  </a:lnTo>
                  <a:lnTo>
                    <a:pt x="595" y="528"/>
                  </a:lnTo>
                  <a:lnTo>
                    <a:pt x="595" y="530"/>
                  </a:lnTo>
                  <a:lnTo>
                    <a:pt x="595" y="528"/>
                  </a:lnTo>
                  <a:lnTo>
                    <a:pt x="596" y="528"/>
                  </a:lnTo>
                  <a:lnTo>
                    <a:pt x="596" y="527"/>
                  </a:lnTo>
                  <a:lnTo>
                    <a:pt x="596" y="527"/>
                  </a:lnTo>
                  <a:lnTo>
                    <a:pt x="592" y="527"/>
                  </a:lnTo>
                  <a:close/>
                  <a:moveTo>
                    <a:pt x="258" y="524"/>
                  </a:moveTo>
                  <a:lnTo>
                    <a:pt x="253" y="521"/>
                  </a:lnTo>
                  <a:lnTo>
                    <a:pt x="251" y="519"/>
                  </a:lnTo>
                  <a:lnTo>
                    <a:pt x="248" y="515"/>
                  </a:lnTo>
                  <a:lnTo>
                    <a:pt x="248" y="513"/>
                  </a:lnTo>
                  <a:lnTo>
                    <a:pt x="247" y="515"/>
                  </a:lnTo>
                  <a:lnTo>
                    <a:pt x="245" y="518"/>
                  </a:lnTo>
                  <a:lnTo>
                    <a:pt x="245" y="519"/>
                  </a:lnTo>
                  <a:lnTo>
                    <a:pt x="245" y="519"/>
                  </a:lnTo>
                  <a:lnTo>
                    <a:pt x="245" y="521"/>
                  </a:lnTo>
                  <a:lnTo>
                    <a:pt x="245" y="522"/>
                  </a:lnTo>
                  <a:lnTo>
                    <a:pt x="245" y="525"/>
                  </a:lnTo>
                  <a:lnTo>
                    <a:pt x="245" y="530"/>
                  </a:lnTo>
                  <a:lnTo>
                    <a:pt x="245" y="530"/>
                  </a:lnTo>
                  <a:lnTo>
                    <a:pt x="247" y="531"/>
                  </a:lnTo>
                  <a:lnTo>
                    <a:pt x="247" y="533"/>
                  </a:lnTo>
                  <a:lnTo>
                    <a:pt x="247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3"/>
                  </a:lnTo>
                  <a:lnTo>
                    <a:pt x="248" y="535"/>
                  </a:lnTo>
                  <a:lnTo>
                    <a:pt x="250" y="535"/>
                  </a:lnTo>
                  <a:lnTo>
                    <a:pt x="251" y="535"/>
                  </a:lnTo>
                  <a:lnTo>
                    <a:pt x="251" y="536"/>
                  </a:lnTo>
                  <a:lnTo>
                    <a:pt x="251" y="536"/>
                  </a:lnTo>
                  <a:lnTo>
                    <a:pt x="253" y="536"/>
                  </a:lnTo>
                  <a:lnTo>
                    <a:pt x="254" y="536"/>
                  </a:lnTo>
                  <a:lnTo>
                    <a:pt x="256" y="536"/>
                  </a:lnTo>
                  <a:lnTo>
                    <a:pt x="256" y="536"/>
                  </a:lnTo>
                  <a:lnTo>
                    <a:pt x="256" y="530"/>
                  </a:lnTo>
                  <a:lnTo>
                    <a:pt x="256" y="530"/>
                  </a:lnTo>
                  <a:lnTo>
                    <a:pt x="258" y="528"/>
                  </a:lnTo>
                  <a:lnTo>
                    <a:pt x="258" y="528"/>
                  </a:lnTo>
                  <a:lnTo>
                    <a:pt x="259" y="528"/>
                  </a:lnTo>
                  <a:lnTo>
                    <a:pt x="259" y="527"/>
                  </a:lnTo>
                  <a:lnTo>
                    <a:pt x="259" y="525"/>
                  </a:lnTo>
                  <a:lnTo>
                    <a:pt x="258" y="524"/>
                  </a:lnTo>
                  <a:close/>
                  <a:moveTo>
                    <a:pt x="458" y="511"/>
                  </a:moveTo>
                  <a:lnTo>
                    <a:pt x="458" y="513"/>
                  </a:lnTo>
                  <a:lnTo>
                    <a:pt x="456" y="513"/>
                  </a:lnTo>
                  <a:lnTo>
                    <a:pt x="456" y="515"/>
                  </a:lnTo>
                  <a:lnTo>
                    <a:pt x="455" y="515"/>
                  </a:lnTo>
                  <a:lnTo>
                    <a:pt x="455" y="515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6" y="516"/>
                  </a:lnTo>
                  <a:lnTo>
                    <a:pt x="459" y="516"/>
                  </a:lnTo>
                  <a:lnTo>
                    <a:pt x="459" y="516"/>
                  </a:lnTo>
                  <a:lnTo>
                    <a:pt x="461" y="516"/>
                  </a:lnTo>
                  <a:lnTo>
                    <a:pt x="462" y="516"/>
                  </a:lnTo>
                  <a:lnTo>
                    <a:pt x="462" y="516"/>
                  </a:lnTo>
                  <a:lnTo>
                    <a:pt x="464" y="516"/>
                  </a:lnTo>
                  <a:lnTo>
                    <a:pt x="464" y="518"/>
                  </a:lnTo>
                  <a:lnTo>
                    <a:pt x="464" y="516"/>
                  </a:lnTo>
                  <a:lnTo>
                    <a:pt x="462" y="516"/>
                  </a:lnTo>
                  <a:lnTo>
                    <a:pt x="461" y="513"/>
                  </a:lnTo>
                  <a:lnTo>
                    <a:pt x="458" y="511"/>
                  </a:lnTo>
                  <a:close/>
                  <a:moveTo>
                    <a:pt x="643" y="508"/>
                  </a:moveTo>
                  <a:lnTo>
                    <a:pt x="641" y="508"/>
                  </a:lnTo>
                  <a:lnTo>
                    <a:pt x="641" y="507"/>
                  </a:lnTo>
                  <a:lnTo>
                    <a:pt x="639" y="507"/>
                  </a:lnTo>
                  <a:lnTo>
                    <a:pt x="638" y="510"/>
                  </a:lnTo>
                  <a:lnTo>
                    <a:pt x="633" y="510"/>
                  </a:lnTo>
                  <a:lnTo>
                    <a:pt x="630" y="511"/>
                  </a:lnTo>
                  <a:lnTo>
                    <a:pt x="629" y="511"/>
                  </a:lnTo>
                  <a:lnTo>
                    <a:pt x="621" y="516"/>
                  </a:lnTo>
                  <a:lnTo>
                    <a:pt x="616" y="518"/>
                  </a:lnTo>
                  <a:lnTo>
                    <a:pt x="616" y="519"/>
                  </a:lnTo>
                  <a:lnTo>
                    <a:pt x="615" y="519"/>
                  </a:lnTo>
                  <a:lnTo>
                    <a:pt x="613" y="522"/>
                  </a:lnTo>
                  <a:lnTo>
                    <a:pt x="612" y="522"/>
                  </a:lnTo>
                  <a:lnTo>
                    <a:pt x="612" y="524"/>
                  </a:lnTo>
                  <a:lnTo>
                    <a:pt x="610" y="524"/>
                  </a:lnTo>
                  <a:lnTo>
                    <a:pt x="610" y="524"/>
                  </a:lnTo>
                  <a:lnTo>
                    <a:pt x="609" y="525"/>
                  </a:lnTo>
                  <a:lnTo>
                    <a:pt x="609" y="527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7" y="530"/>
                  </a:lnTo>
                  <a:lnTo>
                    <a:pt x="607" y="530"/>
                  </a:lnTo>
                  <a:lnTo>
                    <a:pt x="607" y="531"/>
                  </a:lnTo>
                  <a:lnTo>
                    <a:pt x="607" y="531"/>
                  </a:lnTo>
                  <a:lnTo>
                    <a:pt x="604" y="531"/>
                  </a:lnTo>
                  <a:lnTo>
                    <a:pt x="603" y="535"/>
                  </a:lnTo>
                  <a:lnTo>
                    <a:pt x="601" y="535"/>
                  </a:lnTo>
                  <a:lnTo>
                    <a:pt x="601" y="536"/>
                  </a:lnTo>
                  <a:lnTo>
                    <a:pt x="601" y="536"/>
                  </a:lnTo>
                  <a:lnTo>
                    <a:pt x="603" y="535"/>
                  </a:lnTo>
                  <a:lnTo>
                    <a:pt x="603" y="536"/>
                  </a:lnTo>
                  <a:lnTo>
                    <a:pt x="603" y="536"/>
                  </a:lnTo>
                  <a:lnTo>
                    <a:pt x="603" y="538"/>
                  </a:lnTo>
                  <a:lnTo>
                    <a:pt x="603" y="538"/>
                  </a:lnTo>
                  <a:lnTo>
                    <a:pt x="604" y="539"/>
                  </a:lnTo>
                  <a:lnTo>
                    <a:pt x="606" y="541"/>
                  </a:lnTo>
                  <a:lnTo>
                    <a:pt x="606" y="541"/>
                  </a:lnTo>
                  <a:lnTo>
                    <a:pt x="606" y="544"/>
                  </a:lnTo>
                  <a:lnTo>
                    <a:pt x="606" y="545"/>
                  </a:lnTo>
                  <a:lnTo>
                    <a:pt x="604" y="552"/>
                  </a:lnTo>
                  <a:lnTo>
                    <a:pt x="603" y="553"/>
                  </a:lnTo>
                  <a:lnTo>
                    <a:pt x="604" y="556"/>
                  </a:lnTo>
                  <a:lnTo>
                    <a:pt x="604" y="556"/>
                  </a:lnTo>
                  <a:lnTo>
                    <a:pt x="604" y="558"/>
                  </a:lnTo>
                  <a:lnTo>
                    <a:pt x="607" y="559"/>
                  </a:lnTo>
                  <a:lnTo>
                    <a:pt x="612" y="558"/>
                  </a:lnTo>
                  <a:lnTo>
                    <a:pt x="613" y="555"/>
                  </a:lnTo>
                  <a:lnTo>
                    <a:pt x="616" y="552"/>
                  </a:lnTo>
                  <a:lnTo>
                    <a:pt x="619" y="547"/>
                  </a:lnTo>
                  <a:lnTo>
                    <a:pt x="621" y="545"/>
                  </a:lnTo>
                  <a:lnTo>
                    <a:pt x="624" y="544"/>
                  </a:lnTo>
                  <a:lnTo>
                    <a:pt x="626" y="542"/>
                  </a:lnTo>
                  <a:lnTo>
                    <a:pt x="627" y="542"/>
                  </a:lnTo>
                  <a:lnTo>
                    <a:pt x="630" y="544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1"/>
                  </a:lnTo>
                  <a:lnTo>
                    <a:pt x="632" y="541"/>
                  </a:lnTo>
                  <a:lnTo>
                    <a:pt x="632" y="539"/>
                  </a:lnTo>
                  <a:lnTo>
                    <a:pt x="630" y="539"/>
                  </a:lnTo>
                  <a:lnTo>
                    <a:pt x="630" y="539"/>
                  </a:lnTo>
                  <a:lnTo>
                    <a:pt x="629" y="539"/>
                  </a:lnTo>
                  <a:lnTo>
                    <a:pt x="629" y="538"/>
                  </a:lnTo>
                  <a:lnTo>
                    <a:pt x="630" y="535"/>
                  </a:lnTo>
                  <a:lnTo>
                    <a:pt x="632" y="533"/>
                  </a:lnTo>
                  <a:lnTo>
                    <a:pt x="632" y="533"/>
                  </a:lnTo>
                  <a:lnTo>
                    <a:pt x="632" y="533"/>
                  </a:lnTo>
                  <a:lnTo>
                    <a:pt x="632" y="531"/>
                  </a:lnTo>
                  <a:lnTo>
                    <a:pt x="632" y="531"/>
                  </a:lnTo>
                  <a:lnTo>
                    <a:pt x="633" y="531"/>
                  </a:lnTo>
                  <a:lnTo>
                    <a:pt x="633" y="531"/>
                  </a:lnTo>
                  <a:lnTo>
                    <a:pt x="635" y="531"/>
                  </a:lnTo>
                  <a:lnTo>
                    <a:pt x="635" y="528"/>
                  </a:lnTo>
                  <a:lnTo>
                    <a:pt x="636" y="528"/>
                  </a:lnTo>
                  <a:lnTo>
                    <a:pt x="636" y="527"/>
                  </a:lnTo>
                  <a:lnTo>
                    <a:pt x="636" y="527"/>
                  </a:lnTo>
                  <a:lnTo>
                    <a:pt x="636" y="524"/>
                  </a:lnTo>
                  <a:lnTo>
                    <a:pt x="638" y="522"/>
                  </a:lnTo>
                  <a:lnTo>
                    <a:pt x="639" y="521"/>
                  </a:lnTo>
                  <a:lnTo>
                    <a:pt x="639" y="519"/>
                  </a:lnTo>
                  <a:lnTo>
                    <a:pt x="639" y="516"/>
                  </a:lnTo>
                  <a:lnTo>
                    <a:pt x="639" y="516"/>
                  </a:lnTo>
                  <a:lnTo>
                    <a:pt x="641" y="515"/>
                  </a:lnTo>
                  <a:lnTo>
                    <a:pt x="641" y="510"/>
                  </a:lnTo>
                  <a:lnTo>
                    <a:pt x="643" y="510"/>
                  </a:lnTo>
                  <a:lnTo>
                    <a:pt x="643" y="508"/>
                  </a:lnTo>
                  <a:close/>
                  <a:moveTo>
                    <a:pt x="432" y="515"/>
                  </a:moveTo>
                  <a:lnTo>
                    <a:pt x="432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28" y="518"/>
                  </a:lnTo>
                  <a:lnTo>
                    <a:pt x="433" y="518"/>
                  </a:lnTo>
                  <a:lnTo>
                    <a:pt x="435" y="518"/>
                  </a:lnTo>
                  <a:lnTo>
                    <a:pt x="436" y="518"/>
                  </a:lnTo>
                  <a:lnTo>
                    <a:pt x="436" y="516"/>
                  </a:lnTo>
                  <a:lnTo>
                    <a:pt x="438" y="515"/>
                  </a:lnTo>
                  <a:lnTo>
                    <a:pt x="438" y="513"/>
                  </a:lnTo>
                  <a:lnTo>
                    <a:pt x="436" y="510"/>
                  </a:lnTo>
                  <a:lnTo>
                    <a:pt x="435" y="508"/>
                  </a:lnTo>
                  <a:lnTo>
                    <a:pt x="432" y="505"/>
                  </a:lnTo>
                  <a:lnTo>
                    <a:pt x="430" y="505"/>
                  </a:lnTo>
                  <a:lnTo>
                    <a:pt x="428" y="505"/>
                  </a:lnTo>
                  <a:lnTo>
                    <a:pt x="428" y="505"/>
                  </a:lnTo>
                  <a:lnTo>
                    <a:pt x="428" y="505"/>
                  </a:lnTo>
                  <a:lnTo>
                    <a:pt x="428" y="507"/>
                  </a:lnTo>
                  <a:lnTo>
                    <a:pt x="432" y="507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2" y="510"/>
                  </a:lnTo>
                  <a:lnTo>
                    <a:pt x="433" y="510"/>
                  </a:lnTo>
                  <a:lnTo>
                    <a:pt x="433" y="511"/>
                  </a:lnTo>
                  <a:lnTo>
                    <a:pt x="433" y="513"/>
                  </a:lnTo>
                  <a:lnTo>
                    <a:pt x="433" y="513"/>
                  </a:lnTo>
                  <a:lnTo>
                    <a:pt x="432" y="515"/>
                  </a:lnTo>
                  <a:close/>
                  <a:moveTo>
                    <a:pt x="583" y="511"/>
                  </a:moveTo>
                  <a:lnTo>
                    <a:pt x="583" y="510"/>
                  </a:lnTo>
                  <a:lnTo>
                    <a:pt x="581" y="511"/>
                  </a:lnTo>
                  <a:lnTo>
                    <a:pt x="579" y="511"/>
                  </a:lnTo>
                  <a:lnTo>
                    <a:pt x="578" y="510"/>
                  </a:lnTo>
                  <a:lnTo>
                    <a:pt x="579" y="508"/>
                  </a:lnTo>
                  <a:lnTo>
                    <a:pt x="578" y="508"/>
                  </a:lnTo>
                  <a:lnTo>
                    <a:pt x="578" y="505"/>
                  </a:lnTo>
                  <a:lnTo>
                    <a:pt x="576" y="505"/>
                  </a:lnTo>
                  <a:lnTo>
                    <a:pt x="575" y="505"/>
                  </a:lnTo>
                  <a:lnTo>
                    <a:pt x="573" y="507"/>
                  </a:lnTo>
                  <a:lnTo>
                    <a:pt x="573" y="507"/>
                  </a:lnTo>
                  <a:lnTo>
                    <a:pt x="572" y="505"/>
                  </a:lnTo>
                  <a:lnTo>
                    <a:pt x="572" y="507"/>
                  </a:lnTo>
                  <a:lnTo>
                    <a:pt x="572" y="507"/>
                  </a:lnTo>
                  <a:lnTo>
                    <a:pt x="572" y="508"/>
                  </a:lnTo>
                  <a:lnTo>
                    <a:pt x="572" y="510"/>
                  </a:lnTo>
                  <a:lnTo>
                    <a:pt x="573" y="510"/>
                  </a:lnTo>
                  <a:lnTo>
                    <a:pt x="573" y="511"/>
                  </a:lnTo>
                  <a:lnTo>
                    <a:pt x="573" y="511"/>
                  </a:lnTo>
                  <a:lnTo>
                    <a:pt x="575" y="510"/>
                  </a:lnTo>
                  <a:lnTo>
                    <a:pt x="575" y="510"/>
                  </a:lnTo>
                  <a:lnTo>
                    <a:pt x="576" y="510"/>
                  </a:lnTo>
                  <a:lnTo>
                    <a:pt x="576" y="510"/>
                  </a:lnTo>
                  <a:lnTo>
                    <a:pt x="576" y="511"/>
                  </a:lnTo>
                  <a:lnTo>
                    <a:pt x="576" y="513"/>
                  </a:lnTo>
                  <a:lnTo>
                    <a:pt x="578" y="515"/>
                  </a:lnTo>
                  <a:lnTo>
                    <a:pt x="579" y="515"/>
                  </a:lnTo>
                  <a:lnTo>
                    <a:pt x="579" y="515"/>
                  </a:lnTo>
                  <a:lnTo>
                    <a:pt x="579" y="515"/>
                  </a:lnTo>
                  <a:lnTo>
                    <a:pt x="581" y="515"/>
                  </a:lnTo>
                  <a:lnTo>
                    <a:pt x="581" y="513"/>
                  </a:lnTo>
                  <a:lnTo>
                    <a:pt x="583" y="513"/>
                  </a:lnTo>
                  <a:lnTo>
                    <a:pt x="583" y="511"/>
                  </a:lnTo>
                  <a:lnTo>
                    <a:pt x="583" y="511"/>
                  </a:lnTo>
                  <a:lnTo>
                    <a:pt x="583" y="511"/>
                  </a:lnTo>
                  <a:close/>
                  <a:moveTo>
                    <a:pt x="562" y="493"/>
                  </a:moveTo>
                  <a:lnTo>
                    <a:pt x="559" y="495"/>
                  </a:lnTo>
                  <a:lnTo>
                    <a:pt x="559" y="496"/>
                  </a:lnTo>
                  <a:lnTo>
                    <a:pt x="559" y="496"/>
                  </a:lnTo>
                  <a:lnTo>
                    <a:pt x="559" y="498"/>
                  </a:lnTo>
                  <a:lnTo>
                    <a:pt x="562" y="498"/>
                  </a:lnTo>
                  <a:lnTo>
                    <a:pt x="562" y="498"/>
                  </a:lnTo>
                  <a:lnTo>
                    <a:pt x="564" y="496"/>
                  </a:lnTo>
                  <a:lnTo>
                    <a:pt x="566" y="495"/>
                  </a:lnTo>
                  <a:lnTo>
                    <a:pt x="564" y="493"/>
                  </a:lnTo>
                  <a:lnTo>
                    <a:pt x="564" y="493"/>
                  </a:lnTo>
                  <a:lnTo>
                    <a:pt x="562" y="493"/>
                  </a:lnTo>
                  <a:close/>
                  <a:moveTo>
                    <a:pt x="507" y="491"/>
                  </a:moveTo>
                  <a:lnTo>
                    <a:pt x="504" y="490"/>
                  </a:lnTo>
                  <a:lnTo>
                    <a:pt x="502" y="490"/>
                  </a:lnTo>
                  <a:lnTo>
                    <a:pt x="502" y="491"/>
                  </a:lnTo>
                  <a:lnTo>
                    <a:pt x="502" y="491"/>
                  </a:lnTo>
                  <a:lnTo>
                    <a:pt x="504" y="491"/>
                  </a:lnTo>
                  <a:lnTo>
                    <a:pt x="504" y="493"/>
                  </a:lnTo>
                  <a:lnTo>
                    <a:pt x="504" y="493"/>
                  </a:lnTo>
                  <a:lnTo>
                    <a:pt x="504" y="493"/>
                  </a:lnTo>
                  <a:lnTo>
                    <a:pt x="504" y="495"/>
                  </a:lnTo>
                  <a:lnTo>
                    <a:pt x="506" y="495"/>
                  </a:lnTo>
                  <a:lnTo>
                    <a:pt x="504" y="495"/>
                  </a:lnTo>
                  <a:lnTo>
                    <a:pt x="504" y="495"/>
                  </a:lnTo>
                  <a:lnTo>
                    <a:pt x="504" y="495"/>
                  </a:lnTo>
                  <a:lnTo>
                    <a:pt x="502" y="495"/>
                  </a:lnTo>
                  <a:lnTo>
                    <a:pt x="502" y="495"/>
                  </a:lnTo>
                  <a:lnTo>
                    <a:pt x="501" y="496"/>
                  </a:lnTo>
                  <a:lnTo>
                    <a:pt x="501" y="496"/>
                  </a:lnTo>
                  <a:lnTo>
                    <a:pt x="499" y="496"/>
                  </a:lnTo>
                  <a:lnTo>
                    <a:pt x="498" y="495"/>
                  </a:lnTo>
                  <a:lnTo>
                    <a:pt x="498" y="495"/>
                  </a:lnTo>
                  <a:lnTo>
                    <a:pt x="496" y="495"/>
                  </a:lnTo>
                  <a:lnTo>
                    <a:pt x="495" y="495"/>
                  </a:lnTo>
                  <a:lnTo>
                    <a:pt x="495" y="495"/>
                  </a:lnTo>
                  <a:lnTo>
                    <a:pt x="495" y="496"/>
                  </a:lnTo>
                  <a:lnTo>
                    <a:pt x="496" y="498"/>
                  </a:lnTo>
                  <a:lnTo>
                    <a:pt x="495" y="498"/>
                  </a:lnTo>
                  <a:lnTo>
                    <a:pt x="495" y="498"/>
                  </a:lnTo>
                  <a:lnTo>
                    <a:pt x="495" y="499"/>
                  </a:lnTo>
                  <a:lnTo>
                    <a:pt x="496" y="499"/>
                  </a:lnTo>
                  <a:lnTo>
                    <a:pt x="498" y="502"/>
                  </a:lnTo>
                  <a:lnTo>
                    <a:pt x="499" y="502"/>
                  </a:lnTo>
                  <a:lnTo>
                    <a:pt x="501" y="502"/>
                  </a:lnTo>
                  <a:lnTo>
                    <a:pt x="501" y="502"/>
                  </a:lnTo>
                  <a:lnTo>
                    <a:pt x="501" y="501"/>
                  </a:lnTo>
                  <a:lnTo>
                    <a:pt x="501" y="499"/>
                  </a:lnTo>
                  <a:lnTo>
                    <a:pt x="502" y="498"/>
                  </a:lnTo>
                  <a:lnTo>
                    <a:pt x="502" y="496"/>
                  </a:lnTo>
                  <a:lnTo>
                    <a:pt x="504" y="496"/>
                  </a:lnTo>
                  <a:lnTo>
                    <a:pt x="506" y="496"/>
                  </a:lnTo>
                  <a:lnTo>
                    <a:pt x="507" y="496"/>
                  </a:lnTo>
                  <a:lnTo>
                    <a:pt x="509" y="495"/>
                  </a:lnTo>
                  <a:lnTo>
                    <a:pt x="509" y="496"/>
                  </a:lnTo>
                  <a:lnTo>
                    <a:pt x="509" y="496"/>
                  </a:lnTo>
                  <a:lnTo>
                    <a:pt x="510" y="496"/>
                  </a:lnTo>
                  <a:lnTo>
                    <a:pt x="510" y="496"/>
                  </a:lnTo>
                  <a:lnTo>
                    <a:pt x="510" y="495"/>
                  </a:lnTo>
                  <a:lnTo>
                    <a:pt x="507" y="491"/>
                  </a:lnTo>
                  <a:close/>
                  <a:moveTo>
                    <a:pt x="609" y="498"/>
                  </a:moveTo>
                  <a:lnTo>
                    <a:pt x="610" y="498"/>
                  </a:lnTo>
                  <a:lnTo>
                    <a:pt x="613" y="499"/>
                  </a:lnTo>
                  <a:lnTo>
                    <a:pt x="612" y="499"/>
                  </a:lnTo>
                  <a:lnTo>
                    <a:pt x="612" y="499"/>
                  </a:lnTo>
                  <a:lnTo>
                    <a:pt x="612" y="501"/>
                  </a:lnTo>
                  <a:lnTo>
                    <a:pt x="612" y="501"/>
                  </a:lnTo>
                  <a:lnTo>
                    <a:pt x="612" y="501"/>
                  </a:lnTo>
                  <a:lnTo>
                    <a:pt x="613" y="501"/>
                  </a:lnTo>
                  <a:lnTo>
                    <a:pt x="615" y="499"/>
                  </a:lnTo>
                  <a:lnTo>
                    <a:pt x="615" y="499"/>
                  </a:lnTo>
                  <a:lnTo>
                    <a:pt x="615" y="499"/>
                  </a:lnTo>
                  <a:lnTo>
                    <a:pt x="615" y="498"/>
                  </a:lnTo>
                  <a:lnTo>
                    <a:pt x="613" y="498"/>
                  </a:lnTo>
                  <a:lnTo>
                    <a:pt x="615" y="498"/>
                  </a:lnTo>
                  <a:lnTo>
                    <a:pt x="615" y="498"/>
                  </a:lnTo>
                  <a:lnTo>
                    <a:pt x="615" y="496"/>
                  </a:lnTo>
                  <a:lnTo>
                    <a:pt x="615" y="496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3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3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5" y="491"/>
                  </a:lnTo>
                  <a:lnTo>
                    <a:pt x="612" y="493"/>
                  </a:lnTo>
                  <a:lnTo>
                    <a:pt x="612" y="493"/>
                  </a:lnTo>
                  <a:lnTo>
                    <a:pt x="612" y="493"/>
                  </a:lnTo>
                  <a:lnTo>
                    <a:pt x="610" y="493"/>
                  </a:lnTo>
                  <a:lnTo>
                    <a:pt x="610" y="491"/>
                  </a:lnTo>
                  <a:lnTo>
                    <a:pt x="612" y="491"/>
                  </a:lnTo>
                  <a:lnTo>
                    <a:pt x="613" y="490"/>
                  </a:lnTo>
                  <a:lnTo>
                    <a:pt x="613" y="490"/>
                  </a:lnTo>
                  <a:lnTo>
                    <a:pt x="612" y="490"/>
                  </a:lnTo>
                  <a:lnTo>
                    <a:pt x="610" y="491"/>
                  </a:lnTo>
                  <a:lnTo>
                    <a:pt x="609" y="493"/>
                  </a:lnTo>
                  <a:lnTo>
                    <a:pt x="609" y="491"/>
                  </a:lnTo>
                  <a:lnTo>
                    <a:pt x="609" y="491"/>
                  </a:lnTo>
                  <a:lnTo>
                    <a:pt x="609" y="493"/>
                  </a:lnTo>
                  <a:lnTo>
                    <a:pt x="609" y="493"/>
                  </a:lnTo>
                  <a:lnTo>
                    <a:pt x="609" y="493"/>
                  </a:lnTo>
                  <a:lnTo>
                    <a:pt x="607" y="495"/>
                  </a:lnTo>
                  <a:lnTo>
                    <a:pt x="607" y="495"/>
                  </a:lnTo>
                  <a:lnTo>
                    <a:pt x="606" y="496"/>
                  </a:lnTo>
                  <a:lnTo>
                    <a:pt x="610" y="496"/>
                  </a:lnTo>
                  <a:lnTo>
                    <a:pt x="609" y="498"/>
                  </a:lnTo>
                  <a:close/>
                  <a:moveTo>
                    <a:pt x="392" y="488"/>
                  </a:moveTo>
                  <a:lnTo>
                    <a:pt x="390" y="488"/>
                  </a:lnTo>
                  <a:lnTo>
                    <a:pt x="388" y="488"/>
                  </a:lnTo>
                  <a:lnTo>
                    <a:pt x="390" y="490"/>
                  </a:lnTo>
                  <a:lnTo>
                    <a:pt x="390" y="490"/>
                  </a:lnTo>
                  <a:lnTo>
                    <a:pt x="392" y="491"/>
                  </a:lnTo>
                  <a:lnTo>
                    <a:pt x="393" y="491"/>
                  </a:lnTo>
                  <a:lnTo>
                    <a:pt x="395" y="493"/>
                  </a:lnTo>
                  <a:lnTo>
                    <a:pt x="396" y="495"/>
                  </a:lnTo>
                  <a:lnTo>
                    <a:pt x="398" y="495"/>
                  </a:lnTo>
                  <a:lnTo>
                    <a:pt x="398" y="493"/>
                  </a:lnTo>
                  <a:lnTo>
                    <a:pt x="398" y="491"/>
                  </a:lnTo>
                  <a:lnTo>
                    <a:pt x="392" y="488"/>
                  </a:lnTo>
                  <a:close/>
                  <a:moveTo>
                    <a:pt x="415" y="482"/>
                  </a:moveTo>
                  <a:lnTo>
                    <a:pt x="412" y="482"/>
                  </a:lnTo>
                  <a:lnTo>
                    <a:pt x="412" y="484"/>
                  </a:lnTo>
                  <a:lnTo>
                    <a:pt x="410" y="484"/>
                  </a:lnTo>
                  <a:lnTo>
                    <a:pt x="408" y="485"/>
                  </a:lnTo>
                  <a:lnTo>
                    <a:pt x="405" y="490"/>
                  </a:lnTo>
                  <a:lnTo>
                    <a:pt x="408" y="490"/>
                  </a:lnTo>
                  <a:lnTo>
                    <a:pt x="410" y="488"/>
                  </a:lnTo>
                  <a:lnTo>
                    <a:pt x="415" y="484"/>
                  </a:lnTo>
                  <a:lnTo>
                    <a:pt x="415" y="484"/>
                  </a:lnTo>
                  <a:lnTo>
                    <a:pt x="415" y="484"/>
                  </a:lnTo>
                  <a:lnTo>
                    <a:pt x="415" y="482"/>
                  </a:lnTo>
                  <a:close/>
                  <a:moveTo>
                    <a:pt x="161" y="479"/>
                  </a:moveTo>
                  <a:lnTo>
                    <a:pt x="159" y="479"/>
                  </a:lnTo>
                  <a:lnTo>
                    <a:pt x="159" y="481"/>
                  </a:lnTo>
                  <a:lnTo>
                    <a:pt x="159" y="484"/>
                  </a:lnTo>
                  <a:lnTo>
                    <a:pt x="161" y="482"/>
                  </a:lnTo>
                  <a:lnTo>
                    <a:pt x="161" y="484"/>
                  </a:lnTo>
                  <a:lnTo>
                    <a:pt x="161" y="484"/>
                  </a:lnTo>
                  <a:lnTo>
                    <a:pt x="161" y="484"/>
                  </a:lnTo>
                  <a:lnTo>
                    <a:pt x="161" y="485"/>
                  </a:lnTo>
                  <a:lnTo>
                    <a:pt x="161" y="482"/>
                  </a:lnTo>
                  <a:lnTo>
                    <a:pt x="161" y="481"/>
                  </a:lnTo>
                  <a:lnTo>
                    <a:pt x="161" y="481"/>
                  </a:lnTo>
                  <a:lnTo>
                    <a:pt x="161" y="479"/>
                  </a:lnTo>
                  <a:close/>
                  <a:moveTo>
                    <a:pt x="365" y="479"/>
                  </a:moveTo>
                  <a:lnTo>
                    <a:pt x="364" y="479"/>
                  </a:lnTo>
                  <a:lnTo>
                    <a:pt x="362" y="481"/>
                  </a:lnTo>
                  <a:lnTo>
                    <a:pt x="359" y="479"/>
                  </a:lnTo>
                  <a:lnTo>
                    <a:pt x="359" y="479"/>
                  </a:lnTo>
                  <a:lnTo>
                    <a:pt x="358" y="478"/>
                  </a:lnTo>
                  <a:lnTo>
                    <a:pt x="356" y="479"/>
                  </a:lnTo>
                  <a:lnTo>
                    <a:pt x="356" y="479"/>
                  </a:lnTo>
                  <a:lnTo>
                    <a:pt x="358" y="481"/>
                  </a:lnTo>
                  <a:lnTo>
                    <a:pt x="358" y="482"/>
                  </a:lnTo>
                  <a:lnTo>
                    <a:pt x="359" y="482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61" y="484"/>
                  </a:lnTo>
                  <a:lnTo>
                    <a:pt x="361" y="485"/>
                  </a:lnTo>
                  <a:lnTo>
                    <a:pt x="358" y="485"/>
                  </a:lnTo>
                  <a:lnTo>
                    <a:pt x="356" y="484"/>
                  </a:lnTo>
                  <a:lnTo>
                    <a:pt x="356" y="481"/>
                  </a:lnTo>
                  <a:lnTo>
                    <a:pt x="355" y="482"/>
                  </a:lnTo>
                  <a:lnTo>
                    <a:pt x="355" y="481"/>
                  </a:lnTo>
                  <a:lnTo>
                    <a:pt x="353" y="481"/>
                  </a:lnTo>
                  <a:lnTo>
                    <a:pt x="353" y="481"/>
                  </a:lnTo>
                  <a:lnTo>
                    <a:pt x="353" y="479"/>
                  </a:lnTo>
                  <a:lnTo>
                    <a:pt x="351" y="481"/>
                  </a:lnTo>
                  <a:lnTo>
                    <a:pt x="351" y="482"/>
                  </a:lnTo>
                  <a:lnTo>
                    <a:pt x="351" y="482"/>
                  </a:lnTo>
                  <a:lnTo>
                    <a:pt x="351" y="482"/>
                  </a:lnTo>
                  <a:lnTo>
                    <a:pt x="351" y="484"/>
                  </a:lnTo>
                  <a:lnTo>
                    <a:pt x="351" y="484"/>
                  </a:lnTo>
                  <a:lnTo>
                    <a:pt x="351" y="484"/>
                  </a:lnTo>
                  <a:lnTo>
                    <a:pt x="351" y="485"/>
                  </a:lnTo>
                  <a:lnTo>
                    <a:pt x="351" y="485"/>
                  </a:lnTo>
                  <a:lnTo>
                    <a:pt x="350" y="488"/>
                  </a:lnTo>
                  <a:lnTo>
                    <a:pt x="351" y="490"/>
                  </a:lnTo>
                  <a:lnTo>
                    <a:pt x="353" y="488"/>
                  </a:lnTo>
                  <a:lnTo>
                    <a:pt x="362" y="488"/>
                  </a:lnTo>
                  <a:lnTo>
                    <a:pt x="365" y="487"/>
                  </a:lnTo>
                  <a:lnTo>
                    <a:pt x="367" y="487"/>
                  </a:lnTo>
                  <a:lnTo>
                    <a:pt x="367" y="485"/>
                  </a:lnTo>
                  <a:lnTo>
                    <a:pt x="367" y="481"/>
                  </a:lnTo>
                  <a:lnTo>
                    <a:pt x="367" y="479"/>
                  </a:lnTo>
                  <a:lnTo>
                    <a:pt x="365" y="479"/>
                  </a:lnTo>
                  <a:close/>
                  <a:moveTo>
                    <a:pt x="375" y="481"/>
                  </a:moveTo>
                  <a:lnTo>
                    <a:pt x="376" y="481"/>
                  </a:lnTo>
                  <a:lnTo>
                    <a:pt x="376" y="479"/>
                  </a:lnTo>
                  <a:lnTo>
                    <a:pt x="376" y="478"/>
                  </a:lnTo>
                  <a:lnTo>
                    <a:pt x="375" y="478"/>
                  </a:lnTo>
                  <a:lnTo>
                    <a:pt x="375" y="476"/>
                  </a:lnTo>
                  <a:lnTo>
                    <a:pt x="375" y="476"/>
                  </a:lnTo>
                  <a:lnTo>
                    <a:pt x="375" y="476"/>
                  </a:lnTo>
                  <a:lnTo>
                    <a:pt x="373" y="476"/>
                  </a:lnTo>
                  <a:lnTo>
                    <a:pt x="372" y="478"/>
                  </a:lnTo>
                  <a:lnTo>
                    <a:pt x="373" y="479"/>
                  </a:lnTo>
                  <a:lnTo>
                    <a:pt x="375" y="481"/>
                  </a:lnTo>
                  <a:close/>
                  <a:moveTo>
                    <a:pt x="421" y="482"/>
                  </a:moveTo>
                  <a:lnTo>
                    <a:pt x="421" y="482"/>
                  </a:lnTo>
                  <a:lnTo>
                    <a:pt x="421" y="482"/>
                  </a:lnTo>
                  <a:lnTo>
                    <a:pt x="425" y="487"/>
                  </a:lnTo>
                  <a:lnTo>
                    <a:pt x="428" y="488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0" y="485"/>
                  </a:lnTo>
                  <a:lnTo>
                    <a:pt x="430" y="484"/>
                  </a:lnTo>
                  <a:lnTo>
                    <a:pt x="430" y="484"/>
                  </a:lnTo>
                  <a:lnTo>
                    <a:pt x="432" y="484"/>
                  </a:lnTo>
                  <a:lnTo>
                    <a:pt x="430" y="482"/>
                  </a:lnTo>
                  <a:lnTo>
                    <a:pt x="430" y="481"/>
                  </a:lnTo>
                  <a:lnTo>
                    <a:pt x="428" y="481"/>
                  </a:lnTo>
                  <a:lnTo>
                    <a:pt x="427" y="481"/>
                  </a:lnTo>
                  <a:lnTo>
                    <a:pt x="425" y="479"/>
                  </a:lnTo>
                  <a:lnTo>
                    <a:pt x="424" y="478"/>
                  </a:lnTo>
                  <a:lnTo>
                    <a:pt x="424" y="476"/>
                  </a:lnTo>
                  <a:lnTo>
                    <a:pt x="421" y="479"/>
                  </a:lnTo>
                  <a:lnTo>
                    <a:pt x="421" y="479"/>
                  </a:lnTo>
                  <a:lnTo>
                    <a:pt x="421" y="481"/>
                  </a:lnTo>
                  <a:lnTo>
                    <a:pt x="419" y="481"/>
                  </a:lnTo>
                  <a:lnTo>
                    <a:pt x="419" y="482"/>
                  </a:lnTo>
                  <a:lnTo>
                    <a:pt x="421" y="482"/>
                  </a:lnTo>
                  <a:lnTo>
                    <a:pt x="422" y="482"/>
                  </a:lnTo>
                  <a:lnTo>
                    <a:pt x="421" y="482"/>
                  </a:lnTo>
                  <a:lnTo>
                    <a:pt x="421" y="482"/>
                  </a:lnTo>
                  <a:close/>
                  <a:moveTo>
                    <a:pt x="156" y="476"/>
                  </a:moveTo>
                  <a:lnTo>
                    <a:pt x="156" y="476"/>
                  </a:lnTo>
                  <a:lnTo>
                    <a:pt x="156" y="475"/>
                  </a:lnTo>
                  <a:lnTo>
                    <a:pt x="156" y="476"/>
                  </a:lnTo>
                  <a:lnTo>
                    <a:pt x="154" y="478"/>
                  </a:lnTo>
                  <a:lnTo>
                    <a:pt x="154" y="481"/>
                  </a:lnTo>
                  <a:lnTo>
                    <a:pt x="156" y="479"/>
                  </a:lnTo>
                  <a:lnTo>
                    <a:pt x="156" y="479"/>
                  </a:lnTo>
                  <a:lnTo>
                    <a:pt x="156" y="478"/>
                  </a:lnTo>
                  <a:lnTo>
                    <a:pt x="156" y="478"/>
                  </a:lnTo>
                  <a:lnTo>
                    <a:pt x="157" y="478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7" y="476"/>
                  </a:lnTo>
                  <a:lnTo>
                    <a:pt x="156" y="476"/>
                  </a:lnTo>
                  <a:close/>
                  <a:moveTo>
                    <a:pt x="318" y="471"/>
                  </a:moveTo>
                  <a:lnTo>
                    <a:pt x="318" y="471"/>
                  </a:lnTo>
                  <a:lnTo>
                    <a:pt x="318" y="471"/>
                  </a:lnTo>
                  <a:lnTo>
                    <a:pt x="318" y="473"/>
                  </a:lnTo>
                  <a:lnTo>
                    <a:pt x="318" y="473"/>
                  </a:lnTo>
                  <a:lnTo>
                    <a:pt x="318" y="471"/>
                  </a:lnTo>
                  <a:lnTo>
                    <a:pt x="318" y="471"/>
                  </a:lnTo>
                  <a:close/>
                  <a:moveTo>
                    <a:pt x="368" y="478"/>
                  </a:moveTo>
                  <a:lnTo>
                    <a:pt x="372" y="473"/>
                  </a:lnTo>
                  <a:lnTo>
                    <a:pt x="372" y="473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1"/>
                  </a:lnTo>
                  <a:lnTo>
                    <a:pt x="370" y="471"/>
                  </a:lnTo>
                  <a:lnTo>
                    <a:pt x="368" y="471"/>
                  </a:lnTo>
                  <a:lnTo>
                    <a:pt x="368" y="471"/>
                  </a:lnTo>
                  <a:lnTo>
                    <a:pt x="367" y="471"/>
                  </a:lnTo>
                  <a:lnTo>
                    <a:pt x="367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5"/>
                  </a:lnTo>
                  <a:lnTo>
                    <a:pt x="365" y="475"/>
                  </a:lnTo>
                  <a:lnTo>
                    <a:pt x="365" y="476"/>
                  </a:lnTo>
                  <a:lnTo>
                    <a:pt x="367" y="478"/>
                  </a:lnTo>
                  <a:lnTo>
                    <a:pt x="368" y="478"/>
                  </a:lnTo>
                  <a:lnTo>
                    <a:pt x="368" y="478"/>
                  </a:lnTo>
                  <a:close/>
                  <a:moveTo>
                    <a:pt x="436" y="468"/>
                  </a:moveTo>
                  <a:lnTo>
                    <a:pt x="435" y="470"/>
                  </a:lnTo>
                  <a:lnTo>
                    <a:pt x="433" y="471"/>
                  </a:lnTo>
                  <a:lnTo>
                    <a:pt x="433" y="473"/>
                  </a:lnTo>
                  <a:lnTo>
                    <a:pt x="433" y="473"/>
                  </a:lnTo>
                  <a:lnTo>
                    <a:pt x="435" y="473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6" y="470"/>
                  </a:lnTo>
                  <a:lnTo>
                    <a:pt x="436" y="470"/>
                  </a:lnTo>
                  <a:lnTo>
                    <a:pt x="436" y="468"/>
                  </a:lnTo>
                  <a:lnTo>
                    <a:pt x="436" y="468"/>
                  </a:lnTo>
                  <a:close/>
                  <a:moveTo>
                    <a:pt x="558" y="479"/>
                  </a:moveTo>
                  <a:lnTo>
                    <a:pt x="559" y="479"/>
                  </a:lnTo>
                  <a:lnTo>
                    <a:pt x="564" y="475"/>
                  </a:lnTo>
                  <a:lnTo>
                    <a:pt x="566" y="473"/>
                  </a:lnTo>
                  <a:lnTo>
                    <a:pt x="573" y="471"/>
                  </a:lnTo>
                  <a:lnTo>
                    <a:pt x="576" y="470"/>
                  </a:lnTo>
                  <a:lnTo>
                    <a:pt x="575" y="468"/>
                  </a:lnTo>
                  <a:lnTo>
                    <a:pt x="572" y="467"/>
                  </a:lnTo>
                  <a:lnTo>
                    <a:pt x="570" y="465"/>
                  </a:lnTo>
                  <a:lnTo>
                    <a:pt x="570" y="465"/>
                  </a:lnTo>
                  <a:lnTo>
                    <a:pt x="562" y="467"/>
                  </a:lnTo>
                  <a:lnTo>
                    <a:pt x="555" y="471"/>
                  </a:lnTo>
                  <a:lnTo>
                    <a:pt x="553" y="473"/>
                  </a:lnTo>
                  <a:lnTo>
                    <a:pt x="552" y="475"/>
                  </a:lnTo>
                  <a:lnTo>
                    <a:pt x="550" y="476"/>
                  </a:lnTo>
                  <a:lnTo>
                    <a:pt x="550" y="478"/>
                  </a:lnTo>
                  <a:lnTo>
                    <a:pt x="549" y="479"/>
                  </a:lnTo>
                  <a:lnTo>
                    <a:pt x="547" y="478"/>
                  </a:lnTo>
                  <a:lnTo>
                    <a:pt x="547" y="478"/>
                  </a:lnTo>
                  <a:lnTo>
                    <a:pt x="546" y="478"/>
                  </a:lnTo>
                  <a:lnTo>
                    <a:pt x="546" y="479"/>
                  </a:lnTo>
                  <a:lnTo>
                    <a:pt x="546" y="479"/>
                  </a:lnTo>
                  <a:lnTo>
                    <a:pt x="544" y="479"/>
                  </a:lnTo>
                  <a:lnTo>
                    <a:pt x="544" y="481"/>
                  </a:lnTo>
                  <a:lnTo>
                    <a:pt x="544" y="484"/>
                  </a:lnTo>
                  <a:lnTo>
                    <a:pt x="544" y="484"/>
                  </a:lnTo>
                  <a:lnTo>
                    <a:pt x="546" y="485"/>
                  </a:lnTo>
                  <a:lnTo>
                    <a:pt x="547" y="487"/>
                  </a:lnTo>
                  <a:lnTo>
                    <a:pt x="547" y="487"/>
                  </a:lnTo>
                  <a:lnTo>
                    <a:pt x="547" y="485"/>
                  </a:lnTo>
                  <a:lnTo>
                    <a:pt x="547" y="484"/>
                  </a:lnTo>
                  <a:lnTo>
                    <a:pt x="547" y="484"/>
                  </a:lnTo>
                  <a:lnTo>
                    <a:pt x="549" y="482"/>
                  </a:lnTo>
                  <a:lnTo>
                    <a:pt x="549" y="481"/>
                  </a:lnTo>
                  <a:lnTo>
                    <a:pt x="549" y="479"/>
                  </a:lnTo>
                  <a:lnTo>
                    <a:pt x="553" y="478"/>
                  </a:lnTo>
                  <a:lnTo>
                    <a:pt x="555" y="479"/>
                  </a:lnTo>
                  <a:lnTo>
                    <a:pt x="556" y="479"/>
                  </a:lnTo>
                  <a:lnTo>
                    <a:pt x="558" y="479"/>
                  </a:lnTo>
                  <a:close/>
                  <a:moveTo>
                    <a:pt x="450" y="468"/>
                  </a:moveTo>
                  <a:lnTo>
                    <a:pt x="452" y="468"/>
                  </a:lnTo>
                  <a:lnTo>
                    <a:pt x="452" y="467"/>
                  </a:lnTo>
                  <a:lnTo>
                    <a:pt x="450" y="465"/>
                  </a:lnTo>
                  <a:lnTo>
                    <a:pt x="449" y="465"/>
                  </a:lnTo>
                  <a:lnTo>
                    <a:pt x="449" y="465"/>
                  </a:lnTo>
                  <a:lnTo>
                    <a:pt x="447" y="467"/>
                  </a:lnTo>
                  <a:lnTo>
                    <a:pt x="447" y="467"/>
                  </a:lnTo>
                  <a:lnTo>
                    <a:pt x="445" y="468"/>
                  </a:lnTo>
                  <a:lnTo>
                    <a:pt x="449" y="468"/>
                  </a:lnTo>
                  <a:lnTo>
                    <a:pt x="450" y="468"/>
                  </a:lnTo>
                  <a:close/>
                  <a:moveTo>
                    <a:pt x="287" y="464"/>
                  </a:moveTo>
                  <a:lnTo>
                    <a:pt x="285" y="464"/>
                  </a:lnTo>
                  <a:lnTo>
                    <a:pt x="285" y="464"/>
                  </a:lnTo>
                  <a:lnTo>
                    <a:pt x="285" y="464"/>
                  </a:lnTo>
                  <a:lnTo>
                    <a:pt x="285" y="465"/>
                  </a:lnTo>
                  <a:lnTo>
                    <a:pt x="285" y="465"/>
                  </a:lnTo>
                  <a:lnTo>
                    <a:pt x="285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5"/>
                  </a:lnTo>
                  <a:lnTo>
                    <a:pt x="287" y="464"/>
                  </a:lnTo>
                  <a:close/>
                  <a:moveTo>
                    <a:pt x="467" y="475"/>
                  </a:moveTo>
                  <a:lnTo>
                    <a:pt x="470" y="471"/>
                  </a:lnTo>
                  <a:lnTo>
                    <a:pt x="470" y="471"/>
                  </a:lnTo>
                  <a:lnTo>
                    <a:pt x="472" y="470"/>
                  </a:lnTo>
                  <a:lnTo>
                    <a:pt x="475" y="468"/>
                  </a:lnTo>
                  <a:lnTo>
                    <a:pt x="476" y="467"/>
                  </a:lnTo>
                  <a:lnTo>
                    <a:pt x="476" y="467"/>
                  </a:lnTo>
                  <a:lnTo>
                    <a:pt x="478" y="467"/>
                  </a:lnTo>
                  <a:lnTo>
                    <a:pt x="479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81" y="467"/>
                  </a:lnTo>
                  <a:lnTo>
                    <a:pt x="479" y="465"/>
                  </a:lnTo>
                  <a:lnTo>
                    <a:pt x="478" y="465"/>
                  </a:lnTo>
                  <a:lnTo>
                    <a:pt x="476" y="464"/>
                  </a:lnTo>
                  <a:lnTo>
                    <a:pt x="476" y="462"/>
                  </a:lnTo>
                  <a:lnTo>
                    <a:pt x="475" y="462"/>
                  </a:lnTo>
                  <a:lnTo>
                    <a:pt x="475" y="464"/>
                  </a:lnTo>
                  <a:lnTo>
                    <a:pt x="473" y="464"/>
                  </a:lnTo>
                  <a:lnTo>
                    <a:pt x="472" y="464"/>
                  </a:lnTo>
                  <a:lnTo>
                    <a:pt x="472" y="465"/>
                  </a:lnTo>
                  <a:lnTo>
                    <a:pt x="472" y="465"/>
                  </a:lnTo>
                  <a:lnTo>
                    <a:pt x="473" y="465"/>
                  </a:lnTo>
                  <a:lnTo>
                    <a:pt x="473" y="465"/>
                  </a:lnTo>
                  <a:lnTo>
                    <a:pt x="473" y="465"/>
                  </a:lnTo>
                  <a:lnTo>
                    <a:pt x="473" y="467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4" y="473"/>
                  </a:lnTo>
                  <a:lnTo>
                    <a:pt x="465" y="471"/>
                  </a:lnTo>
                  <a:lnTo>
                    <a:pt x="464" y="475"/>
                  </a:lnTo>
                  <a:lnTo>
                    <a:pt x="464" y="475"/>
                  </a:lnTo>
                  <a:lnTo>
                    <a:pt x="462" y="475"/>
                  </a:lnTo>
                  <a:lnTo>
                    <a:pt x="461" y="475"/>
                  </a:lnTo>
                  <a:lnTo>
                    <a:pt x="461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8" y="475"/>
                  </a:lnTo>
                  <a:lnTo>
                    <a:pt x="458" y="476"/>
                  </a:lnTo>
                  <a:lnTo>
                    <a:pt x="456" y="476"/>
                  </a:lnTo>
                  <a:lnTo>
                    <a:pt x="456" y="476"/>
                  </a:lnTo>
                  <a:lnTo>
                    <a:pt x="458" y="478"/>
                  </a:lnTo>
                  <a:lnTo>
                    <a:pt x="461" y="478"/>
                  </a:lnTo>
                  <a:lnTo>
                    <a:pt x="467" y="476"/>
                  </a:lnTo>
                  <a:lnTo>
                    <a:pt x="467" y="475"/>
                  </a:lnTo>
                  <a:close/>
                  <a:moveTo>
                    <a:pt x="404" y="459"/>
                  </a:moveTo>
                  <a:lnTo>
                    <a:pt x="405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5" y="459"/>
                  </a:lnTo>
                  <a:lnTo>
                    <a:pt x="405" y="459"/>
                  </a:lnTo>
                  <a:lnTo>
                    <a:pt x="405" y="458"/>
                  </a:lnTo>
                  <a:lnTo>
                    <a:pt x="407" y="453"/>
                  </a:lnTo>
                  <a:lnTo>
                    <a:pt x="407" y="453"/>
                  </a:lnTo>
                  <a:lnTo>
                    <a:pt x="405" y="453"/>
                  </a:lnTo>
                  <a:lnTo>
                    <a:pt x="404" y="455"/>
                  </a:lnTo>
                  <a:lnTo>
                    <a:pt x="402" y="456"/>
                  </a:lnTo>
                  <a:lnTo>
                    <a:pt x="404" y="458"/>
                  </a:lnTo>
                  <a:lnTo>
                    <a:pt x="404" y="459"/>
                  </a:lnTo>
                  <a:close/>
                  <a:moveTo>
                    <a:pt x="376" y="459"/>
                  </a:moveTo>
                  <a:lnTo>
                    <a:pt x="378" y="461"/>
                  </a:lnTo>
                  <a:lnTo>
                    <a:pt x="378" y="464"/>
                  </a:lnTo>
                  <a:lnTo>
                    <a:pt x="379" y="465"/>
                  </a:lnTo>
                  <a:lnTo>
                    <a:pt x="382" y="462"/>
                  </a:lnTo>
                  <a:lnTo>
                    <a:pt x="382" y="462"/>
                  </a:lnTo>
                  <a:lnTo>
                    <a:pt x="384" y="462"/>
                  </a:lnTo>
                  <a:lnTo>
                    <a:pt x="384" y="462"/>
                  </a:lnTo>
                  <a:lnTo>
                    <a:pt x="384" y="461"/>
                  </a:lnTo>
                  <a:lnTo>
                    <a:pt x="382" y="458"/>
                  </a:lnTo>
                  <a:lnTo>
                    <a:pt x="379" y="455"/>
                  </a:lnTo>
                  <a:lnTo>
                    <a:pt x="379" y="453"/>
                  </a:lnTo>
                  <a:lnTo>
                    <a:pt x="378" y="453"/>
                  </a:lnTo>
                  <a:lnTo>
                    <a:pt x="378" y="455"/>
                  </a:lnTo>
                  <a:lnTo>
                    <a:pt x="378" y="455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3"/>
                  </a:lnTo>
                  <a:lnTo>
                    <a:pt x="375" y="455"/>
                  </a:lnTo>
                  <a:lnTo>
                    <a:pt x="375" y="455"/>
                  </a:lnTo>
                  <a:lnTo>
                    <a:pt x="375" y="455"/>
                  </a:lnTo>
                  <a:lnTo>
                    <a:pt x="376" y="456"/>
                  </a:lnTo>
                  <a:lnTo>
                    <a:pt x="376" y="458"/>
                  </a:lnTo>
                  <a:lnTo>
                    <a:pt x="376" y="458"/>
                  </a:lnTo>
                  <a:lnTo>
                    <a:pt x="376" y="459"/>
                  </a:lnTo>
                  <a:close/>
                  <a:moveTo>
                    <a:pt x="544" y="461"/>
                  </a:moveTo>
                  <a:lnTo>
                    <a:pt x="542" y="462"/>
                  </a:lnTo>
                  <a:lnTo>
                    <a:pt x="544" y="462"/>
                  </a:lnTo>
                  <a:lnTo>
                    <a:pt x="544" y="462"/>
                  </a:lnTo>
                  <a:lnTo>
                    <a:pt x="546" y="462"/>
                  </a:lnTo>
                  <a:lnTo>
                    <a:pt x="546" y="464"/>
                  </a:lnTo>
                  <a:lnTo>
                    <a:pt x="546" y="464"/>
                  </a:lnTo>
                  <a:lnTo>
                    <a:pt x="547" y="464"/>
                  </a:lnTo>
                  <a:lnTo>
                    <a:pt x="547" y="464"/>
                  </a:lnTo>
                  <a:lnTo>
                    <a:pt x="549" y="464"/>
                  </a:lnTo>
                  <a:lnTo>
                    <a:pt x="549" y="464"/>
                  </a:lnTo>
                  <a:lnTo>
                    <a:pt x="549" y="462"/>
                  </a:lnTo>
                  <a:lnTo>
                    <a:pt x="549" y="462"/>
                  </a:lnTo>
                  <a:lnTo>
                    <a:pt x="549" y="461"/>
                  </a:lnTo>
                  <a:lnTo>
                    <a:pt x="552" y="462"/>
                  </a:lnTo>
                  <a:lnTo>
                    <a:pt x="553" y="462"/>
                  </a:lnTo>
                  <a:lnTo>
                    <a:pt x="553" y="461"/>
                  </a:lnTo>
                  <a:lnTo>
                    <a:pt x="553" y="461"/>
                  </a:lnTo>
                  <a:lnTo>
                    <a:pt x="553" y="461"/>
                  </a:lnTo>
                  <a:lnTo>
                    <a:pt x="552" y="461"/>
                  </a:lnTo>
                  <a:lnTo>
                    <a:pt x="552" y="461"/>
                  </a:lnTo>
                  <a:lnTo>
                    <a:pt x="552" y="461"/>
                  </a:lnTo>
                  <a:lnTo>
                    <a:pt x="553" y="461"/>
                  </a:lnTo>
                  <a:lnTo>
                    <a:pt x="553" y="459"/>
                  </a:lnTo>
                  <a:lnTo>
                    <a:pt x="553" y="458"/>
                  </a:lnTo>
                  <a:lnTo>
                    <a:pt x="553" y="456"/>
                  </a:lnTo>
                  <a:lnTo>
                    <a:pt x="552" y="456"/>
                  </a:lnTo>
                  <a:lnTo>
                    <a:pt x="552" y="456"/>
                  </a:lnTo>
                  <a:lnTo>
                    <a:pt x="550" y="456"/>
                  </a:lnTo>
                  <a:lnTo>
                    <a:pt x="550" y="458"/>
                  </a:lnTo>
                  <a:lnTo>
                    <a:pt x="550" y="456"/>
                  </a:lnTo>
                  <a:lnTo>
                    <a:pt x="549" y="455"/>
                  </a:lnTo>
                  <a:lnTo>
                    <a:pt x="549" y="455"/>
                  </a:lnTo>
                  <a:lnTo>
                    <a:pt x="547" y="453"/>
                  </a:lnTo>
                  <a:lnTo>
                    <a:pt x="549" y="453"/>
                  </a:lnTo>
                  <a:lnTo>
                    <a:pt x="549" y="453"/>
                  </a:lnTo>
                  <a:lnTo>
                    <a:pt x="542" y="450"/>
                  </a:lnTo>
                  <a:lnTo>
                    <a:pt x="541" y="448"/>
                  </a:lnTo>
                  <a:lnTo>
                    <a:pt x="541" y="450"/>
                  </a:lnTo>
                  <a:lnTo>
                    <a:pt x="541" y="450"/>
                  </a:lnTo>
                  <a:lnTo>
                    <a:pt x="542" y="450"/>
                  </a:lnTo>
                  <a:lnTo>
                    <a:pt x="542" y="451"/>
                  </a:lnTo>
                  <a:lnTo>
                    <a:pt x="542" y="453"/>
                  </a:lnTo>
                  <a:lnTo>
                    <a:pt x="544" y="453"/>
                  </a:lnTo>
                  <a:lnTo>
                    <a:pt x="544" y="453"/>
                  </a:lnTo>
                  <a:lnTo>
                    <a:pt x="544" y="453"/>
                  </a:lnTo>
                  <a:lnTo>
                    <a:pt x="546" y="453"/>
                  </a:lnTo>
                  <a:lnTo>
                    <a:pt x="546" y="453"/>
                  </a:lnTo>
                  <a:lnTo>
                    <a:pt x="546" y="453"/>
                  </a:lnTo>
                  <a:lnTo>
                    <a:pt x="546" y="455"/>
                  </a:lnTo>
                  <a:lnTo>
                    <a:pt x="546" y="455"/>
                  </a:lnTo>
                  <a:lnTo>
                    <a:pt x="546" y="456"/>
                  </a:lnTo>
                  <a:lnTo>
                    <a:pt x="546" y="456"/>
                  </a:lnTo>
                  <a:lnTo>
                    <a:pt x="546" y="456"/>
                  </a:lnTo>
                  <a:lnTo>
                    <a:pt x="544" y="458"/>
                  </a:lnTo>
                  <a:lnTo>
                    <a:pt x="544" y="459"/>
                  </a:lnTo>
                  <a:lnTo>
                    <a:pt x="544" y="461"/>
                  </a:lnTo>
                  <a:lnTo>
                    <a:pt x="544" y="461"/>
                  </a:lnTo>
                  <a:lnTo>
                    <a:pt x="544" y="461"/>
                  </a:lnTo>
                  <a:close/>
                  <a:moveTo>
                    <a:pt x="462" y="444"/>
                  </a:moveTo>
                  <a:lnTo>
                    <a:pt x="461" y="445"/>
                  </a:lnTo>
                  <a:lnTo>
                    <a:pt x="461" y="445"/>
                  </a:lnTo>
                  <a:lnTo>
                    <a:pt x="459" y="445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8"/>
                  </a:lnTo>
                  <a:lnTo>
                    <a:pt x="461" y="447"/>
                  </a:lnTo>
                  <a:lnTo>
                    <a:pt x="462" y="448"/>
                  </a:lnTo>
                  <a:lnTo>
                    <a:pt x="462" y="448"/>
                  </a:lnTo>
                  <a:lnTo>
                    <a:pt x="462" y="447"/>
                  </a:lnTo>
                  <a:lnTo>
                    <a:pt x="464" y="447"/>
                  </a:lnTo>
                  <a:lnTo>
                    <a:pt x="464" y="447"/>
                  </a:lnTo>
                  <a:lnTo>
                    <a:pt x="462" y="445"/>
                  </a:lnTo>
                  <a:lnTo>
                    <a:pt x="462" y="445"/>
                  </a:lnTo>
                  <a:lnTo>
                    <a:pt x="462" y="444"/>
                  </a:lnTo>
                  <a:close/>
                  <a:moveTo>
                    <a:pt x="416" y="458"/>
                  </a:moveTo>
                  <a:lnTo>
                    <a:pt x="418" y="456"/>
                  </a:lnTo>
                  <a:lnTo>
                    <a:pt x="419" y="456"/>
                  </a:lnTo>
                  <a:lnTo>
                    <a:pt x="419" y="455"/>
                  </a:lnTo>
                  <a:lnTo>
                    <a:pt x="421" y="455"/>
                  </a:lnTo>
                  <a:lnTo>
                    <a:pt x="421" y="453"/>
                  </a:lnTo>
                  <a:lnTo>
                    <a:pt x="421" y="453"/>
                  </a:lnTo>
                  <a:lnTo>
                    <a:pt x="422" y="453"/>
                  </a:lnTo>
                  <a:lnTo>
                    <a:pt x="422" y="451"/>
                  </a:lnTo>
                  <a:lnTo>
                    <a:pt x="421" y="451"/>
                  </a:lnTo>
                  <a:lnTo>
                    <a:pt x="421" y="451"/>
                  </a:lnTo>
                  <a:lnTo>
                    <a:pt x="422" y="451"/>
                  </a:lnTo>
                  <a:lnTo>
                    <a:pt x="422" y="450"/>
                  </a:lnTo>
                  <a:lnTo>
                    <a:pt x="421" y="450"/>
                  </a:lnTo>
                  <a:lnTo>
                    <a:pt x="421" y="448"/>
                  </a:lnTo>
                  <a:lnTo>
                    <a:pt x="422" y="445"/>
                  </a:lnTo>
                  <a:lnTo>
                    <a:pt x="422" y="445"/>
                  </a:lnTo>
                  <a:lnTo>
                    <a:pt x="422" y="444"/>
                  </a:lnTo>
                  <a:lnTo>
                    <a:pt x="422" y="444"/>
                  </a:lnTo>
                  <a:lnTo>
                    <a:pt x="422" y="442"/>
                  </a:lnTo>
                  <a:lnTo>
                    <a:pt x="422" y="442"/>
                  </a:lnTo>
                  <a:lnTo>
                    <a:pt x="421" y="442"/>
                  </a:lnTo>
                  <a:lnTo>
                    <a:pt x="421" y="444"/>
                  </a:lnTo>
                  <a:lnTo>
                    <a:pt x="421" y="444"/>
                  </a:lnTo>
                  <a:lnTo>
                    <a:pt x="421" y="445"/>
                  </a:lnTo>
                  <a:lnTo>
                    <a:pt x="418" y="445"/>
                  </a:lnTo>
                  <a:lnTo>
                    <a:pt x="418" y="444"/>
                  </a:lnTo>
                  <a:lnTo>
                    <a:pt x="419" y="442"/>
                  </a:lnTo>
                  <a:lnTo>
                    <a:pt x="416" y="444"/>
                  </a:lnTo>
                  <a:lnTo>
                    <a:pt x="415" y="445"/>
                  </a:lnTo>
                  <a:lnTo>
                    <a:pt x="412" y="447"/>
                  </a:lnTo>
                  <a:lnTo>
                    <a:pt x="412" y="448"/>
                  </a:lnTo>
                  <a:lnTo>
                    <a:pt x="412" y="448"/>
                  </a:lnTo>
                  <a:lnTo>
                    <a:pt x="412" y="448"/>
                  </a:lnTo>
                  <a:lnTo>
                    <a:pt x="413" y="448"/>
                  </a:lnTo>
                  <a:lnTo>
                    <a:pt x="410" y="450"/>
                  </a:lnTo>
                  <a:lnTo>
                    <a:pt x="410" y="451"/>
                  </a:lnTo>
                  <a:lnTo>
                    <a:pt x="408" y="455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10" y="456"/>
                  </a:lnTo>
                  <a:lnTo>
                    <a:pt x="412" y="458"/>
                  </a:lnTo>
                  <a:lnTo>
                    <a:pt x="412" y="458"/>
                  </a:lnTo>
                  <a:lnTo>
                    <a:pt x="415" y="458"/>
                  </a:lnTo>
                  <a:lnTo>
                    <a:pt x="416" y="458"/>
                  </a:lnTo>
                  <a:close/>
                  <a:moveTo>
                    <a:pt x="538" y="447"/>
                  </a:moveTo>
                  <a:lnTo>
                    <a:pt x="538" y="447"/>
                  </a:lnTo>
                  <a:lnTo>
                    <a:pt x="538" y="448"/>
                  </a:lnTo>
                  <a:lnTo>
                    <a:pt x="539" y="448"/>
                  </a:lnTo>
                  <a:lnTo>
                    <a:pt x="539" y="448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7"/>
                  </a:lnTo>
                  <a:lnTo>
                    <a:pt x="541" y="445"/>
                  </a:lnTo>
                  <a:lnTo>
                    <a:pt x="541" y="444"/>
                  </a:lnTo>
                  <a:lnTo>
                    <a:pt x="539" y="444"/>
                  </a:lnTo>
                  <a:lnTo>
                    <a:pt x="539" y="442"/>
                  </a:lnTo>
                  <a:lnTo>
                    <a:pt x="539" y="442"/>
                  </a:lnTo>
                  <a:lnTo>
                    <a:pt x="538" y="442"/>
                  </a:lnTo>
                  <a:lnTo>
                    <a:pt x="538" y="441"/>
                  </a:lnTo>
                  <a:lnTo>
                    <a:pt x="539" y="441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8" y="439"/>
                  </a:lnTo>
                  <a:lnTo>
                    <a:pt x="536" y="439"/>
                  </a:lnTo>
                  <a:lnTo>
                    <a:pt x="536" y="439"/>
                  </a:lnTo>
                  <a:lnTo>
                    <a:pt x="536" y="439"/>
                  </a:lnTo>
                  <a:lnTo>
                    <a:pt x="535" y="438"/>
                  </a:lnTo>
                  <a:lnTo>
                    <a:pt x="535" y="439"/>
                  </a:lnTo>
                  <a:lnTo>
                    <a:pt x="535" y="439"/>
                  </a:lnTo>
                  <a:lnTo>
                    <a:pt x="535" y="439"/>
                  </a:lnTo>
                  <a:lnTo>
                    <a:pt x="533" y="439"/>
                  </a:lnTo>
                  <a:lnTo>
                    <a:pt x="533" y="441"/>
                  </a:lnTo>
                  <a:lnTo>
                    <a:pt x="533" y="441"/>
                  </a:lnTo>
                  <a:lnTo>
                    <a:pt x="533" y="442"/>
                  </a:lnTo>
                  <a:lnTo>
                    <a:pt x="535" y="442"/>
                  </a:lnTo>
                  <a:lnTo>
                    <a:pt x="535" y="442"/>
                  </a:lnTo>
                  <a:lnTo>
                    <a:pt x="536" y="444"/>
                  </a:lnTo>
                  <a:lnTo>
                    <a:pt x="536" y="444"/>
                  </a:lnTo>
                  <a:lnTo>
                    <a:pt x="536" y="445"/>
                  </a:lnTo>
                  <a:lnTo>
                    <a:pt x="536" y="445"/>
                  </a:lnTo>
                  <a:lnTo>
                    <a:pt x="536" y="445"/>
                  </a:lnTo>
                  <a:lnTo>
                    <a:pt x="538" y="445"/>
                  </a:lnTo>
                  <a:lnTo>
                    <a:pt x="539" y="445"/>
                  </a:lnTo>
                  <a:lnTo>
                    <a:pt x="538" y="445"/>
                  </a:lnTo>
                  <a:lnTo>
                    <a:pt x="538" y="447"/>
                  </a:lnTo>
                  <a:close/>
                  <a:moveTo>
                    <a:pt x="439" y="461"/>
                  </a:moveTo>
                  <a:lnTo>
                    <a:pt x="441" y="461"/>
                  </a:lnTo>
                  <a:lnTo>
                    <a:pt x="442" y="461"/>
                  </a:lnTo>
                  <a:lnTo>
                    <a:pt x="442" y="459"/>
                  </a:lnTo>
                  <a:lnTo>
                    <a:pt x="444" y="455"/>
                  </a:lnTo>
                  <a:lnTo>
                    <a:pt x="444" y="453"/>
                  </a:lnTo>
                  <a:lnTo>
                    <a:pt x="445" y="450"/>
                  </a:lnTo>
                  <a:lnTo>
                    <a:pt x="445" y="448"/>
                  </a:lnTo>
                  <a:lnTo>
                    <a:pt x="445" y="444"/>
                  </a:lnTo>
                  <a:lnTo>
                    <a:pt x="444" y="442"/>
                  </a:lnTo>
                  <a:lnTo>
                    <a:pt x="444" y="441"/>
                  </a:lnTo>
                  <a:lnTo>
                    <a:pt x="442" y="439"/>
                  </a:lnTo>
                  <a:lnTo>
                    <a:pt x="441" y="438"/>
                  </a:lnTo>
                  <a:lnTo>
                    <a:pt x="439" y="439"/>
                  </a:lnTo>
                  <a:lnTo>
                    <a:pt x="439" y="439"/>
                  </a:lnTo>
                  <a:lnTo>
                    <a:pt x="438" y="439"/>
                  </a:lnTo>
                  <a:lnTo>
                    <a:pt x="438" y="439"/>
                  </a:lnTo>
                  <a:lnTo>
                    <a:pt x="436" y="441"/>
                  </a:lnTo>
                  <a:lnTo>
                    <a:pt x="436" y="442"/>
                  </a:lnTo>
                  <a:lnTo>
                    <a:pt x="432" y="445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7" y="448"/>
                  </a:lnTo>
                  <a:lnTo>
                    <a:pt x="427" y="448"/>
                  </a:lnTo>
                  <a:lnTo>
                    <a:pt x="427" y="448"/>
                  </a:lnTo>
                  <a:lnTo>
                    <a:pt x="427" y="450"/>
                  </a:lnTo>
                  <a:lnTo>
                    <a:pt x="427" y="450"/>
                  </a:lnTo>
                  <a:lnTo>
                    <a:pt x="427" y="450"/>
                  </a:lnTo>
                  <a:lnTo>
                    <a:pt x="428" y="451"/>
                  </a:lnTo>
                  <a:lnTo>
                    <a:pt x="430" y="453"/>
                  </a:lnTo>
                  <a:lnTo>
                    <a:pt x="428" y="455"/>
                  </a:lnTo>
                  <a:lnTo>
                    <a:pt x="428" y="455"/>
                  </a:lnTo>
                  <a:lnTo>
                    <a:pt x="428" y="455"/>
                  </a:lnTo>
                  <a:lnTo>
                    <a:pt x="430" y="456"/>
                  </a:lnTo>
                  <a:lnTo>
                    <a:pt x="430" y="456"/>
                  </a:lnTo>
                  <a:lnTo>
                    <a:pt x="430" y="458"/>
                  </a:lnTo>
                  <a:lnTo>
                    <a:pt x="430" y="458"/>
                  </a:lnTo>
                  <a:lnTo>
                    <a:pt x="430" y="458"/>
                  </a:lnTo>
                  <a:lnTo>
                    <a:pt x="432" y="459"/>
                  </a:lnTo>
                  <a:lnTo>
                    <a:pt x="433" y="461"/>
                  </a:lnTo>
                  <a:lnTo>
                    <a:pt x="433" y="461"/>
                  </a:lnTo>
                  <a:lnTo>
                    <a:pt x="433" y="462"/>
                  </a:lnTo>
                  <a:lnTo>
                    <a:pt x="433" y="464"/>
                  </a:lnTo>
                  <a:lnTo>
                    <a:pt x="433" y="464"/>
                  </a:lnTo>
                  <a:lnTo>
                    <a:pt x="435" y="464"/>
                  </a:lnTo>
                  <a:lnTo>
                    <a:pt x="435" y="464"/>
                  </a:lnTo>
                  <a:lnTo>
                    <a:pt x="435" y="464"/>
                  </a:lnTo>
                  <a:lnTo>
                    <a:pt x="436" y="464"/>
                  </a:lnTo>
                  <a:lnTo>
                    <a:pt x="438" y="464"/>
                  </a:lnTo>
                  <a:lnTo>
                    <a:pt x="439" y="461"/>
                  </a:lnTo>
                  <a:close/>
                  <a:moveTo>
                    <a:pt x="365" y="445"/>
                  </a:moveTo>
                  <a:lnTo>
                    <a:pt x="367" y="444"/>
                  </a:lnTo>
                  <a:lnTo>
                    <a:pt x="367" y="441"/>
                  </a:lnTo>
                  <a:lnTo>
                    <a:pt x="365" y="439"/>
                  </a:lnTo>
                  <a:lnTo>
                    <a:pt x="365" y="438"/>
                  </a:lnTo>
                  <a:lnTo>
                    <a:pt x="365" y="438"/>
                  </a:lnTo>
                  <a:lnTo>
                    <a:pt x="365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2" y="438"/>
                  </a:lnTo>
                  <a:lnTo>
                    <a:pt x="361" y="438"/>
                  </a:lnTo>
                  <a:lnTo>
                    <a:pt x="359" y="439"/>
                  </a:lnTo>
                  <a:lnTo>
                    <a:pt x="359" y="441"/>
                  </a:lnTo>
                  <a:lnTo>
                    <a:pt x="359" y="441"/>
                  </a:lnTo>
                  <a:lnTo>
                    <a:pt x="359" y="441"/>
                  </a:lnTo>
                  <a:lnTo>
                    <a:pt x="359" y="442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9" y="444"/>
                  </a:lnTo>
                  <a:lnTo>
                    <a:pt x="358" y="444"/>
                  </a:lnTo>
                  <a:lnTo>
                    <a:pt x="358" y="444"/>
                  </a:lnTo>
                  <a:lnTo>
                    <a:pt x="358" y="445"/>
                  </a:lnTo>
                  <a:lnTo>
                    <a:pt x="358" y="445"/>
                  </a:lnTo>
                  <a:lnTo>
                    <a:pt x="359" y="444"/>
                  </a:lnTo>
                  <a:lnTo>
                    <a:pt x="359" y="444"/>
                  </a:lnTo>
                  <a:lnTo>
                    <a:pt x="359" y="445"/>
                  </a:lnTo>
                  <a:lnTo>
                    <a:pt x="361" y="444"/>
                  </a:lnTo>
                  <a:lnTo>
                    <a:pt x="361" y="444"/>
                  </a:lnTo>
                  <a:lnTo>
                    <a:pt x="361" y="444"/>
                  </a:lnTo>
                  <a:lnTo>
                    <a:pt x="361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4" y="445"/>
                  </a:lnTo>
                  <a:lnTo>
                    <a:pt x="364" y="445"/>
                  </a:lnTo>
                  <a:lnTo>
                    <a:pt x="364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5" y="445"/>
                  </a:lnTo>
                  <a:lnTo>
                    <a:pt x="365" y="445"/>
                  </a:lnTo>
                  <a:lnTo>
                    <a:pt x="365" y="444"/>
                  </a:lnTo>
                  <a:lnTo>
                    <a:pt x="365" y="444"/>
                  </a:lnTo>
                  <a:lnTo>
                    <a:pt x="365" y="445"/>
                  </a:lnTo>
                  <a:close/>
                  <a:moveTo>
                    <a:pt x="264" y="431"/>
                  </a:moveTo>
                  <a:lnTo>
                    <a:pt x="262" y="430"/>
                  </a:lnTo>
                  <a:lnTo>
                    <a:pt x="262" y="430"/>
                  </a:lnTo>
                  <a:lnTo>
                    <a:pt x="261" y="430"/>
                  </a:lnTo>
                  <a:lnTo>
                    <a:pt x="261" y="430"/>
                  </a:lnTo>
                  <a:lnTo>
                    <a:pt x="259" y="431"/>
                  </a:lnTo>
                  <a:lnTo>
                    <a:pt x="259" y="431"/>
                  </a:lnTo>
                  <a:lnTo>
                    <a:pt x="261" y="433"/>
                  </a:lnTo>
                  <a:lnTo>
                    <a:pt x="261" y="433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4"/>
                  </a:lnTo>
                  <a:lnTo>
                    <a:pt x="264" y="433"/>
                  </a:lnTo>
                  <a:lnTo>
                    <a:pt x="264" y="433"/>
                  </a:lnTo>
                  <a:lnTo>
                    <a:pt x="264" y="431"/>
                  </a:lnTo>
                  <a:lnTo>
                    <a:pt x="264" y="431"/>
                  </a:lnTo>
                  <a:close/>
                  <a:moveTo>
                    <a:pt x="291" y="425"/>
                  </a:moveTo>
                  <a:lnTo>
                    <a:pt x="293" y="424"/>
                  </a:lnTo>
                  <a:lnTo>
                    <a:pt x="294" y="424"/>
                  </a:lnTo>
                  <a:lnTo>
                    <a:pt x="296" y="422"/>
                  </a:lnTo>
                  <a:lnTo>
                    <a:pt x="293" y="422"/>
                  </a:lnTo>
                  <a:lnTo>
                    <a:pt x="291" y="424"/>
                  </a:lnTo>
                  <a:lnTo>
                    <a:pt x="288" y="424"/>
                  </a:lnTo>
                  <a:lnTo>
                    <a:pt x="287" y="424"/>
                  </a:lnTo>
                  <a:lnTo>
                    <a:pt x="279" y="428"/>
                  </a:lnTo>
                  <a:lnTo>
                    <a:pt x="279" y="428"/>
                  </a:lnTo>
                  <a:lnTo>
                    <a:pt x="282" y="428"/>
                  </a:lnTo>
                  <a:lnTo>
                    <a:pt x="285" y="427"/>
                  </a:lnTo>
                  <a:lnTo>
                    <a:pt x="287" y="427"/>
                  </a:lnTo>
                  <a:lnTo>
                    <a:pt x="288" y="427"/>
                  </a:lnTo>
                  <a:lnTo>
                    <a:pt x="290" y="427"/>
                  </a:lnTo>
                  <a:lnTo>
                    <a:pt x="290" y="424"/>
                  </a:lnTo>
                  <a:lnTo>
                    <a:pt x="291" y="425"/>
                  </a:lnTo>
                  <a:close/>
                  <a:moveTo>
                    <a:pt x="519" y="424"/>
                  </a:moveTo>
                  <a:lnTo>
                    <a:pt x="519" y="424"/>
                  </a:lnTo>
                  <a:lnTo>
                    <a:pt x="519" y="424"/>
                  </a:lnTo>
                  <a:lnTo>
                    <a:pt x="518" y="422"/>
                  </a:lnTo>
                  <a:lnTo>
                    <a:pt x="518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5" y="422"/>
                  </a:lnTo>
                  <a:lnTo>
                    <a:pt x="515" y="424"/>
                  </a:lnTo>
                  <a:lnTo>
                    <a:pt x="515" y="425"/>
                  </a:lnTo>
                  <a:lnTo>
                    <a:pt x="515" y="425"/>
                  </a:lnTo>
                  <a:lnTo>
                    <a:pt x="515" y="427"/>
                  </a:lnTo>
                  <a:lnTo>
                    <a:pt x="515" y="427"/>
                  </a:lnTo>
                  <a:lnTo>
                    <a:pt x="515" y="428"/>
                  </a:lnTo>
                  <a:lnTo>
                    <a:pt x="515" y="430"/>
                  </a:lnTo>
                  <a:lnTo>
                    <a:pt x="516" y="430"/>
                  </a:lnTo>
                  <a:lnTo>
                    <a:pt x="516" y="430"/>
                  </a:lnTo>
                  <a:lnTo>
                    <a:pt x="516" y="431"/>
                  </a:lnTo>
                  <a:lnTo>
                    <a:pt x="516" y="431"/>
                  </a:lnTo>
                  <a:lnTo>
                    <a:pt x="518" y="431"/>
                  </a:lnTo>
                  <a:lnTo>
                    <a:pt x="518" y="428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7"/>
                  </a:lnTo>
                  <a:lnTo>
                    <a:pt x="516" y="425"/>
                  </a:lnTo>
                  <a:lnTo>
                    <a:pt x="518" y="425"/>
                  </a:lnTo>
                  <a:lnTo>
                    <a:pt x="518" y="425"/>
                  </a:lnTo>
                  <a:lnTo>
                    <a:pt x="518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19" y="425"/>
                  </a:lnTo>
                  <a:lnTo>
                    <a:pt x="521" y="425"/>
                  </a:lnTo>
                  <a:lnTo>
                    <a:pt x="521" y="424"/>
                  </a:lnTo>
                  <a:lnTo>
                    <a:pt x="519" y="424"/>
                  </a:lnTo>
                  <a:close/>
                  <a:moveTo>
                    <a:pt x="355" y="424"/>
                  </a:moveTo>
                  <a:lnTo>
                    <a:pt x="355" y="425"/>
                  </a:lnTo>
                  <a:lnTo>
                    <a:pt x="353" y="428"/>
                  </a:lnTo>
                  <a:lnTo>
                    <a:pt x="356" y="428"/>
                  </a:lnTo>
                  <a:lnTo>
                    <a:pt x="358" y="427"/>
                  </a:lnTo>
                  <a:lnTo>
                    <a:pt x="358" y="425"/>
                  </a:lnTo>
                  <a:lnTo>
                    <a:pt x="359" y="424"/>
                  </a:lnTo>
                  <a:lnTo>
                    <a:pt x="359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2" y="419"/>
                  </a:lnTo>
                  <a:lnTo>
                    <a:pt x="361" y="418"/>
                  </a:lnTo>
                  <a:lnTo>
                    <a:pt x="359" y="416"/>
                  </a:lnTo>
                  <a:lnTo>
                    <a:pt x="359" y="414"/>
                  </a:lnTo>
                  <a:lnTo>
                    <a:pt x="359" y="413"/>
                  </a:lnTo>
                  <a:lnTo>
                    <a:pt x="359" y="413"/>
                  </a:lnTo>
                  <a:lnTo>
                    <a:pt x="359" y="411"/>
                  </a:lnTo>
                  <a:lnTo>
                    <a:pt x="359" y="411"/>
                  </a:lnTo>
                  <a:lnTo>
                    <a:pt x="358" y="413"/>
                  </a:lnTo>
                  <a:lnTo>
                    <a:pt x="356" y="414"/>
                  </a:lnTo>
                  <a:lnTo>
                    <a:pt x="355" y="416"/>
                  </a:lnTo>
                  <a:lnTo>
                    <a:pt x="353" y="419"/>
                  </a:lnTo>
                  <a:lnTo>
                    <a:pt x="355" y="418"/>
                  </a:lnTo>
                  <a:lnTo>
                    <a:pt x="356" y="419"/>
                  </a:lnTo>
                  <a:lnTo>
                    <a:pt x="356" y="419"/>
                  </a:lnTo>
                  <a:lnTo>
                    <a:pt x="355" y="421"/>
                  </a:lnTo>
                  <a:lnTo>
                    <a:pt x="355" y="421"/>
                  </a:lnTo>
                  <a:lnTo>
                    <a:pt x="356" y="421"/>
                  </a:lnTo>
                  <a:lnTo>
                    <a:pt x="356" y="422"/>
                  </a:lnTo>
                  <a:lnTo>
                    <a:pt x="356" y="422"/>
                  </a:lnTo>
                  <a:lnTo>
                    <a:pt x="356" y="422"/>
                  </a:lnTo>
                  <a:lnTo>
                    <a:pt x="355" y="424"/>
                  </a:lnTo>
                  <a:close/>
                  <a:moveTo>
                    <a:pt x="430" y="418"/>
                  </a:moveTo>
                  <a:lnTo>
                    <a:pt x="430" y="418"/>
                  </a:lnTo>
                  <a:lnTo>
                    <a:pt x="432" y="418"/>
                  </a:lnTo>
                  <a:lnTo>
                    <a:pt x="432" y="416"/>
                  </a:lnTo>
                  <a:lnTo>
                    <a:pt x="433" y="416"/>
                  </a:lnTo>
                  <a:lnTo>
                    <a:pt x="433" y="416"/>
                  </a:lnTo>
                  <a:lnTo>
                    <a:pt x="435" y="416"/>
                  </a:lnTo>
                  <a:lnTo>
                    <a:pt x="435" y="414"/>
                  </a:lnTo>
                  <a:lnTo>
                    <a:pt x="436" y="414"/>
                  </a:lnTo>
                  <a:lnTo>
                    <a:pt x="435" y="413"/>
                  </a:lnTo>
                  <a:lnTo>
                    <a:pt x="433" y="413"/>
                  </a:lnTo>
                  <a:lnTo>
                    <a:pt x="433" y="413"/>
                  </a:lnTo>
                  <a:lnTo>
                    <a:pt x="433" y="411"/>
                  </a:lnTo>
                  <a:lnTo>
                    <a:pt x="433" y="411"/>
                  </a:lnTo>
                  <a:lnTo>
                    <a:pt x="430" y="411"/>
                  </a:lnTo>
                  <a:lnTo>
                    <a:pt x="430" y="411"/>
                  </a:lnTo>
                  <a:lnTo>
                    <a:pt x="430" y="413"/>
                  </a:lnTo>
                  <a:lnTo>
                    <a:pt x="428" y="413"/>
                  </a:lnTo>
                  <a:lnTo>
                    <a:pt x="427" y="410"/>
                  </a:lnTo>
                  <a:lnTo>
                    <a:pt x="425" y="410"/>
                  </a:lnTo>
                  <a:lnTo>
                    <a:pt x="425" y="411"/>
                  </a:lnTo>
                  <a:lnTo>
                    <a:pt x="424" y="411"/>
                  </a:lnTo>
                  <a:lnTo>
                    <a:pt x="424" y="413"/>
                  </a:lnTo>
                  <a:lnTo>
                    <a:pt x="425" y="413"/>
                  </a:lnTo>
                  <a:lnTo>
                    <a:pt x="425" y="414"/>
                  </a:lnTo>
                  <a:lnTo>
                    <a:pt x="425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9"/>
                  </a:lnTo>
                  <a:lnTo>
                    <a:pt x="430" y="418"/>
                  </a:lnTo>
                  <a:close/>
                  <a:moveTo>
                    <a:pt x="398" y="419"/>
                  </a:moveTo>
                  <a:lnTo>
                    <a:pt x="398" y="418"/>
                  </a:lnTo>
                  <a:lnTo>
                    <a:pt x="398" y="418"/>
                  </a:lnTo>
                  <a:lnTo>
                    <a:pt x="398" y="418"/>
                  </a:lnTo>
                  <a:lnTo>
                    <a:pt x="396" y="416"/>
                  </a:lnTo>
                  <a:lnTo>
                    <a:pt x="396" y="416"/>
                  </a:lnTo>
                  <a:lnTo>
                    <a:pt x="396" y="416"/>
                  </a:lnTo>
                  <a:lnTo>
                    <a:pt x="398" y="414"/>
                  </a:lnTo>
                  <a:lnTo>
                    <a:pt x="398" y="414"/>
                  </a:lnTo>
                  <a:lnTo>
                    <a:pt x="398" y="413"/>
                  </a:lnTo>
                  <a:lnTo>
                    <a:pt x="398" y="411"/>
                  </a:lnTo>
                  <a:lnTo>
                    <a:pt x="396" y="410"/>
                  </a:lnTo>
                  <a:lnTo>
                    <a:pt x="396" y="410"/>
                  </a:lnTo>
                  <a:lnTo>
                    <a:pt x="393" y="410"/>
                  </a:lnTo>
                  <a:lnTo>
                    <a:pt x="393" y="410"/>
                  </a:lnTo>
                  <a:lnTo>
                    <a:pt x="393" y="410"/>
                  </a:lnTo>
                  <a:lnTo>
                    <a:pt x="393" y="413"/>
                  </a:lnTo>
                  <a:lnTo>
                    <a:pt x="393" y="413"/>
                  </a:lnTo>
                  <a:lnTo>
                    <a:pt x="393" y="414"/>
                  </a:lnTo>
                  <a:lnTo>
                    <a:pt x="393" y="416"/>
                  </a:lnTo>
                  <a:lnTo>
                    <a:pt x="392" y="416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2" y="418"/>
                  </a:lnTo>
                  <a:lnTo>
                    <a:pt x="390" y="419"/>
                  </a:lnTo>
                  <a:lnTo>
                    <a:pt x="390" y="419"/>
                  </a:lnTo>
                  <a:lnTo>
                    <a:pt x="392" y="421"/>
                  </a:lnTo>
                  <a:lnTo>
                    <a:pt x="393" y="419"/>
                  </a:lnTo>
                  <a:lnTo>
                    <a:pt x="393" y="421"/>
                  </a:lnTo>
                  <a:lnTo>
                    <a:pt x="392" y="421"/>
                  </a:lnTo>
                  <a:lnTo>
                    <a:pt x="392" y="422"/>
                  </a:lnTo>
                  <a:lnTo>
                    <a:pt x="392" y="422"/>
                  </a:lnTo>
                  <a:lnTo>
                    <a:pt x="392" y="424"/>
                  </a:lnTo>
                  <a:lnTo>
                    <a:pt x="393" y="422"/>
                  </a:lnTo>
                  <a:lnTo>
                    <a:pt x="398" y="421"/>
                  </a:lnTo>
                  <a:lnTo>
                    <a:pt x="398" y="419"/>
                  </a:lnTo>
                  <a:lnTo>
                    <a:pt x="398" y="419"/>
                  </a:lnTo>
                  <a:close/>
                  <a:moveTo>
                    <a:pt x="288" y="405"/>
                  </a:moveTo>
                  <a:lnTo>
                    <a:pt x="287" y="405"/>
                  </a:lnTo>
                  <a:lnTo>
                    <a:pt x="287" y="407"/>
                  </a:lnTo>
                  <a:lnTo>
                    <a:pt x="287" y="407"/>
                  </a:lnTo>
                  <a:lnTo>
                    <a:pt x="284" y="408"/>
                  </a:lnTo>
                  <a:lnTo>
                    <a:pt x="284" y="408"/>
                  </a:lnTo>
                  <a:lnTo>
                    <a:pt x="285" y="410"/>
                  </a:lnTo>
                  <a:lnTo>
                    <a:pt x="288" y="410"/>
                  </a:lnTo>
                  <a:lnTo>
                    <a:pt x="290" y="410"/>
                  </a:lnTo>
                  <a:lnTo>
                    <a:pt x="291" y="408"/>
                  </a:lnTo>
                  <a:lnTo>
                    <a:pt x="291" y="408"/>
                  </a:lnTo>
                  <a:lnTo>
                    <a:pt x="290" y="408"/>
                  </a:lnTo>
                  <a:lnTo>
                    <a:pt x="290" y="407"/>
                  </a:lnTo>
                  <a:lnTo>
                    <a:pt x="288" y="407"/>
                  </a:lnTo>
                  <a:lnTo>
                    <a:pt x="288" y="405"/>
                  </a:lnTo>
                  <a:lnTo>
                    <a:pt x="288" y="405"/>
                  </a:lnTo>
                  <a:lnTo>
                    <a:pt x="288" y="405"/>
                  </a:lnTo>
                  <a:lnTo>
                    <a:pt x="288" y="405"/>
                  </a:lnTo>
                  <a:close/>
                  <a:moveTo>
                    <a:pt x="382" y="399"/>
                  </a:moveTo>
                  <a:lnTo>
                    <a:pt x="381" y="398"/>
                  </a:lnTo>
                  <a:lnTo>
                    <a:pt x="379" y="398"/>
                  </a:lnTo>
                  <a:lnTo>
                    <a:pt x="379" y="399"/>
                  </a:lnTo>
                  <a:lnTo>
                    <a:pt x="378" y="399"/>
                  </a:lnTo>
                  <a:lnTo>
                    <a:pt x="376" y="401"/>
                  </a:lnTo>
                  <a:lnTo>
                    <a:pt x="376" y="401"/>
                  </a:lnTo>
                  <a:lnTo>
                    <a:pt x="376" y="401"/>
                  </a:lnTo>
                  <a:lnTo>
                    <a:pt x="379" y="402"/>
                  </a:lnTo>
                  <a:lnTo>
                    <a:pt x="382" y="401"/>
                  </a:lnTo>
                  <a:lnTo>
                    <a:pt x="381" y="401"/>
                  </a:lnTo>
                  <a:lnTo>
                    <a:pt x="381" y="399"/>
                  </a:lnTo>
                  <a:lnTo>
                    <a:pt x="382" y="399"/>
                  </a:lnTo>
                  <a:close/>
                  <a:moveTo>
                    <a:pt x="401" y="396"/>
                  </a:moveTo>
                  <a:lnTo>
                    <a:pt x="401" y="398"/>
                  </a:lnTo>
                  <a:lnTo>
                    <a:pt x="401" y="398"/>
                  </a:lnTo>
                  <a:lnTo>
                    <a:pt x="404" y="399"/>
                  </a:lnTo>
                  <a:lnTo>
                    <a:pt x="407" y="402"/>
                  </a:lnTo>
                  <a:lnTo>
                    <a:pt x="407" y="402"/>
                  </a:lnTo>
                  <a:lnTo>
                    <a:pt x="408" y="404"/>
                  </a:lnTo>
                  <a:lnTo>
                    <a:pt x="410" y="405"/>
                  </a:lnTo>
                  <a:lnTo>
                    <a:pt x="410" y="405"/>
                  </a:lnTo>
                  <a:lnTo>
                    <a:pt x="412" y="405"/>
                  </a:lnTo>
                  <a:lnTo>
                    <a:pt x="413" y="407"/>
                  </a:lnTo>
                  <a:lnTo>
                    <a:pt x="416" y="407"/>
                  </a:lnTo>
                  <a:lnTo>
                    <a:pt x="418" y="407"/>
                  </a:lnTo>
                  <a:lnTo>
                    <a:pt x="418" y="404"/>
                  </a:lnTo>
                  <a:lnTo>
                    <a:pt x="421" y="402"/>
                  </a:lnTo>
                  <a:lnTo>
                    <a:pt x="419" y="401"/>
                  </a:lnTo>
                  <a:lnTo>
                    <a:pt x="419" y="401"/>
                  </a:lnTo>
                  <a:lnTo>
                    <a:pt x="419" y="399"/>
                  </a:lnTo>
                  <a:lnTo>
                    <a:pt x="419" y="399"/>
                  </a:lnTo>
                  <a:lnTo>
                    <a:pt x="419" y="399"/>
                  </a:lnTo>
                  <a:lnTo>
                    <a:pt x="418" y="398"/>
                  </a:lnTo>
                  <a:lnTo>
                    <a:pt x="415" y="398"/>
                  </a:lnTo>
                  <a:lnTo>
                    <a:pt x="413" y="396"/>
                  </a:lnTo>
                  <a:lnTo>
                    <a:pt x="412" y="398"/>
                  </a:lnTo>
                  <a:lnTo>
                    <a:pt x="412" y="398"/>
                  </a:lnTo>
                  <a:lnTo>
                    <a:pt x="410" y="396"/>
                  </a:lnTo>
                  <a:lnTo>
                    <a:pt x="408" y="396"/>
                  </a:lnTo>
                  <a:lnTo>
                    <a:pt x="407" y="398"/>
                  </a:lnTo>
                  <a:lnTo>
                    <a:pt x="407" y="396"/>
                  </a:lnTo>
                  <a:lnTo>
                    <a:pt x="407" y="396"/>
                  </a:lnTo>
                  <a:lnTo>
                    <a:pt x="405" y="396"/>
                  </a:lnTo>
                  <a:lnTo>
                    <a:pt x="405" y="396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4"/>
                  </a:lnTo>
                  <a:lnTo>
                    <a:pt x="405" y="393"/>
                  </a:lnTo>
                  <a:lnTo>
                    <a:pt x="401" y="393"/>
                  </a:lnTo>
                  <a:lnTo>
                    <a:pt x="399" y="393"/>
                  </a:lnTo>
                  <a:lnTo>
                    <a:pt x="399" y="394"/>
                  </a:lnTo>
                  <a:lnTo>
                    <a:pt x="399" y="396"/>
                  </a:lnTo>
                  <a:lnTo>
                    <a:pt x="401" y="396"/>
                  </a:lnTo>
                  <a:close/>
                  <a:moveTo>
                    <a:pt x="347" y="407"/>
                  </a:moveTo>
                  <a:lnTo>
                    <a:pt x="348" y="408"/>
                  </a:lnTo>
                  <a:lnTo>
                    <a:pt x="350" y="407"/>
                  </a:lnTo>
                  <a:lnTo>
                    <a:pt x="351" y="404"/>
                  </a:lnTo>
                  <a:lnTo>
                    <a:pt x="355" y="402"/>
                  </a:lnTo>
                  <a:lnTo>
                    <a:pt x="356" y="399"/>
                  </a:lnTo>
                  <a:lnTo>
                    <a:pt x="356" y="396"/>
                  </a:lnTo>
                  <a:lnTo>
                    <a:pt x="355" y="393"/>
                  </a:lnTo>
                  <a:lnTo>
                    <a:pt x="355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1" y="393"/>
                  </a:lnTo>
                  <a:lnTo>
                    <a:pt x="351" y="393"/>
                  </a:lnTo>
                  <a:lnTo>
                    <a:pt x="350" y="393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1" y="394"/>
                  </a:lnTo>
                  <a:lnTo>
                    <a:pt x="351" y="394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48" y="396"/>
                  </a:lnTo>
                  <a:lnTo>
                    <a:pt x="347" y="399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7" y="407"/>
                  </a:lnTo>
                  <a:lnTo>
                    <a:pt x="347" y="407"/>
                  </a:lnTo>
                  <a:close/>
                  <a:moveTo>
                    <a:pt x="482" y="407"/>
                  </a:moveTo>
                  <a:lnTo>
                    <a:pt x="484" y="405"/>
                  </a:lnTo>
                  <a:lnTo>
                    <a:pt x="485" y="405"/>
                  </a:lnTo>
                  <a:lnTo>
                    <a:pt x="492" y="404"/>
                  </a:lnTo>
                  <a:lnTo>
                    <a:pt x="493" y="404"/>
                  </a:lnTo>
                  <a:lnTo>
                    <a:pt x="499" y="398"/>
                  </a:lnTo>
                  <a:lnTo>
                    <a:pt x="501" y="396"/>
                  </a:lnTo>
                  <a:lnTo>
                    <a:pt x="502" y="393"/>
                  </a:lnTo>
                  <a:lnTo>
                    <a:pt x="499" y="393"/>
                  </a:lnTo>
                  <a:lnTo>
                    <a:pt x="496" y="394"/>
                  </a:lnTo>
                  <a:lnTo>
                    <a:pt x="495" y="396"/>
                  </a:lnTo>
                  <a:lnTo>
                    <a:pt x="492" y="398"/>
                  </a:lnTo>
                  <a:lnTo>
                    <a:pt x="490" y="398"/>
                  </a:lnTo>
                  <a:lnTo>
                    <a:pt x="489" y="398"/>
                  </a:lnTo>
                  <a:lnTo>
                    <a:pt x="487" y="398"/>
                  </a:lnTo>
                  <a:lnTo>
                    <a:pt x="482" y="398"/>
                  </a:lnTo>
                  <a:lnTo>
                    <a:pt x="481" y="398"/>
                  </a:lnTo>
                  <a:lnTo>
                    <a:pt x="479" y="398"/>
                  </a:lnTo>
                  <a:lnTo>
                    <a:pt x="478" y="399"/>
                  </a:lnTo>
                  <a:lnTo>
                    <a:pt x="478" y="401"/>
                  </a:lnTo>
                  <a:lnTo>
                    <a:pt x="476" y="402"/>
                  </a:lnTo>
                  <a:lnTo>
                    <a:pt x="476" y="404"/>
                  </a:lnTo>
                  <a:lnTo>
                    <a:pt x="473" y="405"/>
                  </a:lnTo>
                  <a:lnTo>
                    <a:pt x="473" y="407"/>
                  </a:lnTo>
                  <a:lnTo>
                    <a:pt x="473" y="408"/>
                  </a:lnTo>
                  <a:lnTo>
                    <a:pt x="475" y="410"/>
                  </a:lnTo>
                  <a:lnTo>
                    <a:pt x="478" y="408"/>
                  </a:lnTo>
                  <a:lnTo>
                    <a:pt x="478" y="408"/>
                  </a:lnTo>
                  <a:lnTo>
                    <a:pt x="479" y="408"/>
                  </a:lnTo>
                  <a:lnTo>
                    <a:pt x="479" y="408"/>
                  </a:lnTo>
                  <a:lnTo>
                    <a:pt x="481" y="408"/>
                  </a:lnTo>
                  <a:lnTo>
                    <a:pt x="481" y="408"/>
                  </a:lnTo>
                  <a:lnTo>
                    <a:pt x="482" y="407"/>
                  </a:lnTo>
                  <a:close/>
                  <a:moveTo>
                    <a:pt x="294" y="385"/>
                  </a:moveTo>
                  <a:lnTo>
                    <a:pt x="293" y="385"/>
                  </a:lnTo>
                  <a:lnTo>
                    <a:pt x="284" y="385"/>
                  </a:lnTo>
                  <a:lnTo>
                    <a:pt x="284" y="385"/>
                  </a:lnTo>
                  <a:lnTo>
                    <a:pt x="284" y="387"/>
                  </a:lnTo>
                  <a:lnTo>
                    <a:pt x="284" y="388"/>
                  </a:lnTo>
                  <a:lnTo>
                    <a:pt x="285" y="390"/>
                  </a:lnTo>
                  <a:lnTo>
                    <a:pt x="287" y="390"/>
                  </a:lnTo>
                  <a:lnTo>
                    <a:pt x="287" y="390"/>
                  </a:lnTo>
                  <a:lnTo>
                    <a:pt x="287" y="391"/>
                  </a:lnTo>
                  <a:lnTo>
                    <a:pt x="285" y="391"/>
                  </a:lnTo>
                  <a:lnTo>
                    <a:pt x="285" y="393"/>
                  </a:lnTo>
                  <a:lnTo>
                    <a:pt x="287" y="393"/>
                  </a:lnTo>
                  <a:lnTo>
                    <a:pt x="287" y="393"/>
                  </a:lnTo>
                  <a:lnTo>
                    <a:pt x="288" y="393"/>
                  </a:lnTo>
                  <a:lnTo>
                    <a:pt x="288" y="393"/>
                  </a:lnTo>
                  <a:lnTo>
                    <a:pt x="290" y="393"/>
                  </a:lnTo>
                  <a:lnTo>
                    <a:pt x="291" y="393"/>
                  </a:lnTo>
                  <a:lnTo>
                    <a:pt x="291" y="391"/>
                  </a:lnTo>
                  <a:lnTo>
                    <a:pt x="291" y="390"/>
                  </a:lnTo>
                  <a:lnTo>
                    <a:pt x="291" y="390"/>
                  </a:lnTo>
                  <a:lnTo>
                    <a:pt x="293" y="388"/>
                  </a:lnTo>
                  <a:lnTo>
                    <a:pt x="293" y="387"/>
                  </a:lnTo>
                  <a:lnTo>
                    <a:pt x="293" y="387"/>
                  </a:lnTo>
                  <a:lnTo>
                    <a:pt x="294" y="385"/>
                  </a:lnTo>
                  <a:close/>
                  <a:moveTo>
                    <a:pt x="533" y="396"/>
                  </a:moveTo>
                  <a:lnTo>
                    <a:pt x="533" y="396"/>
                  </a:lnTo>
                  <a:lnTo>
                    <a:pt x="533" y="396"/>
                  </a:lnTo>
                  <a:lnTo>
                    <a:pt x="535" y="398"/>
                  </a:lnTo>
                  <a:lnTo>
                    <a:pt x="539" y="398"/>
                  </a:lnTo>
                  <a:lnTo>
                    <a:pt x="539" y="398"/>
                  </a:lnTo>
                  <a:lnTo>
                    <a:pt x="541" y="396"/>
                  </a:lnTo>
                  <a:lnTo>
                    <a:pt x="541" y="396"/>
                  </a:lnTo>
                  <a:lnTo>
                    <a:pt x="541" y="396"/>
                  </a:lnTo>
                  <a:lnTo>
                    <a:pt x="541" y="394"/>
                  </a:lnTo>
                  <a:lnTo>
                    <a:pt x="542" y="394"/>
                  </a:lnTo>
                  <a:lnTo>
                    <a:pt x="542" y="393"/>
                  </a:lnTo>
                  <a:lnTo>
                    <a:pt x="550" y="391"/>
                  </a:lnTo>
                  <a:lnTo>
                    <a:pt x="553" y="390"/>
                  </a:lnTo>
                  <a:lnTo>
                    <a:pt x="555" y="391"/>
                  </a:lnTo>
                  <a:lnTo>
                    <a:pt x="555" y="390"/>
                  </a:lnTo>
                  <a:lnTo>
                    <a:pt x="555" y="388"/>
                  </a:lnTo>
                  <a:lnTo>
                    <a:pt x="555" y="388"/>
                  </a:lnTo>
                  <a:lnTo>
                    <a:pt x="553" y="390"/>
                  </a:lnTo>
                  <a:lnTo>
                    <a:pt x="553" y="388"/>
                  </a:lnTo>
                  <a:lnTo>
                    <a:pt x="552" y="387"/>
                  </a:lnTo>
                  <a:lnTo>
                    <a:pt x="552" y="387"/>
                  </a:lnTo>
                  <a:lnTo>
                    <a:pt x="552" y="385"/>
                  </a:lnTo>
                  <a:lnTo>
                    <a:pt x="553" y="385"/>
                  </a:lnTo>
                  <a:lnTo>
                    <a:pt x="555" y="385"/>
                  </a:lnTo>
                  <a:lnTo>
                    <a:pt x="552" y="384"/>
                  </a:lnTo>
                  <a:lnTo>
                    <a:pt x="549" y="384"/>
                  </a:lnTo>
                  <a:lnTo>
                    <a:pt x="549" y="382"/>
                  </a:lnTo>
                  <a:lnTo>
                    <a:pt x="549" y="384"/>
                  </a:lnTo>
                  <a:lnTo>
                    <a:pt x="547" y="384"/>
                  </a:lnTo>
                  <a:lnTo>
                    <a:pt x="547" y="384"/>
                  </a:lnTo>
                  <a:lnTo>
                    <a:pt x="546" y="384"/>
                  </a:lnTo>
                  <a:lnTo>
                    <a:pt x="547" y="384"/>
                  </a:lnTo>
                  <a:lnTo>
                    <a:pt x="547" y="385"/>
                  </a:lnTo>
                  <a:lnTo>
                    <a:pt x="547" y="387"/>
                  </a:lnTo>
                  <a:lnTo>
                    <a:pt x="547" y="387"/>
                  </a:lnTo>
                  <a:lnTo>
                    <a:pt x="547" y="387"/>
                  </a:lnTo>
                  <a:lnTo>
                    <a:pt x="544" y="384"/>
                  </a:lnTo>
                  <a:lnTo>
                    <a:pt x="541" y="384"/>
                  </a:lnTo>
                  <a:lnTo>
                    <a:pt x="539" y="382"/>
                  </a:lnTo>
                  <a:lnTo>
                    <a:pt x="538" y="382"/>
                  </a:lnTo>
                  <a:lnTo>
                    <a:pt x="535" y="381"/>
                  </a:lnTo>
                  <a:lnTo>
                    <a:pt x="533" y="381"/>
                  </a:lnTo>
                  <a:lnTo>
                    <a:pt x="524" y="384"/>
                  </a:lnTo>
                  <a:lnTo>
                    <a:pt x="524" y="384"/>
                  </a:lnTo>
                  <a:lnTo>
                    <a:pt x="524" y="385"/>
                  </a:lnTo>
                  <a:lnTo>
                    <a:pt x="522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7"/>
                  </a:lnTo>
                  <a:lnTo>
                    <a:pt x="518" y="388"/>
                  </a:lnTo>
                  <a:lnTo>
                    <a:pt x="518" y="390"/>
                  </a:lnTo>
                  <a:lnTo>
                    <a:pt x="519" y="391"/>
                  </a:lnTo>
                  <a:lnTo>
                    <a:pt x="519" y="393"/>
                  </a:lnTo>
                  <a:lnTo>
                    <a:pt x="519" y="394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22" y="393"/>
                  </a:lnTo>
                  <a:lnTo>
                    <a:pt x="522" y="391"/>
                  </a:lnTo>
                  <a:lnTo>
                    <a:pt x="524" y="391"/>
                  </a:lnTo>
                  <a:lnTo>
                    <a:pt x="526" y="391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90"/>
                  </a:lnTo>
                  <a:lnTo>
                    <a:pt x="530" y="391"/>
                  </a:lnTo>
                  <a:lnTo>
                    <a:pt x="532" y="391"/>
                  </a:lnTo>
                  <a:lnTo>
                    <a:pt x="532" y="393"/>
                  </a:lnTo>
                  <a:lnTo>
                    <a:pt x="533" y="394"/>
                  </a:lnTo>
                  <a:lnTo>
                    <a:pt x="533" y="396"/>
                  </a:lnTo>
                  <a:close/>
                  <a:moveTo>
                    <a:pt x="97" y="385"/>
                  </a:moveTo>
                  <a:lnTo>
                    <a:pt x="96" y="384"/>
                  </a:lnTo>
                  <a:lnTo>
                    <a:pt x="94" y="381"/>
                  </a:lnTo>
                  <a:lnTo>
                    <a:pt x="91" y="379"/>
                  </a:lnTo>
                  <a:lnTo>
                    <a:pt x="88" y="378"/>
                  </a:lnTo>
                  <a:lnTo>
                    <a:pt x="87" y="378"/>
                  </a:lnTo>
                  <a:lnTo>
                    <a:pt x="85" y="378"/>
                  </a:lnTo>
                  <a:lnTo>
                    <a:pt x="83" y="376"/>
                  </a:lnTo>
                  <a:lnTo>
                    <a:pt x="83" y="374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1"/>
                  </a:lnTo>
                  <a:lnTo>
                    <a:pt x="82" y="370"/>
                  </a:lnTo>
                  <a:lnTo>
                    <a:pt x="80" y="370"/>
                  </a:lnTo>
                  <a:lnTo>
                    <a:pt x="77" y="371"/>
                  </a:lnTo>
                  <a:lnTo>
                    <a:pt x="74" y="376"/>
                  </a:lnTo>
                  <a:lnTo>
                    <a:pt x="76" y="378"/>
                  </a:lnTo>
                  <a:lnTo>
                    <a:pt x="74" y="378"/>
                  </a:lnTo>
                  <a:lnTo>
                    <a:pt x="76" y="379"/>
                  </a:lnTo>
                  <a:lnTo>
                    <a:pt x="74" y="381"/>
                  </a:lnTo>
                  <a:lnTo>
                    <a:pt x="76" y="381"/>
                  </a:lnTo>
                  <a:lnTo>
                    <a:pt x="79" y="385"/>
                  </a:lnTo>
                  <a:lnTo>
                    <a:pt x="80" y="387"/>
                  </a:lnTo>
                  <a:lnTo>
                    <a:pt x="80" y="388"/>
                  </a:lnTo>
                  <a:lnTo>
                    <a:pt x="83" y="390"/>
                  </a:lnTo>
                  <a:lnTo>
                    <a:pt x="87" y="393"/>
                  </a:lnTo>
                  <a:lnTo>
                    <a:pt x="88" y="396"/>
                  </a:lnTo>
                  <a:lnTo>
                    <a:pt x="90" y="396"/>
                  </a:lnTo>
                  <a:lnTo>
                    <a:pt x="91" y="396"/>
                  </a:lnTo>
                  <a:lnTo>
                    <a:pt x="91" y="396"/>
                  </a:lnTo>
                  <a:lnTo>
                    <a:pt x="93" y="396"/>
                  </a:lnTo>
                  <a:lnTo>
                    <a:pt x="93" y="394"/>
                  </a:lnTo>
                  <a:lnTo>
                    <a:pt x="91" y="393"/>
                  </a:lnTo>
                  <a:lnTo>
                    <a:pt x="91" y="393"/>
                  </a:lnTo>
                  <a:lnTo>
                    <a:pt x="91" y="391"/>
                  </a:lnTo>
                  <a:lnTo>
                    <a:pt x="93" y="391"/>
                  </a:lnTo>
                  <a:lnTo>
                    <a:pt x="93" y="391"/>
                  </a:lnTo>
                  <a:lnTo>
                    <a:pt x="93" y="390"/>
                  </a:lnTo>
                  <a:lnTo>
                    <a:pt x="94" y="388"/>
                  </a:lnTo>
                  <a:lnTo>
                    <a:pt x="96" y="388"/>
                  </a:lnTo>
                  <a:lnTo>
                    <a:pt x="97" y="388"/>
                  </a:lnTo>
                  <a:lnTo>
                    <a:pt x="99" y="390"/>
                  </a:lnTo>
                  <a:lnTo>
                    <a:pt x="102" y="390"/>
                  </a:lnTo>
                  <a:lnTo>
                    <a:pt x="104" y="391"/>
                  </a:lnTo>
                  <a:lnTo>
                    <a:pt x="102" y="388"/>
                  </a:lnTo>
                  <a:lnTo>
                    <a:pt x="97" y="385"/>
                  </a:lnTo>
                  <a:close/>
                  <a:moveTo>
                    <a:pt x="399" y="388"/>
                  </a:moveTo>
                  <a:lnTo>
                    <a:pt x="401" y="387"/>
                  </a:lnTo>
                  <a:lnTo>
                    <a:pt x="401" y="385"/>
                  </a:lnTo>
                  <a:lnTo>
                    <a:pt x="399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4"/>
                  </a:lnTo>
                  <a:lnTo>
                    <a:pt x="398" y="384"/>
                  </a:lnTo>
                  <a:lnTo>
                    <a:pt x="399" y="382"/>
                  </a:lnTo>
                  <a:lnTo>
                    <a:pt x="399" y="382"/>
                  </a:lnTo>
                  <a:lnTo>
                    <a:pt x="399" y="381"/>
                  </a:lnTo>
                  <a:lnTo>
                    <a:pt x="399" y="381"/>
                  </a:lnTo>
                  <a:lnTo>
                    <a:pt x="399" y="381"/>
                  </a:lnTo>
                  <a:lnTo>
                    <a:pt x="396" y="378"/>
                  </a:lnTo>
                  <a:lnTo>
                    <a:pt x="398" y="374"/>
                  </a:lnTo>
                  <a:lnTo>
                    <a:pt x="398" y="373"/>
                  </a:lnTo>
                  <a:lnTo>
                    <a:pt x="398" y="373"/>
                  </a:lnTo>
                  <a:lnTo>
                    <a:pt x="392" y="373"/>
                  </a:lnTo>
                  <a:lnTo>
                    <a:pt x="390" y="371"/>
                  </a:lnTo>
                  <a:lnTo>
                    <a:pt x="388" y="371"/>
                  </a:lnTo>
                  <a:lnTo>
                    <a:pt x="388" y="370"/>
                  </a:lnTo>
                  <a:lnTo>
                    <a:pt x="388" y="368"/>
                  </a:lnTo>
                  <a:lnTo>
                    <a:pt x="388" y="368"/>
                  </a:lnTo>
                  <a:lnTo>
                    <a:pt x="388" y="368"/>
                  </a:lnTo>
                  <a:lnTo>
                    <a:pt x="388" y="367"/>
                  </a:lnTo>
                  <a:lnTo>
                    <a:pt x="387" y="367"/>
                  </a:lnTo>
                  <a:lnTo>
                    <a:pt x="387" y="365"/>
                  </a:lnTo>
                  <a:lnTo>
                    <a:pt x="385" y="365"/>
                  </a:lnTo>
                  <a:lnTo>
                    <a:pt x="385" y="365"/>
                  </a:lnTo>
                  <a:lnTo>
                    <a:pt x="385" y="365"/>
                  </a:lnTo>
                  <a:lnTo>
                    <a:pt x="385" y="364"/>
                  </a:lnTo>
                  <a:lnTo>
                    <a:pt x="384" y="364"/>
                  </a:lnTo>
                  <a:lnTo>
                    <a:pt x="382" y="364"/>
                  </a:lnTo>
                  <a:lnTo>
                    <a:pt x="379" y="367"/>
                  </a:lnTo>
                  <a:lnTo>
                    <a:pt x="378" y="367"/>
                  </a:lnTo>
                  <a:lnTo>
                    <a:pt x="378" y="368"/>
                  </a:lnTo>
                  <a:lnTo>
                    <a:pt x="378" y="368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8" y="370"/>
                  </a:lnTo>
                  <a:lnTo>
                    <a:pt x="379" y="373"/>
                  </a:lnTo>
                  <a:lnTo>
                    <a:pt x="379" y="373"/>
                  </a:lnTo>
                  <a:lnTo>
                    <a:pt x="379" y="374"/>
                  </a:lnTo>
                  <a:lnTo>
                    <a:pt x="379" y="374"/>
                  </a:lnTo>
                  <a:lnTo>
                    <a:pt x="381" y="374"/>
                  </a:lnTo>
                  <a:lnTo>
                    <a:pt x="381" y="373"/>
                  </a:lnTo>
                  <a:lnTo>
                    <a:pt x="381" y="373"/>
                  </a:lnTo>
                  <a:lnTo>
                    <a:pt x="382" y="374"/>
                  </a:lnTo>
                  <a:lnTo>
                    <a:pt x="384" y="376"/>
                  </a:lnTo>
                  <a:lnTo>
                    <a:pt x="385" y="378"/>
                  </a:lnTo>
                  <a:lnTo>
                    <a:pt x="385" y="381"/>
                  </a:lnTo>
                  <a:lnTo>
                    <a:pt x="387" y="381"/>
                  </a:lnTo>
                  <a:lnTo>
                    <a:pt x="388" y="381"/>
                  </a:lnTo>
                  <a:lnTo>
                    <a:pt x="390" y="384"/>
                  </a:lnTo>
                  <a:lnTo>
                    <a:pt x="390" y="384"/>
                  </a:lnTo>
                  <a:lnTo>
                    <a:pt x="392" y="385"/>
                  </a:lnTo>
                  <a:lnTo>
                    <a:pt x="392" y="385"/>
                  </a:lnTo>
                  <a:lnTo>
                    <a:pt x="393" y="385"/>
                  </a:lnTo>
                  <a:lnTo>
                    <a:pt x="393" y="385"/>
                  </a:lnTo>
                  <a:lnTo>
                    <a:pt x="395" y="390"/>
                  </a:lnTo>
                  <a:lnTo>
                    <a:pt x="396" y="391"/>
                  </a:lnTo>
                  <a:lnTo>
                    <a:pt x="398" y="391"/>
                  </a:lnTo>
                  <a:lnTo>
                    <a:pt x="398" y="393"/>
                  </a:lnTo>
                  <a:lnTo>
                    <a:pt x="398" y="393"/>
                  </a:lnTo>
                  <a:lnTo>
                    <a:pt x="398" y="391"/>
                  </a:lnTo>
                  <a:lnTo>
                    <a:pt x="398" y="391"/>
                  </a:lnTo>
                  <a:lnTo>
                    <a:pt x="399" y="390"/>
                  </a:lnTo>
                  <a:lnTo>
                    <a:pt x="399" y="388"/>
                  </a:lnTo>
                  <a:close/>
                  <a:moveTo>
                    <a:pt x="293" y="368"/>
                  </a:move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1" y="367"/>
                  </a:lnTo>
                  <a:lnTo>
                    <a:pt x="291" y="365"/>
                  </a:lnTo>
                  <a:lnTo>
                    <a:pt x="291" y="365"/>
                  </a:lnTo>
                  <a:lnTo>
                    <a:pt x="291" y="365"/>
                  </a:lnTo>
                  <a:lnTo>
                    <a:pt x="291" y="364"/>
                  </a:lnTo>
                  <a:lnTo>
                    <a:pt x="290" y="364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7" y="364"/>
                  </a:lnTo>
                  <a:lnTo>
                    <a:pt x="287" y="364"/>
                  </a:lnTo>
                  <a:lnTo>
                    <a:pt x="287" y="364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7" y="365"/>
                  </a:lnTo>
                  <a:lnTo>
                    <a:pt x="285" y="365"/>
                  </a:lnTo>
                  <a:lnTo>
                    <a:pt x="285" y="365"/>
                  </a:lnTo>
                  <a:lnTo>
                    <a:pt x="284" y="365"/>
                  </a:lnTo>
                  <a:lnTo>
                    <a:pt x="285" y="365"/>
                  </a:lnTo>
                  <a:lnTo>
                    <a:pt x="285" y="365"/>
                  </a:lnTo>
                  <a:lnTo>
                    <a:pt x="284" y="367"/>
                  </a:lnTo>
                  <a:lnTo>
                    <a:pt x="284" y="367"/>
                  </a:lnTo>
                  <a:lnTo>
                    <a:pt x="285" y="368"/>
                  </a:lnTo>
                  <a:lnTo>
                    <a:pt x="287" y="368"/>
                  </a:lnTo>
                  <a:lnTo>
                    <a:pt x="287" y="368"/>
                  </a:lnTo>
                  <a:lnTo>
                    <a:pt x="287" y="367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88" y="368"/>
                  </a:lnTo>
                  <a:lnTo>
                    <a:pt x="288" y="368"/>
                  </a:lnTo>
                  <a:lnTo>
                    <a:pt x="287" y="370"/>
                  </a:lnTo>
                  <a:lnTo>
                    <a:pt x="285" y="370"/>
                  </a:lnTo>
                  <a:lnTo>
                    <a:pt x="284" y="370"/>
                  </a:lnTo>
                  <a:lnTo>
                    <a:pt x="282" y="371"/>
                  </a:lnTo>
                  <a:lnTo>
                    <a:pt x="282" y="371"/>
                  </a:lnTo>
                  <a:lnTo>
                    <a:pt x="282" y="373"/>
                  </a:lnTo>
                  <a:lnTo>
                    <a:pt x="282" y="373"/>
                  </a:lnTo>
                  <a:lnTo>
                    <a:pt x="284" y="373"/>
                  </a:lnTo>
                  <a:lnTo>
                    <a:pt x="285" y="374"/>
                  </a:lnTo>
                  <a:lnTo>
                    <a:pt x="287" y="374"/>
                  </a:lnTo>
                  <a:lnTo>
                    <a:pt x="288" y="374"/>
                  </a:lnTo>
                  <a:lnTo>
                    <a:pt x="288" y="373"/>
                  </a:lnTo>
                  <a:lnTo>
                    <a:pt x="290" y="373"/>
                  </a:lnTo>
                  <a:lnTo>
                    <a:pt x="290" y="373"/>
                  </a:lnTo>
                  <a:lnTo>
                    <a:pt x="290" y="373"/>
                  </a:lnTo>
                  <a:lnTo>
                    <a:pt x="291" y="371"/>
                  </a:lnTo>
                  <a:lnTo>
                    <a:pt x="293" y="370"/>
                  </a:lnTo>
                  <a:lnTo>
                    <a:pt x="291" y="370"/>
                  </a:lnTo>
                  <a:lnTo>
                    <a:pt x="294" y="368"/>
                  </a:lnTo>
                  <a:lnTo>
                    <a:pt x="293" y="368"/>
                  </a:lnTo>
                  <a:close/>
                  <a:moveTo>
                    <a:pt x="79" y="354"/>
                  </a:moveTo>
                  <a:lnTo>
                    <a:pt x="80" y="356"/>
                  </a:lnTo>
                  <a:lnTo>
                    <a:pt x="82" y="357"/>
                  </a:lnTo>
                  <a:lnTo>
                    <a:pt x="83" y="357"/>
                  </a:lnTo>
                  <a:lnTo>
                    <a:pt x="83" y="357"/>
                  </a:lnTo>
                  <a:lnTo>
                    <a:pt x="85" y="357"/>
                  </a:lnTo>
                  <a:lnTo>
                    <a:pt x="85" y="357"/>
                  </a:lnTo>
                  <a:lnTo>
                    <a:pt x="88" y="357"/>
                  </a:lnTo>
                  <a:lnTo>
                    <a:pt x="88" y="357"/>
                  </a:lnTo>
                  <a:lnTo>
                    <a:pt x="88" y="356"/>
                  </a:lnTo>
                  <a:lnTo>
                    <a:pt x="88" y="354"/>
                  </a:lnTo>
                  <a:lnTo>
                    <a:pt x="88" y="353"/>
                  </a:lnTo>
                  <a:lnTo>
                    <a:pt x="88" y="351"/>
                  </a:lnTo>
                  <a:lnTo>
                    <a:pt x="85" y="347"/>
                  </a:lnTo>
                  <a:lnTo>
                    <a:pt x="85" y="345"/>
                  </a:lnTo>
                  <a:lnTo>
                    <a:pt x="82" y="342"/>
                  </a:lnTo>
                  <a:lnTo>
                    <a:pt x="80" y="341"/>
                  </a:lnTo>
                  <a:lnTo>
                    <a:pt x="80" y="339"/>
                  </a:lnTo>
                  <a:lnTo>
                    <a:pt x="80" y="339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9" y="337"/>
                  </a:lnTo>
                  <a:lnTo>
                    <a:pt x="77" y="339"/>
                  </a:lnTo>
                  <a:lnTo>
                    <a:pt x="76" y="339"/>
                  </a:lnTo>
                  <a:lnTo>
                    <a:pt x="76" y="339"/>
                  </a:lnTo>
                  <a:lnTo>
                    <a:pt x="74" y="336"/>
                  </a:lnTo>
                  <a:lnTo>
                    <a:pt x="73" y="334"/>
                  </a:lnTo>
                  <a:lnTo>
                    <a:pt x="74" y="334"/>
                  </a:lnTo>
                  <a:lnTo>
                    <a:pt x="74" y="333"/>
                  </a:lnTo>
                  <a:lnTo>
                    <a:pt x="76" y="333"/>
                  </a:lnTo>
                  <a:lnTo>
                    <a:pt x="76" y="331"/>
                  </a:lnTo>
                  <a:lnTo>
                    <a:pt x="76" y="330"/>
                  </a:lnTo>
                  <a:lnTo>
                    <a:pt x="71" y="319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68" y="322"/>
                  </a:lnTo>
                  <a:lnTo>
                    <a:pt x="68" y="324"/>
                  </a:lnTo>
                  <a:lnTo>
                    <a:pt x="68" y="324"/>
                  </a:lnTo>
                  <a:lnTo>
                    <a:pt x="70" y="327"/>
                  </a:lnTo>
                  <a:lnTo>
                    <a:pt x="68" y="327"/>
                  </a:lnTo>
                  <a:lnTo>
                    <a:pt x="68" y="328"/>
                  </a:lnTo>
                  <a:lnTo>
                    <a:pt x="68" y="330"/>
                  </a:lnTo>
                  <a:lnTo>
                    <a:pt x="68" y="331"/>
                  </a:lnTo>
                  <a:lnTo>
                    <a:pt x="67" y="333"/>
                  </a:lnTo>
                  <a:lnTo>
                    <a:pt x="65" y="334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3" y="333"/>
                  </a:lnTo>
                  <a:lnTo>
                    <a:pt x="63" y="333"/>
                  </a:lnTo>
                  <a:lnTo>
                    <a:pt x="62" y="333"/>
                  </a:lnTo>
                  <a:lnTo>
                    <a:pt x="62" y="331"/>
                  </a:lnTo>
                  <a:lnTo>
                    <a:pt x="60" y="330"/>
                  </a:lnTo>
                  <a:lnTo>
                    <a:pt x="60" y="330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0"/>
                  </a:lnTo>
                  <a:lnTo>
                    <a:pt x="59" y="330"/>
                  </a:lnTo>
                  <a:lnTo>
                    <a:pt x="59" y="331"/>
                  </a:lnTo>
                  <a:lnTo>
                    <a:pt x="57" y="334"/>
                  </a:lnTo>
                  <a:lnTo>
                    <a:pt x="57" y="337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4" y="339"/>
                  </a:lnTo>
                  <a:lnTo>
                    <a:pt x="54" y="341"/>
                  </a:lnTo>
                  <a:lnTo>
                    <a:pt x="56" y="341"/>
                  </a:lnTo>
                  <a:lnTo>
                    <a:pt x="56" y="342"/>
                  </a:lnTo>
                  <a:lnTo>
                    <a:pt x="54" y="344"/>
                  </a:lnTo>
                  <a:lnTo>
                    <a:pt x="54" y="344"/>
                  </a:lnTo>
                  <a:lnTo>
                    <a:pt x="54" y="345"/>
                  </a:lnTo>
                  <a:lnTo>
                    <a:pt x="54" y="347"/>
                  </a:lnTo>
                  <a:lnTo>
                    <a:pt x="56" y="348"/>
                  </a:lnTo>
                  <a:lnTo>
                    <a:pt x="57" y="350"/>
                  </a:lnTo>
                  <a:lnTo>
                    <a:pt x="57" y="350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60" y="347"/>
                  </a:lnTo>
                  <a:lnTo>
                    <a:pt x="60" y="345"/>
                  </a:lnTo>
                  <a:lnTo>
                    <a:pt x="60" y="344"/>
                  </a:lnTo>
                  <a:lnTo>
                    <a:pt x="60" y="341"/>
                  </a:lnTo>
                  <a:lnTo>
                    <a:pt x="60" y="339"/>
                  </a:lnTo>
                  <a:lnTo>
                    <a:pt x="60" y="337"/>
                  </a:lnTo>
                  <a:lnTo>
                    <a:pt x="62" y="337"/>
                  </a:lnTo>
                  <a:lnTo>
                    <a:pt x="62" y="339"/>
                  </a:lnTo>
                  <a:lnTo>
                    <a:pt x="65" y="344"/>
                  </a:lnTo>
                  <a:lnTo>
                    <a:pt x="65" y="345"/>
                  </a:lnTo>
                  <a:lnTo>
                    <a:pt x="67" y="347"/>
                  </a:lnTo>
                  <a:lnTo>
                    <a:pt x="67" y="347"/>
                  </a:lnTo>
                  <a:lnTo>
                    <a:pt x="65" y="347"/>
                  </a:lnTo>
                  <a:lnTo>
                    <a:pt x="65" y="345"/>
                  </a:lnTo>
                  <a:lnTo>
                    <a:pt x="63" y="345"/>
                  </a:lnTo>
                  <a:lnTo>
                    <a:pt x="63" y="347"/>
                  </a:lnTo>
                  <a:lnTo>
                    <a:pt x="65" y="348"/>
                  </a:lnTo>
                  <a:lnTo>
                    <a:pt x="65" y="350"/>
                  </a:lnTo>
                  <a:lnTo>
                    <a:pt x="65" y="351"/>
                  </a:lnTo>
                  <a:lnTo>
                    <a:pt x="65" y="351"/>
                  </a:lnTo>
                  <a:lnTo>
                    <a:pt x="67" y="353"/>
                  </a:lnTo>
                  <a:lnTo>
                    <a:pt x="70" y="354"/>
                  </a:lnTo>
                  <a:lnTo>
                    <a:pt x="71" y="354"/>
                  </a:lnTo>
                  <a:lnTo>
                    <a:pt x="71" y="353"/>
                  </a:lnTo>
                  <a:lnTo>
                    <a:pt x="74" y="353"/>
                  </a:lnTo>
                  <a:lnTo>
                    <a:pt x="77" y="353"/>
                  </a:lnTo>
                  <a:lnTo>
                    <a:pt x="79" y="354"/>
                  </a:lnTo>
                  <a:close/>
                  <a:moveTo>
                    <a:pt x="82" y="327"/>
                  </a:moveTo>
                  <a:lnTo>
                    <a:pt x="82" y="327"/>
                  </a:lnTo>
                  <a:lnTo>
                    <a:pt x="80" y="327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0" y="328"/>
                  </a:lnTo>
                  <a:lnTo>
                    <a:pt x="80" y="328"/>
                  </a:lnTo>
                  <a:lnTo>
                    <a:pt x="79" y="328"/>
                  </a:lnTo>
                  <a:lnTo>
                    <a:pt x="79" y="328"/>
                  </a:lnTo>
                  <a:lnTo>
                    <a:pt x="80" y="325"/>
                  </a:lnTo>
                  <a:lnTo>
                    <a:pt x="80" y="324"/>
                  </a:lnTo>
                  <a:lnTo>
                    <a:pt x="82" y="322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79" y="321"/>
                  </a:lnTo>
                  <a:lnTo>
                    <a:pt x="77" y="321"/>
                  </a:lnTo>
                  <a:lnTo>
                    <a:pt x="79" y="319"/>
                  </a:lnTo>
                  <a:lnTo>
                    <a:pt x="79" y="317"/>
                  </a:lnTo>
                  <a:lnTo>
                    <a:pt x="79" y="316"/>
                  </a:lnTo>
                  <a:lnTo>
                    <a:pt x="77" y="316"/>
                  </a:lnTo>
                  <a:lnTo>
                    <a:pt x="77" y="319"/>
                  </a:lnTo>
                  <a:lnTo>
                    <a:pt x="76" y="319"/>
                  </a:lnTo>
                  <a:lnTo>
                    <a:pt x="74" y="317"/>
                  </a:lnTo>
                  <a:lnTo>
                    <a:pt x="74" y="319"/>
                  </a:lnTo>
                  <a:lnTo>
                    <a:pt x="74" y="321"/>
                  </a:lnTo>
                  <a:lnTo>
                    <a:pt x="76" y="321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7" y="325"/>
                  </a:lnTo>
                  <a:lnTo>
                    <a:pt x="77" y="325"/>
                  </a:lnTo>
                  <a:lnTo>
                    <a:pt x="79" y="328"/>
                  </a:lnTo>
                  <a:lnTo>
                    <a:pt x="79" y="330"/>
                  </a:lnTo>
                  <a:lnTo>
                    <a:pt x="80" y="331"/>
                  </a:lnTo>
                  <a:lnTo>
                    <a:pt x="80" y="331"/>
                  </a:lnTo>
                  <a:lnTo>
                    <a:pt x="80" y="333"/>
                  </a:lnTo>
                  <a:lnTo>
                    <a:pt x="82" y="334"/>
                  </a:lnTo>
                  <a:lnTo>
                    <a:pt x="83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1"/>
                  </a:lnTo>
                  <a:lnTo>
                    <a:pt x="83" y="331"/>
                  </a:lnTo>
                  <a:lnTo>
                    <a:pt x="83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3" y="327"/>
                  </a:lnTo>
                  <a:lnTo>
                    <a:pt x="83" y="327"/>
                  </a:lnTo>
                  <a:lnTo>
                    <a:pt x="82" y="327"/>
                  </a:lnTo>
                  <a:close/>
                  <a:moveTo>
                    <a:pt x="96" y="311"/>
                  </a:moveTo>
                  <a:lnTo>
                    <a:pt x="96" y="311"/>
                  </a:lnTo>
                  <a:lnTo>
                    <a:pt x="96" y="310"/>
                  </a:lnTo>
                  <a:lnTo>
                    <a:pt x="97" y="308"/>
                  </a:lnTo>
                  <a:lnTo>
                    <a:pt x="99" y="307"/>
                  </a:lnTo>
                  <a:lnTo>
                    <a:pt x="97" y="307"/>
                  </a:lnTo>
                  <a:lnTo>
                    <a:pt x="96" y="311"/>
                  </a:lnTo>
                  <a:lnTo>
                    <a:pt x="96" y="311"/>
                  </a:lnTo>
                  <a:close/>
                  <a:moveTo>
                    <a:pt x="484" y="311"/>
                  </a:moveTo>
                  <a:lnTo>
                    <a:pt x="484" y="311"/>
                  </a:lnTo>
                  <a:lnTo>
                    <a:pt x="484" y="311"/>
                  </a:lnTo>
                  <a:lnTo>
                    <a:pt x="484" y="313"/>
                  </a:lnTo>
                  <a:lnTo>
                    <a:pt x="481" y="308"/>
                  </a:lnTo>
                  <a:lnTo>
                    <a:pt x="479" y="308"/>
                  </a:lnTo>
                  <a:lnTo>
                    <a:pt x="476" y="307"/>
                  </a:lnTo>
                  <a:lnTo>
                    <a:pt x="475" y="307"/>
                  </a:lnTo>
                  <a:lnTo>
                    <a:pt x="464" y="308"/>
                  </a:lnTo>
                  <a:lnTo>
                    <a:pt x="464" y="310"/>
                  </a:lnTo>
                  <a:lnTo>
                    <a:pt x="464" y="311"/>
                  </a:lnTo>
                  <a:lnTo>
                    <a:pt x="462" y="313"/>
                  </a:lnTo>
                  <a:lnTo>
                    <a:pt x="462" y="313"/>
                  </a:lnTo>
                  <a:lnTo>
                    <a:pt x="464" y="314"/>
                  </a:lnTo>
                  <a:lnTo>
                    <a:pt x="465" y="317"/>
                  </a:lnTo>
                  <a:lnTo>
                    <a:pt x="467" y="319"/>
                  </a:lnTo>
                  <a:lnTo>
                    <a:pt x="469" y="319"/>
                  </a:lnTo>
                  <a:lnTo>
                    <a:pt x="470" y="319"/>
                  </a:lnTo>
                  <a:lnTo>
                    <a:pt x="470" y="319"/>
                  </a:lnTo>
                  <a:lnTo>
                    <a:pt x="472" y="321"/>
                  </a:lnTo>
                  <a:lnTo>
                    <a:pt x="472" y="322"/>
                  </a:lnTo>
                  <a:lnTo>
                    <a:pt x="472" y="324"/>
                  </a:lnTo>
                  <a:lnTo>
                    <a:pt x="472" y="324"/>
                  </a:lnTo>
                  <a:lnTo>
                    <a:pt x="472" y="325"/>
                  </a:lnTo>
                  <a:lnTo>
                    <a:pt x="472" y="325"/>
                  </a:lnTo>
                  <a:lnTo>
                    <a:pt x="473" y="325"/>
                  </a:lnTo>
                  <a:lnTo>
                    <a:pt x="473" y="327"/>
                  </a:lnTo>
                  <a:lnTo>
                    <a:pt x="473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7"/>
                  </a:lnTo>
                  <a:lnTo>
                    <a:pt x="475" y="328"/>
                  </a:lnTo>
                  <a:lnTo>
                    <a:pt x="475" y="330"/>
                  </a:lnTo>
                  <a:lnTo>
                    <a:pt x="475" y="331"/>
                  </a:lnTo>
                  <a:lnTo>
                    <a:pt x="473" y="331"/>
                  </a:lnTo>
                  <a:lnTo>
                    <a:pt x="473" y="333"/>
                  </a:lnTo>
                  <a:lnTo>
                    <a:pt x="473" y="334"/>
                  </a:lnTo>
                  <a:lnTo>
                    <a:pt x="473" y="334"/>
                  </a:lnTo>
                  <a:lnTo>
                    <a:pt x="472" y="334"/>
                  </a:lnTo>
                  <a:lnTo>
                    <a:pt x="470" y="334"/>
                  </a:lnTo>
                  <a:lnTo>
                    <a:pt x="470" y="336"/>
                  </a:lnTo>
                  <a:lnTo>
                    <a:pt x="469" y="336"/>
                  </a:lnTo>
                  <a:lnTo>
                    <a:pt x="469" y="336"/>
                  </a:lnTo>
                  <a:lnTo>
                    <a:pt x="467" y="337"/>
                  </a:lnTo>
                  <a:lnTo>
                    <a:pt x="465" y="337"/>
                  </a:lnTo>
                  <a:lnTo>
                    <a:pt x="465" y="339"/>
                  </a:lnTo>
                  <a:lnTo>
                    <a:pt x="465" y="341"/>
                  </a:lnTo>
                  <a:lnTo>
                    <a:pt x="465" y="341"/>
                  </a:lnTo>
                  <a:lnTo>
                    <a:pt x="467" y="341"/>
                  </a:lnTo>
                  <a:lnTo>
                    <a:pt x="467" y="341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4"/>
                  </a:lnTo>
                  <a:lnTo>
                    <a:pt x="470" y="344"/>
                  </a:lnTo>
                  <a:lnTo>
                    <a:pt x="470" y="345"/>
                  </a:lnTo>
                  <a:lnTo>
                    <a:pt x="470" y="345"/>
                  </a:lnTo>
                  <a:lnTo>
                    <a:pt x="472" y="345"/>
                  </a:lnTo>
                  <a:lnTo>
                    <a:pt x="473" y="347"/>
                  </a:lnTo>
                  <a:lnTo>
                    <a:pt x="473" y="348"/>
                  </a:lnTo>
                  <a:lnTo>
                    <a:pt x="475" y="348"/>
                  </a:lnTo>
                  <a:lnTo>
                    <a:pt x="476" y="348"/>
                  </a:lnTo>
                  <a:lnTo>
                    <a:pt x="476" y="348"/>
                  </a:lnTo>
                  <a:lnTo>
                    <a:pt x="478" y="348"/>
                  </a:lnTo>
                  <a:lnTo>
                    <a:pt x="478" y="345"/>
                  </a:lnTo>
                  <a:lnTo>
                    <a:pt x="478" y="345"/>
                  </a:lnTo>
                  <a:lnTo>
                    <a:pt x="482" y="344"/>
                  </a:lnTo>
                  <a:lnTo>
                    <a:pt x="484" y="342"/>
                  </a:lnTo>
                  <a:lnTo>
                    <a:pt x="484" y="341"/>
                  </a:lnTo>
                  <a:lnTo>
                    <a:pt x="482" y="339"/>
                  </a:lnTo>
                  <a:lnTo>
                    <a:pt x="484" y="336"/>
                  </a:lnTo>
                  <a:lnTo>
                    <a:pt x="485" y="336"/>
                  </a:lnTo>
                  <a:lnTo>
                    <a:pt x="487" y="334"/>
                  </a:lnTo>
                  <a:lnTo>
                    <a:pt x="487" y="331"/>
                  </a:lnTo>
                  <a:lnTo>
                    <a:pt x="485" y="324"/>
                  </a:lnTo>
                  <a:lnTo>
                    <a:pt x="485" y="322"/>
                  </a:lnTo>
                  <a:lnTo>
                    <a:pt x="485" y="322"/>
                  </a:lnTo>
                  <a:lnTo>
                    <a:pt x="487" y="321"/>
                  </a:lnTo>
                  <a:lnTo>
                    <a:pt x="487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5" y="319"/>
                  </a:lnTo>
                  <a:lnTo>
                    <a:pt x="484" y="317"/>
                  </a:lnTo>
                  <a:lnTo>
                    <a:pt x="485" y="317"/>
                  </a:lnTo>
                  <a:lnTo>
                    <a:pt x="487" y="316"/>
                  </a:lnTo>
                  <a:lnTo>
                    <a:pt x="487" y="313"/>
                  </a:lnTo>
                  <a:lnTo>
                    <a:pt x="487" y="313"/>
                  </a:lnTo>
                  <a:lnTo>
                    <a:pt x="487" y="311"/>
                  </a:lnTo>
                  <a:lnTo>
                    <a:pt x="485" y="310"/>
                  </a:lnTo>
                  <a:lnTo>
                    <a:pt x="485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0"/>
                  </a:lnTo>
                  <a:lnTo>
                    <a:pt x="484" y="311"/>
                  </a:lnTo>
                  <a:lnTo>
                    <a:pt x="484" y="311"/>
                  </a:lnTo>
                  <a:close/>
                  <a:moveTo>
                    <a:pt x="445" y="313"/>
                  </a:move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5" y="307"/>
                  </a:lnTo>
                  <a:lnTo>
                    <a:pt x="445" y="305"/>
                  </a:lnTo>
                  <a:lnTo>
                    <a:pt x="444" y="305"/>
                  </a:lnTo>
                  <a:lnTo>
                    <a:pt x="444" y="307"/>
                  </a:lnTo>
                  <a:lnTo>
                    <a:pt x="444" y="307"/>
                  </a:lnTo>
                  <a:lnTo>
                    <a:pt x="442" y="305"/>
                  </a:lnTo>
                  <a:lnTo>
                    <a:pt x="442" y="305"/>
                  </a:lnTo>
                  <a:lnTo>
                    <a:pt x="442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39" y="307"/>
                  </a:lnTo>
                  <a:lnTo>
                    <a:pt x="439" y="307"/>
                  </a:lnTo>
                  <a:lnTo>
                    <a:pt x="441" y="308"/>
                  </a:lnTo>
                  <a:lnTo>
                    <a:pt x="441" y="308"/>
                  </a:lnTo>
                  <a:lnTo>
                    <a:pt x="441" y="308"/>
                  </a:lnTo>
                  <a:lnTo>
                    <a:pt x="442" y="310"/>
                  </a:lnTo>
                  <a:lnTo>
                    <a:pt x="442" y="310"/>
                  </a:lnTo>
                  <a:lnTo>
                    <a:pt x="442" y="311"/>
                  </a:lnTo>
                  <a:lnTo>
                    <a:pt x="442" y="311"/>
                  </a:lnTo>
                  <a:lnTo>
                    <a:pt x="442" y="311"/>
                  </a:lnTo>
                  <a:lnTo>
                    <a:pt x="442" y="313"/>
                  </a:lnTo>
                  <a:lnTo>
                    <a:pt x="444" y="313"/>
                  </a:lnTo>
                  <a:lnTo>
                    <a:pt x="444" y="313"/>
                  </a:lnTo>
                  <a:lnTo>
                    <a:pt x="445" y="313"/>
                  </a:lnTo>
                  <a:lnTo>
                    <a:pt x="445" y="313"/>
                  </a:lnTo>
                  <a:lnTo>
                    <a:pt x="445" y="313"/>
                  </a:lnTo>
                  <a:close/>
                  <a:moveTo>
                    <a:pt x="99" y="304"/>
                  </a:moveTo>
                  <a:lnTo>
                    <a:pt x="99" y="302"/>
                  </a:lnTo>
                  <a:lnTo>
                    <a:pt x="99" y="302"/>
                  </a:lnTo>
                  <a:lnTo>
                    <a:pt x="97" y="302"/>
                  </a:lnTo>
                  <a:lnTo>
                    <a:pt x="96" y="302"/>
                  </a:lnTo>
                  <a:lnTo>
                    <a:pt x="94" y="304"/>
                  </a:lnTo>
                  <a:lnTo>
                    <a:pt x="93" y="307"/>
                  </a:lnTo>
                  <a:lnTo>
                    <a:pt x="93" y="308"/>
                  </a:lnTo>
                  <a:lnTo>
                    <a:pt x="93" y="308"/>
                  </a:lnTo>
                  <a:lnTo>
                    <a:pt x="94" y="308"/>
                  </a:lnTo>
                  <a:lnTo>
                    <a:pt x="94" y="307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7" y="305"/>
                  </a:lnTo>
                  <a:lnTo>
                    <a:pt x="97" y="305"/>
                  </a:lnTo>
                  <a:lnTo>
                    <a:pt x="99" y="304"/>
                  </a:lnTo>
                  <a:lnTo>
                    <a:pt x="99" y="304"/>
                  </a:lnTo>
                  <a:close/>
                  <a:moveTo>
                    <a:pt x="88" y="301"/>
                  </a:moveTo>
                  <a:lnTo>
                    <a:pt x="88" y="301"/>
                  </a:lnTo>
                  <a:lnTo>
                    <a:pt x="87" y="301"/>
                  </a:lnTo>
                  <a:lnTo>
                    <a:pt x="87" y="299"/>
                  </a:lnTo>
                  <a:lnTo>
                    <a:pt x="85" y="301"/>
                  </a:lnTo>
                  <a:lnTo>
                    <a:pt x="83" y="301"/>
                  </a:lnTo>
                  <a:lnTo>
                    <a:pt x="83" y="302"/>
                  </a:lnTo>
                  <a:lnTo>
                    <a:pt x="85" y="304"/>
                  </a:lnTo>
                  <a:lnTo>
                    <a:pt x="87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5" y="304"/>
                  </a:lnTo>
                  <a:lnTo>
                    <a:pt x="85" y="304"/>
                  </a:lnTo>
                  <a:lnTo>
                    <a:pt x="87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lnTo>
                    <a:pt x="88" y="301"/>
                  </a:lnTo>
                  <a:close/>
                  <a:moveTo>
                    <a:pt x="82" y="288"/>
                  </a:moveTo>
                  <a:lnTo>
                    <a:pt x="82" y="287"/>
                  </a:lnTo>
                  <a:lnTo>
                    <a:pt x="82" y="285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7"/>
                  </a:lnTo>
                  <a:lnTo>
                    <a:pt x="74" y="288"/>
                  </a:lnTo>
                  <a:lnTo>
                    <a:pt x="74" y="290"/>
                  </a:lnTo>
                  <a:lnTo>
                    <a:pt x="73" y="290"/>
                  </a:lnTo>
                  <a:lnTo>
                    <a:pt x="73" y="293"/>
                  </a:lnTo>
                  <a:lnTo>
                    <a:pt x="71" y="294"/>
                  </a:lnTo>
                  <a:lnTo>
                    <a:pt x="71" y="297"/>
                  </a:lnTo>
                  <a:lnTo>
                    <a:pt x="70" y="307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1" y="307"/>
                  </a:lnTo>
                  <a:lnTo>
                    <a:pt x="71" y="307"/>
                  </a:lnTo>
                  <a:lnTo>
                    <a:pt x="73" y="305"/>
                  </a:lnTo>
                  <a:lnTo>
                    <a:pt x="73" y="304"/>
                  </a:lnTo>
                  <a:lnTo>
                    <a:pt x="74" y="307"/>
                  </a:lnTo>
                  <a:lnTo>
                    <a:pt x="76" y="307"/>
                  </a:lnTo>
                  <a:lnTo>
                    <a:pt x="76" y="307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6" y="307"/>
                  </a:lnTo>
                  <a:lnTo>
                    <a:pt x="77" y="307"/>
                  </a:lnTo>
                  <a:lnTo>
                    <a:pt x="77" y="305"/>
                  </a:lnTo>
                  <a:lnTo>
                    <a:pt x="79" y="307"/>
                  </a:lnTo>
                  <a:lnTo>
                    <a:pt x="79" y="305"/>
                  </a:lnTo>
                  <a:lnTo>
                    <a:pt x="79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5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2" y="297"/>
                  </a:lnTo>
                  <a:lnTo>
                    <a:pt x="82" y="296"/>
                  </a:lnTo>
                  <a:lnTo>
                    <a:pt x="82" y="297"/>
                  </a:lnTo>
                  <a:lnTo>
                    <a:pt x="82" y="299"/>
                  </a:lnTo>
                  <a:lnTo>
                    <a:pt x="80" y="299"/>
                  </a:lnTo>
                  <a:lnTo>
                    <a:pt x="80" y="299"/>
                  </a:lnTo>
                  <a:lnTo>
                    <a:pt x="80" y="299"/>
                  </a:lnTo>
                  <a:lnTo>
                    <a:pt x="80" y="297"/>
                  </a:lnTo>
                  <a:lnTo>
                    <a:pt x="82" y="294"/>
                  </a:lnTo>
                  <a:lnTo>
                    <a:pt x="83" y="294"/>
                  </a:lnTo>
                  <a:lnTo>
                    <a:pt x="83" y="294"/>
                  </a:lnTo>
                  <a:lnTo>
                    <a:pt x="83" y="293"/>
                  </a:lnTo>
                  <a:lnTo>
                    <a:pt x="83" y="293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3" y="290"/>
                  </a:lnTo>
                  <a:lnTo>
                    <a:pt x="82" y="288"/>
                  </a:lnTo>
                  <a:close/>
                  <a:moveTo>
                    <a:pt x="361" y="277"/>
                  </a:moveTo>
                  <a:lnTo>
                    <a:pt x="359" y="277"/>
                  </a:lnTo>
                  <a:lnTo>
                    <a:pt x="359" y="279"/>
                  </a:lnTo>
                  <a:lnTo>
                    <a:pt x="359" y="279"/>
                  </a:lnTo>
                  <a:lnTo>
                    <a:pt x="359" y="280"/>
                  </a:lnTo>
                  <a:lnTo>
                    <a:pt x="359" y="280"/>
                  </a:lnTo>
                  <a:lnTo>
                    <a:pt x="361" y="279"/>
                  </a:lnTo>
                  <a:lnTo>
                    <a:pt x="361" y="280"/>
                  </a:lnTo>
                  <a:lnTo>
                    <a:pt x="361" y="280"/>
                  </a:lnTo>
                  <a:lnTo>
                    <a:pt x="362" y="280"/>
                  </a:lnTo>
                  <a:lnTo>
                    <a:pt x="362" y="280"/>
                  </a:lnTo>
                  <a:lnTo>
                    <a:pt x="362" y="282"/>
                  </a:lnTo>
                  <a:lnTo>
                    <a:pt x="364" y="282"/>
                  </a:lnTo>
                  <a:lnTo>
                    <a:pt x="364" y="284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67" y="284"/>
                  </a:lnTo>
                  <a:lnTo>
                    <a:pt x="367" y="284"/>
                  </a:lnTo>
                  <a:lnTo>
                    <a:pt x="367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7"/>
                  </a:lnTo>
                  <a:lnTo>
                    <a:pt x="365" y="288"/>
                  </a:lnTo>
                  <a:lnTo>
                    <a:pt x="368" y="291"/>
                  </a:lnTo>
                  <a:lnTo>
                    <a:pt x="368" y="290"/>
                  </a:lnTo>
                  <a:lnTo>
                    <a:pt x="370" y="290"/>
                  </a:lnTo>
                  <a:lnTo>
                    <a:pt x="370" y="288"/>
                  </a:lnTo>
                  <a:lnTo>
                    <a:pt x="372" y="288"/>
                  </a:lnTo>
                  <a:lnTo>
                    <a:pt x="372" y="290"/>
                  </a:lnTo>
                  <a:lnTo>
                    <a:pt x="372" y="290"/>
                  </a:lnTo>
                  <a:lnTo>
                    <a:pt x="373" y="291"/>
                  </a:lnTo>
                  <a:lnTo>
                    <a:pt x="373" y="290"/>
                  </a:lnTo>
                  <a:lnTo>
                    <a:pt x="375" y="290"/>
                  </a:lnTo>
                  <a:lnTo>
                    <a:pt x="375" y="291"/>
                  </a:lnTo>
                  <a:lnTo>
                    <a:pt x="375" y="291"/>
                  </a:lnTo>
                  <a:lnTo>
                    <a:pt x="376" y="290"/>
                  </a:lnTo>
                  <a:lnTo>
                    <a:pt x="376" y="290"/>
                  </a:lnTo>
                  <a:lnTo>
                    <a:pt x="376" y="290"/>
                  </a:lnTo>
                  <a:lnTo>
                    <a:pt x="378" y="290"/>
                  </a:lnTo>
                  <a:lnTo>
                    <a:pt x="378" y="290"/>
                  </a:lnTo>
                  <a:lnTo>
                    <a:pt x="378" y="288"/>
                  </a:lnTo>
                  <a:lnTo>
                    <a:pt x="378" y="288"/>
                  </a:lnTo>
                  <a:lnTo>
                    <a:pt x="378" y="287"/>
                  </a:lnTo>
                  <a:lnTo>
                    <a:pt x="378" y="287"/>
                  </a:lnTo>
                  <a:lnTo>
                    <a:pt x="376" y="287"/>
                  </a:lnTo>
                  <a:lnTo>
                    <a:pt x="376" y="285"/>
                  </a:lnTo>
                  <a:lnTo>
                    <a:pt x="375" y="284"/>
                  </a:lnTo>
                  <a:lnTo>
                    <a:pt x="372" y="282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70" y="276"/>
                  </a:lnTo>
                  <a:lnTo>
                    <a:pt x="368" y="276"/>
                  </a:lnTo>
                  <a:lnTo>
                    <a:pt x="368" y="274"/>
                  </a:lnTo>
                  <a:lnTo>
                    <a:pt x="362" y="271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3"/>
                  </a:lnTo>
                  <a:lnTo>
                    <a:pt x="361" y="274"/>
                  </a:lnTo>
                  <a:lnTo>
                    <a:pt x="361" y="276"/>
                  </a:lnTo>
                  <a:lnTo>
                    <a:pt x="361" y="277"/>
                  </a:lnTo>
                  <a:lnTo>
                    <a:pt x="361" y="277"/>
                  </a:lnTo>
                  <a:close/>
                  <a:moveTo>
                    <a:pt x="342" y="354"/>
                  </a:move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2" y="354"/>
                  </a:lnTo>
                  <a:lnTo>
                    <a:pt x="344" y="354"/>
                  </a:lnTo>
                  <a:lnTo>
                    <a:pt x="345" y="354"/>
                  </a:lnTo>
                  <a:lnTo>
                    <a:pt x="347" y="354"/>
                  </a:lnTo>
                  <a:lnTo>
                    <a:pt x="348" y="356"/>
                  </a:lnTo>
                  <a:lnTo>
                    <a:pt x="348" y="357"/>
                  </a:lnTo>
                  <a:lnTo>
                    <a:pt x="348" y="356"/>
                  </a:lnTo>
                  <a:lnTo>
                    <a:pt x="350" y="357"/>
                  </a:lnTo>
                  <a:lnTo>
                    <a:pt x="351" y="359"/>
                  </a:lnTo>
                  <a:lnTo>
                    <a:pt x="350" y="361"/>
                  </a:lnTo>
                  <a:lnTo>
                    <a:pt x="350" y="361"/>
                  </a:lnTo>
                  <a:lnTo>
                    <a:pt x="350" y="361"/>
                  </a:lnTo>
                  <a:lnTo>
                    <a:pt x="351" y="362"/>
                  </a:lnTo>
                  <a:lnTo>
                    <a:pt x="351" y="364"/>
                  </a:lnTo>
                  <a:lnTo>
                    <a:pt x="351" y="364"/>
                  </a:lnTo>
                  <a:lnTo>
                    <a:pt x="353" y="365"/>
                  </a:lnTo>
                  <a:lnTo>
                    <a:pt x="355" y="367"/>
                  </a:lnTo>
                  <a:lnTo>
                    <a:pt x="355" y="367"/>
                  </a:lnTo>
                  <a:lnTo>
                    <a:pt x="356" y="365"/>
                  </a:lnTo>
                  <a:lnTo>
                    <a:pt x="356" y="365"/>
                  </a:lnTo>
                  <a:lnTo>
                    <a:pt x="355" y="364"/>
                  </a:lnTo>
                  <a:lnTo>
                    <a:pt x="356" y="362"/>
                  </a:lnTo>
                  <a:lnTo>
                    <a:pt x="358" y="362"/>
                  </a:lnTo>
                  <a:lnTo>
                    <a:pt x="359" y="362"/>
                  </a:lnTo>
                  <a:lnTo>
                    <a:pt x="359" y="362"/>
                  </a:lnTo>
                  <a:lnTo>
                    <a:pt x="361" y="365"/>
                  </a:lnTo>
                  <a:lnTo>
                    <a:pt x="362" y="367"/>
                  </a:lnTo>
                  <a:lnTo>
                    <a:pt x="362" y="367"/>
                  </a:lnTo>
                  <a:lnTo>
                    <a:pt x="362" y="367"/>
                  </a:lnTo>
                  <a:lnTo>
                    <a:pt x="364" y="367"/>
                  </a:lnTo>
                  <a:lnTo>
                    <a:pt x="365" y="367"/>
                  </a:lnTo>
                  <a:lnTo>
                    <a:pt x="367" y="365"/>
                  </a:lnTo>
                  <a:lnTo>
                    <a:pt x="368" y="365"/>
                  </a:lnTo>
                  <a:lnTo>
                    <a:pt x="370" y="364"/>
                  </a:lnTo>
                  <a:lnTo>
                    <a:pt x="370" y="359"/>
                  </a:lnTo>
                  <a:lnTo>
                    <a:pt x="370" y="357"/>
                  </a:lnTo>
                  <a:lnTo>
                    <a:pt x="370" y="356"/>
                  </a:lnTo>
                  <a:lnTo>
                    <a:pt x="370" y="353"/>
                  </a:lnTo>
                  <a:lnTo>
                    <a:pt x="370" y="348"/>
                  </a:lnTo>
                  <a:lnTo>
                    <a:pt x="364" y="350"/>
                  </a:lnTo>
                  <a:lnTo>
                    <a:pt x="362" y="350"/>
                  </a:lnTo>
                  <a:lnTo>
                    <a:pt x="361" y="350"/>
                  </a:lnTo>
                  <a:lnTo>
                    <a:pt x="358" y="350"/>
                  </a:lnTo>
                  <a:lnTo>
                    <a:pt x="356" y="348"/>
                  </a:lnTo>
                  <a:lnTo>
                    <a:pt x="355" y="348"/>
                  </a:lnTo>
                  <a:lnTo>
                    <a:pt x="351" y="348"/>
                  </a:lnTo>
                  <a:lnTo>
                    <a:pt x="351" y="348"/>
                  </a:lnTo>
                  <a:lnTo>
                    <a:pt x="351" y="347"/>
                  </a:lnTo>
                  <a:lnTo>
                    <a:pt x="351" y="347"/>
                  </a:lnTo>
                  <a:lnTo>
                    <a:pt x="351" y="345"/>
                  </a:lnTo>
                  <a:lnTo>
                    <a:pt x="348" y="345"/>
                  </a:lnTo>
                  <a:lnTo>
                    <a:pt x="347" y="344"/>
                  </a:lnTo>
                  <a:lnTo>
                    <a:pt x="345" y="342"/>
                  </a:lnTo>
                  <a:lnTo>
                    <a:pt x="345" y="341"/>
                  </a:lnTo>
                  <a:lnTo>
                    <a:pt x="345" y="341"/>
                  </a:lnTo>
                  <a:lnTo>
                    <a:pt x="345" y="339"/>
                  </a:lnTo>
                  <a:lnTo>
                    <a:pt x="345" y="339"/>
                  </a:lnTo>
                  <a:lnTo>
                    <a:pt x="345" y="337"/>
                  </a:lnTo>
                  <a:lnTo>
                    <a:pt x="345" y="336"/>
                  </a:lnTo>
                  <a:lnTo>
                    <a:pt x="345" y="336"/>
                  </a:lnTo>
                  <a:lnTo>
                    <a:pt x="345" y="336"/>
                  </a:lnTo>
                  <a:lnTo>
                    <a:pt x="344" y="334"/>
                  </a:lnTo>
                  <a:lnTo>
                    <a:pt x="344" y="334"/>
                  </a:lnTo>
                  <a:lnTo>
                    <a:pt x="342" y="331"/>
                  </a:lnTo>
                  <a:lnTo>
                    <a:pt x="342" y="330"/>
                  </a:lnTo>
                  <a:lnTo>
                    <a:pt x="342" y="328"/>
                  </a:lnTo>
                  <a:lnTo>
                    <a:pt x="342" y="328"/>
                  </a:lnTo>
                  <a:lnTo>
                    <a:pt x="341" y="325"/>
                  </a:lnTo>
                  <a:lnTo>
                    <a:pt x="341" y="325"/>
                  </a:lnTo>
                  <a:lnTo>
                    <a:pt x="342" y="325"/>
                  </a:lnTo>
                  <a:lnTo>
                    <a:pt x="342" y="324"/>
                  </a:lnTo>
                  <a:lnTo>
                    <a:pt x="341" y="322"/>
                  </a:lnTo>
                  <a:lnTo>
                    <a:pt x="341" y="319"/>
                  </a:lnTo>
                  <a:lnTo>
                    <a:pt x="342" y="316"/>
                  </a:lnTo>
                  <a:lnTo>
                    <a:pt x="344" y="314"/>
                  </a:lnTo>
                  <a:lnTo>
                    <a:pt x="342" y="313"/>
                  </a:lnTo>
                  <a:lnTo>
                    <a:pt x="336" y="307"/>
                  </a:lnTo>
                  <a:lnTo>
                    <a:pt x="336" y="307"/>
                  </a:lnTo>
                  <a:lnTo>
                    <a:pt x="336" y="305"/>
                  </a:lnTo>
                  <a:lnTo>
                    <a:pt x="336" y="304"/>
                  </a:lnTo>
                  <a:lnTo>
                    <a:pt x="336" y="302"/>
                  </a:lnTo>
                  <a:lnTo>
                    <a:pt x="338" y="302"/>
                  </a:lnTo>
                  <a:lnTo>
                    <a:pt x="338" y="302"/>
                  </a:lnTo>
                  <a:lnTo>
                    <a:pt x="336" y="301"/>
                  </a:lnTo>
                  <a:lnTo>
                    <a:pt x="331" y="299"/>
                  </a:lnTo>
                  <a:lnTo>
                    <a:pt x="330" y="299"/>
                  </a:lnTo>
                  <a:lnTo>
                    <a:pt x="328" y="299"/>
                  </a:lnTo>
                  <a:lnTo>
                    <a:pt x="327" y="299"/>
                  </a:lnTo>
                  <a:lnTo>
                    <a:pt x="325" y="299"/>
                  </a:lnTo>
                  <a:lnTo>
                    <a:pt x="324" y="301"/>
                  </a:lnTo>
                  <a:lnTo>
                    <a:pt x="322" y="301"/>
                  </a:lnTo>
                  <a:lnTo>
                    <a:pt x="321" y="299"/>
                  </a:lnTo>
                  <a:lnTo>
                    <a:pt x="319" y="299"/>
                  </a:lnTo>
                  <a:lnTo>
                    <a:pt x="316" y="299"/>
                  </a:lnTo>
                  <a:lnTo>
                    <a:pt x="313" y="297"/>
                  </a:lnTo>
                  <a:lnTo>
                    <a:pt x="310" y="296"/>
                  </a:lnTo>
                  <a:lnTo>
                    <a:pt x="308" y="296"/>
                  </a:lnTo>
                  <a:lnTo>
                    <a:pt x="307" y="294"/>
                  </a:lnTo>
                  <a:lnTo>
                    <a:pt x="307" y="293"/>
                  </a:lnTo>
                  <a:lnTo>
                    <a:pt x="305" y="291"/>
                  </a:lnTo>
                  <a:lnTo>
                    <a:pt x="304" y="291"/>
                  </a:lnTo>
                  <a:lnTo>
                    <a:pt x="302" y="293"/>
                  </a:lnTo>
                  <a:lnTo>
                    <a:pt x="302" y="291"/>
                  </a:lnTo>
                  <a:lnTo>
                    <a:pt x="301" y="293"/>
                  </a:lnTo>
                  <a:lnTo>
                    <a:pt x="301" y="291"/>
                  </a:lnTo>
                  <a:lnTo>
                    <a:pt x="298" y="291"/>
                  </a:lnTo>
                  <a:lnTo>
                    <a:pt x="298" y="290"/>
                  </a:lnTo>
                  <a:lnTo>
                    <a:pt x="296" y="291"/>
                  </a:lnTo>
                  <a:lnTo>
                    <a:pt x="296" y="291"/>
                  </a:lnTo>
                  <a:lnTo>
                    <a:pt x="296" y="290"/>
                  </a:lnTo>
                  <a:lnTo>
                    <a:pt x="296" y="290"/>
                  </a:lnTo>
                  <a:lnTo>
                    <a:pt x="296" y="288"/>
                  </a:lnTo>
                  <a:lnTo>
                    <a:pt x="294" y="288"/>
                  </a:lnTo>
                  <a:lnTo>
                    <a:pt x="291" y="285"/>
                  </a:lnTo>
                  <a:lnTo>
                    <a:pt x="288" y="284"/>
                  </a:lnTo>
                  <a:lnTo>
                    <a:pt x="287" y="282"/>
                  </a:lnTo>
                  <a:lnTo>
                    <a:pt x="285" y="280"/>
                  </a:lnTo>
                  <a:lnTo>
                    <a:pt x="285" y="279"/>
                  </a:lnTo>
                  <a:lnTo>
                    <a:pt x="285" y="279"/>
                  </a:lnTo>
                  <a:lnTo>
                    <a:pt x="284" y="274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1" y="271"/>
                  </a:lnTo>
                  <a:lnTo>
                    <a:pt x="279" y="270"/>
                  </a:lnTo>
                  <a:lnTo>
                    <a:pt x="281" y="268"/>
                  </a:lnTo>
                  <a:lnTo>
                    <a:pt x="279" y="268"/>
                  </a:lnTo>
                  <a:lnTo>
                    <a:pt x="279" y="267"/>
                  </a:lnTo>
                  <a:lnTo>
                    <a:pt x="278" y="267"/>
                  </a:lnTo>
                  <a:lnTo>
                    <a:pt x="276" y="267"/>
                  </a:lnTo>
                  <a:lnTo>
                    <a:pt x="276" y="267"/>
                  </a:lnTo>
                  <a:lnTo>
                    <a:pt x="274" y="265"/>
                  </a:lnTo>
                  <a:lnTo>
                    <a:pt x="274" y="265"/>
                  </a:lnTo>
                  <a:lnTo>
                    <a:pt x="273" y="265"/>
                  </a:lnTo>
                  <a:lnTo>
                    <a:pt x="268" y="267"/>
                  </a:lnTo>
                  <a:lnTo>
                    <a:pt x="267" y="268"/>
                  </a:lnTo>
                  <a:lnTo>
                    <a:pt x="262" y="268"/>
                  </a:lnTo>
                  <a:lnTo>
                    <a:pt x="262" y="268"/>
                  </a:lnTo>
                  <a:lnTo>
                    <a:pt x="261" y="270"/>
                  </a:lnTo>
                  <a:lnTo>
                    <a:pt x="259" y="270"/>
                  </a:lnTo>
                  <a:lnTo>
                    <a:pt x="259" y="271"/>
                  </a:lnTo>
                  <a:lnTo>
                    <a:pt x="259" y="271"/>
                  </a:lnTo>
                  <a:lnTo>
                    <a:pt x="259" y="273"/>
                  </a:lnTo>
                  <a:lnTo>
                    <a:pt x="259" y="273"/>
                  </a:lnTo>
                  <a:lnTo>
                    <a:pt x="258" y="273"/>
                  </a:lnTo>
                  <a:lnTo>
                    <a:pt x="256" y="273"/>
                  </a:lnTo>
                  <a:lnTo>
                    <a:pt x="256" y="274"/>
                  </a:lnTo>
                  <a:lnTo>
                    <a:pt x="254" y="274"/>
                  </a:lnTo>
                  <a:lnTo>
                    <a:pt x="254" y="276"/>
                  </a:lnTo>
                  <a:lnTo>
                    <a:pt x="254" y="276"/>
                  </a:lnTo>
                  <a:lnTo>
                    <a:pt x="253" y="276"/>
                  </a:lnTo>
                  <a:lnTo>
                    <a:pt x="251" y="277"/>
                  </a:lnTo>
                  <a:lnTo>
                    <a:pt x="248" y="277"/>
                  </a:lnTo>
                  <a:lnTo>
                    <a:pt x="245" y="280"/>
                  </a:lnTo>
                  <a:lnTo>
                    <a:pt x="244" y="280"/>
                  </a:lnTo>
                  <a:lnTo>
                    <a:pt x="242" y="280"/>
                  </a:lnTo>
                  <a:lnTo>
                    <a:pt x="241" y="282"/>
                  </a:lnTo>
                  <a:lnTo>
                    <a:pt x="241" y="282"/>
                  </a:lnTo>
                  <a:lnTo>
                    <a:pt x="241" y="282"/>
                  </a:lnTo>
                  <a:lnTo>
                    <a:pt x="239" y="284"/>
                  </a:lnTo>
                  <a:lnTo>
                    <a:pt x="239" y="285"/>
                  </a:lnTo>
                  <a:lnTo>
                    <a:pt x="239" y="285"/>
                  </a:lnTo>
                  <a:lnTo>
                    <a:pt x="241" y="285"/>
                  </a:lnTo>
                  <a:lnTo>
                    <a:pt x="250" y="284"/>
                  </a:lnTo>
                  <a:lnTo>
                    <a:pt x="250" y="284"/>
                  </a:lnTo>
                  <a:lnTo>
                    <a:pt x="251" y="284"/>
                  </a:lnTo>
                  <a:lnTo>
                    <a:pt x="251" y="282"/>
                  </a:lnTo>
                  <a:lnTo>
                    <a:pt x="251" y="280"/>
                  </a:lnTo>
                  <a:lnTo>
                    <a:pt x="250" y="280"/>
                  </a:lnTo>
                  <a:lnTo>
                    <a:pt x="248" y="280"/>
                  </a:lnTo>
                  <a:lnTo>
                    <a:pt x="248" y="279"/>
                  </a:lnTo>
                  <a:lnTo>
                    <a:pt x="250" y="279"/>
                  </a:lnTo>
                  <a:lnTo>
                    <a:pt x="251" y="279"/>
                  </a:lnTo>
                  <a:lnTo>
                    <a:pt x="251" y="280"/>
                  </a:lnTo>
                  <a:lnTo>
                    <a:pt x="253" y="280"/>
                  </a:lnTo>
                  <a:lnTo>
                    <a:pt x="254" y="280"/>
                  </a:lnTo>
                  <a:lnTo>
                    <a:pt x="254" y="280"/>
                  </a:lnTo>
                  <a:lnTo>
                    <a:pt x="256" y="282"/>
                  </a:lnTo>
                  <a:lnTo>
                    <a:pt x="258" y="284"/>
                  </a:lnTo>
                  <a:lnTo>
                    <a:pt x="258" y="284"/>
                  </a:lnTo>
                  <a:lnTo>
                    <a:pt x="261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5" y="284"/>
                  </a:lnTo>
                  <a:lnTo>
                    <a:pt x="267" y="285"/>
                  </a:lnTo>
                  <a:lnTo>
                    <a:pt x="274" y="290"/>
                  </a:lnTo>
                  <a:lnTo>
                    <a:pt x="276" y="291"/>
                  </a:lnTo>
                  <a:lnTo>
                    <a:pt x="276" y="291"/>
                  </a:lnTo>
                  <a:lnTo>
                    <a:pt x="278" y="293"/>
                  </a:lnTo>
                  <a:lnTo>
                    <a:pt x="278" y="294"/>
                  </a:lnTo>
                  <a:lnTo>
                    <a:pt x="278" y="294"/>
                  </a:lnTo>
                  <a:lnTo>
                    <a:pt x="281" y="296"/>
                  </a:lnTo>
                  <a:lnTo>
                    <a:pt x="282" y="297"/>
                  </a:lnTo>
                  <a:lnTo>
                    <a:pt x="284" y="299"/>
                  </a:lnTo>
                  <a:lnTo>
                    <a:pt x="285" y="299"/>
                  </a:lnTo>
                  <a:lnTo>
                    <a:pt x="285" y="301"/>
                  </a:lnTo>
                  <a:lnTo>
                    <a:pt x="285" y="301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7" y="302"/>
                  </a:lnTo>
                  <a:lnTo>
                    <a:pt x="288" y="304"/>
                  </a:lnTo>
                  <a:lnTo>
                    <a:pt x="290" y="305"/>
                  </a:lnTo>
                  <a:lnTo>
                    <a:pt x="290" y="307"/>
                  </a:lnTo>
                  <a:lnTo>
                    <a:pt x="290" y="307"/>
                  </a:lnTo>
                  <a:lnTo>
                    <a:pt x="290" y="308"/>
                  </a:lnTo>
                  <a:lnTo>
                    <a:pt x="291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8" y="311"/>
                  </a:lnTo>
                  <a:lnTo>
                    <a:pt x="299" y="313"/>
                  </a:lnTo>
                  <a:lnTo>
                    <a:pt x="299" y="314"/>
                  </a:lnTo>
                  <a:lnTo>
                    <a:pt x="299" y="314"/>
                  </a:lnTo>
                  <a:lnTo>
                    <a:pt x="299" y="314"/>
                  </a:lnTo>
                  <a:lnTo>
                    <a:pt x="299" y="316"/>
                  </a:lnTo>
                  <a:lnTo>
                    <a:pt x="298" y="317"/>
                  </a:lnTo>
                  <a:lnTo>
                    <a:pt x="298" y="319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98" y="321"/>
                  </a:lnTo>
                  <a:lnTo>
                    <a:pt x="298" y="321"/>
                  </a:lnTo>
                  <a:lnTo>
                    <a:pt x="298" y="321"/>
                  </a:lnTo>
                  <a:lnTo>
                    <a:pt x="299" y="324"/>
                  </a:lnTo>
                  <a:lnTo>
                    <a:pt x="301" y="325"/>
                  </a:lnTo>
                  <a:lnTo>
                    <a:pt x="301" y="325"/>
                  </a:lnTo>
                  <a:lnTo>
                    <a:pt x="304" y="325"/>
                  </a:lnTo>
                  <a:lnTo>
                    <a:pt x="305" y="325"/>
                  </a:lnTo>
                  <a:lnTo>
                    <a:pt x="310" y="325"/>
                  </a:lnTo>
                  <a:lnTo>
                    <a:pt x="311" y="325"/>
                  </a:lnTo>
                  <a:lnTo>
                    <a:pt x="313" y="325"/>
                  </a:lnTo>
                  <a:lnTo>
                    <a:pt x="315" y="325"/>
                  </a:lnTo>
                  <a:lnTo>
                    <a:pt x="316" y="325"/>
                  </a:lnTo>
                  <a:lnTo>
                    <a:pt x="319" y="327"/>
                  </a:lnTo>
                  <a:lnTo>
                    <a:pt x="319" y="327"/>
                  </a:lnTo>
                  <a:lnTo>
                    <a:pt x="325" y="325"/>
                  </a:lnTo>
                  <a:lnTo>
                    <a:pt x="330" y="327"/>
                  </a:lnTo>
                  <a:lnTo>
                    <a:pt x="330" y="325"/>
                  </a:lnTo>
                  <a:lnTo>
                    <a:pt x="330" y="327"/>
                  </a:lnTo>
                  <a:lnTo>
                    <a:pt x="331" y="328"/>
                  </a:lnTo>
                  <a:lnTo>
                    <a:pt x="331" y="328"/>
                  </a:lnTo>
                  <a:lnTo>
                    <a:pt x="330" y="328"/>
                  </a:lnTo>
                  <a:lnTo>
                    <a:pt x="331" y="330"/>
                  </a:lnTo>
                  <a:lnTo>
                    <a:pt x="331" y="330"/>
                  </a:lnTo>
                  <a:lnTo>
                    <a:pt x="331" y="331"/>
                  </a:lnTo>
                  <a:lnTo>
                    <a:pt x="330" y="331"/>
                  </a:lnTo>
                  <a:lnTo>
                    <a:pt x="328" y="333"/>
                  </a:lnTo>
                  <a:lnTo>
                    <a:pt x="330" y="333"/>
                  </a:lnTo>
                  <a:lnTo>
                    <a:pt x="333" y="333"/>
                  </a:lnTo>
                  <a:lnTo>
                    <a:pt x="335" y="333"/>
                  </a:lnTo>
                  <a:lnTo>
                    <a:pt x="336" y="334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6" y="339"/>
                  </a:lnTo>
                  <a:lnTo>
                    <a:pt x="336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7"/>
                  </a:lnTo>
                  <a:lnTo>
                    <a:pt x="339" y="337"/>
                  </a:lnTo>
                  <a:lnTo>
                    <a:pt x="338" y="339"/>
                  </a:lnTo>
                  <a:lnTo>
                    <a:pt x="336" y="341"/>
                  </a:lnTo>
                  <a:lnTo>
                    <a:pt x="336" y="344"/>
                  </a:lnTo>
                  <a:lnTo>
                    <a:pt x="338" y="344"/>
                  </a:lnTo>
                  <a:lnTo>
                    <a:pt x="338" y="342"/>
                  </a:lnTo>
                  <a:lnTo>
                    <a:pt x="338" y="342"/>
                  </a:lnTo>
                  <a:lnTo>
                    <a:pt x="339" y="342"/>
                  </a:lnTo>
                  <a:lnTo>
                    <a:pt x="341" y="344"/>
                  </a:lnTo>
                  <a:lnTo>
                    <a:pt x="341" y="345"/>
                  </a:lnTo>
                  <a:lnTo>
                    <a:pt x="342" y="347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1" y="350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2" y="351"/>
                  </a:lnTo>
                  <a:lnTo>
                    <a:pt x="342" y="351"/>
                  </a:lnTo>
                  <a:lnTo>
                    <a:pt x="342" y="354"/>
                  </a:lnTo>
                  <a:lnTo>
                    <a:pt x="342" y="354"/>
                  </a:lnTo>
                  <a:close/>
                  <a:moveTo>
                    <a:pt x="284" y="254"/>
                  </a:moveTo>
                  <a:lnTo>
                    <a:pt x="284" y="254"/>
                  </a:lnTo>
                  <a:lnTo>
                    <a:pt x="285" y="256"/>
                  </a:lnTo>
                  <a:lnTo>
                    <a:pt x="285" y="256"/>
                  </a:lnTo>
                  <a:lnTo>
                    <a:pt x="287" y="256"/>
                  </a:lnTo>
                  <a:lnTo>
                    <a:pt x="287" y="254"/>
                  </a:lnTo>
                  <a:lnTo>
                    <a:pt x="288" y="253"/>
                  </a:lnTo>
                  <a:lnTo>
                    <a:pt x="290" y="253"/>
                  </a:lnTo>
                  <a:lnTo>
                    <a:pt x="290" y="251"/>
                  </a:lnTo>
                  <a:lnTo>
                    <a:pt x="290" y="250"/>
                  </a:lnTo>
                  <a:lnTo>
                    <a:pt x="288" y="250"/>
                  </a:lnTo>
                  <a:lnTo>
                    <a:pt x="287" y="248"/>
                  </a:lnTo>
                  <a:lnTo>
                    <a:pt x="287" y="248"/>
                  </a:lnTo>
                  <a:lnTo>
                    <a:pt x="285" y="250"/>
                  </a:lnTo>
                  <a:lnTo>
                    <a:pt x="284" y="251"/>
                  </a:lnTo>
                  <a:lnTo>
                    <a:pt x="284" y="251"/>
                  </a:lnTo>
                  <a:lnTo>
                    <a:pt x="284" y="253"/>
                  </a:lnTo>
                  <a:lnTo>
                    <a:pt x="282" y="253"/>
                  </a:lnTo>
                  <a:lnTo>
                    <a:pt x="282" y="253"/>
                  </a:lnTo>
                  <a:lnTo>
                    <a:pt x="281" y="254"/>
                  </a:lnTo>
                  <a:lnTo>
                    <a:pt x="282" y="254"/>
                  </a:lnTo>
                  <a:lnTo>
                    <a:pt x="282" y="254"/>
                  </a:lnTo>
                  <a:lnTo>
                    <a:pt x="284" y="254"/>
                  </a:lnTo>
                  <a:close/>
                  <a:moveTo>
                    <a:pt x="304" y="254"/>
                  </a:moveTo>
                  <a:lnTo>
                    <a:pt x="302" y="253"/>
                  </a:lnTo>
                  <a:lnTo>
                    <a:pt x="299" y="251"/>
                  </a:lnTo>
                  <a:lnTo>
                    <a:pt x="298" y="248"/>
                  </a:lnTo>
                  <a:lnTo>
                    <a:pt x="298" y="248"/>
                  </a:lnTo>
                  <a:lnTo>
                    <a:pt x="298" y="248"/>
                  </a:lnTo>
                  <a:lnTo>
                    <a:pt x="296" y="248"/>
                  </a:lnTo>
                  <a:lnTo>
                    <a:pt x="296" y="248"/>
                  </a:lnTo>
                  <a:lnTo>
                    <a:pt x="296" y="248"/>
                  </a:lnTo>
                  <a:lnTo>
                    <a:pt x="298" y="253"/>
                  </a:lnTo>
                  <a:lnTo>
                    <a:pt x="298" y="254"/>
                  </a:lnTo>
                  <a:lnTo>
                    <a:pt x="299" y="254"/>
                  </a:lnTo>
                  <a:lnTo>
                    <a:pt x="301" y="257"/>
                  </a:lnTo>
                  <a:lnTo>
                    <a:pt x="302" y="257"/>
                  </a:lnTo>
                  <a:lnTo>
                    <a:pt x="302" y="257"/>
                  </a:lnTo>
                  <a:lnTo>
                    <a:pt x="301" y="259"/>
                  </a:lnTo>
                  <a:lnTo>
                    <a:pt x="301" y="259"/>
                  </a:lnTo>
                  <a:lnTo>
                    <a:pt x="302" y="260"/>
                  </a:lnTo>
                  <a:lnTo>
                    <a:pt x="304" y="260"/>
                  </a:lnTo>
                  <a:lnTo>
                    <a:pt x="305" y="260"/>
                  </a:lnTo>
                  <a:lnTo>
                    <a:pt x="305" y="262"/>
                  </a:lnTo>
                  <a:lnTo>
                    <a:pt x="307" y="260"/>
                  </a:lnTo>
                  <a:lnTo>
                    <a:pt x="308" y="260"/>
                  </a:lnTo>
                  <a:lnTo>
                    <a:pt x="311" y="257"/>
                  </a:lnTo>
                  <a:lnTo>
                    <a:pt x="311" y="257"/>
                  </a:lnTo>
                  <a:lnTo>
                    <a:pt x="310" y="256"/>
                  </a:lnTo>
                  <a:lnTo>
                    <a:pt x="307" y="256"/>
                  </a:lnTo>
                  <a:lnTo>
                    <a:pt x="307" y="256"/>
                  </a:lnTo>
                  <a:lnTo>
                    <a:pt x="307" y="254"/>
                  </a:lnTo>
                  <a:lnTo>
                    <a:pt x="304" y="254"/>
                  </a:lnTo>
                  <a:close/>
                  <a:moveTo>
                    <a:pt x="42" y="248"/>
                  </a:moveTo>
                  <a:lnTo>
                    <a:pt x="40" y="247"/>
                  </a:lnTo>
                  <a:lnTo>
                    <a:pt x="39" y="245"/>
                  </a:lnTo>
                  <a:lnTo>
                    <a:pt x="37" y="247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40" y="251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3" y="250"/>
                  </a:lnTo>
                  <a:lnTo>
                    <a:pt x="42" y="248"/>
                  </a:lnTo>
                  <a:close/>
                  <a:moveTo>
                    <a:pt x="324" y="242"/>
                  </a:moveTo>
                  <a:lnTo>
                    <a:pt x="324" y="242"/>
                  </a:lnTo>
                  <a:lnTo>
                    <a:pt x="324" y="240"/>
                  </a:lnTo>
                  <a:lnTo>
                    <a:pt x="322" y="242"/>
                  </a:lnTo>
                  <a:lnTo>
                    <a:pt x="318" y="248"/>
                  </a:lnTo>
                  <a:lnTo>
                    <a:pt x="318" y="251"/>
                  </a:lnTo>
                  <a:lnTo>
                    <a:pt x="316" y="253"/>
                  </a:lnTo>
                  <a:lnTo>
                    <a:pt x="315" y="253"/>
                  </a:lnTo>
                  <a:lnTo>
                    <a:pt x="315" y="254"/>
                  </a:lnTo>
                  <a:lnTo>
                    <a:pt x="316" y="254"/>
                  </a:lnTo>
                  <a:lnTo>
                    <a:pt x="319" y="253"/>
                  </a:lnTo>
                  <a:lnTo>
                    <a:pt x="321" y="251"/>
                  </a:lnTo>
                  <a:lnTo>
                    <a:pt x="322" y="248"/>
                  </a:lnTo>
                  <a:lnTo>
                    <a:pt x="322" y="247"/>
                  </a:lnTo>
                  <a:lnTo>
                    <a:pt x="324" y="245"/>
                  </a:lnTo>
                  <a:lnTo>
                    <a:pt x="324" y="242"/>
                  </a:lnTo>
                  <a:lnTo>
                    <a:pt x="322" y="242"/>
                  </a:lnTo>
                  <a:lnTo>
                    <a:pt x="322" y="242"/>
                  </a:lnTo>
                  <a:lnTo>
                    <a:pt x="324" y="242"/>
                  </a:lnTo>
                  <a:close/>
                  <a:moveTo>
                    <a:pt x="330" y="239"/>
                  </a:moveTo>
                  <a:lnTo>
                    <a:pt x="331" y="240"/>
                  </a:lnTo>
                  <a:lnTo>
                    <a:pt x="333" y="239"/>
                  </a:lnTo>
                  <a:lnTo>
                    <a:pt x="333" y="237"/>
                  </a:lnTo>
                  <a:lnTo>
                    <a:pt x="333" y="236"/>
                  </a:lnTo>
                  <a:lnTo>
                    <a:pt x="333" y="236"/>
                  </a:lnTo>
                  <a:lnTo>
                    <a:pt x="333" y="234"/>
                  </a:lnTo>
                  <a:lnTo>
                    <a:pt x="331" y="236"/>
                  </a:lnTo>
                  <a:lnTo>
                    <a:pt x="331" y="236"/>
                  </a:lnTo>
                  <a:lnTo>
                    <a:pt x="331" y="234"/>
                  </a:lnTo>
                  <a:lnTo>
                    <a:pt x="331" y="234"/>
                  </a:lnTo>
                  <a:lnTo>
                    <a:pt x="331" y="234"/>
                  </a:lnTo>
                  <a:lnTo>
                    <a:pt x="330" y="234"/>
                  </a:lnTo>
                  <a:lnTo>
                    <a:pt x="330" y="236"/>
                  </a:lnTo>
                  <a:lnTo>
                    <a:pt x="330" y="237"/>
                  </a:lnTo>
                  <a:lnTo>
                    <a:pt x="330" y="237"/>
                  </a:lnTo>
                  <a:lnTo>
                    <a:pt x="330" y="239"/>
                  </a:lnTo>
                  <a:lnTo>
                    <a:pt x="331" y="239"/>
                  </a:lnTo>
                  <a:lnTo>
                    <a:pt x="330" y="239"/>
                  </a:lnTo>
                  <a:lnTo>
                    <a:pt x="330" y="239"/>
                  </a:lnTo>
                  <a:close/>
                  <a:moveTo>
                    <a:pt x="516" y="270"/>
                  </a:moveTo>
                  <a:lnTo>
                    <a:pt x="516" y="270"/>
                  </a:lnTo>
                  <a:lnTo>
                    <a:pt x="516" y="270"/>
                  </a:lnTo>
                  <a:lnTo>
                    <a:pt x="516" y="268"/>
                  </a:lnTo>
                  <a:lnTo>
                    <a:pt x="516" y="268"/>
                  </a:lnTo>
                  <a:lnTo>
                    <a:pt x="515" y="267"/>
                  </a:lnTo>
                  <a:lnTo>
                    <a:pt x="512" y="262"/>
                  </a:lnTo>
                  <a:lnTo>
                    <a:pt x="509" y="260"/>
                  </a:lnTo>
                  <a:lnTo>
                    <a:pt x="509" y="259"/>
                  </a:lnTo>
                  <a:lnTo>
                    <a:pt x="509" y="257"/>
                  </a:lnTo>
                  <a:lnTo>
                    <a:pt x="512" y="257"/>
                  </a:lnTo>
                  <a:lnTo>
                    <a:pt x="513" y="259"/>
                  </a:lnTo>
                  <a:lnTo>
                    <a:pt x="513" y="260"/>
                  </a:lnTo>
                  <a:lnTo>
                    <a:pt x="513" y="260"/>
                  </a:lnTo>
                  <a:lnTo>
                    <a:pt x="515" y="260"/>
                  </a:lnTo>
                  <a:lnTo>
                    <a:pt x="515" y="262"/>
                  </a:lnTo>
                  <a:lnTo>
                    <a:pt x="515" y="262"/>
                  </a:lnTo>
                  <a:lnTo>
                    <a:pt x="513" y="262"/>
                  </a:lnTo>
                  <a:lnTo>
                    <a:pt x="513" y="264"/>
                  </a:lnTo>
                  <a:lnTo>
                    <a:pt x="513" y="264"/>
                  </a:lnTo>
                  <a:lnTo>
                    <a:pt x="513" y="264"/>
                  </a:lnTo>
                  <a:lnTo>
                    <a:pt x="515" y="265"/>
                  </a:lnTo>
                  <a:lnTo>
                    <a:pt x="513" y="265"/>
                  </a:lnTo>
                  <a:lnTo>
                    <a:pt x="515" y="267"/>
                  </a:lnTo>
                  <a:lnTo>
                    <a:pt x="515" y="267"/>
                  </a:lnTo>
                  <a:lnTo>
                    <a:pt x="516" y="267"/>
                  </a:lnTo>
                  <a:lnTo>
                    <a:pt x="518" y="267"/>
                  </a:lnTo>
                  <a:lnTo>
                    <a:pt x="519" y="268"/>
                  </a:lnTo>
                  <a:lnTo>
                    <a:pt x="521" y="267"/>
                  </a:lnTo>
                  <a:lnTo>
                    <a:pt x="521" y="265"/>
                  </a:lnTo>
                  <a:lnTo>
                    <a:pt x="521" y="264"/>
                  </a:lnTo>
                  <a:lnTo>
                    <a:pt x="519" y="264"/>
                  </a:lnTo>
                  <a:lnTo>
                    <a:pt x="518" y="262"/>
                  </a:lnTo>
                  <a:lnTo>
                    <a:pt x="518" y="259"/>
                  </a:lnTo>
                  <a:lnTo>
                    <a:pt x="518" y="257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6" y="256"/>
                  </a:lnTo>
                  <a:lnTo>
                    <a:pt x="515" y="254"/>
                  </a:lnTo>
                  <a:lnTo>
                    <a:pt x="515" y="254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13" y="251"/>
                  </a:lnTo>
                  <a:lnTo>
                    <a:pt x="513" y="251"/>
                  </a:lnTo>
                  <a:lnTo>
                    <a:pt x="510" y="247"/>
                  </a:lnTo>
                  <a:lnTo>
                    <a:pt x="510" y="247"/>
                  </a:lnTo>
                  <a:lnTo>
                    <a:pt x="510" y="247"/>
                  </a:lnTo>
                  <a:lnTo>
                    <a:pt x="507" y="245"/>
                  </a:lnTo>
                  <a:lnTo>
                    <a:pt x="504" y="242"/>
                  </a:lnTo>
                  <a:lnTo>
                    <a:pt x="504" y="242"/>
                  </a:lnTo>
                  <a:lnTo>
                    <a:pt x="506" y="237"/>
                  </a:lnTo>
                  <a:lnTo>
                    <a:pt x="507" y="237"/>
                  </a:lnTo>
                  <a:lnTo>
                    <a:pt x="506" y="236"/>
                  </a:lnTo>
                  <a:lnTo>
                    <a:pt x="502" y="236"/>
                  </a:lnTo>
                  <a:lnTo>
                    <a:pt x="502" y="234"/>
                  </a:lnTo>
                  <a:lnTo>
                    <a:pt x="502" y="233"/>
                  </a:lnTo>
                  <a:lnTo>
                    <a:pt x="501" y="233"/>
                  </a:lnTo>
                  <a:lnTo>
                    <a:pt x="487" y="233"/>
                  </a:lnTo>
                  <a:lnTo>
                    <a:pt x="489" y="234"/>
                  </a:lnTo>
                  <a:lnTo>
                    <a:pt x="489" y="237"/>
                  </a:lnTo>
                  <a:lnTo>
                    <a:pt x="487" y="237"/>
                  </a:lnTo>
                  <a:lnTo>
                    <a:pt x="485" y="239"/>
                  </a:lnTo>
                  <a:lnTo>
                    <a:pt x="482" y="239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9" y="240"/>
                  </a:lnTo>
                  <a:lnTo>
                    <a:pt x="478" y="240"/>
                  </a:lnTo>
                  <a:lnTo>
                    <a:pt x="478" y="240"/>
                  </a:lnTo>
                  <a:lnTo>
                    <a:pt x="478" y="242"/>
                  </a:lnTo>
                  <a:lnTo>
                    <a:pt x="476" y="242"/>
                  </a:lnTo>
                  <a:lnTo>
                    <a:pt x="473" y="242"/>
                  </a:lnTo>
                  <a:lnTo>
                    <a:pt x="470" y="242"/>
                  </a:lnTo>
                  <a:lnTo>
                    <a:pt x="470" y="240"/>
                  </a:lnTo>
                  <a:lnTo>
                    <a:pt x="469" y="240"/>
                  </a:lnTo>
                  <a:lnTo>
                    <a:pt x="469" y="240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4" y="245"/>
                  </a:lnTo>
                  <a:lnTo>
                    <a:pt x="464" y="245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7"/>
                  </a:lnTo>
                  <a:lnTo>
                    <a:pt x="464" y="248"/>
                  </a:lnTo>
                  <a:lnTo>
                    <a:pt x="464" y="248"/>
                  </a:lnTo>
                  <a:lnTo>
                    <a:pt x="464" y="248"/>
                  </a:lnTo>
                  <a:lnTo>
                    <a:pt x="464" y="250"/>
                  </a:lnTo>
                  <a:lnTo>
                    <a:pt x="464" y="251"/>
                  </a:lnTo>
                  <a:lnTo>
                    <a:pt x="462" y="251"/>
                  </a:lnTo>
                  <a:lnTo>
                    <a:pt x="462" y="251"/>
                  </a:lnTo>
                  <a:lnTo>
                    <a:pt x="464" y="253"/>
                  </a:lnTo>
                  <a:lnTo>
                    <a:pt x="467" y="254"/>
                  </a:lnTo>
                  <a:lnTo>
                    <a:pt x="469" y="256"/>
                  </a:lnTo>
                  <a:lnTo>
                    <a:pt x="470" y="256"/>
                  </a:lnTo>
                  <a:lnTo>
                    <a:pt x="470" y="256"/>
                  </a:lnTo>
                  <a:lnTo>
                    <a:pt x="472" y="257"/>
                  </a:lnTo>
                  <a:lnTo>
                    <a:pt x="472" y="257"/>
                  </a:lnTo>
                  <a:lnTo>
                    <a:pt x="478" y="260"/>
                  </a:lnTo>
                  <a:lnTo>
                    <a:pt x="479" y="260"/>
                  </a:lnTo>
                  <a:lnTo>
                    <a:pt x="481" y="259"/>
                  </a:lnTo>
                  <a:lnTo>
                    <a:pt x="482" y="259"/>
                  </a:lnTo>
                  <a:lnTo>
                    <a:pt x="485" y="254"/>
                  </a:lnTo>
                  <a:lnTo>
                    <a:pt x="485" y="254"/>
                  </a:lnTo>
                  <a:lnTo>
                    <a:pt x="487" y="251"/>
                  </a:lnTo>
                  <a:lnTo>
                    <a:pt x="489" y="250"/>
                  </a:lnTo>
                  <a:lnTo>
                    <a:pt x="489" y="250"/>
                  </a:lnTo>
                  <a:lnTo>
                    <a:pt x="490" y="250"/>
                  </a:lnTo>
                  <a:lnTo>
                    <a:pt x="492" y="248"/>
                  </a:lnTo>
                  <a:lnTo>
                    <a:pt x="493" y="250"/>
                  </a:lnTo>
                  <a:lnTo>
                    <a:pt x="495" y="250"/>
                  </a:lnTo>
                  <a:lnTo>
                    <a:pt x="496" y="250"/>
                  </a:lnTo>
                  <a:lnTo>
                    <a:pt x="496" y="251"/>
                  </a:lnTo>
                  <a:lnTo>
                    <a:pt x="498" y="251"/>
                  </a:lnTo>
                  <a:lnTo>
                    <a:pt x="496" y="253"/>
                  </a:lnTo>
                  <a:lnTo>
                    <a:pt x="496" y="253"/>
                  </a:lnTo>
                  <a:lnTo>
                    <a:pt x="495" y="254"/>
                  </a:lnTo>
                  <a:lnTo>
                    <a:pt x="492" y="256"/>
                  </a:lnTo>
                  <a:lnTo>
                    <a:pt x="492" y="256"/>
                  </a:lnTo>
                  <a:lnTo>
                    <a:pt x="490" y="256"/>
                  </a:lnTo>
                  <a:lnTo>
                    <a:pt x="490" y="256"/>
                  </a:lnTo>
                  <a:lnTo>
                    <a:pt x="489" y="257"/>
                  </a:lnTo>
                  <a:lnTo>
                    <a:pt x="487" y="259"/>
                  </a:lnTo>
                  <a:lnTo>
                    <a:pt x="487" y="259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4" y="260"/>
                  </a:lnTo>
                  <a:lnTo>
                    <a:pt x="482" y="260"/>
                  </a:lnTo>
                  <a:lnTo>
                    <a:pt x="482" y="260"/>
                  </a:lnTo>
                  <a:lnTo>
                    <a:pt x="482" y="260"/>
                  </a:lnTo>
                  <a:lnTo>
                    <a:pt x="482" y="262"/>
                  </a:lnTo>
                  <a:lnTo>
                    <a:pt x="482" y="262"/>
                  </a:lnTo>
                  <a:lnTo>
                    <a:pt x="484" y="262"/>
                  </a:lnTo>
                  <a:lnTo>
                    <a:pt x="485" y="265"/>
                  </a:lnTo>
                  <a:lnTo>
                    <a:pt x="487" y="267"/>
                  </a:lnTo>
                  <a:lnTo>
                    <a:pt x="487" y="267"/>
                  </a:lnTo>
                  <a:lnTo>
                    <a:pt x="492" y="267"/>
                  </a:lnTo>
                  <a:lnTo>
                    <a:pt x="496" y="268"/>
                  </a:lnTo>
                  <a:lnTo>
                    <a:pt x="498" y="268"/>
                  </a:lnTo>
                  <a:lnTo>
                    <a:pt x="499" y="270"/>
                  </a:lnTo>
                  <a:lnTo>
                    <a:pt x="501" y="270"/>
                  </a:lnTo>
                  <a:lnTo>
                    <a:pt x="504" y="271"/>
                  </a:lnTo>
                  <a:lnTo>
                    <a:pt x="506" y="271"/>
                  </a:lnTo>
                  <a:lnTo>
                    <a:pt x="507" y="271"/>
                  </a:lnTo>
                  <a:lnTo>
                    <a:pt x="512" y="271"/>
                  </a:lnTo>
                  <a:lnTo>
                    <a:pt x="515" y="271"/>
                  </a:lnTo>
                  <a:lnTo>
                    <a:pt x="516" y="270"/>
                  </a:lnTo>
                  <a:lnTo>
                    <a:pt x="516" y="270"/>
                  </a:lnTo>
                  <a:close/>
                  <a:moveTo>
                    <a:pt x="399" y="219"/>
                  </a:moveTo>
                  <a:lnTo>
                    <a:pt x="399" y="224"/>
                  </a:lnTo>
                  <a:lnTo>
                    <a:pt x="401" y="224"/>
                  </a:lnTo>
                  <a:lnTo>
                    <a:pt x="404" y="219"/>
                  </a:lnTo>
                  <a:lnTo>
                    <a:pt x="404" y="216"/>
                  </a:lnTo>
                  <a:lnTo>
                    <a:pt x="402" y="214"/>
                  </a:lnTo>
                  <a:lnTo>
                    <a:pt x="401" y="214"/>
                  </a:lnTo>
                  <a:lnTo>
                    <a:pt x="401" y="214"/>
                  </a:lnTo>
                  <a:lnTo>
                    <a:pt x="401" y="216"/>
                  </a:lnTo>
                  <a:lnTo>
                    <a:pt x="401" y="216"/>
                  </a:lnTo>
                  <a:lnTo>
                    <a:pt x="399" y="217"/>
                  </a:lnTo>
                  <a:lnTo>
                    <a:pt x="399" y="219"/>
                  </a:lnTo>
                  <a:close/>
                  <a:moveTo>
                    <a:pt x="36" y="231"/>
                  </a:moveTo>
                  <a:lnTo>
                    <a:pt x="36" y="228"/>
                  </a:lnTo>
                  <a:lnTo>
                    <a:pt x="36" y="227"/>
                  </a:lnTo>
                  <a:lnTo>
                    <a:pt x="34" y="227"/>
                  </a:lnTo>
                  <a:lnTo>
                    <a:pt x="34" y="225"/>
                  </a:lnTo>
                  <a:lnTo>
                    <a:pt x="34" y="227"/>
                  </a:lnTo>
                  <a:lnTo>
                    <a:pt x="33" y="227"/>
                  </a:lnTo>
                  <a:lnTo>
                    <a:pt x="31" y="227"/>
                  </a:lnTo>
                  <a:lnTo>
                    <a:pt x="31" y="227"/>
                  </a:lnTo>
                  <a:lnTo>
                    <a:pt x="28" y="225"/>
                  </a:lnTo>
                  <a:lnTo>
                    <a:pt x="28" y="225"/>
                  </a:lnTo>
                  <a:lnTo>
                    <a:pt x="25" y="225"/>
                  </a:lnTo>
                  <a:lnTo>
                    <a:pt x="25" y="224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2" y="213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23" y="211"/>
                  </a:lnTo>
                  <a:lnTo>
                    <a:pt x="23" y="208"/>
                  </a:lnTo>
                  <a:lnTo>
                    <a:pt x="22" y="208"/>
                  </a:lnTo>
                  <a:lnTo>
                    <a:pt x="17" y="207"/>
                  </a:lnTo>
                  <a:lnTo>
                    <a:pt x="17" y="205"/>
                  </a:lnTo>
                  <a:lnTo>
                    <a:pt x="19" y="205"/>
                  </a:lnTo>
                  <a:lnTo>
                    <a:pt x="19" y="205"/>
                  </a:lnTo>
                  <a:lnTo>
                    <a:pt x="17" y="205"/>
                  </a:lnTo>
                  <a:lnTo>
                    <a:pt x="17" y="204"/>
                  </a:lnTo>
                  <a:lnTo>
                    <a:pt x="16" y="202"/>
                  </a:lnTo>
                  <a:lnTo>
                    <a:pt x="17" y="202"/>
                  </a:lnTo>
                  <a:lnTo>
                    <a:pt x="17" y="200"/>
                  </a:lnTo>
                  <a:lnTo>
                    <a:pt x="22" y="199"/>
                  </a:lnTo>
                  <a:lnTo>
                    <a:pt x="23" y="197"/>
                  </a:lnTo>
                  <a:lnTo>
                    <a:pt x="25" y="196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94"/>
                  </a:lnTo>
                  <a:lnTo>
                    <a:pt x="23" y="194"/>
                  </a:lnTo>
                  <a:lnTo>
                    <a:pt x="23" y="193"/>
                  </a:lnTo>
                  <a:lnTo>
                    <a:pt x="22" y="193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19" y="191"/>
                  </a:lnTo>
                  <a:lnTo>
                    <a:pt x="19" y="190"/>
                  </a:lnTo>
                  <a:lnTo>
                    <a:pt x="17" y="190"/>
                  </a:lnTo>
                  <a:lnTo>
                    <a:pt x="16" y="191"/>
                  </a:lnTo>
                  <a:lnTo>
                    <a:pt x="14" y="191"/>
                  </a:lnTo>
                  <a:lnTo>
                    <a:pt x="11" y="193"/>
                  </a:lnTo>
                  <a:lnTo>
                    <a:pt x="5" y="193"/>
                  </a:lnTo>
                  <a:lnTo>
                    <a:pt x="3" y="193"/>
                  </a:lnTo>
                  <a:lnTo>
                    <a:pt x="3" y="193"/>
                  </a:lnTo>
                  <a:lnTo>
                    <a:pt x="2" y="196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3" y="199"/>
                  </a:lnTo>
                  <a:lnTo>
                    <a:pt x="3" y="200"/>
                  </a:lnTo>
                  <a:lnTo>
                    <a:pt x="3" y="199"/>
                  </a:lnTo>
                  <a:lnTo>
                    <a:pt x="5" y="200"/>
                  </a:lnTo>
                  <a:lnTo>
                    <a:pt x="5" y="202"/>
                  </a:lnTo>
                  <a:lnTo>
                    <a:pt x="5" y="204"/>
                  </a:lnTo>
                  <a:lnTo>
                    <a:pt x="5" y="204"/>
                  </a:lnTo>
                  <a:lnTo>
                    <a:pt x="6" y="204"/>
                  </a:lnTo>
                  <a:lnTo>
                    <a:pt x="8" y="204"/>
                  </a:lnTo>
                  <a:lnTo>
                    <a:pt x="8" y="205"/>
                  </a:lnTo>
                  <a:lnTo>
                    <a:pt x="10" y="210"/>
                  </a:lnTo>
                  <a:lnTo>
                    <a:pt x="11" y="210"/>
                  </a:lnTo>
                  <a:lnTo>
                    <a:pt x="13" y="211"/>
                  </a:lnTo>
                  <a:lnTo>
                    <a:pt x="14" y="213"/>
                  </a:lnTo>
                  <a:lnTo>
                    <a:pt x="16" y="214"/>
                  </a:lnTo>
                  <a:lnTo>
                    <a:pt x="17" y="216"/>
                  </a:lnTo>
                  <a:lnTo>
                    <a:pt x="17" y="220"/>
                  </a:lnTo>
                  <a:lnTo>
                    <a:pt x="17" y="222"/>
                  </a:lnTo>
                  <a:lnTo>
                    <a:pt x="19" y="224"/>
                  </a:lnTo>
                  <a:lnTo>
                    <a:pt x="20" y="225"/>
                  </a:lnTo>
                  <a:lnTo>
                    <a:pt x="19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3" y="227"/>
                  </a:lnTo>
                  <a:lnTo>
                    <a:pt x="23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7" y="228"/>
                  </a:lnTo>
                  <a:lnTo>
                    <a:pt x="28" y="230"/>
                  </a:lnTo>
                  <a:lnTo>
                    <a:pt x="28" y="231"/>
                  </a:lnTo>
                  <a:lnTo>
                    <a:pt x="30" y="231"/>
                  </a:lnTo>
                  <a:lnTo>
                    <a:pt x="31" y="231"/>
                  </a:lnTo>
                  <a:lnTo>
                    <a:pt x="33" y="231"/>
                  </a:lnTo>
                  <a:lnTo>
                    <a:pt x="34" y="233"/>
                  </a:lnTo>
                  <a:lnTo>
                    <a:pt x="36" y="233"/>
                  </a:lnTo>
                  <a:lnTo>
                    <a:pt x="36" y="234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6" y="231"/>
                  </a:lnTo>
                  <a:close/>
                  <a:moveTo>
                    <a:pt x="421" y="174"/>
                  </a:moveTo>
                  <a:lnTo>
                    <a:pt x="421" y="174"/>
                  </a:lnTo>
                  <a:lnTo>
                    <a:pt x="419" y="173"/>
                  </a:lnTo>
                  <a:lnTo>
                    <a:pt x="418" y="171"/>
                  </a:lnTo>
                  <a:lnTo>
                    <a:pt x="413" y="173"/>
                  </a:lnTo>
                  <a:lnTo>
                    <a:pt x="413" y="173"/>
                  </a:lnTo>
                  <a:lnTo>
                    <a:pt x="412" y="173"/>
                  </a:lnTo>
                  <a:lnTo>
                    <a:pt x="412" y="173"/>
                  </a:lnTo>
                  <a:lnTo>
                    <a:pt x="412" y="173"/>
                  </a:lnTo>
                  <a:lnTo>
                    <a:pt x="410" y="171"/>
                  </a:lnTo>
                  <a:lnTo>
                    <a:pt x="405" y="173"/>
                  </a:lnTo>
                  <a:lnTo>
                    <a:pt x="404" y="173"/>
                  </a:lnTo>
                  <a:lnTo>
                    <a:pt x="404" y="174"/>
                  </a:lnTo>
                  <a:lnTo>
                    <a:pt x="404" y="174"/>
                  </a:lnTo>
                  <a:lnTo>
                    <a:pt x="404" y="176"/>
                  </a:lnTo>
                  <a:lnTo>
                    <a:pt x="404" y="176"/>
                  </a:lnTo>
                  <a:lnTo>
                    <a:pt x="404" y="177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5" y="180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2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5" y="183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5" y="187"/>
                  </a:lnTo>
                  <a:lnTo>
                    <a:pt x="404" y="188"/>
                  </a:lnTo>
                  <a:lnTo>
                    <a:pt x="404" y="188"/>
                  </a:lnTo>
                  <a:lnTo>
                    <a:pt x="405" y="188"/>
                  </a:lnTo>
                  <a:lnTo>
                    <a:pt x="405" y="188"/>
                  </a:lnTo>
                  <a:lnTo>
                    <a:pt x="410" y="187"/>
                  </a:lnTo>
                  <a:lnTo>
                    <a:pt x="410" y="187"/>
                  </a:lnTo>
                  <a:lnTo>
                    <a:pt x="410" y="187"/>
                  </a:lnTo>
                  <a:lnTo>
                    <a:pt x="410" y="188"/>
                  </a:lnTo>
                  <a:lnTo>
                    <a:pt x="410" y="188"/>
                  </a:lnTo>
                  <a:lnTo>
                    <a:pt x="412" y="188"/>
                  </a:lnTo>
                  <a:lnTo>
                    <a:pt x="412" y="188"/>
                  </a:lnTo>
                  <a:lnTo>
                    <a:pt x="412" y="187"/>
                  </a:lnTo>
                  <a:lnTo>
                    <a:pt x="413" y="187"/>
                  </a:lnTo>
                  <a:lnTo>
                    <a:pt x="413" y="187"/>
                  </a:lnTo>
                  <a:lnTo>
                    <a:pt x="413" y="188"/>
                  </a:lnTo>
                  <a:lnTo>
                    <a:pt x="412" y="190"/>
                  </a:lnTo>
                  <a:lnTo>
                    <a:pt x="415" y="191"/>
                  </a:lnTo>
                  <a:lnTo>
                    <a:pt x="415" y="191"/>
                  </a:lnTo>
                  <a:lnTo>
                    <a:pt x="416" y="191"/>
                  </a:lnTo>
                  <a:lnTo>
                    <a:pt x="418" y="191"/>
                  </a:lnTo>
                  <a:lnTo>
                    <a:pt x="416" y="190"/>
                  </a:lnTo>
                  <a:lnTo>
                    <a:pt x="416" y="188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8"/>
                  </a:lnTo>
                  <a:lnTo>
                    <a:pt x="415" y="187"/>
                  </a:lnTo>
                  <a:lnTo>
                    <a:pt x="415" y="185"/>
                  </a:lnTo>
                  <a:lnTo>
                    <a:pt x="416" y="183"/>
                  </a:lnTo>
                  <a:lnTo>
                    <a:pt x="418" y="183"/>
                  </a:lnTo>
                  <a:lnTo>
                    <a:pt x="418" y="183"/>
                  </a:lnTo>
                  <a:lnTo>
                    <a:pt x="416" y="183"/>
                  </a:lnTo>
                  <a:lnTo>
                    <a:pt x="416" y="183"/>
                  </a:lnTo>
                  <a:lnTo>
                    <a:pt x="416" y="183"/>
                  </a:lnTo>
                  <a:lnTo>
                    <a:pt x="419" y="180"/>
                  </a:lnTo>
                  <a:lnTo>
                    <a:pt x="419" y="180"/>
                  </a:lnTo>
                  <a:lnTo>
                    <a:pt x="421" y="180"/>
                  </a:lnTo>
                  <a:lnTo>
                    <a:pt x="421" y="182"/>
                  </a:lnTo>
                  <a:lnTo>
                    <a:pt x="422" y="183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19" y="187"/>
                  </a:lnTo>
                  <a:lnTo>
                    <a:pt x="419" y="187"/>
                  </a:lnTo>
                  <a:lnTo>
                    <a:pt x="421" y="188"/>
                  </a:lnTo>
                  <a:lnTo>
                    <a:pt x="422" y="190"/>
                  </a:lnTo>
                  <a:lnTo>
                    <a:pt x="422" y="190"/>
                  </a:lnTo>
                  <a:lnTo>
                    <a:pt x="422" y="190"/>
                  </a:lnTo>
                  <a:lnTo>
                    <a:pt x="422" y="191"/>
                  </a:lnTo>
                  <a:lnTo>
                    <a:pt x="424" y="191"/>
                  </a:lnTo>
                  <a:lnTo>
                    <a:pt x="425" y="193"/>
                  </a:lnTo>
                  <a:lnTo>
                    <a:pt x="425" y="193"/>
                  </a:lnTo>
                  <a:lnTo>
                    <a:pt x="427" y="193"/>
                  </a:lnTo>
                  <a:lnTo>
                    <a:pt x="427" y="193"/>
                  </a:lnTo>
                  <a:lnTo>
                    <a:pt x="427" y="191"/>
                  </a:lnTo>
                  <a:lnTo>
                    <a:pt x="427" y="191"/>
                  </a:lnTo>
                  <a:lnTo>
                    <a:pt x="428" y="191"/>
                  </a:lnTo>
                  <a:lnTo>
                    <a:pt x="428" y="190"/>
                  </a:lnTo>
                  <a:lnTo>
                    <a:pt x="428" y="190"/>
                  </a:lnTo>
                  <a:lnTo>
                    <a:pt x="428" y="190"/>
                  </a:lnTo>
                  <a:lnTo>
                    <a:pt x="427" y="188"/>
                  </a:lnTo>
                  <a:lnTo>
                    <a:pt x="427" y="188"/>
                  </a:lnTo>
                  <a:lnTo>
                    <a:pt x="427" y="187"/>
                  </a:lnTo>
                  <a:lnTo>
                    <a:pt x="427" y="185"/>
                  </a:lnTo>
                  <a:lnTo>
                    <a:pt x="425" y="185"/>
                  </a:lnTo>
                  <a:lnTo>
                    <a:pt x="427" y="183"/>
                  </a:lnTo>
                  <a:lnTo>
                    <a:pt x="427" y="183"/>
                  </a:lnTo>
                  <a:lnTo>
                    <a:pt x="428" y="182"/>
                  </a:lnTo>
                  <a:lnTo>
                    <a:pt x="428" y="182"/>
                  </a:lnTo>
                  <a:lnTo>
                    <a:pt x="427" y="182"/>
                  </a:lnTo>
                  <a:lnTo>
                    <a:pt x="427" y="180"/>
                  </a:lnTo>
                  <a:lnTo>
                    <a:pt x="428" y="180"/>
                  </a:lnTo>
                  <a:lnTo>
                    <a:pt x="428" y="180"/>
                  </a:lnTo>
                  <a:lnTo>
                    <a:pt x="430" y="180"/>
                  </a:lnTo>
                  <a:lnTo>
                    <a:pt x="430" y="177"/>
                  </a:lnTo>
                  <a:lnTo>
                    <a:pt x="430" y="176"/>
                  </a:lnTo>
                  <a:lnTo>
                    <a:pt x="433" y="174"/>
                  </a:lnTo>
                  <a:lnTo>
                    <a:pt x="435" y="174"/>
                  </a:lnTo>
                  <a:lnTo>
                    <a:pt x="435" y="173"/>
                  </a:lnTo>
                  <a:lnTo>
                    <a:pt x="435" y="173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1"/>
                  </a:lnTo>
                  <a:lnTo>
                    <a:pt x="433" y="170"/>
                  </a:lnTo>
                  <a:lnTo>
                    <a:pt x="435" y="170"/>
                  </a:lnTo>
                  <a:lnTo>
                    <a:pt x="432" y="170"/>
                  </a:lnTo>
                  <a:lnTo>
                    <a:pt x="432" y="171"/>
                  </a:lnTo>
                  <a:lnTo>
                    <a:pt x="430" y="171"/>
                  </a:lnTo>
                  <a:lnTo>
                    <a:pt x="430" y="171"/>
                  </a:lnTo>
                  <a:lnTo>
                    <a:pt x="428" y="171"/>
                  </a:lnTo>
                  <a:lnTo>
                    <a:pt x="427" y="174"/>
                  </a:lnTo>
                  <a:lnTo>
                    <a:pt x="427" y="174"/>
                  </a:lnTo>
                  <a:lnTo>
                    <a:pt x="425" y="176"/>
                  </a:lnTo>
                  <a:lnTo>
                    <a:pt x="424" y="176"/>
                  </a:lnTo>
                  <a:lnTo>
                    <a:pt x="422" y="177"/>
                  </a:lnTo>
                  <a:lnTo>
                    <a:pt x="422" y="176"/>
                  </a:lnTo>
                  <a:lnTo>
                    <a:pt x="421" y="174"/>
                  </a:lnTo>
                  <a:close/>
                  <a:moveTo>
                    <a:pt x="452" y="127"/>
                  </a:moveTo>
                  <a:lnTo>
                    <a:pt x="452" y="125"/>
                  </a:lnTo>
                  <a:lnTo>
                    <a:pt x="450" y="125"/>
                  </a:lnTo>
                  <a:lnTo>
                    <a:pt x="444" y="122"/>
                  </a:lnTo>
                  <a:lnTo>
                    <a:pt x="441" y="122"/>
                  </a:lnTo>
                  <a:lnTo>
                    <a:pt x="439" y="123"/>
                  </a:lnTo>
                  <a:lnTo>
                    <a:pt x="435" y="127"/>
                  </a:lnTo>
                  <a:lnTo>
                    <a:pt x="433" y="127"/>
                  </a:lnTo>
                  <a:lnTo>
                    <a:pt x="435" y="127"/>
                  </a:lnTo>
                  <a:lnTo>
                    <a:pt x="436" y="128"/>
                  </a:lnTo>
                  <a:lnTo>
                    <a:pt x="441" y="133"/>
                  </a:lnTo>
                  <a:lnTo>
                    <a:pt x="442" y="134"/>
                  </a:lnTo>
                  <a:lnTo>
                    <a:pt x="445" y="134"/>
                  </a:lnTo>
                  <a:lnTo>
                    <a:pt x="452" y="131"/>
                  </a:lnTo>
                  <a:lnTo>
                    <a:pt x="453" y="131"/>
                  </a:lnTo>
                  <a:lnTo>
                    <a:pt x="452" y="130"/>
                  </a:lnTo>
                  <a:lnTo>
                    <a:pt x="453" y="128"/>
                  </a:lnTo>
                  <a:lnTo>
                    <a:pt x="452" y="127"/>
                  </a:lnTo>
                  <a:close/>
                  <a:moveTo>
                    <a:pt x="385" y="102"/>
                  </a:moveTo>
                  <a:lnTo>
                    <a:pt x="385" y="100"/>
                  </a:lnTo>
                  <a:lnTo>
                    <a:pt x="384" y="100"/>
                  </a:lnTo>
                  <a:lnTo>
                    <a:pt x="384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1" y="97"/>
                  </a:lnTo>
                  <a:lnTo>
                    <a:pt x="381" y="97"/>
                  </a:lnTo>
                  <a:lnTo>
                    <a:pt x="381" y="96"/>
                  </a:lnTo>
                  <a:lnTo>
                    <a:pt x="379" y="96"/>
                  </a:lnTo>
                  <a:lnTo>
                    <a:pt x="376" y="96"/>
                  </a:lnTo>
                  <a:lnTo>
                    <a:pt x="375" y="94"/>
                  </a:lnTo>
                  <a:lnTo>
                    <a:pt x="368" y="99"/>
                  </a:lnTo>
                  <a:lnTo>
                    <a:pt x="365" y="103"/>
                  </a:lnTo>
                  <a:lnTo>
                    <a:pt x="365" y="105"/>
                  </a:lnTo>
                  <a:lnTo>
                    <a:pt x="364" y="108"/>
                  </a:lnTo>
                  <a:lnTo>
                    <a:pt x="365" y="111"/>
                  </a:lnTo>
                  <a:lnTo>
                    <a:pt x="365" y="111"/>
                  </a:lnTo>
                  <a:lnTo>
                    <a:pt x="367" y="111"/>
                  </a:lnTo>
                  <a:lnTo>
                    <a:pt x="370" y="111"/>
                  </a:lnTo>
                  <a:lnTo>
                    <a:pt x="370" y="113"/>
                  </a:lnTo>
                  <a:lnTo>
                    <a:pt x="372" y="113"/>
                  </a:lnTo>
                  <a:lnTo>
                    <a:pt x="372" y="113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3" y="116"/>
                  </a:lnTo>
                  <a:lnTo>
                    <a:pt x="375" y="116"/>
                  </a:lnTo>
                  <a:lnTo>
                    <a:pt x="375" y="117"/>
                  </a:lnTo>
                  <a:lnTo>
                    <a:pt x="375" y="117"/>
                  </a:lnTo>
                  <a:lnTo>
                    <a:pt x="378" y="114"/>
                  </a:lnTo>
                  <a:lnTo>
                    <a:pt x="378" y="114"/>
                  </a:lnTo>
                  <a:lnTo>
                    <a:pt x="381" y="114"/>
                  </a:lnTo>
                  <a:lnTo>
                    <a:pt x="382" y="114"/>
                  </a:lnTo>
                  <a:lnTo>
                    <a:pt x="382" y="113"/>
                  </a:lnTo>
                  <a:lnTo>
                    <a:pt x="382" y="113"/>
                  </a:lnTo>
                  <a:lnTo>
                    <a:pt x="384" y="113"/>
                  </a:lnTo>
                  <a:lnTo>
                    <a:pt x="384" y="113"/>
                  </a:lnTo>
                  <a:lnTo>
                    <a:pt x="385" y="113"/>
                  </a:lnTo>
                  <a:lnTo>
                    <a:pt x="384" y="111"/>
                  </a:lnTo>
                  <a:lnTo>
                    <a:pt x="384" y="111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5" y="105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2" y="102"/>
                  </a:lnTo>
                  <a:lnTo>
                    <a:pt x="384" y="102"/>
                  </a:lnTo>
                  <a:lnTo>
                    <a:pt x="385" y="102"/>
                  </a:lnTo>
                  <a:close/>
                  <a:moveTo>
                    <a:pt x="271" y="424"/>
                  </a:moveTo>
                  <a:lnTo>
                    <a:pt x="271" y="424"/>
                  </a:lnTo>
                  <a:lnTo>
                    <a:pt x="271" y="424"/>
                  </a:lnTo>
                  <a:lnTo>
                    <a:pt x="271" y="422"/>
                  </a:lnTo>
                  <a:lnTo>
                    <a:pt x="270" y="422"/>
                  </a:lnTo>
                  <a:lnTo>
                    <a:pt x="270" y="422"/>
                  </a:lnTo>
                  <a:lnTo>
                    <a:pt x="268" y="422"/>
                  </a:lnTo>
                  <a:lnTo>
                    <a:pt x="268" y="421"/>
                  </a:lnTo>
                  <a:lnTo>
                    <a:pt x="271" y="421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4" y="419"/>
                  </a:lnTo>
                  <a:lnTo>
                    <a:pt x="276" y="419"/>
                  </a:lnTo>
                  <a:lnTo>
                    <a:pt x="285" y="418"/>
                  </a:lnTo>
                  <a:lnTo>
                    <a:pt x="285" y="418"/>
                  </a:lnTo>
                  <a:lnTo>
                    <a:pt x="290" y="418"/>
                  </a:lnTo>
                  <a:lnTo>
                    <a:pt x="291" y="416"/>
                  </a:lnTo>
                  <a:lnTo>
                    <a:pt x="291" y="416"/>
                  </a:lnTo>
                  <a:lnTo>
                    <a:pt x="291" y="414"/>
                  </a:lnTo>
                  <a:lnTo>
                    <a:pt x="290" y="414"/>
                  </a:lnTo>
                  <a:lnTo>
                    <a:pt x="291" y="414"/>
                  </a:lnTo>
                  <a:lnTo>
                    <a:pt x="291" y="414"/>
                  </a:lnTo>
                  <a:lnTo>
                    <a:pt x="288" y="411"/>
                  </a:lnTo>
                  <a:lnTo>
                    <a:pt x="287" y="411"/>
                  </a:lnTo>
                  <a:lnTo>
                    <a:pt x="284" y="410"/>
                  </a:lnTo>
                  <a:lnTo>
                    <a:pt x="282" y="410"/>
                  </a:lnTo>
                  <a:lnTo>
                    <a:pt x="282" y="408"/>
                  </a:lnTo>
                  <a:lnTo>
                    <a:pt x="281" y="408"/>
                  </a:lnTo>
                  <a:lnTo>
                    <a:pt x="281" y="408"/>
                  </a:lnTo>
                  <a:lnTo>
                    <a:pt x="282" y="408"/>
                  </a:lnTo>
                  <a:lnTo>
                    <a:pt x="284" y="408"/>
                  </a:lnTo>
                  <a:lnTo>
                    <a:pt x="284" y="407"/>
                  </a:lnTo>
                  <a:lnTo>
                    <a:pt x="282" y="407"/>
                  </a:lnTo>
                  <a:lnTo>
                    <a:pt x="281" y="407"/>
                  </a:lnTo>
                  <a:lnTo>
                    <a:pt x="281" y="405"/>
                  </a:lnTo>
                  <a:lnTo>
                    <a:pt x="279" y="405"/>
                  </a:lnTo>
                  <a:lnTo>
                    <a:pt x="281" y="404"/>
                  </a:lnTo>
                  <a:lnTo>
                    <a:pt x="282" y="401"/>
                  </a:lnTo>
                  <a:lnTo>
                    <a:pt x="282" y="399"/>
                  </a:lnTo>
                  <a:lnTo>
                    <a:pt x="282" y="398"/>
                  </a:lnTo>
                  <a:lnTo>
                    <a:pt x="278" y="398"/>
                  </a:lnTo>
                  <a:lnTo>
                    <a:pt x="276" y="399"/>
                  </a:lnTo>
                  <a:lnTo>
                    <a:pt x="274" y="399"/>
                  </a:lnTo>
                  <a:lnTo>
                    <a:pt x="274" y="401"/>
                  </a:lnTo>
                  <a:lnTo>
                    <a:pt x="278" y="401"/>
                  </a:lnTo>
                  <a:lnTo>
                    <a:pt x="279" y="404"/>
                  </a:lnTo>
                  <a:lnTo>
                    <a:pt x="279" y="405"/>
                  </a:lnTo>
                  <a:lnTo>
                    <a:pt x="278" y="407"/>
                  </a:lnTo>
                  <a:lnTo>
                    <a:pt x="276" y="407"/>
                  </a:lnTo>
                  <a:lnTo>
                    <a:pt x="274" y="407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3" y="405"/>
                  </a:lnTo>
                  <a:lnTo>
                    <a:pt x="270" y="402"/>
                  </a:lnTo>
                  <a:lnTo>
                    <a:pt x="268" y="402"/>
                  </a:lnTo>
                  <a:lnTo>
                    <a:pt x="267" y="401"/>
                  </a:lnTo>
                  <a:lnTo>
                    <a:pt x="265" y="399"/>
                  </a:lnTo>
                  <a:lnTo>
                    <a:pt x="264" y="399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4" y="394"/>
                  </a:lnTo>
                  <a:lnTo>
                    <a:pt x="264" y="393"/>
                  </a:lnTo>
                  <a:lnTo>
                    <a:pt x="264" y="391"/>
                  </a:lnTo>
                  <a:lnTo>
                    <a:pt x="265" y="390"/>
                  </a:lnTo>
                  <a:lnTo>
                    <a:pt x="264" y="390"/>
                  </a:lnTo>
                  <a:lnTo>
                    <a:pt x="262" y="390"/>
                  </a:lnTo>
                  <a:lnTo>
                    <a:pt x="261" y="388"/>
                  </a:lnTo>
                  <a:lnTo>
                    <a:pt x="261" y="387"/>
                  </a:lnTo>
                  <a:lnTo>
                    <a:pt x="261" y="387"/>
                  </a:lnTo>
                  <a:lnTo>
                    <a:pt x="262" y="385"/>
                  </a:lnTo>
                  <a:lnTo>
                    <a:pt x="264" y="385"/>
                  </a:lnTo>
                  <a:lnTo>
                    <a:pt x="265" y="385"/>
                  </a:lnTo>
                  <a:lnTo>
                    <a:pt x="265" y="385"/>
                  </a:lnTo>
                  <a:lnTo>
                    <a:pt x="265" y="384"/>
                  </a:lnTo>
                  <a:lnTo>
                    <a:pt x="265" y="384"/>
                  </a:lnTo>
                  <a:lnTo>
                    <a:pt x="265" y="382"/>
                  </a:lnTo>
                  <a:lnTo>
                    <a:pt x="265" y="382"/>
                  </a:lnTo>
                  <a:lnTo>
                    <a:pt x="264" y="381"/>
                  </a:lnTo>
                  <a:lnTo>
                    <a:pt x="262" y="379"/>
                  </a:lnTo>
                  <a:lnTo>
                    <a:pt x="261" y="378"/>
                  </a:lnTo>
                  <a:lnTo>
                    <a:pt x="259" y="378"/>
                  </a:lnTo>
                  <a:lnTo>
                    <a:pt x="258" y="379"/>
                  </a:lnTo>
                  <a:lnTo>
                    <a:pt x="256" y="378"/>
                  </a:lnTo>
                  <a:lnTo>
                    <a:pt x="254" y="378"/>
                  </a:lnTo>
                  <a:lnTo>
                    <a:pt x="253" y="378"/>
                  </a:lnTo>
                  <a:lnTo>
                    <a:pt x="251" y="376"/>
                  </a:lnTo>
                  <a:lnTo>
                    <a:pt x="251" y="374"/>
                  </a:lnTo>
                  <a:lnTo>
                    <a:pt x="251" y="373"/>
                  </a:lnTo>
                  <a:lnTo>
                    <a:pt x="253" y="373"/>
                  </a:lnTo>
                  <a:lnTo>
                    <a:pt x="253" y="371"/>
                  </a:lnTo>
                  <a:lnTo>
                    <a:pt x="253" y="371"/>
                  </a:lnTo>
                  <a:lnTo>
                    <a:pt x="253" y="370"/>
                  </a:lnTo>
                  <a:lnTo>
                    <a:pt x="254" y="371"/>
                  </a:lnTo>
                  <a:lnTo>
                    <a:pt x="254" y="371"/>
                  </a:lnTo>
                  <a:lnTo>
                    <a:pt x="254" y="371"/>
                  </a:lnTo>
                  <a:lnTo>
                    <a:pt x="256" y="370"/>
                  </a:lnTo>
                  <a:lnTo>
                    <a:pt x="259" y="371"/>
                  </a:lnTo>
                  <a:lnTo>
                    <a:pt x="262" y="370"/>
                  </a:lnTo>
                  <a:lnTo>
                    <a:pt x="264" y="370"/>
                  </a:lnTo>
                  <a:lnTo>
                    <a:pt x="267" y="367"/>
                  </a:lnTo>
                  <a:lnTo>
                    <a:pt x="268" y="365"/>
                  </a:lnTo>
                  <a:lnTo>
                    <a:pt x="276" y="365"/>
                  </a:lnTo>
                  <a:lnTo>
                    <a:pt x="282" y="365"/>
                  </a:lnTo>
                  <a:lnTo>
                    <a:pt x="284" y="365"/>
                  </a:lnTo>
                  <a:lnTo>
                    <a:pt x="281" y="365"/>
                  </a:lnTo>
                  <a:lnTo>
                    <a:pt x="282" y="364"/>
                  </a:lnTo>
                  <a:lnTo>
                    <a:pt x="285" y="362"/>
                  </a:lnTo>
                  <a:lnTo>
                    <a:pt x="287" y="361"/>
                  </a:lnTo>
                  <a:lnTo>
                    <a:pt x="287" y="361"/>
                  </a:lnTo>
                  <a:lnTo>
                    <a:pt x="288" y="361"/>
                  </a:lnTo>
                  <a:lnTo>
                    <a:pt x="290" y="361"/>
                  </a:lnTo>
                  <a:lnTo>
                    <a:pt x="290" y="361"/>
                  </a:lnTo>
                  <a:lnTo>
                    <a:pt x="290" y="359"/>
                  </a:lnTo>
                  <a:lnTo>
                    <a:pt x="291" y="359"/>
                  </a:lnTo>
                  <a:lnTo>
                    <a:pt x="293" y="359"/>
                  </a:lnTo>
                  <a:lnTo>
                    <a:pt x="294" y="359"/>
                  </a:lnTo>
                  <a:lnTo>
                    <a:pt x="294" y="359"/>
                  </a:lnTo>
                  <a:lnTo>
                    <a:pt x="294" y="359"/>
                  </a:lnTo>
                  <a:lnTo>
                    <a:pt x="296" y="361"/>
                  </a:lnTo>
                  <a:lnTo>
                    <a:pt x="296" y="362"/>
                  </a:lnTo>
                  <a:lnTo>
                    <a:pt x="296" y="362"/>
                  </a:lnTo>
                  <a:lnTo>
                    <a:pt x="293" y="365"/>
                  </a:lnTo>
                  <a:lnTo>
                    <a:pt x="293" y="367"/>
                  </a:lnTo>
                  <a:lnTo>
                    <a:pt x="294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8" y="367"/>
                  </a:lnTo>
                  <a:lnTo>
                    <a:pt x="298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299" y="370"/>
                  </a:lnTo>
                  <a:lnTo>
                    <a:pt x="299" y="370"/>
                  </a:lnTo>
                  <a:lnTo>
                    <a:pt x="299" y="370"/>
                  </a:lnTo>
                  <a:lnTo>
                    <a:pt x="301" y="370"/>
                  </a:lnTo>
                  <a:lnTo>
                    <a:pt x="301" y="368"/>
                  </a:lnTo>
                  <a:lnTo>
                    <a:pt x="302" y="368"/>
                  </a:lnTo>
                  <a:lnTo>
                    <a:pt x="304" y="370"/>
                  </a:lnTo>
                  <a:lnTo>
                    <a:pt x="304" y="370"/>
                  </a:lnTo>
                  <a:lnTo>
                    <a:pt x="307" y="374"/>
                  </a:lnTo>
                  <a:lnTo>
                    <a:pt x="307" y="378"/>
                  </a:lnTo>
                  <a:lnTo>
                    <a:pt x="308" y="379"/>
                  </a:lnTo>
                  <a:lnTo>
                    <a:pt x="310" y="379"/>
                  </a:lnTo>
                  <a:lnTo>
                    <a:pt x="308" y="381"/>
                  </a:lnTo>
                  <a:lnTo>
                    <a:pt x="310" y="381"/>
                  </a:lnTo>
                  <a:lnTo>
                    <a:pt x="310" y="381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1"/>
                  </a:lnTo>
                  <a:lnTo>
                    <a:pt x="311" y="382"/>
                  </a:lnTo>
                  <a:lnTo>
                    <a:pt x="311" y="382"/>
                  </a:lnTo>
                  <a:lnTo>
                    <a:pt x="313" y="379"/>
                  </a:lnTo>
                  <a:lnTo>
                    <a:pt x="313" y="379"/>
                  </a:lnTo>
                  <a:lnTo>
                    <a:pt x="313" y="381"/>
                  </a:lnTo>
                  <a:lnTo>
                    <a:pt x="313" y="381"/>
                  </a:lnTo>
                  <a:lnTo>
                    <a:pt x="313" y="381"/>
                  </a:lnTo>
                  <a:lnTo>
                    <a:pt x="315" y="381"/>
                  </a:lnTo>
                  <a:lnTo>
                    <a:pt x="315" y="381"/>
                  </a:lnTo>
                  <a:lnTo>
                    <a:pt x="316" y="382"/>
                  </a:lnTo>
                  <a:lnTo>
                    <a:pt x="318" y="384"/>
                  </a:lnTo>
                  <a:lnTo>
                    <a:pt x="318" y="385"/>
                  </a:lnTo>
                  <a:lnTo>
                    <a:pt x="319" y="384"/>
                  </a:lnTo>
                  <a:lnTo>
                    <a:pt x="319" y="384"/>
                  </a:lnTo>
                  <a:lnTo>
                    <a:pt x="321" y="388"/>
                  </a:lnTo>
                  <a:lnTo>
                    <a:pt x="321" y="390"/>
                  </a:lnTo>
                  <a:lnTo>
                    <a:pt x="322" y="390"/>
                  </a:lnTo>
                  <a:lnTo>
                    <a:pt x="322" y="390"/>
                  </a:lnTo>
                  <a:lnTo>
                    <a:pt x="322" y="393"/>
                  </a:lnTo>
                  <a:lnTo>
                    <a:pt x="322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8" y="396"/>
                  </a:lnTo>
                  <a:lnTo>
                    <a:pt x="328" y="396"/>
                  </a:lnTo>
                  <a:lnTo>
                    <a:pt x="330" y="394"/>
                  </a:lnTo>
                  <a:lnTo>
                    <a:pt x="331" y="393"/>
                  </a:lnTo>
                  <a:lnTo>
                    <a:pt x="331" y="393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1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88"/>
                  </a:lnTo>
                  <a:lnTo>
                    <a:pt x="333" y="387"/>
                  </a:lnTo>
                  <a:lnTo>
                    <a:pt x="333" y="385"/>
                  </a:lnTo>
                  <a:lnTo>
                    <a:pt x="333" y="384"/>
                  </a:lnTo>
                  <a:lnTo>
                    <a:pt x="333" y="382"/>
                  </a:lnTo>
                  <a:lnTo>
                    <a:pt x="331" y="381"/>
                  </a:lnTo>
                  <a:lnTo>
                    <a:pt x="330" y="381"/>
                  </a:lnTo>
                  <a:lnTo>
                    <a:pt x="330" y="379"/>
                  </a:lnTo>
                  <a:lnTo>
                    <a:pt x="330" y="379"/>
                  </a:lnTo>
                  <a:lnTo>
                    <a:pt x="331" y="379"/>
                  </a:lnTo>
                  <a:lnTo>
                    <a:pt x="331" y="379"/>
                  </a:lnTo>
                  <a:lnTo>
                    <a:pt x="331" y="378"/>
                  </a:lnTo>
                  <a:lnTo>
                    <a:pt x="331" y="378"/>
                  </a:lnTo>
                  <a:lnTo>
                    <a:pt x="331" y="378"/>
                  </a:lnTo>
                  <a:lnTo>
                    <a:pt x="331" y="376"/>
                  </a:lnTo>
                  <a:lnTo>
                    <a:pt x="330" y="376"/>
                  </a:lnTo>
                  <a:lnTo>
                    <a:pt x="330" y="376"/>
                  </a:lnTo>
                  <a:lnTo>
                    <a:pt x="330" y="374"/>
                  </a:lnTo>
                  <a:lnTo>
                    <a:pt x="330" y="374"/>
                  </a:lnTo>
                  <a:lnTo>
                    <a:pt x="328" y="374"/>
                  </a:lnTo>
                  <a:lnTo>
                    <a:pt x="328" y="374"/>
                  </a:lnTo>
                  <a:lnTo>
                    <a:pt x="327" y="373"/>
                  </a:lnTo>
                  <a:lnTo>
                    <a:pt x="330" y="373"/>
                  </a:lnTo>
                  <a:lnTo>
                    <a:pt x="330" y="373"/>
                  </a:lnTo>
                  <a:lnTo>
                    <a:pt x="330" y="371"/>
                  </a:lnTo>
                  <a:lnTo>
                    <a:pt x="328" y="371"/>
                  </a:lnTo>
                  <a:lnTo>
                    <a:pt x="328" y="370"/>
                  </a:lnTo>
                  <a:lnTo>
                    <a:pt x="327" y="370"/>
                  </a:lnTo>
                  <a:lnTo>
                    <a:pt x="327" y="370"/>
                  </a:lnTo>
                  <a:lnTo>
                    <a:pt x="327" y="368"/>
                  </a:lnTo>
                  <a:lnTo>
                    <a:pt x="327" y="367"/>
                  </a:lnTo>
                  <a:lnTo>
                    <a:pt x="327" y="367"/>
                  </a:lnTo>
                  <a:lnTo>
                    <a:pt x="328" y="365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8" y="362"/>
                  </a:lnTo>
                  <a:lnTo>
                    <a:pt x="328" y="361"/>
                  </a:lnTo>
                  <a:lnTo>
                    <a:pt x="327" y="359"/>
                  </a:lnTo>
                  <a:lnTo>
                    <a:pt x="327" y="357"/>
                  </a:lnTo>
                  <a:lnTo>
                    <a:pt x="325" y="354"/>
                  </a:lnTo>
                  <a:lnTo>
                    <a:pt x="325" y="351"/>
                  </a:lnTo>
                  <a:lnTo>
                    <a:pt x="330" y="350"/>
                  </a:lnTo>
                  <a:lnTo>
                    <a:pt x="330" y="350"/>
                  </a:lnTo>
                  <a:lnTo>
                    <a:pt x="331" y="351"/>
                  </a:lnTo>
                  <a:lnTo>
                    <a:pt x="331" y="350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3" y="348"/>
                  </a:lnTo>
                  <a:lnTo>
                    <a:pt x="331" y="347"/>
                  </a:lnTo>
                  <a:lnTo>
                    <a:pt x="331" y="347"/>
                  </a:lnTo>
                  <a:lnTo>
                    <a:pt x="331" y="345"/>
                  </a:lnTo>
                  <a:lnTo>
                    <a:pt x="331" y="345"/>
                  </a:lnTo>
                  <a:lnTo>
                    <a:pt x="331" y="344"/>
                  </a:lnTo>
                  <a:lnTo>
                    <a:pt x="330" y="344"/>
                  </a:lnTo>
                  <a:lnTo>
                    <a:pt x="330" y="344"/>
                  </a:lnTo>
                  <a:lnTo>
                    <a:pt x="330" y="342"/>
                  </a:lnTo>
                  <a:lnTo>
                    <a:pt x="325" y="339"/>
                  </a:lnTo>
                  <a:lnTo>
                    <a:pt x="324" y="337"/>
                  </a:lnTo>
                  <a:lnTo>
                    <a:pt x="322" y="336"/>
                  </a:lnTo>
                  <a:lnTo>
                    <a:pt x="321" y="336"/>
                  </a:lnTo>
                  <a:lnTo>
                    <a:pt x="319" y="336"/>
                  </a:lnTo>
                  <a:lnTo>
                    <a:pt x="313" y="333"/>
                  </a:lnTo>
                  <a:lnTo>
                    <a:pt x="311" y="333"/>
                  </a:lnTo>
                  <a:lnTo>
                    <a:pt x="310" y="331"/>
                  </a:lnTo>
                  <a:lnTo>
                    <a:pt x="305" y="331"/>
                  </a:lnTo>
                  <a:lnTo>
                    <a:pt x="305" y="331"/>
                  </a:lnTo>
                  <a:lnTo>
                    <a:pt x="302" y="330"/>
                  </a:lnTo>
                  <a:lnTo>
                    <a:pt x="299" y="324"/>
                  </a:lnTo>
                  <a:lnTo>
                    <a:pt x="296" y="324"/>
                  </a:lnTo>
                  <a:lnTo>
                    <a:pt x="296" y="322"/>
                  </a:lnTo>
                  <a:lnTo>
                    <a:pt x="296" y="322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4" y="316"/>
                  </a:lnTo>
                  <a:lnTo>
                    <a:pt x="293" y="314"/>
                  </a:lnTo>
                  <a:lnTo>
                    <a:pt x="291" y="316"/>
                  </a:lnTo>
                  <a:lnTo>
                    <a:pt x="290" y="317"/>
                  </a:lnTo>
                  <a:lnTo>
                    <a:pt x="284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8" y="314"/>
                  </a:lnTo>
                  <a:lnTo>
                    <a:pt x="278" y="314"/>
                  </a:lnTo>
                  <a:lnTo>
                    <a:pt x="279" y="314"/>
                  </a:lnTo>
                  <a:lnTo>
                    <a:pt x="281" y="313"/>
                  </a:lnTo>
                  <a:lnTo>
                    <a:pt x="281" y="313"/>
                  </a:lnTo>
                  <a:lnTo>
                    <a:pt x="279" y="313"/>
                  </a:lnTo>
                  <a:lnTo>
                    <a:pt x="278" y="311"/>
                  </a:lnTo>
                  <a:lnTo>
                    <a:pt x="276" y="311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4" y="310"/>
                  </a:lnTo>
                  <a:lnTo>
                    <a:pt x="273" y="311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6" y="307"/>
                  </a:lnTo>
                  <a:lnTo>
                    <a:pt x="276" y="307"/>
                  </a:lnTo>
                  <a:lnTo>
                    <a:pt x="278" y="305"/>
                  </a:lnTo>
                  <a:lnTo>
                    <a:pt x="276" y="304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3" y="301"/>
                  </a:lnTo>
                  <a:lnTo>
                    <a:pt x="271" y="301"/>
                  </a:lnTo>
                  <a:lnTo>
                    <a:pt x="270" y="301"/>
                  </a:lnTo>
                  <a:lnTo>
                    <a:pt x="267" y="299"/>
                  </a:lnTo>
                  <a:lnTo>
                    <a:pt x="265" y="299"/>
                  </a:lnTo>
                  <a:lnTo>
                    <a:pt x="265" y="299"/>
                  </a:lnTo>
                  <a:lnTo>
                    <a:pt x="265" y="299"/>
                  </a:lnTo>
                  <a:lnTo>
                    <a:pt x="267" y="301"/>
                  </a:lnTo>
                  <a:lnTo>
                    <a:pt x="265" y="302"/>
                  </a:lnTo>
                  <a:lnTo>
                    <a:pt x="265" y="302"/>
                  </a:lnTo>
                  <a:lnTo>
                    <a:pt x="264" y="302"/>
                  </a:lnTo>
                  <a:lnTo>
                    <a:pt x="262" y="302"/>
                  </a:lnTo>
                  <a:lnTo>
                    <a:pt x="262" y="304"/>
                  </a:lnTo>
                  <a:lnTo>
                    <a:pt x="261" y="304"/>
                  </a:lnTo>
                  <a:lnTo>
                    <a:pt x="259" y="304"/>
                  </a:lnTo>
                  <a:lnTo>
                    <a:pt x="259" y="302"/>
                  </a:lnTo>
                  <a:lnTo>
                    <a:pt x="256" y="294"/>
                  </a:lnTo>
                  <a:lnTo>
                    <a:pt x="254" y="293"/>
                  </a:lnTo>
                  <a:lnTo>
                    <a:pt x="253" y="293"/>
                  </a:lnTo>
                  <a:lnTo>
                    <a:pt x="248" y="293"/>
                  </a:lnTo>
                  <a:lnTo>
                    <a:pt x="248" y="291"/>
                  </a:lnTo>
                  <a:lnTo>
                    <a:pt x="247" y="290"/>
                  </a:lnTo>
                  <a:lnTo>
                    <a:pt x="245" y="290"/>
                  </a:lnTo>
                  <a:lnTo>
                    <a:pt x="244" y="290"/>
                  </a:lnTo>
                  <a:lnTo>
                    <a:pt x="244" y="291"/>
                  </a:lnTo>
                  <a:lnTo>
                    <a:pt x="242" y="293"/>
                  </a:lnTo>
                  <a:lnTo>
                    <a:pt x="242" y="291"/>
                  </a:lnTo>
                  <a:lnTo>
                    <a:pt x="241" y="290"/>
                  </a:lnTo>
                  <a:lnTo>
                    <a:pt x="239" y="290"/>
                  </a:lnTo>
                  <a:lnTo>
                    <a:pt x="238" y="288"/>
                  </a:lnTo>
                  <a:lnTo>
                    <a:pt x="238" y="288"/>
                  </a:lnTo>
                  <a:lnTo>
                    <a:pt x="236" y="290"/>
                  </a:lnTo>
                  <a:lnTo>
                    <a:pt x="236" y="290"/>
                  </a:lnTo>
                  <a:lnTo>
                    <a:pt x="234" y="290"/>
                  </a:lnTo>
                  <a:lnTo>
                    <a:pt x="234" y="288"/>
                  </a:lnTo>
                  <a:lnTo>
                    <a:pt x="233" y="288"/>
                  </a:lnTo>
                  <a:lnTo>
                    <a:pt x="231" y="287"/>
                  </a:lnTo>
                  <a:lnTo>
                    <a:pt x="230" y="284"/>
                  </a:lnTo>
                  <a:lnTo>
                    <a:pt x="228" y="284"/>
                  </a:lnTo>
                  <a:lnTo>
                    <a:pt x="225" y="285"/>
                  </a:lnTo>
                  <a:lnTo>
                    <a:pt x="225" y="285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5"/>
                  </a:lnTo>
                  <a:lnTo>
                    <a:pt x="222" y="284"/>
                  </a:lnTo>
                  <a:lnTo>
                    <a:pt x="222" y="284"/>
                  </a:lnTo>
                  <a:lnTo>
                    <a:pt x="221" y="285"/>
                  </a:lnTo>
                  <a:lnTo>
                    <a:pt x="219" y="284"/>
                  </a:lnTo>
                  <a:lnTo>
                    <a:pt x="219" y="284"/>
                  </a:lnTo>
                  <a:lnTo>
                    <a:pt x="221" y="282"/>
                  </a:lnTo>
                  <a:lnTo>
                    <a:pt x="221" y="282"/>
                  </a:lnTo>
                  <a:lnTo>
                    <a:pt x="216" y="282"/>
                  </a:lnTo>
                  <a:lnTo>
                    <a:pt x="216" y="279"/>
                  </a:lnTo>
                  <a:lnTo>
                    <a:pt x="217" y="280"/>
                  </a:lnTo>
                  <a:lnTo>
                    <a:pt x="217" y="280"/>
                  </a:lnTo>
                  <a:lnTo>
                    <a:pt x="217" y="279"/>
                  </a:lnTo>
                  <a:lnTo>
                    <a:pt x="219" y="279"/>
                  </a:lnTo>
                  <a:lnTo>
                    <a:pt x="219" y="279"/>
                  </a:lnTo>
                  <a:lnTo>
                    <a:pt x="221" y="279"/>
                  </a:lnTo>
                  <a:lnTo>
                    <a:pt x="221" y="279"/>
                  </a:lnTo>
                  <a:lnTo>
                    <a:pt x="221" y="279"/>
                  </a:lnTo>
                  <a:lnTo>
                    <a:pt x="222" y="277"/>
                  </a:lnTo>
                  <a:lnTo>
                    <a:pt x="224" y="277"/>
                  </a:lnTo>
                  <a:lnTo>
                    <a:pt x="224" y="277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30" y="279"/>
                  </a:lnTo>
                  <a:lnTo>
                    <a:pt x="231" y="279"/>
                  </a:lnTo>
                  <a:lnTo>
                    <a:pt x="231" y="280"/>
                  </a:lnTo>
                  <a:lnTo>
                    <a:pt x="231" y="280"/>
                  </a:lnTo>
                  <a:lnTo>
                    <a:pt x="234" y="280"/>
                  </a:lnTo>
                  <a:lnTo>
                    <a:pt x="236" y="280"/>
                  </a:lnTo>
                  <a:lnTo>
                    <a:pt x="236" y="280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41" y="276"/>
                  </a:lnTo>
                  <a:lnTo>
                    <a:pt x="241" y="276"/>
                  </a:lnTo>
                  <a:lnTo>
                    <a:pt x="242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4" y="276"/>
                  </a:lnTo>
                  <a:lnTo>
                    <a:pt x="245" y="276"/>
                  </a:lnTo>
                  <a:lnTo>
                    <a:pt x="247" y="276"/>
                  </a:lnTo>
                  <a:lnTo>
                    <a:pt x="248" y="276"/>
                  </a:lnTo>
                  <a:lnTo>
                    <a:pt x="247" y="274"/>
                  </a:lnTo>
                  <a:lnTo>
                    <a:pt x="247" y="274"/>
                  </a:lnTo>
                  <a:lnTo>
                    <a:pt x="248" y="274"/>
                  </a:lnTo>
                  <a:lnTo>
                    <a:pt x="248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1" y="271"/>
                  </a:lnTo>
                  <a:lnTo>
                    <a:pt x="253" y="271"/>
                  </a:lnTo>
                  <a:lnTo>
                    <a:pt x="253" y="271"/>
                  </a:lnTo>
                  <a:lnTo>
                    <a:pt x="253" y="268"/>
                  </a:lnTo>
                  <a:lnTo>
                    <a:pt x="253" y="268"/>
                  </a:lnTo>
                  <a:lnTo>
                    <a:pt x="254" y="267"/>
                  </a:lnTo>
                  <a:lnTo>
                    <a:pt x="258" y="267"/>
                  </a:lnTo>
                  <a:lnTo>
                    <a:pt x="258" y="265"/>
                  </a:lnTo>
                  <a:lnTo>
                    <a:pt x="258" y="265"/>
                  </a:lnTo>
                  <a:lnTo>
                    <a:pt x="254" y="265"/>
                  </a:lnTo>
                  <a:lnTo>
                    <a:pt x="253" y="265"/>
                  </a:lnTo>
                  <a:lnTo>
                    <a:pt x="250" y="268"/>
                  </a:lnTo>
                  <a:lnTo>
                    <a:pt x="248" y="267"/>
                  </a:lnTo>
                  <a:lnTo>
                    <a:pt x="250" y="265"/>
                  </a:lnTo>
                  <a:lnTo>
                    <a:pt x="251" y="264"/>
                  </a:lnTo>
                  <a:lnTo>
                    <a:pt x="251" y="264"/>
                  </a:lnTo>
                  <a:lnTo>
                    <a:pt x="251" y="264"/>
                  </a:lnTo>
                  <a:lnTo>
                    <a:pt x="251" y="262"/>
                  </a:lnTo>
                  <a:lnTo>
                    <a:pt x="251" y="260"/>
                  </a:lnTo>
                  <a:lnTo>
                    <a:pt x="250" y="259"/>
                  </a:lnTo>
                  <a:lnTo>
                    <a:pt x="248" y="257"/>
                  </a:lnTo>
                  <a:lnTo>
                    <a:pt x="247" y="256"/>
                  </a:lnTo>
                  <a:lnTo>
                    <a:pt x="247" y="257"/>
                  </a:lnTo>
                  <a:lnTo>
                    <a:pt x="248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7" y="257"/>
                  </a:lnTo>
                  <a:lnTo>
                    <a:pt x="245" y="254"/>
                  </a:lnTo>
                  <a:lnTo>
                    <a:pt x="245" y="253"/>
                  </a:lnTo>
                  <a:lnTo>
                    <a:pt x="245" y="251"/>
                  </a:lnTo>
                  <a:lnTo>
                    <a:pt x="244" y="253"/>
                  </a:lnTo>
                  <a:lnTo>
                    <a:pt x="244" y="251"/>
                  </a:lnTo>
                  <a:lnTo>
                    <a:pt x="244" y="251"/>
                  </a:lnTo>
                  <a:lnTo>
                    <a:pt x="242" y="251"/>
                  </a:lnTo>
                  <a:lnTo>
                    <a:pt x="244" y="251"/>
                  </a:lnTo>
                  <a:lnTo>
                    <a:pt x="242" y="253"/>
                  </a:lnTo>
                  <a:lnTo>
                    <a:pt x="242" y="253"/>
                  </a:lnTo>
                  <a:lnTo>
                    <a:pt x="241" y="253"/>
                  </a:lnTo>
                  <a:lnTo>
                    <a:pt x="239" y="248"/>
                  </a:lnTo>
                  <a:lnTo>
                    <a:pt x="239" y="247"/>
                  </a:lnTo>
                  <a:lnTo>
                    <a:pt x="239" y="242"/>
                  </a:lnTo>
                  <a:lnTo>
                    <a:pt x="241" y="240"/>
                  </a:lnTo>
                  <a:lnTo>
                    <a:pt x="244" y="240"/>
                  </a:lnTo>
                  <a:lnTo>
                    <a:pt x="245" y="240"/>
                  </a:lnTo>
                  <a:lnTo>
                    <a:pt x="248" y="240"/>
                  </a:lnTo>
                  <a:lnTo>
                    <a:pt x="247" y="239"/>
                  </a:lnTo>
                  <a:lnTo>
                    <a:pt x="247" y="237"/>
                  </a:lnTo>
                  <a:lnTo>
                    <a:pt x="247" y="236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47" y="234"/>
                  </a:lnTo>
                  <a:lnTo>
                    <a:pt x="248" y="234"/>
                  </a:lnTo>
                  <a:lnTo>
                    <a:pt x="250" y="234"/>
                  </a:lnTo>
                  <a:lnTo>
                    <a:pt x="251" y="234"/>
                  </a:lnTo>
                  <a:lnTo>
                    <a:pt x="251" y="234"/>
                  </a:lnTo>
                  <a:lnTo>
                    <a:pt x="253" y="234"/>
                  </a:lnTo>
                  <a:lnTo>
                    <a:pt x="253" y="236"/>
                  </a:lnTo>
                  <a:lnTo>
                    <a:pt x="253" y="237"/>
                  </a:lnTo>
                  <a:lnTo>
                    <a:pt x="253" y="237"/>
                  </a:lnTo>
                  <a:lnTo>
                    <a:pt x="253" y="237"/>
                  </a:lnTo>
                  <a:lnTo>
                    <a:pt x="253" y="239"/>
                  </a:lnTo>
                  <a:lnTo>
                    <a:pt x="259" y="239"/>
                  </a:lnTo>
                  <a:lnTo>
                    <a:pt x="261" y="239"/>
                  </a:lnTo>
                  <a:lnTo>
                    <a:pt x="262" y="240"/>
                  </a:lnTo>
                  <a:lnTo>
                    <a:pt x="264" y="242"/>
                  </a:lnTo>
                  <a:lnTo>
                    <a:pt x="265" y="244"/>
                  </a:lnTo>
                  <a:lnTo>
                    <a:pt x="265" y="245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8" y="251"/>
                  </a:lnTo>
                  <a:lnTo>
                    <a:pt x="268" y="251"/>
                  </a:lnTo>
                  <a:lnTo>
                    <a:pt x="268" y="253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59" y="259"/>
                  </a:lnTo>
                  <a:lnTo>
                    <a:pt x="261" y="254"/>
                  </a:lnTo>
                  <a:lnTo>
                    <a:pt x="261" y="253"/>
                  </a:lnTo>
                  <a:lnTo>
                    <a:pt x="258" y="254"/>
                  </a:lnTo>
                  <a:lnTo>
                    <a:pt x="258" y="256"/>
                  </a:lnTo>
                  <a:lnTo>
                    <a:pt x="258" y="257"/>
                  </a:lnTo>
                  <a:lnTo>
                    <a:pt x="256" y="257"/>
                  </a:lnTo>
                  <a:lnTo>
                    <a:pt x="256" y="259"/>
                  </a:lnTo>
                  <a:lnTo>
                    <a:pt x="259" y="260"/>
                  </a:lnTo>
                  <a:lnTo>
                    <a:pt x="261" y="260"/>
                  </a:lnTo>
                  <a:lnTo>
                    <a:pt x="262" y="260"/>
                  </a:lnTo>
                  <a:lnTo>
                    <a:pt x="262" y="259"/>
                  </a:lnTo>
                  <a:lnTo>
                    <a:pt x="265" y="259"/>
                  </a:lnTo>
                  <a:lnTo>
                    <a:pt x="267" y="259"/>
                  </a:lnTo>
                  <a:lnTo>
                    <a:pt x="267" y="259"/>
                  </a:lnTo>
                  <a:lnTo>
                    <a:pt x="267" y="259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7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68" y="256"/>
                  </a:lnTo>
                  <a:lnTo>
                    <a:pt x="270" y="256"/>
                  </a:lnTo>
                  <a:lnTo>
                    <a:pt x="273" y="254"/>
                  </a:lnTo>
                  <a:lnTo>
                    <a:pt x="274" y="254"/>
                  </a:lnTo>
                  <a:lnTo>
                    <a:pt x="276" y="253"/>
                  </a:lnTo>
                  <a:lnTo>
                    <a:pt x="278" y="251"/>
                  </a:lnTo>
                  <a:lnTo>
                    <a:pt x="278" y="250"/>
                  </a:lnTo>
                  <a:lnTo>
                    <a:pt x="273" y="244"/>
                  </a:lnTo>
                  <a:lnTo>
                    <a:pt x="271" y="237"/>
                  </a:lnTo>
                  <a:lnTo>
                    <a:pt x="268" y="234"/>
                  </a:lnTo>
                  <a:lnTo>
                    <a:pt x="268" y="233"/>
                  </a:lnTo>
                  <a:lnTo>
                    <a:pt x="261" y="225"/>
                  </a:lnTo>
                  <a:lnTo>
                    <a:pt x="261" y="224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6" y="219"/>
                  </a:lnTo>
                  <a:lnTo>
                    <a:pt x="253" y="217"/>
                  </a:lnTo>
                  <a:lnTo>
                    <a:pt x="248" y="214"/>
                  </a:lnTo>
                  <a:lnTo>
                    <a:pt x="247" y="213"/>
                  </a:lnTo>
                  <a:lnTo>
                    <a:pt x="247" y="211"/>
                  </a:lnTo>
                  <a:lnTo>
                    <a:pt x="245" y="205"/>
                  </a:lnTo>
                  <a:lnTo>
                    <a:pt x="242" y="200"/>
                  </a:lnTo>
                  <a:lnTo>
                    <a:pt x="242" y="199"/>
                  </a:lnTo>
                  <a:lnTo>
                    <a:pt x="242" y="196"/>
                  </a:lnTo>
                  <a:lnTo>
                    <a:pt x="242" y="194"/>
                  </a:lnTo>
                  <a:lnTo>
                    <a:pt x="241" y="193"/>
                  </a:lnTo>
                  <a:lnTo>
                    <a:pt x="241" y="191"/>
                  </a:lnTo>
                  <a:lnTo>
                    <a:pt x="238" y="190"/>
                  </a:lnTo>
                  <a:lnTo>
                    <a:pt x="238" y="188"/>
                  </a:lnTo>
                  <a:lnTo>
                    <a:pt x="236" y="187"/>
                  </a:lnTo>
                  <a:lnTo>
                    <a:pt x="233" y="185"/>
                  </a:lnTo>
                  <a:lnTo>
                    <a:pt x="231" y="183"/>
                  </a:lnTo>
                  <a:lnTo>
                    <a:pt x="231" y="182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7"/>
                  </a:lnTo>
                  <a:lnTo>
                    <a:pt x="230" y="176"/>
                  </a:lnTo>
                  <a:lnTo>
                    <a:pt x="230" y="176"/>
                  </a:lnTo>
                  <a:lnTo>
                    <a:pt x="230" y="176"/>
                  </a:lnTo>
                  <a:lnTo>
                    <a:pt x="228" y="176"/>
                  </a:lnTo>
                  <a:lnTo>
                    <a:pt x="227" y="176"/>
                  </a:lnTo>
                  <a:lnTo>
                    <a:pt x="227" y="174"/>
                  </a:lnTo>
                  <a:lnTo>
                    <a:pt x="227" y="174"/>
                  </a:lnTo>
                  <a:lnTo>
                    <a:pt x="222" y="171"/>
                  </a:lnTo>
                  <a:lnTo>
                    <a:pt x="221" y="168"/>
                  </a:lnTo>
                  <a:lnTo>
                    <a:pt x="221" y="168"/>
                  </a:lnTo>
                  <a:lnTo>
                    <a:pt x="221" y="168"/>
                  </a:lnTo>
                  <a:lnTo>
                    <a:pt x="221" y="167"/>
                  </a:lnTo>
                  <a:lnTo>
                    <a:pt x="221" y="163"/>
                  </a:lnTo>
                  <a:lnTo>
                    <a:pt x="219" y="162"/>
                  </a:lnTo>
                  <a:lnTo>
                    <a:pt x="219" y="160"/>
                  </a:lnTo>
                  <a:lnTo>
                    <a:pt x="219" y="159"/>
                  </a:lnTo>
                  <a:lnTo>
                    <a:pt x="219" y="156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4" y="142"/>
                  </a:lnTo>
                  <a:lnTo>
                    <a:pt x="225" y="139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5" y="136"/>
                  </a:lnTo>
                  <a:lnTo>
                    <a:pt x="224" y="134"/>
                  </a:lnTo>
                  <a:lnTo>
                    <a:pt x="224" y="133"/>
                  </a:lnTo>
                  <a:lnTo>
                    <a:pt x="222" y="133"/>
                  </a:lnTo>
                  <a:lnTo>
                    <a:pt x="222" y="131"/>
                  </a:lnTo>
                  <a:lnTo>
                    <a:pt x="222" y="130"/>
                  </a:lnTo>
                  <a:lnTo>
                    <a:pt x="222" y="128"/>
                  </a:lnTo>
                  <a:lnTo>
                    <a:pt x="221" y="127"/>
                  </a:lnTo>
                  <a:lnTo>
                    <a:pt x="222" y="127"/>
                  </a:lnTo>
                  <a:lnTo>
                    <a:pt x="222" y="127"/>
                  </a:lnTo>
                  <a:lnTo>
                    <a:pt x="224" y="127"/>
                  </a:lnTo>
                  <a:lnTo>
                    <a:pt x="225" y="127"/>
                  </a:lnTo>
                  <a:lnTo>
                    <a:pt x="225" y="127"/>
                  </a:lnTo>
                  <a:lnTo>
                    <a:pt x="227" y="127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8" y="125"/>
                  </a:lnTo>
                  <a:lnTo>
                    <a:pt x="227" y="123"/>
                  </a:lnTo>
                  <a:lnTo>
                    <a:pt x="227" y="122"/>
                  </a:lnTo>
                  <a:lnTo>
                    <a:pt x="228" y="122"/>
                  </a:lnTo>
                  <a:lnTo>
                    <a:pt x="228" y="122"/>
                  </a:lnTo>
                  <a:lnTo>
                    <a:pt x="228" y="122"/>
                  </a:lnTo>
                  <a:lnTo>
                    <a:pt x="230" y="122"/>
                  </a:lnTo>
                  <a:lnTo>
                    <a:pt x="230" y="123"/>
                  </a:lnTo>
                  <a:lnTo>
                    <a:pt x="231" y="123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9"/>
                  </a:lnTo>
                  <a:lnTo>
                    <a:pt x="234" y="117"/>
                  </a:lnTo>
                  <a:lnTo>
                    <a:pt x="236" y="116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38" y="117"/>
                  </a:lnTo>
                  <a:lnTo>
                    <a:pt x="238" y="117"/>
                  </a:lnTo>
                  <a:lnTo>
                    <a:pt x="239" y="116"/>
                  </a:lnTo>
                  <a:lnTo>
                    <a:pt x="241" y="116"/>
                  </a:lnTo>
                  <a:lnTo>
                    <a:pt x="241" y="114"/>
                  </a:lnTo>
                  <a:lnTo>
                    <a:pt x="242" y="114"/>
                  </a:lnTo>
                  <a:lnTo>
                    <a:pt x="242" y="113"/>
                  </a:lnTo>
                  <a:lnTo>
                    <a:pt x="241" y="111"/>
                  </a:lnTo>
                  <a:lnTo>
                    <a:pt x="244" y="110"/>
                  </a:lnTo>
                  <a:lnTo>
                    <a:pt x="245" y="110"/>
                  </a:lnTo>
                  <a:lnTo>
                    <a:pt x="247" y="111"/>
                  </a:lnTo>
                  <a:lnTo>
                    <a:pt x="248" y="114"/>
                  </a:lnTo>
                  <a:lnTo>
                    <a:pt x="248" y="114"/>
                  </a:lnTo>
                  <a:lnTo>
                    <a:pt x="248" y="116"/>
                  </a:lnTo>
                  <a:lnTo>
                    <a:pt x="248" y="116"/>
                  </a:lnTo>
                  <a:lnTo>
                    <a:pt x="248" y="116"/>
                  </a:lnTo>
                  <a:lnTo>
                    <a:pt x="250" y="117"/>
                  </a:lnTo>
                  <a:lnTo>
                    <a:pt x="251" y="119"/>
                  </a:lnTo>
                  <a:lnTo>
                    <a:pt x="250" y="120"/>
                  </a:lnTo>
                  <a:lnTo>
                    <a:pt x="250" y="120"/>
                  </a:lnTo>
                  <a:lnTo>
                    <a:pt x="248" y="122"/>
                  </a:lnTo>
                  <a:lnTo>
                    <a:pt x="248" y="122"/>
                  </a:lnTo>
                  <a:lnTo>
                    <a:pt x="245" y="123"/>
                  </a:lnTo>
                  <a:lnTo>
                    <a:pt x="241" y="123"/>
                  </a:lnTo>
                  <a:lnTo>
                    <a:pt x="239" y="123"/>
                  </a:lnTo>
                  <a:lnTo>
                    <a:pt x="239" y="125"/>
                  </a:lnTo>
                  <a:lnTo>
                    <a:pt x="242" y="128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2" y="130"/>
                  </a:lnTo>
                  <a:lnTo>
                    <a:pt x="244" y="133"/>
                  </a:lnTo>
                  <a:lnTo>
                    <a:pt x="244" y="134"/>
                  </a:lnTo>
                  <a:lnTo>
                    <a:pt x="244" y="136"/>
                  </a:lnTo>
                  <a:lnTo>
                    <a:pt x="247" y="134"/>
                  </a:lnTo>
                  <a:lnTo>
                    <a:pt x="248" y="136"/>
                  </a:lnTo>
                  <a:lnTo>
                    <a:pt x="250" y="136"/>
                  </a:lnTo>
                  <a:lnTo>
                    <a:pt x="253" y="139"/>
                  </a:lnTo>
                  <a:lnTo>
                    <a:pt x="254" y="140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64" y="147"/>
                  </a:lnTo>
                  <a:lnTo>
                    <a:pt x="264" y="145"/>
                  </a:lnTo>
                  <a:lnTo>
                    <a:pt x="265" y="147"/>
                  </a:lnTo>
                  <a:lnTo>
                    <a:pt x="267" y="147"/>
                  </a:lnTo>
                  <a:lnTo>
                    <a:pt x="270" y="148"/>
                  </a:lnTo>
                  <a:lnTo>
                    <a:pt x="271" y="148"/>
                  </a:lnTo>
                  <a:lnTo>
                    <a:pt x="274" y="150"/>
                  </a:lnTo>
                  <a:lnTo>
                    <a:pt x="276" y="153"/>
                  </a:lnTo>
                  <a:lnTo>
                    <a:pt x="276" y="156"/>
                  </a:lnTo>
                  <a:lnTo>
                    <a:pt x="276" y="159"/>
                  </a:lnTo>
                  <a:lnTo>
                    <a:pt x="274" y="162"/>
                  </a:lnTo>
                  <a:lnTo>
                    <a:pt x="276" y="163"/>
                  </a:lnTo>
                  <a:lnTo>
                    <a:pt x="278" y="165"/>
                  </a:lnTo>
                  <a:lnTo>
                    <a:pt x="278" y="167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1" y="171"/>
                  </a:lnTo>
                  <a:lnTo>
                    <a:pt x="281" y="173"/>
                  </a:lnTo>
                  <a:lnTo>
                    <a:pt x="281" y="174"/>
                  </a:lnTo>
                  <a:lnTo>
                    <a:pt x="279" y="176"/>
                  </a:lnTo>
                  <a:lnTo>
                    <a:pt x="279" y="176"/>
                  </a:lnTo>
                  <a:lnTo>
                    <a:pt x="279" y="176"/>
                  </a:lnTo>
                  <a:lnTo>
                    <a:pt x="285" y="176"/>
                  </a:lnTo>
                  <a:lnTo>
                    <a:pt x="287" y="176"/>
                  </a:lnTo>
                  <a:lnTo>
                    <a:pt x="298" y="180"/>
                  </a:lnTo>
                  <a:lnTo>
                    <a:pt x="304" y="180"/>
                  </a:lnTo>
                  <a:lnTo>
                    <a:pt x="305" y="180"/>
                  </a:lnTo>
                  <a:lnTo>
                    <a:pt x="307" y="180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5" y="179"/>
                  </a:lnTo>
                  <a:lnTo>
                    <a:pt x="304" y="179"/>
                  </a:lnTo>
                  <a:lnTo>
                    <a:pt x="304" y="177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298" y="173"/>
                  </a:lnTo>
                  <a:lnTo>
                    <a:pt x="288" y="168"/>
                  </a:lnTo>
                  <a:lnTo>
                    <a:pt x="287" y="167"/>
                  </a:lnTo>
                  <a:lnTo>
                    <a:pt x="282" y="160"/>
                  </a:lnTo>
                  <a:lnTo>
                    <a:pt x="282" y="159"/>
                  </a:lnTo>
                  <a:lnTo>
                    <a:pt x="282" y="159"/>
                  </a:lnTo>
                  <a:lnTo>
                    <a:pt x="281" y="159"/>
                  </a:lnTo>
                  <a:lnTo>
                    <a:pt x="279" y="159"/>
                  </a:lnTo>
                  <a:lnTo>
                    <a:pt x="279" y="157"/>
                  </a:lnTo>
                  <a:lnTo>
                    <a:pt x="279" y="157"/>
                  </a:lnTo>
                  <a:lnTo>
                    <a:pt x="279" y="156"/>
                  </a:lnTo>
                  <a:lnTo>
                    <a:pt x="278" y="154"/>
                  </a:lnTo>
                  <a:lnTo>
                    <a:pt x="278" y="153"/>
                  </a:lnTo>
                  <a:lnTo>
                    <a:pt x="278" y="151"/>
                  </a:lnTo>
                  <a:lnTo>
                    <a:pt x="279" y="147"/>
                  </a:lnTo>
                  <a:lnTo>
                    <a:pt x="282" y="145"/>
                  </a:lnTo>
                  <a:lnTo>
                    <a:pt x="285" y="145"/>
                  </a:lnTo>
                  <a:lnTo>
                    <a:pt x="288" y="147"/>
                  </a:lnTo>
                  <a:lnTo>
                    <a:pt x="291" y="150"/>
                  </a:lnTo>
                  <a:lnTo>
                    <a:pt x="298" y="150"/>
                  </a:lnTo>
                  <a:lnTo>
                    <a:pt x="299" y="150"/>
                  </a:lnTo>
                  <a:lnTo>
                    <a:pt x="302" y="151"/>
                  </a:lnTo>
                  <a:lnTo>
                    <a:pt x="308" y="160"/>
                  </a:lnTo>
                  <a:lnTo>
                    <a:pt x="310" y="160"/>
                  </a:lnTo>
                  <a:lnTo>
                    <a:pt x="310" y="162"/>
                  </a:lnTo>
                  <a:lnTo>
                    <a:pt x="310" y="163"/>
                  </a:lnTo>
                  <a:lnTo>
                    <a:pt x="311" y="163"/>
                  </a:lnTo>
                  <a:lnTo>
                    <a:pt x="311" y="163"/>
                  </a:lnTo>
                  <a:lnTo>
                    <a:pt x="311" y="165"/>
                  </a:lnTo>
                  <a:lnTo>
                    <a:pt x="310" y="167"/>
                  </a:lnTo>
                  <a:lnTo>
                    <a:pt x="311" y="167"/>
                  </a:lnTo>
                  <a:lnTo>
                    <a:pt x="313" y="171"/>
                  </a:lnTo>
                  <a:lnTo>
                    <a:pt x="313" y="171"/>
                  </a:lnTo>
                  <a:lnTo>
                    <a:pt x="313" y="171"/>
                  </a:lnTo>
                  <a:lnTo>
                    <a:pt x="315" y="170"/>
                  </a:lnTo>
                  <a:lnTo>
                    <a:pt x="315" y="170"/>
                  </a:lnTo>
                  <a:lnTo>
                    <a:pt x="316" y="171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19" y="174"/>
                  </a:lnTo>
                  <a:lnTo>
                    <a:pt x="319" y="174"/>
                  </a:lnTo>
                  <a:lnTo>
                    <a:pt x="319" y="176"/>
                  </a:lnTo>
                  <a:lnTo>
                    <a:pt x="319" y="176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321" y="177"/>
                  </a:lnTo>
                  <a:lnTo>
                    <a:pt x="322" y="177"/>
                  </a:lnTo>
                  <a:lnTo>
                    <a:pt x="325" y="177"/>
                  </a:lnTo>
                  <a:lnTo>
                    <a:pt x="325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5" y="176"/>
                  </a:lnTo>
                  <a:lnTo>
                    <a:pt x="327" y="176"/>
                  </a:lnTo>
                  <a:lnTo>
                    <a:pt x="327" y="174"/>
                  </a:lnTo>
                  <a:lnTo>
                    <a:pt x="325" y="174"/>
                  </a:lnTo>
                  <a:lnTo>
                    <a:pt x="325" y="173"/>
                  </a:lnTo>
                  <a:lnTo>
                    <a:pt x="328" y="171"/>
                  </a:lnTo>
                  <a:lnTo>
                    <a:pt x="327" y="171"/>
                  </a:lnTo>
                  <a:lnTo>
                    <a:pt x="327" y="170"/>
                  </a:lnTo>
                  <a:lnTo>
                    <a:pt x="327" y="170"/>
                  </a:lnTo>
                  <a:lnTo>
                    <a:pt x="327" y="168"/>
                  </a:lnTo>
                  <a:lnTo>
                    <a:pt x="327" y="170"/>
                  </a:lnTo>
                  <a:lnTo>
                    <a:pt x="325" y="170"/>
                  </a:lnTo>
                  <a:lnTo>
                    <a:pt x="325" y="168"/>
                  </a:lnTo>
                  <a:lnTo>
                    <a:pt x="325" y="168"/>
                  </a:lnTo>
                  <a:lnTo>
                    <a:pt x="325" y="167"/>
                  </a:lnTo>
                  <a:lnTo>
                    <a:pt x="325" y="167"/>
                  </a:lnTo>
                  <a:lnTo>
                    <a:pt x="327" y="167"/>
                  </a:lnTo>
                  <a:lnTo>
                    <a:pt x="327" y="167"/>
                  </a:lnTo>
                  <a:lnTo>
                    <a:pt x="327" y="165"/>
                  </a:lnTo>
                  <a:lnTo>
                    <a:pt x="325" y="165"/>
                  </a:lnTo>
                  <a:lnTo>
                    <a:pt x="325" y="163"/>
                  </a:lnTo>
                  <a:lnTo>
                    <a:pt x="325" y="163"/>
                  </a:lnTo>
                  <a:lnTo>
                    <a:pt x="325" y="162"/>
                  </a:lnTo>
                  <a:lnTo>
                    <a:pt x="325" y="160"/>
                  </a:lnTo>
                  <a:lnTo>
                    <a:pt x="325" y="160"/>
                  </a:lnTo>
                  <a:lnTo>
                    <a:pt x="322" y="159"/>
                  </a:lnTo>
                  <a:lnTo>
                    <a:pt x="321" y="159"/>
                  </a:lnTo>
                  <a:lnTo>
                    <a:pt x="321" y="157"/>
                  </a:lnTo>
                  <a:lnTo>
                    <a:pt x="319" y="156"/>
                  </a:lnTo>
                  <a:lnTo>
                    <a:pt x="318" y="156"/>
                  </a:lnTo>
                  <a:lnTo>
                    <a:pt x="316" y="156"/>
                  </a:lnTo>
                  <a:lnTo>
                    <a:pt x="311" y="154"/>
                  </a:lnTo>
                  <a:lnTo>
                    <a:pt x="311" y="154"/>
                  </a:lnTo>
                  <a:lnTo>
                    <a:pt x="310" y="153"/>
                  </a:lnTo>
                  <a:lnTo>
                    <a:pt x="308" y="151"/>
                  </a:lnTo>
                  <a:lnTo>
                    <a:pt x="308" y="150"/>
                  </a:lnTo>
                  <a:lnTo>
                    <a:pt x="305" y="148"/>
                  </a:lnTo>
                  <a:lnTo>
                    <a:pt x="305" y="148"/>
                  </a:lnTo>
                  <a:lnTo>
                    <a:pt x="305" y="148"/>
                  </a:lnTo>
                  <a:lnTo>
                    <a:pt x="304" y="145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5" y="139"/>
                  </a:lnTo>
                  <a:lnTo>
                    <a:pt x="305" y="139"/>
                  </a:lnTo>
                  <a:lnTo>
                    <a:pt x="307" y="139"/>
                  </a:lnTo>
                  <a:lnTo>
                    <a:pt x="307" y="137"/>
                  </a:lnTo>
                  <a:lnTo>
                    <a:pt x="308" y="139"/>
                  </a:lnTo>
                  <a:lnTo>
                    <a:pt x="310" y="139"/>
                  </a:lnTo>
                  <a:lnTo>
                    <a:pt x="315" y="137"/>
                  </a:lnTo>
                  <a:lnTo>
                    <a:pt x="315" y="136"/>
                  </a:lnTo>
                  <a:lnTo>
                    <a:pt x="318" y="137"/>
                  </a:lnTo>
                  <a:lnTo>
                    <a:pt x="321" y="137"/>
                  </a:lnTo>
                  <a:lnTo>
                    <a:pt x="322" y="137"/>
                  </a:lnTo>
                  <a:lnTo>
                    <a:pt x="324" y="139"/>
                  </a:lnTo>
                  <a:lnTo>
                    <a:pt x="325" y="142"/>
                  </a:lnTo>
                  <a:lnTo>
                    <a:pt x="328" y="142"/>
                  </a:lnTo>
                  <a:lnTo>
                    <a:pt x="330" y="143"/>
                  </a:lnTo>
                  <a:lnTo>
                    <a:pt x="336" y="145"/>
                  </a:lnTo>
                  <a:lnTo>
                    <a:pt x="339" y="147"/>
                  </a:lnTo>
                  <a:lnTo>
                    <a:pt x="341" y="148"/>
                  </a:lnTo>
                  <a:lnTo>
                    <a:pt x="342" y="151"/>
                  </a:lnTo>
                  <a:lnTo>
                    <a:pt x="344" y="154"/>
                  </a:lnTo>
                  <a:lnTo>
                    <a:pt x="345" y="156"/>
                  </a:lnTo>
                  <a:lnTo>
                    <a:pt x="347" y="156"/>
                  </a:lnTo>
                  <a:lnTo>
                    <a:pt x="348" y="157"/>
                  </a:lnTo>
                  <a:lnTo>
                    <a:pt x="348" y="159"/>
                  </a:lnTo>
                  <a:lnTo>
                    <a:pt x="348" y="160"/>
                  </a:lnTo>
                  <a:lnTo>
                    <a:pt x="350" y="160"/>
                  </a:lnTo>
                  <a:lnTo>
                    <a:pt x="353" y="160"/>
                  </a:lnTo>
                  <a:lnTo>
                    <a:pt x="356" y="157"/>
                  </a:lnTo>
                  <a:lnTo>
                    <a:pt x="355" y="156"/>
                  </a:lnTo>
                  <a:lnTo>
                    <a:pt x="350" y="151"/>
                  </a:lnTo>
                  <a:lnTo>
                    <a:pt x="347" y="145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1" y="142"/>
                  </a:lnTo>
                  <a:lnTo>
                    <a:pt x="341" y="139"/>
                  </a:lnTo>
                  <a:lnTo>
                    <a:pt x="339" y="139"/>
                  </a:lnTo>
                  <a:lnTo>
                    <a:pt x="339" y="139"/>
                  </a:lnTo>
                  <a:lnTo>
                    <a:pt x="336" y="137"/>
                  </a:lnTo>
                  <a:lnTo>
                    <a:pt x="336" y="137"/>
                  </a:lnTo>
                  <a:lnTo>
                    <a:pt x="335" y="137"/>
                  </a:lnTo>
                  <a:lnTo>
                    <a:pt x="333" y="137"/>
                  </a:lnTo>
                  <a:lnTo>
                    <a:pt x="331" y="136"/>
                  </a:lnTo>
                  <a:lnTo>
                    <a:pt x="330" y="134"/>
                  </a:lnTo>
                  <a:lnTo>
                    <a:pt x="328" y="131"/>
                  </a:lnTo>
                  <a:lnTo>
                    <a:pt x="327" y="130"/>
                  </a:lnTo>
                  <a:lnTo>
                    <a:pt x="325" y="130"/>
                  </a:lnTo>
                  <a:lnTo>
                    <a:pt x="327" y="130"/>
                  </a:lnTo>
                  <a:lnTo>
                    <a:pt x="325" y="131"/>
                  </a:lnTo>
                  <a:lnTo>
                    <a:pt x="327" y="133"/>
                  </a:lnTo>
                  <a:lnTo>
                    <a:pt x="327" y="134"/>
                  </a:lnTo>
                  <a:lnTo>
                    <a:pt x="327" y="134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4" y="136"/>
                  </a:lnTo>
                  <a:lnTo>
                    <a:pt x="322" y="136"/>
                  </a:lnTo>
                  <a:lnTo>
                    <a:pt x="321" y="134"/>
                  </a:lnTo>
                  <a:lnTo>
                    <a:pt x="319" y="134"/>
                  </a:lnTo>
                  <a:lnTo>
                    <a:pt x="318" y="133"/>
                  </a:lnTo>
                  <a:lnTo>
                    <a:pt x="316" y="133"/>
                  </a:lnTo>
                  <a:lnTo>
                    <a:pt x="313" y="128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5" y="122"/>
                  </a:lnTo>
                  <a:lnTo>
                    <a:pt x="319" y="122"/>
                  </a:lnTo>
                  <a:lnTo>
                    <a:pt x="321" y="122"/>
                  </a:lnTo>
                  <a:lnTo>
                    <a:pt x="321" y="120"/>
                  </a:lnTo>
                  <a:lnTo>
                    <a:pt x="319" y="119"/>
                  </a:lnTo>
                  <a:lnTo>
                    <a:pt x="318" y="117"/>
                  </a:lnTo>
                  <a:lnTo>
                    <a:pt x="318" y="119"/>
                  </a:lnTo>
                  <a:lnTo>
                    <a:pt x="316" y="119"/>
                  </a:lnTo>
                  <a:lnTo>
                    <a:pt x="315" y="119"/>
                  </a:lnTo>
                  <a:lnTo>
                    <a:pt x="315" y="117"/>
                  </a:lnTo>
                  <a:lnTo>
                    <a:pt x="311" y="116"/>
                  </a:lnTo>
                  <a:lnTo>
                    <a:pt x="311" y="116"/>
                  </a:lnTo>
                  <a:lnTo>
                    <a:pt x="310" y="114"/>
                  </a:lnTo>
                  <a:lnTo>
                    <a:pt x="310" y="111"/>
                  </a:lnTo>
                  <a:lnTo>
                    <a:pt x="308" y="110"/>
                  </a:lnTo>
                  <a:lnTo>
                    <a:pt x="307" y="110"/>
                  </a:lnTo>
                  <a:lnTo>
                    <a:pt x="305" y="108"/>
                  </a:lnTo>
                  <a:lnTo>
                    <a:pt x="304" y="106"/>
                  </a:lnTo>
                  <a:lnTo>
                    <a:pt x="304" y="105"/>
                  </a:lnTo>
                  <a:lnTo>
                    <a:pt x="304" y="102"/>
                  </a:lnTo>
                  <a:lnTo>
                    <a:pt x="305" y="100"/>
                  </a:lnTo>
                  <a:lnTo>
                    <a:pt x="307" y="99"/>
                  </a:lnTo>
                  <a:lnTo>
                    <a:pt x="308" y="99"/>
                  </a:lnTo>
                  <a:lnTo>
                    <a:pt x="311" y="97"/>
                  </a:lnTo>
                  <a:lnTo>
                    <a:pt x="315" y="96"/>
                  </a:lnTo>
                  <a:lnTo>
                    <a:pt x="316" y="97"/>
                  </a:lnTo>
                  <a:lnTo>
                    <a:pt x="318" y="97"/>
                  </a:lnTo>
                  <a:lnTo>
                    <a:pt x="325" y="102"/>
                  </a:lnTo>
                  <a:lnTo>
                    <a:pt x="328" y="102"/>
                  </a:lnTo>
                  <a:lnTo>
                    <a:pt x="331" y="102"/>
                  </a:lnTo>
                  <a:lnTo>
                    <a:pt x="335" y="102"/>
                  </a:lnTo>
                  <a:lnTo>
                    <a:pt x="342" y="97"/>
                  </a:lnTo>
                  <a:lnTo>
                    <a:pt x="351" y="91"/>
                  </a:lnTo>
                  <a:lnTo>
                    <a:pt x="351" y="91"/>
                  </a:lnTo>
                  <a:lnTo>
                    <a:pt x="350" y="91"/>
                  </a:lnTo>
                  <a:lnTo>
                    <a:pt x="350" y="91"/>
                  </a:lnTo>
                  <a:lnTo>
                    <a:pt x="348" y="91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1" y="90"/>
                  </a:lnTo>
                  <a:lnTo>
                    <a:pt x="351" y="88"/>
                  </a:lnTo>
                  <a:lnTo>
                    <a:pt x="350" y="88"/>
                  </a:lnTo>
                  <a:lnTo>
                    <a:pt x="350" y="86"/>
                  </a:lnTo>
                  <a:lnTo>
                    <a:pt x="351" y="86"/>
                  </a:lnTo>
                  <a:lnTo>
                    <a:pt x="355" y="83"/>
                  </a:lnTo>
                  <a:lnTo>
                    <a:pt x="356" y="82"/>
                  </a:lnTo>
                  <a:lnTo>
                    <a:pt x="358" y="80"/>
                  </a:lnTo>
                  <a:lnTo>
                    <a:pt x="359" y="80"/>
                  </a:lnTo>
                  <a:lnTo>
                    <a:pt x="361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5" y="79"/>
                  </a:lnTo>
                  <a:lnTo>
                    <a:pt x="368" y="80"/>
                  </a:lnTo>
                  <a:lnTo>
                    <a:pt x="368" y="82"/>
                  </a:lnTo>
                  <a:lnTo>
                    <a:pt x="370" y="82"/>
                  </a:lnTo>
                  <a:lnTo>
                    <a:pt x="370" y="83"/>
                  </a:lnTo>
                  <a:lnTo>
                    <a:pt x="372" y="83"/>
                  </a:lnTo>
                  <a:lnTo>
                    <a:pt x="372" y="85"/>
                  </a:lnTo>
                  <a:lnTo>
                    <a:pt x="372" y="86"/>
                  </a:lnTo>
                  <a:lnTo>
                    <a:pt x="373" y="88"/>
                  </a:lnTo>
                  <a:lnTo>
                    <a:pt x="373" y="90"/>
                  </a:lnTo>
                  <a:lnTo>
                    <a:pt x="373" y="90"/>
                  </a:lnTo>
                  <a:lnTo>
                    <a:pt x="375" y="88"/>
                  </a:lnTo>
                  <a:lnTo>
                    <a:pt x="376" y="86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90"/>
                  </a:lnTo>
                  <a:lnTo>
                    <a:pt x="379" y="90"/>
                  </a:lnTo>
                  <a:lnTo>
                    <a:pt x="381" y="90"/>
                  </a:lnTo>
                  <a:lnTo>
                    <a:pt x="384" y="88"/>
                  </a:lnTo>
                  <a:lnTo>
                    <a:pt x="385" y="90"/>
                  </a:lnTo>
                  <a:lnTo>
                    <a:pt x="388" y="88"/>
                  </a:lnTo>
                  <a:lnTo>
                    <a:pt x="390" y="85"/>
                  </a:lnTo>
                  <a:lnTo>
                    <a:pt x="393" y="83"/>
                  </a:lnTo>
                  <a:lnTo>
                    <a:pt x="395" y="82"/>
                  </a:lnTo>
                  <a:lnTo>
                    <a:pt x="396" y="82"/>
                  </a:lnTo>
                  <a:lnTo>
                    <a:pt x="398" y="80"/>
                  </a:lnTo>
                  <a:lnTo>
                    <a:pt x="399" y="80"/>
                  </a:lnTo>
                  <a:lnTo>
                    <a:pt x="401" y="80"/>
                  </a:lnTo>
                  <a:lnTo>
                    <a:pt x="401" y="80"/>
                  </a:lnTo>
                  <a:lnTo>
                    <a:pt x="401" y="79"/>
                  </a:lnTo>
                  <a:lnTo>
                    <a:pt x="401" y="79"/>
                  </a:lnTo>
                  <a:lnTo>
                    <a:pt x="402" y="77"/>
                  </a:lnTo>
                  <a:lnTo>
                    <a:pt x="404" y="76"/>
                  </a:lnTo>
                  <a:lnTo>
                    <a:pt x="404" y="74"/>
                  </a:lnTo>
                  <a:lnTo>
                    <a:pt x="405" y="74"/>
                  </a:lnTo>
                  <a:lnTo>
                    <a:pt x="412" y="74"/>
                  </a:lnTo>
                  <a:lnTo>
                    <a:pt x="412" y="74"/>
                  </a:lnTo>
                  <a:lnTo>
                    <a:pt x="413" y="76"/>
                  </a:lnTo>
                  <a:lnTo>
                    <a:pt x="413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9"/>
                  </a:lnTo>
                  <a:lnTo>
                    <a:pt x="412" y="79"/>
                  </a:lnTo>
                  <a:lnTo>
                    <a:pt x="412" y="79"/>
                  </a:lnTo>
                  <a:lnTo>
                    <a:pt x="413" y="80"/>
                  </a:lnTo>
                  <a:lnTo>
                    <a:pt x="415" y="80"/>
                  </a:lnTo>
                  <a:lnTo>
                    <a:pt x="421" y="82"/>
                  </a:lnTo>
                  <a:lnTo>
                    <a:pt x="421" y="82"/>
                  </a:lnTo>
                  <a:lnTo>
                    <a:pt x="421" y="82"/>
                  </a:lnTo>
                  <a:lnTo>
                    <a:pt x="424" y="80"/>
                  </a:lnTo>
                  <a:lnTo>
                    <a:pt x="427" y="80"/>
                  </a:lnTo>
                  <a:lnTo>
                    <a:pt x="430" y="83"/>
                  </a:lnTo>
                  <a:lnTo>
                    <a:pt x="432" y="85"/>
                  </a:lnTo>
                  <a:lnTo>
                    <a:pt x="433" y="85"/>
                  </a:lnTo>
                  <a:lnTo>
                    <a:pt x="438" y="85"/>
                  </a:lnTo>
                  <a:lnTo>
                    <a:pt x="438" y="86"/>
                  </a:lnTo>
                  <a:lnTo>
                    <a:pt x="439" y="86"/>
                  </a:lnTo>
                  <a:lnTo>
                    <a:pt x="441" y="88"/>
                  </a:lnTo>
                  <a:lnTo>
                    <a:pt x="442" y="88"/>
                  </a:lnTo>
                  <a:lnTo>
                    <a:pt x="442" y="88"/>
                  </a:lnTo>
                  <a:lnTo>
                    <a:pt x="445" y="88"/>
                  </a:lnTo>
                  <a:lnTo>
                    <a:pt x="449" y="88"/>
                  </a:lnTo>
                  <a:lnTo>
                    <a:pt x="452" y="90"/>
                  </a:lnTo>
                  <a:lnTo>
                    <a:pt x="455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2" y="90"/>
                  </a:lnTo>
                  <a:lnTo>
                    <a:pt x="467" y="90"/>
                  </a:lnTo>
                  <a:lnTo>
                    <a:pt x="467" y="91"/>
                  </a:lnTo>
                  <a:lnTo>
                    <a:pt x="469" y="90"/>
                  </a:lnTo>
                  <a:lnTo>
                    <a:pt x="472" y="90"/>
                  </a:lnTo>
                  <a:lnTo>
                    <a:pt x="475" y="91"/>
                  </a:lnTo>
                  <a:lnTo>
                    <a:pt x="475" y="93"/>
                  </a:lnTo>
                  <a:lnTo>
                    <a:pt x="476" y="93"/>
                  </a:lnTo>
                  <a:lnTo>
                    <a:pt x="476" y="93"/>
                  </a:lnTo>
                  <a:lnTo>
                    <a:pt x="475" y="91"/>
                  </a:lnTo>
                  <a:lnTo>
                    <a:pt x="475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6" y="93"/>
                  </a:lnTo>
                  <a:lnTo>
                    <a:pt x="476" y="93"/>
                  </a:lnTo>
                  <a:lnTo>
                    <a:pt x="478" y="91"/>
                  </a:lnTo>
                  <a:lnTo>
                    <a:pt x="479" y="91"/>
                  </a:lnTo>
                  <a:lnTo>
                    <a:pt x="479" y="93"/>
                  </a:lnTo>
                  <a:lnTo>
                    <a:pt x="479" y="93"/>
                  </a:lnTo>
                  <a:lnTo>
                    <a:pt x="478" y="94"/>
                  </a:lnTo>
                  <a:lnTo>
                    <a:pt x="476" y="94"/>
                  </a:lnTo>
                  <a:lnTo>
                    <a:pt x="476" y="94"/>
                  </a:lnTo>
                  <a:lnTo>
                    <a:pt x="476" y="94"/>
                  </a:lnTo>
                  <a:lnTo>
                    <a:pt x="478" y="96"/>
                  </a:lnTo>
                  <a:lnTo>
                    <a:pt x="478" y="97"/>
                  </a:lnTo>
                  <a:lnTo>
                    <a:pt x="478" y="99"/>
                  </a:lnTo>
                  <a:lnTo>
                    <a:pt x="479" y="100"/>
                  </a:lnTo>
                  <a:lnTo>
                    <a:pt x="479" y="100"/>
                  </a:lnTo>
                  <a:lnTo>
                    <a:pt x="481" y="100"/>
                  </a:lnTo>
                  <a:lnTo>
                    <a:pt x="484" y="100"/>
                  </a:lnTo>
                  <a:lnTo>
                    <a:pt x="485" y="97"/>
                  </a:lnTo>
                  <a:lnTo>
                    <a:pt x="485" y="96"/>
                  </a:lnTo>
                  <a:lnTo>
                    <a:pt x="487" y="94"/>
                  </a:lnTo>
                  <a:lnTo>
                    <a:pt x="492" y="90"/>
                  </a:lnTo>
                  <a:lnTo>
                    <a:pt x="490" y="90"/>
                  </a:lnTo>
                  <a:lnTo>
                    <a:pt x="490" y="88"/>
                  </a:lnTo>
                  <a:lnTo>
                    <a:pt x="490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6"/>
                  </a:lnTo>
                  <a:lnTo>
                    <a:pt x="492" y="85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3" y="86"/>
                  </a:lnTo>
                  <a:lnTo>
                    <a:pt x="495" y="85"/>
                  </a:lnTo>
                  <a:lnTo>
                    <a:pt x="495" y="83"/>
                  </a:lnTo>
                  <a:lnTo>
                    <a:pt x="495" y="83"/>
                  </a:lnTo>
                  <a:lnTo>
                    <a:pt x="495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6" y="85"/>
                  </a:lnTo>
                  <a:lnTo>
                    <a:pt x="498" y="83"/>
                  </a:lnTo>
                  <a:lnTo>
                    <a:pt x="498" y="83"/>
                  </a:lnTo>
                  <a:lnTo>
                    <a:pt x="498" y="83"/>
                  </a:lnTo>
                  <a:lnTo>
                    <a:pt x="498" y="82"/>
                  </a:lnTo>
                  <a:lnTo>
                    <a:pt x="498" y="82"/>
                  </a:lnTo>
                  <a:lnTo>
                    <a:pt x="501" y="80"/>
                  </a:lnTo>
                  <a:lnTo>
                    <a:pt x="501" y="80"/>
                  </a:lnTo>
                  <a:lnTo>
                    <a:pt x="502" y="79"/>
                  </a:lnTo>
                  <a:lnTo>
                    <a:pt x="502" y="79"/>
                  </a:lnTo>
                  <a:lnTo>
                    <a:pt x="501" y="77"/>
                  </a:lnTo>
                  <a:lnTo>
                    <a:pt x="501" y="77"/>
                  </a:lnTo>
                  <a:lnTo>
                    <a:pt x="499" y="76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2" y="74"/>
                  </a:lnTo>
                  <a:lnTo>
                    <a:pt x="502" y="74"/>
                  </a:lnTo>
                  <a:lnTo>
                    <a:pt x="504" y="73"/>
                  </a:lnTo>
                  <a:lnTo>
                    <a:pt x="502" y="73"/>
                  </a:lnTo>
                  <a:lnTo>
                    <a:pt x="501" y="71"/>
                  </a:lnTo>
                  <a:lnTo>
                    <a:pt x="501" y="70"/>
                  </a:lnTo>
                  <a:lnTo>
                    <a:pt x="499" y="68"/>
                  </a:lnTo>
                  <a:lnTo>
                    <a:pt x="499" y="66"/>
                  </a:lnTo>
                  <a:lnTo>
                    <a:pt x="501" y="63"/>
                  </a:lnTo>
                  <a:lnTo>
                    <a:pt x="499" y="63"/>
                  </a:lnTo>
                  <a:lnTo>
                    <a:pt x="499" y="63"/>
                  </a:lnTo>
                  <a:lnTo>
                    <a:pt x="499" y="62"/>
                  </a:lnTo>
                  <a:lnTo>
                    <a:pt x="501" y="60"/>
                  </a:lnTo>
                  <a:lnTo>
                    <a:pt x="499" y="59"/>
                  </a:lnTo>
                  <a:lnTo>
                    <a:pt x="499" y="57"/>
                  </a:lnTo>
                  <a:lnTo>
                    <a:pt x="499" y="54"/>
                  </a:lnTo>
                  <a:lnTo>
                    <a:pt x="501" y="53"/>
                  </a:lnTo>
                  <a:lnTo>
                    <a:pt x="499" y="51"/>
                  </a:lnTo>
                  <a:lnTo>
                    <a:pt x="499" y="50"/>
                  </a:lnTo>
                  <a:lnTo>
                    <a:pt x="504" y="50"/>
                  </a:lnTo>
                  <a:lnTo>
                    <a:pt x="506" y="50"/>
                  </a:lnTo>
                  <a:lnTo>
                    <a:pt x="509" y="48"/>
                  </a:lnTo>
                  <a:lnTo>
                    <a:pt x="510" y="46"/>
                  </a:lnTo>
                  <a:lnTo>
                    <a:pt x="510" y="45"/>
                  </a:lnTo>
                  <a:lnTo>
                    <a:pt x="510" y="45"/>
                  </a:lnTo>
                  <a:lnTo>
                    <a:pt x="512" y="45"/>
                  </a:lnTo>
                  <a:lnTo>
                    <a:pt x="512" y="45"/>
                  </a:lnTo>
                  <a:lnTo>
                    <a:pt x="515" y="40"/>
                  </a:lnTo>
                  <a:lnTo>
                    <a:pt x="516" y="42"/>
                  </a:lnTo>
                  <a:lnTo>
                    <a:pt x="518" y="42"/>
                  </a:lnTo>
                  <a:lnTo>
                    <a:pt x="519" y="43"/>
                  </a:lnTo>
                  <a:lnTo>
                    <a:pt x="521" y="42"/>
                  </a:lnTo>
                  <a:lnTo>
                    <a:pt x="521" y="42"/>
                  </a:lnTo>
                  <a:lnTo>
                    <a:pt x="522" y="40"/>
                  </a:lnTo>
                  <a:lnTo>
                    <a:pt x="522" y="37"/>
                  </a:lnTo>
                  <a:lnTo>
                    <a:pt x="522" y="36"/>
                  </a:lnTo>
                  <a:lnTo>
                    <a:pt x="522" y="34"/>
                  </a:lnTo>
                  <a:lnTo>
                    <a:pt x="521" y="29"/>
                  </a:lnTo>
                  <a:lnTo>
                    <a:pt x="521" y="25"/>
                  </a:lnTo>
                  <a:lnTo>
                    <a:pt x="521" y="23"/>
                  </a:lnTo>
                  <a:lnTo>
                    <a:pt x="519" y="22"/>
                  </a:lnTo>
                  <a:lnTo>
                    <a:pt x="519" y="22"/>
                  </a:lnTo>
                  <a:lnTo>
                    <a:pt x="519" y="19"/>
                  </a:lnTo>
                  <a:lnTo>
                    <a:pt x="519" y="17"/>
                  </a:lnTo>
                  <a:lnTo>
                    <a:pt x="519" y="17"/>
                  </a:lnTo>
                  <a:lnTo>
                    <a:pt x="519" y="16"/>
                  </a:lnTo>
                  <a:lnTo>
                    <a:pt x="519" y="16"/>
                  </a:lnTo>
                  <a:lnTo>
                    <a:pt x="519" y="14"/>
                  </a:lnTo>
                  <a:lnTo>
                    <a:pt x="518" y="17"/>
                  </a:lnTo>
                  <a:lnTo>
                    <a:pt x="518" y="16"/>
                  </a:lnTo>
                  <a:lnTo>
                    <a:pt x="515" y="14"/>
                  </a:lnTo>
                  <a:lnTo>
                    <a:pt x="510" y="11"/>
                  </a:lnTo>
                  <a:lnTo>
                    <a:pt x="510" y="9"/>
                  </a:lnTo>
                  <a:lnTo>
                    <a:pt x="510" y="8"/>
                  </a:lnTo>
                  <a:lnTo>
                    <a:pt x="510" y="8"/>
                  </a:lnTo>
                  <a:lnTo>
                    <a:pt x="509" y="8"/>
                  </a:lnTo>
                  <a:lnTo>
                    <a:pt x="506" y="6"/>
                  </a:lnTo>
                  <a:lnTo>
                    <a:pt x="504" y="5"/>
                  </a:lnTo>
                  <a:lnTo>
                    <a:pt x="502" y="5"/>
                  </a:lnTo>
                  <a:lnTo>
                    <a:pt x="499" y="5"/>
                  </a:lnTo>
                  <a:lnTo>
                    <a:pt x="498" y="5"/>
                  </a:lnTo>
                  <a:lnTo>
                    <a:pt x="496" y="5"/>
                  </a:lnTo>
                  <a:lnTo>
                    <a:pt x="495" y="3"/>
                  </a:lnTo>
                  <a:lnTo>
                    <a:pt x="493" y="2"/>
                  </a:lnTo>
                  <a:lnTo>
                    <a:pt x="492" y="2"/>
                  </a:lnTo>
                  <a:lnTo>
                    <a:pt x="492" y="0"/>
                  </a:lnTo>
                  <a:lnTo>
                    <a:pt x="490" y="2"/>
                  </a:lnTo>
                  <a:lnTo>
                    <a:pt x="485" y="3"/>
                  </a:lnTo>
                  <a:lnTo>
                    <a:pt x="484" y="3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79" y="5"/>
                  </a:lnTo>
                  <a:lnTo>
                    <a:pt x="479" y="6"/>
                  </a:lnTo>
                  <a:lnTo>
                    <a:pt x="479" y="6"/>
                  </a:lnTo>
                  <a:lnTo>
                    <a:pt x="479" y="8"/>
                  </a:lnTo>
                  <a:lnTo>
                    <a:pt x="479" y="9"/>
                  </a:lnTo>
                  <a:lnTo>
                    <a:pt x="479" y="11"/>
                  </a:lnTo>
                  <a:lnTo>
                    <a:pt x="479" y="11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2" y="13"/>
                  </a:lnTo>
                  <a:lnTo>
                    <a:pt x="484" y="14"/>
                  </a:lnTo>
                  <a:lnTo>
                    <a:pt x="484" y="14"/>
                  </a:lnTo>
                  <a:lnTo>
                    <a:pt x="484" y="16"/>
                  </a:lnTo>
                  <a:lnTo>
                    <a:pt x="485" y="17"/>
                  </a:lnTo>
                  <a:lnTo>
                    <a:pt x="485" y="19"/>
                  </a:lnTo>
                  <a:lnTo>
                    <a:pt x="485" y="20"/>
                  </a:lnTo>
                  <a:lnTo>
                    <a:pt x="485" y="20"/>
                  </a:lnTo>
                  <a:lnTo>
                    <a:pt x="485" y="20"/>
                  </a:lnTo>
                  <a:lnTo>
                    <a:pt x="487" y="22"/>
                  </a:lnTo>
                  <a:lnTo>
                    <a:pt x="487" y="22"/>
                  </a:lnTo>
                  <a:lnTo>
                    <a:pt x="487" y="23"/>
                  </a:lnTo>
                  <a:lnTo>
                    <a:pt x="487" y="23"/>
                  </a:lnTo>
                  <a:lnTo>
                    <a:pt x="487" y="25"/>
                  </a:lnTo>
                  <a:lnTo>
                    <a:pt x="487" y="26"/>
                  </a:lnTo>
                  <a:lnTo>
                    <a:pt x="487" y="28"/>
                  </a:lnTo>
                  <a:lnTo>
                    <a:pt x="485" y="28"/>
                  </a:lnTo>
                  <a:lnTo>
                    <a:pt x="487" y="29"/>
                  </a:lnTo>
                  <a:lnTo>
                    <a:pt x="487" y="29"/>
                  </a:lnTo>
                  <a:lnTo>
                    <a:pt x="489" y="31"/>
                  </a:lnTo>
                  <a:lnTo>
                    <a:pt x="489" y="31"/>
                  </a:lnTo>
                  <a:lnTo>
                    <a:pt x="489" y="33"/>
                  </a:lnTo>
                  <a:lnTo>
                    <a:pt x="489" y="33"/>
                  </a:lnTo>
                  <a:lnTo>
                    <a:pt x="487" y="33"/>
                  </a:lnTo>
                  <a:lnTo>
                    <a:pt x="487" y="34"/>
                  </a:lnTo>
                  <a:lnTo>
                    <a:pt x="487" y="36"/>
                  </a:lnTo>
                  <a:lnTo>
                    <a:pt x="485" y="39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76" y="42"/>
                  </a:lnTo>
                  <a:lnTo>
                    <a:pt x="476" y="42"/>
                  </a:lnTo>
                  <a:lnTo>
                    <a:pt x="475" y="43"/>
                  </a:lnTo>
                  <a:lnTo>
                    <a:pt x="472" y="43"/>
                  </a:lnTo>
                  <a:lnTo>
                    <a:pt x="472" y="45"/>
                  </a:lnTo>
                  <a:lnTo>
                    <a:pt x="470" y="43"/>
                  </a:lnTo>
                  <a:lnTo>
                    <a:pt x="470" y="43"/>
                  </a:lnTo>
                  <a:lnTo>
                    <a:pt x="467" y="45"/>
                  </a:lnTo>
                  <a:lnTo>
                    <a:pt x="467" y="45"/>
                  </a:lnTo>
                  <a:lnTo>
                    <a:pt x="465" y="45"/>
                  </a:lnTo>
                  <a:lnTo>
                    <a:pt x="462" y="42"/>
                  </a:lnTo>
                  <a:lnTo>
                    <a:pt x="461" y="42"/>
                  </a:lnTo>
                  <a:lnTo>
                    <a:pt x="461" y="42"/>
                  </a:lnTo>
                  <a:lnTo>
                    <a:pt x="458" y="43"/>
                  </a:lnTo>
                  <a:lnTo>
                    <a:pt x="455" y="43"/>
                  </a:lnTo>
                  <a:lnTo>
                    <a:pt x="455" y="45"/>
                  </a:lnTo>
                  <a:lnTo>
                    <a:pt x="453" y="45"/>
                  </a:lnTo>
                  <a:lnTo>
                    <a:pt x="453" y="45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50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42" y="43"/>
                  </a:lnTo>
                  <a:lnTo>
                    <a:pt x="441" y="45"/>
                  </a:lnTo>
                  <a:lnTo>
                    <a:pt x="441" y="45"/>
                  </a:lnTo>
                  <a:lnTo>
                    <a:pt x="439" y="46"/>
                  </a:lnTo>
                  <a:lnTo>
                    <a:pt x="439" y="48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36" y="46"/>
                  </a:lnTo>
                  <a:lnTo>
                    <a:pt x="435" y="48"/>
                  </a:lnTo>
                  <a:lnTo>
                    <a:pt x="422" y="51"/>
                  </a:lnTo>
                  <a:lnTo>
                    <a:pt x="421" y="51"/>
                  </a:lnTo>
                  <a:lnTo>
                    <a:pt x="419" y="51"/>
                  </a:lnTo>
                  <a:lnTo>
                    <a:pt x="418" y="51"/>
                  </a:lnTo>
                  <a:lnTo>
                    <a:pt x="415" y="46"/>
                  </a:lnTo>
                  <a:lnTo>
                    <a:pt x="413" y="45"/>
                  </a:lnTo>
                  <a:lnTo>
                    <a:pt x="412" y="45"/>
                  </a:lnTo>
                  <a:lnTo>
                    <a:pt x="410" y="43"/>
                  </a:lnTo>
                  <a:lnTo>
                    <a:pt x="408" y="43"/>
                  </a:lnTo>
                  <a:lnTo>
                    <a:pt x="408" y="42"/>
                  </a:lnTo>
                  <a:lnTo>
                    <a:pt x="408" y="42"/>
                  </a:lnTo>
                  <a:lnTo>
                    <a:pt x="408" y="42"/>
                  </a:lnTo>
                  <a:lnTo>
                    <a:pt x="407" y="42"/>
                  </a:lnTo>
                  <a:lnTo>
                    <a:pt x="395" y="37"/>
                  </a:lnTo>
                  <a:lnTo>
                    <a:pt x="393" y="36"/>
                  </a:lnTo>
                  <a:lnTo>
                    <a:pt x="392" y="36"/>
                  </a:lnTo>
                  <a:lnTo>
                    <a:pt x="390" y="36"/>
                  </a:lnTo>
                  <a:lnTo>
                    <a:pt x="388" y="36"/>
                  </a:lnTo>
                  <a:lnTo>
                    <a:pt x="387" y="37"/>
                  </a:lnTo>
                  <a:lnTo>
                    <a:pt x="385" y="37"/>
                  </a:lnTo>
                  <a:lnTo>
                    <a:pt x="387" y="39"/>
                  </a:lnTo>
                  <a:lnTo>
                    <a:pt x="385" y="40"/>
                  </a:lnTo>
                  <a:lnTo>
                    <a:pt x="384" y="40"/>
                  </a:lnTo>
                  <a:lnTo>
                    <a:pt x="382" y="39"/>
                  </a:lnTo>
                  <a:lnTo>
                    <a:pt x="379" y="36"/>
                  </a:lnTo>
                  <a:lnTo>
                    <a:pt x="379" y="34"/>
                  </a:lnTo>
                  <a:lnTo>
                    <a:pt x="378" y="34"/>
                  </a:lnTo>
                  <a:lnTo>
                    <a:pt x="376" y="34"/>
                  </a:lnTo>
                  <a:lnTo>
                    <a:pt x="375" y="34"/>
                  </a:lnTo>
                  <a:lnTo>
                    <a:pt x="375" y="33"/>
                  </a:lnTo>
                  <a:lnTo>
                    <a:pt x="372" y="33"/>
                  </a:lnTo>
                  <a:lnTo>
                    <a:pt x="372" y="33"/>
                  </a:lnTo>
                  <a:lnTo>
                    <a:pt x="370" y="31"/>
                  </a:lnTo>
                  <a:lnTo>
                    <a:pt x="370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68" y="29"/>
                  </a:lnTo>
                  <a:lnTo>
                    <a:pt x="368" y="28"/>
                  </a:lnTo>
                  <a:lnTo>
                    <a:pt x="368" y="28"/>
                  </a:lnTo>
                  <a:lnTo>
                    <a:pt x="367" y="28"/>
                  </a:lnTo>
                  <a:lnTo>
                    <a:pt x="367" y="28"/>
                  </a:lnTo>
                  <a:lnTo>
                    <a:pt x="367" y="26"/>
                  </a:lnTo>
                  <a:lnTo>
                    <a:pt x="367" y="23"/>
                  </a:lnTo>
                  <a:lnTo>
                    <a:pt x="365" y="22"/>
                  </a:lnTo>
                  <a:lnTo>
                    <a:pt x="364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59" y="23"/>
                  </a:lnTo>
                  <a:lnTo>
                    <a:pt x="358" y="23"/>
                  </a:lnTo>
                  <a:lnTo>
                    <a:pt x="356" y="23"/>
                  </a:lnTo>
                  <a:lnTo>
                    <a:pt x="355" y="23"/>
                  </a:lnTo>
                  <a:lnTo>
                    <a:pt x="353" y="23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8" y="25"/>
                  </a:lnTo>
                  <a:lnTo>
                    <a:pt x="348" y="25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8" y="23"/>
                  </a:lnTo>
                  <a:lnTo>
                    <a:pt x="348" y="22"/>
                  </a:lnTo>
                  <a:lnTo>
                    <a:pt x="347" y="20"/>
                  </a:lnTo>
                  <a:lnTo>
                    <a:pt x="345" y="20"/>
                  </a:lnTo>
                  <a:lnTo>
                    <a:pt x="344" y="20"/>
                  </a:lnTo>
                  <a:lnTo>
                    <a:pt x="342" y="20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39" y="22"/>
                  </a:lnTo>
                  <a:lnTo>
                    <a:pt x="339" y="23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8" y="25"/>
                  </a:lnTo>
                  <a:lnTo>
                    <a:pt x="338" y="23"/>
                  </a:lnTo>
                  <a:lnTo>
                    <a:pt x="338" y="23"/>
                  </a:lnTo>
                  <a:lnTo>
                    <a:pt x="335" y="22"/>
                  </a:lnTo>
                  <a:lnTo>
                    <a:pt x="331" y="22"/>
                  </a:lnTo>
                  <a:lnTo>
                    <a:pt x="330" y="23"/>
                  </a:lnTo>
                  <a:lnTo>
                    <a:pt x="330" y="26"/>
                  </a:lnTo>
                  <a:lnTo>
                    <a:pt x="330" y="28"/>
                  </a:lnTo>
                  <a:lnTo>
                    <a:pt x="330" y="29"/>
                  </a:lnTo>
                  <a:lnTo>
                    <a:pt x="330" y="29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29"/>
                  </a:lnTo>
                  <a:lnTo>
                    <a:pt x="327" y="29"/>
                  </a:lnTo>
                  <a:lnTo>
                    <a:pt x="325" y="31"/>
                  </a:lnTo>
                  <a:lnTo>
                    <a:pt x="325" y="31"/>
                  </a:lnTo>
                  <a:lnTo>
                    <a:pt x="325" y="31"/>
                  </a:lnTo>
                  <a:lnTo>
                    <a:pt x="324" y="33"/>
                  </a:lnTo>
                  <a:lnTo>
                    <a:pt x="322" y="33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6" y="31"/>
                  </a:lnTo>
                  <a:lnTo>
                    <a:pt x="316" y="31"/>
                  </a:lnTo>
                  <a:lnTo>
                    <a:pt x="315" y="33"/>
                  </a:lnTo>
                  <a:lnTo>
                    <a:pt x="313" y="33"/>
                  </a:lnTo>
                  <a:lnTo>
                    <a:pt x="311" y="33"/>
                  </a:lnTo>
                  <a:lnTo>
                    <a:pt x="310" y="33"/>
                  </a:lnTo>
                  <a:lnTo>
                    <a:pt x="308" y="36"/>
                  </a:lnTo>
                  <a:lnTo>
                    <a:pt x="307" y="36"/>
                  </a:lnTo>
                  <a:lnTo>
                    <a:pt x="304" y="36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299" y="37"/>
                  </a:lnTo>
                  <a:lnTo>
                    <a:pt x="299" y="39"/>
                  </a:lnTo>
                  <a:lnTo>
                    <a:pt x="298" y="39"/>
                  </a:lnTo>
                  <a:lnTo>
                    <a:pt x="294" y="39"/>
                  </a:lnTo>
                  <a:lnTo>
                    <a:pt x="290" y="36"/>
                  </a:lnTo>
                  <a:lnTo>
                    <a:pt x="282" y="36"/>
                  </a:lnTo>
                  <a:lnTo>
                    <a:pt x="281" y="36"/>
                  </a:lnTo>
                  <a:lnTo>
                    <a:pt x="279" y="37"/>
                  </a:lnTo>
                  <a:lnTo>
                    <a:pt x="278" y="39"/>
                  </a:lnTo>
                  <a:lnTo>
                    <a:pt x="276" y="39"/>
                  </a:lnTo>
                  <a:lnTo>
                    <a:pt x="276" y="39"/>
                  </a:lnTo>
                  <a:lnTo>
                    <a:pt x="274" y="37"/>
                  </a:lnTo>
                  <a:lnTo>
                    <a:pt x="273" y="36"/>
                  </a:lnTo>
                  <a:lnTo>
                    <a:pt x="271" y="36"/>
                  </a:lnTo>
                  <a:lnTo>
                    <a:pt x="270" y="37"/>
                  </a:lnTo>
                  <a:lnTo>
                    <a:pt x="268" y="37"/>
                  </a:lnTo>
                  <a:lnTo>
                    <a:pt x="268" y="39"/>
                  </a:lnTo>
                  <a:lnTo>
                    <a:pt x="267" y="40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3"/>
                  </a:lnTo>
                  <a:lnTo>
                    <a:pt x="265" y="43"/>
                  </a:lnTo>
                  <a:lnTo>
                    <a:pt x="264" y="43"/>
                  </a:lnTo>
                  <a:lnTo>
                    <a:pt x="261" y="45"/>
                  </a:lnTo>
                  <a:lnTo>
                    <a:pt x="245" y="42"/>
                  </a:lnTo>
                  <a:lnTo>
                    <a:pt x="239" y="42"/>
                  </a:lnTo>
                  <a:lnTo>
                    <a:pt x="238" y="42"/>
                  </a:lnTo>
                  <a:lnTo>
                    <a:pt x="236" y="42"/>
                  </a:lnTo>
                  <a:lnTo>
                    <a:pt x="234" y="43"/>
                  </a:lnTo>
                  <a:lnTo>
                    <a:pt x="233" y="43"/>
                  </a:lnTo>
                  <a:lnTo>
                    <a:pt x="233" y="46"/>
                  </a:lnTo>
                  <a:lnTo>
                    <a:pt x="233" y="48"/>
                  </a:lnTo>
                  <a:lnTo>
                    <a:pt x="233" y="56"/>
                  </a:lnTo>
                  <a:lnTo>
                    <a:pt x="231" y="59"/>
                  </a:lnTo>
                  <a:lnTo>
                    <a:pt x="231" y="60"/>
                  </a:lnTo>
                  <a:lnTo>
                    <a:pt x="230" y="62"/>
                  </a:lnTo>
                  <a:lnTo>
                    <a:pt x="228" y="60"/>
                  </a:lnTo>
                  <a:lnTo>
                    <a:pt x="228" y="60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25" y="57"/>
                  </a:lnTo>
                  <a:lnTo>
                    <a:pt x="224" y="57"/>
                  </a:lnTo>
                  <a:lnTo>
                    <a:pt x="224" y="59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2" y="62"/>
                  </a:lnTo>
                  <a:lnTo>
                    <a:pt x="222" y="63"/>
                  </a:lnTo>
                  <a:lnTo>
                    <a:pt x="221" y="63"/>
                  </a:lnTo>
                  <a:lnTo>
                    <a:pt x="221" y="63"/>
                  </a:lnTo>
                  <a:lnTo>
                    <a:pt x="219" y="63"/>
                  </a:lnTo>
                  <a:lnTo>
                    <a:pt x="216" y="63"/>
                  </a:lnTo>
                  <a:lnTo>
                    <a:pt x="214" y="63"/>
                  </a:lnTo>
                  <a:lnTo>
                    <a:pt x="213" y="63"/>
                  </a:lnTo>
                  <a:lnTo>
                    <a:pt x="213" y="63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8" y="63"/>
                  </a:lnTo>
                  <a:lnTo>
                    <a:pt x="207" y="62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2" y="62"/>
                  </a:lnTo>
                  <a:lnTo>
                    <a:pt x="201" y="63"/>
                  </a:lnTo>
                  <a:lnTo>
                    <a:pt x="201" y="63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0"/>
                  </a:lnTo>
                  <a:lnTo>
                    <a:pt x="199" y="60"/>
                  </a:lnTo>
                  <a:lnTo>
                    <a:pt x="197" y="60"/>
                  </a:lnTo>
                  <a:lnTo>
                    <a:pt x="194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1" y="59"/>
                  </a:lnTo>
                  <a:lnTo>
                    <a:pt x="190" y="60"/>
                  </a:lnTo>
                  <a:lnTo>
                    <a:pt x="187" y="63"/>
                  </a:lnTo>
                  <a:lnTo>
                    <a:pt x="185" y="63"/>
                  </a:lnTo>
                  <a:lnTo>
                    <a:pt x="185" y="63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82" y="60"/>
                  </a:lnTo>
                  <a:lnTo>
                    <a:pt x="182" y="60"/>
                  </a:lnTo>
                  <a:lnTo>
                    <a:pt x="181" y="60"/>
                  </a:lnTo>
                  <a:lnTo>
                    <a:pt x="181" y="60"/>
                  </a:lnTo>
                  <a:lnTo>
                    <a:pt x="181" y="62"/>
                  </a:lnTo>
                  <a:lnTo>
                    <a:pt x="179" y="62"/>
                  </a:lnTo>
                  <a:lnTo>
                    <a:pt x="174" y="63"/>
                  </a:lnTo>
                  <a:lnTo>
                    <a:pt x="173" y="63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70" y="70"/>
                  </a:lnTo>
                  <a:lnTo>
                    <a:pt x="170" y="70"/>
                  </a:lnTo>
                  <a:lnTo>
                    <a:pt x="170" y="70"/>
                  </a:lnTo>
                  <a:lnTo>
                    <a:pt x="168" y="71"/>
                  </a:lnTo>
                  <a:lnTo>
                    <a:pt x="167" y="74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2" y="77"/>
                  </a:lnTo>
                  <a:lnTo>
                    <a:pt x="162" y="79"/>
                  </a:lnTo>
                  <a:lnTo>
                    <a:pt x="161" y="79"/>
                  </a:lnTo>
                  <a:lnTo>
                    <a:pt x="161" y="80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59" y="83"/>
                  </a:lnTo>
                  <a:lnTo>
                    <a:pt x="157" y="83"/>
                  </a:lnTo>
                  <a:lnTo>
                    <a:pt x="154" y="82"/>
                  </a:lnTo>
                  <a:lnTo>
                    <a:pt x="151" y="83"/>
                  </a:lnTo>
                  <a:lnTo>
                    <a:pt x="151" y="83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48" y="86"/>
                  </a:lnTo>
                  <a:lnTo>
                    <a:pt x="147" y="88"/>
                  </a:lnTo>
                  <a:lnTo>
                    <a:pt x="147" y="88"/>
                  </a:lnTo>
                  <a:lnTo>
                    <a:pt x="144" y="88"/>
                  </a:lnTo>
                  <a:lnTo>
                    <a:pt x="140" y="85"/>
                  </a:lnTo>
                  <a:lnTo>
                    <a:pt x="140" y="85"/>
                  </a:lnTo>
                  <a:lnTo>
                    <a:pt x="134" y="83"/>
                  </a:lnTo>
                  <a:lnTo>
                    <a:pt x="133" y="83"/>
                  </a:lnTo>
                  <a:lnTo>
                    <a:pt x="131" y="85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2" y="90"/>
                  </a:lnTo>
                  <a:lnTo>
                    <a:pt x="122" y="88"/>
                  </a:lnTo>
                  <a:lnTo>
                    <a:pt x="119" y="88"/>
                  </a:lnTo>
                  <a:lnTo>
                    <a:pt x="117" y="88"/>
                  </a:lnTo>
                  <a:lnTo>
                    <a:pt x="111" y="90"/>
                  </a:lnTo>
                  <a:lnTo>
                    <a:pt x="100" y="90"/>
                  </a:lnTo>
                  <a:lnTo>
                    <a:pt x="100" y="94"/>
                  </a:lnTo>
                  <a:lnTo>
                    <a:pt x="100" y="97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100" y="99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2" y="103"/>
                  </a:lnTo>
                  <a:lnTo>
                    <a:pt x="105" y="105"/>
                  </a:lnTo>
                  <a:lnTo>
                    <a:pt x="105" y="106"/>
                  </a:lnTo>
                  <a:lnTo>
                    <a:pt x="105" y="108"/>
                  </a:lnTo>
                  <a:lnTo>
                    <a:pt x="105" y="111"/>
                  </a:lnTo>
                  <a:lnTo>
                    <a:pt x="105" y="113"/>
                  </a:lnTo>
                  <a:lnTo>
                    <a:pt x="105" y="116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4" y="119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2" y="122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99" y="123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9" y="127"/>
                  </a:lnTo>
                  <a:lnTo>
                    <a:pt x="96" y="128"/>
                  </a:lnTo>
                  <a:lnTo>
                    <a:pt x="94" y="128"/>
                  </a:lnTo>
                  <a:lnTo>
                    <a:pt x="93" y="127"/>
                  </a:lnTo>
                  <a:lnTo>
                    <a:pt x="91" y="127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30"/>
                  </a:lnTo>
                  <a:lnTo>
                    <a:pt x="88" y="130"/>
                  </a:lnTo>
                  <a:lnTo>
                    <a:pt x="88" y="13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3"/>
                  </a:lnTo>
                  <a:lnTo>
                    <a:pt x="87" y="136"/>
                  </a:lnTo>
                  <a:lnTo>
                    <a:pt x="87" y="136"/>
                  </a:lnTo>
                  <a:lnTo>
                    <a:pt x="87" y="137"/>
                  </a:lnTo>
                  <a:lnTo>
                    <a:pt x="85" y="139"/>
                  </a:lnTo>
                  <a:lnTo>
                    <a:pt x="85" y="140"/>
                  </a:lnTo>
                  <a:lnTo>
                    <a:pt x="83" y="142"/>
                  </a:lnTo>
                  <a:lnTo>
                    <a:pt x="83" y="143"/>
                  </a:lnTo>
                  <a:lnTo>
                    <a:pt x="83" y="143"/>
                  </a:lnTo>
                  <a:lnTo>
                    <a:pt x="82" y="143"/>
                  </a:lnTo>
                  <a:lnTo>
                    <a:pt x="82" y="145"/>
                  </a:lnTo>
                  <a:lnTo>
                    <a:pt x="80" y="145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1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77" y="156"/>
                  </a:lnTo>
                  <a:lnTo>
                    <a:pt x="77" y="156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79" y="159"/>
                  </a:lnTo>
                  <a:lnTo>
                    <a:pt x="79" y="160"/>
                  </a:lnTo>
                  <a:lnTo>
                    <a:pt x="77" y="163"/>
                  </a:lnTo>
                  <a:lnTo>
                    <a:pt x="77" y="163"/>
                  </a:lnTo>
                  <a:lnTo>
                    <a:pt x="76" y="163"/>
                  </a:lnTo>
                  <a:lnTo>
                    <a:pt x="74" y="165"/>
                  </a:lnTo>
                  <a:lnTo>
                    <a:pt x="71" y="167"/>
                  </a:lnTo>
                  <a:lnTo>
                    <a:pt x="70" y="167"/>
                  </a:lnTo>
                  <a:lnTo>
                    <a:pt x="67" y="165"/>
                  </a:lnTo>
                  <a:lnTo>
                    <a:pt x="65" y="167"/>
                  </a:lnTo>
                  <a:lnTo>
                    <a:pt x="63" y="167"/>
                  </a:lnTo>
                  <a:lnTo>
                    <a:pt x="60" y="167"/>
                  </a:lnTo>
                  <a:lnTo>
                    <a:pt x="59" y="167"/>
                  </a:lnTo>
                  <a:lnTo>
                    <a:pt x="59" y="168"/>
                  </a:lnTo>
                  <a:lnTo>
                    <a:pt x="57" y="170"/>
                  </a:lnTo>
                  <a:lnTo>
                    <a:pt x="57" y="171"/>
                  </a:lnTo>
                  <a:lnTo>
                    <a:pt x="57" y="173"/>
                  </a:lnTo>
                  <a:lnTo>
                    <a:pt x="56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53" y="180"/>
                  </a:lnTo>
                  <a:lnTo>
                    <a:pt x="53" y="180"/>
                  </a:lnTo>
                  <a:lnTo>
                    <a:pt x="54" y="183"/>
                  </a:lnTo>
                  <a:lnTo>
                    <a:pt x="57" y="188"/>
                  </a:lnTo>
                  <a:lnTo>
                    <a:pt x="59" y="190"/>
                  </a:lnTo>
                  <a:lnTo>
                    <a:pt x="57" y="193"/>
                  </a:lnTo>
                  <a:lnTo>
                    <a:pt x="56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50" y="197"/>
                  </a:lnTo>
                  <a:lnTo>
                    <a:pt x="50" y="197"/>
                  </a:lnTo>
                  <a:lnTo>
                    <a:pt x="50" y="197"/>
                  </a:lnTo>
                  <a:lnTo>
                    <a:pt x="51" y="199"/>
                  </a:lnTo>
                  <a:lnTo>
                    <a:pt x="51" y="199"/>
                  </a:lnTo>
                  <a:lnTo>
                    <a:pt x="51" y="200"/>
                  </a:lnTo>
                  <a:lnTo>
                    <a:pt x="50" y="200"/>
                  </a:lnTo>
                  <a:lnTo>
                    <a:pt x="48" y="202"/>
                  </a:lnTo>
                  <a:lnTo>
                    <a:pt x="47" y="204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3" y="205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8"/>
                  </a:lnTo>
                  <a:lnTo>
                    <a:pt x="42" y="208"/>
                  </a:lnTo>
                  <a:lnTo>
                    <a:pt x="40" y="207"/>
                  </a:lnTo>
                  <a:lnTo>
                    <a:pt x="39" y="205"/>
                  </a:lnTo>
                  <a:lnTo>
                    <a:pt x="36" y="204"/>
                  </a:lnTo>
                  <a:lnTo>
                    <a:pt x="33" y="202"/>
                  </a:lnTo>
                  <a:lnTo>
                    <a:pt x="30" y="202"/>
                  </a:lnTo>
                  <a:lnTo>
                    <a:pt x="28" y="202"/>
                  </a:lnTo>
                  <a:lnTo>
                    <a:pt x="30" y="202"/>
                  </a:lnTo>
                  <a:lnTo>
                    <a:pt x="30" y="202"/>
                  </a:lnTo>
                  <a:lnTo>
                    <a:pt x="30" y="204"/>
                  </a:lnTo>
                  <a:lnTo>
                    <a:pt x="33" y="204"/>
                  </a:lnTo>
                  <a:lnTo>
                    <a:pt x="36" y="204"/>
                  </a:lnTo>
                  <a:lnTo>
                    <a:pt x="36" y="205"/>
                  </a:lnTo>
                  <a:lnTo>
                    <a:pt x="36" y="205"/>
                  </a:lnTo>
                  <a:lnTo>
                    <a:pt x="37" y="205"/>
                  </a:lnTo>
                  <a:lnTo>
                    <a:pt x="37" y="205"/>
                  </a:lnTo>
                  <a:lnTo>
                    <a:pt x="39" y="207"/>
                  </a:lnTo>
                  <a:lnTo>
                    <a:pt x="39" y="207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42" y="208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39" y="214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9" y="217"/>
                  </a:lnTo>
                  <a:lnTo>
                    <a:pt x="39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2" y="217"/>
                  </a:lnTo>
                  <a:lnTo>
                    <a:pt x="43" y="217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20"/>
                  </a:lnTo>
                  <a:lnTo>
                    <a:pt x="45" y="219"/>
                  </a:lnTo>
                  <a:lnTo>
                    <a:pt x="47" y="219"/>
                  </a:lnTo>
                  <a:lnTo>
                    <a:pt x="48" y="219"/>
                  </a:lnTo>
                  <a:lnTo>
                    <a:pt x="48" y="220"/>
                  </a:lnTo>
                  <a:lnTo>
                    <a:pt x="48" y="220"/>
                  </a:lnTo>
                  <a:lnTo>
                    <a:pt x="48" y="222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8" y="224"/>
                  </a:lnTo>
                  <a:lnTo>
                    <a:pt x="48" y="225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47" y="227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47" y="228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1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1" y="237"/>
                  </a:lnTo>
                  <a:lnTo>
                    <a:pt x="53" y="239"/>
                  </a:lnTo>
                  <a:lnTo>
                    <a:pt x="56" y="242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2" y="240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2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7" y="250"/>
                  </a:lnTo>
                  <a:lnTo>
                    <a:pt x="73" y="257"/>
                  </a:lnTo>
                  <a:lnTo>
                    <a:pt x="76" y="259"/>
                  </a:lnTo>
                  <a:lnTo>
                    <a:pt x="77" y="260"/>
                  </a:lnTo>
                  <a:lnTo>
                    <a:pt x="80" y="262"/>
                  </a:lnTo>
                  <a:lnTo>
                    <a:pt x="80" y="264"/>
                  </a:lnTo>
                  <a:lnTo>
                    <a:pt x="82" y="267"/>
                  </a:lnTo>
                  <a:lnTo>
                    <a:pt x="82" y="268"/>
                  </a:lnTo>
                  <a:lnTo>
                    <a:pt x="82" y="268"/>
                  </a:lnTo>
                  <a:lnTo>
                    <a:pt x="80" y="268"/>
                  </a:lnTo>
                  <a:lnTo>
                    <a:pt x="80" y="268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2" y="270"/>
                  </a:lnTo>
                  <a:lnTo>
                    <a:pt x="82" y="270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5" y="271"/>
                  </a:lnTo>
                  <a:lnTo>
                    <a:pt x="85" y="271"/>
                  </a:lnTo>
                  <a:lnTo>
                    <a:pt x="85" y="271"/>
                  </a:lnTo>
                  <a:lnTo>
                    <a:pt x="87" y="271"/>
                  </a:lnTo>
                  <a:lnTo>
                    <a:pt x="88" y="271"/>
                  </a:lnTo>
                  <a:lnTo>
                    <a:pt x="90" y="273"/>
                  </a:lnTo>
                  <a:lnTo>
                    <a:pt x="90" y="273"/>
                  </a:lnTo>
                  <a:lnTo>
                    <a:pt x="91" y="273"/>
                  </a:lnTo>
                  <a:lnTo>
                    <a:pt x="90" y="271"/>
                  </a:lnTo>
                  <a:lnTo>
                    <a:pt x="90" y="271"/>
                  </a:lnTo>
                  <a:lnTo>
                    <a:pt x="88" y="270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3" y="267"/>
                  </a:lnTo>
                  <a:lnTo>
                    <a:pt x="83" y="267"/>
                  </a:lnTo>
                  <a:lnTo>
                    <a:pt x="83" y="267"/>
                  </a:lnTo>
                  <a:lnTo>
                    <a:pt x="85" y="267"/>
                  </a:lnTo>
                  <a:lnTo>
                    <a:pt x="85" y="265"/>
                  </a:lnTo>
                  <a:lnTo>
                    <a:pt x="87" y="265"/>
                  </a:lnTo>
                  <a:lnTo>
                    <a:pt x="87" y="265"/>
                  </a:lnTo>
                  <a:lnTo>
                    <a:pt x="87" y="264"/>
                  </a:lnTo>
                  <a:lnTo>
                    <a:pt x="87" y="264"/>
                  </a:lnTo>
                  <a:lnTo>
                    <a:pt x="87" y="262"/>
                  </a:lnTo>
                  <a:lnTo>
                    <a:pt x="88" y="260"/>
                  </a:lnTo>
                  <a:lnTo>
                    <a:pt x="87" y="260"/>
                  </a:lnTo>
                  <a:lnTo>
                    <a:pt x="87" y="260"/>
                  </a:lnTo>
                  <a:lnTo>
                    <a:pt x="87" y="260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8" y="257"/>
                  </a:lnTo>
                  <a:lnTo>
                    <a:pt x="90" y="259"/>
                  </a:lnTo>
                  <a:lnTo>
                    <a:pt x="90" y="257"/>
                  </a:lnTo>
                  <a:lnTo>
                    <a:pt x="91" y="259"/>
                  </a:lnTo>
                  <a:lnTo>
                    <a:pt x="91" y="260"/>
                  </a:lnTo>
                  <a:lnTo>
                    <a:pt x="90" y="262"/>
                  </a:lnTo>
                  <a:lnTo>
                    <a:pt x="90" y="262"/>
                  </a:lnTo>
                  <a:lnTo>
                    <a:pt x="91" y="262"/>
                  </a:lnTo>
                  <a:lnTo>
                    <a:pt x="91" y="260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1" y="262"/>
                  </a:lnTo>
                  <a:lnTo>
                    <a:pt x="93" y="262"/>
                  </a:lnTo>
                  <a:lnTo>
                    <a:pt x="93" y="264"/>
                  </a:lnTo>
                  <a:lnTo>
                    <a:pt x="93" y="264"/>
                  </a:lnTo>
                  <a:lnTo>
                    <a:pt x="93" y="265"/>
                  </a:lnTo>
                  <a:lnTo>
                    <a:pt x="91" y="265"/>
                  </a:lnTo>
                  <a:lnTo>
                    <a:pt x="94" y="265"/>
                  </a:lnTo>
                  <a:lnTo>
                    <a:pt x="94" y="265"/>
                  </a:lnTo>
                  <a:lnTo>
                    <a:pt x="93" y="265"/>
                  </a:lnTo>
                  <a:lnTo>
                    <a:pt x="93" y="264"/>
                  </a:lnTo>
                  <a:lnTo>
                    <a:pt x="93" y="264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7" y="262"/>
                  </a:lnTo>
                  <a:lnTo>
                    <a:pt x="97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100" y="265"/>
                  </a:lnTo>
                  <a:lnTo>
                    <a:pt x="100" y="265"/>
                  </a:lnTo>
                  <a:lnTo>
                    <a:pt x="102" y="265"/>
                  </a:lnTo>
                  <a:lnTo>
                    <a:pt x="102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8" y="268"/>
                  </a:lnTo>
                  <a:lnTo>
                    <a:pt x="107" y="267"/>
                  </a:lnTo>
                  <a:lnTo>
                    <a:pt x="107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10" y="265"/>
                  </a:lnTo>
                  <a:lnTo>
                    <a:pt x="108" y="265"/>
                  </a:lnTo>
                  <a:lnTo>
                    <a:pt x="108" y="264"/>
                  </a:lnTo>
                  <a:lnTo>
                    <a:pt x="108" y="264"/>
                  </a:lnTo>
                  <a:lnTo>
                    <a:pt x="110" y="262"/>
                  </a:lnTo>
                  <a:lnTo>
                    <a:pt x="113" y="267"/>
                  </a:lnTo>
                  <a:lnTo>
                    <a:pt x="114" y="268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3" y="274"/>
                  </a:lnTo>
                  <a:lnTo>
                    <a:pt x="114" y="276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6" y="277"/>
                  </a:lnTo>
                  <a:lnTo>
                    <a:pt x="116" y="277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6" y="280"/>
                  </a:lnTo>
                  <a:lnTo>
                    <a:pt x="116" y="280"/>
                  </a:lnTo>
                  <a:lnTo>
                    <a:pt x="116" y="280"/>
                  </a:lnTo>
                  <a:lnTo>
                    <a:pt x="114" y="280"/>
                  </a:lnTo>
                  <a:lnTo>
                    <a:pt x="114" y="280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1" y="277"/>
                  </a:lnTo>
                  <a:lnTo>
                    <a:pt x="110" y="277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0" y="280"/>
                  </a:lnTo>
                  <a:lnTo>
                    <a:pt x="110" y="280"/>
                  </a:lnTo>
                  <a:lnTo>
                    <a:pt x="110" y="280"/>
                  </a:lnTo>
                  <a:lnTo>
                    <a:pt x="110" y="282"/>
                  </a:lnTo>
                  <a:lnTo>
                    <a:pt x="108" y="280"/>
                  </a:lnTo>
                  <a:lnTo>
                    <a:pt x="107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5" y="277"/>
                  </a:lnTo>
                  <a:lnTo>
                    <a:pt x="105" y="276"/>
                  </a:lnTo>
                  <a:lnTo>
                    <a:pt x="105" y="276"/>
                  </a:lnTo>
                  <a:lnTo>
                    <a:pt x="104" y="274"/>
                  </a:lnTo>
                  <a:lnTo>
                    <a:pt x="104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0" y="274"/>
                  </a:lnTo>
                  <a:lnTo>
                    <a:pt x="99" y="274"/>
                  </a:lnTo>
                  <a:lnTo>
                    <a:pt x="99" y="274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4"/>
                  </a:lnTo>
                  <a:lnTo>
                    <a:pt x="96" y="276"/>
                  </a:lnTo>
                  <a:lnTo>
                    <a:pt x="94" y="276"/>
                  </a:lnTo>
                  <a:lnTo>
                    <a:pt x="93" y="276"/>
                  </a:lnTo>
                  <a:lnTo>
                    <a:pt x="94" y="276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3"/>
                  </a:lnTo>
                  <a:lnTo>
                    <a:pt x="93" y="273"/>
                  </a:lnTo>
                  <a:lnTo>
                    <a:pt x="93" y="273"/>
                  </a:lnTo>
                  <a:lnTo>
                    <a:pt x="91" y="274"/>
                  </a:lnTo>
                  <a:lnTo>
                    <a:pt x="91" y="276"/>
                  </a:lnTo>
                  <a:lnTo>
                    <a:pt x="90" y="276"/>
                  </a:lnTo>
                  <a:lnTo>
                    <a:pt x="88" y="276"/>
                  </a:lnTo>
                  <a:lnTo>
                    <a:pt x="87" y="274"/>
                  </a:lnTo>
                  <a:lnTo>
                    <a:pt x="87" y="273"/>
                  </a:lnTo>
                  <a:lnTo>
                    <a:pt x="87" y="273"/>
                  </a:lnTo>
                  <a:lnTo>
                    <a:pt x="85" y="274"/>
                  </a:lnTo>
                  <a:lnTo>
                    <a:pt x="85" y="276"/>
                  </a:lnTo>
                  <a:lnTo>
                    <a:pt x="85" y="277"/>
                  </a:lnTo>
                  <a:lnTo>
                    <a:pt x="85" y="279"/>
                  </a:lnTo>
                  <a:lnTo>
                    <a:pt x="87" y="280"/>
                  </a:lnTo>
                  <a:lnTo>
                    <a:pt x="88" y="280"/>
                  </a:lnTo>
                  <a:lnTo>
                    <a:pt x="88" y="280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7" y="282"/>
                  </a:lnTo>
                  <a:lnTo>
                    <a:pt x="85" y="282"/>
                  </a:lnTo>
                  <a:lnTo>
                    <a:pt x="85" y="282"/>
                  </a:lnTo>
                  <a:lnTo>
                    <a:pt x="83" y="284"/>
                  </a:lnTo>
                  <a:lnTo>
                    <a:pt x="83" y="285"/>
                  </a:lnTo>
                  <a:lnTo>
                    <a:pt x="83" y="287"/>
                  </a:lnTo>
                  <a:lnTo>
                    <a:pt x="83" y="288"/>
                  </a:lnTo>
                  <a:lnTo>
                    <a:pt x="85" y="290"/>
                  </a:lnTo>
                  <a:lnTo>
                    <a:pt x="85" y="290"/>
                  </a:lnTo>
                  <a:lnTo>
                    <a:pt x="87" y="291"/>
                  </a:lnTo>
                  <a:lnTo>
                    <a:pt x="87" y="291"/>
                  </a:lnTo>
                  <a:lnTo>
                    <a:pt x="87" y="291"/>
                  </a:lnTo>
                  <a:lnTo>
                    <a:pt x="88" y="291"/>
                  </a:lnTo>
                  <a:lnTo>
                    <a:pt x="88" y="290"/>
                  </a:lnTo>
                  <a:lnTo>
                    <a:pt x="88" y="290"/>
                  </a:lnTo>
                  <a:lnTo>
                    <a:pt x="90" y="291"/>
                  </a:lnTo>
                  <a:lnTo>
                    <a:pt x="90" y="290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3" y="288"/>
                  </a:lnTo>
                  <a:lnTo>
                    <a:pt x="94" y="288"/>
                  </a:lnTo>
                  <a:lnTo>
                    <a:pt x="94" y="290"/>
                  </a:lnTo>
                  <a:lnTo>
                    <a:pt x="96" y="297"/>
                  </a:lnTo>
                  <a:lnTo>
                    <a:pt x="97" y="299"/>
                  </a:lnTo>
                  <a:lnTo>
                    <a:pt x="97" y="299"/>
                  </a:lnTo>
                  <a:lnTo>
                    <a:pt x="99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4" y="304"/>
                  </a:lnTo>
                  <a:lnTo>
                    <a:pt x="105" y="307"/>
                  </a:lnTo>
                  <a:lnTo>
                    <a:pt x="105" y="308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4"/>
                  </a:lnTo>
                  <a:lnTo>
                    <a:pt x="105" y="316"/>
                  </a:lnTo>
                  <a:lnTo>
                    <a:pt x="105" y="316"/>
                  </a:lnTo>
                  <a:lnTo>
                    <a:pt x="107" y="316"/>
                  </a:lnTo>
                  <a:lnTo>
                    <a:pt x="108" y="314"/>
                  </a:lnTo>
                  <a:lnTo>
                    <a:pt x="108" y="314"/>
                  </a:lnTo>
                  <a:lnTo>
                    <a:pt x="108" y="314"/>
                  </a:lnTo>
                  <a:lnTo>
                    <a:pt x="110" y="313"/>
                  </a:lnTo>
                  <a:lnTo>
                    <a:pt x="110" y="313"/>
                  </a:lnTo>
                  <a:lnTo>
                    <a:pt x="110" y="313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6"/>
                  </a:lnTo>
                  <a:lnTo>
                    <a:pt x="110" y="316"/>
                  </a:lnTo>
                  <a:lnTo>
                    <a:pt x="110" y="316"/>
                  </a:lnTo>
                  <a:lnTo>
                    <a:pt x="111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1" y="317"/>
                  </a:lnTo>
                  <a:lnTo>
                    <a:pt x="111" y="319"/>
                  </a:lnTo>
                  <a:lnTo>
                    <a:pt x="111" y="319"/>
                  </a:lnTo>
                  <a:lnTo>
                    <a:pt x="111" y="322"/>
                  </a:lnTo>
                  <a:lnTo>
                    <a:pt x="111" y="322"/>
                  </a:lnTo>
                  <a:lnTo>
                    <a:pt x="111" y="322"/>
                  </a:lnTo>
                  <a:lnTo>
                    <a:pt x="111" y="324"/>
                  </a:lnTo>
                  <a:lnTo>
                    <a:pt x="111" y="324"/>
                  </a:lnTo>
                  <a:lnTo>
                    <a:pt x="110" y="324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4"/>
                  </a:lnTo>
                  <a:lnTo>
                    <a:pt x="110" y="325"/>
                  </a:lnTo>
                  <a:lnTo>
                    <a:pt x="110" y="325"/>
                  </a:lnTo>
                  <a:lnTo>
                    <a:pt x="111" y="325"/>
                  </a:lnTo>
                  <a:lnTo>
                    <a:pt x="111" y="325"/>
                  </a:lnTo>
                  <a:lnTo>
                    <a:pt x="113" y="325"/>
                  </a:lnTo>
                  <a:lnTo>
                    <a:pt x="113" y="325"/>
                  </a:lnTo>
                  <a:lnTo>
                    <a:pt x="113" y="327"/>
                  </a:lnTo>
                  <a:lnTo>
                    <a:pt x="113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7"/>
                  </a:lnTo>
                  <a:lnTo>
                    <a:pt x="111" y="328"/>
                  </a:lnTo>
                  <a:lnTo>
                    <a:pt x="110" y="330"/>
                  </a:lnTo>
                  <a:lnTo>
                    <a:pt x="110" y="328"/>
                  </a:lnTo>
                  <a:lnTo>
                    <a:pt x="111" y="328"/>
                  </a:lnTo>
                  <a:lnTo>
                    <a:pt x="111" y="330"/>
                  </a:lnTo>
                  <a:lnTo>
                    <a:pt x="111" y="330"/>
                  </a:lnTo>
                  <a:lnTo>
                    <a:pt x="110" y="331"/>
                  </a:lnTo>
                  <a:lnTo>
                    <a:pt x="110" y="331"/>
                  </a:lnTo>
                  <a:lnTo>
                    <a:pt x="110" y="331"/>
                  </a:lnTo>
                  <a:lnTo>
                    <a:pt x="113" y="331"/>
                  </a:lnTo>
                  <a:lnTo>
                    <a:pt x="113" y="331"/>
                  </a:lnTo>
                  <a:lnTo>
                    <a:pt x="114" y="333"/>
                  </a:lnTo>
                  <a:lnTo>
                    <a:pt x="114" y="334"/>
                  </a:lnTo>
                  <a:lnTo>
                    <a:pt x="114" y="334"/>
                  </a:lnTo>
                  <a:lnTo>
                    <a:pt x="116" y="334"/>
                  </a:lnTo>
                  <a:lnTo>
                    <a:pt x="116" y="334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7" y="333"/>
                  </a:lnTo>
                  <a:lnTo>
                    <a:pt x="116" y="333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9" y="331"/>
                  </a:lnTo>
                  <a:lnTo>
                    <a:pt x="119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2" y="331"/>
                  </a:lnTo>
                  <a:lnTo>
                    <a:pt x="124" y="331"/>
                  </a:lnTo>
                  <a:lnTo>
                    <a:pt x="124" y="330"/>
                  </a:lnTo>
                  <a:lnTo>
                    <a:pt x="124" y="330"/>
                  </a:lnTo>
                  <a:lnTo>
                    <a:pt x="124" y="330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5" y="330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8"/>
                  </a:lnTo>
                  <a:lnTo>
                    <a:pt x="125" y="327"/>
                  </a:lnTo>
                  <a:lnTo>
                    <a:pt x="127" y="327"/>
                  </a:lnTo>
                  <a:lnTo>
                    <a:pt x="128" y="327"/>
                  </a:lnTo>
                  <a:lnTo>
                    <a:pt x="128" y="327"/>
                  </a:lnTo>
                  <a:lnTo>
                    <a:pt x="128" y="325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4"/>
                  </a:lnTo>
                  <a:lnTo>
                    <a:pt x="128" y="322"/>
                  </a:lnTo>
                  <a:lnTo>
                    <a:pt x="130" y="322"/>
                  </a:lnTo>
                  <a:lnTo>
                    <a:pt x="127" y="317"/>
                  </a:lnTo>
                  <a:lnTo>
                    <a:pt x="127" y="317"/>
                  </a:lnTo>
                  <a:lnTo>
                    <a:pt x="127" y="317"/>
                  </a:lnTo>
                  <a:lnTo>
                    <a:pt x="127" y="316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30" y="319"/>
                  </a:lnTo>
                  <a:lnTo>
                    <a:pt x="131" y="325"/>
                  </a:lnTo>
                  <a:lnTo>
                    <a:pt x="131" y="325"/>
                  </a:lnTo>
                  <a:lnTo>
                    <a:pt x="133" y="325"/>
                  </a:lnTo>
                  <a:lnTo>
                    <a:pt x="134" y="327"/>
                  </a:lnTo>
                  <a:lnTo>
                    <a:pt x="134" y="327"/>
                  </a:lnTo>
                  <a:lnTo>
                    <a:pt x="134" y="330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9" y="328"/>
                  </a:lnTo>
                  <a:lnTo>
                    <a:pt x="137" y="330"/>
                  </a:lnTo>
                  <a:lnTo>
                    <a:pt x="139" y="330"/>
                  </a:lnTo>
                  <a:lnTo>
                    <a:pt x="139" y="330"/>
                  </a:lnTo>
                  <a:lnTo>
                    <a:pt x="139" y="330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3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3"/>
                  </a:lnTo>
                  <a:lnTo>
                    <a:pt x="136" y="331"/>
                  </a:lnTo>
                  <a:lnTo>
                    <a:pt x="134" y="333"/>
                  </a:lnTo>
                  <a:lnTo>
                    <a:pt x="137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40" y="334"/>
                  </a:lnTo>
                  <a:lnTo>
                    <a:pt x="140" y="334"/>
                  </a:lnTo>
                  <a:lnTo>
                    <a:pt x="142" y="336"/>
                  </a:lnTo>
                  <a:lnTo>
                    <a:pt x="142" y="336"/>
                  </a:lnTo>
                  <a:lnTo>
                    <a:pt x="144" y="334"/>
                  </a:lnTo>
                  <a:lnTo>
                    <a:pt x="148" y="330"/>
                  </a:lnTo>
                  <a:lnTo>
                    <a:pt x="148" y="331"/>
                  </a:lnTo>
                  <a:lnTo>
                    <a:pt x="150" y="331"/>
                  </a:lnTo>
                  <a:lnTo>
                    <a:pt x="151" y="330"/>
                  </a:lnTo>
                  <a:lnTo>
                    <a:pt x="153" y="330"/>
                  </a:lnTo>
                  <a:lnTo>
                    <a:pt x="156" y="330"/>
                  </a:lnTo>
                  <a:lnTo>
                    <a:pt x="159" y="331"/>
                  </a:lnTo>
                  <a:lnTo>
                    <a:pt x="161" y="333"/>
                  </a:lnTo>
                  <a:lnTo>
                    <a:pt x="161" y="331"/>
                  </a:lnTo>
                  <a:lnTo>
                    <a:pt x="161" y="330"/>
                  </a:lnTo>
                  <a:lnTo>
                    <a:pt x="162" y="330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7"/>
                  </a:lnTo>
                  <a:lnTo>
                    <a:pt x="167" y="328"/>
                  </a:lnTo>
                  <a:lnTo>
                    <a:pt x="167" y="328"/>
                  </a:lnTo>
                  <a:lnTo>
                    <a:pt x="168" y="328"/>
                  </a:lnTo>
                  <a:lnTo>
                    <a:pt x="170" y="328"/>
                  </a:lnTo>
                  <a:lnTo>
                    <a:pt x="173" y="325"/>
                  </a:lnTo>
                  <a:lnTo>
                    <a:pt x="174" y="325"/>
                  </a:lnTo>
                  <a:lnTo>
                    <a:pt x="176" y="325"/>
                  </a:lnTo>
                  <a:lnTo>
                    <a:pt x="179" y="327"/>
                  </a:lnTo>
                  <a:lnTo>
                    <a:pt x="179" y="325"/>
                  </a:lnTo>
                  <a:lnTo>
                    <a:pt x="181" y="325"/>
                  </a:lnTo>
                  <a:lnTo>
                    <a:pt x="185" y="328"/>
                  </a:lnTo>
                  <a:lnTo>
                    <a:pt x="187" y="328"/>
                  </a:lnTo>
                  <a:lnTo>
                    <a:pt x="188" y="330"/>
                  </a:lnTo>
                  <a:lnTo>
                    <a:pt x="188" y="330"/>
                  </a:lnTo>
                  <a:lnTo>
                    <a:pt x="188" y="330"/>
                  </a:lnTo>
                  <a:lnTo>
                    <a:pt x="190" y="330"/>
                  </a:lnTo>
                  <a:lnTo>
                    <a:pt x="190" y="330"/>
                  </a:lnTo>
                  <a:lnTo>
                    <a:pt x="191" y="331"/>
                  </a:lnTo>
                  <a:lnTo>
                    <a:pt x="191" y="333"/>
                  </a:lnTo>
                  <a:lnTo>
                    <a:pt x="191" y="333"/>
                  </a:lnTo>
                  <a:lnTo>
                    <a:pt x="193" y="331"/>
                  </a:lnTo>
                  <a:lnTo>
                    <a:pt x="193" y="330"/>
                  </a:lnTo>
                  <a:lnTo>
                    <a:pt x="194" y="330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0"/>
                  </a:lnTo>
                  <a:lnTo>
                    <a:pt x="197" y="330"/>
                  </a:lnTo>
                  <a:lnTo>
                    <a:pt x="199" y="330"/>
                  </a:lnTo>
                  <a:lnTo>
                    <a:pt x="199" y="331"/>
                  </a:lnTo>
                  <a:lnTo>
                    <a:pt x="202" y="330"/>
                  </a:lnTo>
                  <a:lnTo>
                    <a:pt x="204" y="331"/>
                  </a:lnTo>
                  <a:lnTo>
                    <a:pt x="205" y="331"/>
                  </a:lnTo>
                  <a:lnTo>
                    <a:pt x="207" y="331"/>
                  </a:lnTo>
                  <a:lnTo>
                    <a:pt x="207" y="330"/>
                  </a:lnTo>
                  <a:lnTo>
                    <a:pt x="205" y="330"/>
                  </a:lnTo>
                  <a:lnTo>
                    <a:pt x="207" y="330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7" y="327"/>
                  </a:lnTo>
                  <a:lnTo>
                    <a:pt x="207" y="328"/>
                  </a:lnTo>
                  <a:lnTo>
                    <a:pt x="207" y="328"/>
                  </a:lnTo>
                  <a:lnTo>
                    <a:pt x="205" y="327"/>
                  </a:lnTo>
                  <a:lnTo>
                    <a:pt x="205" y="327"/>
                  </a:lnTo>
                  <a:lnTo>
                    <a:pt x="205" y="325"/>
                  </a:lnTo>
                  <a:lnTo>
                    <a:pt x="208" y="324"/>
                  </a:lnTo>
                  <a:lnTo>
                    <a:pt x="208" y="324"/>
                  </a:lnTo>
                  <a:lnTo>
                    <a:pt x="208" y="322"/>
                  </a:lnTo>
                  <a:lnTo>
                    <a:pt x="207" y="321"/>
                  </a:lnTo>
                  <a:lnTo>
                    <a:pt x="211" y="322"/>
                  </a:lnTo>
                  <a:lnTo>
                    <a:pt x="211" y="324"/>
                  </a:lnTo>
                  <a:lnTo>
                    <a:pt x="211" y="324"/>
                  </a:lnTo>
                  <a:lnTo>
                    <a:pt x="213" y="324"/>
                  </a:lnTo>
                  <a:lnTo>
                    <a:pt x="213" y="325"/>
                  </a:lnTo>
                  <a:lnTo>
                    <a:pt x="216" y="330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6" y="333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4"/>
                  </a:lnTo>
                  <a:lnTo>
                    <a:pt x="217" y="334"/>
                  </a:lnTo>
                  <a:lnTo>
                    <a:pt x="219" y="336"/>
                  </a:lnTo>
                  <a:lnTo>
                    <a:pt x="221" y="336"/>
                  </a:lnTo>
                  <a:lnTo>
                    <a:pt x="221" y="336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1" y="333"/>
                  </a:lnTo>
                  <a:lnTo>
                    <a:pt x="221" y="331"/>
                  </a:lnTo>
                  <a:lnTo>
                    <a:pt x="222" y="331"/>
                  </a:lnTo>
                  <a:lnTo>
                    <a:pt x="222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225" y="330"/>
                  </a:lnTo>
                  <a:lnTo>
                    <a:pt x="225" y="330"/>
                  </a:lnTo>
                  <a:lnTo>
                    <a:pt x="225" y="328"/>
                  </a:lnTo>
                  <a:lnTo>
                    <a:pt x="224" y="328"/>
                  </a:lnTo>
                  <a:lnTo>
                    <a:pt x="225" y="327"/>
                  </a:lnTo>
                  <a:lnTo>
                    <a:pt x="227" y="327"/>
                  </a:lnTo>
                  <a:lnTo>
                    <a:pt x="228" y="330"/>
                  </a:lnTo>
                  <a:lnTo>
                    <a:pt x="228" y="331"/>
                  </a:lnTo>
                  <a:lnTo>
                    <a:pt x="228" y="333"/>
                  </a:lnTo>
                  <a:lnTo>
                    <a:pt x="230" y="333"/>
                  </a:lnTo>
                  <a:lnTo>
                    <a:pt x="230" y="334"/>
                  </a:lnTo>
                  <a:lnTo>
                    <a:pt x="231" y="334"/>
                  </a:lnTo>
                  <a:lnTo>
                    <a:pt x="233" y="336"/>
                  </a:lnTo>
                  <a:lnTo>
                    <a:pt x="236" y="336"/>
                  </a:lnTo>
                  <a:lnTo>
                    <a:pt x="238" y="337"/>
                  </a:lnTo>
                  <a:lnTo>
                    <a:pt x="236" y="337"/>
                  </a:lnTo>
                  <a:lnTo>
                    <a:pt x="234" y="339"/>
                  </a:lnTo>
                  <a:lnTo>
                    <a:pt x="234" y="341"/>
                  </a:lnTo>
                  <a:lnTo>
                    <a:pt x="238" y="342"/>
                  </a:lnTo>
                  <a:lnTo>
                    <a:pt x="239" y="342"/>
                  </a:lnTo>
                  <a:lnTo>
                    <a:pt x="241" y="341"/>
                  </a:lnTo>
                  <a:lnTo>
                    <a:pt x="242" y="341"/>
                  </a:lnTo>
                  <a:lnTo>
                    <a:pt x="242" y="341"/>
                  </a:lnTo>
                  <a:lnTo>
                    <a:pt x="244" y="342"/>
                  </a:lnTo>
                  <a:lnTo>
                    <a:pt x="244" y="342"/>
                  </a:lnTo>
                  <a:lnTo>
                    <a:pt x="244" y="341"/>
                  </a:lnTo>
                  <a:lnTo>
                    <a:pt x="244" y="341"/>
                  </a:lnTo>
                  <a:lnTo>
                    <a:pt x="245" y="345"/>
                  </a:lnTo>
                  <a:lnTo>
                    <a:pt x="247" y="345"/>
                  </a:lnTo>
                  <a:lnTo>
                    <a:pt x="248" y="345"/>
                  </a:lnTo>
                  <a:lnTo>
                    <a:pt x="250" y="345"/>
                  </a:lnTo>
                  <a:lnTo>
                    <a:pt x="250" y="344"/>
                  </a:lnTo>
                  <a:lnTo>
                    <a:pt x="248" y="344"/>
                  </a:lnTo>
                  <a:lnTo>
                    <a:pt x="247" y="344"/>
                  </a:lnTo>
                  <a:lnTo>
                    <a:pt x="247" y="344"/>
                  </a:lnTo>
                  <a:lnTo>
                    <a:pt x="247" y="342"/>
                  </a:lnTo>
                  <a:lnTo>
                    <a:pt x="248" y="342"/>
                  </a:lnTo>
                  <a:lnTo>
                    <a:pt x="253" y="342"/>
                  </a:lnTo>
                  <a:lnTo>
                    <a:pt x="254" y="344"/>
                  </a:lnTo>
                  <a:lnTo>
                    <a:pt x="254" y="344"/>
                  </a:lnTo>
                  <a:lnTo>
                    <a:pt x="256" y="345"/>
                  </a:lnTo>
                  <a:lnTo>
                    <a:pt x="254" y="345"/>
                  </a:lnTo>
                  <a:lnTo>
                    <a:pt x="254" y="345"/>
                  </a:lnTo>
                  <a:lnTo>
                    <a:pt x="258" y="347"/>
                  </a:lnTo>
                  <a:lnTo>
                    <a:pt x="258" y="347"/>
                  </a:lnTo>
                  <a:lnTo>
                    <a:pt x="261" y="344"/>
                  </a:lnTo>
                  <a:lnTo>
                    <a:pt x="261" y="344"/>
                  </a:lnTo>
                  <a:lnTo>
                    <a:pt x="264" y="345"/>
                  </a:lnTo>
                  <a:lnTo>
                    <a:pt x="262" y="347"/>
                  </a:lnTo>
                  <a:lnTo>
                    <a:pt x="262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50"/>
                  </a:lnTo>
                  <a:lnTo>
                    <a:pt x="268" y="350"/>
                  </a:lnTo>
                  <a:lnTo>
                    <a:pt x="265" y="350"/>
                  </a:lnTo>
                  <a:lnTo>
                    <a:pt x="265" y="350"/>
                  </a:lnTo>
                  <a:lnTo>
                    <a:pt x="265" y="351"/>
                  </a:lnTo>
                  <a:lnTo>
                    <a:pt x="265" y="351"/>
                  </a:lnTo>
                  <a:lnTo>
                    <a:pt x="267" y="351"/>
                  </a:lnTo>
                  <a:lnTo>
                    <a:pt x="268" y="353"/>
                  </a:lnTo>
                  <a:lnTo>
                    <a:pt x="268" y="354"/>
                  </a:lnTo>
                  <a:lnTo>
                    <a:pt x="267" y="354"/>
                  </a:lnTo>
                  <a:lnTo>
                    <a:pt x="267" y="354"/>
                  </a:lnTo>
                  <a:lnTo>
                    <a:pt x="265" y="356"/>
                  </a:lnTo>
                  <a:lnTo>
                    <a:pt x="259" y="357"/>
                  </a:lnTo>
                  <a:lnTo>
                    <a:pt x="258" y="357"/>
                  </a:lnTo>
                  <a:lnTo>
                    <a:pt x="254" y="357"/>
                  </a:lnTo>
                  <a:lnTo>
                    <a:pt x="253" y="357"/>
                  </a:lnTo>
                  <a:lnTo>
                    <a:pt x="250" y="356"/>
                  </a:lnTo>
                  <a:lnTo>
                    <a:pt x="248" y="356"/>
                  </a:lnTo>
                  <a:lnTo>
                    <a:pt x="247" y="356"/>
                  </a:lnTo>
                  <a:lnTo>
                    <a:pt x="245" y="357"/>
                  </a:lnTo>
                  <a:lnTo>
                    <a:pt x="244" y="357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1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47" y="362"/>
                  </a:lnTo>
                  <a:lnTo>
                    <a:pt x="247" y="362"/>
                  </a:lnTo>
                  <a:lnTo>
                    <a:pt x="248" y="364"/>
                  </a:lnTo>
                  <a:lnTo>
                    <a:pt x="250" y="364"/>
                  </a:lnTo>
                  <a:lnTo>
                    <a:pt x="250" y="365"/>
                  </a:lnTo>
                  <a:lnTo>
                    <a:pt x="250" y="365"/>
                  </a:lnTo>
                  <a:lnTo>
                    <a:pt x="248" y="368"/>
                  </a:lnTo>
                  <a:lnTo>
                    <a:pt x="248" y="368"/>
                  </a:lnTo>
                  <a:lnTo>
                    <a:pt x="247" y="368"/>
                  </a:lnTo>
                  <a:lnTo>
                    <a:pt x="247" y="368"/>
                  </a:lnTo>
                  <a:lnTo>
                    <a:pt x="247" y="368"/>
                  </a:lnTo>
                  <a:lnTo>
                    <a:pt x="244" y="370"/>
                  </a:lnTo>
                  <a:lnTo>
                    <a:pt x="244" y="370"/>
                  </a:lnTo>
                  <a:lnTo>
                    <a:pt x="242" y="370"/>
                  </a:lnTo>
                  <a:lnTo>
                    <a:pt x="241" y="368"/>
                  </a:lnTo>
                  <a:lnTo>
                    <a:pt x="239" y="367"/>
                  </a:lnTo>
                  <a:lnTo>
                    <a:pt x="238" y="365"/>
                  </a:lnTo>
                  <a:lnTo>
                    <a:pt x="238" y="365"/>
                  </a:lnTo>
                  <a:lnTo>
                    <a:pt x="236" y="364"/>
                  </a:lnTo>
                  <a:lnTo>
                    <a:pt x="230" y="357"/>
                  </a:lnTo>
                  <a:lnTo>
                    <a:pt x="228" y="357"/>
                  </a:lnTo>
                  <a:lnTo>
                    <a:pt x="228" y="357"/>
                  </a:lnTo>
                  <a:lnTo>
                    <a:pt x="224" y="356"/>
                  </a:lnTo>
                  <a:lnTo>
                    <a:pt x="216" y="351"/>
                  </a:lnTo>
                  <a:lnTo>
                    <a:pt x="210" y="350"/>
                  </a:lnTo>
                  <a:lnTo>
                    <a:pt x="210" y="350"/>
                  </a:lnTo>
                  <a:lnTo>
                    <a:pt x="208" y="350"/>
                  </a:lnTo>
                  <a:lnTo>
                    <a:pt x="208" y="350"/>
                  </a:lnTo>
                  <a:lnTo>
                    <a:pt x="207" y="350"/>
                  </a:lnTo>
                  <a:lnTo>
                    <a:pt x="205" y="348"/>
                  </a:lnTo>
                  <a:lnTo>
                    <a:pt x="204" y="347"/>
                  </a:lnTo>
                  <a:lnTo>
                    <a:pt x="202" y="347"/>
                  </a:lnTo>
                  <a:lnTo>
                    <a:pt x="201" y="347"/>
                  </a:lnTo>
                  <a:lnTo>
                    <a:pt x="201" y="347"/>
                  </a:lnTo>
                  <a:lnTo>
                    <a:pt x="196" y="345"/>
                  </a:lnTo>
                  <a:lnTo>
                    <a:pt x="194" y="345"/>
                  </a:lnTo>
                  <a:lnTo>
                    <a:pt x="194" y="345"/>
                  </a:lnTo>
                  <a:lnTo>
                    <a:pt x="193" y="345"/>
                  </a:lnTo>
                  <a:lnTo>
                    <a:pt x="193" y="345"/>
                  </a:lnTo>
                  <a:lnTo>
                    <a:pt x="193" y="345"/>
                  </a:lnTo>
                  <a:lnTo>
                    <a:pt x="190" y="344"/>
                  </a:lnTo>
                  <a:lnTo>
                    <a:pt x="190" y="344"/>
                  </a:lnTo>
                  <a:lnTo>
                    <a:pt x="188" y="342"/>
                  </a:lnTo>
                  <a:lnTo>
                    <a:pt x="188" y="341"/>
                  </a:lnTo>
                  <a:lnTo>
                    <a:pt x="188" y="339"/>
                  </a:lnTo>
                  <a:lnTo>
                    <a:pt x="187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5" y="339"/>
                  </a:lnTo>
                  <a:lnTo>
                    <a:pt x="185" y="339"/>
                  </a:lnTo>
                  <a:lnTo>
                    <a:pt x="184" y="339"/>
                  </a:lnTo>
                  <a:lnTo>
                    <a:pt x="184" y="339"/>
                  </a:lnTo>
                  <a:lnTo>
                    <a:pt x="181" y="337"/>
                  </a:lnTo>
                  <a:lnTo>
                    <a:pt x="181" y="337"/>
                  </a:lnTo>
                  <a:lnTo>
                    <a:pt x="181" y="336"/>
                  </a:lnTo>
                  <a:lnTo>
                    <a:pt x="179" y="334"/>
                  </a:lnTo>
                  <a:lnTo>
                    <a:pt x="179" y="334"/>
                  </a:lnTo>
                  <a:lnTo>
                    <a:pt x="177" y="333"/>
                  </a:lnTo>
                  <a:lnTo>
                    <a:pt x="177" y="333"/>
                  </a:lnTo>
                  <a:lnTo>
                    <a:pt x="176" y="333"/>
                  </a:lnTo>
                  <a:lnTo>
                    <a:pt x="174" y="333"/>
                  </a:lnTo>
                  <a:lnTo>
                    <a:pt x="174" y="331"/>
                  </a:lnTo>
                  <a:lnTo>
                    <a:pt x="173" y="333"/>
                  </a:lnTo>
                  <a:lnTo>
                    <a:pt x="173" y="333"/>
                  </a:lnTo>
                  <a:lnTo>
                    <a:pt x="171" y="333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1" y="336"/>
                  </a:lnTo>
                  <a:lnTo>
                    <a:pt x="159" y="337"/>
                  </a:lnTo>
                  <a:lnTo>
                    <a:pt x="156" y="344"/>
                  </a:lnTo>
                  <a:lnTo>
                    <a:pt x="153" y="347"/>
                  </a:lnTo>
                  <a:lnTo>
                    <a:pt x="151" y="348"/>
                  </a:lnTo>
                  <a:lnTo>
                    <a:pt x="150" y="348"/>
                  </a:lnTo>
                  <a:lnTo>
                    <a:pt x="148" y="350"/>
                  </a:lnTo>
                  <a:lnTo>
                    <a:pt x="142" y="348"/>
                  </a:lnTo>
                  <a:lnTo>
                    <a:pt x="139" y="345"/>
                  </a:lnTo>
                  <a:lnTo>
                    <a:pt x="137" y="345"/>
                  </a:lnTo>
                  <a:lnTo>
                    <a:pt x="136" y="345"/>
                  </a:lnTo>
                  <a:lnTo>
                    <a:pt x="134" y="344"/>
                  </a:lnTo>
                  <a:lnTo>
                    <a:pt x="133" y="344"/>
                  </a:lnTo>
                  <a:lnTo>
                    <a:pt x="133" y="344"/>
                  </a:lnTo>
                  <a:lnTo>
                    <a:pt x="133" y="344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31" y="350"/>
                  </a:lnTo>
                  <a:lnTo>
                    <a:pt x="131" y="351"/>
                  </a:lnTo>
                  <a:lnTo>
                    <a:pt x="130" y="351"/>
                  </a:lnTo>
                  <a:lnTo>
                    <a:pt x="128" y="356"/>
                  </a:lnTo>
                  <a:lnTo>
                    <a:pt x="128" y="357"/>
                  </a:lnTo>
                  <a:lnTo>
                    <a:pt x="124" y="362"/>
                  </a:lnTo>
                  <a:lnTo>
                    <a:pt x="125" y="362"/>
                  </a:lnTo>
                  <a:lnTo>
                    <a:pt x="125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1"/>
                  </a:lnTo>
                  <a:lnTo>
                    <a:pt x="127" y="362"/>
                  </a:lnTo>
                  <a:lnTo>
                    <a:pt x="127" y="362"/>
                  </a:lnTo>
                  <a:lnTo>
                    <a:pt x="125" y="364"/>
                  </a:lnTo>
                  <a:lnTo>
                    <a:pt x="125" y="364"/>
                  </a:lnTo>
                  <a:lnTo>
                    <a:pt x="124" y="364"/>
                  </a:lnTo>
                  <a:lnTo>
                    <a:pt x="122" y="365"/>
                  </a:lnTo>
                  <a:lnTo>
                    <a:pt x="119" y="368"/>
                  </a:lnTo>
                  <a:lnTo>
                    <a:pt x="116" y="370"/>
                  </a:lnTo>
                  <a:lnTo>
                    <a:pt x="113" y="368"/>
                  </a:lnTo>
                  <a:lnTo>
                    <a:pt x="113" y="368"/>
                  </a:lnTo>
                  <a:lnTo>
                    <a:pt x="111" y="374"/>
                  </a:lnTo>
                  <a:lnTo>
                    <a:pt x="111" y="376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3" y="379"/>
                  </a:lnTo>
                  <a:lnTo>
                    <a:pt x="120" y="381"/>
                  </a:lnTo>
                  <a:lnTo>
                    <a:pt x="124" y="382"/>
                  </a:lnTo>
                  <a:lnTo>
                    <a:pt x="124" y="384"/>
                  </a:lnTo>
                  <a:lnTo>
                    <a:pt x="125" y="385"/>
                  </a:lnTo>
                  <a:lnTo>
                    <a:pt x="127" y="390"/>
                  </a:lnTo>
                  <a:lnTo>
                    <a:pt x="127" y="391"/>
                  </a:lnTo>
                  <a:lnTo>
                    <a:pt x="127" y="393"/>
                  </a:lnTo>
                  <a:lnTo>
                    <a:pt x="125" y="394"/>
                  </a:lnTo>
                  <a:lnTo>
                    <a:pt x="127" y="394"/>
                  </a:lnTo>
                  <a:lnTo>
                    <a:pt x="127" y="396"/>
                  </a:lnTo>
                  <a:lnTo>
                    <a:pt x="127" y="396"/>
                  </a:lnTo>
                  <a:lnTo>
                    <a:pt x="127" y="398"/>
                  </a:lnTo>
                  <a:lnTo>
                    <a:pt x="127" y="398"/>
                  </a:lnTo>
                  <a:lnTo>
                    <a:pt x="127" y="394"/>
                  </a:lnTo>
                  <a:lnTo>
                    <a:pt x="128" y="394"/>
                  </a:lnTo>
                  <a:lnTo>
                    <a:pt x="133" y="396"/>
                  </a:lnTo>
                  <a:lnTo>
                    <a:pt x="134" y="396"/>
                  </a:lnTo>
                  <a:lnTo>
                    <a:pt x="136" y="399"/>
                  </a:lnTo>
                  <a:lnTo>
                    <a:pt x="136" y="399"/>
                  </a:lnTo>
                  <a:lnTo>
                    <a:pt x="137" y="401"/>
                  </a:lnTo>
                  <a:lnTo>
                    <a:pt x="144" y="405"/>
                  </a:lnTo>
                  <a:lnTo>
                    <a:pt x="145" y="407"/>
                  </a:lnTo>
                  <a:lnTo>
                    <a:pt x="148" y="410"/>
                  </a:lnTo>
                  <a:lnTo>
                    <a:pt x="153" y="421"/>
                  </a:lnTo>
                  <a:lnTo>
                    <a:pt x="154" y="422"/>
                  </a:lnTo>
                  <a:lnTo>
                    <a:pt x="154" y="424"/>
                  </a:lnTo>
                  <a:lnTo>
                    <a:pt x="154" y="427"/>
                  </a:lnTo>
                  <a:lnTo>
                    <a:pt x="154" y="430"/>
                  </a:lnTo>
                  <a:lnTo>
                    <a:pt x="151" y="433"/>
                  </a:lnTo>
                  <a:lnTo>
                    <a:pt x="147" y="436"/>
                  </a:lnTo>
                  <a:lnTo>
                    <a:pt x="145" y="439"/>
                  </a:lnTo>
                  <a:lnTo>
                    <a:pt x="145" y="442"/>
                  </a:lnTo>
                  <a:lnTo>
                    <a:pt x="145" y="447"/>
                  </a:lnTo>
                  <a:lnTo>
                    <a:pt x="147" y="450"/>
                  </a:lnTo>
                  <a:lnTo>
                    <a:pt x="148" y="453"/>
                  </a:lnTo>
                  <a:lnTo>
                    <a:pt x="150" y="455"/>
                  </a:lnTo>
                  <a:lnTo>
                    <a:pt x="151" y="458"/>
                  </a:lnTo>
                  <a:lnTo>
                    <a:pt x="153" y="461"/>
                  </a:lnTo>
                  <a:lnTo>
                    <a:pt x="153" y="459"/>
                  </a:lnTo>
                  <a:lnTo>
                    <a:pt x="153" y="459"/>
                  </a:lnTo>
                  <a:lnTo>
                    <a:pt x="154" y="459"/>
                  </a:lnTo>
                  <a:lnTo>
                    <a:pt x="154" y="461"/>
                  </a:lnTo>
                  <a:lnTo>
                    <a:pt x="153" y="461"/>
                  </a:lnTo>
                  <a:lnTo>
                    <a:pt x="153" y="461"/>
                  </a:lnTo>
                  <a:lnTo>
                    <a:pt x="154" y="461"/>
                  </a:lnTo>
                  <a:lnTo>
                    <a:pt x="156" y="461"/>
                  </a:lnTo>
                  <a:lnTo>
                    <a:pt x="156" y="462"/>
                  </a:lnTo>
                  <a:lnTo>
                    <a:pt x="156" y="464"/>
                  </a:lnTo>
                  <a:lnTo>
                    <a:pt x="156" y="465"/>
                  </a:lnTo>
                  <a:lnTo>
                    <a:pt x="154" y="467"/>
                  </a:lnTo>
                  <a:lnTo>
                    <a:pt x="154" y="467"/>
                  </a:lnTo>
                  <a:lnTo>
                    <a:pt x="154" y="468"/>
                  </a:lnTo>
                  <a:lnTo>
                    <a:pt x="154" y="470"/>
                  </a:lnTo>
                  <a:lnTo>
                    <a:pt x="154" y="470"/>
                  </a:lnTo>
                  <a:lnTo>
                    <a:pt x="154" y="471"/>
                  </a:lnTo>
                  <a:lnTo>
                    <a:pt x="154" y="471"/>
                  </a:lnTo>
                  <a:lnTo>
                    <a:pt x="156" y="473"/>
                  </a:lnTo>
                  <a:lnTo>
                    <a:pt x="156" y="473"/>
                  </a:lnTo>
                  <a:lnTo>
                    <a:pt x="156" y="473"/>
                  </a:lnTo>
                  <a:lnTo>
                    <a:pt x="157" y="473"/>
                  </a:lnTo>
                  <a:lnTo>
                    <a:pt x="157" y="475"/>
                  </a:lnTo>
                  <a:lnTo>
                    <a:pt x="159" y="475"/>
                  </a:lnTo>
                  <a:lnTo>
                    <a:pt x="161" y="476"/>
                  </a:lnTo>
                  <a:lnTo>
                    <a:pt x="162" y="475"/>
                  </a:lnTo>
                  <a:lnTo>
                    <a:pt x="164" y="475"/>
                  </a:lnTo>
                  <a:lnTo>
                    <a:pt x="164" y="475"/>
                  </a:lnTo>
                  <a:lnTo>
                    <a:pt x="167" y="479"/>
                  </a:lnTo>
                  <a:lnTo>
                    <a:pt x="167" y="479"/>
                  </a:lnTo>
                  <a:lnTo>
                    <a:pt x="168" y="482"/>
                  </a:lnTo>
                  <a:lnTo>
                    <a:pt x="168" y="482"/>
                  </a:lnTo>
                  <a:lnTo>
                    <a:pt x="170" y="482"/>
                  </a:lnTo>
                  <a:lnTo>
                    <a:pt x="170" y="481"/>
                  </a:lnTo>
                  <a:lnTo>
                    <a:pt x="173" y="479"/>
                  </a:lnTo>
                  <a:lnTo>
                    <a:pt x="173" y="478"/>
                  </a:lnTo>
                  <a:lnTo>
                    <a:pt x="173" y="478"/>
                  </a:lnTo>
                  <a:lnTo>
                    <a:pt x="173" y="476"/>
                  </a:lnTo>
                  <a:lnTo>
                    <a:pt x="174" y="476"/>
                  </a:lnTo>
                  <a:lnTo>
                    <a:pt x="176" y="476"/>
                  </a:lnTo>
                  <a:lnTo>
                    <a:pt x="176" y="475"/>
                  </a:lnTo>
                  <a:lnTo>
                    <a:pt x="174" y="475"/>
                  </a:lnTo>
                  <a:lnTo>
                    <a:pt x="173" y="475"/>
                  </a:lnTo>
                  <a:lnTo>
                    <a:pt x="173" y="473"/>
                  </a:lnTo>
                  <a:lnTo>
                    <a:pt x="173" y="473"/>
                  </a:lnTo>
                  <a:lnTo>
                    <a:pt x="173" y="471"/>
                  </a:lnTo>
                  <a:lnTo>
                    <a:pt x="171" y="470"/>
                  </a:lnTo>
                  <a:lnTo>
                    <a:pt x="171" y="470"/>
                  </a:lnTo>
                  <a:lnTo>
                    <a:pt x="171" y="468"/>
                  </a:lnTo>
                  <a:lnTo>
                    <a:pt x="173" y="468"/>
                  </a:lnTo>
                  <a:lnTo>
                    <a:pt x="173" y="459"/>
                  </a:lnTo>
                  <a:lnTo>
                    <a:pt x="173" y="458"/>
                  </a:lnTo>
                  <a:lnTo>
                    <a:pt x="174" y="456"/>
                  </a:lnTo>
                  <a:lnTo>
                    <a:pt x="177" y="456"/>
                  </a:lnTo>
                  <a:lnTo>
                    <a:pt x="179" y="455"/>
                  </a:lnTo>
                  <a:lnTo>
                    <a:pt x="181" y="453"/>
                  </a:lnTo>
                  <a:lnTo>
                    <a:pt x="184" y="455"/>
                  </a:lnTo>
                  <a:lnTo>
                    <a:pt x="188" y="455"/>
                  </a:lnTo>
                  <a:lnTo>
                    <a:pt x="190" y="456"/>
                  </a:lnTo>
                  <a:lnTo>
                    <a:pt x="188" y="458"/>
                  </a:lnTo>
                  <a:lnTo>
                    <a:pt x="188" y="461"/>
                  </a:lnTo>
                  <a:lnTo>
                    <a:pt x="188" y="461"/>
                  </a:lnTo>
                  <a:lnTo>
                    <a:pt x="188" y="462"/>
                  </a:lnTo>
                  <a:lnTo>
                    <a:pt x="188" y="462"/>
                  </a:lnTo>
                  <a:lnTo>
                    <a:pt x="188" y="464"/>
                  </a:lnTo>
                  <a:lnTo>
                    <a:pt x="187" y="464"/>
                  </a:lnTo>
                  <a:lnTo>
                    <a:pt x="188" y="465"/>
                  </a:lnTo>
                  <a:lnTo>
                    <a:pt x="188" y="465"/>
                  </a:lnTo>
                  <a:lnTo>
                    <a:pt x="190" y="467"/>
                  </a:lnTo>
                  <a:lnTo>
                    <a:pt x="193" y="465"/>
                  </a:lnTo>
                  <a:lnTo>
                    <a:pt x="194" y="467"/>
                  </a:lnTo>
                  <a:lnTo>
                    <a:pt x="199" y="473"/>
                  </a:lnTo>
                  <a:lnTo>
                    <a:pt x="201" y="476"/>
                  </a:lnTo>
                  <a:lnTo>
                    <a:pt x="201" y="478"/>
                  </a:lnTo>
                  <a:lnTo>
                    <a:pt x="202" y="479"/>
                  </a:lnTo>
                  <a:lnTo>
                    <a:pt x="202" y="482"/>
                  </a:lnTo>
                  <a:lnTo>
                    <a:pt x="204" y="484"/>
                  </a:lnTo>
                  <a:lnTo>
                    <a:pt x="207" y="484"/>
                  </a:lnTo>
                  <a:lnTo>
                    <a:pt x="205" y="487"/>
                  </a:lnTo>
                  <a:lnTo>
                    <a:pt x="205" y="488"/>
                  </a:lnTo>
                  <a:lnTo>
                    <a:pt x="207" y="490"/>
                  </a:lnTo>
                  <a:lnTo>
                    <a:pt x="207" y="490"/>
                  </a:lnTo>
                  <a:lnTo>
                    <a:pt x="205" y="490"/>
                  </a:lnTo>
                  <a:lnTo>
                    <a:pt x="205" y="491"/>
                  </a:lnTo>
                  <a:lnTo>
                    <a:pt x="205" y="493"/>
                  </a:lnTo>
                  <a:lnTo>
                    <a:pt x="205" y="493"/>
                  </a:lnTo>
                  <a:lnTo>
                    <a:pt x="207" y="493"/>
                  </a:lnTo>
                  <a:lnTo>
                    <a:pt x="205" y="495"/>
                  </a:lnTo>
                  <a:lnTo>
                    <a:pt x="205" y="496"/>
                  </a:lnTo>
                  <a:lnTo>
                    <a:pt x="207" y="496"/>
                  </a:lnTo>
                  <a:lnTo>
                    <a:pt x="207" y="498"/>
                  </a:lnTo>
                  <a:lnTo>
                    <a:pt x="207" y="499"/>
                  </a:lnTo>
                  <a:lnTo>
                    <a:pt x="205" y="499"/>
                  </a:lnTo>
                  <a:lnTo>
                    <a:pt x="205" y="501"/>
                  </a:lnTo>
                  <a:lnTo>
                    <a:pt x="204" y="501"/>
                  </a:lnTo>
                  <a:lnTo>
                    <a:pt x="204" y="502"/>
                  </a:lnTo>
                  <a:lnTo>
                    <a:pt x="205" y="504"/>
                  </a:lnTo>
                  <a:lnTo>
                    <a:pt x="205" y="504"/>
                  </a:lnTo>
                  <a:lnTo>
                    <a:pt x="205" y="505"/>
                  </a:lnTo>
                  <a:lnTo>
                    <a:pt x="207" y="505"/>
                  </a:lnTo>
                  <a:lnTo>
                    <a:pt x="207" y="504"/>
                  </a:lnTo>
                  <a:lnTo>
                    <a:pt x="208" y="504"/>
                  </a:lnTo>
                  <a:lnTo>
                    <a:pt x="208" y="505"/>
                  </a:lnTo>
                  <a:lnTo>
                    <a:pt x="211" y="507"/>
                  </a:lnTo>
                  <a:lnTo>
                    <a:pt x="213" y="507"/>
                  </a:lnTo>
                  <a:lnTo>
                    <a:pt x="213" y="508"/>
                  </a:lnTo>
                  <a:lnTo>
                    <a:pt x="213" y="510"/>
                  </a:lnTo>
                  <a:lnTo>
                    <a:pt x="213" y="511"/>
                  </a:lnTo>
                  <a:lnTo>
                    <a:pt x="214" y="513"/>
                  </a:lnTo>
                  <a:lnTo>
                    <a:pt x="214" y="513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1"/>
                  </a:lnTo>
                  <a:lnTo>
                    <a:pt x="214" y="510"/>
                  </a:lnTo>
                  <a:lnTo>
                    <a:pt x="214" y="508"/>
                  </a:lnTo>
                  <a:lnTo>
                    <a:pt x="214" y="508"/>
                  </a:lnTo>
                  <a:lnTo>
                    <a:pt x="216" y="507"/>
                  </a:lnTo>
                  <a:lnTo>
                    <a:pt x="216" y="507"/>
                  </a:lnTo>
                  <a:lnTo>
                    <a:pt x="216" y="507"/>
                  </a:lnTo>
                  <a:lnTo>
                    <a:pt x="214" y="502"/>
                  </a:lnTo>
                  <a:lnTo>
                    <a:pt x="214" y="501"/>
                  </a:lnTo>
                  <a:lnTo>
                    <a:pt x="213" y="499"/>
                  </a:lnTo>
                  <a:lnTo>
                    <a:pt x="213" y="493"/>
                  </a:lnTo>
                  <a:lnTo>
                    <a:pt x="214" y="493"/>
                  </a:lnTo>
                  <a:lnTo>
                    <a:pt x="214" y="491"/>
                  </a:lnTo>
                  <a:lnTo>
                    <a:pt x="216" y="493"/>
                  </a:lnTo>
                  <a:lnTo>
                    <a:pt x="216" y="493"/>
                  </a:lnTo>
                  <a:lnTo>
                    <a:pt x="217" y="491"/>
                  </a:lnTo>
                  <a:lnTo>
                    <a:pt x="216" y="490"/>
                  </a:lnTo>
                  <a:lnTo>
                    <a:pt x="216" y="490"/>
                  </a:lnTo>
                  <a:lnTo>
                    <a:pt x="216" y="488"/>
                  </a:lnTo>
                  <a:lnTo>
                    <a:pt x="216" y="488"/>
                  </a:lnTo>
                  <a:lnTo>
                    <a:pt x="216" y="487"/>
                  </a:lnTo>
                  <a:lnTo>
                    <a:pt x="217" y="487"/>
                  </a:lnTo>
                  <a:lnTo>
                    <a:pt x="217" y="488"/>
                  </a:lnTo>
                  <a:lnTo>
                    <a:pt x="217" y="488"/>
                  </a:lnTo>
                  <a:lnTo>
                    <a:pt x="217" y="490"/>
                  </a:lnTo>
                  <a:lnTo>
                    <a:pt x="219" y="490"/>
                  </a:lnTo>
                  <a:lnTo>
                    <a:pt x="219" y="488"/>
                  </a:lnTo>
                  <a:lnTo>
                    <a:pt x="219" y="487"/>
                  </a:lnTo>
                  <a:lnTo>
                    <a:pt x="217" y="485"/>
                  </a:lnTo>
                  <a:lnTo>
                    <a:pt x="216" y="485"/>
                  </a:lnTo>
                  <a:lnTo>
                    <a:pt x="217" y="484"/>
                  </a:lnTo>
                  <a:lnTo>
                    <a:pt x="217" y="482"/>
                  </a:lnTo>
                  <a:lnTo>
                    <a:pt x="221" y="481"/>
                  </a:lnTo>
                  <a:lnTo>
                    <a:pt x="221" y="478"/>
                  </a:lnTo>
                  <a:lnTo>
                    <a:pt x="224" y="475"/>
                  </a:lnTo>
                  <a:lnTo>
                    <a:pt x="228" y="475"/>
                  </a:lnTo>
                  <a:lnTo>
                    <a:pt x="233" y="475"/>
                  </a:lnTo>
                  <a:lnTo>
                    <a:pt x="234" y="475"/>
                  </a:lnTo>
                  <a:lnTo>
                    <a:pt x="236" y="476"/>
                  </a:lnTo>
                  <a:lnTo>
                    <a:pt x="238" y="478"/>
                  </a:lnTo>
                  <a:lnTo>
                    <a:pt x="238" y="481"/>
                  </a:lnTo>
                  <a:lnTo>
                    <a:pt x="239" y="484"/>
                  </a:lnTo>
                  <a:lnTo>
                    <a:pt x="239" y="484"/>
                  </a:lnTo>
                  <a:lnTo>
                    <a:pt x="238" y="487"/>
                  </a:lnTo>
                  <a:lnTo>
                    <a:pt x="238" y="487"/>
                  </a:lnTo>
                  <a:lnTo>
                    <a:pt x="239" y="488"/>
                  </a:lnTo>
                  <a:lnTo>
                    <a:pt x="239" y="487"/>
                  </a:lnTo>
                  <a:lnTo>
                    <a:pt x="241" y="485"/>
                  </a:lnTo>
                  <a:lnTo>
                    <a:pt x="241" y="485"/>
                  </a:lnTo>
                  <a:lnTo>
                    <a:pt x="244" y="488"/>
                  </a:lnTo>
                  <a:lnTo>
                    <a:pt x="244" y="490"/>
                  </a:lnTo>
                  <a:lnTo>
                    <a:pt x="242" y="491"/>
                  </a:lnTo>
                  <a:lnTo>
                    <a:pt x="245" y="493"/>
                  </a:lnTo>
                  <a:lnTo>
                    <a:pt x="247" y="495"/>
                  </a:lnTo>
                  <a:lnTo>
                    <a:pt x="247" y="495"/>
                  </a:lnTo>
                  <a:lnTo>
                    <a:pt x="248" y="499"/>
                  </a:lnTo>
                  <a:lnTo>
                    <a:pt x="250" y="501"/>
                  </a:lnTo>
                  <a:lnTo>
                    <a:pt x="250" y="501"/>
                  </a:lnTo>
                  <a:lnTo>
                    <a:pt x="251" y="501"/>
                  </a:lnTo>
                  <a:lnTo>
                    <a:pt x="254" y="501"/>
                  </a:lnTo>
                  <a:lnTo>
                    <a:pt x="256" y="501"/>
                  </a:lnTo>
                  <a:lnTo>
                    <a:pt x="258" y="502"/>
                  </a:lnTo>
                  <a:lnTo>
                    <a:pt x="258" y="504"/>
                  </a:lnTo>
                  <a:lnTo>
                    <a:pt x="258" y="505"/>
                  </a:lnTo>
                  <a:lnTo>
                    <a:pt x="258" y="505"/>
                  </a:lnTo>
                  <a:lnTo>
                    <a:pt x="258" y="507"/>
                  </a:lnTo>
                  <a:lnTo>
                    <a:pt x="259" y="507"/>
                  </a:lnTo>
                  <a:lnTo>
                    <a:pt x="259" y="508"/>
                  </a:lnTo>
                  <a:lnTo>
                    <a:pt x="262" y="510"/>
                  </a:lnTo>
                  <a:lnTo>
                    <a:pt x="264" y="508"/>
                  </a:lnTo>
                  <a:lnTo>
                    <a:pt x="264" y="508"/>
                  </a:lnTo>
                  <a:lnTo>
                    <a:pt x="267" y="510"/>
                  </a:lnTo>
                  <a:lnTo>
                    <a:pt x="267" y="507"/>
                  </a:lnTo>
                  <a:lnTo>
                    <a:pt x="265" y="505"/>
                  </a:lnTo>
                  <a:lnTo>
                    <a:pt x="264" y="504"/>
                  </a:lnTo>
                  <a:lnTo>
                    <a:pt x="262" y="502"/>
                  </a:lnTo>
                  <a:lnTo>
                    <a:pt x="262" y="502"/>
                  </a:lnTo>
                  <a:lnTo>
                    <a:pt x="264" y="502"/>
                  </a:lnTo>
                  <a:lnTo>
                    <a:pt x="264" y="501"/>
                  </a:lnTo>
                  <a:lnTo>
                    <a:pt x="262" y="501"/>
                  </a:lnTo>
                  <a:lnTo>
                    <a:pt x="262" y="501"/>
                  </a:lnTo>
                  <a:lnTo>
                    <a:pt x="262" y="499"/>
                  </a:lnTo>
                  <a:lnTo>
                    <a:pt x="264" y="499"/>
                  </a:lnTo>
                  <a:lnTo>
                    <a:pt x="262" y="499"/>
                  </a:lnTo>
                  <a:lnTo>
                    <a:pt x="262" y="499"/>
                  </a:lnTo>
                  <a:lnTo>
                    <a:pt x="262" y="499"/>
                  </a:lnTo>
                  <a:lnTo>
                    <a:pt x="262" y="498"/>
                  </a:lnTo>
                  <a:lnTo>
                    <a:pt x="261" y="498"/>
                  </a:lnTo>
                  <a:lnTo>
                    <a:pt x="259" y="496"/>
                  </a:lnTo>
                  <a:lnTo>
                    <a:pt x="258" y="496"/>
                  </a:lnTo>
                  <a:lnTo>
                    <a:pt x="258" y="496"/>
                  </a:lnTo>
                  <a:lnTo>
                    <a:pt x="258" y="495"/>
                  </a:lnTo>
                  <a:lnTo>
                    <a:pt x="256" y="491"/>
                  </a:lnTo>
                  <a:lnTo>
                    <a:pt x="254" y="490"/>
                  </a:lnTo>
                  <a:lnTo>
                    <a:pt x="254" y="487"/>
                  </a:lnTo>
                  <a:lnTo>
                    <a:pt x="256" y="485"/>
                  </a:lnTo>
                  <a:lnTo>
                    <a:pt x="254" y="485"/>
                  </a:lnTo>
                  <a:lnTo>
                    <a:pt x="254" y="485"/>
                  </a:lnTo>
                  <a:lnTo>
                    <a:pt x="254" y="484"/>
                  </a:lnTo>
                  <a:lnTo>
                    <a:pt x="254" y="484"/>
                  </a:lnTo>
                  <a:lnTo>
                    <a:pt x="254" y="484"/>
                  </a:lnTo>
                  <a:lnTo>
                    <a:pt x="254" y="482"/>
                  </a:lnTo>
                  <a:lnTo>
                    <a:pt x="254" y="481"/>
                  </a:lnTo>
                  <a:lnTo>
                    <a:pt x="256" y="481"/>
                  </a:lnTo>
                  <a:lnTo>
                    <a:pt x="256" y="481"/>
                  </a:lnTo>
                  <a:lnTo>
                    <a:pt x="258" y="482"/>
                  </a:lnTo>
                  <a:lnTo>
                    <a:pt x="259" y="482"/>
                  </a:lnTo>
                  <a:lnTo>
                    <a:pt x="259" y="481"/>
                  </a:lnTo>
                  <a:lnTo>
                    <a:pt x="259" y="481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59" y="479"/>
                  </a:lnTo>
                  <a:lnTo>
                    <a:pt x="261" y="478"/>
                  </a:lnTo>
                  <a:lnTo>
                    <a:pt x="261" y="478"/>
                  </a:lnTo>
                  <a:lnTo>
                    <a:pt x="259" y="476"/>
                  </a:lnTo>
                  <a:lnTo>
                    <a:pt x="259" y="476"/>
                  </a:lnTo>
                  <a:lnTo>
                    <a:pt x="258" y="476"/>
                  </a:lnTo>
                  <a:lnTo>
                    <a:pt x="258" y="476"/>
                  </a:lnTo>
                  <a:lnTo>
                    <a:pt x="259" y="476"/>
                  </a:lnTo>
                  <a:lnTo>
                    <a:pt x="259" y="475"/>
                  </a:lnTo>
                  <a:lnTo>
                    <a:pt x="259" y="473"/>
                  </a:lnTo>
                  <a:lnTo>
                    <a:pt x="259" y="473"/>
                  </a:lnTo>
                  <a:lnTo>
                    <a:pt x="256" y="470"/>
                  </a:lnTo>
                  <a:lnTo>
                    <a:pt x="256" y="468"/>
                  </a:lnTo>
                  <a:lnTo>
                    <a:pt x="256" y="468"/>
                  </a:lnTo>
                  <a:lnTo>
                    <a:pt x="254" y="467"/>
                  </a:lnTo>
                  <a:lnTo>
                    <a:pt x="253" y="464"/>
                  </a:lnTo>
                  <a:lnTo>
                    <a:pt x="253" y="462"/>
                  </a:lnTo>
                  <a:lnTo>
                    <a:pt x="253" y="462"/>
                  </a:lnTo>
                  <a:lnTo>
                    <a:pt x="253" y="461"/>
                  </a:lnTo>
                  <a:lnTo>
                    <a:pt x="253" y="461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59"/>
                  </a:lnTo>
                  <a:lnTo>
                    <a:pt x="253" y="461"/>
                  </a:lnTo>
                  <a:lnTo>
                    <a:pt x="251" y="459"/>
                  </a:lnTo>
                  <a:lnTo>
                    <a:pt x="251" y="459"/>
                  </a:lnTo>
                  <a:lnTo>
                    <a:pt x="251" y="458"/>
                  </a:lnTo>
                  <a:lnTo>
                    <a:pt x="251" y="458"/>
                  </a:lnTo>
                  <a:lnTo>
                    <a:pt x="253" y="458"/>
                  </a:lnTo>
                  <a:lnTo>
                    <a:pt x="253" y="458"/>
                  </a:lnTo>
                  <a:lnTo>
                    <a:pt x="253" y="456"/>
                  </a:lnTo>
                  <a:lnTo>
                    <a:pt x="251" y="455"/>
                  </a:lnTo>
                  <a:lnTo>
                    <a:pt x="251" y="455"/>
                  </a:lnTo>
                  <a:lnTo>
                    <a:pt x="250" y="451"/>
                  </a:lnTo>
                  <a:lnTo>
                    <a:pt x="250" y="450"/>
                  </a:lnTo>
                  <a:lnTo>
                    <a:pt x="250" y="450"/>
                  </a:lnTo>
                  <a:lnTo>
                    <a:pt x="250" y="450"/>
                  </a:lnTo>
                  <a:lnTo>
                    <a:pt x="250" y="448"/>
                  </a:lnTo>
                  <a:lnTo>
                    <a:pt x="248" y="448"/>
                  </a:lnTo>
                  <a:lnTo>
                    <a:pt x="250" y="447"/>
                  </a:lnTo>
                  <a:lnTo>
                    <a:pt x="248" y="447"/>
                  </a:lnTo>
                  <a:lnTo>
                    <a:pt x="248" y="447"/>
                  </a:lnTo>
                  <a:lnTo>
                    <a:pt x="250" y="447"/>
                  </a:lnTo>
                  <a:lnTo>
                    <a:pt x="248" y="447"/>
                  </a:lnTo>
                  <a:lnTo>
                    <a:pt x="248" y="447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7" y="445"/>
                  </a:lnTo>
                  <a:lnTo>
                    <a:pt x="245" y="445"/>
                  </a:lnTo>
                  <a:lnTo>
                    <a:pt x="244" y="444"/>
                  </a:lnTo>
                  <a:lnTo>
                    <a:pt x="244" y="442"/>
                  </a:lnTo>
                  <a:lnTo>
                    <a:pt x="245" y="441"/>
                  </a:lnTo>
                  <a:lnTo>
                    <a:pt x="245" y="441"/>
                  </a:lnTo>
                  <a:lnTo>
                    <a:pt x="245" y="439"/>
                  </a:lnTo>
                  <a:lnTo>
                    <a:pt x="245" y="439"/>
                  </a:lnTo>
                  <a:lnTo>
                    <a:pt x="244" y="438"/>
                  </a:lnTo>
                  <a:lnTo>
                    <a:pt x="244" y="438"/>
                  </a:lnTo>
                  <a:lnTo>
                    <a:pt x="242" y="433"/>
                  </a:lnTo>
                  <a:lnTo>
                    <a:pt x="241" y="431"/>
                  </a:lnTo>
                  <a:lnTo>
                    <a:pt x="239" y="428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8" y="427"/>
                  </a:lnTo>
                  <a:lnTo>
                    <a:pt x="239" y="425"/>
                  </a:lnTo>
                  <a:lnTo>
                    <a:pt x="238" y="424"/>
                  </a:lnTo>
                  <a:lnTo>
                    <a:pt x="234" y="419"/>
                  </a:lnTo>
                  <a:lnTo>
                    <a:pt x="234" y="419"/>
                  </a:lnTo>
                  <a:lnTo>
                    <a:pt x="234" y="418"/>
                  </a:lnTo>
                  <a:lnTo>
                    <a:pt x="234" y="416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4"/>
                  </a:lnTo>
                  <a:lnTo>
                    <a:pt x="233" y="413"/>
                  </a:lnTo>
                  <a:lnTo>
                    <a:pt x="233" y="413"/>
                  </a:lnTo>
                  <a:lnTo>
                    <a:pt x="233" y="413"/>
                  </a:lnTo>
                  <a:lnTo>
                    <a:pt x="233" y="411"/>
                  </a:lnTo>
                  <a:lnTo>
                    <a:pt x="231" y="411"/>
                  </a:lnTo>
                  <a:lnTo>
                    <a:pt x="231" y="410"/>
                  </a:lnTo>
                  <a:lnTo>
                    <a:pt x="233" y="410"/>
                  </a:lnTo>
                  <a:lnTo>
                    <a:pt x="233" y="408"/>
                  </a:lnTo>
                  <a:lnTo>
                    <a:pt x="233" y="408"/>
                  </a:lnTo>
                  <a:lnTo>
                    <a:pt x="231" y="407"/>
                  </a:lnTo>
                  <a:lnTo>
                    <a:pt x="231" y="407"/>
                  </a:lnTo>
                  <a:lnTo>
                    <a:pt x="231" y="404"/>
                  </a:lnTo>
                  <a:lnTo>
                    <a:pt x="233" y="402"/>
                  </a:lnTo>
                  <a:lnTo>
                    <a:pt x="234" y="402"/>
                  </a:lnTo>
                  <a:lnTo>
                    <a:pt x="236" y="401"/>
                  </a:lnTo>
                  <a:lnTo>
                    <a:pt x="236" y="402"/>
                  </a:lnTo>
                  <a:lnTo>
                    <a:pt x="238" y="404"/>
                  </a:lnTo>
                  <a:lnTo>
                    <a:pt x="238" y="404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39" y="405"/>
                  </a:lnTo>
                  <a:lnTo>
                    <a:pt x="239" y="407"/>
                  </a:lnTo>
                  <a:lnTo>
                    <a:pt x="239" y="407"/>
                  </a:lnTo>
                  <a:lnTo>
                    <a:pt x="241" y="408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4" y="407"/>
                  </a:lnTo>
                  <a:lnTo>
                    <a:pt x="245" y="407"/>
                  </a:lnTo>
                  <a:lnTo>
                    <a:pt x="247" y="408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5" y="407"/>
                  </a:lnTo>
                  <a:lnTo>
                    <a:pt x="247" y="407"/>
                  </a:lnTo>
                  <a:lnTo>
                    <a:pt x="247" y="407"/>
                  </a:lnTo>
                  <a:lnTo>
                    <a:pt x="247" y="407"/>
                  </a:lnTo>
                  <a:lnTo>
                    <a:pt x="247" y="408"/>
                  </a:lnTo>
                  <a:lnTo>
                    <a:pt x="247" y="408"/>
                  </a:lnTo>
                  <a:lnTo>
                    <a:pt x="248" y="408"/>
                  </a:lnTo>
                  <a:lnTo>
                    <a:pt x="248" y="408"/>
                  </a:lnTo>
                  <a:lnTo>
                    <a:pt x="248" y="408"/>
                  </a:lnTo>
                  <a:lnTo>
                    <a:pt x="250" y="408"/>
                  </a:lnTo>
                  <a:lnTo>
                    <a:pt x="250" y="410"/>
                  </a:lnTo>
                  <a:lnTo>
                    <a:pt x="251" y="411"/>
                  </a:lnTo>
                  <a:lnTo>
                    <a:pt x="253" y="414"/>
                  </a:lnTo>
                  <a:lnTo>
                    <a:pt x="253" y="413"/>
                  </a:lnTo>
                  <a:lnTo>
                    <a:pt x="253" y="413"/>
                  </a:lnTo>
                  <a:lnTo>
                    <a:pt x="256" y="411"/>
                  </a:lnTo>
                  <a:lnTo>
                    <a:pt x="256" y="413"/>
                  </a:lnTo>
                  <a:lnTo>
                    <a:pt x="256" y="414"/>
                  </a:lnTo>
                  <a:lnTo>
                    <a:pt x="256" y="414"/>
                  </a:lnTo>
                  <a:lnTo>
                    <a:pt x="259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2" y="414"/>
                  </a:lnTo>
                  <a:lnTo>
                    <a:pt x="262" y="416"/>
                  </a:lnTo>
                  <a:lnTo>
                    <a:pt x="262" y="416"/>
                  </a:lnTo>
                  <a:lnTo>
                    <a:pt x="262" y="418"/>
                  </a:lnTo>
                  <a:lnTo>
                    <a:pt x="262" y="418"/>
                  </a:lnTo>
                  <a:lnTo>
                    <a:pt x="262" y="419"/>
                  </a:lnTo>
                  <a:lnTo>
                    <a:pt x="262" y="418"/>
                  </a:lnTo>
                  <a:lnTo>
                    <a:pt x="261" y="418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9" y="424"/>
                  </a:lnTo>
                  <a:lnTo>
                    <a:pt x="259" y="424"/>
                  </a:lnTo>
                  <a:lnTo>
                    <a:pt x="261" y="425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1" y="425"/>
                  </a:lnTo>
                  <a:lnTo>
                    <a:pt x="261" y="427"/>
                  </a:lnTo>
                  <a:lnTo>
                    <a:pt x="262" y="427"/>
                  </a:lnTo>
                  <a:lnTo>
                    <a:pt x="264" y="427"/>
                  </a:lnTo>
                  <a:lnTo>
                    <a:pt x="264" y="427"/>
                  </a:lnTo>
                  <a:lnTo>
                    <a:pt x="264" y="427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4" y="428"/>
                  </a:lnTo>
                  <a:lnTo>
                    <a:pt x="265" y="428"/>
                  </a:lnTo>
                  <a:lnTo>
                    <a:pt x="265" y="428"/>
                  </a:lnTo>
                  <a:lnTo>
                    <a:pt x="267" y="428"/>
                  </a:lnTo>
                  <a:lnTo>
                    <a:pt x="267" y="427"/>
                  </a:lnTo>
                  <a:lnTo>
                    <a:pt x="265" y="425"/>
                  </a:lnTo>
                  <a:lnTo>
                    <a:pt x="265" y="425"/>
                  </a:lnTo>
                  <a:lnTo>
                    <a:pt x="267" y="425"/>
                  </a:lnTo>
                  <a:lnTo>
                    <a:pt x="270" y="425"/>
                  </a:lnTo>
                  <a:lnTo>
                    <a:pt x="271" y="425"/>
                  </a:lnTo>
                  <a:lnTo>
                    <a:pt x="273" y="424"/>
                  </a:lnTo>
                  <a:lnTo>
                    <a:pt x="271" y="42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75"/>
            <p:cNvSpPr>
              <a:spLocks noEditPoints="1"/>
            </p:cNvSpPr>
            <p:nvPr/>
          </p:nvSpPr>
          <p:spPr bwMode="gray">
            <a:xfrm>
              <a:off x="4719638" y="4381501"/>
              <a:ext cx="1173163" cy="2422525"/>
            </a:xfrm>
            <a:custGeom>
              <a:avLst/>
              <a:gdLst>
                <a:gd name="T0" fmla="*/ 259 w 739"/>
                <a:gd name="T1" fmla="*/ 1035 h 1526"/>
                <a:gd name="T2" fmla="*/ 189 w 739"/>
                <a:gd name="T3" fmla="*/ 915 h 1526"/>
                <a:gd name="T4" fmla="*/ 180 w 739"/>
                <a:gd name="T5" fmla="*/ 838 h 1526"/>
                <a:gd name="T6" fmla="*/ 38 w 739"/>
                <a:gd name="T7" fmla="*/ 853 h 1526"/>
                <a:gd name="T8" fmla="*/ 75 w 739"/>
                <a:gd name="T9" fmla="*/ 916 h 1526"/>
                <a:gd name="T10" fmla="*/ 171 w 739"/>
                <a:gd name="T11" fmla="*/ 921 h 1526"/>
                <a:gd name="T12" fmla="*/ 157 w 739"/>
                <a:gd name="T13" fmla="*/ 733 h 1526"/>
                <a:gd name="T14" fmla="*/ 148 w 739"/>
                <a:gd name="T15" fmla="*/ 674 h 1526"/>
                <a:gd name="T16" fmla="*/ 89 w 739"/>
                <a:gd name="T17" fmla="*/ 620 h 1526"/>
                <a:gd name="T18" fmla="*/ 172 w 739"/>
                <a:gd name="T19" fmla="*/ 642 h 1526"/>
                <a:gd name="T20" fmla="*/ 54 w 739"/>
                <a:gd name="T21" fmla="*/ 547 h 1526"/>
                <a:gd name="T22" fmla="*/ 55 w 739"/>
                <a:gd name="T23" fmla="*/ 525 h 1526"/>
                <a:gd name="T24" fmla="*/ 163 w 739"/>
                <a:gd name="T25" fmla="*/ 483 h 1526"/>
                <a:gd name="T26" fmla="*/ 138 w 739"/>
                <a:gd name="T27" fmla="*/ 457 h 1526"/>
                <a:gd name="T28" fmla="*/ 125 w 739"/>
                <a:gd name="T29" fmla="*/ 500 h 1526"/>
                <a:gd name="T30" fmla="*/ 180 w 739"/>
                <a:gd name="T31" fmla="*/ 531 h 1526"/>
                <a:gd name="T32" fmla="*/ 83 w 739"/>
                <a:gd name="T33" fmla="*/ 408 h 1526"/>
                <a:gd name="T34" fmla="*/ 117 w 739"/>
                <a:gd name="T35" fmla="*/ 408 h 1526"/>
                <a:gd name="T36" fmla="*/ 135 w 739"/>
                <a:gd name="T37" fmla="*/ 382 h 1526"/>
                <a:gd name="T38" fmla="*/ 78 w 739"/>
                <a:gd name="T39" fmla="*/ 396 h 1526"/>
                <a:gd name="T40" fmla="*/ 554 w 739"/>
                <a:gd name="T41" fmla="*/ 985 h 1526"/>
                <a:gd name="T42" fmla="*/ 507 w 739"/>
                <a:gd name="T43" fmla="*/ 825 h 1526"/>
                <a:gd name="T44" fmla="*/ 394 w 739"/>
                <a:gd name="T45" fmla="*/ 685 h 1526"/>
                <a:gd name="T46" fmla="*/ 403 w 739"/>
                <a:gd name="T47" fmla="*/ 627 h 1526"/>
                <a:gd name="T48" fmla="*/ 402 w 739"/>
                <a:gd name="T49" fmla="*/ 457 h 1526"/>
                <a:gd name="T50" fmla="*/ 311 w 739"/>
                <a:gd name="T51" fmla="*/ 457 h 1526"/>
                <a:gd name="T52" fmla="*/ 359 w 739"/>
                <a:gd name="T53" fmla="*/ 322 h 1526"/>
                <a:gd name="T54" fmla="*/ 249 w 739"/>
                <a:gd name="T55" fmla="*/ 337 h 1526"/>
                <a:gd name="T56" fmla="*/ 214 w 739"/>
                <a:gd name="T57" fmla="*/ 399 h 1526"/>
                <a:gd name="T58" fmla="*/ 185 w 739"/>
                <a:gd name="T59" fmla="*/ 436 h 1526"/>
                <a:gd name="T60" fmla="*/ 188 w 739"/>
                <a:gd name="T61" fmla="*/ 506 h 1526"/>
                <a:gd name="T62" fmla="*/ 180 w 739"/>
                <a:gd name="T63" fmla="*/ 568 h 1526"/>
                <a:gd name="T64" fmla="*/ 209 w 739"/>
                <a:gd name="T65" fmla="*/ 596 h 1526"/>
                <a:gd name="T66" fmla="*/ 191 w 739"/>
                <a:gd name="T67" fmla="*/ 654 h 1526"/>
                <a:gd name="T68" fmla="*/ 179 w 739"/>
                <a:gd name="T69" fmla="*/ 767 h 1526"/>
                <a:gd name="T70" fmla="*/ 232 w 739"/>
                <a:gd name="T71" fmla="*/ 660 h 1526"/>
                <a:gd name="T72" fmla="*/ 260 w 739"/>
                <a:gd name="T73" fmla="*/ 694 h 1526"/>
                <a:gd name="T74" fmla="*/ 239 w 739"/>
                <a:gd name="T75" fmla="*/ 856 h 1526"/>
                <a:gd name="T76" fmla="*/ 323 w 739"/>
                <a:gd name="T77" fmla="*/ 836 h 1526"/>
                <a:gd name="T78" fmla="*/ 366 w 739"/>
                <a:gd name="T79" fmla="*/ 927 h 1526"/>
                <a:gd name="T80" fmla="*/ 399 w 739"/>
                <a:gd name="T81" fmla="*/ 1036 h 1526"/>
                <a:gd name="T82" fmla="*/ 274 w 739"/>
                <a:gd name="T83" fmla="*/ 1092 h 1526"/>
                <a:gd name="T84" fmla="*/ 226 w 739"/>
                <a:gd name="T85" fmla="*/ 1199 h 1526"/>
                <a:gd name="T86" fmla="*/ 277 w 739"/>
                <a:gd name="T87" fmla="*/ 1224 h 1526"/>
                <a:gd name="T88" fmla="*/ 336 w 739"/>
                <a:gd name="T89" fmla="*/ 1258 h 1526"/>
                <a:gd name="T90" fmla="*/ 316 w 739"/>
                <a:gd name="T91" fmla="*/ 1286 h 1526"/>
                <a:gd name="T92" fmla="*/ 183 w 739"/>
                <a:gd name="T93" fmla="*/ 1418 h 1526"/>
                <a:gd name="T94" fmla="*/ 296 w 739"/>
                <a:gd name="T95" fmla="*/ 1390 h 1526"/>
                <a:gd name="T96" fmla="*/ 363 w 739"/>
                <a:gd name="T97" fmla="*/ 1353 h 1526"/>
                <a:gd name="T98" fmla="*/ 519 w 739"/>
                <a:gd name="T99" fmla="*/ 1338 h 1526"/>
                <a:gd name="T100" fmla="*/ 690 w 739"/>
                <a:gd name="T101" fmla="*/ 1270 h 1526"/>
                <a:gd name="T102" fmla="*/ 702 w 739"/>
                <a:gd name="T103" fmla="*/ 1213 h 1526"/>
                <a:gd name="T104" fmla="*/ 366 w 739"/>
                <a:gd name="T105" fmla="*/ 303 h 1526"/>
                <a:gd name="T106" fmla="*/ 380 w 739"/>
                <a:gd name="T107" fmla="*/ 275 h 1526"/>
                <a:gd name="T108" fmla="*/ 402 w 739"/>
                <a:gd name="T109" fmla="*/ 249 h 1526"/>
                <a:gd name="T110" fmla="*/ 394 w 739"/>
                <a:gd name="T111" fmla="*/ 234 h 1526"/>
                <a:gd name="T112" fmla="*/ 534 w 739"/>
                <a:gd name="T113" fmla="*/ 77 h 1526"/>
                <a:gd name="T114" fmla="*/ 511 w 739"/>
                <a:gd name="T115" fmla="*/ 115 h 1526"/>
                <a:gd name="T116" fmla="*/ 520 w 739"/>
                <a:gd name="T117" fmla="*/ 75 h 1526"/>
                <a:gd name="T118" fmla="*/ 508 w 739"/>
                <a:gd name="T119" fmla="*/ 37 h 1526"/>
                <a:gd name="T120" fmla="*/ 483 w 739"/>
                <a:gd name="T121" fmla="*/ 91 h 1526"/>
                <a:gd name="T122" fmla="*/ 545 w 739"/>
                <a:gd name="T123" fmla="*/ 1 h 1526"/>
                <a:gd name="T124" fmla="*/ 283 w 739"/>
                <a:gd name="T125" fmla="*/ 916 h 1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9" h="1526">
                  <a:moveTo>
                    <a:pt x="138" y="1438"/>
                  </a:moveTo>
                  <a:lnTo>
                    <a:pt x="138" y="1438"/>
                  </a:lnTo>
                  <a:lnTo>
                    <a:pt x="138" y="1441"/>
                  </a:lnTo>
                  <a:lnTo>
                    <a:pt x="138" y="1441"/>
                  </a:lnTo>
                  <a:lnTo>
                    <a:pt x="140" y="1440"/>
                  </a:lnTo>
                  <a:lnTo>
                    <a:pt x="140" y="1440"/>
                  </a:lnTo>
                  <a:lnTo>
                    <a:pt x="138" y="1438"/>
                  </a:lnTo>
                  <a:lnTo>
                    <a:pt x="138" y="1438"/>
                  </a:lnTo>
                  <a:close/>
                  <a:moveTo>
                    <a:pt x="135" y="1435"/>
                  </a:moveTo>
                  <a:lnTo>
                    <a:pt x="135" y="1435"/>
                  </a:lnTo>
                  <a:lnTo>
                    <a:pt x="135" y="1435"/>
                  </a:lnTo>
                  <a:lnTo>
                    <a:pt x="135" y="1435"/>
                  </a:lnTo>
                  <a:lnTo>
                    <a:pt x="135" y="1435"/>
                  </a:lnTo>
                  <a:lnTo>
                    <a:pt x="135" y="1437"/>
                  </a:lnTo>
                  <a:lnTo>
                    <a:pt x="137" y="1437"/>
                  </a:lnTo>
                  <a:lnTo>
                    <a:pt x="137" y="1437"/>
                  </a:lnTo>
                  <a:lnTo>
                    <a:pt x="137" y="1435"/>
                  </a:lnTo>
                  <a:lnTo>
                    <a:pt x="135" y="1435"/>
                  </a:lnTo>
                  <a:close/>
                  <a:moveTo>
                    <a:pt x="527" y="1347"/>
                  </a:moveTo>
                  <a:lnTo>
                    <a:pt x="527" y="1347"/>
                  </a:lnTo>
                  <a:lnTo>
                    <a:pt x="527" y="1347"/>
                  </a:lnTo>
                  <a:lnTo>
                    <a:pt x="527" y="1347"/>
                  </a:lnTo>
                  <a:lnTo>
                    <a:pt x="527" y="1346"/>
                  </a:lnTo>
                  <a:lnTo>
                    <a:pt x="527" y="1346"/>
                  </a:lnTo>
                  <a:lnTo>
                    <a:pt x="525" y="1346"/>
                  </a:lnTo>
                  <a:lnTo>
                    <a:pt x="524" y="1346"/>
                  </a:lnTo>
                  <a:lnTo>
                    <a:pt x="522" y="1346"/>
                  </a:lnTo>
                  <a:lnTo>
                    <a:pt x="511" y="1341"/>
                  </a:lnTo>
                  <a:lnTo>
                    <a:pt x="510" y="1341"/>
                  </a:lnTo>
                  <a:lnTo>
                    <a:pt x="508" y="1341"/>
                  </a:lnTo>
                  <a:lnTo>
                    <a:pt x="505" y="1346"/>
                  </a:lnTo>
                  <a:lnTo>
                    <a:pt x="503" y="1346"/>
                  </a:lnTo>
                  <a:lnTo>
                    <a:pt x="502" y="1347"/>
                  </a:lnTo>
                  <a:lnTo>
                    <a:pt x="502" y="1346"/>
                  </a:lnTo>
                  <a:lnTo>
                    <a:pt x="502" y="1346"/>
                  </a:lnTo>
                  <a:lnTo>
                    <a:pt x="502" y="1346"/>
                  </a:lnTo>
                  <a:lnTo>
                    <a:pt x="496" y="1349"/>
                  </a:lnTo>
                  <a:lnTo>
                    <a:pt x="493" y="1350"/>
                  </a:lnTo>
                  <a:lnTo>
                    <a:pt x="491" y="1353"/>
                  </a:lnTo>
                  <a:lnTo>
                    <a:pt x="493" y="1353"/>
                  </a:lnTo>
                  <a:lnTo>
                    <a:pt x="493" y="1352"/>
                  </a:lnTo>
                  <a:lnTo>
                    <a:pt x="496" y="1352"/>
                  </a:lnTo>
                  <a:lnTo>
                    <a:pt x="497" y="1352"/>
                  </a:lnTo>
                  <a:lnTo>
                    <a:pt x="499" y="1355"/>
                  </a:lnTo>
                  <a:lnTo>
                    <a:pt x="500" y="1355"/>
                  </a:lnTo>
                  <a:lnTo>
                    <a:pt x="510" y="1363"/>
                  </a:lnTo>
                  <a:lnTo>
                    <a:pt x="513" y="1363"/>
                  </a:lnTo>
                  <a:lnTo>
                    <a:pt x="520" y="1361"/>
                  </a:lnTo>
                  <a:lnTo>
                    <a:pt x="520" y="1360"/>
                  </a:lnTo>
                  <a:lnTo>
                    <a:pt x="520" y="1358"/>
                  </a:lnTo>
                  <a:lnTo>
                    <a:pt x="520" y="1357"/>
                  </a:lnTo>
                  <a:lnTo>
                    <a:pt x="520" y="1355"/>
                  </a:lnTo>
                  <a:lnTo>
                    <a:pt x="522" y="1355"/>
                  </a:lnTo>
                  <a:lnTo>
                    <a:pt x="524" y="1353"/>
                  </a:lnTo>
                  <a:lnTo>
                    <a:pt x="525" y="1352"/>
                  </a:lnTo>
                  <a:lnTo>
                    <a:pt x="528" y="1352"/>
                  </a:lnTo>
                  <a:lnTo>
                    <a:pt x="528" y="1352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7" y="1347"/>
                  </a:lnTo>
                  <a:lnTo>
                    <a:pt x="527" y="1347"/>
                  </a:lnTo>
                  <a:close/>
                  <a:moveTo>
                    <a:pt x="536" y="1338"/>
                  </a:moveTo>
                  <a:lnTo>
                    <a:pt x="536" y="1336"/>
                  </a:lnTo>
                  <a:lnTo>
                    <a:pt x="536" y="1336"/>
                  </a:lnTo>
                  <a:lnTo>
                    <a:pt x="537" y="1336"/>
                  </a:lnTo>
                  <a:lnTo>
                    <a:pt x="537" y="1335"/>
                  </a:lnTo>
                  <a:lnTo>
                    <a:pt x="537" y="1335"/>
                  </a:lnTo>
                  <a:lnTo>
                    <a:pt x="536" y="1333"/>
                  </a:lnTo>
                  <a:lnTo>
                    <a:pt x="536" y="1333"/>
                  </a:lnTo>
                  <a:lnTo>
                    <a:pt x="533" y="1336"/>
                  </a:lnTo>
                  <a:lnTo>
                    <a:pt x="531" y="1338"/>
                  </a:lnTo>
                  <a:lnTo>
                    <a:pt x="531" y="1338"/>
                  </a:lnTo>
                  <a:lnTo>
                    <a:pt x="537" y="1340"/>
                  </a:lnTo>
                  <a:lnTo>
                    <a:pt x="537" y="1338"/>
                  </a:lnTo>
                  <a:lnTo>
                    <a:pt x="537" y="1338"/>
                  </a:lnTo>
                  <a:lnTo>
                    <a:pt x="536" y="1338"/>
                  </a:lnTo>
                  <a:close/>
                  <a:moveTo>
                    <a:pt x="260" y="1295"/>
                  </a:moveTo>
                  <a:lnTo>
                    <a:pt x="260" y="1293"/>
                  </a:lnTo>
                  <a:lnTo>
                    <a:pt x="260" y="1292"/>
                  </a:lnTo>
                  <a:lnTo>
                    <a:pt x="260" y="1292"/>
                  </a:lnTo>
                  <a:lnTo>
                    <a:pt x="260" y="1290"/>
                  </a:lnTo>
                  <a:lnTo>
                    <a:pt x="260" y="1290"/>
                  </a:lnTo>
                  <a:lnTo>
                    <a:pt x="259" y="1292"/>
                  </a:lnTo>
                  <a:lnTo>
                    <a:pt x="259" y="1293"/>
                  </a:lnTo>
                  <a:lnTo>
                    <a:pt x="260" y="1295"/>
                  </a:lnTo>
                  <a:lnTo>
                    <a:pt x="260" y="1295"/>
                  </a:lnTo>
                  <a:close/>
                  <a:moveTo>
                    <a:pt x="674" y="1264"/>
                  </a:moveTo>
                  <a:lnTo>
                    <a:pt x="674" y="1264"/>
                  </a:lnTo>
                  <a:lnTo>
                    <a:pt x="665" y="1261"/>
                  </a:lnTo>
                  <a:lnTo>
                    <a:pt x="664" y="1261"/>
                  </a:lnTo>
                  <a:lnTo>
                    <a:pt x="664" y="1261"/>
                  </a:lnTo>
                  <a:lnTo>
                    <a:pt x="662" y="1266"/>
                  </a:lnTo>
                  <a:lnTo>
                    <a:pt x="664" y="1266"/>
                  </a:lnTo>
                  <a:lnTo>
                    <a:pt x="664" y="1269"/>
                  </a:lnTo>
                  <a:lnTo>
                    <a:pt x="665" y="1269"/>
                  </a:lnTo>
                  <a:lnTo>
                    <a:pt x="667" y="1270"/>
                  </a:lnTo>
                  <a:lnTo>
                    <a:pt x="676" y="1270"/>
                  </a:lnTo>
                  <a:lnTo>
                    <a:pt x="678" y="1270"/>
                  </a:lnTo>
                  <a:lnTo>
                    <a:pt x="678" y="1269"/>
                  </a:lnTo>
                  <a:lnTo>
                    <a:pt x="678" y="1267"/>
                  </a:lnTo>
                  <a:lnTo>
                    <a:pt x="676" y="1266"/>
                  </a:lnTo>
                  <a:lnTo>
                    <a:pt x="674" y="1264"/>
                  </a:lnTo>
                  <a:close/>
                  <a:moveTo>
                    <a:pt x="266" y="1039"/>
                  </a:moveTo>
                  <a:lnTo>
                    <a:pt x="266" y="1038"/>
                  </a:lnTo>
                  <a:lnTo>
                    <a:pt x="266" y="1036"/>
                  </a:lnTo>
                  <a:lnTo>
                    <a:pt x="265" y="1035"/>
                  </a:lnTo>
                  <a:lnTo>
                    <a:pt x="263" y="1033"/>
                  </a:lnTo>
                  <a:lnTo>
                    <a:pt x="263" y="1033"/>
                  </a:lnTo>
                  <a:lnTo>
                    <a:pt x="262" y="1033"/>
                  </a:lnTo>
                  <a:lnTo>
                    <a:pt x="262" y="1033"/>
                  </a:lnTo>
                  <a:lnTo>
                    <a:pt x="260" y="1033"/>
                  </a:lnTo>
                  <a:lnTo>
                    <a:pt x="259" y="1035"/>
                  </a:lnTo>
                  <a:lnTo>
                    <a:pt x="259" y="1035"/>
                  </a:lnTo>
                  <a:lnTo>
                    <a:pt x="260" y="1038"/>
                  </a:lnTo>
                  <a:lnTo>
                    <a:pt x="260" y="1038"/>
                  </a:lnTo>
                  <a:lnTo>
                    <a:pt x="262" y="1038"/>
                  </a:lnTo>
                  <a:lnTo>
                    <a:pt x="263" y="1038"/>
                  </a:lnTo>
                  <a:lnTo>
                    <a:pt x="263" y="1038"/>
                  </a:lnTo>
                  <a:lnTo>
                    <a:pt x="265" y="1041"/>
                  </a:lnTo>
                  <a:lnTo>
                    <a:pt x="266" y="1042"/>
                  </a:lnTo>
                  <a:lnTo>
                    <a:pt x="268" y="1042"/>
                  </a:lnTo>
                  <a:lnTo>
                    <a:pt x="268" y="1042"/>
                  </a:lnTo>
                  <a:lnTo>
                    <a:pt x="268" y="1041"/>
                  </a:lnTo>
                  <a:lnTo>
                    <a:pt x="268" y="1041"/>
                  </a:lnTo>
                  <a:lnTo>
                    <a:pt x="268" y="1039"/>
                  </a:lnTo>
                  <a:lnTo>
                    <a:pt x="266" y="1039"/>
                  </a:lnTo>
                  <a:close/>
                  <a:moveTo>
                    <a:pt x="289" y="1025"/>
                  </a:moveTo>
                  <a:lnTo>
                    <a:pt x="289" y="1024"/>
                  </a:lnTo>
                  <a:lnTo>
                    <a:pt x="289" y="1022"/>
                  </a:lnTo>
                  <a:lnTo>
                    <a:pt x="288" y="1022"/>
                  </a:lnTo>
                  <a:lnTo>
                    <a:pt x="286" y="1021"/>
                  </a:lnTo>
                  <a:lnTo>
                    <a:pt x="285" y="1021"/>
                  </a:lnTo>
                  <a:lnTo>
                    <a:pt x="279" y="1019"/>
                  </a:lnTo>
                  <a:lnTo>
                    <a:pt x="279" y="1019"/>
                  </a:lnTo>
                  <a:lnTo>
                    <a:pt x="269" y="1022"/>
                  </a:lnTo>
                  <a:lnTo>
                    <a:pt x="268" y="1024"/>
                  </a:lnTo>
                  <a:lnTo>
                    <a:pt x="268" y="1025"/>
                  </a:lnTo>
                  <a:lnTo>
                    <a:pt x="268" y="1027"/>
                  </a:lnTo>
                  <a:lnTo>
                    <a:pt x="268" y="1032"/>
                  </a:lnTo>
                  <a:lnTo>
                    <a:pt x="268" y="1035"/>
                  </a:lnTo>
                  <a:lnTo>
                    <a:pt x="268" y="1036"/>
                  </a:lnTo>
                  <a:lnTo>
                    <a:pt x="268" y="1038"/>
                  </a:lnTo>
                  <a:lnTo>
                    <a:pt x="268" y="1038"/>
                  </a:lnTo>
                  <a:lnTo>
                    <a:pt x="269" y="1041"/>
                  </a:lnTo>
                  <a:lnTo>
                    <a:pt x="271" y="1045"/>
                  </a:lnTo>
                  <a:lnTo>
                    <a:pt x="272" y="1047"/>
                  </a:lnTo>
                  <a:lnTo>
                    <a:pt x="272" y="1047"/>
                  </a:lnTo>
                  <a:lnTo>
                    <a:pt x="272" y="1049"/>
                  </a:lnTo>
                  <a:lnTo>
                    <a:pt x="272" y="1049"/>
                  </a:lnTo>
                  <a:lnTo>
                    <a:pt x="272" y="1049"/>
                  </a:lnTo>
                  <a:lnTo>
                    <a:pt x="272" y="1050"/>
                  </a:lnTo>
                  <a:lnTo>
                    <a:pt x="272" y="1050"/>
                  </a:lnTo>
                  <a:lnTo>
                    <a:pt x="272" y="1050"/>
                  </a:lnTo>
                  <a:lnTo>
                    <a:pt x="274" y="1050"/>
                  </a:lnTo>
                  <a:lnTo>
                    <a:pt x="274" y="1050"/>
                  </a:lnTo>
                  <a:lnTo>
                    <a:pt x="277" y="1053"/>
                  </a:lnTo>
                  <a:lnTo>
                    <a:pt x="277" y="1053"/>
                  </a:lnTo>
                  <a:lnTo>
                    <a:pt x="277" y="1053"/>
                  </a:lnTo>
                  <a:lnTo>
                    <a:pt x="279" y="1050"/>
                  </a:lnTo>
                  <a:lnTo>
                    <a:pt x="280" y="1050"/>
                  </a:lnTo>
                  <a:lnTo>
                    <a:pt x="282" y="1050"/>
                  </a:lnTo>
                  <a:lnTo>
                    <a:pt x="280" y="1052"/>
                  </a:lnTo>
                  <a:lnTo>
                    <a:pt x="280" y="1052"/>
                  </a:lnTo>
                  <a:lnTo>
                    <a:pt x="279" y="1053"/>
                  </a:lnTo>
                  <a:lnTo>
                    <a:pt x="279" y="1053"/>
                  </a:lnTo>
                  <a:lnTo>
                    <a:pt x="279" y="1055"/>
                  </a:lnTo>
                  <a:lnTo>
                    <a:pt x="279" y="1056"/>
                  </a:lnTo>
                  <a:lnTo>
                    <a:pt x="279" y="1056"/>
                  </a:lnTo>
                  <a:lnTo>
                    <a:pt x="280" y="1056"/>
                  </a:lnTo>
                  <a:lnTo>
                    <a:pt x="280" y="1056"/>
                  </a:lnTo>
                  <a:lnTo>
                    <a:pt x="280" y="1056"/>
                  </a:lnTo>
                  <a:lnTo>
                    <a:pt x="280" y="1055"/>
                  </a:lnTo>
                  <a:lnTo>
                    <a:pt x="283" y="1056"/>
                  </a:lnTo>
                  <a:lnTo>
                    <a:pt x="283" y="1056"/>
                  </a:lnTo>
                  <a:lnTo>
                    <a:pt x="285" y="1056"/>
                  </a:lnTo>
                  <a:lnTo>
                    <a:pt x="289" y="1053"/>
                  </a:lnTo>
                  <a:lnTo>
                    <a:pt x="289" y="1052"/>
                  </a:lnTo>
                  <a:lnTo>
                    <a:pt x="292" y="1050"/>
                  </a:lnTo>
                  <a:lnTo>
                    <a:pt x="292" y="1050"/>
                  </a:lnTo>
                  <a:lnTo>
                    <a:pt x="294" y="1050"/>
                  </a:lnTo>
                  <a:lnTo>
                    <a:pt x="294" y="1049"/>
                  </a:lnTo>
                  <a:lnTo>
                    <a:pt x="294" y="1049"/>
                  </a:lnTo>
                  <a:lnTo>
                    <a:pt x="294" y="1047"/>
                  </a:lnTo>
                  <a:lnTo>
                    <a:pt x="294" y="1047"/>
                  </a:lnTo>
                  <a:lnTo>
                    <a:pt x="294" y="1047"/>
                  </a:lnTo>
                  <a:lnTo>
                    <a:pt x="296" y="1045"/>
                  </a:lnTo>
                  <a:lnTo>
                    <a:pt x="297" y="1044"/>
                  </a:lnTo>
                  <a:lnTo>
                    <a:pt x="299" y="1042"/>
                  </a:lnTo>
                  <a:lnTo>
                    <a:pt x="300" y="1042"/>
                  </a:lnTo>
                  <a:lnTo>
                    <a:pt x="303" y="1041"/>
                  </a:lnTo>
                  <a:lnTo>
                    <a:pt x="305" y="1036"/>
                  </a:lnTo>
                  <a:lnTo>
                    <a:pt x="306" y="1035"/>
                  </a:lnTo>
                  <a:lnTo>
                    <a:pt x="306" y="1035"/>
                  </a:lnTo>
                  <a:lnTo>
                    <a:pt x="305" y="1035"/>
                  </a:lnTo>
                  <a:lnTo>
                    <a:pt x="303" y="1035"/>
                  </a:lnTo>
                  <a:lnTo>
                    <a:pt x="302" y="1035"/>
                  </a:lnTo>
                  <a:lnTo>
                    <a:pt x="302" y="1033"/>
                  </a:lnTo>
                  <a:lnTo>
                    <a:pt x="300" y="1033"/>
                  </a:lnTo>
                  <a:lnTo>
                    <a:pt x="300" y="1033"/>
                  </a:lnTo>
                  <a:lnTo>
                    <a:pt x="300" y="1035"/>
                  </a:lnTo>
                  <a:lnTo>
                    <a:pt x="299" y="1035"/>
                  </a:lnTo>
                  <a:lnTo>
                    <a:pt x="299" y="1035"/>
                  </a:lnTo>
                  <a:lnTo>
                    <a:pt x="297" y="1036"/>
                  </a:lnTo>
                  <a:lnTo>
                    <a:pt x="296" y="1036"/>
                  </a:lnTo>
                  <a:lnTo>
                    <a:pt x="294" y="1036"/>
                  </a:lnTo>
                  <a:lnTo>
                    <a:pt x="294" y="1035"/>
                  </a:lnTo>
                  <a:lnTo>
                    <a:pt x="294" y="1033"/>
                  </a:lnTo>
                  <a:lnTo>
                    <a:pt x="294" y="1033"/>
                  </a:lnTo>
                  <a:lnTo>
                    <a:pt x="292" y="1032"/>
                  </a:lnTo>
                  <a:lnTo>
                    <a:pt x="292" y="1030"/>
                  </a:lnTo>
                  <a:lnTo>
                    <a:pt x="292" y="1030"/>
                  </a:lnTo>
                  <a:lnTo>
                    <a:pt x="292" y="1030"/>
                  </a:lnTo>
                  <a:lnTo>
                    <a:pt x="292" y="1029"/>
                  </a:lnTo>
                  <a:lnTo>
                    <a:pt x="292" y="1029"/>
                  </a:lnTo>
                  <a:lnTo>
                    <a:pt x="292" y="1029"/>
                  </a:lnTo>
                  <a:lnTo>
                    <a:pt x="291" y="1027"/>
                  </a:lnTo>
                  <a:lnTo>
                    <a:pt x="289" y="1027"/>
                  </a:lnTo>
                  <a:lnTo>
                    <a:pt x="289" y="1027"/>
                  </a:lnTo>
                  <a:lnTo>
                    <a:pt x="289" y="1025"/>
                  </a:lnTo>
                  <a:close/>
                  <a:moveTo>
                    <a:pt x="186" y="918"/>
                  </a:moveTo>
                  <a:lnTo>
                    <a:pt x="186" y="919"/>
                  </a:lnTo>
                  <a:lnTo>
                    <a:pt x="186" y="919"/>
                  </a:lnTo>
                  <a:lnTo>
                    <a:pt x="188" y="918"/>
                  </a:lnTo>
                  <a:lnTo>
                    <a:pt x="188" y="918"/>
                  </a:lnTo>
                  <a:lnTo>
                    <a:pt x="188" y="915"/>
                  </a:lnTo>
                  <a:lnTo>
                    <a:pt x="189" y="915"/>
                  </a:lnTo>
                  <a:lnTo>
                    <a:pt x="189" y="916"/>
                  </a:lnTo>
                  <a:lnTo>
                    <a:pt x="189" y="915"/>
                  </a:lnTo>
                  <a:lnTo>
                    <a:pt x="192" y="913"/>
                  </a:lnTo>
                  <a:lnTo>
                    <a:pt x="194" y="910"/>
                  </a:lnTo>
                  <a:lnTo>
                    <a:pt x="195" y="907"/>
                  </a:lnTo>
                  <a:lnTo>
                    <a:pt x="194" y="901"/>
                  </a:lnTo>
                  <a:lnTo>
                    <a:pt x="192" y="899"/>
                  </a:lnTo>
                  <a:lnTo>
                    <a:pt x="189" y="899"/>
                  </a:lnTo>
                  <a:lnTo>
                    <a:pt x="186" y="902"/>
                  </a:lnTo>
                  <a:lnTo>
                    <a:pt x="183" y="904"/>
                  </a:lnTo>
                  <a:lnTo>
                    <a:pt x="183" y="902"/>
                  </a:lnTo>
                  <a:lnTo>
                    <a:pt x="186" y="899"/>
                  </a:lnTo>
                  <a:lnTo>
                    <a:pt x="186" y="898"/>
                  </a:lnTo>
                  <a:lnTo>
                    <a:pt x="189" y="891"/>
                  </a:lnTo>
                  <a:lnTo>
                    <a:pt x="188" y="891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89" y="888"/>
                  </a:lnTo>
                  <a:lnTo>
                    <a:pt x="188" y="888"/>
                  </a:lnTo>
                  <a:lnTo>
                    <a:pt x="188" y="888"/>
                  </a:lnTo>
                  <a:lnTo>
                    <a:pt x="188" y="887"/>
                  </a:lnTo>
                  <a:lnTo>
                    <a:pt x="188" y="885"/>
                  </a:lnTo>
                  <a:lnTo>
                    <a:pt x="186" y="884"/>
                  </a:lnTo>
                  <a:lnTo>
                    <a:pt x="186" y="882"/>
                  </a:lnTo>
                  <a:lnTo>
                    <a:pt x="188" y="882"/>
                  </a:lnTo>
                  <a:lnTo>
                    <a:pt x="189" y="882"/>
                  </a:lnTo>
                  <a:lnTo>
                    <a:pt x="188" y="881"/>
                  </a:lnTo>
                  <a:lnTo>
                    <a:pt x="185" y="881"/>
                  </a:lnTo>
                  <a:lnTo>
                    <a:pt x="185" y="881"/>
                  </a:lnTo>
                  <a:lnTo>
                    <a:pt x="185" y="881"/>
                  </a:lnTo>
                  <a:lnTo>
                    <a:pt x="183" y="879"/>
                  </a:lnTo>
                  <a:lnTo>
                    <a:pt x="182" y="879"/>
                  </a:lnTo>
                  <a:lnTo>
                    <a:pt x="183" y="879"/>
                  </a:lnTo>
                  <a:lnTo>
                    <a:pt x="183" y="878"/>
                  </a:lnTo>
                  <a:lnTo>
                    <a:pt x="183" y="876"/>
                  </a:lnTo>
                  <a:lnTo>
                    <a:pt x="183" y="875"/>
                  </a:lnTo>
                  <a:lnTo>
                    <a:pt x="183" y="875"/>
                  </a:lnTo>
                  <a:lnTo>
                    <a:pt x="185" y="875"/>
                  </a:lnTo>
                  <a:lnTo>
                    <a:pt x="188" y="876"/>
                  </a:lnTo>
                  <a:lnTo>
                    <a:pt x="192" y="881"/>
                  </a:lnTo>
                  <a:lnTo>
                    <a:pt x="194" y="882"/>
                  </a:lnTo>
                  <a:lnTo>
                    <a:pt x="194" y="885"/>
                  </a:lnTo>
                  <a:lnTo>
                    <a:pt x="195" y="890"/>
                  </a:lnTo>
                  <a:lnTo>
                    <a:pt x="194" y="891"/>
                  </a:lnTo>
                  <a:lnTo>
                    <a:pt x="192" y="893"/>
                  </a:lnTo>
                  <a:lnTo>
                    <a:pt x="192" y="895"/>
                  </a:lnTo>
                  <a:lnTo>
                    <a:pt x="192" y="896"/>
                  </a:lnTo>
                  <a:lnTo>
                    <a:pt x="192" y="898"/>
                  </a:lnTo>
                  <a:lnTo>
                    <a:pt x="194" y="899"/>
                  </a:lnTo>
                  <a:lnTo>
                    <a:pt x="194" y="899"/>
                  </a:lnTo>
                  <a:lnTo>
                    <a:pt x="195" y="902"/>
                  </a:lnTo>
                  <a:lnTo>
                    <a:pt x="195" y="904"/>
                  </a:lnTo>
                  <a:lnTo>
                    <a:pt x="197" y="905"/>
                  </a:lnTo>
                  <a:lnTo>
                    <a:pt x="199" y="905"/>
                  </a:lnTo>
                  <a:lnTo>
                    <a:pt x="199" y="902"/>
                  </a:lnTo>
                  <a:lnTo>
                    <a:pt x="200" y="902"/>
                  </a:lnTo>
                  <a:lnTo>
                    <a:pt x="199" y="901"/>
                  </a:lnTo>
                  <a:lnTo>
                    <a:pt x="200" y="899"/>
                  </a:lnTo>
                  <a:lnTo>
                    <a:pt x="200" y="899"/>
                  </a:lnTo>
                  <a:lnTo>
                    <a:pt x="202" y="898"/>
                  </a:lnTo>
                  <a:lnTo>
                    <a:pt x="202" y="896"/>
                  </a:lnTo>
                  <a:lnTo>
                    <a:pt x="200" y="893"/>
                  </a:lnTo>
                  <a:lnTo>
                    <a:pt x="202" y="891"/>
                  </a:lnTo>
                  <a:lnTo>
                    <a:pt x="203" y="890"/>
                  </a:lnTo>
                  <a:lnTo>
                    <a:pt x="203" y="888"/>
                  </a:lnTo>
                  <a:lnTo>
                    <a:pt x="203" y="888"/>
                  </a:lnTo>
                  <a:lnTo>
                    <a:pt x="203" y="888"/>
                  </a:lnTo>
                  <a:lnTo>
                    <a:pt x="203" y="887"/>
                  </a:lnTo>
                  <a:lnTo>
                    <a:pt x="203" y="885"/>
                  </a:lnTo>
                  <a:lnTo>
                    <a:pt x="203" y="885"/>
                  </a:lnTo>
                  <a:lnTo>
                    <a:pt x="200" y="882"/>
                  </a:lnTo>
                  <a:lnTo>
                    <a:pt x="200" y="881"/>
                  </a:lnTo>
                  <a:lnTo>
                    <a:pt x="200" y="875"/>
                  </a:lnTo>
                  <a:lnTo>
                    <a:pt x="199" y="875"/>
                  </a:lnTo>
                  <a:lnTo>
                    <a:pt x="199" y="873"/>
                  </a:lnTo>
                  <a:lnTo>
                    <a:pt x="197" y="871"/>
                  </a:lnTo>
                  <a:lnTo>
                    <a:pt x="195" y="867"/>
                  </a:lnTo>
                  <a:lnTo>
                    <a:pt x="195" y="865"/>
                  </a:lnTo>
                  <a:lnTo>
                    <a:pt x="195" y="865"/>
                  </a:lnTo>
                  <a:lnTo>
                    <a:pt x="195" y="864"/>
                  </a:lnTo>
                  <a:lnTo>
                    <a:pt x="194" y="864"/>
                  </a:lnTo>
                  <a:lnTo>
                    <a:pt x="194" y="864"/>
                  </a:lnTo>
                  <a:lnTo>
                    <a:pt x="192" y="862"/>
                  </a:lnTo>
                  <a:lnTo>
                    <a:pt x="192" y="861"/>
                  </a:lnTo>
                  <a:lnTo>
                    <a:pt x="183" y="862"/>
                  </a:lnTo>
                  <a:lnTo>
                    <a:pt x="182" y="862"/>
                  </a:lnTo>
                  <a:lnTo>
                    <a:pt x="182" y="862"/>
                  </a:lnTo>
                  <a:lnTo>
                    <a:pt x="180" y="861"/>
                  </a:lnTo>
                  <a:lnTo>
                    <a:pt x="179" y="862"/>
                  </a:lnTo>
                  <a:lnTo>
                    <a:pt x="175" y="864"/>
                  </a:lnTo>
                  <a:lnTo>
                    <a:pt x="172" y="865"/>
                  </a:lnTo>
                  <a:lnTo>
                    <a:pt x="172" y="865"/>
                  </a:lnTo>
                  <a:lnTo>
                    <a:pt x="171" y="868"/>
                  </a:lnTo>
                  <a:lnTo>
                    <a:pt x="169" y="870"/>
                  </a:lnTo>
                  <a:lnTo>
                    <a:pt x="169" y="870"/>
                  </a:lnTo>
                  <a:lnTo>
                    <a:pt x="169" y="871"/>
                  </a:lnTo>
                  <a:lnTo>
                    <a:pt x="168" y="870"/>
                  </a:lnTo>
                  <a:lnTo>
                    <a:pt x="168" y="870"/>
                  </a:lnTo>
                  <a:lnTo>
                    <a:pt x="168" y="868"/>
                  </a:lnTo>
                  <a:lnTo>
                    <a:pt x="168" y="868"/>
                  </a:lnTo>
                  <a:lnTo>
                    <a:pt x="166" y="867"/>
                  </a:lnTo>
                  <a:lnTo>
                    <a:pt x="168" y="865"/>
                  </a:lnTo>
                  <a:lnTo>
                    <a:pt x="169" y="862"/>
                  </a:lnTo>
                  <a:lnTo>
                    <a:pt x="171" y="861"/>
                  </a:lnTo>
                  <a:lnTo>
                    <a:pt x="172" y="858"/>
                  </a:lnTo>
                  <a:lnTo>
                    <a:pt x="174" y="858"/>
                  </a:lnTo>
                  <a:lnTo>
                    <a:pt x="179" y="856"/>
                  </a:lnTo>
                  <a:lnTo>
                    <a:pt x="182" y="854"/>
                  </a:lnTo>
                  <a:lnTo>
                    <a:pt x="183" y="853"/>
                  </a:lnTo>
                  <a:lnTo>
                    <a:pt x="183" y="850"/>
                  </a:lnTo>
                  <a:lnTo>
                    <a:pt x="185" y="847"/>
                  </a:lnTo>
                  <a:lnTo>
                    <a:pt x="183" y="842"/>
                  </a:lnTo>
                  <a:lnTo>
                    <a:pt x="182" y="841"/>
                  </a:lnTo>
                  <a:lnTo>
                    <a:pt x="180" y="838"/>
                  </a:lnTo>
                  <a:lnTo>
                    <a:pt x="177" y="838"/>
                  </a:lnTo>
                  <a:lnTo>
                    <a:pt x="175" y="839"/>
                  </a:lnTo>
                  <a:lnTo>
                    <a:pt x="180" y="845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0" y="845"/>
                  </a:lnTo>
                  <a:lnTo>
                    <a:pt x="177" y="844"/>
                  </a:lnTo>
                  <a:lnTo>
                    <a:pt x="175" y="842"/>
                  </a:lnTo>
                  <a:lnTo>
                    <a:pt x="175" y="839"/>
                  </a:lnTo>
                  <a:lnTo>
                    <a:pt x="175" y="838"/>
                  </a:lnTo>
                  <a:lnTo>
                    <a:pt x="174" y="836"/>
                  </a:lnTo>
                  <a:lnTo>
                    <a:pt x="174" y="834"/>
                  </a:lnTo>
                  <a:lnTo>
                    <a:pt x="172" y="833"/>
                  </a:lnTo>
                  <a:lnTo>
                    <a:pt x="172" y="833"/>
                  </a:lnTo>
                  <a:lnTo>
                    <a:pt x="171" y="831"/>
                  </a:lnTo>
                  <a:lnTo>
                    <a:pt x="171" y="831"/>
                  </a:lnTo>
                  <a:lnTo>
                    <a:pt x="171" y="830"/>
                  </a:lnTo>
                  <a:lnTo>
                    <a:pt x="169" y="828"/>
                  </a:lnTo>
                  <a:lnTo>
                    <a:pt x="169" y="827"/>
                  </a:lnTo>
                  <a:lnTo>
                    <a:pt x="168" y="825"/>
                  </a:lnTo>
                  <a:lnTo>
                    <a:pt x="166" y="824"/>
                  </a:lnTo>
                  <a:lnTo>
                    <a:pt x="165" y="822"/>
                  </a:lnTo>
                  <a:lnTo>
                    <a:pt x="162" y="822"/>
                  </a:lnTo>
                  <a:lnTo>
                    <a:pt x="162" y="821"/>
                  </a:lnTo>
                  <a:lnTo>
                    <a:pt x="163" y="816"/>
                  </a:lnTo>
                  <a:lnTo>
                    <a:pt x="163" y="814"/>
                  </a:lnTo>
                  <a:lnTo>
                    <a:pt x="163" y="813"/>
                  </a:lnTo>
                  <a:lnTo>
                    <a:pt x="162" y="811"/>
                  </a:lnTo>
                  <a:lnTo>
                    <a:pt x="160" y="811"/>
                  </a:lnTo>
                  <a:lnTo>
                    <a:pt x="160" y="811"/>
                  </a:lnTo>
                  <a:lnTo>
                    <a:pt x="158" y="811"/>
                  </a:lnTo>
                  <a:lnTo>
                    <a:pt x="157" y="811"/>
                  </a:lnTo>
                  <a:lnTo>
                    <a:pt x="157" y="810"/>
                  </a:lnTo>
                  <a:lnTo>
                    <a:pt x="157" y="807"/>
                  </a:lnTo>
                  <a:lnTo>
                    <a:pt x="158" y="805"/>
                  </a:lnTo>
                  <a:lnTo>
                    <a:pt x="158" y="798"/>
                  </a:lnTo>
                  <a:lnTo>
                    <a:pt x="157" y="796"/>
                  </a:lnTo>
                  <a:lnTo>
                    <a:pt x="155" y="793"/>
                  </a:lnTo>
                  <a:lnTo>
                    <a:pt x="154" y="793"/>
                  </a:lnTo>
                  <a:lnTo>
                    <a:pt x="154" y="793"/>
                  </a:lnTo>
                  <a:lnTo>
                    <a:pt x="152" y="791"/>
                  </a:lnTo>
                  <a:lnTo>
                    <a:pt x="149" y="791"/>
                  </a:lnTo>
                  <a:lnTo>
                    <a:pt x="148" y="791"/>
                  </a:lnTo>
                  <a:lnTo>
                    <a:pt x="145" y="793"/>
                  </a:lnTo>
                  <a:lnTo>
                    <a:pt x="143" y="793"/>
                  </a:lnTo>
                  <a:lnTo>
                    <a:pt x="142" y="793"/>
                  </a:lnTo>
                  <a:lnTo>
                    <a:pt x="135" y="788"/>
                  </a:lnTo>
                  <a:lnTo>
                    <a:pt x="132" y="788"/>
                  </a:lnTo>
                  <a:lnTo>
                    <a:pt x="129" y="790"/>
                  </a:lnTo>
                  <a:lnTo>
                    <a:pt x="128" y="790"/>
                  </a:lnTo>
                  <a:lnTo>
                    <a:pt x="126" y="787"/>
                  </a:lnTo>
                  <a:lnTo>
                    <a:pt x="125" y="788"/>
                  </a:lnTo>
                  <a:lnTo>
                    <a:pt x="122" y="788"/>
                  </a:lnTo>
                  <a:lnTo>
                    <a:pt x="122" y="790"/>
                  </a:lnTo>
                  <a:lnTo>
                    <a:pt x="120" y="791"/>
                  </a:lnTo>
                  <a:lnTo>
                    <a:pt x="118" y="793"/>
                  </a:lnTo>
                  <a:lnTo>
                    <a:pt x="114" y="793"/>
                  </a:lnTo>
                  <a:lnTo>
                    <a:pt x="105" y="796"/>
                  </a:lnTo>
                  <a:lnTo>
                    <a:pt x="95" y="798"/>
                  </a:lnTo>
                  <a:lnTo>
                    <a:pt x="94" y="796"/>
                  </a:lnTo>
                  <a:lnTo>
                    <a:pt x="91" y="794"/>
                  </a:lnTo>
                  <a:lnTo>
                    <a:pt x="89" y="794"/>
                  </a:lnTo>
                  <a:lnTo>
                    <a:pt x="89" y="796"/>
                  </a:lnTo>
                  <a:lnTo>
                    <a:pt x="88" y="802"/>
                  </a:lnTo>
                  <a:lnTo>
                    <a:pt x="88" y="804"/>
                  </a:lnTo>
                  <a:lnTo>
                    <a:pt x="86" y="804"/>
                  </a:lnTo>
                  <a:lnTo>
                    <a:pt x="86" y="807"/>
                  </a:lnTo>
                  <a:lnTo>
                    <a:pt x="85" y="808"/>
                  </a:lnTo>
                  <a:lnTo>
                    <a:pt x="85" y="810"/>
                  </a:lnTo>
                  <a:lnTo>
                    <a:pt x="85" y="811"/>
                  </a:lnTo>
                  <a:lnTo>
                    <a:pt x="83" y="813"/>
                  </a:lnTo>
                  <a:lnTo>
                    <a:pt x="81" y="814"/>
                  </a:lnTo>
                  <a:lnTo>
                    <a:pt x="78" y="814"/>
                  </a:lnTo>
                  <a:lnTo>
                    <a:pt x="77" y="814"/>
                  </a:lnTo>
                  <a:lnTo>
                    <a:pt x="74" y="813"/>
                  </a:lnTo>
                  <a:lnTo>
                    <a:pt x="72" y="813"/>
                  </a:lnTo>
                  <a:lnTo>
                    <a:pt x="69" y="813"/>
                  </a:lnTo>
                  <a:lnTo>
                    <a:pt x="68" y="813"/>
                  </a:lnTo>
                  <a:lnTo>
                    <a:pt x="68" y="811"/>
                  </a:lnTo>
                  <a:lnTo>
                    <a:pt x="68" y="811"/>
                  </a:lnTo>
                  <a:lnTo>
                    <a:pt x="66" y="811"/>
                  </a:lnTo>
                  <a:lnTo>
                    <a:pt x="66" y="811"/>
                  </a:lnTo>
                  <a:lnTo>
                    <a:pt x="66" y="813"/>
                  </a:lnTo>
                  <a:lnTo>
                    <a:pt x="65" y="814"/>
                  </a:lnTo>
                  <a:lnTo>
                    <a:pt x="60" y="814"/>
                  </a:lnTo>
                  <a:lnTo>
                    <a:pt x="60" y="814"/>
                  </a:lnTo>
                  <a:lnTo>
                    <a:pt x="58" y="816"/>
                  </a:lnTo>
                  <a:lnTo>
                    <a:pt x="57" y="819"/>
                  </a:lnTo>
                  <a:lnTo>
                    <a:pt x="57" y="821"/>
                  </a:lnTo>
                  <a:lnTo>
                    <a:pt x="57" y="821"/>
                  </a:lnTo>
                  <a:lnTo>
                    <a:pt x="55" y="821"/>
                  </a:lnTo>
                  <a:lnTo>
                    <a:pt x="55" y="822"/>
                  </a:lnTo>
                  <a:lnTo>
                    <a:pt x="57" y="825"/>
                  </a:lnTo>
                  <a:lnTo>
                    <a:pt x="55" y="827"/>
                  </a:lnTo>
                  <a:lnTo>
                    <a:pt x="55" y="827"/>
                  </a:lnTo>
                  <a:lnTo>
                    <a:pt x="55" y="827"/>
                  </a:lnTo>
                  <a:lnTo>
                    <a:pt x="54" y="828"/>
                  </a:lnTo>
                  <a:lnTo>
                    <a:pt x="54" y="828"/>
                  </a:lnTo>
                  <a:lnTo>
                    <a:pt x="54" y="830"/>
                  </a:lnTo>
                  <a:lnTo>
                    <a:pt x="54" y="833"/>
                  </a:lnTo>
                  <a:lnTo>
                    <a:pt x="54" y="834"/>
                  </a:lnTo>
                  <a:lnTo>
                    <a:pt x="52" y="838"/>
                  </a:lnTo>
                  <a:lnTo>
                    <a:pt x="51" y="839"/>
                  </a:lnTo>
                  <a:lnTo>
                    <a:pt x="46" y="847"/>
                  </a:lnTo>
                  <a:lnTo>
                    <a:pt x="46" y="848"/>
                  </a:lnTo>
                  <a:lnTo>
                    <a:pt x="46" y="851"/>
                  </a:lnTo>
                  <a:lnTo>
                    <a:pt x="46" y="853"/>
                  </a:lnTo>
                  <a:lnTo>
                    <a:pt x="46" y="853"/>
                  </a:lnTo>
                  <a:lnTo>
                    <a:pt x="46" y="853"/>
                  </a:lnTo>
                  <a:lnTo>
                    <a:pt x="45" y="853"/>
                  </a:lnTo>
                  <a:lnTo>
                    <a:pt x="45" y="853"/>
                  </a:lnTo>
                  <a:lnTo>
                    <a:pt x="43" y="853"/>
                  </a:lnTo>
                  <a:lnTo>
                    <a:pt x="41" y="853"/>
                  </a:lnTo>
                  <a:lnTo>
                    <a:pt x="38" y="853"/>
                  </a:lnTo>
                  <a:lnTo>
                    <a:pt x="37" y="853"/>
                  </a:lnTo>
                  <a:lnTo>
                    <a:pt x="34" y="856"/>
                  </a:lnTo>
                  <a:lnTo>
                    <a:pt x="32" y="858"/>
                  </a:lnTo>
                  <a:lnTo>
                    <a:pt x="29" y="858"/>
                  </a:lnTo>
                  <a:lnTo>
                    <a:pt x="26" y="856"/>
                  </a:lnTo>
                  <a:lnTo>
                    <a:pt x="24" y="854"/>
                  </a:lnTo>
                  <a:lnTo>
                    <a:pt x="23" y="854"/>
                  </a:lnTo>
                  <a:lnTo>
                    <a:pt x="21" y="858"/>
                  </a:lnTo>
                  <a:lnTo>
                    <a:pt x="17" y="859"/>
                  </a:lnTo>
                  <a:lnTo>
                    <a:pt x="18" y="861"/>
                  </a:lnTo>
                  <a:lnTo>
                    <a:pt x="18" y="861"/>
                  </a:lnTo>
                  <a:lnTo>
                    <a:pt x="18" y="862"/>
                  </a:lnTo>
                  <a:lnTo>
                    <a:pt x="18" y="864"/>
                  </a:lnTo>
                  <a:lnTo>
                    <a:pt x="20" y="864"/>
                  </a:lnTo>
                  <a:lnTo>
                    <a:pt x="21" y="865"/>
                  </a:lnTo>
                  <a:lnTo>
                    <a:pt x="21" y="865"/>
                  </a:lnTo>
                  <a:lnTo>
                    <a:pt x="23" y="867"/>
                  </a:lnTo>
                  <a:lnTo>
                    <a:pt x="23" y="867"/>
                  </a:lnTo>
                  <a:lnTo>
                    <a:pt x="24" y="867"/>
                  </a:lnTo>
                  <a:lnTo>
                    <a:pt x="24" y="867"/>
                  </a:lnTo>
                  <a:lnTo>
                    <a:pt x="26" y="867"/>
                  </a:lnTo>
                  <a:lnTo>
                    <a:pt x="28" y="867"/>
                  </a:lnTo>
                  <a:lnTo>
                    <a:pt x="29" y="868"/>
                  </a:lnTo>
                  <a:lnTo>
                    <a:pt x="31" y="870"/>
                  </a:lnTo>
                  <a:lnTo>
                    <a:pt x="32" y="868"/>
                  </a:lnTo>
                  <a:lnTo>
                    <a:pt x="32" y="868"/>
                  </a:lnTo>
                  <a:lnTo>
                    <a:pt x="34" y="868"/>
                  </a:lnTo>
                  <a:lnTo>
                    <a:pt x="34" y="871"/>
                  </a:lnTo>
                  <a:lnTo>
                    <a:pt x="34" y="871"/>
                  </a:lnTo>
                  <a:lnTo>
                    <a:pt x="34" y="871"/>
                  </a:lnTo>
                  <a:lnTo>
                    <a:pt x="31" y="871"/>
                  </a:lnTo>
                  <a:lnTo>
                    <a:pt x="23" y="879"/>
                  </a:lnTo>
                  <a:lnTo>
                    <a:pt x="20" y="881"/>
                  </a:lnTo>
                  <a:lnTo>
                    <a:pt x="17" y="879"/>
                  </a:lnTo>
                  <a:lnTo>
                    <a:pt x="12" y="879"/>
                  </a:lnTo>
                  <a:lnTo>
                    <a:pt x="11" y="881"/>
                  </a:lnTo>
                  <a:lnTo>
                    <a:pt x="9" y="882"/>
                  </a:lnTo>
                  <a:lnTo>
                    <a:pt x="8" y="884"/>
                  </a:lnTo>
                  <a:lnTo>
                    <a:pt x="8" y="885"/>
                  </a:lnTo>
                  <a:lnTo>
                    <a:pt x="6" y="885"/>
                  </a:lnTo>
                  <a:lnTo>
                    <a:pt x="4" y="887"/>
                  </a:lnTo>
                  <a:lnTo>
                    <a:pt x="1" y="888"/>
                  </a:lnTo>
                  <a:lnTo>
                    <a:pt x="0" y="888"/>
                  </a:lnTo>
                  <a:lnTo>
                    <a:pt x="0" y="888"/>
                  </a:lnTo>
                  <a:lnTo>
                    <a:pt x="0" y="890"/>
                  </a:lnTo>
                  <a:lnTo>
                    <a:pt x="0" y="891"/>
                  </a:lnTo>
                  <a:lnTo>
                    <a:pt x="0" y="891"/>
                  </a:lnTo>
                  <a:lnTo>
                    <a:pt x="1" y="893"/>
                  </a:lnTo>
                  <a:lnTo>
                    <a:pt x="3" y="895"/>
                  </a:lnTo>
                  <a:lnTo>
                    <a:pt x="6" y="899"/>
                  </a:lnTo>
                  <a:lnTo>
                    <a:pt x="8" y="901"/>
                  </a:lnTo>
                  <a:lnTo>
                    <a:pt x="9" y="902"/>
                  </a:lnTo>
                  <a:lnTo>
                    <a:pt x="12" y="902"/>
                  </a:lnTo>
                  <a:lnTo>
                    <a:pt x="14" y="907"/>
                  </a:lnTo>
                  <a:lnTo>
                    <a:pt x="14" y="908"/>
                  </a:lnTo>
                  <a:lnTo>
                    <a:pt x="15" y="910"/>
                  </a:lnTo>
                  <a:lnTo>
                    <a:pt x="17" y="910"/>
                  </a:lnTo>
                  <a:lnTo>
                    <a:pt x="17" y="910"/>
                  </a:lnTo>
                  <a:lnTo>
                    <a:pt x="20" y="910"/>
                  </a:lnTo>
                  <a:lnTo>
                    <a:pt x="21" y="911"/>
                  </a:lnTo>
                  <a:lnTo>
                    <a:pt x="21" y="913"/>
                  </a:lnTo>
                  <a:lnTo>
                    <a:pt x="21" y="919"/>
                  </a:lnTo>
                  <a:lnTo>
                    <a:pt x="23" y="921"/>
                  </a:lnTo>
                  <a:lnTo>
                    <a:pt x="24" y="922"/>
                  </a:lnTo>
                  <a:lnTo>
                    <a:pt x="28" y="922"/>
                  </a:lnTo>
                  <a:lnTo>
                    <a:pt x="32" y="922"/>
                  </a:lnTo>
                  <a:lnTo>
                    <a:pt x="34" y="922"/>
                  </a:lnTo>
                  <a:lnTo>
                    <a:pt x="40" y="927"/>
                  </a:lnTo>
                  <a:lnTo>
                    <a:pt x="40" y="927"/>
                  </a:lnTo>
                  <a:lnTo>
                    <a:pt x="40" y="928"/>
                  </a:lnTo>
                  <a:lnTo>
                    <a:pt x="40" y="930"/>
                  </a:lnTo>
                  <a:lnTo>
                    <a:pt x="41" y="930"/>
                  </a:lnTo>
                  <a:lnTo>
                    <a:pt x="49" y="931"/>
                  </a:lnTo>
                  <a:lnTo>
                    <a:pt x="51" y="931"/>
                  </a:lnTo>
                  <a:lnTo>
                    <a:pt x="54" y="928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7" y="930"/>
                  </a:lnTo>
                  <a:lnTo>
                    <a:pt x="57" y="931"/>
                  </a:lnTo>
                  <a:lnTo>
                    <a:pt x="57" y="931"/>
                  </a:lnTo>
                  <a:lnTo>
                    <a:pt x="57" y="933"/>
                  </a:lnTo>
                  <a:lnTo>
                    <a:pt x="58" y="931"/>
                  </a:lnTo>
                  <a:lnTo>
                    <a:pt x="61" y="933"/>
                  </a:lnTo>
                  <a:lnTo>
                    <a:pt x="63" y="933"/>
                  </a:lnTo>
                  <a:lnTo>
                    <a:pt x="63" y="933"/>
                  </a:lnTo>
                  <a:lnTo>
                    <a:pt x="61" y="930"/>
                  </a:lnTo>
                  <a:lnTo>
                    <a:pt x="61" y="928"/>
                  </a:lnTo>
                  <a:lnTo>
                    <a:pt x="61" y="928"/>
                  </a:lnTo>
                  <a:lnTo>
                    <a:pt x="65" y="927"/>
                  </a:lnTo>
                  <a:lnTo>
                    <a:pt x="65" y="927"/>
                  </a:lnTo>
                  <a:lnTo>
                    <a:pt x="65" y="928"/>
                  </a:lnTo>
                  <a:lnTo>
                    <a:pt x="65" y="928"/>
                  </a:lnTo>
                  <a:lnTo>
                    <a:pt x="65" y="930"/>
                  </a:lnTo>
                  <a:lnTo>
                    <a:pt x="65" y="931"/>
                  </a:lnTo>
                  <a:lnTo>
                    <a:pt x="65" y="931"/>
                  </a:lnTo>
                  <a:lnTo>
                    <a:pt x="66" y="931"/>
                  </a:lnTo>
                  <a:lnTo>
                    <a:pt x="66" y="931"/>
                  </a:lnTo>
                  <a:lnTo>
                    <a:pt x="68" y="930"/>
                  </a:lnTo>
                  <a:lnTo>
                    <a:pt x="68" y="928"/>
                  </a:lnTo>
                  <a:lnTo>
                    <a:pt x="66" y="927"/>
                  </a:lnTo>
                  <a:lnTo>
                    <a:pt x="68" y="927"/>
                  </a:lnTo>
                  <a:lnTo>
                    <a:pt x="68" y="925"/>
                  </a:lnTo>
                  <a:lnTo>
                    <a:pt x="68" y="925"/>
                  </a:lnTo>
                  <a:lnTo>
                    <a:pt x="68" y="925"/>
                  </a:lnTo>
                  <a:lnTo>
                    <a:pt x="68" y="924"/>
                  </a:lnTo>
                  <a:lnTo>
                    <a:pt x="68" y="922"/>
                  </a:lnTo>
                  <a:lnTo>
                    <a:pt x="69" y="922"/>
                  </a:lnTo>
                  <a:lnTo>
                    <a:pt x="69" y="921"/>
                  </a:lnTo>
                  <a:lnTo>
                    <a:pt x="74" y="921"/>
                  </a:lnTo>
                  <a:lnTo>
                    <a:pt x="75" y="919"/>
                  </a:lnTo>
                  <a:lnTo>
                    <a:pt x="75" y="918"/>
                  </a:lnTo>
                  <a:lnTo>
                    <a:pt x="75" y="916"/>
                  </a:lnTo>
                  <a:lnTo>
                    <a:pt x="72" y="913"/>
                  </a:lnTo>
                  <a:lnTo>
                    <a:pt x="74" y="911"/>
                  </a:lnTo>
                  <a:lnTo>
                    <a:pt x="71" y="910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2" y="910"/>
                  </a:lnTo>
                  <a:lnTo>
                    <a:pt x="72" y="908"/>
                  </a:lnTo>
                  <a:lnTo>
                    <a:pt x="72" y="908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4" y="905"/>
                  </a:lnTo>
                  <a:lnTo>
                    <a:pt x="75" y="905"/>
                  </a:lnTo>
                  <a:lnTo>
                    <a:pt x="77" y="904"/>
                  </a:lnTo>
                  <a:lnTo>
                    <a:pt x="80" y="898"/>
                  </a:lnTo>
                  <a:lnTo>
                    <a:pt x="83" y="896"/>
                  </a:lnTo>
                  <a:lnTo>
                    <a:pt x="85" y="895"/>
                  </a:lnTo>
                  <a:lnTo>
                    <a:pt x="88" y="896"/>
                  </a:lnTo>
                  <a:lnTo>
                    <a:pt x="92" y="901"/>
                  </a:lnTo>
                  <a:lnTo>
                    <a:pt x="92" y="901"/>
                  </a:lnTo>
                  <a:lnTo>
                    <a:pt x="94" y="904"/>
                  </a:lnTo>
                  <a:lnTo>
                    <a:pt x="94" y="904"/>
                  </a:lnTo>
                  <a:lnTo>
                    <a:pt x="95" y="904"/>
                  </a:lnTo>
                  <a:lnTo>
                    <a:pt x="95" y="904"/>
                  </a:lnTo>
                  <a:lnTo>
                    <a:pt x="97" y="907"/>
                  </a:lnTo>
                  <a:lnTo>
                    <a:pt x="97" y="908"/>
                  </a:lnTo>
                  <a:lnTo>
                    <a:pt x="97" y="910"/>
                  </a:lnTo>
                  <a:lnTo>
                    <a:pt x="97" y="911"/>
                  </a:lnTo>
                  <a:lnTo>
                    <a:pt x="95" y="913"/>
                  </a:lnTo>
                  <a:lnTo>
                    <a:pt x="98" y="915"/>
                  </a:lnTo>
                  <a:lnTo>
                    <a:pt x="98" y="915"/>
                  </a:lnTo>
                  <a:lnTo>
                    <a:pt x="98" y="916"/>
                  </a:lnTo>
                  <a:lnTo>
                    <a:pt x="98" y="918"/>
                  </a:lnTo>
                  <a:lnTo>
                    <a:pt x="100" y="918"/>
                  </a:lnTo>
                  <a:lnTo>
                    <a:pt x="101" y="921"/>
                  </a:lnTo>
                  <a:lnTo>
                    <a:pt x="103" y="922"/>
                  </a:lnTo>
                  <a:lnTo>
                    <a:pt x="105" y="924"/>
                  </a:lnTo>
                  <a:lnTo>
                    <a:pt x="106" y="924"/>
                  </a:lnTo>
                  <a:lnTo>
                    <a:pt x="106" y="924"/>
                  </a:lnTo>
                  <a:lnTo>
                    <a:pt x="108" y="924"/>
                  </a:lnTo>
                  <a:lnTo>
                    <a:pt x="108" y="922"/>
                  </a:lnTo>
                  <a:lnTo>
                    <a:pt x="108" y="922"/>
                  </a:lnTo>
                  <a:lnTo>
                    <a:pt x="109" y="922"/>
                  </a:lnTo>
                  <a:lnTo>
                    <a:pt x="111" y="924"/>
                  </a:lnTo>
                  <a:lnTo>
                    <a:pt x="112" y="924"/>
                  </a:lnTo>
                  <a:lnTo>
                    <a:pt x="112" y="925"/>
                  </a:lnTo>
                  <a:lnTo>
                    <a:pt x="114" y="927"/>
                  </a:lnTo>
                  <a:lnTo>
                    <a:pt x="114" y="928"/>
                  </a:lnTo>
                  <a:lnTo>
                    <a:pt x="112" y="931"/>
                  </a:lnTo>
                  <a:lnTo>
                    <a:pt x="111" y="933"/>
                  </a:lnTo>
                  <a:lnTo>
                    <a:pt x="112" y="935"/>
                  </a:lnTo>
                  <a:lnTo>
                    <a:pt x="112" y="936"/>
                  </a:lnTo>
                  <a:lnTo>
                    <a:pt x="111" y="939"/>
                  </a:lnTo>
                  <a:lnTo>
                    <a:pt x="112" y="939"/>
                  </a:lnTo>
                  <a:lnTo>
                    <a:pt x="114" y="942"/>
                  </a:lnTo>
                  <a:lnTo>
                    <a:pt x="115" y="942"/>
                  </a:lnTo>
                  <a:lnTo>
                    <a:pt x="115" y="942"/>
                  </a:lnTo>
                  <a:lnTo>
                    <a:pt x="115" y="942"/>
                  </a:lnTo>
                  <a:lnTo>
                    <a:pt x="117" y="941"/>
                  </a:lnTo>
                  <a:lnTo>
                    <a:pt x="117" y="941"/>
                  </a:lnTo>
                  <a:lnTo>
                    <a:pt x="117" y="941"/>
                  </a:lnTo>
                  <a:lnTo>
                    <a:pt x="118" y="941"/>
                  </a:lnTo>
                  <a:lnTo>
                    <a:pt x="118" y="941"/>
                  </a:lnTo>
                  <a:lnTo>
                    <a:pt x="125" y="939"/>
                  </a:lnTo>
                  <a:lnTo>
                    <a:pt x="128" y="939"/>
                  </a:lnTo>
                  <a:lnTo>
                    <a:pt x="128" y="939"/>
                  </a:lnTo>
                  <a:lnTo>
                    <a:pt x="128" y="939"/>
                  </a:lnTo>
                  <a:lnTo>
                    <a:pt x="128" y="941"/>
                  </a:lnTo>
                  <a:lnTo>
                    <a:pt x="129" y="941"/>
                  </a:lnTo>
                  <a:lnTo>
                    <a:pt x="129" y="941"/>
                  </a:lnTo>
                  <a:lnTo>
                    <a:pt x="131" y="941"/>
                  </a:lnTo>
                  <a:lnTo>
                    <a:pt x="132" y="939"/>
                  </a:lnTo>
                  <a:lnTo>
                    <a:pt x="134" y="939"/>
                  </a:lnTo>
                  <a:lnTo>
                    <a:pt x="134" y="938"/>
                  </a:lnTo>
                  <a:lnTo>
                    <a:pt x="134" y="938"/>
                  </a:lnTo>
                  <a:lnTo>
                    <a:pt x="134" y="936"/>
                  </a:lnTo>
                  <a:lnTo>
                    <a:pt x="134" y="936"/>
                  </a:lnTo>
                  <a:lnTo>
                    <a:pt x="134" y="933"/>
                  </a:lnTo>
                  <a:lnTo>
                    <a:pt x="135" y="933"/>
                  </a:lnTo>
                  <a:lnTo>
                    <a:pt x="135" y="935"/>
                  </a:lnTo>
                  <a:lnTo>
                    <a:pt x="137" y="935"/>
                  </a:lnTo>
                  <a:lnTo>
                    <a:pt x="137" y="935"/>
                  </a:lnTo>
                  <a:lnTo>
                    <a:pt x="138" y="935"/>
                  </a:lnTo>
                  <a:lnTo>
                    <a:pt x="140" y="935"/>
                  </a:lnTo>
                  <a:lnTo>
                    <a:pt x="142" y="935"/>
                  </a:lnTo>
                  <a:lnTo>
                    <a:pt x="142" y="935"/>
                  </a:lnTo>
                  <a:lnTo>
                    <a:pt x="143" y="935"/>
                  </a:lnTo>
                  <a:lnTo>
                    <a:pt x="145" y="935"/>
                  </a:lnTo>
                  <a:lnTo>
                    <a:pt x="148" y="936"/>
                  </a:lnTo>
                  <a:lnTo>
                    <a:pt x="148" y="938"/>
                  </a:lnTo>
                  <a:lnTo>
                    <a:pt x="149" y="938"/>
                  </a:lnTo>
                  <a:lnTo>
                    <a:pt x="154" y="941"/>
                  </a:lnTo>
                  <a:lnTo>
                    <a:pt x="154" y="941"/>
                  </a:lnTo>
                  <a:lnTo>
                    <a:pt x="152" y="941"/>
                  </a:lnTo>
                  <a:lnTo>
                    <a:pt x="152" y="942"/>
                  </a:lnTo>
                  <a:lnTo>
                    <a:pt x="154" y="944"/>
                  </a:lnTo>
                  <a:lnTo>
                    <a:pt x="155" y="944"/>
                  </a:lnTo>
                  <a:lnTo>
                    <a:pt x="158" y="944"/>
                  </a:lnTo>
                  <a:lnTo>
                    <a:pt x="158" y="942"/>
                  </a:lnTo>
                  <a:lnTo>
                    <a:pt x="162" y="941"/>
                  </a:lnTo>
                  <a:lnTo>
                    <a:pt x="165" y="938"/>
                  </a:lnTo>
                  <a:lnTo>
                    <a:pt x="168" y="936"/>
                  </a:lnTo>
                  <a:lnTo>
                    <a:pt x="169" y="935"/>
                  </a:lnTo>
                  <a:lnTo>
                    <a:pt x="169" y="933"/>
                  </a:lnTo>
                  <a:lnTo>
                    <a:pt x="171" y="930"/>
                  </a:lnTo>
                  <a:lnTo>
                    <a:pt x="171" y="927"/>
                  </a:lnTo>
                  <a:lnTo>
                    <a:pt x="171" y="925"/>
                  </a:lnTo>
                  <a:lnTo>
                    <a:pt x="171" y="924"/>
                  </a:lnTo>
                  <a:lnTo>
                    <a:pt x="171" y="921"/>
                  </a:lnTo>
                  <a:lnTo>
                    <a:pt x="171" y="919"/>
                  </a:lnTo>
                  <a:lnTo>
                    <a:pt x="172" y="918"/>
                  </a:lnTo>
                  <a:lnTo>
                    <a:pt x="174" y="918"/>
                  </a:lnTo>
                  <a:lnTo>
                    <a:pt x="177" y="916"/>
                  </a:lnTo>
                  <a:lnTo>
                    <a:pt x="180" y="916"/>
                  </a:lnTo>
                  <a:lnTo>
                    <a:pt x="185" y="916"/>
                  </a:lnTo>
                  <a:lnTo>
                    <a:pt x="186" y="918"/>
                  </a:lnTo>
                  <a:close/>
                  <a:moveTo>
                    <a:pt x="146" y="784"/>
                  </a:moveTo>
                  <a:lnTo>
                    <a:pt x="146" y="785"/>
                  </a:lnTo>
                  <a:lnTo>
                    <a:pt x="146" y="785"/>
                  </a:lnTo>
                  <a:lnTo>
                    <a:pt x="148" y="785"/>
                  </a:lnTo>
                  <a:lnTo>
                    <a:pt x="148" y="784"/>
                  </a:lnTo>
                  <a:lnTo>
                    <a:pt x="148" y="782"/>
                  </a:lnTo>
                  <a:lnTo>
                    <a:pt x="148" y="781"/>
                  </a:lnTo>
                  <a:lnTo>
                    <a:pt x="148" y="781"/>
                  </a:lnTo>
                  <a:lnTo>
                    <a:pt x="143" y="779"/>
                  </a:lnTo>
                  <a:lnTo>
                    <a:pt x="143" y="779"/>
                  </a:lnTo>
                  <a:lnTo>
                    <a:pt x="142" y="779"/>
                  </a:lnTo>
                  <a:lnTo>
                    <a:pt x="140" y="781"/>
                  </a:lnTo>
                  <a:lnTo>
                    <a:pt x="140" y="781"/>
                  </a:lnTo>
                  <a:lnTo>
                    <a:pt x="142" y="782"/>
                  </a:lnTo>
                  <a:lnTo>
                    <a:pt x="143" y="781"/>
                  </a:lnTo>
                  <a:lnTo>
                    <a:pt x="145" y="782"/>
                  </a:lnTo>
                  <a:lnTo>
                    <a:pt x="148" y="782"/>
                  </a:lnTo>
                  <a:lnTo>
                    <a:pt x="146" y="784"/>
                  </a:lnTo>
                  <a:lnTo>
                    <a:pt x="146" y="784"/>
                  </a:lnTo>
                  <a:close/>
                  <a:moveTo>
                    <a:pt x="209" y="730"/>
                  </a:moveTo>
                  <a:lnTo>
                    <a:pt x="208" y="733"/>
                  </a:lnTo>
                  <a:lnTo>
                    <a:pt x="206" y="736"/>
                  </a:lnTo>
                  <a:lnTo>
                    <a:pt x="206" y="739"/>
                  </a:lnTo>
                  <a:lnTo>
                    <a:pt x="206" y="742"/>
                  </a:lnTo>
                  <a:lnTo>
                    <a:pt x="208" y="745"/>
                  </a:lnTo>
                  <a:lnTo>
                    <a:pt x="209" y="748"/>
                  </a:lnTo>
                  <a:lnTo>
                    <a:pt x="209" y="748"/>
                  </a:lnTo>
                  <a:lnTo>
                    <a:pt x="209" y="750"/>
                  </a:lnTo>
                  <a:lnTo>
                    <a:pt x="209" y="750"/>
                  </a:lnTo>
                  <a:lnTo>
                    <a:pt x="209" y="750"/>
                  </a:lnTo>
                  <a:lnTo>
                    <a:pt x="209" y="751"/>
                  </a:lnTo>
                  <a:lnTo>
                    <a:pt x="209" y="751"/>
                  </a:lnTo>
                  <a:lnTo>
                    <a:pt x="209" y="754"/>
                  </a:lnTo>
                  <a:lnTo>
                    <a:pt x="209" y="756"/>
                  </a:lnTo>
                  <a:lnTo>
                    <a:pt x="209" y="757"/>
                  </a:lnTo>
                  <a:lnTo>
                    <a:pt x="212" y="759"/>
                  </a:lnTo>
                  <a:lnTo>
                    <a:pt x="215" y="762"/>
                  </a:lnTo>
                  <a:lnTo>
                    <a:pt x="219" y="762"/>
                  </a:lnTo>
                  <a:lnTo>
                    <a:pt x="223" y="764"/>
                  </a:lnTo>
                  <a:lnTo>
                    <a:pt x="226" y="762"/>
                  </a:lnTo>
                  <a:lnTo>
                    <a:pt x="228" y="762"/>
                  </a:lnTo>
                  <a:lnTo>
                    <a:pt x="229" y="761"/>
                  </a:lnTo>
                  <a:lnTo>
                    <a:pt x="229" y="759"/>
                  </a:lnTo>
                  <a:lnTo>
                    <a:pt x="229" y="756"/>
                  </a:lnTo>
                  <a:lnTo>
                    <a:pt x="228" y="754"/>
                  </a:lnTo>
                  <a:lnTo>
                    <a:pt x="231" y="753"/>
                  </a:lnTo>
                  <a:lnTo>
                    <a:pt x="228" y="751"/>
                  </a:lnTo>
                  <a:lnTo>
                    <a:pt x="226" y="751"/>
                  </a:lnTo>
                  <a:lnTo>
                    <a:pt x="226" y="750"/>
                  </a:lnTo>
                  <a:lnTo>
                    <a:pt x="226" y="750"/>
                  </a:lnTo>
                  <a:lnTo>
                    <a:pt x="228" y="750"/>
                  </a:lnTo>
                  <a:lnTo>
                    <a:pt x="228" y="748"/>
                  </a:lnTo>
                  <a:lnTo>
                    <a:pt x="228" y="745"/>
                  </a:lnTo>
                  <a:lnTo>
                    <a:pt x="225" y="742"/>
                  </a:lnTo>
                  <a:lnTo>
                    <a:pt x="226" y="741"/>
                  </a:lnTo>
                  <a:lnTo>
                    <a:pt x="225" y="734"/>
                  </a:lnTo>
                  <a:lnTo>
                    <a:pt x="223" y="731"/>
                  </a:lnTo>
                  <a:lnTo>
                    <a:pt x="222" y="730"/>
                  </a:lnTo>
                  <a:lnTo>
                    <a:pt x="220" y="728"/>
                  </a:lnTo>
                  <a:lnTo>
                    <a:pt x="215" y="725"/>
                  </a:lnTo>
                  <a:lnTo>
                    <a:pt x="215" y="725"/>
                  </a:lnTo>
                  <a:lnTo>
                    <a:pt x="214" y="725"/>
                  </a:lnTo>
                  <a:lnTo>
                    <a:pt x="214" y="725"/>
                  </a:lnTo>
                  <a:lnTo>
                    <a:pt x="214" y="727"/>
                  </a:lnTo>
                  <a:lnTo>
                    <a:pt x="214" y="727"/>
                  </a:lnTo>
                  <a:lnTo>
                    <a:pt x="211" y="728"/>
                  </a:lnTo>
                  <a:lnTo>
                    <a:pt x="209" y="730"/>
                  </a:lnTo>
                  <a:close/>
                  <a:moveTo>
                    <a:pt x="234" y="719"/>
                  </a:moveTo>
                  <a:lnTo>
                    <a:pt x="234" y="719"/>
                  </a:lnTo>
                  <a:lnTo>
                    <a:pt x="234" y="714"/>
                  </a:lnTo>
                  <a:lnTo>
                    <a:pt x="234" y="713"/>
                  </a:lnTo>
                  <a:lnTo>
                    <a:pt x="232" y="711"/>
                  </a:lnTo>
                  <a:lnTo>
                    <a:pt x="231" y="710"/>
                  </a:lnTo>
                  <a:lnTo>
                    <a:pt x="231" y="708"/>
                  </a:lnTo>
                  <a:lnTo>
                    <a:pt x="231" y="708"/>
                  </a:lnTo>
                  <a:lnTo>
                    <a:pt x="229" y="708"/>
                  </a:lnTo>
                  <a:lnTo>
                    <a:pt x="229" y="705"/>
                  </a:lnTo>
                  <a:lnTo>
                    <a:pt x="229" y="704"/>
                  </a:lnTo>
                  <a:lnTo>
                    <a:pt x="228" y="704"/>
                  </a:lnTo>
                  <a:lnTo>
                    <a:pt x="228" y="704"/>
                  </a:lnTo>
                  <a:lnTo>
                    <a:pt x="225" y="701"/>
                  </a:lnTo>
                  <a:lnTo>
                    <a:pt x="223" y="699"/>
                  </a:lnTo>
                  <a:lnTo>
                    <a:pt x="220" y="701"/>
                  </a:lnTo>
                  <a:lnTo>
                    <a:pt x="220" y="702"/>
                  </a:lnTo>
                  <a:lnTo>
                    <a:pt x="222" y="705"/>
                  </a:lnTo>
                  <a:lnTo>
                    <a:pt x="222" y="707"/>
                  </a:lnTo>
                  <a:lnTo>
                    <a:pt x="223" y="708"/>
                  </a:lnTo>
                  <a:lnTo>
                    <a:pt x="225" y="710"/>
                  </a:lnTo>
                  <a:lnTo>
                    <a:pt x="225" y="711"/>
                  </a:lnTo>
                  <a:lnTo>
                    <a:pt x="226" y="714"/>
                  </a:lnTo>
                  <a:lnTo>
                    <a:pt x="226" y="717"/>
                  </a:lnTo>
                  <a:lnTo>
                    <a:pt x="231" y="722"/>
                  </a:lnTo>
                  <a:lnTo>
                    <a:pt x="232" y="724"/>
                  </a:lnTo>
                  <a:lnTo>
                    <a:pt x="234" y="725"/>
                  </a:lnTo>
                  <a:lnTo>
                    <a:pt x="234" y="725"/>
                  </a:lnTo>
                  <a:lnTo>
                    <a:pt x="234" y="725"/>
                  </a:lnTo>
                  <a:lnTo>
                    <a:pt x="234" y="724"/>
                  </a:lnTo>
                  <a:lnTo>
                    <a:pt x="234" y="722"/>
                  </a:lnTo>
                  <a:lnTo>
                    <a:pt x="232" y="722"/>
                  </a:lnTo>
                  <a:lnTo>
                    <a:pt x="234" y="721"/>
                  </a:lnTo>
                  <a:lnTo>
                    <a:pt x="234" y="719"/>
                  </a:lnTo>
                  <a:close/>
                  <a:moveTo>
                    <a:pt x="151" y="737"/>
                  </a:moveTo>
                  <a:lnTo>
                    <a:pt x="152" y="736"/>
                  </a:lnTo>
                  <a:lnTo>
                    <a:pt x="155" y="734"/>
                  </a:lnTo>
                  <a:lnTo>
                    <a:pt x="155" y="733"/>
                  </a:lnTo>
                  <a:lnTo>
                    <a:pt x="157" y="733"/>
                  </a:lnTo>
                  <a:lnTo>
                    <a:pt x="157" y="733"/>
                  </a:lnTo>
                  <a:lnTo>
                    <a:pt x="157" y="731"/>
                  </a:lnTo>
                  <a:lnTo>
                    <a:pt x="158" y="731"/>
                  </a:lnTo>
                  <a:lnTo>
                    <a:pt x="158" y="731"/>
                  </a:lnTo>
                  <a:lnTo>
                    <a:pt x="158" y="730"/>
                  </a:lnTo>
                  <a:lnTo>
                    <a:pt x="158" y="728"/>
                  </a:lnTo>
                  <a:lnTo>
                    <a:pt x="158" y="728"/>
                  </a:lnTo>
                  <a:lnTo>
                    <a:pt x="158" y="727"/>
                  </a:lnTo>
                  <a:lnTo>
                    <a:pt x="158" y="725"/>
                  </a:lnTo>
                  <a:lnTo>
                    <a:pt x="157" y="724"/>
                  </a:lnTo>
                  <a:lnTo>
                    <a:pt x="157" y="724"/>
                  </a:lnTo>
                  <a:lnTo>
                    <a:pt x="157" y="722"/>
                  </a:lnTo>
                  <a:lnTo>
                    <a:pt x="157" y="722"/>
                  </a:lnTo>
                  <a:lnTo>
                    <a:pt x="157" y="721"/>
                  </a:lnTo>
                  <a:lnTo>
                    <a:pt x="157" y="719"/>
                  </a:lnTo>
                  <a:lnTo>
                    <a:pt x="157" y="719"/>
                  </a:lnTo>
                  <a:lnTo>
                    <a:pt x="157" y="719"/>
                  </a:lnTo>
                  <a:lnTo>
                    <a:pt x="155" y="717"/>
                  </a:lnTo>
                  <a:lnTo>
                    <a:pt x="154" y="716"/>
                  </a:lnTo>
                  <a:lnTo>
                    <a:pt x="154" y="714"/>
                  </a:lnTo>
                  <a:lnTo>
                    <a:pt x="154" y="711"/>
                  </a:lnTo>
                  <a:lnTo>
                    <a:pt x="152" y="704"/>
                  </a:lnTo>
                  <a:lnTo>
                    <a:pt x="152" y="697"/>
                  </a:lnTo>
                  <a:lnTo>
                    <a:pt x="152" y="697"/>
                  </a:lnTo>
                  <a:lnTo>
                    <a:pt x="151" y="697"/>
                  </a:lnTo>
                  <a:lnTo>
                    <a:pt x="151" y="696"/>
                  </a:lnTo>
                  <a:lnTo>
                    <a:pt x="149" y="697"/>
                  </a:lnTo>
                  <a:lnTo>
                    <a:pt x="149" y="697"/>
                  </a:lnTo>
                  <a:lnTo>
                    <a:pt x="148" y="699"/>
                  </a:lnTo>
                  <a:lnTo>
                    <a:pt x="146" y="699"/>
                  </a:lnTo>
                  <a:lnTo>
                    <a:pt x="146" y="699"/>
                  </a:lnTo>
                  <a:lnTo>
                    <a:pt x="145" y="702"/>
                  </a:lnTo>
                  <a:lnTo>
                    <a:pt x="142" y="704"/>
                  </a:lnTo>
                  <a:lnTo>
                    <a:pt x="138" y="707"/>
                  </a:lnTo>
                  <a:lnTo>
                    <a:pt x="137" y="710"/>
                  </a:lnTo>
                  <a:lnTo>
                    <a:pt x="138" y="711"/>
                  </a:lnTo>
                  <a:lnTo>
                    <a:pt x="138" y="713"/>
                  </a:lnTo>
                  <a:lnTo>
                    <a:pt x="137" y="713"/>
                  </a:lnTo>
                  <a:lnTo>
                    <a:pt x="137" y="711"/>
                  </a:lnTo>
                  <a:lnTo>
                    <a:pt x="135" y="710"/>
                  </a:lnTo>
                  <a:lnTo>
                    <a:pt x="135" y="708"/>
                  </a:lnTo>
                  <a:lnTo>
                    <a:pt x="137" y="705"/>
                  </a:lnTo>
                  <a:lnTo>
                    <a:pt x="137" y="704"/>
                  </a:lnTo>
                  <a:lnTo>
                    <a:pt x="137" y="704"/>
                  </a:lnTo>
                  <a:lnTo>
                    <a:pt x="135" y="704"/>
                  </a:lnTo>
                  <a:lnTo>
                    <a:pt x="134" y="705"/>
                  </a:lnTo>
                  <a:lnTo>
                    <a:pt x="131" y="707"/>
                  </a:lnTo>
                  <a:lnTo>
                    <a:pt x="128" y="708"/>
                  </a:lnTo>
                  <a:lnTo>
                    <a:pt x="128" y="710"/>
                  </a:lnTo>
                  <a:lnTo>
                    <a:pt x="128" y="711"/>
                  </a:lnTo>
                  <a:lnTo>
                    <a:pt x="128" y="713"/>
                  </a:lnTo>
                  <a:lnTo>
                    <a:pt x="126" y="714"/>
                  </a:lnTo>
                  <a:lnTo>
                    <a:pt x="126" y="716"/>
                  </a:lnTo>
                  <a:lnTo>
                    <a:pt x="125" y="716"/>
                  </a:lnTo>
                  <a:lnTo>
                    <a:pt x="128" y="717"/>
                  </a:lnTo>
                  <a:lnTo>
                    <a:pt x="125" y="724"/>
                  </a:lnTo>
                  <a:lnTo>
                    <a:pt x="123" y="725"/>
                  </a:lnTo>
                  <a:lnTo>
                    <a:pt x="123" y="725"/>
                  </a:lnTo>
                  <a:lnTo>
                    <a:pt x="125" y="727"/>
                  </a:lnTo>
                  <a:lnTo>
                    <a:pt x="125" y="727"/>
                  </a:lnTo>
                  <a:lnTo>
                    <a:pt x="123" y="728"/>
                  </a:lnTo>
                  <a:lnTo>
                    <a:pt x="123" y="731"/>
                  </a:lnTo>
                  <a:lnTo>
                    <a:pt x="125" y="731"/>
                  </a:lnTo>
                  <a:lnTo>
                    <a:pt x="126" y="731"/>
                  </a:lnTo>
                  <a:lnTo>
                    <a:pt x="128" y="731"/>
                  </a:lnTo>
                  <a:lnTo>
                    <a:pt x="129" y="727"/>
                  </a:lnTo>
                  <a:lnTo>
                    <a:pt x="132" y="725"/>
                  </a:lnTo>
                  <a:lnTo>
                    <a:pt x="134" y="724"/>
                  </a:lnTo>
                  <a:lnTo>
                    <a:pt x="135" y="719"/>
                  </a:lnTo>
                  <a:lnTo>
                    <a:pt x="137" y="717"/>
                  </a:lnTo>
                  <a:lnTo>
                    <a:pt x="138" y="717"/>
                  </a:lnTo>
                  <a:lnTo>
                    <a:pt x="140" y="717"/>
                  </a:lnTo>
                  <a:lnTo>
                    <a:pt x="142" y="717"/>
                  </a:lnTo>
                  <a:lnTo>
                    <a:pt x="138" y="722"/>
                  </a:lnTo>
                  <a:lnTo>
                    <a:pt x="137" y="724"/>
                  </a:lnTo>
                  <a:lnTo>
                    <a:pt x="137" y="727"/>
                  </a:lnTo>
                  <a:lnTo>
                    <a:pt x="137" y="727"/>
                  </a:lnTo>
                  <a:lnTo>
                    <a:pt x="140" y="728"/>
                  </a:lnTo>
                  <a:lnTo>
                    <a:pt x="142" y="728"/>
                  </a:lnTo>
                  <a:lnTo>
                    <a:pt x="143" y="733"/>
                  </a:lnTo>
                  <a:lnTo>
                    <a:pt x="138" y="736"/>
                  </a:lnTo>
                  <a:lnTo>
                    <a:pt x="137" y="737"/>
                  </a:lnTo>
                  <a:lnTo>
                    <a:pt x="137" y="741"/>
                  </a:lnTo>
                  <a:lnTo>
                    <a:pt x="138" y="744"/>
                  </a:lnTo>
                  <a:lnTo>
                    <a:pt x="140" y="744"/>
                  </a:lnTo>
                  <a:lnTo>
                    <a:pt x="142" y="744"/>
                  </a:lnTo>
                  <a:lnTo>
                    <a:pt x="143" y="742"/>
                  </a:lnTo>
                  <a:lnTo>
                    <a:pt x="145" y="741"/>
                  </a:lnTo>
                  <a:lnTo>
                    <a:pt x="145" y="741"/>
                  </a:lnTo>
                  <a:lnTo>
                    <a:pt x="145" y="737"/>
                  </a:lnTo>
                  <a:lnTo>
                    <a:pt x="146" y="737"/>
                  </a:lnTo>
                  <a:lnTo>
                    <a:pt x="149" y="737"/>
                  </a:lnTo>
                  <a:lnTo>
                    <a:pt x="151" y="737"/>
                  </a:lnTo>
                  <a:close/>
                  <a:moveTo>
                    <a:pt x="146" y="674"/>
                  </a:moveTo>
                  <a:lnTo>
                    <a:pt x="146" y="674"/>
                  </a:lnTo>
                  <a:lnTo>
                    <a:pt x="145" y="676"/>
                  </a:lnTo>
                  <a:lnTo>
                    <a:pt x="143" y="677"/>
                  </a:lnTo>
                  <a:lnTo>
                    <a:pt x="143" y="679"/>
                  </a:lnTo>
                  <a:lnTo>
                    <a:pt x="143" y="680"/>
                  </a:lnTo>
                  <a:lnTo>
                    <a:pt x="142" y="682"/>
                  </a:lnTo>
                  <a:lnTo>
                    <a:pt x="142" y="684"/>
                  </a:lnTo>
                  <a:lnTo>
                    <a:pt x="143" y="685"/>
                  </a:lnTo>
                  <a:lnTo>
                    <a:pt x="145" y="685"/>
                  </a:lnTo>
                  <a:lnTo>
                    <a:pt x="146" y="684"/>
                  </a:lnTo>
                  <a:lnTo>
                    <a:pt x="148" y="684"/>
                  </a:lnTo>
                  <a:lnTo>
                    <a:pt x="148" y="680"/>
                  </a:lnTo>
                  <a:lnTo>
                    <a:pt x="149" y="677"/>
                  </a:lnTo>
                  <a:lnTo>
                    <a:pt x="151" y="674"/>
                  </a:lnTo>
                  <a:lnTo>
                    <a:pt x="151" y="673"/>
                  </a:lnTo>
                  <a:lnTo>
                    <a:pt x="149" y="671"/>
                  </a:lnTo>
                  <a:lnTo>
                    <a:pt x="149" y="673"/>
                  </a:lnTo>
                  <a:lnTo>
                    <a:pt x="148" y="673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6" y="674"/>
                  </a:lnTo>
                  <a:close/>
                  <a:moveTo>
                    <a:pt x="163" y="714"/>
                  </a:moveTo>
                  <a:lnTo>
                    <a:pt x="165" y="713"/>
                  </a:lnTo>
                  <a:lnTo>
                    <a:pt x="165" y="707"/>
                  </a:lnTo>
                  <a:lnTo>
                    <a:pt x="166" y="707"/>
                  </a:lnTo>
                  <a:lnTo>
                    <a:pt x="166" y="705"/>
                  </a:lnTo>
                  <a:lnTo>
                    <a:pt x="169" y="704"/>
                  </a:lnTo>
                  <a:lnTo>
                    <a:pt x="169" y="704"/>
                  </a:lnTo>
                  <a:lnTo>
                    <a:pt x="171" y="699"/>
                  </a:lnTo>
                  <a:lnTo>
                    <a:pt x="177" y="685"/>
                  </a:lnTo>
                  <a:lnTo>
                    <a:pt x="180" y="679"/>
                  </a:lnTo>
                  <a:lnTo>
                    <a:pt x="182" y="677"/>
                  </a:lnTo>
                  <a:lnTo>
                    <a:pt x="183" y="674"/>
                  </a:lnTo>
                  <a:lnTo>
                    <a:pt x="185" y="674"/>
                  </a:lnTo>
                  <a:lnTo>
                    <a:pt x="185" y="673"/>
                  </a:lnTo>
                  <a:lnTo>
                    <a:pt x="185" y="670"/>
                  </a:lnTo>
                  <a:lnTo>
                    <a:pt x="183" y="670"/>
                  </a:lnTo>
                  <a:lnTo>
                    <a:pt x="182" y="668"/>
                  </a:lnTo>
                  <a:lnTo>
                    <a:pt x="180" y="670"/>
                  </a:lnTo>
                  <a:lnTo>
                    <a:pt x="175" y="674"/>
                  </a:lnTo>
                  <a:lnTo>
                    <a:pt x="171" y="679"/>
                  </a:lnTo>
                  <a:lnTo>
                    <a:pt x="168" y="680"/>
                  </a:lnTo>
                  <a:lnTo>
                    <a:pt x="166" y="680"/>
                  </a:lnTo>
                  <a:lnTo>
                    <a:pt x="165" y="684"/>
                  </a:lnTo>
                  <a:lnTo>
                    <a:pt x="162" y="688"/>
                  </a:lnTo>
                  <a:lnTo>
                    <a:pt x="162" y="690"/>
                  </a:lnTo>
                  <a:lnTo>
                    <a:pt x="163" y="693"/>
                  </a:lnTo>
                  <a:lnTo>
                    <a:pt x="165" y="693"/>
                  </a:lnTo>
                  <a:lnTo>
                    <a:pt x="168" y="691"/>
                  </a:lnTo>
                  <a:lnTo>
                    <a:pt x="169" y="691"/>
                  </a:lnTo>
                  <a:lnTo>
                    <a:pt x="168" y="694"/>
                  </a:lnTo>
                  <a:lnTo>
                    <a:pt x="162" y="694"/>
                  </a:lnTo>
                  <a:lnTo>
                    <a:pt x="158" y="697"/>
                  </a:lnTo>
                  <a:lnTo>
                    <a:pt x="158" y="699"/>
                  </a:lnTo>
                  <a:lnTo>
                    <a:pt x="157" y="699"/>
                  </a:lnTo>
                  <a:lnTo>
                    <a:pt x="155" y="701"/>
                  </a:lnTo>
                  <a:lnTo>
                    <a:pt x="154" y="702"/>
                  </a:lnTo>
                  <a:lnTo>
                    <a:pt x="154" y="704"/>
                  </a:lnTo>
                  <a:lnTo>
                    <a:pt x="155" y="711"/>
                  </a:lnTo>
                  <a:lnTo>
                    <a:pt x="157" y="714"/>
                  </a:lnTo>
                  <a:lnTo>
                    <a:pt x="158" y="716"/>
                  </a:lnTo>
                  <a:lnTo>
                    <a:pt x="162" y="716"/>
                  </a:lnTo>
                  <a:lnTo>
                    <a:pt x="163" y="714"/>
                  </a:lnTo>
                  <a:close/>
                  <a:moveTo>
                    <a:pt x="185" y="662"/>
                  </a:moveTo>
                  <a:lnTo>
                    <a:pt x="185" y="662"/>
                  </a:lnTo>
                  <a:lnTo>
                    <a:pt x="182" y="664"/>
                  </a:lnTo>
                  <a:lnTo>
                    <a:pt x="180" y="665"/>
                  </a:lnTo>
                  <a:lnTo>
                    <a:pt x="180" y="667"/>
                  </a:lnTo>
                  <a:lnTo>
                    <a:pt x="182" y="667"/>
                  </a:lnTo>
                  <a:lnTo>
                    <a:pt x="183" y="667"/>
                  </a:lnTo>
                  <a:lnTo>
                    <a:pt x="185" y="665"/>
                  </a:lnTo>
                  <a:lnTo>
                    <a:pt x="185" y="662"/>
                  </a:lnTo>
                  <a:close/>
                  <a:moveTo>
                    <a:pt x="186" y="659"/>
                  </a:moveTo>
                  <a:lnTo>
                    <a:pt x="188" y="662"/>
                  </a:lnTo>
                  <a:lnTo>
                    <a:pt x="188" y="664"/>
                  </a:lnTo>
                  <a:lnTo>
                    <a:pt x="189" y="659"/>
                  </a:lnTo>
                  <a:lnTo>
                    <a:pt x="189" y="657"/>
                  </a:lnTo>
                  <a:lnTo>
                    <a:pt x="189" y="656"/>
                  </a:lnTo>
                  <a:lnTo>
                    <a:pt x="189" y="653"/>
                  </a:lnTo>
                  <a:lnTo>
                    <a:pt x="189" y="654"/>
                  </a:lnTo>
                  <a:lnTo>
                    <a:pt x="189" y="654"/>
                  </a:lnTo>
                  <a:lnTo>
                    <a:pt x="189" y="654"/>
                  </a:lnTo>
                  <a:lnTo>
                    <a:pt x="188" y="653"/>
                  </a:lnTo>
                  <a:lnTo>
                    <a:pt x="188" y="654"/>
                  </a:lnTo>
                  <a:lnTo>
                    <a:pt x="186" y="657"/>
                  </a:lnTo>
                  <a:lnTo>
                    <a:pt x="186" y="659"/>
                  </a:lnTo>
                  <a:close/>
                  <a:moveTo>
                    <a:pt x="191" y="647"/>
                  </a:moveTo>
                  <a:lnTo>
                    <a:pt x="192" y="645"/>
                  </a:lnTo>
                  <a:lnTo>
                    <a:pt x="191" y="645"/>
                  </a:lnTo>
                  <a:lnTo>
                    <a:pt x="189" y="645"/>
                  </a:lnTo>
                  <a:lnTo>
                    <a:pt x="188" y="647"/>
                  </a:lnTo>
                  <a:lnTo>
                    <a:pt x="188" y="648"/>
                  </a:lnTo>
                  <a:lnTo>
                    <a:pt x="188" y="651"/>
                  </a:lnTo>
                  <a:lnTo>
                    <a:pt x="189" y="651"/>
                  </a:lnTo>
                  <a:lnTo>
                    <a:pt x="191" y="651"/>
                  </a:lnTo>
                  <a:lnTo>
                    <a:pt x="191" y="650"/>
                  </a:lnTo>
                  <a:lnTo>
                    <a:pt x="191" y="648"/>
                  </a:lnTo>
                  <a:lnTo>
                    <a:pt x="191" y="647"/>
                  </a:lnTo>
                  <a:close/>
                  <a:moveTo>
                    <a:pt x="195" y="636"/>
                  </a:moveTo>
                  <a:lnTo>
                    <a:pt x="197" y="634"/>
                  </a:lnTo>
                  <a:lnTo>
                    <a:pt x="199" y="633"/>
                  </a:lnTo>
                  <a:lnTo>
                    <a:pt x="197" y="633"/>
                  </a:lnTo>
                  <a:lnTo>
                    <a:pt x="195" y="633"/>
                  </a:lnTo>
                  <a:lnTo>
                    <a:pt x="194" y="633"/>
                  </a:lnTo>
                  <a:lnTo>
                    <a:pt x="192" y="634"/>
                  </a:lnTo>
                  <a:lnTo>
                    <a:pt x="192" y="636"/>
                  </a:lnTo>
                  <a:lnTo>
                    <a:pt x="192" y="637"/>
                  </a:lnTo>
                  <a:lnTo>
                    <a:pt x="194" y="637"/>
                  </a:lnTo>
                  <a:lnTo>
                    <a:pt x="195" y="636"/>
                  </a:lnTo>
                  <a:close/>
                  <a:moveTo>
                    <a:pt x="145" y="627"/>
                  </a:moveTo>
                  <a:lnTo>
                    <a:pt x="149" y="627"/>
                  </a:lnTo>
                  <a:lnTo>
                    <a:pt x="148" y="625"/>
                  </a:lnTo>
                  <a:lnTo>
                    <a:pt x="146" y="622"/>
                  </a:lnTo>
                  <a:lnTo>
                    <a:pt x="145" y="622"/>
                  </a:lnTo>
                  <a:lnTo>
                    <a:pt x="143" y="622"/>
                  </a:lnTo>
                  <a:lnTo>
                    <a:pt x="143" y="622"/>
                  </a:lnTo>
                  <a:lnTo>
                    <a:pt x="142" y="624"/>
                  </a:lnTo>
                  <a:lnTo>
                    <a:pt x="142" y="624"/>
                  </a:lnTo>
                  <a:lnTo>
                    <a:pt x="143" y="625"/>
                  </a:lnTo>
                  <a:lnTo>
                    <a:pt x="145" y="627"/>
                  </a:lnTo>
                  <a:close/>
                  <a:moveTo>
                    <a:pt x="98" y="624"/>
                  </a:moveTo>
                  <a:lnTo>
                    <a:pt x="100" y="624"/>
                  </a:lnTo>
                  <a:lnTo>
                    <a:pt x="101" y="622"/>
                  </a:lnTo>
                  <a:lnTo>
                    <a:pt x="101" y="620"/>
                  </a:lnTo>
                  <a:lnTo>
                    <a:pt x="106" y="619"/>
                  </a:lnTo>
                  <a:lnTo>
                    <a:pt x="106" y="617"/>
                  </a:lnTo>
                  <a:lnTo>
                    <a:pt x="106" y="616"/>
                  </a:lnTo>
                  <a:lnTo>
                    <a:pt x="105" y="616"/>
                  </a:lnTo>
                  <a:lnTo>
                    <a:pt x="100" y="617"/>
                  </a:lnTo>
                  <a:lnTo>
                    <a:pt x="98" y="617"/>
                  </a:lnTo>
                  <a:lnTo>
                    <a:pt x="95" y="619"/>
                  </a:lnTo>
                  <a:lnTo>
                    <a:pt x="94" y="619"/>
                  </a:lnTo>
                  <a:lnTo>
                    <a:pt x="89" y="620"/>
                  </a:lnTo>
                  <a:lnTo>
                    <a:pt x="88" y="622"/>
                  </a:lnTo>
                  <a:lnTo>
                    <a:pt x="88" y="624"/>
                  </a:lnTo>
                  <a:lnTo>
                    <a:pt x="89" y="625"/>
                  </a:lnTo>
                  <a:lnTo>
                    <a:pt x="89" y="627"/>
                  </a:lnTo>
                  <a:lnTo>
                    <a:pt x="94" y="630"/>
                  </a:lnTo>
                  <a:lnTo>
                    <a:pt x="95" y="630"/>
                  </a:lnTo>
                  <a:lnTo>
                    <a:pt x="95" y="627"/>
                  </a:lnTo>
                  <a:lnTo>
                    <a:pt x="97" y="625"/>
                  </a:lnTo>
                  <a:lnTo>
                    <a:pt x="98" y="624"/>
                  </a:lnTo>
                  <a:close/>
                  <a:moveTo>
                    <a:pt x="157" y="603"/>
                  </a:moveTo>
                  <a:lnTo>
                    <a:pt x="157" y="603"/>
                  </a:lnTo>
                  <a:lnTo>
                    <a:pt x="152" y="602"/>
                  </a:lnTo>
                  <a:lnTo>
                    <a:pt x="152" y="600"/>
                  </a:lnTo>
                  <a:lnTo>
                    <a:pt x="149" y="602"/>
                  </a:lnTo>
                  <a:lnTo>
                    <a:pt x="146" y="602"/>
                  </a:lnTo>
                  <a:lnTo>
                    <a:pt x="145" y="603"/>
                  </a:lnTo>
                  <a:lnTo>
                    <a:pt x="145" y="607"/>
                  </a:lnTo>
                  <a:lnTo>
                    <a:pt x="143" y="607"/>
                  </a:lnTo>
                  <a:lnTo>
                    <a:pt x="143" y="607"/>
                  </a:lnTo>
                  <a:lnTo>
                    <a:pt x="143" y="607"/>
                  </a:lnTo>
                  <a:lnTo>
                    <a:pt x="142" y="605"/>
                  </a:lnTo>
                  <a:lnTo>
                    <a:pt x="140" y="607"/>
                  </a:lnTo>
                  <a:lnTo>
                    <a:pt x="140" y="607"/>
                  </a:lnTo>
                  <a:lnTo>
                    <a:pt x="137" y="608"/>
                  </a:lnTo>
                  <a:lnTo>
                    <a:pt x="137" y="610"/>
                  </a:lnTo>
                  <a:lnTo>
                    <a:pt x="138" y="611"/>
                  </a:lnTo>
                  <a:lnTo>
                    <a:pt x="140" y="613"/>
                  </a:lnTo>
                  <a:lnTo>
                    <a:pt x="135" y="614"/>
                  </a:lnTo>
                  <a:lnTo>
                    <a:pt x="137" y="616"/>
                  </a:lnTo>
                  <a:lnTo>
                    <a:pt x="138" y="617"/>
                  </a:lnTo>
                  <a:lnTo>
                    <a:pt x="140" y="617"/>
                  </a:lnTo>
                  <a:lnTo>
                    <a:pt x="146" y="619"/>
                  </a:lnTo>
                  <a:lnTo>
                    <a:pt x="148" y="619"/>
                  </a:lnTo>
                  <a:lnTo>
                    <a:pt x="149" y="620"/>
                  </a:lnTo>
                  <a:lnTo>
                    <a:pt x="149" y="622"/>
                  </a:lnTo>
                  <a:lnTo>
                    <a:pt x="151" y="625"/>
                  </a:lnTo>
                  <a:lnTo>
                    <a:pt x="151" y="625"/>
                  </a:lnTo>
                  <a:lnTo>
                    <a:pt x="152" y="625"/>
                  </a:lnTo>
                  <a:lnTo>
                    <a:pt x="152" y="625"/>
                  </a:lnTo>
                  <a:lnTo>
                    <a:pt x="154" y="624"/>
                  </a:lnTo>
                  <a:lnTo>
                    <a:pt x="155" y="624"/>
                  </a:lnTo>
                  <a:lnTo>
                    <a:pt x="160" y="622"/>
                  </a:lnTo>
                  <a:lnTo>
                    <a:pt x="160" y="622"/>
                  </a:lnTo>
                  <a:lnTo>
                    <a:pt x="160" y="624"/>
                  </a:lnTo>
                  <a:lnTo>
                    <a:pt x="160" y="625"/>
                  </a:lnTo>
                  <a:lnTo>
                    <a:pt x="160" y="627"/>
                  </a:lnTo>
                  <a:lnTo>
                    <a:pt x="160" y="627"/>
                  </a:lnTo>
                  <a:lnTo>
                    <a:pt x="155" y="628"/>
                  </a:lnTo>
                  <a:lnTo>
                    <a:pt x="152" y="628"/>
                  </a:lnTo>
                  <a:lnTo>
                    <a:pt x="151" y="628"/>
                  </a:lnTo>
                  <a:lnTo>
                    <a:pt x="151" y="630"/>
                  </a:lnTo>
                  <a:lnTo>
                    <a:pt x="151" y="631"/>
                  </a:lnTo>
                  <a:lnTo>
                    <a:pt x="151" y="631"/>
                  </a:lnTo>
                  <a:lnTo>
                    <a:pt x="149" y="634"/>
                  </a:lnTo>
                  <a:lnTo>
                    <a:pt x="149" y="634"/>
                  </a:lnTo>
                  <a:lnTo>
                    <a:pt x="148" y="636"/>
                  </a:lnTo>
                  <a:lnTo>
                    <a:pt x="146" y="636"/>
                  </a:lnTo>
                  <a:lnTo>
                    <a:pt x="146" y="636"/>
                  </a:lnTo>
                  <a:lnTo>
                    <a:pt x="146" y="637"/>
                  </a:lnTo>
                  <a:lnTo>
                    <a:pt x="146" y="639"/>
                  </a:lnTo>
                  <a:lnTo>
                    <a:pt x="148" y="640"/>
                  </a:lnTo>
                  <a:lnTo>
                    <a:pt x="149" y="640"/>
                  </a:lnTo>
                  <a:lnTo>
                    <a:pt x="152" y="640"/>
                  </a:lnTo>
                  <a:lnTo>
                    <a:pt x="157" y="637"/>
                  </a:lnTo>
                  <a:lnTo>
                    <a:pt x="158" y="637"/>
                  </a:lnTo>
                  <a:lnTo>
                    <a:pt x="160" y="637"/>
                  </a:lnTo>
                  <a:lnTo>
                    <a:pt x="158" y="639"/>
                  </a:lnTo>
                  <a:lnTo>
                    <a:pt x="154" y="642"/>
                  </a:lnTo>
                  <a:lnTo>
                    <a:pt x="149" y="642"/>
                  </a:lnTo>
                  <a:lnTo>
                    <a:pt x="148" y="644"/>
                  </a:lnTo>
                  <a:lnTo>
                    <a:pt x="148" y="645"/>
                  </a:lnTo>
                  <a:lnTo>
                    <a:pt x="143" y="644"/>
                  </a:lnTo>
                  <a:lnTo>
                    <a:pt x="142" y="644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5" y="645"/>
                  </a:lnTo>
                  <a:lnTo>
                    <a:pt x="145" y="647"/>
                  </a:lnTo>
                  <a:lnTo>
                    <a:pt x="143" y="647"/>
                  </a:lnTo>
                  <a:lnTo>
                    <a:pt x="142" y="647"/>
                  </a:lnTo>
                  <a:lnTo>
                    <a:pt x="140" y="644"/>
                  </a:lnTo>
                  <a:lnTo>
                    <a:pt x="140" y="642"/>
                  </a:lnTo>
                  <a:lnTo>
                    <a:pt x="138" y="642"/>
                  </a:lnTo>
                  <a:lnTo>
                    <a:pt x="135" y="642"/>
                  </a:lnTo>
                  <a:lnTo>
                    <a:pt x="134" y="644"/>
                  </a:lnTo>
                  <a:lnTo>
                    <a:pt x="134" y="645"/>
                  </a:lnTo>
                  <a:lnTo>
                    <a:pt x="134" y="648"/>
                  </a:lnTo>
                  <a:lnTo>
                    <a:pt x="135" y="650"/>
                  </a:lnTo>
                  <a:lnTo>
                    <a:pt x="137" y="651"/>
                  </a:lnTo>
                  <a:lnTo>
                    <a:pt x="138" y="653"/>
                  </a:lnTo>
                  <a:lnTo>
                    <a:pt x="140" y="653"/>
                  </a:lnTo>
                  <a:lnTo>
                    <a:pt x="142" y="653"/>
                  </a:lnTo>
                  <a:lnTo>
                    <a:pt x="142" y="653"/>
                  </a:lnTo>
                  <a:lnTo>
                    <a:pt x="142" y="653"/>
                  </a:lnTo>
                  <a:lnTo>
                    <a:pt x="143" y="651"/>
                  </a:lnTo>
                  <a:lnTo>
                    <a:pt x="143" y="651"/>
                  </a:lnTo>
                  <a:lnTo>
                    <a:pt x="149" y="651"/>
                  </a:lnTo>
                  <a:lnTo>
                    <a:pt x="151" y="650"/>
                  </a:lnTo>
                  <a:lnTo>
                    <a:pt x="152" y="650"/>
                  </a:lnTo>
                  <a:lnTo>
                    <a:pt x="154" y="648"/>
                  </a:lnTo>
                  <a:lnTo>
                    <a:pt x="154" y="650"/>
                  </a:lnTo>
                  <a:lnTo>
                    <a:pt x="155" y="650"/>
                  </a:lnTo>
                  <a:lnTo>
                    <a:pt x="155" y="650"/>
                  </a:lnTo>
                  <a:lnTo>
                    <a:pt x="157" y="650"/>
                  </a:lnTo>
                  <a:lnTo>
                    <a:pt x="158" y="648"/>
                  </a:lnTo>
                  <a:lnTo>
                    <a:pt x="165" y="645"/>
                  </a:lnTo>
                  <a:lnTo>
                    <a:pt x="166" y="644"/>
                  </a:lnTo>
                  <a:lnTo>
                    <a:pt x="168" y="644"/>
                  </a:lnTo>
                  <a:lnTo>
                    <a:pt x="168" y="644"/>
                  </a:lnTo>
                  <a:lnTo>
                    <a:pt x="168" y="642"/>
                  </a:lnTo>
                  <a:lnTo>
                    <a:pt x="169" y="642"/>
                  </a:lnTo>
                  <a:lnTo>
                    <a:pt x="171" y="640"/>
                  </a:lnTo>
                  <a:lnTo>
                    <a:pt x="171" y="640"/>
                  </a:lnTo>
                  <a:lnTo>
                    <a:pt x="172" y="642"/>
                  </a:lnTo>
                  <a:lnTo>
                    <a:pt x="172" y="644"/>
                  </a:lnTo>
                  <a:lnTo>
                    <a:pt x="171" y="644"/>
                  </a:lnTo>
                  <a:lnTo>
                    <a:pt x="171" y="645"/>
                  </a:lnTo>
                  <a:lnTo>
                    <a:pt x="169" y="645"/>
                  </a:lnTo>
                  <a:lnTo>
                    <a:pt x="172" y="647"/>
                  </a:lnTo>
                  <a:lnTo>
                    <a:pt x="175" y="647"/>
                  </a:lnTo>
                  <a:lnTo>
                    <a:pt x="182" y="642"/>
                  </a:lnTo>
                  <a:lnTo>
                    <a:pt x="183" y="640"/>
                  </a:lnTo>
                  <a:lnTo>
                    <a:pt x="183" y="639"/>
                  </a:lnTo>
                  <a:lnTo>
                    <a:pt x="182" y="637"/>
                  </a:lnTo>
                  <a:lnTo>
                    <a:pt x="180" y="639"/>
                  </a:lnTo>
                  <a:lnTo>
                    <a:pt x="179" y="639"/>
                  </a:lnTo>
                  <a:lnTo>
                    <a:pt x="177" y="640"/>
                  </a:lnTo>
                  <a:lnTo>
                    <a:pt x="177" y="639"/>
                  </a:lnTo>
                  <a:lnTo>
                    <a:pt x="180" y="637"/>
                  </a:lnTo>
                  <a:lnTo>
                    <a:pt x="180" y="634"/>
                  </a:lnTo>
                  <a:lnTo>
                    <a:pt x="180" y="633"/>
                  </a:lnTo>
                  <a:lnTo>
                    <a:pt x="180" y="633"/>
                  </a:lnTo>
                  <a:lnTo>
                    <a:pt x="182" y="633"/>
                  </a:lnTo>
                  <a:lnTo>
                    <a:pt x="182" y="634"/>
                  </a:lnTo>
                  <a:lnTo>
                    <a:pt x="182" y="634"/>
                  </a:lnTo>
                  <a:lnTo>
                    <a:pt x="182" y="636"/>
                  </a:lnTo>
                  <a:lnTo>
                    <a:pt x="183" y="636"/>
                  </a:lnTo>
                  <a:lnTo>
                    <a:pt x="186" y="636"/>
                  </a:lnTo>
                  <a:lnTo>
                    <a:pt x="186" y="636"/>
                  </a:lnTo>
                  <a:lnTo>
                    <a:pt x="186" y="633"/>
                  </a:lnTo>
                  <a:lnTo>
                    <a:pt x="185" y="631"/>
                  </a:lnTo>
                  <a:lnTo>
                    <a:pt x="185" y="631"/>
                  </a:lnTo>
                  <a:lnTo>
                    <a:pt x="186" y="631"/>
                  </a:lnTo>
                  <a:lnTo>
                    <a:pt x="186" y="631"/>
                  </a:lnTo>
                  <a:lnTo>
                    <a:pt x="186" y="631"/>
                  </a:lnTo>
                  <a:lnTo>
                    <a:pt x="188" y="628"/>
                  </a:lnTo>
                  <a:lnTo>
                    <a:pt x="186" y="628"/>
                  </a:lnTo>
                  <a:lnTo>
                    <a:pt x="185" y="628"/>
                  </a:lnTo>
                  <a:lnTo>
                    <a:pt x="185" y="628"/>
                  </a:lnTo>
                  <a:lnTo>
                    <a:pt x="185" y="627"/>
                  </a:lnTo>
                  <a:lnTo>
                    <a:pt x="183" y="625"/>
                  </a:lnTo>
                  <a:lnTo>
                    <a:pt x="183" y="624"/>
                  </a:lnTo>
                  <a:lnTo>
                    <a:pt x="182" y="624"/>
                  </a:lnTo>
                  <a:lnTo>
                    <a:pt x="182" y="624"/>
                  </a:lnTo>
                  <a:lnTo>
                    <a:pt x="180" y="624"/>
                  </a:lnTo>
                  <a:lnTo>
                    <a:pt x="179" y="624"/>
                  </a:lnTo>
                  <a:lnTo>
                    <a:pt x="179" y="622"/>
                  </a:lnTo>
                  <a:lnTo>
                    <a:pt x="177" y="620"/>
                  </a:lnTo>
                  <a:lnTo>
                    <a:pt x="177" y="619"/>
                  </a:lnTo>
                  <a:lnTo>
                    <a:pt x="175" y="619"/>
                  </a:lnTo>
                  <a:lnTo>
                    <a:pt x="175" y="619"/>
                  </a:lnTo>
                  <a:lnTo>
                    <a:pt x="174" y="620"/>
                  </a:lnTo>
                  <a:lnTo>
                    <a:pt x="172" y="620"/>
                  </a:lnTo>
                  <a:lnTo>
                    <a:pt x="172" y="619"/>
                  </a:lnTo>
                  <a:lnTo>
                    <a:pt x="172" y="619"/>
                  </a:lnTo>
                  <a:lnTo>
                    <a:pt x="165" y="619"/>
                  </a:lnTo>
                  <a:lnTo>
                    <a:pt x="163" y="619"/>
                  </a:lnTo>
                  <a:lnTo>
                    <a:pt x="163" y="617"/>
                  </a:lnTo>
                  <a:lnTo>
                    <a:pt x="163" y="617"/>
                  </a:lnTo>
                  <a:lnTo>
                    <a:pt x="163" y="616"/>
                  </a:lnTo>
                  <a:lnTo>
                    <a:pt x="160" y="608"/>
                  </a:lnTo>
                  <a:lnTo>
                    <a:pt x="158" y="605"/>
                  </a:lnTo>
                  <a:lnTo>
                    <a:pt x="155" y="605"/>
                  </a:lnTo>
                  <a:lnTo>
                    <a:pt x="157" y="605"/>
                  </a:lnTo>
                  <a:lnTo>
                    <a:pt x="157" y="603"/>
                  </a:lnTo>
                  <a:close/>
                  <a:moveTo>
                    <a:pt x="111" y="610"/>
                  </a:moveTo>
                  <a:lnTo>
                    <a:pt x="109" y="610"/>
                  </a:lnTo>
                  <a:lnTo>
                    <a:pt x="109" y="611"/>
                  </a:lnTo>
                  <a:lnTo>
                    <a:pt x="109" y="613"/>
                  </a:lnTo>
                  <a:lnTo>
                    <a:pt x="111" y="614"/>
                  </a:lnTo>
                  <a:lnTo>
                    <a:pt x="111" y="613"/>
                  </a:lnTo>
                  <a:lnTo>
                    <a:pt x="111" y="611"/>
                  </a:lnTo>
                  <a:lnTo>
                    <a:pt x="112" y="611"/>
                  </a:lnTo>
                  <a:lnTo>
                    <a:pt x="114" y="613"/>
                  </a:lnTo>
                  <a:lnTo>
                    <a:pt x="115" y="611"/>
                  </a:lnTo>
                  <a:lnTo>
                    <a:pt x="118" y="608"/>
                  </a:lnTo>
                  <a:lnTo>
                    <a:pt x="122" y="605"/>
                  </a:lnTo>
                  <a:lnTo>
                    <a:pt x="123" y="605"/>
                  </a:lnTo>
                  <a:lnTo>
                    <a:pt x="123" y="603"/>
                  </a:lnTo>
                  <a:lnTo>
                    <a:pt x="125" y="603"/>
                  </a:lnTo>
                  <a:lnTo>
                    <a:pt x="125" y="603"/>
                  </a:lnTo>
                  <a:lnTo>
                    <a:pt x="125" y="602"/>
                  </a:lnTo>
                  <a:lnTo>
                    <a:pt x="126" y="599"/>
                  </a:lnTo>
                  <a:lnTo>
                    <a:pt x="126" y="597"/>
                  </a:lnTo>
                  <a:lnTo>
                    <a:pt x="128" y="596"/>
                  </a:lnTo>
                  <a:lnTo>
                    <a:pt x="126" y="596"/>
                  </a:lnTo>
                  <a:lnTo>
                    <a:pt x="125" y="596"/>
                  </a:lnTo>
                  <a:lnTo>
                    <a:pt x="123" y="597"/>
                  </a:lnTo>
                  <a:lnTo>
                    <a:pt x="122" y="599"/>
                  </a:lnTo>
                  <a:lnTo>
                    <a:pt x="120" y="599"/>
                  </a:lnTo>
                  <a:lnTo>
                    <a:pt x="117" y="602"/>
                  </a:lnTo>
                  <a:lnTo>
                    <a:pt x="115" y="602"/>
                  </a:lnTo>
                  <a:lnTo>
                    <a:pt x="112" y="608"/>
                  </a:lnTo>
                  <a:lnTo>
                    <a:pt x="111" y="610"/>
                  </a:lnTo>
                  <a:close/>
                  <a:moveTo>
                    <a:pt x="51" y="562"/>
                  </a:moveTo>
                  <a:lnTo>
                    <a:pt x="52" y="562"/>
                  </a:lnTo>
                  <a:lnTo>
                    <a:pt x="54" y="562"/>
                  </a:lnTo>
                  <a:lnTo>
                    <a:pt x="54" y="560"/>
                  </a:lnTo>
                  <a:lnTo>
                    <a:pt x="54" y="559"/>
                  </a:lnTo>
                  <a:lnTo>
                    <a:pt x="54" y="559"/>
                  </a:lnTo>
                  <a:lnTo>
                    <a:pt x="55" y="559"/>
                  </a:lnTo>
                  <a:lnTo>
                    <a:pt x="55" y="557"/>
                  </a:lnTo>
                  <a:lnTo>
                    <a:pt x="55" y="557"/>
                  </a:lnTo>
                  <a:lnTo>
                    <a:pt x="57" y="556"/>
                  </a:lnTo>
                  <a:lnTo>
                    <a:pt x="58" y="556"/>
                  </a:lnTo>
                  <a:lnTo>
                    <a:pt x="58" y="556"/>
                  </a:lnTo>
                  <a:lnTo>
                    <a:pt x="58" y="554"/>
                  </a:lnTo>
                  <a:lnTo>
                    <a:pt x="57" y="554"/>
                  </a:lnTo>
                  <a:lnTo>
                    <a:pt x="57" y="553"/>
                  </a:lnTo>
                  <a:lnTo>
                    <a:pt x="57" y="553"/>
                  </a:lnTo>
                  <a:lnTo>
                    <a:pt x="54" y="551"/>
                  </a:lnTo>
                  <a:lnTo>
                    <a:pt x="55" y="550"/>
                  </a:lnTo>
                  <a:lnTo>
                    <a:pt x="55" y="548"/>
                  </a:lnTo>
                  <a:lnTo>
                    <a:pt x="55" y="548"/>
                  </a:lnTo>
                  <a:lnTo>
                    <a:pt x="55" y="547"/>
                  </a:lnTo>
                  <a:lnTo>
                    <a:pt x="55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2" y="550"/>
                  </a:lnTo>
                  <a:lnTo>
                    <a:pt x="51" y="551"/>
                  </a:lnTo>
                  <a:lnTo>
                    <a:pt x="49" y="551"/>
                  </a:lnTo>
                  <a:lnTo>
                    <a:pt x="48" y="553"/>
                  </a:lnTo>
                  <a:lnTo>
                    <a:pt x="48" y="554"/>
                  </a:lnTo>
                  <a:lnTo>
                    <a:pt x="49" y="556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6" y="557"/>
                  </a:lnTo>
                  <a:lnTo>
                    <a:pt x="45" y="559"/>
                  </a:lnTo>
                  <a:lnTo>
                    <a:pt x="45" y="560"/>
                  </a:lnTo>
                  <a:lnTo>
                    <a:pt x="46" y="560"/>
                  </a:lnTo>
                  <a:lnTo>
                    <a:pt x="51" y="562"/>
                  </a:lnTo>
                  <a:close/>
                  <a:moveTo>
                    <a:pt x="142" y="551"/>
                  </a:moveTo>
                  <a:lnTo>
                    <a:pt x="140" y="548"/>
                  </a:lnTo>
                  <a:lnTo>
                    <a:pt x="137" y="547"/>
                  </a:lnTo>
                  <a:lnTo>
                    <a:pt x="134" y="547"/>
                  </a:lnTo>
                  <a:lnTo>
                    <a:pt x="131" y="548"/>
                  </a:lnTo>
                  <a:lnTo>
                    <a:pt x="128" y="554"/>
                  </a:lnTo>
                  <a:lnTo>
                    <a:pt x="128" y="554"/>
                  </a:lnTo>
                  <a:lnTo>
                    <a:pt x="131" y="557"/>
                  </a:lnTo>
                  <a:lnTo>
                    <a:pt x="132" y="557"/>
                  </a:lnTo>
                  <a:lnTo>
                    <a:pt x="132" y="557"/>
                  </a:lnTo>
                  <a:lnTo>
                    <a:pt x="134" y="562"/>
                  </a:lnTo>
                  <a:lnTo>
                    <a:pt x="135" y="562"/>
                  </a:lnTo>
                  <a:lnTo>
                    <a:pt x="138" y="562"/>
                  </a:lnTo>
                  <a:lnTo>
                    <a:pt x="140" y="560"/>
                  </a:lnTo>
                  <a:lnTo>
                    <a:pt x="142" y="557"/>
                  </a:lnTo>
                  <a:lnTo>
                    <a:pt x="143" y="553"/>
                  </a:lnTo>
                  <a:lnTo>
                    <a:pt x="142" y="553"/>
                  </a:lnTo>
                  <a:lnTo>
                    <a:pt x="142" y="551"/>
                  </a:lnTo>
                  <a:lnTo>
                    <a:pt x="142" y="551"/>
                  </a:lnTo>
                  <a:close/>
                  <a:moveTo>
                    <a:pt x="120" y="548"/>
                  </a:moveTo>
                  <a:lnTo>
                    <a:pt x="123" y="547"/>
                  </a:lnTo>
                  <a:lnTo>
                    <a:pt x="125" y="547"/>
                  </a:lnTo>
                  <a:lnTo>
                    <a:pt x="123" y="545"/>
                  </a:lnTo>
                  <a:lnTo>
                    <a:pt x="122" y="545"/>
                  </a:lnTo>
                  <a:lnTo>
                    <a:pt x="122" y="543"/>
                  </a:lnTo>
                  <a:lnTo>
                    <a:pt x="120" y="545"/>
                  </a:lnTo>
                  <a:lnTo>
                    <a:pt x="117" y="547"/>
                  </a:lnTo>
                  <a:lnTo>
                    <a:pt x="115" y="547"/>
                  </a:lnTo>
                  <a:lnTo>
                    <a:pt x="118" y="548"/>
                  </a:lnTo>
                  <a:lnTo>
                    <a:pt x="120" y="548"/>
                  </a:lnTo>
                  <a:close/>
                  <a:moveTo>
                    <a:pt x="162" y="510"/>
                  </a:moveTo>
                  <a:lnTo>
                    <a:pt x="160" y="511"/>
                  </a:lnTo>
                  <a:lnTo>
                    <a:pt x="160" y="513"/>
                  </a:lnTo>
                  <a:lnTo>
                    <a:pt x="162" y="514"/>
                  </a:lnTo>
                  <a:lnTo>
                    <a:pt x="165" y="516"/>
                  </a:lnTo>
                  <a:lnTo>
                    <a:pt x="166" y="514"/>
                  </a:lnTo>
                  <a:lnTo>
                    <a:pt x="166" y="513"/>
                  </a:lnTo>
                  <a:lnTo>
                    <a:pt x="165" y="510"/>
                  </a:lnTo>
                  <a:lnTo>
                    <a:pt x="162" y="510"/>
                  </a:lnTo>
                  <a:close/>
                  <a:moveTo>
                    <a:pt x="66" y="522"/>
                  </a:moveTo>
                  <a:lnTo>
                    <a:pt x="68" y="522"/>
                  </a:lnTo>
                  <a:lnTo>
                    <a:pt x="68" y="520"/>
                  </a:lnTo>
                  <a:lnTo>
                    <a:pt x="69" y="517"/>
                  </a:lnTo>
                  <a:lnTo>
                    <a:pt x="69" y="516"/>
                  </a:lnTo>
                  <a:lnTo>
                    <a:pt x="71" y="516"/>
                  </a:lnTo>
                  <a:lnTo>
                    <a:pt x="71" y="514"/>
                  </a:lnTo>
                  <a:lnTo>
                    <a:pt x="72" y="514"/>
                  </a:lnTo>
                  <a:lnTo>
                    <a:pt x="72" y="513"/>
                  </a:lnTo>
                  <a:lnTo>
                    <a:pt x="71" y="513"/>
                  </a:lnTo>
                  <a:lnTo>
                    <a:pt x="69" y="511"/>
                  </a:lnTo>
                  <a:lnTo>
                    <a:pt x="69" y="511"/>
                  </a:lnTo>
                  <a:lnTo>
                    <a:pt x="68" y="510"/>
                  </a:lnTo>
                  <a:lnTo>
                    <a:pt x="68" y="510"/>
                  </a:lnTo>
                  <a:lnTo>
                    <a:pt x="65" y="510"/>
                  </a:lnTo>
                  <a:lnTo>
                    <a:pt x="63" y="508"/>
                  </a:lnTo>
                  <a:lnTo>
                    <a:pt x="63" y="506"/>
                  </a:lnTo>
                  <a:lnTo>
                    <a:pt x="63" y="506"/>
                  </a:lnTo>
                  <a:lnTo>
                    <a:pt x="61" y="505"/>
                  </a:lnTo>
                  <a:lnTo>
                    <a:pt x="60" y="505"/>
                  </a:lnTo>
                  <a:lnTo>
                    <a:pt x="60" y="505"/>
                  </a:lnTo>
                  <a:lnTo>
                    <a:pt x="58" y="505"/>
                  </a:lnTo>
                  <a:lnTo>
                    <a:pt x="58" y="505"/>
                  </a:lnTo>
                  <a:lnTo>
                    <a:pt x="58" y="503"/>
                  </a:lnTo>
                  <a:lnTo>
                    <a:pt x="58" y="503"/>
                  </a:lnTo>
                  <a:lnTo>
                    <a:pt x="58" y="502"/>
                  </a:lnTo>
                  <a:lnTo>
                    <a:pt x="57" y="502"/>
                  </a:lnTo>
                  <a:lnTo>
                    <a:pt x="58" y="500"/>
                  </a:lnTo>
                  <a:lnTo>
                    <a:pt x="60" y="502"/>
                  </a:lnTo>
                  <a:lnTo>
                    <a:pt x="61" y="505"/>
                  </a:lnTo>
                  <a:lnTo>
                    <a:pt x="65" y="506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8" y="506"/>
                  </a:lnTo>
                  <a:lnTo>
                    <a:pt x="66" y="503"/>
                  </a:lnTo>
                  <a:lnTo>
                    <a:pt x="65" y="503"/>
                  </a:lnTo>
                  <a:lnTo>
                    <a:pt x="65" y="503"/>
                  </a:lnTo>
                  <a:lnTo>
                    <a:pt x="66" y="503"/>
                  </a:lnTo>
                  <a:lnTo>
                    <a:pt x="66" y="503"/>
                  </a:lnTo>
                  <a:lnTo>
                    <a:pt x="68" y="503"/>
                  </a:lnTo>
                  <a:lnTo>
                    <a:pt x="60" y="499"/>
                  </a:lnTo>
                  <a:lnTo>
                    <a:pt x="60" y="499"/>
                  </a:lnTo>
                  <a:lnTo>
                    <a:pt x="57" y="500"/>
                  </a:lnTo>
                  <a:lnTo>
                    <a:pt x="55" y="500"/>
                  </a:lnTo>
                  <a:lnTo>
                    <a:pt x="57" y="506"/>
                  </a:lnTo>
                  <a:lnTo>
                    <a:pt x="57" y="511"/>
                  </a:lnTo>
                  <a:lnTo>
                    <a:pt x="57" y="513"/>
                  </a:lnTo>
                  <a:lnTo>
                    <a:pt x="55" y="514"/>
                  </a:lnTo>
                  <a:lnTo>
                    <a:pt x="55" y="514"/>
                  </a:lnTo>
                  <a:lnTo>
                    <a:pt x="55" y="516"/>
                  </a:lnTo>
                  <a:lnTo>
                    <a:pt x="55" y="517"/>
                  </a:lnTo>
                  <a:lnTo>
                    <a:pt x="54" y="519"/>
                  </a:lnTo>
                  <a:lnTo>
                    <a:pt x="54" y="520"/>
                  </a:lnTo>
                  <a:lnTo>
                    <a:pt x="52" y="522"/>
                  </a:lnTo>
                  <a:lnTo>
                    <a:pt x="54" y="522"/>
                  </a:lnTo>
                  <a:lnTo>
                    <a:pt x="54" y="522"/>
                  </a:lnTo>
                  <a:lnTo>
                    <a:pt x="55" y="525"/>
                  </a:lnTo>
                  <a:lnTo>
                    <a:pt x="55" y="525"/>
                  </a:lnTo>
                  <a:lnTo>
                    <a:pt x="55" y="527"/>
                  </a:lnTo>
                  <a:lnTo>
                    <a:pt x="55" y="530"/>
                  </a:lnTo>
                  <a:lnTo>
                    <a:pt x="57" y="536"/>
                  </a:lnTo>
                  <a:lnTo>
                    <a:pt x="58" y="537"/>
                  </a:lnTo>
                  <a:lnTo>
                    <a:pt x="60" y="540"/>
                  </a:lnTo>
                  <a:lnTo>
                    <a:pt x="63" y="539"/>
                  </a:lnTo>
                  <a:lnTo>
                    <a:pt x="69" y="540"/>
                  </a:lnTo>
                  <a:lnTo>
                    <a:pt x="71" y="539"/>
                  </a:lnTo>
                  <a:lnTo>
                    <a:pt x="71" y="537"/>
                  </a:lnTo>
                  <a:lnTo>
                    <a:pt x="69" y="537"/>
                  </a:lnTo>
                  <a:lnTo>
                    <a:pt x="68" y="536"/>
                  </a:lnTo>
                  <a:lnTo>
                    <a:pt x="68" y="534"/>
                  </a:lnTo>
                  <a:lnTo>
                    <a:pt x="66" y="534"/>
                  </a:lnTo>
                  <a:lnTo>
                    <a:pt x="65" y="534"/>
                  </a:lnTo>
                  <a:lnTo>
                    <a:pt x="61" y="534"/>
                  </a:lnTo>
                  <a:lnTo>
                    <a:pt x="61" y="534"/>
                  </a:lnTo>
                  <a:lnTo>
                    <a:pt x="61" y="533"/>
                  </a:lnTo>
                  <a:lnTo>
                    <a:pt x="63" y="533"/>
                  </a:lnTo>
                  <a:lnTo>
                    <a:pt x="65" y="533"/>
                  </a:lnTo>
                  <a:lnTo>
                    <a:pt x="66" y="534"/>
                  </a:lnTo>
                  <a:lnTo>
                    <a:pt x="68" y="533"/>
                  </a:lnTo>
                  <a:lnTo>
                    <a:pt x="68" y="530"/>
                  </a:lnTo>
                  <a:lnTo>
                    <a:pt x="68" y="527"/>
                  </a:lnTo>
                  <a:lnTo>
                    <a:pt x="66" y="525"/>
                  </a:lnTo>
                  <a:lnTo>
                    <a:pt x="65" y="523"/>
                  </a:lnTo>
                  <a:lnTo>
                    <a:pt x="60" y="522"/>
                  </a:lnTo>
                  <a:lnTo>
                    <a:pt x="60" y="520"/>
                  </a:lnTo>
                  <a:lnTo>
                    <a:pt x="66" y="522"/>
                  </a:lnTo>
                  <a:close/>
                  <a:moveTo>
                    <a:pt x="66" y="488"/>
                  </a:moveTo>
                  <a:lnTo>
                    <a:pt x="66" y="488"/>
                  </a:lnTo>
                  <a:lnTo>
                    <a:pt x="68" y="488"/>
                  </a:lnTo>
                  <a:lnTo>
                    <a:pt x="66" y="488"/>
                  </a:lnTo>
                  <a:lnTo>
                    <a:pt x="65" y="488"/>
                  </a:lnTo>
                  <a:lnTo>
                    <a:pt x="65" y="488"/>
                  </a:lnTo>
                  <a:lnTo>
                    <a:pt x="65" y="486"/>
                  </a:lnTo>
                  <a:lnTo>
                    <a:pt x="63" y="488"/>
                  </a:lnTo>
                  <a:lnTo>
                    <a:pt x="63" y="488"/>
                  </a:lnTo>
                  <a:lnTo>
                    <a:pt x="61" y="488"/>
                  </a:lnTo>
                  <a:lnTo>
                    <a:pt x="61" y="486"/>
                  </a:lnTo>
                  <a:lnTo>
                    <a:pt x="58" y="486"/>
                  </a:lnTo>
                  <a:lnTo>
                    <a:pt x="57" y="488"/>
                  </a:lnTo>
                  <a:lnTo>
                    <a:pt x="57" y="490"/>
                  </a:lnTo>
                  <a:lnTo>
                    <a:pt x="57" y="493"/>
                  </a:lnTo>
                  <a:lnTo>
                    <a:pt x="57" y="494"/>
                  </a:lnTo>
                  <a:lnTo>
                    <a:pt x="63" y="499"/>
                  </a:lnTo>
                  <a:lnTo>
                    <a:pt x="65" y="499"/>
                  </a:lnTo>
                  <a:lnTo>
                    <a:pt x="71" y="497"/>
                  </a:lnTo>
                  <a:lnTo>
                    <a:pt x="71" y="496"/>
                  </a:lnTo>
                  <a:lnTo>
                    <a:pt x="71" y="494"/>
                  </a:lnTo>
                  <a:lnTo>
                    <a:pt x="69" y="494"/>
                  </a:lnTo>
                  <a:lnTo>
                    <a:pt x="68" y="494"/>
                  </a:lnTo>
                  <a:lnTo>
                    <a:pt x="68" y="494"/>
                  </a:lnTo>
                  <a:lnTo>
                    <a:pt x="68" y="493"/>
                  </a:lnTo>
                  <a:lnTo>
                    <a:pt x="68" y="493"/>
                  </a:lnTo>
                  <a:lnTo>
                    <a:pt x="71" y="491"/>
                  </a:lnTo>
                  <a:lnTo>
                    <a:pt x="71" y="491"/>
                  </a:lnTo>
                  <a:lnTo>
                    <a:pt x="71" y="491"/>
                  </a:lnTo>
                  <a:lnTo>
                    <a:pt x="69" y="490"/>
                  </a:lnTo>
                  <a:lnTo>
                    <a:pt x="69" y="488"/>
                  </a:lnTo>
                  <a:lnTo>
                    <a:pt x="68" y="490"/>
                  </a:lnTo>
                  <a:lnTo>
                    <a:pt x="68" y="490"/>
                  </a:lnTo>
                  <a:lnTo>
                    <a:pt x="68" y="490"/>
                  </a:lnTo>
                  <a:lnTo>
                    <a:pt x="66" y="488"/>
                  </a:lnTo>
                  <a:lnTo>
                    <a:pt x="66" y="488"/>
                  </a:lnTo>
                  <a:lnTo>
                    <a:pt x="66" y="488"/>
                  </a:lnTo>
                  <a:close/>
                  <a:moveTo>
                    <a:pt x="155" y="506"/>
                  </a:moveTo>
                  <a:lnTo>
                    <a:pt x="155" y="506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7" y="510"/>
                  </a:lnTo>
                  <a:lnTo>
                    <a:pt x="158" y="510"/>
                  </a:lnTo>
                  <a:lnTo>
                    <a:pt x="158" y="508"/>
                  </a:lnTo>
                  <a:lnTo>
                    <a:pt x="160" y="508"/>
                  </a:lnTo>
                  <a:lnTo>
                    <a:pt x="162" y="506"/>
                  </a:lnTo>
                  <a:lnTo>
                    <a:pt x="162" y="505"/>
                  </a:lnTo>
                  <a:lnTo>
                    <a:pt x="160" y="502"/>
                  </a:lnTo>
                  <a:lnTo>
                    <a:pt x="160" y="500"/>
                  </a:lnTo>
                  <a:lnTo>
                    <a:pt x="160" y="497"/>
                  </a:lnTo>
                  <a:lnTo>
                    <a:pt x="160" y="493"/>
                  </a:lnTo>
                  <a:lnTo>
                    <a:pt x="162" y="488"/>
                  </a:lnTo>
                  <a:lnTo>
                    <a:pt x="162" y="486"/>
                  </a:lnTo>
                  <a:lnTo>
                    <a:pt x="162" y="485"/>
                  </a:lnTo>
                  <a:lnTo>
                    <a:pt x="162" y="485"/>
                  </a:lnTo>
                  <a:lnTo>
                    <a:pt x="162" y="483"/>
                  </a:lnTo>
                  <a:lnTo>
                    <a:pt x="160" y="483"/>
                  </a:lnTo>
                  <a:lnTo>
                    <a:pt x="162" y="486"/>
                  </a:lnTo>
                  <a:lnTo>
                    <a:pt x="162" y="486"/>
                  </a:lnTo>
                  <a:lnTo>
                    <a:pt x="160" y="486"/>
                  </a:lnTo>
                  <a:lnTo>
                    <a:pt x="158" y="486"/>
                  </a:lnTo>
                  <a:lnTo>
                    <a:pt x="158" y="486"/>
                  </a:lnTo>
                  <a:lnTo>
                    <a:pt x="158" y="488"/>
                  </a:lnTo>
                  <a:lnTo>
                    <a:pt x="158" y="490"/>
                  </a:lnTo>
                  <a:lnTo>
                    <a:pt x="160" y="490"/>
                  </a:lnTo>
                  <a:lnTo>
                    <a:pt x="160" y="491"/>
                  </a:lnTo>
                  <a:lnTo>
                    <a:pt x="157" y="491"/>
                  </a:lnTo>
                  <a:lnTo>
                    <a:pt x="157" y="493"/>
                  </a:lnTo>
                  <a:lnTo>
                    <a:pt x="155" y="494"/>
                  </a:lnTo>
                  <a:lnTo>
                    <a:pt x="155" y="503"/>
                  </a:lnTo>
                  <a:lnTo>
                    <a:pt x="155" y="505"/>
                  </a:lnTo>
                  <a:lnTo>
                    <a:pt x="155" y="506"/>
                  </a:lnTo>
                  <a:close/>
                  <a:moveTo>
                    <a:pt x="163" y="483"/>
                  </a:moveTo>
                  <a:lnTo>
                    <a:pt x="163" y="480"/>
                  </a:lnTo>
                  <a:lnTo>
                    <a:pt x="165" y="476"/>
                  </a:lnTo>
                  <a:lnTo>
                    <a:pt x="163" y="474"/>
                  </a:lnTo>
                  <a:lnTo>
                    <a:pt x="163" y="474"/>
                  </a:lnTo>
                  <a:lnTo>
                    <a:pt x="163" y="476"/>
                  </a:lnTo>
                  <a:lnTo>
                    <a:pt x="162" y="476"/>
                  </a:lnTo>
                  <a:lnTo>
                    <a:pt x="163" y="477"/>
                  </a:lnTo>
                  <a:lnTo>
                    <a:pt x="163" y="477"/>
                  </a:lnTo>
                  <a:lnTo>
                    <a:pt x="163" y="477"/>
                  </a:lnTo>
                  <a:lnTo>
                    <a:pt x="162" y="479"/>
                  </a:lnTo>
                  <a:lnTo>
                    <a:pt x="162" y="480"/>
                  </a:lnTo>
                  <a:lnTo>
                    <a:pt x="162" y="482"/>
                  </a:lnTo>
                  <a:lnTo>
                    <a:pt x="163" y="483"/>
                  </a:lnTo>
                  <a:close/>
                  <a:moveTo>
                    <a:pt x="51" y="476"/>
                  </a:moveTo>
                  <a:lnTo>
                    <a:pt x="51" y="47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4" y="476"/>
                  </a:lnTo>
                  <a:lnTo>
                    <a:pt x="54" y="474"/>
                  </a:lnTo>
                  <a:lnTo>
                    <a:pt x="55" y="476"/>
                  </a:lnTo>
                  <a:lnTo>
                    <a:pt x="60" y="477"/>
                  </a:lnTo>
                  <a:lnTo>
                    <a:pt x="63" y="479"/>
                  </a:lnTo>
                  <a:lnTo>
                    <a:pt x="61" y="479"/>
                  </a:lnTo>
                  <a:lnTo>
                    <a:pt x="61" y="479"/>
                  </a:lnTo>
                  <a:lnTo>
                    <a:pt x="61" y="480"/>
                  </a:lnTo>
                  <a:lnTo>
                    <a:pt x="61" y="480"/>
                  </a:lnTo>
                  <a:lnTo>
                    <a:pt x="61" y="482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5" y="485"/>
                  </a:lnTo>
                  <a:lnTo>
                    <a:pt x="68" y="483"/>
                  </a:lnTo>
                  <a:lnTo>
                    <a:pt x="69" y="485"/>
                  </a:lnTo>
                  <a:lnTo>
                    <a:pt x="71" y="483"/>
                  </a:lnTo>
                  <a:lnTo>
                    <a:pt x="72" y="483"/>
                  </a:lnTo>
                  <a:lnTo>
                    <a:pt x="75" y="483"/>
                  </a:lnTo>
                  <a:lnTo>
                    <a:pt x="77" y="480"/>
                  </a:lnTo>
                  <a:lnTo>
                    <a:pt x="77" y="480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4" y="479"/>
                  </a:lnTo>
                  <a:lnTo>
                    <a:pt x="72" y="477"/>
                  </a:lnTo>
                  <a:lnTo>
                    <a:pt x="69" y="479"/>
                  </a:lnTo>
                  <a:lnTo>
                    <a:pt x="63" y="479"/>
                  </a:lnTo>
                  <a:lnTo>
                    <a:pt x="63" y="479"/>
                  </a:lnTo>
                  <a:lnTo>
                    <a:pt x="66" y="476"/>
                  </a:lnTo>
                  <a:lnTo>
                    <a:pt x="68" y="476"/>
                  </a:lnTo>
                  <a:lnTo>
                    <a:pt x="68" y="476"/>
                  </a:lnTo>
                  <a:lnTo>
                    <a:pt x="68" y="477"/>
                  </a:lnTo>
                  <a:lnTo>
                    <a:pt x="69" y="479"/>
                  </a:lnTo>
                  <a:lnTo>
                    <a:pt x="69" y="479"/>
                  </a:lnTo>
                  <a:lnTo>
                    <a:pt x="71" y="477"/>
                  </a:lnTo>
                  <a:lnTo>
                    <a:pt x="71" y="477"/>
                  </a:lnTo>
                  <a:lnTo>
                    <a:pt x="75" y="477"/>
                  </a:lnTo>
                  <a:lnTo>
                    <a:pt x="77" y="476"/>
                  </a:lnTo>
                  <a:lnTo>
                    <a:pt x="78" y="473"/>
                  </a:lnTo>
                  <a:lnTo>
                    <a:pt x="77" y="473"/>
                  </a:lnTo>
                  <a:lnTo>
                    <a:pt x="75" y="473"/>
                  </a:lnTo>
                  <a:lnTo>
                    <a:pt x="74" y="473"/>
                  </a:lnTo>
                  <a:lnTo>
                    <a:pt x="74" y="470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68"/>
                  </a:lnTo>
                  <a:lnTo>
                    <a:pt x="72" y="468"/>
                  </a:lnTo>
                  <a:lnTo>
                    <a:pt x="72" y="466"/>
                  </a:lnTo>
                  <a:lnTo>
                    <a:pt x="71" y="466"/>
                  </a:lnTo>
                  <a:lnTo>
                    <a:pt x="71" y="466"/>
                  </a:lnTo>
                  <a:lnTo>
                    <a:pt x="71" y="466"/>
                  </a:lnTo>
                  <a:lnTo>
                    <a:pt x="74" y="466"/>
                  </a:lnTo>
                  <a:lnTo>
                    <a:pt x="75" y="468"/>
                  </a:lnTo>
                  <a:lnTo>
                    <a:pt x="77" y="468"/>
                  </a:lnTo>
                  <a:lnTo>
                    <a:pt x="77" y="468"/>
                  </a:lnTo>
                  <a:lnTo>
                    <a:pt x="77" y="470"/>
                  </a:lnTo>
                  <a:lnTo>
                    <a:pt x="78" y="471"/>
                  </a:lnTo>
                  <a:lnTo>
                    <a:pt x="78" y="471"/>
                  </a:lnTo>
                  <a:lnTo>
                    <a:pt x="80" y="470"/>
                  </a:lnTo>
                  <a:lnTo>
                    <a:pt x="81" y="468"/>
                  </a:lnTo>
                  <a:lnTo>
                    <a:pt x="81" y="466"/>
                  </a:lnTo>
                  <a:lnTo>
                    <a:pt x="81" y="465"/>
                  </a:lnTo>
                  <a:lnTo>
                    <a:pt x="80" y="465"/>
                  </a:lnTo>
                  <a:lnTo>
                    <a:pt x="78" y="465"/>
                  </a:lnTo>
                  <a:lnTo>
                    <a:pt x="77" y="465"/>
                  </a:lnTo>
                  <a:lnTo>
                    <a:pt x="75" y="463"/>
                  </a:lnTo>
                  <a:lnTo>
                    <a:pt x="74" y="465"/>
                  </a:lnTo>
                  <a:lnTo>
                    <a:pt x="72" y="463"/>
                  </a:lnTo>
                  <a:lnTo>
                    <a:pt x="74" y="463"/>
                  </a:lnTo>
                  <a:lnTo>
                    <a:pt x="74" y="462"/>
                  </a:lnTo>
                  <a:lnTo>
                    <a:pt x="74" y="460"/>
                  </a:lnTo>
                  <a:lnTo>
                    <a:pt x="72" y="459"/>
                  </a:lnTo>
                  <a:lnTo>
                    <a:pt x="71" y="460"/>
                  </a:lnTo>
                  <a:lnTo>
                    <a:pt x="68" y="462"/>
                  </a:lnTo>
                  <a:lnTo>
                    <a:pt x="66" y="463"/>
                  </a:lnTo>
                  <a:lnTo>
                    <a:pt x="68" y="463"/>
                  </a:lnTo>
                  <a:lnTo>
                    <a:pt x="68" y="463"/>
                  </a:lnTo>
                  <a:lnTo>
                    <a:pt x="68" y="465"/>
                  </a:lnTo>
                  <a:lnTo>
                    <a:pt x="66" y="465"/>
                  </a:lnTo>
                  <a:lnTo>
                    <a:pt x="61" y="463"/>
                  </a:lnTo>
                  <a:lnTo>
                    <a:pt x="63" y="462"/>
                  </a:lnTo>
                  <a:lnTo>
                    <a:pt x="63" y="460"/>
                  </a:lnTo>
                  <a:lnTo>
                    <a:pt x="63" y="460"/>
                  </a:lnTo>
                  <a:lnTo>
                    <a:pt x="63" y="459"/>
                  </a:lnTo>
                  <a:lnTo>
                    <a:pt x="61" y="460"/>
                  </a:lnTo>
                  <a:lnTo>
                    <a:pt x="60" y="465"/>
                  </a:lnTo>
                  <a:lnTo>
                    <a:pt x="57" y="466"/>
                  </a:lnTo>
                  <a:lnTo>
                    <a:pt x="55" y="465"/>
                  </a:lnTo>
                  <a:lnTo>
                    <a:pt x="57" y="463"/>
                  </a:lnTo>
                  <a:lnTo>
                    <a:pt x="58" y="463"/>
                  </a:lnTo>
                  <a:lnTo>
                    <a:pt x="58" y="463"/>
                  </a:lnTo>
                  <a:lnTo>
                    <a:pt x="52" y="463"/>
                  </a:lnTo>
                  <a:lnTo>
                    <a:pt x="51" y="463"/>
                  </a:lnTo>
                  <a:lnTo>
                    <a:pt x="49" y="465"/>
                  </a:lnTo>
                  <a:lnTo>
                    <a:pt x="49" y="468"/>
                  </a:lnTo>
                  <a:lnTo>
                    <a:pt x="48" y="471"/>
                  </a:lnTo>
                  <a:lnTo>
                    <a:pt x="46" y="471"/>
                  </a:lnTo>
                  <a:lnTo>
                    <a:pt x="46" y="473"/>
                  </a:lnTo>
                  <a:lnTo>
                    <a:pt x="49" y="476"/>
                  </a:lnTo>
                  <a:lnTo>
                    <a:pt x="51" y="476"/>
                  </a:lnTo>
                  <a:close/>
                  <a:moveTo>
                    <a:pt x="149" y="473"/>
                  </a:moveTo>
                  <a:lnTo>
                    <a:pt x="148" y="471"/>
                  </a:lnTo>
                  <a:lnTo>
                    <a:pt x="148" y="468"/>
                  </a:lnTo>
                  <a:lnTo>
                    <a:pt x="143" y="466"/>
                  </a:lnTo>
                  <a:lnTo>
                    <a:pt x="143" y="465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38" y="460"/>
                  </a:lnTo>
                  <a:lnTo>
                    <a:pt x="138" y="459"/>
                  </a:lnTo>
                  <a:lnTo>
                    <a:pt x="138" y="457"/>
                  </a:lnTo>
                  <a:lnTo>
                    <a:pt x="137" y="457"/>
                  </a:lnTo>
                  <a:lnTo>
                    <a:pt x="137" y="457"/>
                  </a:lnTo>
                  <a:lnTo>
                    <a:pt x="137" y="459"/>
                  </a:lnTo>
                  <a:lnTo>
                    <a:pt x="135" y="457"/>
                  </a:lnTo>
                  <a:lnTo>
                    <a:pt x="135" y="459"/>
                  </a:lnTo>
                  <a:lnTo>
                    <a:pt x="135" y="460"/>
                  </a:lnTo>
                  <a:lnTo>
                    <a:pt x="134" y="462"/>
                  </a:lnTo>
                  <a:lnTo>
                    <a:pt x="134" y="463"/>
                  </a:lnTo>
                  <a:lnTo>
                    <a:pt x="131" y="465"/>
                  </a:lnTo>
                  <a:lnTo>
                    <a:pt x="131" y="465"/>
                  </a:lnTo>
                  <a:lnTo>
                    <a:pt x="129" y="465"/>
                  </a:lnTo>
                  <a:lnTo>
                    <a:pt x="131" y="466"/>
                  </a:lnTo>
                  <a:lnTo>
                    <a:pt x="131" y="468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1"/>
                  </a:lnTo>
                  <a:lnTo>
                    <a:pt x="132" y="473"/>
                  </a:lnTo>
                  <a:lnTo>
                    <a:pt x="132" y="473"/>
                  </a:lnTo>
                  <a:lnTo>
                    <a:pt x="134" y="473"/>
                  </a:lnTo>
                  <a:lnTo>
                    <a:pt x="134" y="473"/>
                  </a:lnTo>
                  <a:lnTo>
                    <a:pt x="134" y="476"/>
                  </a:lnTo>
                  <a:lnTo>
                    <a:pt x="132" y="477"/>
                  </a:lnTo>
                  <a:lnTo>
                    <a:pt x="132" y="479"/>
                  </a:lnTo>
                  <a:lnTo>
                    <a:pt x="134" y="480"/>
                  </a:lnTo>
                  <a:lnTo>
                    <a:pt x="135" y="483"/>
                  </a:lnTo>
                  <a:lnTo>
                    <a:pt x="137" y="486"/>
                  </a:lnTo>
                  <a:lnTo>
                    <a:pt x="137" y="488"/>
                  </a:lnTo>
                  <a:lnTo>
                    <a:pt x="137" y="488"/>
                  </a:lnTo>
                  <a:lnTo>
                    <a:pt x="137" y="490"/>
                  </a:lnTo>
                  <a:lnTo>
                    <a:pt x="138" y="490"/>
                  </a:lnTo>
                  <a:lnTo>
                    <a:pt x="138" y="491"/>
                  </a:lnTo>
                  <a:lnTo>
                    <a:pt x="132" y="483"/>
                  </a:lnTo>
                  <a:lnTo>
                    <a:pt x="131" y="482"/>
                  </a:lnTo>
                  <a:lnTo>
                    <a:pt x="131" y="485"/>
                  </a:lnTo>
                  <a:lnTo>
                    <a:pt x="129" y="488"/>
                  </a:lnTo>
                  <a:lnTo>
                    <a:pt x="128" y="486"/>
                  </a:lnTo>
                  <a:lnTo>
                    <a:pt x="129" y="483"/>
                  </a:lnTo>
                  <a:lnTo>
                    <a:pt x="128" y="483"/>
                  </a:lnTo>
                  <a:lnTo>
                    <a:pt x="128" y="483"/>
                  </a:lnTo>
                  <a:lnTo>
                    <a:pt x="126" y="483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3" y="480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8" y="477"/>
                  </a:lnTo>
                  <a:lnTo>
                    <a:pt x="118" y="476"/>
                  </a:lnTo>
                  <a:lnTo>
                    <a:pt x="118" y="476"/>
                  </a:lnTo>
                  <a:lnTo>
                    <a:pt x="118" y="474"/>
                  </a:lnTo>
                  <a:lnTo>
                    <a:pt x="117" y="473"/>
                  </a:lnTo>
                  <a:lnTo>
                    <a:pt x="115" y="471"/>
                  </a:lnTo>
                  <a:lnTo>
                    <a:pt x="115" y="471"/>
                  </a:lnTo>
                  <a:lnTo>
                    <a:pt x="114" y="471"/>
                  </a:lnTo>
                  <a:lnTo>
                    <a:pt x="114" y="471"/>
                  </a:lnTo>
                  <a:lnTo>
                    <a:pt x="114" y="473"/>
                  </a:lnTo>
                  <a:lnTo>
                    <a:pt x="114" y="474"/>
                  </a:lnTo>
                  <a:lnTo>
                    <a:pt x="114" y="477"/>
                  </a:lnTo>
                  <a:lnTo>
                    <a:pt x="112" y="479"/>
                  </a:lnTo>
                  <a:lnTo>
                    <a:pt x="114" y="479"/>
                  </a:lnTo>
                  <a:lnTo>
                    <a:pt x="117" y="480"/>
                  </a:lnTo>
                  <a:lnTo>
                    <a:pt x="118" y="482"/>
                  </a:lnTo>
                  <a:lnTo>
                    <a:pt x="118" y="485"/>
                  </a:lnTo>
                  <a:lnTo>
                    <a:pt x="117" y="483"/>
                  </a:lnTo>
                  <a:lnTo>
                    <a:pt x="115" y="483"/>
                  </a:lnTo>
                  <a:lnTo>
                    <a:pt x="115" y="485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4" y="486"/>
                  </a:lnTo>
                  <a:lnTo>
                    <a:pt x="115" y="488"/>
                  </a:lnTo>
                  <a:lnTo>
                    <a:pt x="115" y="488"/>
                  </a:lnTo>
                  <a:lnTo>
                    <a:pt x="115" y="488"/>
                  </a:lnTo>
                  <a:lnTo>
                    <a:pt x="117" y="490"/>
                  </a:lnTo>
                  <a:lnTo>
                    <a:pt x="115" y="490"/>
                  </a:lnTo>
                  <a:lnTo>
                    <a:pt x="115" y="490"/>
                  </a:lnTo>
                  <a:lnTo>
                    <a:pt x="115" y="491"/>
                  </a:lnTo>
                  <a:lnTo>
                    <a:pt x="115" y="491"/>
                  </a:lnTo>
                  <a:lnTo>
                    <a:pt x="115" y="493"/>
                  </a:lnTo>
                  <a:lnTo>
                    <a:pt x="115" y="493"/>
                  </a:lnTo>
                  <a:lnTo>
                    <a:pt x="114" y="491"/>
                  </a:lnTo>
                  <a:lnTo>
                    <a:pt x="112" y="491"/>
                  </a:lnTo>
                  <a:lnTo>
                    <a:pt x="112" y="490"/>
                  </a:lnTo>
                  <a:lnTo>
                    <a:pt x="108" y="483"/>
                  </a:lnTo>
                  <a:lnTo>
                    <a:pt x="108" y="483"/>
                  </a:lnTo>
                  <a:lnTo>
                    <a:pt x="106" y="483"/>
                  </a:lnTo>
                  <a:lnTo>
                    <a:pt x="106" y="485"/>
                  </a:lnTo>
                  <a:lnTo>
                    <a:pt x="105" y="486"/>
                  </a:lnTo>
                  <a:lnTo>
                    <a:pt x="106" y="488"/>
                  </a:lnTo>
                  <a:lnTo>
                    <a:pt x="106" y="490"/>
                  </a:lnTo>
                  <a:lnTo>
                    <a:pt x="108" y="491"/>
                  </a:lnTo>
                  <a:lnTo>
                    <a:pt x="103" y="491"/>
                  </a:lnTo>
                  <a:lnTo>
                    <a:pt x="103" y="494"/>
                  </a:lnTo>
                  <a:lnTo>
                    <a:pt x="106" y="497"/>
                  </a:lnTo>
                  <a:lnTo>
                    <a:pt x="108" y="500"/>
                  </a:lnTo>
                  <a:lnTo>
                    <a:pt x="108" y="502"/>
                  </a:lnTo>
                  <a:lnTo>
                    <a:pt x="109" y="503"/>
                  </a:lnTo>
                  <a:lnTo>
                    <a:pt x="111" y="505"/>
                  </a:lnTo>
                  <a:lnTo>
                    <a:pt x="118" y="508"/>
                  </a:lnTo>
                  <a:lnTo>
                    <a:pt x="118" y="506"/>
                  </a:lnTo>
                  <a:lnTo>
                    <a:pt x="118" y="505"/>
                  </a:lnTo>
                  <a:lnTo>
                    <a:pt x="118" y="502"/>
                  </a:lnTo>
                  <a:lnTo>
                    <a:pt x="118" y="500"/>
                  </a:lnTo>
                  <a:lnTo>
                    <a:pt x="118" y="500"/>
                  </a:lnTo>
                  <a:lnTo>
                    <a:pt x="120" y="499"/>
                  </a:lnTo>
                  <a:lnTo>
                    <a:pt x="122" y="499"/>
                  </a:lnTo>
                  <a:lnTo>
                    <a:pt x="122" y="497"/>
                  </a:lnTo>
                  <a:lnTo>
                    <a:pt x="122" y="499"/>
                  </a:lnTo>
                  <a:lnTo>
                    <a:pt x="123" y="499"/>
                  </a:lnTo>
                  <a:lnTo>
                    <a:pt x="123" y="500"/>
                  </a:lnTo>
                  <a:lnTo>
                    <a:pt x="122" y="502"/>
                  </a:lnTo>
                  <a:lnTo>
                    <a:pt x="123" y="502"/>
                  </a:lnTo>
                  <a:lnTo>
                    <a:pt x="125" y="499"/>
                  </a:lnTo>
                  <a:lnTo>
                    <a:pt x="126" y="499"/>
                  </a:lnTo>
                  <a:lnTo>
                    <a:pt x="125" y="500"/>
                  </a:lnTo>
                  <a:lnTo>
                    <a:pt x="125" y="502"/>
                  </a:lnTo>
                  <a:lnTo>
                    <a:pt x="126" y="502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8" y="505"/>
                  </a:lnTo>
                  <a:lnTo>
                    <a:pt x="128" y="505"/>
                  </a:lnTo>
                  <a:lnTo>
                    <a:pt x="128" y="505"/>
                  </a:lnTo>
                  <a:lnTo>
                    <a:pt x="126" y="506"/>
                  </a:lnTo>
                  <a:lnTo>
                    <a:pt x="128" y="506"/>
                  </a:lnTo>
                  <a:lnTo>
                    <a:pt x="129" y="506"/>
                  </a:lnTo>
                  <a:lnTo>
                    <a:pt x="129" y="505"/>
                  </a:lnTo>
                  <a:lnTo>
                    <a:pt x="131" y="506"/>
                  </a:lnTo>
                  <a:lnTo>
                    <a:pt x="131" y="506"/>
                  </a:lnTo>
                  <a:lnTo>
                    <a:pt x="132" y="508"/>
                  </a:lnTo>
                  <a:lnTo>
                    <a:pt x="137" y="511"/>
                  </a:lnTo>
                  <a:lnTo>
                    <a:pt x="138" y="513"/>
                  </a:lnTo>
                  <a:lnTo>
                    <a:pt x="135" y="513"/>
                  </a:lnTo>
                  <a:lnTo>
                    <a:pt x="134" y="511"/>
                  </a:lnTo>
                  <a:lnTo>
                    <a:pt x="132" y="510"/>
                  </a:lnTo>
                  <a:lnTo>
                    <a:pt x="132" y="508"/>
                  </a:lnTo>
                  <a:lnTo>
                    <a:pt x="129" y="508"/>
                  </a:lnTo>
                  <a:lnTo>
                    <a:pt x="129" y="510"/>
                  </a:lnTo>
                  <a:lnTo>
                    <a:pt x="125" y="511"/>
                  </a:lnTo>
                  <a:lnTo>
                    <a:pt x="125" y="513"/>
                  </a:lnTo>
                  <a:lnTo>
                    <a:pt x="126" y="513"/>
                  </a:lnTo>
                  <a:lnTo>
                    <a:pt x="126" y="513"/>
                  </a:lnTo>
                  <a:lnTo>
                    <a:pt x="126" y="514"/>
                  </a:lnTo>
                  <a:lnTo>
                    <a:pt x="126" y="514"/>
                  </a:lnTo>
                  <a:lnTo>
                    <a:pt x="126" y="516"/>
                  </a:lnTo>
                  <a:lnTo>
                    <a:pt x="128" y="516"/>
                  </a:lnTo>
                  <a:lnTo>
                    <a:pt x="131" y="520"/>
                  </a:lnTo>
                  <a:lnTo>
                    <a:pt x="132" y="522"/>
                  </a:lnTo>
                  <a:lnTo>
                    <a:pt x="135" y="520"/>
                  </a:lnTo>
                  <a:lnTo>
                    <a:pt x="135" y="522"/>
                  </a:lnTo>
                  <a:lnTo>
                    <a:pt x="134" y="522"/>
                  </a:lnTo>
                  <a:lnTo>
                    <a:pt x="134" y="523"/>
                  </a:lnTo>
                  <a:lnTo>
                    <a:pt x="132" y="523"/>
                  </a:lnTo>
                  <a:lnTo>
                    <a:pt x="134" y="527"/>
                  </a:lnTo>
                  <a:lnTo>
                    <a:pt x="135" y="528"/>
                  </a:lnTo>
                  <a:lnTo>
                    <a:pt x="137" y="528"/>
                  </a:lnTo>
                  <a:lnTo>
                    <a:pt x="137" y="527"/>
                  </a:lnTo>
                  <a:lnTo>
                    <a:pt x="138" y="527"/>
                  </a:lnTo>
                  <a:lnTo>
                    <a:pt x="140" y="527"/>
                  </a:lnTo>
                  <a:lnTo>
                    <a:pt x="140" y="528"/>
                  </a:lnTo>
                  <a:lnTo>
                    <a:pt x="138" y="530"/>
                  </a:lnTo>
                  <a:lnTo>
                    <a:pt x="137" y="531"/>
                  </a:lnTo>
                  <a:lnTo>
                    <a:pt x="137" y="533"/>
                  </a:lnTo>
                  <a:lnTo>
                    <a:pt x="148" y="530"/>
                  </a:lnTo>
                  <a:lnTo>
                    <a:pt x="149" y="528"/>
                  </a:lnTo>
                  <a:lnTo>
                    <a:pt x="148" y="528"/>
                  </a:lnTo>
                  <a:lnTo>
                    <a:pt x="148" y="527"/>
                  </a:lnTo>
                  <a:lnTo>
                    <a:pt x="149" y="527"/>
                  </a:lnTo>
                  <a:lnTo>
                    <a:pt x="149" y="527"/>
                  </a:lnTo>
                  <a:lnTo>
                    <a:pt x="149" y="528"/>
                  </a:lnTo>
                  <a:lnTo>
                    <a:pt x="151" y="528"/>
                  </a:lnTo>
                  <a:lnTo>
                    <a:pt x="151" y="528"/>
                  </a:lnTo>
                  <a:lnTo>
                    <a:pt x="151" y="528"/>
                  </a:lnTo>
                  <a:lnTo>
                    <a:pt x="152" y="528"/>
                  </a:lnTo>
                  <a:lnTo>
                    <a:pt x="152" y="528"/>
                  </a:lnTo>
                  <a:lnTo>
                    <a:pt x="152" y="530"/>
                  </a:lnTo>
                  <a:lnTo>
                    <a:pt x="152" y="533"/>
                  </a:lnTo>
                  <a:lnTo>
                    <a:pt x="154" y="536"/>
                  </a:lnTo>
                  <a:lnTo>
                    <a:pt x="154" y="537"/>
                  </a:lnTo>
                  <a:lnTo>
                    <a:pt x="155" y="536"/>
                  </a:lnTo>
                  <a:lnTo>
                    <a:pt x="155" y="534"/>
                  </a:lnTo>
                  <a:lnTo>
                    <a:pt x="157" y="533"/>
                  </a:lnTo>
                  <a:lnTo>
                    <a:pt x="157" y="533"/>
                  </a:lnTo>
                  <a:lnTo>
                    <a:pt x="157" y="531"/>
                  </a:lnTo>
                  <a:lnTo>
                    <a:pt x="158" y="530"/>
                  </a:lnTo>
                  <a:lnTo>
                    <a:pt x="158" y="530"/>
                  </a:lnTo>
                  <a:lnTo>
                    <a:pt x="158" y="528"/>
                  </a:lnTo>
                  <a:lnTo>
                    <a:pt x="158" y="525"/>
                  </a:lnTo>
                  <a:lnTo>
                    <a:pt x="158" y="523"/>
                  </a:lnTo>
                  <a:lnTo>
                    <a:pt x="157" y="522"/>
                  </a:lnTo>
                  <a:lnTo>
                    <a:pt x="158" y="523"/>
                  </a:lnTo>
                  <a:lnTo>
                    <a:pt x="160" y="525"/>
                  </a:lnTo>
                  <a:lnTo>
                    <a:pt x="162" y="528"/>
                  </a:lnTo>
                  <a:lnTo>
                    <a:pt x="162" y="528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8" y="530"/>
                  </a:lnTo>
                  <a:lnTo>
                    <a:pt x="171" y="530"/>
                  </a:lnTo>
                  <a:lnTo>
                    <a:pt x="172" y="528"/>
                  </a:lnTo>
                  <a:lnTo>
                    <a:pt x="172" y="530"/>
                  </a:lnTo>
                  <a:lnTo>
                    <a:pt x="165" y="533"/>
                  </a:lnTo>
                  <a:lnTo>
                    <a:pt x="165" y="534"/>
                  </a:lnTo>
                  <a:lnTo>
                    <a:pt x="163" y="534"/>
                  </a:lnTo>
                  <a:lnTo>
                    <a:pt x="163" y="537"/>
                  </a:lnTo>
                  <a:lnTo>
                    <a:pt x="162" y="537"/>
                  </a:lnTo>
                  <a:lnTo>
                    <a:pt x="162" y="539"/>
                  </a:lnTo>
                  <a:lnTo>
                    <a:pt x="162" y="540"/>
                  </a:lnTo>
                  <a:lnTo>
                    <a:pt x="162" y="540"/>
                  </a:lnTo>
                  <a:lnTo>
                    <a:pt x="160" y="540"/>
                  </a:lnTo>
                  <a:lnTo>
                    <a:pt x="160" y="542"/>
                  </a:lnTo>
                  <a:lnTo>
                    <a:pt x="162" y="542"/>
                  </a:lnTo>
                  <a:lnTo>
                    <a:pt x="158" y="545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0"/>
                  </a:lnTo>
                  <a:lnTo>
                    <a:pt x="165" y="550"/>
                  </a:lnTo>
                  <a:lnTo>
                    <a:pt x="166" y="548"/>
                  </a:lnTo>
                  <a:lnTo>
                    <a:pt x="168" y="547"/>
                  </a:lnTo>
                  <a:lnTo>
                    <a:pt x="171" y="540"/>
                  </a:lnTo>
                  <a:lnTo>
                    <a:pt x="172" y="540"/>
                  </a:lnTo>
                  <a:lnTo>
                    <a:pt x="172" y="539"/>
                  </a:lnTo>
                  <a:lnTo>
                    <a:pt x="174" y="539"/>
                  </a:lnTo>
                  <a:lnTo>
                    <a:pt x="175" y="537"/>
                  </a:lnTo>
                  <a:lnTo>
                    <a:pt x="177" y="536"/>
                  </a:lnTo>
                  <a:lnTo>
                    <a:pt x="177" y="533"/>
                  </a:lnTo>
                  <a:lnTo>
                    <a:pt x="177" y="531"/>
                  </a:lnTo>
                  <a:lnTo>
                    <a:pt x="180" y="531"/>
                  </a:lnTo>
                  <a:lnTo>
                    <a:pt x="182" y="531"/>
                  </a:lnTo>
                  <a:lnTo>
                    <a:pt x="185" y="528"/>
                  </a:lnTo>
                  <a:lnTo>
                    <a:pt x="186" y="527"/>
                  </a:lnTo>
                  <a:lnTo>
                    <a:pt x="186" y="525"/>
                  </a:lnTo>
                  <a:lnTo>
                    <a:pt x="186" y="523"/>
                  </a:lnTo>
                  <a:lnTo>
                    <a:pt x="186" y="522"/>
                  </a:lnTo>
                  <a:lnTo>
                    <a:pt x="186" y="522"/>
                  </a:lnTo>
                  <a:lnTo>
                    <a:pt x="188" y="517"/>
                  </a:lnTo>
                  <a:lnTo>
                    <a:pt x="182" y="517"/>
                  </a:lnTo>
                  <a:lnTo>
                    <a:pt x="180" y="516"/>
                  </a:lnTo>
                  <a:lnTo>
                    <a:pt x="179" y="516"/>
                  </a:lnTo>
                  <a:lnTo>
                    <a:pt x="175" y="517"/>
                  </a:lnTo>
                  <a:lnTo>
                    <a:pt x="174" y="519"/>
                  </a:lnTo>
                  <a:lnTo>
                    <a:pt x="171" y="519"/>
                  </a:lnTo>
                  <a:lnTo>
                    <a:pt x="171" y="519"/>
                  </a:lnTo>
                  <a:lnTo>
                    <a:pt x="171" y="520"/>
                  </a:lnTo>
                  <a:lnTo>
                    <a:pt x="169" y="520"/>
                  </a:lnTo>
                  <a:lnTo>
                    <a:pt x="168" y="520"/>
                  </a:lnTo>
                  <a:lnTo>
                    <a:pt x="168" y="520"/>
                  </a:lnTo>
                  <a:lnTo>
                    <a:pt x="168" y="519"/>
                  </a:lnTo>
                  <a:lnTo>
                    <a:pt x="166" y="517"/>
                  </a:lnTo>
                  <a:lnTo>
                    <a:pt x="166" y="517"/>
                  </a:lnTo>
                  <a:lnTo>
                    <a:pt x="163" y="517"/>
                  </a:lnTo>
                  <a:lnTo>
                    <a:pt x="163" y="517"/>
                  </a:lnTo>
                  <a:lnTo>
                    <a:pt x="162" y="516"/>
                  </a:lnTo>
                  <a:lnTo>
                    <a:pt x="160" y="514"/>
                  </a:lnTo>
                  <a:lnTo>
                    <a:pt x="158" y="516"/>
                  </a:lnTo>
                  <a:lnTo>
                    <a:pt x="157" y="516"/>
                  </a:lnTo>
                  <a:lnTo>
                    <a:pt x="155" y="516"/>
                  </a:lnTo>
                  <a:lnTo>
                    <a:pt x="155" y="516"/>
                  </a:lnTo>
                  <a:lnTo>
                    <a:pt x="157" y="514"/>
                  </a:lnTo>
                  <a:lnTo>
                    <a:pt x="158" y="513"/>
                  </a:lnTo>
                  <a:lnTo>
                    <a:pt x="157" y="511"/>
                  </a:lnTo>
                  <a:lnTo>
                    <a:pt x="155" y="511"/>
                  </a:lnTo>
                  <a:lnTo>
                    <a:pt x="149" y="513"/>
                  </a:lnTo>
                  <a:lnTo>
                    <a:pt x="151" y="511"/>
                  </a:lnTo>
                  <a:lnTo>
                    <a:pt x="152" y="510"/>
                  </a:lnTo>
                  <a:lnTo>
                    <a:pt x="154" y="508"/>
                  </a:lnTo>
                  <a:lnTo>
                    <a:pt x="152" y="508"/>
                  </a:lnTo>
                  <a:lnTo>
                    <a:pt x="152" y="506"/>
                  </a:lnTo>
                  <a:lnTo>
                    <a:pt x="151" y="505"/>
                  </a:lnTo>
                  <a:lnTo>
                    <a:pt x="151" y="503"/>
                  </a:lnTo>
                  <a:lnTo>
                    <a:pt x="151" y="502"/>
                  </a:lnTo>
                  <a:lnTo>
                    <a:pt x="152" y="500"/>
                  </a:lnTo>
                  <a:lnTo>
                    <a:pt x="152" y="499"/>
                  </a:lnTo>
                  <a:lnTo>
                    <a:pt x="151" y="499"/>
                  </a:lnTo>
                  <a:lnTo>
                    <a:pt x="151" y="497"/>
                  </a:lnTo>
                  <a:lnTo>
                    <a:pt x="149" y="499"/>
                  </a:lnTo>
                  <a:lnTo>
                    <a:pt x="148" y="499"/>
                  </a:lnTo>
                  <a:lnTo>
                    <a:pt x="148" y="500"/>
                  </a:lnTo>
                  <a:lnTo>
                    <a:pt x="148" y="499"/>
                  </a:lnTo>
                  <a:lnTo>
                    <a:pt x="149" y="497"/>
                  </a:lnTo>
                  <a:lnTo>
                    <a:pt x="149" y="496"/>
                  </a:lnTo>
                  <a:lnTo>
                    <a:pt x="151" y="494"/>
                  </a:lnTo>
                  <a:lnTo>
                    <a:pt x="151" y="491"/>
                  </a:lnTo>
                  <a:lnTo>
                    <a:pt x="151" y="488"/>
                  </a:lnTo>
                  <a:lnTo>
                    <a:pt x="151" y="486"/>
                  </a:lnTo>
                  <a:lnTo>
                    <a:pt x="151" y="483"/>
                  </a:lnTo>
                  <a:lnTo>
                    <a:pt x="149" y="473"/>
                  </a:lnTo>
                  <a:lnTo>
                    <a:pt x="149" y="473"/>
                  </a:lnTo>
                  <a:close/>
                  <a:moveTo>
                    <a:pt x="74" y="456"/>
                  </a:moveTo>
                  <a:lnTo>
                    <a:pt x="75" y="454"/>
                  </a:lnTo>
                  <a:lnTo>
                    <a:pt x="74" y="453"/>
                  </a:lnTo>
                  <a:lnTo>
                    <a:pt x="74" y="453"/>
                  </a:lnTo>
                  <a:lnTo>
                    <a:pt x="69" y="456"/>
                  </a:lnTo>
                  <a:lnTo>
                    <a:pt x="72" y="457"/>
                  </a:lnTo>
                  <a:lnTo>
                    <a:pt x="74" y="456"/>
                  </a:lnTo>
                  <a:close/>
                  <a:moveTo>
                    <a:pt x="80" y="433"/>
                  </a:moveTo>
                  <a:lnTo>
                    <a:pt x="81" y="433"/>
                  </a:lnTo>
                  <a:lnTo>
                    <a:pt x="83" y="433"/>
                  </a:lnTo>
                  <a:lnTo>
                    <a:pt x="83" y="431"/>
                  </a:lnTo>
                  <a:lnTo>
                    <a:pt x="83" y="429"/>
                  </a:lnTo>
                  <a:lnTo>
                    <a:pt x="86" y="431"/>
                  </a:lnTo>
                  <a:lnTo>
                    <a:pt x="86" y="431"/>
                  </a:lnTo>
                  <a:lnTo>
                    <a:pt x="86" y="428"/>
                  </a:lnTo>
                  <a:lnTo>
                    <a:pt x="85" y="426"/>
                  </a:lnTo>
                  <a:lnTo>
                    <a:pt x="83" y="428"/>
                  </a:lnTo>
                  <a:lnTo>
                    <a:pt x="80" y="431"/>
                  </a:lnTo>
                  <a:lnTo>
                    <a:pt x="80" y="431"/>
                  </a:lnTo>
                  <a:lnTo>
                    <a:pt x="81" y="431"/>
                  </a:lnTo>
                  <a:lnTo>
                    <a:pt x="81" y="431"/>
                  </a:lnTo>
                  <a:lnTo>
                    <a:pt x="80" y="433"/>
                  </a:lnTo>
                  <a:close/>
                  <a:moveTo>
                    <a:pt x="95" y="383"/>
                  </a:move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5" y="385"/>
                  </a:lnTo>
                  <a:lnTo>
                    <a:pt x="95" y="386"/>
                  </a:lnTo>
                  <a:lnTo>
                    <a:pt x="101" y="386"/>
                  </a:lnTo>
                  <a:lnTo>
                    <a:pt x="101" y="385"/>
                  </a:lnTo>
                  <a:lnTo>
                    <a:pt x="101" y="383"/>
                  </a:lnTo>
                  <a:lnTo>
                    <a:pt x="100" y="383"/>
                  </a:lnTo>
                  <a:lnTo>
                    <a:pt x="100" y="382"/>
                  </a:lnTo>
                  <a:lnTo>
                    <a:pt x="100" y="383"/>
                  </a:lnTo>
                  <a:lnTo>
                    <a:pt x="97" y="380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5" y="383"/>
                  </a:lnTo>
                  <a:lnTo>
                    <a:pt x="95" y="383"/>
                  </a:lnTo>
                  <a:close/>
                  <a:moveTo>
                    <a:pt x="78" y="399"/>
                  </a:moveTo>
                  <a:lnTo>
                    <a:pt x="78" y="400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81" y="406"/>
                  </a:lnTo>
                  <a:lnTo>
                    <a:pt x="81" y="406"/>
                  </a:lnTo>
                  <a:lnTo>
                    <a:pt x="85" y="405"/>
                  </a:lnTo>
                  <a:lnTo>
                    <a:pt x="85" y="405"/>
                  </a:lnTo>
                  <a:lnTo>
                    <a:pt x="85" y="406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8"/>
                  </a:lnTo>
                  <a:lnTo>
                    <a:pt x="85" y="408"/>
                  </a:lnTo>
                  <a:lnTo>
                    <a:pt x="83" y="408"/>
                  </a:lnTo>
                  <a:lnTo>
                    <a:pt x="83" y="409"/>
                  </a:lnTo>
                  <a:lnTo>
                    <a:pt x="81" y="411"/>
                  </a:lnTo>
                  <a:lnTo>
                    <a:pt x="85" y="411"/>
                  </a:lnTo>
                  <a:lnTo>
                    <a:pt x="91" y="408"/>
                  </a:lnTo>
                  <a:lnTo>
                    <a:pt x="86" y="411"/>
                  </a:lnTo>
                  <a:lnTo>
                    <a:pt x="85" y="413"/>
                  </a:lnTo>
                  <a:lnTo>
                    <a:pt x="81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0" y="416"/>
                  </a:lnTo>
                  <a:lnTo>
                    <a:pt x="80" y="416"/>
                  </a:lnTo>
                  <a:lnTo>
                    <a:pt x="78" y="417"/>
                  </a:lnTo>
                  <a:lnTo>
                    <a:pt x="81" y="420"/>
                  </a:lnTo>
                  <a:lnTo>
                    <a:pt x="81" y="420"/>
                  </a:lnTo>
                  <a:lnTo>
                    <a:pt x="83" y="419"/>
                  </a:lnTo>
                  <a:lnTo>
                    <a:pt x="83" y="422"/>
                  </a:lnTo>
                  <a:lnTo>
                    <a:pt x="86" y="422"/>
                  </a:lnTo>
                  <a:lnTo>
                    <a:pt x="91" y="422"/>
                  </a:lnTo>
                  <a:lnTo>
                    <a:pt x="91" y="422"/>
                  </a:lnTo>
                  <a:lnTo>
                    <a:pt x="94" y="425"/>
                  </a:lnTo>
                  <a:lnTo>
                    <a:pt x="94" y="425"/>
                  </a:lnTo>
                  <a:lnTo>
                    <a:pt x="98" y="425"/>
                  </a:lnTo>
                  <a:lnTo>
                    <a:pt x="98" y="426"/>
                  </a:lnTo>
                  <a:lnTo>
                    <a:pt x="98" y="426"/>
                  </a:lnTo>
                  <a:lnTo>
                    <a:pt x="97" y="426"/>
                  </a:lnTo>
                  <a:lnTo>
                    <a:pt x="97" y="428"/>
                  </a:lnTo>
                  <a:lnTo>
                    <a:pt x="97" y="428"/>
                  </a:lnTo>
                  <a:lnTo>
                    <a:pt x="97" y="428"/>
                  </a:lnTo>
                  <a:lnTo>
                    <a:pt x="98" y="429"/>
                  </a:lnTo>
                  <a:lnTo>
                    <a:pt x="98" y="429"/>
                  </a:lnTo>
                  <a:lnTo>
                    <a:pt x="97" y="428"/>
                  </a:lnTo>
                  <a:lnTo>
                    <a:pt x="95" y="428"/>
                  </a:lnTo>
                  <a:lnTo>
                    <a:pt x="94" y="428"/>
                  </a:lnTo>
                  <a:lnTo>
                    <a:pt x="89" y="431"/>
                  </a:lnTo>
                  <a:lnTo>
                    <a:pt x="89" y="431"/>
                  </a:lnTo>
                  <a:lnTo>
                    <a:pt x="92" y="434"/>
                  </a:lnTo>
                  <a:lnTo>
                    <a:pt x="89" y="434"/>
                  </a:lnTo>
                  <a:lnTo>
                    <a:pt x="88" y="434"/>
                  </a:lnTo>
                  <a:lnTo>
                    <a:pt x="86" y="436"/>
                  </a:lnTo>
                  <a:lnTo>
                    <a:pt x="80" y="442"/>
                  </a:lnTo>
                  <a:lnTo>
                    <a:pt x="80" y="440"/>
                  </a:lnTo>
                  <a:lnTo>
                    <a:pt x="80" y="439"/>
                  </a:lnTo>
                  <a:lnTo>
                    <a:pt x="80" y="439"/>
                  </a:lnTo>
                  <a:lnTo>
                    <a:pt x="78" y="439"/>
                  </a:lnTo>
                  <a:lnTo>
                    <a:pt x="77" y="439"/>
                  </a:lnTo>
                  <a:lnTo>
                    <a:pt x="77" y="439"/>
                  </a:lnTo>
                  <a:lnTo>
                    <a:pt x="78" y="440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83" y="448"/>
                  </a:lnTo>
                  <a:lnTo>
                    <a:pt x="85" y="448"/>
                  </a:lnTo>
                  <a:lnTo>
                    <a:pt x="88" y="453"/>
                  </a:lnTo>
                  <a:lnTo>
                    <a:pt x="89" y="453"/>
                  </a:lnTo>
                  <a:lnTo>
                    <a:pt x="89" y="451"/>
                  </a:lnTo>
                  <a:lnTo>
                    <a:pt x="94" y="448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7" y="445"/>
                  </a:lnTo>
                  <a:lnTo>
                    <a:pt x="97" y="443"/>
                  </a:lnTo>
                  <a:lnTo>
                    <a:pt x="98" y="442"/>
                  </a:lnTo>
                  <a:lnTo>
                    <a:pt x="98" y="442"/>
                  </a:lnTo>
                  <a:lnTo>
                    <a:pt x="97" y="440"/>
                  </a:lnTo>
                  <a:lnTo>
                    <a:pt x="97" y="440"/>
                  </a:lnTo>
                  <a:lnTo>
                    <a:pt x="97" y="439"/>
                  </a:lnTo>
                  <a:lnTo>
                    <a:pt x="101" y="442"/>
                  </a:lnTo>
                  <a:lnTo>
                    <a:pt x="103" y="442"/>
                  </a:lnTo>
                  <a:lnTo>
                    <a:pt x="103" y="442"/>
                  </a:lnTo>
                  <a:lnTo>
                    <a:pt x="101" y="442"/>
                  </a:lnTo>
                  <a:lnTo>
                    <a:pt x="101" y="440"/>
                  </a:lnTo>
                  <a:lnTo>
                    <a:pt x="103" y="440"/>
                  </a:lnTo>
                  <a:lnTo>
                    <a:pt x="105" y="440"/>
                  </a:lnTo>
                  <a:lnTo>
                    <a:pt x="106" y="439"/>
                  </a:lnTo>
                  <a:lnTo>
                    <a:pt x="106" y="439"/>
                  </a:lnTo>
                  <a:lnTo>
                    <a:pt x="106" y="437"/>
                  </a:lnTo>
                  <a:lnTo>
                    <a:pt x="105" y="434"/>
                  </a:lnTo>
                  <a:lnTo>
                    <a:pt x="103" y="434"/>
                  </a:lnTo>
                  <a:lnTo>
                    <a:pt x="101" y="433"/>
                  </a:lnTo>
                  <a:lnTo>
                    <a:pt x="101" y="433"/>
                  </a:lnTo>
                  <a:lnTo>
                    <a:pt x="101" y="431"/>
                  </a:lnTo>
                  <a:lnTo>
                    <a:pt x="101" y="431"/>
                  </a:lnTo>
                  <a:lnTo>
                    <a:pt x="103" y="429"/>
                  </a:lnTo>
                  <a:lnTo>
                    <a:pt x="103" y="429"/>
                  </a:lnTo>
                  <a:lnTo>
                    <a:pt x="106" y="431"/>
                  </a:lnTo>
                  <a:lnTo>
                    <a:pt x="112" y="433"/>
                  </a:lnTo>
                  <a:lnTo>
                    <a:pt x="111" y="429"/>
                  </a:lnTo>
                  <a:lnTo>
                    <a:pt x="111" y="428"/>
                  </a:lnTo>
                  <a:lnTo>
                    <a:pt x="111" y="428"/>
                  </a:lnTo>
                  <a:lnTo>
                    <a:pt x="111" y="428"/>
                  </a:lnTo>
                  <a:lnTo>
                    <a:pt x="109" y="428"/>
                  </a:lnTo>
                  <a:lnTo>
                    <a:pt x="109" y="426"/>
                  </a:lnTo>
                  <a:lnTo>
                    <a:pt x="109" y="426"/>
                  </a:lnTo>
                  <a:lnTo>
                    <a:pt x="111" y="426"/>
                  </a:lnTo>
                  <a:lnTo>
                    <a:pt x="111" y="426"/>
                  </a:lnTo>
                  <a:lnTo>
                    <a:pt x="111" y="426"/>
                  </a:lnTo>
                  <a:lnTo>
                    <a:pt x="111" y="425"/>
                  </a:lnTo>
                  <a:lnTo>
                    <a:pt x="109" y="423"/>
                  </a:lnTo>
                  <a:lnTo>
                    <a:pt x="109" y="422"/>
                  </a:lnTo>
                  <a:lnTo>
                    <a:pt x="108" y="422"/>
                  </a:lnTo>
                  <a:lnTo>
                    <a:pt x="106" y="420"/>
                  </a:lnTo>
                  <a:lnTo>
                    <a:pt x="105" y="417"/>
                  </a:lnTo>
                  <a:lnTo>
                    <a:pt x="105" y="416"/>
                  </a:lnTo>
                  <a:lnTo>
                    <a:pt x="106" y="414"/>
                  </a:lnTo>
                  <a:lnTo>
                    <a:pt x="108" y="413"/>
                  </a:lnTo>
                  <a:lnTo>
                    <a:pt x="109" y="409"/>
                  </a:lnTo>
                  <a:lnTo>
                    <a:pt x="109" y="408"/>
                  </a:lnTo>
                  <a:lnTo>
                    <a:pt x="109" y="408"/>
                  </a:lnTo>
                  <a:lnTo>
                    <a:pt x="117" y="408"/>
                  </a:lnTo>
                  <a:lnTo>
                    <a:pt x="117" y="408"/>
                  </a:lnTo>
                  <a:lnTo>
                    <a:pt x="114" y="408"/>
                  </a:lnTo>
                  <a:lnTo>
                    <a:pt x="111" y="409"/>
                  </a:lnTo>
                  <a:lnTo>
                    <a:pt x="109" y="411"/>
                  </a:lnTo>
                  <a:lnTo>
                    <a:pt x="108" y="416"/>
                  </a:lnTo>
                  <a:lnTo>
                    <a:pt x="108" y="417"/>
                  </a:lnTo>
                  <a:lnTo>
                    <a:pt x="109" y="419"/>
                  </a:lnTo>
                  <a:lnTo>
                    <a:pt x="111" y="423"/>
                  </a:lnTo>
                  <a:lnTo>
                    <a:pt x="111" y="425"/>
                  </a:lnTo>
                  <a:lnTo>
                    <a:pt x="112" y="426"/>
                  </a:lnTo>
                  <a:lnTo>
                    <a:pt x="112" y="426"/>
                  </a:lnTo>
                  <a:lnTo>
                    <a:pt x="115" y="428"/>
                  </a:lnTo>
                  <a:lnTo>
                    <a:pt x="115" y="426"/>
                  </a:lnTo>
                  <a:lnTo>
                    <a:pt x="115" y="426"/>
                  </a:lnTo>
                  <a:lnTo>
                    <a:pt x="114" y="425"/>
                  </a:lnTo>
                  <a:lnTo>
                    <a:pt x="114" y="422"/>
                  </a:lnTo>
                  <a:lnTo>
                    <a:pt x="114" y="422"/>
                  </a:lnTo>
                  <a:lnTo>
                    <a:pt x="115" y="422"/>
                  </a:lnTo>
                  <a:lnTo>
                    <a:pt x="115" y="423"/>
                  </a:lnTo>
                  <a:lnTo>
                    <a:pt x="115" y="425"/>
                  </a:lnTo>
                  <a:lnTo>
                    <a:pt x="117" y="426"/>
                  </a:lnTo>
                  <a:lnTo>
                    <a:pt x="118" y="428"/>
                  </a:lnTo>
                  <a:lnTo>
                    <a:pt x="120" y="428"/>
                  </a:lnTo>
                  <a:lnTo>
                    <a:pt x="122" y="426"/>
                  </a:lnTo>
                  <a:lnTo>
                    <a:pt x="122" y="426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0" y="423"/>
                  </a:lnTo>
                  <a:lnTo>
                    <a:pt x="122" y="425"/>
                  </a:lnTo>
                  <a:lnTo>
                    <a:pt x="122" y="425"/>
                  </a:lnTo>
                  <a:lnTo>
                    <a:pt x="123" y="425"/>
                  </a:lnTo>
                  <a:lnTo>
                    <a:pt x="125" y="423"/>
                  </a:lnTo>
                  <a:lnTo>
                    <a:pt x="125" y="423"/>
                  </a:lnTo>
                  <a:lnTo>
                    <a:pt x="126" y="420"/>
                  </a:lnTo>
                  <a:lnTo>
                    <a:pt x="128" y="420"/>
                  </a:lnTo>
                  <a:lnTo>
                    <a:pt x="128" y="419"/>
                  </a:lnTo>
                  <a:lnTo>
                    <a:pt x="126" y="417"/>
                  </a:lnTo>
                  <a:lnTo>
                    <a:pt x="123" y="417"/>
                  </a:lnTo>
                  <a:lnTo>
                    <a:pt x="122" y="416"/>
                  </a:lnTo>
                  <a:lnTo>
                    <a:pt x="120" y="416"/>
                  </a:lnTo>
                  <a:lnTo>
                    <a:pt x="120" y="414"/>
                  </a:lnTo>
                  <a:lnTo>
                    <a:pt x="120" y="413"/>
                  </a:lnTo>
                  <a:lnTo>
                    <a:pt x="122" y="414"/>
                  </a:lnTo>
                  <a:lnTo>
                    <a:pt x="123" y="414"/>
                  </a:lnTo>
                  <a:lnTo>
                    <a:pt x="129" y="416"/>
                  </a:lnTo>
                  <a:lnTo>
                    <a:pt x="131" y="414"/>
                  </a:lnTo>
                  <a:lnTo>
                    <a:pt x="132" y="414"/>
                  </a:lnTo>
                  <a:lnTo>
                    <a:pt x="134" y="413"/>
                  </a:lnTo>
                  <a:lnTo>
                    <a:pt x="135" y="411"/>
                  </a:lnTo>
                  <a:lnTo>
                    <a:pt x="134" y="411"/>
                  </a:lnTo>
                  <a:lnTo>
                    <a:pt x="132" y="411"/>
                  </a:lnTo>
                  <a:lnTo>
                    <a:pt x="132" y="409"/>
                  </a:lnTo>
                  <a:lnTo>
                    <a:pt x="131" y="409"/>
                  </a:lnTo>
                  <a:lnTo>
                    <a:pt x="132" y="409"/>
                  </a:lnTo>
                  <a:lnTo>
                    <a:pt x="132" y="409"/>
                  </a:lnTo>
                  <a:lnTo>
                    <a:pt x="134" y="408"/>
                  </a:lnTo>
                  <a:lnTo>
                    <a:pt x="134" y="408"/>
                  </a:lnTo>
                  <a:lnTo>
                    <a:pt x="132" y="406"/>
                  </a:lnTo>
                  <a:lnTo>
                    <a:pt x="132" y="406"/>
                  </a:lnTo>
                  <a:lnTo>
                    <a:pt x="132" y="405"/>
                  </a:lnTo>
                  <a:lnTo>
                    <a:pt x="132" y="403"/>
                  </a:lnTo>
                  <a:lnTo>
                    <a:pt x="132" y="402"/>
                  </a:lnTo>
                  <a:lnTo>
                    <a:pt x="131" y="400"/>
                  </a:lnTo>
                  <a:lnTo>
                    <a:pt x="129" y="400"/>
                  </a:lnTo>
                  <a:lnTo>
                    <a:pt x="128" y="402"/>
                  </a:lnTo>
                  <a:lnTo>
                    <a:pt x="117" y="405"/>
                  </a:lnTo>
                  <a:lnTo>
                    <a:pt x="115" y="405"/>
                  </a:lnTo>
                  <a:lnTo>
                    <a:pt x="115" y="403"/>
                  </a:lnTo>
                  <a:lnTo>
                    <a:pt x="115" y="403"/>
                  </a:lnTo>
                  <a:lnTo>
                    <a:pt x="120" y="403"/>
                  </a:lnTo>
                  <a:lnTo>
                    <a:pt x="122" y="400"/>
                  </a:lnTo>
                  <a:lnTo>
                    <a:pt x="123" y="400"/>
                  </a:lnTo>
                  <a:lnTo>
                    <a:pt x="123" y="402"/>
                  </a:lnTo>
                  <a:lnTo>
                    <a:pt x="125" y="402"/>
                  </a:lnTo>
                  <a:lnTo>
                    <a:pt x="126" y="400"/>
                  </a:lnTo>
                  <a:lnTo>
                    <a:pt x="128" y="397"/>
                  </a:lnTo>
                  <a:lnTo>
                    <a:pt x="132" y="397"/>
                  </a:lnTo>
                  <a:lnTo>
                    <a:pt x="134" y="396"/>
                  </a:lnTo>
                  <a:lnTo>
                    <a:pt x="132" y="396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4" y="393"/>
                  </a:lnTo>
                  <a:lnTo>
                    <a:pt x="132" y="391"/>
                  </a:lnTo>
                  <a:lnTo>
                    <a:pt x="131" y="386"/>
                  </a:lnTo>
                  <a:lnTo>
                    <a:pt x="132" y="386"/>
                  </a:lnTo>
                  <a:lnTo>
                    <a:pt x="134" y="388"/>
                  </a:lnTo>
                  <a:lnTo>
                    <a:pt x="135" y="388"/>
                  </a:lnTo>
                  <a:lnTo>
                    <a:pt x="138" y="388"/>
                  </a:lnTo>
                  <a:lnTo>
                    <a:pt x="140" y="388"/>
                  </a:lnTo>
                  <a:lnTo>
                    <a:pt x="143" y="389"/>
                  </a:lnTo>
                  <a:lnTo>
                    <a:pt x="143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6" y="388"/>
                  </a:lnTo>
                  <a:lnTo>
                    <a:pt x="146" y="386"/>
                  </a:lnTo>
                  <a:lnTo>
                    <a:pt x="148" y="386"/>
                  </a:lnTo>
                  <a:lnTo>
                    <a:pt x="149" y="385"/>
                  </a:lnTo>
                  <a:lnTo>
                    <a:pt x="149" y="383"/>
                  </a:lnTo>
                  <a:lnTo>
                    <a:pt x="148" y="383"/>
                  </a:lnTo>
                  <a:lnTo>
                    <a:pt x="149" y="383"/>
                  </a:lnTo>
                  <a:lnTo>
                    <a:pt x="149" y="382"/>
                  </a:lnTo>
                  <a:lnTo>
                    <a:pt x="149" y="382"/>
                  </a:lnTo>
                  <a:lnTo>
                    <a:pt x="149" y="382"/>
                  </a:lnTo>
                  <a:lnTo>
                    <a:pt x="149" y="380"/>
                  </a:lnTo>
                  <a:lnTo>
                    <a:pt x="149" y="379"/>
                  </a:lnTo>
                  <a:lnTo>
                    <a:pt x="149" y="379"/>
                  </a:lnTo>
                  <a:lnTo>
                    <a:pt x="148" y="380"/>
                  </a:lnTo>
                  <a:lnTo>
                    <a:pt x="146" y="380"/>
                  </a:lnTo>
                  <a:lnTo>
                    <a:pt x="143" y="385"/>
                  </a:lnTo>
                  <a:lnTo>
                    <a:pt x="140" y="385"/>
                  </a:lnTo>
                  <a:lnTo>
                    <a:pt x="138" y="385"/>
                  </a:lnTo>
                  <a:lnTo>
                    <a:pt x="135" y="385"/>
                  </a:lnTo>
                  <a:lnTo>
                    <a:pt x="134" y="382"/>
                  </a:lnTo>
                  <a:lnTo>
                    <a:pt x="135" y="382"/>
                  </a:lnTo>
                  <a:lnTo>
                    <a:pt x="137" y="382"/>
                  </a:lnTo>
                  <a:lnTo>
                    <a:pt x="137" y="382"/>
                  </a:lnTo>
                  <a:lnTo>
                    <a:pt x="137" y="380"/>
                  </a:lnTo>
                  <a:lnTo>
                    <a:pt x="137" y="379"/>
                  </a:lnTo>
                  <a:lnTo>
                    <a:pt x="137" y="379"/>
                  </a:lnTo>
                  <a:lnTo>
                    <a:pt x="140" y="377"/>
                  </a:lnTo>
                  <a:lnTo>
                    <a:pt x="140" y="376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3" y="374"/>
                  </a:lnTo>
                  <a:lnTo>
                    <a:pt x="143" y="373"/>
                  </a:lnTo>
                  <a:lnTo>
                    <a:pt x="142" y="371"/>
                  </a:lnTo>
                  <a:lnTo>
                    <a:pt x="143" y="371"/>
                  </a:lnTo>
                  <a:lnTo>
                    <a:pt x="146" y="368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6" y="365"/>
                  </a:lnTo>
                  <a:lnTo>
                    <a:pt x="146" y="365"/>
                  </a:lnTo>
                  <a:lnTo>
                    <a:pt x="145" y="363"/>
                  </a:lnTo>
                  <a:lnTo>
                    <a:pt x="146" y="359"/>
                  </a:lnTo>
                  <a:lnTo>
                    <a:pt x="148" y="357"/>
                  </a:lnTo>
                  <a:lnTo>
                    <a:pt x="149" y="357"/>
                  </a:lnTo>
                  <a:lnTo>
                    <a:pt x="148" y="356"/>
                  </a:lnTo>
                  <a:lnTo>
                    <a:pt x="148" y="352"/>
                  </a:lnTo>
                  <a:lnTo>
                    <a:pt x="146" y="351"/>
                  </a:lnTo>
                  <a:lnTo>
                    <a:pt x="146" y="348"/>
                  </a:lnTo>
                  <a:lnTo>
                    <a:pt x="145" y="345"/>
                  </a:lnTo>
                  <a:lnTo>
                    <a:pt x="143" y="343"/>
                  </a:lnTo>
                  <a:lnTo>
                    <a:pt x="142" y="343"/>
                  </a:lnTo>
                  <a:lnTo>
                    <a:pt x="138" y="346"/>
                  </a:lnTo>
                  <a:lnTo>
                    <a:pt x="135" y="351"/>
                  </a:lnTo>
                  <a:lnTo>
                    <a:pt x="122" y="360"/>
                  </a:lnTo>
                  <a:lnTo>
                    <a:pt x="120" y="363"/>
                  </a:lnTo>
                  <a:lnTo>
                    <a:pt x="120" y="363"/>
                  </a:lnTo>
                  <a:lnTo>
                    <a:pt x="115" y="366"/>
                  </a:lnTo>
                  <a:lnTo>
                    <a:pt x="112" y="366"/>
                  </a:lnTo>
                  <a:lnTo>
                    <a:pt x="111" y="366"/>
                  </a:lnTo>
                  <a:lnTo>
                    <a:pt x="109" y="368"/>
                  </a:lnTo>
                  <a:lnTo>
                    <a:pt x="109" y="368"/>
                  </a:lnTo>
                  <a:lnTo>
                    <a:pt x="109" y="368"/>
                  </a:lnTo>
                  <a:lnTo>
                    <a:pt x="108" y="368"/>
                  </a:lnTo>
                  <a:lnTo>
                    <a:pt x="106" y="369"/>
                  </a:lnTo>
                  <a:lnTo>
                    <a:pt x="100" y="376"/>
                  </a:lnTo>
                  <a:lnTo>
                    <a:pt x="101" y="376"/>
                  </a:lnTo>
                  <a:lnTo>
                    <a:pt x="101" y="376"/>
                  </a:lnTo>
                  <a:lnTo>
                    <a:pt x="101" y="377"/>
                  </a:lnTo>
                  <a:lnTo>
                    <a:pt x="101" y="377"/>
                  </a:lnTo>
                  <a:lnTo>
                    <a:pt x="101" y="377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100" y="379"/>
                  </a:lnTo>
                  <a:lnTo>
                    <a:pt x="101" y="379"/>
                  </a:lnTo>
                  <a:lnTo>
                    <a:pt x="101" y="380"/>
                  </a:lnTo>
                  <a:lnTo>
                    <a:pt x="101" y="382"/>
                  </a:lnTo>
                  <a:lnTo>
                    <a:pt x="101" y="382"/>
                  </a:lnTo>
                  <a:lnTo>
                    <a:pt x="103" y="383"/>
                  </a:lnTo>
                  <a:lnTo>
                    <a:pt x="103" y="383"/>
                  </a:lnTo>
                  <a:lnTo>
                    <a:pt x="103" y="383"/>
                  </a:lnTo>
                  <a:lnTo>
                    <a:pt x="105" y="383"/>
                  </a:lnTo>
                  <a:lnTo>
                    <a:pt x="105" y="383"/>
                  </a:lnTo>
                  <a:lnTo>
                    <a:pt x="105" y="385"/>
                  </a:lnTo>
                  <a:lnTo>
                    <a:pt x="105" y="386"/>
                  </a:lnTo>
                  <a:lnTo>
                    <a:pt x="106" y="388"/>
                  </a:lnTo>
                  <a:lnTo>
                    <a:pt x="106" y="388"/>
                  </a:lnTo>
                  <a:lnTo>
                    <a:pt x="108" y="389"/>
                  </a:lnTo>
                  <a:lnTo>
                    <a:pt x="106" y="393"/>
                  </a:lnTo>
                  <a:lnTo>
                    <a:pt x="105" y="389"/>
                  </a:lnTo>
                  <a:lnTo>
                    <a:pt x="103" y="388"/>
                  </a:lnTo>
                  <a:lnTo>
                    <a:pt x="101" y="388"/>
                  </a:lnTo>
                  <a:lnTo>
                    <a:pt x="100" y="388"/>
                  </a:lnTo>
                  <a:lnTo>
                    <a:pt x="100" y="388"/>
                  </a:lnTo>
                  <a:lnTo>
                    <a:pt x="97" y="389"/>
                  </a:lnTo>
                  <a:lnTo>
                    <a:pt x="95" y="389"/>
                  </a:lnTo>
                  <a:lnTo>
                    <a:pt x="95" y="391"/>
                  </a:lnTo>
                  <a:lnTo>
                    <a:pt x="95" y="391"/>
                  </a:lnTo>
                  <a:lnTo>
                    <a:pt x="95" y="393"/>
                  </a:lnTo>
                  <a:lnTo>
                    <a:pt x="95" y="394"/>
                  </a:lnTo>
                  <a:lnTo>
                    <a:pt x="97" y="396"/>
                  </a:lnTo>
                  <a:lnTo>
                    <a:pt x="97" y="397"/>
                  </a:lnTo>
                  <a:lnTo>
                    <a:pt x="97" y="399"/>
                  </a:lnTo>
                  <a:lnTo>
                    <a:pt x="97" y="400"/>
                  </a:lnTo>
                  <a:lnTo>
                    <a:pt x="97" y="400"/>
                  </a:lnTo>
                  <a:lnTo>
                    <a:pt x="95" y="399"/>
                  </a:lnTo>
                  <a:lnTo>
                    <a:pt x="95" y="397"/>
                  </a:lnTo>
                  <a:lnTo>
                    <a:pt x="94" y="394"/>
                  </a:lnTo>
                  <a:lnTo>
                    <a:pt x="94" y="391"/>
                  </a:lnTo>
                  <a:lnTo>
                    <a:pt x="94" y="391"/>
                  </a:lnTo>
                  <a:lnTo>
                    <a:pt x="92" y="388"/>
                  </a:lnTo>
                  <a:lnTo>
                    <a:pt x="91" y="386"/>
                  </a:lnTo>
                  <a:lnTo>
                    <a:pt x="94" y="386"/>
                  </a:lnTo>
                  <a:lnTo>
                    <a:pt x="94" y="385"/>
                  </a:lnTo>
                  <a:lnTo>
                    <a:pt x="89" y="383"/>
                  </a:lnTo>
                  <a:lnTo>
                    <a:pt x="89" y="383"/>
                  </a:lnTo>
                  <a:lnTo>
                    <a:pt x="88" y="383"/>
                  </a:lnTo>
                  <a:lnTo>
                    <a:pt x="85" y="382"/>
                  </a:lnTo>
                  <a:lnTo>
                    <a:pt x="85" y="382"/>
                  </a:lnTo>
                  <a:lnTo>
                    <a:pt x="83" y="383"/>
                  </a:lnTo>
                  <a:lnTo>
                    <a:pt x="83" y="383"/>
                  </a:lnTo>
                  <a:lnTo>
                    <a:pt x="81" y="386"/>
                  </a:lnTo>
                  <a:lnTo>
                    <a:pt x="83" y="388"/>
                  </a:lnTo>
                  <a:lnTo>
                    <a:pt x="83" y="388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78" y="389"/>
                  </a:lnTo>
                  <a:lnTo>
                    <a:pt x="78" y="391"/>
                  </a:lnTo>
                  <a:lnTo>
                    <a:pt x="78" y="391"/>
                  </a:lnTo>
                  <a:lnTo>
                    <a:pt x="78" y="393"/>
                  </a:lnTo>
                  <a:lnTo>
                    <a:pt x="80" y="393"/>
                  </a:lnTo>
                  <a:lnTo>
                    <a:pt x="80" y="393"/>
                  </a:lnTo>
                  <a:lnTo>
                    <a:pt x="78" y="394"/>
                  </a:lnTo>
                  <a:lnTo>
                    <a:pt x="78" y="394"/>
                  </a:lnTo>
                  <a:lnTo>
                    <a:pt x="78" y="394"/>
                  </a:lnTo>
                  <a:lnTo>
                    <a:pt x="78" y="396"/>
                  </a:lnTo>
                  <a:lnTo>
                    <a:pt x="77" y="397"/>
                  </a:lnTo>
                  <a:lnTo>
                    <a:pt x="77" y="399"/>
                  </a:lnTo>
                  <a:lnTo>
                    <a:pt x="77" y="399"/>
                  </a:lnTo>
                  <a:lnTo>
                    <a:pt x="78" y="399"/>
                  </a:lnTo>
                  <a:close/>
                  <a:moveTo>
                    <a:pt x="738" y="1130"/>
                  </a:moveTo>
                  <a:lnTo>
                    <a:pt x="738" y="1126"/>
                  </a:lnTo>
                  <a:lnTo>
                    <a:pt x="738" y="1122"/>
                  </a:lnTo>
                  <a:lnTo>
                    <a:pt x="738" y="1121"/>
                  </a:lnTo>
                  <a:lnTo>
                    <a:pt x="738" y="1118"/>
                  </a:lnTo>
                  <a:lnTo>
                    <a:pt x="736" y="1115"/>
                  </a:lnTo>
                  <a:lnTo>
                    <a:pt x="736" y="1112"/>
                  </a:lnTo>
                  <a:lnTo>
                    <a:pt x="735" y="1106"/>
                  </a:lnTo>
                  <a:lnTo>
                    <a:pt x="731" y="1102"/>
                  </a:lnTo>
                  <a:lnTo>
                    <a:pt x="730" y="1099"/>
                  </a:lnTo>
                  <a:lnTo>
                    <a:pt x="711" y="1085"/>
                  </a:lnTo>
                  <a:lnTo>
                    <a:pt x="702" y="1081"/>
                  </a:lnTo>
                  <a:lnTo>
                    <a:pt x="679" y="1076"/>
                  </a:lnTo>
                  <a:lnTo>
                    <a:pt x="679" y="1076"/>
                  </a:lnTo>
                  <a:lnTo>
                    <a:pt x="681" y="1076"/>
                  </a:lnTo>
                  <a:lnTo>
                    <a:pt x="682" y="1076"/>
                  </a:lnTo>
                  <a:lnTo>
                    <a:pt x="682" y="1076"/>
                  </a:lnTo>
                  <a:lnTo>
                    <a:pt x="684" y="1078"/>
                  </a:lnTo>
                  <a:lnTo>
                    <a:pt x="679" y="1079"/>
                  </a:lnTo>
                  <a:lnTo>
                    <a:pt x="676" y="1078"/>
                  </a:lnTo>
                  <a:lnTo>
                    <a:pt x="673" y="1076"/>
                  </a:lnTo>
                  <a:lnTo>
                    <a:pt x="670" y="1076"/>
                  </a:lnTo>
                  <a:lnTo>
                    <a:pt x="664" y="1076"/>
                  </a:lnTo>
                  <a:lnTo>
                    <a:pt x="662" y="1075"/>
                  </a:lnTo>
                  <a:lnTo>
                    <a:pt x="661" y="1075"/>
                  </a:lnTo>
                  <a:lnTo>
                    <a:pt x="659" y="1075"/>
                  </a:lnTo>
                  <a:lnTo>
                    <a:pt x="658" y="1075"/>
                  </a:lnTo>
                  <a:lnTo>
                    <a:pt x="658" y="1076"/>
                  </a:lnTo>
                  <a:lnTo>
                    <a:pt x="654" y="1076"/>
                  </a:lnTo>
                  <a:lnTo>
                    <a:pt x="650" y="1076"/>
                  </a:lnTo>
                  <a:lnTo>
                    <a:pt x="647" y="1078"/>
                  </a:lnTo>
                  <a:lnTo>
                    <a:pt x="644" y="1081"/>
                  </a:lnTo>
                  <a:lnTo>
                    <a:pt x="642" y="1082"/>
                  </a:lnTo>
                  <a:lnTo>
                    <a:pt x="642" y="1085"/>
                  </a:lnTo>
                  <a:lnTo>
                    <a:pt x="641" y="1089"/>
                  </a:lnTo>
                  <a:lnTo>
                    <a:pt x="641" y="1092"/>
                  </a:lnTo>
                  <a:lnTo>
                    <a:pt x="639" y="1093"/>
                  </a:lnTo>
                  <a:lnTo>
                    <a:pt x="637" y="1096"/>
                  </a:lnTo>
                  <a:lnTo>
                    <a:pt x="636" y="1098"/>
                  </a:lnTo>
                  <a:lnTo>
                    <a:pt x="636" y="1101"/>
                  </a:lnTo>
                  <a:lnTo>
                    <a:pt x="636" y="1101"/>
                  </a:lnTo>
                  <a:lnTo>
                    <a:pt x="634" y="1101"/>
                  </a:lnTo>
                  <a:lnTo>
                    <a:pt x="633" y="1098"/>
                  </a:lnTo>
                  <a:lnTo>
                    <a:pt x="631" y="1096"/>
                  </a:lnTo>
                  <a:lnTo>
                    <a:pt x="628" y="1096"/>
                  </a:lnTo>
                  <a:lnTo>
                    <a:pt x="627" y="1096"/>
                  </a:lnTo>
                  <a:lnTo>
                    <a:pt x="627" y="1098"/>
                  </a:lnTo>
                  <a:lnTo>
                    <a:pt x="624" y="1095"/>
                  </a:lnTo>
                  <a:lnTo>
                    <a:pt x="621" y="1090"/>
                  </a:lnTo>
                  <a:lnTo>
                    <a:pt x="619" y="1089"/>
                  </a:lnTo>
                  <a:lnTo>
                    <a:pt x="617" y="1089"/>
                  </a:lnTo>
                  <a:lnTo>
                    <a:pt x="616" y="1085"/>
                  </a:lnTo>
                  <a:lnTo>
                    <a:pt x="614" y="1085"/>
                  </a:lnTo>
                  <a:lnTo>
                    <a:pt x="611" y="1087"/>
                  </a:lnTo>
                  <a:lnTo>
                    <a:pt x="608" y="1087"/>
                  </a:lnTo>
                  <a:lnTo>
                    <a:pt x="608" y="1085"/>
                  </a:lnTo>
                  <a:lnTo>
                    <a:pt x="610" y="1084"/>
                  </a:lnTo>
                  <a:lnTo>
                    <a:pt x="610" y="1082"/>
                  </a:lnTo>
                  <a:lnTo>
                    <a:pt x="613" y="1082"/>
                  </a:lnTo>
                  <a:lnTo>
                    <a:pt x="614" y="1079"/>
                  </a:lnTo>
                  <a:lnTo>
                    <a:pt x="619" y="1072"/>
                  </a:lnTo>
                  <a:lnTo>
                    <a:pt x="621" y="1070"/>
                  </a:lnTo>
                  <a:lnTo>
                    <a:pt x="622" y="1070"/>
                  </a:lnTo>
                  <a:lnTo>
                    <a:pt x="628" y="1064"/>
                  </a:lnTo>
                  <a:lnTo>
                    <a:pt x="630" y="1062"/>
                  </a:lnTo>
                  <a:lnTo>
                    <a:pt x="631" y="1062"/>
                  </a:lnTo>
                  <a:lnTo>
                    <a:pt x="633" y="1062"/>
                  </a:lnTo>
                  <a:lnTo>
                    <a:pt x="633" y="1061"/>
                  </a:lnTo>
                  <a:lnTo>
                    <a:pt x="634" y="1055"/>
                  </a:lnTo>
                  <a:lnTo>
                    <a:pt x="634" y="1049"/>
                  </a:lnTo>
                  <a:lnTo>
                    <a:pt x="633" y="1044"/>
                  </a:lnTo>
                  <a:lnTo>
                    <a:pt x="627" y="1029"/>
                  </a:lnTo>
                  <a:lnTo>
                    <a:pt x="627" y="1025"/>
                  </a:lnTo>
                  <a:lnTo>
                    <a:pt x="625" y="1024"/>
                  </a:lnTo>
                  <a:lnTo>
                    <a:pt x="625" y="1022"/>
                  </a:lnTo>
                  <a:lnTo>
                    <a:pt x="624" y="1021"/>
                  </a:lnTo>
                  <a:lnTo>
                    <a:pt x="624" y="1021"/>
                  </a:lnTo>
                  <a:lnTo>
                    <a:pt x="622" y="1019"/>
                  </a:lnTo>
                  <a:lnTo>
                    <a:pt x="621" y="1019"/>
                  </a:lnTo>
                  <a:lnTo>
                    <a:pt x="621" y="1018"/>
                  </a:lnTo>
                  <a:lnTo>
                    <a:pt x="621" y="1018"/>
                  </a:lnTo>
                  <a:lnTo>
                    <a:pt x="621" y="1016"/>
                  </a:lnTo>
                  <a:lnTo>
                    <a:pt x="621" y="1015"/>
                  </a:lnTo>
                  <a:lnTo>
                    <a:pt x="619" y="1013"/>
                  </a:lnTo>
                  <a:lnTo>
                    <a:pt x="617" y="1013"/>
                  </a:lnTo>
                  <a:lnTo>
                    <a:pt x="616" y="1013"/>
                  </a:lnTo>
                  <a:lnTo>
                    <a:pt x="614" y="1012"/>
                  </a:lnTo>
                  <a:lnTo>
                    <a:pt x="608" y="1005"/>
                  </a:lnTo>
                  <a:lnTo>
                    <a:pt x="604" y="1002"/>
                  </a:lnTo>
                  <a:lnTo>
                    <a:pt x="604" y="1001"/>
                  </a:lnTo>
                  <a:lnTo>
                    <a:pt x="601" y="1001"/>
                  </a:lnTo>
                  <a:lnTo>
                    <a:pt x="599" y="999"/>
                  </a:lnTo>
                  <a:lnTo>
                    <a:pt x="597" y="998"/>
                  </a:lnTo>
                  <a:lnTo>
                    <a:pt x="593" y="996"/>
                  </a:lnTo>
                  <a:lnTo>
                    <a:pt x="588" y="987"/>
                  </a:lnTo>
                  <a:lnTo>
                    <a:pt x="587" y="984"/>
                  </a:lnTo>
                  <a:lnTo>
                    <a:pt x="585" y="984"/>
                  </a:lnTo>
                  <a:lnTo>
                    <a:pt x="571" y="985"/>
                  </a:lnTo>
                  <a:lnTo>
                    <a:pt x="570" y="988"/>
                  </a:lnTo>
                  <a:lnTo>
                    <a:pt x="568" y="988"/>
                  </a:lnTo>
                  <a:lnTo>
                    <a:pt x="567" y="987"/>
                  </a:lnTo>
                  <a:lnTo>
                    <a:pt x="567" y="987"/>
                  </a:lnTo>
                  <a:lnTo>
                    <a:pt x="564" y="984"/>
                  </a:lnTo>
                  <a:lnTo>
                    <a:pt x="562" y="984"/>
                  </a:lnTo>
                  <a:lnTo>
                    <a:pt x="559" y="984"/>
                  </a:lnTo>
                  <a:lnTo>
                    <a:pt x="557" y="985"/>
                  </a:lnTo>
                  <a:lnTo>
                    <a:pt x="556" y="987"/>
                  </a:lnTo>
                  <a:lnTo>
                    <a:pt x="556" y="987"/>
                  </a:lnTo>
                  <a:lnTo>
                    <a:pt x="554" y="985"/>
                  </a:lnTo>
                  <a:lnTo>
                    <a:pt x="554" y="985"/>
                  </a:lnTo>
                  <a:lnTo>
                    <a:pt x="553" y="985"/>
                  </a:lnTo>
                  <a:lnTo>
                    <a:pt x="559" y="982"/>
                  </a:lnTo>
                  <a:lnTo>
                    <a:pt x="560" y="981"/>
                  </a:lnTo>
                  <a:lnTo>
                    <a:pt x="565" y="982"/>
                  </a:lnTo>
                  <a:lnTo>
                    <a:pt x="565" y="982"/>
                  </a:lnTo>
                  <a:lnTo>
                    <a:pt x="567" y="984"/>
                  </a:lnTo>
                  <a:lnTo>
                    <a:pt x="567" y="984"/>
                  </a:lnTo>
                  <a:lnTo>
                    <a:pt x="570" y="984"/>
                  </a:lnTo>
                  <a:lnTo>
                    <a:pt x="576" y="984"/>
                  </a:lnTo>
                  <a:lnTo>
                    <a:pt x="585" y="981"/>
                  </a:lnTo>
                  <a:lnTo>
                    <a:pt x="585" y="981"/>
                  </a:lnTo>
                  <a:lnTo>
                    <a:pt x="588" y="981"/>
                  </a:lnTo>
                  <a:lnTo>
                    <a:pt x="591" y="982"/>
                  </a:lnTo>
                  <a:lnTo>
                    <a:pt x="597" y="992"/>
                  </a:lnTo>
                  <a:lnTo>
                    <a:pt x="599" y="993"/>
                  </a:lnTo>
                  <a:lnTo>
                    <a:pt x="601" y="995"/>
                  </a:lnTo>
                  <a:lnTo>
                    <a:pt x="602" y="995"/>
                  </a:lnTo>
                  <a:lnTo>
                    <a:pt x="604" y="995"/>
                  </a:lnTo>
                  <a:lnTo>
                    <a:pt x="605" y="995"/>
                  </a:lnTo>
                  <a:lnTo>
                    <a:pt x="608" y="993"/>
                  </a:lnTo>
                  <a:lnTo>
                    <a:pt x="610" y="992"/>
                  </a:lnTo>
                  <a:lnTo>
                    <a:pt x="611" y="993"/>
                  </a:lnTo>
                  <a:lnTo>
                    <a:pt x="614" y="995"/>
                  </a:lnTo>
                  <a:lnTo>
                    <a:pt x="616" y="996"/>
                  </a:lnTo>
                  <a:lnTo>
                    <a:pt x="617" y="996"/>
                  </a:lnTo>
                  <a:lnTo>
                    <a:pt x="617" y="999"/>
                  </a:lnTo>
                  <a:lnTo>
                    <a:pt x="616" y="1002"/>
                  </a:lnTo>
                  <a:lnTo>
                    <a:pt x="617" y="1001"/>
                  </a:lnTo>
                  <a:lnTo>
                    <a:pt x="617" y="1001"/>
                  </a:lnTo>
                  <a:lnTo>
                    <a:pt x="619" y="996"/>
                  </a:lnTo>
                  <a:lnTo>
                    <a:pt x="617" y="993"/>
                  </a:lnTo>
                  <a:lnTo>
                    <a:pt x="604" y="973"/>
                  </a:lnTo>
                  <a:lnTo>
                    <a:pt x="596" y="961"/>
                  </a:lnTo>
                  <a:lnTo>
                    <a:pt x="594" y="956"/>
                  </a:lnTo>
                  <a:lnTo>
                    <a:pt x="593" y="948"/>
                  </a:lnTo>
                  <a:lnTo>
                    <a:pt x="591" y="945"/>
                  </a:lnTo>
                  <a:lnTo>
                    <a:pt x="593" y="939"/>
                  </a:lnTo>
                  <a:lnTo>
                    <a:pt x="596" y="938"/>
                  </a:lnTo>
                  <a:lnTo>
                    <a:pt x="602" y="933"/>
                  </a:lnTo>
                  <a:lnTo>
                    <a:pt x="599" y="931"/>
                  </a:lnTo>
                  <a:lnTo>
                    <a:pt x="590" y="927"/>
                  </a:lnTo>
                  <a:lnTo>
                    <a:pt x="588" y="925"/>
                  </a:lnTo>
                  <a:lnTo>
                    <a:pt x="588" y="925"/>
                  </a:lnTo>
                  <a:lnTo>
                    <a:pt x="588" y="921"/>
                  </a:lnTo>
                  <a:lnTo>
                    <a:pt x="587" y="921"/>
                  </a:lnTo>
                  <a:lnTo>
                    <a:pt x="585" y="919"/>
                  </a:lnTo>
                  <a:lnTo>
                    <a:pt x="585" y="918"/>
                  </a:lnTo>
                  <a:lnTo>
                    <a:pt x="584" y="918"/>
                  </a:lnTo>
                  <a:lnTo>
                    <a:pt x="580" y="918"/>
                  </a:lnTo>
                  <a:lnTo>
                    <a:pt x="580" y="916"/>
                  </a:lnTo>
                  <a:lnTo>
                    <a:pt x="579" y="915"/>
                  </a:lnTo>
                  <a:lnTo>
                    <a:pt x="577" y="913"/>
                  </a:lnTo>
                  <a:lnTo>
                    <a:pt x="579" y="913"/>
                  </a:lnTo>
                  <a:lnTo>
                    <a:pt x="579" y="911"/>
                  </a:lnTo>
                  <a:lnTo>
                    <a:pt x="577" y="911"/>
                  </a:lnTo>
                  <a:lnTo>
                    <a:pt x="577" y="911"/>
                  </a:lnTo>
                  <a:lnTo>
                    <a:pt x="577" y="910"/>
                  </a:lnTo>
                  <a:lnTo>
                    <a:pt x="576" y="908"/>
                  </a:lnTo>
                  <a:lnTo>
                    <a:pt x="576" y="907"/>
                  </a:lnTo>
                  <a:lnTo>
                    <a:pt x="576" y="904"/>
                  </a:lnTo>
                  <a:lnTo>
                    <a:pt x="574" y="901"/>
                  </a:lnTo>
                  <a:lnTo>
                    <a:pt x="573" y="898"/>
                  </a:lnTo>
                  <a:lnTo>
                    <a:pt x="573" y="898"/>
                  </a:lnTo>
                  <a:lnTo>
                    <a:pt x="570" y="896"/>
                  </a:lnTo>
                  <a:lnTo>
                    <a:pt x="568" y="895"/>
                  </a:lnTo>
                  <a:lnTo>
                    <a:pt x="568" y="893"/>
                  </a:lnTo>
                  <a:lnTo>
                    <a:pt x="568" y="891"/>
                  </a:lnTo>
                  <a:lnTo>
                    <a:pt x="568" y="891"/>
                  </a:lnTo>
                  <a:lnTo>
                    <a:pt x="568" y="888"/>
                  </a:lnTo>
                  <a:lnTo>
                    <a:pt x="565" y="887"/>
                  </a:lnTo>
                  <a:lnTo>
                    <a:pt x="550" y="876"/>
                  </a:lnTo>
                  <a:lnTo>
                    <a:pt x="534" y="871"/>
                  </a:lnTo>
                  <a:lnTo>
                    <a:pt x="530" y="868"/>
                  </a:lnTo>
                  <a:lnTo>
                    <a:pt x="527" y="868"/>
                  </a:lnTo>
                  <a:lnTo>
                    <a:pt x="525" y="868"/>
                  </a:lnTo>
                  <a:lnTo>
                    <a:pt x="524" y="867"/>
                  </a:lnTo>
                  <a:lnTo>
                    <a:pt x="524" y="865"/>
                  </a:lnTo>
                  <a:lnTo>
                    <a:pt x="522" y="868"/>
                  </a:lnTo>
                  <a:lnTo>
                    <a:pt x="522" y="870"/>
                  </a:lnTo>
                  <a:lnTo>
                    <a:pt x="520" y="870"/>
                  </a:lnTo>
                  <a:lnTo>
                    <a:pt x="520" y="870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19" y="868"/>
                  </a:lnTo>
                  <a:lnTo>
                    <a:pt x="519" y="868"/>
                  </a:lnTo>
                  <a:lnTo>
                    <a:pt x="519" y="868"/>
                  </a:lnTo>
                  <a:lnTo>
                    <a:pt x="517" y="868"/>
                  </a:lnTo>
                  <a:lnTo>
                    <a:pt x="517" y="867"/>
                  </a:lnTo>
                  <a:lnTo>
                    <a:pt x="519" y="867"/>
                  </a:lnTo>
                  <a:lnTo>
                    <a:pt x="520" y="865"/>
                  </a:lnTo>
                  <a:lnTo>
                    <a:pt x="520" y="865"/>
                  </a:lnTo>
                  <a:lnTo>
                    <a:pt x="520" y="864"/>
                  </a:lnTo>
                  <a:lnTo>
                    <a:pt x="520" y="864"/>
                  </a:lnTo>
                  <a:lnTo>
                    <a:pt x="519" y="862"/>
                  </a:lnTo>
                  <a:lnTo>
                    <a:pt x="519" y="861"/>
                  </a:lnTo>
                  <a:lnTo>
                    <a:pt x="519" y="861"/>
                  </a:lnTo>
                  <a:lnTo>
                    <a:pt x="519" y="859"/>
                  </a:lnTo>
                  <a:lnTo>
                    <a:pt x="519" y="859"/>
                  </a:lnTo>
                  <a:lnTo>
                    <a:pt x="520" y="859"/>
                  </a:lnTo>
                  <a:lnTo>
                    <a:pt x="520" y="858"/>
                  </a:lnTo>
                  <a:lnTo>
                    <a:pt x="516" y="856"/>
                  </a:lnTo>
                  <a:lnTo>
                    <a:pt x="516" y="856"/>
                  </a:lnTo>
                  <a:lnTo>
                    <a:pt x="513" y="853"/>
                  </a:lnTo>
                  <a:lnTo>
                    <a:pt x="511" y="848"/>
                  </a:lnTo>
                  <a:lnTo>
                    <a:pt x="507" y="831"/>
                  </a:lnTo>
                  <a:lnTo>
                    <a:pt x="507" y="831"/>
                  </a:lnTo>
                  <a:lnTo>
                    <a:pt x="507" y="830"/>
                  </a:lnTo>
                  <a:lnTo>
                    <a:pt x="507" y="830"/>
                  </a:lnTo>
                  <a:lnTo>
                    <a:pt x="507" y="827"/>
                  </a:lnTo>
                  <a:lnTo>
                    <a:pt x="507" y="825"/>
                  </a:lnTo>
                  <a:lnTo>
                    <a:pt x="507" y="825"/>
                  </a:lnTo>
                  <a:lnTo>
                    <a:pt x="507" y="824"/>
                  </a:lnTo>
                  <a:lnTo>
                    <a:pt x="505" y="824"/>
                  </a:lnTo>
                  <a:lnTo>
                    <a:pt x="503" y="821"/>
                  </a:lnTo>
                  <a:lnTo>
                    <a:pt x="503" y="821"/>
                  </a:lnTo>
                  <a:lnTo>
                    <a:pt x="502" y="819"/>
                  </a:lnTo>
                  <a:lnTo>
                    <a:pt x="502" y="818"/>
                  </a:lnTo>
                  <a:lnTo>
                    <a:pt x="502" y="816"/>
                  </a:lnTo>
                  <a:lnTo>
                    <a:pt x="502" y="816"/>
                  </a:lnTo>
                  <a:lnTo>
                    <a:pt x="500" y="814"/>
                  </a:lnTo>
                  <a:lnTo>
                    <a:pt x="499" y="811"/>
                  </a:lnTo>
                  <a:lnTo>
                    <a:pt x="499" y="810"/>
                  </a:lnTo>
                  <a:lnTo>
                    <a:pt x="499" y="810"/>
                  </a:lnTo>
                  <a:lnTo>
                    <a:pt x="499" y="810"/>
                  </a:lnTo>
                  <a:lnTo>
                    <a:pt x="497" y="808"/>
                  </a:lnTo>
                  <a:lnTo>
                    <a:pt x="497" y="808"/>
                  </a:lnTo>
                  <a:lnTo>
                    <a:pt x="497" y="808"/>
                  </a:lnTo>
                  <a:lnTo>
                    <a:pt x="496" y="805"/>
                  </a:lnTo>
                  <a:lnTo>
                    <a:pt x="496" y="802"/>
                  </a:lnTo>
                  <a:lnTo>
                    <a:pt x="496" y="802"/>
                  </a:lnTo>
                  <a:lnTo>
                    <a:pt x="494" y="799"/>
                  </a:lnTo>
                  <a:lnTo>
                    <a:pt x="494" y="798"/>
                  </a:lnTo>
                  <a:lnTo>
                    <a:pt x="494" y="798"/>
                  </a:lnTo>
                  <a:lnTo>
                    <a:pt x="496" y="796"/>
                  </a:lnTo>
                  <a:lnTo>
                    <a:pt x="496" y="794"/>
                  </a:lnTo>
                  <a:lnTo>
                    <a:pt x="494" y="793"/>
                  </a:lnTo>
                  <a:lnTo>
                    <a:pt x="494" y="793"/>
                  </a:lnTo>
                  <a:lnTo>
                    <a:pt x="494" y="791"/>
                  </a:lnTo>
                  <a:lnTo>
                    <a:pt x="494" y="790"/>
                  </a:lnTo>
                  <a:lnTo>
                    <a:pt x="493" y="788"/>
                  </a:lnTo>
                  <a:lnTo>
                    <a:pt x="491" y="787"/>
                  </a:lnTo>
                  <a:lnTo>
                    <a:pt x="491" y="785"/>
                  </a:lnTo>
                  <a:lnTo>
                    <a:pt x="491" y="784"/>
                  </a:lnTo>
                  <a:lnTo>
                    <a:pt x="491" y="784"/>
                  </a:lnTo>
                  <a:lnTo>
                    <a:pt x="491" y="782"/>
                  </a:lnTo>
                  <a:lnTo>
                    <a:pt x="491" y="782"/>
                  </a:lnTo>
                  <a:lnTo>
                    <a:pt x="491" y="781"/>
                  </a:lnTo>
                  <a:lnTo>
                    <a:pt x="491" y="781"/>
                  </a:lnTo>
                  <a:lnTo>
                    <a:pt x="491" y="781"/>
                  </a:lnTo>
                  <a:lnTo>
                    <a:pt x="491" y="779"/>
                  </a:lnTo>
                  <a:lnTo>
                    <a:pt x="491" y="778"/>
                  </a:lnTo>
                  <a:lnTo>
                    <a:pt x="490" y="773"/>
                  </a:lnTo>
                  <a:lnTo>
                    <a:pt x="490" y="771"/>
                  </a:lnTo>
                  <a:lnTo>
                    <a:pt x="490" y="770"/>
                  </a:lnTo>
                  <a:lnTo>
                    <a:pt x="490" y="768"/>
                  </a:lnTo>
                  <a:lnTo>
                    <a:pt x="490" y="767"/>
                  </a:lnTo>
                  <a:lnTo>
                    <a:pt x="490" y="765"/>
                  </a:lnTo>
                  <a:lnTo>
                    <a:pt x="490" y="757"/>
                  </a:lnTo>
                  <a:lnTo>
                    <a:pt x="490" y="756"/>
                  </a:lnTo>
                  <a:lnTo>
                    <a:pt x="488" y="754"/>
                  </a:lnTo>
                  <a:lnTo>
                    <a:pt x="488" y="754"/>
                  </a:lnTo>
                  <a:lnTo>
                    <a:pt x="488" y="753"/>
                  </a:lnTo>
                  <a:lnTo>
                    <a:pt x="488" y="753"/>
                  </a:lnTo>
                  <a:lnTo>
                    <a:pt x="488" y="751"/>
                  </a:lnTo>
                  <a:lnTo>
                    <a:pt x="487" y="750"/>
                  </a:lnTo>
                  <a:lnTo>
                    <a:pt x="487" y="750"/>
                  </a:lnTo>
                  <a:lnTo>
                    <a:pt x="487" y="748"/>
                  </a:lnTo>
                  <a:lnTo>
                    <a:pt x="487" y="748"/>
                  </a:lnTo>
                  <a:lnTo>
                    <a:pt x="487" y="747"/>
                  </a:lnTo>
                  <a:lnTo>
                    <a:pt x="487" y="747"/>
                  </a:lnTo>
                  <a:lnTo>
                    <a:pt x="487" y="745"/>
                  </a:lnTo>
                  <a:lnTo>
                    <a:pt x="487" y="744"/>
                  </a:lnTo>
                  <a:lnTo>
                    <a:pt x="487" y="744"/>
                  </a:lnTo>
                  <a:lnTo>
                    <a:pt x="480" y="741"/>
                  </a:lnTo>
                  <a:lnTo>
                    <a:pt x="479" y="739"/>
                  </a:lnTo>
                  <a:lnTo>
                    <a:pt x="477" y="741"/>
                  </a:lnTo>
                  <a:lnTo>
                    <a:pt x="476" y="741"/>
                  </a:lnTo>
                  <a:lnTo>
                    <a:pt x="476" y="739"/>
                  </a:lnTo>
                  <a:lnTo>
                    <a:pt x="477" y="739"/>
                  </a:lnTo>
                  <a:lnTo>
                    <a:pt x="477" y="737"/>
                  </a:lnTo>
                  <a:lnTo>
                    <a:pt x="476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3" y="737"/>
                  </a:lnTo>
                  <a:lnTo>
                    <a:pt x="473" y="737"/>
                  </a:lnTo>
                  <a:lnTo>
                    <a:pt x="473" y="737"/>
                  </a:lnTo>
                  <a:lnTo>
                    <a:pt x="471" y="736"/>
                  </a:lnTo>
                  <a:lnTo>
                    <a:pt x="471" y="734"/>
                  </a:lnTo>
                  <a:lnTo>
                    <a:pt x="470" y="734"/>
                  </a:lnTo>
                  <a:lnTo>
                    <a:pt x="470" y="731"/>
                  </a:lnTo>
                  <a:lnTo>
                    <a:pt x="468" y="730"/>
                  </a:lnTo>
                  <a:lnTo>
                    <a:pt x="457" y="716"/>
                  </a:lnTo>
                  <a:lnTo>
                    <a:pt x="457" y="714"/>
                  </a:lnTo>
                  <a:lnTo>
                    <a:pt x="453" y="707"/>
                  </a:lnTo>
                  <a:lnTo>
                    <a:pt x="451" y="704"/>
                  </a:lnTo>
                  <a:lnTo>
                    <a:pt x="450" y="704"/>
                  </a:lnTo>
                  <a:lnTo>
                    <a:pt x="450" y="704"/>
                  </a:lnTo>
                  <a:lnTo>
                    <a:pt x="450" y="702"/>
                  </a:lnTo>
                  <a:lnTo>
                    <a:pt x="450" y="701"/>
                  </a:lnTo>
                  <a:lnTo>
                    <a:pt x="448" y="701"/>
                  </a:lnTo>
                  <a:lnTo>
                    <a:pt x="448" y="699"/>
                  </a:lnTo>
                  <a:lnTo>
                    <a:pt x="436" y="697"/>
                  </a:lnTo>
                  <a:lnTo>
                    <a:pt x="433" y="696"/>
                  </a:lnTo>
                  <a:lnTo>
                    <a:pt x="428" y="691"/>
                  </a:lnTo>
                  <a:lnTo>
                    <a:pt x="425" y="691"/>
                  </a:lnTo>
                  <a:lnTo>
                    <a:pt x="422" y="688"/>
                  </a:lnTo>
                  <a:lnTo>
                    <a:pt x="420" y="687"/>
                  </a:lnTo>
                  <a:lnTo>
                    <a:pt x="420" y="688"/>
                  </a:lnTo>
                  <a:lnTo>
                    <a:pt x="420" y="688"/>
                  </a:lnTo>
                  <a:lnTo>
                    <a:pt x="419" y="690"/>
                  </a:lnTo>
                  <a:lnTo>
                    <a:pt x="419" y="688"/>
                  </a:lnTo>
                  <a:lnTo>
                    <a:pt x="416" y="688"/>
                  </a:lnTo>
                  <a:lnTo>
                    <a:pt x="416" y="688"/>
                  </a:lnTo>
                  <a:lnTo>
                    <a:pt x="416" y="688"/>
                  </a:lnTo>
                  <a:lnTo>
                    <a:pt x="416" y="685"/>
                  </a:lnTo>
                  <a:lnTo>
                    <a:pt x="416" y="685"/>
                  </a:lnTo>
                  <a:lnTo>
                    <a:pt x="413" y="682"/>
                  </a:lnTo>
                  <a:lnTo>
                    <a:pt x="411" y="680"/>
                  </a:lnTo>
                  <a:lnTo>
                    <a:pt x="399" y="680"/>
                  </a:lnTo>
                  <a:lnTo>
                    <a:pt x="397" y="680"/>
                  </a:lnTo>
                  <a:lnTo>
                    <a:pt x="396" y="684"/>
                  </a:lnTo>
                  <a:lnTo>
                    <a:pt x="394" y="685"/>
                  </a:lnTo>
                  <a:lnTo>
                    <a:pt x="394" y="685"/>
                  </a:lnTo>
                  <a:lnTo>
                    <a:pt x="394" y="685"/>
                  </a:lnTo>
                  <a:lnTo>
                    <a:pt x="394" y="687"/>
                  </a:lnTo>
                  <a:lnTo>
                    <a:pt x="393" y="688"/>
                  </a:lnTo>
                  <a:lnTo>
                    <a:pt x="391" y="690"/>
                  </a:lnTo>
                  <a:lnTo>
                    <a:pt x="391" y="691"/>
                  </a:lnTo>
                  <a:lnTo>
                    <a:pt x="390" y="693"/>
                  </a:lnTo>
                  <a:lnTo>
                    <a:pt x="383" y="696"/>
                  </a:lnTo>
                  <a:lnTo>
                    <a:pt x="379" y="696"/>
                  </a:lnTo>
                  <a:lnTo>
                    <a:pt x="377" y="696"/>
                  </a:lnTo>
                  <a:lnTo>
                    <a:pt x="377" y="694"/>
                  </a:lnTo>
                  <a:lnTo>
                    <a:pt x="376" y="693"/>
                  </a:lnTo>
                  <a:lnTo>
                    <a:pt x="376" y="693"/>
                  </a:lnTo>
                  <a:lnTo>
                    <a:pt x="362" y="691"/>
                  </a:lnTo>
                  <a:lnTo>
                    <a:pt x="360" y="690"/>
                  </a:lnTo>
                  <a:lnTo>
                    <a:pt x="360" y="690"/>
                  </a:lnTo>
                  <a:lnTo>
                    <a:pt x="359" y="690"/>
                  </a:lnTo>
                  <a:lnTo>
                    <a:pt x="357" y="690"/>
                  </a:lnTo>
                  <a:lnTo>
                    <a:pt x="354" y="690"/>
                  </a:lnTo>
                  <a:lnTo>
                    <a:pt x="342" y="687"/>
                  </a:lnTo>
                  <a:lnTo>
                    <a:pt x="340" y="687"/>
                  </a:lnTo>
                  <a:lnTo>
                    <a:pt x="336" y="687"/>
                  </a:lnTo>
                  <a:lnTo>
                    <a:pt x="334" y="687"/>
                  </a:lnTo>
                  <a:lnTo>
                    <a:pt x="334" y="687"/>
                  </a:lnTo>
                  <a:lnTo>
                    <a:pt x="334" y="685"/>
                  </a:lnTo>
                  <a:lnTo>
                    <a:pt x="333" y="685"/>
                  </a:lnTo>
                  <a:lnTo>
                    <a:pt x="333" y="685"/>
                  </a:lnTo>
                  <a:lnTo>
                    <a:pt x="331" y="685"/>
                  </a:lnTo>
                  <a:lnTo>
                    <a:pt x="331" y="685"/>
                  </a:lnTo>
                  <a:lnTo>
                    <a:pt x="329" y="684"/>
                  </a:lnTo>
                  <a:lnTo>
                    <a:pt x="328" y="679"/>
                  </a:lnTo>
                  <a:lnTo>
                    <a:pt x="326" y="679"/>
                  </a:lnTo>
                  <a:lnTo>
                    <a:pt x="326" y="677"/>
                  </a:lnTo>
                  <a:lnTo>
                    <a:pt x="322" y="674"/>
                  </a:lnTo>
                  <a:lnTo>
                    <a:pt x="322" y="674"/>
                  </a:lnTo>
                  <a:lnTo>
                    <a:pt x="323" y="674"/>
                  </a:lnTo>
                  <a:lnTo>
                    <a:pt x="325" y="674"/>
                  </a:lnTo>
                  <a:lnTo>
                    <a:pt x="326" y="676"/>
                  </a:lnTo>
                  <a:lnTo>
                    <a:pt x="329" y="679"/>
                  </a:lnTo>
                  <a:lnTo>
                    <a:pt x="329" y="679"/>
                  </a:lnTo>
                  <a:lnTo>
                    <a:pt x="331" y="680"/>
                  </a:lnTo>
                  <a:lnTo>
                    <a:pt x="334" y="682"/>
                  </a:lnTo>
                  <a:lnTo>
                    <a:pt x="340" y="682"/>
                  </a:lnTo>
                  <a:lnTo>
                    <a:pt x="353" y="685"/>
                  </a:lnTo>
                  <a:lnTo>
                    <a:pt x="356" y="685"/>
                  </a:lnTo>
                  <a:lnTo>
                    <a:pt x="359" y="685"/>
                  </a:lnTo>
                  <a:lnTo>
                    <a:pt x="362" y="684"/>
                  </a:lnTo>
                  <a:lnTo>
                    <a:pt x="365" y="682"/>
                  </a:lnTo>
                  <a:lnTo>
                    <a:pt x="366" y="680"/>
                  </a:lnTo>
                  <a:lnTo>
                    <a:pt x="371" y="680"/>
                  </a:lnTo>
                  <a:lnTo>
                    <a:pt x="373" y="680"/>
                  </a:lnTo>
                  <a:lnTo>
                    <a:pt x="373" y="679"/>
                  </a:lnTo>
                  <a:lnTo>
                    <a:pt x="374" y="674"/>
                  </a:lnTo>
                  <a:lnTo>
                    <a:pt x="374" y="673"/>
                  </a:lnTo>
                  <a:lnTo>
                    <a:pt x="376" y="671"/>
                  </a:lnTo>
                  <a:lnTo>
                    <a:pt x="377" y="671"/>
                  </a:lnTo>
                  <a:lnTo>
                    <a:pt x="382" y="667"/>
                  </a:lnTo>
                  <a:lnTo>
                    <a:pt x="385" y="664"/>
                  </a:lnTo>
                  <a:lnTo>
                    <a:pt x="386" y="662"/>
                  </a:lnTo>
                  <a:lnTo>
                    <a:pt x="386" y="662"/>
                  </a:lnTo>
                  <a:lnTo>
                    <a:pt x="388" y="660"/>
                  </a:lnTo>
                  <a:lnTo>
                    <a:pt x="393" y="660"/>
                  </a:lnTo>
                  <a:lnTo>
                    <a:pt x="397" y="664"/>
                  </a:lnTo>
                  <a:lnTo>
                    <a:pt x="399" y="664"/>
                  </a:lnTo>
                  <a:lnTo>
                    <a:pt x="400" y="664"/>
                  </a:lnTo>
                  <a:lnTo>
                    <a:pt x="405" y="660"/>
                  </a:lnTo>
                  <a:lnTo>
                    <a:pt x="408" y="659"/>
                  </a:lnTo>
                  <a:lnTo>
                    <a:pt x="411" y="659"/>
                  </a:lnTo>
                  <a:lnTo>
                    <a:pt x="411" y="656"/>
                  </a:lnTo>
                  <a:lnTo>
                    <a:pt x="416" y="651"/>
                  </a:lnTo>
                  <a:lnTo>
                    <a:pt x="416" y="651"/>
                  </a:lnTo>
                  <a:lnTo>
                    <a:pt x="413" y="648"/>
                  </a:lnTo>
                  <a:lnTo>
                    <a:pt x="413" y="648"/>
                  </a:lnTo>
                  <a:lnTo>
                    <a:pt x="410" y="645"/>
                  </a:lnTo>
                  <a:lnTo>
                    <a:pt x="408" y="645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399" y="642"/>
                  </a:lnTo>
                  <a:lnTo>
                    <a:pt x="399" y="642"/>
                  </a:lnTo>
                  <a:lnTo>
                    <a:pt x="399" y="640"/>
                  </a:lnTo>
                  <a:lnTo>
                    <a:pt x="399" y="640"/>
                  </a:lnTo>
                  <a:lnTo>
                    <a:pt x="396" y="640"/>
                  </a:lnTo>
                  <a:lnTo>
                    <a:pt x="397" y="639"/>
                  </a:lnTo>
                  <a:lnTo>
                    <a:pt x="399" y="636"/>
                  </a:lnTo>
                  <a:lnTo>
                    <a:pt x="399" y="634"/>
                  </a:lnTo>
                  <a:lnTo>
                    <a:pt x="399" y="631"/>
                  </a:lnTo>
                  <a:lnTo>
                    <a:pt x="399" y="630"/>
                  </a:lnTo>
                  <a:lnTo>
                    <a:pt x="396" y="630"/>
                  </a:lnTo>
                  <a:lnTo>
                    <a:pt x="394" y="628"/>
                  </a:lnTo>
                  <a:lnTo>
                    <a:pt x="393" y="628"/>
                  </a:lnTo>
                  <a:lnTo>
                    <a:pt x="391" y="628"/>
                  </a:lnTo>
                  <a:lnTo>
                    <a:pt x="390" y="628"/>
                  </a:lnTo>
                  <a:lnTo>
                    <a:pt x="390" y="630"/>
                  </a:lnTo>
                  <a:lnTo>
                    <a:pt x="388" y="631"/>
                  </a:lnTo>
                  <a:lnTo>
                    <a:pt x="373" y="639"/>
                  </a:lnTo>
                  <a:lnTo>
                    <a:pt x="369" y="639"/>
                  </a:lnTo>
                  <a:lnTo>
                    <a:pt x="366" y="640"/>
                  </a:lnTo>
                  <a:lnTo>
                    <a:pt x="365" y="642"/>
                  </a:lnTo>
                  <a:lnTo>
                    <a:pt x="362" y="642"/>
                  </a:lnTo>
                  <a:lnTo>
                    <a:pt x="362" y="640"/>
                  </a:lnTo>
                  <a:lnTo>
                    <a:pt x="360" y="640"/>
                  </a:lnTo>
                  <a:lnTo>
                    <a:pt x="363" y="640"/>
                  </a:lnTo>
                  <a:lnTo>
                    <a:pt x="366" y="639"/>
                  </a:lnTo>
                  <a:lnTo>
                    <a:pt x="374" y="631"/>
                  </a:lnTo>
                  <a:lnTo>
                    <a:pt x="377" y="630"/>
                  </a:lnTo>
                  <a:lnTo>
                    <a:pt x="380" y="628"/>
                  </a:lnTo>
                  <a:lnTo>
                    <a:pt x="380" y="628"/>
                  </a:lnTo>
                  <a:lnTo>
                    <a:pt x="397" y="625"/>
                  </a:lnTo>
                  <a:lnTo>
                    <a:pt x="402" y="625"/>
                  </a:lnTo>
                  <a:lnTo>
                    <a:pt x="403" y="625"/>
                  </a:lnTo>
                  <a:lnTo>
                    <a:pt x="403" y="627"/>
                  </a:lnTo>
                  <a:lnTo>
                    <a:pt x="403" y="627"/>
                  </a:lnTo>
                  <a:lnTo>
                    <a:pt x="405" y="627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10" y="620"/>
                  </a:lnTo>
                  <a:lnTo>
                    <a:pt x="411" y="619"/>
                  </a:lnTo>
                  <a:lnTo>
                    <a:pt x="413" y="616"/>
                  </a:lnTo>
                  <a:lnTo>
                    <a:pt x="419" y="611"/>
                  </a:lnTo>
                  <a:lnTo>
                    <a:pt x="420" y="610"/>
                  </a:lnTo>
                  <a:lnTo>
                    <a:pt x="422" y="607"/>
                  </a:lnTo>
                  <a:lnTo>
                    <a:pt x="422" y="605"/>
                  </a:lnTo>
                  <a:lnTo>
                    <a:pt x="423" y="605"/>
                  </a:lnTo>
                  <a:lnTo>
                    <a:pt x="423" y="603"/>
                  </a:lnTo>
                  <a:lnTo>
                    <a:pt x="422" y="602"/>
                  </a:lnTo>
                  <a:lnTo>
                    <a:pt x="422" y="600"/>
                  </a:lnTo>
                  <a:lnTo>
                    <a:pt x="423" y="599"/>
                  </a:lnTo>
                  <a:lnTo>
                    <a:pt x="425" y="597"/>
                  </a:lnTo>
                  <a:lnTo>
                    <a:pt x="425" y="596"/>
                  </a:lnTo>
                  <a:lnTo>
                    <a:pt x="426" y="590"/>
                  </a:lnTo>
                  <a:lnTo>
                    <a:pt x="426" y="590"/>
                  </a:lnTo>
                  <a:lnTo>
                    <a:pt x="426" y="588"/>
                  </a:lnTo>
                  <a:lnTo>
                    <a:pt x="428" y="587"/>
                  </a:lnTo>
                  <a:lnTo>
                    <a:pt x="430" y="585"/>
                  </a:lnTo>
                  <a:lnTo>
                    <a:pt x="434" y="582"/>
                  </a:lnTo>
                  <a:lnTo>
                    <a:pt x="434" y="580"/>
                  </a:lnTo>
                  <a:lnTo>
                    <a:pt x="437" y="577"/>
                  </a:lnTo>
                  <a:lnTo>
                    <a:pt x="439" y="574"/>
                  </a:lnTo>
                  <a:lnTo>
                    <a:pt x="442" y="573"/>
                  </a:lnTo>
                  <a:lnTo>
                    <a:pt x="442" y="571"/>
                  </a:lnTo>
                  <a:lnTo>
                    <a:pt x="443" y="570"/>
                  </a:lnTo>
                  <a:lnTo>
                    <a:pt x="443" y="568"/>
                  </a:lnTo>
                  <a:lnTo>
                    <a:pt x="445" y="567"/>
                  </a:lnTo>
                  <a:lnTo>
                    <a:pt x="445" y="565"/>
                  </a:lnTo>
                  <a:lnTo>
                    <a:pt x="445" y="563"/>
                  </a:lnTo>
                  <a:lnTo>
                    <a:pt x="445" y="563"/>
                  </a:lnTo>
                  <a:lnTo>
                    <a:pt x="443" y="562"/>
                  </a:lnTo>
                  <a:lnTo>
                    <a:pt x="443" y="560"/>
                  </a:lnTo>
                  <a:lnTo>
                    <a:pt x="445" y="556"/>
                  </a:lnTo>
                  <a:lnTo>
                    <a:pt x="447" y="551"/>
                  </a:lnTo>
                  <a:lnTo>
                    <a:pt x="454" y="540"/>
                  </a:lnTo>
                  <a:lnTo>
                    <a:pt x="454" y="540"/>
                  </a:lnTo>
                  <a:lnTo>
                    <a:pt x="456" y="537"/>
                  </a:lnTo>
                  <a:lnTo>
                    <a:pt x="454" y="537"/>
                  </a:lnTo>
                  <a:lnTo>
                    <a:pt x="453" y="536"/>
                  </a:lnTo>
                  <a:lnTo>
                    <a:pt x="453" y="533"/>
                  </a:lnTo>
                  <a:lnTo>
                    <a:pt x="454" y="530"/>
                  </a:lnTo>
                  <a:lnTo>
                    <a:pt x="456" y="523"/>
                  </a:lnTo>
                  <a:lnTo>
                    <a:pt x="460" y="510"/>
                  </a:lnTo>
                  <a:lnTo>
                    <a:pt x="462" y="508"/>
                  </a:lnTo>
                  <a:lnTo>
                    <a:pt x="470" y="500"/>
                  </a:lnTo>
                  <a:lnTo>
                    <a:pt x="470" y="499"/>
                  </a:lnTo>
                  <a:lnTo>
                    <a:pt x="471" y="496"/>
                  </a:lnTo>
                  <a:lnTo>
                    <a:pt x="474" y="491"/>
                  </a:lnTo>
                  <a:lnTo>
                    <a:pt x="476" y="490"/>
                  </a:lnTo>
                  <a:lnTo>
                    <a:pt x="477" y="490"/>
                  </a:lnTo>
                  <a:lnTo>
                    <a:pt x="476" y="488"/>
                  </a:lnTo>
                  <a:lnTo>
                    <a:pt x="476" y="488"/>
                  </a:lnTo>
                  <a:lnTo>
                    <a:pt x="474" y="486"/>
                  </a:lnTo>
                  <a:lnTo>
                    <a:pt x="476" y="486"/>
                  </a:lnTo>
                  <a:lnTo>
                    <a:pt x="476" y="486"/>
                  </a:lnTo>
                  <a:lnTo>
                    <a:pt x="474" y="483"/>
                  </a:lnTo>
                  <a:lnTo>
                    <a:pt x="474" y="482"/>
                  </a:lnTo>
                  <a:lnTo>
                    <a:pt x="474" y="480"/>
                  </a:lnTo>
                  <a:lnTo>
                    <a:pt x="474" y="479"/>
                  </a:lnTo>
                  <a:lnTo>
                    <a:pt x="473" y="477"/>
                  </a:lnTo>
                  <a:lnTo>
                    <a:pt x="473" y="474"/>
                  </a:lnTo>
                  <a:lnTo>
                    <a:pt x="473" y="473"/>
                  </a:lnTo>
                  <a:lnTo>
                    <a:pt x="471" y="470"/>
                  </a:lnTo>
                  <a:lnTo>
                    <a:pt x="465" y="462"/>
                  </a:lnTo>
                  <a:lnTo>
                    <a:pt x="465" y="460"/>
                  </a:lnTo>
                  <a:lnTo>
                    <a:pt x="463" y="460"/>
                  </a:lnTo>
                  <a:lnTo>
                    <a:pt x="463" y="460"/>
                  </a:lnTo>
                  <a:lnTo>
                    <a:pt x="462" y="462"/>
                  </a:lnTo>
                  <a:lnTo>
                    <a:pt x="460" y="462"/>
                  </a:lnTo>
                  <a:lnTo>
                    <a:pt x="460" y="460"/>
                  </a:lnTo>
                  <a:lnTo>
                    <a:pt x="459" y="459"/>
                  </a:lnTo>
                  <a:lnTo>
                    <a:pt x="459" y="457"/>
                  </a:lnTo>
                  <a:lnTo>
                    <a:pt x="459" y="457"/>
                  </a:lnTo>
                  <a:lnTo>
                    <a:pt x="451" y="457"/>
                  </a:lnTo>
                  <a:lnTo>
                    <a:pt x="450" y="457"/>
                  </a:lnTo>
                  <a:lnTo>
                    <a:pt x="445" y="460"/>
                  </a:lnTo>
                  <a:lnTo>
                    <a:pt x="443" y="462"/>
                  </a:lnTo>
                  <a:lnTo>
                    <a:pt x="442" y="460"/>
                  </a:lnTo>
                  <a:lnTo>
                    <a:pt x="439" y="459"/>
                  </a:lnTo>
                  <a:lnTo>
                    <a:pt x="437" y="459"/>
                  </a:lnTo>
                  <a:lnTo>
                    <a:pt x="436" y="459"/>
                  </a:lnTo>
                  <a:lnTo>
                    <a:pt x="436" y="459"/>
                  </a:lnTo>
                  <a:lnTo>
                    <a:pt x="434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3" y="460"/>
                  </a:lnTo>
                  <a:lnTo>
                    <a:pt x="433" y="460"/>
                  </a:lnTo>
                  <a:lnTo>
                    <a:pt x="431" y="460"/>
                  </a:lnTo>
                  <a:lnTo>
                    <a:pt x="430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8" y="462"/>
                  </a:lnTo>
                  <a:lnTo>
                    <a:pt x="426" y="460"/>
                  </a:lnTo>
                  <a:lnTo>
                    <a:pt x="426" y="462"/>
                  </a:lnTo>
                  <a:lnTo>
                    <a:pt x="423" y="460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62"/>
                  </a:lnTo>
                  <a:lnTo>
                    <a:pt x="420" y="462"/>
                  </a:lnTo>
                  <a:lnTo>
                    <a:pt x="419" y="460"/>
                  </a:lnTo>
                  <a:lnTo>
                    <a:pt x="416" y="460"/>
                  </a:lnTo>
                  <a:lnTo>
                    <a:pt x="410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5" y="459"/>
                  </a:lnTo>
                  <a:lnTo>
                    <a:pt x="405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2" y="457"/>
                  </a:lnTo>
                  <a:lnTo>
                    <a:pt x="391" y="457"/>
                  </a:lnTo>
                  <a:lnTo>
                    <a:pt x="390" y="457"/>
                  </a:lnTo>
                  <a:lnTo>
                    <a:pt x="385" y="462"/>
                  </a:lnTo>
                  <a:lnTo>
                    <a:pt x="382" y="462"/>
                  </a:lnTo>
                  <a:lnTo>
                    <a:pt x="379" y="462"/>
                  </a:lnTo>
                  <a:lnTo>
                    <a:pt x="368" y="459"/>
                  </a:lnTo>
                  <a:lnTo>
                    <a:pt x="363" y="454"/>
                  </a:lnTo>
                  <a:lnTo>
                    <a:pt x="354" y="454"/>
                  </a:lnTo>
                  <a:lnTo>
                    <a:pt x="353" y="454"/>
                  </a:lnTo>
                  <a:lnTo>
                    <a:pt x="351" y="456"/>
                  </a:lnTo>
                  <a:lnTo>
                    <a:pt x="349" y="456"/>
                  </a:lnTo>
                  <a:lnTo>
                    <a:pt x="349" y="456"/>
                  </a:lnTo>
                  <a:lnTo>
                    <a:pt x="348" y="456"/>
                  </a:lnTo>
                  <a:lnTo>
                    <a:pt x="348" y="456"/>
                  </a:lnTo>
                  <a:lnTo>
                    <a:pt x="346" y="457"/>
                  </a:lnTo>
                  <a:lnTo>
                    <a:pt x="348" y="459"/>
                  </a:lnTo>
                  <a:lnTo>
                    <a:pt x="346" y="460"/>
                  </a:lnTo>
                  <a:lnTo>
                    <a:pt x="345" y="462"/>
                  </a:lnTo>
                  <a:lnTo>
                    <a:pt x="345" y="463"/>
                  </a:lnTo>
                  <a:lnTo>
                    <a:pt x="343" y="463"/>
                  </a:lnTo>
                  <a:lnTo>
                    <a:pt x="342" y="463"/>
                  </a:lnTo>
                  <a:lnTo>
                    <a:pt x="339" y="462"/>
                  </a:lnTo>
                  <a:lnTo>
                    <a:pt x="340" y="466"/>
                  </a:lnTo>
                  <a:lnTo>
                    <a:pt x="339" y="466"/>
                  </a:lnTo>
                  <a:lnTo>
                    <a:pt x="339" y="466"/>
                  </a:lnTo>
                  <a:lnTo>
                    <a:pt x="337" y="466"/>
                  </a:lnTo>
                  <a:lnTo>
                    <a:pt x="336" y="466"/>
                  </a:lnTo>
                  <a:lnTo>
                    <a:pt x="337" y="465"/>
                  </a:lnTo>
                  <a:lnTo>
                    <a:pt x="337" y="465"/>
                  </a:lnTo>
                  <a:lnTo>
                    <a:pt x="337" y="463"/>
                  </a:lnTo>
                  <a:lnTo>
                    <a:pt x="333" y="463"/>
                  </a:lnTo>
                  <a:lnTo>
                    <a:pt x="322" y="473"/>
                  </a:lnTo>
                  <a:lnTo>
                    <a:pt x="320" y="473"/>
                  </a:lnTo>
                  <a:lnTo>
                    <a:pt x="313" y="473"/>
                  </a:lnTo>
                  <a:lnTo>
                    <a:pt x="306" y="474"/>
                  </a:lnTo>
                  <a:lnTo>
                    <a:pt x="303" y="474"/>
                  </a:lnTo>
                  <a:lnTo>
                    <a:pt x="306" y="476"/>
                  </a:lnTo>
                  <a:lnTo>
                    <a:pt x="308" y="477"/>
                  </a:lnTo>
                  <a:lnTo>
                    <a:pt x="306" y="479"/>
                  </a:lnTo>
                  <a:lnTo>
                    <a:pt x="305" y="479"/>
                  </a:lnTo>
                  <a:lnTo>
                    <a:pt x="303" y="479"/>
                  </a:lnTo>
                  <a:lnTo>
                    <a:pt x="303" y="480"/>
                  </a:lnTo>
                  <a:lnTo>
                    <a:pt x="302" y="482"/>
                  </a:lnTo>
                  <a:lnTo>
                    <a:pt x="300" y="483"/>
                  </a:lnTo>
                  <a:lnTo>
                    <a:pt x="299" y="483"/>
                  </a:lnTo>
                  <a:lnTo>
                    <a:pt x="299" y="483"/>
                  </a:lnTo>
                  <a:lnTo>
                    <a:pt x="299" y="485"/>
                  </a:lnTo>
                  <a:lnTo>
                    <a:pt x="297" y="486"/>
                  </a:lnTo>
                  <a:lnTo>
                    <a:pt x="296" y="486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2" y="485"/>
                  </a:lnTo>
                  <a:lnTo>
                    <a:pt x="292" y="483"/>
                  </a:lnTo>
                  <a:lnTo>
                    <a:pt x="294" y="480"/>
                  </a:lnTo>
                  <a:lnTo>
                    <a:pt x="294" y="479"/>
                  </a:lnTo>
                  <a:lnTo>
                    <a:pt x="292" y="479"/>
                  </a:lnTo>
                  <a:lnTo>
                    <a:pt x="291" y="479"/>
                  </a:lnTo>
                  <a:lnTo>
                    <a:pt x="291" y="479"/>
                  </a:lnTo>
                  <a:lnTo>
                    <a:pt x="294" y="479"/>
                  </a:lnTo>
                  <a:lnTo>
                    <a:pt x="296" y="479"/>
                  </a:lnTo>
                  <a:lnTo>
                    <a:pt x="297" y="479"/>
                  </a:lnTo>
                  <a:lnTo>
                    <a:pt x="296" y="477"/>
                  </a:lnTo>
                  <a:lnTo>
                    <a:pt x="297" y="476"/>
                  </a:lnTo>
                  <a:lnTo>
                    <a:pt x="299" y="474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3" y="468"/>
                  </a:lnTo>
                  <a:lnTo>
                    <a:pt x="306" y="466"/>
                  </a:lnTo>
                  <a:lnTo>
                    <a:pt x="308" y="463"/>
                  </a:lnTo>
                  <a:lnTo>
                    <a:pt x="309" y="460"/>
                  </a:lnTo>
                  <a:lnTo>
                    <a:pt x="309" y="459"/>
                  </a:lnTo>
                  <a:lnTo>
                    <a:pt x="308" y="459"/>
                  </a:lnTo>
                  <a:lnTo>
                    <a:pt x="305" y="462"/>
                  </a:lnTo>
                  <a:lnTo>
                    <a:pt x="303" y="462"/>
                  </a:lnTo>
                  <a:lnTo>
                    <a:pt x="303" y="463"/>
                  </a:lnTo>
                  <a:lnTo>
                    <a:pt x="302" y="463"/>
                  </a:lnTo>
                  <a:lnTo>
                    <a:pt x="297" y="463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4" y="462"/>
                  </a:lnTo>
                  <a:lnTo>
                    <a:pt x="291" y="463"/>
                  </a:lnTo>
                  <a:lnTo>
                    <a:pt x="289" y="466"/>
                  </a:lnTo>
                  <a:lnTo>
                    <a:pt x="285" y="468"/>
                  </a:lnTo>
                  <a:lnTo>
                    <a:pt x="285" y="470"/>
                  </a:lnTo>
                  <a:lnTo>
                    <a:pt x="283" y="471"/>
                  </a:lnTo>
                  <a:lnTo>
                    <a:pt x="283" y="473"/>
                  </a:lnTo>
                  <a:lnTo>
                    <a:pt x="282" y="473"/>
                  </a:lnTo>
                  <a:lnTo>
                    <a:pt x="279" y="474"/>
                  </a:lnTo>
                  <a:lnTo>
                    <a:pt x="279" y="474"/>
                  </a:lnTo>
                  <a:lnTo>
                    <a:pt x="279" y="474"/>
                  </a:lnTo>
                  <a:lnTo>
                    <a:pt x="279" y="473"/>
                  </a:lnTo>
                  <a:lnTo>
                    <a:pt x="279" y="471"/>
                  </a:lnTo>
                  <a:lnTo>
                    <a:pt x="280" y="470"/>
                  </a:lnTo>
                  <a:lnTo>
                    <a:pt x="285" y="465"/>
                  </a:lnTo>
                  <a:lnTo>
                    <a:pt x="286" y="465"/>
                  </a:lnTo>
                  <a:lnTo>
                    <a:pt x="286" y="463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9" y="460"/>
                  </a:lnTo>
                  <a:lnTo>
                    <a:pt x="291" y="460"/>
                  </a:lnTo>
                  <a:lnTo>
                    <a:pt x="296" y="459"/>
                  </a:lnTo>
                  <a:lnTo>
                    <a:pt x="297" y="459"/>
                  </a:lnTo>
                  <a:lnTo>
                    <a:pt x="299" y="459"/>
                  </a:lnTo>
                  <a:lnTo>
                    <a:pt x="303" y="454"/>
                  </a:lnTo>
                  <a:lnTo>
                    <a:pt x="306" y="453"/>
                  </a:lnTo>
                  <a:lnTo>
                    <a:pt x="308" y="454"/>
                  </a:lnTo>
                  <a:lnTo>
                    <a:pt x="308" y="457"/>
                  </a:lnTo>
                  <a:lnTo>
                    <a:pt x="308" y="457"/>
                  </a:lnTo>
                  <a:lnTo>
                    <a:pt x="309" y="459"/>
                  </a:lnTo>
                  <a:lnTo>
                    <a:pt x="311" y="459"/>
                  </a:lnTo>
                  <a:lnTo>
                    <a:pt x="311" y="457"/>
                  </a:lnTo>
                  <a:lnTo>
                    <a:pt x="314" y="454"/>
                  </a:lnTo>
                  <a:lnTo>
                    <a:pt x="316" y="453"/>
                  </a:lnTo>
                  <a:lnTo>
                    <a:pt x="325" y="439"/>
                  </a:lnTo>
                  <a:lnTo>
                    <a:pt x="326" y="439"/>
                  </a:lnTo>
                  <a:lnTo>
                    <a:pt x="326" y="436"/>
                  </a:lnTo>
                  <a:lnTo>
                    <a:pt x="326" y="434"/>
                  </a:lnTo>
                  <a:lnTo>
                    <a:pt x="325" y="434"/>
                  </a:lnTo>
                  <a:lnTo>
                    <a:pt x="323" y="436"/>
                  </a:lnTo>
                  <a:lnTo>
                    <a:pt x="322" y="439"/>
                  </a:lnTo>
                  <a:lnTo>
                    <a:pt x="319" y="442"/>
                  </a:lnTo>
                  <a:lnTo>
                    <a:pt x="316" y="443"/>
                  </a:lnTo>
                  <a:lnTo>
                    <a:pt x="314" y="442"/>
                  </a:lnTo>
                  <a:lnTo>
                    <a:pt x="314" y="440"/>
                  </a:lnTo>
                  <a:lnTo>
                    <a:pt x="314" y="439"/>
                  </a:lnTo>
                  <a:lnTo>
                    <a:pt x="311" y="437"/>
                  </a:lnTo>
                  <a:lnTo>
                    <a:pt x="306" y="442"/>
                  </a:lnTo>
                  <a:lnTo>
                    <a:pt x="305" y="440"/>
                  </a:lnTo>
                  <a:lnTo>
                    <a:pt x="300" y="437"/>
                  </a:lnTo>
                  <a:lnTo>
                    <a:pt x="300" y="440"/>
                  </a:lnTo>
                  <a:lnTo>
                    <a:pt x="299" y="440"/>
                  </a:lnTo>
                  <a:lnTo>
                    <a:pt x="297" y="439"/>
                  </a:lnTo>
                  <a:lnTo>
                    <a:pt x="296" y="437"/>
                  </a:lnTo>
                  <a:lnTo>
                    <a:pt x="294" y="436"/>
                  </a:lnTo>
                  <a:lnTo>
                    <a:pt x="292" y="436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5" y="434"/>
                  </a:lnTo>
                  <a:lnTo>
                    <a:pt x="280" y="428"/>
                  </a:lnTo>
                  <a:lnTo>
                    <a:pt x="282" y="429"/>
                  </a:lnTo>
                  <a:lnTo>
                    <a:pt x="283" y="431"/>
                  </a:lnTo>
                  <a:lnTo>
                    <a:pt x="286" y="434"/>
                  </a:lnTo>
                  <a:lnTo>
                    <a:pt x="288" y="436"/>
                  </a:lnTo>
                  <a:lnTo>
                    <a:pt x="294" y="434"/>
                  </a:lnTo>
                  <a:lnTo>
                    <a:pt x="296" y="434"/>
                  </a:lnTo>
                  <a:lnTo>
                    <a:pt x="300" y="436"/>
                  </a:lnTo>
                  <a:lnTo>
                    <a:pt x="302" y="436"/>
                  </a:lnTo>
                  <a:lnTo>
                    <a:pt x="303" y="436"/>
                  </a:lnTo>
                  <a:lnTo>
                    <a:pt x="303" y="434"/>
                  </a:lnTo>
                  <a:lnTo>
                    <a:pt x="305" y="434"/>
                  </a:lnTo>
                  <a:lnTo>
                    <a:pt x="306" y="434"/>
                  </a:lnTo>
                  <a:lnTo>
                    <a:pt x="308" y="434"/>
                  </a:lnTo>
                  <a:lnTo>
                    <a:pt x="309" y="434"/>
                  </a:lnTo>
                  <a:lnTo>
                    <a:pt x="309" y="433"/>
                  </a:lnTo>
                  <a:lnTo>
                    <a:pt x="309" y="431"/>
                  </a:lnTo>
                  <a:lnTo>
                    <a:pt x="311" y="428"/>
                  </a:lnTo>
                  <a:lnTo>
                    <a:pt x="309" y="426"/>
                  </a:lnTo>
                  <a:lnTo>
                    <a:pt x="308" y="425"/>
                  </a:lnTo>
                  <a:lnTo>
                    <a:pt x="308" y="425"/>
                  </a:lnTo>
                  <a:lnTo>
                    <a:pt x="305" y="425"/>
                  </a:lnTo>
                  <a:lnTo>
                    <a:pt x="305" y="423"/>
                  </a:lnTo>
                  <a:lnTo>
                    <a:pt x="303" y="422"/>
                  </a:lnTo>
                  <a:lnTo>
                    <a:pt x="303" y="422"/>
                  </a:lnTo>
                  <a:lnTo>
                    <a:pt x="303" y="420"/>
                  </a:lnTo>
                  <a:lnTo>
                    <a:pt x="306" y="422"/>
                  </a:lnTo>
                  <a:lnTo>
                    <a:pt x="308" y="422"/>
                  </a:lnTo>
                  <a:lnTo>
                    <a:pt x="308" y="423"/>
                  </a:lnTo>
                  <a:lnTo>
                    <a:pt x="308" y="423"/>
                  </a:lnTo>
                  <a:lnTo>
                    <a:pt x="308" y="423"/>
                  </a:lnTo>
                  <a:lnTo>
                    <a:pt x="309" y="425"/>
                  </a:lnTo>
                  <a:lnTo>
                    <a:pt x="309" y="423"/>
                  </a:lnTo>
                  <a:lnTo>
                    <a:pt x="309" y="422"/>
                  </a:lnTo>
                  <a:lnTo>
                    <a:pt x="311" y="422"/>
                  </a:lnTo>
                  <a:lnTo>
                    <a:pt x="311" y="420"/>
                  </a:lnTo>
                  <a:lnTo>
                    <a:pt x="316" y="417"/>
                  </a:lnTo>
                  <a:lnTo>
                    <a:pt x="319" y="417"/>
                  </a:lnTo>
                  <a:lnTo>
                    <a:pt x="320" y="416"/>
                  </a:lnTo>
                  <a:lnTo>
                    <a:pt x="320" y="416"/>
                  </a:lnTo>
                  <a:lnTo>
                    <a:pt x="322" y="414"/>
                  </a:lnTo>
                  <a:lnTo>
                    <a:pt x="322" y="411"/>
                  </a:lnTo>
                  <a:lnTo>
                    <a:pt x="323" y="409"/>
                  </a:lnTo>
                  <a:lnTo>
                    <a:pt x="323" y="408"/>
                  </a:lnTo>
                  <a:lnTo>
                    <a:pt x="329" y="406"/>
                  </a:lnTo>
                  <a:lnTo>
                    <a:pt x="346" y="393"/>
                  </a:lnTo>
                  <a:lnTo>
                    <a:pt x="349" y="388"/>
                  </a:lnTo>
                  <a:lnTo>
                    <a:pt x="351" y="386"/>
                  </a:lnTo>
                  <a:lnTo>
                    <a:pt x="351" y="383"/>
                  </a:lnTo>
                  <a:lnTo>
                    <a:pt x="351" y="383"/>
                  </a:lnTo>
                  <a:lnTo>
                    <a:pt x="356" y="379"/>
                  </a:lnTo>
                  <a:lnTo>
                    <a:pt x="359" y="377"/>
                  </a:lnTo>
                  <a:lnTo>
                    <a:pt x="365" y="374"/>
                  </a:lnTo>
                  <a:lnTo>
                    <a:pt x="368" y="373"/>
                  </a:lnTo>
                  <a:lnTo>
                    <a:pt x="371" y="369"/>
                  </a:lnTo>
                  <a:lnTo>
                    <a:pt x="374" y="363"/>
                  </a:lnTo>
                  <a:lnTo>
                    <a:pt x="377" y="357"/>
                  </a:lnTo>
                  <a:lnTo>
                    <a:pt x="379" y="352"/>
                  </a:lnTo>
                  <a:lnTo>
                    <a:pt x="379" y="352"/>
                  </a:lnTo>
                  <a:lnTo>
                    <a:pt x="380" y="351"/>
                  </a:lnTo>
                  <a:lnTo>
                    <a:pt x="380" y="349"/>
                  </a:lnTo>
                  <a:lnTo>
                    <a:pt x="380" y="348"/>
                  </a:lnTo>
                  <a:lnTo>
                    <a:pt x="379" y="348"/>
                  </a:lnTo>
                  <a:lnTo>
                    <a:pt x="379" y="348"/>
                  </a:lnTo>
                  <a:lnTo>
                    <a:pt x="377" y="348"/>
                  </a:lnTo>
                  <a:lnTo>
                    <a:pt x="377" y="348"/>
                  </a:lnTo>
                  <a:lnTo>
                    <a:pt x="376" y="348"/>
                  </a:lnTo>
                  <a:lnTo>
                    <a:pt x="374" y="346"/>
                  </a:lnTo>
                  <a:lnTo>
                    <a:pt x="374" y="343"/>
                  </a:lnTo>
                  <a:lnTo>
                    <a:pt x="376" y="340"/>
                  </a:lnTo>
                  <a:lnTo>
                    <a:pt x="376" y="340"/>
                  </a:lnTo>
                  <a:lnTo>
                    <a:pt x="379" y="337"/>
                  </a:lnTo>
                  <a:lnTo>
                    <a:pt x="379" y="337"/>
                  </a:lnTo>
                  <a:lnTo>
                    <a:pt x="380" y="334"/>
                  </a:lnTo>
                  <a:lnTo>
                    <a:pt x="380" y="332"/>
                  </a:lnTo>
                  <a:lnTo>
                    <a:pt x="380" y="331"/>
                  </a:lnTo>
                  <a:lnTo>
                    <a:pt x="382" y="328"/>
                  </a:lnTo>
                  <a:lnTo>
                    <a:pt x="383" y="325"/>
                  </a:lnTo>
                  <a:lnTo>
                    <a:pt x="380" y="325"/>
                  </a:lnTo>
                  <a:lnTo>
                    <a:pt x="376" y="325"/>
                  </a:lnTo>
                  <a:lnTo>
                    <a:pt x="373" y="325"/>
                  </a:lnTo>
                  <a:lnTo>
                    <a:pt x="369" y="322"/>
                  </a:lnTo>
                  <a:lnTo>
                    <a:pt x="366" y="323"/>
                  </a:lnTo>
                  <a:lnTo>
                    <a:pt x="362" y="325"/>
                  </a:lnTo>
                  <a:lnTo>
                    <a:pt x="359" y="325"/>
                  </a:lnTo>
                  <a:lnTo>
                    <a:pt x="359" y="323"/>
                  </a:lnTo>
                  <a:lnTo>
                    <a:pt x="359" y="322"/>
                  </a:lnTo>
                  <a:lnTo>
                    <a:pt x="357" y="320"/>
                  </a:lnTo>
                  <a:lnTo>
                    <a:pt x="357" y="320"/>
                  </a:lnTo>
                  <a:lnTo>
                    <a:pt x="356" y="320"/>
                  </a:lnTo>
                  <a:lnTo>
                    <a:pt x="356" y="320"/>
                  </a:lnTo>
                  <a:lnTo>
                    <a:pt x="354" y="323"/>
                  </a:lnTo>
                  <a:lnTo>
                    <a:pt x="354" y="325"/>
                  </a:lnTo>
                  <a:lnTo>
                    <a:pt x="356" y="326"/>
                  </a:lnTo>
                  <a:lnTo>
                    <a:pt x="357" y="328"/>
                  </a:lnTo>
                  <a:lnTo>
                    <a:pt x="359" y="328"/>
                  </a:lnTo>
                  <a:lnTo>
                    <a:pt x="357" y="331"/>
                  </a:lnTo>
                  <a:lnTo>
                    <a:pt x="356" y="331"/>
                  </a:lnTo>
                  <a:lnTo>
                    <a:pt x="351" y="329"/>
                  </a:lnTo>
                  <a:lnTo>
                    <a:pt x="346" y="331"/>
                  </a:lnTo>
                  <a:lnTo>
                    <a:pt x="345" y="331"/>
                  </a:lnTo>
                  <a:lnTo>
                    <a:pt x="343" y="329"/>
                  </a:lnTo>
                  <a:lnTo>
                    <a:pt x="343" y="329"/>
                  </a:lnTo>
                  <a:lnTo>
                    <a:pt x="343" y="328"/>
                  </a:lnTo>
                  <a:lnTo>
                    <a:pt x="342" y="328"/>
                  </a:lnTo>
                  <a:lnTo>
                    <a:pt x="340" y="326"/>
                  </a:lnTo>
                  <a:lnTo>
                    <a:pt x="336" y="328"/>
                  </a:lnTo>
                  <a:lnTo>
                    <a:pt x="333" y="329"/>
                  </a:lnTo>
                  <a:lnTo>
                    <a:pt x="328" y="334"/>
                  </a:lnTo>
                  <a:lnTo>
                    <a:pt x="323" y="334"/>
                  </a:lnTo>
                  <a:lnTo>
                    <a:pt x="317" y="336"/>
                  </a:lnTo>
                  <a:lnTo>
                    <a:pt x="311" y="334"/>
                  </a:lnTo>
                  <a:lnTo>
                    <a:pt x="309" y="336"/>
                  </a:lnTo>
                  <a:lnTo>
                    <a:pt x="309" y="334"/>
                  </a:lnTo>
                  <a:lnTo>
                    <a:pt x="308" y="332"/>
                  </a:lnTo>
                  <a:lnTo>
                    <a:pt x="308" y="331"/>
                  </a:lnTo>
                  <a:lnTo>
                    <a:pt x="308" y="332"/>
                  </a:lnTo>
                  <a:lnTo>
                    <a:pt x="306" y="332"/>
                  </a:lnTo>
                  <a:lnTo>
                    <a:pt x="306" y="332"/>
                  </a:lnTo>
                  <a:lnTo>
                    <a:pt x="305" y="336"/>
                  </a:lnTo>
                  <a:lnTo>
                    <a:pt x="305" y="336"/>
                  </a:lnTo>
                  <a:lnTo>
                    <a:pt x="303" y="337"/>
                  </a:lnTo>
                  <a:lnTo>
                    <a:pt x="303" y="337"/>
                  </a:lnTo>
                  <a:lnTo>
                    <a:pt x="302" y="336"/>
                  </a:lnTo>
                  <a:lnTo>
                    <a:pt x="299" y="336"/>
                  </a:lnTo>
                  <a:lnTo>
                    <a:pt x="299" y="336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296" y="339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2" y="339"/>
                  </a:lnTo>
                  <a:lnTo>
                    <a:pt x="292" y="339"/>
                  </a:lnTo>
                  <a:lnTo>
                    <a:pt x="292" y="340"/>
                  </a:lnTo>
                  <a:lnTo>
                    <a:pt x="291" y="340"/>
                  </a:lnTo>
                  <a:lnTo>
                    <a:pt x="292" y="342"/>
                  </a:lnTo>
                  <a:lnTo>
                    <a:pt x="291" y="342"/>
                  </a:lnTo>
                  <a:lnTo>
                    <a:pt x="288" y="339"/>
                  </a:lnTo>
                  <a:lnTo>
                    <a:pt x="286" y="339"/>
                  </a:lnTo>
                  <a:lnTo>
                    <a:pt x="286" y="339"/>
                  </a:lnTo>
                  <a:lnTo>
                    <a:pt x="285" y="340"/>
                  </a:lnTo>
                  <a:lnTo>
                    <a:pt x="282" y="342"/>
                  </a:lnTo>
                  <a:lnTo>
                    <a:pt x="282" y="342"/>
                  </a:lnTo>
                  <a:lnTo>
                    <a:pt x="279" y="345"/>
                  </a:lnTo>
                  <a:lnTo>
                    <a:pt x="277" y="345"/>
                  </a:lnTo>
                  <a:lnTo>
                    <a:pt x="277" y="346"/>
                  </a:lnTo>
                  <a:lnTo>
                    <a:pt x="277" y="346"/>
                  </a:lnTo>
                  <a:lnTo>
                    <a:pt x="277" y="346"/>
                  </a:lnTo>
                  <a:lnTo>
                    <a:pt x="277" y="348"/>
                  </a:lnTo>
                  <a:lnTo>
                    <a:pt x="276" y="351"/>
                  </a:lnTo>
                  <a:lnTo>
                    <a:pt x="274" y="352"/>
                  </a:lnTo>
                  <a:lnTo>
                    <a:pt x="272" y="352"/>
                  </a:lnTo>
                  <a:lnTo>
                    <a:pt x="274" y="349"/>
                  </a:lnTo>
                  <a:lnTo>
                    <a:pt x="276" y="346"/>
                  </a:lnTo>
                  <a:lnTo>
                    <a:pt x="277" y="343"/>
                  </a:lnTo>
                  <a:lnTo>
                    <a:pt x="279" y="342"/>
                  </a:lnTo>
                  <a:lnTo>
                    <a:pt x="279" y="340"/>
                  </a:lnTo>
                  <a:lnTo>
                    <a:pt x="279" y="340"/>
                  </a:lnTo>
                  <a:lnTo>
                    <a:pt x="279" y="340"/>
                  </a:lnTo>
                  <a:lnTo>
                    <a:pt x="279" y="339"/>
                  </a:lnTo>
                  <a:lnTo>
                    <a:pt x="274" y="336"/>
                  </a:lnTo>
                  <a:lnTo>
                    <a:pt x="271" y="334"/>
                  </a:lnTo>
                  <a:lnTo>
                    <a:pt x="268" y="334"/>
                  </a:lnTo>
                  <a:lnTo>
                    <a:pt x="266" y="334"/>
                  </a:lnTo>
                  <a:lnTo>
                    <a:pt x="265" y="337"/>
                  </a:lnTo>
                  <a:lnTo>
                    <a:pt x="265" y="339"/>
                  </a:lnTo>
                  <a:lnTo>
                    <a:pt x="265" y="342"/>
                  </a:lnTo>
                  <a:lnTo>
                    <a:pt x="263" y="343"/>
                  </a:lnTo>
                  <a:lnTo>
                    <a:pt x="262" y="343"/>
                  </a:lnTo>
                  <a:lnTo>
                    <a:pt x="260" y="345"/>
                  </a:lnTo>
                  <a:lnTo>
                    <a:pt x="260" y="346"/>
                  </a:lnTo>
                  <a:lnTo>
                    <a:pt x="259" y="348"/>
                  </a:lnTo>
                  <a:lnTo>
                    <a:pt x="254" y="352"/>
                  </a:lnTo>
                  <a:lnTo>
                    <a:pt x="252" y="352"/>
                  </a:lnTo>
                  <a:lnTo>
                    <a:pt x="254" y="351"/>
                  </a:lnTo>
                  <a:lnTo>
                    <a:pt x="256" y="348"/>
                  </a:lnTo>
                  <a:lnTo>
                    <a:pt x="257" y="345"/>
                  </a:lnTo>
                  <a:lnTo>
                    <a:pt x="259" y="342"/>
                  </a:lnTo>
                  <a:lnTo>
                    <a:pt x="260" y="340"/>
                  </a:lnTo>
                  <a:lnTo>
                    <a:pt x="260" y="340"/>
                  </a:lnTo>
                  <a:lnTo>
                    <a:pt x="260" y="339"/>
                  </a:lnTo>
                  <a:lnTo>
                    <a:pt x="260" y="337"/>
                  </a:lnTo>
                  <a:lnTo>
                    <a:pt x="260" y="337"/>
                  </a:lnTo>
                  <a:lnTo>
                    <a:pt x="259" y="337"/>
                  </a:lnTo>
                  <a:lnTo>
                    <a:pt x="257" y="334"/>
                  </a:lnTo>
                  <a:lnTo>
                    <a:pt x="256" y="334"/>
                  </a:lnTo>
                  <a:lnTo>
                    <a:pt x="254" y="331"/>
                  </a:lnTo>
                  <a:lnTo>
                    <a:pt x="252" y="329"/>
                  </a:lnTo>
                  <a:lnTo>
                    <a:pt x="252" y="332"/>
                  </a:lnTo>
                  <a:lnTo>
                    <a:pt x="252" y="334"/>
                  </a:lnTo>
                  <a:lnTo>
                    <a:pt x="251" y="334"/>
                  </a:lnTo>
                  <a:lnTo>
                    <a:pt x="251" y="336"/>
                  </a:lnTo>
                  <a:lnTo>
                    <a:pt x="251" y="337"/>
                  </a:lnTo>
                  <a:lnTo>
                    <a:pt x="251" y="339"/>
                  </a:lnTo>
                  <a:lnTo>
                    <a:pt x="251" y="340"/>
                  </a:lnTo>
                  <a:lnTo>
                    <a:pt x="249" y="342"/>
                  </a:lnTo>
                  <a:lnTo>
                    <a:pt x="249" y="340"/>
                  </a:lnTo>
                  <a:lnTo>
                    <a:pt x="249" y="340"/>
                  </a:lnTo>
                  <a:lnTo>
                    <a:pt x="249" y="339"/>
                  </a:lnTo>
                  <a:lnTo>
                    <a:pt x="249" y="337"/>
                  </a:lnTo>
                  <a:lnTo>
                    <a:pt x="249" y="337"/>
                  </a:lnTo>
                  <a:lnTo>
                    <a:pt x="249" y="336"/>
                  </a:lnTo>
                  <a:lnTo>
                    <a:pt x="249" y="332"/>
                  </a:lnTo>
                  <a:lnTo>
                    <a:pt x="249" y="332"/>
                  </a:lnTo>
                  <a:lnTo>
                    <a:pt x="248" y="331"/>
                  </a:lnTo>
                  <a:lnTo>
                    <a:pt x="246" y="329"/>
                  </a:lnTo>
                  <a:lnTo>
                    <a:pt x="235" y="326"/>
                  </a:lnTo>
                  <a:lnTo>
                    <a:pt x="235" y="328"/>
                  </a:lnTo>
                  <a:lnTo>
                    <a:pt x="234" y="331"/>
                  </a:lnTo>
                  <a:lnTo>
                    <a:pt x="234" y="334"/>
                  </a:lnTo>
                  <a:lnTo>
                    <a:pt x="234" y="337"/>
                  </a:lnTo>
                  <a:lnTo>
                    <a:pt x="234" y="337"/>
                  </a:lnTo>
                  <a:lnTo>
                    <a:pt x="234" y="339"/>
                  </a:lnTo>
                  <a:lnTo>
                    <a:pt x="232" y="340"/>
                  </a:lnTo>
                  <a:lnTo>
                    <a:pt x="228" y="343"/>
                  </a:lnTo>
                  <a:lnTo>
                    <a:pt x="228" y="343"/>
                  </a:lnTo>
                  <a:lnTo>
                    <a:pt x="228" y="345"/>
                  </a:lnTo>
                  <a:lnTo>
                    <a:pt x="228" y="346"/>
                  </a:lnTo>
                  <a:lnTo>
                    <a:pt x="235" y="354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28" y="354"/>
                  </a:lnTo>
                  <a:lnTo>
                    <a:pt x="228" y="356"/>
                  </a:lnTo>
                  <a:lnTo>
                    <a:pt x="228" y="356"/>
                  </a:lnTo>
                  <a:lnTo>
                    <a:pt x="229" y="356"/>
                  </a:lnTo>
                  <a:lnTo>
                    <a:pt x="229" y="356"/>
                  </a:lnTo>
                  <a:lnTo>
                    <a:pt x="229" y="356"/>
                  </a:lnTo>
                  <a:lnTo>
                    <a:pt x="228" y="356"/>
                  </a:lnTo>
                  <a:lnTo>
                    <a:pt x="228" y="357"/>
                  </a:lnTo>
                  <a:lnTo>
                    <a:pt x="229" y="357"/>
                  </a:lnTo>
                  <a:lnTo>
                    <a:pt x="229" y="357"/>
                  </a:lnTo>
                  <a:lnTo>
                    <a:pt x="231" y="357"/>
                  </a:lnTo>
                  <a:lnTo>
                    <a:pt x="231" y="356"/>
                  </a:lnTo>
                  <a:lnTo>
                    <a:pt x="231" y="357"/>
                  </a:lnTo>
                  <a:lnTo>
                    <a:pt x="231" y="359"/>
                  </a:lnTo>
                  <a:lnTo>
                    <a:pt x="232" y="359"/>
                  </a:lnTo>
                  <a:lnTo>
                    <a:pt x="234" y="362"/>
                  </a:lnTo>
                  <a:lnTo>
                    <a:pt x="231" y="362"/>
                  </a:lnTo>
                  <a:lnTo>
                    <a:pt x="226" y="359"/>
                  </a:lnTo>
                  <a:lnTo>
                    <a:pt x="226" y="359"/>
                  </a:lnTo>
                  <a:lnTo>
                    <a:pt x="225" y="357"/>
                  </a:lnTo>
                  <a:lnTo>
                    <a:pt x="225" y="357"/>
                  </a:lnTo>
                  <a:lnTo>
                    <a:pt x="225" y="357"/>
                  </a:lnTo>
                  <a:lnTo>
                    <a:pt x="225" y="359"/>
                  </a:lnTo>
                  <a:lnTo>
                    <a:pt x="225" y="359"/>
                  </a:lnTo>
                  <a:lnTo>
                    <a:pt x="225" y="360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5"/>
                  </a:lnTo>
                  <a:lnTo>
                    <a:pt x="225" y="366"/>
                  </a:lnTo>
                  <a:lnTo>
                    <a:pt x="223" y="366"/>
                  </a:lnTo>
                  <a:lnTo>
                    <a:pt x="223" y="366"/>
                  </a:lnTo>
                  <a:lnTo>
                    <a:pt x="223" y="368"/>
                  </a:lnTo>
                  <a:lnTo>
                    <a:pt x="223" y="369"/>
                  </a:lnTo>
                  <a:lnTo>
                    <a:pt x="223" y="369"/>
                  </a:lnTo>
                  <a:lnTo>
                    <a:pt x="225" y="373"/>
                  </a:lnTo>
                  <a:lnTo>
                    <a:pt x="225" y="373"/>
                  </a:lnTo>
                  <a:lnTo>
                    <a:pt x="226" y="374"/>
                  </a:lnTo>
                  <a:lnTo>
                    <a:pt x="228" y="377"/>
                  </a:lnTo>
                  <a:lnTo>
                    <a:pt x="229" y="377"/>
                  </a:lnTo>
                  <a:lnTo>
                    <a:pt x="231" y="377"/>
                  </a:lnTo>
                  <a:lnTo>
                    <a:pt x="232" y="379"/>
                  </a:lnTo>
                  <a:lnTo>
                    <a:pt x="232" y="380"/>
                  </a:lnTo>
                  <a:lnTo>
                    <a:pt x="234" y="379"/>
                  </a:lnTo>
                  <a:lnTo>
                    <a:pt x="234" y="379"/>
                  </a:lnTo>
                  <a:lnTo>
                    <a:pt x="234" y="377"/>
                  </a:lnTo>
                  <a:lnTo>
                    <a:pt x="235" y="377"/>
                  </a:lnTo>
                  <a:lnTo>
                    <a:pt x="240" y="379"/>
                  </a:lnTo>
                  <a:lnTo>
                    <a:pt x="240" y="379"/>
                  </a:lnTo>
                  <a:lnTo>
                    <a:pt x="237" y="380"/>
                  </a:lnTo>
                  <a:lnTo>
                    <a:pt x="237" y="380"/>
                  </a:lnTo>
                  <a:lnTo>
                    <a:pt x="239" y="382"/>
                  </a:lnTo>
                  <a:lnTo>
                    <a:pt x="240" y="383"/>
                  </a:lnTo>
                  <a:lnTo>
                    <a:pt x="240" y="385"/>
                  </a:lnTo>
                  <a:lnTo>
                    <a:pt x="235" y="380"/>
                  </a:lnTo>
                  <a:lnTo>
                    <a:pt x="234" y="380"/>
                  </a:lnTo>
                  <a:lnTo>
                    <a:pt x="231" y="380"/>
                  </a:lnTo>
                  <a:lnTo>
                    <a:pt x="229" y="380"/>
                  </a:lnTo>
                  <a:lnTo>
                    <a:pt x="228" y="379"/>
                  </a:lnTo>
                  <a:lnTo>
                    <a:pt x="226" y="377"/>
                  </a:lnTo>
                  <a:lnTo>
                    <a:pt x="225" y="377"/>
                  </a:lnTo>
                  <a:lnTo>
                    <a:pt x="225" y="379"/>
                  </a:lnTo>
                  <a:lnTo>
                    <a:pt x="223" y="379"/>
                  </a:lnTo>
                  <a:lnTo>
                    <a:pt x="223" y="380"/>
                  </a:lnTo>
                  <a:lnTo>
                    <a:pt x="222" y="379"/>
                  </a:lnTo>
                  <a:lnTo>
                    <a:pt x="219" y="379"/>
                  </a:lnTo>
                  <a:lnTo>
                    <a:pt x="217" y="380"/>
                  </a:lnTo>
                  <a:lnTo>
                    <a:pt x="215" y="382"/>
                  </a:lnTo>
                  <a:lnTo>
                    <a:pt x="214" y="382"/>
                  </a:lnTo>
                  <a:lnTo>
                    <a:pt x="212" y="382"/>
                  </a:lnTo>
                  <a:lnTo>
                    <a:pt x="209" y="379"/>
                  </a:lnTo>
                  <a:lnTo>
                    <a:pt x="208" y="379"/>
                  </a:lnTo>
                  <a:lnTo>
                    <a:pt x="206" y="379"/>
                  </a:lnTo>
                  <a:lnTo>
                    <a:pt x="206" y="382"/>
                  </a:lnTo>
                  <a:lnTo>
                    <a:pt x="209" y="386"/>
                  </a:lnTo>
                  <a:lnTo>
                    <a:pt x="211" y="388"/>
                  </a:lnTo>
                  <a:lnTo>
                    <a:pt x="211" y="388"/>
                  </a:lnTo>
                  <a:lnTo>
                    <a:pt x="211" y="388"/>
                  </a:lnTo>
                  <a:lnTo>
                    <a:pt x="211" y="389"/>
                  </a:lnTo>
                  <a:lnTo>
                    <a:pt x="211" y="389"/>
                  </a:lnTo>
                  <a:lnTo>
                    <a:pt x="211" y="391"/>
                  </a:lnTo>
                  <a:lnTo>
                    <a:pt x="212" y="391"/>
                  </a:lnTo>
                  <a:lnTo>
                    <a:pt x="212" y="391"/>
                  </a:lnTo>
                  <a:lnTo>
                    <a:pt x="214" y="393"/>
                  </a:lnTo>
                  <a:lnTo>
                    <a:pt x="212" y="393"/>
                  </a:lnTo>
                  <a:lnTo>
                    <a:pt x="214" y="394"/>
                  </a:lnTo>
                  <a:lnTo>
                    <a:pt x="215" y="394"/>
                  </a:lnTo>
                  <a:lnTo>
                    <a:pt x="217" y="394"/>
                  </a:lnTo>
                  <a:lnTo>
                    <a:pt x="217" y="396"/>
                  </a:lnTo>
                  <a:lnTo>
                    <a:pt x="217" y="396"/>
                  </a:lnTo>
                  <a:lnTo>
                    <a:pt x="214" y="396"/>
                  </a:lnTo>
                  <a:lnTo>
                    <a:pt x="214" y="397"/>
                  </a:lnTo>
                  <a:lnTo>
                    <a:pt x="215" y="397"/>
                  </a:lnTo>
                  <a:lnTo>
                    <a:pt x="215" y="399"/>
                  </a:lnTo>
                  <a:lnTo>
                    <a:pt x="214" y="399"/>
                  </a:lnTo>
                  <a:lnTo>
                    <a:pt x="214" y="400"/>
                  </a:lnTo>
                  <a:lnTo>
                    <a:pt x="214" y="400"/>
                  </a:lnTo>
                  <a:lnTo>
                    <a:pt x="214" y="402"/>
                  </a:lnTo>
                  <a:lnTo>
                    <a:pt x="214" y="403"/>
                  </a:lnTo>
                  <a:lnTo>
                    <a:pt x="215" y="403"/>
                  </a:lnTo>
                  <a:lnTo>
                    <a:pt x="212" y="406"/>
                  </a:lnTo>
                  <a:lnTo>
                    <a:pt x="211" y="406"/>
                  </a:lnTo>
                  <a:lnTo>
                    <a:pt x="209" y="405"/>
                  </a:lnTo>
                  <a:lnTo>
                    <a:pt x="208" y="406"/>
                  </a:lnTo>
                  <a:lnTo>
                    <a:pt x="206" y="403"/>
                  </a:lnTo>
                  <a:lnTo>
                    <a:pt x="203" y="402"/>
                  </a:lnTo>
                  <a:lnTo>
                    <a:pt x="202" y="403"/>
                  </a:lnTo>
                  <a:lnTo>
                    <a:pt x="205" y="408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3" y="411"/>
                  </a:lnTo>
                  <a:lnTo>
                    <a:pt x="206" y="411"/>
                  </a:lnTo>
                  <a:lnTo>
                    <a:pt x="208" y="411"/>
                  </a:lnTo>
                  <a:lnTo>
                    <a:pt x="209" y="413"/>
                  </a:lnTo>
                  <a:lnTo>
                    <a:pt x="209" y="414"/>
                  </a:lnTo>
                  <a:lnTo>
                    <a:pt x="209" y="414"/>
                  </a:lnTo>
                  <a:lnTo>
                    <a:pt x="209" y="414"/>
                  </a:lnTo>
                  <a:lnTo>
                    <a:pt x="211" y="414"/>
                  </a:lnTo>
                  <a:lnTo>
                    <a:pt x="214" y="419"/>
                  </a:lnTo>
                  <a:lnTo>
                    <a:pt x="215" y="419"/>
                  </a:lnTo>
                  <a:lnTo>
                    <a:pt x="217" y="420"/>
                  </a:lnTo>
                  <a:lnTo>
                    <a:pt x="219" y="420"/>
                  </a:lnTo>
                  <a:lnTo>
                    <a:pt x="220" y="422"/>
                  </a:lnTo>
                  <a:lnTo>
                    <a:pt x="220" y="423"/>
                  </a:lnTo>
                  <a:lnTo>
                    <a:pt x="222" y="425"/>
                  </a:lnTo>
                  <a:lnTo>
                    <a:pt x="220" y="426"/>
                  </a:lnTo>
                  <a:lnTo>
                    <a:pt x="219" y="426"/>
                  </a:lnTo>
                  <a:lnTo>
                    <a:pt x="219" y="426"/>
                  </a:lnTo>
                  <a:lnTo>
                    <a:pt x="220" y="428"/>
                  </a:lnTo>
                  <a:lnTo>
                    <a:pt x="228" y="434"/>
                  </a:lnTo>
                  <a:lnTo>
                    <a:pt x="228" y="434"/>
                  </a:lnTo>
                  <a:lnTo>
                    <a:pt x="229" y="436"/>
                  </a:lnTo>
                  <a:lnTo>
                    <a:pt x="229" y="437"/>
                  </a:lnTo>
                  <a:lnTo>
                    <a:pt x="229" y="439"/>
                  </a:lnTo>
                  <a:lnTo>
                    <a:pt x="231" y="439"/>
                  </a:lnTo>
                  <a:lnTo>
                    <a:pt x="229" y="439"/>
                  </a:lnTo>
                  <a:lnTo>
                    <a:pt x="226" y="434"/>
                  </a:lnTo>
                  <a:lnTo>
                    <a:pt x="223" y="433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19" y="429"/>
                  </a:lnTo>
                  <a:lnTo>
                    <a:pt x="217" y="428"/>
                  </a:lnTo>
                  <a:lnTo>
                    <a:pt x="217" y="428"/>
                  </a:lnTo>
                  <a:lnTo>
                    <a:pt x="215" y="428"/>
                  </a:lnTo>
                  <a:lnTo>
                    <a:pt x="214" y="428"/>
                  </a:lnTo>
                  <a:lnTo>
                    <a:pt x="214" y="428"/>
                  </a:lnTo>
                  <a:lnTo>
                    <a:pt x="211" y="428"/>
                  </a:lnTo>
                  <a:lnTo>
                    <a:pt x="209" y="425"/>
                  </a:lnTo>
                  <a:lnTo>
                    <a:pt x="208" y="423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6" y="426"/>
                  </a:lnTo>
                  <a:lnTo>
                    <a:pt x="206" y="426"/>
                  </a:lnTo>
                  <a:lnTo>
                    <a:pt x="206" y="426"/>
                  </a:lnTo>
                  <a:lnTo>
                    <a:pt x="206" y="428"/>
                  </a:lnTo>
                  <a:lnTo>
                    <a:pt x="206" y="428"/>
                  </a:lnTo>
                  <a:lnTo>
                    <a:pt x="211" y="429"/>
                  </a:lnTo>
                  <a:lnTo>
                    <a:pt x="215" y="434"/>
                  </a:lnTo>
                  <a:lnTo>
                    <a:pt x="217" y="434"/>
                  </a:lnTo>
                  <a:lnTo>
                    <a:pt x="217" y="436"/>
                  </a:lnTo>
                  <a:lnTo>
                    <a:pt x="219" y="437"/>
                  </a:lnTo>
                  <a:lnTo>
                    <a:pt x="214" y="436"/>
                  </a:lnTo>
                  <a:lnTo>
                    <a:pt x="211" y="434"/>
                  </a:lnTo>
                  <a:lnTo>
                    <a:pt x="209" y="431"/>
                  </a:lnTo>
                  <a:lnTo>
                    <a:pt x="208" y="429"/>
                  </a:lnTo>
                  <a:lnTo>
                    <a:pt x="205" y="428"/>
                  </a:lnTo>
                  <a:lnTo>
                    <a:pt x="203" y="428"/>
                  </a:lnTo>
                  <a:lnTo>
                    <a:pt x="203" y="429"/>
                  </a:lnTo>
                  <a:lnTo>
                    <a:pt x="202" y="434"/>
                  </a:lnTo>
                  <a:lnTo>
                    <a:pt x="202" y="436"/>
                  </a:lnTo>
                  <a:lnTo>
                    <a:pt x="202" y="436"/>
                  </a:lnTo>
                  <a:lnTo>
                    <a:pt x="199" y="436"/>
                  </a:lnTo>
                  <a:lnTo>
                    <a:pt x="195" y="434"/>
                  </a:lnTo>
                  <a:lnTo>
                    <a:pt x="194" y="431"/>
                  </a:lnTo>
                  <a:lnTo>
                    <a:pt x="194" y="428"/>
                  </a:lnTo>
                  <a:lnTo>
                    <a:pt x="192" y="428"/>
                  </a:lnTo>
                  <a:lnTo>
                    <a:pt x="191" y="426"/>
                  </a:lnTo>
                  <a:lnTo>
                    <a:pt x="189" y="426"/>
                  </a:lnTo>
                  <a:lnTo>
                    <a:pt x="189" y="426"/>
                  </a:lnTo>
                  <a:lnTo>
                    <a:pt x="188" y="429"/>
                  </a:lnTo>
                  <a:lnTo>
                    <a:pt x="186" y="431"/>
                  </a:lnTo>
                  <a:lnTo>
                    <a:pt x="186" y="431"/>
                  </a:lnTo>
                  <a:lnTo>
                    <a:pt x="188" y="431"/>
                  </a:lnTo>
                  <a:lnTo>
                    <a:pt x="188" y="431"/>
                  </a:lnTo>
                  <a:lnTo>
                    <a:pt x="186" y="433"/>
                  </a:lnTo>
                  <a:lnTo>
                    <a:pt x="188" y="434"/>
                  </a:lnTo>
                  <a:lnTo>
                    <a:pt x="191" y="437"/>
                  </a:lnTo>
                  <a:lnTo>
                    <a:pt x="192" y="439"/>
                  </a:lnTo>
                  <a:lnTo>
                    <a:pt x="192" y="442"/>
                  </a:lnTo>
                  <a:lnTo>
                    <a:pt x="191" y="443"/>
                  </a:lnTo>
                  <a:lnTo>
                    <a:pt x="192" y="446"/>
                  </a:lnTo>
                  <a:lnTo>
                    <a:pt x="191" y="445"/>
                  </a:lnTo>
                  <a:lnTo>
                    <a:pt x="189" y="445"/>
                  </a:lnTo>
                  <a:lnTo>
                    <a:pt x="189" y="445"/>
                  </a:lnTo>
                  <a:lnTo>
                    <a:pt x="189" y="446"/>
                  </a:lnTo>
                  <a:lnTo>
                    <a:pt x="189" y="446"/>
                  </a:lnTo>
                  <a:lnTo>
                    <a:pt x="191" y="448"/>
                  </a:lnTo>
                  <a:lnTo>
                    <a:pt x="189" y="448"/>
                  </a:lnTo>
                  <a:lnTo>
                    <a:pt x="188" y="448"/>
                  </a:lnTo>
                  <a:lnTo>
                    <a:pt x="186" y="446"/>
                  </a:lnTo>
                  <a:lnTo>
                    <a:pt x="186" y="445"/>
                  </a:lnTo>
                  <a:lnTo>
                    <a:pt x="186" y="443"/>
                  </a:lnTo>
                  <a:lnTo>
                    <a:pt x="185" y="440"/>
                  </a:lnTo>
                  <a:lnTo>
                    <a:pt x="185" y="437"/>
                  </a:lnTo>
                  <a:lnTo>
                    <a:pt x="185" y="436"/>
                  </a:lnTo>
                  <a:lnTo>
                    <a:pt x="183" y="434"/>
                  </a:lnTo>
                  <a:lnTo>
                    <a:pt x="182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6"/>
                  </a:lnTo>
                  <a:lnTo>
                    <a:pt x="175" y="436"/>
                  </a:lnTo>
                  <a:lnTo>
                    <a:pt x="175" y="437"/>
                  </a:lnTo>
                  <a:lnTo>
                    <a:pt x="175" y="439"/>
                  </a:lnTo>
                  <a:lnTo>
                    <a:pt x="175" y="440"/>
                  </a:lnTo>
                  <a:lnTo>
                    <a:pt x="175" y="443"/>
                  </a:lnTo>
                  <a:lnTo>
                    <a:pt x="175" y="445"/>
                  </a:lnTo>
                  <a:lnTo>
                    <a:pt x="175" y="446"/>
                  </a:lnTo>
                  <a:lnTo>
                    <a:pt x="175" y="450"/>
                  </a:lnTo>
                  <a:lnTo>
                    <a:pt x="175" y="451"/>
                  </a:lnTo>
                  <a:lnTo>
                    <a:pt x="182" y="453"/>
                  </a:lnTo>
                  <a:lnTo>
                    <a:pt x="183" y="454"/>
                  </a:lnTo>
                  <a:lnTo>
                    <a:pt x="183" y="454"/>
                  </a:lnTo>
                  <a:lnTo>
                    <a:pt x="183" y="456"/>
                  </a:lnTo>
                  <a:lnTo>
                    <a:pt x="185" y="456"/>
                  </a:lnTo>
                  <a:lnTo>
                    <a:pt x="185" y="456"/>
                  </a:lnTo>
                  <a:lnTo>
                    <a:pt x="185" y="457"/>
                  </a:lnTo>
                  <a:lnTo>
                    <a:pt x="183" y="459"/>
                  </a:lnTo>
                  <a:lnTo>
                    <a:pt x="183" y="459"/>
                  </a:lnTo>
                  <a:lnTo>
                    <a:pt x="180" y="457"/>
                  </a:lnTo>
                  <a:lnTo>
                    <a:pt x="180" y="457"/>
                  </a:lnTo>
                  <a:lnTo>
                    <a:pt x="177" y="459"/>
                  </a:lnTo>
                  <a:lnTo>
                    <a:pt x="177" y="459"/>
                  </a:lnTo>
                  <a:lnTo>
                    <a:pt x="177" y="460"/>
                  </a:lnTo>
                  <a:lnTo>
                    <a:pt x="175" y="462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7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0" y="470"/>
                  </a:lnTo>
                  <a:lnTo>
                    <a:pt x="182" y="471"/>
                  </a:lnTo>
                  <a:lnTo>
                    <a:pt x="182" y="474"/>
                  </a:lnTo>
                  <a:lnTo>
                    <a:pt x="185" y="474"/>
                  </a:lnTo>
                  <a:lnTo>
                    <a:pt x="185" y="476"/>
                  </a:lnTo>
                  <a:lnTo>
                    <a:pt x="183" y="476"/>
                  </a:lnTo>
                  <a:lnTo>
                    <a:pt x="186" y="479"/>
                  </a:lnTo>
                  <a:lnTo>
                    <a:pt x="188" y="477"/>
                  </a:lnTo>
                  <a:lnTo>
                    <a:pt x="191" y="477"/>
                  </a:lnTo>
                  <a:lnTo>
                    <a:pt x="195" y="477"/>
                  </a:lnTo>
                  <a:lnTo>
                    <a:pt x="197" y="480"/>
                  </a:lnTo>
                  <a:lnTo>
                    <a:pt x="197" y="480"/>
                  </a:lnTo>
                  <a:lnTo>
                    <a:pt x="195" y="480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82"/>
                  </a:lnTo>
                  <a:lnTo>
                    <a:pt x="188" y="482"/>
                  </a:lnTo>
                  <a:lnTo>
                    <a:pt x="188" y="483"/>
                  </a:lnTo>
                  <a:lnTo>
                    <a:pt x="188" y="483"/>
                  </a:lnTo>
                  <a:lnTo>
                    <a:pt x="186" y="483"/>
                  </a:lnTo>
                  <a:lnTo>
                    <a:pt x="185" y="482"/>
                  </a:lnTo>
                  <a:lnTo>
                    <a:pt x="185" y="482"/>
                  </a:lnTo>
                  <a:lnTo>
                    <a:pt x="183" y="479"/>
                  </a:lnTo>
                  <a:lnTo>
                    <a:pt x="182" y="480"/>
                  </a:lnTo>
                  <a:lnTo>
                    <a:pt x="182" y="479"/>
                  </a:lnTo>
                  <a:lnTo>
                    <a:pt x="177" y="476"/>
                  </a:lnTo>
                  <a:lnTo>
                    <a:pt x="175" y="474"/>
                  </a:lnTo>
                  <a:lnTo>
                    <a:pt x="174" y="474"/>
                  </a:lnTo>
                  <a:lnTo>
                    <a:pt x="172" y="474"/>
                  </a:lnTo>
                  <a:lnTo>
                    <a:pt x="172" y="476"/>
                  </a:lnTo>
                  <a:lnTo>
                    <a:pt x="174" y="477"/>
                  </a:lnTo>
                  <a:lnTo>
                    <a:pt x="174" y="477"/>
                  </a:lnTo>
                  <a:lnTo>
                    <a:pt x="172" y="477"/>
                  </a:lnTo>
                  <a:lnTo>
                    <a:pt x="172" y="479"/>
                  </a:lnTo>
                  <a:lnTo>
                    <a:pt x="172" y="480"/>
                  </a:lnTo>
                  <a:lnTo>
                    <a:pt x="172" y="482"/>
                  </a:lnTo>
                  <a:lnTo>
                    <a:pt x="172" y="483"/>
                  </a:lnTo>
                  <a:lnTo>
                    <a:pt x="171" y="485"/>
                  </a:lnTo>
                  <a:lnTo>
                    <a:pt x="171" y="486"/>
                  </a:lnTo>
                  <a:lnTo>
                    <a:pt x="171" y="488"/>
                  </a:lnTo>
                  <a:lnTo>
                    <a:pt x="171" y="491"/>
                  </a:lnTo>
                  <a:lnTo>
                    <a:pt x="171" y="493"/>
                  </a:lnTo>
                  <a:lnTo>
                    <a:pt x="172" y="493"/>
                  </a:lnTo>
                  <a:lnTo>
                    <a:pt x="174" y="493"/>
                  </a:lnTo>
                  <a:lnTo>
                    <a:pt x="175" y="493"/>
                  </a:lnTo>
                  <a:lnTo>
                    <a:pt x="174" y="494"/>
                  </a:lnTo>
                  <a:lnTo>
                    <a:pt x="174" y="496"/>
                  </a:lnTo>
                  <a:lnTo>
                    <a:pt x="174" y="497"/>
                  </a:lnTo>
                  <a:lnTo>
                    <a:pt x="174" y="497"/>
                  </a:lnTo>
                  <a:lnTo>
                    <a:pt x="175" y="499"/>
                  </a:lnTo>
                  <a:lnTo>
                    <a:pt x="175" y="499"/>
                  </a:lnTo>
                  <a:lnTo>
                    <a:pt x="175" y="499"/>
                  </a:lnTo>
                  <a:lnTo>
                    <a:pt x="174" y="500"/>
                  </a:lnTo>
                  <a:lnTo>
                    <a:pt x="174" y="500"/>
                  </a:lnTo>
                  <a:lnTo>
                    <a:pt x="174" y="500"/>
                  </a:lnTo>
                  <a:lnTo>
                    <a:pt x="175" y="505"/>
                  </a:lnTo>
                  <a:lnTo>
                    <a:pt x="177" y="506"/>
                  </a:lnTo>
                  <a:lnTo>
                    <a:pt x="182" y="505"/>
                  </a:lnTo>
                  <a:lnTo>
                    <a:pt x="183" y="505"/>
                  </a:lnTo>
                  <a:lnTo>
                    <a:pt x="188" y="499"/>
                  </a:lnTo>
                  <a:lnTo>
                    <a:pt x="189" y="497"/>
                  </a:lnTo>
                  <a:lnTo>
                    <a:pt x="189" y="497"/>
                  </a:lnTo>
                  <a:lnTo>
                    <a:pt x="189" y="497"/>
                  </a:lnTo>
                  <a:lnTo>
                    <a:pt x="189" y="499"/>
                  </a:lnTo>
                  <a:lnTo>
                    <a:pt x="191" y="500"/>
                  </a:lnTo>
                  <a:lnTo>
                    <a:pt x="189" y="502"/>
                  </a:lnTo>
                  <a:lnTo>
                    <a:pt x="188" y="503"/>
                  </a:lnTo>
                  <a:lnTo>
                    <a:pt x="189" y="503"/>
                  </a:lnTo>
                  <a:lnTo>
                    <a:pt x="192" y="503"/>
                  </a:lnTo>
                  <a:lnTo>
                    <a:pt x="194" y="505"/>
                  </a:lnTo>
                  <a:lnTo>
                    <a:pt x="195" y="503"/>
                  </a:lnTo>
                  <a:lnTo>
                    <a:pt x="199" y="497"/>
                  </a:lnTo>
                  <a:lnTo>
                    <a:pt x="200" y="496"/>
                  </a:lnTo>
                  <a:lnTo>
                    <a:pt x="202" y="496"/>
                  </a:lnTo>
                  <a:lnTo>
                    <a:pt x="202" y="500"/>
                  </a:lnTo>
                  <a:lnTo>
                    <a:pt x="199" y="503"/>
                  </a:lnTo>
                  <a:lnTo>
                    <a:pt x="189" y="506"/>
                  </a:lnTo>
                  <a:lnTo>
                    <a:pt x="188" y="508"/>
                  </a:lnTo>
                  <a:lnTo>
                    <a:pt x="188" y="506"/>
                  </a:lnTo>
                  <a:lnTo>
                    <a:pt x="188" y="506"/>
                  </a:lnTo>
                  <a:lnTo>
                    <a:pt x="186" y="505"/>
                  </a:lnTo>
                  <a:lnTo>
                    <a:pt x="186" y="506"/>
                  </a:lnTo>
                  <a:lnTo>
                    <a:pt x="185" y="506"/>
                  </a:lnTo>
                  <a:lnTo>
                    <a:pt x="183" y="508"/>
                  </a:lnTo>
                  <a:lnTo>
                    <a:pt x="183" y="508"/>
                  </a:lnTo>
                  <a:lnTo>
                    <a:pt x="182" y="513"/>
                  </a:lnTo>
                  <a:lnTo>
                    <a:pt x="182" y="513"/>
                  </a:lnTo>
                  <a:lnTo>
                    <a:pt x="182" y="516"/>
                  </a:lnTo>
                  <a:lnTo>
                    <a:pt x="183" y="516"/>
                  </a:lnTo>
                  <a:lnTo>
                    <a:pt x="186" y="514"/>
                  </a:lnTo>
                  <a:lnTo>
                    <a:pt x="188" y="514"/>
                  </a:lnTo>
                  <a:lnTo>
                    <a:pt x="191" y="516"/>
                  </a:lnTo>
                  <a:lnTo>
                    <a:pt x="192" y="516"/>
                  </a:lnTo>
                  <a:lnTo>
                    <a:pt x="194" y="516"/>
                  </a:lnTo>
                  <a:lnTo>
                    <a:pt x="197" y="514"/>
                  </a:lnTo>
                  <a:lnTo>
                    <a:pt x="197" y="513"/>
                  </a:lnTo>
                  <a:lnTo>
                    <a:pt x="199" y="513"/>
                  </a:lnTo>
                  <a:lnTo>
                    <a:pt x="200" y="511"/>
                  </a:lnTo>
                  <a:lnTo>
                    <a:pt x="200" y="510"/>
                  </a:lnTo>
                  <a:lnTo>
                    <a:pt x="203" y="510"/>
                  </a:lnTo>
                  <a:lnTo>
                    <a:pt x="203" y="511"/>
                  </a:lnTo>
                  <a:lnTo>
                    <a:pt x="200" y="513"/>
                  </a:lnTo>
                  <a:lnTo>
                    <a:pt x="199" y="514"/>
                  </a:lnTo>
                  <a:lnTo>
                    <a:pt x="199" y="516"/>
                  </a:lnTo>
                  <a:lnTo>
                    <a:pt x="199" y="517"/>
                  </a:lnTo>
                  <a:lnTo>
                    <a:pt x="200" y="517"/>
                  </a:lnTo>
                  <a:lnTo>
                    <a:pt x="200" y="519"/>
                  </a:lnTo>
                  <a:lnTo>
                    <a:pt x="202" y="520"/>
                  </a:lnTo>
                  <a:lnTo>
                    <a:pt x="202" y="520"/>
                  </a:lnTo>
                  <a:lnTo>
                    <a:pt x="205" y="522"/>
                  </a:lnTo>
                  <a:lnTo>
                    <a:pt x="205" y="522"/>
                  </a:lnTo>
                  <a:lnTo>
                    <a:pt x="202" y="523"/>
                  </a:lnTo>
                  <a:lnTo>
                    <a:pt x="200" y="522"/>
                  </a:lnTo>
                  <a:lnTo>
                    <a:pt x="197" y="519"/>
                  </a:lnTo>
                  <a:lnTo>
                    <a:pt x="195" y="517"/>
                  </a:lnTo>
                  <a:lnTo>
                    <a:pt x="192" y="517"/>
                  </a:lnTo>
                  <a:lnTo>
                    <a:pt x="189" y="519"/>
                  </a:lnTo>
                  <a:lnTo>
                    <a:pt x="188" y="522"/>
                  </a:lnTo>
                  <a:lnTo>
                    <a:pt x="189" y="525"/>
                  </a:lnTo>
                  <a:lnTo>
                    <a:pt x="188" y="527"/>
                  </a:lnTo>
                  <a:lnTo>
                    <a:pt x="185" y="530"/>
                  </a:lnTo>
                  <a:lnTo>
                    <a:pt x="185" y="533"/>
                  </a:lnTo>
                  <a:lnTo>
                    <a:pt x="186" y="534"/>
                  </a:lnTo>
                  <a:lnTo>
                    <a:pt x="192" y="536"/>
                  </a:lnTo>
                  <a:lnTo>
                    <a:pt x="192" y="537"/>
                  </a:lnTo>
                  <a:lnTo>
                    <a:pt x="194" y="539"/>
                  </a:lnTo>
                  <a:lnTo>
                    <a:pt x="195" y="539"/>
                  </a:lnTo>
                  <a:lnTo>
                    <a:pt x="195" y="539"/>
                  </a:lnTo>
                  <a:lnTo>
                    <a:pt x="199" y="539"/>
                  </a:lnTo>
                  <a:lnTo>
                    <a:pt x="205" y="537"/>
                  </a:lnTo>
                  <a:lnTo>
                    <a:pt x="206" y="539"/>
                  </a:lnTo>
                  <a:lnTo>
                    <a:pt x="206" y="539"/>
                  </a:lnTo>
                  <a:lnTo>
                    <a:pt x="205" y="539"/>
                  </a:lnTo>
                  <a:lnTo>
                    <a:pt x="205" y="539"/>
                  </a:lnTo>
                  <a:lnTo>
                    <a:pt x="203" y="539"/>
                  </a:lnTo>
                  <a:lnTo>
                    <a:pt x="202" y="539"/>
                  </a:lnTo>
                  <a:lnTo>
                    <a:pt x="202" y="540"/>
                  </a:lnTo>
                  <a:lnTo>
                    <a:pt x="202" y="540"/>
                  </a:lnTo>
                  <a:lnTo>
                    <a:pt x="194" y="540"/>
                  </a:lnTo>
                  <a:lnTo>
                    <a:pt x="192" y="539"/>
                  </a:lnTo>
                  <a:lnTo>
                    <a:pt x="189" y="537"/>
                  </a:lnTo>
                  <a:lnTo>
                    <a:pt x="188" y="536"/>
                  </a:lnTo>
                  <a:lnTo>
                    <a:pt x="186" y="537"/>
                  </a:lnTo>
                  <a:lnTo>
                    <a:pt x="185" y="537"/>
                  </a:lnTo>
                  <a:lnTo>
                    <a:pt x="183" y="537"/>
                  </a:lnTo>
                  <a:lnTo>
                    <a:pt x="182" y="537"/>
                  </a:lnTo>
                  <a:lnTo>
                    <a:pt x="182" y="539"/>
                  </a:lnTo>
                  <a:lnTo>
                    <a:pt x="180" y="540"/>
                  </a:lnTo>
                  <a:lnTo>
                    <a:pt x="177" y="543"/>
                  </a:lnTo>
                  <a:lnTo>
                    <a:pt x="177" y="547"/>
                  </a:lnTo>
                  <a:lnTo>
                    <a:pt x="177" y="547"/>
                  </a:lnTo>
                  <a:lnTo>
                    <a:pt x="179" y="547"/>
                  </a:lnTo>
                  <a:lnTo>
                    <a:pt x="180" y="548"/>
                  </a:lnTo>
                  <a:lnTo>
                    <a:pt x="180" y="550"/>
                  </a:lnTo>
                  <a:lnTo>
                    <a:pt x="182" y="548"/>
                  </a:lnTo>
                  <a:lnTo>
                    <a:pt x="183" y="548"/>
                  </a:lnTo>
                  <a:lnTo>
                    <a:pt x="183" y="548"/>
                  </a:lnTo>
                  <a:lnTo>
                    <a:pt x="185" y="550"/>
                  </a:lnTo>
                  <a:lnTo>
                    <a:pt x="185" y="551"/>
                  </a:lnTo>
                  <a:lnTo>
                    <a:pt x="185" y="553"/>
                  </a:lnTo>
                  <a:lnTo>
                    <a:pt x="186" y="554"/>
                  </a:lnTo>
                  <a:lnTo>
                    <a:pt x="188" y="554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4"/>
                  </a:lnTo>
                  <a:lnTo>
                    <a:pt x="192" y="554"/>
                  </a:lnTo>
                  <a:lnTo>
                    <a:pt x="194" y="554"/>
                  </a:lnTo>
                  <a:lnTo>
                    <a:pt x="195" y="554"/>
                  </a:lnTo>
                  <a:lnTo>
                    <a:pt x="197" y="554"/>
                  </a:lnTo>
                  <a:lnTo>
                    <a:pt x="197" y="554"/>
                  </a:lnTo>
                  <a:lnTo>
                    <a:pt x="192" y="556"/>
                  </a:lnTo>
                  <a:lnTo>
                    <a:pt x="189" y="557"/>
                  </a:lnTo>
                  <a:lnTo>
                    <a:pt x="186" y="557"/>
                  </a:lnTo>
                  <a:lnTo>
                    <a:pt x="185" y="556"/>
                  </a:lnTo>
                  <a:lnTo>
                    <a:pt x="185" y="556"/>
                  </a:lnTo>
                  <a:lnTo>
                    <a:pt x="183" y="554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79" y="551"/>
                  </a:lnTo>
                  <a:lnTo>
                    <a:pt x="177" y="551"/>
                  </a:lnTo>
                  <a:lnTo>
                    <a:pt x="175" y="553"/>
                  </a:lnTo>
                  <a:lnTo>
                    <a:pt x="174" y="554"/>
                  </a:lnTo>
                  <a:lnTo>
                    <a:pt x="172" y="557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69" y="565"/>
                  </a:lnTo>
                  <a:lnTo>
                    <a:pt x="171" y="567"/>
                  </a:lnTo>
                  <a:lnTo>
                    <a:pt x="172" y="567"/>
                  </a:lnTo>
                  <a:lnTo>
                    <a:pt x="172" y="568"/>
                  </a:lnTo>
                  <a:lnTo>
                    <a:pt x="169" y="568"/>
                  </a:lnTo>
                  <a:lnTo>
                    <a:pt x="166" y="568"/>
                  </a:lnTo>
                  <a:lnTo>
                    <a:pt x="171" y="570"/>
                  </a:lnTo>
                  <a:lnTo>
                    <a:pt x="177" y="568"/>
                  </a:lnTo>
                  <a:lnTo>
                    <a:pt x="180" y="568"/>
                  </a:lnTo>
                  <a:lnTo>
                    <a:pt x="177" y="571"/>
                  </a:lnTo>
                  <a:lnTo>
                    <a:pt x="177" y="573"/>
                  </a:lnTo>
                  <a:lnTo>
                    <a:pt x="180" y="574"/>
                  </a:lnTo>
                  <a:lnTo>
                    <a:pt x="182" y="574"/>
                  </a:lnTo>
                  <a:lnTo>
                    <a:pt x="183" y="571"/>
                  </a:lnTo>
                  <a:lnTo>
                    <a:pt x="183" y="571"/>
                  </a:lnTo>
                  <a:lnTo>
                    <a:pt x="185" y="571"/>
                  </a:lnTo>
                  <a:lnTo>
                    <a:pt x="186" y="571"/>
                  </a:lnTo>
                  <a:lnTo>
                    <a:pt x="183" y="574"/>
                  </a:lnTo>
                  <a:lnTo>
                    <a:pt x="180" y="576"/>
                  </a:lnTo>
                  <a:lnTo>
                    <a:pt x="172" y="576"/>
                  </a:lnTo>
                  <a:lnTo>
                    <a:pt x="172" y="577"/>
                  </a:lnTo>
                  <a:lnTo>
                    <a:pt x="172" y="579"/>
                  </a:lnTo>
                  <a:lnTo>
                    <a:pt x="174" y="580"/>
                  </a:lnTo>
                  <a:lnTo>
                    <a:pt x="179" y="583"/>
                  </a:lnTo>
                  <a:lnTo>
                    <a:pt x="177" y="583"/>
                  </a:lnTo>
                  <a:lnTo>
                    <a:pt x="175" y="582"/>
                  </a:lnTo>
                  <a:lnTo>
                    <a:pt x="174" y="583"/>
                  </a:lnTo>
                  <a:lnTo>
                    <a:pt x="172" y="585"/>
                  </a:lnTo>
                  <a:lnTo>
                    <a:pt x="172" y="583"/>
                  </a:lnTo>
                  <a:lnTo>
                    <a:pt x="171" y="583"/>
                  </a:lnTo>
                  <a:lnTo>
                    <a:pt x="171" y="583"/>
                  </a:lnTo>
                  <a:lnTo>
                    <a:pt x="169" y="583"/>
                  </a:lnTo>
                  <a:lnTo>
                    <a:pt x="169" y="585"/>
                  </a:lnTo>
                  <a:lnTo>
                    <a:pt x="171" y="585"/>
                  </a:lnTo>
                  <a:lnTo>
                    <a:pt x="171" y="585"/>
                  </a:lnTo>
                  <a:lnTo>
                    <a:pt x="172" y="587"/>
                  </a:lnTo>
                  <a:lnTo>
                    <a:pt x="172" y="588"/>
                  </a:lnTo>
                  <a:lnTo>
                    <a:pt x="171" y="588"/>
                  </a:lnTo>
                  <a:lnTo>
                    <a:pt x="168" y="587"/>
                  </a:lnTo>
                  <a:lnTo>
                    <a:pt x="166" y="585"/>
                  </a:lnTo>
                  <a:lnTo>
                    <a:pt x="166" y="585"/>
                  </a:lnTo>
                  <a:lnTo>
                    <a:pt x="165" y="583"/>
                  </a:lnTo>
                  <a:lnTo>
                    <a:pt x="163" y="583"/>
                  </a:lnTo>
                  <a:lnTo>
                    <a:pt x="163" y="583"/>
                  </a:lnTo>
                  <a:lnTo>
                    <a:pt x="160" y="585"/>
                  </a:lnTo>
                  <a:lnTo>
                    <a:pt x="158" y="587"/>
                  </a:lnTo>
                  <a:lnTo>
                    <a:pt x="148" y="588"/>
                  </a:lnTo>
                  <a:lnTo>
                    <a:pt x="146" y="588"/>
                  </a:lnTo>
                  <a:lnTo>
                    <a:pt x="145" y="591"/>
                  </a:lnTo>
                  <a:lnTo>
                    <a:pt x="145" y="591"/>
                  </a:lnTo>
                  <a:lnTo>
                    <a:pt x="143" y="591"/>
                  </a:lnTo>
                  <a:lnTo>
                    <a:pt x="143" y="591"/>
                  </a:lnTo>
                  <a:lnTo>
                    <a:pt x="143" y="593"/>
                  </a:lnTo>
                  <a:lnTo>
                    <a:pt x="143" y="593"/>
                  </a:lnTo>
                  <a:lnTo>
                    <a:pt x="143" y="594"/>
                  </a:lnTo>
                  <a:lnTo>
                    <a:pt x="145" y="594"/>
                  </a:lnTo>
                  <a:lnTo>
                    <a:pt x="145" y="596"/>
                  </a:lnTo>
                  <a:lnTo>
                    <a:pt x="145" y="596"/>
                  </a:lnTo>
                  <a:lnTo>
                    <a:pt x="148" y="597"/>
                  </a:lnTo>
                  <a:lnTo>
                    <a:pt x="149" y="597"/>
                  </a:lnTo>
                  <a:lnTo>
                    <a:pt x="151" y="597"/>
                  </a:lnTo>
                  <a:lnTo>
                    <a:pt x="152" y="596"/>
                  </a:lnTo>
                  <a:lnTo>
                    <a:pt x="154" y="596"/>
                  </a:lnTo>
                  <a:lnTo>
                    <a:pt x="158" y="597"/>
                  </a:lnTo>
                  <a:lnTo>
                    <a:pt x="165" y="596"/>
                  </a:lnTo>
                  <a:lnTo>
                    <a:pt x="165" y="597"/>
                  </a:lnTo>
                  <a:lnTo>
                    <a:pt x="166" y="597"/>
                  </a:lnTo>
                  <a:lnTo>
                    <a:pt x="168" y="599"/>
                  </a:lnTo>
                  <a:lnTo>
                    <a:pt x="169" y="599"/>
                  </a:lnTo>
                  <a:lnTo>
                    <a:pt x="171" y="597"/>
                  </a:lnTo>
                  <a:lnTo>
                    <a:pt x="180" y="593"/>
                  </a:lnTo>
                  <a:lnTo>
                    <a:pt x="183" y="594"/>
                  </a:lnTo>
                  <a:lnTo>
                    <a:pt x="186" y="596"/>
                  </a:lnTo>
                  <a:lnTo>
                    <a:pt x="188" y="596"/>
                  </a:lnTo>
                  <a:lnTo>
                    <a:pt x="195" y="596"/>
                  </a:lnTo>
                  <a:lnTo>
                    <a:pt x="194" y="596"/>
                  </a:lnTo>
                  <a:lnTo>
                    <a:pt x="191" y="597"/>
                  </a:lnTo>
                  <a:lnTo>
                    <a:pt x="188" y="597"/>
                  </a:lnTo>
                  <a:lnTo>
                    <a:pt x="185" y="597"/>
                  </a:lnTo>
                  <a:lnTo>
                    <a:pt x="180" y="594"/>
                  </a:lnTo>
                  <a:lnTo>
                    <a:pt x="179" y="594"/>
                  </a:lnTo>
                  <a:lnTo>
                    <a:pt x="171" y="600"/>
                  </a:lnTo>
                  <a:lnTo>
                    <a:pt x="171" y="602"/>
                  </a:lnTo>
                  <a:lnTo>
                    <a:pt x="172" y="602"/>
                  </a:lnTo>
                  <a:lnTo>
                    <a:pt x="174" y="603"/>
                  </a:lnTo>
                  <a:lnTo>
                    <a:pt x="172" y="605"/>
                  </a:lnTo>
                  <a:lnTo>
                    <a:pt x="171" y="602"/>
                  </a:lnTo>
                  <a:lnTo>
                    <a:pt x="168" y="602"/>
                  </a:lnTo>
                  <a:lnTo>
                    <a:pt x="166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0" y="602"/>
                  </a:lnTo>
                  <a:lnTo>
                    <a:pt x="160" y="605"/>
                  </a:lnTo>
                  <a:lnTo>
                    <a:pt x="160" y="605"/>
                  </a:lnTo>
                  <a:lnTo>
                    <a:pt x="172" y="614"/>
                  </a:lnTo>
                  <a:lnTo>
                    <a:pt x="177" y="616"/>
                  </a:lnTo>
                  <a:lnTo>
                    <a:pt x="179" y="613"/>
                  </a:lnTo>
                  <a:lnTo>
                    <a:pt x="180" y="613"/>
                  </a:lnTo>
                  <a:lnTo>
                    <a:pt x="180" y="613"/>
                  </a:lnTo>
                  <a:lnTo>
                    <a:pt x="179" y="614"/>
                  </a:lnTo>
                  <a:lnTo>
                    <a:pt x="179" y="617"/>
                  </a:lnTo>
                  <a:lnTo>
                    <a:pt x="179" y="617"/>
                  </a:lnTo>
                  <a:lnTo>
                    <a:pt x="180" y="619"/>
                  </a:lnTo>
                  <a:lnTo>
                    <a:pt x="182" y="619"/>
                  </a:lnTo>
                  <a:lnTo>
                    <a:pt x="183" y="619"/>
                  </a:lnTo>
                  <a:lnTo>
                    <a:pt x="183" y="620"/>
                  </a:lnTo>
                  <a:lnTo>
                    <a:pt x="185" y="622"/>
                  </a:lnTo>
                  <a:lnTo>
                    <a:pt x="185" y="622"/>
                  </a:lnTo>
                  <a:lnTo>
                    <a:pt x="186" y="622"/>
                  </a:lnTo>
                  <a:lnTo>
                    <a:pt x="191" y="617"/>
                  </a:lnTo>
                  <a:lnTo>
                    <a:pt x="195" y="611"/>
                  </a:lnTo>
                  <a:lnTo>
                    <a:pt x="199" y="608"/>
                  </a:lnTo>
                  <a:lnTo>
                    <a:pt x="200" y="607"/>
                  </a:lnTo>
                  <a:lnTo>
                    <a:pt x="200" y="607"/>
                  </a:lnTo>
                  <a:lnTo>
                    <a:pt x="202" y="605"/>
                  </a:lnTo>
                  <a:lnTo>
                    <a:pt x="202" y="605"/>
                  </a:lnTo>
                  <a:lnTo>
                    <a:pt x="203" y="602"/>
                  </a:lnTo>
                  <a:lnTo>
                    <a:pt x="203" y="602"/>
                  </a:lnTo>
                  <a:lnTo>
                    <a:pt x="205" y="602"/>
                  </a:lnTo>
                  <a:lnTo>
                    <a:pt x="206" y="600"/>
                  </a:lnTo>
                  <a:lnTo>
                    <a:pt x="209" y="599"/>
                  </a:lnTo>
                  <a:lnTo>
                    <a:pt x="209" y="596"/>
                  </a:lnTo>
                  <a:lnTo>
                    <a:pt x="209" y="596"/>
                  </a:lnTo>
                  <a:lnTo>
                    <a:pt x="211" y="596"/>
                  </a:lnTo>
                  <a:lnTo>
                    <a:pt x="212" y="594"/>
                  </a:lnTo>
                  <a:lnTo>
                    <a:pt x="212" y="594"/>
                  </a:lnTo>
                  <a:lnTo>
                    <a:pt x="214" y="594"/>
                  </a:lnTo>
                  <a:lnTo>
                    <a:pt x="215" y="593"/>
                  </a:lnTo>
                  <a:lnTo>
                    <a:pt x="217" y="591"/>
                  </a:lnTo>
                  <a:lnTo>
                    <a:pt x="217" y="590"/>
                  </a:lnTo>
                  <a:lnTo>
                    <a:pt x="217" y="588"/>
                  </a:lnTo>
                  <a:lnTo>
                    <a:pt x="217" y="588"/>
                  </a:lnTo>
                  <a:lnTo>
                    <a:pt x="219" y="587"/>
                  </a:lnTo>
                  <a:lnTo>
                    <a:pt x="219" y="587"/>
                  </a:lnTo>
                  <a:lnTo>
                    <a:pt x="220" y="587"/>
                  </a:lnTo>
                  <a:lnTo>
                    <a:pt x="220" y="585"/>
                  </a:lnTo>
                  <a:lnTo>
                    <a:pt x="222" y="585"/>
                  </a:lnTo>
                  <a:lnTo>
                    <a:pt x="222" y="583"/>
                  </a:lnTo>
                  <a:lnTo>
                    <a:pt x="222" y="583"/>
                  </a:lnTo>
                  <a:lnTo>
                    <a:pt x="226" y="579"/>
                  </a:lnTo>
                  <a:lnTo>
                    <a:pt x="225" y="582"/>
                  </a:lnTo>
                  <a:lnTo>
                    <a:pt x="223" y="583"/>
                  </a:lnTo>
                  <a:lnTo>
                    <a:pt x="219" y="590"/>
                  </a:lnTo>
                  <a:lnTo>
                    <a:pt x="219" y="590"/>
                  </a:lnTo>
                  <a:lnTo>
                    <a:pt x="217" y="591"/>
                  </a:lnTo>
                  <a:lnTo>
                    <a:pt x="217" y="593"/>
                  </a:lnTo>
                  <a:lnTo>
                    <a:pt x="223" y="596"/>
                  </a:lnTo>
                  <a:lnTo>
                    <a:pt x="235" y="593"/>
                  </a:lnTo>
                  <a:lnTo>
                    <a:pt x="234" y="594"/>
                  </a:lnTo>
                  <a:lnTo>
                    <a:pt x="228" y="594"/>
                  </a:lnTo>
                  <a:lnTo>
                    <a:pt x="226" y="597"/>
                  </a:lnTo>
                  <a:lnTo>
                    <a:pt x="225" y="597"/>
                  </a:lnTo>
                  <a:lnTo>
                    <a:pt x="220" y="596"/>
                  </a:lnTo>
                  <a:lnTo>
                    <a:pt x="219" y="596"/>
                  </a:lnTo>
                  <a:lnTo>
                    <a:pt x="217" y="599"/>
                  </a:lnTo>
                  <a:lnTo>
                    <a:pt x="215" y="599"/>
                  </a:lnTo>
                  <a:lnTo>
                    <a:pt x="214" y="599"/>
                  </a:lnTo>
                  <a:lnTo>
                    <a:pt x="212" y="599"/>
                  </a:lnTo>
                  <a:lnTo>
                    <a:pt x="212" y="600"/>
                  </a:lnTo>
                  <a:lnTo>
                    <a:pt x="212" y="600"/>
                  </a:lnTo>
                  <a:lnTo>
                    <a:pt x="212" y="602"/>
                  </a:lnTo>
                  <a:lnTo>
                    <a:pt x="212" y="603"/>
                  </a:lnTo>
                  <a:lnTo>
                    <a:pt x="212" y="603"/>
                  </a:lnTo>
                  <a:lnTo>
                    <a:pt x="209" y="607"/>
                  </a:lnTo>
                  <a:lnTo>
                    <a:pt x="208" y="608"/>
                  </a:lnTo>
                  <a:lnTo>
                    <a:pt x="206" y="611"/>
                  </a:lnTo>
                  <a:lnTo>
                    <a:pt x="206" y="611"/>
                  </a:lnTo>
                  <a:lnTo>
                    <a:pt x="206" y="613"/>
                  </a:lnTo>
                  <a:lnTo>
                    <a:pt x="206" y="613"/>
                  </a:lnTo>
                  <a:lnTo>
                    <a:pt x="205" y="614"/>
                  </a:lnTo>
                  <a:lnTo>
                    <a:pt x="205" y="614"/>
                  </a:lnTo>
                  <a:lnTo>
                    <a:pt x="205" y="614"/>
                  </a:lnTo>
                  <a:lnTo>
                    <a:pt x="205" y="616"/>
                  </a:lnTo>
                  <a:lnTo>
                    <a:pt x="206" y="616"/>
                  </a:lnTo>
                  <a:lnTo>
                    <a:pt x="206" y="617"/>
                  </a:lnTo>
                  <a:lnTo>
                    <a:pt x="208" y="617"/>
                  </a:lnTo>
                  <a:lnTo>
                    <a:pt x="208" y="617"/>
                  </a:lnTo>
                  <a:lnTo>
                    <a:pt x="211" y="616"/>
                  </a:lnTo>
                  <a:lnTo>
                    <a:pt x="211" y="616"/>
                  </a:lnTo>
                  <a:lnTo>
                    <a:pt x="212" y="614"/>
                  </a:lnTo>
                  <a:lnTo>
                    <a:pt x="212" y="614"/>
                  </a:lnTo>
                  <a:lnTo>
                    <a:pt x="214" y="614"/>
                  </a:lnTo>
                  <a:lnTo>
                    <a:pt x="215" y="614"/>
                  </a:lnTo>
                  <a:lnTo>
                    <a:pt x="217" y="613"/>
                  </a:lnTo>
                  <a:lnTo>
                    <a:pt x="217" y="614"/>
                  </a:lnTo>
                  <a:lnTo>
                    <a:pt x="215" y="614"/>
                  </a:lnTo>
                  <a:lnTo>
                    <a:pt x="214" y="616"/>
                  </a:lnTo>
                  <a:lnTo>
                    <a:pt x="211" y="619"/>
                  </a:lnTo>
                  <a:lnTo>
                    <a:pt x="209" y="619"/>
                  </a:lnTo>
                  <a:lnTo>
                    <a:pt x="208" y="619"/>
                  </a:lnTo>
                  <a:lnTo>
                    <a:pt x="205" y="619"/>
                  </a:lnTo>
                  <a:lnTo>
                    <a:pt x="203" y="617"/>
                  </a:lnTo>
                  <a:lnTo>
                    <a:pt x="203" y="619"/>
                  </a:lnTo>
                  <a:lnTo>
                    <a:pt x="200" y="625"/>
                  </a:lnTo>
                  <a:lnTo>
                    <a:pt x="202" y="627"/>
                  </a:lnTo>
                  <a:lnTo>
                    <a:pt x="203" y="624"/>
                  </a:lnTo>
                  <a:lnTo>
                    <a:pt x="203" y="622"/>
                  </a:lnTo>
                  <a:lnTo>
                    <a:pt x="205" y="622"/>
                  </a:lnTo>
                  <a:lnTo>
                    <a:pt x="206" y="627"/>
                  </a:lnTo>
                  <a:lnTo>
                    <a:pt x="208" y="627"/>
                  </a:lnTo>
                  <a:lnTo>
                    <a:pt x="209" y="625"/>
                  </a:lnTo>
                  <a:lnTo>
                    <a:pt x="217" y="627"/>
                  </a:lnTo>
                  <a:lnTo>
                    <a:pt x="220" y="627"/>
                  </a:lnTo>
                  <a:lnTo>
                    <a:pt x="222" y="627"/>
                  </a:lnTo>
                  <a:lnTo>
                    <a:pt x="223" y="624"/>
                  </a:lnTo>
                  <a:lnTo>
                    <a:pt x="226" y="620"/>
                  </a:lnTo>
                  <a:lnTo>
                    <a:pt x="228" y="619"/>
                  </a:lnTo>
                  <a:lnTo>
                    <a:pt x="228" y="616"/>
                  </a:lnTo>
                  <a:lnTo>
                    <a:pt x="229" y="614"/>
                  </a:lnTo>
                  <a:lnTo>
                    <a:pt x="231" y="613"/>
                  </a:lnTo>
                  <a:lnTo>
                    <a:pt x="229" y="616"/>
                  </a:lnTo>
                  <a:lnTo>
                    <a:pt x="226" y="620"/>
                  </a:lnTo>
                  <a:lnTo>
                    <a:pt x="222" y="627"/>
                  </a:lnTo>
                  <a:lnTo>
                    <a:pt x="220" y="630"/>
                  </a:lnTo>
                  <a:lnTo>
                    <a:pt x="217" y="630"/>
                  </a:lnTo>
                  <a:lnTo>
                    <a:pt x="211" y="628"/>
                  </a:lnTo>
                  <a:lnTo>
                    <a:pt x="203" y="628"/>
                  </a:lnTo>
                  <a:lnTo>
                    <a:pt x="202" y="630"/>
                  </a:lnTo>
                  <a:lnTo>
                    <a:pt x="200" y="633"/>
                  </a:lnTo>
                  <a:lnTo>
                    <a:pt x="200" y="633"/>
                  </a:lnTo>
                  <a:lnTo>
                    <a:pt x="199" y="634"/>
                  </a:lnTo>
                  <a:lnTo>
                    <a:pt x="199" y="634"/>
                  </a:lnTo>
                  <a:lnTo>
                    <a:pt x="197" y="636"/>
                  </a:lnTo>
                  <a:lnTo>
                    <a:pt x="197" y="636"/>
                  </a:lnTo>
                  <a:lnTo>
                    <a:pt x="195" y="640"/>
                  </a:lnTo>
                  <a:lnTo>
                    <a:pt x="197" y="640"/>
                  </a:lnTo>
                  <a:lnTo>
                    <a:pt x="200" y="640"/>
                  </a:lnTo>
                  <a:lnTo>
                    <a:pt x="202" y="640"/>
                  </a:lnTo>
                  <a:lnTo>
                    <a:pt x="202" y="640"/>
                  </a:lnTo>
                  <a:lnTo>
                    <a:pt x="199" y="642"/>
                  </a:lnTo>
                  <a:lnTo>
                    <a:pt x="197" y="642"/>
                  </a:lnTo>
                  <a:lnTo>
                    <a:pt x="195" y="642"/>
                  </a:lnTo>
                  <a:lnTo>
                    <a:pt x="194" y="644"/>
                  </a:lnTo>
                  <a:lnTo>
                    <a:pt x="192" y="645"/>
                  </a:lnTo>
                  <a:lnTo>
                    <a:pt x="192" y="650"/>
                  </a:lnTo>
                  <a:lnTo>
                    <a:pt x="191" y="653"/>
                  </a:lnTo>
                  <a:lnTo>
                    <a:pt x="191" y="654"/>
                  </a:lnTo>
                  <a:lnTo>
                    <a:pt x="191" y="656"/>
                  </a:lnTo>
                  <a:lnTo>
                    <a:pt x="192" y="656"/>
                  </a:lnTo>
                  <a:lnTo>
                    <a:pt x="192" y="654"/>
                  </a:lnTo>
                  <a:lnTo>
                    <a:pt x="194" y="654"/>
                  </a:lnTo>
                  <a:lnTo>
                    <a:pt x="194" y="653"/>
                  </a:lnTo>
                  <a:lnTo>
                    <a:pt x="197" y="653"/>
                  </a:lnTo>
                  <a:lnTo>
                    <a:pt x="199" y="653"/>
                  </a:lnTo>
                  <a:lnTo>
                    <a:pt x="199" y="654"/>
                  </a:lnTo>
                  <a:lnTo>
                    <a:pt x="199" y="654"/>
                  </a:lnTo>
                  <a:lnTo>
                    <a:pt x="197" y="656"/>
                  </a:lnTo>
                  <a:lnTo>
                    <a:pt x="197" y="656"/>
                  </a:lnTo>
                  <a:lnTo>
                    <a:pt x="194" y="657"/>
                  </a:lnTo>
                  <a:lnTo>
                    <a:pt x="194" y="657"/>
                  </a:lnTo>
                  <a:lnTo>
                    <a:pt x="194" y="660"/>
                  </a:lnTo>
                  <a:lnTo>
                    <a:pt x="192" y="662"/>
                  </a:lnTo>
                  <a:lnTo>
                    <a:pt x="192" y="665"/>
                  </a:lnTo>
                  <a:lnTo>
                    <a:pt x="191" y="667"/>
                  </a:lnTo>
                  <a:lnTo>
                    <a:pt x="191" y="670"/>
                  </a:lnTo>
                  <a:lnTo>
                    <a:pt x="192" y="668"/>
                  </a:lnTo>
                  <a:lnTo>
                    <a:pt x="194" y="667"/>
                  </a:lnTo>
                  <a:lnTo>
                    <a:pt x="195" y="664"/>
                  </a:lnTo>
                  <a:lnTo>
                    <a:pt x="197" y="664"/>
                  </a:lnTo>
                  <a:lnTo>
                    <a:pt x="197" y="665"/>
                  </a:lnTo>
                  <a:lnTo>
                    <a:pt x="197" y="667"/>
                  </a:lnTo>
                  <a:lnTo>
                    <a:pt x="194" y="670"/>
                  </a:lnTo>
                  <a:lnTo>
                    <a:pt x="194" y="671"/>
                  </a:lnTo>
                  <a:lnTo>
                    <a:pt x="194" y="673"/>
                  </a:lnTo>
                  <a:lnTo>
                    <a:pt x="194" y="674"/>
                  </a:lnTo>
                  <a:lnTo>
                    <a:pt x="194" y="674"/>
                  </a:lnTo>
                  <a:lnTo>
                    <a:pt x="195" y="674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95" y="677"/>
                  </a:lnTo>
                  <a:lnTo>
                    <a:pt x="195" y="677"/>
                  </a:lnTo>
                  <a:lnTo>
                    <a:pt x="194" y="677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2" y="676"/>
                  </a:lnTo>
                  <a:lnTo>
                    <a:pt x="192" y="676"/>
                  </a:lnTo>
                  <a:lnTo>
                    <a:pt x="192" y="676"/>
                  </a:lnTo>
                  <a:lnTo>
                    <a:pt x="192" y="677"/>
                  </a:lnTo>
                  <a:lnTo>
                    <a:pt x="192" y="677"/>
                  </a:lnTo>
                  <a:lnTo>
                    <a:pt x="186" y="685"/>
                  </a:lnTo>
                  <a:lnTo>
                    <a:pt x="183" y="691"/>
                  </a:lnTo>
                  <a:lnTo>
                    <a:pt x="183" y="694"/>
                  </a:lnTo>
                  <a:lnTo>
                    <a:pt x="183" y="696"/>
                  </a:lnTo>
                  <a:lnTo>
                    <a:pt x="183" y="696"/>
                  </a:lnTo>
                  <a:lnTo>
                    <a:pt x="183" y="697"/>
                  </a:lnTo>
                  <a:lnTo>
                    <a:pt x="183" y="697"/>
                  </a:lnTo>
                  <a:lnTo>
                    <a:pt x="185" y="697"/>
                  </a:lnTo>
                  <a:lnTo>
                    <a:pt x="185" y="694"/>
                  </a:lnTo>
                  <a:lnTo>
                    <a:pt x="185" y="691"/>
                  </a:lnTo>
                  <a:lnTo>
                    <a:pt x="188" y="688"/>
                  </a:lnTo>
                  <a:lnTo>
                    <a:pt x="189" y="685"/>
                  </a:lnTo>
                  <a:lnTo>
                    <a:pt x="189" y="685"/>
                  </a:lnTo>
                  <a:lnTo>
                    <a:pt x="191" y="684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5"/>
                  </a:lnTo>
                  <a:lnTo>
                    <a:pt x="192" y="685"/>
                  </a:lnTo>
                  <a:lnTo>
                    <a:pt x="192" y="687"/>
                  </a:lnTo>
                  <a:lnTo>
                    <a:pt x="183" y="701"/>
                  </a:lnTo>
                  <a:lnTo>
                    <a:pt x="183" y="701"/>
                  </a:lnTo>
                  <a:lnTo>
                    <a:pt x="185" y="702"/>
                  </a:lnTo>
                  <a:lnTo>
                    <a:pt x="185" y="704"/>
                  </a:lnTo>
                  <a:lnTo>
                    <a:pt x="185" y="704"/>
                  </a:lnTo>
                  <a:lnTo>
                    <a:pt x="186" y="702"/>
                  </a:lnTo>
                  <a:lnTo>
                    <a:pt x="189" y="701"/>
                  </a:lnTo>
                  <a:lnTo>
                    <a:pt x="191" y="699"/>
                  </a:lnTo>
                  <a:lnTo>
                    <a:pt x="192" y="697"/>
                  </a:lnTo>
                  <a:lnTo>
                    <a:pt x="192" y="699"/>
                  </a:lnTo>
                  <a:lnTo>
                    <a:pt x="191" y="701"/>
                  </a:lnTo>
                  <a:lnTo>
                    <a:pt x="189" y="702"/>
                  </a:lnTo>
                  <a:lnTo>
                    <a:pt x="189" y="704"/>
                  </a:lnTo>
                  <a:lnTo>
                    <a:pt x="188" y="704"/>
                  </a:lnTo>
                  <a:lnTo>
                    <a:pt x="185" y="710"/>
                  </a:lnTo>
                  <a:lnTo>
                    <a:pt x="186" y="710"/>
                  </a:lnTo>
                  <a:lnTo>
                    <a:pt x="186" y="714"/>
                  </a:lnTo>
                  <a:lnTo>
                    <a:pt x="186" y="716"/>
                  </a:lnTo>
                  <a:lnTo>
                    <a:pt x="188" y="717"/>
                  </a:lnTo>
                  <a:lnTo>
                    <a:pt x="188" y="717"/>
                  </a:lnTo>
                  <a:lnTo>
                    <a:pt x="191" y="717"/>
                  </a:lnTo>
                  <a:lnTo>
                    <a:pt x="189" y="721"/>
                  </a:lnTo>
                  <a:lnTo>
                    <a:pt x="191" y="721"/>
                  </a:lnTo>
                  <a:lnTo>
                    <a:pt x="192" y="719"/>
                  </a:lnTo>
                  <a:lnTo>
                    <a:pt x="194" y="717"/>
                  </a:lnTo>
                  <a:lnTo>
                    <a:pt x="202" y="710"/>
                  </a:lnTo>
                  <a:lnTo>
                    <a:pt x="200" y="713"/>
                  </a:lnTo>
                  <a:lnTo>
                    <a:pt x="199" y="716"/>
                  </a:lnTo>
                  <a:lnTo>
                    <a:pt x="195" y="719"/>
                  </a:lnTo>
                  <a:lnTo>
                    <a:pt x="192" y="721"/>
                  </a:lnTo>
                  <a:lnTo>
                    <a:pt x="192" y="721"/>
                  </a:lnTo>
                  <a:lnTo>
                    <a:pt x="191" y="722"/>
                  </a:lnTo>
                  <a:lnTo>
                    <a:pt x="189" y="725"/>
                  </a:lnTo>
                  <a:lnTo>
                    <a:pt x="189" y="727"/>
                  </a:lnTo>
                  <a:lnTo>
                    <a:pt x="189" y="728"/>
                  </a:lnTo>
                  <a:lnTo>
                    <a:pt x="185" y="731"/>
                  </a:lnTo>
                  <a:lnTo>
                    <a:pt x="186" y="733"/>
                  </a:lnTo>
                  <a:lnTo>
                    <a:pt x="185" y="736"/>
                  </a:lnTo>
                  <a:lnTo>
                    <a:pt x="183" y="741"/>
                  </a:lnTo>
                  <a:lnTo>
                    <a:pt x="182" y="745"/>
                  </a:lnTo>
                  <a:lnTo>
                    <a:pt x="182" y="747"/>
                  </a:lnTo>
                  <a:lnTo>
                    <a:pt x="182" y="747"/>
                  </a:lnTo>
                  <a:lnTo>
                    <a:pt x="183" y="748"/>
                  </a:lnTo>
                  <a:lnTo>
                    <a:pt x="183" y="748"/>
                  </a:lnTo>
                  <a:lnTo>
                    <a:pt x="182" y="753"/>
                  </a:lnTo>
                  <a:lnTo>
                    <a:pt x="182" y="756"/>
                  </a:lnTo>
                  <a:lnTo>
                    <a:pt x="182" y="759"/>
                  </a:lnTo>
                  <a:lnTo>
                    <a:pt x="182" y="762"/>
                  </a:lnTo>
                  <a:lnTo>
                    <a:pt x="182" y="762"/>
                  </a:lnTo>
                  <a:lnTo>
                    <a:pt x="179" y="767"/>
                  </a:lnTo>
                  <a:lnTo>
                    <a:pt x="177" y="768"/>
                  </a:lnTo>
                  <a:lnTo>
                    <a:pt x="175" y="770"/>
                  </a:lnTo>
                  <a:lnTo>
                    <a:pt x="177" y="773"/>
                  </a:lnTo>
                  <a:lnTo>
                    <a:pt x="177" y="779"/>
                  </a:lnTo>
                  <a:lnTo>
                    <a:pt x="179" y="781"/>
                  </a:lnTo>
                  <a:lnTo>
                    <a:pt x="179" y="781"/>
                  </a:lnTo>
                  <a:lnTo>
                    <a:pt x="182" y="781"/>
                  </a:lnTo>
                  <a:lnTo>
                    <a:pt x="182" y="781"/>
                  </a:lnTo>
                  <a:lnTo>
                    <a:pt x="185" y="779"/>
                  </a:lnTo>
                  <a:lnTo>
                    <a:pt x="185" y="779"/>
                  </a:lnTo>
                  <a:lnTo>
                    <a:pt x="186" y="779"/>
                  </a:lnTo>
                  <a:lnTo>
                    <a:pt x="188" y="781"/>
                  </a:lnTo>
                  <a:lnTo>
                    <a:pt x="188" y="781"/>
                  </a:lnTo>
                  <a:lnTo>
                    <a:pt x="189" y="781"/>
                  </a:lnTo>
                  <a:lnTo>
                    <a:pt x="191" y="779"/>
                  </a:lnTo>
                  <a:lnTo>
                    <a:pt x="192" y="778"/>
                  </a:lnTo>
                  <a:lnTo>
                    <a:pt x="194" y="776"/>
                  </a:lnTo>
                  <a:lnTo>
                    <a:pt x="197" y="773"/>
                  </a:lnTo>
                  <a:lnTo>
                    <a:pt x="197" y="771"/>
                  </a:lnTo>
                  <a:lnTo>
                    <a:pt x="195" y="770"/>
                  </a:lnTo>
                  <a:lnTo>
                    <a:pt x="195" y="770"/>
                  </a:lnTo>
                  <a:lnTo>
                    <a:pt x="195" y="767"/>
                  </a:lnTo>
                  <a:lnTo>
                    <a:pt x="194" y="765"/>
                  </a:lnTo>
                  <a:lnTo>
                    <a:pt x="194" y="765"/>
                  </a:lnTo>
                  <a:lnTo>
                    <a:pt x="192" y="765"/>
                  </a:lnTo>
                  <a:lnTo>
                    <a:pt x="192" y="765"/>
                  </a:lnTo>
                  <a:lnTo>
                    <a:pt x="192" y="764"/>
                  </a:lnTo>
                  <a:lnTo>
                    <a:pt x="194" y="764"/>
                  </a:lnTo>
                  <a:lnTo>
                    <a:pt x="195" y="761"/>
                  </a:lnTo>
                  <a:lnTo>
                    <a:pt x="197" y="757"/>
                  </a:lnTo>
                  <a:lnTo>
                    <a:pt x="197" y="756"/>
                  </a:lnTo>
                  <a:lnTo>
                    <a:pt x="197" y="757"/>
                  </a:lnTo>
                  <a:lnTo>
                    <a:pt x="197" y="756"/>
                  </a:lnTo>
                  <a:lnTo>
                    <a:pt x="197" y="756"/>
                  </a:lnTo>
                  <a:lnTo>
                    <a:pt x="197" y="753"/>
                  </a:lnTo>
                  <a:lnTo>
                    <a:pt x="197" y="753"/>
                  </a:lnTo>
                  <a:lnTo>
                    <a:pt x="199" y="751"/>
                  </a:lnTo>
                  <a:lnTo>
                    <a:pt x="200" y="748"/>
                  </a:lnTo>
                  <a:lnTo>
                    <a:pt x="199" y="745"/>
                  </a:lnTo>
                  <a:lnTo>
                    <a:pt x="200" y="745"/>
                  </a:lnTo>
                  <a:lnTo>
                    <a:pt x="202" y="744"/>
                  </a:lnTo>
                  <a:lnTo>
                    <a:pt x="202" y="742"/>
                  </a:lnTo>
                  <a:lnTo>
                    <a:pt x="202" y="741"/>
                  </a:lnTo>
                  <a:lnTo>
                    <a:pt x="200" y="741"/>
                  </a:lnTo>
                  <a:lnTo>
                    <a:pt x="200" y="741"/>
                  </a:lnTo>
                  <a:lnTo>
                    <a:pt x="200" y="737"/>
                  </a:lnTo>
                  <a:lnTo>
                    <a:pt x="200" y="737"/>
                  </a:lnTo>
                  <a:lnTo>
                    <a:pt x="199" y="736"/>
                  </a:lnTo>
                  <a:lnTo>
                    <a:pt x="199" y="736"/>
                  </a:lnTo>
                  <a:lnTo>
                    <a:pt x="200" y="734"/>
                  </a:lnTo>
                  <a:lnTo>
                    <a:pt x="200" y="733"/>
                  </a:lnTo>
                  <a:lnTo>
                    <a:pt x="202" y="731"/>
                  </a:lnTo>
                  <a:lnTo>
                    <a:pt x="202" y="730"/>
                  </a:lnTo>
                  <a:lnTo>
                    <a:pt x="202" y="728"/>
                  </a:lnTo>
                  <a:lnTo>
                    <a:pt x="202" y="727"/>
                  </a:lnTo>
                  <a:lnTo>
                    <a:pt x="203" y="725"/>
                  </a:lnTo>
                  <a:lnTo>
                    <a:pt x="206" y="722"/>
                  </a:lnTo>
                  <a:lnTo>
                    <a:pt x="208" y="721"/>
                  </a:lnTo>
                  <a:lnTo>
                    <a:pt x="211" y="721"/>
                  </a:lnTo>
                  <a:lnTo>
                    <a:pt x="211" y="719"/>
                  </a:lnTo>
                  <a:lnTo>
                    <a:pt x="212" y="717"/>
                  </a:lnTo>
                  <a:lnTo>
                    <a:pt x="211" y="714"/>
                  </a:lnTo>
                  <a:lnTo>
                    <a:pt x="209" y="711"/>
                  </a:lnTo>
                  <a:lnTo>
                    <a:pt x="205" y="707"/>
                  </a:lnTo>
                  <a:lnTo>
                    <a:pt x="205" y="707"/>
                  </a:lnTo>
                  <a:lnTo>
                    <a:pt x="206" y="705"/>
                  </a:lnTo>
                  <a:lnTo>
                    <a:pt x="206" y="705"/>
                  </a:lnTo>
                  <a:lnTo>
                    <a:pt x="205" y="705"/>
                  </a:lnTo>
                  <a:lnTo>
                    <a:pt x="205" y="705"/>
                  </a:lnTo>
                  <a:lnTo>
                    <a:pt x="205" y="704"/>
                  </a:lnTo>
                  <a:lnTo>
                    <a:pt x="206" y="704"/>
                  </a:lnTo>
                  <a:lnTo>
                    <a:pt x="206" y="704"/>
                  </a:lnTo>
                  <a:lnTo>
                    <a:pt x="205" y="702"/>
                  </a:lnTo>
                  <a:lnTo>
                    <a:pt x="205" y="701"/>
                  </a:lnTo>
                  <a:lnTo>
                    <a:pt x="205" y="699"/>
                  </a:lnTo>
                  <a:lnTo>
                    <a:pt x="205" y="697"/>
                  </a:lnTo>
                  <a:lnTo>
                    <a:pt x="203" y="696"/>
                  </a:lnTo>
                  <a:lnTo>
                    <a:pt x="203" y="696"/>
                  </a:lnTo>
                  <a:lnTo>
                    <a:pt x="202" y="694"/>
                  </a:lnTo>
                  <a:lnTo>
                    <a:pt x="202" y="694"/>
                  </a:lnTo>
                  <a:lnTo>
                    <a:pt x="202" y="687"/>
                  </a:lnTo>
                  <a:lnTo>
                    <a:pt x="202" y="687"/>
                  </a:lnTo>
                  <a:lnTo>
                    <a:pt x="202" y="685"/>
                  </a:lnTo>
                  <a:lnTo>
                    <a:pt x="202" y="685"/>
                  </a:lnTo>
                  <a:lnTo>
                    <a:pt x="203" y="685"/>
                  </a:lnTo>
                  <a:lnTo>
                    <a:pt x="203" y="685"/>
                  </a:lnTo>
                  <a:lnTo>
                    <a:pt x="203" y="687"/>
                  </a:lnTo>
                  <a:lnTo>
                    <a:pt x="203" y="687"/>
                  </a:lnTo>
                  <a:lnTo>
                    <a:pt x="205" y="688"/>
                  </a:lnTo>
                  <a:lnTo>
                    <a:pt x="206" y="688"/>
                  </a:lnTo>
                  <a:lnTo>
                    <a:pt x="208" y="687"/>
                  </a:lnTo>
                  <a:lnTo>
                    <a:pt x="209" y="685"/>
                  </a:lnTo>
                  <a:lnTo>
                    <a:pt x="209" y="687"/>
                  </a:lnTo>
                  <a:lnTo>
                    <a:pt x="209" y="685"/>
                  </a:lnTo>
                  <a:lnTo>
                    <a:pt x="209" y="682"/>
                  </a:lnTo>
                  <a:lnTo>
                    <a:pt x="209" y="682"/>
                  </a:lnTo>
                  <a:lnTo>
                    <a:pt x="211" y="682"/>
                  </a:lnTo>
                  <a:lnTo>
                    <a:pt x="211" y="682"/>
                  </a:lnTo>
                  <a:lnTo>
                    <a:pt x="212" y="680"/>
                  </a:lnTo>
                  <a:lnTo>
                    <a:pt x="219" y="671"/>
                  </a:lnTo>
                  <a:lnTo>
                    <a:pt x="228" y="665"/>
                  </a:lnTo>
                  <a:lnTo>
                    <a:pt x="228" y="665"/>
                  </a:lnTo>
                  <a:lnTo>
                    <a:pt x="229" y="660"/>
                  </a:lnTo>
                  <a:lnTo>
                    <a:pt x="231" y="657"/>
                  </a:lnTo>
                  <a:lnTo>
                    <a:pt x="232" y="657"/>
                  </a:lnTo>
                  <a:lnTo>
                    <a:pt x="232" y="656"/>
                  </a:lnTo>
                  <a:lnTo>
                    <a:pt x="235" y="656"/>
                  </a:lnTo>
                  <a:lnTo>
                    <a:pt x="237" y="656"/>
                  </a:lnTo>
                  <a:lnTo>
                    <a:pt x="240" y="653"/>
                  </a:lnTo>
                  <a:lnTo>
                    <a:pt x="242" y="651"/>
                  </a:lnTo>
                  <a:lnTo>
                    <a:pt x="240" y="656"/>
                  </a:lnTo>
                  <a:lnTo>
                    <a:pt x="237" y="657"/>
                  </a:lnTo>
                  <a:lnTo>
                    <a:pt x="234" y="659"/>
                  </a:lnTo>
                  <a:lnTo>
                    <a:pt x="232" y="660"/>
                  </a:lnTo>
                  <a:lnTo>
                    <a:pt x="231" y="662"/>
                  </a:lnTo>
                  <a:lnTo>
                    <a:pt x="228" y="668"/>
                  </a:lnTo>
                  <a:lnTo>
                    <a:pt x="228" y="668"/>
                  </a:lnTo>
                  <a:lnTo>
                    <a:pt x="225" y="671"/>
                  </a:lnTo>
                  <a:lnTo>
                    <a:pt x="220" y="673"/>
                  </a:lnTo>
                  <a:lnTo>
                    <a:pt x="212" y="687"/>
                  </a:lnTo>
                  <a:lnTo>
                    <a:pt x="211" y="690"/>
                  </a:lnTo>
                  <a:lnTo>
                    <a:pt x="211" y="693"/>
                  </a:lnTo>
                  <a:lnTo>
                    <a:pt x="211" y="694"/>
                  </a:lnTo>
                  <a:lnTo>
                    <a:pt x="211" y="696"/>
                  </a:lnTo>
                  <a:lnTo>
                    <a:pt x="211" y="697"/>
                  </a:lnTo>
                  <a:lnTo>
                    <a:pt x="211" y="697"/>
                  </a:lnTo>
                  <a:lnTo>
                    <a:pt x="211" y="701"/>
                  </a:lnTo>
                  <a:lnTo>
                    <a:pt x="211" y="702"/>
                  </a:lnTo>
                  <a:lnTo>
                    <a:pt x="211" y="702"/>
                  </a:lnTo>
                  <a:lnTo>
                    <a:pt x="211" y="704"/>
                  </a:lnTo>
                  <a:lnTo>
                    <a:pt x="211" y="704"/>
                  </a:lnTo>
                  <a:lnTo>
                    <a:pt x="212" y="704"/>
                  </a:lnTo>
                  <a:lnTo>
                    <a:pt x="212" y="707"/>
                  </a:lnTo>
                  <a:lnTo>
                    <a:pt x="214" y="708"/>
                  </a:lnTo>
                  <a:lnTo>
                    <a:pt x="215" y="710"/>
                  </a:lnTo>
                  <a:lnTo>
                    <a:pt x="219" y="711"/>
                  </a:lnTo>
                  <a:lnTo>
                    <a:pt x="220" y="711"/>
                  </a:lnTo>
                  <a:lnTo>
                    <a:pt x="220" y="708"/>
                  </a:lnTo>
                  <a:lnTo>
                    <a:pt x="219" y="707"/>
                  </a:lnTo>
                  <a:lnTo>
                    <a:pt x="217" y="704"/>
                  </a:lnTo>
                  <a:lnTo>
                    <a:pt x="220" y="699"/>
                  </a:lnTo>
                  <a:lnTo>
                    <a:pt x="220" y="699"/>
                  </a:lnTo>
                  <a:lnTo>
                    <a:pt x="220" y="697"/>
                  </a:lnTo>
                  <a:lnTo>
                    <a:pt x="220" y="696"/>
                  </a:lnTo>
                  <a:lnTo>
                    <a:pt x="222" y="694"/>
                  </a:lnTo>
                  <a:lnTo>
                    <a:pt x="222" y="693"/>
                  </a:lnTo>
                  <a:lnTo>
                    <a:pt x="222" y="696"/>
                  </a:lnTo>
                  <a:lnTo>
                    <a:pt x="223" y="697"/>
                  </a:lnTo>
                  <a:lnTo>
                    <a:pt x="228" y="701"/>
                  </a:lnTo>
                  <a:lnTo>
                    <a:pt x="229" y="702"/>
                  </a:lnTo>
                  <a:lnTo>
                    <a:pt x="229" y="701"/>
                  </a:lnTo>
                  <a:lnTo>
                    <a:pt x="229" y="697"/>
                  </a:lnTo>
                  <a:lnTo>
                    <a:pt x="226" y="690"/>
                  </a:lnTo>
                  <a:lnTo>
                    <a:pt x="225" y="688"/>
                  </a:lnTo>
                  <a:lnTo>
                    <a:pt x="226" y="687"/>
                  </a:lnTo>
                  <a:lnTo>
                    <a:pt x="226" y="688"/>
                  </a:lnTo>
                  <a:lnTo>
                    <a:pt x="228" y="690"/>
                  </a:lnTo>
                  <a:lnTo>
                    <a:pt x="231" y="694"/>
                  </a:lnTo>
                  <a:lnTo>
                    <a:pt x="231" y="697"/>
                  </a:lnTo>
                  <a:lnTo>
                    <a:pt x="231" y="701"/>
                  </a:lnTo>
                  <a:lnTo>
                    <a:pt x="232" y="704"/>
                  </a:lnTo>
                  <a:lnTo>
                    <a:pt x="234" y="705"/>
                  </a:lnTo>
                  <a:lnTo>
                    <a:pt x="235" y="707"/>
                  </a:lnTo>
                  <a:lnTo>
                    <a:pt x="237" y="705"/>
                  </a:lnTo>
                  <a:lnTo>
                    <a:pt x="237" y="705"/>
                  </a:lnTo>
                  <a:lnTo>
                    <a:pt x="239" y="704"/>
                  </a:lnTo>
                  <a:lnTo>
                    <a:pt x="239" y="702"/>
                  </a:lnTo>
                  <a:lnTo>
                    <a:pt x="239" y="701"/>
                  </a:lnTo>
                  <a:lnTo>
                    <a:pt x="239" y="699"/>
                  </a:lnTo>
                  <a:lnTo>
                    <a:pt x="240" y="697"/>
                  </a:lnTo>
                  <a:lnTo>
                    <a:pt x="240" y="697"/>
                  </a:lnTo>
                  <a:lnTo>
                    <a:pt x="242" y="696"/>
                  </a:lnTo>
                  <a:lnTo>
                    <a:pt x="242" y="694"/>
                  </a:lnTo>
                  <a:lnTo>
                    <a:pt x="242" y="693"/>
                  </a:lnTo>
                  <a:lnTo>
                    <a:pt x="240" y="691"/>
                  </a:lnTo>
                  <a:lnTo>
                    <a:pt x="240" y="690"/>
                  </a:lnTo>
                  <a:lnTo>
                    <a:pt x="239" y="690"/>
                  </a:lnTo>
                  <a:lnTo>
                    <a:pt x="239" y="690"/>
                  </a:lnTo>
                  <a:lnTo>
                    <a:pt x="240" y="690"/>
                  </a:lnTo>
                  <a:lnTo>
                    <a:pt x="242" y="690"/>
                  </a:lnTo>
                  <a:lnTo>
                    <a:pt x="242" y="691"/>
                  </a:lnTo>
                  <a:lnTo>
                    <a:pt x="243" y="690"/>
                  </a:lnTo>
                  <a:lnTo>
                    <a:pt x="243" y="688"/>
                  </a:lnTo>
                  <a:lnTo>
                    <a:pt x="243" y="687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43" y="680"/>
                  </a:lnTo>
                  <a:lnTo>
                    <a:pt x="243" y="677"/>
                  </a:lnTo>
                  <a:lnTo>
                    <a:pt x="243" y="673"/>
                  </a:lnTo>
                  <a:lnTo>
                    <a:pt x="242" y="668"/>
                  </a:lnTo>
                  <a:lnTo>
                    <a:pt x="242" y="667"/>
                  </a:lnTo>
                  <a:lnTo>
                    <a:pt x="242" y="665"/>
                  </a:lnTo>
                  <a:lnTo>
                    <a:pt x="243" y="665"/>
                  </a:lnTo>
                  <a:lnTo>
                    <a:pt x="245" y="667"/>
                  </a:lnTo>
                  <a:lnTo>
                    <a:pt x="245" y="668"/>
                  </a:lnTo>
                  <a:lnTo>
                    <a:pt x="245" y="673"/>
                  </a:lnTo>
                  <a:lnTo>
                    <a:pt x="245" y="674"/>
                  </a:lnTo>
                  <a:lnTo>
                    <a:pt x="246" y="674"/>
                  </a:lnTo>
                  <a:lnTo>
                    <a:pt x="248" y="673"/>
                  </a:lnTo>
                  <a:lnTo>
                    <a:pt x="252" y="664"/>
                  </a:lnTo>
                  <a:lnTo>
                    <a:pt x="252" y="662"/>
                  </a:lnTo>
                  <a:lnTo>
                    <a:pt x="254" y="660"/>
                  </a:lnTo>
                  <a:lnTo>
                    <a:pt x="254" y="662"/>
                  </a:lnTo>
                  <a:lnTo>
                    <a:pt x="254" y="664"/>
                  </a:lnTo>
                  <a:lnTo>
                    <a:pt x="248" y="673"/>
                  </a:lnTo>
                  <a:lnTo>
                    <a:pt x="245" y="680"/>
                  </a:lnTo>
                  <a:lnTo>
                    <a:pt x="245" y="680"/>
                  </a:lnTo>
                  <a:lnTo>
                    <a:pt x="245" y="687"/>
                  </a:lnTo>
                  <a:lnTo>
                    <a:pt x="246" y="688"/>
                  </a:lnTo>
                  <a:lnTo>
                    <a:pt x="246" y="690"/>
                  </a:lnTo>
                  <a:lnTo>
                    <a:pt x="248" y="691"/>
                  </a:lnTo>
                  <a:lnTo>
                    <a:pt x="249" y="691"/>
                  </a:lnTo>
                  <a:lnTo>
                    <a:pt x="251" y="691"/>
                  </a:lnTo>
                  <a:lnTo>
                    <a:pt x="252" y="690"/>
                  </a:lnTo>
                  <a:lnTo>
                    <a:pt x="251" y="687"/>
                  </a:lnTo>
                  <a:lnTo>
                    <a:pt x="248" y="682"/>
                  </a:lnTo>
                  <a:lnTo>
                    <a:pt x="246" y="680"/>
                  </a:lnTo>
                  <a:lnTo>
                    <a:pt x="246" y="679"/>
                  </a:lnTo>
                  <a:lnTo>
                    <a:pt x="248" y="677"/>
                  </a:lnTo>
                  <a:lnTo>
                    <a:pt x="248" y="679"/>
                  </a:lnTo>
                  <a:lnTo>
                    <a:pt x="248" y="679"/>
                  </a:lnTo>
                  <a:lnTo>
                    <a:pt x="249" y="684"/>
                  </a:lnTo>
                  <a:lnTo>
                    <a:pt x="251" y="685"/>
                  </a:lnTo>
                  <a:lnTo>
                    <a:pt x="251" y="687"/>
                  </a:lnTo>
                  <a:lnTo>
                    <a:pt x="252" y="688"/>
                  </a:lnTo>
                  <a:lnTo>
                    <a:pt x="256" y="688"/>
                  </a:lnTo>
                  <a:lnTo>
                    <a:pt x="260" y="694"/>
                  </a:lnTo>
                  <a:lnTo>
                    <a:pt x="263" y="696"/>
                  </a:lnTo>
                  <a:lnTo>
                    <a:pt x="266" y="696"/>
                  </a:lnTo>
                  <a:lnTo>
                    <a:pt x="274" y="697"/>
                  </a:lnTo>
                  <a:lnTo>
                    <a:pt x="272" y="699"/>
                  </a:lnTo>
                  <a:lnTo>
                    <a:pt x="260" y="697"/>
                  </a:lnTo>
                  <a:lnTo>
                    <a:pt x="259" y="696"/>
                  </a:lnTo>
                  <a:lnTo>
                    <a:pt x="257" y="697"/>
                  </a:lnTo>
                  <a:lnTo>
                    <a:pt x="256" y="696"/>
                  </a:lnTo>
                  <a:lnTo>
                    <a:pt x="251" y="694"/>
                  </a:lnTo>
                  <a:lnTo>
                    <a:pt x="251" y="694"/>
                  </a:lnTo>
                  <a:lnTo>
                    <a:pt x="249" y="694"/>
                  </a:lnTo>
                  <a:lnTo>
                    <a:pt x="246" y="696"/>
                  </a:lnTo>
                  <a:lnTo>
                    <a:pt x="245" y="697"/>
                  </a:lnTo>
                  <a:lnTo>
                    <a:pt x="243" y="699"/>
                  </a:lnTo>
                  <a:lnTo>
                    <a:pt x="243" y="704"/>
                  </a:lnTo>
                  <a:lnTo>
                    <a:pt x="243" y="707"/>
                  </a:lnTo>
                  <a:lnTo>
                    <a:pt x="243" y="707"/>
                  </a:lnTo>
                  <a:lnTo>
                    <a:pt x="245" y="713"/>
                  </a:lnTo>
                  <a:lnTo>
                    <a:pt x="245" y="714"/>
                  </a:lnTo>
                  <a:lnTo>
                    <a:pt x="245" y="714"/>
                  </a:lnTo>
                  <a:lnTo>
                    <a:pt x="245" y="716"/>
                  </a:lnTo>
                  <a:lnTo>
                    <a:pt x="246" y="721"/>
                  </a:lnTo>
                  <a:lnTo>
                    <a:pt x="245" y="724"/>
                  </a:lnTo>
                  <a:lnTo>
                    <a:pt x="242" y="727"/>
                  </a:lnTo>
                  <a:lnTo>
                    <a:pt x="243" y="730"/>
                  </a:lnTo>
                  <a:lnTo>
                    <a:pt x="245" y="731"/>
                  </a:lnTo>
                  <a:lnTo>
                    <a:pt x="249" y="734"/>
                  </a:lnTo>
                  <a:lnTo>
                    <a:pt x="249" y="736"/>
                  </a:lnTo>
                  <a:lnTo>
                    <a:pt x="249" y="736"/>
                  </a:lnTo>
                  <a:lnTo>
                    <a:pt x="249" y="737"/>
                  </a:lnTo>
                  <a:lnTo>
                    <a:pt x="252" y="737"/>
                  </a:lnTo>
                  <a:lnTo>
                    <a:pt x="256" y="739"/>
                  </a:lnTo>
                  <a:lnTo>
                    <a:pt x="259" y="741"/>
                  </a:lnTo>
                  <a:lnTo>
                    <a:pt x="260" y="744"/>
                  </a:lnTo>
                  <a:lnTo>
                    <a:pt x="260" y="747"/>
                  </a:lnTo>
                  <a:lnTo>
                    <a:pt x="260" y="747"/>
                  </a:lnTo>
                  <a:lnTo>
                    <a:pt x="259" y="748"/>
                  </a:lnTo>
                  <a:lnTo>
                    <a:pt x="262" y="750"/>
                  </a:lnTo>
                  <a:lnTo>
                    <a:pt x="263" y="751"/>
                  </a:lnTo>
                  <a:lnTo>
                    <a:pt x="263" y="756"/>
                  </a:lnTo>
                  <a:lnTo>
                    <a:pt x="263" y="759"/>
                  </a:lnTo>
                  <a:lnTo>
                    <a:pt x="262" y="762"/>
                  </a:lnTo>
                  <a:lnTo>
                    <a:pt x="257" y="764"/>
                  </a:lnTo>
                  <a:lnTo>
                    <a:pt x="254" y="765"/>
                  </a:lnTo>
                  <a:lnTo>
                    <a:pt x="254" y="767"/>
                  </a:lnTo>
                  <a:lnTo>
                    <a:pt x="252" y="770"/>
                  </a:lnTo>
                  <a:lnTo>
                    <a:pt x="252" y="771"/>
                  </a:lnTo>
                  <a:lnTo>
                    <a:pt x="252" y="773"/>
                  </a:lnTo>
                  <a:lnTo>
                    <a:pt x="251" y="773"/>
                  </a:lnTo>
                  <a:lnTo>
                    <a:pt x="248" y="776"/>
                  </a:lnTo>
                  <a:lnTo>
                    <a:pt x="248" y="778"/>
                  </a:lnTo>
                  <a:lnTo>
                    <a:pt x="248" y="779"/>
                  </a:lnTo>
                  <a:lnTo>
                    <a:pt x="248" y="782"/>
                  </a:lnTo>
                  <a:lnTo>
                    <a:pt x="248" y="782"/>
                  </a:lnTo>
                  <a:lnTo>
                    <a:pt x="248" y="784"/>
                  </a:lnTo>
                  <a:lnTo>
                    <a:pt x="245" y="788"/>
                  </a:lnTo>
                  <a:lnTo>
                    <a:pt x="245" y="790"/>
                  </a:lnTo>
                  <a:lnTo>
                    <a:pt x="245" y="790"/>
                  </a:lnTo>
                  <a:lnTo>
                    <a:pt x="245" y="791"/>
                  </a:lnTo>
                  <a:lnTo>
                    <a:pt x="245" y="791"/>
                  </a:lnTo>
                  <a:lnTo>
                    <a:pt x="245" y="791"/>
                  </a:lnTo>
                  <a:lnTo>
                    <a:pt x="239" y="798"/>
                  </a:lnTo>
                  <a:lnTo>
                    <a:pt x="235" y="801"/>
                  </a:lnTo>
                  <a:lnTo>
                    <a:pt x="235" y="802"/>
                  </a:lnTo>
                  <a:lnTo>
                    <a:pt x="234" y="804"/>
                  </a:lnTo>
                  <a:lnTo>
                    <a:pt x="234" y="807"/>
                  </a:lnTo>
                  <a:lnTo>
                    <a:pt x="234" y="808"/>
                  </a:lnTo>
                  <a:lnTo>
                    <a:pt x="232" y="811"/>
                  </a:lnTo>
                  <a:lnTo>
                    <a:pt x="232" y="813"/>
                  </a:lnTo>
                  <a:lnTo>
                    <a:pt x="232" y="813"/>
                  </a:lnTo>
                  <a:lnTo>
                    <a:pt x="231" y="816"/>
                  </a:lnTo>
                  <a:lnTo>
                    <a:pt x="232" y="818"/>
                  </a:lnTo>
                  <a:lnTo>
                    <a:pt x="232" y="821"/>
                  </a:lnTo>
                  <a:lnTo>
                    <a:pt x="232" y="821"/>
                  </a:lnTo>
                  <a:lnTo>
                    <a:pt x="232" y="822"/>
                  </a:lnTo>
                  <a:lnTo>
                    <a:pt x="234" y="822"/>
                  </a:lnTo>
                  <a:lnTo>
                    <a:pt x="235" y="828"/>
                  </a:lnTo>
                  <a:lnTo>
                    <a:pt x="235" y="830"/>
                  </a:lnTo>
                  <a:lnTo>
                    <a:pt x="235" y="830"/>
                  </a:lnTo>
                  <a:lnTo>
                    <a:pt x="235" y="830"/>
                  </a:lnTo>
                  <a:lnTo>
                    <a:pt x="234" y="831"/>
                  </a:lnTo>
                  <a:lnTo>
                    <a:pt x="232" y="831"/>
                  </a:lnTo>
                  <a:lnTo>
                    <a:pt x="232" y="830"/>
                  </a:lnTo>
                  <a:lnTo>
                    <a:pt x="231" y="828"/>
                  </a:lnTo>
                  <a:lnTo>
                    <a:pt x="231" y="827"/>
                  </a:lnTo>
                  <a:lnTo>
                    <a:pt x="231" y="824"/>
                  </a:lnTo>
                  <a:lnTo>
                    <a:pt x="231" y="824"/>
                  </a:lnTo>
                  <a:lnTo>
                    <a:pt x="231" y="822"/>
                  </a:lnTo>
                  <a:lnTo>
                    <a:pt x="229" y="821"/>
                  </a:lnTo>
                  <a:lnTo>
                    <a:pt x="228" y="819"/>
                  </a:lnTo>
                  <a:lnTo>
                    <a:pt x="228" y="818"/>
                  </a:lnTo>
                  <a:lnTo>
                    <a:pt x="228" y="816"/>
                  </a:lnTo>
                  <a:lnTo>
                    <a:pt x="226" y="816"/>
                  </a:lnTo>
                  <a:lnTo>
                    <a:pt x="226" y="818"/>
                  </a:lnTo>
                  <a:lnTo>
                    <a:pt x="226" y="818"/>
                  </a:lnTo>
                  <a:lnTo>
                    <a:pt x="225" y="818"/>
                  </a:lnTo>
                  <a:lnTo>
                    <a:pt x="223" y="818"/>
                  </a:lnTo>
                  <a:lnTo>
                    <a:pt x="223" y="819"/>
                  </a:lnTo>
                  <a:lnTo>
                    <a:pt x="222" y="821"/>
                  </a:lnTo>
                  <a:lnTo>
                    <a:pt x="222" y="825"/>
                  </a:lnTo>
                  <a:lnTo>
                    <a:pt x="222" y="831"/>
                  </a:lnTo>
                  <a:lnTo>
                    <a:pt x="223" y="836"/>
                  </a:lnTo>
                  <a:lnTo>
                    <a:pt x="226" y="839"/>
                  </a:lnTo>
                  <a:lnTo>
                    <a:pt x="232" y="848"/>
                  </a:lnTo>
                  <a:lnTo>
                    <a:pt x="234" y="848"/>
                  </a:lnTo>
                  <a:lnTo>
                    <a:pt x="235" y="850"/>
                  </a:lnTo>
                  <a:lnTo>
                    <a:pt x="235" y="851"/>
                  </a:lnTo>
                  <a:lnTo>
                    <a:pt x="235" y="853"/>
                  </a:lnTo>
                  <a:lnTo>
                    <a:pt x="235" y="854"/>
                  </a:lnTo>
                  <a:lnTo>
                    <a:pt x="237" y="854"/>
                  </a:lnTo>
                  <a:lnTo>
                    <a:pt x="237" y="854"/>
                  </a:lnTo>
                  <a:lnTo>
                    <a:pt x="239" y="854"/>
                  </a:lnTo>
                  <a:lnTo>
                    <a:pt x="239" y="856"/>
                  </a:lnTo>
                  <a:lnTo>
                    <a:pt x="239" y="856"/>
                  </a:lnTo>
                  <a:lnTo>
                    <a:pt x="239" y="858"/>
                  </a:lnTo>
                  <a:lnTo>
                    <a:pt x="239" y="858"/>
                  </a:lnTo>
                  <a:lnTo>
                    <a:pt x="239" y="859"/>
                  </a:lnTo>
                  <a:lnTo>
                    <a:pt x="239" y="862"/>
                  </a:lnTo>
                  <a:lnTo>
                    <a:pt x="239" y="864"/>
                  </a:lnTo>
                  <a:lnTo>
                    <a:pt x="240" y="865"/>
                  </a:lnTo>
                  <a:lnTo>
                    <a:pt x="242" y="865"/>
                  </a:lnTo>
                  <a:lnTo>
                    <a:pt x="245" y="867"/>
                  </a:lnTo>
                  <a:lnTo>
                    <a:pt x="246" y="867"/>
                  </a:lnTo>
                  <a:lnTo>
                    <a:pt x="245" y="865"/>
                  </a:lnTo>
                  <a:lnTo>
                    <a:pt x="245" y="864"/>
                  </a:lnTo>
                  <a:lnTo>
                    <a:pt x="245" y="864"/>
                  </a:lnTo>
                  <a:lnTo>
                    <a:pt x="245" y="861"/>
                  </a:lnTo>
                  <a:lnTo>
                    <a:pt x="245" y="859"/>
                  </a:lnTo>
                  <a:lnTo>
                    <a:pt x="243" y="858"/>
                  </a:lnTo>
                  <a:lnTo>
                    <a:pt x="242" y="854"/>
                  </a:lnTo>
                  <a:lnTo>
                    <a:pt x="242" y="851"/>
                  </a:lnTo>
                  <a:lnTo>
                    <a:pt x="240" y="850"/>
                  </a:lnTo>
                  <a:lnTo>
                    <a:pt x="240" y="850"/>
                  </a:lnTo>
                  <a:lnTo>
                    <a:pt x="239" y="848"/>
                  </a:lnTo>
                  <a:lnTo>
                    <a:pt x="239" y="847"/>
                  </a:lnTo>
                  <a:lnTo>
                    <a:pt x="239" y="845"/>
                  </a:lnTo>
                  <a:lnTo>
                    <a:pt x="239" y="845"/>
                  </a:lnTo>
                  <a:lnTo>
                    <a:pt x="239" y="844"/>
                  </a:lnTo>
                  <a:lnTo>
                    <a:pt x="239" y="844"/>
                  </a:lnTo>
                  <a:lnTo>
                    <a:pt x="240" y="842"/>
                  </a:lnTo>
                  <a:lnTo>
                    <a:pt x="242" y="841"/>
                  </a:lnTo>
                  <a:lnTo>
                    <a:pt x="242" y="839"/>
                  </a:lnTo>
                  <a:lnTo>
                    <a:pt x="245" y="838"/>
                  </a:lnTo>
                  <a:lnTo>
                    <a:pt x="246" y="838"/>
                  </a:lnTo>
                  <a:lnTo>
                    <a:pt x="249" y="838"/>
                  </a:lnTo>
                  <a:lnTo>
                    <a:pt x="251" y="838"/>
                  </a:lnTo>
                  <a:lnTo>
                    <a:pt x="252" y="841"/>
                  </a:lnTo>
                  <a:lnTo>
                    <a:pt x="254" y="842"/>
                  </a:lnTo>
                  <a:lnTo>
                    <a:pt x="257" y="844"/>
                  </a:lnTo>
                  <a:lnTo>
                    <a:pt x="265" y="848"/>
                  </a:lnTo>
                  <a:lnTo>
                    <a:pt x="268" y="851"/>
                  </a:lnTo>
                  <a:lnTo>
                    <a:pt x="272" y="858"/>
                  </a:lnTo>
                  <a:lnTo>
                    <a:pt x="272" y="859"/>
                  </a:lnTo>
                  <a:lnTo>
                    <a:pt x="276" y="858"/>
                  </a:lnTo>
                  <a:lnTo>
                    <a:pt x="276" y="859"/>
                  </a:lnTo>
                  <a:lnTo>
                    <a:pt x="279" y="861"/>
                  </a:lnTo>
                  <a:lnTo>
                    <a:pt x="280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3" y="861"/>
                  </a:lnTo>
                  <a:lnTo>
                    <a:pt x="283" y="859"/>
                  </a:lnTo>
                  <a:lnTo>
                    <a:pt x="283" y="859"/>
                  </a:lnTo>
                  <a:lnTo>
                    <a:pt x="283" y="858"/>
                  </a:lnTo>
                  <a:lnTo>
                    <a:pt x="283" y="856"/>
                  </a:lnTo>
                  <a:lnTo>
                    <a:pt x="283" y="853"/>
                  </a:lnTo>
                  <a:lnTo>
                    <a:pt x="285" y="851"/>
                  </a:lnTo>
                  <a:lnTo>
                    <a:pt x="283" y="850"/>
                  </a:lnTo>
                  <a:lnTo>
                    <a:pt x="283" y="848"/>
                  </a:lnTo>
                  <a:lnTo>
                    <a:pt x="285" y="847"/>
                  </a:lnTo>
                  <a:lnTo>
                    <a:pt x="283" y="845"/>
                  </a:lnTo>
                  <a:lnTo>
                    <a:pt x="283" y="844"/>
                  </a:lnTo>
                  <a:lnTo>
                    <a:pt x="282" y="842"/>
                  </a:lnTo>
                  <a:lnTo>
                    <a:pt x="282" y="842"/>
                  </a:lnTo>
                  <a:lnTo>
                    <a:pt x="280" y="842"/>
                  </a:lnTo>
                  <a:lnTo>
                    <a:pt x="279" y="842"/>
                  </a:lnTo>
                  <a:lnTo>
                    <a:pt x="279" y="839"/>
                  </a:lnTo>
                  <a:lnTo>
                    <a:pt x="279" y="836"/>
                  </a:lnTo>
                  <a:lnTo>
                    <a:pt x="279" y="834"/>
                  </a:lnTo>
                  <a:lnTo>
                    <a:pt x="279" y="833"/>
                  </a:lnTo>
                  <a:lnTo>
                    <a:pt x="279" y="833"/>
                  </a:lnTo>
                  <a:lnTo>
                    <a:pt x="280" y="831"/>
                  </a:lnTo>
                  <a:lnTo>
                    <a:pt x="282" y="831"/>
                  </a:lnTo>
                  <a:lnTo>
                    <a:pt x="282" y="833"/>
                  </a:lnTo>
                  <a:lnTo>
                    <a:pt x="282" y="834"/>
                  </a:lnTo>
                  <a:lnTo>
                    <a:pt x="283" y="836"/>
                  </a:lnTo>
                  <a:lnTo>
                    <a:pt x="283" y="838"/>
                  </a:lnTo>
                  <a:lnTo>
                    <a:pt x="285" y="838"/>
                  </a:lnTo>
                  <a:lnTo>
                    <a:pt x="289" y="841"/>
                  </a:lnTo>
                  <a:lnTo>
                    <a:pt x="291" y="841"/>
                  </a:lnTo>
                  <a:lnTo>
                    <a:pt x="292" y="841"/>
                  </a:lnTo>
                  <a:lnTo>
                    <a:pt x="294" y="838"/>
                  </a:lnTo>
                  <a:lnTo>
                    <a:pt x="296" y="838"/>
                  </a:lnTo>
                  <a:lnTo>
                    <a:pt x="294" y="842"/>
                  </a:lnTo>
                  <a:lnTo>
                    <a:pt x="297" y="847"/>
                  </a:lnTo>
                  <a:lnTo>
                    <a:pt x="300" y="848"/>
                  </a:lnTo>
                  <a:lnTo>
                    <a:pt x="303" y="848"/>
                  </a:lnTo>
                  <a:lnTo>
                    <a:pt x="303" y="847"/>
                  </a:lnTo>
                  <a:lnTo>
                    <a:pt x="303" y="844"/>
                  </a:lnTo>
                  <a:lnTo>
                    <a:pt x="303" y="842"/>
                  </a:lnTo>
                  <a:lnTo>
                    <a:pt x="305" y="842"/>
                  </a:lnTo>
                  <a:lnTo>
                    <a:pt x="305" y="842"/>
                  </a:lnTo>
                  <a:lnTo>
                    <a:pt x="306" y="842"/>
                  </a:lnTo>
                  <a:lnTo>
                    <a:pt x="306" y="844"/>
                  </a:lnTo>
                  <a:lnTo>
                    <a:pt x="306" y="845"/>
                  </a:lnTo>
                  <a:lnTo>
                    <a:pt x="306" y="847"/>
                  </a:lnTo>
                  <a:lnTo>
                    <a:pt x="306" y="847"/>
                  </a:lnTo>
                  <a:lnTo>
                    <a:pt x="306" y="847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50"/>
                  </a:lnTo>
                  <a:lnTo>
                    <a:pt x="309" y="850"/>
                  </a:lnTo>
                  <a:lnTo>
                    <a:pt x="313" y="850"/>
                  </a:lnTo>
                  <a:lnTo>
                    <a:pt x="319" y="845"/>
                  </a:lnTo>
                  <a:lnTo>
                    <a:pt x="322" y="844"/>
                  </a:lnTo>
                  <a:lnTo>
                    <a:pt x="323" y="842"/>
                  </a:lnTo>
                  <a:lnTo>
                    <a:pt x="320" y="839"/>
                  </a:lnTo>
                  <a:lnTo>
                    <a:pt x="322" y="839"/>
                  </a:lnTo>
                  <a:lnTo>
                    <a:pt x="322" y="839"/>
                  </a:lnTo>
                  <a:lnTo>
                    <a:pt x="322" y="839"/>
                  </a:lnTo>
                  <a:lnTo>
                    <a:pt x="322" y="838"/>
                  </a:lnTo>
                  <a:lnTo>
                    <a:pt x="323" y="836"/>
                  </a:lnTo>
                  <a:lnTo>
                    <a:pt x="323" y="834"/>
                  </a:lnTo>
                  <a:lnTo>
                    <a:pt x="323" y="834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2" y="838"/>
                  </a:lnTo>
                  <a:lnTo>
                    <a:pt x="323" y="838"/>
                  </a:lnTo>
                  <a:lnTo>
                    <a:pt x="323" y="839"/>
                  </a:lnTo>
                  <a:lnTo>
                    <a:pt x="323" y="839"/>
                  </a:lnTo>
                  <a:lnTo>
                    <a:pt x="325" y="838"/>
                  </a:lnTo>
                  <a:lnTo>
                    <a:pt x="325" y="838"/>
                  </a:lnTo>
                  <a:lnTo>
                    <a:pt x="325" y="838"/>
                  </a:lnTo>
                  <a:lnTo>
                    <a:pt x="323" y="838"/>
                  </a:lnTo>
                  <a:lnTo>
                    <a:pt x="329" y="838"/>
                  </a:lnTo>
                  <a:lnTo>
                    <a:pt x="331" y="834"/>
                  </a:lnTo>
                  <a:lnTo>
                    <a:pt x="333" y="834"/>
                  </a:lnTo>
                  <a:lnTo>
                    <a:pt x="340" y="836"/>
                  </a:lnTo>
                  <a:lnTo>
                    <a:pt x="340" y="834"/>
                  </a:lnTo>
                  <a:lnTo>
                    <a:pt x="342" y="833"/>
                  </a:lnTo>
                  <a:lnTo>
                    <a:pt x="342" y="831"/>
                  </a:lnTo>
                  <a:lnTo>
                    <a:pt x="342" y="828"/>
                  </a:lnTo>
                  <a:lnTo>
                    <a:pt x="342" y="825"/>
                  </a:lnTo>
                  <a:lnTo>
                    <a:pt x="340" y="824"/>
                  </a:lnTo>
                  <a:lnTo>
                    <a:pt x="342" y="821"/>
                  </a:lnTo>
                  <a:lnTo>
                    <a:pt x="343" y="822"/>
                  </a:lnTo>
                  <a:lnTo>
                    <a:pt x="345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1"/>
                  </a:lnTo>
                  <a:lnTo>
                    <a:pt x="346" y="821"/>
                  </a:lnTo>
                  <a:lnTo>
                    <a:pt x="348" y="821"/>
                  </a:lnTo>
                  <a:lnTo>
                    <a:pt x="349" y="822"/>
                  </a:lnTo>
                  <a:lnTo>
                    <a:pt x="351" y="822"/>
                  </a:lnTo>
                  <a:lnTo>
                    <a:pt x="374" y="824"/>
                  </a:lnTo>
                  <a:lnTo>
                    <a:pt x="380" y="822"/>
                  </a:lnTo>
                  <a:lnTo>
                    <a:pt x="380" y="822"/>
                  </a:lnTo>
                  <a:lnTo>
                    <a:pt x="380" y="822"/>
                  </a:lnTo>
                  <a:lnTo>
                    <a:pt x="383" y="824"/>
                  </a:lnTo>
                  <a:lnTo>
                    <a:pt x="383" y="824"/>
                  </a:lnTo>
                  <a:lnTo>
                    <a:pt x="382" y="824"/>
                  </a:lnTo>
                  <a:lnTo>
                    <a:pt x="380" y="824"/>
                  </a:lnTo>
                  <a:lnTo>
                    <a:pt x="379" y="825"/>
                  </a:lnTo>
                  <a:lnTo>
                    <a:pt x="377" y="825"/>
                  </a:lnTo>
                  <a:lnTo>
                    <a:pt x="377" y="825"/>
                  </a:lnTo>
                  <a:lnTo>
                    <a:pt x="383" y="825"/>
                  </a:lnTo>
                  <a:lnTo>
                    <a:pt x="382" y="827"/>
                  </a:lnTo>
                  <a:lnTo>
                    <a:pt x="376" y="828"/>
                  </a:lnTo>
                  <a:lnTo>
                    <a:pt x="374" y="828"/>
                  </a:lnTo>
                  <a:lnTo>
                    <a:pt x="371" y="827"/>
                  </a:lnTo>
                  <a:lnTo>
                    <a:pt x="371" y="827"/>
                  </a:lnTo>
                  <a:lnTo>
                    <a:pt x="369" y="827"/>
                  </a:lnTo>
                  <a:lnTo>
                    <a:pt x="369" y="825"/>
                  </a:lnTo>
                  <a:lnTo>
                    <a:pt x="368" y="825"/>
                  </a:lnTo>
                  <a:lnTo>
                    <a:pt x="363" y="827"/>
                  </a:lnTo>
                  <a:lnTo>
                    <a:pt x="363" y="828"/>
                  </a:lnTo>
                  <a:lnTo>
                    <a:pt x="360" y="830"/>
                  </a:lnTo>
                  <a:lnTo>
                    <a:pt x="365" y="831"/>
                  </a:lnTo>
                  <a:lnTo>
                    <a:pt x="365" y="833"/>
                  </a:lnTo>
                  <a:lnTo>
                    <a:pt x="362" y="834"/>
                  </a:lnTo>
                  <a:lnTo>
                    <a:pt x="362" y="834"/>
                  </a:lnTo>
                  <a:lnTo>
                    <a:pt x="360" y="834"/>
                  </a:lnTo>
                  <a:lnTo>
                    <a:pt x="359" y="833"/>
                  </a:lnTo>
                  <a:lnTo>
                    <a:pt x="359" y="833"/>
                  </a:lnTo>
                  <a:lnTo>
                    <a:pt x="357" y="833"/>
                  </a:lnTo>
                  <a:lnTo>
                    <a:pt x="356" y="834"/>
                  </a:lnTo>
                  <a:lnTo>
                    <a:pt x="354" y="839"/>
                  </a:lnTo>
                  <a:lnTo>
                    <a:pt x="351" y="845"/>
                  </a:lnTo>
                  <a:lnTo>
                    <a:pt x="353" y="848"/>
                  </a:lnTo>
                  <a:lnTo>
                    <a:pt x="351" y="850"/>
                  </a:lnTo>
                  <a:lnTo>
                    <a:pt x="351" y="853"/>
                  </a:lnTo>
                  <a:lnTo>
                    <a:pt x="349" y="854"/>
                  </a:lnTo>
                  <a:lnTo>
                    <a:pt x="348" y="854"/>
                  </a:lnTo>
                  <a:lnTo>
                    <a:pt x="346" y="854"/>
                  </a:lnTo>
                  <a:lnTo>
                    <a:pt x="346" y="856"/>
                  </a:lnTo>
                  <a:lnTo>
                    <a:pt x="346" y="858"/>
                  </a:lnTo>
                  <a:lnTo>
                    <a:pt x="345" y="861"/>
                  </a:lnTo>
                  <a:lnTo>
                    <a:pt x="342" y="865"/>
                  </a:lnTo>
                  <a:lnTo>
                    <a:pt x="340" y="876"/>
                  </a:lnTo>
                  <a:lnTo>
                    <a:pt x="339" y="881"/>
                  </a:lnTo>
                  <a:lnTo>
                    <a:pt x="339" y="881"/>
                  </a:lnTo>
                  <a:lnTo>
                    <a:pt x="337" y="882"/>
                  </a:lnTo>
                  <a:lnTo>
                    <a:pt x="337" y="882"/>
                  </a:lnTo>
                  <a:lnTo>
                    <a:pt x="337" y="884"/>
                  </a:lnTo>
                  <a:lnTo>
                    <a:pt x="339" y="885"/>
                  </a:lnTo>
                  <a:lnTo>
                    <a:pt x="339" y="885"/>
                  </a:lnTo>
                  <a:lnTo>
                    <a:pt x="340" y="887"/>
                  </a:lnTo>
                  <a:lnTo>
                    <a:pt x="348" y="896"/>
                  </a:lnTo>
                  <a:lnTo>
                    <a:pt x="349" y="898"/>
                  </a:lnTo>
                  <a:lnTo>
                    <a:pt x="351" y="904"/>
                  </a:lnTo>
                  <a:lnTo>
                    <a:pt x="353" y="904"/>
                  </a:lnTo>
                  <a:lnTo>
                    <a:pt x="354" y="904"/>
                  </a:lnTo>
                  <a:lnTo>
                    <a:pt x="354" y="905"/>
                  </a:lnTo>
                  <a:lnTo>
                    <a:pt x="354" y="907"/>
                  </a:lnTo>
                  <a:lnTo>
                    <a:pt x="354" y="908"/>
                  </a:lnTo>
                  <a:lnTo>
                    <a:pt x="354" y="910"/>
                  </a:lnTo>
                  <a:lnTo>
                    <a:pt x="354" y="910"/>
                  </a:lnTo>
                  <a:lnTo>
                    <a:pt x="354" y="913"/>
                  </a:lnTo>
                  <a:lnTo>
                    <a:pt x="356" y="915"/>
                  </a:lnTo>
                  <a:lnTo>
                    <a:pt x="357" y="918"/>
                  </a:lnTo>
                  <a:lnTo>
                    <a:pt x="360" y="922"/>
                  </a:lnTo>
                  <a:lnTo>
                    <a:pt x="362" y="924"/>
                  </a:lnTo>
                  <a:lnTo>
                    <a:pt x="363" y="922"/>
                  </a:lnTo>
                  <a:lnTo>
                    <a:pt x="365" y="922"/>
                  </a:lnTo>
                  <a:lnTo>
                    <a:pt x="366" y="922"/>
                  </a:lnTo>
                  <a:lnTo>
                    <a:pt x="366" y="922"/>
                  </a:lnTo>
                  <a:lnTo>
                    <a:pt x="366" y="919"/>
                  </a:lnTo>
                  <a:lnTo>
                    <a:pt x="366" y="916"/>
                  </a:lnTo>
                  <a:lnTo>
                    <a:pt x="368" y="915"/>
                  </a:lnTo>
                  <a:lnTo>
                    <a:pt x="369" y="915"/>
                  </a:lnTo>
                  <a:lnTo>
                    <a:pt x="368" y="918"/>
                  </a:lnTo>
                  <a:lnTo>
                    <a:pt x="369" y="921"/>
                  </a:lnTo>
                  <a:lnTo>
                    <a:pt x="368" y="925"/>
                  </a:lnTo>
                  <a:lnTo>
                    <a:pt x="366" y="925"/>
                  </a:lnTo>
                  <a:lnTo>
                    <a:pt x="366" y="927"/>
                  </a:lnTo>
                  <a:lnTo>
                    <a:pt x="366" y="927"/>
                  </a:lnTo>
                  <a:lnTo>
                    <a:pt x="366" y="930"/>
                  </a:lnTo>
                  <a:lnTo>
                    <a:pt x="366" y="931"/>
                  </a:lnTo>
                  <a:lnTo>
                    <a:pt x="366" y="933"/>
                  </a:lnTo>
                  <a:lnTo>
                    <a:pt x="366" y="935"/>
                  </a:lnTo>
                  <a:lnTo>
                    <a:pt x="368" y="935"/>
                  </a:lnTo>
                  <a:lnTo>
                    <a:pt x="369" y="935"/>
                  </a:lnTo>
                  <a:lnTo>
                    <a:pt x="369" y="935"/>
                  </a:lnTo>
                  <a:lnTo>
                    <a:pt x="371" y="936"/>
                  </a:lnTo>
                  <a:lnTo>
                    <a:pt x="374" y="939"/>
                  </a:lnTo>
                  <a:lnTo>
                    <a:pt x="374" y="938"/>
                  </a:lnTo>
                  <a:lnTo>
                    <a:pt x="373" y="936"/>
                  </a:lnTo>
                  <a:lnTo>
                    <a:pt x="374" y="935"/>
                  </a:lnTo>
                  <a:lnTo>
                    <a:pt x="376" y="935"/>
                  </a:lnTo>
                  <a:lnTo>
                    <a:pt x="376" y="933"/>
                  </a:lnTo>
                  <a:lnTo>
                    <a:pt x="377" y="930"/>
                  </a:lnTo>
                  <a:lnTo>
                    <a:pt x="380" y="927"/>
                  </a:lnTo>
                  <a:lnTo>
                    <a:pt x="380" y="927"/>
                  </a:lnTo>
                  <a:lnTo>
                    <a:pt x="380" y="925"/>
                  </a:lnTo>
                  <a:lnTo>
                    <a:pt x="380" y="924"/>
                  </a:lnTo>
                  <a:lnTo>
                    <a:pt x="380" y="921"/>
                  </a:lnTo>
                  <a:lnTo>
                    <a:pt x="380" y="919"/>
                  </a:lnTo>
                  <a:lnTo>
                    <a:pt x="382" y="919"/>
                  </a:lnTo>
                  <a:lnTo>
                    <a:pt x="382" y="919"/>
                  </a:lnTo>
                  <a:lnTo>
                    <a:pt x="383" y="921"/>
                  </a:lnTo>
                  <a:lnTo>
                    <a:pt x="383" y="922"/>
                  </a:lnTo>
                  <a:lnTo>
                    <a:pt x="383" y="924"/>
                  </a:lnTo>
                  <a:lnTo>
                    <a:pt x="383" y="925"/>
                  </a:lnTo>
                  <a:lnTo>
                    <a:pt x="385" y="927"/>
                  </a:lnTo>
                  <a:lnTo>
                    <a:pt x="385" y="928"/>
                  </a:lnTo>
                  <a:lnTo>
                    <a:pt x="390" y="928"/>
                  </a:lnTo>
                  <a:lnTo>
                    <a:pt x="390" y="927"/>
                  </a:lnTo>
                  <a:lnTo>
                    <a:pt x="391" y="925"/>
                  </a:lnTo>
                  <a:lnTo>
                    <a:pt x="391" y="924"/>
                  </a:lnTo>
                  <a:lnTo>
                    <a:pt x="393" y="922"/>
                  </a:lnTo>
                  <a:lnTo>
                    <a:pt x="396" y="921"/>
                  </a:lnTo>
                  <a:lnTo>
                    <a:pt x="397" y="919"/>
                  </a:lnTo>
                  <a:lnTo>
                    <a:pt x="399" y="918"/>
                  </a:lnTo>
                  <a:lnTo>
                    <a:pt x="399" y="916"/>
                  </a:lnTo>
                  <a:lnTo>
                    <a:pt x="399" y="916"/>
                  </a:lnTo>
                  <a:lnTo>
                    <a:pt x="399" y="919"/>
                  </a:lnTo>
                  <a:lnTo>
                    <a:pt x="399" y="921"/>
                  </a:lnTo>
                  <a:lnTo>
                    <a:pt x="397" y="922"/>
                  </a:lnTo>
                  <a:lnTo>
                    <a:pt x="396" y="924"/>
                  </a:lnTo>
                  <a:lnTo>
                    <a:pt x="396" y="924"/>
                  </a:lnTo>
                  <a:lnTo>
                    <a:pt x="397" y="927"/>
                  </a:lnTo>
                  <a:lnTo>
                    <a:pt x="399" y="930"/>
                  </a:lnTo>
                  <a:lnTo>
                    <a:pt x="399" y="931"/>
                  </a:lnTo>
                  <a:lnTo>
                    <a:pt x="399" y="935"/>
                  </a:lnTo>
                  <a:lnTo>
                    <a:pt x="397" y="936"/>
                  </a:lnTo>
                  <a:lnTo>
                    <a:pt x="394" y="938"/>
                  </a:lnTo>
                  <a:lnTo>
                    <a:pt x="394" y="939"/>
                  </a:lnTo>
                  <a:lnTo>
                    <a:pt x="393" y="941"/>
                  </a:lnTo>
                  <a:lnTo>
                    <a:pt x="391" y="942"/>
                  </a:lnTo>
                  <a:lnTo>
                    <a:pt x="391" y="942"/>
                  </a:lnTo>
                  <a:lnTo>
                    <a:pt x="391" y="944"/>
                  </a:lnTo>
                  <a:lnTo>
                    <a:pt x="391" y="944"/>
                  </a:lnTo>
                  <a:lnTo>
                    <a:pt x="391" y="947"/>
                  </a:lnTo>
                  <a:lnTo>
                    <a:pt x="393" y="947"/>
                  </a:lnTo>
                  <a:lnTo>
                    <a:pt x="394" y="947"/>
                  </a:lnTo>
                  <a:lnTo>
                    <a:pt x="396" y="947"/>
                  </a:lnTo>
                  <a:lnTo>
                    <a:pt x="397" y="945"/>
                  </a:lnTo>
                  <a:lnTo>
                    <a:pt x="397" y="948"/>
                  </a:lnTo>
                  <a:lnTo>
                    <a:pt x="394" y="950"/>
                  </a:lnTo>
                  <a:lnTo>
                    <a:pt x="394" y="952"/>
                  </a:lnTo>
                  <a:lnTo>
                    <a:pt x="394" y="952"/>
                  </a:lnTo>
                  <a:lnTo>
                    <a:pt x="394" y="953"/>
                  </a:lnTo>
                  <a:lnTo>
                    <a:pt x="393" y="953"/>
                  </a:lnTo>
                  <a:lnTo>
                    <a:pt x="393" y="955"/>
                  </a:lnTo>
                  <a:lnTo>
                    <a:pt x="393" y="955"/>
                  </a:lnTo>
                  <a:lnTo>
                    <a:pt x="393" y="955"/>
                  </a:lnTo>
                  <a:lnTo>
                    <a:pt x="391" y="953"/>
                  </a:lnTo>
                  <a:lnTo>
                    <a:pt x="390" y="953"/>
                  </a:lnTo>
                  <a:lnTo>
                    <a:pt x="383" y="956"/>
                  </a:lnTo>
                  <a:lnTo>
                    <a:pt x="382" y="958"/>
                  </a:lnTo>
                  <a:lnTo>
                    <a:pt x="380" y="959"/>
                  </a:lnTo>
                  <a:lnTo>
                    <a:pt x="380" y="962"/>
                  </a:lnTo>
                  <a:lnTo>
                    <a:pt x="380" y="973"/>
                  </a:lnTo>
                  <a:lnTo>
                    <a:pt x="380" y="976"/>
                  </a:lnTo>
                  <a:lnTo>
                    <a:pt x="383" y="979"/>
                  </a:lnTo>
                  <a:lnTo>
                    <a:pt x="385" y="981"/>
                  </a:lnTo>
                  <a:lnTo>
                    <a:pt x="391" y="981"/>
                  </a:lnTo>
                  <a:lnTo>
                    <a:pt x="391" y="982"/>
                  </a:lnTo>
                  <a:lnTo>
                    <a:pt x="388" y="984"/>
                  </a:lnTo>
                  <a:lnTo>
                    <a:pt x="388" y="985"/>
                  </a:lnTo>
                  <a:lnTo>
                    <a:pt x="386" y="987"/>
                  </a:lnTo>
                  <a:lnTo>
                    <a:pt x="383" y="992"/>
                  </a:lnTo>
                  <a:lnTo>
                    <a:pt x="377" y="999"/>
                  </a:lnTo>
                  <a:lnTo>
                    <a:pt x="377" y="1001"/>
                  </a:lnTo>
                  <a:lnTo>
                    <a:pt x="377" y="1004"/>
                  </a:lnTo>
                  <a:lnTo>
                    <a:pt x="377" y="1005"/>
                  </a:lnTo>
                  <a:lnTo>
                    <a:pt x="386" y="1024"/>
                  </a:lnTo>
                  <a:lnTo>
                    <a:pt x="388" y="1027"/>
                  </a:lnTo>
                  <a:lnTo>
                    <a:pt x="390" y="1029"/>
                  </a:lnTo>
                  <a:lnTo>
                    <a:pt x="393" y="1032"/>
                  </a:lnTo>
                  <a:lnTo>
                    <a:pt x="396" y="1033"/>
                  </a:lnTo>
                  <a:lnTo>
                    <a:pt x="399" y="1033"/>
                  </a:lnTo>
                  <a:lnTo>
                    <a:pt x="399" y="1033"/>
                  </a:lnTo>
                  <a:lnTo>
                    <a:pt x="400" y="1032"/>
                  </a:lnTo>
                  <a:lnTo>
                    <a:pt x="400" y="1030"/>
                  </a:lnTo>
                  <a:lnTo>
                    <a:pt x="402" y="1030"/>
                  </a:lnTo>
                  <a:lnTo>
                    <a:pt x="405" y="1029"/>
                  </a:lnTo>
                  <a:lnTo>
                    <a:pt x="406" y="1029"/>
                  </a:lnTo>
                  <a:lnTo>
                    <a:pt x="406" y="1030"/>
                  </a:lnTo>
                  <a:lnTo>
                    <a:pt x="405" y="1030"/>
                  </a:lnTo>
                  <a:lnTo>
                    <a:pt x="405" y="1030"/>
                  </a:lnTo>
                  <a:lnTo>
                    <a:pt x="403" y="1030"/>
                  </a:lnTo>
                  <a:lnTo>
                    <a:pt x="403" y="1030"/>
                  </a:lnTo>
                  <a:lnTo>
                    <a:pt x="403" y="1032"/>
                  </a:lnTo>
                  <a:lnTo>
                    <a:pt x="403" y="1033"/>
                  </a:lnTo>
                  <a:lnTo>
                    <a:pt x="403" y="1035"/>
                  </a:lnTo>
                  <a:lnTo>
                    <a:pt x="400" y="1035"/>
                  </a:lnTo>
                  <a:lnTo>
                    <a:pt x="400" y="1036"/>
                  </a:lnTo>
                  <a:lnTo>
                    <a:pt x="399" y="1036"/>
                  </a:lnTo>
                  <a:lnTo>
                    <a:pt x="399" y="1036"/>
                  </a:lnTo>
                  <a:lnTo>
                    <a:pt x="397" y="1035"/>
                  </a:lnTo>
                  <a:lnTo>
                    <a:pt x="396" y="1035"/>
                  </a:lnTo>
                  <a:lnTo>
                    <a:pt x="396" y="1035"/>
                  </a:lnTo>
                  <a:lnTo>
                    <a:pt x="396" y="1036"/>
                  </a:lnTo>
                  <a:lnTo>
                    <a:pt x="396" y="1036"/>
                  </a:lnTo>
                  <a:lnTo>
                    <a:pt x="396" y="1036"/>
                  </a:lnTo>
                  <a:lnTo>
                    <a:pt x="393" y="1036"/>
                  </a:lnTo>
                  <a:lnTo>
                    <a:pt x="391" y="1036"/>
                  </a:lnTo>
                  <a:lnTo>
                    <a:pt x="390" y="1035"/>
                  </a:lnTo>
                  <a:lnTo>
                    <a:pt x="388" y="1033"/>
                  </a:lnTo>
                  <a:lnTo>
                    <a:pt x="383" y="1021"/>
                  </a:lnTo>
                  <a:lnTo>
                    <a:pt x="382" y="1019"/>
                  </a:lnTo>
                  <a:lnTo>
                    <a:pt x="380" y="1019"/>
                  </a:lnTo>
                  <a:lnTo>
                    <a:pt x="377" y="1021"/>
                  </a:lnTo>
                  <a:lnTo>
                    <a:pt x="376" y="1021"/>
                  </a:lnTo>
                  <a:lnTo>
                    <a:pt x="373" y="1022"/>
                  </a:lnTo>
                  <a:lnTo>
                    <a:pt x="371" y="1022"/>
                  </a:lnTo>
                  <a:lnTo>
                    <a:pt x="371" y="1024"/>
                  </a:lnTo>
                  <a:lnTo>
                    <a:pt x="371" y="1025"/>
                  </a:lnTo>
                  <a:lnTo>
                    <a:pt x="371" y="1027"/>
                  </a:lnTo>
                  <a:lnTo>
                    <a:pt x="374" y="1032"/>
                  </a:lnTo>
                  <a:lnTo>
                    <a:pt x="376" y="1035"/>
                  </a:lnTo>
                  <a:lnTo>
                    <a:pt x="377" y="1036"/>
                  </a:lnTo>
                  <a:lnTo>
                    <a:pt x="379" y="1038"/>
                  </a:lnTo>
                  <a:lnTo>
                    <a:pt x="379" y="1042"/>
                  </a:lnTo>
                  <a:lnTo>
                    <a:pt x="377" y="1044"/>
                  </a:lnTo>
                  <a:lnTo>
                    <a:pt x="377" y="1042"/>
                  </a:lnTo>
                  <a:lnTo>
                    <a:pt x="376" y="1041"/>
                  </a:lnTo>
                  <a:lnTo>
                    <a:pt x="376" y="1041"/>
                  </a:lnTo>
                  <a:lnTo>
                    <a:pt x="365" y="1033"/>
                  </a:lnTo>
                  <a:lnTo>
                    <a:pt x="365" y="1033"/>
                  </a:lnTo>
                  <a:lnTo>
                    <a:pt x="363" y="1032"/>
                  </a:lnTo>
                  <a:lnTo>
                    <a:pt x="362" y="1030"/>
                  </a:lnTo>
                  <a:lnTo>
                    <a:pt x="360" y="1029"/>
                  </a:lnTo>
                  <a:lnTo>
                    <a:pt x="357" y="1029"/>
                  </a:lnTo>
                  <a:lnTo>
                    <a:pt x="342" y="1036"/>
                  </a:lnTo>
                  <a:lnTo>
                    <a:pt x="339" y="1036"/>
                  </a:lnTo>
                  <a:lnTo>
                    <a:pt x="331" y="1038"/>
                  </a:lnTo>
                  <a:lnTo>
                    <a:pt x="329" y="1036"/>
                  </a:lnTo>
                  <a:lnTo>
                    <a:pt x="328" y="1035"/>
                  </a:lnTo>
                  <a:lnTo>
                    <a:pt x="326" y="1033"/>
                  </a:lnTo>
                  <a:lnTo>
                    <a:pt x="325" y="1033"/>
                  </a:lnTo>
                  <a:lnTo>
                    <a:pt x="323" y="1033"/>
                  </a:lnTo>
                  <a:lnTo>
                    <a:pt x="323" y="1032"/>
                  </a:lnTo>
                  <a:lnTo>
                    <a:pt x="322" y="1032"/>
                  </a:lnTo>
                  <a:lnTo>
                    <a:pt x="320" y="1032"/>
                  </a:lnTo>
                  <a:lnTo>
                    <a:pt x="319" y="1030"/>
                  </a:lnTo>
                  <a:lnTo>
                    <a:pt x="320" y="1032"/>
                  </a:lnTo>
                  <a:lnTo>
                    <a:pt x="322" y="1035"/>
                  </a:lnTo>
                  <a:lnTo>
                    <a:pt x="322" y="1036"/>
                  </a:lnTo>
                  <a:lnTo>
                    <a:pt x="320" y="1036"/>
                  </a:lnTo>
                  <a:lnTo>
                    <a:pt x="311" y="1041"/>
                  </a:lnTo>
                  <a:lnTo>
                    <a:pt x="309" y="1042"/>
                  </a:lnTo>
                  <a:lnTo>
                    <a:pt x="308" y="1042"/>
                  </a:lnTo>
                  <a:lnTo>
                    <a:pt x="306" y="1044"/>
                  </a:lnTo>
                  <a:lnTo>
                    <a:pt x="305" y="1044"/>
                  </a:lnTo>
                  <a:lnTo>
                    <a:pt x="305" y="1044"/>
                  </a:lnTo>
                  <a:lnTo>
                    <a:pt x="303" y="1044"/>
                  </a:lnTo>
                  <a:lnTo>
                    <a:pt x="303" y="1044"/>
                  </a:lnTo>
                  <a:lnTo>
                    <a:pt x="300" y="1044"/>
                  </a:lnTo>
                  <a:lnTo>
                    <a:pt x="299" y="1044"/>
                  </a:lnTo>
                  <a:lnTo>
                    <a:pt x="297" y="1045"/>
                  </a:lnTo>
                  <a:lnTo>
                    <a:pt x="296" y="1047"/>
                  </a:lnTo>
                  <a:lnTo>
                    <a:pt x="294" y="1052"/>
                  </a:lnTo>
                  <a:lnTo>
                    <a:pt x="292" y="1052"/>
                  </a:lnTo>
                  <a:lnTo>
                    <a:pt x="291" y="1053"/>
                  </a:lnTo>
                  <a:lnTo>
                    <a:pt x="291" y="1053"/>
                  </a:lnTo>
                  <a:lnTo>
                    <a:pt x="288" y="1058"/>
                  </a:lnTo>
                  <a:lnTo>
                    <a:pt x="288" y="1058"/>
                  </a:lnTo>
                  <a:lnTo>
                    <a:pt x="286" y="1059"/>
                  </a:lnTo>
                  <a:lnTo>
                    <a:pt x="286" y="1059"/>
                  </a:lnTo>
                  <a:lnTo>
                    <a:pt x="286" y="1059"/>
                  </a:lnTo>
                  <a:lnTo>
                    <a:pt x="285" y="1058"/>
                  </a:lnTo>
                  <a:lnTo>
                    <a:pt x="285" y="1058"/>
                  </a:lnTo>
                  <a:lnTo>
                    <a:pt x="285" y="1059"/>
                  </a:lnTo>
                  <a:lnTo>
                    <a:pt x="285" y="1059"/>
                  </a:lnTo>
                  <a:lnTo>
                    <a:pt x="285" y="1065"/>
                  </a:lnTo>
                  <a:lnTo>
                    <a:pt x="283" y="1067"/>
                  </a:lnTo>
                  <a:lnTo>
                    <a:pt x="283" y="1069"/>
                  </a:lnTo>
                  <a:lnTo>
                    <a:pt x="279" y="1072"/>
                  </a:lnTo>
                  <a:lnTo>
                    <a:pt x="277" y="1075"/>
                  </a:lnTo>
                  <a:lnTo>
                    <a:pt x="271" y="1079"/>
                  </a:lnTo>
                  <a:lnTo>
                    <a:pt x="269" y="1081"/>
                  </a:lnTo>
                  <a:lnTo>
                    <a:pt x="268" y="1081"/>
                  </a:lnTo>
                  <a:lnTo>
                    <a:pt x="266" y="1081"/>
                  </a:lnTo>
                  <a:lnTo>
                    <a:pt x="265" y="1081"/>
                  </a:lnTo>
                  <a:lnTo>
                    <a:pt x="256" y="1093"/>
                  </a:lnTo>
                  <a:lnTo>
                    <a:pt x="254" y="1095"/>
                  </a:lnTo>
                  <a:lnTo>
                    <a:pt x="254" y="1096"/>
                  </a:lnTo>
                  <a:lnTo>
                    <a:pt x="254" y="1096"/>
                  </a:lnTo>
                  <a:lnTo>
                    <a:pt x="254" y="1098"/>
                  </a:lnTo>
                  <a:lnTo>
                    <a:pt x="252" y="1098"/>
                  </a:lnTo>
                  <a:lnTo>
                    <a:pt x="254" y="1099"/>
                  </a:lnTo>
                  <a:lnTo>
                    <a:pt x="256" y="1099"/>
                  </a:lnTo>
                  <a:lnTo>
                    <a:pt x="256" y="1098"/>
                  </a:lnTo>
                  <a:lnTo>
                    <a:pt x="257" y="1096"/>
                  </a:lnTo>
                  <a:lnTo>
                    <a:pt x="262" y="1098"/>
                  </a:lnTo>
                  <a:lnTo>
                    <a:pt x="263" y="1096"/>
                  </a:lnTo>
                  <a:lnTo>
                    <a:pt x="263" y="1096"/>
                  </a:lnTo>
                  <a:lnTo>
                    <a:pt x="265" y="1096"/>
                  </a:lnTo>
                  <a:lnTo>
                    <a:pt x="265" y="1095"/>
                  </a:lnTo>
                  <a:lnTo>
                    <a:pt x="266" y="1095"/>
                  </a:lnTo>
                  <a:lnTo>
                    <a:pt x="266" y="1095"/>
                  </a:lnTo>
                  <a:lnTo>
                    <a:pt x="268" y="1096"/>
                  </a:lnTo>
                  <a:lnTo>
                    <a:pt x="269" y="1098"/>
                  </a:lnTo>
                  <a:lnTo>
                    <a:pt x="271" y="1098"/>
                  </a:lnTo>
                  <a:lnTo>
                    <a:pt x="271" y="1098"/>
                  </a:lnTo>
                  <a:lnTo>
                    <a:pt x="272" y="1098"/>
                  </a:lnTo>
                  <a:lnTo>
                    <a:pt x="272" y="1098"/>
                  </a:lnTo>
                  <a:lnTo>
                    <a:pt x="274" y="1096"/>
                  </a:lnTo>
                  <a:lnTo>
                    <a:pt x="272" y="1095"/>
                  </a:lnTo>
                  <a:lnTo>
                    <a:pt x="272" y="1093"/>
                  </a:lnTo>
                  <a:lnTo>
                    <a:pt x="274" y="1093"/>
                  </a:lnTo>
                  <a:lnTo>
                    <a:pt x="274" y="1092"/>
                  </a:lnTo>
                  <a:lnTo>
                    <a:pt x="274" y="1092"/>
                  </a:lnTo>
                  <a:lnTo>
                    <a:pt x="274" y="1092"/>
                  </a:lnTo>
                  <a:lnTo>
                    <a:pt x="277" y="1089"/>
                  </a:lnTo>
                  <a:lnTo>
                    <a:pt x="279" y="1087"/>
                  </a:lnTo>
                  <a:lnTo>
                    <a:pt x="280" y="1085"/>
                  </a:lnTo>
                  <a:lnTo>
                    <a:pt x="285" y="1085"/>
                  </a:lnTo>
                  <a:lnTo>
                    <a:pt x="286" y="1085"/>
                  </a:lnTo>
                  <a:lnTo>
                    <a:pt x="288" y="1084"/>
                  </a:lnTo>
                  <a:lnTo>
                    <a:pt x="292" y="1082"/>
                  </a:lnTo>
                  <a:lnTo>
                    <a:pt x="297" y="1084"/>
                  </a:lnTo>
                  <a:lnTo>
                    <a:pt x="299" y="1082"/>
                  </a:lnTo>
                  <a:lnTo>
                    <a:pt x="302" y="1081"/>
                  </a:lnTo>
                  <a:lnTo>
                    <a:pt x="302" y="1082"/>
                  </a:lnTo>
                  <a:lnTo>
                    <a:pt x="302" y="1082"/>
                  </a:lnTo>
                  <a:lnTo>
                    <a:pt x="303" y="1082"/>
                  </a:lnTo>
                  <a:lnTo>
                    <a:pt x="305" y="1081"/>
                  </a:lnTo>
                  <a:lnTo>
                    <a:pt x="305" y="1082"/>
                  </a:lnTo>
                  <a:lnTo>
                    <a:pt x="305" y="1082"/>
                  </a:lnTo>
                  <a:lnTo>
                    <a:pt x="305" y="1082"/>
                  </a:lnTo>
                  <a:lnTo>
                    <a:pt x="300" y="1085"/>
                  </a:lnTo>
                  <a:lnTo>
                    <a:pt x="300" y="1085"/>
                  </a:lnTo>
                  <a:lnTo>
                    <a:pt x="300" y="1087"/>
                  </a:lnTo>
                  <a:lnTo>
                    <a:pt x="300" y="1089"/>
                  </a:lnTo>
                  <a:lnTo>
                    <a:pt x="300" y="1090"/>
                  </a:lnTo>
                  <a:lnTo>
                    <a:pt x="300" y="1092"/>
                  </a:lnTo>
                  <a:lnTo>
                    <a:pt x="302" y="1093"/>
                  </a:lnTo>
                  <a:lnTo>
                    <a:pt x="300" y="1095"/>
                  </a:lnTo>
                  <a:lnTo>
                    <a:pt x="299" y="1095"/>
                  </a:lnTo>
                  <a:lnTo>
                    <a:pt x="299" y="1096"/>
                  </a:lnTo>
                  <a:lnTo>
                    <a:pt x="299" y="1096"/>
                  </a:lnTo>
                  <a:lnTo>
                    <a:pt x="300" y="1099"/>
                  </a:lnTo>
                  <a:lnTo>
                    <a:pt x="306" y="1107"/>
                  </a:lnTo>
                  <a:lnTo>
                    <a:pt x="308" y="1107"/>
                  </a:lnTo>
                  <a:lnTo>
                    <a:pt x="309" y="1106"/>
                  </a:lnTo>
                  <a:lnTo>
                    <a:pt x="311" y="1106"/>
                  </a:lnTo>
                  <a:lnTo>
                    <a:pt x="309" y="1107"/>
                  </a:lnTo>
                  <a:lnTo>
                    <a:pt x="306" y="1109"/>
                  </a:lnTo>
                  <a:lnTo>
                    <a:pt x="306" y="1109"/>
                  </a:lnTo>
                  <a:lnTo>
                    <a:pt x="306" y="1109"/>
                  </a:lnTo>
                  <a:lnTo>
                    <a:pt x="305" y="1110"/>
                  </a:lnTo>
                  <a:lnTo>
                    <a:pt x="305" y="1112"/>
                  </a:lnTo>
                  <a:lnTo>
                    <a:pt x="305" y="1112"/>
                  </a:lnTo>
                  <a:lnTo>
                    <a:pt x="303" y="1113"/>
                  </a:lnTo>
                  <a:lnTo>
                    <a:pt x="302" y="1115"/>
                  </a:lnTo>
                  <a:lnTo>
                    <a:pt x="300" y="1118"/>
                  </a:lnTo>
                  <a:lnTo>
                    <a:pt x="300" y="1121"/>
                  </a:lnTo>
                  <a:lnTo>
                    <a:pt x="302" y="1122"/>
                  </a:lnTo>
                  <a:lnTo>
                    <a:pt x="305" y="1127"/>
                  </a:lnTo>
                  <a:lnTo>
                    <a:pt x="306" y="1129"/>
                  </a:lnTo>
                  <a:lnTo>
                    <a:pt x="308" y="1129"/>
                  </a:lnTo>
                  <a:lnTo>
                    <a:pt x="311" y="1127"/>
                  </a:lnTo>
                  <a:lnTo>
                    <a:pt x="314" y="1127"/>
                  </a:lnTo>
                  <a:lnTo>
                    <a:pt x="314" y="1129"/>
                  </a:lnTo>
                  <a:lnTo>
                    <a:pt x="309" y="1130"/>
                  </a:lnTo>
                  <a:lnTo>
                    <a:pt x="308" y="1132"/>
                  </a:lnTo>
                  <a:lnTo>
                    <a:pt x="308" y="1132"/>
                  </a:lnTo>
                  <a:lnTo>
                    <a:pt x="306" y="1130"/>
                  </a:lnTo>
                  <a:lnTo>
                    <a:pt x="306" y="1130"/>
                  </a:lnTo>
                  <a:lnTo>
                    <a:pt x="305" y="1132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6" y="1135"/>
                  </a:lnTo>
                  <a:lnTo>
                    <a:pt x="305" y="1138"/>
                  </a:lnTo>
                  <a:lnTo>
                    <a:pt x="303" y="1139"/>
                  </a:lnTo>
                  <a:lnTo>
                    <a:pt x="303" y="1142"/>
                  </a:lnTo>
                  <a:lnTo>
                    <a:pt x="303" y="1147"/>
                  </a:lnTo>
                  <a:lnTo>
                    <a:pt x="302" y="1150"/>
                  </a:lnTo>
                  <a:lnTo>
                    <a:pt x="300" y="1155"/>
                  </a:lnTo>
                  <a:lnTo>
                    <a:pt x="296" y="1161"/>
                  </a:lnTo>
                  <a:lnTo>
                    <a:pt x="286" y="1169"/>
                  </a:lnTo>
                  <a:lnTo>
                    <a:pt x="285" y="1169"/>
                  </a:lnTo>
                  <a:lnTo>
                    <a:pt x="283" y="1169"/>
                  </a:lnTo>
                  <a:lnTo>
                    <a:pt x="282" y="1169"/>
                  </a:lnTo>
                  <a:lnTo>
                    <a:pt x="282" y="1170"/>
                  </a:lnTo>
                  <a:lnTo>
                    <a:pt x="279" y="1173"/>
                  </a:lnTo>
                  <a:lnTo>
                    <a:pt x="277" y="1173"/>
                  </a:lnTo>
                  <a:lnTo>
                    <a:pt x="276" y="1175"/>
                  </a:lnTo>
                  <a:lnTo>
                    <a:pt x="274" y="1176"/>
                  </a:lnTo>
                  <a:lnTo>
                    <a:pt x="274" y="1176"/>
                  </a:lnTo>
                  <a:lnTo>
                    <a:pt x="272" y="1178"/>
                  </a:lnTo>
                  <a:lnTo>
                    <a:pt x="272" y="1178"/>
                  </a:lnTo>
                  <a:lnTo>
                    <a:pt x="271" y="1178"/>
                  </a:lnTo>
                  <a:lnTo>
                    <a:pt x="262" y="1178"/>
                  </a:lnTo>
                  <a:lnTo>
                    <a:pt x="260" y="1179"/>
                  </a:lnTo>
                  <a:lnTo>
                    <a:pt x="260" y="1182"/>
                  </a:lnTo>
                  <a:lnTo>
                    <a:pt x="257" y="1181"/>
                  </a:lnTo>
                  <a:lnTo>
                    <a:pt x="256" y="1181"/>
                  </a:lnTo>
                  <a:lnTo>
                    <a:pt x="256" y="1182"/>
                  </a:lnTo>
                  <a:lnTo>
                    <a:pt x="252" y="1186"/>
                  </a:lnTo>
                  <a:lnTo>
                    <a:pt x="252" y="1187"/>
                  </a:lnTo>
                  <a:lnTo>
                    <a:pt x="251" y="1187"/>
                  </a:lnTo>
                  <a:lnTo>
                    <a:pt x="248" y="1189"/>
                  </a:lnTo>
                  <a:lnTo>
                    <a:pt x="248" y="1189"/>
                  </a:lnTo>
                  <a:lnTo>
                    <a:pt x="248" y="1190"/>
                  </a:lnTo>
                  <a:lnTo>
                    <a:pt x="248" y="1192"/>
                  </a:lnTo>
                  <a:lnTo>
                    <a:pt x="248" y="1192"/>
                  </a:lnTo>
                  <a:lnTo>
                    <a:pt x="248" y="1193"/>
                  </a:lnTo>
                  <a:lnTo>
                    <a:pt x="246" y="1192"/>
                  </a:lnTo>
                  <a:lnTo>
                    <a:pt x="243" y="1192"/>
                  </a:lnTo>
                  <a:lnTo>
                    <a:pt x="242" y="1192"/>
                  </a:lnTo>
                  <a:lnTo>
                    <a:pt x="242" y="1193"/>
                  </a:lnTo>
                  <a:lnTo>
                    <a:pt x="240" y="1193"/>
                  </a:lnTo>
                  <a:lnTo>
                    <a:pt x="239" y="1193"/>
                  </a:lnTo>
                  <a:lnTo>
                    <a:pt x="234" y="1192"/>
                  </a:lnTo>
                  <a:lnTo>
                    <a:pt x="234" y="1192"/>
                  </a:lnTo>
                  <a:lnTo>
                    <a:pt x="231" y="1192"/>
                  </a:lnTo>
                  <a:lnTo>
                    <a:pt x="231" y="1192"/>
                  </a:lnTo>
                  <a:lnTo>
                    <a:pt x="229" y="1192"/>
                  </a:lnTo>
                  <a:lnTo>
                    <a:pt x="229" y="1193"/>
                  </a:lnTo>
                  <a:lnTo>
                    <a:pt x="231" y="1193"/>
                  </a:lnTo>
                  <a:lnTo>
                    <a:pt x="231" y="1195"/>
                  </a:lnTo>
                  <a:lnTo>
                    <a:pt x="229" y="1195"/>
                  </a:lnTo>
                  <a:lnTo>
                    <a:pt x="229" y="1198"/>
                  </a:lnTo>
                  <a:lnTo>
                    <a:pt x="226" y="1199"/>
                  </a:lnTo>
                  <a:lnTo>
                    <a:pt x="223" y="1201"/>
                  </a:lnTo>
                  <a:lnTo>
                    <a:pt x="222" y="1201"/>
                  </a:lnTo>
                  <a:lnTo>
                    <a:pt x="220" y="1201"/>
                  </a:lnTo>
                  <a:lnTo>
                    <a:pt x="219" y="1204"/>
                  </a:lnTo>
                  <a:lnTo>
                    <a:pt x="217" y="1204"/>
                  </a:lnTo>
                  <a:lnTo>
                    <a:pt x="214" y="1204"/>
                  </a:lnTo>
                  <a:lnTo>
                    <a:pt x="212" y="1206"/>
                  </a:lnTo>
                  <a:lnTo>
                    <a:pt x="214" y="1207"/>
                  </a:lnTo>
                  <a:lnTo>
                    <a:pt x="214" y="1207"/>
                  </a:lnTo>
                  <a:lnTo>
                    <a:pt x="212" y="1209"/>
                  </a:lnTo>
                  <a:lnTo>
                    <a:pt x="212" y="1209"/>
                  </a:lnTo>
                  <a:lnTo>
                    <a:pt x="212" y="1209"/>
                  </a:lnTo>
                  <a:lnTo>
                    <a:pt x="214" y="1209"/>
                  </a:lnTo>
                  <a:lnTo>
                    <a:pt x="214" y="1210"/>
                  </a:lnTo>
                  <a:lnTo>
                    <a:pt x="212" y="1210"/>
                  </a:lnTo>
                  <a:lnTo>
                    <a:pt x="212" y="1210"/>
                  </a:lnTo>
                  <a:lnTo>
                    <a:pt x="214" y="1210"/>
                  </a:lnTo>
                  <a:lnTo>
                    <a:pt x="219" y="1210"/>
                  </a:lnTo>
                  <a:lnTo>
                    <a:pt x="219" y="1209"/>
                  </a:lnTo>
                  <a:lnTo>
                    <a:pt x="220" y="1210"/>
                  </a:lnTo>
                  <a:lnTo>
                    <a:pt x="223" y="1210"/>
                  </a:lnTo>
                  <a:lnTo>
                    <a:pt x="225" y="1212"/>
                  </a:lnTo>
                  <a:lnTo>
                    <a:pt x="225" y="1210"/>
                  </a:lnTo>
                  <a:lnTo>
                    <a:pt x="226" y="1212"/>
                  </a:lnTo>
                  <a:lnTo>
                    <a:pt x="226" y="1213"/>
                  </a:lnTo>
                  <a:lnTo>
                    <a:pt x="226" y="1215"/>
                  </a:lnTo>
                  <a:lnTo>
                    <a:pt x="226" y="1216"/>
                  </a:lnTo>
                  <a:lnTo>
                    <a:pt x="228" y="1219"/>
                  </a:lnTo>
                  <a:lnTo>
                    <a:pt x="228" y="1221"/>
                  </a:lnTo>
                  <a:lnTo>
                    <a:pt x="226" y="1223"/>
                  </a:lnTo>
                  <a:lnTo>
                    <a:pt x="225" y="1223"/>
                  </a:lnTo>
                  <a:lnTo>
                    <a:pt x="222" y="1224"/>
                  </a:lnTo>
                  <a:lnTo>
                    <a:pt x="222" y="1224"/>
                  </a:lnTo>
                  <a:lnTo>
                    <a:pt x="220" y="1226"/>
                  </a:lnTo>
                  <a:lnTo>
                    <a:pt x="220" y="1226"/>
                  </a:lnTo>
                  <a:lnTo>
                    <a:pt x="219" y="1227"/>
                  </a:lnTo>
                  <a:lnTo>
                    <a:pt x="217" y="1227"/>
                  </a:lnTo>
                  <a:lnTo>
                    <a:pt x="219" y="1227"/>
                  </a:lnTo>
                  <a:lnTo>
                    <a:pt x="222" y="1230"/>
                  </a:lnTo>
                  <a:lnTo>
                    <a:pt x="222" y="1230"/>
                  </a:lnTo>
                  <a:lnTo>
                    <a:pt x="222" y="1232"/>
                  </a:lnTo>
                  <a:lnTo>
                    <a:pt x="223" y="1232"/>
                  </a:lnTo>
                  <a:lnTo>
                    <a:pt x="223" y="1230"/>
                  </a:lnTo>
                  <a:lnTo>
                    <a:pt x="223" y="1229"/>
                  </a:lnTo>
                  <a:lnTo>
                    <a:pt x="225" y="1229"/>
                  </a:lnTo>
                  <a:lnTo>
                    <a:pt x="234" y="1230"/>
                  </a:lnTo>
                  <a:lnTo>
                    <a:pt x="235" y="1230"/>
                  </a:lnTo>
                  <a:lnTo>
                    <a:pt x="242" y="1229"/>
                  </a:lnTo>
                  <a:lnTo>
                    <a:pt x="243" y="1227"/>
                  </a:lnTo>
                  <a:lnTo>
                    <a:pt x="243" y="1226"/>
                  </a:lnTo>
                  <a:lnTo>
                    <a:pt x="242" y="1226"/>
                  </a:lnTo>
                  <a:lnTo>
                    <a:pt x="243" y="1223"/>
                  </a:lnTo>
                  <a:lnTo>
                    <a:pt x="243" y="1223"/>
                  </a:lnTo>
                  <a:lnTo>
                    <a:pt x="242" y="1221"/>
                  </a:lnTo>
                  <a:lnTo>
                    <a:pt x="240" y="1221"/>
                  </a:lnTo>
                  <a:lnTo>
                    <a:pt x="242" y="1221"/>
                  </a:lnTo>
                  <a:lnTo>
                    <a:pt x="245" y="1221"/>
                  </a:lnTo>
                  <a:lnTo>
                    <a:pt x="248" y="1219"/>
                  </a:lnTo>
                  <a:lnTo>
                    <a:pt x="248" y="1219"/>
                  </a:lnTo>
                  <a:lnTo>
                    <a:pt x="248" y="1219"/>
                  </a:lnTo>
                  <a:lnTo>
                    <a:pt x="246" y="1221"/>
                  </a:lnTo>
                  <a:lnTo>
                    <a:pt x="245" y="1223"/>
                  </a:lnTo>
                  <a:lnTo>
                    <a:pt x="245" y="1226"/>
                  </a:lnTo>
                  <a:lnTo>
                    <a:pt x="246" y="1229"/>
                  </a:lnTo>
                  <a:lnTo>
                    <a:pt x="246" y="1229"/>
                  </a:lnTo>
                  <a:lnTo>
                    <a:pt x="246" y="1229"/>
                  </a:lnTo>
                  <a:lnTo>
                    <a:pt x="245" y="1229"/>
                  </a:lnTo>
                  <a:lnTo>
                    <a:pt x="243" y="1230"/>
                  </a:lnTo>
                  <a:lnTo>
                    <a:pt x="240" y="1230"/>
                  </a:lnTo>
                  <a:lnTo>
                    <a:pt x="237" y="1232"/>
                  </a:lnTo>
                  <a:lnTo>
                    <a:pt x="235" y="1232"/>
                  </a:lnTo>
                  <a:lnTo>
                    <a:pt x="235" y="1232"/>
                  </a:lnTo>
                  <a:lnTo>
                    <a:pt x="234" y="1232"/>
                  </a:lnTo>
                  <a:lnTo>
                    <a:pt x="232" y="1232"/>
                  </a:lnTo>
                  <a:lnTo>
                    <a:pt x="232" y="1232"/>
                  </a:lnTo>
                  <a:lnTo>
                    <a:pt x="232" y="1233"/>
                  </a:lnTo>
                  <a:lnTo>
                    <a:pt x="232" y="1233"/>
                  </a:lnTo>
                  <a:lnTo>
                    <a:pt x="226" y="1232"/>
                  </a:lnTo>
                  <a:lnTo>
                    <a:pt x="226" y="1233"/>
                  </a:lnTo>
                  <a:lnTo>
                    <a:pt x="228" y="1235"/>
                  </a:lnTo>
                  <a:lnTo>
                    <a:pt x="231" y="1236"/>
                  </a:lnTo>
                  <a:lnTo>
                    <a:pt x="232" y="1238"/>
                  </a:lnTo>
                  <a:lnTo>
                    <a:pt x="232" y="1239"/>
                  </a:lnTo>
                  <a:lnTo>
                    <a:pt x="234" y="1241"/>
                  </a:lnTo>
                  <a:lnTo>
                    <a:pt x="239" y="1243"/>
                  </a:lnTo>
                  <a:lnTo>
                    <a:pt x="240" y="1243"/>
                  </a:lnTo>
                  <a:lnTo>
                    <a:pt x="240" y="1243"/>
                  </a:lnTo>
                  <a:lnTo>
                    <a:pt x="240" y="1243"/>
                  </a:lnTo>
                  <a:lnTo>
                    <a:pt x="242" y="1241"/>
                  </a:lnTo>
                  <a:lnTo>
                    <a:pt x="243" y="1241"/>
                  </a:lnTo>
                  <a:lnTo>
                    <a:pt x="243" y="1239"/>
                  </a:lnTo>
                  <a:lnTo>
                    <a:pt x="243" y="1239"/>
                  </a:lnTo>
                  <a:lnTo>
                    <a:pt x="245" y="1238"/>
                  </a:lnTo>
                  <a:lnTo>
                    <a:pt x="246" y="1238"/>
                  </a:lnTo>
                  <a:lnTo>
                    <a:pt x="246" y="1236"/>
                  </a:lnTo>
                  <a:lnTo>
                    <a:pt x="254" y="1236"/>
                  </a:lnTo>
                  <a:lnTo>
                    <a:pt x="254" y="1236"/>
                  </a:lnTo>
                  <a:lnTo>
                    <a:pt x="256" y="1235"/>
                  </a:lnTo>
                  <a:lnTo>
                    <a:pt x="256" y="1236"/>
                  </a:lnTo>
                  <a:lnTo>
                    <a:pt x="257" y="1236"/>
                  </a:lnTo>
                  <a:lnTo>
                    <a:pt x="259" y="1233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29"/>
                  </a:lnTo>
                  <a:lnTo>
                    <a:pt x="262" y="1227"/>
                  </a:lnTo>
                  <a:lnTo>
                    <a:pt x="262" y="1227"/>
                  </a:lnTo>
                  <a:lnTo>
                    <a:pt x="265" y="1226"/>
                  </a:lnTo>
                  <a:lnTo>
                    <a:pt x="268" y="1226"/>
                  </a:lnTo>
                  <a:lnTo>
                    <a:pt x="272" y="1227"/>
                  </a:lnTo>
                  <a:lnTo>
                    <a:pt x="276" y="1226"/>
                  </a:lnTo>
                  <a:lnTo>
                    <a:pt x="279" y="1226"/>
                  </a:lnTo>
                  <a:lnTo>
                    <a:pt x="277" y="1224"/>
                  </a:lnTo>
                  <a:lnTo>
                    <a:pt x="277" y="1223"/>
                  </a:lnTo>
                  <a:lnTo>
                    <a:pt x="277" y="1223"/>
                  </a:lnTo>
                  <a:lnTo>
                    <a:pt x="279" y="1221"/>
                  </a:lnTo>
                  <a:lnTo>
                    <a:pt x="279" y="1223"/>
                  </a:lnTo>
                  <a:lnTo>
                    <a:pt x="279" y="1223"/>
                  </a:lnTo>
                  <a:lnTo>
                    <a:pt x="280" y="1223"/>
                  </a:lnTo>
                  <a:lnTo>
                    <a:pt x="280" y="1223"/>
                  </a:lnTo>
                  <a:lnTo>
                    <a:pt x="282" y="1223"/>
                  </a:lnTo>
                  <a:lnTo>
                    <a:pt x="282" y="1221"/>
                  </a:lnTo>
                  <a:lnTo>
                    <a:pt x="282" y="1221"/>
                  </a:lnTo>
                  <a:lnTo>
                    <a:pt x="283" y="1219"/>
                  </a:lnTo>
                  <a:lnTo>
                    <a:pt x="283" y="1221"/>
                  </a:lnTo>
                  <a:lnTo>
                    <a:pt x="283" y="1223"/>
                  </a:lnTo>
                  <a:lnTo>
                    <a:pt x="283" y="1223"/>
                  </a:lnTo>
                  <a:lnTo>
                    <a:pt x="282" y="1224"/>
                  </a:lnTo>
                  <a:lnTo>
                    <a:pt x="282" y="1224"/>
                  </a:lnTo>
                  <a:lnTo>
                    <a:pt x="283" y="1226"/>
                  </a:lnTo>
                  <a:lnTo>
                    <a:pt x="283" y="1226"/>
                  </a:lnTo>
                  <a:lnTo>
                    <a:pt x="285" y="1227"/>
                  </a:lnTo>
                  <a:lnTo>
                    <a:pt x="286" y="1227"/>
                  </a:lnTo>
                  <a:lnTo>
                    <a:pt x="286" y="1227"/>
                  </a:lnTo>
                  <a:lnTo>
                    <a:pt x="285" y="1227"/>
                  </a:lnTo>
                  <a:lnTo>
                    <a:pt x="282" y="1227"/>
                  </a:lnTo>
                  <a:lnTo>
                    <a:pt x="283" y="1230"/>
                  </a:lnTo>
                  <a:lnTo>
                    <a:pt x="285" y="1232"/>
                  </a:lnTo>
                  <a:lnTo>
                    <a:pt x="286" y="1233"/>
                  </a:lnTo>
                  <a:lnTo>
                    <a:pt x="288" y="1233"/>
                  </a:lnTo>
                  <a:lnTo>
                    <a:pt x="294" y="1233"/>
                  </a:lnTo>
                  <a:lnTo>
                    <a:pt x="296" y="1232"/>
                  </a:lnTo>
                  <a:lnTo>
                    <a:pt x="299" y="1235"/>
                  </a:lnTo>
                  <a:lnTo>
                    <a:pt x="302" y="1235"/>
                  </a:lnTo>
                  <a:lnTo>
                    <a:pt x="303" y="1235"/>
                  </a:lnTo>
                  <a:lnTo>
                    <a:pt x="303" y="1235"/>
                  </a:lnTo>
                  <a:lnTo>
                    <a:pt x="305" y="1233"/>
                  </a:lnTo>
                  <a:lnTo>
                    <a:pt x="305" y="1233"/>
                  </a:lnTo>
                  <a:lnTo>
                    <a:pt x="305" y="1233"/>
                  </a:lnTo>
                  <a:lnTo>
                    <a:pt x="305" y="1235"/>
                  </a:lnTo>
                  <a:lnTo>
                    <a:pt x="305" y="1235"/>
                  </a:lnTo>
                  <a:lnTo>
                    <a:pt x="303" y="1238"/>
                  </a:lnTo>
                  <a:lnTo>
                    <a:pt x="300" y="1238"/>
                  </a:lnTo>
                  <a:lnTo>
                    <a:pt x="296" y="1239"/>
                  </a:lnTo>
                  <a:lnTo>
                    <a:pt x="294" y="1239"/>
                  </a:lnTo>
                  <a:lnTo>
                    <a:pt x="292" y="1239"/>
                  </a:lnTo>
                  <a:lnTo>
                    <a:pt x="292" y="1239"/>
                  </a:lnTo>
                  <a:lnTo>
                    <a:pt x="292" y="1238"/>
                  </a:lnTo>
                  <a:lnTo>
                    <a:pt x="292" y="1238"/>
                  </a:lnTo>
                  <a:lnTo>
                    <a:pt x="292" y="1236"/>
                  </a:lnTo>
                  <a:lnTo>
                    <a:pt x="292" y="1238"/>
                  </a:lnTo>
                  <a:lnTo>
                    <a:pt x="291" y="1239"/>
                  </a:lnTo>
                  <a:lnTo>
                    <a:pt x="291" y="1239"/>
                  </a:lnTo>
                  <a:lnTo>
                    <a:pt x="288" y="1241"/>
                  </a:lnTo>
                  <a:lnTo>
                    <a:pt x="288" y="1243"/>
                  </a:lnTo>
                  <a:lnTo>
                    <a:pt x="289" y="1244"/>
                  </a:lnTo>
                  <a:lnTo>
                    <a:pt x="289" y="1246"/>
                  </a:lnTo>
                  <a:lnTo>
                    <a:pt x="288" y="1246"/>
                  </a:lnTo>
                  <a:lnTo>
                    <a:pt x="288" y="1247"/>
                  </a:lnTo>
                  <a:lnTo>
                    <a:pt x="288" y="1247"/>
                  </a:lnTo>
                  <a:lnTo>
                    <a:pt x="288" y="1247"/>
                  </a:lnTo>
                  <a:lnTo>
                    <a:pt x="289" y="1247"/>
                  </a:lnTo>
                  <a:lnTo>
                    <a:pt x="294" y="1250"/>
                  </a:lnTo>
                  <a:lnTo>
                    <a:pt x="296" y="1250"/>
                  </a:lnTo>
                  <a:lnTo>
                    <a:pt x="296" y="1249"/>
                  </a:lnTo>
                  <a:lnTo>
                    <a:pt x="296" y="1249"/>
                  </a:lnTo>
                  <a:lnTo>
                    <a:pt x="297" y="1249"/>
                  </a:lnTo>
                  <a:lnTo>
                    <a:pt x="297" y="1249"/>
                  </a:lnTo>
                  <a:lnTo>
                    <a:pt x="299" y="1249"/>
                  </a:lnTo>
                  <a:lnTo>
                    <a:pt x="299" y="1247"/>
                  </a:lnTo>
                  <a:lnTo>
                    <a:pt x="300" y="1247"/>
                  </a:lnTo>
                  <a:lnTo>
                    <a:pt x="300" y="1247"/>
                  </a:lnTo>
                  <a:lnTo>
                    <a:pt x="302" y="1247"/>
                  </a:lnTo>
                  <a:lnTo>
                    <a:pt x="303" y="1247"/>
                  </a:lnTo>
                  <a:lnTo>
                    <a:pt x="305" y="1247"/>
                  </a:lnTo>
                  <a:lnTo>
                    <a:pt x="305" y="1247"/>
                  </a:lnTo>
                  <a:lnTo>
                    <a:pt x="305" y="1247"/>
                  </a:lnTo>
                  <a:lnTo>
                    <a:pt x="306" y="1247"/>
                  </a:lnTo>
                  <a:lnTo>
                    <a:pt x="306" y="1246"/>
                  </a:lnTo>
                  <a:lnTo>
                    <a:pt x="306" y="1246"/>
                  </a:lnTo>
                  <a:lnTo>
                    <a:pt x="306" y="1247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08" y="1249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11" y="1247"/>
                  </a:lnTo>
                  <a:lnTo>
                    <a:pt x="311" y="1246"/>
                  </a:lnTo>
                  <a:lnTo>
                    <a:pt x="311" y="1244"/>
                  </a:lnTo>
                  <a:lnTo>
                    <a:pt x="309" y="1244"/>
                  </a:lnTo>
                  <a:lnTo>
                    <a:pt x="309" y="1243"/>
                  </a:lnTo>
                  <a:lnTo>
                    <a:pt x="311" y="1241"/>
                  </a:lnTo>
                  <a:lnTo>
                    <a:pt x="311" y="1241"/>
                  </a:lnTo>
                  <a:lnTo>
                    <a:pt x="313" y="1241"/>
                  </a:lnTo>
                  <a:lnTo>
                    <a:pt x="319" y="1239"/>
                  </a:lnTo>
                  <a:lnTo>
                    <a:pt x="320" y="1239"/>
                  </a:lnTo>
                  <a:lnTo>
                    <a:pt x="322" y="1239"/>
                  </a:lnTo>
                  <a:lnTo>
                    <a:pt x="322" y="1241"/>
                  </a:lnTo>
                  <a:lnTo>
                    <a:pt x="323" y="1243"/>
                  </a:lnTo>
                  <a:lnTo>
                    <a:pt x="325" y="1244"/>
                  </a:lnTo>
                  <a:lnTo>
                    <a:pt x="325" y="1244"/>
                  </a:lnTo>
                  <a:lnTo>
                    <a:pt x="326" y="1246"/>
                  </a:lnTo>
                  <a:lnTo>
                    <a:pt x="326" y="1247"/>
                  </a:lnTo>
                  <a:lnTo>
                    <a:pt x="328" y="1249"/>
                  </a:lnTo>
                  <a:lnTo>
                    <a:pt x="328" y="1250"/>
                  </a:lnTo>
                  <a:lnTo>
                    <a:pt x="328" y="1252"/>
                  </a:lnTo>
                  <a:lnTo>
                    <a:pt x="329" y="1253"/>
                  </a:lnTo>
                  <a:lnTo>
                    <a:pt x="329" y="1253"/>
                  </a:lnTo>
                  <a:lnTo>
                    <a:pt x="328" y="1253"/>
                  </a:lnTo>
                  <a:lnTo>
                    <a:pt x="328" y="1253"/>
                  </a:lnTo>
                  <a:lnTo>
                    <a:pt x="328" y="1255"/>
                  </a:lnTo>
                  <a:lnTo>
                    <a:pt x="329" y="1255"/>
                  </a:lnTo>
                  <a:lnTo>
                    <a:pt x="331" y="1256"/>
                  </a:lnTo>
                  <a:lnTo>
                    <a:pt x="333" y="1258"/>
                  </a:lnTo>
                  <a:lnTo>
                    <a:pt x="334" y="1258"/>
                  </a:lnTo>
                  <a:lnTo>
                    <a:pt x="336" y="1258"/>
                  </a:lnTo>
                  <a:lnTo>
                    <a:pt x="339" y="1261"/>
                  </a:lnTo>
                  <a:lnTo>
                    <a:pt x="342" y="1264"/>
                  </a:lnTo>
                  <a:lnTo>
                    <a:pt x="343" y="1266"/>
                  </a:lnTo>
                  <a:lnTo>
                    <a:pt x="345" y="1267"/>
                  </a:lnTo>
                  <a:lnTo>
                    <a:pt x="363" y="1269"/>
                  </a:lnTo>
                  <a:lnTo>
                    <a:pt x="368" y="1266"/>
                  </a:lnTo>
                  <a:lnTo>
                    <a:pt x="369" y="1266"/>
                  </a:lnTo>
                  <a:lnTo>
                    <a:pt x="371" y="1267"/>
                  </a:lnTo>
                  <a:lnTo>
                    <a:pt x="373" y="1266"/>
                  </a:lnTo>
                  <a:lnTo>
                    <a:pt x="373" y="1263"/>
                  </a:lnTo>
                  <a:lnTo>
                    <a:pt x="371" y="1259"/>
                  </a:lnTo>
                  <a:lnTo>
                    <a:pt x="371" y="1259"/>
                  </a:lnTo>
                  <a:lnTo>
                    <a:pt x="373" y="1259"/>
                  </a:lnTo>
                  <a:lnTo>
                    <a:pt x="373" y="1259"/>
                  </a:lnTo>
                  <a:lnTo>
                    <a:pt x="374" y="1259"/>
                  </a:lnTo>
                  <a:lnTo>
                    <a:pt x="374" y="1258"/>
                  </a:lnTo>
                  <a:lnTo>
                    <a:pt x="374" y="1258"/>
                  </a:lnTo>
                  <a:lnTo>
                    <a:pt x="374" y="1256"/>
                  </a:lnTo>
                  <a:lnTo>
                    <a:pt x="376" y="1255"/>
                  </a:lnTo>
                  <a:lnTo>
                    <a:pt x="377" y="1253"/>
                  </a:lnTo>
                  <a:lnTo>
                    <a:pt x="379" y="1253"/>
                  </a:lnTo>
                  <a:lnTo>
                    <a:pt x="379" y="1253"/>
                  </a:lnTo>
                  <a:lnTo>
                    <a:pt x="383" y="1250"/>
                  </a:lnTo>
                  <a:lnTo>
                    <a:pt x="383" y="1250"/>
                  </a:lnTo>
                  <a:lnTo>
                    <a:pt x="385" y="1247"/>
                  </a:lnTo>
                  <a:lnTo>
                    <a:pt x="386" y="1247"/>
                  </a:lnTo>
                  <a:lnTo>
                    <a:pt x="386" y="1247"/>
                  </a:lnTo>
                  <a:lnTo>
                    <a:pt x="386" y="1249"/>
                  </a:lnTo>
                  <a:lnTo>
                    <a:pt x="388" y="1249"/>
                  </a:lnTo>
                  <a:lnTo>
                    <a:pt x="388" y="1249"/>
                  </a:lnTo>
                  <a:lnTo>
                    <a:pt x="394" y="1249"/>
                  </a:lnTo>
                  <a:lnTo>
                    <a:pt x="397" y="1247"/>
                  </a:lnTo>
                  <a:lnTo>
                    <a:pt x="399" y="1247"/>
                  </a:lnTo>
                  <a:lnTo>
                    <a:pt x="402" y="1246"/>
                  </a:lnTo>
                  <a:lnTo>
                    <a:pt x="405" y="1244"/>
                  </a:lnTo>
                  <a:lnTo>
                    <a:pt x="406" y="1243"/>
                  </a:lnTo>
                  <a:lnTo>
                    <a:pt x="410" y="1241"/>
                  </a:lnTo>
                  <a:lnTo>
                    <a:pt x="410" y="1241"/>
                  </a:lnTo>
                  <a:lnTo>
                    <a:pt x="414" y="1235"/>
                  </a:lnTo>
                  <a:lnTo>
                    <a:pt x="414" y="1233"/>
                  </a:lnTo>
                  <a:lnTo>
                    <a:pt x="416" y="1233"/>
                  </a:lnTo>
                  <a:lnTo>
                    <a:pt x="420" y="1230"/>
                  </a:lnTo>
                  <a:lnTo>
                    <a:pt x="420" y="1229"/>
                  </a:lnTo>
                  <a:lnTo>
                    <a:pt x="422" y="1227"/>
                  </a:lnTo>
                  <a:lnTo>
                    <a:pt x="423" y="1226"/>
                  </a:lnTo>
                  <a:lnTo>
                    <a:pt x="425" y="1226"/>
                  </a:lnTo>
                  <a:lnTo>
                    <a:pt x="425" y="1224"/>
                  </a:lnTo>
                  <a:lnTo>
                    <a:pt x="428" y="1224"/>
                  </a:lnTo>
                  <a:lnTo>
                    <a:pt x="428" y="1223"/>
                  </a:lnTo>
                  <a:lnTo>
                    <a:pt x="430" y="1221"/>
                  </a:lnTo>
                  <a:lnTo>
                    <a:pt x="430" y="1223"/>
                  </a:lnTo>
                  <a:lnTo>
                    <a:pt x="431" y="1223"/>
                  </a:lnTo>
                  <a:lnTo>
                    <a:pt x="430" y="1224"/>
                  </a:lnTo>
                  <a:lnTo>
                    <a:pt x="428" y="1226"/>
                  </a:lnTo>
                  <a:lnTo>
                    <a:pt x="425" y="1227"/>
                  </a:lnTo>
                  <a:lnTo>
                    <a:pt x="423" y="1227"/>
                  </a:lnTo>
                  <a:lnTo>
                    <a:pt x="422" y="1230"/>
                  </a:lnTo>
                  <a:lnTo>
                    <a:pt x="417" y="1235"/>
                  </a:lnTo>
                  <a:lnTo>
                    <a:pt x="417" y="1236"/>
                  </a:lnTo>
                  <a:lnTo>
                    <a:pt x="416" y="1236"/>
                  </a:lnTo>
                  <a:lnTo>
                    <a:pt x="416" y="1238"/>
                  </a:lnTo>
                  <a:lnTo>
                    <a:pt x="416" y="1239"/>
                  </a:lnTo>
                  <a:lnTo>
                    <a:pt x="416" y="1241"/>
                  </a:lnTo>
                  <a:lnTo>
                    <a:pt x="414" y="1241"/>
                  </a:lnTo>
                  <a:lnTo>
                    <a:pt x="414" y="1241"/>
                  </a:lnTo>
                  <a:lnTo>
                    <a:pt x="414" y="1241"/>
                  </a:lnTo>
                  <a:lnTo>
                    <a:pt x="406" y="1253"/>
                  </a:lnTo>
                  <a:lnTo>
                    <a:pt x="405" y="1255"/>
                  </a:lnTo>
                  <a:lnTo>
                    <a:pt x="403" y="1255"/>
                  </a:lnTo>
                  <a:lnTo>
                    <a:pt x="402" y="1255"/>
                  </a:lnTo>
                  <a:lnTo>
                    <a:pt x="400" y="1256"/>
                  </a:lnTo>
                  <a:lnTo>
                    <a:pt x="399" y="1256"/>
                  </a:lnTo>
                  <a:lnTo>
                    <a:pt x="397" y="1258"/>
                  </a:lnTo>
                  <a:lnTo>
                    <a:pt x="393" y="1264"/>
                  </a:lnTo>
                  <a:lnTo>
                    <a:pt x="390" y="1267"/>
                  </a:lnTo>
                  <a:lnTo>
                    <a:pt x="388" y="1267"/>
                  </a:lnTo>
                  <a:lnTo>
                    <a:pt x="386" y="1269"/>
                  </a:lnTo>
                  <a:lnTo>
                    <a:pt x="388" y="1269"/>
                  </a:lnTo>
                  <a:lnTo>
                    <a:pt x="386" y="1270"/>
                  </a:lnTo>
                  <a:lnTo>
                    <a:pt x="386" y="1272"/>
                  </a:lnTo>
                  <a:lnTo>
                    <a:pt x="385" y="1273"/>
                  </a:lnTo>
                  <a:lnTo>
                    <a:pt x="385" y="1275"/>
                  </a:lnTo>
                  <a:lnTo>
                    <a:pt x="385" y="1275"/>
                  </a:lnTo>
                  <a:lnTo>
                    <a:pt x="385" y="1275"/>
                  </a:lnTo>
                  <a:lnTo>
                    <a:pt x="383" y="1276"/>
                  </a:lnTo>
                  <a:lnTo>
                    <a:pt x="383" y="1275"/>
                  </a:lnTo>
                  <a:lnTo>
                    <a:pt x="383" y="1276"/>
                  </a:lnTo>
                  <a:lnTo>
                    <a:pt x="383" y="1280"/>
                  </a:lnTo>
                  <a:lnTo>
                    <a:pt x="383" y="1284"/>
                  </a:lnTo>
                  <a:lnTo>
                    <a:pt x="383" y="1284"/>
                  </a:lnTo>
                  <a:lnTo>
                    <a:pt x="385" y="1286"/>
                  </a:lnTo>
                  <a:lnTo>
                    <a:pt x="385" y="1286"/>
                  </a:lnTo>
                  <a:lnTo>
                    <a:pt x="385" y="1287"/>
                  </a:lnTo>
                  <a:lnTo>
                    <a:pt x="383" y="1289"/>
                  </a:lnTo>
                  <a:lnTo>
                    <a:pt x="383" y="1290"/>
                  </a:lnTo>
                  <a:lnTo>
                    <a:pt x="382" y="1290"/>
                  </a:lnTo>
                  <a:lnTo>
                    <a:pt x="383" y="1289"/>
                  </a:lnTo>
                  <a:lnTo>
                    <a:pt x="382" y="1287"/>
                  </a:lnTo>
                  <a:lnTo>
                    <a:pt x="380" y="1289"/>
                  </a:lnTo>
                  <a:lnTo>
                    <a:pt x="377" y="1290"/>
                  </a:lnTo>
                  <a:lnTo>
                    <a:pt x="373" y="1289"/>
                  </a:lnTo>
                  <a:lnTo>
                    <a:pt x="369" y="1290"/>
                  </a:lnTo>
                  <a:lnTo>
                    <a:pt x="365" y="1292"/>
                  </a:lnTo>
                  <a:lnTo>
                    <a:pt x="356" y="1292"/>
                  </a:lnTo>
                  <a:lnTo>
                    <a:pt x="354" y="1290"/>
                  </a:lnTo>
                  <a:lnTo>
                    <a:pt x="353" y="1289"/>
                  </a:lnTo>
                  <a:lnTo>
                    <a:pt x="343" y="1287"/>
                  </a:lnTo>
                  <a:lnTo>
                    <a:pt x="337" y="1287"/>
                  </a:lnTo>
                  <a:lnTo>
                    <a:pt x="326" y="1284"/>
                  </a:lnTo>
                  <a:lnTo>
                    <a:pt x="326" y="1284"/>
                  </a:lnTo>
                  <a:lnTo>
                    <a:pt x="323" y="1286"/>
                  </a:lnTo>
                  <a:lnTo>
                    <a:pt x="322" y="1286"/>
                  </a:lnTo>
                  <a:lnTo>
                    <a:pt x="316" y="1286"/>
                  </a:lnTo>
                  <a:lnTo>
                    <a:pt x="316" y="1286"/>
                  </a:lnTo>
                  <a:lnTo>
                    <a:pt x="313" y="1287"/>
                  </a:lnTo>
                  <a:lnTo>
                    <a:pt x="299" y="1289"/>
                  </a:lnTo>
                  <a:lnTo>
                    <a:pt x="292" y="1290"/>
                  </a:lnTo>
                  <a:lnTo>
                    <a:pt x="292" y="1292"/>
                  </a:lnTo>
                  <a:lnTo>
                    <a:pt x="294" y="1292"/>
                  </a:lnTo>
                  <a:lnTo>
                    <a:pt x="294" y="1293"/>
                  </a:lnTo>
                  <a:lnTo>
                    <a:pt x="294" y="1295"/>
                  </a:lnTo>
                  <a:lnTo>
                    <a:pt x="294" y="1296"/>
                  </a:lnTo>
                  <a:lnTo>
                    <a:pt x="294" y="1296"/>
                  </a:lnTo>
                  <a:lnTo>
                    <a:pt x="291" y="1296"/>
                  </a:lnTo>
                  <a:lnTo>
                    <a:pt x="291" y="1296"/>
                  </a:lnTo>
                  <a:lnTo>
                    <a:pt x="292" y="1300"/>
                  </a:lnTo>
                  <a:lnTo>
                    <a:pt x="292" y="1300"/>
                  </a:lnTo>
                  <a:lnTo>
                    <a:pt x="292" y="1301"/>
                  </a:lnTo>
                  <a:lnTo>
                    <a:pt x="294" y="1304"/>
                  </a:lnTo>
                  <a:lnTo>
                    <a:pt x="294" y="1304"/>
                  </a:lnTo>
                  <a:lnTo>
                    <a:pt x="294" y="1306"/>
                  </a:lnTo>
                  <a:lnTo>
                    <a:pt x="292" y="1306"/>
                  </a:lnTo>
                  <a:lnTo>
                    <a:pt x="292" y="1307"/>
                  </a:lnTo>
                  <a:lnTo>
                    <a:pt x="292" y="1307"/>
                  </a:lnTo>
                  <a:lnTo>
                    <a:pt x="288" y="1313"/>
                  </a:lnTo>
                  <a:lnTo>
                    <a:pt x="286" y="1313"/>
                  </a:lnTo>
                  <a:lnTo>
                    <a:pt x="285" y="1315"/>
                  </a:lnTo>
                  <a:lnTo>
                    <a:pt x="280" y="1313"/>
                  </a:lnTo>
                  <a:lnTo>
                    <a:pt x="280" y="1313"/>
                  </a:lnTo>
                  <a:lnTo>
                    <a:pt x="279" y="1312"/>
                  </a:lnTo>
                  <a:lnTo>
                    <a:pt x="277" y="1312"/>
                  </a:lnTo>
                  <a:lnTo>
                    <a:pt x="271" y="1312"/>
                  </a:lnTo>
                  <a:lnTo>
                    <a:pt x="271" y="1313"/>
                  </a:lnTo>
                  <a:lnTo>
                    <a:pt x="271" y="1315"/>
                  </a:lnTo>
                  <a:lnTo>
                    <a:pt x="271" y="1316"/>
                  </a:lnTo>
                  <a:lnTo>
                    <a:pt x="271" y="1316"/>
                  </a:lnTo>
                  <a:lnTo>
                    <a:pt x="269" y="1320"/>
                  </a:lnTo>
                  <a:lnTo>
                    <a:pt x="269" y="1321"/>
                  </a:lnTo>
                  <a:lnTo>
                    <a:pt x="268" y="1326"/>
                  </a:lnTo>
                  <a:lnTo>
                    <a:pt x="269" y="1336"/>
                  </a:lnTo>
                  <a:lnTo>
                    <a:pt x="266" y="1340"/>
                  </a:lnTo>
                  <a:lnTo>
                    <a:pt x="263" y="1343"/>
                  </a:lnTo>
                  <a:lnTo>
                    <a:pt x="262" y="1344"/>
                  </a:lnTo>
                  <a:lnTo>
                    <a:pt x="262" y="1346"/>
                  </a:lnTo>
                  <a:lnTo>
                    <a:pt x="260" y="1347"/>
                  </a:lnTo>
                  <a:lnTo>
                    <a:pt x="256" y="1352"/>
                  </a:lnTo>
                  <a:lnTo>
                    <a:pt x="254" y="1352"/>
                  </a:lnTo>
                  <a:lnTo>
                    <a:pt x="254" y="1352"/>
                  </a:lnTo>
                  <a:lnTo>
                    <a:pt x="254" y="1353"/>
                  </a:lnTo>
                  <a:lnTo>
                    <a:pt x="254" y="1355"/>
                  </a:lnTo>
                  <a:lnTo>
                    <a:pt x="252" y="1358"/>
                  </a:lnTo>
                  <a:lnTo>
                    <a:pt x="252" y="1360"/>
                  </a:lnTo>
                  <a:lnTo>
                    <a:pt x="251" y="1361"/>
                  </a:lnTo>
                  <a:lnTo>
                    <a:pt x="249" y="1363"/>
                  </a:lnTo>
                  <a:lnTo>
                    <a:pt x="243" y="1363"/>
                  </a:lnTo>
                  <a:lnTo>
                    <a:pt x="242" y="1363"/>
                  </a:lnTo>
                  <a:lnTo>
                    <a:pt x="242" y="1363"/>
                  </a:lnTo>
                  <a:lnTo>
                    <a:pt x="242" y="1364"/>
                  </a:lnTo>
                  <a:lnTo>
                    <a:pt x="242" y="1364"/>
                  </a:lnTo>
                  <a:lnTo>
                    <a:pt x="242" y="1366"/>
                  </a:lnTo>
                  <a:lnTo>
                    <a:pt x="242" y="1367"/>
                  </a:lnTo>
                  <a:lnTo>
                    <a:pt x="245" y="1369"/>
                  </a:lnTo>
                  <a:lnTo>
                    <a:pt x="246" y="1369"/>
                  </a:lnTo>
                  <a:lnTo>
                    <a:pt x="246" y="1370"/>
                  </a:lnTo>
                  <a:lnTo>
                    <a:pt x="246" y="1370"/>
                  </a:lnTo>
                  <a:lnTo>
                    <a:pt x="243" y="1370"/>
                  </a:lnTo>
                  <a:lnTo>
                    <a:pt x="242" y="1369"/>
                  </a:lnTo>
                  <a:lnTo>
                    <a:pt x="242" y="1369"/>
                  </a:lnTo>
                  <a:lnTo>
                    <a:pt x="240" y="1370"/>
                  </a:lnTo>
                  <a:lnTo>
                    <a:pt x="240" y="1370"/>
                  </a:lnTo>
                  <a:lnTo>
                    <a:pt x="240" y="1369"/>
                  </a:lnTo>
                  <a:lnTo>
                    <a:pt x="240" y="1367"/>
                  </a:lnTo>
                  <a:lnTo>
                    <a:pt x="240" y="1366"/>
                  </a:lnTo>
                  <a:lnTo>
                    <a:pt x="239" y="1366"/>
                  </a:lnTo>
                  <a:lnTo>
                    <a:pt x="239" y="1366"/>
                  </a:lnTo>
                  <a:lnTo>
                    <a:pt x="237" y="1366"/>
                  </a:lnTo>
                  <a:lnTo>
                    <a:pt x="237" y="1367"/>
                  </a:lnTo>
                  <a:lnTo>
                    <a:pt x="235" y="1367"/>
                  </a:lnTo>
                  <a:lnTo>
                    <a:pt x="234" y="1367"/>
                  </a:lnTo>
                  <a:lnTo>
                    <a:pt x="234" y="1370"/>
                  </a:lnTo>
                  <a:lnTo>
                    <a:pt x="234" y="1372"/>
                  </a:lnTo>
                  <a:lnTo>
                    <a:pt x="232" y="1373"/>
                  </a:lnTo>
                  <a:lnTo>
                    <a:pt x="232" y="1378"/>
                  </a:lnTo>
                  <a:lnTo>
                    <a:pt x="232" y="1380"/>
                  </a:lnTo>
                  <a:lnTo>
                    <a:pt x="231" y="1381"/>
                  </a:lnTo>
                  <a:lnTo>
                    <a:pt x="226" y="1384"/>
                  </a:lnTo>
                  <a:lnTo>
                    <a:pt x="226" y="1384"/>
                  </a:lnTo>
                  <a:lnTo>
                    <a:pt x="225" y="1384"/>
                  </a:lnTo>
                  <a:lnTo>
                    <a:pt x="223" y="1384"/>
                  </a:lnTo>
                  <a:lnTo>
                    <a:pt x="225" y="1386"/>
                  </a:lnTo>
                  <a:lnTo>
                    <a:pt x="225" y="1387"/>
                  </a:lnTo>
                  <a:lnTo>
                    <a:pt x="225" y="1389"/>
                  </a:lnTo>
                  <a:lnTo>
                    <a:pt x="225" y="1390"/>
                  </a:lnTo>
                  <a:lnTo>
                    <a:pt x="223" y="1390"/>
                  </a:lnTo>
                  <a:lnTo>
                    <a:pt x="220" y="1392"/>
                  </a:lnTo>
                  <a:lnTo>
                    <a:pt x="212" y="1401"/>
                  </a:lnTo>
                  <a:lnTo>
                    <a:pt x="209" y="1403"/>
                  </a:lnTo>
                  <a:lnTo>
                    <a:pt x="206" y="1403"/>
                  </a:lnTo>
                  <a:lnTo>
                    <a:pt x="206" y="1403"/>
                  </a:lnTo>
                  <a:lnTo>
                    <a:pt x="206" y="1404"/>
                  </a:lnTo>
                  <a:lnTo>
                    <a:pt x="205" y="1406"/>
                  </a:lnTo>
                  <a:lnTo>
                    <a:pt x="205" y="1407"/>
                  </a:lnTo>
                  <a:lnTo>
                    <a:pt x="203" y="1407"/>
                  </a:lnTo>
                  <a:lnTo>
                    <a:pt x="202" y="1407"/>
                  </a:lnTo>
                  <a:lnTo>
                    <a:pt x="199" y="1406"/>
                  </a:lnTo>
                  <a:lnTo>
                    <a:pt x="197" y="1406"/>
                  </a:lnTo>
                  <a:lnTo>
                    <a:pt x="194" y="1407"/>
                  </a:lnTo>
                  <a:lnTo>
                    <a:pt x="192" y="1407"/>
                  </a:lnTo>
                  <a:lnTo>
                    <a:pt x="188" y="1410"/>
                  </a:lnTo>
                  <a:lnTo>
                    <a:pt x="185" y="1412"/>
                  </a:lnTo>
                  <a:lnTo>
                    <a:pt x="185" y="1412"/>
                  </a:lnTo>
                  <a:lnTo>
                    <a:pt x="183" y="1413"/>
                  </a:lnTo>
                  <a:lnTo>
                    <a:pt x="183" y="1415"/>
                  </a:lnTo>
                  <a:lnTo>
                    <a:pt x="183" y="1415"/>
                  </a:lnTo>
                  <a:lnTo>
                    <a:pt x="183" y="1417"/>
                  </a:lnTo>
                  <a:lnTo>
                    <a:pt x="183" y="1418"/>
                  </a:lnTo>
                  <a:lnTo>
                    <a:pt x="183" y="1418"/>
                  </a:lnTo>
                  <a:lnTo>
                    <a:pt x="183" y="1418"/>
                  </a:lnTo>
                  <a:lnTo>
                    <a:pt x="183" y="1420"/>
                  </a:lnTo>
                  <a:lnTo>
                    <a:pt x="183" y="1420"/>
                  </a:lnTo>
                  <a:lnTo>
                    <a:pt x="183" y="1421"/>
                  </a:lnTo>
                  <a:lnTo>
                    <a:pt x="183" y="1421"/>
                  </a:lnTo>
                  <a:lnTo>
                    <a:pt x="182" y="1421"/>
                  </a:lnTo>
                  <a:lnTo>
                    <a:pt x="183" y="1424"/>
                  </a:lnTo>
                  <a:lnTo>
                    <a:pt x="186" y="1426"/>
                  </a:lnTo>
                  <a:lnTo>
                    <a:pt x="189" y="1426"/>
                  </a:lnTo>
                  <a:lnTo>
                    <a:pt x="192" y="1424"/>
                  </a:lnTo>
                  <a:lnTo>
                    <a:pt x="194" y="1424"/>
                  </a:lnTo>
                  <a:lnTo>
                    <a:pt x="195" y="1423"/>
                  </a:lnTo>
                  <a:lnTo>
                    <a:pt x="195" y="1421"/>
                  </a:lnTo>
                  <a:lnTo>
                    <a:pt x="195" y="1420"/>
                  </a:lnTo>
                  <a:lnTo>
                    <a:pt x="195" y="1418"/>
                  </a:lnTo>
                  <a:lnTo>
                    <a:pt x="197" y="1417"/>
                  </a:lnTo>
                  <a:lnTo>
                    <a:pt x="199" y="1415"/>
                  </a:lnTo>
                  <a:lnTo>
                    <a:pt x="200" y="1415"/>
                  </a:lnTo>
                  <a:lnTo>
                    <a:pt x="202" y="1417"/>
                  </a:lnTo>
                  <a:lnTo>
                    <a:pt x="203" y="1418"/>
                  </a:lnTo>
                  <a:lnTo>
                    <a:pt x="206" y="1418"/>
                  </a:lnTo>
                  <a:lnTo>
                    <a:pt x="211" y="1420"/>
                  </a:lnTo>
                  <a:lnTo>
                    <a:pt x="212" y="1421"/>
                  </a:lnTo>
                  <a:lnTo>
                    <a:pt x="214" y="1423"/>
                  </a:lnTo>
                  <a:lnTo>
                    <a:pt x="215" y="1426"/>
                  </a:lnTo>
                  <a:lnTo>
                    <a:pt x="217" y="1427"/>
                  </a:lnTo>
                  <a:lnTo>
                    <a:pt x="217" y="1427"/>
                  </a:lnTo>
                  <a:lnTo>
                    <a:pt x="217" y="1429"/>
                  </a:lnTo>
                  <a:lnTo>
                    <a:pt x="217" y="1430"/>
                  </a:lnTo>
                  <a:lnTo>
                    <a:pt x="217" y="1432"/>
                  </a:lnTo>
                  <a:lnTo>
                    <a:pt x="217" y="1432"/>
                  </a:lnTo>
                  <a:lnTo>
                    <a:pt x="220" y="1435"/>
                  </a:lnTo>
                  <a:lnTo>
                    <a:pt x="220" y="1435"/>
                  </a:lnTo>
                  <a:lnTo>
                    <a:pt x="222" y="1435"/>
                  </a:lnTo>
                  <a:lnTo>
                    <a:pt x="222" y="1435"/>
                  </a:lnTo>
                  <a:lnTo>
                    <a:pt x="222" y="1432"/>
                  </a:lnTo>
                  <a:lnTo>
                    <a:pt x="225" y="1429"/>
                  </a:lnTo>
                  <a:lnTo>
                    <a:pt x="225" y="1429"/>
                  </a:lnTo>
                  <a:lnTo>
                    <a:pt x="226" y="1429"/>
                  </a:lnTo>
                  <a:lnTo>
                    <a:pt x="228" y="1429"/>
                  </a:lnTo>
                  <a:lnTo>
                    <a:pt x="228" y="1429"/>
                  </a:lnTo>
                  <a:lnTo>
                    <a:pt x="231" y="1426"/>
                  </a:lnTo>
                  <a:lnTo>
                    <a:pt x="231" y="1423"/>
                  </a:lnTo>
                  <a:lnTo>
                    <a:pt x="231" y="1423"/>
                  </a:lnTo>
                  <a:lnTo>
                    <a:pt x="231" y="1423"/>
                  </a:lnTo>
                  <a:lnTo>
                    <a:pt x="231" y="1421"/>
                  </a:lnTo>
                  <a:lnTo>
                    <a:pt x="231" y="1420"/>
                  </a:lnTo>
                  <a:lnTo>
                    <a:pt x="229" y="1420"/>
                  </a:lnTo>
                  <a:lnTo>
                    <a:pt x="229" y="1420"/>
                  </a:lnTo>
                  <a:lnTo>
                    <a:pt x="228" y="1420"/>
                  </a:lnTo>
                  <a:lnTo>
                    <a:pt x="228" y="1420"/>
                  </a:lnTo>
                  <a:lnTo>
                    <a:pt x="226" y="1420"/>
                  </a:lnTo>
                  <a:lnTo>
                    <a:pt x="226" y="1420"/>
                  </a:lnTo>
                  <a:lnTo>
                    <a:pt x="228" y="1418"/>
                  </a:lnTo>
                  <a:lnTo>
                    <a:pt x="229" y="1418"/>
                  </a:lnTo>
                  <a:lnTo>
                    <a:pt x="229" y="1417"/>
                  </a:lnTo>
                  <a:lnTo>
                    <a:pt x="229" y="1417"/>
                  </a:lnTo>
                  <a:lnTo>
                    <a:pt x="229" y="1415"/>
                  </a:lnTo>
                  <a:lnTo>
                    <a:pt x="231" y="1415"/>
                  </a:lnTo>
                  <a:lnTo>
                    <a:pt x="231" y="1413"/>
                  </a:lnTo>
                  <a:lnTo>
                    <a:pt x="231" y="1413"/>
                  </a:lnTo>
                  <a:lnTo>
                    <a:pt x="232" y="1413"/>
                  </a:lnTo>
                  <a:lnTo>
                    <a:pt x="231" y="1412"/>
                  </a:lnTo>
                  <a:lnTo>
                    <a:pt x="231" y="1412"/>
                  </a:lnTo>
                  <a:lnTo>
                    <a:pt x="231" y="1412"/>
                  </a:lnTo>
                  <a:lnTo>
                    <a:pt x="231" y="1410"/>
                  </a:lnTo>
                  <a:lnTo>
                    <a:pt x="231" y="1409"/>
                  </a:lnTo>
                  <a:lnTo>
                    <a:pt x="231" y="1407"/>
                  </a:lnTo>
                  <a:lnTo>
                    <a:pt x="232" y="1407"/>
                  </a:lnTo>
                  <a:lnTo>
                    <a:pt x="234" y="1409"/>
                  </a:lnTo>
                  <a:lnTo>
                    <a:pt x="234" y="1412"/>
                  </a:lnTo>
                  <a:lnTo>
                    <a:pt x="235" y="1413"/>
                  </a:lnTo>
                  <a:lnTo>
                    <a:pt x="239" y="1409"/>
                  </a:lnTo>
                  <a:lnTo>
                    <a:pt x="239" y="1407"/>
                  </a:lnTo>
                  <a:lnTo>
                    <a:pt x="243" y="1406"/>
                  </a:lnTo>
                  <a:lnTo>
                    <a:pt x="243" y="1406"/>
                  </a:lnTo>
                  <a:lnTo>
                    <a:pt x="245" y="1404"/>
                  </a:lnTo>
                  <a:lnTo>
                    <a:pt x="246" y="1403"/>
                  </a:lnTo>
                  <a:lnTo>
                    <a:pt x="251" y="1404"/>
                  </a:lnTo>
                  <a:lnTo>
                    <a:pt x="251" y="1403"/>
                  </a:lnTo>
                  <a:lnTo>
                    <a:pt x="251" y="1403"/>
                  </a:lnTo>
                  <a:lnTo>
                    <a:pt x="252" y="1400"/>
                  </a:lnTo>
                  <a:lnTo>
                    <a:pt x="252" y="1400"/>
                  </a:lnTo>
                  <a:lnTo>
                    <a:pt x="251" y="1400"/>
                  </a:lnTo>
                  <a:lnTo>
                    <a:pt x="251" y="1398"/>
                  </a:lnTo>
                  <a:lnTo>
                    <a:pt x="252" y="1398"/>
                  </a:lnTo>
                  <a:lnTo>
                    <a:pt x="252" y="1397"/>
                  </a:lnTo>
                  <a:lnTo>
                    <a:pt x="252" y="1397"/>
                  </a:lnTo>
                  <a:lnTo>
                    <a:pt x="254" y="1395"/>
                  </a:lnTo>
                  <a:lnTo>
                    <a:pt x="254" y="1395"/>
                  </a:lnTo>
                  <a:lnTo>
                    <a:pt x="252" y="1393"/>
                  </a:lnTo>
                  <a:lnTo>
                    <a:pt x="254" y="1392"/>
                  </a:lnTo>
                  <a:lnTo>
                    <a:pt x="256" y="1392"/>
                  </a:lnTo>
                  <a:lnTo>
                    <a:pt x="257" y="1392"/>
                  </a:lnTo>
                  <a:lnTo>
                    <a:pt x="257" y="1392"/>
                  </a:lnTo>
                  <a:lnTo>
                    <a:pt x="257" y="1390"/>
                  </a:lnTo>
                  <a:lnTo>
                    <a:pt x="259" y="1390"/>
                  </a:lnTo>
                  <a:lnTo>
                    <a:pt x="259" y="1390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72" y="1392"/>
                  </a:lnTo>
                  <a:lnTo>
                    <a:pt x="276" y="1392"/>
                  </a:lnTo>
                  <a:lnTo>
                    <a:pt x="282" y="1387"/>
                  </a:lnTo>
                  <a:lnTo>
                    <a:pt x="285" y="1387"/>
                  </a:lnTo>
                  <a:lnTo>
                    <a:pt x="291" y="1389"/>
                  </a:lnTo>
                  <a:lnTo>
                    <a:pt x="292" y="1390"/>
                  </a:lnTo>
                  <a:lnTo>
                    <a:pt x="292" y="1392"/>
                  </a:lnTo>
                  <a:lnTo>
                    <a:pt x="294" y="1393"/>
                  </a:lnTo>
                  <a:lnTo>
                    <a:pt x="296" y="1393"/>
                  </a:lnTo>
                  <a:lnTo>
                    <a:pt x="296" y="1392"/>
                  </a:lnTo>
                  <a:lnTo>
                    <a:pt x="296" y="1392"/>
                  </a:lnTo>
                  <a:lnTo>
                    <a:pt x="296" y="1390"/>
                  </a:lnTo>
                  <a:lnTo>
                    <a:pt x="296" y="1390"/>
                  </a:lnTo>
                  <a:lnTo>
                    <a:pt x="297" y="1390"/>
                  </a:lnTo>
                  <a:lnTo>
                    <a:pt x="297" y="1389"/>
                  </a:lnTo>
                  <a:lnTo>
                    <a:pt x="294" y="1389"/>
                  </a:lnTo>
                  <a:lnTo>
                    <a:pt x="296" y="1389"/>
                  </a:lnTo>
                  <a:lnTo>
                    <a:pt x="294" y="1389"/>
                  </a:lnTo>
                  <a:lnTo>
                    <a:pt x="292" y="1389"/>
                  </a:lnTo>
                  <a:lnTo>
                    <a:pt x="292" y="1387"/>
                  </a:lnTo>
                  <a:lnTo>
                    <a:pt x="296" y="1387"/>
                  </a:lnTo>
                  <a:lnTo>
                    <a:pt x="294" y="1386"/>
                  </a:lnTo>
                  <a:lnTo>
                    <a:pt x="289" y="1386"/>
                  </a:lnTo>
                  <a:lnTo>
                    <a:pt x="288" y="1384"/>
                  </a:lnTo>
                  <a:lnTo>
                    <a:pt x="292" y="1384"/>
                  </a:lnTo>
                  <a:lnTo>
                    <a:pt x="292" y="1384"/>
                  </a:lnTo>
                  <a:lnTo>
                    <a:pt x="294" y="1384"/>
                  </a:lnTo>
                  <a:lnTo>
                    <a:pt x="294" y="1383"/>
                  </a:lnTo>
                  <a:lnTo>
                    <a:pt x="294" y="1381"/>
                  </a:lnTo>
                  <a:lnTo>
                    <a:pt x="292" y="1380"/>
                  </a:lnTo>
                  <a:lnTo>
                    <a:pt x="292" y="1380"/>
                  </a:lnTo>
                  <a:lnTo>
                    <a:pt x="294" y="1380"/>
                  </a:lnTo>
                  <a:lnTo>
                    <a:pt x="294" y="1380"/>
                  </a:lnTo>
                  <a:lnTo>
                    <a:pt x="294" y="1378"/>
                  </a:lnTo>
                  <a:lnTo>
                    <a:pt x="294" y="1378"/>
                  </a:lnTo>
                  <a:lnTo>
                    <a:pt x="296" y="1377"/>
                  </a:lnTo>
                  <a:lnTo>
                    <a:pt x="296" y="1378"/>
                  </a:lnTo>
                  <a:lnTo>
                    <a:pt x="297" y="1378"/>
                  </a:lnTo>
                  <a:lnTo>
                    <a:pt x="299" y="1377"/>
                  </a:lnTo>
                  <a:lnTo>
                    <a:pt x="297" y="1378"/>
                  </a:lnTo>
                  <a:lnTo>
                    <a:pt x="296" y="1381"/>
                  </a:lnTo>
                  <a:lnTo>
                    <a:pt x="296" y="1383"/>
                  </a:lnTo>
                  <a:lnTo>
                    <a:pt x="296" y="1384"/>
                  </a:lnTo>
                  <a:lnTo>
                    <a:pt x="297" y="1386"/>
                  </a:lnTo>
                  <a:lnTo>
                    <a:pt x="297" y="1386"/>
                  </a:lnTo>
                  <a:lnTo>
                    <a:pt x="297" y="1387"/>
                  </a:lnTo>
                  <a:lnTo>
                    <a:pt x="299" y="1387"/>
                  </a:lnTo>
                  <a:lnTo>
                    <a:pt x="299" y="1387"/>
                  </a:lnTo>
                  <a:lnTo>
                    <a:pt x="302" y="1387"/>
                  </a:lnTo>
                  <a:lnTo>
                    <a:pt x="302" y="1390"/>
                  </a:lnTo>
                  <a:lnTo>
                    <a:pt x="302" y="1392"/>
                  </a:lnTo>
                  <a:lnTo>
                    <a:pt x="303" y="1392"/>
                  </a:lnTo>
                  <a:lnTo>
                    <a:pt x="305" y="1393"/>
                  </a:lnTo>
                  <a:lnTo>
                    <a:pt x="305" y="1393"/>
                  </a:lnTo>
                  <a:lnTo>
                    <a:pt x="305" y="1395"/>
                  </a:lnTo>
                  <a:lnTo>
                    <a:pt x="306" y="1395"/>
                  </a:lnTo>
                  <a:lnTo>
                    <a:pt x="306" y="1397"/>
                  </a:lnTo>
                  <a:lnTo>
                    <a:pt x="308" y="1397"/>
                  </a:lnTo>
                  <a:lnTo>
                    <a:pt x="308" y="1397"/>
                  </a:lnTo>
                  <a:lnTo>
                    <a:pt x="309" y="1395"/>
                  </a:lnTo>
                  <a:lnTo>
                    <a:pt x="309" y="1395"/>
                  </a:lnTo>
                  <a:lnTo>
                    <a:pt x="309" y="1395"/>
                  </a:lnTo>
                  <a:lnTo>
                    <a:pt x="313" y="1393"/>
                  </a:lnTo>
                  <a:lnTo>
                    <a:pt x="313" y="1393"/>
                  </a:lnTo>
                  <a:lnTo>
                    <a:pt x="314" y="1393"/>
                  </a:lnTo>
                  <a:lnTo>
                    <a:pt x="319" y="1398"/>
                  </a:lnTo>
                  <a:lnTo>
                    <a:pt x="323" y="1403"/>
                  </a:lnTo>
                  <a:lnTo>
                    <a:pt x="325" y="1406"/>
                  </a:lnTo>
                  <a:lnTo>
                    <a:pt x="326" y="1404"/>
                  </a:lnTo>
                  <a:lnTo>
                    <a:pt x="328" y="1404"/>
                  </a:lnTo>
                  <a:lnTo>
                    <a:pt x="329" y="1406"/>
                  </a:lnTo>
                  <a:lnTo>
                    <a:pt x="331" y="1406"/>
                  </a:lnTo>
                  <a:lnTo>
                    <a:pt x="333" y="1406"/>
                  </a:lnTo>
                  <a:lnTo>
                    <a:pt x="336" y="1404"/>
                  </a:lnTo>
                  <a:lnTo>
                    <a:pt x="336" y="1404"/>
                  </a:lnTo>
                  <a:lnTo>
                    <a:pt x="336" y="1401"/>
                  </a:lnTo>
                  <a:lnTo>
                    <a:pt x="336" y="1398"/>
                  </a:lnTo>
                  <a:lnTo>
                    <a:pt x="337" y="1397"/>
                  </a:lnTo>
                  <a:lnTo>
                    <a:pt x="337" y="1395"/>
                  </a:lnTo>
                  <a:lnTo>
                    <a:pt x="339" y="1393"/>
                  </a:lnTo>
                  <a:lnTo>
                    <a:pt x="340" y="1393"/>
                  </a:lnTo>
                  <a:lnTo>
                    <a:pt x="342" y="1392"/>
                  </a:lnTo>
                  <a:lnTo>
                    <a:pt x="342" y="1389"/>
                  </a:lnTo>
                  <a:lnTo>
                    <a:pt x="343" y="1390"/>
                  </a:lnTo>
                  <a:lnTo>
                    <a:pt x="345" y="1390"/>
                  </a:lnTo>
                  <a:lnTo>
                    <a:pt x="345" y="1390"/>
                  </a:lnTo>
                  <a:lnTo>
                    <a:pt x="345" y="1387"/>
                  </a:lnTo>
                  <a:lnTo>
                    <a:pt x="346" y="1386"/>
                  </a:lnTo>
                  <a:lnTo>
                    <a:pt x="346" y="1386"/>
                  </a:lnTo>
                  <a:lnTo>
                    <a:pt x="348" y="1386"/>
                  </a:lnTo>
                  <a:lnTo>
                    <a:pt x="348" y="1386"/>
                  </a:lnTo>
                  <a:lnTo>
                    <a:pt x="348" y="1384"/>
                  </a:lnTo>
                  <a:lnTo>
                    <a:pt x="348" y="1383"/>
                  </a:lnTo>
                  <a:lnTo>
                    <a:pt x="345" y="1383"/>
                  </a:lnTo>
                  <a:lnTo>
                    <a:pt x="343" y="1383"/>
                  </a:lnTo>
                  <a:lnTo>
                    <a:pt x="343" y="1380"/>
                  </a:lnTo>
                  <a:lnTo>
                    <a:pt x="343" y="1378"/>
                  </a:lnTo>
                  <a:lnTo>
                    <a:pt x="345" y="1378"/>
                  </a:lnTo>
                  <a:lnTo>
                    <a:pt x="346" y="1377"/>
                  </a:lnTo>
                  <a:lnTo>
                    <a:pt x="348" y="1377"/>
                  </a:lnTo>
                  <a:lnTo>
                    <a:pt x="346" y="1372"/>
                  </a:lnTo>
                  <a:lnTo>
                    <a:pt x="346" y="1370"/>
                  </a:lnTo>
                  <a:lnTo>
                    <a:pt x="348" y="1367"/>
                  </a:lnTo>
                  <a:lnTo>
                    <a:pt x="348" y="1364"/>
                  </a:lnTo>
                  <a:lnTo>
                    <a:pt x="349" y="1363"/>
                  </a:lnTo>
                  <a:lnTo>
                    <a:pt x="351" y="1361"/>
                  </a:lnTo>
                  <a:lnTo>
                    <a:pt x="353" y="1360"/>
                  </a:lnTo>
                  <a:lnTo>
                    <a:pt x="351" y="1358"/>
                  </a:lnTo>
                  <a:lnTo>
                    <a:pt x="351" y="1353"/>
                  </a:lnTo>
                  <a:lnTo>
                    <a:pt x="349" y="1353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51" y="1352"/>
                  </a:lnTo>
                  <a:lnTo>
                    <a:pt x="351" y="1352"/>
                  </a:lnTo>
                  <a:lnTo>
                    <a:pt x="351" y="1352"/>
                  </a:lnTo>
                  <a:lnTo>
                    <a:pt x="351" y="1353"/>
                  </a:lnTo>
                  <a:lnTo>
                    <a:pt x="353" y="1355"/>
                  </a:lnTo>
                  <a:lnTo>
                    <a:pt x="353" y="1358"/>
                  </a:lnTo>
                  <a:lnTo>
                    <a:pt x="354" y="1358"/>
                  </a:lnTo>
                  <a:lnTo>
                    <a:pt x="356" y="1358"/>
                  </a:lnTo>
                  <a:lnTo>
                    <a:pt x="357" y="1358"/>
                  </a:lnTo>
                  <a:lnTo>
                    <a:pt x="362" y="1357"/>
                  </a:lnTo>
                  <a:lnTo>
                    <a:pt x="363" y="1355"/>
                  </a:lnTo>
                  <a:lnTo>
                    <a:pt x="363" y="1353"/>
                  </a:lnTo>
                  <a:lnTo>
                    <a:pt x="365" y="1352"/>
                  </a:lnTo>
                  <a:lnTo>
                    <a:pt x="368" y="1352"/>
                  </a:lnTo>
                  <a:lnTo>
                    <a:pt x="371" y="1350"/>
                  </a:lnTo>
                  <a:lnTo>
                    <a:pt x="373" y="1350"/>
                  </a:lnTo>
                  <a:lnTo>
                    <a:pt x="373" y="1350"/>
                  </a:lnTo>
                  <a:lnTo>
                    <a:pt x="374" y="1350"/>
                  </a:lnTo>
                  <a:lnTo>
                    <a:pt x="376" y="1350"/>
                  </a:lnTo>
                  <a:lnTo>
                    <a:pt x="376" y="1350"/>
                  </a:lnTo>
                  <a:lnTo>
                    <a:pt x="377" y="1349"/>
                  </a:lnTo>
                  <a:lnTo>
                    <a:pt x="377" y="1349"/>
                  </a:lnTo>
                  <a:lnTo>
                    <a:pt x="379" y="1347"/>
                  </a:lnTo>
                  <a:lnTo>
                    <a:pt x="380" y="1347"/>
                  </a:lnTo>
                  <a:lnTo>
                    <a:pt x="383" y="1349"/>
                  </a:lnTo>
                  <a:lnTo>
                    <a:pt x="385" y="1349"/>
                  </a:lnTo>
                  <a:lnTo>
                    <a:pt x="386" y="1346"/>
                  </a:lnTo>
                  <a:lnTo>
                    <a:pt x="388" y="1346"/>
                  </a:lnTo>
                  <a:lnTo>
                    <a:pt x="393" y="1346"/>
                  </a:lnTo>
                  <a:lnTo>
                    <a:pt x="394" y="1346"/>
                  </a:lnTo>
                  <a:lnTo>
                    <a:pt x="406" y="1350"/>
                  </a:lnTo>
                  <a:lnTo>
                    <a:pt x="423" y="1361"/>
                  </a:lnTo>
                  <a:lnTo>
                    <a:pt x="425" y="1364"/>
                  </a:lnTo>
                  <a:lnTo>
                    <a:pt x="425" y="1369"/>
                  </a:lnTo>
                  <a:lnTo>
                    <a:pt x="425" y="1369"/>
                  </a:lnTo>
                  <a:lnTo>
                    <a:pt x="426" y="1367"/>
                  </a:lnTo>
                  <a:lnTo>
                    <a:pt x="426" y="1366"/>
                  </a:lnTo>
                  <a:lnTo>
                    <a:pt x="426" y="1364"/>
                  </a:lnTo>
                  <a:lnTo>
                    <a:pt x="425" y="1364"/>
                  </a:lnTo>
                  <a:lnTo>
                    <a:pt x="423" y="1363"/>
                  </a:lnTo>
                  <a:lnTo>
                    <a:pt x="425" y="1360"/>
                  </a:lnTo>
                  <a:lnTo>
                    <a:pt x="425" y="1358"/>
                  </a:lnTo>
                  <a:lnTo>
                    <a:pt x="426" y="1357"/>
                  </a:lnTo>
                  <a:lnTo>
                    <a:pt x="430" y="1355"/>
                  </a:lnTo>
                  <a:lnTo>
                    <a:pt x="431" y="1355"/>
                  </a:lnTo>
                  <a:lnTo>
                    <a:pt x="433" y="1357"/>
                  </a:lnTo>
                  <a:lnTo>
                    <a:pt x="447" y="1358"/>
                  </a:lnTo>
                  <a:lnTo>
                    <a:pt x="453" y="1361"/>
                  </a:lnTo>
                  <a:lnTo>
                    <a:pt x="454" y="1361"/>
                  </a:lnTo>
                  <a:lnTo>
                    <a:pt x="460" y="1361"/>
                  </a:lnTo>
                  <a:lnTo>
                    <a:pt x="462" y="1361"/>
                  </a:lnTo>
                  <a:lnTo>
                    <a:pt x="462" y="1358"/>
                  </a:lnTo>
                  <a:lnTo>
                    <a:pt x="463" y="1355"/>
                  </a:lnTo>
                  <a:lnTo>
                    <a:pt x="463" y="1355"/>
                  </a:lnTo>
                  <a:lnTo>
                    <a:pt x="462" y="1355"/>
                  </a:lnTo>
                  <a:lnTo>
                    <a:pt x="463" y="1353"/>
                  </a:lnTo>
                  <a:lnTo>
                    <a:pt x="462" y="1352"/>
                  </a:lnTo>
                  <a:lnTo>
                    <a:pt x="462" y="1352"/>
                  </a:lnTo>
                  <a:lnTo>
                    <a:pt x="460" y="1352"/>
                  </a:lnTo>
                  <a:lnTo>
                    <a:pt x="459" y="1352"/>
                  </a:lnTo>
                  <a:lnTo>
                    <a:pt x="457" y="1350"/>
                  </a:lnTo>
                  <a:lnTo>
                    <a:pt x="456" y="1347"/>
                  </a:lnTo>
                  <a:lnTo>
                    <a:pt x="456" y="1349"/>
                  </a:lnTo>
                  <a:lnTo>
                    <a:pt x="454" y="1349"/>
                  </a:lnTo>
                  <a:lnTo>
                    <a:pt x="454" y="1349"/>
                  </a:lnTo>
                  <a:lnTo>
                    <a:pt x="453" y="1349"/>
                  </a:lnTo>
                  <a:lnTo>
                    <a:pt x="456" y="1346"/>
                  </a:lnTo>
                  <a:lnTo>
                    <a:pt x="456" y="1344"/>
                  </a:lnTo>
                  <a:lnTo>
                    <a:pt x="456" y="1344"/>
                  </a:lnTo>
                  <a:lnTo>
                    <a:pt x="457" y="1346"/>
                  </a:lnTo>
                  <a:lnTo>
                    <a:pt x="457" y="1346"/>
                  </a:lnTo>
                  <a:lnTo>
                    <a:pt x="457" y="1347"/>
                  </a:lnTo>
                  <a:lnTo>
                    <a:pt x="457" y="1347"/>
                  </a:lnTo>
                  <a:lnTo>
                    <a:pt x="460" y="1347"/>
                  </a:lnTo>
                  <a:lnTo>
                    <a:pt x="462" y="1347"/>
                  </a:lnTo>
                  <a:lnTo>
                    <a:pt x="463" y="1349"/>
                  </a:lnTo>
                  <a:lnTo>
                    <a:pt x="463" y="1349"/>
                  </a:lnTo>
                  <a:lnTo>
                    <a:pt x="463" y="1350"/>
                  </a:lnTo>
                  <a:lnTo>
                    <a:pt x="463" y="1349"/>
                  </a:lnTo>
                  <a:lnTo>
                    <a:pt x="465" y="1349"/>
                  </a:lnTo>
                  <a:lnTo>
                    <a:pt x="467" y="1347"/>
                  </a:lnTo>
                  <a:lnTo>
                    <a:pt x="467" y="1347"/>
                  </a:lnTo>
                  <a:lnTo>
                    <a:pt x="468" y="1346"/>
                  </a:lnTo>
                  <a:lnTo>
                    <a:pt x="470" y="1346"/>
                  </a:lnTo>
                  <a:lnTo>
                    <a:pt x="471" y="1346"/>
                  </a:lnTo>
                  <a:lnTo>
                    <a:pt x="474" y="1346"/>
                  </a:lnTo>
                  <a:lnTo>
                    <a:pt x="476" y="1347"/>
                  </a:lnTo>
                  <a:lnTo>
                    <a:pt x="477" y="1346"/>
                  </a:lnTo>
                  <a:lnTo>
                    <a:pt x="480" y="1344"/>
                  </a:lnTo>
                  <a:lnTo>
                    <a:pt x="482" y="1344"/>
                  </a:lnTo>
                  <a:lnTo>
                    <a:pt x="483" y="1344"/>
                  </a:lnTo>
                  <a:lnTo>
                    <a:pt x="483" y="1344"/>
                  </a:lnTo>
                  <a:lnTo>
                    <a:pt x="488" y="1346"/>
                  </a:lnTo>
                  <a:lnTo>
                    <a:pt x="490" y="1346"/>
                  </a:lnTo>
                  <a:lnTo>
                    <a:pt x="491" y="1347"/>
                  </a:lnTo>
                  <a:lnTo>
                    <a:pt x="491" y="1347"/>
                  </a:lnTo>
                  <a:lnTo>
                    <a:pt x="491" y="1346"/>
                  </a:lnTo>
                  <a:lnTo>
                    <a:pt x="494" y="1341"/>
                  </a:lnTo>
                  <a:lnTo>
                    <a:pt x="496" y="1343"/>
                  </a:lnTo>
                  <a:lnTo>
                    <a:pt x="497" y="1343"/>
                  </a:lnTo>
                  <a:lnTo>
                    <a:pt x="497" y="1341"/>
                  </a:lnTo>
                  <a:lnTo>
                    <a:pt x="499" y="1341"/>
                  </a:lnTo>
                  <a:lnTo>
                    <a:pt x="503" y="1340"/>
                  </a:lnTo>
                  <a:lnTo>
                    <a:pt x="503" y="1340"/>
                  </a:lnTo>
                  <a:lnTo>
                    <a:pt x="502" y="1340"/>
                  </a:lnTo>
                  <a:lnTo>
                    <a:pt x="502" y="1338"/>
                  </a:lnTo>
                  <a:lnTo>
                    <a:pt x="503" y="1338"/>
                  </a:lnTo>
                  <a:lnTo>
                    <a:pt x="508" y="1338"/>
                  </a:lnTo>
                  <a:lnTo>
                    <a:pt x="510" y="1338"/>
                  </a:lnTo>
                  <a:lnTo>
                    <a:pt x="510" y="1336"/>
                  </a:lnTo>
                  <a:lnTo>
                    <a:pt x="510" y="1335"/>
                  </a:lnTo>
                  <a:lnTo>
                    <a:pt x="503" y="1327"/>
                  </a:lnTo>
                  <a:lnTo>
                    <a:pt x="502" y="1326"/>
                  </a:lnTo>
                  <a:lnTo>
                    <a:pt x="500" y="1326"/>
                  </a:lnTo>
                  <a:lnTo>
                    <a:pt x="499" y="1324"/>
                  </a:lnTo>
                  <a:lnTo>
                    <a:pt x="499" y="1324"/>
                  </a:lnTo>
                  <a:lnTo>
                    <a:pt x="499" y="1324"/>
                  </a:lnTo>
                  <a:lnTo>
                    <a:pt x="500" y="1324"/>
                  </a:lnTo>
                  <a:lnTo>
                    <a:pt x="508" y="1329"/>
                  </a:lnTo>
                  <a:lnTo>
                    <a:pt x="510" y="1330"/>
                  </a:lnTo>
                  <a:lnTo>
                    <a:pt x="511" y="1332"/>
                  </a:lnTo>
                  <a:lnTo>
                    <a:pt x="511" y="1333"/>
                  </a:lnTo>
                  <a:lnTo>
                    <a:pt x="514" y="1333"/>
                  </a:lnTo>
                  <a:lnTo>
                    <a:pt x="516" y="1335"/>
                  </a:lnTo>
                  <a:lnTo>
                    <a:pt x="519" y="1336"/>
                  </a:lnTo>
                  <a:lnTo>
                    <a:pt x="519" y="1338"/>
                  </a:lnTo>
                  <a:lnTo>
                    <a:pt x="519" y="1338"/>
                  </a:lnTo>
                  <a:lnTo>
                    <a:pt x="520" y="1340"/>
                  </a:lnTo>
                  <a:lnTo>
                    <a:pt x="522" y="1340"/>
                  </a:lnTo>
                  <a:lnTo>
                    <a:pt x="524" y="1340"/>
                  </a:lnTo>
                  <a:lnTo>
                    <a:pt x="524" y="1338"/>
                  </a:lnTo>
                  <a:lnTo>
                    <a:pt x="524" y="1338"/>
                  </a:lnTo>
                  <a:lnTo>
                    <a:pt x="524" y="1335"/>
                  </a:lnTo>
                  <a:lnTo>
                    <a:pt x="524" y="1335"/>
                  </a:lnTo>
                  <a:lnTo>
                    <a:pt x="520" y="1332"/>
                  </a:lnTo>
                  <a:lnTo>
                    <a:pt x="522" y="1332"/>
                  </a:lnTo>
                  <a:lnTo>
                    <a:pt x="527" y="1332"/>
                  </a:lnTo>
                  <a:lnTo>
                    <a:pt x="527" y="1332"/>
                  </a:lnTo>
                  <a:lnTo>
                    <a:pt x="528" y="1332"/>
                  </a:lnTo>
                  <a:lnTo>
                    <a:pt x="528" y="1333"/>
                  </a:lnTo>
                  <a:lnTo>
                    <a:pt x="527" y="1336"/>
                  </a:lnTo>
                  <a:lnTo>
                    <a:pt x="525" y="1338"/>
                  </a:lnTo>
                  <a:lnTo>
                    <a:pt x="527" y="1340"/>
                  </a:lnTo>
                  <a:lnTo>
                    <a:pt x="530" y="1340"/>
                  </a:lnTo>
                  <a:lnTo>
                    <a:pt x="530" y="1336"/>
                  </a:lnTo>
                  <a:lnTo>
                    <a:pt x="531" y="1335"/>
                  </a:lnTo>
                  <a:lnTo>
                    <a:pt x="531" y="1332"/>
                  </a:lnTo>
                  <a:lnTo>
                    <a:pt x="533" y="1332"/>
                  </a:lnTo>
                  <a:lnTo>
                    <a:pt x="534" y="1332"/>
                  </a:lnTo>
                  <a:lnTo>
                    <a:pt x="536" y="1332"/>
                  </a:lnTo>
                  <a:lnTo>
                    <a:pt x="537" y="1332"/>
                  </a:lnTo>
                  <a:lnTo>
                    <a:pt x="539" y="1332"/>
                  </a:lnTo>
                  <a:lnTo>
                    <a:pt x="539" y="1333"/>
                  </a:lnTo>
                  <a:lnTo>
                    <a:pt x="539" y="1335"/>
                  </a:lnTo>
                  <a:lnTo>
                    <a:pt x="539" y="1335"/>
                  </a:lnTo>
                  <a:lnTo>
                    <a:pt x="540" y="1335"/>
                  </a:lnTo>
                  <a:lnTo>
                    <a:pt x="540" y="1333"/>
                  </a:lnTo>
                  <a:lnTo>
                    <a:pt x="540" y="1335"/>
                  </a:lnTo>
                  <a:lnTo>
                    <a:pt x="542" y="1336"/>
                  </a:lnTo>
                  <a:lnTo>
                    <a:pt x="544" y="1336"/>
                  </a:lnTo>
                  <a:lnTo>
                    <a:pt x="544" y="1336"/>
                  </a:lnTo>
                  <a:lnTo>
                    <a:pt x="540" y="1338"/>
                  </a:lnTo>
                  <a:lnTo>
                    <a:pt x="540" y="1338"/>
                  </a:lnTo>
                  <a:lnTo>
                    <a:pt x="540" y="1340"/>
                  </a:lnTo>
                  <a:lnTo>
                    <a:pt x="540" y="1341"/>
                  </a:lnTo>
                  <a:lnTo>
                    <a:pt x="547" y="1346"/>
                  </a:lnTo>
                  <a:lnTo>
                    <a:pt x="548" y="1346"/>
                  </a:lnTo>
                  <a:lnTo>
                    <a:pt x="550" y="1344"/>
                  </a:lnTo>
                  <a:lnTo>
                    <a:pt x="551" y="1344"/>
                  </a:lnTo>
                  <a:lnTo>
                    <a:pt x="550" y="1341"/>
                  </a:lnTo>
                  <a:lnTo>
                    <a:pt x="551" y="1340"/>
                  </a:lnTo>
                  <a:lnTo>
                    <a:pt x="551" y="1340"/>
                  </a:lnTo>
                  <a:lnTo>
                    <a:pt x="551" y="1341"/>
                  </a:lnTo>
                  <a:lnTo>
                    <a:pt x="553" y="1341"/>
                  </a:lnTo>
                  <a:lnTo>
                    <a:pt x="553" y="1341"/>
                  </a:lnTo>
                  <a:lnTo>
                    <a:pt x="565" y="1336"/>
                  </a:lnTo>
                  <a:lnTo>
                    <a:pt x="577" y="1336"/>
                  </a:lnTo>
                  <a:lnTo>
                    <a:pt x="588" y="1333"/>
                  </a:lnTo>
                  <a:lnTo>
                    <a:pt x="590" y="1335"/>
                  </a:lnTo>
                  <a:lnTo>
                    <a:pt x="593" y="1333"/>
                  </a:lnTo>
                  <a:lnTo>
                    <a:pt x="593" y="1333"/>
                  </a:lnTo>
                  <a:lnTo>
                    <a:pt x="594" y="1333"/>
                  </a:lnTo>
                  <a:lnTo>
                    <a:pt x="608" y="1340"/>
                  </a:lnTo>
                  <a:lnTo>
                    <a:pt x="610" y="1340"/>
                  </a:lnTo>
                  <a:lnTo>
                    <a:pt x="613" y="1340"/>
                  </a:lnTo>
                  <a:lnTo>
                    <a:pt x="614" y="1340"/>
                  </a:lnTo>
                  <a:lnTo>
                    <a:pt x="616" y="1341"/>
                  </a:lnTo>
                  <a:lnTo>
                    <a:pt x="617" y="1343"/>
                  </a:lnTo>
                  <a:lnTo>
                    <a:pt x="619" y="1341"/>
                  </a:lnTo>
                  <a:lnTo>
                    <a:pt x="621" y="1343"/>
                  </a:lnTo>
                  <a:lnTo>
                    <a:pt x="624" y="1343"/>
                  </a:lnTo>
                  <a:lnTo>
                    <a:pt x="625" y="1344"/>
                  </a:lnTo>
                  <a:lnTo>
                    <a:pt x="628" y="1344"/>
                  </a:lnTo>
                  <a:lnTo>
                    <a:pt x="631" y="1340"/>
                  </a:lnTo>
                  <a:lnTo>
                    <a:pt x="633" y="1338"/>
                  </a:lnTo>
                  <a:lnTo>
                    <a:pt x="633" y="1338"/>
                  </a:lnTo>
                  <a:lnTo>
                    <a:pt x="634" y="1336"/>
                  </a:lnTo>
                  <a:lnTo>
                    <a:pt x="634" y="1335"/>
                  </a:lnTo>
                  <a:lnTo>
                    <a:pt x="636" y="1335"/>
                  </a:lnTo>
                  <a:lnTo>
                    <a:pt x="637" y="1333"/>
                  </a:lnTo>
                  <a:lnTo>
                    <a:pt x="654" y="1330"/>
                  </a:lnTo>
                  <a:lnTo>
                    <a:pt x="658" y="1329"/>
                  </a:lnTo>
                  <a:lnTo>
                    <a:pt x="664" y="1323"/>
                  </a:lnTo>
                  <a:lnTo>
                    <a:pt x="667" y="1321"/>
                  </a:lnTo>
                  <a:lnTo>
                    <a:pt x="673" y="1323"/>
                  </a:lnTo>
                  <a:lnTo>
                    <a:pt x="678" y="1324"/>
                  </a:lnTo>
                  <a:lnTo>
                    <a:pt x="681" y="1324"/>
                  </a:lnTo>
                  <a:lnTo>
                    <a:pt x="679" y="1320"/>
                  </a:lnTo>
                  <a:lnTo>
                    <a:pt x="679" y="1316"/>
                  </a:lnTo>
                  <a:lnTo>
                    <a:pt x="681" y="1315"/>
                  </a:lnTo>
                  <a:lnTo>
                    <a:pt x="684" y="1309"/>
                  </a:lnTo>
                  <a:lnTo>
                    <a:pt x="687" y="1306"/>
                  </a:lnTo>
                  <a:lnTo>
                    <a:pt x="688" y="1306"/>
                  </a:lnTo>
                  <a:lnTo>
                    <a:pt x="690" y="1304"/>
                  </a:lnTo>
                  <a:lnTo>
                    <a:pt x="694" y="1304"/>
                  </a:lnTo>
                  <a:lnTo>
                    <a:pt x="696" y="1304"/>
                  </a:lnTo>
                  <a:lnTo>
                    <a:pt x="698" y="1304"/>
                  </a:lnTo>
                  <a:lnTo>
                    <a:pt x="698" y="1303"/>
                  </a:lnTo>
                  <a:lnTo>
                    <a:pt x="698" y="1301"/>
                  </a:lnTo>
                  <a:lnTo>
                    <a:pt x="699" y="1301"/>
                  </a:lnTo>
                  <a:lnTo>
                    <a:pt x="701" y="1301"/>
                  </a:lnTo>
                  <a:lnTo>
                    <a:pt x="702" y="1301"/>
                  </a:lnTo>
                  <a:lnTo>
                    <a:pt x="704" y="1300"/>
                  </a:lnTo>
                  <a:lnTo>
                    <a:pt x="708" y="1298"/>
                  </a:lnTo>
                  <a:lnTo>
                    <a:pt x="711" y="1296"/>
                  </a:lnTo>
                  <a:lnTo>
                    <a:pt x="713" y="1292"/>
                  </a:lnTo>
                  <a:lnTo>
                    <a:pt x="713" y="1287"/>
                  </a:lnTo>
                  <a:lnTo>
                    <a:pt x="711" y="1283"/>
                  </a:lnTo>
                  <a:lnTo>
                    <a:pt x="711" y="1280"/>
                  </a:lnTo>
                  <a:lnTo>
                    <a:pt x="710" y="1278"/>
                  </a:lnTo>
                  <a:lnTo>
                    <a:pt x="710" y="1275"/>
                  </a:lnTo>
                  <a:lnTo>
                    <a:pt x="710" y="1275"/>
                  </a:lnTo>
                  <a:lnTo>
                    <a:pt x="713" y="1275"/>
                  </a:lnTo>
                  <a:lnTo>
                    <a:pt x="713" y="1275"/>
                  </a:lnTo>
                  <a:lnTo>
                    <a:pt x="714" y="1273"/>
                  </a:lnTo>
                  <a:lnTo>
                    <a:pt x="714" y="1273"/>
                  </a:lnTo>
                  <a:lnTo>
                    <a:pt x="714" y="1272"/>
                  </a:lnTo>
                  <a:lnTo>
                    <a:pt x="716" y="1269"/>
                  </a:lnTo>
                  <a:lnTo>
                    <a:pt x="713" y="1267"/>
                  </a:lnTo>
                  <a:lnTo>
                    <a:pt x="690" y="1270"/>
                  </a:lnTo>
                  <a:lnTo>
                    <a:pt x="681" y="1272"/>
                  </a:lnTo>
                  <a:lnTo>
                    <a:pt x="665" y="1270"/>
                  </a:lnTo>
                  <a:lnTo>
                    <a:pt x="664" y="1270"/>
                  </a:lnTo>
                  <a:lnTo>
                    <a:pt x="662" y="1267"/>
                  </a:lnTo>
                  <a:lnTo>
                    <a:pt x="662" y="1266"/>
                  </a:lnTo>
                  <a:lnTo>
                    <a:pt x="662" y="1264"/>
                  </a:lnTo>
                  <a:lnTo>
                    <a:pt x="661" y="1264"/>
                  </a:lnTo>
                  <a:lnTo>
                    <a:pt x="659" y="1266"/>
                  </a:lnTo>
                  <a:lnTo>
                    <a:pt x="661" y="1267"/>
                  </a:lnTo>
                  <a:lnTo>
                    <a:pt x="661" y="1269"/>
                  </a:lnTo>
                  <a:lnTo>
                    <a:pt x="658" y="1267"/>
                  </a:lnTo>
                  <a:lnTo>
                    <a:pt x="651" y="1267"/>
                  </a:lnTo>
                  <a:lnTo>
                    <a:pt x="650" y="1267"/>
                  </a:lnTo>
                  <a:lnTo>
                    <a:pt x="650" y="1267"/>
                  </a:lnTo>
                  <a:lnTo>
                    <a:pt x="650" y="1266"/>
                  </a:lnTo>
                  <a:lnTo>
                    <a:pt x="648" y="1266"/>
                  </a:lnTo>
                  <a:lnTo>
                    <a:pt x="650" y="1264"/>
                  </a:lnTo>
                  <a:lnTo>
                    <a:pt x="653" y="1264"/>
                  </a:lnTo>
                  <a:lnTo>
                    <a:pt x="656" y="1261"/>
                  </a:lnTo>
                  <a:lnTo>
                    <a:pt x="656" y="1261"/>
                  </a:lnTo>
                  <a:lnTo>
                    <a:pt x="659" y="1261"/>
                  </a:lnTo>
                  <a:lnTo>
                    <a:pt x="661" y="1261"/>
                  </a:lnTo>
                  <a:lnTo>
                    <a:pt x="662" y="1261"/>
                  </a:lnTo>
                  <a:lnTo>
                    <a:pt x="662" y="1259"/>
                  </a:lnTo>
                  <a:lnTo>
                    <a:pt x="661" y="1258"/>
                  </a:lnTo>
                  <a:lnTo>
                    <a:pt x="659" y="1258"/>
                  </a:lnTo>
                  <a:lnTo>
                    <a:pt x="647" y="1255"/>
                  </a:lnTo>
                  <a:lnTo>
                    <a:pt x="642" y="1256"/>
                  </a:lnTo>
                  <a:lnTo>
                    <a:pt x="642" y="1256"/>
                  </a:lnTo>
                  <a:lnTo>
                    <a:pt x="642" y="1258"/>
                  </a:lnTo>
                  <a:lnTo>
                    <a:pt x="642" y="1259"/>
                  </a:lnTo>
                  <a:lnTo>
                    <a:pt x="641" y="1259"/>
                  </a:lnTo>
                  <a:lnTo>
                    <a:pt x="636" y="1259"/>
                  </a:lnTo>
                  <a:lnTo>
                    <a:pt x="637" y="1259"/>
                  </a:lnTo>
                  <a:lnTo>
                    <a:pt x="639" y="1259"/>
                  </a:lnTo>
                  <a:lnTo>
                    <a:pt x="639" y="1258"/>
                  </a:lnTo>
                  <a:lnTo>
                    <a:pt x="641" y="1258"/>
                  </a:lnTo>
                  <a:lnTo>
                    <a:pt x="641" y="1256"/>
                  </a:lnTo>
                  <a:lnTo>
                    <a:pt x="641" y="1255"/>
                  </a:lnTo>
                  <a:lnTo>
                    <a:pt x="642" y="1253"/>
                  </a:lnTo>
                  <a:lnTo>
                    <a:pt x="647" y="1252"/>
                  </a:lnTo>
                  <a:lnTo>
                    <a:pt x="648" y="1252"/>
                  </a:lnTo>
                  <a:lnTo>
                    <a:pt x="648" y="1252"/>
                  </a:lnTo>
                  <a:lnTo>
                    <a:pt x="650" y="1253"/>
                  </a:lnTo>
                  <a:lnTo>
                    <a:pt x="651" y="1252"/>
                  </a:lnTo>
                  <a:lnTo>
                    <a:pt x="651" y="1252"/>
                  </a:lnTo>
                  <a:lnTo>
                    <a:pt x="653" y="1252"/>
                  </a:lnTo>
                  <a:lnTo>
                    <a:pt x="654" y="1252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8" y="1250"/>
                  </a:lnTo>
                  <a:lnTo>
                    <a:pt x="658" y="1250"/>
                  </a:lnTo>
                  <a:lnTo>
                    <a:pt x="659" y="1250"/>
                  </a:lnTo>
                  <a:lnTo>
                    <a:pt x="665" y="1252"/>
                  </a:lnTo>
                  <a:lnTo>
                    <a:pt x="668" y="1250"/>
                  </a:lnTo>
                  <a:lnTo>
                    <a:pt x="670" y="1249"/>
                  </a:lnTo>
                  <a:lnTo>
                    <a:pt x="673" y="1247"/>
                  </a:lnTo>
                  <a:lnTo>
                    <a:pt x="676" y="1244"/>
                  </a:lnTo>
                  <a:lnTo>
                    <a:pt x="679" y="1241"/>
                  </a:lnTo>
                  <a:lnTo>
                    <a:pt x="678" y="1239"/>
                  </a:lnTo>
                  <a:lnTo>
                    <a:pt x="678" y="1239"/>
                  </a:lnTo>
                  <a:lnTo>
                    <a:pt x="676" y="1239"/>
                  </a:lnTo>
                  <a:lnTo>
                    <a:pt x="676" y="1239"/>
                  </a:lnTo>
                  <a:lnTo>
                    <a:pt x="678" y="1238"/>
                  </a:lnTo>
                  <a:lnTo>
                    <a:pt x="678" y="1238"/>
                  </a:lnTo>
                  <a:lnTo>
                    <a:pt x="678" y="1235"/>
                  </a:lnTo>
                  <a:lnTo>
                    <a:pt x="678" y="1233"/>
                  </a:lnTo>
                  <a:lnTo>
                    <a:pt x="679" y="1233"/>
                  </a:lnTo>
                  <a:lnTo>
                    <a:pt x="678" y="1232"/>
                  </a:lnTo>
                  <a:lnTo>
                    <a:pt x="678" y="1230"/>
                  </a:lnTo>
                  <a:lnTo>
                    <a:pt x="678" y="1230"/>
                  </a:lnTo>
                  <a:lnTo>
                    <a:pt x="678" y="1230"/>
                  </a:lnTo>
                  <a:lnTo>
                    <a:pt x="678" y="1229"/>
                  </a:lnTo>
                  <a:lnTo>
                    <a:pt x="678" y="1227"/>
                  </a:lnTo>
                  <a:lnTo>
                    <a:pt x="678" y="1227"/>
                  </a:lnTo>
                  <a:lnTo>
                    <a:pt x="678" y="1226"/>
                  </a:lnTo>
                  <a:lnTo>
                    <a:pt x="676" y="1226"/>
                  </a:lnTo>
                  <a:lnTo>
                    <a:pt x="673" y="1227"/>
                  </a:lnTo>
                  <a:lnTo>
                    <a:pt x="671" y="1229"/>
                  </a:lnTo>
                  <a:lnTo>
                    <a:pt x="667" y="1229"/>
                  </a:lnTo>
                  <a:lnTo>
                    <a:pt x="664" y="1232"/>
                  </a:lnTo>
                  <a:lnTo>
                    <a:pt x="664" y="1230"/>
                  </a:lnTo>
                  <a:lnTo>
                    <a:pt x="662" y="1229"/>
                  </a:lnTo>
                  <a:lnTo>
                    <a:pt x="661" y="1229"/>
                  </a:lnTo>
                  <a:lnTo>
                    <a:pt x="659" y="1229"/>
                  </a:lnTo>
                  <a:lnTo>
                    <a:pt x="661" y="1227"/>
                  </a:lnTo>
                  <a:lnTo>
                    <a:pt x="665" y="1226"/>
                  </a:lnTo>
                  <a:lnTo>
                    <a:pt x="667" y="1226"/>
                  </a:lnTo>
                  <a:lnTo>
                    <a:pt x="667" y="1226"/>
                  </a:lnTo>
                  <a:lnTo>
                    <a:pt x="668" y="1227"/>
                  </a:lnTo>
                  <a:lnTo>
                    <a:pt x="670" y="1227"/>
                  </a:lnTo>
                  <a:lnTo>
                    <a:pt x="671" y="1226"/>
                  </a:lnTo>
                  <a:lnTo>
                    <a:pt x="671" y="1226"/>
                  </a:lnTo>
                  <a:lnTo>
                    <a:pt x="673" y="1226"/>
                  </a:lnTo>
                  <a:lnTo>
                    <a:pt x="673" y="1224"/>
                  </a:lnTo>
                  <a:lnTo>
                    <a:pt x="673" y="1223"/>
                  </a:lnTo>
                  <a:lnTo>
                    <a:pt x="673" y="1221"/>
                  </a:lnTo>
                  <a:lnTo>
                    <a:pt x="673" y="1221"/>
                  </a:lnTo>
                  <a:lnTo>
                    <a:pt x="674" y="1221"/>
                  </a:lnTo>
                  <a:lnTo>
                    <a:pt x="676" y="1218"/>
                  </a:lnTo>
                  <a:lnTo>
                    <a:pt x="679" y="1216"/>
                  </a:lnTo>
                  <a:lnTo>
                    <a:pt x="681" y="1216"/>
                  </a:lnTo>
                  <a:lnTo>
                    <a:pt x="681" y="1213"/>
                  </a:lnTo>
                  <a:lnTo>
                    <a:pt x="681" y="1215"/>
                  </a:lnTo>
                  <a:lnTo>
                    <a:pt x="684" y="1218"/>
                  </a:lnTo>
                  <a:lnTo>
                    <a:pt x="685" y="1221"/>
                  </a:lnTo>
                  <a:lnTo>
                    <a:pt x="685" y="1221"/>
                  </a:lnTo>
                  <a:lnTo>
                    <a:pt x="687" y="1221"/>
                  </a:lnTo>
                  <a:lnTo>
                    <a:pt x="691" y="1221"/>
                  </a:lnTo>
                  <a:lnTo>
                    <a:pt x="694" y="1219"/>
                  </a:lnTo>
                  <a:lnTo>
                    <a:pt x="699" y="1218"/>
                  </a:lnTo>
                  <a:lnTo>
                    <a:pt x="702" y="1213"/>
                  </a:lnTo>
                  <a:lnTo>
                    <a:pt x="704" y="1212"/>
                  </a:lnTo>
                  <a:lnTo>
                    <a:pt x="704" y="1209"/>
                  </a:lnTo>
                  <a:lnTo>
                    <a:pt x="704" y="1209"/>
                  </a:lnTo>
                  <a:lnTo>
                    <a:pt x="702" y="1210"/>
                  </a:lnTo>
                  <a:lnTo>
                    <a:pt x="702" y="1210"/>
                  </a:lnTo>
                  <a:lnTo>
                    <a:pt x="699" y="1210"/>
                  </a:lnTo>
                  <a:lnTo>
                    <a:pt x="698" y="1210"/>
                  </a:lnTo>
                  <a:lnTo>
                    <a:pt x="698" y="1209"/>
                  </a:lnTo>
                  <a:lnTo>
                    <a:pt x="702" y="1203"/>
                  </a:lnTo>
                  <a:lnTo>
                    <a:pt x="704" y="1201"/>
                  </a:lnTo>
                  <a:lnTo>
                    <a:pt x="702" y="1203"/>
                  </a:lnTo>
                  <a:lnTo>
                    <a:pt x="690" y="1201"/>
                  </a:lnTo>
                  <a:lnTo>
                    <a:pt x="687" y="1199"/>
                  </a:lnTo>
                  <a:lnTo>
                    <a:pt x="690" y="1199"/>
                  </a:lnTo>
                  <a:lnTo>
                    <a:pt x="693" y="1198"/>
                  </a:lnTo>
                  <a:lnTo>
                    <a:pt x="694" y="1198"/>
                  </a:lnTo>
                  <a:lnTo>
                    <a:pt x="696" y="1199"/>
                  </a:lnTo>
                  <a:lnTo>
                    <a:pt x="698" y="1199"/>
                  </a:lnTo>
                  <a:lnTo>
                    <a:pt x="698" y="1199"/>
                  </a:lnTo>
                  <a:lnTo>
                    <a:pt x="699" y="1199"/>
                  </a:lnTo>
                  <a:lnTo>
                    <a:pt x="701" y="1199"/>
                  </a:lnTo>
                  <a:lnTo>
                    <a:pt x="702" y="1199"/>
                  </a:lnTo>
                  <a:lnTo>
                    <a:pt x="702" y="1199"/>
                  </a:lnTo>
                  <a:lnTo>
                    <a:pt x="702" y="1198"/>
                  </a:lnTo>
                  <a:lnTo>
                    <a:pt x="702" y="1196"/>
                  </a:lnTo>
                  <a:lnTo>
                    <a:pt x="702" y="1196"/>
                  </a:lnTo>
                  <a:lnTo>
                    <a:pt x="698" y="1195"/>
                  </a:lnTo>
                  <a:lnTo>
                    <a:pt x="696" y="1195"/>
                  </a:lnTo>
                  <a:lnTo>
                    <a:pt x="694" y="1192"/>
                  </a:lnTo>
                  <a:lnTo>
                    <a:pt x="694" y="1192"/>
                  </a:lnTo>
                  <a:lnTo>
                    <a:pt x="696" y="1192"/>
                  </a:lnTo>
                  <a:lnTo>
                    <a:pt x="699" y="1195"/>
                  </a:lnTo>
                  <a:lnTo>
                    <a:pt x="702" y="1195"/>
                  </a:lnTo>
                  <a:lnTo>
                    <a:pt x="707" y="1201"/>
                  </a:lnTo>
                  <a:lnTo>
                    <a:pt x="708" y="1201"/>
                  </a:lnTo>
                  <a:lnTo>
                    <a:pt x="708" y="1199"/>
                  </a:lnTo>
                  <a:lnTo>
                    <a:pt x="713" y="1195"/>
                  </a:lnTo>
                  <a:lnTo>
                    <a:pt x="716" y="1192"/>
                  </a:lnTo>
                  <a:lnTo>
                    <a:pt x="716" y="1192"/>
                  </a:lnTo>
                  <a:lnTo>
                    <a:pt x="716" y="1190"/>
                  </a:lnTo>
                  <a:lnTo>
                    <a:pt x="718" y="1189"/>
                  </a:lnTo>
                  <a:lnTo>
                    <a:pt x="718" y="1187"/>
                  </a:lnTo>
                  <a:lnTo>
                    <a:pt x="718" y="1189"/>
                  </a:lnTo>
                  <a:lnTo>
                    <a:pt x="719" y="1187"/>
                  </a:lnTo>
                  <a:lnTo>
                    <a:pt x="725" y="1184"/>
                  </a:lnTo>
                  <a:lnTo>
                    <a:pt x="725" y="1184"/>
                  </a:lnTo>
                  <a:lnTo>
                    <a:pt x="725" y="1182"/>
                  </a:lnTo>
                  <a:lnTo>
                    <a:pt x="727" y="1179"/>
                  </a:lnTo>
                  <a:lnTo>
                    <a:pt x="727" y="1176"/>
                  </a:lnTo>
                  <a:lnTo>
                    <a:pt x="728" y="1173"/>
                  </a:lnTo>
                  <a:lnTo>
                    <a:pt x="728" y="1170"/>
                  </a:lnTo>
                  <a:lnTo>
                    <a:pt x="728" y="1166"/>
                  </a:lnTo>
                  <a:lnTo>
                    <a:pt x="728" y="1162"/>
                  </a:lnTo>
                  <a:lnTo>
                    <a:pt x="730" y="1161"/>
                  </a:lnTo>
                  <a:lnTo>
                    <a:pt x="730" y="1159"/>
                  </a:lnTo>
                  <a:lnTo>
                    <a:pt x="733" y="1155"/>
                  </a:lnTo>
                  <a:lnTo>
                    <a:pt x="736" y="1147"/>
                  </a:lnTo>
                  <a:lnTo>
                    <a:pt x="736" y="1146"/>
                  </a:lnTo>
                  <a:lnTo>
                    <a:pt x="736" y="1144"/>
                  </a:lnTo>
                  <a:lnTo>
                    <a:pt x="738" y="1138"/>
                  </a:lnTo>
                  <a:lnTo>
                    <a:pt x="739" y="1136"/>
                  </a:lnTo>
                  <a:lnTo>
                    <a:pt x="739" y="1136"/>
                  </a:lnTo>
                  <a:lnTo>
                    <a:pt x="738" y="1130"/>
                  </a:lnTo>
                  <a:close/>
                  <a:moveTo>
                    <a:pt x="391" y="300"/>
                  </a:moveTo>
                  <a:lnTo>
                    <a:pt x="393" y="300"/>
                  </a:lnTo>
                  <a:lnTo>
                    <a:pt x="393" y="297"/>
                  </a:lnTo>
                  <a:lnTo>
                    <a:pt x="391" y="297"/>
                  </a:lnTo>
                  <a:lnTo>
                    <a:pt x="388" y="297"/>
                  </a:lnTo>
                  <a:lnTo>
                    <a:pt x="385" y="297"/>
                  </a:lnTo>
                  <a:lnTo>
                    <a:pt x="382" y="299"/>
                  </a:lnTo>
                  <a:lnTo>
                    <a:pt x="382" y="300"/>
                  </a:lnTo>
                  <a:lnTo>
                    <a:pt x="386" y="300"/>
                  </a:lnTo>
                  <a:lnTo>
                    <a:pt x="386" y="300"/>
                  </a:lnTo>
                  <a:lnTo>
                    <a:pt x="386" y="302"/>
                  </a:lnTo>
                  <a:lnTo>
                    <a:pt x="385" y="302"/>
                  </a:lnTo>
                  <a:lnTo>
                    <a:pt x="383" y="302"/>
                  </a:lnTo>
                  <a:lnTo>
                    <a:pt x="383" y="300"/>
                  </a:lnTo>
                  <a:lnTo>
                    <a:pt x="385" y="305"/>
                  </a:lnTo>
                  <a:lnTo>
                    <a:pt x="386" y="306"/>
                  </a:lnTo>
                  <a:lnTo>
                    <a:pt x="385" y="308"/>
                  </a:lnTo>
                  <a:lnTo>
                    <a:pt x="385" y="308"/>
                  </a:lnTo>
                  <a:lnTo>
                    <a:pt x="390" y="312"/>
                  </a:lnTo>
                  <a:lnTo>
                    <a:pt x="391" y="311"/>
                  </a:lnTo>
                  <a:lnTo>
                    <a:pt x="391" y="309"/>
                  </a:lnTo>
                  <a:lnTo>
                    <a:pt x="391" y="308"/>
                  </a:lnTo>
                  <a:lnTo>
                    <a:pt x="390" y="305"/>
                  </a:lnTo>
                  <a:lnTo>
                    <a:pt x="391" y="305"/>
                  </a:lnTo>
                  <a:lnTo>
                    <a:pt x="391" y="303"/>
                  </a:lnTo>
                  <a:lnTo>
                    <a:pt x="390" y="303"/>
                  </a:lnTo>
                  <a:lnTo>
                    <a:pt x="390" y="302"/>
                  </a:lnTo>
                  <a:lnTo>
                    <a:pt x="391" y="300"/>
                  </a:lnTo>
                  <a:close/>
                  <a:moveTo>
                    <a:pt x="353" y="292"/>
                  </a:moveTo>
                  <a:lnTo>
                    <a:pt x="354" y="291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6" y="291"/>
                  </a:lnTo>
                  <a:lnTo>
                    <a:pt x="356" y="292"/>
                  </a:lnTo>
                  <a:lnTo>
                    <a:pt x="357" y="292"/>
                  </a:lnTo>
                  <a:lnTo>
                    <a:pt x="356" y="292"/>
                  </a:lnTo>
                  <a:lnTo>
                    <a:pt x="356" y="294"/>
                  </a:lnTo>
                  <a:lnTo>
                    <a:pt x="356" y="294"/>
                  </a:lnTo>
                  <a:lnTo>
                    <a:pt x="357" y="297"/>
                  </a:lnTo>
                  <a:lnTo>
                    <a:pt x="359" y="299"/>
                  </a:lnTo>
                  <a:lnTo>
                    <a:pt x="359" y="299"/>
                  </a:lnTo>
                  <a:lnTo>
                    <a:pt x="360" y="300"/>
                  </a:lnTo>
                  <a:lnTo>
                    <a:pt x="360" y="302"/>
                  </a:lnTo>
                  <a:lnTo>
                    <a:pt x="362" y="305"/>
                  </a:lnTo>
                  <a:lnTo>
                    <a:pt x="362" y="305"/>
                  </a:lnTo>
                  <a:lnTo>
                    <a:pt x="369" y="305"/>
                  </a:lnTo>
                  <a:lnTo>
                    <a:pt x="373" y="305"/>
                  </a:lnTo>
                  <a:lnTo>
                    <a:pt x="374" y="302"/>
                  </a:lnTo>
                  <a:lnTo>
                    <a:pt x="373" y="302"/>
                  </a:lnTo>
                  <a:lnTo>
                    <a:pt x="368" y="303"/>
                  </a:lnTo>
                  <a:lnTo>
                    <a:pt x="366" y="303"/>
                  </a:lnTo>
                  <a:lnTo>
                    <a:pt x="366" y="302"/>
                  </a:lnTo>
                  <a:lnTo>
                    <a:pt x="368" y="300"/>
                  </a:lnTo>
                  <a:lnTo>
                    <a:pt x="369" y="300"/>
                  </a:lnTo>
                  <a:lnTo>
                    <a:pt x="371" y="300"/>
                  </a:lnTo>
                  <a:lnTo>
                    <a:pt x="371" y="299"/>
                  </a:lnTo>
                  <a:lnTo>
                    <a:pt x="371" y="297"/>
                  </a:lnTo>
                  <a:lnTo>
                    <a:pt x="369" y="297"/>
                  </a:lnTo>
                  <a:lnTo>
                    <a:pt x="369" y="297"/>
                  </a:lnTo>
                  <a:lnTo>
                    <a:pt x="369" y="296"/>
                  </a:lnTo>
                  <a:lnTo>
                    <a:pt x="369" y="294"/>
                  </a:lnTo>
                  <a:lnTo>
                    <a:pt x="366" y="288"/>
                  </a:lnTo>
                  <a:lnTo>
                    <a:pt x="365" y="288"/>
                  </a:lnTo>
                  <a:lnTo>
                    <a:pt x="363" y="288"/>
                  </a:lnTo>
                  <a:lnTo>
                    <a:pt x="360" y="285"/>
                  </a:lnTo>
                  <a:lnTo>
                    <a:pt x="359" y="283"/>
                  </a:lnTo>
                  <a:lnTo>
                    <a:pt x="359" y="283"/>
                  </a:lnTo>
                  <a:lnTo>
                    <a:pt x="356" y="285"/>
                  </a:lnTo>
                  <a:lnTo>
                    <a:pt x="353" y="286"/>
                  </a:lnTo>
                  <a:lnTo>
                    <a:pt x="353" y="288"/>
                  </a:lnTo>
                  <a:lnTo>
                    <a:pt x="353" y="291"/>
                  </a:lnTo>
                  <a:lnTo>
                    <a:pt x="353" y="291"/>
                  </a:lnTo>
                  <a:lnTo>
                    <a:pt x="353" y="292"/>
                  </a:lnTo>
                  <a:close/>
                  <a:moveTo>
                    <a:pt x="360" y="280"/>
                  </a:moveTo>
                  <a:lnTo>
                    <a:pt x="363" y="280"/>
                  </a:lnTo>
                  <a:lnTo>
                    <a:pt x="363" y="280"/>
                  </a:lnTo>
                  <a:lnTo>
                    <a:pt x="365" y="279"/>
                  </a:lnTo>
                  <a:lnTo>
                    <a:pt x="365" y="277"/>
                  </a:lnTo>
                  <a:lnTo>
                    <a:pt x="365" y="275"/>
                  </a:lnTo>
                  <a:lnTo>
                    <a:pt x="365" y="274"/>
                  </a:lnTo>
                  <a:lnTo>
                    <a:pt x="365" y="274"/>
                  </a:lnTo>
                  <a:lnTo>
                    <a:pt x="365" y="272"/>
                  </a:lnTo>
                  <a:lnTo>
                    <a:pt x="363" y="272"/>
                  </a:lnTo>
                  <a:lnTo>
                    <a:pt x="365" y="271"/>
                  </a:lnTo>
                  <a:lnTo>
                    <a:pt x="365" y="271"/>
                  </a:lnTo>
                  <a:lnTo>
                    <a:pt x="365" y="271"/>
                  </a:lnTo>
                  <a:lnTo>
                    <a:pt x="366" y="272"/>
                  </a:lnTo>
                  <a:lnTo>
                    <a:pt x="366" y="271"/>
                  </a:lnTo>
                  <a:lnTo>
                    <a:pt x="366" y="269"/>
                  </a:lnTo>
                  <a:lnTo>
                    <a:pt x="366" y="269"/>
                  </a:lnTo>
                  <a:lnTo>
                    <a:pt x="366" y="268"/>
                  </a:lnTo>
                  <a:lnTo>
                    <a:pt x="368" y="268"/>
                  </a:lnTo>
                  <a:lnTo>
                    <a:pt x="368" y="269"/>
                  </a:lnTo>
                  <a:lnTo>
                    <a:pt x="368" y="269"/>
                  </a:lnTo>
                  <a:lnTo>
                    <a:pt x="368" y="271"/>
                  </a:lnTo>
                  <a:lnTo>
                    <a:pt x="369" y="272"/>
                  </a:lnTo>
                  <a:lnTo>
                    <a:pt x="369" y="272"/>
                  </a:lnTo>
                  <a:lnTo>
                    <a:pt x="368" y="275"/>
                  </a:lnTo>
                  <a:lnTo>
                    <a:pt x="366" y="277"/>
                  </a:lnTo>
                  <a:lnTo>
                    <a:pt x="366" y="280"/>
                  </a:lnTo>
                  <a:lnTo>
                    <a:pt x="368" y="283"/>
                  </a:lnTo>
                  <a:lnTo>
                    <a:pt x="369" y="286"/>
                  </a:lnTo>
                  <a:lnTo>
                    <a:pt x="374" y="285"/>
                  </a:lnTo>
                  <a:lnTo>
                    <a:pt x="376" y="286"/>
                  </a:lnTo>
                  <a:lnTo>
                    <a:pt x="376" y="285"/>
                  </a:lnTo>
                  <a:lnTo>
                    <a:pt x="377" y="283"/>
                  </a:lnTo>
                  <a:lnTo>
                    <a:pt x="379" y="283"/>
                  </a:lnTo>
                  <a:lnTo>
                    <a:pt x="379" y="282"/>
                  </a:lnTo>
                  <a:lnTo>
                    <a:pt x="379" y="282"/>
                  </a:lnTo>
                  <a:lnTo>
                    <a:pt x="380" y="282"/>
                  </a:lnTo>
                  <a:lnTo>
                    <a:pt x="380" y="282"/>
                  </a:lnTo>
                  <a:lnTo>
                    <a:pt x="382" y="282"/>
                  </a:lnTo>
                  <a:lnTo>
                    <a:pt x="382" y="282"/>
                  </a:lnTo>
                  <a:lnTo>
                    <a:pt x="383" y="282"/>
                  </a:lnTo>
                  <a:lnTo>
                    <a:pt x="385" y="280"/>
                  </a:lnTo>
                  <a:lnTo>
                    <a:pt x="386" y="279"/>
                  </a:lnTo>
                  <a:lnTo>
                    <a:pt x="386" y="280"/>
                  </a:lnTo>
                  <a:lnTo>
                    <a:pt x="390" y="286"/>
                  </a:lnTo>
                  <a:lnTo>
                    <a:pt x="390" y="288"/>
                  </a:lnTo>
                  <a:lnTo>
                    <a:pt x="391" y="288"/>
                  </a:lnTo>
                  <a:lnTo>
                    <a:pt x="396" y="291"/>
                  </a:lnTo>
                  <a:lnTo>
                    <a:pt x="397" y="291"/>
                  </a:lnTo>
                  <a:lnTo>
                    <a:pt x="399" y="289"/>
                  </a:lnTo>
                  <a:lnTo>
                    <a:pt x="400" y="286"/>
                  </a:lnTo>
                  <a:lnTo>
                    <a:pt x="402" y="286"/>
                  </a:lnTo>
                  <a:lnTo>
                    <a:pt x="403" y="285"/>
                  </a:lnTo>
                  <a:lnTo>
                    <a:pt x="405" y="285"/>
                  </a:lnTo>
                  <a:lnTo>
                    <a:pt x="406" y="283"/>
                  </a:lnTo>
                  <a:lnTo>
                    <a:pt x="406" y="282"/>
                  </a:lnTo>
                  <a:lnTo>
                    <a:pt x="406" y="280"/>
                  </a:lnTo>
                  <a:lnTo>
                    <a:pt x="405" y="279"/>
                  </a:lnTo>
                  <a:lnTo>
                    <a:pt x="405" y="277"/>
                  </a:lnTo>
                  <a:lnTo>
                    <a:pt x="403" y="279"/>
                  </a:lnTo>
                  <a:lnTo>
                    <a:pt x="400" y="280"/>
                  </a:lnTo>
                  <a:lnTo>
                    <a:pt x="399" y="280"/>
                  </a:lnTo>
                  <a:lnTo>
                    <a:pt x="400" y="280"/>
                  </a:lnTo>
                  <a:lnTo>
                    <a:pt x="400" y="283"/>
                  </a:lnTo>
                  <a:lnTo>
                    <a:pt x="400" y="285"/>
                  </a:lnTo>
                  <a:lnTo>
                    <a:pt x="399" y="283"/>
                  </a:lnTo>
                  <a:lnTo>
                    <a:pt x="397" y="283"/>
                  </a:lnTo>
                  <a:lnTo>
                    <a:pt x="396" y="280"/>
                  </a:lnTo>
                  <a:lnTo>
                    <a:pt x="397" y="280"/>
                  </a:lnTo>
                  <a:lnTo>
                    <a:pt x="400" y="277"/>
                  </a:lnTo>
                  <a:lnTo>
                    <a:pt x="400" y="275"/>
                  </a:lnTo>
                  <a:lnTo>
                    <a:pt x="400" y="275"/>
                  </a:lnTo>
                  <a:lnTo>
                    <a:pt x="400" y="274"/>
                  </a:lnTo>
                  <a:lnTo>
                    <a:pt x="399" y="275"/>
                  </a:lnTo>
                  <a:lnTo>
                    <a:pt x="397" y="275"/>
                  </a:lnTo>
                  <a:lnTo>
                    <a:pt x="396" y="277"/>
                  </a:lnTo>
                  <a:lnTo>
                    <a:pt x="394" y="277"/>
                  </a:lnTo>
                  <a:lnTo>
                    <a:pt x="393" y="277"/>
                  </a:lnTo>
                  <a:lnTo>
                    <a:pt x="393" y="275"/>
                  </a:lnTo>
                  <a:lnTo>
                    <a:pt x="393" y="274"/>
                  </a:lnTo>
                  <a:lnTo>
                    <a:pt x="393" y="274"/>
                  </a:lnTo>
                  <a:lnTo>
                    <a:pt x="393" y="275"/>
                  </a:lnTo>
                  <a:lnTo>
                    <a:pt x="391" y="274"/>
                  </a:lnTo>
                  <a:lnTo>
                    <a:pt x="391" y="272"/>
                  </a:lnTo>
                  <a:lnTo>
                    <a:pt x="390" y="272"/>
                  </a:lnTo>
                  <a:lnTo>
                    <a:pt x="388" y="272"/>
                  </a:lnTo>
                  <a:lnTo>
                    <a:pt x="388" y="274"/>
                  </a:lnTo>
                  <a:lnTo>
                    <a:pt x="386" y="274"/>
                  </a:lnTo>
                  <a:lnTo>
                    <a:pt x="383" y="271"/>
                  </a:lnTo>
                  <a:lnTo>
                    <a:pt x="382" y="272"/>
                  </a:lnTo>
                  <a:lnTo>
                    <a:pt x="380" y="274"/>
                  </a:lnTo>
                  <a:lnTo>
                    <a:pt x="380" y="275"/>
                  </a:lnTo>
                  <a:lnTo>
                    <a:pt x="377" y="274"/>
                  </a:lnTo>
                  <a:lnTo>
                    <a:pt x="376" y="274"/>
                  </a:lnTo>
                  <a:lnTo>
                    <a:pt x="374" y="272"/>
                  </a:lnTo>
                  <a:lnTo>
                    <a:pt x="376" y="272"/>
                  </a:lnTo>
                  <a:lnTo>
                    <a:pt x="377" y="271"/>
                  </a:lnTo>
                  <a:lnTo>
                    <a:pt x="379" y="269"/>
                  </a:lnTo>
                  <a:lnTo>
                    <a:pt x="380" y="266"/>
                  </a:lnTo>
                  <a:lnTo>
                    <a:pt x="380" y="266"/>
                  </a:lnTo>
                  <a:lnTo>
                    <a:pt x="385" y="265"/>
                  </a:lnTo>
                  <a:lnTo>
                    <a:pt x="385" y="265"/>
                  </a:lnTo>
                  <a:lnTo>
                    <a:pt x="383" y="265"/>
                  </a:lnTo>
                  <a:lnTo>
                    <a:pt x="383" y="265"/>
                  </a:lnTo>
                  <a:lnTo>
                    <a:pt x="383" y="263"/>
                  </a:lnTo>
                  <a:lnTo>
                    <a:pt x="385" y="263"/>
                  </a:lnTo>
                  <a:lnTo>
                    <a:pt x="385" y="263"/>
                  </a:lnTo>
                  <a:lnTo>
                    <a:pt x="380" y="260"/>
                  </a:lnTo>
                  <a:lnTo>
                    <a:pt x="379" y="259"/>
                  </a:lnTo>
                  <a:lnTo>
                    <a:pt x="380" y="259"/>
                  </a:lnTo>
                  <a:lnTo>
                    <a:pt x="380" y="259"/>
                  </a:lnTo>
                  <a:lnTo>
                    <a:pt x="380" y="257"/>
                  </a:lnTo>
                  <a:lnTo>
                    <a:pt x="379" y="255"/>
                  </a:lnTo>
                  <a:lnTo>
                    <a:pt x="379" y="255"/>
                  </a:lnTo>
                  <a:lnTo>
                    <a:pt x="377" y="255"/>
                  </a:lnTo>
                  <a:lnTo>
                    <a:pt x="376" y="255"/>
                  </a:lnTo>
                  <a:lnTo>
                    <a:pt x="376" y="255"/>
                  </a:lnTo>
                  <a:lnTo>
                    <a:pt x="373" y="252"/>
                  </a:lnTo>
                  <a:lnTo>
                    <a:pt x="371" y="252"/>
                  </a:lnTo>
                  <a:lnTo>
                    <a:pt x="366" y="252"/>
                  </a:lnTo>
                  <a:lnTo>
                    <a:pt x="363" y="252"/>
                  </a:lnTo>
                  <a:lnTo>
                    <a:pt x="360" y="255"/>
                  </a:lnTo>
                  <a:lnTo>
                    <a:pt x="359" y="260"/>
                  </a:lnTo>
                  <a:lnTo>
                    <a:pt x="359" y="266"/>
                  </a:lnTo>
                  <a:lnTo>
                    <a:pt x="359" y="266"/>
                  </a:lnTo>
                  <a:lnTo>
                    <a:pt x="357" y="271"/>
                  </a:lnTo>
                  <a:lnTo>
                    <a:pt x="359" y="275"/>
                  </a:lnTo>
                  <a:lnTo>
                    <a:pt x="360" y="280"/>
                  </a:lnTo>
                  <a:close/>
                  <a:moveTo>
                    <a:pt x="413" y="259"/>
                  </a:moveTo>
                  <a:lnTo>
                    <a:pt x="414" y="260"/>
                  </a:lnTo>
                  <a:lnTo>
                    <a:pt x="414" y="263"/>
                  </a:lnTo>
                  <a:lnTo>
                    <a:pt x="416" y="262"/>
                  </a:lnTo>
                  <a:lnTo>
                    <a:pt x="419" y="262"/>
                  </a:lnTo>
                  <a:lnTo>
                    <a:pt x="420" y="260"/>
                  </a:lnTo>
                  <a:lnTo>
                    <a:pt x="419" y="259"/>
                  </a:lnTo>
                  <a:lnTo>
                    <a:pt x="417" y="259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7" y="255"/>
                  </a:lnTo>
                  <a:lnTo>
                    <a:pt x="416" y="257"/>
                  </a:lnTo>
                  <a:lnTo>
                    <a:pt x="416" y="255"/>
                  </a:lnTo>
                  <a:lnTo>
                    <a:pt x="414" y="255"/>
                  </a:lnTo>
                  <a:lnTo>
                    <a:pt x="414" y="254"/>
                  </a:lnTo>
                  <a:lnTo>
                    <a:pt x="416" y="252"/>
                  </a:lnTo>
                  <a:lnTo>
                    <a:pt x="416" y="252"/>
                  </a:lnTo>
                  <a:lnTo>
                    <a:pt x="416" y="252"/>
                  </a:lnTo>
                  <a:lnTo>
                    <a:pt x="414" y="252"/>
                  </a:lnTo>
                  <a:lnTo>
                    <a:pt x="413" y="252"/>
                  </a:lnTo>
                  <a:lnTo>
                    <a:pt x="413" y="251"/>
                  </a:lnTo>
                  <a:lnTo>
                    <a:pt x="413" y="251"/>
                  </a:lnTo>
                  <a:lnTo>
                    <a:pt x="413" y="251"/>
                  </a:lnTo>
                  <a:lnTo>
                    <a:pt x="413" y="249"/>
                  </a:lnTo>
                  <a:lnTo>
                    <a:pt x="410" y="251"/>
                  </a:lnTo>
                  <a:lnTo>
                    <a:pt x="410" y="252"/>
                  </a:lnTo>
                  <a:lnTo>
                    <a:pt x="413" y="254"/>
                  </a:lnTo>
                  <a:lnTo>
                    <a:pt x="413" y="255"/>
                  </a:lnTo>
                  <a:lnTo>
                    <a:pt x="413" y="257"/>
                  </a:lnTo>
                  <a:lnTo>
                    <a:pt x="411" y="257"/>
                  </a:lnTo>
                  <a:lnTo>
                    <a:pt x="410" y="257"/>
                  </a:lnTo>
                  <a:lnTo>
                    <a:pt x="410" y="259"/>
                  </a:lnTo>
                  <a:lnTo>
                    <a:pt x="408" y="260"/>
                  </a:lnTo>
                  <a:lnTo>
                    <a:pt x="410" y="262"/>
                  </a:lnTo>
                  <a:lnTo>
                    <a:pt x="411" y="262"/>
                  </a:lnTo>
                  <a:lnTo>
                    <a:pt x="410" y="259"/>
                  </a:lnTo>
                  <a:lnTo>
                    <a:pt x="411" y="259"/>
                  </a:lnTo>
                  <a:lnTo>
                    <a:pt x="413" y="259"/>
                  </a:lnTo>
                  <a:close/>
                  <a:moveTo>
                    <a:pt x="377" y="252"/>
                  </a:moveTo>
                  <a:lnTo>
                    <a:pt x="379" y="254"/>
                  </a:lnTo>
                  <a:lnTo>
                    <a:pt x="382" y="255"/>
                  </a:lnTo>
                  <a:lnTo>
                    <a:pt x="383" y="255"/>
                  </a:lnTo>
                  <a:lnTo>
                    <a:pt x="386" y="254"/>
                  </a:lnTo>
                  <a:lnTo>
                    <a:pt x="386" y="252"/>
                  </a:lnTo>
                  <a:lnTo>
                    <a:pt x="386" y="249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3" y="248"/>
                  </a:lnTo>
                  <a:lnTo>
                    <a:pt x="382" y="248"/>
                  </a:lnTo>
                  <a:lnTo>
                    <a:pt x="382" y="248"/>
                  </a:lnTo>
                  <a:lnTo>
                    <a:pt x="382" y="246"/>
                  </a:lnTo>
                  <a:lnTo>
                    <a:pt x="380" y="246"/>
                  </a:lnTo>
                  <a:lnTo>
                    <a:pt x="380" y="245"/>
                  </a:lnTo>
                  <a:lnTo>
                    <a:pt x="380" y="245"/>
                  </a:lnTo>
                  <a:lnTo>
                    <a:pt x="379" y="245"/>
                  </a:lnTo>
                  <a:lnTo>
                    <a:pt x="377" y="246"/>
                  </a:lnTo>
                  <a:lnTo>
                    <a:pt x="376" y="248"/>
                  </a:lnTo>
                  <a:lnTo>
                    <a:pt x="376" y="251"/>
                  </a:lnTo>
                  <a:lnTo>
                    <a:pt x="377" y="252"/>
                  </a:lnTo>
                  <a:close/>
                  <a:moveTo>
                    <a:pt x="397" y="248"/>
                  </a:moveTo>
                  <a:lnTo>
                    <a:pt x="399" y="248"/>
                  </a:lnTo>
                  <a:lnTo>
                    <a:pt x="399" y="249"/>
                  </a:lnTo>
                  <a:lnTo>
                    <a:pt x="400" y="251"/>
                  </a:lnTo>
                  <a:lnTo>
                    <a:pt x="400" y="252"/>
                  </a:lnTo>
                  <a:lnTo>
                    <a:pt x="400" y="252"/>
                  </a:lnTo>
                  <a:lnTo>
                    <a:pt x="402" y="252"/>
                  </a:lnTo>
                  <a:lnTo>
                    <a:pt x="403" y="252"/>
                  </a:lnTo>
                  <a:lnTo>
                    <a:pt x="403" y="251"/>
                  </a:lnTo>
                  <a:lnTo>
                    <a:pt x="403" y="251"/>
                  </a:lnTo>
                  <a:lnTo>
                    <a:pt x="402" y="249"/>
                  </a:lnTo>
                  <a:lnTo>
                    <a:pt x="402" y="248"/>
                  </a:lnTo>
                  <a:lnTo>
                    <a:pt x="402" y="246"/>
                  </a:lnTo>
                  <a:lnTo>
                    <a:pt x="402" y="245"/>
                  </a:lnTo>
                  <a:lnTo>
                    <a:pt x="403" y="242"/>
                  </a:lnTo>
                  <a:lnTo>
                    <a:pt x="405" y="242"/>
                  </a:lnTo>
                  <a:lnTo>
                    <a:pt x="403" y="240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7"/>
                  </a:lnTo>
                  <a:lnTo>
                    <a:pt x="400" y="237"/>
                  </a:lnTo>
                  <a:lnTo>
                    <a:pt x="400" y="237"/>
                  </a:lnTo>
                  <a:lnTo>
                    <a:pt x="400" y="239"/>
                  </a:lnTo>
                  <a:lnTo>
                    <a:pt x="400" y="242"/>
                  </a:lnTo>
                  <a:lnTo>
                    <a:pt x="400" y="242"/>
                  </a:lnTo>
                  <a:lnTo>
                    <a:pt x="400" y="245"/>
                  </a:lnTo>
                  <a:lnTo>
                    <a:pt x="400" y="245"/>
                  </a:lnTo>
                  <a:lnTo>
                    <a:pt x="399" y="245"/>
                  </a:lnTo>
                  <a:lnTo>
                    <a:pt x="399" y="246"/>
                  </a:lnTo>
                  <a:lnTo>
                    <a:pt x="397" y="246"/>
                  </a:lnTo>
                  <a:lnTo>
                    <a:pt x="397" y="245"/>
                  </a:lnTo>
                  <a:lnTo>
                    <a:pt x="397" y="248"/>
                  </a:lnTo>
                  <a:close/>
                  <a:moveTo>
                    <a:pt x="408" y="246"/>
                  </a:moveTo>
                  <a:lnTo>
                    <a:pt x="408" y="245"/>
                  </a:lnTo>
                  <a:lnTo>
                    <a:pt x="408" y="243"/>
                  </a:lnTo>
                  <a:lnTo>
                    <a:pt x="410" y="243"/>
                  </a:lnTo>
                  <a:lnTo>
                    <a:pt x="411" y="242"/>
                  </a:lnTo>
                  <a:lnTo>
                    <a:pt x="414" y="239"/>
                  </a:lnTo>
                  <a:lnTo>
                    <a:pt x="414" y="239"/>
                  </a:lnTo>
                  <a:lnTo>
                    <a:pt x="414" y="239"/>
                  </a:lnTo>
                  <a:lnTo>
                    <a:pt x="416" y="239"/>
                  </a:lnTo>
                  <a:lnTo>
                    <a:pt x="416" y="239"/>
                  </a:lnTo>
                  <a:lnTo>
                    <a:pt x="416" y="240"/>
                  </a:lnTo>
                  <a:lnTo>
                    <a:pt x="416" y="242"/>
                  </a:lnTo>
                  <a:lnTo>
                    <a:pt x="419" y="237"/>
                  </a:lnTo>
                  <a:lnTo>
                    <a:pt x="420" y="237"/>
                  </a:lnTo>
                  <a:lnTo>
                    <a:pt x="420" y="240"/>
                  </a:lnTo>
                  <a:lnTo>
                    <a:pt x="422" y="240"/>
                  </a:lnTo>
                  <a:lnTo>
                    <a:pt x="422" y="239"/>
                  </a:lnTo>
                  <a:lnTo>
                    <a:pt x="423" y="235"/>
                  </a:lnTo>
                  <a:lnTo>
                    <a:pt x="423" y="235"/>
                  </a:lnTo>
                  <a:lnTo>
                    <a:pt x="425" y="232"/>
                  </a:lnTo>
                  <a:lnTo>
                    <a:pt x="426" y="232"/>
                  </a:lnTo>
                  <a:lnTo>
                    <a:pt x="430" y="232"/>
                  </a:lnTo>
                  <a:lnTo>
                    <a:pt x="430" y="231"/>
                  </a:lnTo>
                  <a:lnTo>
                    <a:pt x="428" y="228"/>
                  </a:lnTo>
                  <a:lnTo>
                    <a:pt x="428" y="228"/>
                  </a:lnTo>
                  <a:lnTo>
                    <a:pt x="426" y="229"/>
                  </a:lnTo>
                  <a:lnTo>
                    <a:pt x="425" y="231"/>
                  </a:lnTo>
                  <a:lnTo>
                    <a:pt x="425" y="231"/>
                  </a:lnTo>
                  <a:lnTo>
                    <a:pt x="423" y="231"/>
                  </a:lnTo>
                  <a:lnTo>
                    <a:pt x="422" y="232"/>
                  </a:lnTo>
                  <a:lnTo>
                    <a:pt x="420" y="234"/>
                  </a:lnTo>
                  <a:lnTo>
                    <a:pt x="417" y="234"/>
                  </a:lnTo>
                  <a:lnTo>
                    <a:pt x="417" y="235"/>
                  </a:lnTo>
                  <a:lnTo>
                    <a:pt x="417" y="234"/>
                  </a:lnTo>
                  <a:lnTo>
                    <a:pt x="416" y="234"/>
                  </a:lnTo>
                  <a:lnTo>
                    <a:pt x="416" y="234"/>
                  </a:lnTo>
                  <a:lnTo>
                    <a:pt x="417" y="232"/>
                  </a:lnTo>
                  <a:lnTo>
                    <a:pt x="419" y="231"/>
                  </a:lnTo>
                  <a:lnTo>
                    <a:pt x="420" y="231"/>
                  </a:lnTo>
                  <a:lnTo>
                    <a:pt x="420" y="229"/>
                  </a:lnTo>
                  <a:lnTo>
                    <a:pt x="417" y="229"/>
                  </a:lnTo>
                  <a:lnTo>
                    <a:pt x="416" y="231"/>
                  </a:lnTo>
                  <a:lnTo>
                    <a:pt x="413" y="231"/>
                  </a:lnTo>
                  <a:lnTo>
                    <a:pt x="414" y="232"/>
                  </a:lnTo>
                  <a:lnTo>
                    <a:pt x="414" y="234"/>
                  </a:lnTo>
                  <a:lnTo>
                    <a:pt x="414" y="235"/>
                  </a:lnTo>
                  <a:lnTo>
                    <a:pt x="414" y="235"/>
                  </a:lnTo>
                  <a:lnTo>
                    <a:pt x="413" y="235"/>
                  </a:lnTo>
                  <a:lnTo>
                    <a:pt x="413" y="235"/>
                  </a:lnTo>
                  <a:lnTo>
                    <a:pt x="411" y="237"/>
                  </a:lnTo>
                  <a:lnTo>
                    <a:pt x="411" y="239"/>
                  </a:lnTo>
                  <a:lnTo>
                    <a:pt x="410" y="240"/>
                  </a:lnTo>
                  <a:lnTo>
                    <a:pt x="408" y="242"/>
                  </a:lnTo>
                  <a:lnTo>
                    <a:pt x="408" y="242"/>
                  </a:lnTo>
                  <a:lnTo>
                    <a:pt x="408" y="242"/>
                  </a:lnTo>
                  <a:lnTo>
                    <a:pt x="406" y="245"/>
                  </a:lnTo>
                  <a:lnTo>
                    <a:pt x="406" y="246"/>
                  </a:lnTo>
                  <a:lnTo>
                    <a:pt x="408" y="246"/>
                  </a:lnTo>
                  <a:close/>
                  <a:moveTo>
                    <a:pt x="379" y="226"/>
                  </a:moveTo>
                  <a:lnTo>
                    <a:pt x="380" y="226"/>
                  </a:lnTo>
                  <a:lnTo>
                    <a:pt x="380" y="228"/>
                  </a:lnTo>
                  <a:lnTo>
                    <a:pt x="382" y="228"/>
                  </a:lnTo>
                  <a:lnTo>
                    <a:pt x="382" y="229"/>
                  </a:lnTo>
                  <a:lnTo>
                    <a:pt x="382" y="229"/>
                  </a:lnTo>
                  <a:lnTo>
                    <a:pt x="383" y="232"/>
                  </a:lnTo>
                  <a:lnTo>
                    <a:pt x="383" y="234"/>
                  </a:lnTo>
                  <a:lnTo>
                    <a:pt x="383" y="234"/>
                  </a:lnTo>
                  <a:lnTo>
                    <a:pt x="385" y="235"/>
                  </a:lnTo>
                  <a:lnTo>
                    <a:pt x="385" y="235"/>
                  </a:lnTo>
                  <a:lnTo>
                    <a:pt x="385" y="234"/>
                  </a:lnTo>
                  <a:lnTo>
                    <a:pt x="386" y="234"/>
                  </a:lnTo>
                  <a:lnTo>
                    <a:pt x="388" y="234"/>
                  </a:lnTo>
                  <a:lnTo>
                    <a:pt x="386" y="232"/>
                  </a:lnTo>
                  <a:lnTo>
                    <a:pt x="386" y="232"/>
                  </a:lnTo>
                  <a:lnTo>
                    <a:pt x="386" y="231"/>
                  </a:lnTo>
                  <a:lnTo>
                    <a:pt x="388" y="231"/>
                  </a:lnTo>
                  <a:lnTo>
                    <a:pt x="390" y="232"/>
                  </a:lnTo>
                  <a:lnTo>
                    <a:pt x="394" y="235"/>
                  </a:lnTo>
                  <a:lnTo>
                    <a:pt x="393" y="237"/>
                  </a:lnTo>
                  <a:lnTo>
                    <a:pt x="393" y="239"/>
                  </a:lnTo>
                  <a:lnTo>
                    <a:pt x="393" y="239"/>
                  </a:lnTo>
                  <a:lnTo>
                    <a:pt x="393" y="240"/>
                  </a:lnTo>
                  <a:lnTo>
                    <a:pt x="394" y="237"/>
                  </a:lnTo>
                  <a:lnTo>
                    <a:pt x="396" y="237"/>
                  </a:lnTo>
                  <a:lnTo>
                    <a:pt x="397" y="237"/>
                  </a:lnTo>
                  <a:lnTo>
                    <a:pt x="397" y="235"/>
                  </a:lnTo>
                  <a:lnTo>
                    <a:pt x="396" y="235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4"/>
                  </a:lnTo>
                  <a:lnTo>
                    <a:pt x="394" y="234"/>
                  </a:lnTo>
                  <a:lnTo>
                    <a:pt x="393" y="229"/>
                  </a:lnTo>
                  <a:lnTo>
                    <a:pt x="391" y="229"/>
                  </a:lnTo>
                  <a:lnTo>
                    <a:pt x="385" y="228"/>
                  </a:lnTo>
                  <a:lnTo>
                    <a:pt x="385" y="226"/>
                  </a:lnTo>
                  <a:lnTo>
                    <a:pt x="386" y="226"/>
                  </a:lnTo>
                  <a:lnTo>
                    <a:pt x="388" y="226"/>
                  </a:lnTo>
                  <a:lnTo>
                    <a:pt x="386" y="225"/>
                  </a:lnTo>
                  <a:lnTo>
                    <a:pt x="386" y="225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2"/>
                  </a:lnTo>
                  <a:lnTo>
                    <a:pt x="386" y="222"/>
                  </a:lnTo>
                  <a:lnTo>
                    <a:pt x="386" y="222"/>
                  </a:lnTo>
                  <a:lnTo>
                    <a:pt x="383" y="225"/>
                  </a:lnTo>
                  <a:lnTo>
                    <a:pt x="382" y="226"/>
                  </a:lnTo>
                  <a:lnTo>
                    <a:pt x="380" y="225"/>
                  </a:lnTo>
                  <a:lnTo>
                    <a:pt x="379" y="225"/>
                  </a:lnTo>
                  <a:lnTo>
                    <a:pt x="379" y="226"/>
                  </a:lnTo>
                  <a:lnTo>
                    <a:pt x="379" y="226"/>
                  </a:lnTo>
                  <a:close/>
                  <a:moveTo>
                    <a:pt x="488" y="194"/>
                  </a:moveTo>
                  <a:lnTo>
                    <a:pt x="490" y="194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88" y="192"/>
                  </a:lnTo>
                  <a:lnTo>
                    <a:pt x="487" y="192"/>
                  </a:lnTo>
                  <a:lnTo>
                    <a:pt x="485" y="194"/>
                  </a:lnTo>
                  <a:lnTo>
                    <a:pt x="485" y="197"/>
                  </a:lnTo>
                  <a:lnTo>
                    <a:pt x="485" y="199"/>
                  </a:lnTo>
                  <a:lnTo>
                    <a:pt x="487" y="199"/>
                  </a:lnTo>
                  <a:lnTo>
                    <a:pt x="488" y="197"/>
                  </a:lnTo>
                  <a:lnTo>
                    <a:pt x="488" y="197"/>
                  </a:lnTo>
                  <a:lnTo>
                    <a:pt x="488" y="195"/>
                  </a:lnTo>
                  <a:lnTo>
                    <a:pt x="488" y="195"/>
                  </a:lnTo>
                  <a:lnTo>
                    <a:pt x="488" y="194"/>
                  </a:lnTo>
                  <a:lnTo>
                    <a:pt x="488" y="194"/>
                  </a:lnTo>
                  <a:close/>
                  <a:moveTo>
                    <a:pt x="507" y="117"/>
                  </a:moveTo>
                  <a:lnTo>
                    <a:pt x="507" y="118"/>
                  </a:lnTo>
                  <a:lnTo>
                    <a:pt x="505" y="120"/>
                  </a:lnTo>
                  <a:lnTo>
                    <a:pt x="505" y="120"/>
                  </a:lnTo>
                  <a:lnTo>
                    <a:pt x="507" y="120"/>
                  </a:lnTo>
                  <a:lnTo>
                    <a:pt x="508" y="117"/>
                  </a:lnTo>
                  <a:lnTo>
                    <a:pt x="508" y="117"/>
                  </a:lnTo>
                  <a:lnTo>
                    <a:pt x="508" y="115"/>
                  </a:lnTo>
                  <a:lnTo>
                    <a:pt x="508" y="117"/>
                  </a:lnTo>
                  <a:lnTo>
                    <a:pt x="508" y="118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10" y="117"/>
                  </a:lnTo>
                  <a:lnTo>
                    <a:pt x="510" y="115"/>
                  </a:lnTo>
                  <a:lnTo>
                    <a:pt x="511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1"/>
                  </a:lnTo>
                  <a:lnTo>
                    <a:pt x="510" y="109"/>
                  </a:lnTo>
                  <a:lnTo>
                    <a:pt x="510" y="109"/>
                  </a:lnTo>
                  <a:lnTo>
                    <a:pt x="508" y="111"/>
                  </a:lnTo>
                  <a:lnTo>
                    <a:pt x="508" y="111"/>
                  </a:lnTo>
                  <a:lnTo>
                    <a:pt x="507" y="112"/>
                  </a:lnTo>
                  <a:lnTo>
                    <a:pt x="508" y="112"/>
                  </a:lnTo>
                  <a:lnTo>
                    <a:pt x="508" y="114"/>
                  </a:lnTo>
                  <a:lnTo>
                    <a:pt x="507" y="115"/>
                  </a:lnTo>
                  <a:lnTo>
                    <a:pt x="507" y="117"/>
                  </a:lnTo>
                  <a:close/>
                  <a:moveTo>
                    <a:pt x="453" y="109"/>
                  </a:moveTo>
                  <a:lnTo>
                    <a:pt x="454" y="109"/>
                  </a:lnTo>
                  <a:lnTo>
                    <a:pt x="456" y="108"/>
                  </a:lnTo>
                  <a:lnTo>
                    <a:pt x="456" y="105"/>
                  </a:lnTo>
                  <a:lnTo>
                    <a:pt x="454" y="105"/>
                  </a:lnTo>
                  <a:lnTo>
                    <a:pt x="454" y="103"/>
                  </a:lnTo>
                  <a:lnTo>
                    <a:pt x="453" y="105"/>
                  </a:lnTo>
                  <a:lnTo>
                    <a:pt x="451" y="105"/>
                  </a:lnTo>
                  <a:lnTo>
                    <a:pt x="451" y="106"/>
                  </a:lnTo>
                  <a:lnTo>
                    <a:pt x="451" y="106"/>
                  </a:lnTo>
                  <a:lnTo>
                    <a:pt x="451" y="108"/>
                  </a:lnTo>
                  <a:lnTo>
                    <a:pt x="453" y="109"/>
                  </a:lnTo>
                  <a:close/>
                  <a:moveTo>
                    <a:pt x="525" y="109"/>
                  </a:moveTo>
                  <a:lnTo>
                    <a:pt x="527" y="111"/>
                  </a:lnTo>
                  <a:lnTo>
                    <a:pt x="528" y="111"/>
                  </a:lnTo>
                  <a:lnTo>
                    <a:pt x="528" y="108"/>
                  </a:lnTo>
                  <a:lnTo>
                    <a:pt x="528" y="106"/>
                  </a:lnTo>
                  <a:lnTo>
                    <a:pt x="530" y="105"/>
                  </a:lnTo>
                  <a:lnTo>
                    <a:pt x="530" y="103"/>
                  </a:lnTo>
                  <a:lnTo>
                    <a:pt x="530" y="101"/>
                  </a:lnTo>
                  <a:lnTo>
                    <a:pt x="528" y="103"/>
                  </a:lnTo>
                  <a:lnTo>
                    <a:pt x="528" y="103"/>
                  </a:lnTo>
                  <a:lnTo>
                    <a:pt x="528" y="101"/>
                  </a:lnTo>
                  <a:lnTo>
                    <a:pt x="528" y="100"/>
                  </a:lnTo>
                  <a:lnTo>
                    <a:pt x="527" y="98"/>
                  </a:lnTo>
                  <a:lnTo>
                    <a:pt x="527" y="100"/>
                  </a:lnTo>
                  <a:lnTo>
                    <a:pt x="527" y="100"/>
                  </a:lnTo>
                  <a:lnTo>
                    <a:pt x="527" y="101"/>
                  </a:lnTo>
                  <a:lnTo>
                    <a:pt x="525" y="100"/>
                  </a:lnTo>
                  <a:lnTo>
                    <a:pt x="524" y="100"/>
                  </a:lnTo>
                  <a:lnTo>
                    <a:pt x="524" y="101"/>
                  </a:lnTo>
                  <a:lnTo>
                    <a:pt x="525" y="105"/>
                  </a:lnTo>
                  <a:lnTo>
                    <a:pt x="524" y="109"/>
                  </a:lnTo>
                  <a:lnTo>
                    <a:pt x="525" y="109"/>
                  </a:lnTo>
                  <a:close/>
                  <a:moveTo>
                    <a:pt x="534" y="72"/>
                  </a:moveTo>
                  <a:lnTo>
                    <a:pt x="533" y="72"/>
                  </a:lnTo>
                  <a:lnTo>
                    <a:pt x="531" y="74"/>
                  </a:lnTo>
                  <a:lnTo>
                    <a:pt x="531" y="7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31" y="77"/>
                  </a:lnTo>
                  <a:lnTo>
                    <a:pt x="533" y="77"/>
                  </a:lnTo>
                  <a:lnTo>
                    <a:pt x="534" y="77"/>
                  </a:lnTo>
                  <a:lnTo>
                    <a:pt x="537" y="74"/>
                  </a:lnTo>
                  <a:lnTo>
                    <a:pt x="539" y="72"/>
                  </a:lnTo>
                  <a:lnTo>
                    <a:pt x="539" y="71"/>
                  </a:lnTo>
                  <a:lnTo>
                    <a:pt x="540" y="71"/>
                  </a:lnTo>
                  <a:lnTo>
                    <a:pt x="539" y="69"/>
                  </a:lnTo>
                  <a:lnTo>
                    <a:pt x="539" y="69"/>
                  </a:lnTo>
                  <a:lnTo>
                    <a:pt x="539" y="69"/>
                  </a:lnTo>
                  <a:lnTo>
                    <a:pt x="539" y="71"/>
                  </a:lnTo>
                  <a:lnTo>
                    <a:pt x="536" y="71"/>
                  </a:lnTo>
                  <a:lnTo>
                    <a:pt x="536" y="71"/>
                  </a:lnTo>
                  <a:lnTo>
                    <a:pt x="534" y="72"/>
                  </a:lnTo>
                  <a:lnTo>
                    <a:pt x="534" y="72"/>
                  </a:lnTo>
                  <a:close/>
                  <a:moveTo>
                    <a:pt x="550" y="35"/>
                  </a:moveTo>
                  <a:lnTo>
                    <a:pt x="550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7" y="35"/>
                  </a:lnTo>
                  <a:lnTo>
                    <a:pt x="547" y="34"/>
                  </a:lnTo>
                  <a:lnTo>
                    <a:pt x="547" y="34"/>
                  </a:lnTo>
                  <a:lnTo>
                    <a:pt x="547" y="32"/>
                  </a:lnTo>
                  <a:lnTo>
                    <a:pt x="537" y="32"/>
                  </a:lnTo>
                  <a:lnTo>
                    <a:pt x="537" y="34"/>
                  </a:lnTo>
                  <a:lnTo>
                    <a:pt x="540" y="40"/>
                  </a:lnTo>
                  <a:lnTo>
                    <a:pt x="542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4" y="38"/>
                  </a:lnTo>
                  <a:lnTo>
                    <a:pt x="545" y="38"/>
                  </a:lnTo>
                  <a:lnTo>
                    <a:pt x="547" y="40"/>
                  </a:lnTo>
                  <a:lnTo>
                    <a:pt x="550" y="41"/>
                  </a:lnTo>
                  <a:lnTo>
                    <a:pt x="551" y="38"/>
                  </a:lnTo>
                  <a:lnTo>
                    <a:pt x="551" y="37"/>
                  </a:lnTo>
                  <a:lnTo>
                    <a:pt x="551" y="35"/>
                  </a:lnTo>
                  <a:lnTo>
                    <a:pt x="550" y="35"/>
                  </a:lnTo>
                  <a:lnTo>
                    <a:pt x="550" y="35"/>
                  </a:lnTo>
                  <a:close/>
                  <a:moveTo>
                    <a:pt x="483" y="91"/>
                  </a:moveTo>
                  <a:lnTo>
                    <a:pt x="483" y="92"/>
                  </a:lnTo>
                  <a:lnTo>
                    <a:pt x="485" y="92"/>
                  </a:lnTo>
                  <a:lnTo>
                    <a:pt x="487" y="92"/>
                  </a:lnTo>
                  <a:lnTo>
                    <a:pt x="487" y="94"/>
                  </a:lnTo>
                  <a:lnTo>
                    <a:pt x="487" y="94"/>
                  </a:lnTo>
                  <a:lnTo>
                    <a:pt x="487" y="95"/>
                  </a:lnTo>
                  <a:lnTo>
                    <a:pt x="488" y="95"/>
                  </a:lnTo>
                  <a:lnTo>
                    <a:pt x="490" y="95"/>
                  </a:lnTo>
                  <a:lnTo>
                    <a:pt x="491" y="94"/>
                  </a:lnTo>
                  <a:lnTo>
                    <a:pt x="493" y="92"/>
                  </a:lnTo>
                  <a:lnTo>
                    <a:pt x="493" y="94"/>
                  </a:lnTo>
                  <a:lnTo>
                    <a:pt x="493" y="95"/>
                  </a:lnTo>
                  <a:lnTo>
                    <a:pt x="494" y="95"/>
                  </a:lnTo>
                  <a:lnTo>
                    <a:pt x="494" y="94"/>
                  </a:lnTo>
                  <a:lnTo>
                    <a:pt x="496" y="92"/>
                  </a:lnTo>
                  <a:lnTo>
                    <a:pt x="496" y="91"/>
                  </a:lnTo>
                  <a:lnTo>
                    <a:pt x="497" y="94"/>
                  </a:lnTo>
                  <a:lnTo>
                    <a:pt x="499" y="95"/>
                  </a:lnTo>
                  <a:lnTo>
                    <a:pt x="497" y="95"/>
                  </a:lnTo>
                  <a:lnTo>
                    <a:pt x="496" y="95"/>
                  </a:lnTo>
                  <a:lnTo>
                    <a:pt x="494" y="97"/>
                  </a:lnTo>
                  <a:lnTo>
                    <a:pt x="494" y="98"/>
                  </a:lnTo>
                  <a:lnTo>
                    <a:pt x="494" y="98"/>
                  </a:lnTo>
                  <a:lnTo>
                    <a:pt x="494" y="100"/>
                  </a:lnTo>
                  <a:lnTo>
                    <a:pt x="494" y="100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9" y="105"/>
                  </a:lnTo>
                  <a:lnTo>
                    <a:pt x="500" y="105"/>
                  </a:lnTo>
                  <a:lnTo>
                    <a:pt x="500" y="103"/>
                  </a:lnTo>
                  <a:lnTo>
                    <a:pt x="500" y="101"/>
                  </a:lnTo>
                  <a:lnTo>
                    <a:pt x="500" y="100"/>
                  </a:lnTo>
                  <a:lnTo>
                    <a:pt x="502" y="98"/>
                  </a:lnTo>
                  <a:lnTo>
                    <a:pt x="502" y="101"/>
                  </a:lnTo>
                  <a:lnTo>
                    <a:pt x="503" y="100"/>
                  </a:lnTo>
                  <a:lnTo>
                    <a:pt x="503" y="98"/>
                  </a:lnTo>
                  <a:lnTo>
                    <a:pt x="503" y="95"/>
                  </a:lnTo>
                  <a:lnTo>
                    <a:pt x="505" y="95"/>
                  </a:lnTo>
                  <a:lnTo>
                    <a:pt x="505" y="97"/>
                  </a:lnTo>
                  <a:lnTo>
                    <a:pt x="507" y="98"/>
                  </a:lnTo>
                  <a:lnTo>
                    <a:pt x="507" y="95"/>
                  </a:lnTo>
                  <a:lnTo>
                    <a:pt x="507" y="94"/>
                  </a:lnTo>
                  <a:lnTo>
                    <a:pt x="505" y="92"/>
                  </a:lnTo>
                  <a:lnTo>
                    <a:pt x="503" y="91"/>
                  </a:lnTo>
                  <a:lnTo>
                    <a:pt x="502" y="89"/>
                  </a:lnTo>
                  <a:lnTo>
                    <a:pt x="502" y="89"/>
                  </a:lnTo>
                  <a:lnTo>
                    <a:pt x="505" y="89"/>
                  </a:lnTo>
                  <a:lnTo>
                    <a:pt x="507" y="91"/>
                  </a:lnTo>
                  <a:lnTo>
                    <a:pt x="508" y="94"/>
                  </a:lnTo>
                  <a:lnTo>
                    <a:pt x="508" y="97"/>
                  </a:lnTo>
                  <a:lnTo>
                    <a:pt x="511" y="92"/>
                  </a:lnTo>
                  <a:lnTo>
                    <a:pt x="511" y="91"/>
                  </a:lnTo>
                  <a:lnTo>
                    <a:pt x="513" y="91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1" y="94"/>
                  </a:lnTo>
                  <a:lnTo>
                    <a:pt x="511" y="95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1"/>
                  </a:lnTo>
                  <a:lnTo>
                    <a:pt x="511" y="101"/>
                  </a:lnTo>
                  <a:lnTo>
                    <a:pt x="511" y="100"/>
                  </a:lnTo>
                  <a:lnTo>
                    <a:pt x="513" y="100"/>
                  </a:lnTo>
                  <a:lnTo>
                    <a:pt x="513" y="100"/>
                  </a:lnTo>
                  <a:lnTo>
                    <a:pt x="511" y="103"/>
                  </a:lnTo>
                  <a:lnTo>
                    <a:pt x="511" y="103"/>
                  </a:lnTo>
                  <a:lnTo>
                    <a:pt x="511" y="105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4" y="111"/>
                  </a:lnTo>
                  <a:lnTo>
                    <a:pt x="513" y="112"/>
                  </a:lnTo>
                  <a:lnTo>
                    <a:pt x="511" y="115"/>
                  </a:lnTo>
                  <a:lnTo>
                    <a:pt x="511" y="123"/>
                  </a:lnTo>
                  <a:lnTo>
                    <a:pt x="510" y="126"/>
                  </a:lnTo>
                  <a:lnTo>
                    <a:pt x="508" y="128"/>
                  </a:lnTo>
                  <a:lnTo>
                    <a:pt x="510" y="131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8" y="132"/>
                  </a:lnTo>
                  <a:lnTo>
                    <a:pt x="510" y="134"/>
                  </a:lnTo>
                  <a:lnTo>
                    <a:pt x="510" y="134"/>
                  </a:lnTo>
                  <a:lnTo>
                    <a:pt x="508" y="134"/>
                  </a:lnTo>
                  <a:lnTo>
                    <a:pt x="508" y="134"/>
                  </a:lnTo>
                  <a:lnTo>
                    <a:pt x="507" y="135"/>
                  </a:lnTo>
                  <a:lnTo>
                    <a:pt x="507" y="137"/>
                  </a:lnTo>
                  <a:lnTo>
                    <a:pt x="507" y="138"/>
                  </a:lnTo>
                  <a:lnTo>
                    <a:pt x="505" y="140"/>
                  </a:lnTo>
                  <a:lnTo>
                    <a:pt x="507" y="143"/>
                  </a:lnTo>
                  <a:lnTo>
                    <a:pt x="507" y="143"/>
                  </a:lnTo>
                  <a:lnTo>
                    <a:pt x="510" y="143"/>
                  </a:lnTo>
                  <a:lnTo>
                    <a:pt x="511" y="143"/>
                  </a:lnTo>
                  <a:lnTo>
                    <a:pt x="511" y="145"/>
                  </a:lnTo>
                  <a:lnTo>
                    <a:pt x="510" y="146"/>
                  </a:lnTo>
                  <a:lnTo>
                    <a:pt x="510" y="148"/>
                  </a:lnTo>
                  <a:lnTo>
                    <a:pt x="511" y="148"/>
                  </a:lnTo>
                  <a:lnTo>
                    <a:pt x="511" y="146"/>
                  </a:lnTo>
                  <a:lnTo>
                    <a:pt x="513" y="148"/>
                  </a:lnTo>
                  <a:lnTo>
                    <a:pt x="513" y="149"/>
                  </a:lnTo>
                  <a:lnTo>
                    <a:pt x="513" y="148"/>
                  </a:lnTo>
                  <a:lnTo>
                    <a:pt x="514" y="148"/>
                  </a:lnTo>
                  <a:lnTo>
                    <a:pt x="514" y="146"/>
                  </a:lnTo>
                  <a:lnTo>
                    <a:pt x="513" y="145"/>
                  </a:lnTo>
                  <a:lnTo>
                    <a:pt x="513" y="143"/>
                  </a:lnTo>
                  <a:lnTo>
                    <a:pt x="514" y="142"/>
                  </a:lnTo>
                  <a:lnTo>
                    <a:pt x="513" y="140"/>
                  </a:lnTo>
                  <a:lnTo>
                    <a:pt x="513" y="137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4" y="137"/>
                  </a:lnTo>
                  <a:lnTo>
                    <a:pt x="514" y="134"/>
                  </a:lnTo>
                  <a:lnTo>
                    <a:pt x="516" y="131"/>
                  </a:lnTo>
                  <a:lnTo>
                    <a:pt x="514" y="128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28"/>
                  </a:lnTo>
                  <a:lnTo>
                    <a:pt x="517" y="123"/>
                  </a:lnTo>
                  <a:lnTo>
                    <a:pt x="517" y="122"/>
                  </a:lnTo>
                  <a:lnTo>
                    <a:pt x="517" y="122"/>
                  </a:lnTo>
                  <a:lnTo>
                    <a:pt x="519" y="122"/>
                  </a:lnTo>
                  <a:lnTo>
                    <a:pt x="520" y="120"/>
                  </a:lnTo>
                  <a:lnTo>
                    <a:pt x="520" y="118"/>
                  </a:lnTo>
                  <a:lnTo>
                    <a:pt x="520" y="118"/>
                  </a:lnTo>
                  <a:lnTo>
                    <a:pt x="519" y="117"/>
                  </a:lnTo>
                  <a:lnTo>
                    <a:pt x="517" y="115"/>
                  </a:lnTo>
                  <a:lnTo>
                    <a:pt x="519" y="114"/>
                  </a:lnTo>
                  <a:lnTo>
                    <a:pt x="517" y="112"/>
                  </a:lnTo>
                  <a:lnTo>
                    <a:pt x="517" y="112"/>
                  </a:lnTo>
                  <a:lnTo>
                    <a:pt x="517" y="111"/>
                  </a:lnTo>
                  <a:lnTo>
                    <a:pt x="517" y="111"/>
                  </a:lnTo>
                  <a:lnTo>
                    <a:pt x="519" y="111"/>
                  </a:lnTo>
                  <a:lnTo>
                    <a:pt x="519" y="111"/>
                  </a:lnTo>
                  <a:lnTo>
                    <a:pt x="519" y="109"/>
                  </a:lnTo>
                  <a:lnTo>
                    <a:pt x="519" y="108"/>
                  </a:lnTo>
                  <a:lnTo>
                    <a:pt x="519" y="108"/>
                  </a:lnTo>
                  <a:lnTo>
                    <a:pt x="520" y="106"/>
                  </a:lnTo>
                  <a:lnTo>
                    <a:pt x="522" y="106"/>
                  </a:lnTo>
                  <a:lnTo>
                    <a:pt x="522" y="108"/>
                  </a:lnTo>
                  <a:lnTo>
                    <a:pt x="522" y="106"/>
                  </a:lnTo>
                  <a:lnTo>
                    <a:pt x="522" y="106"/>
                  </a:lnTo>
                  <a:lnTo>
                    <a:pt x="522" y="105"/>
                  </a:lnTo>
                  <a:lnTo>
                    <a:pt x="524" y="105"/>
                  </a:lnTo>
                  <a:lnTo>
                    <a:pt x="524" y="105"/>
                  </a:lnTo>
                  <a:lnTo>
                    <a:pt x="522" y="101"/>
                  </a:lnTo>
                  <a:lnTo>
                    <a:pt x="522" y="100"/>
                  </a:lnTo>
                  <a:lnTo>
                    <a:pt x="522" y="98"/>
                  </a:lnTo>
                  <a:lnTo>
                    <a:pt x="520" y="98"/>
                  </a:lnTo>
                  <a:lnTo>
                    <a:pt x="519" y="101"/>
                  </a:lnTo>
                  <a:lnTo>
                    <a:pt x="519" y="98"/>
                  </a:lnTo>
                  <a:lnTo>
                    <a:pt x="522" y="94"/>
                  </a:lnTo>
                  <a:lnTo>
                    <a:pt x="520" y="94"/>
                  </a:lnTo>
                  <a:lnTo>
                    <a:pt x="520" y="95"/>
                  </a:lnTo>
                  <a:lnTo>
                    <a:pt x="519" y="97"/>
                  </a:lnTo>
                  <a:lnTo>
                    <a:pt x="519" y="95"/>
                  </a:lnTo>
                  <a:lnTo>
                    <a:pt x="519" y="94"/>
                  </a:lnTo>
                  <a:lnTo>
                    <a:pt x="520" y="92"/>
                  </a:lnTo>
                  <a:lnTo>
                    <a:pt x="517" y="92"/>
                  </a:lnTo>
                  <a:lnTo>
                    <a:pt x="517" y="92"/>
                  </a:lnTo>
                  <a:lnTo>
                    <a:pt x="517" y="91"/>
                  </a:lnTo>
                  <a:lnTo>
                    <a:pt x="519" y="91"/>
                  </a:lnTo>
                  <a:lnTo>
                    <a:pt x="519" y="91"/>
                  </a:lnTo>
                  <a:lnTo>
                    <a:pt x="519" y="89"/>
                  </a:lnTo>
                  <a:lnTo>
                    <a:pt x="519" y="89"/>
                  </a:lnTo>
                  <a:lnTo>
                    <a:pt x="519" y="88"/>
                  </a:lnTo>
                  <a:lnTo>
                    <a:pt x="519" y="88"/>
                  </a:lnTo>
                  <a:lnTo>
                    <a:pt x="519" y="86"/>
                  </a:lnTo>
                  <a:lnTo>
                    <a:pt x="519" y="86"/>
                  </a:lnTo>
                  <a:lnTo>
                    <a:pt x="520" y="88"/>
                  </a:lnTo>
                  <a:lnTo>
                    <a:pt x="520" y="89"/>
                  </a:lnTo>
                  <a:lnTo>
                    <a:pt x="522" y="91"/>
                  </a:lnTo>
                  <a:lnTo>
                    <a:pt x="524" y="89"/>
                  </a:lnTo>
                  <a:lnTo>
                    <a:pt x="527" y="86"/>
                  </a:lnTo>
                  <a:lnTo>
                    <a:pt x="527" y="86"/>
                  </a:lnTo>
                  <a:lnTo>
                    <a:pt x="525" y="86"/>
                  </a:lnTo>
                  <a:lnTo>
                    <a:pt x="525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5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8" y="80"/>
                  </a:lnTo>
                  <a:lnTo>
                    <a:pt x="525" y="78"/>
                  </a:lnTo>
                  <a:lnTo>
                    <a:pt x="522" y="77"/>
                  </a:lnTo>
                  <a:lnTo>
                    <a:pt x="520" y="75"/>
                  </a:lnTo>
                  <a:lnTo>
                    <a:pt x="522" y="75"/>
                  </a:lnTo>
                  <a:lnTo>
                    <a:pt x="527" y="74"/>
                  </a:lnTo>
                  <a:lnTo>
                    <a:pt x="528" y="74"/>
                  </a:lnTo>
                  <a:lnTo>
                    <a:pt x="528" y="72"/>
                  </a:lnTo>
                  <a:lnTo>
                    <a:pt x="528" y="71"/>
                  </a:lnTo>
                  <a:lnTo>
                    <a:pt x="528" y="69"/>
                  </a:lnTo>
                  <a:lnTo>
                    <a:pt x="528" y="68"/>
                  </a:lnTo>
                  <a:lnTo>
                    <a:pt x="527" y="68"/>
                  </a:lnTo>
                  <a:lnTo>
                    <a:pt x="527" y="69"/>
                  </a:lnTo>
                  <a:lnTo>
                    <a:pt x="525" y="69"/>
                  </a:lnTo>
                  <a:lnTo>
                    <a:pt x="525" y="71"/>
                  </a:lnTo>
                  <a:lnTo>
                    <a:pt x="525" y="71"/>
                  </a:lnTo>
                  <a:lnTo>
                    <a:pt x="524" y="71"/>
                  </a:lnTo>
                  <a:lnTo>
                    <a:pt x="524" y="69"/>
                  </a:lnTo>
                  <a:lnTo>
                    <a:pt x="525" y="69"/>
                  </a:lnTo>
                  <a:lnTo>
                    <a:pt x="530" y="63"/>
                  </a:lnTo>
                  <a:lnTo>
                    <a:pt x="531" y="60"/>
                  </a:lnTo>
                  <a:lnTo>
                    <a:pt x="530" y="60"/>
                  </a:lnTo>
                  <a:lnTo>
                    <a:pt x="528" y="60"/>
                  </a:lnTo>
                  <a:lnTo>
                    <a:pt x="527" y="63"/>
                  </a:lnTo>
                  <a:lnTo>
                    <a:pt x="527" y="65"/>
                  </a:lnTo>
                  <a:lnTo>
                    <a:pt x="527" y="63"/>
                  </a:lnTo>
                  <a:lnTo>
                    <a:pt x="525" y="63"/>
                  </a:lnTo>
                  <a:lnTo>
                    <a:pt x="525" y="63"/>
                  </a:lnTo>
                  <a:lnTo>
                    <a:pt x="525" y="65"/>
                  </a:lnTo>
                  <a:lnTo>
                    <a:pt x="525" y="65"/>
                  </a:lnTo>
                  <a:lnTo>
                    <a:pt x="524" y="66"/>
                  </a:lnTo>
                  <a:lnTo>
                    <a:pt x="524" y="68"/>
                  </a:lnTo>
                  <a:lnTo>
                    <a:pt x="524" y="68"/>
                  </a:lnTo>
                  <a:lnTo>
                    <a:pt x="524" y="68"/>
                  </a:lnTo>
                  <a:lnTo>
                    <a:pt x="522" y="68"/>
                  </a:lnTo>
                  <a:lnTo>
                    <a:pt x="522" y="69"/>
                  </a:lnTo>
                  <a:lnTo>
                    <a:pt x="522" y="69"/>
                  </a:lnTo>
                  <a:lnTo>
                    <a:pt x="522" y="66"/>
                  </a:lnTo>
                  <a:lnTo>
                    <a:pt x="520" y="66"/>
                  </a:lnTo>
                  <a:lnTo>
                    <a:pt x="519" y="68"/>
                  </a:lnTo>
                  <a:lnTo>
                    <a:pt x="519" y="66"/>
                  </a:lnTo>
                  <a:lnTo>
                    <a:pt x="519" y="65"/>
                  </a:lnTo>
                  <a:lnTo>
                    <a:pt x="519" y="65"/>
                  </a:lnTo>
                  <a:lnTo>
                    <a:pt x="517" y="66"/>
                  </a:lnTo>
                  <a:lnTo>
                    <a:pt x="517" y="66"/>
                  </a:lnTo>
                  <a:lnTo>
                    <a:pt x="516" y="66"/>
                  </a:lnTo>
                  <a:lnTo>
                    <a:pt x="517" y="65"/>
                  </a:lnTo>
                  <a:lnTo>
                    <a:pt x="517" y="65"/>
                  </a:lnTo>
                  <a:lnTo>
                    <a:pt x="519" y="63"/>
                  </a:lnTo>
                  <a:lnTo>
                    <a:pt x="519" y="63"/>
                  </a:lnTo>
                  <a:lnTo>
                    <a:pt x="520" y="63"/>
                  </a:lnTo>
                  <a:lnTo>
                    <a:pt x="522" y="63"/>
                  </a:lnTo>
                  <a:lnTo>
                    <a:pt x="520" y="61"/>
                  </a:lnTo>
                  <a:lnTo>
                    <a:pt x="520" y="61"/>
                  </a:lnTo>
                  <a:lnTo>
                    <a:pt x="522" y="61"/>
                  </a:lnTo>
                  <a:lnTo>
                    <a:pt x="520" y="58"/>
                  </a:lnTo>
                  <a:lnTo>
                    <a:pt x="520" y="58"/>
                  </a:lnTo>
                  <a:lnTo>
                    <a:pt x="520" y="57"/>
                  </a:lnTo>
                  <a:lnTo>
                    <a:pt x="519" y="57"/>
                  </a:lnTo>
                  <a:lnTo>
                    <a:pt x="519" y="55"/>
                  </a:lnTo>
                  <a:lnTo>
                    <a:pt x="519" y="54"/>
                  </a:lnTo>
                  <a:lnTo>
                    <a:pt x="517" y="52"/>
                  </a:lnTo>
                  <a:lnTo>
                    <a:pt x="516" y="52"/>
                  </a:lnTo>
                  <a:lnTo>
                    <a:pt x="516" y="54"/>
                  </a:lnTo>
                  <a:lnTo>
                    <a:pt x="514" y="57"/>
                  </a:lnTo>
                  <a:lnTo>
                    <a:pt x="514" y="57"/>
                  </a:lnTo>
                  <a:lnTo>
                    <a:pt x="514" y="55"/>
                  </a:lnTo>
                  <a:lnTo>
                    <a:pt x="513" y="55"/>
                  </a:lnTo>
                  <a:lnTo>
                    <a:pt x="513" y="55"/>
                  </a:lnTo>
                  <a:lnTo>
                    <a:pt x="511" y="57"/>
                  </a:lnTo>
                  <a:lnTo>
                    <a:pt x="513" y="58"/>
                  </a:lnTo>
                  <a:lnTo>
                    <a:pt x="516" y="61"/>
                  </a:lnTo>
                  <a:lnTo>
                    <a:pt x="511" y="61"/>
                  </a:lnTo>
                  <a:lnTo>
                    <a:pt x="510" y="63"/>
                  </a:lnTo>
                  <a:lnTo>
                    <a:pt x="510" y="66"/>
                  </a:lnTo>
                  <a:lnTo>
                    <a:pt x="508" y="66"/>
                  </a:lnTo>
                  <a:lnTo>
                    <a:pt x="508" y="68"/>
                  </a:lnTo>
                  <a:lnTo>
                    <a:pt x="507" y="68"/>
                  </a:lnTo>
                  <a:lnTo>
                    <a:pt x="505" y="68"/>
                  </a:lnTo>
                  <a:lnTo>
                    <a:pt x="505" y="66"/>
                  </a:lnTo>
                  <a:lnTo>
                    <a:pt x="507" y="65"/>
                  </a:lnTo>
                  <a:lnTo>
                    <a:pt x="508" y="60"/>
                  </a:lnTo>
                  <a:lnTo>
                    <a:pt x="510" y="58"/>
                  </a:lnTo>
                  <a:lnTo>
                    <a:pt x="510" y="57"/>
                  </a:lnTo>
                  <a:lnTo>
                    <a:pt x="510" y="57"/>
                  </a:lnTo>
                  <a:lnTo>
                    <a:pt x="510" y="55"/>
                  </a:lnTo>
                  <a:lnTo>
                    <a:pt x="511" y="54"/>
                  </a:lnTo>
                  <a:lnTo>
                    <a:pt x="511" y="52"/>
                  </a:lnTo>
                  <a:lnTo>
                    <a:pt x="510" y="54"/>
                  </a:lnTo>
                  <a:lnTo>
                    <a:pt x="510" y="54"/>
                  </a:lnTo>
                  <a:lnTo>
                    <a:pt x="508" y="54"/>
                  </a:lnTo>
                  <a:lnTo>
                    <a:pt x="508" y="54"/>
                  </a:lnTo>
                  <a:lnTo>
                    <a:pt x="510" y="49"/>
                  </a:lnTo>
                  <a:lnTo>
                    <a:pt x="510" y="49"/>
                  </a:lnTo>
                  <a:lnTo>
                    <a:pt x="508" y="49"/>
                  </a:lnTo>
                  <a:lnTo>
                    <a:pt x="508" y="49"/>
                  </a:lnTo>
                  <a:lnTo>
                    <a:pt x="508" y="49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10" y="45"/>
                  </a:lnTo>
                  <a:lnTo>
                    <a:pt x="510" y="45"/>
                  </a:lnTo>
                  <a:lnTo>
                    <a:pt x="511" y="43"/>
                  </a:lnTo>
                  <a:lnTo>
                    <a:pt x="510" y="38"/>
                  </a:lnTo>
                  <a:lnTo>
                    <a:pt x="511" y="38"/>
                  </a:lnTo>
                  <a:lnTo>
                    <a:pt x="511" y="38"/>
                  </a:lnTo>
                  <a:lnTo>
                    <a:pt x="511" y="37"/>
                  </a:lnTo>
                  <a:lnTo>
                    <a:pt x="511" y="35"/>
                  </a:lnTo>
                  <a:lnTo>
                    <a:pt x="511" y="35"/>
                  </a:lnTo>
                  <a:lnTo>
                    <a:pt x="511" y="34"/>
                  </a:lnTo>
                  <a:lnTo>
                    <a:pt x="511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0" y="37"/>
                  </a:lnTo>
                  <a:lnTo>
                    <a:pt x="510" y="37"/>
                  </a:lnTo>
                  <a:lnTo>
                    <a:pt x="510" y="38"/>
                  </a:lnTo>
                  <a:lnTo>
                    <a:pt x="508" y="37"/>
                  </a:lnTo>
                  <a:lnTo>
                    <a:pt x="507" y="35"/>
                  </a:lnTo>
                  <a:lnTo>
                    <a:pt x="503" y="35"/>
                  </a:lnTo>
                  <a:lnTo>
                    <a:pt x="502" y="35"/>
                  </a:lnTo>
                  <a:lnTo>
                    <a:pt x="502" y="37"/>
                  </a:lnTo>
                  <a:lnTo>
                    <a:pt x="502" y="37"/>
                  </a:lnTo>
                  <a:lnTo>
                    <a:pt x="502" y="38"/>
                  </a:lnTo>
                  <a:lnTo>
                    <a:pt x="502" y="38"/>
                  </a:lnTo>
                  <a:lnTo>
                    <a:pt x="502" y="40"/>
                  </a:lnTo>
                  <a:lnTo>
                    <a:pt x="502" y="40"/>
                  </a:lnTo>
                  <a:lnTo>
                    <a:pt x="500" y="41"/>
                  </a:lnTo>
                  <a:lnTo>
                    <a:pt x="499" y="41"/>
                  </a:lnTo>
                  <a:lnTo>
                    <a:pt x="499" y="43"/>
                  </a:lnTo>
                  <a:lnTo>
                    <a:pt x="497" y="45"/>
                  </a:lnTo>
                  <a:lnTo>
                    <a:pt x="497" y="46"/>
                  </a:lnTo>
                  <a:lnTo>
                    <a:pt x="499" y="46"/>
                  </a:lnTo>
                  <a:lnTo>
                    <a:pt x="499" y="48"/>
                  </a:lnTo>
                  <a:lnTo>
                    <a:pt x="500" y="49"/>
                  </a:lnTo>
                  <a:lnTo>
                    <a:pt x="500" y="49"/>
                  </a:lnTo>
                  <a:lnTo>
                    <a:pt x="502" y="49"/>
                  </a:lnTo>
                  <a:lnTo>
                    <a:pt x="503" y="49"/>
                  </a:lnTo>
                  <a:lnTo>
                    <a:pt x="505" y="51"/>
                  </a:lnTo>
                  <a:lnTo>
                    <a:pt x="502" y="52"/>
                  </a:lnTo>
                  <a:lnTo>
                    <a:pt x="499" y="51"/>
                  </a:lnTo>
                  <a:lnTo>
                    <a:pt x="497" y="49"/>
                  </a:lnTo>
                  <a:lnTo>
                    <a:pt x="496" y="45"/>
                  </a:lnTo>
                  <a:lnTo>
                    <a:pt x="494" y="43"/>
                  </a:lnTo>
                  <a:lnTo>
                    <a:pt x="494" y="43"/>
                  </a:lnTo>
                  <a:lnTo>
                    <a:pt x="493" y="45"/>
                  </a:lnTo>
                  <a:lnTo>
                    <a:pt x="493" y="46"/>
                  </a:lnTo>
                  <a:lnTo>
                    <a:pt x="493" y="48"/>
                  </a:lnTo>
                  <a:lnTo>
                    <a:pt x="493" y="48"/>
                  </a:lnTo>
                  <a:lnTo>
                    <a:pt x="493" y="49"/>
                  </a:lnTo>
                  <a:lnTo>
                    <a:pt x="491" y="51"/>
                  </a:lnTo>
                  <a:lnTo>
                    <a:pt x="491" y="51"/>
                  </a:lnTo>
                  <a:lnTo>
                    <a:pt x="490" y="51"/>
                  </a:lnTo>
                  <a:lnTo>
                    <a:pt x="490" y="51"/>
                  </a:lnTo>
                  <a:lnTo>
                    <a:pt x="488" y="54"/>
                  </a:lnTo>
                  <a:lnTo>
                    <a:pt x="488" y="55"/>
                  </a:lnTo>
                  <a:lnTo>
                    <a:pt x="488" y="55"/>
                  </a:lnTo>
                  <a:lnTo>
                    <a:pt x="491" y="55"/>
                  </a:lnTo>
                  <a:lnTo>
                    <a:pt x="491" y="55"/>
                  </a:lnTo>
                  <a:lnTo>
                    <a:pt x="493" y="54"/>
                  </a:lnTo>
                  <a:lnTo>
                    <a:pt x="494" y="55"/>
                  </a:lnTo>
                  <a:lnTo>
                    <a:pt x="494" y="55"/>
                  </a:lnTo>
                  <a:lnTo>
                    <a:pt x="496" y="54"/>
                  </a:lnTo>
                  <a:lnTo>
                    <a:pt x="497" y="54"/>
                  </a:lnTo>
                  <a:lnTo>
                    <a:pt x="496" y="55"/>
                  </a:lnTo>
                  <a:lnTo>
                    <a:pt x="496" y="57"/>
                  </a:lnTo>
                  <a:lnTo>
                    <a:pt x="496" y="58"/>
                  </a:lnTo>
                  <a:lnTo>
                    <a:pt x="497" y="58"/>
                  </a:lnTo>
                  <a:lnTo>
                    <a:pt x="499" y="58"/>
                  </a:lnTo>
                  <a:lnTo>
                    <a:pt x="499" y="57"/>
                  </a:lnTo>
                  <a:lnTo>
                    <a:pt x="500" y="54"/>
                  </a:lnTo>
                  <a:lnTo>
                    <a:pt x="500" y="58"/>
                  </a:lnTo>
                  <a:lnTo>
                    <a:pt x="500" y="61"/>
                  </a:lnTo>
                  <a:lnTo>
                    <a:pt x="500" y="63"/>
                  </a:lnTo>
                  <a:lnTo>
                    <a:pt x="502" y="63"/>
                  </a:lnTo>
                  <a:lnTo>
                    <a:pt x="502" y="65"/>
                  </a:lnTo>
                  <a:lnTo>
                    <a:pt x="505" y="65"/>
                  </a:lnTo>
                  <a:lnTo>
                    <a:pt x="505" y="65"/>
                  </a:lnTo>
                  <a:lnTo>
                    <a:pt x="503" y="66"/>
                  </a:lnTo>
                  <a:lnTo>
                    <a:pt x="503" y="68"/>
                  </a:lnTo>
                  <a:lnTo>
                    <a:pt x="503" y="69"/>
                  </a:lnTo>
                  <a:lnTo>
                    <a:pt x="505" y="71"/>
                  </a:lnTo>
                  <a:lnTo>
                    <a:pt x="505" y="71"/>
                  </a:lnTo>
                  <a:lnTo>
                    <a:pt x="507" y="69"/>
                  </a:lnTo>
                  <a:lnTo>
                    <a:pt x="508" y="68"/>
                  </a:lnTo>
                  <a:lnTo>
                    <a:pt x="508" y="71"/>
                  </a:lnTo>
                  <a:lnTo>
                    <a:pt x="510" y="72"/>
                  </a:lnTo>
                  <a:lnTo>
                    <a:pt x="513" y="72"/>
                  </a:lnTo>
                  <a:lnTo>
                    <a:pt x="514" y="74"/>
                  </a:lnTo>
                  <a:lnTo>
                    <a:pt x="510" y="74"/>
                  </a:lnTo>
                  <a:lnTo>
                    <a:pt x="508" y="74"/>
                  </a:lnTo>
                  <a:lnTo>
                    <a:pt x="510" y="77"/>
                  </a:lnTo>
                  <a:lnTo>
                    <a:pt x="508" y="75"/>
                  </a:lnTo>
                  <a:lnTo>
                    <a:pt x="508" y="75"/>
                  </a:lnTo>
                  <a:lnTo>
                    <a:pt x="508" y="75"/>
                  </a:lnTo>
                  <a:lnTo>
                    <a:pt x="507" y="80"/>
                  </a:lnTo>
                  <a:lnTo>
                    <a:pt x="508" y="81"/>
                  </a:lnTo>
                  <a:lnTo>
                    <a:pt x="507" y="83"/>
                  </a:lnTo>
                  <a:lnTo>
                    <a:pt x="507" y="85"/>
                  </a:lnTo>
                  <a:lnTo>
                    <a:pt x="505" y="81"/>
                  </a:lnTo>
                  <a:lnTo>
                    <a:pt x="503" y="78"/>
                  </a:lnTo>
                  <a:lnTo>
                    <a:pt x="502" y="78"/>
                  </a:lnTo>
                  <a:lnTo>
                    <a:pt x="500" y="80"/>
                  </a:lnTo>
                  <a:lnTo>
                    <a:pt x="500" y="81"/>
                  </a:lnTo>
                  <a:lnTo>
                    <a:pt x="500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9" y="83"/>
                  </a:lnTo>
                  <a:lnTo>
                    <a:pt x="500" y="85"/>
                  </a:lnTo>
                  <a:lnTo>
                    <a:pt x="500" y="85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9" y="81"/>
                  </a:lnTo>
                  <a:lnTo>
                    <a:pt x="497" y="80"/>
                  </a:lnTo>
                  <a:lnTo>
                    <a:pt x="494" y="80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3"/>
                  </a:lnTo>
                  <a:lnTo>
                    <a:pt x="491" y="81"/>
                  </a:lnTo>
                  <a:lnTo>
                    <a:pt x="493" y="83"/>
                  </a:lnTo>
                  <a:lnTo>
                    <a:pt x="491" y="83"/>
                  </a:lnTo>
                  <a:lnTo>
                    <a:pt x="490" y="83"/>
                  </a:lnTo>
                  <a:lnTo>
                    <a:pt x="490" y="81"/>
                  </a:lnTo>
                  <a:lnTo>
                    <a:pt x="488" y="80"/>
                  </a:lnTo>
                  <a:lnTo>
                    <a:pt x="487" y="80"/>
                  </a:lnTo>
                  <a:lnTo>
                    <a:pt x="485" y="80"/>
                  </a:lnTo>
                  <a:lnTo>
                    <a:pt x="483" y="81"/>
                  </a:lnTo>
                  <a:lnTo>
                    <a:pt x="483" y="83"/>
                  </a:lnTo>
                  <a:lnTo>
                    <a:pt x="482" y="83"/>
                  </a:lnTo>
                  <a:lnTo>
                    <a:pt x="482" y="85"/>
                  </a:lnTo>
                  <a:lnTo>
                    <a:pt x="482" y="88"/>
                  </a:lnTo>
                  <a:lnTo>
                    <a:pt x="483" y="91"/>
                  </a:lnTo>
                  <a:close/>
                  <a:moveTo>
                    <a:pt x="522" y="51"/>
                  </a:moveTo>
                  <a:lnTo>
                    <a:pt x="524" y="52"/>
                  </a:lnTo>
                  <a:lnTo>
                    <a:pt x="527" y="54"/>
                  </a:lnTo>
                  <a:lnTo>
                    <a:pt x="527" y="52"/>
                  </a:lnTo>
                  <a:lnTo>
                    <a:pt x="525" y="52"/>
                  </a:lnTo>
                  <a:lnTo>
                    <a:pt x="525" y="51"/>
                  </a:lnTo>
                  <a:lnTo>
                    <a:pt x="525" y="51"/>
                  </a:lnTo>
                  <a:lnTo>
                    <a:pt x="527" y="51"/>
                  </a:lnTo>
                  <a:lnTo>
                    <a:pt x="527" y="51"/>
                  </a:lnTo>
                  <a:lnTo>
                    <a:pt x="527" y="52"/>
                  </a:lnTo>
                  <a:lnTo>
                    <a:pt x="530" y="51"/>
                  </a:lnTo>
                  <a:lnTo>
                    <a:pt x="531" y="52"/>
                  </a:lnTo>
                  <a:lnTo>
                    <a:pt x="531" y="52"/>
                  </a:lnTo>
                  <a:lnTo>
                    <a:pt x="531" y="51"/>
                  </a:lnTo>
                  <a:lnTo>
                    <a:pt x="531" y="48"/>
                  </a:lnTo>
                  <a:lnTo>
                    <a:pt x="531" y="48"/>
                  </a:lnTo>
                  <a:lnTo>
                    <a:pt x="530" y="45"/>
                  </a:lnTo>
                  <a:lnTo>
                    <a:pt x="531" y="45"/>
                  </a:lnTo>
                  <a:lnTo>
                    <a:pt x="533" y="43"/>
                  </a:lnTo>
                  <a:lnTo>
                    <a:pt x="533" y="40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0" y="37"/>
                  </a:lnTo>
                  <a:lnTo>
                    <a:pt x="528" y="37"/>
                  </a:lnTo>
                  <a:lnTo>
                    <a:pt x="528" y="35"/>
                  </a:lnTo>
                  <a:lnTo>
                    <a:pt x="530" y="35"/>
                  </a:lnTo>
                  <a:lnTo>
                    <a:pt x="530" y="35"/>
                  </a:lnTo>
                  <a:lnTo>
                    <a:pt x="531" y="35"/>
                  </a:lnTo>
                  <a:lnTo>
                    <a:pt x="533" y="35"/>
                  </a:lnTo>
                  <a:lnTo>
                    <a:pt x="530" y="31"/>
                  </a:lnTo>
                  <a:lnTo>
                    <a:pt x="530" y="29"/>
                  </a:lnTo>
                  <a:lnTo>
                    <a:pt x="528" y="28"/>
                  </a:lnTo>
                  <a:lnTo>
                    <a:pt x="530" y="28"/>
                  </a:lnTo>
                  <a:lnTo>
                    <a:pt x="531" y="29"/>
                  </a:lnTo>
                  <a:lnTo>
                    <a:pt x="534" y="32"/>
                  </a:lnTo>
                  <a:lnTo>
                    <a:pt x="534" y="31"/>
                  </a:lnTo>
                  <a:lnTo>
                    <a:pt x="534" y="29"/>
                  </a:lnTo>
                  <a:lnTo>
                    <a:pt x="533" y="26"/>
                  </a:lnTo>
                  <a:lnTo>
                    <a:pt x="533" y="24"/>
                  </a:lnTo>
                  <a:lnTo>
                    <a:pt x="534" y="23"/>
                  </a:lnTo>
                  <a:lnTo>
                    <a:pt x="534" y="21"/>
                  </a:lnTo>
                  <a:lnTo>
                    <a:pt x="533" y="21"/>
                  </a:lnTo>
                  <a:lnTo>
                    <a:pt x="533" y="21"/>
                  </a:lnTo>
                  <a:lnTo>
                    <a:pt x="533" y="20"/>
                  </a:lnTo>
                  <a:lnTo>
                    <a:pt x="534" y="20"/>
                  </a:lnTo>
                  <a:lnTo>
                    <a:pt x="534" y="20"/>
                  </a:lnTo>
                  <a:lnTo>
                    <a:pt x="534" y="17"/>
                  </a:lnTo>
                  <a:lnTo>
                    <a:pt x="530" y="17"/>
                  </a:lnTo>
                  <a:lnTo>
                    <a:pt x="528" y="17"/>
                  </a:lnTo>
                  <a:lnTo>
                    <a:pt x="528" y="20"/>
                  </a:lnTo>
                  <a:lnTo>
                    <a:pt x="527" y="17"/>
                  </a:lnTo>
                  <a:lnTo>
                    <a:pt x="527" y="17"/>
                  </a:lnTo>
                  <a:lnTo>
                    <a:pt x="525" y="18"/>
                  </a:lnTo>
                  <a:lnTo>
                    <a:pt x="525" y="20"/>
                  </a:lnTo>
                  <a:lnTo>
                    <a:pt x="525" y="21"/>
                  </a:lnTo>
                  <a:lnTo>
                    <a:pt x="524" y="23"/>
                  </a:lnTo>
                  <a:lnTo>
                    <a:pt x="524" y="24"/>
                  </a:lnTo>
                  <a:lnTo>
                    <a:pt x="525" y="24"/>
                  </a:lnTo>
                  <a:lnTo>
                    <a:pt x="525" y="24"/>
                  </a:lnTo>
                  <a:lnTo>
                    <a:pt x="524" y="28"/>
                  </a:lnTo>
                  <a:lnTo>
                    <a:pt x="524" y="28"/>
                  </a:lnTo>
                  <a:lnTo>
                    <a:pt x="524" y="31"/>
                  </a:lnTo>
                  <a:lnTo>
                    <a:pt x="525" y="34"/>
                  </a:lnTo>
                  <a:lnTo>
                    <a:pt x="525" y="35"/>
                  </a:lnTo>
                  <a:lnTo>
                    <a:pt x="525" y="35"/>
                  </a:lnTo>
                  <a:lnTo>
                    <a:pt x="524" y="34"/>
                  </a:lnTo>
                  <a:lnTo>
                    <a:pt x="522" y="32"/>
                  </a:lnTo>
                  <a:lnTo>
                    <a:pt x="524" y="31"/>
                  </a:lnTo>
                  <a:lnTo>
                    <a:pt x="524" y="29"/>
                  </a:lnTo>
                  <a:lnTo>
                    <a:pt x="520" y="31"/>
                  </a:lnTo>
                  <a:lnTo>
                    <a:pt x="520" y="34"/>
                  </a:lnTo>
                  <a:lnTo>
                    <a:pt x="520" y="48"/>
                  </a:lnTo>
                  <a:lnTo>
                    <a:pt x="522" y="51"/>
                  </a:lnTo>
                  <a:close/>
                  <a:moveTo>
                    <a:pt x="536" y="23"/>
                  </a:moveTo>
                  <a:lnTo>
                    <a:pt x="537" y="24"/>
                  </a:lnTo>
                  <a:lnTo>
                    <a:pt x="537" y="24"/>
                  </a:lnTo>
                  <a:lnTo>
                    <a:pt x="540" y="24"/>
                  </a:lnTo>
                  <a:lnTo>
                    <a:pt x="542" y="24"/>
                  </a:lnTo>
                  <a:lnTo>
                    <a:pt x="544" y="24"/>
                  </a:lnTo>
                  <a:lnTo>
                    <a:pt x="544" y="24"/>
                  </a:lnTo>
                  <a:lnTo>
                    <a:pt x="544" y="26"/>
                  </a:lnTo>
                  <a:lnTo>
                    <a:pt x="545" y="26"/>
                  </a:lnTo>
                  <a:lnTo>
                    <a:pt x="545" y="26"/>
                  </a:lnTo>
                  <a:lnTo>
                    <a:pt x="547" y="24"/>
                  </a:lnTo>
                  <a:lnTo>
                    <a:pt x="547" y="23"/>
                  </a:lnTo>
                  <a:lnTo>
                    <a:pt x="545" y="21"/>
                  </a:lnTo>
                  <a:lnTo>
                    <a:pt x="545" y="20"/>
                  </a:lnTo>
                  <a:lnTo>
                    <a:pt x="545" y="18"/>
                  </a:lnTo>
                  <a:lnTo>
                    <a:pt x="548" y="15"/>
                  </a:lnTo>
                  <a:lnTo>
                    <a:pt x="548" y="14"/>
                  </a:lnTo>
                  <a:lnTo>
                    <a:pt x="548" y="14"/>
                  </a:lnTo>
                  <a:lnTo>
                    <a:pt x="547" y="14"/>
                  </a:lnTo>
                  <a:lnTo>
                    <a:pt x="547" y="14"/>
                  </a:lnTo>
                  <a:lnTo>
                    <a:pt x="548" y="14"/>
                  </a:lnTo>
                  <a:lnTo>
                    <a:pt x="548" y="12"/>
                  </a:lnTo>
                  <a:lnTo>
                    <a:pt x="548" y="11"/>
                  </a:lnTo>
                  <a:lnTo>
                    <a:pt x="548" y="9"/>
                  </a:lnTo>
                  <a:lnTo>
                    <a:pt x="550" y="8"/>
                  </a:lnTo>
                  <a:lnTo>
                    <a:pt x="551" y="6"/>
                  </a:lnTo>
                  <a:lnTo>
                    <a:pt x="550" y="6"/>
                  </a:lnTo>
                  <a:lnTo>
                    <a:pt x="550" y="6"/>
                  </a:lnTo>
                  <a:lnTo>
                    <a:pt x="550" y="4"/>
                  </a:lnTo>
                  <a:lnTo>
                    <a:pt x="551" y="4"/>
                  </a:lnTo>
                  <a:lnTo>
                    <a:pt x="551" y="3"/>
                  </a:lnTo>
                  <a:lnTo>
                    <a:pt x="550" y="1"/>
                  </a:lnTo>
                  <a:lnTo>
                    <a:pt x="550" y="1"/>
                  </a:lnTo>
                  <a:lnTo>
                    <a:pt x="548" y="0"/>
                  </a:lnTo>
                  <a:lnTo>
                    <a:pt x="547" y="0"/>
                  </a:lnTo>
                  <a:lnTo>
                    <a:pt x="547" y="0"/>
                  </a:lnTo>
                  <a:lnTo>
                    <a:pt x="547" y="0"/>
                  </a:lnTo>
                  <a:lnTo>
                    <a:pt x="545" y="1"/>
                  </a:lnTo>
                  <a:lnTo>
                    <a:pt x="544" y="6"/>
                  </a:lnTo>
                  <a:lnTo>
                    <a:pt x="544" y="8"/>
                  </a:lnTo>
                  <a:lnTo>
                    <a:pt x="542" y="8"/>
                  </a:lnTo>
                  <a:lnTo>
                    <a:pt x="542" y="9"/>
                  </a:lnTo>
                  <a:lnTo>
                    <a:pt x="542" y="8"/>
                  </a:lnTo>
                  <a:lnTo>
                    <a:pt x="542" y="6"/>
                  </a:lnTo>
                  <a:lnTo>
                    <a:pt x="544" y="6"/>
                  </a:lnTo>
                  <a:lnTo>
                    <a:pt x="544" y="4"/>
                  </a:lnTo>
                  <a:lnTo>
                    <a:pt x="544" y="3"/>
                  </a:lnTo>
                  <a:lnTo>
                    <a:pt x="544" y="1"/>
                  </a:lnTo>
                  <a:lnTo>
                    <a:pt x="544" y="0"/>
                  </a:lnTo>
                  <a:lnTo>
                    <a:pt x="542" y="0"/>
                  </a:lnTo>
                  <a:lnTo>
                    <a:pt x="542" y="1"/>
                  </a:lnTo>
                  <a:lnTo>
                    <a:pt x="542" y="3"/>
                  </a:lnTo>
                  <a:lnTo>
                    <a:pt x="540" y="4"/>
                  </a:lnTo>
                  <a:lnTo>
                    <a:pt x="539" y="6"/>
                  </a:lnTo>
                  <a:lnTo>
                    <a:pt x="537" y="6"/>
                  </a:lnTo>
                  <a:lnTo>
                    <a:pt x="537" y="8"/>
                  </a:lnTo>
                  <a:lnTo>
                    <a:pt x="539" y="9"/>
                  </a:lnTo>
                  <a:lnTo>
                    <a:pt x="539" y="11"/>
                  </a:lnTo>
                  <a:lnTo>
                    <a:pt x="537" y="14"/>
                  </a:lnTo>
                  <a:lnTo>
                    <a:pt x="537" y="14"/>
                  </a:lnTo>
                  <a:lnTo>
                    <a:pt x="537" y="15"/>
                  </a:lnTo>
                  <a:lnTo>
                    <a:pt x="537" y="18"/>
                  </a:lnTo>
                  <a:lnTo>
                    <a:pt x="537" y="20"/>
                  </a:lnTo>
                  <a:lnTo>
                    <a:pt x="536" y="18"/>
                  </a:lnTo>
                  <a:lnTo>
                    <a:pt x="536" y="20"/>
                  </a:lnTo>
                  <a:lnTo>
                    <a:pt x="536" y="20"/>
                  </a:lnTo>
                  <a:lnTo>
                    <a:pt x="536" y="21"/>
                  </a:lnTo>
                  <a:lnTo>
                    <a:pt x="536" y="23"/>
                  </a:lnTo>
                  <a:close/>
                  <a:moveTo>
                    <a:pt x="431" y="1494"/>
                  </a:moveTo>
                  <a:lnTo>
                    <a:pt x="431" y="1494"/>
                  </a:lnTo>
                  <a:lnTo>
                    <a:pt x="431" y="1495"/>
                  </a:lnTo>
                  <a:lnTo>
                    <a:pt x="431" y="1495"/>
                  </a:lnTo>
                  <a:lnTo>
                    <a:pt x="431" y="1495"/>
                  </a:lnTo>
                  <a:lnTo>
                    <a:pt x="431" y="1497"/>
                  </a:lnTo>
                  <a:lnTo>
                    <a:pt x="431" y="1497"/>
                  </a:lnTo>
                  <a:lnTo>
                    <a:pt x="431" y="1497"/>
                  </a:lnTo>
                  <a:lnTo>
                    <a:pt x="431" y="1498"/>
                  </a:lnTo>
                  <a:lnTo>
                    <a:pt x="431" y="1498"/>
                  </a:lnTo>
                  <a:lnTo>
                    <a:pt x="431" y="1497"/>
                  </a:lnTo>
                  <a:lnTo>
                    <a:pt x="433" y="1497"/>
                  </a:lnTo>
                  <a:lnTo>
                    <a:pt x="433" y="1495"/>
                  </a:lnTo>
                  <a:lnTo>
                    <a:pt x="431" y="1494"/>
                  </a:lnTo>
                  <a:close/>
                  <a:moveTo>
                    <a:pt x="419" y="1487"/>
                  </a:moveTo>
                  <a:lnTo>
                    <a:pt x="417" y="1487"/>
                  </a:lnTo>
                  <a:lnTo>
                    <a:pt x="416" y="1489"/>
                  </a:lnTo>
                  <a:lnTo>
                    <a:pt x="413" y="1492"/>
                  </a:lnTo>
                  <a:lnTo>
                    <a:pt x="411" y="1492"/>
                  </a:lnTo>
                  <a:lnTo>
                    <a:pt x="411" y="1492"/>
                  </a:lnTo>
                  <a:lnTo>
                    <a:pt x="410" y="1492"/>
                  </a:lnTo>
                  <a:lnTo>
                    <a:pt x="410" y="1494"/>
                  </a:lnTo>
                  <a:lnTo>
                    <a:pt x="410" y="1495"/>
                  </a:lnTo>
                  <a:lnTo>
                    <a:pt x="410" y="1495"/>
                  </a:lnTo>
                  <a:lnTo>
                    <a:pt x="408" y="1495"/>
                  </a:lnTo>
                  <a:lnTo>
                    <a:pt x="410" y="1495"/>
                  </a:lnTo>
                  <a:lnTo>
                    <a:pt x="416" y="1495"/>
                  </a:lnTo>
                  <a:lnTo>
                    <a:pt x="417" y="1497"/>
                  </a:lnTo>
                  <a:lnTo>
                    <a:pt x="417" y="1497"/>
                  </a:lnTo>
                  <a:lnTo>
                    <a:pt x="417" y="1497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2"/>
                  </a:lnTo>
                  <a:lnTo>
                    <a:pt x="420" y="1490"/>
                  </a:lnTo>
                  <a:lnTo>
                    <a:pt x="420" y="1487"/>
                  </a:lnTo>
                  <a:lnTo>
                    <a:pt x="422" y="1487"/>
                  </a:lnTo>
                  <a:lnTo>
                    <a:pt x="420" y="1486"/>
                  </a:lnTo>
                  <a:lnTo>
                    <a:pt x="419" y="1487"/>
                  </a:lnTo>
                  <a:close/>
                  <a:moveTo>
                    <a:pt x="445" y="1464"/>
                  </a:moveTo>
                  <a:lnTo>
                    <a:pt x="447" y="1463"/>
                  </a:lnTo>
                  <a:lnTo>
                    <a:pt x="447" y="1461"/>
                  </a:lnTo>
                  <a:lnTo>
                    <a:pt x="445" y="1461"/>
                  </a:lnTo>
                  <a:lnTo>
                    <a:pt x="445" y="1461"/>
                  </a:lnTo>
                  <a:lnTo>
                    <a:pt x="445" y="1463"/>
                  </a:lnTo>
                  <a:lnTo>
                    <a:pt x="443" y="1463"/>
                  </a:lnTo>
                  <a:lnTo>
                    <a:pt x="442" y="1463"/>
                  </a:lnTo>
                  <a:lnTo>
                    <a:pt x="442" y="1464"/>
                  </a:lnTo>
                  <a:lnTo>
                    <a:pt x="442" y="1464"/>
                  </a:lnTo>
                  <a:lnTo>
                    <a:pt x="443" y="1464"/>
                  </a:lnTo>
                  <a:lnTo>
                    <a:pt x="445" y="1464"/>
                  </a:lnTo>
                  <a:close/>
                  <a:moveTo>
                    <a:pt x="251" y="938"/>
                  </a:moveTo>
                  <a:lnTo>
                    <a:pt x="251" y="939"/>
                  </a:lnTo>
                  <a:lnTo>
                    <a:pt x="251" y="939"/>
                  </a:lnTo>
                  <a:lnTo>
                    <a:pt x="251" y="939"/>
                  </a:lnTo>
                  <a:lnTo>
                    <a:pt x="252" y="941"/>
                  </a:lnTo>
                  <a:lnTo>
                    <a:pt x="254" y="939"/>
                  </a:lnTo>
                  <a:lnTo>
                    <a:pt x="256" y="938"/>
                  </a:lnTo>
                  <a:lnTo>
                    <a:pt x="257" y="938"/>
                  </a:lnTo>
                  <a:lnTo>
                    <a:pt x="259" y="938"/>
                  </a:lnTo>
                  <a:lnTo>
                    <a:pt x="260" y="939"/>
                  </a:lnTo>
                  <a:lnTo>
                    <a:pt x="262" y="939"/>
                  </a:lnTo>
                  <a:lnTo>
                    <a:pt x="262" y="939"/>
                  </a:lnTo>
                  <a:lnTo>
                    <a:pt x="263" y="939"/>
                  </a:lnTo>
                  <a:lnTo>
                    <a:pt x="263" y="939"/>
                  </a:lnTo>
                  <a:lnTo>
                    <a:pt x="265" y="941"/>
                  </a:lnTo>
                  <a:lnTo>
                    <a:pt x="265" y="938"/>
                  </a:lnTo>
                  <a:lnTo>
                    <a:pt x="266" y="936"/>
                  </a:lnTo>
                  <a:lnTo>
                    <a:pt x="266" y="936"/>
                  </a:lnTo>
                  <a:lnTo>
                    <a:pt x="268" y="936"/>
                  </a:lnTo>
                  <a:lnTo>
                    <a:pt x="269" y="935"/>
                  </a:lnTo>
                  <a:lnTo>
                    <a:pt x="269" y="935"/>
                  </a:lnTo>
                  <a:lnTo>
                    <a:pt x="271" y="933"/>
                  </a:lnTo>
                  <a:lnTo>
                    <a:pt x="274" y="930"/>
                  </a:lnTo>
                  <a:lnTo>
                    <a:pt x="274" y="928"/>
                  </a:lnTo>
                  <a:lnTo>
                    <a:pt x="277" y="927"/>
                  </a:lnTo>
                  <a:lnTo>
                    <a:pt x="279" y="925"/>
                  </a:lnTo>
                  <a:lnTo>
                    <a:pt x="280" y="922"/>
                  </a:lnTo>
                  <a:lnTo>
                    <a:pt x="280" y="919"/>
                  </a:lnTo>
                  <a:lnTo>
                    <a:pt x="282" y="918"/>
                  </a:lnTo>
                  <a:lnTo>
                    <a:pt x="283" y="918"/>
                  </a:lnTo>
                  <a:lnTo>
                    <a:pt x="283" y="918"/>
                  </a:lnTo>
                  <a:lnTo>
                    <a:pt x="283" y="916"/>
                  </a:lnTo>
                  <a:lnTo>
                    <a:pt x="283" y="915"/>
                  </a:lnTo>
                  <a:lnTo>
                    <a:pt x="285" y="915"/>
                  </a:lnTo>
                  <a:lnTo>
                    <a:pt x="285" y="911"/>
                  </a:lnTo>
                  <a:lnTo>
                    <a:pt x="286" y="911"/>
                  </a:lnTo>
                  <a:lnTo>
                    <a:pt x="286" y="911"/>
                  </a:lnTo>
                  <a:lnTo>
                    <a:pt x="286" y="910"/>
                  </a:lnTo>
                  <a:lnTo>
                    <a:pt x="286" y="908"/>
                  </a:lnTo>
                  <a:lnTo>
                    <a:pt x="286" y="908"/>
                  </a:lnTo>
                  <a:lnTo>
                    <a:pt x="285" y="908"/>
                  </a:lnTo>
                  <a:lnTo>
                    <a:pt x="283" y="908"/>
                  </a:lnTo>
                  <a:lnTo>
                    <a:pt x="283" y="907"/>
                  </a:lnTo>
                  <a:lnTo>
                    <a:pt x="283" y="907"/>
                  </a:lnTo>
                  <a:lnTo>
                    <a:pt x="282" y="904"/>
                  </a:lnTo>
                  <a:lnTo>
                    <a:pt x="282" y="904"/>
                  </a:lnTo>
                  <a:lnTo>
                    <a:pt x="282" y="902"/>
                  </a:lnTo>
                  <a:lnTo>
                    <a:pt x="283" y="898"/>
                  </a:lnTo>
                  <a:lnTo>
                    <a:pt x="283" y="895"/>
                  </a:lnTo>
                  <a:lnTo>
                    <a:pt x="282" y="895"/>
                  </a:lnTo>
                  <a:lnTo>
                    <a:pt x="282" y="895"/>
                  </a:lnTo>
                  <a:lnTo>
                    <a:pt x="280" y="896"/>
                  </a:lnTo>
                  <a:lnTo>
                    <a:pt x="277" y="896"/>
                  </a:lnTo>
                  <a:lnTo>
                    <a:pt x="272" y="899"/>
                  </a:lnTo>
                  <a:lnTo>
                    <a:pt x="271" y="901"/>
                  </a:lnTo>
                  <a:lnTo>
                    <a:pt x="268" y="905"/>
                  </a:lnTo>
                  <a:lnTo>
                    <a:pt x="265" y="913"/>
                  </a:lnTo>
                  <a:lnTo>
                    <a:pt x="265" y="915"/>
                  </a:lnTo>
                  <a:lnTo>
                    <a:pt x="262" y="916"/>
                  </a:lnTo>
                  <a:lnTo>
                    <a:pt x="260" y="918"/>
                  </a:lnTo>
                  <a:lnTo>
                    <a:pt x="259" y="919"/>
                  </a:lnTo>
                  <a:lnTo>
                    <a:pt x="257" y="919"/>
                  </a:lnTo>
                  <a:lnTo>
                    <a:pt x="257" y="921"/>
                  </a:lnTo>
                  <a:lnTo>
                    <a:pt x="257" y="921"/>
                  </a:lnTo>
                  <a:lnTo>
                    <a:pt x="257" y="922"/>
                  </a:lnTo>
                  <a:lnTo>
                    <a:pt x="256" y="924"/>
                  </a:lnTo>
                  <a:lnTo>
                    <a:pt x="256" y="925"/>
                  </a:lnTo>
                  <a:lnTo>
                    <a:pt x="256" y="930"/>
                  </a:lnTo>
                  <a:lnTo>
                    <a:pt x="256" y="931"/>
                  </a:lnTo>
                  <a:lnTo>
                    <a:pt x="252" y="936"/>
                  </a:lnTo>
                  <a:lnTo>
                    <a:pt x="252" y="938"/>
                  </a:lnTo>
                  <a:lnTo>
                    <a:pt x="252" y="938"/>
                  </a:lnTo>
                  <a:lnTo>
                    <a:pt x="251" y="938"/>
                  </a:lnTo>
                  <a:close/>
                  <a:moveTo>
                    <a:pt x="457" y="1520"/>
                  </a:moveTo>
                  <a:lnTo>
                    <a:pt x="457" y="1520"/>
                  </a:lnTo>
                  <a:lnTo>
                    <a:pt x="457" y="1518"/>
                  </a:lnTo>
                  <a:lnTo>
                    <a:pt x="454" y="1517"/>
                  </a:lnTo>
                  <a:lnTo>
                    <a:pt x="453" y="1515"/>
                  </a:lnTo>
                  <a:lnTo>
                    <a:pt x="451" y="1515"/>
                  </a:lnTo>
                  <a:lnTo>
                    <a:pt x="451" y="1515"/>
                  </a:lnTo>
                  <a:lnTo>
                    <a:pt x="451" y="1517"/>
                  </a:lnTo>
                  <a:lnTo>
                    <a:pt x="450" y="1515"/>
                  </a:lnTo>
                  <a:lnTo>
                    <a:pt x="448" y="1515"/>
                  </a:lnTo>
                  <a:lnTo>
                    <a:pt x="448" y="1515"/>
                  </a:lnTo>
                  <a:lnTo>
                    <a:pt x="447" y="1515"/>
                  </a:lnTo>
                  <a:lnTo>
                    <a:pt x="447" y="1515"/>
                  </a:lnTo>
                  <a:lnTo>
                    <a:pt x="445" y="1517"/>
                  </a:lnTo>
                  <a:lnTo>
                    <a:pt x="443" y="1517"/>
                  </a:lnTo>
                  <a:lnTo>
                    <a:pt x="443" y="1515"/>
                  </a:lnTo>
                  <a:lnTo>
                    <a:pt x="442" y="1515"/>
                  </a:lnTo>
                  <a:lnTo>
                    <a:pt x="440" y="1515"/>
                  </a:lnTo>
                  <a:lnTo>
                    <a:pt x="440" y="1517"/>
                  </a:lnTo>
                  <a:lnTo>
                    <a:pt x="442" y="1518"/>
                  </a:lnTo>
                  <a:lnTo>
                    <a:pt x="442" y="1521"/>
                  </a:lnTo>
                  <a:lnTo>
                    <a:pt x="442" y="1524"/>
                  </a:lnTo>
                  <a:lnTo>
                    <a:pt x="442" y="1524"/>
                  </a:lnTo>
                  <a:lnTo>
                    <a:pt x="443" y="1523"/>
                  </a:lnTo>
                  <a:lnTo>
                    <a:pt x="443" y="1523"/>
                  </a:lnTo>
                  <a:lnTo>
                    <a:pt x="445" y="1523"/>
                  </a:lnTo>
                  <a:lnTo>
                    <a:pt x="445" y="1524"/>
                  </a:lnTo>
                  <a:lnTo>
                    <a:pt x="447" y="1524"/>
                  </a:lnTo>
                  <a:lnTo>
                    <a:pt x="447" y="1523"/>
                  </a:lnTo>
                  <a:lnTo>
                    <a:pt x="448" y="1523"/>
                  </a:lnTo>
                  <a:lnTo>
                    <a:pt x="448" y="1521"/>
                  </a:lnTo>
                  <a:lnTo>
                    <a:pt x="448" y="1521"/>
                  </a:lnTo>
                  <a:lnTo>
                    <a:pt x="450" y="1521"/>
                  </a:lnTo>
                  <a:lnTo>
                    <a:pt x="450" y="1523"/>
                  </a:lnTo>
                  <a:lnTo>
                    <a:pt x="451" y="1524"/>
                  </a:lnTo>
                  <a:lnTo>
                    <a:pt x="453" y="1524"/>
                  </a:lnTo>
                  <a:lnTo>
                    <a:pt x="456" y="1524"/>
                  </a:lnTo>
                  <a:lnTo>
                    <a:pt x="456" y="1524"/>
                  </a:lnTo>
                  <a:lnTo>
                    <a:pt x="456" y="1526"/>
                  </a:lnTo>
                  <a:lnTo>
                    <a:pt x="457" y="1526"/>
                  </a:lnTo>
                  <a:lnTo>
                    <a:pt x="457" y="1524"/>
                  </a:lnTo>
                  <a:lnTo>
                    <a:pt x="457" y="1523"/>
                  </a:lnTo>
                  <a:lnTo>
                    <a:pt x="457" y="1521"/>
                  </a:lnTo>
                  <a:lnTo>
                    <a:pt x="457" y="1521"/>
                  </a:lnTo>
                  <a:lnTo>
                    <a:pt x="459" y="1521"/>
                  </a:lnTo>
                  <a:lnTo>
                    <a:pt x="457" y="1520"/>
                  </a:lnTo>
                  <a:lnTo>
                    <a:pt x="457" y="152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76"/>
            <p:cNvSpPr>
              <a:spLocks noEditPoints="1"/>
            </p:cNvSpPr>
            <p:nvPr/>
          </p:nvSpPr>
          <p:spPr bwMode="gray">
            <a:xfrm>
              <a:off x="4719638" y="4381501"/>
              <a:ext cx="1173163" cy="2422525"/>
            </a:xfrm>
            <a:custGeom>
              <a:avLst/>
              <a:gdLst>
                <a:gd name="T0" fmla="*/ 259 w 739"/>
                <a:gd name="T1" fmla="*/ 1035 h 1526"/>
                <a:gd name="T2" fmla="*/ 189 w 739"/>
                <a:gd name="T3" fmla="*/ 915 h 1526"/>
                <a:gd name="T4" fmla="*/ 180 w 739"/>
                <a:gd name="T5" fmla="*/ 838 h 1526"/>
                <a:gd name="T6" fmla="*/ 38 w 739"/>
                <a:gd name="T7" fmla="*/ 853 h 1526"/>
                <a:gd name="T8" fmla="*/ 75 w 739"/>
                <a:gd name="T9" fmla="*/ 916 h 1526"/>
                <a:gd name="T10" fmla="*/ 171 w 739"/>
                <a:gd name="T11" fmla="*/ 921 h 1526"/>
                <a:gd name="T12" fmla="*/ 157 w 739"/>
                <a:gd name="T13" fmla="*/ 733 h 1526"/>
                <a:gd name="T14" fmla="*/ 148 w 739"/>
                <a:gd name="T15" fmla="*/ 674 h 1526"/>
                <a:gd name="T16" fmla="*/ 89 w 739"/>
                <a:gd name="T17" fmla="*/ 620 h 1526"/>
                <a:gd name="T18" fmla="*/ 172 w 739"/>
                <a:gd name="T19" fmla="*/ 642 h 1526"/>
                <a:gd name="T20" fmla="*/ 54 w 739"/>
                <a:gd name="T21" fmla="*/ 547 h 1526"/>
                <a:gd name="T22" fmla="*/ 55 w 739"/>
                <a:gd name="T23" fmla="*/ 525 h 1526"/>
                <a:gd name="T24" fmla="*/ 163 w 739"/>
                <a:gd name="T25" fmla="*/ 483 h 1526"/>
                <a:gd name="T26" fmla="*/ 138 w 739"/>
                <a:gd name="T27" fmla="*/ 457 h 1526"/>
                <a:gd name="T28" fmla="*/ 125 w 739"/>
                <a:gd name="T29" fmla="*/ 500 h 1526"/>
                <a:gd name="T30" fmla="*/ 180 w 739"/>
                <a:gd name="T31" fmla="*/ 531 h 1526"/>
                <a:gd name="T32" fmla="*/ 83 w 739"/>
                <a:gd name="T33" fmla="*/ 408 h 1526"/>
                <a:gd name="T34" fmla="*/ 117 w 739"/>
                <a:gd name="T35" fmla="*/ 408 h 1526"/>
                <a:gd name="T36" fmla="*/ 135 w 739"/>
                <a:gd name="T37" fmla="*/ 382 h 1526"/>
                <a:gd name="T38" fmla="*/ 78 w 739"/>
                <a:gd name="T39" fmla="*/ 396 h 1526"/>
                <a:gd name="T40" fmla="*/ 554 w 739"/>
                <a:gd name="T41" fmla="*/ 985 h 1526"/>
                <a:gd name="T42" fmla="*/ 507 w 739"/>
                <a:gd name="T43" fmla="*/ 825 h 1526"/>
                <a:gd name="T44" fmla="*/ 394 w 739"/>
                <a:gd name="T45" fmla="*/ 685 h 1526"/>
                <a:gd name="T46" fmla="*/ 403 w 739"/>
                <a:gd name="T47" fmla="*/ 627 h 1526"/>
                <a:gd name="T48" fmla="*/ 402 w 739"/>
                <a:gd name="T49" fmla="*/ 457 h 1526"/>
                <a:gd name="T50" fmla="*/ 311 w 739"/>
                <a:gd name="T51" fmla="*/ 457 h 1526"/>
                <a:gd name="T52" fmla="*/ 359 w 739"/>
                <a:gd name="T53" fmla="*/ 322 h 1526"/>
                <a:gd name="T54" fmla="*/ 249 w 739"/>
                <a:gd name="T55" fmla="*/ 337 h 1526"/>
                <a:gd name="T56" fmla="*/ 214 w 739"/>
                <a:gd name="T57" fmla="*/ 399 h 1526"/>
                <a:gd name="T58" fmla="*/ 185 w 739"/>
                <a:gd name="T59" fmla="*/ 436 h 1526"/>
                <a:gd name="T60" fmla="*/ 188 w 739"/>
                <a:gd name="T61" fmla="*/ 506 h 1526"/>
                <a:gd name="T62" fmla="*/ 180 w 739"/>
                <a:gd name="T63" fmla="*/ 568 h 1526"/>
                <a:gd name="T64" fmla="*/ 209 w 739"/>
                <a:gd name="T65" fmla="*/ 596 h 1526"/>
                <a:gd name="T66" fmla="*/ 191 w 739"/>
                <a:gd name="T67" fmla="*/ 654 h 1526"/>
                <a:gd name="T68" fmla="*/ 179 w 739"/>
                <a:gd name="T69" fmla="*/ 767 h 1526"/>
                <a:gd name="T70" fmla="*/ 232 w 739"/>
                <a:gd name="T71" fmla="*/ 660 h 1526"/>
                <a:gd name="T72" fmla="*/ 260 w 739"/>
                <a:gd name="T73" fmla="*/ 694 h 1526"/>
                <a:gd name="T74" fmla="*/ 239 w 739"/>
                <a:gd name="T75" fmla="*/ 856 h 1526"/>
                <a:gd name="T76" fmla="*/ 323 w 739"/>
                <a:gd name="T77" fmla="*/ 836 h 1526"/>
                <a:gd name="T78" fmla="*/ 366 w 739"/>
                <a:gd name="T79" fmla="*/ 927 h 1526"/>
                <a:gd name="T80" fmla="*/ 399 w 739"/>
                <a:gd name="T81" fmla="*/ 1036 h 1526"/>
                <a:gd name="T82" fmla="*/ 274 w 739"/>
                <a:gd name="T83" fmla="*/ 1092 h 1526"/>
                <a:gd name="T84" fmla="*/ 226 w 739"/>
                <a:gd name="T85" fmla="*/ 1199 h 1526"/>
                <a:gd name="T86" fmla="*/ 277 w 739"/>
                <a:gd name="T87" fmla="*/ 1224 h 1526"/>
                <a:gd name="T88" fmla="*/ 336 w 739"/>
                <a:gd name="T89" fmla="*/ 1258 h 1526"/>
                <a:gd name="T90" fmla="*/ 316 w 739"/>
                <a:gd name="T91" fmla="*/ 1286 h 1526"/>
                <a:gd name="T92" fmla="*/ 183 w 739"/>
                <a:gd name="T93" fmla="*/ 1418 h 1526"/>
                <a:gd name="T94" fmla="*/ 296 w 739"/>
                <a:gd name="T95" fmla="*/ 1390 h 1526"/>
                <a:gd name="T96" fmla="*/ 363 w 739"/>
                <a:gd name="T97" fmla="*/ 1353 h 1526"/>
                <a:gd name="T98" fmla="*/ 519 w 739"/>
                <a:gd name="T99" fmla="*/ 1338 h 1526"/>
                <a:gd name="T100" fmla="*/ 690 w 739"/>
                <a:gd name="T101" fmla="*/ 1270 h 1526"/>
                <a:gd name="T102" fmla="*/ 702 w 739"/>
                <a:gd name="T103" fmla="*/ 1213 h 1526"/>
                <a:gd name="T104" fmla="*/ 366 w 739"/>
                <a:gd name="T105" fmla="*/ 303 h 1526"/>
                <a:gd name="T106" fmla="*/ 380 w 739"/>
                <a:gd name="T107" fmla="*/ 275 h 1526"/>
                <a:gd name="T108" fmla="*/ 402 w 739"/>
                <a:gd name="T109" fmla="*/ 249 h 1526"/>
                <a:gd name="T110" fmla="*/ 394 w 739"/>
                <a:gd name="T111" fmla="*/ 234 h 1526"/>
                <a:gd name="T112" fmla="*/ 534 w 739"/>
                <a:gd name="T113" fmla="*/ 77 h 1526"/>
                <a:gd name="T114" fmla="*/ 511 w 739"/>
                <a:gd name="T115" fmla="*/ 115 h 1526"/>
                <a:gd name="T116" fmla="*/ 520 w 739"/>
                <a:gd name="T117" fmla="*/ 75 h 1526"/>
                <a:gd name="T118" fmla="*/ 508 w 739"/>
                <a:gd name="T119" fmla="*/ 37 h 1526"/>
                <a:gd name="T120" fmla="*/ 483 w 739"/>
                <a:gd name="T121" fmla="*/ 91 h 1526"/>
                <a:gd name="T122" fmla="*/ 545 w 739"/>
                <a:gd name="T123" fmla="*/ 1 h 1526"/>
                <a:gd name="T124" fmla="*/ 283 w 739"/>
                <a:gd name="T125" fmla="*/ 916 h 1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9" h="1526">
                  <a:moveTo>
                    <a:pt x="138" y="1438"/>
                  </a:moveTo>
                  <a:lnTo>
                    <a:pt x="138" y="1438"/>
                  </a:lnTo>
                  <a:lnTo>
                    <a:pt x="138" y="1441"/>
                  </a:lnTo>
                  <a:lnTo>
                    <a:pt x="138" y="1441"/>
                  </a:lnTo>
                  <a:lnTo>
                    <a:pt x="140" y="1440"/>
                  </a:lnTo>
                  <a:lnTo>
                    <a:pt x="140" y="1440"/>
                  </a:lnTo>
                  <a:lnTo>
                    <a:pt x="138" y="1438"/>
                  </a:lnTo>
                  <a:lnTo>
                    <a:pt x="138" y="1438"/>
                  </a:lnTo>
                  <a:close/>
                  <a:moveTo>
                    <a:pt x="135" y="1435"/>
                  </a:moveTo>
                  <a:lnTo>
                    <a:pt x="135" y="1435"/>
                  </a:lnTo>
                  <a:lnTo>
                    <a:pt x="135" y="1435"/>
                  </a:lnTo>
                  <a:lnTo>
                    <a:pt x="135" y="1435"/>
                  </a:lnTo>
                  <a:lnTo>
                    <a:pt x="135" y="1435"/>
                  </a:lnTo>
                  <a:lnTo>
                    <a:pt x="135" y="1437"/>
                  </a:lnTo>
                  <a:lnTo>
                    <a:pt x="137" y="1437"/>
                  </a:lnTo>
                  <a:lnTo>
                    <a:pt x="137" y="1437"/>
                  </a:lnTo>
                  <a:lnTo>
                    <a:pt x="137" y="1435"/>
                  </a:lnTo>
                  <a:lnTo>
                    <a:pt x="135" y="1435"/>
                  </a:lnTo>
                  <a:close/>
                  <a:moveTo>
                    <a:pt x="527" y="1347"/>
                  </a:moveTo>
                  <a:lnTo>
                    <a:pt x="527" y="1347"/>
                  </a:lnTo>
                  <a:lnTo>
                    <a:pt x="527" y="1347"/>
                  </a:lnTo>
                  <a:lnTo>
                    <a:pt x="527" y="1347"/>
                  </a:lnTo>
                  <a:lnTo>
                    <a:pt x="527" y="1346"/>
                  </a:lnTo>
                  <a:lnTo>
                    <a:pt x="527" y="1346"/>
                  </a:lnTo>
                  <a:lnTo>
                    <a:pt x="525" y="1346"/>
                  </a:lnTo>
                  <a:lnTo>
                    <a:pt x="524" y="1346"/>
                  </a:lnTo>
                  <a:lnTo>
                    <a:pt x="522" y="1346"/>
                  </a:lnTo>
                  <a:lnTo>
                    <a:pt x="511" y="1341"/>
                  </a:lnTo>
                  <a:lnTo>
                    <a:pt x="510" y="1341"/>
                  </a:lnTo>
                  <a:lnTo>
                    <a:pt x="508" y="1341"/>
                  </a:lnTo>
                  <a:lnTo>
                    <a:pt x="505" y="1346"/>
                  </a:lnTo>
                  <a:lnTo>
                    <a:pt x="503" y="1346"/>
                  </a:lnTo>
                  <a:lnTo>
                    <a:pt x="502" y="1347"/>
                  </a:lnTo>
                  <a:lnTo>
                    <a:pt x="502" y="1346"/>
                  </a:lnTo>
                  <a:lnTo>
                    <a:pt x="502" y="1346"/>
                  </a:lnTo>
                  <a:lnTo>
                    <a:pt x="502" y="1346"/>
                  </a:lnTo>
                  <a:lnTo>
                    <a:pt x="496" y="1349"/>
                  </a:lnTo>
                  <a:lnTo>
                    <a:pt x="493" y="1350"/>
                  </a:lnTo>
                  <a:lnTo>
                    <a:pt x="491" y="1353"/>
                  </a:lnTo>
                  <a:lnTo>
                    <a:pt x="493" y="1353"/>
                  </a:lnTo>
                  <a:lnTo>
                    <a:pt x="493" y="1352"/>
                  </a:lnTo>
                  <a:lnTo>
                    <a:pt x="496" y="1352"/>
                  </a:lnTo>
                  <a:lnTo>
                    <a:pt x="497" y="1352"/>
                  </a:lnTo>
                  <a:lnTo>
                    <a:pt x="499" y="1355"/>
                  </a:lnTo>
                  <a:lnTo>
                    <a:pt x="500" y="1355"/>
                  </a:lnTo>
                  <a:lnTo>
                    <a:pt x="510" y="1363"/>
                  </a:lnTo>
                  <a:lnTo>
                    <a:pt x="513" y="1363"/>
                  </a:lnTo>
                  <a:lnTo>
                    <a:pt x="520" y="1361"/>
                  </a:lnTo>
                  <a:lnTo>
                    <a:pt x="520" y="1360"/>
                  </a:lnTo>
                  <a:lnTo>
                    <a:pt x="520" y="1358"/>
                  </a:lnTo>
                  <a:lnTo>
                    <a:pt x="520" y="1357"/>
                  </a:lnTo>
                  <a:lnTo>
                    <a:pt x="520" y="1355"/>
                  </a:lnTo>
                  <a:lnTo>
                    <a:pt x="522" y="1355"/>
                  </a:lnTo>
                  <a:lnTo>
                    <a:pt x="524" y="1353"/>
                  </a:lnTo>
                  <a:lnTo>
                    <a:pt x="525" y="1352"/>
                  </a:lnTo>
                  <a:lnTo>
                    <a:pt x="528" y="1352"/>
                  </a:lnTo>
                  <a:lnTo>
                    <a:pt x="528" y="1352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8" y="1350"/>
                  </a:lnTo>
                  <a:lnTo>
                    <a:pt x="527" y="1347"/>
                  </a:lnTo>
                  <a:lnTo>
                    <a:pt x="527" y="1347"/>
                  </a:lnTo>
                  <a:close/>
                  <a:moveTo>
                    <a:pt x="536" y="1338"/>
                  </a:moveTo>
                  <a:lnTo>
                    <a:pt x="536" y="1336"/>
                  </a:lnTo>
                  <a:lnTo>
                    <a:pt x="536" y="1336"/>
                  </a:lnTo>
                  <a:lnTo>
                    <a:pt x="537" y="1336"/>
                  </a:lnTo>
                  <a:lnTo>
                    <a:pt x="537" y="1335"/>
                  </a:lnTo>
                  <a:lnTo>
                    <a:pt x="537" y="1335"/>
                  </a:lnTo>
                  <a:lnTo>
                    <a:pt x="536" y="1333"/>
                  </a:lnTo>
                  <a:lnTo>
                    <a:pt x="536" y="1333"/>
                  </a:lnTo>
                  <a:lnTo>
                    <a:pt x="533" y="1336"/>
                  </a:lnTo>
                  <a:lnTo>
                    <a:pt x="531" y="1338"/>
                  </a:lnTo>
                  <a:lnTo>
                    <a:pt x="531" y="1338"/>
                  </a:lnTo>
                  <a:lnTo>
                    <a:pt x="537" y="1340"/>
                  </a:lnTo>
                  <a:lnTo>
                    <a:pt x="537" y="1338"/>
                  </a:lnTo>
                  <a:lnTo>
                    <a:pt x="537" y="1338"/>
                  </a:lnTo>
                  <a:lnTo>
                    <a:pt x="536" y="1338"/>
                  </a:lnTo>
                  <a:close/>
                  <a:moveTo>
                    <a:pt x="260" y="1295"/>
                  </a:moveTo>
                  <a:lnTo>
                    <a:pt x="260" y="1293"/>
                  </a:lnTo>
                  <a:lnTo>
                    <a:pt x="260" y="1292"/>
                  </a:lnTo>
                  <a:lnTo>
                    <a:pt x="260" y="1292"/>
                  </a:lnTo>
                  <a:lnTo>
                    <a:pt x="260" y="1290"/>
                  </a:lnTo>
                  <a:lnTo>
                    <a:pt x="260" y="1290"/>
                  </a:lnTo>
                  <a:lnTo>
                    <a:pt x="259" y="1292"/>
                  </a:lnTo>
                  <a:lnTo>
                    <a:pt x="259" y="1293"/>
                  </a:lnTo>
                  <a:lnTo>
                    <a:pt x="260" y="1295"/>
                  </a:lnTo>
                  <a:lnTo>
                    <a:pt x="260" y="1295"/>
                  </a:lnTo>
                  <a:close/>
                  <a:moveTo>
                    <a:pt x="674" y="1264"/>
                  </a:moveTo>
                  <a:lnTo>
                    <a:pt x="674" y="1264"/>
                  </a:lnTo>
                  <a:lnTo>
                    <a:pt x="665" y="1261"/>
                  </a:lnTo>
                  <a:lnTo>
                    <a:pt x="664" y="1261"/>
                  </a:lnTo>
                  <a:lnTo>
                    <a:pt x="664" y="1261"/>
                  </a:lnTo>
                  <a:lnTo>
                    <a:pt x="662" y="1266"/>
                  </a:lnTo>
                  <a:lnTo>
                    <a:pt x="664" y="1266"/>
                  </a:lnTo>
                  <a:lnTo>
                    <a:pt x="664" y="1269"/>
                  </a:lnTo>
                  <a:lnTo>
                    <a:pt x="665" y="1269"/>
                  </a:lnTo>
                  <a:lnTo>
                    <a:pt x="667" y="1270"/>
                  </a:lnTo>
                  <a:lnTo>
                    <a:pt x="676" y="1270"/>
                  </a:lnTo>
                  <a:lnTo>
                    <a:pt x="678" y="1270"/>
                  </a:lnTo>
                  <a:lnTo>
                    <a:pt x="678" y="1269"/>
                  </a:lnTo>
                  <a:lnTo>
                    <a:pt x="678" y="1267"/>
                  </a:lnTo>
                  <a:lnTo>
                    <a:pt x="676" y="1266"/>
                  </a:lnTo>
                  <a:lnTo>
                    <a:pt x="674" y="1264"/>
                  </a:lnTo>
                  <a:close/>
                  <a:moveTo>
                    <a:pt x="266" y="1039"/>
                  </a:moveTo>
                  <a:lnTo>
                    <a:pt x="266" y="1038"/>
                  </a:lnTo>
                  <a:lnTo>
                    <a:pt x="266" y="1036"/>
                  </a:lnTo>
                  <a:lnTo>
                    <a:pt x="265" y="1035"/>
                  </a:lnTo>
                  <a:lnTo>
                    <a:pt x="263" y="1033"/>
                  </a:lnTo>
                  <a:lnTo>
                    <a:pt x="263" y="1033"/>
                  </a:lnTo>
                  <a:lnTo>
                    <a:pt x="262" y="1033"/>
                  </a:lnTo>
                  <a:lnTo>
                    <a:pt x="262" y="1033"/>
                  </a:lnTo>
                  <a:lnTo>
                    <a:pt x="260" y="1033"/>
                  </a:lnTo>
                  <a:lnTo>
                    <a:pt x="259" y="1035"/>
                  </a:lnTo>
                  <a:lnTo>
                    <a:pt x="259" y="1035"/>
                  </a:lnTo>
                  <a:lnTo>
                    <a:pt x="260" y="1038"/>
                  </a:lnTo>
                  <a:lnTo>
                    <a:pt x="260" y="1038"/>
                  </a:lnTo>
                  <a:lnTo>
                    <a:pt x="262" y="1038"/>
                  </a:lnTo>
                  <a:lnTo>
                    <a:pt x="263" y="1038"/>
                  </a:lnTo>
                  <a:lnTo>
                    <a:pt x="263" y="1038"/>
                  </a:lnTo>
                  <a:lnTo>
                    <a:pt x="265" y="1041"/>
                  </a:lnTo>
                  <a:lnTo>
                    <a:pt x="266" y="1042"/>
                  </a:lnTo>
                  <a:lnTo>
                    <a:pt x="268" y="1042"/>
                  </a:lnTo>
                  <a:lnTo>
                    <a:pt x="268" y="1042"/>
                  </a:lnTo>
                  <a:lnTo>
                    <a:pt x="268" y="1041"/>
                  </a:lnTo>
                  <a:lnTo>
                    <a:pt x="268" y="1041"/>
                  </a:lnTo>
                  <a:lnTo>
                    <a:pt x="268" y="1039"/>
                  </a:lnTo>
                  <a:lnTo>
                    <a:pt x="266" y="1039"/>
                  </a:lnTo>
                  <a:close/>
                  <a:moveTo>
                    <a:pt x="289" y="1025"/>
                  </a:moveTo>
                  <a:lnTo>
                    <a:pt x="289" y="1024"/>
                  </a:lnTo>
                  <a:lnTo>
                    <a:pt x="289" y="1022"/>
                  </a:lnTo>
                  <a:lnTo>
                    <a:pt x="288" y="1022"/>
                  </a:lnTo>
                  <a:lnTo>
                    <a:pt x="286" y="1021"/>
                  </a:lnTo>
                  <a:lnTo>
                    <a:pt x="285" y="1021"/>
                  </a:lnTo>
                  <a:lnTo>
                    <a:pt x="279" y="1019"/>
                  </a:lnTo>
                  <a:lnTo>
                    <a:pt x="279" y="1019"/>
                  </a:lnTo>
                  <a:lnTo>
                    <a:pt x="269" y="1022"/>
                  </a:lnTo>
                  <a:lnTo>
                    <a:pt x="268" y="1024"/>
                  </a:lnTo>
                  <a:lnTo>
                    <a:pt x="268" y="1025"/>
                  </a:lnTo>
                  <a:lnTo>
                    <a:pt x="268" y="1027"/>
                  </a:lnTo>
                  <a:lnTo>
                    <a:pt x="268" y="1032"/>
                  </a:lnTo>
                  <a:lnTo>
                    <a:pt x="268" y="1035"/>
                  </a:lnTo>
                  <a:lnTo>
                    <a:pt x="268" y="1036"/>
                  </a:lnTo>
                  <a:lnTo>
                    <a:pt x="268" y="1038"/>
                  </a:lnTo>
                  <a:lnTo>
                    <a:pt x="268" y="1038"/>
                  </a:lnTo>
                  <a:lnTo>
                    <a:pt x="269" y="1041"/>
                  </a:lnTo>
                  <a:lnTo>
                    <a:pt x="271" y="1045"/>
                  </a:lnTo>
                  <a:lnTo>
                    <a:pt x="272" y="1047"/>
                  </a:lnTo>
                  <a:lnTo>
                    <a:pt x="272" y="1047"/>
                  </a:lnTo>
                  <a:lnTo>
                    <a:pt x="272" y="1049"/>
                  </a:lnTo>
                  <a:lnTo>
                    <a:pt x="272" y="1049"/>
                  </a:lnTo>
                  <a:lnTo>
                    <a:pt x="272" y="1049"/>
                  </a:lnTo>
                  <a:lnTo>
                    <a:pt x="272" y="1050"/>
                  </a:lnTo>
                  <a:lnTo>
                    <a:pt x="272" y="1050"/>
                  </a:lnTo>
                  <a:lnTo>
                    <a:pt x="272" y="1050"/>
                  </a:lnTo>
                  <a:lnTo>
                    <a:pt x="274" y="1050"/>
                  </a:lnTo>
                  <a:lnTo>
                    <a:pt x="274" y="1050"/>
                  </a:lnTo>
                  <a:lnTo>
                    <a:pt x="277" y="1053"/>
                  </a:lnTo>
                  <a:lnTo>
                    <a:pt x="277" y="1053"/>
                  </a:lnTo>
                  <a:lnTo>
                    <a:pt x="277" y="1053"/>
                  </a:lnTo>
                  <a:lnTo>
                    <a:pt x="279" y="1050"/>
                  </a:lnTo>
                  <a:lnTo>
                    <a:pt x="280" y="1050"/>
                  </a:lnTo>
                  <a:lnTo>
                    <a:pt x="282" y="1050"/>
                  </a:lnTo>
                  <a:lnTo>
                    <a:pt x="280" y="1052"/>
                  </a:lnTo>
                  <a:lnTo>
                    <a:pt x="280" y="1052"/>
                  </a:lnTo>
                  <a:lnTo>
                    <a:pt x="279" y="1053"/>
                  </a:lnTo>
                  <a:lnTo>
                    <a:pt x="279" y="1053"/>
                  </a:lnTo>
                  <a:lnTo>
                    <a:pt x="279" y="1055"/>
                  </a:lnTo>
                  <a:lnTo>
                    <a:pt x="279" y="1056"/>
                  </a:lnTo>
                  <a:lnTo>
                    <a:pt x="279" y="1056"/>
                  </a:lnTo>
                  <a:lnTo>
                    <a:pt x="280" y="1056"/>
                  </a:lnTo>
                  <a:lnTo>
                    <a:pt x="280" y="1056"/>
                  </a:lnTo>
                  <a:lnTo>
                    <a:pt x="280" y="1056"/>
                  </a:lnTo>
                  <a:lnTo>
                    <a:pt x="280" y="1055"/>
                  </a:lnTo>
                  <a:lnTo>
                    <a:pt x="283" y="1056"/>
                  </a:lnTo>
                  <a:lnTo>
                    <a:pt x="283" y="1056"/>
                  </a:lnTo>
                  <a:lnTo>
                    <a:pt x="285" y="1056"/>
                  </a:lnTo>
                  <a:lnTo>
                    <a:pt x="289" y="1053"/>
                  </a:lnTo>
                  <a:lnTo>
                    <a:pt x="289" y="1052"/>
                  </a:lnTo>
                  <a:lnTo>
                    <a:pt x="292" y="1050"/>
                  </a:lnTo>
                  <a:lnTo>
                    <a:pt x="292" y="1050"/>
                  </a:lnTo>
                  <a:lnTo>
                    <a:pt x="294" y="1050"/>
                  </a:lnTo>
                  <a:lnTo>
                    <a:pt x="294" y="1049"/>
                  </a:lnTo>
                  <a:lnTo>
                    <a:pt x="294" y="1049"/>
                  </a:lnTo>
                  <a:lnTo>
                    <a:pt x="294" y="1047"/>
                  </a:lnTo>
                  <a:lnTo>
                    <a:pt x="294" y="1047"/>
                  </a:lnTo>
                  <a:lnTo>
                    <a:pt x="294" y="1047"/>
                  </a:lnTo>
                  <a:lnTo>
                    <a:pt x="296" y="1045"/>
                  </a:lnTo>
                  <a:lnTo>
                    <a:pt x="297" y="1044"/>
                  </a:lnTo>
                  <a:lnTo>
                    <a:pt x="299" y="1042"/>
                  </a:lnTo>
                  <a:lnTo>
                    <a:pt x="300" y="1042"/>
                  </a:lnTo>
                  <a:lnTo>
                    <a:pt x="303" y="1041"/>
                  </a:lnTo>
                  <a:lnTo>
                    <a:pt x="305" y="1036"/>
                  </a:lnTo>
                  <a:lnTo>
                    <a:pt x="306" y="1035"/>
                  </a:lnTo>
                  <a:lnTo>
                    <a:pt x="306" y="1035"/>
                  </a:lnTo>
                  <a:lnTo>
                    <a:pt x="305" y="1035"/>
                  </a:lnTo>
                  <a:lnTo>
                    <a:pt x="303" y="1035"/>
                  </a:lnTo>
                  <a:lnTo>
                    <a:pt x="302" y="1035"/>
                  </a:lnTo>
                  <a:lnTo>
                    <a:pt x="302" y="1033"/>
                  </a:lnTo>
                  <a:lnTo>
                    <a:pt x="300" y="1033"/>
                  </a:lnTo>
                  <a:lnTo>
                    <a:pt x="300" y="1033"/>
                  </a:lnTo>
                  <a:lnTo>
                    <a:pt x="300" y="1035"/>
                  </a:lnTo>
                  <a:lnTo>
                    <a:pt x="299" y="1035"/>
                  </a:lnTo>
                  <a:lnTo>
                    <a:pt x="299" y="1035"/>
                  </a:lnTo>
                  <a:lnTo>
                    <a:pt x="297" y="1036"/>
                  </a:lnTo>
                  <a:lnTo>
                    <a:pt x="296" y="1036"/>
                  </a:lnTo>
                  <a:lnTo>
                    <a:pt x="294" y="1036"/>
                  </a:lnTo>
                  <a:lnTo>
                    <a:pt x="294" y="1035"/>
                  </a:lnTo>
                  <a:lnTo>
                    <a:pt x="294" y="1033"/>
                  </a:lnTo>
                  <a:lnTo>
                    <a:pt x="294" y="1033"/>
                  </a:lnTo>
                  <a:lnTo>
                    <a:pt x="292" y="1032"/>
                  </a:lnTo>
                  <a:lnTo>
                    <a:pt x="292" y="1030"/>
                  </a:lnTo>
                  <a:lnTo>
                    <a:pt x="292" y="1030"/>
                  </a:lnTo>
                  <a:lnTo>
                    <a:pt x="292" y="1030"/>
                  </a:lnTo>
                  <a:lnTo>
                    <a:pt x="292" y="1029"/>
                  </a:lnTo>
                  <a:lnTo>
                    <a:pt x="292" y="1029"/>
                  </a:lnTo>
                  <a:lnTo>
                    <a:pt x="292" y="1029"/>
                  </a:lnTo>
                  <a:lnTo>
                    <a:pt x="291" y="1027"/>
                  </a:lnTo>
                  <a:lnTo>
                    <a:pt x="289" y="1027"/>
                  </a:lnTo>
                  <a:lnTo>
                    <a:pt x="289" y="1027"/>
                  </a:lnTo>
                  <a:lnTo>
                    <a:pt x="289" y="1025"/>
                  </a:lnTo>
                  <a:close/>
                  <a:moveTo>
                    <a:pt x="186" y="918"/>
                  </a:moveTo>
                  <a:lnTo>
                    <a:pt x="186" y="919"/>
                  </a:lnTo>
                  <a:lnTo>
                    <a:pt x="186" y="919"/>
                  </a:lnTo>
                  <a:lnTo>
                    <a:pt x="188" y="918"/>
                  </a:lnTo>
                  <a:lnTo>
                    <a:pt x="188" y="918"/>
                  </a:lnTo>
                  <a:lnTo>
                    <a:pt x="188" y="915"/>
                  </a:lnTo>
                  <a:lnTo>
                    <a:pt x="189" y="915"/>
                  </a:lnTo>
                  <a:lnTo>
                    <a:pt x="189" y="916"/>
                  </a:lnTo>
                  <a:lnTo>
                    <a:pt x="189" y="915"/>
                  </a:lnTo>
                  <a:lnTo>
                    <a:pt x="192" y="913"/>
                  </a:lnTo>
                  <a:lnTo>
                    <a:pt x="194" y="910"/>
                  </a:lnTo>
                  <a:lnTo>
                    <a:pt x="195" y="907"/>
                  </a:lnTo>
                  <a:lnTo>
                    <a:pt x="194" y="901"/>
                  </a:lnTo>
                  <a:lnTo>
                    <a:pt x="192" y="899"/>
                  </a:lnTo>
                  <a:lnTo>
                    <a:pt x="189" y="899"/>
                  </a:lnTo>
                  <a:lnTo>
                    <a:pt x="186" y="902"/>
                  </a:lnTo>
                  <a:lnTo>
                    <a:pt x="183" y="904"/>
                  </a:lnTo>
                  <a:lnTo>
                    <a:pt x="183" y="902"/>
                  </a:lnTo>
                  <a:lnTo>
                    <a:pt x="186" y="899"/>
                  </a:lnTo>
                  <a:lnTo>
                    <a:pt x="186" y="898"/>
                  </a:lnTo>
                  <a:lnTo>
                    <a:pt x="189" y="891"/>
                  </a:lnTo>
                  <a:lnTo>
                    <a:pt x="188" y="891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89" y="888"/>
                  </a:lnTo>
                  <a:lnTo>
                    <a:pt x="188" y="888"/>
                  </a:lnTo>
                  <a:lnTo>
                    <a:pt x="188" y="888"/>
                  </a:lnTo>
                  <a:lnTo>
                    <a:pt x="188" y="887"/>
                  </a:lnTo>
                  <a:lnTo>
                    <a:pt x="188" y="885"/>
                  </a:lnTo>
                  <a:lnTo>
                    <a:pt x="186" y="884"/>
                  </a:lnTo>
                  <a:lnTo>
                    <a:pt x="186" y="882"/>
                  </a:lnTo>
                  <a:lnTo>
                    <a:pt x="188" y="882"/>
                  </a:lnTo>
                  <a:lnTo>
                    <a:pt x="189" y="882"/>
                  </a:lnTo>
                  <a:lnTo>
                    <a:pt x="188" y="881"/>
                  </a:lnTo>
                  <a:lnTo>
                    <a:pt x="185" y="881"/>
                  </a:lnTo>
                  <a:lnTo>
                    <a:pt x="185" y="881"/>
                  </a:lnTo>
                  <a:lnTo>
                    <a:pt x="185" y="881"/>
                  </a:lnTo>
                  <a:lnTo>
                    <a:pt x="183" y="879"/>
                  </a:lnTo>
                  <a:lnTo>
                    <a:pt x="182" y="879"/>
                  </a:lnTo>
                  <a:lnTo>
                    <a:pt x="183" y="879"/>
                  </a:lnTo>
                  <a:lnTo>
                    <a:pt x="183" y="878"/>
                  </a:lnTo>
                  <a:lnTo>
                    <a:pt x="183" y="876"/>
                  </a:lnTo>
                  <a:lnTo>
                    <a:pt x="183" y="875"/>
                  </a:lnTo>
                  <a:lnTo>
                    <a:pt x="183" y="875"/>
                  </a:lnTo>
                  <a:lnTo>
                    <a:pt x="185" y="875"/>
                  </a:lnTo>
                  <a:lnTo>
                    <a:pt x="188" y="876"/>
                  </a:lnTo>
                  <a:lnTo>
                    <a:pt x="192" y="881"/>
                  </a:lnTo>
                  <a:lnTo>
                    <a:pt x="194" y="882"/>
                  </a:lnTo>
                  <a:lnTo>
                    <a:pt x="194" y="885"/>
                  </a:lnTo>
                  <a:lnTo>
                    <a:pt x="195" y="890"/>
                  </a:lnTo>
                  <a:lnTo>
                    <a:pt x="194" y="891"/>
                  </a:lnTo>
                  <a:lnTo>
                    <a:pt x="192" y="893"/>
                  </a:lnTo>
                  <a:lnTo>
                    <a:pt x="192" y="895"/>
                  </a:lnTo>
                  <a:lnTo>
                    <a:pt x="192" y="896"/>
                  </a:lnTo>
                  <a:lnTo>
                    <a:pt x="192" y="898"/>
                  </a:lnTo>
                  <a:lnTo>
                    <a:pt x="194" y="899"/>
                  </a:lnTo>
                  <a:lnTo>
                    <a:pt x="194" y="899"/>
                  </a:lnTo>
                  <a:lnTo>
                    <a:pt x="195" y="902"/>
                  </a:lnTo>
                  <a:lnTo>
                    <a:pt x="195" y="904"/>
                  </a:lnTo>
                  <a:lnTo>
                    <a:pt x="197" y="905"/>
                  </a:lnTo>
                  <a:lnTo>
                    <a:pt x="199" y="905"/>
                  </a:lnTo>
                  <a:lnTo>
                    <a:pt x="199" y="902"/>
                  </a:lnTo>
                  <a:lnTo>
                    <a:pt x="200" y="902"/>
                  </a:lnTo>
                  <a:lnTo>
                    <a:pt x="199" y="901"/>
                  </a:lnTo>
                  <a:lnTo>
                    <a:pt x="200" y="899"/>
                  </a:lnTo>
                  <a:lnTo>
                    <a:pt x="200" y="899"/>
                  </a:lnTo>
                  <a:lnTo>
                    <a:pt x="202" y="898"/>
                  </a:lnTo>
                  <a:lnTo>
                    <a:pt x="202" y="896"/>
                  </a:lnTo>
                  <a:lnTo>
                    <a:pt x="200" y="893"/>
                  </a:lnTo>
                  <a:lnTo>
                    <a:pt x="202" y="891"/>
                  </a:lnTo>
                  <a:lnTo>
                    <a:pt x="203" y="890"/>
                  </a:lnTo>
                  <a:lnTo>
                    <a:pt x="203" y="888"/>
                  </a:lnTo>
                  <a:lnTo>
                    <a:pt x="203" y="888"/>
                  </a:lnTo>
                  <a:lnTo>
                    <a:pt x="203" y="888"/>
                  </a:lnTo>
                  <a:lnTo>
                    <a:pt x="203" y="887"/>
                  </a:lnTo>
                  <a:lnTo>
                    <a:pt x="203" y="885"/>
                  </a:lnTo>
                  <a:lnTo>
                    <a:pt x="203" y="885"/>
                  </a:lnTo>
                  <a:lnTo>
                    <a:pt x="200" y="882"/>
                  </a:lnTo>
                  <a:lnTo>
                    <a:pt x="200" y="881"/>
                  </a:lnTo>
                  <a:lnTo>
                    <a:pt x="200" y="875"/>
                  </a:lnTo>
                  <a:lnTo>
                    <a:pt x="199" y="875"/>
                  </a:lnTo>
                  <a:lnTo>
                    <a:pt x="199" y="873"/>
                  </a:lnTo>
                  <a:lnTo>
                    <a:pt x="197" y="871"/>
                  </a:lnTo>
                  <a:lnTo>
                    <a:pt x="195" y="867"/>
                  </a:lnTo>
                  <a:lnTo>
                    <a:pt x="195" y="865"/>
                  </a:lnTo>
                  <a:lnTo>
                    <a:pt x="195" y="865"/>
                  </a:lnTo>
                  <a:lnTo>
                    <a:pt x="195" y="864"/>
                  </a:lnTo>
                  <a:lnTo>
                    <a:pt x="194" y="864"/>
                  </a:lnTo>
                  <a:lnTo>
                    <a:pt x="194" y="864"/>
                  </a:lnTo>
                  <a:lnTo>
                    <a:pt x="192" y="862"/>
                  </a:lnTo>
                  <a:lnTo>
                    <a:pt x="192" y="861"/>
                  </a:lnTo>
                  <a:lnTo>
                    <a:pt x="183" y="862"/>
                  </a:lnTo>
                  <a:lnTo>
                    <a:pt x="182" y="862"/>
                  </a:lnTo>
                  <a:lnTo>
                    <a:pt x="182" y="862"/>
                  </a:lnTo>
                  <a:lnTo>
                    <a:pt x="180" y="861"/>
                  </a:lnTo>
                  <a:lnTo>
                    <a:pt x="179" y="862"/>
                  </a:lnTo>
                  <a:lnTo>
                    <a:pt x="175" y="864"/>
                  </a:lnTo>
                  <a:lnTo>
                    <a:pt x="172" y="865"/>
                  </a:lnTo>
                  <a:lnTo>
                    <a:pt x="172" y="865"/>
                  </a:lnTo>
                  <a:lnTo>
                    <a:pt x="171" y="868"/>
                  </a:lnTo>
                  <a:lnTo>
                    <a:pt x="169" y="870"/>
                  </a:lnTo>
                  <a:lnTo>
                    <a:pt x="169" y="870"/>
                  </a:lnTo>
                  <a:lnTo>
                    <a:pt x="169" y="871"/>
                  </a:lnTo>
                  <a:lnTo>
                    <a:pt x="168" y="870"/>
                  </a:lnTo>
                  <a:lnTo>
                    <a:pt x="168" y="870"/>
                  </a:lnTo>
                  <a:lnTo>
                    <a:pt x="168" y="868"/>
                  </a:lnTo>
                  <a:lnTo>
                    <a:pt x="168" y="868"/>
                  </a:lnTo>
                  <a:lnTo>
                    <a:pt x="166" y="867"/>
                  </a:lnTo>
                  <a:lnTo>
                    <a:pt x="168" y="865"/>
                  </a:lnTo>
                  <a:lnTo>
                    <a:pt x="169" y="862"/>
                  </a:lnTo>
                  <a:lnTo>
                    <a:pt x="171" y="861"/>
                  </a:lnTo>
                  <a:lnTo>
                    <a:pt x="172" y="858"/>
                  </a:lnTo>
                  <a:lnTo>
                    <a:pt x="174" y="858"/>
                  </a:lnTo>
                  <a:lnTo>
                    <a:pt x="179" y="856"/>
                  </a:lnTo>
                  <a:lnTo>
                    <a:pt x="182" y="854"/>
                  </a:lnTo>
                  <a:lnTo>
                    <a:pt x="183" y="853"/>
                  </a:lnTo>
                  <a:lnTo>
                    <a:pt x="183" y="850"/>
                  </a:lnTo>
                  <a:lnTo>
                    <a:pt x="185" y="847"/>
                  </a:lnTo>
                  <a:lnTo>
                    <a:pt x="183" y="842"/>
                  </a:lnTo>
                  <a:lnTo>
                    <a:pt x="182" y="841"/>
                  </a:lnTo>
                  <a:lnTo>
                    <a:pt x="180" y="838"/>
                  </a:lnTo>
                  <a:lnTo>
                    <a:pt x="177" y="838"/>
                  </a:lnTo>
                  <a:lnTo>
                    <a:pt x="175" y="839"/>
                  </a:lnTo>
                  <a:lnTo>
                    <a:pt x="180" y="845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0" y="845"/>
                  </a:lnTo>
                  <a:lnTo>
                    <a:pt x="177" y="844"/>
                  </a:lnTo>
                  <a:lnTo>
                    <a:pt x="175" y="842"/>
                  </a:lnTo>
                  <a:lnTo>
                    <a:pt x="175" y="839"/>
                  </a:lnTo>
                  <a:lnTo>
                    <a:pt x="175" y="838"/>
                  </a:lnTo>
                  <a:lnTo>
                    <a:pt x="174" y="836"/>
                  </a:lnTo>
                  <a:lnTo>
                    <a:pt x="174" y="834"/>
                  </a:lnTo>
                  <a:lnTo>
                    <a:pt x="172" y="833"/>
                  </a:lnTo>
                  <a:lnTo>
                    <a:pt x="172" y="833"/>
                  </a:lnTo>
                  <a:lnTo>
                    <a:pt x="171" y="831"/>
                  </a:lnTo>
                  <a:lnTo>
                    <a:pt x="171" y="831"/>
                  </a:lnTo>
                  <a:lnTo>
                    <a:pt x="171" y="830"/>
                  </a:lnTo>
                  <a:lnTo>
                    <a:pt x="169" y="828"/>
                  </a:lnTo>
                  <a:lnTo>
                    <a:pt x="169" y="827"/>
                  </a:lnTo>
                  <a:lnTo>
                    <a:pt x="168" y="825"/>
                  </a:lnTo>
                  <a:lnTo>
                    <a:pt x="166" y="824"/>
                  </a:lnTo>
                  <a:lnTo>
                    <a:pt x="165" y="822"/>
                  </a:lnTo>
                  <a:lnTo>
                    <a:pt x="162" y="822"/>
                  </a:lnTo>
                  <a:lnTo>
                    <a:pt x="162" y="821"/>
                  </a:lnTo>
                  <a:lnTo>
                    <a:pt x="163" y="816"/>
                  </a:lnTo>
                  <a:lnTo>
                    <a:pt x="163" y="814"/>
                  </a:lnTo>
                  <a:lnTo>
                    <a:pt x="163" y="813"/>
                  </a:lnTo>
                  <a:lnTo>
                    <a:pt x="162" y="811"/>
                  </a:lnTo>
                  <a:lnTo>
                    <a:pt x="160" y="811"/>
                  </a:lnTo>
                  <a:lnTo>
                    <a:pt x="160" y="811"/>
                  </a:lnTo>
                  <a:lnTo>
                    <a:pt x="158" y="811"/>
                  </a:lnTo>
                  <a:lnTo>
                    <a:pt x="157" y="811"/>
                  </a:lnTo>
                  <a:lnTo>
                    <a:pt x="157" y="810"/>
                  </a:lnTo>
                  <a:lnTo>
                    <a:pt x="157" y="807"/>
                  </a:lnTo>
                  <a:lnTo>
                    <a:pt x="158" y="805"/>
                  </a:lnTo>
                  <a:lnTo>
                    <a:pt x="158" y="798"/>
                  </a:lnTo>
                  <a:lnTo>
                    <a:pt x="157" y="796"/>
                  </a:lnTo>
                  <a:lnTo>
                    <a:pt x="155" y="793"/>
                  </a:lnTo>
                  <a:lnTo>
                    <a:pt x="154" y="793"/>
                  </a:lnTo>
                  <a:lnTo>
                    <a:pt x="154" y="793"/>
                  </a:lnTo>
                  <a:lnTo>
                    <a:pt x="152" y="791"/>
                  </a:lnTo>
                  <a:lnTo>
                    <a:pt x="149" y="791"/>
                  </a:lnTo>
                  <a:lnTo>
                    <a:pt x="148" y="791"/>
                  </a:lnTo>
                  <a:lnTo>
                    <a:pt x="145" y="793"/>
                  </a:lnTo>
                  <a:lnTo>
                    <a:pt x="143" y="793"/>
                  </a:lnTo>
                  <a:lnTo>
                    <a:pt x="142" y="793"/>
                  </a:lnTo>
                  <a:lnTo>
                    <a:pt x="135" y="788"/>
                  </a:lnTo>
                  <a:lnTo>
                    <a:pt x="132" y="788"/>
                  </a:lnTo>
                  <a:lnTo>
                    <a:pt x="129" y="790"/>
                  </a:lnTo>
                  <a:lnTo>
                    <a:pt x="128" y="790"/>
                  </a:lnTo>
                  <a:lnTo>
                    <a:pt x="126" y="787"/>
                  </a:lnTo>
                  <a:lnTo>
                    <a:pt x="125" y="788"/>
                  </a:lnTo>
                  <a:lnTo>
                    <a:pt x="122" y="788"/>
                  </a:lnTo>
                  <a:lnTo>
                    <a:pt x="122" y="790"/>
                  </a:lnTo>
                  <a:lnTo>
                    <a:pt x="120" y="791"/>
                  </a:lnTo>
                  <a:lnTo>
                    <a:pt x="118" y="793"/>
                  </a:lnTo>
                  <a:lnTo>
                    <a:pt x="114" y="793"/>
                  </a:lnTo>
                  <a:lnTo>
                    <a:pt x="105" y="796"/>
                  </a:lnTo>
                  <a:lnTo>
                    <a:pt x="95" y="798"/>
                  </a:lnTo>
                  <a:lnTo>
                    <a:pt x="94" y="796"/>
                  </a:lnTo>
                  <a:lnTo>
                    <a:pt x="91" y="794"/>
                  </a:lnTo>
                  <a:lnTo>
                    <a:pt x="89" y="794"/>
                  </a:lnTo>
                  <a:lnTo>
                    <a:pt x="89" y="796"/>
                  </a:lnTo>
                  <a:lnTo>
                    <a:pt x="88" y="802"/>
                  </a:lnTo>
                  <a:lnTo>
                    <a:pt x="88" y="804"/>
                  </a:lnTo>
                  <a:lnTo>
                    <a:pt x="86" y="804"/>
                  </a:lnTo>
                  <a:lnTo>
                    <a:pt x="86" y="807"/>
                  </a:lnTo>
                  <a:lnTo>
                    <a:pt x="85" y="808"/>
                  </a:lnTo>
                  <a:lnTo>
                    <a:pt x="85" y="810"/>
                  </a:lnTo>
                  <a:lnTo>
                    <a:pt x="85" y="811"/>
                  </a:lnTo>
                  <a:lnTo>
                    <a:pt x="83" y="813"/>
                  </a:lnTo>
                  <a:lnTo>
                    <a:pt x="81" y="814"/>
                  </a:lnTo>
                  <a:lnTo>
                    <a:pt x="78" y="814"/>
                  </a:lnTo>
                  <a:lnTo>
                    <a:pt x="77" y="814"/>
                  </a:lnTo>
                  <a:lnTo>
                    <a:pt x="74" y="813"/>
                  </a:lnTo>
                  <a:lnTo>
                    <a:pt x="72" y="813"/>
                  </a:lnTo>
                  <a:lnTo>
                    <a:pt x="69" y="813"/>
                  </a:lnTo>
                  <a:lnTo>
                    <a:pt x="68" y="813"/>
                  </a:lnTo>
                  <a:lnTo>
                    <a:pt x="68" y="811"/>
                  </a:lnTo>
                  <a:lnTo>
                    <a:pt x="68" y="811"/>
                  </a:lnTo>
                  <a:lnTo>
                    <a:pt x="66" y="811"/>
                  </a:lnTo>
                  <a:lnTo>
                    <a:pt x="66" y="811"/>
                  </a:lnTo>
                  <a:lnTo>
                    <a:pt x="66" y="813"/>
                  </a:lnTo>
                  <a:lnTo>
                    <a:pt x="65" y="814"/>
                  </a:lnTo>
                  <a:lnTo>
                    <a:pt x="60" y="814"/>
                  </a:lnTo>
                  <a:lnTo>
                    <a:pt x="60" y="814"/>
                  </a:lnTo>
                  <a:lnTo>
                    <a:pt x="58" y="816"/>
                  </a:lnTo>
                  <a:lnTo>
                    <a:pt x="57" y="819"/>
                  </a:lnTo>
                  <a:lnTo>
                    <a:pt x="57" y="821"/>
                  </a:lnTo>
                  <a:lnTo>
                    <a:pt x="57" y="821"/>
                  </a:lnTo>
                  <a:lnTo>
                    <a:pt x="55" y="821"/>
                  </a:lnTo>
                  <a:lnTo>
                    <a:pt x="55" y="822"/>
                  </a:lnTo>
                  <a:lnTo>
                    <a:pt x="57" y="825"/>
                  </a:lnTo>
                  <a:lnTo>
                    <a:pt x="55" y="827"/>
                  </a:lnTo>
                  <a:lnTo>
                    <a:pt x="55" y="827"/>
                  </a:lnTo>
                  <a:lnTo>
                    <a:pt x="55" y="827"/>
                  </a:lnTo>
                  <a:lnTo>
                    <a:pt x="54" y="828"/>
                  </a:lnTo>
                  <a:lnTo>
                    <a:pt x="54" y="828"/>
                  </a:lnTo>
                  <a:lnTo>
                    <a:pt x="54" y="830"/>
                  </a:lnTo>
                  <a:lnTo>
                    <a:pt x="54" y="833"/>
                  </a:lnTo>
                  <a:lnTo>
                    <a:pt x="54" y="834"/>
                  </a:lnTo>
                  <a:lnTo>
                    <a:pt x="52" y="838"/>
                  </a:lnTo>
                  <a:lnTo>
                    <a:pt x="51" y="839"/>
                  </a:lnTo>
                  <a:lnTo>
                    <a:pt x="46" y="847"/>
                  </a:lnTo>
                  <a:lnTo>
                    <a:pt x="46" y="848"/>
                  </a:lnTo>
                  <a:lnTo>
                    <a:pt x="46" y="851"/>
                  </a:lnTo>
                  <a:lnTo>
                    <a:pt x="46" y="853"/>
                  </a:lnTo>
                  <a:lnTo>
                    <a:pt x="46" y="853"/>
                  </a:lnTo>
                  <a:lnTo>
                    <a:pt x="46" y="853"/>
                  </a:lnTo>
                  <a:lnTo>
                    <a:pt x="45" y="853"/>
                  </a:lnTo>
                  <a:lnTo>
                    <a:pt x="45" y="853"/>
                  </a:lnTo>
                  <a:lnTo>
                    <a:pt x="43" y="853"/>
                  </a:lnTo>
                  <a:lnTo>
                    <a:pt x="41" y="853"/>
                  </a:lnTo>
                  <a:lnTo>
                    <a:pt x="38" y="853"/>
                  </a:lnTo>
                  <a:lnTo>
                    <a:pt x="37" y="853"/>
                  </a:lnTo>
                  <a:lnTo>
                    <a:pt x="34" y="856"/>
                  </a:lnTo>
                  <a:lnTo>
                    <a:pt x="32" y="858"/>
                  </a:lnTo>
                  <a:lnTo>
                    <a:pt x="29" y="858"/>
                  </a:lnTo>
                  <a:lnTo>
                    <a:pt x="26" y="856"/>
                  </a:lnTo>
                  <a:lnTo>
                    <a:pt x="24" y="854"/>
                  </a:lnTo>
                  <a:lnTo>
                    <a:pt x="23" y="854"/>
                  </a:lnTo>
                  <a:lnTo>
                    <a:pt x="21" y="858"/>
                  </a:lnTo>
                  <a:lnTo>
                    <a:pt x="17" y="859"/>
                  </a:lnTo>
                  <a:lnTo>
                    <a:pt x="18" y="861"/>
                  </a:lnTo>
                  <a:lnTo>
                    <a:pt x="18" y="861"/>
                  </a:lnTo>
                  <a:lnTo>
                    <a:pt x="18" y="862"/>
                  </a:lnTo>
                  <a:lnTo>
                    <a:pt x="18" y="864"/>
                  </a:lnTo>
                  <a:lnTo>
                    <a:pt x="20" y="864"/>
                  </a:lnTo>
                  <a:lnTo>
                    <a:pt x="21" y="865"/>
                  </a:lnTo>
                  <a:lnTo>
                    <a:pt x="21" y="865"/>
                  </a:lnTo>
                  <a:lnTo>
                    <a:pt x="23" y="867"/>
                  </a:lnTo>
                  <a:lnTo>
                    <a:pt x="23" y="867"/>
                  </a:lnTo>
                  <a:lnTo>
                    <a:pt x="24" y="867"/>
                  </a:lnTo>
                  <a:lnTo>
                    <a:pt x="24" y="867"/>
                  </a:lnTo>
                  <a:lnTo>
                    <a:pt x="26" y="867"/>
                  </a:lnTo>
                  <a:lnTo>
                    <a:pt x="28" y="867"/>
                  </a:lnTo>
                  <a:lnTo>
                    <a:pt x="29" y="868"/>
                  </a:lnTo>
                  <a:lnTo>
                    <a:pt x="31" y="870"/>
                  </a:lnTo>
                  <a:lnTo>
                    <a:pt x="32" y="868"/>
                  </a:lnTo>
                  <a:lnTo>
                    <a:pt x="32" y="868"/>
                  </a:lnTo>
                  <a:lnTo>
                    <a:pt x="34" y="868"/>
                  </a:lnTo>
                  <a:lnTo>
                    <a:pt x="34" y="871"/>
                  </a:lnTo>
                  <a:lnTo>
                    <a:pt x="34" y="871"/>
                  </a:lnTo>
                  <a:lnTo>
                    <a:pt x="34" y="871"/>
                  </a:lnTo>
                  <a:lnTo>
                    <a:pt x="31" y="871"/>
                  </a:lnTo>
                  <a:lnTo>
                    <a:pt x="23" y="879"/>
                  </a:lnTo>
                  <a:lnTo>
                    <a:pt x="20" y="881"/>
                  </a:lnTo>
                  <a:lnTo>
                    <a:pt x="17" y="879"/>
                  </a:lnTo>
                  <a:lnTo>
                    <a:pt x="12" y="879"/>
                  </a:lnTo>
                  <a:lnTo>
                    <a:pt x="11" y="881"/>
                  </a:lnTo>
                  <a:lnTo>
                    <a:pt x="9" y="882"/>
                  </a:lnTo>
                  <a:lnTo>
                    <a:pt x="8" y="884"/>
                  </a:lnTo>
                  <a:lnTo>
                    <a:pt x="8" y="885"/>
                  </a:lnTo>
                  <a:lnTo>
                    <a:pt x="6" y="885"/>
                  </a:lnTo>
                  <a:lnTo>
                    <a:pt x="4" y="887"/>
                  </a:lnTo>
                  <a:lnTo>
                    <a:pt x="1" y="888"/>
                  </a:lnTo>
                  <a:lnTo>
                    <a:pt x="0" y="888"/>
                  </a:lnTo>
                  <a:lnTo>
                    <a:pt x="0" y="888"/>
                  </a:lnTo>
                  <a:lnTo>
                    <a:pt x="0" y="890"/>
                  </a:lnTo>
                  <a:lnTo>
                    <a:pt x="0" y="891"/>
                  </a:lnTo>
                  <a:lnTo>
                    <a:pt x="0" y="891"/>
                  </a:lnTo>
                  <a:lnTo>
                    <a:pt x="1" y="893"/>
                  </a:lnTo>
                  <a:lnTo>
                    <a:pt x="3" y="895"/>
                  </a:lnTo>
                  <a:lnTo>
                    <a:pt x="6" y="899"/>
                  </a:lnTo>
                  <a:lnTo>
                    <a:pt x="8" y="901"/>
                  </a:lnTo>
                  <a:lnTo>
                    <a:pt x="9" y="902"/>
                  </a:lnTo>
                  <a:lnTo>
                    <a:pt x="12" y="902"/>
                  </a:lnTo>
                  <a:lnTo>
                    <a:pt x="14" y="907"/>
                  </a:lnTo>
                  <a:lnTo>
                    <a:pt x="14" y="908"/>
                  </a:lnTo>
                  <a:lnTo>
                    <a:pt x="15" y="910"/>
                  </a:lnTo>
                  <a:lnTo>
                    <a:pt x="17" y="910"/>
                  </a:lnTo>
                  <a:lnTo>
                    <a:pt x="17" y="910"/>
                  </a:lnTo>
                  <a:lnTo>
                    <a:pt x="20" y="910"/>
                  </a:lnTo>
                  <a:lnTo>
                    <a:pt x="21" y="911"/>
                  </a:lnTo>
                  <a:lnTo>
                    <a:pt x="21" y="913"/>
                  </a:lnTo>
                  <a:lnTo>
                    <a:pt x="21" y="919"/>
                  </a:lnTo>
                  <a:lnTo>
                    <a:pt x="23" y="921"/>
                  </a:lnTo>
                  <a:lnTo>
                    <a:pt x="24" y="922"/>
                  </a:lnTo>
                  <a:lnTo>
                    <a:pt x="28" y="922"/>
                  </a:lnTo>
                  <a:lnTo>
                    <a:pt x="32" y="922"/>
                  </a:lnTo>
                  <a:lnTo>
                    <a:pt x="34" y="922"/>
                  </a:lnTo>
                  <a:lnTo>
                    <a:pt x="40" y="927"/>
                  </a:lnTo>
                  <a:lnTo>
                    <a:pt x="40" y="927"/>
                  </a:lnTo>
                  <a:lnTo>
                    <a:pt x="40" y="928"/>
                  </a:lnTo>
                  <a:lnTo>
                    <a:pt x="40" y="930"/>
                  </a:lnTo>
                  <a:lnTo>
                    <a:pt x="41" y="930"/>
                  </a:lnTo>
                  <a:lnTo>
                    <a:pt x="49" y="931"/>
                  </a:lnTo>
                  <a:lnTo>
                    <a:pt x="51" y="931"/>
                  </a:lnTo>
                  <a:lnTo>
                    <a:pt x="54" y="928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5" y="930"/>
                  </a:lnTo>
                  <a:lnTo>
                    <a:pt x="57" y="930"/>
                  </a:lnTo>
                  <a:lnTo>
                    <a:pt x="57" y="931"/>
                  </a:lnTo>
                  <a:lnTo>
                    <a:pt x="57" y="931"/>
                  </a:lnTo>
                  <a:lnTo>
                    <a:pt x="57" y="933"/>
                  </a:lnTo>
                  <a:lnTo>
                    <a:pt x="58" y="931"/>
                  </a:lnTo>
                  <a:lnTo>
                    <a:pt x="61" y="933"/>
                  </a:lnTo>
                  <a:lnTo>
                    <a:pt x="63" y="933"/>
                  </a:lnTo>
                  <a:lnTo>
                    <a:pt x="63" y="933"/>
                  </a:lnTo>
                  <a:lnTo>
                    <a:pt x="61" y="930"/>
                  </a:lnTo>
                  <a:lnTo>
                    <a:pt x="61" y="928"/>
                  </a:lnTo>
                  <a:lnTo>
                    <a:pt x="61" y="928"/>
                  </a:lnTo>
                  <a:lnTo>
                    <a:pt x="65" y="927"/>
                  </a:lnTo>
                  <a:lnTo>
                    <a:pt x="65" y="927"/>
                  </a:lnTo>
                  <a:lnTo>
                    <a:pt x="65" y="928"/>
                  </a:lnTo>
                  <a:lnTo>
                    <a:pt x="65" y="928"/>
                  </a:lnTo>
                  <a:lnTo>
                    <a:pt x="65" y="930"/>
                  </a:lnTo>
                  <a:lnTo>
                    <a:pt x="65" y="931"/>
                  </a:lnTo>
                  <a:lnTo>
                    <a:pt x="65" y="931"/>
                  </a:lnTo>
                  <a:lnTo>
                    <a:pt x="66" y="931"/>
                  </a:lnTo>
                  <a:lnTo>
                    <a:pt x="66" y="931"/>
                  </a:lnTo>
                  <a:lnTo>
                    <a:pt x="68" y="930"/>
                  </a:lnTo>
                  <a:lnTo>
                    <a:pt x="68" y="928"/>
                  </a:lnTo>
                  <a:lnTo>
                    <a:pt x="66" y="927"/>
                  </a:lnTo>
                  <a:lnTo>
                    <a:pt x="68" y="927"/>
                  </a:lnTo>
                  <a:lnTo>
                    <a:pt x="68" y="925"/>
                  </a:lnTo>
                  <a:lnTo>
                    <a:pt x="68" y="925"/>
                  </a:lnTo>
                  <a:lnTo>
                    <a:pt x="68" y="925"/>
                  </a:lnTo>
                  <a:lnTo>
                    <a:pt x="68" y="924"/>
                  </a:lnTo>
                  <a:lnTo>
                    <a:pt x="68" y="922"/>
                  </a:lnTo>
                  <a:lnTo>
                    <a:pt x="69" y="922"/>
                  </a:lnTo>
                  <a:lnTo>
                    <a:pt x="69" y="921"/>
                  </a:lnTo>
                  <a:lnTo>
                    <a:pt x="74" y="921"/>
                  </a:lnTo>
                  <a:lnTo>
                    <a:pt x="75" y="919"/>
                  </a:lnTo>
                  <a:lnTo>
                    <a:pt x="75" y="918"/>
                  </a:lnTo>
                  <a:lnTo>
                    <a:pt x="75" y="916"/>
                  </a:lnTo>
                  <a:lnTo>
                    <a:pt x="72" y="913"/>
                  </a:lnTo>
                  <a:lnTo>
                    <a:pt x="74" y="911"/>
                  </a:lnTo>
                  <a:lnTo>
                    <a:pt x="71" y="910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2" y="910"/>
                  </a:lnTo>
                  <a:lnTo>
                    <a:pt x="72" y="908"/>
                  </a:lnTo>
                  <a:lnTo>
                    <a:pt x="72" y="908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7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2" y="905"/>
                  </a:lnTo>
                  <a:lnTo>
                    <a:pt x="74" y="905"/>
                  </a:lnTo>
                  <a:lnTo>
                    <a:pt x="75" y="905"/>
                  </a:lnTo>
                  <a:lnTo>
                    <a:pt x="77" y="904"/>
                  </a:lnTo>
                  <a:lnTo>
                    <a:pt x="80" y="898"/>
                  </a:lnTo>
                  <a:lnTo>
                    <a:pt x="83" y="896"/>
                  </a:lnTo>
                  <a:lnTo>
                    <a:pt x="85" y="895"/>
                  </a:lnTo>
                  <a:lnTo>
                    <a:pt x="88" y="896"/>
                  </a:lnTo>
                  <a:lnTo>
                    <a:pt x="92" y="901"/>
                  </a:lnTo>
                  <a:lnTo>
                    <a:pt x="92" y="901"/>
                  </a:lnTo>
                  <a:lnTo>
                    <a:pt x="94" y="904"/>
                  </a:lnTo>
                  <a:lnTo>
                    <a:pt x="94" y="904"/>
                  </a:lnTo>
                  <a:lnTo>
                    <a:pt x="95" y="904"/>
                  </a:lnTo>
                  <a:lnTo>
                    <a:pt x="95" y="904"/>
                  </a:lnTo>
                  <a:lnTo>
                    <a:pt x="97" y="907"/>
                  </a:lnTo>
                  <a:lnTo>
                    <a:pt x="97" y="908"/>
                  </a:lnTo>
                  <a:lnTo>
                    <a:pt x="97" y="910"/>
                  </a:lnTo>
                  <a:lnTo>
                    <a:pt x="97" y="911"/>
                  </a:lnTo>
                  <a:lnTo>
                    <a:pt x="95" y="913"/>
                  </a:lnTo>
                  <a:lnTo>
                    <a:pt x="98" y="915"/>
                  </a:lnTo>
                  <a:lnTo>
                    <a:pt x="98" y="915"/>
                  </a:lnTo>
                  <a:lnTo>
                    <a:pt x="98" y="916"/>
                  </a:lnTo>
                  <a:lnTo>
                    <a:pt x="98" y="918"/>
                  </a:lnTo>
                  <a:lnTo>
                    <a:pt x="100" y="918"/>
                  </a:lnTo>
                  <a:lnTo>
                    <a:pt x="101" y="921"/>
                  </a:lnTo>
                  <a:lnTo>
                    <a:pt x="103" y="922"/>
                  </a:lnTo>
                  <a:lnTo>
                    <a:pt x="105" y="924"/>
                  </a:lnTo>
                  <a:lnTo>
                    <a:pt x="106" y="924"/>
                  </a:lnTo>
                  <a:lnTo>
                    <a:pt x="106" y="924"/>
                  </a:lnTo>
                  <a:lnTo>
                    <a:pt x="108" y="924"/>
                  </a:lnTo>
                  <a:lnTo>
                    <a:pt x="108" y="922"/>
                  </a:lnTo>
                  <a:lnTo>
                    <a:pt x="108" y="922"/>
                  </a:lnTo>
                  <a:lnTo>
                    <a:pt x="109" y="922"/>
                  </a:lnTo>
                  <a:lnTo>
                    <a:pt x="111" y="924"/>
                  </a:lnTo>
                  <a:lnTo>
                    <a:pt x="112" y="924"/>
                  </a:lnTo>
                  <a:lnTo>
                    <a:pt x="112" y="925"/>
                  </a:lnTo>
                  <a:lnTo>
                    <a:pt x="114" y="927"/>
                  </a:lnTo>
                  <a:lnTo>
                    <a:pt x="114" y="928"/>
                  </a:lnTo>
                  <a:lnTo>
                    <a:pt x="112" y="931"/>
                  </a:lnTo>
                  <a:lnTo>
                    <a:pt x="111" y="933"/>
                  </a:lnTo>
                  <a:lnTo>
                    <a:pt x="112" y="935"/>
                  </a:lnTo>
                  <a:lnTo>
                    <a:pt x="112" y="936"/>
                  </a:lnTo>
                  <a:lnTo>
                    <a:pt x="111" y="939"/>
                  </a:lnTo>
                  <a:lnTo>
                    <a:pt x="112" y="939"/>
                  </a:lnTo>
                  <a:lnTo>
                    <a:pt x="114" y="942"/>
                  </a:lnTo>
                  <a:lnTo>
                    <a:pt x="115" y="942"/>
                  </a:lnTo>
                  <a:lnTo>
                    <a:pt x="115" y="942"/>
                  </a:lnTo>
                  <a:lnTo>
                    <a:pt x="115" y="942"/>
                  </a:lnTo>
                  <a:lnTo>
                    <a:pt x="117" y="941"/>
                  </a:lnTo>
                  <a:lnTo>
                    <a:pt x="117" y="941"/>
                  </a:lnTo>
                  <a:lnTo>
                    <a:pt x="117" y="941"/>
                  </a:lnTo>
                  <a:lnTo>
                    <a:pt x="118" y="941"/>
                  </a:lnTo>
                  <a:lnTo>
                    <a:pt x="118" y="941"/>
                  </a:lnTo>
                  <a:lnTo>
                    <a:pt x="125" y="939"/>
                  </a:lnTo>
                  <a:lnTo>
                    <a:pt x="128" y="939"/>
                  </a:lnTo>
                  <a:lnTo>
                    <a:pt x="128" y="939"/>
                  </a:lnTo>
                  <a:lnTo>
                    <a:pt x="128" y="939"/>
                  </a:lnTo>
                  <a:lnTo>
                    <a:pt x="128" y="941"/>
                  </a:lnTo>
                  <a:lnTo>
                    <a:pt x="129" y="941"/>
                  </a:lnTo>
                  <a:lnTo>
                    <a:pt x="129" y="941"/>
                  </a:lnTo>
                  <a:lnTo>
                    <a:pt x="131" y="941"/>
                  </a:lnTo>
                  <a:lnTo>
                    <a:pt x="132" y="939"/>
                  </a:lnTo>
                  <a:lnTo>
                    <a:pt x="134" y="939"/>
                  </a:lnTo>
                  <a:lnTo>
                    <a:pt x="134" y="938"/>
                  </a:lnTo>
                  <a:lnTo>
                    <a:pt x="134" y="938"/>
                  </a:lnTo>
                  <a:lnTo>
                    <a:pt x="134" y="936"/>
                  </a:lnTo>
                  <a:lnTo>
                    <a:pt x="134" y="936"/>
                  </a:lnTo>
                  <a:lnTo>
                    <a:pt x="134" y="933"/>
                  </a:lnTo>
                  <a:lnTo>
                    <a:pt x="135" y="933"/>
                  </a:lnTo>
                  <a:lnTo>
                    <a:pt x="135" y="935"/>
                  </a:lnTo>
                  <a:lnTo>
                    <a:pt x="137" y="935"/>
                  </a:lnTo>
                  <a:lnTo>
                    <a:pt x="137" y="935"/>
                  </a:lnTo>
                  <a:lnTo>
                    <a:pt x="138" y="935"/>
                  </a:lnTo>
                  <a:lnTo>
                    <a:pt x="140" y="935"/>
                  </a:lnTo>
                  <a:lnTo>
                    <a:pt x="142" y="935"/>
                  </a:lnTo>
                  <a:lnTo>
                    <a:pt x="142" y="935"/>
                  </a:lnTo>
                  <a:lnTo>
                    <a:pt x="143" y="935"/>
                  </a:lnTo>
                  <a:lnTo>
                    <a:pt x="145" y="935"/>
                  </a:lnTo>
                  <a:lnTo>
                    <a:pt x="148" y="936"/>
                  </a:lnTo>
                  <a:lnTo>
                    <a:pt x="148" y="938"/>
                  </a:lnTo>
                  <a:lnTo>
                    <a:pt x="149" y="938"/>
                  </a:lnTo>
                  <a:lnTo>
                    <a:pt x="154" y="941"/>
                  </a:lnTo>
                  <a:lnTo>
                    <a:pt x="154" y="941"/>
                  </a:lnTo>
                  <a:lnTo>
                    <a:pt x="152" y="941"/>
                  </a:lnTo>
                  <a:lnTo>
                    <a:pt x="152" y="942"/>
                  </a:lnTo>
                  <a:lnTo>
                    <a:pt x="154" y="944"/>
                  </a:lnTo>
                  <a:lnTo>
                    <a:pt x="155" y="944"/>
                  </a:lnTo>
                  <a:lnTo>
                    <a:pt x="158" y="944"/>
                  </a:lnTo>
                  <a:lnTo>
                    <a:pt x="158" y="942"/>
                  </a:lnTo>
                  <a:lnTo>
                    <a:pt x="162" y="941"/>
                  </a:lnTo>
                  <a:lnTo>
                    <a:pt x="165" y="938"/>
                  </a:lnTo>
                  <a:lnTo>
                    <a:pt x="168" y="936"/>
                  </a:lnTo>
                  <a:lnTo>
                    <a:pt x="169" y="935"/>
                  </a:lnTo>
                  <a:lnTo>
                    <a:pt x="169" y="933"/>
                  </a:lnTo>
                  <a:lnTo>
                    <a:pt x="171" y="930"/>
                  </a:lnTo>
                  <a:lnTo>
                    <a:pt x="171" y="927"/>
                  </a:lnTo>
                  <a:lnTo>
                    <a:pt x="171" y="925"/>
                  </a:lnTo>
                  <a:lnTo>
                    <a:pt x="171" y="924"/>
                  </a:lnTo>
                  <a:lnTo>
                    <a:pt x="171" y="921"/>
                  </a:lnTo>
                  <a:lnTo>
                    <a:pt x="171" y="919"/>
                  </a:lnTo>
                  <a:lnTo>
                    <a:pt x="172" y="918"/>
                  </a:lnTo>
                  <a:lnTo>
                    <a:pt x="174" y="918"/>
                  </a:lnTo>
                  <a:lnTo>
                    <a:pt x="177" y="916"/>
                  </a:lnTo>
                  <a:lnTo>
                    <a:pt x="180" y="916"/>
                  </a:lnTo>
                  <a:lnTo>
                    <a:pt x="185" y="916"/>
                  </a:lnTo>
                  <a:lnTo>
                    <a:pt x="186" y="918"/>
                  </a:lnTo>
                  <a:close/>
                  <a:moveTo>
                    <a:pt x="146" y="784"/>
                  </a:moveTo>
                  <a:lnTo>
                    <a:pt x="146" y="785"/>
                  </a:lnTo>
                  <a:lnTo>
                    <a:pt x="146" y="785"/>
                  </a:lnTo>
                  <a:lnTo>
                    <a:pt x="148" y="785"/>
                  </a:lnTo>
                  <a:lnTo>
                    <a:pt x="148" y="784"/>
                  </a:lnTo>
                  <a:lnTo>
                    <a:pt x="148" y="782"/>
                  </a:lnTo>
                  <a:lnTo>
                    <a:pt x="148" y="781"/>
                  </a:lnTo>
                  <a:lnTo>
                    <a:pt x="148" y="781"/>
                  </a:lnTo>
                  <a:lnTo>
                    <a:pt x="143" y="779"/>
                  </a:lnTo>
                  <a:lnTo>
                    <a:pt x="143" y="779"/>
                  </a:lnTo>
                  <a:lnTo>
                    <a:pt x="142" y="779"/>
                  </a:lnTo>
                  <a:lnTo>
                    <a:pt x="140" y="781"/>
                  </a:lnTo>
                  <a:lnTo>
                    <a:pt x="140" y="781"/>
                  </a:lnTo>
                  <a:lnTo>
                    <a:pt x="142" y="782"/>
                  </a:lnTo>
                  <a:lnTo>
                    <a:pt x="143" y="781"/>
                  </a:lnTo>
                  <a:lnTo>
                    <a:pt x="145" y="782"/>
                  </a:lnTo>
                  <a:lnTo>
                    <a:pt x="148" y="782"/>
                  </a:lnTo>
                  <a:lnTo>
                    <a:pt x="146" y="784"/>
                  </a:lnTo>
                  <a:lnTo>
                    <a:pt x="146" y="784"/>
                  </a:lnTo>
                  <a:close/>
                  <a:moveTo>
                    <a:pt x="209" y="730"/>
                  </a:moveTo>
                  <a:lnTo>
                    <a:pt x="208" y="733"/>
                  </a:lnTo>
                  <a:lnTo>
                    <a:pt x="206" y="736"/>
                  </a:lnTo>
                  <a:lnTo>
                    <a:pt x="206" y="739"/>
                  </a:lnTo>
                  <a:lnTo>
                    <a:pt x="206" y="742"/>
                  </a:lnTo>
                  <a:lnTo>
                    <a:pt x="208" y="745"/>
                  </a:lnTo>
                  <a:lnTo>
                    <a:pt x="209" y="748"/>
                  </a:lnTo>
                  <a:lnTo>
                    <a:pt x="209" y="748"/>
                  </a:lnTo>
                  <a:lnTo>
                    <a:pt x="209" y="750"/>
                  </a:lnTo>
                  <a:lnTo>
                    <a:pt x="209" y="750"/>
                  </a:lnTo>
                  <a:lnTo>
                    <a:pt x="209" y="750"/>
                  </a:lnTo>
                  <a:lnTo>
                    <a:pt x="209" y="751"/>
                  </a:lnTo>
                  <a:lnTo>
                    <a:pt x="209" y="751"/>
                  </a:lnTo>
                  <a:lnTo>
                    <a:pt x="209" y="754"/>
                  </a:lnTo>
                  <a:lnTo>
                    <a:pt x="209" y="756"/>
                  </a:lnTo>
                  <a:lnTo>
                    <a:pt x="209" y="757"/>
                  </a:lnTo>
                  <a:lnTo>
                    <a:pt x="212" y="759"/>
                  </a:lnTo>
                  <a:lnTo>
                    <a:pt x="215" y="762"/>
                  </a:lnTo>
                  <a:lnTo>
                    <a:pt x="219" y="762"/>
                  </a:lnTo>
                  <a:lnTo>
                    <a:pt x="223" y="764"/>
                  </a:lnTo>
                  <a:lnTo>
                    <a:pt x="226" y="762"/>
                  </a:lnTo>
                  <a:lnTo>
                    <a:pt x="228" y="762"/>
                  </a:lnTo>
                  <a:lnTo>
                    <a:pt x="229" y="761"/>
                  </a:lnTo>
                  <a:lnTo>
                    <a:pt x="229" y="759"/>
                  </a:lnTo>
                  <a:lnTo>
                    <a:pt x="229" y="756"/>
                  </a:lnTo>
                  <a:lnTo>
                    <a:pt x="228" y="754"/>
                  </a:lnTo>
                  <a:lnTo>
                    <a:pt x="231" y="753"/>
                  </a:lnTo>
                  <a:lnTo>
                    <a:pt x="228" y="751"/>
                  </a:lnTo>
                  <a:lnTo>
                    <a:pt x="226" y="751"/>
                  </a:lnTo>
                  <a:lnTo>
                    <a:pt x="226" y="750"/>
                  </a:lnTo>
                  <a:lnTo>
                    <a:pt x="226" y="750"/>
                  </a:lnTo>
                  <a:lnTo>
                    <a:pt x="228" y="750"/>
                  </a:lnTo>
                  <a:lnTo>
                    <a:pt x="228" y="748"/>
                  </a:lnTo>
                  <a:lnTo>
                    <a:pt x="228" y="745"/>
                  </a:lnTo>
                  <a:lnTo>
                    <a:pt x="225" y="742"/>
                  </a:lnTo>
                  <a:lnTo>
                    <a:pt x="226" y="741"/>
                  </a:lnTo>
                  <a:lnTo>
                    <a:pt x="225" y="734"/>
                  </a:lnTo>
                  <a:lnTo>
                    <a:pt x="223" y="731"/>
                  </a:lnTo>
                  <a:lnTo>
                    <a:pt x="222" y="730"/>
                  </a:lnTo>
                  <a:lnTo>
                    <a:pt x="220" y="728"/>
                  </a:lnTo>
                  <a:lnTo>
                    <a:pt x="215" y="725"/>
                  </a:lnTo>
                  <a:lnTo>
                    <a:pt x="215" y="725"/>
                  </a:lnTo>
                  <a:lnTo>
                    <a:pt x="214" y="725"/>
                  </a:lnTo>
                  <a:lnTo>
                    <a:pt x="214" y="725"/>
                  </a:lnTo>
                  <a:lnTo>
                    <a:pt x="214" y="727"/>
                  </a:lnTo>
                  <a:lnTo>
                    <a:pt x="214" y="727"/>
                  </a:lnTo>
                  <a:lnTo>
                    <a:pt x="211" y="728"/>
                  </a:lnTo>
                  <a:lnTo>
                    <a:pt x="209" y="730"/>
                  </a:lnTo>
                  <a:close/>
                  <a:moveTo>
                    <a:pt x="234" y="719"/>
                  </a:moveTo>
                  <a:lnTo>
                    <a:pt x="234" y="719"/>
                  </a:lnTo>
                  <a:lnTo>
                    <a:pt x="234" y="714"/>
                  </a:lnTo>
                  <a:lnTo>
                    <a:pt x="234" y="713"/>
                  </a:lnTo>
                  <a:lnTo>
                    <a:pt x="232" y="711"/>
                  </a:lnTo>
                  <a:lnTo>
                    <a:pt x="231" y="710"/>
                  </a:lnTo>
                  <a:lnTo>
                    <a:pt x="231" y="708"/>
                  </a:lnTo>
                  <a:lnTo>
                    <a:pt x="231" y="708"/>
                  </a:lnTo>
                  <a:lnTo>
                    <a:pt x="229" y="708"/>
                  </a:lnTo>
                  <a:lnTo>
                    <a:pt x="229" y="705"/>
                  </a:lnTo>
                  <a:lnTo>
                    <a:pt x="229" y="704"/>
                  </a:lnTo>
                  <a:lnTo>
                    <a:pt x="228" y="704"/>
                  </a:lnTo>
                  <a:lnTo>
                    <a:pt x="228" y="704"/>
                  </a:lnTo>
                  <a:lnTo>
                    <a:pt x="225" y="701"/>
                  </a:lnTo>
                  <a:lnTo>
                    <a:pt x="223" y="699"/>
                  </a:lnTo>
                  <a:lnTo>
                    <a:pt x="220" y="701"/>
                  </a:lnTo>
                  <a:lnTo>
                    <a:pt x="220" y="702"/>
                  </a:lnTo>
                  <a:lnTo>
                    <a:pt x="222" y="705"/>
                  </a:lnTo>
                  <a:lnTo>
                    <a:pt x="222" y="707"/>
                  </a:lnTo>
                  <a:lnTo>
                    <a:pt x="223" y="708"/>
                  </a:lnTo>
                  <a:lnTo>
                    <a:pt x="225" y="710"/>
                  </a:lnTo>
                  <a:lnTo>
                    <a:pt x="225" y="711"/>
                  </a:lnTo>
                  <a:lnTo>
                    <a:pt x="226" y="714"/>
                  </a:lnTo>
                  <a:lnTo>
                    <a:pt x="226" y="717"/>
                  </a:lnTo>
                  <a:lnTo>
                    <a:pt x="231" y="722"/>
                  </a:lnTo>
                  <a:lnTo>
                    <a:pt x="232" y="724"/>
                  </a:lnTo>
                  <a:lnTo>
                    <a:pt x="234" y="725"/>
                  </a:lnTo>
                  <a:lnTo>
                    <a:pt x="234" y="725"/>
                  </a:lnTo>
                  <a:lnTo>
                    <a:pt x="234" y="725"/>
                  </a:lnTo>
                  <a:lnTo>
                    <a:pt x="234" y="724"/>
                  </a:lnTo>
                  <a:lnTo>
                    <a:pt x="234" y="722"/>
                  </a:lnTo>
                  <a:lnTo>
                    <a:pt x="232" y="722"/>
                  </a:lnTo>
                  <a:lnTo>
                    <a:pt x="234" y="721"/>
                  </a:lnTo>
                  <a:lnTo>
                    <a:pt x="234" y="719"/>
                  </a:lnTo>
                  <a:close/>
                  <a:moveTo>
                    <a:pt x="151" y="737"/>
                  </a:moveTo>
                  <a:lnTo>
                    <a:pt x="152" y="736"/>
                  </a:lnTo>
                  <a:lnTo>
                    <a:pt x="155" y="734"/>
                  </a:lnTo>
                  <a:lnTo>
                    <a:pt x="155" y="733"/>
                  </a:lnTo>
                  <a:lnTo>
                    <a:pt x="157" y="733"/>
                  </a:lnTo>
                  <a:lnTo>
                    <a:pt x="157" y="733"/>
                  </a:lnTo>
                  <a:lnTo>
                    <a:pt x="157" y="731"/>
                  </a:lnTo>
                  <a:lnTo>
                    <a:pt x="158" y="731"/>
                  </a:lnTo>
                  <a:lnTo>
                    <a:pt x="158" y="731"/>
                  </a:lnTo>
                  <a:lnTo>
                    <a:pt x="158" y="730"/>
                  </a:lnTo>
                  <a:lnTo>
                    <a:pt x="158" y="728"/>
                  </a:lnTo>
                  <a:lnTo>
                    <a:pt x="158" y="728"/>
                  </a:lnTo>
                  <a:lnTo>
                    <a:pt x="158" y="727"/>
                  </a:lnTo>
                  <a:lnTo>
                    <a:pt x="158" y="725"/>
                  </a:lnTo>
                  <a:lnTo>
                    <a:pt x="157" y="724"/>
                  </a:lnTo>
                  <a:lnTo>
                    <a:pt x="157" y="724"/>
                  </a:lnTo>
                  <a:lnTo>
                    <a:pt x="157" y="722"/>
                  </a:lnTo>
                  <a:lnTo>
                    <a:pt x="157" y="722"/>
                  </a:lnTo>
                  <a:lnTo>
                    <a:pt x="157" y="721"/>
                  </a:lnTo>
                  <a:lnTo>
                    <a:pt x="157" y="719"/>
                  </a:lnTo>
                  <a:lnTo>
                    <a:pt x="157" y="719"/>
                  </a:lnTo>
                  <a:lnTo>
                    <a:pt x="157" y="719"/>
                  </a:lnTo>
                  <a:lnTo>
                    <a:pt x="155" y="717"/>
                  </a:lnTo>
                  <a:lnTo>
                    <a:pt x="154" y="716"/>
                  </a:lnTo>
                  <a:lnTo>
                    <a:pt x="154" y="714"/>
                  </a:lnTo>
                  <a:lnTo>
                    <a:pt x="154" y="711"/>
                  </a:lnTo>
                  <a:lnTo>
                    <a:pt x="152" y="704"/>
                  </a:lnTo>
                  <a:lnTo>
                    <a:pt x="152" y="697"/>
                  </a:lnTo>
                  <a:lnTo>
                    <a:pt x="152" y="697"/>
                  </a:lnTo>
                  <a:lnTo>
                    <a:pt x="151" y="697"/>
                  </a:lnTo>
                  <a:lnTo>
                    <a:pt x="151" y="696"/>
                  </a:lnTo>
                  <a:lnTo>
                    <a:pt x="149" y="697"/>
                  </a:lnTo>
                  <a:lnTo>
                    <a:pt x="149" y="697"/>
                  </a:lnTo>
                  <a:lnTo>
                    <a:pt x="148" y="699"/>
                  </a:lnTo>
                  <a:lnTo>
                    <a:pt x="146" y="699"/>
                  </a:lnTo>
                  <a:lnTo>
                    <a:pt x="146" y="699"/>
                  </a:lnTo>
                  <a:lnTo>
                    <a:pt x="145" y="702"/>
                  </a:lnTo>
                  <a:lnTo>
                    <a:pt x="142" y="704"/>
                  </a:lnTo>
                  <a:lnTo>
                    <a:pt x="138" y="707"/>
                  </a:lnTo>
                  <a:lnTo>
                    <a:pt x="137" y="710"/>
                  </a:lnTo>
                  <a:lnTo>
                    <a:pt x="138" y="711"/>
                  </a:lnTo>
                  <a:lnTo>
                    <a:pt x="138" y="713"/>
                  </a:lnTo>
                  <a:lnTo>
                    <a:pt x="137" y="713"/>
                  </a:lnTo>
                  <a:lnTo>
                    <a:pt x="137" y="711"/>
                  </a:lnTo>
                  <a:lnTo>
                    <a:pt x="135" y="710"/>
                  </a:lnTo>
                  <a:lnTo>
                    <a:pt x="135" y="708"/>
                  </a:lnTo>
                  <a:lnTo>
                    <a:pt x="137" y="705"/>
                  </a:lnTo>
                  <a:lnTo>
                    <a:pt x="137" y="704"/>
                  </a:lnTo>
                  <a:lnTo>
                    <a:pt x="137" y="704"/>
                  </a:lnTo>
                  <a:lnTo>
                    <a:pt x="135" y="704"/>
                  </a:lnTo>
                  <a:lnTo>
                    <a:pt x="134" y="705"/>
                  </a:lnTo>
                  <a:lnTo>
                    <a:pt x="131" y="707"/>
                  </a:lnTo>
                  <a:lnTo>
                    <a:pt x="128" y="708"/>
                  </a:lnTo>
                  <a:lnTo>
                    <a:pt x="128" y="710"/>
                  </a:lnTo>
                  <a:lnTo>
                    <a:pt x="128" y="711"/>
                  </a:lnTo>
                  <a:lnTo>
                    <a:pt x="128" y="713"/>
                  </a:lnTo>
                  <a:lnTo>
                    <a:pt x="126" y="714"/>
                  </a:lnTo>
                  <a:lnTo>
                    <a:pt x="126" y="716"/>
                  </a:lnTo>
                  <a:lnTo>
                    <a:pt x="125" y="716"/>
                  </a:lnTo>
                  <a:lnTo>
                    <a:pt x="128" y="717"/>
                  </a:lnTo>
                  <a:lnTo>
                    <a:pt x="125" y="724"/>
                  </a:lnTo>
                  <a:lnTo>
                    <a:pt x="123" y="725"/>
                  </a:lnTo>
                  <a:lnTo>
                    <a:pt x="123" y="725"/>
                  </a:lnTo>
                  <a:lnTo>
                    <a:pt x="125" y="727"/>
                  </a:lnTo>
                  <a:lnTo>
                    <a:pt x="125" y="727"/>
                  </a:lnTo>
                  <a:lnTo>
                    <a:pt x="123" y="728"/>
                  </a:lnTo>
                  <a:lnTo>
                    <a:pt x="123" y="731"/>
                  </a:lnTo>
                  <a:lnTo>
                    <a:pt x="125" y="731"/>
                  </a:lnTo>
                  <a:lnTo>
                    <a:pt x="126" y="731"/>
                  </a:lnTo>
                  <a:lnTo>
                    <a:pt x="128" y="731"/>
                  </a:lnTo>
                  <a:lnTo>
                    <a:pt x="129" y="727"/>
                  </a:lnTo>
                  <a:lnTo>
                    <a:pt x="132" y="725"/>
                  </a:lnTo>
                  <a:lnTo>
                    <a:pt x="134" y="724"/>
                  </a:lnTo>
                  <a:lnTo>
                    <a:pt x="135" y="719"/>
                  </a:lnTo>
                  <a:lnTo>
                    <a:pt x="137" y="717"/>
                  </a:lnTo>
                  <a:lnTo>
                    <a:pt x="138" y="717"/>
                  </a:lnTo>
                  <a:lnTo>
                    <a:pt x="140" y="717"/>
                  </a:lnTo>
                  <a:lnTo>
                    <a:pt x="142" y="717"/>
                  </a:lnTo>
                  <a:lnTo>
                    <a:pt x="138" y="722"/>
                  </a:lnTo>
                  <a:lnTo>
                    <a:pt x="137" y="724"/>
                  </a:lnTo>
                  <a:lnTo>
                    <a:pt x="137" y="727"/>
                  </a:lnTo>
                  <a:lnTo>
                    <a:pt x="137" y="727"/>
                  </a:lnTo>
                  <a:lnTo>
                    <a:pt x="140" y="728"/>
                  </a:lnTo>
                  <a:lnTo>
                    <a:pt x="142" y="728"/>
                  </a:lnTo>
                  <a:lnTo>
                    <a:pt x="143" y="733"/>
                  </a:lnTo>
                  <a:lnTo>
                    <a:pt x="138" y="736"/>
                  </a:lnTo>
                  <a:lnTo>
                    <a:pt x="137" y="737"/>
                  </a:lnTo>
                  <a:lnTo>
                    <a:pt x="137" y="741"/>
                  </a:lnTo>
                  <a:lnTo>
                    <a:pt x="138" y="744"/>
                  </a:lnTo>
                  <a:lnTo>
                    <a:pt x="140" y="744"/>
                  </a:lnTo>
                  <a:lnTo>
                    <a:pt x="142" y="744"/>
                  </a:lnTo>
                  <a:lnTo>
                    <a:pt x="143" y="742"/>
                  </a:lnTo>
                  <a:lnTo>
                    <a:pt x="145" y="741"/>
                  </a:lnTo>
                  <a:lnTo>
                    <a:pt x="145" y="741"/>
                  </a:lnTo>
                  <a:lnTo>
                    <a:pt x="145" y="737"/>
                  </a:lnTo>
                  <a:lnTo>
                    <a:pt x="146" y="737"/>
                  </a:lnTo>
                  <a:lnTo>
                    <a:pt x="149" y="737"/>
                  </a:lnTo>
                  <a:lnTo>
                    <a:pt x="151" y="737"/>
                  </a:lnTo>
                  <a:close/>
                  <a:moveTo>
                    <a:pt x="146" y="674"/>
                  </a:moveTo>
                  <a:lnTo>
                    <a:pt x="146" y="674"/>
                  </a:lnTo>
                  <a:lnTo>
                    <a:pt x="145" y="676"/>
                  </a:lnTo>
                  <a:lnTo>
                    <a:pt x="143" y="677"/>
                  </a:lnTo>
                  <a:lnTo>
                    <a:pt x="143" y="679"/>
                  </a:lnTo>
                  <a:lnTo>
                    <a:pt x="143" y="680"/>
                  </a:lnTo>
                  <a:lnTo>
                    <a:pt x="142" y="682"/>
                  </a:lnTo>
                  <a:lnTo>
                    <a:pt x="142" y="684"/>
                  </a:lnTo>
                  <a:lnTo>
                    <a:pt x="143" y="685"/>
                  </a:lnTo>
                  <a:lnTo>
                    <a:pt x="145" y="685"/>
                  </a:lnTo>
                  <a:lnTo>
                    <a:pt x="146" y="684"/>
                  </a:lnTo>
                  <a:lnTo>
                    <a:pt x="148" y="684"/>
                  </a:lnTo>
                  <a:lnTo>
                    <a:pt x="148" y="680"/>
                  </a:lnTo>
                  <a:lnTo>
                    <a:pt x="149" y="677"/>
                  </a:lnTo>
                  <a:lnTo>
                    <a:pt x="151" y="674"/>
                  </a:lnTo>
                  <a:lnTo>
                    <a:pt x="151" y="673"/>
                  </a:lnTo>
                  <a:lnTo>
                    <a:pt x="149" y="671"/>
                  </a:lnTo>
                  <a:lnTo>
                    <a:pt x="149" y="673"/>
                  </a:lnTo>
                  <a:lnTo>
                    <a:pt x="148" y="673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8" y="674"/>
                  </a:lnTo>
                  <a:lnTo>
                    <a:pt x="146" y="674"/>
                  </a:lnTo>
                  <a:close/>
                  <a:moveTo>
                    <a:pt x="163" y="714"/>
                  </a:moveTo>
                  <a:lnTo>
                    <a:pt x="165" y="713"/>
                  </a:lnTo>
                  <a:lnTo>
                    <a:pt x="165" y="707"/>
                  </a:lnTo>
                  <a:lnTo>
                    <a:pt x="166" y="707"/>
                  </a:lnTo>
                  <a:lnTo>
                    <a:pt x="166" y="705"/>
                  </a:lnTo>
                  <a:lnTo>
                    <a:pt x="169" y="704"/>
                  </a:lnTo>
                  <a:lnTo>
                    <a:pt x="169" y="704"/>
                  </a:lnTo>
                  <a:lnTo>
                    <a:pt x="171" y="699"/>
                  </a:lnTo>
                  <a:lnTo>
                    <a:pt x="177" y="685"/>
                  </a:lnTo>
                  <a:lnTo>
                    <a:pt x="180" y="679"/>
                  </a:lnTo>
                  <a:lnTo>
                    <a:pt x="182" y="677"/>
                  </a:lnTo>
                  <a:lnTo>
                    <a:pt x="183" y="674"/>
                  </a:lnTo>
                  <a:lnTo>
                    <a:pt x="185" y="674"/>
                  </a:lnTo>
                  <a:lnTo>
                    <a:pt x="185" y="673"/>
                  </a:lnTo>
                  <a:lnTo>
                    <a:pt x="185" y="670"/>
                  </a:lnTo>
                  <a:lnTo>
                    <a:pt x="183" y="670"/>
                  </a:lnTo>
                  <a:lnTo>
                    <a:pt x="182" y="668"/>
                  </a:lnTo>
                  <a:lnTo>
                    <a:pt x="180" y="670"/>
                  </a:lnTo>
                  <a:lnTo>
                    <a:pt x="175" y="674"/>
                  </a:lnTo>
                  <a:lnTo>
                    <a:pt x="171" y="679"/>
                  </a:lnTo>
                  <a:lnTo>
                    <a:pt x="168" y="680"/>
                  </a:lnTo>
                  <a:lnTo>
                    <a:pt x="166" y="680"/>
                  </a:lnTo>
                  <a:lnTo>
                    <a:pt x="165" y="684"/>
                  </a:lnTo>
                  <a:lnTo>
                    <a:pt x="162" y="688"/>
                  </a:lnTo>
                  <a:lnTo>
                    <a:pt x="162" y="690"/>
                  </a:lnTo>
                  <a:lnTo>
                    <a:pt x="163" y="693"/>
                  </a:lnTo>
                  <a:lnTo>
                    <a:pt x="165" y="693"/>
                  </a:lnTo>
                  <a:lnTo>
                    <a:pt x="168" y="691"/>
                  </a:lnTo>
                  <a:lnTo>
                    <a:pt x="169" y="691"/>
                  </a:lnTo>
                  <a:lnTo>
                    <a:pt x="168" y="694"/>
                  </a:lnTo>
                  <a:lnTo>
                    <a:pt x="162" y="694"/>
                  </a:lnTo>
                  <a:lnTo>
                    <a:pt x="158" y="697"/>
                  </a:lnTo>
                  <a:lnTo>
                    <a:pt x="158" y="699"/>
                  </a:lnTo>
                  <a:lnTo>
                    <a:pt x="157" y="699"/>
                  </a:lnTo>
                  <a:lnTo>
                    <a:pt x="155" y="701"/>
                  </a:lnTo>
                  <a:lnTo>
                    <a:pt x="154" y="702"/>
                  </a:lnTo>
                  <a:lnTo>
                    <a:pt x="154" y="704"/>
                  </a:lnTo>
                  <a:lnTo>
                    <a:pt x="155" y="711"/>
                  </a:lnTo>
                  <a:lnTo>
                    <a:pt x="157" y="714"/>
                  </a:lnTo>
                  <a:lnTo>
                    <a:pt x="158" y="716"/>
                  </a:lnTo>
                  <a:lnTo>
                    <a:pt x="162" y="716"/>
                  </a:lnTo>
                  <a:lnTo>
                    <a:pt x="163" y="714"/>
                  </a:lnTo>
                  <a:close/>
                  <a:moveTo>
                    <a:pt x="185" y="662"/>
                  </a:moveTo>
                  <a:lnTo>
                    <a:pt x="185" y="662"/>
                  </a:lnTo>
                  <a:lnTo>
                    <a:pt x="182" y="664"/>
                  </a:lnTo>
                  <a:lnTo>
                    <a:pt x="180" y="665"/>
                  </a:lnTo>
                  <a:lnTo>
                    <a:pt x="180" y="667"/>
                  </a:lnTo>
                  <a:lnTo>
                    <a:pt x="182" y="667"/>
                  </a:lnTo>
                  <a:lnTo>
                    <a:pt x="183" y="667"/>
                  </a:lnTo>
                  <a:lnTo>
                    <a:pt x="185" y="665"/>
                  </a:lnTo>
                  <a:lnTo>
                    <a:pt x="185" y="662"/>
                  </a:lnTo>
                  <a:close/>
                  <a:moveTo>
                    <a:pt x="186" y="659"/>
                  </a:moveTo>
                  <a:lnTo>
                    <a:pt x="188" y="662"/>
                  </a:lnTo>
                  <a:lnTo>
                    <a:pt x="188" y="664"/>
                  </a:lnTo>
                  <a:lnTo>
                    <a:pt x="189" y="659"/>
                  </a:lnTo>
                  <a:lnTo>
                    <a:pt x="189" y="657"/>
                  </a:lnTo>
                  <a:lnTo>
                    <a:pt x="189" y="656"/>
                  </a:lnTo>
                  <a:lnTo>
                    <a:pt x="189" y="653"/>
                  </a:lnTo>
                  <a:lnTo>
                    <a:pt x="189" y="654"/>
                  </a:lnTo>
                  <a:lnTo>
                    <a:pt x="189" y="654"/>
                  </a:lnTo>
                  <a:lnTo>
                    <a:pt x="189" y="654"/>
                  </a:lnTo>
                  <a:lnTo>
                    <a:pt x="188" y="653"/>
                  </a:lnTo>
                  <a:lnTo>
                    <a:pt x="188" y="654"/>
                  </a:lnTo>
                  <a:lnTo>
                    <a:pt x="186" y="657"/>
                  </a:lnTo>
                  <a:lnTo>
                    <a:pt x="186" y="659"/>
                  </a:lnTo>
                  <a:close/>
                  <a:moveTo>
                    <a:pt x="191" y="647"/>
                  </a:moveTo>
                  <a:lnTo>
                    <a:pt x="192" y="645"/>
                  </a:lnTo>
                  <a:lnTo>
                    <a:pt x="191" y="645"/>
                  </a:lnTo>
                  <a:lnTo>
                    <a:pt x="189" y="645"/>
                  </a:lnTo>
                  <a:lnTo>
                    <a:pt x="188" y="647"/>
                  </a:lnTo>
                  <a:lnTo>
                    <a:pt x="188" y="648"/>
                  </a:lnTo>
                  <a:lnTo>
                    <a:pt x="188" y="651"/>
                  </a:lnTo>
                  <a:lnTo>
                    <a:pt x="189" y="651"/>
                  </a:lnTo>
                  <a:lnTo>
                    <a:pt x="191" y="651"/>
                  </a:lnTo>
                  <a:lnTo>
                    <a:pt x="191" y="650"/>
                  </a:lnTo>
                  <a:lnTo>
                    <a:pt x="191" y="648"/>
                  </a:lnTo>
                  <a:lnTo>
                    <a:pt x="191" y="647"/>
                  </a:lnTo>
                  <a:close/>
                  <a:moveTo>
                    <a:pt x="195" y="636"/>
                  </a:moveTo>
                  <a:lnTo>
                    <a:pt x="197" y="634"/>
                  </a:lnTo>
                  <a:lnTo>
                    <a:pt x="199" y="633"/>
                  </a:lnTo>
                  <a:lnTo>
                    <a:pt x="197" y="633"/>
                  </a:lnTo>
                  <a:lnTo>
                    <a:pt x="195" y="633"/>
                  </a:lnTo>
                  <a:lnTo>
                    <a:pt x="194" y="633"/>
                  </a:lnTo>
                  <a:lnTo>
                    <a:pt x="192" y="634"/>
                  </a:lnTo>
                  <a:lnTo>
                    <a:pt x="192" y="636"/>
                  </a:lnTo>
                  <a:lnTo>
                    <a:pt x="192" y="637"/>
                  </a:lnTo>
                  <a:lnTo>
                    <a:pt x="194" y="637"/>
                  </a:lnTo>
                  <a:lnTo>
                    <a:pt x="195" y="636"/>
                  </a:lnTo>
                  <a:close/>
                  <a:moveTo>
                    <a:pt x="145" y="627"/>
                  </a:moveTo>
                  <a:lnTo>
                    <a:pt x="149" y="627"/>
                  </a:lnTo>
                  <a:lnTo>
                    <a:pt x="148" y="625"/>
                  </a:lnTo>
                  <a:lnTo>
                    <a:pt x="146" y="622"/>
                  </a:lnTo>
                  <a:lnTo>
                    <a:pt x="145" y="622"/>
                  </a:lnTo>
                  <a:lnTo>
                    <a:pt x="143" y="622"/>
                  </a:lnTo>
                  <a:lnTo>
                    <a:pt x="143" y="622"/>
                  </a:lnTo>
                  <a:lnTo>
                    <a:pt x="142" y="624"/>
                  </a:lnTo>
                  <a:lnTo>
                    <a:pt x="142" y="624"/>
                  </a:lnTo>
                  <a:lnTo>
                    <a:pt x="143" y="625"/>
                  </a:lnTo>
                  <a:lnTo>
                    <a:pt x="145" y="627"/>
                  </a:lnTo>
                  <a:close/>
                  <a:moveTo>
                    <a:pt x="98" y="624"/>
                  </a:moveTo>
                  <a:lnTo>
                    <a:pt x="100" y="624"/>
                  </a:lnTo>
                  <a:lnTo>
                    <a:pt x="101" y="622"/>
                  </a:lnTo>
                  <a:lnTo>
                    <a:pt x="101" y="620"/>
                  </a:lnTo>
                  <a:lnTo>
                    <a:pt x="106" y="619"/>
                  </a:lnTo>
                  <a:lnTo>
                    <a:pt x="106" y="617"/>
                  </a:lnTo>
                  <a:lnTo>
                    <a:pt x="106" y="616"/>
                  </a:lnTo>
                  <a:lnTo>
                    <a:pt x="105" y="616"/>
                  </a:lnTo>
                  <a:lnTo>
                    <a:pt x="100" y="617"/>
                  </a:lnTo>
                  <a:lnTo>
                    <a:pt x="98" y="617"/>
                  </a:lnTo>
                  <a:lnTo>
                    <a:pt x="95" y="619"/>
                  </a:lnTo>
                  <a:lnTo>
                    <a:pt x="94" y="619"/>
                  </a:lnTo>
                  <a:lnTo>
                    <a:pt x="89" y="620"/>
                  </a:lnTo>
                  <a:lnTo>
                    <a:pt x="88" y="622"/>
                  </a:lnTo>
                  <a:lnTo>
                    <a:pt x="88" y="624"/>
                  </a:lnTo>
                  <a:lnTo>
                    <a:pt x="89" y="625"/>
                  </a:lnTo>
                  <a:lnTo>
                    <a:pt x="89" y="627"/>
                  </a:lnTo>
                  <a:lnTo>
                    <a:pt x="94" y="630"/>
                  </a:lnTo>
                  <a:lnTo>
                    <a:pt x="95" y="630"/>
                  </a:lnTo>
                  <a:lnTo>
                    <a:pt x="95" y="627"/>
                  </a:lnTo>
                  <a:lnTo>
                    <a:pt x="97" y="625"/>
                  </a:lnTo>
                  <a:lnTo>
                    <a:pt x="98" y="624"/>
                  </a:lnTo>
                  <a:close/>
                  <a:moveTo>
                    <a:pt x="157" y="603"/>
                  </a:moveTo>
                  <a:lnTo>
                    <a:pt x="157" y="603"/>
                  </a:lnTo>
                  <a:lnTo>
                    <a:pt x="152" y="602"/>
                  </a:lnTo>
                  <a:lnTo>
                    <a:pt x="152" y="600"/>
                  </a:lnTo>
                  <a:lnTo>
                    <a:pt x="149" y="602"/>
                  </a:lnTo>
                  <a:lnTo>
                    <a:pt x="146" y="602"/>
                  </a:lnTo>
                  <a:lnTo>
                    <a:pt x="145" y="603"/>
                  </a:lnTo>
                  <a:lnTo>
                    <a:pt x="145" y="607"/>
                  </a:lnTo>
                  <a:lnTo>
                    <a:pt x="143" y="607"/>
                  </a:lnTo>
                  <a:lnTo>
                    <a:pt x="143" y="607"/>
                  </a:lnTo>
                  <a:lnTo>
                    <a:pt x="143" y="607"/>
                  </a:lnTo>
                  <a:lnTo>
                    <a:pt x="142" y="605"/>
                  </a:lnTo>
                  <a:lnTo>
                    <a:pt x="140" y="607"/>
                  </a:lnTo>
                  <a:lnTo>
                    <a:pt x="140" y="607"/>
                  </a:lnTo>
                  <a:lnTo>
                    <a:pt x="137" y="608"/>
                  </a:lnTo>
                  <a:lnTo>
                    <a:pt x="137" y="610"/>
                  </a:lnTo>
                  <a:lnTo>
                    <a:pt x="138" y="611"/>
                  </a:lnTo>
                  <a:lnTo>
                    <a:pt x="140" y="613"/>
                  </a:lnTo>
                  <a:lnTo>
                    <a:pt x="135" y="614"/>
                  </a:lnTo>
                  <a:lnTo>
                    <a:pt x="137" y="616"/>
                  </a:lnTo>
                  <a:lnTo>
                    <a:pt x="138" y="617"/>
                  </a:lnTo>
                  <a:lnTo>
                    <a:pt x="140" y="617"/>
                  </a:lnTo>
                  <a:lnTo>
                    <a:pt x="146" y="619"/>
                  </a:lnTo>
                  <a:lnTo>
                    <a:pt x="148" y="619"/>
                  </a:lnTo>
                  <a:lnTo>
                    <a:pt x="149" y="620"/>
                  </a:lnTo>
                  <a:lnTo>
                    <a:pt x="149" y="622"/>
                  </a:lnTo>
                  <a:lnTo>
                    <a:pt x="151" y="625"/>
                  </a:lnTo>
                  <a:lnTo>
                    <a:pt x="151" y="625"/>
                  </a:lnTo>
                  <a:lnTo>
                    <a:pt x="152" y="625"/>
                  </a:lnTo>
                  <a:lnTo>
                    <a:pt x="152" y="625"/>
                  </a:lnTo>
                  <a:lnTo>
                    <a:pt x="154" y="624"/>
                  </a:lnTo>
                  <a:lnTo>
                    <a:pt x="155" y="624"/>
                  </a:lnTo>
                  <a:lnTo>
                    <a:pt x="160" y="622"/>
                  </a:lnTo>
                  <a:lnTo>
                    <a:pt x="160" y="622"/>
                  </a:lnTo>
                  <a:lnTo>
                    <a:pt x="160" y="624"/>
                  </a:lnTo>
                  <a:lnTo>
                    <a:pt x="160" y="625"/>
                  </a:lnTo>
                  <a:lnTo>
                    <a:pt x="160" y="627"/>
                  </a:lnTo>
                  <a:lnTo>
                    <a:pt x="160" y="627"/>
                  </a:lnTo>
                  <a:lnTo>
                    <a:pt x="155" y="628"/>
                  </a:lnTo>
                  <a:lnTo>
                    <a:pt x="152" y="628"/>
                  </a:lnTo>
                  <a:lnTo>
                    <a:pt x="151" y="628"/>
                  </a:lnTo>
                  <a:lnTo>
                    <a:pt x="151" y="630"/>
                  </a:lnTo>
                  <a:lnTo>
                    <a:pt x="151" y="631"/>
                  </a:lnTo>
                  <a:lnTo>
                    <a:pt x="151" y="631"/>
                  </a:lnTo>
                  <a:lnTo>
                    <a:pt x="149" y="634"/>
                  </a:lnTo>
                  <a:lnTo>
                    <a:pt x="149" y="634"/>
                  </a:lnTo>
                  <a:lnTo>
                    <a:pt x="148" y="636"/>
                  </a:lnTo>
                  <a:lnTo>
                    <a:pt x="146" y="636"/>
                  </a:lnTo>
                  <a:lnTo>
                    <a:pt x="146" y="636"/>
                  </a:lnTo>
                  <a:lnTo>
                    <a:pt x="146" y="637"/>
                  </a:lnTo>
                  <a:lnTo>
                    <a:pt x="146" y="639"/>
                  </a:lnTo>
                  <a:lnTo>
                    <a:pt x="148" y="640"/>
                  </a:lnTo>
                  <a:lnTo>
                    <a:pt x="149" y="640"/>
                  </a:lnTo>
                  <a:lnTo>
                    <a:pt x="152" y="640"/>
                  </a:lnTo>
                  <a:lnTo>
                    <a:pt x="157" y="637"/>
                  </a:lnTo>
                  <a:lnTo>
                    <a:pt x="158" y="637"/>
                  </a:lnTo>
                  <a:lnTo>
                    <a:pt x="160" y="637"/>
                  </a:lnTo>
                  <a:lnTo>
                    <a:pt x="158" y="639"/>
                  </a:lnTo>
                  <a:lnTo>
                    <a:pt x="154" y="642"/>
                  </a:lnTo>
                  <a:lnTo>
                    <a:pt x="149" y="642"/>
                  </a:lnTo>
                  <a:lnTo>
                    <a:pt x="148" y="644"/>
                  </a:lnTo>
                  <a:lnTo>
                    <a:pt x="148" y="645"/>
                  </a:lnTo>
                  <a:lnTo>
                    <a:pt x="143" y="644"/>
                  </a:lnTo>
                  <a:lnTo>
                    <a:pt x="142" y="644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5" y="645"/>
                  </a:lnTo>
                  <a:lnTo>
                    <a:pt x="145" y="647"/>
                  </a:lnTo>
                  <a:lnTo>
                    <a:pt x="143" y="647"/>
                  </a:lnTo>
                  <a:lnTo>
                    <a:pt x="142" y="647"/>
                  </a:lnTo>
                  <a:lnTo>
                    <a:pt x="140" y="644"/>
                  </a:lnTo>
                  <a:lnTo>
                    <a:pt x="140" y="642"/>
                  </a:lnTo>
                  <a:lnTo>
                    <a:pt x="138" y="642"/>
                  </a:lnTo>
                  <a:lnTo>
                    <a:pt x="135" y="642"/>
                  </a:lnTo>
                  <a:lnTo>
                    <a:pt x="134" y="644"/>
                  </a:lnTo>
                  <a:lnTo>
                    <a:pt x="134" y="645"/>
                  </a:lnTo>
                  <a:lnTo>
                    <a:pt x="134" y="648"/>
                  </a:lnTo>
                  <a:lnTo>
                    <a:pt x="135" y="650"/>
                  </a:lnTo>
                  <a:lnTo>
                    <a:pt x="137" y="651"/>
                  </a:lnTo>
                  <a:lnTo>
                    <a:pt x="138" y="653"/>
                  </a:lnTo>
                  <a:lnTo>
                    <a:pt x="140" y="653"/>
                  </a:lnTo>
                  <a:lnTo>
                    <a:pt x="142" y="653"/>
                  </a:lnTo>
                  <a:lnTo>
                    <a:pt x="142" y="653"/>
                  </a:lnTo>
                  <a:lnTo>
                    <a:pt x="142" y="653"/>
                  </a:lnTo>
                  <a:lnTo>
                    <a:pt x="143" y="651"/>
                  </a:lnTo>
                  <a:lnTo>
                    <a:pt x="143" y="651"/>
                  </a:lnTo>
                  <a:lnTo>
                    <a:pt x="149" y="651"/>
                  </a:lnTo>
                  <a:lnTo>
                    <a:pt x="151" y="650"/>
                  </a:lnTo>
                  <a:lnTo>
                    <a:pt x="152" y="650"/>
                  </a:lnTo>
                  <a:lnTo>
                    <a:pt x="154" y="648"/>
                  </a:lnTo>
                  <a:lnTo>
                    <a:pt x="154" y="650"/>
                  </a:lnTo>
                  <a:lnTo>
                    <a:pt x="155" y="650"/>
                  </a:lnTo>
                  <a:lnTo>
                    <a:pt x="155" y="650"/>
                  </a:lnTo>
                  <a:lnTo>
                    <a:pt x="157" y="650"/>
                  </a:lnTo>
                  <a:lnTo>
                    <a:pt x="158" y="648"/>
                  </a:lnTo>
                  <a:lnTo>
                    <a:pt x="165" y="645"/>
                  </a:lnTo>
                  <a:lnTo>
                    <a:pt x="166" y="644"/>
                  </a:lnTo>
                  <a:lnTo>
                    <a:pt x="168" y="644"/>
                  </a:lnTo>
                  <a:lnTo>
                    <a:pt x="168" y="644"/>
                  </a:lnTo>
                  <a:lnTo>
                    <a:pt x="168" y="642"/>
                  </a:lnTo>
                  <a:lnTo>
                    <a:pt x="169" y="642"/>
                  </a:lnTo>
                  <a:lnTo>
                    <a:pt x="171" y="640"/>
                  </a:lnTo>
                  <a:lnTo>
                    <a:pt x="171" y="640"/>
                  </a:lnTo>
                  <a:lnTo>
                    <a:pt x="172" y="642"/>
                  </a:lnTo>
                  <a:lnTo>
                    <a:pt x="172" y="644"/>
                  </a:lnTo>
                  <a:lnTo>
                    <a:pt x="171" y="644"/>
                  </a:lnTo>
                  <a:lnTo>
                    <a:pt x="171" y="645"/>
                  </a:lnTo>
                  <a:lnTo>
                    <a:pt x="169" y="645"/>
                  </a:lnTo>
                  <a:lnTo>
                    <a:pt x="172" y="647"/>
                  </a:lnTo>
                  <a:lnTo>
                    <a:pt x="175" y="647"/>
                  </a:lnTo>
                  <a:lnTo>
                    <a:pt x="182" y="642"/>
                  </a:lnTo>
                  <a:lnTo>
                    <a:pt x="183" y="640"/>
                  </a:lnTo>
                  <a:lnTo>
                    <a:pt x="183" y="639"/>
                  </a:lnTo>
                  <a:lnTo>
                    <a:pt x="182" y="637"/>
                  </a:lnTo>
                  <a:lnTo>
                    <a:pt x="180" y="639"/>
                  </a:lnTo>
                  <a:lnTo>
                    <a:pt x="179" y="639"/>
                  </a:lnTo>
                  <a:lnTo>
                    <a:pt x="177" y="640"/>
                  </a:lnTo>
                  <a:lnTo>
                    <a:pt x="177" y="639"/>
                  </a:lnTo>
                  <a:lnTo>
                    <a:pt x="180" y="637"/>
                  </a:lnTo>
                  <a:lnTo>
                    <a:pt x="180" y="634"/>
                  </a:lnTo>
                  <a:lnTo>
                    <a:pt x="180" y="633"/>
                  </a:lnTo>
                  <a:lnTo>
                    <a:pt x="180" y="633"/>
                  </a:lnTo>
                  <a:lnTo>
                    <a:pt x="182" y="633"/>
                  </a:lnTo>
                  <a:lnTo>
                    <a:pt x="182" y="634"/>
                  </a:lnTo>
                  <a:lnTo>
                    <a:pt x="182" y="634"/>
                  </a:lnTo>
                  <a:lnTo>
                    <a:pt x="182" y="636"/>
                  </a:lnTo>
                  <a:lnTo>
                    <a:pt x="183" y="636"/>
                  </a:lnTo>
                  <a:lnTo>
                    <a:pt x="186" y="636"/>
                  </a:lnTo>
                  <a:lnTo>
                    <a:pt x="186" y="636"/>
                  </a:lnTo>
                  <a:lnTo>
                    <a:pt x="186" y="633"/>
                  </a:lnTo>
                  <a:lnTo>
                    <a:pt x="185" y="631"/>
                  </a:lnTo>
                  <a:lnTo>
                    <a:pt x="185" y="631"/>
                  </a:lnTo>
                  <a:lnTo>
                    <a:pt x="186" y="631"/>
                  </a:lnTo>
                  <a:lnTo>
                    <a:pt x="186" y="631"/>
                  </a:lnTo>
                  <a:lnTo>
                    <a:pt x="186" y="631"/>
                  </a:lnTo>
                  <a:lnTo>
                    <a:pt x="188" y="628"/>
                  </a:lnTo>
                  <a:lnTo>
                    <a:pt x="186" y="628"/>
                  </a:lnTo>
                  <a:lnTo>
                    <a:pt x="185" y="628"/>
                  </a:lnTo>
                  <a:lnTo>
                    <a:pt x="185" y="628"/>
                  </a:lnTo>
                  <a:lnTo>
                    <a:pt x="185" y="627"/>
                  </a:lnTo>
                  <a:lnTo>
                    <a:pt x="183" y="625"/>
                  </a:lnTo>
                  <a:lnTo>
                    <a:pt x="183" y="624"/>
                  </a:lnTo>
                  <a:lnTo>
                    <a:pt x="182" y="624"/>
                  </a:lnTo>
                  <a:lnTo>
                    <a:pt x="182" y="624"/>
                  </a:lnTo>
                  <a:lnTo>
                    <a:pt x="180" y="624"/>
                  </a:lnTo>
                  <a:lnTo>
                    <a:pt x="179" y="624"/>
                  </a:lnTo>
                  <a:lnTo>
                    <a:pt x="179" y="622"/>
                  </a:lnTo>
                  <a:lnTo>
                    <a:pt x="177" y="620"/>
                  </a:lnTo>
                  <a:lnTo>
                    <a:pt x="177" y="619"/>
                  </a:lnTo>
                  <a:lnTo>
                    <a:pt x="175" y="619"/>
                  </a:lnTo>
                  <a:lnTo>
                    <a:pt x="175" y="619"/>
                  </a:lnTo>
                  <a:lnTo>
                    <a:pt x="174" y="620"/>
                  </a:lnTo>
                  <a:lnTo>
                    <a:pt x="172" y="620"/>
                  </a:lnTo>
                  <a:lnTo>
                    <a:pt x="172" y="619"/>
                  </a:lnTo>
                  <a:lnTo>
                    <a:pt x="172" y="619"/>
                  </a:lnTo>
                  <a:lnTo>
                    <a:pt x="165" y="619"/>
                  </a:lnTo>
                  <a:lnTo>
                    <a:pt x="163" y="619"/>
                  </a:lnTo>
                  <a:lnTo>
                    <a:pt x="163" y="617"/>
                  </a:lnTo>
                  <a:lnTo>
                    <a:pt x="163" y="617"/>
                  </a:lnTo>
                  <a:lnTo>
                    <a:pt x="163" y="616"/>
                  </a:lnTo>
                  <a:lnTo>
                    <a:pt x="160" y="608"/>
                  </a:lnTo>
                  <a:lnTo>
                    <a:pt x="158" y="605"/>
                  </a:lnTo>
                  <a:lnTo>
                    <a:pt x="155" y="605"/>
                  </a:lnTo>
                  <a:lnTo>
                    <a:pt x="157" y="605"/>
                  </a:lnTo>
                  <a:lnTo>
                    <a:pt x="157" y="603"/>
                  </a:lnTo>
                  <a:close/>
                  <a:moveTo>
                    <a:pt x="111" y="610"/>
                  </a:moveTo>
                  <a:lnTo>
                    <a:pt x="109" y="610"/>
                  </a:lnTo>
                  <a:lnTo>
                    <a:pt x="109" y="611"/>
                  </a:lnTo>
                  <a:lnTo>
                    <a:pt x="109" y="613"/>
                  </a:lnTo>
                  <a:lnTo>
                    <a:pt x="111" y="614"/>
                  </a:lnTo>
                  <a:lnTo>
                    <a:pt x="111" y="613"/>
                  </a:lnTo>
                  <a:lnTo>
                    <a:pt x="111" y="611"/>
                  </a:lnTo>
                  <a:lnTo>
                    <a:pt x="112" y="611"/>
                  </a:lnTo>
                  <a:lnTo>
                    <a:pt x="114" y="613"/>
                  </a:lnTo>
                  <a:lnTo>
                    <a:pt x="115" y="611"/>
                  </a:lnTo>
                  <a:lnTo>
                    <a:pt x="118" y="608"/>
                  </a:lnTo>
                  <a:lnTo>
                    <a:pt x="122" y="605"/>
                  </a:lnTo>
                  <a:lnTo>
                    <a:pt x="123" y="605"/>
                  </a:lnTo>
                  <a:lnTo>
                    <a:pt x="123" y="603"/>
                  </a:lnTo>
                  <a:lnTo>
                    <a:pt x="125" y="603"/>
                  </a:lnTo>
                  <a:lnTo>
                    <a:pt x="125" y="603"/>
                  </a:lnTo>
                  <a:lnTo>
                    <a:pt x="125" y="602"/>
                  </a:lnTo>
                  <a:lnTo>
                    <a:pt x="126" y="599"/>
                  </a:lnTo>
                  <a:lnTo>
                    <a:pt x="126" y="597"/>
                  </a:lnTo>
                  <a:lnTo>
                    <a:pt x="128" y="596"/>
                  </a:lnTo>
                  <a:lnTo>
                    <a:pt x="126" y="596"/>
                  </a:lnTo>
                  <a:lnTo>
                    <a:pt x="125" y="596"/>
                  </a:lnTo>
                  <a:lnTo>
                    <a:pt x="123" y="597"/>
                  </a:lnTo>
                  <a:lnTo>
                    <a:pt x="122" y="599"/>
                  </a:lnTo>
                  <a:lnTo>
                    <a:pt x="120" y="599"/>
                  </a:lnTo>
                  <a:lnTo>
                    <a:pt x="117" y="602"/>
                  </a:lnTo>
                  <a:lnTo>
                    <a:pt x="115" y="602"/>
                  </a:lnTo>
                  <a:lnTo>
                    <a:pt x="112" y="608"/>
                  </a:lnTo>
                  <a:lnTo>
                    <a:pt x="111" y="610"/>
                  </a:lnTo>
                  <a:close/>
                  <a:moveTo>
                    <a:pt x="51" y="562"/>
                  </a:moveTo>
                  <a:lnTo>
                    <a:pt x="52" y="562"/>
                  </a:lnTo>
                  <a:lnTo>
                    <a:pt x="54" y="562"/>
                  </a:lnTo>
                  <a:lnTo>
                    <a:pt x="54" y="560"/>
                  </a:lnTo>
                  <a:lnTo>
                    <a:pt x="54" y="559"/>
                  </a:lnTo>
                  <a:lnTo>
                    <a:pt x="54" y="559"/>
                  </a:lnTo>
                  <a:lnTo>
                    <a:pt x="55" y="559"/>
                  </a:lnTo>
                  <a:lnTo>
                    <a:pt x="55" y="557"/>
                  </a:lnTo>
                  <a:lnTo>
                    <a:pt x="55" y="557"/>
                  </a:lnTo>
                  <a:lnTo>
                    <a:pt x="57" y="556"/>
                  </a:lnTo>
                  <a:lnTo>
                    <a:pt x="58" y="556"/>
                  </a:lnTo>
                  <a:lnTo>
                    <a:pt x="58" y="556"/>
                  </a:lnTo>
                  <a:lnTo>
                    <a:pt x="58" y="554"/>
                  </a:lnTo>
                  <a:lnTo>
                    <a:pt x="57" y="554"/>
                  </a:lnTo>
                  <a:lnTo>
                    <a:pt x="57" y="553"/>
                  </a:lnTo>
                  <a:lnTo>
                    <a:pt x="57" y="553"/>
                  </a:lnTo>
                  <a:lnTo>
                    <a:pt x="54" y="551"/>
                  </a:lnTo>
                  <a:lnTo>
                    <a:pt x="55" y="550"/>
                  </a:lnTo>
                  <a:lnTo>
                    <a:pt x="55" y="548"/>
                  </a:lnTo>
                  <a:lnTo>
                    <a:pt x="55" y="548"/>
                  </a:lnTo>
                  <a:lnTo>
                    <a:pt x="55" y="547"/>
                  </a:lnTo>
                  <a:lnTo>
                    <a:pt x="55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4" y="547"/>
                  </a:lnTo>
                  <a:lnTo>
                    <a:pt x="52" y="550"/>
                  </a:lnTo>
                  <a:lnTo>
                    <a:pt x="51" y="551"/>
                  </a:lnTo>
                  <a:lnTo>
                    <a:pt x="49" y="551"/>
                  </a:lnTo>
                  <a:lnTo>
                    <a:pt x="48" y="553"/>
                  </a:lnTo>
                  <a:lnTo>
                    <a:pt x="48" y="554"/>
                  </a:lnTo>
                  <a:lnTo>
                    <a:pt x="49" y="556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6" y="557"/>
                  </a:lnTo>
                  <a:lnTo>
                    <a:pt x="45" y="559"/>
                  </a:lnTo>
                  <a:lnTo>
                    <a:pt x="45" y="560"/>
                  </a:lnTo>
                  <a:lnTo>
                    <a:pt x="46" y="560"/>
                  </a:lnTo>
                  <a:lnTo>
                    <a:pt x="51" y="562"/>
                  </a:lnTo>
                  <a:close/>
                  <a:moveTo>
                    <a:pt x="142" y="551"/>
                  </a:moveTo>
                  <a:lnTo>
                    <a:pt x="140" y="548"/>
                  </a:lnTo>
                  <a:lnTo>
                    <a:pt x="137" y="547"/>
                  </a:lnTo>
                  <a:lnTo>
                    <a:pt x="134" y="547"/>
                  </a:lnTo>
                  <a:lnTo>
                    <a:pt x="131" y="548"/>
                  </a:lnTo>
                  <a:lnTo>
                    <a:pt x="128" y="554"/>
                  </a:lnTo>
                  <a:lnTo>
                    <a:pt x="128" y="554"/>
                  </a:lnTo>
                  <a:lnTo>
                    <a:pt x="131" y="557"/>
                  </a:lnTo>
                  <a:lnTo>
                    <a:pt x="132" y="557"/>
                  </a:lnTo>
                  <a:lnTo>
                    <a:pt x="132" y="557"/>
                  </a:lnTo>
                  <a:lnTo>
                    <a:pt x="134" y="562"/>
                  </a:lnTo>
                  <a:lnTo>
                    <a:pt x="135" y="562"/>
                  </a:lnTo>
                  <a:lnTo>
                    <a:pt x="138" y="562"/>
                  </a:lnTo>
                  <a:lnTo>
                    <a:pt x="140" y="560"/>
                  </a:lnTo>
                  <a:lnTo>
                    <a:pt x="142" y="557"/>
                  </a:lnTo>
                  <a:lnTo>
                    <a:pt x="143" y="553"/>
                  </a:lnTo>
                  <a:lnTo>
                    <a:pt x="142" y="553"/>
                  </a:lnTo>
                  <a:lnTo>
                    <a:pt x="142" y="551"/>
                  </a:lnTo>
                  <a:lnTo>
                    <a:pt x="142" y="551"/>
                  </a:lnTo>
                  <a:close/>
                  <a:moveTo>
                    <a:pt x="120" y="548"/>
                  </a:moveTo>
                  <a:lnTo>
                    <a:pt x="123" y="547"/>
                  </a:lnTo>
                  <a:lnTo>
                    <a:pt x="125" y="547"/>
                  </a:lnTo>
                  <a:lnTo>
                    <a:pt x="123" y="545"/>
                  </a:lnTo>
                  <a:lnTo>
                    <a:pt x="122" y="545"/>
                  </a:lnTo>
                  <a:lnTo>
                    <a:pt x="122" y="543"/>
                  </a:lnTo>
                  <a:lnTo>
                    <a:pt x="120" y="545"/>
                  </a:lnTo>
                  <a:lnTo>
                    <a:pt x="117" y="547"/>
                  </a:lnTo>
                  <a:lnTo>
                    <a:pt x="115" y="547"/>
                  </a:lnTo>
                  <a:lnTo>
                    <a:pt x="118" y="548"/>
                  </a:lnTo>
                  <a:lnTo>
                    <a:pt x="120" y="548"/>
                  </a:lnTo>
                  <a:close/>
                  <a:moveTo>
                    <a:pt x="162" y="510"/>
                  </a:moveTo>
                  <a:lnTo>
                    <a:pt x="160" y="511"/>
                  </a:lnTo>
                  <a:lnTo>
                    <a:pt x="160" y="513"/>
                  </a:lnTo>
                  <a:lnTo>
                    <a:pt x="162" y="514"/>
                  </a:lnTo>
                  <a:lnTo>
                    <a:pt x="165" y="516"/>
                  </a:lnTo>
                  <a:lnTo>
                    <a:pt x="166" y="514"/>
                  </a:lnTo>
                  <a:lnTo>
                    <a:pt x="166" y="513"/>
                  </a:lnTo>
                  <a:lnTo>
                    <a:pt x="165" y="510"/>
                  </a:lnTo>
                  <a:lnTo>
                    <a:pt x="162" y="510"/>
                  </a:lnTo>
                  <a:close/>
                  <a:moveTo>
                    <a:pt x="66" y="522"/>
                  </a:moveTo>
                  <a:lnTo>
                    <a:pt x="68" y="522"/>
                  </a:lnTo>
                  <a:lnTo>
                    <a:pt x="68" y="520"/>
                  </a:lnTo>
                  <a:lnTo>
                    <a:pt x="69" y="517"/>
                  </a:lnTo>
                  <a:lnTo>
                    <a:pt x="69" y="516"/>
                  </a:lnTo>
                  <a:lnTo>
                    <a:pt x="71" y="516"/>
                  </a:lnTo>
                  <a:lnTo>
                    <a:pt x="71" y="514"/>
                  </a:lnTo>
                  <a:lnTo>
                    <a:pt x="72" y="514"/>
                  </a:lnTo>
                  <a:lnTo>
                    <a:pt x="72" y="513"/>
                  </a:lnTo>
                  <a:lnTo>
                    <a:pt x="71" y="513"/>
                  </a:lnTo>
                  <a:lnTo>
                    <a:pt x="69" y="511"/>
                  </a:lnTo>
                  <a:lnTo>
                    <a:pt x="69" y="511"/>
                  </a:lnTo>
                  <a:lnTo>
                    <a:pt x="68" y="510"/>
                  </a:lnTo>
                  <a:lnTo>
                    <a:pt x="68" y="510"/>
                  </a:lnTo>
                  <a:lnTo>
                    <a:pt x="65" y="510"/>
                  </a:lnTo>
                  <a:lnTo>
                    <a:pt x="63" y="508"/>
                  </a:lnTo>
                  <a:lnTo>
                    <a:pt x="63" y="506"/>
                  </a:lnTo>
                  <a:lnTo>
                    <a:pt x="63" y="506"/>
                  </a:lnTo>
                  <a:lnTo>
                    <a:pt x="61" y="505"/>
                  </a:lnTo>
                  <a:lnTo>
                    <a:pt x="60" y="505"/>
                  </a:lnTo>
                  <a:lnTo>
                    <a:pt x="60" y="505"/>
                  </a:lnTo>
                  <a:lnTo>
                    <a:pt x="58" y="505"/>
                  </a:lnTo>
                  <a:lnTo>
                    <a:pt x="58" y="505"/>
                  </a:lnTo>
                  <a:lnTo>
                    <a:pt x="58" y="503"/>
                  </a:lnTo>
                  <a:lnTo>
                    <a:pt x="58" y="503"/>
                  </a:lnTo>
                  <a:lnTo>
                    <a:pt x="58" y="502"/>
                  </a:lnTo>
                  <a:lnTo>
                    <a:pt x="57" y="502"/>
                  </a:lnTo>
                  <a:lnTo>
                    <a:pt x="58" y="500"/>
                  </a:lnTo>
                  <a:lnTo>
                    <a:pt x="60" y="502"/>
                  </a:lnTo>
                  <a:lnTo>
                    <a:pt x="61" y="505"/>
                  </a:lnTo>
                  <a:lnTo>
                    <a:pt x="65" y="506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8" y="506"/>
                  </a:lnTo>
                  <a:lnTo>
                    <a:pt x="66" y="503"/>
                  </a:lnTo>
                  <a:lnTo>
                    <a:pt x="65" y="503"/>
                  </a:lnTo>
                  <a:lnTo>
                    <a:pt x="65" y="503"/>
                  </a:lnTo>
                  <a:lnTo>
                    <a:pt x="66" y="503"/>
                  </a:lnTo>
                  <a:lnTo>
                    <a:pt x="66" y="503"/>
                  </a:lnTo>
                  <a:lnTo>
                    <a:pt x="68" y="503"/>
                  </a:lnTo>
                  <a:lnTo>
                    <a:pt x="60" y="499"/>
                  </a:lnTo>
                  <a:lnTo>
                    <a:pt x="60" y="499"/>
                  </a:lnTo>
                  <a:lnTo>
                    <a:pt x="57" y="500"/>
                  </a:lnTo>
                  <a:lnTo>
                    <a:pt x="55" y="500"/>
                  </a:lnTo>
                  <a:lnTo>
                    <a:pt x="57" y="506"/>
                  </a:lnTo>
                  <a:lnTo>
                    <a:pt x="57" y="511"/>
                  </a:lnTo>
                  <a:lnTo>
                    <a:pt x="57" y="513"/>
                  </a:lnTo>
                  <a:lnTo>
                    <a:pt x="55" y="514"/>
                  </a:lnTo>
                  <a:lnTo>
                    <a:pt x="55" y="514"/>
                  </a:lnTo>
                  <a:lnTo>
                    <a:pt x="55" y="516"/>
                  </a:lnTo>
                  <a:lnTo>
                    <a:pt x="55" y="517"/>
                  </a:lnTo>
                  <a:lnTo>
                    <a:pt x="54" y="519"/>
                  </a:lnTo>
                  <a:lnTo>
                    <a:pt x="54" y="520"/>
                  </a:lnTo>
                  <a:lnTo>
                    <a:pt x="52" y="522"/>
                  </a:lnTo>
                  <a:lnTo>
                    <a:pt x="54" y="522"/>
                  </a:lnTo>
                  <a:lnTo>
                    <a:pt x="54" y="522"/>
                  </a:lnTo>
                  <a:lnTo>
                    <a:pt x="55" y="525"/>
                  </a:lnTo>
                  <a:lnTo>
                    <a:pt x="55" y="525"/>
                  </a:lnTo>
                  <a:lnTo>
                    <a:pt x="55" y="527"/>
                  </a:lnTo>
                  <a:lnTo>
                    <a:pt x="55" y="530"/>
                  </a:lnTo>
                  <a:lnTo>
                    <a:pt x="57" y="536"/>
                  </a:lnTo>
                  <a:lnTo>
                    <a:pt x="58" y="537"/>
                  </a:lnTo>
                  <a:lnTo>
                    <a:pt x="60" y="540"/>
                  </a:lnTo>
                  <a:lnTo>
                    <a:pt x="63" y="539"/>
                  </a:lnTo>
                  <a:lnTo>
                    <a:pt x="69" y="540"/>
                  </a:lnTo>
                  <a:lnTo>
                    <a:pt x="71" y="539"/>
                  </a:lnTo>
                  <a:lnTo>
                    <a:pt x="71" y="537"/>
                  </a:lnTo>
                  <a:lnTo>
                    <a:pt x="69" y="537"/>
                  </a:lnTo>
                  <a:lnTo>
                    <a:pt x="68" y="536"/>
                  </a:lnTo>
                  <a:lnTo>
                    <a:pt x="68" y="534"/>
                  </a:lnTo>
                  <a:lnTo>
                    <a:pt x="66" y="534"/>
                  </a:lnTo>
                  <a:lnTo>
                    <a:pt x="65" y="534"/>
                  </a:lnTo>
                  <a:lnTo>
                    <a:pt x="61" y="534"/>
                  </a:lnTo>
                  <a:lnTo>
                    <a:pt x="61" y="534"/>
                  </a:lnTo>
                  <a:lnTo>
                    <a:pt x="61" y="533"/>
                  </a:lnTo>
                  <a:lnTo>
                    <a:pt x="63" y="533"/>
                  </a:lnTo>
                  <a:lnTo>
                    <a:pt x="65" y="533"/>
                  </a:lnTo>
                  <a:lnTo>
                    <a:pt x="66" y="534"/>
                  </a:lnTo>
                  <a:lnTo>
                    <a:pt x="68" y="533"/>
                  </a:lnTo>
                  <a:lnTo>
                    <a:pt x="68" y="530"/>
                  </a:lnTo>
                  <a:lnTo>
                    <a:pt x="68" y="527"/>
                  </a:lnTo>
                  <a:lnTo>
                    <a:pt x="66" y="525"/>
                  </a:lnTo>
                  <a:lnTo>
                    <a:pt x="65" y="523"/>
                  </a:lnTo>
                  <a:lnTo>
                    <a:pt x="60" y="522"/>
                  </a:lnTo>
                  <a:lnTo>
                    <a:pt x="60" y="520"/>
                  </a:lnTo>
                  <a:lnTo>
                    <a:pt x="66" y="522"/>
                  </a:lnTo>
                  <a:close/>
                  <a:moveTo>
                    <a:pt x="66" y="488"/>
                  </a:moveTo>
                  <a:lnTo>
                    <a:pt x="66" y="488"/>
                  </a:lnTo>
                  <a:lnTo>
                    <a:pt x="68" y="488"/>
                  </a:lnTo>
                  <a:lnTo>
                    <a:pt x="66" y="488"/>
                  </a:lnTo>
                  <a:lnTo>
                    <a:pt x="65" y="488"/>
                  </a:lnTo>
                  <a:lnTo>
                    <a:pt x="65" y="488"/>
                  </a:lnTo>
                  <a:lnTo>
                    <a:pt x="65" y="486"/>
                  </a:lnTo>
                  <a:lnTo>
                    <a:pt x="63" y="488"/>
                  </a:lnTo>
                  <a:lnTo>
                    <a:pt x="63" y="488"/>
                  </a:lnTo>
                  <a:lnTo>
                    <a:pt x="61" y="488"/>
                  </a:lnTo>
                  <a:lnTo>
                    <a:pt x="61" y="486"/>
                  </a:lnTo>
                  <a:lnTo>
                    <a:pt x="58" y="486"/>
                  </a:lnTo>
                  <a:lnTo>
                    <a:pt x="57" y="488"/>
                  </a:lnTo>
                  <a:lnTo>
                    <a:pt x="57" y="490"/>
                  </a:lnTo>
                  <a:lnTo>
                    <a:pt x="57" y="493"/>
                  </a:lnTo>
                  <a:lnTo>
                    <a:pt x="57" y="494"/>
                  </a:lnTo>
                  <a:lnTo>
                    <a:pt x="63" y="499"/>
                  </a:lnTo>
                  <a:lnTo>
                    <a:pt x="65" y="499"/>
                  </a:lnTo>
                  <a:lnTo>
                    <a:pt x="71" y="497"/>
                  </a:lnTo>
                  <a:lnTo>
                    <a:pt x="71" y="496"/>
                  </a:lnTo>
                  <a:lnTo>
                    <a:pt x="71" y="494"/>
                  </a:lnTo>
                  <a:lnTo>
                    <a:pt x="69" y="494"/>
                  </a:lnTo>
                  <a:lnTo>
                    <a:pt x="68" y="494"/>
                  </a:lnTo>
                  <a:lnTo>
                    <a:pt x="68" y="494"/>
                  </a:lnTo>
                  <a:lnTo>
                    <a:pt x="68" y="493"/>
                  </a:lnTo>
                  <a:lnTo>
                    <a:pt x="68" y="493"/>
                  </a:lnTo>
                  <a:lnTo>
                    <a:pt x="71" y="491"/>
                  </a:lnTo>
                  <a:lnTo>
                    <a:pt x="71" y="491"/>
                  </a:lnTo>
                  <a:lnTo>
                    <a:pt x="71" y="491"/>
                  </a:lnTo>
                  <a:lnTo>
                    <a:pt x="69" y="490"/>
                  </a:lnTo>
                  <a:lnTo>
                    <a:pt x="69" y="488"/>
                  </a:lnTo>
                  <a:lnTo>
                    <a:pt x="68" y="490"/>
                  </a:lnTo>
                  <a:lnTo>
                    <a:pt x="68" y="490"/>
                  </a:lnTo>
                  <a:lnTo>
                    <a:pt x="68" y="490"/>
                  </a:lnTo>
                  <a:lnTo>
                    <a:pt x="66" y="488"/>
                  </a:lnTo>
                  <a:lnTo>
                    <a:pt x="66" y="488"/>
                  </a:lnTo>
                  <a:lnTo>
                    <a:pt x="66" y="488"/>
                  </a:lnTo>
                  <a:close/>
                  <a:moveTo>
                    <a:pt x="155" y="506"/>
                  </a:moveTo>
                  <a:lnTo>
                    <a:pt x="155" y="506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7" y="510"/>
                  </a:lnTo>
                  <a:lnTo>
                    <a:pt x="158" y="510"/>
                  </a:lnTo>
                  <a:lnTo>
                    <a:pt x="158" y="508"/>
                  </a:lnTo>
                  <a:lnTo>
                    <a:pt x="160" y="508"/>
                  </a:lnTo>
                  <a:lnTo>
                    <a:pt x="162" y="506"/>
                  </a:lnTo>
                  <a:lnTo>
                    <a:pt x="162" y="505"/>
                  </a:lnTo>
                  <a:lnTo>
                    <a:pt x="160" y="502"/>
                  </a:lnTo>
                  <a:lnTo>
                    <a:pt x="160" y="500"/>
                  </a:lnTo>
                  <a:lnTo>
                    <a:pt x="160" y="497"/>
                  </a:lnTo>
                  <a:lnTo>
                    <a:pt x="160" y="493"/>
                  </a:lnTo>
                  <a:lnTo>
                    <a:pt x="162" y="488"/>
                  </a:lnTo>
                  <a:lnTo>
                    <a:pt x="162" y="486"/>
                  </a:lnTo>
                  <a:lnTo>
                    <a:pt x="162" y="485"/>
                  </a:lnTo>
                  <a:lnTo>
                    <a:pt x="162" y="485"/>
                  </a:lnTo>
                  <a:lnTo>
                    <a:pt x="162" y="483"/>
                  </a:lnTo>
                  <a:lnTo>
                    <a:pt x="160" y="483"/>
                  </a:lnTo>
                  <a:lnTo>
                    <a:pt x="162" y="486"/>
                  </a:lnTo>
                  <a:lnTo>
                    <a:pt x="162" y="486"/>
                  </a:lnTo>
                  <a:lnTo>
                    <a:pt x="160" y="486"/>
                  </a:lnTo>
                  <a:lnTo>
                    <a:pt x="158" y="486"/>
                  </a:lnTo>
                  <a:lnTo>
                    <a:pt x="158" y="486"/>
                  </a:lnTo>
                  <a:lnTo>
                    <a:pt x="158" y="488"/>
                  </a:lnTo>
                  <a:lnTo>
                    <a:pt x="158" y="490"/>
                  </a:lnTo>
                  <a:lnTo>
                    <a:pt x="160" y="490"/>
                  </a:lnTo>
                  <a:lnTo>
                    <a:pt x="160" y="491"/>
                  </a:lnTo>
                  <a:lnTo>
                    <a:pt x="157" y="491"/>
                  </a:lnTo>
                  <a:lnTo>
                    <a:pt x="157" y="493"/>
                  </a:lnTo>
                  <a:lnTo>
                    <a:pt x="155" y="494"/>
                  </a:lnTo>
                  <a:lnTo>
                    <a:pt x="155" y="503"/>
                  </a:lnTo>
                  <a:lnTo>
                    <a:pt x="155" y="505"/>
                  </a:lnTo>
                  <a:lnTo>
                    <a:pt x="155" y="506"/>
                  </a:lnTo>
                  <a:close/>
                  <a:moveTo>
                    <a:pt x="163" y="483"/>
                  </a:moveTo>
                  <a:lnTo>
                    <a:pt x="163" y="480"/>
                  </a:lnTo>
                  <a:lnTo>
                    <a:pt x="165" y="476"/>
                  </a:lnTo>
                  <a:lnTo>
                    <a:pt x="163" y="474"/>
                  </a:lnTo>
                  <a:lnTo>
                    <a:pt x="163" y="474"/>
                  </a:lnTo>
                  <a:lnTo>
                    <a:pt x="163" y="476"/>
                  </a:lnTo>
                  <a:lnTo>
                    <a:pt x="162" y="476"/>
                  </a:lnTo>
                  <a:lnTo>
                    <a:pt x="163" y="477"/>
                  </a:lnTo>
                  <a:lnTo>
                    <a:pt x="163" y="477"/>
                  </a:lnTo>
                  <a:lnTo>
                    <a:pt x="163" y="477"/>
                  </a:lnTo>
                  <a:lnTo>
                    <a:pt x="162" y="479"/>
                  </a:lnTo>
                  <a:lnTo>
                    <a:pt x="162" y="480"/>
                  </a:lnTo>
                  <a:lnTo>
                    <a:pt x="162" y="482"/>
                  </a:lnTo>
                  <a:lnTo>
                    <a:pt x="163" y="483"/>
                  </a:lnTo>
                  <a:close/>
                  <a:moveTo>
                    <a:pt x="51" y="476"/>
                  </a:moveTo>
                  <a:lnTo>
                    <a:pt x="51" y="47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4" y="476"/>
                  </a:lnTo>
                  <a:lnTo>
                    <a:pt x="54" y="474"/>
                  </a:lnTo>
                  <a:lnTo>
                    <a:pt x="55" y="476"/>
                  </a:lnTo>
                  <a:lnTo>
                    <a:pt x="60" y="477"/>
                  </a:lnTo>
                  <a:lnTo>
                    <a:pt x="63" y="479"/>
                  </a:lnTo>
                  <a:lnTo>
                    <a:pt x="61" y="479"/>
                  </a:lnTo>
                  <a:lnTo>
                    <a:pt x="61" y="479"/>
                  </a:lnTo>
                  <a:lnTo>
                    <a:pt x="61" y="480"/>
                  </a:lnTo>
                  <a:lnTo>
                    <a:pt x="61" y="480"/>
                  </a:lnTo>
                  <a:lnTo>
                    <a:pt x="61" y="482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3" y="483"/>
                  </a:lnTo>
                  <a:lnTo>
                    <a:pt x="65" y="485"/>
                  </a:lnTo>
                  <a:lnTo>
                    <a:pt x="68" y="483"/>
                  </a:lnTo>
                  <a:lnTo>
                    <a:pt x="69" y="485"/>
                  </a:lnTo>
                  <a:lnTo>
                    <a:pt x="71" y="483"/>
                  </a:lnTo>
                  <a:lnTo>
                    <a:pt x="72" y="483"/>
                  </a:lnTo>
                  <a:lnTo>
                    <a:pt x="75" y="483"/>
                  </a:lnTo>
                  <a:lnTo>
                    <a:pt x="77" y="480"/>
                  </a:lnTo>
                  <a:lnTo>
                    <a:pt x="77" y="480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4" y="479"/>
                  </a:lnTo>
                  <a:lnTo>
                    <a:pt x="72" y="477"/>
                  </a:lnTo>
                  <a:lnTo>
                    <a:pt x="69" y="479"/>
                  </a:lnTo>
                  <a:lnTo>
                    <a:pt x="63" y="479"/>
                  </a:lnTo>
                  <a:lnTo>
                    <a:pt x="63" y="479"/>
                  </a:lnTo>
                  <a:lnTo>
                    <a:pt x="66" y="476"/>
                  </a:lnTo>
                  <a:lnTo>
                    <a:pt x="68" y="476"/>
                  </a:lnTo>
                  <a:lnTo>
                    <a:pt x="68" y="476"/>
                  </a:lnTo>
                  <a:lnTo>
                    <a:pt x="68" y="477"/>
                  </a:lnTo>
                  <a:lnTo>
                    <a:pt x="69" y="479"/>
                  </a:lnTo>
                  <a:lnTo>
                    <a:pt x="69" y="479"/>
                  </a:lnTo>
                  <a:lnTo>
                    <a:pt x="71" y="477"/>
                  </a:lnTo>
                  <a:lnTo>
                    <a:pt x="71" y="477"/>
                  </a:lnTo>
                  <a:lnTo>
                    <a:pt x="75" y="477"/>
                  </a:lnTo>
                  <a:lnTo>
                    <a:pt x="77" y="476"/>
                  </a:lnTo>
                  <a:lnTo>
                    <a:pt x="78" y="473"/>
                  </a:lnTo>
                  <a:lnTo>
                    <a:pt x="77" y="473"/>
                  </a:lnTo>
                  <a:lnTo>
                    <a:pt x="75" y="473"/>
                  </a:lnTo>
                  <a:lnTo>
                    <a:pt x="74" y="473"/>
                  </a:lnTo>
                  <a:lnTo>
                    <a:pt x="74" y="470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68"/>
                  </a:lnTo>
                  <a:lnTo>
                    <a:pt x="72" y="468"/>
                  </a:lnTo>
                  <a:lnTo>
                    <a:pt x="72" y="466"/>
                  </a:lnTo>
                  <a:lnTo>
                    <a:pt x="71" y="466"/>
                  </a:lnTo>
                  <a:lnTo>
                    <a:pt x="71" y="466"/>
                  </a:lnTo>
                  <a:lnTo>
                    <a:pt x="71" y="466"/>
                  </a:lnTo>
                  <a:lnTo>
                    <a:pt x="74" y="466"/>
                  </a:lnTo>
                  <a:lnTo>
                    <a:pt x="75" y="468"/>
                  </a:lnTo>
                  <a:lnTo>
                    <a:pt x="77" y="468"/>
                  </a:lnTo>
                  <a:lnTo>
                    <a:pt x="77" y="468"/>
                  </a:lnTo>
                  <a:lnTo>
                    <a:pt x="77" y="470"/>
                  </a:lnTo>
                  <a:lnTo>
                    <a:pt x="78" y="471"/>
                  </a:lnTo>
                  <a:lnTo>
                    <a:pt x="78" y="471"/>
                  </a:lnTo>
                  <a:lnTo>
                    <a:pt x="80" y="470"/>
                  </a:lnTo>
                  <a:lnTo>
                    <a:pt x="81" y="468"/>
                  </a:lnTo>
                  <a:lnTo>
                    <a:pt x="81" y="466"/>
                  </a:lnTo>
                  <a:lnTo>
                    <a:pt x="81" y="465"/>
                  </a:lnTo>
                  <a:lnTo>
                    <a:pt x="80" y="465"/>
                  </a:lnTo>
                  <a:lnTo>
                    <a:pt x="78" y="465"/>
                  </a:lnTo>
                  <a:lnTo>
                    <a:pt x="77" y="465"/>
                  </a:lnTo>
                  <a:lnTo>
                    <a:pt x="75" y="463"/>
                  </a:lnTo>
                  <a:lnTo>
                    <a:pt x="74" y="465"/>
                  </a:lnTo>
                  <a:lnTo>
                    <a:pt x="72" y="463"/>
                  </a:lnTo>
                  <a:lnTo>
                    <a:pt x="74" y="463"/>
                  </a:lnTo>
                  <a:lnTo>
                    <a:pt x="74" y="462"/>
                  </a:lnTo>
                  <a:lnTo>
                    <a:pt x="74" y="460"/>
                  </a:lnTo>
                  <a:lnTo>
                    <a:pt x="72" y="459"/>
                  </a:lnTo>
                  <a:lnTo>
                    <a:pt x="71" y="460"/>
                  </a:lnTo>
                  <a:lnTo>
                    <a:pt x="68" y="462"/>
                  </a:lnTo>
                  <a:lnTo>
                    <a:pt x="66" y="463"/>
                  </a:lnTo>
                  <a:lnTo>
                    <a:pt x="68" y="463"/>
                  </a:lnTo>
                  <a:lnTo>
                    <a:pt x="68" y="463"/>
                  </a:lnTo>
                  <a:lnTo>
                    <a:pt x="68" y="465"/>
                  </a:lnTo>
                  <a:lnTo>
                    <a:pt x="66" y="465"/>
                  </a:lnTo>
                  <a:lnTo>
                    <a:pt x="61" y="463"/>
                  </a:lnTo>
                  <a:lnTo>
                    <a:pt x="63" y="462"/>
                  </a:lnTo>
                  <a:lnTo>
                    <a:pt x="63" y="460"/>
                  </a:lnTo>
                  <a:lnTo>
                    <a:pt x="63" y="460"/>
                  </a:lnTo>
                  <a:lnTo>
                    <a:pt x="63" y="459"/>
                  </a:lnTo>
                  <a:lnTo>
                    <a:pt x="61" y="460"/>
                  </a:lnTo>
                  <a:lnTo>
                    <a:pt x="60" y="465"/>
                  </a:lnTo>
                  <a:lnTo>
                    <a:pt x="57" y="466"/>
                  </a:lnTo>
                  <a:lnTo>
                    <a:pt x="55" y="465"/>
                  </a:lnTo>
                  <a:lnTo>
                    <a:pt x="57" y="463"/>
                  </a:lnTo>
                  <a:lnTo>
                    <a:pt x="58" y="463"/>
                  </a:lnTo>
                  <a:lnTo>
                    <a:pt x="58" y="463"/>
                  </a:lnTo>
                  <a:lnTo>
                    <a:pt x="52" y="463"/>
                  </a:lnTo>
                  <a:lnTo>
                    <a:pt x="51" y="463"/>
                  </a:lnTo>
                  <a:lnTo>
                    <a:pt x="49" y="465"/>
                  </a:lnTo>
                  <a:lnTo>
                    <a:pt x="49" y="468"/>
                  </a:lnTo>
                  <a:lnTo>
                    <a:pt x="48" y="471"/>
                  </a:lnTo>
                  <a:lnTo>
                    <a:pt x="46" y="471"/>
                  </a:lnTo>
                  <a:lnTo>
                    <a:pt x="46" y="473"/>
                  </a:lnTo>
                  <a:lnTo>
                    <a:pt x="49" y="476"/>
                  </a:lnTo>
                  <a:lnTo>
                    <a:pt x="51" y="476"/>
                  </a:lnTo>
                  <a:close/>
                  <a:moveTo>
                    <a:pt x="149" y="473"/>
                  </a:moveTo>
                  <a:lnTo>
                    <a:pt x="148" y="471"/>
                  </a:lnTo>
                  <a:lnTo>
                    <a:pt x="148" y="468"/>
                  </a:lnTo>
                  <a:lnTo>
                    <a:pt x="143" y="466"/>
                  </a:lnTo>
                  <a:lnTo>
                    <a:pt x="143" y="465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38" y="460"/>
                  </a:lnTo>
                  <a:lnTo>
                    <a:pt x="138" y="459"/>
                  </a:lnTo>
                  <a:lnTo>
                    <a:pt x="138" y="457"/>
                  </a:lnTo>
                  <a:lnTo>
                    <a:pt x="137" y="457"/>
                  </a:lnTo>
                  <a:lnTo>
                    <a:pt x="137" y="457"/>
                  </a:lnTo>
                  <a:lnTo>
                    <a:pt x="137" y="459"/>
                  </a:lnTo>
                  <a:lnTo>
                    <a:pt x="135" y="457"/>
                  </a:lnTo>
                  <a:lnTo>
                    <a:pt x="135" y="459"/>
                  </a:lnTo>
                  <a:lnTo>
                    <a:pt x="135" y="460"/>
                  </a:lnTo>
                  <a:lnTo>
                    <a:pt x="134" y="462"/>
                  </a:lnTo>
                  <a:lnTo>
                    <a:pt x="134" y="463"/>
                  </a:lnTo>
                  <a:lnTo>
                    <a:pt x="131" y="465"/>
                  </a:lnTo>
                  <a:lnTo>
                    <a:pt x="131" y="465"/>
                  </a:lnTo>
                  <a:lnTo>
                    <a:pt x="129" y="465"/>
                  </a:lnTo>
                  <a:lnTo>
                    <a:pt x="131" y="466"/>
                  </a:lnTo>
                  <a:lnTo>
                    <a:pt x="131" y="468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1"/>
                  </a:lnTo>
                  <a:lnTo>
                    <a:pt x="132" y="473"/>
                  </a:lnTo>
                  <a:lnTo>
                    <a:pt x="132" y="473"/>
                  </a:lnTo>
                  <a:lnTo>
                    <a:pt x="134" y="473"/>
                  </a:lnTo>
                  <a:lnTo>
                    <a:pt x="134" y="473"/>
                  </a:lnTo>
                  <a:lnTo>
                    <a:pt x="134" y="476"/>
                  </a:lnTo>
                  <a:lnTo>
                    <a:pt x="132" y="477"/>
                  </a:lnTo>
                  <a:lnTo>
                    <a:pt x="132" y="479"/>
                  </a:lnTo>
                  <a:lnTo>
                    <a:pt x="134" y="480"/>
                  </a:lnTo>
                  <a:lnTo>
                    <a:pt x="135" y="483"/>
                  </a:lnTo>
                  <a:lnTo>
                    <a:pt x="137" y="486"/>
                  </a:lnTo>
                  <a:lnTo>
                    <a:pt x="137" y="488"/>
                  </a:lnTo>
                  <a:lnTo>
                    <a:pt x="137" y="488"/>
                  </a:lnTo>
                  <a:lnTo>
                    <a:pt x="137" y="490"/>
                  </a:lnTo>
                  <a:lnTo>
                    <a:pt x="138" y="490"/>
                  </a:lnTo>
                  <a:lnTo>
                    <a:pt x="138" y="491"/>
                  </a:lnTo>
                  <a:lnTo>
                    <a:pt x="132" y="483"/>
                  </a:lnTo>
                  <a:lnTo>
                    <a:pt x="131" y="482"/>
                  </a:lnTo>
                  <a:lnTo>
                    <a:pt x="131" y="485"/>
                  </a:lnTo>
                  <a:lnTo>
                    <a:pt x="129" y="488"/>
                  </a:lnTo>
                  <a:lnTo>
                    <a:pt x="128" y="486"/>
                  </a:lnTo>
                  <a:lnTo>
                    <a:pt x="129" y="483"/>
                  </a:lnTo>
                  <a:lnTo>
                    <a:pt x="128" y="483"/>
                  </a:lnTo>
                  <a:lnTo>
                    <a:pt x="128" y="483"/>
                  </a:lnTo>
                  <a:lnTo>
                    <a:pt x="126" y="483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3" y="480"/>
                  </a:lnTo>
                  <a:lnTo>
                    <a:pt x="120" y="479"/>
                  </a:lnTo>
                  <a:lnTo>
                    <a:pt x="120" y="479"/>
                  </a:lnTo>
                  <a:lnTo>
                    <a:pt x="118" y="477"/>
                  </a:lnTo>
                  <a:lnTo>
                    <a:pt x="118" y="476"/>
                  </a:lnTo>
                  <a:lnTo>
                    <a:pt x="118" y="476"/>
                  </a:lnTo>
                  <a:lnTo>
                    <a:pt x="118" y="474"/>
                  </a:lnTo>
                  <a:lnTo>
                    <a:pt x="117" y="473"/>
                  </a:lnTo>
                  <a:lnTo>
                    <a:pt x="115" y="471"/>
                  </a:lnTo>
                  <a:lnTo>
                    <a:pt x="115" y="471"/>
                  </a:lnTo>
                  <a:lnTo>
                    <a:pt x="114" y="471"/>
                  </a:lnTo>
                  <a:lnTo>
                    <a:pt x="114" y="471"/>
                  </a:lnTo>
                  <a:lnTo>
                    <a:pt x="114" y="473"/>
                  </a:lnTo>
                  <a:lnTo>
                    <a:pt x="114" y="474"/>
                  </a:lnTo>
                  <a:lnTo>
                    <a:pt x="114" y="477"/>
                  </a:lnTo>
                  <a:lnTo>
                    <a:pt x="112" y="479"/>
                  </a:lnTo>
                  <a:lnTo>
                    <a:pt x="114" y="479"/>
                  </a:lnTo>
                  <a:lnTo>
                    <a:pt x="117" y="480"/>
                  </a:lnTo>
                  <a:lnTo>
                    <a:pt x="118" y="482"/>
                  </a:lnTo>
                  <a:lnTo>
                    <a:pt x="118" y="485"/>
                  </a:lnTo>
                  <a:lnTo>
                    <a:pt x="117" y="483"/>
                  </a:lnTo>
                  <a:lnTo>
                    <a:pt x="115" y="483"/>
                  </a:lnTo>
                  <a:lnTo>
                    <a:pt x="115" y="485"/>
                  </a:lnTo>
                  <a:lnTo>
                    <a:pt x="115" y="485"/>
                  </a:lnTo>
                  <a:lnTo>
                    <a:pt x="114" y="485"/>
                  </a:lnTo>
                  <a:lnTo>
                    <a:pt x="114" y="486"/>
                  </a:lnTo>
                  <a:lnTo>
                    <a:pt x="114" y="486"/>
                  </a:lnTo>
                  <a:lnTo>
                    <a:pt x="115" y="488"/>
                  </a:lnTo>
                  <a:lnTo>
                    <a:pt x="115" y="488"/>
                  </a:lnTo>
                  <a:lnTo>
                    <a:pt x="115" y="488"/>
                  </a:lnTo>
                  <a:lnTo>
                    <a:pt x="117" y="490"/>
                  </a:lnTo>
                  <a:lnTo>
                    <a:pt x="115" y="490"/>
                  </a:lnTo>
                  <a:lnTo>
                    <a:pt x="115" y="490"/>
                  </a:lnTo>
                  <a:lnTo>
                    <a:pt x="115" y="491"/>
                  </a:lnTo>
                  <a:lnTo>
                    <a:pt x="115" y="491"/>
                  </a:lnTo>
                  <a:lnTo>
                    <a:pt x="115" y="493"/>
                  </a:lnTo>
                  <a:lnTo>
                    <a:pt x="115" y="493"/>
                  </a:lnTo>
                  <a:lnTo>
                    <a:pt x="114" y="491"/>
                  </a:lnTo>
                  <a:lnTo>
                    <a:pt x="112" y="491"/>
                  </a:lnTo>
                  <a:lnTo>
                    <a:pt x="112" y="490"/>
                  </a:lnTo>
                  <a:lnTo>
                    <a:pt x="108" y="483"/>
                  </a:lnTo>
                  <a:lnTo>
                    <a:pt x="108" y="483"/>
                  </a:lnTo>
                  <a:lnTo>
                    <a:pt x="106" y="483"/>
                  </a:lnTo>
                  <a:lnTo>
                    <a:pt x="106" y="485"/>
                  </a:lnTo>
                  <a:lnTo>
                    <a:pt x="105" y="486"/>
                  </a:lnTo>
                  <a:lnTo>
                    <a:pt x="106" y="488"/>
                  </a:lnTo>
                  <a:lnTo>
                    <a:pt x="106" y="490"/>
                  </a:lnTo>
                  <a:lnTo>
                    <a:pt x="108" y="491"/>
                  </a:lnTo>
                  <a:lnTo>
                    <a:pt x="103" y="491"/>
                  </a:lnTo>
                  <a:lnTo>
                    <a:pt x="103" y="494"/>
                  </a:lnTo>
                  <a:lnTo>
                    <a:pt x="106" y="497"/>
                  </a:lnTo>
                  <a:lnTo>
                    <a:pt x="108" y="500"/>
                  </a:lnTo>
                  <a:lnTo>
                    <a:pt x="108" y="502"/>
                  </a:lnTo>
                  <a:lnTo>
                    <a:pt x="109" y="503"/>
                  </a:lnTo>
                  <a:lnTo>
                    <a:pt x="111" y="505"/>
                  </a:lnTo>
                  <a:lnTo>
                    <a:pt x="118" y="508"/>
                  </a:lnTo>
                  <a:lnTo>
                    <a:pt x="118" y="506"/>
                  </a:lnTo>
                  <a:lnTo>
                    <a:pt x="118" y="505"/>
                  </a:lnTo>
                  <a:lnTo>
                    <a:pt x="118" y="502"/>
                  </a:lnTo>
                  <a:lnTo>
                    <a:pt x="118" y="500"/>
                  </a:lnTo>
                  <a:lnTo>
                    <a:pt x="118" y="500"/>
                  </a:lnTo>
                  <a:lnTo>
                    <a:pt x="120" y="499"/>
                  </a:lnTo>
                  <a:lnTo>
                    <a:pt x="122" y="499"/>
                  </a:lnTo>
                  <a:lnTo>
                    <a:pt x="122" y="497"/>
                  </a:lnTo>
                  <a:lnTo>
                    <a:pt x="122" y="499"/>
                  </a:lnTo>
                  <a:lnTo>
                    <a:pt x="123" y="499"/>
                  </a:lnTo>
                  <a:lnTo>
                    <a:pt x="123" y="500"/>
                  </a:lnTo>
                  <a:lnTo>
                    <a:pt x="122" y="502"/>
                  </a:lnTo>
                  <a:lnTo>
                    <a:pt x="123" y="502"/>
                  </a:lnTo>
                  <a:lnTo>
                    <a:pt x="125" y="499"/>
                  </a:lnTo>
                  <a:lnTo>
                    <a:pt x="126" y="499"/>
                  </a:lnTo>
                  <a:lnTo>
                    <a:pt x="125" y="500"/>
                  </a:lnTo>
                  <a:lnTo>
                    <a:pt x="125" y="502"/>
                  </a:lnTo>
                  <a:lnTo>
                    <a:pt x="126" y="502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6" y="503"/>
                  </a:lnTo>
                  <a:lnTo>
                    <a:pt x="128" y="505"/>
                  </a:lnTo>
                  <a:lnTo>
                    <a:pt x="128" y="505"/>
                  </a:lnTo>
                  <a:lnTo>
                    <a:pt x="128" y="505"/>
                  </a:lnTo>
                  <a:lnTo>
                    <a:pt x="126" y="506"/>
                  </a:lnTo>
                  <a:lnTo>
                    <a:pt x="128" y="506"/>
                  </a:lnTo>
                  <a:lnTo>
                    <a:pt x="129" y="506"/>
                  </a:lnTo>
                  <a:lnTo>
                    <a:pt x="129" y="505"/>
                  </a:lnTo>
                  <a:lnTo>
                    <a:pt x="131" y="506"/>
                  </a:lnTo>
                  <a:lnTo>
                    <a:pt x="131" y="506"/>
                  </a:lnTo>
                  <a:lnTo>
                    <a:pt x="132" y="508"/>
                  </a:lnTo>
                  <a:lnTo>
                    <a:pt x="137" y="511"/>
                  </a:lnTo>
                  <a:lnTo>
                    <a:pt x="138" y="513"/>
                  </a:lnTo>
                  <a:lnTo>
                    <a:pt x="135" y="513"/>
                  </a:lnTo>
                  <a:lnTo>
                    <a:pt x="134" y="511"/>
                  </a:lnTo>
                  <a:lnTo>
                    <a:pt x="132" y="510"/>
                  </a:lnTo>
                  <a:lnTo>
                    <a:pt x="132" y="508"/>
                  </a:lnTo>
                  <a:lnTo>
                    <a:pt x="129" y="508"/>
                  </a:lnTo>
                  <a:lnTo>
                    <a:pt x="129" y="510"/>
                  </a:lnTo>
                  <a:lnTo>
                    <a:pt x="125" y="511"/>
                  </a:lnTo>
                  <a:lnTo>
                    <a:pt x="125" y="513"/>
                  </a:lnTo>
                  <a:lnTo>
                    <a:pt x="126" y="513"/>
                  </a:lnTo>
                  <a:lnTo>
                    <a:pt x="126" y="513"/>
                  </a:lnTo>
                  <a:lnTo>
                    <a:pt x="126" y="514"/>
                  </a:lnTo>
                  <a:lnTo>
                    <a:pt x="126" y="514"/>
                  </a:lnTo>
                  <a:lnTo>
                    <a:pt x="126" y="516"/>
                  </a:lnTo>
                  <a:lnTo>
                    <a:pt x="128" y="516"/>
                  </a:lnTo>
                  <a:lnTo>
                    <a:pt x="131" y="520"/>
                  </a:lnTo>
                  <a:lnTo>
                    <a:pt x="132" y="522"/>
                  </a:lnTo>
                  <a:lnTo>
                    <a:pt x="135" y="520"/>
                  </a:lnTo>
                  <a:lnTo>
                    <a:pt x="135" y="522"/>
                  </a:lnTo>
                  <a:lnTo>
                    <a:pt x="134" y="522"/>
                  </a:lnTo>
                  <a:lnTo>
                    <a:pt x="134" y="523"/>
                  </a:lnTo>
                  <a:lnTo>
                    <a:pt x="132" y="523"/>
                  </a:lnTo>
                  <a:lnTo>
                    <a:pt x="134" y="527"/>
                  </a:lnTo>
                  <a:lnTo>
                    <a:pt x="135" y="528"/>
                  </a:lnTo>
                  <a:lnTo>
                    <a:pt x="137" y="528"/>
                  </a:lnTo>
                  <a:lnTo>
                    <a:pt x="137" y="527"/>
                  </a:lnTo>
                  <a:lnTo>
                    <a:pt x="138" y="527"/>
                  </a:lnTo>
                  <a:lnTo>
                    <a:pt x="140" y="527"/>
                  </a:lnTo>
                  <a:lnTo>
                    <a:pt x="140" y="528"/>
                  </a:lnTo>
                  <a:lnTo>
                    <a:pt x="138" y="530"/>
                  </a:lnTo>
                  <a:lnTo>
                    <a:pt x="137" y="531"/>
                  </a:lnTo>
                  <a:lnTo>
                    <a:pt x="137" y="533"/>
                  </a:lnTo>
                  <a:lnTo>
                    <a:pt x="148" y="530"/>
                  </a:lnTo>
                  <a:lnTo>
                    <a:pt x="149" y="528"/>
                  </a:lnTo>
                  <a:lnTo>
                    <a:pt x="148" y="528"/>
                  </a:lnTo>
                  <a:lnTo>
                    <a:pt x="148" y="527"/>
                  </a:lnTo>
                  <a:lnTo>
                    <a:pt x="149" y="527"/>
                  </a:lnTo>
                  <a:lnTo>
                    <a:pt x="149" y="527"/>
                  </a:lnTo>
                  <a:lnTo>
                    <a:pt x="149" y="528"/>
                  </a:lnTo>
                  <a:lnTo>
                    <a:pt x="151" y="528"/>
                  </a:lnTo>
                  <a:lnTo>
                    <a:pt x="151" y="528"/>
                  </a:lnTo>
                  <a:lnTo>
                    <a:pt x="151" y="528"/>
                  </a:lnTo>
                  <a:lnTo>
                    <a:pt x="152" y="528"/>
                  </a:lnTo>
                  <a:lnTo>
                    <a:pt x="152" y="528"/>
                  </a:lnTo>
                  <a:lnTo>
                    <a:pt x="152" y="530"/>
                  </a:lnTo>
                  <a:lnTo>
                    <a:pt x="152" y="533"/>
                  </a:lnTo>
                  <a:lnTo>
                    <a:pt x="154" y="536"/>
                  </a:lnTo>
                  <a:lnTo>
                    <a:pt x="154" y="537"/>
                  </a:lnTo>
                  <a:lnTo>
                    <a:pt x="155" y="536"/>
                  </a:lnTo>
                  <a:lnTo>
                    <a:pt x="155" y="534"/>
                  </a:lnTo>
                  <a:lnTo>
                    <a:pt x="157" y="533"/>
                  </a:lnTo>
                  <a:lnTo>
                    <a:pt x="157" y="533"/>
                  </a:lnTo>
                  <a:lnTo>
                    <a:pt x="157" y="531"/>
                  </a:lnTo>
                  <a:lnTo>
                    <a:pt x="158" y="530"/>
                  </a:lnTo>
                  <a:lnTo>
                    <a:pt x="158" y="530"/>
                  </a:lnTo>
                  <a:lnTo>
                    <a:pt x="158" y="528"/>
                  </a:lnTo>
                  <a:lnTo>
                    <a:pt x="158" y="525"/>
                  </a:lnTo>
                  <a:lnTo>
                    <a:pt x="158" y="523"/>
                  </a:lnTo>
                  <a:lnTo>
                    <a:pt x="157" y="522"/>
                  </a:lnTo>
                  <a:lnTo>
                    <a:pt x="158" y="523"/>
                  </a:lnTo>
                  <a:lnTo>
                    <a:pt x="160" y="525"/>
                  </a:lnTo>
                  <a:lnTo>
                    <a:pt x="162" y="528"/>
                  </a:lnTo>
                  <a:lnTo>
                    <a:pt x="162" y="528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8" y="530"/>
                  </a:lnTo>
                  <a:lnTo>
                    <a:pt x="171" y="530"/>
                  </a:lnTo>
                  <a:lnTo>
                    <a:pt x="172" y="528"/>
                  </a:lnTo>
                  <a:lnTo>
                    <a:pt x="172" y="530"/>
                  </a:lnTo>
                  <a:lnTo>
                    <a:pt x="165" y="533"/>
                  </a:lnTo>
                  <a:lnTo>
                    <a:pt x="165" y="534"/>
                  </a:lnTo>
                  <a:lnTo>
                    <a:pt x="163" y="534"/>
                  </a:lnTo>
                  <a:lnTo>
                    <a:pt x="163" y="537"/>
                  </a:lnTo>
                  <a:lnTo>
                    <a:pt x="162" y="537"/>
                  </a:lnTo>
                  <a:lnTo>
                    <a:pt x="162" y="539"/>
                  </a:lnTo>
                  <a:lnTo>
                    <a:pt x="162" y="540"/>
                  </a:lnTo>
                  <a:lnTo>
                    <a:pt x="162" y="540"/>
                  </a:lnTo>
                  <a:lnTo>
                    <a:pt x="160" y="540"/>
                  </a:lnTo>
                  <a:lnTo>
                    <a:pt x="160" y="542"/>
                  </a:lnTo>
                  <a:lnTo>
                    <a:pt x="162" y="542"/>
                  </a:lnTo>
                  <a:lnTo>
                    <a:pt x="158" y="545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0"/>
                  </a:lnTo>
                  <a:lnTo>
                    <a:pt x="165" y="550"/>
                  </a:lnTo>
                  <a:lnTo>
                    <a:pt x="166" y="548"/>
                  </a:lnTo>
                  <a:lnTo>
                    <a:pt x="168" y="547"/>
                  </a:lnTo>
                  <a:lnTo>
                    <a:pt x="171" y="540"/>
                  </a:lnTo>
                  <a:lnTo>
                    <a:pt x="172" y="540"/>
                  </a:lnTo>
                  <a:lnTo>
                    <a:pt x="172" y="539"/>
                  </a:lnTo>
                  <a:lnTo>
                    <a:pt x="174" y="539"/>
                  </a:lnTo>
                  <a:lnTo>
                    <a:pt x="175" y="537"/>
                  </a:lnTo>
                  <a:lnTo>
                    <a:pt x="177" y="536"/>
                  </a:lnTo>
                  <a:lnTo>
                    <a:pt x="177" y="533"/>
                  </a:lnTo>
                  <a:lnTo>
                    <a:pt x="177" y="531"/>
                  </a:lnTo>
                  <a:lnTo>
                    <a:pt x="180" y="531"/>
                  </a:lnTo>
                  <a:lnTo>
                    <a:pt x="182" y="531"/>
                  </a:lnTo>
                  <a:lnTo>
                    <a:pt x="185" y="528"/>
                  </a:lnTo>
                  <a:lnTo>
                    <a:pt x="186" y="527"/>
                  </a:lnTo>
                  <a:lnTo>
                    <a:pt x="186" y="525"/>
                  </a:lnTo>
                  <a:lnTo>
                    <a:pt x="186" y="523"/>
                  </a:lnTo>
                  <a:lnTo>
                    <a:pt x="186" y="522"/>
                  </a:lnTo>
                  <a:lnTo>
                    <a:pt x="186" y="522"/>
                  </a:lnTo>
                  <a:lnTo>
                    <a:pt x="188" y="517"/>
                  </a:lnTo>
                  <a:lnTo>
                    <a:pt x="182" y="517"/>
                  </a:lnTo>
                  <a:lnTo>
                    <a:pt x="180" y="516"/>
                  </a:lnTo>
                  <a:lnTo>
                    <a:pt x="179" y="516"/>
                  </a:lnTo>
                  <a:lnTo>
                    <a:pt x="175" y="517"/>
                  </a:lnTo>
                  <a:lnTo>
                    <a:pt x="174" y="519"/>
                  </a:lnTo>
                  <a:lnTo>
                    <a:pt x="171" y="519"/>
                  </a:lnTo>
                  <a:lnTo>
                    <a:pt x="171" y="519"/>
                  </a:lnTo>
                  <a:lnTo>
                    <a:pt x="171" y="520"/>
                  </a:lnTo>
                  <a:lnTo>
                    <a:pt x="169" y="520"/>
                  </a:lnTo>
                  <a:lnTo>
                    <a:pt x="168" y="520"/>
                  </a:lnTo>
                  <a:lnTo>
                    <a:pt x="168" y="520"/>
                  </a:lnTo>
                  <a:lnTo>
                    <a:pt x="168" y="519"/>
                  </a:lnTo>
                  <a:lnTo>
                    <a:pt x="166" y="517"/>
                  </a:lnTo>
                  <a:lnTo>
                    <a:pt x="166" y="517"/>
                  </a:lnTo>
                  <a:lnTo>
                    <a:pt x="163" y="517"/>
                  </a:lnTo>
                  <a:lnTo>
                    <a:pt x="163" y="517"/>
                  </a:lnTo>
                  <a:lnTo>
                    <a:pt x="162" y="516"/>
                  </a:lnTo>
                  <a:lnTo>
                    <a:pt x="160" y="514"/>
                  </a:lnTo>
                  <a:lnTo>
                    <a:pt x="158" y="516"/>
                  </a:lnTo>
                  <a:lnTo>
                    <a:pt x="157" y="516"/>
                  </a:lnTo>
                  <a:lnTo>
                    <a:pt x="155" y="516"/>
                  </a:lnTo>
                  <a:lnTo>
                    <a:pt x="155" y="516"/>
                  </a:lnTo>
                  <a:lnTo>
                    <a:pt x="157" y="514"/>
                  </a:lnTo>
                  <a:lnTo>
                    <a:pt x="158" y="513"/>
                  </a:lnTo>
                  <a:lnTo>
                    <a:pt x="157" y="511"/>
                  </a:lnTo>
                  <a:lnTo>
                    <a:pt x="155" y="511"/>
                  </a:lnTo>
                  <a:lnTo>
                    <a:pt x="149" y="513"/>
                  </a:lnTo>
                  <a:lnTo>
                    <a:pt x="151" y="511"/>
                  </a:lnTo>
                  <a:lnTo>
                    <a:pt x="152" y="510"/>
                  </a:lnTo>
                  <a:lnTo>
                    <a:pt x="154" y="508"/>
                  </a:lnTo>
                  <a:lnTo>
                    <a:pt x="152" y="508"/>
                  </a:lnTo>
                  <a:lnTo>
                    <a:pt x="152" y="506"/>
                  </a:lnTo>
                  <a:lnTo>
                    <a:pt x="151" y="505"/>
                  </a:lnTo>
                  <a:lnTo>
                    <a:pt x="151" y="503"/>
                  </a:lnTo>
                  <a:lnTo>
                    <a:pt x="151" y="502"/>
                  </a:lnTo>
                  <a:lnTo>
                    <a:pt x="152" y="500"/>
                  </a:lnTo>
                  <a:lnTo>
                    <a:pt x="152" y="499"/>
                  </a:lnTo>
                  <a:lnTo>
                    <a:pt x="151" y="499"/>
                  </a:lnTo>
                  <a:lnTo>
                    <a:pt x="151" y="497"/>
                  </a:lnTo>
                  <a:lnTo>
                    <a:pt x="149" y="499"/>
                  </a:lnTo>
                  <a:lnTo>
                    <a:pt x="148" y="499"/>
                  </a:lnTo>
                  <a:lnTo>
                    <a:pt x="148" y="500"/>
                  </a:lnTo>
                  <a:lnTo>
                    <a:pt x="148" y="499"/>
                  </a:lnTo>
                  <a:lnTo>
                    <a:pt x="149" y="497"/>
                  </a:lnTo>
                  <a:lnTo>
                    <a:pt x="149" y="496"/>
                  </a:lnTo>
                  <a:lnTo>
                    <a:pt x="151" y="494"/>
                  </a:lnTo>
                  <a:lnTo>
                    <a:pt x="151" y="491"/>
                  </a:lnTo>
                  <a:lnTo>
                    <a:pt x="151" y="488"/>
                  </a:lnTo>
                  <a:lnTo>
                    <a:pt x="151" y="486"/>
                  </a:lnTo>
                  <a:lnTo>
                    <a:pt x="151" y="483"/>
                  </a:lnTo>
                  <a:lnTo>
                    <a:pt x="149" y="473"/>
                  </a:lnTo>
                  <a:lnTo>
                    <a:pt x="149" y="473"/>
                  </a:lnTo>
                  <a:close/>
                  <a:moveTo>
                    <a:pt x="74" y="456"/>
                  </a:moveTo>
                  <a:lnTo>
                    <a:pt x="75" y="454"/>
                  </a:lnTo>
                  <a:lnTo>
                    <a:pt x="74" y="453"/>
                  </a:lnTo>
                  <a:lnTo>
                    <a:pt x="74" y="453"/>
                  </a:lnTo>
                  <a:lnTo>
                    <a:pt x="69" y="456"/>
                  </a:lnTo>
                  <a:lnTo>
                    <a:pt x="72" y="457"/>
                  </a:lnTo>
                  <a:lnTo>
                    <a:pt x="74" y="456"/>
                  </a:lnTo>
                  <a:close/>
                  <a:moveTo>
                    <a:pt x="80" y="433"/>
                  </a:moveTo>
                  <a:lnTo>
                    <a:pt x="81" y="433"/>
                  </a:lnTo>
                  <a:lnTo>
                    <a:pt x="83" y="433"/>
                  </a:lnTo>
                  <a:lnTo>
                    <a:pt x="83" y="431"/>
                  </a:lnTo>
                  <a:lnTo>
                    <a:pt x="83" y="429"/>
                  </a:lnTo>
                  <a:lnTo>
                    <a:pt x="86" y="431"/>
                  </a:lnTo>
                  <a:lnTo>
                    <a:pt x="86" y="431"/>
                  </a:lnTo>
                  <a:lnTo>
                    <a:pt x="86" y="428"/>
                  </a:lnTo>
                  <a:lnTo>
                    <a:pt x="85" y="426"/>
                  </a:lnTo>
                  <a:lnTo>
                    <a:pt x="83" y="428"/>
                  </a:lnTo>
                  <a:lnTo>
                    <a:pt x="80" y="431"/>
                  </a:lnTo>
                  <a:lnTo>
                    <a:pt x="80" y="431"/>
                  </a:lnTo>
                  <a:lnTo>
                    <a:pt x="81" y="431"/>
                  </a:lnTo>
                  <a:lnTo>
                    <a:pt x="81" y="431"/>
                  </a:lnTo>
                  <a:lnTo>
                    <a:pt x="80" y="433"/>
                  </a:lnTo>
                  <a:close/>
                  <a:moveTo>
                    <a:pt x="95" y="383"/>
                  </a:move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5" y="385"/>
                  </a:lnTo>
                  <a:lnTo>
                    <a:pt x="95" y="386"/>
                  </a:lnTo>
                  <a:lnTo>
                    <a:pt x="101" y="386"/>
                  </a:lnTo>
                  <a:lnTo>
                    <a:pt x="101" y="385"/>
                  </a:lnTo>
                  <a:lnTo>
                    <a:pt x="101" y="383"/>
                  </a:lnTo>
                  <a:lnTo>
                    <a:pt x="100" y="383"/>
                  </a:lnTo>
                  <a:lnTo>
                    <a:pt x="100" y="382"/>
                  </a:lnTo>
                  <a:lnTo>
                    <a:pt x="100" y="383"/>
                  </a:lnTo>
                  <a:lnTo>
                    <a:pt x="97" y="380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5" y="383"/>
                  </a:lnTo>
                  <a:lnTo>
                    <a:pt x="95" y="383"/>
                  </a:lnTo>
                  <a:close/>
                  <a:moveTo>
                    <a:pt x="78" y="399"/>
                  </a:moveTo>
                  <a:lnTo>
                    <a:pt x="78" y="400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81" y="406"/>
                  </a:lnTo>
                  <a:lnTo>
                    <a:pt x="81" y="406"/>
                  </a:lnTo>
                  <a:lnTo>
                    <a:pt x="85" y="405"/>
                  </a:lnTo>
                  <a:lnTo>
                    <a:pt x="85" y="405"/>
                  </a:lnTo>
                  <a:lnTo>
                    <a:pt x="85" y="406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8"/>
                  </a:lnTo>
                  <a:lnTo>
                    <a:pt x="85" y="408"/>
                  </a:lnTo>
                  <a:lnTo>
                    <a:pt x="83" y="408"/>
                  </a:lnTo>
                  <a:lnTo>
                    <a:pt x="83" y="409"/>
                  </a:lnTo>
                  <a:lnTo>
                    <a:pt x="81" y="411"/>
                  </a:lnTo>
                  <a:lnTo>
                    <a:pt x="85" y="411"/>
                  </a:lnTo>
                  <a:lnTo>
                    <a:pt x="91" y="408"/>
                  </a:lnTo>
                  <a:lnTo>
                    <a:pt x="86" y="411"/>
                  </a:lnTo>
                  <a:lnTo>
                    <a:pt x="85" y="413"/>
                  </a:lnTo>
                  <a:lnTo>
                    <a:pt x="81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3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0" y="416"/>
                  </a:lnTo>
                  <a:lnTo>
                    <a:pt x="80" y="416"/>
                  </a:lnTo>
                  <a:lnTo>
                    <a:pt x="78" y="417"/>
                  </a:lnTo>
                  <a:lnTo>
                    <a:pt x="81" y="420"/>
                  </a:lnTo>
                  <a:lnTo>
                    <a:pt x="81" y="420"/>
                  </a:lnTo>
                  <a:lnTo>
                    <a:pt x="83" y="419"/>
                  </a:lnTo>
                  <a:lnTo>
                    <a:pt x="83" y="422"/>
                  </a:lnTo>
                  <a:lnTo>
                    <a:pt x="86" y="422"/>
                  </a:lnTo>
                  <a:lnTo>
                    <a:pt x="91" y="422"/>
                  </a:lnTo>
                  <a:lnTo>
                    <a:pt x="91" y="422"/>
                  </a:lnTo>
                  <a:lnTo>
                    <a:pt x="94" y="425"/>
                  </a:lnTo>
                  <a:lnTo>
                    <a:pt x="94" y="425"/>
                  </a:lnTo>
                  <a:lnTo>
                    <a:pt x="98" y="425"/>
                  </a:lnTo>
                  <a:lnTo>
                    <a:pt x="98" y="426"/>
                  </a:lnTo>
                  <a:lnTo>
                    <a:pt x="98" y="426"/>
                  </a:lnTo>
                  <a:lnTo>
                    <a:pt x="97" y="426"/>
                  </a:lnTo>
                  <a:lnTo>
                    <a:pt x="97" y="428"/>
                  </a:lnTo>
                  <a:lnTo>
                    <a:pt x="97" y="428"/>
                  </a:lnTo>
                  <a:lnTo>
                    <a:pt x="97" y="428"/>
                  </a:lnTo>
                  <a:lnTo>
                    <a:pt x="98" y="429"/>
                  </a:lnTo>
                  <a:lnTo>
                    <a:pt x="98" y="429"/>
                  </a:lnTo>
                  <a:lnTo>
                    <a:pt x="97" y="428"/>
                  </a:lnTo>
                  <a:lnTo>
                    <a:pt x="95" y="428"/>
                  </a:lnTo>
                  <a:lnTo>
                    <a:pt x="94" y="428"/>
                  </a:lnTo>
                  <a:lnTo>
                    <a:pt x="89" y="431"/>
                  </a:lnTo>
                  <a:lnTo>
                    <a:pt x="89" y="431"/>
                  </a:lnTo>
                  <a:lnTo>
                    <a:pt x="92" y="434"/>
                  </a:lnTo>
                  <a:lnTo>
                    <a:pt x="89" y="434"/>
                  </a:lnTo>
                  <a:lnTo>
                    <a:pt x="88" y="434"/>
                  </a:lnTo>
                  <a:lnTo>
                    <a:pt x="86" y="436"/>
                  </a:lnTo>
                  <a:lnTo>
                    <a:pt x="80" y="442"/>
                  </a:lnTo>
                  <a:lnTo>
                    <a:pt x="80" y="440"/>
                  </a:lnTo>
                  <a:lnTo>
                    <a:pt x="80" y="439"/>
                  </a:lnTo>
                  <a:lnTo>
                    <a:pt x="80" y="439"/>
                  </a:lnTo>
                  <a:lnTo>
                    <a:pt x="78" y="439"/>
                  </a:lnTo>
                  <a:lnTo>
                    <a:pt x="77" y="439"/>
                  </a:lnTo>
                  <a:lnTo>
                    <a:pt x="77" y="439"/>
                  </a:lnTo>
                  <a:lnTo>
                    <a:pt x="78" y="440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83" y="448"/>
                  </a:lnTo>
                  <a:lnTo>
                    <a:pt x="85" y="448"/>
                  </a:lnTo>
                  <a:lnTo>
                    <a:pt x="88" y="453"/>
                  </a:lnTo>
                  <a:lnTo>
                    <a:pt x="89" y="453"/>
                  </a:lnTo>
                  <a:lnTo>
                    <a:pt x="89" y="451"/>
                  </a:lnTo>
                  <a:lnTo>
                    <a:pt x="94" y="448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5" y="446"/>
                  </a:lnTo>
                  <a:lnTo>
                    <a:pt x="97" y="445"/>
                  </a:lnTo>
                  <a:lnTo>
                    <a:pt x="97" y="443"/>
                  </a:lnTo>
                  <a:lnTo>
                    <a:pt x="98" y="442"/>
                  </a:lnTo>
                  <a:lnTo>
                    <a:pt x="98" y="442"/>
                  </a:lnTo>
                  <a:lnTo>
                    <a:pt x="97" y="440"/>
                  </a:lnTo>
                  <a:lnTo>
                    <a:pt x="97" y="440"/>
                  </a:lnTo>
                  <a:lnTo>
                    <a:pt x="97" y="439"/>
                  </a:lnTo>
                  <a:lnTo>
                    <a:pt x="101" y="442"/>
                  </a:lnTo>
                  <a:lnTo>
                    <a:pt x="103" y="442"/>
                  </a:lnTo>
                  <a:lnTo>
                    <a:pt x="103" y="442"/>
                  </a:lnTo>
                  <a:lnTo>
                    <a:pt x="101" y="442"/>
                  </a:lnTo>
                  <a:lnTo>
                    <a:pt x="101" y="440"/>
                  </a:lnTo>
                  <a:lnTo>
                    <a:pt x="103" y="440"/>
                  </a:lnTo>
                  <a:lnTo>
                    <a:pt x="105" y="440"/>
                  </a:lnTo>
                  <a:lnTo>
                    <a:pt x="106" y="439"/>
                  </a:lnTo>
                  <a:lnTo>
                    <a:pt x="106" y="439"/>
                  </a:lnTo>
                  <a:lnTo>
                    <a:pt x="106" y="437"/>
                  </a:lnTo>
                  <a:lnTo>
                    <a:pt x="105" y="434"/>
                  </a:lnTo>
                  <a:lnTo>
                    <a:pt x="103" y="434"/>
                  </a:lnTo>
                  <a:lnTo>
                    <a:pt x="101" y="433"/>
                  </a:lnTo>
                  <a:lnTo>
                    <a:pt x="101" y="433"/>
                  </a:lnTo>
                  <a:lnTo>
                    <a:pt x="101" y="431"/>
                  </a:lnTo>
                  <a:lnTo>
                    <a:pt x="101" y="431"/>
                  </a:lnTo>
                  <a:lnTo>
                    <a:pt x="103" y="429"/>
                  </a:lnTo>
                  <a:lnTo>
                    <a:pt x="103" y="429"/>
                  </a:lnTo>
                  <a:lnTo>
                    <a:pt x="106" y="431"/>
                  </a:lnTo>
                  <a:lnTo>
                    <a:pt x="112" y="433"/>
                  </a:lnTo>
                  <a:lnTo>
                    <a:pt x="111" y="429"/>
                  </a:lnTo>
                  <a:lnTo>
                    <a:pt x="111" y="428"/>
                  </a:lnTo>
                  <a:lnTo>
                    <a:pt x="111" y="428"/>
                  </a:lnTo>
                  <a:lnTo>
                    <a:pt x="111" y="428"/>
                  </a:lnTo>
                  <a:lnTo>
                    <a:pt x="109" y="428"/>
                  </a:lnTo>
                  <a:lnTo>
                    <a:pt x="109" y="426"/>
                  </a:lnTo>
                  <a:lnTo>
                    <a:pt x="109" y="426"/>
                  </a:lnTo>
                  <a:lnTo>
                    <a:pt x="111" y="426"/>
                  </a:lnTo>
                  <a:lnTo>
                    <a:pt x="111" y="426"/>
                  </a:lnTo>
                  <a:lnTo>
                    <a:pt x="111" y="426"/>
                  </a:lnTo>
                  <a:lnTo>
                    <a:pt x="111" y="425"/>
                  </a:lnTo>
                  <a:lnTo>
                    <a:pt x="109" y="423"/>
                  </a:lnTo>
                  <a:lnTo>
                    <a:pt x="109" y="422"/>
                  </a:lnTo>
                  <a:lnTo>
                    <a:pt x="108" y="422"/>
                  </a:lnTo>
                  <a:lnTo>
                    <a:pt x="106" y="420"/>
                  </a:lnTo>
                  <a:lnTo>
                    <a:pt x="105" y="417"/>
                  </a:lnTo>
                  <a:lnTo>
                    <a:pt x="105" y="416"/>
                  </a:lnTo>
                  <a:lnTo>
                    <a:pt x="106" y="414"/>
                  </a:lnTo>
                  <a:lnTo>
                    <a:pt x="108" y="413"/>
                  </a:lnTo>
                  <a:lnTo>
                    <a:pt x="109" y="409"/>
                  </a:lnTo>
                  <a:lnTo>
                    <a:pt x="109" y="408"/>
                  </a:lnTo>
                  <a:lnTo>
                    <a:pt x="109" y="408"/>
                  </a:lnTo>
                  <a:lnTo>
                    <a:pt x="117" y="408"/>
                  </a:lnTo>
                  <a:lnTo>
                    <a:pt x="117" y="408"/>
                  </a:lnTo>
                  <a:lnTo>
                    <a:pt x="114" y="408"/>
                  </a:lnTo>
                  <a:lnTo>
                    <a:pt x="111" y="409"/>
                  </a:lnTo>
                  <a:lnTo>
                    <a:pt x="109" y="411"/>
                  </a:lnTo>
                  <a:lnTo>
                    <a:pt x="108" y="416"/>
                  </a:lnTo>
                  <a:lnTo>
                    <a:pt x="108" y="417"/>
                  </a:lnTo>
                  <a:lnTo>
                    <a:pt x="109" y="419"/>
                  </a:lnTo>
                  <a:lnTo>
                    <a:pt x="111" y="423"/>
                  </a:lnTo>
                  <a:lnTo>
                    <a:pt x="111" y="425"/>
                  </a:lnTo>
                  <a:lnTo>
                    <a:pt x="112" y="426"/>
                  </a:lnTo>
                  <a:lnTo>
                    <a:pt x="112" y="426"/>
                  </a:lnTo>
                  <a:lnTo>
                    <a:pt x="115" y="428"/>
                  </a:lnTo>
                  <a:lnTo>
                    <a:pt x="115" y="426"/>
                  </a:lnTo>
                  <a:lnTo>
                    <a:pt x="115" y="426"/>
                  </a:lnTo>
                  <a:lnTo>
                    <a:pt x="114" y="425"/>
                  </a:lnTo>
                  <a:lnTo>
                    <a:pt x="114" y="422"/>
                  </a:lnTo>
                  <a:lnTo>
                    <a:pt x="114" y="422"/>
                  </a:lnTo>
                  <a:lnTo>
                    <a:pt x="115" y="422"/>
                  </a:lnTo>
                  <a:lnTo>
                    <a:pt x="115" y="423"/>
                  </a:lnTo>
                  <a:lnTo>
                    <a:pt x="115" y="425"/>
                  </a:lnTo>
                  <a:lnTo>
                    <a:pt x="117" y="426"/>
                  </a:lnTo>
                  <a:lnTo>
                    <a:pt x="118" y="428"/>
                  </a:lnTo>
                  <a:lnTo>
                    <a:pt x="120" y="428"/>
                  </a:lnTo>
                  <a:lnTo>
                    <a:pt x="122" y="426"/>
                  </a:lnTo>
                  <a:lnTo>
                    <a:pt x="122" y="426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0" y="423"/>
                  </a:lnTo>
                  <a:lnTo>
                    <a:pt x="122" y="425"/>
                  </a:lnTo>
                  <a:lnTo>
                    <a:pt x="122" y="425"/>
                  </a:lnTo>
                  <a:lnTo>
                    <a:pt x="123" y="425"/>
                  </a:lnTo>
                  <a:lnTo>
                    <a:pt x="125" y="423"/>
                  </a:lnTo>
                  <a:lnTo>
                    <a:pt x="125" y="423"/>
                  </a:lnTo>
                  <a:lnTo>
                    <a:pt x="126" y="420"/>
                  </a:lnTo>
                  <a:lnTo>
                    <a:pt x="128" y="420"/>
                  </a:lnTo>
                  <a:lnTo>
                    <a:pt x="128" y="419"/>
                  </a:lnTo>
                  <a:lnTo>
                    <a:pt x="126" y="417"/>
                  </a:lnTo>
                  <a:lnTo>
                    <a:pt x="123" y="417"/>
                  </a:lnTo>
                  <a:lnTo>
                    <a:pt x="122" y="416"/>
                  </a:lnTo>
                  <a:lnTo>
                    <a:pt x="120" y="416"/>
                  </a:lnTo>
                  <a:lnTo>
                    <a:pt x="120" y="414"/>
                  </a:lnTo>
                  <a:lnTo>
                    <a:pt x="120" y="413"/>
                  </a:lnTo>
                  <a:lnTo>
                    <a:pt x="122" y="414"/>
                  </a:lnTo>
                  <a:lnTo>
                    <a:pt x="123" y="414"/>
                  </a:lnTo>
                  <a:lnTo>
                    <a:pt x="129" y="416"/>
                  </a:lnTo>
                  <a:lnTo>
                    <a:pt x="131" y="414"/>
                  </a:lnTo>
                  <a:lnTo>
                    <a:pt x="132" y="414"/>
                  </a:lnTo>
                  <a:lnTo>
                    <a:pt x="134" y="413"/>
                  </a:lnTo>
                  <a:lnTo>
                    <a:pt x="135" y="411"/>
                  </a:lnTo>
                  <a:lnTo>
                    <a:pt x="134" y="411"/>
                  </a:lnTo>
                  <a:lnTo>
                    <a:pt x="132" y="411"/>
                  </a:lnTo>
                  <a:lnTo>
                    <a:pt x="132" y="409"/>
                  </a:lnTo>
                  <a:lnTo>
                    <a:pt x="131" y="409"/>
                  </a:lnTo>
                  <a:lnTo>
                    <a:pt x="132" y="409"/>
                  </a:lnTo>
                  <a:lnTo>
                    <a:pt x="132" y="409"/>
                  </a:lnTo>
                  <a:lnTo>
                    <a:pt x="134" y="408"/>
                  </a:lnTo>
                  <a:lnTo>
                    <a:pt x="134" y="408"/>
                  </a:lnTo>
                  <a:lnTo>
                    <a:pt x="132" y="406"/>
                  </a:lnTo>
                  <a:lnTo>
                    <a:pt x="132" y="406"/>
                  </a:lnTo>
                  <a:lnTo>
                    <a:pt x="132" y="405"/>
                  </a:lnTo>
                  <a:lnTo>
                    <a:pt x="132" y="403"/>
                  </a:lnTo>
                  <a:lnTo>
                    <a:pt x="132" y="402"/>
                  </a:lnTo>
                  <a:lnTo>
                    <a:pt x="131" y="400"/>
                  </a:lnTo>
                  <a:lnTo>
                    <a:pt x="129" y="400"/>
                  </a:lnTo>
                  <a:lnTo>
                    <a:pt x="128" y="402"/>
                  </a:lnTo>
                  <a:lnTo>
                    <a:pt x="117" y="405"/>
                  </a:lnTo>
                  <a:lnTo>
                    <a:pt x="115" y="405"/>
                  </a:lnTo>
                  <a:lnTo>
                    <a:pt x="115" y="403"/>
                  </a:lnTo>
                  <a:lnTo>
                    <a:pt x="115" y="403"/>
                  </a:lnTo>
                  <a:lnTo>
                    <a:pt x="120" y="403"/>
                  </a:lnTo>
                  <a:lnTo>
                    <a:pt x="122" y="400"/>
                  </a:lnTo>
                  <a:lnTo>
                    <a:pt x="123" y="400"/>
                  </a:lnTo>
                  <a:lnTo>
                    <a:pt x="123" y="402"/>
                  </a:lnTo>
                  <a:lnTo>
                    <a:pt x="125" y="402"/>
                  </a:lnTo>
                  <a:lnTo>
                    <a:pt x="126" y="400"/>
                  </a:lnTo>
                  <a:lnTo>
                    <a:pt x="128" y="397"/>
                  </a:lnTo>
                  <a:lnTo>
                    <a:pt x="132" y="397"/>
                  </a:lnTo>
                  <a:lnTo>
                    <a:pt x="134" y="396"/>
                  </a:lnTo>
                  <a:lnTo>
                    <a:pt x="132" y="396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4" y="393"/>
                  </a:lnTo>
                  <a:lnTo>
                    <a:pt x="132" y="391"/>
                  </a:lnTo>
                  <a:lnTo>
                    <a:pt x="131" y="386"/>
                  </a:lnTo>
                  <a:lnTo>
                    <a:pt x="132" y="386"/>
                  </a:lnTo>
                  <a:lnTo>
                    <a:pt x="134" y="388"/>
                  </a:lnTo>
                  <a:lnTo>
                    <a:pt x="135" y="388"/>
                  </a:lnTo>
                  <a:lnTo>
                    <a:pt x="138" y="388"/>
                  </a:lnTo>
                  <a:lnTo>
                    <a:pt x="140" y="388"/>
                  </a:lnTo>
                  <a:lnTo>
                    <a:pt x="143" y="389"/>
                  </a:lnTo>
                  <a:lnTo>
                    <a:pt x="143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6" y="388"/>
                  </a:lnTo>
                  <a:lnTo>
                    <a:pt x="146" y="386"/>
                  </a:lnTo>
                  <a:lnTo>
                    <a:pt x="148" y="386"/>
                  </a:lnTo>
                  <a:lnTo>
                    <a:pt x="149" y="385"/>
                  </a:lnTo>
                  <a:lnTo>
                    <a:pt x="149" y="383"/>
                  </a:lnTo>
                  <a:lnTo>
                    <a:pt x="148" y="383"/>
                  </a:lnTo>
                  <a:lnTo>
                    <a:pt x="149" y="383"/>
                  </a:lnTo>
                  <a:lnTo>
                    <a:pt x="149" y="382"/>
                  </a:lnTo>
                  <a:lnTo>
                    <a:pt x="149" y="382"/>
                  </a:lnTo>
                  <a:lnTo>
                    <a:pt x="149" y="382"/>
                  </a:lnTo>
                  <a:lnTo>
                    <a:pt x="149" y="380"/>
                  </a:lnTo>
                  <a:lnTo>
                    <a:pt x="149" y="379"/>
                  </a:lnTo>
                  <a:lnTo>
                    <a:pt x="149" y="379"/>
                  </a:lnTo>
                  <a:lnTo>
                    <a:pt x="148" y="380"/>
                  </a:lnTo>
                  <a:lnTo>
                    <a:pt x="146" y="380"/>
                  </a:lnTo>
                  <a:lnTo>
                    <a:pt x="143" y="385"/>
                  </a:lnTo>
                  <a:lnTo>
                    <a:pt x="140" y="385"/>
                  </a:lnTo>
                  <a:lnTo>
                    <a:pt x="138" y="385"/>
                  </a:lnTo>
                  <a:lnTo>
                    <a:pt x="135" y="385"/>
                  </a:lnTo>
                  <a:lnTo>
                    <a:pt x="134" y="382"/>
                  </a:lnTo>
                  <a:lnTo>
                    <a:pt x="135" y="382"/>
                  </a:lnTo>
                  <a:lnTo>
                    <a:pt x="137" y="382"/>
                  </a:lnTo>
                  <a:lnTo>
                    <a:pt x="137" y="382"/>
                  </a:lnTo>
                  <a:lnTo>
                    <a:pt x="137" y="380"/>
                  </a:lnTo>
                  <a:lnTo>
                    <a:pt x="137" y="379"/>
                  </a:lnTo>
                  <a:lnTo>
                    <a:pt x="137" y="379"/>
                  </a:lnTo>
                  <a:lnTo>
                    <a:pt x="140" y="377"/>
                  </a:lnTo>
                  <a:lnTo>
                    <a:pt x="140" y="376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3" y="374"/>
                  </a:lnTo>
                  <a:lnTo>
                    <a:pt x="143" y="373"/>
                  </a:lnTo>
                  <a:lnTo>
                    <a:pt x="142" y="371"/>
                  </a:lnTo>
                  <a:lnTo>
                    <a:pt x="143" y="371"/>
                  </a:lnTo>
                  <a:lnTo>
                    <a:pt x="146" y="368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6" y="365"/>
                  </a:lnTo>
                  <a:lnTo>
                    <a:pt x="146" y="365"/>
                  </a:lnTo>
                  <a:lnTo>
                    <a:pt x="145" y="363"/>
                  </a:lnTo>
                  <a:lnTo>
                    <a:pt x="146" y="359"/>
                  </a:lnTo>
                  <a:lnTo>
                    <a:pt x="148" y="357"/>
                  </a:lnTo>
                  <a:lnTo>
                    <a:pt x="149" y="357"/>
                  </a:lnTo>
                  <a:lnTo>
                    <a:pt x="148" y="356"/>
                  </a:lnTo>
                  <a:lnTo>
                    <a:pt x="148" y="352"/>
                  </a:lnTo>
                  <a:lnTo>
                    <a:pt x="146" y="351"/>
                  </a:lnTo>
                  <a:lnTo>
                    <a:pt x="146" y="348"/>
                  </a:lnTo>
                  <a:lnTo>
                    <a:pt x="145" y="345"/>
                  </a:lnTo>
                  <a:lnTo>
                    <a:pt x="143" y="343"/>
                  </a:lnTo>
                  <a:lnTo>
                    <a:pt x="142" y="343"/>
                  </a:lnTo>
                  <a:lnTo>
                    <a:pt x="138" y="346"/>
                  </a:lnTo>
                  <a:lnTo>
                    <a:pt x="135" y="351"/>
                  </a:lnTo>
                  <a:lnTo>
                    <a:pt x="122" y="360"/>
                  </a:lnTo>
                  <a:lnTo>
                    <a:pt x="120" y="363"/>
                  </a:lnTo>
                  <a:lnTo>
                    <a:pt x="120" y="363"/>
                  </a:lnTo>
                  <a:lnTo>
                    <a:pt x="115" y="366"/>
                  </a:lnTo>
                  <a:lnTo>
                    <a:pt x="112" y="366"/>
                  </a:lnTo>
                  <a:lnTo>
                    <a:pt x="111" y="366"/>
                  </a:lnTo>
                  <a:lnTo>
                    <a:pt x="109" y="368"/>
                  </a:lnTo>
                  <a:lnTo>
                    <a:pt x="109" y="368"/>
                  </a:lnTo>
                  <a:lnTo>
                    <a:pt x="109" y="368"/>
                  </a:lnTo>
                  <a:lnTo>
                    <a:pt x="108" y="368"/>
                  </a:lnTo>
                  <a:lnTo>
                    <a:pt x="106" y="369"/>
                  </a:lnTo>
                  <a:lnTo>
                    <a:pt x="100" y="376"/>
                  </a:lnTo>
                  <a:lnTo>
                    <a:pt x="101" y="376"/>
                  </a:lnTo>
                  <a:lnTo>
                    <a:pt x="101" y="376"/>
                  </a:lnTo>
                  <a:lnTo>
                    <a:pt x="101" y="377"/>
                  </a:lnTo>
                  <a:lnTo>
                    <a:pt x="101" y="377"/>
                  </a:lnTo>
                  <a:lnTo>
                    <a:pt x="101" y="377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100" y="379"/>
                  </a:lnTo>
                  <a:lnTo>
                    <a:pt x="101" y="379"/>
                  </a:lnTo>
                  <a:lnTo>
                    <a:pt x="101" y="380"/>
                  </a:lnTo>
                  <a:lnTo>
                    <a:pt x="101" y="382"/>
                  </a:lnTo>
                  <a:lnTo>
                    <a:pt x="101" y="382"/>
                  </a:lnTo>
                  <a:lnTo>
                    <a:pt x="103" y="383"/>
                  </a:lnTo>
                  <a:lnTo>
                    <a:pt x="103" y="383"/>
                  </a:lnTo>
                  <a:lnTo>
                    <a:pt x="103" y="383"/>
                  </a:lnTo>
                  <a:lnTo>
                    <a:pt x="105" y="383"/>
                  </a:lnTo>
                  <a:lnTo>
                    <a:pt x="105" y="383"/>
                  </a:lnTo>
                  <a:lnTo>
                    <a:pt x="105" y="385"/>
                  </a:lnTo>
                  <a:lnTo>
                    <a:pt x="105" y="386"/>
                  </a:lnTo>
                  <a:lnTo>
                    <a:pt x="106" y="388"/>
                  </a:lnTo>
                  <a:lnTo>
                    <a:pt x="106" y="388"/>
                  </a:lnTo>
                  <a:lnTo>
                    <a:pt x="108" y="389"/>
                  </a:lnTo>
                  <a:lnTo>
                    <a:pt x="106" y="393"/>
                  </a:lnTo>
                  <a:lnTo>
                    <a:pt x="105" y="389"/>
                  </a:lnTo>
                  <a:lnTo>
                    <a:pt x="103" y="388"/>
                  </a:lnTo>
                  <a:lnTo>
                    <a:pt x="101" y="388"/>
                  </a:lnTo>
                  <a:lnTo>
                    <a:pt x="100" y="388"/>
                  </a:lnTo>
                  <a:lnTo>
                    <a:pt x="100" y="388"/>
                  </a:lnTo>
                  <a:lnTo>
                    <a:pt x="97" y="389"/>
                  </a:lnTo>
                  <a:lnTo>
                    <a:pt x="95" y="389"/>
                  </a:lnTo>
                  <a:lnTo>
                    <a:pt x="95" y="391"/>
                  </a:lnTo>
                  <a:lnTo>
                    <a:pt x="95" y="391"/>
                  </a:lnTo>
                  <a:lnTo>
                    <a:pt x="95" y="393"/>
                  </a:lnTo>
                  <a:lnTo>
                    <a:pt x="95" y="394"/>
                  </a:lnTo>
                  <a:lnTo>
                    <a:pt x="97" y="396"/>
                  </a:lnTo>
                  <a:lnTo>
                    <a:pt x="97" y="397"/>
                  </a:lnTo>
                  <a:lnTo>
                    <a:pt x="97" y="399"/>
                  </a:lnTo>
                  <a:lnTo>
                    <a:pt x="97" y="400"/>
                  </a:lnTo>
                  <a:lnTo>
                    <a:pt x="97" y="400"/>
                  </a:lnTo>
                  <a:lnTo>
                    <a:pt x="95" y="399"/>
                  </a:lnTo>
                  <a:lnTo>
                    <a:pt x="95" y="397"/>
                  </a:lnTo>
                  <a:lnTo>
                    <a:pt x="94" y="394"/>
                  </a:lnTo>
                  <a:lnTo>
                    <a:pt x="94" y="391"/>
                  </a:lnTo>
                  <a:lnTo>
                    <a:pt x="94" y="391"/>
                  </a:lnTo>
                  <a:lnTo>
                    <a:pt x="92" y="388"/>
                  </a:lnTo>
                  <a:lnTo>
                    <a:pt x="91" y="386"/>
                  </a:lnTo>
                  <a:lnTo>
                    <a:pt x="94" y="386"/>
                  </a:lnTo>
                  <a:lnTo>
                    <a:pt x="94" y="385"/>
                  </a:lnTo>
                  <a:lnTo>
                    <a:pt x="89" y="383"/>
                  </a:lnTo>
                  <a:lnTo>
                    <a:pt x="89" y="383"/>
                  </a:lnTo>
                  <a:lnTo>
                    <a:pt x="88" y="383"/>
                  </a:lnTo>
                  <a:lnTo>
                    <a:pt x="85" y="382"/>
                  </a:lnTo>
                  <a:lnTo>
                    <a:pt x="85" y="382"/>
                  </a:lnTo>
                  <a:lnTo>
                    <a:pt x="83" y="383"/>
                  </a:lnTo>
                  <a:lnTo>
                    <a:pt x="83" y="383"/>
                  </a:lnTo>
                  <a:lnTo>
                    <a:pt x="81" y="386"/>
                  </a:lnTo>
                  <a:lnTo>
                    <a:pt x="83" y="388"/>
                  </a:lnTo>
                  <a:lnTo>
                    <a:pt x="83" y="388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78" y="389"/>
                  </a:lnTo>
                  <a:lnTo>
                    <a:pt x="78" y="391"/>
                  </a:lnTo>
                  <a:lnTo>
                    <a:pt x="78" y="391"/>
                  </a:lnTo>
                  <a:lnTo>
                    <a:pt x="78" y="393"/>
                  </a:lnTo>
                  <a:lnTo>
                    <a:pt x="80" y="393"/>
                  </a:lnTo>
                  <a:lnTo>
                    <a:pt x="80" y="393"/>
                  </a:lnTo>
                  <a:lnTo>
                    <a:pt x="78" y="394"/>
                  </a:lnTo>
                  <a:lnTo>
                    <a:pt x="78" y="394"/>
                  </a:lnTo>
                  <a:lnTo>
                    <a:pt x="78" y="394"/>
                  </a:lnTo>
                  <a:lnTo>
                    <a:pt x="78" y="396"/>
                  </a:lnTo>
                  <a:lnTo>
                    <a:pt x="77" y="397"/>
                  </a:lnTo>
                  <a:lnTo>
                    <a:pt x="77" y="399"/>
                  </a:lnTo>
                  <a:lnTo>
                    <a:pt x="77" y="399"/>
                  </a:lnTo>
                  <a:lnTo>
                    <a:pt x="78" y="399"/>
                  </a:lnTo>
                  <a:close/>
                  <a:moveTo>
                    <a:pt x="738" y="1130"/>
                  </a:moveTo>
                  <a:lnTo>
                    <a:pt x="738" y="1126"/>
                  </a:lnTo>
                  <a:lnTo>
                    <a:pt x="738" y="1122"/>
                  </a:lnTo>
                  <a:lnTo>
                    <a:pt x="738" y="1121"/>
                  </a:lnTo>
                  <a:lnTo>
                    <a:pt x="738" y="1118"/>
                  </a:lnTo>
                  <a:lnTo>
                    <a:pt x="736" y="1115"/>
                  </a:lnTo>
                  <a:lnTo>
                    <a:pt x="736" y="1112"/>
                  </a:lnTo>
                  <a:lnTo>
                    <a:pt x="735" y="1106"/>
                  </a:lnTo>
                  <a:lnTo>
                    <a:pt x="731" y="1102"/>
                  </a:lnTo>
                  <a:lnTo>
                    <a:pt x="730" y="1099"/>
                  </a:lnTo>
                  <a:lnTo>
                    <a:pt x="711" y="1085"/>
                  </a:lnTo>
                  <a:lnTo>
                    <a:pt x="702" y="1081"/>
                  </a:lnTo>
                  <a:lnTo>
                    <a:pt x="679" y="1076"/>
                  </a:lnTo>
                  <a:lnTo>
                    <a:pt x="679" y="1076"/>
                  </a:lnTo>
                  <a:lnTo>
                    <a:pt x="681" y="1076"/>
                  </a:lnTo>
                  <a:lnTo>
                    <a:pt x="682" y="1076"/>
                  </a:lnTo>
                  <a:lnTo>
                    <a:pt x="682" y="1076"/>
                  </a:lnTo>
                  <a:lnTo>
                    <a:pt x="684" y="1078"/>
                  </a:lnTo>
                  <a:lnTo>
                    <a:pt x="679" y="1079"/>
                  </a:lnTo>
                  <a:lnTo>
                    <a:pt x="676" y="1078"/>
                  </a:lnTo>
                  <a:lnTo>
                    <a:pt x="673" y="1076"/>
                  </a:lnTo>
                  <a:lnTo>
                    <a:pt x="670" y="1076"/>
                  </a:lnTo>
                  <a:lnTo>
                    <a:pt x="664" y="1076"/>
                  </a:lnTo>
                  <a:lnTo>
                    <a:pt x="662" y="1075"/>
                  </a:lnTo>
                  <a:lnTo>
                    <a:pt x="661" y="1075"/>
                  </a:lnTo>
                  <a:lnTo>
                    <a:pt x="659" y="1075"/>
                  </a:lnTo>
                  <a:lnTo>
                    <a:pt x="658" y="1075"/>
                  </a:lnTo>
                  <a:lnTo>
                    <a:pt x="658" y="1076"/>
                  </a:lnTo>
                  <a:lnTo>
                    <a:pt x="654" y="1076"/>
                  </a:lnTo>
                  <a:lnTo>
                    <a:pt x="650" y="1076"/>
                  </a:lnTo>
                  <a:lnTo>
                    <a:pt x="647" y="1078"/>
                  </a:lnTo>
                  <a:lnTo>
                    <a:pt x="644" y="1081"/>
                  </a:lnTo>
                  <a:lnTo>
                    <a:pt x="642" y="1082"/>
                  </a:lnTo>
                  <a:lnTo>
                    <a:pt x="642" y="1085"/>
                  </a:lnTo>
                  <a:lnTo>
                    <a:pt x="641" y="1089"/>
                  </a:lnTo>
                  <a:lnTo>
                    <a:pt x="641" y="1092"/>
                  </a:lnTo>
                  <a:lnTo>
                    <a:pt x="639" y="1093"/>
                  </a:lnTo>
                  <a:lnTo>
                    <a:pt x="637" y="1096"/>
                  </a:lnTo>
                  <a:lnTo>
                    <a:pt x="636" y="1098"/>
                  </a:lnTo>
                  <a:lnTo>
                    <a:pt x="636" y="1101"/>
                  </a:lnTo>
                  <a:lnTo>
                    <a:pt x="636" y="1101"/>
                  </a:lnTo>
                  <a:lnTo>
                    <a:pt x="634" y="1101"/>
                  </a:lnTo>
                  <a:lnTo>
                    <a:pt x="633" y="1098"/>
                  </a:lnTo>
                  <a:lnTo>
                    <a:pt x="631" y="1096"/>
                  </a:lnTo>
                  <a:lnTo>
                    <a:pt x="628" y="1096"/>
                  </a:lnTo>
                  <a:lnTo>
                    <a:pt x="627" y="1096"/>
                  </a:lnTo>
                  <a:lnTo>
                    <a:pt x="627" y="1098"/>
                  </a:lnTo>
                  <a:lnTo>
                    <a:pt x="624" y="1095"/>
                  </a:lnTo>
                  <a:lnTo>
                    <a:pt x="621" y="1090"/>
                  </a:lnTo>
                  <a:lnTo>
                    <a:pt x="619" y="1089"/>
                  </a:lnTo>
                  <a:lnTo>
                    <a:pt x="617" y="1089"/>
                  </a:lnTo>
                  <a:lnTo>
                    <a:pt x="616" y="1085"/>
                  </a:lnTo>
                  <a:lnTo>
                    <a:pt x="614" y="1085"/>
                  </a:lnTo>
                  <a:lnTo>
                    <a:pt x="611" y="1087"/>
                  </a:lnTo>
                  <a:lnTo>
                    <a:pt x="608" y="1087"/>
                  </a:lnTo>
                  <a:lnTo>
                    <a:pt x="608" y="1085"/>
                  </a:lnTo>
                  <a:lnTo>
                    <a:pt x="610" y="1084"/>
                  </a:lnTo>
                  <a:lnTo>
                    <a:pt x="610" y="1082"/>
                  </a:lnTo>
                  <a:lnTo>
                    <a:pt x="613" y="1082"/>
                  </a:lnTo>
                  <a:lnTo>
                    <a:pt x="614" y="1079"/>
                  </a:lnTo>
                  <a:lnTo>
                    <a:pt x="619" y="1072"/>
                  </a:lnTo>
                  <a:lnTo>
                    <a:pt x="621" y="1070"/>
                  </a:lnTo>
                  <a:lnTo>
                    <a:pt x="622" y="1070"/>
                  </a:lnTo>
                  <a:lnTo>
                    <a:pt x="628" y="1064"/>
                  </a:lnTo>
                  <a:lnTo>
                    <a:pt x="630" y="1062"/>
                  </a:lnTo>
                  <a:lnTo>
                    <a:pt x="631" y="1062"/>
                  </a:lnTo>
                  <a:lnTo>
                    <a:pt x="633" y="1062"/>
                  </a:lnTo>
                  <a:lnTo>
                    <a:pt x="633" y="1061"/>
                  </a:lnTo>
                  <a:lnTo>
                    <a:pt x="634" y="1055"/>
                  </a:lnTo>
                  <a:lnTo>
                    <a:pt x="634" y="1049"/>
                  </a:lnTo>
                  <a:lnTo>
                    <a:pt x="633" y="1044"/>
                  </a:lnTo>
                  <a:lnTo>
                    <a:pt x="627" y="1029"/>
                  </a:lnTo>
                  <a:lnTo>
                    <a:pt x="627" y="1025"/>
                  </a:lnTo>
                  <a:lnTo>
                    <a:pt x="625" y="1024"/>
                  </a:lnTo>
                  <a:lnTo>
                    <a:pt x="625" y="1022"/>
                  </a:lnTo>
                  <a:lnTo>
                    <a:pt x="624" y="1021"/>
                  </a:lnTo>
                  <a:lnTo>
                    <a:pt x="624" y="1021"/>
                  </a:lnTo>
                  <a:lnTo>
                    <a:pt x="622" y="1019"/>
                  </a:lnTo>
                  <a:lnTo>
                    <a:pt x="621" y="1019"/>
                  </a:lnTo>
                  <a:lnTo>
                    <a:pt x="621" y="1018"/>
                  </a:lnTo>
                  <a:lnTo>
                    <a:pt x="621" y="1018"/>
                  </a:lnTo>
                  <a:lnTo>
                    <a:pt x="621" y="1016"/>
                  </a:lnTo>
                  <a:lnTo>
                    <a:pt x="621" y="1015"/>
                  </a:lnTo>
                  <a:lnTo>
                    <a:pt x="619" y="1013"/>
                  </a:lnTo>
                  <a:lnTo>
                    <a:pt x="617" y="1013"/>
                  </a:lnTo>
                  <a:lnTo>
                    <a:pt x="616" y="1013"/>
                  </a:lnTo>
                  <a:lnTo>
                    <a:pt x="614" y="1012"/>
                  </a:lnTo>
                  <a:lnTo>
                    <a:pt x="608" y="1005"/>
                  </a:lnTo>
                  <a:lnTo>
                    <a:pt x="604" y="1002"/>
                  </a:lnTo>
                  <a:lnTo>
                    <a:pt x="604" y="1001"/>
                  </a:lnTo>
                  <a:lnTo>
                    <a:pt x="601" y="1001"/>
                  </a:lnTo>
                  <a:lnTo>
                    <a:pt x="599" y="999"/>
                  </a:lnTo>
                  <a:lnTo>
                    <a:pt x="597" y="998"/>
                  </a:lnTo>
                  <a:lnTo>
                    <a:pt x="593" y="996"/>
                  </a:lnTo>
                  <a:lnTo>
                    <a:pt x="588" y="987"/>
                  </a:lnTo>
                  <a:lnTo>
                    <a:pt x="587" y="984"/>
                  </a:lnTo>
                  <a:lnTo>
                    <a:pt x="585" y="984"/>
                  </a:lnTo>
                  <a:lnTo>
                    <a:pt x="571" y="985"/>
                  </a:lnTo>
                  <a:lnTo>
                    <a:pt x="570" y="988"/>
                  </a:lnTo>
                  <a:lnTo>
                    <a:pt x="568" y="988"/>
                  </a:lnTo>
                  <a:lnTo>
                    <a:pt x="567" y="987"/>
                  </a:lnTo>
                  <a:lnTo>
                    <a:pt x="567" y="987"/>
                  </a:lnTo>
                  <a:lnTo>
                    <a:pt x="564" y="984"/>
                  </a:lnTo>
                  <a:lnTo>
                    <a:pt x="562" y="984"/>
                  </a:lnTo>
                  <a:lnTo>
                    <a:pt x="559" y="984"/>
                  </a:lnTo>
                  <a:lnTo>
                    <a:pt x="557" y="985"/>
                  </a:lnTo>
                  <a:lnTo>
                    <a:pt x="556" y="987"/>
                  </a:lnTo>
                  <a:lnTo>
                    <a:pt x="556" y="987"/>
                  </a:lnTo>
                  <a:lnTo>
                    <a:pt x="554" y="985"/>
                  </a:lnTo>
                  <a:lnTo>
                    <a:pt x="554" y="985"/>
                  </a:lnTo>
                  <a:lnTo>
                    <a:pt x="553" y="985"/>
                  </a:lnTo>
                  <a:lnTo>
                    <a:pt x="559" y="982"/>
                  </a:lnTo>
                  <a:lnTo>
                    <a:pt x="560" y="981"/>
                  </a:lnTo>
                  <a:lnTo>
                    <a:pt x="565" y="982"/>
                  </a:lnTo>
                  <a:lnTo>
                    <a:pt x="565" y="982"/>
                  </a:lnTo>
                  <a:lnTo>
                    <a:pt x="567" y="984"/>
                  </a:lnTo>
                  <a:lnTo>
                    <a:pt x="567" y="984"/>
                  </a:lnTo>
                  <a:lnTo>
                    <a:pt x="570" y="984"/>
                  </a:lnTo>
                  <a:lnTo>
                    <a:pt x="576" y="984"/>
                  </a:lnTo>
                  <a:lnTo>
                    <a:pt x="585" y="981"/>
                  </a:lnTo>
                  <a:lnTo>
                    <a:pt x="585" y="981"/>
                  </a:lnTo>
                  <a:lnTo>
                    <a:pt x="588" y="981"/>
                  </a:lnTo>
                  <a:lnTo>
                    <a:pt x="591" y="982"/>
                  </a:lnTo>
                  <a:lnTo>
                    <a:pt x="597" y="992"/>
                  </a:lnTo>
                  <a:lnTo>
                    <a:pt x="599" y="993"/>
                  </a:lnTo>
                  <a:lnTo>
                    <a:pt x="601" y="995"/>
                  </a:lnTo>
                  <a:lnTo>
                    <a:pt x="602" y="995"/>
                  </a:lnTo>
                  <a:lnTo>
                    <a:pt x="604" y="995"/>
                  </a:lnTo>
                  <a:lnTo>
                    <a:pt x="605" y="995"/>
                  </a:lnTo>
                  <a:lnTo>
                    <a:pt x="608" y="993"/>
                  </a:lnTo>
                  <a:lnTo>
                    <a:pt x="610" y="992"/>
                  </a:lnTo>
                  <a:lnTo>
                    <a:pt x="611" y="993"/>
                  </a:lnTo>
                  <a:lnTo>
                    <a:pt x="614" y="995"/>
                  </a:lnTo>
                  <a:lnTo>
                    <a:pt x="616" y="996"/>
                  </a:lnTo>
                  <a:lnTo>
                    <a:pt x="617" y="996"/>
                  </a:lnTo>
                  <a:lnTo>
                    <a:pt x="617" y="999"/>
                  </a:lnTo>
                  <a:lnTo>
                    <a:pt x="616" y="1002"/>
                  </a:lnTo>
                  <a:lnTo>
                    <a:pt x="617" y="1001"/>
                  </a:lnTo>
                  <a:lnTo>
                    <a:pt x="617" y="1001"/>
                  </a:lnTo>
                  <a:lnTo>
                    <a:pt x="619" y="996"/>
                  </a:lnTo>
                  <a:lnTo>
                    <a:pt x="617" y="993"/>
                  </a:lnTo>
                  <a:lnTo>
                    <a:pt x="604" y="973"/>
                  </a:lnTo>
                  <a:lnTo>
                    <a:pt x="596" y="961"/>
                  </a:lnTo>
                  <a:lnTo>
                    <a:pt x="594" y="956"/>
                  </a:lnTo>
                  <a:lnTo>
                    <a:pt x="593" y="948"/>
                  </a:lnTo>
                  <a:lnTo>
                    <a:pt x="591" y="945"/>
                  </a:lnTo>
                  <a:lnTo>
                    <a:pt x="593" y="939"/>
                  </a:lnTo>
                  <a:lnTo>
                    <a:pt x="596" y="938"/>
                  </a:lnTo>
                  <a:lnTo>
                    <a:pt x="602" y="933"/>
                  </a:lnTo>
                  <a:lnTo>
                    <a:pt x="599" y="931"/>
                  </a:lnTo>
                  <a:lnTo>
                    <a:pt x="590" y="927"/>
                  </a:lnTo>
                  <a:lnTo>
                    <a:pt x="588" y="925"/>
                  </a:lnTo>
                  <a:lnTo>
                    <a:pt x="588" y="925"/>
                  </a:lnTo>
                  <a:lnTo>
                    <a:pt x="588" y="921"/>
                  </a:lnTo>
                  <a:lnTo>
                    <a:pt x="587" y="921"/>
                  </a:lnTo>
                  <a:lnTo>
                    <a:pt x="585" y="919"/>
                  </a:lnTo>
                  <a:lnTo>
                    <a:pt x="585" y="918"/>
                  </a:lnTo>
                  <a:lnTo>
                    <a:pt x="584" y="918"/>
                  </a:lnTo>
                  <a:lnTo>
                    <a:pt x="580" y="918"/>
                  </a:lnTo>
                  <a:lnTo>
                    <a:pt x="580" y="916"/>
                  </a:lnTo>
                  <a:lnTo>
                    <a:pt x="579" y="915"/>
                  </a:lnTo>
                  <a:lnTo>
                    <a:pt x="577" y="913"/>
                  </a:lnTo>
                  <a:lnTo>
                    <a:pt x="579" y="913"/>
                  </a:lnTo>
                  <a:lnTo>
                    <a:pt x="579" y="911"/>
                  </a:lnTo>
                  <a:lnTo>
                    <a:pt x="577" y="911"/>
                  </a:lnTo>
                  <a:lnTo>
                    <a:pt x="577" y="911"/>
                  </a:lnTo>
                  <a:lnTo>
                    <a:pt x="577" y="910"/>
                  </a:lnTo>
                  <a:lnTo>
                    <a:pt x="576" y="908"/>
                  </a:lnTo>
                  <a:lnTo>
                    <a:pt x="576" y="907"/>
                  </a:lnTo>
                  <a:lnTo>
                    <a:pt x="576" y="904"/>
                  </a:lnTo>
                  <a:lnTo>
                    <a:pt x="574" y="901"/>
                  </a:lnTo>
                  <a:lnTo>
                    <a:pt x="573" y="898"/>
                  </a:lnTo>
                  <a:lnTo>
                    <a:pt x="573" y="898"/>
                  </a:lnTo>
                  <a:lnTo>
                    <a:pt x="570" y="896"/>
                  </a:lnTo>
                  <a:lnTo>
                    <a:pt x="568" y="895"/>
                  </a:lnTo>
                  <a:lnTo>
                    <a:pt x="568" y="893"/>
                  </a:lnTo>
                  <a:lnTo>
                    <a:pt x="568" y="891"/>
                  </a:lnTo>
                  <a:lnTo>
                    <a:pt x="568" y="891"/>
                  </a:lnTo>
                  <a:lnTo>
                    <a:pt x="568" y="888"/>
                  </a:lnTo>
                  <a:lnTo>
                    <a:pt x="565" y="887"/>
                  </a:lnTo>
                  <a:lnTo>
                    <a:pt x="550" y="876"/>
                  </a:lnTo>
                  <a:lnTo>
                    <a:pt x="534" y="871"/>
                  </a:lnTo>
                  <a:lnTo>
                    <a:pt x="530" y="868"/>
                  </a:lnTo>
                  <a:lnTo>
                    <a:pt x="527" y="868"/>
                  </a:lnTo>
                  <a:lnTo>
                    <a:pt x="525" y="868"/>
                  </a:lnTo>
                  <a:lnTo>
                    <a:pt x="524" y="867"/>
                  </a:lnTo>
                  <a:lnTo>
                    <a:pt x="524" y="865"/>
                  </a:lnTo>
                  <a:lnTo>
                    <a:pt x="522" y="868"/>
                  </a:lnTo>
                  <a:lnTo>
                    <a:pt x="522" y="870"/>
                  </a:lnTo>
                  <a:lnTo>
                    <a:pt x="520" y="870"/>
                  </a:lnTo>
                  <a:lnTo>
                    <a:pt x="520" y="870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20" y="868"/>
                  </a:lnTo>
                  <a:lnTo>
                    <a:pt x="519" y="868"/>
                  </a:lnTo>
                  <a:lnTo>
                    <a:pt x="519" y="868"/>
                  </a:lnTo>
                  <a:lnTo>
                    <a:pt x="519" y="868"/>
                  </a:lnTo>
                  <a:lnTo>
                    <a:pt x="517" y="868"/>
                  </a:lnTo>
                  <a:lnTo>
                    <a:pt x="517" y="867"/>
                  </a:lnTo>
                  <a:lnTo>
                    <a:pt x="519" y="867"/>
                  </a:lnTo>
                  <a:lnTo>
                    <a:pt x="520" y="865"/>
                  </a:lnTo>
                  <a:lnTo>
                    <a:pt x="520" y="865"/>
                  </a:lnTo>
                  <a:lnTo>
                    <a:pt x="520" y="864"/>
                  </a:lnTo>
                  <a:lnTo>
                    <a:pt x="520" y="864"/>
                  </a:lnTo>
                  <a:lnTo>
                    <a:pt x="519" y="862"/>
                  </a:lnTo>
                  <a:lnTo>
                    <a:pt x="519" y="861"/>
                  </a:lnTo>
                  <a:lnTo>
                    <a:pt x="519" y="861"/>
                  </a:lnTo>
                  <a:lnTo>
                    <a:pt x="519" y="859"/>
                  </a:lnTo>
                  <a:lnTo>
                    <a:pt x="519" y="859"/>
                  </a:lnTo>
                  <a:lnTo>
                    <a:pt x="520" y="859"/>
                  </a:lnTo>
                  <a:lnTo>
                    <a:pt x="520" y="858"/>
                  </a:lnTo>
                  <a:lnTo>
                    <a:pt x="516" y="856"/>
                  </a:lnTo>
                  <a:lnTo>
                    <a:pt x="516" y="856"/>
                  </a:lnTo>
                  <a:lnTo>
                    <a:pt x="513" y="853"/>
                  </a:lnTo>
                  <a:lnTo>
                    <a:pt x="511" y="848"/>
                  </a:lnTo>
                  <a:lnTo>
                    <a:pt x="507" y="831"/>
                  </a:lnTo>
                  <a:lnTo>
                    <a:pt x="507" y="831"/>
                  </a:lnTo>
                  <a:lnTo>
                    <a:pt x="507" y="830"/>
                  </a:lnTo>
                  <a:lnTo>
                    <a:pt x="507" y="830"/>
                  </a:lnTo>
                  <a:lnTo>
                    <a:pt x="507" y="827"/>
                  </a:lnTo>
                  <a:lnTo>
                    <a:pt x="507" y="825"/>
                  </a:lnTo>
                  <a:lnTo>
                    <a:pt x="507" y="825"/>
                  </a:lnTo>
                  <a:lnTo>
                    <a:pt x="507" y="824"/>
                  </a:lnTo>
                  <a:lnTo>
                    <a:pt x="505" y="824"/>
                  </a:lnTo>
                  <a:lnTo>
                    <a:pt x="503" y="821"/>
                  </a:lnTo>
                  <a:lnTo>
                    <a:pt x="503" y="821"/>
                  </a:lnTo>
                  <a:lnTo>
                    <a:pt x="502" y="819"/>
                  </a:lnTo>
                  <a:lnTo>
                    <a:pt x="502" y="818"/>
                  </a:lnTo>
                  <a:lnTo>
                    <a:pt x="502" y="816"/>
                  </a:lnTo>
                  <a:lnTo>
                    <a:pt x="502" y="816"/>
                  </a:lnTo>
                  <a:lnTo>
                    <a:pt x="500" y="814"/>
                  </a:lnTo>
                  <a:lnTo>
                    <a:pt x="499" y="811"/>
                  </a:lnTo>
                  <a:lnTo>
                    <a:pt x="499" y="810"/>
                  </a:lnTo>
                  <a:lnTo>
                    <a:pt x="499" y="810"/>
                  </a:lnTo>
                  <a:lnTo>
                    <a:pt x="499" y="810"/>
                  </a:lnTo>
                  <a:lnTo>
                    <a:pt x="497" y="808"/>
                  </a:lnTo>
                  <a:lnTo>
                    <a:pt x="497" y="808"/>
                  </a:lnTo>
                  <a:lnTo>
                    <a:pt x="497" y="808"/>
                  </a:lnTo>
                  <a:lnTo>
                    <a:pt x="496" y="805"/>
                  </a:lnTo>
                  <a:lnTo>
                    <a:pt x="496" y="802"/>
                  </a:lnTo>
                  <a:lnTo>
                    <a:pt x="496" y="802"/>
                  </a:lnTo>
                  <a:lnTo>
                    <a:pt x="494" y="799"/>
                  </a:lnTo>
                  <a:lnTo>
                    <a:pt x="494" y="798"/>
                  </a:lnTo>
                  <a:lnTo>
                    <a:pt x="494" y="798"/>
                  </a:lnTo>
                  <a:lnTo>
                    <a:pt x="496" y="796"/>
                  </a:lnTo>
                  <a:lnTo>
                    <a:pt x="496" y="794"/>
                  </a:lnTo>
                  <a:lnTo>
                    <a:pt x="494" y="793"/>
                  </a:lnTo>
                  <a:lnTo>
                    <a:pt x="494" y="793"/>
                  </a:lnTo>
                  <a:lnTo>
                    <a:pt x="494" y="791"/>
                  </a:lnTo>
                  <a:lnTo>
                    <a:pt x="494" y="790"/>
                  </a:lnTo>
                  <a:lnTo>
                    <a:pt x="493" y="788"/>
                  </a:lnTo>
                  <a:lnTo>
                    <a:pt x="491" y="787"/>
                  </a:lnTo>
                  <a:lnTo>
                    <a:pt x="491" y="785"/>
                  </a:lnTo>
                  <a:lnTo>
                    <a:pt x="491" y="784"/>
                  </a:lnTo>
                  <a:lnTo>
                    <a:pt x="491" y="784"/>
                  </a:lnTo>
                  <a:lnTo>
                    <a:pt x="491" y="782"/>
                  </a:lnTo>
                  <a:lnTo>
                    <a:pt x="491" y="782"/>
                  </a:lnTo>
                  <a:lnTo>
                    <a:pt x="491" y="781"/>
                  </a:lnTo>
                  <a:lnTo>
                    <a:pt x="491" y="781"/>
                  </a:lnTo>
                  <a:lnTo>
                    <a:pt x="491" y="781"/>
                  </a:lnTo>
                  <a:lnTo>
                    <a:pt x="491" y="779"/>
                  </a:lnTo>
                  <a:lnTo>
                    <a:pt x="491" y="778"/>
                  </a:lnTo>
                  <a:lnTo>
                    <a:pt x="490" y="773"/>
                  </a:lnTo>
                  <a:lnTo>
                    <a:pt x="490" y="771"/>
                  </a:lnTo>
                  <a:lnTo>
                    <a:pt x="490" y="770"/>
                  </a:lnTo>
                  <a:lnTo>
                    <a:pt x="490" y="768"/>
                  </a:lnTo>
                  <a:lnTo>
                    <a:pt x="490" y="767"/>
                  </a:lnTo>
                  <a:lnTo>
                    <a:pt x="490" y="765"/>
                  </a:lnTo>
                  <a:lnTo>
                    <a:pt x="490" y="757"/>
                  </a:lnTo>
                  <a:lnTo>
                    <a:pt x="490" y="756"/>
                  </a:lnTo>
                  <a:lnTo>
                    <a:pt x="488" y="754"/>
                  </a:lnTo>
                  <a:lnTo>
                    <a:pt x="488" y="754"/>
                  </a:lnTo>
                  <a:lnTo>
                    <a:pt x="488" y="753"/>
                  </a:lnTo>
                  <a:lnTo>
                    <a:pt x="488" y="753"/>
                  </a:lnTo>
                  <a:lnTo>
                    <a:pt x="488" y="751"/>
                  </a:lnTo>
                  <a:lnTo>
                    <a:pt x="487" y="750"/>
                  </a:lnTo>
                  <a:lnTo>
                    <a:pt x="487" y="750"/>
                  </a:lnTo>
                  <a:lnTo>
                    <a:pt x="487" y="748"/>
                  </a:lnTo>
                  <a:lnTo>
                    <a:pt x="487" y="748"/>
                  </a:lnTo>
                  <a:lnTo>
                    <a:pt x="487" y="747"/>
                  </a:lnTo>
                  <a:lnTo>
                    <a:pt x="487" y="747"/>
                  </a:lnTo>
                  <a:lnTo>
                    <a:pt x="487" y="745"/>
                  </a:lnTo>
                  <a:lnTo>
                    <a:pt x="487" y="744"/>
                  </a:lnTo>
                  <a:lnTo>
                    <a:pt x="487" y="744"/>
                  </a:lnTo>
                  <a:lnTo>
                    <a:pt x="480" y="741"/>
                  </a:lnTo>
                  <a:lnTo>
                    <a:pt x="479" y="739"/>
                  </a:lnTo>
                  <a:lnTo>
                    <a:pt x="477" y="741"/>
                  </a:lnTo>
                  <a:lnTo>
                    <a:pt x="476" y="741"/>
                  </a:lnTo>
                  <a:lnTo>
                    <a:pt x="476" y="739"/>
                  </a:lnTo>
                  <a:lnTo>
                    <a:pt x="477" y="739"/>
                  </a:lnTo>
                  <a:lnTo>
                    <a:pt x="477" y="737"/>
                  </a:lnTo>
                  <a:lnTo>
                    <a:pt x="476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4" y="736"/>
                  </a:lnTo>
                  <a:lnTo>
                    <a:pt x="473" y="737"/>
                  </a:lnTo>
                  <a:lnTo>
                    <a:pt x="473" y="737"/>
                  </a:lnTo>
                  <a:lnTo>
                    <a:pt x="473" y="737"/>
                  </a:lnTo>
                  <a:lnTo>
                    <a:pt x="471" y="736"/>
                  </a:lnTo>
                  <a:lnTo>
                    <a:pt x="471" y="734"/>
                  </a:lnTo>
                  <a:lnTo>
                    <a:pt x="470" y="734"/>
                  </a:lnTo>
                  <a:lnTo>
                    <a:pt x="470" y="731"/>
                  </a:lnTo>
                  <a:lnTo>
                    <a:pt x="468" y="730"/>
                  </a:lnTo>
                  <a:lnTo>
                    <a:pt x="457" y="716"/>
                  </a:lnTo>
                  <a:lnTo>
                    <a:pt x="457" y="714"/>
                  </a:lnTo>
                  <a:lnTo>
                    <a:pt x="453" y="707"/>
                  </a:lnTo>
                  <a:lnTo>
                    <a:pt x="451" y="704"/>
                  </a:lnTo>
                  <a:lnTo>
                    <a:pt x="450" y="704"/>
                  </a:lnTo>
                  <a:lnTo>
                    <a:pt x="450" y="704"/>
                  </a:lnTo>
                  <a:lnTo>
                    <a:pt x="450" y="702"/>
                  </a:lnTo>
                  <a:lnTo>
                    <a:pt x="450" y="701"/>
                  </a:lnTo>
                  <a:lnTo>
                    <a:pt x="448" y="701"/>
                  </a:lnTo>
                  <a:lnTo>
                    <a:pt x="448" y="699"/>
                  </a:lnTo>
                  <a:lnTo>
                    <a:pt x="436" y="697"/>
                  </a:lnTo>
                  <a:lnTo>
                    <a:pt x="433" y="696"/>
                  </a:lnTo>
                  <a:lnTo>
                    <a:pt x="428" y="691"/>
                  </a:lnTo>
                  <a:lnTo>
                    <a:pt x="425" y="691"/>
                  </a:lnTo>
                  <a:lnTo>
                    <a:pt x="422" y="688"/>
                  </a:lnTo>
                  <a:lnTo>
                    <a:pt x="420" y="687"/>
                  </a:lnTo>
                  <a:lnTo>
                    <a:pt x="420" y="688"/>
                  </a:lnTo>
                  <a:lnTo>
                    <a:pt x="420" y="688"/>
                  </a:lnTo>
                  <a:lnTo>
                    <a:pt x="419" y="690"/>
                  </a:lnTo>
                  <a:lnTo>
                    <a:pt x="419" y="688"/>
                  </a:lnTo>
                  <a:lnTo>
                    <a:pt x="416" y="688"/>
                  </a:lnTo>
                  <a:lnTo>
                    <a:pt x="416" y="688"/>
                  </a:lnTo>
                  <a:lnTo>
                    <a:pt x="416" y="688"/>
                  </a:lnTo>
                  <a:lnTo>
                    <a:pt x="416" y="685"/>
                  </a:lnTo>
                  <a:lnTo>
                    <a:pt x="416" y="685"/>
                  </a:lnTo>
                  <a:lnTo>
                    <a:pt x="413" y="682"/>
                  </a:lnTo>
                  <a:lnTo>
                    <a:pt x="411" y="680"/>
                  </a:lnTo>
                  <a:lnTo>
                    <a:pt x="399" y="680"/>
                  </a:lnTo>
                  <a:lnTo>
                    <a:pt x="397" y="680"/>
                  </a:lnTo>
                  <a:lnTo>
                    <a:pt x="396" y="684"/>
                  </a:lnTo>
                  <a:lnTo>
                    <a:pt x="394" y="685"/>
                  </a:lnTo>
                  <a:lnTo>
                    <a:pt x="394" y="685"/>
                  </a:lnTo>
                  <a:lnTo>
                    <a:pt x="394" y="685"/>
                  </a:lnTo>
                  <a:lnTo>
                    <a:pt x="394" y="687"/>
                  </a:lnTo>
                  <a:lnTo>
                    <a:pt x="393" y="688"/>
                  </a:lnTo>
                  <a:lnTo>
                    <a:pt x="391" y="690"/>
                  </a:lnTo>
                  <a:lnTo>
                    <a:pt x="391" y="691"/>
                  </a:lnTo>
                  <a:lnTo>
                    <a:pt x="390" y="693"/>
                  </a:lnTo>
                  <a:lnTo>
                    <a:pt x="383" y="696"/>
                  </a:lnTo>
                  <a:lnTo>
                    <a:pt x="379" y="696"/>
                  </a:lnTo>
                  <a:lnTo>
                    <a:pt x="377" y="696"/>
                  </a:lnTo>
                  <a:lnTo>
                    <a:pt x="377" y="694"/>
                  </a:lnTo>
                  <a:lnTo>
                    <a:pt x="376" y="693"/>
                  </a:lnTo>
                  <a:lnTo>
                    <a:pt x="376" y="693"/>
                  </a:lnTo>
                  <a:lnTo>
                    <a:pt x="362" y="691"/>
                  </a:lnTo>
                  <a:lnTo>
                    <a:pt x="360" y="690"/>
                  </a:lnTo>
                  <a:lnTo>
                    <a:pt x="360" y="690"/>
                  </a:lnTo>
                  <a:lnTo>
                    <a:pt x="359" y="690"/>
                  </a:lnTo>
                  <a:lnTo>
                    <a:pt x="357" y="690"/>
                  </a:lnTo>
                  <a:lnTo>
                    <a:pt x="354" y="690"/>
                  </a:lnTo>
                  <a:lnTo>
                    <a:pt x="342" y="687"/>
                  </a:lnTo>
                  <a:lnTo>
                    <a:pt x="340" y="687"/>
                  </a:lnTo>
                  <a:lnTo>
                    <a:pt x="336" y="687"/>
                  </a:lnTo>
                  <a:lnTo>
                    <a:pt x="334" y="687"/>
                  </a:lnTo>
                  <a:lnTo>
                    <a:pt x="334" y="687"/>
                  </a:lnTo>
                  <a:lnTo>
                    <a:pt x="334" y="685"/>
                  </a:lnTo>
                  <a:lnTo>
                    <a:pt x="333" y="685"/>
                  </a:lnTo>
                  <a:lnTo>
                    <a:pt x="333" y="685"/>
                  </a:lnTo>
                  <a:lnTo>
                    <a:pt x="331" y="685"/>
                  </a:lnTo>
                  <a:lnTo>
                    <a:pt x="331" y="685"/>
                  </a:lnTo>
                  <a:lnTo>
                    <a:pt x="329" y="684"/>
                  </a:lnTo>
                  <a:lnTo>
                    <a:pt x="328" y="679"/>
                  </a:lnTo>
                  <a:lnTo>
                    <a:pt x="326" y="679"/>
                  </a:lnTo>
                  <a:lnTo>
                    <a:pt x="326" y="677"/>
                  </a:lnTo>
                  <a:lnTo>
                    <a:pt x="322" y="674"/>
                  </a:lnTo>
                  <a:lnTo>
                    <a:pt x="322" y="674"/>
                  </a:lnTo>
                  <a:lnTo>
                    <a:pt x="323" y="674"/>
                  </a:lnTo>
                  <a:lnTo>
                    <a:pt x="325" y="674"/>
                  </a:lnTo>
                  <a:lnTo>
                    <a:pt x="326" y="676"/>
                  </a:lnTo>
                  <a:lnTo>
                    <a:pt x="329" y="679"/>
                  </a:lnTo>
                  <a:lnTo>
                    <a:pt x="329" y="679"/>
                  </a:lnTo>
                  <a:lnTo>
                    <a:pt x="331" y="680"/>
                  </a:lnTo>
                  <a:lnTo>
                    <a:pt x="334" y="682"/>
                  </a:lnTo>
                  <a:lnTo>
                    <a:pt x="340" y="682"/>
                  </a:lnTo>
                  <a:lnTo>
                    <a:pt x="353" y="685"/>
                  </a:lnTo>
                  <a:lnTo>
                    <a:pt x="356" y="685"/>
                  </a:lnTo>
                  <a:lnTo>
                    <a:pt x="359" y="685"/>
                  </a:lnTo>
                  <a:lnTo>
                    <a:pt x="362" y="684"/>
                  </a:lnTo>
                  <a:lnTo>
                    <a:pt x="365" y="682"/>
                  </a:lnTo>
                  <a:lnTo>
                    <a:pt x="366" y="680"/>
                  </a:lnTo>
                  <a:lnTo>
                    <a:pt x="371" y="680"/>
                  </a:lnTo>
                  <a:lnTo>
                    <a:pt x="373" y="680"/>
                  </a:lnTo>
                  <a:lnTo>
                    <a:pt x="373" y="679"/>
                  </a:lnTo>
                  <a:lnTo>
                    <a:pt x="374" y="674"/>
                  </a:lnTo>
                  <a:lnTo>
                    <a:pt x="374" y="673"/>
                  </a:lnTo>
                  <a:lnTo>
                    <a:pt x="376" y="671"/>
                  </a:lnTo>
                  <a:lnTo>
                    <a:pt x="377" y="671"/>
                  </a:lnTo>
                  <a:lnTo>
                    <a:pt x="382" y="667"/>
                  </a:lnTo>
                  <a:lnTo>
                    <a:pt x="385" y="664"/>
                  </a:lnTo>
                  <a:lnTo>
                    <a:pt x="386" y="662"/>
                  </a:lnTo>
                  <a:lnTo>
                    <a:pt x="386" y="662"/>
                  </a:lnTo>
                  <a:lnTo>
                    <a:pt x="388" y="660"/>
                  </a:lnTo>
                  <a:lnTo>
                    <a:pt x="393" y="660"/>
                  </a:lnTo>
                  <a:lnTo>
                    <a:pt x="397" y="664"/>
                  </a:lnTo>
                  <a:lnTo>
                    <a:pt x="399" y="664"/>
                  </a:lnTo>
                  <a:lnTo>
                    <a:pt x="400" y="664"/>
                  </a:lnTo>
                  <a:lnTo>
                    <a:pt x="405" y="660"/>
                  </a:lnTo>
                  <a:lnTo>
                    <a:pt x="408" y="659"/>
                  </a:lnTo>
                  <a:lnTo>
                    <a:pt x="411" y="659"/>
                  </a:lnTo>
                  <a:lnTo>
                    <a:pt x="411" y="656"/>
                  </a:lnTo>
                  <a:lnTo>
                    <a:pt x="416" y="651"/>
                  </a:lnTo>
                  <a:lnTo>
                    <a:pt x="416" y="651"/>
                  </a:lnTo>
                  <a:lnTo>
                    <a:pt x="413" y="648"/>
                  </a:lnTo>
                  <a:lnTo>
                    <a:pt x="413" y="648"/>
                  </a:lnTo>
                  <a:lnTo>
                    <a:pt x="410" y="645"/>
                  </a:lnTo>
                  <a:lnTo>
                    <a:pt x="408" y="645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399" y="642"/>
                  </a:lnTo>
                  <a:lnTo>
                    <a:pt x="399" y="642"/>
                  </a:lnTo>
                  <a:lnTo>
                    <a:pt x="399" y="640"/>
                  </a:lnTo>
                  <a:lnTo>
                    <a:pt x="399" y="640"/>
                  </a:lnTo>
                  <a:lnTo>
                    <a:pt x="396" y="640"/>
                  </a:lnTo>
                  <a:lnTo>
                    <a:pt x="397" y="639"/>
                  </a:lnTo>
                  <a:lnTo>
                    <a:pt x="399" y="636"/>
                  </a:lnTo>
                  <a:lnTo>
                    <a:pt x="399" y="634"/>
                  </a:lnTo>
                  <a:lnTo>
                    <a:pt x="399" y="631"/>
                  </a:lnTo>
                  <a:lnTo>
                    <a:pt x="399" y="630"/>
                  </a:lnTo>
                  <a:lnTo>
                    <a:pt x="396" y="630"/>
                  </a:lnTo>
                  <a:lnTo>
                    <a:pt x="394" y="628"/>
                  </a:lnTo>
                  <a:lnTo>
                    <a:pt x="393" y="628"/>
                  </a:lnTo>
                  <a:lnTo>
                    <a:pt x="391" y="628"/>
                  </a:lnTo>
                  <a:lnTo>
                    <a:pt x="390" y="628"/>
                  </a:lnTo>
                  <a:lnTo>
                    <a:pt x="390" y="630"/>
                  </a:lnTo>
                  <a:lnTo>
                    <a:pt x="388" y="631"/>
                  </a:lnTo>
                  <a:lnTo>
                    <a:pt x="373" y="639"/>
                  </a:lnTo>
                  <a:lnTo>
                    <a:pt x="369" y="639"/>
                  </a:lnTo>
                  <a:lnTo>
                    <a:pt x="366" y="640"/>
                  </a:lnTo>
                  <a:lnTo>
                    <a:pt x="365" y="642"/>
                  </a:lnTo>
                  <a:lnTo>
                    <a:pt x="362" y="642"/>
                  </a:lnTo>
                  <a:lnTo>
                    <a:pt x="362" y="640"/>
                  </a:lnTo>
                  <a:lnTo>
                    <a:pt x="360" y="640"/>
                  </a:lnTo>
                  <a:lnTo>
                    <a:pt x="363" y="640"/>
                  </a:lnTo>
                  <a:lnTo>
                    <a:pt x="366" y="639"/>
                  </a:lnTo>
                  <a:lnTo>
                    <a:pt x="374" y="631"/>
                  </a:lnTo>
                  <a:lnTo>
                    <a:pt x="377" y="630"/>
                  </a:lnTo>
                  <a:lnTo>
                    <a:pt x="380" y="628"/>
                  </a:lnTo>
                  <a:lnTo>
                    <a:pt x="380" y="628"/>
                  </a:lnTo>
                  <a:lnTo>
                    <a:pt x="397" y="625"/>
                  </a:lnTo>
                  <a:lnTo>
                    <a:pt x="402" y="625"/>
                  </a:lnTo>
                  <a:lnTo>
                    <a:pt x="403" y="625"/>
                  </a:lnTo>
                  <a:lnTo>
                    <a:pt x="403" y="627"/>
                  </a:lnTo>
                  <a:lnTo>
                    <a:pt x="403" y="627"/>
                  </a:lnTo>
                  <a:lnTo>
                    <a:pt x="405" y="627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10" y="620"/>
                  </a:lnTo>
                  <a:lnTo>
                    <a:pt x="411" y="619"/>
                  </a:lnTo>
                  <a:lnTo>
                    <a:pt x="413" y="616"/>
                  </a:lnTo>
                  <a:lnTo>
                    <a:pt x="419" y="611"/>
                  </a:lnTo>
                  <a:lnTo>
                    <a:pt x="420" y="610"/>
                  </a:lnTo>
                  <a:lnTo>
                    <a:pt x="422" y="607"/>
                  </a:lnTo>
                  <a:lnTo>
                    <a:pt x="422" y="605"/>
                  </a:lnTo>
                  <a:lnTo>
                    <a:pt x="423" y="605"/>
                  </a:lnTo>
                  <a:lnTo>
                    <a:pt x="423" y="603"/>
                  </a:lnTo>
                  <a:lnTo>
                    <a:pt x="422" y="602"/>
                  </a:lnTo>
                  <a:lnTo>
                    <a:pt x="422" y="600"/>
                  </a:lnTo>
                  <a:lnTo>
                    <a:pt x="423" y="599"/>
                  </a:lnTo>
                  <a:lnTo>
                    <a:pt x="425" y="597"/>
                  </a:lnTo>
                  <a:lnTo>
                    <a:pt x="425" y="596"/>
                  </a:lnTo>
                  <a:lnTo>
                    <a:pt x="426" y="590"/>
                  </a:lnTo>
                  <a:lnTo>
                    <a:pt x="426" y="590"/>
                  </a:lnTo>
                  <a:lnTo>
                    <a:pt x="426" y="588"/>
                  </a:lnTo>
                  <a:lnTo>
                    <a:pt x="428" y="587"/>
                  </a:lnTo>
                  <a:lnTo>
                    <a:pt x="430" y="585"/>
                  </a:lnTo>
                  <a:lnTo>
                    <a:pt x="434" y="582"/>
                  </a:lnTo>
                  <a:lnTo>
                    <a:pt x="434" y="580"/>
                  </a:lnTo>
                  <a:lnTo>
                    <a:pt x="437" y="577"/>
                  </a:lnTo>
                  <a:lnTo>
                    <a:pt x="439" y="574"/>
                  </a:lnTo>
                  <a:lnTo>
                    <a:pt x="442" y="573"/>
                  </a:lnTo>
                  <a:lnTo>
                    <a:pt x="442" y="571"/>
                  </a:lnTo>
                  <a:lnTo>
                    <a:pt x="443" y="570"/>
                  </a:lnTo>
                  <a:lnTo>
                    <a:pt x="443" y="568"/>
                  </a:lnTo>
                  <a:lnTo>
                    <a:pt x="445" y="567"/>
                  </a:lnTo>
                  <a:lnTo>
                    <a:pt x="445" y="565"/>
                  </a:lnTo>
                  <a:lnTo>
                    <a:pt x="445" y="563"/>
                  </a:lnTo>
                  <a:lnTo>
                    <a:pt x="445" y="563"/>
                  </a:lnTo>
                  <a:lnTo>
                    <a:pt x="443" y="562"/>
                  </a:lnTo>
                  <a:lnTo>
                    <a:pt x="443" y="560"/>
                  </a:lnTo>
                  <a:lnTo>
                    <a:pt x="445" y="556"/>
                  </a:lnTo>
                  <a:lnTo>
                    <a:pt x="447" y="551"/>
                  </a:lnTo>
                  <a:lnTo>
                    <a:pt x="454" y="540"/>
                  </a:lnTo>
                  <a:lnTo>
                    <a:pt x="454" y="540"/>
                  </a:lnTo>
                  <a:lnTo>
                    <a:pt x="456" y="537"/>
                  </a:lnTo>
                  <a:lnTo>
                    <a:pt x="454" y="537"/>
                  </a:lnTo>
                  <a:lnTo>
                    <a:pt x="453" y="536"/>
                  </a:lnTo>
                  <a:lnTo>
                    <a:pt x="453" y="533"/>
                  </a:lnTo>
                  <a:lnTo>
                    <a:pt x="454" y="530"/>
                  </a:lnTo>
                  <a:lnTo>
                    <a:pt x="456" y="523"/>
                  </a:lnTo>
                  <a:lnTo>
                    <a:pt x="460" y="510"/>
                  </a:lnTo>
                  <a:lnTo>
                    <a:pt x="462" y="508"/>
                  </a:lnTo>
                  <a:lnTo>
                    <a:pt x="470" y="500"/>
                  </a:lnTo>
                  <a:lnTo>
                    <a:pt x="470" y="499"/>
                  </a:lnTo>
                  <a:lnTo>
                    <a:pt x="471" y="496"/>
                  </a:lnTo>
                  <a:lnTo>
                    <a:pt x="474" y="491"/>
                  </a:lnTo>
                  <a:lnTo>
                    <a:pt x="476" y="490"/>
                  </a:lnTo>
                  <a:lnTo>
                    <a:pt x="477" y="490"/>
                  </a:lnTo>
                  <a:lnTo>
                    <a:pt x="476" y="488"/>
                  </a:lnTo>
                  <a:lnTo>
                    <a:pt x="476" y="488"/>
                  </a:lnTo>
                  <a:lnTo>
                    <a:pt x="474" y="486"/>
                  </a:lnTo>
                  <a:lnTo>
                    <a:pt x="476" y="486"/>
                  </a:lnTo>
                  <a:lnTo>
                    <a:pt x="476" y="486"/>
                  </a:lnTo>
                  <a:lnTo>
                    <a:pt x="474" y="483"/>
                  </a:lnTo>
                  <a:lnTo>
                    <a:pt x="474" y="482"/>
                  </a:lnTo>
                  <a:lnTo>
                    <a:pt x="474" y="480"/>
                  </a:lnTo>
                  <a:lnTo>
                    <a:pt x="474" y="479"/>
                  </a:lnTo>
                  <a:lnTo>
                    <a:pt x="473" y="477"/>
                  </a:lnTo>
                  <a:lnTo>
                    <a:pt x="473" y="474"/>
                  </a:lnTo>
                  <a:lnTo>
                    <a:pt x="473" y="473"/>
                  </a:lnTo>
                  <a:lnTo>
                    <a:pt x="471" y="470"/>
                  </a:lnTo>
                  <a:lnTo>
                    <a:pt x="465" y="462"/>
                  </a:lnTo>
                  <a:lnTo>
                    <a:pt x="465" y="460"/>
                  </a:lnTo>
                  <a:lnTo>
                    <a:pt x="463" y="460"/>
                  </a:lnTo>
                  <a:lnTo>
                    <a:pt x="463" y="460"/>
                  </a:lnTo>
                  <a:lnTo>
                    <a:pt x="462" y="462"/>
                  </a:lnTo>
                  <a:lnTo>
                    <a:pt x="460" y="462"/>
                  </a:lnTo>
                  <a:lnTo>
                    <a:pt x="460" y="460"/>
                  </a:lnTo>
                  <a:lnTo>
                    <a:pt x="459" y="459"/>
                  </a:lnTo>
                  <a:lnTo>
                    <a:pt x="459" y="457"/>
                  </a:lnTo>
                  <a:lnTo>
                    <a:pt x="459" y="457"/>
                  </a:lnTo>
                  <a:lnTo>
                    <a:pt x="451" y="457"/>
                  </a:lnTo>
                  <a:lnTo>
                    <a:pt x="450" y="457"/>
                  </a:lnTo>
                  <a:lnTo>
                    <a:pt x="445" y="460"/>
                  </a:lnTo>
                  <a:lnTo>
                    <a:pt x="443" y="462"/>
                  </a:lnTo>
                  <a:lnTo>
                    <a:pt x="442" y="460"/>
                  </a:lnTo>
                  <a:lnTo>
                    <a:pt x="439" y="459"/>
                  </a:lnTo>
                  <a:lnTo>
                    <a:pt x="437" y="459"/>
                  </a:lnTo>
                  <a:lnTo>
                    <a:pt x="436" y="459"/>
                  </a:lnTo>
                  <a:lnTo>
                    <a:pt x="436" y="459"/>
                  </a:lnTo>
                  <a:lnTo>
                    <a:pt x="434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3" y="460"/>
                  </a:lnTo>
                  <a:lnTo>
                    <a:pt x="433" y="460"/>
                  </a:lnTo>
                  <a:lnTo>
                    <a:pt x="431" y="460"/>
                  </a:lnTo>
                  <a:lnTo>
                    <a:pt x="430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8" y="462"/>
                  </a:lnTo>
                  <a:lnTo>
                    <a:pt x="426" y="460"/>
                  </a:lnTo>
                  <a:lnTo>
                    <a:pt x="426" y="462"/>
                  </a:lnTo>
                  <a:lnTo>
                    <a:pt x="423" y="460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62"/>
                  </a:lnTo>
                  <a:lnTo>
                    <a:pt x="420" y="462"/>
                  </a:lnTo>
                  <a:lnTo>
                    <a:pt x="419" y="460"/>
                  </a:lnTo>
                  <a:lnTo>
                    <a:pt x="416" y="460"/>
                  </a:lnTo>
                  <a:lnTo>
                    <a:pt x="410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5" y="459"/>
                  </a:lnTo>
                  <a:lnTo>
                    <a:pt x="405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2" y="457"/>
                  </a:lnTo>
                  <a:lnTo>
                    <a:pt x="391" y="457"/>
                  </a:lnTo>
                  <a:lnTo>
                    <a:pt x="390" y="457"/>
                  </a:lnTo>
                  <a:lnTo>
                    <a:pt x="385" y="462"/>
                  </a:lnTo>
                  <a:lnTo>
                    <a:pt x="382" y="462"/>
                  </a:lnTo>
                  <a:lnTo>
                    <a:pt x="379" y="462"/>
                  </a:lnTo>
                  <a:lnTo>
                    <a:pt x="368" y="459"/>
                  </a:lnTo>
                  <a:lnTo>
                    <a:pt x="363" y="454"/>
                  </a:lnTo>
                  <a:lnTo>
                    <a:pt x="354" y="454"/>
                  </a:lnTo>
                  <a:lnTo>
                    <a:pt x="353" y="454"/>
                  </a:lnTo>
                  <a:lnTo>
                    <a:pt x="351" y="456"/>
                  </a:lnTo>
                  <a:lnTo>
                    <a:pt x="349" y="456"/>
                  </a:lnTo>
                  <a:lnTo>
                    <a:pt x="349" y="456"/>
                  </a:lnTo>
                  <a:lnTo>
                    <a:pt x="348" y="456"/>
                  </a:lnTo>
                  <a:lnTo>
                    <a:pt x="348" y="456"/>
                  </a:lnTo>
                  <a:lnTo>
                    <a:pt x="346" y="457"/>
                  </a:lnTo>
                  <a:lnTo>
                    <a:pt x="348" y="459"/>
                  </a:lnTo>
                  <a:lnTo>
                    <a:pt x="346" y="460"/>
                  </a:lnTo>
                  <a:lnTo>
                    <a:pt x="345" y="462"/>
                  </a:lnTo>
                  <a:lnTo>
                    <a:pt x="345" y="463"/>
                  </a:lnTo>
                  <a:lnTo>
                    <a:pt x="343" y="463"/>
                  </a:lnTo>
                  <a:lnTo>
                    <a:pt x="342" y="463"/>
                  </a:lnTo>
                  <a:lnTo>
                    <a:pt x="339" y="462"/>
                  </a:lnTo>
                  <a:lnTo>
                    <a:pt x="340" y="466"/>
                  </a:lnTo>
                  <a:lnTo>
                    <a:pt x="339" y="466"/>
                  </a:lnTo>
                  <a:lnTo>
                    <a:pt x="339" y="466"/>
                  </a:lnTo>
                  <a:lnTo>
                    <a:pt x="337" y="466"/>
                  </a:lnTo>
                  <a:lnTo>
                    <a:pt x="336" y="466"/>
                  </a:lnTo>
                  <a:lnTo>
                    <a:pt x="337" y="465"/>
                  </a:lnTo>
                  <a:lnTo>
                    <a:pt x="337" y="465"/>
                  </a:lnTo>
                  <a:lnTo>
                    <a:pt x="337" y="463"/>
                  </a:lnTo>
                  <a:lnTo>
                    <a:pt x="333" y="463"/>
                  </a:lnTo>
                  <a:lnTo>
                    <a:pt x="322" y="473"/>
                  </a:lnTo>
                  <a:lnTo>
                    <a:pt x="320" y="473"/>
                  </a:lnTo>
                  <a:lnTo>
                    <a:pt x="313" y="473"/>
                  </a:lnTo>
                  <a:lnTo>
                    <a:pt x="306" y="474"/>
                  </a:lnTo>
                  <a:lnTo>
                    <a:pt x="303" y="474"/>
                  </a:lnTo>
                  <a:lnTo>
                    <a:pt x="306" y="476"/>
                  </a:lnTo>
                  <a:lnTo>
                    <a:pt x="308" y="477"/>
                  </a:lnTo>
                  <a:lnTo>
                    <a:pt x="306" y="479"/>
                  </a:lnTo>
                  <a:lnTo>
                    <a:pt x="305" y="479"/>
                  </a:lnTo>
                  <a:lnTo>
                    <a:pt x="303" y="479"/>
                  </a:lnTo>
                  <a:lnTo>
                    <a:pt x="303" y="480"/>
                  </a:lnTo>
                  <a:lnTo>
                    <a:pt x="302" y="482"/>
                  </a:lnTo>
                  <a:lnTo>
                    <a:pt x="300" y="483"/>
                  </a:lnTo>
                  <a:lnTo>
                    <a:pt x="299" y="483"/>
                  </a:lnTo>
                  <a:lnTo>
                    <a:pt x="299" y="483"/>
                  </a:lnTo>
                  <a:lnTo>
                    <a:pt x="299" y="485"/>
                  </a:lnTo>
                  <a:lnTo>
                    <a:pt x="297" y="486"/>
                  </a:lnTo>
                  <a:lnTo>
                    <a:pt x="296" y="486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2" y="485"/>
                  </a:lnTo>
                  <a:lnTo>
                    <a:pt x="292" y="483"/>
                  </a:lnTo>
                  <a:lnTo>
                    <a:pt x="294" y="480"/>
                  </a:lnTo>
                  <a:lnTo>
                    <a:pt x="294" y="479"/>
                  </a:lnTo>
                  <a:lnTo>
                    <a:pt x="292" y="479"/>
                  </a:lnTo>
                  <a:lnTo>
                    <a:pt x="291" y="479"/>
                  </a:lnTo>
                  <a:lnTo>
                    <a:pt x="291" y="479"/>
                  </a:lnTo>
                  <a:lnTo>
                    <a:pt x="294" y="479"/>
                  </a:lnTo>
                  <a:lnTo>
                    <a:pt x="296" y="479"/>
                  </a:lnTo>
                  <a:lnTo>
                    <a:pt x="297" y="479"/>
                  </a:lnTo>
                  <a:lnTo>
                    <a:pt x="296" y="477"/>
                  </a:lnTo>
                  <a:lnTo>
                    <a:pt x="297" y="476"/>
                  </a:lnTo>
                  <a:lnTo>
                    <a:pt x="299" y="474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3" y="468"/>
                  </a:lnTo>
                  <a:lnTo>
                    <a:pt x="306" y="466"/>
                  </a:lnTo>
                  <a:lnTo>
                    <a:pt x="308" y="463"/>
                  </a:lnTo>
                  <a:lnTo>
                    <a:pt x="309" y="460"/>
                  </a:lnTo>
                  <a:lnTo>
                    <a:pt x="309" y="459"/>
                  </a:lnTo>
                  <a:lnTo>
                    <a:pt x="308" y="459"/>
                  </a:lnTo>
                  <a:lnTo>
                    <a:pt x="305" y="462"/>
                  </a:lnTo>
                  <a:lnTo>
                    <a:pt x="303" y="462"/>
                  </a:lnTo>
                  <a:lnTo>
                    <a:pt x="303" y="463"/>
                  </a:lnTo>
                  <a:lnTo>
                    <a:pt x="302" y="463"/>
                  </a:lnTo>
                  <a:lnTo>
                    <a:pt x="297" y="463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4" y="462"/>
                  </a:lnTo>
                  <a:lnTo>
                    <a:pt x="291" y="463"/>
                  </a:lnTo>
                  <a:lnTo>
                    <a:pt x="289" y="466"/>
                  </a:lnTo>
                  <a:lnTo>
                    <a:pt x="285" y="468"/>
                  </a:lnTo>
                  <a:lnTo>
                    <a:pt x="285" y="470"/>
                  </a:lnTo>
                  <a:lnTo>
                    <a:pt x="283" y="471"/>
                  </a:lnTo>
                  <a:lnTo>
                    <a:pt x="283" y="473"/>
                  </a:lnTo>
                  <a:lnTo>
                    <a:pt x="282" y="473"/>
                  </a:lnTo>
                  <a:lnTo>
                    <a:pt x="279" y="474"/>
                  </a:lnTo>
                  <a:lnTo>
                    <a:pt x="279" y="474"/>
                  </a:lnTo>
                  <a:lnTo>
                    <a:pt x="279" y="474"/>
                  </a:lnTo>
                  <a:lnTo>
                    <a:pt x="279" y="473"/>
                  </a:lnTo>
                  <a:lnTo>
                    <a:pt x="279" y="471"/>
                  </a:lnTo>
                  <a:lnTo>
                    <a:pt x="280" y="470"/>
                  </a:lnTo>
                  <a:lnTo>
                    <a:pt x="285" y="465"/>
                  </a:lnTo>
                  <a:lnTo>
                    <a:pt x="286" y="465"/>
                  </a:lnTo>
                  <a:lnTo>
                    <a:pt x="286" y="463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9" y="460"/>
                  </a:lnTo>
                  <a:lnTo>
                    <a:pt x="291" y="460"/>
                  </a:lnTo>
                  <a:lnTo>
                    <a:pt x="296" y="459"/>
                  </a:lnTo>
                  <a:lnTo>
                    <a:pt x="297" y="459"/>
                  </a:lnTo>
                  <a:lnTo>
                    <a:pt x="299" y="459"/>
                  </a:lnTo>
                  <a:lnTo>
                    <a:pt x="303" y="454"/>
                  </a:lnTo>
                  <a:lnTo>
                    <a:pt x="306" y="453"/>
                  </a:lnTo>
                  <a:lnTo>
                    <a:pt x="308" y="454"/>
                  </a:lnTo>
                  <a:lnTo>
                    <a:pt x="308" y="457"/>
                  </a:lnTo>
                  <a:lnTo>
                    <a:pt x="308" y="457"/>
                  </a:lnTo>
                  <a:lnTo>
                    <a:pt x="309" y="459"/>
                  </a:lnTo>
                  <a:lnTo>
                    <a:pt x="311" y="459"/>
                  </a:lnTo>
                  <a:lnTo>
                    <a:pt x="311" y="457"/>
                  </a:lnTo>
                  <a:lnTo>
                    <a:pt x="314" y="454"/>
                  </a:lnTo>
                  <a:lnTo>
                    <a:pt x="316" y="453"/>
                  </a:lnTo>
                  <a:lnTo>
                    <a:pt x="325" y="439"/>
                  </a:lnTo>
                  <a:lnTo>
                    <a:pt x="326" y="439"/>
                  </a:lnTo>
                  <a:lnTo>
                    <a:pt x="326" y="436"/>
                  </a:lnTo>
                  <a:lnTo>
                    <a:pt x="326" y="434"/>
                  </a:lnTo>
                  <a:lnTo>
                    <a:pt x="325" y="434"/>
                  </a:lnTo>
                  <a:lnTo>
                    <a:pt x="323" y="436"/>
                  </a:lnTo>
                  <a:lnTo>
                    <a:pt x="322" y="439"/>
                  </a:lnTo>
                  <a:lnTo>
                    <a:pt x="319" y="442"/>
                  </a:lnTo>
                  <a:lnTo>
                    <a:pt x="316" y="443"/>
                  </a:lnTo>
                  <a:lnTo>
                    <a:pt x="314" y="442"/>
                  </a:lnTo>
                  <a:lnTo>
                    <a:pt x="314" y="440"/>
                  </a:lnTo>
                  <a:lnTo>
                    <a:pt x="314" y="439"/>
                  </a:lnTo>
                  <a:lnTo>
                    <a:pt x="311" y="437"/>
                  </a:lnTo>
                  <a:lnTo>
                    <a:pt x="306" y="442"/>
                  </a:lnTo>
                  <a:lnTo>
                    <a:pt x="305" y="440"/>
                  </a:lnTo>
                  <a:lnTo>
                    <a:pt x="300" y="437"/>
                  </a:lnTo>
                  <a:lnTo>
                    <a:pt x="300" y="440"/>
                  </a:lnTo>
                  <a:lnTo>
                    <a:pt x="299" y="440"/>
                  </a:lnTo>
                  <a:lnTo>
                    <a:pt x="297" y="439"/>
                  </a:lnTo>
                  <a:lnTo>
                    <a:pt x="296" y="437"/>
                  </a:lnTo>
                  <a:lnTo>
                    <a:pt x="294" y="436"/>
                  </a:lnTo>
                  <a:lnTo>
                    <a:pt x="292" y="436"/>
                  </a:lnTo>
                  <a:lnTo>
                    <a:pt x="289" y="437"/>
                  </a:lnTo>
                  <a:lnTo>
                    <a:pt x="286" y="437"/>
                  </a:lnTo>
                  <a:lnTo>
                    <a:pt x="285" y="434"/>
                  </a:lnTo>
                  <a:lnTo>
                    <a:pt x="280" y="428"/>
                  </a:lnTo>
                  <a:lnTo>
                    <a:pt x="282" y="429"/>
                  </a:lnTo>
                  <a:lnTo>
                    <a:pt x="283" y="431"/>
                  </a:lnTo>
                  <a:lnTo>
                    <a:pt x="286" y="434"/>
                  </a:lnTo>
                  <a:lnTo>
                    <a:pt x="288" y="436"/>
                  </a:lnTo>
                  <a:lnTo>
                    <a:pt x="294" y="434"/>
                  </a:lnTo>
                  <a:lnTo>
                    <a:pt x="296" y="434"/>
                  </a:lnTo>
                  <a:lnTo>
                    <a:pt x="300" y="436"/>
                  </a:lnTo>
                  <a:lnTo>
                    <a:pt x="302" y="436"/>
                  </a:lnTo>
                  <a:lnTo>
                    <a:pt x="303" y="436"/>
                  </a:lnTo>
                  <a:lnTo>
                    <a:pt x="303" y="434"/>
                  </a:lnTo>
                  <a:lnTo>
                    <a:pt x="305" y="434"/>
                  </a:lnTo>
                  <a:lnTo>
                    <a:pt x="306" y="434"/>
                  </a:lnTo>
                  <a:lnTo>
                    <a:pt x="308" y="434"/>
                  </a:lnTo>
                  <a:lnTo>
                    <a:pt x="309" y="434"/>
                  </a:lnTo>
                  <a:lnTo>
                    <a:pt x="309" y="433"/>
                  </a:lnTo>
                  <a:lnTo>
                    <a:pt x="309" y="431"/>
                  </a:lnTo>
                  <a:lnTo>
                    <a:pt x="311" y="428"/>
                  </a:lnTo>
                  <a:lnTo>
                    <a:pt x="309" y="426"/>
                  </a:lnTo>
                  <a:lnTo>
                    <a:pt x="308" y="425"/>
                  </a:lnTo>
                  <a:lnTo>
                    <a:pt x="308" y="425"/>
                  </a:lnTo>
                  <a:lnTo>
                    <a:pt x="305" y="425"/>
                  </a:lnTo>
                  <a:lnTo>
                    <a:pt x="305" y="423"/>
                  </a:lnTo>
                  <a:lnTo>
                    <a:pt x="303" y="422"/>
                  </a:lnTo>
                  <a:lnTo>
                    <a:pt x="303" y="422"/>
                  </a:lnTo>
                  <a:lnTo>
                    <a:pt x="303" y="420"/>
                  </a:lnTo>
                  <a:lnTo>
                    <a:pt x="306" y="422"/>
                  </a:lnTo>
                  <a:lnTo>
                    <a:pt x="308" y="422"/>
                  </a:lnTo>
                  <a:lnTo>
                    <a:pt x="308" y="423"/>
                  </a:lnTo>
                  <a:lnTo>
                    <a:pt x="308" y="423"/>
                  </a:lnTo>
                  <a:lnTo>
                    <a:pt x="308" y="423"/>
                  </a:lnTo>
                  <a:lnTo>
                    <a:pt x="309" y="425"/>
                  </a:lnTo>
                  <a:lnTo>
                    <a:pt x="309" y="423"/>
                  </a:lnTo>
                  <a:lnTo>
                    <a:pt x="309" y="422"/>
                  </a:lnTo>
                  <a:lnTo>
                    <a:pt x="311" y="422"/>
                  </a:lnTo>
                  <a:lnTo>
                    <a:pt x="311" y="420"/>
                  </a:lnTo>
                  <a:lnTo>
                    <a:pt x="316" y="417"/>
                  </a:lnTo>
                  <a:lnTo>
                    <a:pt x="319" y="417"/>
                  </a:lnTo>
                  <a:lnTo>
                    <a:pt x="320" y="416"/>
                  </a:lnTo>
                  <a:lnTo>
                    <a:pt x="320" y="416"/>
                  </a:lnTo>
                  <a:lnTo>
                    <a:pt x="322" y="414"/>
                  </a:lnTo>
                  <a:lnTo>
                    <a:pt x="322" y="411"/>
                  </a:lnTo>
                  <a:lnTo>
                    <a:pt x="323" y="409"/>
                  </a:lnTo>
                  <a:lnTo>
                    <a:pt x="323" y="408"/>
                  </a:lnTo>
                  <a:lnTo>
                    <a:pt x="329" y="406"/>
                  </a:lnTo>
                  <a:lnTo>
                    <a:pt x="346" y="393"/>
                  </a:lnTo>
                  <a:lnTo>
                    <a:pt x="349" y="388"/>
                  </a:lnTo>
                  <a:lnTo>
                    <a:pt x="351" y="386"/>
                  </a:lnTo>
                  <a:lnTo>
                    <a:pt x="351" y="383"/>
                  </a:lnTo>
                  <a:lnTo>
                    <a:pt x="351" y="383"/>
                  </a:lnTo>
                  <a:lnTo>
                    <a:pt x="356" y="379"/>
                  </a:lnTo>
                  <a:lnTo>
                    <a:pt x="359" y="377"/>
                  </a:lnTo>
                  <a:lnTo>
                    <a:pt x="365" y="374"/>
                  </a:lnTo>
                  <a:lnTo>
                    <a:pt x="368" y="373"/>
                  </a:lnTo>
                  <a:lnTo>
                    <a:pt x="371" y="369"/>
                  </a:lnTo>
                  <a:lnTo>
                    <a:pt x="374" y="363"/>
                  </a:lnTo>
                  <a:lnTo>
                    <a:pt x="377" y="357"/>
                  </a:lnTo>
                  <a:lnTo>
                    <a:pt x="379" y="352"/>
                  </a:lnTo>
                  <a:lnTo>
                    <a:pt x="379" y="352"/>
                  </a:lnTo>
                  <a:lnTo>
                    <a:pt x="380" y="351"/>
                  </a:lnTo>
                  <a:lnTo>
                    <a:pt x="380" y="349"/>
                  </a:lnTo>
                  <a:lnTo>
                    <a:pt x="380" y="348"/>
                  </a:lnTo>
                  <a:lnTo>
                    <a:pt x="379" y="348"/>
                  </a:lnTo>
                  <a:lnTo>
                    <a:pt x="379" y="348"/>
                  </a:lnTo>
                  <a:lnTo>
                    <a:pt x="377" y="348"/>
                  </a:lnTo>
                  <a:lnTo>
                    <a:pt x="377" y="348"/>
                  </a:lnTo>
                  <a:lnTo>
                    <a:pt x="376" y="348"/>
                  </a:lnTo>
                  <a:lnTo>
                    <a:pt x="374" y="346"/>
                  </a:lnTo>
                  <a:lnTo>
                    <a:pt x="374" y="343"/>
                  </a:lnTo>
                  <a:lnTo>
                    <a:pt x="376" y="340"/>
                  </a:lnTo>
                  <a:lnTo>
                    <a:pt x="376" y="340"/>
                  </a:lnTo>
                  <a:lnTo>
                    <a:pt x="379" y="337"/>
                  </a:lnTo>
                  <a:lnTo>
                    <a:pt x="379" y="337"/>
                  </a:lnTo>
                  <a:lnTo>
                    <a:pt x="380" y="334"/>
                  </a:lnTo>
                  <a:lnTo>
                    <a:pt x="380" y="332"/>
                  </a:lnTo>
                  <a:lnTo>
                    <a:pt x="380" y="331"/>
                  </a:lnTo>
                  <a:lnTo>
                    <a:pt x="382" y="328"/>
                  </a:lnTo>
                  <a:lnTo>
                    <a:pt x="383" y="325"/>
                  </a:lnTo>
                  <a:lnTo>
                    <a:pt x="380" y="325"/>
                  </a:lnTo>
                  <a:lnTo>
                    <a:pt x="376" y="325"/>
                  </a:lnTo>
                  <a:lnTo>
                    <a:pt x="373" y="325"/>
                  </a:lnTo>
                  <a:lnTo>
                    <a:pt x="369" y="322"/>
                  </a:lnTo>
                  <a:lnTo>
                    <a:pt x="366" y="323"/>
                  </a:lnTo>
                  <a:lnTo>
                    <a:pt x="362" y="325"/>
                  </a:lnTo>
                  <a:lnTo>
                    <a:pt x="359" y="325"/>
                  </a:lnTo>
                  <a:lnTo>
                    <a:pt x="359" y="323"/>
                  </a:lnTo>
                  <a:lnTo>
                    <a:pt x="359" y="322"/>
                  </a:lnTo>
                  <a:lnTo>
                    <a:pt x="357" y="320"/>
                  </a:lnTo>
                  <a:lnTo>
                    <a:pt x="357" y="320"/>
                  </a:lnTo>
                  <a:lnTo>
                    <a:pt x="356" y="320"/>
                  </a:lnTo>
                  <a:lnTo>
                    <a:pt x="356" y="320"/>
                  </a:lnTo>
                  <a:lnTo>
                    <a:pt x="354" y="323"/>
                  </a:lnTo>
                  <a:lnTo>
                    <a:pt x="354" y="325"/>
                  </a:lnTo>
                  <a:lnTo>
                    <a:pt x="356" y="326"/>
                  </a:lnTo>
                  <a:lnTo>
                    <a:pt x="357" y="328"/>
                  </a:lnTo>
                  <a:lnTo>
                    <a:pt x="359" y="328"/>
                  </a:lnTo>
                  <a:lnTo>
                    <a:pt x="357" y="331"/>
                  </a:lnTo>
                  <a:lnTo>
                    <a:pt x="356" y="331"/>
                  </a:lnTo>
                  <a:lnTo>
                    <a:pt x="351" y="329"/>
                  </a:lnTo>
                  <a:lnTo>
                    <a:pt x="346" y="331"/>
                  </a:lnTo>
                  <a:lnTo>
                    <a:pt x="345" y="331"/>
                  </a:lnTo>
                  <a:lnTo>
                    <a:pt x="343" y="329"/>
                  </a:lnTo>
                  <a:lnTo>
                    <a:pt x="343" y="329"/>
                  </a:lnTo>
                  <a:lnTo>
                    <a:pt x="343" y="328"/>
                  </a:lnTo>
                  <a:lnTo>
                    <a:pt x="342" y="328"/>
                  </a:lnTo>
                  <a:lnTo>
                    <a:pt x="340" y="326"/>
                  </a:lnTo>
                  <a:lnTo>
                    <a:pt x="336" y="328"/>
                  </a:lnTo>
                  <a:lnTo>
                    <a:pt x="333" y="329"/>
                  </a:lnTo>
                  <a:lnTo>
                    <a:pt x="328" y="334"/>
                  </a:lnTo>
                  <a:lnTo>
                    <a:pt x="323" y="334"/>
                  </a:lnTo>
                  <a:lnTo>
                    <a:pt x="317" y="336"/>
                  </a:lnTo>
                  <a:lnTo>
                    <a:pt x="311" y="334"/>
                  </a:lnTo>
                  <a:lnTo>
                    <a:pt x="309" y="336"/>
                  </a:lnTo>
                  <a:lnTo>
                    <a:pt x="309" y="334"/>
                  </a:lnTo>
                  <a:lnTo>
                    <a:pt x="308" y="332"/>
                  </a:lnTo>
                  <a:lnTo>
                    <a:pt x="308" y="331"/>
                  </a:lnTo>
                  <a:lnTo>
                    <a:pt x="308" y="332"/>
                  </a:lnTo>
                  <a:lnTo>
                    <a:pt x="306" y="332"/>
                  </a:lnTo>
                  <a:lnTo>
                    <a:pt x="306" y="332"/>
                  </a:lnTo>
                  <a:lnTo>
                    <a:pt x="305" y="336"/>
                  </a:lnTo>
                  <a:lnTo>
                    <a:pt x="305" y="336"/>
                  </a:lnTo>
                  <a:lnTo>
                    <a:pt x="303" y="337"/>
                  </a:lnTo>
                  <a:lnTo>
                    <a:pt x="303" y="337"/>
                  </a:lnTo>
                  <a:lnTo>
                    <a:pt x="302" y="336"/>
                  </a:lnTo>
                  <a:lnTo>
                    <a:pt x="299" y="336"/>
                  </a:lnTo>
                  <a:lnTo>
                    <a:pt x="299" y="336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296" y="339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2" y="339"/>
                  </a:lnTo>
                  <a:lnTo>
                    <a:pt x="292" y="339"/>
                  </a:lnTo>
                  <a:lnTo>
                    <a:pt x="292" y="340"/>
                  </a:lnTo>
                  <a:lnTo>
                    <a:pt x="291" y="340"/>
                  </a:lnTo>
                  <a:lnTo>
                    <a:pt x="292" y="342"/>
                  </a:lnTo>
                  <a:lnTo>
                    <a:pt x="291" y="342"/>
                  </a:lnTo>
                  <a:lnTo>
                    <a:pt x="288" y="339"/>
                  </a:lnTo>
                  <a:lnTo>
                    <a:pt x="286" y="339"/>
                  </a:lnTo>
                  <a:lnTo>
                    <a:pt x="286" y="339"/>
                  </a:lnTo>
                  <a:lnTo>
                    <a:pt x="285" y="340"/>
                  </a:lnTo>
                  <a:lnTo>
                    <a:pt x="282" y="342"/>
                  </a:lnTo>
                  <a:lnTo>
                    <a:pt x="282" y="342"/>
                  </a:lnTo>
                  <a:lnTo>
                    <a:pt x="279" y="345"/>
                  </a:lnTo>
                  <a:lnTo>
                    <a:pt x="277" y="345"/>
                  </a:lnTo>
                  <a:lnTo>
                    <a:pt x="277" y="346"/>
                  </a:lnTo>
                  <a:lnTo>
                    <a:pt x="277" y="346"/>
                  </a:lnTo>
                  <a:lnTo>
                    <a:pt x="277" y="346"/>
                  </a:lnTo>
                  <a:lnTo>
                    <a:pt x="277" y="348"/>
                  </a:lnTo>
                  <a:lnTo>
                    <a:pt x="276" y="351"/>
                  </a:lnTo>
                  <a:lnTo>
                    <a:pt x="274" y="352"/>
                  </a:lnTo>
                  <a:lnTo>
                    <a:pt x="272" y="352"/>
                  </a:lnTo>
                  <a:lnTo>
                    <a:pt x="274" y="349"/>
                  </a:lnTo>
                  <a:lnTo>
                    <a:pt x="276" y="346"/>
                  </a:lnTo>
                  <a:lnTo>
                    <a:pt x="277" y="343"/>
                  </a:lnTo>
                  <a:lnTo>
                    <a:pt x="279" y="342"/>
                  </a:lnTo>
                  <a:lnTo>
                    <a:pt x="279" y="340"/>
                  </a:lnTo>
                  <a:lnTo>
                    <a:pt x="279" y="340"/>
                  </a:lnTo>
                  <a:lnTo>
                    <a:pt x="279" y="340"/>
                  </a:lnTo>
                  <a:lnTo>
                    <a:pt x="279" y="339"/>
                  </a:lnTo>
                  <a:lnTo>
                    <a:pt x="274" y="336"/>
                  </a:lnTo>
                  <a:lnTo>
                    <a:pt x="271" y="334"/>
                  </a:lnTo>
                  <a:lnTo>
                    <a:pt x="268" y="334"/>
                  </a:lnTo>
                  <a:lnTo>
                    <a:pt x="266" y="334"/>
                  </a:lnTo>
                  <a:lnTo>
                    <a:pt x="265" y="337"/>
                  </a:lnTo>
                  <a:lnTo>
                    <a:pt x="265" y="339"/>
                  </a:lnTo>
                  <a:lnTo>
                    <a:pt x="265" y="342"/>
                  </a:lnTo>
                  <a:lnTo>
                    <a:pt x="263" y="343"/>
                  </a:lnTo>
                  <a:lnTo>
                    <a:pt x="262" y="343"/>
                  </a:lnTo>
                  <a:lnTo>
                    <a:pt x="260" y="345"/>
                  </a:lnTo>
                  <a:lnTo>
                    <a:pt x="260" y="346"/>
                  </a:lnTo>
                  <a:lnTo>
                    <a:pt x="259" y="348"/>
                  </a:lnTo>
                  <a:lnTo>
                    <a:pt x="254" y="352"/>
                  </a:lnTo>
                  <a:lnTo>
                    <a:pt x="252" y="352"/>
                  </a:lnTo>
                  <a:lnTo>
                    <a:pt x="254" y="351"/>
                  </a:lnTo>
                  <a:lnTo>
                    <a:pt x="256" y="348"/>
                  </a:lnTo>
                  <a:lnTo>
                    <a:pt x="257" y="345"/>
                  </a:lnTo>
                  <a:lnTo>
                    <a:pt x="259" y="342"/>
                  </a:lnTo>
                  <a:lnTo>
                    <a:pt x="260" y="340"/>
                  </a:lnTo>
                  <a:lnTo>
                    <a:pt x="260" y="340"/>
                  </a:lnTo>
                  <a:lnTo>
                    <a:pt x="260" y="339"/>
                  </a:lnTo>
                  <a:lnTo>
                    <a:pt x="260" y="337"/>
                  </a:lnTo>
                  <a:lnTo>
                    <a:pt x="260" y="337"/>
                  </a:lnTo>
                  <a:lnTo>
                    <a:pt x="259" y="337"/>
                  </a:lnTo>
                  <a:lnTo>
                    <a:pt x="257" y="334"/>
                  </a:lnTo>
                  <a:lnTo>
                    <a:pt x="256" y="334"/>
                  </a:lnTo>
                  <a:lnTo>
                    <a:pt x="254" y="331"/>
                  </a:lnTo>
                  <a:lnTo>
                    <a:pt x="252" y="329"/>
                  </a:lnTo>
                  <a:lnTo>
                    <a:pt x="252" y="332"/>
                  </a:lnTo>
                  <a:lnTo>
                    <a:pt x="252" y="334"/>
                  </a:lnTo>
                  <a:lnTo>
                    <a:pt x="251" y="334"/>
                  </a:lnTo>
                  <a:lnTo>
                    <a:pt x="251" y="336"/>
                  </a:lnTo>
                  <a:lnTo>
                    <a:pt x="251" y="337"/>
                  </a:lnTo>
                  <a:lnTo>
                    <a:pt x="251" y="339"/>
                  </a:lnTo>
                  <a:lnTo>
                    <a:pt x="251" y="340"/>
                  </a:lnTo>
                  <a:lnTo>
                    <a:pt x="249" y="342"/>
                  </a:lnTo>
                  <a:lnTo>
                    <a:pt x="249" y="340"/>
                  </a:lnTo>
                  <a:lnTo>
                    <a:pt x="249" y="340"/>
                  </a:lnTo>
                  <a:lnTo>
                    <a:pt x="249" y="339"/>
                  </a:lnTo>
                  <a:lnTo>
                    <a:pt x="249" y="337"/>
                  </a:lnTo>
                  <a:lnTo>
                    <a:pt x="249" y="337"/>
                  </a:lnTo>
                  <a:lnTo>
                    <a:pt x="249" y="336"/>
                  </a:lnTo>
                  <a:lnTo>
                    <a:pt x="249" y="332"/>
                  </a:lnTo>
                  <a:lnTo>
                    <a:pt x="249" y="332"/>
                  </a:lnTo>
                  <a:lnTo>
                    <a:pt x="248" y="331"/>
                  </a:lnTo>
                  <a:lnTo>
                    <a:pt x="246" y="329"/>
                  </a:lnTo>
                  <a:lnTo>
                    <a:pt x="235" y="326"/>
                  </a:lnTo>
                  <a:lnTo>
                    <a:pt x="235" y="328"/>
                  </a:lnTo>
                  <a:lnTo>
                    <a:pt x="234" y="331"/>
                  </a:lnTo>
                  <a:lnTo>
                    <a:pt x="234" y="334"/>
                  </a:lnTo>
                  <a:lnTo>
                    <a:pt x="234" y="337"/>
                  </a:lnTo>
                  <a:lnTo>
                    <a:pt x="234" y="337"/>
                  </a:lnTo>
                  <a:lnTo>
                    <a:pt x="234" y="339"/>
                  </a:lnTo>
                  <a:lnTo>
                    <a:pt x="232" y="340"/>
                  </a:lnTo>
                  <a:lnTo>
                    <a:pt x="228" y="343"/>
                  </a:lnTo>
                  <a:lnTo>
                    <a:pt x="228" y="343"/>
                  </a:lnTo>
                  <a:lnTo>
                    <a:pt x="228" y="345"/>
                  </a:lnTo>
                  <a:lnTo>
                    <a:pt x="228" y="346"/>
                  </a:lnTo>
                  <a:lnTo>
                    <a:pt x="235" y="354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28" y="354"/>
                  </a:lnTo>
                  <a:lnTo>
                    <a:pt x="228" y="356"/>
                  </a:lnTo>
                  <a:lnTo>
                    <a:pt x="228" y="356"/>
                  </a:lnTo>
                  <a:lnTo>
                    <a:pt x="229" y="356"/>
                  </a:lnTo>
                  <a:lnTo>
                    <a:pt x="229" y="356"/>
                  </a:lnTo>
                  <a:lnTo>
                    <a:pt x="229" y="356"/>
                  </a:lnTo>
                  <a:lnTo>
                    <a:pt x="228" y="356"/>
                  </a:lnTo>
                  <a:lnTo>
                    <a:pt x="228" y="357"/>
                  </a:lnTo>
                  <a:lnTo>
                    <a:pt x="229" y="357"/>
                  </a:lnTo>
                  <a:lnTo>
                    <a:pt x="229" y="357"/>
                  </a:lnTo>
                  <a:lnTo>
                    <a:pt x="231" y="357"/>
                  </a:lnTo>
                  <a:lnTo>
                    <a:pt x="231" y="356"/>
                  </a:lnTo>
                  <a:lnTo>
                    <a:pt x="231" y="357"/>
                  </a:lnTo>
                  <a:lnTo>
                    <a:pt x="231" y="359"/>
                  </a:lnTo>
                  <a:lnTo>
                    <a:pt x="232" y="359"/>
                  </a:lnTo>
                  <a:lnTo>
                    <a:pt x="234" y="362"/>
                  </a:lnTo>
                  <a:lnTo>
                    <a:pt x="231" y="362"/>
                  </a:lnTo>
                  <a:lnTo>
                    <a:pt x="226" y="359"/>
                  </a:lnTo>
                  <a:lnTo>
                    <a:pt x="226" y="359"/>
                  </a:lnTo>
                  <a:lnTo>
                    <a:pt x="225" y="357"/>
                  </a:lnTo>
                  <a:lnTo>
                    <a:pt x="225" y="357"/>
                  </a:lnTo>
                  <a:lnTo>
                    <a:pt x="225" y="357"/>
                  </a:lnTo>
                  <a:lnTo>
                    <a:pt x="225" y="359"/>
                  </a:lnTo>
                  <a:lnTo>
                    <a:pt x="225" y="359"/>
                  </a:lnTo>
                  <a:lnTo>
                    <a:pt x="225" y="360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5"/>
                  </a:lnTo>
                  <a:lnTo>
                    <a:pt x="225" y="366"/>
                  </a:lnTo>
                  <a:lnTo>
                    <a:pt x="223" y="366"/>
                  </a:lnTo>
                  <a:lnTo>
                    <a:pt x="223" y="366"/>
                  </a:lnTo>
                  <a:lnTo>
                    <a:pt x="223" y="368"/>
                  </a:lnTo>
                  <a:lnTo>
                    <a:pt x="223" y="369"/>
                  </a:lnTo>
                  <a:lnTo>
                    <a:pt x="223" y="369"/>
                  </a:lnTo>
                  <a:lnTo>
                    <a:pt x="225" y="373"/>
                  </a:lnTo>
                  <a:lnTo>
                    <a:pt x="225" y="373"/>
                  </a:lnTo>
                  <a:lnTo>
                    <a:pt x="226" y="374"/>
                  </a:lnTo>
                  <a:lnTo>
                    <a:pt x="228" y="377"/>
                  </a:lnTo>
                  <a:lnTo>
                    <a:pt x="229" y="377"/>
                  </a:lnTo>
                  <a:lnTo>
                    <a:pt x="231" y="377"/>
                  </a:lnTo>
                  <a:lnTo>
                    <a:pt x="232" y="379"/>
                  </a:lnTo>
                  <a:lnTo>
                    <a:pt x="232" y="380"/>
                  </a:lnTo>
                  <a:lnTo>
                    <a:pt x="234" y="379"/>
                  </a:lnTo>
                  <a:lnTo>
                    <a:pt x="234" y="379"/>
                  </a:lnTo>
                  <a:lnTo>
                    <a:pt x="234" y="377"/>
                  </a:lnTo>
                  <a:lnTo>
                    <a:pt x="235" y="377"/>
                  </a:lnTo>
                  <a:lnTo>
                    <a:pt x="240" y="379"/>
                  </a:lnTo>
                  <a:lnTo>
                    <a:pt x="240" y="379"/>
                  </a:lnTo>
                  <a:lnTo>
                    <a:pt x="237" y="380"/>
                  </a:lnTo>
                  <a:lnTo>
                    <a:pt x="237" y="380"/>
                  </a:lnTo>
                  <a:lnTo>
                    <a:pt x="239" y="382"/>
                  </a:lnTo>
                  <a:lnTo>
                    <a:pt x="240" y="383"/>
                  </a:lnTo>
                  <a:lnTo>
                    <a:pt x="240" y="385"/>
                  </a:lnTo>
                  <a:lnTo>
                    <a:pt x="235" y="380"/>
                  </a:lnTo>
                  <a:lnTo>
                    <a:pt x="234" y="380"/>
                  </a:lnTo>
                  <a:lnTo>
                    <a:pt x="231" y="380"/>
                  </a:lnTo>
                  <a:lnTo>
                    <a:pt x="229" y="380"/>
                  </a:lnTo>
                  <a:lnTo>
                    <a:pt x="228" y="379"/>
                  </a:lnTo>
                  <a:lnTo>
                    <a:pt x="226" y="377"/>
                  </a:lnTo>
                  <a:lnTo>
                    <a:pt x="225" y="377"/>
                  </a:lnTo>
                  <a:lnTo>
                    <a:pt x="225" y="379"/>
                  </a:lnTo>
                  <a:lnTo>
                    <a:pt x="223" y="379"/>
                  </a:lnTo>
                  <a:lnTo>
                    <a:pt x="223" y="380"/>
                  </a:lnTo>
                  <a:lnTo>
                    <a:pt x="222" y="379"/>
                  </a:lnTo>
                  <a:lnTo>
                    <a:pt x="219" y="379"/>
                  </a:lnTo>
                  <a:lnTo>
                    <a:pt x="217" y="380"/>
                  </a:lnTo>
                  <a:lnTo>
                    <a:pt x="215" y="382"/>
                  </a:lnTo>
                  <a:lnTo>
                    <a:pt x="214" y="382"/>
                  </a:lnTo>
                  <a:lnTo>
                    <a:pt x="212" y="382"/>
                  </a:lnTo>
                  <a:lnTo>
                    <a:pt x="209" y="379"/>
                  </a:lnTo>
                  <a:lnTo>
                    <a:pt x="208" y="379"/>
                  </a:lnTo>
                  <a:lnTo>
                    <a:pt x="206" y="379"/>
                  </a:lnTo>
                  <a:lnTo>
                    <a:pt x="206" y="382"/>
                  </a:lnTo>
                  <a:lnTo>
                    <a:pt x="209" y="386"/>
                  </a:lnTo>
                  <a:lnTo>
                    <a:pt x="211" y="388"/>
                  </a:lnTo>
                  <a:lnTo>
                    <a:pt x="211" y="388"/>
                  </a:lnTo>
                  <a:lnTo>
                    <a:pt x="211" y="388"/>
                  </a:lnTo>
                  <a:lnTo>
                    <a:pt x="211" y="389"/>
                  </a:lnTo>
                  <a:lnTo>
                    <a:pt x="211" y="389"/>
                  </a:lnTo>
                  <a:lnTo>
                    <a:pt x="211" y="391"/>
                  </a:lnTo>
                  <a:lnTo>
                    <a:pt x="212" y="391"/>
                  </a:lnTo>
                  <a:lnTo>
                    <a:pt x="212" y="391"/>
                  </a:lnTo>
                  <a:lnTo>
                    <a:pt x="214" y="393"/>
                  </a:lnTo>
                  <a:lnTo>
                    <a:pt x="212" y="393"/>
                  </a:lnTo>
                  <a:lnTo>
                    <a:pt x="214" y="394"/>
                  </a:lnTo>
                  <a:lnTo>
                    <a:pt x="215" y="394"/>
                  </a:lnTo>
                  <a:lnTo>
                    <a:pt x="217" y="394"/>
                  </a:lnTo>
                  <a:lnTo>
                    <a:pt x="217" y="396"/>
                  </a:lnTo>
                  <a:lnTo>
                    <a:pt x="217" y="396"/>
                  </a:lnTo>
                  <a:lnTo>
                    <a:pt x="214" y="396"/>
                  </a:lnTo>
                  <a:lnTo>
                    <a:pt x="214" y="397"/>
                  </a:lnTo>
                  <a:lnTo>
                    <a:pt x="215" y="397"/>
                  </a:lnTo>
                  <a:lnTo>
                    <a:pt x="215" y="399"/>
                  </a:lnTo>
                  <a:lnTo>
                    <a:pt x="214" y="399"/>
                  </a:lnTo>
                  <a:lnTo>
                    <a:pt x="214" y="400"/>
                  </a:lnTo>
                  <a:lnTo>
                    <a:pt x="214" y="400"/>
                  </a:lnTo>
                  <a:lnTo>
                    <a:pt x="214" y="402"/>
                  </a:lnTo>
                  <a:lnTo>
                    <a:pt x="214" y="403"/>
                  </a:lnTo>
                  <a:lnTo>
                    <a:pt x="215" y="403"/>
                  </a:lnTo>
                  <a:lnTo>
                    <a:pt x="212" y="406"/>
                  </a:lnTo>
                  <a:lnTo>
                    <a:pt x="211" y="406"/>
                  </a:lnTo>
                  <a:lnTo>
                    <a:pt x="209" y="405"/>
                  </a:lnTo>
                  <a:lnTo>
                    <a:pt x="208" y="406"/>
                  </a:lnTo>
                  <a:lnTo>
                    <a:pt x="206" y="403"/>
                  </a:lnTo>
                  <a:lnTo>
                    <a:pt x="203" y="402"/>
                  </a:lnTo>
                  <a:lnTo>
                    <a:pt x="202" y="403"/>
                  </a:lnTo>
                  <a:lnTo>
                    <a:pt x="205" y="408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11"/>
                  </a:lnTo>
                  <a:lnTo>
                    <a:pt x="203" y="411"/>
                  </a:lnTo>
                  <a:lnTo>
                    <a:pt x="203" y="411"/>
                  </a:lnTo>
                  <a:lnTo>
                    <a:pt x="206" y="411"/>
                  </a:lnTo>
                  <a:lnTo>
                    <a:pt x="208" y="411"/>
                  </a:lnTo>
                  <a:lnTo>
                    <a:pt x="209" y="413"/>
                  </a:lnTo>
                  <a:lnTo>
                    <a:pt x="209" y="414"/>
                  </a:lnTo>
                  <a:lnTo>
                    <a:pt x="209" y="414"/>
                  </a:lnTo>
                  <a:lnTo>
                    <a:pt x="209" y="414"/>
                  </a:lnTo>
                  <a:lnTo>
                    <a:pt x="211" y="414"/>
                  </a:lnTo>
                  <a:lnTo>
                    <a:pt x="214" y="419"/>
                  </a:lnTo>
                  <a:lnTo>
                    <a:pt x="215" y="419"/>
                  </a:lnTo>
                  <a:lnTo>
                    <a:pt x="217" y="420"/>
                  </a:lnTo>
                  <a:lnTo>
                    <a:pt x="219" y="420"/>
                  </a:lnTo>
                  <a:lnTo>
                    <a:pt x="220" y="422"/>
                  </a:lnTo>
                  <a:lnTo>
                    <a:pt x="220" y="423"/>
                  </a:lnTo>
                  <a:lnTo>
                    <a:pt x="222" y="425"/>
                  </a:lnTo>
                  <a:lnTo>
                    <a:pt x="220" y="426"/>
                  </a:lnTo>
                  <a:lnTo>
                    <a:pt x="219" y="426"/>
                  </a:lnTo>
                  <a:lnTo>
                    <a:pt x="219" y="426"/>
                  </a:lnTo>
                  <a:lnTo>
                    <a:pt x="220" y="428"/>
                  </a:lnTo>
                  <a:lnTo>
                    <a:pt x="228" y="434"/>
                  </a:lnTo>
                  <a:lnTo>
                    <a:pt x="228" y="434"/>
                  </a:lnTo>
                  <a:lnTo>
                    <a:pt x="229" y="436"/>
                  </a:lnTo>
                  <a:lnTo>
                    <a:pt x="229" y="437"/>
                  </a:lnTo>
                  <a:lnTo>
                    <a:pt x="229" y="439"/>
                  </a:lnTo>
                  <a:lnTo>
                    <a:pt x="231" y="439"/>
                  </a:lnTo>
                  <a:lnTo>
                    <a:pt x="229" y="439"/>
                  </a:lnTo>
                  <a:lnTo>
                    <a:pt x="226" y="434"/>
                  </a:lnTo>
                  <a:lnTo>
                    <a:pt x="223" y="433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19" y="429"/>
                  </a:lnTo>
                  <a:lnTo>
                    <a:pt x="217" y="428"/>
                  </a:lnTo>
                  <a:lnTo>
                    <a:pt x="217" y="428"/>
                  </a:lnTo>
                  <a:lnTo>
                    <a:pt x="215" y="428"/>
                  </a:lnTo>
                  <a:lnTo>
                    <a:pt x="214" y="428"/>
                  </a:lnTo>
                  <a:lnTo>
                    <a:pt x="214" y="428"/>
                  </a:lnTo>
                  <a:lnTo>
                    <a:pt x="211" y="428"/>
                  </a:lnTo>
                  <a:lnTo>
                    <a:pt x="209" y="425"/>
                  </a:lnTo>
                  <a:lnTo>
                    <a:pt x="208" y="423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6" y="426"/>
                  </a:lnTo>
                  <a:lnTo>
                    <a:pt x="206" y="426"/>
                  </a:lnTo>
                  <a:lnTo>
                    <a:pt x="206" y="426"/>
                  </a:lnTo>
                  <a:lnTo>
                    <a:pt x="206" y="428"/>
                  </a:lnTo>
                  <a:lnTo>
                    <a:pt x="206" y="428"/>
                  </a:lnTo>
                  <a:lnTo>
                    <a:pt x="211" y="429"/>
                  </a:lnTo>
                  <a:lnTo>
                    <a:pt x="215" y="434"/>
                  </a:lnTo>
                  <a:lnTo>
                    <a:pt x="217" y="434"/>
                  </a:lnTo>
                  <a:lnTo>
                    <a:pt x="217" y="436"/>
                  </a:lnTo>
                  <a:lnTo>
                    <a:pt x="219" y="437"/>
                  </a:lnTo>
                  <a:lnTo>
                    <a:pt x="214" y="436"/>
                  </a:lnTo>
                  <a:lnTo>
                    <a:pt x="211" y="434"/>
                  </a:lnTo>
                  <a:lnTo>
                    <a:pt x="209" y="431"/>
                  </a:lnTo>
                  <a:lnTo>
                    <a:pt x="208" y="429"/>
                  </a:lnTo>
                  <a:lnTo>
                    <a:pt x="205" y="428"/>
                  </a:lnTo>
                  <a:lnTo>
                    <a:pt x="203" y="428"/>
                  </a:lnTo>
                  <a:lnTo>
                    <a:pt x="203" y="429"/>
                  </a:lnTo>
                  <a:lnTo>
                    <a:pt x="202" y="434"/>
                  </a:lnTo>
                  <a:lnTo>
                    <a:pt x="202" y="436"/>
                  </a:lnTo>
                  <a:lnTo>
                    <a:pt x="202" y="436"/>
                  </a:lnTo>
                  <a:lnTo>
                    <a:pt x="199" y="436"/>
                  </a:lnTo>
                  <a:lnTo>
                    <a:pt x="195" y="434"/>
                  </a:lnTo>
                  <a:lnTo>
                    <a:pt x="194" y="431"/>
                  </a:lnTo>
                  <a:lnTo>
                    <a:pt x="194" y="428"/>
                  </a:lnTo>
                  <a:lnTo>
                    <a:pt x="192" y="428"/>
                  </a:lnTo>
                  <a:lnTo>
                    <a:pt x="191" y="426"/>
                  </a:lnTo>
                  <a:lnTo>
                    <a:pt x="189" y="426"/>
                  </a:lnTo>
                  <a:lnTo>
                    <a:pt x="189" y="426"/>
                  </a:lnTo>
                  <a:lnTo>
                    <a:pt x="188" y="429"/>
                  </a:lnTo>
                  <a:lnTo>
                    <a:pt x="186" y="431"/>
                  </a:lnTo>
                  <a:lnTo>
                    <a:pt x="186" y="431"/>
                  </a:lnTo>
                  <a:lnTo>
                    <a:pt x="188" y="431"/>
                  </a:lnTo>
                  <a:lnTo>
                    <a:pt x="188" y="431"/>
                  </a:lnTo>
                  <a:lnTo>
                    <a:pt x="186" y="433"/>
                  </a:lnTo>
                  <a:lnTo>
                    <a:pt x="188" y="434"/>
                  </a:lnTo>
                  <a:lnTo>
                    <a:pt x="191" y="437"/>
                  </a:lnTo>
                  <a:lnTo>
                    <a:pt x="192" y="439"/>
                  </a:lnTo>
                  <a:lnTo>
                    <a:pt x="192" y="442"/>
                  </a:lnTo>
                  <a:lnTo>
                    <a:pt x="191" y="443"/>
                  </a:lnTo>
                  <a:lnTo>
                    <a:pt x="192" y="446"/>
                  </a:lnTo>
                  <a:lnTo>
                    <a:pt x="191" y="445"/>
                  </a:lnTo>
                  <a:lnTo>
                    <a:pt x="189" y="445"/>
                  </a:lnTo>
                  <a:lnTo>
                    <a:pt x="189" y="445"/>
                  </a:lnTo>
                  <a:lnTo>
                    <a:pt x="189" y="446"/>
                  </a:lnTo>
                  <a:lnTo>
                    <a:pt x="189" y="446"/>
                  </a:lnTo>
                  <a:lnTo>
                    <a:pt x="191" y="448"/>
                  </a:lnTo>
                  <a:lnTo>
                    <a:pt x="189" y="448"/>
                  </a:lnTo>
                  <a:lnTo>
                    <a:pt x="188" y="448"/>
                  </a:lnTo>
                  <a:lnTo>
                    <a:pt x="186" y="446"/>
                  </a:lnTo>
                  <a:lnTo>
                    <a:pt x="186" y="445"/>
                  </a:lnTo>
                  <a:lnTo>
                    <a:pt x="186" y="443"/>
                  </a:lnTo>
                  <a:lnTo>
                    <a:pt x="185" y="440"/>
                  </a:lnTo>
                  <a:lnTo>
                    <a:pt x="185" y="437"/>
                  </a:lnTo>
                  <a:lnTo>
                    <a:pt x="185" y="436"/>
                  </a:lnTo>
                  <a:lnTo>
                    <a:pt x="183" y="434"/>
                  </a:lnTo>
                  <a:lnTo>
                    <a:pt x="182" y="434"/>
                  </a:lnTo>
                  <a:lnTo>
                    <a:pt x="180" y="434"/>
                  </a:lnTo>
                  <a:lnTo>
                    <a:pt x="177" y="434"/>
                  </a:lnTo>
                  <a:lnTo>
                    <a:pt x="177" y="436"/>
                  </a:lnTo>
                  <a:lnTo>
                    <a:pt x="175" y="436"/>
                  </a:lnTo>
                  <a:lnTo>
                    <a:pt x="175" y="437"/>
                  </a:lnTo>
                  <a:lnTo>
                    <a:pt x="175" y="439"/>
                  </a:lnTo>
                  <a:lnTo>
                    <a:pt x="175" y="440"/>
                  </a:lnTo>
                  <a:lnTo>
                    <a:pt x="175" y="443"/>
                  </a:lnTo>
                  <a:lnTo>
                    <a:pt x="175" y="445"/>
                  </a:lnTo>
                  <a:lnTo>
                    <a:pt x="175" y="446"/>
                  </a:lnTo>
                  <a:lnTo>
                    <a:pt x="175" y="450"/>
                  </a:lnTo>
                  <a:lnTo>
                    <a:pt x="175" y="451"/>
                  </a:lnTo>
                  <a:lnTo>
                    <a:pt x="182" y="453"/>
                  </a:lnTo>
                  <a:lnTo>
                    <a:pt x="183" y="454"/>
                  </a:lnTo>
                  <a:lnTo>
                    <a:pt x="183" y="454"/>
                  </a:lnTo>
                  <a:lnTo>
                    <a:pt x="183" y="456"/>
                  </a:lnTo>
                  <a:lnTo>
                    <a:pt x="185" y="456"/>
                  </a:lnTo>
                  <a:lnTo>
                    <a:pt x="185" y="456"/>
                  </a:lnTo>
                  <a:lnTo>
                    <a:pt x="185" y="457"/>
                  </a:lnTo>
                  <a:lnTo>
                    <a:pt x="183" y="459"/>
                  </a:lnTo>
                  <a:lnTo>
                    <a:pt x="183" y="459"/>
                  </a:lnTo>
                  <a:lnTo>
                    <a:pt x="180" y="457"/>
                  </a:lnTo>
                  <a:lnTo>
                    <a:pt x="180" y="457"/>
                  </a:lnTo>
                  <a:lnTo>
                    <a:pt x="177" y="459"/>
                  </a:lnTo>
                  <a:lnTo>
                    <a:pt x="177" y="459"/>
                  </a:lnTo>
                  <a:lnTo>
                    <a:pt x="177" y="460"/>
                  </a:lnTo>
                  <a:lnTo>
                    <a:pt x="175" y="462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7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0" y="470"/>
                  </a:lnTo>
                  <a:lnTo>
                    <a:pt x="182" y="471"/>
                  </a:lnTo>
                  <a:lnTo>
                    <a:pt x="182" y="474"/>
                  </a:lnTo>
                  <a:lnTo>
                    <a:pt x="185" y="474"/>
                  </a:lnTo>
                  <a:lnTo>
                    <a:pt x="185" y="476"/>
                  </a:lnTo>
                  <a:lnTo>
                    <a:pt x="183" y="476"/>
                  </a:lnTo>
                  <a:lnTo>
                    <a:pt x="186" y="479"/>
                  </a:lnTo>
                  <a:lnTo>
                    <a:pt x="188" y="477"/>
                  </a:lnTo>
                  <a:lnTo>
                    <a:pt x="191" y="477"/>
                  </a:lnTo>
                  <a:lnTo>
                    <a:pt x="195" y="477"/>
                  </a:lnTo>
                  <a:lnTo>
                    <a:pt x="197" y="480"/>
                  </a:lnTo>
                  <a:lnTo>
                    <a:pt x="197" y="480"/>
                  </a:lnTo>
                  <a:lnTo>
                    <a:pt x="195" y="480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82"/>
                  </a:lnTo>
                  <a:lnTo>
                    <a:pt x="188" y="482"/>
                  </a:lnTo>
                  <a:lnTo>
                    <a:pt x="188" y="483"/>
                  </a:lnTo>
                  <a:lnTo>
                    <a:pt x="188" y="483"/>
                  </a:lnTo>
                  <a:lnTo>
                    <a:pt x="186" y="483"/>
                  </a:lnTo>
                  <a:lnTo>
                    <a:pt x="185" y="482"/>
                  </a:lnTo>
                  <a:lnTo>
                    <a:pt x="185" y="482"/>
                  </a:lnTo>
                  <a:lnTo>
                    <a:pt x="183" y="479"/>
                  </a:lnTo>
                  <a:lnTo>
                    <a:pt x="182" y="480"/>
                  </a:lnTo>
                  <a:lnTo>
                    <a:pt x="182" y="479"/>
                  </a:lnTo>
                  <a:lnTo>
                    <a:pt x="177" y="476"/>
                  </a:lnTo>
                  <a:lnTo>
                    <a:pt x="175" y="474"/>
                  </a:lnTo>
                  <a:lnTo>
                    <a:pt x="174" y="474"/>
                  </a:lnTo>
                  <a:lnTo>
                    <a:pt x="172" y="474"/>
                  </a:lnTo>
                  <a:lnTo>
                    <a:pt x="172" y="476"/>
                  </a:lnTo>
                  <a:lnTo>
                    <a:pt x="174" y="477"/>
                  </a:lnTo>
                  <a:lnTo>
                    <a:pt x="174" y="477"/>
                  </a:lnTo>
                  <a:lnTo>
                    <a:pt x="172" y="477"/>
                  </a:lnTo>
                  <a:lnTo>
                    <a:pt x="172" y="479"/>
                  </a:lnTo>
                  <a:lnTo>
                    <a:pt x="172" y="480"/>
                  </a:lnTo>
                  <a:lnTo>
                    <a:pt x="172" y="482"/>
                  </a:lnTo>
                  <a:lnTo>
                    <a:pt x="172" y="483"/>
                  </a:lnTo>
                  <a:lnTo>
                    <a:pt x="171" y="485"/>
                  </a:lnTo>
                  <a:lnTo>
                    <a:pt x="171" y="486"/>
                  </a:lnTo>
                  <a:lnTo>
                    <a:pt x="171" y="488"/>
                  </a:lnTo>
                  <a:lnTo>
                    <a:pt x="171" y="491"/>
                  </a:lnTo>
                  <a:lnTo>
                    <a:pt x="171" y="493"/>
                  </a:lnTo>
                  <a:lnTo>
                    <a:pt x="172" y="493"/>
                  </a:lnTo>
                  <a:lnTo>
                    <a:pt x="174" y="493"/>
                  </a:lnTo>
                  <a:lnTo>
                    <a:pt x="175" y="493"/>
                  </a:lnTo>
                  <a:lnTo>
                    <a:pt x="174" y="494"/>
                  </a:lnTo>
                  <a:lnTo>
                    <a:pt x="174" y="496"/>
                  </a:lnTo>
                  <a:lnTo>
                    <a:pt x="174" y="497"/>
                  </a:lnTo>
                  <a:lnTo>
                    <a:pt x="174" y="497"/>
                  </a:lnTo>
                  <a:lnTo>
                    <a:pt x="175" y="499"/>
                  </a:lnTo>
                  <a:lnTo>
                    <a:pt x="175" y="499"/>
                  </a:lnTo>
                  <a:lnTo>
                    <a:pt x="175" y="499"/>
                  </a:lnTo>
                  <a:lnTo>
                    <a:pt x="174" y="500"/>
                  </a:lnTo>
                  <a:lnTo>
                    <a:pt x="174" y="500"/>
                  </a:lnTo>
                  <a:lnTo>
                    <a:pt x="174" y="500"/>
                  </a:lnTo>
                  <a:lnTo>
                    <a:pt x="175" y="505"/>
                  </a:lnTo>
                  <a:lnTo>
                    <a:pt x="177" y="506"/>
                  </a:lnTo>
                  <a:lnTo>
                    <a:pt x="182" y="505"/>
                  </a:lnTo>
                  <a:lnTo>
                    <a:pt x="183" y="505"/>
                  </a:lnTo>
                  <a:lnTo>
                    <a:pt x="188" y="499"/>
                  </a:lnTo>
                  <a:lnTo>
                    <a:pt x="189" y="497"/>
                  </a:lnTo>
                  <a:lnTo>
                    <a:pt x="189" y="497"/>
                  </a:lnTo>
                  <a:lnTo>
                    <a:pt x="189" y="497"/>
                  </a:lnTo>
                  <a:lnTo>
                    <a:pt x="189" y="499"/>
                  </a:lnTo>
                  <a:lnTo>
                    <a:pt x="191" y="500"/>
                  </a:lnTo>
                  <a:lnTo>
                    <a:pt x="189" y="502"/>
                  </a:lnTo>
                  <a:lnTo>
                    <a:pt x="188" y="503"/>
                  </a:lnTo>
                  <a:lnTo>
                    <a:pt x="189" y="503"/>
                  </a:lnTo>
                  <a:lnTo>
                    <a:pt x="192" y="503"/>
                  </a:lnTo>
                  <a:lnTo>
                    <a:pt x="194" y="505"/>
                  </a:lnTo>
                  <a:lnTo>
                    <a:pt x="195" y="503"/>
                  </a:lnTo>
                  <a:lnTo>
                    <a:pt x="199" y="497"/>
                  </a:lnTo>
                  <a:lnTo>
                    <a:pt x="200" y="496"/>
                  </a:lnTo>
                  <a:lnTo>
                    <a:pt x="202" y="496"/>
                  </a:lnTo>
                  <a:lnTo>
                    <a:pt x="202" y="500"/>
                  </a:lnTo>
                  <a:lnTo>
                    <a:pt x="199" y="503"/>
                  </a:lnTo>
                  <a:lnTo>
                    <a:pt x="189" y="506"/>
                  </a:lnTo>
                  <a:lnTo>
                    <a:pt x="188" y="508"/>
                  </a:lnTo>
                  <a:lnTo>
                    <a:pt x="188" y="506"/>
                  </a:lnTo>
                  <a:lnTo>
                    <a:pt x="188" y="506"/>
                  </a:lnTo>
                  <a:lnTo>
                    <a:pt x="186" y="505"/>
                  </a:lnTo>
                  <a:lnTo>
                    <a:pt x="186" y="506"/>
                  </a:lnTo>
                  <a:lnTo>
                    <a:pt x="185" y="506"/>
                  </a:lnTo>
                  <a:lnTo>
                    <a:pt x="183" y="508"/>
                  </a:lnTo>
                  <a:lnTo>
                    <a:pt x="183" y="508"/>
                  </a:lnTo>
                  <a:lnTo>
                    <a:pt x="182" y="513"/>
                  </a:lnTo>
                  <a:lnTo>
                    <a:pt x="182" y="513"/>
                  </a:lnTo>
                  <a:lnTo>
                    <a:pt x="182" y="516"/>
                  </a:lnTo>
                  <a:lnTo>
                    <a:pt x="183" y="516"/>
                  </a:lnTo>
                  <a:lnTo>
                    <a:pt x="186" y="514"/>
                  </a:lnTo>
                  <a:lnTo>
                    <a:pt x="188" y="514"/>
                  </a:lnTo>
                  <a:lnTo>
                    <a:pt x="191" y="516"/>
                  </a:lnTo>
                  <a:lnTo>
                    <a:pt x="192" y="516"/>
                  </a:lnTo>
                  <a:lnTo>
                    <a:pt x="194" y="516"/>
                  </a:lnTo>
                  <a:lnTo>
                    <a:pt x="197" y="514"/>
                  </a:lnTo>
                  <a:lnTo>
                    <a:pt x="197" y="513"/>
                  </a:lnTo>
                  <a:lnTo>
                    <a:pt x="199" y="513"/>
                  </a:lnTo>
                  <a:lnTo>
                    <a:pt x="200" y="511"/>
                  </a:lnTo>
                  <a:lnTo>
                    <a:pt x="200" y="510"/>
                  </a:lnTo>
                  <a:lnTo>
                    <a:pt x="203" y="510"/>
                  </a:lnTo>
                  <a:lnTo>
                    <a:pt x="203" y="511"/>
                  </a:lnTo>
                  <a:lnTo>
                    <a:pt x="200" y="513"/>
                  </a:lnTo>
                  <a:lnTo>
                    <a:pt x="199" y="514"/>
                  </a:lnTo>
                  <a:lnTo>
                    <a:pt x="199" y="516"/>
                  </a:lnTo>
                  <a:lnTo>
                    <a:pt x="199" y="517"/>
                  </a:lnTo>
                  <a:lnTo>
                    <a:pt x="200" y="517"/>
                  </a:lnTo>
                  <a:lnTo>
                    <a:pt x="200" y="519"/>
                  </a:lnTo>
                  <a:lnTo>
                    <a:pt x="202" y="520"/>
                  </a:lnTo>
                  <a:lnTo>
                    <a:pt x="202" y="520"/>
                  </a:lnTo>
                  <a:lnTo>
                    <a:pt x="205" y="522"/>
                  </a:lnTo>
                  <a:lnTo>
                    <a:pt x="205" y="522"/>
                  </a:lnTo>
                  <a:lnTo>
                    <a:pt x="202" y="523"/>
                  </a:lnTo>
                  <a:lnTo>
                    <a:pt x="200" y="522"/>
                  </a:lnTo>
                  <a:lnTo>
                    <a:pt x="197" y="519"/>
                  </a:lnTo>
                  <a:lnTo>
                    <a:pt x="195" y="517"/>
                  </a:lnTo>
                  <a:lnTo>
                    <a:pt x="192" y="517"/>
                  </a:lnTo>
                  <a:lnTo>
                    <a:pt x="189" y="519"/>
                  </a:lnTo>
                  <a:lnTo>
                    <a:pt x="188" y="522"/>
                  </a:lnTo>
                  <a:lnTo>
                    <a:pt x="189" y="525"/>
                  </a:lnTo>
                  <a:lnTo>
                    <a:pt x="188" y="527"/>
                  </a:lnTo>
                  <a:lnTo>
                    <a:pt x="185" y="530"/>
                  </a:lnTo>
                  <a:lnTo>
                    <a:pt x="185" y="533"/>
                  </a:lnTo>
                  <a:lnTo>
                    <a:pt x="186" y="534"/>
                  </a:lnTo>
                  <a:lnTo>
                    <a:pt x="192" y="536"/>
                  </a:lnTo>
                  <a:lnTo>
                    <a:pt x="192" y="537"/>
                  </a:lnTo>
                  <a:lnTo>
                    <a:pt x="194" y="539"/>
                  </a:lnTo>
                  <a:lnTo>
                    <a:pt x="195" y="539"/>
                  </a:lnTo>
                  <a:lnTo>
                    <a:pt x="195" y="539"/>
                  </a:lnTo>
                  <a:lnTo>
                    <a:pt x="199" y="539"/>
                  </a:lnTo>
                  <a:lnTo>
                    <a:pt x="205" y="537"/>
                  </a:lnTo>
                  <a:lnTo>
                    <a:pt x="206" y="539"/>
                  </a:lnTo>
                  <a:lnTo>
                    <a:pt x="206" y="539"/>
                  </a:lnTo>
                  <a:lnTo>
                    <a:pt x="205" y="539"/>
                  </a:lnTo>
                  <a:lnTo>
                    <a:pt x="205" y="539"/>
                  </a:lnTo>
                  <a:lnTo>
                    <a:pt x="203" y="539"/>
                  </a:lnTo>
                  <a:lnTo>
                    <a:pt x="202" y="539"/>
                  </a:lnTo>
                  <a:lnTo>
                    <a:pt x="202" y="540"/>
                  </a:lnTo>
                  <a:lnTo>
                    <a:pt x="202" y="540"/>
                  </a:lnTo>
                  <a:lnTo>
                    <a:pt x="194" y="540"/>
                  </a:lnTo>
                  <a:lnTo>
                    <a:pt x="192" y="539"/>
                  </a:lnTo>
                  <a:lnTo>
                    <a:pt x="189" y="537"/>
                  </a:lnTo>
                  <a:lnTo>
                    <a:pt x="188" y="536"/>
                  </a:lnTo>
                  <a:lnTo>
                    <a:pt x="186" y="537"/>
                  </a:lnTo>
                  <a:lnTo>
                    <a:pt x="185" y="537"/>
                  </a:lnTo>
                  <a:lnTo>
                    <a:pt x="183" y="537"/>
                  </a:lnTo>
                  <a:lnTo>
                    <a:pt x="182" y="537"/>
                  </a:lnTo>
                  <a:lnTo>
                    <a:pt x="182" y="539"/>
                  </a:lnTo>
                  <a:lnTo>
                    <a:pt x="180" y="540"/>
                  </a:lnTo>
                  <a:lnTo>
                    <a:pt x="177" y="543"/>
                  </a:lnTo>
                  <a:lnTo>
                    <a:pt x="177" y="547"/>
                  </a:lnTo>
                  <a:lnTo>
                    <a:pt x="177" y="547"/>
                  </a:lnTo>
                  <a:lnTo>
                    <a:pt x="179" y="547"/>
                  </a:lnTo>
                  <a:lnTo>
                    <a:pt x="180" y="548"/>
                  </a:lnTo>
                  <a:lnTo>
                    <a:pt x="180" y="550"/>
                  </a:lnTo>
                  <a:lnTo>
                    <a:pt x="182" y="548"/>
                  </a:lnTo>
                  <a:lnTo>
                    <a:pt x="183" y="548"/>
                  </a:lnTo>
                  <a:lnTo>
                    <a:pt x="183" y="548"/>
                  </a:lnTo>
                  <a:lnTo>
                    <a:pt x="185" y="550"/>
                  </a:lnTo>
                  <a:lnTo>
                    <a:pt x="185" y="551"/>
                  </a:lnTo>
                  <a:lnTo>
                    <a:pt x="185" y="553"/>
                  </a:lnTo>
                  <a:lnTo>
                    <a:pt x="186" y="554"/>
                  </a:lnTo>
                  <a:lnTo>
                    <a:pt x="188" y="554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4"/>
                  </a:lnTo>
                  <a:lnTo>
                    <a:pt x="192" y="554"/>
                  </a:lnTo>
                  <a:lnTo>
                    <a:pt x="194" y="554"/>
                  </a:lnTo>
                  <a:lnTo>
                    <a:pt x="195" y="554"/>
                  </a:lnTo>
                  <a:lnTo>
                    <a:pt x="197" y="554"/>
                  </a:lnTo>
                  <a:lnTo>
                    <a:pt x="197" y="554"/>
                  </a:lnTo>
                  <a:lnTo>
                    <a:pt x="192" y="556"/>
                  </a:lnTo>
                  <a:lnTo>
                    <a:pt x="189" y="557"/>
                  </a:lnTo>
                  <a:lnTo>
                    <a:pt x="186" y="557"/>
                  </a:lnTo>
                  <a:lnTo>
                    <a:pt x="185" y="556"/>
                  </a:lnTo>
                  <a:lnTo>
                    <a:pt x="185" y="556"/>
                  </a:lnTo>
                  <a:lnTo>
                    <a:pt x="183" y="554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79" y="551"/>
                  </a:lnTo>
                  <a:lnTo>
                    <a:pt x="177" y="551"/>
                  </a:lnTo>
                  <a:lnTo>
                    <a:pt x="175" y="553"/>
                  </a:lnTo>
                  <a:lnTo>
                    <a:pt x="174" y="554"/>
                  </a:lnTo>
                  <a:lnTo>
                    <a:pt x="172" y="557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69" y="565"/>
                  </a:lnTo>
                  <a:lnTo>
                    <a:pt x="171" y="567"/>
                  </a:lnTo>
                  <a:lnTo>
                    <a:pt x="172" y="567"/>
                  </a:lnTo>
                  <a:lnTo>
                    <a:pt x="172" y="568"/>
                  </a:lnTo>
                  <a:lnTo>
                    <a:pt x="169" y="568"/>
                  </a:lnTo>
                  <a:lnTo>
                    <a:pt x="166" y="568"/>
                  </a:lnTo>
                  <a:lnTo>
                    <a:pt x="171" y="570"/>
                  </a:lnTo>
                  <a:lnTo>
                    <a:pt x="177" y="568"/>
                  </a:lnTo>
                  <a:lnTo>
                    <a:pt x="180" y="568"/>
                  </a:lnTo>
                  <a:lnTo>
                    <a:pt x="177" y="571"/>
                  </a:lnTo>
                  <a:lnTo>
                    <a:pt x="177" y="573"/>
                  </a:lnTo>
                  <a:lnTo>
                    <a:pt x="180" y="574"/>
                  </a:lnTo>
                  <a:lnTo>
                    <a:pt x="182" y="574"/>
                  </a:lnTo>
                  <a:lnTo>
                    <a:pt x="183" y="571"/>
                  </a:lnTo>
                  <a:lnTo>
                    <a:pt x="183" y="571"/>
                  </a:lnTo>
                  <a:lnTo>
                    <a:pt x="185" y="571"/>
                  </a:lnTo>
                  <a:lnTo>
                    <a:pt x="186" y="571"/>
                  </a:lnTo>
                  <a:lnTo>
                    <a:pt x="183" y="574"/>
                  </a:lnTo>
                  <a:lnTo>
                    <a:pt x="180" y="576"/>
                  </a:lnTo>
                  <a:lnTo>
                    <a:pt x="172" y="576"/>
                  </a:lnTo>
                  <a:lnTo>
                    <a:pt x="172" y="577"/>
                  </a:lnTo>
                  <a:lnTo>
                    <a:pt x="172" y="579"/>
                  </a:lnTo>
                  <a:lnTo>
                    <a:pt x="174" y="580"/>
                  </a:lnTo>
                  <a:lnTo>
                    <a:pt x="179" y="583"/>
                  </a:lnTo>
                  <a:lnTo>
                    <a:pt x="177" y="583"/>
                  </a:lnTo>
                  <a:lnTo>
                    <a:pt x="175" y="582"/>
                  </a:lnTo>
                  <a:lnTo>
                    <a:pt x="174" y="583"/>
                  </a:lnTo>
                  <a:lnTo>
                    <a:pt x="172" y="585"/>
                  </a:lnTo>
                  <a:lnTo>
                    <a:pt x="172" y="583"/>
                  </a:lnTo>
                  <a:lnTo>
                    <a:pt x="171" y="583"/>
                  </a:lnTo>
                  <a:lnTo>
                    <a:pt x="171" y="583"/>
                  </a:lnTo>
                  <a:lnTo>
                    <a:pt x="169" y="583"/>
                  </a:lnTo>
                  <a:lnTo>
                    <a:pt x="169" y="585"/>
                  </a:lnTo>
                  <a:lnTo>
                    <a:pt x="171" y="585"/>
                  </a:lnTo>
                  <a:lnTo>
                    <a:pt x="171" y="585"/>
                  </a:lnTo>
                  <a:lnTo>
                    <a:pt x="172" y="587"/>
                  </a:lnTo>
                  <a:lnTo>
                    <a:pt x="172" y="588"/>
                  </a:lnTo>
                  <a:lnTo>
                    <a:pt x="171" y="588"/>
                  </a:lnTo>
                  <a:lnTo>
                    <a:pt x="168" y="587"/>
                  </a:lnTo>
                  <a:lnTo>
                    <a:pt x="166" y="585"/>
                  </a:lnTo>
                  <a:lnTo>
                    <a:pt x="166" y="585"/>
                  </a:lnTo>
                  <a:lnTo>
                    <a:pt x="165" y="583"/>
                  </a:lnTo>
                  <a:lnTo>
                    <a:pt x="163" y="583"/>
                  </a:lnTo>
                  <a:lnTo>
                    <a:pt x="163" y="583"/>
                  </a:lnTo>
                  <a:lnTo>
                    <a:pt x="160" y="585"/>
                  </a:lnTo>
                  <a:lnTo>
                    <a:pt x="158" y="587"/>
                  </a:lnTo>
                  <a:lnTo>
                    <a:pt x="148" y="588"/>
                  </a:lnTo>
                  <a:lnTo>
                    <a:pt x="146" y="588"/>
                  </a:lnTo>
                  <a:lnTo>
                    <a:pt x="145" y="591"/>
                  </a:lnTo>
                  <a:lnTo>
                    <a:pt x="145" y="591"/>
                  </a:lnTo>
                  <a:lnTo>
                    <a:pt x="143" y="591"/>
                  </a:lnTo>
                  <a:lnTo>
                    <a:pt x="143" y="591"/>
                  </a:lnTo>
                  <a:lnTo>
                    <a:pt x="143" y="593"/>
                  </a:lnTo>
                  <a:lnTo>
                    <a:pt x="143" y="593"/>
                  </a:lnTo>
                  <a:lnTo>
                    <a:pt x="143" y="594"/>
                  </a:lnTo>
                  <a:lnTo>
                    <a:pt x="145" y="594"/>
                  </a:lnTo>
                  <a:lnTo>
                    <a:pt x="145" y="596"/>
                  </a:lnTo>
                  <a:lnTo>
                    <a:pt x="145" y="596"/>
                  </a:lnTo>
                  <a:lnTo>
                    <a:pt x="148" y="597"/>
                  </a:lnTo>
                  <a:lnTo>
                    <a:pt x="149" y="597"/>
                  </a:lnTo>
                  <a:lnTo>
                    <a:pt x="151" y="597"/>
                  </a:lnTo>
                  <a:lnTo>
                    <a:pt x="152" y="596"/>
                  </a:lnTo>
                  <a:lnTo>
                    <a:pt x="154" y="596"/>
                  </a:lnTo>
                  <a:lnTo>
                    <a:pt x="158" y="597"/>
                  </a:lnTo>
                  <a:lnTo>
                    <a:pt x="165" y="596"/>
                  </a:lnTo>
                  <a:lnTo>
                    <a:pt x="165" y="597"/>
                  </a:lnTo>
                  <a:lnTo>
                    <a:pt x="166" y="597"/>
                  </a:lnTo>
                  <a:lnTo>
                    <a:pt x="168" y="599"/>
                  </a:lnTo>
                  <a:lnTo>
                    <a:pt x="169" y="599"/>
                  </a:lnTo>
                  <a:lnTo>
                    <a:pt x="171" y="597"/>
                  </a:lnTo>
                  <a:lnTo>
                    <a:pt x="180" y="593"/>
                  </a:lnTo>
                  <a:lnTo>
                    <a:pt x="183" y="594"/>
                  </a:lnTo>
                  <a:lnTo>
                    <a:pt x="186" y="596"/>
                  </a:lnTo>
                  <a:lnTo>
                    <a:pt x="188" y="596"/>
                  </a:lnTo>
                  <a:lnTo>
                    <a:pt x="195" y="596"/>
                  </a:lnTo>
                  <a:lnTo>
                    <a:pt x="194" y="596"/>
                  </a:lnTo>
                  <a:lnTo>
                    <a:pt x="191" y="597"/>
                  </a:lnTo>
                  <a:lnTo>
                    <a:pt x="188" y="597"/>
                  </a:lnTo>
                  <a:lnTo>
                    <a:pt x="185" y="597"/>
                  </a:lnTo>
                  <a:lnTo>
                    <a:pt x="180" y="594"/>
                  </a:lnTo>
                  <a:lnTo>
                    <a:pt x="179" y="594"/>
                  </a:lnTo>
                  <a:lnTo>
                    <a:pt x="171" y="600"/>
                  </a:lnTo>
                  <a:lnTo>
                    <a:pt x="171" y="602"/>
                  </a:lnTo>
                  <a:lnTo>
                    <a:pt x="172" y="602"/>
                  </a:lnTo>
                  <a:lnTo>
                    <a:pt x="174" y="603"/>
                  </a:lnTo>
                  <a:lnTo>
                    <a:pt x="172" y="605"/>
                  </a:lnTo>
                  <a:lnTo>
                    <a:pt x="171" y="602"/>
                  </a:lnTo>
                  <a:lnTo>
                    <a:pt x="168" y="602"/>
                  </a:lnTo>
                  <a:lnTo>
                    <a:pt x="166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0" y="602"/>
                  </a:lnTo>
                  <a:lnTo>
                    <a:pt x="160" y="605"/>
                  </a:lnTo>
                  <a:lnTo>
                    <a:pt x="160" y="605"/>
                  </a:lnTo>
                  <a:lnTo>
                    <a:pt x="172" y="614"/>
                  </a:lnTo>
                  <a:lnTo>
                    <a:pt x="177" y="616"/>
                  </a:lnTo>
                  <a:lnTo>
                    <a:pt x="179" y="613"/>
                  </a:lnTo>
                  <a:lnTo>
                    <a:pt x="180" y="613"/>
                  </a:lnTo>
                  <a:lnTo>
                    <a:pt x="180" y="613"/>
                  </a:lnTo>
                  <a:lnTo>
                    <a:pt x="179" y="614"/>
                  </a:lnTo>
                  <a:lnTo>
                    <a:pt x="179" y="617"/>
                  </a:lnTo>
                  <a:lnTo>
                    <a:pt x="179" y="617"/>
                  </a:lnTo>
                  <a:lnTo>
                    <a:pt x="180" y="619"/>
                  </a:lnTo>
                  <a:lnTo>
                    <a:pt x="182" y="619"/>
                  </a:lnTo>
                  <a:lnTo>
                    <a:pt x="183" y="619"/>
                  </a:lnTo>
                  <a:lnTo>
                    <a:pt x="183" y="620"/>
                  </a:lnTo>
                  <a:lnTo>
                    <a:pt x="185" y="622"/>
                  </a:lnTo>
                  <a:lnTo>
                    <a:pt x="185" y="622"/>
                  </a:lnTo>
                  <a:lnTo>
                    <a:pt x="186" y="622"/>
                  </a:lnTo>
                  <a:lnTo>
                    <a:pt x="191" y="617"/>
                  </a:lnTo>
                  <a:lnTo>
                    <a:pt x="195" y="611"/>
                  </a:lnTo>
                  <a:lnTo>
                    <a:pt x="199" y="608"/>
                  </a:lnTo>
                  <a:lnTo>
                    <a:pt x="200" y="607"/>
                  </a:lnTo>
                  <a:lnTo>
                    <a:pt x="200" y="607"/>
                  </a:lnTo>
                  <a:lnTo>
                    <a:pt x="202" y="605"/>
                  </a:lnTo>
                  <a:lnTo>
                    <a:pt x="202" y="605"/>
                  </a:lnTo>
                  <a:lnTo>
                    <a:pt x="203" y="602"/>
                  </a:lnTo>
                  <a:lnTo>
                    <a:pt x="203" y="602"/>
                  </a:lnTo>
                  <a:lnTo>
                    <a:pt x="205" y="602"/>
                  </a:lnTo>
                  <a:lnTo>
                    <a:pt x="206" y="600"/>
                  </a:lnTo>
                  <a:lnTo>
                    <a:pt x="209" y="599"/>
                  </a:lnTo>
                  <a:lnTo>
                    <a:pt x="209" y="596"/>
                  </a:lnTo>
                  <a:lnTo>
                    <a:pt x="209" y="596"/>
                  </a:lnTo>
                  <a:lnTo>
                    <a:pt x="211" y="596"/>
                  </a:lnTo>
                  <a:lnTo>
                    <a:pt x="212" y="594"/>
                  </a:lnTo>
                  <a:lnTo>
                    <a:pt x="212" y="594"/>
                  </a:lnTo>
                  <a:lnTo>
                    <a:pt x="214" y="594"/>
                  </a:lnTo>
                  <a:lnTo>
                    <a:pt x="215" y="593"/>
                  </a:lnTo>
                  <a:lnTo>
                    <a:pt x="217" y="591"/>
                  </a:lnTo>
                  <a:lnTo>
                    <a:pt x="217" y="590"/>
                  </a:lnTo>
                  <a:lnTo>
                    <a:pt x="217" y="588"/>
                  </a:lnTo>
                  <a:lnTo>
                    <a:pt x="217" y="588"/>
                  </a:lnTo>
                  <a:lnTo>
                    <a:pt x="219" y="587"/>
                  </a:lnTo>
                  <a:lnTo>
                    <a:pt x="219" y="587"/>
                  </a:lnTo>
                  <a:lnTo>
                    <a:pt x="220" y="587"/>
                  </a:lnTo>
                  <a:lnTo>
                    <a:pt x="220" y="585"/>
                  </a:lnTo>
                  <a:lnTo>
                    <a:pt x="222" y="585"/>
                  </a:lnTo>
                  <a:lnTo>
                    <a:pt x="222" y="583"/>
                  </a:lnTo>
                  <a:lnTo>
                    <a:pt x="222" y="583"/>
                  </a:lnTo>
                  <a:lnTo>
                    <a:pt x="226" y="579"/>
                  </a:lnTo>
                  <a:lnTo>
                    <a:pt x="225" y="582"/>
                  </a:lnTo>
                  <a:lnTo>
                    <a:pt x="223" y="583"/>
                  </a:lnTo>
                  <a:lnTo>
                    <a:pt x="219" y="590"/>
                  </a:lnTo>
                  <a:lnTo>
                    <a:pt x="219" y="590"/>
                  </a:lnTo>
                  <a:lnTo>
                    <a:pt x="217" y="591"/>
                  </a:lnTo>
                  <a:lnTo>
                    <a:pt x="217" y="593"/>
                  </a:lnTo>
                  <a:lnTo>
                    <a:pt x="223" y="596"/>
                  </a:lnTo>
                  <a:lnTo>
                    <a:pt x="235" y="593"/>
                  </a:lnTo>
                  <a:lnTo>
                    <a:pt x="234" y="594"/>
                  </a:lnTo>
                  <a:lnTo>
                    <a:pt x="228" y="594"/>
                  </a:lnTo>
                  <a:lnTo>
                    <a:pt x="226" y="597"/>
                  </a:lnTo>
                  <a:lnTo>
                    <a:pt x="225" y="597"/>
                  </a:lnTo>
                  <a:lnTo>
                    <a:pt x="220" y="596"/>
                  </a:lnTo>
                  <a:lnTo>
                    <a:pt x="219" y="596"/>
                  </a:lnTo>
                  <a:lnTo>
                    <a:pt x="217" y="599"/>
                  </a:lnTo>
                  <a:lnTo>
                    <a:pt x="215" y="599"/>
                  </a:lnTo>
                  <a:lnTo>
                    <a:pt x="214" y="599"/>
                  </a:lnTo>
                  <a:lnTo>
                    <a:pt x="212" y="599"/>
                  </a:lnTo>
                  <a:lnTo>
                    <a:pt x="212" y="600"/>
                  </a:lnTo>
                  <a:lnTo>
                    <a:pt x="212" y="600"/>
                  </a:lnTo>
                  <a:lnTo>
                    <a:pt x="212" y="602"/>
                  </a:lnTo>
                  <a:lnTo>
                    <a:pt x="212" y="603"/>
                  </a:lnTo>
                  <a:lnTo>
                    <a:pt x="212" y="603"/>
                  </a:lnTo>
                  <a:lnTo>
                    <a:pt x="209" y="607"/>
                  </a:lnTo>
                  <a:lnTo>
                    <a:pt x="208" y="608"/>
                  </a:lnTo>
                  <a:lnTo>
                    <a:pt x="206" y="611"/>
                  </a:lnTo>
                  <a:lnTo>
                    <a:pt x="206" y="611"/>
                  </a:lnTo>
                  <a:lnTo>
                    <a:pt x="206" y="613"/>
                  </a:lnTo>
                  <a:lnTo>
                    <a:pt x="206" y="613"/>
                  </a:lnTo>
                  <a:lnTo>
                    <a:pt x="205" y="614"/>
                  </a:lnTo>
                  <a:lnTo>
                    <a:pt x="205" y="614"/>
                  </a:lnTo>
                  <a:lnTo>
                    <a:pt x="205" y="614"/>
                  </a:lnTo>
                  <a:lnTo>
                    <a:pt x="205" y="616"/>
                  </a:lnTo>
                  <a:lnTo>
                    <a:pt x="206" y="616"/>
                  </a:lnTo>
                  <a:lnTo>
                    <a:pt x="206" y="617"/>
                  </a:lnTo>
                  <a:lnTo>
                    <a:pt x="208" y="617"/>
                  </a:lnTo>
                  <a:lnTo>
                    <a:pt x="208" y="617"/>
                  </a:lnTo>
                  <a:lnTo>
                    <a:pt x="211" y="616"/>
                  </a:lnTo>
                  <a:lnTo>
                    <a:pt x="211" y="616"/>
                  </a:lnTo>
                  <a:lnTo>
                    <a:pt x="212" y="614"/>
                  </a:lnTo>
                  <a:lnTo>
                    <a:pt x="212" y="614"/>
                  </a:lnTo>
                  <a:lnTo>
                    <a:pt x="214" y="614"/>
                  </a:lnTo>
                  <a:lnTo>
                    <a:pt x="215" y="614"/>
                  </a:lnTo>
                  <a:lnTo>
                    <a:pt x="217" y="613"/>
                  </a:lnTo>
                  <a:lnTo>
                    <a:pt x="217" y="614"/>
                  </a:lnTo>
                  <a:lnTo>
                    <a:pt x="215" y="614"/>
                  </a:lnTo>
                  <a:lnTo>
                    <a:pt x="214" y="616"/>
                  </a:lnTo>
                  <a:lnTo>
                    <a:pt x="211" y="619"/>
                  </a:lnTo>
                  <a:lnTo>
                    <a:pt x="209" y="619"/>
                  </a:lnTo>
                  <a:lnTo>
                    <a:pt x="208" y="619"/>
                  </a:lnTo>
                  <a:lnTo>
                    <a:pt x="205" y="619"/>
                  </a:lnTo>
                  <a:lnTo>
                    <a:pt x="203" y="617"/>
                  </a:lnTo>
                  <a:lnTo>
                    <a:pt x="203" y="619"/>
                  </a:lnTo>
                  <a:lnTo>
                    <a:pt x="200" y="625"/>
                  </a:lnTo>
                  <a:lnTo>
                    <a:pt x="202" y="627"/>
                  </a:lnTo>
                  <a:lnTo>
                    <a:pt x="203" y="624"/>
                  </a:lnTo>
                  <a:lnTo>
                    <a:pt x="203" y="622"/>
                  </a:lnTo>
                  <a:lnTo>
                    <a:pt x="205" y="622"/>
                  </a:lnTo>
                  <a:lnTo>
                    <a:pt x="206" y="627"/>
                  </a:lnTo>
                  <a:lnTo>
                    <a:pt x="208" y="627"/>
                  </a:lnTo>
                  <a:lnTo>
                    <a:pt x="209" y="625"/>
                  </a:lnTo>
                  <a:lnTo>
                    <a:pt x="217" y="627"/>
                  </a:lnTo>
                  <a:lnTo>
                    <a:pt x="220" y="627"/>
                  </a:lnTo>
                  <a:lnTo>
                    <a:pt x="222" y="627"/>
                  </a:lnTo>
                  <a:lnTo>
                    <a:pt x="223" y="624"/>
                  </a:lnTo>
                  <a:lnTo>
                    <a:pt x="226" y="620"/>
                  </a:lnTo>
                  <a:lnTo>
                    <a:pt x="228" y="619"/>
                  </a:lnTo>
                  <a:lnTo>
                    <a:pt x="228" y="616"/>
                  </a:lnTo>
                  <a:lnTo>
                    <a:pt x="229" y="614"/>
                  </a:lnTo>
                  <a:lnTo>
                    <a:pt x="231" y="613"/>
                  </a:lnTo>
                  <a:lnTo>
                    <a:pt x="229" y="616"/>
                  </a:lnTo>
                  <a:lnTo>
                    <a:pt x="226" y="620"/>
                  </a:lnTo>
                  <a:lnTo>
                    <a:pt x="222" y="627"/>
                  </a:lnTo>
                  <a:lnTo>
                    <a:pt x="220" y="630"/>
                  </a:lnTo>
                  <a:lnTo>
                    <a:pt x="217" y="630"/>
                  </a:lnTo>
                  <a:lnTo>
                    <a:pt x="211" y="628"/>
                  </a:lnTo>
                  <a:lnTo>
                    <a:pt x="203" y="628"/>
                  </a:lnTo>
                  <a:lnTo>
                    <a:pt x="202" y="630"/>
                  </a:lnTo>
                  <a:lnTo>
                    <a:pt x="200" y="633"/>
                  </a:lnTo>
                  <a:lnTo>
                    <a:pt x="200" y="633"/>
                  </a:lnTo>
                  <a:lnTo>
                    <a:pt x="199" y="634"/>
                  </a:lnTo>
                  <a:lnTo>
                    <a:pt x="199" y="634"/>
                  </a:lnTo>
                  <a:lnTo>
                    <a:pt x="197" y="636"/>
                  </a:lnTo>
                  <a:lnTo>
                    <a:pt x="197" y="636"/>
                  </a:lnTo>
                  <a:lnTo>
                    <a:pt x="195" y="640"/>
                  </a:lnTo>
                  <a:lnTo>
                    <a:pt x="197" y="640"/>
                  </a:lnTo>
                  <a:lnTo>
                    <a:pt x="200" y="640"/>
                  </a:lnTo>
                  <a:lnTo>
                    <a:pt x="202" y="640"/>
                  </a:lnTo>
                  <a:lnTo>
                    <a:pt x="202" y="640"/>
                  </a:lnTo>
                  <a:lnTo>
                    <a:pt x="199" y="642"/>
                  </a:lnTo>
                  <a:lnTo>
                    <a:pt x="197" y="642"/>
                  </a:lnTo>
                  <a:lnTo>
                    <a:pt x="195" y="642"/>
                  </a:lnTo>
                  <a:lnTo>
                    <a:pt x="194" y="644"/>
                  </a:lnTo>
                  <a:lnTo>
                    <a:pt x="192" y="645"/>
                  </a:lnTo>
                  <a:lnTo>
                    <a:pt x="192" y="650"/>
                  </a:lnTo>
                  <a:lnTo>
                    <a:pt x="191" y="653"/>
                  </a:lnTo>
                  <a:lnTo>
                    <a:pt x="191" y="654"/>
                  </a:lnTo>
                  <a:lnTo>
                    <a:pt x="191" y="656"/>
                  </a:lnTo>
                  <a:lnTo>
                    <a:pt x="192" y="656"/>
                  </a:lnTo>
                  <a:lnTo>
                    <a:pt x="192" y="654"/>
                  </a:lnTo>
                  <a:lnTo>
                    <a:pt x="194" y="654"/>
                  </a:lnTo>
                  <a:lnTo>
                    <a:pt x="194" y="653"/>
                  </a:lnTo>
                  <a:lnTo>
                    <a:pt x="197" y="653"/>
                  </a:lnTo>
                  <a:lnTo>
                    <a:pt x="199" y="653"/>
                  </a:lnTo>
                  <a:lnTo>
                    <a:pt x="199" y="654"/>
                  </a:lnTo>
                  <a:lnTo>
                    <a:pt x="199" y="654"/>
                  </a:lnTo>
                  <a:lnTo>
                    <a:pt x="197" y="656"/>
                  </a:lnTo>
                  <a:lnTo>
                    <a:pt x="197" y="656"/>
                  </a:lnTo>
                  <a:lnTo>
                    <a:pt x="194" y="657"/>
                  </a:lnTo>
                  <a:lnTo>
                    <a:pt x="194" y="657"/>
                  </a:lnTo>
                  <a:lnTo>
                    <a:pt x="194" y="660"/>
                  </a:lnTo>
                  <a:lnTo>
                    <a:pt x="192" y="662"/>
                  </a:lnTo>
                  <a:lnTo>
                    <a:pt x="192" y="665"/>
                  </a:lnTo>
                  <a:lnTo>
                    <a:pt x="191" y="667"/>
                  </a:lnTo>
                  <a:lnTo>
                    <a:pt x="191" y="670"/>
                  </a:lnTo>
                  <a:lnTo>
                    <a:pt x="192" y="668"/>
                  </a:lnTo>
                  <a:lnTo>
                    <a:pt x="194" y="667"/>
                  </a:lnTo>
                  <a:lnTo>
                    <a:pt x="195" y="664"/>
                  </a:lnTo>
                  <a:lnTo>
                    <a:pt x="197" y="664"/>
                  </a:lnTo>
                  <a:lnTo>
                    <a:pt x="197" y="665"/>
                  </a:lnTo>
                  <a:lnTo>
                    <a:pt x="197" y="667"/>
                  </a:lnTo>
                  <a:lnTo>
                    <a:pt x="194" y="670"/>
                  </a:lnTo>
                  <a:lnTo>
                    <a:pt x="194" y="671"/>
                  </a:lnTo>
                  <a:lnTo>
                    <a:pt x="194" y="673"/>
                  </a:lnTo>
                  <a:lnTo>
                    <a:pt x="194" y="674"/>
                  </a:lnTo>
                  <a:lnTo>
                    <a:pt x="194" y="674"/>
                  </a:lnTo>
                  <a:lnTo>
                    <a:pt x="195" y="674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95" y="677"/>
                  </a:lnTo>
                  <a:lnTo>
                    <a:pt x="195" y="677"/>
                  </a:lnTo>
                  <a:lnTo>
                    <a:pt x="194" y="677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4" y="676"/>
                  </a:lnTo>
                  <a:lnTo>
                    <a:pt x="192" y="676"/>
                  </a:lnTo>
                  <a:lnTo>
                    <a:pt x="192" y="676"/>
                  </a:lnTo>
                  <a:lnTo>
                    <a:pt x="192" y="676"/>
                  </a:lnTo>
                  <a:lnTo>
                    <a:pt x="192" y="677"/>
                  </a:lnTo>
                  <a:lnTo>
                    <a:pt x="192" y="677"/>
                  </a:lnTo>
                  <a:lnTo>
                    <a:pt x="186" y="685"/>
                  </a:lnTo>
                  <a:lnTo>
                    <a:pt x="183" y="691"/>
                  </a:lnTo>
                  <a:lnTo>
                    <a:pt x="183" y="694"/>
                  </a:lnTo>
                  <a:lnTo>
                    <a:pt x="183" y="696"/>
                  </a:lnTo>
                  <a:lnTo>
                    <a:pt x="183" y="696"/>
                  </a:lnTo>
                  <a:lnTo>
                    <a:pt x="183" y="697"/>
                  </a:lnTo>
                  <a:lnTo>
                    <a:pt x="183" y="697"/>
                  </a:lnTo>
                  <a:lnTo>
                    <a:pt x="185" y="697"/>
                  </a:lnTo>
                  <a:lnTo>
                    <a:pt x="185" y="694"/>
                  </a:lnTo>
                  <a:lnTo>
                    <a:pt x="185" y="691"/>
                  </a:lnTo>
                  <a:lnTo>
                    <a:pt x="188" y="688"/>
                  </a:lnTo>
                  <a:lnTo>
                    <a:pt x="189" y="685"/>
                  </a:lnTo>
                  <a:lnTo>
                    <a:pt x="189" y="685"/>
                  </a:lnTo>
                  <a:lnTo>
                    <a:pt x="191" y="684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5"/>
                  </a:lnTo>
                  <a:lnTo>
                    <a:pt x="192" y="685"/>
                  </a:lnTo>
                  <a:lnTo>
                    <a:pt x="192" y="687"/>
                  </a:lnTo>
                  <a:lnTo>
                    <a:pt x="183" y="701"/>
                  </a:lnTo>
                  <a:lnTo>
                    <a:pt x="183" y="701"/>
                  </a:lnTo>
                  <a:lnTo>
                    <a:pt x="185" y="702"/>
                  </a:lnTo>
                  <a:lnTo>
                    <a:pt x="185" y="704"/>
                  </a:lnTo>
                  <a:lnTo>
                    <a:pt x="185" y="704"/>
                  </a:lnTo>
                  <a:lnTo>
                    <a:pt x="186" y="702"/>
                  </a:lnTo>
                  <a:lnTo>
                    <a:pt x="189" y="701"/>
                  </a:lnTo>
                  <a:lnTo>
                    <a:pt x="191" y="699"/>
                  </a:lnTo>
                  <a:lnTo>
                    <a:pt x="192" y="697"/>
                  </a:lnTo>
                  <a:lnTo>
                    <a:pt x="192" y="699"/>
                  </a:lnTo>
                  <a:lnTo>
                    <a:pt x="191" y="701"/>
                  </a:lnTo>
                  <a:lnTo>
                    <a:pt x="189" y="702"/>
                  </a:lnTo>
                  <a:lnTo>
                    <a:pt x="189" y="704"/>
                  </a:lnTo>
                  <a:lnTo>
                    <a:pt x="188" y="704"/>
                  </a:lnTo>
                  <a:lnTo>
                    <a:pt x="185" y="710"/>
                  </a:lnTo>
                  <a:lnTo>
                    <a:pt x="186" y="710"/>
                  </a:lnTo>
                  <a:lnTo>
                    <a:pt x="186" y="714"/>
                  </a:lnTo>
                  <a:lnTo>
                    <a:pt x="186" y="716"/>
                  </a:lnTo>
                  <a:lnTo>
                    <a:pt x="188" y="717"/>
                  </a:lnTo>
                  <a:lnTo>
                    <a:pt x="188" y="717"/>
                  </a:lnTo>
                  <a:lnTo>
                    <a:pt x="191" y="717"/>
                  </a:lnTo>
                  <a:lnTo>
                    <a:pt x="189" y="721"/>
                  </a:lnTo>
                  <a:lnTo>
                    <a:pt x="191" y="721"/>
                  </a:lnTo>
                  <a:lnTo>
                    <a:pt x="192" y="719"/>
                  </a:lnTo>
                  <a:lnTo>
                    <a:pt x="194" y="717"/>
                  </a:lnTo>
                  <a:lnTo>
                    <a:pt x="202" y="710"/>
                  </a:lnTo>
                  <a:lnTo>
                    <a:pt x="200" y="713"/>
                  </a:lnTo>
                  <a:lnTo>
                    <a:pt x="199" y="716"/>
                  </a:lnTo>
                  <a:lnTo>
                    <a:pt x="195" y="719"/>
                  </a:lnTo>
                  <a:lnTo>
                    <a:pt x="192" y="721"/>
                  </a:lnTo>
                  <a:lnTo>
                    <a:pt x="192" y="721"/>
                  </a:lnTo>
                  <a:lnTo>
                    <a:pt x="191" y="722"/>
                  </a:lnTo>
                  <a:lnTo>
                    <a:pt x="189" y="725"/>
                  </a:lnTo>
                  <a:lnTo>
                    <a:pt x="189" y="727"/>
                  </a:lnTo>
                  <a:lnTo>
                    <a:pt x="189" y="728"/>
                  </a:lnTo>
                  <a:lnTo>
                    <a:pt x="185" y="731"/>
                  </a:lnTo>
                  <a:lnTo>
                    <a:pt x="186" y="733"/>
                  </a:lnTo>
                  <a:lnTo>
                    <a:pt x="185" y="736"/>
                  </a:lnTo>
                  <a:lnTo>
                    <a:pt x="183" y="741"/>
                  </a:lnTo>
                  <a:lnTo>
                    <a:pt x="182" y="745"/>
                  </a:lnTo>
                  <a:lnTo>
                    <a:pt x="182" y="747"/>
                  </a:lnTo>
                  <a:lnTo>
                    <a:pt x="182" y="747"/>
                  </a:lnTo>
                  <a:lnTo>
                    <a:pt x="183" y="748"/>
                  </a:lnTo>
                  <a:lnTo>
                    <a:pt x="183" y="748"/>
                  </a:lnTo>
                  <a:lnTo>
                    <a:pt x="182" y="753"/>
                  </a:lnTo>
                  <a:lnTo>
                    <a:pt x="182" y="756"/>
                  </a:lnTo>
                  <a:lnTo>
                    <a:pt x="182" y="759"/>
                  </a:lnTo>
                  <a:lnTo>
                    <a:pt x="182" y="762"/>
                  </a:lnTo>
                  <a:lnTo>
                    <a:pt x="182" y="762"/>
                  </a:lnTo>
                  <a:lnTo>
                    <a:pt x="179" y="767"/>
                  </a:lnTo>
                  <a:lnTo>
                    <a:pt x="177" y="768"/>
                  </a:lnTo>
                  <a:lnTo>
                    <a:pt x="175" y="770"/>
                  </a:lnTo>
                  <a:lnTo>
                    <a:pt x="177" y="773"/>
                  </a:lnTo>
                  <a:lnTo>
                    <a:pt x="177" y="779"/>
                  </a:lnTo>
                  <a:lnTo>
                    <a:pt x="179" y="781"/>
                  </a:lnTo>
                  <a:lnTo>
                    <a:pt x="179" y="781"/>
                  </a:lnTo>
                  <a:lnTo>
                    <a:pt x="182" y="781"/>
                  </a:lnTo>
                  <a:lnTo>
                    <a:pt x="182" y="781"/>
                  </a:lnTo>
                  <a:lnTo>
                    <a:pt x="185" y="779"/>
                  </a:lnTo>
                  <a:lnTo>
                    <a:pt x="185" y="779"/>
                  </a:lnTo>
                  <a:lnTo>
                    <a:pt x="186" y="779"/>
                  </a:lnTo>
                  <a:lnTo>
                    <a:pt x="188" y="781"/>
                  </a:lnTo>
                  <a:lnTo>
                    <a:pt x="188" y="781"/>
                  </a:lnTo>
                  <a:lnTo>
                    <a:pt x="189" y="781"/>
                  </a:lnTo>
                  <a:lnTo>
                    <a:pt x="191" y="779"/>
                  </a:lnTo>
                  <a:lnTo>
                    <a:pt x="192" y="778"/>
                  </a:lnTo>
                  <a:lnTo>
                    <a:pt x="194" y="776"/>
                  </a:lnTo>
                  <a:lnTo>
                    <a:pt x="197" y="773"/>
                  </a:lnTo>
                  <a:lnTo>
                    <a:pt x="197" y="771"/>
                  </a:lnTo>
                  <a:lnTo>
                    <a:pt x="195" y="770"/>
                  </a:lnTo>
                  <a:lnTo>
                    <a:pt x="195" y="770"/>
                  </a:lnTo>
                  <a:lnTo>
                    <a:pt x="195" y="767"/>
                  </a:lnTo>
                  <a:lnTo>
                    <a:pt x="194" y="765"/>
                  </a:lnTo>
                  <a:lnTo>
                    <a:pt x="194" y="765"/>
                  </a:lnTo>
                  <a:lnTo>
                    <a:pt x="192" y="765"/>
                  </a:lnTo>
                  <a:lnTo>
                    <a:pt x="192" y="765"/>
                  </a:lnTo>
                  <a:lnTo>
                    <a:pt x="192" y="764"/>
                  </a:lnTo>
                  <a:lnTo>
                    <a:pt x="194" y="764"/>
                  </a:lnTo>
                  <a:lnTo>
                    <a:pt x="195" y="761"/>
                  </a:lnTo>
                  <a:lnTo>
                    <a:pt x="197" y="757"/>
                  </a:lnTo>
                  <a:lnTo>
                    <a:pt x="197" y="756"/>
                  </a:lnTo>
                  <a:lnTo>
                    <a:pt x="197" y="757"/>
                  </a:lnTo>
                  <a:lnTo>
                    <a:pt x="197" y="756"/>
                  </a:lnTo>
                  <a:lnTo>
                    <a:pt x="197" y="756"/>
                  </a:lnTo>
                  <a:lnTo>
                    <a:pt x="197" y="753"/>
                  </a:lnTo>
                  <a:lnTo>
                    <a:pt x="197" y="753"/>
                  </a:lnTo>
                  <a:lnTo>
                    <a:pt x="199" y="751"/>
                  </a:lnTo>
                  <a:lnTo>
                    <a:pt x="200" y="748"/>
                  </a:lnTo>
                  <a:lnTo>
                    <a:pt x="199" y="745"/>
                  </a:lnTo>
                  <a:lnTo>
                    <a:pt x="200" y="745"/>
                  </a:lnTo>
                  <a:lnTo>
                    <a:pt x="202" y="744"/>
                  </a:lnTo>
                  <a:lnTo>
                    <a:pt x="202" y="742"/>
                  </a:lnTo>
                  <a:lnTo>
                    <a:pt x="202" y="741"/>
                  </a:lnTo>
                  <a:lnTo>
                    <a:pt x="200" y="741"/>
                  </a:lnTo>
                  <a:lnTo>
                    <a:pt x="200" y="741"/>
                  </a:lnTo>
                  <a:lnTo>
                    <a:pt x="200" y="737"/>
                  </a:lnTo>
                  <a:lnTo>
                    <a:pt x="200" y="737"/>
                  </a:lnTo>
                  <a:lnTo>
                    <a:pt x="199" y="736"/>
                  </a:lnTo>
                  <a:lnTo>
                    <a:pt x="199" y="736"/>
                  </a:lnTo>
                  <a:lnTo>
                    <a:pt x="200" y="734"/>
                  </a:lnTo>
                  <a:lnTo>
                    <a:pt x="200" y="733"/>
                  </a:lnTo>
                  <a:lnTo>
                    <a:pt x="202" y="731"/>
                  </a:lnTo>
                  <a:lnTo>
                    <a:pt x="202" y="730"/>
                  </a:lnTo>
                  <a:lnTo>
                    <a:pt x="202" y="728"/>
                  </a:lnTo>
                  <a:lnTo>
                    <a:pt x="202" y="727"/>
                  </a:lnTo>
                  <a:lnTo>
                    <a:pt x="203" y="725"/>
                  </a:lnTo>
                  <a:lnTo>
                    <a:pt x="206" y="722"/>
                  </a:lnTo>
                  <a:lnTo>
                    <a:pt x="208" y="721"/>
                  </a:lnTo>
                  <a:lnTo>
                    <a:pt x="211" y="721"/>
                  </a:lnTo>
                  <a:lnTo>
                    <a:pt x="211" y="719"/>
                  </a:lnTo>
                  <a:lnTo>
                    <a:pt x="212" y="717"/>
                  </a:lnTo>
                  <a:lnTo>
                    <a:pt x="211" y="714"/>
                  </a:lnTo>
                  <a:lnTo>
                    <a:pt x="209" y="711"/>
                  </a:lnTo>
                  <a:lnTo>
                    <a:pt x="205" y="707"/>
                  </a:lnTo>
                  <a:lnTo>
                    <a:pt x="205" y="707"/>
                  </a:lnTo>
                  <a:lnTo>
                    <a:pt x="206" y="705"/>
                  </a:lnTo>
                  <a:lnTo>
                    <a:pt x="206" y="705"/>
                  </a:lnTo>
                  <a:lnTo>
                    <a:pt x="205" y="705"/>
                  </a:lnTo>
                  <a:lnTo>
                    <a:pt x="205" y="705"/>
                  </a:lnTo>
                  <a:lnTo>
                    <a:pt x="205" y="704"/>
                  </a:lnTo>
                  <a:lnTo>
                    <a:pt x="206" y="704"/>
                  </a:lnTo>
                  <a:lnTo>
                    <a:pt x="206" y="704"/>
                  </a:lnTo>
                  <a:lnTo>
                    <a:pt x="205" y="702"/>
                  </a:lnTo>
                  <a:lnTo>
                    <a:pt x="205" y="701"/>
                  </a:lnTo>
                  <a:lnTo>
                    <a:pt x="205" y="699"/>
                  </a:lnTo>
                  <a:lnTo>
                    <a:pt x="205" y="697"/>
                  </a:lnTo>
                  <a:lnTo>
                    <a:pt x="203" y="696"/>
                  </a:lnTo>
                  <a:lnTo>
                    <a:pt x="203" y="696"/>
                  </a:lnTo>
                  <a:lnTo>
                    <a:pt x="202" y="694"/>
                  </a:lnTo>
                  <a:lnTo>
                    <a:pt x="202" y="694"/>
                  </a:lnTo>
                  <a:lnTo>
                    <a:pt x="202" y="687"/>
                  </a:lnTo>
                  <a:lnTo>
                    <a:pt x="202" y="687"/>
                  </a:lnTo>
                  <a:lnTo>
                    <a:pt x="202" y="685"/>
                  </a:lnTo>
                  <a:lnTo>
                    <a:pt x="202" y="685"/>
                  </a:lnTo>
                  <a:lnTo>
                    <a:pt x="203" y="685"/>
                  </a:lnTo>
                  <a:lnTo>
                    <a:pt x="203" y="685"/>
                  </a:lnTo>
                  <a:lnTo>
                    <a:pt x="203" y="687"/>
                  </a:lnTo>
                  <a:lnTo>
                    <a:pt x="203" y="687"/>
                  </a:lnTo>
                  <a:lnTo>
                    <a:pt x="205" y="688"/>
                  </a:lnTo>
                  <a:lnTo>
                    <a:pt x="206" y="688"/>
                  </a:lnTo>
                  <a:lnTo>
                    <a:pt x="208" y="687"/>
                  </a:lnTo>
                  <a:lnTo>
                    <a:pt x="209" y="685"/>
                  </a:lnTo>
                  <a:lnTo>
                    <a:pt x="209" y="687"/>
                  </a:lnTo>
                  <a:lnTo>
                    <a:pt x="209" y="685"/>
                  </a:lnTo>
                  <a:lnTo>
                    <a:pt x="209" y="682"/>
                  </a:lnTo>
                  <a:lnTo>
                    <a:pt x="209" y="682"/>
                  </a:lnTo>
                  <a:lnTo>
                    <a:pt x="211" y="682"/>
                  </a:lnTo>
                  <a:lnTo>
                    <a:pt x="211" y="682"/>
                  </a:lnTo>
                  <a:lnTo>
                    <a:pt x="212" y="680"/>
                  </a:lnTo>
                  <a:lnTo>
                    <a:pt x="219" y="671"/>
                  </a:lnTo>
                  <a:lnTo>
                    <a:pt x="228" y="665"/>
                  </a:lnTo>
                  <a:lnTo>
                    <a:pt x="228" y="665"/>
                  </a:lnTo>
                  <a:lnTo>
                    <a:pt x="229" y="660"/>
                  </a:lnTo>
                  <a:lnTo>
                    <a:pt x="231" y="657"/>
                  </a:lnTo>
                  <a:lnTo>
                    <a:pt x="232" y="657"/>
                  </a:lnTo>
                  <a:lnTo>
                    <a:pt x="232" y="656"/>
                  </a:lnTo>
                  <a:lnTo>
                    <a:pt x="235" y="656"/>
                  </a:lnTo>
                  <a:lnTo>
                    <a:pt x="237" y="656"/>
                  </a:lnTo>
                  <a:lnTo>
                    <a:pt x="240" y="653"/>
                  </a:lnTo>
                  <a:lnTo>
                    <a:pt x="242" y="651"/>
                  </a:lnTo>
                  <a:lnTo>
                    <a:pt x="240" y="656"/>
                  </a:lnTo>
                  <a:lnTo>
                    <a:pt x="237" y="657"/>
                  </a:lnTo>
                  <a:lnTo>
                    <a:pt x="234" y="659"/>
                  </a:lnTo>
                  <a:lnTo>
                    <a:pt x="232" y="660"/>
                  </a:lnTo>
                  <a:lnTo>
                    <a:pt x="231" y="662"/>
                  </a:lnTo>
                  <a:lnTo>
                    <a:pt x="228" y="668"/>
                  </a:lnTo>
                  <a:lnTo>
                    <a:pt x="228" y="668"/>
                  </a:lnTo>
                  <a:lnTo>
                    <a:pt x="225" y="671"/>
                  </a:lnTo>
                  <a:lnTo>
                    <a:pt x="220" y="673"/>
                  </a:lnTo>
                  <a:lnTo>
                    <a:pt x="212" y="687"/>
                  </a:lnTo>
                  <a:lnTo>
                    <a:pt x="211" y="690"/>
                  </a:lnTo>
                  <a:lnTo>
                    <a:pt x="211" y="693"/>
                  </a:lnTo>
                  <a:lnTo>
                    <a:pt x="211" y="694"/>
                  </a:lnTo>
                  <a:lnTo>
                    <a:pt x="211" y="696"/>
                  </a:lnTo>
                  <a:lnTo>
                    <a:pt x="211" y="697"/>
                  </a:lnTo>
                  <a:lnTo>
                    <a:pt x="211" y="697"/>
                  </a:lnTo>
                  <a:lnTo>
                    <a:pt x="211" y="701"/>
                  </a:lnTo>
                  <a:lnTo>
                    <a:pt x="211" y="702"/>
                  </a:lnTo>
                  <a:lnTo>
                    <a:pt x="211" y="702"/>
                  </a:lnTo>
                  <a:lnTo>
                    <a:pt x="211" y="704"/>
                  </a:lnTo>
                  <a:lnTo>
                    <a:pt x="211" y="704"/>
                  </a:lnTo>
                  <a:lnTo>
                    <a:pt x="212" y="704"/>
                  </a:lnTo>
                  <a:lnTo>
                    <a:pt x="212" y="707"/>
                  </a:lnTo>
                  <a:lnTo>
                    <a:pt x="214" y="708"/>
                  </a:lnTo>
                  <a:lnTo>
                    <a:pt x="215" y="710"/>
                  </a:lnTo>
                  <a:lnTo>
                    <a:pt x="219" y="711"/>
                  </a:lnTo>
                  <a:lnTo>
                    <a:pt x="220" y="711"/>
                  </a:lnTo>
                  <a:lnTo>
                    <a:pt x="220" y="708"/>
                  </a:lnTo>
                  <a:lnTo>
                    <a:pt x="219" y="707"/>
                  </a:lnTo>
                  <a:lnTo>
                    <a:pt x="217" y="704"/>
                  </a:lnTo>
                  <a:lnTo>
                    <a:pt x="220" y="699"/>
                  </a:lnTo>
                  <a:lnTo>
                    <a:pt x="220" y="699"/>
                  </a:lnTo>
                  <a:lnTo>
                    <a:pt x="220" y="697"/>
                  </a:lnTo>
                  <a:lnTo>
                    <a:pt x="220" y="696"/>
                  </a:lnTo>
                  <a:lnTo>
                    <a:pt x="222" y="694"/>
                  </a:lnTo>
                  <a:lnTo>
                    <a:pt x="222" y="693"/>
                  </a:lnTo>
                  <a:lnTo>
                    <a:pt x="222" y="696"/>
                  </a:lnTo>
                  <a:lnTo>
                    <a:pt x="223" y="697"/>
                  </a:lnTo>
                  <a:lnTo>
                    <a:pt x="228" y="701"/>
                  </a:lnTo>
                  <a:lnTo>
                    <a:pt x="229" y="702"/>
                  </a:lnTo>
                  <a:lnTo>
                    <a:pt x="229" y="701"/>
                  </a:lnTo>
                  <a:lnTo>
                    <a:pt x="229" y="697"/>
                  </a:lnTo>
                  <a:lnTo>
                    <a:pt x="226" y="690"/>
                  </a:lnTo>
                  <a:lnTo>
                    <a:pt x="225" y="688"/>
                  </a:lnTo>
                  <a:lnTo>
                    <a:pt x="226" y="687"/>
                  </a:lnTo>
                  <a:lnTo>
                    <a:pt x="226" y="688"/>
                  </a:lnTo>
                  <a:lnTo>
                    <a:pt x="228" y="690"/>
                  </a:lnTo>
                  <a:lnTo>
                    <a:pt x="231" y="694"/>
                  </a:lnTo>
                  <a:lnTo>
                    <a:pt x="231" y="697"/>
                  </a:lnTo>
                  <a:lnTo>
                    <a:pt x="231" y="701"/>
                  </a:lnTo>
                  <a:lnTo>
                    <a:pt x="232" y="704"/>
                  </a:lnTo>
                  <a:lnTo>
                    <a:pt x="234" y="705"/>
                  </a:lnTo>
                  <a:lnTo>
                    <a:pt x="235" y="707"/>
                  </a:lnTo>
                  <a:lnTo>
                    <a:pt x="237" y="705"/>
                  </a:lnTo>
                  <a:lnTo>
                    <a:pt x="237" y="705"/>
                  </a:lnTo>
                  <a:lnTo>
                    <a:pt x="239" y="704"/>
                  </a:lnTo>
                  <a:lnTo>
                    <a:pt x="239" y="702"/>
                  </a:lnTo>
                  <a:lnTo>
                    <a:pt x="239" y="701"/>
                  </a:lnTo>
                  <a:lnTo>
                    <a:pt x="239" y="699"/>
                  </a:lnTo>
                  <a:lnTo>
                    <a:pt x="240" y="697"/>
                  </a:lnTo>
                  <a:lnTo>
                    <a:pt x="240" y="697"/>
                  </a:lnTo>
                  <a:lnTo>
                    <a:pt x="242" y="696"/>
                  </a:lnTo>
                  <a:lnTo>
                    <a:pt x="242" y="694"/>
                  </a:lnTo>
                  <a:lnTo>
                    <a:pt x="242" y="693"/>
                  </a:lnTo>
                  <a:lnTo>
                    <a:pt x="240" y="691"/>
                  </a:lnTo>
                  <a:lnTo>
                    <a:pt x="240" y="690"/>
                  </a:lnTo>
                  <a:lnTo>
                    <a:pt x="239" y="690"/>
                  </a:lnTo>
                  <a:lnTo>
                    <a:pt x="239" y="690"/>
                  </a:lnTo>
                  <a:lnTo>
                    <a:pt x="240" y="690"/>
                  </a:lnTo>
                  <a:lnTo>
                    <a:pt x="242" y="690"/>
                  </a:lnTo>
                  <a:lnTo>
                    <a:pt x="242" y="691"/>
                  </a:lnTo>
                  <a:lnTo>
                    <a:pt x="243" y="690"/>
                  </a:lnTo>
                  <a:lnTo>
                    <a:pt x="243" y="688"/>
                  </a:lnTo>
                  <a:lnTo>
                    <a:pt x="243" y="687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43" y="680"/>
                  </a:lnTo>
                  <a:lnTo>
                    <a:pt x="243" y="677"/>
                  </a:lnTo>
                  <a:lnTo>
                    <a:pt x="243" y="673"/>
                  </a:lnTo>
                  <a:lnTo>
                    <a:pt x="242" y="668"/>
                  </a:lnTo>
                  <a:lnTo>
                    <a:pt x="242" y="667"/>
                  </a:lnTo>
                  <a:lnTo>
                    <a:pt x="242" y="665"/>
                  </a:lnTo>
                  <a:lnTo>
                    <a:pt x="243" y="665"/>
                  </a:lnTo>
                  <a:lnTo>
                    <a:pt x="245" y="667"/>
                  </a:lnTo>
                  <a:lnTo>
                    <a:pt x="245" y="668"/>
                  </a:lnTo>
                  <a:lnTo>
                    <a:pt x="245" y="673"/>
                  </a:lnTo>
                  <a:lnTo>
                    <a:pt x="245" y="674"/>
                  </a:lnTo>
                  <a:lnTo>
                    <a:pt x="246" y="674"/>
                  </a:lnTo>
                  <a:lnTo>
                    <a:pt x="248" y="673"/>
                  </a:lnTo>
                  <a:lnTo>
                    <a:pt x="252" y="664"/>
                  </a:lnTo>
                  <a:lnTo>
                    <a:pt x="252" y="662"/>
                  </a:lnTo>
                  <a:lnTo>
                    <a:pt x="254" y="660"/>
                  </a:lnTo>
                  <a:lnTo>
                    <a:pt x="254" y="662"/>
                  </a:lnTo>
                  <a:lnTo>
                    <a:pt x="254" y="664"/>
                  </a:lnTo>
                  <a:lnTo>
                    <a:pt x="248" y="673"/>
                  </a:lnTo>
                  <a:lnTo>
                    <a:pt x="245" y="680"/>
                  </a:lnTo>
                  <a:lnTo>
                    <a:pt x="245" y="680"/>
                  </a:lnTo>
                  <a:lnTo>
                    <a:pt x="245" y="687"/>
                  </a:lnTo>
                  <a:lnTo>
                    <a:pt x="246" y="688"/>
                  </a:lnTo>
                  <a:lnTo>
                    <a:pt x="246" y="690"/>
                  </a:lnTo>
                  <a:lnTo>
                    <a:pt x="248" y="691"/>
                  </a:lnTo>
                  <a:lnTo>
                    <a:pt x="249" y="691"/>
                  </a:lnTo>
                  <a:lnTo>
                    <a:pt x="251" y="691"/>
                  </a:lnTo>
                  <a:lnTo>
                    <a:pt x="252" y="690"/>
                  </a:lnTo>
                  <a:lnTo>
                    <a:pt x="251" y="687"/>
                  </a:lnTo>
                  <a:lnTo>
                    <a:pt x="248" y="682"/>
                  </a:lnTo>
                  <a:lnTo>
                    <a:pt x="246" y="680"/>
                  </a:lnTo>
                  <a:lnTo>
                    <a:pt x="246" y="679"/>
                  </a:lnTo>
                  <a:lnTo>
                    <a:pt x="248" y="677"/>
                  </a:lnTo>
                  <a:lnTo>
                    <a:pt x="248" y="679"/>
                  </a:lnTo>
                  <a:lnTo>
                    <a:pt x="248" y="679"/>
                  </a:lnTo>
                  <a:lnTo>
                    <a:pt x="249" y="684"/>
                  </a:lnTo>
                  <a:lnTo>
                    <a:pt x="251" y="685"/>
                  </a:lnTo>
                  <a:lnTo>
                    <a:pt x="251" y="687"/>
                  </a:lnTo>
                  <a:lnTo>
                    <a:pt x="252" y="688"/>
                  </a:lnTo>
                  <a:lnTo>
                    <a:pt x="256" y="688"/>
                  </a:lnTo>
                  <a:lnTo>
                    <a:pt x="260" y="694"/>
                  </a:lnTo>
                  <a:lnTo>
                    <a:pt x="263" y="696"/>
                  </a:lnTo>
                  <a:lnTo>
                    <a:pt x="266" y="696"/>
                  </a:lnTo>
                  <a:lnTo>
                    <a:pt x="274" y="697"/>
                  </a:lnTo>
                  <a:lnTo>
                    <a:pt x="272" y="699"/>
                  </a:lnTo>
                  <a:lnTo>
                    <a:pt x="260" y="697"/>
                  </a:lnTo>
                  <a:lnTo>
                    <a:pt x="259" y="696"/>
                  </a:lnTo>
                  <a:lnTo>
                    <a:pt x="257" y="697"/>
                  </a:lnTo>
                  <a:lnTo>
                    <a:pt x="256" y="696"/>
                  </a:lnTo>
                  <a:lnTo>
                    <a:pt x="251" y="694"/>
                  </a:lnTo>
                  <a:lnTo>
                    <a:pt x="251" y="694"/>
                  </a:lnTo>
                  <a:lnTo>
                    <a:pt x="249" y="694"/>
                  </a:lnTo>
                  <a:lnTo>
                    <a:pt x="246" y="696"/>
                  </a:lnTo>
                  <a:lnTo>
                    <a:pt x="245" y="697"/>
                  </a:lnTo>
                  <a:lnTo>
                    <a:pt x="243" y="699"/>
                  </a:lnTo>
                  <a:lnTo>
                    <a:pt x="243" y="704"/>
                  </a:lnTo>
                  <a:lnTo>
                    <a:pt x="243" y="707"/>
                  </a:lnTo>
                  <a:lnTo>
                    <a:pt x="243" y="707"/>
                  </a:lnTo>
                  <a:lnTo>
                    <a:pt x="245" y="713"/>
                  </a:lnTo>
                  <a:lnTo>
                    <a:pt x="245" y="714"/>
                  </a:lnTo>
                  <a:lnTo>
                    <a:pt x="245" y="714"/>
                  </a:lnTo>
                  <a:lnTo>
                    <a:pt x="245" y="716"/>
                  </a:lnTo>
                  <a:lnTo>
                    <a:pt x="246" y="721"/>
                  </a:lnTo>
                  <a:lnTo>
                    <a:pt x="245" y="724"/>
                  </a:lnTo>
                  <a:lnTo>
                    <a:pt x="242" y="727"/>
                  </a:lnTo>
                  <a:lnTo>
                    <a:pt x="243" y="730"/>
                  </a:lnTo>
                  <a:lnTo>
                    <a:pt x="245" y="731"/>
                  </a:lnTo>
                  <a:lnTo>
                    <a:pt x="249" y="734"/>
                  </a:lnTo>
                  <a:lnTo>
                    <a:pt x="249" y="736"/>
                  </a:lnTo>
                  <a:lnTo>
                    <a:pt x="249" y="736"/>
                  </a:lnTo>
                  <a:lnTo>
                    <a:pt x="249" y="737"/>
                  </a:lnTo>
                  <a:lnTo>
                    <a:pt x="252" y="737"/>
                  </a:lnTo>
                  <a:lnTo>
                    <a:pt x="256" y="739"/>
                  </a:lnTo>
                  <a:lnTo>
                    <a:pt x="259" y="741"/>
                  </a:lnTo>
                  <a:lnTo>
                    <a:pt x="260" y="744"/>
                  </a:lnTo>
                  <a:lnTo>
                    <a:pt x="260" y="747"/>
                  </a:lnTo>
                  <a:lnTo>
                    <a:pt x="260" y="747"/>
                  </a:lnTo>
                  <a:lnTo>
                    <a:pt x="259" y="748"/>
                  </a:lnTo>
                  <a:lnTo>
                    <a:pt x="262" y="750"/>
                  </a:lnTo>
                  <a:lnTo>
                    <a:pt x="263" y="751"/>
                  </a:lnTo>
                  <a:lnTo>
                    <a:pt x="263" y="756"/>
                  </a:lnTo>
                  <a:lnTo>
                    <a:pt x="263" y="759"/>
                  </a:lnTo>
                  <a:lnTo>
                    <a:pt x="262" y="762"/>
                  </a:lnTo>
                  <a:lnTo>
                    <a:pt x="257" y="764"/>
                  </a:lnTo>
                  <a:lnTo>
                    <a:pt x="254" y="765"/>
                  </a:lnTo>
                  <a:lnTo>
                    <a:pt x="254" y="767"/>
                  </a:lnTo>
                  <a:lnTo>
                    <a:pt x="252" y="770"/>
                  </a:lnTo>
                  <a:lnTo>
                    <a:pt x="252" y="771"/>
                  </a:lnTo>
                  <a:lnTo>
                    <a:pt x="252" y="773"/>
                  </a:lnTo>
                  <a:lnTo>
                    <a:pt x="251" y="773"/>
                  </a:lnTo>
                  <a:lnTo>
                    <a:pt x="248" y="776"/>
                  </a:lnTo>
                  <a:lnTo>
                    <a:pt x="248" y="778"/>
                  </a:lnTo>
                  <a:lnTo>
                    <a:pt x="248" y="779"/>
                  </a:lnTo>
                  <a:lnTo>
                    <a:pt x="248" y="782"/>
                  </a:lnTo>
                  <a:lnTo>
                    <a:pt x="248" y="782"/>
                  </a:lnTo>
                  <a:lnTo>
                    <a:pt x="248" y="784"/>
                  </a:lnTo>
                  <a:lnTo>
                    <a:pt x="245" y="788"/>
                  </a:lnTo>
                  <a:lnTo>
                    <a:pt x="245" y="790"/>
                  </a:lnTo>
                  <a:lnTo>
                    <a:pt x="245" y="790"/>
                  </a:lnTo>
                  <a:lnTo>
                    <a:pt x="245" y="791"/>
                  </a:lnTo>
                  <a:lnTo>
                    <a:pt x="245" y="791"/>
                  </a:lnTo>
                  <a:lnTo>
                    <a:pt x="245" y="791"/>
                  </a:lnTo>
                  <a:lnTo>
                    <a:pt x="239" y="798"/>
                  </a:lnTo>
                  <a:lnTo>
                    <a:pt x="235" y="801"/>
                  </a:lnTo>
                  <a:lnTo>
                    <a:pt x="235" y="802"/>
                  </a:lnTo>
                  <a:lnTo>
                    <a:pt x="234" y="804"/>
                  </a:lnTo>
                  <a:lnTo>
                    <a:pt x="234" y="807"/>
                  </a:lnTo>
                  <a:lnTo>
                    <a:pt x="234" y="808"/>
                  </a:lnTo>
                  <a:lnTo>
                    <a:pt x="232" y="811"/>
                  </a:lnTo>
                  <a:lnTo>
                    <a:pt x="232" y="813"/>
                  </a:lnTo>
                  <a:lnTo>
                    <a:pt x="232" y="813"/>
                  </a:lnTo>
                  <a:lnTo>
                    <a:pt x="231" y="816"/>
                  </a:lnTo>
                  <a:lnTo>
                    <a:pt x="232" y="818"/>
                  </a:lnTo>
                  <a:lnTo>
                    <a:pt x="232" y="821"/>
                  </a:lnTo>
                  <a:lnTo>
                    <a:pt x="232" y="821"/>
                  </a:lnTo>
                  <a:lnTo>
                    <a:pt x="232" y="822"/>
                  </a:lnTo>
                  <a:lnTo>
                    <a:pt x="234" y="822"/>
                  </a:lnTo>
                  <a:lnTo>
                    <a:pt x="235" y="828"/>
                  </a:lnTo>
                  <a:lnTo>
                    <a:pt x="235" y="830"/>
                  </a:lnTo>
                  <a:lnTo>
                    <a:pt x="235" y="830"/>
                  </a:lnTo>
                  <a:lnTo>
                    <a:pt x="235" y="830"/>
                  </a:lnTo>
                  <a:lnTo>
                    <a:pt x="234" y="831"/>
                  </a:lnTo>
                  <a:lnTo>
                    <a:pt x="232" y="831"/>
                  </a:lnTo>
                  <a:lnTo>
                    <a:pt x="232" y="830"/>
                  </a:lnTo>
                  <a:lnTo>
                    <a:pt x="231" y="828"/>
                  </a:lnTo>
                  <a:lnTo>
                    <a:pt x="231" y="827"/>
                  </a:lnTo>
                  <a:lnTo>
                    <a:pt x="231" y="824"/>
                  </a:lnTo>
                  <a:lnTo>
                    <a:pt x="231" y="824"/>
                  </a:lnTo>
                  <a:lnTo>
                    <a:pt x="231" y="822"/>
                  </a:lnTo>
                  <a:lnTo>
                    <a:pt x="229" y="821"/>
                  </a:lnTo>
                  <a:lnTo>
                    <a:pt x="228" y="819"/>
                  </a:lnTo>
                  <a:lnTo>
                    <a:pt x="228" y="818"/>
                  </a:lnTo>
                  <a:lnTo>
                    <a:pt x="228" y="816"/>
                  </a:lnTo>
                  <a:lnTo>
                    <a:pt x="226" y="816"/>
                  </a:lnTo>
                  <a:lnTo>
                    <a:pt x="226" y="818"/>
                  </a:lnTo>
                  <a:lnTo>
                    <a:pt x="226" y="818"/>
                  </a:lnTo>
                  <a:lnTo>
                    <a:pt x="225" y="818"/>
                  </a:lnTo>
                  <a:lnTo>
                    <a:pt x="223" y="818"/>
                  </a:lnTo>
                  <a:lnTo>
                    <a:pt x="223" y="819"/>
                  </a:lnTo>
                  <a:lnTo>
                    <a:pt x="222" y="821"/>
                  </a:lnTo>
                  <a:lnTo>
                    <a:pt x="222" y="825"/>
                  </a:lnTo>
                  <a:lnTo>
                    <a:pt x="222" y="831"/>
                  </a:lnTo>
                  <a:lnTo>
                    <a:pt x="223" y="836"/>
                  </a:lnTo>
                  <a:lnTo>
                    <a:pt x="226" y="839"/>
                  </a:lnTo>
                  <a:lnTo>
                    <a:pt x="232" y="848"/>
                  </a:lnTo>
                  <a:lnTo>
                    <a:pt x="234" y="848"/>
                  </a:lnTo>
                  <a:lnTo>
                    <a:pt x="235" y="850"/>
                  </a:lnTo>
                  <a:lnTo>
                    <a:pt x="235" y="851"/>
                  </a:lnTo>
                  <a:lnTo>
                    <a:pt x="235" y="853"/>
                  </a:lnTo>
                  <a:lnTo>
                    <a:pt x="235" y="854"/>
                  </a:lnTo>
                  <a:lnTo>
                    <a:pt x="237" y="854"/>
                  </a:lnTo>
                  <a:lnTo>
                    <a:pt x="237" y="854"/>
                  </a:lnTo>
                  <a:lnTo>
                    <a:pt x="239" y="854"/>
                  </a:lnTo>
                  <a:lnTo>
                    <a:pt x="239" y="856"/>
                  </a:lnTo>
                  <a:lnTo>
                    <a:pt x="239" y="856"/>
                  </a:lnTo>
                  <a:lnTo>
                    <a:pt x="239" y="858"/>
                  </a:lnTo>
                  <a:lnTo>
                    <a:pt x="239" y="858"/>
                  </a:lnTo>
                  <a:lnTo>
                    <a:pt x="239" y="859"/>
                  </a:lnTo>
                  <a:lnTo>
                    <a:pt x="239" y="862"/>
                  </a:lnTo>
                  <a:lnTo>
                    <a:pt x="239" y="864"/>
                  </a:lnTo>
                  <a:lnTo>
                    <a:pt x="240" y="865"/>
                  </a:lnTo>
                  <a:lnTo>
                    <a:pt x="242" y="865"/>
                  </a:lnTo>
                  <a:lnTo>
                    <a:pt x="245" y="867"/>
                  </a:lnTo>
                  <a:lnTo>
                    <a:pt x="246" y="867"/>
                  </a:lnTo>
                  <a:lnTo>
                    <a:pt x="245" y="865"/>
                  </a:lnTo>
                  <a:lnTo>
                    <a:pt x="245" y="864"/>
                  </a:lnTo>
                  <a:lnTo>
                    <a:pt x="245" y="864"/>
                  </a:lnTo>
                  <a:lnTo>
                    <a:pt x="245" y="861"/>
                  </a:lnTo>
                  <a:lnTo>
                    <a:pt x="245" y="859"/>
                  </a:lnTo>
                  <a:lnTo>
                    <a:pt x="243" y="858"/>
                  </a:lnTo>
                  <a:lnTo>
                    <a:pt x="242" y="854"/>
                  </a:lnTo>
                  <a:lnTo>
                    <a:pt x="242" y="851"/>
                  </a:lnTo>
                  <a:lnTo>
                    <a:pt x="240" y="850"/>
                  </a:lnTo>
                  <a:lnTo>
                    <a:pt x="240" y="850"/>
                  </a:lnTo>
                  <a:lnTo>
                    <a:pt x="239" y="848"/>
                  </a:lnTo>
                  <a:lnTo>
                    <a:pt x="239" y="847"/>
                  </a:lnTo>
                  <a:lnTo>
                    <a:pt x="239" y="845"/>
                  </a:lnTo>
                  <a:lnTo>
                    <a:pt x="239" y="845"/>
                  </a:lnTo>
                  <a:lnTo>
                    <a:pt x="239" y="844"/>
                  </a:lnTo>
                  <a:lnTo>
                    <a:pt x="239" y="844"/>
                  </a:lnTo>
                  <a:lnTo>
                    <a:pt x="240" y="842"/>
                  </a:lnTo>
                  <a:lnTo>
                    <a:pt x="242" y="841"/>
                  </a:lnTo>
                  <a:lnTo>
                    <a:pt x="242" y="839"/>
                  </a:lnTo>
                  <a:lnTo>
                    <a:pt x="245" y="838"/>
                  </a:lnTo>
                  <a:lnTo>
                    <a:pt x="246" y="838"/>
                  </a:lnTo>
                  <a:lnTo>
                    <a:pt x="249" y="838"/>
                  </a:lnTo>
                  <a:lnTo>
                    <a:pt x="251" y="838"/>
                  </a:lnTo>
                  <a:lnTo>
                    <a:pt x="252" y="841"/>
                  </a:lnTo>
                  <a:lnTo>
                    <a:pt x="254" y="842"/>
                  </a:lnTo>
                  <a:lnTo>
                    <a:pt x="257" y="844"/>
                  </a:lnTo>
                  <a:lnTo>
                    <a:pt x="265" y="848"/>
                  </a:lnTo>
                  <a:lnTo>
                    <a:pt x="268" y="851"/>
                  </a:lnTo>
                  <a:lnTo>
                    <a:pt x="272" y="858"/>
                  </a:lnTo>
                  <a:lnTo>
                    <a:pt x="272" y="859"/>
                  </a:lnTo>
                  <a:lnTo>
                    <a:pt x="276" y="858"/>
                  </a:lnTo>
                  <a:lnTo>
                    <a:pt x="276" y="859"/>
                  </a:lnTo>
                  <a:lnTo>
                    <a:pt x="279" y="861"/>
                  </a:lnTo>
                  <a:lnTo>
                    <a:pt x="280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3" y="861"/>
                  </a:lnTo>
                  <a:lnTo>
                    <a:pt x="283" y="859"/>
                  </a:lnTo>
                  <a:lnTo>
                    <a:pt x="283" y="859"/>
                  </a:lnTo>
                  <a:lnTo>
                    <a:pt x="283" y="858"/>
                  </a:lnTo>
                  <a:lnTo>
                    <a:pt x="283" y="856"/>
                  </a:lnTo>
                  <a:lnTo>
                    <a:pt x="283" y="853"/>
                  </a:lnTo>
                  <a:lnTo>
                    <a:pt x="285" y="851"/>
                  </a:lnTo>
                  <a:lnTo>
                    <a:pt x="283" y="850"/>
                  </a:lnTo>
                  <a:lnTo>
                    <a:pt x="283" y="848"/>
                  </a:lnTo>
                  <a:lnTo>
                    <a:pt x="285" y="847"/>
                  </a:lnTo>
                  <a:lnTo>
                    <a:pt x="283" y="845"/>
                  </a:lnTo>
                  <a:lnTo>
                    <a:pt x="283" y="844"/>
                  </a:lnTo>
                  <a:lnTo>
                    <a:pt x="282" y="842"/>
                  </a:lnTo>
                  <a:lnTo>
                    <a:pt x="282" y="842"/>
                  </a:lnTo>
                  <a:lnTo>
                    <a:pt x="280" y="842"/>
                  </a:lnTo>
                  <a:lnTo>
                    <a:pt x="279" y="842"/>
                  </a:lnTo>
                  <a:lnTo>
                    <a:pt x="279" y="839"/>
                  </a:lnTo>
                  <a:lnTo>
                    <a:pt x="279" y="836"/>
                  </a:lnTo>
                  <a:lnTo>
                    <a:pt x="279" y="834"/>
                  </a:lnTo>
                  <a:lnTo>
                    <a:pt x="279" y="833"/>
                  </a:lnTo>
                  <a:lnTo>
                    <a:pt x="279" y="833"/>
                  </a:lnTo>
                  <a:lnTo>
                    <a:pt x="280" y="831"/>
                  </a:lnTo>
                  <a:lnTo>
                    <a:pt x="282" y="831"/>
                  </a:lnTo>
                  <a:lnTo>
                    <a:pt x="282" y="833"/>
                  </a:lnTo>
                  <a:lnTo>
                    <a:pt x="282" y="834"/>
                  </a:lnTo>
                  <a:lnTo>
                    <a:pt x="283" y="836"/>
                  </a:lnTo>
                  <a:lnTo>
                    <a:pt x="283" y="838"/>
                  </a:lnTo>
                  <a:lnTo>
                    <a:pt x="285" y="838"/>
                  </a:lnTo>
                  <a:lnTo>
                    <a:pt x="289" y="841"/>
                  </a:lnTo>
                  <a:lnTo>
                    <a:pt x="291" y="841"/>
                  </a:lnTo>
                  <a:lnTo>
                    <a:pt x="292" y="841"/>
                  </a:lnTo>
                  <a:lnTo>
                    <a:pt x="294" y="838"/>
                  </a:lnTo>
                  <a:lnTo>
                    <a:pt x="296" y="838"/>
                  </a:lnTo>
                  <a:lnTo>
                    <a:pt x="294" y="842"/>
                  </a:lnTo>
                  <a:lnTo>
                    <a:pt x="297" y="847"/>
                  </a:lnTo>
                  <a:lnTo>
                    <a:pt x="300" y="848"/>
                  </a:lnTo>
                  <a:lnTo>
                    <a:pt x="303" y="848"/>
                  </a:lnTo>
                  <a:lnTo>
                    <a:pt x="303" y="847"/>
                  </a:lnTo>
                  <a:lnTo>
                    <a:pt x="303" y="844"/>
                  </a:lnTo>
                  <a:lnTo>
                    <a:pt x="303" y="842"/>
                  </a:lnTo>
                  <a:lnTo>
                    <a:pt x="305" y="842"/>
                  </a:lnTo>
                  <a:lnTo>
                    <a:pt x="305" y="842"/>
                  </a:lnTo>
                  <a:lnTo>
                    <a:pt x="306" y="842"/>
                  </a:lnTo>
                  <a:lnTo>
                    <a:pt x="306" y="844"/>
                  </a:lnTo>
                  <a:lnTo>
                    <a:pt x="306" y="845"/>
                  </a:lnTo>
                  <a:lnTo>
                    <a:pt x="306" y="847"/>
                  </a:lnTo>
                  <a:lnTo>
                    <a:pt x="306" y="847"/>
                  </a:lnTo>
                  <a:lnTo>
                    <a:pt x="306" y="847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48"/>
                  </a:lnTo>
                  <a:lnTo>
                    <a:pt x="306" y="850"/>
                  </a:lnTo>
                  <a:lnTo>
                    <a:pt x="309" y="850"/>
                  </a:lnTo>
                  <a:lnTo>
                    <a:pt x="313" y="850"/>
                  </a:lnTo>
                  <a:lnTo>
                    <a:pt x="319" y="845"/>
                  </a:lnTo>
                  <a:lnTo>
                    <a:pt x="322" y="844"/>
                  </a:lnTo>
                  <a:lnTo>
                    <a:pt x="323" y="842"/>
                  </a:lnTo>
                  <a:lnTo>
                    <a:pt x="320" y="839"/>
                  </a:lnTo>
                  <a:lnTo>
                    <a:pt x="322" y="839"/>
                  </a:lnTo>
                  <a:lnTo>
                    <a:pt x="322" y="839"/>
                  </a:lnTo>
                  <a:lnTo>
                    <a:pt x="322" y="839"/>
                  </a:lnTo>
                  <a:lnTo>
                    <a:pt x="322" y="838"/>
                  </a:lnTo>
                  <a:lnTo>
                    <a:pt x="323" y="836"/>
                  </a:lnTo>
                  <a:lnTo>
                    <a:pt x="323" y="834"/>
                  </a:lnTo>
                  <a:lnTo>
                    <a:pt x="323" y="834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3" y="836"/>
                  </a:lnTo>
                  <a:lnTo>
                    <a:pt x="322" y="838"/>
                  </a:lnTo>
                  <a:lnTo>
                    <a:pt x="323" y="838"/>
                  </a:lnTo>
                  <a:lnTo>
                    <a:pt x="323" y="839"/>
                  </a:lnTo>
                  <a:lnTo>
                    <a:pt x="323" y="839"/>
                  </a:lnTo>
                  <a:lnTo>
                    <a:pt x="325" y="838"/>
                  </a:lnTo>
                  <a:lnTo>
                    <a:pt x="325" y="838"/>
                  </a:lnTo>
                  <a:lnTo>
                    <a:pt x="325" y="838"/>
                  </a:lnTo>
                  <a:lnTo>
                    <a:pt x="323" y="838"/>
                  </a:lnTo>
                  <a:lnTo>
                    <a:pt x="329" y="838"/>
                  </a:lnTo>
                  <a:lnTo>
                    <a:pt x="331" y="834"/>
                  </a:lnTo>
                  <a:lnTo>
                    <a:pt x="333" y="834"/>
                  </a:lnTo>
                  <a:lnTo>
                    <a:pt x="340" y="836"/>
                  </a:lnTo>
                  <a:lnTo>
                    <a:pt x="340" y="834"/>
                  </a:lnTo>
                  <a:lnTo>
                    <a:pt x="342" y="833"/>
                  </a:lnTo>
                  <a:lnTo>
                    <a:pt x="342" y="831"/>
                  </a:lnTo>
                  <a:lnTo>
                    <a:pt x="342" y="828"/>
                  </a:lnTo>
                  <a:lnTo>
                    <a:pt x="342" y="825"/>
                  </a:lnTo>
                  <a:lnTo>
                    <a:pt x="340" y="824"/>
                  </a:lnTo>
                  <a:lnTo>
                    <a:pt x="342" y="821"/>
                  </a:lnTo>
                  <a:lnTo>
                    <a:pt x="343" y="822"/>
                  </a:lnTo>
                  <a:lnTo>
                    <a:pt x="345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2"/>
                  </a:lnTo>
                  <a:lnTo>
                    <a:pt x="346" y="821"/>
                  </a:lnTo>
                  <a:lnTo>
                    <a:pt x="346" y="821"/>
                  </a:lnTo>
                  <a:lnTo>
                    <a:pt x="348" y="821"/>
                  </a:lnTo>
                  <a:lnTo>
                    <a:pt x="349" y="822"/>
                  </a:lnTo>
                  <a:lnTo>
                    <a:pt x="351" y="822"/>
                  </a:lnTo>
                  <a:lnTo>
                    <a:pt x="374" y="824"/>
                  </a:lnTo>
                  <a:lnTo>
                    <a:pt x="380" y="822"/>
                  </a:lnTo>
                  <a:lnTo>
                    <a:pt x="380" y="822"/>
                  </a:lnTo>
                  <a:lnTo>
                    <a:pt x="380" y="822"/>
                  </a:lnTo>
                  <a:lnTo>
                    <a:pt x="383" y="824"/>
                  </a:lnTo>
                  <a:lnTo>
                    <a:pt x="383" y="824"/>
                  </a:lnTo>
                  <a:lnTo>
                    <a:pt x="382" y="824"/>
                  </a:lnTo>
                  <a:lnTo>
                    <a:pt x="380" y="824"/>
                  </a:lnTo>
                  <a:lnTo>
                    <a:pt x="379" y="825"/>
                  </a:lnTo>
                  <a:lnTo>
                    <a:pt x="377" y="825"/>
                  </a:lnTo>
                  <a:lnTo>
                    <a:pt x="377" y="825"/>
                  </a:lnTo>
                  <a:lnTo>
                    <a:pt x="383" y="825"/>
                  </a:lnTo>
                  <a:lnTo>
                    <a:pt x="382" y="827"/>
                  </a:lnTo>
                  <a:lnTo>
                    <a:pt x="376" y="828"/>
                  </a:lnTo>
                  <a:lnTo>
                    <a:pt x="374" y="828"/>
                  </a:lnTo>
                  <a:lnTo>
                    <a:pt x="371" y="827"/>
                  </a:lnTo>
                  <a:lnTo>
                    <a:pt x="371" y="827"/>
                  </a:lnTo>
                  <a:lnTo>
                    <a:pt x="369" y="827"/>
                  </a:lnTo>
                  <a:lnTo>
                    <a:pt x="369" y="825"/>
                  </a:lnTo>
                  <a:lnTo>
                    <a:pt x="368" y="825"/>
                  </a:lnTo>
                  <a:lnTo>
                    <a:pt x="363" y="827"/>
                  </a:lnTo>
                  <a:lnTo>
                    <a:pt x="363" y="828"/>
                  </a:lnTo>
                  <a:lnTo>
                    <a:pt x="360" y="830"/>
                  </a:lnTo>
                  <a:lnTo>
                    <a:pt x="365" y="831"/>
                  </a:lnTo>
                  <a:lnTo>
                    <a:pt x="365" y="833"/>
                  </a:lnTo>
                  <a:lnTo>
                    <a:pt x="362" y="834"/>
                  </a:lnTo>
                  <a:lnTo>
                    <a:pt x="362" y="834"/>
                  </a:lnTo>
                  <a:lnTo>
                    <a:pt x="360" y="834"/>
                  </a:lnTo>
                  <a:lnTo>
                    <a:pt x="359" y="833"/>
                  </a:lnTo>
                  <a:lnTo>
                    <a:pt x="359" y="833"/>
                  </a:lnTo>
                  <a:lnTo>
                    <a:pt x="357" y="833"/>
                  </a:lnTo>
                  <a:lnTo>
                    <a:pt x="356" y="834"/>
                  </a:lnTo>
                  <a:lnTo>
                    <a:pt x="354" y="839"/>
                  </a:lnTo>
                  <a:lnTo>
                    <a:pt x="351" y="845"/>
                  </a:lnTo>
                  <a:lnTo>
                    <a:pt x="353" y="848"/>
                  </a:lnTo>
                  <a:lnTo>
                    <a:pt x="351" y="850"/>
                  </a:lnTo>
                  <a:lnTo>
                    <a:pt x="351" y="853"/>
                  </a:lnTo>
                  <a:lnTo>
                    <a:pt x="349" y="854"/>
                  </a:lnTo>
                  <a:lnTo>
                    <a:pt x="348" y="854"/>
                  </a:lnTo>
                  <a:lnTo>
                    <a:pt x="346" y="854"/>
                  </a:lnTo>
                  <a:lnTo>
                    <a:pt x="346" y="856"/>
                  </a:lnTo>
                  <a:lnTo>
                    <a:pt x="346" y="858"/>
                  </a:lnTo>
                  <a:lnTo>
                    <a:pt x="345" y="861"/>
                  </a:lnTo>
                  <a:lnTo>
                    <a:pt x="342" y="865"/>
                  </a:lnTo>
                  <a:lnTo>
                    <a:pt x="340" y="876"/>
                  </a:lnTo>
                  <a:lnTo>
                    <a:pt x="339" y="881"/>
                  </a:lnTo>
                  <a:lnTo>
                    <a:pt x="339" y="881"/>
                  </a:lnTo>
                  <a:lnTo>
                    <a:pt x="337" y="882"/>
                  </a:lnTo>
                  <a:lnTo>
                    <a:pt x="337" y="882"/>
                  </a:lnTo>
                  <a:lnTo>
                    <a:pt x="337" y="884"/>
                  </a:lnTo>
                  <a:lnTo>
                    <a:pt x="339" y="885"/>
                  </a:lnTo>
                  <a:lnTo>
                    <a:pt x="339" y="885"/>
                  </a:lnTo>
                  <a:lnTo>
                    <a:pt x="340" y="887"/>
                  </a:lnTo>
                  <a:lnTo>
                    <a:pt x="348" y="896"/>
                  </a:lnTo>
                  <a:lnTo>
                    <a:pt x="349" y="898"/>
                  </a:lnTo>
                  <a:lnTo>
                    <a:pt x="351" y="904"/>
                  </a:lnTo>
                  <a:lnTo>
                    <a:pt x="353" y="904"/>
                  </a:lnTo>
                  <a:lnTo>
                    <a:pt x="354" y="904"/>
                  </a:lnTo>
                  <a:lnTo>
                    <a:pt x="354" y="905"/>
                  </a:lnTo>
                  <a:lnTo>
                    <a:pt x="354" y="907"/>
                  </a:lnTo>
                  <a:lnTo>
                    <a:pt x="354" y="908"/>
                  </a:lnTo>
                  <a:lnTo>
                    <a:pt x="354" y="910"/>
                  </a:lnTo>
                  <a:lnTo>
                    <a:pt x="354" y="910"/>
                  </a:lnTo>
                  <a:lnTo>
                    <a:pt x="354" y="913"/>
                  </a:lnTo>
                  <a:lnTo>
                    <a:pt x="356" y="915"/>
                  </a:lnTo>
                  <a:lnTo>
                    <a:pt x="357" y="918"/>
                  </a:lnTo>
                  <a:lnTo>
                    <a:pt x="360" y="922"/>
                  </a:lnTo>
                  <a:lnTo>
                    <a:pt x="362" y="924"/>
                  </a:lnTo>
                  <a:lnTo>
                    <a:pt x="363" y="922"/>
                  </a:lnTo>
                  <a:lnTo>
                    <a:pt x="365" y="922"/>
                  </a:lnTo>
                  <a:lnTo>
                    <a:pt x="366" y="922"/>
                  </a:lnTo>
                  <a:lnTo>
                    <a:pt x="366" y="922"/>
                  </a:lnTo>
                  <a:lnTo>
                    <a:pt x="366" y="919"/>
                  </a:lnTo>
                  <a:lnTo>
                    <a:pt x="366" y="916"/>
                  </a:lnTo>
                  <a:lnTo>
                    <a:pt x="368" y="915"/>
                  </a:lnTo>
                  <a:lnTo>
                    <a:pt x="369" y="915"/>
                  </a:lnTo>
                  <a:lnTo>
                    <a:pt x="368" y="918"/>
                  </a:lnTo>
                  <a:lnTo>
                    <a:pt x="369" y="921"/>
                  </a:lnTo>
                  <a:lnTo>
                    <a:pt x="368" y="925"/>
                  </a:lnTo>
                  <a:lnTo>
                    <a:pt x="366" y="925"/>
                  </a:lnTo>
                  <a:lnTo>
                    <a:pt x="366" y="927"/>
                  </a:lnTo>
                  <a:lnTo>
                    <a:pt x="366" y="927"/>
                  </a:lnTo>
                  <a:lnTo>
                    <a:pt x="366" y="930"/>
                  </a:lnTo>
                  <a:lnTo>
                    <a:pt x="366" y="931"/>
                  </a:lnTo>
                  <a:lnTo>
                    <a:pt x="366" y="933"/>
                  </a:lnTo>
                  <a:lnTo>
                    <a:pt x="366" y="935"/>
                  </a:lnTo>
                  <a:lnTo>
                    <a:pt x="368" y="935"/>
                  </a:lnTo>
                  <a:lnTo>
                    <a:pt x="369" y="935"/>
                  </a:lnTo>
                  <a:lnTo>
                    <a:pt x="369" y="935"/>
                  </a:lnTo>
                  <a:lnTo>
                    <a:pt x="371" y="936"/>
                  </a:lnTo>
                  <a:lnTo>
                    <a:pt x="374" y="939"/>
                  </a:lnTo>
                  <a:lnTo>
                    <a:pt x="374" y="938"/>
                  </a:lnTo>
                  <a:lnTo>
                    <a:pt x="373" y="936"/>
                  </a:lnTo>
                  <a:lnTo>
                    <a:pt x="374" y="935"/>
                  </a:lnTo>
                  <a:lnTo>
                    <a:pt x="376" y="935"/>
                  </a:lnTo>
                  <a:lnTo>
                    <a:pt x="376" y="933"/>
                  </a:lnTo>
                  <a:lnTo>
                    <a:pt x="377" y="930"/>
                  </a:lnTo>
                  <a:lnTo>
                    <a:pt x="380" y="927"/>
                  </a:lnTo>
                  <a:lnTo>
                    <a:pt x="380" y="927"/>
                  </a:lnTo>
                  <a:lnTo>
                    <a:pt x="380" y="925"/>
                  </a:lnTo>
                  <a:lnTo>
                    <a:pt x="380" y="924"/>
                  </a:lnTo>
                  <a:lnTo>
                    <a:pt x="380" y="921"/>
                  </a:lnTo>
                  <a:lnTo>
                    <a:pt x="380" y="919"/>
                  </a:lnTo>
                  <a:lnTo>
                    <a:pt x="382" y="919"/>
                  </a:lnTo>
                  <a:lnTo>
                    <a:pt x="382" y="919"/>
                  </a:lnTo>
                  <a:lnTo>
                    <a:pt x="383" y="921"/>
                  </a:lnTo>
                  <a:lnTo>
                    <a:pt x="383" y="922"/>
                  </a:lnTo>
                  <a:lnTo>
                    <a:pt x="383" y="924"/>
                  </a:lnTo>
                  <a:lnTo>
                    <a:pt x="383" y="925"/>
                  </a:lnTo>
                  <a:lnTo>
                    <a:pt x="385" y="927"/>
                  </a:lnTo>
                  <a:lnTo>
                    <a:pt x="385" y="928"/>
                  </a:lnTo>
                  <a:lnTo>
                    <a:pt x="390" y="928"/>
                  </a:lnTo>
                  <a:lnTo>
                    <a:pt x="390" y="927"/>
                  </a:lnTo>
                  <a:lnTo>
                    <a:pt x="391" y="925"/>
                  </a:lnTo>
                  <a:lnTo>
                    <a:pt x="391" y="924"/>
                  </a:lnTo>
                  <a:lnTo>
                    <a:pt x="393" y="922"/>
                  </a:lnTo>
                  <a:lnTo>
                    <a:pt x="396" y="921"/>
                  </a:lnTo>
                  <a:lnTo>
                    <a:pt x="397" y="919"/>
                  </a:lnTo>
                  <a:lnTo>
                    <a:pt x="399" y="918"/>
                  </a:lnTo>
                  <a:lnTo>
                    <a:pt x="399" y="916"/>
                  </a:lnTo>
                  <a:lnTo>
                    <a:pt x="399" y="916"/>
                  </a:lnTo>
                  <a:lnTo>
                    <a:pt x="399" y="919"/>
                  </a:lnTo>
                  <a:lnTo>
                    <a:pt x="399" y="921"/>
                  </a:lnTo>
                  <a:lnTo>
                    <a:pt x="397" y="922"/>
                  </a:lnTo>
                  <a:lnTo>
                    <a:pt x="396" y="924"/>
                  </a:lnTo>
                  <a:lnTo>
                    <a:pt x="396" y="924"/>
                  </a:lnTo>
                  <a:lnTo>
                    <a:pt x="397" y="927"/>
                  </a:lnTo>
                  <a:lnTo>
                    <a:pt x="399" y="930"/>
                  </a:lnTo>
                  <a:lnTo>
                    <a:pt x="399" y="931"/>
                  </a:lnTo>
                  <a:lnTo>
                    <a:pt x="399" y="935"/>
                  </a:lnTo>
                  <a:lnTo>
                    <a:pt x="397" y="936"/>
                  </a:lnTo>
                  <a:lnTo>
                    <a:pt x="394" y="938"/>
                  </a:lnTo>
                  <a:lnTo>
                    <a:pt x="394" y="939"/>
                  </a:lnTo>
                  <a:lnTo>
                    <a:pt x="393" y="941"/>
                  </a:lnTo>
                  <a:lnTo>
                    <a:pt x="391" y="942"/>
                  </a:lnTo>
                  <a:lnTo>
                    <a:pt x="391" y="942"/>
                  </a:lnTo>
                  <a:lnTo>
                    <a:pt x="391" y="944"/>
                  </a:lnTo>
                  <a:lnTo>
                    <a:pt x="391" y="944"/>
                  </a:lnTo>
                  <a:lnTo>
                    <a:pt x="391" y="947"/>
                  </a:lnTo>
                  <a:lnTo>
                    <a:pt x="393" y="947"/>
                  </a:lnTo>
                  <a:lnTo>
                    <a:pt x="394" y="947"/>
                  </a:lnTo>
                  <a:lnTo>
                    <a:pt x="396" y="947"/>
                  </a:lnTo>
                  <a:lnTo>
                    <a:pt x="397" y="945"/>
                  </a:lnTo>
                  <a:lnTo>
                    <a:pt x="397" y="948"/>
                  </a:lnTo>
                  <a:lnTo>
                    <a:pt x="394" y="950"/>
                  </a:lnTo>
                  <a:lnTo>
                    <a:pt x="394" y="952"/>
                  </a:lnTo>
                  <a:lnTo>
                    <a:pt x="394" y="952"/>
                  </a:lnTo>
                  <a:lnTo>
                    <a:pt x="394" y="953"/>
                  </a:lnTo>
                  <a:lnTo>
                    <a:pt x="393" y="953"/>
                  </a:lnTo>
                  <a:lnTo>
                    <a:pt x="393" y="955"/>
                  </a:lnTo>
                  <a:lnTo>
                    <a:pt x="393" y="955"/>
                  </a:lnTo>
                  <a:lnTo>
                    <a:pt x="393" y="955"/>
                  </a:lnTo>
                  <a:lnTo>
                    <a:pt x="391" y="953"/>
                  </a:lnTo>
                  <a:lnTo>
                    <a:pt x="390" y="953"/>
                  </a:lnTo>
                  <a:lnTo>
                    <a:pt x="383" y="956"/>
                  </a:lnTo>
                  <a:lnTo>
                    <a:pt x="382" y="958"/>
                  </a:lnTo>
                  <a:lnTo>
                    <a:pt x="380" y="959"/>
                  </a:lnTo>
                  <a:lnTo>
                    <a:pt x="380" y="962"/>
                  </a:lnTo>
                  <a:lnTo>
                    <a:pt x="380" y="973"/>
                  </a:lnTo>
                  <a:lnTo>
                    <a:pt x="380" y="976"/>
                  </a:lnTo>
                  <a:lnTo>
                    <a:pt x="383" y="979"/>
                  </a:lnTo>
                  <a:lnTo>
                    <a:pt x="385" y="981"/>
                  </a:lnTo>
                  <a:lnTo>
                    <a:pt x="391" y="981"/>
                  </a:lnTo>
                  <a:lnTo>
                    <a:pt x="391" y="982"/>
                  </a:lnTo>
                  <a:lnTo>
                    <a:pt x="388" y="984"/>
                  </a:lnTo>
                  <a:lnTo>
                    <a:pt x="388" y="985"/>
                  </a:lnTo>
                  <a:lnTo>
                    <a:pt x="386" y="987"/>
                  </a:lnTo>
                  <a:lnTo>
                    <a:pt x="383" y="992"/>
                  </a:lnTo>
                  <a:lnTo>
                    <a:pt x="377" y="999"/>
                  </a:lnTo>
                  <a:lnTo>
                    <a:pt x="377" y="1001"/>
                  </a:lnTo>
                  <a:lnTo>
                    <a:pt x="377" y="1004"/>
                  </a:lnTo>
                  <a:lnTo>
                    <a:pt x="377" y="1005"/>
                  </a:lnTo>
                  <a:lnTo>
                    <a:pt x="386" y="1024"/>
                  </a:lnTo>
                  <a:lnTo>
                    <a:pt x="388" y="1027"/>
                  </a:lnTo>
                  <a:lnTo>
                    <a:pt x="390" y="1029"/>
                  </a:lnTo>
                  <a:lnTo>
                    <a:pt x="393" y="1032"/>
                  </a:lnTo>
                  <a:lnTo>
                    <a:pt x="396" y="1033"/>
                  </a:lnTo>
                  <a:lnTo>
                    <a:pt x="399" y="1033"/>
                  </a:lnTo>
                  <a:lnTo>
                    <a:pt x="399" y="1033"/>
                  </a:lnTo>
                  <a:lnTo>
                    <a:pt x="400" y="1032"/>
                  </a:lnTo>
                  <a:lnTo>
                    <a:pt x="400" y="1030"/>
                  </a:lnTo>
                  <a:lnTo>
                    <a:pt x="402" y="1030"/>
                  </a:lnTo>
                  <a:lnTo>
                    <a:pt x="405" y="1029"/>
                  </a:lnTo>
                  <a:lnTo>
                    <a:pt x="406" y="1029"/>
                  </a:lnTo>
                  <a:lnTo>
                    <a:pt x="406" y="1030"/>
                  </a:lnTo>
                  <a:lnTo>
                    <a:pt x="405" y="1030"/>
                  </a:lnTo>
                  <a:lnTo>
                    <a:pt x="405" y="1030"/>
                  </a:lnTo>
                  <a:lnTo>
                    <a:pt x="403" y="1030"/>
                  </a:lnTo>
                  <a:lnTo>
                    <a:pt x="403" y="1030"/>
                  </a:lnTo>
                  <a:lnTo>
                    <a:pt x="403" y="1032"/>
                  </a:lnTo>
                  <a:lnTo>
                    <a:pt x="403" y="1033"/>
                  </a:lnTo>
                  <a:lnTo>
                    <a:pt x="403" y="1035"/>
                  </a:lnTo>
                  <a:lnTo>
                    <a:pt x="400" y="1035"/>
                  </a:lnTo>
                  <a:lnTo>
                    <a:pt x="400" y="1036"/>
                  </a:lnTo>
                  <a:lnTo>
                    <a:pt x="399" y="1036"/>
                  </a:lnTo>
                  <a:lnTo>
                    <a:pt x="399" y="1036"/>
                  </a:lnTo>
                  <a:lnTo>
                    <a:pt x="397" y="1035"/>
                  </a:lnTo>
                  <a:lnTo>
                    <a:pt x="396" y="1035"/>
                  </a:lnTo>
                  <a:lnTo>
                    <a:pt x="396" y="1035"/>
                  </a:lnTo>
                  <a:lnTo>
                    <a:pt x="396" y="1036"/>
                  </a:lnTo>
                  <a:lnTo>
                    <a:pt x="396" y="1036"/>
                  </a:lnTo>
                  <a:lnTo>
                    <a:pt x="396" y="1036"/>
                  </a:lnTo>
                  <a:lnTo>
                    <a:pt x="393" y="1036"/>
                  </a:lnTo>
                  <a:lnTo>
                    <a:pt x="391" y="1036"/>
                  </a:lnTo>
                  <a:lnTo>
                    <a:pt x="390" y="1035"/>
                  </a:lnTo>
                  <a:lnTo>
                    <a:pt x="388" y="1033"/>
                  </a:lnTo>
                  <a:lnTo>
                    <a:pt x="383" y="1021"/>
                  </a:lnTo>
                  <a:lnTo>
                    <a:pt x="382" y="1019"/>
                  </a:lnTo>
                  <a:lnTo>
                    <a:pt x="380" y="1019"/>
                  </a:lnTo>
                  <a:lnTo>
                    <a:pt x="377" y="1021"/>
                  </a:lnTo>
                  <a:lnTo>
                    <a:pt x="376" y="1021"/>
                  </a:lnTo>
                  <a:lnTo>
                    <a:pt x="373" y="1022"/>
                  </a:lnTo>
                  <a:lnTo>
                    <a:pt x="371" y="1022"/>
                  </a:lnTo>
                  <a:lnTo>
                    <a:pt x="371" y="1024"/>
                  </a:lnTo>
                  <a:lnTo>
                    <a:pt x="371" y="1025"/>
                  </a:lnTo>
                  <a:lnTo>
                    <a:pt x="371" y="1027"/>
                  </a:lnTo>
                  <a:lnTo>
                    <a:pt x="374" y="1032"/>
                  </a:lnTo>
                  <a:lnTo>
                    <a:pt x="376" y="1035"/>
                  </a:lnTo>
                  <a:lnTo>
                    <a:pt x="377" y="1036"/>
                  </a:lnTo>
                  <a:lnTo>
                    <a:pt x="379" y="1038"/>
                  </a:lnTo>
                  <a:lnTo>
                    <a:pt x="379" y="1042"/>
                  </a:lnTo>
                  <a:lnTo>
                    <a:pt x="377" y="1044"/>
                  </a:lnTo>
                  <a:lnTo>
                    <a:pt x="377" y="1042"/>
                  </a:lnTo>
                  <a:lnTo>
                    <a:pt x="376" y="1041"/>
                  </a:lnTo>
                  <a:lnTo>
                    <a:pt x="376" y="1041"/>
                  </a:lnTo>
                  <a:lnTo>
                    <a:pt x="365" y="1033"/>
                  </a:lnTo>
                  <a:lnTo>
                    <a:pt x="365" y="1033"/>
                  </a:lnTo>
                  <a:lnTo>
                    <a:pt x="363" y="1032"/>
                  </a:lnTo>
                  <a:lnTo>
                    <a:pt x="362" y="1030"/>
                  </a:lnTo>
                  <a:lnTo>
                    <a:pt x="360" y="1029"/>
                  </a:lnTo>
                  <a:lnTo>
                    <a:pt x="357" y="1029"/>
                  </a:lnTo>
                  <a:lnTo>
                    <a:pt x="342" y="1036"/>
                  </a:lnTo>
                  <a:lnTo>
                    <a:pt x="339" y="1036"/>
                  </a:lnTo>
                  <a:lnTo>
                    <a:pt x="331" y="1038"/>
                  </a:lnTo>
                  <a:lnTo>
                    <a:pt x="329" y="1036"/>
                  </a:lnTo>
                  <a:lnTo>
                    <a:pt x="328" y="1035"/>
                  </a:lnTo>
                  <a:lnTo>
                    <a:pt x="326" y="1033"/>
                  </a:lnTo>
                  <a:lnTo>
                    <a:pt x="325" y="1033"/>
                  </a:lnTo>
                  <a:lnTo>
                    <a:pt x="323" y="1033"/>
                  </a:lnTo>
                  <a:lnTo>
                    <a:pt x="323" y="1032"/>
                  </a:lnTo>
                  <a:lnTo>
                    <a:pt x="322" y="1032"/>
                  </a:lnTo>
                  <a:lnTo>
                    <a:pt x="320" y="1032"/>
                  </a:lnTo>
                  <a:lnTo>
                    <a:pt x="319" y="1030"/>
                  </a:lnTo>
                  <a:lnTo>
                    <a:pt x="320" y="1032"/>
                  </a:lnTo>
                  <a:lnTo>
                    <a:pt x="322" y="1035"/>
                  </a:lnTo>
                  <a:lnTo>
                    <a:pt x="322" y="1036"/>
                  </a:lnTo>
                  <a:lnTo>
                    <a:pt x="320" y="1036"/>
                  </a:lnTo>
                  <a:lnTo>
                    <a:pt x="311" y="1041"/>
                  </a:lnTo>
                  <a:lnTo>
                    <a:pt x="309" y="1042"/>
                  </a:lnTo>
                  <a:lnTo>
                    <a:pt x="308" y="1042"/>
                  </a:lnTo>
                  <a:lnTo>
                    <a:pt x="306" y="1044"/>
                  </a:lnTo>
                  <a:lnTo>
                    <a:pt x="305" y="1044"/>
                  </a:lnTo>
                  <a:lnTo>
                    <a:pt x="305" y="1044"/>
                  </a:lnTo>
                  <a:lnTo>
                    <a:pt x="303" y="1044"/>
                  </a:lnTo>
                  <a:lnTo>
                    <a:pt x="303" y="1044"/>
                  </a:lnTo>
                  <a:lnTo>
                    <a:pt x="300" y="1044"/>
                  </a:lnTo>
                  <a:lnTo>
                    <a:pt x="299" y="1044"/>
                  </a:lnTo>
                  <a:lnTo>
                    <a:pt x="297" y="1045"/>
                  </a:lnTo>
                  <a:lnTo>
                    <a:pt x="296" y="1047"/>
                  </a:lnTo>
                  <a:lnTo>
                    <a:pt x="294" y="1052"/>
                  </a:lnTo>
                  <a:lnTo>
                    <a:pt x="292" y="1052"/>
                  </a:lnTo>
                  <a:lnTo>
                    <a:pt x="291" y="1053"/>
                  </a:lnTo>
                  <a:lnTo>
                    <a:pt x="291" y="1053"/>
                  </a:lnTo>
                  <a:lnTo>
                    <a:pt x="288" y="1058"/>
                  </a:lnTo>
                  <a:lnTo>
                    <a:pt x="288" y="1058"/>
                  </a:lnTo>
                  <a:lnTo>
                    <a:pt x="286" y="1059"/>
                  </a:lnTo>
                  <a:lnTo>
                    <a:pt x="286" y="1059"/>
                  </a:lnTo>
                  <a:lnTo>
                    <a:pt x="286" y="1059"/>
                  </a:lnTo>
                  <a:lnTo>
                    <a:pt x="285" y="1058"/>
                  </a:lnTo>
                  <a:lnTo>
                    <a:pt x="285" y="1058"/>
                  </a:lnTo>
                  <a:lnTo>
                    <a:pt x="285" y="1059"/>
                  </a:lnTo>
                  <a:lnTo>
                    <a:pt x="285" y="1059"/>
                  </a:lnTo>
                  <a:lnTo>
                    <a:pt x="285" y="1065"/>
                  </a:lnTo>
                  <a:lnTo>
                    <a:pt x="283" y="1067"/>
                  </a:lnTo>
                  <a:lnTo>
                    <a:pt x="283" y="1069"/>
                  </a:lnTo>
                  <a:lnTo>
                    <a:pt x="279" y="1072"/>
                  </a:lnTo>
                  <a:lnTo>
                    <a:pt x="277" y="1075"/>
                  </a:lnTo>
                  <a:lnTo>
                    <a:pt x="271" y="1079"/>
                  </a:lnTo>
                  <a:lnTo>
                    <a:pt x="269" y="1081"/>
                  </a:lnTo>
                  <a:lnTo>
                    <a:pt x="268" y="1081"/>
                  </a:lnTo>
                  <a:lnTo>
                    <a:pt x="266" y="1081"/>
                  </a:lnTo>
                  <a:lnTo>
                    <a:pt x="265" y="1081"/>
                  </a:lnTo>
                  <a:lnTo>
                    <a:pt x="256" y="1093"/>
                  </a:lnTo>
                  <a:lnTo>
                    <a:pt x="254" y="1095"/>
                  </a:lnTo>
                  <a:lnTo>
                    <a:pt x="254" y="1096"/>
                  </a:lnTo>
                  <a:lnTo>
                    <a:pt x="254" y="1096"/>
                  </a:lnTo>
                  <a:lnTo>
                    <a:pt x="254" y="1098"/>
                  </a:lnTo>
                  <a:lnTo>
                    <a:pt x="252" y="1098"/>
                  </a:lnTo>
                  <a:lnTo>
                    <a:pt x="254" y="1099"/>
                  </a:lnTo>
                  <a:lnTo>
                    <a:pt x="256" y="1099"/>
                  </a:lnTo>
                  <a:lnTo>
                    <a:pt x="256" y="1098"/>
                  </a:lnTo>
                  <a:lnTo>
                    <a:pt x="257" y="1096"/>
                  </a:lnTo>
                  <a:lnTo>
                    <a:pt x="262" y="1098"/>
                  </a:lnTo>
                  <a:lnTo>
                    <a:pt x="263" y="1096"/>
                  </a:lnTo>
                  <a:lnTo>
                    <a:pt x="263" y="1096"/>
                  </a:lnTo>
                  <a:lnTo>
                    <a:pt x="265" y="1096"/>
                  </a:lnTo>
                  <a:lnTo>
                    <a:pt x="265" y="1095"/>
                  </a:lnTo>
                  <a:lnTo>
                    <a:pt x="266" y="1095"/>
                  </a:lnTo>
                  <a:lnTo>
                    <a:pt x="266" y="1095"/>
                  </a:lnTo>
                  <a:lnTo>
                    <a:pt x="268" y="1096"/>
                  </a:lnTo>
                  <a:lnTo>
                    <a:pt x="269" y="1098"/>
                  </a:lnTo>
                  <a:lnTo>
                    <a:pt x="271" y="1098"/>
                  </a:lnTo>
                  <a:lnTo>
                    <a:pt x="271" y="1098"/>
                  </a:lnTo>
                  <a:lnTo>
                    <a:pt x="272" y="1098"/>
                  </a:lnTo>
                  <a:lnTo>
                    <a:pt x="272" y="1098"/>
                  </a:lnTo>
                  <a:lnTo>
                    <a:pt x="274" y="1096"/>
                  </a:lnTo>
                  <a:lnTo>
                    <a:pt x="272" y="1095"/>
                  </a:lnTo>
                  <a:lnTo>
                    <a:pt x="272" y="1093"/>
                  </a:lnTo>
                  <a:lnTo>
                    <a:pt x="274" y="1093"/>
                  </a:lnTo>
                  <a:lnTo>
                    <a:pt x="274" y="1092"/>
                  </a:lnTo>
                  <a:lnTo>
                    <a:pt x="274" y="1092"/>
                  </a:lnTo>
                  <a:lnTo>
                    <a:pt x="274" y="1092"/>
                  </a:lnTo>
                  <a:lnTo>
                    <a:pt x="277" y="1089"/>
                  </a:lnTo>
                  <a:lnTo>
                    <a:pt x="279" y="1087"/>
                  </a:lnTo>
                  <a:lnTo>
                    <a:pt x="280" y="1085"/>
                  </a:lnTo>
                  <a:lnTo>
                    <a:pt x="285" y="1085"/>
                  </a:lnTo>
                  <a:lnTo>
                    <a:pt x="286" y="1085"/>
                  </a:lnTo>
                  <a:lnTo>
                    <a:pt x="288" y="1084"/>
                  </a:lnTo>
                  <a:lnTo>
                    <a:pt x="292" y="1082"/>
                  </a:lnTo>
                  <a:lnTo>
                    <a:pt x="297" y="1084"/>
                  </a:lnTo>
                  <a:lnTo>
                    <a:pt x="299" y="1082"/>
                  </a:lnTo>
                  <a:lnTo>
                    <a:pt x="302" y="1081"/>
                  </a:lnTo>
                  <a:lnTo>
                    <a:pt x="302" y="1082"/>
                  </a:lnTo>
                  <a:lnTo>
                    <a:pt x="302" y="1082"/>
                  </a:lnTo>
                  <a:lnTo>
                    <a:pt x="303" y="1082"/>
                  </a:lnTo>
                  <a:lnTo>
                    <a:pt x="305" y="1081"/>
                  </a:lnTo>
                  <a:lnTo>
                    <a:pt x="305" y="1082"/>
                  </a:lnTo>
                  <a:lnTo>
                    <a:pt x="305" y="1082"/>
                  </a:lnTo>
                  <a:lnTo>
                    <a:pt x="305" y="1082"/>
                  </a:lnTo>
                  <a:lnTo>
                    <a:pt x="300" y="1085"/>
                  </a:lnTo>
                  <a:lnTo>
                    <a:pt x="300" y="1085"/>
                  </a:lnTo>
                  <a:lnTo>
                    <a:pt x="300" y="1087"/>
                  </a:lnTo>
                  <a:lnTo>
                    <a:pt x="300" y="1089"/>
                  </a:lnTo>
                  <a:lnTo>
                    <a:pt x="300" y="1090"/>
                  </a:lnTo>
                  <a:lnTo>
                    <a:pt x="300" y="1092"/>
                  </a:lnTo>
                  <a:lnTo>
                    <a:pt x="302" y="1093"/>
                  </a:lnTo>
                  <a:lnTo>
                    <a:pt x="300" y="1095"/>
                  </a:lnTo>
                  <a:lnTo>
                    <a:pt x="299" y="1095"/>
                  </a:lnTo>
                  <a:lnTo>
                    <a:pt x="299" y="1096"/>
                  </a:lnTo>
                  <a:lnTo>
                    <a:pt x="299" y="1096"/>
                  </a:lnTo>
                  <a:lnTo>
                    <a:pt x="300" y="1099"/>
                  </a:lnTo>
                  <a:lnTo>
                    <a:pt x="306" y="1107"/>
                  </a:lnTo>
                  <a:lnTo>
                    <a:pt x="308" y="1107"/>
                  </a:lnTo>
                  <a:lnTo>
                    <a:pt x="309" y="1106"/>
                  </a:lnTo>
                  <a:lnTo>
                    <a:pt x="311" y="1106"/>
                  </a:lnTo>
                  <a:lnTo>
                    <a:pt x="309" y="1107"/>
                  </a:lnTo>
                  <a:lnTo>
                    <a:pt x="306" y="1109"/>
                  </a:lnTo>
                  <a:lnTo>
                    <a:pt x="306" y="1109"/>
                  </a:lnTo>
                  <a:lnTo>
                    <a:pt x="306" y="1109"/>
                  </a:lnTo>
                  <a:lnTo>
                    <a:pt x="305" y="1110"/>
                  </a:lnTo>
                  <a:lnTo>
                    <a:pt x="305" y="1112"/>
                  </a:lnTo>
                  <a:lnTo>
                    <a:pt x="305" y="1112"/>
                  </a:lnTo>
                  <a:lnTo>
                    <a:pt x="303" y="1113"/>
                  </a:lnTo>
                  <a:lnTo>
                    <a:pt x="302" y="1115"/>
                  </a:lnTo>
                  <a:lnTo>
                    <a:pt x="300" y="1118"/>
                  </a:lnTo>
                  <a:lnTo>
                    <a:pt x="300" y="1121"/>
                  </a:lnTo>
                  <a:lnTo>
                    <a:pt x="302" y="1122"/>
                  </a:lnTo>
                  <a:lnTo>
                    <a:pt x="305" y="1127"/>
                  </a:lnTo>
                  <a:lnTo>
                    <a:pt x="306" y="1129"/>
                  </a:lnTo>
                  <a:lnTo>
                    <a:pt x="308" y="1129"/>
                  </a:lnTo>
                  <a:lnTo>
                    <a:pt x="311" y="1127"/>
                  </a:lnTo>
                  <a:lnTo>
                    <a:pt x="314" y="1127"/>
                  </a:lnTo>
                  <a:lnTo>
                    <a:pt x="314" y="1129"/>
                  </a:lnTo>
                  <a:lnTo>
                    <a:pt x="309" y="1130"/>
                  </a:lnTo>
                  <a:lnTo>
                    <a:pt x="308" y="1132"/>
                  </a:lnTo>
                  <a:lnTo>
                    <a:pt x="308" y="1132"/>
                  </a:lnTo>
                  <a:lnTo>
                    <a:pt x="306" y="1130"/>
                  </a:lnTo>
                  <a:lnTo>
                    <a:pt x="306" y="1130"/>
                  </a:lnTo>
                  <a:lnTo>
                    <a:pt x="305" y="1132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6" y="1135"/>
                  </a:lnTo>
                  <a:lnTo>
                    <a:pt x="305" y="1138"/>
                  </a:lnTo>
                  <a:lnTo>
                    <a:pt x="303" y="1139"/>
                  </a:lnTo>
                  <a:lnTo>
                    <a:pt x="303" y="1142"/>
                  </a:lnTo>
                  <a:lnTo>
                    <a:pt x="303" y="1147"/>
                  </a:lnTo>
                  <a:lnTo>
                    <a:pt x="302" y="1150"/>
                  </a:lnTo>
                  <a:lnTo>
                    <a:pt x="300" y="1155"/>
                  </a:lnTo>
                  <a:lnTo>
                    <a:pt x="296" y="1161"/>
                  </a:lnTo>
                  <a:lnTo>
                    <a:pt x="286" y="1169"/>
                  </a:lnTo>
                  <a:lnTo>
                    <a:pt x="285" y="1169"/>
                  </a:lnTo>
                  <a:lnTo>
                    <a:pt x="283" y="1169"/>
                  </a:lnTo>
                  <a:lnTo>
                    <a:pt x="282" y="1169"/>
                  </a:lnTo>
                  <a:lnTo>
                    <a:pt x="282" y="1170"/>
                  </a:lnTo>
                  <a:lnTo>
                    <a:pt x="279" y="1173"/>
                  </a:lnTo>
                  <a:lnTo>
                    <a:pt x="277" y="1173"/>
                  </a:lnTo>
                  <a:lnTo>
                    <a:pt x="276" y="1175"/>
                  </a:lnTo>
                  <a:lnTo>
                    <a:pt x="274" y="1176"/>
                  </a:lnTo>
                  <a:lnTo>
                    <a:pt x="274" y="1176"/>
                  </a:lnTo>
                  <a:lnTo>
                    <a:pt x="272" y="1178"/>
                  </a:lnTo>
                  <a:lnTo>
                    <a:pt x="272" y="1178"/>
                  </a:lnTo>
                  <a:lnTo>
                    <a:pt x="271" y="1178"/>
                  </a:lnTo>
                  <a:lnTo>
                    <a:pt x="262" y="1178"/>
                  </a:lnTo>
                  <a:lnTo>
                    <a:pt x="260" y="1179"/>
                  </a:lnTo>
                  <a:lnTo>
                    <a:pt x="260" y="1182"/>
                  </a:lnTo>
                  <a:lnTo>
                    <a:pt x="257" y="1181"/>
                  </a:lnTo>
                  <a:lnTo>
                    <a:pt x="256" y="1181"/>
                  </a:lnTo>
                  <a:lnTo>
                    <a:pt x="256" y="1182"/>
                  </a:lnTo>
                  <a:lnTo>
                    <a:pt x="252" y="1186"/>
                  </a:lnTo>
                  <a:lnTo>
                    <a:pt x="252" y="1187"/>
                  </a:lnTo>
                  <a:lnTo>
                    <a:pt x="251" y="1187"/>
                  </a:lnTo>
                  <a:lnTo>
                    <a:pt x="248" y="1189"/>
                  </a:lnTo>
                  <a:lnTo>
                    <a:pt x="248" y="1189"/>
                  </a:lnTo>
                  <a:lnTo>
                    <a:pt x="248" y="1190"/>
                  </a:lnTo>
                  <a:lnTo>
                    <a:pt x="248" y="1192"/>
                  </a:lnTo>
                  <a:lnTo>
                    <a:pt x="248" y="1192"/>
                  </a:lnTo>
                  <a:lnTo>
                    <a:pt x="248" y="1193"/>
                  </a:lnTo>
                  <a:lnTo>
                    <a:pt x="246" y="1192"/>
                  </a:lnTo>
                  <a:lnTo>
                    <a:pt x="243" y="1192"/>
                  </a:lnTo>
                  <a:lnTo>
                    <a:pt x="242" y="1192"/>
                  </a:lnTo>
                  <a:lnTo>
                    <a:pt x="242" y="1193"/>
                  </a:lnTo>
                  <a:lnTo>
                    <a:pt x="240" y="1193"/>
                  </a:lnTo>
                  <a:lnTo>
                    <a:pt x="239" y="1193"/>
                  </a:lnTo>
                  <a:lnTo>
                    <a:pt x="234" y="1192"/>
                  </a:lnTo>
                  <a:lnTo>
                    <a:pt x="234" y="1192"/>
                  </a:lnTo>
                  <a:lnTo>
                    <a:pt x="231" y="1192"/>
                  </a:lnTo>
                  <a:lnTo>
                    <a:pt x="231" y="1192"/>
                  </a:lnTo>
                  <a:lnTo>
                    <a:pt x="229" y="1192"/>
                  </a:lnTo>
                  <a:lnTo>
                    <a:pt x="229" y="1193"/>
                  </a:lnTo>
                  <a:lnTo>
                    <a:pt x="231" y="1193"/>
                  </a:lnTo>
                  <a:lnTo>
                    <a:pt x="231" y="1195"/>
                  </a:lnTo>
                  <a:lnTo>
                    <a:pt x="229" y="1195"/>
                  </a:lnTo>
                  <a:lnTo>
                    <a:pt x="229" y="1198"/>
                  </a:lnTo>
                  <a:lnTo>
                    <a:pt x="226" y="1199"/>
                  </a:lnTo>
                  <a:lnTo>
                    <a:pt x="223" y="1201"/>
                  </a:lnTo>
                  <a:lnTo>
                    <a:pt x="222" y="1201"/>
                  </a:lnTo>
                  <a:lnTo>
                    <a:pt x="220" y="1201"/>
                  </a:lnTo>
                  <a:lnTo>
                    <a:pt x="219" y="1204"/>
                  </a:lnTo>
                  <a:lnTo>
                    <a:pt x="217" y="1204"/>
                  </a:lnTo>
                  <a:lnTo>
                    <a:pt x="214" y="1204"/>
                  </a:lnTo>
                  <a:lnTo>
                    <a:pt x="212" y="1206"/>
                  </a:lnTo>
                  <a:lnTo>
                    <a:pt x="214" y="1207"/>
                  </a:lnTo>
                  <a:lnTo>
                    <a:pt x="214" y="1207"/>
                  </a:lnTo>
                  <a:lnTo>
                    <a:pt x="212" y="1209"/>
                  </a:lnTo>
                  <a:lnTo>
                    <a:pt x="212" y="1209"/>
                  </a:lnTo>
                  <a:lnTo>
                    <a:pt x="212" y="1209"/>
                  </a:lnTo>
                  <a:lnTo>
                    <a:pt x="214" y="1209"/>
                  </a:lnTo>
                  <a:lnTo>
                    <a:pt x="214" y="1210"/>
                  </a:lnTo>
                  <a:lnTo>
                    <a:pt x="212" y="1210"/>
                  </a:lnTo>
                  <a:lnTo>
                    <a:pt x="212" y="1210"/>
                  </a:lnTo>
                  <a:lnTo>
                    <a:pt x="214" y="1210"/>
                  </a:lnTo>
                  <a:lnTo>
                    <a:pt x="219" y="1210"/>
                  </a:lnTo>
                  <a:lnTo>
                    <a:pt x="219" y="1209"/>
                  </a:lnTo>
                  <a:lnTo>
                    <a:pt x="220" y="1210"/>
                  </a:lnTo>
                  <a:lnTo>
                    <a:pt x="223" y="1210"/>
                  </a:lnTo>
                  <a:lnTo>
                    <a:pt x="225" y="1212"/>
                  </a:lnTo>
                  <a:lnTo>
                    <a:pt x="225" y="1210"/>
                  </a:lnTo>
                  <a:lnTo>
                    <a:pt x="226" y="1212"/>
                  </a:lnTo>
                  <a:lnTo>
                    <a:pt x="226" y="1213"/>
                  </a:lnTo>
                  <a:lnTo>
                    <a:pt x="226" y="1215"/>
                  </a:lnTo>
                  <a:lnTo>
                    <a:pt x="226" y="1216"/>
                  </a:lnTo>
                  <a:lnTo>
                    <a:pt x="228" y="1219"/>
                  </a:lnTo>
                  <a:lnTo>
                    <a:pt x="228" y="1221"/>
                  </a:lnTo>
                  <a:lnTo>
                    <a:pt x="226" y="1223"/>
                  </a:lnTo>
                  <a:lnTo>
                    <a:pt x="225" y="1223"/>
                  </a:lnTo>
                  <a:lnTo>
                    <a:pt x="222" y="1224"/>
                  </a:lnTo>
                  <a:lnTo>
                    <a:pt x="222" y="1224"/>
                  </a:lnTo>
                  <a:lnTo>
                    <a:pt x="220" y="1226"/>
                  </a:lnTo>
                  <a:lnTo>
                    <a:pt x="220" y="1226"/>
                  </a:lnTo>
                  <a:lnTo>
                    <a:pt x="219" y="1227"/>
                  </a:lnTo>
                  <a:lnTo>
                    <a:pt x="217" y="1227"/>
                  </a:lnTo>
                  <a:lnTo>
                    <a:pt x="219" y="1227"/>
                  </a:lnTo>
                  <a:lnTo>
                    <a:pt x="222" y="1230"/>
                  </a:lnTo>
                  <a:lnTo>
                    <a:pt x="222" y="1230"/>
                  </a:lnTo>
                  <a:lnTo>
                    <a:pt x="222" y="1232"/>
                  </a:lnTo>
                  <a:lnTo>
                    <a:pt x="223" y="1232"/>
                  </a:lnTo>
                  <a:lnTo>
                    <a:pt x="223" y="1230"/>
                  </a:lnTo>
                  <a:lnTo>
                    <a:pt x="223" y="1229"/>
                  </a:lnTo>
                  <a:lnTo>
                    <a:pt x="225" y="1229"/>
                  </a:lnTo>
                  <a:lnTo>
                    <a:pt x="234" y="1230"/>
                  </a:lnTo>
                  <a:lnTo>
                    <a:pt x="235" y="1230"/>
                  </a:lnTo>
                  <a:lnTo>
                    <a:pt x="242" y="1229"/>
                  </a:lnTo>
                  <a:lnTo>
                    <a:pt x="243" y="1227"/>
                  </a:lnTo>
                  <a:lnTo>
                    <a:pt x="243" y="1226"/>
                  </a:lnTo>
                  <a:lnTo>
                    <a:pt x="242" y="1226"/>
                  </a:lnTo>
                  <a:lnTo>
                    <a:pt x="243" y="1223"/>
                  </a:lnTo>
                  <a:lnTo>
                    <a:pt x="243" y="1223"/>
                  </a:lnTo>
                  <a:lnTo>
                    <a:pt x="242" y="1221"/>
                  </a:lnTo>
                  <a:lnTo>
                    <a:pt x="240" y="1221"/>
                  </a:lnTo>
                  <a:lnTo>
                    <a:pt x="242" y="1221"/>
                  </a:lnTo>
                  <a:lnTo>
                    <a:pt x="245" y="1221"/>
                  </a:lnTo>
                  <a:lnTo>
                    <a:pt x="248" y="1219"/>
                  </a:lnTo>
                  <a:lnTo>
                    <a:pt x="248" y="1219"/>
                  </a:lnTo>
                  <a:lnTo>
                    <a:pt x="248" y="1219"/>
                  </a:lnTo>
                  <a:lnTo>
                    <a:pt x="246" y="1221"/>
                  </a:lnTo>
                  <a:lnTo>
                    <a:pt x="245" y="1223"/>
                  </a:lnTo>
                  <a:lnTo>
                    <a:pt x="245" y="1226"/>
                  </a:lnTo>
                  <a:lnTo>
                    <a:pt x="246" y="1229"/>
                  </a:lnTo>
                  <a:lnTo>
                    <a:pt x="246" y="1229"/>
                  </a:lnTo>
                  <a:lnTo>
                    <a:pt x="246" y="1229"/>
                  </a:lnTo>
                  <a:lnTo>
                    <a:pt x="245" y="1229"/>
                  </a:lnTo>
                  <a:lnTo>
                    <a:pt x="243" y="1230"/>
                  </a:lnTo>
                  <a:lnTo>
                    <a:pt x="240" y="1230"/>
                  </a:lnTo>
                  <a:lnTo>
                    <a:pt x="237" y="1232"/>
                  </a:lnTo>
                  <a:lnTo>
                    <a:pt x="235" y="1232"/>
                  </a:lnTo>
                  <a:lnTo>
                    <a:pt x="235" y="1232"/>
                  </a:lnTo>
                  <a:lnTo>
                    <a:pt x="234" y="1232"/>
                  </a:lnTo>
                  <a:lnTo>
                    <a:pt x="232" y="1232"/>
                  </a:lnTo>
                  <a:lnTo>
                    <a:pt x="232" y="1232"/>
                  </a:lnTo>
                  <a:lnTo>
                    <a:pt x="232" y="1233"/>
                  </a:lnTo>
                  <a:lnTo>
                    <a:pt x="232" y="1233"/>
                  </a:lnTo>
                  <a:lnTo>
                    <a:pt x="226" y="1232"/>
                  </a:lnTo>
                  <a:lnTo>
                    <a:pt x="226" y="1233"/>
                  </a:lnTo>
                  <a:lnTo>
                    <a:pt x="228" y="1235"/>
                  </a:lnTo>
                  <a:lnTo>
                    <a:pt x="231" y="1236"/>
                  </a:lnTo>
                  <a:lnTo>
                    <a:pt x="232" y="1238"/>
                  </a:lnTo>
                  <a:lnTo>
                    <a:pt x="232" y="1239"/>
                  </a:lnTo>
                  <a:lnTo>
                    <a:pt x="234" y="1241"/>
                  </a:lnTo>
                  <a:lnTo>
                    <a:pt x="239" y="1243"/>
                  </a:lnTo>
                  <a:lnTo>
                    <a:pt x="240" y="1243"/>
                  </a:lnTo>
                  <a:lnTo>
                    <a:pt x="240" y="1243"/>
                  </a:lnTo>
                  <a:lnTo>
                    <a:pt x="240" y="1243"/>
                  </a:lnTo>
                  <a:lnTo>
                    <a:pt x="242" y="1241"/>
                  </a:lnTo>
                  <a:lnTo>
                    <a:pt x="243" y="1241"/>
                  </a:lnTo>
                  <a:lnTo>
                    <a:pt x="243" y="1239"/>
                  </a:lnTo>
                  <a:lnTo>
                    <a:pt x="243" y="1239"/>
                  </a:lnTo>
                  <a:lnTo>
                    <a:pt x="245" y="1238"/>
                  </a:lnTo>
                  <a:lnTo>
                    <a:pt x="246" y="1238"/>
                  </a:lnTo>
                  <a:lnTo>
                    <a:pt x="246" y="1236"/>
                  </a:lnTo>
                  <a:lnTo>
                    <a:pt x="254" y="1236"/>
                  </a:lnTo>
                  <a:lnTo>
                    <a:pt x="254" y="1236"/>
                  </a:lnTo>
                  <a:lnTo>
                    <a:pt x="256" y="1235"/>
                  </a:lnTo>
                  <a:lnTo>
                    <a:pt x="256" y="1236"/>
                  </a:lnTo>
                  <a:lnTo>
                    <a:pt x="257" y="1236"/>
                  </a:lnTo>
                  <a:lnTo>
                    <a:pt x="259" y="1233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32"/>
                  </a:lnTo>
                  <a:lnTo>
                    <a:pt x="259" y="1229"/>
                  </a:lnTo>
                  <a:lnTo>
                    <a:pt x="262" y="1227"/>
                  </a:lnTo>
                  <a:lnTo>
                    <a:pt x="262" y="1227"/>
                  </a:lnTo>
                  <a:lnTo>
                    <a:pt x="265" y="1226"/>
                  </a:lnTo>
                  <a:lnTo>
                    <a:pt x="268" y="1226"/>
                  </a:lnTo>
                  <a:lnTo>
                    <a:pt x="272" y="1227"/>
                  </a:lnTo>
                  <a:lnTo>
                    <a:pt x="276" y="1226"/>
                  </a:lnTo>
                  <a:lnTo>
                    <a:pt x="279" y="1226"/>
                  </a:lnTo>
                  <a:lnTo>
                    <a:pt x="277" y="1224"/>
                  </a:lnTo>
                  <a:lnTo>
                    <a:pt x="277" y="1223"/>
                  </a:lnTo>
                  <a:lnTo>
                    <a:pt x="277" y="1223"/>
                  </a:lnTo>
                  <a:lnTo>
                    <a:pt x="279" y="1221"/>
                  </a:lnTo>
                  <a:lnTo>
                    <a:pt x="279" y="1223"/>
                  </a:lnTo>
                  <a:lnTo>
                    <a:pt x="279" y="1223"/>
                  </a:lnTo>
                  <a:lnTo>
                    <a:pt x="280" y="1223"/>
                  </a:lnTo>
                  <a:lnTo>
                    <a:pt x="280" y="1223"/>
                  </a:lnTo>
                  <a:lnTo>
                    <a:pt x="282" y="1223"/>
                  </a:lnTo>
                  <a:lnTo>
                    <a:pt x="282" y="1221"/>
                  </a:lnTo>
                  <a:lnTo>
                    <a:pt x="282" y="1221"/>
                  </a:lnTo>
                  <a:lnTo>
                    <a:pt x="283" y="1219"/>
                  </a:lnTo>
                  <a:lnTo>
                    <a:pt x="283" y="1221"/>
                  </a:lnTo>
                  <a:lnTo>
                    <a:pt x="283" y="1223"/>
                  </a:lnTo>
                  <a:lnTo>
                    <a:pt x="283" y="1223"/>
                  </a:lnTo>
                  <a:lnTo>
                    <a:pt x="282" y="1224"/>
                  </a:lnTo>
                  <a:lnTo>
                    <a:pt x="282" y="1224"/>
                  </a:lnTo>
                  <a:lnTo>
                    <a:pt x="283" y="1226"/>
                  </a:lnTo>
                  <a:lnTo>
                    <a:pt x="283" y="1226"/>
                  </a:lnTo>
                  <a:lnTo>
                    <a:pt x="285" y="1227"/>
                  </a:lnTo>
                  <a:lnTo>
                    <a:pt x="286" y="1227"/>
                  </a:lnTo>
                  <a:lnTo>
                    <a:pt x="286" y="1227"/>
                  </a:lnTo>
                  <a:lnTo>
                    <a:pt x="285" y="1227"/>
                  </a:lnTo>
                  <a:lnTo>
                    <a:pt x="282" y="1227"/>
                  </a:lnTo>
                  <a:lnTo>
                    <a:pt x="283" y="1230"/>
                  </a:lnTo>
                  <a:lnTo>
                    <a:pt x="285" y="1232"/>
                  </a:lnTo>
                  <a:lnTo>
                    <a:pt x="286" y="1233"/>
                  </a:lnTo>
                  <a:lnTo>
                    <a:pt x="288" y="1233"/>
                  </a:lnTo>
                  <a:lnTo>
                    <a:pt x="294" y="1233"/>
                  </a:lnTo>
                  <a:lnTo>
                    <a:pt x="296" y="1232"/>
                  </a:lnTo>
                  <a:lnTo>
                    <a:pt x="299" y="1235"/>
                  </a:lnTo>
                  <a:lnTo>
                    <a:pt x="302" y="1235"/>
                  </a:lnTo>
                  <a:lnTo>
                    <a:pt x="303" y="1235"/>
                  </a:lnTo>
                  <a:lnTo>
                    <a:pt x="303" y="1235"/>
                  </a:lnTo>
                  <a:lnTo>
                    <a:pt x="305" y="1233"/>
                  </a:lnTo>
                  <a:lnTo>
                    <a:pt x="305" y="1233"/>
                  </a:lnTo>
                  <a:lnTo>
                    <a:pt x="305" y="1233"/>
                  </a:lnTo>
                  <a:lnTo>
                    <a:pt x="305" y="1235"/>
                  </a:lnTo>
                  <a:lnTo>
                    <a:pt x="305" y="1235"/>
                  </a:lnTo>
                  <a:lnTo>
                    <a:pt x="303" y="1238"/>
                  </a:lnTo>
                  <a:lnTo>
                    <a:pt x="300" y="1238"/>
                  </a:lnTo>
                  <a:lnTo>
                    <a:pt x="296" y="1239"/>
                  </a:lnTo>
                  <a:lnTo>
                    <a:pt x="294" y="1239"/>
                  </a:lnTo>
                  <a:lnTo>
                    <a:pt x="292" y="1239"/>
                  </a:lnTo>
                  <a:lnTo>
                    <a:pt x="292" y="1239"/>
                  </a:lnTo>
                  <a:lnTo>
                    <a:pt x="292" y="1238"/>
                  </a:lnTo>
                  <a:lnTo>
                    <a:pt x="292" y="1238"/>
                  </a:lnTo>
                  <a:lnTo>
                    <a:pt x="292" y="1236"/>
                  </a:lnTo>
                  <a:lnTo>
                    <a:pt x="292" y="1238"/>
                  </a:lnTo>
                  <a:lnTo>
                    <a:pt x="291" y="1239"/>
                  </a:lnTo>
                  <a:lnTo>
                    <a:pt x="291" y="1239"/>
                  </a:lnTo>
                  <a:lnTo>
                    <a:pt x="288" y="1241"/>
                  </a:lnTo>
                  <a:lnTo>
                    <a:pt x="288" y="1243"/>
                  </a:lnTo>
                  <a:lnTo>
                    <a:pt x="289" y="1244"/>
                  </a:lnTo>
                  <a:lnTo>
                    <a:pt x="289" y="1246"/>
                  </a:lnTo>
                  <a:lnTo>
                    <a:pt x="288" y="1246"/>
                  </a:lnTo>
                  <a:lnTo>
                    <a:pt x="288" y="1247"/>
                  </a:lnTo>
                  <a:lnTo>
                    <a:pt x="288" y="1247"/>
                  </a:lnTo>
                  <a:lnTo>
                    <a:pt x="288" y="1247"/>
                  </a:lnTo>
                  <a:lnTo>
                    <a:pt x="289" y="1247"/>
                  </a:lnTo>
                  <a:lnTo>
                    <a:pt x="294" y="1250"/>
                  </a:lnTo>
                  <a:lnTo>
                    <a:pt x="296" y="1250"/>
                  </a:lnTo>
                  <a:lnTo>
                    <a:pt x="296" y="1249"/>
                  </a:lnTo>
                  <a:lnTo>
                    <a:pt x="296" y="1249"/>
                  </a:lnTo>
                  <a:lnTo>
                    <a:pt x="297" y="1249"/>
                  </a:lnTo>
                  <a:lnTo>
                    <a:pt x="297" y="1249"/>
                  </a:lnTo>
                  <a:lnTo>
                    <a:pt x="299" y="1249"/>
                  </a:lnTo>
                  <a:lnTo>
                    <a:pt x="299" y="1247"/>
                  </a:lnTo>
                  <a:lnTo>
                    <a:pt x="300" y="1247"/>
                  </a:lnTo>
                  <a:lnTo>
                    <a:pt x="300" y="1247"/>
                  </a:lnTo>
                  <a:lnTo>
                    <a:pt x="302" y="1247"/>
                  </a:lnTo>
                  <a:lnTo>
                    <a:pt x="303" y="1247"/>
                  </a:lnTo>
                  <a:lnTo>
                    <a:pt x="305" y="1247"/>
                  </a:lnTo>
                  <a:lnTo>
                    <a:pt x="305" y="1247"/>
                  </a:lnTo>
                  <a:lnTo>
                    <a:pt x="305" y="1247"/>
                  </a:lnTo>
                  <a:lnTo>
                    <a:pt x="306" y="1247"/>
                  </a:lnTo>
                  <a:lnTo>
                    <a:pt x="306" y="1246"/>
                  </a:lnTo>
                  <a:lnTo>
                    <a:pt x="306" y="1246"/>
                  </a:lnTo>
                  <a:lnTo>
                    <a:pt x="306" y="1247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08" y="1249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08" y="1247"/>
                  </a:lnTo>
                  <a:lnTo>
                    <a:pt x="311" y="1247"/>
                  </a:lnTo>
                  <a:lnTo>
                    <a:pt x="311" y="1246"/>
                  </a:lnTo>
                  <a:lnTo>
                    <a:pt x="311" y="1244"/>
                  </a:lnTo>
                  <a:lnTo>
                    <a:pt x="309" y="1244"/>
                  </a:lnTo>
                  <a:lnTo>
                    <a:pt x="309" y="1243"/>
                  </a:lnTo>
                  <a:lnTo>
                    <a:pt x="311" y="1241"/>
                  </a:lnTo>
                  <a:lnTo>
                    <a:pt x="311" y="1241"/>
                  </a:lnTo>
                  <a:lnTo>
                    <a:pt x="313" y="1241"/>
                  </a:lnTo>
                  <a:lnTo>
                    <a:pt x="319" y="1239"/>
                  </a:lnTo>
                  <a:lnTo>
                    <a:pt x="320" y="1239"/>
                  </a:lnTo>
                  <a:lnTo>
                    <a:pt x="322" y="1239"/>
                  </a:lnTo>
                  <a:lnTo>
                    <a:pt x="322" y="1241"/>
                  </a:lnTo>
                  <a:lnTo>
                    <a:pt x="323" y="1243"/>
                  </a:lnTo>
                  <a:lnTo>
                    <a:pt x="325" y="1244"/>
                  </a:lnTo>
                  <a:lnTo>
                    <a:pt x="325" y="1244"/>
                  </a:lnTo>
                  <a:lnTo>
                    <a:pt x="326" y="1246"/>
                  </a:lnTo>
                  <a:lnTo>
                    <a:pt x="326" y="1247"/>
                  </a:lnTo>
                  <a:lnTo>
                    <a:pt x="328" y="1249"/>
                  </a:lnTo>
                  <a:lnTo>
                    <a:pt x="328" y="1250"/>
                  </a:lnTo>
                  <a:lnTo>
                    <a:pt x="328" y="1252"/>
                  </a:lnTo>
                  <a:lnTo>
                    <a:pt x="329" y="1253"/>
                  </a:lnTo>
                  <a:lnTo>
                    <a:pt x="329" y="1253"/>
                  </a:lnTo>
                  <a:lnTo>
                    <a:pt x="328" y="1253"/>
                  </a:lnTo>
                  <a:lnTo>
                    <a:pt x="328" y="1253"/>
                  </a:lnTo>
                  <a:lnTo>
                    <a:pt x="328" y="1255"/>
                  </a:lnTo>
                  <a:lnTo>
                    <a:pt x="329" y="1255"/>
                  </a:lnTo>
                  <a:lnTo>
                    <a:pt x="331" y="1256"/>
                  </a:lnTo>
                  <a:lnTo>
                    <a:pt x="333" y="1258"/>
                  </a:lnTo>
                  <a:lnTo>
                    <a:pt x="334" y="1258"/>
                  </a:lnTo>
                  <a:lnTo>
                    <a:pt x="336" y="1258"/>
                  </a:lnTo>
                  <a:lnTo>
                    <a:pt x="339" y="1261"/>
                  </a:lnTo>
                  <a:lnTo>
                    <a:pt x="342" y="1264"/>
                  </a:lnTo>
                  <a:lnTo>
                    <a:pt x="343" y="1266"/>
                  </a:lnTo>
                  <a:lnTo>
                    <a:pt x="345" y="1267"/>
                  </a:lnTo>
                  <a:lnTo>
                    <a:pt x="363" y="1269"/>
                  </a:lnTo>
                  <a:lnTo>
                    <a:pt x="368" y="1266"/>
                  </a:lnTo>
                  <a:lnTo>
                    <a:pt x="369" y="1266"/>
                  </a:lnTo>
                  <a:lnTo>
                    <a:pt x="371" y="1267"/>
                  </a:lnTo>
                  <a:lnTo>
                    <a:pt x="373" y="1266"/>
                  </a:lnTo>
                  <a:lnTo>
                    <a:pt x="373" y="1263"/>
                  </a:lnTo>
                  <a:lnTo>
                    <a:pt x="371" y="1259"/>
                  </a:lnTo>
                  <a:lnTo>
                    <a:pt x="371" y="1259"/>
                  </a:lnTo>
                  <a:lnTo>
                    <a:pt x="373" y="1259"/>
                  </a:lnTo>
                  <a:lnTo>
                    <a:pt x="373" y="1259"/>
                  </a:lnTo>
                  <a:lnTo>
                    <a:pt x="374" y="1259"/>
                  </a:lnTo>
                  <a:lnTo>
                    <a:pt x="374" y="1258"/>
                  </a:lnTo>
                  <a:lnTo>
                    <a:pt x="374" y="1258"/>
                  </a:lnTo>
                  <a:lnTo>
                    <a:pt x="374" y="1256"/>
                  </a:lnTo>
                  <a:lnTo>
                    <a:pt x="376" y="1255"/>
                  </a:lnTo>
                  <a:lnTo>
                    <a:pt x="377" y="1253"/>
                  </a:lnTo>
                  <a:lnTo>
                    <a:pt x="379" y="1253"/>
                  </a:lnTo>
                  <a:lnTo>
                    <a:pt x="379" y="1253"/>
                  </a:lnTo>
                  <a:lnTo>
                    <a:pt x="383" y="1250"/>
                  </a:lnTo>
                  <a:lnTo>
                    <a:pt x="383" y="1250"/>
                  </a:lnTo>
                  <a:lnTo>
                    <a:pt x="385" y="1247"/>
                  </a:lnTo>
                  <a:lnTo>
                    <a:pt x="386" y="1247"/>
                  </a:lnTo>
                  <a:lnTo>
                    <a:pt x="386" y="1247"/>
                  </a:lnTo>
                  <a:lnTo>
                    <a:pt x="386" y="1249"/>
                  </a:lnTo>
                  <a:lnTo>
                    <a:pt x="388" y="1249"/>
                  </a:lnTo>
                  <a:lnTo>
                    <a:pt x="388" y="1249"/>
                  </a:lnTo>
                  <a:lnTo>
                    <a:pt x="394" y="1249"/>
                  </a:lnTo>
                  <a:lnTo>
                    <a:pt x="397" y="1247"/>
                  </a:lnTo>
                  <a:lnTo>
                    <a:pt x="399" y="1247"/>
                  </a:lnTo>
                  <a:lnTo>
                    <a:pt x="402" y="1246"/>
                  </a:lnTo>
                  <a:lnTo>
                    <a:pt x="405" y="1244"/>
                  </a:lnTo>
                  <a:lnTo>
                    <a:pt x="406" y="1243"/>
                  </a:lnTo>
                  <a:lnTo>
                    <a:pt x="410" y="1241"/>
                  </a:lnTo>
                  <a:lnTo>
                    <a:pt x="410" y="1241"/>
                  </a:lnTo>
                  <a:lnTo>
                    <a:pt x="414" y="1235"/>
                  </a:lnTo>
                  <a:lnTo>
                    <a:pt x="414" y="1233"/>
                  </a:lnTo>
                  <a:lnTo>
                    <a:pt x="416" y="1233"/>
                  </a:lnTo>
                  <a:lnTo>
                    <a:pt x="420" y="1230"/>
                  </a:lnTo>
                  <a:lnTo>
                    <a:pt x="420" y="1229"/>
                  </a:lnTo>
                  <a:lnTo>
                    <a:pt x="422" y="1227"/>
                  </a:lnTo>
                  <a:lnTo>
                    <a:pt x="423" y="1226"/>
                  </a:lnTo>
                  <a:lnTo>
                    <a:pt x="425" y="1226"/>
                  </a:lnTo>
                  <a:lnTo>
                    <a:pt x="425" y="1224"/>
                  </a:lnTo>
                  <a:lnTo>
                    <a:pt x="428" y="1224"/>
                  </a:lnTo>
                  <a:lnTo>
                    <a:pt x="428" y="1223"/>
                  </a:lnTo>
                  <a:lnTo>
                    <a:pt x="430" y="1221"/>
                  </a:lnTo>
                  <a:lnTo>
                    <a:pt x="430" y="1223"/>
                  </a:lnTo>
                  <a:lnTo>
                    <a:pt x="431" y="1223"/>
                  </a:lnTo>
                  <a:lnTo>
                    <a:pt x="430" y="1224"/>
                  </a:lnTo>
                  <a:lnTo>
                    <a:pt x="428" y="1226"/>
                  </a:lnTo>
                  <a:lnTo>
                    <a:pt x="425" y="1227"/>
                  </a:lnTo>
                  <a:lnTo>
                    <a:pt x="423" y="1227"/>
                  </a:lnTo>
                  <a:lnTo>
                    <a:pt x="422" y="1230"/>
                  </a:lnTo>
                  <a:lnTo>
                    <a:pt x="417" y="1235"/>
                  </a:lnTo>
                  <a:lnTo>
                    <a:pt x="417" y="1236"/>
                  </a:lnTo>
                  <a:lnTo>
                    <a:pt x="416" y="1236"/>
                  </a:lnTo>
                  <a:lnTo>
                    <a:pt x="416" y="1238"/>
                  </a:lnTo>
                  <a:lnTo>
                    <a:pt x="416" y="1239"/>
                  </a:lnTo>
                  <a:lnTo>
                    <a:pt x="416" y="1241"/>
                  </a:lnTo>
                  <a:lnTo>
                    <a:pt x="414" y="1241"/>
                  </a:lnTo>
                  <a:lnTo>
                    <a:pt x="414" y="1241"/>
                  </a:lnTo>
                  <a:lnTo>
                    <a:pt x="414" y="1241"/>
                  </a:lnTo>
                  <a:lnTo>
                    <a:pt x="406" y="1253"/>
                  </a:lnTo>
                  <a:lnTo>
                    <a:pt x="405" y="1255"/>
                  </a:lnTo>
                  <a:lnTo>
                    <a:pt x="403" y="1255"/>
                  </a:lnTo>
                  <a:lnTo>
                    <a:pt x="402" y="1255"/>
                  </a:lnTo>
                  <a:lnTo>
                    <a:pt x="400" y="1256"/>
                  </a:lnTo>
                  <a:lnTo>
                    <a:pt x="399" y="1256"/>
                  </a:lnTo>
                  <a:lnTo>
                    <a:pt x="397" y="1258"/>
                  </a:lnTo>
                  <a:lnTo>
                    <a:pt x="393" y="1264"/>
                  </a:lnTo>
                  <a:lnTo>
                    <a:pt x="390" y="1267"/>
                  </a:lnTo>
                  <a:lnTo>
                    <a:pt x="388" y="1267"/>
                  </a:lnTo>
                  <a:lnTo>
                    <a:pt x="386" y="1269"/>
                  </a:lnTo>
                  <a:lnTo>
                    <a:pt x="388" y="1269"/>
                  </a:lnTo>
                  <a:lnTo>
                    <a:pt x="386" y="1270"/>
                  </a:lnTo>
                  <a:lnTo>
                    <a:pt x="386" y="1272"/>
                  </a:lnTo>
                  <a:lnTo>
                    <a:pt x="385" y="1273"/>
                  </a:lnTo>
                  <a:lnTo>
                    <a:pt x="385" y="1275"/>
                  </a:lnTo>
                  <a:lnTo>
                    <a:pt x="385" y="1275"/>
                  </a:lnTo>
                  <a:lnTo>
                    <a:pt x="385" y="1275"/>
                  </a:lnTo>
                  <a:lnTo>
                    <a:pt x="383" y="1276"/>
                  </a:lnTo>
                  <a:lnTo>
                    <a:pt x="383" y="1275"/>
                  </a:lnTo>
                  <a:lnTo>
                    <a:pt x="383" y="1276"/>
                  </a:lnTo>
                  <a:lnTo>
                    <a:pt x="383" y="1280"/>
                  </a:lnTo>
                  <a:lnTo>
                    <a:pt x="383" y="1284"/>
                  </a:lnTo>
                  <a:lnTo>
                    <a:pt x="383" y="1284"/>
                  </a:lnTo>
                  <a:lnTo>
                    <a:pt x="385" y="1286"/>
                  </a:lnTo>
                  <a:lnTo>
                    <a:pt x="385" y="1286"/>
                  </a:lnTo>
                  <a:lnTo>
                    <a:pt x="385" y="1287"/>
                  </a:lnTo>
                  <a:lnTo>
                    <a:pt x="383" y="1289"/>
                  </a:lnTo>
                  <a:lnTo>
                    <a:pt x="383" y="1290"/>
                  </a:lnTo>
                  <a:lnTo>
                    <a:pt x="382" y="1290"/>
                  </a:lnTo>
                  <a:lnTo>
                    <a:pt x="383" y="1289"/>
                  </a:lnTo>
                  <a:lnTo>
                    <a:pt x="382" y="1287"/>
                  </a:lnTo>
                  <a:lnTo>
                    <a:pt x="380" y="1289"/>
                  </a:lnTo>
                  <a:lnTo>
                    <a:pt x="377" y="1290"/>
                  </a:lnTo>
                  <a:lnTo>
                    <a:pt x="373" y="1289"/>
                  </a:lnTo>
                  <a:lnTo>
                    <a:pt x="369" y="1290"/>
                  </a:lnTo>
                  <a:lnTo>
                    <a:pt x="365" y="1292"/>
                  </a:lnTo>
                  <a:lnTo>
                    <a:pt x="356" y="1292"/>
                  </a:lnTo>
                  <a:lnTo>
                    <a:pt x="354" y="1290"/>
                  </a:lnTo>
                  <a:lnTo>
                    <a:pt x="353" y="1289"/>
                  </a:lnTo>
                  <a:lnTo>
                    <a:pt x="343" y="1287"/>
                  </a:lnTo>
                  <a:lnTo>
                    <a:pt x="337" y="1287"/>
                  </a:lnTo>
                  <a:lnTo>
                    <a:pt x="326" y="1284"/>
                  </a:lnTo>
                  <a:lnTo>
                    <a:pt x="326" y="1284"/>
                  </a:lnTo>
                  <a:lnTo>
                    <a:pt x="323" y="1286"/>
                  </a:lnTo>
                  <a:lnTo>
                    <a:pt x="322" y="1286"/>
                  </a:lnTo>
                  <a:lnTo>
                    <a:pt x="316" y="1286"/>
                  </a:lnTo>
                  <a:lnTo>
                    <a:pt x="316" y="1286"/>
                  </a:lnTo>
                  <a:lnTo>
                    <a:pt x="313" y="1287"/>
                  </a:lnTo>
                  <a:lnTo>
                    <a:pt x="299" y="1289"/>
                  </a:lnTo>
                  <a:lnTo>
                    <a:pt x="292" y="1290"/>
                  </a:lnTo>
                  <a:lnTo>
                    <a:pt x="292" y="1292"/>
                  </a:lnTo>
                  <a:lnTo>
                    <a:pt x="294" y="1292"/>
                  </a:lnTo>
                  <a:lnTo>
                    <a:pt x="294" y="1293"/>
                  </a:lnTo>
                  <a:lnTo>
                    <a:pt x="294" y="1295"/>
                  </a:lnTo>
                  <a:lnTo>
                    <a:pt x="294" y="1296"/>
                  </a:lnTo>
                  <a:lnTo>
                    <a:pt x="294" y="1296"/>
                  </a:lnTo>
                  <a:lnTo>
                    <a:pt x="291" y="1296"/>
                  </a:lnTo>
                  <a:lnTo>
                    <a:pt x="291" y="1296"/>
                  </a:lnTo>
                  <a:lnTo>
                    <a:pt x="292" y="1300"/>
                  </a:lnTo>
                  <a:lnTo>
                    <a:pt x="292" y="1300"/>
                  </a:lnTo>
                  <a:lnTo>
                    <a:pt x="292" y="1301"/>
                  </a:lnTo>
                  <a:lnTo>
                    <a:pt x="294" y="1304"/>
                  </a:lnTo>
                  <a:lnTo>
                    <a:pt x="294" y="1304"/>
                  </a:lnTo>
                  <a:lnTo>
                    <a:pt x="294" y="1306"/>
                  </a:lnTo>
                  <a:lnTo>
                    <a:pt x="292" y="1306"/>
                  </a:lnTo>
                  <a:lnTo>
                    <a:pt x="292" y="1307"/>
                  </a:lnTo>
                  <a:lnTo>
                    <a:pt x="292" y="1307"/>
                  </a:lnTo>
                  <a:lnTo>
                    <a:pt x="288" y="1313"/>
                  </a:lnTo>
                  <a:lnTo>
                    <a:pt x="286" y="1313"/>
                  </a:lnTo>
                  <a:lnTo>
                    <a:pt x="285" y="1315"/>
                  </a:lnTo>
                  <a:lnTo>
                    <a:pt x="280" y="1313"/>
                  </a:lnTo>
                  <a:lnTo>
                    <a:pt x="280" y="1313"/>
                  </a:lnTo>
                  <a:lnTo>
                    <a:pt x="279" y="1312"/>
                  </a:lnTo>
                  <a:lnTo>
                    <a:pt x="277" y="1312"/>
                  </a:lnTo>
                  <a:lnTo>
                    <a:pt x="271" y="1312"/>
                  </a:lnTo>
                  <a:lnTo>
                    <a:pt x="271" y="1313"/>
                  </a:lnTo>
                  <a:lnTo>
                    <a:pt x="271" y="1315"/>
                  </a:lnTo>
                  <a:lnTo>
                    <a:pt x="271" y="1316"/>
                  </a:lnTo>
                  <a:lnTo>
                    <a:pt x="271" y="1316"/>
                  </a:lnTo>
                  <a:lnTo>
                    <a:pt x="269" y="1320"/>
                  </a:lnTo>
                  <a:lnTo>
                    <a:pt x="269" y="1321"/>
                  </a:lnTo>
                  <a:lnTo>
                    <a:pt x="268" y="1326"/>
                  </a:lnTo>
                  <a:lnTo>
                    <a:pt x="269" y="1336"/>
                  </a:lnTo>
                  <a:lnTo>
                    <a:pt x="266" y="1340"/>
                  </a:lnTo>
                  <a:lnTo>
                    <a:pt x="263" y="1343"/>
                  </a:lnTo>
                  <a:lnTo>
                    <a:pt x="262" y="1344"/>
                  </a:lnTo>
                  <a:lnTo>
                    <a:pt x="262" y="1346"/>
                  </a:lnTo>
                  <a:lnTo>
                    <a:pt x="260" y="1347"/>
                  </a:lnTo>
                  <a:lnTo>
                    <a:pt x="256" y="1352"/>
                  </a:lnTo>
                  <a:lnTo>
                    <a:pt x="254" y="1352"/>
                  </a:lnTo>
                  <a:lnTo>
                    <a:pt x="254" y="1352"/>
                  </a:lnTo>
                  <a:lnTo>
                    <a:pt x="254" y="1353"/>
                  </a:lnTo>
                  <a:lnTo>
                    <a:pt x="254" y="1355"/>
                  </a:lnTo>
                  <a:lnTo>
                    <a:pt x="252" y="1358"/>
                  </a:lnTo>
                  <a:lnTo>
                    <a:pt x="252" y="1360"/>
                  </a:lnTo>
                  <a:lnTo>
                    <a:pt x="251" y="1361"/>
                  </a:lnTo>
                  <a:lnTo>
                    <a:pt x="249" y="1363"/>
                  </a:lnTo>
                  <a:lnTo>
                    <a:pt x="243" y="1363"/>
                  </a:lnTo>
                  <a:lnTo>
                    <a:pt x="242" y="1363"/>
                  </a:lnTo>
                  <a:lnTo>
                    <a:pt x="242" y="1363"/>
                  </a:lnTo>
                  <a:lnTo>
                    <a:pt x="242" y="1364"/>
                  </a:lnTo>
                  <a:lnTo>
                    <a:pt x="242" y="1364"/>
                  </a:lnTo>
                  <a:lnTo>
                    <a:pt x="242" y="1366"/>
                  </a:lnTo>
                  <a:lnTo>
                    <a:pt x="242" y="1367"/>
                  </a:lnTo>
                  <a:lnTo>
                    <a:pt x="245" y="1369"/>
                  </a:lnTo>
                  <a:lnTo>
                    <a:pt x="246" y="1369"/>
                  </a:lnTo>
                  <a:lnTo>
                    <a:pt x="246" y="1370"/>
                  </a:lnTo>
                  <a:lnTo>
                    <a:pt x="246" y="1370"/>
                  </a:lnTo>
                  <a:lnTo>
                    <a:pt x="243" y="1370"/>
                  </a:lnTo>
                  <a:lnTo>
                    <a:pt x="242" y="1369"/>
                  </a:lnTo>
                  <a:lnTo>
                    <a:pt x="242" y="1369"/>
                  </a:lnTo>
                  <a:lnTo>
                    <a:pt x="240" y="1370"/>
                  </a:lnTo>
                  <a:lnTo>
                    <a:pt x="240" y="1370"/>
                  </a:lnTo>
                  <a:lnTo>
                    <a:pt x="240" y="1369"/>
                  </a:lnTo>
                  <a:lnTo>
                    <a:pt x="240" y="1367"/>
                  </a:lnTo>
                  <a:lnTo>
                    <a:pt x="240" y="1366"/>
                  </a:lnTo>
                  <a:lnTo>
                    <a:pt x="239" y="1366"/>
                  </a:lnTo>
                  <a:lnTo>
                    <a:pt x="239" y="1366"/>
                  </a:lnTo>
                  <a:lnTo>
                    <a:pt x="237" y="1366"/>
                  </a:lnTo>
                  <a:lnTo>
                    <a:pt x="237" y="1367"/>
                  </a:lnTo>
                  <a:lnTo>
                    <a:pt x="235" y="1367"/>
                  </a:lnTo>
                  <a:lnTo>
                    <a:pt x="234" y="1367"/>
                  </a:lnTo>
                  <a:lnTo>
                    <a:pt x="234" y="1370"/>
                  </a:lnTo>
                  <a:lnTo>
                    <a:pt x="234" y="1372"/>
                  </a:lnTo>
                  <a:lnTo>
                    <a:pt x="232" y="1373"/>
                  </a:lnTo>
                  <a:lnTo>
                    <a:pt x="232" y="1378"/>
                  </a:lnTo>
                  <a:lnTo>
                    <a:pt x="232" y="1380"/>
                  </a:lnTo>
                  <a:lnTo>
                    <a:pt x="231" y="1381"/>
                  </a:lnTo>
                  <a:lnTo>
                    <a:pt x="226" y="1384"/>
                  </a:lnTo>
                  <a:lnTo>
                    <a:pt x="226" y="1384"/>
                  </a:lnTo>
                  <a:lnTo>
                    <a:pt x="225" y="1384"/>
                  </a:lnTo>
                  <a:lnTo>
                    <a:pt x="223" y="1384"/>
                  </a:lnTo>
                  <a:lnTo>
                    <a:pt x="225" y="1386"/>
                  </a:lnTo>
                  <a:lnTo>
                    <a:pt x="225" y="1387"/>
                  </a:lnTo>
                  <a:lnTo>
                    <a:pt x="225" y="1389"/>
                  </a:lnTo>
                  <a:lnTo>
                    <a:pt x="225" y="1390"/>
                  </a:lnTo>
                  <a:lnTo>
                    <a:pt x="223" y="1390"/>
                  </a:lnTo>
                  <a:lnTo>
                    <a:pt x="220" y="1392"/>
                  </a:lnTo>
                  <a:lnTo>
                    <a:pt x="212" y="1401"/>
                  </a:lnTo>
                  <a:lnTo>
                    <a:pt x="209" y="1403"/>
                  </a:lnTo>
                  <a:lnTo>
                    <a:pt x="206" y="1403"/>
                  </a:lnTo>
                  <a:lnTo>
                    <a:pt x="206" y="1403"/>
                  </a:lnTo>
                  <a:lnTo>
                    <a:pt x="206" y="1404"/>
                  </a:lnTo>
                  <a:lnTo>
                    <a:pt x="205" y="1406"/>
                  </a:lnTo>
                  <a:lnTo>
                    <a:pt x="205" y="1407"/>
                  </a:lnTo>
                  <a:lnTo>
                    <a:pt x="203" y="1407"/>
                  </a:lnTo>
                  <a:lnTo>
                    <a:pt x="202" y="1407"/>
                  </a:lnTo>
                  <a:lnTo>
                    <a:pt x="199" y="1406"/>
                  </a:lnTo>
                  <a:lnTo>
                    <a:pt x="197" y="1406"/>
                  </a:lnTo>
                  <a:lnTo>
                    <a:pt x="194" y="1407"/>
                  </a:lnTo>
                  <a:lnTo>
                    <a:pt x="192" y="1407"/>
                  </a:lnTo>
                  <a:lnTo>
                    <a:pt x="188" y="1410"/>
                  </a:lnTo>
                  <a:lnTo>
                    <a:pt x="185" y="1412"/>
                  </a:lnTo>
                  <a:lnTo>
                    <a:pt x="185" y="1412"/>
                  </a:lnTo>
                  <a:lnTo>
                    <a:pt x="183" y="1413"/>
                  </a:lnTo>
                  <a:lnTo>
                    <a:pt x="183" y="1415"/>
                  </a:lnTo>
                  <a:lnTo>
                    <a:pt x="183" y="1415"/>
                  </a:lnTo>
                  <a:lnTo>
                    <a:pt x="183" y="1417"/>
                  </a:lnTo>
                  <a:lnTo>
                    <a:pt x="183" y="1418"/>
                  </a:lnTo>
                  <a:lnTo>
                    <a:pt x="183" y="1418"/>
                  </a:lnTo>
                  <a:lnTo>
                    <a:pt x="183" y="1418"/>
                  </a:lnTo>
                  <a:lnTo>
                    <a:pt x="183" y="1420"/>
                  </a:lnTo>
                  <a:lnTo>
                    <a:pt x="183" y="1420"/>
                  </a:lnTo>
                  <a:lnTo>
                    <a:pt x="183" y="1421"/>
                  </a:lnTo>
                  <a:lnTo>
                    <a:pt x="183" y="1421"/>
                  </a:lnTo>
                  <a:lnTo>
                    <a:pt x="182" y="1421"/>
                  </a:lnTo>
                  <a:lnTo>
                    <a:pt x="183" y="1424"/>
                  </a:lnTo>
                  <a:lnTo>
                    <a:pt x="186" y="1426"/>
                  </a:lnTo>
                  <a:lnTo>
                    <a:pt x="189" y="1426"/>
                  </a:lnTo>
                  <a:lnTo>
                    <a:pt x="192" y="1424"/>
                  </a:lnTo>
                  <a:lnTo>
                    <a:pt x="194" y="1424"/>
                  </a:lnTo>
                  <a:lnTo>
                    <a:pt x="195" y="1423"/>
                  </a:lnTo>
                  <a:lnTo>
                    <a:pt x="195" y="1421"/>
                  </a:lnTo>
                  <a:lnTo>
                    <a:pt x="195" y="1420"/>
                  </a:lnTo>
                  <a:lnTo>
                    <a:pt x="195" y="1418"/>
                  </a:lnTo>
                  <a:lnTo>
                    <a:pt x="197" y="1417"/>
                  </a:lnTo>
                  <a:lnTo>
                    <a:pt x="199" y="1415"/>
                  </a:lnTo>
                  <a:lnTo>
                    <a:pt x="200" y="1415"/>
                  </a:lnTo>
                  <a:lnTo>
                    <a:pt x="202" y="1417"/>
                  </a:lnTo>
                  <a:lnTo>
                    <a:pt x="203" y="1418"/>
                  </a:lnTo>
                  <a:lnTo>
                    <a:pt x="206" y="1418"/>
                  </a:lnTo>
                  <a:lnTo>
                    <a:pt x="211" y="1420"/>
                  </a:lnTo>
                  <a:lnTo>
                    <a:pt x="212" y="1421"/>
                  </a:lnTo>
                  <a:lnTo>
                    <a:pt x="214" y="1423"/>
                  </a:lnTo>
                  <a:lnTo>
                    <a:pt x="215" y="1426"/>
                  </a:lnTo>
                  <a:lnTo>
                    <a:pt x="217" y="1427"/>
                  </a:lnTo>
                  <a:lnTo>
                    <a:pt x="217" y="1427"/>
                  </a:lnTo>
                  <a:lnTo>
                    <a:pt x="217" y="1429"/>
                  </a:lnTo>
                  <a:lnTo>
                    <a:pt x="217" y="1430"/>
                  </a:lnTo>
                  <a:lnTo>
                    <a:pt x="217" y="1432"/>
                  </a:lnTo>
                  <a:lnTo>
                    <a:pt x="217" y="1432"/>
                  </a:lnTo>
                  <a:lnTo>
                    <a:pt x="220" y="1435"/>
                  </a:lnTo>
                  <a:lnTo>
                    <a:pt x="220" y="1435"/>
                  </a:lnTo>
                  <a:lnTo>
                    <a:pt x="222" y="1435"/>
                  </a:lnTo>
                  <a:lnTo>
                    <a:pt x="222" y="1435"/>
                  </a:lnTo>
                  <a:lnTo>
                    <a:pt x="222" y="1432"/>
                  </a:lnTo>
                  <a:lnTo>
                    <a:pt x="225" y="1429"/>
                  </a:lnTo>
                  <a:lnTo>
                    <a:pt x="225" y="1429"/>
                  </a:lnTo>
                  <a:lnTo>
                    <a:pt x="226" y="1429"/>
                  </a:lnTo>
                  <a:lnTo>
                    <a:pt x="228" y="1429"/>
                  </a:lnTo>
                  <a:lnTo>
                    <a:pt x="228" y="1429"/>
                  </a:lnTo>
                  <a:lnTo>
                    <a:pt x="231" y="1426"/>
                  </a:lnTo>
                  <a:lnTo>
                    <a:pt x="231" y="1423"/>
                  </a:lnTo>
                  <a:lnTo>
                    <a:pt x="231" y="1423"/>
                  </a:lnTo>
                  <a:lnTo>
                    <a:pt x="231" y="1423"/>
                  </a:lnTo>
                  <a:lnTo>
                    <a:pt x="231" y="1421"/>
                  </a:lnTo>
                  <a:lnTo>
                    <a:pt x="231" y="1420"/>
                  </a:lnTo>
                  <a:lnTo>
                    <a:pt x="229" y="1420"/>
                  </a:lnTo>
                  <a:lnTo>
                    <a:pt x="229" y="1420"/>
                  </a:lnTo>
                  <a:lnTo>
                    <a:pt x="228" y="1420"/>
                  </a:lnTo>
                  <a:lnTo>
                    <a:pt x="228" y="1420"/>
                  </a:lnTo>
                  <a:lnTo>
                    <a:pt x="226" y="1420"/>
                  </a:lnTo>
                  <a:lnTo>
                    <a:pt x="226" y="1420"/>
                  </a:lnTo>
                  <a:lnTo>
                    <a:pt x="228" y="1418"/>
                  </a:lnTo>
                  <a:lnTo>
                    <a:pt x="229" y="1418"/>
                  </a:lnTo>
                  <a:lnTo>
                    <a:pt x="229" y="1417"/>
                  </a:lnTo>
                  <a:lnTo>
                    <a:pt x="229" y="1417"/>
                  </a:lnTo>
                  <a:lnTo>
                    <a:pt x="229" y="1415"/>
                  </a:lnTo>
                  <a:lnTo>
                    <a:pt x="231" y="1415"/>
                  </a:lnTo>
                  <a:lnTo>
                    <a:pt x="231" y="1413"/>
                  </a:lnTo>
                  <a:lnTo>
                    <a:pt x="231" y="1413"/>
                  </a:lnTo>
                  <a:lnTo>
                    <a:pt x="232" y="1413"/>
                  </a:lnTo>
                  <a:lnTo>
                    <a:pt x="231" y="1412"/>
                  </a:lnTo>
                  <a:lnTo>
                    <a:pt x="231" y="1412"/>
                  </a:lnTo>
                  <a:lnTo>
                    <a:pt x="231" y="1412"/>
                  </a:lnTo>
                  <a:lnTo>
                    <a:pt x="231" y="1410"/>
                  </a:lnTo>
                  <a:lnTo>
                    <a:pt x="231" y="1409"/>
                  </a:lnTo>
                  <a:lnTo>
                    <a:pt x="231" y="1407"/>
                  </a:lnTo>
                  <a:lnTo>
                    <a:pt x="232" y="1407"/>
                  </a:lnTo>
                  <a:lnTo>
                    <a:pt x="234" y="1409"/>
                  </a:lnTo>
                  <a:lnTo>
                    <a:pt x="234" y="1412"/>
                  </a:lnTo>
                  <a:lnTo>
                    <a:pt x="235" y="1413"/>
                  </a:lnTo>
                  <a:lnTo>
                    <a:pt x="239" y="1409"/>
                  </a:lnTo>
                  <a:lnTo>
                    <a:pt x="239" y="1407"/>
                  </a:lnTo>
                  <a:lnTo>
                    <a:pt x="243" y="1406"/>
                  </a:lnTo>
                  <a:lnTo>
                    <a:pt x="243" y="1406"/>
                  </a:lnTo>
                  <a:lnTo>
                    <a:pt x="245" y="1404"/>
                  </a:lnTo>
                  <a:lnTo>
                    <a:pt x="246" y="1403"/>
                  </a:lnTo>
                  <a:lnTo>
                    <a:pt x="251" y="1404"/>
                  </a:lnTo>
                  <a:lnTo>
                    <a:pt x="251" y="1403"/>
                  </a:lnTo>
                  <a:lnTo>
                    <a:pt x="251" y="1403"/>
                  </a:lnTo>
                  <a:lnTo>
                    <a:pt x="252" y="1400"/>
                  </a:lnTo>
                  <a:lnTo>
                    <a:pt x="252" y="1400"/>
                  </a:lnTo>
                  <a:lnTo>
                    <a:pt x="251" y="1400"/>
                  </a:lnTo>
                  <a:lnTo>
                    <a:pt x="251" y="1398"/>
                  </a:lnTo>
                  <a:lnTo>
                    <a:pt x="252" y="1398"/>
                  </a:lnTo>
                  <a:lnTo>
                    <a:pt x="252" y="1397"/>
                  </a:lnTo>
                  <a:lnTo>
                    <a:pt x="252" y="1397"/>
                  </a:lnTo>
                  <a:lnTo>
                    <a:pt x="254" y="1395"/>
                  </a:lnTo>
                  <a:lnTo>
                    <a:pt x="254" y="1395"/>
                  </a:lnTo>
                  <a:lnTo>
                    <a:pt x="252" y="1393"/>
                  </a:lnTo>
                  <a:lnTo>
                    <a:pt x="254" y="1392"/>
                  </a:lnTo>
                  <a:lnTo>
                    <a:pt x="256" y="1392"/>
                  </a:lnTo>
                  <a:lnTo>
                    <a:pt x="257" y="1392"/>
                  </a:lnTo>
                  <a:lnTo>
                    <a:pt x="257" y="1392"/>
                  </a:lnTo>
                  <a:lnTo>
                    <a:pt x="257" y="1390"/>
                  </a:lnTo>
                  <a:lnTo>
                    <a:pt x="259" y="1390"/>
                  </a:lnTo>
                  <a:lnTo>
                    <a:pt x="259" y="1390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60" y="1393"/>
                  </a:lnTo>
                  <a:lnTo>
                    <a:pt x="272" y="1392"/>
                  </a:lnTo>
                  <a:lnTo>
                    <a:pt x="276" y="1392"/>
                  </a:lnTo>
                  <a:lnTo>
                    <a:pt x="282" y="1387"/>
                  </a:lnTo>
                  <a:lnTo>
                    <a:pt x="285" y="1387"/>
                  </a:lnTo>
                  <a:lnTo>
                    <a:pt x="291" y="1389"/>
                  </a:lnTo>
                  <a:lnTo>
                    <a:pt x="292" y="1390"/>
                  </a:lnTo>
                  <a:lnTo>
                    <a:pt x="292" y="1392"/>
                  </a:lnTo>
                  <a:lnTo>
                    <a:pt x="294" y="1393"/>
                  </a:lnTo>
                  <a:lnTo>
                    <a:pt x="296" y="1393"/>
                  </a:lnTo>
                  <a:lnTo>
                    <a:pt x="296" y="1392"/>
                  </a:lnTo>
                  <a:lnTo>
                    <a:pt x="296" y="1392"/>
                  </a:lnTo>
                  <a:lnTo>
                    <a:pt x="296" y="1390"/>
                  </a:lnTo>
                  <a:lnTo>
                    <a:pt x="296" y="1390"/>
                  </a:lnTo>
                  <a:lnTo>
                    <a:pt x="297" y="1390"/>
                  </a:lnTo>
                  <a:lnTo>
                    <a:pt x="297" y="1389"/>
                  </a:lnTo>
                  <a:lnTo>
                    <a:pt x="294" y="1389"/>
                  </a:lnTo>
                  <a:lnTo>
                    <a:pt x="296" y="1389"/>
                  </a:lnTo>
                  <a:lnTo>
                    <a:pt x="294" y="1389"/>
                  </a:lnTo>
                  <a:lnTo>
                    <a:pt x="292" y="1389"/>
                  </a:lnTo>
                  <a:lnTo>
                    <a:pt x="292" y="1387"/>
                  </a:lnTo>
                  <a:lnTo>
                    <a:pt x="296" y="1387"/>
                  </a:lnTo>
                  <a:lnTo>
                    <a:pt x="294" y="1386"/>
                  </a:lnTo>
                  <a:lnTo>
                    <a:pt x="289" y="1386"/>
                  </a:lnTo>
                  <a:lnTo>
                    <a:pt x="288" y="1384"/>
                  </a:lnTo>
                  <a:lnTo>
                    <a:pt x="292" y="1384"/>
                  </a:lnTo>
                  <a:lnTo>
                    <a:pt x="292" y="1384"/>
                  </a:lnTo>
                  <a:lnTo>
                    <a:pt x="294" y="1384"/>
                  </a:lnTo>
                  <a:lnTo>
                    <a:pt x="294" y="1383"/>
                  </a:lnTo>
                  <a:lnTo>
                    <a:pt x="294" y="1381"/>
                  </a:lnTo>
                  <a:lnTo>
                    <a:pt x="292" y="1380"/>
                  </a:lnTo>
                  <a:lnTo>
                    <a:pt x="292" y="1380"/>
                  </a:lnTo>
                  <a:lnTo>
                    <a:pt x="294" y="1380"/>
                  </a:lnTo>
                  <a:lnTo>
                    <a:pt x="294" y="1380"/>
                  </a:lnTo>
                  <a:lnTo>
                    <a:pt x="294" y="1378"/>
                  </a:lnTo>
                  <a:lnTo>
                    <a:pt x="294" y="1378"/>
                  </a:lnTo>
                  <a:lnTo>
                    <a:pt x="296" y="1377"/>
                  </a:lnTo>
                  <a:lnTo>
                    <a:pt x="296" y="1378"/>
                  </a:lnTo>
                  <a:lnTo>
                    <a:pt x="297" y="1378"/>
                  </a:lnTo>
                  <a:lnTo>
                    <a:pt x="299" y="1377"/>
                  </a:lnTo>
                  <a:lnTo>
                    <a:pt x="297" y="1378"/>
                  </a:lnTo>
                  <a:lnTo>
                    <a:pt x="296" y="1381"/>
                  </a:lnTo>
                  <a:lnTo>
                    <a:pt x="296" y="1383"/>
                  </a:lnTo>
                  <a:lnTo>
                    <a:pt x="296" y="1384"/>
                  </a:lnTo>
                  <a:lnTo>
                    <a:pt x="297" y="1386"/>
                  </a:lnTo>
                  <a:lnTo>
                    <a:pt x="297" y="1386"/>
                  </a:lnTo>
                  <a:lnTo>
                    <a:pt x="297" y="1387"/>
                  </a:lnTo>
                  <a:lnTo>
                    <a:pt x="299" y="1387"/>
                  </a:lnTo>
                  <a:lnTo>
                    <a:pt x="299" y="1387"/>
                  </a:lnTo>
                  <a:lnTo>
                    <a:pt x="302" y="1387"/>
                  </a:lnTo>
                  <a:lnTo>
                    <a:pt x="302" y="1390"/>
                  </a:lnTo>
                  <a:lnTo>
                    <a:pt x="302" y="1392"/>
                  </a:lnTo>
                  <a:lnTo>
                    <a:pt x="303" y="1392"/>
                  </a:lnTo>
                  <a:lnTo>
                    <a:pt x="305" y="1393"/>
                  </a:lnTo>
                  <a:lnTo>
                    <a:pt x="305" y="1393"/>
                  </a:lnTo>
                  <a:lnTo>
                    <a:pt x="305" y="1395"/>
                  </a:lnTo>
                  <a:lnTo>
                    <a:pt x="306" y="1395"/>
                  </a:lnTo>
                  <a:lnTo>
                    <a:pt x="306" y="1397"/>
                  </a:lnTo>
                  <a:lnTo>
                    <a:pt x="308" y="1397"/>
                  </a:lnTo>
                  <a:lnTo>
                    <a:pt x="308" y="1397"/>
                  </a:lnTo>
                  <a:lnTo>
                    <a:pt x="309" y="1395"/>
                  </a:lnTo>
                  <a:lnTo>
                    <a:pt x="309" y="1395"/>
                  </a:lnTo>
                  <a:lnTo>
                    <a:pt x="309" y="1395"/>
                  </a:lnTo>
                  <a:lnTo>
                    <a:pt x="313" y="1393"/>
                  </a:lnTo>
                  <a:lnTo>
                    <a:pt x="313" y="1393"/>
                  </a:lnTo>
                  <a:lnTo>
                    <a:pt x="314" y="1393"/>
                  </a:lnTo>
                  <a:lnTo>
                    <a:pt x="319" y="1398"/>
                  </a:lnTo>
                  <a:lnTo>
                    <a:pt x="323" y="1403"/>
                  </a:lnTo>
                  <a:lnTo>
                    <a:pt x="325" y="1406"/>
                  </a:lnTo>
                  <a:lnTo>
                    <a:pt x="326" y="1404"/>
                  </a:lnTo>
                  <a:lnTo>
                    <a:pt x="328" y="1404"/>
                  </a:lnTo>
                  <a:lnTo>
                    <a:pt x="329" y="1406"/>
                  </a:lnTo>
                  <a:lnTo>
                    <a:pt x="331" y="1406"/>
                  </a:lnTo>
                  <a:lnTo>
                    <a:pt x="333" y="1406"/>
                  </a:lnTo>
                  <a:lnTo>
                    <a:pt x="336" y="1404"/>
                  </a:lnTo>
                  <a:lnTo>
                    <a:pt x="336" y="1404"/>
                  </a:lnTo>
                  <a:lnTo>
                    <a:pt x="336" y="1401"/>
                  </a:lnTo>
                  <a:lnTo>
                    <a:pt x="336" y="1398"/>
                  </a:lnTo>
                  <a:lnTo>
                    <a:pt x="337" y="1397"/>
                  </a:lnTo>
                  <a:lnTo>
                    <a:pt x="337" y="1395"/>
                  </a:lnTo>
                  <a:lnTo>
                    <a:pt x="339" y="1393"/>
                  </a:lnTo>
                  <a:lnTo>
                    <a:pt x="340" y="1393"/>
                  </a:lnTo>
                  <a:lnTo>
                    <a:pt x="342" y="1392"/>
                  </a:lnTo>
                  <a:lnTo>
                    <a:pt x="342" y="1389"/>
                  </a:lnTo>
                  <a:lnTo>
                    <a:pt x="343" y="1390"/>
                  </a:lnTo>
                  <a:lnTo>
                    <a:pt x="345" y="1390"/>
                  </a:lnTo>
                  <a:lnTo>
                    <a:pt x="345" y="1390"/>
                  </a:lnTo>
                  <a:lnTo>
                    <a:pt x="345" y="1387"/>
                  </a:lnTo>
                  <a:lnTo>
                    <a:pt x="346" y="1386"/>
                  </a:lnTo>
                  <a:lnTo>
                    <a:pt x="346" y="1386"/>
                  </a:lnTo>
                  <a:lnTo>
                    <a:pt x="348" y="1386"/>
                  </a:lnTo>
                  <a:lnTo>
                    <a:pt x="348" y="1386"/>
                  </a:lnTo>
                  <a:lnTo>
                    <a:pt x="348" y="1384"/>
                  </a:lnTo>
                  <a:lnTo>
                    <a:pt x="348" y="1383"/>
                  </a:lnTo>
                  <a:lnTo>
                    <a:pt x="345" y="1383"/>
                  </a:lnTo>
                  <a:lnTo>
                    <a:pt x="343" y="1383"/>
                  </a:lnTo>
                  <a:lnTo>
                    <a:pt x="343" y="1380"/>
                  </a:lnTo>
                  <a:lnTo>
                    <a:pt x="343" y="1378"/>
                  </a:lnTo>
                  <a:lnTo>
                    <a:pt x="345" y="1378"/>
                  </a:lnTo>
                  <a:lnTo>
                    <a:pt x="346" y="1377"/>
                  </a:lnTo>
                  <a:lnTo>
                    <a:pt x="348" y="1377"/>
                  </a:lnTo>
                  <a:lnTo>
                    <a:pt x="346" y="1372"/>
                  </a:lnTo>
                  <a:lnTo>
                    <a:pt x="346" y="1370"/>
                  </a:lnTo>
                  <a:lnTo>
                    <a:pt x="348" y="1367"/>
                  </a:lnTo>
                  <a:lnTo>
                    <a:pt x="348" y="1364"/>
                  </a:lnTo>
                  <a:lnTo>
                    <a:pt x="349" y="1363"/>
                  </a:lnTo>
                  <a:lnTo>
                    <a:pt x="351" y="1361"/>
                  </a:lnTo>
                  <a:lnTo>
                    <a:pt x="353" y="1360"/>
                  </a:lnTo>
                  <a:lnTo>
                    <a:pt x="351" y="1358"/>
                  </a:lnTo>
                  <a:lnTo>
                    <a:pt x="351" y="1353"/>
                  </a:lnTo>
                  <a:lnTo>
                    <a:pt x="349" y="1353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49" y="1352"/>
                  </a:lnTo>
                  <a:lnTo>
                    <a:pt x="351" y="1352"/>
                  </a:lnTo>
                  <a:lnTo>
                    <a:pt x="351" y="1352"/>
                  </a:lnTo>
                  <a:lnTo>
                    <a:pt x="351" y="1352"/>
                  </a:lnTo>
                  <a:lnTo>
                    <a:pt x="351" y="1353"/>
                  </a:lnTo>
                  <a:lnTo>
                    <a:pt x="353" y="1355"/>
                  </a:lnTo>
                  <a:lnTo>
                    <a:pt x="353" y="1358"/>
                  </a:lnTo>
                  <a:lnTo>
                    <a:pt x="354" y="1358"/>
                  </a:lnTo>
                  <a:lnTo>
                    <a:pt x="356" y="1358"/>
                  </a:lnTo>
                  <a:lnTo>
                    <a:pt x="357" y="1358"/>
                  </a:lnTo>
                  <a:lnTo>
                    <a:pt x="362" y="1357"/>
                  </a:lnTo>
                  <a:lnTo>
                    <a:pt x="363" y="1355"/>
                  </a:lnTo>
                  <a:lnTo>
                    <a:pt x="363" y="1353"/>
                  </a:lnTo>
                  <a:lnTo>
                    <a:pt x="365" y="1352"/>
                  </a:lnTo>
                  <a:lnTo>
                    <a:pt x="368" y="1352"/>
                  </a:lnTo>
                  <a:lnTo>
                    <a:pt x="371" y="1350"/>
                  </a:lnTo>
                  <a:lnTo>
                    <a:pt x="373" y="1350"/>
                  </a:lnTo>
                  <a:lnTo>
                    <a:pt x="373" y="1350"/>
                  </a:lnTo>
                  <a:lnTo>
                    <a:pt x="374" y="1350"/>
                  </a:lnTo>
                  <a:lnTo>
                    <a:pt x="376" y="1350"/>
                  </a:lnTo>
                  <a:lnTo>
                    <a:pt x="376" y="1350"/>
                  </a:lnTo>
                  <a:lnTo>
                    <a:pt x="377" y="1349"/>
                  </a:lnTo>
                  <a:lnTo>
                    <a:pt x="377" y="1349"/>
                  </a:lnTo>
                  <a:lnTo>
                    <a:pt x="379" y="1347"/>
                  </a:lnTo>
                  <a:lnTo>
                    <a:pt x="380" y="1347"/>
                  </a:lnTo>
                  <a:lnTo>
                    <a:pt x="383" y="1349"/>
                  </a:lnTo>
                  <a:lnTo>
                    <a:pt x="385" y="1349"/>
                  </a:lnTo>
                  <a:lnTo>
                    <a:pt x="386" y="1346"/>
                  </a:lnTo>
                  <a:lnTo>
                    <a:pt x="388" y="1346"/>
                  </a:lnTo>
                  <a:lnTo>
                    <a:pt x="393" y="1346"/>
                  </a:lnTo>
                  <a:lnTo>
                    <a:pt x="394" y="1346"/>
                  </a:lnTo>
                  <a:lnTo>
                    <a:pt x="406" y="1350"/>
                  </a:lnTo>
                  <a:lnTo>
                    <a:pt x="423" y="1361"/>
                  </a:lnTo>
                  <a:lnTo>
                    <a:pt x="425" y="1364"/>
                  </a:lnTo>
                  <a:lnTo>
                    <a:pt x="425" y="1369"/>
                  </a:lnTo>
                  <a:lnTo>
                    <a:pt x="425" y="1369"/>
                  </a:lnTo>
                  <a:lnTo>
                    <a:pt x="426" y="1367"/>
                  </a:lnTo>
                  <a:lnTo>
                    <a:pt x="426" y="1366"/>
                  </a:lnTo>
                  <a:lnTo>
                    <a:pt x="426" y="1364"/>
                  </a:lnTo>
                  <a:lnTo>
                    <a:pt x="425" y="1364"/>
                  </a:lnTo>
                  <a:lnTo>
                    <a:pt x="423" y="1363"/>
                  </a:lnTo>
                  <a:lnTo>
                    <a:pt x="425" y="1360"/>
                  </a:lnTo>
                  <a:lnTo>
                    <a:pt x="425" y="1358"/>
                  </a:lnTo>
                  <a:lnTo>
                    <a:pt x="426" y="1357"/>
                  </a:lnTo>
                  <a:lnTo>
                    <a:pt x="430" y="1355"/>
                  </a:lnTo>
                  <a:lnTo>
                    <a:pt x="431" y="1355"/>
                  </a:lnTo>
                  <a:lnTo>
                    <a:pt x="433" y="1357"/>
                  </a:lnTo>
                  <a:lnTo>
                    <a:pt x="447" y="1358"/>
                  </a:lnTo>
                  <a:lnTo>
                    <a:pt x="453" y="1361"/>
                  </a:lnTo>
                  <a:lnTo>
                    <a:pt x="454" y="1361"/>
                  </a:lnTo>
                  <a:lnTo>
                    <a:pt x="460" y="1361"/>
                  </a:lnTo>
                  <a:lnTo>
                    <a:pt x="462" y="1361"/>
                  </a:lnTo>
                  <a:lnTo>
                    <a:pt x="462" y="1358"/>
                  </a:lnTo>
                  <a:lnTo>
                    <a:pt x="463" y="1355"/>
                  </a:lnTo>
                  <a:lnTo>
                    <a:pt x="463" y="1355"/>
                  </a:lnTo>
                  <a:lnTo>
                    <a:pt x="462" y="1355"/>
                  </a:lnTo>
                  <a:lnTo>
                    <a:pt x="463" y="1353"/>
                  </a:lnTo>
                  <a:lnTo>
                    <a:pt x="462" y="1352"/>
                  </a:lnTo>
                  <a:lnTo>
                    <a:pt x="462" y="1352"/>
                  </a:lnTo>
                  <a:lnTo>
                    <a:pt x="460" y="1352"/>
                  </a:lnTo>
                  <a:lnTo>
                    <a:pt x="459" y="1352"/>
                  </a:lnTo>
                  <a:lnTo>
                    <a:pt x="457" y="1350"/>
                  </a:lnTo>
                  <a:lnTo>
                    <a:pt x="456" y="1347"/>
                  </a:lnTo>
                  <a:lnTo>
                    <a:pt x="456" y="1349"/>
                  </a:lnTo>
                  <a:lnTo>
                    <a:pt x="454" y="1349"/>
                  </a:lnTo>
                  <a:lnTo>
                    <a:pt x="454" y="1349"/>
                  </a:lnTo>
                  <a:lnTo>
                    <a:pt x="453" y="1349"/>
                  </a:lnTo>
                  <a:lnTo>
                    <a:pt x="456" y="1346"/>
                  </a:lnTo>
                  <a:lnTo>
                    <a:pt x="456" y="1344"/>
                  </a:lnTo>
                  <a:lnTo>
                    <a:pt x="456" y="1344"/>
                  </a:lnTo>
                  <a:lnTo>
                    <a:pt x="457" y="1346"/>
                  </a:lnTo>
                  <a:lnTo>
                    <a:pt x="457" y="1346"/>
                  </a:lnTo>
                  <a:lnTo>
                    <a:pt x="457" y="1347"/>
                  </a:lnTo>
                  <a:lnTo>
                    <a:pt x="457" y="1347"/>
                  </a:lnTo>
                  <a:lnTo>
                    <a:pt x="460" y="1347"/>
                  </a:lnTo>
                  <a:lnTo>
                    <a:pt x="462" y="1347"/>
                  </a:lnTo>
                  <a:lnTo>
                    <a:pt x="463" y="1349"/>
                  </a:lnTo>
                  <a:lnTo>
                    <a:pt x="463" y="1349"/>
                  </a:lnTo>
                  <a:lnTo>
                    <a:pt x="463" y="1350"/>
                  </a:lnTo>
                  <a:lnTo>
                    <a:pt x="463" y="1349"/>
                  </a:lnTo>
                  <a:lnTo>
                    <a:pt x="465" y="1349"/>
                  </a:lnTo>
                  <a:lnTo>
                    <a:pt x="467" y="1347"/>
                  </a:lnTo>
                  <a:lnTo>
                    <a:pt x="467" y="1347"/>
                  </a:lnTo>
                  <a:lnTo>
                    <a:pt x="468" y="1346"/>
                  </a:lnTo>
                  <a:lnTo>
                    <a:pt x="470" y="1346"/>
                  </a:lnTo>
                  <a:lnTo>
                    <a:pt x="471" y="1346"/>
                  </a:lnTo>
                  <a:lnTo>
                    <a:pt x="474" y="1346"/>
                  </a:lnTo>
                  <a:lnTo>
                    <a:pt x="476" y="1347"/>
                  </a:lnTo>
                  <a:lnTo>
                    <a:pt x="477" y="1346"/>
                  </a:lnTo>
                  <a:lnTo>
                    <a:pt x="480" y="1344"/>
                  </a:lnTo>
                  <a:lnTo>
                    <a:pt x="482" y="1344"/>
                  </a:lnTo>
                  <a:lnTo>
                    <a:pt x="483" y="1344"/>
                  </a:lnTo>
                  <a:lnTo>
                    <a:pt x="483" y="1344"/>
                  </a:lnTo>
                  <a:lnTo>
                    <a:pt x="488" y="1346"/>
                  </a:lnTo>
                  <a:lnTo>
                    <a:pt x="490" y="1346"/>
                  </a:lnTo>
                  <a:lnTo>
                    <a:pt x="491" y="1347"/>
                  </a:lnTo>
                  <a:lnTo>
                    <a:pt x="491" y="1347"/>
                  </a:lnTo>
                  <a:lnTo>
                    <a:pt x="491" y="1346"/>
                  </a:lnTo>
                  <a:lnTo>
                    <a:pt x="494" y="1341"/>
                  </a:lnTo>
                  <a:lnTo>
                    <a:pt x="496" y="1343"/>
                  </a:lnTo>
                  <a:lnTo>
                    <a:pt x="497" y="1343"/>
                  </a:lnTo>
                  <a:lnTo>
                    <a:pt x="497" y="1341"/>
                  </a:lnTo>
                  <a:lnTo>
                    <a:pt x="499" y="1341"/>
                  </a:lnTo>
                  <a:lnTo>
                    <a:pt x="503" y="1340"/>
                  </a:lnTo>
                  <a:lnTo>
                    <a:pt x="503" y="1340"/>
                  </a:lnTo>
                  <a:lnTo>
                    <a:pt x="502" y="1340"/>
                  </a:lnTo>
                  <a:lnTo>
                    <a:pt x="502" y="1338"/>
                  </a:lnTo>
                  <a:lnTo>
                    <a:pt x="503" y="1338"/>
                  </a:lnTo>
                  <a:lnTo>
                    <a:pt x="508" y="1338"/>
                  </a:lnTo>
                  <a:lnTo>
                    <a:pt x="510" y="1338"/>
                  </a:lnTo>
                  <a:lnTo>
                    <a:pt x="510" y="1336"/>
                  </a:lnTo>
                  <a:lnTo>
                    <a:pt x="510" y="1335"/>
                  </a:lnTo>
                  <a:lnTo>
                    <a:pt x="503" y="1327"/>
                  </a:lnTo>
                  <a:lnTo>
                    <a:pt x="502" y="1326"/>
                  </a:lnTo>
                  <a:lnTo>
                    <a:pt x="500" y="1326"/>
                  </a:lnTo>
                  <a:lnTo>
                    <a:pt x="499" y="1324"/>
                  </a:lnTo>
                  <a:lnTo>
                    <a:pt x="499" y="1324"/>
                  </a:lnTo>
                  <a:lnTo>
                    <a:pt x="499" y="1324"/>
                  </a:lnTo>
                  <a:lnTo>
                    <a:pt x="500" y="1324"/>
                  </a:lnTo>
                  <a:lnTo>
                    <a:pt x="508" y="1329"/>
                  </a:lnTo>
                  <a:lnTo>
                    <a:pt x="510" y="1330"/>
                  </a:lnTo>
                  <a:lnTo>
                    <a:pt x="511" y="1332"/>
                  </a:lnTo>
                  <a:lnTo>
                    <a:pt x="511" y="1333"/>
                  </a:lnTo>
                  <a:lnTo>
                    <a:pt x="514" y="1333"/>
                  </a:lnTo>
                  <a:lnTo>
                    <a:pt x="516" y="1335"/>
                  </a:lnTo>
                  <a:lnTo>
                    <a:pt x="519" y="1336"/>
                  </a:lnTo>
                  <a:lnTo>
                    <a:pt x="519" y="1338"/>
                  </a:lnTo>
                  <a:lnTo>
                    <a:pt x="519" y="1338"/>
                  </a:lnTo>
                  <a:lnTo>
                    <a:pt x="520" y="1340"/>
                  </a:lnTo>
                  <a:lnTo>
                    <a:pt x="522" y="1340"/>
                  </a:lnTo>
                  <a:lnTo>
                    <a:pt x="524" y="1340"/>
                  </a:lnTo>
                  <a:lnTo>
                    <a:pt x="524" y="1338"/>
                  </a:lnTo>
                  <a:lnTo>
                    <a:pt x="524" y="1338"/>
                  </a:lnTo>
                  <a:lnTo>
                    <a:pt x="524" y="1335"/>
                  </a:lnTo>
                  <a:lnTo>
                    <a:pt x="524" y="1335"/>
                  </a:lnTo>
                  <a:lnTo>
                    <a:pt x="520" y="1332"/>
                  </a:lnTo>
                  <a:lnTo>
                    <a:pt x="522" y="1332"/>
                  </a:lnTo>
                  <a:lnTo>
                    <a:pt x="527" y="1332"/>
                  </a:lnTo>
                  <a:lnTo>
                    <a:pt x="527" y="1332"/>
                  </a:lnTo>
                  <a:lnTo>
                    <a:pt x="528" y="1332"/>
                  </a:lnTo>
                  <a:lnTo>
                    <a:pt x="528" y="1333"/>
                  </a:lnTo>
                  <a:lnTo>
                    <a:pt x="527" y="1336"/>
                  </a:lnTo>
                  <a:lnTo>
                    <a:pt x="525" y="1338"/>
                  </a:lnTo>
                  <a:lnTo>
                    <a:pt x="527" y="1340"/>
                  </a:lnTo>
                  <a:lnTo>
                    <a:pt x="530" y="1340"/>
                  </a:lnTo>
                  <a:lnTo>
                    <a:pt x="530" y="1336"/>
                  </a:lnTo>
                  <a:lnTo>
                    <a:pt x="531" y="1335"/>
                  </a:lnTo>
                  <a:lnTo>
                    <a:pt x="531" y="1332"/>
                  </a:lnTo>
                  <a:lnTo>
                    <a:pt x="533" y="1332"/>
                  </a:lnTo>
                  <a:lnTo>
                    <a:pt x="534" y="1332"/>
                  </a:lnTo>
                  <a:lnTo>
                    <a:pt x="536" y="1332"/>
                  </a:lnTo>
                  <a:lnTo>
                    <a:pt x="537" y="1332"/>
                  </a:lnTo>
                  <a:lnTo>
                    <a:pt x="539" y="1332"/>
                  </a:lnTo>
                  <a:lnTo>
                    <a:pt x="539" y="1333"/>
                  </a:lnTo>
                  <a:lnTo>
                    <a:pt x="539" y="1335"/>
                  </a:lnTo>
                  <a:lnTo>
                    <a:pt x="539" y="1335"/>
                  </a:lnTo>
                  <a:lnTo>
                    <a:pt x="540" y="1335"/>
                  </a:lnTo>
                  <a:lnTo>
                    <a:pt x="540" y="1333"/>
                  </a:lnTo>
                  <a:lnTo>
                    <a:pt x="540" y="1335"/>
                  </a:lnTo>
                  <a:lnTo>
                    <a:pt x="542" y="1336"/>
                  </a:lnTo>
                  <a:lnTo>
                    <a:pt x="544" y="1336"/>
                  </a:lnTo>
                  <a:lnTo>
                    <a:pt x="544" y="1336"/>
                  </a:lnTo>
                  <a:lnTo>
                    <a:pt x="540" y="1338"/>
                  </a:lnTo>
                  <a:lnTo>
                    <a:pt x="540" y="1338"/>
                  </a:lnTo>
                  <a:lnTo>
                    <a:pt x="540" y="1340"/>
                  </a:lnTo>
                  <a:lnTo>
                    <a:pt x="540" y="1341"/>
                  </a:lnTo>
                  <a:lnTo>
                    <a:pt x="547" y="1346"/>
                  </a:lnTo>
                  <a:lnTo>
                    <a:pt x="548" y="1346"/>
                  </a:lnTo>
                  <a:lnTo>
                    <a:pt x="550" y="1344"/>
                  </a:lnTo>
                  <a:lnTo>
                    <a:pt x="551" y="1344"/>
                  </a:lnTo>
                  <a:lnTo>
                    <a:pt x="550" y="1341"/>
                  </a:lnTo>
                  <a:lnTo>
                    <a:pt x="551" y="1340"/>
                  </a:lnTo>
                  <a:lnTo>
                    <a:pt x="551" y="1340"/>
                  </a:lnTo>
                  <a:lnTo>
                    <a:pt x="551" y="1341"/>
                  </a:lnTo>
                  <a:lnTo>
                    <a:pt x="553" y="1341"/>
                  </a:lnTo>
                  <a:lnTo>
                    <a:pt x="553" y="1341"/>
                  </a:lnTo>
                  <a:lnTo>
                    <a:pt x="565" y="1336"/>
                  </a:lnTo>
                  <a:lnTo>
                    <a:pt x="577" y="1336"/>
                  </a:lnTo>
                  <a:lnTo>
                    <a:pt x="588" y="1333"/>
                  </a:lnTo>
                  <a:lnTo>
                    <a:pt x="590" y="1335"/>
                  </a:lnTo>
                  <a:lnTo>
                    <a:pt x="593" y="1333"/>
                  </a:lnTo>
                  <a:lnTo>
                    <a:pt x="593" y="1333"/>
                  </a:lnTo>
                  <a:lnTo>
                    <a:pt x="594" y="1333"/>
                  </a:lnTo>
                  <a:lnTo>
                    <a:pt x="608" y="1340"/>
                  </a:lnTo>
                  <a:lnTo>
                    <a:pt x="610" y="1340"/>
                  </a:lnTo>
                  <a:lnTo>
                    <a:pt x="613" y="1340"/>
                  </a:lnTo>
                  <a:lnTo>
                    <a:pt x="614" y="1340"/>
                  </a:lnTo>
                  <a:lnTo>
                    <a:pt x="616" y="1341"/>
                  </a:lnTo>
                  <a:lnTo>
                    <a:pt x="617" y="1343"/>
                  </a:lnTo>
                  <a:lnTo>
                    <a:pt x="619" y="1341"/>
                  </a:lnTo>
                  <a:lnTo>
                    <a:pt x="621" y="1343"/>
                  </a:lnTo>
                  <a:lnTo>
                    <a:pt x="624" y="1343"/>
                  </a:lnTo>
                  <a:lnTo>
                    <a:pt x="625" y="1344"/>
                  </a:lnTo>
                  <a:lnTo>
                    <a:pt x="628" y="1344"/>
                  </a:lnTo>
                  <a:lnTo>
                    <a:pt x="631" y="1340"/>
                  </a:lnTo>
                  <a:lnTo>
                    <a:pt x="633" y="1338"/>
                  </a:lnTo>
                  <a:lnTo>
                    <a:pt x="633" y="1338"/>
                  </a:lnTo>
                  <a:lnTo>
                    <a:pt x="634" y="1336"/>
                  </a:lnTo>
                  <a:lnTo>
                    <a:pt x="634" y="1335"/>
                  </a:lnTo>
                  <a:lnTo>
                    <a:pt x="636" y="1335"/>
                  </a:lnTo>
                  <a:lnTo>
                    <a:pt x="637" y="1333"/>
                  </a:lnTo>
                  <a:lnTo>
                    <a:pt x="654" y="1330"/>
                  </a:lnTo>
                  <a:lnTo>
                    <a:pt x="658" y="1329"/>
                  </a:lnTo>
                  <a:lnTo>
                    <a:pt x="664" y="1323"/>
                  </a:lnTo>
                  <a:lnTo>
                    <a:pt x="667" y="1321"/>
                  </a:lnTo>
                  <a:lnTo>
                    <a:pt x="673" y="1323"/>
                  </a:lnTo>
                  <a:lnTo>
                    <a:pt x="678" y="1324"/>
                  </a:lnTo>
                  <a:lnTo>
                    <a:pt x="681" y="1324"/>
                  </a:lnTo>
                  <a:lnTo>
                    <a:pt x="679" y="1320"/>
                  </a:lnTo>
                  <a:lnTo>
                    <a:pt x="679" y="1316"/>
                  </a:lnTo>
                  <a:lnTo>
                    <a:pt x="681" y="1315"/>
                  </a:lnTo>
                  <a:lnTo>
                    <a:pt x="684" y="1309"/>
                  </a:lnTo>
                  <a:lnTo>
                    <a:pt x="687" y="1306"/>
                  </a:lnTo>
                  <a:lnTo>
                    <a:pt x="688" y="1306"/>
                  </a:lnTo>
                  <a:lnTo>
                    <a:pt x="690" y="1304"/>
                  </a:lnTo>
                  <a:lnTo>
                    <a:pt x="694" y="1304"/>
                  </a:lnTo>
                  <a:lnTo>
                    <a:pt x="696" y="1304"/>
                  </a:lnTo>
                  <a:lnTo>
                    <a:pt x="698" y="1304"/>
                  </a:lnTo>
                  <a:lnTo>
                    <a:pt x="698" y="1303"/>
                  </a:lnTo>
                  <a:lnTo>
                    <a:pt x="698" y="1301"/>
                  </a:lnTo>
                  <a:lnTo>
                    <a:pt x="699" y="1301"/>
                  </a:lnTo>
                  <a:lnTo>
                    <a:pt x="701" y="1301"/>
                  </a:lnTo>
                  <a:lnTo>
                    <a:pt x="702" y="1301"/>
                  </a:lnTo>
                  <a:lnTo>
                    <a:pt x="704" y="1300"/>
                  </a:lnTo>
                  <a:lnTo>
                    <a:pt x="708" y="1298"/>
                  </a:lnTo>
                  <a:lnTo>
                    <a:pt x="711" y="1296"/>
                  </a:lnTo>
                  <a:lnTo>
                    <a:pt x="713" y="1292"/>
                  </a:lnTo>
                  <a:lnTo>
                    <a:pt x="713" y="1287"/>
                  </a:lnTo>
                  <a:lnTo>
                    <a:pt x="711" y="1283"/>
                  </a:lnTo>
                  <a:lnTo>
                    <a:pt x="711" y="1280"/>
                  </a:lnTo>
                  <a:lnTo>
                    <a:pt x="710" y="1278"/>
                  </a:lnTo>
                  <a:lnTo>
                    <a:pt x="710" y="1275"/>
                  </a:lnTo>
                  <a:lnTo>
                    <a:pt x="710" y="1275"/>
                  </a:lnTo>
                  <a:lnTo>
                    <a:pt x="713" y="1275"/>
                  </a:lnTo>
                  <a:lnTo>
                    <a:pt x="713" y="1275"/>
                  </a:lnTo>
                  <a:lnTo>
                    <a:pt x="714" y="1273"/>
                  </a:lnTo>
                  <a:lnTo>
                    <a:pt x="714" y="1273"/>
                  </a:lnTo>
                  <a:lnTo>
                    <a:pt x="714" y="1272"/>
                  </a:lnTo>
                  <a:lnTo>
                    <a:pt x="716" y="1269"/>
                  </a:lnTo>
                  <a:lnTo>
                    <a:pt x="713" y="1267"/>
                  </a:lnTo>
                  <a:lnTo>
                    <a:pt x="690" y="1270"/>
                  </a:lnTo>
                  <a:lnTo>
                    <a:pt x="681" y="1272"/>
                  </a:lnTo>
                  <a:lnTo>
                    <a:pt x="665" y="1270"/>
                  </a:lnTo>
                  <a:lnTo>
                    <a:pt x="664" y="1270"/>
                  </a:lnTo>
                  <a:lnTo>
                    <a:pt x="662" y="1267"/>
                  </a:lnTo>
                  <a:lnTo>
                    <a:pt x="662" y="1266"/>
                  </a:lnTo>
                  <a:lnTo>
                    <a:pt x="662" y="1264"/>
                  </a:lnTo>
                  <a:lnTo>
                    <a:pt x="661" y="1264"/>
                  </a:lnTo>
                  <a:lnTo>
                    <a:pt x="659" y="1266"/>
                  </a:lnTo>
                  <a:lnTo>
                    <a:pt x="661" y="1267"/>
                  </a:lnTo>
                  <a:lnTo>
                    <a:pt x="661" y="1269"/>
                  </a:lnTo>
                  <a:lnTo>
                    <a:pt x="658" y="1267"/>
                  </a:lnTo>
                  <a:lnTo>
                    <a:pt x="651" y="1267"/>
                  </a:lnTo>
                  <a:lnTo>
                    <a:pt x="650" y="1267"/>
                  </a:lnTo>
                  <a:lnTo>
                    <a:pt x="650" y="1267"/>
                  </a:lnTo>
                  <a:lnTo>
                    <a:pt x="650" y="1266"/>
                  </a:lnTo>
                  <a:lnTo>
                    <a:pt x="648" y="1266"/>
                  </a:lnTo>
                  <a:lnTo>
                    <a:pt x="650" y="1264"/>
                  </a:lnTo>
                  <a:lnTo>
                    <a:pt x="653" y="1264"/>
                  </a:lnTo>
                  <a:lnTo>
                    <a:pt x="656" y="1261"/>
                  </a:lnTo>
                  <a:lnTo>
                    <a:pt x="656" y="1261"/>
                  </a:lnTo>
                  <a:lnTo>
                    <a:pt x="659" y="1261"/>
                  </a:lnTo>
                  <a:lnTo>
                    <a:pt x="661" y="1261"/>
                  </a:lnTo>
                  <a:lnTo>
                    <a:pt x="662" y="1261"/>
                  </a:lnTo>
                  <a:lnTo>
                    <a:pt x="662" y="1259"/>
                  </a:lnTo>
                  <a:lnTo>
                    <a:pt x="661" y="1258"/>
                  </a:lnTo>
                  <a:lnTo>
                    <a:pt x="659" y="1258"/>
                  </a:lnTo>
                  <a:lnTo>
                    <a:pt x="647" y="1255"/>
                  </a:lnTo>
                  <a:lnTo>
                    <a:pt x="642" y="1256"/>
                  </a:lnTo>
                  <a:lnTo>
                    <a:pt x="642" y="1256"/>
                  </a:lnTo>
                  <a:lnTo>
                    <a:pt x="642" y="1258"/>
                  </a:lnTo>
                  <a:lnTo>
                    <a:pt x="642" y="1259"/>
                  </a:lnTo>
                  <a:lnTo>
                    <a:pt x="641" y="1259"/>
                  </a:lnTo>
                  <a:lnTo>
                    <a:pt x="636" y="1259"/>
                  </a:lnTo>
                  <a:lnTo>
                    <a:pt x="637" y="1259"/>
                  </a:lnTo>
                  <a:lnTo>
                    <a:pt x="639" y="1259"/>
                  </a:lnTo>
                  <a:lnTo>
                    <a:pt x="639" y="1258"/>
                  </a:lnTo>
                  <a:lnTo>
                    <a:pt x="641" y="1258"/>
                  </a:lnTo>
                  <a:lnTo>
                    <a:pt x="641" y="1256"/>
                  </a:lnTo>
                  <a:lnTo>
                    <a:pt x="641" y="1255"/>
                  </a:lnTo>
                  <a:lnTo>
                    <a:pt x="642" y="1253"/>
                  </a:lnTo>
                  <a:lnTo>
                    <a:pt x="647" y="1252"/>
                  </a:lnTo>
                  <a:lnTo>
                    <a:pt x="648" y="1252"/>
                  </a:lnTo>
                  <a:lnTo>
                    <a:pt x="648" y="1252"/>
                  </a:lnTo>
                  <a:lnTo>
                    <a:pt x="650" y="1253"/>
                  </a:lnTo>
                  <a:lnTo>
                    <a:pt x="651" y="1252"/>
                  </a:lnTo>
                  <a:lnTo>
                    <a:pt x="651" y="1252"/>
                  </a:lnTo>
                  <a:lnTo>
                    <a:pt x="653" y="1252"/>
                  </a:lnTo>
                  <a:lnTo>
                    <a:pt x="654" y="1252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6" y="1250"/>
                  </a:lnTo>
                  <a:lnTo>
                    <a:pt x="658" y="1250"/>
                  </a:lnTo>
                  <a:lnTo>
                    <a:pt x="658" y="1250"/>
                  </a:lnTo>
                  <a:lnTo>
                    <a:pt x="659" y="1250"/>
                  </a:lnTo>
                  <a:lnTo>
                    <a:pt x="665" y="1252"/>
                  </a:lnTo>
                  <a:lnTo>
                    <a:pt x="668" y="1250"/>
                  </a:lnTo>
                  <a:lnTo>
                    <a:pt x="670" y="1249"/>
                  </a:lnTo>
                  <a:lnTo>
                    <a:pt x="673" y="1247"/>
                  </a:lnTo>
                  <a:lnTo>
                    <a:pt x="676" y="1244"/>
                  </a:lnTo>
                  <a:lnTo>
                    <a:pt x="679" y="1241"/>
                  </a:lnTo>
                  <a:lnTo>
                    <a:pt x="678" y="1239"/>
                  </a:lnTo>
                  <a:lnTo>
                    <a:pt x="678" y="1239"/>
                  </a:lnTo>
                  <a:lnTo>
                    <a:pt x="676" y="1239"/>
                  </a:lnTo>
                  <a:lnTo>
                    <a:pt x="676" y="1239"/>
                  </a:lnTo>
                  <a:lnTo>
                    <a:pt x="678" y="1238"/>
                  </a:lnTo>
                  <a:lnTo>
                    <a:pt x="678" y="1238"/>
                  </a:lnTo>
                  <a:lnTo>
                    <a:pt x="678" y="1235"/>
                  </a:lnTo>
                  <a:lnTo>
                    <a:pt x="678" y="1233"/>
                  </a:lnTo>
                  <a:lnTo>
                    <a:pt x="679" y="1233"/>
                  </a:lnTo>
                  <a:lnTo>
                    <a:pt x="678" y="1232"/>
                  </a:lnTo>
                  <a:lnTo>
                    <a:pt x="678" y="1230"/>
                  </a:lnTo>
                  <a:lnTo>
                    <a:pt x="678" y="1230"/>
                  </a:lnTo>
                  <a:lnTo>
                    <a:pt x="678" y="1230"/>
                  </a:lnTo>
                  <a:lnTo>
                    <a:pt x="678" y="1229"/>
                  </a:lnTo>
                  <a:lnTo>
                    <a:pt x="678" y="1227"/>
                  </a:lnTo>
                  <a:lnTo>
                    <a:pt x="678" y="1227"/>
                  </a:lnTo>
                  <a:lnTo>
                    <a:pt x="678" y="1226"/>
                  </a:lnTo>
                  <a:lnTo>
                    <a:pt x="676" y="1226"/>
                  </a:lnTo>
                  <a:lnTo>
                    <a:pt x="673" y="1227"/>
                  </a:lnTo>
                  <a:lnTo>
                    <a:pt x="671" y="1229"/>
                  </a:lnTo>
                  <a:lnTo>
                    <a:pt x="667" y="1229"/>
                  </a:lnTo>
                  <a:lnTo>
                    <a:pt x="664" y="1232"/>
                  </a:lnTo>
                  <a:lnTo>
                    <a:pt x="664" y="1230"/>
                  </a:lnTo>
                  <a:lnTo>
                    <a:pt x="662" y="1229"/>
                  </a:lnTo>
                  <a:lnTo>
                    <a:pt x="661" y="1229"/>
                  </a:lnTo>
                  <a:lnTo>
                    <a:pt x="659" y="1229"/>
                  </a:lnTo>
                  <a:lnTo>
                    <a:pt x="661" y="1227"/>
                  </a:lnTo>
                  <a:lnTo>
                    <a:pt x="665" y="1226"/>
                  </a:lnTo>
                  <a:lnTo>
                    <a:pt x="667" y="1226"/>
                  </a:lnTo>
                  <a:lnTo>
                    <a:pt x="667" y="1226"/>
                  </a:lnTo>
                  <a:lnTo>
                    <a:pt x="668" y="1227"/>
                  </a:lnTo>
                  <a:lnTo>
                    <a:pt x="670" y="1227"/>
                  </a:lnTo>
                  <a:lnTo>
                    <a:pt x="671" y="1226"/>
                  </a:lnTo>
                  <a:lnTo>
                    <a:pt x="671" y="1226"/>
                  </a:lnTo>
                  <a:lnTo>
                    <a:pt x="673" y="1226"/>
                  </a:lnTo>
                  <a:lnTo>
                    <a:pt x="673" y="1224"/>
                  </a:lnTo>
                  <a:lnTo>
                    <a:pt x="673" y="1223"/>
                  </a:lnTo>
                  <a:lnTo>
                    <a:pt x="673" y="1221"/>
                  </a:lnTo>
                  <a:lnTo>
                    <a:pt x="673" y="1221"/>
                  </a:lnTo>
                  <a:lnTo>
                    <a:pt x="674" y="1221"/>
                  </a:lnTo>
                  <a:lnTo>
                    <a:pt x="676" y="1218"/>
                  </a:lnTo>
                  <a:lnTo>
                    <a:pt x="679" y="1216"/>
                  </a:lnTo>
                  <a:lnTo>
                    <a:pt x="681" y="1216"/>
                  </a:lnTo>
                  <a:lnTo>
                    <a:pt x="681" y="1213"/>
                  </a:lnTo>
                  <a:lnTo>
                    <a:pt x="681" y="1215"/>
                  </a:lnTo>
                  <a:lnTo>
                    <a:pt x="684" y="1218"/>
                  </a:lnTo>
                  <a:lnTo>
                    <a:pt x="685" y="1221"/>
                  </a:lnTo>
                  <a:lnTo>
                    <a:pt x="685" y="1221"/>
                  </a:lnTo>
                  <a:lnTo>
                    <a:pt x="687" y="1221"/>
                  </a:lnTo>
                  <a:lnTo>
                    <a:pt x="691" y="1221"/>
                  </a:lnTo>
                  <a:lnTo>
                    <a:pt x="694" y="1219"/>
                  </a:lnTo>
                  <a:lnTo>
                    <a:pt x="699" y="1218"/>
                  </a:lnTo>
                  <a:lnTo>
                    <a:pt x="702" y="1213"/>
                  </a:lnTo>
                  <a:lnTo>
                    <a:pt x="704" y="1212"/>
                  </a:lnTo>
                  <a:lnTo>
                    <a:pt x="704" y="1209"/>
                  </a:lnTo>
                  <a:lnTo>
                    <a:pt x="704" y="1209"/>
                  </a:lnTo>
                  <a:lnTo>
                    <a:pt x="702" y="1210"/>
                  </a:lnTo>
                  <a:lnTo>
                    <a:pt x="702" y="1210"/>
                  </a:lnTo>
                  <a:lnTo>
                    <a:pt x="699" y="1210"/>
                  </a:lnTo>
                  <a:lnTo>
                    <a:pt x="698" y="1210"/>
                  </a:lnTo>
                  <a:lnTo>
                    <a:pt x="698" y="1209"/>
                  </a:lnTo>
                  <a:lnTo>
                    <a:pt x="702" y="1203"/>
                  </a:lnTo>
                  <a:lnTo>
                    <a:pt x="704" y="1201"/>
                  </a:lnTo>
                  <a:lnTo>
                    <a:pt x="702" y="1203"/>
                  </a:lnTo>
                  <a:lnTo>
                    <a:pt x="690" y="1201"/>
                  </a:lnTo>
                  <a:lnTo>
                    <a:pt x="687" y="1199"/>
                  </a:lnTo>
                  <a:lnTo>
                    <a:pt x="690" y="1199"/>
                  </a:lnTo>
                  <a:lnTo>
                    <a:pt x="693" y="1198"/>
                  </a:lnTo>
                  <a:lnTo>
                    <a:pt x="694" y="1198"/>
                  </a:lnTo>
                  <a:lnTo>
                    <a:pt x="696" y="1199"/>
                  </a:lnTo>
                  <a:lnTo>
                    <a:pt x="698" y="1199"/>
                  </a:lnTo>
                  <a:lnTo>
                    <a:pt x="698" y="1199"/>
                  </a:lnTo>
                  <a:lnTo>
                    <a:pt x="699" y="1199"/>
                  </a:lnTo>
                  <a:lnTo>
                    <a:pt x="701" y="1199"/>
                  </a:lnTo>
                  <a:lnTo>
                    <a:pt x="702" y="1199"/>
                  </a:lnTo>
                  <a:lnTo>
                    <a:pt x="702" y="1199"/>
                  </a:lnTo>
                  <a:lnTo>
                    <a:pt x="702" y="1198"/>
                  </a:lnTo>
                  <a:lnTo>
                    <a:pt x="702" y="1196"/>
                  </a:lnTo>
                  <a:lnTo>
                    <a:pt x="702" y="1196"/>
                  </a:lnTo>
                  <a:lnTo>
                    <a:pt x="698" y="1195"/>
                  </a:lnTo>
                  <a:lnTo>
                    <a:pt x="696" y="1195"/>
                  </a:lnTo>
                  <a:lnTo>
                    <a:pt x="694" y="1192"/>
                  </a:lnTo>
                  <a:lnTo>
                    <a:pt x="694" y="1192"/>
                  </a:lnTo>
                  <a:lnTo>
                    <a:pt x="696" y="1192"/>
                  </a:lnTo>
                  <a:lnTo>
                    <a:pt x="699" y="1195"/>
                  </a:lnTo>
                  <a:lnTo>
                    <a:pt x="702" y="1195"/>
                  </a:lnTo>
                  <a:lnTo>
                    <a:pt x="707" y="1201"/>
                  </a:lnTo>
                  <a:lnTo>
                    <a:pt x="708" y="1201"/>
                  </a:lnTo>
                  <a:lnTo>
                    <a:pt x="708" y="1199"/>
                  </a:lnTo>
                  <a:lnTo>
                    <a:pt x="713" y="1195"/>
                  </a:lnTo>
                  <a:lnTo>
                    <a:pt x="716" y="1192"/>
                  </a:lnTo>
                  <a:lnTo>
                    <a:pt x="716" y="1192"/>
                  </a:lnTo>
                  <a:lnTo>
                    <a:pt x="716" y="1190"/>
                  </a:lnTo>
                  <a:lnTo>
                    <a:pt x="718" y="1189"/>
                  </a:lnTo>
                  <a:lnTo>
                    <a:pt x="718" y="1187"/>
                  </a:lnTo>
                  <a:lnTo>
                    <a:pt x="718" y="1189"/>
                  </a:lnTo>
                  <a:lnTo>
                    <a:pt x="719" y="1187"/>
                  </a:lnTo>
                  <a:lnTo>
                    <a:pt x="725" y="1184"/>
                  </a:lnTo>
                  <a:lnTo>
                    <a:pt x="725" y="1184"/>
                  </a:lnTo>
                  <a:lnTo>
                    <a:pt x="725" y="1182"/>
                  </a:lnTo>
                  <a:lnTo>
                    <a:pt x="727" y="1179"/>
                  </a:lnTo>
                  <a:lnTo>
                    <a:pt x="727" y="1176"/>
                  </a:lnTo>
                  <a:lnTo>
                    <a:pt x="728" y="1173"/>
                  </a:lnTo>
                  <a:lnTo>
                    <a:pt x="728" y="1170"/>
                  </a:lnTo>
                  <a:lnTo>
                    <a:pt x="728" y="1166"/>
                  </a:lnTo>
                  <a:lnTo>
                    <a:pt x="728" y="1162"/>
                  </a:lnTo>
                  <a:lnTo>
                    <a:pt x="730" y="1161"/>
                  </a:lnTo>
                  <a:lnTo>
                    <a:pt x="730" y="1159"/>
                  </a:lnTo>
                  <a:lnTo>
                    <a:pt x="733" y="1155"/>
                  </a:lnTo>
                  <a:lnTo>
                    <a:pt x="736" y="1147"/>
                  </a:lnTo>
                  <a:lnTo>
                    <a:pt x="736" y="1146"/>
                  </a:lnTo>
                  <a:lnTo>
                    <a:pt x="736" y="1144"/>
                  </a:lnTo>
                  <a:lnTo>
                    <a:pt x="738" y="1138"/>
                  </a:lnTo>
                  <a:lnTo>
                    <a:pt x="739" y="1136"/>
                  </a:lnTo>
                  <a:lnTo>
                    <a:pt x="739" y="1136"/>
                  </a:lnTo>
                  <a:lnTo>
                    <a:pt x="738" y="1130"/>
                  </a:lnTo>
                  <a:close/>
                  <a:moveTo>
                    <a:pt x="391" y="300"/>
                  </a:moveTo>
                  <a:lnTo>
                    <a:pt x="393" y="300"/>
                  </a:lnTo>
                  <a:lnTo>
                    <a:pt x="393" y="297"/>
                  </a:lnTo>
                  <a:lnTo>
                    <a:pt x="391" y="297"/>
                  </a:lnTo>
                  <a:lnTo>
                    <a:pt x="388" y="297"/>
                  </a:lnTo>
                  <a:lnTo>
                    <a:pt x="385" y="297"/>
                  </a:lnTo>
                  <a:lnTo>
                    <a:pt x="382" y="299"/>
                  </a:lnTo>
                  <a:lnTo>
                    <a:pt x="382" y="300"/>
                  </a:lnTo>
                  <a:lnTo>
                    <a:pt x="386" y="300"/>
                  </a:lnTo>
                  <a:lnTo>
                    <a:pt x="386" y="300"/>
                  </a:lnTo>
                  <a:lnTo>
                    <a:pt x="386" y="302"/>
                  </a:lnTo>
                  <a:lnTo>
                    <a:pt x="385" y="302"/>
                  </a:lnTo>
                  <a:lnTo>
                    <a:pt x="383" y="302"/>
                  </a:lnTo>
                  <a:lnTo>
                    <a:pt x="383" y="300"/>
                  </a:lnTo>
                  <a:lnTo>
                    <a:pt x="385" y="305"/>
                  </a:lnTo>
                  <a:lnTo>
                    <a:pt x="386" y="306"/>
                  </a:lnTo>
                  <a:lnTo>
                    <a:pt x="385" y="308"/>
                  </a:lnTo>
                  <a:lnTo>
                    <a:pt x="385" y="308"/>
                  </a:lnTo>
                  <a:lnTo>
                    <a:pt x="390" y="312"/>
                  </a:lnTo>
                  <a:lnTo>
                    <a:pt x="391" y="311"/>
                  </a:lnTo>
                  <a:lnTo>
                    <a:pt x="391" y="309"/>
                  </a:lnTo>
                  <a:lnTo>
                    <a:pt x="391" y="308"/>
                  </a:lnTo>
                  <a:lnTo>
                    <a:pt x="390" y="305"/>
                  </a:lnTo>
                  <a:lnTo>
                    <a:pt x="391" y="305"/>
                  </a:lnTo>
                  <a:lnTo>
                    <a:pt x="391" y="303"/>
                  </a:lnTo>
                  <a:lnTo>
                    <a:pt x="390" y="303"/>
                  </a:lnTo>
                  <a:lnTo>
                    <a:pt x="390" y="302"/>
                  </a:lnTo>
                  <a:lnTo>
                    <a:pt x="391" y="300"/>
                  </a:lnTo>
                  <a:close/>
                  <a:moveTo>
                    <a:pt x="353" y="292"/>
                  </a:moveTo>
                  <a:lnTo>
                    <a:pt x="354" y="291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6" y="291"/>
                  </a:lnTo>
                  <a:lnTo>
                    <a:pt x="356" y="292"/>
                  </a:lnTo>
                  <a:lnTo>
                    <a:pt x="357" y="292"/>
                  </a:lnTo>
                  <a:lnTo>
                    <a:pt x="356" y="292"/>
                  </a:lnTo>
                  <a:lnTo>
                    <a:pt x="356" y="294"/>
                  </a:lnTo>
                  <a:lnTo>
                    <a:pt x="356" y="294"/>
                  </a:lnTo>
                  <a:lnTo>
                    <a:pt x="357" y="297"/>
                  </a:lnTo>
                  <a:lnTo>
                    <a:pt x="359" y="299"/>
                  </a:lnTo>
                  <a:lnTo>
                    <a:pt x="359" y="299"/>
                  </a:lnTo>
                  <a:lnTo>
                    <a:pt x="360" y="300"/>
                  </a:lnTo>
                  <a:lnTo>
                    <a:pt x="360" y="302"/>
                  </a:lnTo>
                  <a:lnTo>
                    <a:pt x="362" y="305"/>
                  </a:lnTo>
                  <a:lnTo>
                    <a:pt x="362" y="305"/>
                  </a:lnTo>
                  <a:lnTo>
                    <a:pt x="369" y="305"/>
                  </a:lnTo>
                  <a:lnTo>
                    <a:pt x="373" y="305"/>
                  </a:lnTo>
                  <a:lnTo>
                    <a:pt x="374" y="302"/>
                  </a:lnTo>
                  <a:lnTo>
                    <a:pt x="373" y="302"/>
                  </a:lnTo>
                  <a:lnTo>
                    <a:pt x="368" y="303"/>
                  </a:lnTo>
                  <a:lnTo>
                    <a:pt x="366" y="303"/>
                  </a:lnTo>
                  <a:lnTo>
                    <a:pt x="366" y="302"/>
                  </a:lnTo>
                  <a:lnTo>
                    <a:pt x="368" y="300"/>
                  </a:lnTo>
                  <a:lnTo>
                    <a:pt x="369" y="300"/>
                  </a:lnTo>
                  <a:lnTo>
                    <a:pt x="371" y="300"/>
                  </a:lnTo>
                  <a:lnTo>
                    <a:pt x="371" y="299"/>
                  </a:lnTo>
                  <a:lnTo>
                    <a:pt x="371" y="297"/>
                  </a:lnTo>
                  <a:lnTo>
                    <a:pt x="369" y="297"/>
                  </a:lnTo>
                  <a:lnTo>
                    <a:pt x="369" y="297"/>
                  </a:lnTo>
                  <a:lnTo>
                    <a:pt x="369" y="296"/>
                  </a:lnTo>
                  <a:lnTo>
                    <a:pt x="369" y="294"/>
                  </a:lnTo>
                  <a:lnTo>
                    <a:pt x="366" y="288"/>
                  </a:lnTo>
                  <a:lnTo>
                    <a:pt x="365" y="288"/>
                  </a:lnTo>
                  <a:lnTo>
                    <a:pt x="363" y="288"/>
                  </a:lnTo>
                  <a:lnTo>
                    <a:pt x="360" y="285"/>
                  </a:lnTo>
                  <a:lnTo>
                    <a:pt x="359" y="283"/>
                  </a:lnTo>
                  <a:lnTo>
                    <a:pt x="359" y="283"/>
                  </a:lnTo>
                  <a:lnTo>
                    <a:pt x="356" y="285"/>
                  </a:lnTo>
                  <a:lnTo>
                    <a:pt x="353" y="286"/>
                  </a:lnTo>
                  <a:lnTo>
                    <a:pt x="353" y="288"/>
                  </a:lnTo>
                  <a:lnTo>
                    <a:pt x="353" y="291"/>
                  </a:lnTo>
                  <a:lnTo>
                    <a:pt x="353" y="291"/>
                  </a:lnTo>
                  <a:lnTo>
                    <a:pt x="353" y="292"/>
                  </a:lnTo>
                  <a:close/>
                  <a:moveTo>
                    <a:pt x="360" y="280"/>
                  </a:moveTo>
                  <a:lnTo>
                    <a:pt x="363" y="280"/>
                  </a:lnTo>
                  <a:lnTo>
                    <a:pt x="363" y="280"/>
                  </a:lnTo>
                  <a:lnTo>
                    <a:pt x="365" y="279"/>
                  </a:lnTo>
                  <a:lnTo>
                    <a:pt x="365" y="277"/>
                  </a:lnTo>
                  <a:lnTo>
                    <a:pt x="365" y="275"/>
                  </a:lnTo>
                  <a:lnTo>
                    <a:pt x="365" y="274"/>
                  </a:lnTo>
                  <a:lnTo>
                    <a:pt x="365" y="274"/>
                  </a:lnTo>
                  <a:lnTo>
                    <a:pt x="365" y="272"/>
                  </a:lnTo>
                  <a:lnTo>
                    <a:pt x="363" y="272"/>
                  </a:lnTo>
                  <a:lnTo>
                    <a:pt x="365" y="271"/>
                  </a:lnTo>
                  <a:lnTo>
                    <a:pt x="365" y="271"/>
                  </a:lnTo>
                  <a:lnTo>
                    <a:pt x="365" y="271"/>
                  </a:lnTo>
                  <a:lnTo>
                    <a:pt x="366" y="272"/>
                  </a:lnTo>
                  <a:lnTo>
                    <a:pt x="366" y="271"/>
                  </a:lnTo>
                  <a:lnTo>
                    <a:pt x="366" y="269"/>
                  </a:lnTo>
                  <a:lnTo>
                    <a:pt x="366" y="269"/>
                  </a:lnTo>
                  <a:lnTo>
                    <a:pt x="366" y="268"/>
                  </a:lnTo>
                  <a:lnTo>
                    <a:pt x="368" y="268"/>
                  </a:lnTo>
                  <a:lnTo>
                    <a:pt x="368" y="269"/>
                  </a:lnTo>
                  <a:lnTo>
                    <a:pt x="368" y="269"/>
                  </a:lnTo>
                  <a:lnTo>
                    <a:pt x="368" y="271"/>
                  </a:lnTo>
                  <a:lnTo>
                    <a:pt x="369" y="272"/>
                  </a:lnTo>
                  <a:lnTo>
                    <a:pt x="369" y="272"/>
                  </a:lnTo>
                  <a:lnTo>
                    <a:pt x="368" y="275"/>
                  </a:lnTo>
                  <a:lnTo>
                    <a:pt x="366" y="277"/>
                  </a:lnTo>
                  <a:lnTo>
                    <a:pt x="366" y="280"/>
                  </a:lnTo>
                  <a:lnTo>
                    <a:pt x="368" y="283"/>
                  </a:lnTo>
                  <a:lnTo>
                    <a:pt x="369" y="286"/>
                  </a:lnTo>
                  <a:lnTo>
                    <a:pt x="374" y="285"/>
                  </a:lnTo>
                  <a:lnTo>
                    <a:pt x="376" y="286"/>
                  </a:lnTo>
                  <a:lnTo>
                    <a:pt x="376" y="285"/>
                  </a:lnTo>
                  <a:lnTo>
                    <a:pt x="377" y="283"/>
                  </a:lnTo>
                  <a:lnTo>
                    <a:pt x="379" y="283"/>
                  </a:lnTo>
                  <a:lnTo>
                    <a:pt x="379" y="282"/>
                  </a:lnTo>
                  <a:lnTo>
                    <a:pt x="379" y="282"/>
                  </a:lnTo>
                  <a:lnTo>
                    <a:pt x="380" y="282"/>
                  </a:lnTo>
                  <a:lnTo>
                    <a:pt x="380" y="282"/>
                  </a:lnTo>
                  <a:lnTo>
                    <a:pt x="382" y="282"/>
                  </a:lnTo>
                  <a:lnTo>
                    <a:pt x="382" y="282"/>
                  </a:lnTo>
                  <a:lnTo>
                    <a:pt x="383" y="282"/>
                  </a:lnTo>
                  <a:lnTo>
                    <a:pt x="385" y="280"/>
                  </a:lnTo>
                  <a:lnTo>
                    <a:pt x="386" y="279"/>
                  </a:lnTo>
                  <a:lnTo>
                    <a:pt x="386" y="280"/>
                  </a:lnTo>
                  <a:lnTo>
                    <a:pt x="390" y="286"/>
                  </a:lnTo>
                  <a:lnTo>
                    <a:pt x="390" y="288"/>
                  </a:lnTo>
                  <a:lnTo>
                    <a:pt x="391" y="288"/>
                  </a:lnTo>
                  <a:lnTo>
                    <a:pt x="396" y="291"/>
                  </a:lnTo>
                  <a:lnTo>
                    <a:pt x="397" y="291"/>
                  </a:lnTo>
                  <a:lnTo>
                    <a:pt x="399" y="289"/>
                  </a:lnTo>
                  <a:lnTo>
                    <a:pt x="400" y="286"/>
                  </a:lnTo>
                  <a:lnTo>
                    <a:pt x="402" y="286"/>
                  </a:lnTo>
                  <a:lnTo>
                    <a:pt x="403" y="285"/>
                  </a:lnTo>
                  <a:lnTo>
                    <a:pt x="405" y="285"/>
                  </a:lnTo>
                  <a:lnTo>
                    <a:pt x="406" y="283"/>
                  </a:lnTo>
                  <a:lnTo>
                    <a:pt x="406" y="282"/>
                  </a:lnTo>
                  <a:lnTo>
                    <a:pt x="406" y="280"/>
                  </a:lnTo>
                  <a:lnTo>
                    <a:pt x="405" y="279"/>
                  </a:lnTo>
                  <a:lnTo>
                    <a:pt x="405" y="277"/>
                  </a:lnTo>
                  <a:lnTo>
                    <a:pt x="403" y="279"/>
                  </a:lnTo>
                  <a:lnTo>
                    <a:pt x="400" y="280"/>
                  </a:lnTo>
                  <a:lnTo>
                    <a:pt x="399" y="280"/>
                  </a:lnTo>
                  <a:lnTo>
                    <a:pt x="400" y="280"/>
                  </a:lnTo>
                  <a:lnTo>
                    <a:pt x="400" y="283"/>
                  </a:lnTo>
                  <a:lnTo>
                    <a:pt x="400" y="285"/>
                  </a:lnTo>
                  <a:lnTo>
                    <a:pt x="399" y="283"/>
                  </a:lnTo>
                  <a:lnTo>
                    <a:pt x="397" y="283"/>
                  </a:lnTo>
                  <a:lnTo>
                    <a:pt x="396" y="280"/>
                  </a:lnTo>
                  <a:lnTo>
                    <a:pt x="397" y="280"/>
                  </a:lnTo>
                  <a:lnTo>
                    <a:pt x="400" y="277"/>
                  </a:lnTo>
                  <a:lnTo>
                    <a:pt x="400" y="275"/>
                  </a:lnTo>
                  <a:lnTo>
                    <a:pt x="400" y="275"/>
                  </a:lnTo>
                  <a:lnTo>
                    <a:pt x="400" y="274"/>
                  </a:lnTo>
                  <a:lnTo>
                    <a:pt x="399" y="275"/>
                  </a:lnTo>
                  <a:lnTo>
                    <a:pt x="397" y="275"/>
                  </a:lnTo>
                  <a:lnTo>
                    <a:pt x="396" y="277"/>
                  </a:lnTo>
                  <a:lnTo>
                    <a:pt x="394" y="277"/>
                  </a:lnTo>
                  <a:lnTo>
                    <a:pt x="393" y="277"/>
                  </a:lnTo>
                  <a:lnTo>
                    <a:pt x="393" y="275"/>
                  </a:lnTo>
                  <a:lnTo>
                    <a:pt x="393" y="274"/>
                  </a:lnTo>
                  <a:lnTo>
                    <a:pt x="393" y="274"/>
                  </a:lnTo>
                  <a:lnTo>
                    <a:pt x="393" y="275"/>
                  </a:lnTo>
                  <a:lnTo>
                    <a:pt x="391" y="274"/>
                  </a:lnTo>
                  <a:lnTo>
                    <a:pt x="391" y="272"/>
                  </a:lnTo>
                  <a:lnTo>
                    <a:pt x="390" y="272"/>
                  </a:lnTo>
                  <a:lnTo>
                    <a:pt x="388" y="272"/>
                  </a:lnTo>
                  <a:lnTo>
                    <a:pt x="388" y="274"/>
                  </a:lnTo>
                  <a:lnTo>
                    <a:pt x="386" y="274"/>
                  </a:lnTo>
                  <a:lnTo>
                    <a:pt x="383" y="271"/>
                  </a:lnTo>
                  <a:lnTo>
                    <a:pt x="382" y="272"/>
                  </a:lnTo>
                  <a:lnTo>
                    <a:pt x="380" y="274"/>
                  </a:lnTo>
                  <a:lnTo>
                    <a:pt x="380" y="275"/>
                  </a:lnTo>
                  <a:lnTo>
                    <a:pt x="377" y="274"/>
                  </a:lnTo>
                  <a:lnTo>
                    <a:pt x="376" y="274"/>
                  </a:lnTo>
                  <a:lnTo>
                    <a:pt x="374" y="272"/>
                  </a:lnTo>
                  <a:lnTo>
                    <a:pt x="376" y="272"/>
                  </a:lnTo>
                  <a:lnTo>
                    <a:pt x="377" y="271"/>
                  </a:lnTo>
                  <a:lnTo>
                    <a:pt x="379" y="269"/>
                  </a:lnTo>
                  <a:lnTo>
                    <a:pt x="380" y="266"/>
                  </a:lnTo>
                  <a:lnTo>
                    <a:pt x="380" y="266"/>
                  </a:lnTo>
                  <a:lnTo>
                    <a:pt x="385" y="265"/>
                  </a:lnTo>
                  <a:lnTo>
                    <a:pt x="385" y="265"/>
                  </a:lnTo>
                  <a:lnTo>
                    <a:pt x="383" y="265"/>
                  </a:lnTo>
                  <a:lnTo>
                    <a:pt x="383" y="265"/>
                  </a:lnTo>
                  <a:lnTo>
                    <a:pt x="383" y="263"/>
                  </a:lnTo>
                  <a:lnTo>
                    <a:pt x="385" y="263"/>
                  </a:lnTo>
                  <a:lnTo>
                    <a:pt x="385" y="263"/>
                  </a:lnTo>
                  <a:lnTo>
                    <a:pt x="380" y="260"/>
                  </a:lnTo>
                  <a:lnTo>
                    <a:pt x="379" y="259"/>
                  </a:lnTo>
                  <a:lnTo>
                    <a:pt x="380" y="259"/>
                  </a:lnTo>
                  <a:lnTo>
                    <a:pt x="380" y="259"/>
                  </a:lnTo>
                  <a:lnTo>
                    <a:pt x="380" y="257"/>
                  </a:lnTo>
                  <a:lnTo>
                    <a:pt x="379" y="255"/>
                  </a:lnTo>
                  <a:lnTo>
                    <a:pt x="379" y="255"/>
                  </a:lnTo>
                  <a:lnTo>
                    <a:pt x="377" y="255"/>
                  </a:lnTo>
                  <a:lnTo>
                    <a:pt x="376" y="255"/>
                  </a:lnTo>
                  <a:lnTo>
                    <a:pt x="376" y="255"/>
                  </a:lnTo>
                  <a:lnTo>
                    <a:pt x="373" y="252"/>
                  </a:lnTo>
                  <a:lnTo>
                    <a:pt x="371" y="252"/>
                  </a:lnTo>
                  <a:lnTo>
                    <a:pt x="366" y="252"/>
                  </a:lnTo>
                  <a:lnTo>
                    <a:pt x="363" y="252"/>
                  </a:lnTo>
                  <a:lnTo>
                    <a:pt x="360" y="255"/>
                  </a:lnTo>
                  <a:lnTo>
                    <a:pt x="359" y="260"/>
                  </a:lnTo>
                  <a:lnTo>
                    <a:pt x="359" y="266"/>
                  </a:lnTo>
                  <a:lnTo>
                    <a:pt x="359" y="266"/>
                  </a:lnTo>
                  <a:lnTo>
                    <a:pt x="357" y="271"/>
                  </a:lnTo>
                  <a:lnTo>
                    <a:pt x="359" y="275"/>
                  </a:lnTo>
                  <a:lnTo>
                    <a:pt x="360" y="280"/>
                  </a:lnTo>
                  <a:close/>
                  <a:moveTo>
                    <a:pt x="413" y="259"/>
                  </a:moveTo>
                  <a:lnTo>
                    <a:pt x="414" y="260"/>
                  </a:lnTo>
                  <a:lnTo>
                    <a:pt x="414" y="263"/>
                  </a:lnTo>
                  <a:lnTo>
                    <a:pt x="416" y="262"/>
                  </a:lnTo>
                  <a:lnTo>
                    <a:pt x="419" y="262"/>
                  </a:lnTo>
                  <a:lnTo>
                    <a:pt x="420" y="260"/>
                  </a:lnTo>
                  <a:lnTo>
                    <a:pt x="419" y="259"/>
                  </a:lnTo>
                  <a:lnTo>
                    <a:pt x="417" y="259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9" y="255"/>
                  </a:lnTo>
                  <a:lnTo>
                    <a:pt x="417" y="255"/>
                  </a:lnTo>
                  <a:lnTo>
                    <a:pt x="416" y="257"/>
                  </a:lnTo>
                  <a:lnTo>
                    <a:pt x="416" y="255"/>
                  </a:lnTo>
                  <a:lnTo>
                    <a:pt x="414" y="255"/>
                  </a:lnTo>
                  <a:lnTo>
                    <a:pt x="414" y="254"/>
                  </a:lnTo>
                  <a:lnTo>
                    <a:pt x="416" y="252"/>
                  </a:lnTo>
                  <a:lnTo>
                    <a:pt x="416" y="252"/>
                  </a:lnTo>
                  <a:lnTo>
                    <a:pt x="416" y="252"/>
                  </a:lnTo>
                  <a:lnTo>
                    <a:pt x="414" y="252"/>
                  </a:lnTo>
                  <a:lnTo>
                    <a:pt x="413" y="252"/>
                  </a:lnTo>
                  <a:lnTo>
                    <a:pt x="413" y="251"/>
                  </a:lnTo>
                  <a:lnTo>
                    <a:pt x="413" y="251"/>
                  </a:lnTo>
                  <a:lnTo>
                    <a:pt x="413" y="251"/>
                  </a:lnTo>
                  <a:lnTo>
                    <a:pt x="413" y="249"/>
                  </a:lnTo>
                  <a:lnTo>
                    <a:pt x="410" y="251"/>
                  </a:lnTo>
                  <a:lnTo>
                    <a:pt x="410" y="252"/>
                  </a:lnTo>
                  <a:lnTo>
                    <a:pt x="413" y="254"/>
                  </a:lnTo>
                  <a:lnTo>
                    <a:pt x="413" y="255"/>
                  </a:lnTo>
                  <a:lnTo>
                    <a:pt x="413" y="257"/>
                  </a:lnTo>
                  <a:lnTo>
                    <a:pt x="411" y="257"/>
                  </a:lnTo>
                  <a:lnTo>
                    <a:pt x="410" y="257"/>
                  </a:lnTo>
                  <a:lnTo>
                    <a:pt x="410" y="259"/>
                  </a:lnTo>
                  <a:lnTo>
                    <a:pt x="408" y="260"/>
                  </a:lnTo>
                  <a:lnTo>
                    <a:pt x="410" y="262"/>
                  </a:lnTo>
                  <a:lnTo>
                    <a:pt x="411" y="262"/>
                  </a:lnTo>
                  <a:lnTo>
                    <a:pt x="410" y="259"/>
                  </a:lnTo>
                  <a:lnTo>
                    <a:pt x="411" y="259"/>
                  </a:lnTo>
                  <a:lnTo>
                    <a:pt x="413" y="259"/>
                  </a:lnTo>
                  <a:close/>
                  <a:moveTo>
                    <a:pt x="377" y="252"/>
                  </a:moveTo>
                  <a:lnTo>
                    <a:pt x="379" y="254"/>
                  </a:lnTo>
                  <a:lnTo>
                    <a:pt x="382" y="255"/>
                  </a:lnTo>
                  <a:lnTo>
                    <a:pt x="383" y="255"/>
                  </a:lnTo>
                  <a:lnTo>
                    <a:pt x="386" y="254"/>
                  </a:lnTo>
                  <a:lnTo>
                    <a:pt x="386" y="252"/>
                  </a:lnTo>
                  <a:lnTo>
                    <a:pt x="386" y="249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8" y="248"/>
                  </a:lnTo>
                  <a:lnTo>
                    <a:pt x="386" y="246"/>
                  </a:lnTo>
                  <a:lnTo>
                    <a:pt x="386" y="246"/>
                  </a:lnTo>
                  <a:lnTo>
                    <a:pt x="383" y="248"/>
                  </a:lnTo>
                  <a:lnTo>
                    <a:pt x="382" y="248"/>
                  </a:lnTo>
                  <a:lnTo>
                    <a:pt x="382" y="248"/>
                  </a:lnTo>
                  <a:lnTo>
                    <a:pt x="382" y="246"/>
                  </a:lnTo>
                  <a:lnTo>
                    <a:pt x="380" y="246"/>
                  </a:lnTo>
                  <a:lnTo>
                    <a:pt x="380" y="245"/>
                  </a:lnTo>
                  <a:lnTo>
                    <a:pt x="380" y="245"/>
                  </a:lnTo>
                  <a:lnTo>
                    <a:pt x="379" y="245"/>
                  </a:lnTo>
                  <a:lnTo>
                    <a:pt x="377" y="246"/>
                  </a:lnTo>
                  <a:lnTo>
                    <a:pt x="376" y="248"/>
                  </a:lnTo>
                  <a:lnTo>
                    <a:pt x="376" y="251"/>
                  </a:lnTo>
                  <a:lnTo>
                    <a:pt x="377" y="252"/>
                  </a:lnTo>
                  <a:close/>
                  <a:moveTo>
                    <a:pt x="397" y="248"/>
                  </a:moveTo>
                  <a:lnTo>
                    <a:pt x="399" y="248"/>
                  </a:lnTo>
                  <a:lnTo>
                    <a:pt x="399" y="249"/>
                  </a:lnTo>
                  <a:lnTo>
                    <a:pt x="400" y="251"/>
                  </a:lnTo>
                  <a:lnTo>
                    <a:pt x="400" y="252"/>
                  </a:lnTo>
                  <a:lnTo>
                    <a:pt x="400" y="252"/>
                  </a:lnTo>
                  <a:lnTo>
                    <a:pt x="402" y="252"/>
                  </a:lnTo>
                  <a:lnTo>
                    <a:pt x="403" y="252"/>
                  </a:lnTo>
                  <a:lnTo>
                    <a:pt x="403" y="251"/>
                  </a:lnTo>
                  <a:lnTo>
                    <a:pt x="403" y="251"/>
                  </a:lnTo>
                  <a:lnTo>
                    <a:pt x="402" y="249"/>
                  </a:lnTo>
                  <a:lnTo>
                    <a:pt x="402" y="248"/>
                  </a:lnTo>
                  <a:lnTo>
                    <a:pt x="402" y="246"/>
                  </a:lnTo>
                  <a:lnTo>
                    <a:pt x="402" y="245"/>
                  </a:lnTo>
                  <a:lnTo>
                    <a:pt x="403" y="242"/>
                  </a:lnTo>
                  <a:lnTo>
                    <a:pt x="405" y="242"/>
                  </a:lnTo>
                  <a:lnTo>
                    <a:pt x="403" y="240"/>
                  </a:lnTo>
                  <a:lnTo>
                    <a:pt x="403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9"/>
                  </a:lnTo>
                  <a:lnTo>
                    <a:pt x="402" y="237"/>
                  </a:lnTo>
                  <a:lnTo>
                    <a:pt x="400" y="237"/>
                  </a:lnTo>
                  <a:lnTo>
                    <a:pt x="400" y="237"/>
                  </a:lnTo>
                  <a:lnTo>
                    <a:pt x="400" y="239"/>
                  </a:lnTo>
                  <a:lnTo>
                    <a:pt x="400" y="242"/>
                  </a:lnTo>
                  <a:lnTo>
                    <a:pt x="400" y="242"/>
                  </a:lnTo>
                  <a:lnTo>
                    <a:pt x="400" y="245"/>
                  </a:lnTo>
                  <a:lnTo>
                    <a:pt x="400" y="245"/>
                  </a:lnTo>
                  <a:lnTo>
                    <a:pt x="399" y="245"/>
                  </a:lnTo>
                  <a:lnTo>
                    <a:pt x="399" y="246"/>
                  </a:lnTo>
                  <a:lnTo>
                    <a:pt x="397" y="246"/>
                  </a:lnTo>
                  <a:lnTo>
                    <a:pt x="397" y="245"/>
                  </a:lnTo>
                  <a:lnTo>
                    <a:pt x="397" y="248"/>
                  </a:lnTo>
                  <a:close/>
                  <a:moveTo>
                    <a:pt x="408" y="246"/>
                  </a:moveTo>
                  <a:lnTo>
                    <a:pt x="408" y="245"/>
                  </a:lnTo>
                  <a:lnTo>
                    <a:pt x="408" y="243"/>
                  </a:lnTo>
                  <a:lnTo>
                    <a:pt x="410" y="243"/>
                  </a:lnTo>
                  <a:lnTo>
                    <a:pt x="411" y="242"/>
                  </a:lnTo>
                  <a:lnTo>
                    <a:pt x="414" y="239"/>
                  </a:lnTo>
                  <a:lnTo>
                    <a:pt x="414" y="239"/>
                  </a:lnTo>
                  <a:lnTo>
                    <a:pt x="414" y="239"/>
                  </a:lnTo>
                  <a:lnTo>
                    <a:pt x="416" y="239"/>
                  </a:lnTo>
                  <a:lnTo>
                    <a:pt x="416" y="239"/>
                  </a:lnTo>
                  <a:lnTo>
                    <a:pt x="416" y="240"/>
                  </a:lnTo>
                  <a:lnTo>
                    <a:pt x="416" y="242"/>
                  </a:lnTo>
                  <a:lnTo>
                    <a:pt x="419" y="237"/>
                  </a:lnTo>
                  <a:lnTo>
                    <a:pt x="420" y="237"/>
                  </a:lnTo>
                  <a:lnTo>
                    <a:pt x="420" y="240"/>
                  </a:lnTo>
                  <a:lnTo>
                    <a:pt x="422" y="240"/>
                  </a:lnTo>
                  <a:lnTo>
                    <a:pt x="422" y="239"/>
                  </a:lnTo>
                  <a:lnTo>
                    <a:pt x="423" y="235"/>
                  </a:lnTo>
                  <a:lnTo>
                    <a:pt x="423" y="235"/>
                  </a:lnTo>
                  <a:lnTo>
                    <a:pt x="425" y="232"/>
                  </a:lnTo>
                  <a:lnTo>
                    <a:pt x="426" y="232"/>
                  </a:lnTo>
                  <a:lnTo>
                    <a:pt x="430" y="232"/>
                  </a:lnTo>
                  <a:lnTo>
                    <a:pt x="430" y="231"/>
                  </a:lnTo>
                  <a:lnTo>
                    <a:pt x="428" y="228"/>
                  </a:lnTo>
                  <a:lnTo>
                    <a:pt x="428" y="228"/>
                  </a:lnTo>
                  <a:lnTo>
                    <a:pt x="426" y="229"/>
                  </a:lnTo>
                  <a:lnTo>
                    <a:pt x="425" y="231"/>
                  </a:lnTo>
                  <a:lnTo>
                    <a:pt x="425" y="231"/>
                  </a:lnTo>
                  <a:lnTo>
                    <a:pt x="423" y="231"/>
                  </a:lnTo>
                  <a:lnTo>
                    <a:pt x="422" y="232"/>
                  </a:lnTo>
                  <a:lnTo>
                    <a:pt x="420" y="234"/>
                  </a:lnTo>
                  <a:lnTo>
                    <a:pt x="417" y="234"/>
                  </a:lnTo>
                  <a:lnTo>
                    <a:pt x="417" y="235"/>
                  </a:lnTo>
                  <a:lnTo>
                    <a:pt x="417" y="234"/>
                  </a:lnTo>
                  <a:lnTo>
                    <a:pt x="416" y="234"/>
                  </a:lnTo>
                  <a:lnTo>
                    <a:pt x="416" y="234"/>
                  </a:lnTo>
                  <a:lnTo>
                    <a:pt x="417" y="232"/>
                  </a:lnTo>
                  <a:lnTo>
                    <a:pt x="419" y="231"/>
                  </a:lnTo>
                  <a:lnTo>
                    <a:pt x="420" y="231"/>
                  </a:lnTo>
                  <a:lnTo>
                    <a:pt x="420" y="229"/>
                  </a:lnTo>
                  <a:lnTo>
                    <a:pt x="417" y="229"/>
                  </a:lnTo>
                  <a:lnTo>
                    <a:pt x="416" y="231"/>
                  </a:lnTo>
                  <a:lnTo>
                    <a:pt x="413" y="231"/>
                  </a:lnTo>
                  <a:lnTo>
                    <a:pt x="414" y="232"/>
                  </a:lnTo>
                  <a:lnTo>
                    <a:pt x="414" y="234"/>
                  </a:lnTo>
                  <a:lnTo>
                    <a:pt x="414" y="235"/>
                  </a:lnTo>
                  <a:lnTo>
                    <a:pt x="414" y="235"/>
                  </a:lnTo>
                  <a:lnTo>
                    <a:pt x="413" y="235"/>
                  </a:lnTo>
                  <a:lnTo>
                    <a:pt x="413" y="235"/>
                  </a:lnTo>
                  <a:lnTo>
                    <a:pt x="411" y="237"/>
                  </a:lnTo>
                  <a:lnTo>
                    <a:pt x="411" y="239"/>
                  </a:lnTo>
                  <a:lnTo>
                    <a:pt x="410" y="240"/>
                  </a:lnTo>
                  <a:lnTo>
                    <a:pt x="408" y="242"/>
                  </a:lnTo>
                  <a:lnTo>
                    <a:pt x="408" y="242"/>
                  </a:lnTo>
                  <a:lnTo>
                    <a:pt x="408" y="242"/>
                  </a:lnTo>
                  <a:lnTo>
                    <a:pt x="406" y="245"/>
                  </a:lnTo>
                  <a:lnTo>
                    <a:pt x="406" y="246"/>
                  </a:lnTo>
                  <a:lnTo>
                    <a:pt x="408" y="246"/>
                  </a:lnTo>
                  <a:close/>
                  <a:moveTo>
                    <a:pt x="379" y="226"/>
                  </a:moveTo>
                  <a:lnTo>
                    <a:pt x="380" y="226"/>
                  </a:lnTo>
                  <a:lnTo>
                    <a:pt x="380" y="228"/>
                  </a:lnTo>
                  <a:lnTo>
                    <a:pt x="382" y="228"/>
                  </a:lnTo>
                  <a:lnTo>
                    <a:pt x="382" y="229"/>
                  </a:lnTo>
                  <a:lnTo>
                    <a:pt x="382" y="229"/>
                  </a:lnTo>
                  <a:lnTo>
                    <a:pt x="383" y="232"/>
                  </a:lnTo>
                  <a:lnTo>
                    <a:pt x="383" y="234"/>
                  </a:lnTo>
                  <a:lnTo>
                    <a:pt x="383" y="234"/>
                  </a:lnTo>
                  <a:lnTo>
                    <a:pt x="385" y="235"/>
                  </a:lnTo>
                  <a:lnTo>
                    <a:pt x="385" y="235"/>
                  </a:lnTo>
                  <a:lnTo>
                    <a:pt x="385" y="234"/>
                  </a:lnTo>
                  <a:lnTo>
                    <a:pt x="386" y="234"/>
                  </a:lnTo>
                  <a:lnTo>
                    <a:pt x="388" y="234"/>
                  </a:lnTo>
                  <a:lnTo>
                    <a:pt x="386" y="232"/>
                  </a:lnTo>
                  <a:lnTo>
                    <a:pt x="386" y="232"/>
                  </a:lnTo>
                  <a:lnTo>
                    <a:pt x="386" y="231"/>
                  </a:lnTo>
                  <a:lnTo>
                    <a:pt x="388" y="231"/>
                  </a:lnTo>
                  <a:lnTo>
                    <a:pt x="390" y="232"/>
                  </a:lnTo>
                  <a:lnTo>
                    <a:pt x="394" y="235"/>
                  </a:lnTo>
                  <a:lnTo>
                    <a:pt x="393" y="237"/>
                  </a:lnTo>
                  <a:lnTo>
                    <a:pt x="393" y="239"/>
                  </a:lnTo>
                  <a:lnTo>
                    <a:pt x="393" y="239"/>
                  </a:lnTo>
                  <a:lnTo>
                    <a:pt x="393" y="240"/>
                  </a:lnTo>
                  <a:lnTo>
                    <a:pt x="394" y="237"/>
                  </a:lnTo>
                  <a:lnTo>
                    <a:pt x="396" y="237"/>
                  </a:lnTo>
                  <a:lnTo>
                    <a:pt x="397" y="237"/>
                  </a:lnTo>
                  <a:lnTo>
                    <a:pt x="397" y="235"/>
                  </a:lnTo>
                  <a:lnTo>
                    <a:pt x="396" y="235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4"/>
                  </a:lnTo>
                  <a:lnTo>
                    <a:pt x="394" y="234"/>
                  </a:lnTo>
                  <a:lnTo>
                    <a:pt x="393" y="229"/>
                  </a:lnTo>
                  <a:lnTo>
                    <a:pt x="391" y="229"/>
                  </a:lnTo>
                  <a:lnTo>
                    <a:pt x="385" y="228"/>
                  </a:lnTo>
                  <a:lnTo>
                    <a:pt x="385" y="226"/>
                  </a:lnTo>
                  <a:lnTo>
                    <a:pt x="386" y="226"/>
                  </a:lnTo>
                  <a:lnTo>
                    <a:pt x="388" y="226"/>
                  </a:lnTo>
                  <a:lnTo>
                    <a:pt x="386" y="225"/>
                  </a:lnTo>
                  <a:lnTo>
                    <a:pt x="386" y="225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88" y="222"/>
                  </a:lnTo>
                  <a:lnTo>
                    <a:pt x="386" y="222"/>
                  </a:lnTo>
                  <a:lnTo>
                    <a:pt x="386" y="222"/>
                  </a:lnTo>
                  <a:lnTo>
                    <a:pt x="383" y="225"/>
                  </a:lnTo>
                  <a:lnTo>
                    <a:pt x="382" y="226"/>
                  </a:lnTo>
                  <a:lnTo>
                    <a:pt x="380" y="225"/>
                  </a:lnTo>
                  <a:lnTo>
                    <a:pt x="379" y="225"/>
                  </a:lnTo>
                  <a:lnTo>
                    <a:pt x="379" y="226"/>
                  </a:lnTo>
                  <a:lnTo>
                    <a:pt x="379" y="226"/>
                  </a:lnTo>
                  <a:close/>
                  <a:moveTo>
                    <a:pt x="488" y="194"/>
                  </a:moveTo>
                  <a:lnTo>
                    <a:pt x="490" y="194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90" y="192"/>
                  </a:lnTo>
                  <a:lnTo>
                    <a:pt x="488" y="192"/>
                  </a:lnTo>
                  <a:lnTo>
                    <a:pt x="487" y="192"/>
                  </a:lnTo>
                  <a:lnTo>
                    <a:pt x="485" y="194"/>
                  </a:lnTo>
                  <a:lnTo>
                    <a:pt x="485" y="197"/>
                  </a:lnTo>
                  <a:lnTo>
                    <a:pt x="485" y="199"/>
                  </a:lnTo>
                  <a:lnTo>
                    <a:pt x="487" y="199"/>
                  </a:lnTo>
                  <a:lnTo>
                    <a:pt x="488" y="197"/>
                  </a:lnTo>
                  <a:lnTo>
                    <a:pt x="488" y="197"/>
                  </a:lnTo>
                  <a:lnTo>
                    <a:pt x="488" y="195"/>
                  </a:lnTo>
                  <a:lnTo>
                    <a:pt x="488" y="195"/>
                  </a:lnTo>
                  <a:lnTo>
                    <a:pt x="488" y="194"/>
                  </a:lnTo>
                  <a:lnTo>
                    <a:pt x="488" y="194"/>
                  </a:lnTo>
                  <a:close/>
                  <a:moveTo>
                    <a:pt x="507" y="117"/>
                  </a:moveTo>
                  <a:lnTo>
                    <a:pt x="507" y="118"/>
                  </a:lnTo>
                  <a:lnTo>
                    <a:pt x="505" y="120"/>
                  </a:lnTo>
                  <a:lnTo>
                    <a:pt x="505" y="120"/>
                  </a:lnTo>
                  <a:lnTo>
                    <a:pt x="507" y="120"/>
                  </a:lnTo>
                  <a:lnTo>
                    <a:pt x="508" y="117"/>
                  </a:lnTo>
                  <a:lnTo>
                    <a:pt x="508" y="117"/>
                  </a:lnTo>
                  <a:lnTo>
                    <a:pt x="508" y="115"/>
                  </a:lnTo>
                  <a:lnTo>
                    <a:pt x="508" y="117"/>
                  </a:lnTo>
                  <a:lnTo>
                    <a:pt x="508" y="118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08" y="120"/>
                  </a:lnTo>
                  <a:lnTo>
                    <a:pt x="510" y="117"/>
                  </a:lnTo>
                  <a:lnTo>
                    <a:pt x="510" y="115"/>
                  </a:lnTo>
                  <a:lnTo>
                    <a:pt x="511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1"/>
                  </a:lnTo>
                  <a:lnTo>
                    <a:pt x="510" y="109"/>
                  </a:lnTo>
                  <a:lnTo>
                    <a:pt x="510" y="109"/>
                  </a:lnTo>
                  <a:lnTo>
                    <a:pt x="508" y="111"/>
                  </a:lnTo>
                  <a:lnTo>
                    <a:pt x="508" y="111"/>
                  </a:lnTo>
                  <a:lnTo>
                    <a:pt x="507" y="112"/>
                  </a:lnTo>
                  <a:lnTo>
                    <a:pt x="508" y="112"/>
                  </a:lnTo>
                  <a:lnTo>
                    <a:pt x="508" y="114"/>
                  </a:lnTo>
                  <a:lnTo>
                    <a:pt x="507" y="115"/>
                  </a:lnTo>
                  <a:lnTo>
                    <a:pt x="507" y="117"/>
                  </a:lnTo>
                  <a:close/>
                  <a:moveTo>
                    <a:pt x="453" y="109"/>
                  </a:moveTo>
                  <a:lnTo>
                    <a:pt x="454" y="109"/>
                  </a:lnTo>
                  <a:lnTo>
                    <a:pt x="456" y="108"/>
                  </a:lnTo>
                  <a:lnTo>
                    <a:pt x="456" y="105"/>
                  </a:lnTo>
                  <a:lnTo>
                    <a:pt x="454" y="105"/>
                  </a:lnTo>
                  <a:lnTo>
                    <a:pt x="454" y="103"/>
                  </a:lnTo>
                  <a:lnTo>
                    <a:pt x="453" y="105"/>
                  </a:lnTo>
                  <a:lnTo>
                    <a:pt x="451" y="105"/>
                  </a:lnTo>
                  <a:lnTo>
                    <a:pt x="451" y="106"/>
                  </a:lnTo>
                  <a:lnTo>
                    <a:pt x="451" y="106"/>
                  </a:lnTo>
                  <a:lnTo>
                    <a:pt x="451" y="108"/>
                  </a:lnTo>
                  <a:lnTo>
                    <a:pt x="453" y="109"/>
                  </a:lnTo>
                  <a:close/>
                  <a:moveTo>
                    <a:pt x="525" y="109"/>
                  </a:moveTo>
                  <a:lnTo>
                    <a:pt x="527" y="111"/>
                  </a:lnTo>
                  <a:lnTo>
                    <a:pt x="528" y="111"/>
                  </a:lnTo>
                  <a:lnTo>
                    <a:pt x="528" y="108"/>
                  </a:lnTo>
                  <a:lnTo>
                    <a:pt x="528" y="106"/>
                  </a:lnTo>
                  <a:lnTo>
                    <a:pt x="530" y="105"/>
                  </a:lnTo>
                  <a:lnTo>
                    <a:pt x="530" y="103"/>
                  </a:lnTo>
                  <a:lnTo>
                    <a:pt x="530" y="101"/>
                  </a:lnTo>
                  <a:lnTo>
                    <a:pt x="528" y="103"/>
                  </a:lnTo>
                  <a:lnTo>
                    <a:pt x="528" y="103"/>
                  </a:lnTo>
                  <a:lnTo>
                    <a:pt x="528" y="101"/>
                  </a:lnTo>
                  <a:lnTo>
                    <a:pt x="528" y="100"/>
                  </a:lnTo>
                  <a:lnTo>
                    <a:pt x="527" y="98"/>
                  </a:lnTo>
                  <a:lnTo>
                    <a:pt x="527" y="100"/>
                  </a:lnTo>
                  <a:lnTo>
                    <a:pt x="527" y="100"/>
                  </a:lnTo>
                  <a:lnTo>
                    <a:pt x="527" y="101"/>
                  </a:lnTo>
                  <a:lnTo>
                    <a:pt x="525" y="100"/>
                  </a:lnTo>
                  <a:lnTo>
                    <a:pt x="524" y="100"/>
                  </a:lnTo>
                  <a:lnTo>
                    <a:pt x="524" y="101"/>
                  </a:lnTo>
                  <a:lnTo>
                    <a:pt x="525" y="105"/>
                  </a:lnTo>
                  <a:lnTo>
                    <a:pt x="524" y="109"/>
                  </a:lnTo>
                  <a:lnTo>
                    <a:pt x="525" y="109"/>
                  </a:lnTo>
                  <a:close/>
                  <a:moveTo>
                    <a:pt x="534" y="72"/>
                  </a:moveTo>
                  <a:lnTo>
                    <a:pt x="533" y="72"/>
                  </a:lnTo>
                  <a:lnTo>
                    <a:pt x="531" y="74"/>
                  </a:lnTo>
                  <a:lnTo>
                    <a:pt x="531" y="7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31" y="77"/>
                  </a:lnTo>
                  <a:lnTo>
                    <a:pt x="533" y="77"/>
                  </a:lnTo>
                  <a:lnTo>
                    <a:pt x="534" y="77"/>
                  </a:lnTo>
                  <a:lnTo>
                    <a:pt x="537" y="74"/>
                  </a:lnTo>
                  <a:lnTo>
                    <a:pt x="539" y="72"/>
                  </a:lnTo>
                  <a:lnTo>
                    <a:pt x="539" y="71"/>
                  </a:lnTo>
                  <a:lnTo>
                    <a:pt x="540" y="71"/>
                  </a:lnTo>
                  <a:lnTo>
                    <a:pt x="539" y="69"/>
                  </a:lnTo>
                  <a:lnTo>
                    <a:pt x="539" y="69"/>
                  </a:lnTo>
                  <a:lnTo>
                    <a:pt x="539" y="69"/>
                  </a:lnTo>
                  <a:lnTo>
                    <a:pt x="539" y="71"/>
                  </a:lnTo>
                  <a:lnTo>
                    <a:pt x="536" y="71"/>
                  </a:lnTo>
                  <a:lnTo>
                    <a:pt x="536" y="71"/>
                  </a:lnTo>
                  <a:lnTo>
                    <a:pt x="534" y="72"/>
                  </a:lnTo>
                  <a:lnTo>
                    <a:pt x="534" y="72"/>
                  </a:lnTo>
                  <a:close/>
                  <a:moveTo>
                    <a:pt x="550" y="35"/>
                  </a:moveTo>
                  <a:lnTo>
                    <a:pt x="550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7" y="35"/>
                  </a:lnTo>
                  <a:lnTo>
                    <a:pt x="547" y="34"/>
                  </a:lnTo>
                  <a:lnTo>
                    <a:pt x="547" y="34"/>
                  </a:lnTo>
                  <a:lnTo>
                    <a:pt x="547" y="32"/>
                  </a:lnTo>
                  <a:lnTo>
                    <a:pt x="537" y="32"/>
                  </a:lnTo>
                  <a:lnTo>
                    <a:pt x="537" y="34"/>
                  </a:lnTo>
                  <a:lnTo>
                    <a:pt x="540" y="40"/>
                  </a:lnTo>
                  <a:lnTo>
                    <a:pt x="542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4" y="38"/>
                  </a:lnTo>
                  <a:lnTo>
                    <a:pt x="545" y="38"/>
                  </a:lnTo>
                  <a:lnTo>
                    <a:pt x="547" y="40"/>
                  </a:lnTo>
                  <a:lnTo>
                    <a:pt x="550" y="41"/>
                  </a:lnTo>
                  <a:lnTo>
                    <a:pt x="551" y="38"/>
                  </a:lnTo>
                  <a:lnTo>
                    <a:pt x="551" y="37"/>
                  </a:lnTo>
                  <a:lnTo>
                    <a:pt x="551" y="35"/>
                  </a:lnTo>
                  <a:lnTo>
                    <a:pt x="550" y="35"/>
                  </a:lnTo>
                  <a:lnTo>
                    <a:pt x="550" y="35"/>
                  </a:lnTo>
                  <a:close/>
                  <a:moveTo>
                    <a:pt x="483" y="91"/>
                  </a:moveTo>
                  <a:lnTo>
                    <a:pt x="483" y="92"/>
                  </a:lnTo>
                  <a:lnTo>
                    <a:pt x="485" y="92"/>
                  </a:lnTo>
                  <a:lnTo>
                    <a:pt x="487" y="92"/>
                  </a:lnTo>
                  <a:lnTo>
                    <a:pt x="487" y="94"/>
                  </a:lnTo>
                  <a:lnTo>
                    <a:pt x="487" y="94"/>
                  </a:lnTo>
                  <a:lnTo>
                    <a:pt x="487" y="95"/>
                  </a:lnTo>
                  <a:lnTo>
                    <a:pt x="488" y="95"/>
                  </a:lnTo>
                  <a:lnTo>
                    <a:pt x="490" y="95"/>
                  </a:lnTo>
                  <a:lnTo>
                    <a:pt x="491" y="94"/>
                  </a:lnTo>
                  <a:lnTo>
                    <a:pt x="493" y="92"/>
                  </a:lnTo>
                  <a:lnTo>
                    <a:pt x="493" y="94"/>
                  </a:lnTo>
                  <a:lnTo>
                    <a:pt x="493" y="95"/>
                  </a:lnTo>
                  <a:lnTo>
                    <a:pt x="494" y="95"/>
                  </a:lnTo>
                  <a:lnTo>
                    <a:pt x="494" y="94"/>
                  </a:lnTo>
                  <a:lnTo>
                    <a:pt x="496" y="92"/>
                  </a:lnTo>
                  <a:lnTo>
                    <a:pt x="496" y="91"/>
                  </a:lnTo>
                  <a:lnTo>
                    <a:pt x="497" y="94"/>
                  </a:lnTo>
                  <a:lnTo>
                    <a:pt x="499" y="95"/>
                  </a:lnTo>
                  <a:lnTo>
                    <a:pt x="497" y="95"/>
                  </a:lnTo>
                  <a:lnTo>
                    <a:pt x="496" y="95"/>
                  </a:lnTo>
                  <a:lnTo>
                    <a:pt x="494" y="97"/>
                  </a:lnTo>
                  <a:lnTo>
                    <a:pt x="494" y="98"/>
                  </a:lnTo>
                  <a:lnTo>
                    <a:pt x="494" y="98"/>
                  </a:lnTo>
                  <a:lnTo>
                    <a:pt x="494" y="100"/>
                  </a:lnTo>
                  <a:lnTo>
                    <a:pt x="494" y="100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9" y="105"/>
                  </a:lnTo>
                  <a:lnTo>
                    <a:pt x="500" y="105"/>
                  </a:lnTo>
                  <a:lnTo>
                    <a:pt x="500" y="103"/>
                  </a:lnTo>
                  <a:lnTo>
                    <a:pt x="500" y="101"/>
                  </a:lnTo>
                  <a:lnTo>
                    <a:pt x="500" y="100"/>
                  </a:lnTo>
                  <a:lnTo>
                    <a:pt x="502" y="98"/>
                  </a:lnTo>
                  <a:lnTo>
                    <a:pt x="502" y="101"/>
                  </a:lnTo>
                  <a:lnTo>
                    <a:pt x="503" y="100"/>
                  </a:lnTo>
                  <a:lnTo>
                    <a:pt x="503" y="98"/>
                  </a:lnTo>
                  <a:lnTo>
                    <a:pt x="503" y="95"/>
                  </a:lnTo>
                  <a:lnTo>
                    <a:pt x="505" y="95"/>
                  </a:lnTo>
                  <a:lnTo>
                    <a:pt x="505" y="97"/>
                  </a:lnTo>
                  <a:lnTo>
                    <a:pt x="507" y="98"/>
                  </a:lnTo>
                  <a:lnTo>
                    <a:pt x="507" y="95"/>
                  </a:lnTo>
                  <a:lnTo>
                    <a:pt x="507" y="94"/>
                  </a:lnTo>
                  <a:lnTo>
                    <a:pt x="505" y="92"/>
                  </a:lnTo>
                  <a:lnTo>
                    <a:pt x="503" y="91"/>
                  </a:lnTo>
                  <a:lnTo>
                    <a:pt x="502" y="89"/>
                  </a:lnTo>
                  <a:lnTo>
                    <a:pt x="502" y="89"/>
                  </a:lnTo>
                  <a:lnTo>
                    <a:pt x="505" y="89"/>
                  </a:lnTo>
                  <a:lnTo>
                    <a:pt x="507" y="91"/>
                  </a:lnTo>
                  <a:lnTo>
                    <a:pt x="508" y="94"/>
                  </a:lnTo>
                  <a:lnTo>
                    <a:pt x="508" y="97"/>
                  </a:lnTo>
                  <a:lnTo>
                    <a:pt x="511" y="92"/>
                  </a:lnTo>
                  <a:lnTo>
                    <a:pt x="511" y="91"/>
                  </a:lnTo>
                  <a:lnTo>
                    <a:pt x="513" y="91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1" y="94"/>
                  </a:lnTo>
                  <a:lnTo>
                    <a:pt x="511" y="95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1"/>
                  </a:lnTo>
                  <a:lnTo>
                    <a:pt x="511" y="101"/>
                  </a:lnTo>
                  <a:lnTo>
                    <a:pt x="511" y="100"/>
                  </a:lnTo>
                  <a:lnTo>
                    <a:pt x="513" y="100"/>
                  </a:lnTo>
                  <a:lnTo>
                    <a:pt x="513" y="100"/>
                  </a:lnTo>
                  <a:lnTo>
                    <a:pt x="511" y="103"/>
                  </a:lnTo>
                  <a:lnTo>
                    <a:pt x="511" y="103"/>
                  </a:lnTo>
                  <a:lnTo>
                    <a:pt x="511" y="105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3" y="106"/>
                  </a:lnTo>
                  <a:lnTo>
                    <a:pt x="514" y="111"/>
                  </a:lnTo>
                  <a:lnTo>
                    <a:pt x="513" y="112"/>
                  </a:lnTo>
                  <a:lnTo>
                    <a:pt x="511" y="115"/>
                  </a:lnTo>
                  <a:lnTo>
                    <a:pt x="511" y="123"/>
                  </a:lnTo>
                  <a:lnTo>
                    <a:pt x="510" y="126"/>
                  </a:lnTo>
                  <a:lnTo>
                    <a:pt x="508" y="128"/>
                  </a:lnTo>
                  <a:lnTo>
                    <a:pt x="510" y="131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8" y="132"/>
                  </a:lnTo>
                  <a:lnTo>
                    <a:pt x="510" y="134"/>
                  </a:lnTo>
                  <a:lnTo>
                    <a:pt x="510" y="134"/>
                  </a:lnTo>
                  <a:lnTo>
                    <a:pt x="508" y="134"/>
                  </a:lnTo>
                  <a:lnTo>
                    <a:pt x="508" y="134"/>
                  </a:lnTo>
                  <a:lnTo>
                    <a:pt x="507" y="135"/>
                  </a:lnTo>
                  <a:lnTo>
                    <a:pt x="507" y="137"/>
                  </a:lnTo>
                  <a:lnTo>
                    <a:pt x="507" y="138"/>
                  </a:lnTo>
                  <a:lnTo>
                    <a:pt x="505" y="140"/>
                  </a:lnTo>
                  <a:lnTo>
                    <a:pt x="507" y="143"/>
                  </a:lnTo>
                  <a:lnTo>
                    <a:pt x="507" y="143"/>
                  </a:lnTo>
                  <a:lnTo>
                    <a:pt x="510" y="143"/>
                  </a:lnTo>
                  <a:lnTo>
                    <a:pt x="511" y="143"/>
                  </a:lnTo>
                  <a:lnTo>
                    <a:pt x="511" y="145"/>
                  </a:lnTo>
                  <a:lnTo>
                    <a:pt x="510" y="146"/>
                  </a:lnTo>
                  <a:lnTo>
                    <a:pt x="510" y="148"/>
                  </a:lnTo>
                  <a:lnTo>
                    <a:pt x="511" y="148"/>
                  </a:lnTo>
                  <a:lnTo>
                    <a:pt x="511" y="146"/>
                  </a:lnTo>
                  <a:lnTo>
                    <a:pt x="513" y="148"/>
                  </a:lnTo>
                  <a:lnTo>
                    <a:pt x="513" y="149"/>
                  </a:lnTo>
                  <a:lnTo>
                    <a:pt x="513" y="148"/>
                  </a:lnTo>
                  <a:lnTo>
                    <a:pt x="514" y="148"/>
                  </a:lnTo>
                  <a:lnTo>
                    <a:pt x="514" y="146"/>
                  </a:lnTo>
                  <a:lnTo>
                    <a:pt x="513" y="145"/>
                  </a:lnTo>
                  <a:lnTo>
                    <a:pt x="513" y="143"/>
                  </a:lnTo>
                  <a:lnTo>
                    <a:pt x="514" y="142"/>
                  </a:lnTo>
                  <a:lnTo>
                    <a:pt x="513" y="140"/>
                  </a:lnTo>
                  <a:lnTo>
                    <a:pt x="513" y="137"/>
                  </a:lnTo>
                  <a:lnTo>
                    <a:pt x="513" y="138"/>
                  </a:lnTo>
                  <a:lnTo>
                    <a:pt x="513" y="138"/>
                  </a:lnTo>
                  <a:lnTo>
                    <a:pt x="514" y="137"/>
                  </a:lnTo>
                  <a:lnTo>
                    <a:pt x="514" y="134"/>
                  </a:lnTo>
                  <a:lnTo>
                    <a:pt x="516" y="131"/>
                  </a:lnTo>
                  <a:lnTo>
                    <a:pt x="514" y="128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28"/>
                  </a:lnTo>
                  <a:lnTo>
                    <a:pt x="517" y="123"/>
                  </a:lnTo>
                  <a:lnTo>
                    <a:pt x="517" y="122"/>
                  </a:lnTo>
                  <a:lnTo>
                    <a:pt x="517" y="122"/>
                  </a:lnTo>
                  <a:lnTo>
                    <a:pt x="519" y="122"/>
                  </a:lnTo>
                  <a:lnTo>
                    <a:pt x="520" y="120"/>
                  </a:lnTo>
                  <a:lnTo>
                    <a:pt x="520" y="118"/>
                  </a:lnTo>
                  <a:lnTo>
                    <a:pt x="520" y="118"/>
                  </a:lnTo>
                  <a:lnTo>
                    <a:pt x="519" y="117"/>
                  </a:lnTo>
                  <a:lnTo>
                    <a:pt x="517" y="115"/>
                  </a:lnTo>
                  <a:lnTo>
                    <a:pt x="519" y="114"/>
                  </a:lnTo>
                  <a:lnTo>
                    <a:pt x="517" y="112"/>
                  </a:lnTo>
                  <a:lnTo>
                    <a:pt x="517" y="112"/>
                  </a:lnTo>
                  <a:lnTo>
                    <a:pt x="517" y="111"/>
                  </a:lnTo>
                  <a:lnTo>
                    <a:pt x="517" y="111"/>
                  </a:lnTo>
                  <a:lnTo>
                    <a:pt x="519" y="111"/>
                  </a:lnTo>
                  <a:lnTo>
                    <a:pt x="519" y="111"/>
                  </a:lnTo>
                  <a:lnTo>
                    <a:pt x="519" y="109"/>
                  </a:lnTo>
                  <a:lnTo>
                    <a:pt x="519" y="108"/>
                  </a:lnTo>
                  <a:lnTo>
                    <a:pt x="519" y="108"/>
                  </a:lnTo>
                  <a:lnTo>
                    <a:pt x="520" y="106"/>
                  </a:lnTo>
                  <a:lnTo>
                    <a:pt x="522" y="106"/>
                  </a:lnTo>
                  <a:lnTo>
                    <a:pt x="522" y="108"/>
                  </a:lnTo>
                  <a:lnTo>
                    <a:pt x="522" y="106"/>
                  </a:lnTo>
                  <a:lnTo>
                    <a:pt x="522" y="106"/>
                  </a:lnTo>
                  <a:lnTo>
                    <a:pt x="522" y="105"/>
                  </a:lnTo>
                  <a:lnTo>
                    <a:pt x="524" y="105"/>
                  </a:lnTo>
                  <a:lnTo>
                    <a:pt x="524" y="105"/>
                  </a:lnTo>
                  <a:lnTo>
                    <a:pt x="522" y="101"/>
                  </a:lnTo>
                  <a:lnTo>
                    <a:pt x="522" y="100"/>
                  </a:lnTo>
                  <a:lnTo>
                    <a:pt x="522" y="98"/>
                  </a:lnTo>
                  <a:lnTo>
                    <a:pt x="520" y="98"/>
                  </a:lnTo>
                  <a:lnTo>
                    <a:pt x="519" y="101"/>
                  </a:lnTo>
                  <a:lnTo>
                    <a:pt x="519" y="98"/>
                  </a:lnTo>
                  <a:lnTo>
                    <a:pt x="522" y="94"/>
                  </a:lnTo>
                  <a:lnTo>
                    <a:pt x="520" y="94"/>
                  </a:lnTo>
                  <a:lnTo>
                    <a:pt x="520" y="95"/>
                  </a:lnTo>
                  <a:lnTo>
                    <a:pt x="519" y="97"/>
                  </a:lnTo>
                  <a:lnTo>
                    <a:pt x="519" y="95"/>
                  </a:lnTo>
                  <a:lnTo>
                    <a:pt x="519" y="94"/>
                  </a:lnTo>
                  <a:lnTo>
                    <a:pt x="520" y="92"/>
                  </a:lnTo>
                  <a:lnTo>
                    <a:pt x="517" y="92"/>
                  </a:lnTo>
                  <a:lnTo>
                    <a:pt x="517" y="92"/>
                  </a:lnTo>
                  <a:lnTo>
                    <a:pt x="517" y="91"/>
                  </a:lnTo>
                  <a:lnTo>
                    <a:pt x="519" y="91"/>
                  </a:lnTo>
                  <a:lnTo>
                    <a:pt x="519" y="91"/>
                  </a:lnTo>
                  <a:lnTo>
                    <a:pt x="519" y="89"/>
                  </a:lnTo>
                  <a:lnTo>
                    <a:pt x="519" y="89"/>
                  </a:lnTo>
                  <a:lnTo>
                    <a:pt x="519" y="88"/>
                  </a:lnTo>
                  <a:lnTo>
                    <a:pt x="519" y="88"/>
                  </a:lnTo>
                  <a:lnTo>
                    <a:pt x="519" y="86"/>
                  </a:lnTo>
                  <a:lnTo>
                    <a:pt x="519" y="86"/>
                  </a:lnTo>
                  <a:lnTo>
                    <a:pt x="520" y="88"/>
                  </a:lnTo>
                  <a:lnTo>
                    <a:pt x="520" y="89"/>
                  </a:lnTo>
                  <a:lnTo>
                    <a:pt x="522" y="91"/>
                  </a:lnTo>
                  <a:lnTo>
                    <a:pt x="524" y="89"/>
                  </a:lnTo>
                  <a:lnTo>
                    <a:pt x="527" y="86"/>
                  </a:lnTo>
                  <a:lnTo>
                    <a:pt x="527" y="86"/>
                  </a:lnTo>
                  <a:lnTo>
                    <a:pt x="525" y="86"/>
                  </a:lnTo>
                  <a:lnTo>
                    <a:pt x="525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6"/>
                  </a:lnTo>
                  <a:lnTo>
                    <a:pt x="524" y="85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8" y="80"/>
                  </a:lnTo>
                  <a:lnTo>
                    <a:pt x="525" y="78"/>
                  </a:lnTo>
                  <a:lnTo>
                    <a:pt x="522" y="77"/>
                  </a:lnTo>
                  <a:lnTo>
                    <a:pt x="520" y="75"/>
                  </a:lnTo>
                  <a:lnTo>
                    <a:pt x="522" y="75"/>
                  </a:lnTo>
                  <a:lnTo>
                    <a:pt x="527" y="74"/>
                  </a:lnTo>
                  <a:lnTo>
                    <a:pt x="528" y="74"/>
                  </a:lnTo>
                  <a:lnTo>
                    <a:pt x="528" y="72"/>
                  </a:lnTo>
                  <a:lnTo>
                    <a:pt x="528" y="71"/>
                  </a:lnTo>
                  <a:lnTo>
                    <a:pt x="528" y="69"/>
                  </a:lnTo>
                  <a:lnTo>
                    <a:pt x="528" y="68"/>
                  </a:lnTo>
                  <a:lnTo>
                    <a:pt x="527" y="68"/>
                  </a:lnTo>
                  <a:lnTo>
                    <a:pt x="527" y="69"/>
                  </a:lnTo>
                  <a:lnTo>
                    <a:pt x="525" y="69"/>
                  </a:lnTo>
                  <a:lnTo>
                    <a:pt x="525" y="71"/>
                  </a:lnTo>
                  <a:lnTo>
                    <a:pt x="525" y="71"/>
                  </a:lnTo>
                  <a:lnTo>
                    <a:pt x="524" y="71"/>
                  </a:lnTo>
                  <a:lnTo>
                    <a:pt x="524" y="69"/>
                  </a:lnTo>
                  <a:lnTo>
                    <a:pt x="525" y="69"/>
                  </a:lnTo>
                  <a:lnTo>
                    <a:pt x="530" y="63"/>
                  </a:lnTo>
                  <a:lnTo>
                    <a:pt x="531" y="60"/>
                  </a:lnTo>
                  <a:lnTo>
                    <a:pt x="530" y="60"/>
                  </a:lnTo>
                  <a:lnTo>
                    <a:pt x="528" y="60"/>
                  </a:lnTo>
                  <a:lnTo>
                    <a:pt x="527" y="63"/>
                  </a:lnTo>
                  <a:lnTo>
                    <a:pt x="527" y="65"/>
                  </a:lnTo>
                  <a:lnTo>
                    <a:pt x="527" y="63"/>
                  </a:lnTo>
                  <a:lnTo>
                    <a:pt x="525" y="63"/>
                  </a:lnTo>
                  <a:lnTo>
                    <a:pt x="525" y="63"/>
                  </a:lnTo>
                  <a:lnTo>
                    <a:pt x="525" y="65"/>
                  </a:lnTo>
                  <a:lnTo>
                    <a:pt x="525" y="65"/>
                  </a:lnTo>
                  <a:lnTo>
                    <a:pt x="524" y="66"/>
                  </a:lnTo>
                  <a:lnTo>
                    <a:pt x="524" y="68"/>
                  </a:lnTo>
                  <a:lnTo>
                    <a:pt x="524" y="68"/>
                  </a:lnTo>
                  <a:lnTo>
                    <a:pt x="524" y="68"/>
                  </a:lnTo>
                  <a:lnTo>
                    <a:pt x="522" y="68"/>
                  </a:lnTo>
                  <a:lnTo>
                    <a:pt x="522" y="69"/>
                  </a:lnTo>
                  <a:lnTo>
                    <a:pt x="522" y="69"/>
                  </a:lnTo>
                  <a:lnTo>
                    <a:pt x="522" y="66"/>
                  </a:lnTo>
                  <a:lnTo>
                    <a:pt x="520" y="66"/>
                  </a:lnTo>
                  <a:lnTo>
                    <a:pt x="519" y="68"/>
                  </a:lnTo>
                  <a:lnTo>
                    <a:pt x="519" y="66"/>
                  </a:lnTo>
                  <a:lnTo>
                    <a:pt x="519" y="65"/>
                  </a:lnTo>
                  <a:lnTo>
                    <a:pt x="519" y="65"/>
                  </a:lnTo>
                  <a:lnTo>
                    <a:pt x="517" y="66"/>
                  </a:lnTo>
                  <a:lnTo>
                    <a:pt x="517" y="66"/>
                  </a:lnTo>
                  <a:lnTo>
                    <a:pt x="516" y="66"/>
                  </a:lnTo>
                  <a:lnTo>
                    <a:pt x="517" y="65"/>
                  </a:lnTo>
                  <a:lnTo>
                    <a:pt x="517" y="65"/>
                  </a:lnTo>
                  <a:lnTo>
                    <a:pt x="519" y="63"/>
                  </a:lnTo>
                  <a:lnTo>
                    <a:pt x="519" y="63"/>
                  </a:lnTo>
                  <a:lnTo>
                    <a:pt x="520" y="63"/>
                  </a:lnTo>
                  <a:lnTo>
                    <a:pt x="522" y="63"/>
                  </a:lnTo>
                  <a:lnTo>
                    <a:pt x="520" y="61"/>
                  </a:lnTo>
                  <a:lnTo>
                    <a:pt x="520" y="61"/>
                  </a:lnTo>
                  <a:lnTo>
                    <a:pt x="522" y="61"/>
                  </a:lnTo>
                  <a:lnTo>
                    <a:pt x="520" y="58"/>
                  </a:lnTo>
                  <a:lnTo>
                    <a:pt x="520" y="58"/>
                  </a:lnTo>
                  <a:lnTo>
                    <a:pt x="520" y="57"/>
                  </a:lnTo>
                  <a:lnTo>
                    <a:pt x="519" y="57"/>
                  </a:lnTo>
                  <a:lnTo>
                    <a:pt x="519" y="55"/>
                  </a:lnTo>
                  <a:lnTo>
                    <a:pt x="519" y="54"/>
                  </a:lnTo>
                  <a:lnTo>
                    <a:pt x="517" y="52"/>
                  </a:lnTo>
                  <a:lnTo>
                    <a:pt x="516" y="52"/>
                  </a:lnTo>
                  <a:lnTo>
                    <a:pt x="516" y="54"/>
                  </a:lnTo>
                  <a:lnTo>
                    <a:pt x="514" y="57"/>
                  </a:lnTo>
                  <a:lnTo>
                    <a:pt x="514" y="57"/>
                  </a:lnTo>
                  <a:lnTo>
                    <a:pt x="514" y="55"/>
                  </a:lnTo>
                  <a:lnTo>
                    <a:pt x="513" y="55"/>
                  </a:lnTo>
                  <a:lnTo>
                    <a:pt x="513" y="55"/>
                  </a:lnTo>
                  <a:lnTo>
                    <a:pt x="511" y="57"/>
                  </a:lnTo>
                  <a:lnTo>
                    <a:pt x="513" y="58"/>
                  </a:lnTo>
                  <a:lnTo>
                    <a:pt x="516" y="61"/>
                  </a:lnTo>
                  <a:lnTo>
                    <a:pt x="511" y="61"/>
                  </a:lnTo>
                  <a:lnTo>
                    <a:pt x="510" y="63"/>
                  </a:lnTo>
                  <a:lnTo>
                    <a:pt x="510" y="66"/>
                  </a:lnTo>
                  <a:lnTo>
                    <a:pt x="508" y="66"/>
                  </a:lnTo>
                  <a:lnTo>
                    <a:pt x="508" y="68"/>
                  </a:lnTo>
                  <a:lnTo>
                    <a:pt x="507" y="68"/>
                  </a:lnTo>
                  <a:lnTo>
                    <a:pt x="505" y="68"/>
                  </a:lnTo>
                  <a:lnTo>
                    <a:pt x="505" y="66"/>
                  </a:lnTo>
                  <a:lnTo>
                    <a:pt x="507" y="65"/>
                  </a:lnTo>
                  <a:lnTo>
                    <a:pt x="508" y="60"/>
                  </a:lnTo>
                  <a:lnTo>
                    <a:pt x="510" y="58"/>
                  </a:lnTo>
                  <a:lnTo>
                    <a:pt x="510" y="57"/>
                  </a:lnTo>
                  <a:lnTo>
                    <a:pt x="510" y="57"/>
                  </a:lnTo>
                  <a:lnTo>
                    <a:pt x="510" y="55"/>
                  </a:lnTo>
                  <a:lnTo>
                    <a:pt x="511" y="54"/>
                  </a:lnTo>
                  <a:lnTo>
                    <a:pt x="511" y="52"/>
                  </a:lnTo>
                  <a:lnTo>
                    <a:pt x="510" y="54"/>
                  </a:lnTo>
                  <a:lnTo>
                    <a:pt x="510" y="54"/>
                  </a:lnTo>
                  <a:lnTo>
                    <a:pt x="508" y="54"/>
                  </a:lnTo>
                  <a:lnTo>
                    <a:pt x="508" y="54"/>
                  </a:lnTo>
                  <a:lnTo>
                    <a:pt x="510" y="49"/>
                  </a:lnTo>
                  <a:lnTo>
                    <a:pt x="510" y="49"/>
                  </a:lnTo>
                  <a:lnTo>
                    <a:pt x="508" y="49"/>
                  </a:lnTo>
                  <a:lnTo>
                    <a:pt x="508" y="49"/>
                  </a:lnTo>
                  <a:lnTo>
                    <a:pt x="508" y="49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10" y="45"/>
                  </a:lnTo>
                  <a:lnTo>
                    <a:pt x="510" y="45"/>
                  </a:lnTo>
                  <a:lnTo>
                    <a:pt x="511" y="43"/>
                  </a:lnTo>
                  <a:lnTo>
                    <a:pt x="510" y="38"/>
                  </a:lnTo>
                  <a:lnTo>
                    <a:pt x="511" y="38"/>
                  </a:lnTo>
                  <a:lnTo>
                    <a:pt x="511" y="38"/>
                  </a:lnTo>
                  <a:lnTo>
                    <a:pt x="511" y="37"/>
                  </a:lnTo>
                  <a:lnTo>
                    <a:pt x="511" y="35"/>
                  </a:lnTo>
                  <a:lnTo>
                    <a:pt x="511" y="35"/>
                  </a:lnTo>
                  <a:lnTo>
                    <a:pt x="511" y="34"/>
                  </a:lnTo>
                  <a:lnTo>
                    <a:pt x="511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0" y="37"/>
                  </a:lnTo>
                  <a:lnTo>
                    <a:pt x="510" y="37"/>
                  </a:lnTo>
                  <a:lnTo>
                    <a:pt x="510" y="38"/>
                  </a:lnTo>
                  <a:lnTo>
                    <a:pt x="508" y="37"/>
                  </a:lnTo>
                  <a:lnTo>
                    <a:pt x="507" y="35"/>
                  </a:lnTo>
                  <a:lnTo>
                    <a:pt x="503" y="35"/>
                  </a:lnTo>
                  <a:lnTo>
                    <a:pt x="502" y="35"/>
                  </a:lnTo>
                  <a:lnTo>
                    <a:pt x="502" y="37"/>
                  </a:lnTo>
                  <a:lnTo>
                    <a:pt x="502" y="37"/>
                  </a:lnTo>
                  <a:lnTo>
                    <a:pt x="502" y="38"/>
                  </a:lnTo>
                  <a:lnTo>
                    <a:pt x="502" y="38"/>
                  </a:lnTo>
                  <a:lnTo>
                    <a:pt x="502" y="40"/>
                  </a:lnTo>
                  <a:lnTo>
                    <a:pt x="502" y="40"/>
                  </a:lnTo>
                  <a:lnTo>
                    <a:pt x="500" y="41"/>
                  </a:lnTo>
                  <a:lnTo>
                    <a:pt x="499" y="41"/>
                  </a:lnTo>
                  <a:lnTo>
                    <a:pt x="499" y="43"/>
                  </a:lnTo>
                  <a:lnTo>
                    <a:pt x="497" y="45"/>
                  </a:lnTo>
                  <a:lnTo>
                    <a:pt x="497" y="46"/>
                  </a:lnTo>
                  <a:lnTo>
                    <a:pt x="499" y="46"/>
                  </a:lnTo>
                  <a:lnTo>
                    <a:pt x="499" y="48"/>
                  </a:lnTo>
                  <a:lnTo>
                    <a:pt x="500" y="49"/>
                  </a:lnTo>
                  <a:lnTo>
                    <a:pt x="500" y="49"/>
                  </a:lnTo>
                  <a:lnTo>
                    <a:pt x="502" y="49"/>
                  </a:lnTo>
                  <a:lnTo>
                    <a:pt x="503" y="49"/>
                  </a:lnTo>
                  <a:lnTo>
                    <a:pt x="505" y="51"/>
                  </a:lnTo>
                  <a:lnTo>
                    <a:pt x="502" y="52"/>
                  </a:lnTo>
                  <a:lnTo>
                    <a:pt x="499" y="51"/>
                  </a:lnTo>
                  <a:lnTo>
                    <a:pt x="497" y="49"/>
                  </a:lnTo>
                  <a:lnTo>
                    <a:pt x="496" y="45"/>
                  </a:lnTo>
                  <a:lnTo>
                    <a:pt x="494" y="43"/>
                  </a:lnTo>
                  <a:lnTo>
                    <a:pt x="494" y="43"/>
                  </a:lnTo>
                  <a:lnTo>
                    <a:pt x="493" y="45"/>
                  </a:lnTo>
                  <a:lnTo>
                    <a:pt x="493" y="46"/>
                  </a:lnTo>
                  <a:lnTo>
                    <a:pt x="493" y="48"/>
                  </a:lnTo>
                  <a:lnTo>
                    <a:pt x="493" y="48"/>
                  </a:lnTo>
                  <a:lnTo>
                    <a:pt x="493" y="49"/>
                  </a:lnTo>
                  <a:lnTo>
                    <a:pt x="491" y="51"/>
                  </a:lnTo>
                  <a:lnTo>
                    <a:pt x="491" y="51"/>
                  </a:lnTo>
                  <a:lnTo>
                    <a:pt x="490" y="51"/>
                  </a:lnTo>
                  <a:lnTo>
                    <a:pt x="490" y="51"/>
                  </a:lnTo>
                  <a:lnTo>
                    <a:pt x="488" y="54"/>
                  </a:lnTo>
                  <a:lnTo>
                    <a:pt x="488" y="55"/>
                  </a:lnTo>
                  <a:lnTo>
                    <a:pt x="488" y="55"/>
                  </a:lnTo>
                  <a:lnTo>
                    <a:pt x="491" y="55"/>
                  </a:lnTo>
                  <a:lnTo>
                    <a:pt x="491" y="55"/>
                  </a:lnTo>
                  <a:lnTo>
                    <a:pt x="493" y="54"/>
                  </a:lnTo>
                  <a:lnTo>
                    <a:pt x="494" y="55"/>
                  </a:lnTo>
                  <a:lnTo>
                    <a:pt x="494" y="55"/>
                  </a:lnTo>
                  <a:lnTo>
                    <a:pt x="496" y="54"/>
                  </a:lnTo>
                  <a:lnTo>
                    <a:pt x="497" y="54"/>
                  </a:lnTo>
                  <a:lnTo>
                    <a:pt x="496" y="55"/>
                  </a:lnTo>
                  <a:lnTo>
                    <a:pt x="496" y="57"/>
                  </a:lnTo>
                  <a:lnTo>
                    <a:pt x="496" y="58"/>
                  </a:lnTo>
                  <a:lnTo>
                    <a:pt x="497" y="58"/>
                  </a:lnTo>
                  <a:lnTo>
                    <a:pt x="499" y="58"/>
                  </a:lnTo>
                  <a:lnTo>
                    <a:pt x="499" y="57"/>
                  </a:lnTo>
                  <a:lnTo>
                    <a:pt x="500" y="54"/>
                  </a:lnTo>
                  <a:lnTo>
                    <a:pt x="500" y="58"/>
                  </a:lnTo>
                  <a:lnTo>
                    <a:pt x="500" y="61"/>
                  </a:lnTo>
                  <a:lnTo>
                    <a:pt x="500" y="63"/>
                  </a:lnTo>
                  <a:lnTo>
                    <a:pt x="502" y="63"/>
                  </a:lnTo>
                  <a:lnTo>
                    <a:pt x="502" y="65"/>
                  </a:lnTo>
                  <a:lnTo>
                    <a:pt x="505" y="65"/>
                  </a:lnTo>
                  <a:lnTo>
                    <a:pt x="505" y="65"/>
                  </a:lnTo>
                  <a:lnTo>
                    <a:pt x="503" y="66"/>
                  </a:lnTo>
                  <a:lnTo>
                    <a:pt x="503" y="68"/>
                  </a:lnTo>
                  <a:lnTo>
                    <a:pt x="503" y="69"/>
                  </a:lnTo>
                  <a:lnTo>
                    <a:pt x="505" y="71"/>
                  </a:lnTo>
                  <a:lnTo>
                    <a:pt x="505" y="71"/>
                  </a:lnTo>
                  <a:lnTo>
                    <a:pt x="507" y="69"/>
                  </a:lnTo>
                  <a:lnTo>
                    <a:pt x="508" y="68"/>
                  </a:lnTo>
                  <a:lnTo>
                    <a:pt x="508" y="71"/>
                  </a:lnTo>
                  <a:lnTo>
                    <a:pt x="510" y="72"/>
                  </a:lnTo>
                  <a:lnTo>
                    <a:pt x="513" y="72"/>
                  </a:lnTo>
                  <a:lnTo>
                    <a:pt x="514" y="74"/>
                  </a:lnTo>
                  <a:lnTo>
                    <a:pt x="510" y="74"/>
                  </a:lnTo>
                  <a:lnTo>
                    <a:pt x="508" y="74"/>
                  </a:lnTo>
                  <a:lnTo>
                    <a:pt x="510" y="77"/>
                  </a:lnTo>
                  <a:lnTo>
                    <a:pt x="508" y="75"/>
                  </a:lnTo>
                  <a:lnTo>
                    <a:pt x="508" y="75"/>
                  </a:lnTo>
                  <a:lnTo>
                    <a:pt x="508" y="75"/>
                  </a:lnTo>
                  <a:lnTo>
                    <a:pt x="507" y="80"/>
                  </a:lnTo>
                  <a:lnTo>
                    <a:pt x="508" y="81"/>
                  </a:lnTo>
                  <a:lnTo>
                    <a:pt x="507" y="83"/>
                  </a:lnTo>
                  <a:lnTo>
                    <a:pt x="507" y="85"/>
                  </a:lnTo>
                  <a:lnTo>
                    <a:pt x="505" y="81"/>
                  </a:lnTo>
                  <a:lnTo>
                    <a:pt x="503" y="78"/>
                  </a:lnTo>
                  <a:lnTo>
                    <a:pt x="502" y="78"/>
                  </a:lnTo>
                  <a:lnTo>
                    <a:pt x="500" y="80"/>
                  </a:lnTo>
                  <a:lnTo>
                    <a:pt x="500" y="81"/>
                  </a:lnTo>
                  <a:lnTo>
                    <a:pt x="500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9" y="83"/>
                  </a:lnTo>
                  <a:lnTo>
                    <a:pt x="500" y="85"/>
                  </a:lnTo>
                  <a:lnTo>
                    <a:pt x="500" y="85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9" y="81"/>
                  </a:lnTo>
                  <a:lnTo>
                    <a:pt x="497" y="80"/>
                  </a:lnTo>
                  <a:lnTo>
                    <a:pt x="494" y="80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3"/>
                  </a:lnTo>
                  <a:lnTo>
                    <a:pt x="491" y="81"/>
                  </a:lnTo>
                  <a:lnTo>
                    <a:pt x="493" y="83"/>
                  </a:lnTo>
                  <a:lnTo>
                    <a:pt x="491" y="83"/>
                  </a:lnTo>
                  <a:lnTo>
                    <a:pt x="490" y="83"/>
                  </a:lnTo>
                  <a:lnTo>
                    <a:pt x="490" y="81"/>
                  </a:lnTo>
                  <a:lnTo>
                    <a:pt x="488" y="80"/>
                  </a:lnTo>
                  <a:lnTo>
                    <a:pt x="487" y="80"/>
                  </a:lnTo>
                  <a:lnTo>
                    <a:pt x="485" y="80"/>
                  </a:lnTo>
                  <a:lnTo>
                    <a:pt x="483" y="81"/>
                  </a:lnTo>
                  <a:lnTo>
                    <a:pt x="483" y="83"/>
                  </a:lnTo>
                  <a:lnTo>
                    <a:pt x="482" y="83"/>
                  </a:lnTo>
                  <a:lnTo>
                    <a:pt x="482" y="85"/>
                  </a:lnTo>
                  <a:lnTo>
                    <a:pt x="482" y="88"/>
                  </a:lnTo>
                  <a:lnTo>
                    <a:pt x="483" y="91"/>
                  </a:lnTo>
                  <a:close/>
                  <a:moveTo>
                    <a:pt x="522" y="51"/>
                  </a:moveTo>
                  <a:lnTo>
                    <a:pt x="524" y="52"/>
                  </a:lnTo>
                  <a:lnTo>
                    <a:pt x="527" y="54"/>
                  </a:lnTo>
                  <a:lnTo>
                    <a:pt x="527" y="52"/>
                  </a:lnTo>
                  <a:lnTo>
                    <a:pt x="525" y="52"/>
                  </a:lnTo>
                  <a:lnTo>
                    <a:pt x="525" y="51"/>
                  </a:lnTo>
                  <a:lnTo>
                    <a:pt x="525" y="51"/>
                  </a:lnTo>
                  <a:lnTo>
                    <a:pt x="527" y="51"/>
                  </a:lnTo>
                  <a:lnTo>
                    <a:pt x="527" y="51"/>
                  </a:lnTo>
                  <a:lnTo>
                    <a:pt x="527" y="52"/>
                  </a:lnTo>
                  <a:lnTo>
                    <a:pt x="530" y="51"/>
                  </a:lnTo>
                  <a:lnTo>
                    <a:pt x="531" y="52"/>
                  </a:lnTo>
                  <a:lnTo>
                    <a:pt x="531" y="52"/>
                  </a:lnTo>
                  <a:lnTo>
                    <a:pt x="531" y="51"/>
                  </a:lnTo>
                  <a:lnTo>
                    <a:pt x="531" y="48"/>
                  </a:lnTo>
                  <a:lnTo>
                    <a:pt x="531" y="48"/>
                  </a:lnTo>
                  <a:lnTo>
                    <a:pt x="530" y="45"/>
                  </a:lnTo>
                  <a:lnTo>
                    <a:pt x="531" y="45"/>
                  </a:lnTo>
                  <a:lnTo>
                    <a:pt x="533" y="43"/>
                  </a:lnTo>
                  <a:lnTo>
                    <a:pt x="533" y="40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1" y="38"/>
                  </a:lnTo>
                  <a:lnTo>
                    <a:pt x="530" y="37"/>
                  </a:lnTo>
                  <a:lnTo>
                    <a:pt x="528" y="37"/>
                  </a:lnTo>
                  <a:lnTo>
                    <a:pt x="528" y="35"/>
                  </a:lnTo>
                  <a:lnTo>
                    <a:pt x="530" y="35"/>
                  </a:lnTo>
                  <a:lnTo>
                    <a:pt x="530" y="35"/>
                  </a:lnTo>
                  <a:lnTo>
                    <a:pt x="531" y="35"/>
                  </a:lnTo>
                  <a:lnTo>
                    <a:pt x="533" y="35"/>
                  </a:lnTo>
                  <a:lnTo>
                    <a:pt x="530" y="31"/>
                  </a:lnTo>
                  <a:lnTo>
                    <a:pt x="530" y="29"/>
                  </a:lnTo>
                  <a:lnTo>
                    <a:pt x="528" y="28"/>
                  </a:lnTo>
                  <a:lnTo>
                    <a:pt x="530" y="28"/>
                  </a:lnTo>
                  <a:lnTo>
                    <a:pt x="531" y="29"/>
                  </a:lnTo>
                  <a:lnTo>
                    <a:pt x="534" y="32"/>
                  </a:lnTo>
                  <a:lnTo>
                    <a:pt x="534" y="31"/>
                  </a:lnTo>
                  <a:lnTo>
                    <a:pt x="534" y="29"/>
                  </a:lnTo>
                  <a:lnTo>
                    <a:pt x="533" y="26"/>
                  </a:lnTo>
                  <a:lnTo>
                    <a:pt x="533" y="24"/>
                  </a:lnTo>
                  <a:lnTo>
                    <a:pt x="534" y="23"/>
                  </a:lnTo>
                  <a:lnTo>
                    <a:pt x="534" y="21"/>
                  </a:lnTo>
                  <a:lnTo>
                    <a:pt x="533" y="21"/>
                  </a:lnTo>
                  <a:lnTo>
                    <a:pt x="533" y="21"/>
                  </a:lnTo>
                  <a:lnTo>
                    <a:pt x="533" y="20"/>
                  </a:lnTo>
                  <a:lnTo>
                    <a:pt x="534" y="20"/>
                  </a:lnTo>
                  <a:lnTo>
                    <a:pt x="534" y="20"/>
                  </a:lnTo>
                  <a:lnTo>
                    <a:pt x="534" y="17"/>
                  </a:lnTo>
                  <a:lnTo>
                    <a:pt x="530" y="17"/>
                  </a:lnTo>
                  <a:lnTo>
                    <a:pt x="528" y="17"/>
                  </a:lnTo>
                  <a:lnTo>
                    <a:pt x="528" y="20"/>
                  </a:lnTo>
                  <a:lnTo>
                    <a:pt x="527" y="17"/>
                  </a:lnTo>
                  <a:lnTo>
                    <a:pt x="527" y="17"/>
                  </a:lnTo>
                  <a:lnTo>
                    <a:pt x="525" y="18"/>
                  </a:lnTo>
                  <a:lnTo>
                    <a:pt x="525" y="20"/>
                  </a:lnTo>
                  <a:lnTo>
                    <a:pt x="525" y="21"/>
                  </a:lnTo>
                  <a:lnTo>
                    <a:pt x="524" y="23"/>
                  </a:lnTo>
                  <a:lnTo>
                    <a:pt x="524" y="24"/>
                  </a:lnTo>
                  <a:lnTo>
                    <a:pt x="525" y="24"/>
                  </a:lnTo>
                  <a:lnTo>
                    <a:pt x="525" y="24"/>
                  </a:lnTo>
                  <a:lnTo>
                    <a:pt x="524" y="28"/>
                  </a:lnTo>
                  <a:lnTo>
                    <a:pt x="524" y="28"/>
                  </a:lnTo>
                  <a:lnTo>
                    <a:pt x="524" y="31"/>
                  </a:lnTo>
                  <a:lnTo>
                    <a:pt x="525" y="34"/>
                  </a:lnTo>
                  <a:lnTo>
                    <a:pt x="525" y="35"/>
                  </a:lnTo>
                  <a:lnTo>
                    <a:pt x="525" y="35"/>
                  </a:lnTo>
                  <a:lnTo>
                    <a:pt x="524" y="34"/>
                  </a:lnTo>
                  <a:lnTo>
                    <a:pt x="522" y="32"/>
                  </a:lnTo>
                  <a:lnTo>
                    <a:pt x="524" y="31"/>
                  </a:lnTo>
                  <a:lnTo>
                    <a:pt x="524" y="29"/>
                  </a:lnTo>
                  <a:lnTo>
                    <a:pt x="520" y="31"/>
                  </a:lnTo>
                  <a:lnTo>
                    <a:pt x="520" y="34"/>
                  </a:lnTo>
                  <a:lnTo>
                    <a:pt x="520" y="48"/>
                  </a:lnTo>
                  <a:lnTo>
                    <a:pt x="522" y="51"/>
                  </a:lnTo>
                  <a:close/>
                  <a:moveTo>
                    <a:pt x="536" y="23"/>
                  </a:moveTo>
                  <a:lnTo>
                    <a:pt x="537" y="24"/>
                  </a:lnTo>
                  <a:lnTo>
                    <a:pt x="537" y="24"/>
                  </a:lnTo>
                  <a:lnTo>
                    <a:pt x="540" y="24"/>
                  </a:lnTo>
                  <a:lnTo>
                    <a:pt x="542" y="24"/>
                  </a:lnTo>
                  <a:lnTo>
                    <a:pt x="544" y="24"/>
                  </a:lnTo>
                  <a:lnTo>
                    <a:pt x="544" y="24"/>
                  </a:lnTo>
                  <a:lnTo>
                    <a:pt x="544" y="26"/>
                  </a:lnTo>
                  <a:lnTo>
                    <a:pt x="545" y="26"/>
                  </a:lnTo>
                  <a:lnTo>
                    <a:pt x="545" y="26"/>
                  </a:lnTo>
                  <a:lnTo>
                    <a:pt x="547" y="24"/>
                  </a:lnTo>
                  <a:lnTo>
                    <a:pt x="547" y="23"/>
                  </a:lnTo>
                  <a:lnTo>
                    <a:pt x="545" y="21"/>
                  </a:lnTo>
                  <a:lnTo>
                    <a:pt x="545" y="20"/>
                  </a:lnTo>
                  <a:lnTo>
                    <a:pt x="545" y="18"/>
                  </a:lnTo>
                  <a:lnTo>
                    <a:pt x="548" y="15"/>
                  </a:lnTo>
                  <a:lnTo>
                    <a:pt x="548" y="14"/>
                  </a:lnTo>
                  <a:lnTo>
                    <a:pt x="548" y="14"/>
                  </a:lnTo>
                  <a:lnTo>
                    <a:pt x="547" y="14"/>
                  </a:lnTo>
                  <a:lnTo>
                    <a:pt x="547" y="14"/>
                  </a:lnTo>
                  <a:lnTo>
                    <a:pt x="548" y="14"/>
                  </a:lnTo>
                  <a:lnTo>
                    <a:pt x="548" y="12"/>
                  </a:lnTo>
                  <a:lnTo>
                    <a:pt x="548" y="11"/>
                  </a:lnTo>
                  <a:lnTo>
                    <a:pt x="548" y="9"/>
                  </a:lnTo>
                  <a:lnTo>
                    <a:pt x="550" y="8"/>
                  </a:lnTo>
                  <a:lnTo>
                    <a:pt x="551" y="6"/>
                  </a:lnTo>
                  <a:lnTo>
                    <a:pt x="550" y="6"/>
                  </a:lnTo>
                  <a:lnTo>
                    <a:pt x="550" y="6"/>
                  </a:lnTo>
                  <a:lnTo>
                    <a:pt x="550" y="4"/>
                  </a:lnTo>
                  <a:lnTo>
                    <a:pt x="551" y="4"/>
                  </a:lnTo>
                  <a:lnTo>
                    <a:pt x="551" y="3"/>
                  </a:lnTo>
                  <a:lnTo>
                    <a:pt x="550" y="1"/>
                  </a:lnTo>
                  <a:lnTo>
                    <a:pt x="550" y="1"/>
                  </a:lnTo>
                  <a:lnTo>
                    <a:pt x="548" y="0"/>
                  </a:lnTo>
                  <a:lnTo>
                    <a:pt x="547" y="0"/>
                  </a:lnTo>
                  <a:lnTo>
                    <a:pt x="547" y="0"/>
                  </a:lnTo>
                  <a:lnTo>
                    <a:pt x="547" y="0"/>
                  </a:lnTo>
                  <a:lnTo>
                    <a:pt x="545" y="1"/>
                  </a:lnTo>
                  <a:lnTo>
                    <a:pt x="544" y="6"/>
                  </a:lnTo>
                  <a:lnTo>
                    <a:pt x="544" y="8"/>
                  </a:lnTo>
                  <a:lnTo>
                    <a:pt x="542" y="8"/>
                  </a:lnTo>
                  <a:lnTo>
                    <a:pt x="542" y="9"/>
                  </a:lnTo>
                  <a:lnTo>
                    <a:pt x="542" y="8"/>
                  </a:lnTo>
                  <a:lnTo>
                    <a:pt x="542" y="6"/>
                  </a:lnTo>
                  <a:lnTo>
                    <a:pt x="544" y="6"/>
                  </a:lnTo>
                  <a:lnTo>
                    <a:pt x="544" y="4"/>
                  </a:lnTo>
                  <a:lnTo>
                    <a:pt x="544" y="3"/>
                  </a:lnTo>
                  <a:lnTo>
                    <a:pt x="544" y="1"/>
                  </a:lnTo>
                  <a:lnTo>
                    <a:pt x="544" y="0"/>
                  </a:lnTo>
                  <a:lnTo>
                    <a:pt x="542" y="0"/>
                  </a:lnTo>
                  <a:lnTo>
                    <a:pt x="542" y="1"/>
                  </a:lnTo>
                  <a:lnTo>
                    <a:pt x="542" y="3"/>
                  </a:lnTo>
                  <a:lnTo>
                    <a:pt x="540" y="4"/>
                  </a:lnTo>
                  <a:lnTo>
                    <a:pt x="539" y="6"/>
                  </a:lnTo>
                  <a:lnTo>
                    <a:pt x="537" y="6"/>
                  </a:lnTo>
                  <a:lnTo>
                    <a:pt x="537" y="8"/>
                  </a:lnTo>
                  <a:lnTo>
                    <a:pt x="539" y="9"/>
                  </a:lnTo>
                  <a:lnTo>
                    <a:pt x="539" y="11"/>
                  </a:lnTo>
                  <a:lnTo>
                    <a:pt x="537" y="14"/>
                  </a:lnTo>
                  <a:lnTo>
                    <a:pt x="537" y="14"/>
                  </a:lnTo>
                  <a:lnTo>
                    <a:pt x="537" y="15"/>
                  </a:lnTo>
                  <a:lnTo>
                    <a:pt x="537" y="18"/>
                  </a:lnTo>
                  <a:lnTo>
                    <a:pt x="537" y="20"/>
                  </a:lnTo>
                  <a:lnTo>
                    <a:pt x="536" y="18"/>
                  </a:lnTo>
                  <a:lnTo>
                    <a:pt x="536" y="20"/>
                  </a:lnTo>
                  <a:lnTo>
                    <a:pt x="536" y="20"/>
                  </a:lnTo>
                  <a:lnTo>
                    <a:pt x="536" y="21"/>
                  </a:lnTo>
                  <a:lnTo>
                    <a:pt x="536" y="23"/>
                  </a:lnTo>
                  <a:close/>
                  <a:moveTo>
                    <a:pt x="431" y="1494"/>
                  </a:moveTo>
                  <a:lnTo>
                    <a:pt x="431" y="1494"/>
                  </a:lnTo>
                  <a:lnTo>
                    <a:pt x="431" y="1495"/>
                  </a:lnTo>
                  <a:lnTo>
                    <a:pt x="431" y="1495"/>
                  </a:lnTo>
                  <a:lnTo>
                    <a:pt x="431" y="1495"/>
                  </a:lnTo>
                  <a:lnTo>
                    <a:pt x="431" y="1497"/>
                  </a:lnTo>
                  <a:lnTo>
                    <a:pt x="431" y="1497"/>
                  </a:lnTo>
                  <a:lnTo>
                    <a:pt x="431" y="1497"/>
                  </a:lnTo>
                  <a:lnTo>
                    <a:pt x="431" y="1498"/>
                  </a:lnTo>
                  <a:lnTo>
                    <a:pt x="431" y="1498"/>
                  </a:lnTo>
                  <a:lnTo>
                    <a:pt x="431" y="1497"/>
                  </a:lnTo>
                  <a:lnTo>
                    <a:pt x="433" y="1497"/>
                  </a:lnTo>
                  <a:lnTo>
                    <a:pt x="433" y="1495"/>
                  </a:lnTo>
                  <a:lnTo>
                    <a:pt x="431" y="1494"/>
                  </a:lnTo>
                  <a:close/>
                  <a:moveTo>
                    <a:pt x="419" y="1487"/>
                  </a:moveTo>
                  <a:lnTo>
                    <a:pt x="417" y="1487"/>
                  </a:lnTo>
                  <a:lnTo>
                    <a:pt x="416" y="1489"/>
                  </a:lnTo>
                  <a:lnTo>
                    <a:pt x="413" y="1492"/>
                  </a:lnTo>
                  <a:lnTo>
                    <a:pt x="411" y="1492"/>
                  </a:lnTo>
                  <a:lnTo>
                    <a:pt x="411" y="1492"/>
                  </a:lnTo>
                  <a:lnTo>
                    <a:pt x="410" y="1492"/>
                  </a:lnTo>
                  <a:lnTo>
                    <a:pt x="410" y="1494"/>
                  </a:lnTo>
                  <a:lnTo>
                    <a:pt x="410" y="1495"/>
                  </a:lnTo>
                  <a:lnTo>
                    <a:pt x="410" y="1495"/>
                  </a:lnTo>
                  <a:lnTo>
                    <a:pt x="408" y="1495"/>
                  </a:lnTo>
                  <a:lnTo>
                    <a:pt x="410" y="1495"/>
                  </a:lnTo>
                  <a:lnTo>
                    <a:pt x="416" y="1495"/>
                  </a:lnTo>
                  <a:lnTo>
                    <a:pt x="417" y="1497"/>
                  </a:lnTo>
                  <a:lnTo>
                    <a:pt x="417" y="1497"/>
                  </a:lnTo>
                  <a:lnTo>
                    <a:pt x="417" y="1497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5"/>
                  </a:lnTo>
                  <a:lnTo>
                    <a:pt x="419" y="1492"/>
                  </a:lnTo>
                  <a:lnTo>
                    <a:pt x="420" y="1490"/>
                  </a:lnTo>
                  <a:lnTo>
                    <a:pt x="420" y="1487"/>
                  </a:lnTo>
                  <a:lnTo>
                    <a:pt x="422" y="1487"/>
                  </a:lnTo>
                  <a:lnTo>
                    <a:pt x="420" y="1486"/>
                  </a:lnTo>
                  <a:lnTo>
                    <a:pt x="419" y="1487"/>
                  </a:lnTo>
                  <a:close/>
                  <a:moveTo>
                    <a:pt x="445" y="1464"/>
                  </a:moveTo>
                  <a:lnTo>
                    <a:pt x="447" y="1463"/>
                  </a:lnTo>
                  <a:lnTo>
                    <a:pt x="447" y="1461"/>
                  </a:lnTo>
                  <a:lnTo>
                    <a:pt x="445" y="1461"/>
                  </a:lnTo>
                  <a:lnTo>
                    <a:pt x="445" y="1461"/>
                  </a:lnTo>
                  <a:lnTo>
                    <a:pt x="445" y="1463"/>
                  </a:lnTo>
                  <a:lnTo>
                    <a:pt x="443" y="1463"/>
                  </a:lnTo>
                  <a:lnTo>
                    <a:pt x="442" y="1463"/>
                  </a:lnTo>
                  <a:lnTo>
                    <a:pt x="442" y="1464"/>
                  </a:lnTo>
                  <a:lnTo>
                    <a:pt x="442" y="1464"/>
                  </a:lnTo>
                  <a:lnTo>
                    <a:pt x="443" y="1464"/>
                  </a:lnTo>
                  <a:lnTo>
                    <a:pt x="445" y="1464"/>
                  </a:lnTo>
                  <a:close/>
                  <a:moveTo>
                    <a:pt x="251" y="938"/>
                  </a:moveTo>
                  <a:lnTo>
                    <a:pt x="251" y="939"/>
                  </a:lnTo>
                  <a:lnTo>
                    <a:pt x="251" y="939"/>
                  </a:lnTo>
                  <a:lnTo>
                    <a:pt x="251" y="939"/>
                  </a:lnTo>
                  <a:lnTo>
                    <a:pt x="252" y="941"/>
                  </a:lnTo>
                  <a:lnTo>
                    <a:pt x="254" y="939"/>
                  </a:lnTo>
                  <a:lnTo>
                    <a:pt x="256" y="938"/>
                  </a:lnTo>
                  <a:lnTo>
                    <a:pt x="257" y="938"/>
                  </a:lnTo>
                  <a:lnTo>
                    <a:pt x="259" y="938"/>
                  </a:lnTo>
                  <a:lnTo>
                    <a:pt x="260" y="939"/>
                  </a:lnTo>
                  <a:lnTo>
                    <a:pt x="262" y="939"/>
                  </a:lnTo>
                  <a:lnTo>
                    <a:pt x="262" y="939"/>
                  </a:lnTo>
                  <a:lnTo>
                    <a:pt x="263" y="939"/>
                  </a:lnTo>
                  <a:lnTo>
                    <a:pt x="263" y="939"/>
                  </a:lnTo>
                  <a:lnTo>
                    <a:pt x="265" y="941"/>
                  </a:lnTo>
                  <a:lnTo>
                    <a:pt x="265" y="938"/>
                  </a:lnTo>
                  <a:lnTo>
                    <a:pt x="266" y="936"/>
                  </a:lnTo>
                  <a:lnTo>
                    <a:pt x="266" y="936"/>
                  </a:lnTo>
                  <a:lnTo>
                    <a:pt x="268" y="936"/>
                  </a:lnTo>
                  <a:lnTo>
                    <a:pt x="269" y="935"/>
                  </a:lnTo>
                  <a:lnTo>
                    <a:pt x="269" y="935"/>
                  </a:lnTo>
                  <a:lnTo>
                    <a:pt x="271" y="933"/>
                  </a:lnTo>
                  <a:lnTo>
                    <a:pt x="274" y="930"/>
                  </a:lnTo>
                  <a:lnTo>
                    <a:pt x="274" y="928"/>
                  </a:lnTo>
                  <a:lnTo>
                    <a:pt x="277" y="927"/>
                  </a:lnTo>
                  <a:lnTo>
                    <a:pt x="279" y="925"/>
                  </a:lnTo>
                  <a:lnTo>
                    <a:pt x="280" y="922"/>
                  </a:lnTo>
                  <a:lnTo>
                    <a:pt x="280" y="919"/>
                  </a:lnTo>
                  <a:lnTo>
                    <a:pt x="282" y="918"/>
                  </a:lnTo>
                  <a:lnTo>
                    <a:pt x="283" y="918"/>
                  </a:lnTo>
                  <a:lnTo>
                    <a:pt x="283" y="918"/>
                  </a:lnTo>
                  <a:lnTo>
                    <a:pt x="283" y="916"/>
                  </a:lnTo>
                  <a:lnTo>
                    <a:pt x="283" y="915"/>
                  </a:lnTo>
                  <a:lnTo>
                    <a:pt x="285" y="915"/>
                  </a:lnTo>
                  <a:lnTo>
                    <a:pt x="285" y="911"/>
                  </a:lnTo>
                  <a:lnTo>
                    <a:pt x="286" y="911"/>
                  </a:lnTo>
                  <a:lnTo>
                    <a:pt x="286" y="911"/>
                  </a:lnTo>
                  <a:lnTo>
                    <a:pt x="286" y="910"/>
                  </a:lnTo>
                  <a:lnTo>
                    <a:pt x="286" y="908"/>
                  </a:lnTo>
                  <a:lnTo>
                    <a:pt x="286" y="908"/>
                  </a:lnTo>
                  <a:lnTo>
                    <a:pt x="285" y="908"/>
                  </a:lnTo>
                  <a:lnTo>
                    <a:pt x="283" y="908"/>
                  </a:lnTo>
                  <a:lnTo>
                    <a:pt x="283" y="907"/>
                  </a:lnTo>
                  <a:lnTo>
                    <a:pt x="283" y="907"/>
                  </a:lnTo>
                  <a:lnTo>
                    <a:pt x="282" y="904"/>
                  </a:lnTo>
                  <a:lnTo>
                    <a:pt x="282" y="904"/>
                  </a:lnTo>
                  <a:lnTo>
                    <a:pt x="282" y="902"/>
                  </a:lnTo>
                  <a:lnTo>
                    <a:pt x="283" y="898"/>
                  </a:lnTo>
                  <a:lnTo>
                    <a:pt x="283" y="895"/>
                  </a:lnTo>
                  <a:lnTo>
                    <a:pt x="282" y="895"/>
                  </a:lnTo>
                  <a:lnTo>
                    <a:pt x="282" y="895"/>
                  </a:lnTo>
                  <a:lnTo>
                    <a:pt x="280" y="896"/>
                  </a:lnTo>
                  <a:lnTo>
                    <a:pt x="277" y="896"/>
                  </a:lnTo>
                  <a:lnTo>
                    <a:pt x="272" y="899"/>
                  </a:lnTo>
                  <a:lnTo>
                    <a:pt x="271" y="901"/>
                  </a:lnTo>
                  <a:lnTo>
                    <a:pt x="268" y="905"/>
                  </a:lnTo>
                  <a:lnTo>
                    <a:pt x="265" y="913"/>
                  </a:lnTo>
                  <a:lnTo>
                    <a:pt x="265" y="915"/>
                  </a:lnTo>
                  <a:lnTo>
                    <a:pt x="262" y="916"/>
                  </a:lnTo>
                  <a:lnTo>
                    <a:pt x="260" y="918"/>
                  </a:lnTo>
                  <a:lnTo>
                    <a:pt x="259" y="919"/>
                  </a:lnTo>
                  <a:lnTo>
                    <a:pt x="257" y="919"/>
                  </a:lnTo>
                  <a:lnTo>
                    <a:pt x="257" y="921"/>
                  </a:lnTo>
                  <a:lnTo>
                    <a:pt x="257" y="921"/>
                  </a:lnTo>
                  <a:lnTo>
                    <a:pt x="257" y="922"/>
                  </a:lnTo>
                  <a:lnTo>
                    <a:pt x="256" y="924"/>
                  </a:lnTo>
                  <a:lnTo>
                    <a:pt x="256" y="925"/>
                  </a:lnTo>
                  <a:lnTo>
                    <a:pt x="256" y="930"/>
                  </a:lnTo>
                  <a:lnTo>
                    <a:pt x="256" y="931"/>
                  </a:lnTo>
                  <a:lnTo>
                    <a:pt x="252" y="936"/>
                  </a:lnTo>
                  <a:lnTo>
                    <a:pt x="252" y="938"/>
                  </a:lnTo>
                  <a:lnTo>
                    <a:pt x="252" y="938"/>
                  </a:lnTo>
                  <a:lnTo>
                    <a:pt x="251" y="938"/>
                  </a:lnTo>
                  <a:close/>
                  <a:moveTo>
                    <a:pt x="457" y="1520"/>
                  </a:moveTo>
                  <a:lnTo>
                    <a:pt x="457" y="1520"/>
                  </a:lnTo>
                  <a:lnTo>
                    <a:pt x="457" y="1518"/>
                  </a:lnTo>
                  <a:lnTo>
                    <a:pt x="454" y="1517"/>
                  </a:lnTo>
                  <a:lnTo>
                    <a:pt x="453" y="1515"/>
                  </a:lnTo>
                  <a:lnTo>
                    <a:pt x="451" y="1515"/>
                  </a:lnTo>
                  <a:lnTo>
                    <a:pt x="451" y="1515"/>
                  </a:lnTo>
                  <a:lnTo>
                    <a:pt x="451" y="1517"/>
                  </a:lnTo>
                  <a:lnTo>
                    <a:pt x="450" y="1515"/>
                  </a:lnTo>
                  <a:lnTo>
                    <a:pt x="448" y="1515"/>
                  </a:lnTo>
                  <a:lnTo>
                    <a:pt x="448" y="1515"/>
                  </a:lnTo>
                  <a:lnTo>
                    <a:pt x="447" y="1515"/>
                  </a:lnTo>
                  <a:lnTo>
                    <a:pt x="447" y="1515"/>
                  </a:lnTo>
                  <a:lnTo>
                    <a:pt x="445" y="1517"/>
                  </a:lnTo>
                  <a:lnTo>
                    <a:pt x="443" y="1517"/>
                  </a:lnTo>
                  <a:lnTo>
                    <a:pt x="443" y="1515"/>
                  </a:lnTo>
                  <a:lnTo>
                    <a:pt x="442" y="1515"/>
                  </a:lnTo>
                  <a:lnTo>
                    <a:pt x="440" y="1515"/>
                  </a:lnTo>
                  <a:lnTo>
                    <a:pt x="440" y="1517"/>
                  </a:lnTo>
                  <a:lnTo>
                    <a:pt x="442" y="1518"/>
                  </a:lnTo>
                  <a:lnTo>
                    <a:pt x="442" y="1521"/>
                  </a:lnTo>
                  <a:lnTo>
                    <a:pt x="442" y="1524"/>
                  </a:lnTo>
                  <a:lnTo>
                    <a:pt x="442" y="1524"/>
                  </a:lnTo>
                  <a:lnTo>
                    <a:pt x="443" y="1523"/>
                  </a:lnTo>
                  <a:lnTo>
                    <a:pt x="443" y="1523"/>
                  </a:lnTo>
                  <a:lnTo>
                    <a:pt x="445" y="1523"/>
                  </a:lnTo>
                  <a:lnTo>
                    <a:pt x="445" y="1524"/>
                  </a:lnTo>
                  <a:lnTo>
                    <a:pt x="447" y="1524"/>
                  </a:lnTo>
                  <a:lnTo>
                    <a:pt x="447" y="1523"/>
                  </a:lnTo>
                  <a:lnTo>
                    <a:pt x="448" y="1523"/>
                  </a:lnTo>
                  <a:lnTo>
                    <a:pt x="448" y="1521"/>
                  </a:lnTo>
                  <a:lnTo>
                    <a:pt x="448" y="1521"/>
                  </a:lnTo>
                  <a:lnTo>
                    <a:pt x="450" y="1521"/>
                  </a:lnTo>
                  <a:lnTo>
                    <a:pt x="450" y="1523"/>
                  </a:lnTo>
                  <a:lnTo>
                    <a:pt x="451" y="1524"/>
                  </a:lnTo>
                  <a:lnTo>
                    <a:pt x="453" y="1524"/>
                  </a:lnTo>
                  <a:lnTo>
                    <a:pt x="456" y="1524"/>
                  </a:lnTo>
                  <a:lnTo>
                    <a:pt x="456" y="1524"/>
                  </a:lnTo>
                  <a:lnTo>
                    <a:pt x="456" y="1526"/>
                  </a:lnTo>
                  <a:lnTo>
                    <a:pt x="457" y="1526"/>
                  </a:lnTo>
                  <a:lnTo>
                    <a:pt x="457" y="1524"/>
                  </a:lnTo>
                  <a:lnTo>
                    <a:pt x="457" y="1523"/>
                  </a:lnTo>
                  <a:lnTo>
                    <a:pt x="457" y="1521"/>
                  </a:lnTo>
                  <a:lnTo>
                    <a:pt x="457" y="1521"/>
                  </a:lnTo>
                  <a:lnTo>
                    <a:pt x="459" y="1521"/>
                  </a:lnTo>
                  <a:lnTo>
                    <a:pt x="457" y="1520"/>
                  </a:lnTo>
                  <a:lnTo>
                    <a:pt x="457" y="152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7"/>
            <p:cNvSpPr>
              <a:spLocks/>
            </p:cNvSpPr>
            <p:nvPr/>
          </p:nvSpPr>
          <p:spPr bwMode="gray">
            <a:xfrm>
              <a:off x="5172075" y="8901113"/>
              <a:ext cx="1588" cy="4763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0 w 1"/>
                <a:gd name="T5" fmla="*/ 2 h 3"/>
                <a:gd name="T6" fmla="*/ 1 w 1"/>
                <a:gd name="T7" fmla="*/ 3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78"/>
            <p:cNvSpPr>
              <a:spLocks/>
            </p:cNvSpPr>
            <p:nvPr/>
          </p:nvSpPr>
          <p:spPr bwMode="gray">
            <a:xfrm>
              <a:off x="5172075" y="8901113"/>
              <a:ext cx="1588" cy="4763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0 w 1"/>
                <a:gd name="T5" fmla="*/ 2 h 3"/>
                <a:gd name="T6" fmla="*/ 1 w 1"/>
                <a:gd name="T7" fmla="*/ 3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79"/>
            <p:cNvSpPr>
              <a:spLocks noEditPoints="1"/>
            </p:cNvSpPr>
            <p:nvPr/>
          </p:nvSpPr>
          <p:spPr bwMode="gray">
            <a:xfrm>
              <a:off x="6376988" y="5668963"/>
              <a:ext cx="1082675" cy="1470025"/>
            </a:xfrm>
            <a:custGeom>
              <a:avLst/>
              <a:gdLst>
                <a:gd name="T0" fmla="*/ 170 w 682"/>
                <a:gd name="T1" fmla="*/ 173 h 926"/>
                <a:gd name="T2" fmla="*/ 156 w 682"/>
                <a:gd name="T3" fmla="*/ 164 h 926"/>
                <a:gd name="T4" fmla="*/ 596 w 682"/>
                <a:gd name="T5" fmla="*/ 130 h 926"/>
                <a:gd name="T6" fmla="*/ 593 w 682"/>
                <a:gd name="T7" fmla="*/ 154 h 926"/>
                <a:gd name="T8" fmla="*/ 225 w 682"/>
                <a:gd name="T9" fmla="*/ 77 h 926"/>
                <a:gd name="T10" fmla="*/ 205 w 682"/>
                <a:gd name="T11" fmla="*/ 73 h 926"/>
                <a:gd name="T12" fmla="*/ 544 w 682"/>
                <a:gd name="T13" fmla="*/ 68 h 926"/>
                <a:gd name="T14" fmla="*/ 542 w 682"/>
                <a:gd name="T15" fmla="*/ 99 h 926"/>
                <a:gd name="T16" fmla="*/ 579 w 682"/>
                <a:gd name="T17" fmla="*/ 93 h 926"/>
                <a:gd name="T18" fmla="*/ 567 w 682"/>
                <a:gd name="T19" fmla="*/ 64 h 926"/>
                <a:gd name="T20" fmla="*/ 568 w 682"/>
                <a:gd name="T21" fmla="*/ 65 h 926"/>
                <a:gd name="T22" fmla="*/ 555 w 682"/>
                <a:gd name="T23" fmla="*/ 70 h 926"/>
                <a:gd name="T24" fmla="*/ 676 w 682"/>
                <a:gd name="T25" fmla="*/ 453 h 926"/>
                <a:gd name="T26" fmla="*/ 659 w 682"/>
                <a:gd name="T27" fmla="*/ 358 h 926"/>
                <a:gd name="T28" fmla="*/ 635 w 682"/>
                <a:gd name="T29" fmla="*/ 245 h 926"/>
                <a:gd name="T30" fmla="*/ 608 w 682"/>
                <a:gd name="T31" fmla="*/ 168 h 926"/>
                <a:gd name="T32" fmla="*/ 585 w 682"/>
                <a:gd name="T33" fmla="*/ 116 h 926"/>
                <a:gd name="T34" fmla="*/ 535 w 682"/>
                <a:gd name="T35" fmla="*/ 87 h 926"/>
                <a:gd name="T36" fmla="*/ 499 w 682"/>
                <a:gd name="T37" fmla="*/ 90 h 926"/>
                <a:gd name="T38" fmla="*/ 501 w 682"/>
                <a:gd name="T39" fmla="*/ 87 h 926"/>
                <a:gd name="T40" fmla="*/ 465 w 682"/>
                <a:gd name="T41" fmla="*/ 114 h 926"/>
                <a:gd name="T42" fmla="*/ 416 w 682"/>
                <a:gd name="T43" fmla="*/ 148 h 926"/>
                <a:gd name="T44" fmla="*/ 371 w 682"/>
                <a:gd name="T45" fmla="*/ 125 h 926"/>
                <a:gd name="T46" fmla="*/ 324 w 682"/>
                <a:gd name="T47" fmla="*/ 90 h 926"/>
                <a:gd name="T48" fmla="*/ 304 w 682"/>
                <a:gd name="T49" fmla="*/ 50 h 926"/>
                <a:gd name="T50" fmla="*/ 233 w 682"/>
                <a:gd name="T51" fmla="*/ 25 h 926"/>
                <a:gd name="T52" fmla="*/ 211 w 682"/>
                <a:gd name="T53" fmla="*/ 91 h 926"/>
                <a:gd name="T54" fmla="*/ 234 w 682"/>
                <a:gd name="T55" fmla="*/ 130 h 926"/>
                <a:gd name="T56" fmla="*/ 268 w 682"/>
                <a:gd name="T57" fmla="*/ 174 h 926"/>
                <a:gd name="T58" fmla="*/ 196 w 682"/>
                <a:gd name="T59" fmla="*/ 205 h 926"/>
                <a:gd name="T60" fmla="*/ 171 w 682"/>
                <a:gd name="T61" fmla="*/ 193 h 926"/>
                <a:gd name="T62" fmla="*/ 103 w 682"/>
                <a:gd name="T63" fmla="*/ 222 h 926"/>
                <a:gd name="T64" fmla="*/ 62 w 682"/>
                <a:gd name="T65" fmla="*/ 325 h 926"/>
                <a:gd name="T66" fmla="*/ 71 w 682"/>
                <a:gd name="T67" fmla="*/ 388 h 926"/>
                <a:gd name="T68" fmla="*/ 9 w 682"/>
                <a:gd name="T69" fmla="*/ 416 h 926"/>
                <a:gd name="T70" fmla="*/ 2 w 682"/>
                <a:gd name="T71" fmla="*/ 507 h 926"/>
                <a:gd name="T72" fmla="*/ 22 w 682"/>
                <a:gd name="T73" fmla="*/ 546 h 926"/>
                <a:gd name="T74" fmla="*/ 31 w 682"/>
                <a:gd name="T75" fmla="*/ 584 h 926"/>
                <a:gd name="T76" fmla="*/ 32 w 682"/>
                <a:gd name="T77" fmla="*/ 636 h 926"/>
                <a:gd name="T78" fmla="*/ 36 w 682"/>
                <a:gd name="T79" fmla="*/ 683 h 926"/>
                <a:gd name="T80" fmla="*/ 76 w 682"/>
                <a:gd name="T81" fmla="*/ 710 h 926"/>
                <a:gd name="T82" fmla="*/ 133 w 682"/>
                <a:gd name="T83" fmla="*/ 729 h 926"/>
                <a:gd name="T84" fmla="*/ 145 w 682"/>
                <a:gd name="T85" fmla="*/ 787 h 926"/>
                <a:gd name="T86" fmla="*/ 126 w 682"/>
                <a:gd name="T87" fmla="*/ 864 h 926"/>
                <a:gd name="T88" fmla="*/ 168 w 682"/>
                <a:gd name="T89" fmla="*/ 890 h 926"/>
                <a:gd name="T90" fmla="*/ 197 w 682"/>
                <a:gd name="T91" fmla="*/ 884 h 926"/>
                <a:gd name="T92" fmla="*/ 217 w 682"/>
                <a:gd name="T93" fmla="*/ 880 h 926"/>
                <a:gd name="T94" fmla="*/ 307 w 682"/>
                <a:gd name="T95" fmla="*/ 901 h 926"/>
                <a:gd name="T96" fmla="*/ 339 w 682"/>
                <a:gd name="T97" fmla="*/ 914 h 926"/>
                <a:gd name="T98" fmla="*/ 381 w 682"/>
                <a:gd name="T99" fmla="*/ 909 h 926"/>
                <a:gd name="T100" fmla="*/ 473 w 682"/>
                <a:gd name="T101" fmla="*/ 886 h 926"/>
                <a:gd name="T102" fmla="*/ 516 w 682"/>
                <a:gd name="T103" fmla="*/ 890 h 926"/>
                <a:gd name="T104" fmla="*/ 525 w 682"/>
                <a:gd name="T105" fmla="*/ 873 h 926"/>
                <a:gd name="T106" fmla="*/ 564 w 682"/>
                <a:gd name="T107" fmla="*/ 800 h 926"/>
                <a:gd name="T108" fmla="*/ 582 w 682"/>
                <a:gd name="T109" fmla="*/ 747 h 926"/>
                <a:gd name="T110" fmla="*/ 511 w 682"/>
                <a:gd name="T111" fmla="*/ 689 h 926"/>
                <a:gd name="T112" fmla="*/ 491 w 682"/>
                <a:gd name="T113" fmla="*/ 627 h 926"/>
                <a:gd name="T114" fmla="*/ 474 w 682"/>
                <a:gd name="T115" fmla="*/ 592 h 926"/>
                <a:gd name="T116" fmla="*/ 515 w 682"/>
                <a:gd name="T117" fmla="*/ 569 h 926"/>
                <a:gd name="T118" fmla="*/ 568 w 682"/>
                <a:gd name="T119" fmla="*/ 546 h 926"/>
                <a:gd name="T120" fmla="*/ 624 w 682"/>
                <a:gd name="T121" fmla="*/ 505 h 926"/>
                <a:gd name="T122" fmla="*/ 670 w 682"/>
                <a:gd name="T123" fmla="*/ 513 h 926"/>
                <a:gd name="T124" fmla="*/ 194 w 682"/>
                <a:gd name="T125" fmla="*/ 2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2" h="926">
                  <a:moveTo>
                    <a:pt x="60" y="190"/>
                  </a:moveTo>
                  <a:lnTo>
                    <a:pt x="62" y="191"/>
                  </a:lnTo>
                  <a:lnTo>
                    <a:pt x="63" y="190"/>
                  </a:lnTo>
                  <a:lnTo>
                    <a:pt x="63" y="190"/>
                  </a:lnTo>
                  <a:lnTo>
                    <a:pt x="65" y="190"/>
                  </a:lnTo>
                  <a:lnTo>
                    <a:pt x="65" y="190"/>
                  </a:lnTo>
                  <a:lnTo>
                    <a:pt x="66" y="191"/>
                  </a:lnTo>
                  <a:lnTo>
                    <a:pt x="66" y="191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5" y="190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8" y="187"/>
                  </a:lnTo>
                  <a:lnTo>
                    <a:pt x="69" y="187"/>
                  </a:lnTo>
                  <a:lnTo>
                    <a:pt x="69" y="185"/>
                  </a:lnTo>
                  <a:lnTo>
                    <a:pt x="66" y="185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88"/>
                  </a:lnTo>
                  <a:lnTo>
                    <a:pt x="60" y="190"/>
                  </a:lnTo>
                  <a:close/>
                  <a:moveTo>
                    <a:pt x="88" y="176"/>
                  </a:moveTo>
                  <a:lnTo>
                    <a:pt x="79" y="176"/>
                  </a:lnTo>
                  <a:lnTo>
                    <a:pt x="76" y="177"/>
                  </a:lnTo>
                  <a:lnTo>
                    <a:pt x="91" y="176"/>
                  </a:lnTo>
                  <a:lnTo>
                    <a:pt x="88" y="176"/>
                  </a:lnTo>
                  <a:close/>
                  <a:moveTo>
                    <a:pt x="106" y="173"/>
                  </a:move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02" y="171"/>
                  </a:lnTo>
                  <a:lnTo>
                    <a:pt x="99" y="171"/>
                  </a:lnTo>
                  <a:lnTo>
                    <a:pt x="94" y="173"/>
                  </a:lnTo>
                  <a:lnTo>
                    <a:pt x="97" y="174"/>
                  </a:lnTo>
                  <a:lnTo>
                    <a:pt x="106" y="173"/>
                  </a:lnTo>
                  <a:close/>
                  <a:moveTo>
                    <a:pt x="116" y="171"/>
                  </a:move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6" y="170"/>
                  </a:lnTo>
                  <a:lnTo>
                    <a:pt x="114" y="170"/>
                  </a:lnTo>
                  <a:lnTo>
                    <a:pt x="113" y="170"/>
                  </a:lnTo>
                  <a:lnTo>
                    <a:pt x="113" y="171"/>
                  </a:lnTo>
                  <a:lnTo>
                    <a:pt x="113" y="171"/>
                  </a:lnTo>
                  <a:lnTo>
                    <a:pt x="116" y="171"/>
                  </a:lnTo>
                  <a:close/>
                  <a:moveTo>
                    <a:pt x="170" y="173"/>
                  </a:moveTo>
                  <a:lnTo>
                    <a:pt x="170" y="173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4" y="171"/>
                  </a:lnTo>
                  <a:lnTo>
                    <a:pt x="173" y="170"/>
                  </a:lnTo>
                  <a:lnTo>
                    <a:pt x="171" y="170"/>
                  </a:lnTo>
                  <a:lnTo>
                    <a:pt x="170" y="170"/>
                  </a:lnTo>
                  <a:lnTo>
                    <a:pt x="168" y="171"/>
                  </a:lnTo>
                  <a:lnTo>
                    <a:pt x="168" y="173"/>
                  </a:lnTo>
                  <a:lnTo>
                    <a:pt x="170" y="173"/>
                  </a:lnTo>
                  <a:lnTo>
                    <a:pt x="170" y="173"/>
                  </a:lnTo>
                  <a:close/>
                  <a:moveTo>
                    <a:pt x="120" y="171"/>
                  </a:moveTo>
                  <a:lnTo>
                    <a:pt x="123" y="171"/>
                  </a:lnTo>
                  <a:lnTo>
                    <a:pt x="123" y="168"/>
                  </a:lnTo>
                  <a:lnTo>
                    <a:pt x="125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9" y="167"/>
                  </a:lnTo>
                  <a:lnTo>
                    <a:pt x="123" y="167"/>
                  </a:lnTo>
                  <a:lnTo>
                    <a:pt x="122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70"/>
                  </a:lnTo>
                  <a:lnTo>
                    <a:pt x="120" y="171"/>
                  </a:lnTo>
                  <a:close/>
                  <a:moveTo>
                    <a:pt x="136" y="167"/>
                  </a:moveTo>
                  <a:lnTo>
                    <a:pt x="136" y="167"/>
                  </a:lnTo>
                  <a:lnTo>
                    <a:pt x="137" y="165"/>
                  </a:lnTo>
                  <a:lnTo>
                    <a:pt x="139" y="167"/>
                  </a:lnTo>
                  <a:lnTo>
                    <a:pt x="140" y="167"/>
                  </a:lnTo>
                  <a:lnTo>
                    <a:pt x="142" y="165"/>
                  </a:lnTo>
                  <a:lnTo>
                    <a:pt x="145" y="165"/>
                  </a:lnTo>
                  <a:lnTo>
                    <a:pt x="145" y="165"/>
                  </a:lnTo>
                  <a:lnTo>
                    <a:pt x="145" y="164"/>
                  </a:lnTo>
                  <a:lnTo>
                    <a:pt x="139" y="164"/>
                  </a:lnTo>
                  <a:lnTo>
                    <a:pt x="136" y="164"/>
                  </a:lnTo>
                  <a:lnTo>
                    <a:pt x="134" y="167"/>
                  </a:lnTo>
                  <a:lnTo>
                    <a:pt x="134" y="167"/>
                  </a:lnTo>
                  <a:lnTo>
                    <a:pt x="136" y="167"/>
                  </a:lnTo>
                  <a:close/>
                  <a:moveTo>
                    <a:pt x="149" y="164"/>
                  </a:moveTo>
                  <a:lnTo>
                    <a:pt x="151" y="164"/>
                  </a:lnTo>
                  <a:lnTo>
                    <a:pt x="154" y="164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1" y="162"/>
                  </a:lnTo>
                  <a:lnTo>
                    <a:pt x="149" y="162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5"/>
                  </a:lnTo>
                  <a:lnTo>
                    <a:pt x="149" y="164"/>
                  </a:lnTo>
                  <a:close/>
                  <a:moveTo>
                    <a:pt x="413" y="141"/>
                  </a:moveTo>
                  <a:lnTo>
                    <a:pt x="414" y="141"/>
                  </a:lnTo>
                  <a:lnTo>
                    <a:pt x="414" y="141"/>
                  </a:lnTo>
                  <a:lnTo>
                    <a:pt x="414" y="137"/>
                  </a:lnTo>
                  <a:lnTo>
                    <a:pt x="416" y="137"/>
                  </a:lnTo>
                  <a:lnTo>
                    <a:pt x="416" y="137"/>
                  </a:lnTo>
                  <a:lnTo>
                    <a:pt x="416" y="139"/>
                  </a:lnTo>
                  <a:lnTo>
                    <a:pt x="416" y="141"/>
                  </a:lnTo>
                  <a:lnTo>
                    <a:pt x="416" y="142"/>
                  </a:lnTo>
                  <a:lnTo>
                    <a:pt x="416" y="142"/>
                  </a:lnTo>
                  <a:lnTo>
                    <a:pt x="417" y="141"/>
                  </a:lnTo>
                  <a:lnTo>
                    <a:pt x="419" y="134"/>
                  </a:lnTo>
                  <a:lnTo>
                    <a:pt x="417" y="133"/>
                  </a:lnTo>
                  <a:lnTo>
                    <a:pt x="414" y="134"/>
                  </a:lnTo>
                  <a:lnTo>
                    <a:pt x="411" y="136"/>
                  </a:lnTo>
                  <a:lnTo>
                    <a:pt x="410" y="139"/>
                  </a:lnTo>
                  <a:lnTo>
                    <a:pt x="411" y="141"/>
                  </a:lnTo>
                  <a:lnTo>
                    <a:pt x="413" y="141"/>
                  </a:lnTo>
                  <a:close/>
                  <a:moveTo>
                    <a:pt x="422" y="130"/>
                  </a:moveTo>
                  <a:lnTo>
                    <a:pt x="424" y="128"/>
                  </a:lnTo>
                  <a:lnTo>
                    <a:pt x="427" y="124"/>
                  </a:lnTo>
                  <a:lnTo>
                    <a:pt x="428" y="122"/>
                  </a:lnTo>
                  <a:lnTo>
                    <a:pt x="427" y="124"/>
                  </a:lnTo>
                  <a:lnTo>
                    <a:pt x="422" y="127"/>
                  </a:lnTo>
                  <a:lnTo>
                    <a:pt x="422" y="127"/>
                  </a:lnTo>
                  <a:lnTo>
                    <a:pt x="422" y="127"/>
                  </a:lnTo>
                  <a:lnTo>
                    <a:pt x="422" y="130"/>
                  </a:lnTo>
                  <a:lnTo>
                    <a:pt x="422" y="130"/>
                  </a:lnTo>
                  <a:close/>
                  <a:moveTo>
                    <a:pt x="587" y="117"/>
                  </a:moveTo>
                  <a:lnTo>
                    <a:pt x="588" y="119"/>
                  </a:lnTo>
                  <a:lnTo>
                    <a:pt x="592" y="122"/>
                  </a:lnTo>
                  <a:lnTo>
                    <a:pt x="592" y="124"/>
                  </a:lnTo>
                  <a:lnTo>
                    <a:pt x="592" y="127"/>
                  </a:lnTo>
                  <a:lnTo>
                    <a:pt x="590" y="131"/>
                  </a:lnTo>
                  <a:lnTo>
                    <a:pt x="588" y="134"/>
                  </a:lnTo>
                  <a:lnTo>
                    <a:pt x="590" y="134"/>
                  </a:lnTo>
                  <a:lnTo>
                    <a:pt x="592" y="133"/>
                  </a:lnTo>
                  <a:lnTo>
                    <a:pt x="593" y="131"/>
                  </a:lnTo>
                  <a:lnTo>
                    <a:pt x="595" y="131"/>
                  </a:lnTo>
                  <a:lnTo>
                    <a:pt x="596" y="130"/>
                  </a:lnTo>
                  <a:lnTo>
                    <a:pt x="596" y="131"/>
                  </a:lnTo>
                  <a:lnTo>
                    <a:pt x="596" y="133"/>
                  </a:lnTo>
                  <a:lnTo>
                    <a:pt x="596" y="133"/>
                  </a:lnTo>
                  <a:lnTo>
                    <a:pt x="596" y="134"/>
                  </a:lnTo>
                  <a:lnTo>
                    <a:pt x="595" y="134"/>
                  </a:lnTo>
                  <a:lnTo>
                    <a:pt x="595" y="136"/>
                  </a:lnTo>
                  <a:lnTo>
                    <a:pt x="598" y="136"/>
                  </a:lnTo>
                  <a:lnTo>
                    <a:pt x="598" y="136"/>
                  </a:lnTo>
                  <a:lnTo>
                    <a:pt x="599" y="134"/>
                  </a:lnTo>
                  <a:lnTo>
                    <a:pt x="599" y="133"/>
                  </a:lnTo>
                  <a:lnTo>
                    <a:pt x="599" y="133"/>
                  </a:lnTo>
                  <a:lnTo>
                    <a:pt x="601" y="133"/>
                  </a:lnTo>
                  <a:lnTo>
                    <a:pt x="601" y="131"/>
                  </a:lnTo>
                  <a:lnTo>
                    <a:pt x="599" y="130"/>
                  </a:lnTo>
                  <a:lnTo>
                    <a:pt x="601" y="128"/>
                  </a:lnTo>
                  <a:lnTo>
                    <a:pt x="602" y="128"/>
                  </a:lnTo>
                  <a:lnTo>
                    <a:pt x="604" y="128"/>
                  </a:lnTo>
                  <a:lnTo>
                    <a:pt x="604" y="130"/>
                  </a:lnTo>
                  <a:lnTo>
                    <a:pt x="605" y="131"/>
                  </a:lnTo>
                  <a:lnTo>
                    <a:pt x="607" y="133"/>
                  </a:lnTo>
                  <a:lnTo>
                    <a:pt x="607" y="134"/>
                  </a:lnTo>
                  <a:lnTo>
                    <a:pt x="608" y="134"/>
                  </a:lnTo>
                  <a:lnTo>
                    <a:pt x="610" y="136"/>
                  </a:lnTo>
                  <a:lnTo>
                    <a:pt x="610" y="139"/>
                  </a:lnTo>
                  <a:lnTo>
                    <a:pt x="608" y="142"/>
                  </a:lnTo>
                  <a:lnTo>
                    <a:pt x="610" y="144"/>
                  </a:lnTo>
                  <a:lnTo>
                    <a:pt x="607" y="144"/>
                  </a:lnTo>
                  <a:lnTo>
                    <a:pt x="607" y="142"/>
                  </a:lnTo>
                  <a:lnTo>
                    <a:pt x="607" y="142"/>
                  </a:lnTo>
                  <a:lnTo>
                    <a:pt x="607" y="142"/>
                  </a:lnTo>
                  <a:lnTo>
                    <a:pt x="608" y="142"/>
                  </a:lnTo>
                  <a:lnTo>
                    <a:pt x="605" y="142"/>
                  </a:lnTo>
                  <a:lnTo>
                    <a:pt x="604" y="142"/>
                  </a:lnTo>
                  <a:lnTo>
                    <a:pt x="602" y="144"/>
                  </a:lnTo>
                  <a:lnTo>
                    <a:pt x="602" y="142"/>
                  </a:lnTo>
                  <a:lnTo>
                    <a:pt x="604" y="139"/>
                  </a:lnTo>
                  <a:lnTo>
                    <a:pt x="604" y="139"/>
                  </a:lnTo>
                  <a:lnTo>
                    <a:pt x="604" y="137"/>
                  </a:lnTo>
                  <a:lnTo>
                    <a:pt x="602" y="137"/>
                  </a:lnTo>
                  <a:lnTo>
                    <a:pt x="599" y="137"/>
                  </a:lnTo>
                  <a:lnTo>
                    <a:pt x="599" y="141"/>
                  </a:lnTo>
                  <a:lnTo>
                    <a:pt x="601" y="145"/>
                  </a:lnTo>
                  <a:lnTo>
                    <a:pt x="601" y="150"/>
                  </a:lnTo>
                  <a:lnTo>
                    <a:pt x="601" y="150"/>
                  </a:lnTo>
                  <a:lnTo>
                    <a:pt x="598" y="151"/>
                  </a:lnTo>
                  <a:lnTo>
                    <a:pt x="595" y="153"/>
                  </a:lnTo>
                  <a:lnTo>
                    <a:pt x="593" y="153"/>
                  </a:lnTo>
                  <a:lnTo>
                    <a:pt x="593" y="154"/>
                  </a:lnTo>
                  <a:lnTo>
                    <a:pt x="595" y="156"/>
                  </a:lnTo>
                  <a:lnTo>
                    <a:pt x="596" y="156"/>
                  </a:lnTo>
                  <a:lnTo>
                    <a:pt x="601" y="156"/>
                  </a:lnTo>
                  <a:lnTo>
                    <a:pt x="605" y="154"/>
                  </a:lnTo>
                  <a:lnTo>
                    <a:pt x="608" y="154"/>
                  </a:lnTo>
                  <a:lnTo>
                    <a:pt x="610" y="151"/>
                  </a:lnTo>
                  <a:lnTo>
                    <a:pt x="610" y="153"/>
                  </a:lnTo>
                  <a:lnTo>
                    <a:pt x="613" y="153"/>
                  </a:lnTo>
                  <a:lnTo>
                    <a:pt x="621" y="151"/>
                  </a:lnTo>
                  <a:lnTo>
                    <a:pt x="621" y="150"/>
                  </a:lnTo>
                  <a:lnTo>
                    <a:pt x="619" y="148"/>
                  </a:lnTo>
                  <a:lnTo>
                    <a:pt x="619" y="148"/>
                  </a:lnTo>
                  <a:lnTo>
                    <a:pt x="621" y="148"/>
                  </a:lnTo>
                  <a:lnTo>
                    <a:pt x="621" y="145"/>
                  </a:lnTo>
                  <a:lnTo>
                    <a:pt x="621" y="145"/>
                  </a:lnTo>
                  <a:lnTo>
                    <a:pt x="621" y="145"/>
                  </a:lnTo>
                  <a:lnTo>
                    <a:pt x="621" y="144"/>
                  </a:lnTo>
                  <a:lnTo>
                    <a:pt x="607" y="130"/>
                  </a:lnTo>
                  <a:lnTo>
                    <a:pt x="605" y="128"/>
                  </a:lnTo>
                  <a:lnTo>
                    <a:pt x="602" y="127"/>
                  </a:lnTo>
                  <a:lnTo>
                    <a:pt x="598" y="124"/>
                  </a:lnTo>
                  <a:lnTo>
                    <a:pt x="595" y="122"/>
                  </a:lnTo>
                  <a:lnTo>
                    <a:pt x="595" y="120"/>
                  </a:lnTo>
                  <a:lnTo>
                    <a:pt x="593" y="116"/>
                  </a:lnTo>
                  <a:lnTo>
                    <a:pt x="592" y="114"/>
                  </a:lnTo>
                  <a:lnTo>
                    <a:pt x="590" y="114"/>
                  </a:lnTo>
                  <a:lnTo>
                    <a:pt x="590" y="114"/>
                  </a:lnTo>
                  <a:lnTo>
                    <a:pt x="588" y="116"/>
                  </a:lnTo>
                  <a:lnTo>
                    <a:pt x="587" y="117"/>
                  </a:lnTo>
                  <a:close/>
                  <a:moveTo>
                    <a:pt x="151" y="113"/>
                  </a:moveTo>
                  <a:lnTo>
                    <a:pt x="151" y="113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3" y="114"/>
                  </a:lnTo>
                  <a:lnTo>
                    <a:pt x="153" y="113"/>
                  </a:lnTo>
                  <a:lnTo>
                    <a:pt x="151" y="113"/>
                  </a:lnTo>
                  <a:lnTo>
                    <a:pt x="149" y="113"/>
                  </a:lnTo>
                  <a:lnTo>
                    <a:pt x="151" y="113"/>
                  </a:lnTo>
                  <a:lnTo>
                    <a:pt x="151" y="113"/>
                  </a:lnTo>
                  <a:close/>
                  <a:moveTo>
                    <a:pt x="154" y="113"/>
                  </a:moveTo>
                  <a:lnTo>
                    <a:pt x="154" y="111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4" y="113"/>
                  </a:lnTo>
                  <a:close/>
                  <a:moveTo>
                    <a:pt x="220" y="76"/>
                  </a:moveTo>
                  <a:lnTo>
                    <a:pt x="220" y="77"/>
                  </a:lnTo>
                  <a:lnTo>
                    <a:pt x="222" y="77"/>
                  </a:lnTo>
                  <a:lnTo>
                    <a:pt x="225" y="77"/>
                  </a:lnTo>
                  <a:lnTo>
                    <a:pt x="227" y="76"/>
                  </a:lnTo>
                  <a:lnTo>
                    <a:pt x="228" y="74"/>
                  </a:lnTo>
                  <a:lnTo>
                    <a:pt x="230" y="73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28" y="70"/>
                  </a:lnTo>
                  <a:lnTo>
                    <a:pt x="225" y="70"/>
                  </a:lnTo>
                  <a:lnTo>
                    <a:pt x="222" y="71"/>
                  </a:lnTo>
                  <a:lnTo>
                    <a:pt x="220" y="73"/>
                  </a:lnTo>
                  <a:lnTo>
                    <a:pt x="220" y="73"/>
                  </a:lnTo>
                  <a:lnTo>
                    <a:pt x="220" y="74"/>
                  </a:lnTo>
                  <a:lnTo>
                    <a:pt x="220" y="74"/>
                  </a:lnTo>
                  <a:lnTo>
                    <a:pt x="220" y="76"/>
                  </a:lnTo>
                  <a:close/>
                  <a:moveTo>
                    <a:pt x="384" y="79"/>
                  </a:moveTo>
                  <a:lnTo>
                    <a:pt x="385" y="79"/>
                  </a:lnTo>
                  <a:lnTo>
                    <a:pt x="385" y="79"/>
                  </a:lnTo>
                  <a:lnTo>
                    <a:pt x="385" y="80"/>
                  </a:lnTo>
                  <a:lnTo>
                    <a:pt x="385" y="80"/>
                  </a:lnTo>
                  <a:lnTo>
                    <a:pt x="387" y="79"/>
                  </a:lnTo>
                  <a:lnTo>
                    <a:pt x="387" y="79"/>
                  </a:lnTo>
                  <a:lnTo>
                    <a:pt x="388" y="79"/>
                  </a:lnTo>
                  <a:lnTo>
                    <a:pt x="390" y="79"/>
                  </a:lnTo>
                  <a:lnTo>
                    <a:pt x="390" y="80"/>
                  </a:lnTo>
                  <a:lnTo>
                    <a:pt x="390" y="84"/>
                  </a:lnTo>
                  <a:lnTo>
                    <a:pt x="391" y="84"/>
                  </a:lnTo>
                  <a:lnTo>
                    <a:pt x="393" y="84"/>
                  </a:lnTo>
                  <a:lnTo>
                    <a:pt x="396" y="84"/>
                  </a:lnTo>
                  <a:lnTo>
                    <a:pt x="396" y="84"/>
                  </a:lnTo>
                  <a:lnTo>
                    <a:pt x="396" y="84"/>
                  </a:lnTo>
                  <a:lnTo>
                    <a:pt x="396" y="82"/>
                  </a:lnTo>
                  <a:lnTo>
                    <a:pt x="407" y="84"/>
                  </a:lnTo>
                  <a:lnTo>
                    <a:pt x="402" y="76"/>
                  </a:lnTo>
                  <a:lnTo>
                    <a:pt x="401" y="74"/>
                  </a:lnTo>
                  <a:lnTo>
                    <a:pt x="401" y="73"/>
                  </a:lnTo>
                  <a:lnTo>
                    <a:pt x="397" y="71"/>
                  </a:lnTo>
                  <a:lnTo>
                    <a:pt x="391" y="68"/>
                  </a:lnTo>
                  <a:lnTo>
                    <a:pt x="388" y="70"/>
                  </a:lnTo>
                  <a:lnTo>
                    <a:pt x="385" y="73"/>
                  </a:lnTo>
                  <a:lnTo>
                    <a:pt x="384" y="77"/>
                  </a:lnTo>
                  <a:lnTo>
                    <a:pt x="384" y="79"/>
                  </a:lnTo>
                  <a:lnTo>
                    <a:pt x="384" y="79"/>
                  </a:lnTo>
                  <a:close/>
                  <a:moveTo>
                    <a:pt x="205" y="68"/>
                  </a:moveTo>
                  <a:lnTo>
                    <a:pt x="203" y="70"/>
                  </a:lnTo>
                  <a:lnTo>
                    <a:pt x="203" y="71"/>
                  </a:lnTo>
                  <a:lnTo>
                    <a:pt x="205" y="73"/>
                  </a:lnTo>
                  <a:lnTo>
                    <a:pt x="205" y="74"/>
                  </a:lnTo>
                  <a:lnTo>
                    <a:pt x="206" y="74"/>
                  </a:lnTo>
                  <a:lnTo>
                    <a:pt x="210" y="73"/>
                  </a:lnTo>
                  <a:lnTo>
                    <a:pt x="211" y="70"/>
                  </a:lnTo>
                  <a:lnTo>
                    <a:pt x="211" y="67"/>
                  </a:lnTo>
                  <a:lnTo>
                    <a:pt x="211" y="65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5" y="68"/>
                  </a:lnTo>
                  <a:close/>
                  <a:moveTo>
                    <a:pt x="536" y="74"/>
                  </a:moveTo>
                  <a:lnTo>
                    <a:pt x="536" y="73"/>
                  </a:lnTo>
                  <a:lnTo>
                    <a:pt x="538" y="71"/>
                  </a:lnTo>
                  <a:lnTo>
                    <a:pt x="538" y="71"/>
                  </a:lnTo>
                  <a:lnTo>
                    <a:pt x="539" y="70"/>
                  </a:lnTo>
                  <a:lnTo>
                    <a:pt x="539" y="70"/>
                  </a:lnTo>
                  <a:lnTo>
                    <a:pt x="539" y="67"/>
                  </a:lnTo>
                  <a:lnTo>
                    <a:pt x="539" y="64"/>
                  </a:lnTo>
                  <a:lnTo>
                    <a:pt x="541" y="62"/>
                  </a:lnTo>
                  <a:lnTo>
                    <a:pt x="542" y="60"/>
                  </a:lnTo>
                  <a:lnTo>
                    <a:pt x="542" y="64"/>
                  </a:lnTo>
                  <a:lnTo>
                    <a:pt x="542" y="64"/>
                  </a:lnTo>
                  <a:lnTo>
                    <a:pt x="542" y="62"/>
                  </a:lnTo>
                  <a:lnTo>
                    <a:pt x="542" y="62"/>
                  </a:lnTo>
                  <a:lnTo>
                    <a:pt x="544" y="62"/>
                  </a:lnTo>
                  <a:lnTo>
                    <a:pt x="544" y="62"/>
                  </a:lnTo>
                  <a:lnTo>
                    <a:pt x="544" y="60"/>
                  </a:lnTo>
                  <a:lnTo>
                    <a:pt x="542" y="60"/>
                  </a:lnTo>
                  <a:lnTo>
                    <a:pt x="542" y="59"/>
                  </a:lnTo>
                  <a:lnTo>
                    <a:pt x="541" y="59"/>
                  </a:lnTo>
                  <a:lnTo>
                    <a:pt x="539" y="60"/>
                  </a:lnTo>
                  <a:lnTo>
                    <a:pt x="539" y="60"/>
                  </a:lnTo>
                  <a:lnTo>
                    <a:pt x="539" y="64"/>
                  </a:lnTo>
                  <a:lnTo>
                    <a:pt x="536" y="73"/>
                  </a:lnTo>
                  <a:lnTo>
                    <a:pt x="536" y="76"/>
                  </a:lnTo>
                  <a:lnTo>
                    <a:pt x="536" y="77"/>
                  </a:lnTo>
                  <a:lnTo>
                    <a:pt x="536" y="77"/>
                  </a:lnTo>
                  <a:lnTo>
                    <a:pt x="536" y="74"/>
                  </a:lnTo>
                  <a:close/>
                  <a:moveTo>
                    <a:pt x="553" y="71"/>
                  </a:moveTo>
                  <a:lnTo>
                    <a:pt x="553" y="70"/>
                  </a:lnTo>
                  <a:lnTo>
                    <a:pt x="553" y="68"/>
                  </a:lnTo>
                  <a:lnTo>
                    <a:pt x="551" y="67"/>
                  </a:lnTo>
                  <a:lnTo>
                    <a:pt x="551" y="67"/>
                  </a:lnTo>
                  <a:lnTo>
                    <a:pt x="551" y="67"/>
                  </a:lnTo>
                  <a:lnTo>
                    <a:pt x="550" y="67"/>
                  </a:lnTo>
                  <a:lnTo>
                    <a:pt x="544" y="67"/>
                  </a:lnTo>
                  <a:lnTo>
                    <a:pt x="542" y="68"/>
                  </a:lnTo>
                  <a:lnTo>
                    <a:pt x="542" y="68"/>
                  </a:lnTo>
                  <a:lnTo>
                    <a:pt x="544" y="68"/>
                  </a:lnTo>
                  <a:lnTo>
                    <a:pt x="544" y="68"/>
                  </a:lnTo>
                  <a:lnTo>
                    <a:pt x="544" y="70"/>
                  </a:lnTo>
                  <a:lnTo>
                    <a:pt x="544" y="71"/>
                  </a:lnTo>
                  <a:lnTo>
                    <a:pt x="544" y="71"/>
                  </a:lnTo>
                  <a:lnTo>
                    <a:pt x="544" y="71"/>
                  </a:lnTo>
                  <a:lnTo>
                    <a:pt x="545" y="71"/>
                  </a:lnTo>
                  <a:lnTo>
                    <a:pt x="545" y="73"/>
                  </a:lnTo>
                  <a:lnTo>
                    <a:pt x="547" y="71"/>
                  </a:lnTo>
                  <a:lnTo>
                    <a:pt x="548" y="71"/>
                  </a:lnTo>
                  <a:lnTo>
                    <a:pt x="548" y="71"/>
                  </a:lnTo>
                  <a:lnTo>
                    <a:pt x="548" y="73"/>
                  </a:lnTo>
                  <a:lnTo>
                    <a:pt x="548" y="73"/>
                  </a:lnTo>
                  <a:lnTo>
                    <a:pt x="548" y="73"/>
                  </a:lnTo>
                  <a:lnTo>
                    <a:pt x="548" y="74"/>
                  </a:lnTo>
                  <a:lnTo>
                    <a:pt x="550" y="74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7"/>
                  </a:lnTo>
                  <a:lnTo>
                    <a:pt x="550" y="77"/>
                  </a:lnTo>
                  <a:lnTo>
                    <a:pt x="547" y="79"/>
                  </a:lnTo>
                  <a:lnTo>
                    <a:pt x="545" y="79"/>
                  </a:lnTo>
                  <a:lnTo>
                    <a:pt x="544" y="80"/>
                  </a:lnTo>
                  <a:lnTo>
                    <a:pt x="544" y="82"/>
                  </a:lnTo>
                  <a:lnTo>
                    <a:pt x="547" y="82"/>
                  </a:lnTo>
                  <a:lnTo>
                    <a:pt x="547" y="82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4"/>
                  </a:lnTo>
                  <a:lnTo>
                    <a:pt x="548" y="85"/>
                  </a:lnTo>
                  <a:lnTo>
                    <a:pt x="550" y="87"/>
                  </a:lnTo>
                  <a:lnTo>
                    <a:pt x="550" y="88"/>
                  </a:lnTo>
                  <a:lnTo>
                    <a:pt x="551" y="8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7" y="88"/>
                  </a:lnTo>
                  <a:lnTo>
                    <a:pt x="547" y="90"/>
                  </a:lnTo>
                  <a:lnTo>
                    <a:pt x="544" y="88"/>
                  </a:lnTo>
                  <a:lnTo>
                    <a:pt x="542" y="88"/>
                  </a:lnTo>
                  <a:lnTo>
                    <a:pt x="541" y="91"/>
                  </a:lnTo>
                  <a:lnTo>
                    <a:pt x="541" y="94"/>
                  </a:lnTo>
                  <a:lnTo>
                    <a:pt x="545" y="97"/>
                  </a:lnTo>
                  <a:lnTo>
                    <a:pt x="545" y="97"/>
                  </a:lnTo>
                  <a:lnTo>
                    <a:pt x="544" y="97"/>
                  </a:lnTo>
                  <a:lnTo>
                    <a:pt x="542" y="97"/>
                  </a:lnTo>
                  <a:lnTo>
                    <a:pt x="542" y="99"/>
                  </a:lnTo>
                  <a:lnTo>
                    <a:pt x="542" y="100"/>
                  </a:lnTo>
                  <a:lnTo>
                    <a:pt x="544" y="100"/>
                  </a:lnTo>
                  <a:lnTo>
                    <a:pt x="545" y="99"/>
                  </a:lnTo>
                  <a:lnTo>
                    <a:pt x="547" y="99"/>
                  </a:lnTo>
                  <a:lnTo>
                    <a:pt x="547" y="100"/>
                  </a:lnTo>
                  <a:lnTo>
                    <a:pt x="547" y="102"/>
                  </a:lnTo>
                  <a:lnTo>
                    <a:pt x="548" y="102"/>
                  </a:lnTo>
                  <a:lnTo>
                    <a:pt x="550" y="102"/>
                  </a:lnTo>
                  <a:lnTo>
                    <a:pt x="550" y="104"/>
                  </a:lnTo>
                  <a:lnTo>
                    <a:pt x="550" y="104"/>
                  </a:lnTo>
                  <a:lnTo>
                    <a:pt x="551" y="104"/>
                  </a:lnTo>
                  <a:lnTo>
                    <a:pt x="551" y="104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5" y="104"/>
                  </a:lnTo>
                  <a:lnTo>
                    <a:pt x="555" y="104"/>
                  </a:lnTo>
                  <a:lnTo>
                    <a:pt x="555" y="102"/>
                  </a:lnTo>
                  <a:lnTo>
                    <a:pt x="555" y="102"/>
                  </a:lnTo>
                  <a:lnTo>
                    <a:pt x="555" y="102"/>
                  </a:lnTo>
                  <a:lnTo>
                    <a:pt x="556" y="100"/>
                  </a:lnTo>
                  <a:lnTo>
                    <a:pt x="556" y="102"/>
                  </a:lnTo>
                  <a:lnTo>
                    <a:pt x="555" y="104"/>
                  </a:lnTo>
                  <a:lnTo>
                    <a:pt x="555" y="105"/>
                  </a:lnTo>
                  <a:lnTo>
                    <a:pt x="558" y="107"/>
                  </a:lnTo>
                  <a:lnTo>
                    <a:pt x="559" y="108"/>
                  </a:lnTo>
                  <a:lnTo>
                    <a:pt x="562" y="108"/>
                  </a:lnTo>
                  <a:lnTo>
                    <a:pt x="562" y="107"/>
                  </a:lnTo>
                  <a:lnTo>
                    <a:pt x="564" y="105"/>
                  </a:lnTo>
                  <a:lnTo>
                    <a:pt x="562" y="104"/>
                  </a:lnTo>
                  <a:lnTo>
                    <a:pt x="562" y="102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8" y="105"/>
                  </a:lnTo>
                  <a:lnTo>
                    <a:pt x="558" y="102"/>
                  </a:lnTo>
                  <a:lnTo>
                    <a:pt x="559" y="100"/>
                  </a:lnTo>
                  <a:lnTo>
                    <a:pt x="562" y="100"/>
                  </a:lnTo>
                  <a:lnTo>
                    <a:pt x="562" y="99"/>
                  </a:lnTo>
                  <a:lnTo>
                    <a:pt x="564" y="97"/>
                  </a:lnTo>
                  <a:lnTo>
                    <a:pt x="567" y="94"/>
                  </a:lnTo>
                  <a:lnTo>
                    <a:pt x="568" y="93"/>
                  </a:lnTo>
                  <a:lnTo>
                    <a:pt x="576" y="93"/>
                  </a:lnTo>
                  <a:lnTo>
                    <a:pt x="578" y="93"/>
                  </a:lnTo>
                  <a:lnTo>
                    <a:pt x="578" y="93"/>
                  </a:lnTo>
                  <a:lnTo>
                    <a:pt x="578" y="94"/>
                  </a:lnTo>
                  <a:lnTo>
                    <a:pt x="579" y="93"/>
                  </a:lnTo>
                  <a:lnTo>
                    <a:pt x="579" y="91"/>
                  </a:lnTo>
                  <a:lnTo>
                    <a:pt x="581" y="91"/>
                  </a:lnTo>
                  <a:lnTo>
                    <a:pt x="582" y="93"/>
                  </a:lnTo>
                  <a:lnTo>
                    <a:pt x="582" y="93"/>
                  </a:lnTo>
                  <a:lnTo>
                    <a:pt x="581" y="93"/>
                  </a:lnTo>
                  <a:lnTo>
                    <a:pt x="578" y="96"/>
                  </a:lnTo>
                  <a:lnTo>
                    <a:pt x="579" y="96"/>
                  </a:lnTo>
                  <a:lnTo>
                    <a:pt x="581" y="94"/>
                  </a:lnTo>
                  <a:lnTo>
                    <a:pt x="584" y="94"/>
                  </a:lnTo>
                  <a:lnTo>
                    <a:pt x="584" y="96"/>
                  </a:lnTo>
                  <a:lnTo>
                    <a:pt x="582" y="97"/>
                  </a:lnTo>
                  <a:lnTo>
                    <a:pt x="579" y="97"/>
                  </a:lnTo>
                  <a:lnTo>
                    <a:pt x="579" y="99"/>
                  </a:lnTo>
                  <a:lnTo>
                    <a:pt x="581" y="99"/>
                  </a:lnTo>
                  <a:lnTo>
                    <a:pt x="582" y="99"/>
                  </a:lnTo>
                  <a:lnTo>
                    <a:pt x="584" y="99"/>
                  </a:lnTo>
                  <a:lnTo>
                    <a:pt x="584" y="97"/>
                  </a:lnTo>
                  <a:lnTo>
                    <a:pt x="584" y="97"/>
                  </a:lnTo>
                  <a:lnTo>
                    <a:pt x="585" y="99"/>
                  </a:lnTo>
                  <a:lnTo>
                    <a:pt x="584" y="100"/>
                  </a:lnTo>
                  <a:lnTo>
                    <a:pt x="584" y="100"/>
                  </a:lnTo>
                  <a:lnTo>
                    <a:pt x="582" y="100"/>
                  </a:lnTo>
                  <a:lnTo>
                    <a:pt x="584" y="102"/>
                  </a:lnTo>
                  <a:lnTo>
                    <a:pt x="585" y="102"/>
                  </a:lnTo>
                  <a:lnTo>
                    <a:pt x="585" y="100"/>
                  </a:lnTo>
                  <a:lnTo>
                    <a:pt x="585" y="99"/>
                  </a:lnTo>
                  <a:lnTo>
                    <a:pt x="585" y="96"/>
                  </a:lnTo>
                  <a:lnTo>
                    <a:pt x="587" y="94"/>
                  </a:lnTo>
                  <a:lnTo>
                    <a:pt x="587" y="94"/>
                  </a:lnTo>
                  <a:lnTo>
                    <a:pt x="588" y="93"/>
                  </a:lnTo>
                  <a:lnTo>
                    <a:pt x="587" y="93"/>
                  </a:lnTo>
                  <a:lnTo>
                    <a:pt x="585" y="91"/>
                  </a:lnTo>
                  <a:lnTo>
                    <a:pt x="584" y="87"/>
                  </a:lnTo>
                  <a:lnTo>
                    <a:pt x="582" y="85"/>
                  </a:lnTo>
                  <a:lnTo>
                    <a:pt x="578" y="85"/>
                  </a:lnTo>
                  <a:lnTo>
                    <a:pt x="576" y="84"/>
                  </a:lnTo>
                  <a:lnTo>
                    <a:pt x="576" y="84"/>
                  </a:lnTo>
                  <a:lnTo>
                    <a:pt x="575" y="80"/>
                  </a:lnTo>
                  <a:lnTo>
                    <a:pt x="575" y="79"/>
                  </a:lnTo>
                  <a:lnTo>
                    <a:pt x="575" y="77"/>
                  </a:lnTo>
                  <a:lnTo>
                    <a:pt x="575" y="74"/>
                  </a:lnTo>
                  <a:lnTo>
                    <a:pt x="576" y="73"/>
                  </a:lnTo>
                  <a:lnTo>
                    <a:pt x="579" y="71"/>
                  </a:lnTo>
                  <a:lnTo>
                    <a:pt x="582" y="68"/>
                  </a:lnTo>
                  <a:lnTo>
                    <a:pt x="581" y="65"/>
                  </a:lnTo>
                  <a:lnTo>
                    <a:pt x="579" y="62"/>
                  </a:lnTo>
                  <a:lnTo>
                    <a:pt x="576" y="62"/>
                  </a:lnTo>
                  <a:lnTo>
                    <a:pt x="567" y="64"/>
                  </a:lnTo>
                  <a:lnTo>
                    <a:pt x="564" y="62"/>
                  </a:lnTo>
                  <a:lnTo>
                    <a:pt x="562" y="60"/>
                  </a:lnTo>
                  <a:lnTo>
                    <a:pt x="561" y="60"/>
                  </a:lnTo>
                  <a:lnTo>
                    <a:pt x="561" y="57"/>
                  </a:lnTo>
                  <a:lnTo>
                    <a:pt x="561" y="56"/>
                  </a:lnTo>
                  <a:lnTo>
                    <a:pt x="561" y="54"/>
                  </a:lnTo>
                  <a:lnTo>
                    <a:pt x="562" y="53"/>
                  </a:lnTo>
                  <a:lnTo>
                    <a:pt x="564" y="51"/>
                  </a:lnTo>
                  <a:lnTo>
                    <a:pt x="565" y="51"/>
                  </a:lnTo>
                  <a:lnTo>
                    <a:pt x="565" y="50"/>
                  </a:lnTo>
                  <a:lnTo>
                    <a:pt x="562" y="50"/>
                  </a:lnTo>
                  <a:lnTo>
                    <a:pt x="561" y="50"/>
                  </a:lnTo>
                  <a:lnTo>
                    <a:pt x="550" y="53"/>
                  </a:lnTo>
                  <a:lnTo>
                    <a:pt x="550" y="53"/>
                  </a:lnTo>
                  <a:lnTo>
                    <a:pt x="548" y="53"/>
                  </a:lnTo>
                  <a:lnTo>
                    <a:pt x="548" y="54"/>
                  </a:lnTo>
                  <a:lnTo>
                    <a:pt x="548" y="56"/>
                  </a:lnTo>
                  <a:lnTo>
                    <a:pt x="548" y="56"/>
                  </a:lnTo>
                  <a:lnTo>
                    <a:pt x="550" y="56"/>
                  </a:lnTo>
                  <a:lnTo>
                    <a:pt x="553" y="54"/>
                  </a:lnTo>
                  <a:lnTo>
                    <a:pt x="553" y="54"/>
                  </a:lnTo>
                  <a:lnTo>
                    <a:pt x="553" y="56"/>
                  </a:lnTo>
                  <a:lnTo>
                    <a:pt x="553" y="57"/>
                  </a:lnTo>
                  <a:lnTo>
                    <a:pt x="553" y="57"/>
                  </a:lnTo>
                  <a:lnTo>
                    <a:pt x="551" y="59"/>
                  </a:lnTo>
                  <a:lnTo>
                    <a:pt x="550" y="60"/>
                  </a:lnTo>
                  <a:lnTo>
                    <a:pt x="550" y="64"/>
                  </a:lnTo>
                  <a:lnTo>
                    <a:pt x="550" y="65"/>
                  </a:lnTo>
                  <a:lnTo>
                    <a:pt x="551" y="65"/>
                  </a:lnTo>
                  <a:lnTo>
                    <a:pt x="553" y="65"/>
                  </a:lnTo>
                  <a:lnTo>
                    <a:pt x="555" y="64"/>
                  </a:lnTo>
                  <a:lnTo>
                    <a:pt x="556" y="62"/>
                  </a:lnTo>
                  <a:lnTo>
                    <a:pt x="558" y="60"/>
                  </a:lnTo>
                  <a:lnTo>
                    <a:pt x="558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61" y="60"/>
                  </a:lnTo>
                  <a:lnTo>
                    <a:pt x="561" y="62"/>
                  </a:lnTo>
                  <a:lnTo>
                    <a:pt x="561" y="62"/>
                  </a:lnTo>
                  <a:lnTo>
                    <a:pt x="561" y="64"/>
                  </a:lnTo>
                  <a:lnTo>
                    <a:pt x="562" y="64"/>
                  </a:lnTo>
                  <a:lnTo>
                    <a:pt x="562" y="64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7" y="67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70" y="64"/>
                  </a:lnTo>
                  <a:lnTo>
                    <a:pt x="570" y="64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7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70"/>
                  </a:lnTo>
                  <a:lnTo>
                    <a:pt x="570" y="71"/>
                  </a:lnTo>
                  <a:lnTo>
                    <a:pt x="570" y="71"/>
                  </a:lnTo>
                  <a:lnTo>
                    <a:pt x="570" y="71"/>
                  </a:lnTo>
                  <a:lnTo>
                    <a:pt x="568" y="74"/>
                  </a:lnTo>
                  <a:lnTo>
                    <a:pt x="570" y="74"/>
                  </a:lnTo>
                  <a:lnTo>
                    <a:pt x="565" y="74"/>
                  </a:lnTo>
                  <a:lnTo>
                    <a:pt x="564" y="74"/>
                  </a:lnTo>
                  <a:lnTo>
                    <a:pt x="562" y="71"/>
                  </a:lnTo>
                  <a:lnTo>
                    <a:pt x="562" y="70"/>
                  </a:lnTo>
                  <a:lnTo>
                    <a:pt x="562" y="68"/>
                  </a:lnTo>
                  <a:lnTo>
                    <a:pt x="561" y="67"/>
                  </a:lnTo>
                  <a:lnTo>
                    <a:pt x="559" y="65"/>
                  </a:lnTo>
                  <a:lnTo>
                    <a:pt x="559" y="65"/>
                  </a:lnTo>
                  <a:lnTo>
                    <a:pt x="559" y="67"/>
                  </a:lnTo>
                  <a:lnTo>
                    <a:pt x="559" y="67"/>
                  </a:lnTo>
                  <a:lnTo>
                    <a:pt x="559" y="68"/>
                  </a:lnTo>
                  <a:lnTo>
                    <a:pt x="561" y="68"/>
                  </a:lnTo>
                  <a:lnTo>
                    <a:pt x="561" y="70"/>
                  </a:lnTo>
                  <a:lnTo>
                    <a:pt x="559" y="70"/>
                  </a:lnTo>
                  <a:lnTo>
                    <a:pt x="559" y="70"/>
                  </a:lnTo>
                  <a:lnTo>
                    <a:pt x="558" y="70"/>
                  </a:lnTo>
                  <a:lnTo>
                    <a:pt x="558" y="68"/>
                  </a:lnTo>
                  <a:lnTo>
                    <a:pt x="559" y="68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5"/>
                  </a:lnTo>
                  <a:lnTo>
                    <a:pt x="559" y="62"/>
                  </a:lnTo>
                  <a:lnTo>
                    <a:pt x="558" y="62"/>
                  </a:lnTo>
                  <a:lnTo>
                    <a:pt x="556" y="64"/>
                  </a:lnTo>
                  <a:lnTo>
                    <a:pt x="555" y="65"/>
                  </a:lnTo>
                  <a:lnTo>
                    <a:pt x="555" y="67"/>
                  </a:lnTo>
                  <a:lnTo>
                    <a:pt x="555" y="68"/>
                  </a:lnTo>
                  <a:lnTo>
                    <a:pt x="555" y="70"/>
                  </a:lnTo>
                  <a:lnTo>
                    <a:pt x="553" y="71"/>
                  </a:lnTo>
                  <a:close/>
                  <a:moveTo>
                    <a:pt x="185" y="47"/>
                  </a:moveTo>
                  <a:lnTo>
                    <a:pt x="186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45"/>
                  </a:lnTo>
                  <a:lnTo>
                    <a:pt x="185" y="47"/>
                  </a:lnTo>
                  <a:lnTo>
                    <a:pt x="183" y="48"/>
                  </a:lnTo>
                  <a:lnTo>
                    <a:pt x="180" y="51"/>
                  </a:lnTo>
                  <a:lnTo>
                    <a:pt x="182" y="54"/>
                  </a:lnTo>
                  <a:lnTo>
                    <a:pt x="183" y="56"/>
                  </a:lnTo>
                  <a:lnTo>
                    <a:pt x="185" y="57"/>
                  </a:lnTo>
                  <a:lnTo>
                    <a:pt x="188" y="57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3" y="48"/>
                  </a:lnTo>
                  <a:lnTo>
                    <a:pt x="185" y="47"/>
                  </a:lnTo>
                  <a:lnTo>
                    <a:pt x="185" y="47"/>
                  </a:lnTo>
                  <a:close/>
                  <a:moveTo>
                    <a:pt x="196" y="50"/>
                  </a:moveTo>
                  <a:lnTo>
                    <a:pt x="197" y="48"/>
                  </a:lnTo>
                  <a:lnTo>
                    <a:pt x="197" y="48"/>
                  </a:lnTo>
                  <a:lnTo>
                    <a:pt x="199" y="50"/>
                  </a:lnTo>
                  <a:lnTo>
                    <a:pt x="200" y="50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3" y="45"/>
                  </a:lnTo>
                  <a:lnTo>
                    <a:pt x="203" y="45"/>
                  </a:lnTo>
                  <a:lnTo>
                    <a:pt x="203" y="43"/>
                  </a:lnTo>
                  <a:lnTo>
                    <a:pt x="202" y="42"/>
                  </a:lnTo>
                  <a:lnTo>
                    <a:pt x="200" y="40"/>
                  </a:lnTo>
                  <a:lnTo>
                    <a:pt x="196" y="40"/>
                  </a:lnTo>
                  <a:lnTo>
                    <a:pt x="194" y="40"/>
                  </a:lnTo>
                  <a:lnTo>
                    <a:pt x="191" y="42"/>
                  </a:lnTo>
                  <a:lnTo>
                    <a:pt x="190" y="43"/>
                  </a:lnTo>
                  <a:lnTo>
                    <a:pt x="188" y="45"/>
                  </a:lnTo>
                  <a:lnTo>
                    <a:pt x="193" y="48"/>
                  </a:lnTo>
                  <a:lnTo>
                    <a:pt x="196" y="50"/>
                  </a:lnTo>
                  <a:close/>
                  <a:moveTo>
                    <a:pt x="682" y="475"/>
                  </a:moveTo>
                  <a:lnTo>
                    <a:pt x="681" y="475"/>
                  </a:lnTo>
                  <a:lnTo>
                    <a:pt x="682" y="470"/>
                  </a:lnTo>
                  <a:lnTo>
                    <a:pt x="681" y="469"/>
                  </a:lnTo>
                  <a:lnTo>
                    <a:pt x="679" y="467"/>
                  </a:lnTo>
                  <a:lnTo>
                    <a:pt x="678" y="464"/>
                  </a:lnTo>
                  <a:lnTo>
                    <a:pt x="678" y="462"/>
                  </a:lnTo>
                  <a:lnTo>
                    <a:pt x="678" y="461"/>
                  </a:lnTo>
                  <a:lnTo>
                    <a:pt x="678" y="461"/>
                  </a:lnTo>
                  <a:lnTo>
                    <a:pt x="676" y="456"/>
                  </a:lnTo>
                  <a:lnTo>
                    <a:pt x="676" y="453"/>
                  </a:lnTo>
                  <a:lnTo>
                    <a:pt x="678" y="452"/>
                  </a:lnTo>
                  <a:lnTo>
                    <a:pt x="676" y="450"/>
                  </a:lnTo>
                  <a:lnTo>
                    <a:pt x="675" y="448"/>
                  </a:lnTo>
                  <a:lnTo>
                    <a:pt x="673" y="447"/>
                  </a:lnTo>
                  <a:lnTo>
                    <a:pt x="672" y="447"/>
                  </a:lnTo>
                  <a:lnTo>
                    <a:pt x="669" y="445"/>
                  </a:lnTo>
                  <a:lnTo>
                    <a:pt x="667" y="444"/>
                  </a:lnTo>
                  <a:lnTo>
                    <a:pt x="667" y="444"/>
                  </a:lnTo>
                  <a:lnTo>
                    <a:pt x="665" y="444"/>
                  </a:lnTo>
                  <a:lnTo>
                    <a:pt x="661" y="442"/>
                  </a:lnTo>
                  <a:lnTo>
                    <a:pt x="659" y="439"/>
                  </a:lnTo>
                  <a:lnTo>
                    <a:pt x="658" y="439"/>
                  </a:lnTo>
                  <a:lnTo>
                    <a:pt x="658" y="438"/>
                  </a:lnTo>
                  <a:lnTo>
                    <a:pt x="659" y="436"/>
                  </a:lnTo>
                  <a:lnTo>
                    <a:pt x="661" y="433"/>
                  </a:lnTo>
                  <a:lnTo>
                    <a:pt x="661" y="430"/>
                  </a:lnTo>
                  <a:lnTo>
                    <a:pt x="661" y="427"/>
                  </a:lnTo>
                  <a:lnTo>
                    <a:pt x="661" y="424"/>
                  </a:lnTo>
                  <a:lnTo>
                    <a:pt x="659" y="422"/>
                  </a:lnTo>
                  <a:lnTo>
                    <a:pt x="656" y="419"/>
                  </a:lnTo>
                  <a:lnTo>
                    <a:pt x="655" y="418"/>
                  </a:lnTo>
                  <a:lnTo>
                    <a:pt x="653" y="415"/>
                  </a:lnTo>
                  <a:lnTo>
                    <a:pt x="653" y="412"/>
                  </a:lnTo>
                  <a:lnTo>
                    <a:pt x="652" y="410"/>
                  </a:lnTo>
                  <a:lnTo>
                    <a:pt x="650" y="408"/>
                  </a:lnTo>
                  <a:lnTo>
                    <a:pt x="650" y="407"/>
                  </a:lnTo>
                  <a:lnTo>
                    <a:pt x="650" y="404"/>
                  </a:lnTo>
                  <a:lnTo>
                    <a:pt x="650" y="402"/>
                  </a:lnTo>
                  <a:lnTo>
                    <a:pt x="655" y="398"/>
                  </a:lnTo>
                  <a:lnTo>
                    <a:pt x="656" y="396"/>
                  </a:lnTo>
                  <a:lnTo>
                    <a:pt x="658" y="395"/>
                  </a:lnTo>
                  <a:lnTo>
                    <a:pt x="658" y="392"/>
                  </a:lnTo>
                  <a:lnTo>
                    <a:pt x="658" y="384"/>
                  </a:lnTo>
                  <a:lnTo>
                    <a:pt x="658" y="384"/>
                  </a:lnTo>
                  <a:lnTo>
                    <a:pt x="659" y="381"/>
                  </a:lnTo>
                  <a:lnTo>
                    <a:pt x="661" y="379"/>
                  </a:lnTo>
                  <a:lnTo>
                    <a:pt x="661" y="378"/>
                  </a:lnTo>
                  <a:lnTo>
                    <a:pt x="661" y="378"/>
                  </a:lnTo>
                  <a:lnTo>
                    <a:pt x="661" y="376"/>
                  </a:lnTo>
                  <a:lnTo>
                    <a:pt x="662" y="375"/>
                  </a:lnTo>
                  <a:lnTo>
                    <a:pt x="658" y="370"/>
                  </a:lnTo>
                  <a:lnTo>
                    <a:pt x="658" y="368"/>
                  </a:lnTo>
                  <a:lnTo>
                    <a:pt x="658" y="365"/>
                  </a:lnTo>
                  <a:lnTo>
                    <a:pt x="658" y="364"/>
                  </a:lnTo>
                  <a:lnTo>
                    <a:pt x="659" y="362"/>
                  </a:lnTo>
                  <a:lnTo>
                    <a:pt x="658" y="361"/>
                  </a:lnTo>
                  <a:lnTo>
                    <a:pt x="658" y="359"/>
                  </a:lnTo>
                  <a:lnTo>
                    <a:pt x="659" y="358"/>
                  </a:lnTo>
                  <a:lnTo>
                    <a:pt x="659" y="355"/>
                  </a:lnTo>
                  <a:lnTo>
                    <a:pt x="658" y="353"/>
                  </a:lnTo>
                  <a:lnTo>
                    <a:pt x="656" y="351"/>
                  </a:lnTo>
                  <a:lnTo>
                    <a:pt x="653" y="351"/>
                  </a:lnTo>
                  <a:lnTo>
                    <a:pt x="652" y="350"/>
                  </a:lnTo>
                  <a:lnTo>
                    <a:pt x="650" y="348"/>
                  </a:lnTo>
                  <a:lnTo>
                    <a:pt x="650" y="345"/>
                  </a:lnTo>
                  <a:lnTo>
                    <a:pt x="649" y="342"/>
                  </a:lnTo>
                  <a:lnTo>
                    <a:pt x="647" y="338"/>
                  </a:lnTo>
                  <a:lnTo>
                    <a:pt x="645" y="333"/>
                  </a:lnTo>
                  <a:lnTo>
                    <a:pt x="650" y="328"/>
                  </a:lnTo>
                  <a:lnTo>
                    <a:pt x="652" y="327"/>
                  </a:lnTo>
                  <a:lnTo>
                    <a:pt x="653" y="324"/>
                  </a:lnTo>
                  <a:lnTo>
                    <a:pt x="653" y="322"/>
                  </a:lnTo>
                  <a:lnTo>
                    <a:pt x="652" y="321"/>
                  </a:lnTo>
                  <a:lnTo>
                    <a:pt x="652" y="318"/>
                  </a:lnTo>
                  <a:lnTo>
                    <a:pt x="655" y="313"/>
                  </a:lnTo>
                  <a:lnTo>
                    <a:pt x="652" y="311"/>
                  </a:lnTo>
                  <a:lnTo>
                    <a:pt x="652" y="311"/>
                  </a:lnTo>
                  <a:lnTo>
                    <a:pt x="647" y="307"/>
                  </a:lnTo>
                  <a:lnTo>
                    <a:pt x="642" y="304"/>
                  </a:lnTo>
                  <a:lnTo>
                    <a:pt x="641" y="302"/>
                  </a:lnTo>
                  <a:lnTo>
                    <a:pt x="639" y="301"/>
                  </a:lnTo>
                  <a:lnTo>
                    <a:pt x="638" y="301"/>
                  </a:lnTo>
                  <a:lnTo>
                    <a:pt x="636" y="295"/>
                  </a:lnTo>
                  <a:lnTo>
                    <a:pt x="635" y="295"/>
                  </a:lnTo>
                  <a:lnTo>
                    <a:pt x="627" y="288"/>
                  </a:lnTo>
                  <a:lnTo>
                    <a:pt x="624" y="287"/>
                  </a:lnTo>
                  <a:lnTo>
                    <a:pt x="622" y="284"/>
                  </a:lnTo>
                  <a:lnTo>
                    <a:pt x="621" y="284"/>
                  </a:lnTo>
                  <a:lnTo>
                    <a:pt x="619" y="284"/>
                  </a:lnTo>
                  <a:lnTo>
                    <a:pt x="618" y="282"/>
                  </a:lnTo>
                  <a:lnTo>
                    <a:pt x="616" y="282"/>
                  </a:lnTo>
                  <a:lnTo>
                    <a:pt x="615" y="281"/>
                  </a:lnTo>
                  <a:lnTo>
                    <a:pt x="618" y="278"/>
                  </a:lnTo>
                  <a:lnTo>
                    <a:pt x="618" y="276"/>
                  </a:lnTo>
                  <a:lnTo>
                    <a:pt x="618" y="274"/>
                  </a:lnTo>
                  <a:lnTo>
                    <a:pt x="618" y="273"/>
                  </a:lnTo>
                  <a:lnTo>
                    <a:pt x="618" y="268"/>
                  </a:lnTo>
                  <a:lnTo>
                    <a:pt x="616" y="267"/>
                  </a:lnTo>
                  <a:lnTo>
                    <a:pt x="616" y="267"/>
                  </a:lnTo>
                  <a:lnTo>
                    <a:pt x="621" y="264"/>
                  </a:lnTo>
                  <a:lnTo>
                    <a:pt x="625" y="262"/>
                  </a:lnTo>
                  <a:lnTo>
                    <a:pt x="628" y="258"/>
                  </a:lnTo>
                  <a:lnTo>
                    <a:pt x="632" y="256"/>
                  </a:lnTo>
                  <a:lnTo>
                    <a:pt x="633" y="253"/>
                  </a:lnTo>
                  <a:lnTo>
                    <a:pt x="633" y="253"/>
                  </a:lnTo>
                  <a:lnTo>
                    <a:pt x="635" y="245"/>
                  </a:lnTo>
                  <a:lnTo>
                    <a:pt x="635" y="244"/>
                  </a:lnTo>
                  <a:lnTo>
                    <a:pt x="635" y="242"/>
                  </a:lnTo>
                  <a:lnTo>
                    <a:pt x="635" y="239"/>
                  </a:lnTo>
                  <a:lnTo>
                    <a:pt x="635" y="238"/>
                  </a:lnTo>
                  <a:lnTo>
                    <a:pt x="635" y="236"/>
                  </a:lnTo>
                  <a:lnTo>
                    <a:pt x="636" y="236"/>
                  </a:lnTo>
                  <a:lnTo>
                    <a:pt x="636" y="234"/>
                  </a:lnTo>
                  <a:lnTo>
                    <a:pt x="636" y="234"/>
                  </a:lnTo>
                  <a:lnTo>
                    <a:pt x="639" y="230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6" y="228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4"/>
                  </a:lnTo>
                  <a:lnTo>
                    <a:pt x="636" y="222"/>
                  </a:lnTo>
                  <a:lnTo>
                    <a:pt x="635" y="221"/>
                  </a:lnTo>
                  <a:lnTo>
                    <a:pt x="633" y="213"/>
                  </a:lnTo>
                  <a:lnTo>
                    <a:pt x="633" y="207"/>
                  </a:lnTo>
                  <a:lnTo>
                    <a:pt x="632" y="204"/>
                  </a:lnTo>
                  <a:lnTo>
                    <a:pt x="630" y="201"/>
                  </a:lnTo>
                  <a:lnTo>
                    <a:pt x="628" y="199"/>
                  </a:lnTo>
                  <a:lnTo>
                    <a:pt x="628" y="196"/>
                  </a:lnTo>
                  <a:lnTo>
                    <a:pt x="628" y="193"/>
                  </a:lnTo>
                  <a:lnTo>
                    <a:pt x="628" y="188"/>
                  </a:lnTo>
                  <a:lnTo>
                    <a:pt x="628" y="187"/>
                  </a:lnTo>
                  <a:lnTo>
                    <a:pt x="627" y="182"/>
                  </a:lnTo>
                  <a:lnTo>
                    <a:pt x="625" y="181"/>
                  </a:lnTo>
                  <a:lnTo>
                    <a:pt x="625" y="177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4" y="174"/>
                  </a:lnTo>
                  <a:lnTo>
                    <a:pt x="622" y="174"/>
                  </a:lnTo>
                  <a:lnTo>
                    <a:pt x="622" y="173"/>
                  </a:lnTo>
                  <a:lnTo>
                    <a:pt x="625" y="171"/>
                  </a:lnTo>
                  <a:lnTo>
                    <a:pt x="625" y="170"/>
                  </a:lnTo>
                  <a:lnTo>
                    <a:pt x="625" y="168"/>
                  </a:lnTo>
                  <a:lnTo>
                    <a:pt x="624" y="167"/>
                  </a:lnTo>
                  <a:lnTo>
                    <a:pt x="624" y="167"/>
                  </a:lnTo>
                  <a:lnTo>
                    <a:pt x="622" y="167"/>
                  </a:lnTo>
                  <a:lnTo>
                    <a:pt x="622" y="168"/>
                  </a:lnTo>
                  <a:lnTo>
                    <a:pt x="619" y="170"/>
                  </a:lnTo>
                  <a:lnTo>
                    <a:pt x="613" y="170"/>
                  </a:lnTo>
                  <a:lnTo>
                    <a:pt x="613" y="168"/>
                  </a:lnTo>
                  <a:lnTo>
                    <a:pt x="612" y="168"/>
                  </a:lnTo>
                  <a:lnTo>
                    <a:pt x="610" y="167"/>
                  </a:lnTo>
                  <a:lnTo>
                    <a:pt x="608" y="168"/>
                  </a:lnTo>
                  <a:lnTo>
                    <a:pt x="608" y="167"/>
                  </a:lnTo>
                  <a:lnTo>
                    <a:pt x="607" y="165"/>
                  </a:lnTo>
                  <a:lnTo>
                    <a:pt x="605" y="165"/>
                  </a:lnTo>
                  <a:lnTo>
                    <a:pt x="599" y="161"/>
                  </a:lnTo>
                  <a:lnTo>
                    <a:pt x="599" y="161"/>
                  </a:lnTo>
                  <a:lnTo>
                    <a:pt x="598" y="159"/>
                  </a:lnTo>
                  <a:lnTo>
                    <a:pt x="596" y="157"/>
                  </a:lnTo>
                  <a:lnTo>
                    <a:pt x="596" y="157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3" y="153"/>
                  </a:lnTo>
                  <a:lnTo>
                    <a:pt x="598" y="148"/>
                  </a:lnTo>
                  <a:lnTo>
                    <a:pt x="599" y="147"/>
                  </a:lnTo>
                  <a:lnTo>
                    <a:pt x="599" y="145"/>
                  </a:lnTo>
                  <a:lnTo>
                    <a:pt x="599" y="144"/>
                  </a:lnTo>
                  <a:lnTo>
                    <a:pt x="598" y="144"/>
                  </a:lnTo>
                  <a:lnTo>
                    <a:pt x="598" y="144"/>
                  </a:lnTo>
                  <a:lnTo>
                    <a:pt x="598" y="144"/>
                  </a:lnTo>
                  <a:lnTo>
                    <a:pt x="596" y="144"/>
                  </a:lnTo>
                  <a:lnTo>
                    <a:pt x="596" y="142"/>
                  </a:lnTo>
                  <a:lnTo>
                    <a:pt x="596" y="142"/>
                  </a:lnTo>
                  <a:lnTo>
                    <a:pt x="595" y="142"/>
                  </a:lnTo>
                  <a:lnTo>
                    <a:pt x="595" y="142"/>
                  </a:lnTo>
                  <a:lnTo>
                    <a:pt x="595" y="142"/>
                  </a:lnTo>
                  <a:lnTo>
                    <a:pt x="595" y="141"/>
                  </a:lnTo>
                  <a:lnTo>
                    <a:pt x="595" y="141"/>
                  </a:lnTo>
                  <a:lnTo>
                    <a:pt x="595" y="141"/>
                  </a:lnTo>
                  <a:lnTo>
                    <a:pt x="595" y="139"/>
                  </a:lnTo>
                  <a:lnTo>
                    <a:pt x="595" y="139"/>
                  </a:lnTo>
                  <a:lnTo>
                    <a:pt x="593" y="137"/>
                  </a:lnTo>
                  <a:lnTo>
                    <a:pt x="592" y="137"/>
                  </a:lnTo>
                  <a:lnTo>
                    <a:pt x="592" y="137"/>
                  </a:lnTo>
                  <a:lnTo>
                    <a:pt x="590" y="136"/>
                  </a:lnTo>
                  <a:lnTo>
                    <a:pt x="588" y="133"/>
                  </a:lnTo>
                  <a:lnTo>
                    <a:pt x="587" y="133"/>
                  </a:lnTo>
                  <a:lnTo>
                    <a:pt x="588" y="131"/>
                  </a:lnTo>
                  <a:lnTo>
                    <a:pt x="590" y="128"/>
                  </a:lnTo>
                  <a:lnTo>
                    <a:pt x="590" y="127"/>
                  </a:lnTo>
                  <a:lnTo>
                    <a:pt x="592" y="124"/>
                  </a:lnTo>
                  <a:lnTo>
                    <a:pt x="592" y="124"/>
                  </a:lnTo>
                  <a:lnTo>
                    <a:pt x="585" y="119"/>
                  </a:lnTo>
                  <a:lnTo>
                    <a:pt x="584" y="117"/>
                  </a:lnTo>
                  <a:lnTo>
                    <a:pt x="584" y="116"/>
                  </a:lnTo>
                  <a:lnTo>
                    <a:pt x="584" y="116"/>
                  </a:lnTo>
                  <a:lnTo>
                    <a:pt x="585" y="116"/>
                  </a:lnTo>
                  <a:lnTo>
                    <a:pt x="585" y="116"/>
                  </a:lnTo>
                  <a:lnTo>
                    <a:pt x="584" y="114"/>
                  </a:lnTo>
                  <a:lnTo>
                    <a:pt x="582" y="116"/>
                  </a:lnTo>
                  <a:lnTo>
                    <a:pt x="579" y="117"/>
                  </a:lnTo>
                  <a:lnTo>
                    <a:pt x="576" y="119"/>
                  </a:lnTo>
                  <a:lnTo>
                    <a:pt x="567" y="120"/>
                  </a:lnTo>
                  <a:lnTo>
                    <a:pt x="567" y="122"/>
                  </a:lnTo>
                  <a:lnTo>
                    <a:pt x="568" y="122"/>
                  </a:lnTo>
                  <a:lnTo>
                    <a:pt x="568" y="124"/>
                  </a:lnTo>
                  <a:lnTo>
                    <a:pt x="570" y="124"/>
                  </a:lnTo>
                  <a:lnTo>
                    <a:pt x="570" y="125"/>
                  </a:lnTo>
                  <a:lnTo>
                    <a:pt x="567" y="125"/>
                  </a:lnTo>
                  <a:lnTo>
                    <a:pt x="565" y="124"/>
                  </a:lnTo>
                  <a:lnTo>
                    <a:pt x="565" y="122"/>
                  </a:lnTo>
                  <a:lnTo>
                    <a:pt x="564" y="120"/>
                  </a:lnTo>
                  <a:lnTo>
                    <a:pt x="562" y="117"/>
                  </a:lnTo>
                  <a:lnTo>
                    <a:pt x="562" y="117"/>
                  </a:lnTo>
                  <a:lnTo>
                    <a:pt x="562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6"/>
                  </a:lnTo>
                  <a:lnTo>
                    <a:pt x="562" y="114"/>
                  </a:lnTo>
                  <a:lnTo>
                    <a:pt x="561" y="114"/>
                  </a:lnTo>
                  <a:lnTo>
                    <a:pt x="558" y="116"/>
                  </a:lnTo>
                  <a:lnTo>
                    <a:pt x="556" y="116"/>
                  </a:lnTo>
                  <a:lnTo>
                    <a:pt x="556" y="114"/>
                  </a:lnTo>
                  <a:lnTo>
                    <a:pt x="558" y="114"/>
                  </a:lnTo>
                  <a:lnTo>
                    <a:pt x="556" y="113"/>
                  </a:lnTo>
                  <a:lnTo>
                    <a:pt x="553" y="107"/>
                  </a:lnTo>
                  <a:lnTo>
                    <a:pt x="551" y="107"/>
                  </a:lnTo>
                  <a:lnTo>
                    <a:pt x="548" y="105"/>
                  </a:lnTo>
                  <a:lnTo>
                    <a:pt x="545" y="104"/>
                  </a:lnTo>
                  <a:lnTo>
                    <a:pt x="542" y="104"/>
                  </a:lnTo>
                  <a:lnTo>
                    <a:pt x="542" y="104"/>
                  </a:lnTo>
                  <a:lnTo>
                    <a:pt x="544" y="102"/>
                  </a:lnTo>
                  <a:lnTo>
                    <a:pt x="544" y="102"/>
                  </a:lnTo>
                  <a:lnTo>
                    <a:pt x="544" y="102"/>
                  </a:lnTo>
                  <a:lnTo>
                    <a:pt x="541" y="102"/>
                  </a:lnTo>
                  <a:lnTo>
                    <a:pt x="541" y="100"/>
                  </a:lnTo>
                  <a:lnTo>
                    <a:pt x="539" y="100"/>
                  </a:lnTo>
                  <a:lnTo>
                    <a:pt x="539" y="99"/>
                  </a:lnTo>
                  <a:lnTo>
                    <a:pt x="539" y="97"/>
                  </a:lnTo>
                  <a:lnTo>
                    <a:pt x="538" y="94"/>
                  </a:lnTo>
                  <a:lnTo>
                    <a:pt x="538" y="91"/>
                  </a:lnTo>
                  <a:lnTo>
                    <a:pt x="539" y="90"/>
                  </a:lnTo>
                  <a:lnTo>
                    <a:pt x="538" y="88"/>
                  </a:lnTo>
                  <a:lnTo>
                    <a:pt x="535" y="87"/>
                  </a:lnTo>
                  <a:lnTo>
                    <a:pt x="533" y="85"/>
                  </a:lnTo>
                  <a:lnTo>
                    <a:pt x="533" y="84"/>
                  </a:lnTo>
                  <a:lnTo>
                    <a:pt x="533" y="82"/>
                  </a:lnTo>
                  <a:lnTo>
                    <a:pt x="535" y="82"/>
                  </a:lnTo>
                  <a:lnTo>
                    <a:pt x="531" y="80"/>
                  </a:lnTo>
                  <a:lnTo>
                    <a:pt x="530" y="82"/>
                  </a:lnTo>
                  <a:lnTo>
                    <a:pt x="527" y="84"/>
                  </a:lnTo>
                  <a:lnTo>
                    <a:pt x="524" y="87"/>
                  </a:lnTo>
                  <a:lnTo>
                    <a:pt x="524" y="87"/>
                  </a:lnTo>
                  <a:lnTo>
                    <a:pt x="522" y="90"/>
                  </a:lnTo>
                  <a:lnTo>
                    <a:pt x="522" y="90"/>
                  </a:lnTo>
                  <a:lnTo>
                    <a:pt x="521" y="91"/>
                  </a:lnTo>
                  <a:lnTo>
                    <a:pt x="521" y="91"/>
                  </a:lnTo>
                  <a:lnTo>
                    <a:pt x="519" y="91"/>
                  </a:lnTo>
                  <a:lnTo>
                    <a:pt x="519" y="91"/>
                  </a:lnTo>
                  <a:lnTo>
                    <a:pt x="518" y="91"/>
                  </a:lnTo>
                  <a:lnTo>
                    <a:pt x="518" y="91"/>
                  </a:lnTo>
                  <a:lnTo>
                    <a:pt x="516" y="90"/>
                  </a:lnTo>
                  <a:lnTo>
                    <a:pt x="516" y="88"/>
                  </a:lnTo>
                  <a:lnTo>
                    <a:pt x="516" y="88"/>
                  </a:lnTo>
                  <a:lnTo>
                    <a:pt x="516" y="87"/>
                  </a:lnTo>
                  <a:lnTo>
                    <a:pt x="515" y="88"/>
                  </a:lnTo>
                  <a:lnTo>
                    <a:pt x="515" y="88"/>
                  </a:lnTo>
                  <a:lnTo>
                    <a:pt x="513" y="88"/>
                  </a:lnTo>
                  <a:lnTo>
                    <a:pt x="513" y="88"/>
                  </a:lnTo>
                  <a:lnTo>
                    <a:pt x="511" y="88"/>
                  </a:lnTo>
                  <a:lnTo>
                    <a:pt x="511" y="88"/>
                  </a:lnTo>
                  <a:lnTo>
                    <a:pt x="510" y="87"/>
                  </a:lnTo>
                  <a:lnTo>
                    <a:pt x="510" y="87"/>
                  </a:lnTo>
                  <a:lnTo>
                    <a:pt x="510" y="87"/>
                  </a:lnTo>
                  <a:lnTo>
                    <a:pt x="508" y="88"/>
                  </a:lnTo>
                  <a:lnTo>
                    <a:pt x="508" y="90"/>
                  </a:lnTo>
                  <a:lnTo>
                    <a:pt x="508" y="88"/>
                  </a:lnTo>
                  <a:lnTo>
                    <a:pt x="508" y="87"/>
                  </a:lnTo>
                  <a:lnTo>
                    <a:pt x="510" y="85"/>
                  </a:lnTo>
                  <a:lnTo>
                    <a:pt x="510" y="85"/>
                  </a:lnTo>
                  <a:lnTo>
                    <a:pt x="510" y="84"/>
                  </a:lnTo>
                  <a:lnTo>
                    <a:pt x="510" y="84"/>
                  </a:lnTo>
                  <a:lnTo>
                    <a:pt x="508" y="84"/>
                  </a:lnTo>
                  <a:lnTo>
                    <a:pt x="508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7"/>
                  </a:lnTo>
                  <a:lnTo>
                    <a:pt x="507" y="87"/>
                  </a:lnTo>
                  <a:lnTo>
                    <a:pt x="504" y="90"/>
                  </a:lnTo>
                  <a:lnTo>
                    <a:pt x="501" y="90"/>
                  </a:lnTo>
                  <a:lnTo>
                    <a:pt x="499" y="88"/>
                  </a:lnTo>
                  <a:lnTo>
                    <a:pt x="499" y="90"/>
                  </a:lnTo>
                  <a:lnTo>
                    <a:pt x="499" y="90"/>
                  </a:lnTo>
                  <a:lnTo>
                    <a:pt x="499" y="88"/>
                  </a:lnTo>
                  <a:lnTo>
                    <a:pt x="498" y="90"/>
                  </a:lnTo>
                  <a:lnTo>
                    <a:pt x="498" y="90"/>
                  </a:lnTo>
                  <a:lnTo>
                    <a:pt x="498" y="90"/>
                  </a:lnTo>
                  <a:lnTo>
                    <a:pt x="499" y="91"/>
                  </a:lnTo>
                  <a:lnTo>
                    <a:pt x="494" y="93"/>
                  </a:lnTo>
                  <a:lnTo>
                    <a:pt x="493" y="94"/>
                  </a:lnTo>
                  <a:lnTo>
                    <a:pt x="493" y="96"/>
                  </a:lnTo>
                  <a:lnTo>
                    <a:pt x="493" y="97"/>
                  </a:lnTo>
                  <a:lnTo>
                    <a:pt x="491" y="97"/>
                  </a:lnTo>
                  <a:lnTo>
                    <a:pt x="491" y="97"/>
                  </a:lnTo>
                  <a:lnTo>
                    <a:pt x="491" y="97"/>
                  </a:lnTo>
                  <a:lnTo>
                    <a:pt x="490" y="97"/>
                  </a:lnTo>
                  <a:lnTo>
                    <a:pt x="488" y="100"/>
                  </a:lnTo>
                  <a:lnTo>
                    <a:pt x="488" y="100"/>
                  </a:lnTo>
                  <a:lnTo>
                    <a:pt x="487" y="102"/>
                  </a:lnTo>
                  <a:lnTo>
                    <a:pt x="488" y="104"/>
                  </a:lnTo>
                  <a:lnTo>
                    <a:pt x="490" y="105"/>
                  </a:lnTo>
                  <a:lnTo>
                    <a:pt x="491" y="104"/>
                  </a:lnTo>
                  <a:lnTo>
                    <a:pt x="490" y="105"/>
                  </a:lnTo>
                  <a:lnTo>
                    <a:pt x="488" y="105"/>
                  </a:lnTo>
                  <a:lnTo>
                    <a:pt x="484" y="102"/>
                  </a:lnTo>
                  <a:lnTo>
                    <a:pt x="485" y="102"/>
                  </a:lnTo>
                  <a:lnTo>
                    <a:pt x="485" y="100"/>
                  </a:lnTo>
                  <a:lnTo>
                    <a:pt x="485" y="99"/>
                  </a:lnTo>
                  <a:lnTo>
                    <a:pt x="484" y="97"/>
                  </a:lnTo>
                  <a:lnTo>
                    <a:pt x="485" y="97"/>
                  </a:lnTo>
                  <a:lnTo>
                    <a:pt x="487" y="96"/>
                  </a:lnTo>
                  <a:lnTo>
                    <a:pt x="487" y="94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8" y="93"/>
                  </a:lnTo>
                  <a:lnTo>
                    <a:pt x="488" y="91"/>
                  </a:lnTo>
                  <a:lnTo>
                    <a:pt x="488" y="90"/>
                  </a:lnTo>
                  <a:lnTo>
                    <a:pt x="490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4" y="88"/>
                  </a:lnTo>
                  <a:lnTo>
                    <a:pt x="496" y="90"/>
                  </a:lnTo>
                  <a:lnTo>
                    <a:pt x="498" y="88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501" y="88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2" y="87"/>
                  </a:lnTo>
                  <a:lnTo>
                    <a:pt x="502" y="87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1" y="85"/>
                  </a:lnTo>
                  <a:lnTo>
                    <a:pt x="501" y="85"/>
                  </a:lnTo>
                  <a:lnTo>
                    <a:pt x="502" y="85"/>
                  </a:lnTo>
                  <a:lnTo>
                    <a:pt x="502" y="84"/>
                  </a:lnTo>
                  <a:lnTo>
                    <a:pt x="502" y="85"/>
                  </a:lnTo>
                  <a:lnTo>
                    <a:pt x="502" y="84"/>
                  </a:lnTo>
                  <a:lnTo>
                    <a:pt x="504" y="84"/>
                  </a:lnTo>
                  <a:lnTo>
                    <a:pt x="505" y="84"/>
                  </a:lnTo>
                  <a:lnTo>
                    <a:pt x="507" y="84"/>
                  </a:lnTo>
                  <a:lnTo>
                    <a:pt x="507" y="84"/>
                  </a:lnTo>
                  <a:lnTo>
                    <a:pt x="508" y="82"/>
                  </a:lnTo>
                  <a:lnTo>
                    <a:pt x="508" y="82"/>
                  </a:lnTo>
                  <a:lnTo>
                    <a:pt x="511" y="82"/>
                  </a:lnTo>
                  <a:lnTo>
                    <a:pt x="515" y="84"/>
                  </a:lnTo>
                  <a:lnTo>
                    <a:pt x="522" y="84"/>
                  </a:lnTo>
                  <a:lnTo>
                    <a:pt x="524" y="84"/>
                  </a:lnTo>
                  <a:lnTo>
                    <a:pt x="525" y="82"/>
                  </a:lnTo>
                  <a:lnTo>
                    <a:pt x="525" y="80"/>
                  </a:lnTo>
                  <a:lnTo>
                    <a:pt x="522" y="79"/>
                  </a:lnTo>
                  <a:lnTo>
                    <a:pt x="521" y="80"/>
                  </a:lnTo>
                  <a:lnTo>
                    <a:pt x="518" y="79"/>
                  </a:lnTo>
                  <a:lnTo>
                    <a:pt x="501" y="79"/>
                  </a:lnTo>
                  <a:lnTo>
                    <a:pt x="498" y="77"/>
                  </a:lnTo>
                  <a:lnTo>
                    <a:pt x="496" y="76"/>
                  </a:lnTo>
                  <a:lnTo>
                    <a:pt x="496" y="76"/>
                  </a:lnTo>
                  <a:lnTo>
                    <a:pt x="496" y="74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3" y="80"/>
                  </a:lnTo>
                  <a:lnTo>
                    <a:pt x="490" y="85"/>
                  </a:lnTo>
                  <a:lnTo>
                    <a:pt x="490" y="87"/>
                  </a:lnTo>
                  <a:lnTo>
                    <a:pt x="485" y="93"/>
                  </a:lnTo>
                  <a:lnTo>
                    <a:pt x="482" y="97"/>
                  </a:lnTo>
                  <a:lnTo>
                    <a:pt x="481" y="99"/>
                  </a:lnTo>
                  <a:lnTo>
                    <a:pt x="479" y="102"/>
                  </a:lnTo>
                  <a:lnTo>
                    <a:pt x="473" y="105"/>
                  </a:lnTo>
                  <a:lnTo>
                    <a:pt x="471" y="105"/>
                  </a:lnTo>
                  <a:lnTo>
                    <a:pt x="471" y="105"/>
                  </a:lnTo>
                  <a:lnTo>
                    <a:pt x="470" y="108"/>
                  </a:lnTo>
                  <a:lnTo>
                    <a:pt x="468" y="110"/>
                  </a:lnTo>
                  <a:lnTo>
                    <a:pt x="465" y="113"/>
                  </a:lnTo>
                  <a:lnTo>
                    <a:pt x="465" y="114"/>
                  </a:lnTo>
                  <a:lnTo>
                    <a:pt x="465" y="114"/>
                  </a:lnTo>
                  <a:lnTo>
                    <a:pt x="467" y="114"/>
                  </a:lnTo>
                  <a:lnTo>
                    <a:pt x="467" y="114"/>
                  </a:lnTo>
                  <a:lnTo>
                    <a:pt x="468" y="114"/>
                  </a:lnTo>
                  <a:lnTo>
                    <a:pt x="467" y="116"/>
                  </a:lnTo>
                  <a:lnTo>
                    <a:pt x="465" y="117"/>
                  </a:lnTo>
                  <a:lnTo>
                    <a:pt x="464" y="119"/>
                  </a:lnTo>
                  <a:lnTo>
                    <a:pt x="465" y="119"/>
                  </a:lnTo>
                  <a:lnTo>
                    <a:pt x="465" y="122"/>
                  </a:lnTo>
                  <a:lnTo>
                    <a:pt x="465" y="124"/>
                  </a:lnTo>
                  <a:lnTo>
                    <a:pt x="464" y="122"/>
                  </a:lnTo>
                  <a:lnTo>
                    <a:pt x="464" y="119"/>
                  </a:lnTo>
                  <a:lnTo>
                    <a:pt x="464" y="116"/>
                  </a:lnTo>
                  <a:lnTo>
                    <a:pt x="464" y="113"/>
                  </a:lnTo>
                  <a:lnTo>
                    <a:pt x="461" y="114"/>
                  </a:lnTo>
                  <a:lnTo>
                    <a:pt x="444" y="117"/>
                  </a:lnTo>
                  <a:lnTo>
                    <a:pt x="438" y="116"/>
                  </a:lnTo>
                  <a:lnTo>
                    <a:pt x="434" y="117"/>
                  </a:lnTo>
                  <a:lnTo>
                    <a:pt x="431" y="119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28" y="124"/>
                  </a:lnTo>
                  <a:lnTo>
                    <a:pt x="428" y="124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28" y="128"/>
                  </a:lnTo>
                  <a:lnTo>
                    <a:pt x="428" y="128"/>
                  </a:lnTo>
                  <a:lnTo>
                    <a:pt x="427" y="128"/>
                  </a:lnTo>
                  <a:lnTo>
                    <a:pt x="425" y="131"/>
                  </a:lnTo>
                  <a:lnTo>
                    <a:pt x="424" y="133"/>
                  </a:lnTo>
                  <a:lnTo>
                    <a:pt x="424" y="133"/>
                  </a:lnTo>
                  <a:lnTo>
                    <a:pt x="421" y="133"/>
                  </a:lnTo>
                  <a:lnTo>
                    <a:pt x="421" y="133"/>
                  </a:lnTo>
                  <a:lnTo>
                    <a:pt x="422" y="133"/>
                  </a:lnTo>
                  <a:lnTo>
                    <a:pt x="422" y="134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7" y="141"/>
                  </a:lnTo>
                  <a:lnTo>
                    <a:pt x="417" y="142"/>
                  </a:lnTo>
                  <a:lnTo>
                    <a:pt x="417" y="145"/>
                  </a:lnTo>
                  <a:lnTo>
                    <a:pt x="417" y="147"/>
                  </a:lnTo>
                  <a:lnTo>
                    <a:pt x="416" y="148"/>
                  </a:lnTo>
                  <a:lnTo>
                    <a:pt x="416" y="148"/>
                  </a:lnTo>
                  <a:lnTo>
                    <a:pt x="416" y="148"/>
                  </a:lnTo>
                  <a:lnTo>
                    <a:pt x="413" y="145"/>
                  </a:lnTo>
                  <a:lnTo>
                    <a:pt x="413" y="144"/>
                  </a:lnTo>
                  <a:lnTo>
                    <a:pt x="410" y="144"/>
                  </a:lnTo>
                  <a:lnTo>
                    <a:pt x="408" y="144"/>
                  </a:lnTo>
                  <a:lnTo>
                    <a:pt x="408" y="142"/>
                  </a:lnTo>
                  <a:lnTo>
                    <a:pt x="407" y="142"/>
                  </a:lnTo>
                  <a:lnTo>
                    <a:pt x="405" y="144"/>
                  </a:lnTo>
                  <a:lnTo>
                    <a:pt x="404" y="144"/>
                  </a:lnTo>
                  <a:lnTo>
                    <a:pt x="402" y="144"/>
                  </a:lnTo>
                  <a:lnTo>
                    <a:pt x="401" y="144"/>
                  </a:lnTo>
                  <a:lnTo>
                    <a:pt x="401" y="142"/>
                  </a:lnTo>
                  <a:lnTo>
                    <a:pt x="401" y="139"/>
                  </a:lnTo>
                  <a:lnTo>
                    <a:pt x="401" y="139"/>
                  </a:lnTo>
                  <a:lnTo>
                    <a:pt x="397" y="137"/>
                  </a:lnTo>
                  <a:lnTo>
                    <a:pt x="397" y="137"/>
                  </a:lnTo>
                  <a:lnTo>
                    <a:pt x="397" y="136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87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9"/>
                  </a:lnTo>
                  <a:lnTo>
                    <a:pt x="377" y="141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2"/>
                  </a:lnTo>
                  <a:lnTo>
                    <a:pt x="376" y="142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4" y="139"/>
                  </a:lnTo>
                  <a:lnTo>
                    <a:pt x="373" y="137"/>
                  </a:lnTo>
                  <a:lnTo>
                    <a:pt x="373" y="137"/>
                  </a:lnTo>
                  <a:lnTo>
                    <a:pt x="370" y="137"/>
                  </a:lnTo>
                  <a:lnTo>
                    <a:pt x="368" y="136"/>
                  </a:lnTo>
                  <a:lnTo>
                    <a:pt x="367" y="136"/>
                  </a:lnTo>
                  <a:lnTo>
                    <a:pt x="365" y="134"/>
                  </a:lnTo>
                  <a:lnTo>
                    <a:pt x="364" y="131"/>
                  </a:lnTo>
                  <a:lnTo>
                    <a:pt x="364" y="130"/>
                  </a:lnTo>
                  <a:lnTo>
                    <a:pt x="365" y="130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4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4" y="124"/>
                  </a:lnTo>
                  <a:lnTo>
                    <a:pt x="376" y="124"/>
                  </a:lnTo>
                  <a:lnTo>
                    <a:pt x="379" y="119"/>
                  </a:lnTo>
                  <a:lnTo>
                    <a:pt x="388" y="113"/>
                  </a:lnTo>
                  <a:lnTo>
                    <a:pt x="388" y="113"/>
                  </a:lnTo>
                  <a:lnTo>
                    <a:pt x="388" y="111"/>
                  </a:lnTo>
                  <a:lnTo>
                    <a:pt x="390" y="110"/>
                  </a:lnTo>
                  <a:lnTo>
                    <a:pt x="390" y="108"/>
                  </a:lnTo>
                  <a:lnTo>
                    <a:pt x="390" y="105"/>
                  </a:lnTo>
                  <a:lnTo>
                    <a:pt x="390" y="102"/>
                  </a:lnTo>
                  <a:lnTo>
                    <a:pt x="390" y="100"/>
                  </a:lnTo>
                  <a:lnTo>
                    <a:pt x="390" y="99"/>
                  </a:lnTo>
                  <a:lnTo>
                    <a:pt x="388" y="93"/>
                  </a:lnTo>
                  <a:lnTo>
                    <a:pt x="388" y="91"/>
                  </a:lnTo>
                  <a:lnTo>
                    <a:pt x="388" y="91"/>
                  </a:lnTo>
                  <a:lnTo>
                    <a:pt x="390" y="93"/>
                  </a:lnTo>
                  <a:lnTo>
                    <a:pt x="390" y="91"/>
                  </a:lnTo>
                  <a:lnTo>
                    <a:pt x="393" y="88"/>
                  </a:lnTo>
                  <a:lnTo>
                    <a:pt x="390" y="87"/>
                  </a:lnTo>
                  <a:lnTo>
                    <a:pt x="385" y="90"/>
                  </a:lnTo>
                  <a:lnTo>
                    <a:pt x="384" y="88"/>
                  </a:lnTo>
                  <a:lnTo>
                    <a:pt x="382" y="90"/>
                  </a:lnTo>
                  <a:lnTo>
                    <a:pt x="381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4" y="88"/>
                  </a:lnTo>
                  <a:lnTo>
                    <a:pt x="377" y="88"/>
                  </a:lnTo>
                  <a:lnTo>
                    <a:pt x="376" y="90"/>
                  </a:lnTo>
                  <a:lnTo>
                    <a:pt x="373" y="91"/>
                  </a:lnTo>
                  <a:lnTo>
                    <a:pt x="368" y="96"/>
                  </a:lnTo>
                  <a:lnTo>
                    <a:pt x="367" y="97"/>
                  </a:lnTo>
                  <a:lnTo>
                    <a:pt x="362" y="97"/>
                  </a:lnTo>
                  <a:lnTo>
                    <a:pt x="359" y="96"/>
                  </a:lnTo>
                  <a:lnTo>
                    <a:pt x="353" y="90"/>
                  </a:lnTo>
                  <a:lnTo>
                    <a:pt x="340" y="85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28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4" y="85"/>
                  </a:lnTo>
                  <a:lnTo>
                    <a:pt x="324" y="90"/>
                  </a:lnTo>
                  <a:lnTo>
                    <a:pt x="322" y="93"/>
                  </a:lnTo>
                  <a:lnTo>
                    <a:pt x="320" y="94"/>
                  </a:lnTo>
                  <a:lnTo>
                    <a:pt x="319" y="96"/>
                  </a:lnTo>
                  <a:lnTo>
                    <a:pt x="319" y="94"/>
                  </a:lnTo>
                  <a:lnTo>
                    <a:pt x="320" y="93"/>
                  </a:lnTo>
                  <a:lnTo>
                    <a:pt x="319" y="93"/>
                  </a:lnTo>
                  <a:lnTo>
                    <a:pt x="319" y="91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20" y="90"/>
                  </a:lnTo>
                  <a:lnTo>
                    <a:pt x="322" y="88"/>
                  </a:lnTo>
                  <a:lnTo>
                    <a:pt x="322" y="87"/>
                  </a:lnTo>
                  <a:lnTo>
                    <a:pt x="324" y="85"/>
                  </a:lnTo>
                  <a:lnTo>
                    <a:pt x="322" y="82"/>
                  </a:lnTo>
                  <a:lnTo>
                    <a:pt x="322" y="80"/>
                  </a:lnTo>
                  <a:lnTo>
                    <a:pt x="322" y="79"/>
                  </a:lnTo>
                  <a:lnTo>
                    <a:pt x="324" y="77"/>
                  </a:lnTo>
                  <a:lnTo>
                    <a:pt x="319" y="74"/>
                  </a:lnTo>
                  <a:lnTo>
                    <a:pt x="317" y="74"/>
                  </a:lnTo>
                  <a:lnTo>
                    <a:pt x="299" y="77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9" y="74"/>
                  </a:lnTo>
                  <a:lnTo>
                    <a:pt x="302" y="74"/>
                  </a:lnTo>
                  <a:lnTo>
                    <a:pt x="305" y="73"/>
                  </a:lnTo>
                  <a:lnTo>
                    <a:pt x="308" y="70"/>
                  </a:lnTo>
                  <a:lnTo>
                    <a:pt x="308" y="68"/>
                  </a:lnTo>
                  <a:lnTo>
                    <a:pt x="310" y="67"/>
                  </a:lnTo>
                  <a:lnTo>
                    <a:pt x="310" y="65"/>
                  </a:lnTo>
                  <a:lnTo>
                    <a:pt x="311" y="64"/>
                  </a:lnTo>
                  <a:lnTo>
                    <a:pt x="311" y="57"/>
                  </a:lnTo>
                  <a:lnTo>
                    <a:pt x="311" y="56"/>
                  </a:lnTo>
                  <a:lnTo>
                    <a:pt x="311" y="54"/>
                  </a:lnTo>
                  <a:lnTo>
                    <a:pt x="311" y="51"/>
                  </a:lnTo>
                  <a:lnTo>
                    <a:pt x="311" y="51"/>
                  </a:lnTo>
                  <a:lnTo>
                    <a:pt x="310" y="51"/>
                  </a:lnTo>
                  <a:lnTo>
                    <a:pt x="310" y="51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4" y="51"/>
                  </a:lnTo>
                  <a:lnTo>
                    <a:pt x="304" y="51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7" y="48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8" y="48"/>
                  </a:lnTo>
                  <a:lnTo>
                    <a:pt x="310" y="47"/>
                  </a:lnTo>
                  <a:lnTo>
                    <a:pt x="308" y="45"/>
                  </a:lnTo>
                  <a:lnTo>
                    <a:pt x="308" y="45"/>
                  </a:lnTo>
                  <a:lnTo>
                    <a:pt x="307" y="43"/>
                  </a:lnTo>
                  <a:lnTo>
                    <a:pt x="307" y="39"/>
                  </a:lnTo>
                  <a:lnTo>
                    <a:pt x="304" y="37"/>
                  </a:lnTo>
                  <a:lnTo>
                    <a:pt x="302" y="36"/>
                  </a:lnTo>
                  <a:lnTo>
                    <a:pt x="300" y="36"/>
                  </a:lnTo>
                  <a:lnTo>
                    <a:pt x="300" y="39"/>
                  </a:lnTo>
                  <a:lnTo>
                    <a:pt x="297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3" y="37"/>
                  </a:lnTo>
                  <a:lnTo>
                    <a:pt x="291" y="36"/>
                  </a:lnTo>
                  <a:lnTo>
                    <a:pt x="290" y="34"/>
                  </a:lnTo>
                  <a:lnTo>
                    <a:pt x="288" y="34"/>
                  </a:lnTo>
                  <a:lnTo>
                    <a:pt x="285" y="33"/>
                  </a:lnTo>
                  <a:lnTo>
                    <a:pt x="280" y="33"/>
                  </a:lnTo>
                  <a:lnTo>
                    <a:pt x="277" y="31"/>
                  </a:lnTo>
                  <a:lnTo>
                    <a:pt x="277" y="27"/>
                  </a:lnTo>
                  <a:lnTo>
                    <a:pt x="276" y="27"/>
                  </a:lnTo>
                  <a:lnTo>
                    <a:pt x="274" y="28"/>
                  </a:lnTo>
                  <a:lnTo>
                    <a:pt x="273" y="30"/>
                  </a:lnTo>
                  <a:lnTo>
                    <a:pt x="271" y="31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5" y="34"/>
                  </a:lnTo>
                  <a:lnTo>
                    <a:pt x="263" y="34"/>
                  </a:lnTo>
                  <a:lnTo>
                    <a:pt x="262" y="33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59" y="33"/>
                  </a:lnTo>
                  <a:lnTo>
                    <a:pt x="259" y="34"/>
                  </a:lnTo>
                  <a:lnTo>
                    <a:pt x="257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30"/>
                  </a:lnTo>
                  <a:lnTo>
                    <a:pt x="248" y="28"/>
                  </a:lnTo>
                  <a:lnTo>
                    <a:pt x="233" y="25"/>
                  </a:lnTo>
                  <a:lnTo>
                    <a:pt x="227" y="22"/>
                  </a:lnTo>
                  <a:lnTo>
                    <a:pt x="220" y="20"/>
                  </a:lnTo>
                  <a:lnTo>
                    <a:pt x="219" y="22"/>
                  </a:lnTo>
                  <a:lnTo>
                    <a:pt x="214" y="23"/>
                  </a:lnTo>
                  <a:lnTo>
                    <a:pt x="211" y="23"/>
                  </a:lnTo>
                  <a:lnTo>
                    <a:pt x="208" y="22"/>
                  </a:lnTo>
                  <a:lnTo>
                    <a:pt x="208" y="27"/>
                  </a:lnTo>
                  <a:lnTo>
                    <a:pt x="206" y="30"/>
                  </a:lnTo>
                  <a:lnTo>
                    <a:pt x="208" y="33"/>
                  </a:lnTo>
                  <a:lnTo>
                    <a:pt x="208" y="34"/>
                  </a:lnTo>
                  <a:lnTo>
                    <a:pt x="210" y="37"/>
                  </a:lnTo>
                  <a:lnTo>
                    <a:pt x="211" y="40"/>
                  </a:lnTo>
                  <a:lnTo>
                    <a:pt x="211" y="42"/>
                  </a:lnTo>
                  <a:lnTo>
                    <a:pt x="211" y="43"/>
                  </a:lnTo>
                  <a:lnTo>
                    <a:pt x="213" y="43"/>
                  </a:lnTo>
                  <a:lnTo>
                    <a:pt x="217" y="48"/>
                  </a:lnTo>
                  <a:lnTo>
                    <a:pt x="219" y="50"/>
                  </a:lnTo>
                  <a:lnTo>
                    <a:pt x="220" y="51"/>
                  </a:lnTo>
                  <a:lnTo>
                    <a:pt x="223" y="57"/>
                  </a:lnTo>
                  <a:lnTo>
                    <a:pt x="220" y="59"/>
                  </a:lnTo>
                  <a:lnTo>
                    <a:pt x="220" y="60"/>
                  </a:lnTo>
                  <a:lnTo>
                    <a:pt x="222" y="60"/>
                  </a:lnTo>
                  <a:lnTo>
                    <a:pt x="223" y="59"/>
                  </a:lnTo>
                  <a:lnTo>
                    <a:pt x="225" y="59"/>
                  </a:lnTo>
                  <a:lnTo>
                    <a:pt x="225" y="60"/>
                  </a:lnTo>
                  <a:lnTo>
                    <a:pt x="225" y="62"/>
                  </a:lnTo>
                  <a:lnTo>
                    <a:pt x="227" y="64"/>
                  </a:lnTo>
                  <a:lnTo>
                    <a:pt x="233" y="70"/>
                  </a:lnTo>
                  <a:lnTo>
                    <a:pt x="234" y="73"/>
                  </a:lnTo>
                  <a:lnTo>
                    <a:pt x="234" y="76"/>
                  </a:lnTo>
                  <a:lnTo>
                    <a:pt x="234" y="77"/>
                  </a:lnTo>
                  <a:lnTo>
                    <a:pt x="233" y="79"/>
                  </a:lnTo>
                  <a:lnTo>
                    <a:pt x="230" y="80"/>
                  </a:lnTo>
                  <a:lnTo>
                    <a:pt x="227" y="82"/>
                  </a:lnTo>
                  <a:lnTo>
                    <a:pt x="225" y="84"/>
                  </a:lnTo>
                  <a:lnTo>
                    <a:pt x="223" y="84"/>
                  </a:lnTo>
                  <a:lnTo>
                    <a:pt x="216" y="84"/>
                  </a:lnTo>
                  <a:lnTo>
                    <a:pt x="210" y="85"/>
                  </a:lnTo>
                  <a:lnTo>
                    <a:pt x="208" y="85"/>
                  </a:lnTo>
                  <a:lnTo>
                    <a:pt x="206" y="87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6" y="90"/>
                  </a:lnTo>
                  <a:lnTo>
                    <a:pt x="208" y="88"/>
                  </a:lnTo>
                  <a:lnTo>
                    <a:pt x="208" y="90"/>
                  </a:lnTo>
                  <a:lnTo>
                    <a:pt x="210" y="90"/>
                  </a:lnTo>
                  <a:lnTo>
                    <a:pt x="211" y="90"/>
                  </a:lnTo>
                  <a:lnTo>
                    <a:pt x="211" y="91"/>
                  </a:lnTo>
                  <a:lnTo>
                    <a:pt x="210" y="91"/>
                  </a:lnTo>
                  <a:lnTo>
                    <a:pt x="206" y="91"/>
                  </a:lnTo>
                  <a:lnTo>
                    <a:pt x="205" y="93"/>
                  </a:lnTo>
                  <a:lnTo>
                    <a:pt x="203" y="94"/>
                  </a:lnTo>
                  <a:lnTo>
                    <a:pt x="203" y="97"/>
                  </a:lnTo>
                  <a:lnTo>
                    <a:pt x="205" y="100"/>
                  </a:lnTo>
                  <a:lnTo>
                    <a:pt x="208" y="102"/>
                  </a:lnTo>
                  <a:lnTo>
                    <a:pt x="210" y="102"/>
                  </a:lnTo>
                  <a:lnTo>
                    <a:pt x="211" y="102"/>
                  </a:lnTo>
                  <a:lnTo>
                    <a:pt x="213" y="100"/>
                  </a:lnTo>
                  <a:lnTo>
                    <a:pt x="214" y="99"/>
                  </a:lnTo>
                  <a:lnTo>
                    <a:pt x="217" y="100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5" y="97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5" y="100"/>
                  </a:lnTo>
                  <a:lnTo>
                    <a:pt x="227" y="99"/>
                  </a:lnTo>
                  <a:lnTo>
                    <a:pt x="230" y="97"/>
                  </a:lnTo>
                  <a:lnTo>
                    <a:pt x="231" y="96"/>
                  </a:lnTo>
                  <a:lnTo>
                    <a:pt x="230" y="99"/>
                  </a:lnTo>
                  <a:lnTo>
                    <a:pt x="230" y="100"/>
                  </a:lnTo>
                  <a:lnTo>
                    <a:pt x="228" y="102"/>
                  </a:lnTo>
                  <a:lnTo>
                    <a:pt x="227" y="102"/>
                  </a:lnTo>
                  <a:lnTo>
                    <a:pt x="227" y="102"/>
                  </a:lnTo>
                  <a:lnTo>
                    <a:pt x="222" y="104"/>
                  </a:lnTo>
                  <a:lnTo>
                    <a:pt x="222" y="104"/>
                  </a:lnTo>
                  <a:lnTo>
                    <a:pt x="222" y="105"/>
                  </a:lnTo>
                  <a:lnTo>
                    <a:pt x="222" y="107"/>
                  </a:lnTo>
                  <a:lnTo>
                    <a:pt x="222" y="110"/>
                  </a:lnTo>
                  <a:lnTo>
                    <a:pt x="220" y="111"/>
                  </a:lnTo>
                  <a:lnTo>
                    <a:pt x="220" y="114"/>
                  </a:lnTo>
                  <a:lnTo>
                    <a:pt x="220" y="114"/>
                  </a:lnTo>
                  <a:lnTo>
                    <a:pt x="222" y="117"/>
                  </a:lnTo>
                  <a:lnTo>
                    <a:pt x="223" y="120"/>
                  </a:lnTo>
                  <a:lnTo>
                    <a:pt x="223" y="120"/>
                  </a:lnTo>
                  <a:lnTo>
                    <a:pt x="225" y="119"/>
                  </a:lnTo>
                  <a:lnTo>
                    <a:pt x="228" y="117"/>
                  </a:lnTo>
                  <a:lnTo>
                    <a:pt x="230" y="117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4" y="124"/>
                  </a:lnTo>
                  <a:lnTo>
                    <a:pt x="236" y="124"/>
                  </a:lnTo>
                  <a:lnTo>
                    <a:pt x="236" y="127"/>
                  </a:lnTo>
                  <a:lnTo>
                    <a:pt x="234" y="130"/>
                  </a:lnTo>
                  <a:lnTo>
                    <a:pt x="234" y="131"/>
                  </a:lnTo>
                  <a:lnTo>
                    <a:pt x="234" y="133"/>
                  </a:lnTo>
                  <a:lnTo>
                    <a:pt x="231" y="134"/>
                  </a:lnTo>
                  <a:lnTo>
                    <a:pt x="230" y="133"/>
                  </a:lnTo>
                  <a:lnTo>
                    <a:pt x="228" y="131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2" y="133"/>
                  </a:lnTo>
                  <a:lnTo>
                    <a:pt x="228" y="145"/>
                  </a:lnTo>
                  <a:lnTo>
                    <a:pt x="230" y="148"/>
                  </a:lnTo>
                  <a:lnTo>
                    <a:pt x="233" y="150"/>
                  </a:lnTo>
                  <a:lnTo>
                    <a:pt x="234" y="150"/>
                  </a:lnTo>
                  <a:lnTo>
                    <a:pt x="236" y="148"/>
                  </a:lnTo>
                  <a:lnTo>
                    <a:pt x="236" y="148"/>
                  </a:lnTo>
                  <a:lnTo>
                    <a:pt x="237" y="148"/>
                  </a:lnTo>
                  <a:lnTo>
                    <a:pt x="240" y="150"/>
                  </a:lnTo>
                  <a:lnTo>
                    <a:pt x="250" y="150"/>
                  </a:lnTo>
                  <a:lnTo>
                    <a:pt x="253" y="151"/>
                  </a:lnTo>
                  <a:lnTo>
                    <a:pt x="256" y="153"/>
                  </a:lnTo>
                  <a:lnTo>
                    <a:pt x="260" y="157"/>
                  </a:lnTo>
                  <a:lnTo>
                    <a:pt x="263" y="157"/>
                  </a:lnTo>
                  <a:lnTo>
                    <a:pt x="263" y="161"/>
                  </a:lnTo>
                  <a:lnTo>
                    <a:pt x="265" y="165"/>
                  </a:lnTo>
                  <a:lnTo>
                    <a:pt x="267" y="168"/>
                  </a:lnTo>
                  <a:lnTo>
                    <a:pt x="268" y="170"/>
                  </a:lnTo>
                  <a:lnTo>
                    <a:pt x="270" y="170"/>
                  </a:lnTo>
                  <a:lnTo>
                    <a:pt x="273" y="173"/>
                  </a:lnTo>
                  <a:lnTo>
                    <a:pt x="273" y="173"/>
                  </a:lnTo>
                  <a:lnTo>
                    <a:pt x="274" y="176"/>
                  </a:lnTo>
                  <a:lnTo>
                    <a:pt x="274" y="179"/>
                  </a:lnTo>
                  <a:lnTo>
                    <a:pt x="274" y="182"/>
                  </a:lnTo>
                  <a:lnTo>
                    <a:pt x="277" y="185"/>
                  </a:lnTo>
                  <a:lnTo>
                    <a:pt x="282" y="188"/>
                  </a:lnTo>
                  <a:lnTo>
                    <a:pt x="285" y="190"/>
                  </a:lnTo>
                  <a:lnTo>
                    <a:pt x="291" y="191"/>
                  </a:lnTo>
                  <a:lnTo>
                    <a:pt x="294" y="193"/>
                  </a:lnTo>
                  <a:lnTo>
                    <a:pt x="296" y="194"/>
                  </a:lnTo>
                  <a:lnTo>
                    <a:pt x="294" y="194"/>
                  </a:lnTo>
                  <a:lnTo>
                    <a:pt x="291" y="193"/>
                  </a:lnTo>
                  <a:lnTo>
                    <a:pt x="285" y="193"/>
                  </a:lnTo>
                  <a:lnTo>
                    <a:pt x="280" y="190"/>
                  </a:lnTo>
                  <a:lnTo>
                    <a:pt x="280" y="188"/>
                  </a:lnTo>
                  <a:lnTo>
                    <a:pt x="279" y="188"/>
                  </a:lnTo>
                  <a:lnTo>
                    <a:pt x="277" y="188"/>
                  </a:lnTo>
                  <a:lnTo>
                    <a:pt x="276" y="187"/>
                  </a:lnTo>
                  <a:lnTo>
                    <a:pt x="271" y="179"/>
                  </a:lnTo>
                  <a:lnTo>
                    <a:pt x="270" y="176"/>
                  </a:lnTo>
                  <a:lnTo>
                    <a:pt x="268" y="174"/>
                  </a:lnTo>
                  <a:lnTo>
                    <a:pt x="267" y="173"/>
                  </a:lnTo>
                  <a:lnTo>
                    <a:pt x="263" y="170"/>
                  </a:lnTo>
                  <a:lnTo>
                    <a:pt x="256" y="156"/>
                  </a:lnTo>
                  <a:lnTo>
                    <a:pt x="254" y="154"/>
                  </a:lnTo>
                  <a:lnTo>
                    <a:pt x="254" y="154"/>
                  </a:lnTo>
                  <a:lnTo>
                    <a:pt x="251" y="154"/>
                  </a:lnTo>
                  <a:lnTo>
                    <a:pt x="250" y="153"/>
                  </a:lnTo>
                  <a:lnTo>
                    <a:pt x="250" y="153"/>
                  </a:lnTo>
                  <a:lnTo>
                    <a:pt x="248" y="154"/>
                  </a:lnTo>
                  <a:lnTo>
                    <a:pt x="242" y="154"/>
                  </a:lnTo>
                  <a:lnTo>
                    <a:pt x="236" y="156"/>
                  </a:lnTo>
                  <a:lnTo>
                    <a:pt x="234" y="157"/>
                  </a:lnTo>
                  <a:lnTo>
                    <a:pt x="231" y="156"/>
                  </a:lnTo>
                  <a:lnTo>
                    <a:pt x="227" y="157"/>
                  </a:lnTo>
                  <a:lnTo>
                    <a:pt x="223" y="157"/>
                  </a:lnTo>
                  <a:lnTo>
                    <a:pt x="217" y="156"/>
                  </a:lnTo>
                  <a:lnTo>
                    <a:pt x="214" y="154"/>
                  </a:lnTo>
                  <a:lnTo>
                    <a:pt x="213" y="153"/>
                  </a:lnTo>
                  <a:lnTo>
                    <a:pt x="210" y="151"/>
                  </a:lnTo>
                  <a:lnTo>
                    <a:pt x="210" y="150"/>
                  </a:lnTo>
                  <a:lnTo>
                    <a:pt x="208" y="150"/>
                  </a:lnTo>
                  <a:lnTo>
                    <a:pt x="206" y="151"/>
                  </a:lnTo>
                  <a:lnTo>
                    <a:pt x="205" y="151"/>
                  </a:lnTo>
                  <a:lnTo>
                    <a:pt x="203" y="153"/>
                  </a:lnTo>
                  <a:lnTo>
                    <a:pt x="202" y="154"/>
                  </a:lnTo>
                  <a:lnTo>
                    <a:pt x="200" y="157"/>
                  </a:lnTo>
                  <a:lnTo>
                    <a:pt x="199" y="165"/>
                  </a:lnTo>
                  <a:lnTo>
                    <a:pt x="196" y="173"/>
                  </a:lnTo>
                  <a:lnTo>
                    <a:pt x="196" y="174"/>
                  </a:lnTo>
                  <a:lnTo>
                    <a:pt x="196" y="176"/>
                  </a:lnTo>
                  <a:lnTo>
                    <a:pt x="196" y="179"/>
                  </a:lnTo>
                  <a:lnTo>
                    <a:pt x="197" y="182"/>
                  </a:lnTo>
                  <a:lnTo>
                    <a:pt x="197" y="184"/>
                  </a:lnTo>
                  <a:lnTo>
                    <a:pt x="197" y="185"/>
                  </a:lnTo>
                  <a:lnTo>
                    <a:pt x="199" y="187"/>
                  </a:lnTo>
                  <a:lnTo>
                    <a:pt x="199" y="188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0" y="197"/>
                  </a:lnTo>
                  <a:lnTo>
                    <a:pt x="199" y="199"/>
                  </a:lnTo>
                  <a:lnTo>
                    <a:pt x="197" y="201"/>
                  </a:lnTo>
                  <a:lnTo>
                    <a:pt x="196" y="202"/>
                  </a:lnTo>
                  <a:lnTo>
                    <a:pt x="196" y="207"/>
                  </a:lnTo>
                  <a:lnTo>
                    <a:pt x="197" y="214"/>
                  </a:lnTo>
                  <a:lnTo>
                    <a:pt x="197" y="218"/>
                  </a:lnTo>
                  <a:lnTo>
                    <a:pt x="196" y="214"/>
                  </a:lnTo>
                  <a:lnTo>
                    <a:pt x="196" y="211"/>
                  </a:lnTo>
                  <a:lnTo>
                    <a:pt x="196" y="205"/>
                  </a:lnTo>
                  <a:lnTo>
                    <a:pt x="196" y="201"/>
                  </a:lnTo>
                  <a:lnTo>
                    <a:pt x="197" y="199"/>
                  </a:lnTo>
                  <a:lnTo>
                    <a:pt x="199" y="196"/>
                  </a:lnTo>
                  <a:lnTo>
                    <a:pt x="200" y="194"/>
                  </a:lnTo>
                  <a:lnTo>
                    <a:pt x="200" y="194"/>
                  </a:lnTo>
                  <a:lnTo>
                    <a:pt x="197" y="193"/>
                  </a:lnTo>
                  <a:lnTo>
                    <a:pt x="191" y="191"/>
                  </a:lnTo>
                  <a:lnTo>
                    <a:pt x="188" y="190"/>
                  </a:lnTo>
                  <a:lnTo>
                    <a:pt x="186" y="188"/>
                  </a:lnTo>
                  <a:lnTo>
                    <a:pt x="186" y="187"/>
                  </a:lnTo>
                  <a:lnTo>
                    <a:pt x="185" y="185"/>
                  </a:lnTo>
                  <a:lnTo>
                    <a:pt x="183" y="185"/>
                  </a:lnTo>
                  <a:lnTo>
                    <a:pt x="180" y="185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7" y="188"/>
                  </a:lnTo>
                  <a:lnTo>
                    <a:pt x="177" y="193"/>
                  </a:lnTo>
                  <a:lnTo>
                    <a:pt x="177" y="194"/>
                  </a:lnTo>
                  <a:lnTo>
                    <a:pt x="176" y="196"/>
                  </a:lnTo>
                  <a:lnTo>
                    <a:pt x="177" y="196"/>
                  </a:lnTo>
                  <a:lnTo>
                    <a:pt x="180" y="196"/>
                  </a:lnTo>
                  <a:lnTo>
                    <a:pt x="183" y="199"/>
                  </a:lnTo>
                  <a:lnTo>
                    <a:pt x="183" y="202"/>
                  </a:lnTo>
                  <a:lnTo>
                    <a:pt x="180" y="207"/>
                  </a:lnTo>
                  <a:lnTo>
                    <a:pt x="179" y="210"/>
                  </a:lnTo>
                  <a:lnTo>
                    <a:pt x="179" y="210"/>
                  </a:lnTo>
                  <a:lnTo>
                    <a:pt x="177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08"/>
                  </a:lnTo>
                  <a:lnTo>
                    <a:pt x="173" y="208"/>
                  </a:lnTo>
                  <a:lnTo>
                    <a:pt x="173" y="207"/>
                  </a:lnTo>
                  <a:lnTo>
                    <a:pt x="171" y="205"/>
                  </a:lnTo>
                  <a:lnTo>
                    <a:pt x="170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6" y="207"/>
                  </a:lnTo>
                  <a:lnTo>
                    <a:pt x="165" y="205"/>
                  </a:lnTo>
                  <a:lnTo>
                    <a:pt x="165" y="204"/>
                  </a:lnTo>
                  <a:lnTo>
                    <a:pt x="163" y="199"/>
                  </a:lnTo>
                  <a:lnTo>
                    <a:pt x="165" y="199"/>
                  </a:lnTo>
                  <a:lnTo>
                    <a:pt x="168" y="197"/>
                  </a:lnTo>
                  <a:lnTo>
                    <a:pt x="170" y="197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3"/>
                  </a:lnTo>
                  <a:lnTo>
                    <a:pt x="171" y="191"/>
                  </a:lnTo>
                  <a:lnTo>
                    <a:pt x="170" y="191"/>
                  </a:lnTo>
                  <a:lnTo>
                    <a:pt x="168" y="190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66" y="187"/>
                  </a:lnTo>
                  <a:lnTo>
                    <a:pt x="163" y="182"/>
                  </a:lnTo>
                  <a:lnTo>
                    <a:pt x="162" y="177"/>
                  </a:lnTo>
                  <a:lnTo>
                    <a:pt x="162" y="174"/>
                  </a:lnTo>
                  <a:lnTo>
                    <a:pt x="162" y="173"/>
                  </a:lnTo>
                  <a:lnTo>
                    <a:pt x="156" y="171"/>
                  </a:lnTo>
                  <a:lnTo>
                    <a:pt x="133" y="174"/>
                  </a:lnTo>
                  <a:lnTo>
                    <a:pt x="122" y="177"/>
                  </a:lnTo>
                  <a:lnTo>
                    <a:pt x="120" y="177"/>
                  </a:lnTo>
                  <a:lnTo>
                    <a:pt x="120" y="176"/>
                  </a:lnTo>
                  <a:lnTo>
                    <a:pt x="119" y="174"/>
                  </a:lnTo>
                  <a:lnTo>
                    <a:pt x="108" y="176"/>
                  </a:lnTo>
                  <a:lnTo>
                    <a:pt x="102" y="179"/>
                  </a:lnTo>
                  <a:lnTo>
                    <a:pt x="99" y="182"/>
                  </a:lnTo>
                  <a:lnTo>
                    <a:pt x="97" y="182"/>
                  </a:lnTo>
                  <a:lnTo>
                    <a:pt x="94" y="185"/>
                  </a:lnTo>
                  <a:lnTo>
                    <a:pt x="93" y="187"/>
                  </a:lnTo>
                  <a:lnTo>
                    <a:pt x="91" y="188"/>
                  </a:lnTo>
                  <a:lnTo>
                    <a:pt x="91" y="190"/>
                  </a:lnTo>
                  <a:lnTo>
                    <a:pt x="93" y="191"/>
                  </a:lnTo>
                  <a:lnTo>
                    <a:pt x="94" y="193"/>
                  </a:lnTo>
                  <a:lnTo>
                    <a:pt x="96" y="193"/>
                  </a:lnTo>
                  <a:lnTo>
                    <a:pt x="96" y="194"/>
                  </a:lnTo>
                  <a:lnTo>
                    <a:pt x="94" y="196"/>
                  </a:lnTo>
                  <a:lnTo>
                    <a:pt x="94" y="196"/>
                  </a:lnTo>
                  <a:lnTo>
                    <a:pt x="94" y="197"/>
                  </a:lnTo>
                  <a:lnTo>
                    <a:pt x="91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8" y="199"/>
                  </a:lnTo>
                  <a:lnTo>
                    <a:pt x="86" y="204"/>
                  </a:lnTo>
                  <a:lnTo>
                    <a:pt x="86" y="205"/>
                  </a:lnTo>
                  <a:lnTo>
                    <a:pt x="86" y="214"/>
                  </a:lnTo>
                  <a:lnTo>
                    <a:pt x="88" y="219"/>
                  </a:lnTo>
                  <a:lnTo>
                    <a:pt x="91" y="219"/>
                  </a:lnTo>
                  <a:lnTo>
                    <a:pt x="108" y="221"/>
                  </a:lnTo>
                  <a:lnTo>
                    <a:pt x="111" y="222"/>
                  </a:lnTo>
                  <a:lnTo>
                    <a:pt x="113" y="224"/>
                  </a:lnTo>
                  <a:lnTo>
                    <a:pt x="111" y="224"/>
                  </a:lnTo>
                  <a:lnTo>
                    <a:pt x="108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3" y="222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0" y="230"/>
                  </a:lnTo>
                  <a:lnTo>
                    <a:pt x="100" y="231"/>
                  </a:lnTo>
                  <a:lnTo>
                    <a:pt x="99" y="231"/>
                  </a:lnTo>
                  <a:lnTo>
                    <a:pt x="100" y="234"/>
                  </a:lnTo>
                  <a:lnTo>
                    <a:pt x="100" y="236"/>
                  </a:lnTo>
                  <a:lnTo>
                    <a:pt x="99" y="239"/>
                  </a:lnTo>
                  <a:lnTo>
                    <a:pt x="99" y="241"/>
                  </a:lnTo>
                  <a:lnTo>
                    <a:pt x="97" y="244"/>
                  </a:lnTo>
                  <a:lnTo>
                    <a:pt x="97" y="245"/>
                  </a:lnTo>
                  <a:lnTo>
                    <a:pt x="97" y="245"/>
                  </a:lnTo>
                  <a:lnTo>
                    <a:pt x="99" y="247"/>
                  </a:lnTo>
                  <a:lnTo>
                    <a:pt x="99" y="247"/>
                  </a:lnTo>
                  <a:lnTo>
                    <a:pt x="99" y="248"/>
                  </a:lnTo>
                  <a:lnTo>
                    <a:pt x="99" y="258"/>
                  </a:lnTo>
                  <a:lnTo>
                    <a:pt x="99" y="262"/>
                  </a:lnTo>
                  <a:lnTo>
                    <a:pt x="99" y="265"/>
                  </a:lnTo>
                  <a:lnTo>
                    <a:pt x="97" y="270"/>
                  </a:lnTo>
                  <a:lnTo>
                    <a:pt x="91" y="279"/>
                  </a:lnTo>
                  <a:lnTo>
                    <a:pt x="89" y="281"/>
                  </a:lnTo>
                  <a:lnTo>
                    <a:pt x="89" y="284"/>
                  </a:lnTo>
                  <a:lnTo>
                    <a:pt x="89" y="287"/>
                  </a:lnTo>
                  <a:lnTo>
                    <a:pt x="88" y="301"/>
                  </a:lnTo>
                  <a:lnTo>
                    <a:pt x="88" y="305"/>
                  </a:lnTo>
                  <a:lnTo>
                    <a:pt x="86" y="307"/>
                  </a:lnTo>
                  <a:lnTo>
                    <a:pt x="83" y="307"/>
                  </a:lnTo>
                  <a:lnTo>
                    <a:pt x="82" y="307"/>
                  </a:lnTo>
                  <a:lnTo>
                    <a:pt x="79" y="307"/>
                  </a:lnTo>
                  <a:lnTo>
                    <a:pt x="74" y="305"/>
                  </a:lnTo>
                  <a:lnTo>
                    <a:pt x="68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3" y="308"/>
                  </a:lnTo>
                  <a:lnTo>
                    <a:pt x="63" y="310"/>
                  </a:lnTo>
                  <a:lnTo>
                    <a:pt x="63" y="311"/>
                  </a:lnTo>
                  <a:lnTo>
                    <a:pt x="63" y="311"/>
                  </a:lnTo>
                  <a:lnTo>
                    <a:pt x="63" y="313"/>
                  </a:lnTo>
                  <a:lnTo>
                    <a:pt x="63" y="313"/>
                  </a:lnTo>
                  <a:lnTo>
                    <a:pt x="66" y="316"/>
                  </a:lnTo>
                  <a:lnTo>
                    <a:pt x="62" y="318"/>
                  </a:lnTo>
                  <a:lnTo>
                    <a:pt x="60" y="318"/>
                  </a:lnTo>
                  <a:lnTo>
                    <a:pt x="62" y="319"/>
                  </a:lnTo>
                  <a:lnTo>
                    <a:pt x="62" y="322"/>
                  </a:lnTo>
                  <a:lnTo>
                    <a:pt x="62" y="324"/>
                  </a:lnTo>
                  <a:lnTo>
                    <a:pt x="62" y="325"/>
                  </a:lnTo>
                  <a:lnTo>
                    <a:pt x="63" y="327"/>
                  </a:lnTo>
                  <a:lnTo>
                    <a:pt x="65" y="328"/>
                  </a:lnTo>
                  <a:lnTo>
                    <a:pt x="71" y="330"/>
                  </a:lnTo>
                  <a:lnTo>
                    <a:pt x="76" y="331"/>
                  </a:lnTo>
                  <a:lnTo>
                    <a:pt x="77" y="331"/>
                  </a:lnTo>
                  <a:lnTo>
                    <a:pt x="79" y="331"/>
                  </a:lnTo>
                  <a:lnTo>
                    <a:pt x="82" y="330"/>
                  </a:lnTo>
                  <a:lnTo>
                    <a:pt x="82" y="330"/>
                  </a:lnTo>
                  <a:lnTo>
                    <a:pt x="82" y="328"/>
                  </a:lnTo>
                  <a:lnTo>
                    <a:pt x="83" y="328"/>
                  </a:lnTo>
                  <a:lnTo>
                    <a:pt x="88" y="336"/>
                  </a:lnTo>
                  <a:lnTo>
                    <a:pt x="88" y="339"/>
                  </a:lnTo>
                  <a:lnTo>
                    <a:pt x="88" y="344"/>
                  </a:lnTo>
                  <a:lnTo>
                    <a:pt x="86" y="347"/>
                  </a:lnTo>
                  <a:lnTo>
                    <a:pt x="86" y="348"/>
                  </a:lnTo>
                  <a:lnTo>
                    <a:pt x="86" y="351"/>
                  </a:lnTo>
                  <a:lnTo>
                    <a:pt x="86" y="355"/>
                  </a:lnTo>
                  <a:lnTo>
                    <a:pt x="86" y="355"/>
                  </a:lnTo>
                  <a:lnTo>
                    <a:pt x="86" y="355"/>
                  </a:lnTo>
                  <a:lnTo>
                    <a:pt x="86" y="356"/>
                  </a:lnTo>
                  <a:lnTo>
                    <a:pt x="83" y="358"/>
                  </a:lnTo>
                  <a:lnTo>
                    <a:pt x="83" y="359"/>
                  </a:lnTo>
                  <a:lnTo>
                    <a:pt x="80" y="361"/>
                  </a:lnTo>
                  <a:lnTo>
                    <a:pt x="79" y="362"/>
                  </a:lnTo>
                  <a:lnTo>
                    <a:pt x="76" y="364"/>
                  </a:lnTo>
                  <a:lnTo>
                    <a:pt x="74" y="365"/>
                  </a:lnTo>
                  <a:lnTo>
                    <a:pt x="72" y="368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8" y="370"/>
                  </a:lnTo>
                  <a:lnTo>
                    <a:pt x="66" y="371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3" y="375"/>
                  </a:lnTo>
                  <a:lnTo>
                    <a:pt x="63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0" y="378"/>
                  </a:lnTo>
                  <a:lnTo>
                    <a:pt x="60" y="379"/>
                  </a:lnTo>
                  <a:lnTo>
                    <a:pt x="62" y="381"/>
                  </a:lnTo>
                  <a:lnTo>
                    <a:pt x="63" y="381"/>
                  </a:lnTo>
                  <a:lnTo>
                    <a:pt x="68" y="384"/>
                  </a:lnTo>
                  <a:lnTo>
                    <a:pt x="69" y="385"/>
                  </a:lnTo>
                  <a:lnTo>
                    <a:pt x="71" y="385"/>
                  </a:lnTo>
                  <a:lnTo>
                    <a:pt x="71" y="387"/>
                  </a:lnTo>
                  <a:lnTo>
                    <a:pt x="71" y="388"/>
                  </a:lnTo>
                  <a:lnTo>
                    <a:pt x="71" y="388"/>
                  </a:lnTo>
                  <a:lnTo>
                    <a:pt x="69" y="388"/>
                  </a:lnTo>
                  <a:lnTo>
                    <a:pt x="69" y="390"/>
                  </a:lnTo>
                  <a:lnTo>
                    <a:pt x="68" y="393"/>
                  </a:lnTo>
                  <a:lnTo>
                    <a:pt x="66" y="395"/>
                  </a:lnTo>
                  <a:lnTo>
                    <a:pt x="63" y="396"/>
                  </a:lnTo>
                  <a:lnTo>
                    <a:pt x="57" y="396"/>
                  </a:lnTo>
                  <a:lnTo>
                    <a:pt x="49" y="398"/>
                  </a:lnTo>
                  <a:lnTo>
                    <a:pt x="46" y="401"/>
                  </a:lnTo>
                  <a:lnTo>
                    <a:pt x="45" y="402"/>
                  </a:lnTo>
                  <a:lnTo>
                    <a:pt x="43" y="402"/>
                  </a:lnTo>
                  <a:lnTo>
                    <a:pt x="39" y="401"/>
                  </a:lnTo>
                  <a:lnTo>
                    <a:pt x="39" y="402"/>
                  </a:lnTo>
                  <a:lnTo>
                    <a:pt x="39" y="404"/>
                  </a:lnTo>
                  <a:lnTo>
                    <a:pt x="36" y="405"/>
                  </a:lnTo>
                  <a:lnTo>
                    <a:pt x="36" y="404"/>
                  </a:lnTo>
                  <a:lnTo>
                    <a:pt x="34" y="402"/>
                  </a:lnTo>
                  <a:lnTo>
                    <a:pt x="32" y="402"/>
                  </a:lnTo>
                  <a:lnTo>
                    <a:pt x="31" y="402"/>
                  </a:lnTo>
                  <a:lnTo>
                    <a:pt x="31" y="401"/>
                  </a:lnTo>
                  <a:lnTo>
                    <a:pt x="29" y="399"/>
                  </a:lnTo>
                  <a:lnTo>
                    <a:pt x="29" y="399"/>
                  </a:lnTo>
                  <a:lnTo>
                    <a:pt x="28" y="401"/>
                  </a:lnTo>
                  <a:lnTo>
                    <a:pt x="25" y="399"/>
                  </a:lnTo>
                  <a:lnTo>
                    <a:pt x="22" y="398"/>
                  </a:lnTo>
                  <a:lnTo>
                    <a:pt x="20" y="396"/>
                  </a:lnTo>
                  <a:lnTo>
                    <a:pt x="17" y="398"/>
                  </a:lnTo>
                  <a:lnTo>
                    <a:pt x="19" y="398"/>
                  </a:lnTo>
                  <a:lnTo>
                    <a:pt x="22" y="401"/>
                  </a:lnTo>
                  <a:lnTo>
                    <a:pt x="22" y="402"/>
                  </a:lnTo>
                  <a:lnTo>
                    <a:pt x="20" y="402"/>
                  </a:lnTo>
                  <a:lnTo>
                    <a:pt x="19" y="402"/>
                  </a:lnTo>
                  <a:lnTo>
                    <a:pt x="17" y="401"/>
                  </a:lnTo>
                  <a:lnTo>
                    <a:pt x="14" y="402"/>
                  </a:lnTo>
                  <a:lnTo>
                    <a:pt x="12" y="402"/>
                  </a:lnTo>
                  <a:lnTo>
                    <a:pt x="11" y="404"/>
                  </a:lnTo>
                  <a:lnTo>
                    <a:pt x="9" y="404"/>
                  </a:lnTo>
                  <a:lnTo>
                    <a:pt x="6" y="405"/>
                  </a:lnTo>
                  <a:lnTo>
                    <a:pt x="5" y="405"/>
                  </a:lnTo>
                  <a:lnTo>
                    <a:pt x="5" y="407"/>
                  </a:lnTo>
                  <a:lnTo>
                    <a:pt x="6" y="408"/>
                  </a:lnTo>
                  <a:lnTo>
                    <a:pt x="8" y="410"/>
                  </a:lnTo>
                  <a:lnTo>
                    <a:pt x="8" y="413"/>
                  </a:lnTo>
                  <a:lnTo>
                    <a:pt x="6" y="415"/>
                  </a:lnTo>
                  <a:lnTo>
                    <a:pt x="6" y="415"/>
                  </a:lnTo>
                  <a:lnTo>
                    <a:pt x="6" y="416"/>
                  </a:lnTo>
                  <a:lnTo>
                    <a:pt x="6" y="416"/>
                  </a:lnTo>
                  <a:lnTo>
                    <a:pt x="9" y="416"/>
                  </a:lnTo>
                  <a:lnTo>
                    <a:pt x="9" y="416"/>
                  </a:lnTo>
                  <a:lnTo>
                    <a:pt x="11" y="418"/>
                  </a:lnTo>
                  <a:lnTo>
                    <a:pt x="12" y="418"/>
                  </a:lnTo>
                  <a:lnTo>
                    <a:pt x="11" y="422"/>
                  </a:lnTo>
                  <a:lnTo>
                    <a:pt x="12" y="424"/>
                  </a:lnTo>
                  <a:lnTo>
                    <a:pt x="17" y="427"/>
                  </a:lnTo>
                  <a:lnTo>
                    <a:pt x="17" y="428"/>
                  </a:lnTo>
                  <a:lnTo>
                    <a:pt x="17" y="430"/>
                  </a:lnTo>
                  <a:lnTo>
                    <a:pt x="17" y="432"/>
                  </a:lnTo>
                  <a:lnTo>
                    <a:pt x="22" y="439"/>
                  </a:lnTo>
                  <a:lnTo>
                    <a:pt x="25" y="442"/>
                  </a:lnTo>
                  <a:lnTo>
                    <a:pt x="25" y="447"/>
                  </a:lnTo>
                  <a:lnTo>
                    <a:pt x="26" y="448"/>
                  </a:lnTo>
                  <a:lnTo>
                    <a:pt x="25" y="450"/>
                  </a:lnTo>
                  <a:lnTo>
                    <a:pt x="25" y="453"/>
                  </a:lnTo>
                  <a:lnTo>
                    <a:pt x="25" y="456"/>
                  </a:lnTo>
                  <a:lnTo>
                    <a:pt x="26" y="456"/>
                  </a:lnTo>
                  <a:lnTo>
                    <a:pt x="25" y="458"/>
                  </a:lnTo>
                  <a:lnTo>
                    <a:pt x="25" y="461"/>
                  </a:lnTo>
                  <a:lnTo>
                    <a:pt x="25" y="462"/>
                  </a:lnTo>
                  <a:lnTo>
                    <a:pt x="25" y="462"/>
                  </a:lnTo>
                  <a:lnTo>
                    <a:pt x="22" y="464"/>
                  </a:lnTo>
                  <a:lnTo>
                    <a:pt x="22" y="465"/>
                  </a:lnTo>
                  <a:lnTo>
                    <a:pt x="17" y="472"/>
                  </a:lnTo>
                  <a:lnTo>
                    <a:pt x="15" y="475"/>
                  </a:lnTo>
                  <a:lnTo>
                    <a:pt x="15" y="475"/>
                  </a:lnTo>
                  <a:lnTo>
                    <a:pt x="14" y="478"/>
                  </a:lnTo>
                  <a:lnTo>
                    <a:pt x="14" y="481"/>
                  </a:lnTo>
                  <a:lnTo>
                    <a:pt x="15" y="482"/>
                  </a:lnTo>
                  <a:lnTo>
                    <a:pt x="17" y="484"/>
                  </a:lnTo>
                  <a:lnTo>
                    <a:pt x="20" y="481"/>
                  </a:lnTo>
                  <a:lnTo>
                    <a:pt x="22" y="481"/>
                  </a:lnTo>
                  <a:lnTo>
                    <a:pt x="22" y="482"/>
                  </a:lnTo>
                  <a:lnTo>
                    <a:pt x="20" y="484"/>
                  </a:lnTo>
                  <a:lnTo>
                    <a:pt x="22" y="485"/>
                  </a:lnTo>
                  <a:lnTo>
                    <a:pt x="20" y="487"/>
                  </a:lnTo>
                  <a:lnTo>
                    <a:pt x="15" y="489"/>
                  </a:lnTo>
                  <a:lnTo>
                    <a:pt x="9" y="495"/>
                  </a:lnTo>
                  <a:lnTo>
                    <a:pt x="8" y="495"/>
                  </a:lnTo>
                  <a:lnTo>
                    <a:pt x="6" y="498"/>
                  </a:lnTo>
                  <a:lnTo>
                    <a:pt x="6" y="499"/>
                  </a:lnTo>
                  <a:lnTo>
                    <a:pt x="5" y="499"/>
                  </a:lnTo>
                  <a:lnTo>
                    <a:pt x="3" y="498"/>
                  </a:lnTo>
                  <a:lnTo>
                    <a:pt x="3" y="498"/>
                  </a:lnTo>
                  <a:lnTo>
                    <a:pt x="2" y="496"/>
                  </a:lnTo>
                  <a:lnTo>
                    <a:pt x="0" y="498"/>
                  </a:lnTo>
                  <a:lnTo>
                    <a:pt x="0" y="501"/>
                  </a:lnTo>
                  <a:lnTo>
                    <a:pt x="2" y="504"/>
                  </a:lnTo>
                  <a:lnTo>
                    <a:pt x="2" y="507"/>
                  </a:lnTo>
                  <a:lnTo>
                    <a:pt x="2" y="507"/>
                  </a:lnTo>
                  <a:lnTo>
                    <a:pt x="3" y="505"/>
                  </a:lnTo>
                  <a:lnTo>
                    <a:pt x="5" y="505"/>
                  </a:lnTo>
                  <a:lnTo>
                    <a:pt x="6" y="505"/>
                  </a:lnTo>
                  <a:lnTo>
                    <a:pt x="8" y="505"/>
                  </a:lnTo>
                  <a:lnTo>
                    <a:pt x="11" y="505"/>
                  </a:lnTo>
                  <a:lnTo>
                    <a:pt x="11" y="507"/>
                  </a:lnTo>
                  <a:lnTo>
                    <a:pt x="11" y="507"/>
                  </a:lnTo>
                  <a:lnTo>
                    <a:pt x="9" y="509"/>
                  </a:lnTo>
                  <a:lnTo>
                    <a:pt x="11" y="510"/>
                  </a:lnTo>
                  <a:lnTo>
                    <a:pt x="11" y="512"/>
                  </a:lnTo>
                  <a:lnTo>
                    <a:pt x="11" y="512"/>
                  </a:lnTo>
                  <a:lnTo>
                    <a:pt x="12" y="513"/>
                  </a:lnTo>
                  <a:lnTo>
                    <a:pt x="15" y="513"/>
                  </a:lnTo>
                  <a:lnTo>
                    <a:pt x="15" y="515"/>
                  </a:lnTo>
                  <a:lnTo>
                    <a:pt x="14" y="515"/>
                  </a:lnTo>
                  <a:lnTo>
                    <a:pt x="14" y="516"/>
                  </a:lnTo>
                  <a:lnTo>
                    <a:pt x="15" y="518"/>
                  </a:lnTo>
                  <a:lnTo>
                    <a:pt x="15" y="519"/>
                  </a:lnTo>
                  <a:lnTo>
                    <a:pt x="14" y="521"/>
                  </a:lnTo>
                  <a:lnTo>
                    <a:pt x="14" y="521"/>
                  </a:lnTo>
                  <a:lnTo>
                    <a:pt x="12" y="521"/>
                  </a:lnTo>
                  <a:lnTo>
                    <a:pt x="11" y="521"/>
                  </a:lnTo>
                  <a:lnTo>
                    <a:pt x="11" y="522"/>
                  </a:lnTo>
                  <a:lnTo>
                    <a:pt x="11" y="524"/>
                  </a:lnTo>
                  <a:lnTo>
                    <a:pt x="11" y="525"/>
                  </a:lnTo>
                  <a:lnTo>
                    <a:pt x="11" y="525"/>
                  </a:lnTo>
                  <a:lnTo>
                    <a:pt x="9" y="527"/>
                  </a:lnTo>
                  <a:lnTo>
                    <a:pt x="8" y="527"/>
                  </a:lnTo>
                  <a:lnTo>
                    <a:pt x="8" y="529"/>
                  </a:lnTo>
                  <a:lnTo>
                    <a:pt x="9" y="530"/>
                  </a:lnTo>
                  <a:lnTo>
                    <a:pt x="9" y="530"/>
                  </a:lnTo>
                  <a:lnTo>
                    <a:pt x="9" y="530"/>
                  </a:lnTo>
                  <a:lnTo>
                    <a:pt x="9" y="532"/>
                  </a:lnTo>
                  <a:lnTo>
                    <a:pt x="9" y="532"/>
                  </a:lnTo>
                  <a:lnTo>
                    <a:pt x="9" y="533"/>
                  </a:lnTo>
                  <a:lnTo>
                    <a:pt x="9" y="533"/>
                  </a:lnTo>
                  <a:lnTo>
                    <a:pt x="9" y="533"/>
                  </a:lnTo>
                  <a:lnTo>
                    <a:pt x="11" y="533"/>
                  </a:lnTo>
                  <a:lnTo>
                    <a:pt x="11" y="535"/>
                  </a:lnTo>
                  <a:lnTo>
                    <a:pt x="11" y="536"/>
                  </a:lnTo>
                  <a:lnTo>
                    <a:pt x="11" y="538"/>
                  </a:lnTo>
                  <a:lnTo>
                    <a:pt x="12" y="538"/>
                  </a:lnTo>
                  <a:lnTo>
                    <a:pt x="15" y="536"/>
                  </a:lnTo>
                  <a:lnTo>
                    <a:pt x="17" y="536"/>
                  </a:lnTo>
                  <a:lnTo>
                    <a:pt x="17" y="538"/>
                  </a:lnTo>
                  <a:lnTo>
                    <a:pt x="22" y="546"/>
                  </a:lnTo>
                  <a:lnTo>
                    <a:pt x="22" y="546"/>
                  </a:lnTo>
                  <a:lnTo>
                    <a:pt x="22" y="547"/>
                  </a:lnTo>
                  <a:lnTo>
                    <a:pt x="23" y="549"/>
                  </a:lnTo>
                  <a:lnTo>
                    <a:pt x="29" y="549"/>
                  </a:lnTo>
                  <a:lnTo>
                    <a:pt x="29" y="549"/>
                  </a:lnTo>
                  <a:lnTo>
                    <a:pt x="28" y="550"/>
                  </a:lnTo>
                  <a:lnTo>
                    <a:pt x="28" y="550"/>
                  </a:lnTo>
                  <a:lnTo>
                    <a:pt x="28" y="552"/>
                  </a:lnTo>
                  <a:lnTo>
                    <a:pt x="26" y="552"/>
                  </a:lnTo>
                  <a:lnTo>
                    <a:pt x="23" y="555"/>
                  </a:lnTo>
                  <a:lnTo>
                    <a:pt x="22" y="556"/>
                  </a:lnTo>
                  <a:lnTo>
                    <a:pt x="23" y="558"/>
                  </a:lnTo>
                  <a:lnTo>
                    <a:pt x="23" y="559"/>
                  </a:lnTo>
                  <a:lnTo>
                    <a:pt x="23" y="559"/>
                  </a:lnTo>
                  <a:lnTo>
                    <a:pt x="23" y="559"/>
                  </a:lnTo>
                  <a:lnTo>
                    <a:pt x="25" y="559"/>
                  </a:lnTo>
                  <a:lnTo>
                    <a:pt x="23" y="561"/>
                  </a:lnTo>
                  <a:lnTo>
                    <a:pt x="25" y="561"/>
                  </a:lnTo>
                  <a:lnTo>
                    <a:pt x="25" y="562"/>
                  </a:lnTo>
                  <a:lnTo>
                    <a:pt x="26" y="562"/>
                  </a:lnTo>
                  <a:lnTo>
                    <a:pt x="26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31" y="562"/>
                  </a:lnTo>
                  <a:lnTo>
                    <a:pt x="34" y="564"/>
                  </a:lnTo>
                  <a:lnTo>
                    <a:pt x="36" y="564"/>
                  </a:lnTo>
                  <a:lnTo>
                    <a:pt x="34" y="564"/>
                  </a:lnTo>
                  <a:lnTo>
                    <a:pt x="34" y="566"/>
                  </a:lnTo>
                  <a:lnTo>
                    <a:pt x="34" y="567"/>
                  </a:lnTo>
                  <a:lnTo>
                    <a:pt x="36" y="567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7" y="569"/>
                  </a:lnTo>
                  <a:lnTo>
                    <a:pt x="37" y="572"/>
                  </a:lnTo>
                  <a:lnTo>
                    <a:pt x="36" y="573"/>
                  </a:lnTo>
                  <a:lnTo>
                    <a:pt x="36" y="575"/>
                  </a:lnTo>
                  <a:lnTo>
                    <a:pt x="36" y="576"/>
                  </a:lnTo>
                  <a:lnTo>
                    <a:pt x="39" y="581"/>
                  </a:lnTo>
                  <a:lnTo>
                    <a:pt x="39" y="582"/>
                  </a:lnTo>
                  <a:lnTo>
                    <a:pt x="39" y="582"/>
                  </a:lnTo>
                  <a:lnTo>
                    <a:pt x="37" y="584"/>
                  </a:lnTo>
                  <a:lnTo>
                    <a:pt x="36" y="584"/>
                  </a:lnTo>
                  <a:lnTo>
                    <a:pt x="34" y="584"/>
                  </a:lnTo>
                  <a:lnTo>
                    <a:pt x="34" y="584"/>
                  </a:lnTo>
                  <a:lnTo>
                    <a:pt x="32" y="584"/>
                  </a:lnTo>
                  <a:lnTo>
                    <a:pt x="31" y="584"/>
                  </a:lnTo>
                  <a:lnTo>
                    <a:pt x="31" y="586"/>
                  </a:lnTo>
                  <a:lnTo>
                    <a:pt x="31" y="586"/>
                  </a:lnTo>
                  <a:lnTo>
                    <a:pt x="31" y="587"/>
                  </a:lnTo>
                  <a:lnTo>
                    <a:pt x="31" y="589"/>
                  </a:lnTo>
                  <a:lnTo>
                    <a:pt x="29" y="590"/>
                  </a:lnTo>
                  <a:lnTo>
                    <a:pt x="26" y="590"/>
                  </a:lnTo>
                  <a:lnTo>
                    <a:pt x="25" y="592"/>
                  </a:lnTo>
                  <a:lnTo>
                    <a:pt x="23" y="593"/>
                  </a:lnTo>
                  <a:lnTo>
                    <a:pt x="22" y="593"/>
                  </a:lnTo>
                  <a:lnTo>
                    <a:pt x="22" y="595"/>
                  </a:lnTo>
                  <a:lnTo>
                    <a:pt x="22" y="596"/>
                  </a:lnTo>
                  <a:lnTo>
                    <a:pt x="23" y="598"/>
                  </a:lnTo>
                  <a:lnTo>
                    <a:pt x="23" y="598"/>
                  </a:lnTo>
                  <a:lnTo>
                    <a:pt x="22" y="599"/>
                  </a:lnTo>
                  <a:lnTo>
                    <a:pt x="22" y="599"/>
                  </a:lnTo>
                  <a:lnTo>
                    <a:pt x="20" y="599"/>
                  </a:lnTo>
                  <a:lnTo>
                    <a:pt x="20" y="601"/>
                  </a:lnTo>
                  <a:lnTo>
                    <a:pt x="20" y="601"/>
                  </a:lnTo>
                  <a:lnTo>
                    <a:pt x="19" y="602"/>
                  </a:lnTo>
                  <a:lnTo>
                    <a:pt x="19" y="602"/>
                  </a:lnTo>
                  <a:lnTo>
                    <a:pt x="20" y="604"/>
                  </a:lnTo>
                  <a:lnTo>
                    <a:pt x="20" y="604"/>
                  </a:lnTo>
                  <a:lnTo>
                    <a:pt x="20" y="604"/>
                  </a:lnTo>
                  <a:lnTo>
                    <a:pt x="19" y="606"/>
                  </a:lnTo>
                  <a:lnTo>
                    <a:pt x="19" y="607"/>
                  </a:lnTo>
                  <a:lnTo>
                    <a:pt x="19" y="609"/>
                  </a:lnTo>
                  <a:lnTo>
                    <a:pt x="17" y="612"/>
                  </a:lnTo>
                  <a:lnTo>
                    <a:pt x="19" y="612"/>
                  </a:lnTo>
                  <a:lnTo>
                    <a:pt x="19" y="612"/>
                  </a:lnTo>
                  <a:lnTo>
                    <a:pt x="19" y="612"/>
                  </a:lnTo>
                  <a:lnTo>
                    <a:pt x="19" y="613"/>
                  </a:lnTo>
                  <a:lnTo>
                    <a:pt x="17" y="613"/>
                  </a:lnTo>
                  <a:lnTo>
                    <a:pt x="19" y="615"/>
                  </a:lnTo>
                  <a:lnTo>
                    <a:pt x="19" y="615"/>
                  </a:lnTo>
                  <a:lnTo>
                    <a:pt x="19" y="618"/>
                  </a:lnTo>
                  <a:lnTo>
                    <a:pt x="19" y="619"/>
                  </a:lnTo>
                  <a:lnTo>
                    <a:pt x="20" y="619"/>
                  </a:lnTo>
                  <a:lnTo>
                    <a:pt x="20" y="622"/>
                  </a:lnTo>
                  <a:lnTo>
                    <a:pt x="22" y="626"/>
                  </a:lnTo>
                  <a:lnTo>
                    <a:pt x="22" y="626"/>
                  </a:lnTo>
                  <a:lnTo>
                    <a:pt x="23" y="624"/>
                  </a:lnTo>
                  <a:lnTo>
                    <a:pt x="25" y="627"/>
                  </a:lnTo>
                  <a:lnTo>
                    <a:pt x="26" y="632"/>
                  </a:lnTo>
                  <a:lnTo>
                    <a:pt x="28" y="633"/>
                  </a:lnTo>
                  <a:lnTo>
                    <a:pt x="31" y="635"/>
                  </a:lnTo>
                  <a:lnTo>
                    <a:pt x="31" y="635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8"/>
                  </a:lnTo>
                  <a:lnTo>
                    <a:pt x="32" y="638"/>
                  </a:lnTo>
                  <a:lnTo>
                    <a:pt x="34" y="638"/>
                  </a:lnTo>
                  <a:lnTo>
                    <a:pt x="34" y="638"/>
                  </a:lnTo>
                  <a:lnTo>
                    <a:pt x="36" y="638"/>
                  </a:lnTo>
                  <a:lnTo>
                    <a:pt x="37" y="639"/>
                  </a:lnTo>
                  <a:lnTo>
                    <a:pt x="39" y="641"/>
                  </a:lnTo>
                  <a:lnTo>
                    <a:pt x="40" y="641"/>
                  </a:lnTo>
                  <a:lnTo>
                    <a:pt x="42" y="643"/>
                  </a:lnTo>
                  <a:lnTo>
                    <a:pt x="45" y="643"/>
                  </a:lnTo>
                  <a:lnTo>
                    <a:pt x="46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7"/>
                  </a:lnTo>
                  <a:lnTo>
                    <a:pt x="46" y="647"/>
                  </a:lnTo>
                  <a:lnTo>
                    <a:pt x="48" y="649"/>
                  </a:lnTo>
                  <a:lnTo>
                    <a:pt x="48" y="649"/>
                  </a:lnTo>
                  <a:lnTo>
                    <a:pt x="46" y="649"/>
                  </a:lnTo>
                  <a:lnTo>
                    <a:pt x="46" y="650"/>
                  </a:lnTo>
                  <a:lnTo>
                    <a:pt x="46" y="652"/>
                  </a:lnTo>
                  <a:lnTo>
                    <a:pt x="46" y="652"/>
                  </a:lnTo>
                  <a:lnTo>
                    <a:pt x="48" y="653"/>
                  </a:lnTo>
                  <a:lnTo>
                    <a:pt x="46" y="652"/>
                  </a:lnTo>
                  <a:lnTo>
                    <a:pt x="46" y="652"/>
                  </a:lnTo>
                  <a:lnTo>
                    <a:pt x="46" y="653"/>
                  </a:lnTo>
                  <a:lnTo>
                    <a:pt x="46" y="653"/>
                  </a:lnTo>
                  <a:lnTo>
                    <a:pt x="46" y="653"/>
                  </a:lnTo>
                  <a:lnTo>
                    <a:pt x="42" y="658"/>
                  </a:lnTo>
                  <a:lnTo>
                    <a:pt x="40" y="659"/>
                  </a:lnTo>
                  <a:lnTo>
                    <a:pt x="40" y="659"/>
                  </a:lnTo>
                  <a:lnTo>
                    <a:pt x="42" y="659"/>
                  </a:lnTo>
                  <a:lnTo>
                    <a:pt x="42" y="659"/>
                  </a:lnTo>
                  <a:lnTo>
                    <a:pt x="42" y="661"/>
                  </a:lnTo>
                  <a:lnTo>
                    <a:pt x="42" y="661"/>
                  </a:lnTo>
                  <a:lnTo>
                    <a:pt x="40" y="663"/>
                  </a:lnTo>
                  <a:lnTo>
                    <a:pt x="40" y="664"/>
                  </a:lnTo>
                  <a:lnTo>
                    <a:pt x="39" y="666"/>
                  </a:lnTo>
                  <a:lnTo>
                    <a:pt x="37" y="669"/>
                  </a:lnTo>
                  <a:lnTo>
                    <a:pt x="37" y="669"/>
                  </a:lnTo>
                  <a:lnTo>
                    <a:pt x="37" y="673"/>
                  </a:lnTo>
                  <a:lnTo>
                    <a:pt x="36" y="673"/>
                  </a:lnTo>
                  <a:lnTo>
                    <a:pt x="36" y="678"/>
                  </a:lnTo>
                  <a:lnTo>
                    <a:pt x="36" y="681"/>
                  </a:lnTo>
                  <a:lnTo>
                    <a:pt x="36" y="683"/>
                  </a:lnTo>
                  <a:lnTo>
                    <a:pt x="37" y="683"/>
                  </a:lnTo>
                  <a:lnTo>
                    <a:pt x="37" y="683"/>
                  </a:lnTo>
                  <a:lnTo>
                    <a:pt x="39" y="681"/>
                  </a:lnTo>
                  <a:lnTo>
                    <a:pt x="40" y="681"/>
                  </a:lnTo>
                  <a:lnTo>
                    <a:pt x="40" y="681"/>
                  </a:lnTo>
                  <a:lnTo>
                    <a:pt x="48" y="684"/>
                  </a:lnTo>
                  <a:lnTo>
                    <a:pt x="48" y="686"/>
                  </a:lnTo>
                  <a:lnTo>
                    <a:pt x="49" y="687"/>
                  </a:lnTo>
                  <a:lnTo>
                    <a:pt x="49" y="687"/>
                  </a:lnTo>
                  <a:lnTo>
                    <a:pt x="49" y="689"/>
                  </a:lnTo>
                  <a:lnTo>
                    <a:pt x="49" y="689"/>
                  </a:lnTo>
                  <a:lnTo>
                    <a:pt x="49" y="689"/>
                  </a:lnTo>
                  <a:lnTo>
                    <a:pt x="52" y="693"/>
                  </a:lnTo>
                  <a:lnTo>
                    <a:pt x="54" y="693"/>
                  </a:lnTo>
                  <a:lnTo>
                    <a:pt x="52" y="695"/>
                  </a:lnTo>
                  <a:lnTo>
                    <a:pt x="51" y="695"/>
                  </a:lnTo>
                  <a:lnTo>
                    <a:pt x="51" y="695"/>
                  </a:lnTo>
                  <a:lnTo>
                    <a:pt x="52" y="696"/>
                  </a:lnTo>
                  <a:lnTo>
                    <a:pt x="52" y="698"/>
                  </a:lnTo>
                  <a:lnTo>
                    <a:pt x="59" y="703"/>
                  </a:lnTo>
                  <a:lnTo>
                    <a:pt x="59" y="704"/>
                  </a:lnTo>
                  <a:lnTo>
                    <a:pt x="59" y="704"/>
                  </a:lnTo>
                  <a:lnTo>
                    <a:pt x="59" y="706"/>
                  </a:lnTo>
                  <a:lnTo>
                    <a:pt x="59" y="706"/>
                  </a:lnTo>
                  <a:lnTo>
                    <a:pt x="60" y="706"/>
                  </a:lnTo>
                  <a:lnTo>
                    <a:pt x="60" y="706"/>
                  </a:lnTo>
                  <a:lnTo>
                    <a:pt x="60" y="709"/>
                  </a:lnTo>
                  <a:lnTo>
                    <a:pt x="60" y="709"/>
                  </a:lnTo>
                  <a:lnTo>
                    <a:pt x="60" y="709"/>
                  </a:lnTo>
                  <a:lnTo>
                    <a:pt x="60" y="710"/>
                  </a:lnTo>
                  <a:lnTo>
                    <a:pt x="62" y="710"/>
                  </a:lnTo>
                  <a:lnTo>
                    <a:pt x="62" y="710"/>
                  </a:lnTo>
                  <a:lnTo>
                    <a:pt x="62" y="710"/>
                  </a:lnTo>
                  <a:lnTo>
                    <a:pt x="63" y="710"/>
                  </a:lnTo>
                  <a:lnTo>
                    <a:pt x="63" y="712"/>
                  </a:lnTo>
                  <a:lnTo>
                    <a:pt x="63" y="713"/>
                  </a:lnTo>
                  <a:lnTo>
                    <a:pt x="63" y="715"/>
                  </a:lnTo>
                  <a:lnTo>
                    <a:pt x="63" y="716"/>
                  </a:lnTo>
                  <a:lnTo>
                    <a:pt x="65" y="716"/>
                  </a:lnTo>
                  <a:lnTo>
                    <a:pt x="68" y="716"/>
                  </a:lnTo>
                  <a:lnTo>
                    <a:pt x="71" y="718"/>
                  </a:lnTo>
                  <a:lnTo>
                    <a:pt x="71" y="716"/>
                  </a:lnTo>
                  <a:lnTo>
                    <a:pt x="72" y="715"/>
                  </a:lnTo>
                  <a:lnTo>
                    <a:pt x="72" y="713"/>
                  </a:lnTo>
                  <a:lnTo>
                    <a:pt x="72" y="712"/>
                  </a:lnTo>
                  <a:lnTo>
                    <a:pt x="72" y="710"/>
                  </a:lnTo>
                  <a:lnTo>
                    <a:pt x="72" y="710"/>
                  </a:lnTo>
                  <a:lnTo>
                    <a:pt x="76" y="710"/>
                  </a:lnTo>
                  <a:lnTo>
                    <a:pt x="79" y="710"/>
                  </a:lnTo>
                  <a:lnTo>
                    <a:pt x="79" y="710"/>
                  </a:lnTo>
                  <a:lnTo>
                    <a:pt x="83" y="713"/>
                  </a:lnTo>
                  <a:lnTo>
                    <a:pt x="85" y="713"/>
                  </a:lnTo>
                  <a:lnTo>
                    <a:pt x="85" y="716"/>
                  </a:lnTo>
                  <a:lnTo>
                    <a:pt x="86" y="721"/>
                  </a:lnTo>
                  <a:lnTo>
                    <a:pt x="88" y="721"/>
                  </a:lnTo>
                  <a:lnTo>
                    <a:pt x="91" y="720"/>
                  </a:lnTo>
                  <a:lnTo>
                    <a:pt x="91" y="720"/>
                  </a:lnTo>
                  <a:lnTo>
                    <a:pt x="89" y="720"/>
                  </a:lnTo>
                  <a:lnTo>
                    <a:pt x="89" y="718"/>
                  </a:lnTo>
                  <a:lnTo>
                    <a:pt x="91" y="718"/>
                  </a:lnTo>
                  <a:lnTo>
                    <a:pt x="91" y="718"/>
                  </a:lnTo>
                  <a:lnTo>
                    <a:pt x="94" y="720"/>
                  </a:lnTo>
                  <a:lnTo>
                    <a:pt x="96" y="721"/>
                  </a:lnTo>
                  <a:lnTo>
                    <a:pt x="96" y="721"/>
                  </a:lnTo>
                  <a:lnTo>
                    <a:pt x="103" y="721"/>
                  </a:lnTo>
                  <a:lnTo>
                    <a:pt x="105" y="721"/>
                  </a:lnTo>
                  <a:lnTo>
                    <a:pt x="105" y="723"/>
                  </a:lnTo>
                  <a:lnTo>
                    <a:pt x="106" y="721"/>
                  </a:lnTo>
                  <a:lnTo>
                    <a:pt x="106" y="720"/>
                  </a:lnTo>
                  <a:lnTo>
                    <a:pt x="106" y="720"/>
                  </a:lnTo>
                  <a:lnTo>
                    <a:pt x="108" y="720"/>
                  </a:lnTo>
                  <a:lnTo>
                    <a:pt x="109" y="720"/>
                  </a:lnTo>
                  <a:lnTo>
                    <a:pt x="109" y="718"/>
                  </a:lnTo>
                  <a:lnTo>
                    <a:pt x="109" y="718"/>
                  </a:lnTo>
                  <a:lnTo>
                    <a:pt x="111" y="716"/>
                  </a:lnTo>
                  <a:lnTo>
                    <a:pt x="111" y="716"/>
                  </a:lnTo>
                  <a:lnTo>
                    <a:pt x="113" y="715"/>
                  </a:lnTo>
                  <a:lnTo>
                    <a:pt x="113" y="715"/>
                  </a:lnTo>
                  <a:lnTo>
                    <a:pt x="114" y="715"/>
                  </a:lnTo>
                  <a:lnTo>
                    <a:pt x="116" y="715"/>
                  </a:lnTo>
                  <a:lnTo>
                    <a:pt x="116" y="716"/>
                  </a:lnTo>
                  <a:lnTo>
                    <a:pt x="119" y="716"/>
                  </a:lnTo>
                  <a:lnTo>
                    <a:pt x="120" y="716"/>
                  </a:lnTo>
                  <a:lnTo>
                    <a:pt x="120" y="718"/>
                  </a:lnTo>
                  <a:lnTo>
                    <a:pt x="120" y="718"/>
                  </a:lnTo>
                  <a:lnTo>
                    <a:pt x="120" y="720"/>
                  </a:lnTo>
                  <a:lnTo>
                    <a:pt x="120" y="720"/>
                  </a:lnTo>
                  <a:lnTo>
                    <a:pt x="120" y="721"/>
                  </a:lnTo>
                  <a:lnTo>
                    <a:pt x="123" y="723"/>
                  </a:lnTo>
                  <a:lnTo>
                    <a:pt x="123" y="724"/>
                  </a:lnTo>
                  <a:lnTo>
                    <a:pt x="125" y="726"/>
                  </a:lnTo>
                  <a:lnTo>
                    <a:pt x="128" y="726"/>
                  </a:lnTo>
                  <a:lnTo>
                    <a:pt x="129" y="727"/>
                  </a:lnTo>
                  <a:lnTo>
                    <a:pt x="131" y="727"/>
                  </a:lnTo>
                  <a:lnTo>
                    <a:pt x="131" y="729"/>
                  </a:lnTo>
                  <a:lnTo>
                    <a:pt x="133" y="729"/>
                  </a:lnTo>
                  <a:lnTo>
                    <a:pt x="133" y="730"/>
                  </a:lnTo>
                  <a:lnTo>
                    <a:pt x="133" y="730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6" y="729"/>
                  </a:lnTo>
                  <a:lnTo>
                    <a:pt x="137" y="729"/>
                  </a:lnTo>
                  <a:lnTo>
                    <a:pt x="139" y="730"/>
                  </a:lnTo>
                  <a:lnTo>
                    <a:pt x="139" y="730"/>
                  </a:lnTo>
                  <a:lnTo>
                    <a:pt x="140" y="729"/>
                  </a:lnTo>
                  <a:lnTo>
                    <a:pt x="142" y="729"/>
                  </a:lnTo>
                  <a:lnTo>
                    <a:pt x="142" y="729"/>
                  </a:lnTo>
                  <a:lnTo>
                    <a:pt x="148" y="730"/>
                  </a:lnTo>
                  <a:lnTo>
                    <a:pt x="153" y="730"/>
                  </a:lnTo>
                  <a:lnTo>
                    <a:pt x="154" y="730"/>
                  </a:lnTo>
                  <a:lnTo>
                    <a:pt x="166" y="736"/>
                  </a:lnTo>
                  <a:lnTo>
                    <a:pt x="173" y="738"/>
                  </a:lnTo>
                  <a:lnTo>
                    <a:pt x="174" y="738"/>
                  </a:lnTo>
                  <a:lnTo>
                    <a:pt x="174" y="738"/>
                  </a:lnTo>
                  <a:lnTo>
                    <a:pt x="173" y="740"/>
                  </a:lnTo>
                  <a:lnTo>
                    <a:pt x="170" y="744"/>
                  </a:lnTo>
                  <a:lnTo>
                    <a:pt x="166" y="753"/>
                  </a:lnTo>
                  <a:lnTo>
                    <a:pt x="166" y="755"/>
                  </a:lnTo>
                  <a:lnTo>
                    <a:pt x="165" y="756"/>
                  </a:lnTo>
                  <a:lnTo>
                    <a:pt x="163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60"/>
                  </a:lnTo>
                  <a:lnTo>
                    <a:pt x="160" y="760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57" y="761"/>
                  </a:lnTo>
                  <a:lnTo>
                    <a:pt x="157" y="761"/>
                  </a:lnTo>
                  <a:lnTo>
                    <a:pt x="157" y="763"/>
                  </a:lnTo>
                  <a:lnTo>
                    <a:pt x="157" y="764"/>
                  </a:lnTo>
                  <a:lnTo>
                    <a:pt x="156" y="766"/>
                  </a:lnTo>
                  <a:lnTo>
                    <a:pt x="156" y="766"/>
                  </a:lnTo>
                  <a:lnTo>
                    <a:pt x="154" y="767"/>
                  </a:lnTo>
                  <a:lnTo>
                    <a:pt x="154" y="767"/>
                  </a:lnTo>
                  <a:lnTo>
                    <a:pt x="151" y="770"/>
                  </a:lnTo>
                  <a:lnTo>
                    <a:pt x="151" y="772"/>
                  </a:lnTo>
                  <a:lnTo>
                    <a:pt x="149" y="772"/>
                  </a:lnTo>
                  <a:lnTo>
                    <a:pt x="148" y="772"/>
                  </a:lnTo>
                  <a:lnTo>
                    <a:pt x="145" y="776"/>
                  </a:lnTo>
                  <a:lnTo>
                    <a:pt x="145" y="781"/>
                  </a:lnTo>
                  <a:lnTo>
                    <a:pt x="145" y="784"/>
                  </a:lnTo>
                  <a:lnTo>
                    <a:pt x="145" y="787"/>
                  </a:lnTo>
                  <a:lnTo>
                    <a:pt x="145" y="787"/>
                  </a:lnTo>
                  <a:lnTo>
                    <a:pt x="143" y="789"/>
                  </a:lnTo>
                  <a:lnTo>
                    <a:pt x="143" y="790"/>
                  </a:lnTo>
                  <a:lnTo>
                    <a:pt x="142" y="792"/>
                  </a:lnTo>
                  <a:lnTo>
                    <a:pt x="142" y="793"/>
                  </a:lnTo>
                  <a:lnTo>
                    <a:pt x="142" y="795"/>
                  </a:lnTo>
                  <a:lnTo>
                    <a:pt x="142" y="795"/>
                  </a:lnTo>
                  <a:lnTo>
                    <a:pt x="140" y="797"/>
                  </a:lnTo>
                  <a:lnTo>
                    <a:pt x="140" y="798"/>
                  </a:lnTo>
                  <a:lnTo>
                    <a:pt x="140" y="801"/>
                  </a:lnTo>
                  <a:lnTo>
                    <a:pt x="140" y="803"/>
                  </a:lnTo>
                  <a:lnTo>
                    <a:pt x="140" y="803"/>
                  </a:lnTo>
                  <a:lnTo>
                    <a:pt x="140" y="804"/>
                  </a:lnTo>
                  <a:lnTo>
                    <a:pt x="140" y="806"/>
                  </a:lnTo>
                  <a:lnTo>
                    <a:pt x="140" y="807"/>
                  </a:lnTo>
                  <a:lnTo>
                    <a:pt x="140" y="809"/>
                  </a:lnTo>
                  <a:lnTo>
                    <a:pt x="139" y="810"/>
                  </a:lnTo>
                  <a:lnTo>
                    <a:pt x="137" y="812"/>
                  </a:lnTo>
                  <a:lnTo>
                    <a:pt x="137" y="813"/>
                  </a:lnTo>
                  <a:lnTo>
                    <a:pt x="136" y="817"/>
                  </a:lnTo>
                  <a:lnTo>
                    <a:pt x="136" y="818"/>
                  </a:lnTo>
                  <a:lnTo>
                    <a:pt x="136" y="820"/>
                  </a:lnTo>
                  <a:lnTo>
                    <a:pt x="131" y="826"/>
                  </a:lnTo>
                  <a:lnTo>
                    <a:pt x="129" y="827"/>
                  </a:lnTo>
                  <a:lnTo>
                    <a:pt x="129" y="829"/>
                  </a:lnTo>
                  <a:lnTo>
                    <a:pt x="129" y="830"/>
                  </a:lnTo>
                  <a:lnTo>
                    <a:pt x="129" y="830"/>
                  </a:lnTo>
                  <a:lnTo>
                    <a:pt x="128" y="832"/>
                  </a:lnTo>
                  <a:lnTo>
                    <a:pt x="128" y="833"/>
                  </a:lnTo>
                  <a:lnTo>
                    <a:pt x="128" y="835"/>
                  </a:lnTo>
                  <a:lnTo>
                    <a:pt x="128" y="840"/>
                  </a:lnTo>
                  <a:lnTo>
                    <a:pt x="131" y="846"/>
                  </a:lnTo>
                  <a:lnTo>
                    <a:pt x="131" y="849"/>
                  </a:lnTo>
                  <a:lnTo>
                    <a:pt x="131" y="850"/>
                  </a:lnTo>
                  <a:lnTo>
                    <a:pt x="128" y="852"/>
                  </a:lnTo>
                  <a:lnTo>
                    <a:pt x="128" y="853"/>
                  </a:lnTo>
                  <a:lnTo>
                    <a:pt x="128" y="855"/>
                  </a:lnTo>
                  <a:lnTo>
                    <a:pt x="128" y="857"/>
                  </a:lnTo>
                  <a:lnTo>
                    <a:pt x="128" y="857"/>
                  </a:lnTo>
                  <a:lnTo>
                    <a:pt x="126" y="858"/>
                  </a:lnTo>
                  <a:lnTo>
                    <a:pt x="126" y="858"/>
                  </a:lnTo>
                  <a:lnTo>
                    <a:pt x="126" y="858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3"/>
                  </a:lnTo>
                  <a:lnTo>
                    <a:pt x="126" y="864"/>
                  </a:lnTo>
                  <a:lnTo>
                    <a:pt x="125" y="864"/>
                  </a:lnTo>
                  <a:lnTo>
                    <a:pt x="125" y="864"/>
                  </a:lnTo>
                  <a:lnTo>
                    <a:pt x="125" y="869"/>
                  </a:lnTo>
                  <a:lnTo>
                    <a:pt x="123" y="870"/>
                  </a:lnTo>
                  <a:lnTo>
                    <a:pt x="125" y="873"/>
                  </a:lnTo>
                  <a:lnTo>
                    <a:pt x="125" y="875"/>
                  </a:lnTo>
                  <a:lnTo>
                    <a:pt x="125" y="877"/>
                  </a:lnTo>
                  <a:lnTo>
                    <a:pt x="123" y="878"/>
                  </a:lnTo>
                  <a:lnTo>
                    <a:pt x="123" y="878"/>
                  </a:lnTo>
                  <a:lnTo>
                    <a:pt x="123" y="881"/>
                  </a:lnTo>
                  <a:lnTo>
                    <a:pt x="123" y="881"/>
                  </a:lnTo>
                  <a:lnTo>
                    <a:pt x="123" y="883"/>
                  </a:lnTo>
                  <a:lnTo>
                    <a:pt x="125" y="883"/>
                  </a:lnTo>
                  <a:lnTo>
                    <a:pt x="126" y="884"/>
                  </a:lnTo>
                  <a:lnTo>
                    <a:pt x="128" y="887"/>
                  </a:lnTo>
                  <a:lnTo>
                    <a:pt x="128" y="887"/>
                  </a:lnTo>
                  <a:lnTo>
                    <a:pt x="128" y="889"/>
                  </a:lnTo>
                  <a:lnTo>
                    <a:pt x="129" y="889"/>
                  </a:lnTo>
                  <a:lnTo>
                    <a:pt x="129" y="890"/>
                  </a:lnTo>
                  <a:lnTo>
                    <a:pt x="128" y="890"/>
                  </a:lnTo>
                  <a:lnTo>
                    <a:pt x="128" y="892"/>
                  </a:lnTo>
                  <a:lnTo>
                    <a:pt x="133" y="890"/>
                  </a:lnTo>
                  <a:lnTo>
                    <a:pt x="134" y="890"/>
                  </a:lnTo>
                  <a:lnTo>
                    <a:pt x="133" y="894"/>
                  </a:lnTo>
                  <a:lnTo>
                    <a:pt x="133" y="894"/>
                  </a:lnTo>
                  <a:lnTo>
                    <a:pt x="131" y="894"/>
                  </a:lnTo>
                  <a:lnTo>
                    <a:pt x="129" y="894"/>
                  </a:lnTo>
                  <a:lnTo>
                    <a:pt x="133" y="895"/>
                  </a:lnTo>
                  <a:lnTo>
                    <a:pt x="134" y="897"/>
                  </a:lnTo>
                  <a:lnTo>
                    <a:pt x="136" y="897"/>
                  </a:lnTo>
                  <a:lnTo>
                    <a:pt x="139" y="895"/>
                  </a:lnTo>
                  <a:lnTo>
                    <a:pt x="142" y="895"/>
                  </a:lnTo>
                  <a:lnTo>
                    <a:pt x="143" y="894"/>
                  </a:lnTo>
                  <a:lnTo>
                    <a:pt x="145" y="892"/>
                  </a:lnTo>
                  <a:lnTo>
                    <a:pt x="146" y="890"/>
                  </a:lnTo>
                  <a:lnTo>
                    <a:pt x="146" y="890"/>
                  </a:lnTo>
                  <a:lnTo>
                    <a:pt x="151" y="892"/>
                  </a:lnTo>
                  <a:lnTo>
                    <a:pt x="153" y="892"/>
                  </a:lnTo>
                  <a:lnTo>
                    <a:pt x="153" y="894"/>
                  </a:lnTo>
                  <a:lnTo>
                    <a:pt x="153" y="894"/>
                  </a:lnTo>
                  <a:lnTo>
                    <a:pt x="153" y="895"/>
                  </a:lnTo>
                  <a:lnTo>
                    <a:pt x="162" y="895"/>
                  </a:lnTo>
                  <a:lnTo>
                    <a:pt x="166" y="894"/>
                  </a:lnTo>
                  <a:lnTo>
                    <a:pt x="166" y="894"/>
                  </a:lnTo>
                  <a:lnTo>
                    <a:pt x="166" y="892"/>
                  </a:lnTo>
                  <a:lnTo>
                    <a:pt x="166" y="892"/>
                  </a:lnTo>
                  <a:lnTo>
                    <a:pt x="168" y="892"/>
                  </a:lnTo>
                  <a:lnTo>
                    <a:pt x="168" y="890"/>
                  </a:lnTo>
                  <a:lnTo>
                    <a:pt x="170" y="890"/>
                  </a:lnTo>
                  <a:lnTo>
                    <a:pt x="171" y="889"/>
                  </a:lnTo>
                  <a:lnTo>
                    <a:pt x="171" y="889"/>
                  </a:lnTo>
                  <a:lnTo>
                    <a:pt x="173" y="889"/>
                  </a:lnTo>
                  <a:lnTo>
                    <a:pt x="173" y="889"/>
                  </a:lnTo>
                  <a:lnTo>
                    <a:pt x="177" y="887"/>
                  </a:lnTo>
                  <a:lnTo>
                    <a:pt x="177" y="887"/>
                  </a:lnTo>
                  <a:lnTo>
                    <a:pt x="180" y="889"/>
                  </a:lnTo>
                  <a:lnTo>
                    <a:pt x="180" y="889"/>
                  </a:lnTo>
                  <a:lnTo>
                    <a:pt x="182" y="889"/>
                  </a:lnTo>
                  <a:lnTo>
                    <a:pt x="182" y="890"/>
                  </a:lnTo>
                  <a:lnTo>
                    <a:pt x="182" y="890"/>
                  </a:lnTo>
                  <a:lnTo>
                    <a:pt x="183" y="892"/>
                  </a:lnTo>
                  <a:lnTo>
                    <a:pt x="185" y="892"/>
                  </a:lnTo>
                  <a:lnTo>
                    <a:pt x="191" y="892"/>
                  </a:lnTo>
                  <a:lnTo>
                    <a:pt x="191" y="892"/>
                  </a:lnTo>
                  <a:lnTo>
                    <a:pt x="193" y="892"/>
                  </a:lnTo>
                  <a:lnTo>
                    <a:pt x="193" y="890"/>
                  </a:lnTo>
                  <a:lnTo>
                    <a:pt x="194" y="889"/>
                  </a:lnTo>
                  <a:lnTo>
                    <a:pt x="196" y="887"/>
                  </a:lnTo>
                  <a:lnTo>
                    <a:pt x="199" y="887"/>
                  </a:lnTo>
                  <a:lnTo>
                    <a:pt x="199" y="889"/>
                  </a:lnTo>
                  <a:lnTo>
                    <a:pt x="200" y="890"/>
                  </a:lnTo>
                  <a:lnTo>
                    <a:pt x="200" y="890"/>
                  </a:lnTo>
                  <a:lnTo>
                    <a:pt x="200" y="890"/>
                  </a:lnTo>
                  <a:lnTo>
                    <a:pt x="202" y="890"/>
                  </a:lnTo>
                  <a:lnTo>
                    <a:pt x="202" y="890"/>
                  </a:lnTo>
                  <a:lnTo>
                    <a:pt x="202" y="890"/>
                  </a:lnTo>
                  <a:lnTo>
                    <a:pt x="202" y="889"/>
                  </a:lnTo>
                  <a:lnTo>
                    <a:pt x="202" y="889"/>
                  </a:lnTo>
                  <a:lnTo>
                    <a:pt x="202" y="887"/>
                  </a:lnTo>
                  <a:lnTo>
                    <a:pt x="202" y="887"/>
                  </a:lnTo>
                  <a:lnTo>
                    <a:pt x="202" y="887"/>
                  </a:lnTo>
                  <a:lnTo>
                    <a:pt x="202" y="886"/>
                  </a:lnTo>
                  <a:lnTo>
                    <a:pt x="202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5" y="884"/>
                  </a:lnTo>
                  <a:lnTo>
                    <a:pt x="203" y="884"/>
                  </a:lnTo>
                  <a:lnTo>
                    <a:pt x="203" y="884"/>
                  </a:lnTo>
                  <a:lnTo>
                    <a:pt x="202" y="883"/>
                  </a:lnTo>
                  <a:lnTo>
                    <a:pt x="202" y="883"/>
                  </a:lnTo>
                  <a:lnTo>
                    <a:pt x="197" y="884"/>
                  </a:lnTo>
                  <a:lnTo>
                    <a:pt x="197" y="884"/>
                  </a:lnTo>
                  <a:lnTo>
                    <a:pt x="196" y="884"/>
                  </a:lnTo>
                  <a:lnTo>
                    <a:pt x="194" y="886"/>
                  </a:lnTo>
                  <a:lnTo>
                    <a:pt x="193" y="886"/>
                  </a:lnTo>
                  <a:lnTo>
                    <a:pt x="191" y="884"/>
                  </a:lnTo>
                  <a:lnTo>
                    <a:pt x="190" y="883"/>
                  </a:lnTo>
                  <a:lnTo>
                    <a:pt x="190" y="883"/>
                  </a:lnTo>
                  <a:lnTo>
                    <a:pt x="188" y="883"/>
                  </a:lnTo>
                  <a:lnTo>
                    <a:pt x="190" y="881"/>
                  </a:lnTo>
                  <a:lnTo>
                    <a:pt x="188" y="881"/>
                  </a:lnTo>
                  <a:lnTo>
                    <a:pt x="188" y="880"/>
                  </a:lnTo>
                  <a:lnTo>
                    <a:pt x="188" y="880"/>
                  </a:lnTo>
                  <a:lnTo>
                    <a:pt x="190" y="878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3" y="873"/>
                  </a:lnTo>
                  <a:lnTo>
                    <a:pt x="193" y="873"/>
                  </a:lnTo>
                  <a:lnTo>
                    <a:pt x="194" y="872"/>
                  </a:lnTo>
                  <a:lnTo>
                    <a:pt x="194" y="872"/>
                  </a:lnTo>
                  <a:lnTo>
                    <a:pt x="196" y="872"/>
                  </a:lnTo>
                  <a:lnTo>
                    <a:pt x="199" y="870"/>
                  </a:lnTo>
                  <a:lnTo>
                    <a:pt x="200" y="870"/>
                  </a:lnTo>
                  <a:lnTo>
                    <a:pt x="200" y="869"/>
                  </a:lnTo>
                  <a:lnTo>
                    <a:pt x="200" y="867"/>
                  </a:lnTo>
                  <a:lnTo>
                    <a:pt x="202" y="867"/>
                  </a:lnTo>
                  <a:lnTo>
                    <a:pt x="203" y="869"/>
                  </a:lnTo>
                  <a:lnTo>
                    <a:pt x="203" y="869"/>
                  </a:lnTo>
                  <a:lnTo>
                    <a:pt x="205" y="870"/>
                  </a:lnTo>
                  <a:lnTo>
                    <a:pt x="205" y="872"/>
                  </a:lnTo>
                  <a:lnTo>
                    <a:pt x="205" y="872"/>
                  </a:lnTo>
                  <a:lnTo>
                    <a:pt x="206" y="872"/>
                  </a:lnTo>
                  <a:lnTo>
                    <a:pt x="206" y="869"/>
                  </a:lnTo>
                  <a:lnTo>
                    <a:pt x="206" y="869"/>
                  </a:lnTo>
                  <a:lnTo>
                    <a:pt x="208" y="869"/>
                  </a:lnTo>
                  <a:lnTo>
                    <a:pt x="210" y="870"/>
                  </a:lnTo>
                  <a:lnTo>
                    <a:pt x="210" y="872"/>
                  </a:lnTo>
                  <a:lnTo>
                    <a:pt x="210" y="872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3" y="872"/>
                  </a:lnTo>
                  <a:lnTo>
                    <a:pt x="213" y="873"/>
                  </a:lnTo>
                  <a:lnTo>
                    <a:pt x="213" y="873"/>
                  </a:lnTo>
                  <a:lnTo>
                    <a:pt x="211" y="875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13" y="878"/>
                  </a:lnTo>
                  <a:lnTo>
                    <a:pt x="213" y="878"/>
                  </a:lnTo>
                  <a:lnTo>
                    <a:pt x="213" y="880"/>
                  </a:lnTo>
                  <a:lnTo>
                    <a:pt x="217" y="880"/>
                  </a:lnTo>
                  <a:lnTo>
                    <a:pt x="216" y="878"/>
                  </a:lnTo>
                  <a:lnTo>
                    <a:pt x="217" y="877"/>
                  </a:lnTo>
                  <a:lnTo>
                    <a:pt x="219" y="877"/>
                  </a:lnTo>
                  <a:lnTo>
                    <a:pt x="220" y="878"/>
                  </a:lnTo>
                  <a:lnTo>
                    <a:pt x="223" y="880"/>
                  </a:lnTo>
                  <a:lnTo>
                    <a:pt x="222" y="880"/>
                  </a:lnTo>
                  <a:lnTo>
                    <a:pt x="222" y="881"/>
                  </a:lnTo>
                  <a:lnTo>
                    <a:pt x="222" y="883"/>
                  </a:lnTo>
                  <a:lnTo>
                    <a:pt x="223" y="883"/>
                  </a:lnTo>
                  <a:lnTo>
                    <a:pt x="225" y="884"/>
                  </a:lnTo>
                  <a:lnTo>
                    <a:pt x="227" y="884"/>
                  </a:lnTo>
                  <a:lnTo>
                    <a:pt x="230" y="884"/>
                  </a:lnTo>
                  <a:lnTo>
                    <a:pt x="233" y="883"/>
                  </a:lnTo>
                  <a:lnTo>
                    <a:pt x="234" y="881"/>
                  </a:lnTo>
                  <a:lnTo>
                    <a:pt x="234" y="881"/>
                  </a:lnTo>
                  <a:lnTo>
                    <a:pt x="243" y="883"/>
                  </a:lnTo>
                  <a:lnTo>
                    <a:pt x="248" y="883"/>
                  </a:lnTo>
                  <a:lnTo>
                    <a:pt x="248" y="884"/>
                  </a:lnTo>
                  <a:lnTo>
                    <a:pt x="251" y="884"/>
                  </a:lnTo>
                  <a:lnTo>
                    <a:pt x="254" y="884"/>
                  </a:lnTo>
                  <a:lnTo>
                    <a:pt x="274" y="897"/>
                  </a:lnTo>
                  <a:lnTo>
                    <a:pt x="274" y="897"/>
                  </a:lnTo>
                  <a:lnTo>
                    <a:pt x="274" y="897"/>
                  </a:lnTo>
                  <a:lnTo>
                    <a:pt x="279" y="898"/>
                  </a:lnTo>
                  <a:lnTo>
                    <a:pt x="283" y="898"/>
                  </a:lnTo>
                  <a:lnTo>
                    <a:pt x="287" y="898"/>
                  </a:lnTo>
                  <a:lnTo>
                    <a:pt x="287" y="897"/>
                  </a:lnTo>
                  <a:lnTo>
                    <a:pt x="288" y="894"/>
                  </a:lnTo>
                  <a:lnTo>
                    <a:pt x="290" y="892"/>
                  </a:lnTo>
                  <a:lnTo>
                    <a:pt x="291" y="892"/>
                  </a:lnTo>
                  <a:lnTo>
                    <a:pt x="291" y="892"/>
                  </a:lnTo>
                  <a:lnTo>
                    <a:pt x="293" y="892"/>
                  </a:lnTo>
                  <a:lnTo>
                    <a:pt x="294" y="892"/>
                  </a:lnTo>
                  <a:lnTo>
                    <a:pt x="294" y="894"/>
                  </a:lnTo>
                  <a:lnTo>
                    <a:pt x="294" y="895"/>
                  </a:lnTo>
                  <a:lnTo>
                    <a:pt x="294" y="897"/>
                  </a:lnTo>
                  <a:lnTo>
                    <a:pt x="296" y="897"/>
                  </a:lnTo>
                  <a:lnTo>
                    <a:pt x="296" y="897"/>
                  </a:lnTo>
                  <a:lnTo>
                    <a:pt x="297" y="897"/>
                  </a:lnTo>
                  <a:lnTo>
                    <a:pt x="297" y="897"/>
                  </a:lnTo>
                  <a:lnTo>
                    <a:pt x="300" y="897"/>
                  </a:lnTo>
                  <a:lnTo>
                    <a:pt x="302" y="898"/>
                  </a:lnTo>
                  <a:lnTo>
                    <a:pt x="304" y="897"/>
                  </a:lnTo>
                  <a:lnTo>
                    <a:pt x="304" y="897"/>
                  </a:lnTo>
                  <a:lnTo>
                    <a:pt x="305" y="898"/>
                  </a:lnTo>
                  <a:lnTo>
                    <a:pt x="305" y="900"/>
                  </a:lnTo>
                  <a:lnTo>
                    <a:pt x="307" y="900"/>
                  </a:lnTo>
                  <a:lnTo>
                    <a:pt x="307" y="901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8" y="903"/>
                  </a:lnTo>
                  <a:lnTo>
                    <a:pt x="308" y="903"/>
                  </a:lnTo>
                  <a:lnTo>
                    <a:pt x="310" y="903"/>
                  </a:lnTo>
                  <a:lnTo>
                    <a:pt x="310" y="903"/>
                  </a:lnTo>
                  <a:lnTo>
                    <a:pt x="313" y="907"/>
                  </a:lnTo>
                  <a:lnTo>
                    <a:pt x="314" y="909"/>
                  </a:lnTo>
                  <a:lnTo>
                    <a:pt x="314" y="910"/>
                  </a:lnTo>
                  <a:lnTo>
                    <a:pt x="313" y="912"/>
                  </a:lnTo>
                  <a:lnTo>
                    <a:pt x="313" y="912"/>
                  </a:lnTo>
                  <a:lnTo>
                    <a:pt x="313" y="914"/>
                  </a:lnTo>
                  <a:lnTo>
                    <a:pt x="313" y="915"/>
                  </a:lnTo>
                  <a:lnTo>
                    <a:pt x="314" y="915"/>
                  </a:lnTo>
                  <a:lnTo>
                    <a:pt x="314" y="917"/>
                  </a:lnTo>
                  <a:lnTo>
                    <a:pt x="314" y="917"/>
                  </a:lnTo>
                  <a:lnTo>
                    <a:pt x="316" y="917"/>
                  </a:lnTo>
                  <a:lnTo>
                    <a:pt x="316" y="915"/>
                  </a:lnTo>
                  <a:lnTo>
                    <a:pt x="317" y="915"/>
                  </a:lnTo>
                  <a:lnTo>
                    <a:pt x="317" y="917"/>
                  </a:lnTo>
                  <a:lnTo>
                    <a:pt x="317" y="917"/>
                  </a:lnTo>
                  <a:lnTo>
                    <a:pt x="319" y="915"/>
                  </a:lnTo>
                  <a:lnTo>
                    <a:pt x="319" y="915"/>
                  </a:lnTo>
                  <a:lnTo>
                    <a:pt x="322" y="914"/>
                  </a:lnTo>
                  <a:lnTo>
                    <a:pt x="324" y="915"/>
                  </a:lnTo>
                  <a:lnTo>
                    <a:pt x="324" y="917"/>
                  </a:lnTo>
                  <a:lnTo>
                    <a:pt x="322" y="921"/>
                  </a:lnTo>
                  <a:lnTo>
                    <a:pt x="322" y="921"/>
                  </a:lnTo>
                  <a:lnTo>
                    <a:pt x="322" y="923"/>
                  </a:lnTo>
                  <a:lnTo>
                    <a:pt x="322" y="923"/>
                  </a:lnTo>
                  <a:lnTo>
                    <a:pt x="322" y="923"/>
                  </a:lnTo>
                  <a:lnTo>
                    <a:pt x="320" y="924"/>
                  </a:lnTo>
                  <a:lnTo>
                    <a:pt x="320" y="924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7" y="926"/>
                  </a:lnTo>
                  <a:lnTo>
                    <a:pt x="328" y="924"/>
                  </a:lnTo>
                  <a:lnTo>
                    <a:pt x="331" y="923"/>
                  </a:lnTo>
                  <a:lnTo>
                    <a:pt x="333" y="921"/>
                  </a:lnTo>
                  <a:lnTo>
                    <a:pt x="334" y="920"/>
                  </a:lnTo>
                  <a:lnTo>
                    <a:pt x="336" y="917"/>
                  </a:lnTo>
                  <a:lnTo>
                    <a:pt x="336" y="915"/>
                  </a:lnTo>
                  <a:lnTo>
                    <a:pt x="336" y="915"/>
                  </a:lnTo>
                  <a:lnTo>
                    <a:pt x="337" y="915"/>
                  </a:lnTo>
                  <a:lnTo>
                    <a:pt x="339" y="914"/>
                  </a:lnTo>
                  <a:lnTo>
                    <a:pt x="340" y="912"/>
                  </a:lnTo>
                  <a:lnTo>
                    <a:pt x="340" y="910"/>
                  </a:lnTo>
                  <a:lnTo>
                    <a:pt x="342" y="907"/>
                  </a:lnTo>
                  <a:lnTo>
                    <a:pt x="342" y="906"/>
                  </a:lnTo>
                  <a:lnTo>
                    <a:pt x="342" y="904"/>
                  </a:lnTo>
                  <a:lnTo>
                    <a:pt x="340" y="903"/>
                  </a:lnTo>
                  <a:lnTo>
                    <a:pt x="340" y="903"/>
                  </a:lnTo>
                  <a:lnTo>
                    <a:pt x="339" y="901"/>
                  </a:lnTo>
                  <a:lnTo>
                    <a:pt x="340" y="897"/>
                  </a:lnTo>
                  <a:lnTo>
                    <a:pt x="340" y="897"/>
                  </a:lnTo>
                  <a:lnTo>
                    <a:pt x="340" y="895"/>
                  </a:lnTo>
                  <a:lnTo>
                    <a:pt x="339" y="894"/>
                  </a:lnTo>
                  <a:lnTo>
                    <a:pt x="339" y="894"/>
                  </a:lnTo>
                  <a:lnTo>
                    <a:pt x="340" y="892"/>
                  </a:lnTo>
                  <a:lnTo>
                    <a:pt x="342" y="892"/>
                  </a:lnTo>
                  <a:lnTo>
                    <a:pt x="342" y="892"/>
                  </a:lnTo>
                  <a:lnTo>
                    <a:pt x="342" y="892"/>
                  </a:lnTo>
                  <a:lnTo>
                    <a:pt x="342" y="894"/>
                  </a:lnTo>
                  <a:lnTo>
                    <a:pt x="342" y="894"/>
                  </a:lnTo>
                  <a:lnTo>
                    <a:pt x="342" y="894"/>
                  </a:lnTo>
                  <a:lnTo>
                    <a:pt x="342" y="895"/>
                  </a:lnTo>
                  <a:lnTo>
                    <a:pt x="342" y="897"/>
                  </a:lnTo>
                  <a:lnTo>
                    <a:pt x="342" y="897"/>
                  </a:lnTo>
                  <a:lnTo>
                    <a:pt x="344" y="897"/>
                  </a:lnTo>
                  <a:lnTo>
                    <a:pt x="344" y="897"/>
                  </a:lnTo>
                  <a:lnTo>
                    <a:pt x="347" y="898"/>
                  </a:lnTo>
                  <a:lnTo>
                    <a:pt x="348" y="898"/>
                  </a:lnTo>
                  <a:lnTo>
                    <a:pt x="350" y="897"/>
                  </a:lnTo>
                  <a:lnTo>
                    <a:pt x="351" y="895"/>
                  </a:lnTo>
                  <a:lnTo>
                    <a:pt x="351" y="894"/>
                  </a:lnTo>
                  <a:lnTo>
                    <a:pt x="353" y="894"/>
                  </a:lnTo>
                  <a:lnTo>
                    <a:pt x="364" y="898"/>
                  </a:lnTo>
                  <a:lnTo>
                    <a:pt x="364" y="898"/>
                  </a:lnTo>
                  <a:lnTo>
                    <a:pt x="364" y="898"/>
                  </a:lnTo>
                  <a:lnTo>
                    <a:pt x="364" y="900"/>
                  </a:lnTo>
                  <a:lnTo>
                    <a:pt x="365" y="900"/>
                  </a:lnTo>
                  <a:lnTo>
                    <a:pt x="367" y="900"/>
                  </a:lnTo>
                  <a:lnTo>
                    <a:pt x="370" y="898"/>
                  </a:lnTo>
                  <a:lnTo>
                    <a:pt x="371" y="898"/>
                  </a:lnTo>
                  <a:lnTo>
                    <a:pt x="371" y="898"/>
                  </a:lnTo>
                  <a:lnTo>
                    <a:pt x="373" y="898"/>
                  </a:lnTo>
                  <a:lnTo>
                    <a:pt x="374" y="900"/>
                  </a:lnTo>
                  <a:lnTo>
                    <a:pt x="374" y="900"/>
                  </a:lnTo>
                  <a:lnTo>
                    <a:pt x="371" y="901"/>
                  </a:lnTo>
                  <a:lnTo>
                    <a:pt x="371" y="903"/>
                  </a:lnTo>
                  <a:lnTo>
                    <a:pt x="376" y="904"/>
                  </a:lnTo>
                  <a:lnTo>
                    <a:pt x="379" y="909"/>
                  </a:lnTo>
                  <a:lnTo>
                    <a:pt x="381" y="909"/>
                  </a:lnTo>
                  <a:lnTo>
                    <a:pt x="381" y="909"/>
                  </a:lnTo>
                  <a:lnTo>
                    <a:pt x="379" y="910"/>
                  </a:lnTo>
                  <a:lnTo>
                    <a:pt x="379" y="910"/>
                  </a:lnTo>
                  <a:lnTo>
                    <a:pt x="379" y="910"/>
                  </a:lnTo>
                  <a:lnTo>
                    <a:pt x="381" y="912"/>
                  </a:lnTo>
                  <a:lnTo>
                    <a:pt x="381" y="914"/>
                  </a:lnTo>
                  <a:lnTo>
                    <a:pt x="388" y="914"/>
                  </a:lnTo>
                  <a:lnTo>
                    <a:pt x="390" y="912"/>
                  </a:lnTo>
                  <a:lnTo>
                    <a:pt x="394" y="909"/>
                  </a:lnTo>
                  <a:lnTo>
                    <a:pt x="397" y="909"/>
                  </a:lnTo>
                  <a:lnTo>
                    <a:pt x="399" y="909"/>
                  </a:lnTo>
                  <a:lnTo>
                    <a:pt x="399" y="912"/>
                  </a:lnTo>
                  <a:lnTo>
                    <a:pt x="401" y="912"/>
                  </a:lnTo>
                  <a:lnTo>
                    <a:pt x="402" y="912"/>
                  </a:lnTo>
                  <a:lnTo>
                    <a:pt x="404" y="910"/>
                  </a:lnTo>
                  <a:lnTo>
                    <a:pt x="404" y="909"/>
                  </a:lnTo>
                  <a:lnTo>
                    <a:pt x="405" y="907"/>
                  </a:lnTo>
                  <a:lnTo>
                    <a:pt x="407" y="907"/>
                  </a:lnTo>
                  <a:lnTo>
                    <a:pt x="410" y="907"/>
                  </a:lnTo>
                  <a:lnTo>
                    <a:pt x="411" y="907"/>
                  </a:lnTo>
                  <a:lnTo>
                    <a:pt x="411" y="906"/>
                  </a:lnTo>
                  <a:lnTo>
                    <a:pt x="411" y="906"/>
                  </a:lnTo>
                  <a:lnTo>
                    <a:pt x="411" y="904"/>
                  </a:lnTo>
                  <a:lnTo>
                    <a:pt x="410" y="904"/>
                  </a:lnTo>
                  <a:lnTo>
                    <a:pt x="413" y="900"/>
                  </a:lnTo>
                  <a:lnTo>
                    <a:pt x="414" y="900"/>
                  </a:lnTo>
                  <a:lnTo>
                    <a:pt x="417" y="900"/>
                  </a:lnTo>
                  <a:lnTo>
                    <a:pt x="419" y="901"/>
                  </a:lnTo>
                  <a:lnTo>
                    <a:pt x="422" y="900"/>
                  </a:lnTo>
                  <a:lnTo>
                    <a:pt x="424" y="900"/>
                  </a:lnTo>
                  <a:lnTo>
                    <a:pt x="425" y="898"/>
                  </a:lnTo>
                  <a:lnTo>
                    <a:pt x="425" y="897"/>
                  </a:lnTo>
                  <a:lnTo>
                    <a:pt x="425" y="895"/>
                  </a:lnTo>
                  <a:lnTo>
                    <a:pt x="427" y="894"/>
                  </a:lnTo>
                  <a:lnTo>
                    <a:pt x="428" y="892"/>
                  </a:lnTo>
                  <a:lnTo>
                    <a:pt x="428" y="890"/>
                  </a:lnTo>
                  <a:lnTo>
                    <a:pt x="430" y="890"/>
                  </a:lnTo>
                  <a:lnTo>
                    <a:pt x="433" y="892"/>
                  </a:lnTo>
                  <a:lnTo>
                    <a:pt x="439" y="892"/>
                  </a:lnTo>
                  <a:lnTo>
                    <a:pt x="444" y="892"/>
                  </a:lnTo>
                  <a:lnTo>
                    <a:pt x="444" y="892"/>
                  </a:lnTo>
                  <a:lnTo>
                    <a:pt x="445" y="890"/>
                  </a:lnTo>
                  <a:lnTo>
                    <a:pt x="447" y="890"/>
                  </a:lnTo>
                  <a:lnTo>
                    <a:pt x="453" y="889"/>
                  </a:lnTo>
                  <a:lnTo>
                    <a:pt x="470" y="889"/>
                  </a:lnTo>
                  <a:lnTo>
                    <a:pt x="470" y="889"/>
                  </a:lnTo>
                  <a:lnTo>
                    <a:pt x="471" y="887"/>
                  </a:lnTo>
                  <a:lnTo>
                    <a:pt x="473" y="886"/>
                  </a:lnTo>
                  <a:lnTo>
                    <a:pt x="473" y="884"/>
                  </a:lnTo>
                  <a:lnTo>
                    <a:pt x="473" y="883"/>
                  </a:lnTo>
                  <a:lnTo>
                    <a:pt x="471" y="881"/>
                  </a:lnTo>
                  <a:lnTo>
                    <a:pt x="471" y="881"/>
                  </a:lnTo>
                  <a:lnTo>
                    <a:pt x="471" y="881"/>
                  </a:lnTo>
                  <a:lnTo>
                    <a:pt x="470" y="880"/>
                  </a:lnTo>
                  <a:lnTo>
                    <a:pt x="470" y="880"/>
                  </a:lnTo>
                  <a:lnTo>
                    <a:pt x="470" y="878"/>
                  </a:lnTo>
                  <a:lnTo>
                    <a:pt x="471" y="878"/>
                  </a:lnTo>
                  <a:lnTo>
                    <a:pt x="473" y="877"/>
                  </a:lnTo>
                  <a:lnTo>
                    <a:pt x="474" y="877"/>
                  </a:lnTo>
                  <a:lnTo>
                    <a:pt x="474" y="875"/>
                  </a:lnTo>
                  <a:lnTo>
                    <a:pt x="474" y="875"/>
                  </a:lnTo>
                  <a:lnTo>
                    <a:pt x="474" y="877"/>
                  </a:lnTo>
                  <a:lnTo>
                    <a:pt x="474" y="877"/>
                  </a:lnTo>
                  <a:lnTo>
                    <a:pt x="474" y="878"/>
                  </a:lnTo>
                  <a:lnTo>
                    <a:pt x="474" y="878"/>
                  </a:lnTo>
                  <a:lnTo>
                    <a:pt x="473" y="880"/>
                  </a:lnTo>
                  <a:lnTo>
                    <a:pt x="474" y="881"/>
                  </a:lnTo>
                  <a:lnTo>
                    <a:pt x="474" y="881"/>
                  </a:lnTo>
                  <a:lnTo>
                    <a:pt x="476" y="881"/>
                  </a:lnTo>
                  <a:lnTo>
                    <a:pt x="478" y="880"/>
                  </a:lnTo>
                  <a:lnTo>
                    <a:pt x="479" y="880"/>
                  </a:lnTo>
                  <a:lnTo>
                    <a:pt x="484" y="881"/>
                  </a:lnTo>
                  <a:lnTo>
                    <a:pt x="484" y="881"/>
                  </a:lnTo>
                  <a:lnTo>
                    <a:pt x="487" y="880"/>
                  </a:lnTo>
                  <a:lnTo>
                    <a:pt x="488" y="880"/>
                  </a:lnTo>
                  <a:lnTo>
                    <a:pt x="488" y="881"/>
                  </a:lnTo>
                  <a:lnTo>
                    <a:pt x="490" y="883"/>
                  </a:lnTo>
                  <a:lnTo>
                    <a:pt x="490" y="884"/>
                  </a:lnTo>
                  <a:lnTo>
                    <a:pt x="491" y="884"/>
                  </a:lnTo>
                  <a:lnTo>
                    <a:pt x="493" y="886"/>
                  </a:lnTo>
                  <a:lnTo>
                    <a:pt x="494" y="887"/>
                  </a:lnTo>
                  <a:lnTo>
                    <a:pt x="496" y="887"/>
                  </a:lnTo>
                  <a:lnTo>
                    <a:pt x="498" y="886"/>
                  </a:lnTo>
                  <a:lnTo>
                    <a:pt x="498" y="886"/>
                  </a:lnTo>
                  <a:lnTo>
                    <a:pt x="499" y="886"/>
                  </a:lnTo>
                  <a:lnTo>
                    <a:pt x="502" y="883"/>
                  </a:lnTo>
                  <a:lnTo>
                    <a:pt x="504" y="883"/>
                  </a:lnTo>
                  <a:lnTo>
                    <a:pt x="505" y="881"/>
                  </a:lnTo>
                  <a:lnTo>
                    <a:pt x="508" y="881"/>
                  </a:lnTo>
                  <a:lnTo>
                    <a:pt x="513" y="883"/>
                  </a:lnTo>
                  <a:lnTo>
                    <a:pt x="513" y="883"/>
                  </a:lnTo>
                  <a:lnTo>
                    <a:pt x="513" y="884"/>
                  </a:lnTo>
                  <a:lnTo>
                    <a:pt x="515" y="886"/>
                  </a:lnTo>
                  <a:lnTo>
                    <a:pt x="516" y="887"/>
                  </a:lnTo>
                  <a:lnTo>
                    <a:pt x="518" y="889"/>
                  </a:lnTo>
                  <a:lnTo>
                    <a:pt x="516" y="890"/>
                  </a:lnTo>
                  <a:lnTo>
                    <a:pt x="515" y="892"/>
                  </a:lnTo>
                  <a:lnTo>
                    <a:pt x="515" y="895"/>
                  </a:lnTo>
                  <a:lnTo>
                    <a:pt x="518" y="897"/>
                  </a:lnTo>
                  <a:lnTo>
                    <a:pt x="518" y="897"/>
                  </a:lnTo>
                  <a:lnTo>
                    <a:pt x="519" y="897"/>
                  </a:lnTo>
                  <a:lnTo>
                    <a:pt x="519" y="898"/>
                  </a:lnTo>
                  <a:lnTo>
                    <a:pt x="522" y="901"/>
                  </a:lnTo>
                  <a:lnTo>
                    <a:pt x="527" y="904"/>
                  </a:lnTo>
                  <a:lnTo>
                    <a:pt x="527" y="904"/>
                  </a:lnTo>
                  <a:lnTo>
                    <a:pt x="528" y="904"/>
                  </a:lnTo>
                  <a:lnTo>
                    <a:pt x="528" y="904"/>
                  </a:lnTo>
                  <a:lnTo>
                    <a:pt x="530" y="904"/>
                  </a:lnTo>
                  <a:lnTo>
                    <a:pt x="530" y="904"/>
                  </a:lnTo>
                  <a:lnTo>
                    <a:pt x="530" y="904"/>
                  </a:lnTo>
                  <a:lnTo>
                    <a:pt x="531" y="904"/>
                  </a:lnTo>
                  <a:lnTo>
                    <a:pt x="531" y="904"/>
                  </a:lnTo>
                  <a:lnTo>
                    <a:pt x="531" y="904"/>
                  </a:lnTo>
                  <a:lnTo>
                    <a:pt x="535" y="901"/>
                  </a:lnTo>
                  <a:lnTo>
                    <a:pt x="535" y="901"/>
                  </a:lnTo>
                  <a:lnTo>
                    <a:pt x="535" y="900"/>
                  </a:lnTo>
                  <a:lnTo>
                    <a:pt x="535" y="900"/>
                  </a:lnTo>
                  <a:lnTo>
                    <a:pt x="533" y="900"/>
                  </a:lnTo>
                  <a:lnTo>
                    <a:pt x="533" y="898"/>
                  </a:lnTo>
                  <a:lnTo>
                    <a:pt x="533" y="897"/>
                  </a:lnTo>
                  <a:lnTo>
                    <a:pt x="533" y="897"/>
                  </a:lnTo>
                  <a:lnTo>
                    <a:pt x="535" y="895"/>
                  </a:lnTo>
                  <a:lnTo>
                    <a:pt x="535" y="894"/>
                  </a:lnTo>
                  <a:lnTo>
                    <a:pt x="535" y="894"/>
                  </a:lnTo>
                  <a:lnTo>
                    <a:pt x="535" y="892"/>
                  </a:lnTo>
                  <a:lnTo>
                    <a:pt x="535" y="892"/>
                  </a:lnTo>
                  <a:lnTo>
                    <a:pt x="536" y="890"/>
                  </a:lnTo>
                  <a:lnTo>
                    <a:pt x="536" y="890"/>
                  </a:lnTo>
                  <a:lnTo>
                    <a:pt x="536" y="887"/>
                  </a:lnTo>
                  <a:lnTo>
                    <a:pt x="536" y="887"/>
                  </a:lnTo>
                  <a:lnTo>
                    <a:pt x="538" y="886"/>
                  </a:lnTo>
                  <a:lnTo>
                    <a:pt x="538" y="884"/>
                  </a:lnTo>
                  <a:lnTo>
                    <a:pt x="536" y="883"/>
                  </a:lnTo>
                  <a:lnTo>
                    <a:pt x="536" y="881"/>
                  </a:lnTo>
                  <a:lnTo>
                    <a:pt x="535" y="880"/>
                  </a:lnTo>
                  <a:lnTo>
                    <a:pt x="535" y="878"/>
                  </a:lnTo>
                  <a:lnTo>
                    <a:pt x="533" y="878"/>
                  </a:lnTo>
                  <a:lnTo>
                    <a:pt x="531" y="877"/>
                  </a:lnTo>
                  <a:lnTo>
                    <a:pt x="530" y="878"/>
                  </a:lnTo>
                  <a:lnTo>
                    <a:pt x="528" y="878"/>
                  </a:lnTo>
                  <a:lnTo>
                    <a:pt x="525" y="878"/>
                  </a:lnTo>
                  <a:lnTo>
                    <a:pt x="524" y="877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2"/>
                  </a:lnTo>
                  <a:lnTo>
                    <a:pt x="525" y="872"/>
                  </a:lnTo>
                  <a:lnTo>
                    <a:pt x="525" y="872"/>
                  </a:lnTo>
                  <a:lnTo>
                    <a:pt x="525" y="870"/>
                  </a:lnTo>
                  <a:lnTo>
                    <a:pt x="531" y="863"/>
                  </a:lnTo>
                  <a:lnTo>
                    <a:pt x="530" y="863"/>
                  </a:lnTo>
                  <a:lnTo>
                    <a:pt x="528" y="860"/>
                  </a:lnTo>
                  <a:lnTo>
                    <a:pt x="527" y="853"/>
                  </a:lnTo>
                  <a:lnTo>
                    <a:pt x="525" y="853"/>
                  </a:lnTo>
                  <a:lnTo>
                    <a:pt x="524" y="852"/>
                  </a:lnTo>
                  <a:lnTo>
                    <a:pt x="522" y="850"/>
                  </a:lnTo>
                  <a:lnTo>
                    <a:pt x="521" y="850"/>
                  </a:lnTo>
                  <a:lnTo>
                    <a:pt x="521" y="849"/>
                  </a:lnTo>
                  <a:lnTo>
                    <a:pt x="521" y="847"/>
                  </a:lnTo>
                  <a:lnTo>
                    <a:pt x="521" y="847"/>
                  </a:lnTo>
                  <a:lnTo>
                    <a:pt x="521" y="846"/>
                  </a:lnTo>
                  <a:lnTo>
                    <a:pt x="519" y="844"/>
                  </a:lnTo>
                  <a:lnTo>
                    <a:pt x="513" y="838"/>
                  </a:lnTo>
                  <a:lnTo>
                    <a:pt x="513" y="838"/>
                  </a:lnTo>
                  <a:lnTo>
                    <a:pt x="513" y="837"/>
                  </a:lnTo>
                  <a:lnTo>
                    <a:pt x="511" y="835"/>
                  </a:lnTo>
                  <a:lnTo>
                    <a:pt x="511" y="833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5" y="832"/>
                  </a:lnTo>
                  <a:lnTo>
                    <a:pt x="515" y="830"/>
                  </a:lnTo>
                  <a:lnTo>
                    <a:pt x="515" y="830"/>
                  </a:lnTo>
                  <a:lnTo>
                    <a:pt x="518" y="827"/>
                  </a:lnTo>
                  <a:lnTo>
                    <a:pt x="519" y="827"/>
                  </a:lnTo>
                  <a:lnTo>
                    <a:pt x="521" y="824"/>
                  </a:lnTo>
                  <a:lnTo>
                    <a:pt x="521" y="824"/>
                  </a:lnTo>
                  <a:lnTo>
                    <a:pt x="522" y="823"/>
                  </a:lnTo>
                  <a:lnTo>
                    <a:pt x="527" y="823"/>
                  </a:lnTo>
                  <a:lnTo>
                    <a:pt x="527" y="823"/>
                  </a:lnTo>
                  <a:lnTo>
                    <a:pt x="527" y="821"/>
                  </a:lnTo>
                  <a:lnTo>
                    <a:pt x="530" y="820"/>
                  </a:lnTo>
                  <a:lnTo>
                    <a:pt x="533" y="818"/>
                  </a:lnTo>
                  <a:lnTo>
                    <a:pt x="535" y="817"/>
                  </a:lnTo>
                  <a:lnTo>
                    <a:pt x="542" y="813"/>
                  </a:lnTo>
                  <a:lnTo>
                    <a:pt x="551" y="812"/>
                  </a:lnTo>
                  <a:lnTo>
                    <a:pt x="555" y="810"/>
                  </a:lnTo>
                  <a:lnTo>
                    <a:pt x="562" y="804"/>
                  </a:lnTo>
                  <a:lnTo>
                    <a:pt x="562" y="803"/>
                  </a:lnTo>
                  <a:lnTo>
                    <a:pt x="564" y="800"/>
                  </a:lnTo>
                  <a:lnTo>
                    <a:pt x="564" y="800"/>
                  </a:lnTo>
                  <a:lnTo>
                    <a:pt x="564" y="798"/>
                  </a:lnTo>
                  <a:lnTo>
                    <a:pt x="564" y="798"/>
                  </a:lnTo>
                  <a:lnTo>
                    <a:pt x="564" y="797"/>
                  </a:lnTo>
                  <a:lnTo>
                    <a:pt x="564" y="793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5" y="789"/>
                  </a:lnTo>
                  <a:lnTo>
                    <a:pt x="565" y="789"/>
                  </a:lnTo>
                  <a:lnTo>
                    <a:pt x="565" y="787"/>
                  </a:lnTo>
                  <a:lnTo>
                    <a:pt x="565" y="786"/>
                  </a:lnTo>
                  <a:lnTo>
                    <a:pt x="564" y="784"/>
                  </a:lnTo>
                  <a:lnTo>
                    <a:pt x="564" y="784"/>
                  </a:lnTo>
                  <a:lnTo>
                    <a:pt x="564" y="783"/>
                  </a:lnTo>
                  <a:lnTo>
                    <a:pt x="565" y="783"/>
                  </a:lnTo>
                  <a:lnTo>
                    <a:pt x="565" y="781"/>
                  </a:lnTo>
                  <a:lnTo>
                    <a:pt x="568" y="781"/>
                  </a:lnTo>
                  <a:lnTo>
                    <a:pt x="570" y="781"/>
                  </a:lnTo>
                  <a:lnTo>
                    <a:pt x="578" y="783"/>
                  </a:lnTo>
                  <a:lnTo>
                    <a:pt x="579" y="784"/>
                  </a:lnTo>
                  <a:lnTo>
                    <a:pt x="581" y="784"/>
                  </a:lnTo>
                  <a:lnTo>
                    <a:pt x="582" y="786"/>
                  </a:lnTo>
                  <a:lnTo>
                    <a:pt x="585" y="787"/>
                  </a:lnTo>
                  <a:lnTo>
                    <a:pt x="585" y="787"/>
                  </a:lnTo>
                  <a:lnTo>
                    <a:pt x="585" y="784"/>
                  </a:lnTo>
                  <a:lnTo>
                    <a:pt x="585" y="783"/>
                  </a:lnTo>
                  <a:lnTo>
                    <a:pt x="587" y="783"/>
                  </a:lnTo>
                  <a:lnTo>
                    <a:pt x="588" y="783"/>
                  </a:lnTo>
                  <a:lnTo>
                    <a:pt x="588" y="783"/>
                  </a:lnTo>
                  <a:lnTo>
                    <a:pt x="588" y="783"/>
                  </a:lnTo>
                  <a:lnTo>
                    <a:pt x="590" y="781"/>
                  </a:lnTo>
                  <a:lnTo>
                    <a:pt x="590" y="780"/>
                  </a:lnTo>
                  <a:lnTo>
                    <a:pt x="592" y="778"/>
                  </a:lnTo>
                  <a:lnTo>
                    <a:pt x="592" y="776"/>
                  </a:lnTo>
                  <a:lnTo>
                    <a:pt x="592" y="773"/>
                  </a:lnTo>
                  <a:lnTo>
                    <a:pt x="592" y="770"/>
                  </a:lnTo>
                  <a:lnTo>
                    <a:pt x="592" y="769"/>
                  </a:lnTo>
                  <a:lnTo>
                    <a:pt x="592" y="769"/>
                  </a:lnTo>
                  <a:lnTo>
                    <a:pt x="592" y="767"/>
                  </a:lnTo>
                  <a:lnTo>
                    <a:pt x="592" y="767"/>
                  </a:lnTo>
                  <a:lnTo>
                    <a:pt x="590" y="766"/>
                  </a:lnTo>
                  <a:lnTo>
                    <a:pt x="590" y="766"/>
                  </a:lnTo>
                  <a:lnTo>
                    <a:pt x="590" y="764"/>
                  </a:lnTo>
                  <a:lnTo>
                    <a:pt x="592" y="760"/>
                  </a:lnTo>
                  <a:lnTo>
                    <a:pt x="590" y="758"/>
                  </a:lnTo>
                  <a:lnTo>
                    <a:pt x="587" y="752"/>
                  </a:lnTo>
                  <a:lnTo>
                    <a:pt x="585" y="749"/>
                  </a:lnTo>
                  <a:lnTo>
                    <a:pt x="584" y="749"/>
                  </a:lnTo>
                  <a:lnTo>
                    <a:pt x="582" y="747"/>
                  </a:lnTo>
                  <a:lnTo>
                    <a:pt x="581" y="747"/>
                  </a:lnTo>
                  <a:lnTo>
                    <a:pt x="579" y="746"/>
                  </a:lnTo>
                  <a:lnTo>
                    <a:pt x="578" y="744"/>
                  </a:lnTo>
                  <a:lnTo>
                    <a:pt x="578" y="743"/>
                  </a:lnTo>
                  <a:lnTo>
                    <a:pt x="576" y="740"/>
                  </a:lnTo>
                  <a:lnTo>
                    <a:pt x="576" y="740"/>
                  </a:lnTo>
                  <a:lnTo>
                    <a:pt x="575" y="740"/>
                  </a:lnTo>
                  <a:lnTo>
                    <a:pt x="573" y="738"/>
                  </a:lnTo>
                  <a:lnTo>
                    <a:pt x="572" y="738"/>
                  </a:lnTo>
                  <a:lnTo>
                    <a:pt x="570" y="738"/>
                  </a:lnTo>
                  <a:lnTo>
                    <a:pt x="570" y="736"/>
                  </a:lnTo>
                  <a:lnTo>
                    <a:pt x="568" y="738"/>
                  </a:lnTo>
                  <a:lnTo>
                    <a:pt x="568" y="740"/>
                  </a:lnTo>
                  <a:lnTo>
                    <a:pt x="567" y="741"/>
                  </a:lnTo>
                  <a:lnTo>
                    <a:pt x="565" y="740"/>
                  </a:lnTo>
                  <a:lnTo>
                    <a:pt x="564" y="738"/>
                  </a:lnTo>
                  <a:lnTo>
                    <a:pt x="561" y="736"/>
                  </a:lnTo>
                  <a:lnTo>
                    <a:pt x="561" y="735"/>
                  </a:lnTo>
                  <a:lnTo>
                    <a:pt x="561" y="732"/>
                  </a:lnTo>
                  <a:lnTo>
                    <a:pt x="559" y="729"/>
                  </a:lnTo>
                  <a:lnTo>
                    <a:pt x="556" y="726"/>
                  </a:lnTo>
                  <a:lnTo>
                    <a:pt x="553" y="723"/>
                  </a:lnTo>
                  <a:lnTo>
                    <a:pt x="553" y="723"/>
                  </a:lnTo>
                  <a:lnTo>
                    <a:pt x="551" y="721"/>
                  </a:lnTo>
                  <a:lnTo>
                    <a:pt x="547" y="721"/>
                  </a:lnTo>
                  <a:lnTo>
                    <a:pt x="545" y="721"/>
                  </a:lnTo>
                  <a:lnTo>
                    <a:pt x="544" y="718"/>
                  </a:lnTo>
                  <a:lnTo>
                    <a:pt x="542" y="716"/>
                  </a:lnTo>
                  <a:lnTo>
                    <a:pt x="536" y="707"/>
                  </a:lnTo>
                  <a:lnTo>
                    <a:pt x="535" y="706"/>
                  </a:lnTo>
                  <a:lnTo>
                    <a:pt x="535" y="706"/>
                  </a:lnTo>
                  <a:lnTo>
                    <a:pt x="535" y="706"/>
                  </a:lnTo>
                  <a:lnTo>
                    <a:pt x="533" y="704"/>
                  </a:lnTo>
                  <a:lnTo>
                    <a:pt x="531" y="703"/>
                  </a:lnTo>
                  <a:lnTo>
                    <a:pt x="531" y="701"/>
                  </a:lnTo>
                  <a:lnTo>
                    <a:pt x="531" y="701"/>
                  </a:lnTo>
                  <a:lnTo>
                    <a:pt x="530" y="699"/>
                  </a:lnTo>
                  <a:lnTo>
                    <a:pt x="528" y="698"/>
                  </a:lnTo>
                  <a:lnTo>
                    <a:pt x="527" y="696"/>
                  </a:lnTo>
                  <a:lnTo>
                    <a:pt x="525" y="696"/>
                  </a:lnTo>
                  <a:lnTo>
                    <a:pt x="522" y="695"/>
                  </a:lnTo>
                  <a:lnTo>
                    <a:pt x="522" y="695"/>
                  </a:lnTo>
                  <a:lnTo>
                    <a:pt x="522" y="696"/>
                  </a:lnTo>
                  <a:lnTo>
                    <a:pt x="521" y="698"/>
                  </a:lnTo>
                  <a:lnTo>
                    <a:pt x="516" y="696"/>
                  </a:lnTo>
                  <a:lnTo>
                    <a:pt x="515" y="696"/>
                  </a:lnTo>
                  <a:lnTo>
                    <a:pt x="515" y="695"/>
                  </a:lnTo>
                  <a:lnTo>
                    <a:pt x="511" y="689"/>
                  </a:lnTo>
                  <a:lnTo>
                    <a:pt x="510" y="687"/>
                  </a:lnTo>
                  <a:lnTo>
                    <a:pt x="507" y="686"/>
                  </a:lnTo>
                  <a:lnTo>
                    <a:pt x="505" y="686"/>
                  </a:lnTo>
                  <a:lnTo>
                    <a:pt x="504" y="683"/>
                  </a:lnTo>
                  <a:lnTo>
                    <a:pt x="504" y="681"/>
                  </a:lnTo>
                  <a:lnTo>
                    <a:pt x="504" y="678"/>
                  </a:lnTo>
                  <a:lnTo>
                    <a:pt x="504" y="676"/>
                  </a:lnTo>
                  <a:lnTo>
                    <a:pt x="502" y="675"/>
                  </a:lnTo>
                  <a:lnTo>
                    <a:pt x="502" y="675"/>
                  </a:lnTo>
                  <a:lnTo>
                    <a:pt x="501" y="675"/>
                  </a:lnTo>
                  <a:lnTo>
                    <a:pt x="501" y="675"/>
                  </a:lnTo>
                  <a:lnTo>
                    <a:pt x="499" y="673"/>
                  </a:lnTo>
                  <a:lnTo>
                    <a:pt x="499" y="672"/>
                  </a:lnTo>
                  <a:lnTo>
                    <a:pt x="499" y="672"/>
                  </a:lnTo>
                  <a:lnTo>
                    <a:pt x="499" y="670"/>
                  </a:lnTo>
                  <a:lnTo>
                    <a:pt x="498" y="667"/>
                  </a:lnTo>
                  <a:lnTo>
                    <a:pt x="498" y="666"/>
                  </a:lnTo>
                  <a:lnTo>
                    <a:pt x="498" y="666"/>
                  </a:lnTo>
                  <a:lnTo>
                    <a:pt x="494" y="664"/>
                  </a:lnTo>
                  <a:lnTo>
                    <a:pt x="494" y="663"/>
                  </a:lnTo>
                  <a:lnTo>
                    <a:pt x="494" y="663"/>
                  </a:lnTo>
                  <a:lnTo>
                    <a:pt x="494" y="663"/>
                  </a:lnTo>
                  <a:lnTo>
                    <a:pt x="494" y="661"/>
                  </a:lnTo>
                  <a:lnTo>
                    <a:pt x="494" y="661"/>
                  </a:lnTo>
                  <a:lnTo>
                    <a:pt x="494" y="659"/>
                  </a:lnTo>
                  <a:lnTo>
                    <a:pt x="494" y="658"/>
                  </a:lnTo>
                  <a:lnTo>
                    <a:pt x="494" y="658"/>
                  </a:lnTo>
                  <a:lnTo>
                    <a:pt x="493" y="656"/>
                  </a:lnTo>
                  <a:lnTo>
                    <a:pt x="490" y="656"/>
                  </a:lnTo>
                  <a:lnTo>
                    <a:pt x="490" y="655"/>
                  </a:lnTo>
                  <a:lnTo>
                    <a:pt x="488" y="653"/>
                  </a:lnTo>
                  <a:lnTo>
                    <a:pt x="487" y="652"/>
                  </a:lnTo>
                  <a:lnTo>
                    <a:pt x="485" y="650"/>
                  </a:lnTo>
                  <a:lnTo>
                    <a:pt x="485" y="649"/>
                  </a:lnTo>
                  <a:lnTo>
                    <a:pt x="487" y="647"/>
                  </a:lnTo>
                  <a:lnTo>
                    <a:pt x="490" y="646"/>
                  </a:lnTo>
                  <a:lnTo>
                    <a:pt x="491" y="646"/>
                  </a:lnTo>
                  <a:lnTo>
                    <a:pt x="491" y="643"/>
                  </a:lnTo>
                  <a:lnTo>
                    <a:pt x="491" y="641"/>
                  </a:lnTo>
                  <a:lnTo>
                    <a:pt x="491" y="639"/>
                  </a:lnTo>
                  <a:lnTo>
                    <a:pt x="493" y="639"/>
                  </a:lnTo>
                  <a:lnTo>
                    <a:pt x="493" y="638"/>
                  </a:lnTo>
                  <a:lnTo>
                    <a:pt x="494" y="635"/>
                  </a:lnTo>
                  <a:lnTo>
                    <a:pt x="496" y="633"/>
                  </a:lnTo>
                  <a:lnTo>
                    <a:pt x="496" y="630"/>
                  </a:lnTo>
                  <a:lnTo>
                    <a:pt x="496" y="630"/>
                  </a:lnTo>
                  <a:lnTo>
                    <a:pt x="494" y="629"/>
                  </a:lnTo>
                  <a:lnTo>
                    <a:pt x="491" y="627"/>
                  </a:lnTo>
                  <a:lnTo>
                    <a:pt x="491" y="626"/>
                  </a:lnTo>
                  <a:lnTo>
                    <a:pt x="491" y="624"/>
                  </a:lnTo>
                  <a:lnTo>
                    <a:pt x="491" y="622"/>
                  </a:lnTo>
                  <a:lnTo>
                    <a:pt x="490" y="621"/>
                  </a:lnTo>
                  <a:lnTo>
                    <a:pt x="488" y="621"/>
                  </a:lnTo>
                  <a:lnTo>
                    <a:pt x="487" y="621"/>
                  </a:lnTo>
                  <a:lnTo>
                    <a:pt x="487" y="621"/>
                  </a:lnTo>
                  <a:lnTo>
                    <a:pt x="476" y="615"/>
                  </a:lnTo>
                  <a:lnTo>
                    <a:pt x="474" y="613"/>
                  </a:lnTo>
                  <a:lnTo>
                    <a:pt x="474" y="612"/>
                  </a:lnTo>
                  <a:lnTo>
                    <a:pt x="474" y="612"/>
                  </a:lnTo>
                  <a:lnTo>
                    <a:pt x="474" y="610"/>
                  </a:lnTo>
                  <a:lnTo>
                    <a:pt x="473" y="609"/>
                  </a:lnTo>
                  <a:lnTo>
                    <a:pt x="471" y="609"/>
                  </a:lnTo>
                  <a:lnTo>
                    <a:pt x="471" y="607"/>
                  </a:lnTo>
                  <a:lnTo>
                    <a:pt x="470" y="606"/>
                  </a:lnTo>
                  <a:lnTo>
                    <a:pt x="470" y="604"/>
                  </a:lnTo>
                  <a:lnTo>
                    <a:pt x="471" y="601"/>
                  </a:lnTo>
                  <a:lnTo>
                    <a:pt x="470" y="599"/>
                  </a:lnTo>
                  <a:lnTo>
                    <a:pt x="470" y="598"/>
                  </a:lnTo>
                  <a:lnTo>
                    <a:pt x="470" y="596"/>
                  </a:lnTo>
                  <a:lnTo>
                    <a:pt x="467" y="595"/>
                  </a:lnTo>
                  <a:lnTo>
                    <a:pt x="464" y="593"/>
                  </a:lnTo>
                  <a:lnTo>
                    <a:pt x="464" y="592"/>
                  </a:lnTo>
                  <a:lnTo>
                    <a:pt x="464" y="590"/>
                  </a:lnTo>
                  <a:lnTo>
                    <a:pt x="465" y="590"/>
                  </a:lnTo>
                  <a:lnTo>
                    <a:pt x="465" y="589"/>
                  </a:lnTo>
                  <a:lnTo>
                    <a:pt x="465" y="587"/>
                  </a:lnTo>
                  <a:lnTo>
                    <a:pt x="465" y="586"/>
                  </a:lnTo>
                  <a:lnTo>
                    <a:pt x="464" y="584"/>
                  </a:lnTo>
                  <a:lnTo>
                    <a:pt x="462" y="582"/>
                  </a:lnTo>
                  <a:lnTo>
                    <a:pt x="465" y="582"/>
                  </a:lnTo>
                  <a:lnTo>
                    <a:pt x="468" y="584"/>
                  </a:lnTo>
                  <a:lnTo>
                    <a:pt x="470" y="584"/>
                  </a:lnTo>
                  <a:lnTo>
                    <a:pt x="470" y="586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1" y="589"/>
                  </a:lnTo>
                  <a:lnTo>
                    <a:pt x="473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3"/>
                  </a:lnTo>
                  <a:lnTo>
                    <a:pt x="476" y="593"/>
                  </a:lnTo>
                  <a:lnTo>
                    <a:pt x="476" y="595"/>
                  </a:lnTo>
                  <a:lnTo>
                    <a:pt x="476" y="595"/>
                  </a:lnTo>
                  <a:lnTo>
                    <a:pt x="476" y="596"/>
                  </a:lnTo>
                  <a:lnTo>
                    <a:pt x="476" y="596"/>
                  </a:lnTo>
                  <a:lnTo>
                    <a:pt x="478" y="599"/>
                  </a:lnTo>
                  <a:lnTo>
                    <a:pt x="478" y="601"/>
                  </a:lnTo>
                  <a:lnTo>
                    <a:pt x="479" y="601"/>
                  </a:lnTo>
                  <a:lnTo>
                    <a:pt x="481" y="599"/>
                  </a:lnTo>
                  <a:lnTo>
                    <a:pt x="481" y="599"/>
                  </a:lnTo>
                  <a:lnTo>
                    <a:pt x="481" y="598"/>
                  </a:lnTo>
                  <a:lnTo>
                    <a:pt x="479" y="596"/>
                  </a:lnTo>
                  <a:lnTo>
                    <a:pt x="481" y="595"/>
                  </a:lnTo>
                  <a:lnTo>
                    <a:pt x="481" y="593"/>
                  </a:lnTo>
                  <a:lnTo>
                    <a:pt x="482" y="592"/>
                  </a:lnTo>
                  <a:lnTo>
                    <a:pt x="482" y="590"/>
                  </a:lnTo>
                  <a:lnTo>
                    <a:pt x="482" y="589"/>
                  </a:lnTo>
                  <a:lnTo>
                    <a:pt x="484" y="589"/>
                  </a:lnTo>
                  <a:lnTo>
                    <a:pt x="484" y="587"/>
                  </a:lnTo>
                  <a:lnTo>
                    <a:pt x="487" y="582"/>
                  </a:lnTo>
                  <a:lnTo>
                    <a:pt x="487" y="582"/>
                  </a:lnTo>
                  <a:lnTo>
                    <a:pt x="490" y="581"/>
                  </a:lnTo>
                  <a:lnTo>
                    <a:pt x="490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3" y="576"/>
                  </a:lnTo>
                  <a:lnTo>
                    <a:pt x="493" y="576"/>
                  </a:lnTo>
                  <a:lnTo>
                    <a:pt x="494" y="575"/>
                  </a:lnTo>
                  <a:lnTo>
                    <a:pt x="498" y="573"/>
                  </a:lnTo>
                  <a:lnTo>
                    <a:pt x="504" y="573"/>
                  </a:lnTo>
                  <a:lnTo>
                    <a:pt x="507" y="573"/>
                  </a:lnTo>
                  <a:lnTo>
                    <a:pt x="508" y="573"/>
                  </a:lnTo>
                  <a:lnTo>
                    <a:pt x="510" y="573"/>
                  </a:lnTo>
                  <a:lnTo>
                    <a:pt x="511" y="570"/>
                  </a:lnTo>
                  <a:lnTo>
                    <a:pt x="511" y="570"/>
                  </a:lnTo>
                  <a:lnTo>
                    <a:pt x="513" y="569"/>
                  </a:lnTo>
                  <a:lnTo>
                    <a:pt x="515" y="569"/>
                  </a:lnTo>
                  <a:lnTo>
                    <a:pt x="516" y="569"/>
                  </a:lnTo>
                  <a:lnTo>
                    <a:pt x="516" y="569"/>
                  </a:lnTo>
                  <a:lnTo>
                    <a:pt x="518" y="569"/>
                  </a:lnTo>
                  <a:lnTo>
                    <a:pt x="518" y="569"/>
                  </a:lnTo>
                  <a:lnTo>
                    <a:pt x="519" y="569"/>
                  </a:lnTo>
                  <a:lnTo>
                    <a:pt x="525" y="573"/>
                  </a:lnTo>
                  <a:lnTo>
                    <a:pt x="528" y="573"/>
                  </a:lnTo>
                  <a:lnTo>
                    <a:pt x="528" y="572"/>
                  </a:lnTo>
                  <a:lnTo>
                    <a:pt x="530" y="570"/>
                  </a:lnTo>
                  <a:lnTo>
                    <a:pt x="531" y="569"/>
                  </a:lnTo>
                  <a:lnTo>
                    <a:pt x="531" y="567"/>
                  </a:lnTo>
                  <a:lnTo>
                    <a:pt x="531" y="562"/>
                  </a:lnTo>
                  <a:lnTo>
                    <a:pt x="533" y="562"/>
                  </a:lnTo>
                  <a:lnTo>
                    <a:pt x="533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6" y="562"/>
                  </a:lnTo>
                  <a:lnTo>
                    <a:pt x="536" y="562"/>
                  </a:lnTo>
                  <a:lnTo>
                    <a:pt x="538" y="562"/>
                  </a:lnTo>
                  <a:lnTo>
                    <a:pt x="538" y="562"/>
                  </a:lnTo>
                  <a:lnTo>
                    <a:pt x="538" y="562"/>
                  </a:lnTo>
                  <a:lnTo>
                    <a:pt x="539" y="561"/>
                  </a:lnTo>
                  <a:lnTo>
                    <a:pt x="544" y="562"/>
                  </a:lnTo>
                  <a:lnTo>
                    <a:pt x="545" y="561"/>
                  </a:lnTo>
                  <a:lnTo>
                    <a:pt x="547" y="558"/>
                  </a:lnTo>
                  <a:lnTo>
                    <a:pt x="548" y="552"/>
                  </a:lnTo>
                  <a:lnTo>
                    <a:pt x="550" y="552"/>
                  </a:lnTo>
                  <a:lnTo>
                    <a:pt x="551" y="553"/>
                  </a:lnTo>
                  <a:lnTo>
                    <a:pt x="553" y="553"/>
                  </a:lnTo>
                  <a:lnTo>
                    <a:pt x="555" y="553"/>
                  </a:lnTo>
                  <a:lnTo>
                    <a:pt x="555" y="550"/>
                  </a:lnTo>
                  <a:lnTo>
                    <a:pt x="556" y="550"/>
                  </a:lnTo>
                  <a:lnTo>
                    <a:pt x="558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61" y="547"/>
                  </a:lnTo>
                  <a:lnTo>
                    <a:pt x="561" y="549"/>
                  </a:lnTo>
                  <a:lnTo>
                    <a:pt x="562" y="550"/>
                  </a:lnTo>
                  <a:lnTo>
                    <a:pt x="564" y="550"/>
                  </a:lnTo>
                  <a:lnTo>
                    <a:pt x="565" y="550"/>
                  </a:lnTo>
                  <a:lnTo>
                    <a:pt x="565" y="549"/>
                  </a:lnTo>
                  <a:lnTo>
                    <a:pt x="567" y="547"/>
                  </a:lnTo>
                  <a:lnTo>
                    <a:pt x="568" y="547"/>
                  </a:lnTo>
                  <a:lnTo>
                    <a:pt x="568" y="547"/>
                  </a:lnTo>
                  <a:lnTo>
                    <a:pt x="568" y="546"/>
                  </a:lnTo>
                  <a:lnTo>
                    <a:pt x="568" y="544"/>
                  </a:lnTo>
                  <a:lnTo>
                    <a:pt x="570" y="544"/>
                  </a:lnTo>
                  <a:lnTo>
                    <a:pt x="570" y="542"/>
                  </a:lnTo>
                  <a:lnTo>
                    <a:pt x="570" y="541"/>
                  </a:lnTo>
                  <a:lnTo>
                    <a:pt x="570" y="539"/>
                  </a:lnTo>
                  <a:lnTo>
                    <a:pt x="573" y="538"/>
                  </a:lnTo>
                  <a:lnTo>
                    <a:pt x="576" y="536"/>
                  </a:lnTo>
                  <a:lnTo>
                    <a:pt x="582" y="536"/>
                  </a:lnTo>
                  <a:lnTo>
                    <a:pt x="584" y="536"/>
                  </a:lnTo>
                  <a:lnTo>
                    <a:pt x="587" y="535"/>
                  </a:lnTo>
                  <a:lnTo>
                    <a:pt x="588" y="535"/>
                  </a:lnTo>
                  <a:lnTo>
                    <a:pt x="592" y="536"/>
                  </a:lnTo>
                  <a:lnTo>
                    <a:pt x="593" y="535"/>
                  </a:lnTo>
                  <a:lnTo>
                    <a:pt x="596" y="533"/>
                  </a:lnTo>
                  <a:lnTo>
                    <a:pt x="596" y="533"/>
                  </a:lnTo>
                  <a:lnTo>
                    <a:pt x="596" y="533"/>
                  </a:lnTo>
                  <a:lnTo>
                    <a:pt x="598" y="533"/>
                  </a:lnTo>
                  <a:lnTo>
                    <a:pt x="598" y="532"/>
                  </a:lnTo>
                  <a:lnTo>
                    <a:pt x="598" y="532"/>
                  </a:lnTo>
                  <a:lnTo>
                    <a:pt x="596" y="530"/>
                  </a:lnTo>
                  <a:lnTo>
                    <a:pt x="598" y="530"/>
                  </a:lnTo>
                  <a:lnTo>
                    <a:pt x="598" y="529"/>
                  </a:lnTo>
                  <a:lnTo>
                    <a:pt x="599" y="529"/>
                  </a:lnTo>
                  <a:lnTo>
                    <a:pt x="599" y="52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602" y="527"/>
                  </a:lnTo>
                  <a:lnTo>
                    <a:pt x="602" y="525"/>
                  </a:lnTo>
                  <a:lnTo>
                    <a:pt x="604" y="525"/>
                  </a:lnTo>
                  <a:lnTo>
                    <a:pt x="607" y="525"/>
                  </a:lnTo>
                  <a:lnTo>
                    <a:pt x="608" y="525"/>
                  </a:lnTo>
                  <a:lnTo>
                    <a:pt x="621" y="521"/>
                  </a:lnTo>
                  <a:lnTo>
                    <a:pt x="621" y="519"/>
                  </a:lnTo>
                  <a:lnTo>
                    <a:pt x="622" y="518"/>
                  </a:lnTo>
                  <a:lnTo>
                    <a:pt x="624" y="516"/>
                  </a:lnTo>
                  <a:lnTo>
                    <a:pt x="625" y="516"/>
                  </a:lnTo>
                  <a:lnTo>
                    <a:pt x="632" y="516"/>
                  </a:lnTo>
                  <a:lnTo>
                    <a:pt x="635" y="515"/>
                  </a:lnTo>
                  <a:lnTo>
                    <a:pt x="635" y="512"/>
                  </a:lnTo>
                  <a:lnTo>
                    <a:pt x="633" y="512"/>
                  </a:lnTo>
                  <a:lnTo>
                    <a:pt x="630" y="510"/>
                  </a:lnTo>
                  <a:lnTo>
                    <a:pt x="627" y="509"/>
                  </a:lnTo>
                  <a:lnTo>
                    <a:pt x="628" y="507"/>
                  </a:lnTo>
                  <a:lnTo>
                    <a:pt x="628" y="507"/>
                  </a:lnTo>
                  <a:lnTo>
                    <a:pt x="628" y="507"/>
                  </a:lnTo>
                  <a:lnTo>
                    <a:pt x="627" y="505"/>
                  </a:lnTo>
                  <a:lnTo>
                    <a:pt x="624" y="505"/>
                  </a:lnTo>
                  <a:lnTo>
                    <a:pt x="624" y="505"/>
                  </a:lnTo>
                  <a:lnTo>
                    <a:pt x="624" y="504"/>
                  </a:lnTo>
                  <a:lnTo>
                    <a:pt x="625" y="501"/>
                  </a:lnTo>
                  <a:lnTo>
                    <a:pt x="627" y="498"/>
                  </a:lnTo>
                  <a:lnTo>
                    <a:pt x="630" y="498"/>
                  </a:lnTo>
                  <a:lnTo>
                    <a:pt x="633" y="499"/>
                  </a:lnTo>
                  <a:lnTo>
                    <a:pt x="633" y="499"/>
                  </a:lnTo>
                  <a:lnTo>
                    <a:pt x="633" y="501"/>
                  </a:lnTo>
                  <a:lnTo>
                    <a:pt x="635" y="501"/>
                  </a:lnTo>
                  <a:lnTo>
                    <a:pt x="635" y="501"/>
                  </a:lnTo>
                  <a:lnTo>
                    <a:pt x="636" y="501"/>
                  </a:lnTo>
                  <a:lnTo>
                    <a:pt x="638" y="501"/>
                  </a:lnTo>
                  <a:lnTo>
                    <a:pt x="641" y="501"/>
                  </a:lnTo>
                  <a:lnTo>
                    <a:pt x="641" y="499"/>
                  </a:lnTo>
                  <a:lnTo>
                    <a:pt x="642" y="498"/>
                  </a:lnTo>
                  <a:lnTo>
                    <a:pt x="642" y="499"/>
                  </a:lnTo>
                  <a:lnTo>
                    <a:pt x="642" y="501"/>
                  </a:lnTo>
                  <a:lnTo>
                    <a:pt x="642" y="501"/>
                  </a:lnTo>
                  <a:lnTo>
                    <a:pt x="644" y="502"/>
                  </a:lnTo>
                  <a:lnTo>
                    <a:pt x="644" y="502"/>
                  </a:lnTo>
                  <a:lnTo>
                    <a:pt x="647" y="502"/>
                  </a:lnTo>
                  <a:lnTo>
                    <a:pt x="647" y="504"/>
                  </a:lnTo>
                  <a:lnTo>
                    <a:pt x="649" y="505"/>
                  </a:lnTo>
                  <a:lnTo>
                    <a:pt x="649" y="505"/>
                  </a:lnTo>
                  <a:lnTo>
                    <a:pt x="649" y="507"/>
                  </a:lnTo>
                  <a:lnTo>
                    <a:pt x="649" y="509"/>
                  </a:lnTo>
                  <a:lnTo>
                    <a:pt x="649" y="510"/>
                  </a:lnTo>
                  <a:lnTo>
                    <a:pt x="647" y="512"/>
                  </a:lnTo>
                  <a:lnTo>
                    <a:pt x="647" y="513"/>
                  </a:lnTo>
                  <a:lnTo>
                    <a:pt x="647" y="513"/>
                  </a:lnTo>
                  <a:lnTo>
                    <a:pt x="652" y="512"/>
                  </a:lnTo>
                  <a:lnTo>
                    <a:pt x="653" y="512"/>
                  </a:lnTo>
                  <a:lnTo>
                    <a:pt x="653" y="513"/>
                  </a:lnTo>
                  <a:lnTo>
                    <a:pt x="653" y="515"/>
                  </a:lnTo>
                  <a:lnTo>
                    <a:pt x="652" y="518"/>
                  </a:lnTo>
                  <a:lnTo>
                    <a:pt x="652" y="519"/>
                  </a:lnTo>
                  <a:lnTo>
                    <a:pt x="652" y="521"/>
                  </a:lnTo>
                  <a:lnTo>
                    <a:pt x="655" y="522"/>
                  </a:lnTo>
                  <a:lnTo>
                    <a:pt x="655" y="522"/>
                  </a:lnTo>
                  <a:lnTo>
                    <a:pt x="658" y="524"/>
                  </a:lnTo>
                  <a:lnTo>
                    <a:pt x="661" y="525"/>
                  </a:lnTo>
                  <a:lnTo>
                    <a:pt x="662" y="525"/>
                  </a:lnTo>
                  <a:lnTo>
                    <a:pt x="664" y="525"/>
                  </a:lnTo>
                  <a:lnTo>
                    <a:pt x="664" y="524"/>
                  </a:lnTo>
                  <a:lnTo>
                    <a:pt x="665" y="522"/>
                  </a:lnTo>
                  <a:lnTo>
                    <a:pt x="667" y="519"/>
                  </a:lnTo>
                  <a:lnTo>
                    <a:pt x="667" y="518"/>
                  </a:lnTo>
                  <a:lnTo>
                    <a:pt x="667" y="516"/>
                  </a:lnTo>
                  <a:lnTo>
                    <a:pt x="670" y="513"/>
                  </a:lnTo>
                  <a:lnTo>
                    <a:pt x="673" y="504"/>
                  </a:lnTo>
                  <a:lnTo>
                    <a:pt x="678" y="495"/>
                  </a:lnTo>
                  <a:lnTo>
                    <a:pt x="678" y="493"/>
                  </a:lnTo>
                  <a:lnTo>
                    <a:pt x="678" y="492"/>
                  </a:lnTo>
                  <a:lnTo>
                    <a:pt x="678" y="490"/>
                  </a:lnTo>
                  <a:lnTo>
                    <a:pt x="678" y="490"/>
                  </a:lnTo>
                  <a:lnTo>
                    <a:pt x="678" y="489"/>
                  </a:lnTo>
                  <a:lnTo>
                    <a:pt x="679" y="489"/>
                  </a:lnTo>
                  <a:lnTo>
                    <a:pt x="679" y="487"/>
                  </a:lnTo>
                  <a:lnTo>
                    <a:pt x="679" y="484"/>
                  </a:lnTo>
                  <a:lnTo>
                    <a:pt x="679" y="481"/>
                  </a:lnTo>
                  <a:lnTo>
                    <a:pt x="681" y="478"/>
                  </a:lnTo>
                  <a:lnTo>
                    <a:pt x="682" y="475"/>
                  </a:lnTo>
                  <a:lnTo>
                    <a:pt x="682" y="475"/>
                  </a:lnTo>
                  <a:close/>
                  <a:moveTo>
                    <a:pt x="180" y="42"/>
                  </a:moveTo>
                  <a:lnTo>
                    <a:pt x="180" y="42"/>
                  </a:lnTo>
                  <a:lnTo>
                    <a:pt x="182" y="40"/>
                  </a:lnTo>
                  <a:lnTo>
                    <a:pt x="182" y="37"/>
                  </a:lnTo>
                  <a:lnTo>
                    <a:pt x="182" y="31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6" y="25"/>
                  </a:lnTo>
                  <a:lnTo>
                    <a:pt x="186" y="27"/>
                  </a:lnTo>
                  <a:lnTo>
                    <a:pt x="188" y="27"/>
                  </a:lnTo>
                  <a:lnTo>
                    <a:pt x="193" y="27"/>
                  </a:lnTo>
                  <a:lnTo>
                    <a:pt x="194" y="25"/>
                  </a:lnTo>
                  <a:lnTo>
                    <a:pt x="196" y="23"/>
                  </a:lnTo>
                  <a:lnTo>
                    <a:pt x="197" y="23"/>
                  </a:lnTo>
                  <a:lnTo>
                    <a:pt x="206" y="23"/>
                  </a:lnTo>
                  <a:lnTo>
                    <a:pt x="208" y="22"/>
                  </a:lnTo>
                  <a:lnTo>
                    <a:pt x="191" y="23"/>
                  </a:lnTo>
                  <a:lnTo>
                    <a:pt x="188" y="22"/>
                  </a:lnTo>
                  <a:lnTo>
                    <a:pt x="185" y="20"/>
                  </a:lnTo>
                  <a:lnTo>
                    <a:pt x="186" y="16"/>
                  </a:lnTo>
                  <a:lnTo>
                    <a:pt x="185" y="13"/>
                  </a:lnTo>
                  <a:lnTo>
                    <a:pt x="186" y="11"/>
                  </a:lnTo>
                  <a:lnTo>
                    <a:pt x="188" y="8"/>
                  </a:lnTo>
                  <a:lnTo>
                    <a:pt x="191" y="7"/>
                  </a:lnTo>
                  <a:lnTo>
                    <a:pt x="191" y="5"/>
                  </a:lnTo>
                  <a:lnTo>
                    <a:pt x="191" y="3"/>
                  </a:lnTo>
                  <a:lnTo>
                    <a:pt x="188" y="3"/>
                  </a:lnTo>
                  <a:lnTo>
                    <a:pt x="190" y="2"/>
                  </a:lnTo>
                  <a:lnTo>
                    <a:pt x="194" y="2"/>
                  </a:lnTo>
                  <a:lnTo>
                    <a:pt x="190" y="0"/>
                  </a:lnTo>
                  <a:lnTo>
                    <a:pt x="186" y="5"/>
                  </a:lnTo>
                  <a:lnTo>
                    <a:pt x="182" y="20"/>
                  </a:lnTo>
                  <a:lnTo>
                    <a:pt x="180" y="23"/>
                  </a:lnTo>
                  <a:lnTo>
                    <a:pt x="180" y="37"/>
                  </a:lnTo>
                  <a:lnTo>
                    <a:pt x="180" y="40"/>
                  </a:lnTo>
                  <a:lnTo>
                    <a:pt x="180" y="42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80"/>
            <p:cNvSpPr>
              <a:spLocks noEditPoints="1"/>
            </p:cNvSpPr>
            <p:nvPr/>
          </p:nvSpPr>
          <p:spPr bwMode="gray">
            <a:xfrm>
              <a:off x="6376988" y="5668963"/>
              <a:ext cx="1082675" cy="1470025"/>
            </a:xfrm>
            <a:custGeom>
              <a:avLst/>
              <a:gdLst>
                <a:gd name="T0" fmla="*/ 170 w 682"/>
                <a:gd name="T1" fmla="*/ 173 h 926"/>
                <a:gd name="T2" fmla="*/ 156 w 682"/>
                <a:gd name="T3" fmla="*/ 164 h 926"/>
                <a:gd name="T4" fmla="*/ 596 w 682"/>
                <a:gd name="T5" fmla="*/ 130 h 926"/>
                <a:gd name="T6" fmla="*/ 593 w 682"/>
                <a:gd name="T7" fmla="*/ 154 h 926"/>
                <a:gd name="T8" fmla="*/ 225 w 682"/>
                <a:gd name="T9" fmla="*/ 77 h 926"/>
                <a:gd name="T10" fmla="*/ 205 w 682"/>
                <a:gd name="T11" fmla="*/ 73 h 926"/>
                <a:gd name="T12" fmla="*/ 544 w 682"/>
                <a:gd name="T13" fmla="*/ 68 h 926"/>
                <a:gd name="T14" fmla="*/ 542 w 682"/>
                <a:gd name="T15" fmla="*/ 99 h 926"/>
                <a:gd name="T16" fmla="*/ 579 w 682"/>
                <a:gd name="T17" fmla="*/ 93 h 926"/>
                <a:gd name="T18" fmla="*/ 567 w 682"/>
                <a:gd name="T19" fmla="*/ 64 h 926"/>
                <a:gd name="T20" fmla="*/ 568 w 682"/>
                <a:gd name="T21" fmla="*/ 65 h 926"/>
                <a:gd name="T22" fmla="*/ 555 w 682"/>
                <a:gd name="T23" fmla="*/ 70 h 926"/>
                <a:gd name="T24" fmla="*/ 676 w 682"/>
                <a:gd name="T25" fmla="*/ 453 h 926"/>
                <a:gd name="T26" fmla="*/ 659 w 682"/>
                <a:gd name="T27" fmla="*/ 358 h 926"/>
                <a:gd name="T28" fmla="*/ 635 w 682"/>
                <a:gd name="T29" fmla="*/ 245 h 926"/>
                <a:gd name="T30" fmla="*/ 608 w 682"/>
                <a:gd name="T31" fmla="*/ 168 h 926"/>
                <a:gd name="T32" fmla="*/ 585 w 682"/>
                <a:gd name="T33" fmla="*/ 116 h 926"/>
                <a:gd name="T34" fmla="*/ 535 w 682"/>
                <a:gd name="T35" fmla="*/ 87 h 926"/>
                <a:gd name="T36" fmla="*/ 499 w 682"/>
                <a:gd name="T37" fmla="*/ 90 h 926"/>
                <a:gd name="T38" fmla="*/ 501 w 682"/>
                <a:gd name="T39" fmla="*/ 87 h 926"/>
                <a:gd name="T40" fmla="*/ 465 w 682"/>
                <a:gd name="T41" fmla="*/ 114 h 926"/>
                <a:gd name="T42" fmla="*/ 416 w 682"/>
                <a:gd name="T43" fmla="*/ 148 h 926"/>
                <a:gd name="T44" fmla="*/ 371 w 682"/>
                <a:gd name="T45" fmla="*/ 125 h 926"/>
                <a:gd name="T46" fmla="*/ 324 w 682"/>
                <a:gd name="T47" fmla="*/ 90 h 926"/>
                <a:gd name="T48" fmla="*/ 304 w 682"/>
                <a:gd name="T49" fmla="*/ 50 h 926"/>
                <a:gd name="T50" fmla="*/ 233 w 682"/>
                <a:gd name="T51" fmla="*/ 25 h 926"/>
                <a:gd name="T52" fmla="*/ 211 w 682"/>
                <a:gd name="T53" fmla="*/ 91 h 926"/>
                <a:gd name="T54" fmla="*/ 234 w 682"/>
                <a:gd name="T55" fmla="*/ 130 h 926"/>
                <a:gd name="T56" fmla="*/ 268 w 682"/>
                <a:gd name="T57" fmla="*/ 174 h 926"/>
                <a:gd name="T58" fmla="*/ 196 w 682"/>
                <a:gd name="T59" fmla="*/ 205 h 926"/>
                <a:gd name="T60" fmla="*/ 171 w 682"/>
                <a:gd name="T61" fmla="*/ 193 h 926"/>
                <a:gd name="T62" fmla="*/ 103 w 682"/>
                <a:gd name="T63" fmla="*/ 222 h 926"/>
                <a:gd name="T64" fmla="*/ 62 w 682"/>
                <a:gd name="T65" fmla="*/ 325 h 926"/>
                <a:gd name="T66" fmla="*/ 71 w 682"/>
                <a:gd name="T67" fmla="*/ 388 h 926"/>
                <a:gd name="T68" fmla="*/ 9 w 682"/>
                <a:gd name="T69" fmla="*/ 416 h 926"/>
                <a:gd name="T70" fmla="*/ 2 w 682"/>
                <a:gd name="T71" fmla="*/ 507 h 926"/>
                <a:gd name="T72" fmla="*/ 22 w 682"/>
                <a:gd name="T73" fmla="*/ 546 h 926"/>
                <a:gd name="T74" fmla="*/ 31 w 682"/>
                <a:gd name="T75" fmla="*/ 584 h 926"/>
                <a:gd name="T76" fmla="*/ 32 w 682"/>
                <a:gd name="T77" fmla="*/ 636 h 926"/>
                <a:gd name="T78" fmla="*/ 36 w 682"/>
                <a:gd name="T79" fmla="*/ 683 h 926"/>
                <a:gd name="T80" fmla="*/ 76 w 682"/>
                <a:gd name="T81" fmla="*/ 710 h 926"/>
                <a:gd name="T82" fmla="*/ 133 w 682"/>
                <a:gd name="T83" fmla="*/ 729 h 926"/>
                <a:gd name="T84" fmla="*/ 145 w 682"/>
                <a:gd name="T85" fmla="*/ 787 h 926"/>
                <a:gd name="T86" fmla="*/ 126 w 682"/>
                <a:gd name="T87" fmla="*/ 864 h 926"/>
                <a:gd name="T88" fmla="*/ 168 w 682"/>
                <a:gd name="T89" fmla="*/ 890 h 926"/>
                <a:gd name="T90" fmla="*/ 197 w 682"/>
                <a:gd name="T91" fmla="*/ 884 h 926"/>
                <a:gd name="T92" fmla="*/ 217 w 682"/>
                <a:gd name="T93" fmla="*/ 880 h 926"/>
                <a:gd name="T94" fmla="*/ 307 w 682"/>
                <a:gd name="T95" fmla="*/ 901 h 926"/>
                <a:gd name="T96" fmla="*/ 339 w 682"/>
                <a:gd name="T97" fmla="*/ 914 h 926"/>
                <a:gd name="T98" fmla="*/ 381 w 682"/>
                <a:gd name="T99" fmla="*/ 909 h 926"/>
                <a:gd name="T100" fmla="*/ 473 w 682"/>
                <a:gd name="T101" fmla="*/ 886 h 926"/>
                <a:gd name="T102" fmla="*/ 516 w 682"/>
                <a:gd name="T103" fmla="*/ 890 h 926"/>
                <a:gd name="T104" fmla="*/ 525 w 682"/>
                <a:gd name="T105" fmla="*/ 873 h 926"/>
                <a:gd name="T106" fmla="*/ 564 w 682"/>
                <a:gd name="T107" fmla="*/ 800 h 926"/>
                <a:gd name="T108" fmla="*/ 582 w 682"/>
                <a:gd name="T109" fmla="*/ 747 h 926"/>
                <a:gd name="T110" fmla="*/ 511 w 682"/>
                <a:gd name="T111" fmla="*/ 689 h 926"/>
                <a:gd name="T112" fmla="*/ 491 w 682"/>
                <a:gd name="T113" fmla="*/ 627 h 926"/>
                <a:gd name="T114" fmla="*/ 474 w 682"/>
                <a:gd name="T115" fmla="*/ 592 h 926"/>
                <a:gd name="T116" fmla="*/ 515 w 682"/>
                <a:gd name="T117" fmla="*/ 569 h 926"/>
                <a:gd name="T118" fmla="*/ 568 w 682"/>
                <a:gd name="T119" fmla="*/ 546 h 926"/>
                <a:gd name="T120" fmla="*/ 624 w 682"/>
                <a:gd name="T121" fmla="*/ 505 h 926"/>
                <a:gd name="T122" fmla="*/ 670 w 682"/>
                <a:gd name="T123" fmla="*/ 513 h 926"/>
                <a:gd name="T124" fmla="*/ 194 w 682"/>
                <a:gd name="T125" fmla="*/ 2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2" h="926">
                  <a:moveTo>
                    <a:pt x="60" y="190"/>
                  </a:moveTo>
                  <a:lnTo>
                    <a:pt x="62" y="191"/>
                  </a:lnTo>
                  <a:lnTo>
                    <a:pt x="63" y="190"/>
                  </a:lnTo>
                  <a:lnTo>
                    <a:pt x="63" y="190"/>
                  </a:lnTo>
                  <a:lnTo>
                    <a:pt x="65" y="190"/>
                  </a:lnTo>
                  <a:lnTo>
                    <a:pt x="65" y="190"/>
                  </a:lnTo>
                  <a:lnTo>
                    <a:pt x="66" y="191"/>
                  </a:lnTo>
                  <a:lnTo>
                    <a:pt x="66" y="191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5" y="190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8" y="187"/>
                  </a:lnTo>
                  <a:lnTo>
                    <a:pt x="69" y="187"/>
                  </a:lnTo>
                  <a:lnTo>
                    <a:pt x="69" y="185"/>
                  </a:lnTo>
                  <a:lnTo>
                    <a:pt x="66" y="185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88"/>
                  </a:lnTo>
                  <a:lnTo>
                    <a:pt x="60" y="190"/>
                  </a:lnTo>
                  <a:close/>
                  <a:moveTo>
                    <a:pt x="88" y="176"/>
                  </a:moveTo>
                  <a:lnTo>
                    <a:pt x="79" y="176"/>
                  </a:lnTo>
                  <a:lnTo>
                    <a:pt x="76" y="177"/>
                  </a:lnTo>
                  <a:lnTo>
                    <a:pt x="91" y="176"/>
                  </a:lnTo>
                  <a:lnTo>
                    <a:pt x="88" y="176"/>
                  </a:lnTo>
                  <a:close/>
                  <a:moveTo>
                    <a:pt x="106" y="173"/>
                  </a:move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02" y="171"/>
                  </a:lnTo>
                  <a:lnTo>
                    <a:pt x="99" y="171"/>
                  </a:lnTo>
                  <a:lnTo>
                    <a:pt x="94" y="173"/>
                  </a:lnTo>
                  <a:lnTo>
                    <a:pt x="97" y="174"/>
                  </a:lnTo>
                  <a:lnTo>
                    <a:pt x="106" y="173"/>
                  </a:lnTo>
                  <a:close/>
                  <a:moveTo>
                    <a:pt x="116" y="171"/>
                  </a:move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6" y="170"/>
                  </a:lnTo>
                  <a:lnTo>
                    <a:pt x="114" y="170"/>
                  </a:lnTo>
                  <a:lnTo>
                    <a:pt x="113" y="170"/>
                  </a:lnTo>
                  <a:lnTo>
                    <a:pt x="113" y="171"/>
                  </a:lnTo>
                  <a:lnTo>
                    <a:pt x="113" y="171"/>
                  </a:lnTo>
                  <a:lnTo>
                    <a:pt x="116" y="171"/>
                  </a:lnTo>
                  <a:close/>
                  <a:moveTo>
                    <a:pt x="170" y="173"/>
                  </a:moveTo>
                  <a:lnTo>
                    <a:pt x="170" y="173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4" y="171"/>
                  </a:lnTo>
                  <a:lnTo>
                    <a:pt x="173" y="170"/>
                  </a:lnTo>
                  <a:lnTo>
                    <a:pt x="171" y="170"/>
                  </a:lnTo>
                  <a:lnTo>
                    <a:pt x="170" y="170"/>
                  </a:lnTo>
                  <a:lnTo>
                    <a:pt x="168" y="171"/>
                  </a:lnTo>
                  <a:lnTo>
                    <a:pt x="168" y="173"/>
                  </a:lnTo>
                  <a:lnTo>
                    <a:pt x="170" y="173"/>
                  </a:lnTo>
                  <a:lnTo>
                    <a:pt x="170" y="173"/>
                  </a:lnTo>
                  <a:close/>
                  <a:moveTo>
                    <a:pt x="120" y="171"/>
                  </a:moveTo>
                  <a:lnTo>
                    <a:pt x="123" y="171"/>
                  </a:lnTo>
                  <a:lnTo>
                    <a:pt x="123" y="168"/>
                  </a:lnTo>
                  <a:lnTo>
                    <a:pt x="125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9" y="167"/>
                  </a:lnTo>
                  <a:lnTo>
                    <a:pt x="123" y="167"/>
                  </a:lnTo>
                  <a:lnTo>
                    <a:pt x="122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70"/>
                  </a:lnTo>
                  <a:lnTo>
                    <a:pt x="120" y="171"/>
                  </a:lnTo>
                  <a:close/>
                  <a:moveTo>
                    <a:pt x="136" y="167"/>
                  </a:moveTo>
                  <a:lnTo>
                    <a:pt x="136" y="167"/>
                  </a:lnTo>
                  <a:lnTo>
                    <a:pt x="137" y="165"/>
                  </a:lnTo>
                  <a:lnTo>
                    <a:pt x="139" y="167"/>
                  </a:lnTo>
                  <a:lnTo>
                    <a:pt x="140" y="167"/>
                  </a:lnTo>
                  <a:lnTo>
                    <a:pt x="142" y="165"/>
                  </a:lnTo>
                  <a:lnTo>
                    <a:pt x="145" y="165"/>
                  </a:lnTo>
                  <a:lnTo>
                    <a:pt x="145" y="165"/>
                  </a:lnTo>
                  <a:lnTo>
                    <a:pt x="145" y="164"/>
                  </a:lnTo>
                  <a:lnTo>
                    <a:pt x="139" y="164"/>
                  </a:lnTo>
                  <a:lnTo>
                    <a:pt x="136" y="164"/>
                  </a:lnTo>
                  <a:lnTo>
                    <a:pt x="134" y="167"/>
                  </a:lnTo>
                  <a:lnTo>
                    <a:pt x="134" y="167"/>
                  </a:lnTo>
                  <a:lnTo>
                    <a:pt x="136" y="167"/>
                  </a:lnTo>
                  <a:close/>
                  <a:moveTo>
                    <a:pt x="149" y="164"/>
                  </a:moveTo>
                  <a:lnTo>
                    <a:pt x="151" y="164"/>
                  </a:lnTo>
                  <a:lnTo>
                    <a:pt x="154" y="164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1" y="162"/>
                  </a:lnTo>
                  <a:lnTo>
                    <a:pt x="149" y="162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5"/>
                  </a:lnTo>
                  <a:lnTo>
                    <a:pt x="149" y="164"/>
                  </a:lnTo>
                  <a:close/>
                  <a:moveTo>
                    <a:pt x="413" y="141"/>
                  </a:moveTo>
                  <a:lnTo>
                    <a:pt x="414" y="141"/>
                  </a:lnTo>
                  <a:lnTo>
                    <a:pt x="414" y="141"/>
                  </a:lnTo>
                  <a:lnTo>
                    <a:pt x="414" y="137"/>
                  </a:lnTo>
                  <a:lnTo>
                    <a:pt x="416" y="137"/>
                  </a:lnTo>
                  <a:lnTo>
                    <a:pt x="416" y="137"/>
                  </a:lnTo>
                  <a:lnTo>
                    <a:pt x="416" y="139"/>
                  </a:lnTo>
                  <a:lnTo>
                    <a:pt x="416" y="141"/>
                  </a:lnTo>
                  <a:lnTo>
                    <a:pt x="416" y="142"/>
                  </a:lnTo>
                  <a:lnTo>
                    <a:pt x="416" y="142"/>
                  </a:lnTo>
                  <a:lnTo>
                    <a:pt x="417" y="141"/>
                  </a:lnTo>
                  <a:lnTo>
                    <a:pt x="419" y="134"/>
                  </a:lnTo>
                  <a:lnTo>
                    <a:pt x="417" y="133"/>
                  </a:lnTo>
                  <a:lnTo>
                    <a:pt x="414" y="134"/>
                  </a:lnTo>
                  <a:lnTo>
                    <a:pt x="411" y="136"/>
                  </a:lnTo>
                  <a:lnTo>
                    <a:pt x="410" y="139"/>
                  </a:lnTo>
                  <a:lnTo>
                    <a:pt x="411" y="141"/>
                  </a:lnTo>
                  <a:lnTo>
                    <a:pt x="413" y="141"/>
                  </a:lnTo>
                  <a:close/>
                  <a:moveTo>
                    <a:pt x="422" y="130"/>
                  </a:moveTo>
                  <a:lnTo>
                    <a:pt x="424" y="128"/>
                  </a:lnTo>
                  <a:lnTo>
                    <a:pt x="427" y="124"/>
                  </a:lnTo>
                  <a:lnTo>
                    <a:pt x="428" y="122"/>
                  </a:lnTo>
                  <a:lnTo>
                    <a:pt x="427" y="124"/>
                  </a:lnTo>
                  <a:lnTo>
                    <a:pt x="422" y="127"/>
                  </a:lnTo>
                  <a:lnTo>
                    <a:pt x="422" y="127"/>
                  </a:lnTo>
                  <a:lnTo>
                    <a:pt x="422" y="127"/>
                  </a:lnTo>
                  <a:lnTo>
                    <a:pt x="422" y="130"/>
                  </a:lnTo>
                  <a:lnTo>
                    <a:pt x="422" y="130"/>
                  </a:lnTo>
                  <a:close/>
                  <a:moveTo>
                    <a:pt x="587" y="117"/>
                  </a:moveTo>
                  <a:lnTo>
                    <a:pt x="588" y="119"/>
                  </a:lnTo>
                  <a:lnTo>
                    <a:pt x="592" y="122"/>
                  </a:lnTo>
                  <a:lnTo>
                    <a:pt x="592" y="124"/>
                  </a:lnTo>
                  <a:lnTo>
                    <a:pt x="592" y="127"/>
                  </a:lnTo>
                  <a:lnTo>
                    <a:pt x="590" y="131"/>
                  </a:lnTo>
                  <a:lnTo>
                    <a:pt x="588" y="134"/>
                  </a:lnTo>
                  <a:lnTo>
                    <a:pt x="590" y="134"/>
                  </a:lnTo>
                  <a:lnTo>
                    <a:pt x="592" y="133"/>
                  </a:lnTo>
                  <a:lnTo>
                    <a:pt x="593" y="131"/>
                  </a:lnTo>
                  <a:lnTo>
                    <a:pt x="595" y="131"/>
                  </a:lnTo>
                  <a:lnTo>
                    <a:pt x="596" y="130"/>
                  </a:lnTo>
                  <a:lnTo>
                    <a:pt x="596" y="131"/>
                  </a:lnTo>
                  <a:lnTo>
                    <a:pt x="596" y="133"/>
                  </a:lnTo>
                  <a:lnTo>
                    <a:pt x="596" y="133"/>
                  </a:lnTo>
                  <a:lnTo>
                    <a:pt x="596" y="134"/>
                  </a:lnTo>
                  <a:lnTo>
                    <a:pt x="595" y="134"/>
                  </a:lnTo>
                  <a:lnTo>
                    <a:pt x="595" y="136"/>
                  </a:lnTo>
                  <a:lnTo>
                    <a:pt x="598" y="136"/>
                  </a:lnTo>
                  <a:lnTo>
                    <a:pt x="598" y="136"/>
                  </a:lnTo>
                  <a:lnTo>
                    <a:pt x="599" y="134"/>
                  </a:lnTo>
                  <a:lnTo>
                    <a:pt x="599" y="133"/>
                  </a:lnTo>
                  <a:lnTo>
                    <a:pt x="599" y="133"/>
                  </a:lnTo>
                  <a:lnTo>
                    <a:pt x="601" y="133"/>
                  </a:lnTo>
                  <a:lnTo>
                    <a:pt x="601" y="131"/>
                  </a:lnTo>
                  <a:lnTo>
                    <a:pt x="599" y="130"/>
                  </a:lnTo>
                  <a:lnTo>
                    <a:pt x="601" y="128"/>
                  </a:lnTo>
                  <a:lnTo>
                    <a:pt x="602" y="128"/>
                  </a:lnTo>
                  <a:lnTo>
                    <a:pt x="604" y="128"/>
                  </a:lnTo>
                  <a:lnTo>
                    <a:pt x="604" y="130"/>
                  </a:lnTo>
                  <a:lnTo>
                    <a:pt x="605" y="131"/>
                  </a:lnTo>
                  <a:lnTo>
                    <a:pt x="607" y="133"/>
                  </a:lnTo>
                  <a:lnTo>
                    <a:pt x="607" y="134"/>
                  </a:lnTo>
                  <a:lnTo>
                    <a:pt x="608" y="134"/>
                  </a:lnTo>
                  <a:lnTo>
                    <a:pt x="610" y="136"/>
                  </a:lnTo>
                  <a:lnTo>
                    <a:pt x="610" y="139"/>
                  </a:lnTo>
                  <a:lnTo>
                    <a:pt x="608" y="142"/>
                  </a:lnTo>
                  <a:lnTo>
                    <a:pt x="610" y="144"/>
                  </a:lnTo>
                  <a:lnTo>
                    <a:pt x="607" y="144"/>
                  </a:lnTo>
                  <a:lnTo>
                    <a:pt x="607" y="142"/>
                  </a:lnTo>
                  <a:lnTo>
                    <a:pt x="607" y="142"/>
                  </a:lnTo>
                  <a:lnTo>
                    <a:pt x="607" y="142"/>
                  </a:lnTo>
                  <a:lnTo>
                    <a:pt x="608" y="142"/>
                  </a:lnTo>
                  <a:lnTo>
                    <a:pt x="605" y="142"/>
                  </a:lnTo>
                  <a:lnTo>
                    <a:pt x="604" y="142"/>
                  </a:lnTo>
                  <a:lnTo>
                    <a:pt x="602" y="144"/>
                  </a:lnTo>
                  <a:lnTo>
                    <a:pt x="602" y="142"/>
                  </a:lnTo>
                  <a:lnTo>
                    <a:pt x="604" y="139"/>
                  </a:lnTo>
                  <a:lnTo>
                    <a:pt x="604" y="139"/>
                  </a:lnTo>
                  <a:lnTo>
                    <a:pt x="604" y="137"/>
                  </a:lnTo>
                  <a:lnTo>
                    <a:pt x="602" y="137"/>
                  </a:lnTo>
                  <a:lnTo>
                    <a:pt x="599" y="137"/>
                  </a:lnTo>
                  <a:lnTo>
                    <a:pt x="599" y="141"/>
                  </a:lnTo>
                  <a:lnTo>
                    <a:pt x="601" y="145"/>
                  </a:lnTo>
                  <a:lnTo>
                    <a:pt x="601" y="150"/>
                  </a:lnTo>
                  <a:lnTo>
                    <a:pt x="601" y="150"/>
                  </a:lnTo>
                  <a:lnTo>
                    <a:pt x="598" y="151"/>
                  </a:lnTo>
                  <a:lnTo>
                    <a:pt x="595" y="153"/>
                  </a:lnTo>
                  <a:lnTo>
                    <a:pt x="593" y="153"/>
                  </a:lnTo>
                  <a:lnTo>
                    <a:pt x="593" y="154"/>
                  </a:lnTo>
                  <a:lnTo>
                    <a:pt x="595" y="156"/>
                  </a:lnTo>
                  <a:lnTo>
                    <a:pt x="596" y="156"/>
                  </a:lnTo>
                  <a:lnTo>
                    <a:pt x="601" y="156"/>
                  </a:lnTo>
                  <a:lnTo>
                    <a:pt x="605" y="154"/>
                  </a:lnTo>
                  <a:lnTo>
                    <a:pt x="608" y="154"/>
                  </a:lnTo>
                  <a:lnTo>
                    <a:pt x="610" y="151"/>
                  </a:lnTo>
                  <a:lnTo>
                    <a:pt x="610" y="153"/>
                  </a:lnTo>
                  <a:lnTo>
                    <a:pt x="613" y="153"/>
                  </a:lnTo>
                  <a:lnTo>
                    <a:pt x="621" y="151"/>
                  </a:lnTo>
                  <a:lnTo>
                    <a:pt x="621" y="150"/>
                  </a:lnTo>
                  <a:lnTo>
                    <a:pt x="619" y="148"/>
                  </a:lnTo>
                  <a:lnTo>
                    <a:pt x="619" y="148"/>
                  </a:lnTo>
                  <a:lnTo>
                    <a:pt x="621" y="148"/>
                  </a:lnTo>
                  <a:lnTo>
                    <a:pt x="621" y="145"/>
                  </a:lnTo>
                  <a:lnTo>
                    <a:pt x="621" y="145"/>
                  </a:lnTo>
                  <a:lnTo>
                    <a:pt x="621" y="145"/>
                  </a:lnTo>
                  <a:lnTo>
                    <a:pt x="621" y="144"/>
                  </a:lnTo>
                  <a:lnTo>
                    <a:pt x="607" y="130"/>
                  </a:lnTo>
                  <a:lnTo>
                    <a:pt x="605" y="128"/>
                  </a:lnTo>
                  <a:lnTo>
                    <a:pt x="602" y="127"/>
                  </a:lnTo>
                  <a:lnTo>
                    <a:pt x="598" y="124"/>
                  </a:lnTo>
                  <a:lnTo>
                    <a:pt x="595" y="122"/>
                  </a:lnTo>
                  <a:lnTo>
                    <a:pt x="595" y="120"/>
                  </a:lnTo>
                  <a:lnTo>
                    <a:pt x="593" y="116"/>
                  </a:lnTo>
                  <a:lnTo>
                    <a:pt x="592" y="114"/>
                  </a:lnTo>
                  <a:lnTo>
                    <a:pt x="590" y="114"/>
                  </a:lnTo>
                  <a:lnTo>
                    <a:pt x="590" y="114"/>
                  </a:lnTo>
                  <a:lnTo>
                    <a:pt x="588" y="116"/>
                  </a:lnTo>
                  <a:lnTo>
                    <a:pt x="587" y="117"/>
                  </a:lnTo>
                  <a:close/>
                  <a:moveTo>
                    <a:pt x="151" y="113"/>
                  </a:moveTo>
                  <a:lnTo>
                    <a:pt x="151" y="113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3" y="114"/>
                  </a:lnTo>
                  <a:lnTo>
                    <a:pt x="153" y="113"/>
                  </a:lnTo>
                  <a:lnTo>
                    <a:pt x="151" y="113"/>
                  </a:lnTo>
                  <a:lnTo>
                    <a:pt x="149" y="113"/>
                  </a:lnTo>
                  <a:lnTo>
                    <a:pt x="151" y="113"/>
                  </a:lnTo>
                  <a:lnTo>
                    <a:pt x="151" y="113"/>
                  </a:lnTo>
                  <a:close/>
                  <a:moveTo>
                    <a:pt x="154" y="113"/>
                  </a:moveTo>
                  <a:lnTo>
                    <a:pt x="154" y="111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4" y="113"/>
                  </a:lnTo>
                  <a:close/>
                  <a:moveTo>
                    <a:pt x="220" y="76"/>
                  </a:moveTo>
                  <a:lnTo>
                    <a:pt x="220" y="77"/>
                  </a:lnTo>
                  <a:lnTo>
                    <a:pt x="222" y="77"/>
                  </a:lnTo>
                  <a:lnTo>
                    <a:pt x="225" y="77"/>
                  </a:lnTo>
                  <a:lnTo>
                    <a:pt x="227" y="76"/>
                  </a:lnTo>
                  <a:lnTo>
                    <a:pt x="228" y="74"/>
                  </a:lnTo>
                  <a:lnTo>
                    <a:pt x="230" y="73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28" y="70"/>
                  </a:lnTo>
                  <a:lnTo>
                    <a:pt x="225" y="70"/>
                  </a:lnTo>
                  <a:lnTo>
                    <a:pt x="222" y="71"/>
                  </a:lnTo>
                  <a:lnTo>
                    <a:pt x="220" y="73"/>
                  </a:lnTo>
                  <a:lnTo>
                    <a:pt x="220" y="73"/>
                  </a:lnTo>
                  <a:lnTo>
                    <a:pt x="220" y="74"/>
                  </a:lnTo>
                  <a:lnTo>
                    <a:pt x="220" y="74"/>
                  </a:lnTo>
                  <a:lnTo>
                    <a:pt x="220" y="76"/>
                  </a:lnTo>
                  <a:close/>
                  <a:moveTo>
                    <a:pt x="384" y="79"/>
                  </a:moveTo>
                  <a:lnTo>
                    <a:pt x="385" y="79"/>
                  </a:lnTo>
                  <a:lnTo>
                    <a:pt x="385" y="79"/>
                  </a:lnTo>
                  <a:lnTo>
                    <a:pt x="385" y="80"/>
                  </a:lnTo>
                  <a:lnTo>
                    <a:pt x="385" y="80"/>
                  </a:lnTo>
                  <a:lnTo>
                    <a:pt x="387" y="79"/>
                  </a:lnTo>
                  <a:lnTo>
                    <a:pt x="387" y="79"/>
                  </a:lnTo>
                  <a:lnTo>
                    <a:pt x="388" y="79"/>
                  </a:lnTo>
                  <a:lnTo>
                    <a:pt x="390" y="79"/>
                  </a:lnTo>
                  <a:lnTo>
                    <a:pt x="390" y="80"/>
                  </a:lnTo>
                  <a:lnTo>
                    <a:pt x="390" y="84"/>
                  </a:lnTo>
                  <a:lnTo>
                    <a:pt x="391" y="84"/>
                  </a:lnTo>
                  <a:lnTo>
                    <a:pt x="393" y="84"/>
                  </a:lnTo>
                  <a:lnTo>
                    <a:pt x="396" y="84"/>
                  </a:lnTo>
                  <a:lnTo>
                    <a:pt x="396" y="84"/>
                  </a:lnTo>
                  <a:lnTo>
                    <a:pt x="396" y="84"/>
                  </a:lnTo>
                  <a:lnTo>
                    <a:pt x="396" y="82"/>
                  </a:lnTo>
                  <a:lnTo>
                    <a:pt x="407" y="84"/>
                  </a:lnTo>
                  <a:lnTo>
                    <a:pt x="402" y="76"/>
                  </a:lnTo>
                  <a:lnTo>
                    <a:pt x="401" y="74"/>
                  </a:lnTo>
                  <a:lnTo>
                    <a:pt x="401" y="73"/>
                  </a:lnTo>
                  <a:lnTo>
                    <a:pt x="397" y="71"/>
                  </a:lnTo>
                  <a:lnTo>
                    <a:pt x="391" y="68"/>
                  </a:lnTo>
                  <a:lnTo>
                    <a:pt x="388" y="70"/>
                  </a:lnTo>
                  <a:lnTo>
                    <a:pt x="385" y="73"/>
                  </a:lnTo>
                  <a:lnTo>
                    <a:pt x="384" y="77"/>
                  </a:lnTo>
                  <a:lnTo>
                    <a:pt x="384" y="79"/>
                  </a:lnTo>
                  <a:lnTo>
                    <a:pt x="384" y="79"/>
                  </a:lnTo>
                  <a:close/>
                  <a:moveTo>
                    <a:pt x="205" y="68"/>
                  </a:moveTo>
                  <a:lnTo>
                    <a:pt x="203" y="70"/>
                  </a:lnTo>
                  <a:lnTo>
                    <a:pt x="203" y="71"/>
                  </a:lnTo>
                  <a:lnTo>
                    <a:pt x="205" y="73"/>
                  </a:lnTo>
                  <a:lnTo>
                    <a:pt x="205" y="74"/>
                  </a:lnTo>
                  <a:lnTo>
                    <a:pt x="206" y="74"/>
                  </a:lnTo>
                  <a:lnTo>
                    <a:pt x="210" y="73"/>
                  </a:lnTo>
                  <a:lnTo>
                    <a:pt x="211" y="70"/>
                  </a:lnTo>
                  <a:lnTo>
                    <a:pt x="211" y="67"/>
                  </a:lnTo>
                  <a:lnTo>
                    <a:pt x="211" y="65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5" y="68"/>
                  </a:lnTo>
                  <a:close/>
                  <a:moveTo>
                    <a:pt x="536" y="74"/>
                  </a:moveTo>
                  <a:lnTo>
                    <a:pt x="536" y="73"/>
                  </a:lnTo>
                  <a:lnTo>
                    <a:pt x="538" y="71"/>
                  </a:lnTo>
                  <a:lnTo>
                    <a:pt x="538" y="71"/>
                  </a:lnTo>
                  <a:lnTo>
                    <a:pt x="539" y="70"/>
                  </a:lnTo>
                  <a:lnTo>
                    <a:pt x="539" y="70"/>
                  </a:lnTo>
                  <a:lnTo>
                    <a:pt x="539" y="67"/>
                  </a:lnTo>
                  <a:lnTo>
                    <a:pt x="539" y="64"/>
                  </a:lnTo>
                  <a:lnTo>
                    <a:pt x="541" y="62"/>
                  </a:lnTo>
                  <a:lnTo>
                    <a:pt x="542" y="60"/>
                  </a:lnTo>
                  <a:lnTo>
                    <a:pt x="542" y="64"/>
                  </a:lnTo>
                  <a:lnTo>
                    <a:pt x="542" y="64"/>
                  </a:lnTo>
                  <a:lnTo>
                    <a:pt x="542" y="62"/>
                  </a:lnTo>
                  <a:lnTo>
                    <a:pt x="542" y="62"/>
                  </a:lnTo>
                  <a:lnTo>
                    <a:pt x="544" y="62"/>
                  </a:lnTo>
                  <a:lnTo>
                    <a:pt x="544" y="62"/>
                  </a:lnTo>
                  <a:lnTo>
                    <a:pt x="544" y="60"/>
                  </a:lnTo>
                  <a:lnTo>
                    <a:pt x="542" y="60"/>
                  </a:lnTo>
                  <a:lnTo>
                    <a:pt x="542" y="59"/>
                  </a:lnTo>
                  <a:lnTo>
                    <a:pt x="541" y="59"/>
                  </a:lnTo>
                  <a:lnTo>
                    <a:pt x="539" y="60"/>
                  </a:lnTo>
                  <a:lnTo>
                    <a:pt x="539" y="60"/>
                  </a:lnTo>
                  <a:lnTo>
                    <a:pt x="539" y="64"/>
                  </a:lnTo>
                  <a:lnTo>
                    <a:pt x="536" y="73"/>
                  </a:lnTo>
                  <a:lnTo>
                    <a:pt x="536" y="76"/>
                  </a:lnTo>
                  <a:lnTo>
                    <a:pt x="536" y="77"/>
                  </a:lnTo>
                  <a:lnTo>
                    <a:pt x="536" y="77"/>
                  </a:lnTo>
                  <a:lnTo>
                    <a:pt x="536" y="74"/>
                  </a:lnTo>
                  <a:close/>
                  <a:moveTo>
                    <a:pt x="553" y="71"/>
                  </a:moveTo>
                  <a:lnTo>
                    <a:pt x="553" y="70"/>
                  </a:lnTo>
                  <a:lnTo>
                    <a:pt x="553" y="68"/>
                  </a:lnTo>
                  <a:lnTo>
                    <a:pt x="551" y="67"/>
                  </a:lnTo>
                  <a:lnTo>
                    <a:pt x="551" y="67"/>
                  </a:lnTo>
                  <a:lnTo>
                    <a:pt x="551" y="67"/>
                  </a:lnTo>
                  <a:lnTo>
                    <a:pt x="550" y="67"/>
                  </a:lnTo>
                  <a:lnTo>
                    <a:pt x="544" y="67"/>
                  </a:lnTo>
                  <a:lnTo>
                    <a:pt x="542" y="68"/>
                  </a:lnTo>
                  <a:lnTo>
                    <a:pt x="542" y="68"/>
                  </a:lnTo>
                  <a:lnTo>
                    <a:pt x="544" y="68"/>
                  </a:lnTo>
                  <a:lnTo>
                    <a:pt x="544" y="68"/>
                  </a:lnTo>
                  <a:lnTo>
                    <a:pt x="544" y="70"/>
                  </a:lnTo>
                  <a:lnTo>
                    <a:pt x="544" y="71"/>
                  </a:lnTo>
                  <a:lnTo>
                    <a:pt x="544" y="71"/>
                  </a:lnTo>
                  <a:lnTo>
                    <a:pt x="544" y="71"/>
                  </a:lnTo>
                  <a:lnTo>
                    <a:pt x="545" y="71"/>
                  </a:lnTo>
                  <a:lnTo>
                    <a:pt x="545" y="73"/>
                  </a:lnTo>
                  <a:lnTo>
                    <a:pt x="547" y="71"/>
                  </a:lnTo>
                  <a:lnTo>
                    <a:pt x="548" y="71"/>
                  </a:lnTo>
                  <a:lnTo>
                    <a:pt x="548" y="71"/>
                  </a:lnTo>
                  <a:lnTo>
                    <a:pt x="548" y="73"/>
                  </a:lnTo>
                  <a:lnTo>
                    <a:pt x="548" y="73"/>
                  </a:lnTo>
                  <a:lnTo>
                    <a:pt x="548" y="73"/>
                  </a:lnTo>
                  <a:lnTo>
                    <a:pt x="548" y="74"/>
                  </a:lnTo>
                  <a:lnTo>
                    <a:pt x="550" y="74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6"/>
                  </a:lnTo>
                  <a:lnTo>
                    <a:pt x="551" y="77"/>
                  </a:lnTo>
                  <a:lnTo>
                    <a:pt x="550" y="77"/>
                  </a:lnTo>
                  <a:lnTo>
                    <a:pt x="547" y="79"/>
                  </a:lnTo>
                  <a:lnTo>
                    <a:pt x="545" y="79"/>
                  </a:lnTo>
                  <a:lnTo>
                    <a:pt x="544" y="80"/>
                  </a:lnTo>
                  <a:lnTo>
                    <a:pt x="544" y="82"/>
                  </a:lnTo>
                  <a:lnTo>
                    <a:pt x="547" y="82"/>
                  </a:lnTo>
                  <a:lnTo>
                    <a:pt x="547" y="82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4"/>
                  </a:lnTo>
                  <a:lnTo>
                    <a:pt x="548" y="85"/>
                  </a:lnTo>
                  <a:lnTo>
                    <a:pt x="550" y="87"/>
                  </a:lnTo>
                  <a:lnTo>
                    <a:pt x="550" y="88"/>
                  </a:lnTo>
                  <a:lnTo>
                    <a:pt x="551" y="8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7" y="88"/>
                  </a:lnTo>
                  <a:lnTo>
                    <a:pt x="547" y="90"/>
                  </a:lnTo>
                  <a:lnTo>
                    <a:pt x="544" y="88"/>
                  </a:lnTo>
                  <a:lnTo>
                    <a:pt x="542" y="88"/>
                  </a:lnTo>
                  <a:lnTo>
                    <a:pt x="541" y="91"/>
                  </a:lnTo>
                  <a:lnTo>
                    <a:pt x="541" y="94"/>
                  </a:lnTo>
                  <a:lnTo>
                    <a:pt x="545" y="97"/>
                  </a:lnTo>
                  <a:lnTo>
                    <a:pt x="545" y="97"/>
                  </a:lnTo>
                  <a:lnTo>
                    <a:pt x="544" y="97"/>
                  </a:lnTo>
                  <a:lnTo>
                    <a:pt x="542" y="97"/>
                  </a:lnTo>
                  <a:lnTo>
                    <a:pt x="542" y="99"/>
                  </a:lnTo>
                  <a:lnTo>
                    <a:pt x="542" y="100"/>
                  </a:lnTo>
                  <a:lnTo>
                    <a:pt x="544" y="100"/>
                  </a:lnTo>
                  <a:lnTo>
                    <a:pt x="545" y="99"/>
                  </a:lnTo>
                  <a:lnTo>
                    <a:pt x="547" y="99"/>
                  </a:lnTo>
                  <a:lnTo>
                    <a:pt x="547" y="100"/>
                  </a:lnTo>
                  <a:lnTo>
                    <a:pt x="547" y="102"/>
                  </a:lnTo>
                  <a:lnTo>
                    <a:pt x="548" y="102"/>
                  </a:lnTo>
                  <a:lnTo>
                    <a:pt x="550" y="102"/>
                  </a:lnTo>
                  <a:lnTo>
                    <a:pt x="550" y="104"/>
                  </a:lnTo>
                  <a:lnTo>
                    <a:pt x="550" y="104"/>
                  </a:lnTo>
                  <a:lnTo>
                    <a:pt x="551" y="104"/>
                  </a:lnTo>
                  <a:lnTo>
                    <a:pt x="551" y="104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5" y="104"/>
                  </a:lnTo>
                  <a:lnTo>
                    <a:pt x="555" y="104"/>
                  </a:lnTo>
                  <a:lnTo>
                    <a:pt x="555" y="102"/>
                  </a:lnTo>
                  <a:lnTo>
                    <a:pt x="555" y="102"/>
                  </a:lnTo>
                  <a:lnTo>
                    <a:pt x="555" y="102"/>
                  </a:lnTo>
                  <a:lnTo>
                    <a:pt x="556" y="100"/>
                  </a:lnTo>
                  <a:lnTo>
                    <a:pt x="556" y="102"/>
                  </a:lnTo>
                  <a:lnTo>
                    <a:pt x="555" y="104"/>
                  </a:lnTo>
                  <a:lnTo>
                    <a:pt x="555" y="105"/>
                  </a:lnTo>
                  <a:lnTo>
                    <a:pt x="558" y="107"/>
                  </a:lnTo>
                  <a:lnTo>
                    <a:pt x="559" y="108"/>
                  </a:lnTo>
                  <a:lnTo>
                    <a:pt x="562" y="108"/>
                  </a:lnTo>
                  <a:lnTo>
                    <a:pt x="562" y="107"/>
                  </a:lnTo>
                  <a:lnTo>
                    <a:pt x="564" y="105"/>
                  </a:lnTo>
                  <a:lnTo>
                    <a:pt x="562" y="104"/>
                  </a:lnTo>
                  <a:lnTo>
                    <a:pt x="562" y="102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58" y="105"/>
                  </a:lnTo>
                  <a:lnTo>
                    <a:pt x="558" y="102"/>
                  </a:lnTo>
                  <a:lnTo>
                    <a:pt x="559" y="100"/>
                  </a:lnTo>
                  <a:lnTo>
                    <a:pt x="562" y="100"/>
                  </a:lnTo>
                  <a:lnTo>
                    <a:pt x="562" y="99"/>
                  </a:lnTo>
                  <a:lnTo>
                    <a:pt x="564" y="97"/>
                  </a:lnTo>
                  <a:lnTo>
                    <a:pt x="567" y="94"/>
                  </a:lnTo>
                  <a:lnTo>
                    <a:pt x="568" y="93"/>
                  </a:lnTo>
                  <a:lnTo>
                    <a:pt x="576" y="93"/>
                  </a:lnTo>
                  <a:lnTo>
                    <a:pt x="578" y="93"/>
                  </a:lnTo>
                  <a:lnTo>
                    <a:pt x="578" y="93"/>
                  </a:lnTo>
                  <a:lnTo>
                    <a:pt x="578" y="94"/>
                  </a:lnTo>
                  <a:lnTo>
                    <a:pt x="579" y="93"/>
                  </a:lnTo>
                  <a:lnTo>
                    <a:pt x="579" y="91"/>
                  </a:lnTo>
                  <a:lnTo>
                    <a:pt x="581" y="91"/>
                  </a:lnTo>
                  <a:lnTo>
                    <a:pt x="582" y="93"/>
                  </a:lnTo>
                  <a:lnTo>
                    <a:pt x="582" y="93"/>
                  </a:lnTo>
                  <a:lnTo>
                    <a:pt x="581" y="93"/>
                  </a:lnTo>
                  <a:lnTo>
                    <a:pt x="578" y="96"/>
                  </a:lnTo>
                  <a:lnTo>
                    <a:pt x="579" y="96"/>
                  </a:lnTo>
                  <a:lnTo>
                    <a:pt x="581" y="94"/>
                  </a:lnTo>
                  <a:lnTo>
                    <a:pt x="584" y="94"/>
                  </a:lnTo>
                  <a:lnTo>
                    <a:pt x="584" y="96"/>
                  </a:lnTo>
                  <a:lnTo>
                    <a:pt x="582" y="97"/>
                  </a:lnTo>
                  <a:lnTo>
                    <a:pt x="579" y="97"/>
                  </a:lnTo>
                  <a:lnTo>
                    <a:pt x="579" y="99"/>
                  </a:lnTo>
                  <a:lnTo>
                    <a:pt x="581" y="99"/>
                  </a:lnTo>
                  <a:lnTo>
                    <a:pt x="582" y="99"/>
                  </a:lnTo>
                  <a:lnTo>
                    <a:pt x="584" y="99"/>
                  </a:lnTo>
                  <a:lnTo>
                    <a:pt x="584" y="97"/>
                  </a:lnTo>
                  <a:lnTo>
                    <a:pt x="584" y="97"/>
                  </a:lnTo>
                  <a:lnTo>
                    <a:pt x="585" y="99"/>
                  </a:lnTo>
                  <a:lnTo>
                    <a:pt x="584" y="100"/>
                  </a:lnTo>
                  <a:lnTo>
                    <a:pt x="584" y="100"/>
                  </a:lnTo>
                  <a:lnTo>
                    <a:pt x="582" y="100"/>
                  </a:lnTo>
                  <a:lnTo>
                    <a:pt x="584" y="102"/>
                  </a:lnTo>
                  <a:lnTo>
                    <a:pt x="585" y="102"/>
                  </a:lnTo>
                  <a:lnTo>
                    <a:pt x="585" y="100"/>
                  </a:lnTo>
                  <a:lnTo>
                    <a:pt x="585" y="99"/>
                  </a:lnTo>
                  <a:lnTo>
                    <a:pt x="585" y="96"/>
                  </a:lnTo>
                  <a:lnTo>
                    <a:pt x="587" y="94"/>
                  </a:lnTo>
                  <a:lnTo>
                    <a:pt x="587" y="94"/>
                  </a:lnTo>
                  <a:lnTo>
                    <a:pt x="588" y="93"/>
                  </a:lnTo>
                  <a:lnTo>
                    <a:pt x="587" y="93"/>
                  </a:lnTo>
                  <a:lnTo>
                    <a:pt x="585" y="91"/>
                  </a:lnTo>
                  <a:lnTo>
                    <a:pt x="584" y="87"/>
                  </a:lnTo>
                  <a:lnTo>
                    <a:pt x="582" y="85"/>
                  </a:lnTo>
                  <a:lnTo>
                    <a:pt x="578" y="85"/>
                  </a:lnTo>
                  <a:lnTo>
                    <a:pt x="576" y="84"/>
                  </a:lnTo>
                  <a:lnTo>
                    <a:pt x="576" y="84"/>
                  </a:lnTo>
                  <a:lnTo>
                    <a:pt x="575" y="80"/>
                  </a:lnTo>
                  <a:lnTo>
                    <a:pt x="575" y="79"/>
                  </a:lnTo>
                  <a:lnTo>
                    <a:pt x="575" y="77"/>
                  </a:lnTo>
                  <a:lnTo>
                    <a:pt x="575" y="74"/>
                  </a:lnTo>
                  <a:lnTo>
                    <a:pt x="576" y="73"/>
                  </a:lnTo>
                  <a:lnTo>
                    <a:pt x="579" y="71"/>
                  </a:lnTo>
                  <a:lnTo>
                    <a:pt x="582" y="68"/>
                  </a:lnTo>
                  <a:lnTo>
                    <a:pt x="581" y="65"/>
                  </a:lnTo>
                  <a:lnTo>
                    <a:pt x="579" y="62"/>
                  </a:lnTo>
                  <a:lnTo>
                    <a:pt x="576" y="62"/>
                  </a:lnTo>
                  <a:lnTo>
                    <a:pt x="567" y="64"/>
                  </a:lnTo>
                  <a:lnTo>
                    <a:pt x="564" y="62"/>
                  </a:lnTo>
                  <a:lnTo>
                    <a:pt x="562" y="60"/>
                  </a:lnTo>
                  <a:lnTo>
                    <a:pt x="561" y="60"/>
                  </a:lnTo>
                  <a:lnTo>
                    <a:pt x="561" y="57"/>
                  </a:lnTo>
                  <a:lnTo>
                    <a:pt x="561" y="56"/>
                  </a:lnTo>
                  <a:lnTo>
                    <a:pt x="561" y="54"/>
                  </a:lnTo>
                  <a:lnTo>
                    <a:pt x="562" y="53"/>
                  </a:lnTo>
                  <a:lnTo>
                    <a:pt x="564" y="51"/>
                  </a:lnTo>
                  <a:lnTo>
                    <a:pt x="565" y="51"/>
                  </a:lnTo>
                  <a:lnTo>
                    <a:pt x="565" y="50"/>
                  </a:lnTo>
                  <a:lnTo>
                    <a:pt x="562" y="50"/>
                  </a:lnTo>
                  <a:lnTo>
                    <a:pt x="561" y="50"/>
                  </a:lnTo>
                  <a:lnTo>
                    <a:pt x="550" y="53"/>
                  </a:lnTo>
                  <a:lnTo>
                    <a:pt x="550" y="53"/>
                  </a:lnTo>
                  <a:lnTo>
                    <a:pt x="548" y="53"/>
                  </a:lnTo>
                  <a:lnTo>
                    <a:pt x="548" y="54"/>
                  </a:lnTo>
                  <a:lnTo>
                    <a:pt x="548" y="56"/>
                  </a:lnTo>
                  <a:lnTo>
                    <a:pt x="548" y="56"/>
                  </a:lnTo>
                  <a:lnTo>
                    <a:pt x="550" y="56"/>
                  </a:lnTo>
                  <a:lnTo>
                    <a:pt x="553" y="54"/>
                  </a:lnTo>
                  <a:lnTo>
                    <a:pt x="553" y="54"/>
                  </a:lnTo>
                  <a:lnTo>
                    <a:pt x="553" y="56"/>
                  </a:lnTo>
                  <a:lnTo>
                    <a:pt x="553" y="57"/>
                  </a:lnTo>
                  <a:lnTo>
                    <a:pt x="553" y="57"/>
                  </a:lnTo>
                  <a:lnTo>
                    <a:pt x="551" y="59"/>
                  </a:lnTo>
                  <a:lnTo>
                    <a:pt x="550" y="60"/>
                  </a:lnTo>
                  <a:lnTo>
                    <a:pt x="550" y="64"/>
                  </a:lnTo>
                  <a:lnTo>
                    <a:pt x="550" y="65"/>
                  </a:lnTo>
                  <a:lnTo>
                    <a:pt x="551" y="65"/>
                  </a:lnTo>
                  <a:lnTo>
                    <a:pt x="553" y="65"/>
                  </a:lnTo>
                  <a:lnTo>
                    <a:pt x="555" y="64"/>
                  </a:lnTo>
                  <a:lnTo>
                    <a:pt x="556" y="62"/>
                  </a:lnTo>
                  <a:lnTo>
                    <a:pt x="558" y="60"/>
                  </a:lnTo>
                  <a:lnTo>
                    <a:pt x="558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61" y="60"/>
                  </a:lnTo>
                  <a:lnTo>
                    <a:pt x="561" y="62"/>
                  </a:lnTo>
                  <a:lnTo>
                    <a:pt x="561" y="62"/>
                  </a:lnTo>
                  <a:lnTo>
                    <a:pt x="561" y="64"/>
                  </a:lnTo>
                  <a:lnTo>
                    <a:pt x="562" y="64"/>
                  </a:lnTo>
                  <a:lnTo>
                    <a:pt x="562" y="64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7" y="67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70" y="64"/>
                  </a:lnTo>
                  <a:lnTo>
                    <a:pt x="570" y="64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7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70"/>
                  </a:lnTo>
                  <a:lnTo>
                    <a:pt x="570" y="71"/>
                  </a:lnTo>
                  <a:lnTo>
                    <a:pt x="570" y="71"/>
                  </a:lnTo>
                  <a:lnTo>
                    <a:pt x="570" y="71"/>
                  </a:lnTo>
                  <a:lnTo>
                    <a:pt x="568" y="74"/>
                  </a:lnTo>
                  <a:lnTo>
                    <a:pt x="570" y="74"/>
                  </a:lnTo>
                  <a:lnTo>
                    <a:pt x="565" y="74"/>
                  </a:lnTo>
                  <a:lnTo>
                    <a:pt x="564" y="74"/>
                  </a:lnTo>
                  <a:lnTo>
                    <a:pt x="562" y="71"/>
                  </a:lnTo>
                  <a:lnTo>
                    <a:pt x="562" y="70"/>
                  </a:lnTo>
                  <a:lnTo>
                    <a:pt x="562" y="68"/>
                  </a:lnTo>
                  <a:lnTo>
                    <a:pt x="561" y="67"/>
                  </a:lnTo>
                  <a:lnTo>
                    <a:pt x="559" y="65"/>
                  </a:lnTo>
                  <a:lnTo>
                    <a:pt x="559" y="65"/>
                  </a:lnTo>
                  <a:lnTo>
                    <a:pt x="559" y="67"/>
                  </a:lnTo>
                  <a:lnTo>
                    <a:pt x="559" y="67"/>
                  </a:lnTo>
                  <a:lnTo>
                    <a:pt x="559" y="68"/>
                  </a:lnTo>
                  <a:lnTo>
                    <a:pt x="561" y="68"/>
                  </a:lnTo>
                  <a:lnTo>
                    <a:pt x="561" y="70"/>
                  </a:lnTo>
                  <a:lnTo>
                    <a:pt x="559" y="70"/>
                  </a:lnTo>
                  <a:lnTo>
                    <a:pt x="559" y="70"/>
                  </a:lnTo>
                  <a:lnTo>
                    <a:pt x="558" y="70"/>
                  </a:lnTo>
                  <a:lnTo>
                    <a:pt x="558" y="68"/>
                  </a:lnTo>
                  <a:lnTo>
                    <a:pt x="559" y="68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8" y="65"/>
                  </a:lnTo>
                  <a:lnTo>
                    <a:pt x="559" y="62"/>
                  </a:lnTo>
                  <a:lnTo>
                    <a:pt x="558" y="62"/>
                  </a:lnTo>
                  <a:lnTo>
                    <a:pt x="556" y="64"/>
                  </a:lnTo>
                  <a:lnTo>
                    <a:pt x="555" y="65"/>
                  </a:lnTo>
                  <a:lnTo>
                    <a:pt x="555" y="67"/>
                  </a:lnTo>
                  <a:lnTo>
                    <a:pt x="555" y="68"/>
                  </a:lnTo>
                  <a:lnTo>
                    <a:pt x="555" y="70"/>
                  </a:lnTo>
                  <a:lnTo>
                    <a:pt x="553" y="71"/>
                  </a:lnTo>
                  <a:close/>
                  <a:moveTo>
                    <a:pt x="185" y="47"/>
                  </a:moveTo>
                  <a:lnTo>
                    <a:pt x="186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45"/>
                  </a:lnTo>
                  <a:lnTo>
                    <a:pt x="185" y="47"/>
                  </a:lnTo>
                  <a:lnTo>
                    <a:pt x="183" y="48"/>
                  </a:lnTo>
                  <a:lnTo>
                    <a:pt x="180" y="51"/>
                  </a:lnTo>
                  <a:lnTo>
                    <a:pt x="182" y="54"/>
                  </a:lnTo>
                  <a:lnTo>
                    <a:pt x="183" y="56"/>
                  </a:lnTo>
                  <a:lnTo>
                    <a:pt x="185" y="57"/>
                  </a:lnTo>
                  <a:lnTo>
                    <a:pt x="188" y="57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3" y="48"/>
                  </a:lnTo>
                  <a:lnTo>
                    <a:pt x="185" y="47"/>
                  </a:lnTo>
                  <a:lnTo>
                    <a:pt x="185" y="47"/>
                  </a:lnTo>
                  <a:close/>
                  <a:moveTo>
                    <a:pt x="196" y="50"/>
                  </a:moveTo>
                  <a:lnTo>
                    <a:pt x="197" y="48"/>
                  </a:lnTo>
                  <a:lnTo>
                    <a:pt x="197" y="48"/>
                  </a:lnTo>
                  <a:lnTo>
                    <a:pt x="199" y="50"/>
                  </a:lnTo>
                  <a:lnTo>
                    <a:pt x="200" y="50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3" y="45"/>
                  </a:lnTo>
                  <a:lnTo>
                    <a:pt x="203" y="45"/>
                  </a:lnTo>
                  <a:lnTo>
                    <a:pt x="203" y="43"/>
                  </a:lnTo>
                  <a:lnTo>
                    <a:pt x="202" y="42"/>
                  </a:lnTo>
                  <a:lnTo>
                    <a:pt x="200" y="40"/>
                  </a:lnTo>
                  <a:lnTo>
                    <a:pt x="196" y="40"/>
                  </a:lnTo>
                  <a:lnTo>
                    <a:pt x="194" y="40"/>
                  </a:lnTo>
                  <a:lnTo>
                    <a:pt x="191" y="42"/>
                  </a:lnTo>
                  <a:lnTo>
                    <a:pt x="190" y="43"/>
                  </a:lnTo>
                  <a:lnTo>
                    <a:pt x="188" y="45"/>
                  </a:lnTo>
                  <a:lnTo>
                    <a:pt x="193" y="48"/>
                  </a:lnTo>
                  <a:lnTo>
                    <a:pt x="196" y="50"/>
                  </a:lnTo>
                  <a:close/>
                  <a:moveTo>
                    <a:pt x="682" y="475"/>
                  </a:moveTo>
                  <a:lnTo>
                    <a:pt x="681" y="475"/>
                  </a:lnTo>
                  <a:lnTo>
                    <a:pt x="682" y="470"/>
                  </a:lnTo>
                  <a:lnTo>
                    <a:pt x="681" y="469"/>
                  </a:lnTo>
                  <a:lnTo>
                    <a:pt x="679" y="467"/>
                  </a:lnTo>
                  <a:lnTo>
                    <a:pt x="678" y="464"/>
                  </a:lnTo>
                  <a:lnTo>
                    <a:pt x="678" y="462"/>
                  </a:lnTo>
                  <a:lnTo>
                    <a:pt x="678" y="461"/>
                  </a:lnTo>
                  <a:lnTo>
                    <a:pt x="678" y="461"/>
                  </a:lnTo>
                  <a:lnTo>
                    <a:pt x="676" y="456"/>
                  </a:lnTo>
                  <a:lnTo>
                    <a:pt x="676" y="453"/>
                  </a:lnTo>
                  <a:lnTo>
                    <a:pt x="678" y="452"/>
                  </a:lnTo>
                  <a:lnTo>
                    <a:pt x="676" y="450"/>
                  </a:lnTo>
                  <a:lnTo>
                    <a:pt x="675" y="448"/>
                  </a:lnTo>
                  <a:lnTo>
                    <a:pt x="673" y="447"/>
                  </a:lnTo>
                  <a:lnTo>
                    <a:pt x="672" y="447"/>
                  </a:lnTo>
                  <a:lnTo>
                    <a:pt x="669" y="445"/>
                  </a:lnTo>
                  <a:lnTo>
                    <a:pt x="667" y="444"/>
                  </a:lnTo>
                  <a:lnTo>
                    <a:pt x="667" y="444"/>
                  </a:lnTo>
                  <a:lnTo>
                    <a:pt x="665" y="444"/>
                  </a:lnTo>
                  <a:lnTo>
                    <a:pt x="661" y="442"/>
                  </a:lnTo>
                  <a:lnTo>
                    <a:pt x="659" y="439"/>
                  </a:lnTo>
                  <a:lnTo>
                    <a:pt x="658" y="439"/>
                  </a:lnTo>
                  <a:lnTo>
                    <a:pt x="658" y="438"/>
                  </a:lnTo>
                  <a:lnTo>
                    <a:pt x="659" y="436"/>
                  </a:lnTo>
                  <a:lnTo>
                    <a:pt x="661" y="433"/>
                  </a:lnTo>
                  <a:lnTo>
                    <a:pt x="661" y="430"/>
                  </a:lnTo>
                  <a:lnTo>
                    <a:pt x="661" y="427"/>
                  </a:lnTo>
                  <a:lnTo>
                    <a:pt x="661" y="424"/>
                  </a:lnTo>
                  <a:lnTo>
                    <a:pt x="659" y="422"/>
                  </a:lnTo>
                  <a:lnTo>
                    <a:pt x="656" y="419"/>
                  </a:lnTo>
                  <a:lnTo>
                    <a:pt x="655" y="418"/>
                  </a:lnTo>
                  <a:lnTo>
                    <a:pt x="653" y="415"/>
                  </a:lnTo>
                  <a:lnTo>
                    <a:pt x="653" y="412"/>
                  </a:lnTo>
                  <a:lnTo>
                    <a:pt x="652" y="410"/>
                  </a:lnTo>
                  <a:lnTo>
                    <a:pt x="650" y="408"/>
                  </a:lnTo>
                  <a:lnTo>
                    <a:pt x="650" y="407"/>
                  </a:lnTo>
                  <a:lnTo>
                    <a:pt x="650" y="404"/>
                  </a:lnTo>
                  <a:lnTo>
                    <a:pt x="650" y="402"/>
                  </a:lnTo>
                  <a:lnTo>
                    <a:pt x="655" y="398"/>
                  </a:lnTo>
                  <a:lnTo>
                    <a:pt x="656" y="396"/>
                  </a:lnTo>
                  <a:lnTo>
                    <a:pt x="658" y="395"/>
                  </a:lnTo>
                  <a:lnTo>
                    <a:pt x="658" y="392"/>
                  </a:lnTo>
                  <a:lnTo>
                    <a:pt x="658" y="384"/>
                  </a:lnTo>
                  <a:lnTo>
                    <a:pt x="658" y="384"/>
                  </a:lnTo>
                  <a:lnTo>
                    <a:pt x="659" y="381"/>
                  </a:lnTo>
                  <a:lnTo>
                    <a:pt x="661" y="379"/>
                  </a:lnTo>
                  <a:lnTo>
                    <a:pt x="661" y="378"/>
                  </a:lnTo>
                  <a:lnTo>
                    <a:pt x="661" y="378"/>
                  </a:lnTo>
                  <a:lnTo>
                    <a:pt x="661" y="376"/>
                  </a:lnTo>
                  <a:lnTo>
                    <a:pt x="662" y="375"/>
                  </a:lnTo>
                  <a:lnTo>
                    <a:pt x="658" y="370"/>
                  </a:lnTo>
                  <a:lnTo>
                    <a:pt x="658" y="368"/>
                  </a:lnTo>
                  <a:lnTo>
                    <a:pt x="658" y="365"/>
                  </a:lnTo>
                  <a:lnTo>
                    <a:pt x="658" y="364"/>
                  </a:lnTo>
                  <a:lnTo>
                    <a:pt x="659" y="362"/>
                  </a:lnTo>
                  <a:lnTo>
                    <a:pt x="658" y="361"/>
                  </a:lnTo>
                  <a:lnTo>
                    <a:pt x="658" y="359"/>
                  </a:lnTo>
                  <a:lnTo>
                    <a:pt x="659" y="358"/>
                  </a:lnTo>
                  <a:lnTo>
                    <a:pt x="659" y="355"/>
                  </a:lnTo>
                  <a:lnTo>
                    <a:pt x="658" y="353"/>
                  </a:lnTo>
                  <a:lnTo>
                    <a:pt x="656" y="351"/>
                  </a:lnTo>
                  <a:lnTo>
                    <a:pt x="653" y="351"/>
                  </a:lnTo>
                  <a:lnTo>
                    <a:pt x="652" y="350"/>
                  </a:lnTo>
                  <a:lnTo>
                    <a:pt x="650" y="348"/>
                  </a:lnTo>
                  <a:lnTo>
                    <a:pt x="650" y="345"/>
                  </a:lnTo>
                  <a:lnTo>
                    <a:pt x="649" y="342"/>
                  </a:lnTo>
                  <a:lnTo>
                    <a:pt x="647" y="338"/>
                  </a:lnTo>
                  <a:lnTo>
                    <a:pt x="645" y="333"/>
                  </a:lnTo>
                  <a:lnTo>
                    <a:pt x="650" y="328"/>
                  </a:lnTo>
                  <a:lnTo>
                    <a:pt x="652" y="327"/>
                  </a:lnTo>
                  <a:lnTo>
                    <a:pt x="653" y="324"/>
                  </a:lnTo>
                  <a:lnTo>
                    <a:pt x="653" y="322"/>
                  </a:lnTo>
                  <a:lnTo>
                    <a:pt x="652" y="321"/>
                  </a:lnTo>
                  <a:lnTo>
                    <a:pt x="652" y="318"/>
                  </a:lnTo>
                  <a:lnTo>
                    <a:pt x="655" y="313"/>
                  </a:lnTo>
                  <a:lnTo>
                    <a:pt x="652" y="311"/>
                  </a:lnTo>
                  <a:lnTo>
                    <a:pt x="652" y="311"/>
                  </a:lnTo>
                  <a:lnTo>
                    <a:pt x="647" y="307"/>
                  </a:lnTo>
                  <a:lnTo>
                    <a:pt x="642" y="304"/>
                  </a:lnTo>
                  <a:lnTo>
                    <a:pt x="641" y="302"/>
                  </a:lnTo>
                  <a:lnTo>
                    <a:pt x="639" y="301"/>
                  </a:lnTo>
                  <a:lnTo>
                    <a:pt x="638" y="301"/>
                  </a:lnTo>
                  <a:lnTo>
                    <a:pt x="636" y="295"/>
                  </a:lnTo>
                  <a:lnTo>
                    <a:pt x="635" y="295"/>
                  </a:lnTo>
                  <a:lnTo>
                    <a:pt x="627" y="288"/>
                  </a:lnTo>
                  <a:lnTo>
                    <a:pt x="624" y="287"/>
                  </a:lnTo>
                  <a:lnTo>
                    <a:pt x="622" y="284"/>
                  </a:lnTo>
                  <a:lnTo>
                    <a:pt x="621" y="284"/>
                  </a:lnTo>
                  <a:lnTo>
                    <a:pt x="619" y="284"/>
                  </a:lnTo>
                  <a:lnTo>
                    <a:pt x="618" y="282"/>
                  </a:lnTo>
                  <a:lnTo>
                    <a:pt x="616" y="282"/>
                  </a:lnTo>
                  <a:lnTo>
                    <a:pt x="615" y="281"/>
                  </a:lnTo>
                  <a:lnTo>
                    <a:pt x="618" y="278"/>
                  </a:lnTo>
                  <a:lnTo>
                    <a:pt x="618" y="276"/>
                  </a:lnTo>
                  <a:lnTo>
                    <a:pt x="618" y="274"/>
                  </a:lnTo>
                  <a:lnTo>
                    <a:pt x="618" y="273"/>
                  </a:lnTo>
                  <a:lnTo>
                    <a:pt x="618" y="268"/>
                  </a:lnTo>
                  <a:lnTo>
                    <a:pt x="616" y="267"/>
                  </a:lnTo>
                  <a:lnTo>
                    <a:pt x="616" y="267"/>
                  </a:lnTo>
                  <a:lnTo>
                    <a:pt x="621" y="264"/>
                  </a:lnTo>
                  <a:lnTo>
                    <a:pt x="625" y="262"/>
                  </a:lnTo>
                  <a:lnTo>
                    <a:pt x="628" y="258"/>
                  </a:lnTo>
                  <a:lnTo>
                    <a:pt x="632" y="256"/>
                  </a:lnTo>
                  <a:lnTo>
                    <a:pt x="633" y="253"/>
                  </a:lnTo>
                  <a:lnTo>
                    <a:pt x="633" y="253"/>
                  </a:lnTo>
                  <a:lnTo>
                    <a:pt x="635" y="245"/>
                  </a:lnTo>
                  <a:lnTo>
                    <a:pt x="635" y="244"/>
                  </a:lnTo>
                  <a:lnTo>
                    <a:pt x="635" y="242"/>
                  </a:lnTo>
                  <a:lnTo>
                    <a:pt x="635" y="239"/>
                  </a:lnTo>
                  <a:lnTo>
                    <a:pt x="635" y="238"/>
                  </a:lnTo>
                  <a:lnTo>
                    <a:pt x="635" y="236"/>
                  </a:lnTo>
                  <a:lnTo>
                    <a:pt x="636" y="236"/>
                  </a:lnTo>
                  <a:lnTo>
                    <a:pt x="636" y="234"/>
                  </a:lnTo>
                  <a:lnTo>
                    <a:pt x="636" y="234"/>
                  </a:lnTo>
                  <a:lnTo>
                    <a:pt x="639" y="230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6" y="228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4"/>
                  </a:lnTo>
                  <a:lnTo>
                    <a:pt x="636" y="222"/>
                  </a:lnTo>
                  <a:lnTo>
                    <a:pt x="635" y="221"/>
                  </a:lnTo>
                  <a:lnTo>
                    <a:pt x="633" y="213"/>
                  </a:lnTo>
                  <a:lnTo>
                    <a:pt x="633" y="207"/>
                  </a:lnTo>
                  <a:lnTo>
                    <a:pt x="632" y="204"/>
                  </a:lnTo>
                  <a:lnTo>
                    <a:pt x="630" y="201"/>
                  </a:lnTo>
                  <a:lnTo>
                    <a:pt x="628" y="199"/>
                  </a:lnTo>
                  <a:lnTo>
                    <a:pt x="628" y="196"/>
                  </a:lnTo>
                  <a:lnTo>
                    <a:pt x="628" y="193"/>
                  </a:lnTo>
                  <a:lnTo>
                    <a:pt x="628" y="188"/>
                  </a:lnTo>
                  <a:lnTo>
                    <a:pt x="628" y="187"/>
                  </a:lnTo>
                  <a:lnTo>
                    <a:pt x="627" y="182"/>
                  </a:lnTo>
                  <a:lnTo>
                    <a:pt x="625" y="181"/>
                  </a:lnTo>
                  <a:lnTo>
                    <a:pt x="625" y="177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4" y="174"/>
                  </a:lnTo>
                  <a:lnTo>
                    <a:pt x="622" y="174"/>
                  </a:lnTo>
                  <a:lnTo>
                    <a:pt x="622" y="173"/>
                  </a:lnTo>
                  <a:lnTo>
                    <a:pt x="625" y="171"/>
                  </a:lnTo>
                  <a:lnTo>
                    <a:pt x="625" y="170"/>
                  </a:lnTo>
                  <a:lnTo>
                    <a:pt x="625" y="168"/>
                  </a:lnTo>
                  <a:lnTo>
                    <a:pt x="624" y="167"/>
                  </a:lnTo>
                  <a:lnTo>
                    <a:pt x="624" y="167"/>
                  </a:lnTo>
                  <a:lnTo>
                    <a:pt x="622" y="167"/>
                  </a:lnTo>
                  <a:lnTo>
                    <a:pt x="622" y="168"/>
                  </a:lnTo>
                  <a:lnTo>
                    <a:pt x="619" y="170"/>
                  </a:lnTo>
                  <a:lnTo>
                    <a:pt x="613" y="170"/>
                  </a:lnTo>
                  <a:lnTo>
                    <a:pt x="613" y="168"/>
                  </a:lnTo>
                  <a:lnTo>
                    <a:pt x="612" y="168"/>
                  </a:lnTo>
                  <a:lnTo>
                    <a:pt x="610" y="167"/>
                  </a:lnTo>
                  <a:lnTo>
                    <a:pt x="608" y="168"/>
                  </a:lnTo>
                  <a:lnTo>
                    <a:pt x="608" y="167"/>
                  </a:lnTo>
                  <a:lnTo>
                    <a:pt x="607" y="165"/>
                  </a:lnTo>
                  <a:lnTo>
                    <a:pt x="605" y="165"/>
                  </a:lnTo>
                  <a:lnTo>
                    <a:pt x="599" y="161"/>
                  </a:lnTo>
                  <a:lnTo>
                    <a:pt x="599" y="161"/>
                  </a:lnTo>
                  <a:lnTo>
                    <a:pt x="598" y="159"/>
                  </a:lnTo>
                  <a:lnTo>
                    <a:pt x="596" y="157"/>
                  </a:lnTo>
                  <a:lnTo>
                    <a:pt x="596" y="157"/>
                  </a:lnTo>
                  <a:lnTo>
                    <a:pt x="595" y="156"/>
                  </a:lnTo>
                  <a:lnTo>
                    <a:pt x="593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3" y="153"/>
                  </a:lnTo>
                  <a:lnTo>
                    <a:pt x="598" y="148"/>
                  </a:lnTo>
                  <a:lnTo>
                    <a:pt x="599" y="147"/>
                  </a:lnTo>
                  <a:lnTo>
                    <a:pt x="599" y="145"/>
                  </a:lnTo>
                  <a:lnTo>
                    <a:pt x="599" y="144"/>
                  </a:lnTo>
                  <a:lnTo>
                    <a:pt x="598" y="144"/>
                  </a:lnTo>
                  <a:lnTo>
                    <a:pt x="598" y="144"/>
                  </a:lnTo>
                  <a:lnTo>
                    <a:pt x="598" y="144"/>
                  </a:lnTo>
                  <a:lnTo>
                    <a:pt x="596" y="144"/>
                  </a:lnTo>
                  <a:lnTo>
                    <a:pt x="596" y="142"/>
                  </a:lnTo>
                  <a:lnTo>
                    <a:pt x="596" y="142"/>
                  </a:lnTo>
                  <a:lnTo>
                    <a:pt x="595" y="142"/>
                  </a:lnTo>
                  <a:lnTo>
                    <a:pt x="595" y="142"/>
                  </a:lnTo>
                  <a:lnTo>
                    <a:pt x="595" y="142"/>
                  </a:lnTo>
                  <a:lnTo>
                    <a:pt x="595" y="141"/>
                  </a:lnTo>
                  <a:lnTo>
                    <a:pt x="595" y="141"/>
                  </a:lnTo>
                  <a:lnTo>
                    <a:pt x="595" y="141"/>
                  </a:lnTo>
                  <a:lnTo>
                    <a:pt x="595" y="139"/>
                  </a:lnTo>
                  <a:lnTo>
                    <a:pt x="595" y="139"/>
                  </a:lnTo>
                  <a:lnTo>
                    <a:pt x="593" y="137"/>
                  </a:lnTo>
                  <a:lnTo>
                    <a:pt x="592" y="137"/>
                  </a:lnTo>
                  <a:lnTo>
                    <a:pt x="592" y="137"/>
                  </a:lnTo>
                  <a:lnTo>
                    <a:pt x="590" y="136"/>
                  </a:lnTo>
                  <a:lnTo>
                    <a:pt x="588" y="133"/>
                  </a:lnTo>
                  <a:lnTo>
                    <a:pt x="587" y="133"/>
                  </a:lnTo>
                  <a:lnTo>
                    <a:pt x="588" y="131"/>
                  </a:lnTo>
                  <a:lnTo>
                    <a:pt x="590" y="128"/>
                  </a:lnTo>
                  <a:lnTo>
                    <a:pt x="590" y="127"/>
                  </a:lnTo>
                  <a:lnTo>
                    <a:pt x="592" y="124"/>
                  </a:lnTo>
                  <a:lnTo>
                    <a:pt x="592" y="124"/>
                  </a:lnTo>
                  <a:lnTo>
                    <a:pt x="585" y="119"/>
                  </a:lnTo>
                  <a:lnTo>
                    <a:pt x="584" y="117"/>
                  </a:lnTo>
                  <a:lnTo>
                    <a:pt x="584" y="116"/>
                  </a:lnTo>
                  <a:lnTo>
                    <a:pt x="584" y="116"/>
                  </a:lnTo>
                  <a:lnTo>
                    <a:pt x="585" y="116"/>
                  </a:lnTo>
                  <a:lnTo>
                    <a:pt x="585" y="116"/>
                  </a:lnTo>
                  <a:lnTo>
                    <a:pt x="584" y="114"/>
                  </a:lnTo>
                  <a:lnTo>
                    <a:pt x="582" y="116"/>
                  </a:lnTo>
                  <a:lnTo>
                    <a:pt x="579" y="117"/>
                  </a:lnTo>
                  <a:lnTo>
                    <a:pt x="576" y="119"/>
                  </a:lnTo>
                  <a:lnTo>
                    <a:pt x="567" y="120"/>
                  </a:lnTo>
                  <a:lnTo>
                    <a:pt x="567" y="122"/>
                  </a:lnTo>
                  <a:lnTo>
                    <a:pt x="568" y="122"/>
                  </a:lnTo>
                  <a:lnTo>
                    <a:pt x="568" y="124"/>
                  </a:lnTo>
                  <a:lnTo>
                    <a:pt x="570" y="124"/>
                  </a:lnTo>
                  <a:lnTo>
                    <a:pt x="570" y="125"/>
                  </a:lnTo>
                  <a:lnTo>
                    <a:pt x="567" y="125"/>
                  </a:lnTo>
                  <a:lnTo>
                    <a:pt x="565" y="124"/>
                  </a:lnTo>
                  <a:lnTo>
                    <a:pt x="565" y="122"/>
                  </a:lnTo>
                  <a:lnTo>
                    <a:pt x="564" y="120"/>
                  </a:lnTo>
                  <a:lnTo>
                    <a:pt x="562" y="117"/>
                  </a:lnTo>
                  <a:lnTo>
                    <a:pt x="562" y="117"/>
                  </a:lnTo>
                  <a:lnTo>
                    <a:pt x="562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7"/>
                  </a:lnTo>
                  <a:lnTo>
                    <a:pt x="561" y="116"/>
                  </a:lnTo>
                  <a:lnTo>
                    <a:pt x="562" y="114"/>
                  </a:lnTo>
                  <a:lnTo>
                    <a:pt x="561" y="114"/>
                  </a:lnTo>
                  <a:lnTo>
                    <a:pt x="558" y="116"/>
                  </a:lnTo>
                  <a:lnTo>
                    <a:pt x="556" y="116"/>
                  </a:lnTo>
                  <a:lnTo>
                    <a:pt x="556" y="114"/>
                  </a:lnTo>
                  <a:lnTo>
                    <a:pt x="558" y="114"/>
                  </a:lnTo>
                  <a:lnTo>
                    <a:pt x="556" y="113"/>
                  </a:lnTo>
                  <a:lnTo>
                    <a:pt x="553" y="107"/>
                  </a:lnTo>
                  <a:lnTo>
                    <a:pt x="551" y="107"/>
                  </a:lnTo>
                  <a:lnTo>
                    <a:pt x="548" y="105"/>
                  </a:lnTo>
                  <a:lnTo>
                    <a:pt x="545" y="104"/>
                  </a:lnTo>
                  <a:lnTo>
                    <a:pt x="542" y="104"/>
                  </a:lnTo>
                  <a:lnTo>
                    <a:pt x="542" y="104"/>
                  </a:lnTo>
                  <a:lnTo>
                    <a:pt x="544" y="102"/>
                  </a:lnTo>
                  <a:lnTo>
                    <a:pt x="544" y="102"/>
                  </a:lnTo>
                  <a:lnTo>
                    <a:pt x="544" y="102"/>
                  </a:lnTo>
                  <a:lnTo>
                    <a:pt x="541" y="102"/>
                  </a:lnTo>
                  <a:lnTo>
                    <a:pt x="541" y="100"/>
                  </a:lnTo>
                  <a:lnTo>
                    <a:pt x="539" y="100"/>
                  </a:lnTo>
                  <a:lnTo>
                    <a:pt x="539" y="99"/>
                  </a:lnTo>
                  <a:lnTo>
                    <a:pt x="539" y="97"/>
                  </a:lnTo>
                  <a:lnTo>
                    <a:pt x="538" y="94"/>
                  </a:lnTo>
                  <a:lnTo>
                    <a:pt x="538" y="91"/>
                  </a:lnTo>
                  <a:lnTo>
                    <a:pt x="539" y="90"/>
                  </a:lnTo>
                  <a:lnTo>
                    <a:pt x="538" y="88"/>
                  </a:lnTo>
                  <a:lnTo>
                    <a:pt x="535" y="87"/>
                  </a:lnTo>
                  <a:lnTo>
                    <a:pt x="533" y="85"/>
                  </a:lnTo>
                  <a:lnTo>
                    <a:pt x="533" y="84"/>
                  </a:lnTo>
                  <a:lnTo>
                    <a:pt x="533" y="82"/>
                  </a:lnTo>
                  <a:lnTo>
                    <a:pt x="535" y="82"/>
                  </a:lnTo>
                  <a:lnTo>
                    <a:pt x="531" y="80"/>
                  </a:lnTo>
                  <a:lnTo>
                    <a:pt x="530" y="82"/>
                  </a:lnTo>
                  <a:lnTo>
                    <a:pt x="527" y="84"/>
                  </a:lnTo>
                  <a:lnTo>
                    <a:pt x="524" y="87"/>
                  </a:lnTo>
                  <a:lnTo>
                    <a:pt x="524" y="87"/>
                  </a:lnTo>
                  <a:lnTo>
                    <a:pt x="522" y="90"/>
                  </a:lnTo>
                  <a:lnTo>
                    <a:pt x="522" y="90"/>
                  </a:lnTo>
                  <a:lnTo>
                    <a:pt x="521" y="91"/>
                  </a:lnTo>
                  <a:lnTo>
                    <a:pt x="521" y="91"/>
                  </a:lnTo>
                  <a:lnTo>
                    <a:pt x="519" y="91"/>
                  </a:lnTo>
                  <a:lnTo>
                    <a:pt x="519" y="91"/>
                  </a:lnTo>
                  <a:lnTo>
                    <a:pt x="518" y="91"/>
                  </a:lnTo>
                  <a:lnTo>
                    <a:pt x="518" y="91"/>
                  </a:lnTo>
                  <a:lnTo>
                    <a:pt x="516" y="90"/>
                  </a:lnTo>
                  <a:lnTo>
                    <a:pt x="516" y="88"/>
                  </a:lnTo>
                  <a:lnTo>
                    <a:pt x="516" y="88"/>
                  </a:lnTo>
                  <a:lnTo>
                    <a:pt x="516" y="87"/>
                  </a:lnTo>
                  <a:lnTo>
                    <a:pt x="515" y="88"/>
                  </a:lnTo>
                  <a:lnTo>
                    <a:pt x="515" y="88"/>
                  </a:lnTo>
                  <a:lnTo>
                    <a:pt x="513" y="88"/>
                  </a:lnTo>
                  <a:lnTo>
                    <a:pt x="513" y="88"/>
                  </a:lnTo>
                  <a:lnTo>
                    <a:pt x="511" y="88"/>
                  </a:lnTo>
                  <a:lnTo>
                    <a:pt x="511" y="88"/>
                  </a:lnTo>
                  <a:lnTo>
                    <a:pt x="510" y="87"/>
                  </a:lnTo>
                  <a:lnTo>
                    <a:pt x="510" y="87"/>
                  </a:lnTo>
                  <a:lnTo>
                    <a:pt x="510" y="87"/>
                  </a:lnTo>
                  <a:lnTo>
                    <a:pt x="508" y="88"/>
                  </a:lnTo>
                  <a:lnTo>
                    <a:pt x="508" y="90"/>
                  </a:lnTo>
                  <a:lnTo>
                    <a:pt x="508" y="88"/>
                  </a:lnTo>
                  <a:lnTo>
                    <a:pt x="508" y="87"/>
                  </a:lnTo>
                  <a:lnTo>
                    <a:pt x="510" y="85"/>
                  </a:lnTo>
                  <a:lnTo>
                    <a:pt x="510" y="85"/>
                  </a:lnTo>
                  <a:lnTo>
                    <a:pt x="510" y="84"/>
                  </a:lnTo>
                  <a:lnTo>
                    <a:pt x="510" y="84"/>
                  </a:lnTo>
                  <a:lnTo>
                    <a:pt x="508" y="84"/>
                  </a:lnTo>
                  <a:lnTo>
                    <a:pt x="508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7"/>
                  </a:lnTo>
                  <a:lnTo>
                    <a:pt x="507" y="87"/>
                  </a:lnTo>
                  <a:lnTo>
                    <a:pt x="504" y="90"/>
                  </a:lnTo>
                  <a:lnTo>
                    <a:pt x="501" y="90"/>
                  </a:lnTo>
                  <a:lnTo>
                    <a:pt x="499" y="88"/>
                  </a:lnTo>
                  <a:lnTo>
                    <a:pt x="499" y="90"/>
                  </a:lnTo>
                  <a:lnTo>
                    <a:pt x="499" y="90"/>
                  </a:lnTo>
                  <a:lnTo>
                    <a:pt x="499" y="88"/>
                  </a:lnTo>
                  <a:lnTo>
                    <a:pt x="498" y="90"/>
                  </a:lnTo>
                  <a:lnTo>
                    <a:pt x="498" y="90"/>
                  </a:lnTo>
                  <a:lnTo>
                    <a:pt x="498" y="90"/>
                  </a:lnTo>
                  <a:lnTo>
                    <a:pt x="499" y="91"/>
                  </a:lnTo>
                  <a:lnTo>
                    <a:pt x="494" y="93"/>
                  </a:lnTo>
                  <a:lnTo>
                    <a:pt x="493" y="94"/>
                  </a:lnTo>
                  <a:lnTo>
                    <a:pt x="493" y="96"/>
                  </a:lnTo>
                  <a:lnTo>
                    <a:pt x="493" y="97"/>
                  </a:lnTo>
                  <a:lnTo>
                    <a:pt x="491" y="97"/>
                  </a:lnTo>
                  <a:lnTo>
                    <a:pt x="491" y="97"/>
                  </a:lnTo>
                  <a:lnTo>
                    <a:pt x="491" y="97"/>
                  </a:lnTo>
                  <a:lnTo>
                    <a:pt x="490" y="97"/>
                  </a:lnTo>
                  <a:lnTo>
                    <a:pt x="488" y="100"/>
                  </a:lnTo>
                  <a:lnTo>
                    <a:pt x="488" y="100"/>
                  </a:lnTo>
                  <a:lnTo>
                    <a:pt x="487" y="102"/>
                  </a:lnTo>
                  <a:lnTo>
                    <a:pt x="488" y="104"/>
                  </a:lnTo>
                  <a:lnTo>
                    <a:pt x="490" y="105"/>
                  </a:lnTo>
                  <a:lnTo>
                    <a:pt x="491" y="104"/>
                  </a:lnTo>
                  <a:lnTo>
                    <a:pt x="490" y="105"/>
                  </a:lnTo>
                  <a:lnTo>
                    <a:pt x="488" y="105"/>
                  </a:lnTo>
                  <a:lnTo>
                    <a:pt x="484" y="102"/>
                  </a:lnTo>
                  <a:lnTo>
                    <a:pt x="485" y="102"/>
                  </a:lnTo>
                  <a:lnTo>
                    <a:pt x="485" y="100"/>
                  </a:lnTo>
                  <a:lnTo>
                    <a:pt x="485" y="99"/>
                  </a:lnTo>
                  <a:lnTo>
                    <a:pt x="484" y="97"/>
                  </a:lnTo>
                  <a:lnTo>
                    <a:pt x="485" y="97"/>
                  </a:lnTo>
                  <a:lnTo>
                    <a:pt x="487" y="96"/>
                  </a:lnTo>
                  <a:lnTo>
                    <a:pt x="487" y="94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7" y="93"/>
                  </a:lnTo>
                  <a:lnTo>
                    <a:pt x="488" y="93"/>
                  </a:lnTo>
                  <a:lnTo>
                    <a:pt x="488" y="91"/>
                  </a:lnTo>
                  <a:lnTo>
                    <a:pt x="488" y="90"/>
                  </a:lnTo>
                  <a:lnTo>
                    <a:pt x="490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4" y="88"/>
                  </a:lnTo>
                  <a:lnTo>
                    <a:pt x="496" y="90"/>
                  </a:lnTo>
                  <a:lnTo>
                    <a:pt x="498" y="88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501" y="88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2" y="87"/>
                  </a:lnTo>
                  <a:lnTo>
                    <a:pt x="502" y="87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1" y="87"/>
                  </a:lnTo>
                  <a:lnTo>
                    <a:pt x="501" y="85"/>
                  </a:lnTo>
                  <a:lnTo>
                    <a:pt x="501" y="85"/>
                  </a:lnTo>
                  <a:lnTo>
                    <a:pt x="502" y="85"/>
                  </a:lnTo>
                  <a:lnTo>
                    <a:pt x="502" y="84"/>
                  </a:lnTo>
                  <a:lnTo>
                    <a:pt x="502" y="85"/>
                  </a:lnTo>
                  <a:lnTo>
                    <a:pt x="502" y="84"/>
                  </a:lnTo>
                  <a:lnTo>
                    <a:pt x="504" y="84"/>
                  </a:lnTo>
                  <a:lnTo>
                    <a:pt x="505" y="84"/>
                  </a:lnTo>
                  <a:lnTo>
                    <a:pt x="507" y="84"/>
                  </a:lnTo>
                  <a:lnTo>
                    <a:pt x="507" y="84"/>
                  </a:lnTo>
                  <a:lnTo>
                    <a:pt x="508" y="82"/>
                  </a:lnTo>
                  <a:lnTo>
                    <a:pt x="508" y="82"/>
                  </a:lnTo>
                  <a:lnTo>
                    <a:pt x="511" y="82"/>
                  </a:lnTo>
                  <a:lnTo>
                    <a:pt x="515" y="84"/>
                  </a:lnTo>
                  <a:lnTo>
                    <a:pt x="522" y="84"/>
                  </a:lnTo>
                  <a:lnTo>
                    <a:pt x="524" y="84"/>
                  </a:lnTo>
                  <a:lnTo>
                    <a:pt x="525" y="82"/>
                  </a:lnTo>
                  <a:lnTo>
                    <a:pt x="525" y="80"/>
                  </a:lnTo>
                  <a:lnTo>
                    <a:pt x="522" y="79"/>
                  </a:lnTo>
                  <a:lnTo>
                    <a:pt x="521" y="80"/>
                  </a:lnTo>
                  <a:lnTo>
                    <a:pt x="518" y="79"/>
                  </a:lnTo>
                  <a:lnTo>
                    <a:pt x="501" y="79"/>
                  </a:lnTo>
                  <a:lnTo>
                    <a:pt x="498" y="77"/>
                  </a:lnTo>
                  <a:lnTo>
                    <a:pt x="496" y="76"/>
                  </a:lnTo>
                  <a:lnTo>
                    <a:pt x="496" y="76"/>
                  </a:lnTo>
                  <a:lnTo>
                    <a:pt x="496" y="74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3" y="80"/>
                  </a:lnTo>
                  <a:lnTo>
                    <a:pt x="490" y="85"/>
                  </a:lnTo>
                  <a:lnTo>
                    <a:pt x="490" y="87"/>
                  </a:lnTo>
                  <a:lnTo>
                    <a:pt x="485" y="93"/>
                  </a:lnTo>
                  <a:lnTo>
                    <a:pt x="482" y="97"/>
                  </a:lnTo>
                  <a:lnTo>
                    <a:pt x="481" y="99"/>
                  </a:lnTo>
                  <a:lnTo>
                    <a:pt x="479" y="102"/>
                  </a:lnTo>
                  <a:lnTo>
                    <a:pt x="473" y="105"/>
                  </a:lnTo>
                  <a:lnTo>
                    <a:pt x="471" y="105"/>
                  </a:lnTo>
                  <a:lnTo>
                    <a:pt x="471" y="105"/>
                  </a:lnTo>
                  <a:lnTo>
                    <a:pt x="470" y="108"/>
                  </a:lnTo>
                  <a:lnTo>
                    <a:pt x="468" y="110"/>
                  </a:lnTo>
                  <a:lnTo>
                    <a:pt x="465" y="113"/>
                  </a:lnTo>
                  <a:lnTo>
                    <a:pt x="465" y="114"/>
                  </a:lnTo>
                  <a:lnTo>
                    <a:pt x="465" y="114"/>
                  </a:lnTo>
                  <a:lnTo>
                    <a:pt x="467" y="114"/>
                  </a:lnTo>
                  <a:lnTo>
                    <a:pt x="467" y="114"/>
                  </a:lnTo>
                  <a:lnTo>
                    <a:pt x="468" y="114"/>
                  </a:lnTo>
                  <a:lnTo>
                    <a:pt x="467" y="116"/>
                  </a:lnTo>
                  <a:lnTo>
                    <a:pt x="465" y="117"/>
                  </a:lnTo>
                  <a:lnTo>
                    <a:pt x="464" y="119"/>
                  </a:lnTo>
                  <a:lnTo>
                    <a:pt x="465" y="119"/>
                  </a:lnTo>
                  <a:lnTo>
                    <a:pt x="465" y="122"/>
                  </a:lnTo>
                  <a:lnTo>
                    <a:pt x="465" y="124"/>
                  </a:lnTo>
                  <a:lnTo>
                    <a:pt x="464" y="122"/>
                  </a:lnTo>
                  <a:lnTo>
                    <a:pt x="464" y="119"/>
                  </a:lnTo>
                  <a:lnTo>
                    <a:pt x="464" y="116"/>
                  </a:lnTo>
                  <a:lnTo>
                    <a:pt x="464" y="113"/>
                  </a:lnTo>
                  <a:lnTo>
                    <a:pt x="461" y="114"/>
                  </a:lnTo>
                  <a:lnTo>
                    <a:pt x="444" y="117"/>
                  </a:lnTo>
                  <a:lnTo>
                    <a:pt x="438" y="116"/>
                  </a:lnTo>
                  <a:lnTo>
                    <a:pt x="434" y="117"/>
                  </a:lnTo>
                  <a:lnTo>
                    <a:pt x="431" y="119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28" y="124"/>
                  </a:lnTo>
                  <a:lnTo>
                    <a:pt x="428" y="124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28" y="128"/>
                  </a:lnTo>
                  <a:lnTo>
                    <a:pt x="428" y="128"/>
                  </a:lnTo>
                  <a:lnTo>
                    <a:pt x="427" y="128"/>
                  </a:lnTo>
                  <a:lnTo>
                    <a:pt x="425" y="131"/>
                  </a:lnTo>
                  <a:lnTo>
                    <a:pt x="424" y="133"/>
                  </a:lnTo>
                  <a:lnTo>
                    <a:pt x="424" y="133"/>
                  </a:lnTo>
                  <a:lnTo>
                    <a:pt x="421" y="133"/>
                  </a:lnTo>
                  <a:lnTo>
                    <a:pt x="421" y="133"/>
                  </a:lnTo>
                  <a:lnTo>
                    <a:pt x="422" y="133"/>
                  </a:lnTo>
                  <a:lnTo>
                    <a:pt x="422" y="134"/>
                  </a:lnTo>
                  <a:lnTo>
                    <a:pt x="419" y="136"/>
                  </a:lnTo>
                  <a:lnTo>
                    <a:pt x="419" y="137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7" y="141"/>
                  </a:lnTo>
                  <a:lnTo>
                    <a:pt x="417" y="142"/>
                  </a:lnTo>
                  <a:lnTo>
                    <a:pt x="417" y="145"/>
                  </a:lnTo>
                  <a:lnTo>
                    <a:pt x="417" y="147"/>
                  </a:lnTo>
                  <a:lnTo>
                    <a:pt x="416" y="148"/>
                  </a:lnTo>
                  <a:lnTo>
                    <a:pt x="416" y="148"/>
                  </a:lnTo>
                  <a:lnTo>
                    <a:pt x="416" y="148"/>
                  </a:lnTo>
                  <a:lnTo>
                    <a:pt x="413" y="145"/>
                  </a:lnTo>
                  <a:lnTo>
                    <a:pt x="413" y="144"/>
                  </a:lnTo>
                  <a:lnTo>
                    <a:pt x="410" y="144"/>
                  </a:lnTo>
                  <a:lnTo>
                    <a:pt x="408" y="144"/>
                  </a:lnTo>
                  <a:lnTo>
                    <a:pt x="408" y="142"/>
                  </a:lnTo>
                  <a:lnTo>
                    <a:pt x="407" y="142"/>
                  </a:lnTo>
                  <a:lnTo>
                    <a:pt x="405" y="144"/>
                  </a:lnTo>
                  <a:lnTo>
                    <a:pt x="404" y="144"/>
                  </a:lnTo>
                  <a:lnTo>
                    <a:pt x="402" y="144"/>
                  </a:lnTo>
                  <a:lnTo>
                    <a:pt x="401" y="144"/>
                  </a:lnTo>
                  <a:lnTo>
                    <a:pt x="401" y="142"/>
                  </a:lnTo>
                  <a:lnTo>
                    <a:pt x="401" y="139"/>
                  </a:lnTo>
                  <a:lnTo>
                    <a:pt x="401" y="139"/>
                  </a:lnTo>
                  <a:lnTo>
                    <a:pt x="397" y="137"/>
                  </a:lnTo>
                  <a:lnTo>
                    <a:pt x="397" y="137"/>
                  </a:lnTo>
                  <a:lnTo>
                    <a:pt x="397" y="136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87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9"/>
                  </a:lnTo>
                  <a:lnTo>
                    <a:pt x="377" y="141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2"/>
                  </a:lnTo>
                  <a:lnTo>
                    <a:pt x="376" y="142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4" y="139"/>
                  </a:lnTo>
                  <a:lnTo>
                    <a:pt x="373" y="137"/>
                  </a:lnTo>
                  <a:lnTo>
                    <a:pt x="373" y="137"/>
                  </a:lnTo>
                  <a:lnTo>
                    <a:pt x="370" y="137"/>
                  </a:lnTo>
                  <a:lnTo>
                    <a:pt x="368" y="136"/>
                  </a:lnTo>
                  <a:lnTo>
                    <a:pt x="367" y="136"/>
                  </a:lnTo>
                  <a:lnTo>
                    <a:pt x="365" y="134"/>
                  </a:lnTo>
                  <a:lnTo>
                    <a:pt x="364" y="131"/>
                  </a:lnTo>
                  <a:lnTo>
                    <a:pt x="364" y="130"/>
                  </a:lnTo>
                  <a:lnTo>
                    <a:pt x="365" y="130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4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4" y="124"/>
                  </a:lnTo>
                  <a:lnTo>
                    <a:pt x="376" y="124"/>
                  </a:lnTo>
                  <a:lnTo>
                    <a:pt x="379" y="119"/>
                  </a:lnTo>
                  <a:lnTo>
                    <a:pt x="388" y="113"/>
                  </a:lnTo>
                  <a:lnTo>
                    <a:pt x="388" y="113"/>
                  </a:lnTo>
                  <a:lnTo>
                    <a:pt x="388" y="111"/>
                  </a:lnTo>
                  <a:lnTo>
                    <a:pt x="390" y="110"/>
                  </a:lnTo>
                  <a:lnTo>
                    <a:pt x="390" y="108"/>
                  </a:lnTo>
                  <a:lnTo>
                    <a:pt x="390" y="105"/>
                  </a:lnTo>
                  <a:lnTo>
                    <a:pt x="390" y="102"/>
                  </a:lnTo>
                  <a:lnTo>
                    <a:pt x="390" y="100"/>
                  </a:lnTo>
                  <a:lnTo>
                    <a:pt x="390" y="99"/>
                  </a:lnTo>
                  <a:lnTo>
                    <a:pt x="388" y="93"/>
                  </a:lnTo>
                  <a:lnTo>
                    <a:pt x="388" y="91"/>
                  </a:lnTo>
                  <a:lnTo>
                    <a:pt x="388" y="91"/>
                  </a:lnTo>
                  <a:lnTo>
                    <a:pt x="390" y="93"/>
                  </a:lnTo>
                  <a:lnTo>
                    <a:pt x="390" y="91"/>
                  </a:lnTo>
                  <a:lnTo>
                    <a:pt x="393" y="88"/>
                  </a:lnTo>
                  <a:lnTo>
                    <a:pt x="390" y="87"/>
                  </a:lnTo>
                  <a:lnTo>
                    <a:pt x="385" y="90"/>
                  </a:lnTo>
                  <a:lnTo>
                    <a:pt x="384" y="88"/>
                  </a:lnTo>
                  <a:lnTo>
                    <a:pt x="382" y="90"/>
                  </a:lnTo>
                  <a:lnTo>
                    <a:pt x="381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4" y="88"/>
                  </a:lnTo>
                  <a:lnTo>
                    <a:pt x="377" y="88"/>
                  </a:lnTo>
                  <a:lnTo>
                    <a:pt x="376" y="90"/>
                  </a:lnTo>
                  <a:lnTo>
                    <a:pt x="373" y="91"/>
                  </a:lnTo>
                  <a:lnTo>
                    <a:pt x="368" y="96"/>
                  </a:lnTo>
                  <a:lnTo>
                    <a:pt x="367" y="97"/>
                  </a:lnTo>
                  <a:lnTo>
                    <a:pt x="362" y="97"/>
                  </a:lnTo>
                  <a:lnTo>
                    <a:pt x="359" y="96"/>
                  </a:lnTo>
                  <a:lnTo>
                    <a:pt x="353" y="90"/>
                  </a:lnTo>
                  <a:lnTo>
                    <a:pt x="340" y="85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28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4" y="85"/>
                  </a:lnTo>
                  <a:lnTo>
                    <a:pt x="324" y="90"/>
                  </a:lnTo>
                  <a:lnTo>
                    <a:pt x="322" y="93"/>
                  </a:lnTo>
                  <a:lnTo>
                    <a:pt x="320" y="94"/>
                  </a:lnTo>
                  <a:lnTo>
                    <a:pt x="319" y="96"/>
                  </a:lnTo>
                  <a:lnTo>
                    <a:pt x="319" y="94"/>
                  </a:lnTo>
                  <a:lnTo>
                    <a:pt x="320" y="93"/>
                  </a:lnTo>
                  <a:lnTo>
                    <a:pt x="319" y="93"/>
                  </a:lnTo>
                  <a:lnTo>
                    <a:pt x="319" y="91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20" y="90"/>
                  </a:lnTo>
                  <a:lnTo>
                    <a:pt x="322" y="88"/>
                  </a:lnTo>
                  <a:lnTo>
                    <a:pt x="322" y="87"/>
                  </a:lnTo>
                  <a:lnTo>
                    <a:pt x="324" y="85"/>
                  </a:lnTo>
                  <a:lnTo>
                    <a:pt x="322" y="82"/>
                  </a:lnTo>
                  <a:lnTo>
                    <a:pt x="322" y="80"/>
                  </a:lnTo>
                  <a:lnTo>
                    <a:pt x="322" y="79"/>
                  </a:lnTo>
                  <a:lnTo>
                    <a:pt x="324" y="77"/>
                  </a:lnTo>
                  <a:lnTo>
                    <a:pt x="319" y="74"/>
                  </a:lnTo>
                  <a:lnTo>
                    <a:pt x="317" y="74"/>
                  </a:lnTo>
                  <a:lnTo>
                    <a:pt x="299" y="77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9" y="74"/>
                  </a:lnTo>
                  <a:lnTo>
                    <a:pt x="302" y="74"/>
                  </a:lnTo>
                  <a:lnTo>
                    <a:pt x="305" y="73"/>
                  </a:lnTo>
                  <a:lnTo>
                    <a:pt x="308" y="70"/>
                  </a:lnTo>
                  <a:lnTo>
                    <a:pt x="308" y="68"/>
                  </a:lnTo>
                  <a:lnTo>
                    <a:pt x="310" y="67"/>
                  </a:lnTo>
                  <a:lnTo>
                    <a:pt x="310" y="65"/>
                  </a:lnTo>
                  <a:lnTo>
                    <a:pt x="311" y="64"/>
                  </a:lnTo>
                  <a:lnTo>
                    <a:pt x="311" y="57"/>
                  </a:lnTo>
                  <a:lnTo>
                    <a:pt x="311" y="56"/>
                  </a:lnTo>
                  <a:lnTo>
                    <a:pt x="311" y="54"/>
                  </a:lnTo>
                  <a:lnTo>
                    <a:pt x="311" y="51"/>
                  </a:lnTo>
                  <a:lnTo>
                    <a:pt x="311" y="51"/>
                  </a:lnTo>
                  <a:lnTo>
                    <a:pt x="310" y="51"/>
                  </a:lnTo>
                  <a:lnTo>
                    <a:pt x="310" y="51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4" y="51"/>
                  </a:lnTo>
                  <a:lnTo>
                    <a:pt x="304" y="51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7" y="48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8" y="48"/>
                  </a:lnTo>
                  <a:lnTo>
                    <a:pt x="310" y="47"/>
                  </a:lnTo>
                  <a:lnTo>
                    <a:pt x="308" y="45"/>
                  </a:lnTo>
                  <a:lnTo>
                    <a:pt x="308" y="45"/>
                  </a:lnTo>
                  <a:lnTo>
                    <a:pt x="307" y="43"/>
                  </a:lnTo>
                  <a:lnTo>
                    <a:pt x="307" y="39"/>
                  </a:lnTo>
                  <a:lnTo>
                    <a:pt x="304" y="37"/>
                  </a:lnTo>
                  <a:lnTo>
                    <a:pt x="302" y="36"/>
                  </a:lnTo>
                  <a:lnTo>
                    <a:pt x="300" y="36"/>
                  </a:lnTo>
                  <a:lnTo>
                    <a:pt x="300" y="39"/>
                  </a:lnTo>
                  <a:lnTo>
                    <a:pt x="297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3" y="37"/>
                  </a:lnTo>
                  <a:lnTo>
                    <a:pt x="291" y="36"/>
                  </a:lnTo>
                  <a:lnTo>
                    <a:pt x="290" y="34"/>
                  </a:lnTo>
                  <a:lnTo>
                    <a:pt x="288" y="34"/>
                  </a:lnTo>
                  <a:lnTo>
                    <a:pt x="285" y="33"/>
                  </a:lnTo>
                  <a:lnTo>
                    <a:pt x="280" y="33"/>
                  </a:lnTo>
                  <a:lnTo>
                    <a:pt x="277" y="31"/>
                  </a:lnTo>
                  <a:lnTo>
                    <a:pt x="277" y="27"/>
                  </a:lnTo>
                  <a:lnTo>
                    <a:pt x="276" y="27"/>
                  </a:lnTo>
                  <a:lnTo>
                    <a:pt x="274" y="28"/>
                  </a:lnTo>
                  <a:lnTo>
                    <a:pt x="273" y="30"/>
                  </a:lnTo>
                  <a:lnTo>
                    <a:pt x="271" y="31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5" y="34"/>
                  </a:lnTo>
                  <a:lnTo>
                    <a:pt x="263" y="34"/>
                  </a:lnTo>
                  <a:lnTo>
                    <a:pt x="262" y="33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59" y="33"/>
                  </a:lnTo>
                  <a:lnTo>
                    <a:pt x="259" y="34"/>
                  </a:lnTo>
                  <a:lnTo>
                    <a:pt x="257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30"/>
                  </a:lnTo>
                  <a:lnTo>
                    <a:pt x="248" y="28"/>
                  </a:lnTo>
                  <a:lnTo>
                    <a:pt x="233" y="25"/>
                  </a:lnTo>
                  <a:lnTo>
                    <a:pt x="227" y="22"/>
                  </a:lnTo>
                  <a:lnTo>
                    <a:pt x="220" y="20"/>
                  </a:lnTo>
                  <a:lnTo>
                    <a:pt x="219" y="22"/>
                  </a:lnTo>
                  <a:lnTo>
                    <a:pt x="214" y="23"/>
                  </a:lnTo>
                  <a:lnTo>
                    <a:pt x="211" y="23"/>
                  </a:lnTo>
                  <a:lnTo>
                    <a:pt x="208" y="22"/>
                  </a:lnTo>
                  <a:lnTo>
                    <a:pt x="208" y="27"/>
                  </a:lnTo>
                  <a:lnTo>
                    <a:pt x="206" y="30"/>
                  </a:lnTo>
                  <a:lnTo>
                    <a:pt x="208" y="33"/>
                  </a:lnTo>
                  <a:lnTo>
                    <a:pt x="208" y="34"/>
                  </a:lnTo>
                  <a:lnTo>
                    <a:pt x="210" y="37"/>
                  </a:lnTo>
                  <a:lnTo>
                    <a:pt x="211" y="40"/>
                  </a:lnTo>
                  <a:lnTo>
                    <a:pt x="211" y="42"/>
                  </a:lnTo>
                  <a:lnTo>
                    <a:pt x="211" y="43"/>
                  </a:lnTo>
                  <a:lnTo>
                    <a:pt x="213" y="43"/>
                  </a:lnTo>
                  <a:lnTo>
                    <a:pt x="217" y="48"/>
                  </a:lnTo>
                  <a:lnTo>
                    <a:pt x="219" y="50"/>
                  </a:lnTo>
                  <a:lnTo>
                    <a:pt x="220" y="51"/>
                  </a:lnTo>
                  <a:lnTo>
                    <a:pt x="223" y="57"/>
                  </a:lnTo>
                  <a:lnTo>
                    <a:pt x="220" y="59"/>
                  </a:lnTo>
                  <a:lnTo>
                    <a:pt x="220" y="60"/>
                  </a:lnTo>
                  <a:lnTo>
                    <a:pt x="222" y="60"/>
                  </a:lnTo>
                  <a:lnTo>
                    <a:pt x="223" y="59"/>
                  </a:lnTo>
                  <a:lnTo>
                    <a:pt x="225" y="59"/>
                  </a:lnTo>
                  <a:lnTo>
                    <a:pt x="225" y="60"/>
                  </a:lnTo>
                  <a:lnTo>
                    <a:pt x="225" y="62"/>
                  </a:lnTo>
                  <a:lnTo>
                    <a:pt x="227" y="64"/>
                  </a:lnTo>
                  <a:lnTo>
                    <a:pt x="233" y="70"/>
                  </a:lnTo>
                  <a:lnTo>
                    <a:pt x="234" y="73"/>
                  </a:lnTo>
                  <a:lnTo>
                    <a:pt x="234" y="76"/>
                  </a:lnTo>
                  <a:lnTo>
                    <a:pt x="234" y="77"/>
                  </a:lnTo>
                  <a:lnTo>
                    <a:pt x="233" y="79"/>
                  </a:lnTo>
                  <a:lnTo>
                    <a:pt x="230" y="80"/>
                  </a:lnTo>
                  <a:lnTo>
                    <a:pt x="227" y="82"/>
                  </a:lnTo>
                  <a:lnTo>
                    <a:pt x="225" y="84"/>
                  </a:lnTo>
                  <a:lnTo>
                    <a:pt x="223" y="84"/>
                  </a:lnTo>
                  <a:lnTo>
                    <a:pt x="216" y="84"/>
                  </a:lnTo>
                  <a:lnTo>
                    <a:pt x="210" y="85"/>
                  </a:lnTo>
                  <a:lnTo>
                    <a:pt x="208" y="85"/>
                  </a:lnTo>
                  <a:lnTo>
                    <a:pt x="206" y="87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6" y="90"/>
                  </a:lnTo>
                  <a:lnTo>
                    <a:pt x="208" y="88"/>
                  </a:lnTo>
                  <a:lnTo>
                    <a:pt x="208" y="90"/>
                  </a:lnTo>
                  <a:lnTo>
                    <a:pt x="210" y="90"/>
                  </a:lnTo>
                  <a:lnTo>
                    <a:pt x="211" y="90"/>
                  </a:lnTo>
                  <a:lnTo>
                    <a:pt x="211" y="91"/>
                  </a:lnTo>
                  <a:lnTo>
                    <a:pt x="210" y="91"/>
                  </a:lnTo>
                  <a:lnTo>
                    <a:pt x="206" y="91"/>
                  </a:lnTo>
                  <a:lnTo>
                    <a:pt x="205" y="93"/>
                  </a:lnTo>
                  <a:lnTo>
                    <a:pt x="203" y="94"/>
                  </a:lnTo>
                  <a:lnTo>
                    <a:pt x="203" y="97"/>
                  </a:lnTo>
                  <a:lnTo>
                    <a:pt x="205" y="100"/>
                  </a:lnTo>
                  <a:lnTo>
                    <a:pt x="208" y="102"/>
                  </a:lnTo>
                  <a:lnTo>
                    <a:pt x="210" y="102"/>
                  </a:lnTo>
                  <a:lnTo>
                    <a:pt x="211" y="102"/>
                  </a:lnTo>
                  <a:lnTo>
                    <a:pt x="213" y="100"/>
                  </a:lnTo>
                  <a:lnTo>
                    <a:pt x="214" y="99"/>
                  </a:lnTo>
                  <a:lnTo>
                    <a:pt x="217" y="100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5" y="97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5" y="100"/>
                  </a:lnTo>
                  <a:lnTo>
                    <a:pt x="227" y="99"/>
                  </a:lnTo>
                  <a:lnTo>
                    <a:pt x="230" y="97"/>
                  </a:lnTo>
                  <a:lnTo>
                    <a:pt x="231" y="96"/>
                  </a:lnTo>
                  <a:lnTo>
                    <a:pt x="230" y="99"/>
                  </a:lnTo>
                  <a:lnTo>
                    <a:pt x="230" y="100"/>
                  </a:lnTo>
                  <a:lnTo>
                    <a:pt x="228" y="102"/>
                  </a:lnTo>
                  <a:lnTo>
                    <a:pt x="227" y="102"/>
                  </a:lnTo>
                  <a:lnTo>
                    <a:pt x="227" y="102"/>
                  </a:lnTo>
                  <a:lnTo>
                    <a:pt x="222" y="104"/>
                  </a:lnTo>
                  <a:lnTo>
                    <a:pt x="222" y="104"/>
                  </a:lnTo>
                  <a:lnTo>
                    <a:pt x="222" y="105"/>
                  </a:lnTo>
                  <a:lnTo>
                    <a:pt x="222" y="107"/>
                  </a:lnTo>
                  <a:lnTo>
                    <a:pt x="222" y="110"/>
                  </a:lnTo>
                  <a:lnTo>
                    <a:pt x="220" y="111"/>
                  </a:lnTo>
                  <a:lnTo>
                    <a:pt x="220" y="114"/>
                  </a:lnTo>
                  <a:lnTo>
                    <a:pt x="220" y="114"/>
                  </a:lnTo>
                  <a:lnTo>
                    <a:pt x="222" y="117"/>
                  </a:lnTo>
                  <a:lnTo>
                    <a:pt x="223" y="120"/>
                  </a:lnTo>
                  <a:lnTo>
                    <a:pt x="223" y="120"/>
                  </a:lnTo>
                  <a:lnTo>
                    <a:pt x="225" y="119"/>
                  </a:lnTo>
                  <a:lnTo>
                    <a:pt x="228" y="117"/>
                  </a:lnTo>
                  <a:lnTo>
                    <a:pt x="230" y="117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4" y="124"/>
                  </a:lnTo>
                  <a:lnTo>
                    <a:pt x="236" y="124"/>
                  </a:lnTo>
                  <a:lnTo>
                    <a:pt x="236" y="127"/>
                  </a:lnTo>
                  <a:lnTo>
                    <a:pt x="234" y="130"/>
                  </a:lnTo>
                  <a:lnTo>
                    <a:pt x="234" y="131"/>
                  </a:lnTo>
                  <a:lnTo>
                    <a:pt x="234" y="133"/>
                  </a:lnTo>
                  <a:lnTo>
                    <a:pt x="231" y="134"/>
                  </a:lnTo>
                  <a:lnTo>
                    <a:pt x="230" y="133"/>
                  </a:lnTo>
                  <a:lnTo>
                    <a:pt x="228" y="131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2" y="133"/>
                  </a:lnTo>
                  <a:lnTo>
                    <a:pt x="228" y="145"/>
                  </a:lnTo>
                  <a:lnTo>
                    <a:pt x="230" y="148"/>
                  </a:lnTo>
                  <a:lnTo>
                    <a:pt x="233" y="150"/>
                  </a:lnTo>
                  <a:lnTo>
                    <a:pt x="234" y="150"/>
                  </a:lnTo>
                  <a:lnTo>
                    <a:pt x="236" y="148"/>
                  </a:lnTo>
                  <a:lnTo>
                    <a:pt x="236" y="148"/>
                  </a:lnTo>
                  <a:lnTo>
                    <a:pt x="237" y="148"/>
                  </a:lnTo>
                  <a:lnTo>
                    <a:pt x="240" y="150"/>
                  </a:lnTo>
                  <a:lnTo>
                    <a:pt x="250" y="150"/>
                  </a:lnTo>
                  <a:lnTo>
                    <a:pt x="253" y="151"/>
                  </a:lnTo>
                  <a:lnTo>
                    <a:pt x="256" y="153"/>
                  </a:lnTo>
                  <a:lnTo>
                    <a:pt x="260" y="157"/>
                  </a:lnTo>
                  <a:lnTo>
                    <a:pt x="263" y="157"/>
                  </a:lnTo>
                  <a:lnTo>
                    <a:pt x="263" y="161"/>
                  </a:lnTo>
                  <a:lnTo>
                    <a:pt x="265" y="165"/>
                  </a:lnTo>
                  <a:lnTo>
                    <a:pt x="267" y="168"/>
                  </a:lnTo>
                  <a:lnTo>
                    <a:pt x="268" y="170"/>
                  </a:lnTo>
                  <a:lnTo>
                    <a:pt x="270" y="170"/>
                  </a:lnTo>
                  <a:lnTo>
                    <a:pt x="273" y="173"/>
                  </a:lnTo>
                  <a:lnTo>
                    <a:pt x="273" y="173"/>
                  </a:lnTo>
                  <a:lnTo>
                    <a:pt x="274" y="176"/>
                  </a:lnTo>
                  <a:lnTo>
                    <a:pt x="274" y="179"/>
                  </a:lnTo>
                  <a:lnTo>
                    <a:pt x="274" y="182"/>
                  </a:lnTo>
                  <a:lnTo>
                    <a:pt x="277" y="185"/>
                  </a:lnTo>
                  <a:lnTo>
                    <a:pt x="282" y="188"/>
                  </a:lnTo>
                  <a:lnTo>
                    <a:pt x="285" y="190"/>
                  </a:lnTo>
                  <a:lnTo>
                    <a:pt x="291" y="191"/>
                  </a:lnTo>
                  <a:lnTo>
                    <a:pt x="294" y="193"/>
                  </a:lnTo>
                  <a:lnTo>
                    <a:pt x="296" y="194"/>
                  </a:lnTo>
                  <a:lnTo>
                    <a:pt x="294" y="194"/>
                  </a:lnTo>
                  <a:lnTo>
                    <a:pt x="291" y="193"/>
                  </a:lnTo>
                  <a:lnTo>
                    <a:pt x="285" y="193"/>
                  </a:lnTo>
                  <a:lnTo>
                    <a:pt x="280" y="190"/>
                  </a:lnTo>
                  <a:lnTo>
                    <a:pt x="280" y="188"/>
                  </a:lnTo>
                  <a:lnTo>
                    <a:pt x="279" y="188"/>
                  </a:lnTo>
                  <a:lnTo>
                    <a:pt x="277" y="188"/>
                  </a:lnTo>
                  <a:lnTo>
                    <a:pt x="276" y="187"/>
                  </a:lnTo>
                  <a:lnTo>
                    <a:pt x="271" y="179"/>
                  </a:lnTo>
                  <a:lnTo>
                    <a:pt x="270" y="176"/>
                  </a:lnTo>
                  <a:lnTo>
                    <a:pt x="268" y="174"/>
                  </a:lnTo>
                  <a:lnTo>
                    <a:pt x="267" y="173"/>
                  </a:lnTo>
                  <a:lnTo>
                    <a:pt x="263" y="170"/>
                  </a:lnTo>
                  <a:lnTo>
                    <a:pt x="256" y="156"/>
                  </a:lnTo>
                  <a:lnTo>
                    <a:pt x="254" y="154"/>
                  </a:lnTo>
                  <a:lnTo>
                    <a:pt x="254" y="154"/>
                  </a:lnTo>
                  <a:lnTo>
                    <a:pt x="251" y="154"/>
                  </a:lnTo>
                  <a:lnTo>
                    <a:pt x="250" y="153"/>
                  </a:lnTo>
                  <a:lnTo>
                    <a:pt x="250" y="153"/>
                  </a:lnTo>
                  <a:lnTo>
                    <a:pt x="248" y="154"/>
                  </a:lnTo>
                  <a:lnTo>
                    <a:pt x="242" y="154"/>
                  </a:lnTo>
                  <a:lnTo>
                    <a:pt x="236" y="156"/>
                  </a:lnTo>
                  <a:lnTo>
                    <a:pt x="234" y="157"/>
                  </a:lnTo>
                  <a:lnTo>
                    <a:pt x="231" y="156"/>
                  </a:lnTo>
                  <a:lnTo>
                    <a:pt x="227" y="157"/>
                  </a:lnTo>
                  <a:lnTo>
                    <a:pt x="223" y="157"/>
                  </a:lnTo>
                  <a:lnTo>
                    <a:pt x="217" y="156"/>
                  </a:lnTo>
                  <a:lnTo>
                    <a:pt x="214" y="154"/>
                  </a:lnTo>
                  <a:lnTo>
                    <a:pt x="213" y="153"/>
                  </a:lnTo>
                  <a:lnTo>
                    <a:pt x="210" y="151"/>
                  </a:lnTo>
                  <a:lnTo>
                    <a:pt x="210" y="150"/>
                  </a:lnTo>
                  <a:lnTo>
                    <a:pt x="208" y="150"/>
                  </a:lnTo>
                  <a:lnTo>
                    <a:pt x="206" y="151"/>
                  </a:lnTo>
                  <a:lnTo>
                    <a:pt x="205" y="151"/>
                  </a:lnTo>
                  <a:lnTo>
                    <a:pt x="203" y="153"/>
                  </a:lnTo>
                  <a:lnTo>
                    <a:pt x="202" y="154"/>
                  </a:lnTo>
                  <a:lnTo>
                    <a:pt x="200" y="157"/>
                  </a:lnTo>
                  <a:lnTo>
                    <a:pt x="199" y="165"/>
                  </a:lnTo>
                  <a:lnTo>
                    <a:pt x="196" y="173"/>
                  </a:lnTo>
                  <a:lnTo>
                    <a:pt x="196" y="174"/>
                  </a:lnTo>
                  <a:lnTo>
                    <a:pt x="196" y="176"/>
                  </a:lnTo>
                  <a:lnTo>
                    <a:pt x="196" y="179"/>
                  </a:lnTo>
                  <a:lnTo>
                    <a:pt x="197" y="182"/>
                  </a:lnTo>
                  <a:lnTo>
                    <a:pt x="197" y="184"/>
                  </a:lnTo>
                  <a:lnTo>
                    <a:pt x="197" y="185"/>
                  </a:lnTo>
                  <a:lnTo>
                    <a:pt x="199" y="187"/>
                  </a:lnTo>
                  <a:lnTo>
                    <a:pt x="199" y="188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0" y="197"/>
                  </a:lnTo>
                  <a:lnTo>
                    <a:pt x="199" y="199"/>
                  </a:lnTo>
                  <a:lnTo>
                    <a:pt x="197" y="201"/>
                  </a:lnTo>
                  <a:lnTo>
                    <a:pt x="196" y="202"/>
                  </a:lnTo>
                  <a:lnTo>
                    <a:pt x="196" y="207"/>
                  </a:lnTo>
                  <a:lnTo>
                    <a:pt x="197" y="214"/>
                  </a:lnTo>
                  <a:lnTo>
                    <a:pt x="197" y="218"/>
                  </a:lnTo>
                  <a:lnTo>
                    <a:pt x="196" y="214"/>
                  </a:lnTo>
                  <a:lnTo>
                    <a:pt x="196" y="211"/>
                  </a:lnTo>
                  <a:lnTo>
                    <a:pt x="196" y="205"/>
                  </a:lnTo>
                  <a:lnTo>
                    <a:pt x="196" y="201"/>
                  </a:lnTo>
                  <a:lnTo>
                    <a:pt x="197" y="199"/>
                  </a:lnTo>
                  <a:lnTo>
                    <a:pt x="199" y="196"/>
                  </a:lnTo>
                  <a:lnTo>
                    <a:pt x="200" y="194"/>
                  </a:lnTo>
                  <a:lnTo>
                    <a:pt x="200" y="194"/>
                  </a:lnTo>
                  <a:lnTo>
                    <a:pt x="197" y="193"/>
                  </a:lnTo>
                  <a:lnTo>
                    <a:pt x="191" y="191"/>
                  </a:lnTo>
                  <a:lnTo>
                    <a:pt x="188" y="190"/>
                  </a:lnTo>
                  <a:lnTo>
                    <a:pt x="186" y="188"/>
                  </a:lnTo>
                  <a:lnTo>
                    <a:pt x="186" y="187"/>
                  </a:lnTo>
                  <a:lnTo>
                    <a:pt x="185" y="185"/>
                  </a:lnTo>
                  <a:lnTo>
                    <a:pt x="183" y="185"/>
                  </a:lnTo>
                  <a:lnTo>
                    <a:pt x="180" y="185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7" y="188"/>
                  </a:lnTo>
                  <a:lnTo>
                    <a:pt x="177" y="193"/>
                  </a:lnTo>
                  <a:lnTo>
                    <a:pt x="177" y="194"/>
                  </a:lnTo>
                  <a:lnTo>
                    <a:pt x="176" y="196"/>
                  </a:lnTo>
                  <a:lnTo>
                    <a:pt x="177" y="196"/>
                  </a:lnTo>
                  <a:lnTo>
                    <a:pt x="180" y="196"/>
                  </a:lnTo>
                  <a:lnTo>
                    <a:pt x="183" y="199"/>
                  </a:lnTo>
                  <a:lnTo>
                    <a:pt x="183" y="202"/>
                  </a:lnTo>
                  <a:lnTo>
                    <a:pt x="180" y="207"/>
                  </a:lnTo>
                  <a:lnTo>
                    <a:pt x="179" y="210"/>
                  </a:lnTo>
                  <a:lnTo>
                    <a:pt x="179" y="210"/>
                  </a:lnTo>
                  <a:lnTo>
                    <a:pt x="177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08"/>
                  </a:lnTo>
                  <a:lnTo>
                    <a:pt x="173" y="208"/>
                  </a:lnTo>
                  <a:lnTo>
                    <a:pt x="173" y="207"/>
                  </a:lnTo>
                  <a:lnTo>
                    <a:pt x="171" y="205"/>
                  </a:lnTo>
                  <a:lnTo>
                    <a:pt x="170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6" y="207"/>
                  </a:lnTo>
                  <a:lnTo>
                    <a:pt x="165" y="205"/>
                  </a:lnTo>
                  <a:lnTo>
                    <a:pt x="165" y="204"/>
                  </a:lnTo>
                  <a:lnTo>
                    <a:pt x="163" y="199"/>
                  </a:lnTo>
                  <a:lnTo>
                    <a:pt x="165" y="199"/>
                  </a:lnTo>
                  <a:lnTo>
                    <a:pt x="168" y="197"/>
                  </a:lnTo>
                  <a:lnTo>
                    <a:pt x="170" y="197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3"/>
                  </a:lnTo>
                  <a:lnTo>
                    <a:pt x="171" y="191"/>
                  </a:lnTo>
                  <a:lnTo>
                    <a:pt x="170" y="191"/>
                  </a:lnTo>
                  <a:lnTo>
                    <a:pt x="168" y="190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66" y="187"/>
                  </a:lnTo>
                  <a:lnTo>
                    <a:pt x="163" y="182"/>
                  </a:lnTo>
                  <a:lnTo>
                    <a:pt x="162" y="177"/>
                  </a:lnTo>
                  <a:lnTo>
                    <a:pt x="162" y="174"/>
                  </a:lnTo>
                  <a:lnTo>
                    <a:pt x="162" y="173"/>
                  </a:lnTo>
                  <a:lnTo>
                    <a:pt x="156" y="171"/>
                  </a:lnTo>
                  <a:lnTo>
                    <a:pt x="133" y="174"/>
                  </a:lnTo>
                  <a:lnTo>
                    <a:pt x="122" y="177"/>
                  </a:lnTo>
                  <a:lnTo>
                    <a:pt x="120" y="177"/>
                  </a:lnTo>
                  <a:lnTo>
                    <a:pt x="120" y="176"/>
                  </a:lnTo>
                  <a:lnTo>
                    <a:pt x="119" y="174"/>
                  </a:lnTo>
                  <a:lnTo>
                    <a:pt x="108" y="176"/>
                  </a:lnTo>
                  <a:lnTo>
                    <a:pt x="102" y="179"/>
                  </a:lnTo>
                  <a:lnTo>
                    <a:pt x="99" y="182"/>
                  </a:lnTo>
                  <a:lnTo>
                    <a:pt x="97" y="182"/>
                  </a:lnTo>
                  <a:lnTo>
                    <a:pt x="94" y="185"/>
                  </a:lnTo>
                  <a:lnTo>
                    <a:pt x="93" y="187"/>
                  </a:lnTo>
                  <a:lnTo>
                    <a:pt x="91" y="188"/>
                  </a:lnTo>
                  <a:lnTo>
                    <a:pt x="91" y="190"/>
                  </a:lnTo>
                  <a:lnTo>
                    <a:pt x="93" y="191"/>
                  </a:lnTo>
                  <a:lnTo>
                    <a:pt x="94" y="193"/>
                  </a:lnTo>
                  <a:lnTo>
                    <a:pt x="96" y="193"/>
                  </a:lnTo>
                  <a:lnTo>
                    <a:pt x="96" y="194"/>
                  </a:lnTo>
                  <a:lnTo>
                    <a:pt x="94" y="196"/>
                  </a:lnTo>
                  <a:lnTo>
                    <a:pt x="94" y="196"/>
                  </a:lnTo>
                  <a:lnTo>
                    <a:pt x="94" y="197"/>
                  </a:lnTo>
                  <a:lnTo>
                    <a:pt x="91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8" y="199"/>
                  </a:lnTo>
                  <a:lnTo>
                    <a:pt x="86" y="204"/>
                  </a:lnTo>
                  <a:lnTo>
                    <a:pt x="86" y="205"/>
                  </a:lnTo>
                  <a:lnTo>
                    <a:pt x="86" y="214"/>
                  </a:lnTo>
                  <a:lnTo>
                    <a:pt x="88" y="219"/>
                  </a:lnTo>
                  <a:lnTo>
                    <a:pt x="91" y="219"/>
                  </a:lnTo>
                  <a:lnTo>
                    <a:pt x="108" y="221"/>
                  </a:lnTo>
                  <a:lnTo>
                    <a:pt x="111" y="222"/>
                  </a:lnTo>
                  <a:lnTo>
                    <a:pt x="113" y="224"/>
                  </a:lnTo>
                  <a:lnTo>
                    <a:pt x="111" y="224"/>
                  </a:lnTo>
                  <a:lnTo>
                    <a:pt x="108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3" y="222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0" y="230"/>
                  </a:lnTo>
                  <a:lnTo>
                    <a:pt x="100" y="231"/>
                  </a:lnTo>
                  <a:lnTo>
                    <a:pt x="99" y="231"/>
                  </a:lnTo>
                  <a:lnTo>
                    <a:pt x="100" y="234"/>
                  </a:lnTo>
                  <a:lnTo>
                    <a:pt x="100" y="236"/>
                  </a:lnTo>
                  <a:lnTo>
                    <a:pt x="99" y="239"/>
                  </a:lnTo>
                  <a:lnTo>
                    <a:pt x="99" y="241"/>
                  </a:lnTo>
                  <a:lnTo>
                    <a:pt x="97" y="244"/>
                  </a:lnTo>
                  <a:lnTo>
                    <a:pt x="97" y="245"/>
                  </a:lnTo>
                  <a:lnTo>
                    <a:pt x="97" y="245"/>
                  </a:lnTo>
                  <a:lnTo>
                    <a:pt x="99" y="247"/>
                  </a:lnTo>
                  <a:lnTo>
                    <a:pt x="99" y="247"/>
                  </a:lnTo>
                  <a:lnTo>
                    <a:pt x="99" y="248"/>
                  </a:lnTo>
                  <a:lnTo>
                    <a:pt x="99" y="258"/>
                  </a:lnTo>
                  <a:lnTo>
                    <a:pt x="99" y="262"/>
                  </a:lnTo>
                  <a:lnTo>
                    <a:pt x="99" y="265"/>
                  </a:lnTo>
                  <a:lnTo>
                    <a:pt x="97" y="270"/>
                  </a:lnTo>
                  <a:lnTo>
                    <a:pt x="91" y="279"/>
                  </a:lnTo>
                  <a:lnTo>
                    <a:pt x="89" y="281"/>
                  </a:lnTo>
                  <a:lnTo>
                    <a:pt x="89" y="284"/>
                  </a:lnTo>
                  <a:lnTo>
                    <a:pt x="89" y="287"/>
                  </a:lnTo>
                  <a:lnTo>
                    <a:pt x="88" y="301"/>
                  </a:lnTo>
                  <a:lnTo>
                    <a:pt x="88" y="305"/>
                  </a:lnTo>
                  <a:lnTo>
                    <a:pt x="86" y="307"/>
                  </a:lnTo>
                  <a:lnTo>
                    <a:pt x="83" y="307"/>
                  </a:lnTo>
                  <a:lnTo>
                    <a:pt x="82" y="307"/>
                  </a:lnTo>
                  <a:lnTo>
                    <a:pt x="79" y="307"/>
                  </a:lnTo>
                  <a:lnTo>
                    <a:pt x="74" y="305"/>
                  </a:lnTo>
                  <a:lnTo>
                    <a:pt x="68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3" y="308"/>
                  </a:lnTo>
                  <a:lnTo>
                    <a:pt x="63" y="310"/>
                  </a:lnTo>
                  <a:lnTo>
                    <a:pt x="63" y="311"/>
                  </a:lnTo>
                  <a:lnTo>
                    <a:pt x="63" y="311"/>
                  </a:lnTo>
                  <a:lnTo>
                    <a:pt x="63" y="313"/>
                  </a:lnTo>
                  <a:lnTo>
                    <a:pt x="63" y="313"/>
                  </a:lnTo>
                  <a:lnTo>
                    <a:pt x="66" y="316"/>
                  </a:lnTo>
                  <a:lnTo>
                    <a:pt x="62" y="318"/>
                  </a:lnTo>
                  <a:lnTo>
                    <a:pt x="60" y="318"/>
                  </a:lnTo>
                  <a:lnTo>
                    <a:pt x="62" y="319"/>
                  </a:lnTo>
                  <a:lnTo>
                    <a:pt x="62" y="322"/>
                  </a:lnTo>
                  <a:lnTo>
                    <a:pt x="62" y="324"/>
                  </a:lnTo>
                  <a:lnTo>
                    <a:pt x="62" y="325"/>
                  </a:lnTo>
                  <a:lnTo>
                    <a:pt x="63" y="327"/>
                  </a:lnTo>
                  <a:lnTo>
                    <a:pt x="65" y="328"/>
                  </a:lnTo>
                  <a:lnTo>
                    <a:pt x="71" y="330"/>
                  </a:lnTo>
                  <a:lnTo>
                    <a:pt x="76" y="331"/>
                  </a:lnTo>
                  <a:lnTo>
                    <a:pt x="77" y="331"/>
                  </a:lnTo>
                  <a:lnTo>
                    <a:pt x="79" y="331"/>
                  </a:lnTo>
                  <a:lnTo>
                    <a:pt x="82" y="330"/>
                  </a:lnTo>
                  <a:lnTo>
                    <a:pt x="82" y="330"/>
                  </a:lnTo>
                  <a:lnTo>
                    <a:pt x="82" y="328"/>
                  </a:lnTo>
                  <a:lnTo>
                    <a:pt x="83" y="328"/>
                  </a:lnTo>
                  <a:lnTo>
                    <a:pt x="88" y="336"/>
                  </a:lnTo>
                  <a:lnTo>
                    <a:pt x="88" y="339"/>
                  </a:lnTo>
                  <a:lnTo>
                    <a:pt x="88" y="344"/>
                  </a:lnTo>
                  <a:lnTo>
                    <a:pt x="86" y="347"/>
                  </a:lnTo>
                  <a:lnTo>
                    <a:pt x="86" y="348"/>
                  </a:lnTo>
                  <a:lnTo>
                    <a:pt x="86" y="351"/>
                  </a:lnTo>
                  <a:lnTo>
                    <a:pt x="86" y="355"/>
                  </a:lnTo>
                  <a:lnTo>
                    <a:pt x="86" y="355"/>
                  </a:lnTo>
                  <a:lnTo>
                    <a:pt x="86" y="355"/>
                  </a:lnTo>
                  <a:lnTo>
                    <a:pt x="86" y="356"/>
                  </a:lnTo>
                  <a:lnTo>
                    <a:pt x="83" y="358"/>
                  </a:lnTo>
                  <a:lnTo>
                    <a:pt x="83" y="359"/>
                  </a:lnTo>
                  <a:lnTo>
                    <a:pt x="80" y="361"/>
                  </a:lnTo>
                  <a:lnTo>
                    <a:pt x="79" y="362"/>
                  </a:lnTo>
                  <a:lnTo>
                    <a:pt x="76" y="364"/>
                  </a:lnTo>
                  <a:lnTo>
                    <a:pt x="74" y="365"/>
                  </a:lnTo>
                  <a:lnTo>
                    <a:pt x="72" y="368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8" y="370"/>
                  </a:lnTo>
                  <a:lnTo>
                    <a:pt x="66" y="371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3" y="375"/>
                  </a:lnTo>
                  <a:lnTo>
                    <a:pt x="63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0" y="378"/>
                  </a:lnTo>
                  <a:lnTo>
                    <a:pt x="60" y="379"/>
                  </a:lnTo>
                  <a:lnTo>
                    <a:pt x="62" y="381"/>
                  </a:lnTo>
                  <a:lnTo>
                    <a:pt x="63" y="381"/>
                  </a:lnTo>
                  <a:lnTo>
                    <a:pt x="68" y="384"/>
                  </a:lnTo>
                  <a:lnTo>
                    <a:pt x="69" y="385"/>
                  </a:lnTo>
                  <a:lnTo>
                    <a:pt x="71" y="385"/>
                  </a:lnTo>
                  <a:lnTo>
                    <a:pt x="71" y="387"/>
                  </a:lnTo>
                  <a:lnTo>
                    <a:pt x="71" y="388"/>
                  </a:lnTo>
                  <a:lnTo>
                    <a:pt x="71" y="388"/>
                  </a:lnTo>
                  <a:lnTo>
                    <a:pt x="69" y="388"/>
                  </a:lnTo>
                  <a:lnTo>
                    <a:pt x="69" y="390"/>
                  </a:lnTo>
                  <a:lnTo>
                    <a:pt x="68" y="393"/>
                  </a:lnTo>
                  <a:lnTo>
                    <a:pt x="66" y="395"/>
                  </a:lnTo>
                  <a:lnTo>
                    <a:pt x="63" y="396"/>
                  </a:lnTo>
                  <a:lnTo>
                    <a:pt x="57" y="396"/>
                  </a:lnTo>
                  <a:lnTo>
                    <a:pt x="49" y="398"/>
                  </a:lnTo>
                  <a:lnTo>
                    <a:pt x="46" y="401"/>
                  </a:lnTo>
                  <a:lnTo>
                    <a:pt x="45" y="402"/>
                  </a:lnTo>
                  <a:lnTo>
                    <a:pt x="43" y="402"/>
                  </a:lnTo>
                  <a:lnTo>
                    <a:pt x="39" y="401"/>
                  </a:lnTo>
                  <a:lnTo>
                    <a:pt x="39" y="402"/>
                  </a:lnTo>
                  <a:lnTo>
                    <a:pt x="39" y="404"/>
                  </a:lnTo>
                  <a:lnTo>
                    <a:pt x="36" y="405"/>
                  </a:lnTo>
                  <a:lnTo>
                    <a:pt x="36" y="404"/>
                  </a:lnTo>
                  <a:lnTo>
                    <a:pt x="34" y="402"/>
                  </a:lnTo>
                  <a:lnTo>
                    <a:pt x="32" y="402"/>
                  </a:lnTo>
                  <a:lnTo>
                    <a:pt x="31" y="402"/>
                  </a:lnTo>
                  <a:lnTo>
                    <a:pt x="31" y="401"/>
                  </a:lnTo>
                  <a:lnTo>
                    <a:pt x="29" y="399"/>
                  </a:lnTo>
                  <a:lnTo>
                    <a:pt x="29" y="399"/>
                  </a:lnTo>
                  <a:lnTo>
                    <a:pt x="28" y="401"/>
                  </a:lnTo>
                  <a:lnTo>
                    <a:pt x="25" y="399"/>
                  </a:lnTo>
                  <a:lnTo>
                    <a:pt x="22" y="398"/>
                  </a:lnTo>
                  <a:lnTo>
                    <a:pt x="20" y="396"/>
                  </a:lnTo>
                  <a:lnTo>
                    <a:pt x="17" y="398"/>
                  </a:lnTo>
                  <a:lnTo>
                    <a:pt x="19" y="398"/>
                  </a:lnTo>
                  <a:lnTo>
                    <a:pt x="22" y="401"/>
                  </a:lnTo>
                  <a:lnTo>
                    <a:pt x="22" y="402"/>
                  </a:lnTo>
                  <a:lnTo>
                    <a:pt x="20" y="402"/>
                  </a:lnTo>
                  <a:lnTo>
                    <a:pt x="19" y="402"/>
                  </a:lnTo>
                  <a:lnTo>
                    <a:pt x="17" y="401"/>
                  </a:lnTo>
                  <a:lnTo>
                    <a:pt x="14" y="402"/>
                  </a:lnTo>
                  <a:lnTo>
                    <a:pt x="12" y="402"/>
                  </a:lnTo>
                  <a:lnTo>
                    <a:pt x="11" y="404"/>
                  </a:lnTo>
                  <a:lnTo>
                    <a:pt x="9" y="404"/>
                  </a:lnTo>
                  <a:lnTo>
                    <a:pt x="6" y="405"/>
                  </a:lnTo>
                  <a:lnTo>
                    <a:pt x="5" y="405"/>
                  </a:lnTo>
                  <a:lnTo>
                    <a:pt x="5" y="407"/>
                  </a:lnTo>
                  <a:lnTo>
                    <a:pt x="6" y="408"/>
                  </a:lnTo>
                  <a:lnTo>
                    <a:pt x="8" y="410"/>
                  </a:lnTo>
                  <a:lnTo>
                    <a:pt x="8" y="413"/>
                  </a:lnTo>
                  <a:lnTo>
                    <a:pt x="6" y="415"/>
                  </a:lnTo>
                  <a:lnTo>
                    <a:pt x="6" y="415"/>
                  </a:lnTo>
                  <a:lnTo>
                    <a:pt x="6" y="416"/>
                  </a:lnTo>
                  <a:lnTo>
                    <a:pt x="6" y="416"/>
                  </a:lnTo>
                  <a:lnTo>
                    <a:pt x="9" y="416"/>
                  </a:lnTo>
                  <a:lnTo>
                    <a:pt x="9" y="416"/>
                  </a:lnTo>
                  <a:lnTo>
                    <a:pt x="11" y="418"/>
                  </a:lnTo>
                  <a:lnTo>
                    <a:pt x="12" y="418"/>
                  </a:lnTo>
                  <a:lnTo>
                    <a:pt x="11" y="422"/>
                  </a:lnTo>
                  <a:lnTo>
                    <a:pt x="12" y="424"/>
                  </a:lnTo>
                  <a:lnTo>
                    <a:pt x="17" y="427"/>
                  </a:lnTo>
                  <a:lnTo>
                    <a:pt x="17" y="428"/>
                  </a:lnTo>
                  <a:lnTo>
                    <a:pt x="17" y="430"/>
                  </a:lnTo>
                  <a:lnTo>
                    <a:pt x="17" y="432"/>
                  </a:lnTo>
                  <a:lnTo>
                    <a:pt x="22" y="439"/>
                  </a:lnTo>
                  <a:lnTo>
                    <a:pt x="25" y="442"/>
                  </a:lnTo>
                  <a:lnTo>
                    <a:pt x="25" y="447"/>
                  </a:lnTo>
                  <a:lnTo>
                    <a:pt x="26" y="448"/>
                  </a:lnTo>
                  <a:lnTo>
                    <a:pt x="25" y="450"/>
                  </a:lnTo>
                  <a:lnTo>
                    <a:pt x="25" y="453"/>
                  </a:lnTo>
                  <a:lnTo>
                    <a:pt x="25" y="456"/>
                  </a:lnTo>
                  <a:lnTo>
                    <a:pt x="26" y="456"/>
                  </a:lnTo>
                  <a:lnTo>
                    <a:pt x="25" y="458"/>
                  </a:lnTo>
                  <a:lnTo>
                    <a:pt x="25" y="461"/>
                  </a:lnTo>
                  <a:lnTo>
                    <a:pt x="25" y="462"/>
                  </a:lnTo>
                  <a:lnTo>
                    <a:pt x="25" y="462"/>
                  </a:lnTo>
                  <a:lnTo>
                    <a:pt x="22" y="464"/>
                  </a:lnTo>
                  <a:lnTo>
                    <a:pt x="22" y="465"/>
                  </a:lnTo>
                  <a:lnTo>
                    <a:pt x="17" y="472"/>
                  </a:lnTo>
                  <a:lnTo>
                    <a:pt x="15" y="475"/>
                  </a:lnTo>
                  <a:lnTo>
                    <a:pt x="15" y="475"/>
                  </a:lnTo>
                  <a:lnTo>
                    <a:pt x="14" y="478"/>
                  </a:lnTo>
                  <a:lnTo>
                    <a:pt x="14" y="481"/>
                  </a:lnTo>
                  <a:lnTo>
                    <a:pt x="15" y="482"/>
                  </a:lnTo>
                  <a:lnTo>
                    <a:pt x="17" y="484"/>
                  </a:lnTo>
                  <a:lnTo>
                    <a:pt x="20" y="481"/>
                  </a:lnTo>
                  <a:lnTo>
                    <a:pt x="22" y="481"/>
                  </a:lnTo>
                  <a:lnTo>
                    <a:pt x="22" y="482"/>
                  </a:lnTo>
                  <a:lnTo>
                    <a:pt x="20" y="484"/>
                  </a:lnTo>
                  <a:lnTo>
                    <a:pt x="22" y="485"/>
                  </a:lnTo>
                  <a:lnTo>
                    <a:pt x="20" y="487"/>
                  </a:lnTo>
                  <a:lnTo>
                    <a:pt x="15" y="489"/>
                  </a:lnTo>
                  <a:lnTo>
                    <a:pt x="9" y="495"/>
                  </a:lnTo>
                  <a:lnTo>
                    <a:pt x="8" y="495"/>
                  </a:lnTo>
                  <a:lnTo>
                    <a:pt x="6" y="498"/>
                  </a:lnTo>
                  <a:lnTo>
                    <a:pt x="6" y="499"/>
                  </a:lnTo>
                  <a:lnTo>
                    <a:pt x="5" y="499"/>
                  </a:lnTo>
                  <a:lnTo>
                    <a:pt x="3" y="498"/>
                  </a:lnTo>
                  <a:lnTo>
                    <a:pt x="3" y="498"/>
                  </a:lnTo>
                  <a:lnTo>
                    <a:pt x="2" y="496"/>
                  </a:lnTo>
                  <a:lnTo>
                    <a:pt x="0" y="498"/>
                  </a:lnTo>
                  <a:lnTo>
                    <a:pt x="0" y="501"/>
                  </a:lnTo>
                  <a:lnTo>
                    <a:pt x="2" y="504"/>
                  </a:lnTo>
                  <a:lnTo>
                    <a:pt x="2" y="507"/>
                  </a:lnTo>
                  <a:lnTo>
                    <a:pt x="2" y="507"/>
                  </a:lnTo>
                  <a:lnTo>
                    <a:pt x="3" y="505"/>
                  </a:lnTo>
                  <a:lnTo>
                    <a:pt x="5" y="505"/>
                  </a:lnTo>
                  <a:lnTo>
                    <a:pt x="6" y="505"/>
                  </a:lnTo>
                  <a:lnTo>
                    <a:pt x="8" y="505"/>
                  </a:lnTo>
                  <a:lnTo>
                    <a:pt x="11" y="505"/>
                  </a:lnTo>
                  <a:lnTo>
                    <a:pt x="11" y="507"/>
                  </a:lnTo>
                  <a:lnTo>
                    <a:pt x="11" y="507"/>
                  </a:lnTo>
                  <a:lnTo>
                    <a:pt x="9" y="509"/>
                  </a:lnTo>
                  <a:lnTo>
                    <a:pt x="11" y="510"/>
                  </a:lnTo>
                  <a:lnTo>
                    <a:pt x="11" y="512"/>
                  </a:lnTo>
                  <a:lnTo>
                    <a:pt x="11" y="512"/>
                  </a:lnTo>
                  <a:lnTo>
                    <a:pt x="12" y="513"/>
                  </a:lnTo>
                  <a:lnTo>
                    <a:pt x="15" y="513"/>
                  </a:lnTo>
                  <a:lnTo>
                    <a:pt x="15" y="515"/>
                  </a:lnTo>
                  <a:lnTo>
                    <a:pt x="14" y="515"/>
                  </a:lnTo>
                  <a:lnTo>
                    <a:pt x="14" y="516"/>
                  </a:lnTo>
                  <a:lnTo>
                    <a:pt x="15" y="518"/>
                  </a:lnTo>
                  <a:lnTo>
                    <a:pt x="15" y="519"/>
                  </a:lnTo>
                  <a:lnTo>
                    <a:pt x="14" y="521"/>
                  </a:lnTo>
                  <a:lnTo>
                    <a:pt x="14" y="521"/>
                  </a:lnTo>
                  <a:lnTo>
                    <a:pt x="12" y="521"/>
                  </a:lnTo>
                  <a:lnTo>
                    <a:pt x="11" y="521"/>
                  </a:lnTo>
                  <a:lnTo>
                    <a:pt x="11" y="522"/>
                  </a:lnTo>
                  <a:lnTo>
                    <a:pt x="11" y="524"/>
                  </a:lnTo>
                  <a:lnTo>
                    <a:pt x="11" y="525"/>
                  </a:lnTo>
                  <a:lnTo>
                    <a:pt x="11" y="525"/>
                  </a:lnTo>
                  <a:lnTo>
                    <a:pt x="9" y="527"/>
                  </a:lnTo>
                  <a:lnTo>
                    <a:pt x="8" y="527"/>
                  </a:lnTo>
                  <a:lnTo>
                    <a:pt x="8" y="529"/>
                  </a:lnTo>
                  <a:lnTo>
                    <a:pt x="9" y="530"/>
                  </a:lnTo>
                  <a:lnTo>
                    <a:pt x="9" y="530"/>
                  </a:lnTo>
                  <a:lnTo>
                    <a:pt x="9" y="530"/>
                  </a:lnTo>
                  <a:lnTo>
                    <a:pt x="9" y="532"/>
                  </a:lnTo>
                  <a:lnTo>
                    <a:pt x="9" y="532"/>
                  </a:lnTo>
                  <a:lnTo>
                    <a:pt x="9" y="533"/>
                  </a:lnTo>
                  <a:lnTo>
                    <a:pt x="9" y="533"/>
                  </a:lnTo>
                  <a:lnTo>
                    <a:pt x="9" y="533"/>
                  </a:lnTo>
                  <a:lnTo>
                    <a:pt x="11" y="533"/>
                  </a:lnTo>
                  <a:lnTo>
                    <a:pt x="11" y="535"/>
                  </a:lnTo>
                  <a:lnTo>
                    <a:pt x="11" y="536"/>
                  </a:lnTo>
                  <a:lnTo>
                    <a:pt x="11" y="538"/>
                  </a:lnTo>
                  <a:lnTo>
                    <a:pt x="12" y="538"/>
                  </a:lnTo>
                  <a:lnTo>
                    <a:pt x="15" y="536"/>
                  </a:lnTo>
                  <a:lnTo>
                    <a:pt x="17" y="536"/>
                  </a:lnTo>
                  <a:lnTo>
                    <a:pt x="17" y="538"/>
                  </a:lnTo>
                  <a:lnTo>
                    <a:pt x="22" y="546"/>
                  </a:lnTo>
                  <a:lnTo>
                    <a:pt x="22" y="546"/>
                  </a:lnTo>
                  <a:lnTo>
                    <a:pt x="22" y="547"/>
                  </a:lnTo>
                  <a:lnTo>
                    <a:pt x="23" y="549"/>
                  </a:lnTo>
                  <a:lnTo>
                    <a:pt x="29" y="549"/>
                  </a:lnTo>
                  <a:lnTo>
                    <a:pt x="29" y="549"/>
                  </a:lnTo>
                  <a:lnTo>
                    <a:pt x="28" y="550"/>
                  </a:lnTo>
                  <a:lnTo>
                    <a:pt x="28" y="550"/>
                  </a:lnTo>
                  <a:lnTo>
                    <a:pt x="28" y="552"/>
                  </a:lnTo>
                  <a:lnTo>
                    <a:pt x="26" y="552"/>
                  </a:lnTo>
                  <a:lnTo>
                    <a:pt x="23" y="555"/>
                  </a:lnTo>
                  <a:lnTo>
                    <a:pt x="22" y="556"/>
                  </a:lnTo>
                  <a:lnTo>
                    <a:pt x="23" y="558"/>
                  </a:lnTo>
                  <a:lnTo>
                    <a:pt x="23" y="559"/>
                  </a:lnTo>
                  <a:lnTo>
                    <a:pt x="23" y="559"/>
                  </a:lnTo>
                  <a:lnTo>
                    <a:pt x="23" y="559"/>
                  </a:lnTo>
                  <a:lnTo>
                    <a:pt x="25" y="559"/>
                  </a:lnTo>
                  <a:lnTo>
                    <a:pt x="23" y="561"/>
                  </a:lnTo>
                  <a:lnTo>
                    <a:pt x="25" y="561"/>
                  </a:lnTo>
                  <a:lnTo>
                    <a:pt x="25" y="562"/>
                  </a:lnTo>
                  <a:lnTo>
                    <a:pt x="26" y="562"/>
                  </a:lnTo>
                  <a:lnTo>
                    <a:pt x="26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31" y="562"/>
                  </a:lnTo>
                  <a:lnTo>
                    <a:pt x="34" y="564"/>
                  </a:lnTo>
                  <a:lnTo>
                    <a:pt x="36" y="564"/>
                  </a:lnTo>
                  <a:lnTo>
                    <a:pt x="34" y="564"/>
                  </a:lnTo>
                  <a:lnTo>
                    <a:pt x="34" y="566"/>
                  </a:lnTo>
                  <a:lnTo>
                    <a:pt x="34" y="567"/>
                  </a:lnTo>
                  <a:lnTo>
                    <a:pt x="36" y="567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7" y="569"/>
                  </a:lnTo>
                  <a:lnTo>
                    <a:pt x="37" y="572"/>
                  </a:lnTo>
                  <a:lnTo>
                    <a:pt x="36" y="573"/>
                  </a:lnTo>
                  <a:lnTo>
                    <a:pt x="36" y="575"/>
                  </a:lnTo>
                  <a:lnTo>
                    <a:pt x="36" y="576"/>
                  </a:lnTo>
                  <a:lnTo>
                    <a:pt x="39" y="581"/>
                  </a:lnTo>
                  <a:lnTo>
                    <a:pt x="39" y="582"/>
                  </a:lnTo>
                  <a:lnTo>
                    <a:pt x="39" y="582"/>
                  </a:lnTo>
                  <a:lnTo>
                    <a:pt x="37" y="584"/>
                  </a:lnTo>
                  <a:lnTo>
                    <a:pt x="36" y="584"/>
                  </a:lnTo>
                  <a:lnTo>
                    <a:pt x="34" y="584"/>
                  </a:lnTo>
                  <a:lnTo>
                    <a:pt x="34" y="584"/>
                  </a:lnTo>
                  <a:lnTo>
                    <a:pt x="32" y="584"/>
                  </a:lnTo>
                  <a:lnTo>
                    <a:pt x="31" y="584"/>
                  </a:lnTo>
                  <a:lnTo>
                    <a:pt x="31" y="586"/>
                  </a:lnTo>
                  <a:lnTo>
                    <a:pt x="31" y="586"/>
                  </a:lnTo>
                  <a:lnTo>
                    <a:pt x="31" y="587"/>
                  </a:lnTo>
                  <a:lnTo>
                    <a:pt x="31" y="589"/>
                  </a:lnTo>
                  <a:lnTo>
                    <a:pt x="29" y="590"/>
                  </a:lnTo>
                  <a:lnTo>
                    <a:pt x="26" y="590"/>
                  </a:lnTo>
                  <a:lnTo>
                    <a:pt x="25" y="592"/>
                  </a:lnTo>
                  <a:lnTo>
                    <a:pt x="23" y="593"/>
                  </a:lnTo>
                  <a:lnTo>
                    <a:pt x="22" y="593"/>
                  </a:lnTo>
                  <a:lnTo>
                    <a:pt x="22" y="595"/>
                  </a:lnTo>
                  <a:lnTo>
                    <a:pt x="22" y="596"/>
                  </a:lnTo>
                  <a:lnTo>
                    <a:pt x="23" y="598"/>
                  </a:lnTo>
                  <a:lnTo>
                    <a:pt x="23" y="598"/>
                  </a:lnTo>
                  <a:lnTo>
                    <a:pt x="22" y="599"/>
                  </a:lnTo>
                  <a:lnTo>
                    <a:pt x="22" y="599"/>
                  </a:lnTo>
                  <a:lnTo>
                    <a:pt x="20" y="599"/>
                  </a:lnTo>
                  <a:lnTo>
                    <a:pt x="20" y="601"/>
                  </a:lnTo>
                  <a:lnTo>
                    <a:pt x="20" y="601"/>
                  </a:lnTo>
                  <a:lnTo>
                    <a:pt x="19" y="602"/>
                  </a:lnTo>
                  <a:lnTo>
                    <a:pt x="19" y="602"/>
                  </a:lnTo>
                  <a:lnTo>
                    <a:pt x="20" y="604"/>
                  </a:lnTo>
                  <a:lnTo>
                    <a:pt x="20" y="604"/>
                  </a:lnTo>
                  <a:lnTo>
                    <a:pt x="20" y="604"/>
                  </a:lnTo>
                  <a:lnTo>
                    <a:pt x="19" y="606"/>
                  </a:lnTo>
                  <a:lnTo>
                    <a:pt x="19" y="607"/>
                  </a:lnTo>
                  <a:lnTo>
                    <a:pt x="19" y="609"/>
                  </a:lnTo>
                  <a:lnTo>
                    <a:pt x="17" y="612"/>
                  </a:lnTo>
                  <a:lnTo>
                    <a:pt x="19" y="612"/>
                  </a:lnTo>
                  <a:lnTo>
                    <a:pt x="19" y="612"/>
                  </a:lnTo>
                  <a:lnTo>
                    <a:pt x="19" y="612"/>
                  </a:lnTo>
                  <a:lnTo>
                    <a:pt x="19" y="613"/>
                  </a:lnTo>
                  <a:lnTo>
                    <a:pt x="17" y="613"/>
                  </a:lnTo>
                  <a:lnTo>
                    <a:pt x="19" y="615"/>
                  </a:lnTo>
                  <a:lnTo>
                    <a:pt x="19" y="615"/>
                  </a:lnTo>
                  <a:lnTo>
                    <a:pt x="19" y="618"/>
                  </a:lnTo>
                  <a:lnTo>
                    <a:pt x="19" y="619"/>
                  </a:lnTo>
                  <a:lnTo>
                    <a:pt x="20" y="619"/>
                  </a:lnTo>
                  <a:lnTo>
                    <a:pt x="20" y="622"/>
                  </a:lnTo>
                  <a:lnTo>
                    <a:pt x="22" y="626"/>
                  </a:lnTo>
                  <a:lnTo>
                    <a:pt x="22" y="626"/>
                  </a:lnTo>
                  <a:lnTo>
                    <a:pt x="23" y="624"/>
                  </a:lnTo>
                  <a:lnTo>
                    <a:pt x="25" y="627"/>
                  </a:lnTo>
                  <a:lnTo>
                    <a:pt x="26" y="632"/>
                  </a:lnTo>
                  <a:lnTo>
                    <a:pt x="28" y="633"/>
                  </a:lnTo>
                  <a:lnTo>
                    <a:pt x="31" y="635"/>
                  </a:lnTo>
                  <a:lnTo>
                    <a:pt x="31" y="635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8"/>
                  </a:lnTo>
                  <a:lnTo>
                    <a:pt x="32" y="638"/>
                  </a:lnTo>
                  <a:lnTo>
                    <a:pt x="34" y="638"/>
                  </a:lnTo>
                  <a:lnTo>
                    <a:pt x="34" y="638"/>
                  </a:lnTo>
                  <a:lnTo>
                    <a:pt x="36" y="638"/>
                  </a:lnTo>
                  <a:lnTo>
                    <a:pt x="37" y="639"/>
                  </a:lnTo>
                  <a:lnTo>
                    <a:pt x="39" y="641"/>
                  </a:lnTo>
                  <a:lnTo>
                    <a:pt x="40" y="641"/>
                  </a:lnTo>
                  <a:lnTo>
                    <a:pt x="42" y="643"/>
                  </a:lnTo>
                  <a:lnTo>
                    <a:pt x="45" y="643"/>
                  </a:lnTo>
                  <a:lnTo>
                    <a:pt x="46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7"/>
                  </a:lnTo>
                  <a:lnTo>
                    <a:pt x="46" y="647"/>
                  </a:lnTo>
                  <a:lnTo>
                    <a:pt x="48" y="649"/>
                  </a:lnTo>
                  <a:lnTo>
                    <a:pt x="48" y="649"/>
                  </a:lnTo>
                  <a:lnTo>
                    <a:pt x="46" y="649"/>
                  </a:lnTo>
                  <a:lnTo>
                    <a:pt x="46" y="650"/>
                  </a:lnTo>
                  <a:lnTo>
                    <a:pt x="46" y="652"/>
                  </a:lnTo>
                  <a:lnTo>
                    <a:pt x="46" y="652"/>
                  </a:lnTo>
                  <a:lnTo>
                    <a:pt x="48" y="653"/>
                  </a:lnTo>
                  <a:lnTo>
                    <a:pt x="46" y="652"/>
                  </a:lnTo>
                  <a:lnTo>
                    <a:pt x="46" y="652"/>
                  </a:lnTo>
                  <a:lnTo>
                    <a:pt x="46" y="653"/>
                  </a:lnTo>
                  <a:lnTo>
                    <a:pt x="46" y="653"/>
                  </a:lnTo>
                  <a:lnTo>
                    <a:pt x="46" y="653"/>
                  </a:lnTo>
                  <a:lnTo>
                    <a:pt x="42" y="658"/>
                  </a:lnTo>
                  <a:lnTo>
                    <a:pt x="40" y="659"/>
                  </a:lnTo>
                  <a:lnTo>
                    <a:pt x="40" y="659"/>
                  </a:lnTo>
                  <a:lnTo>
                    <a:pt x="42" y="659"/>
                  </a:lnTo>
                  <a:lnTo>
                    <a:pt x="42" y="659"/>
                  </a:lnTo>
                  <a:lnTo>
                    <a:pt x="42" y="661"/>
                  </a:lnTo>
                  <a:lnTo>
                    <a:pt x="42" y="661"/>
                  </a:lnTo>
                  <a:lnTo>
                    <a:pt x="40" y="663"/>
                  </a:lnTo>
                  <a:lnTo>
                    <a:pt x="40" y="664"/>
                  </a:lnTo>
                  <a:lnTo>
                    <a:pt x="39" y="666"/>
                  </a:lnTo>
                  <a:lnTo>
                    <a:pt x="37" y="669"/>
                  </a:lnTo>
                  <a:lnTo>
                    <a:pt x="37" y="669"/>
                  </a:lnTo>
                  <a:lnTo>
                    <a:pt x="37" y="673"/>
                  </a:lnTo>
                  <a:lnTo>
                    <a:pt x="36" y="673"/>
                  </a:lnTo>
                  <a:lnTo>
                    <a:pt x="36" y="678"/>
                  </a:lnTo>
                  <a:lnTo>
                    <a:pt x="36" y="681"/>
                  </a:lnTo>
                  <a:lnTo>
                    <a:pt x="36" y="683"/>
                  </a:lnTo>
                  <a:lnTo>
                    <a:pt x="37" y="683"/>
                  </a:lnTo>
                  <a:lnTo>
                    <a:pt x="37" y="683"/>
                  </a:lnTo>
                  <a:lnTo>
                    <a:pt x="39" y="681"/>
                  </a:lnTo>
                  <a:lnTo>
                    <a:pt x="40" y="681"/>
                  </a:lnTo>
                  <a:lnTo>
                    <a:pt x="40" y="681"/>
                  </a:lnTo>
                  <a:lnTo>
                    <a:pt x="48" y="684"/>
                  </a:lnTo>
                  <a:lnTo>
                    <a:pt x="48" y="686"/>
                  </a:lnTo>
                  <a:lnTo>
                    <a:pt x="49" y="687"/>
                  </a:lnTo>
                  <a:lnTo>
                    <a:pt x="49" y="687"/>
                  </a:lnTo>
                  <a:lnTo>
                    <a:pt x="49" y="689"/>
                  </a:lnTo>
                  <a:lnTo>
                    <a:pt x="49" y="689"/>
                  </a:lnTo>
                  <a:lnTo>
                    <a:pt x="49" y="689"/>
                  </a:lnTo>
                  <a:lnTo>
                    <a:pt x="52" y="693"/>
                  </a:lnTo>
                  <a:lnTo>
                    <a:pt x="54" y="693"/>
                  </a:lnTo>
                  <a:lnTo>
                    <a:pt x="52" y="695"/>
                  </a:lnTo>
                  <a:lnTo>
                    <a:pt x="51" y="695"/>
                  </a:lnTo>
                  <a:lnTo>
                    <a:pt x="51" y="695"/>
                  </a:lnTo>
                  <a:lnTo>
                    <a:pt x="52" y="696"/>
                  </a:lnTo>
                  <a:lnTo>
                    <a:pt x="52" y="698"/>
                  </a:lnTo>
                  <a:lnTo>
                    <a:pt x="59" y="703"/>
                  </a:lnTo>
                  <a:lnTo>
                    <a:pt x="59" y="704"/>
                  </a:lnTo>
                  <a:lnTo>
                    <a:pt x="59" y="704"/>
                  </a:lnTo>
                  <a:lnTo>
                    <a:pt x="59" y="706"/>
                  </a:lnTo>
                  <a:lnTo>
                    <a:pt x="59" y="706"/>
                  </a:lnTo>
                  <a:lnTo>
                    <a:pt x="60" y="706"/>
                  </a:lnTo>
                  <a:lnTo>
                    <a:pt x="60" y="706"/>
                  </a:lnTo>
                  <a:lnTo>
                    <a:pt x="60" y="709"/>
                  </a:lnTo>
                  <a:lnTo>
                    <a:pt x="60" y="709"/>
                  </a:lnTo>
                  <a:lnTo>
                    <a:pt x="60" y="709"/>
                  </a:lnTo>
                  <a:lnTo>
                    <a:pt x="60" y="710"/>
                  </a:lnTo>
                  <a:lnTo>
                    <a:pt x="62" y="710"/>
                  </a:lnTo>
                  <a:lnTo>
                    <a:pt x="62" y="710"/>
                  </a:lnTo>
                  <a:lnTo>
                    <a:pt x="62" y="710"/>
                  </a:lnTo>
                  <a:lnTo>
                    <a:pt x="63" y="710"/>
                  </a:lnTo>
                  <a:lnTo>
                    <a:pt x="63" y="712"/>
                  </a:lnTo>
                  <a:lnTo>
                    <a:pt x="63" y="713"/>
                  </a:lnTo>
                  <a:lnTo>
                    <a:pt x="63" y="715"/>
                  </a:lnTo>
                  <a:lnTo>
                    <a:pt x="63" y="716"/>
                  </a:lnTo>
                  <a:lnTo>
                    <a:pt x="65" y="716"/>
                  </a:lnTo>
                  <a:lnTo>
                    <a:pt x="68" y="716"/>
                  </a:lnTo>
                  <a:lnTo>
                    <a:pt x="71" y="718"/>
                  </a:lnTo>
                  <a:lnTo>
                    <a:pt x="71" y="716"/>
                  </a:lnTo>
                  <a:lnTo>
                    <a:pt x="72" y="715"/>
                  </a:lnTo>
                  <a:lnTo>
                    <a:pt x="72" y="713"/>
                  </a:lnTo>
                  <a:lnTo>
                    <a:pt x="72" y="712"/>
                  </a:lnTo>
                  <a:lnTo>
                    <a:pt x="72" y="710"/>
                  </a:lnTo>
                  <a:lnTo>
                    <a:pt x="72" y="710"/>
                  </a:lnTo>
                  <a:lnTo>
                    <a:pt x="76" y="710"/>
                  </a:lnTo>
                  <a:lnTo>
                    <a:pt x="79" y="710"/>
                  </a:lnTo>
                  <a:lnTo>
                    <a:pt x="79" y="710"/>
                  </a:lnTo>
                  <a:lnTo>
                    <a:pt x="83" y="713"/>
                  </a:lnTo>
                  <a:lnTo>
                    <a:pt x="85" y="713"/>
                  </a:lnTo>
                  <a:lnTo>
                    <a:pt x="85" y="716"/>
                  </a:lnTo>
                  <a:lnTo>
                    <a:pt x="86" y="721"/>
                  </a:lnTo>
                  <a:lnTo>
                    <a:pt x="88" y="721"/>
                  </a:lnTo>
                  <a:lnTo>
                    <a:pt x="91" y="720"/>
                  </a:lnTo>
                  <a:lnTo>
                    <a:pt x="91" y="720"/>
                  </a:lnTo>
                  <a:lnTo>
                    <a:pt x="89" y="720"/>
                  </a:lnTo>
                  <a:lnTo>
                    <a:pt x="89" y="718"/>
                  </a:lnTo>
                  <a:lnTo>
                    <a:pt x="91" y="718"/>
                  </a:lnTo>
                  <a:lnTo>
                    <a:pt x="91" y="718"/>
                  </a:lnTo>
                  <a:lnTo>
                    <a:pt x="94" y="720"/>
                  </a:lnTo>
                  <a:lnTo>
                    <a:pt x="96" y="721"/>
                  </a:lnTo>
                  <a:lnTo>
                    <a:pt x="96" y="721"/>
                  </a:lnTo>
                  <a:lnTo>
                    <a:pt x="103" y="721"/>
                  </a:lnTo>
                  <a:lnTo>
                    <a:pt x="105" y="721"/>
                  </a:lnTo>
                  <a:lnTo>
                    <a:pt x="105" y="723"/>
                  </a:lnTo>
                  <a:lnTo>
                    <a:pt x="106" y="721"/>
                  </a:lnTo>
                  <a:lnTo>
                    <a:pt x="106" y="720"/>
                  </a:lnTo>
                  <a:lnTo>
                    <a:pt x="106" y="720"/>
                  </a:lnTo>
                  <a:lnTo>
                    <a:pt x="108" y="720"/>
                  </a:lnTo>
                  <a:lnTo>
                    <a:pt x="109" y="720"/>
                  </a:lnTo>
                  <a:lnTo>
                    <a:pt x="109" y="718"/>
                  </a:lnTo>
                  <a:lnTo>
                    <a:pt x="109" y="718"/>
                  </a:lnTo>
                  <a:lnTo>
                    <a:pt x="111" y="716"/>
                  </a:lnTo>
                  <a:lnTo>
                    <a:pt x="111" y="716"/>
                  </a:lnTo>
                  <a:lnTo>
                    <a:pt x="113" y="715"/>
                  </a:lnTo>
                  <a:lnTo>
                    <a:pt x="113" y="715"/>
                  </a:lnTo>
                  <a:lnTo>
                    <a:pt x="114" y="715"/>
                  </a:lnTo>
                  <a:lnTo>
                    <a:pt x="116" y="715"/>
                  </a:lnTo>
                  <a:lnTo>
                    <a:pt x="116" y="716"/>
                  </a:lnTo>
                  <a:lnTo>
                    <a:pt x="119" y="716"/>
                  </a:lnTo>
                  <a:lnTo>
                    <a:pt x="120" y="716"/>
                  </a:lnTo>
                  <a:lnTo>
                    <a:pt x="120" y="718"/>
                  </a:lnTo>
                  <a:lnTo>
                    <a:pt x="120" y="718"/>
                  </a:lnTo>
                  <a:lnTo>
                    <a:pt x="120" y="720"/>
                  </a:lnTo>
                  <a:lnTo>
                    <a:pt x="120" y="720"/>
                  </a:lnTo>
                  <a:lnTo>
                    <a:pt x="120" y="721"/>
                  </a:lnTo>
                  <a:lnTo>
                    <a:pt x="123" y="723"/>
                  </a:lnTo>
                  <a:lnTo>
                    <a:pt x="123" y="724"/>
                  </a:lnTo>
                  <a:lnTo>
                    <a:pt x="125" y="726"/>
                  </a:lnTo>
                  <a:lnTo>
                    <a:pt x="128" y="726"/>
                  </a:lnTo>
                  <a:lnTo>
                    <a:pt x="129" y="727"/>
                  </a:lnTo>
                  <a:lnTo>
                    <a:pt x="131" y="727"/>
                  </a:lnTo>
                  <a:lnTo>
                    <a:pt x="131" y="729"/>
                  </a:lnTo>
                  <a:lnTo>
                    <a:pt x="133" y="729"/>
                  </a:lnTo>
                  <a:lnTo>
                    <a:pt x="133" y="730"/>
                  </a:lnTo>
                  <a:lnTo>
                    <a:pt x="133" y="730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6" y="729"/>
                  </a:lnTo>
                  <a:lnTo>
                    <a:pt x="137" y="729"/>
                  </a:lnTo>
                  <a:lnTo>
                    <a:pt x="139" y="730"/>
                  </a:lnTo>
                  <a:lnTo>
                    <a:pt x="139" y="730"/>
                  </a:lnTo>
                  <a:lnTo>
                    <a:pt x="140" y="729"/>
                  </a:lnTo>
                  <a:lnTo>
                    <a:pt x="142" y="729"/>
                  </a:lnTo>
                  <a:lnTo>
                    <a:pt x="142" y="729"/>
                  </a:lnTo>
                  <a:lnTo>
                    <a:pt x="148" y="730"/>
                  </a:lnTo>
                  <a:lnTo>
                    <a:pt x="153" y="730"/>
                  </a:lnTo>
                  <a:lnTo>
                    <a:pt x="154" y="730"/>
                  </a:lnTo>
                  <a:lnTo>
                    <a:pt x="166" y="736"/>
                  </a:lnTo>
                  <a:lnTo>
                    <a:pt x="173" y="738"/>
                  </a:lnTo>
                  <a:lnTo>
                    <a:pt x="174" y="738"/>
                  </a:lnTo>
                  <a:lnTo>
                    <a:pt x="174" y="738"/>
                  </a:lnTo>
                  <a:lnTo>
                    <a:pt x="173" y="740"/>
                  </a:lnTo>
                  <a:lnTo>
                    <a:pt x="170" y="744"/>
                  </a:lnTo>
                  <a:lnTo>
                    <a:pt x="166" y="753"/>
                  </a:lnTo>
                  <a:lnTo>
                    <a:pt x="166" y="755"/>
                  </a:lnTo>
                  <a:lnTo>
                    <a:pt x="165" y="756"/>
                  </a:lnTo>
                  <a:lnTo>
                    <a:pt x="163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58"/>
                  </a:lnTo>
                  <a:lnTo>
                    <a:pt x="162" y="760"/>
                  </a:lnTo>
                  <a:lnTo>
                    <a:pt x="160" y="760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57" y="761"/>
                  </a:lnTo>
                  <a:lnTo>
                    <a:pt x="157" y="761"/>
                  </a:lnTo>
                  <a:lnTo>
                    <a:pt x="157" y="763"/>
                  </a:lnTo>
                  <a:lnTo>
                    <a:pt x="157" y="764"/>
                  </a:lnTo>
                  <a:lnTo>
                    <a:pt x="156" y="766"/>
                  </a:lnTo>
                  <a:lnTo>
                    <a:pt x="156" y="766"/>
                  </a:lnTo>
                  <a:lnTo>
                    <a:pt x="154" y="767"/>
                  </a:lnTo>
                  <a:lnTo>
                    <a:pt x="154" y="767"/>
                  </a:lnTo>
                  <a:lnTo>
                    <a:pt x="151" y="770"/>
                  </a:lnTo>
                  <a:lnTo>
                    <a:pt x="151" y="772"/>
                  </a:lnTo>
                  <a:lnTo>
                    <a:pt x="149" y="772"/>
                  </a:lnTo>
                  <a:lnTo>
                    <a:pt x="148" y="772"/>
                  </a:lnTo>
                  <a:lnTo>
                    <a:pt x="145" y="776"/>
                  </a:lnTo>
                  <a:lnTo>
                    <a:pt x="145" y="781"/>
                  </a:lnTo>
                  <a:lnTo>
                    <a:pt x="145" y="784"/>
                  </a:lnTo>
                  <a:lnTo>
                    <a:pt x="145" y="787"/>
                  </a:lnTo>
                  <a:lnTo>
                    <a:pt x="145" y="787"/>
                  </a:lnTo>
                  <a:lnTo>
                    <a:pt x="143" y="789"/>
                  </a:lnTo>
                  <a:lnTo>
                    <a:pt x="143" y="790"/>
                  </a:lnTo>
                  <a:lnTo>
                    <a:pt x="142" y="792"/>
                  </a:lnTo>
                  <a:lnTo>
                    <a:pt x="142" y="793"/>
                  </a:lnTo>
                  <a:lnTo>
                    <a:pt x="142" y="795"/>
                  </a:lnTo>
                  <a:lnTo>
                    <a:pt x="142" y="795"/>
                  </a:lnTo>
                  <a:lnTo>
                    <a:pt x="140" y="797"/>
                  </a:lnTo>
                  <a:lnTo>
                    <a:pt x="140" y="798"/>
                  </a:lnTo>
                  <a:lnTo>
                    <a:pt x="140" y="801"/>
                  </a:lnTo>
                  <a:lnTo>
                    <a:pt x="140" y="803"/>
                  </a:lnTo>
                  <a:lnTo>
                    <a:pt x="140" y="803"/>
                  </a:lnTo>
                  <a:lnTo>
                    <a:pt x="140" y="804"/>
                  </a:lnTo>
                  <a:lnTo>
                    <a:pt x="140" y="806"/>
                  </a:lnTo>
                  <a:lnTo>
                    <a:pt x="140" y="807"/>
                  </a:lnTo>
                  <a:lnTo>
                    <a:pt x="140" y="809"/>
                  </a:lnTo>
                  <a:lnTo>
                    <a:pt x="139" y="810"/>
                  </a:lnTo>
                  <a:lnTo>
                    <a:pt x="137" y="812"/>
                  </a:lnTo>
                  <a:lnTo>
                    <a:pt x="137" y="813"/>
                  </a:lnTo>
                  <a:lnTo>
                    <a:pt x="136" y="817"/>
                  </a:lnTo>
                  <a:lnTo>
                    <a:pt x="136" y="818"/>
                  </a:lnTo>
                  <a:lnTo>
                    <a:pt x="136" y="820"/>
                  </a:lnTo>
                  <a:lnTo>
                    <a:pt x="131" y="826"/>
                  </a:lnTo>
                  <a:lnTo>
                    <a:pt x="129" y="827"/>
                  </a:lnTo>
                  <a:lnTo>
                    <a:pt x="129" y="829"/>
                  </a:lnTo>
                  <a:lnTo>
                    <a:pt x="129" y="830"/>
                  </a:lnTo>
                  <a:lnTo>
                    <a:pt x="129" y="830"/>
                  </a:lnTo>
                  <a:lnTo>
                    <a:pt x="128" y="832"/>
                  </a:lnTo>
                  <a:lnTo>
                    <a:pt x="128" y="833"/>
                  </a:lnTo>
                  <a:lnTo>
                    <a:pt x="128" y="835"/>
                  </a:lnTo>
                  <a:lnTo>
                    <a:pt x="128" y="840"/>
                  </a:lnTo>
                  <a:lnTo>
                    <a:pt x="131" y="846"/>
                  </a:lnTo>
                  <a:lnTo>
                    <a:pt x="131" y="849"/>
                  </a:lnTo>
                  <a:lnTo>
                    <a:pt x="131" y="850"/>
                  </a:lnTo>
                  <a:lnTo>
                    <a:pt x="128" y="852"/>
                  </a:lnTo>
                  <a:lnTo>
                    <a:pt x="128" y="853"/>
                  </a:lnTo>
                  <a:lnTo>
                    <a:pt x="128" y="855"/>
                  </a:lnTo>
                  <a:lnTo>
                    <a:pt x="128" y="857"/>
                  </a:lnTo>
                  <a:lnTo>
                    <a:pt x="128" y="857"/>
                  </a:lnTo>
                  <a:lnTo>
                    <a:pt x="126" y="858"/>
                  </a:lnTo>
                  <a:lnTo>
                    <a:pt x="126" y="858"/>
                  </a:lnTo>
                  <a:lnTo>
                    <a:pt x="126" y="858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0"/>
                  </a:lnTo>
                  <a:lnTo>
                    <a:pt x="126" y="863"/>
                  </a:lnTo>
                  <a:lnTo>
                    <a:pt x="126" y="864"/>
                  </a:lnTo>
                  <a:lnTo>
                    <a:pt x="125" y="864"/>
                  </a:lnTo>
                  <a:lnTo>
                    <a:pt x="125" y="864"/>
                  </a:lnTo>
                  <a:lnTo>
                    <a:pt x="125" y="869"/>
                  </a:lnTo>
                  <a:lnTo>
                    <a:pt x="123" y="870"/>
                  </a:lnTo>
                  <a:lnTo>
                    <a:pt x="125" y="873"/>
                  </a:lnTo>
                  <a:lnTo>
                    <a:pt x="125" y="875"/>
                  </a:lnTo>
                  <a:lnTo>
                    <a:pt x="125" y="877"/>
                  </a:lnTo>
                  <a:lnTo>
                    <a:pt x="123" y="878"/>
                  </a:lnTo>
                  <a:lnTo>
                    <a:pt x="123" y="878"/>
                  </a:lnTo>
                  <a:lnTo>
                    <a:pt x="123" y="881"/>
                  </a:lnTo>
                  <a:lnTo>
                    <a:pt x="123" y="881"/>
                  </a:lnTo>
                  <a:lnTo>
                    <a:pt x="123" y="883"/>
                  </a:lnTo>
                  <a:lnTo>
                    <a:pt x="125" y="883"/>
                  </a:lnTo>
                  <a:lnTo>
                    <a:pt x="126" y="884"/>
                  </a:lnTo>
                  <a:lnTo>
                    <a:pt x="128" y="887"/>
                  </a:lnTo>
                  <a:lnTo>
                    <a:pt x="128" y="887"/>
                  </a:lnTo>
                  <a:lnTo>
                    <a:pt x="128" y="889"/>
                  </a:lnTo>
                  <a:lnTo>
                    <a:pt x="129" y="889"/>
                  </a:lnTo>
                  <a:lnTo>
                    <a:pt x="129" y="890"/>
                  </a:lnTo>
                  <a:lnTo>
                    <a:pt x="128" y="890"/>
                  </a:lnTo>
                  <a:lnTo>
                    <a:pt x="128" y="892"/>
                  </a:lnTo>
                  <a:lnTo>
                    <a:pt x="133" y="890"/>
                  </a:lnTo>
                  <a:lnTo>
                    <a:pt x="134" y="890"/>
                  </a:lnTo>
                  <a:lnTo>
                    <a:pt x="133" y="894"/>
                  </a:lnTo>
                  <a:lnTo>
                    <a:pt x="133" y="894"/>
                  </a:lnTo>
                  <a:lnTo>
                    <a:pt x="131" y="894"/>
                  </a:lnTo>
                  <a:lnTo>
                    <a:pt x="129" y="894"/>
                  </a:lnTo>
                  <a:lnTo>
                    <a:pt x="133" y="895"/>
                  </a:lnTo>
                  <a:lnTo>
                    <a:pt x="134" y="897"/>
                  </a:lnTo>
                  <a:lnTo>
                    <a:pt x="136" y="897"/>
                  </a:lnTo>
                  <a:lnTo>
                    <a:pt x="139" y="895"/>
                  </a:lnTo>
                  <a:lnTo>
                    <a:pt x="142" y="895"/>
                  </a:lnTo>
                  <a:lnTo>
                    <a:pt x="143" y="894"/>
                  </a:lnTo>
                  <a:lnTo>
                    <a:pt x="145" y="892"/>
                  </a:lnTo>
                  <a:lnTo>
                    <a:pt x="146" y="890"/>
                  </a:lnTo>
                  <a:lnTo>
                    <a:pt x="146" y="890"/>
                  </a:lnTo>
                  <a:lnTo>
                    <a:pt x="151" y="892"/>
                  </a:lnTo>
                  <a:lnTo>
                    <a:pt x="153" y="892"/>
                  </a:lnTo>
                  <a:lnTo>
                    <a:pt x="153" y="894"/>
                  </a:lnTo>
                  <a:lnTo>
                    <a:pt x="153" y="894"/>
                  </a:lnTo>
                  <a:lnTo>
                    <a:pt x="153" y="895"/>
                  </a:lnTo>
                  <a:lnTo>
                    <a:pt x="162" y="895"/>
                  </a:lnTo>
                  <a:lnTo>
                    <a:pt x="166" y="894"/>
                  </a:lnTo>
                  <a:lnTo>
                    <a:pt x="166" y="894"/>
                  </a:lnTo>
                  <a:lnTo>
                    <a:pt x="166" y="892"/>
                  </a:lnTo>
                  <a:lnTo>
                    <a:pt x="166" y="892"/>
                  </a:lnTo>
                  <a:lnTo>
                    <a:pt x="168" y="892"/>
                  </a:lnTo>
                  <a:lnTo>
                    <a:pt x="168" y="890"/>
                  </a:lnTo>
                  <a:lnTo>
                    <a:pt x="170" y="890"/>
                  </a:lnTo>
                  <a:lnTo>
                    <a:pt x="171" y="889"/>
                  </a:lnTo>
                  <a:lnTo>
                    <a:pt x="171" y="889"/>
                  </a:lnTo>
                  <a:lnTo>
                    <a:pt x="173" y="889"/>
                  </a:lnTo>
                  <a:lnTo>
                    <a:pt x="173" y="889"/>
                  </a:lnTo>
                  <a:lnTo>
                    <a:pt x="177" y="887"/>
                  </a:lnTo>
                  <a:lnTo>
                    <a:pt x="177" y="887"/>
                  </a:lnTo>
                  <a:lnTo>
                    <a:pt x="180" y="889"/>
                  </a:lnTo>
                  <a:lnTo>
                    <a:pt x="180" y="889"/>
                  </a:lnTo>
                  <a:lnTo>
                    <a:pt x="182" y="889"/>
                  </a:lnTo>
                  <a:lnTo>
                    <a:pt x="182" y="890"/>
                  </a:lnTo>
                  <a:lnTo>
                    <a:pt x="182" y="890"/>
                  </a:lnTo>
                  <a:lnTo>
                    <a:pt x="183" y="892"/>
                  </a:lnTo>
                  <a:lnTo>
                    <a:pt x="185" y="892"/>
                  </a:lnTo>
                  <a:lnTo>
                    <a:pt x="191" y="892"/>
                  </a:lnTo>
                  <a:lnTo>
                    <a:pt x="191" y="892"/>
                  </a:lnTo>
                  <a:lnTo>
                    <a:pt x="193" y="892"/>
                  </a:lnTo>
                  <a:lnTo>
                    <a:pt x="193" y="890"/>
                  </a:lnTo>
                  <a:lnTo>
                    <a:pt x="194" y="889"/>
                  </a:lnTo>
                  <a:lnTo>
                    <a:pt x="196" y="887"/>
                  </a:lnTo>
                  <a:lnTo>
                    <a:pt x="199" y="887"/>
                  </a:lnTo>
                  <a:lnTo>
                    <a:pt x="199" y="889"/>
                  </a:lnTo>
                  <a:lnTo>
                    <a:pt x="200" y="890"/>
                  </a:lnTo>
                  <a:lnTo>
                    <a:pt x="200" y="890"/>
                  </a:lnTo>
                  <a:lnTo>
                    <a:pt x="200" y="890"/>
                  </a:lnTo>
                  <a:lnTo>
                    <a:pt x="202" y="890"/>
                  </a:lnTo>
                  <a:lnTo>
                    <a:pt x="202" y="890"/>
                  </a:lnTo>
                  <a:lnTo>
                    <a:pt x="202" y="890"/>
                  </a:lnTo>
                  <a:lnTo>
                    <a:pt x="202" y="889"/>
                  </a:lnTo>
                  <a:lnTo>
                    <a:pt x="202" y="889"/>
                  </a:lnTo>
                  <a:lnTo>
                    <a:pt x="202" y="887"/>
                  </a:lnTo>
                  <a:lnTo>
                    <a:pt x="202" y="887"/>
                  </a:lnTo>
                  <a:lnTo>
                    <a:pt x="202" y="887"/>
                  </a:lnTo>
                  <a:lnTo>
                    <a:pt x="202" y="886"/>
                  </a:lnTo>
                  <a:lnTo>
                    <a:pt x="202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3" y="886"/>
                  </a:lnTo>
                  <a:lnTo>
                    <a:pt x="205" y="884"/>
                  </a:lnTo>
                  <a:lnTo>
                    <a:pt x="203" y="884"/>
                  </a:lnTo>
                  <a:lnTo>
                    <a:pt x="203" y="884"/>
                  </a:lnTo>
                  <a:lnTo>
                    <a:pt x="202" y="883"/>
                  </a:lnTo>
                  <a:lnTo>
                    <a:pt x="202" y="883"/>
                  </a:lnTo>
                  <a:lnTo>
                    <a:pt x="197" y="884"/>
                  </a:lnTo>
                  <a:lnTo>
                    <a:pt x="197" y="884"/>
                  </a:lnTo>
                  <a:lnTo>
                    <a:pt x="196" y="884"/>
                  </a:lnTo>
                  <a:lnTo>
                    <a:pt x="194" y="886"/>
                  </a:lnTo>
                  <a:lnTo>
                    <a:pt x="193" y="886"/>
                  </a:lnTo>
                  <a:lnTo>
                    <a:pt x="191" y="884"/>
                  </a:lnTo>
                  <a:lnTo>
                    <a:pt x="190" y="883"/>
                  </a:lnTo>
                  <a:lnTo>
                    <a:pt x="190" y="883"/>
                  </a:lnTo>
                  <a:lnTo>
                    <a:pt x="188" y="883"/>
                  </a:lnTo>
                  <a:lnTo>
                    <a:pt x="190" y="881"/>
                  </a:lnTo>
                  <a:lnTo>
                    <a:pt x="188" y="881"/>
                  </a:lnTo>
                  <a:lnTo>
                    <a:pt x="188" y="880"/>
                  </a:lnTo>
                  <a:lnTo>
                    <a:pt x="188" y="880"/>
                  </a:lnTo>
                  <a:lnTo>
                    <a:pt x="190" y="878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3" y="873"/>
                  </a:lnTo>
                  <a:lnTo>
                    <a:pt x="193" y="873"/>
                  </a:lnTo>
                  <a:lnTo>
                    <a:pt x="194" y="872"/>
                  </a:lnTo>
                  <a:lnTo>
                    <a:pt x="194" y="872"/>
                  </a:lnTo>
                  <a:lnTo>
                    <a:pt x="196" y="872"/>
                  </a:lnTo>
                  <a:lnTo>
                    <a:pt x="199" y="870"/>
                  </a:lnTo>
                  <a:lnTo>
                    <a:pt x="200" y="870"/>
                  </a:lnTo>
                  <a:lnTo>
                    <a:pt x="200" y="869"/>
                  </a:lnTo>
                  <a:lnTo>
                    <a:pt x="200" y="867"/>
                  </a:lnTo>
                  <a:lnTo>
                    <a:pt x="202" y="867"/>
                  </a:lnTo>
                  <a:lnTo>
                    <a:pt x="203" y="869"/>
                  </a:lnTo>
                  <a:lnTo>
                    <a:pt x="203" y="869"/>
                  </a:lnTo>
                  <a:lnTo>
                    <a:pt x="205" y="870"/>
                  </a:lnTo>
                  <a:lnTo>
                    <a:pt x="205" y="872"/>
                  </a:lnTo>
                  <a:lnTo>
                    <a:pt x="205" y="872"/>
                  </a:lnTo>
                  <a:lnTo>
                    <a:pt x="206" y="872"/>
                  </a:lnTo>
                  <a:lnTo>
                    <a:pt x="206" y="869"/>
                  </a:lnTo>
                  <a:lnTo>
                    <a:pt x="206" y="869"/>
                  </a:lnTo>
                  <a:lnTo>
                    <a:pt x="208" y="869"/>
                  </a:lnTo>
                  <a:lnTo>
                    <a:pt x="210" y="870"/>
                  </a:lnTo>
                  <a:lnTo>
                    <a:pt x="210" y="872"/>
                  </a:lnTo>
                  <a:lnTo>
                    <a:pt x="210" y="872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3" y="872"/>
                  </a:lnTo>
                  <a:lnTo>
                    <a:pt x="213" y="873"/>
                  </a:lnTo>
                  <a:lnTo>
                    <a:pt x="213" y="873"/>
                  </a:lnTo>
                  <a:lnTo>
                    <a:pt x="211" y="875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13" y="878"/>
                  </a:lnTo>
                  <a:lnTo>
                    <a:pt x="213" y="878"/>
                  </a:lnTo>
                  <a:lnTo>
                    <a:pt x="213" y="880"/>
                  </a:lnTo>
                  <a:lnTo>
                    <a:pt x="217" y="880"/>
                  </a:lnTo>
                  <a:lnTo>
                    <a:pt x="216" y="878"/>
                  </a:lnTo>
                  <a:lnTo>
                    <a:pt x="217" y="877"/>
                  </a:lnTo>
                  <a:lnTo>
                    <a:pt x="219" y="877"/>
                  </a:lnTo>
                  <a:lnTo>
                    <a:pt x="220" y="878"/>
                  </a:lnTo>
                  <a:lnTo>
                    <a:pt x="223" y="880"/>
                  </a:lnTo>
                  <a:lnTo>
                    <a:pt x="222" y="880"/>
                  </a:lnTo>
                  <a:lnTo>
                    <a:pt x="222" y="881"/>
                  </a:lnTo>
                  <a:lnTo>
                    <a:pt x="222" y="883"/>
                  </a:lnTo>
                  <a:lnTo>
                    <a:pt x="223" y="883"/>
                  </a:lnTo>
                  <a:lnTo>
                    <a:pt x="225" y="884"/>
                  </a:lnTo>
                  <a:lnTo>
                    <a:pt x="227" y="884"/>
                  </a:lnTo>
                  <a:lnTo>
                    <a:pt x="230" y="884"/>
                  </a:lnTo>
                  <a:lnTo>
                    <a:pt x="233" y="883"/>
                  </a:lnTo>
                  <a:lnTo>
                    <a:pt x="234" y="881"/>
                  </a:lnTo>
                  <a:lnTo>
                    <a:pt x="234" y="881"/>
                  </a:lnTo>
                  <a:lnTo>
                    <a:pt x="243" y="883"/>
                  </a:lnTo>
                  <a:lnTo>
                    <a:pt x="248" y="883"/>
                  </a:lnTo>
                  <a:lnTo>
                    <a:pt x="248" y="884"/>
                  </a:lnTo>
                  <a:lnTo>
                    <a:pt x="251" y="884"/>
                  </a:lnTo>
                  <a:lnTo>
                    <a:pt x="254" y="884"/>
                  </a:lnTo>
                  <a:lnTo>
                    <a:pt x="274" y="897"/>
                  </a:lnTo>
                  <a:lnTo>
                    <a:pt x="274" y="897"/>
                  </a:lnTo>
                  <a:lnTo>
                    <a:pt x="274" y="897"/>
                  </a:lnTo>
                  <a:lnTo>
                    <a:pt x="279" y="898"/>
                  </a:lnTo>
                  <a:lnTo>
                    <a:pt x="283" y="898"/>
                  </a:lnTo>
                  <a:lnTo>
                    <a:pt x="287" y="898"/>
                  </a:lnTo>
                  <a:lnTo>
                    <a:pt x="287" y="897"/>
                  </a:lnTo>
                  <a:lnTo>
                    <a:pt x="288" y="894"/>
                  </a:lnTo>
                  <a:lnTo>
                    <a:pt x="290" y="892"/>
                  </a:lnTo>
                  <a:lnTo>
                    <a:pt x="291" y="892"/>
                  </a:lnTo>
                  <a:lnTo>
                    <a:pt x="291" y="892"/>
                  </a:lnTo>
                  <a:lnTo>
                    <a:pt x="293" y="892"/>
                  </a:lnTo>
                  <a:lnTo>
                    <a:pt x="294" y="892"/>
                  </a:lnTo>
                  <a:lnTo>
                    <a:pt x="294" y="894"/>
                  </a:lnTo>
                  <a:lnTo>
                    <a:pt x="294" y="895"/>
                  </a:lnTo>
                  <a:lnTo>
                    <a:pt x="294" y="897"/>
                  </a:lnTo>
                  <a:lnTo>
                    <a:pt x="296" y="897"/>
                  </a:lnTo>
                  <a:lnTo>
                    <a:pt x="296" y="897"/>
                  </a:lnTo>
                  <a:lnTo>
                    <a:pt x="297" y="897"/>
                  </a:lnTo>
                  <a:lnTo>
                    <a:pt x="297" y="897"/>
                  </a:lnTo>
                  <a:lnTo>
                    <a:pt x="300" y="897"/>
                  </a:lnTo>
                  <a:lnTo>
                    <a:pt x="302" y="898"/>
                  </a:lnTo>
                  <a:lnTo>
                    <a:pt x="304" y="897"/>
                  </a:lnTo>
                  <a:lnTo>
                    <a:pt x="304" y="897"/>
                  </a:lnTo>
                  <a:lnTo>
                    <a:pt x="305" y="898"/>
                  </a:lnTo>
                  <a:lnTo>
                    <a:pt x="305" y="900"/>
                  </a:lnTo>
                  <a:lnTo>
                    <a:pt x="307" y="900"/>
                  </a:lnTo>
                  <a:lnTo>
                    <a:pt x="307" y="901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8" y="903"/>
                  </a:lnTo>
                  <a:lnTo>
                    <a:pt x="308" y="903"/>
                  </a:lnTo>
                  <a:lnTo>
                    <a:pt x="310" y="903"/>
                  </a:lnTo>
                  <a:lnTo>
                    <a:pt x="310" y="903"/>
                  </a:lnTo>
                  <a:lnTo>
                    <a:pt x="313" y="907"/>
                  </a:lnTo>
                  <a:lnTo>
                    <a:pt x="314" y="909"/>
                  </a:lnTo>
                  <a:lnTo>
                    <a:pt x="314" y="910"/>
                  </a:lnTo>
                  <a:lnTo>
                    <a:pt x="313" y="912"/>
                  </a:lnTo>
                  <a:lnTo>
                    <a:pt x="313" y="912"/>
                  </a:lnTo>
                  <a:lnTo>
                    <a:pt x="313" y="914"/>
                  </a:lnTo>
                  <a:lnTo>
                    <a:pt x="313" y="915"/>
                  </a:lnTo>
                  <a:lnTo>
                    <a:pt x="314" y="915"/>
                  </a:lnTo>
                  <a:lnTo>
                    <a:pt x="314" y="917"/>
                  </a:lnTo>
                  <a:lnTo>
                    <a:pt x="314" y="917"/>
                  </a:lnTo>
                  <a:lnTo>
                    <a:pt x="316" y="917"/>
                  </a:lnTo>
                  <a:lnTo>
                    <a:pt x="316" y="915"/>
                  </a:lnTo>
                  <a:lnTo>
                    <a:pt x="317" y="915"/>
                  </a:lnTo>
                  <a:lnTo>
                    <a:pt x="317" y="917"/>
                  </a:lnTo>
                  <a:lnTo>
                    <a:pt x="317" y="917"/>
                  </a:lnTo>
                  <a:lnTo>
                    <a:pt x="319" y="915"/>
                  </a:lnTo>
                  <a:lnTo>
                    <a:pt x="319" y="915"/>
                  </a:lnTo>
                  <a:lnTo>
                    <a:pt x="322" y="914"/>
                  </a:lnTo>
                  <a:lnTo>
                    <a:pt x="324" y="915"/>
                  </a:lnTo>
                  <a:lnTo>
                    <a:pt x="324" y="917"/>
                  </a:lnTo>
                  <a:lnTo>
                    <a:pt x="322" y="921"/>
                  </a:lnTo>
                  <a:lnTo>
                    <a:pt x="322" y="921"/>
                  </a:lnTo>
                  <a:lnTo>
                    <a:pt x="322" y="923"/>
                  </a:lnTo>
                  <a:lnTo>
                    <a:pt x="322" y="923"/>
                  </a:lnTo>
                  <a:lnTo>
                    <a:pt x="322" y="923"/>
                  </a:lnTo>
                  <a:lnTo>
                    <a:pt x="320" y="924"/>
                  </a:lnTo>
                  <a:lnTo>
                    <a:pt x="320" y="924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0" y="926"/>
                  </a:lnTo>
                  <a:lnTo>
                    <a:pt x="327" y="926"/>
                  </a:lnTo>
                  <a:lnTo>
                    <a:pt x="328" y="924"/>
                  </a:lnTo>
                  <a:lnTo>
                    <a:pt x="331" y="923"/>
                  </a:lnTo>
                  <a:lnTo>
                    <a:pt x="333" y="921"/>
                  </a:lnTo>
                  <a:lnTo>
                    <a:pt x="334" y="920"/>
                  </a:lnTo>
                  <a:lnTo>
                    <a:pt x="336" y="917"/>
                  </a:lnTo>
                  <a:lnTo>
                    <a:pt x="336" y="915"/>
                  </a:lnTo>
                  <a:lnTo>
                    <a:pt x="336" y="915"/>
                  </a:lnTo>
                  <a:lnTo>
                    <a:pt x="337" y="915"/>
                  </a:lnTo>
                  <a:lnTo>
                    <a:pt x="339" y="914"/>
                  </a:lnTo>
                  <a:lnTo>
                    <a:pt x="340" y="912"/>
                  </a:lnTo>
                  <a:lnTo>
                    <a:pt x="340" y="910"/>
                  </a:lnTo>
                  <a:lnTo>
                    <a:pt x="342" y="907"/>
                  </a:lnTo>
                  <a:lnTo>
                    <a:pt x="342" y="906"/>
                  </a:lnTo>
                  <a:lnTo>
                    <a:pt x="342" y="904"/>
                  </a:lnTo>
                  <a:lnTo>
                    <a:pt x="340" y="903"/>
                  </a:lnTo>
                  <a:lnTo>
                    <a:pt x="340" y="903"/>
                  </a:lnTo>
                  <a:lnTo>
                    <a:pt x="339" y="901"/>
                  </a:lnTo>
                  <a:lnTo>
                    <a:pt x="340" y="897"/>
                  </a:lnTo>
                  <a:lnTo>
                    <a:pt x="340" y="897"/>
                  </a:lnTo>
                  <a:lnTo>
                    <a:pt x="340" y="895"/>
                  </a:lnTo>
                  <a:lnTo>
                    <a:pt x="339" y="894"/>
                  </a:lnTo>
                  <a:lnTo>
                    <a:pt x="339" y="894"/>
                  </a:lnTo>
                  <a:lnTo>
                    <a:pt x="340" y="892"/>
                  </a:lnTo>
                  <a:lnTo>
                    <a:pt x="342" y="892"/>
                  </a:lnTo>
                  <a:lnTo>
                    <a:pt x="342" y="892"/>
                  </a:lnTo>
                  <a:lnTo>
                    <a:pt x="342" y="892"/>
                  </a:lnTo>
                  <a:lnTo>
                    <a:pt x="342" y="894"/>
                  </a:lnTo>
                  <a:lnTo>
                    <a:pt x="342" y="894"/>
                  </a:lnTo>
                  <a:lnTo>
                    <a:pt x="342" y="894"/>
                  </a:lnTo>
                  <a:lnTo>
                    <a:pt x="342" y="895"/>
                  </a:lnTo>
                  <a:lnTo>
                    <a:pt x="342" y="897"/>
                  </a:lnTo>
                  <a:lnTo>
                    <a:pt x="342" y="897"/>
                  </a:lnTo>
                  <a:lnTo>
                    <a:pt x="344" y="897"/>
                  </a:lnTo>
                  <a:lnTo>
                    <a:pt x="344" y="897"/>
                  </a:lnTo>
                  <a:lnTo>
                    <a:pt x="347" y="898"/>
                  </a:lnTo>
                  <a:lnTo>
                    <a:pt x="348" y="898"/>
                  </a:lnTo>
                  <a:lnTo>
                    <a:pt x="350" y="897"/>
                  </a:lnTo>
                  <a:lnTo>
                    <a:pt x="351" y="895"/>
                  </a:lnTo>
                  <a:lnTo>
                    <a:pt x="351" y="894"/>
                  </a:lnTo>
                  <a:lnTo>
                    <a:pt x="353" y="894"/>
                  </a:lnTo>
                  <a:lnTo>
                    <a:pt x="364" y="898"/>
                  </a:lnTo>
                  <a:lnTo>
                    <a:pt x="364" y="898"/>
                  </a:lnTo>
                  <a:lnTo>
                    <a:pt x="364" y="898"/>
                  </a:lnTo>
                  <a:lnTo>
                    <a:pt x="364" y="900"/>
                  </a:lnTo>
                  <a:lnTo>
                    <a:pt x="365" y="900"/>
                  </a:lnTo>
                  <a:lnTo>
                    <a:pt x="367" y="900"/>
                  </a:lnTo>
                  <a:lnTo>
                    <a:pt x="370" y="898"/>
                  </a:lnTo>
                  <a:lnTo>
                    <a:pt x="371" y="898"/>
                  </a:lnTo>
                  <a:lnTo>
                    <a:pt x="371" y="898"/>
                  </a:lnTo>
                  <a:lnTo>
                    <a:pt x="373" y="898"/>
                  </a:lnTo>
                  <a:lnTo>
                    <a:pt x="374" y="900"/>
                  </a:lnTo>
                  <a:lnTo>
                    <a:pt x="374" y="900"/>
                  </a:lnTo>
                  <a:lnTo>
                    <a:pt x="371" y="901"/>
                  </a:lnTo>
                  <a:lnTo>
                    <a:pt x="371" y="903"/>
                  </a:lnTo>
                  <a:lnTo>
                    <a:pt x="376" y="904"/>
                  </a:lnTo>
                  <a:lnTo>
                    <a:pt x="379" y="909"/>
                  </a:lnTo>
                  <a:lnTo>
                    <a:pt x="381" y="909"/>
                  </a:lnTo>
                  <a:lnTo>
                    <a:pt x="381" y="909"/>
                  </a:lnTo>
                  <a:lnTo>
                    <a:pt x="379" y="910"/>
                  </a:lnTo>
                  <a:lnTo>
                    <a:pt x="379" y="910"/>
                  </a:lnTo>
                  <a:lnTo>
                    <a:pt x="379" y="910"/>
                  </a:lnTo>
                  <a:lnTo>
                    <a:pt x="381" y="912"/>
                  </a:lnTo>
                  <a:lnTo>
                    <a:pt x="381" y="914"/>
                  </a:lnTo>
                  <a:lnTo>
                    <a:pt x="388" y="914"/>
                  </a:lnTo>
                  <a:lnTo>
                    <a:pt x="390" y="912"/>
                  </a:lnTo>
                  <a:lnTo>
                    <a:pt x="394" y="909"/>
                  </a:lnTo>
                  <a:lnTo>
                    <a:pt x="397" y="909"/>
                  </a:lnTo>
                  <a:lnTo>
                    <a:pt x="399" y="909"/>
                  </a:lnTo>
                  <a:lnTo>
                    <a:pt x="399" y="912"/>
                  </a:lnTo>
                  <a:lnTo>
                    <a:pt x="401" y="912"/>
                  </a:lnTo>
                  <a:lnTo>
                    <a:pt x="402" y="912"/>
                  </a:lnTo>
                  <a:lnTo>
                    <a:pt x="404" y="910"/>
                  </a:lnTo>
                  <a:lnTo>
                    <a:pt x="404" y="909"/>
                  </a:lnTo>
                  <a:lnTo>
                    <a:pt x="405" y="907"/>
                  </a:lnTo>
                  <a:lnTo>
                    <a:pt x="407" y="907"/>
                  </a:lnTo>
                  <a:lnTo>
                    <a:pt x="410" y="907"/>
                  </a:lnTo>
                  <a:lnTo>
                    <a:pt x="411" y="907"/>
                  </a:lnTo>
                  <a:lnTo>
                    <a:pt x="411" y="906"/>
                  </a:lnTo>
                  <a:lnTo>
                    <a:pt x="411" y="906"/>
                  </a:lnTo>
                  <a:lnTo>
                    <a:pt x="411" y="904"/>
                  </a:lnTo>
                  <a:lnTo>
                    <a:pt x="410" y="904"/>
                  </a:lnTo>
                  <a:lnTo>
                    <a:pt x="413" y="900"/>
                  </a:lnTo>
                  <a:lnTo>
                    <a:pt x="414" y="900"/>
                  </a:lnTo>
                  <a:lnTo>
                    <a:pt x="417" y="900"/>
                  </a:lnTo>
                  <a:lnTo>
                    <a:pt x="419" y="901"/>
                  </a:lnTo>
                  <a:lnTo>
                    <a:pt x="422" y="900"/>
                  </a:lnTo>
                  <a:lnTo>
                    <a:pt x="424" y="900"/>
                  </a:lnTo>
                  <a:lnTo>
                    <a:pt x="425" y="898"/>
                  </a:lnTo>
                  <a:lnTo>
                    <a:pt x="425" y="897"/>
                  </a:lnTo>
                  <a:lnTo>
                    <a:pt x="425" y="895"/>
                  </a:lnTo>
                  <a:lnTo>
                    <a:pt x="427" y="894"/>
                  </a:lnTo>
                  <a:lnTo>
                    <a:pt x="428" y="892"/>
                  </a:lnTo>
                  <a:lnTo>
                    <a:pt x="428" y="890"/>
                  </a:lnTo>
                  <a:lnTo>
                    <a:pt x="430" y="890"/>
                  </a:lnTo>
                  <a:lnTo>
                    <a:pt x="433" y="892"/>
                  </a:lnTo>
                  <a:lnTo>
                    <a:pt x="439" y="892"/>
                  </a:lnTo>
                  <a:lnTo>
                    <a:pt x="444" y="892"/>
                  </a:lnTo>
                  <a:lnTo>
                    <a:pt x="444" y="892"/>
                  </a:lnTo>
                  <a:lnTo>
                    <a:pt x="445" y="890"/>
                  </a:lnTo>
                  <a:lnTo>
                    <a:pt x="447" y="890"/>
                  </a:lnTo>
                  <a:lnTo>
                    <a:pt x="453" y="889"/>
                  </a:lnTo>
                  <a:lnTo>
                    <a:pt x="470" y="889"/>
                  </a:lnTo>
                  <a:lnTo>
                    <a:pt x="470" y="889"/>
                  </a:lnTo>
                  <a:lnTo>
                    <a:pt x="471" y="887"/>
                  </a:lnTo>
                  <a:lnTo>
                    <a:pt x="473" y="886"/>
                  </a:lnTo>
                  <a:lnTo>
                    <a:pt x="473" y="884"/>
                  </a:lnTo>
                  <a:lnTo>
                    <a:pt x="473" y="883"/>
                  </a:lnTo>
                  <a:lnTo>
                    <a:pt x="471" y="881"/>
                  </a:lnTo>
                  <a:lnTo>
                    <a:pt x="471" y="881"/>
                  </a:lnTo>
                  <a:lnTo>
                    <a:pt x="471" y="881"/>
                  </a:lnTo>
                  <a:lnTo>
                    <a:pt x="470" y="880"/>
                  </a:lnTo>
                  <a:lnTo>
                    <a:pt x="470" y="880"/>
                  </a:lnTo>
                  <a:lnTo>
                    <a:pt x="470" y="878"/>
                  </a:lnTo>
                  <a:lnTo>
                    <a:pt x="471" y="878"/>
                  </a:lnTo>
                  <a:lnTo>
                    <a:pt x="473" y="877"/>
                  </a:lnTo>
                  <a:lnTo>
                    <a:pt x="474" y="877"/>
                  </a:lnTo>
                  <a:lnTo>
                    <a:pt x="474" y="875"/>
                  </a:lnTo>
                  <a:lnTo>
                    <a:pt x="474" y="875"/>
                  </a:lnTo>
                  <a:lnTo>
                    <a:pt x="474" y="877"/>
                  </a:lnTo>
                  <a:lnTo>
                    <a:pt x="474" y="877"/>
                  </a:lnTo>
                  <a:lnTo>
                    <a:pt x="474" y="878"/>
                  </a:lnTo>
                  <a:lnTo>
                    <a:pt x="474" y="878"/>
                  </a:lnTo>
                  <a:lnTo>
                    <a:pt x="473" y="880"/>
                  </a:lnTo>
                  <a:lnTo>
                    <a:pt x="474" y="881"/>
                  </a:lnTo>
                  <a:lnTo>
                    <a:pt x="474" y="881"/>
                  </a:lnTo>
                  <a:lnTo>
                    <a:pt x="476" y="881"/>
                  </a:lnTo>
                  <a:lnTo>
                    <a:pt x="478" y="880"/>
                  </a:lnTo>
                  <a:lnTo>
                    <a:pt x="479" y="880"/>
                  </a:lnTo>
                  <a:lnTo>
                    <a:pt x="484" y="881"/>
                  </a:lnTo>
                  <a:lnTo>
                    <a:pt x="484" y="881"/>
                  </a:lnTo>
                  <a:lnTo>
                    <a:pt x="487" y="880"/>
                  </a:lnTo>
                  <a:lnTo>
                    <a:pt x="488" y="880"/>
                  </a:lnTo>
                  <a:lnTo>
                    <a:pt x="488" y="881"/>
                  </a:lnTo>
                  <a:lnTo>
                    <a:pt x="490" y="883"/>
                  </a:lnTo>
                  <a:lnTo>
                    <a:pt x="490" y="884"/>
                  </a:lnTo>
                  <a:lnTo>
                    <a:pt x="491" y="884"/>
                  </a:lnTo>
                  <a:lnTo>
                    <a:pt x="493" y="886"/>
                  </a:lnTo>
                  <a:lnTo>
                    <a:pt x="494" y="887"/>
                  </a:lnTo>
                  <a:lnTo>
                    <a:pt x="496" y="887"/>
                  </a:lnTo>
                  <a:lnTo>
                    <a:pt x="498" y="886"/>
                  </a:lnTo>
                  <a:lnTo>
                    <a:pt x="498" y="886"/>
                  </a:lnTo>
                  <a:lnTo>
                    <a:pt x="499" y="886"/>
                  </a:lnTo>
                  <a:lnTo>
                    <a:pt x="502" y="883"/>
                  </a:lnTo>
                  <a:lnTo>
                    <a:pt x="504" y="883"/>
                  </a:lnTo>
                  <a:lnTo>
                    <a:pt x="505" y="881"/>
                  </a:lnTo>
                  <a:lnTo>
                    <a:pt x="508" y="881"/>
                  </a:lnTo>
                  <a:lnTo>
                    <a:pt x="513" y="883"/>
                  </a:lnTo>
                  <a:lnTo>
                    <a:pt x="513" y="883"/>
                  </a:lnTo>
                  <a:lnTo>
                    <a:pt x="513" y="884"/>
                  </a:lnTo>
                  <a:lnTo>
                    <a:pt x="515" y="886"/>
                  </a:lnTo>
                  <a:lnTo>
                    <a:pt x="516" y="887"/>
                  </a:lnTo>
                  <a:lnTo>
                    <a:pt x="518" y="889"/>
                  </a:lnTo>
                  <a:lnTo>
                    <a:pt x="516" y="890"/>
                  </a:lnTo>
                  <a:lnTo>
                    <a:pt x="515" y="892"/>
                  </a:lnTo>
                  <a:lnTo>
                    <a:pt x="515" y="895"/>
                  </a:lnTo>
                  <a:lnTo>
                    <a:pt x="518" y="897"/>
                  </a:lnTo>
                  <a:lnTo>
                    <a:pt x="518" y="897"/>
                  </a:lnTo>
                  <a:lnTo>
                    <a:pt x="519" y="897"/>
                  </a:lnTo>
                  <a:lnTo>
                    <a:pt x="519" y="898"/>
                  </a:lnTo>
                  <a:lnTo>
                    <a:pt x="522" y="901"/>
                  </a:lnTo>
                  <a:lnTo>
                    <a:pt x="527" y="904"/>
                  </a:lnTo>
                  <a:lnTo>
                    <a:pt x="527" y="904"/>
                  </a:lnTo>
                  <a:lnTo>
                    <a:pt x="528" y="904"/>
                  </a:lnTo>
                  <a:lnTo>
                    <a:pt x="528" y="904"/>
                  </a:lnTo>
                  <a:lnTo>
                    <a:pt x="530" y="904"/>
                  </a:lnTo>
                  <a:lnTo>
                    <a:pt x="530" y="904"/>
                  </a:lnTo>
                  <a:lnTo>
                    <a:pt x="530" y="904"/>
                  </a:lnTo>
                  <a:lnTo>
                    <a:pt x="531" y="904"/>
                  </a:lnTo>
                  <a:lnTo>
                    <a:pt x="531" y="904"/>
                  </a:lnTo>
                  <a:lnTo>
                    <a:pt x="531" y="904"/>
                  </a:lnTo>
                  <a:lnTo>
                    <a:pt x="535" y="901"/>
                  </a:lnTo>
                  <a:lnTo>
                    <a:pt x="535" y="901"/>
                  </a:lnTo>
                  <a:lnTo>
                    <a:pt x="535" y="900"/>
                  </a:lnTo>
                  <a:lnTo>
                    <a:pt x="535" y="900"/>
                  </a:lnTo>
                  <a:lnTo>
                    <a:pt x="533" y="900"/>
                  </a:lnTo>
                  <a:lnTo>
                    <a:pt x="533" y="898"/>
                  </a:lnTo>
                  <a:lnTo>
                    <a:pt x="533" y="897"/>
                  </a:lnTo>
                  <a:lnTo>
                    <a:pt x="533" y="897"/>
                  </a:lnTo>
                  <a:lnTo>
                    <a:pt x="535" y="895"/>
                  </a:lnTo>
                  <a:lnTo>
                    <a:pt x="535" y="894"/>
                  </a:lnTo>
                  <a:lnTo>
                    <a:pt x="535" y="894"/>
                  </a:lnTo>
                  <a:lnTo>
                    <a:pt x="535" y="892"/>
                  </a:lnTo>
                  <a:lnTo>
                    <a:pt x="535" y="892"/>
                  </a:lnTo>
                  <a:lnTo>
                    <a:pt x="536" y="890"/>
                  </a:lnTo>
                  <a:lnTo>
                    <a:pt x="536" y="890"/>
                  </a:lnTo>
                  <a:lnTo>
                    <a:pt x="536" y="887"/>
                  </a:lnTo>
                  <a:lnTo>
                    <a:pt x="536" y="887"/>
                  </a:lnTo>
                  <a:lnTo>
                    <a:pt x="538" y="886"/>
                  </a:lnTo>
                  <a:lnTo>
                    <a:pt x="538" y="884"/>
                  </a:lnTo>
                  <a:lnTo>
                    <a:pt x="536" y="883"/>
                  </a:lnTo>
                  <a:lnTo>
                    <a:pt x="536" y="881"/>
                  </a:lnTo>
                  <a:lnTo>
                    <a:pt x="535" y="880"/>
                  </a:lnTo>
                  <a:lnTo>
                    <a:pt x="535" y="878"/>
                  </a:lnTo>
                  <a:lnTo>
                    <a:pt x="533" y="878"/>
                  </a:lnTo>
                  <a:lnTo>
                    <a:pt x="531" y="877"/>
                  </a:lnTo>
                  <a:lnTo>
                    <a:pt x="530" y="878"/>
                  </a:lnTo>
                  <a:lnTo>
                    <a:pt x="528" y="878"/>
                  </a:lnTo>
                  <a:lnTo>
                    <a:pt x="525" y="878"/>
                  </a:lnTo>
                  <a:lnTo>
                    <a:pt x="524" y="877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3"/>
                  </a:lnTo>
                  <a:lnTo>
                    <a:pt x="525" y="872"/>
                  </a:lnTo>
                  <a:lnTo>
                    <a:pt x="525" y="872"/>
                  </a:lnTo>
                  <a:lnTo>
                    <a:pt x="525" y="872"/>
                  </a:lnTo>
                  <a:lnTo>
                    <a:pt x="525" y="870"/>
                  </a:lnTo>
                  <a:lnTo>
                    <a:pt x="531" y="863"/>
                  </a:lnTo>
                  <a:lnTo>
                    <a:pt x="530" y="863"/>
                  </a:lnTo>
                  <a:lnTo>
                    <a:pt x="528" y="860"/>
                  </a:lnTo>
                  <a:lnTo>
                    <a:pt x="527" y="853"/>
                  </a:lnTo>
                  <a:lnTo>
                    <a:pt x="525" y="853"/>
                  </a:lnTo>
                  <a:lnTo>
                    <a:pt x="524" y="852"/>
                  </a:lnTo>
                  <a:lnTo>
                    <a:pt x="522" y="850"/>
                  </a:lnTo>
                  <a:lnTo>
                    <a:pt x="521" y="850"/>
                  </a:lnTo>
                  <a:lnTo>
                    <a:pt x="521" y="849"/>
                  </a:lnTo>
                  <a:lnTo>
                    <a:pt x="521" y="847"/>
                  </a:lnTo>
                  <a:lnTo>
                    <a:pt x="521" y="847"/>
                  </a:lnTo>
                  <a:lnTo>
                    <a:pt x="521" y="846"/>
                  </a:lnTo>
                  <a:lnTo>
                    <a:pt x="519" y="844"/>
                  </a:lnTo>
                  <a:lnTo>
                    <a:pt x="513" y="838"/>
                  </a:lnTo>
                  <a:lnTo>
                    <a:pt x="513" y="838"/>
                  </a:lnTo>
                  <a:lnTo>
                    <a:pt x="513" y="837"/>
                  </a:lnTo>
                  <a:lnTo>
                    <a:pt x="511" y="835"/>
                  </a:lnTo>
                  <a:lnTo>
                    <a:pt x="511" y="833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5" y="832"/>
                  </a:lnTo>
                  <a:lnTo>
                    <a:pt x="515" y="830"/>
                  </a:lnTo>
                  <a:lnTo>
                    <a:pt x="515" y="830"/>
                  </a:lnTo>
                  <a:lnTo>
                    <a:pt x="518" y="827"/>
                  </a:lnTo>
                  <a:lnTo>
                    <a:pt x="519" y="827"/>
                  </a:lnTo>
                  <a:lnTo>
                    <a:pt x="521" y="824"/>
                  </a:lnTo>
                  <a:lnTo>
                    <a:pt x="521" y="824"/>
                  </a:lnTo>
                  <a:lnTo>
                    <a:pt x="522" y="823"/>
                  </a:lnTo>
                  <a:lnTo>
                    <a:pt x="527" y="823"/>
                  </a:lnTo>
                  <a:lnTo>
                    <a:pt x="527" y="823"/>
                  </a:lnTo>
                  <a:lnTo>
                    <a:pt x="527" y="821"/>
                  </a:lnTo>
                  <a:lnTo>
                    <a:pt x="530" y="820"/>
                  </a:lnTo>
                  <a:lnTo>
                    <a:pt x="533" y="818"/>
                  </a:lnTo>
                  <a:lnTo>
                    <a:pt x="535" y="817"/>
                  </a:lnTo>
                  <a:lnTo>
                    <a:pt x="542" y="813"/>
                  </a:lnTo>
                  <a:lnTo>
                    <a:pt x="551" y="812"/>
                  </a:lnTo>
                  <a:lnTo>
                    <a:pt x="555" y="810"/>
                  </a:lnTo>
                  <a:lnTo>
                    <a:pt x="562" y="804"/>
                  </a:lnTo>
                  <a:lnTo>
                    <a:pt x="562" y="803"/>
                  </a:lnTo>
                  <a:lnTo>
                    <a:pt x="564" y="800"/>
                  </a:lnTo>
                  <a:lnTo>
                    <a:pt x="564" y="800"/>
                  </a:lnTo>
                  <a:lnTo>
                    <a:pt x="564" y="798"/>
                  </a:lnTo>
                  <a:lnTo>
                    <a:pt x="564" y="798"/>
                  </a:lnTo>
                  <a:lnTo>
                    <a:pt x="564" y="797"/>
                  </a:lnTo>
                  <a:lnTo>
                    <a:pt x="564" y="793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5" y="789"/>
                  </a:lnTo>
                  <a:lnTo>
                    <a:pt x="565" y="789"/>
                  </a:lnTo>
                  <a:lnTo>
                    <a:pt x="565" y="787"/>
                  </a:lnTo>
                  <a:lnTo>
                    <a:pt x="565" y="786"/>
                  </a:lnTo>
                  <a:lnTo>
                    <a:pt x="564" y="784"/>
                  </a:lnTo>
                  <a:lnTo>
                    <a:pt x="564" y="784"/>
                  </a:lnTo>
                  <a:lnTo>
                    <a:pt x="564" y="783"/>
                  </a:lnTo>
                  <a:lnTo>
                    <a:pt x="565" y="783"/>
                  </a:lnTo>
                  <a:lnTo>
                    <a:pt x="565" y="781"/>
                  </a:lnTo>
                  <a:lnTo>
                    <a:pt x="568" y="781"/>
                  </a:lnTo>
                  <a:lnTo>
                    <a:pt x="570" y="781"/>
                  </a:lnTo>
                  <a:lnTo>
                    <a:pt x="578" y="783"/>
                  </a:lnTo>
                  <a:lnTo>
                    <a:pt x="579" y="784"/>
                  </a:lnTo>
                  <a:lnTo>
                    <a:pt x="581" y="784"/>
                  </a:lnTo>
                  <a:lnTo>
                    <a:pt x="582" y="786"/>
                  </a:lnTo>
                  <a:lnTo>
                    <a:pt x="585" y="787"/>
                  </a:lnTo>
                  <a:lnTo>
                    <a:pt x="585" y="787"/>
                  </a:lnTo>
                  <a:lnTo>
                    <a:pt x="585" y="784"/>
                  </a:lnTo>
                  <a:lnTo>
                    <a:pt x="585" y="783"/>
                  </a:lnTo>
                  <a:lnTo>
                    <a:pt x="587" y="783"/>
                  </a:lnTo>
                  <a:lnTo>
                    <a:pt x="588" y="783"/>
                  </a:lnTo>
                  <a:lnTo>
                    <a:pt x="588" y="783"/>
                  </a:lnTo>
                  <a:lnTo>
                    <a:pt x="588" y="783"/>
                  </a:lnTo>
                  <a:lnTo>
                    <a:pt x="590" y="781"/>
                  </a:lnTo>
                  <a:lnTo>
                    <a:pt x="590" y="780"/>
                  </a:lnTo>
                  <a:lnTo>
                    <a:pt x="592" y="778"/>
                  </a:lnTo>
                  <a:lnTo>
                    <a:pt x="592" y="776"/>
                  </a:lnTo>
                  <a:lnTo>
                    <a:pt x="592" y="773"/>
                  </a:lnTo>
                  <a:lnTo>
                    <a:pt x="592" y="770"/>
                  </a:lnTo>
                  <a:lnTo>
                    <a:pt x="592" y="769"/>
                  </a:lnTo>
                  <a:lnTo>
                    <a:pt x="592" y="769"/>
                  </a:lnTo>
                  <a:lnTo>
                    <a:pt x="592" y="767"/>
                  </a:lnTo>
                  <a:lnTo>
                    <a:pt x="592" y="767"/>
                  </a:lnTo>
                  <a:lnTo>
                    <a:pt x="590" y="766"/>
                  </a:lnTo>
                  <a:lnTo>
                    <a:pt x="590" y="766"/>
                  </a:lnTo>
                  <a:lnTo>
                    <a:pt x="590" y="764"/>
                  </a:lnTo>
                  <a:lnTo>
                    <a:pt x="592" y="760"/>
                  </a:lnTo>
                  <a:lnTo>
                    <a:pt x="590" y="758"/>
                  </a:lnTo>
                  <a:lnTo>
                    <a:pt x="587" y="752"/>
                  </a:lnTo>
                  <a:lnTo>
                    <a:pt x="585" y="749"/>
                  </a:lnTo>
                  <a:lnTo>
                    <a:pt x="584" y="749"/>
                  </a:lnTo>
                  <a:lnTo>
                    <a:pt x="582" y="747"/>
                  </a:lnTo>
                  <a:lnTo>
                    <a:pt x="581" y="747"/>
                  </a:lnTo>
                  <a:lnTo>
                    <a:pt x="579" y="746"/>
                  </a:lnTo>
                  <a:lnTo>
                    <a:pt x="578" y="744"/>
                  </a:lnTo>
                  <a:lnTo>
                    <a:pt x="578" y="743"/>
                  </a:lnTo>
                  <a:lnTo>
                    <a:pt x="576" y="740"/>
                  </a:lnTo>
                  <a:lnTo>
                    <a:pt x="576" y="740"/>
                  </a:lnTo>
                  <a:lnTo>
                    <a:pt x="575" y="740"/>
                  </a:lnTo>
                  <a:lnTo>
                    <a:pt x="573" y="738"/>
                  </a:lnTo>
                  <a:lnTo>
                    <a:pt x="572" y="738"/>
                  </a:lnTo>
                  <a:lnTo>
                    <a:pt x="570" y="738"/>
                  </a:lnTo>
                  <a:lnTo>
                    <a:pt x="570" y="736"/>
                  </a:lnTo>
                  <a:lnTo>
                    <a:pt x="568" y="738"/>
                  </a:lnTo>
                  <a:lnTo>
                    <a:pt x="568" y="740"/>
                  </a:lnTo>
                  <a:lnTo>
                    <a:pt x="567" y="741"/>
                  </a:lnTo>
                  <a:lnTo>
                    <a:pt x="565" y="740"/>
                  </a:lnTo>
                  <a:lnTo>
                    <a:pt x="564" y="738"/>
                  </a:lnTo>
                  <a:lnTo>
                    <a:pt x="561" y="736"/>
                  </a:lnTo>
                  <a:lnTo>
                    <a:pt x="561" y="735"/>
                  </a:lnTo>
                  <a:lnTo>
                    <a:pt x="561" y="732"/>
                  </a:lnTo>
                  <a:lnTo>
                    <a:pt x="559" y="729"/>
                  </a:lnTo>
                  <a:lnTo>
                    <a:pt x="556" y="726"/>
                  </a:lnTo>
                  <a:lnTo>
                    <a:pt x="553" y="723"/>
                  </a:lnTo>
                  <a:lnTo>
                    <a:pt x="553" y="723"/>
                  </a:lnTo>
                  <a:lnTo>
                    <a:pt x="551" y="721"/>
                  </a:lnTo>
                  <a:lnTo>
                    <a:pt x="547" y="721"/>
                  </a:lnTo>
                  <a:lnTo>
                    <a:pt x="545" y="721"/>
                  </a:lnTo>
                  <a:lnTo>
                    <a:pt x="544" y="718"/>
                  </a:lnTo>
                  <a:lnTo>
                    <a:pt x="542" y="716"/>
                  </a:lnTo>
                  <a:lnTo>
                    <a:pt x="536" y="707"/>
                  </a:lnTo>
                  <a:lnTo>
                    <a:pt x="535" y="706"/>
                  </a:lnTo>
                  <a:lnTo>
                    <a:pt x="535" y="706"/>
                  </a:lnTo>
                  <a:lnTo>
                    <a:pt x="535" y="706"/>
                  </a:lnTo>
                  <a:lnTo>
                    <a:pt x="533" y="704"/>
                  </a:lnTo>
                  <a:lnTo>
                    <a:pt x="531" y="703"/>
                  </a:lnTo>
                  <a:lnTo>
                    <a:pt x="531" y="701"/>
                  </a:lnTo>
                  <a:lnTo>
                    <a:pt x="531" y="701"/>
                  </a:lnTo>
                  <a:lnTo>
                    <a:pt x="530" y="699"/>
                  </a:lnTo>
                  <a:lnTo>
                    <a:pt x="528" y="698"/>
                  </a:lnTo>
                  <a:lnTo>
                    <a:pt x="527" y="696"/>
                  </a:lnTo>
                  <a:lnTo>
                    <a:pt x="525" y="696"/>
                  </a:lnTo>
                  <a:lnTo>
                    <a:pt x="522" y="695"/>
                  </a:lnTo>
                  <a:lnTo>
                    <a:pt x="522" y="695"/>
                  </a:lnTo>
                  <a:lnTo>
                    <a:pt x="522" y="696"/>
                  </a:lnTo>
                  <a:lnTo>
                    <a:pt x="521" y="698"/>
                  </a:lnTo>
                  <a:lnTo>
                    <a:pt x="516" y="696"/>
                  </a:lnTo>
                  <a:lnTo>
                    <a:pt x="515" y="696"/>
                  </a:lnTo>
                  <a:lnTo>
                    <a:pt x="515" y="695"/>
                  </a:lnTo>
                  <a:lnTo>
                    <a:pt x="511" y="689"/>
                  </a:lnTo>
                  <a:lnTo>
                    <a:pt x="510" y="687"/>
                  </a:lnTo>
                  <a:lnTo>
                    <a:pt x="507" y="686"/>
                  </a:lnTo>
                  <a:lnTo>
                    <a:pt x="505" y="686"/>
                  </a:lnTo>
                  <a:lnTo>
                    <a:pt x="504" y="683"/>
                  </a:lnTo>
                  <a:lnTo>
                    <a:pt x="504" y="681"/>
                  </a:lnTo>
                  <a:lnTo>
                    <a:pt x="504" y="678"/>
                  </a:lnTo>
                  <a:lnTo>
                    <a:pt x="504" y="676"/>
                  </a:lnTo>
                  <a:lnTo>
                    <a:pt x="502" y="675"/>
                  </a:lnTo>
                  <a:lnTo>
                    <a:pt x="502" y="675"/>
                  </a:lnTo>
                  <a:lnTo>
                    <a:pt x="501" y="675"/>
                  </a:lnTo>
                  <a:lnTo>
                    <a:pt x="501" y="675"/>
                  </a:lnTo>
                  <a:lnTo>
                    <a:pt x="499" y="673"/>
                  </a:lnTo>
                  <a:lnTo>
                    <a:pt x="499" y="672"/>
                  </a:lnTo>
                  <a:lnTo>
                    <a:pt x="499" y="672"/>
                  </a:lnTo>
                  <a:lnTo>
                    <a:pt x="499" y="670"/>
                  </a:lnTo>
                  <a:lnTo>
                    <a:pt x="498" y="667"/>
                  </a:lnTo>
                  <a:lnTo>
                    <a:pt x="498" y="666"/>
                  </a:lnTo>
                  <a:lnTo>
                    <a:pt x="498" y="666"/>
                  </a:lnTo>
                  <a:lnTo>
                    <a:pt x="494" y="664"/>
                  </a:lnTo>
                  <a:lnTo>
                    <a:pt x="494" y="663"/>
                  </a:lnTo>
                  <a:lnTo>
                    <a:pt x="494" y="663"/>
                  </a:lnTo>
                  <a:lnTo>
                    <a:pt x="494" y="663"/>
                  </a:lnTo>
                  <a:lnTo>
                    <a:pt x="494" y="661"/>
                  </a:lnTo>
                  <a:lnTo>
                    <a:pt x="494" y="661"/>
                  </a:lnTo>
                  <a:lnTo>
                    <a:pt x="494" y="659"/>
                  </a:lnTo>
                  <a:lnTo>
                    <a:pt x="494" y="658"/>
                  </a:lnTo>
                  <a:lnTo>
                    <a:pt x="494" y="658"/>
                  </a:lnTo>
                  <a:lnTo>
                    <a:pt x="493" y="656"/>
                  </a:lnTo>
                  <a:lnTo>
                    <a:pt x="490" y="656"/>
                  </a:lnTo>
                  <a:lnTo>
                    <a:pt x="490" y="655"/>
                  </a:lnTo>
                  <a:lnTo>
                    <a:pt x="488" y="653"/>
                  </a:lnTo>
                  <a:lnTo>
                    <a:pt x="487" y="652"/>
                  </a:lnTo>
                  <a:lnTo>
                    <a:pt x="485" y="650"/>
                  </a:lnTo>
                  <a:lnTo>
                    <a:pt x="485" y="649"/>
                  </a:lnTo>
                  <a:lnTo>
                    <a:pt x="487" y="647"/>
                  </a:lnTo>
                  <a:lnTo>
                    <a:pt x="490" y="646"/>
                  </a:lnTo>
                  <a:lnTo>
                    <a:pt x="491" y="646"/>
                  </a:lnTo>
                  <a:lnTo>
                    <a:pt x="491" y="643"/>
                  </a:lnTo>
                  <a:lnTo>
                    <a:pt x="491" y="641"/>
                  </a:lnTo>
                  <a:lnTo>
                    <a:pt x="491" y="639"/>
                  </a:lnTo>
                  <a:lnTo>
                    <a:pt x="493" y="639"/>
                  </a:lnTo>
                  <a:lnTo>
                    <a:pt x="493" y="638"/>
                  </a:lnTo>
                  <a:lnTo>
                    <a:pt x="494" y="635"/>
                  </a:lnTo>
                  <a:lnTo>
                    <a:pt x="496" y="633"/>
                  </a:lnTo>
                  <a:lnTo>
                    <a:pt x="496" y="630"/>
                  </a:lnTo>
                  <a:lnTo>
                    <a:pt x="496" y="630"/>
                  </a:lnTo>
                  <a:lnTo>
                    <a:pt x="494" y="629"/>
                  </a:lnTo>
                  <a:lnTo>
                    <a:pt x="491" y="627"/>
                  </a:lnTo>
                  <a:lnTo>
                    <a:pt x="491" y="626"/>
                  </a:lnTo>
                  <a:lnTo>
                    <a:pt x="491" y="624"/>
                  </a:lnTo>
                  <a:lnTo>
                    <a:pt x="491" y="622"/>
                  </a:lnTo>
                  <a:lnTo>
                    <a:pt x="490" y="621"/>
                  </a:lnTo>
                  <a:lnTo>
                    <a:pt x="488" y="621"/>
                  </a:lnTo>
                  <a:lnTo>
                    <a:pt x="487" y="621"/>
                  </a:lnTo>
                  <a:lnTo>
                    <a:pt x="487" y="621"/>
                  </a:lnTo>
                  <a:lnTo>
                    <a:pt x="476" y="615"/>
                  </a:lnTo>
                  <a:lnTo>
                    <a:pt x="474" y="613"/>
                  </a:lnTo>
                  <a:lnTo>
                    <a:pt x="474" y="612"/>
                  </a:lnTo>
                  <a:lnTo>
                    <a:pt x="474" y="612"/>
                  </a:lnTo>
                  <a:lnTo>
                    <a:pt x="474" y="610"/>
                  </a:lnTo>
                  <a:lnTo>
                    <a:pt x="473" y="609"/>
                  </a:lnTo>
                  <a:lnTo>
                    <a:pt x="471" y="609"/>
                  </a:lnTo>
                  <a:lnTo>
                    <a:pt x="471" y="607"/>
                  </a:lnTo>
                  <a:lnTo>
                    <a:pt x="470" y="606"/>
                  </a:lnTo>
                  <a:lnTo>
                    <a:pt x="470" y="604"/>
                  </a:lnTo>
                  <a:lnTo>
                    <a:pt x="471" y="601"/>
                  </a:lnTo>
                  <a:lnTo>
                    <a:pt x="470" y="599"/>
                  </a:lnTo>
                  <a:lnTo>
                    <a:pt x="470" y="598"/>
                  </a:lnTo>
                  <a:lnTo>
                    <a:pt x="470" y="596"/>
                  </a:lnTo>
                  <a:lnTo>
                    <a:pt x="467" y="595"/>
                  </a:lnTo>
                  <a:lnTo>
                    <a:pt x="464" y="593"/>
                  </a:lnTo>
                  <a:lnTo>
                    <a:pt x="464" y="592"/>
                  </a:lnTo>
                  <a:lnTo>
                    <a:pt x="464" y="590"/>
                  </a:lnTo>
                  <a:lnTo>
                    <a:pt x="465" y="590"/>
                  </a:lnTo>
                  <a:lnTo>
                    <a:pt x="465" y="589"/>
                  </a:lnTo>
                  <a:lnTo>
                    <a:pt x="465" y="587"/>
                  </a:lnTo>
                  <a:lnTo>
                    <a:pt x="465" y="586"/>
                  </a:lnTo>
                  <a:lnTo>
                    <a:pt x="464" y="584"/>
                  </a:lnTo>
                  <a:lnTo>
                    <a:pt x="462" y="582"/>
                  </a:lnTo>
                  <a:lnTo>
                    <a:pt x="465" y="582"/>
                  </a:lnTo>
                  <a:lnTo>
                    <a:pt x="468" y="584"/>
                  </a:lnTo>
                  <a:lnTo>
                    <a:pt x="470" y="584"/>
                  </a:lnTo>
                  <a:lnTo>
                    <a:pt x="470" y="586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1" y="589"/>
                  </a:lnTo>
                  <a:lnTo>
                    <a:pt x="473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0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4" y="593"/>
                  </a:lnTo>
                  <a:lnTo>
                    <a:pt x="476" y="593"/>
                  </a:lnTo>
                  <a:lnTo>
                    <a:pt x="476" y="595"/>
                  </a:lnTo>
                  <a:lnTo>
                    <a:pt x="476" y="595"/>
                  </a:lnTo>
                  <a:lnTo>
                    <a:pt x="476" y="596"/>
                  </a:lnTo>
                  <a:lnTo>
                    <a:pt x="476" y="596"/>
                  </a:lnTo>
                  <a:lnTo>
                    <a:pt x="478" y="599"/>
                  </a:lnTo>
                  <a:lnTo>
                    <a:pt x="478" y="601"/>
                  </a:lnTo>
                  <a:lnTo>
                    <a:pt x="479" y="601"/>
                  </a:lnTo>
                  <a:lnTo>
                    <a:pt x="481" y="599"/>
                  </a:lnTo>
                  <a:lnTo>
                    <a:pt x="481" y="599"/>
                  </a:lnTo>
                  <a:lnTo>
                    <a:pt x="481" y="598"/>
                  </a:lnTo>
                  <a:lnTo>
                    <a:pt x="479" y="596"/>
                  </a:lnTo>
                  <a:lnTo>
                    <a:pt x="481" y="595"/>
                  </a:lnTo>
                  <a:lnTo>
                    <a:pt x="481" y="593"/>
                  </a:lnTo>
                  <a:lnTo>
                    <a:pt x="482" y="592"/>
                  </a:lnTo>
                  <a:lnTo>
                    <a:pt x="482" y="590"/>
                  </a:lnTo>
                  <a:lnTo>
                    <a:pt x="482" y="589"/>
                  </a:lnTo>
                  <a:lnTo>
                    <a:pt x="484" y="589"/>
                  </a:lnTo>
                  <a:lnTo>
                    <a:pt x="484" y="587"/>
                  </a:lnTo>
                  <a:lnTo>
                    <a:pt x="487" y="582"/>
                  </a:lnTo>
                  <a:lnTo>
                    <a:pt x="487" y="582"/>
                  </a:lnTo>
                  <a:lnTo>
                    <a:pt x="490" y="581"/>
                  </a:lnTo>
                  <a:lnTo>
                    <a:pt x="490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1" y="578"/>
                  </a:lnTo>
                  <a:lnTo>
                    <a:pt x="493" y="576"/>
                  </a:lnTo>
                  <a:lnTo>
                    <a:pt x="493" y="576"/>
                  </a:lnTo>
                  <a:lnTo>
                    <a:pt x="494" y="575"/>
                  </a:lnTo>
                  <a:lnTo>
                    <a:pt x="498" y="573"/>
                  </a:lnTo>
                  <a:lnTo>
                    <a:pt x="504" y="573"/>
                  </a:lnTo>
                  <a:lnTo>
                    <a:pt x="507" y="573"/>
                  </a:lnTo>
                  <a:lnTo>
                    <a:pt x="508" y="573"/>
                  </a:lnTo>
                  <a:lnTo>
                    <a:pt x="510" y="573"/>
                  </a:lnTo>
                  <a:lnTo>
                    <a:pt x="511" y="570"/>
                  </a:lnTo>
                  <a:lnTo>
                    <a:pt x="511" y="570"/>
                  </a:lnTo>
                  <a:lnTo>
                    <a:pt x="513" y="569"/>
                  </a:lnTo>
                  <a:lnTo>
                    <a:pt x="515" y="569"/>
                  </a:lnTo>
                  <a:lnTo>
                    <a:pt x="516" y="569"/>
                  </a:lnTo>
                  <a:lnTo>
                    <a:pt x="516" y="569"/>
                  </a:lnTo>
                  <a:lnTo>
                    <a:pt x="518" y="569"/>
                  </a:lnTo>
                  <a:lnTo>
                    <a:pt x="518" y="569"/>
                  </a:lnTo>
                  <a:lnTo>
                    <a:pt x="519" y="569"/>
                  </a:lnTo>
                  <a:lnTo>
                    <a:pt x="525" y="573"/>
                  </a:lnTo>
                  <a:lnTo>
                    <a:pt x="528" y="573"/>
                  </a:lnTo>
                  <a:lnTo>
                    <a:pt x="528" y="572"/>
                  </a:lnTo>
                  <a:lnTo>
                    <a:pt x="530" y="570"/>
                  </a:lnTo>
                  <a:lnTo>
                    <a:pt x="531" y="569"/>
                  </a:lnTo>
                  <a:lnTo>
                    <a:pt x="531" y="567"/>
                  </a:lnTo>
                  <a:lnTo>
                    <a:pt x="531" y="562"/>
                  </a:lnTo>
                  <a:lnTo>
                    <a:pt x="533" y="562"/>
                  </a:lnTo>
                  <a:lnTo>
                    <a:pt x="533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6" y="562"/>
                  </a:lnTo>
                  <a:lnTo>
                    <a:pt x="536" y="562"/>
                  </a:lnTo>
                  <a:lnTo>
                    <a:pt x="538" y="562"/>
                  </a:lnTo>
                  <a:lnTo>
                    <a:pt x="538" y="562"/>
                  </a:lnTo>
                  <a:lnTo>
                    <a:pt x="538" y="562"/>
                  </a:lnTo>
                  <a:lnTo>
                    <a:pt x="539" y="561"/>
                  </a:lnTo>
                  <a:lnTo>
                    <a:pt x="544" y="562"/>
                  </a:lnTo>
                  <a:lnTo>
                    <a:pt x="545" y="561"/>
                  </a:lnTo>
                  <a:lnTo>
                    <a:pt x="547" y="558"/>
                  </a:lnTo>
                  <a:lnTo>
                    <a:pt x="548" y="552"/>
                  </a:lnTo>
                  <a:lnTo>
                    <a:pt x="550" y="552"/>
                  </a:lnTo>
                  <a:lnTo>
                    <a:pt x="551" y="553"/>
                  </a:lnTo>
                  <a:lnTo>
                    <a:pt x="553" y="553"/>
                  </a:lnTo>
                  <a:lnTo>
                    <a:pt x="555" y="553"/>
                  </a:lnTo>
                  <a:lnTo>
                    <a:pt x="555" y="550"/>
                  </a:lnTo>
                  <a:lnTo>
                    <a:pt x="556" y="550"/>
                  </a:lnTo>
                  <a:lnTo>
                    <a:pt x="558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59" y="547"/>
                  </a:lnTo>
                  <a:lnTo>
                    <a:pt x="561" y="547"/>
                  </a:lnTo>
                  <a:lnTo>
                    <a:pt x="561" y="549"/>
                  </a:lnTo>
                  <a:lnTo>
                    <a:pt x="562" y="550"/>
                  </a:lnTo>
                  <a:lnTo>
                    <a:pt x="564" y="550"/>
                  </a:lnTo>
                  <a:lnTo>
                    <a:pt x="565" y="550"/>
                  </a:lnTo>
                  <a:lnTo>
                    <a:pt x="565" y="549"/>
                  </a:lnTo>
                  <a:lnTo>
                    <a:pt x="567" y="547"/>
                  </a:lnTo>
                  <a:lnTo>
                    <a:pt x="568" y="547"/>
                  </a:lnTo>
                  <a:lnTo>
                    <a:pt x="568" y="547"/>
                  </a:lnTo>
                  <a:lnTo>
                    <a:pt x="568" y="546"/>
                  </a:lnTo>
                  <a:lnTo>
                    <a:pt x="568" y="544"/>
                  </a:lnTo>
                  <a:lnTo>
                    <a:pt x="570" y="544"/>
                  </a:lnTo>
                  <a:lnTo>
                    <a:pt x="570" y="542"/>
                  </a:lnTo>
                  <a:lnTo>
                    <a:pt x="570" y="541"/>
                  </a:lnTo>
                  <a:lnTo>
                    <a:pt x="570" y="539"/>
                  </a:lnTo>
                  <a:lnTo>
                    <a:pt x="573" y="538"/>
                  </a:lnTo>
                  <a:lnTo>
                    <a:pt x="576" y="536"/>
                  </a:lnTo>
                  <a:lnTo>
                    <a:pt x="582" y="536"/>
                  </a:lnTo>
                  <a:lnTo>
                    <a:pt x="584" y="536"/>
                  </a:lnTo>
                  <a:lnTo>
                    <a:pt x="587" y="535"/>
                  </a:lnTo>
                  <a:lnTo>
                    <a:pt x="588" y="535"/>
                  </a:lnTo>
                  <a:lnTo>
                    <a:pt x="592" y="536"/>
                  </a:lnTo>
                  <a:lnTo>
                    <a:pt x="593" y="535"/>
                  </a:lnTo>
                  <a:lnTo>
                    <a:pt x="596" y="533"/>
                  </a:lnTo>
                  <a:lnTo>
                    <a:pt x="596" y="533"/>
                  </a:lnTo>
                  <a:lnTo>
                    <a:pt x="596" y="533"/>
                  </a:lnTo>
                  <a:lnTo>
                    <a:pt x="598" y="533"/>
                  </a:lnTo>
                  <a:lnTo>
                    <a:pt x="598" y="532"/>
                  </a:lnTo>
                  <a:lnTo>
                    <a:pt x="598" y="532"/>
                  </a:lnTo>
                  <a:lnTo>
                    <a:pt x="596" y="530"/>
                  </a:lnTo>
                  <a:lnTo>
                    <a:pt x="598" y="530"/>
                  </a:lnTo>
                  <a:lnTo>
                    <a:pt x="598" y="529"/>
                  </a:lnTo>
                  <a:lnTo>
                    <a:pt x="599" y="529"/>
                  </a:lnTo>
                  <a:lnTo>
                    <a:pt x="599" y="52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602" y="527"/>
                  </a:lnTo>
                  <a:lnTo>
                    <a:pt x="602" y="525"/>
                  </a:lnTo>
                  <a:lnTo>
                    <a:pt x="604" y="525"/>
                  </a:lnTo>
                  <a:lnTo>
                    <a:pt x="607" y="525"/>
                  </a:lnTo>
                  <a:lnTo>
                    <a:pt x="608" y="525"/>
                  </a:lnTo>
                  <a:lnTo>
                    <a:pt x="621" y="521"/>
                  </a:lnTo>
                  <a:lnTo>
                    <a:pt x="621" y="519"/>
                  </a:lnTo>
                  <a:lnTo>
                    <a:pt x="622" y="518"/>
                  </a:lnTo>
                  <a:lnTo>
                    <a:pt x="624" y="516"/>
                  </a:lnTo>
                  <a:lnTo>
                    <a:pt x="625" y="516"/>
                  </a:lnTo>
                  <a:lnTo>
                    <a:pt x="632" y="516"/>
                  </a:lnTo>
                  <a:lnTo>
                    <a:pt x="635" y="515"/>
                  </a:lnTo>
                  <a:lnTo>
                    <a:pt x="635" y="512"/>
                  </a:lnTo>
                  <a:lnTo>
                    <a:pt x="633" y="512"/>
                  </a:lnTo>
                  <a:lnTo>
                    <a:pt x="630" y="510"/>
                  </a:lnTo>
                  <a:lnTo>
                    <a:pt x="627" y="509"/>
                  </a:lnTo>
                  <a:lnTo>
                    <a:pt x="628" y="507"/>
                  </a:lnTo>
                  <a:lnTo>
                    <a:pt x="628" y="507"/>
                  </a:lnTo>
                  <a:lnTo>
                    <a:pt x="628" y="507"/>
                  </a:lnTo>
                  <a:lnTo>
                    <a:pt x="627" y="505"/>
                  </a:lnTo>
                  <a:lnTo>
                    <a:pt x="624" y="505"/>
                  </a:lnTo>
                  <a:lnTo>
                    <a:pt x="624" y="505"/>
                  </a:lnTo>
                  <a:lnTo>
                    <a:pt x="624" y="504"/>
                  </a:lnTo>
                  <a:lnTo>
                    <a:pt x="625" y="501"/>
                  </a:lnTo>
                  <a:lnTo>
                    <a:pt x="627" y="498"/>
                  </a:lnTo>
                  <a:lnTo>
                    <a:pt x="630" y="498"/>
                  </a:lnTo>
                  <a:lnTo>
                    <a:pt x="633" y="499"/>
                  </a:lnTo>
                  <a:lnTo>
                    <a:pt x="633" y="499"/>
                  </a:lnTo>
                  <a:lnTo>
                    <a:pt x="633" y="501"/>
                  </a:lnTo>
                  <a:lnTo>
                    <a:pt x="635" y="501"/>
                  </a:lnTo>
                  <a:lnTo>
                    <a:pt x="635" y="501"/>
                  </a:lnTo>
                  <a:lnTo>
                    <a:pt x="636" y="501"/>
                  </a:lnTo>
                  <a:lnTo>
                    <a:pt x="638" y="501"/>
                  </a:lnTo>
                  <a:lnTo>
                    <a:pt x="641" y="501"/>
                  </a:lnTo>
                  <a:lnTo>
                    <a:pt x="641" y="499"/>
                  </a:lnTo>
                  <a:lnTo>
                    <a:pt x="642" y="498"/>
                  </a:lnTo>
                  <a:lnTo>
                    <a:pt x="642" y="499"/>
                  </a:lnTo>
                  <a:lnTo>
                    <a:pt x="642" y="501"/>
                  </a:lnTo>
                  <a:lnTo>
                    <a:pt x="642" y="501"/>
                  </a:lnTo>
                  <a:lnTo>
                    <a:pt x="644" y="502"/>
                  </a:lnTo>
                  <a:lnTo>
                    <a:pt x="644" y="502"/>
                  </a:lnTo>
                  <a:lnTo>
                    <a:pt x="647" y="502"/>
                  </a:lnTo>
                  <a:lnTo>
                    <a:pt x="647" y="504"/>
                  </a:lnTo>
                  <a:lnTo>
                    <a:pt x="649" y="505"/>
                  </a:lnTo>
                  <a:lnTo>
                    <a:pt x="649" y="505"/>
                  </a:lnTo>
                  <a:lnTo>
                    <a:pt x="649" y="507"/>
                  </a:lnTo>
                  <a:lnTo>
                    <a:pt x="649" y="509"/>
                  </a:lnTo>
                  <a:lnTo>
                    <a:pt x="649" y="510"/>
                  </a:lnTo>
                  <a:lnTo>
                    <a:pt x="647" y="512"/>
                  </a:lnTo>
                  <a:lnTo>
                    <a:pt x="647" y="513"/>
                  </a:lnTo>
                  <a:lnTo>
                    <a:pt x="647" y="513"/>
                  </a:lnTo>
                  <a:lnTo>
                    <a:pt x="652" y="512"/>
                  </a:lnTo>
                  <a:lnTo>
                    <a:pt x="653" y="512"/>
                  </a:lnTo>
                  <a:lnTo>
                    <a:pt x="653" y="513"/>
                  </a:lnTo>
                  <a:lnTo>
                    <a:pt x="653" y="515"/>
                  </a:lnTo>
                  <a:lnTo>
                    <a:pt x="652" y="518"/>
                  </a:lnTo>
                  <a:lnTo>
                    <a:pt x="652" y="519"/>
                  </a:lnTo>
                  <a:lnTo>
                    <a:pt x="652" y="521"/>
                  </a:lnTo>
                  <a:lnTo>
                    <a:pt x="655" y="522"/>
                  </a:lnTo>
                  <a:lnTo>
                    <a:pt x="655" y="522"/>
                  </a:lnTo>
                  <a:lnTo>
                    <a:pt x="658" y="524"/>
                  </a:lnTo>
                  <a:lnTo>
                    <a:pt x="661" y="525"/>
                  </a:lnTo>
                  <a:lnTo>
                    <a:pt x="662" y="525"/>
                  </a:lnTo>
                  <a:lnTo>
                    <a:pt x="664" y="525"/>
                  </a:lnTo>
                  <a:lnTo>
                    <a:pt x="664" y="524"/>
                  </a:lnTo>
                  <a:lnTo>
                    <a:pt x="665" y="522"/>
                  </a:lnTo>
                  <a:lnTo>
                    <a:pt x="667" y="519"/>
                  </a:lnTo>
                  <a:lnTo>
                    <a:pt x="667" y="518"/>
                  </a:lnTo>
                  <a:lnTo>
                    <a:pt x="667" y="516"/>
                  </a:lnTo>
                  <a:lnTo>
                    <a:pt x="670" y="513"/>
                  </a:lnTo>
                  <a:lnTo>
                    <a:pt x="673" y="504"/>
                  </a:lnTo>
                  <a:lnTo>
                    <a:pt x="678" y="495"/>
                  </a:lnTo>
                  <a:lnTo>
                    <a:pt x="678" y="493"/>
                  </a:lnTo>
                  <a:lnTo>
                    <a:pt x="678" y="492"/>
                  </a:lnTo>
                  <a:lnTo>
                    <a:pt x="678" y="490"/>
                  </a:lnTo>
                  <a:lnTo>
                    <a:pt x="678" y="490"/>
                  </a:lnTo>
                  <a:lnTo>
                    <a:pt x="678" y="489"/>
                  </a:lnTo>
                  <a:lnTo>
                    <a:pt x="679" y="489"/>
                  </a:lnTo>
                  <a:lnTo>
                    <a:pt x="679" y="487"/>
                  </a:lnTo>
                  <a:lnTo>
                    <a:pt x="679" y="484"/>
                  </a:lnTo>
                  <a:lnTo>
                    <a:pt x="679" y="481"/>
                  </a:lnTo>
                  <a:lnTo>
                    <a:pt x="681" y="478"/>
                  </a:lnTo>
                  <a:lnTo>
                    <a:pt x="682" y="475"/>
                  </a:lnTo>
                  <a:lnTo>
                    <a:pt x="682" y="475"/>
                  </a:lnTo>
                  <a:close/>
                  <a:moveTo>
                    <a:pt x="180" y="42"/>
                  </a:moveTo>
                  <a:lnTo>
                    <a:pt x="180" y="42"/>
                  </a:lnTo>
                  <a:lnTo>
                    <a:pt x="182" y="40"/>
                  </a:lnTo>
                  <a:lnTo>
                    <a:pt x="182" y="37"/>
                  </a:lnTo>
                  <a:lnTo>
                    <a:pt x="182" y="31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6" y="25"/>
                  </a:lnTo>
                  <a:lnTo>
                    <a:pt x="186" y="27"/>
                  </a:lnTo>
                  <a:lnTo>
                    <a:pt x="188" y="27"/>
                  </a:lnTo>
                  <a:lnTo>
                    <a:pt x="193" y="27"/>
                  </a:lnTo>
                  <a:lnTo>
                    <a:pt x="194" y="25"/>
                  </a:lnTo>
                  <a:lnTo>
                    <a:pt x="196" y="23"/>
                  </a:lnTo>
                  <a:lnTo>
                    <a:pt x="197" y="23"/>
                  </a:lnTo>
                  <a:lnTo>
                    <a:pt x="206" y="23"/>
                  </a:lnTo>
                  <a:lnTo>
                    <a:pt x="208" y="22"/>
                  </a:lnTo>
                  <a:lnTo>
                    <a:pt x="191" y="23"/>
                  </a:lnTo>
                  <a:lnTo>
                    <a:pt x="188" y="22"/>
                  </a:lnTo>
                  <a:lnTo>
                    <a:pt x="185" y="20"/>
                  </a:lnTo>
                  <a:lnTo>
                    <a:pt x="186" y="16"/>
                  </a:lnTo>
                  <a:lnTo>
                    <a:pt x="185" y="13"/>
                  </a:lnTo>
                  <a:lnTo>
                    <a:pt x="186" y="11"/>
                  </a:lnTo>
                  <a:lnTo>
                    <a:pt x="188" y="8"/>
                  </a:lnTo>
                  <a:lnTo>
                    <a:pt x="191" y="7"/>
                  </a:lnTo>
                  <a:lnTo>
                    <a:pt x="191" y="5"/>
                  </a:lnTo>
                  <a:lnTo>
                    <a:pt x="191" y="3"/>
                  </a:lnTo>
                  <a:lnTo>
                    <a:pt x="188" y="3"/>
                  </a:lnTo>
                  <a:lnTo>
                    <a:pt x="190" y="2"/>
                  </a:lnTo>
                  <a:lnTo>
                    <a:pt x="194" y="2"/>
                  </a:lnTo>
                  <a:lnTo>
                    <a:pt x="190" y="0"/>
                  </a:lnTo>
                  <a:lnTo>
                    <a:pt x="186" y="5"/>
                  </a:lnTo>
                  <a:lnTo>
                    <a:pt x="182" y="20"/>
                  </a:lnTo>
                  <a:lnTo>
                    <a:pt x="180" y="23"/>
                  </a:lnTo>
                  <a:lnTo>
                    <a:pt x="180" y="37"/>
                  </a:lnTo>
                  <a:lnTo>
                    <a:pt x="180" y="40"/>
                  </a:lnTo>
                  <a:lnTo>
                    <a:pt x="180" y="4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81"/>
            <p:cNvSpPr>
              <a:spLocks/>
            </p:cNvSpPr>
            <p:nvPr/>
          </p:nvSpPr>
          <p:spPr bwMode="gray">
            <a:xfrm>
              <a:off x="10409238" y="7759701"/>
              <a:ext cx="793750" cy="403225"/>
            </a:xfrm>
            <a:custGeom>
              <a:avLst/>
              <a:gdLst>
                <a:gd name="T0" fmla="*/ 488 w 500"/>
                <a:gd name="T1" fmla="*/ 219 h 254"/>
                <a:gd name="T2" fmla="*/ 470 w 500"/>
                <a:gd name="T3" fmla="*/ 202 h 254"/>
                <a:gd name="T4" fmla="*/ 462 w 500"/>
                <a:gd name="T5" fmla="*/ 188 h 254"/>
                <a:gd name="T6" fmla="*/ 477 w 500"/>
                <a:gd name="T7" fmla="*/ 176 h 254"/>
                <a:gd name="T8" fmla="*/ 463 w 500"/>
                <a:gd name="T9" fmla="*/ 160 h 254"/>
                <a:gd name="T10" fmla="*/ 453 w 500"/>
                <a:gd name="T11" fmla="*/ 157 h 254"/>
                <a:gd name="T12" fmla="*/ 445 w 500"/>
                <a:gd name="T13" fmla="*/ 157 h 254"/>
                <a:gd name="T14" fmla="*/ 420 w 500"/>
                <a:gd name="T15" fmla="*/ 137 h 254"/>
                <a:gd name="T16" fmla="*/ 400 w 500"/>
                <a:gd name="T17" fmla="*/ 108 h 254"/>
                <a:gd name="T18" fmla="*/ 382 w 500"/>
                <a:gd name="T19" fmla="*/ 89 h 254"/>
                <a:gd name="T20" fmla="*/ 360 w 500"/>
                <a:gd name="T21" fmla="*/ 88 h 254"/>
                <a:gd name="T22" fmla="*/ 348 w 500"/>
                <a:gd name="T23" fmla="*/ 85 h 254"/>
                <a:gd name="T24" fmla="*/ 317 w 500"/>
                <a:gd name="T25" fmla="*/ 91 h 254"/>
                <a:gd name="T26" fmla="*/ 297 w 500"/>
                <a:gd name="T27" fmla="*/ 103 h 254"/>
                <a:gd name="T28" fmla="*/ 279 w 500"/>
                <a:gd name="T29" fmla="*/ 97 h 254"/>
                <a:gd name="T30" fmla="*/ 272 w 500"/>
                <a:gd name="T31" fmla="*/ 80 h 254"/>
                <a:gd name="T32" fmla="*/ 228 w 500"/>
                <a:gd name="T33" fmla="*/ 57 h 254"/>
                <a:gd name="T34" fmla="*/ 212 w 500"/>
                <a:gd name="T35" fmla="*/ 42 h 254"/>
                <a:gd name="T36" fmla="*/ 191 w 500"/>
                <a:gd name="T37" fmla="*/ 42 h 254"/>
                <a:gd name="T38" fmla="*/ 155 w 500"/>
                <a:gd name="T39" fmla="*/ 40 h 254"/>
                <a:gd name="T40" fmla="*/ 129 w 500"/>
                <a:gd name="T41" fmla="*/ 37 h 254"/>
                <a:gd name="T42" fmla="*/ 106 w 500"/>
                <a:gd name="T43" fmla="*/ 28 h 254"/>
                <a:gd name="T44" fmla="*/ 80 w 500"/>
                <a:gd name="T45" fmla="*/ 22 h 254"/>
                <a:gd name="T46" fmla="*/ 43 w 500"/>
                <a:gd name="T47" fmla="*/ 6 h 254"/>
                <a:gd name="T48" fmla="*/ 0 w 500"/>
                <a:gd name="T49" fmla="*/ 18 h 254"/>
                <a:gd name="T50" fmla="*/ 18 w 500"/>
                <a:gd name="T51" fmla="*/ 28 h 254"/>
                <a:gd name="T52" fmla="*/ 29 w 500"/>
                <a:gd name="T53" fmla="*/ 42 h 254"/>
                <a:gd name="T54" fmla="*/ 45 w 500"/>
                <a:gd name="T55" fmla="*/ 49 h 254"/>
                <a:gd name="T56" fmla="*/ 68 w 500"/>
                <a:gd name="T57" fmla="*/ 55 h 254"/>
                <a:gd name="T58" fmla="*/ 88 w 500"/>
                <a:gd name="T59" fmla="*/ 79 h 254"/>
                <a:gd name="T60" fmla="*/ 98 w 500"/>
                <a:gd name="T61" fmla="*/ 82 h 254"/>
                <a:gd name="T62" fmla="*/ 117 w 500"/>
                <a:gd name="T63" fmla="*/ 120 h 254"/>
                <a:gd name="T64" fmla="*/ 128 w 500"/>
                <a:gd name="T65" fmla="*/ 149 h 254"/>
                <a:gd name="T66" fmla="*/ 132 w 500"/>
                <a:gd name="T67" fmla="*/ 180 h 254"/>
                <a:gd name="T68" fmla="*/ 115 w 500"/>
                <a:gd name="T69" fmla="*/ 208 h 254"/>
                <a:gd name="T70" fmla="*/ 129 w 500"/>
                <a:gd name="T71" fmla="*/ 212 h 254"/>
                <a:gd name="T72" fmla="*/ 143 w 500"/>
                <a:gd name="T73" fmla="*/ 209 h 254"/>
                <a:gd name="T74" fmla="*/ 162 w 500"/>
                <a:gd name="T75" fmla="*/ 209 h 254"/>
                <a:gd name="T76" fmla="*/ 189 w 500"/>
                <a:gd name="T77" fmla="*/ 211 h 254"/>
                <a:gd name="T78" fmla="*/ 200 w 500"/>
                <a:gd name="T79" fmla="*/ 200 h 254"/>
                <a:gd name="T80" fmla="*/ 208 w 500"/>
                <a:gd name="T81" fmla="*/ 208 h 254"/>
                <a:gd name="T82" fmla="*/ 217 w 500"/>
                <a:gd name="T83" fmla="*/ 212 h 254"/>
                <a:gd name="T84" fmla="*/ 231 w 500"/>
                <a:gd name="T85" fmla="*/ 225 h 254"/>
                <a:gd name="T86" fmla="*/ 236 w 500"/>
                <a:gd name="T87" fmla="*/ 234 h 254"/>
                <a:gd name="T88" fmla="*/ 257 w 500"/>
                <a:gd name="T89" fmla="*/ 243 h 254"/>
                <a:gd name="T90" fmla="*/ 282 w 500"/>
                <a:gd name="T91" fmla="*/ 248 h 254"/>
                <a:gd name="T92" fmla="*/ 303 w 500"/>
                <a:gd name="T93" fmla="*/ 240 h 254"/>
                <a:gd name="T94" fmla="*/ 314 w 500"/>
                <a:gd name="T95" fmla="*/ 236 h 254"/>
                <a:gd name="T96" fmla="*/ 326 w 500"/>
                <a:gd name="T97" fmla="*/ 237 h 254"/>
                <a:gd name="T98" fmla="*/ 339 w 500"/>
                <a:gd name="T99" fmla="*/ 240 h 254"/>
                <a:gd name="T100" fmla="*/ 360 w 500"/>
                <a:gd name="T101" fmla="*/ 237 h 254"/>
                <a:gd name="T102" fmla="*/ 371 w 500"/>
                <a:gd name="T103" fmla="*/ 233 h 254"/>
                <a:gd name="T104" fmla="*/ 402 w 500"/>
                <a:gd name="T105" fmla="*/ 216 h 254"/>
                <a:gd name="T106" fmla="*/ 430 w 500"/>
                <a:gd name="T107" fmla="*/ 225 h 254"/>
                <a:gd name="T108" fmla="*/ 447 w 500"/>
                <a:gd name="T109" fmla="*/ 242 h 254"/>
                <a:gd name="T110" fmla="*/ 467 w 500"/>
                <a:gd name="T111" fmla="*/ 240 h 254"/>
                <a:gd name="T112" fmla="*/ 487 w 500"/>
                <a:gd name="T113" fmla="*/ 253 h 254"/>
                <a:gd name="T114" fmla="*/ 496 w 500"/>
                <a:gd name="T115" fmla="*/ 243 h 254"/>
                <a:gd name="T116" fmla="*/ 499 w 500"/>
                <a:gd name="T117" fmla="*/ 2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254">
                  <a:moveTo>
                    <a:pt x="499" y="229"/>
                  </a:moveTo>
                  <a:lnTo>
                    <a:pt x="497" y="226"/>
                  </a:lnTo>
                  <a:lnTo>
                    <a:pt x="496" y="225"/>
                  </a:lnTo>
                  <a:lnTo>
                    <a:pt x="496" y="225"/>
                  </a:lnTo>
                  <a:lnTo>
                    <a:pt x="496" y="223"/>
                  </a:lnTo>
                  <a:lnTo>
                    <a:pt x="494" y="223"/>
                  </a:lnTo>
                  <a:lnTo>
                    <a:pt x="493" y="225"/>
                  </a:lnTo>
                  <a:lnTo>
                    <a:pt x="493" y="222"/>
                  </a:lnTo>
                  <a:lnTo>
                    <a:pt x="488" y="219"/>
                  </a:lnTo>
                  <a:lnTo>
                    <a:pt x="482" y="216"/>
                  </a:lnTo>
                  <a:lnTo>
                    <a:pt x="477" y="212"/>
                  </a:lnTo>
                  <a:lnTo>
                    <a:pt x="476" y="212"/>
                  </a:lnTo>
                  <a:lnTo>
                    <a:pt x="476" y="212"/>
                  </a:lnTo>
                  <a:lnTo>
                    <a:pt x="471" y="209"/>
                  </a:lnTo>
                  <a:lnTo>
                    <a:pt x="470" y="208"/>
                  </a:lnTo>
                  <a:lnTo>
                    <a:pt x="470" y="206"/>
                  </a:lnTo>
                  <a:lnTo>
                    <a:pt x="470" y="202"/>
                  </a:lnTo>
                  <a:lnTo>
                    <a:pt x="470" y="202"/>
                  </a:lnTo>
                  <a:lnTo>
                    <a:pt x="468" y="199"/>
                  </a:lnTo>
                  <a:lnTo>
                    <a:pt x="467" y="197"/>
                  </a:lnTo>
                  <a:lnTo>
                    <a:pt x="467" y="197"/>
                  </a:lnTo>
                  <a:lnTo>
                    <a:pt x="465" y="199"/>
                  </a:lnTo>
                  <a:lnTo>
                    <a:pt x="465" y="199"/>
                  </a:lnTo>
                  <a:lnTo>
                    <a:pt x="465" y="200"/>
                  </a:lnTo>
                  <a:lnTo>
                    <a:pt x="462" y="199"/>
                  </a:lnTo>
                  <a:lnTo>
                    <a:pt x="462" y="194"/>
                  </a:lnTo>
                  <a:lnTo>
                    <a:pt x="462" y="188"/>
                  </a:lnTo>
                  <a:lnTo>
                    <a:pt x="462" y="185"/>
                  </a:lnTo>
                  <a:lnTo>
                    <a:pt x="463" y="183"/>
                  </a:lnTo>
                  <a:lnTo>
                    <a:pt x="465" y="183"/>
                  </a:lnTo>
                  <a:lnTo>
                    <a:pt x="470" y="185"/>
                  </a:lnTo>
                  <a:lnTo>
                    <a:pt x="471" y="183"/>
                  </a:lnTo>
                  <a:lnTo>
                    <a:pt x="471" y="183"/>
                  </a:lnTo>
                  <a:lnTo>
                    <a:pt x="473" y="182"/>
                  </a:lnTo>
                  <a:lnTo>
                    <a:pt x="476" y="179"/>
                  </a:lnTo>
                  <a:lnTo>
                    <a:pt x="477" y="176"/>
                  </a:lnTo>
                  <a:lnTo>
                    <a:pt x="480" y="169"/>
                  </a:lnTo>
                  <a:lnTo>
                    <a:pt x="479" y="168"/>
                  </a:lnTo>
                  <a:lnTo>
                    <a:pt x="477" y="166"/>
                  </a:lnTo>
                  <a:lnTo>
                    <a:pt x="473" y="166"/>
                  </a:lnTo>
                  <a:lnTo>
                    <a:pt x="470" y="165"/>
                  </a:lnTo>
                  <a:lnTo>
                    <a:pt x="467" y="162"/>
                  </a:lnTo>
                  <a:lnTo>
                    <a:pt x="465" y="160"/>
                  </a:lnTo>
                  <a:lnTo>
                    <a:pt x="465" y="160"/>
                  </a:lnTo>
                  <a:lnTo>
                    <a:pt x="463" y="160"/>
                  </a:lnTo>
                  <a:lnTo>
                    <a:pt x="463" y="160"/>
                  </a:lnTo>
                  <a:lnTo>
                    <a:pt x="462" y="160"/>
                  </a:lnTo>
                  <a:lnTo>
                    <a:pt x="462" y="160"/>
                  </a:lnTo>
                  <a:lnTo>
                    <a:pt x="462" y="160"/>
                  </a:lnTo>
                  <a:lnTo>
                    <a:pt x="457" y="160"/>
                  </a:lnTo>
                  <a:lnTo>
                    <a:pt x="456" y="160"/>
                  </a:lnTo>
                  <a:lnTo>
                    <a:pt x="454" y="160"/>
                  </a:lnTo>
                  <a:lnTo>
                    <a:pt x="453" y="157"/>
                  </a:lnTo>
                  <a:lnTo>
                    <a:pt x="453" y="157"/>
                  </a:lnTo>
                  <a:lnTo>
                    <a:pt x="451" y="157"/>
                  </a:lnTo>
                  <a:lnTo>
                    <a:pt x="450" y="157"/>
                  </a:lnTo>
                  <a:lnTo>
                    <a:pt x="450" y="157"/>
                  </a:lnTo>
                  <a:lnTo>
                    <a:pt x="448" y="156"/>
                  </a:lnTo>
                  <a:lnTo>
                    <a:pt x="448" y="156"/>
                  </a:lnTo>
                  <a:lnTo>
                    <a:pt x="447" y="156"/>
                  </a:lnTo>
                  <a:lnTo>
                    <a:pt x="447" y="157"/>
                  </a:lnTo>
                  <a:lnTo>
                    <a:pt x="447" y="157"/>
                  </a:lnTo>
                  <a:lnTo>
                    <a:pt x="445" y="157"/>
                  </a:lnTo>
                  <a:lnTo>
                    <a:pt x="443" y="156"/>
                  </a:lnTo>
                  <a:lnTo>
                    <a:pt x="442" y="156"/>
                  </a:lnTo>
                  <a:lnTo>
                    <a:pt x="440" y="149"/>
                  </a:lnTo>
                  <a:lnTo>
                    <a:pt x="439" y="149"/>
                  </a:lnTo>
                  <a:lnTo>
                    <a:pt x="434" y="148"/>
                  </a:lnTo>
                  <a:lnTo>
                    <a:pt x="426" y="142"/>
                  </a:lnTo>
                  <a:lnTo>
                    <a:pt x="423" y="140"/>
                  </a:lnTo>
                  <a:lnTo>
                    <a:pt x="420" y="139"/>
                  </a:lnTo>
                  <a:lnTo>
                    <a:pt x="420" y="137"/>
                  </a:lnTo>
                  <a:lnTo>
                    <a:pt x="428" y="114"/>
                  </a:lnTo>
                  <a:lnTo>
                    <a:pt x="430" y="112"/>
                  </a:lnTo>
                  <a:lnTo>
                    <a:pt x="430" y="112"/>
                  </a:lnTo>
                  <a:lnTo>
                    <a:pt x="426" y="108"/>
                  </a:lnTo>
                  <a:lnTo>
                    <a:pt x="420" y="106"/>
                  </a:lnTo>
                  <a:lnTo>
                    <a:pt x="414" y="105"/>
                  </a:lnTo>
                  <a:lnTo>
                    <a:pt x="410" y="105"/>
                  </a:lnTo>
                  <a:lnTo>
                    <a:pt x="403" y="106"/>
                  </a:lnTo>
                  <a:lnTo>
                    <a:pt x="400" y="108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6" y="103"/>
                  </a:lnTo>
                  <a:lnTo>
                    <a:pt x="396" y="102"/>
                  </a:lnTo>
                  <a:lnTo>
                    <a:pt x="394" y="100"/>
                  </a:lnTo>
                  <a:lnTo>
                    <a:pt x="388" y="91"/>
                  </a:lnTo>
                  <a:lnTo>
                    <a:pt x="385" y="89"/>
                  </a:lnTo>
                  <a:lnTo>
                    <a:pt x="383" y="89"/>
                  </a:lnTo>
                  <a:lnTo>
                    <a:pt x="382" y="89"/>
                  </a:lnTo>
                  <a:lnTo>
                    <a:pt x="379" y="89"/>
                  </a:lnTo>
                  <a:lnTo>
                    <a:pt x="379" y="89"/>
                  </a:lnTo>
                  <a:lnTo>
                    <a:pt x="377" y="91"/>
                  </a:lnTo>
                  <a:lnTo>
                    <a:pt x="376" y="89"/>
                  </a:lnTo>
                  <a:lnTo>
                    <a:pt x="374" y="89"/>
                  </a:lnTo>
                  <a:lnTo>
                    <a:pt x="366" y="83"/>
                  </a:lnTo>
                  <a:lnTo>
                    <a:pt x="363" y="83"/>
                  </a:lnTo>
                  <a:lnTo>
                    <a:pt x="362" y="85"/>
                  </a:lnTo>
                  <a:lnTo>
                    <a:pt x="360" y="88"/>
                  </a:lnTo>
                  <a:lnTo>
                    <a:pt x="359" y="92"/>
                  </a:lnTo>
                  <a:lnTo>
                    <a:pt x="357" y="97"/>
                  </a:lnTo>
                  <a:lnTo>
                    <a:pt x="357" y="99"/>
                  </a:lnTo>
                  <a:lnTo>
                    <a:pt x="356" y="97"/>
                  </a:lnTo>
                  <a:lnTo>
                    <a:pt x="354" y="91"/>
                  </a:lnTo>
                  <a:lnTo>
                    <a:pt x="353" y="89"/>
                  </a:lnTo>
                  <a:lnTo>
                    <a:pt x="351" y="88"/>
                  </a:lnTo>
                  <a:lnTo>
                    <a:pt x="349" y="86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5" y="85"/>
                  </a:lnTo>
                  <a:lnTo>
                    <a:pt x="340" y="83"/>
                  </a:lnTo>
                  <a:lnTo>
                    <a:pt x="337" y="83"/>
                  </a:lnTo>
                  <a:lnTo>
                    <a:pt x="336" y="85"/>
                  </a:lnTo>
                  <a:lnTo>
                    <a:pt x="329" y="88"/>
                  </a:lnTo>
                  <a:lnTo>
                    <a:pt x="326" y="88"/>
                  </a:lnTo>
                  <a:lnTo>
                    <a:pt x="320" y="89"/>
                  </a:lnTo>
                  <a:lnTo>
                    <a:pt x="317" y="91"/>
                  </a:lnTo>
                  <a:lnTo>
                    <a:pt x="317" y="94"/>
                  </a:lnTo>
                  <a:lnTo>
                    <a:pt x="316" y="95"/>
                  </a:lnTo>
                  <a:lnTo>
                    <a:pt x="314" y="95"/>
                  </a:lnTo>
                  <a:lnTo>
                    <a:pt x="313" y="97"/>
                  </a:lnTo>
                  <a:lnTo>
                    <a:pt x="311" y="97"/>
                  </a:lnTo>
                  <a:lnTo>
                    <a:pt x="303" y="97"/>
                  </a:lnTo>
                  <a:lnTo>
                    <a:pt x="300" y="99"/>
                  </a:lnTo>
                  <a:lnTo>
                    <a:pt x="299" y="100"/>
                  </a:lnTo>
                  <a:lnTo>
                    <a:pt x="297" y="103"/>
                  </a:lnTo>
                  <a:lnTo>
                    <a:pt x="296" y="103"/>
                  </a:lnTo>
                  <a:lnTo>
                    <a:pt x="296" y="103"/>
                  </a:lnTo>
                  <a:lnTo>
                    <a:pt x="294" y="103"/>
                  </a:lnTo>
                  <a:lnTo>
                    <a:pt x="293" y="102"/>
                  </a:lnTo>
                  <a:lnTo>
                    <a:pt x="291" y="102"/>
                  </a:lnTo>
                  <a:lnTo>
                    <a:pt x="288" y="100"/>
                  </a:lnTo>
                  <a:lnTo>
                    <a:pt x="285" y="100"/>
                  </a:lnTo>
                  <a:lnTo>
                    <a:pt x="280" y="99"/>
                  </a:lnTo>
                  <a:lnTo>
                    <a:pt x="279" y="97"/>
                  </a:lnTo>
                  <a:lnTo>
                    <a:pt x="279" y="94"/>
                  </a:lnTo>
                  <a:lnTo>
                    <a:pt x="282" y="91"/>
                  </a:lnTo>
                  <a:lnTo>
                    <a:pt x="283" y="89"/>
                  </a:lnTo>
                  <a:lnTo>
                    <a:pt x="285" y="88"/>
                  </a:lnTo>
                  <a:lnTo>
                    <a:pt x="285" y="85"/>
                  </a:lnTo>
                  <a:lnTo>
                    <a:pt x="283" y="83"/>
                  </a:lnTo>
                  <a:lnTo>
                    <a:pt x="282" y="83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69" y="77"/>
                  </a:lnTo>
                  <a:lnTo>
                    <a:pt x="268" y="75"/>
                  </a:lnTo>
                  <a:lnTo>
                    <a:pt x="263" y="72"/>
                  </a:lnTo>
                  <a:lnTo>
                    <a:pt x="260" y="72"/>
                  </a:lnTo>
                  <a:lnTo>
                    <a:pt x="254" y="69"/>
                  </a:lnTo>
                  <a:lnTo>
                    <a:pt x="240" y="66"/>
                  </a:lnTo>
                  <a:lnTo>
                    <a:pt x="239" y="65"/>
                  </a:lnTo>
                  <a:lnTo>
                    <a:pt x="237" y="65"/>
                  </a:lnTo>
                  <a:lnTo>
                    <a:pt x="228" y="57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5" y="51"/>
                  </a:lnTo>
                  <a:lnTo>
                    <a:pt x="225" y="49"/>
                  </a:lnTo>
                  <a:lnTo>
                    <a:pt x="225" y="49"/>
                  </a:lnTo>
                  <a:lnTo>
                    <a:pt x="219" y="46"/>
                  </a:lnTo>
                  <a:lnTo>
                    <a:pt x="217" y="45"/>
                  </a:lnTo>
                  <a:lnTo>
                    <a:pt x="214" y="43"/>
                  </a:lnTo>
                  <a:lnTo>
                    <a:pt x="212" y="42"/>
                  </a:lnTo>
                  <a:lnTo>
                    <a:pt x="209" y="40"/>
                  </a:lnTo>
                  <a:lnTo>
                    <a:pt x="206" y="40"/>
                  </a:lnTo>
                  <a:lnTo>
                    <a:pt x="203" y="42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197" y="45"/>
                  </a:lnTo>
                  <a:lnTo>
                    <a:pt x="197" y="45"/>
                  </a:lnTo>
                  <a:lnTo>
                    <a:pt x="195" y="45"/>
                  </a:lnTo>
                  <a:lnTo>
                    <a:pt x="191" y="42"/>
                  </a:lnTo>
                  <a:lnTo>
                    <a:pt x="188" y="40"/>
                  </a:lnTo>
                  <a:lnTo>
                    <a:pt x="186" y="38"/>
                  </a:lnTo>
                  <a:lnTo>
                    <a:pt x="182" y="35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65" y="35"/>
                  </a:lnTo>
                  <a:lnTo>
                    <a:pt x="163" y="37"/>
                  </a:lnTo>
                  <a:lnTo>
                    <a:pt x="162" y="37"/>
                  </a:lnTo>
                  <a:lnTo>
                    <a:pt x="155" y="40"/>
                  </a:lnTo>
                  <a:lnTo>
                    <a:pt x="154" y="40"/>
                  </a:lnTo>
                  <a:lnTo>
                    <a:pt x="151" y="40"/>
                  </a:lnTo>
                  <a:lnTo>
                    <a:pt x="149" y="40"/>
                  </a:lnTo>
                  <a:lnTo>
                    <a:pt x="146" y="38"/>
                  </a:lnTo>
                  <a:lnTo>
                    <a:pt x="145" y="37"/>
                  </a:lnTo>
                  <a:lnTo>
                    <a:pt x="142" y="37"/>
                  </a:lnTo>
                  <a:lnTo>
                    <a:pt x="137" y="38"/>
                  </a:lnTo>
                  <a:lnTo>
                    <a:pt x="135" y="38"/>
                  </a:lnTo>
                  <a:lnTo>
                    <a:pt x="129" y="37"/>
                  </a:lnTo>
                  <a:lnTo>
                    <a:pt x="128" y="35"/>
                  </a:lnTo>
                  <a:lnTo>
                    <a:pt x="122" y="37"/>
                  </a:lnTo>
                  <a:lnTo>
                    <a:pt x="118" y="37"/>
                  </a:lnTo>
                  <a:lnTo>
                    <a:pt x="117" y="35"/>
                  </a:lnTo>
                  <a:lnTo>
                    <a:pt x="114" y="32"/>
                  </a:lnTo>
                  <a:lnTo>
                    <a:pt x="112" y="31"/>
                  </a:lnTo>
                  <a:lnTo>
                    <a:pt x="108" y="29"/>
                  </a:lnTo>
                  <a:lnTo>
                    <a:pt x="106" y="29"/>
                  </a:lnTo>
                  <a:lnTo>
                    <a:pt x="106" y="28"/>
                  </a:lnTo>
                  <a:lnTo>
                    <a:pt x="105" y="26"/>
                  </a:lnTo>
                  <a:lnTo>
                    <a:pt x="105" y="25"/>
                  </a:lnTo>
                  <a:lnTo>
                    <a:pt x="102" y="23"/>
                  </a:lnTo>
                  <a:lnTo>
                    <a:pt x="97" y="25"/>
                  </a:lnTo>
                  <a:lnTo>
                    <a:pt x="94" y="23"/>
                  </a:lnTo>
                  <a:lnTo>
                    <a:pt x="92" y="22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0" y="22"/>
                  </a:lnTo>
                  <a:lnTo>
                    <a:pt x="77" y="20"/>
                  </a:lnTo>
                  <a:lnTo>
                    <a:pt x="66" y="12"/>
                  </a:lnTo>
                  <a:lnTo>
                    <a:pt x="65" y="11"/>
                  </a:lnTo>
                  <a:lnTo>
                    <a:pt x="57" y="8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3" y="6"/>
                  </a:lnTo>
                  <a:lnTo>
                    <a:pt x="40" y="8"/>
                  </a:lnTo>
                  <a:lnTo>
                    <a:pt x="37" y="6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1" y="17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2" y="23"/>
                  </a:lnTo>
                  <a:lnTo>
                    <a:pt x="15" y="25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21" y="31"/>
                  </a:lnTo>
                  <a:lnTo>
                    <a:pt x="21" y="34"/>
                  </a:lnTo>
                  <a:lnTo>
                    <a:pt x="21" y="37"/>
                  </a:lnTo>
                  <a:lnTo>
                    <a:pt x="23" y="37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7" y="45"/>
                  </a:lnTo>
                  <a:lnTo>
                    <a:pt x="40" y="45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5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60" y="49"/>
                  </a:lnTo>
                  <a:lnTo>
                    <a:pt x="65" y="52"/>
                  </a:lnTo>
                  <a:lnTo>
                    <a:pt x="66" y="52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9" y="57"/>
                  </a:lnTo>
                  <a:lnTo>
                    <a:pt x="71" y="60"/>
                  </a:lnTo>
                  <a:lnTo>
                    <a:pt x="72" y="62"/>
                  </a:lnTo>
                  <a:lnTo>
                    <a:pt x="75" y="60"/>
                  </a:lnTo>
                  <a:lnTo>
                    <a:pt x="78" y="60"/>
                  </a:lnTo>
                  <a:lnTo>
                    <a:pt x="78" y="63"/>
                  </a:lnTo>
                  <a:lnTo>
                    <a:pt x="81" y="68"/>
                  </a:lnTo>
                  <a:lnTo>
                    <a:pt x="85" y="74"/>
                  </a:lnTo>
                  <a:lnTo>
                    <a:pt x="88" y="79"/>
                  </a:lnTo>
                  <a:lnTo>
                    <a:pt x="88" y="80"/>
                  </a:lnTo>
                  <a:lnTo>
                    <a:pt x="89" y="80"/>
                  </a:lnTo>
                  <a:lnTo>
                    <a:pt x="91" y="79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5" y="79"/>
                  </a:lnTo>
                  <a:lnTo>
                    <a:pt x="97" y="80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5" y="83"/>
                  </a:lnTo>
                  <a:lnTo>
                    <a:pt x="108" y="85"/>
                  </a:lnTo>
                  <a:lnTo>
                    <a:pt x="111" y="88"/>
                  </a:lnTo>
                  <a:lnTo>
                    <a:pt x="112" y="91"/>
                  </a:lnTo>
                  <a:lnTo>
                    <a:pt x="114" y="95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0" y="125"/>
                  </a:lnTo>
                  <a:lnTo>
                    <a:pt x="125" y="139"/>
                  </a:lnTo>
                  <a:lnTo>
                    <a:pt x="125" y="143"/>
                  </a:lnTo>
                  <a:lnTo>
                    <a:pt x="125" y="146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8" y="149"/>
                  </a:lnTo>
                  <a:lnTo>
                    <a:pt x="129" y="152"/>
                  </a:lnTo>
                  <a:lnTo>
                    <a:pt x="132" y="159"/>
                  </a:lnTo>
                  <a:lnTo>
                    <a:pt x="132" y="160"/>
                  </a:lnTo>
                  <a:lnTo>
                    <a:pt x="132" y="162"/>
                  </a:lnTo>
                  <a:lnTo>
                    <a:pt x="134" y="168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2" y="179"/>
                  </a:lnTo>
                  <a:lnTo>
                    <a:pt x="132" y="180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3"/>
                  </a:lnTo>
                  <a:lnTo>
                    <a:pt x="131" y="185"/>
                  </a:lnTo>
                  <a:lnTo>
                    <a:pt x="128" y="189"/>
                  </a:lnTo>
                  <a:lnTo>
                    <a:pt x="126" y="192"/>
                  </a:lnTo>
                  <a:lnTo>
                    <a:pt x="122" y="196"/>
                  </a:lnTo>
                  <a:lnTo>
                    <a:pt x="120" y="199"/>
                  </a:lnTo>
                  <a:lnTo>
                    <a:pt x="115" y="208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6" y="211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2"/>
                  </a:lnTo>
                  <a:lnTo>
                    <a:pt x="129" y="212"/>
                  </a:lnTo>
                  <a:lnTo>
                    <a:pt x="129" y="212"/>
                  </a:lnTo>
                  <a:lnTo>
                    <a:pt x="132" y="212"/>
                  </a:lnTo>
                  <a:lnTo>
                    <a:pt x="132" y="214"/>
                  </a:lnTo>
                  <a:lnTo>
                    <a:pt x="135" y="216"/>
                  </a:lnTo>
                  <a:lnTo>
                    <a:pt x="137" y="217"/>
                  </a:lnTo>
                  <a:lnTo>
                    <a:pt x="137" y="216"/>
                  </a:lnTo>
                  <a:lnTo>
                    <a:pt x="140" y="214"/>
                  </a:lnTo>
                  <a:lnTo>
                    <a:pt x="143" y="211"/>
                  </a:lnTo>
                  <a:lnTo>
                    <a:pt x="143" y="209"/>
                  </a:lnTo>
                  <a:lnTo>
                    <a:pt x="146" y="208"/>
                  </a:lnTo>
                  <a:lnTo>
                    <a:pt x="152" y="211"/>
                  </a:lnTo>
                  <a:lnTo>
                    <a:pt x="154" y="209"/>
                  </a:lnTo>
                  <a:lnTo>
                    <a:pt x="155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9" y="209"/>
                  </a:lnTo>
                  <a:lnTo>
                    <a:pt x="162" y="209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5" y="211"/>
                  </a:lnTo>
                  <a:lnTo>
                    <a:pt x="166" y="211"/>
                  </a:lnTo>
                  <a:lnTo>
                    <a:pt x="169" y="211"/>
                  </a:lnTo>
                  <a:lnTo>
                    <a:pt x="183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4"/>
                  </a:lnTo>
                  <a:lnTo>
                    <a:pt x="189" y="211"/>
                  </a:lnTo>
                  <a:lnTo>
                    <a:pt x="191" y="209"/>
                  </a:lnTo>
                  <a:lnTo>
                    <a:pt x="191" y="208"/>
                  </a:lnTo>
                  <a:lnTo>
                    <a:pt x="192" y="203"/>
                  </a:lnTo>
                  <a:lnTo>
                    <a:pt x="192" y="202"/>
                  </a:lnTo>
                  <a:lnTo>
                    <a:pt x="194" y="202"/>
                  </a:lnTo>
                  <a:lnTo>
                    <a:pt x="194" y="202"/>
                  </a:lnTo>
                  <a:lnTo>
                    <a:pt x="194" y="200"/>
                  </a:lnTo>
                  <a:lnTo>
                    <a:pt x="195" y="200"/>
                  </a:lnTo>
                  <a:lnTo>
                    <a:pt x="200" y="200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09" y="206"/>
                  </a:lnTo>
                  <a:lnTo>
                    <a:pt x="208" y="208"/>
                  </a:lnTo>
                  <a:lnTo>
                    <a:pt x="208" y="208"/>
                  </a:lnTo>
                  <a:lnTo>
                    <a:pt x="209" y="209"/>
                  </a:lnTo>
                  <a:lnTo>
                    <a:pt x="211" y="211"/>
                  </a:lnTo>
                  <a:lnTo>
                    <a:pt x="212" y="211"/>
                  </a:lnTo>
                  <a:lnTo>
                    <a:pt x="214" y="209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15" y="211"/>
                  </a:lnTo>
                  <a:lnTo>
                    <a:pt x="217" y="212"/>
                  </a:lnTo>
                  <a:lnTo>
                    <a:pt x="217" y="212"/>
                  </a:lnTo>
                  <a:lnTo>
                    <a:pt x="220" y="212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22" y="214"/>
                  </a:lnTo>
                  <a:lnTo>
                    <a:pt x="222" y="216"/>
                  </a:lnTo>
                  <a:lnTo>
                    <a:pt x="225" y="219"/>
                  </a:lnTo>
                  <a:lnTo>
                    <a:pt x="225" y="220"/>
                  </a:lnTo>
                  <a:lnTo>
                    <a:pt x="231" y="225"/>
                  </a:lnTo>
                  <a:lnTo>
                    <a:pt x="234" y="228"/>
                  </a:lnTo>
                  <a:lnTo>
                    <a:pt x="237" y="228"/>
                  </a:lnTo>
                  <a:lnTo>
                    <a:pt x="239" y="229"/>
                  </a:lnTo>
                  <a:lnTo>
                    <a:pt x="239" y="229"/>
                  </a:lnTo>
                  <a:lnTo>
                    <a:pt x="237" y="231"/>
                  </a:lnTo>
                  <a:lnTo>
                    <a:pt x="237" y="231"/>
                  </a:lnTo>
                  <a:lnTo>
                    <a:pt x="232" y="234"/>
                  </a:lnTo>
                  <a:lnTo>
                    <a:pt x="234" y="234"/>
                  </a:lnTo>
                  <a:lnTo>
                    <a:pt x="236" y="234"/>
                  </a:lnTo>
                  <a:lnTo>
                    <a:pt x="237" y="234"/>
                  </a:lnTo>
                  <a:lnTo>
                    <a:pt x="239" y="236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9" y="239"/>
                  </a:lnTo>
                  <a:lnTo>
                    <a:pt x="251" y="239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7" y="243"/>
                  </a:lnTo>
                  <a:lnTo>
                    <a:pt x="259" y="245"/>
                  </a:lnTo>
                  <a:lnTo>
                    <a:pt x="257" y="248"/>
                  </a:lnTo>
                  <a:lnTo>
                    <a:pt x="259" y="248"/>
                  </a:lnTo>
                  <a:lnTo>
                    <a:pt x="259" y="248"/>
                  </a:lnTo>
                  <a:lnTo>
                    <a:pt x="260" y="248"/>
                  </a:lnTo>
                  <a:lnTo>
                    <a:pt x="263" y="246"/>
                  </a:lnTo>
                  <a:lnTo>
                    <a:pt x="268" y="246"/>
                  </a:lnTo>
                  <a:lnTo>
                    <a:pt x="279" y="248"/>
                  </a:lnTo>
                  <a:lnTo>
                    <a:pt x="282" y="248"/>
                  </a:lnTo>
                  <a:lnTo>
                    <a:pt x="283" y="246"/>
                  </a:lnTo>
                  <a:lnTo>
                    <a:pt x="286" y="243"/>
                  </a:lnTo>
                  <a:lnTo>
                    <a:pt x="289" y="242"/>
                  </a:lnTo>
                  <a:lnTo>
                    <a:pt x="296" y="242"/>
                  </a:lnTo>
                  <a:lnTo>
                    <a:pt x="297" y="242"/>
                  </a:lnTo>
                  <a:lnTo>
                    <a:pt x="297" y="242"/>
                  </a:lnTo>
                  <a:lnTo>
                    <a:pt x="300" y="242"/>
                  </a:lnTo>
                  <a:lnTo>
                    <a:pt x="302" y="240"/>
                  </a:lnTo>
                  <a:lnTo>
                    <a:pt x="303" y="240"/>
                  </a:lnTo>
                  <a:lnTo>
                    <a:pt x="306" y="240"/>
                  </a:lnTo>
                  <a:lnTo>
                    <a:pt x="308" y="240"/>
                  </a:lnTo>
                  <a:lnTo>
                    <a:pt x="309" y="240"/>
                  </a:lnTo>
                  <a:lnTo>
                    <a:pt x="311" y="239"/>
                  </a:lnTo>
                  <a:lnTo>
                    <a:pt x="311" y="237"/>
                  </a:lnTo>
                  <a:lnTo>
                    <a:pt x="311" y="237"/>
                  </a:lnTo>
                  <a:lnTo>
                    <a:pt x="313" y="236"/>
                  </a:lnTo>
                  <a:lnTo>
                    <a:pt x="313" y="236"/>
                  </a:lnTo>
                  <a:lnTo>
                    <a:pt x="314" y="236"/>
                  </a:lnTo>
                  <a:lnTo>
                    <a:pt x="316" y="236"/>
                  </a:lnTo>
                  <a:lnTo>
                    <a:pt x="319" y="239"/>
                  </a:lnTo>
                  <a:lnTo>
                    <a:pt x="320" y="239"/>
                  </a:lnTo>
                  <a:lnTo>
                    <a:pt x="322" y="239"/>
                  </a:lnTo>
                  <a:lnTo>
                    <a:pt x="323" y="239"/>
                  </a:lnTo>
                  <a:lnTo>
                    <a:pt x="323" y="239"/>
                  </a:lnTo>
                  <a:lnTo>
                    <a:pt x="325" y="237"/>
                  </a:lnTo>
                  <a:lnTo>
                    <a:pt x="325" y="237"/>
                  </a:lnTo>
                  <a:lnTo>
                    <a:pt x="326" y="237"/>
                  </a:lnTo>
                  <a:lnTo>
                    <a:pt x="329" y="240"/>
                  </a:lnTo>
                  <a:lnTo>
                    <a:pt x="331" y="240"/>
                  </a:lnTo>
                  <a:lnTo>
                    <a:pt x="333" y="240"/>
                  </a:lnTo>
                  <a:lnTo>
                    <a:pt x="336" y="240"/>
                  </a:lnTo>
                  <a:lnTo>
                    <a:pt x="337" y="239"/>
                  </a:lnTo>
                  <a:lnTo>
                    <a:pt x="337" y="237"/>
                  </a:lnTo>
                  <a:lnTo>
                    <a:pt x="337" y="237"/>
                  </a:lnTo>
                  <a:lnTo>
                    <a:pt x="339" y="239"/>
                  </a:lnTo>
                  <a:lnTo>
                    <a:pt x="339" y="240"/>
                  </a:lnTo>
                  <a:lnTo>
                    <a:pt x="339" y="240"/>
                  </a:lnTo>
                  <a:lnTo>
                    <a:pt x="340" y="240"/>
                  </a:lnTo>
                  <a:lnTo>
                    <a:pt x="342" y="240"/>
                  </a:lnTo>
                  <a:lnTo>
                    <a:pt x="342" y="239"/>
                  </a:lnTo>
                  <a:lnTo>
                    <a:pt x="343" y="237"/>
                  </a:lnTo>
                  <a:lnTo>
                    <a:pt x="345" y="236"/>
                  </a:lnTo>
                  <a:lnTo>
                    <a:pt x="346" y="237"/>
                  </a:lnTo>
                  <a:lnTo>
                    <a:pt x="349" y="237"/>
                  </a:lnTo>
                  <a:lnTo>
                    <a:pt x="360" y="237"/>
                  </a:lnTo>
                  <a:lnTo>
                    <a:pt x="362" y="237"/>
                  </a:lnTo>
                  <a:lnTo>
                    <a:pt x="363" y="237"/>
                  </a:lnTo>
                  <a:lnTo>
                    <a:pt x="363" y="236"/>
                  </a:lnTo>
                  <a:lnTo>
                    <a:pt x="362" y="236"/>
                  </a:lnTo>
                  <a:lnTo>
                    <a:pt x="360" y="234"/>
                  </a:lnTo>
                  <a:lnTo>
                    <a:pt x="359" y="233"/>
                  </a:lnTo>
                  <a:lnTo>
                    <a:pt x="360" y="231"/>
                  </a:lnTo>
                  <a:lnTo>
                    <a:pt x="368" y="233"/>
                  </a:lnTo>
                  <a:lnTo>
                    <a:pt x="371" y="233"/>
                  </a:lnTo>
                  <a:lnTo>
                    <a:pt x="371" y="231"/>
                  </a:lnTo>
                  <a:lnTo>
                    <a:pt x="373" y="229"/>
                  </a:lnTo>
                  <a:lnTo>
                    <a:pt x="374" y="229"/>
                  </a:lnTo>
                  <a:lnTo>
                    <a:pt x="382" y="223"/>
                  </a:lnTo>
                  <a:lnTo>
                    <a:pt x="393" y="214"/>
                  </a:lnTo>
                  <a:lnTo>
                    <a:pt x="394" y="214"/>
                  </a:lnTo>
                  <a:lnTo>
                    <a:pt x="397" y="214"/>
                  </a:lnTo>
                  <a:lnTo>
                    <a:pt x="399" y="214"/>
                  </a:lnTo>
                  <a:lnTo>
                    <a:pt x="402" y="216"/>
                  </a:lnTo>
                  <a:lnTo>
                    <a:pt x="403" y="217"/>
                  </a:lnTo>
                  <a:lnTo>
                    <a:pt x="405" y="216"/>
                  </a:lnTo>
                  <a:lnTo>
                    <a:pt x="408" y="216"/>
                  </a:lnTo>
                  <a:lnTo>
                    <a:pt x="408" y="216"/>
                  </a:lnTo>
                  <a:lnTo>
                    <a:pt x="410" y="217"/>
                  </a:lnTo>
                  <a:lnTo>
                    <a:pt x="413" y="219"/>
                  </a:lnTo>
                  <a:lnTo>
                    <a:pt x="422" y="223"/>
                  </a:lnTo>
                  <a:lnTo>
                    <a:pt x="428" y="225"/>
                  </a:lnTo>
                  <a:lnTo>
                    <a:pt x="430" y="225"/>
                  </a:lnTo>
                  <a:lnTo>
                    <a:pt x="430" y="226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5" y="229"/>
                  </a:lnTo>
                  <a:lnTo>
                    <a:pt x="426" y="233"/>
                  </a:lnTo>
                  <a:lnTo>
                    <a:pt x="430" y="234"/>
                  </a:lnTo>
                  <a:lnTo>
                    <a:pt x="431" y="236"/>
                  </a:lnTo>
                  <a:lnTo>
                    <a:pt x="434" y="237"/>
                  </a:lnTo>
                  <a:lnTo>
                    <a:pt x="447" y="242"/>
                  </a:lnTo>
                  <a:lnTo>
                    <a:pt x="450" y="242"/>
                  </a:lnTo>
                  <a:lnTo>
                    <a:pt x="451" y="242"/>
                  </a:lnTo>
                  <a:lnTo>
                    <a:pt x="453" y="242"/>
                  </a:lnTo>
                  <a:lnTo>
                    <a:pt x="454" y="240"/>
                  </a:lnTo>
                  <a:lnTo>
                    <a:pt x="457" y="239"/>
                  </a:lnTo>
                  <a:lnTo>
                    <a:pt x="459" y="239"/>
                  </a:lnTo>
                  <a:lnTo>
                    <a:pt x="463" y="239"/>
                  </a:lnTo>
                  <a:lnTo>
                    <a:pt x="465" y="239"/>
                  </a:lnTo>
                  <a:lnTo>
                    <a:pt x="467" y="240"/>
                  </a:lnTo>
                  <a:lnTo>
                    <a:pt x="468" y="243"/>
                  </a:lnTo>
                  <a:lnTo>
                    <a:pt x="473" y="246"/>
                  </a:lnTo>
                  <a:lnTo>
                    <a:pt x="474" y="248"/>
                  </a:lnTo>
                  <a:lnTo>
                    <a:pt x="479" y="249"/>
                  </a:lnTo>
                  <a:lnTo>
                    <a:pt x="480" y="249"/>
                  </a:lnTo>
                  <a:lnTo>
                    <a:pt x="482" y="253"/>
                  </a:lnTo>
                  <a:lnTo>
                    <a:pt x="483" y="254"/>
                  </a:lnTo>
                  <a:lnTo>
                    <a:pt x="485" y="254"/>
                  </a:lnTo>
                  <a:lnTo>
                    <a:pt x="487" y="253"/>
                  </a:lnTo>
                  <a:lnTo>
                    <a:pt x="487" y="251"/>
                  </a:lnTo>
                  <a:lnTo>
                    <a:pt x="487" y="249"/>
                  </a:lnTo>
                  <a:lnTo>
                    <a:pt x="488" y="248"/>
                  </a:lnTo>
                  <a:lnTo>
                    <a:pt x="490" y="249"/>
                  </a:lnTo>
                  <a:lnTo>
                    <a:pt x="491" y="249"/>
                  </a:lnTo>
                  <a:lnTo>
                    <a:pt x="493" y="249"/>
                  </a:lnTo>
                  <a:lnTo>
                    <a:pt x="494" y="248"/>
                  </a:lnTo>
                  <a:lnTo>
                    <a:pt x="494" y="246"/>
                  </a:lnTo>
                  <a:lnTo>
                    <a:pt x="496" y="243"/>
                  </a:lnTo>
                  <a:lnTo>
                    <a:pt x="496" y="240"/>
                  </a:lnTo>
                  <a:lnTo>
                    <a:pt x="496" y="237"/>
                  </a:lnTo>
                  <a:lnTo>
                    <a:pt x="497" y="237"/>
                  </a:lnTo>
                  <a:lnTo>
                    <a:pt x="497" y="236"/>
                  </a:lnTo>
                  <a:lnTo>
                    <a:pt x="497" y="236"/>
                  </a:lnTo>
                  <a:lnTo>
                    <a:pt x="499" y="236"/>
                  </a:lnTo>
                  <a:lnTo>
                    <a:pt x="499" y="233"/>
                  </a:lnTo>
                  <a:lnTo>
                    <a:pt x="499" y="233"/>
                  </a:lnTo>
                  <a:lnTo>
                    <a:pt x="499" y="231"/>
                  </a:lnTo>
                  <a:lnTo>
                    <a:pt x="500" y="231"/>
                  </a:lnTo>
                  <a:lnTo>
                    <a:pt x="500" y="231"/>
                  </a:lnTo>
                  <a:lnTo>
                    <a:pt x="499" y="229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2"/>
            <p:cNvSpPr>
              <a:spLocks/>
            </p:cNvSpPr>
            <p:nvPr/>
          </p:nvSpPr>
          <p:spPr bwMode="gray">
            <a:xfrm>
              <a:off x="10409238" y="7759701"/>
              <a:ext cx="793750" cy="403225"/>
            </a:xfrm>
            <a:custGeom>
              <a:avLst/>
              <a:gdLst>
                <a:gd name="T0" fmla="*/ 488 w 500"/>
                <a:gd name="T1" fmla="*/ 219 h 254"/>
                <a:gd name="T2" fmla="*/ 470 w 500"/>
                <a:gd name="T3" fmla="*/ 202 h 254"/>
                <a:gd name="T4" fmla="*/ 462 w 500"/>
                <a:gd name="T5" fmla="*/ 188 h 254"/>
                <a:gd name="T6" fmla="*/ 477 w 500"/>
                <a:gd name="T7" fmla="*/ 176 h 254"/>
                <a:gd name="T8" fmla="*/ 463 w 500"/>
                <a:gd name="T9" fmla="*/ 160 h 254"/>
                <a:gd name="T10" fmla="*/ 453 w 500"/>
                <a:gd name="T11" fmla="*/ 157 h 254"/>
                <a:gd name="T12" fmla="*/ 445 w 500"/>
                <a:gd name="T13" fmla="*/ 157 h 254"/>
                <a:gd name="T14" fmla="*/ 420 w 500"/>
                <a:gd name="T15" fmla="*/ 137 h 254"/>
                <a:gd name="T16" fmla="*/ 400 w 500"/>
                <a:gd name="T17" fmla="*/ 108 h 254"/>
                <a:gd name="T18" fmla="*/ 382 w 500"/>
                <a:gd name="T19" fmla="*/ 89 h 254"/>
                <a:gd name="T20" fmla="*/ 360 w 500"/>
                <a:gd name="T21" fmla="*/ 88 h 254"/>
                <a:gd name="T22" fmla="*/ 348 w 500"/>
                <a:gd name="T23" fmla="*/ 85 h 254"/>
                <a:gd name="T24" fmla="*/ 317 w 500"/>
                <a:gd name="T25" fmla="*/ 91 h 254"/>
                <a:gd name="T26" fmla="*/ 297 w 500"/>
                <a:gd name="T27" fmla="*/ 103 h 254"/>
                <a:gd name="T28" fmla="*/ 279 w 500"/>
                <a:gd name="T29" fmla="*/ 97 h 254"/>
                <a:gd name="T30" fmla="*/ 272 w 500"/>
                <a:gd name="T31" fmla="*/ 80 h 254"/>
                <a:gd name="T32" fmla="*/ 228 w 500"/>
                <a:gd name="T33" fmla="*/ 57 h 254"/>
                <a:gd name="T34" fmla="*/ 212 w 500"/>
                <a:gd name="T35" fmla="*/ 42 h 254"/>
                <a:gd name="T36" fmla="*/ 191 w 500"/>
                <a:gd name="T37" fmla="*/ 42 h 254"/>
                <a:gd name="T38" fmla="*/ 155 w 500"/>
                <a:gd name="T39" fmla="*/ 40 h 254"/>
                <a:gd name="T40" fmla="*/ 129 w 500"/>
                <a:gd name="T41" fmla="*/ 37 h 254"/>
                <a:gd name="T42" fmla="*/ 106 w 500"/>
                <a:gd name="T43" fmla="*/ 28 h 254"/>
                <a:gd name="T44" fmla="*/ 80 w 500"/>
                <a:gd name="T45" fmla="*/ 22 h 254"/>
                <a:gd name="T46" fmla="*/ 43 w 500"/>
                <a:gd name="T47" fmla="*/ 6 h 254"/>
                <a:gd name="T48" fmla="*/ 0 w 500"/>
                <a:gd name="T49" fmla="*/ 18 h 254"/>
                <a:gd name="T50" fmla="*/ 18 w 500"/>
                <a:gd name="T51" fmla="*/ 28 h 254"/>
                <a:gd name="T52" fmla="*/ 29 w 500"/>
                <a:gd name="T53" fmla="*/ 42 h 254"/>
                <a:gd name="T54" fmla="*/ 45 w 500"/>
                <a:gd name="T55" fmla="*/ 49 h 254"/>
                <a:gd name="T56" fmla="*/ 68 w 500"/>
                <a:gd name="T57" fmla="*/ 55 h 254"/>
                <a:gd name="T58" fmla="*/ 88 w 500"/>
                <a:gd name="T59" fmla="*/ 79 h 254"/>
                <a:gd name="T60" fmla="*/ 98 w 500"/>
                <a:gd name="T61" fmla="*/ 82 h 254"/>
                <a:gd name="T62" fmla="*/ 117 w 500"/>
                <a:gd name="T63" fmla="*/ 120 h 254"/>
                <a:gd name="T64" fmla="*/ 128 w 500"/>
                <a:gd name="T65" fmla="*/ 149 h 254"/>
                <a:gd name="T66" fmla="*/ 132 w 500"/>
                <a:gd name="T67" fmla="*/ 180 h 254"/>
                <a:gd name="T68" fmla="*/ 115 w 500"/>
                <a:gd name="T69" fmla="*/ 208 h 254"/>
                <a:gd name="T70" fmla="*/ 129 w 500"/>
                <a:gd name="T71" fmla="*/ 212 h 254"/>
                <a:gd name="T72" fmla="*/ 143 w 500"/>
                <a:gd name="T73" fmla="*/ 209 h 254"/>
                <a:gd name="T74" fmla="*/ 162 w 500"/>
                <a:gd name="T75" fmla="*/ 209 h 254"/>
                <a:gd name="T76" fmla="*/ 189 w 500"/>
                <a:gd name="T77" fmla="*/ 211 h 254"/>
                <a:gd name="T78" fmla="*/ 200 w 500"/>
                <a:gd name="T79" fmla="*/ 200 h 254"/>
                <a:gd name="T80" fmla="*/ 208 w 500"/>
                <a:gd name="T81" fmla="*/ 208 h 254"/>
                <a:gd name="T82" fmla="*/ 217 w 500"/>
                <a:gd name="T83" fmla="*/ 212 h 254"/>
                <a:gd name="T84" fmla="*/ 231 w 500"/>
                <a:gd name="T85" fmla="*/ 225 h 254"/>
                <a:gd name="T86" fmla="*/ 236 w 500"/>
                <a:gd name="T87" fmla="*/ 234 h 254"/>
                <a:gd name="T88" fmla="*/ 257 w 500"/>
                <a:gd name="T89" fmla="*/ 243 h 254"/>
                <a:gd name="T90" fmla="*/ 282 w 500"/>
                <a:gd name="T91" fmla="*/ 248 h 254"/>
                <a:gd name="T92" fmla="*/ 303 w 500"/>
                <a:gd name="T93" fmla="*/ 240 h 254"/>
                <a:gd name="T94" fmla="*/ 314 w 500"/>
                <a:gd name="T95" fmla="*/ 236 h 254"/>
                <a:gd name="T96" fmla="*/ 326 w 500"/>
                <a:gd name="T97" fmla="*/ 237 h 254"/>
                <a:gd name="T98" fmla="*/ 339 w 500"/>
                <a:gd name="T99" fmla="*/ 240 h 254"/>
                <a:gd name="T100" fmla="*/ 360 w 500"/>
                <a:gd name="T101" fmla="*/ 237 h 254"/>
                <a:gd name="T102" fmla="*/ 371 w 500"/>
                <a:gd name="T103" fmla="*/ 233 h 254"/>
                <a:gd name="T104" fmla="*/ 402 w 500"/>
                <a:gd name="T105" fmla="*/ 216 h 254"/>
                <a:gd name="T106" fmla="*/ 430 w 500"/>
                <a:gd name="T107" fmla="*/ 225 h 254"/>
                <a:gd name="T108" fmla="*/ 447 w 500"/>
                <a:gd name="T109" fmla="*/ 242 h 254"/>
                <a:gd name="T110" fmla="*/ 467 w 500"/>
                <a:gd name="T111" fmla="*/ 240 h 254"/>
                <a:gd name="T112" fmla="*/ 487 w 500"/>
                <a:gd name="T113" fmla="*/ 253 h 254"/>
                <a:gd name="T114" fmla="*/ 496 w 500"/>
                <a:gd name="T115" fmla="*/ 243 h 254"/>
                <a:gd name="T116" fmla="*/ 499 w 500"/>
                <a:gd name="T117" fmla="*/ 2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254">
                  <a:moveTo>
                    <a:pt x="499" y="229"/>
                  </a:moveTo>
                  <a:lnTo>
                    <a:pt x="497" y="226"/>
                  </a:lnTo>
                  <a:lnTo>
                    <a:pt x="496" y="225"/>
                  </a:lnTo>
                  <a:lnTo>
                    <a:pt x="496" y="225"/>
                  </a:lnTo>
                  <a:lnTo>
                    <a:pt x="496" y="223"/>
                  </a:lnTo>
                  <a:lnTo>
                    <a:pt x="494" y="223"/>
                  </a:lnTo>
                  <a:lnTo>
                    <a:pt x="493" y="225"/>
                  </a:lnTo>
                  <a:lnTo>
                    <a:pt x="493" y="222"/>
                  </a:lnTo>
                  <a:lnTo>
                    <a:pt x="488" y="219"/>
                  </a:lnTo>
                  <a:lnTo>
                    <a:pt x="482" y="216"/>
                  </a:lnTo>
                  <a:lnTo>
                    <a:pt x="477" y="212"/>
                  </a:lnTo>
                  <a:lnTo>
                    <a:pt x="476" y="212"/>
                  </a:lnTo>
                  <a:lnTo>
                    <a:pt x="476" y="212"/>
                  </a:lnTo>
                  <a:lnTo>
                    <a:pt x="471" y="209"/>
                  </a:lnTo>
                  <a:lnTo>
                    <a:pt x="470" y="208"/>
                  </a:lnTo>
                  <a:lnTo>
                    <a:pt x="470" y="206"/>
                  </a:lnTo>
                  <a:lnTo>
                    <a:pt x="470" y="202"/>
                  </a:lnTo>
                  <a:lnTo>
                    <a:pt x="470" y="202"/>
                  </a:lnTo>
                  <a:lnTo>
                    <a:pt x="468" y="199"/>
                  </a:lnTo>
                  <a:lnTo>
                    <a:pt x="467" y="197"/>
                  </a:lnTo>
                  <a:lnTo>
                    <a:pt x="467" y="197"/>
                  </a:lnTo>
                  <a:lnTo>
                    <a:pt x="465" y="199"/>
                  </a:lnTo>
                  <a:lnTo>
                    <a:pt x="465" y="199"/>
                  </a:lnTo>
                  <a:lnTo>
                    <a:pt x="465" y="200"/>
                  </a:lnTo>
                  <a:lnTo>
                    <a:pt x="462" y="199"/>
                  </a:lnTo>
                  <a:lnTo>
                    <a:pt x="462" y="194"/>
                  </a:lnTo>
                  <a:lnTo>
                    <a:pt x="462" y="188"/>
                  </a:lnTo>
                  <a:lnTo>
                    <a:pt x="462" y="185"/>
                  </a:lnTo>
                  <a:lnTo>
                    <a:pt x="463" y="183"/>
                  </a:lnTo>
                  <a:lnTo>
                    <a:pt x="465" y="183"/>
                  </a:lnTo>
                  <a:lnTo>
                    <a:pt x="470" y="185"/>
                  </a:lnTo>
                  <a:lnTo>
                    <a:pt x="471" y="183"/>
                  </a:lnTo>
                  <a:lnTo>
                    <a:pt x="471" y="183"/>
                  </a:lnTo>
                  <a:lnTo>
                    <a:pt x="473" y="182"/>
                  </a:lnTo>
                  <a:lnTo>
                    <a:pt x="476" y="179"/>
                  </a:lnTo>
                  <a:lnTo>
                    <a:pt x="477" y="176"/>
                  </a:lnTo>
                  <a:lnTo>
                    <a:pt x="480" y="169"/>
                  </a:lnTo>
                  <a:lnTo>
                    <a:pt x="479" y="168"/>
                  </a:lnTo>
                  <a:lnTo>
                    <a:pt x="477" y="166"/>
                  </a:lnTo>
                  <a:lnTo>
                    <a:pt x="473" y="166"/>
                  </a:lnTo>
                  <a:lnTo>
                    <a:pt x="470" y="165"/>
                  </a:lnTo>
                  <a:lnTo>
                    <a:pt x="467" y="162"/>
                  </a:lnTo>
                  <a:lnTo>
                    <a:pt x="465" y="160"/>
                  </a:lnTo>
                  <a:lnTo>
                    <a:pt x="465" y="160"/>
                  </a:lnTo>
                  <a:lnTo>
                    <a:pt x="463" y="160"/>
                  </a:lnTo>
                  <a:lnTo>
                    <a:pt x="463" y="160"/>
                  </a:lnTo>
                  <a:lnTo>
                    <a:pt x="462" y="160"/>
                  </a:lnTo>
                  <a:lnTo>
                    <a:pt x="462" y="160"/>
                  </a:lnTo>
                  <a:lnTo>
                    <a:pt x="462" y="160"/>
                  </a:lnTo>
                  <a:lnTo>
                    <a:pt x="457" y="160"/>
                  </a:lnTo>
                  <a:lnTo>
                    <a:pt x="456" y="160"/>
                  </a:lnTo>
                  <a:lnTo>
                    <a:pt x="454" y="160"/>
                  </a:lnTo>
                  <a:lnTo>
                    <a:pt x="453" y="157"/>
                  </a:lnTo>
                  <a:lnTo>
                    <a:pt x="453" y="157"/>
                  </a:lnTo>
                  <a:lnTo>
                    <a:pt x="451" y="157"/>
                  </a:lnTo>
                  <a:lnTo>
                    <a:pt x="450" y="157"/>
                  </a:lnTo>
                  <a:lnTo>
                    <a:pt x="450" y="157"/>
                  </a:lnTo>
                  <a:lnTo>
                    <a:pt x="448" y="156"/>
                  </a:lnTo>
                  <a:lnTo>
                    <a:pt x="448" y="156"/>
                  </a:lnTo>
                  <a:lnTo>
                    <a:pt x="447" y="156"/>
                  </a:lnTo>
                  <a:lnTo>
                    <a:pt x="447" y="157"/>
                  </a:lnTo>
                  <a:lnTo>
                    <a:pt x="447" y="157"/>
                  </a:lnTo>
                  <a:lnTo>
                    <a:pt x="445" y="157"/>
                  </a:lnTo>
                  <a:lnTo>
                    <a:pt x="443" y="156"/>
                  </a:lnTo>
                  <a:lnTo>
                    <a:pt x="442" y="156"/>
                  </a:lnTo>
                  <a:lnTo>
                    <a:pt x="440" y="149"/>
                  </a:lnTo>
                  <a:lnTo>
                    <a:pt x="439" y="149"/>
                  </a:lnTo>
                  <a:lnTo>
                    <a:pt x="434" y="148"/>
                  </a:lnTo>
                  <a:lnTo>
                    <a:pt x="426" y="142"/>
                  </a:lnTo>
                  <a:lnTo>
                    <a:pt x="423" y="140"/>
                  </a:lnTo>
                  <a:lnTo>
                    <a:pt x="420" y="139"/>
                  </a:lnTo>
                  <a:lnTo>
                    <a:pt x="420" y="137"/>
                  </a:lnTo>
                  <a:lnTo>
                    <a:pt x="428" y="114"/>
                  </a:lnTo>
                  <a:lnTo>
                    <a:pt x="430" y="112"/>
                  </a:lnTo>
                  <a:lnTo>
                    <a:pt x="430" y="112"/>
                  </a:lnTo>
                  <a:lnTo>
                    <a:pt x="426" y="108"/>
                  </a:lnTo>
                  <a:lnTo>
                    <a:pt x="420" y="106"/>
                  </a:lnTo>
                  <a:lnTo>
                    <a:pt x="414" y="105"/>
                  </a:lnTo>
                  <a:lnTo>
                    <a:pt x="410" y="105"/>
                  </a:lnTo>
                  <a:lnTo>
                    <a:pt x="403" y="106"/>
                  </a:lnTo>
                  <a:lnTo>
                    <a:pt x="400" y="108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6" y="103"/>
                  </a:lnTo>
                  <a:lnTo>
                    <a:pt x="396" y="102"/>
                  </a:lnTo>
                  <a:lnTo>
                    <a:pt x="394" y="100"/>
                  </a:lnTo>
                  <a:lnTo>
                    <a:pt x="388" y="91"/>
                  </a:lnTo>
                  <a:lnTo>
                    <a:pt x="385" y="89"/>
                  </a:lnTo>
                  <a:lnTo>
                    <a:pt x="383" y="89"/>
                  </a:lnTo>
                  <a:lnTo>
                    <a:pt x="382" y="89"/>
                  </a:lnTo>
                  <a:lnTo>
                    <a:pt x="379" y="89"/>
                  </a:lnTo>
                  <a:lnTo>
                    <a:pt x="379" y="89"/>
                  </a:lnTo>
                  <a:lnTo>
                    <a:pt x="377" y="91"/>
                  </a:lnTo>
                  <a:lnTo>
                    <a:pt x="376" y="89"/>
                  </a:lnTo>
                  <a:lnTo>
                    <a:pt x="374" y="89"/>
                  </a:lnTo>
                  <a:lnTo>
                    <a:pt x="366" y="83"/>
                  </a:lnTo>
                  <a:lnTo>
                    <a:pt x="363" y="83"/>
                  </a:lnTo>
                  <a:lnTo>
                    <a:pt x="362" y="85"/>
                  </a:lnTo>
                  <a:lnTo>
                    <a:pt x="360" y="88"/>
                  </a:lnTo>
                  <a:lnTo>
                    <a:pt x="359" y="92"/>
                  </a:lnTo>
                  <a:lnTo>
                    <a:pt x="357" y="97"/>
                  </a:lnTo>
                  <a:lnTo>
                    <a:pt x="357" y="99"/>
                  </a:lnTo>
                  <a:lnTo>
                    <a:pt x="356" y="97"/>
                  </a:lnTo>
                  <a:lnTo>
                    <a:pt x="354" y="91"/>
                  </a:lnTo>
                  <a:lnTo>
                    <a:pt x="353" y="89"/>
                  </a:lnTo>
                  <a:lnTo>
                    <a:pt x="351" y="88"/>
                  </a:lnTo>
                  <a:lnTo>
                    <a:pt x="349" y="86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5" y="85"/>
                  </a:lnTo>
                  <a:lnTo>
                    <a:pt x="340" y="83"/>
                  </a:lnTo>
                  <a:lnTo>
                    <a:pt x="337" y="83"/>
                  </a:lnTo>
                  <a:lnTo>
                    <a:pt x="336" y="85"/>
                  </a:lnTo>
                  <a:lnTo>
                    <a:pt x="329" y="88"/>
                  </a:lnTo>
                  <a:lnTo>
                    <a:pt x="326" y="88"/>
                  </a:lnTo>
                  <a:lnTo>
                    <a:pt x="320" y="89"/>
                  </a:lnTo>
                  <a:lnTo>
                    <a:pt x="317" y="91"/>
                  </a:lnTo>
                  <a:lnTo>
                    <a:pt x="317" y="94"/>
                  </a:lnTo>
                  <a:lnTo>
                    <a:pt x="316" y="95"/>
                  </a:lnTo>
                  <a:lnTo>
                    <a:pt x="314" y="95"/>
                  </a:lnTo>
                  <a:lnTo>
                    <a:pt x="313" y="97"/>
                  </a:lnTo>
                  <a:lnTo>
                    <a:pt x="311" y="97"/>
                  </a:lnTo>
                  <a:lnTo>
                    <a:pt x="303" y="97"/>
                  </a:lnTo>
                  <a:lnTo>
                    <a:pt x="300" y="99"/>
                  </a:lnTo>
                  <a:lnTo>
                    <a:pt x="299" y="100"/>
                  </a:lnTo>
                  <a:lnTo>
                    <a:pt x="297" y="103"/>
                  </a:lnTo>
                  <a:lnTo>
                    <a:pt x="296" y="103"/>
                  </a:lnTo>
                  <a:lnTo>
                    <a:pt x="296" y="103"/>
                  </a:lnTo>
                  <a:lnTo>
                    <a:pt x="294" y="103"/>
                  </a:lnTo>
                  <a:lnTo>
                    <a:pt x="293" y="102"/>
                  </a:lnTo>
                  <a:lnTo>
                    <a:pt x="291" y="102"/>
                  </a:lnTo>
                  <a:lnTo>
                    <a:pt x="288" y="100"/>
                  </a:lnTo>
                  <a:lnTo>
                    <a:pt x="285" y="100"/>
                  </a:lnTo>
                  <a:lnTo>
                    <a:pt x="280" y="99"/>
                  </a:lnTo>
                  <a:lnTo>
                    <a:pt x="279" y="97"/>
                  </a:lnTo>
                  <a:lnTo>
                    <a:pt x="279" y="94"/>
                  </a:lnTo>
                  <a:lnTo>
                    <a:pt x="282" y="91"/>
                  </a:lnTo>
                  <a:lnTo>
                    <a:pt x="283" y="89"/>
                  </a:lnTo>
                  <a:lnTo>
                    <a:pt x="285" y="88"/>
                  </a:lnTo>
                  <a:lnTo>
                    <a:pt x="285" y="85"/>
                  </a:lnTo>
                  <a:lnTo>
                    <a:pt x="283" y="83"/>
                  </a:lnTo>
                  <a:lnTo>
                    <a:pt x="282" y="83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69" y="77"/>
                  </a:lnTo>
                  <a:lnTo>
                    <a:pt x="268" y="75"/>
                  </a:lnTo>
                  <a:lnTo>
                    <a:pt x="263" y="72"/>
                  </a:lnTo>
                  <a:lnTo>
                    <a:pt x="260" y="72"/>
                  </a:lnTo>
                  <a:lnTo>
                    <a:pt x="254" y="69"/>
                  </a:lnTo>
                  <a:lnTo>
                    <a:pt x="240" y="66"/>
                  </a:lnTo>
                  <a:lnTo>
                    <a:pt x="239" y="65"/>
                  </a:lnTo>
                  <a:lnTo>
                    <a:pt x="237" y="65"/>
                  </a:lnTo>
                  <a:lnTo>
                    <a:pt x="228" y="57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5" y="51"/>
                  </a:lnTo>
                  <a:lnTo>
                    <a:pt x="225" y="49"/>
                  </a:lnTo>
                  <a:lnTo>
                    <a:pt x="225" y="49"/>
                  </a:lnTo>
                  <a:lnTo>
                    <a:pt x="219" y="46"/>
                  </a:lnTo>
                  <a:lnTo>
                    <a:pt x="217" y="45"/>
                  </a:lnTo>
                  <a:lnTo>
                    <a:pt x="214" y="43"/>
                  </a:lnTo>
                  <a:lnTo>
                    <a:pt x="212" y="42"/>
                  </a:lnTo>
                  <a:lnTo>
                    <a:pt x="209" y="40"/>
                  </a:lnTo>
                  <a:lnTo>
                    <a:pt x="206" y="40"/>
                  </a:lnTo>
                  <a:lnTo>
                    <a:pt x="203" y="42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197" y="45"/>
                  </a:lnTo>
                  <a:lnTo>
                    <a:pt x="197" y="45"/>
                  </a:lnTo>
                  <a:lnTo>
                    <a:pt x="195" y="45"/>
                  </a:lnTo>
                  <a:lnTo>
                    <a:pt x="191" y="42"/>
                  </a:lnTo>
                  <a:lnTo>
                    <a:pt x="188" y="40"/>
                  </a:lnTo>
                  <a:lnTo>
                    <a:pt x="186" y="38"/>
                  </a:lnTo>
                  <a:lnTo>
                    <a:pt x="182" y="35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65" y="35"/>
                  </a:lnTo>
                  <a:lnTo>
                    <a:pt x="163" y="37"/>
                  </a:lnTo>
                  <a:lnTo>
                    <a:pt x="162" y="37"/>
                  </a:lnTo>
                  <a:lnTo>
                    <a:pt x="155" y="40"/>
                  </a:lnTo>
                  <a:lnTo>
                    <a:pt x="154" y="40"/>
                  </a:lnTo>
                  <a:lnTo>
                    <a:pt x="151" y="40"/>
                  </a:lnTo>
                  <a:lnTo>
                    <a:pt x="149" y="40"/>
                  </a:lnTo>
                  <a:lnTo>
                    <a:pt x="146" y="38"/>
                  </a:lnTo>
                  <a:lnTo>
                    <a:pt x="145" y="37"/>
                  </a:lnTo>
                  <a:lnTo>
                    <a:pt x="142" y="37"/>
                  </a:lnTo>
                  <a:lnTo>
                    <a:pt x="137" y="38"/>
                  </a:lnTo>
                  <a:lnTo>
                    <a:pt x="135" y="38"/>
                  </a:lnTo>
                  <a:lnTo>
                    <a:pt x="129" y="37"/>
                  </a:lnTo>
                  <a:lnTo>
                    <a:pt x="128" y="35"/>
                  </a:lnTo>
                  <a:lnTo>
                    <a:pt x="122" y="37"/>
                  </a:lnTo>
                  <a:lnTo>
                    <a:pt x="118" y="37"/>
                  </a:lnTo>
                  <a:lnTo>
                    <a:pt x="117" y="35"/>
                  </a:lnTo>
                  <a:lnTo>
                    <a:pt x="114" y="32"/>
                  </a:lnTo>
                  <a:lnTo>
                    <a:pt x="112" y="31"/>
                  </a:lnTo>
                  <a:lnTo>
                    <a:pt x="108" y="29"/>
                  </a:lnTo>
                  <a:lnTo>
                    <a:pt x="106" y="29"/>
                  </a:lnTo>
                  <a:lnTo>
                    <a:pt x="106" y="28"/>
                  </a:lnTo>
                  <a:lnTo>
                    <a:pt x="105" y="26"/>
                  </a:lnTo>
                  <a:lnTo>
                    <a:pt x="105" y="25"/>
                  </a:lnTo>
                  <a:lnTo>
                    <a:pt x="102" y="23"/>
                  </a:lnTo>
                  <a:lnTo>
                    <a:pt x="97" y="25"/>
                  </a:lnTo>
                  <a:lnTo>
                    <a:pt x="94" y="23"/>
                  </a:lnTo>
                  <a:lnTo>
                    <a:pt x="92" y="22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0" y="22"/>
                  </a:lnTo>
                  <a:lnTo>
                    <a:pt x="77" y="20"/>
                  </a:lnTo>
                  <a:lnTo>
                    <a:pt x="66" y="12"/>
                  </a:lnTo>
                  <a:lnTo>
                    <a:pt x="65" y="11"/>
                  </a:lnTo>
                  <a:lnTo>
                    <a:pt x="57" y="8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3" y="6"/>
                  </a:lnTo>
                  <a:lnTo>
                    <a:pt x="40" y="8"/>
                  </a:lnTo>
                  <a:lnTo>
                    <a:pt x="37" y="6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1" y="17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2" y="23"/>
                  </a:lnTo>
                  <a:lnTo>
                    <a:pt x="15" y="25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21" y="31"/>
                  </a:lnTo>
                  <a:lnTo>
                    <a:pt x="21" y="34"/>
                  </a:lnTo>
                  <a:lnTo>
                    <a:pt x="21" y="37"/>
                  </a:lnTo>
                  <a:lnTo>
                    <a:pt x="23" y="37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7" y="45"/>
                  </a:lnTo>
                  <a:lnTo>
                    <a:pt x="40" y="45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5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60" y="49"/>
                  </a:lnTo>
                  <a:lnTo>
                    <a:pt x="65" y="52"/>
                  </a:lnTo>
                  <a:lnTo>
                    <a:pt x="66" y="52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9" y="57"/>
                  </a:lnTo>
                  <a:lnTo>
                    <a:pt x="71" y="60"/>
                  </a:lnTo>
                  <a:lnTo>
                    <a:pt x="72" y="62"/>
                  </a:lnTo>
                  <a:lnTo>
                    <a:pt x="75" y="60"/>
                  </a:lnTo>
                  <a:lnTo>
                    <a:pt x="78" y="60"/>
                  </a:lnTo>
                  <a:lnTo>
                    <a:pt x="78" y="63"/>
                  </a:lnTo>
                  <a:lnTo>
                    <a:pt x="81" y="68"/>
                  </a:lnTo>
                  <a:lnTo>
                    <a:pt x="85" y="74"/>
                  </a:lnTo>
                  <a:lnTo>
                    <a:pt x="88" y="79"/>
                  </a:lnTo>
                  <a:lnTo>
                    <a:pt x="88" y="80"/>
                  </a:lnTo>
                  <a:lnTo>
                    <a:pt x="89" y="80"/>
                  </a:lnTo>
                  <a:lnTo>
                    <a:pt x="91" y="79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5" y="79"/>
                  </a:lnTo>
                  <a:lnTo>
                    <a:pt x="97" y="80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5" y="83"/>
                  </a:lnTo>
                  <a:lnTo>
                    <a:pt x="108" y="85"/>
                  </a:lnTo>
                  <a:lnTo>
                    <a:pt x="111" y="88"/>
                  </a:lnTo>
                  <a:lnTo>
                    <a:pt x="112" y="91"/>
                  </a:lnTo>
                  <a:lnTo>
                    <a:pt x="114" y="95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20" y="125"/>
                  </a:lnTo>
                  <a:lnTo>
                    <a:pt x="125" y="139"/>
                  </a:lnTo>
                  <a:lnTo>
                    <a:pt x="125" y="143"/>
                  </a:lnTo>
                  <a:lnTo>
                    <a:pt x="125" y="146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8" y="149"/>
                  </a:lnTo>
                  <a:lnTo>
                    <a:pt x="129" y="152"/>
                  </a:lnTo>
                  <a:lnTo>
                    <a:pt x="132" y="159"/>
                  </a:lnTo>
                  <a:lnTo>
                    <a:pt x="132" y="160"/>
                  </a:lnTo>
                  <a:lnTo>
                    <a:pt x="132" y="162"/>
                  </a:lnTo>
                  <a:lnTo>
                    <a:pt x="134" y="168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2" y="179"/>
                  </a:lnTo>
                  <a:lnTo>
                    <a:pt x="132" y="180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3"/>
                  </a:lnTo>
                  <a:lnTo>
                    <a:pt x="131" y="185"/>
                  </a:lnTo>
                  <a:lnTo>
                    <a:pt x="128" y="189"/>
                  </a:lnTo>
                  <a:lnTo>
                    <a:pt x="126" y="192"/>
                  </a:lnTo>
                  <a:lnTo>
                    <a:pt x="122" y="196"/>
                  </a:lnTo>
                  <a:lnTo>
                    <a:pt x="120" y="199"/>
                  </a:lnTo>
                  <a:lnTo>
                    <a:pt x="115" y="208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6" y="211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2"/>
                  </a:lnTo>
                  <a:lnTo>
                    <a:pt x="129" y="212"/>
                  </a:lnTo>
                  <a:lnTo>
                    <a:pt x="129" y="212"/>
                  </a:lnTo>
                  <a:lnTo>
                    <a:pt x="132" y="212"/>
                  </a:lnTo>
                  <a:lnTo>
                    <a:pt x="132" y="214"/>
                  </a:lnTo>
                  <a:lnTo>
                    <a:pt x="135" y="216"/>
                  </a:lnTo>
                  <a:lnTo>
                    <a:pt x="137" y="217"/>
                  </a:lnTo>
                  <a:lnTo>
                    <a:pt x="137" y="216"/>
                  </a:lnTo>
                  <a:lnTo>
                    <a:pt x="140" y="214"/>
                  </a:lnTo>
                  <a:lnTo>
                    <a:pt x="143" y="211"/>
                  </a:lnTo>
                  <a:lnTo>
                    <a:pt x="143" y="209"/>
                  </a:lnTo>
                  <a:lnTo>
                    <a:pt x="146" y="208"/>
                  </a:lnTo>
                  <a:lnTo>
                    <a:pt x="152" y="211"/>
                  </a:lnTo>
                  <a:lnTo>
                    <a:pt x="154" y="209"/>
                  </a:lnTo>
                  <a:lnTo>
                    <a:pt x="155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9" y="209"/>
                  </a:lnTo>
                  <a:lnTo>
                    <a:pt x="162" y="209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5" y="211"/>
                  </a:lnTo>
                  <a:lnTo>
                    <a:pt x="166" y="211"/>
                  </a:lnTo>
                  <a:lnTo>
                    <a:pt x="169" y="211"/>
                  </a:lnTo>
                  <a:lnTo>
                    <a:pt x="183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4"/>
                  </a:lnTo>
                  <a:lnTo>
                    <a:pt x="189" y="211"/>
                  </a:lnTo>
                  <a:lnTo>
                    <a:pt x="191" y="209"/>
                  </a:lnTo>
                  <a:lnTo>
                    <a:pt x="191" y="208"/>
                  </a:lnTo>
                  <a:lnTo>
                    <a:pt x="192" y="203"/>
                  </a:lnTo>
                  <a:lnTo>
                    <a:pt x="192" y="202"/>
                  </a:lnTo>
                  <a:lnTo>
                    <a:pt x="194" y="202"/>
                  </a:lnTo>
                  <a:lnTo>
                    <a:pt x="194" y="202"/>
                  </a:lnTo>
                  <a:lnTo>
                    <a:pt x="194" y="200"/>
                  </a:lnTo>
                  <a:lnTo>
                    <a:pt x="195" y="200"/>
                  </a:lnTo>
                  <a:lnTo>
                    <a:pt x="200" y="200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09" y="206"/>
                  </a:lnTo>
                  <a:lnTo>
                    <a:pt x="208" y="208"/>
                  </a:lnTo>
                  <a:lnTo>
                    <a:pt x="208" y="208"/>
                  </a:lnTo>
                  <a:lnTo>
                    <a:pt x="209" y="209"/>
                  </a:lnTo>
                  <a:lnTo>
                    <a:pt x="211" y="211"/>
                  </a:lnTo>
                  <a:lnTo>
                    <a:pt x="212" y="211"/>
                  </a:lnTo>
                  <a:lnTo>
                    <a:pt x="214" y="209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15" y="211"/>
                  </a:lnTo>
                  <a:lnTo>
                    <a:pt x="217" y="212"/>
                  </a:lnTo>
                  <a:lnTo>
                    <a:pt x="217" y="212"/>
                  </a:lnTo>
                  <a:lnTo>
                    <a:pt x="220" y="212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22" y="214"/>
                  </a:lnTo>
                  <a:lnTo>
                    <a:pt x="222" y="216"/>
                  </a:lnTo>
                  <a:lnTo>
                    <a:pt x="225" y="219"/>
                  </a:lnTo>
                  <a:lnTo>
                    <a:pt x="225" y="220"/>
                  </a:lnTo>
                  <a:lnTo>
                    <a:pt x="231" y="225"/>
                  </a:lnTo>
                  <a:lnTo>
                    <a:pt x="234" y="228"/>
                  </a:lnTo>
                  <a:lnTo>
                    <a:pt x="237" y="228"/>
                  </a:lnTo>
                  <a:lnTo>
                    <a:pt x="239" y="229"/>
                  </a:lnTo>
                  <a:lnTo>
                    <a:pt x="239" y="229"/>
                  </a:lnTo>
                  <a:lnTo>
                    <a:pt x="237" y="231"/>
                  </a:lnTo>
                  <a:lnTo>
                    <a:pt x="237" y="231"/>
                  </a:lnTo>
                  <a:lnTo>
                    <a:pt x="232" y="234"/>
                  </a:lnTo>
                  <a:lnTo>
                    <a:pt x="234" y="234"/>
                  </a:lnTo>
                  <a:lnTo>
                    <a:pt x="236" y="234"/>
                  </a:lnTo>
                  <a:lnTo>
                    <a:pt x="237" y="234"/>
                  </a:lnTo>
                  <a:lnTo>
                    <a:pt x="239" y="236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9" y="239"/>
                  </a:lnTo>
                  <a:lnTo>
                    <a:pt x="251" y="239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7" y="243"/>
                  </a:lnTo>
                  <a:lnTo>
                    <a:pt x="259" y="245"/>
                  </a:lnTo>
                  <a:lnTo>
                    <a:pt x="257" y="248"/>
                  </a:lnTo>
                  <a:lnTo>
                    <a:pt x="259" y="248"/>
                  </a:lnTo>
                  <a:lnTo>
                    <a:pt x="259" y="248"/>
                  </a:lnTo>
                  <a:lnTo>
                    <a:pt x="260" y="248"/>
                  </a:lnTo>
                  <a:lnTo>
                    <a:pt x="263" y="246"/>
                  </a:lnTo>
                  <a:lnTo>
                    <a:pt x="268" y="246"/>
                  </a:lnTo>
                  <a:lnTo>
                    <a:pt x="279" y="248"/>
                  </a:lnTo>
                  <a:lnTo>
                    <a:pt x="282" y="248"/>
                  </a:lnTo>
                  <a:lnTo>
                    <a:pt x="283" y="246"/>
                  </a:lnTo>
                  <a:lnTo>
                    <a:pt x="286" y="243"/>
                  </a:lnTo>
                  <a:lnTo>
                    <a:pt x="289" y="242"/>
                  </a:lnTo>
                  <a:lnTo>
                    <a:pt x="296" y="242"/>
                  </a:lnTo>
                  <a:lnTo>
                    <a:pt x="297" y="242"/>
                  </a:lnTo>
                  <a:lnTo>
                    <a:pt x="297" y="242"/>
                  </a:lnTo>
                  <a:lnTo>
                    <a:pt x="300" y="242"/>
                  </a:lnTo>
                  <a:lnTo>
                    <a:pt x="302" y="240"/>
                  </a:lnTo>
                  <a:lnTo>
                    <a:pt x="303" y="240"/>
                  </a:lnTo>
                  <a:lnTo>
                    <a:pt x="306" y="240"/>
                  </a:lnTo>
                  <a:lnTo>
                    <a:pt x="308" y="240"/>
                  </a:lnTo>
                  <a:lnTo>
                    <a:pt x="309" y="240"/>
                  </a:lnTo>
                  <a:lnTo>
                    <a:pt x="311" y="239"/>
                  </a:lnTo>
                  <a:lnTo>
                    <a:pt x="311" y="237"/>
                  </a:lnTo>
                  <a:lnTo>
                    <a:pt x="311" y="237"/>
                  </a:lnTo>
                  <a:lnTo>
                    <a:pt x="313" y="236"/>
                  </a:lnTo>
                  <a:lnTo>
                    <a:pt x="313" y="236"/>
                  </a:lnTo>
                  <a:lnTo>
                    <a:pt x="314" y="236"/>
                  </a:lnTo>
                  <a:lnTo>
                    <a:pt x="316" y="236"/>
                  </a:lnTo>
                  <a:lnTo>
                    <a:pt x="319" y="239"/>
                  </a:lnTo>
                  <a:lnTo>
                    <a:pt x="320" y="239"/>
                  </a:lnTo>
                  <a:lnTo>
                    <a:pt x="322" y="239"/>
                  </a:lnTo>
                  <a:lnTo>
                    <a:pt x="323" y="239"/>
                  </a:lnTo>
                  <a:lnTo>
                    <a:pt x="323" y="239"/>
                  </a:lnTo>
                  <a:lnTo>
                    <a:pt x="325" y="237"/>
                  </a:lnTo>
                  <a:lnTo>
                    <a:pt x="325" y="237"/>
                  </a:lnTo>
                  <a:lnTo>
                    <a:pt x="326" y="237"/>
                  </a:lnTo>
                  <a:lnTo>
                    <a:pt x="329" y="240"/>
                  </a:lnTo>
                  <a:lnTo>
                    <a:pt x="331" y="240"/>
                  </a:lnTo>
                  <a:lnTo>
                    <a:pt x="333" y="240"/>
                  </a:lnTo>
                  <a:lnTo>
                    <a:pt x="336" y="240"/>
                  </a:lnTo>
                  <a:lnTo>
                    <a:pt x="337" y="239"/>
                  </a:lnTo>
                  <a:lnTo>
                    <a:pt x="337" y="237"/>
                  </a:lnTo>
                  <a:lnTo>
                    <a:pt x="337" y="237"/>
                  </a:lnTo>
                  <a:lnTo>
                    <a:pt x="339" y="239"/>
                  </a:lnTo>
                  <a:lnTo>
                    <a:pt x="339" y="240"/>
                  </a:lnTo>
                  <a:lnTo>
                    <a:pt x="339" y="240"/>
                  </a:lnTo>
                  <a:lnTo>
                    <a:pt x="340" y="240"/>
                  </a:lnTo>
                  <a:lnTo>
                    <a:pt x="342" y="240"/>
                  </a:lnTo>
                  <a:lnTo>
                    <a:pt x="342" y="239"/>
                  </a:lnTo>
                  <a:lnTo>
                    <a:pt x="343" y="237"/>
                  </a:lnTo>
                  <a:lnTo>
                    <a:pt x="345" y="236"/>
                  </a:lnTo>
                  <a:lnTo>
                    <a:pt x="346" y="237"/>
                  </a:lnTo>
                  <a:lnTo>
                    <a:pt x="349" y="237"/>
                  </a:lnTo>
                  <a:lnTo>
                    <a:pt x="360" y="237"/>
                  </a:lnTo>
                  <a:lnTo>
                    <a:pt x="362" y="237"/>
                  </a:lnTo>
                  <a:lnTo>
                    <a:pt x="363" y="237"/>
                  </a:lnTo>
                  <a:lnTo>
                    <a:pt x="363" y="236"/>
                  </a:lnTo>
                  <a:lnTo>
                    <a:pt x="362" y="236"/>
                  </a:lnTo>
                  <a:lnTo>
                    <a:pt x="360" y="234"/>
                  </a:lnTo>
                  <a:lnTo>
                    <a:pt x="359" y="233"/>
                  </a:lnTo>
                  <a:lnTo>
                    <a:pt x="360" y="231"/>
                  </a:lnTo>
                  <a:lnTo>
                    <a:pt x="368" y="233"/>
                  </a:lnTo>
                  <a:lnTo>
                    <a:pt x="371" y="233"/>
                  </a:lnTo>
                  <a:lnTo>
                    <a:pt x="371" y="231"/>
                  </a:lnTo>
                  <a:lnTo>
                    <a:pt x="373" y="229"/>
                  </a:lnTo>
                  <a:lnTo>
                    <a:pt x="374" y="229"/>
                  </a:lnTo>
                  <a:lnTo>
                    <a:pt x="382" y="223"/>
                  </a:lnTo>
                  <a:lnTo>
                    <a:pt x="393" y="214"/>
                  </a:lnTo>
                  <a:lnTo>
                    <a:pt x="394" y="214"/>
                  </a:lnTo>
                  <a:lnTo>
                    <a:pt x="397" y="214"/>
                  </a:lnTo>
                  <a:lnTo>
                    <a:pt x="399" y="214"/>
                  </a:lnTo>
                  <a:lnTo>
                    <a:pt x="402" y="216"/>
                  </a:lnTo>
                  <a:lnTo>
                    <a:pt x="403" y="217"/>
                  </a:lnTo>
                  <a:lnTo>
                    <a:pt x="405" y="216"/>
                  </a:lnTo>
                  <a:lnTo>
                    <a:pt x="408" y="216"/>
                  </a:lnTo>
                  <a:lnTo>
                    <a:pt x="408" y="216"/>
                  </a:lnTo>
                  <a:lnTo>
                    <a:pt x="410" y="217"/>
                  </a:lnTo>
                  <a:lnTo>
                    <a:pt x="413" y="219"/>
                  </a:lnTo>
                  <a:lnTo>
                    <a:pt x="422" y="223"/>
                  </a:lnTo>
                  <a:lnTo>
                    <a:pt x="428" y="225"/>
                  </a:lnTo>
                  <a:lnTo>
                    <a:pt x="430" y="225"/>
                  </a:lnTo>
                  <a:lnTo>
                    <a:pt x="430" y="226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5" y="229"/>
                  </a:lnTo>
                  <a:lnTo>
                    <a:pt x="426" y="233"/>
                  </a:lnTo>
                  <a:lnTo>
                    <a:pt x="430" y="234"/>
                  </a:lnTo>
                  <a:lnTo>
                    <a:pt x="431" y="236"/>
                  </a:lnTo>
                  <a:lnTo>
                    <a:pt x="434" y="237"/>
                  </a:lnTo>
                  <a:lnTo>
                    <a:pt x="447" y="242"/>
                  </a:lnTo>
                  <a:lnTo>
                    <a:pt x="450" y="242"/>
                  </a:lnTo>
                  <a:lnTo>
                    <a:pt x="451" y="242"/>
                  </a:lnTo>
                  <a:lnTo>
                    <a:pt x="453" y="242"/>
                  </a:lnTo>
                  <a:lnTo>
                    <a:pt x="454" y="240"/>
                  </a:lnTo>
                  <a:lnTo>
                    <a:pt x="457" y="239"/>
                  </a:lnTo>
                  <a:lnTo>
                    <a:pt x="459" y="239"/>
                  </a:lnTo>
                  <a:lnTo>
                    <a:pt x="463" y="239"/>
                  </a:lnTo>
                  <a:lnTo>
                    <a:pt x="465" y="239"/>
                  </a:lnTo>
                  <a:lnTo>
                    <a:pt x="467" y="240"/>
                  </a:lnTo>
                  <a:lnTo>
                    <a:pt x="468" y="243"/>
                  </a:lnTo>
                  <a:lnTo>
                    <a:pt x="473" y="246"/>
                  </a:lnTo>
                  <a:lnTo>
                    <a:pt x="474" y="248"/>
                  </a:lnTo>
                  <a:lnTo>
                    <a:pt x="479" y="249"/>
                  </a:lnTo>
                  <a:lnTo>
                    <a:pt x="480" y="249"/>
                  </a:lnTo>
                  <a:lnTo>
                    <a:pt x="482" y="253"/>
                  </a:lnTo>
                  <a:lnTo>
                    <a:pt x="483" y="254"/>
                  </a:lnTo>
                  <a:lnTo>
                    <a:pt x="485" y="254"/>
                  </a:lnTo>
                  <a:lnTo>
                    <a:pt x="487" y="253"/>
                  </a:lnTo>
                  <a:lnTo>
                    <a:pt x="487" y="251"/>
                  </a:lnTo>
                  <a:lnTo>
                    <a:pt x="487" y="249"/>
                  </a:lnTo>
                  <a:lnTo>
                    <a:pt x="488" y="248"/>
                  </a:lnTo>
                  <a:lnTo>
                    <a:pt x="490" y="249"/>
                  </a:lnTo>
                  <a:lnTo>
                    <a:pt x="491" y="249"/>
                  </a:lnTo>
                  <a:lnTo>
                    <a:pt x="493" y="249"/>
                  </a:lnTo>
                  <a:lnTo>
                    <a:pt x="494" y="248"/>
                  </a:lnTo>
                  <a:lnTo>
                    <a:pt x="494" y="246"/>
                  </a:lnTo>
                  <a:lnTo>
                    <a:pt x="496" y="243"/>
                  </a:lnTo>
                  <a:lnTo>
                    <a:pt x="496" y="240"/>
                  </a:lnTo>
                  <a:lnTo>
                    <a:pt x="496" y="237"/>
                  </a:lnTo>
                  <a:lnTo>
                    <a:pt x="497" y="237"/>
                  </a:lnTo>
                  <a:lnTo>
                    <a:pt x="497" y="236"/>
                  </a:lnTo>
                  <a:lnTo>
                    <a:pt x="497" y="236"/>
                  </a:lnTo>
                  <a:lnTo>
                    <a:pt x="499" y="236"/>
                  </a:lnTo>
                  <a:lnTo>
                    <a:pt x="499" y="233"/>
                  </a:lnTo>
                  <a:lnTo>
                    <a:pt x="499" y="233"/>
                  </a:lnTo>
                  <a:lnTo>
                    <a:pt x="499" y="231"/>
                  </a:lnTo>
                  <a:lnTo>
                    <a:pt x="500" y="231"/>
                  </a:lnTo>
                  <a:lnTo>
                    <a:pt x="500" y="231"/>
                  </a:lnTo>
                  <a:lnTo>
                    <a:pt x="499" y="229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83"/>
            <p:cNvSpPr>
              <a:spLocks noEditPoints="1"/>
            </p:cNvSpPr>
            <p:nvPr/>
          </p:nvSpPr>
          <p:spPr bwMode="gray">
            <a:xfrm>
              <a:off x="5078413" y="6451601"/>
              <a:ext cx="1736725" cy="1660525"/>
            </a:xfrm>
            <a:custGeom>
              <a:avLst/>
              <a:gdLst>
                <a:gd name="T0" fmla="*/ 1077 w 1094"/>
                <a:gd name="T1" fmla="*/ 883 h 1046"/>
                <a:gd name="T2" fmla="*/ 1029 w 1094"/>
                <a:gd name="T3" fmla="*/ 930 h 1046"/>
                <a:gd name="T4" fmla="*/ 1018 w 1094"/>
                <a:gd name="T5" fmla="*/ 959 h 1046"/>
                <a:gd name="T6" fmla="*/ 1037 w 1094"/>
                <a:gd name="T7" fmla="*/ 993 h 1046"/>
                <a:gd name="T8" fmla="*/ 1040 w 1094"/>
                <a:gd name="T9" fmla="*/ 1029 h 1046"/>
                <a:gd name="T10" fmla="*/ 1071 w 1094"/>
                <a:gd name="T11" fmla="*/ 1036 h 1046"/>
                <a:gd name="T12" fmla="*/ 1094 w 1094"/>
                <a:gd name="T13" fmla="*/ 953 h 1046"/>
                <a:gd name="T14" fmla="*/ 270 w 1094"/>
                <a:gd name="T15" fmla="*/ 542 h 1046"/>
                <a:gd name="T16" fmla="*/ 222 w 1094"/>
                <a:gd name="T17" fmla="*/ 467 h 1046"/>
                <a:gd name="T18" fmla="*/ 949 w 1094"/>
                <a:gd name="T19" fmla="*/ 236 h 1046"/>
                <a:gd name="T20" fmla="*/ 881 w 1094"/>
                <a:gd name="T21" fmla="*/ 222 h 1046"/>
                <a:gd name="T22" fmla="*/ 818 w 1094"/>
                <a:gd name="T23" fmla="*/ 185 h 1046"/>
                <a:gd name="T24" fmla="*/ 752 w 1094"/>
                <a:gd name="T25" fmla="*/ 150 h 1046"/>
                <a:gd name="T26" fmla="*/ 690 w 1094"/>
                <a:gd name="T27" fmla="*/ 128 h 1046"/>
                <a:gd name="T28" fmla="*/ 653 w 1094"/>
                <a:gd name="T29" fmla="*/ 79 h 1046"/>
                <a:gd name="T30" fmla="*/ 578 w 1094"/>
                <a:gd name="T31" fmla="*/ 32 h 1046"/>
                <a:gd name="T32" fmla="*/ 501 w 1094"/>
                <a:gd name="T33" fmla="*/ 83 h 1046"/>
                <a:gd name="T34" fmla="*/ 401 w 1094"/>
                <a:gd name="T35" fmla="*/ 188 h 1046"/>
                <a:gd name="T36" fmla="*/ 288 w 1094"/>
                <a:gd name="T37" fmla="*/ 173 h 1046"/>
                <a:gd name="T38" fmla="*/ 245 w 1094"/>
                <a:gd name="T39" fmla="*/ 185 h 1046"/>
                <a:gd name="T40" fmla="*/ 264 w 1094"/>
                <a:gd name="T41" fmla="*/ 237 h 1046"/>
                <a:gd name="T42" fmla="*/ 244 w 1094"/>
                <a:gd name="T43" fmla="*/ 274 h 1046"/>
                <a:gd name="T44" fmla="*/ 219 w 1094"/>
                <a:gd name="T45" fmla="*/ 285 h 1046"/>
                <a:gd name="T46" fmla="*/ 173 w 1094"/>
                <a:gd name="T47" fmla="*/ 287 h 1046"/>
                <a:gd name="T48" fmla="*/ 142 w 1094"/>
                <a:gd name="T49" fmla="*/ 263 h 1046"/>
                <a:gd name="T50" fmla="*/ 96 w 1094"/>
                <a:gd name="T51" fmla="*/ 277 h 1046"/>
                <a:gd name="T52" fmla="*/ 63 w 1094"/>
                <a:gd name="T53" fmla="*/ 280 h 1046"/>
                <a:gd name="T54" fmla="*/ 39 w 1094"/>
                <a:gd name="T55" fmla="*/ 314 h 1046"/>
                <a:gd name="T56" fmla="*/ 54 w 1094"/>
                <a:gd name="T57" fmla="*/ 320 h 1046"/>
                <a:gd name="T58" fmla="*/ 31 w 1094"/>
                <a:gd name="T59" fmla="*/ 345 h 1046"/>
                <a:gd name="T60" fmla="*/ 83 w 1094"/>
                <a:gd name="T61" fmla="*/ 368 h 1046"/>
                <a:gd name="T62" fmla="*/ 136 w 1094"/>
                <a:gd name="T63" fmla="*/ 379 h 1046"/>
                <a:gd name="T64" fmla="*/ 145 w 1094"/>
                <a:gd name="T65" fmla="*/ 394 h 1046"/>
                <a:gd name="T66" fmla="*/ 160 w 1094"/>
                <a:gd name="T67" fmla="*/ 391 h 1046"/>
                <a:gd name="T68" fmla="*/ 165 w 1094"/>
                <a:gd name="T69" fmla="*/ 402 h 1046"/>
                <a:gd name="T70" fmla="*/ 202 w 1094"/>
                <a:gd name="T71" fmla="*/ 416 h 1046"/>
                <a:gd name="T72" fmla="*/ 239 w 1094"/>
                <a:gd name="T73" fmla="*/ 430 h 1046"/>
                <a:gd name="T74" fmla="*/ 224 w 1094"/>
                <a:gd name="T75" fmla="*/ 474 h 1046"/>
                <a:gd name="T76" fmla="*/ 298 w 1094"/>
                <a:gd name="T77" fmla="*/ 536 h 1046"/>
                <a:gd name="T78" fmla="*/ 301 w 1094"/>
                <a:gd name="T79" fmla="*/ 581 h 1046"/>
                <a:gd name="T80" fmla="*/ 341 w 1094"/>
                <a:gd name="T81" fmla="*/ 682 h 1046"/>
                <a:gd name="T82" fmla="*/ 302 w 1094"/>
                <a:gd name="T83" fmla="*/ 707 h 1046"/>
                <a:gd name="T84" fmla="*/ 261 w 1094"/>
                <a:gd name="T85" fmla="*/ 856 h 1046"/>
                <a:gd name="T86" fmla="*/ 327 w 1094"/>
                <a:gd name="T87" fmla="*/ 895 h 1046"/>
                <a:gd name="T88" fmla="*/ 401 w 1094"/>
                <a:gd name="T89" fmla="*/ 915 h 1046"/>
                <a:gd name="T90" fmla="*/ 479 w 1094"/>
                <a:gd name="T91" fmla="*/ 912 h 1046"/>
                <a:gd name="T92" fmla="*/ 558 w 1094"/>
                <a:gd name="T93" fmla="*/ 944 h 1046"/>
                <a:gd name="T94" fmla="*/ 609 w 1094"/>
                <a:gd name="T95" fmla="*/ 924 h 1046"/>
                <a:gd name="T96" fmla="*/ 729 w 1094"/>
                <a:gd name="T97" fmla="*/ 847 h 1046"/>
                <a:gd name="T98" fmla="*/ 766 w 1094"/>
                <a:gd name="T99" fmla="*/ 833 h 1046"/>
                <a:gd name="T100" fmla="*/ 815 w 1094"/>
                <a:gd name="T101" fmla="*/ 876 h 1046"/>
                <a:gd name="T102" fmla="*/ 870 w 1094"/>
                <a:gd name="T103" fmla="*/ 864 h 1046"/>
                <a:gd name="T104" fmla="*/ 904 w 1094"/>
                <a:gd name="T105" fmla="*/ 827 h 1046"/>
                <a:gd name="T106" fmla="*/ 947 w 1094"/>
                <a:gd name="T107" fmla="*/ 782 h 1046"/>
                <a:gd name="T108" fmla="*/ 898 w 1094"/>
                <a:gd name="T109" fmla="*/ 716 h 1046"/>
                <a:gd name="T110" fmla="*/ 894 w 1094"/>
                <a:gd name="T111" fmla="*/ 659 h 1046"/>
                <a:gd name="T112" fmla="*/ 892 w 1094"/>
                <a:gd name="T113" fmla="*/ 587 h 1046"/>
                <a:gd name="T114" fmla="*/ 864 w 1094"/>
                <a:gd name="T115" fmla="*/ 522 h 1046"/>
                <a:gd name="T116" fmla="*/ 833 w 1094"/>
                <a:gd name="T117" fmla="*/ 522 h 1046"/>
                <a:gd name="T118" fmla="*/ 906 w 1094"/>
                <a:gd name="T119" fmla="*/ 427 h 1046"/>
                <a:gd name="T120" fmla="*/ 938 w 1094"/>
                <a:gd name="T121" fmla="*/ 410 h 1046"/>
                <a:gd name="T122" fmla="*/ 949 w 1094"/>
                <a:gd name="T123" fmla="*/ 356 h 1046"/>
                <a:gd name="T124" fmla="*/ 983 w 1094"/>
                <a:gd name="T125" fmla="*/ 263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4" h="1046">
                  <a:moveTo>
                    <a:pt x="1088" y="921"/>
                  </a:moveTo>
                  <a:lnTo>
                    <a:pt x="1088" y="921"/>
                  </a:lnTo>
                  <a:lnTo>
                    <a:pt x="1086" y="918"/>
                  </a:lnTo>
                  <a:lnTo>
                    <a:pt x="1088" y="921"/>
                  </a:lnTo>
                  <a:lnTo>
                    <a:pt x="1088" y="921"/>
                  </a:lnTo>
                  <a:close/>
                  <a:moveTo>
                    <a:pt x="1094" y="953"/>
                  </a:moveTo>
                  <a:lnTo>
                    <a:pt x="1092" y="952"/>
                  </a:lnTo>
                  <a:lnTo>
                    <a:pt x="1092" y="947"/>
                  </a:lnTo>
                  <a:lnTo>
                    <a:pt x="1091" y="946"/>
                  </a:lnTo>
                  <a:lnTo>
                    <a:pt x="1091" y="944"/>
                  </a:lnTo>
                  <a:lnTo>
                    <a:pt x="1092" y="943"/>
                  </a:lnTo>
                  <a:lnTo>
                    <a:pt x="1092" y="941"/>
                  </a:lnTo>
                  <a:lnTo>
                    <a:pt x="1092" y="939"/>
                  </a:lnTo>
                  <a:lnTo>
                    <a:pt x="1091" y="938"/>
                  </a:lnTo>
                  <a:lnTo>
                    <a:pt x="1091" y="935"/>
                  </a:lnTo>
                  <a:lnTo>
                    <a:pt x="1091" y="929"/>
                  </a:lnTo>
                  <a:lnTo>
                    <a:pt x="1091" y="927"/>
                  </a:lnTo>
                  <a:lnTo>
                    <a:pt x="1091" y="926"/>
                  </a:lnTo>
                  <a:lnTo>
                    <a:pt x="1088" y="921"/>
                  </a:lnTo>
                  <a:lnTo>
                    <a:pt x="1089" y="924"/>
                  </a:lnTo>
                  <a:lnTo>
                    <a:pt x="1089" y="926"/>
                  </a:lnTo>
                  <a:lnTo>
                    <a:pt x="1089" y="927"/>
                  </a:lnTo>
                  <a:lnTo>
                    <a:pt x="1088" y="926"/>
                  </a:lnTo>
                  <a:lnTo>
                    <a:pt x="1088" y="926"/>
                  </a:lnTo>
                  <a:lnTo>
                    <a:pt x="1086" y="924"/>
                  </a:lnTo>
                  <a:lnTo>
                    <a:pt x="1086" y="924"/>
                  </a:lnTo>
                  <a:lnTo>
                    <a:pt x="1086" y="923"/>
                  </a:lnTo>
                  <a:lnTo>
                    <a:pt x="1086" y="923"/>
                  </a:lnTo>
                  <a:lnTo>
                    <a:pt x="1086" y="921"/>
                  </a:lnTo>
                  <a:lnTo>
                    <a:pt x="1086" y="921"/>
                  </a:lnTo>
                  <a:lnTo>
                    <a:pt x="1086" y="921"/>
                  </a:lnTo>
                  <a:lnTo>
                    <a:pt x="1086" y="919"/>
                  </a:lnTo>
                  <a:lnTo>
                    <a:pt x="1086" y="919"/>
                  </a:lnTo>
                  <a:lnTo>
                    <a:pt x="1085" y="919"/>
                  </a:lnTo>
                  <a:lnTo>
                    <a:pt x="1085" y="919"/>
                  </a:lnTo>
                  <a:lnTo>
                    <a:pt x="1085" y="919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5"/>
                  </a:lnTo>
                  <a:lnTo>
                    <a:pt x="1085" y="913"/>
                  </a:lnTo>
                  <a:lnTo>
                    <a:pt x="1085" y="912"/>
                  </a:lnTo>
                  <a:lnTo>
                    <a:pt x="1088" y="903"/>
                  </a:lnTo>
                  <a:lnTo>
                    <a:pt x="1088" y="899"/>
                  </a:lnTo>
                  <a:lnTo>
                    <a:pt x="1086" y="890"/>
                  </a:lnTo>
                  <a:lnTo>
                    <a:pt x="1086" y="889"/>
                  </a:lnTo>
                  <a:lnTo>
                    <a:pt x="1086" y="887"/>
                  </a:lnTo>
                  <a:lnTo>
                    <a:pt x="1086" y="886"/>
                  </a:lnTo>
                  <a:lnTo>
                    <a:pt x="1086" y="886"/>
                  </a:lnTo>
                  <a:lnTo>
                    <a:pt x="1086" y="884"/>
                  </a:lnTo>
                  <a:lnTo>
                    <a:pt x="1086" y="884"/>
                  </a:lnTo>
                  <a:lnTo>
                    <a:pt x="1085" y="883"/>
                  </a:lnTo>
                  <a:lnTo>
                    <a:pt x="1085" y="883"/>
                  </a:lnTo>
                  <a:lnTo>
                    <a:pt x="1083" y="881"/>
                  </a:lnTo>
                  <a:lnTo>
                    <a:pt x="1081" y="881"/>
                  </a:lnTo>
                  <a:lnTo>
                    <a:pt x="1078" y="881"/>
                  </a:lnTo>
                  <a:lnTo>
                    <a:pt x="1077" y="883"/>
                  </a:lnTo>
                  <a:lnTo>
                    <a:pt x="1077" y="884"/>
                  </a:lnTo>
                  <a:lnTo>
                    <a:pt x="1077" y="886"/>
                  </a:lnTo>
                  <a:lnTo>
                    <a:pt x="1078" y="887"/>
                  </a:lnTo>
                  <a:lnTo>
                    <a:pt x="1078" y="887"/>
                  </a:lnTo>
                  <a:lnTo>
                    <a:pt x="1078" y="889"/>
                  </a:lnTo>
                  <a:lnTo>
                    <a:pt x="1078" y="889"/>
                  </a:lnTo>
                  <a:lnTo>
                    <a:pt x="1078" y="889"/>
                  </a:lnTo>
                  <a:lnTo>
                    <a:pt x="1078" y="890"/>
                  </a:lnTo>
                  <a:lnTo>
                    <a:pt x="1077" y="892"/>
                  </a:lnTo>
                  <a:lnTo>
                    <a:pt x="1077" y="892"/>
                  </a:lnTo>
                  <a:lnTo>
                    <a:pt x="1075" y="893"/>
                  </a:lnTo>
                  <a:lnTo>
                    <a:pt x="1075" y="895"/>
                  </a:lnTo>
                  <a:lnTo>
                    <a:pt x="1077" y="895"/>
                  </a:lnTo>
                  <a:lnTo>
                    <a:pt x="1077" y="896"/>
                  </a:lnTo>
                  <a:lnTo>
                    <a:pt x="1074" y="899"/>
                  </a:lnTo>
                  <a:lnTo>
                    <a:pt x="1075" y="901"/>
                  </a:lnTo>
                  <a:lnTo>
                    <a:pt x="1077" y="903"/>
                  </a:lnTo>
                  <a:lnTo>
                    <a:pt x="1077" y="904"/>
                  </a:lnTo>
                  <a:lnTo>
                    <a:pt x="1077" y="906"/>
                  </a:lnTo>
                  <a:lnTo>
                    <a:pt x="1077" y="909"/>
                  </a:lnTo>
                  <a:lnTo>
                    <a:pt x="1075" y="910"/>
                  </a:lnTo>
                  <a:lnTo>
                    <a:pt x="1074" y="915"/>
                  </a:lnTo>
                  <a:lnTo>
                    <a:pt x="1072" y="915"/>
                  </a:lnTo>
                  <a:lnTo>
                    <a:pt x="1072" y="913"/>
                  </a:lnTo>
                  <a:lnTo>
                    <a:pt x="1072" y="913"/>
                  </a:lnTo>
                  <a:lnTo>
                    <a:pt x="1071" y="912"/>
                  </a:lnTo>
                  <a:lnTo>
                    <a:pt x="1071" y="912"/>
                  </a:lnTo>
                  <a:lnTo>
                    <a:pt x="1069" y="910"/>
                  </a:lnTo>
                  <a:lnTo>
                    <a:pt x="1066" y="910"/>
                  </a:lnTo>
                  <a:lnTo>
                    <a:pt x="1065" y="910"/>
                  </a:lnTo>
                  <a:lnTo>
                    <a:pt x="1065" y="909"/>
                  </a:lnTo>
                  <a:lnTo>
                    <a:pt x="1061" y="909"/>
                  </a:lnTo>
                  <a:lnTo>
                    <a:pt x="1060" y="910"/>
                  </a:lnTo>
                  <a:lnTo>
                    <a:pt x="1060" y="910"/>
                  </a:lnTo>
                  <a:lnTo>
                    <a:pt x="1055" y="915"/>
                  </a:lnTo>
                  <a:lnTo>
                    <a:pt x="1055" y="916"/>
                  </a:lnTo>
                  <a:lnTo>
                    <a:pt x="1054" y="918"/>
                  </a:lnTo>
                  <a:lnTo>
                    <a:pt x="1045" y="919"/>
                  </a:lnTo>
                  <a:lnTo>
                    <a:pt x="1040" y="923"/>
                  </a:lnTo>
                  <a:lnTo>
                    <a:pt x="1037" y="923"/>
                  </a:lnTo>
                  <a:lnTo>
                    <a:pt x="1038" y="923"/>
                  </a:lnTo>
                  <a:lnTo>
                    <a:pt x="1037" y="924"/>
                  </a:lnTo>
                  <a:lnTo>
                    <a:pt x="1037" y="926"/>
                  </a:lnTo>
                  <a:lnTo>
                    <a:pt x="1035" y="927"/>
                  </a:lnTo>
                  <a:lnTo>
                    <a:pt x="1035" y="927"/>
                  </a:lnTo>
                  <a:lnTo>
                    <a:pt x="1034" y="927"/>
                  </a:lnTo>
                  <a:lnTo>
                    <a:pt x="1034" y="926"/>
                  </a:lnTo>
                  <a:lnTo>
                    <a:pt x="1032" y="926"/>
                  </a:lnTo>
                  <a:lnTo>
                    <a:pt x="1031" y="927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7"/>
                  </a:lnTo>
                  <a:lnTo>
                    <a:pt x="1031" y="929"/>
                  </a:lnTo>
                  <a:lnTo>
                    <a:pt x="1031" y="930"/>
                  </a:lnTo>
                  <a:lnTo>
                    <a:pt x="1029" y="930"/>
                  </a:lnTo>
                  <a:lnTo>
                    <a:pt x="1028" y="930"/>
                  </a:lnTo>
                  <a:lnTo>
                    <a:pt x="1028" y="932"/>
                  </a:lnTo>
                  <a:lnTo>
                    <a:pt x="1026" y="935"/>
                  </a:lnTo>
                  <a:lnTo>
                    <a:pt x="1026" y="935"/>
                  </a:lnTo>
                  <a:lnTo>
                    <a:pt x="1026" y="935"/>
                  </a:lnTo>
                  <a:lnTo>
                    <a:pt x="1028" y="935"/>
                  </a:lnTo>
                  <a:lnTo>
                    <a:pt x="1028" y="936"/>
                  </a:lnTo>
                  <a:lnTo>
                    <a:pt x="1028" y="936"/>
                  </a:lnTo>
                  <a:lnTo>
                    <a:pt x="1026" y="938"/>
                  </a:lnTo>
                  <a:lnTo>
                    <a:pt x="1026" y="939"/>
                  </a:lnTo>
                  <a:lnTo>
                    <a:pt x="1026" y="939"/>
                  </a:lnTo>
                  <a:lnTo>
                    <a:pt x="1026" y="941"/>
                  </a:lnTo>
                  <a:lnTo>
                    <a:pt x="1023" y="941"/>
                  </a:lnTo>
                  <a:lnTo>
                    <a:pt x="1023" y="941"/>
                  </a:lnTo>
                  <a:lnTo>
                    <a:pt x="1023" y="943"/>
                  </a:lnTo>
                  <a:lnTo>
                    <a:pt x="1023" y="943"/>
                  </a:lnTo>
                  <a:lnTo>
                    <a:pt x="1021" y="943"/>
                  </a:lnTo>
                  <a:lnTo>
                    <a:pt x="1021" y="944"/>
                  </a:lnTo>
                  <a:lnTo>
                    <a:pt x="1021" y="944"/>
                  </a:lnTo>
                  <a:lnTo>
                    <a:pt x="1021" y="944"/>
                  </a:lnTo>
                  <a:lnTo>
                    <a:pt x="1020" y="944"/>
                  </a:lnTo>
                  <a:lnTo>
                    <a:pt x="1020" y="946"/>
                  </a:lnTo>
                  <a:lnTo>
                    <a:pt x="1018" y="946"/>
                  </a:lnTo>
                  <a:lnTo>
                    <a:pt x="1018" y="944"/>
                  </a:lnTo>
                  <a:lnTo>
                    <a:pt x="1018" y="946"/>
                  </a:lnTo>
                  <a:lnTo>
                    <a:pt x="1018" y="947"/>
                  </a:lnTo>
                  <a:lnTo>
                    <a:pt x="1018" y="947"/>
                  </a:lnTo>
                  <a:lnTo>
                    <a:pt x="1018" y="949"/>
                  </a:lnTo>
                  <a:lnTo>
                    <a:pt x="1018" y="949"/>
                  </a:lnTo>
                  <a:lnTo>
                    <a:pt x="1021" y="949"/>
                  </a:lnTo>
                  <a:lnTo>
                    <a:pt x="1023" y="947"/>
                  </a:lnTo>
                  <a:lnTo>
                    <a:pt x="1024" y="949"/>
                  </a:lnTo>
                  <a:lnTo>
                    <a:pt x="1023" y="950"/>
                  </a:lnTo>
                  <a:lnTo>
                    <a:pt x="1021" y="950"/>
                  </a:lnTo>
                  <a:lnTo>
                    <a:pt x="1021" y="952"/>
                  </a:lnTo>
                  <a:lnTo>
                    <a:pt x="1023" y="952"/>
                  </a:lnTo>
                  <a:lnTo>
                    <a:pt x="1023" y="952"/>
                  </a:lnTo>
                  <a:lnTo>
                    <a:pt x="1024" y="952"/>
                  </a:lnTo>
                  <a:lnTo>
                    <a:pt x="1024" y="952"/>
                  </a:lnTo>
                  <a:lnTo>
                    <a:pt x="1024" y="952"/>
                  </a:lnTo>
                  <a:lnTo>
                    <a:pt x="1024" y="953"/>
                  </a:lnTo>
                  <a:lnTo>
                    <a:pt x="1028" y="953"/>
                  </a:lnTo>
                  <a:lnTo>
                    <a:pt x="1028" y="955"/>
                  </a:lnTo>
                  <a:lnTo>
                    <a:pt x="1029" y="955"/>
                  </a:lnTo>
                  <a:lnTo>
                    <a:pt x="1029" y="956"/>
                  </a:lnTo>
                  <a:lnTo>
                    <a:pt x="1028" y="956"/>
                  </a:lnTo>
                  <a:lnTo>
                    <a:pt x="1028" y="956"/>
                  </a:lnTo>
                  <a:lnTo>
                    <a:pt x="1028" y="956"/>
                  </a:lnTo>
                  <a:lnTo>
                    <a:pt x="1026" y="956"/>
                  </a:lnTo>
                  <a:lnTo>
                    <a:pt x="1026" y="956"/>
                  </a:lnTo>
                  <a:lnTo>
                    <a:pt x="1023" y="958"/>
                  </a:lnTo>
                  <a:lnTo>
                    <a:pt x="1021" y="958"/>
                  </a:lnTo>
                  <a:lnTo>
                    <a:pt x="1021" y="958"/>
                  </a:lnTo>
                  <a:lnTo>
                    <a:pt x="1021" y="959"/>
                  </a:lnTo>
                  <a:lnTo>
                    <a:pt x="1018" y="958"/>
                  </a:lnTo>
                  <a:lnTo>
                    <a:pt x="1018" y="959"/>
                  </a:lnTo>
                  <a:lnTo>
                    <a:pt x="1018" y="959"/>
                  </a:lnTo>
                  <a:lnTo>
                    <a:pt x="1018" y="959"/>
                  </a:lnTo>
                  <a:lnTo>
                    <a:pt x="1020" y="961"/>
                  </a:lnTo>
                  <a:lnTo>
                    <a:pt x="1020" y="961"/>
                  </a:lnTo>
                  <a:lnTo>
                    <a:pt x="1020" y="963"/>
                  </a:lnTo>
                  <a:lnTo>
                    <a:pt x="1020" y="963"/>
                  </a:lnTo>
                  <a:lnTo>
                    <a:pt x="1020" y="964"/>
                  </a:lnTo>
                  <a:lnTo>
                    <a:pt x="1020" y="964"/>
                  </a:lnTo>
                  <a:lnTo>
                    <a:pt x="1020" y="966"/>
                  </a:lnTo>
                  <a:lnTo>
                    <a:pt x="1020" y="966"/>
                  </a:lnTo>
                  <a:lnTo>
                    <a:pt x="1021" y="966"/>
                  </a:lnTo>
                  <a:lnTo>
                    <a:pt x="1021" y="967"/>
                  </a:lnTo>
                  <a:lnTo>
                    <a:pt x="1020" y="967"/>
                  </a:lnTo>
                  <a:lnTo>
                    <a:pt x="1020" y="967"/>
                  </a:lnTo>
                  <a:lnTo>
                    <a:pt x="1018" y="967"/>
                  </a:lnTo>
                  <a:lnTo>
                    <a:pt x="1020" y="967"/>
                  </a:lnTo>
                  <a:lnTo>
                    <a:pt x="1020" y="967"/>
                  </a:lnTo>
                  <a:lnTo>
                    <a:pt x="1021" y="969"/>
                  </a:lnTo>
                  <a:lnTo>
                    <a:pt x="1021" y="969"/>
                  </a:lnTo>
                  <a:lnTo>
                    <a:pt x="1021" y="969"/>
                  </a:lnTo>
                  <a:lnTo>
                    <a:pt x="1021" y="970"/>
                  </a:lnTo>
                  <a:lnTo>
                    <a:pt x="1023" y="970"/>
                  </a:lnTo>
                  <a:lnTo>
                    <a:pt x="1024" y="970"/>
                  </a:lnTo>
                  <a:lnTo>
                    <a:pt x="1026" y="970"/>
                  </a:lnTo>
                  <a:lnTo>
                    <a:pt x="1026" y="972"/>
                  </a:lnTo>
                  <a:lnTo>
                    <a:pt x="1026" y="973"/>
                  </a:lnTo>
                  <a:lnTo>
                    <a:pt x="1029" y="972"/>
                  </a:lnTo>
                  <a:lnTo>
                    <a:pt x="1029" y="972"/>
                  </a:lnTo>
                  <a:lnTo>
                    <a:pt x="1029" y="973"/>
                  </a:lnTo>
                  <a:lnTo>
                    <a:pt x="1031" y="976"/>
                  </a:lnTo>
                  <a:lnTo>
                    <a:pt x="1032" y="976"/>
                  </a:lnTo>
                  <a:lnTo>
                    <a:pt x="1032" y="978"/>
                  </a:lnTo>
                  <a:lnTo>
                    <a:pt x="1032" y="978"/>
                  </a:lnTo>
                  <a:lnTo>
                    <a:pt x="1032" y="978"/>
                  </a:lnTo>
                  <a:lnTo>
                    <a:pt x="1031" y="980"/>
                  </a:lnTo>
                  <a:lnTo>
                    <a:pt x="1029" y="980"/>
                  </a:lnTo>
                  <a:lnTo>
                    <a:pt x="1028" y="981"/>
                  </a:lnTo>
                  <a:lnTo>
                    <a:pt x="1026" y="981"/>
                  </a:lnTo>
                  <a:lnTo>
                    <a:pt x="1026" y="983"/>
                  </a:lnTo>
                  <a:lnTo>
                    <a:pt x="1028" y="984"/>
                  </a:lnTo>
                  <a:lnTo>
                    <a:pt x="1026" y="986"/>
                  </a:lnTo>
                  <a:lnTo>
                    <a:pt x="1024" y="986"/>
                  </a:lnTo>
                  <a:lnTo>
                    <a:pt x="1021" y="986"/>
                  </a:lnTo>
                  <a:lnTo>
                    <a:pt x="1023" y="989"/>
                  </a:lnTo>
                  <a:lnTo>
                    <a:pt x="1023" y="990"/>
                  </a:lnTo>
                  <a:lnTo>
                    <a:pt x="1023" y="992"/>
                  </a:lnTo>
                  <a:lnTo>
                    <a:pt x="1023" y="993"/>
                  </a:lnTo>
                  <a:lnTo>
                    <a:pt x="1024" y="992"/>
                  </a:lnTo>
                  <a:lnTo>
                    <a:pt x="1026" y="992"/>
                  </a:lnTo>
                  <a:lnTo>
                    <a:pt x="1029" y="992"/>
                  </a:lnTo>
                  <a:lnTo>
                    <a:pt x="1031" y="992"/>
                  </a:lnTo>
                  <a:lnTo>
                    <a:pt x="1032" y="990"/>
                  </a:lnTo>
                  <a:lnTo>
                    <a:pt x="1034" y="990"/>
                  </a:lnTo>
                  <a:lnTo>
                    <a:pt x="1035" y="990"/>
                  </a:lnTo>
                  <a:lnTo>
                    <a:pt x="1035" y="990"/>
                  </a:lnTo>
                  <a:lnTo>
                    <a:pt x="1035" y="990"/>
                  </a:lnTo>
                  <a:lnTo>
                    <a:pt x="1037" y="992"/>
                  </a:lnTo>
                  <a:lnTo>
                    <a:pt x="1037" y="992"/>
                  </a:lnTo>
                  <a:lnTo>
                    <a:pt x="1037" y="992"/>
                  </a:lnTo>
                  <a:lnTo>
                    <a:pt x="1037" y="993"/>
                  </a:lnTo>
                  <a:lnTo>
                    <a:pt x="1037" y="993"/>
                  </a:lnTo>
                  <a:lnTo>
                    <a:pt x="1037" y="995"/>
                  </a:lnTo>
                  <a:lnTo>
                    <a:pt x="1037" y="995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7" y="996"/>
                  </a:lnTo>
                  <a:lnTo>
                    <a:pt x="1035" y="998"/>
                  </a:lnTo>
                  <a:lnTo>
                    <a:pt x="1034" y="998"/>
                  </a:lnTo>
                  <a:lnTo>
                    <a:pt x="1034" y="998"/>
                  </a:lnTo>
                  <a:lnTo>
                    <a:pt x="1035" y="1000"/>
                  </a:lnTo>
                  <a:lnTo>
                    <a:pt x="1035" y="1000"/>
                  </a:lnTo>
                  <a:lnTo>
                    <a:pt x="1035" y="1001"/>
                  </a:lnTo>
                  <a:lnTo>
                    <a:pt x="1034" y="1003"/>
                  </a:lnTo>
                  <a:lnTo>
                    <a:pt x="1032" y="1003"/>
                  </a:lnTo>
                  <a:lnTo>
                    <a:pt x="1031" y="1003"/>
                  </a:lnTo>
                  <a:lnTo>
                    <a:pt x="1031" y="1003"/>
                  </a:lnTo>
                  <a:lnTo>
                    <a:pt x="1031" y="1004"/>
                  </a:lnTo>
                  <a:lnTo>
                    <a:pt x="1031" y="1004"/>
                  </a:lnTo>
                  <a:lnTo>
                    <a:pt x="1031" y="1006"/>
                  </a:lnTo>
                  <a:lnTo>
                    <a:pt x="1031" y="1007"/>
                  </a:lnTo>
                  <a:lnTo>
                    <a:pt x="1029" y="1007"/>
                  </a:lnTo>
                  <a:lnTo>
                    <a:pt x="1028" y="1007"/>
                  </a:lnTo>
                  <a:lnTo>
                    <a:pt x="1026" y="1009"/>
                  </a:lnTo>
                  <a:lnTo>
                    <a:pt x="1028" y="1009"/>
                  </a:lnTo>
                  <a:lnTo>
                    <a:pt x="1028" y="1009"/>
                  </a:lnTo>
                  <a:lnTo>
                    <a:pt x="1029" y="1009"/>
                  </a:lnTo>
                  <a:lnTo>
                    <a:pt x="1029" y="1009"/>
                  </a:lnTo>
                  <a:lnTo>
                    <a:pt x="1029" y="1010"/>
                  </a:lnTo>
                  <a:lnTo>
                    <a:pt x="1029" y="1010"/>
                  </a:lnTo>
                  <a:lnTo>
                    <a:pt x="1031" y="1010"/>
                  </a:lnTo>
                  <a:lnTo>
                    <a:pt x="1034" y="1009"/>
                  </a:lnTo>
                  <a:lnTo>
                    <a:pt x="1035" y="1009"/>
                  </a:lnTo>
                  <a:lnTo>
                    <a:pt x="1035" y="1010"/>
                  </a:lnTo>
                  <a:lnTo>
                    <a:pt x="1035" y="1012"/>
                  </a:lnTo>
                  <a:lnTo>
                    <a:pt x="1038" y="1012"/>
                  </a:lnTo>
                  <a:lnTo>
                    <a:pt x="1040" y="1012"/>
                  </a:lnTo>
                  <a:lnTo>
                    <a:pt x="1045" y="1013"/>
                  </a:lnTo>
                  <a:lnTo>
                    <a:pt x="1046" y="1013"/>
                  </a:lnTo>
                  <a:lnTo>
                    <a:pt x="1045" y="1015"/>
                  </a:lnTo>
                  <a:lnTo>
                    <a:pt x="1045" y="1015"/>
                  </a:lnTo>
                  <a:lnTo>
                    <a:pt x="1043" y="1016"/>
                  </a:lnTo>
                  <a:lnTo>
                    <a:pt x="1043" y="1016"/>
                  </a:lnTo>
                  <a:lnTo>
                    <a:pt x="1041" y="1018"/>
                  </a:lnTo>
                  <a:lnTo>
                    <a:pt x="1038" y="1020"/>
                  </a:lnTo>
                  <a:lnTo>
                    <a:pt x="1037" y="1020"/>
                  </a:lnTo>
                  <a:lnTo>
                    <a:pt x="1037" y="1021"/>
                  </a:lnTo>
                  <a:lnTo>
                    <a:pt x="1035" y="1023"/>
                  </a:lnTo>
                  <a:lnTo>
                    <a:pt x="1035" y="1024"/>
                  </a:lnTo>
                  <a:lnTo>
                    <a:pt x="1037" y="1024"/>
                  </a:lnTo>
                  <a:lnTo>
                    <a:pt x="1037" y="1024"/>
                  </a:lnTo>
                  <a:lnTo>
                    <a:pt x="1037" y="1027"/>
                  </a:lnTo>
                  <a:lnTo>
                    <a:pt x="1037" y="1027"/>
                  </a:lnTo>
                  <a:lnTo>
                    <a:pt x="1037" y="1027"/>
                  </a:lnTo>
                  <a:lnTo>
                    <a:pt x="1038" y="1027"/>
                  </a:lnTo>
                  <a:lnTo>
                    <a:pt x="1040" y="1027"/>
                  </a:lnTo>
                  <a:lnTo>
                    <a:pt x="1040" y="1029"/>
                  </a:lnTo>
                  <a:lnTo>
                    <a:pt x="1041" y="1029"/>
                  </a:lnTo>
                  <a:lnTo>
                    <a:pt x="1041" y="1029"/>
                  </a:lnTo>
                  <a:lnTo>
                    <a:pt x="1040" y="1030"/>
                  </a:lnTo>
                  <a:lnTo>
                    <a:pt x="1040" y="1030"/>
                  </a:lnTo>
                  <a:lnTo>
                    <a:pt x="1041" y="1030"/>
                  </a:lnTo>
                  <a:lnTo>
                    <a:pt x="1041" y="1030"/>
                  </a:lnTo>
                  <a:lnTo>
                    <a:pt x="1043" y="1030"/>
                  </a:lnTo>
                  <a:lnTo>
                    <a:pt x="1043" y="1030"/>
                  </a:lnTo>
                  <a:lnTo>
                    <a:pt x="1043" y="1032"/>
                  </a:lnTo>
                  <a:lnTo>
                    <a:pt x="1043" y="1032"/>
                  </a:lnTo>
                  <a:lnTo>
                    <a:pt x="1045" y="1032"/>
                  </a:lnTo>
                  <a:lnTo>
                    <a:pt x="1046" y="1033"/>
                  </a:lnTo>
                  <a:lnTo>
                    <a:pt x="1046" y="1033"/>
                  </a:lnTo>
                  <a:lnTo>
                    <a:pt x="1048" y="1033"/>
                  </a:lnTo>
                  <a:lnTo>
                    <a:pt x="1048" y="1033"/>
                  </a:lnTo>
                  <a:lnTo>
                    <a:pt x="1049" y="1033"/>
                  </a:lnTo>
                  <a:lnTo>
                    <a:pt x="1052" y="1035"/>
                  </a:lnTo>
                  <a:lnTo>
                    <a:pt x="1052" y="1035"/>
                  </a:lnTo>
                  <a:lnTo>
                    <a:pt x="1054" y="1036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5" y="1035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4" y="1036"/>
                  </a:lnTo>
                  <a:lnTo>
                    <a:pt x="1055" y="1036"/>
                  </a:lnTo>
                  <a:lnTo>
                    <a:pt x="1057" y="1035"/>
                  </a:lnTo>
                  <a:lnTo>
                    <a:pt x="1058" y="1035"/>
                  </a:lnTo>
                  <a:lnTo>
                    <a:pt x="1058" y="1035"/>
                  </a:lnTo>
                  <a:lnTo>
                    <a:pt x="1057" y="1036"/>
                  </a:lnTo>
                  <a:lnTo>
                    <a:pt x="1058" y="1038"/>
                  </a:lnTo>
                  <a:lnTo>
                    <a:pt x="1060" y="1038"/>
                  </a:lnTo>
                  <a:lnTo>
                    <a:pt x="1061" y="1040"/>
                  </a:lnTo>
                  <a:lnTo>
                    <a:pt x="1060" y="1040"/>
                  </a:lnTo>
                  <a:lnTo>
                    <a:pt x="1060" y="1040"/>
                  </a:lnTo>
                  <a:lnTo>
                    <a:pt x="1058" y="1043"/>
                  </a:lnTo>
                  <a:lnTo>
                    <a:pt x="1061" y="1043"/>
                  </a:lnTo>
                  <a:lnTo>
                    <a:pt x="1063" y="1044"/>
                  </a:lnTo>
                  <a:lnTo>
                    <a:pt x="1065" y="1044"/>
                  </a:lnTo>
                  <a:lnTo>
                    <a:pt x="1066" y="1046"/>
                  </a:lnTo>
                  <a:lnTo>
                    <a:pt x="1068" y="1046"/>
                  </a:lnTo>
                  <a:lnTo>
                    <a:pt x="1068" y="1046"/>
                  </a:lnTo>
                  <a:lnTo>
                    <a:pt x="1069" y="1044"/>
                  </a:lnTo>
                  <a:lnTo>
                    <a:pt x="1069" y="1043"/>
                  </a:lnTo>
                  <a:lnTo>
                    <a:pt x="1071" y="1041"/>
                  </a:lnTo>
                  <a:lnTo>
                    <a:pt x="1071" y="1040"/>
                  </a:lnTo>
                  <a:lnTo>
                    <a:pt x="1069" y="1041"/>
                  </a:lnTo>
                  <a:lnTo>
                    <a:pt x="1068" y="1041"/>
                  </a:lnTo>
                  <a:lnTo>
                    <a:pt x="1068" y="1043"/>
                  </a:lnTo>
                  <a:lnTo>
                    <a:pt x="1068" y="1041"/>
                  </a:lnTo>
                  <a:lnTo>
                    <a:pt x="1068" y="1041"/>
                  </a:lnTo>
                  <a:lnTo>
                    <a:pt x="1068" y="1040"/>
                  </a:lnTo>
                  <a:lnTo>
                    <a:pt x="1068" y="1040"/>
                  </a:lnTo>
                  <a:lnTo>
                    <a:pt x="1068" y="1038"/>
                  </a:lnTo>
                  <a:lnTo>
                    <a:pt x="1068" y="1038"/>
                  </a:lnTo>
                  <a:lnTo>
                    <a:pt x="1069" y="1038"/>
                  </a:lnTo>
                  <a:lnTo>
                    <a:pt x="1071" y="1036"/>
                  </a:lnTo>
                  <a:lnTo>
                    <a:pt x="1072" y="1036"/>
                  </a:lnTo>
                  <a:lnTo>
                    <a:pt x="1071" y="1035"/>
                  </a:lnTo>
                  <a:lnTo>
                    <a:pt x="1072" y="1035"/>
                  </a:lnTo>
                  <a:lnTo>
                    <a:pt x="1072" y="1033"/>
                  </a:lnTo>
                  <a:lnTo>
                    <a:pt x="1072" y="1033"/>
                  </a:lnTo>
                  <a:lnTo>
                    <a:pt x="1071" y="1032"/>
                  </a:lnTo>
                  <a:lnTo>
                    <a:pt x="1072" y="1032"/>
                  </a:lnTo>
                  <a:lnTo>
                    <a:pt x="1072" y="1032"/>
                  </a:lnTo>
                  <a:lnTo>
                    <a:pt x="1072" y="1030"/>
                  </a:lnTo>
                  <a:lnTo>
                    <a:pt x="1071" y="1030"/>
                  </a:lnTo>
                  <a:lnTo>
                    <a:pt x="1072" y="1029"/>
                  </a:lnTo>
                  <a:lnTo>
                    <a:pt x="1074" y="1029"/>
                  </a:lnTo>
                  <a:lnTo>
                    <a:pt x="1074" y="1027"/>
                  </a:lnTo>
                  <a:lnTo>
                    <a:pt x="1075" y="1027"/>
                  </a:lnTo>
                  <a:lnTo>
                    <a:pt x="1075" y="1027"/>
                  </a:lnTo>
                  <a:lnTo>
                    <a:pt x="1077" y="1026"/>
                  </a:lnTo>
                  <a:lnTo>
                    <a:pt x="1078" y="1024"/>
                  </a:lnTo>
                  <a:lnTo>
                    <a:pt x="1078" y="1023"/>
                  </a:lnTo>
                  <a:lnTo>
                    <a:pt x="1077" y="1023"/>
                  </a:lnTo>
                  <a:lnTo>
                    <a:pt x="1075" y="1023"/>
                  </a:lnTo>
                  <a:lnTo>
                    <a:pt x="1074" y="1024"/>
                  </a:lnTo>
                  <a:lnTo>
                    <a:pt x="1072" y="1023"/>
                  </a:lnTo>
                  <a:lnTo>
                    <a:pt x="1072" y="1023"/>
                  </a:lnTo>
                  <a:lnTo>
                    <a:pt x="1074" y="1021"/>
                  </a:lnTo>
                  <a:lnTo>
                    <a:pt x="1074" y="1020"/>
                  </a:lnTo>
                  <a:lnTo>
                    <a:pt x="1074" y="1020"/>
                  </a:lnTo>
                  <a:lnTo>
                    <a:pt x="1075" y="1020"/>
                  </a:lnTo>
                  <a:lnTo>
                    <a:pt x="1077" y="1021"/>
                  </a:lnTo>
                  <a:lnTo>
                    <a:pt x="1077" y="1021"/>
                  </a:lnTo>
                  <a:lnTo>
                    <a:pt x="1077" y="1020"/>
                  </a:lnTo>
                  <a:lnTo>
                    <a:pt x="1077" y="1020"/>
                  </a:lnTo>
                  <a:lnTo>
                    <a:pt x="1078" y="1020"/>
                  </a:lnTo>
                  <a:lnTo>
                    <a:pt x="1078" y="1020"/>
                  </a:lnTo>
                  <a:lnTo>
                    <a:pt x="1080" y="1018"/>
                  </a:lnTo>
                  <a:lnTo>
                    <a:pt x="1080" y="1018"/>
                  </a:lnTo>
                  <a:lnTo>
                    <a:pt x="1080" y="1015"/>
                  </a:lnTo>
                  <a:lnTo>
                    <a:pt x="1078" y="1015"/>
                  </a:lnTo>
                  <a:lnTo>
                    <a:pt x="1080" y="1015"/>
                  </a:lnTo>
                  <a:lnTo>
                    <a:pt x="1080" y="1013"/>
                  </a:lnTo>
                  <a:lnTo>
                    <a:pt x="1081" y="1013"/>
                  </a:lnTo>
                  <a:lnTo>
                    <a:pt x="1081" y="1013"/>
                  </a:lnTo>
                  <a:lnTo>
                    <a:pt x="1081" y="1012"/>
                  </a:lnTo>
                  <a:lnTo>
                    <a:pt x="1081" y="1006"/>
                  </a:lnTo>
                  <a:lnTo>
                    <a:pt x="1081" y="998"/>
                  </a:lnTo>
                  <a:lnTo>
                    <a:pt x="1081" y="992"/>
                  </a:lnTo>
                  <a:lnTo>
                    <a:pt x="1081" y="987"/>
                  </a:lnTo>
                  <a:lnTo>
                    <a:pt x="1081" y="987"/>
                  </a:lnTo>
                  <a:lnTo>
                    <a:pt x="1083" y="986"/>
                  </a:lnTo>
                  <a:lnTo>
                    <a:pt x="1088" y="978"/>
                  </a:lnTo>
                  <a:lnTo>
                    <a:pt x="1089" y="976"/>
                  </a:lnTo>
                  <a:lnTo>
                    <a:pt x="1091" y="975"/>
                  </a:lnTo>
                  <a:lnTo>
                    <a:pt x="1092" y="973"/>
                  </a:lnTo>
                  <a:lnTo>
                    <a:pt x="1092" y="972"/>
                  </a:lnTo>
                  <a:lnTo>
                    <a:pt x="1092" y="972"/>
                  </a:lnTo>
                  <a:lnTo>
                    <a:pt x="1094" y="969"/>
                  </a:lnTo>
                  <a:lnTo>
                    <a:pt x="1094" y="969"/>
                  </a:lnTo>
                  <a:lnTo>
                    <a:pt x="1092" y="966"/>
                  </a:lnTo>
                  <a:lnTo>
                    <a:pt x="1094" y="953"/>
                  </a:lnTo>
                  <a:close/>
                  <a:moveTo>
                    <a:pt x="846" y="879"/>
                  </a:moveTo>
                  <a:lnTo>
                    <a:pt x="846" y="881"/>
                  </a:lnTo>
                  <a:lnTo>
                    <a:pt x="846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3" y="881"/>
                  </a:lnTo>
                  <a:lnTo>
                    <a:pt x="841" y="881"/>
                  </a:lnTo>
                  <a:lnTo>
                    <a:pt x="841" y="883"/>
                  </a:lnTo>
                  <a:lnTo>
                    <a:pt x="841" y="883"/>
                  </a:lnTo>
                  <a:lnTo>
                    <a:pt x="843" y="884"/>
                  </a:lnTo>
                  <a:lnTo>
                    <a:pt x="843" y="884"/>
                  </a:lnTo>
                  <a:lnTo>
                    <a:pt x="844" y="884"/>
                  </a:lnTo>
                  <a:lnTo>
                    <a:pt x="846" y="883"/>
                  </a:lnTo>
                  <a:lnTo>
                    <a:pt x="847" y="883"/>
                  </a:lnTo>
                  <a:lnTo>
                    <a:pt x="847" y="881"/>
                  </a:lnTo>
                  <a:lnTo>
                    <a:pt x="846" y="879"/>
                  </a:lnTo>
                  <a:close/>
                  <a:moveTo>
                    <a:pt x="290" y="571"/>
                  </a:moveTo>
                  <a:lnTo>
                    <a:pt x="288" y="570"/>
                  </a:lnTo>
                  <a:lnTo>
                    <a:pt x="288" y="570"/>
                  </a:lnTo>
                  <a:lnTo>
                    <a:pt x="287" y="571"/>
                  </a:lnTo>
                  <a:lnTo>
                    <a:pt x="285" y="570"/>
                  </a:lnTo>
                  <a:lnTo>
                    <a:pt x="284" y="568"/>
                  </a:lnTo>
                  <a:lnTo>
                    <a:pt x="282" y="567"/>
                  </a:lnTo>
                  <a:lnTo>
                    <a:pt x="279" y="565"/>
                  </a:lnTo>
                  <a:lnTo>
                    <a:pt x="277" y="565"/>
                  </a:lnTo>
                  <a:lnTo>
                    <a:pt x="279" y="568"/>
                  </a:lnTo>
                  <a:lnTo>
                    <a:pt x="279" y="571"/>
                  </a:lnTo>
                  <a:lnTo>
                    <a:pt x="279" y="571"/>
                  </a:lnTo>
                  <a:lnTo>
                    <a:pt x="279" y="573"/>
                  </a:lnTo>
                  <a:lnTo>
                    <a:pt x="281" y="575"/>
                  </a:lnTo>
                  <a:lnTo>
                    <a:pt x="282" y="578"/>
                  </a:lnTo>
                  <a:lnTo>
                    <a:pt x="284" y="578"/>
                  </a:lnTo>
                  <a:lnTo>
                    <a:pt x="288" y="584"/>
                  </a:lnTo>
                  <a:lnTo>
                    <a:pt x="288" y="584"/>
                  </a:lnTo>
                  <a:lnTo>
                    <a:pt x="290" y="585"/>
                  </a:lnTo>
                  <a:lnTo>
                    <a:pt x="290" y="590"/>
                  </a:lnTo>
                  <a:lnTo>
                    <a:pt x="291" y="590"/>
                  </a:lnTo>
                  <a:lnTo>
                    <a:pt x="293" y="588"/>
                  </a:lnTo>
                  <a:lnTo>
                    <a:pt x="293" y="585"/>
                  </a:lnTo>
                  <a:lnTo>
                    <a:pt x="294" y="581"/>
                  </a:lnTo>
                  <a:lnTo>
                    <a:pt x="294" y="581"/>
                  </a:lnTo>
                  <a:lnTo>
                    <a:pt x="293" y="579"/>
                  </a:lnTo>
                  <a:lnTo>
                    <a:pt x="291" y="578"/>
                  </a:lnTo>
                  <a:lnTo>
                    <a:pt x="290" y="578"/>
                  </a:lnTo>
                  <a:lnTo>
                    <a:pt x="291" y="576"/>
                  </a:lnTo>
                  <a:lnTo>
                    <a:pt x="291" y="576"/>
                  </a:lnTo>
                  <a:lnTo>
                    <a:pt x="290" y="575"/>
                  </a:lnTo>
                  <a:lnTo>
                    <a:pt x="290" y="575"/>
                  </a:lnTo>
                  <a:lnTo>
                    <a:pt x="290" y="573"/>
                  </a:lnTo>
                  <a:lnTo>
                    <a:pt x="290" y="571"/>
                  </a:lnTo>
                  <a:close/>
                  <a:moveTo>
                    <a:pt x="271" y="545"/>
                  </a:moveTo>
                  <a:lnTo>
                    <a:pt x="273" y="544"/>
                  </a:lnTo>
                  <a:lnTo>
                    <a:pt x="273" y="544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0" y="542"/>
                  </a:lnTo>
                  <a:lnTo>
                    <a:pt x="265" y="544"/>
                  </a:lnTo>
                  <a:lnTo>
                    <a:pt x="265" y="544"/>
                  </a:lnTo>
                  <a:lnTo>
                    <a:pt x="267" y="545"/>
                  </a:lnTo>
                  <a:lnTo>
                    <a:pt x="270" y="548"/>
                  </a:lnTo>
                  <a:lnTo>
                    <a:pt x="271" y="548"/>
                  </a:lnTo>
                  <a:lnTo>
                    <a:pt x="274" y="548"/>
                  </a:lnTo>
                  <a:lnTo>
                    <a:pt x="282" y="553"/>
                  </a:lnTo>
                  <a:lnTo>
                    <a:pt x="285" y="553"/>
                  </a:lnTo>
                  <a:lnTo>
                    <a:pt x="285" y="553"/>
                  </a:lnTo>
                  <a:lnTo>
                    <a:pt x="287" y="553"/>
                  </a:lnTo>
                  <a:lnTo>
                    <a:pt x="287" y="553"/>
                  </a:lnTo>
                  <a:lnTo>
                    <a:pt x="288" y="553"/>
                  </a:lnTo>
                  <a:lnTo>
                    <a:pt x="288" y="553"/>
                  </a:lnTo>
                  <a:lnTo>
                    <a:pt x="287" y="551"/>
                  </a:lnTo>
                  <a:lnTo>
                    <a:pt x="287" y="550"/>
                  </a:lnTo>
                  <a:lnTo>
                    <a:pt x="284" y="548"/>
                  </a:lnTo>
                  <a:lnTo>
                    <a:pt x="277" y="547"/>
                  </a:lnTo>
                  <a:lnTo>
                    <a:pt x="276" y="547"/>
                  </a:lnTo>
                  <a:lnTo>
                    <a:pt x="276" y="545"/>
                  </a:lnTo>
                  <a:lnTo>
                    <a:pt x="276" y="545"/>
                  </a:lnTo>
                  <a:lnTo>
                    <a:pt x="276" y="545"/>
                  </a:lnTo>
                  <a:lnTo>
                    <a:pt x="274" y="545"/>
                  </a:lnTo>
                  <a:lnTo>
                    <a:pt x="273" y="547"/>
                  </a:lnTo>
                  <a:lnTo>
                    <a:pt x="271" y="547"/>
                  </a:lnTo>
                  <a:lnTo>
                    <a:pt x="270" y="544"/>
                  </a:lnTo>
                  <a:lnTo>
                    <a:pt x="270" y="544"/>
                  </a:lnTo>
                  <a:lnTo>
                    <a:pt x="271" y="545"/>
                  </a:lnTo>
                  <a:close/>
                  <a:moveTo>
                    <a:pt x="211" y="493"/>
                  </a:moveTo>
                  <a:lnTo>
                    <a:pt x="208" y="491"/>
                  </a:lnTo>
                  <a:lnTo>
                    <a:pt x="207" y="491"/>
                  </a:lnTo>
                  <a:lnTo>
                    <a:pt x="205" y="491"/>
                  </a:lnTo>
                  <a:lnTo>
                    <a:pt x="204" y="493"/>
                  </a:lnTo>
                  <a:lnTo>
                    <a:pt x="205" y="494"/>
                  </a:lnTo>
                  <a:lnTo>
                    <a:pt x="211" y="494"/>
                  </a:lnTo>
                  <a:lnTo>
                    <a:pt x="213" y="496"/>
                  </a:lnTo>
                  <a:lnTo>
                    <a:pt x="211" y="494"/>
                  </a:lnTo>
                  <a:lnTo>
                    <a:pt x="211" y="493"/>
                  </a:lnTo>
                  <a:close/>
                  <a:moveTo>
                    <a:pt x="222" y="467"/>
                  </a:moveTo>
                  <a:lnTo>
                    <a:pt x="221" y="467"/>
                  </a:lnTo>
                  <a:lnTo>
                    <a:pt x="219" y="465"/>
                  </a:lnTo>
                  <a:lnTo>
                    <a:pt x="217" y="464"/>
                  </a:lnTo>
                  <a:lnTo>
                    <a:pt x="217" y="462"/>
                  </a:lnTo>
                  <a:lnTo>
                    <a:pt x="217" y="461"/>
                  </a:lnTo>
                  <a:lnTo>
                    <a:pt x="217" y="461"/>
                  </a:lnTo>
                  <a:lnTo>
                    <a:pt x="216" y="459"/>
                  </a:lnTo>
                  <a:lnTo>
                    <a:pt x="214" y="459"/>
                  </a:lnTo>
                  <a:lnTo>
                    <a:pt x="211" y="459"/>
                  </a:lnTo>
                  <a:lnTo>
                    <a:pt x="211" y="461"/>
                  </a:lnTo>
                  <a:lnTo>
                    <a:pt x="213" y="465"/>
                  </a:lnTo>
                  <a:lnTo>
                    <a:pt x="214" y="467"/>
                  </a:lnTo>
                  <a:lnTo>
                    <a:pt x="216" y="465"/>
                  </a:lnTo>
                  <a:lnTo>
                    <a:pt x="219" y="467"/>
                  </a:lnTo>
                  <a:lnTo>
                    <a:pt x="221" y="470"/>
                  </a:lnTo>
                  <a:lnTo>
                    <a:pt x="221" y="471"/>
                  </a:lnTo>
                  <a:lnTo>
                    <a:pt x="222" y="473"/>
                  </a:lnTo>
                  <a:lnTo>
                    <a:pt x="222" y="471"/>
                  </a:lnTo>
                  <a:lnTo>
                    <a:pt x="222" y="468"/>
                  </a:lnTo>
                  <a:lnTo>
                    <a:pt x="222" y="467"/>
                  </a:lnTo>
                  <a:close/>
                  <a:moveTo>
                    <a:pt x="151" y="427"/>
                  </a:moveTo>
                  <a:lnTo>
                    <a:pt x="150" y="427"/>
                  </a:lnTo>
                  <a:lnTo>
                    <a:pt x="147" y="424"/>
                  </a:lnTo>
                  <a:lnTo>
                    <a:pt x="147" y="424"/>
                  </a:lnTo>
                  <a:lnTo>
                    <a:pt x="145" y="422"/>
                  </a:lnTo>
                  <a:lnTo>
                    <a:pt x="142" y="421"/>
                  </a:lnTo>
                  <a:lnTo>
                    <a:pt x="140" y="421"/>
                  </a:lnTo>
                  <a:lnTo>
                    <a:pt x="140" y="419"/>
                  </a:lnTo>
                  <a:lnTo>
                    <a:pt x="140" y="419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39" y="422"/>
                  </a:lnTo>
                  <a:lnTo>
                    <a:pt x="140" y="424"/>
                  </a:lnTo>
                  <a:lnTo>
                    <a:pt x="140" y="425"/>
                  </a:lnTo>
                  <a:lnTo>
                    <a:pt x="140" y="428"/>
                  </a:lnTo>
                  <a:lnTo>
                    <a:pt x="142" y="428"/>
                  </a:lnTo>
                  <a:lnTo>
                    <a:pt x="145" y="430"/>
                  </a:lnTo>
                  <a:lnTo>
                    <a:pt x="151" y="430"/>
                  </a:lnTo>
                  <a:lnTo>
                    <a:pt x="153" y="430"/>
                  </a:lnTo>
                  <a:lnTo>
                    <a:pt x="154" y="428"/>
                  </a:lnTo>
                  <a:lnTo>
                    <a:pt x="153" y="427"/>
                  </a:lnTo>
                  <a:lnTo>
                    <a:pt x="151" y="427"/>
                  </a:lnTo>
                  <a:close/>
                  <a:moveTo>
                    <a:pt x="6" y="300"/>
                  </a:moveTo>
                  <a:lnTo>
                    <a:pt x="6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2" y="299"/>
                  </a:lnTo>
                  <a:lnTo>
                    <a:pt x="0" y="300"/>
                  </a:lnTo>
                  <a:lnTo>
                    <a:pt x="0" y="302"/>
                  </a:lnTo>
                  <a:lnTo>
                    <a:pt x="2" y="300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4"/>
                  </a:lnTo>
                  <a:lnTo>
                    <a:pt x="3" y="304"/>
                  </a:lnTo>
                  <a:lnTo>
                    <a:pt x="6" y="300"/>
                  </a:lnTo>
                  <a:lnTo>
                    <a:pt x="6" y="300"/>
                  </a:lnTo>
                  <a:lnTo>
                    <a:pt x="6" y="300"/>
                  </a:lnTo>
                  <a:lnTo>
                    <a:pt x="6" y="300"/>
                  </a:lnTo>
                  <a:close/>
                  <a:moveTo>
                    <a:pt x="984" y="243"/>
                  </a:moveTo>
                  <a:lnTo>
                    <a:pt x="972" y="237"/>
                  </a:lnTo>
                  <a:lnTo>
                    <a:pt x="971" y="237"/>
                  </a:lnTo>
                  <a:lnTo>
                    <a:pt x="966" y="237"/>
                  </a:lnTo>
                  <a:lnTo>
                    <a:pt x="960" y="236"/>
                  </a:lnTo>
                  <a:lnTo>
                    <a:pt x="960" y="236"/>
                  </a:lnTo>
                  <a:lnTo>
                    <a:pt x="958" y="236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5" y="236"/>
                  </a:lnTo>
                  <a:lnTo>
                    <a:pt x="954" y="236"/>
                  </a:lnTo>
                  <a:lnTo>
                    <a:pt x="952" y="236"/>
                  </a:lnTo>
                  <a:lnTo>
                    <a:pt x="952" y="236"/>
                  </a:lnTo>
                  <a:lnTo>
                    <a:pt x="951" y="237"/>
                  </a:lnTo>
                  <a:lnTo>
                    <a:pt x="951" y="237"/>
                  </a:lnTo>
                  <a:lnTo>
                    <a:pt x="951" y="236"/>
                  </a:lnTo>
                  <a:lnTo>
                    <a:pt x="949" y="236"/>
                  </a:lnTo>
                  <a:lnTo>
                    <a:pt x="949" y="234"/>
                  </a:lnTo>
                  <a:lnTo>
                    <a:pt x="947" y="234"/>
                  </a:lnTo>
                  <a:lnTo>
                    <a:pt x="946" y="233"/>
                  </a:lnTo>
                  <a:lnTo>
                    <a:pt x="943" y="233"/>
                  </a:lnTo>
                  <a:lnTo>
                    <a:pt x="941" y="231"/>
                  </a:lnTo>
                  <a:lnTo>
                    <a:pt x="941" y="230"/>
                  </a:lnTo>
                  <a:lnTo>
                    <a:pt x="938" y="228"/>
                  </a:lnTo>
                  <a:lnTo>
                    <a:pt x="938" y="227"/>
                  </a:lnTo>
                  <a:lnTo>
                    <a:pt x="938" y="227"/>
                  </a:lnTo>
                  <a:lnTo>
                    <a:pt x="938" y="225"/>
                  </a:lnTo>
                  <a:lnTo>
                    <a:pt x="938" y="225"/>
                  </a:lnTo>
                  <a:lnTo>
                    <a:pt x="938" y="223"/>
                  </a:lnTo>
                  <a:lnTo>
                    <a:pt x="937" y="223"/>
                  </a:lnTo>
                  <a:lnTo>
                    <a:pt x="934" y="223"/>
                  </a:lnTo>
                  <a:lnTo>
                    <a:pt x="934" y="222"/>
                  </a:lnTo>
                  <a:lnTo>
                    <a:pt x="932" y="222"/>
                  </a:lnTo>
                  <a:lnTo>
                    <a:pt x="931" y="222"/>
                  </a:lnTo>
                  <a:lnTo>
                    <a:pt x="931" y="222"/>
                  </a:lnTo>
                  <a:lnTo>
                    <a:pt x="929" y="223"/>
                  </a:lnTo>
                  <a:lnTo>
                    <a:pt x="929" y="223"/>
                  </a:lnTo>
                  <a:lnTo>
                    <a:pt x="927" y="225"/>
                  </a:lnTo>
                  <a:lnTo>
                    <a:pt x="927" y="225"/>
                  </a:lnTo>
                  <a:lnTo>
                    <a:pt x="927" y="227"/>
                  </a:lnTo>
                  <a:lnTo>
                    <a:pt x="926" y="227"/>
                  </a:lnTo>
                  <a:lnTo>
                    <a:pt x="924" y="227"/>
                  </a:lnTo>
                  <a:lnTo>
                    <a:pt x="924" y="227"/>
                  </a:lnTo>
                  <a:lnTo>
                    <a:pt x="924" y="228"/>
                  </a:lnTo>
                  <a:lnTo>
                    <a:pt x="923" y="230"/>
                  </a:lnTo>
                  <a:lnTo>
                    <a:pt x="923" y="228"/>
                  </a:lnTo>
                  <a:lnTo>
                    <a:pt x="921" y="228"/>
                  </a:lnTo>
                  <a:lnTo>
                    <a:pt x="914" y="228"/>
                  </a:lnTo>
                  <a:lnTo>
                    <a:pt x="914" y="228"/>
                  </a:lnTo>
                  <a:lnTo>
                    <a:pt x="912" y="227"/>
                  </a:lnTo>
                  <a:lnTo>
                    <a:pt x="909" y="225"/>
                  </a:lnTo>
                  <a:lnTo>
                    <a:pt x="909" y="225"/>
                  </a:lnTo>
                  <a:lnTo>
                    <a:pt x="907" y="225"/>
                  </a:lnTo>
                  <a:lnTo>
                    <a:pt x="907" y="227"/>
                  </a:lnTo>
                  <a:lnTo>
                    <a:pt x="909" y="227"/>
                  </a:lnTo>
                  <a:lnTo>
                    <a:pt x="909" y="227"/>
                  </a:lnTo>
                  <a:lnTo>
                    <a:pt x="906" y="228"/>
                  </a:lnTo>
                  <a:lnTo>
                    <a:pt x="904" y="228"/>
                  </a:lnTo>
                  <a:lnTo>
                    <a:pt x="903" y="223"/>
                  </a:lnTo>
                  <a:lnTo>
                    <a:pt x="903" y="220"/>
                  </a:lnTo>
                  <a:lnTo>
                    <a:pt x="901" y="220"/>
                  </a:lnTo>
                  <a:lnTo>
                    <a:pt x="897" y="217"/>
                  </a:lnTo>
                  <a:lnTo>
                    <a:pt x="897" y="217"/>
                  </a:lnTo>
                  <a:lnTo>
                    <a:pt x="894" y="217"/>
                  </a:lnTo>
                  <a:lnTo>
                    <a:pt x="890" y="217"/>
                  </a:lnTo>
                  <a:lnTo>
                    <a:pt x="890" y="217"/>
                  </a:lnTo>
                  <a:lnTo>
                    <a:pt x="890" y="219"/>
                  </a:lnTo>
                  <a:lnTo>
                    <a:pt x="890" y="220"/>
                  </a:lnTo>
                  <a:lnTo>
                    <a:pt x="890" y="222"/>
                  </a:lnTo>
                  <a:lnTo>
                    <a:pt x="889" y="223"/>
                  </a:lnTo>
                  <a:lnTo>
                    <a:pt x="889" y="225"/>
                  </a:lnTo>
                  <a:lnTo>
                    <a:pt x="886" y="223"/>
                  </a:lnTo>
                  <a:lnTo>
                    <a:pt x="883" y="223"/>
                  </a:lnTo>
                  <a:lnTo>
                    <a:pt x="881" y="223"/>
                  </a:lnTo>
                  <a:lnTo>
                    <a:pt x="881" y="222"/>
                  </a:lnTo>
                  <a:lnTo>
                    <a:pt x="881" y="220"/>
                  </a:lnTo>
                  <a:lnTo>
                    <a:pt x="881" y="219"/>
                  </a:lnTo>
                  <a:lnTo>
                    <a:pt x="881" y="217"/>
                  </a:lnTo>
                  <a:lnTo>
                    <a:pt x="880" y="217"/>
                  </a:lnTo>
                  <a:lnTo>
                    <a:pt x="880" y="217"/>
                  </a:lnTo>
                  <a:lnTo>
                    <a:pt x="880" y="217"/>
                  </a:lnTo>
                  <a:lnTo>
                    <a:pt x="878" y="217"/>
                  </a:lnTo>
                  <a:lnTo>
                    <a:pt x="878" y="216"/>
                  </a:lnTo>
                  <a:lnTo>
                    <a:pt x="878" y="216"/>
                  </a:lnTo>
                  <a:lnTo>
                    <a:pt x="878" y="216"/>
                  </a:lnTo>
                  <a:lnTo>
                    <a:pt x="878" y="213"/>
                  </a:lnTo>
                  <a:lnTo>
                    <a:pt x="878" y="213"/>
                  </a:lnTo>
                  <a:lnTo>
                    <a:pt x="877" y="213"/>
                  </a:lnTo>
                  <a:lnTo>
                    <a:pt x="877" y="213"/>
                  </a:lnTo>
                  <a:lnTo>
                    <a:pt x="877" y="211"/>
                  </a:lnTo>
                  <a:lnTo>
                    <a:pt x="877" y="211"/>
                  </a:lnTo>
                  <a:lnTo>
                    <a:pt x="877" y="210"/>
                  </a:lnTo>
                  <a:lnTo>
                    <a:pt x="870" y="205"/>
                  </a:lnTo>
                  <a:lnTo>
                    <a:pt x="870" y="203"/>
                  </a:lnTo>
                  <a:lnTo>
                    <a:pt x="869" y="202"/>
                  </a:lnTo>
                  <a:lnTo>
                    <a:pt x="869" y="202"/>
                  </a:lnTo>
                  <a:lnTo>
                    <a:pt x="870" y="202"/>
                  </a:lnTo>
                  <a:lnTo>
                    <a:pt x="872" y="200"/>
                  </a:lnTo>
                  <a:lnTo>
                    <a:pt x="870" y="200"/>
                  </a:lnTo>
                  <a:lnTo>
                    <a:pt x="867" y="196"/>
                  </a:lnTo>
                  <a:lnTo>
                    <a:pt x="867" y="196"/>
                  </a:lnTo>
                  <a:lnTo>
                    <a:pt x="867" y="196"/>
                  </a:lnTo>
                  <a:lnTo>
                    <a:pt x="867" y="194"/>
                  </a:lnTo>
                  <a:lnTo>
                    <a:pt x="867" y="194"/>
                  </a:lnTo>
                  <a:lnTo>
                    <a:pt x="866" y="193"/>
                  </a:lnTo>
                  <a:lnTo>
                    <a:pt x="866" y="191"/>
                  </a:lnTo>
                  <a:lnTo>
                    <a:pt x="858" y="188"/>
                  </a:lnTo>
                  <a:lnTo>
                    <a:pt x="858" y="188"/>
                  </a:lnTo>
                  <a:lnTo>
                    <a:pt x="857" y="188"/>
                  </a:lnTo>
                  <a:lnTo>
                    <a:pt x="855" y="190"/>
                  </a:lnTo>
                  <a:lnTo>
                    <a:pt x="855" y="190"/>
                  </a:lnTo>
                  <a:lnTo>
                    <a:pt x="854" y="190"/>
                  </a:lnTo>
                  <a:lnTo>
                    <a:pt x="852" y="190"/>
                  </a:lnTo>
                  <a:lnTo>
                    <a:pt x="850" y="188"/>
                  </a:lnTo>
                  <a:lnTo>
                    <a:pt x="847" y="185"/>
                  </a:lnTo>
                  <a:lnTo>
                    <a:pt x="847" y="185"/>
                  </a:lnTo>
                  <a:lnTo>
                    <a:pt x="844" y="185"/>
                  </a:lnTo>
                  <a:lnTo>
                    <a:pt x="843" y="183"/>
                  </a:lnTo>
                  <a:lnTo>
                    <a:pt x="838" y="185"/>
                  </a:lnTo>
                  <a:lnTo>
                    <a:pt x="840" y="185"/>
                  </a:lnTo>
                  <a:lnTo>
                    <a:pt x="837" y="185"/>
                  </a:lnTo>
                  <a:lnTo>
                    <a:pt x="837" y="186"/>
                  </a:lnTo>
                  <a:lnTo>
                    <a:pt x="837" y="186"/>
                  </a:lnTo>
                  <a:lnTo>
                    <a:pt x="837" y="188"/>
                  </a:lnTo>
                  <a:lnTo>
                    <a:pt x="835" y="188"/>
                  </a:lnTo>
                  <a:lnTo>
                    <a:pt x="835" y="188"/>
                  </a:lnTo>
                  <a:lnTo>
                    <a:pt x="833" y="190"/>
                  </a:lnTo>
                  <a:lnTo>
                    <a:pt x="833" y="190"/>
                  </a:lnTo>
                  <a:lnTo>
                    <a:pt x="827" y="190"/>
                  </a:lnTo>
                  <a:lnTo>
                    <a:pt x="826" y="191"/>
                  </a:lnTo>
                  <a:lnTo>
                    <a:pt x="824" y="188"/>
                  </a:lnTo>
                  <a:lnTo>
                    <a:pt x="823" y="186"/>
                  </a:lnTo>
                  <a:lnTo>
                    <a:pt x="818" y="185"/>
                  </a:lnTo>
                  <a:lnTo>
                    <a:pt x="817" y="183"/>
                  </a:lnTo>
                  <a:lnTo>
                    <a:pt x="815" y="183"/>
                  </a:lnTo>
                  <a:lnTo>
                    <a:pt x="813" y="180"/>
                  </a:lnTo>
                  <a:lnTo>
                    <a:pt x="812" y="179"/>
                  </a:lnTo>
                  <a:lnTo>
                    <a:pt x="810" y="179"/>
                  </a:lnTo>
                  <a:lnTo>
                    <a:pt x="809" y="179"/>
                  </a:lnTo>
                  <a:lnTo>
                    <a:pt x="809" y="179"/>
                  </a:lnTo>
                  <a:lnTo>
                    <a:pt x="807" y="180"/>
                  </a:lnTo>
                  <a:lnTo>
                    <a:pt x="807" y="180"/>
                  </a:lnTo>
                  <a:lnTo>
                    <a:pt x="806" y="180"/>
                  </a:lnTo>
                  <a:lnTo>
                    <a:pt x="804" y="179"/>
                  </a:lnTo>
                  <a:lnTo>
                    <a:pt x="801" y="179"/>
                  </a:lnTo>
                  <a:lnTo>
                    <a:pt x="800" y="180"/>
                  </a:lnTo>
                  <a:lnTo>
                    <a:pt x="800" y="180"/>
                  </a:lnTo>
                  <a:lnTo>
                    <a:pt x="800" y="182"/>
                  </a:lnTo>
                  <a:lnTo>
                    <a:pt x="798" y="182"/>
                  </a:lnTo>
                  <a:lnTo>
                    <a:pt x="798" y="182"/>
                  </a:lnTo>
                  <a:lnTo>
                    <a:pt x="797" y="182"/>
                  </a:lnTo>
                  <a:lnTo>
                    <a:pt x="795" y="182"/>
                  </a:lnTo>
                  <a:lnTo>
                    <a:pt x="793" y="182"/>
                  </a:lnTo>
                  <a:lnTo>
                    <a:pt x="792" y="183"/>
                  </a:lnTo>
                  <a:lnTo>
                    <a:pt x="789" y="185"/>
                  </a:lnTo>
                  <a:lnTo>
                    <a:pt x="787" y="183"/>
                  </a:lnTo>
                  <a:lnTo>
                    <a:pt x="787" y="183"/>
                  </a:lnTo>
                  <a:lnTo>
                    <a:pt x="787" y="182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79"/>
                  </a:lnTo>
                  <a:lnTo>
                    <a:pt x="784" y="173"/>
                  </a:lnTo>
                  <a:lnTo>
                    <a:pt x="783" y="171"/>
                  </a:lnTo>
                  <a:lnTo>
                    <a:pt x="783" y="171"/>
                  </a:lnTo>
                  <a:lnTo>
                    <a:pt x="780" y="170"/>
                  </a:lnTo>
                  <a:lnTo>
                    <a:pt x="780" y="170"/>
                  </a:lnTo>
                  <a:lnTo>
                    <a:pt x="778" y="170"/>
                  </a:lnTo>
                  <a:lnTo>
                    <a:pt x="778" y="170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7" y="171"/>
                  </a:lnTo>
                  <a:lnTo>
                    <a:pt x="775" y="171"/>
                  </a:lnTo>
                  <a:lnTo>
                    <a:pt x="775" y="170"/>
                  </a:lnTo>
                  <a:lnTo>
                    <a:pt x="775" y="168"/>
                  </a:lnTo>
                  <a:lnTo>
                    <a:pt x="777" y="168"/>
                  </a:lnTo>
                  <a:lnTo>
                    <a:pt x="777" y="166"/>
                  </a:lnTo>
                  <a:lnTo>
                    <a:pt x="777" y="165"/>
                  </a:lnTo>
                  <a:lnTo>
                    <a:pt x="775" y="163"/>
                  </a:lnTo>
                  <a:lnTo>
                    <a:pt x="773" y="162"/>
                  </a:lnTo>
                  <a:lnTo>
                    <a:pt x="772" y="162"/>
                  </a:lnTo>
                  <a:lnTo>
                    <a:pt x="769" y="163"/>
                  </a:lnTo>
                  <a:lnTo>
                    <a:pt x="766" y="162"/>
                  </a:lnTo>
                  <a:lnTo>
                    <a:pt x="766" y="162"/>
                  </a:lnTo>
                  <a:lnTo>
                    <a:pt x="764" y="160"/>
                  </a:lnTo>
                  <a:lnTo>
                    <a:pt x="761" y="156"/>
                  </a:lnTo>
                  <a:lnTo>
                    <a:pt x="760" y="156"/>
                  </a:lnTo>
                  <a:lnTo>
                    <a:pt x="758" y="154"/>
                  </a:lnTo>
                  <a:lnTo>
                    <a:pt x="756" y="153"/>
                  </a:lnTo>
                  <a:lnTo>
                    <a:pt x="753" y="151"/>
                  </a:lnTo>
                  <a:lnTo>
                    <a:pt x="752" y="150"/>
                  </a:lnTo>
                  <a:lnTo>
                    <a:pt x="752" y="150"/>
                  </a:lnTo>
                  <a:lnTo>
                    <a:pt x="750" y="150"/>
                  </a:lnTo>
                  <a:lnTo>
                    <a:pt x="747" y="151"/>
                  </a:lnTo>
                  <a:lnTo>
                    <a:pt x="746" y="151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3" y="146"/>
                  </a:lnTo>
                  <a:lnTo>
                    <a:pt x="743" y="145"/>
                  </a:lnTo>
                  <a:lnTo>
                    <a:pt x="741" y="143"/>
                  </a:lnTo>
                  <a:lnTo>
                    <a:pt x="741" y="143"/>
                  </a:lnTo>
                  <a:lnTo>
                    <a:pt x="741" y="143"/>
                  </a:lnTo>
                  <a:lnTo>
                    <a:pt x="743" y="142"/>
                  </a:lnTo>
                  <a:lnTo>
                    <a:pt x="743" y="142"/>
                  </a:lnTo>
                  <a:lnTo>
                    <a:pt x="743" y="140"/>
                  </a:lnTo>
                  <a:lnTo>
                    <a:pt x="744" y="139"/>
                  </a:lnTo>
                  <a:lnTo>
                    <a:pt x="744" y="139"/>
                  </a:lnTo>
                  <a:lnTo>
                    <a:pt x="744" y="137"/>
                  </a:lnTo>
                  <a:lnTo>
                    <a:pt x="743" y="134"/>
                  </a:lnTo>
                  <a:lnTo>
                    <a:pt x="738" y="133"/>
                  </a:lnTo>
                  <a:lnTo>
                    <a:pt x="738" y="131"/>
                  </a:lnTo>
                  <a:lnTo>
                    <a:pt x="738" y="129"/>
                  </a:lnTo>
                  <a:lnTo>
                    <a:pt x="741" y="122"/>
                  </a:lnTo>
                  <a:lnTo>
                    <a:pt x="741" y="122"/>
                  </a:lnTo>
                  <a:lnTo>
                    <a:pt x="741" y="120"/>
                  </a:lnTo>
                  <a:lnTo>
                    <a:pt x="741" y="119"/>
                  </a:lnTo>
                  <a:lnTo>
                    <a:pt x="743" y="116"/>
                  </a:lnTo>
                  <a:lnTo>
                    <a:pt x="743" y="116"/>
                  </a:lnTo>
                  <a:lnTo>
                    <a:pt x="744" y="117"/>
                  </a:lnTo>
                  <a:lnTo>
                    <a:pt x="744" y="114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09"/>
                  </a:lnTo>
                  <a:lnTo>
                    <a:pt x="741" y="109"/>
                  </a:lnTo>
                  <a:lnTo>
                    <a:pt x="741" y="109"/>
                  </a:lnTo>
                  <a:lnTo>
                    <a:pt x="740" y="108"/>
                  </a:lnTo>
                  <a:lnTo>
                    <a:pt x="738" y="109"/>
                  </a:lnTo>
                  <a:lnTo>
                    <a:pt x="730" y="117"/>
                  </a:lnTo>
                  <a:lnTo>
                    <a:pt x="730" y="117"/>
                  </a:lnTo>
                  <a:lnTo>
                    <a:pt x="730" y="119"/>
                  </a:lnTo>
                  <a:lnTo>
                    <a:pt x="730" y="120"/>
                  </a:lnTo>
                  <a:lnTo>
                    <a:pt x="730" y="120"/>
                  </a:lnTo>
                  <a:lnTo>
                    <a:pt x="730" y="120"/>
                  </a:lnTo>
                  <a:lnTo>
                    <a:pt x="729" y="125"/>
                  </a:lnTo>
                  <a:lnTo>
                    <a:pt x="729" y="126"/>
                  </a:lnTo>
                  <a:lnTo>
                    <a:pt x="729" y="128"/>
                  </a:lnTo>
                  <a:lnTo>
                    <a:pt x="727" y="128"/>
                  </a:lnTo>
                  <a:lnTo>
                    <a:pt x="724" y="129"/>
                  </a:lnTo>
                  <a:lnTo>
                    <a:pt x="713" y="134"/>
                  </a:lnTo>
                  <a:lnTo>
                    <a:pt x="712" y="134"/>
                  </a:lnTo>
                  <a:lnTo>
                    <a:pt x="712" y="134"/>
                  </a:lnTo>
                  <a:lnTo>
                    <a:pt x="699" y="131"/>
                  </a:lnTo>
                  <a:lnTo>
                    <a:pt x="695" y="131"/>
                  </a:lnTo>
                  <a:lnTo>
                    <a:pt x="695" y="133"/>
                  </a:lnTo>
                  <a:lnTo>
                    <a:pt x="693" y="131"/>
                  </a:lnTo>
                  <a:lnTo>
                    <a:pt x="689" y="129"/>
                  </a:lnTo>
                  <a:lnTo>
                    <a:pt x="689" y="129"/>
                  </a:lnTo>
                  <a:lnTo>
                    <a:pt x="690" y="129"/>
                  </a:lnTo>
                  <a:lnTo>
                    <a:pt x="690" y="128"/>
                  </a:lnTo>
                  <a:lnTo>
                    <a:pt x="689" y="126"/>
                  </a:lnTo>
                  <a:lnTo>
                    <a:pt x="689" y="126"/>
                  </a:lnTo>
                  <a:lnTo>
                    <a:pt x="689" y="125"/>
                  </a:lnTo>
                  <a:lnTo>
                    <a:pt x="690" y="123"/>
                  </a:lnTo>
                  <a:lnTo>
                    <a:pt x="690" y="123"/>
                  </a:lnTo>
                  <a:lnTo>
                    <a:pt x="692" y="122"/>
                  </a:lnTo>
                  <a:lnTo>
                    <a:pt x="693" y="120"/>
                  </a:lnTo>
                  <a:lnTo>
                    <a:pt x="695" y="120"/>
                  </a:lnTo>
                  <a:lnTo>
                    <a:pt x="695" y="119"/>
                  </a:lnTo>
                  <a:lnTo>
                    <a:pt x="695" y="117"/>
                  </a:lnTo>
                  <a:lnTo>
                    <a:pt x="693" y="117"/>
                  </a:lnTo>
                  <a:lnTo>
                    <a:pt x="693" y="111"/>
                  </a:lnTo>
                  <a:lnTo>
                    <a:pt x="692" y="111"/>
                  </a:lnTo>
                  <a:lnTo>
                    <a:pt x="692" y="111"/>
                  </a:lnTo>
                  <a:lnTo>
                    <a:pt x="690" y="113"/>
                  </a:lnTo>
                  <a:lnTo>
                    <a:pt x="689" y="111"/>
                  </a:lnTo>
                  <a:lnTo>
                    <a:pt x="689" y="109"/>
                  </a:lnTo>
                  <a:lnTo>
                    <a:pt x="690" y="105"/>
                  </a:lnTo>
                  <a:lnTo>
                    <a:pt x="690" y="103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3" y="99"/>
                  </a:lnTo>
                  <a:lnTo>
                    <a:pt x="695" y="99"/>
                  </a:lnTo>
                  <a:lnTo>
                    <a:pt x="695" y="97"/>
                  </a:lnTo>
                  <a:lnTo>
                    <a:pt x="695" y="97"/>
                  </a:lnTo>
                  <a:lnTo>
                    <a:pt x="693" y="96"/>
                  </a:lnTo>
                  <a:lnTo>
                    <a:pt x="692" y="96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90" y="96"/>
                  </a:lnTo>
                  <a:lnTo>
                    <a:pt x="690" y="97"/>
                  </a:lnTo>
                  <a:lnTo>
                    <a:pt x="690" y="97"/>
                  </a:lnTo>
                  <a:lnTo>
                    <a:pt x="689" y="97"/>
                  </a:lnTo>
                  <a:lnTo>
                    <a:pt x="687" y="93"/>
                  </a:lnTo>
                  <a:lnTo>
                    <a:pt x="686" y="91"/>
                  </a:lnTo>
                  <a:lnTo>
                    <a:pt x="684" y="89"/>
                  </a:lnTo>
                  <a:lnTo>
                    <a:pt x="681" y="88"/>
                  </a:lnTo>
                  <a:lnTo>
                    <a:pt x="679" y="86"/>
                  </a:lnTo>
                  <a:lnTo>
                    <a:pt x="678" y="86"/>
                  </a:lnTo>
                  <a:lnTo>
                    <a:pt x="673" y="89"/>
                  </a:lnTo>
                  <a:lnTo>
                    <a:pt x="672" y="89"/>
                  </a:lnTo>
                  <a:lnTo>
                    <a:pt x="670" y="88"/>
                  </a:lnTo>
                  <a:lnTo>
                    <a:pt x="669" y="88"/>
                  </a:lnTo>
                  <a:lnTo>
                    <a:pt x="667" y="86"/>
                  </a:lnTo>
                  <a:lnTo>
                    <a:pt x="664" y="86"/>
                  </a:lnTo>
                  <a:lnTo>
                    <a:pt x="661" y="86"/>
                  </a:lnTo>
                  <a:lnTo>
                    <a:pt x="659" y="86"/>
                  </a:lnTo>
                  <a:lnTo>
                    <a:pt x="659" y="88"/>
                  </a:lnTo>
                  <a:lnTo>
                    <a:pt x="658" y="89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6" y="91"/>
                  </a:lnTo>
                  <a:lnTo>
                    <a:pt x="656" y="93"/>
                  </a:lnTo>
                  <a:lnTo>
                    <a:pt x="655" y="89"/>
                  </a:lnTo>
                  <a:lnTo>
                    <a:pt x="653" y="85"/>
                  </a:lnTo>
                  <a:lnTo>
                    <a:pt x="653" y="79"/>
                  </a:lnTo>
                  <a:lnTo>
                    <a:pt x="653" y="74"/>
                  </a:lnTo>
                  <a:lnTo>
                    <a:pt x="652" y="73"/>
                  </a:lnTo>
                  <a:lnTo>
                    <a:pt x="650" y="71"/>
                  </a:lnTo>
                  <a:lnTo>
                    <a:pt x="649" y="71"/>
                  </a:lnTo>
                  <a:lnTo>
                    <a:pt x="647" y="69"/>
                  </a:lnTo>
                  <a:lnTo>
                    <a:pt x="643" y="69"/>
                  </a:lnTo>
                  <a:lnTo>
                    <a:pt x="641" y="69"/>
                  </a:lnTo>
                  <a:lnTo>
                    <a:pt x="643" y="68"/>
                  </a:lnTo>
                  <a:lnTo>
                    <a:pt x="643" y="66"/>
                  </a:lnTo>
                  <a:lnTo>
                    <a:pt x="641" y="66"/>
                  </a:lnTo>
                  <a:lnTo>
                    <a:pt x="641" y="66"/>
                  </a:lnTo>
                  <a:lnTo>
                    <a:pt x="639" y="66"/>
                  </a:lnTo>
                  <a:lnTo>
                    <a:pt x="639" y="66"/>
                  </a:lnTo>
                  <a:lnTo>
                    <a:pt x="638" y="68"/>
                  </a:lnTo>
                  <a:lnTo>
                    <a:pt x="636" y="68"/>
                  </a:lnTo>
                  <a:lnTo>
                    <a:pt x="633" y="69"/>
                  </a:lnTo>
                  <a:lnTo>
                    <a:pt x="632" y="69"/>
                  </a:lnTo>
                  <a:lnTo>
                    <a:pt x="630" y="69"/>
                  </a:lnTo>
                  <a:lnTo>
                    <a:pt x="627" y="68"/>
                  </a:lnTo>
                  <a:lnTo>
                    <a:pt x="626" y="66"/>
                  </a:lnTo>
                  <a:lnTo>
                    <a:pt x="626" y="65"/>
                  </a:lnTo>
                  <a:lnTo>
                    <a:pt x="624" y="63"/>
                  </a:lnTo>
                  <a:lnTo>
                    <a:pt x="624" y="60"/>
                  </a:lnTo>
                  <a:lnTo>
                    <a:pt x="622" y="54"/>
                  </a:lnTo>
                  <a:lnTo>
                    <a:pt x="622" y="51"/>
                  </a:lnTo>
                  <a:lnTo>
                    <a:pt x="622" y="48"/>
                  </a:lnTo>
                  <a:lnTo>
                    <a:pt x="622" y="45"/>
                  </a:lnTo>
                  <a:lnTo>
                    <a:pt x="621" y="45"/>
                  </a:lnTo>
                  <a:lnTo>
                    <a:pt x="621" y="45"/>
                  </a:lnTo>
                  <a:lnTo>
                    <a:pt x="619" y="43"/>
                  </a:lnTo>
                  <a:lnTo>
                    <a:pt x="619" y="43"/>
                  </a:lnTo>
                  <a:lnTo>
                    <a:pt x="618" y="42"/>
                  </a:lnTo>
                  <a:lnTo>
                    <a:pt x="616" y="39"/>
                  </a:lnTo>
                  <a:lnTo>
                    <a:pt x="616" y="39"/>
                  </a:lnTo>
                  <a:lnTo>
                    <a:pt x="616" y="37"/>
                  </a:lnTo>
                  <a:lnTo>
                    <a:pt x="615" y="36"/>
                  </a:lnTo>
                  <a:lnTo>
                    <a:pt x="613" y="36"/>
                  </a:lnTo>
                  <a:lnTo>
                    <a:pt x="607" y="37"/>
                  </a:lnTo>
                  <a:lnTo>
                    <a:pt x="602" y="39"/>
                  </a:lnTo>
                  <a:lnTo>
                    <a:pt x="601" y="39"/>
                  </a:lnTo>
                  <a:lnTo>
                    <a:pt x="599" y="40"/>
                  </a:lnTo>
                  <a:lnTo>
                    <a:pt x="598" y="45"/>
                  </a:lnTo>
                  <a:lnTo>
                    <a:pt x="596" y="45"/>
                  </a:lnTo>
                  <a:lnTo>
                    <a:pt x="595" y="45"/>
                  </a:lnTo>
                  <a:lnTo>
                    <a:pt x="595" y="45"/>
                  </a:lnTo>
                  <a:lnTo>
                    <a:pt x="589" y="42"/>
                  </a:lnTo>
                  <a:lnTo>
                    <a:pt x="587" y="42"/>
                  </a:lnTo>
                  <a:lnTo>
                    <a:pt x="587" y="40"/>
                  </a:lnTo>
                  <a:lnTo>
                    <a:pt x="587" y="39"/>
                  </a:lnTo>
                  <a:lnTo>
                    <a:pt x="586" y="37"/>
                  </a:lnTo>
                  <a:lnTo>
                    <a:pt x="582" y="34"/>
                  </a:lnTo>
                  <a:lnTo>
                    <a:pt x="582" y="34"/>
                  </a:lnTo>
                  <a:lnTo>
                    <a:pt x="582" y="32"/>
                  </a:lnTo>
                  <a:lnTo>
                    <a:pt x="582" y="32"/>
                  </a:lnTo>
                  <a:lnTo>
                    <a:pt x="581" y="32"/>
                  </a:lnTo>
                  <a:lnTo>
                    <a:pt x="581" y="31"/>
                  </a:lnTo>
                  <a:lnTo>
                    <a:pt x="579" y="32"/>
                  </a:lnTo>
                  <a:lnTo>
                    <a:pt x="578" y="32"/>
                  </a:lnTo>
                  <a:lnTo>
                    <a:pt x="578" y="31"/>
                  </a:lnTo>
                  <a:lnTo>
                    <a:pt x="576" y="31"/>
                  </a:lnTo>
                  <a:lnTo>
                    <a:pt x="576" y="31"/>
                  </a:lnTo>
                  <a:lnTo>
                    <a:pt x="576" y="29"/>
                  </a:lnTo>
                  <a:lnTo>
                    <a:pt x="575" y="29"/>
                  </a:lnTo>
                  <a:lnTo>
                    <a:pt x="575" y="28"/>
                  </a:lnTo>
                  <a:lnTo>
                    <a:pt x="575" y="28"/>
                  </a:lnTo>
                  <a:lnTo>
                    <a:pt x="575" y="28"/>
                  </a:lnTo>
                  <a:lnTo>
                    <a:pt x="575" y="26"/>
                  </a:lnTo>
                  <a:lnTo>
                    <a:pt x="575" y="25"/>
                  </a:lnTo>
                  <a:lnTo>
                    <a:pt x="573" y="20"/>
                  </a:lnTo>
                  <a:lnTo>
                    <a:pt x="573" y="19"/>
                  </a:lnTo>
                  <a:lnTo>
                    <a:pt x="576" y="17"/>
                  </a:lnTo>
                  <a:lnTo>
                    <a:pt x="576" y="17"/>
                  </a:lnTo>
                  <a:lnTo>
                    <a:pt x="576" y="14"/>
                  </a:lnTo>
                  <a:lnTo>
                    <a:pt x="575" y="12"/>
                  </a:lnTo>
                  <a:lnTo>
                    <a:pt x="572" y="9"/>
                  </a:lnTo>
                  <a:lnTo>
                    <a:pt x="572" y="8"/>
                  </a:lnTo>
                  <a:lnTo>
                    <a:pt x="570" y="2"/>
                  </a:lnTo>
                  <a:lnTo>
                    <a:pt x="570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6" y="2"/>
                  </a:lnTo>
                  <a:lnTo>
                    <a:pt x="559" y="3"/>
                  </a:lnTo>
                  <a:lnTo>
                    <a:pt x="555" y="3"/>
                  </a:lnTo>
                  <a:lnTo>
                    <a:pt x="555" y="3"/>
                  </a:lnTo>
                  <a:lnTo>
                    <a:pt x="553" y="3"/>
                  </a:lnTo>
                  <a:lnTo>
                    <a:pt x="541" y="8"/>
                  </a:lnTo>
                  <a:lnTo>
                    <a:pt x="529" y="9"/>
                  </a:lnTo>
                  <a:lnTo>
                    <a:pt x="525" y="11"/>
                  </a:lnTo>
                  <a:lnTo>
                    <a:pt x="524" y="9"/>
                  </a:lnTo>
                  <a:lnTo>
                    <a:pt x="510" y="17"/>
                  </a:lnTo>
                  <a:lnTo>
                    <a:pt x="509" y="19"/>
                  </a:lnTo>
                  <a:lnTo>
                    <a:pt x="505" y="22"/>
                  </a:lnTo>
                  <a:lnTo>
                    <a:pt x="505" y="23"/>
                  </a:lnTo>
                  <a:lnTo>
                    <a:pt x="504" y="23"/>
                  </a:lnTo>
                  <a:lnTo>
                    <a:pt x="502" y="23"/>
                  </a:lnTo>
                  <a:lnTo>
                    <a:pt x="501" y="23"/>
                  </a:lnTo>
                  <a:lnTo>
                    <a:pt x="499" y="25"/>
                  </a:lnTo>
                  <a:lnTo>
                    <a:pt x="499" y="26"/>
                  </a:lnTo>
                  <a:lnTo>
                    <a:pt x="499" y="28"/>
                  </a:lnTo>
                  <a:lnTo>
                    <a:pt x="501" y="32"/>
                  </a:lnTo>
                  <a:lnTo>
                    <a:pt x="501" y="34"/>
                  </a:lnTo>
                  <a:lnTo>
                    <a:pt x="501" y="37"/>
                  </a:lnTo>
                  <a:lnTo>
                    <a:pt x="499" y="39"/>
                  </a:lnTo>
                  <a:lnTo>
                    <a:pt x="498" y="43"/>
                  </a:lnTo>
                  <a:lnTo>
                    <a:pt x="498" y="45"/>
                  </a:lnTo>
                  <a:lnTo>
                    <a:pt x="498" y="48"/>
                  </a:lnTo>
                  <a:lnTo>
                    <a:pt x="499" y="53"/>
                  </a:lnTo>
                  <a:lnTo>
                    <a:pt x="499" y="59"/>
                  </a:lnTo>
                  <a:lnTo>
                    <a:pt x="499" y="60"/>
                  </a:lnTo>
                  <a:lnTo>
                    <a:pt x="501" y="63"/>
                  </a:lnTo>
                  <a:lnTo>
                    <a:pt x="499" y="65"/>
                  </a:lnTo>
                  <a:lnTo>
                    <a:pt x="499" y="69"/>
                  </a:lnTo>
                  <a:lnTo>
                    <a:pt x="499" y="74"/>
                  </a:lnTo>
                  <a:lnTo>
                    <a:pt x="498" y="79"/>
                  </a:lnTo>
                  <a:lnTo>
                    <a:pt x="498" y="80"/>
                  </a:lnTo>
                  <a:lnTo>
                    <a:pt x="501" y="83"/>
                  </a:lnTo>
                  <a:lnTo>
                    <a:pt x="501" y="83"/>
                  </a:lnTo>
                  <a:lnTo>
                    <a:pt x="501" y="83"/>
                  </a:lnTo>
                  <a:lnTo>
                    <a:pt x="499" y="83"/>
                  </a:lnTo>
                  <a:lnTo>
                    <a:pt x="498" y="86"/>
                  </a:lnTo>
                  <a:lnTo>
                    <a:pt x="496" y="91"/>
                  </a:lnTo>
                  <a:lnTo>
                    <a:pt x="496" y="94"/>
                  </a:lnTo>
                  <a:lnTo>
                    <a:pt x="498" y="96"/>
                  </a:lnTo>
                  <a:lnTo>
                    <a:pt x="501" y="97"/>
                  </a:lnTo>
                  <a:lnTo>
                    <a:pt x="501" y="99"/>
                  </a:lnTo>
                  <a:lnTo>
                    <a:pt x="501" y="100"/>
                  </a:lnTo>
                  <a:lnTo>
                    <a:pt x="502" y="100"/>
                  </a:lnTo>
                  <a:lnTo>
                    <a:pt x="504" y="100"/>
                  </a:lnTo>
                  <a:lnTo>
                    <a:pt x="505" y="102"/>
                  </a:lnTo>
                  <a:lnTo>
                    <a:pt x="505" y="102"/>
                  </a:lnTo>
                  <a:lnTo>
                    <a:pt x="504" y="102"/>
                  </a:lnTo>
                  <a:lnTo>
                    <a:pt x="504" y="103"/>
                  </a:lnTo>
                  <a:lnTo>
                    <a:pt x="505" y="103"/>
                  </a:lnTo>
                  <a:lnTo>
                    <a:pt x="505" y="103"/>
                  </a:lnTo>
                  <a:lnTo>
                    <a:pt x="505" y="103"/>
                  </a:lnTo>
                  <a:lnTo>
                    <a:pt x="505" y="105"/>
                  </a:lnTo>
                  <a:lnTo>
                    <a:pt x="505" y="105"/>
                  </a:lnTo>
                  <a:lnTo>
                    <a:pt x="505" y="105"/>
                  </a:lnTo>
                  <a:lnTo>
                    <a:pt x="498" y="102"/>
                  </a:lnTo>
                  <a:lnTo>
                    <a:pt x="495" y="102"/>
                  </a:lnTo>
                  <a:lnTo>
                    <a:pt x="492" y="105"/>
                  </a:lnTo>
                  <a:lnTo>
                    <a:pt x="490" y="111"/>
                  </a:lnTo>
                  <a:lnTo>
                    <a:pt x="490" y="113"/>
                  </a:lnTo>
                  <a:lnTo>
                    <a:pt x="488" y="113"/>
                  </a:lnTo>
                  <a:lnTo>
                    <a:pt x="485" y="117"/>
                  </a:lnTo>
                  <a:lnTo>
                    <a:pt x="476" y="125"/>
                  </a:lnTo>
                  <a:lnTo>
                    <a:pt x="473" y="129"/>
                  </a:lnTo>
                  <a:lnTo>
                    <a:pt x="470" y="129"/>
                  </a:lnTo>
                  <a:lnTo>
                    <a:pt x="468" y="131"/>
                  </a:lnTo>
                  <a:lnTo>
                    <a:pt x="438" y="140"/>
                  </a:lnTo>
                  <a:lnTo>
                    <a:pt x="432" y="140"/>
                  </a:lnTo>
                  <a:lnTo>
                    <a:pt x="425" y="143"/>
                  </a:lnTo>
                  <a:lnTo>
                    <a:pt x="424" y="145"/>
                  </a:lnTo>
                  <a:lnTo>
                    <a:pt x="421" y="146"/>
                  </a:lnTo>
                  <a:lnTo>
                    <a:pt x="411" y="151"/>
                  </a:lnTo>
                  <a:lnTo>
                    <a:pt x="410" y="153"/>
                  </a:lnTo>
                  <a:lnTo>
                    <a:pt x="401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6" y="160"/>
                  </a:lnTo>
                  <a:lnTo>
                    <a:pt x="395" y="162"/>
                  </a:lnTo>
                  <a:lnTo>
                    <a:pt x="391" y="173"/>
                  </a:lnTo>
                  <a:lnTo>
                    <a:pt x="387" y="179"/>
                  </a:lnTo>
                  <a:lnTo>
                    <a:pt x="387" y="180"/>
                  </a:lnTo>
                  <a:lnTo>
                    <a:pt x="387" y="182"/>
                  </a:lnTo>
                  <a:lnTo>
                    <a:pt x="387" y="182"/>
                  </a:lnTo>
                  <a:lnTo>
                    <a:pt x="388" y="183"/>
                  </a:lnTo>
                  <a:lnTo>
                    <a:pt x="388" y="183"/>
                  </a:lnTo>
                  <a:lnTo>
                    <a:pt x="390" y="185"/>
                  </a:lnTo>
                  <a:lnTo>
                    <a:pt x="391" y="185"/>
                  </a:lnTo>
                  <a:lnTo>
                    <a:pt x="393" y="186"/>
                  </a:lnTo>
                  <a:lnTo>
                    <a:pt x="395" y="186"/>
                  </a:lnTo>
                  <a:lnTo>
                    <a:pt x="396" y="186"/>
                  </a:lnTo>
                  <a:lnTo>
                    <a:pt x="401" y="188"/>
                  </a:lnTo>
                  <a:lnTo>
                    <a:pt x="407" y="190"/>
                  </a:lnTo>
                  <a:lnTo>
                    <a:pt x="413" y="188"/>
                  </a:lnTo>
                  <a:lnTo>
                    <a:pt x="418" y="185"/>
                  </a:lnTo>
                  <a:lnTo>
                    <a:pt x="418" y="186"/>
                  </a:lnTo>
                  <a:lnTo>
                    <a:pt x="416" y="188"/>
                  </a:lnTo>
                  <a:lnTo>
                    <a:pt x="411" y="190"/>
                  </a:lnTo>
                  <a:lnTo>
                    <a:pt x="402" y="191"/>
                  </a:lnTo>
                  <a:lnTo>
                    <a:pt x="393" y="194"/>
                  </a:lnTo>
                  <a:lnTo>
                    <a:pt x="388" y="197"/>
                  </a:lnTo>
                  <a:lnTo>
                    <a:pt x="387" y="200"/>
                  </a:lnTo>
                  <a:lnTo>
                    <a:pt x="387" y="200"/>
                  </a:lnTo>
                  <a:lnTo>
                    <a:pt x="385" y="200"/>
                  </a:lnTo>
                  <a:lnTo>
                    <a:pt x="382" y="203"/>
                  </a:lnTo>
                  <a:lnTo>
                    <a:pt x="379" y="205"/>
                  </a:lnTo>
                  <a:lnTo>
                    <a:pt x="367" y="206"/>
                  </a:lnTo>
                  <a:lnTo>
                    <a:pt x="365" y="210"/>
                  </a:lnTo>
                  <a:lnTo>
                    <a:pt x="358" y="205"/>
                  </a:lnTo>
                  <a:lnTo>
                    <a:pt x="354" y="203"/>
                  </a:lnTo>
                  <a:lnTo>
                    <a:pt x="353" y="202"/>
                  </a:lnTo>
                  <a:lnTo>
                    <a:pt x="351" y="202"/>
                  </a:lnTo>
                  <a:lnTo>
                    <a:pt x="345" y="202"/>
                  </a:lnTo>
                  <a:lnTo>
                    <a:pt x="342" y="200"/>
                  </a:lnTo>
                  <a:lnTo>
                    <a:pt x="341" y="200"/>
                  </a:lnTo>
                  <a:lnTo>
                    <a:pt x="338" y="202"/>
                  </a:lnTo>
                  <a:lnTo>
                    <a:pt x="336" y="202"/>
                  </a:lnTo>
                  <a:lnTo>
                    <a:pt x="333" y="200"/>
                  </a:lnTo>
                  <a:lnTo>
                    <a:pt x="321" y="200"/>
                  </a:lnTo>
                  <a:lnTo>
                    <a:pt x="311" y="196"/>
                  </a:lnTo>
                  <a:lnTo>
                    <a:pt x="302" y="196"/>
                  </a:lnTo>
                  <a:lnTo>
                    <a:pt x="301" y="196"/>
                  </a:lnTo>
                  <a:lnTo>
                    <a:pt x="299" y="197"/>
                  </a:lnTo>
                  <a:lnTo>
                    <a:pt x="299" y="199"/>
                  </a:lnTo>
                  <a:lnTo>
                    <a:pt x="299" y="200"/>
                  </a:lnTo>
                  <a:lnTo>
                    <a:pt x="299" y="202"/>
                  </a:lnTo>
                  <a:lnTo>
                    <a:pt x="298" y="202"/>
                  </a:lnTo>
                  <a:lnTo>
                    <a:pt x="298" y="200"/>
                  </a:lnTo>
                  <a:lnTo>
                    <a:pt x="296" y="200"/>
                  </a:lnTo>
                  <a:lnTo>
                    <a:pt x="296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3" y="200"/>
                  </a:lnTo>
                  <a:lnTo>
                    <a:pt x="293" y="199"/>
                  </a:lnTo>
                  <a:lnTo>
                    <a:pt x="293" y="199"/>
                  </a:lnTo>
                  <a:lnTo>
                    <a:pt x="294" y="199"/>
                  </a:lnTo>
                  <a:lnTo>
                    <a:pt x="294" y="197"/>
                  </a:lnTo>
                  <a:lnTo>
                    <a:pt x="294" y="196"/>
                  </a:lnTo>
                  <a:lnTo>
                    <a:pt x="294" y="194"/>
                  </a:lnTo>
                  <a:lnTo>
                    <a:pt x="293" y="193"/>
                  </a:lnTo>
                  <a:lnTo>
                    <a:pt x="288" y="185"/>
                  </a:lnTo>
                  <a:lnTo>
                    <a:pt x="287" y="182"/>
                  </a:lnTo>
                  <a:lnTo>
                    <a:pt x="285" y="179"/>
                  </a:lnTo>
                  <a:lnTo>
                    <a:pt x="284" y="177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8" y="174"/>
                  </a:lnTo>
                  <a:lnTo>
                    <a:pt x="288" y="173"/>
                  </a:lnTo>
                  <a:lnTo>
                    <a:pt x="288" y="173"/>
                  </a:lnTo>
                  <a:lnTo>
                    <a:pt x="288" y="171"/>
                  </a:lnTo>
                  <a:lnTo>
                    <a:pt x="290" y="170"/>
                  </a:lnTo>
                  <a:lnTo>
                    <a:pt x="290" y="168"/>
                  </a:lnTo>
                  <a:lnTo>
                    <a:pt x="288" y="165"/>
                  </a:lnTo>
                  <a:lnTo>
                    <a:pt x="288" y="162"/>
                  </a:lnTo>
                  <a:lnTo>
                    <a:pt x="288" y="162"/>
                  </a:lnTo>
                  <a:lnTo>
                    <a:pt x="287" y="162"/>
                  </a:lnTo>
                  <a:lnTo>
                    <a:pt x="277" y="160"/>
                  </a:lnTo>
                  <a:lnTo>
                    <a:pt x="276" y="160"/>
                  </a:lnTo>
                  <a:lnTo>
                    <a:pt x="273" y="160"/>
                  </a:lnTo>
                  <a:lnTo>
                    <a:pt x="273" y="162"/>
                  </a:lnTo>
                  <a:lnTo>
                    <a:pt x="270" y="165"/>
                  </a:lnTo>
                  <a:lnTo>
                    <a:pt x="270" y="165"/>
                  </a:lnTo>
                  <a:lnTo>
                    <a:pt x="268" y="166"/>
                  </a:lnTo>
                  <a:lnTo>
                    <a:pt x="267" y="166"/>
                  </a:lnTo>
                  <a:lnTo>
                    <a:pt x="265" y="165"/>
                  </a:lnTo>
                  <a:lnTo>
                    <a:pt x="265" y="165"/>
                  </a:lnTo>
                  <a:lnTo>
                    <a:pt x="264" y="165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54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59"/>
                  </a:lnTo>
                  <a:lnTo>
                    <a:pt x="242" y="160"/>
                  </a:lnTo>
                  <a:lnTo>
                    <a:pt x="242" y="159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60"/>
                  </a:lnTo>
                  <a:lnTo>
                    <a:pt x="237" y="163"/>
                  </a:lnTo>
                  <a:lnTo>
                    <a:pt x="241" y="165"/>
                  </a:lnTo>
                  <a:lnTo>
                    <a:pt x="242" y="165"/>
                  </a:lnTo>
                  <a:lnTo>
                    <a:pt x="244" y="166"/>
                  </a:lnTo>
                  <a:lnTo>
                    <a:pt x="244" y="168"/>
                  </a:lnTo>
                  <a:lnTo>
                    <a:pt x="244" y="168"/>
                  </a:lnTo>
                  <a:lnTo>
                    <a:pt x="245" y="170"/>
                  </a:lnTo>
                  <a:lnTo>
                    <a:pt x="245" y="173"/>
                  </a:lnTo>
                  <a:lnTo>
                    <a:pt x="244" y="176"/>
                  </a:lnTo>
                  <a:lnTo>
                    <a:pt x="244" y="177"/>
                  </a:lnTo>
                  <a:lnTo>
                    <a:pt x="242" y="179"/>
                  </a:lnTo>
                  <a:lnTo>
                    <a:pt x="242" y="180"/>
                  </a:lnTo>
                  <a:lnTo>
                    <a:pt x="242" y="180"/>
                  </a:lnTo>
                  <a:lnTo>
                    <a:pt x="244" y="183"/>
                  </a:lnTo>
                  <a:lnTo>
                    <a:pt x="244" y="185"/>
                  </a:lnTo>
                  <a:lnTo>
                    <a:pt x="245" y="185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8"/>
                  </a:lnTo>
                  <a:lnTo>
                    <a:pt x="247" y="190"/>
                  </a:lnTo>
                  <a:lnTo>
                    <a:pt x="247" y="190"/>
                  </a:lnTo>
                  <a:lnTo>
                    <a:pt x="247" y="191"/>
                  </a:lnTo>
                  <a:lnTo>
                    <a:pt x="247" y="196"/>
                  </a:lnTo>
                  <a:lnTo>
                    <a:pt x="247" y="197"/>
                  </a:lnTo>
                  <a:lnTo>
                    <a:pt x="247" y="197"/>
                  </a:lnTo>
                  <a:lnTo>
                    <a:pt x="248" y="197"/>
                  </a:lnTo>
                  <a:lnTo>
                    <a:pt x="248" y="197"/>
                  </a:lnTo>
                  <a:lnTo>
                    <a:pt x="250" y="197"/>
                  </a:lnTo>
                  <a:lnTo>
                    <a:pt x="250" y="197"/>
                  </a:lnTo>
                  <a:lnTo>
                    <a:pt x="250" y="197"/>
                  </a:lnTo>
                  <a:lnTo>
                    <a:pt x="250" y="199"/>
                  </a:lnTo>
                  <a:lnTo>
                    <a:pt x="251" y="200"/>
                  </a:lnTo>
                  <a:lnTo>
                    <a:pt x="253" y="202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6" y="203"/>
                  </a:lnTo>
                  <a:lnTo>
                    <a:pt x="256" y="203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6" y="206"/>
                  </a:lnTo>
                  <a:lnTo>
                    <a:pt x="257" y="208"/>
                  </a:lnTo>
                  <a:lnTo>
                    <a:pt x="257" y="208"/>
                  </a:lnTo>
                  <a:lnTo>
                    <a:pt x="257" y="208"/>
                  </a:lnTo>
                  <a:lnTo>
                    <a:pt x="257" y="210"/>
                  </a:lnTo>
                  <a:lnTo>
                    <a:pt x="259" y="210"/>
                  </a:lnTo>
                  <a:lnTo>
                    <a:pt x="259" y="214"/>
                  </a:lnTo>
                  <a:lnTo>
                    <a:pt x="261" y="216"/>
                  </a:lnTo>
                  <a:lnTo>
                    <a:pt x="261" y="214"/>
                  </a:lnTo>
                  <a:lnTo>
                    <a:pt x="262" y="214"/>
                  </a:lnTo>
                  <a:lnTo>
                    <a:pt x="265" y="214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4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9"/>
                  </a:lnTo>
                  <a:lnTo>
                    <a:pt x="262" y="220"/>
                  </a:lnTo>
                  <a:lnTo>
                    <a:pt x="262" y="223"/>
                  </a:lnTo>
                  <a:lnTo>
                    <a:pt x="264" y="225"/>
                  </a:lnTo>
                  <a:lnTo>
                    <a:pt x="264" y="223"/>
                  </a:lnTo>
                  <a:lnTo>
                    <a:pt x="264" y="223"/>
                  </a:lnTo>
                  <a:lnTo>
                    <a:pt x="265" y="225"/>
                  </a:lnTo>
                  <a:lnTo>
                    <a:pt x="264" y="225"/>
                  </a:lnTo>
                  <a:lnTo>
                    <a:pt x="262" y="227"/>
                  </a:lnTo>
                  <a:lnTo>
                    <a:pt x="262" y="228"/>
                  </a:lnTo>
                  <a:lnTo>
                    <a:pt x="262" y="230"/>
                  </a:lnTo>
                  <a:lnTo>
                    <a:pt x="262" y="231"/>
                  </a:lnTo>
                  <a:lnTo>
                    <a:pt x="262" y="231"/>
                  </a:lnTo>
                  <a:lnTo>
                    <a:pt x="264" y="231"/>
                  </a:lnTo>
                  <a:lnTo>
                    <a:pt x="264" y="233"/>
                  </a:lnTo>
                  <a:lnTo>
                    <a:pt x="262" y="234"/>
                  </a:lnTo>
                  <a:lnTo>
                    <a:pt x="262" y="237"/>
                  </a:lnTo>
                  <a:lnTo>
                    <a:pt x="264" y="237"/>
                  </a:lnTo>
                  <a:lnTo>
                    <a:pt x="264" y="239"/>
                  </a:lnTo>
                  <a:lnTo>
                    <a:pt x="264" y="239"/>
                  </a:lnTo>
                  <a:lnTo>
                    <a:pt x="264" y="239"/>
                  </a:lnTo>
                  <a:lnTo>
                    <a:pt x="265" y="237"/>
                  </a:lnTo>
                  <a:lnTo>
                    <a:pt x="267" y="236"/>
                  </a:lnTo>
                  <a:lnTo>
                    <a:pt x="268" y="236"/>
                  </a:lnTo>
                  <a:lnTo>
                    <a:pt x="270" y="237"/>
                  </a:lnTo>
                  <a:lnTo>
                    <a:pt x="270" y="237"/>
                  </a:lnTo>
                  <a:lnTo>
                    <a:pt x="268" y="237"/>
                  </a:lnTo>
                  <a:lnTo>
                    <a:pt x="267" y="237"/>
                  </a:lnTo>
                  <a:lnTo>
                    <a:pt x="267" y="239"/>
                  </a:lnTo>
                  <a:lnTo>
                    <a:pt x="265" y="245"/>
                  </a:lnTo>
                  <a:lnTo>
                    <a:pt x="265" y="247"/>
                  </a:lnTo>
                  <a:lnTo>
                    <a:pt x="267" y="247"/>
                  </a:lnTo>
                  <a:lnTo>
                    <a:pt x="267" y="247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48"/>
                  </a:lnTo>
                  <a:lnTo>
                    <a:pt x="265" y="250"/>
                  </a:lnTo>
                  <a:lnTo>
                    <a:pt x="265" y="254"/>
                  </a:lnTo>
                  <a:lnTo>
                    <a:pt x="264" y="256"/>
                  </a:lnTo>
                  <a:lnTo>
                    <a:pt x="264" y="257"/>
                  </a:lnTo>
                  <a:lnTo>
                    <a:pt x="262" y="257"/>
                  </a:lnTo>
                  <a:lnTo>
                    <a:pt x="262" y="259"/>
                  </a:lnTo>
                  <a:lnTo>
                    <a:pt x="264" y="259"/>
                  </a:lnTo>
                  <a:lnTo>
                    <a:pt x="265" y="260"/>
                  </a:lnTo>
                  <a:lnTo>
                    <a:pt x="265" y="263"/>
                  </a:lnTo>
                  <a:lnTo>
                    <a:pt x="265" y="267"/>
                  </a:lnTo>
                  <a:lnTo>
                    <a:pt x="267" y="270"/>
                  </a:lnTo>
                  <a:lnTo>
                    <a:pt x="268" y="271"/>
                  </a:lnTo>
                  <a:lnTo>
                    <a:pt x="270" y="274"/>
                  </a:lnTo>
                  <a:lnTo>
                    <a:pt x="270" y="276"/>
                  </a:lnTo>
                  <a:lnTo>
                    <a:pt x="271" y="276"/>
                  </a:lnTo>
                  <a:lnTo>
                    <a:pt x="273" y="276"/>
                  </a:lnTo>
                  <a:lnTo>
                    <a:pt x="273" y="277"/>
                  </a:lnTo>
                  <a:lnTo>
                    <a:pt x="274" y="277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7"/>
                  </a:lnTo>
                  <a:lnTo>
                    <a:pt x="277" y="279"/>
                  </a:lnTo>
                  <a:lnTo>
                    <a:pt x="279" y="279"/>
                  </a:lnTo>
                  <a:lnTo>
                    <a:pt x="281" y="280"/>
                  </a:lnTo>
                  <a:lnTo>
                    <a:pt x="277" y="280"/>
                  </a:lnTo>
                  <a:lnTo>
                    <a:pt x="270" y="282"/>
                  </a:lnTo>
                  <a:lnTo>
                    <a:pt x="264" y="280"/>
                  </a:lnTo>
                  <a:lnTo>
                    <a:pt x="264" y="280"/>
                  </a:lnTo>
                  <a:lnTo>
                    <a:pt x="262" y="282"/>
                  </a:lnTo>
                  <a:lnTo>
                    <a:pt x="259" y="283"/>
                  </a:lnTo>
                  <a:lnTo>
                    <a:pt x="253" y="283"/>
                  </a:lnTo>
                  <a:lnTo>
                    <a:pt x="248" y="283"/>
                  </a:lnTo>
                  <a:lnTo>
                    <a:pt x="245" y="283"/>
                  </a:lnTo>
                  <a:lnTo>
                    <a:pt x="244" y="282"/>
                  </a:lnTo>
                  <a:lnTo>
                    <a:pt x="244" y="279"/>
                  </a:lnTo>
                  <a:lnTo>
                    <a:pt x="245" y="276"/>
                  </a:lnTo>
                  <a:lnTo>
                    <a:pt x="244" y="274"/>
                  </a:lnTo>
                  <a:lnTo>
                    <a:pt x="244" y="274"/>
                  </a:lnTo>
                  <a:lnTo>
                    <a:pt x="244" y="274"/>
                  </a:lnTo>
                  <a:lnTo>
                    <a:pt x="244" y="273"/>
                  </a:lnTo>
                  <a:lnTo>
                    <a:pt x="237" y="274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6"/>
                  </a:lnTo>
                  <a:lnTo>
                    <a:pt x="234" y="277"/>
                  </a:lnTo>
                  <a:lnTo>
                    <a:pt x="234" y="277"/>
                  </a:lnTo>
                  <a:lnTo>
                    <a:pt x="233" y="277"/>
                  </a:lnTo>
                  <a:lnTo>
                    <a:pt x="233" y="279"/>
                  </a:lnTo>
                  <a:lnTo>
                    <a:pt x="231" y="279"/>
                  </a:lnTo>
                  <a:lnTo>
                    <a:pt x="231" y="280"/>
                  </a:lnTo>
                  <a:lnTo>
                    <a:pt x="231" y="280"/>
                  </a:lnTo>
                  <a:lnTo>
                    <a:pt x="231" y="282"/>
                  </a:lnTo>
                  <a:lnTo>
                    <a:pt x="233" y="285"/>
                  </a:lnTo>
                  <a:lnTo>
                    <a:pt x="233" y="287"/>
                  </a:lnTo>
                  <a:lnTo>
                    <a:pt x="234" y="287"/>
                  </a:lnTo>
                  <a:lnTo>
                    <a:pt x="234" y="287"/>
                  </a:lnTo>
                  <a:lnTo>
                    <a:pt x="236" y="287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34" y="288"/>
                  </a:lnTo>
                  <a:lnTo>
                    <a:pt x="234" y="287"/>
                  </a:lnTo>
                  <a:lnTo>
                    <a:pt x="234" y="287"/>
                  </a:lnTo>
                  <a:lnTo>
                    <a:pt x="234" y="290"/>
                  </a:lnTo>
                  <a:lnTo>
                    <a:pt x="236" y="291"/>
                  </a:lnTo>
                  <a:lnTo>
                    <a:pt x="236" y="291"/>
                  </a:lnTo>
                  <a:lnTo>
                    <a:pt x="237" y="293"/>
                  </a:lnTo>
                  <a:lnTo>
                    <a:pt x="234" y="294"/>
                  </a:lnTo>
                  <a:lnTo>
                    <a:pt x="234" y="296"/>
                  </a:lnTo>
                  <a:lnTo>
                    <a:pt x="234" y="293"/>
                  </a:lnTo>
                  <a:lnTo>
                    <a:pt x="234" y="291"/>
                  </a:lnTo>
                  <a:lnTo>
                    <a:pt x="233" y="288"/>
                  </a:lnTo>
                  <a:lnTo>
                    <a:pt x="233" y="288"/>
                  </a:lnTo>
                  <a:lnTo>
                    <a:pt x="233" y="287"/>
                  </a:lnTo>
                  <a:lnTo>
                    <a:pt x="231" y="287"/>
                  </a:lnTo>
                  <a:lnTo>
                    <a:pt x="231" y="287"/>
                  </a:lnTo>
                  <a:lnTo>
                    <a:pt x="231" y="285"/>
                  </a:lnTo>
                  <a:lnTo>
                    <a:pt x="231" y="283"/>
                  </a:lnTo>
                  <a:lnTo>
                    <a:pt x="230" y="280"/>
                  </a:lnTo>
                  <a:lnTo>
                    <a:pt x="228" y="280"/>
                  </a:lnTo>
                  <a:lnTo>
                    <a:pt x="225" y="280"/>
                  </a:lnTo>
                  <a:lnTo>
                    <a:pt x="222" y="282"/>
                  </a:lnTo>
                  <a:lnTo>
                    <a:pt x="222" y="283"/>
                  </a:lnTo>
                  <a:lnTo>
                    <a:pt x="224" y="283"/>
                  </a:lnTo>
                  <a:lnTo>
                    <a:pt x="224" y="285"/>
                  </a:lnTo>
                  <a:lnTo>
                    <a:pt x="222" y="283"/>
                  </a:lnTo>
                  <a:lnTo>
                    <a:pt x="222" y="283"/>
                  </a:lnTo>
                  <a:lnTo>
                    <a:pt x="221" y="285"/>
                  </a:lnTo>
                  <a:lnTo>
                    <a:pt x="221" y="285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21" y="288"/>
                  </a:lnTo>
                  <a:lnTo>
                    <a:pt x="219" y="287"/>
                  </a:lnTo>
                  <a:lnTo>
                    <a:pt x="219" y="285"/>
                  </a:lnTo>
                  <a:lnTo>
                    <a:pt x="219" y="283"/>
                  </a:lnTo>
                  <a:lnTo>
                    <a:pt x="219" y="285"/>
                  </a:lnTo>
                  <a:lnTo>
                    <a:pt x="217" y="287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7"/>
                  </a:lnTo>
                  <a:lnTo>
                    <a:pt x="216" y="285"/>
                  </a:lnTo>
                  <a:lnTo>
                    <a:pt x="216" y="285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0"/>
                  </a:lnTo>
                  <a:lnTo>
                    <a:pt x="214" y="280"/>
                  </a:lnTo>
                  <a:lnTo>
                    <a:pt x="213" y="280"/>
                  </a:lnTo>
                  <a:lnTo>
                    <a:pt x="211" y="282"/>
                  </a:lnTo>
                  <a:lnTo>
                    <a:pt x="210" y="283"/>
                  </a:lnTo>
                  <a:lnTo>
                    <a:pt x="208" y="282"/>
                  </a:lnTo>
                  <a:lnTo>
                    <a:pt x="210" y="280"/>
                  </a:lnTo>
                  <a:lnTo>
                    <a:pt x="211" y="279"/>
                  </a:lnTo>
                  <a:lnTo>
                    <a:pt x="211" y="279"/>
                  </a:lnTo>
                  <a:lnTo>
                    <a:pt x="211" y="279"/>
                  </a:lnTo>
                  <a:lnTo>
                    <a:pt x="211" y="277"/>
                  </a:lnTo>
                  <a:lnTo>
                    <a:pt x="211" y="277"/>
                  </a:lnTo>
                  <a:lnTo>
                    <a:pt x="211" y="277"/>
                  </a:lnTo>
                  <a:lnTo>
                    <a:pt x="210" y="277"/>
                  </a:lnTo>
                  <a:lnTo>
                    <a:pt x="210" y="276"/>
                  </a:lnTo>
                  <a:lnTo>
                    <a:pt x="210" y="274"/>
                  </a:lnTo>
                  <a:lnTo>
                    <a:pt x="208" y="277"/>
                  </a:lnTo>
                  <a:lnTo>
                    <a:pt x="207" y="279"/>
                  </a:lnTo>
                  <a:lnTo>
                    <a:pt x="204" y="280"/>
                  </a:lnTo>
                  <a:lnTo>
                    <a:pt x="202" y="280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6" y="280"/>
                  </a:lnTo>
                  <a:lnTo>
                    <a:pt x="197" y="280"/>
                  </a:lnTo>
                  <a:lnTo>
                    <a:pt x="199" y="280"/>
                  </a:lnTo>
                  <a:lnTo>
                    <a:pt x="199" y="282"/>
                  </a:lnTo>
                  <a:lnTo>
                    <a:pt x="197" y="283"/>
                  </a:lnTo>
                  <a:lnTo>
                    <a:pt x="193" y="287"/>
                  </a:lnTo>
                  <a:lnTo>
                    <a:pt x="191" y="287"/>
                  </a:lnTo>
                  <a:lnTo>
                    <a:pt x="190" y="287"/>
                  </a:lnTo>
                  <a:lnTo>
                    <a:pt x="190" y="288"/>
                  </a:lnTo>
                  <a:lnTo>
                    <a:pt x="188" y="291"/>
                  </a:lnTo>
                  <a:lnTo>
                    <a:pt x="187" y="293"/>
                  </a:lnTo>
                  <a:lnTo>
                    <a:pt x="185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4"/>
                  </a:lnTo>
                  <a:lnTo>
                    <a:pt x="182" y="296"/>
                  </a:lnTo>
                  <a:lnTo>
                    <a:pt x="180" y="296"/>
                  </a:lnTo>
                  <a:lnTo>
                    <a:pt x="180" y="294"/>
                  </a:lnTo>
                  <a:lnTo>
                    <a:pt x="179" y="294"/>
                  </a:lnTo>
                  <a:lnTo>
                    <a:pt x="179" y="293"/>
                  </a:lnTo>
                  <a:lnTo>
                    <a:pt x="177" y="293"/>
                  </a:lnTo>
                  <a:lnTo>
                    <a:pt x="179" y="293"/>
                  </a:lnTo>
                  <a:lnTo>
                    <a:pt x="179" y="293"/>
                  </a:lnTo>
                  <a:lnTo>
                    <a:pt x="179" y="291"/>
                  </a:lnTo>
                  <a:lnTo>
                    <a:pt x="179" y="290"/>
                  </a:lnTo>
                  <a:lnTo>
                    <a:pt x="176" y="288"/>
                  </a:lnTo>
                  <a:lnTo>
                    <a:pt x="174" y="287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1" y="285"/>
                  </a:lnTo>
                  <a:lnTo>
                    <a:pt x="173" y="285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1" y="283"/>
                  </a:lnTo>
                  <a:lnTo>
                    <a:pt x="171" y="279"/>
                  </a:lnTo>
                  <a:lnTo>
                    <a:pt x="167" y="276"/>
                  </a:lnTo>
                  <a:lnTo>
                    <a:pt x="165" y="274"/>
                  </a:lnTo>
                  <a:lnTo>
                    <a:pt x="165" y="273"/>
                  </a:lnTo>
                  <a:lnTo>
                    <a:pt x="164" y="271"/>
                  </a:lnTo>
                  <a:lnTo>
                    <a:pt x="162" y="271"/>
                  </a:lnTo>
                  <a:lnTo>
                    <a:pt x="162" y="270"/>
                  </a:lnTo>
                  <a:lnTo>
                    <a:pt x="162" y="270"/>
                  </a:lnTo>
                  <a:lnTo>
                    <a:pt x="164" y="270"/>
                  </a:lnTo>
                  <a:lnTo>
                    <a:pt x="164" y="268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57" y="267"/>
                  </a:lnTo>
                  <a:lnTo>
                    <a:pt x="156" y="265"/>
                  </a:lnTo>
                  <a:lnTo>
                    <a:pt x="156" y="265"/>
                  </a:lnTo>
                  <a:lnTo>
                    <a:pt x="156" y="263"/>
                  </a:lnTo>
                  <a:lnTo>
                    <a:pt x="156" y="263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0"/>
                  </a:lnTo>
                  <a:lnTo>
                    <a:pt x="157" y="260"/>
                  </a:lnTo>
                  <a:lnTo>
                    <a:pt x="156" y="260"/>
                  </a:lnTo>
                  <a:lnTo>
                    <a:pt x="156" y="260"/>
                  </a:lnTo>
                  <a:lnTo>
                    <a:pt x="154" y="260"/>
                  </a:lnTo>
                  <a:lnTo>
                    <a:pt x="153" y="260"/>
                  </a:lnTo>
                  <a:lnTo>
                    <a:pt x="151" y="263"/>
                  </a:lnTo>
                  <a:lnTo>
                    <a:pt x="150" y="268"/>
                  </a:lnTo>
                  <a:lnTo>
                    <a:pt x="150" y="268"/>
                  </a:lnTo>
                  <a:lnTo>
                    <a:pt x="150" y="267"/>
                  </a:lnTo>
                  <a:lnTo>
                    <a:pt x="151" y="265"/>
                  </a:lnTo>
                  <a:lnTo>
                    <a:pt x="151" y="263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1" y="259"/>
                  </a:lnTo>
                  <a:lnTo>
                    <a:pt x="151" y="259"/>
                  </a:lnTo>
                  <a:lnTo>
                    <a:pt x="153" y="257"/>
                  </a:lnTo>
                  <a:lnTo>
                    <a:pt x="153" y="256"/>
                  </a:lnTo>
                  <a:lnTo>
                    <a:pt x="151" y="256"/>
                  </a:lnTo>
                  <a:lnTo>
                    <a:pt x="151" y="254"/>
                  </a:lnTo>
                  <a:lnTo>
                    <a:pt x="150" y="254"/>
                  </a:lnTo>
                  <a:lnTo>
                    <a:pt x="148" y="257"/>
                  </a:lnTo>
                  <a:lnTo>
                    <a:pt x="148" y="256"/>
                  </a:lnTo>
                  <a:lnTo>
                    <a:pt x="147" y="257"/>
                  </a:lnTo>
                  <a:lnTo>
                    <a:pt x="145" y="259"/>
                  </a:lnTo>
                  <a:lnTo>
                    <a:pt x="143" y="262"/>
                  </a:lnTo>
                  <a:lnTo>
                    <a:pt x="142" y="262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2" y="256"/>
                  </a:lnTo>
                  <a:lnTo>
                    <a:pt x="140" y="256"/>
                  </a:lnTo>
                  <a:lnTo>
                    <a:pt x="139" y="257"/>
                  </a:lnTo>
                  <a:lnTo>
                    <a:pt x="139" y="257"/>
                  </a:lnTo>
                  <a:lnTo>
                    <a:pt x="137" y="257"/>
                  </a:lnTo>
                  <a:lnTo>
                    <a:pt x="137" y="259"/>
                  </a:lnTo>
                  <a:lnTo>
                    <a:pt x="131" y="260"/>
                  </a:lnTo>
                  <a:lnTo>
                    <a:pt x="130" y="262"/>
                  </a:lnTo>
                  <a:lnTo>
                    <a:pt x="130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23" y="259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19" y="259"/>
                  </a:lnTo>
                  <a:lnTo>
                    <a:pt x="117" y="262"/>
                  </a:lnTo>
                  <a:lnTo>
                    <a:pt x="116" y="263"/>
                  </a:lnTo>
                  <a:lnTo>
                    <a:pt x="114" y="265"/>
                  </a:lnTo>
                  <a:lnTo>
                    <a:pt x="116" y="267"/>
                  </a:lnTo>
                  <a:lnTo>
                    <a:pt x="117" y="270"/>
                  </a:lnTo>
                  <a:lnTo>
                    <a:pt x="119" y="270"/>
                  </a:lnTo>
                  <a:lnTo>
                    <a:pt x="116" y="271"/>
                  </a:lnTo>
                  <a:lnTo>
                    <a:pt x="114" y="271"/>
                  </a:lnTo>
                  <a:lnTo>
                    <a:pt x="116" y="273"/>
                  </a:lnTo>
                  <a:lnTo>
                    <a:pt x="116" y="276"/>
                  </a:lnTo>
                  <a:lnTo>
                    <a:pt x="114" y="276"/>
                  </a:lnTo>
                  <a:lnTo>
                    <a:pt x="113" y="276"/>
                  </a:lnTo>
                  <a:lnTo>
                    <a:pt x="111" y="276"/>
                  </a:lnTo>
                  <a:lnTo>
                    <a:pt x="111" y="274"/>
                  </a:lnTo>
                  <a:lnTo>
                    <a:pt x="108" y="274"/>
                  </a:lnTo>
                  <a:lnTo>
                    <a:pt x="107" y="274"/>
                  </a:lnTo>
                  <a:lnTo>
                    <a:pt x="107" y="274"/>
                  </a:lnTo>
                  <a:lnTo>
                    <a:pt x="105" y="273"/>
                  </a:lnTo>
                  <a:lnTo>
                    <a:pt x="103" y="273"/>
                  </a:lnTo>
                  <a:lnTo>
                    <a:pt x="100" y="273"/>
                  </a:lnTo>
                  <a:lnTo>
                    <a:pt x="99" y="273"/>
                  </a:lnTo>
                  <a:lnTo>
                    <a:pt x="97" y="271"/>
                  </a:lnTo>
                  <a:lnTo>
                    <a:pt x="97" y="271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6" y="274"/>
                  </a:lnTo>
                  <a:lnTo>
                    <a:pt x="96" y="276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4" y="276"/>
                  </a:lnTo>
                  <a:lnTo>
                    <a:pt x="94" y="276"/>
                  </a:lnTo>
                  <a:lnTo>
                    <a:pt x="94" y="279"/>
                  </a:lnTo>
                  <a:lnTo>
                    <a:pt x="96" y="279"/>
                  </a:lnTo>
                  <a:lnTo>
                    <a:pt x="96" y="280"/>
                  </a:lnTo>
                  <a:lnTo>
                    <a:pt x="94" y="280"/>
                  </a:lnTo>
                  <a:lnTo>
                    <a:pt x="96" y="282"/>
                  </a:lnTo>
                  <a:lnTo>
                    <a:pt x="94" y="282"/>
                  </a:lnTo>
                  <a:lnTo>
                    <a:pt x="94" y="282"/>
                  </a:lnTo>
                  <a:lnTo>
                    <a:pt x="91" y="280"/>
                  </a:lnTo>
                  <a:lnTo>
                    <a:pt x="91" y="279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0" y="277"/>
                  </a:lnTo>
                  <a:lnTo>
                    <a:pt x="87" y="279"/>
                  </a:lnTo>
                  <a:lnTo>
                    <a:pt x="88" y="277"/>
                  </a:lnTo>
                  <a:lnTo>
                    <a:pt x="88" y="277"/>
                  </a:lnTo>
                  <a:lnTo>
                    <a:pt x="87" y="276"/>
                  </a:lnTo>
                  <a:lnTo>
                    <a:pt x="87" y="276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3"/>
                  </a:lnTo>
                  <a:lnTo>
                    <a:pt x="87" y="273"/>
                  </a:lnTo>
                  <a:lnTo>
                    <a:pt x="87" y="271"/>
                  </a:lnTo>
                  <a:lnTo>
                    <a:pt x="87" y="271"/>
                  </a:lnTo>
                  <a:lnTo>
                    <a:pt x="83" y="271"/>
                  </a:lnTo>
                  <a:lnTo>
                    <a:pt x="82" y="273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80" y="274"/>
                  </a:lnTo>
                  <a:lnTo>
                    <a:pt x="80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7" y="274"/>
                  </a:lnTo>
                  <a:lnTo>
                    <a:pt x="77" y="274"/>
                  </a:lnTo>
                  <a:lnTo>
                    <a:pt x="77" y="276"/>
                  </a:lnTo>
                  <a:lnTo>
                    <a:pt x="76" y="274"/>
                  </a:lnTo>
                  <a:lnTo>
                    <a:pt x="74" y="274"/>
                  </a:lnTo>
                  <a:lnTo>
                    <a:pt x="73" y="276"/>
                  </a:lnTo>
                  <a:lnTo>
                    <a:pt x="71" y="276"/>
                  </a:lnTo>
                  <a:lnTo>
                    <a:pt x="70" y="276"/>
                  </a:lnTo>
                  <a:lnTo>
                    <a:pt x="68" y="277"/>
                  </a:lnTo>
                  <a:lnTo>
                    <a:pt x="68" y="279"/>
                  </a:lnTo>
                  <a:lnTo>
                    <a:pt x="70" y="279"/>
                  </a:lnTo>
                  <a:lnTo>
                    <a:pt x="70" y="280"/>
                  </a:lnTo>
                  <a:lnTo>
                    <a:pt x="68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5" y="279"/>
                  </a:lnTo>
                  <a:lnTo>
                    <a:pt x="63" y="280"/>
                  </a:lnTo>
                  <a:lnTo>
                    <a:pt x="60" y="280"/>
                  </a:lnTo>
                  <a:lnTo>
                    <a:pt x="62" y="279"/>
                  </a:lnTo>
                  <a:lnTo>
                    <a:pt x="60" y="277"/>
                  </a:lnTo>
                  <a:lnTo>
                    <a:pt x="59" y="277"/>
                  </a:lnTo>
                  <a:lnTo>
                    <a:pt x="56" y="277"/>
                  </a:lnTo>
                  <a:lnTo>
                    <a:pt x="54" y="279"/>
                  </a:lnTo>
                  <a:lnTo>
                    <a:pt x="53" y="279"/>
                  </a:lnTo>
                  <a:lnTo>
                    <a:pt x="53" y="280"/>
                  </a:lnTo>
                  <a:lnTo>
                    <a:pt x="53" y="280"/>
                  </a:lnTo>
                  <a:lnTo>
                    <a:pt x="54" y="280"/>
                  </a:lnTo>
                  <a:lnTo>
                    <a:pt x="51" y="280"/>
                  </a:lnTo>
                  <a:lnTo>
                    <a:pt x="50" y="282"/>
                  </a:lnTo>
                  <a:lnTo>
                    <a:pt x="48" y="282"/>
                  </a:lnTo>
                  <a:lnTo>
                    <a:pt x="42" y="282"/>
                  </a:lnTo>
                  <a:lnTo>
                    <a:pt x="42" y="283"/>
                  </a:lnTo>
                  <a:lnTo>
                    <a:pt x="42" y="283"/>
                  </a:lnTo>
                  <a:lnTo>
                    <a:pt x="43" y="283"/>
                  </a:lnTo>
                  <a:lnTo>
                    <a:pt x="42" y="285"/>
                  </a:lnTo>
                  <a:lnTo>
                    <a:pt x="42" y="285"/>
                  </a:lnTo>
                  <a:lnTo>
                    <a:pt x="45" y="285"/>
                  </a:lnTo>
                  <a:lnTo>
                    <a:pt x="43" y="285"/>
                  </a:lnTo>
                  <a:lnTo>
                    <a:pt x="40" y="285"/>
                  </a:lnTo>
                  <a:lnTo>
                    <a:pt x="39" y="285"/>
                  </a:lnTo>
                  <a:lnTo>
                    <a:pt x="39" y="287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37" y="288"/>
                  </a:lnTo>
                  <a:lnTo>
                    <a:pt x="36" y="288"/>
                  </a:lnTo>
                  <a:lnTo>
                    <a:pt x="34" y="288"/>
                  </a:lnTo>
                  <a:lnTo>
                    <a:pt x="33" y="288"/>
                  </a:lnTo>
                  <a:lnTo>
                    <a:pt x="31" y="290"/>
                  </a:lnTo>
                  <a:lnTo>
                    <a:pt x="31" y="290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8" y="291"/>
                  </a:lnTo>
                  <a:lnTo>
                    <a:pt x="26" y="294"/>
                  </a:lnTo>
                  <a:lnTo>
                    <a:pt x="26" y="297"/>
                  </a:lnTo>
                  <a:lnTo>
                    <a:pt x="28" y="299"/>
                  </a:lnTo>
                  <a:lnTo>
                    <a:pt x="28" y="300"/>
                  </a:lnTo>
                  <a:lnTo>
                    <a:pt x="26" y="300"/>
                  </a:lnTo>
                  <a:lnTo>
                    <a:pt x="26" y="302"/>
                  </a:lnTo>
                  <a:lnTo>
                    <a:pt x="25" y="304"/>
                  </a:lnTo>
                  <a:lnTo>
                    <a:pt x="25" y="307"/>
                  </a:lnTo>
                  <a:lnTo>
                    <a:pt x="26" y="310"/>
                  </a:lnTo>
                  <a:lnTo>
                    <a:pt x="26" y="311"/>
                  </a:lnTo>
                  <a:lnTo>
                    <a:pt x="25" y="311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8" y="314"/>
                  </a:lnTo>
                  <a:lnTo>
                    <a:pt x="31" y="314"/>
                  </a:lnTo>
                  <a:lnTo>
                    <a:pt x="33" y="314"/>
                  </a:lnTo>
                  <a:lnTo>
                    <a:pt x="33" y="314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7" y="314"/>
                  </a:lnTo>
                  <a:lnTo>
                    <a:pt x="37" y="314"/>
                  </a:lnTo>
                  <a:lnTo>
                    <a:pt x="39" y="314"/>
                  </a:lnTo>
                  <a:lnTo>
                    <a:pt x="42" y="313"/>
                  </a:lnTo>
                  <a:lnTo>
                    <a:pt x="45" y="311"/>
                  </a:lnTo>
                  <a:lnTo>
                    <a:pt x="50" y="308"/>
                  </a:lnTo>
                  <a:lnTo>
                    <a:pt x="53" y="308"/>
                  </a:lnTo>
                  <a:lnTo>
                    <a:pt x="57" y="307"/>
                  </a:lnTo>
                  <a:lnTo>
                    <a:pt x="59" y="307"/>
                  </a:lnTo>
                  <a:lnTo>
                    <a:pt x="60" y="305"/>
                  </a:lnTo>
                  <a:lnTo>
                    <a:pt x="62" y="305"/>
                  </a:lnTo>
                  <a:lnTo>
                    <a:pt x="56" y="310"/>
                  </a:lnTo>
                  <a:lnTo>
                    <a:pt x="54" y="310"/>
                  </a:lnTo>
                  <a:lnTo>
                    <a:pt x="50" y="314"/>
                  </a:lnTo>
                  <a:lnTo>
                    <a:pt x="50" y="316"/>
                  </a:lnTo>
                  <a:lnTo>
                    <a:pt x="51" y="316"/>
                  </a:lnTo>
                  <a:lnTo>
                    <a:pt x="53" y="316"/>
                  </a:lnTo>
                  <a:lnTo>
                    <a:pt x="53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6"/>
                  </a:lnTo>
                  <a:lnTo>
                    <a:pt x="56" y="316"/>
                  </a:lnTo>
                  <a:lnTo>
                    <a:pt x="57" y="314"/>
                  </a:lnTo>
                  <a:lnTo>
                    <a:pt x="59" y="314"/>
                  </a:lnTo>
                  <a:lnTo>
                    <a:pt x="59" y="314"/>
                  </a:lnTo>
                  <a:lnTo>
                    <a:pt x="59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2" y="313"/>
                  </a:lnTo>
                  <a:lnTo>
                    <a:pt x="63" y="313"/>
                  </a:lnTo>
                  <a:lnTo>
                    <a:pt x="62" y="314"/>
                  </a:lnTo>
                  <a:lnTo>
                    <a:pt x="62" y="314"/>
                  </a:lnTo>
                  <a:lnTo>
                    <a:pt x="62" y="314"/>
                  </a:lnTo>
                  <a:lnTo>
                    <a:pt x="62" y="316"/>
                  </a:lnTo>
                  <a:lnTo>
                    <a:pt x="60" y="316"/>
                  </a:lnTo>
                  <a:lnTo>
                    <a:pt x="60" y="316"/>
                  </a:lnTo>
                  <a:lnTo>
                    <a:pt x="60" y="317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65" y="319"/>
                  </a:lnTo>
                  <a:lnTo>
                    <a:pt x="65" y="317"/>
                  </a:lnTo>
                  <a:lnTo>
                    <a:pt x="66" y="317"/>
                  </a:lnTo>
                  <a:lnTo>
                    <a:pt x="66" y="319"/>
                  </a:lnTo>
                  <a:lnTo>
                    <a:pt x="68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63" y="320"/>
                  </a:lnTo>
                  <a:lnTo>
                    <a:pt x="62" y="320"/>
                  </a:lnTo>
                  <a:lnTo>
                    <a:pt x="63" y="320"/>
                  </a:lnTo>
                  <a:lnTo>
                    <a:pt x="63" y="320"/>
                  </a:lnTo>
                  <a:lnTo>
                    <a:pt x="65" y="319"/>
                  </a:lnTo>
                  <a:lnTo>
                    <a:pt x="59" y="320"/>
                  </a:lnTo>
                  <a:lnTo>
                    <a:pt x="56" y="320"/>
                  </a:lnTo>
                  <a:lnTo>
                    <a:pt x="54" y="320"/>
                  </a:lnTo>
                  <a:lnTo>
                    <a:pt x="54" y="320"/>
                  </a:lnTo>
                  <a:lnTo>
                    <a:pt x="53" y="320"/>
                  </a:lnTo>
                  <a:lnTo>
                    <a:pt x="53" y="320"/>
                  </a:lnTo>
                  <a:lnTo>
                    <a:pt x="53" y="319"/>
                  </a:lnTo>
                  <a:lnTo>
                    <a:pt x="45" y="320"/>
                  </a:lnTo>
                  <a:lnTo>
                    <a:pt x="43" y="319"/>
                  </a:lnTo>
                  <a:lnTo>
                    <a:pt x="45" y="314"/>
                  </a:lnTo>
                  <a:lnTo>
                    <a:pt x="43" y="314"/>
                  </a:lnTo>
                  <a:lnTo>
                    <a:pt x="42" y="316"/>
                  </a:lnTo>
                  <a:lnTo>
                    <a:pt x="40" y="319"/>
                  </a:lnTo>
                  <a:lnTo>
                    <a:pt x="40" y="319"/>
                  </a:lnTo>
                  <a:lnTo>
                    <a:pt x="42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20"/>
                  </a:lnTo>
                  <a:lnTo>
                    <a:pt x="39" y="320"/>
                  </a:lnTo>
                  <a:lnTo>
                    <a:pt x="37" y="320"/>
                  </a:lnTo>
                  <a:lnTo>
                    <a:pt x="37" y="322"/>
                  </a:lnTo>
                  <a:lnTo>
                    <a:pt x="37" y="324"/>
                  </a:lnTo>
                  <a:lnTo>
                    <a:pt x="42" y="324"/>
                  </a:lnTo>
                  <a:lnTo>
                    <a:pt x="42" y="324"/>
                  </a:lnTo>
                  <a:lnTo>
                    <a:pt x="43" y="325"/>
                  </a:lnTo>
                  <a:lnTo>
                    <a:pt x="43" y="325"/>
                  </a:lnTo>
                  <a:lnTo>
                    <a:pt x="42" y="325"/>
                  </a:lnTo>
                  <a:lnTo>
                    <a:pt x="42" y="327"/>
                  </a:lnTo>
                  <a:lnTo>
                    <a:pt x="42" y="328"/>
                  </a:lnTo>
                  <a:lnTo>
                    <a:pt x="42" y="328"/>
                  </a:lnTo>
                  <a:lnTo>
                    <a:pt x="43" y="330"/>
                  </a:lnTo>
                  <a:lnTo>
                    <a:pt x="43" y="331"/>
                  </a:lnTo>
                  <a:lnTo>
                    <a:pt x="42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6" y="328"/>
                  </a:lnTo>
                  <a:lnTo>
                    <a:pt x="48" y="325"/>
                  </a:lnTo>
                  <a:lnTo>
                    <a:pt x="50" y="325"/>
                  </a:lnTo>
                  <a:lnTo>
                    <a:pt x="54" y="328"/>
                  </a:lnTo>
                  <a:lnTo>
                    <a:pt x="56" y="327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7" y="328"/>
                  </a:lnTo>
                  <a:lnTo>
                    <a:pt x="57" y="330"/>
                  </a:lnTo>
                  <a:lnTo>
                    <a:pt x="60" y="330"/>
                  </a:lnTo>
                  <a:lnTo>
                    <a:pt x="62" y="331"/>
                  </a:lnTo>
                  <a:lnTo>
                    <a:pt x="62" y="333"/>
                  </a:lnTo>
                  <a:lnTo>
                    <a:pt x="62" y="334"/>
                  </a:lnTo>
                  <a:lnTo>
                    <a:pt x="63" y="336"/>
                  </a:lnTo>
                  <a:lnTo>
                    <a:pt x="63" y="337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57" y="340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7"/>
                  </a:lnTo>
                  <a:lnTo>
                    <a:pt x="31" y="347"/>
                  </a:lnTo>
                  <a:lnTo>
                    <a:pt x="30" y="348"/>
                  </a:lnTo>
                  <a:lnTo>
                    <a:pt x="30" y="348"/>
                  </a:lnTo>
                  <a:lnTo>
                    <a:pt x="36" y="350"/>
                  </a:lnTo>
                  <a:lnTo>
                    <a:pt x="37" y="350"/>
                  </a:lnTo>
                  <a:lnTo>
                    <a:pt x="39" y="350"/>
                  </a:lnTo>
                  <a:lnTo>
                    <a:pt x="42" y="353"/>
                  </a:lnTo>
                  <a:lnTo>
                    <a:pt x="42" y="351"/>
                  </a:lnTo>
                  <a:lnTo>
                    <a:pt x="43" y="351"/>
                  </a:lnTo>
                  <a:lnTo>
                    <a:pt x="43" y="350"/>
                  </a:lnTo>
                  <a:lnTo>
                    <a:pt x="45" y="350"/>
                  </a:lnTo>
                  <a:lnTo>
                    <a:pt x="51" y="356"/>
                  </a:lnTo>
                  <a:lnTo>
                    <a:pt x="56" y="360"/>
                  </a:lnTo>
                  <a:lnTo>
                    <a:pt x="56" y="362"/>
                  </a:lnTo>
                  <a:lnTo>
                    <a:pt x="57" y="365"/>
                  </a:lnTo>
                  <a:lnTo>
                    <a:pt x="57" y="368"/>
                  </a:lnTo>
                  <a:lnTo>
                    <a:pt x="59" y="370"/>
                  </a:lnTo>
                  <a:lnTo>
                    <a:pt x="57" y="371"/>
                  </a:lnTo>
                  <a:lnTo>
                    <a:pt x="57" y="371"/>
                  </a:lnTo>
                  <a:lnTo>
                    <a:pt x="57" y="371"/>
                  </a:lnTo>
                  <a:lnTo>
                    <a:pt x="56" y="371"/>
                  </a:lnTo>
                  <a:lnTo>
                    <a:pt x="56" y="371"/>
                  </a:lnTo>
                  <a:lnTo>
                    <a:pt x="56" y="373"/>
                  </a:lnTo>
                  <a:lnTo>
                    <a:pt x="56" y="374"/>
                  </a:lnTo>
                  <a:lnTo>
                    <a:pt x="66" y="374"/>
                  </a:lnTo>
                  <a:lnTo>
                    <a:pt x="70" y="374"/>
                  </a:lnTo>
                  <a:lnTo>
                    <a:pt x="70" y="373"/>
                  </a:lnTo>
                  <a:lnTo>
                    <a:pt x="73" y="371"/>
                  </a:lnTo>
                  <a:lnTo>
                    <a:pt x="73" y="370"/>
                  </a:lnTo>
                  <a:lnTo>
                    <a:pt x="71" y="370"/>
                  </a:lnTo>
                  <a:lnTo>
                    <a:pt x="71" y="370"/>
                  </a:lnTo>
                  <a:lnTo>
                    <a:pt x="71" y="370"/>
                  </a:lnTo>
                  <a:lnTo>
                    <a:pt x="71" y="368"/>
                  </a:lnTo>
                  <a:lnTo>
                    <a:pt x="70" y="368"/>
                  </a:lnTo>
                  <a:lnTo>
                    <a:pt x="70" y="367"/>
                  </a:lnTo>
                  <a:lnTo>
                    <a:pt x="71" y="367"/>
                  </a:lnTo>
                  <a:lnTo>
                    <a:pt x="73" y="368"/>
                  </a:lnTo>
                  <a:lnTo>
                    <a:pt x="73" y="368"/>
                  </a:lnTo>
                  <a:lnTo>
                    <a:pt x="74" y="368"/>
                  </a:lnTo>
                  <a:lnTo>
                    <a:pt x="74" y="367"/>
                  </a:lnTo>
                  <a:lnTo>
                    <a:pt x="76" y="367"/>
                  </a:lnTo>
                  <a:lnTo>
                    <a:pt x="76" y="367"/>
                  </a:lnTo>
                  <a:lnTo>
                    <a:pt x="74" y="365"/>
                  </a:lnTo>
                  <a:lnTo>
                    <a:pt x="74" y="364"/>
                  </a:lnTo>
                  <a:lnTo>
                    <a:pt x="73" y="362"/>
                  </a:lnTo>
                  <a:lnTo>
                    <a:pt x="74" y="360"/>
                  </a:lnTo>
                  <a:lnTo>
                    <a:pt x="74" y="364"/>
                  </a:lnTo>
                  <a:lnTo>
                    <a:pt x="74" y="365"/>
                  </a:lnTo>
                  <a:lnTo>
                    <a:pt x="76" y="367"/>
                  </a:lnTo>
                  <a:lnTo>
                    <a:pt x="77" y="367"/>
                  </a:lnTo>
                  <a:lnTo>
                    <a:pt x="77" y="367"/>
                  </a:lnTo>
                  <a:lnTo>
                    <a:pt x="79" y="367"/>
                  </a:lnTo>
                  <a:lnTo>
                    <a:pt x="80" y="368"/>
                  </a:lnTo>
                  <a:lnTo>
                    <a:pt x="82" y="368"/>
                  </a:lnTo>
                  <a:lnTo>
                    <a:pt x="82" y="368"/>
                  </a:lnTo>
                  <a:lnTo>
                    <a:pt x="83" y="368"/>
                  </a:lnTo>
                  <a:lnTo>
                    <a:pt x="83" y="367"/>
                  </a:lnTo>
                  <a:lnTo>
                    <a:pt x="83" y="368"/>
                  </a:lnTo>
                  <a:lnTo>
                    <a:pt x="83" y="368"/>
                  </a:lnTo>
                  <a:lnTo>
                    <a:pt x="82" y="368"/>
                  </a:lnTo>
                  <a:lnTo>
                    <a:pt x="82" y="368"/>
                  </a:lnTo>
                  <a:lnTo>
                    <a:pt x="83" y="370"/>
                  </a:lnTo>
                  <a:lnTo>
                    <a:pt x="85" y="367"/>
                  </a:lnTo>
                  <a:lnTo>
                    <a:pt x="85" y="365"/>
                  </a:lnTo>
                  <a:lnTo>
                    <a:pt x="85" y="364"/>
                  </a:lnTo>
                  <a:lnTo>
                    <a:pt x="87" y="364"/>
                  </a:lnTo>
                  <a:lnTo>
                    <a:pt x="88" y="365"/>
                  </a:lnTo>
                  <a:lnTo>
                    <a:pt x="90" y="367"/>
                  </a:lnTo>
                  <a:lnTo>
                    <a:pt x="90" y="368"/>
                  </a:lnTo>
                  <a:lnTo>
                    <a:pt x="91" y="368"/>
                  </a:lnTo>
                  <a:lnTo>
                    <a:pt x="91" y="368"/>
                  </a:lnTo>
                  <a:lnTo>
                    <a:pt x="93" y="368"/>
                  </a:lnTo>
                  <a:lnTo>
                    <a:pt x="93" y="370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4" y="374"/>
                  </a:lnTo>
                  <a:lnTo>
                    <a:pt x="94" y="374"/>
                  </a:lnTo>
                  <a:lnTo>
                    <a:pt x="96" y="374"/>
                  </a:lnTo>
                  <a:lnTo>
                    <a:pt x="97" y="374"/>
                  </a:lnTo>
                  <a:lnTo>
                    <a:pt x="99" y="374"/>
                  </a:lnTo>
                  <a:lnTo>
                    <a:pt x="100" y="376"/>
                  </a:lnTo>
                  <a:lnTo>
                    <a:pt x="105" y="373"/>
                  </a:lnTo>
                  <a:lnTo>
                    <a:pt x="105" y="374"/>
                  </a:lnTo>
                  <a:lnTo>
                    <a:pt x="105" y="376"/>
                  </a:lnTo>
                  <a:lnTo>
                    <a:pt x="107" y="376"/>
                  </a:lnTo>
                  <a:lnTo>
                    <a:pt x="110" y="376"/>
                  </a:lnTo>
                  <a:lnTo>
                    <a:pt x="110" y="376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3" y="377"/>
                  </a:lnTo>
                  <a:lnTo>
                    <a:pt x="114" y="377"/>
                  </a:lnTo>
                  <a:lnTo>
                    <a:pt x="117" y="377"/>
                  </a:lnTo>
                  <a:lnTo>
                    <a:pt x="119" y="377"/>
                  </a:lnTo>
                  <a:lnTo>
                    <a:pt x="119" y="377"/>
                  </a:lnTo>
                  <a:lnTo>
                    <a:pt x="119" y="377"/>
                  </a:lnTo>
                  <a:lnTo>
                    <a:pt x="119" y="379"/>
                  </a:lnTo>
                  <a:lnTo>
                    <a:pt x="120" y="379"/>
                  </a:lnTo>
                  <a:lnTo>
                    <a:pt x="122" y="382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5" y="385"/>
                  </a:lnTo>
                  <a:lnTo>
                    <a:pt x="131" y="384"/>
                  </a:lnTo>
                  <a:lnTo>
                    <a:pt x="131" y="384"/>
                  </a:lnTo>
                  <a:lnTo>
                    <a:pt x="131" y="382"/>
                  </a:lnTo>
                  <a:lnTo>
                    <a:pt x="130" y="382"/>
                  </a:lnTo>
                  <a:lnTo>
                    <a:pt x="130" y="382"/>
                  </a:lnTo>
                  <a:lnTo>
                    <a:pt x="131" y="382"/>
                  </a:lnTo>
                  <a:lnTo>
                    <a:pt x="134" y="380"/>
                  </a:lnTo>
                  <a:lnTo>
                    <a:pt x="136" y="379"/>
                  </a:lnTo>
                  <a:lnTo>
                    <a:pt x="137" y="376"/>
                  </a:lnTo>
                  <a:lnTo>
                    <a:pt x="137" y="377"/>
                  </a:lnTo>
                  <a:lnTo>
                    <a:pt x="136" y="377"/>
                  </a:lnTo>
                  <a:lnTo>
                    <a:pt x="136" y="379"/>
                  </a:lnTo>
                  <a:lnTo>
                    <a:pt x="134" y="382"/>
                  </a:lnTo>
                  <a:lnTo>
                    <a:pt x="134" y="382"/>
                  </a:lnTo>
                  <a:lnTo>
                    <a:pt x="133" y="382"/>
                  </a:lnTo>
                  <a:lnTo>
                    <a:pt x="133" y="382"/>
                  </a:lnTo>
                  <a:lnTo>
                    <a:pt x="133" y="384"/>
                  </a:lnTo>
                  <a:lnTo>
                    <a:pt x="133" y="384"/>
                  </a:lnTo>
                  <a:lnTo>
                    <a:pt x="133" y="384"/>
                  </a:lnTo>
                  <a:lnTo>
                    <a:pt x="131" y="384"/>
                  </a:lnTo>
                  <a:lnTo>
                    <a:pt x="131" y="385"/>
                  </a:lnTo>
                  <a:lnTo>
                    <a:pt x="134" y="385"/>
                  </a:lnTo>
                  <a:lnTo>
                    <a:pt x="136" y="385"/>
                  </a:lnTo>
                  <a:lnTo>
                    <a:pt x="137" y="387"/>
                  </a:lnTo>
                  <a:lnTo>
                    <a:pt x="137" y="387"/>
                  </a:lnTo>
                  <a:lnTo>
                    <a:pt x="134" y="385"/>
                  </a:lnTo>
                  <a:lnTo>
                    <a:pt x="133" y="385"/>
                  </a:lnTo>
                  <a:lnTo>
                    <a:pt x="131" y="387"/>
                  </a:lnTo>
                  <a:lnTo>
                    <a:pt x="134" y="387"/>
                  </a:lnTo>
                  <a:lnTo>
                    <a:pt x="137" y="387"/>
                  </a:lnTo>
                  <a:lnTo>
                    <a:pt x="139" y="388"/>
                  </a:lnTo>
                  <a:lnTo>
                    <a:pt x="140" y="390"/>
                  </a:lnTo>
                  <a:lnTo>
                    <a:pt x="142" y="391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3" y="388"/>
                  </a:lnTo>
                  <a:lnTo>
                    <a:pt x="143" y="388"/>
                  </a:lnTo>
                  <a:lnTo>
                    <a:pt x="143" y="387"/>
                  </a:lnTo>
                  <a:lnTo>
                    <a:pt x="143" y="387"/>
                  </a:lnTo>
                  <a:lnTo>
                    <a:pt x="143" y="387"/>
                  </a:lnTo>
                  <a:lnTo>
                    <a:pt x="145" y="385"/>
                  </a:lnTo>
                  <a:lnTo>
                    <a:pt x="145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4"/>
                  </a:lnTo>
                  <a:lnTo>
                    <a:pt x="145" y="382"/>
                  </a:lnTo>
                  <a:lnTo>
                    <a:pt x="145" y="380"/>
                  </a:lnTo>
                  <a:lnTo>
                    <a:pt x="143" y="380"/>
                  </a:lnTo>
                  <a:lnTo>
                    <a:pt x="145" y="380"/>
                  </a:lnTo>
                  <a:lnTo>
                    <a:pt x="147" y="380"/>
                  </a:lnTo>
                  <a:lnTo>
                    <a:pt x="147" y="382"/>
                  </a:lnTo>
                  <a:lnTo>
                    <a:pt x="148" y="380"/>
                  </a:lnTo>
                  <a:lnTo>
                    <a:pt x="148" y="380"/>
                  </a:lnTo>
                  <a:lnTo>
                    <a:pt x="148" y="380"/>
                  </a:lnTo>
                  <a:lnTo>
                    <a:pt x="148" y="384"/>
                  </a:lnTo>
                  <a:lnTo>
                    <a:pt x="148" y="384"/>
                  </a:lnTo>
                  <a:lnTo>
                    <a:pt x="150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50" y="384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45" y="388"/>
                  </a:lnTo>
                  <a:lnTo>
                    <a:pt x="143" y="391"/>
                  </a:lnTo>
                  <a:lnTo>
                    <a:pt x="143" y="393"/>
                  </a:lnTo>
                  <a:lnTo>
                    <a:pt x="143" y="393"/>
                  </a:lnTo>
                  <a:lnTo>
                    <a:pt x="145" y="394"/>
                  </a:lnTo>
                  <a:lnTo>
                    <a:pt x="145" y="394"/>
                  </a:lnTo>
                  <a:lnTo>
                    <a:pt x="147" y="394"/>
                  </a:lnTo>
                  <a:lnTo>
                    <a:pt x="147" y="396"/>
                  </a:lnTo>
                  <a:lnTo>
                    <a:pt x="148" y="397"/>
                  </a:lnTo>
                  <a:lnTo>
                    <a:pt x="148" y="399"/>
                  </a:lnTo>
                  <a:lnTo>
                    <a:pt x="148" y="402"/>
                  </a:lnTo>
                  <a:lnTo>
                    <a:pt x="148" y="404"/>
                  </a:lnTo>
                  <a:lnTo>
                    <a:pt x="148" y="405"/>
                  </a:lnTo>
                  <a:lnTo>
                    <a:pt x="148" y="407"/>
                  </a:lnTo>
                  <a:lnTo>
                    <a:pt x="148" y="407"/>
                  </a:lnTo>
                  <a:lnTo>
                    <a:pt x="148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3" y="410"/>
                  </a:lnTo>
                  <a:lnTo>
                    <a:pt x="150" y="408"/>
                  </a:lnTo>
                  <a:lnTo>
                    <a:pt x="150" y="405"/>
                  </a:lnTo>
                  <a:lnTo>
                    <a:pt x="148" y="402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48" y="399"/>
                  </a:lnTo>
                  <a:lnTo>
                    <a:pt x="148" y="399"/>
                  </a:lnTo>
                  <a:lnTo>
                    <a:pt x="150" y="397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3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57" y="399"/>
                  </a:lnTo>
                  <a:lnTo>
                    <a:pt x="157" y="397"/>
                  </a:lnTo>
                  <a:lnTo>
                    <a:pt x="157" y="396"/>
                  </a:lnTo>
                  <a:lnTo>
                    <a:pt x="157" y="396"/>
                  </a:lnTo>
                  <a:lnTo>
                    <a:pt x="157" y="397"/>
                  </a:lnTo>
                  <a:lnTo>
                    <a:pt x="157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7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1"/>
                  </a:lnTo>
                  <a:lnTo>
                    <a:pt x="162" y="401"/>
                  </a:lnTo>
                  <a:lnTo>
                    <a:pt x="162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2" y="399"/>
                  </a:lnTo>
                  <a:lnTo>
                    <a:pt x="162" y="397"/>
                  </a:lnTo>
                  <a:lnTo>
                    <a:pt x="160" y="397"/>
                  </a:lnTo>
                  <a:lnTo>
                    <a:pt x="160" y="396"/>
                  </a:lnTo>
                  <a:lnTo>
                    <a:pt x="160" y="393"/>
                  </a:lnTo>
                  <a:lnTo>
                    <a:pt x="160" y="393"/>
                  </a:lnTo>
                  <a:lnTo>
                    <a:pt x="160" y="391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91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4" y="393"/>
                  </a:lnTo>
                  <a:lnTo>
                    <a:pt x="162" y="393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7"/>
                  </a:lnTo>
                  <a:lnTo>
                    <a:pt x="164" y="397"/>
                  </a:lnTo>
                  <a:lnTo>
                    <a:pt x="164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7"/>
                  </a:lnTo>
                  <a:lnTo>
                    <a:pt x="164" y="397"/>
                  </a:lnTo>
                  <a:lnTo>
                    <a:pt x="164" y="397"/>
                  </a:lnTo>
                  <a:lnTo>
                    <a:pt x="167" y="397"/>
                  </a:lnTo>
                  <a:lnTo>
                    <a:pt x="168" y="396"/>
                  </a:lnTo>
                  <a:lnTo>
                    <a:pt x="168" y="394"/>
                  </a:lnTo>
                  <a:lnTo>
                    <a:pt x="170" y="394"/>
                  </a:lnTo>
                  <a:lnTo>
                    <a:pt x="173" y="394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6" y="393"/>
                  </a:lnTo>
                  <a:lnTo>
                    <a:pt x="177" y="393"/>
                  </a:lnTo>
                  <a:lnTo>
                    <a:pt x="177" y="394"/>
                  </a:lnTo>
                  <a:lnTo>
                    <a:pt x="176" y="394"/>
                  </a:lnTo>
                  <a:lnTo>
                    <a:pt x="174" y="394"/>
                  </a:lnTo>
                  <a:lnTo>
                    <a:pt x="179" y="396"/>
                  </a:lnTo>
                  <a:lnTo>
                    <a:pt x="179" y="397"/>
                  </a:lnTo>
                  <a:lnTo>
                    <a:pt x="180" y="397"/>
                  </a:lnTo>
                  <a:lnTo>
                    <a:pt x="180" y="396"/>
                  </a:lnTo>
                  <a:lnTo>
                    <a:pt x="180" y="396"/>
                  </a:lnTo>
                  <a:lnTo>
                    <a:pt x="179" y="396"/>
                  </a:lnTo>
                  <a:lnTo>
                    <a:pt x="180" y="394"/>
                  </a:lnTo>
                  <a:lnTo>
                    <a:pt x="180" y="394"/>
                  </a:lnTo>
                  <a:lnTo>
                    <a:pt x="180" y="394"/>
                  </a:lnTo>
                  <a:lnTo>
                    <a:pt x="180" y="393"/>
                  </a:lnTo>
                  <a:lnTo>
                    <a:pt x="180" y="393"/>
                  </a:lnTo>
                  <a:lnTo>
                    <a:pt x="182" y="394"/>
                  </a:lnTo>
                  <a:lnTo>
                    <a:pt x="182" y="396"/>
                  </a:lnTo>
                  <a:lnTo>
                    <a:pt x="179" y="401"/>
                  </a:lnTo>
                  <a:lnTo>
                    <a:pt x="179" y="401"/>
                  </a:lnTo>
                  <a:lnTo>
                    <a:pt x="177" y="402"/>
                  </a:lnTo>
                  <a:lnTo>
                    <a:pt x="176" y="402"/>
                  </a:lnTo>
                  <a:lnTo>
                    <a:pt x="174" y="402"/>
                  </a:lnTo>
                  <a:lnTo>
                    <a:pt x="173" y="401"/>
                  </a:lnTo>
                  <a:lnTo>
                    <a:pt x="173" y="402"/>
                  </a:lnTo>
                  <a:lnTo>
                    <a:pt x="171" y="404"/>
                  </a:lnTo>
                  <a:lnTo>
                    <a:pt x="171" y="402"/>
                  </a:lnTo>
                  <a:lnTo>
                    <a:pt x="171" y="402"/>
                  </a:lnTo>
                  <a:lnTo>
                    <a:pt x="170" y="402"/>
                  </a:lnTo>
                  <a:lnTo>
                    <a:pt x="170" y="404"/>
                  </a:lnTo>
                  <a:lnTo>
                    <a:pt x="170" y="404"/>
                  </a:lnTo>
                  <a:lnTo>
                    <a:pt x="168" y="401"/>
                  </a:lnTo>
                  <a:lnTo>
                    <a:pt x="167" y="401"/>
                  </a:lnTo>
                  <a:lnTo>
                    <a:pt x="165" y="402"/>
                  </a:lnTo>
                  <a:lnTo>
                    <a:pt x="167" y="402"/>
                  </a:lnTo>
                  <a:lnTo>
                    <a:pt x="167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4"/>
                  </a:lnTo>
                  <a:lnTo>
                    <a:pt x="168" y="404"/>
                  </a:lnTo>
                  <a:lnTo>
                    <a:pt x="168" y="404"/>
                  </a:lnTo>
                  <a:lnTo>
                    <a:pt x="168" y="404"/>
                  </a:lnTo>
                  <a:lnTo>
                    <a:pt x="170" y="407"/>
                  </a:lnTo>
                  <a:lnTo>
                    <a:pt x="170" y="407"/>
                  </a:lnTo>
                  <a:lnTo>
                    <a:pt x="171" y="408"/>
                  </a:lnTo>
                  <a:lnTo>
                    <a:pt x="171" y="408"/>
                  </a:lnTo>
                  <a:lnTo>
                    <a:pt x="173" y="408"/>
                  </a:lnTo>
                  <a:lnTo>
                    <a:pt x="174" y="408"/>
                  </a:lnTo>
                  <a:lnTo>
                    <a:pt x="179" y="407"/>
                  </a:lnTo>
                  <a:lnTo>
                    <a:pt x="179" y="407"/>
                  </a:lnTo>
                  <a:lnTo>
                    <a:pt x="182" y="408"/>
                  </a:lnTo>
                  <a:lnTo>
                    <a:pt x="184" y="407"/>
                  </a:lnTo>
                  <a:lnTo>
                    <a:pt x="184" y="404"/>
                  </a:lnTo>
                  <a:lnTo>
                    <a:pt x="184" y="405"/>
                  </a:lnTo>
                  <a:lnTo>
                    <a:pt x="185" y="405"/>
                  </a:lnTo>
                  <a:lnTo>
                    <a:pt x="187" y="405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185" y="404"/>
                  </a:lnTo>
                  <a:lnTo>
                    <a:pt x="185" y="404"/>
                  </a:lnTo>
                  <a:lnTo>
                    <a:pt x="187" y="404"/>
                  </a:lnTo>
                  <a:lnTo>
                    <a:pt x="188" y="404"/>
                  </a:lnTo>
                  <a:lnTo>
                    <a:pt x="188" y="404"/>
                  </a:lnTo>
                  <a:lnTo>
                    <a:pt x="190" y="402"/>
                  </a:lnTo>
                  <a:lnTo>
                    <a:pt x="190" y="404"/>
                  </a:lnTo>
                  <a:lnTo>
                    <a:pt x="188" y="405"/>
                  </a:lnTo>
                  <a:lnTo>
                    <a:pt x="187" y="405"/>
                  </a:lnTo>
                  <a:lnTo>
                    <a:pt x="185" y="405"/>
                  </a:lnTo>
                  <a:lnTo>
                    <a:pt x="187" y="407"/>
                  </a:lnTo>
                  <a:lnTo>
                    <a:pt x="187" y="407"/>
                  </a:lnTo>
                  <a:lnTo>
                    <a:pt x="187" y="407"/>
                  </a:lnTo>
                  <a:lnTo>
                    <a:pt x="188" y="405"/>
                  </a:lnTo>
                  <a:lnTo>
                    <a:pt x="191" y="405"/>
                  </a:lnTo>
                  <a:lnTo>
                    <a:pt x="193" y="405"/>
                  </a:lnTo>
                  <a:lnTo>
                    <a:pt x="194" y="405"/>
                  </a:lnTo>
                  <a:lnTo>
                    <a:pt x="196" y="405"/>
                  </a:lnTo>
                  <a:lnTo>
                    <a:pt x="200" y="407"/>
                  </a:lnTo>
                  <a:lnTo>
                    <a:pt x="202" y="407"/>
                  </a:lnTo>
                  <a:lnTo>
                    <a:pt x="205" y="407"/>
                  </a:lnTo>
                  <a:lnTo>
                    <a:pt x="205" y="407"/>
                  </a:lnTo>
                  <a:lnTo>
                    <a:pt x="204" y="407"/>
                  </a:lnTo>
                  <a:lnTo>
                    <a:pt x="202" y="408"/>
                  </a:lnTo>
                  <a:lnTo>
                    <a:pt x="197" y="408"/>
                  </a:lnTo>
                  <a:lnTo>
                    <a:pt x="196" y="408"/>
                  </a:lnTo>
                  <a:lnTo>
                    <a:pt x="197" y="410"/>
                  </a:lnTo>
                  <a:lnTo>
                    <a:pt x="196" y="413"/>
                  </a:lnTo>
                  <a:lnTo>
                    <a:pt x="197" y="413"/>
                  </a:lnTo>
                  <a:lnTo>
                    <a:pt x="199" y="413"/>
                  </a:lnTo>
                  <a:lnTo>
                    <a:pt x="200" y="414"/>
                  </a:lnTo>
                  <a:lnTo>
                    <a:pt x="199" y="416"/>
                  </a:lnTo>
                  <a:lnTo>
                    <a:pt x="200" y="416"/>
                  </a:lnTo>
                  <a:lnTo>
                    <a:pt x="202" y="416"/>
                  </a:lnTo>
                  <a:lnTo>
                    <a:pt x="204" y="416"/>
                  </a:lnTo>
                  <a:lnTo>
                    <a:pt x="204" y="417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199" y="419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200" y="417"/>
                  </a:lnTo>
                  <a:lnTo>
                    <a:pt x="199" y="417"/>
                  </a:lnTo>
                  <a:lnTo>
                    <a:pt x="197" y="417"/>
                  </a:lnTo>
                  <a:lnTo>
                    <a:pt x="197" y="417"/>
                  </a:lnTo>
                  <a:lnTo>
                    <a:pt x="191" y="421"/>
                  </a:lnTo>
                  <a:lnTo>
                    <a:pt x="194" y="422"/>
                  </a:lnTo>
                  <a:lnTo>
                    <a:pt x="196" y="425"/>
                  </a:lnTo>
                  <a:lnTo>
                    <a:pt x="196" y="428"/>
                  </a:lnTo>
                  <a:lnTo>
                    <a:pt x="196" y="428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6" y="425"/>
                  </a:lnTo>
                  <a:lnTo>
                    <a:pt x="196" y="425"/>
                  </a:lnTo>
                  <a:lnTo>
                    <a:pt x="197" y="425"/>
                  </a:lnTo>
                  <a:lnTo>
                    <a:pt x="197" y="427"/>
                  </a:lnTo>
                  <a:lnTo>
                    <a:pt x="199" y="428"/>
                  </a:lnTo>
                  <a:lnTo>
                    <a:pt x="200" y="430"/>
                  </a:lnTo>
                  <a:lnTo>
                    <a:pt x="199" y="431"/>
                  </a:lnTo>
                  <a:lnTo>
                    <a:pt x="197" y="431"/>
                  </a:lnTo>
                  <a:lnTo>
                    <a:pt x="194" y="430"/>
                  </a:lnTo>
                  <a:lnTo>
                    <a:pt x="193" y="430"/>
                  </a:lnTo>
                  <a:lnTo>
                    <a:pt x="193" y="430"/>
                  </a:lnTo>
                  <a:lnTo>
                    <a:pt x="199" y="433"/>
                  </a:lnTo>
                  <a:lnTo>
                    <a:pt x="202" y="433"/>
                  </a:lnTo>
                  <a:lnTo>
                    <a:pt x="202" y="433"/>
                  </a:lnTo>
                  <a:lnTo>
                    <a:pt x="202" y="433"/>
                  </a:lnTo>
                  <a:lnTo>
                    <a:pt x="202" y="431"/>
                  </a:lnTo>
                  <a:lnTo>
                    <a:pt x="202" y="431"/>
                  </a:lnTo>
                  <a:lnTo>
                    <a:pt x="204" y="431"/>
                  </a:lnTo>
                  <a:lnTo>
                    <a:pt x="204" y="431"/>
                  </a:lnTo>
                  <a:lnTo>
                    <a:pt x="205" y="431"/>
                  </a:lnTo>
                  <a:lnTo>
                    <a:pt x="207" y="431"/>
                  </a:lnTo>
                  <a:lnTo>
                    <a:pt x="208" y="434"/>
                  </a:lnTo>
                  <a:lnTo>
                    <a:pt x="210" y="436"/>
                  </a:lnTo>
                  <a:lnTo>
                    <a:pt x="211" y="436"/>
                  </a:lnTo>
                  <a:lnTo>
                    <a:pt x="211" y="436"/>
                  </a:lnTo>
                  <a:lnTo>
                    <a:pt x="213" y="436"/>
                  </a:lnTo>
                  <a:lnTo>
                    <a:pt x="216" y="433"/>
                  </a:lnTo>
                  <a:lnTo>
                    <a:pt x="217" y="433"/>
                  </a:lnTo>
                  <a:lnTo>
                    <a:pt x="217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22" y="428"/>
                  </a:lnTo>
                  <a:lnTo>
                    <a:pt x="231" y="428"/>
                  </a:lnTo>
                  <a:lnTo>
                    <a:pt x="234" y="428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9" y="430"/>
                  </a:lnTo>
                  <a:lnTo>
                    <a:pt x="239" y="430"/>
                  </a:lnTo>
                  <a:lnTo>
                    <a:pt x="242" y="433"/>
                  </a:lnTo>
                  <a:lnTo>
                    <a:pt x="245" y="434"/>
                  </a:lnTo>
                  <a:lnTo>
                    <a:pt x="247" y="437"/>
                  </a:lnTo>
                  <a:lnTo>
                    <a:pt x="248" y="437"/>
                  </a:lnTo>
                  <a:lnTo>
                    <a:pt x="251" y="439"/>
                  </a:lnTo>
                  <a:lnTo>
                    <a:pt x="253" y="439"/>
                  </a:lnTo>
                  <a:lnTo>
                    <a:pt x="250" y="439"/>
                  </a:lnTo>
                  <a:lnTo>
                    <a:pt x="247" y="439"/>
                  </a:lnTo>
                  <a:lnTo>
                    <a:pt x="245" y="437"/>
                  </a:lnTo>
                  <a:lnTo>
                    <a:pt x="245" y="436"/>
                  </a:lnTo>
                  <a:lnTo>
                    <a:pt x="242" y="436"/>
                  </a:lnTo>
                  <a:lnTo>
                    <a:pt x="239" y="433"/>
                  </a:lnTo>
                  <a:lnTo>
                    <a:pt x="239" y="433"/>
                  </a:lnTo>
                  <a:lnTo>
                    <a:pt x="241" y="433"/>
                  </a:lnTo>
                  <a:lnTo>
                    <a:pt x="239" y="431"/>
                  </a:lnTo>
                  <a:lnTo>
                    <a:pt x="239" y="431"/>
                  </a:lnTo>
                  <a:lnTo>
                    <a:pt x="237" y="431"/>
                  </a:lnTo>
                  <a:lnTo>
                    <a:pt x="237" y="431"/>
                  </a:lnTo>
                  <a:lnTo>
                    <a:pt x="237" y="433"/>
                  </a:lnTo>
                  <a:lnTo>
                    <a:pt x="236" y="433"/>
                  </a:lnTo>
                  <a:lnTo>
                    <a:pt x="233" y="431"/>
                  </a:lnTo>
                  <a:lnTo>
                    <a:pt x="233" y="431"/>
                  </a:lnTo>
                  <a:lnTo>
                    <a:pt x="231" y="430"/>
                  </a:lnTo>
                  <a:lnTo>
                    <a:pt x="231" y="430"/>
                  </a:lnTo>
                  <a:lnTo>
                    <a:pt x="231" y="430"/>
                  </a:lnTo>
                  <a:lnTo>
                    <a:pt x="230" y="431"/>
                  </a:lnTo>
                  <a:lnTo>
                    <a:pt x="224" y="431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1" y="434"/>
                  </a:lnTo>
                  <a:lnTo>
                    <a:pt x="221" y="436"/>
                  </a:lnTo>
                  <a:lnTo>
                    <a:pt x="221" y="437"/>
                  </a:lnTo>
                  <a:lnTo>
                    <a:pt x="221" y="439"/>
                  </a:lnTo>
                  <a:lnTo>
                    <a:pt x="221" y="441"/>
                  </a:lnTo>
                  <a:lnTo>
                    <a:pt x="221" y="442"/>
                  </a:lnTo>
                  <a:lnTo>
                    <a:pt x="221" y="444"/>
                  </a:lnTo>
                  <a:lnTo>
                    <a:pt x="221" y="444"/>
                  </a:lnTo>
                  <a:lnTo>
                    <a:pt x="221" y="445"/>
                  </a:lnTo>
                  <a:lnTo>
                    <a:pt x="217" y="445"/>
                  </a:lnTo>
                  <a:lnTo>
                    <a:pt x="216" y="445"/>
                  </a:lnTo>
                  <a:lnTo>
                    <a:pt x="216" y="447"/>
                  </a:lnTo>
                  <a:lnTo>
                    <a:pt x="214" y="447"/>
                  </a:lnTo>
                  <a:lnTo>
                    <a:pt x="217" y="448"/>
                  </a:lnTo>
                  <a:lnTo>
                    <a:pt x="227" y="450"/>
                  </a:lnTo>
                  <a:lnTo>
                    <a:pt x="230" y="453"/>
                  </a:lnTo>
                  <a:lnTo>
                    <a:pt x="231" y="454"/>
                  </a:lnTo>
                  <a:lnTo>
                    <a:pt x="233" y="454"/>
                  </a:lnTo>
                  <a:lnTo>
                    <a:pt x="233" y="457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1" y="462"/>
                  </a:lnTo>
                  <a:lnTo>
                    <a:pt x="230" y="465"/>
                  </a:lnTo>
                  <a:lnTo>
                    <a:pt x="230" y="467"/>
                  </a:lnTo>
                  <a:lnTo>
                    <a:pt x="227" y="468"/>
                  </a:lnTo>
                  <a:lnTo>
                    <a:pt x="225" y="470"/>
                  </a:lnTo>
                  <a:lnTo>
                    <a:pt x="225" y="471"/>
                  </a:lnTo>
                  <a:lnTo>
                    <a:pt x="224" y="473"/>
                  </a:lnTo>
                  <a:lnTo>
                    <a:pt x="224" y="474"/>
                  </a:lnTo>
                  <a:lnTo>
                    <a:pt x="224" y="476"/>
                  </a:lnTo>
                  <a:lnTo>
                    <a:pt x="224" y="479"/>
                  </a:lnTo>
                  <a:lnTo>
                    <a:pt x="224" y="481"/>
                  </a:lnTo>
                  <a:lnTo>
                    <a:pt x="224" y="482"/>
                  </a:lnTo>
                  <a:lnTo>
                    <a:pt x="225" y="482"/>
                  </a:lnTo>
                  <a:lnTo>
                    <a:pt x="227" y="484"/>
                  </a:lnTo>
                  <a:lnTo>
                    <a:pt x="230" y="485"/>
                  </a:lnTo>
                  <a:lnTo>
                    <a:pt x="233" y="490"/>
                  </a:lnTo>
                  <a:lnTo>
                    <a:pt x="236" y="494"/>
                  </a:lnTo>
                  <a:lnTo>
                    <a:pt x="236" y="494"/>
                  </a:lnTo>
                  <a:lnTo>
                    <a:pt x="237" y="494"/>
                  </a:lnTo>
                  <a:lnTo>
                    <a:pt x="239" y="496"/>
                  </a:lnTo>
                  <a:lnTo>
                    <a:pt x="239" y="496"/>
                  </a:lnTo>
                  <a:lnTo>
                    <a:pt x="241" y="499"/>
                  </a:lnTo>
                  <a:lnTo>
                    <a:pt x="241" y="501"/>
                  </a:lnTo>
                  <a:lnTo>
                    <a:pt x="242" y="501"/>
                  </a:lnTo>
                  <a:lnTo>
                    <a:pt x="244" y="502"/>
                  </a:lnTo>
                  <a:lnTo>
                    <a:pt x="244" y="504"/>
                  </a:lnTo>
                  <a:lnTo>
                    <a:pt x="244" y="505"/>
                  </a:lnTo>
                  <a:lnTo>
                    <a:pt x="245" y="507"/>
                  </a:lnTo>
                  <a:lnTo>
                    <a:pt x="247" y="507"/>
                  </a:lnTo>
                  <a:lnTo>
                    <a:pt x="245" y="508"/>
                  </a:lnTo>
                  <a:lnTo>
                    <a:pt x="247" y="516"/>
                  </a:lnTo>
                  <a:lnTo>
                    <a:pt x="248" y="518"/>
                  </a:lnTo>
                  <a:lnTo>
                    <a:pt x="248" y="518"/>
                  </a:lnTo>
                  <a:lnTo>
                    <a:pt x="248" y="518"/>
                  </a:lnTo>
                  <a:lnTo>
                    <a:pt x="248" y="516"/>
                  </a:lnTo>
                  <a:lnTo>
                    <a:pt x="248" y="514"/>
                  </a:lnTo>
                  <a:lnTo>
                    <a:pt x="248" y="513"/>
                  </a:lnTo>
                  <a:lnTo>
                    <a:pt x="250" y="514"/>
                  </a:lnTo>
                  <a:lnTo>
                    <a:pt x="250" y="516"/>
                  </a:lnTo>
                  <a:lnTo>
                    <a:pt x="250" y="518"/>
                  </a:lnTo>
                  <a:lnTo>
                    <a:pt x="251" y="518"/>
                  </a:lnTo>
                  <a:lnTo>
                    <a:pt x="253" y="519"/>
                  </a:lnTo>
                  <a:lnTo>
                    <a:pt x="256" y="521"/>
                  </a:lnTo>
                  <a:lnTo>
                    <a:pt x="261" y="522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2" y="525"/>
                  </a:lnTo>
                  <a:lnTo>
                    <a:pt x="268" y="525"/>
                  </a:lnTo>
                  <a:lnTo>
                    <a:pt x="270" y="525"/>
                  </a:lnTo>
                  <a:lnTo>
                    <a:pt x="271" y="527"/>
                  </a:lnTo>
                  <a:lnTo>
                    <a:pt x="273" y="528"/>
                  </a:lnTo>
                  <a:lnTo>
                    <a:pt x="273" y="531"/>
                  </a:lnTo>
                  <a:lnTo>
                    <a:pt x="274" y="533"/>
                  </a:lnTo>
                  <a:lnTo>
                    <a:pt x="276" y="534"/>
                  </a:lnTo>
                  <a:lnTo>
                    <a:pt x="279" y="533"/>
                  </a:lnTo>
                  <a:lnTo>
                    <a:pt x="281" y="533"/>
                  </a:lnTo>
                  <a:lnTo>
                    <a:pt x="282" y="534"/>
                  </a:lnTo>
                  <a:lnTo>
                    <a:pt x="285" y="536"/>
                  </a:lnTo>
                  <a:lnTo>
                    <a:pt x="285" y="536"/>
                  </a:lnTo>
                  <a:lnTo>
                    <a:pt x="287" y="536"/>
                  </a:lnTo>
                  <a:lnTo>
                    <a:pt x="288" y="538"/>
                  </a:lnTo>
                  <a:lnTo>
                    <a:pt x="290" y="541"/>
                  </a:lnTo>
                  <a:lnTo>
                    <a:pt x="291" y="541"/>
                  </a:lnTo>
                  <a:lnTo>
                    <a:pt x="291" y="538"/>
                  </a:lnTo>
                  <a:lnTo>
                    <a:pt x="294" y="536"/>
                  </a:lnTo>
                  <a:lnTo>
                    <a:pt x="298" y="536"/>
                  </a:lnTo>
                  <a:lnTo>
                    <a:pt x="299" y="538"/>
                  </a:lnTo>
                  <a:lnTo>
                    <a:pt x="299" y="539"/>
                  </a:lnTo>
                  <a:lnTo>
                    <a:pt x="299" y="541"/>
                  </a:lnTo>
                  <a:lnTo>
                    <a:pt x="299" y="541"/>
                  </a:lnTo>
                  <a:lnTo>
                    <a:pt x="299" y="542"/>
                  </a:lnTo>
                  <a:lnTo>
                    <a:pt x="294" y="545"/>
                  </a:lnTo>
                  <a:lnTo>
                    <a:pt x="293" y="547"/>
                  </a:lnTo>
                  <a:lnTo>
                    <a:pt x="293" y="550"/>
                  </a:lnTo>
                  <a:lnTo>
                    <a:pt x="293" y="550"/>
                  </a:lnTo>
                  <a:lnTo>
                    <a:pt x="291" y="551"/>
                  </a:lnTo>
                  <a:lnTo>
                    <a:pt x="291" y="551"/>
                  </a:lnTo>
                  <a:lnTo>
                    <a:pt x="291" y="553"/>
                  </a:lnTo>
                  <a:lnTo>
                    <a:pt x="293" y="553"/>
                  </a:lnTo>
                  <a:lnTo>
                    <a:pt x="293" y="553"/>
                  </a:lnTo>
                  <a:lnTo>
                    <a:pt x="293" y="553"/>
                  </a:lnTo>
                  <a:lnTo>
                    <a:pt x="294" y="553"/>
                  </a:lnTo>
                  <a:lnTo>
                    <a:pt x="296" y="553"/>
                  </a:lnTo>
                  <a:lnTo>
                    <a:pt x="296" y="553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6"/>
                  </a:lnTo>
                  <a:lnTo>
                    <a:pt x="299" y="556"/>
                  </a:lnTo>
                  <a:lnTo>
                    <a:pt x="298" y="558"/>
                  </a:lnTo>
                  <a:lnTo>
                    <a:pt x="298" y="558"/>
                  </a:lnTo>
                  <a:lnTo>
                    <a:pt x="298" y="559"/>
                  </a:lnTo>
                  <a:lnTo>
                    <a:pt x="299" y="559"/>
                  </a:lnTo>
                  <a:lnTo>
                    <a:pt x="299" y="559"/>
                  </a:lnTo>
                  <a:lnTo>
                    <a:pt x="299" y="559"/>
                  </a:lnTo>
                  <a:lnTo>
                    <a:pt x="301" y="559"/>
                  </a:lnTo>
                  <a:lnTo>
                    <a:pt x="301" y="561"/>
                  </a:lnTo>
                  <a:lnTo>
                    <a:pt x="301" y="561"/>
                  </a:lnTo>
                  <a:lnTo>
                    <a:pt x="301" y="562"/>
                  </a:lnTo>
                  <a:lnTo>
                    <a:pt x="301" y="564"/>
                  </a:lnTo>
                  <a:lnTo>
                    <a:pt x="301" y="564"/>
                  </a:lnTo>
                  <a:lnTo>
                    <a:pt x="302" y="565"/>
                  </a:lnTo>
                  <a:lnTo>
                    <a:pt x="302" y="565"/>
                  </a:lnTo>
                  <a:lnTo>
                    <a:pt x="304" y="565"/>
                  </a:lnTo>
                  <a:lnTo>
                    <a:pt x="304" y="567"/>
                  </a:lnTo>
                  <a:lnTo>
                    <a:pt x="304" y="567"/>
                  </a:lnTo>
                  <a:lnTo>
                    <a:pt x="302" y="568"/>
                  </a:lnTo>
                  <a:lnTo>
                    <a:pt x="302" y="570"/>
                  </a:lnTo>
                  <a:lnTo>
                    <a:pt x="301" y="570"/>
                  </a:lnTo>
                  <a:lnTo>
                    <a:pt x="299" y="568"/>
                  </a:lnTo>
                  <a:lnTo>
                    <a:pt x="301" y="571"/>
                  </a:lnTo>
                  <a:lnTo>
                    <a:pt x="301" y="573"/>
                  </a:lnTo>
                  <a:lnTo>
                    <a:pt x="302" y="575"/>
                  </a:lnTo>
                  <a:lnTo>
                    <a:pt x="302" y="575"/>
                  </a:lnTo>
                  <a:lnTo>
                    <a:pt x="301" y="576"/>
                  </a:lnTo>
                  <a:lnTo>
                    <a:pt x="301" y="576"/>
                  </a:lnTo>
                  <a:lnTo>
                    <a:pt x="301" y="576"/>
                  </a:lnTo>
                  <a:lnTo>
                    <a:pt x="302" y="578"/>
                  </a:lnTo>
                  <a:lnTo>
                    <a:pt x="302" y="578"/>
                  </a:lnTo>
                  <a:lnTo>
                    <a:pt x="302" y="579"/>
                  </a:lnTo>
                  <a:lnTo>
                    <a:pt x="302" y="581"/>
                  </a:lnTo>
                  <a:lnTo>
                    <a:pt x="301" y="581"/>
                  </a:lnTo>
                  <a:lnTo>
                    <a:pt x="301" y="581"/>
                  </a:lnTo>
                  <a:lnTo>
                    <a:pt x="301" y="581"/>
                  </a:lnTo>
                  <a:lnTo>
                    <a:pt x="299" y="582"/>
                  </a:lnTo>
                  <a:lnTo>
                    <a:pt x="298" y="582"/>
                  </a:lnTo>
                  <a:lnTo>
                    <a:pt x="298" y="582"/>
                  </a:lnTo>
                  <a:lnTo>
                    <a:pt x="298" y="584"/>
                  </a:lnTo>
                  <a:lnTo>
                    <a:pt x="296" y="584"/>
                  </a:lnTo>
                  <a:lnTo>
                    <a:pt x="296" y="584"/>
                  </a:lnTo>
                  <a:lnTo>
                    <a:pt x="296" y="585"/>
                  </a:lnTo>
                  <a:lnTo>
                    <a:pt x="298" y="587"/>
                  </a:lnTo>
                  <a:lnTo>
                    <a:pt x="298" y="588"/>
                  </a:lnTo>
                  <a:lnTo>
                    <a:pt x="298" y="590"/>
                  </a:lnTo>
                  <a:lnTo>
                    <a:pt x="298" y="591"/>
                  </a:lnTo>
                  <a:lnTo>
                    <a:pt x="299" y="593"/>
                  </a:lnTo>
                  <a:lnTo>
                    <a:pt x="307" y="599"/>
                  </a:lnTo>
                  <a:lnTo>
                    <a:pt x="308" y="601"/>
                  </a:lnTo>
                  <a:lnTo>
                    <a:pt x="304" y="598"/>
                  </a:lnTo>
                  <a:lnTo>
                    <a:pt x="302" y="598"/>
                  </a:lnTo>
                  <a:lnTo>
                    <a:pt x="301" y="596"/>
                  </a:lnTo>
                  <a:lnTo>
                    <a:pt x="296" y="591"/>
                  </a:lnTo>
                  <a:lnTo>
                    <a:pt x="294" y="591"/>
                  </a:lnTo>
                  <a:lnTo>
                    <a:pt x="290" y="593"/>
                  </a:lnTo>
                  <a:lnTo>
                    <a:pt x="290" y="595"/>
                  </a:lnTo>
                  <a:lnTo>
                    <a:pt x="288" y="601"/>
                  </a:lnTo>
                  <a:lnTo>
                    <a:pt x="290" y="602"/>
                  </a:lnTo>
                  <a:lnTo>
                    <a:pt x="293" y="601"/>
                  </a:lnTo>
                  <a:lnTo>
                    <a:pt x="294" y="602"/>
                  </a:lnTo>
                  <a:lnTo>
                    <a:pt x="294" y="604"/>
                  </a:lnTo>
                  <a:lnTo>
                    <a:pt x="296" y="605"/>
                  </a:lnTo>
                  <a:lnTo>
                    <a:pt x="298" y="605"/>
                  </a:lnTo>
                  <a:lnTo>
                    <a:pt x="299" y="605"/>
                  </a:lnTo>
                  <a:lnTo>
                    <a:pt x="301" y="607"/>
                  </a:lnTo>
                  <a:lnTo>
                    <a:pt x="305" y="610"/>
                  </a:lnTo>
                  <a:lnTo>
                    <a:pt x="307" y="611"/>
                  </a:lnTo>
                  <a:lnTo>
                    <a:pt x="308" y="611"/>
                  </a:lnTo>
                  <a:lnTo>
                    <a:pt x="308" y="615"/>
                  </a:lnTo>
                  <a:lnTo>
                    <a:pt x="308" y="615"/>
                  </a:lnTo>
                  <a:lnTo>
                    <a:pt x="319" y="622"/>
                  </a:lnTo>
                  <a:lnTo>
                    <a:pt x="322" y="625"/>
                  </a:lnTo>
                  <a:lnTo>
                    <a:pt x="324" y="628"/>
                  </a:lnTo>
                  <a:lnTo>
                    <a:pt x="325" y="632"/>
                  </a:lnTo>
                  <a:lnTo>
                    <a:pt x="328" y="638"/>
                  </a:lnTo>
                  <a:lnTo>
                    <a:pt x="328" y="642"/>
                  </a:lnTo>
                  <a:lnTo>
                    <a:pt x="331" y="662"/>
                  </a:lnTo>
                  <a:lnTo>
                    <a:pt x="333" y="665"/>
                  </a:lnTo>
                  <a:lnTo>
                    <a:pt x="334" y="668"/>
                  </a:lnTo>
                  <a:lnTo>
                    <a:pt x="338" y="670"/>
                  </a:lnTo>
                  <a:lnTo>
                    <a:pt x="341" y="672"/>
                  </a:lnTo>
                  <a:lnTo>
                    <a:pt x="344" y="673"/>
                  </a:lnTo>
                  <a:lnTo>
                    <a:pt x="345" y="676"/>
                  </a:lnTo>
                  <a:lnTo>
                    <a:pt x="344" y="675"/>
                  </a:lnTo>
                  <a:lnTo>
                    <a:pt x="342" y="675"/>
                  </a:lnTo>
                  <a:lnTo>
                    <a:pt x="339" y="673"/>
                  </a:lnTo>
                  <a:lnTo>
                    <a:pt x="338" y="673"/>
                  </a:lnTo>
                  <a:lnTo>
                    <a:pt x="339" y="675"/>
                  </a:lnTo>
                  <a:lnTo>
                    <a:pt x="341" y="676"/>
                  </a:lnTo>
                  <a:lnTo>
                    <a:pt x="342" y="679"/>
                  </a:lnTo>
                  <a:lnTo>
                    <a:pt x="341" y="682"/>
                  </a:lnTo>
                  <a:lnTo>
                    <a:pt x="341" y="682"/>
                  </a:lnTo>
                  <a:lnTo>
                    <a:pt x="342" y="685"/>
                  </a:lnTo>
                  <a:lnTo>
                    <a:pt x="342" y="687"/>
                  </a:lnTo>
                  <a:lnTo>
                    <a:pt x="341" y="687"/>
                  </a:lnTo>
                  <a:lnTo>
                    <a:pt x="341" y="685"/>
                  </a:lnTo>
                  <a:lnTo>
                    <a:pt x="339" y="682"/>
                  </a:lnTo>
                  <a:lnTo>
                    <a:pt x="339" y="681"/>
                  </a:lnTo>
                  <a:lnTo>
                    <a:pt x="341" y="679"/>
                  </a:lnTo>
                  <a:lnTo>
                    <a:pt x="341" y="678"/>
                  </a:lnTo>
                  <a:lnTo>
                    <a:pt x="339" y="676"/>
                  </a:lnTo>
                  <a:lnTo>
                    <a:pt x="339" y="676"/>
                  </a:lnTo>
                  <a:lnTo>
                    <a:pt x="336" y="675"/>
                  </a:lnTo>
                  <a:lnTo>
                    <a:pt x="333" y="672"/>
                  </a:lnTo>
                  <a:lnTo>
                    <a:pt x="331" y="668"/>
                  </a:lnTo>
                  <a:lnTo>
                    <a:pt x="328" y="662"/>
                  </a:lnTo>
                  <a:lnTo>
                    <a:pt x="328" y="661"/>
                  </a:lnTo>
                  <a:lnTo>
                    <a:pt x="327" y="652"/>
                  </a:lnTo>
                  <a:lnTo>
                    <a:pt x="325" y="647"/>
                  </a:lnTo>
                  <a:lnTo>
                    <a:pt x="325" y="645"/>
                  </a:lnTo>
                  <a:lnTo>
                    <a:pt x="325" y="642"/>
                  </a:lnTo>
                  <a:lnTo>
                    <a:pt x="322" y="639"/>
                  </a:lnTo>
                  <a:lnTo>
                    <a:pt x="313" y="628"/>
                  </a:lnTo>
                  <a:lnTo>
                    <a:pt x="313" y="628"/>
                  </a:lnTo>
                  <a:lnTo>
                    <a:pt x="310" y="627"/>
                  </a:lnTo>
                  <a:lnTo>
                    <a:pt x="304" y="622"/>
                  </a:lnTo>
                  <a:lnTo>
                    <a:pt x="304" y="622"/>
                  </a:lnTo>
                  <a:lnTo>
                    <a:pt x="302" y="621"/>
                  </a:lnTo>
                  <a:lnTo>
                    <a:pt x="302" y="621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4" y="618"/>
                  </a:lnTo>
                  <a:lnTo>
                    <a:pt x="304" y="616"/>
                  </a:lnTo>
                  <a:lnTo>
                    <a:pt x="302" y="616"/>
                  </a:lnTo>
                  <a:lnTo>
                    <a:pt x="302" y="616"/>
                  </a:lnTo>
                  <a:lnTo>
                    <a:pt x="301" y="616"/>
                  </a:lnTo>
                  <a:lnTo>
                    <a:pt x="299" y="618"/>
                  </a:lnTo>
                  <a:lnTo>
                    <a:pt x="298" y="624"/>
                  </a:lnTo>
                  <a:lnTo>
                    <a:pt x="298" y="625"/>
                  </a:lnTo>
                  <a:lnTo>
                    <a:pt x="296" y="647"/>
                  </a:lnTo>
                  <a:lnTo>
                    <a:pt x="293" y="664"/>
                  </a:lnTo>
                  <a:lnTo>
                    <a:pt x="288" y="715"/>
                  </a:lnTo>
                  <a:lnTo>
                    <a:pt x="288" y="715"/>
                  </a:lnTo>
                  <a:lnTo>
                    <a:pt x="288" y="712"/>
                  </a:lnTo>
                  <a:lnTo>
                    <a:pt x="290" y="707"/>
                  </a:lnTo>
                  <a:lnTo>
                    <a:pt x="293" y="702"/>
                  </a:lnTo>
                  <a:lnTo>
                    <a:pt x="293" y="701"/>
                  </a:lnTo>
                  <a:lnTo>
                    <a:pt x="294" y="701"/>
                  </a:lnTo>
                  <a:lnTo>
                    <a:pt x="294" y="701"/>
                  </a:lnTo>
                  <a:lnTo>
                    <a:pt x="294" y="699"/>
                  </a:lnTo>
                  <a:lnTo>
                    <a:pt x="294" y="699"/>
                  </a:lnTo>
                  <a:lnTo>
                    <a:pt x="294" y="699"/>
                  </a:lnTo>
                  <a:lnTo>
                    <a:pt x="296" y="699"/>
                  </a:lnTo>
                  <a:lnTo>
                    <a:pt x="296" y="699"/>
                  </a:lnTo>
                  <a:lnTo>
                    <a:pt x="296" y="701"/>
                  </a:lnTo>
                  <a:lnTo>
                    <a:pt x="296" y="701"/>
                  </a:lnTo>
                  <a:lnTo>
                    <a:pt x="302" y="705"/>
                  </a:lnTo>
                  <a:lnTo>
                    <a:pt x="304" y="707"/>
                  </a:lnTo>
                  <a:lnTo>
                    <a:pt x="302" y="707"/>
                  </a:lnTo>
                  <a:lnTo>
                    <a:pt x="304" y="708"/>
                  </a:lnTo>
                  <a:lnTo>
                    <a:pt x="304" y="712"/>
                  </a:lnTo>
                  <a:lnTo>
                    <a:pt x="302" y="712"/>
                  </a:lnTo>
                  <a:lnTo>
                    <a:pt x="299" y="712"/>
                  </a:lnTo>
                  <a:lnTo>
                    <a:pt x="294" y="712"/>
                  </a:lnTo>
                  <a:lnTo>
                    <a:pt x="293" y="712"/>
                  </a:lnTo>
                  <a:lnTo>
                    <a:pt x="291" y="713"/>
                  </a:lnTo>
                  <a:lnTo>
                    <a:pt x="290" y="718"/>
                  </a:lnTo>
                  <a:lnTo>
                    <a:pt x="290" y="719"/>
                  </a:lnTo>
                  <a:lnTo>
                    <a:pt x="290" y="719"/>
                  </a:lnTo>
                  <a:lnTo>
                    <a:pt x="288" y="722"/>
                  </a:lnTo>
                  <a:lnTo>
                    <a:pt x="288" y="724"/>
                  </a:lnTo>
                  <a:lnTo>
                    <a:pt x="288" y="727"/>
                  </a:lnTo>
                  <a:lnTo>
                    <a:pt x="288" y="729"/>
                  </a:lnTo>
                  <a:lnTo>
                    <a:pt x="288" y="735"/>
                  </a:lnTo>
                  <a:lnTo>
                    <a:pt x="287" y="749"/>
                  </a:lnTo>
                  <a:lnTo>
                    <a:pt x="282" y="778"/>
                  </a:lnTo>
                  <a:lnTo>
                    <a:pt x="279" y="792"/>
                  </a:lnTo>
                  <a:lnTo>
                    <a:pt x="277" y="798"/>
                  </a:lnTo>
                  <a:lnTo>
                    <a:pt x="274" y="815"/>
                  </a:lnTo>
                  <a:lnTo>
                    <a:pt x="273" y="821"/>
                  </a:lnTo>
                  <a:lnTo>
                    <a:pt x="271" y="824"/>
                  </a:lnTo>
                  <a:lnTo>
                    <a:pt x="270" y="827"/>
                  </a:lnTo>
                  <a:lnTo>
                    <a:pt x="268" y="827"/>
                  </a:lnTo>
                  <a:lnTo>
                    <a:pt x="267" y="832"/>
                  </a:lnTo>
                  <a:lnTo>
                    <a:pt x="265" y="832"/>
                  </a:lnTo>
                  <a:lnTo>
                    <a:pt x="265" y="833"/>
                  </a:lnTo>
                  <a:lnTo>
                    <a:pt x="264" y="836"/>
                  </a:lnTo>
                  <a:lnTo>
                    <a:pt x="262" y="838"/>
                  </a:lnTo>
                  <a:lnTo>
                    <a:pt x="262" y="838"/>
                  </a:lnTo>
                  <a:lnTo>
                    <a:pt x="259" y="839"/>
                  </a:lnTo>
                  <a:lnTo>
                    <a:pt x="257" y="842"/>
                  </a:lnTo>
                  <a:lnTo>
                    <a:pt x="251" y="842"/>
                  </a:lnTo>
                  <a:lnTo>
                    <a:pt x="250" y="844"/>
                  </a:lnTo>
                  <a:lnTo>
                    <a:pt x="250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7"/>
                  </a:lnTo>
                  <a:lnTo>
                    <a:pt x="248" y="847"/>
                  </a:lnTo>
                  <a:lnTo>
                    <a:pt x="250" y="849"/>
                  </a:lnTo>
                  <a:lnTo>
                    <a:pt x="251" y="850"/>
                  </a:lnTo>
                  <a:lnTo>
                    <a:pt x="251" y="852"/>
                  </a:lnTo>
                  <a:lnTo>
                    <a:pt x="251" y="853"/>
                  </a:lnTo>
                  <a:lnTo>
                    <a:pt x="251" y="853"/>
                  </a:lnTo>
                  <a:lnTo>
                    <a:pt x="253" y="853"/>
                  </a:lnTo>
                  <a:lnTo>
                    <a:pt x="253" y="852"/>
                  </a:lnTo>
                  <a:lnTo>
                    <a:pt x="254" y="852"/>
                  </a:lnTo>
                  <a:lnTo>
                    <a:pt x="256" y="852"/>
                  </a:lnTo>
                  <a:lnTo>
                    <a:pt x="257" y="852"/>
                  </a:lnTo>
                  <a:lnTo>
                    <a:pt x="259" y="852"/>
                  </a:lnTo>
                  <a:lnTo>
                    <a:pt x="259" y="853"/>
                  </a:lnTo>
                  <a:lnTo>
                    <a:pt x="259" y="853"/>
                  </a:lnTo>
                  <a:lnTo>
                    <a:pt x="259" y="853"/>
                  </a:lnTo>
                  <a:lnTo>
                    <a:pt x="259" y="855"/>
                  </a:lnTo>
                  <a:lnTo>
                    <a:pt x="259" y="856"/>
                  </a:lnTo>
                  <a:lnTo>
                    <a:pt x="261" y="856"/>
                  </a:lnTo>
                  <a:lnTo>
                    <a:pt x="261" y="858"/>
                  </a:lnTo>
                  <a:lnTo>
                    <a:pt x="262" y="858"/>
                  </a:lnTo>
                  <a:lnTo>
                    <a:pt x="262" y="858"/>
                  </a:lnTo>
                  <a:lnTo>
                    <a:pt x="264" y="856"/>
                  </a:lnTo>
                  <a:lnTo>
                    <a:pt x="264" y="856"/>
                  </a:lnTo>
                  <a:lnTo>
                    <a:pt x="265" y="855"/>
                  </a:lnTo>
                  <a:lnTo>
                    <a:pt x="265" y="853"/>
                  </a:lnTo>
                  <a:lnTo>
                    <a:pt x="267" y="853"/>
                  </a:lnTo>
                  <a:lnTo>
                    <a:pt x="270" y="855"/>
                  </a:lnTo>
                  <a:lnTo>
                    <a:pt x="273" y="856"/>
                  </a:lnTo>
                  <a:lnTo>
                    <a:pt x="273" y="856"/>
                  </a:lnTo>
                  <a:lnTo>
                    <a:pt x="274" y="856"/>
                  </a:lnTo>
                  <a:lnTo>
                    <a:pt x="274" y="856"/>
                  </a:lnTo>
                  <a:lnTo>
                    <a:pt x="277" y="858"/>
                  </a:lnTo>
                  <a:lnTo>
                    <a:pt x="277" y="861"/>
                  </a:lnTo>
                  <a:lnTo>
                    <a:pt x="276" y="866"/>
                  </a:lnTo>
                  <a:lnTo>
                    <a:pt x="276" y="869"/>
                  </a:lnTo>
                  <a:lnTo>
                    <a:pt x="274" y="870"/>
                  </a:lnTo>
                  <a:lnTo>
                    <a:pt x="271" y="873"/>
                  </a:lnTo>
                  <a:lnTo>
                    <a:pt x="271" y="875"/>
                  </a:lnTo>
                  <a:lnTo>
                    <a:pt x="271" y="876"/>
                  </a:lnTo>
                  <a:lnTo>
                    <a:pt x="273" y="878"/>
                  </a:lnTo>
                  <a:lnTo>
                    <a:pt x="274" y="879"/>
                  </a:lnTo>
                  <a:lnTo>
                    <a:pt x="276" y="879"/>
                  </a:lnTo>
                  <a:lnTo>
                    <a:pt x="279" y="879"/>
                  </a:lnTo>
                  <a:lnTo>
                    <a:pt x="281" y="879"/>
                  </a:lnTo>
                  <a:lnTo>
                    <a:pt x="281" y="878"/>
                  </a:lnTo>
                  <a:lnTo>
                    <a:pt x="281" y="875"/>
                  </a:lnTo>
                  <a:lnTo>
                    <a:pt x="281" y="873"/>
                  </a:lnTo>
                  <a:lnTo>
                    <a:pt x="282" y="872"/>
                  </a:lnTo>
                  <a:lnTo>
                    <a:pt x="284" y="872"/>
                  </a:lnTo>
                  <a:lnTo>
                    <a:pt x="285" y="872"/>
                  </a:lnTo>
                  <a:lnTo>
                    <a:pt x="284" y="873"/>
                  </a:lnTo>
                  <a:lnTo>
                    <a:pt x="284" y="875"/>
                  </a:lnTo>
                  <a:lnTo>
                    <a:pt x="284" y="875"/>
                  </a:lnTo>
                  <a:lnTo>
                    <a:pt x="285" y="876"/>
                  </a:lnTo>
                  <a:lnTo>
                    <a:pt x="287" y="878"/>
                  </a:lnTo>
                  <a:lnTo>
                    <a:pt x="291" y="878"/>
                  </a:lnTo>
                  <a:lnTo>
                    <a:pt x="293" y="879"/>
                  </a:lnTo>
                  <a:lnTo>
                    <a:pt x="296" y="883"/>
                  </a:lnTo>
                  <a:lnTo>
                    <a:pt x="299" y="881"/>
                  </a:lnTo>
                  <a:lnTo>
                    <a:pt x="299" y="883"/>
                  </a:lnTo>
                  <a:lnTo>
                    <a:pt x="301" y="883"/>
                  </a:lnTo>
                  <a:lnTo>
                    <a:pt x="301" y="883"/>
                  </a:lnTo>
                  <a:lnTo>
                    <a:pt x="304" y="884"/>
                  </a:lnTo>
                  <a:lnTo>
                    <a:pt x="305" y="884"/>
                  </a:lnTo>
                  <a:lnTo>
                    <a:pt x="305" y="886"/>
                  </a:lnTo>
                  <a:lnTo>
                    <a:pt x="308" y="887"/>
                  </a:lnTo>
                  <a:lnTo>
                    <a:pt x="311" y="887"/>
                  </a:lnTo>
                  <a:lnTo>
                    <a:pt x="318" y="889"/>
                  </a:lnTo>
                  <a:lnTo>
                    <a:pt x="324" y="887"/>
                  </a:lnTo>
                  <a:lnTo>
                    <a:pt x="325" y="889"/>
                  </a:lnTo>
                  <a:lnTo>
                    <a:pt x="327" y="890"/>
                  </a:lnTo>
                  <a:lnTo>
                    <a:pt x="327" y="892"/>
                  </a:lnTo>
                  <a:lnTo>
                    <a:pt x="327" y="892"/>
                  </a:lnTo>
                  <a:lnTo>
                    <a:pt x="327" y="893"/>
                  </a:lnTo>
                  <a:lnTo>
                    <a:pt x="327" y="893"/>
                  </a:lnTo>
                  <a:lnTo>
                    <a:pt x="327" y="895"/>
                  </a:lnTo>
                  <a:lnTo>
                    <a:pt x="327" y="895"/>
                  </a:lnTo>
                  <a:lnTo>
                    <a:pt x="328" y="895"/>
                  </a:lnTo>
                  <a:lnTo>
                    <a:pt x="328" y="895"/>
                  </a:lnTo>
                  <a:lnTo>
                    <a:pt x="330" y="895"/>
                  </a:lnTo>
                  <a:lnTo>
                    <a:pt x="331" y="896"/>
                  </a:lnTo>
                  <a:lnTo>
                    <a:pt x="333" y="898"/>
                  </a:lnTo>
                  <a:lnTo>
                    <a:pt x="336" y="901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8" y="903"/>
                  </a:lnTo>
                  <a:lnTo>
                    <a:pt x="338" y="903"/>
                  </a:lnTo>
                  <a:lnTo>
                    <a:pt x="339" y="904"/>
                  </a:lnTo>
                  <a:lnTo>
                    <a:pt x="339" y="904"/>
                  </a:lnTo>
                  <a:lnTo>
                    <a:pt x="339" y="906"/>
                  </a:lnTo>
                  <a:lnTo>
                    <a:pt x="339" y="906"/>
                  </a:lnTo>
                  <a:lnTo>
                    <a:pt x="339" y="906"/>
                  </a:lnTo>
                  <a:lnTo>
                    <a:pt x="341" y="904"/>
                  </a:lnTo>
                  <a:lnTo>
                    <a:pt x="342" y="904"/>
                  </a:lnTo>
                  <a:lnTo>
                    <a:pt x="342" y="903"/>
                  </a:lnTo>
                  <a:lnTo>
                    <a:pt x="344" y="903"/>
                  </a:lnTo>
                  <a:lnTo>
                    <a:pt x="348" y="904"/>
                  </a:lnTo>
                  <a:lnTo>
                    <a:pt x="350" y="904"/>
                  </a:lnTo>
                  <a:lnTo>
                    <a:pt x="351" y="903"/>
                  </a:lnTo>
                  <a:lnTo>
                    <a:pt x="356" y="899"/>
                  </a:lnTo>
                  <a:lnTo>
                    <a:pt x="356" y="901"/>
                  </a:lnTo>
                  <a:lnTo>
                    <a:pt x="356" y="901"/>
                  </a:lnTo>
                  <a:lnTo>
                    <a:pt x="358" y="899"/>
                  </a:lnTo>
                  <a:lnTo>
                    <a:pt x="358" y="898"/>
                  </a:lnTo>
                  <a:lnTo>
                    <a:pt x="359" y="899"/>
                  </a:lnTo>
                  <a:lnTo>
                    <a:pt x="359" y="899"/>
                  </a:lnTo>
                  <a:lnTo>
                    <a:pt x="364" y="903"/>
                  </a:lnTo>
                  <a:lnTo>
                    <a:pt x="364" y="904"/>
                  </a:lnTo>
                  <a:lnTo>
                    <a:pt x="367" y="904"/>
                  </a:lnTo>
                  <a:lnTo>
                    <a:pt x="368" y="904"/>
                  </a:lnTo>
                  <a:lnTo>
                    <a:pt x="370" y="903"/>
                  </a:lnTo>
                  <a:lnTo>
                    <a:pt x="370" y="906"/>
                  </a:lnTo>
                  <a:lnTo>
                    <a:pt x="370" y="907"/>
                  </a:lnTo>
                  <a:lnTo>
                    <a:pt x="371" y="909"/>
                  </a:lnTo>
                  <a:lnTo>
                    <a:pt x="371" y="909"/>
                  </a:lnTo>
                  <a:lnTo>
                    <a:pt x="373" y="910"/>
                  </a:lnTo>
                  <a:lnTo>
                    <a:pt x="373" y="910"/>
                  </a:lnTo>
                  <a:lnTo>
                    <a:pt x="373" y="912"/>
                  </a:lnTo>
                  <a:lnTo>
                    <a:pt x="373" y="912"/>
                  </a:lnTo>
                  <a:lnTo>
                    <a:pt x="375" y="912"/>
                  </a:lnTo>
                  <a:lnTo>
                    <a:pt x="375" y="912"/>
                  </a:lnTo>
                  <a:lnTo>
                    <a:pt x="376" y="913"/>
                  </a:lnTo>
                  <a:lnTo>
                    <a:pt x="376" y="913"/>
                  </a:lnTo>
                  <a:lnTo>
                    <a:pt x="379" y="915"/>
                  </a:lnTo>
                  <a:lnTo>
                    <a:pt x="381" y="915"/>
                  </a:lnTo>
                  <a:lnTo>
                    <a:pt x="387" y="912"/>
                  </a:lnTo>
                  <a:lnTo>
                    <a:pt x="391" y="912"/>
                  </a:lnTo>
                  <a:lnTo>
                    <a:pt x="393" y="910"/>
                  </a:lnTo>
                  <a:lnTo>
                    <a:pt x="395" y="910"/>
                  </a:lnTo>
                  <a:lnTo>
                    <a:pt x="398" y="912"/>
                  </a:lnTo>
                  <a:lnTo>
                    <a:pt x="399" y="912"/>
                  </a:lnTo>
                  <a:lnTo>
                    <a:pt x="401" y="915"/>
                  </a:lnTo>
                  <a:lnTo>
                    <a:pt x="402" y="916"/>
                  </a:lnTo>
                  <a:lnTo>
                    <a:pt x="404" y="916"/>
                  </a:lnTo>
                  <a:lnTo>
                    <a:pt x="405" y="913"/>
                  </a:lnTo>
                  <a:lnTo>
                    <a:pt x="407" y="912"/>
                  </a:lnTo>
                  <a:lnTo>
                    <a:pt x="408" y="912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5"/>
                  </a:lnTo>
                  <a:lnTo>
                    <a:pt x="411" y="915"/>
                  </a:lnTo>
                  <a:lnTo>
                    <a:pt x="413" y="915"/>
                  </a:lnTo>
                  <a:lnTo>
                    <a:pt x="416" y="913"/>
                  </a:lnTo>
                  <a:lnTo>
                    <a:pt x="418" y="915"/>
                  </a:lnTo>
                  <a:lnTo>
                    <a:pt x="427" y="915"/>
                  </a:lnTo>
                  <a:lnTo>
                    <a:pt x="430" y="915"/>
                  </a:lnTo>
                  <a:lnTo>
                    <a:pt x="430" y="915"/>
                  </a:lnTo>
                  <a:lnTo>
                    <a:pt x="432" y="913"/>
                  </a:lnTo>
                  <a:lnTo>
                    <a:pt x="432" y="913"/>
                  </a:lnTo>
                  <a:lnTo>
                    <a:pt x="432" y="912"/>
                  </a:lnTo>
                  <a:lnTo>
                    <a:pt x="430" y="910"/>
                  </a:lnTo>
                  <a:lnTo>
                    <a:pt x="430" y="909"/>
                  </a:lnTo>
                  <a:lnTo>
                    <a:pt x="428" y="909"/>
                  </a:lnTo>
                  <a:lnTo>
                    <a:pt x="430" y="907"/>
                  </a:lnTo>
                  <a:lnTo>
                    <a:pt x="430" y="907"/>
                  </a:lnTo>
                  <a:lnTo>
                    <a:pt x="430" y="907"/>
                  </a:lnTo>
                  <a:lnTo>
                    <a:pt x="430" y="906"/>
                  </a:lnTo>
                  <a:lnTo>
                    <a:pt x="430" y="903"/>
                  </a:lnTo>
                  <a:lnTo>
                    <a:pt x="430" y="901"/>
                  </a:lnTo>
                  <a:lnTo>
                    <a:pt x="430" y="899"/>
                  </a:lnTo>
                  <a:lnTo>
                    <a:pt x="432" y="898"/>
                  </a:lnTo>
                  <a:lnTo>
                    <a:pt x="435" y="898"/>
                  </a:lnTo>
                  <a:lnTo>
                    <a:pt x="436" y="898"/>
                  </a:lnTo>
                  <a:lnTo>
                    <a:pt x="438" y="899"/>
                  </a:lnTo>
                  <a:lnTo>
                    <a:pt x="439" y="899"/>
                  </a:lnTo>
                  <a:lnTo>
                    <a:pt x="441" y="899"/>
                  </a:lnTo>
                  <a:lnTo>
                    <a:pt x="442" y="899"/>
                  </a:lnTo>
                  <a:lnTo>
                    <a:pt x="445" y="901"/>
                  </a:lnTo>
                  <a:lnTo>
                    <a:pt x="447" y="903"/>
                  </a:lnTo>
                  <a:lnTo>
                    <a:pt x="448" y="903"/>
                  </a:lnTo>
                  <a:lnTo>
                    <a:pt x="450" y="904"/>
                  </a:lnTo>
                  <a:lnTo>
                    <a:pt x="450" y="904"/>
                  </a:lnTo>
                  <a:lnTo>
                    <a:pt x="452" y="904"/>
                  </a:lnTo>
                  <a:lnTo>
                    <a:pt x="452" y="904"/>
                  </a:lnTo>
                  <a:lnTo>
                    <a:pt x="453" y="903"/>
                  </a:lnTo>
                  <a:lnTo>
                    <a:pt x="453" y="904"/>
                  </a:lnTo>
                  <a:lnTo>
                    <a:pt x="455" y="904"/>
                  </a:lnTo>
                  <a:lnTo>
                    <a:pt x="455" y="904"/>
                  </a:lnTo>
                  <a:lnTo>
                    <a:pt x="461" y="906"/>
                  </a:lnTo>
                  <a:lnTo>
                    <a:pt x="462" y="906"/>
                  </a:lnTo>
                  <a:lnTo>
                    <a:pt x="464" y="907"/>
                  </a:lnTo>
                  <a:lnTo>
                    <a:pt x="465" y="909"/>
                  </a:lnTo>
                  <a:lnTo>
                    <a:pt x="465" y="910"/>
                  </a:lnTo>
                  <a:lnTo>
                    <a:pt x="465" y="912"/>
                  </a:lnTo>
                  <a:lnTo>
                    <a:pt x="467" y="912"/>
                  </a:lnTo>
                  <a:lnTo>
                    <a:pt x="468" y="912"/>
                  </a:lnTo>
                  <a:lnTo>
                    <a:pt x="470" y="912"/>
                  </a:lnTo>
                  <a:lnTo>
                    <a:pt x="479" y="912"/>
                  </a:lnTo>
                  <a:lnTo>
                    <a:pt x="482" y="912"/>
                  </a:lnTo>
                  <a:lnTo>
                    <a:pt x="481" y="913"/>
                  </a:lnTo>
                  <a:lnTo>
                    <a:pt x="482" y="913"/>
                  </a:lnTo>
                  <a:lnTo>
                    <a:pt x="482" y="913"/>
                  </a:lnTo>
                  <a:lnTo>
                    <a:pt x="482" y="915"/>
                  </a:lnTo>
                  <a:lnTo>
                    <a:pt x="484" y="916"/>
                  </a:lnTo>
                  <a:lnTo>
                    <a:pt x="485" y="918"/>
                  </a:lnTo>
                  <a:lnTo>
                    <a:pt x="487" y="923"/>
                  </a:lnTo>
                  <a:lnTo>
                    <a:pt x="488" y="924"/>
                  </a:lnTo>
                  <a:lnTo>
                    <a:pt x="490" y="923"/>
                  </a:lnTo>
                  <a:lnTo>
                    <a:pt x="492" y="919"/>
                  </a:lnTo>
                  <a:lnTo>
                    <a:pt x="493" y="919"/>
                  </a:lnTo>
                  <a:lnTo>
                    <a:pt x="495" y="918"/>
                  </a:lnTo>
                  <a:lnTo>
                    <a:pt x="496" y="918"/>
                  </a:lnTo>
                  <a:lnTo>
                    <a:pt x="501" y="921"/>
                  </a:lnTo>
                  <a:lnTo>
                    <a:pt x="501" y="921"/>
                  </a:lnTo>
                  <a:lnTo>
                    <a:pt x="510" y="923"/>
                  </a:lnTo>
                  <a:lnTo>
                    <a:pt x="509" y="924"/>
                  </a:lnTo>
                  <a:lnTo>
                    <a:pt x="510" y="924"/>
                  </a:lnTo>
                  <a:lnTo>
                    <a:pt x="512" y="926"/>
                  </a:lnTo>
                  <a:lnTo>
                    <a:pt x="513" y="926"/>
                  </a:lnTo>
                  <a:lnTo>
                    <a:pt x="513" y="927"/>
                  </a:lnTo>
                  <a:lnTo>
                    <a:pt x="512" y="927"/>
                  </a:lnTo>
                  <a:lnTo>
                    <a:pt x="510" y="929"/>
                  </a:lnTo>
                  <a:lnTo>
                    <a:pt x="509" y="930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10" y="935"/>
                  </a:lnTo>
                  <a:lnTo>
                    <a:pt x="515" y="935"/>
                  </a:lnTo>
                  <a:lnTo>
                    <a:pt x="516" y="935"/>
                  </a:lnTo>
                  <a:lnTo>
                    <a:pt x="521" y="938"/>
                  </a:lnTo>
                  <a:lnTo>
                    <a:pt x="522" y="939"/>
                  </a:lnTo>
                  <a:lnTo>
                    <a:pt x="524" y="939"/>
                  </a:lnTo>
                  <a:lnTo>
                    <a:pt x="525" y="939"/>
                  </a:lnTo>
                  <a:lnTo>
                    <a:pt x="525" y="941"/>
                  </a:lnTo>
                  <a:lnTo>
                    <a:pt x="527" y="944"/>
                  </a:lnTo>
                  <a:lnTo>
                    <a:pt x="529" y="946"/>
                  </a:lnTo>
                  <a:lnTo>
                    <a:pt x="529" y="947"/>
                  </a:lnTo>
                  <a:lnTo>
                    <a:pt x="530" y="949"/>
                  </a:lnTo>
                  <a:lnTo>
                    <a:pt x="532" y="949"/>
                  </a:lnTo>
                  <a:lnTo>
                    <a:pt x="533" y="949"/>
                  </a:lnTo>
                  <a:lnTo>
                    <a:pt x="535" y="947"/>
                  </a:lnTo>
                  <a:lnTo>
                    <a:pt x="535" y="947"/>
                  </a:lnTo>
                  <a:lnTo>
                    <a:pt x="536" y="946"/>
                  </a:lnTo>
                  <a:lnTo>
                    <a:pt x="538" y="944"/>
                  </a:lnTo>
                  <a:lnTo>
                    <a:pt x="539" y="944"/>
                  </a:lnTo>
                  <a:lnTo>
                    <a:pt x="539" y="943"/>
                  </a:lnTo>
                  <a:lnTo>
                    <a:pt x="539" y="943"/>
                  </a:lnTo>
                  <a:lnTo>
                    <a:pt x="541" y="941"/>
                  </a:lnTo>
                  <a:lnTo>
                    <a:pt x="544" y="943"/>
                  </a:lnTo>
                  <a:lnTo>
                    <a:pt x="549" y="941"/>
                  </a:lnTo>
                  <a:lnTo>
                    <a:pt x="552" y="939"/>
                  </a:lnTo>
                  <a:lnTo>
                    <a:pt x="553" y="941"/>
                  </a:lnTo>
                  <a:lnTo>
                    <a:pt x="555" y="943"/>
                  </a:lnTo>
                  <a:lnTo>
                    <a:pt x="558" y="944"/>
                  </a:lnTo>
                  <a:lnTo>
                    <a:pt x="561" y="944"/>
                  </a:lnTo>
                  <a:lnTo>
                    <a:pt x="562" y="944"/>
                  </a:lnTo>
                  <a:lnTo>
                    <a:pt x="562" y="946"/>
                  </a:lnTo>
                  <a:lnTo>
                    <a:pt x="564" y="947"/>
                  </a:lnTo>
                  <a:lnTo>
                    <a:pt x="566" y="949"/>
                  </a:lnTo>
                  <a:lnTo>
                    <a:pt x="567" y="949"/>
                  </a:lnTo>
                  <a:lnTo>
                    <a:pt x="569" y="950"/>
                  </a:lnTo>
                  <a:lnTo>
                    <a:pt x="569" y="950"/>
                  </a:lnTo>
                  <a:lnTo>
                    <a:pt x="570" y="950"/>
                  </a:lnTo>
                  <a:lnTo>
                    <a:pt x="570" y="950"/>
                  </a:lnTo>
                  <a:lnTo>
                    <a:pt x="570" y="949"/>
                  </a:lnTo>
                  <a:lnTo>
                    <a:pt x="572" y="947"/>
                  </a:lnTo>
                  <a:lnTo>
                    <a:pt x="573" y="947"/>
                  </a:lnTo>
                  <a:lnTo>
                    <a:pt x="576" y="949"/>
                  </a:lnTo>
                  <a:lnTo>
                    <a:pt x="578" y="949"/>
                  </a:lnTo>
                  <a:lnTo>
                    <a:pt x="579" y="949"/>
                  </a:lnTo>
                  <a:lnTo>
                    <a:pt x="579" y="949"/>
                  </a:lnTo>
                  <a:lnTo>
                    <a:pt x="579" y="947"/>
                  </a:lnTo>
                  <a:lnTo>
                    <a:pt x="578" y="946"/>
                  </a:lnTo>
                  <a:lnTo>
                    <a:pt x="579" y="946"/>
                  </a:lnTo>
                  <a:lnTo>
                    <a:pt x="582" y="943"/>
                  </a:lnTo>
                  <a:lnTo>
                    <a:pt x="584" y="941"/>
                  </a:lnTo>
                  <a:lnTo>
                    <a:pt x="586" y="941"/>
                  </a:lnTo>
                  <a:lnTo>
                    <a:pt x="587" y="943"/>
                  </a:lnTo>
                  <a:lnTo>
                    <a:pt x="589" y="943"/>
                  </a:lnTo>
                  <a:lnTo>
                    <a:pt x="590" y="941"/>
                  </a:lnTo>
                  <a:lnTo>
                    <a:pt x="593" y="939"/>
                  </a:lnTo>
                  <a:lnTo>
                    <a:pt x="593" y="938"/>
                  </a:lnTo>
                  <a:lnTo>
                    <a:pt x="595" y="938"/>
                  </a:lnTo>
                  <a:lnTo>
                    <a:pt x="596" y="938"/>
                  </a:lnTo>
                  <a:lnTo>
                    <a:pt x="598" y="938"/>
                  </a:lnTo>
                  <a:lnTo>
                    <a:pt x="599" y="936"/>
                  </a:lnTo>
                  <a:lnTo>
                    <a:pt x="602" y="936"/>
                  </a:lnTo>
                  <a:lnTo>
                    <a:pt x="604" y="936"/>
                  </a:lnTo>
                  <a:lnTo>
                    <a:pt x="604" y="936"/>
                  </a:lnTo>
                  <a:lnTo>
                    <a:pt x="607" y="936"/>
                  </a:lnTo>
                  <a:lnTo>
                    <a:pt x="607" y="936"/>
                  </a:lnTo>
                  <a:lnTo>
                    <a:pt x="607" y="938"/>
                  </a:lnTo>
                  <a:lnTo>
                    <a:pt x="609" y="938"/>
                  </a:lnTo>
                  <a:lnTo>
                    <a:pt x="609" y="939"/>
                  </a:lnTo>
                  <a:lnTo>
                    <a:pt x="610" y="939"/>
                  </a:lnTo>
                  <a:lnTo>
                    <a:pt x="612" y="941"/>
                  </a:lnTo>
                  <a:lnTo>
                    <a:pt x="613" y="941"/>
                  </a:lnTo>
                  <a:lnTo>
                    <a:pt x="615" y="941"/>
                  </a:lnTo>
                  <a:lnTo>
                    <a:pt x="618" y="939"/>
                  </a:lnTo>
                  <a:lnTo>
                    <a:pt x="618" y="939"/>
                  </a:lnTo>
                  <a:lnTo>
                    <a:pt x="618" y="938"/>
                  </a:lnTo>
                  <a:lnTo>
                    <a:pt x="616" y="935"/>
                  </a:lnTo>
                  <a:lnTo>
                    <a:pt x="616" y="935"/>
                  </a:lnTo>
                  <a:lnTo>
                    <a:pt x="616" y="933"/>
                  </a:lnTo>
                  <a:lnTo>
                    <a:pt x="616" y="933"/>
                  </a:lnTo>
                  <a:lnTo>
                    <a:pt x="616" y="932"/>
                  </a:lnTo>
                  <a:lnTo>
                    <a:pt x="615" y="930"/>
                  </a:lnTo>
                  <a:lnTo>
                    <a:pt x="613" y="930"/>
                  </a:lnTo>
                  <a:lnTo>
                    <a:pt x="612" y="930"/>
                  </a:lnTo>
                  <a:lnTo>
                    <a:pt x="610" y="929"/>
                  </a:lnTo>
                  <a:lnTo>
                    <a:pt x="609" y="927"/>
                  </a:lnTo>
                  <a:lnTo>
                    <a:pt x="609" y="924"/>
                  </a:lnTo>
                  <a:lnTo>
                    <a:pt x="609" y="919"/>
                  </a:lnTo>
                  <a:lnTo>
                    <a:pt x="607" y="915"/>
                  </a:lnTo>
                  <a:lnTo>
                    <a:pt x="609" y="910"/>
                  </a:lnTo>
                  <a:lnTo>
                    <a:pt x="609" y="907"/>
                  </a:lnTo>
                  <a:lnTo>
                    <a:pt x="609" y="904"/>
                  </a:lnTo>
                  <a:lnTo>
                    <a:pt x="609" y="898"/>
                  </a:lnTo>
                  <a:lnTo>
                    <a:pt x="609" y="892"/>
                  </a:lnTo>
                  <a:lnTo>
                    <a:pt x="609" y="890"/>
                  </a:lnTo>
                  <a:lnTo>
                    <a:pt x="609" y="889"/>
                  </a:lnTo>
                  <a:lnTo>
                    <a:pt x="609" y="889"/>
                  </a:lnTo>
                  <a:lnTo>
                    <a:pt x="609" y="886"/>
                  </a:lnTo>
                  <a:lnTo>
                    <a:pt x="609" y="883"/>
                  </a:lnTo>
                  <a:lnTo>
                    <a:pt x="610" y="881"/>
                  </a:lnTo>
                  <a:lnTo>
                    <a:pt x="610" y="879"/>
                  </a:lnTo>
                  <a:lnTo>
                    <a:pt x="612" y="876"/>
                  </a:lnTo>
                  <a:lnTo>
                    <a:pt x="612" y="875"/>
                  </a:lnTo>
                  <a:lnTo>
                    <a:pt x="613" y="873"/>
                  </a:lnTo>
                  <a:lnTo>
                    <a:pt x="613" y="872"/>
                  </a:lnTo>
                  <a:lnTo>
                    <a:pt x="615" y="870"/>
                  </a:lnTo>
                  <a:lnTo>
                    <a:pt x="616" y="869"/>
                  </a:lnTo>
                  <a:lnTo>
                    <a:pt x="618" y="867"/>
                  </a:lnTo>
                  <a:lnTo>
                    <a:pt x="618" y="866"/>
                  </a:lnTo>
                  <a:lnTo>
                    <a:pt x="619" y="864"/>
                  </a:lnTo>
                  <a:lnTo>
                    <a:pt x="621" y="864"/>
                  </a:lnTo>
                  <a:lnTo>
                    <a:pt x="621" y="862"/>
                  </a:lnTo>
                  <a:lnTo>
                    <a:pt x="622" y="862"/>
                  </a:lnTo>
                  <a:lnTo>
                    <a:pt x="622" y="861"/>
                  </a:lnTo>
                  <a:lnTo>
                    <a:pt x="629" y="856"/>
                  </a:lnTo>
                  <a:lnTo>
                    <a:pt x="633" y="853"/>
                  </a:lnTo>
                  <a:lnTo>
                    <a:pt x="636" y="853"/>
                  </a:lnTo>
                  <a:lnTo>
                    <a:pt x="638" y="853"/>
                  </a:lnTo>
                  <a:lnTo>
                    <a:pt x="641" y="855"/>
                  </a:lnTo>
                  <a:lnTo>
                    <a:pt x="643" y="853"/>
                  </a:lnTo>
                  <a:lnTo>
                    <a:pt x="649" y="847"/>
                  </a:lnTo>
                  <a:lnTo>
                    <a:pt x="652" y="844"/>
                  </a:lnTo>
                  <a:lnTo>
                    <a:pt x="659" y="841"/>
                  </a:lnTo>
                  <a:lnTo>
                    <a:pt x="675" y="829"/>
                  </a:lnTo>
                  <a:lnTo>
                    <a:pt x="676" y="827"/>
                  </a:lnTo>
                  <a:lnTo>
                    <a:pt x="679" y="827"/>
                  </a:lnTo>
                  <a:lnTo>
                    <a:pt x="683" y="826"/>
                  </a:lnTo>
                  <a:lnTo>
                    <a:pt x="687" y="827"/>
                  </a:lnTo>
                  <a:lnTo>
                    <a:pt x="689" y="829"/>
                  </a:lnTo>
                  <a:lnTo>
                    <a:pt x="689" y="829"/>
                  </a:lnTo>
                  <a:lnTo>
                    <a:pt x="689" y="830"/>
                  </a:lnTo>
                  <a:lnTo>
                    <a:pt x="689" y="833"/>
                  </a:lnTo>
                  <a:lnTo>
                    <a:pt x="692" y="835"/>
                  </a:lnTo>
                  <a:lnTo>
                    <a:pt x="693" y="835"/>
                  </a:lnTo>
                  <a:lnTo>
                    <a:pt x="695" y="836"/>
                  </a:lnTo>
                  <a:lnTo>
                    <a:pt x="710" y="836"/>
                  </a:lnTo>
                  <a:lnTo>
                    <a:pt x="718" y="836"/>
                  </a:lnTo>
                  <a:lnTo>
                    <a:pt x="721" y="838"/>
                  </a:lnTo>
                  <a:lnTo>
                    <a:pt x="723" y="839"/>
                  </a:lnTo>
                  <a:lnTo>
                    <a:pt x="723" y="839"/>
                  </a:lnTo>
                  <a:lnTo>
                    <a:pt x="723" y="841"/>
                  </a:lnTo>
                  <a:lnTo>
                    <a:pt x="721" y="842"/>
                  </a:lnTo>
                  <a:lnTo>
                    <a:pt x="721" y="846"/>
                  </a:lnTo>
                  <a:lnTo>
                    <a:pt x="724" y="846"/>
                  </a:lnTo>
                  <a:lnTo>
                    <a:pt x="729" y="847"/>
                  </a:lnTo>
                  <a:lnTo>
                    <a:pt x="738" y="847"/>
                  </a:lnTo>
                  <a:lnTo>
                    <a:pt x="741" y="847"/>
                  </a:lnTo>
                  <a:lnTo>
                    <a:pt x="741" y="846"/>
                  </a:lnTo>
                  <a:lnTo>
                    <a:pt x="740" y="844"/>
                  </a:lnTo>
                  <a:lnTo>
                    <a:pt x="736" y="841"/>
                  </a:lnTo>
                  <a:lnTo>
                    <a:pt x="735" y="839"/>
                  </a:lnTo>
                  <a:lnTo>
                    <a:pt x="733" y="836"/>
                  </a:lnTo>
                  <a:lnTo>
                    <a:pt x="733" y="829"/>
                  </a:lnTo>
                  <a:lnTo>
                    <a:pt x="733" y="827"/>
                  </a:lnTo>
                  <a:lnTo>
                    <a:pt x="732" y="824"/>
                  </a:lnTo>
                  <a:lnTo>
                    <a:pt x="732" y="824"/>
                  </a:lnTo>
                  <a:lnTo>
                    <a:pt x="732" y="824"/>
                  </a:lnTo>
                  <a:lnTo>
                    <a:pt x="733" y="826"/>
                  </a:lnTo>
                  <a:lnTo>
                    <a:pt x="735" y="827"/>
                  </a:lnTo>
                  <a:lnTo>
                    <a:pt x="735" y="829"/>
                  </a:lnTo>
                  <a:lnTo>
                    <a:pt x="735" y="830"/>
                  </a:lnTo>
                  <a:lnTo>
                    <a:pt x="735" y="836"/>
                  </a:lnTo>
                  <a:lnTo>
                    <a:pt x="736" y="839"/>
                  </a:lnTo>
                  <a:lnTo>
                    <a:pt x="738" y="842"/>
                  </a:lnTo>
                  <a:lnTo>
                    <a:pt x="741" y="844"/>
                  </a:lnTo>
                  <a:lnTo>
                    <a:pt x="743" y="846"/>
                  </a:lnTo>
                  <a:lnTo>
                    <a:pt x="743" y="847"/>
                  </a:lnTo>
                  <a:lnTo>
                    <a:pt x="744" y="847"/>
                  </a:lnTo>
                  <a:lnTo>
                    <a:pt x="747" y="846"/>
                  </a:lnTo>
                  <a:lnTo>
                    <a:pt x="744" y="846"/>
                  </a:lnTo>
                  <a:lnTo>
                    <a:pt x="744" y="844"/>
                  </a:lnTo>
                  <a:lnTo>
                    <a:pt x="743" y="842"/>
                  </a:lnTo>
                  <a:lnTo>
                    <a:pt x="743" y="841"/>
                  </a:lnTo>
                  <a:lnTo>
                    <a:pt x="743" y="841"/>
                  </a:lnTo>
                  <a:lnTo>
                    <a:pt x="744" y="839"/>
                  </a:lnTo>
                  <a:lnTo>
                    <a:pt x="746" y="839"/>
                  </a:lnTo>
                  <a:lnTo>
                    <a:pt x="747" y="838"/>
                  </a:lnTo>
                  <a:lnTo>
                    <a:pt x="749" y="838"/>
                  </a:lnTo>
                  <a:lnTo>
                    <a:pt x="752" y="839"/>
                  </a:lnTo>
                  <a:lnTo>
                    <a:pt x="753" y="841"/>
                  </a:lnTo>
                  <a:lnTo>
                    <a:pt x="756" y="839"/>
                  </a:lnTo>
                  <a:lnTo>
                    <a:pt x="758" y="839"/>
                  </a:lnTo>
                  <a:lnTo>
                    <a:pt x="758" y="836"/>
                  </a:lnTo>
                  <a:lnTo>
                    <a:pt x="758" y="833"/>
                  </a:lnTo>
                  <a:lnTo>
                    <a:pt x="756" y="833"/>
                  </a:lnTo>
                  <a:lnTo>
                    <a:pt x="755" y="833"/>
                  </a:lnTo>
                  <a:lnTo>
                    <a:pt x="755" y="832"/>
                  </a:lnTo>
                  <a:lnTo>
                    <a:pt x="755" y="830"/>
                  </a:lnTo>
                  <a:lnTo>
                    <a:pt x="755" y="829"/>
                  </a:lnTo>
                  <a:lnTo>
                    <a:pt x="755" y="827"/>
                  </a:lnTo>
                  <a:lnTo>
                    <a:pt x="755" y="826"/>
                  </a:lnTo>
                  <a:lnTo>
                    <a:pt x="756" y="826"/>
                  </a:lnTo>
                  <a:lnTo>
                    <a:pt x="756" y="826"/>
                  </a:lnTo>
                  <a:lnTo>
                    <a:pt x="758" y="827"/>
                  </a:lnTo>
                  <a:lnTo>
                    <a:pt x="758" y="827"/>
                  </a:lnTo>
                  <a:lnTo>
                    <a:pt x="760" y="827"/>
                  </a:lnTo>
                  <a:lnTo>
                    <a:pt x="760" y="827"/>
                  </a:lnTo>
                  <a:lnTo>
                    <a:pt x="761" y="829"/>
                  </a:lnTo>
                  <a:lnTo>
                    <a:pt x="763" y="829"/>
                  </a:lnTo>
                  <a:lnTo>
                    <a:pt x="763" y="830"/>
                  </a:lnTo>
                  <a:lnTo>
                    <a:pt x="763" y="832"/>
                  </a:lnTo>
                  <a:lnTo>
                    <a:pt x="764" y="833"/>
                  </a:lnTo>
                  <a:lnTo>
                    <a:pt x="766" y="833"/>
                  </a:lnTo>
                  <a:lnTo>
                    <a:pt x="769" y="833"/>
                  </a:lnTo>
                  <a:lnTo>
                    <a:pt x="770" y="832"/>
                  </a:lnTo>
                  <a:lnTo>
                    <a:pt x="770" y="833"/>
                  </a:lnTo>
                  <a:lnTo>
                    <a:pt x="770" y="836"/>
                  </a:lnTo>
                  <a:lnTo>
                    <a:pt x="769" y="838"/>
                  </a:lnTo>
                  <a:lnTo>
                    <a:pt x="767" y="839"/>
                  </a:lnTo>
                  <a:lnTo>
                    <a:pt x="764" y="839"/>
                  </a:lnTo>
                  <a:lnTo>
                    <a:pt x="758" y="839"/>
                  </a:lnTo>
                  <a:lnTo>
                    <a:pt x="756" y="841"/>
                  </a:lnTo>
                  <a:lnTo>
                    <a:pt x="755" y="844"/>
                  </a:lnTo>
                  <a:lnTo>
                    <a:pt x="755" y="846"/>
                  </a:lnTo>
                  <a:lnTo>
                    <a:pt x="756" y="849"/>
                  </a:lnTo>
                  <a:lnTo>
                    <a:pt x="758" y="849"/>
                  </a:lnTo>
                  <a:lnTo>
                    <a:pt x="763" y="849"/>
                  </a:lnTo>
                  <a:lnTo>
                    <a:pt x="766" y="849"/>
                  </a:lnTo>
                  <a:lnTo>
                    <a:pt x="772" y="849"/>
                  </a:lnTo>
                  <a:lnTo>
                    <a:pt x="777" y="847"/>
                  </a:lnTo>
                  <a:lnTo>
                    <a:pt x="780" y="849"/>
                  </a:lnTo>
                  <a:lnTo>
                    <a:pt x="780" y="852"/>
                  </a:lnTo>
                  <a:lnTo>
                    <a:pt x="781" y="853"/>
                  </a:lnTo>
                  <a:lnTo>
                    <a:pt x="781" y="855"/>
                  </a:lnTo>
                  <a:lnTo>
                    <a:pt x="781" y="855"/>
                  </a:lnTo>
                  <a:lnTo>
                    <a:pt x="781" y="856"/>
                  </a:lnTo>
                  <a:lnTo>
                    <a:pt x="780" y="858"/>
                  </a:lnTo>
                  <a:lnTo>
                    <a:pt x="780" y="859"/>
                  </a:lnTo>
                  <a:lnTo>
                    <a:pt x="780" y="861"/>
                  </a:lnTo>
                  <a:lnTo>
                    <a:pt x="781" y="861"/>
                  </a:lnTo>
                  <a:lnTo>
                    <a:pt x="783" y="861"/>
                  </a:lnTo>
                  <a:lnTo>
                    <a:pt x="784" y="861"/>
                  </a:lnTo>
                  <a:lnTo>
                    <a:pt x="787" y="861"/>
                  </a:lnTo>
                  <a:lnTo>
                    <a:pt x="789" y="861"/>
                  </a:lnTo>
                  <a:lnTo>
                    <a:pt x="792" y="861"/>
                  </a:lnTo>
                  <a:lnTo>
                    <a:pt x="792" y="861"/>
                  </a:lnTo>
                  <a:lnTo>
                    <a:pt x="793" y="861"/>
                  </a:lnTo>
                  <a:lnTo>
                    <a:pt x="793" y="861"/>
                  </a:lnTo>
                  <a:lnTo>
                    <a:pt x="795" y="862"/>
                  </a:lnTo>
                  <a:lnTo>
                    <a:pt x="795" y="864"/>
                  </a:lnTo>
                  <a:lnTo>
                    <a:pt x="797" y="866"/>
                  </a:lnTo>
                  <a:lnTo>
                    <a:pt x="798" y="866"/>
                  </a:lnTo>
                  <a:lnTo>
                    <a:pt x="800" y="866"/>
                  </a:lnTo>
                  <a:lnTo>
                    <a:pt x="800" y="864"/>
                  </a:lnTo>
                  <a:lnTo>
                    <a:pt x="801" y="864"/>
                  </a:lnTo>
                  <a:lnTo>
                    <a:pt x="803" y="864"/>
                  </a:lnTo>
                  <a:lnTo>
                    <a:pt x="804" y="864"/>
                  </a:lnTo>
                  <a:lnTo>
                    <a:pt x="806" y="866"/>
                  </a:lnTo>
                  <a:lnTo>
                    <a:pt x="806" y="867"/>
                  </a:lnTo>
                  <a:lnTo>
                    <a:pt x="809" y="869"/>
                  </a:lnTo>
                  <a:lnTo>
                    <a:pt x="810" y="869"/>
                  </a:lnTo>
                  <a:lnTo>
                    <a:pt x="812" y="869"/>
                  </a:lnTo>
                  <a:lnTo>
                    <a:pt x="812" y="870"/>
                  </a:lnTo>
                  <a:lnTo>
                    <a:pt x="812" y="870"/>
                  </a:lnTo>
                  <a:lnTo>
                    <a:pt x="813" y="872"/>
                  </a:lnTo>
                  <a:lnTo>
                    <a:pt x="815" y="872"/>
                  </a:lnTo>
                  <a:lnTo>
                    <a:pt x="815" y="872"/>
                  </a:lnTo>
                  <a:lnTo>
                    <a:pt x="813" y="873"/>
                  </a:lnTo>
                  <a:lnTo>
                    <a:pt x="812" y="875"/>
                  </a:lnTo>
                  <a:lnTo>
                    <a:pt x="812" y="875"/>
                  </a:lnTo>
                  <a:lnTo>
                    <a:pt x="815" y="876"/>
                  </a:lnTo>
                  <a:lnTo>
                    <a:pt x="818" y="878"/>
                  </a:lnTo>
                  <a:lnTo>
                    <a:pt x="820" y="875"/>
                  </a:lnTo>
                  <a:lnTo>
                    <a:pt x="820" y="875"/>
                  </a:lnTo>
                  <a:lnTo>
                    <a:pt x="823" y="875"/>
                  </a:lnTo>
                  <a:lnTo>
                    <a:pt x="824" y="875"/>
                  </a:lnTo>
                  <a:lnTo>
                    <a:pt x="824" y="875"/>
                  </a:lnTo>
                  <a:lnTo>
                    <a:pt x="823" y="873"/>
                  </a:lnTo>
                  <a:lnTo>
                    <a:pt x="821" y="873"/>
                  </a:lnTo>
                  <a:lnTo>
                    <a:pt x="821" y="870"/>
                  </a:lnTo>
                  <a:lnTo>
                    <a:pt x="820" y="870"/>
                  </a:lnTo>
                  <a:lnTo>
                    <a:pt x="821" y="869"/>
                  </a:lnTo>
                  <a:lnTo>
                    <a:pt x="823" y="869"/>
                  </a:lnTo>
                  <a:lnTo>
                    <a:pt x="824" y="869"/>
                  </a:lnTo>
                  <a:lnTo>
                    <a:pt x="824" y="870"/>
                  </a:lnTo>
                  <a:lnTo>
                    <a:pt x="824" y="870"/>
                  </a:lnTo>
                  <a:lnTo>
                    <a:pt x="823" y="872"/>
                  </a:lnTo>
                  <a:lnTo>
                    <a:pt x="826" y="872"/>
                  </a:lnTo>
                  <a:lnTo>
                    <a:pt x="827" y="872"/>
                  </a:lnTo>
                  <a:lnTo>
                    <a:pt x="829" y="872"/>
                  </a:lnTo>
                  <a:lnTo>
                    <a:pt x="830" y="875"/>
                  </a:lnTo>
                  <a:lnTo>
                    <a:pt x="832" y="875"/>
                  </a:lnTo>
                  <a:lnTo>
                    <a:pt x="835" y="875"/>
                  </a:lnTo>
                  <a:lnTo>
                    <a:pt x="837" y="873"/>
                  </a:lnTo>
                  <a:lnTo>
                    <a:pt x="838" y="875"/>
                  </a:lnTo>
                  <a:lnTo>
                    <a:pt x="838" y="878"/>
                  </a:lnTo>
                  <a:lnTo>
                    <a:pt x="837" y="878"/>
                  </a:lnTo>
                  <a:lnTo>
                    <a:pt x="837" y="878"/>
                  </a:lnTo>
                  <a:lnTo>
                    <a:pt x="835" y="879"/>
                  </a:lnTo>
                  <a:lnTo>
                    <a:pt x="835" y="879"/>
                  </a:lnTo>
                  <a:lnTo>
                    <a:pt x="840" y="879"/>
                  </a:lnTo>
                  <a:lnTo>
                    <a:pt x="841" y="879"/>
                  </a:lnTo>
                  <a:lnTo>
                    <a:pt x="843" y="878"/>
                  </a:lnTo>
                  <a:lnTo>
                    <a:pt x="841" y="878"/>
                  </a:lnTo>
                  <a:lnTo>
                    <a:pt x="840" y="878"/>
                  </a:lnTo>
                  <a:lnTo>
                    <a:pt x="840" y="875"/>
                  </a:lnTo>
                  <a:lnTo>
                    <a:pt x="841" y="873"/>
                  </a:lnTo>
                  <a:lnTo>
                    <a:pt x="841" y="872"/>
                  </a:lnTo>
                  <a:lnTo>
                    <a:pt x="843" y="872"/>
                  </a:lnTo>
                  <a:lnTo>
                    <a:pt x="844" y="870"/>
                  </a:lnTo>
                  <a:lnTo>
                    <a:pt x="847" y="870"/>
                  </a:lnTo>
                  <a:lnTo>
                    <a:pt x="849" y="870"/>
                  </a:lnTo>
                  <a:lnTo>
                    <a:pt x="850" y="872"/>
                  </a:lnTo>
                  <a:lnTo>
                    <a:pt x="852" y="872"/>
                  </a:lnTo>
                  <a:lnTo>
                    <a:pt x="854" y="872"/>
                  </a:lnTo>
                  <a:lnTo>
                    <a:pt x="854" y="873"/>
                  </a:lnTo>
                  <a:lnTo>
                    <a:pt x="857" y="873"/>
                  </a:lnTo>
                  <a:lnTo>
                    <a:pt x="857" y="872"/>
                  </a:lnTo>
                  <a:lnTo>
                    <a:pt x="855" y="870"/>
                  </a:lnTo>
                  <a:lnTo>
                    <a:pt x="857" y="869"/>
                  </a:lnTo>
                  <a:lnTo>
                    <a:pt x="858" y="867"/>
                  </a:lnTo>
                  <a:lnTo>
                    <a:pt x="860" y="867"/>
                  </a:lnTo>
                  <a:lnTo>
                    <a:pt x="861" y="867"/>
                  </a:lnTo>
                  <a:lnTo>
                    <a:pt x="864" y="867"/>
                  </a:lnTo>
                  <a:lnTo>
                    <a:pt x="866" y="867"/>
                  </a:lnTo>
                  <a:lnTo>
                    <a:pt x="867" y="866"/>
                  </a:lnTo>
                  <a:lnTo>
                    <a:pt x="869" y="866"/>
                  </a:lnTo>
                  <a:lnTo>
                    <a:pt x="869" y="864"/>
                  </a:lnTo>
                  <a:lnTo>
                    <a:pt x="870" y="864"/>
                  </a:lnTo>
                  <a:lnTo>
                    <a:pt x="872" y="864"/>
                  </a:lnTo>
                  <a:lnTo>
                    <a:pt x="872" y="864"/>
                  </a:lnTo>
                  <a:lnTo>
                    <a:pt x="872" y="864"/>
                  </a:lnTo>
                  <a:lnTo>
                    <a:pt x="874" y="864"/>
                  </a:lnTo>
                  <a:lnTo>
                    <a:pt x="874" y="866"/>
                  </a:lnTo>
                  <a:lnTo>
                    <a:pt x="875" y="864"/>
                  </a:lnTo>
                  <a:lnTo>
                    <a:pt x="877" y="864"/>
                  </a:lnTo>
                  <a:lnTo>
                    <a:pt x="878" y="862"/>
                  </a:lnTo>
                  <a:lnTo>
                    <a:pt x="878" y="862"/>
                  </a:lnTo>
                  <a:lnTo>
                    <a:pt x="878" y="861"/>
                  </a:lnTo>
                  <a:lnTo>
                    <a:pt x="878" y="859"/>
                  </a:lnTo>
                  <a:lnTo>
                    <a:pt x="878" y="858"/>
                  </a:lnTo>
                  <a:lnTo>
                    <a:pt x="880" y="858"/>
                  </a:lnTo>
                  <a:lnTo>
                    <a:pt x="880" y="855"/>
                  </a:lnTo>
                  <a:lnTo>
                    <a:pt x="880" y="855"/>
                  </a:lnTo>
                  <a:lnTo>
                    <a:pt x="878" y="855"/>
                  </a:lnTo>
                  <a:lnTo>
                    <a:pt x="874" y="856"/>
                  </a:lnTo>
                  <a:lnTo>
                    <a:pt x="872" y="855"/>
                  </a:lnTo>
                  <a:lnTo>
                    <a:pt x="874" y="853"/>
                  </a:lnTo>
                  <a:lnTo>
                    <a:pt x="875" y="852"/>
                  </a:lnTo>
                  <a:lnTo>
                    <a:pt x="877" y="850"/>
                  </a:lnTo>
                  <a:lnTo>
                    <a:pt x="878" y="850"/>
                  </a:lnTo>
                  <a:lnTo>
                    <a:pt x="878" y="849"/>
                  </a:lnTo>
                  <a:lnTo>
                    <a:pt x="878" y="847"/>
                  </a:lnTo>
                  <a:lnTo>
                    <a:pt x="880" y="847"/>
                  </a:lnTo>
                  <a:lnTo>
                    <a:pt x="881" y="847"/>
                  </a:lnTo>
                  <a:lnTo>
                    <a:pt x="881" y="846"/>
                  </a:lnTo>
                  <a:lnTo>
                    <a:pt x="883" y="844"/>
                  </a:lnTo>
                  <a:lnTo>
                    <a:pt x="883" y="841"/>
                  </a:lnTo>
                  <a:lnTo>
                    <a:pt x="884" y="839"/>
                  </a:lnTo>
                  <a:lnTo>
                    <a:pt x="884" y="839"/>
                  </a:lnTo>
                  <a:lnTo>
                    <a:pt x="886" y="839"/>
                  </a:lnTo>
                  <a:lnTo>
                    <a:pt x="886" y="841"/>
                  </a:lnTo>
                  <a:lnTo>
                    <a:pt x="889" y="841"/>
                  </a:lnTo>
                  <a:lnTo>
                    <a:pt x="890" y="841"/>
                  </a:lnTo>
                  <a:lnTo>
                    <a:pt x="892" y="841"/>
                  </a:lnTo>
                  <a:lnTo>
                    <a:pt x="892" y="841"/>
                  </a:lnTo>
                  <a:lnTo>
                    <a:pt x="892" y="839"/>
                  </a:lnTo>
                  <a:lnTo>
                    <a:pt x="892" y="838"/>
                  </a:lnTo>
                  <a:lnTo>
                    <a:pt x="892" y="838"/>
                  </a:lnTo>
                  <a:lnTo>
                    <a:pt x="894" y="838"/>
                  </a:lnTo>
                  <a:lnTo>
                    <a:pt x="894" y="838"/>
                  </a:lnTo>
                  <a:lnTo>
                    <a:pt x="894" y="839"/>
                  </a:lnTo>
                  <a:lnTo>
                    <a:pt x="895" y="839"/>
                  </a:lnTo>
                  <a:lnTo>
                    <a:pt x="895" y="838"/>
                  </a:lnTo>
                  <a:lnTo>
                    <a:pt x="897" y="836"/>
                  </a:lnTo>
                  <a:lnTo>
                    <a:pt x="897" y="835"/>
                  </a:lnTo>
                  <a:lnTo>
                    <a:pt x="900" y="832"/>
                  </a:lnTo>
                  <a:lnTo>
                    <a:pt x="900" y="832"/>
                  </a:lnTo>
                  <a:lnTo>
                    <a:pt x="900" y="830"/>
                  </a:lnTo>
                  <a:lnTo>
                    <a:pt x="900" y="830"/>
                  </a:lnTo>
                  <a:lnTo>
                    <a:pt x="898" y="830"/>
                  </a:lnTo>
                  <a:lnTo>
                    <a:pt x="898" y="829"/>
                  </a:lnTo>
                  <a:lnTo>
                    <a:pt x="900" y="827"/>
                  </a:lnTo>
                  <a:lnTo>
                    <a:pt x="901" y="827"/>
                  </a:lnTo>
                  <a:lnTo>
                    <a:pt x="903" y="827"/>
                  </a:lnTo>
                  <a:lnTo>
                    <a:pt x="904" y="827"/>
                  </a:lnTo>
                  <a:lnTo>
                    <a:pt x="904" y="827"/>
                  </a:lnTo>
                  <a:lnTo>
                    <a:pt x="906" y="829"/>
                  </a:lnTo>
                  <a:lnTo>
                    <a:pt x="906" y="827"/>
                  </a:lnTo>
                  <a:lnTo>
                    <a:pt x="907" y="827"/>
                  </a:lnTo>
                  <a:lnTo>
                    <a:pt x="907" y="826"/>
                  </a:lnTo>
                  <a:lnTo>
                    <a:pt x="909" y="824"/>
                  </a:lnTo>
                  <a:lnTo>
                    <a:pt x="911" y="824"/>
                  </a:lnTo>
                  <a:lnTo>
                    <a:pt x="911" y="826"/>
                  </a:lnTo>
                  <a:lnTo>
                    <a:pt x="912" y="827"/>
                  </a:lnTo>
                  <a:lnTo>
                    <a:pt x="914" y="826"/>
                  </a:lnTo>
                  <a:lnTo>
                    <a:pt x="914" y="826"/>
                  </a:lnTo>
                  <a:lnTo>
                    <a:pt x="912" y="824"/>
                  </a:lnTo>
                  <a:lnTo>
                    <a:pt x="912" y="824"/>
                  </a:lnTo>
                  <a:lnTo>
                    <a:pt x="912" y="821"/>
                  </a:lnTo>
                  <a:lnTo>
                    <a:pt x="912" y="818"/>
                  </a:lnTo>
                  <a:lnTo>
                    <a:pt x="914" y="818"/>
                  </a:lnTo>
                  <a:lnTo>
                    <a:pt x="914" y="816"/>
                  </a:lnTo>
                  <a:lnTo>
                    <a:pt x="914" y="816"/>
                  </a:lnTo>
                  <a:lnTo>
                    <a:pt x="915" y="816"/>
                  </a:lnTo>
                  <a:lnTo>
                    <a:pt x="917" y="815"/>
                  </a:lnTo>
                  <a:lnTo>
                    <a:pt x="917" y="816"/>
                  </a:lnTo>
                  <a:lnTo>
                    <a:pt x="918" y="816"/>
                  </a:lnTo>
                  <a:lnTo>
                    <a:pt x="918" y="816"/>
                  </a:lnTo>
                  <a:lnTo>
                    <a:pt x="920" y="815"/>
                  </a:lnTo>
                  <a:lnTo>
                    <a:pt x="920" y="813"/>
                  </a:lnTo>
                  <a:lnTo>
                    <a:pt x="921" y="813"/>
                  </a:lnTo>
                  <a:lnTo>
                    <a:pt x="921" y="812"/>
                  </a:lnTo>
                  <a:lnTo>
                    <a:pt x="924" y="812"/>
                  </a:lnTo>
                  <a:lnTo>
                    <a:pt x="926" y="812"/>
                  </a:lnTo>
                  <a:lnTo>
                    <a:pt x="926" y="813"/>
                  </a:lnTo>
                  <a:lnTo>
                    <a:pt x="927" y="813"/>
                  </a:lnTo>
                  <a:lnTo>
                    <a:pt x="927" y="812"/>
                  </a:lnTo>
                  <a:lnTo>
                    <a:pt x="929" y="810"/>
                  </a:lnTo>
                  <a:lnTo>
                    <a:pt x="929" y="810"/>
                  </a:lnTo>
                  <a:lnTo>
                    <a:pt x="931" y="809"/>
                  </a:lnTo>
                  <a:lnTo>
                    <a:pt x="931" y="807"/>
                  </a:lnTo>
                  <a:lnTo>
                    <a:pt x="931" y="807"/>
                  </a:lnTo>
                  <a:lnTo>
                    <a:pt x="932" y="806"/>
                  </a:lnTo>
                  <a:lnTo>
                    <a:pt x="934" y="804"/>
                  </a:lnTo>
                  <a:lnTo>
                    <a:pt x="935" y="806"/>
                  </a:lnTo>
                  <a:lnTo>
                    <a:pt x="935" y="807"/>
                  </a:lnTo>
                  <a:lnTo>
                    <a:pt x="937" y="806"/>
                  </a:lnTo>
                  <a:lnTo>
                    <a:pt x="937" y="806"/>
                  </a:lnTo>
                  <a:lnTo>
                    <a:pt x="937" y="806"/>
                  </a:lnTo>
                  <a:lnTo>
                    <a:pt x="938" y="806"/>
                  </a:lnTo>
                  <a:lnTo>
                    <a:pt x="938" y="804"/>
                  </a:lnTo>
                  <a:lnTo>
                    <a:pt x="938" y="804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40" y="802"/>
                  </a:lnTo>
                  <a:lnTo>
                    <a:pt x="940" y="801"/>
                  </a:lnTo>
                  <a:lnTo>
                    <a:pt x="938" y="796"/>
                  </a:lnTo>
                  <a:lnTo>
                    <a:pt x="938" y="795"/>
                  </a:lnTo>
                  <a:lnTo>
                    <a:pt x="940" y="792"/>
                  </a:lnTo>
                  <a:lnTo>
                    <a:pt x="943" y="789"/>
                  </a:lnTo>
                  <a:lnTo>
                    <a:pt x="944" y="785"/>
                  </a:lnTo>
                  <a:lnTo>
                    <a:pt x="947" y="782"/>
                  </a:lnTo>
                  <a:lnTo>
                    <a:pt x="949" y="781"/>
                  </a:lnTo>
                  <a:lnTo>
                    <a:pt x="951" y="779"/>
                  </a:lnTo>
                  <a:lnTo>
                    <a:pt x="951" y="778"/>
                  </a:lnTo>
                  <a:lnTo>
                    <a:pt x="952" y="776"/>
                  </a:lnTo>
                  <a:lnTo>
                    <a:pt x="952" y="775"/>
                  </a:lnTo>
                  <a:lnTo>
                    <a:pt x="954" y="775"/>
                  </a:lnTo>
                  <a:lnTo>
                    <a:pt x="954" y="773"/>
                  </a:lnTo>
                  <a:lnTo>
                    <a:pt x="954" y="772"/>
                  </a:lnTo>
                  <a:lnTo>
                    <a:pt x="954" y="772"/>
                  </a:lnTo>
                  <a:lnTo>
                    <a:pt x="954" y="769"/>
                  </a:lnTo>
                  <a:lnTo>
                    <a:pt x="952" y="767"/>
                  </a:lnTo>
                  <a:lnTo>
                    <a:pt x="951" y="765"/>
                  </a:lnTo>
                  <a:lnTo>
                    <a:pt x="952" y="762"/>
                  </a:lnTo>
                  <a:lnTo>
                    <a:pt x="949" y="762"/>
                  </a:lnTo>
                  <a:lnTo>
                    <a:pt x="946" y="764"/>
                  </a:lnTo>
                  <a:lnTo>
                    <a:pt x="944" y="764"/>
                  </a:lnTo>
                  <a:lnTo>
                    <a:pt x="931" y="767"/>
                  </a:lnTo>
                  <a:lnTo>
                    <a:pt x="927" y="767"/>
                  </a:lnTo>
                  <a:lnTo>
                    <a:pt x="927" y="767"/>
                  </a:lnTo>
                  <a:lnTo>
                    <a:pt x="927" y="767"/>
                  </a:lnTo>
                  <a:lnTo>
                    <a:pt x="926" y="765"/>
                  </a:lnTo>
                  <a:lnTo>
                    <a:pt x="926" y="765"/>
                  </a:lnTo>
                  <a:lnTo>
                    <a:pt x="924" y="764"/>
                  </a:lnTo>
                  <a:lnTo>
                    <a:pt x="923" y="764"/>
                  </a:lnTo>
                  <a:lnTo>
                    <a:pt x="921" y="764"/>
                  </a:lnTo>
                  <a:lnTo>
                    <a:pt x="914" y="759"/>
                  </a:lnTo>
                  <a:lnTo>
                    <a:pt x="911" y="758"/>
                  </a:lnTo>
                  <a:lnTo>
                    <a:pt x="906" y="755"/>
                  </a:lnTo>
                  <a:lnTo>
                    <a:pt x="906" y="755"/>
                  </a:lnTo>
                  <a:lnTo>
                    <a:pt x="904" y="755"/>
                  </a:lnTo>
                  <a:lnTo>
                    <a:pt x="903" y="756"/>
                  </a:lnTo>
                  <a:lnTo>
                    <a:pt x="903" y="756"/>
                  </a:lnTo>
                  <a:lnTo>
                    <a:pt x="901" y="755"/>
                  </a:lnTo>
                  <a:lnTo>
                    <a:pt x="901" y="755"/>
                  </a:lnTo>
                  <a:lnTo>
                    <a:pt x="900" y="753"/>
                  </a:lnTo>
                  <a:lnTo>
                    <a:pt x="900" y="753"/>
                  </a:lnTo>
                  <a:lnTo>
                    <a:pt x="900" y="752"/>
                  </a:lnTo>
                  <a:lnTo>
                    <a:pt x="900" y="750"/>
                  </a:lnTo>
                  <a:lnTo>
                    <a:pt x="898" y="750"/>
                  </a:lnTo>
                  <a:lnTo>
                    <a:pt x="897" y="749"/>
                  </a:lnTo>
                  <a:lnTo>
                    <a:pt x="897" y="749"/>
                  </a:lnTo>
                  <a:lnTo>
                    <a:pt x="895" y="745"/>
                  </a:lnTo>
                  <a:lnTo>
                    <a:pt x="895" y="745"/>
                  </a:lnTo>
                  <a:lnTo>
                    <a:pt x="894" y="744"/>
                  </a:lnTo>
                  <a:lnTo>
                    <a:pt x="894" y="742"/>
                  </a:lnTo>
                  <a:lnTo>
                    <a:pt x="892" y="742"/>
                  </a:lnTo>
                  <a:lnTo>
                    <a:pt x="894" y="741"/>
                  </a:lnTo>
                  <a:lnTo>
                    <a:pt x="894" y="741"/>
                  </a:lnTo>
                  <a:lnTo>
                    <a:pt x="894" y="738"/>
                  </a:lnTo>
                  <a:lnTo>
                    <a:pt x="894" y="736"/>
                  </a:lnTo>
                  <a:lnTo>
                    <a:pt x="897" y="735"/>
                  </a:lnTo>
                  <a:lnTo>
                    <a:pt x="895" y="733"/>
                  </a:lnTo>
                  <a:lnTo>
                    <a:pt x="892" y="732"/>
                  </a:lnTo>
                  <a:lnTo>
                    <a:pt x="890" y="729"/>
                  </a:lnTo>
                  <a:lnTo>
                    <a:pt x="890" y="725"/>
                  </a:lnTo>
                  <a:lnTo>
                    <a:pt x="892" y="724"/>
                  </a:lnTo>
                  <a:lnTo>
                    <a:pt x="895" y="721"/>
                  </a:lnTo>
                  <a:lnTo>
                    <a:pt x="898" y="716"/>
                  </a:lnTo>
                  <a:lnTo>
                    <a:pt x="898" y="716"/>
                  </a:lnTo>
                  <a:lnTo>
                    <a:pt x="898" y="713"/>
                  </a:lnTo>
                  <a:lnTo>
                    <a:pt x="898" y="712"/>
                  </a:lnTo>
                  <a:lnTo>
                    <a:pt x="900" y="710"/>
                  </a:lnTo>
                  <a:lnTo>
                    <a:pt x="901" y="708"/>
                  </a:lnTo>
                  <a:lnTo>
                    <a:pt x="903" y="708"/>
                  </a:lnTo>
                  <a:lnTo>
                    <a:pt x="906" y="708"/>
                  </a:lnTo>
                  <a:lnTo>
                    <a:pt x="907" y="708"/>
                  </a:lnTo>
                  <a:lnTo>
                    <a:pt x="906" y="708"/>
                  </a:lnTo>
                  <a:lnTo>
                    <a:pt x="904" y="704"/>
                  </a:lnTo>
                  <a:lnTo>
                    <a:pt x="904" y="702"/>
                  </a:lnTo>
                  <a:lnTo>
                    <a:pt x="903" y="701"/>
                  </a:lnTo>
                  <a:lnTo>
                    <a:pt x="903" y="698"/>
                  </a:lnTo>
                  <a:lnTo>
                    <a:pt x="903" y="698"/>
                  </a:lnTo>
                  <a:lnTo>
                    <a:pt x="903" y="696"/>
                  </a:lnTo>
                  <a:lnTo>
                    <a:pt x="903" y="696"/>
                  </a:lnTo>
                  <a:lnTo>
                    <a:pt x="903" y="696"/>
                  </a:lnTo>
                  <a:lnTo>
                    <a:pt x="903" y="695"/>
                  </a:lnTo>
                  <a:lnTo>
                    <a:pt x="903" y="695"/>
                  </a:lnTo>
                  <a:lnTo>
                    <a:pt x="903" y="695"/>
                  </a:lnTo>
                  <a:lnTo>
                    <a:pt x="903" y="693"/>
                  </a:lnTo>
                  <a:lnTo>
                    <a:pt x="901" y="692"/>
                  </a:lnTo>
                  <a:lnTo>
                    <a:pt x="898" y="690"/>
                  </a:lnTo>
                  <a:lnTo>
                    <a:pt x="897" y="690"/>
                  </a:lnTo>
                  <a:lnTo>
                    <a:pt x="892" y="692"/>
                  </a:lnTo>
                  <a:lnTo>
                    <a:pt x="892" y="692"/>
                  </a:lnTo>
                  <a:lnTo>
                    <a:pt x="886" y="688"/>
                  </a:lnTo>
                  <a:lnTo>
                    <a:pt x="884" y="685"/>
                  </a:lnTo>
                  <a:lnTo>
                    <a:pt x="883" y="684"/>
                  </a:lnTo>
                  <a:lnTo>
                    <a:pt x="883" y="678"/>
                  </a:lnTo>
                  <a:lnTo>
                    <a:pt x="883" y="675"/>
                  </a:lnTo>
                  <a:lnTo>
                    <a:pt x="880" y="673"/>
                  </a:lnTo>
                  <a:lnTo>
                    <a:pt x="878" y="673"/>
                  </a:lnTo>
                  <a:lnTo>
                    <a:pt x="877" y="673"/>
                  </a:lnTo>
                  <a:lnTo>
                    <a:pt x="877" y="672"/>
                  </a:lnTo>
                  <a:lnTo>
                    <a:pt x="875" y="670"/>
                  </a:lnTo>
                  <a:lnTo>
                    <a:pt x="875" y="668"/>
                  </a:lnTo>
                  <a:lnTo>
                    <a:pt x="875" y="668"/>
                  </a:lnTo>
                  <a:lnTo>
                    <a:pt x="875" y="667"/>
                  </a:lnTo>
                  <a:lnTo>
                    <a:pt x="874" y="665"/>
                  </a:lnTo>
                  <a:lnTo>
                    <a:pt x="874" y="664"/>
                  </a:lnTo>
                  <a:lnTo>
                    <a:pt x="875" y="664"/>
                  </a:lnTo>
                  <a:lnTo>
                    <a:pt x="875" y="664"/>
                  </a:lnTo>
                  <a:lnTo>
                    <a:pt x="878" y="662"/>
                  </a:lnTo>
                  <a:lnTo>
                    <a:pt x="878" y="661"/>
                  </a:lnTo>
                  <a:lnTo>
                    <a:pt x="880" y="661"/>
                  </a:lnTo>
                  <a:lnTo>
                    <a:pt x="881" y="661"/>
                  </a:lnTo>
                  <a:lnTo>
                    <a:pt x="881" y="661"/>
                  </a:lnTo>
                  <a:lnTo>
                    <a:pt x="883" y="661"/>
                  </a:lnTo>
                  <a:lnTo>
                    <a:pt x="883" y="659"/>
                  </a:lnTo>
                  <a:lnTo>
                    <a:pt x="886" y="661"/>
                  </a:lnTo>
                  <a:lnTo>
                    <a:pt x="889" y="662"/>
                  </a:lnTo>
                  <a:lnTo>
                    <a:pt x="890" y="662"/>
                  </a:lnTo>
                  <a:lnTo>
                    <a:pt x="894" y="661"/>
                  </a:lnTo>
                  <a:lnTo>
                    <a:pt x="894" y="661"/>
                  </a:lnTo>
                  <a:lnTo>
                    <a:pt x="894" y="661"/>
                  </a:lnTo>
                  <a:lnTo>
                    <a:pt x="894" y="659"/>
                  </a:lnTo>
                  <a:lnTo>
                    <a:pt x="894" y="659"/>
                  </a:lnTo>
                  <a:lnTo>
                    <a:pt x="894" y="659"/>
                  </a:lnTo>
                  <a:lnTo>
                    <a:pt x="895" y="659"/>
                  </a:lnTo>
                  <a:lnTo>
                    <a:pt x="897" y="658"/>
                  </a:lnTo>
                  <a:lnTo>
                    <a:pt x="898" y="658"/>
                  </a:lnTo>
                  <a:lnTo>
                    <a:pt x="898" y="655"/>
                  </a:lnTo>
                  <a:lnTo>
                    <a:pt x="900" y="655"/>
                  </a:lnTo>
                  <a:lnTo>
                    <a:pt x="903" y="653"/>
                  </a:lnTo>
                  <a:lnTo>
                    <a:pt x="904" y="652"/>
                  </a:lnTo>
                  <a:lnTo>
                    <a:pt x="906" y="653"/>
                  </a:lnTo>
                  <a:lnTo>
                    <a:pt x="906" y="653"/>
                  </a:lnTo>
                  <a:lnTo>
                    <a:pt x="907" y="653"/>
                  </a:lnTo>
                  <a:lnTo>
                    <a:pt x="907" y="653"/>
                  </a:lnTo>
                  <a:lnTo>
                    <a:pt x="909" y="650"/>
                  </a:lnTo>
                  <a:lnTo>
                    <a:pt x="911" y="648"/>
                  </a:lnTo>
                  <a:lnTo>
                    <a:pt x="911" y="647"/>
                  </a:lnTo>
                  <a:lnTo>
                    <a:pt x="911" y="645"/>
                  </a:lnTo>
                  <a:lnTo>
                    <a:pt x="909" y="642"/>
                  </a:lnTo>
                  <a:lnTo>
                    <a:pt x="911" y="642"/>
                  </a:lnTo>
                  <a:lnTo>
                    <a:pt x="912" y="639"/>
                  </a:lnTo>
                  <a:lnTo>
                    <a:pt x="914" y="636"/>
                  </a:lnTo>
                  <a:lnTo>
                    <a:pt x="915" y="635"/>
                  </a:lnTo>
                  <a:lnTo>
                    <a:pt x="915" y="633"/>
                  </a:lnTo>
                  <a:lnTo>
                    <a:pt x="914" y="633"/>
                  </a:lnTo>
                  <a:lnTo>
                    <a:pt x="911" y="632"/>
                  </a:lnTo>
                  <a:lnTo>
                    <a:pt x="911" y="630"/>
                  </a:lnTo>
                  <a:lnTo>
                    <a:pt x="909" y="630"/>
                  </a:lnTo>
                  <a:lnTo>
                    <a:pt x="909" y="628"/>
                  </a:lnTo>
                  <a:lnTo>
                    <a:pt x="909" y="627"/>
                  </a:lnTo>
                  <a:lnTo>
                    <a:pt x="907" y="627"/>
                  </a:lnTo>
                  <a:lnTo>
                    <a:pt x="904" y="624"/>
                  </a:lnTo>
                  <a:lnTo>
                    <a:pt x="901" y="622"/>
                  </a:lnTo>
                  <a:lnTo>
                    <a:pt x="901" y="621"/>
                  </a:lnTo>
                  <a:lnTo>
                    <a:pt x="901" y="616"/>
                  </a:lnTo>
                  <a:lnTo>
                    <a:pt x="900" y="616"/>
                  </a:lnTo>
                  <a:lnTo>
                    <a:pt x="900" y="615"/>
                  </a:lnTo>
                  <a:lnTo>
                    <a:pt x="900" y="613"/>
                  </a:lnTo>
                  <a:lnTo>
                    <a:pt x="900" y="613"/>
                  </a:lnTo>
                  <a:lnTo>
                    <a:pt x="900" y="611"/>
                  </a:lnTo>
                  <a:lnTo>
                    <a:pt x="900" y="610"/>
                  </a:lnTo>
                  <a:lnTo>
                    <a:pt x="900" y="608"/>
                  </a:lnTo>
                  <a:lnTo>
                    <a:pt x="900" y="608"/>
                  </a:lnTo>
                  <a:lnTo>
                    <a:pt x="897" y="607"/>
                  </a:lnTo>
                  <a:lnTo>
                    <a:pt x="895" y="607"/>
                  </a:lnTo>
                  <a:lnTo>
                    <a:pt x="894" y="605"/>
                  </a:lnTo>
                  <a:lnTo>
                    <a:pt x="894" y="605"/>
                  </a:lnTo>
                  <a:lnTo>
                    <a:pt x="890" y="604"/>
                  </a:lnTo>
                  <a:lnTo>
                    <a:pt x="889" y="602"/>
                  </a:lnTo>
                  <a:lnTo>
                    <a:pt x="887" y="601"/>
                  </a:lnTo>
                  <a:lnTo>
                    <a:pt x="887" y="596"/>
                  </a:lnTo>
                  <a:lnTo>
                    <a:pt x="886" y="595"/>
                  </a:lnTo>
                  <a:lnTo>
                    <a:pt x="886" y="591"/>
                  </a:lnTo>
                  <a:lnTo>
                    <a:pt x="887" y="590"/>
                  </a:lnTo>
                  <a:lnTo>
                    <a:pt x="887" y="588"/>
                  </a:lnTo>
                  <a:lnTo>
                    <a:pt x="889" y="588"/>
                  </a:lnTo>
                  <a:lnTo>
                    <a:pt x="892" y="588"/>
                  </a:lnTo>
                  <a:lnTo>
                    <a:pt x="892" y="588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4" y="587"/>
                  </a:lnTo>
                  <a:lnTo>
                    <a:pt x="894" y="587"/>
                  </a:lnTo>
                  <a:lnTo>
                    <a:pt x="894" y="587"/>
                  </a:lnTo>
                  <a:lnTo>
                    <a:pt x="895" y="587"/>
                  </a:lnTo>
                  <a:lnTo>
                    <a:pt x="897" y="587"/>
                  </a:lnTo>
                  <a:lnTo>
                    <a:pt x="900" y="585"/>
                  </a:lnTo>
                  <a:lnTo>
                    <a:pt x="900" y="584"/>
                  </a:lnTo>
                  <a:lnTo>
                    <a:pt x="901" y="582"/>
                  </a:lnTo>
                  <a:lnTo>
                    <a:pt x="901" y="581"/>
                  </a:lnTo>
                  <a:lnTo>
                    <a:pt x="903" y="579"/>
                  </a:lnTo>
                  <a:lnTo>
                    <a:pt x="903" y="579"/>
                  </a:lnTo>
                  <a:lnTo>
                    <a:pt x="904" y="579"/>
                  </a:lnTo>
                  <a:lnTo>
                    <a:pt x="904" y="578"/>
                  </a:lnTo>
                  <a:lnTo>
                    <a:pt x="903" y="576"/>
                  </a:lnTo>
                  <a:lnTo>
                    <a:pt x="903" y="575"/>
                  </a:lnTo>
                  <a:lnTo>
                    <a:pt x="903" y="573"/>
                  </a:lnTo>
                  <a:lnTo>
                    <a:pt x="901" y="571"/>
                  </a:lnTo>
                  <a:lnTo>
                    <a:pt x="901" y="571"/>
                  </a:lnTo>
                  <a:lnTo>
                    <a:pt x="897" y="565"/>
                  </a:lnTo>
                  <a:lnTo>
                    <a:pt x="895" y="564"/>
                  </a:lnTo>
                  <a:lnTo>
                    <a:pt x="894" y="565"/>
                  </a:lnTo>
                  <a:lnTo>
                    <a:pt x="894" y="565"/>
                  </a:lnTo>
                  <a:lnTo>
                    <a:pt x="894" y="565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2" y="564"/>
                  </a:lnTo>
                  <a:lnTo>
                    <a:pt x="892" y="564"/>
                  </a:lnTo>
                  <a:lnTo>
                    <a:pt x="892" y="564"/>
                  </a:lnTo>
                  <a:lnTo>
                    <a:pt x="892" y="562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4" y="559"/>
                  </a:lnTo>
                  <a:lnTo>
                    <a:pt x="894" y="559"/>
                  </a:lnTo>
                  <a:lnTo>
                    <a:pt x="892" y="558"/>
                  </a:lnTo>
                  <a:lnTo>
                    <a:pt x="886" y="556"/>
                  </a:lnTo>
                  <a:lnTo>
                    <a:pt x="886" y="555"/>
                  </a:lnTo>
                  <a:lnTo>
                    <a:pt x="886" y="550"/>
                  </a:lnTo>
                  <a:lnTo>
                    <a:pt x="887" y="547"/>
                  </a:lnTo>
                  <a:lnTo>
                    <a:pt x="890" y="542"/>
                  </a:lnTo>
                  <a:lnTo>
                    <a:pt x="889" y="539"/>
                  </a:lnTo>
                  <a:lnTo>
                    <a:pt x="886" y="536"/>
                  </a:lnTo>
                  <a:lnTo>
                    <a:pt x="884" y="533"/>
                  </a:lnTo>
                  <a:lnTo>
                    <a:pt x="884" y="531"/>
                  </a:lnTo>
                  <a:lnTo>
                    <a:pt x="886" y="530"/>
                  </a:lnTo>
                  <a:lnTo>
                    <a:pt x="887" y="528"/>
                  </a:lnTo>
                  <a:lnTo>
                    <a:pt x="887" y="527"/>
                  </a:lnTo>
                  <a:lnTo>
                    <a:pt x="887" y="525"/>
                  </a:lnTo>
                  <a:lnTo>
                    <a:pt x="886" y="525"/>
                  </a:lnTo>
                  <a:lnTo>
                    <a:pt x="886" y="525"/>
                  </a:lnTo>
                  <a:lnTo>
                    <a:pt x="886" y="524"/>
                  </a:lnTo>
                  <a:lnTo>
                    <a:pt x="874" y="522"/>
                  </a:lnTo>
                  <a:lnTo>
                    <a:pt x="869" y="521"/>
                  </a:lnTo>
                  <a:lnTo>
                    <a:pt x="864" y="522"/>
                  </a:lnTo>
                  <a:lnTo>
                    <a:pt x="858" y="527"/>
                  </a:lnTo>
                  <a:lnTo>
                    <a:pt x="855" y="527"/>
                  </a:lnTo>
                  <a:lnTo>
                    <a:pt x="854" y="527"/>
                  </a:lnTo>
                  <a:lnTo>
                    <a:pt x="850" y="528"/>
                  </a:lnTo>
                  <a:lnTo>
                    <a:pt x="849" y="530"/>
                  </a:lnTo>
                  <a:lnTo>
                    <a:pt x="846" y="533"/>
                  </a:lnTo>
                  <a:lnTo>
                    <a:pt x="844" y="534"/>
                  </a:lnTo>
                  <a:lnTo>
                    <a:pt x="844" y="536"/>
                  </a:lnTo>
                  <a:lnTo>
                    <a:pt x="844" y="538"/>
                  </a:lnTo>
                  <a:lnTo>
                    <a:pt x="846" y="539"/>
                  </a:lnTo>
                  <a:lnTo>
                    <a:pt x="846" y="541"/>
                  </a:lnTo>
                  <a:lnTo>
                    <a:pt x="846" y="542"/>
                  </a:lnTo>
                  <a:lnTo>
                    <a:pt x="846" y="542"/>
                  </a:lnTo>
                  <a:lnTo>
                    <a:pt x="847" y="542"/>
                  </a:lnTo>
                  <a:lnTo>
                    <a:pt x="849" y="542"/>
                  </a:lnTo>
                  <a:lnTo>
                    <a:pt x="849" y="542"/>
                  </a:lnTo>
                  <a:lnTo>
                    <a:pt x="849" y="545"/>
                  </a:lnTo>
                  <a:lnTo>
                    <a:pt x="847" y="547"/>
                  </a:lnTo>
                  <a:lnTo>
                    <a:pt x="843" y="550"/>
                  </a:lnTo>
                  <a:lnTo>
                    <a:pt x="838" y="555"/>
                  </a:lnTo>
                  <a:lnTo>
                    <a:pt x="837" y="556"/>
                  </a:lnTo>
                  <a:lnTo>
                    <a:pt x="833" y="555"/>
                  </a:lnTo>
                  <a:lnTo>
                    <a:pt x="830" y="555"/>
                  </a:lnTo>
                  <a:lnTo>
                    <a:pt x="827" y="556"/>
                  </a:lnTo>
                  <a:lnTo>
                    <a:pt x="826" y="556"/>
                  </a:lnTo>
                  <a:lnTo>
                    <a:pt x="826" y="555"/>
                  </a:lnTo>
                  <a:lnTo>
                    <a:pt x="827" y="553"/>
                  </a:lnTo>
                  <a:lnTo>
                    <a:pt x="827" y="551"/>
                  </a:lnTo>
                  <a:lnTo>
                    <a:pt x="826" y="550"/>
                  </a:lnTo>
                  <a:lnTo>
                    <a:pt x="824" y="548"/>
                  </a:lnTo>
                  <a:lnTo>
                    <a:pt x="826" y="548"/>
                  </a:lnTo>
                  <a:lnTo>
                    <a:pt x="827" y="547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5"/>
                  </a:lnTo>
                  <a:lnTo>
                    <a:pt x="833" y="545"/>
                  </a:lnTo>
                  <a:lnTo>
                    <a:pt x="833" y="545"/>
                  </a:lnTo>
                  <a:lnTo>
                    <a:pt x="835" y="544"/>
                  </a:lnTo>
                  <a:lnTo>
                    <a:pt x="835" y="544"/>
                  </a:lnTo>
                  <a:lnTo>
                    <a:pt x="835" y="542"/>
                  </a:lnTo>
                  <a:lnTo>
                    <a:pt x="835" y="541"/>
                  </a:lnTo>
                  <a:lnTo>
                    <a:pt x="837" y="538"/>
                  </a:lnTo>
                  <a:lnTo>
                    <a:pt x="837" y="538"/>
                  </a:lnTo>
                  <a:lnTo>
                    <a:pt x="837" y="534"/>
                  </a:lnTo>
                  <a:lnTo>
                    <a:pt x="838" y="531"/>
                  </a:lnTo>
                  <a:lnTo>
                    <a:pt x="838" y="531"/>
                  </a:lnTo>
                  <a:lnTo>
                    <a:pt x="838" y="528"/>
                  </a:lnTo>
                  <a:lnTo>
                    <a:pt x="837" y="528"/>
                  </a:lnTo>
                  <a:lnTo>
                    <a:pt x="832" y="525"/>
                  </a:lnTo>
                  <a:lnTo>
                    <a:pt x="832" y="525"/>
                  </a:lnTo>
                  <a:lnTo>
                    <a:pt x="833" y="525"/>
                  </a:lnTo>
                  <a:lnTo>
                    <a:pt x="833" y="524"/>
                  </a:lnTo>
                  <a:lnTo>
                    <a:pt x="833" y="524"/>
                  </a:lnTo>
                  <a:lnTo>
                    <a:pt x="833" y="522"/>
                  </a:lnTo>
                  <a:lnTo>
                    <a:pt x="833" y="522"/>
                  </a:lnTo>
                  <a:lnTo>
                    <a:pt x="833" y="522"/>
                  </a:lnTo>
                  <a:lnTo>
                    <a:pt x="833" y="521"/>
                  </a:lnTo>
                  <a:lnTo>
                    <a:pt x="833" y="521"/>
                  </a:lnTo>
                  <a:lnTo>
                    <a:pt x="833" y="521"/>
                  </a:lnTo>
                  <a:lnTo>
                    <a:pt x="833" y="519"/>
                  </a:lnTo>
                  <a:lnTo>
                    <a:pt x="837" y="514"/>
                  </a:lnTo>
                  <a:lnTo>
                    <a:pt x="840" y="511"/>
                  </a:lnTo>
                  <a:lnTo>
                    <a:pt x="838" y="510"/>
                  </a:lnTo>
                  <a:lnTo>
                    <a:pt x="837" y="508"/>
                  </a:lnTo>
                  <a:lnTo>
                    <a:pt x="838" y="507"/>
                  </a:lnTo>
                  <a:lnTo>
                    <a:pt x="849" y="498"/>
                  </a:lnTo>
                  <a:lnTo>
                    <a:pt x="854" y="494"/>
                  </a:lnTo>
                  <a:lnTo>
                    <a:pt x="854" y="494"/>
                  </a:lnTo>
                  <a:lnTo>
                    <a:pt x="857" y="491"/>
                  </a:lnTo>
                  <a:lnTo>
                    <a:pt x="858" y="490"/>
                  </a:lnTo>
                  <a:lnTo>
                    <a:pt x="860" y="490"/>
                  </a:lnTo>
                  <a:lnTo>
                    <a:pt x="860" y="488"/>
                  </a:lnTo>
                  <a:lnTo>
                    <a:pt x="861" y="488"/>
                  </a:lnTo>
                  <a:lnTo>
                    <a:pt x="861" y="485"/>
                  </a:lnTo>
                  <a:lnTo>
                    <a:pt x="860" y="485"/>
                  </a:lnTo>
                  <a:lnTo>
                    <a:pt x="860" y="485"/>
                  </a:lnTo>
                  <a:lnTo>
                    <a:pt x="860" y="484"/>
                  </a:lnTo>
                  <a:lnTo>
                    <a:pt x="860" y="484"/>
                  </a:lnTo>
                  <a:lnTo>
                    <a:pt x="861" y="481"/>
                  </a:lnTo>
                  <a:lnTo>
                    <a:pt x="861" y="479"/>
                  </a:lnTo>
                  <a:lnTo>
                    <a:pt x="861" y="479"/>
                  </a:lnTo>
                  <a:lnTo>
                    <a:pt x="861" y="478"/>
                  </a:lnTo>
                  <a:lnTo>
                    <a:pt x="861" y="476"/>
                  </a:lnTo>
                  <a:lnTo>
                    <a:pt x="861" y="476"/>
                  </a:lnTo>
                  <a:lnTo>
                    <a:pt x="861" y="473"/>
                  </a:lnTo>
                  <a:lnTo>
                    <a:pt x="860" y="473"/>
                  </a:lnTo>
                  <a:lnTo>
                    <a:pt x="861" y="468"/>
                  </a:lnTo>
                  <a:lnTo>
                    <a:pt x="864" y="467"/>
                  </a:lnTo>
                  <a:lnTo>
                    <a:pt x="874" y="464"/>
                  </a:lnTo>
                  <a:lnTo>
                    <a:pt x="878" y="461"/>
                  </a:lnTo>
                  <a:lnTo>
                    <a:pt x="880" y="457"/>
                  </a:lnTo>
                  <a:lnTo>
                    <a:pt x="878" y="456"/>
                  </a:lnTo>
                  <a:lnTo>
                    <a:pt x="880" y="454"/>
                  </a:lnTo>
                  <a:lnTo>
                    <a:pt x="880" y="453"/>
                  </a:lnTo>
                  <a:lnTo>
                    <a:pt x="883" y="453"/>
                  </a:lnTo>
                  <a:lnTo>
                    <a:pt x="883" y="451"/>
                  </a:lnTo>
                  <a:lnTo>
                    <a:pt x="883" y="451"/>
                  </a:lnTo>
                  <a:lnTo>
                    <a:pt x="884" y="451"/>
                  </a:lnTo>
                  <a:lnTo>
                    <a:pt x="884" y="450"/>
                  </a:lnTo>
                  <a:lnTo>
                    <a:pt x="886" y="448"/>
                  </a:lnTo>
                  <a:lnTo>
                    <a:pt x="890" y="444"/>
                  </a:lnTo>
                  <a:lnTo>
                    <a:pt x="890" y="444"/>
                  </a:lnTo>
                  <a:lnTo>
                    <a:pt x="892" y="442"/>
                  </a:lnTo>
                  <a:lnTo>
                    <a:pt x="895" y="439"/>
                  </a:lnTo>
                  <a:lnTo>
                    <a:pt x="900" y="436"/>
                  </a:lnTo>
                  <a:lnTo>
                    <a:pt x="900" y="433"/>
                  </a:lnTo>
                  <a:lnTo>
                    <a:pt x="900" y="431"/>
                  </a:lnTo>
                  <a:lnTo>
                    <a:pt x="901" y="430"/>
                  </a:lnTo>
                  <a:lnTo>
                    <a:pt x="901" y="430"/>
                  </a:lnTo>
                  <a:lnTo>
                    <a:pt x="903" y="430"/>
                  </a:lnTo>
                  <a:lnTo>
                    <a:pt x="903" y="428"/>
                  </a:lnTo>
                  <a:lnTo>
                    <a:pt x="904" y="427"/>
                  </a:lnTo>
                  <a:lnTo>
                    <a:pt x="904" y="427"/>
                  </a:lnTo>
                  <a:lnTo>
                    <a:pt x="906" y="427"/>
                  </a:lnTo>
                  <a:lnTo>
                    <a:pt x="906" y="425"/>
                  </a:lnTo>
                  <a:lnTo>
                    <a:pt x="906" y="424"/>
                  </a:lnTo>
                  <a:lnTo>
                    <a:pt x="904" y="424"/>
                  </a:lnTo>
                  <a:lnTo>
                    <a:pt x="903" y="422"/>
                  </a:lnTo>
                  <a:lnTo>
                    <a:pt x="901" y="424"/>
                  </a:lnTo>
                  <a:lnTo>
                    <a:pt x="894" y="424"/>
                  </a:lnTo>
                  <a:lnTo>
                    <a:pt x="894" y="422"/>
                  </a:lnTo>
                  <a:lnTo>
                    <a:pt x="894" y="421"/>
                  </a:lnTo>
                  <a:lnTo>
                    <a:pt x="895" y="419"/>
                  </a:lnTo>
                  <a:lnTo>
                    <a:pt x="897" y="419"/>
                  </a:lnTo>
                  <a:lnTo>
                    <a:pt x="897" y="416"/>
                  </a:lnTo>
                  <a:lnTo>
                    <a:pt x="900" y="416"/>
                  </a:lnTo>
                  <a:lnTo>
                    <a:pt x="900" y="414"/>
                  </a:lnTo>
                  <a:lnTo>
                    <a:pt x="901" y="414"/>
                  </a:lnTo>
                  <a:lnTo>
                    <a:pt x="903" y="413"/>
                  </a:lnTo>
                  <a:lnTo>
                    <a:pt x="901" y="411"/>
                  </a:lnTo>
                  <a:lnTo>
                    <a:pt x="901" y="410"/>
                  </a:lnTo>
                  <a:lnTo>
                    <a:pt x="901" y="410"/>
                  </a:lnTo>
                  <a:lnTo>
                    <a:pt x="903" y="408"/>
                  </a:lnTo>
                  <a:lnTo>
                    <a:pt x="903" y="408"/>
                  </a:lnTo>
                  <a:lnTo>
                    <a:pt x="903" y="408"/>
                  </a:lnTo>
                  <a:lnTo>
                    <a:pt x="904" y="408"/>
                  </a:lnTo>
                  <a:lnTo>
                    <a:pt x="904" y="408"/>
                  </a:lnTo>
                  <a:lnTo>
                    <a:pt x="907" y="410"/>
                  </a:lnTo>
                  <a:lnTo>
                    <a:pt x="911" y="408"/>
                  </a:lnTo>
                  <a:lnTo>
                    <a:pt x="912" y="408"/>
                  </a:lnTo>
                  <a:lnTo>
                    <a:pt x="914" y="410"/>
                  </a:lnTo>
                  <a:lnTo>
                    <a:pt x="914" y="410"/>
                  </a:lnTo>
                  <a:lnTo>
                    <a:pt x="914" y="410"/>
                  </a:lnTo>
                  <a:lnTo>
                    <a:pt x="917" y="410"/>
                  </a:lnTo>
                  <a:lnTo>
                    <a:pt x="915" y="413"/>
                  </a:lnTo>
                  <a:lnTo>
                    <a:pt x="915" y="414"/>
                  </a:lnTo>
                  <a:lnTo>
                    <a:pt x="917" y="414"/>
                  </a:lnTo>
                  <a:lnTo>
                    <a:pt x="920" y="416"/>
                  </a:lnTo>
                  <a:lnTo>
                    <a:pt x="920" y="416"/>
                  </a:lnTo>
                  <a:lnTo>
                    <a:pt x="920" y="416"/>
                  </a:lnTo>
                  <a:lnTo>
                    <a:pt x="920" y="417"/>
                  </a:lnTo>
                  <a:lnTo>
                    <a:pt x="920" y="417"/>
                  </a:lnTo>
                  <a:lnTo>
                    <a:pt x="921" y="417"/>
                  </a:lnTo>
                  <a:lnTo>
                    <a:pt x="924" y="416"/>
                  </a:lnTo>
                  <a:lnTo>
                    <a:pt x="926" y="416"/>
                  </a:lnTo>
                  <a:lnTo>
                    <a:pt x="927" y="416"/>
                  </a:lnTo>
                  <a:lnTo>
                    <a:pt x="931" y="416"/>
                  </a:lnTo>
                  <a:lnTo>
                    <a:pt x="932" y="416"/>
                  </a:lnTo>
                  <a:lnTo>
                    <a:pt x="934" y="414"/>
                  </a:lnTo>
                  <a:lnTo>
                    <a:pt x="934" y="413"/>
                  </a:lnTo>
                  <a:lnTo>
                    <a:pt x="935" y="413"/>
                  </a:lnTo>
                  <a:lnTo>
                    <a:pt x="935" y="411"/>
                  </a:lnTo>
                  <a:lnTo>
                    <a:pt x="935" y="411"/>
                  </a:lnTo>
                  <a:lnTo>
                    <a:pt x="934" y="411"/>
                  </a:lnTo>
                  <a:lnTo>
                    <a:pt x="934" y="410"/>
                  </a:lnTo>
                  <a:lnTo>
                    <a:pt x="934" y="410"/>
                  </a:lnTo>
                  <a:lnTo>
                    <a:pt x="934" y="410"/>
                  </a:lnTo>
                  <a:lnTo>
                    <a:pt x="935" y="408"/>
                  </a:lnTo>
                  <a:lnTo>
                    <a:pt x="935" y="410"/>
                  </a:lnTo>
                  <a:lnTo>
                    <a:pt x="937" y="410"/>
                  </a:lnTo>
                  <a:lnTo>
                    <a:pt x="937" y="410"/>
                  </a:lnTo>
                  <a:lnTo>
                    <a:pt x="938" y="410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40" y="407"/>
                  </a:lnTo>
                  <a:lnTo>
                    <a:pt x="940" y="407"/>
                  </a:lnTo>
                  <a:lnTo>
                    <a:pt x="940" y="405"/>
                  </a:lnTo>
                  <a:lnTo>
                    <a:pt x="940" y="404"/>
                  </a:lnTo>
                  <a:lnTo>
                    <a:pt x="940" y="404"/>
                  </a:lnTo>
                  <a:lnTo>
                    <a:pt x="938" y="404"/>
                  </a:lnTo>
                  <a:lnTo>
                    <a:pt x="938" y="404"/>
                  </a:lnTo>
                  <a:lnTo>
                    <a:pt x="941" y="401"/>
                  </a:lnTo>
                  <a:lnTo>
                    <a:pt x="941" y="401"/>
                  </a:lnTo>
                  <a:lnTo>
                    <a:pt x="944" y="399"/>
                  </a:lnTo>
                  <a:lnTo>
                    <a:pt x="946" y="399"/>
                  </a:lnTo>
                  <a:lnTo>
                    <a:pt x="946" y="399"/>
                  </a:lnTo>
                  <a:lnTo>
                    <a:pt x="946" y="397"/>
                  </a:lnTo>
                  <a:lnTo>
                    <a:pt x="947" y="397"/>
                  </a:lnTo>
                  <a:lnTo>
                    <a:pt x="947" y="396"/>
                  </a:lnTo>
                  <a:lnTo>
                    <a:pt x="946" y="396"/>
                  </a:lnTo>
                  <a:lnTo>
                    <a:pt x="946" y="394"/>
                  </a:lnTo>
                  <a:lnTo>
                    <a:pt x="946" y="394"/>
                  </a:lnTo>
                  <a:lnTo>
                    <a:pt x="944" y="391"/>
                  </a:lnTo>
                  <a:lnTo>
                    <a:pt x="943" y="390"/>
                  </a:lnTo>
                  <a:lnTo>
                    <a:pt x="941" y="390"/>
                  </a:lnTo>
                  <a:lnTo>
                    <a:pt x="941" y="388"/>
                  </a:lnTo>
                  <a:lnTo>
                    <a:pt x="941" y="388"/>
                  </a:lnTo>
                  <a:lnTo>
                    <a:pt x="941" y="385"/>
                  </a:lnTo>
                  <a:lnTo>
                    <a:pt x="941" y="385"/>
                  </a:lnTo>
                  <a:lnTo>
                    <a:pt x="943" y="384"/>
                  </a:lnTo>
                  <a:lnTo>
                    <a:pt x="943" y="382"/>
                  </a:lnTo>
                  <a:lnTo>
                    <a:pt x="943" y="380"/>
                  </a:lnTo>
                  <a:lnTo>
                    <a:pt x="941" y="377"/>
                  </a:lnTo>
                  <a:lnTo>
                    <a:pt x="943" y="376"/>
                  </a:lnTo>
                  <a:lnTo>
                    <a:pt x="943" y="371"/>
                  </a:lnTo>
                  <a:lnTo>
                    <a:pt x="943" y="371"/>
                  </a:lnTo>
                  <a:lnTo>
                    <a:pt x="944" y="371"/>
                  </a:lnTo>
                  <a:lnTo>
                    <a:pt x="944" y="370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5"/>
                  </a:lnTo>
                  <a:lnTo>
                    <a:pt x="944" y="365"/>
                  </a:lnTo>
                  <a:lnTo>
                    <a:pt x="944" y="365"/>
                  </a:lnTo>
                  <a:lnTo>
                    <a:pt x="946" y="364"/>
                  </a:lnTo>
                  <a:lnTo>
                    <a:pt x="946" y="364"/>
                  </a:lnTo>
                  <a:lnTo>
                    <a:pt x="946" y="362"/>
                  </a:lnTo>
                  <a:lnTo>
                    <a:pt x="946" y="360"/>
                  </a:lnTo>
                  <a:lnTo>
                    <a:pt x="946" y="359"/>
                  </a:lnTo>
                  <a:lnTo>
                    <a:pt x="949" y="357"/>
                  </a:lnTo>
                  <a:lnTo>
                    <a:pt x="949" y="356"/>
                  </a:lnTo>
                  <a:lnTo>
                    <a:pt x="949" y="353"/>
                  </a:lnTo>
                  <a:lnTo>
                    <a:pt x="946" y="347"/>
                  </a:lnTo>
                  <a:lnTo>
                    <a:pt x="946" y="342"/>
                  </a:lnTo>
                  <a:lnTo>
                    <a:pt x="946" y="340"/>
                  </a:lnTo>
                  <a:lnTo>
                    <a:pt x="946" y="339"/>
                  </a:lnTo>
                  <a:lnTo>
                    <a:pt x="947" y="337"/>
                  </a:lnTo>
                  <a:lnTo>
                    <a:pt x="947" y="337"/>
                  </a:lnTo>
                  <a:lnTo>
                    <a:pt x="947" y="336"/>
                  </a:lnTo>
                  <a:lnTo>
                    <a:pt x="947" y="334"/>
                  </a:lnTo>
                  <a:lnTo>
                    <a:pt x="949" y="333"/>
                  </a:lnTo>
                  <a:lnTo>
                    <a:pt x="954" y="327"/>
                  </a:lnTo>
                  <a:lnTo>
                    <a:pt x="954" y="325"/>
                  </a:lnTo>
                  <a:lnTo>
                    <a:pt x="954" y="324"/>
                  </a:lnTo>
                  <a:lnTo>
                    <a:pt x="955" y="320"/>
                  </a:lnTo>
                  <a:lnTo>
                    <a:pt x="955" y="319"/>
                  </a:lnTo>
                  <a:lnTo>
                    <a:pt x="957" y="317"/>
                  </a:lnTo>
                  <a:lnTo>
                    <a:pt x="958" y="316"/>
                  </a:lnTo>
                  <a:lnTo>
                    <a:pt x="958" y="314"/>
                  </a:lnTo>
                  <a:lnTo>
                    <a:pt x="958" y="313"/>
                  </a:lnTo>
                  <a:lnTo>
                    <a:pt x="958" y="311"/>
                  </a:lnTo>
                  <a:lnTo>
                    <a:pt x="958" y="310"/>
                  </a:lnTo>
                  <a:lnTo>
                    <a:pt x="958" y="310"/>
                  </a:lnTo>
                  <a:lnTo>
                    <a:pt x="958" y="308"/>
                  </a:lnTo>
                  <a:lnTo>
                    <a:pt x="958" y="305"/>
                  </a:lnTo>
                  <a:lnTo>
                    <a:pt x="958" y="304"/>
                  </a:lnTo>
                  <a:lnTo>
                    <a:pt x="960" y="302"/>
                  </a:lnTo>
                  <a:lnTo>
                    <a:pt x="960" y="302"/>
                  </a:lnTo>
                  <a:lnTo>
                    <a:pt x="960" y="300"/>
                  </a:lnTo>
                  <a:lnTo>
                    <a:pt x="960" y="299"/>
                  </a:lnTo>
                  <a:lnTo>
                    <a:pt x="961" y="297"/>
                  </a:lnTo>
                  <a:lnTo>
                    <a:pt x="961" y="296"/>
                  </a:lnTo>
                  <a:lnTo>
                    <a:pt x="963" y="294"/>
                  </a:lnTo>
                  <a:lnTo>
                    <a:pt x="963" y="294"/>
                  </a:lnTo>
                  <a:lnTo>
                    <a:pt x="963" y="291"/>
                  </a:lnTo>
                  <a:lnTo>
                    <a:pt x="963" y="288"/>
                  </a:lnTo>
                  <a:lnTo>
                    <a:pt x="963" y="283"/>
                  </a:lnTo>
                  <a:lnTo>
                    <a:pt x="966" y="279"/>
                  </a:lnTo>
                  <a:lnTo>
                    <a:pt x="967" y="279"/>
                  </a:lnTo>
                  <a:lnTo>
                    <a:pt x="969" y="279"/>
                  </a:lnTo>
                  <a:lnTo>
                    <a:pt x="969" y="277"/>
                  </a:lnTo>
                  <a:lnTo>
                    <a:pt x="972" y="274"/>
                  </a:lnTo>
                  <a:lnTo>
                    <a:pt x="972" y="274"/>
                  </a:lnTo>
                  <a:lnTo>
                    <a:pt x="974" y="273"/>
                  </a:lnTo>
                  <a:lnTo>
                    <a:pt x="974" y="273"/>
                  </a:lnTo>
                  <a:lnTo>
                    <a:pt x="975" y="271"/>
                  </a:lnTo>
                  <a:lnTo>
                    <a:pt x="975" y="270"/>
                  </a:lnTo>
                  <a:lnTo>
                    <a:pt x="975" y="268"/>
                  </a:lnTo>
                  <a:lnTo>
                    <a:pt x="975" y="268"/>
                  </a:lnTo>
                  <a:lnTo>
                    <a:pt x="978" y="268"/>
                  </a:lnTo>
                  <a:lnTo>
                    <a:pt x="978" y="268"/>
                  </a:lnTo>
                  <a:lnTo>
                    <a:pt x="978" y="267"/>
                  </a:lnTo>
                  <a:lnTo>
                    <a:pt x="980" y="267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1" y="265"/>
                  </a:lnTo>
                  <a:lnTo>
                    <a:pt x="983" y="263"/>
                  </a:lnTo>
                  <a:lnTo>
                    <a:pt x="984" y="262"/>
                  </a:lnTo>
                  <a:lnTo>
                    <a:pt x="984" y="260"/>
                  </a:lnTo>
                  <a:lnTo>
                    <a:pt x="988" y="251"/>
                  </a:lnTo>
                  <a:lnTo>
                    <a:pt x="991" y="247"/>
                  </a:lnTo>
                  <a:lnTo>
                    <a:pt x="992" y="245"/>
                  </a:lnTo>
                  <a:lnTo>
                    <a:pt x="992" y="245"/>
                  </a:lnTo>
                  <a:lnTo>
                    <a:pt x="991" y="245"/>
                  </a:lnTo>
                  <a:lnTo>
                    <a:pt x="984" y="243"/>
                  </a:lnTo>
                  <a:close/>
                  <a:moveTo>
                    <a:pt x="530" y="939"/>
                  </a:moveTo>
                  <a:lnTo>
                    <a:pt x="530" y="939"/>
                  </a:lnTo>
                  <a:lnTo>
                    <a:pt x="529" y="939"/>
                  </a:lnTo>
                  <a:lnTo>
                    <a:pt x="527" y="938"/>
                  </a:lnTo>
                  <a:lnTo>
                    <a:pt x="527" y="938"/>
                  </a:lnTo>
                  <a:lnTo>
                    <a:pt x="527" y="936"/>
                  </a:lnTo>
                  <a:lnTo>
                    <a:pt x="527" y="935"/>
                  </a:lnTo>
                  <a:lnTo>
                    <a:pt x="529" y="935"/>
                  </a:lnTo>
                  <a:lnTo>
                    <a:pt x="529" y="935"/>
                  </a:lnTo>
                  <a:lnTo>
                    <a:pt x="530" y="938"/>
                  </a:lnTo>
                  <a:lnTo>
                    <a:pt x="530" y="938"/>
                  </a:lnTo>
                  <a:lnTo>
                    <a:pt x="530" y="939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84"/>
            <p:cNvSpPr>
              <a:spLocks noEditPoints="1"/>
            </p:cNvSpPr>
            <p:nvPr/>
          </p:nvSpPr>
          <p:spPr bwMode="gray">
            <a:xfrm>
              <a:off x="5078413" y="6451601"/>
              <a:ext cx="1736725" cy="1660525"/>
            </a:xfrm>
            <a:custGeom>
              <a:avLst/>
              <a:gdLst>
                <a:gd name="T0" fmla="*/ 1077 w 1094"/>
                <a:gd name="T1" fmla="*/ 883 h 1046"/>
                <a:gd name="T2" fmla="*/ 1029 w 1094"/>
                <a:gd name="T3" fmla="*/ 930 h 1046"/>
                <a:gd name="T4" fmla="*/ 1018 w 1094"/>
                <a:gd name="T5" fmla="*/ 959 h 1046"/>
                <a:gd name="T6" fmla="*/ 1037 w 1094"/>
                <a:gd name="T7" fmla="*/ 993 h 1046"/>
                <a:gd name="T8" fmla="*/ 1040 w 1094"/>
                <a:gd name="T9" fmla="*/ 1029 h 1046"/>
                <a:gd name="T10" fmla="*/ 1071 w 1094"/>
                <a:gd name="T11" fmla="*/ 1036 h 1046"/>
                <a:gd name="T12" fmla="*/ 1094 w 1094"/>
                <a:gd name="T13" fmla="*/ 953 h 1046"/>
                <a:gd name="T14" fmla="*/ 270 w 1094"/>
                <a:gd name="T15" fmla="*/ 542 h 1046"/>
                <a:gd name="T16" fmla="*/ 222 w 1094"/>
                <a:gd name="T17" fmla="*/ 467 h 1046"/>
                <a:gd name="T18" fmla="*/ 949 w 1094"/>
                <a:gd name="T19" fmla="*/ 236 h 1046"/>
                <a:gd name="T20" fmla="*/ 881 w 1094"/>
                <a:gd name="T21" fmla="*/ 222 h 1046"/>
                <a:gd name="T22" fmla="*/ 818 w 1094"/>
                <a:gd name="T23" fmla="*/ 185 h 1046"/>
                <a:gd name="T24" fmla="*/ 752 w 1094"/>
                <a:gd name="T25" fmla="*/ 150 h 1046"/>
                <a:gd name="T26" fmla="*/ 690 w 1094"/>
                <a:gd name="T27" fmla="*/ 128 h 1046"/>
                <a:gd name="T28" fmla="*/ 653 w 1094"/>
                <a:gd name="T29" fmla="*/ 79 h 1046"/>
                <a:gd name="T30" fmla="*/ 578 w 1094"/>
                <a:gd name="T31" fmla="*/ 32 h 1046"/>
                <a:gd name="T32" fmla="*/ 501 w 1094"/>
                <a:gd name="T33" fmla="*/ 83 h 1046"/>
                <a:gd name="T34" fmla="*/ 401 w 1094"/>
                <a:gd name="T35" fmla="*/ 188 h 1046"/>
                <a:gd name="T36" fmla="*/ 288 w 1094"/>
                <a:gd name="T37" fmla="*/ 173 h 1046"/>
                <a:gd name="T38" fmla="*/ 245 w 1094"/>
                <a:gd name="T39" fmla="*/ 185 h 1046"/>
                <a:gd name="T40" fmla="*/ 264 w 1094"/>
                <a:gd name="T41" fmla="*/ 237 h 1046"/>
                <a:gd name="T42" fmla="*/ 244 w 1094"/>
                <a:gd name="T43" fmla="*/ 274 h 1046"/>
                <a:gd name="T44" fmla="*/ 219 w 1094"/>
                <a:gd name="T45" fmla="*/ 285 h 1046"/>
                <a:gd name="T46" fmla="*/ 173 w 1094"/>
                <a:gd name="T47" fmla="*/ 287 h 1046"/>
                <a:gd name="T48" fmla="*/ 142 w 1094"/>
                <a:gd name="T49" fmla="*/ 263 h 1046"/>
                <a:gd name="T50" fmla="*/ 96 w 1094"/>
                <a:gd name="T51" fmla="*/ 277 h 1046"/>
                <a:gd name="T52" fmla="*/ 63 w 1094"/>
                <a:gd name="T53" fmla="*/ 280 h 1046"/>
                <a:gd name="T54" fmla="*/ 39 w 1094"/>
                <a:gd name="T55" fmla="*/ 314 h 1046"/>
                <a:gd name="T56" fmla="*/ 54 w 1094"/>
                <a:gd name="T57" fmla="*/ 320 h 1046"/>
                <a:gd name="T58" fmla="*/ 31 w 1094"/>
                <a:gd name="T59" fmla="*/ 345 h 1046"/>
                <a:gd name="T60" fmla="*/ 83 w 1094"/>
                <a:gd name="T61" fmla="*/ 368 h 1046"/>
                <a:gd name="T62" fmla="*/ 136 w 1094"/>
                <a:gd name="T63" fmla="*/ 379 h 1046"/>
                <a:gd name="T64" fmla="*/ 145 w 1094"/>
                <a:gd name="T65" fmla="*/ 394 h 1046"/>
                <a:gd name="T66" fmla="*/ 160 w 1094"/>
                <a:gd name="T67" fmla="*/ 391 h 1046"/>
                <a:gd name="T68" fmla="*/ 165 w 1094"/>
                <a:gd name="T69" fmla="*/ 402 h 1046"/>
                <a:gd name="T70" fmla="*/ 202 w 1094"/>
                <a:gd name="T71" fmla="*/ 416 h 1046"/>
                <a:gd name="T72" fmla="*/ 239 w 1094"/>
                <a:gd name="T73" fmla="*/ 430 h 1046"/>
                <a:gd name="T74" fmla="*/ 224 w 1094"/>
                <a:gd name="T75" fmla="*/ 474 h 1046"/>
                <a:gd name="T76" fmla="*/ 298 w 1094"/>
                <a:gd name="T77" fmla="*/ 536 h 1046"/>
                <a:gd name="T78" fmla="*/ 301 w 1094"/>
                <a:gd name="T79" fmla="*/ 581 h 1046"/>
                <a:gd name="T80" fmla="*/ 341 w 1094"/>
                <a:gd name="T81" fmla="*/ 682 h 1046"/>
                <a:gd name="T82" fmla="*/ 302 w 1094"/>
                <a:gd name="T83" fmla="*/ 707 h 1046"/>
                <a:gd name="T84" fmla="*/ 261 w 1094"/>
                <a:gd name="T85" fmla="*/ 856 h 1046"/>
                <a:gd name="T86" fmla="*/ 327 w 1094"/>
                <a:gd name="T87" fmla="*/ 895 h 1046"/>
                <a:gd name="T88" fmla="*/ 401 w 1094"/>
                <a:gd name="T89" fmla="*/ 915 h 1046"/>
                <a:gd name="T90" fmla="*/ 479 w 1094"/>
                <a:gd name="T91" fmla="*/ 912 h 1046"/>
                <a:gd name="T92" fmla="*/ 558 w 1094"/>
                <a:gd name="T93" fmla="*/ 944 h 1046"/>
                <a:gd name="T94" fmla="*/ 609 w 1094"/>
                <a:gd name="T95" fmla="*/ 924 h 1046"/>
                <a:gd name="T96" fmla="*/ 729 w 1094"/>
                <a:gd name="T97" fmla="*/ 847 h 1046"/>
                <a:gd name="T98" fmla="*/ 766 w 1094"/>
                <a:gd name="T99" fmla="*/ 833 h 1046"/>
                <a:gd name="T100" fmla="*/ 815 w 1094"/>
                <a:gd name="T101" fmla="*/ 876 h 1046"/>
                <a:gd name="T102" fmla="*/ 870 w 1094"/>
                <a:gd name="T103" fmla="*/ 864 h 1046"/>
                <a:gd name="T104" fmla="*/ 904 w 1094"/>
                <a:gd name="T105" fmla="*/ 827 h 1046"/>
                <a:gd name="T106" fmla="*/ 947 w 1094"/>
                <a:gd name="T107" fmla="*/ 782 h 1046"/>
                <a:gd name="T108" fmla="*/ 898 w 1094"/>
                <a:gd name="T109" fmla="*/ 716 h 1046"/>
                <a:gd name="T110" fmla="*/ 894 w 1094"/>
                <a:gd name="T111" fmla="*/ 659 h 1046"/>
                <a:gd name="T112" fmla="*/ 892 w 1094"/>
                <a:gd name="T113" fmla="*/ 587 h 1046"/>
                <a:gd name="T114" fmla="*/ 864 w 1094"/>
                <a:gd name="T115" fmla="*/ 522 h 1046"/>
                <a:gd name="T116" fmla="*/ 833 w 1094"/>
                <a:gd name="T117" fmla="*/ 522 h 1046"/>
                <a:gd name="T118" fmla="*/ 906 w 1094"/>
                <a:gd name="T119" fmla="*/ 427 h 1046"/>
                <a:gd name="T120" fmla="*/ 938 w 1094"/>
                <a:gd name="T121" fmla="*/ 410 h 1046"/>
                <a:gd name="T122" fmla="*/ 949 w 1094"/>
                <a:gd name="T123" fmla="*/ 356 h 1046"/>
                <a:gd name="T124" fmla="*/ 983 w 1094"/>
                <a:gd name="T125" fmla="*/ 263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4" h="1046">
                  <a:moveTo>
                    <a:pt x="1088" y="921"/>
                  </a:moveTo>
                  <a:lnTo>
                    <a:pt x="1088" y="921"/>
                  </a:lnTo>
                  <a:lnTo>
                    <a:pt x="1086" y="918"/>
                  </a:lnTo>
                  <a:lnTo>
                    <a:pt x="1088" y="921"/>
                  </a:lnTo>
                  <a:lnTo>
                    <a:pt x="1088" y="921"/>
                  </a:lnTo>
                  <a:close/>
                  <a:moveTo>
                    <a:pt x="1094" y="953"/>
                  </a:moveTo>
                  <a:lnTo>
                    <a:pt x="1092" y="952"/>
                  </a:lnTo>
                  <a:lnTo>
                    <a:pt x="1092" y="947"/>
                  </a:lnTo>
                  <a:lnTo>
                    <a:pt x="1091" y="946"/>
                  </a:lnTo>
                  <a:lnTo>
                    <a:pt x="1091" y="944"/>
                  </a:lnTo>
                  <a:lnTo>
                    <a:pt x="1092" y="943"/>
                  </a:lnTo>
                  <a:lnTo>
                    <a:pt x="1092" y="941"/>
                  </a:lnTo>
                  <a:lnTo>
                    <a:pt x="1092" y="939"/>
                  </a:lnTo>
                  <a:lnTo>
                    <a:pt x="1091" y="938"/>
                  </a:lnTo>
                  <a:lnTo>
                    <a:pt x="1091" y="935"/>
                  </a:lnTo>
                  <a:lnTo>
                    <a:pt x="1091" y="929"/>
                  </a:lnTo>
                  <a:lnTo>
                    <a:pt x="1091" y="927"/>
                  </a:lnTo>
                  <a:lnTo>
                    <a:pt x="1091" y="926"/>
                  </a:lnTo>
                  <a:lnTo>
                    <a:pt x="1088" y="921"/>
                  </a:lnTo>
                  <a:lnTo>
                    <a:pt x="1089" y="924"/>
                  </a:lnTo>
                  <a:lnTo>
                    <a:pt x="1089" y="926"/>
                  </a:lnTo>
                  <a:lnTo>
                    <a:pt x="1089" y="927"/>
                  </a:lnTo>
                  <a:lnTo>
                    <a:pt x="1088" y="926"/>
                  </a:lnTo>
                  <a:lnTo>
                    <a:pt x="1088" y="926"/>
                  </a:lnTo>
                  <a:lnTo>
                    <a:pt x="1086" y="924"/>
                  </a:lnTo>
                  <a:lnTo>
                    <a:pt x="1086" y="924"/>
                  </a:lnTo>
                  <a:lnTo>
                    <a:pt x="1086" y="923"/>
                  </a:lnTo>
                  <a:lnTo>
                    <a:pt x="1086" y="923"/>
                  </a:lnTo>
                  <a:lnTo>
                    <a:pt x="1086" y="921"/>
                  </a:lnTo>
                  <a:lnTo>
                    <a:pt x="1086" y="921"/>
                  </a:lnTo>
                  <a:lnTo>
                    <a:pt x="1086" y="921"/>
                  </a:lnTo>
                  <a:lnTo>
                    <a:pt x="1086" y="919"/>
                  </a:lnTo>
                  <a:lnTo>
                    <a:pt x="1086" y="919"/>
                  </a:lnTo>
                  <a:lnTo>
                    <a:pt x="1085" y="919"/>
                  </a:lnTo>
                  <a:lnTo>
                    <a:pt x="1085" y="919"/>
                  </a:lnTo>
                  <a:lnTo>
                    <a:pt x="1085" y="919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8"/>
                  </a:lnTo>
                  <a:lnTo>
                    <a:pt x="1085" y="915"/>
                  </a:lnTo>
                  <a:lnTo>
                    <a:pt x="1085" y="913"/>
                  </a:lnTo>
                  <a:lnTo>
                    <a:pt x="1085" y="912"/>
                  </a:lnTo>
                  <a:lnTo>
                    <a:pt x="1088" y="903"/>
                  </a:lnTo>
                  <a:lnTo>
                    <a:pt x="1088" y="899"/>
                  </a:lnTo>
                  <a:lnTo>
                    <a:pt x="1086" y="890"/>
                  </a:lnTo>
                  <a:lnTo>
                    <a:pt x="1086" y="889"/>
                  </a:lnTo>
                  <a:lnTo>
                    <a:pt x="1086" y="887"/>
                  </a:lnTo>
                  <a:lnTo>
                    <a:pt x="1086" y="886"/>
                  </a:lnTo>
                  <a:lnTo>
                    <a:pt x="1086" y="886"/>
                  </a:lnTo>
                  <a:lnTo>
                    <a:pt x="1086" y="884"/>
                  </a:lnTo>
                  <a:lnTo>
                    <a:pt x="1086" y="884"/>
                  </a:lnTo>
                  <a:lnTo>
                    <a:pt x="1085" y="883"/>
                  </a:lnTo>
                  <a:lnTo>
                    <a:pt x="1085" y="883"/>
                  </a:lnTo>
                  <a:lnTo>
                    <a:pt x="1083" y="881"/>
                  </a:lnTo>
                  <a:lnTo>
                    <a:pt x="1081" y="881"/>
                  </a:lnTo>
                  <a:lnTo>
                    <a:pt x="1078" y="881"/>
                  </a:lnTo>
                  <a:lnTo>
                    <a:pt x="1077" y="883"/>
                  </a:lnTo>
                  <a:lnTo>
                    <a:pt x="1077" y="884"/>
                  </a:lnTo>
                  <a:lnTo>
                    <a:pt x="1077" y="886"/>
                  </a:lnTo>
                  <a:lnTo>
                    <a:pt x="1078" y="887"/>
                  </a:lnTo>
                  <a:lnTo>
                    <a:pt x="1078" y="887"/>
                  </a:lnTo>
                  <a:lnTo>
                    <a:pt x="1078" y="889"/>
                  </a:lnTo>
                  <a:lnTo>
                    <a:pt x="1078" y="889"/>
                  </a:lnTo>
                  <a:lnTo>
                    <a:pt x="1078" y="889"/>
                  </a:lnTo>
                  <a:lnTo>
                    <a:pt x="1078" y="890"/>
                  </a:lnTo>
                  <a:lnTo>
                    <a:pt x="1077" y="892"/>
                  </a:lnTo>
                  <a:lnTo>
                    <a:pt x="1077" y="892"/>
                  </a:lnTo>
                  <a:lnTo>
                    <a:pt x="1075" y="893"/>
                  </a:lnTo>
                  <a:lnTo>
                    <a:pt x="1075" y="895"/>
                  </a:lnTo>
                  <a:lnTo>
                    <a:pt x="1077" y="895"/>
                  </a:lnTo>
                  <a:lnTo>
                    <a:pt x="1077" y="896"/>
                  </a:lnTo>
                  <a:lnTo>
                    <a:pt x="1074" y="899"/>
                  </a:lnTo>
                  <a:lnTo>
                    <a:pt x="1075" y="901"/>
                  </a:lnTo>
                  <a:lnTo>
                    <a:pt x="1077" y="903"/>
                  </a:lnTo>
                  <a:lnTo>
                    <a:pt x="1077" y="904"/>
                  </a:lnTo>
                  <a:lnTo>
                    <a:pt x="1077" y="906"/>
                  </a:lnTo>
                  <a:lnTo>
                    <a:pt x="1077" y="909"/>
                  </a:lnTo>
                  <a:lnTo>
                    <a:pt x="1075" y="910"/>
                  </a:lnTo>
                  <a:lnTo>
                    <a:pt x="1074" y="915"/>
                  </a:lnTo>
                  <a:lnTo>
                    <a:pt x="1072" y="915"/>
                  </a:lnTo>
                  <a:lnTo>
                    <a:pt x="1072" y="913"/>
                  </a:lnTo>
                  <a:lnTo>
                    <a:pt x="1072" y="913"/>
                  </a:lnTo>
                  <a:lnTo>
                    <a:pt x="1071" y="912"/>
                  </a:lnTo>
                  <a:lnTo>
                    <a:pt x="1071" y="912"/>
                  </a:lnTo>
                  <a:lnTo>
                    <a:pt x="1069" y="910"/>
                  </a:lnTo>
                  <a:lnTo>
                    <a:pt x="1066" y="910"/>
                  </a:lnTo>
                  <a:lnTo>
                    <a:pt x="1065" y="910"/>
                  </a:lnTo>
                  <a:lnTo>
                    <a:pt x="1065" y="909"/>
                  </a:lnTo>
                  <a:lnTo>
                    <a:pt x="1061" y="909"/>
                  </a:lnTo>
                  <a:lnTo>
                    <a:pt x="1060" y="910"/>
                  </a:lnTo>
                  <a:lnTo>
                    <a:pt x="1060" y="910"/>
                  </a:lnTo>
                  <a:lnTo>
                    <a:pt x="1055" y="915"/>
                  </a:lnTo>
                  <a:lnTo>
                    <a:pt x="1055" y="916"/>
                  </a:lnTo>
                  <a:lnTo>
                    <a:pt x="1054" y="918"/>
                  </a:lnTo>
                  <a:lnTo>
                    <a:pt x="1045" y="919"/>
                  </a:lnTo>
                  <a:lnTo>
                    <a:pt x="1040" y="923"/>
                  </a:lnTo>
                  <a:lnTo>
                    <a:pt x="1037" y="923"/>
                  </a:lnTo>
                  <a:lnTo>
                    <a:pt x="1038" y="923"/>
                  </a:lnTo>
                  <a:lnTo>
                    <a:pt x="1037" y="924"/>
                  </a:lnTo>
                  <a:lnTo>
                    <a:pt x="1037" y="926"/>
                  </a:lnTo>
                  <a:lnTo>
                    <a:pt x="1035" y="927"/>
                  </a:lnTo>
                  <a:lnTo>
                    <a:pt x="1035" y="927"/>
                  </a:lnTo>
                  <a:lnTo>
                    <a:pt x="1034" y="927"/>
                  </a:lnTo>
                  <a:lnTo>
                    <a:pt x="1034" y="926"/>
                  </a:lnTo>
                  <a:lnTo>
                    <a:pt x="1032" y="926"/>
                  </a:lnTo>
                  <a:lnTo>
                    <a:pt x="1031" y="927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6"/>
                  </a:lnTo>
                  <a:lnTo>
                    <a:pt x="1031" y="927"/>
                  </a:lnTo>
                  <a:lnTo>
                    <a:pt x="1031" y="929"/>
                  </a:lnTo>
                  <a:lnTo>
                    <a:pt x="1031" y="930"/>
                  </a:lnTo>
                  <a:lnTo>
                    <a:pt x="1029" y="930"/>
                  </a:lnTo>
                  <a:lnTo>
                    <a:pt x="1028" y="930"/>
                  </a:lnTo>
                  <a:lnTo>
                    <a:pt x="1028" y="932"/>
                  </a:lnTo>
                  <a:lnTo>
                    <a:pt x="1026" y="935"/>
                  </a:lnTo>
                  <a:lnTo>
                    <a:pt x="1026" y="935"/>
                  </a:lnTo>
                  <a:lnTo>
                    <a:pt x="1026" y="935"/>
                  </a:lnTo>
                  <a:lnTo>
                    <a:pt x="1028" y="935"/>
                  </a:lnTo>
                  <a:lnTo>
                    <a:pt x="1028" y="936"/>
                  </a:lnTo>
                  <a:lnTo>
                    <a:pt x="1028" y="936"/>
                  </a:lnTo>
                  <a:lnTo>
                    <a:pt x="1026" y="938"/>
                  </a:lnTo>
                  <a:lnTo>
                    <a:pt x="1026" y="939"/>
                  </a:lnTo>
                  <a:lnTo>
                    <a:pt x="1026" y="939"/>
                  </a:lnTo>
                  <a:lnTo>
                    <a:pt x="1026" y="941"/>
                  </a:lnTo>
                  <a:lnTo>
                    <a:pt x="1023" y="941"/>
                  </a:lnTo>
                  <a:lnTo>
                    <a:pt x="1023" y="941"/>
                  </a:lnTo>
                  <a:lnTo>
                    <a:pt x="1023" y="943"/>
                  </a:lnTo>
                  <a:lnTo>
                    <a:pt x="1023" y="943"/>
                  </a:lnTo>
                  <a:lnTo>
                    <a:pt x="1021" y="943"/>
                  </a:lnTo>
                  <a:lnTo>
                    <a:pt x="1021" y="944"/>
                  </a:lnTo>
                  <a:lnTo>
                    <a:pt x="1021" y="944"/>
                  </a:lnTo>
                  <a:lnTo>
                    <a:pt x="1021" y="944"/>
                  </a:lnTo>
                  <a:lnTo>
                    <a:pt x="1020" y="944"/>
                  </a:lnTo>
                  <a:lnTo>
                    <a:pt x="1020" y="946"/>
                  </a:lnTo>
                  <a:lnTo>
                    <a:pt x="1018" y="946"/>
                  </a:lnTo>
                  <a:lnTo>
                    <a:pt x="1018" y="944"/>
                  </a:lnTo>
                  <a:lnTo>
                    <a:pt x="1018" y="946"/>
                  </a:lnTo>
                  <a:lnTo>
                    <a:pt x="1018" y="947"/>
                  </a:lnTo>
                  <a:lnTo>
                    <a:pt x="1018" y="947"/>
                  </a:lnTo>
                  <a:lnTo>
                    <a:pt x="1018" y="949"/>
                  </a:lnTo>
                  <a:lnTo>
                    <a:pt x="1018" y="949"/>
                  </a:lnTo>
                  <a:lnTo>
                    <a:pt x="1021" y="949"/>
                  </a:lnTo>
                  <a:lnTo>
                    <a:pt x="1023" y="947"/>
                  </a:lnTo>
                  <a:lnTo>
                    <a:pt x="1024" y="949"/>
                  </a:lnTo>
                  <a:lnTo>
                    <a:pt x="1023" y="950"/>
                  </a:lnTo>
                  <a:lnTo>
                    <a:pt x="1021" y="950"/>
                  </a:lnTo>
                  <a:lnTo>
                    <a:pt x="1021" y="952"/>
                  </a:lnTo>
                  <a:lnTo>
                    <a:pt x="1023" y="952"/>
                  </a:lnTo>
                  <a:lnTo>
                    <a:pt x="1023" y="952"/>
                  </a:lnTo>
                  <a:lnTo>
                    <a:pt x="1024" y="952"/>
                  </a:lnTo>
                  <a:lnTo>
                    <a:pt x="1024" y="952"/>
                  </a:lnTo>
                  <a:lnTo>
                    <a:pt x="1024" y="952"/>
                  </a:lnTo>
                  <a:lnTo>
                    <a:pt x="1024" y="953"/>
                  </a:lnTo>
                  <a:lnTo>
                    <a:pt x="1028" y="953"/>
                  </a:lnTo>
                  <a:lnTo>
                    <a:pt x="1028" y="955"/>
                  </a:lnTo>
                  <a:lnTo>
                    <a:pt x="1029" y="955"/>
                  </a:lnTo>
                  <a:lnTo>
                    <a:pt x="1029" y="956"/>
                  </a:lnTo>
                  <a:lnTo>
                    <a:pt x="1028" y="956"/>
                  </a:lnTo>
                  <a:lnTo>
                    <a:pt x="1028" y="956"/>
                  </a:lnTo>
                  <a:lnTo>
                    <a:pt x="1028" y="956"/>
                  </a:lnTo>
                  <a:lnTo>
                    <a:pt x="1026" y="956"/>
                  </a:lnTo>
                  <a:lnTo>
                    <a:pt x="1026" y="956"/>
                  </a:lnTo>
                  <a:lnTo>
                    <a:pt x="1023" y="958"/>
                  </a:lnTo>
                  <a:lnTo>
                    <a:pt x="1021" y="958"/>
                  </a:lnTo>
                  <a:lnTo>
                    <a:pt x="1021" y="958"/>
                  </a:lnTo>
                  <a:lnTo>
                    <a:pt x="1021" y="959"/>
                  </a:lnTo>
                  <a:lnTo>
                    <a:pt x="1018" y="958"/>
                  </a:lnTo>
                  <a:lnTo>
                    <a:pt x="1018" y="959"/>
                  </a:lnTo>
                  <a:lnTo>
                    <a:pt x="1018" y="959"/>
                  </a:lnTo>
                  <a:lnTo>
                    <a:pt x="1018" y="959"/>
                  </a:lnTo>
                  <a:lnTo>
                    <a:pt x="1020" y="961"/>
                  </a:lnTo>
                  <a:lnTo>
                    <a:pt x="1020" y="961"/>
                  </a:lnTo>
                  <a:lnTo>
                    <a:pt x="1020" y="963"/>
                  </a:lnTo>
                  <a:lnTo>
                    <a:pt x="1020" y="963"/>
                  </a:lnTo>
                  <a:lnTo>
                    <a:pt x="1020" y="964"/>
                  </a:lnTo>
                  <a:lnTo>
                    <a:pt x="1020" y="964"/>
                  </a:lnTo>
                  <a:lnTo>
                    <a:pt x="1020" y="966"/>
                  </a:lnTo>
                  <a:lnTo>
                    <a:pt x="1020" y="966"/>
                  </a:lnTo>
                  <a:lnTo>
                    <a:pt x="1021" y="966"/>
                  </a:lnTo>
                  <a:lnTo>
                    <a:pt x="1021" y="967"/>
                  </a:lnTo>
                  <a:lnTo>
                    <a:pt x="1020" y="967"/>
                  </a:lnTo>
                  <a:lnTo>
                    <a:pt x="1020" y="967"/>
                  </a:lnTo>
                  <a:lnTo>
                    <a:pt x="1018" y="967"/>
                  </a:lnTo>
                  <a:lnTo>
                    <a:pt x="1020" y="967"/>
                  </a:lnTo>
                  <a:lnTo>
                    <a:pt x="1020" y="967"/>
                  </a:lnTo>
                  <a:lnTo>
                    <a:pt x="1021" y="969"/>
                  </a:lnTo>
                  <a:lnTo>
                    <a:pt x="1021" y="969"/>
                  </a:lnTo>
                  <a:lnTo>
                    <a:pt x="1021" y="969"/>
                  </a:lnTo>
                  <a:lnTo>
                    <a:pt x="1021" y="970"/>
                  </a:lnTo>
                  <a:lnTo>
                    <a:pt x="1023" y="970"/>
                  </a:lnTo>
                  <a:lnTo>
                    <a:pt x="1024" y="970"/>
                  </a:lnTo>
                  <a:lnTo>
                    <a:pt x="1026" y="970"/>
                  </a:lnTo>
                  <a:lnTo>
                    <a:pt x="1026" y="972"/>
                  </a:lnTo>
                  <a:lnTo>
                    <a:pt x="1026" y="973"/>
                  </a:lnTo>
                  <a:lnTo>
                    <a:pt x="1029" y="972"/>
                  </a:lnTo>
                  <a:lnTo>
                    <a:pt x="1029" y="972"/>
                  </a:lnTo>
                  <a:lnTo>
                    <a:pt x="1029" y="973"/>
                  </a:lnTo>
                  <a:lnTo>
                    <a:pt x="1031" y="976"/>
                  </a:lnTo>
                  <a:lnTo>
                    <a:pt x="1032" y="976"/>
                  </a:lnTo>
                  <a:lnTo>
                    <a:pt x="1032" y="978"/>
                  </a:lnTo>
                  <a:lnTo>
                    <a:pt x="1032" y="978"/>
                  </a:lnTo>
                  <a:lnTo>
                    <a:pt x="1032" y="978"/>
                  </a:lnTo>
                  <a:lnTo>
                    <a:pt x="1031" y="980"/>
                  </a:lnTo>
                  <a:lnTo>
                    <a:pt x="1029" y="980"/>
                  </a:lnTo>
                  <a:lnTo>
                    <a:pt x="1028" y="981"/>
                  </a:lnTo>
                  <a:lnTo>
                    <a:pt x="1026" y="981"/>
                  </a:lnTo>
                  <a:lnTo>
                    <a:pt x="1026" y="983"/>
                  </a:lnTo>
                  <a:lnTo>
                    <a:pt x="1028" y="984"/>
                  </a:lnTo>
                  <a:lnTo>
                    <a:pt x="1026" y="986"/>
                  </a:lnTo>
                  <a:lnTo>
                    <a:pt x="1024" y="986"/>
                  </a:lnTo>
                  <a:lnTo>
                    <a:pt x="1021" y="986"/>
                  </a:lnTo>
                  <a:lnTo>
                    <a:pt x="1023" y="989"/>
                  </a:lnTo>
                  <a:lnTo>
                    <a:pt x="1023" y="990"/>
                  </a:lnTo>
                  <a:lnTo>
                    <a:pt x="1023" y="992"/>
                  </a:lnTo>
                  <a:lnTo>
                    <a:pt x="1023" y="993"/>
                  </a:lnTo>
                  <a:lnTo>
                    <a:pt x="1024" y="992"/>
                  </a:lnTo>
                  <a:lnTo>
                    <a:pt x="1026" y="992"/>
                  </a:lnTo>
                  <a:lnTo>
                    <a:pt x="1029" y="992"/>
                  </a:lnTo>
                  <a:lnTo>
                    <a:pt x="1031" y="992"/>
                  </a:lnTo>
                  <a:lnTo>
                    <a:pt x="1032" y="990"/>
                  </a:lnTo>
                  <a:lnTo>
                    <a:pt x="1034" y="990"/>
                  </a:lnTo>
                  <a:lnTo>
                    <a:pt x="1035" y="990"/>
                  </a:lnTo>
                  <a:lnTo>
                    <a:pt x="1035" y="990"/>
                  </a:lnTo>
                  <a:lnTo>
                    <a:pt x="1035" y="990"/>
                  </a:lnTo>
                  <a:lnTo>
                    <a:pt x="1037" y="992"/>
                  </a:lnTo>
                  <a:lnTo>
                    <a:pt x="1037" y="992"/>
                  </a:lnTo>
                  <a:lnTo>
                    <a:pt x="1037" y="992"/>
                  </a:lnTo>
                  <a:lnTo>
                    <a:pt x="1037" y="993"/>
                  </a:lnTo>
                  <a:lnTo>
                    <a:pt x="1037" y="993"/>
                  </a:lnTo>
                  <a:lnTo>
                    <a:pt x="1037" y="995"/>
                  </a:lnTo>
                  <a:lnTo>
                    <a:pt x="1037" y="995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5" y="996"/>
                  </a:lnTo>
                  <a:lnTo>
                    <a:pt x="1037" y="996"/>
                  </a:lnTo>
                  <a:lnTo>
                    <a:pt x="1035" y="998"/>
                  </a:lnTo>
                  <a:lnTo>
                    <a:pt x="1034" y="998"/>
                  </a:lnTo>
                  <a:lnTo>
                    <a:pt x="1034" y="998"/>
                  </a:lnTo>
                  <a:lnTo>
                    <a:pt x="1035" y="1000"/>
                  </a:lnTo>
                  <a:lnTo>
                    <a:pt x="1035" y="1000"/>
                  </a:lnTo>
                  <a:lnTo>
                    <a:pt x="1035" y="1001"/>
                  </a:lnTo>
                  <a:lnTo>
                    <a:pt x="1034" y="1003"/>
                  </a:lnTo>
                  <a:lnTo>
                    <a:pt x="1032" y="1003"/>
                  </a:lnTo>
                  <a:lnTo>
                    <a:pt x="1031" y="1003"/>
                  </a:lnTo>
                  <a:lnTo>
                    <a:pt x="1031" y="1003"/>
                  </a:lnTo>
                  <a:lnTo>
                    <a:pt x="1031" y="1004"/>
                  </a:lnTo>
                  <a:lnTo>
                    <a:pt x="1031" y="1004"/>
                  </a:lnTo>
                  <a:lnTo>
                    <a:pt x="1031" y="1006"/>
                  </a:lnTo>
                  <a:lnTo>
                    <a:pt x="1031" y="1007"/>
                  </a:lnTo>
                  <a:lnTo>
                    <a:pt x="1029" y="1007"/>
                  </a:lnTo>
                  <a:lnTo>
                    <a:pt x="1028" y="1007"/>
                  </a:lnTo>
                  <a:lnTo>
                    <a:pt x="1026" y="1009"/>
                  </a:lnTo>
                  <a:lnTo>
                    <a:pt x="1028" y="1009"/>
                  </a:lnTo>
                  <a:lnTo>
                    <a:pt x="1028" y="1009"/>
                  </a:lnTo>
                  <a:lnTo>
                    <a:pt x="1029" y="1009"/>
                  </a:lnTo>
                  <a:lnTo>
                    <a:pt x="1029" y="1009"/>
                  </a:lnTo>
                  <a:lnTo>
                    <a:pt x="1029" y="1010"/>
                  </a:lnTo>
                  <a:lnTo>
                    <a:pt x="1029" y="1010"/>
                  </a:lnTo>
                  <a:lnTo>
                    <a:pt x="1031" y="1010"/>
                  </a:lnTo>
                  <a:lnTo>
                    <a:pt x="1034" y="1009"/>
                  </a:lnTo>
                  <a:lnTo>
                    <a:pt x="1035" y="1009"/>
                  </a:lnTo>
                  <a:lnTo>
                    <a:pt x="1035" y="1010"/>
                  </a:lnTo>
                  <a:lnTo>
                    <a:pt x="1035" y="1012"/>
                  </a:lnTo>
                  <a:lnTo>
                    <a:pt x="1038" y="1012"/>
                  </a:lnTo>
                  <a:lnTo>
                    <a:pt x="1040" y="1012"/>
                  </a:lnTo>
                  <a:lnTo>
                    <a:pt x="1045" y="1013"/>
                  </a:lnTo>
                  <a:lnTo>
                    <a:pt x="1046" y="1013"/>
                  </a:lnTo>
                  <a:lnTo>
                    <a:pt x="1045" y="1015"/>
                  </a:lnTo>
                  <a:lnTo>
                    <a:pt x="1045" y="1015"/>
                  </a:lnTo>
                  <a:lnTo>
                    <a:pt x="1043" y="1016"/>
                  </a:lnTo>
                  <a:lnTo>
                    <a:pt x="1043" y="1016"/>
                  </a:lnTo>
                  <a:lnTo>
                    <a:pt x="1041" y="1018"/>
                  </a:lnTo>
                  <a:lnTo>
                    <a:pt x="1038" y="1020"/>
                  </a:lnTo>
                  <a:lnTo>
                    <a:pt x="1037" y="1020"/>
                  </a:lnTo>
                  <a:lnTo>
                    <a:pt x="1037" y="1021"/>
                  </a:lnTo>
                  <a:lnTo>
                    <a:pt x="1035" y="1023"/>
                  </a:lnTo>
                  <a:lnTo>
                    <a:pt x="1035" y="1024"/>
                  </a:lnTo>
                  <a:lnTo>
                    <a:pt x="1037" y="1024"/>
                  </a:lnTo>
                  <a:lnTo>
                    <a:pt x="1037" y="1024"/>
                  </a:lnTo>
                  <a:lnTo>
                    <a:pt x="1037" y="1027"/>
                  </a:lnTo>
                  <a:lnTo>
                    <a:pt x="1037" y="1027"/>
                  </a:lnTo>
                  <a:lnTo>
                    <a:pt x="1037" y="1027"/>
                  </a:lnTo>
                  <a:lnTo>
                    <a:pt x="1038" y="1027"/>
                  </a:lnTo>
                  <a:lnTo>
                    <a:pt x="1040" y="1027"/>
                  </a:lnTo>
                  <a:lnTo>
                    <a:pt x="1040" y="1029"/>
                  </a:lnTo>
                  <a:lnTo>
                    <a:pt x="1041" y="1029"/>
                  </a:lnTo>
                  <a:lnTo>
                    <a:pt x="1041" y="1029"/>
                  </a:lnTo>
                  <a:lnTo>
                    <a:pt x="1040" y="1030"/>
                  </a:lnTo>
                  <a:lnTo>
                    <a:pt x="1040" y="1030"/>
                  </a:lnTo>
                  <a:lnTo>
                    <a:pt x="1041" y="1030"/>
                  </a:lnTo>
                  <a:lnTo>
                    <a:pt x="1041" y="1030"/>
                  </a:lnTo>
                  <a:lnTo>
                    <a:pt x="1043" y="1030"/>
                  </a:lnTo>
                  <a:lnTo>
                    <a:pt x="1043" y="1030"/>
                  </a:lnTo>
                  <a:lnTo>
                    <a:pt x="1043" y="1032"/>
                  </a:lnTo>
                  <a:lnTo>
                    <a:pt x="1043" y="1032"/>
                  </a:lnTo>
                  <a:lnTo>
                    <a:pt x="1045" y="1032"/>
                  </a:lnTo>
                  <a:lnTo>
                    <a:pt x="1046" y="1033"/>
                  </a:lnTo>
                  <a:lnTo>
                    <a:pt x="1046" y="1033"/>
                  </a:lnTo>
                  <a:lnTo>
                    <a:pt x="1048" y="1033"/>
                  </a:lnTo>
                  <a:lnTo>
                    <a:pt x="1048" y="1033"/>
                  </a:lnTo>
                  <a:lnTo>
                    <a:pt x="1049" y="1033"/>
                  </a:lnTo>
                  <a:lnTo>
                    <a:pt x="1052" y="1035"/>
                  </a:lnTo>
                  <a:lnTo>
                    <a:pt x="1052" y="1035"/>
                  </a:lnTo>
                  <a:lnTo>
                    <a:pt x="1054" y="1036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5" y="1035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4" y="1035"/>
                  </a:lnTo>
                  <a:lnTo>
                    <a:pt x="1054" y="1036"/>
                  </a:lnTo>
                  <a:lnTo>
                    <a:pt x="1055" y="1036"/>
                  </a:lnTo>
                  <a:lnTo>
                    <a:pt x="1057" y="1035"/>
                  </a:lnTo>
                  <a:lnTo>
                    <a:pt x="1058" y="1035"/>
                  </a:lnTo>
                  <a:lnTo>
                    <a:pt x="1058" y="1035"/>
                  </a:lnTo>
                  <a:lnTo>
                    <a:pt x="1057" y="1036"/>
                  </a:lnTo>
                  <a:lnTo>
                    <a:pt x="1058" y="1038"/>
                  </a:lnTo>
                  <a:lnTo>
                    <a:pt x="1060" y="1038"/>
                  </a:lnTo>
                  <a:lnTo>
                    <a:pt x="1061" y="1040"/>
                  </a:lnTo>
                  <a:lnTo>
                    <a:pt x="1060" y="1040"/>
                  </a:lnTo>
                  <a:lnTo>
                    <a:pt x="1060" y="1040"/>
                  </a:lnTo>
                  <a:lnTo>
                    <a:pt x="1058" y="1043"/>
                  </a:lnTo>
                  <a:lnTo>
                    <a:pt x="1061" y="1043"/>
                  </a:lnTo>
                  <a:lnTo>
                    <a:pt x="1063" y="1044"/>
                  </a:lnTo>
                  <a:lnTo>
                    <a:pt x="1065" y="1044"/>
                  </a:lnTo>
                  <a:lnTo>
                    <a:pt x="1066" y="1046"/>
                  </a:lnTo>
                  <a:lnTo>
                    <a:pt x="1068" y="1046"/>
                  </a:lnTo>
                  <a:lnTo>
                    <a:pt x="1068" y="1046"/>
                  </a:lnTo>
                  <a:lnTo>
                    <a:pt x="1069" y="1044"/>
                  </a:lnTo>
                  <a:lnTo>
                    <a:pt x="1069" y="1043"/>
                  </a:lnTo>
                  <a:lnTo>
                    <a:pt x="1071" y="1041"/>
                  </a:lnTo>
                  <a:lnTo>
                    <a:pt x="1071" y="1040"/>
                  </a:lnTo>
                  <a:lnTo>
                    <a:pt x="1069" y="1041"/>
                  </a:lnTo>
                  <a:lnTo>
                    <a:pt x="1068" y="1041"/>
                  </a:lnTo>
                  <a:lnTo>
                    <a:pt x="1068" y="1043"/>
                  </a:lnTo>
                  <a:lnTo>
                    <a:pt x="1068" y="1041"/>
                  </a:lnTo>
                  <a:lnTo>
                    <a:pt x="1068" y="1041"/>
                  </a:lnTo>
                  <a:lnTo>
                    <a:pt x="1068" y="1040"/>
                  </a:lnTo>
                  <a:lnTo>
                    <a:pt x="1068" y="1040"/>
                  </a:lnTo>
                  <a:lnTo>
                    <a:pt x="1068" y="1038"/>
                  </a:lnTo>
                  <a:lnTo>
                    <a:pt x="1068" y="1038"/>
                  </a:lnTo>
                  <a:lnTo>
                    <a:pt x="1069" y="1038"/>
                  </a:lnTo>
                  <a:lnTo>
                    <a:pt x="1071" y="1036"/>
                  </a:lnTo>
                  <a:lnTo>
                    <a:pt x="1072" y="1036"/>
                  </a:lnTo>
                  <a:lnTo>
                    <a:pt x="1071" y="1035"/>
                  </a:lnTo>
                  <a:lnTo>
                    <a:pt x="1072" y="1035"/>
                  </a:lnTo>
                  <a:lnTo>
                    <a:pt x="1072" y="1033"/>
                  </a:lnTo>
                  <a:lnTo>
                    <a:pt x="1072" y="1033"/>
                  </a:lnTo>
                  <a:lnTo>
                    <a:pt x="1071" y="1032"/>
                  </a:lnTo>
                  <a:lnTo>
                    <a:pt x="1072" y="1032"/>
                  </a:lnTo>
                  <a:lnTo>
                    <a:pt x="1072" y="1032"/>
                  </a:lnTo>
                  <a:lnTo>
                    <a:pt x="1072" y="1030"/>
                  </a:lnTo>
                  <a:lnTo>
                    <a:pt x="1071" y="1030"/>
                  </a:lnTo>
                  <a:lnTo>
                    <a:pt x="1072" y="1029"/>
                  </a:lnTo>
                  <a:lnTo>
                    <a:pt x="1074" y="1029"/>
                  </a:lnTo>
                  <a:lnTo>
                    <a:pt x="1074" y="1027"/>
                  </a:lnTo>
                  <a:lnTo>
                    <a:pt x="1075" y="1027"/>
                  </a:lnTo>
                  <a:lnTo>
                    <a:pt x="1075" y="1027"/>
                  </a:lnTo>
                  <a:lnTo>
                    <a:pt x="1077" y="1026"/>
                  </a:lnTo>
                  <a:lnTo>
                    <a:pt x="1078" y="1024"/>
                  </a:lnTo>
                  <a:lnTo>
                    <a:pt x="1078" y="1023"/>
                  </a:lnTo>
                  <a:lnTo>
                    <a:pt x="1077" y="1023"/>
                  </a:lnTo>
                  <a:lnTo>
                    <a:pt x="1075" y="1023"/>
                  </a:lnTo>
                  <a:lnTo>
                    <a:pt x="1074" y="1024"/>
                  </a:lnTo>
                  <a:lnTo>
                    <a:pt x="1072" y="1023"/>
                  </a:lnTo>
                  <a:lnTo>
                    <a:pt x="1072" y="1023"/>
                  </a:lnTo>
                  <a:lnTo>
                    <a:pt x="1074" y="1021"/>
                  </a:lnTo>
                  <a:lnTo>
                    <a:pt x="1074" y="1020"/>
                  </a:lnTo>
                  <a:lnTo>
                    <a:pt x="1074" y="1020"/>
                  </a:lnTo>
                  <a:lnTo>
                    <a:pt x="1075" y="1020"/>
                  </a:lnTo>
                  <a:lnTo>
                    <a:pt x="1077" y="1021"/>
                  </a:lnTo>
                  <a:lnTo>
                    <a:pt x="1077" y="1021"/>
                  </a:lnTo>
                  <a:lnTo>
                    <a:pt x="1077" y="1020"/>
                  </a:lnTo>
                  <a:lnTo>
                    <a:pt x="1077" y="1020"/>
                  </a:lnTo>
                  <a:lnTo>
                    <a:pt x="1078" y="1020"/>
                  </a:lnTo>
                  <a:lnTo>
                    <a:pt x="1078" y="1020"/>
                  </a:lnTo>
                  <a:lnTo>
                    <a:pt x="1080" y="1018"/>
                  </a:lnTo>
                  <a:lnTo>
                    <a:pt x="1080" y="1018"/>
                  </a:lnTo>
                  <a:lnTo>
                    <a:pt x="1080" y="1015"/>
                  </a:lnTo>
                  <a:lnTo>
                    <a:pt x="1078" y="1015"/>
                  </a:lnTo>
                  <a:lnTo>
                    <a:pt x="1080" y="1015"/>
                  </a:lnTo>
                  <a:lnTo>
                    <a:pt x="1080" y="1013"/>
                  </a:lnTo>
                  <a:lnTo>
                    <a:pt x="1081" y="1013"/>
                  </a:lnTo>
                  <a:lnTo>
                    <a:pt x="1081" y="1013"/>
                  </a:lnTo>
                  <a:lnTo>
                    <a:pt x="1081" y="1012"/>
                  </a:lnTo>
                  <a:lnTo>
                    <a:pt x="1081" y="1006"/>
                  </a:lnTo>
                  <a:lnTo>
                    <a:pt x="1081" y="998"/>
                  </a:lnTo>
                  <a:lnTo>
                    <a:pt x="1081" y="992"/>
                  </a:lnTo>
                  <a:lnTo>
                    <a:pt x="1081" y="987"/>
                  </a:lnTo>
                  <a:lnTo>
                    <a:pt x="1081" y="987"/>
                  </a:lnTo>
                  <a:lnTo>
                    <a:pt x="1083" y="986"/>
                  </a:lnTo>
                  <a:lnTo>
                    <a:pt x="1088" y="978"/>
                  </a:lnTo>
                  <a:lnTo>
                    <a:pt x="1089" y="976"/>
                  </a:lnTo>
                  <a:lnTo>
                    <a:pt x="1091" y="975"/>
                  </a:lnTo>
                  <a:lnTo>
                    <a:pt x="1092" y="973"/>
                  </a:lnTo>
                  <a:lnTo>
                    <a:pt x="1092" y="972"/>
                  </a:lnTo>
                  <a:lnTo>
                    <a:pt x="1092" y="972"/>
                  </a:lnTo>
                  <a:lnTo>
                    <a:pt x="1094" y="969"/>
                  </a:lnTo>
                  <a:lnTo>
                    <a:pt x="1094" y="969"/>
                  </a:lnTo>
                  <a:lnTo>
                    <a:pt x="1092" y="966"/>
                  </a:lnTo>
                  <a:lnTo>
                    <a:pt x="1094" y="953"/>
                  </a:lnTo>
                  <a:close/>
                  <a:moveTo>
                    <a:pt x="846" y="879"/>
                  </a:moveTo>
                  <a:lnTo>
                    <a:pt x="846" y="881"/>
                  </a:lnTo>
                  <a:lnTo>
                    <a:pt x="846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4" y="881"/>
                  </a:lnTo>
                  <a:lnTo>
                    <a:pt x="843" y="881"/>
                  </a:lnTo>
                  <a:lnTo>
                    <a:pt x="841" y="881"/>
                  </a:lnTo>
                  <a:lnTo>
                    <a:pt x="841" y="883"/>
                  </a:lnTo>
                  <a:lnTo>
                    <a:pt x="841" y="883"/>
                  </a:lnTo>
                  <a:lnTo>
                    <a:pt x="843" y="884"/>
                  </a:lnTo>
                  <a:lnTo>
                    <a:pt x="843" y="884"/>
                  </a:lnTo>
                  <a:lnTo>
                    <a:pt x="844" y="884"/>
                  </a:lnTo>
                  <a:lnTo>
                    <a:pt x="846" y="883"/>
                  </a:lnTo>
                  <a:lnTo>
                    <a:pt x="847" y="883"/>
                  </a:lnTo>
                  <a:lnTo>
                    <a:pt x="847" y="881"/>
                  </a:lnTo>
                  <a:lnTo>
                    <a:pt x="846" y="879"/>
                  </a:lnTo>
                  <a:close/>
                  <a:moveTo>
                    <a:pt x="290" y="571"/>
                  </a:moveTo>
                  <a:lnTo>
                    <a:pt x="288" y="570"/>
                  </a:lnTo>
                  <a:lnTo>
                    <a:pt x="288" y="570"/>
                  </a:lnTo>
                  <a:lnTo>
                    <a:pt x="287" y="571"/>
                  </a:lnTo>
                  <a:lnTo>
                    <a:pt x="285" y="570"/>
                  </a:lnTo>
                  <a:lnTo>
                    <a:pt x="284" y="568"/>
                  </a:lnTo>
                  <a:lnTo>
                    <a:pt x="282" y="567"/>
                  </a:lnTo>
                  <a:lnTo>
                    <a:pt x="279" y="565"/>
                  </a:lnTo>
                  <a:lnTo>
                    <a:pt x="277" y="565"/>
                  </a:lnTo>
                  <a:lnTo>
                    <a:pt x="279" y="568"/>
                  </a:lnTo>
                  <a:lnTo>
                    <a:pt x="279" y="571"/>
                  </a:lnTo>
                  <a:lnTo>
                    <a:pt x="279" y="571"/>
                  </a:lnTo>
                  <a:lnTo>
                    <a:pt x="279" y="573"/>
                  </a:lnTo>
                  <a:lnTo>
                    <a:pt x="281" y="575"/>
                  </a:lnTo>
                  <a:lnTo>
                    <a:pt x="282" y="578"/>
                  </a:lnTo>
                  <a:lnTo>
                    <a:pt x="284" y="578"/>
                  </a:lnTo>
                  <a:lnTo>
                    <a:pt x="288" y="584"/>
                  </a:lnTo>
                  <a:lnTo>
                    <a:pt x="288" y="584"/>
                  </a:lnTo>
                  <a:lnTo>
                    <a:pt x="290" y="585"/>
                  </a:lnTo>
                  <a:lnTo>
                    <a:pt x="290" y="590"/>
                  </a:lnTo>
                  <a:lnTo>
                    <a:pt x="291" y="590"/>
                  </a:lnTo>
                  <a:lnTo>
                    <a:pt x="293" y="588"/>
                  </a:lnTo>
                  <a:lnTo>
                    <a:pt x="293" y="585"/>
                  </a:lnTo>
                  <a:lnTo>
                    <a:pt x="294" y="581"/>
                  </a:lnTo>
                  <a:lnTo>
                    <a:pt x="294" y="581"/>
                  </a:lnTo>
                  <a:lnTo>
                    <a:pt x="293" y="579"/>
                  </a:lnTo>
                  <a:lnTo>
                    <a:pt x="291" y="578"/>
                  </a:lnTo>
                  <a:lnTo>
                    <a:pt x="290" y="578"/>
                  </a:lnTo>
                  <a:lnTo>
                    <a:pt x="291" y="576"/>
                  </a:lnTo>
                  <a:lnTo>
                    <a:pt x="291" y="576"/>
                  </a:lnTo>
                  <a:lnTo>
                    <a:pt x="290" y="575"/>
                  </a:lnTo>
                  <a:lnTo>
                    <a:pt x="290" y="575"/>
                  </a:lnTo>
                  <a:lnTo>
                    <a:pt x="290" y="573"/>
                  </a:lnTo>
                  <a:lnTo>
                    <a:pt x="290" y="571"/>
                  </a:lnTo>
                  <a:close/>
                  <a:moveTo>
                    <a:pt x="271" y="545"/>
                  </a:moveTo>
                  <a:lnTo>
                    <a:pt x="273" y="544"/>
                  </a:lnTo>
                  <a:lnTo>
                    <a:pt x="273" y="544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0" y="542"/>
                  </a:lnTo>
                  <a:lnTo>
                    <a:pt x="265" y="544"/>
                  </a:lnTo>
                  <a:lnTo>
                    <a:pt x="265" y="544"/>
                  </a:lnTo>
                  <a:lnTo>
                    <a:pt x="267" y="545"/>
                  </a:lnTo>
                  <a:lnTo>
                    <a:pt x="270" y="548"/>
                  </a:lnTo>
                  <a:lnTo>
                    <a:pt x="271" y="548"/>
                  </a:lnTo>
                  <a:lnTo>
                    <a:pt x="274" y="548"/>
                  </a:lnTo>
                  <a:lnTo>
                    <a:pt x="282" y="553"/>
                  </a:lnTo>
                  <a:lnTo>
                    <a:pt x="285" y="553"/>
                  </a:lnTo>
                  <a:lnTo>
                    <a:pt x="285" y="553"/>
                  </a:lnTo>
                  <a:lnTo>
                    <a:pt x="287" y="553"/>
                  </a:lnTo>
                  <a:lnTo>
                    <a:pt x="287" y="553"/>
                  </a:lnTo>
                  <a:lnTo>
                    <a:pt x="288" y="553"/>
                  </a:lnTo>
                  <a:lnTo>
                    <a:pt x="288" y="553"/>
                  </a:lnTo>
                  <a:lnTo>
                    <a:pt x="287" y="551"/>
                  </a:lnTo>
                  <a:lnTo>
                    <a:pt x="287" y="550"/>
                  </a:lnTo>
                  <a:lnTo>
                    <a:pt x="284" y="548"/>
                  </a:lnTo>
                  <a:lnTo>
                    <a:pt x="277" y="547"/>
                  </a:lnTo>
                  <a:lnTo>
                    <a:pt x="276" y="547"/>
                  </a:lnTo>
                  <a:lnTo>
                    <a:pt x="276" y="545"/>
                  </a:lnTo>
                  <a:lnTo>
                    <a:pt x="276" y="545"/>
                  </a:lnTo>
                  <a:lnTo>
                    <a:pt x="276" y="545"/>
                  </a:lnTo>
                  <a:lnTo>
                    <a:pt x="274" y="545"/>
                  </a:lnTo>
                  <a:lnTo>
                    <a:pt x="273" y="547"/>
                  </a:lnTo>
                  <a:lnTo>
                    <a:pt x="271" y="547"/>
                  </a:lnTo>
                  <a:lnTo>
                    <a:pt x="270" y="544"/>
                  </a:lnTo>
                  <a:lnTo>
                    <a:pt x="270" y="544"/>
                  </a:lnTo>
                  <a:lnTo>
                    <a:pt x="271" y="545"/>
                  </a:lnTo>
                  <a:close/>
                  <a:moveTo>
                    <a:pt x="211" y="493"/>
                  </a:moveTo>
                  <a:lnTo>
                    <a:pt x="208" y="491"/>
                  </a:lnTo>
                  <a:lnTo>
                    <a:pt x="207" y="491"/>
                  </a:lnTo>
                  <a:lnTo>
                    <a:pt x="205" y="491"/>
                  </a:lnTo>
                  <a:lnTo>
                    <a:pt x="204" y="493"/>
                  </a:lnTo>
                  <a:lnTo>
                    <a:pt x="205" y="494"/>
                  </a:lnTo>
                  <a:lnTo>
                    <a:pt x="211" y="494"/>
                  </a:lnTo>
                  <a:lnTo>
                    <a:pt x="213" y="496"/>
                  </a:lnTo>
                  <a:lnTo>
                    <a:pt x="211" y="494"/>
                  </a:lnTo>
                  <a:lnTo>
                    <a:pt x="211" y="493"/>
                  </a:lnTo>
                  <a:close/>
                  <a:moveTo>
                    <a:pt x="222" y="467"/>
                  </a:moveTo>
                  <a:lnTo>
                    <a:pt x="221" y="467"/>
                  </a:lnTo>
                  <a:lnTo>
                    <a:pt x="219" y="465"/>
                  </a:lnTo>
                  <a:lnTo>
                    <a:pt x="217" y="464"/>
                  </a:lnTo>
                  <a:lnTo>
                    <a:pt x="217" y="462"/>
                  </a:lnTo>
                  <a:lnTo>
                    <a:pt x="217" y="461"/>
                  </a:lnTo>
                  <a:lnTo>
                    <a:pt x="217" y="461"/>
                  </a:lnTo>
                  <a:lnTo>
                    <a:pt x="216" y="459"/>
                  </a:lnTo>
                  <a:lnTo>
                    <a:pt x="214" y="459"/>
                  </a:lnTo>
                  <a:lnTo>
                    <a:pt x="211" y="459"/>
                  </a:lnTo>
                  <a:lnTo>
                    <a:pt x="211" y="461"/>
                  </a:lnTo>
                  <a:lnTo>
                    <a:pt x="213" y="465"/>
                  </a:lnTo>
                  <a:lnTo>
                    <a:pt x="214" y="467"/>
                  </a:lnTo>
                  <a:lnTo>
                    <a:pt x="216" y="465"/>
                  </a:lnTo>
                  <a:lnTo>
                    <a:pt x="219" y="467"/>
                  </a:lnTo>
                  <a:lnTo>
                    <a:pt x="221" y="470"/>
                  </a:lnTo>
                  <a:lnTo>
                    <a:pt x="221" y="471"/>
                  </a:lnTo>
                  <a:lnTo>
                    <a:pt x="222" y="473"/>
                  </a:lnTo>
                  <a:lnTo>
                    <a:pt x="222" y="471"/>
                  </a:lnTo>
                  <a:lnTo>
                    <a:pt x="222" y="468"/>
                  </a:lnTo>
                  <a:lnTo>
                    <a:pt x="222" y="467"/>
                  </a:lnTo>
                  <a:close/>
                  <a:moveTo>
                    <a:pt x="151" y="427"/>
                  </a:moveTo>
                  <a:lnTo>
                    <a:pt x="150" y="427"/>
                  </a:lnTo>
                  <a:lnTo>
                    <a:pt x="147" y="424"/>
                  </a:lnTo>
                  <a:lnTo>
                    <a:pt x="147" y="424"/>
                  </a:lnTo>
                  <a:lnTo>
                    <a:pt x="145" y="422"/>
                  </a:lnTo>
                  <a:lnTo>
                    <a:pt x="142" y="421"/>
                  </a:lnTo>
                  <a:lnTo>
                    <a:pt x="140" y="421"/>
                  </a:lnTo>
                  <a:lnTo>
                    <a:pt x="140" y="419"/>
                  </a:lnTo>
                  <a:lnTo>
                    <a:pt x="140" y="419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39" y="422"/>
                  </a:lnTo>
                  <a:lnTo>
                    <a:pt x="140" y="424"/>
                  </a:lnTo>
                  <a:lnTo>
                    <a:pt x="140" y="425"/>
                  </a:lnTo>
                  <a:lnTo>
                    <a:pt x="140" y="428"/>
                  </a:lnTo>
                  <a:lnTo>
                    <a:pt x="142" y="428"/>
                  </a:lnTo>
                  <a:lnTo>
                    <a:pt x="145" y="430"/>
                  </a:lnTo>
                  <a:lnTo>
                    <a:pt x="151" y="430"/>
                  </a:lnTo>
                  <a:lnTo>
                    <a:pt x="153" y="430"/>
                  </a:lnTo>
                  <a:lnTo>
                    <a:pt x="154" y="428"/>
                  </a:lnTo>
                  <a:lnTo>
                    <a:pt x="153" y="427"/>
                  </a:lnTo>
                  <a:lnTo>
                    <a:pt x="151" y="427"/>
                  </a:lnTo>
                  <a:close/>
                  <a:moveTo>
                    <a:pt x="6" y="300"/>
                  </a:moveTo>
                  <a:lnTo>
                    <a:pt x="6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2" y="299"/>
                  </a:lnTo>
                  <a:lnTo>
                    <a:pt x="0" y="300"/>
                  </a:lnTo>
                  <a:lnTo>
                    <a:pt x="0" y="302"/>
                  </a:lnTo>
                  <a:lnTo>
                    <a:pt x="2" y="300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4"/>
                  </a:lnTo>
                  <a:lnTo>
                    <a:pt x="3" y="304"/>
                  </a:lnTo>
                  <a:lnTo>
                    <a:pt x="6" y="300"/>
                  </a:lnTo>
                  <a:lnTo>
                    <a:pt x="6" y="300"/>
                  </a:lnTo>
                  <a:lnTo>
                    <a:pt x="6" y="300"/>
                  </a:lnTo>
                  <a:lnTo>
                    <a:pt x="6" y="300"/>
                  </a:lnTo>
                  <a:close/>
                  <a:moveTo>
                    <a:pt x="984" y="243"/>
                  </a:moveTo>
                  <a:lnTo>
                    <a:pt x="972" y="237"/>
                  </a:lnTo>
                  <a:lnTo>
                    <a:pt x="971" y="237"/>
                  </a:lnTo>
                  <a:lnTo>
                    <a:pt x="966" y="237"/>
                  </a:lnTo>
                  <a:lnTo>
                    <a:pt x="960" y="236"/>
                  </a:lnTo>
                  <a:lnTo>
                    <a:pt x="960" y="236"/>
                  </a:lnTo>
                  <a:lnTo>
                    <a:pt x="958" y="236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5" y="236"/>
                  </a:lnTo>
                  <a:lnTo>
                    <a:pt x="954" y="236"/>
                  </a:lnTo>
                  <a:lnTo>
                    <a:pt x="952" y="236"/>
                  </a:lnTo>
                  <a:lnTo>
                    <a:pt x="952" y="236"/>
                  </a:lnTo>
                  <a:lnTo>
                    <a:pt x="951" y="237"/>
                  </a:lnTo>
                  <a:lnTo>
                    <a:pt x="951" y="237"/>
                  </a:lnTo>
                  <a:lnTo>
                    <a:pt x="951" y="236"/>
                  </a:lnTo>
                  <a:lnTo>
                    <a:pt x="949" y="236"/>
                  </a:lnTo>
                  <a:lnTo>
                    <a:pt x="949" y="234"/>
                  </a:lnTo>
                  <a:lnTo>
                    <a:pt x="947" y="234"/>
                  </a:lnTo>
                  <a:lnTo>
                    <a:pt x="946" y="233"/>
                  </a:lnTo>
                  <a:lnTo>
                    <a:pt x="943" y="233"/>
                  </a:lnTo>
                  <a:lnTo>
                    <a:pt x="941" y="231"/>
                  </a:lnTo>
                  <a:lnTo>
                    <a:pt x="941" y="230"/>
                  </a:lnTo>
                  <a:lnTo>
                    <a:pt x="938" y="228"/>
                  </a:lnTo>
                  <a:lnTo>
                    <a:pt x="938" y="227"/>
                  </a:lnTo>
                  <a:lnTo>
                    <a:pt x="938" y="227"/>
                  </a:lnTo>
                  <a:lnTo>
                    <a:pt x="938" y="225"/>
                  </a:lnTo>
                  <a:lnTo>
                    <a:pt x="938" y="225"/>
                  </a:lnTo>
                  <a:lnTo>
                    <a:pt x="938" y="223"/>
                  </a:lnTo>
                  <a:lnTo>
                    <a:pt x="937" y="223"/>
                  </a:lnTo>
                  <a:lnTo>
                    <a:pt x="934" y="223"/>
                  </a:lnTo>
                  <a:lnTo>
                    <a:pt x="934" y="222"/>
                  </a:lnTo>
                  <a:lnTo>
                    <a:pt x="932" y="222"/>
                  </a:lnTo>
                  <a:lnTo>
                    <a:pt x="931" y="222"/>
                  </a:lnTo>
                  <a:lnTo>
                    <a:pt x="931" y="222"/>
                  </a:lnTo>
                  <a:lnTo>
                    <a:pt x="929" y="223"/>
                  </a:lnTo>
                  <a:lnTo>
                    <a:pt x="929" y="223"/>
                  </a:lnTo>
                  <a:lnTo>
                    <a:pt x="927" y="225"/>
                  </a:lnTo>
                  <a:lnTo>
                    <a:pt x="927" y="225"/>
                  </a:lnTo>
                  <a:lnTo>
                    <a:pt x="927" y="227"/>
                  </a:lnTo>
                  <a:lnTo>
                    <a:pt x="926" y="227"/>
                  </a:lnTo>
                  <a:lnTo>
                    <a:pt x="924" y="227"/>
                  </a:lnTo>
                  <a:lnTo>
                    <a:pt x="924" y="227"/>
                  </a:lnTo>
                  <a:lnTo>
                    <a:pt x="924" y="228"/>
                  </a:lnTo>
                  <a:lnTo>
                    <a:pt x="923" y="230"/>
                  </a:lnTo>
                  <a:lnTo>
                    <a:pt x="923" y="228"/>
                  </a:lnTo>
                  <a:lnTo>
                    <a:pt x="921" y="228"/>
                  </a:lnTo>
                  <a:lnTo>
                    <a:pt x="914" y="228"/>
                  </a:lnTo>
                  <a:lnTo>
                    <a:pt x="914" y="228"/>
                  </a:lnTo>
                  <a:lnTo>
                    <a:pt x="912" y="227"/>
                  </a:lnTo>
                  <a:lnTo>
                    <a:pt x="909" y="225"/>
                  </a:lnTo>
                  <a:lnTo>
                    <a:pt x="909" y="225"/>
                  </a:lnTo>
                  <a:lnTo>
                    <a:pt x="907" y="225"/>
                  </a:lnTo>
                  <a:lnTo>
                    <a:pt x="907" y="227"/>
                  </a:lnTo>
                  <a:lnTo>
                    <a:pt x="909" y="227"/>
                  </a:lnTo>
                  <a:lnTo>
                    <a:pt x="909" y="227"/>
                  </a:lnTo>
                  <a:lnTo>
                    <a:pt x="906" y="228"/>
                  </a:lnTo>
                  <a:lnTo>
                    <a:pt x="904" y="228"/>
                  </a:lnTo>
                  <a:lnTo>
                    <a:pt x="903" y="223"/>
                  </a:lnTo>
                  <a:lnTo>
                    <a:pt x="903" y="220"/>
                  </a:lnTo>
                  <a:lnTo>
                    <a:pt x="901" y="220"/>
                  </a:lnTo>
                  <a:lnTo>
                    <a:pt x="897" y="217"/>
                  </a:lnTo>
                  <a:lnTo>
                    <a:pt x="897" y="217"/>
                  </a:lnTo>
                  <a:lnTo>
                    <a:pt x="894" y="217"/>
                  </a:lnTo>
                  <a:lnTo>
                    <a:pt x="890" y="217"/>
                  </a:lnTo>
                  <a:lnTo>
                    <a:pt x="890" y="217"/>
                  </a:lnTo>
                  <a:lnTo>
                    <a:pt x="890" y="219"/>
                  </a:lnTo>
                  <a:lnTo>
                    <a:pt x="890" y="220"/>
                  </a:lnTo>
                  <a:lnTo>
                    <a:pt x="890" y="222"/>
                  </a:lnTo>
                  <a:lnTo>
                    <a:pt x="889" y="223"/>
                  </a:lnTo>
                  <a:lnTo>
                    <a:pt x="889" y="225"/>
                  </a:lnTo>
                  <a:lnTo>
                    <a:pt x="886" y="223"/>
                  </a:lnTo>
                  <a:lnTo>
                    <a:pt x="883" y="223"/>
                  </a:lnTo>
                  <a:lnTo>
                    <a:pt x="881" y="223"/>
                  </a:lnTo>
                  <a:lnTo>
                    <a:pt x="881" y="222"/>
                  </a:lnTo>
                  <a:lnTo>
                    <a:pt x="881" y="220"/>
                  </a:lnTo>
                  <a:lnTo>
                    <a:pt x="881" y="219"/>
                  </a:lnTo>
                  <a:lnTo>
                    <a:pt x="881" y="217"/>
                  </a:lnTo>
                  <a:lnTo>
                    <a:pt x="880" y="217"/>
                  </a:lnTo>
                  <a:lnTo>
                    <a:pt x="880" y="217"/>
                  </a:lnTo>
                  <a:lnTo>
                    <a:pt x="880" y="217"/>
                  </a:lnTo>
                  <a:lnTo>
                    <a:pt x="878" y="217"/>
                  </a:lnTo>
                  <a:lnTo>
                    <a:pt x="878" y="216"/>
                  </a:lnTo>
                  <a:lnTo>
                    <a:pt x="878" y="216"/>
                  </a:lnTo>
                  <a:lnTo>
                    <a:pt x="878" y="216"/>
                  </a:lnTo>
                  <a:lnTo>
                    <a:pt x="878" y="213"/>
                  </a:lnTo>
                  <a:lnTo>
                    <a:pt x="878" y="213"/>
                  </a:lnTo>
                  <a:lnTo>
                    <a:pt x="877" y="213"/>
                  </a:lnTo>
                  <a:lnTo>
                    <a:pt x="877" y="213"/>
                  </a:lnTo>
                  <a:lnTo>
                    <a:pt x="877" y="211"/>
                  </a:lnTo>
                  <a:lnTo>
                    <a:pt x="877" y="211"/>
                  </a:lnTo>
                  <a:lnTo>
                    <a:pt x="877" y="210"/>
                  </a:lnTo>
                  <a:lnTo>
                    <a:pt x="870" y="205"/>
                  </a:lnTo>
                  <a:lnTo>
                    <a:pt x="870" y="203"/>
                  </a:lnTo>
                  <a:lnTo>
                    <a:pt x="869" y="202"/>
                  </a:lnTo>
                  <a:lnTo>
                    <a:pt x="869" y="202"/>
                  </a:lnTo>
                  <a:lnTo>
                    <a:pt x="870" y="202"/>
                  </a:lnTo>
                  <a:lnTo>
                    <a:pt x="872" y="200"/>
                  </a:lnTo>
                  <a:lnTo>
                    <a:pt x="870" y="200"/>
                  </a:lnTo>
                  <a:lnTo>
                    <a:pt x="867" y="196"/>
                  </a:lnTo>
                  <a:lnTo>
                    <a:pt x="867" y="196"/>
                  </a:lnTo>
                  <a:lnTo>
                    <a:pt x="867" y="196"/>
                  </a:lnTo>
                  <a:lnTo>
                    <a:pt x="867" y="194"/>
                  </a:lnTo>
                  <a:lnTo>
                    <a:pt x="867" y="194"/>
                  </a:lnTo>
                  <a:lnTo>
                    <a:pt x="866" y="193"/>
                  </a:lnTo>
                  <a:lnTo>
                    <a:pt x="866" y="191"/>
                  </a:lnTo>
                  <a:lnTo>
                    <a:pt x="858" y="188"/>
                  </a:lnTo>
                  <a:lnTo>
                    <a:pt x="858" y="188"/>
                  </a:lnTo>
                  <a:lnTo>
                    <a:pt x="857" y="188"/>
                  </a:lnTo>
                  <a:lnTo>
                    <a:pt x="855" y="190"/>
                  </a:lnTo>
                  <a:lnTo>
                    <a:pt x="855" y="190"/>
                  </a:lnTo>
                  <a:lnTo>
                    <a:pt x="854" y="190"/>
                  </a:lnTo>
                  <a:lnTo>
                    <a:pt x="852" y="190"/>
                  </a:lnTo>
                  <a:lnTo>
                    <a:pt x="850" y="188"/>
                  </a:lnTo>
                  <a:lnTo>
                    <a:pt x="847" y="185"/>
                  </a:lnTo>
                  <a:lnTo>
                    <a:pt x="847" y="185"/>
                  </a:lnTo>
                  <a:lnTo>
                    <a:pt x="844" y="185"/>
                  </a:lnTo>
                  <a:lnTo>
                    <a:pt x="843" y="183"/>
                  </a:lnTo>
                  <a:lnTo>
                    <a:pt x="838" y="185"/>
                  </a:lnTo>
                  <a:lnTo>
                    <a:pt x="840" y="185"/>
                  </a:lnTo>
                  <a:lnTo>
                    <a:pt x="837" y="185"/>
                  </a:lnTo>
                  <a:lnTo>
                    <a:pt x="837" y="186"/>
                  </a:lnTo>
                  <a:lnTo>
                    <a:pt x="837" y="186"/>
                  </a:lnTo>
                  <a:lnTo>
                    <a:pt x="837" y="188"/>
                  </a:lnTo>
                  <a:lnTo>
                    <a:pt x="835" y="188"/>
                  </a:lnTo>
                  <a:lnTo>
                    <a:pt x="835" y="188"/>
                  </a:lnTo>
                  <a:lnTo>
                    <a:pt x="833" y="190"/>
                  </a:lnTo>
                  <a:lnTo>
                    <a:pt x="833" y="190"/>
                  </a:lnTo>
                  <a:lnTo>
                    <a:pt x="827" y="190"/>
                  </a:lnTo>
                  <a:lnTo>
                    <a:pt x="826" y="191"/>
                  </a:lnTo>
                  <a:lnTo>
                    <a:pt x="824" y="188"/>
                  </a:lnTo>
                  <a:lnTo>
                    <a:pt x="823" y="186"/>
                  </a:lnTo>
                  <a:lnTo>
                    <a:pt x="818" y="185"/>
                  </a:lnTo>
                  <a:lnTo>
                    <a:pt x="817" y="183"/>
                  </a:lnTo>
                  <a:lnTo>
                    <a:pt x="815" y="183"/>
                  </a:lnTo>
                  <a:lnTo>
                    <a:pt x="813" y="180"/>
                  </a:lnTo>
                  <a:lnTo>
                    <a:pt x="812" y="179"/>
                  </a:lnTo>
                  <a:lnTo>
                    <a:pt x="810" y="179"/>
                  </a:lnTo>
                  <a:lnTo>
                    <a:pt x="809" y="179"/>
                  </a:lnTo>
                  <a:lnTo>
                    <a:pt x="809" y="179"/>
                  </a:lnTo>
                  <a:lnTo>
                    <a:pt x="807" y="180"/>
                  </a:lnTo>
                  <a:lnTo>
                    <a:pt x="807" y="180"/>
                  </a:lnTo>
                  <a:lnTo>
                    <a:pt x="806" y="180"/>
                  </a:lnTo>
                  <a:lnTo>
                    <a:pt x="804" y="179"/>
                  </a:lnTo>
                  <a:lnTo>
                    <a:pt x="801" y="179"/>
                  </a:lnTo>
                  <a:lnTo>
                    <a:pt x="800" y="180"/>
                  </a:lnTo>
                  <a:lnTo>
                    <a:pt x="800" y="180"/>
                  </a:lnTo>
                  <a:lnTo>
                    <a:pt x="800" y="182"/>
                  </a:lnTo>
                  <a:lnTo>
                    <a:pt x="798" y="182"/>
                  </a:lnTo>
                  <a:lnTo>
                    <a:pt x="798" y="182"/>
                  </a:lnTo>
                  <a:lnTo>
                    <a:pt x="797" y="182"/>
                  </a:lnTo>
                  <a:lnTo>
                    <a:pt x="795" y="182"/>
                  </a:lnTo>
                  <a:lnTo>
                    <a:pt x="793" y="182"/>
                  </a:lnTo>
                  <a:lnTo>
                    <a:pt x="792" y="183"/>
                  </a:lnTo>
                  <a:lnTo>
                    <a:pt x="789" y="185"/>
                  </a:lnTo>
                  <a:lnTo>
                    <a:pt x="787" y="183"/>
                  </a:lnTo>
                  <a:lnTo>
                    <a:pt x="787" y="183"/>
                  </a:lnTo>
                  <a:lnTo>
                    <a:pt x="787" y="182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79"/>
                  </a:lnTo>
                  <a:lnTo>
                    <a:pt x="784" y="173"/>
                  </a:lnTo>
                  <a:lnTo>
                    <a:pt x="783" y="171"/>
                  </a:lnTo>
                  <a:lnTo>
                    <a:pt x="783" y="171"/>
                  </a:lnTo>
                  <a:lnTo>
                    <a:pt x="780" y="170"/>
                  </a:lnTo>
                  <a:lnTo>
                    <a:pt x="780" y="170"/>
                  </a:lnTo>
                  <a:lnTo>
                    <a:pt x="778" y="170"/>
                  </a:lnTo>
                  <a:lnTo>
                    <a:pt x="778" y="170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7" y="171"/>
                  </a:lnTo>
                  <a:lnTo>
                    <a:pt x="775" y="171"/>
                  </a:lnTo>
                  <a:lnTo>
                    <a:pt x="775" y="170"/>
                  </a:lnTo>
                  <a:lnTo>
                    <a:pt x="775" y="168"/>
                  </a:lnTo>
                  <a:lnTo>
                    <a:pt x="777" y="168"/>
                  </a:lnTo>
                  <a:lnTo>
                    <a:pt x="777" y="166"/>
                  </a:lnTo>
                  <a:lnTo>
                    <a:pt x="777" y="165"/>
                  </a:lnTo>
                  <a:lnTo>
                    <a:pt x="775" y="163"/>
                  </a:lnTo>
                  <a:lnTo>
                    <a:pt x="773" y="162"/>
                  </a:lnTo>
                  <a:lnTo>
                    <a:pt x="772" y="162"/>
                  </a:lnTo>
                  <a:lnTo>
                    <a:pt x="769" y="163"/>
                  </a:lnTo>
                  <a:lnTo>
                    <a:pt x="766" y="162"/>
                  </a:lnTo>
                  <a:lnTo>
                    <a:pt x="766" y="162"/>
                  </a:lnTo>
                  <a:lnTo>
                    <a:pt x="764" y="160"/>
                  </a:lnTo>
                  <a:lnTo>
                    <a:pt x="761" y="156"/>
                  </a:lnTo>
                  <a:lnTo>
                    <a:pt x="760" y="156"/>
                  </a:lnTo>
                  <a:lnTo>
                    <a:pt x="758" y="154"/>
                  </a:lnTo>
                  <a:lnTo>
                    <a:pt x="756" y="153"/>
                  </a:lnTo>
                  <a:lnTo>
                    <a:pt x="753" y="151"/>
                  </a:lnTo>
                  <a:lnTo>
                    <a:pt x="752" y="150"/>
                  </a:lnTo>
                  <a:lnTo>
                    <a:pt x="752" y="150"/>
                  </a:lnTo>
                  <a:lnTo>
                    <a:pt x="750" y="150"/>
                  </a:lnTo>
                  <a:lnTo>
                    <a:pt x="747" y="151"/>
                  </a:lnTo>
                  <a:lnTo>
                    <a:pt x="746" y="151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3" y="146"/>
                  </a:lnTo>
                  <a:lnTo>
                    <a:pt x="743" y="145"/>
                  </a:lnTo>
                  <a:lnTo>
                    <a:pt x="741" y="143"/>
                  </a:lnTo>
                  <a:lnTo>
                    <a:pt x="741" y="143"/>
                  </a:lnTo>
                  <a:lnTo>
                    <a:pt x="741" y="143"/>
                  </a:lnTo>
                  <a:lnTo>
                    <a:pt x="743" y="142"/>
                  </a:lnTo>
                  <a:lnTo>
                    <a:pt x="743" y="142"/>
                  </a:lnTo>
                  <a:lnTo>
                    <a:pt x="743" y="140"/>
                  </a:lnTo>
                  <a:lnTo>
                    <a:pt x="744" y="139"/>
                  </a:lnTo>
                  <a:lnTo>
                    <a:pt x="744" y="139"/>
                  </a:lnTo>
                  <a:lnTo>
                    <a:pt x="744" y="137"/>
                  </a:lnTo>
                  <a:lnTo>
                    <a:pt x="743" y="134"/>
                  </a:lnTo>
                  <a:lnTo>
                    <a:pt x="738" y="133"/>
                  </a:lnTo>
                  <a:lnTo>
                    <a:pt x="738" y="131"/>
                  </a:lnTo>
                  <a:lnTo>
                    <a:pt x="738" y="129"/>
                  </a:lnTo>
                  <a:lnTo>
                    <a:pt x="741" y="122"/>
                  </a:lnTo>
                  <a:lnTo>
                    <a:pt x="741" y="122"/>
                  </a:lnTo>
                  <a:lnTo>
                    <a:pt x="741" y="120"/>
                  </a:lnTo>
                  <a:lnTo>
                    <a:pt x="741" y="119"/>
                  </a:lnTo>
                  <a:lnTo>
                    <a:pt x="743" y="116"/>
                  </a:lnTo>
                  <a:lnTo>
                    <a:pt x="743" y="116"/>
                  </a:lnTo>
                  <a:lnTo>
                    <a:pt x="744" y="117"/>
                  </a:lnTo>
                  <a:lnTo>
                    <a:pt x="744" y="114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09"/>
                  </a:lnTo>
                  <a:lnTo>
                    <a:pt x="741" y="109"/>
                  </a:lnTo>
                  <a:lnTo>
                    <a:pt x="741" y="109"/>
                  </a:lnTo>
                  <a:lnTo>
                    <a:pt x="740" y="108"/>
                  </a:lnTo>
                  <a:lnTo>
                    <a:pt x="738" y="109"/>
                  </a:lnTo>
                  <a:lnTo>
                    <a:pt x="730" y="117"/>
                  </a:lnTo>
                  <a:lnTo>
                    <a:pt x="730" y="117"/>
                  </a:lnTo>
                  <a:lnTo>
                    <a:pt x="730" y="119"/>
                  </a:lnTo>
                  <a:lnTo>
                    <a:pt x="730" y="120"/>
                  </a:lnTo>
                  <a:lnTo>
                    <a:pt x="730" y="120"/>
                  </a:lnTo>
                  <a:lnTo>
                    <a:pt x="730" y="120"/>
                  </a:lnTo>
                  <a:lnTo>
                    <a:pt x="729" y="125"/>
                  </a:lnTo>
                  <a:lnTo>
                    <a:pt x="729" y="126"/>
                  </a:lnTo>
                  <a:lnTo>
                    <a:pt x="729" y="128"/>
                  </a:lnTo>
                  <a:lnTo>
                    <a:pt x="727" y="128"/>
                  </a:lnTo>
                  <a:lnTo>
                    <a:pt x="724" y="129"/>
                  </a:lnTo>
                  <a:lnTo>
                    <a:pt x="713" y="134"/>
                  </a:lnTo>
                  <a:lnTo>
                    <a:pt x="712" y="134"/>
                  </a:lnTo>
                  <a:lnTo>
                    <a:pt x="712" y="134"/>
                  </a:lnTo>
                  <a:lnTo>
                    <a:pt x="699" y="131"/>
                  </a:lnTo>
                  <a:lnTo>
                    <a:pt x="695" y="131"/>
                  </a:lnTo>
                  <a:lnTo>
                    <a:pt x="695" y="133"/>
                  </a:lnTo>
                  <a:lnTo>
                    <a:pt x="693" y="131"/>
                  </a:lnTo>
                  <a:lnTo>
                    <a:pt x="689" y="129"/>
                  </a:lnTo>
                  <a:lnTo>
                    <a:pt x="689" y="129"/>
                  </a:lnTo>
                  <a:lnTo>
                    <a:pt x="690" y="129"/>
                  </a:lnTo>
                  <a:lnTo>
                    <a:pt x="690" y="128"/>
                  </a:lnTo>
                  <a:lnTo>
                    <a:pt x="689" y="126"/>
                  </a:lnTo>
                  <a:lnTo>
                    <a:pt x="689" y="126"/>
                  </a:lnTo>
                  <a:lnTo>
                    <a:pt x="689" y="125"/>
                  </a:lnTo>
                  <a:lnTo>
                    <a:pt x="690" y="123"/>
                  </a:lnTo>
                  <a:lnTo>
                    <a:pt x="690" y="123"/>
                  </a:lnTo>
                  <a:lnTo>
                    <a:pt x="692" y="122"/>
                  </a:lnTo>
                  <a:lnTo>
                    <a:pt x="693" y="120"/>
                  </a:lnTo>
                  <a:lnTo>
                    <a:pt x="695" y="120"/>
                  </a:lnTo>
                  <a:lnTo>
                    <a:pt x="695" y="119"/>
                  </a:lnTo>
                  <a:lnTo>
                    <a:pt x="695" y="117"/>
                  </a:lnTo>
                  <a:lnTo>
                    <a:pt x="693" y="117"/>
                  </a:lnTo>
                  <a:lnTo>
                    <a:pt x="693" y="111"/>
                  </a:lnTo>
                  <a:lnTo>
                    <a:pt x="692" y="111"/>
                  </a:lnTo>
                  <a:lnTo>
                    <a:pt x="692" y="111"/>
                  </a:lnTo>
                  <a:lnTo>
                    <a:pt x="690" y="113"/>
                  </a:lnTo>
                  <a:lnTo>
                    <a:pt x="689" y="111"/>
                  </a:lnTo>
                  <a:lnTo>
                    <a:pt x="689" y="109"/>
                  </a:lnTo>
                  <a:lnTo>
                    <a:pt x="690" y="105"/>
                  </a:lnTo>
                  <a:lnTo>
                    <a:pt x="690" y="103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3" y="99"/>
                  </a:lnTo>
                  <a:lnTo>
                    <a:pt x="695" y="99"/>
                  </a:lnTo>
                  <a:lnTo>
                    <a:pt x="695" y="97"/>
                  </a:lnTo>
                  <a:lnTo>
                    <a:pt x="695" y="97"/>
                  </a:lnTo>
                  <a:lnTo>
                    <a:pt x="693" y="96"/>
                  </a:lnTo>
                  <a:lnTo>
                    <a:pt x="692" y="96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90" y="96"/>
                  </a:lnTo>
                  <a:lnTo>
                    <a:pt x="690" y="97"/>
                  </a:lnTo>
                  <a:lnTo>
                    <a:pt x="690" y="97"/>
                  </a:lnTo>
                  <a:lnTo>
                    <a:pt x="689" y="97"/>
                  </a:lnTo>
                  <a:lnTo>
                    <a:pt x="687" y="93"/>
                  </a:lnTo>
                  <a:lnTo>
                    <a:pt x="686" y="91"/>
                  </a:lnTo>
                  <a:lnTo>
                    <a:pt x="684" y="89"/>
                  </a:lnTo>
                  <a:lnTo>
                    <a:pt x="681" y="88"/>
                  </a:lnTo>
                  <a:lnTo>
                    <a:pt x="679" y="86"/>
                  </a:lnTo>
                  <a:lnTo>
                    <a:pt x="678" y="86"/>
                  </a:lnTo>
                  <a:lnTo>
                    <a:pt x="673" y="89"/>
                  </a:lnTo>
                  <a:lnTo>
                    <a:pt x="672" y="89"/>
                  </a:lnTo>
                  <a:lnTo>
                    <a:pt x="670" y="88"/>
                  </a:lnTo>
                  <a:lnTo>
                    <a:pt x="669" y="88"/>
                  </a:lnTo>
                  <a:lnTo>
                    <a:pt x="667" y="86"/>
                  </a:lnTo>
                  <a:lnTo>
                    <a:pt x="664" y="86"/>
                  </a:lnTo>
                  <a:lnTo>
                    <a:pt x="661" y="86"/>
                  </a:lnTo>
                  <a:lnTo>
                    <a:pt x="659" y="86"/>
                  </a:lnTo>
                  <a:lnTo>
                    <a:pt x="659" y="88"/>
                  </a:lnTo>
                  <a:lnTo>
                    <a:pt x="658" y="89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8" y="91"/>
                  </a:lnTo>
                  <a:lnTo>
                    <a:pt x="656" y="91"/>
                  </a:lnTo>
                  <a:lnTo>
                    <a:pt x="656" y="93"/>
                  </a:lnTo>
                  <a:lnTo>
                    <a:pt x="655" y="89"/>
                  </a:lnTo>
                  <a:lnTo>
                    <a:pt x="653" y="85"/>
                  </a:lnTo>
                  <a:lnTo>
                    <a:pt x="653" y="79"/>
                  </a:lnTo>
                  <a:lnTo>
                    <a:pt x="653" y="74"/>
                  </a:lnTo>
                  <a:lnTo>
                    <a:pt x="652" y="73"/>
                  </a:lnTo>
                  <a:lnTo>
                    <a:pt x="650" y="71"/>
                  </a:lnTo>
                  <a:lnTo>
                    <a:pt x="649" y="71"/>
                  </a:lnTo>
                  <a:lnTo>
                    <a:pt x="647" y="69"/>
                  </a:lnTo>
                  <a:lnTo>
                    <a:pt x="643" y="69"/>
                  </a:lnTo>
                  <a:lnTo>
                    <a:pt x="641" y="69"/>
                  </a:lnTo>
                  <a:lnTo>
                    <a:pt x="643" y="68"/>
                  </a:lnTo>
                  <a:lnTo>
                    <a:pt x="643" y="66"/>
                  </a:lnTo>
                  <a:lnTo>
                    <a:pt x="641" y="66"/>
                  </a:lnTo>
                  <a:lnTo>
                    <a:pt x="641" y="66"/>
                  </a:lnTo>
                  <a:lnTo>
                    <a:pt x="639" y="66"/>
                  </a:lnTo>
                  <a:lnTo>
                    <a:pt x="639" y="66"/>
                  </a:lnTo>
                  <a:lnTo>
                    <a:pt x="638" y="68"/>
                  </a:lnTo>
                  <a:lnTo>
                    <a:pt x="636" y="68"/>
                  </a:lnTo>
                  <a:lnTo>
                    <a:pt x="633" y="69"/>
                  </a:lnTo>
                  <a:lnTo>
                    <a:pt x="632" y="69"/>
                  </a:lnTo>
                  <a:lnTo>
                    <a:pt x="630" y="69"/>
                  </a:lnTo>
                  <a:lnTo>
                    <a:pt x="627" y="68"/>
                  </a:lnTo>
                  <a:lnTo>
                    <a:pt x="626" y="66"/>
                  </a:lnTo>
                  <a:lnTo>
                    <a:pt x="626" y="65"/>
                  </a:lnTo>
                  <a:lnTo>
                    <a:pt x="624" y="63"/>
                  </a:lnTo>
                  <a:lnTo>
                    <a:pt x="624" y="60"/>
                  </a:lnTo>
                  <a:lnTo>
                    <a:pt x="622" y="54"/>
                  </a:lnTo>
                  <a:lnTo>
                    <a:pt x="622" y="51"/>
                  </a:lnTo>
                  <a:lnTo>
                    <a:pt x="622" y="48"/>
                  </a:lnTo>
                  <a:lnTo>
                    <a:pt x="622" y="45"/>
                  </a:lnTo>
                  <a:lnTo>
                    <a:pt x="621" y="45"/>
                  </a:lnTo>
                  <a:lnTo>
                    <a:pt x="621" y="45"/>
                  </a:lnTo>
                  <a:lnTo>
                    <a:pt x="619" y="43"/>
                  </a:lnTo>
                  <a:lnTo>
                    <a:pt x="619" y="43"/>
                  </a:lnTo>
                  <a:lnTo>
                    <a:pt x="618" y="42"/>
                  </a:lnTo>
                  <a:lnTo>
                    <a:pt x="616" y="39"/>
                  </a:lnTo>
                  <a:lnTo>
                    <a:pt x="616" y="39"/>
                  </a:lnTo>
                  <a:lnTo>
                    <a:pt x="616" y="37"/>
                  </a:lnTo>
                  <a:lnTo>
                    <a:pt x="615" y="36"/>
                  </a:lnTo>
                  <a:lnTo>
                    <a:pt x="613" y="36"/>
                  </a:lnTo>
                  <a:lnTo>
                    <a:pt x="607" y="37"/>
                  </a:lnTo>
                  <a:lnTo>
                    <a:pt x="602" y="39"/>
                  </a:lnTo>
                  <a:lnTo>
                    <a:pt x="601" y="39"/>
                  </a:lnTo>
                  <a:lnTo>
                    <a:pt x="599" y="40"/>
                  </a:lnTo>
                  <a:lnTo>
                    <a:pt x="598" y="45"/>
                  </a:lnTo>
                  <a:lnTo>
                    <a:pt x="596" y="45"/>
                  </a:lnTo>
                  <a:lnTo>
                    <a:pt x="595" y="45"/>
                  </a:lnTo>
                  <a:lnTo>
                    <a:pt x="595" y="45"/>
                  </a:lnTo>
                  <a:lnTo>
                    <a:pt x="589" y="42"/>
                  </a:lnTo>
                  <a:lnTo>
                    <a:pt x="587" y="42"/>
                  </a:lnTo>
                  <a:lnTo>
                    <a:pt x="587" y="40"/>
                  </a:lnTo>
                  <a:lnTo>
                    <a:pt x="587" y="39"/>
                  </a:lnTo>
                  <a:lnTo>
                    <a:pt x="586" y="37"/>
                  </a:lnTo>
                  <a:lnTo>
                    <a:pt x="582" y="34"/>
                  </a:lnTo>
                  <a:lnTo>
                    <a:pt x="582" y="34"/>
                  </a:lnTo>
                  <a:lnTo>
                    <a:pt x="582" y="32"/>
                  </a:lnTo>
                  <a:lnTo>
                    <a:pt x="582" y="32"/>
                  </a:lnTo>
                  <a:lnTo>
                    <a:pt x="581" y="32"/>
                  </a:lnTo>
                  <a:lnTo>
                    <a:pt x="581" y="31"/>
                  </a:lnTo>
                  <a:lnTo>
                    <a:pt x="579" y="32"/>
                  </a:lnTo>
                  <a:lnTo>
                    <a:pt x="578" y="32"/>
                  </a:lnTo>
                  <a:lnTo>
                    <a:pt x="578" y="31"/>
                  </a:lnTo>
                  <a:lnTo>
                    <a:pt x="576" y="31"/>
                  </a:lnTo>
                  <a:lnTo>
                    <a:pt x="576" y="31"/>
                  </a:lnTo>
                  <a:lnTo>
                    <a:pt x="576" y="29"/>
                  </a:lnTo>
                  <a:lnTo>
                    <a:pt x="575" y="29"/>
                  </a:lnTo>
                  <a:lnTo>
                    <a:pt x="575" y="28"/>
                  </a:lnTo>
                  <a:lnTo>
                    <a:pt x="575" y="28"/>
                  </a:lnTo>
                  <a:lnTo>
                    <a:pt x="575" y="28"/>
                  </a:lnTo>
                  <a:lnTo>
                    <a:pt x="575" y="26"/>
                  </a:lnTo>
                  <a:lnTo>
                    <a:pt x="575" y="25"/>
                  </a:lnTo>
                  <a:lnTo>
                    <a:pt x="573" y="20"/>
                  </a:lnTo>
                  <a:lnTo>
                    <a:pt x="573" y="19"/>
                  </a:lnTo>
                  <a:lnTo>
                    <a:pt x="576" y="17"/>
                  </a:lnTo>
                  <a:lnTo>
                    <a:pt x="576" y="17"/>
                  </a:lnTo>
                  <a:lnTo>
                    <a:pt x="576" y="14"/>
                  </a:lnTo>
                  <a:lnTo>
                    <a:pt x="575" y="12"/>
                  </a:lnTo>
                  <a:lnTo>
                    <a:pt x="572" y="9"/>
                  </a:lnTo>
                  <a:lnTo>
                    <a:pt x="572" y="8"/>
                  </a:lnTo>
                  <a:lnTo>
                    <a:pt x="570" y="2"/>
                  </a:lnTo>
                  <a:lnTo>
                    <a:pt x="570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6" y="2"/>
                  </a:lnTo>
                  <a:lnTo>
                    <a:pt x="559" y="3"/>
                  </a:lnTo>
                  <a:lnTo>
                    <a:pt x="555" y="3"/>
                  </a:lnTo>
                  <a:lnTo>
                    <a:pt x="555" y="3"/>
                  </a:lnTo>
                  <a:lnTo>
                    <a:pt x="553" y="3"/>
                  </a:lnTo>
                  <a:lnTo>
                    <a:pt x="541" y="8"/>
                  </a:lnTo>
                  <a:lnTo>
                    <a:pt x="529" y="9"/>
                  </a:lnTo>
                  <a:lnTo>
                    <a:pt x="525" y="11"/>
                  </a:lnTo>
                  <a:lnTo>
                    <a:pt x="524" y="9"/>
                  </a:lnTo>
                  <a:lnTo>
                    <a:pt x="510" y="17"/>
                  </a:lnTo>
                  <a:lnTo>
                    <a:pt x="509" y="19"/>
                  </a:lnTo>
                  <a:lnTo>
                    <a:pt x="505" y="22"/>
                  </a:lnTo>
                  <a:lnTo>
                    <a:pt x="505" y="23"/>
                  </a:lnTo>
                  <a:lnTo>
                    <a:pt x="504" y="23"/>
                  </a:lnTo>
                  <a:lnTo>
                    <a:pt x="502" y="23"/>
                  </a:lnTo>
                  <a:lnTo>
                    <a:pt x="501" y="23"/>
                  </a:lnTo>
                  <a:lnTo>
                    <a:pt x="499" y="25"/>
                  </a:lnTo>
                  <a:lnTo>
                    <a:pt x="499" y="26"/>
                  </a:lnTo>
                  <a:lnTo>
                    <a:pt x="499" y="28"/>
                  </a:lnTo>
                  <a:lnTo>
                    <a:pt x="501" y="32"/>
                  </a:lnTo>
                  <a:lnTo>
                    <a:pt x="501" y="34"/>
                  </a:lnTo>
                  <a:lnTo>
                    <a:pt x="501" y="37"/>
                  </a:lnTo>
                  <a:lnTo>
                    <a:pt x="499" y="39"/>
                  </a:lnTo>
                  <a:lnTo>
                    <a:pt x="498" y="43"/>
                  </a:lnTo>
                  <a:lnTo>
                    <a:pt x="498" y="45"/>
                  </a:lnTo>
                  <a:lnTo>
                    <a:pt x="498" y="48"/>
                  </a:lnTo>
                  <a:lnTo>
                    <a:pt x="499" y="53"/>
                  </a:lnTo>
                  <a:lnTo>
                    <a:pt x="499" y="59"/>
                  </a:lnTo>
                  <a:lnTo>
                    <a:pt x="499" y="60"/>
                  </a:lnTo>
                  <a:lnTo>
                    <a:pt x="501" y="63"/>
                  </a:lnTo>
                  <a:lnTo>
                    <a:pt x="499" y="65"/>
                  </a:lnTo>
                  <a:lnTo>
                    <a:pt x="499" y="69"/>
                  </a:lnTo>
                  <a:lnTo>
                    <a:pt x="499" y="74"/>
                  </a:lnTo>
                  <a:lnTo>
                    <a:pt x="498" y="79"/>
                  </a:lnTo>
                  <a:lnTo>
                    <a:pt x="498" y="80"/>
                  </a:lnTo>
                  <a:lnTo>
                    <a:pt x="501" y="83"/>
                  </a:lnTo>
                  <a:lnTo>
                    <a:pt x="501" y="83"/>
                  </a:lnTo>
                  <a:lnTo>
                    <a:pt x="501" y="83"/>
                  </a:lnTo>
                  <a:lnTo>
                    <a:pt x="499" y="83"/>
                  </a:lnTo>
                  <a:lnTo>
                    <a:pt x="498" y="86"/>
                  </a:lnTo>
                  <a:lnTo>
                    <a:pt x="496" y="91"/>
                  </a:lnTo>
                  <a:lnTo>
                    <a:pt x="496" y="94"/>
                  </a:lnTo>
                  <a:lnTo>
                    <a:pt x="498" y="96"/>
                  </a:lnTo>
                  <a:lnTo>
                    <a:pt x="501" y="97"/>
                  </a:lnTo>
                  <a:lnTo>
                    <a:pt x="501" y="99"/>
                  </a:lnTo>
                  <a:lnTo>
                    <a:pt x="501" y="100"/>
                  </a:lnTo>
                  <a:lnTo>
                    <a:pt x="502" y="100"/>
                  </a:lnTo>
                  <a:lnTo>
                    <a:pt x="504" y="100"/>
                  </a:lnTo>
                  <a:lnTo>
                    <a:pt x="505" y="102"/>
                  </a:lnTo>
                  <a:lnTo>
                    <a:pt x="505" y="102"/>
                  </a:lnTo>
                  <a:lnTo>
                    <a:pt x="504" y="102"/>
                  </a:lnTo>
                  <a:lnTo>
                    <a:pt x="504" y="103"/>
                  </a:lnTo>
                  <a:lnTo>
                    <a:pt x="505" y="103"/>
                  </a:lnTo>
                  <a:lnTo>
                    <a:pt x="505" y="103"/>
                  </a:lnTo>
                  <a:lnTo>
                    <a:pt x="505" y="103"/>
                  </a:lnTo>
                  <a:lnTo>
                    <a:pt x="505" y="105"/>
                  </a:lnTo>
                  <a:lnTo>
                    <a:pt x="505" y="105"/>
                  </a:lnTo>
                  <a:lnTo>
                    <a:pt x="505" y="105"/>
                  </a:lnTo>
                  <a:lnTo>
                    <a:pt x="498" y="102"/>
                  </a:lnTo>
                  <a:lnTo>
                    <a:pt x="495" y="102"/>
                  </a:lnTo>
                  <a:lnTo>
                    <a:pt x="492" y="105"/>
                  </a:lnTo>
                  <a:lnTo>
                    <a:pt x="490" y="111"/>
                  </a:lnTo>
                  <a:lnTo>
                    <a:pt x="490" y="113"/>
                  </a:lnTo>
                  <a:lnTo>
                    <a:pt x="488" y="113"/>
                  </a:lnTo>
                  <a:lnTo>
                    <a:pt x="485" y="117"/>
                  </a:lnTo>
                  <a:lnTo>
                    <a:pt x="476" y="125"/>
                  </a:lnTo>
                  <a:lnTo>
                    <a:pt x="473" y="129"/>
                  </a:lnTo>
                  <a:lnTo>
                    <a:pt x="470" y="129"/>
                  </a:lnTo>
                  <a:lnTo>
                    <a:pt x="468" y="131"/>
                  </a:lnTo>
                  <a:lnTo>
                    <a:pt x="438" y="140"/>
                  </a:lnTo>
                  <a:lnTo>
                    <a:pt x="432" y="140"/>
                  </a:lnTo>
                  <a:lnTo>
                    <a:pt x="425" y="143"/>
                  </a:lnTo>
                  <a:lnTo>
                    <a:pt x="424" y="145"/>
                  </a:lnTo>
                  <a:lnTo>
                    <a:pt x="421" y="146"/>
                  </a:lnTo>
                  <a:lnTo>
                    <a:pt x="411" y="151"/>
                  </a:lnTo>
                  <a:lnTo>
                    <a:pt x="410" y="153"/>
                  </a:lnTo>
                  <a:lnTo>
                    <a:pt x="401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6" y="160"/>
                  </a:lnTo>
                  <a:lnTo>
                    <a:pt x="395" y="162"/>
                  </a:lnTo>
                  <a:lnTo>
                    <a:pt x="391" y="173"/>
                  </a:lnTo>
                  <a:lnTo>
                    <a:pt x="387" y="179"/>
                  </a:lnTo>
                  <a:lnTo>
                    <a:pt x="387" y="180"/>
                  </a:lnTo>
                  <a:lnTo>
                    <a:pt x="387" y="182"/>
                  </a:lnTo>
                  <a:lnTo>
                    <a:pt x="387" y="182"/>
                  </a:lnTo>
                  <a:lnTo>
                    <a:pt x="388" y="183"/>
                  </a:lnTo>
                  <a:lnTo>
                    <a:pt x="388" y="183"/>
                  </a:lnTo>
                  <a:lnTo>
                    <a:pt x="390" y="185"/>
                  </a:lnTo>
                  <a:lnTo>
                    <a:pt x="391" y="185"/>
                  </a:lnTo>
                  <a:lnTo>
                    <a:pt x="393" y="186"/>
                  </a:lnTo>
                  <a:lnTo>
                    <a:pt x="395" y="186"/>
                  </a:lnTo>
                  <a:lnTo>
                    <a:pt x="396" y="186"/>
                  </a:lnTo>
                  <a:lnTo>
                    <a:pt x="401" y="188"/>
                  </a:lnTo>
                  <a:lnTo>
                    <a:pt x="407" y="190"/>
                  </a:lnTo>
                  <a:lnTo>
                    <a:pt x="413" y="188"/>
                  </a:lnTo>
                  <a:lnTo>
                    <a:pt x="418" y="185"/>
                  </a:lnTo>
                  <a:lnTo>
                    <a:pt x="418" y="186"/>
                  </a:lnTo>
                  <a:lnTo>
                    <a:pt x="416" y="188"/>
                  </a:lnTo>
                  <a:lnTo>
                    <a:pt x="411" y="190"/>
                  </a:lnTo>
                  <a:lnTo>
                    <a:pt x="402" y="191"/>
                  </a:lnTo>
                  <a:lnTo>
                    <a:pt x="393" y="194"/>
                  </a:lnTo>
                  <a:lnTo>
                    <a:pt x="388" y="197"/>
                  </a:lnTo>
                  <a:lnTo>
                    <a:pt x="387" y="200"/>
                  </a:lnTo>
                  <a:lnTo>
                    <a:pt x="387" y="200"/>
                  </a:lnTo>
                  <a:lnTo>
                    <a:pt x="385" y="200"/>
                  </a:lnTo>
                  <a:lnTo>
                    <a:pt x="382" y="203"/>
                  </a:lnTo>
                  <a:lnTo>
                    <a:pt x="379" y="205"/>
                  </a:lnTo>
                  <a:lnTo>
                    <a:pt x="367" y="206"/>
                  </a:lnTo>
                  <a:lnTo>
                    <a:pt x="365" y="210"/>
                  </a:lnTo>
                  <a:lnTo>
                    <a:pt x="358" y="205"/>
                  </a:lnTo>
                  <a:lnTo>
                    <a:pt x="354" y="203"/>
                  </a:lnTo>
                  <a:lnTo>
                    <a:pt x="353" y="202"/>
                  </a:lnTo>
                  <a:lnTo>
                    <a:pt x="351" y="202"/>
                  </a:lnTo>
                  <a:lnTo>
                    <a:pt x="345" y="202"/>
                  </a:lnTo>
                  <a:lnTo>
                    <a:pt x="342" y="200"/>
                  </a:lnTo>
                  <a:lnTo>
                    <a:pt x="341" y="200"/>
                  </a:lnTo>
                  <a:lnTo>
                    <a:pt x="338" y="202"/>
                  </a:lnTo>
                  <a:lnTo>
                    <a:pt x="336" y="202"/>
                  </a:lnTo>
                  <a:lnTo>
                    <a:pt x="333" y="200"/>
                  </a:lnTo>
                  <a:lnTo>
                    <a:pt x="321" y="200"/>
                  </a:lnTo>
                  <a:lnTo>
                    <a:pt x="311" y="196"/>
                  </a:lnTo>
                  <a:lnTo>
                    <a:pt x="302" y="196"/>
                  </a:lnTo>
                  <a:lnTo>
                    <a:pt x="301" y="196"/>
                  </a:lnTo>
                  <a:lnTo>
                    <a:pt x="299" y="197"/>
                  </a:lnTo>
                  <a:lnTo>
                    <a:pt x="299" y="199"/>
                  </a:lnTo>
                  <a:lnTo>
                    <a:pt x="299" y="200"/>
                  </a:lnTo>
                  <a:lnTo>
                    <a:pt x="299" y="202"/>
                  </a:lnTo>
                  <a:lnTo>
                    <a:pt x="298" y="202"/>
                  </a:lnTo>
                  <a:lnTo>
                    <a:pt x="298" y="200"/>
                  </a:lnTo>
                  <a:lnTo>
                    <a:pt x="296" y="200"/>
                  </a:lnTo>
                  <a:lnTo>
                    <a:pt x="296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3" y="200"/>
                  </a:lnTo>
                  <a:lnTo>
                    <a:pt x="293" y="199"/>
                  </a:lnTo>
                  <a:lnTo>
                    <a:pt x="293" y="199"/>
                  </a:lnTo>
                  <a:lnTo>
                    <a:pt x="294" y="199"/>
                  </a:lnTo>
                  <a:lnTo>
                    <a:pt x="294" y="197"/>
                  </a:lnTo>
                  <a:lnTo>
                    <a:pt x="294" y="196"/>
                  </a:lnTo>
                  <a:lnTo>
                    <a:pt x="294" y="194"/>
                  </a:lnTo>
                  <a:lnTo>
                    <a:pt x="293" y="193"/>
                  </a:lnTo>
                  <a:lnTo>
                    <a:pt x="288" y="185"/>
                  </a:lnTo>
                  <a:lnTo>
                    <a:pt x="287" y="182"/>
                  </a:lnTo>
                  <a:lnTo>
                    <a:pt x="285" y="179"/>
                  </a:lnTo>
                  <a:lnTo>
                    <a:pt x="284" y="177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5" y="174"/>
                  </a:lnTo>
                  <a:lnTo>
                    <a:pt x="288" y="174"/>
                  </a:lnTo>
                  <a:lnTo>
                    <a:pt x="288" y="173"/>
                  </a:lnTo>
                  <a:lnTo>
                    <a:pt x="288" y="173"/>
                  </a:lnTo>
                  <a:lnTo>
                    <a:pt x="288" y="171"/>
                  </a:lnTo>
                  <a:lnTo>
                    <a:pt x="290" y="170"/>
                  </a:lnTo>
                  <a:lnTo>
                    <a:pt x="290" y="168"/>
                  </a:lnTo>
                  <a:lnTo>
                    <a:pt x="288" y="165"/>
                  </a:lnTo>
                  <a:lnTo>
                    <a:pt x="288" y="162"/>
                  </a:lnTo>
                  <a:lnTo>
                    <a:pt x="288" y="162"/>
                  </a:lnTo>
                  <a:lnTo>
                    <a:pt x="287" y="162"/>
                  </a:lnTo>
                  <a:lnTo>
                    <a:pt x="277" y="160"/>
                  </a:lnTo>
                  <a:lnTo>
                    <a:pt x="276" y="160"/>
                  </a:lnTo>
                  <a:lnTo>
                    <a:pt x="273" y="160"/>
                  </a:lnTo>
                  <a:lnTo>
                    <a:pt x="273" y="162"/>
                  </a:lnTo>
                  <a:lnTo>
                    <a:pt x="270" y="165"/>
                  </a:lnTo>
                  <a:lnTo>
                    <a:pt x="270" y="165"/>
                  </a:lnTo>
                  <a:lnTo>
                    <a:pt x="268" y="166"/>
                  </a:lnTo>
                  <a:lnTo>
                    <a:pt x="267" y="166"/>
                  </a:lnTo>
                  <a:lnTo>
                    <a:pt x="265" y="165"/>
                  </a:lnTo>
                  <a:lnTo>
                    <a:pt x="265" y="165"/>
                  </a:lnTo>
                  <a:lnTo>
                    <a:pt x="264" y="165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54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59"/>
                  </a:lnTo>
                  <a:lnTo>
                    <a:pt x="242" y="160"/>
                  </a:lnTo>
                  <a:lnTo>
                    <a:pt x="242" y="159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60"/>
                  </a:lnTo>
                  <a:lnTo>
                    <a:pt x="237" y="163"/>
                  </a:lnTo>
                  <a:lnTo>
                    <a:pt x="241" y="165"/>
                  </a:lnTo>
                  <a:lnTo>
                    <a:pt x="242" y="165"/>
                  </a:lnTo>
                  <a:lnTo>
                    <a:pt x="244" y="166"/>
                  </a:lnTo>
                  <a:lnTo>
                    <a:pt x="244" y="168"/>
                  </a:lnTo>
                  <a:lnTo>
                    <a:pt x="244" y="168"/>
                  </a:lnTo>
                  <a:lnTo>
                    <a:pt x="245" y="170"/>
                  </a:lnTo>
                  <a:lnTo>
                    <a:pt x="245" y="173"/>
                  </a:lnTo>
                  <a:lnTo>
                    <a:pt x="244" y="176"/>
                  </a:lnTo>
                  <a:lnTo>
                    <a:pt x="244" y="177"/>
                  </a:lnTo>
                  <a:lnTo>
                    <a:pt x="242" y="179"/>
                  </a:lnTo>
                  <a:lnTo>
                    <a:pt x="242" y="180"/>
                  </a:lnTo>
                  <a:lnTo>
                    <a:pt x="242" y="180"/>
                  </a:lnTo>
                  <a:lnTo>
                    <a:pt x="244" y="183"/>
                  </a:lnTo>
                  <a:lnTo>
                    <a:pt x="244" y="185"/>
                  </a:lnTo>
                  <a:lnTo>
                    <a:pt x="245" y="185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8"/>
                  </a:lnTo>
                  <a:lnTo>
                    <a:pt x="247" y="190"/>
                  </a:lnTo>
                  <a:lnTo>
                    <a:pt x="247" y="190"/>
                  </a:lnTo>
                  <a:lnTo>
                    <a:pt x="247" y="191"/>
                  </a:lnTo>
                  <a:lnTo>
                    <a:pt x="247" y="196"/>
                  </a:lnTo>
                  <a:lnTo>
                    <a:pt x="247" y="197"/>
                  </a:lnTo>
                  <a:lnTo>
                    <a:pt x="247" y="197"/>
                  </a:lnTo>
                  <a:lnTo>
                    <a:pt x="248" y="197"/>
                  </a:lnTo>
                  <a:lnTo>
                    <a:pt x="248" y="197"/>
                  </a:lnTo>
                  <a:lnTo>
                    <a:pt x="250" y="197"/>
                  </a:lnTo>
                  <a:lnTo>
                    <a:pt x="250" y="197"/>
                  </a:lnTo>
                  <a:lnTo>
                    <a:pt x="250" y="197"/>
                  </a:lnTo>
                  <a:lnTo>
                    <a:pt x="250" y="199"/>
                  </a:lnTo>
                  <a:lnTo>
                    <a:pt x="251" y="200"/>
                  </a:lnTo>
                  <a:lnTo>
                    <a:pt x="253" y="202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6" y="203"/>
                  </a:lnTo>
                  <a:lnTo>
                    <a:pt x="256" y="203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6" y="206"/>
                  </a:lnTo>
                  <a:lnTo>
                    <a:pt x="257" y="208"/>
                  </a:lnTo>
                  <a:lnTo>
                    <a:pt x="257" y="208"/>
                  </a:lnTo>
                  <a:lnTo>
                    <a:pt x="257" y="208"/>
                  </a:lnTo>
                  <a:lnTo>
                    <a:pt x="257" y="210"/>
                  </a:lnTo>
                  <a:lnTo>
                    <a:pt x="259" y="210"/>
                  </a:lnTo>
                  <a:lnTo>
                    <a:pt x="259" y="214"/>
                  </a:lnTo>
                  <a:lnTo>
                    <a:pt x="261" y="216"/>
                  </a:lnTo>
                  <a:lnTo>
                    <a:pt x="261" y="214"/>
                  </a:lnTo>
                  <a:lnTo>
                    <a:pt x="262" y="214"/>
                  </a:lnTo>
                  <a:lnTo>
                    <a:pt x="265" y="214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4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9"/>
                  </a:lnTo>
                  <a:lnTo>
                    <a:pt x="262" y="220"/>
                  </a:lnTo>
                  <a:lnTo>
                    <a:pt x="262" y="223"/>
                  </a:lnTo>
                  <a:lnTo>
                    <a:pt x="264" y="225"/>
                  </a:lnTo>
                  <a:lnTo>
                    <a:pt x="264" y="223"/>
                  </a:lnTo>
                  <a:lnTo>
                    <a:pt x="264" y="223"/>
                  </a:lnTo>
                  <a:lnTo>
                    <a:pt x="265" y="225"/>
                  </a:lnTo>
                  <a:lnTo>
                    <a:pt x="264" y="225"/>
                  </a:lnTo>
                  <a:lnTo>
                    <a:pt x="262" y="227"/>
                  </a:lnTo>
                  <a:lnTo>
                    <a:pt x="262" y="228"/>
                  </a:lnTo>
                  <a:lnTo>
                    <a:pt x="262" y="230"/>
                  </a:lnTo>
                  <a:lnTo>
                    <a:pt x="262" y="231"/>
                  </a:lnTo>
                  <a:lnTo>
                    <a:pt x="262" y="231"/>
                  </a:lnTo>
                  <a:lnTo>
                    <a:pt x="264" y="231"/>
                  </a:lnTo>
                  <a:lnTo>
                    <a:pt x="264" y="233"/>
                  </a:lnTo>
                  <a:lnTo>
                    <a:pt x="262" y="234"/>
                  </a:lnTo>
                  <a:lnTo>
                    <a:pt x="262" y="237"/>
                  </a:lnTo>
                  <a:lnTo>
                    <a:pt x="264" y="237"/>
                  </a:lnTo>
                  <a:lnTo>
                    <a:pt x="264" y="239"/>
                  </a:lnTo>
                  <a:lnTo>
                    <a:pt x="264" y="239"/>
                  </a:lnTo>
                  <a:lnTo>
                    <a:pt x="264" y="239"/>
                  </a:lnTo>
                  <a:lnTo>
                    <a:pt x="265" y="237"/>
                  </a:lnTo>
                  <a:lnTo>
                    <a:pt x="267" y="236"/>
                  </a:lnTo>
                  <a:lnTo>
                    <a:pt x="268" y="236"/>
                  </a:lnTo>
                  <a:lnTo>
                    <a:pt x="270" y="237"/>
                  </a:lnTo>
                  <a:lnTo>
                    <a:pt x="270" y="237"/>
                  </a:lnTo>
                  <a:lnTo>
                    <a:pt x="268" y="237"/>
                  </a:lnTo>
                  <a:lnTo>
                    <a:pt x="267" y="237"/>
                  </a:lnTo>
                  <a:lnTo>
                    <a:pt x="267" y="239"/>
                  </a:lnTo>
                  <a:lnTo>
                    <a:pt x="265" y="245"/>
                  </a:lnTo>
                  <a:lnTo>
                    <a:pt x="265" y="247"/>
                  </a:lnTo>
                  <a:lnTo>
                    <a:pt x="267" y="247"/>
                  </a:lnTo>
                  <a:lnTo>
                    <a:pt x="267" y="247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48"/>
                  </a:lnTo>
                  <a:lnTo>
                    <a:pt x="265" y="250"/>
                  </a:lnTo>
                  <a:lnTo>
                    <a:pt x="265" y="254"/>
                  </a:lnTo>
                  <a:lnTo>
                    <a:pt x="264" y="256"/>
                  </a:lnTo>
                  <a:lnTo>
                    <a:pt x="264" y="257"/>
                  </a:lnTo>
                  <a:lnTo>
                    <a:pt x="262" y="257"/>
                  </a:lnTo>
                  <a:lnTo>
                    <a:pt x="262" y="259"/>
                  </a:lnTo>
                  <a:lnTo>
                    <a:pt x="264" y="259"/>
                  </a:lnTo>
                  <a:lnTo>
                    <a:pt x="265" y="260"/>
                  </a:lnTo>
                  <a:lnTo>
                    <a:pt x="265" y="263"/>
                  </a:lnTo>
                  <a:lnTo>
                    <a:pt x="265" y="267"/>
                  </a:lnTo>
                  <a:lnTo>
                    <a:pt x="267" y="270"/>
                  </a:lnTo>
                  <a:lnTo>
                    <a:pt x="268" y="271"/>
                  </a:lnTo>
                  <a:lnTo>
                    <a:pt x="270" y="274"/>
                  </a:lnTo>
                  <a:lnTo>
                    <a:pt x="270" y="276"/>
                  </a:lnTo>
                  <a:lnTo>
                    <a:pt x="271" y="276"/>
                  </a:lnTo>
                  <a:lnTo>
                    <a:pt x="273" y="276"/>
                  </a:lnTo>
                  <a:lnTo>
                    <a:pt x="273" y="277"/>
                  </a:lnTo>
                  <a:lnTo>
                    <a:pt x="274" y="277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9"/>
                  </a:lnTo>
                  <a:lnTo>
                    <a:pt x="274" y="277"/>
                  </a:lnTo>
                  <a:lnTo>
                    <a:pt x="277" y="279"/>
                  </a:lnTo>
                  <a:lnTo>
                    <a:pt x="279" y="279"/>
                  </a:lnTo>
                  <a:lnTo>
                    <a:pt x="281" y="280"/>
                  </a:lnTo>
                  <a:lnTo>
                    <a:pt x="277" y="280"/>
                  </a:lnTo>
                  <a:lnTo>
                    <a:pt x="270" y="282"/>
                  </a:lnTo>
                  <a:lnTo>
                    <a:pt x="264" y="280"/>
                  </a:lnTo>
                  <a:lnTo>
                    <a:pt x="264" y="280"/>
                  </a:lnTo>
                  <a:lnTo>
                    <a:pt x="262" y="282"/>
                  </a:lnTo>
                  <a:lnTo>
                    <a:pt x="259" y="283"/>
                  </a:lnTo>
                  <a:lnTo>
                    <a:pt x="253" y="283"/>
                  </a:lnTo>
                  <a:lnTo>
                    <a:pt x="248" y="283"/>
                  </a:lnTo>
                  <a:lnTo>
                    <a:pt x="245" y="283"/>
                  </a:lnTo>
                  <a:lnTo>
                    <a:pt x="244" y="282"/>
                  </a:lnTo>
                  <a:lnTo>
                    <a:pt x="244" y="279"/>
                  </a:lnTo>
                  <a:lnTo>
                    <a:pt x="245" y="276"/>
                  </a:lnTo>
                  <a:lnTo>
                    <a:pt x="244" y="274"/>
                  </a:lnTo>
                  <a:lnTo>
                    <a:pt x="244" y="274"/>
                  </a:lnTo>
                  <a:lnTo>
                    <a:pt x="244" y="274"/>
                  </a:lnTo>
                  <a:lnTo>
                    <a:pt x="244" y="273"/>
                  </a:lnTo>
                  <a:lnTo>
                    <a:pt x="237" y="274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6"/>
                  </a:lnTo>
                  <a:lnTo>
                    <a:pt x="234" y="277"/>
                  </a:lnTo>
                  <a:lnTo>
                    <a:pt x="234" y="277"/>
                  </a:lnTo>
                  <a:lnTo>
                    <a:pt x="233" y="277"/>
                  </a:lnTo>
                  <a:lnTo>
                    <a:pt x="233" y="279"/>
                  </a:lnTo>
                  <a:lnTo>
                    <a:pt x="231" y="279"/>
                  </a:lnTo>
                  <a:lnTo>
                    <a:pt x="231" y="280"/>
                  </a:lnTo>
                  <a:lnTo>
                    <a:pt x="231" y="280"/>
                  </a:lnTo>
                  <a:lnTo>
                    <a:pt x="231" y="282"/>
                  </a:lnTo>
                  <a:lnTo>
                    <a:pt x="233" y="285"/>
                  </a:lnTo>
                  <a:lnTo>
                    <a:pt x="233" y="287"/>
                  </a:lnTo>
                  <a:lnTo>
                    <a:pt x="234" y="287"/>
                  </a:lnTo>
                  <a:lnTo>
                    <a:pt x="234" y="287"/>
                  </a:lnTo>
                  <a:lnTo>
                    <a:pt x="236" y="287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34" y="288"/>
                  </a:lnTo>
                  <a:lnTo>
                    <a:pt x="234" y="287"/>
                  </a:lnTo>
                  <a:lnTo>
                    <a:pt x="234" y="287"/>
                  </a:lnTo>
                  <a:lnTo>
                    <a:pt x="234" y="290"/>
                  </a:lnTo>
                  <a:lnTo>
                    <a:pt x="236" y="291"/>
                  </a:lnTo>
                  <a:lnTo>
                    <a:pt x="236" y="291"/>
                  </a:lnTo>
                  <a:lnTo>
                    <a:pt x="237" y="293"/>
                  </a:lnTo>
                  <a:lnTo>
                    <a:pt x="234" y="294"/>
                  </a:lnTo>
                  <a:lnTo>
                    <a:pt x="234" y="296"/>
                  </a:lnTo>
                  <a:lnTo>
                    <a:pt x="234" y="293"/>
                  </a:lnTo>
                  <a:lnTo>
                    <a:pt x="234" y="291"/>
                  </a:lnTo>
                  <a:lnTo>
                    <a:pt x="233" y="288"/>
                  </a:lnTo>
                  <a:lnTo>
                    <a:pt x="233" y="288"/>
                  </a:lnTo>
                  <a:lnTo>
                    <a:pt x="233" y="287"/>
                  </a:lnTo>
                  <a:lnTo>
                    <a:pt x="231" y="287"/>
                  </a:lnTo>
                  <a:lnTo>
                    <a:pt x="231" y="287"/>
                  </a:lnTo>
                  <a:lnTo>
                    <a:pt x="231" y="285"/>
                  </a:lnTo>
                  <a:lnTo>
                    <a:pt x="231" y="283"/>
                  </a:lnTo>
                  <a:lnTo>
                    <a:pt x="230" y="280"/>
                  </a:lnTo>
                  <a:lnTo>
                    <a:pt x="228" y="280"/>
                  </a:lnTo>
                  <a:lnTo>
                    <a:pt x="225" y="280"/>
                  </a:lnTo>
                  <a:lnTo>
                    <a:pt x="222" y="282"/>
                  </a:lnTo>
                  <a:lnTo>
                    <a:pt x="222" y="283"/>
                  </a:lnTo>
                  <a:lnTo>
                    <a:pt x="224" y="283"/>
                  </a:lnTo>
                  <a:lnTo>
                    <a:pt x="224" y="285"/>
                  </a:lnTo>
                  <a:lnTo>
                    <a:pt x="222" y="283"/>
                  </a:lnTo>
                  <a:lnTo>
                    <a:pt x="222" y="283"/>
                  </a:lnTo>
                  <a:lnTo>
                    <a:pt x="221" y="285"/>
                  </a:lnTo>
                  <a:lnTo>
                    <a:pt x="221" y="285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21" y="287"/>
                  </a:lnTo>
                  <a:lnTo>
                    <a:pt x="221" y="288"/>
                  </a:lnTo>
                  <a:lnTo>
                    <a:pt x="219" y="287"/>
                  </a:lnTo>
                  <a:lnTo>
                    <a:pt x="219" y="285"/>
                  </a:lnTo>
                  <a:lnTo>
                    <a:pt x="219" y="283"/>
                  </a:lnTo>
                  <a:lnTo>
                    <a:pt x="219" y="285"/>
                  </a:lnTo>
                  <a:lnTo>
                    <a:pt x="217" y="287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7"/>
                  </a:lnTo>
                  <a:lnTo>
                    <a:pt x="216" y="285"/>
                  </a:lnTo>
                  <a:lnTo>
                    <a:pt x="216" y="285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0"/>
                  </a:lnTo>
                  <a:lnTo>
                    <a:pt x="214" y="280"/>
                  </a:lnTo>
                  <a:lnTo>
                    <a:pt x="213" y="280"/>
                  </a:lnTo>
                  <a:lnTo>
                    <a:pt x="211" y="282"/>
                  </a:lnTo>
                  <a:lnTo>
                    <a:pt x="210" y="283"/>
                  </a:lnTo>
                  <a:lnTo>
                    <a:pt x="208" y="282"/>
                  </a:lnTo>
                  <a:lnTo>
                    <a:pt x="210" y="280"/>
                  </a:lnTo>
                  <a:lnTo>
                    <a:pt x="211" y="279"/>
                  </a:lnTo>
                  <a:lnTo>
                    <a:pt x="211" y="279"/>
                  </a:lnTo>
                  <a:lnTo>
                    <a:pt x="211" y="279"/>
                  </a:lnTo>
                  <a:lnTo>
                    <a:pt x="211" y="277"/>
                  </a:lnTo>
                  <a:lnTo>
                    <a:pt x="211" y="277"/>
                  </a:lnTo>
                  <a:lnTo>
                    <a:pt x="211" y="277"/>
                  </a:lnTo>
                  <a:lnTo>
                    <a:pt x="210" y="277"/>
                  </a:lnTo>
                  <a:lnTo>
                    <a:pt x="210" y="276"/>
                  </a:lnTo>
                  <a:lnTo>
                    <a:pt x="210" y="274"/>
                  </a:lnTo>
                  <a:lnTo>
                    <a:pt x="208" y="277"/>
                  </a:lnTo>
                  <a:lnTo>
                    <a:pt x="207" y="279"/>
                  </a:lnTo>
                  <a:lnTo>
                    <a:pt x="204" y="280"/>
                  </a:lnTo>
                  <a:lnTo>
                    <a:pt x="202" y="280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6" y="280"/>
                  </a:lnTo>
                  <a:lnTo>
                    <a:pt x="197" y="280"/>
                  </a:lnTo>
                  <a:lnTo>
                    <a:pt x="199" y="280"/>
                  </a:lnTo>
                  <a:lnTo>
                    <a:pt x="199" y="282"/>
                  </a:lnTo>
                  <a:lnTo>
                    <a:pt x="197" y="283"/>
                  </a:lnTo>
                  <a:lnTo>
                    <a:pt x="193" y="287"/>
                  </a:lnTo>
                  <a:lnTo>
                    <a:pt x="191" y="287"/>
                  </a:lnTo>
                  <a:lnTo>
                    <a:pt x="190" y="287"/>
                  </a:lnTo>
                  <a:lnTo>
                    <a:pt x="190" y="288"/>
                  </a:lnTo>
                  <a:lnTo>
                    <a:pt x="188" y="291"/>
                  </a:lnTo>
                  <a:lnTo>
                    <a:pt x="187" y="293"/>
                  </a:lnTo>
                  <a:lnTo>
                    <a:pt x="185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4"/>
                  </a:lnTo>
                  <a:lnTo>
                    <a:pt x="182" y="296"/>
                  </a:lnTo>
                  <a:lnTo>
                    <a:pt x="180" y="296"/>
                  </a:lnTo>
                  <a:lnTo>
                    <a:pt x="180" y="294"/>
                  </a:lnTo>
                  <a:lnTo>
                    <a:pt x="179" y="294"/>
                  </a:lnTo>
                  <a:lnTo>
                    <a:pt x="179" y="293"/>
                  </a:lnTo>
                  <a:lnTo>
                    <a:pt x="177" y="293"/>
                  </a:lnTo>
                  <a:lnTo>
                    <a:pt x="179" y="293"/>
                  </a:lnTo>
                  <a:lnTo>
                    <a:pt x="179" y="293"/>
                  </a:lnTo>
                  <a:lnTo>
                    <a:pt x="179" y="291"/>
                  </a:lnTo>
                  <a:lnTo>
                    <a:pt x="179" y="290"/>
                  </a:lnTo>
                  <a:lnTo>
                    <a:pt x="176" y="288"/>
                  </a:lnTo>
                  <a:lnTo>
                    <a:pt x="174" y="287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1" y="285"/>
                  </a:lnTo>
                  <a:lnTo>
                    <a:pt x="173" y="285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1" y="283"/>
                  </a:lnTo>
                  <a:lnTo>
                    <a:pt x="171" y="279"/>
                  </a:lnTo>
                  <a:lnTo>
                    <a:pt x="167" y="276"/>
                  </a:lnTo>
                  <a:lnTo>
                    <a:pt x="165" y="274"/>
                  </a:lnTo>
                  <a:lnTo>
                    <a:pt x="165" y="273"/>
                  </a:lnTo>
                  <a:lnTo>
                    <a:pt x="164" y="271"/>
                  </a:lnTo>
                  <a:lnTo>
                    <a:pt x="162" y="271"/>
                  </a:lnTo>
                  <a:lnTo>
                    <a:pt x="162" y="270"/>
                  </a:lnTo>
                  <a:lnTo>
                    <a:pt x="162" y="270"/>
                  </a:lnTo>
                  <a:lnTo>
                    <a:pt x="164" y="270"/>
                  </a:lnTo>
                  <a:lnTo>
                    <a:pt x="164" y="268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57" y="267"/>
                  </a:lnTo>
                  <a:lnTo>
                    <a:pt x="156" y="265"/>
                  </a:lnTo>
                  <a:lnTo>
                    <a:pt x="156" y="265"/>
                  </a:lnTo>
                  <a:lnTo>
                    <a:pt x="156" y="263"/>
                  </a:lnTo>
                  <a:lnTo>
                    <a:pt x="156" y="263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2"/>
                  </a:lnTo>
                  <a:lnTo>
                    <a:pt x="157" y="260"/>
                  </a:lnTo>
                  <a:lnTo>
                    <a:pt x="157" y="260"/>
                  </a:lnTo>
                  <a:lnTo>
                    <a:pt x="156" y="260"/>
                  </a:lnTo>
                  <a:lnTo>
                    <a:pt x="156" y="260"/>
                  </a:lnTo>
                  <a:lnTo>
                    <a:pt x="154" y="260"/>
                  </a:lnTo>
                  <a:lnTo>
                    <a:pt x="153" y="260"/>
                  </a:lnTo>
                  <a:lnTo>
                    <a:pt x="151" y="263"/>
                  </a:lnTo>
                  <a:lnTo>
                    <a:pt x="150" y="268"/>
                  </a:lnTo>
                  <a:lnTo>
                    <a:pt x="150" y="268"/>
                  </a:lnTo>
                  <a:lnTo>
                    <a:pt x="150" y="267"/>
                  </a:lnTo>
                  <a:lnTo>
                    <a:pt x="151" y="265"/>
                  </a:lnTo>
                  <a:lnTo>
                    <a:pt x="151" y="263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1" y="259"/>
                  </a:lnTo>
                  <a:lnTo>
                    <a:pt x="151" y="259"/>
                  </a:lnTo>
                  <a:lnTo>
                    <a:pt x="153" y="257"/>
                  </a:lnTo>
                  <a:lnTo>
                    <a:pt x="153" y="256"/>
                  </a:lnTo>
                  <a:lnTo>
                    <a:pt x="151" y="256"/>
                  </a:lnTo>
                  <a:lnTo>
                    <a:pt x="151" y="254"/>
                  </a:lnTo>
                  <a:lnTo>
                    <a:pt x="150" y="254"/>
                  </a:lnTo>
                  <a:lnTo>
                    <a:pt x="148" y="257"/>
                  </a:lnTo>
                  <a:lnTo>
                    <a:pt x="148" y="256"/>
                  </a:lnTo>
                  <a:lnTo>
                    <a:pt x="147" y="257"/>
                  </a:lnTo>
                  <a:lnTo>
                    <a:pt x="145" y="259"/>
                  </a:lnTo>
                  <a:lnTo>
                    <a:pt x="143" y="262"/>
                  </a:lnTo>
                  <a:lnTo>
                    <a:pt x="142" y="262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2" y="256"/>
                  </a:lnTo>
                  <a:lnTo>
                    <a:pt x="140" y="256"/>
                  </a:lnTo>
                  <a:lnTo>
                    <a:pt x="139" y="257"/>
                  </a:lnTo>
                  <a:lnTo>
                    <a:pt x="139" y="257"/>
                  </a:lnTo>
                  <a:lnTo>
                    <a:pt x="137" y="257"/>
                  </a:lnTo>
                  <a:lnTo>
                    <a:pt x="137" y="259"/>
                  </a:lnTo>
                  <a:lnTo>
                    <a:pt x="131" y="260"/>
                  </a:lnTo>
                  <a:lnTo>
                    <a:pt x="130" y="262"/>
                  </a:lnTo>
                  <a:lnTo>
                    <a:pt x="130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23" y="259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19" y="259"/>
                  </a:lnTo>
                  <a:lnTo>
                    <a:pt x="117" y="262"/>
                  </a:lnTo>
                  <a:lnTo>
                    <a:pt x="116" y="263"/>
                  </a:lnTo>
                  <a:lnTo>
                    <a:pt x="114" y="265"/>
                  </a:lnTo>
                  <a:lnTo>
                    <a:pt x="116" y="267"/>
                  </a:lnTo>
                  <a:lnTo>
                    <a:pt x="117" y="270"/>
                  </a:lnTo>
                  <a:lnTo>
                    <a:pt x="119" y="270"/>
                  </a:lnTo>
                  <a:lnTo>
                    <a:pt x="116" y="271"/>
                  </a:lnTo>
                  <a:lnTo>
                    <a:pt x="114" y="271"/>
                  </a:lnTo>
                  <a:lnTo>
                    <a:pt x="116" y="273"/>
                  </a:lnTo>
                  <a:lnTo>
                    <a:pt x="116" y="276"/>
                  </a:lnTo>
                  <a:lnTo>
                    <a:pt x="114" y="276"/>
                  </a:lnTo>
                  <a:lnTo>
                    <a:pt x="113" y="276"/>
                  </a:lnTo>
                  <a:lnTo>
                    <a:pt x="111" y="276"/>
                  </a:lnTo>
                  <a:lnTo>
                    <a:pt x="111" y="274"/>
                  </a:lnTo>
                  <a:lnTo>
                    <a:pt x="108" y="274"/>
                  </a:lnTo>
                  <a:lnTo>
                    <a:pt x="107" y="274"/>
                  </a:lnTo>
                  <a:lnTo>
                    <a:pt x="107" y="274"/>
                  </a:lnTo>
                  <a:lnTo>
                    <a:pt x="105" y="273"/>
                  </a:lnTo>
                  <a:lnTo>
                    <a:pt x="103" y="273"/>
                  </a:lnTo>
                  <a:lnTo>
                    <a:pt x="100" y="273"/>
                  </a:lnTo>
                  <a:lnTo>
                    <a:pt x="99" y="273"/>
                  </a:lnTo>
                  <a:lnTo>
                    <a:pt x="97" y="271"/>
                  </a:lnTo>
                  <a:lnTo>
                    <a:pt x="97" y="271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7" y="273"/>
                  </a:lnTo>
                  <a:lnTo>
                    <a:pt x="96" y="274"/>
                  </a:lnTo>
                  <a:lnTo>
                    <a:pt x="96" y="276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4" y="276"/>
                  </a:lnTo>
                  <a:lnTo>
                    <a:pt x="94" y="276"/>
                  </a:lnTo>
                  <a:lnTo>
                    <a:pt x="94" y="279"/>
                  </a:lnTo>
                  <a:lnTo>
                    <a:pt x="96" y="279"/>
                  </a:lnTo>
                  <a:lnTo>
                    <a:pt x="96" y="280"/>
                  </a:lnTo>
                  <a:lnTo>
                    <a:pt x="94" y="280"/>
                  </a:lnTo>
                  <a:lnTo>
                    <a:pt x="96" y="282"/>
                  </a:lnTo>
                  <a:lnTo>
                    <a:pt x="94" y="282"/>
                  </a:lnTo>
                  <a:lnTo>
                    <a:pt x="94" y="282"/>
                  </a:lnTo>
                  <a:lnTo>
                    <a:pt x="91" y="280"/>
                  </a:lnTo>
                  <a:lnTo>
                    <a:pt x="91" y="279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0" y="277"/>
                  </a:lnTo>
                  <a:lnTo>
                    <a:pt x="87" y="279"/>
                  </a:lnTo>
                  <a:lnTo>
                    <a:pt x="88" y="277"/>
                  </a:lnTo>
                  <a:lnTo>
                    <a:pt x="88" y="277"/>
                  </a:lnTo>
                  <a:lnTo>
                    <a:pt x="87" y="276"/>
                  </a:lnTo>
                  <a:lnTo>
                    <a:pt x="87" y="276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3"/>
                  </a:lnTo>
                  <a:lnTo>
                    <a:pt x="87" y="273"/>
                  </a:lnTo>
                  <a:lnTo>
                    <a:pt x="87" y="271"/>
                  </a:lnTo>
                  <a:lnTo>
                    <a:pt x="87" y="271"/>
                  </a:lnTo>
                  <a:lnTo>
                    <a:pt x="83" y="271"/>
                  </a:lnTo>
                  <a:lnTo>
                    <a:pt x="82" y="273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80" y="274"/>
                  </a:lnTo>
                  <a:lnTo>
                    <a:pt x="80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9" y="276"/>
                  </a:lnTo>
                  <a:lnTo>
                    <a:pt x="77" y="274"/>
                  </a:lnTo>
                  <a:lnTo>
                    <a:pt x="77" y="274"/>
                  </a:lnTo>
                  <a:lnTo>
                    <a:pt x="77" y="276"/>
                  </a:lnTo>
                  <a:lnTo>
                    <a:pt x="76" y="274"/>
                  </a:lnTo>
                  <a:lnTo>
                    <a:pt x="74" y="274"/>
                  </a:lnTo>
                  <a:lnTo>
                    <a:pt x="73" y="276"/>
                  </a:lnTo>
                  <a:lnTo>
                    <a:pt x="71" y="276"/>
                  </a:lnTo>
                  <a:lnTo>
                    <a:pt x="70" y="276"/>
                  </a:lnTo>
                  <a:lnTo>
                    <a:pt x="68" y="277"/>
                  </a:lnTo>
                  <a:lnTo>
                    <a:pt x="68" y="279"/>
                  </a:lnTo>
                  <a:lnTo>
                    <a:pt x="70" y="279"/>
                  </a:lnTo>
                  <a:lnTo>
                    <a:pt x="70" y="280"/>
                  </a:lnTo>
                  <a:lnTo>
                    <a:pt x="68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5" y="279"/>
                  </a:lnTo>
                  <a:lnTo>
                    <a:pt x="63" y="280"/>
                  </a:lnTo>
                  <a:lnTo>
                    <a:pt x="60" y="280"/>
                  </a:lnTo>
                  <a:lnTo>
                    <a:pt x="62" y="279"/>
                  </a:lnTo>
                  <a:lnTo>
                    <a:pt x="60" y="277"/>
                  </a:lnTo>
                  <a:lnTo>
                    <a:pt x="59" y="277"/>
                  </a:lnTo>
                  <a:lnTo>
                    <a:pt x="56" y="277"/>
                  </a:lnTo>
                  <a:lnTo>
                    <a:pt x="54" y="279"/>
                  </a:lnTo>
                  <a:lnTo>
                    <a:pt x="53" y="279"/>
                  </a:lnTo>
                  <a:lnTo>
                    <a:pt x="53" y="280"/>
                  </a:lnTo>
                  <a:lnTo>
                    <a:pt x="53" y="280"/>
                  </a:lnTo>
                  <a:lnTo>
                    <a:pt x="54" y="280"/>
                  </a:lnTo>
                  <a:lnTo>
                    <a:pt x="51" y="280"/>
                  </a:lnTo>
                  <a:lnTo>
                    <a:pt x="50" y="282"/>
                  </a:lnTo>
                  <a:lnTo>
                    <a:pt x="48" y="282"/>
                  </a:lnTo>
                  <a:lnTo>
                    <a:pt x="42" y="282"/>
                  </a:lnTo>
                  <a:lnTo>
                    <a:pt x="42" y="283"/>
                  </a:lnTo>
                  <a:lnTo>
                    <a:pt x="42" y="283"/>
                  </a:lnTo>
                  <a:lnTo>
                    <a:pt x="43" y="283"/>
                  </a:lnTo>
                  <a:lnTo>
                    <a:pt x="42" y="285"/>
                  </a:lnTo>
                  <a:lnTo>
                    <a:pt x="42" y="285"/>
                  </a:lnTo>
                  <a:lnTo>
                    <a:pt x="45" y="285"/>
                  </a:lnTo>
                  <a:lnTo>
                    <a:pt x="43" y="285"/>
                  </a:lnTo>
                  <a:lnTo>
                    <a:pt x="40" y="285"/>
                  </a:lnTo>
                  <a:lnTo>
                    <a:pt x="39" y="285"/>
                  </a:lnTo>
                  <a:lnTo>
                    <a:pt x="39" y="287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37" y="288"/>
                  </a:lnTo>
                  <a:lnTo>
                    <a:pt x="36" y="288"/>
                  </a:lnTo>
                  <a:lnTo>
                    <a:pt x="34" y="288"/>
                  </a:lnTo>
                  <a:lnTo>
                    <a:pt x="33" y="288"/>
                  </a:lnTo>
                  <a:lnTo>
                    <a:pt x="31" y="290"/>
                  </a:lnTo>
                  <a:lnTo>
                    <a:pt x="31" y="290"/>
                  </a:lnTo>
                  <a:lnTo>
                    <a:pt x="31" y="290"/>
                  </a:lnTo>
                  <a:lnTo>
                    <a:pt x="30" y="290"/>
                  </a:lnTo>
                  <a:lnTo>
                    <a:pt x="28" y="291"/>
                  </a:lnTo>
                  <a:lnTo>
                    <a:pt x="26" y="294"/>
                  </a:lnTo>
                  <a:lnTo>
                    <a:pt x="26" y="297"/>
                  </a:lnTo>
                  <a:lnTo>
                    <a:pt x="28" y="299"/>
                  </a:lnTo>
                  <a:lnTo>
                    <a:pt x="28" y="300"/>
                  </a:lnTo>
                  <a:lnTo>
                    <a:pt x="26" y="300"/>
                  </a:lnTo>
                  <a:lnTo>
                    <a:pt x="26" y="302"/>
                  </a:lnTo>
                  <a:lnTo>
                    <a:pt x="25" y="304"/>
                  </a:lnTo>
                  <a:lnTo>
                    <a:pt x="25" y="307"/>
                  </a:lnTo>
                  <a:lnTo>
                    <a:pt x="26" y="310"/>
                  </a:lnTo>
                  <a:lnTo>
                    <a:pt x="26" y="311"/>
                  </a:lnTo>
                  <a:lnTo>
                    <a:pt x="25" y="311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8" y="314"/>
                  </a:lnTo>
                  <a:lnTo>
                    <a:pt x="31" y="314"/>
                  </a:lnTo>
                  <a:lnTo>
                    <a:pt x="33" y="314"/>
                  </a:lnTo>
                  <a:lnTo>
                    <a:pt x="33" y="314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7" y="314"/>
                  </a:lnTo>
                  <a:lnTo>
                    <a:pt x="37" y="314"/>
                  </a:lnTo>
                  <a:lnTo>
                    <a:pt x="39" y="314"/>
                  </a:lnTo>
                  <a:lnTo>
                    <a:pt x="42" y="313"/>
                  </a:lnTo>
                  <a:lnTo>
                    <a:pt x="45" y="311"/>
                  </a:lnTo>
                  <a:lnTo>
                    <a:pt x="50" y="308"/>
                  </a:lnTo>
                  <a:lnTo>
                    <a:pt x="53" y="308"/>
                  </a:lnTo>
                  <a:lnTo>
                    <a:pt x="57" y="307"/>
                  </a:lnTo>
                  <a:lnTo>
                    <a:pt x="59" y="307"/>
                  </a:lnTo>
                  <a:lnTo>
                    <a:pt x="60" y="305"/>
                  </a:lnTo>
                  <a:lnTo>
                    <a:pt x="62" y="305"/>
                  </a:lnTo>
                  <a:lnTo>
                    <a:pt x="56" y="310"/>
                  </a:lnTo>
                  <a:lnTo>
                    <a:pt x="54" y="310"/>
                  </a:lnTo>
                  <a:lnTo>
                    <a:pt x="50" y="314"/>
                  </a:lnTo>
                  <a:lnTo>
                    <a:pt x="50" y="316"/>
                  </a:lnTo>
                  <a:lnTo>
                    <a:pt x="51" y="316"/>
                  </a:lnTo>
                  <a:lnTo>
                    <a:pt x="53" y="316"/>
                  </a:lnTo>
                  <a:lnTo>
                    <a:pt x="53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6"/>
                  </a:lnTo>
                  <a:lnTo>
                    <a:pt x="56" y="316"/>
                  </a:lnTo>
                  <a:lnTo>
                    <a:pt x="57" y="314"/>
                  </a:lnTo>
                  <a:lnTo>
                    <a:pt x="59" y="314"/>
                  </a:lnTo>
                  <a:lnTo>
                    <a:pt x="59" y="314"/>
                  </a:lnTo>
                  <a:lnTo>
                    <a:pt x="59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2" y="313"/>
                  </a:lnTo>
                  <a:lnTo>
                    <a:pt x="63" y="313"/>
                  </a:lnTo>
                  <a:lnTo>
                    <a:pt x="62" y="314"/>
                  </a:lnTo>
                  <a:lnTo>
                    <a:pt x="62" y="314"/>
                  </a:lnTo>
                  <a:lnTo>
                    <a:pt x="62" y="314"/>
                  </a:lnTo>
                  <a:lnTo>
                    <a:pt x="62" y="316"/>
                  </a:lnTo>
                  <a:lnTo>
                    <a:pt x="60" y="316"/>
                  </a:lnTo>
                  <a:lnTo>
                    <a:pt x="60" y="316"/>
                  </a:lnTo>
                  <a:lnTo>
                    <a:pt x="60" y="317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65" y="319"/>
                  </a:lnTo>
                  <a:lnTo>
                    <a:pt x="65" y="317"/>
                  </a:lnTo>
                  <a:lnTo>
                    <a:pt x="66" y="317"/>
                  </a:lnTo>
                  <a:lnTo>
                    <a:pt x="66" y="319"/>
                  </a:lnTo>
                  <a:lnTo>
                    <a:pt x="68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63" y="320"/>
                  </a:lnTo>
                  <a:lnTo>
                    <a:pt x="62" y="320"/>
                  </a:lnTo>
                  <a:lnTo>
                    <a:pt x="63" y="320"/>
                  </a:lnTo>
                  <a:lnTo>
                    <a:pt x="63" y="320"/>
                  </a:lnTo>
                  <a:lnTo>
                    <a:pt x="65" y="319"/>
                  </a:lnTo>
                  <a:lnTo>
                    <a:pt x="59" y="320"/>
                  </a:lnTo>
                  <a:lnTo>
                    <a:pt x="56" y="320"/>
                  </a:lnTo>
                  <a:lnTo>
                    <a:pt x="54" y="320"/>
                  </a:lnTo>
                  <a:lnTo>
                    <a:pt x="54" y="320"/>
                  </a:lnTo>
                  <a:lnTo>
                    <a:pt x="53" y="320"/>
                  </a:lnTo>
                  <a:lnTo>
                    <a:pt x="53" y="320"/>
                  </a:lnTo>
                  <a:lnTo>
                    <a:pt x="53" y="319"/>
                  </a:lnTo>
                  <a:lnTo>
                    <a:pt x="45" y="320"/>
                  </a:lnTo>
                  <a:lnTo>
                    <a:pt x="43" y="319"/>
                  </a:lnTo>
                  <a:lnTo>
                    <a:pt x="45" y="314"/>
                  </a:lnTo>
                  <a:lnTo>
                    <a:pt x="43" y="314"/>
                  </a:lnTo>
                  <a:lnTo>
                    <a:pt x="42" y="316"/>
                  </a:lnTo>
                  <a:lnTo>
                    <a:pt x="40" y="319"/>
                  </a:lnTo>
                  <a:lnTo>
                    <a:pt x="40" y="319"/>
                  </a:lnTo>
                  <a:lnTo>
                    <a:pt x="42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20"/>
                  </a:lnTo>
                  <a:lnTo>
                    <a:pt x="39" y="320"/>
                  </a:lnTo>
                  <a:lnTo>
                    <a:pt x="37" y="320"/>
                  </a:lnTo>
                  <a:lnTo>
                    <a:pt x="37" y="322"/>
                  </a:lnTo>
                  <a:lnTo>
                    <a:pt x="37" y="324"/>
                  </a:lnTo>
                  <a:lnTo>
                    <a:pt x="42" y="324"/>
                  </a:lnTo>
                  <a:lnTo>
                    <a:pt x="42" y="324"/>
                  </a:lnTo>
                  <a:lnTo>
                    <a:pt x="43" y="325"/>
                  </a:lnTo>
                  <a:lnTo>
                    <a:pt x="43" y="325"/>
                  </a:lnTo>
                  <a:lnTo>
                    <a:pt x="42" y="325"/>
                  </a:lnTo>
                  <a:lnTo>
                    <a:pt x="42" y="327"/>
                  </a:lnTo>
                  <a:lnTo>
                    <a:pt x="42" y="328"/>
                  </a:lnTo>
                  <a:lnTo>
                    <a:pt x="42" y="328"/>
                  </a:lnTo>
                  <a:lnTo>
                    <a:pt x="43" y="330"/>
                  </a:lnTo>
                  <a:lnTo>
                    <a:pt x="43" y="331"/>
                  </a:lnTo>
                  <a:lnTo>
                    <a:pt x="42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6" y="328"/>
                  </a:lnTo>
                  <a:lnTo>
                    <a:pt x="48" y="325"/>
                  </a:lnTo>
                  <a:lnTo>
                    <a:pt x="50" y="325"/>
                  </a:lnTo>
                  <a:lnTo>
                    <a:pt x="54" y="328"/>
                  </a:lnTo>
                  <a:lnTo>
                    <a:pt x="56" y="327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7" y="328"/>
                  </a:lnTo>
                  <a:lnTo>
                    <a:pt x="57" y="330"/>
                  </a:lnTo>
                  <a:lnTo>
                    <a:pt x="60" y="330"/>
                  </a:lnTo>
                  <a:lnTo>
                    <a:pt x="62" y="331"/>
                  </a:lnTo>
                  <a:lnTo>
                    <a:pt x="62" y="333"/>
                  </a:lnTo>
                  <a:lnTo>
                    <a:pt x="62" y="334"/>
                  </a:lnTo>
                  <a:lnTo>
                    <a:pt x="63" y="336"/>
                  </a:lnTo>
                  <a:lnTo>
                    <a:pt x="63" y="337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57" y="340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7"/>
                  </a:lnTo>
                  <a:lnTo>
                    <a:pt x="31" y="347"/>
                  </a:lnTo>
                  <a:lnTo>
                    <a:pt x="30" y="348"/>
                  </a:lnTo>
                  <a:lnTo>
                    <a:pt x="30" y="348"/>
                  </a:lnTo>
                  <a:lnTo>
                    <a:pt x="36" y="350"/>
                  </a:lnTo>
                  <a:lnTo>
                    <a:pt x="37" y="350"/>
                  </a:lnTo>
                  <a:lnTo>
                    <a:pt x="39" y="350"/>
                  </a:lnTo>
                  <a:lnTo>
                    <a:pt x="42" y="353"/>
                  </a:lnTo>
                  <a:lnTo>
                    <a:pt x="42" y="351"/>
                  </a:lnTo>
                  <a:lnTo>
                    <a:pt x="43" y="351"/>
                  </a:lnTo>
                  <a:lnTo>
                    <a:pt x="43" y="350"/>
                  </a:lnTo>
                  <a:lnTo>
                    <a:pt x="45" y="350"/>
                  </a:lnTo>
                  <a:lnTo>
                    <a:pt x="51" y="356"/>
                  </a:lnTo>
                  <a:lnTo>
                    <a:pt x="56" y="360"/>
                  </a:lnTo>
                  <a:lnTo>
                    <a:pt x="56" y="362"/>
                  </a:lnTo>
                  <a:lnTo>
                    <a:pt x="57" y="365"/>
                  </a:lnTo>
                  <a:lnTo>
                    <a:pt x="57" y="368"/>
                  </a:lnTo>
                  <a:lnTo>
                    <a:pt x="59" y="370"/>
                  </a:lnTo>
                  <a:lnTo>
                    <a:pt x="57" y="371"/>
                  </a:lnTo>
                  <a:lnTo>
                    <a:pt x="57" y="371"/>
                  </a:lnTo>
                  <a:lnTo>
                    <a:pt x="57" y="371"/>
                  </a:lnTo>
                  <a:lnTo>
                    <a:pt x="56" y="371"/>
                  </a:lnTo>
                  <a:lnTo>
                    <a:pt x="56" y="371"/>
                  </a:lnTo>
                  <a:lnTo>
                    <a:pt x="56" y="373"/>
                  </a:lnTo>
                  <a:lnTo>
                    <a:pt x="56" y="374"/>
                  </a:lnTo>
                  <a:lnTo>
                    <a:pt x="66" y="374"/>
                  </a:lnTo>
                  <a:lnTo>
                    <a:pt x="70" y="374"/>
                  </a:lnTo>
                  <a:lnTo>
                    <a:pt x="70" y="373"/>
                  </a:lnTo>
                  <a:lnTo>
                    <a:pt x="73" y="371"/>
                  </a:lnTo>
                  <a:lnTo>
                    <a:pt x="73" y="370"/>
                  </a:lnTo>
                  <a:lnTo>
                    <a:pt x="71" y="370"/>
                  </a:lnTo>
                  <a:lnTo>
                    <a:pt x="71" y="370"/>
                  </a:lnTo>
                  <a:lnTo>
                    <a:pt x="71" y="370"/>
                  </a:lnTo>
                  <a:lnTo>
                    <a:pt x="71" y="368"/>
                  </a:lnTo>
                  <a:lnTo>
                    <a:pt x="70" y="368"/>
                  </a:lnTo>
                  <a:lnTo>
                    <a:pt x="70" y="367"/>
                  </a:lnTo>
                  <a:lnTo>
                    <a:pt x="71" y="367"/>
                  </a:lnTo>
                  <a:lnTo>
                    <a:pt x="73" y="368"/>
                  </a:lnTo>
                  <a:lnTo>
                    <a:pt x="73" y="368"/>
                  </a:lnTo>
                  <a:lnTo>
                    <a:pt x="74" y="368"/>
                  </a:lnTo>
                  <a:lnTo>
                    <a:pt x="74" y="367"/>
                  </a:lnTo>
                  <a:lnTo>
                    <a:pt x="76" y="367"/>
                  </a:lnTo>
                  <a:lnTo>
                    <a:pt x="76" y="367"/>
                  </a:lnTo>
                  <a:lnTo>
                    <a:pt x="74" y="365"/>
                  </a:lnTo>
                  <a:lnTo>
                    <a:pt x="74" y="364"/>
                  </a:lnTo>
                  <a:lnTo>
                    <a:pt x="73" y="362"/>
                  </a:lnTo>
                  <a:lnTo>
                    <a:pt x="74" y="360"/>
                  </a:lnTo>
                  <a:lnTo>
                    <a:pt x="74" y="364"/>
                  </a:lnTo>
                  <a:lnTo>
                    <a:pt x="74" y="365"/>
                  </a:lnTo>
                  <a:lnTo>
                    <a:pt x="76" y="367"/>
                  </a:lnTo>
                  <a:lnTo>
                    <a:pt x="77" y="367"/>
                  </a:lnTo>
                  <a:lnTo>
                    <a:pt x="77" y="367"/>
                  </a:lnTo>
                  <a:lnTo>
                    <a:pt x="79" y="367"/>
                  </a:lnTo>
                  <a:lnTo>
                    <a:pt x="80" y="368"/>
                  </a:lnTo>
                  <a:lnTo>
                    <a:pt x="82" y="368"/>
                  </a:lnTo>
                  <a:lnTo>
                    <a:pt x="82" y="368"/>
                  </a:lnTo>
                  <a:lnTo>
                    <a:pt x="83" y="368"/>
                  </a:lnTo>
                  <a:lnTo>
                    <a:pt x="83" y="367"/>
                  </a:lnTo>
                  <a:lnTo>
                    <a:pt x="83" y="368"/>
                  </a:lnTo>
                  <a:lnTo>
                    <a:pt x="83" y="368"/>
                  </a:lnTo>
                  <a:lnTo>
                    <a:pt x="82" y="368"/>
                  </a:lnTo>
                  <a:lnTo>
                    <a:pt x="82" y="368"/>
                  </a:lnTo>
                  <a:lnTo>
                    <a:pt x="83" y="370"/>
                  </a:lnTo>
                  <a:lnTo>
                    <a:pt x="85" y="367"/>
                  </a:lnTo>
                  <a:lnTo>
                    <a:pt x="85" y="365"/>
                  </a:lnTo>
                  <a:lnTo>
                    <a:pt x="85" y="364"/>
                  </a:lnTo>
                  <a:lnTo>
                    <a:pt x="87" y="364"/>
                  </a:lnTo>
                  <a:lnTo>
                    <a:pt x="88" y="365"/>
                  </a:lnTo>
                  <a:lnTo>
                    <a:pt x="90" y="367"/>
                  </a:lnTo>
                  <a:lnTo>
                    <a:pt x="90" y="368"/>
                  </a:lnTo>
                  <a:lnTo>
                    <a:pt x="91" y="368"/>
                  </a:lnTo>
                  <a:lnTo>
                    <a:pt x="91" y="368"/>
                  </a:lnTo>
                  <a:lnTo>
                    <a:pt x="93" y="368"/>
                  </a:lnTo>
                  <a:lnTo>
                    <a:pt x="93" y="370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4" y="374"/>
                  </a:lnTo>
                  <a:lnTo>
                    <a:pt x="94" y="374"/>
                  </a:lnTo>
                  <a:lnTo>
                    <a:pt x="96" y="374"/>
                  </a:lnTo>
                  <a:lnTo>
                    <a:pt x="97" y="374"/>
                  </a:lnTo>
                  <a:lnTo>
                    <a:pt x="99" y="374"/>
                  </a:lnTo>
                  <a:lnTo>
                    <a:pt x="100" y="376"/>
                  </a:lnTo>
                  <a:lnTo>
                    <a:pt x="105" y="373"/>
                  </a:lnTo>
                  <a:lnTo>
                    <a:pt x="105" y="374"/>
                  </a:lnTo>
                  <a:lnTo>
                    <a:pt x="105" y="376"/>
                  </a:lnTo>
                  <a:lnTo>
                    <a:pt x="107" y="376"/>
                  </a:lnTo>
                  <a:lnTo>
                    <a:pt x="110" y="376"/>
                  </a:lnTo>
                  <a:lnTo>
                    <a:pt x="110" y="376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3" y="377"/>
                  </a:lnTo>
                  <a:lnTo>
                    <a:pt x="114" y="377"/>
                  </a:lnTo>
                  <a:lnTo>
                    <a:pt x="117" y="377"/>
                  </a:lnTo>
                  <a:lnTo>
                    <a:pt x="119" y="377"/>
                  </a:lnTo>
                  <a:lnTo>
                    <a:pt x="119" y="377"/>
                  </a:lnTo>
                  <a:lnTo>
                    <a:pt x="119" y="377"/>
                  </a:lnTo>
                  <a:lnTo>
                    <a:pt x="119" y="379"/>
                  </a:lnTo>
                  <a:lnTo>
                    <a:pt x="120" y="379"/>
                  </a:lnTo>
                  <a:lnTo>
                    <a:pt x="122" y="382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5" y="385"/>
                  </a:lnTo>
                  <a:lnTo>
                    <a:pt x="131" y="384"/>
                  </a:lnTo>
                  <a:lnTo>
                    <a:pt x="131" y="384"/>
                  </a:lnTo>
                  <a:lnTo>
                    <a:pt x="131" y="382"/>
                  </a:lnTo>
                  <a:lnTo>
                    <a:pt x="130" y="382"/>
                  </a:lnTo>
                  <a:lnTo>
                    <a:pt x="130" y="382"/>
                  </a:lnTo>
                  <a:lnTo>
                    <a:pt x="131" y="382"/>
                  </a:lnTo>
                  <a:lnTo>
                    <a:pt x="134" y="380"/>
                  </a:lnTo>
                  <a:lnTo>
                    <a:pt x="136" y="379"/>
                  </a:lnTo>
                  <a:lnTo>
                    <a:pt x="137" y="376"/>
                  </a:lnTo>
                  <a:lnTo>
                    <a:pt x="137" y="377"/>
                  </a:lnTo>
                  <a:lnTo>
                    <a:pt x="136" y="377"/>
                  </a:lnTo>
                  <a:lnTo>
                    <a:pt x="136" y="379"/>
                  </a:lnTo>
                  <a:lnTo>
                    <a:pt x="134" y="382"/>
                  </a:lnTo>
                  <a:lnTo>
                    <a:pt x="134" y="382"/>
                  </a:lnTo>
                  <a:lnTo>
                    <a:pt x="133" y="382"/>
                  </a:lnTo>
                  <a:lnTo>
                    <a:pt x="133" y="382"/>
                  </a:lnTo>
                  <a:lnTo>
                    <a:pt x="133" y="384"/>
                  </a:lnTo>
                  <a:lnTo>
                    <a:pt x="133" y="384"/>
                  </a:lnTo>
                  <a:lnTo>
                    <a:pt x="133" y="384"/>
                  </a:lnTo>
                  <a:lnTo>
                    <a:pt x="131" y="384"/>
                  </a:lnTo>
                  <a:lnTo>
                    <a:pt x="131" y="385"/>
                  </a:lnTo>
                  <a:lnTo>
                    <a:pt x="134" y="385"/>
                  </a:lnTo>
                  <a:lnTo>
                    <a:pt x="136" y="385"/>
                  </a:lnTo>
                  <a:lnTo>
                    <a:pt x="137" y="387"/>
                  </a:lnTo>
                  <a:lnTo>
                    <a:pt x="137" y="387"/>
                  </a:lnTo>
                  <a:lnTo>
                    <a:pt x="134" y="385"/>
                  </a:lnTo>
                  <a:lnTo>
                    <a:pt x="133" y="385"/>
                  </a:lnTo>
                  <a:lnTo>
                    <a:pt x="131" y="387"/>
                  </a:lnTo>
                  <a:lnTo>
                    <a:pt x="134" y="387"/>
                  </a:lnTo>
                  <a:lnTo>
                    <a:pt x="137" y="387"/>
                  </a:lnTo>
                  <a:lnTo>
                    <a:pt x="139" y="388"/>
                  </a:lnTo>
                  <a:lnTo>
                    <a:pt x="140" y="390"/>
                  </a:lnTo>
                  <a:lnTo>
                    <a:pt x="142" y="391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3" y="388"/>
                  </a:lnTo>
                  <a:lnTo>
                    <a:pt x="143" y="388"/>
                  </a:lnTo>
                  <a:lnTo>
                    <a:pt x="143" y="387"/>
                  </a:lnTo>
                  <a:lnTo>
                    <a:pt x="143" y="387"/>
                  </a:lnTo>
                  <a:lnTo>
                    <a:pt x="143" y="387"/>
                  </a:lnTo>
                  <a:lnTo>
                    <a:pt x="145" y="385"/>
                  </a:lnTo>
                  <a:lnTo>
                    <a:pt x="145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84"/>
                  </a:lnTo>
                  <a:lnTo>
                    <a:pt x="145" y="382"/>
                  </a:lnTo>
                  <a:lnTo>
                    <a:pt x="145" y="380"/>
                  </a:lnTo>
                  <a:lnTo>
                    <a:pt x="143" y="380"/>
                  </a:lnTo>
                  <a:lnTo>
                    <a:pt x="145" y="380"/>
                  </a:lnTo>
                  <a:lnTo>
                    <a:pt x="147" y="380"/>
                  </a:lnTo>
                  <a:lnTo>
                    <a:pt x="147" y="382"/>
                  </a:lnTo>
                  <a:lnTo>
                    <a:pt x="148" y="380"/>
                  </a:lnTo>
                  <a:lnTo>
                    <a:pt x="148" y="380"/>
                  </a:lnTo>
                  <a:lnTo>
                    <a:pt x="148" y="380"/>
                  </a:lnTo>
                  <a:lnTo>
                    <a:pt x="148" y="384"/>
                  </a:lnTo>
                  <a:lnTo>
                    <a:pt x="148" y="384"/>
                  </a:lnTo>
                  <a:lnTo>
                    <a:pt x="150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50" y="384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45" y="388"/>
                  </a:lnTo>
                  <a:lnTo>
                    <a:pt x="143" y="391"/>
                  </a:lnTo>
                  <a:lnTo>
                    <a:pt x="143" y="393"/>
                  </a:lnTo>
                  <a:lnTo>
                    <a:pt x="143" y="393"/>
                  </a:lnTo>
                  <a:lnTo>
                    <a:pt x="145" y="394"/>
                  </a:lnTo>
                  <a:lnTo>
                    <a:pt x="145" y="394"/>
                  </a:lnTo>
                  <a:lnTo>
                    <a:pt x="147" y="394"/>
                  </a:lnTo>
                  <a:lnTo>
                    <a:pt x="147" y="396"/>
                  </a:lnTo>
                  <a:lnTo>
                    <a:pt x="148" y="397"/>
                  </a:lnTo>
                  <a:lnTo>
                    <a:pt x="148" y="399"/>
                  </a:lnTo>
                  <a:lnTo>
                    <a:pt x="148" y="402"/>
                  </a:lnTo>
                  <a:lnTo>
                    <a:pt x="148" y="404"/>
                  </a:lnTo>
                  <a:lnTo>
                    <a:pt x="148" y="405"/>
                  </a:lnTo>
                  <a:lnTo>
                    <a:pt x="148" y="407"/>
                  </a:lnTo>
                  <a:lnTo>
                    <a:pt x="148" y="407"/>
                  </a:lnTo>
                  <a:lnTo>
                    <a:pt x="148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3" y="410"/>
                  </a:lnTo>
                  <a:lnTo>
                    <a:pt x="150" y="408"/>
                  </a:lnTo>
                  <a:lnTo>
                    <a:pt x="150" y="405"/>
                  </a:lnTo>
                  <a:lnTo>
                    <a:pt x="148" y="402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48" y="399"/>
                  </a:lnTo>
                  <a:lnTo>
                    <a:pt x="148" y="399"/>
                  </a:lnTo>
                  <a:lnTo>
                    <a:pt x="150" y="397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3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57" y="399"/>
                  </a:lnTo>
                  <a:lnTo>
                    <a:pt x="157" y="397"/>
                  </a:lnTo>
                  <a:lnTo>
                    <a:pt x="157" y="396"/>
                  </a:lnTo>
                  <a:lnTo>
                    <a:pt x="157" y="396"/>
                  </a:lnTo>
                  <a:lnTo>
                    <a:pt x="157" y="397"/>
                  </a:lnTo>
                  <a:lnTo>
                    <a:pt x="157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7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1"/>
                  </a:lnTo>
                  <a:lnTo>
                    <a:pt x="162" y="401"/>
                  </a:lnTo>
                  <a:lnTo>
                    <a:pt x="162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4" y="401"/>
                  </a:lnTo>
                  <a:lnTo>
                    <a:pt x="162" y="399"/>
                  </a:lnTo>
                  <a:lnTo>
                    <a:pt x="162" y="397"/>
                  </a:lnTo>
                  <a:lnTo>
                    <a:pt x="160" y="397"/>
                  </a:lnTo>
                  <a:lnTo>
                    <a:pt x="160" y="396"/>
                  </a:lnTo>
                  <a:lnTo>
                    <a:pt x="160" y="393"/>
                  </a:lnTo>
                  <a:lnTo>
                    <a:pt x="160" y="393"/>
                  </a:lnTo>
                  <a:lnTo>
                    <a:pt x="160" y="391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91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4" y="393"/>
                  </a:lnTo>
                  <a:lnTo>
                    <a:pt x="162" y="393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7"/>
                  </a:lnTo>
                  <a:lnTo>
                    <a:pt x="164" y="397"/>
                  </a:lnTo>
                  <a:lnTo>
                    <a:pt x="164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7"/>
                  </a:lnTo>
                  <a:lnTo>
                    <a:pt x="164" y="397"/>
                  </a:lnTo>
                  <a:lnTo>
                    <a:pt x="164" y="397"/>
                  </a:lnTo>
                  <a:lnTo>
                    <a:pt x="167" y="397"/>
                  </a:lnTo>
                  <a:lnTo>
                    <a:pt x="168" y="396"/>
                  </a:lnTo>
                  <a:lnTo>
                    <a:pt x="168" y="394"/>
                  </a:lnTo>
                  <a:lnTo>
                    <a:pt x="170" y="394"/>
                  </a:lnTo>
                  <a:lnTo>
                    <a:pt x="173" y="394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6" y="393"/>
                  </a:lnTo>
                  <a:lnTo>
                    <a:pt x="177" y="393"/>
                  </a:lnTo>
                  <a:lnTo>
                    <a:pt x="177" y="394"/>
                  </a:lnTo>
                  <a:lnTo>
                    <a:pt x="176" y="394"/>
                  </a:lnTo>
                  <a:lnTo>
                    <a:pt x="174" y="394"/>
                  </a:lnTo>
                  <a:lnTo>
                    <a:pt x="179" y="396"/>
                  </a:lnTo>
                  <a:lnTo>
                    <a:pt x="179" y="397"/>
                  </a:lnTo>
                  <a:lnTo>
                    <a:pt x="180" y="397"/>
                  </a:lnTo>
                  <a:lnTo>
                    <a:pt x="180" y="396"/>
                  </a:lnTo>
                  <a:lnTo>
                    <a:pt x="180" y="396"/>
                  </a:lnTo>
                  <a:lnTo>
                    <a:pt x="179" y="396"/>
                  </a:lnTo>
                  <a:lnTo>
                    <a:pt x="180" y="394"/>
                  </a:lnTo>
                  <a:lnTo>
                    <a:pt x="180" y="394"/>
                  </a:lnTo>
                  <a:lnTo>
                    <a:pt x="180" y="394"/>
                  </a:lnTo>
                  <a:lnTo>
                    <a:pt x="180" y="393"/>
                  </a:lnTo>
                  <a:lnTo>
                    <a:pt x="180" y="393"/>
                  </a:lnTo>
                  <a:lnTo>
                    <a:pt x="182" y="394"/>
                  </a:lnTo>
                  <a:lnTo>
                    <a:pt x="182" y="396"/>
                  </a:lnTo>
                  <a:lnTo>
                    <a:pt x="179" y="401"/>
                  </a:lnTo>
                  <a:lnTo>
                    <a:pt x="179" y="401"/>
                  </a:lnTo>
                  <a:lnTo>
                    <a:pt x="177" y="402"/>
                  </a:lnTo>
                  <a:lnTo>
                    <a:pt x="176" y="402"/>
                  </a:lnTo>
                  <a:lnTo>
                    <a:pt x="174" y="402"/>
                  </a:lnTo>
                  <a:lnTo>
                    <a:pt x="173" y="401"/>
                  </a:lnTo>
                  <a:lnTo>
                    <a:pt x="173" y="402"/>
                  </a:lnTo>
                  <a:lnTo>
                    <a:pt x="171" y="404"/>
                  </a:lnTo>
                  <a:lnTo>
                    <a:pt x="171" y="402"/>
                  </a:lnTo>
                  <a:lnTo>
                    <a:pt x="171" y="402"/>
                  </a:lnTo>
                  <a:lnTo>
                    <a:pt x="170" y="402"/>
                  </a:lnTo>
                  <a:lnTo>
                    <a:pt x="170" y="404"/>
                  </a:lnTo>
                  <a:lnTo>
                    <a:pt x="170" y="404"/>
                  </a:lnTo>
                  <a:lnTo>
                    <a:pt x="168" y="401"/>
                  </a:lnTo>
                  <a:lnTo>
                    <a:pt x="167" y="401"/>
                  </a:lnTo>
                  <a:lnTo>
                    <a:pt x="165" y="402"/>
                  </a:lnTo>
                  <a:lnTo>
                    <a:pt x="167" y="402"/>
                  </a:lnTo>
                  <a:lnTo>
                    <a:pt x="167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4"/>
                  </a:lnTo>
                  <a:lnTo>
                    <a:pt x="168" y="404"/>
                  </a:lnTo>
                  <a:lnTo>
                    <a:pt x="168" y="404"/>
                  </a:lnTo>
                  <a:lnTo>
                    <a:pt x="168" y="404"/>
                  </a:lnTo>
                  <a:lnTo>
                    <a:pt x="170" y="407"/>
                  </a:lnTo>
                  <a:lnTo>
                    <a:pt x="170" y="407"/>
                  </a:lnTo>
                  <a:lnTo>
                    <a:pt x="171" y="408"/>
                  </a:lnTo>
                  <a:lnTo>
                    <a:pt x="171" y="408"/>
                  </a:lnTo>
                  <a:lnTo>
                    <a:pt x="173" y="408"/>
                  </a:lnTo>
                  <a:lnTo>
                    <a:pt x="174" y="408"/>
                  </a:lnTo>
                  <a:lnTo>
                    <a:pt x="179" y="407"/>
                  </a:lnTo>
                  <a:lnTo>
                    <a:pt x="179" y="407"/>
                  </a:lnTo>
                  <a:lnTo>
                    <a:pt x="182" y="408"/>
                  </a:lnTo>
                  <a:lnTo>
                    <a:pt x="184" y="407"/>
                  </a:lnTo>
                  <a:lnTo>
                    <a:pt x="184" y="404"/>
                  </a:lnTo>
                  <a:lnTo>
                    <a:pt x="184" y="405"/>
                  </a:lnTo>
                  <a:lnTo>
                    <a:pt x="185" y="405"/>
                  </a:lnTo>
                  <a:lnTo>
                    <a:pt x="187" y="405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185" y="404"/>
                  </a:lnTo>
                  <a:lnTo>
                    <a:pt x="185" y="404"/>
                  </a:lnTo>
                  <a:lnTo>
                    <a:pt x="187" y="404"/>
                  </a:lnTo>
                  <a:lnTo>
                    <a:pt x="188" y="404"/>
                  </a:lnTo>
                  <a:lnTo>
                    <a:pt x="188" y="404"/>
                  </a:lnTo>
                  <a:lnTo>
                    <a:pt x="190" y="402"/>
                  </a:lnTo>
                  <a:lnTo>
                    <a:pt x="190" y="404"/>
                  </a:lnTo>
                  <a:lnTo>
                    <a:pt x="188" y="405"/>
                  </a:lnTo>
                  <a:lnTo>
                    <a:pt x="187" y="405"/>
                  </a:lnTo>
                  <a:lnTo>
                    <a:pt x="185" y="405"/>
                  </a:lnTo>
                  <a:lnTo>
                    <a:pt x="187" y="407"/>
                  </a:lnTo>
                  <a:lnTo>
                    <a:pt x="187" y="407"/>
                  </a:lnTo>
                  <a:lnTo>
                    <a:pt x="187" y="407"/>
                  </a:lnTo>
                  <a:lnTo>
                    <a:pt x="188" y="405"/>
                  </a:lnTo>
                  <a:lnTo>
                    <a:pt x="191" y="405"/>
                  </a:lnTo>
                  <a:lnTo>
                    <a:pt x="193" y="405"/>
                  </a:lnTo>
                  <a:lnTo>
                    <a:pt x="194" y="405"/>
                  </a:lnTo>
                  <a:lnTo>
                    <a:pt x="196" y="405"/>
                  </a:lnTo>
                  <a:lnTo>
                    <a:pt x="200" y="407"/>
                  </a:lnTo>
                  <a:lnTo>
                    <a:pt x="202" y="407"/>
                  </a:lnTo>
                  <a:lnTo>
                    <a:pt x="205" y="407"/>
                  </a:lnTo>
                  <a:lnTo>
                    <a:pt x="205" y="407"/>
                  </a:lnTo>
                  <a:lnTo>
                    <a:pt x="204" y="407"/>
                  </a:lnTo>
                  <a:lnTo>
                    <a:pt x="202" y="408"/>
                  </a:lnTo>
                  <a:lnTo>
                    <a:pt x="197" y="408"/>
                  </a:lnTo>
                  <a:lnTo>
                    <a:pt x="196" y="408"/>
                  </a:lnTo>
                  <a:lnTo>
                    <a:pt x="197" y="410"/>
                  </a:lnTo>
                  <a:lnTo>
                    <a:pt x="196" y="413"/>
                  </a:lnTo>
                  <a:lnTo>
                    <a:pt x="197" y="413"/>
                  </a:lnTo>
                  <a:lnTo>
                    <a:pt x="199" y="413"/>
                  </a:lnTo>
                  <a:lnTo>
                    <a:pt x="200" y="414"/>
                  </a:lnTo>
                  <a:lnTo>
                    <a:pt x="199" y="416"/>
                  </a:lnTo>
                  <a:lnTo>
                    <a:pt x="200" y="416"/>
                  </a:lnTo>
                  <a:lnTo>
                    <a:pt x="202" y="416"/>
                  </a:lnTo>
                  <a:lnTo>
                    <a:pt x="204" y="416"/>
                  </a:lnTo>
                  <a:lnTo>
                    <a:pt x="204" y="417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199" y="419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200" y="417"/>
                  </a:lnTo>
                  <a:lnTo>
                    <a:pt x="199" y="417"/>
                  </a:lnTo>
                  <a:lnTo>
                    <a:pt x="197" y="417"/>
                  </a:lnTo>
                  <a:lnTo>
                    <a:pt x="197" y="417"/>
                  </a:lnTo>
                  <a:lnTo>
                    <a:pt x="191" y="421"/>
                  </a:lnTo>
                  <a:lnTo>
                    <a:pt x="194" y="422"/>
                  </a:lnTo>
                  <a:lnTo>
                    <a:pt x="196" y="425"/>
                  </a:lnTo>
                  <a:lnTo>
                    <a:pt x="196" y="428"/>
                  </a:lnTo>
                  <a:lnTo>
                    <a:pt x="196" y="428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6" y="425"/>
                  </a:lnTo>
                  <a:lnTo>
                    <a:pt x="196" y="425"/>
                  </a:lnTo>
                  <a:lnTo>
                    <a:pt x="197" y="425"/>
                  </a:lnTo>
                  <a:lnTo>
                    <a:pt x="197" y="427"/>
                  </a:lnTo>
                  <a:lnTo>
                    <a:pt x="199" y="428"/>
                  </a:lnTo>
                  <a:lnTo>
                    <a:pt x="200" y="430"/>
                  </a:lnTo>
                  <a:lnTo>
                    <a:pt x="199" y="431"/>
                  </a:lnTo>
                  <a:lnTo>
                    <a:pt x="197" y="431"/>
                  </a:lnTo>
                  <a:lnTo>
                    <a:pt x="194" y="430"/>
                  </a:lnTo>
                  <a:lnTo>
                    <a:pt x="193" y="430"/>
                  </a:lnTo>
                  <a:lnTo>
                    <a:pt x="193" y="430"/>
                  </a:lnTo>
                  <a:lnTo>
                    <a:pt x="199" y="433"/>
                  </a:lnTo>
                  <a:lnTo>
                    <a:pt x="202" y="433"/>
                  </a:lnTo>
                  <a:lnTo>
                    <a:pt x="202" y="433"/>
                  </a:lnTo>
                  <a:lnTo>
                    <a:pt x="202" y="433"/>
                  </a:lnTo>
                  <a:lnTo>
                    <a:pt x="202" y="431"/>
                  </a:lnTo>
                  <a:lnTo>
                    <a:pt x="202" y="431"/>
                  </a:lnTo>
                  <a:lnTo>
                    <a:pt x="204" y="431"/>
                  </a:lnTo>
                  <a:lnTo>
                    <a:pt x="204" y="431"/>
                  </a:lnTo>
                  <a:lnTo>
                    <a:pt x="205" y="431"/>
                  </a:lnTo>
                  <a:lnTo>
                    <a:pt x="207" y="431"/>
                  </a:lnTo>
                  <a:lnTo>
                    <a:pt x="208" y="434"/>
                  </a:lnTo>
                  <a:lnTo>
                    <a:pt x="210" y="436"/>
                  </a:lnTo>
                  <a:lnTo>
                    <a:pt x="211" y="436"/>
                  </a:lnTo>
                  <a:lnTo>
                    <a:pt x="211" y="436"/>
                  </a:lnTo>
                  <a:lnTo>
                    <a:pt x="213" y="436"/>
                  </a:lnTo>
                  <a:lnTo>
                    <a:pt x="216" y="433"/>
                  </a:lnTo>
                  <a:lnTo>
                    <a:pt x="217" y="433"/>
                  </a:lnTo>
                  <a:lnTo>
                    <a:pt x="217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22" y="428"/>
                  </a:lnTo>
                  <a:lnTo>
                    <a:pt x="231" y="428"/>
                  </a:lnTo>
                  <a:lnTo>
                    <a:pt x="234" y="428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9" y="430"/>
                  </a:lnTo>
                  <a:lnTo>
                    <a:pt x="239" y="430"/>
                  </a:lnTo>
                  <a:lnTo>
                    <a:pt x="242" y="433"/>
                  </a:lnTo>
                  <a:lnTo>
                    <a:pt x="245" y="434"/>
                  </a:lnTo>
                  <a:lnTo>
                    <a:pt x="247" y="437"/>
                  </a:lnTo>
                  <a:lnTo>
                    <a:pt x="248" y="437"/>
                  </a:lnTo>
                  <a:lnTo>
                    <a:pt x="251" y="439"/>
                  </a:lnTo>
                  <a:lnTo>
                    <a:pt x="253" y="439"/>
                  </a:lnTo>
                  <a:lnTo>
                    <a:pt x="250" y="439"/>
                  </a:lnTo>
                  <a:lnTo>
                    <a:pt x="247" y="439"/>
                  </a:lnTo>
                  <a:lnTo>
                    <a:pt x="245" y="437"/>
                  </a:lnTo>
                  <a:lnTo>
                    <a:pt x="245" y="436"/>
                  </a:lnTo>
                  <a:lnTo>
                    <a:pt x="242" y="436"/>
                  </a:lnTo>
                  <a:lnTo>
                    <a:pt x="239" y="433"/>
                  </a:lnTo>
                  <a:lnTo>
                    <a:pt x="239" y="433"/>
                  </a:lnTo>
                  <a:lnTo>
                    <a:pt x="241" y="433"/>
                  </a:lnTo>
                  <a:lnTo>
                    <a:pt x="239" y="431"/>
                  </a:lnTo>
                  <a:lnTo>
                    <a:pt x="239" y="431"/>
                  </a:lnTo>
                  <a:lnTo>
                    <a:pt x="237" y="431"/>
                  </a:lnTo>
                  <a:lnTo>
                    <a:pt x="237" y="431"/>
                  </a:lnTo>
                  <a:lnTo>
                    <a:pt x="237" y="433"/>
                  </a:lnTo>
                  <a:lnTo>
                    <a:pt x="236" y="433"/>
                  </a:lnTo>
                  <a:lnTo>
                    <a:pt x="233" y="431"/>
                  </a:lnTo>
                  <a:lnTo>
                    <a:pt x="233" y="431"/>
                  </a:lnTo>
                  <a:lnTo>
                    <a:pt x="231" y="430"/>
                  </a:lnTo>
                  <a:lnTo>
                    <a:pt x="231" y="430"/>
                  </a:lnTo>
                  <a:lnTo>
                    <a:pt x="231" y="430"/>
                  </a:lnTo>
                  <a:lnTo>
                    <a:pt x="230" y="431"/>
                  </a:lnTo>
                  <a:lnTo>
                    <a:pt x="224" y="431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1" y="434"/>
                  </a:lnTo>
                  <a:lnTo>
                    <a:pt x="221" y="436"/>
                  </a:lnTo>
                  <a:lnTo>
                    <a:pt x="221" y="437"/>
                  </a:lnTo>
                  <a:lnTo>
                    <a:pt x="221" y="439"/>
                  </a:lnTo>
                  <a:lnTo>
                    <a:pt x="221" y="441"/>
                  </a:lnTo>
                  <a:lnTo>
                    <a:pt x="221" y="442"/>
                  </a:lnTo>
                  <a:lnTo>
                    <a:pt x="221" y="444"/>
                  </a:lnTo>
                  <a:lnTo>
                    <a:pt x="221" y="444"/>
                  </a:lnTo>
                  <a:lnTo>
                    <a:pt x="221" y="445"/>
                  </a:lnTo>
                  <a:lnTo>
                    <a:pt x="217" y="445"/>
                  </a:lnTo>
                  <a:lnTo>
                    <a:pt x="216" y="445"/>
                  </a:lnTo>
                  <a:lnTo>
                    <a:pt x="216" y="447"/>
                  </a:lnTo>
                  <a:lnTo>
                    <a:pt x="214" y="447"/>
                  </a:lnTo>
                  <a:lnTo>
                    <a:pt x="217" y="448"/>
                  </a:lnTo>
                  <a:lnTo>
                    <a:pt x="227" y="450"/>
                  </a:lnTo>
                  <a:lnTo>
                    <a:pt x="230" y="453"/>
                  </a:lnTo>
                  <a:lnTo>
                    <a:pt x="231" y="454"/>
                  </a:lnTo>
                  <a:lnTo>
                    <a:pt x="233" y="454"/>
                  </a:lnTo>
                  <a:lnTo>
                    <a:pt x="233" y="457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1" y="462"/>
                  </a:lnTo>
                  <a:lnTo>
                    <a:pt x="230" y="465"/>
                  </a:lnTo>
                  <a:lnTo>
                    <a:pt x="230" y="467"/>
                  </a:lnTo>
                  <a:lnTo>
                    <a:pt x="227" y="468"/>
                  </a:lnTo>
                  <a:lnTo>
                    <a:pt x="225" y="470"/>
                  </a:lnTo>
                  <a:lnTo>
                    <a:pt x="225" y="471"/>
                  </a:lnTo>
                  <a:lnTo>
                    <a:pt x="224" y="473"/>
                  </a:lnTo>
                  <a:lnTo>
                    <a:pt x="224" y="474"/>
                  </a:lnTo>
                  <a:lnTo>
                    <a:pt x="224" y="476"/>
                  </a:lnTo>
                  <a:lnTo>
                    <a:pt x="224" y="479"/>
                  </a:lnTo>
                  <a:lnTo>
                    <a:pt x="224" y="481"/>
                  </a:lnTo>
                  <a:lnTo>
                    <a:pt x="224" y="482"/>
                  </a:lnTo>
                  <a:lnTo>
                    <a:pt x="225" y="482"/>
                  </a:lnTo>
                  <a:lnTo>
                    <a:pt x="227" y="484"/>
                  </a:lnTo>
                  <a:lnTo>
                    <a:pt x="230" y="485"/>
                  </a:lnTo>
                  <a:lnTo>
                    <a:pt x="233" y="490"/>
                  </a:lnTo>
                  <a:lnTo>
                    <a:pt x="236" y="494"/>
                  </a:lnTo>
                  <a:lnTo>
                    <a:pt x="236" y="494"/>
                  </a:lnTo>
                  <a:lnTo>
                    <a:pt x="237" y="494"/>
                  </a:lnTo>
                  <a:lnTo>
                    <a:pt x="239" y="496"/>
                  </a:lnTo>
                  <a:lnTo>
                    <a:pt x="239" y="496"/>
                  </a:lnTo>
                  <a:lnTo>
                    <a:pt x="241" y="499"/>
                  </a:lnTo>
                  <a:lnTo>
                    <a:pt x="241" y="501"/>
                  </a:lnTo>
                  <a:lnTo>
                    <a:pt x="242" y="501"/>
                  </a:lnTo>
                  <a:lnTo>
                    <a:pt x="244" y="502"/>
                  </a:lnTo>
                  <a:lnTo>
                    <a:pt x="244" y="504"/>
                  </a:lnTo>
                  <a:lnTo>
                    <a:pt x="244" y="505"/>
                  </a:lnTo>
                  <a:lnTo>
                    <a:pt x="245" y="507"/>
                  </a:lnTo>
                  <a:lnTo>
                    <a:pt x="247" y="507"/>
                  </a:lnTo>
                  <a:lnTo>
                    <a:pt x="245" y="508"/>
                  </a:lnTo>
                  <a:lnTo>
                    <a:pt x="247" y="516"/>
                  </a:lnTo>
                  <a:lnTo>
                    <a:pt x="248" y="518"/>
                  </a:lnTo>
                  <a:lnTo>
                    <a:pt x="248" y="518"/>
                  </a:lnTo>
                  <a:lnTo>
                    <a:pt x="248" y="518"/>
                  </a:lnTo>
                  <a:lnTo>
                    <a:pt x="248" y="516"/>
                  </a:lnTo>
                  <a:lnTo>
                    <a:pt x="248" y="514"/>
                  </a:lnTo>
                  <a:lnTo>
                    <a:pt x="248" y="513"/>
                  </a:lnTo>
                  <a:lnTo>
                    <a:pt x="250" y="514"/>
                  </a:lnTo>
                  <a:lnTo>
                    <a:pt x="250" y="516"/>
                  </a:lnTo>
                  <a:lnTo>
                    <a:pt x="250" y="518"/>
                  </a:lnTo>
                  <a:lnTo>
                    <a:pt x="251" y="518"/>
                  </a:lnTo>
                  <a:lnTo>
                    <a:pt x="253" y="519"/>
                  </a:lnTo>
                  <a:lnTo>
                    <a:pt x="256" y="521"/>
                  </a:lnTo>
                  <a:lnTo>
                    <a:pt x="261" y="522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2" y="525"/>
                  </a:lnTo>
                  <a:lnTo>
                    <a:pt x="268" y="525"/>
                  </a:lnTo>
                  <a:lnTo>
                    <a:pt x="270" y="525"/>
                  </a:lnTo>
                  <a:lnTo>
                    <a:pt x="271" y="527"/>
                  </a:lnTo>
                  <a:lnTo>
                    <a:pt x="273" y="528"/>
                  </a:lnTo>
                  <a:lnTo>
                    <a:pt x="273" y="531"/>
                  </a:lnTo>
                  <a:lnTo>
                    <a:pt x="274" y="533"/>
                  </a:lnTo>
                  <a:lnTo>
                    <a:pt x="276" y="534"/>
                  </a:lnTo>
                  <a:lnTo>
                    <a:pt x="279" y="533"/>
                  </a:lnTo>
                  <a:lnTo>
                    <a:pt x="281" y="533"/>
                  </a:lnTo>
                  <a:lnTo>
                    <a:pt x="282" y="534"/>
                  </a:lnTo>
                  <a:lnTo>
                    <a:pt x="285" y="536"/>
                  </a:lnTo>
                  <a:lnTo>
                    <a:pt x="285" y="536"/>
                  </a:lnTo>
                  <a:lnTo>
                    <a:pt x="287" y="536"/>
                  </a:lnTo>
                  <a:lnTo>
                    <a:pt x="288" y="538"/>
                  </a:lnTo>
                  <a:lnTo>
                    <a:pt x="290" y="541"/>
                  </a:lnTo>
                  <a:lnTo>
                    <a:pt x="291" y="541"/>
                  </a:lnTo>
                  <a:lnTo>
                    <a:pt x="291" y="538"/>
                  </a:lnTo>
                  <a:lnTo>
                    <a:pt x="294" y="536"/>
                  </a:lnTo>
                  <a:lnTo>
                    <a:pt x="298" y="536"/>
                  </a:lnTo>
                  <a:lnTo>
                    <a:pt x="299" y="538"/>
                  </a:lnTo>
                  <a:lnTo>
                    <a:pt x="299" y="539"/>
                  </a:lnTo>
                  <a:lnTo>
                    <a:pt x="299" y="541"/>
                  </a:lnTo>
                  <a:lnTo>
                    <a:pt x="299" y="541"/>
                  </a:lnTo>
                  <a:lnTo>
                    <a:pt x="299" y="542"/>
                  </a:lnTo>
                  <a:lnTo>
                    <a:pt x="294" y="545"/>
                  </a:lnTo>
                  <a:lnTo>
                    <a:pt x="293" y="547"/>
                  </a:lnTo>
                  <a:lnTo>
                    <a:pt x="293" y="550"/>
                  </a:lnTo>
                  <a:lnTo>
                    <a:pt x="293" y="550"/>
                  </a:lnTo>
                  <a:lnTo>
                    <a:pt x="291" y="551"/>
                  </a:lnTo>
                  <a:lnTo>
                    <a:pt x="291" y="551"/>
                  </a:lnTo>
                  <a:lnTo>
                    <a:pt x="291" y="553"/>
                  </a:lnTo>
                  <a:lnTo>
                    <a:pt x="293" y="553"/>
                  </a:lnTo>
                  <a:lnTo>
                    <a:pt x="293" y="553"/>
                  </a:lnTo>
                  <a:lnTo>
                    <a:pt x="293" y="553"/>
                  </a:lnTo>
                  <a:lnTo>
                    <a:pt x="294" y="553"/>
                  </a:lnTo>
                  <a:lnTo>
                    <a:pt x="296" y="553"/>
                  </a:lnTo>
                  <a:lnTo>
                    <a:pt x="296" y="553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5"/>
                  </a:lnTo>
                  <a:lnTo>
                    <a:pt x="296" y="556"/>
                  </a:lnTo>
                  <a:lnTo>
                    <a:pt x="299" y="556"/>
                  </a:lnTo>
                  <a:lnTo>
                    <a:pt x="298" y="558"/>
                  </a:lnTo>
                  <a:lnTo>
                    <a:pt x="298" y="558"/>
                  </a:lnTo>
                  <a:lnTo>
                    <a:pt x="298" y="559"/>
                  </a:lnTo>
                  <a:lnTo>
                    <a:pt x="299" y="559"/>
                  </a:lnTo>
                  <a:lnTo>
                    <a:pt x="299" y="559"/>
                  </a:lnTo>
                  <a:lnTo>
                    <a:pt x="299" y="559"/>
                  </a:lnTo>
                  <a:lnTo>
                    <a:pt x="301" y="559"/>
                  </a:lnTo>
                  <a:lnTo>
                    <a:pt x="301" y="561"/>
                  </a:lnTo>
                  <a:lnTo>
                    <a:pt x="301" y="561"/>
                  </a:lnTo>
                  <a:lnTo>
                    <a:pt x="301" y="562"/>
                  </a:lnTo>
                  <a:lnTo>
                    <a:pt x="301" y="564"/>
                  </a:lnTo>
                  <a:lnTo>
                    <a:pt x="301" y="564"/>
                  </a:lnTo>
                  <a:lnTo>
                    <a:pt x="302" y="565"/>
                  </a:lnTo>
                  <a:lnTo>
                    <a:pt x="302" y="565"/>
                  </a:lnTo>
                  <a:lnTo>
                    <a:pt x="304" y="565"/>
                  </a:lnTo>
                  <a:lnTo>
                    <a:pt x="304" y="567"/>
                  </a:lnTo>
                  <a:lnTo>
                    <a:pt x="304" y="567"/>
                  </a:lnTo>
                  <a:lnTo>
                    <a:pt x="302" y="568"/>
                  </a:lnTo>
                  <a:lnTo>
                    <a:pt x="302" y="570"/>
                  </a:lnTo>
                  <a:lnTo>
                    <a:pt x="301" y="570"/>
                  </a:lnTo>
                  <a:lnTo>
                    <a:pt x="299" y="568"/>
                  </a:lnTo>
                  <a:lnTo>
                    <a:pt x="301" y="571"/>
                  </a:lnTo>
                  <a:lnTo>
                    <a:pt x="301" y="573"/>
                  </a:lnTo>
                  <a:lnTo>
                    <a:pt x="302" y="575"/>
                  </a:lnTo>
                  <a:lnTo>
                    <a:pt x="302" y="575"/>
                  </a:lnTo>
                  <a:lnTo>
                    <a:pt x="301" y="576"/>
                  </a:lnTo>
                  <a:lnTo>
                    <a:pt x="301" y="576"/>
                  </a:lnTo>
                  <a:lnTo>
                    <a:pt x="301" y="576"/>
                  </a:lnTo>
                  <a:lnTo>
                    <a:pt x="302" y="578"/>
                  </a:lnTo>
                  <a:lnTo>
                    <a:pt x="302" y="578"/>
                  </a:lnTo>
                  <a:lnTo>
                    <a:pt x="302" y="579"/>
                  </a:lnTo>
                  <a:lnTo>
                    <a:pt x="302" y="581"/>
                  </a:lnTo>
                  <a:lnTo>
                    <a:pt x="301" y="581"/>
                  </a:lnTo>
                  <a:lnTo>
                    <a:pt x="301" y="581"/>
                  </a:lnTo>
                  <a:lnTo>
                    <a:pt x="301" y="581"/>
                  </a:lnTo>
                  <a:lnTo>
                    <a:pt x="299" y="582"/>
                  </a:lnTo>
                  <a:lnTo>
                    <a:pt x="298" y="582"/>
                  </a:lnTo>
                  <a:lnTo>
                    <a:pt x="298" y="582"/>
                  </a:lnTo>
                  <a:lnTo>
                    <a:pt x="298" y="584"/>
                  </a:lnTo>
                  <a:lnTo>
                    <a:pt x="296" y="584"/>
                  </a:lnTo>
                  <a:lnTo>
                    <a:pt x="296" y="584"/>
                  </a:lnTo>
                  <a:lnTo>
                    <a:pt x="296" y="585"/>
                  </a:lnTo>
                  <a:lnTo>
                    <a:pt x="298" y="587"/>
                  </a:lnTo>
                  <a:lnTo>
                    <a:pt x="298" y="588"/>
                  </a:lnTo>
                  <a:lnTo>
                    <a:pt x="298" y="590"/>
                  </a:lnTo>
                  <a:lnTo>
                    <a:pt x="298" y="591"/>
                  </a:lnTo>
                  <a:lnTo>
                    <a:pt x="299" y="593"/>
                  </a:lnTo>
                  <a:lnTo>
                    <a:pt x="307" y="599"/>
                  </a:lnTo>
                  <a:lnTo>
                    <a:pt x="308" y="601"/>
                  </a:lnTo>
                  <a:lnTo>
                    <a:pt x="304" y="598"/>
                  </a:lnTo>
                  <a:lnTo>
                    <a:pt x="302" y="598"/>
                  </a:lnTo>
                  <a:lnTo>
                    <a:pt x="301" y="596"/>
                  </a:lnTo>
                  <a:lnTo>
                    <a:pt x="296" y="591"/>
                  </a:lnTo>
                  <a:lnTo>
                    <a:pt x="294" y="591"/>
                  </a:lnTo>
                  <a:lnTo>
                    <a:pt x="290" y="593"/>
                  </a:lnTo>
                  <a:lnTo>
                    <a:pt x="290" y="595"/>
                  </a:lnTo>
                  <a:lnTo>
                    <a:pt x="288" y="601"/>
                  </a:lnTo>
                  <a:lnTo>
                    <a:pt x="290" y="602"/>
                  </a:lnTo>
                  <a:lnTo>
                    <a:pt x="293" y="601"/>
                  </a:lnTo>
                  <a:lnTo>
                    <a:pt x="294" y="602"/>
                  </a:lnTo>
                  <a:lnTo>
                    <a:pt x="294" y="604"/>
                  </a:lnTo>
                  <a:lnTo>
                    <a:pt x="296" y="605"/>
                  </a:lnTo>
                  <a:lnTo>
                    <a:pt x="298" y="605"/>
                  </a:lnTo>
                  <a:lnTo>
                    <a:pt x="299" y="605"/>
                  </a:lnTo>
                  <a:lnTo>
                    <a:pt x="301" y="607"/>
                  </a:lnTo>
                  <a:lnTo>
                    <a:pt x="305" y="610"/>
                  </a:lnTo>
                  <a:lnTo>
                    <a:pt x="307" y="611"/>
                  </a:lnTo>
                  <a:lnTo>
                    <a:pt x="308" y="611"/>
                  </a:lnTo>
                  <a:lnTo>
                    <a:pt x="308" y="615"/>
                  </a:lnTo>
                  <a:lnTo>
                    <a:pt x="308" y="615"/>
                  </a:lnTo>
                  <a:lnTo>
                    <a:pt x="319" y="622"/>
                  </a:lnTo>
                  <a:lnTo>
                    <a:pt x="322" y="625"/>
                  </a:lnTo>
                  <a:lnTo>
                    <a:pt x="324" y="628"/>
                  </a:lnTo>
                  <a:lnTo>
                    <a:pt x="325" y="632"/>
                  </a:lnTo>
                  <a:lnTo>
                    <a:pt x="328" y="638"/>
                  </a:lnTo>
                  <a:lnTo>
                    <a:pt x="328" y="642"/>
                  </a:lnTo>
                  <a:lnTo>
                    <a:pt x="331" y="662"/>
                  </a:lnTo>
                  <a:lnTo>
                    <a:pt x="333" y="665"/>
                  </a:lnTo>
                  <a:lnTo>
                    <a:pt x="334" y="668"/>
                  </a:lnTo>
                  <a:lnTo>
                    <a:pt x="338" y="670"/>
                  </a:lnTo>
                  <a:lnTo>
                    <a:pt x="341" y="672"/>
                  </a:lnTo>
                  <a:lnTo>
                    <a:pt x="344" y="673"/>
                  </a:lnTo>
                  <a:lnTo>
                    <a:pt x="345" y="676"/>
                  </a:lnTo>
                  <a:lnTo>
                    <a:pt x="344" y="675"/>
                  </a:lnTo>
                  <a:lnTo>
                    <a:pt x="342" y="675"/>
                  </a:lnTo>
                  <a:lnTo>
                    <a:pt x="339" y="673"/>
                  </a:lnTo>
                  <a:lnTo>
                    <a:pt x="338" y="673"/>
                  </a:lnTo>
                  <a:lnTo>
                    <a:pt x="339" y="675"/>
                  </a:lnTo>
                  <a:lnTo>
                    <a:pt x="341" y="676"/>
                  </a:lnTo>
                  <a:lnTo>
                    <a:pt x="342" y="679"/>
                  </a:lnTo>
                  <a:lnTo>
                    <a:pt x="341" y="682"/>
                  </a:lnTo>
                  <a:lnTo>
                    <a:pt x="341" y="682"/>
                  </a:lnTo>
                  <a:lnTo>
                    <a:pt x="342" y="685"/>
                  </a:lnTo>
                  <a:lnTo>
                    <a:pt x="342" y="687"/>
                  </a:lnTo>
                  <a:lnTo>
                    <a:pt x="341" y="687"/>
                  </a:lnTo>
                  <a:lnTo>
                    <a:pt x="341" y="685"/>
                  </a:lnTo>
                  <a:lnTo>
                    <a:pt x="339" y="682"/>
                  </a:lnTo>
                  <a:lnTo>
                    <a:pt x="339" y="681"/>
                  </a:lnTo>
                  <a:lnTo>
                    <a:pt x="341" y="679"/>
                  </a:lnTo>
                  <a:lnTo>
                    <a:pt x="341" y="678"/>
                  </a:lnTo>
                  <a:lnTo>
                    <a:pt x="339" y="676"/>
                  </a:lnTo>
                  <a:lnTo>
                    <a:pt x="339" y="676"/>
                  </a:lnTo>
                  <a:lnTo>
                    <a:pt x="336" y="675"/>
                  </a:lnTo>
                  <a:lnTo>
                    <a:pt x="333" y="672"/>
                  </a:lnTo>
                  <a:lnTo>
                    <a:pt x="331" y="668"/>
                  </a:lnTo>
                  <a:lnTo>
                    <a:pt x="328" y="662"/>
                  </a:lnTo>
                  <a:lnTo>
                    <a:pt x="328" y="661"/>
                  </a:lnTo>
                  <a:lnTo>
                    <a:pt x="327" y="652"/>
                  </a:lnTo>
                  <a:lnTo>
                    <a:pt x="325" y="647"/>
                  </a:lnTo>
                  <a:lnTo>
                    <a:pt x="325" y="645"/>
                  </a:lnTo>
                  <a:lnTo>
                    <a:pt x="325" y="642"/>
                  </a:lnTo>
                  <a:lnTo>
                    <a:pt x="322" y="639"/>
                  </a:lnTo>
                  <a:lnTo>
                    <a:pt x="313" y="628"/>
                  </a:lnTo>
                  <a:lnTo>
                    <a:pt x="313" y="628"/>
                  </a:lnTo>
                  <a:lnTo>
                    <a:pt x="310" y="627"/>
                  </a:lnTo>
                  <a:lnTo>
                    <a:pt x="304" y="622"/>
                  </a:lnTo>
                  <a:lnTo>
                    <a:pt x="304" y="622"/>
                  </a:lnTo>
                  <a:lnTo>
                    <a:pt x="302" y="621"/>
                  </a:lnTo>
                  <a:lnTo>
                    <a:pt x="302" y="621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4" y="618"/>
                  </a:lnTo>
                  <a:lnTo>
                    <a:pt x="304" y="616"/>
                  </a:lnTo>
                  <a:lnTo>
                    <a:pt x="302" y="616"/>
                  </a:lnTo>
                  <a:lnTo>
                    <a:pt x="302" y="616"/>
                  </a:lnTo>
                  <a:lnTo>
                    <a:pt x="301" y="616"/>
                  </a:lnTo>
                  <a:lnTo>
                    <a:pt x="299" y="618"/>
                  </a:lnTo>
                  <a:lnTo>
                    <a:pt x="298" y="624"/>
                  </a:lnTo>
                  <a:lnTo>
                    <a:pt x="298" y="625"/>
                  </a:lnTo>
                  <a:lnTo>
                    <a:pt x="296" y="647"/>
                  </a:lnTo>
                  <a:lnTo>
                    <a:pt x="293" y="664"/>
                  </a:lnTo>
                  <a:lnTo>
                    <a:pt x="288" y="715"/>
                  </a:lnTo>
                  <a:lnTo>
                    <a:pt x="288" y="715"/>
                  </a:lnTo>
                  <a:lnTo>
                    <a:pt x="288" y="712"/>
                  </a:lnTo>
                  <a:lnTo>
                    <a:pt x="290" y="707"/>
                  </a:lnTo>
                  <a:lnTo>
                    <a:pt x="293" y="702"/>
                  </a:lnTo>
                  <a:lnTo>
                    <a:pt x="293" y="701"/>
                  </a:lnTo>
                  <a:lnTo>
                    <a:pt x="294" y="701"/>
                  </a:lnTo>
                  <a:lnTo>
                    <a:pt x="294" y="701"/>
                  </a:lnTo>
                  <a:lnTo>
                    <a:pt x="294" y="699"/>
                  </a:lnTo>
                  <a:lnTo>
                    <a:pt x="294" y="699"/>
                  </a:lnTo>
                  <a:lnTo>
                    <a:pt x="294" y="699"/>
                  </a:lnTo>
                  <a:lnTo>
                    <a:pt x="296" y="699"/>
                  </a:lnTo>
                  <a:lnTo>
                    <a:pt x="296" y="699"/>
                  </a:lnTo>
                  <a:lnTo>
                    <a:pt x="296" y="701"/>
                  </a:lnTo>
                  <a:lnTo>
                    <a:pt x="296" y="701"/>
                  </a:lnTo>
                  <a:lnTo>
                    <a:pt x="302" y="705"/>
                  </a:lnTo>
                  <a:lnTo>
                    <a:pt x="304" y="707"/>
                  </a:lnTo>
                  <a:lnTo>
                    <a:pt x="302" y="707"/>
                  </a:lnTo>
                  <a:lnTo>
                    <a:pt x="304" y="708"/>
                  </a:lnTo>
                  <a:lnTo>
                    <a:pt x="304" y="712"/>
                  </a:lnTo>
                  <a:lnTo>
                    <a:pt x="302" y="712"/>
                  </a:lnTo>
                  <a:lnTo>
                    <a:pt x="299" y="712"/>
                  </a:lnTo>
                  <a:lnTo>
                    <a:pt x="294" y="712"/>
                  </a:lnTo>
                  <a:lnTo>
                    <a:pt x="293" y="712"/>
                  </a:lnTo>
                  <a:lnTo>
                    <a:pt x="291" y="713"/>
                  </a:lnTo>
                  <a:lnTo>
                    <a:pt x="290" y="718"/>
                  </a:lnTo>
                  <a:lnTo>
                    <a:pt x="290" y="719"/>
                  </a:lnTo>
                  <a:lnTo>
                    <a:pt x="290" y="719"/>
                  </a:lnTo>
                  <a:lnTo>
                    <a:pt x="288" y="722"/>
                  </a:lnTo>
                  <a:lnTo>
                    <a:pt x="288" y="724"/>
                  </a:lnTo>
                  <a:lnTo>
                    <a:pt x="288" y="727"/>
                  </a:lnTo>
                  <a:lnTo>
                    <a:pt x="288" y="729"/>
                  </a:lnTo>
                  <a:lnTo>
                    <a:pt x="288" y="735"/>
                  </a:lnTo>
                  <a:lnTo>
                    <a:pt x="287" y="749"/>
                  </a:lnTo>
                  <a:lnTo>
                    <a:pt x="282" y="778"/>
                  </a:lnTo>
                  <a:lnTo>
                    <a:pt x="279" y="792"/>
                  </a:lnTo>
                  <a:lnTo>
                    <a:pt x="277" y="798"/>
                  </a:lnTo>
                  <a:lnTo>
                    <a:pt x="274" y="815"/>
                  </a:lnTo>
                  <a:lnTo>
                    <a:pt x="273" y="821"/>
                  </a:lnTo>
                  <a:lnTo>
                    <a:pt x="271" y="824"/>
                  </a:lnTo>
                  <a:lnTo>
                    <a:pt x="270" y="827"/>
                  </a:lnTo>
                  <a:lnTo>
                    <a:pt x="268" y="827"/>
                  </a:lnTo>
                  <a:lnTo>
                    <a:pt x="267" y="832"/>
                  </a:lnTo>
                  <a:lnTo>
                    <a:pt x="265" y="832"/>
                  </a:lnTo>
                  <a:lnTo>
                    <a:pt x="265" y="833"/>
                  </a:lnTo>
                  <a:lnTo>
                    <a:pt x="264" y="836"/>
                  </a:lnTo>
                  <a:lnTo>
                    <a:pt x="262" y="838"/>
                  </a:lnTo>
                  <a:lnTo>
                    <a:pt x="262" y="838"/>
                  </a:lnTo>
                  <a:lnTo>
                    <a:pt x="259" y="839"/>
                  </a:lnTo>
                  <a:lnTo>
                    <a:pt x="257" y="842"/>
                  </a:lnTo>
                  <a:lnTo>
                    <a:pt x="251" y="842"/>
                  </a:lnTo>
                  <a:lnTo>
                    <a:pt x="250" y="844"/>
                  </a:lnTo>
                  <a:lnTo>
                    <a:pt x="250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4"/>
                  </a:lnTo>
                  <a:lnTo>
                    <a:pt x="248" y="847"/>
                  </a:lnTo>
                  <a:lnTo>
                    <a:pt x="248" y="847"/>
                  </a:lnTo>
                  <a:lnTo>
                    <a:pt x="250" y="849"/>
                  </a:lnTo>
                  <a:lnTo>
                    <a:pt x="251" y="850"/>
                  </a:lnTo>
                  <a:lnTo>
                    <a:pt x="251" y="852"/>
                  </a:lnTo>
                  <a:lnTo>
                    <a:pt x="251" y="853"/>
                  </a:lnTo>
                  <a:lnTo>
                    <a:pt x="251" y="853"/>
                  </a:lnTo>
                  <a:lnTo>
                    <a:pt x="253" y="853"/>
                  </a:lnTo>
                  <a:lnTo>
                    <a:pt x="253" y="852"/>
                  </a:lnTo>
                  <a:lnTo>
                    <a:pt x="254" y="852"/>
                  </a:lnTo>
                  <a:lnTo>
                    <a:pt x="256" y="852"/>
                  </a:lnTo>
                  <a:lnTo>
                    <a:pt x="257" y="852"/>
                  </a:lnTo>
                  <a:lnTo>
                    <a:pt x="259" y="852"/>
                  </a:lnTo>
                  <a:lnTo>
                    <a:pt x="259" y="853"/>
                  </a:lnTo>
                  <a:lnTo>
                    <a:pt x="259" y="853"/>
                  </a:lnTo>
                  <a:lnTo>
                    <a:pt x="259" y="853"/>
                  </a:lnTo>
                  <a:lnTo>
                    <a:pt x="259" y="855"/>
                  </a:lnTo>
                  <a:lnTo>
                    <a:pt x="259" y="856"/>
                  </a:lnTo>
                  <a:lnTo>
                    <a:pt x="261" y="856"/>
                  </a:lnTo>
                  <a:lnTo>
                    <a:pt x="261" y="858"/>
                  </a:lnTo>
                  <a:lnTo>
                    <a:pt x="262" y="858"/>
                  </a:lnTo>
                  <a:lnTo>
                    <a:pt x="262" y="858"/>
                  </a:lnTo>
                  <a:lnTo>
                    <a:pt x="264" y="856"/>
                  </a:lnTo>
                  <a:lnTo>
                    <a:pt x="264" y="856"/>
                  </a:lnTo>
                  <a:lnTo>
                    <a:pt x="265" y="855"/>
                  </a:lnTo>
                  <a:lnTo>
                    <a:pt x="265" y="853"/>
                  </a:lnTo>
                  <a:lnTo>
                    <a:pt x="267" y="853"/>
                  </a:lnTo>
                  <a:lnTo>
                    <a:pt x="270" y="855"/>
                  </a:lnTo>
                  <a:lnTo>
                    <a:pt x="273" y="856"/>
                  </a:lnTo>
                  <a:lnTo>
                    <a:pt x="273" y="856"/>
                  </a:lnTo>
                  <a:lnTo>
                    <a:pt x="274" y="856"/>
                  </a:lnTo>
                  <a:lnTo>
                    <a:pt x="274" y="856"/>
                  </a:lnTo>
                  <a:lnTo>
                    <a:pt x="277" y="858"/>
                  </a:lnTo>
                  <a:lnTo>
                    <a:pt x="277" y="861"/>
                  </a:lnTo>
                  <a:lnTo>
                    <a:pt x="276" y="866"/>
                  </a:lnTo>
                  <a:lnTo>
                    <a:pt x="276" y="869"/>
                  </a:lnTo>
                  <a:lnTo>
                    <a:pt x="274" y="870"/>
                  </a:lnTo>
                  <a:lnTo>
                    <a:pt x="271" y="873"/>
                  </a:lnTo>
                  <a:lnTo>
                    <a:pt x="271" y="875"/>
                  </a:lnTo>
                  <a:lnTo>
                    <a:pt x="271" y="876"/>
                  </a:lnTo>
                  <a:lnTo>
                    <a:pt x="273" y="878"/>
                  </a:lnTo>
                  <a:lnTo>
                    <a:pt x="274" y="879"/>
                  </a:lnTo>
                  <a:lnTo>
                    <a:pt x="276" y="879"/>
                  </a:lnTo>
                  <a:lnTo>
                    <a:pt x="279" y="879"/>
                  </a:lnTo>
                  <a:lnTo>
                    <a:pt x="281" y="879"/>
                  </a:lnTo>
                  <a:lnTo>
                    <a:pt x="281" y="878"/>
                  </a:lnTo>
                  <a:lnTo>
                    <a:pt x="281" y="875"/>
                  </a:lnTo>
                  <a:lnTo>
                    <a:pt x="281" y="873"/>
                  </a:lnTo>
                  <a:lnTo>
                    <a:pt x="282" y="872"/>
                  </a:lnTo>
                  <a:lnTo>
                    <a:pt x="284" y="872"/>
                  </a:lnTo>
                  <a:lnTo>
                    <a:pt x="285" y="872"/>
                  </a:lnTo>
                  <a:lnTo>
                    <a:pt x="284" y="873"/>
                  </a:lnTo>
                  <a:lnTo>
                    <a:pt x="284" y="875"/>
                  </a:lnTo>
                  <a:lnTo>
                    <a:pt x="284" y="875"/>
                  </a:lnTo>
                  <a:lnTo>
                    <a:pt x="285" y="876"/>
                  </a:lnTo>
                  <a:lnTo>
                    <a:pt x="287" y="878"/>
                  </a:lnTo>
                  <a:lnTo>
                    <a:pt x="291" y="878"/>
                  </a:lnTo>
                  <a:lnTo>
                    <a:pt x="293" y="879"/>
                  </a:lnTo>
                  <a:lnTo>
                    <a:pt x="296" y="883"/>
                  </a:lnTo>
                  <a:lnTo>
                    <a:pt x="299" y="881"/>
                  </a:lnTo>
                  <a:lnTo>
                    <a:pt x="299" y="883"/>
                  </a:lnTo>
                  <a:lnTo>
                    <a:pt x="301" y="883"/>
                  </a:lnTo>
                  <a:lnTo>
                    <a:pt x="301" y="883"/>
                  </a:lnTo>
                  <a:lnTo>
                    <a:pt x="304" y="884"/>
                  </a:lnTo>
                  <a:lnTo>
                    <a:pt x="305" y="884"/>
                  </a:lnTo>
                  <a:lnTo>
                    <a:pt x="305" y="886"/>
                  </a:lnTo>
                  <a:lnTo>
                    <a:pt x="308" y="887"/>
                  </a:lnTo>
                  <a:lnTo>
                    <a:pt x="311" y="887"/>
                  </a:lnTo>
                  <a:lnTo>
                    <a:pt x="318" y="889"/>
                  </a:lnTo>
                  <a:lnTo>
                    <a:pt x="324" y="887"/>
                  </a:lnTo>
                  <a:lnTo>
                    <a:pt x="325" y="889"/>
                  </a:lnTo>
                  <a:lnTo>
                    <a:pt x="327" y="890"/>
                  </a:lnTo>
                  <a:lnTo>
                    <a:pt x="327" y="892"/>
                  </a:lnTo>
                  <a:lnTo>
                    <a:pt x="327" y="892"/>
                  </a:lnTo>
                  <a:lnTo>
                    <a:pt x="327" y="893"/>
                  </a:lnTo>
                  <a:lnTo>
                    <a:pt x="327" y="893"/>
                  </a:lnTo>
                  <a:lnTo>
                    <a:pt x="327" y="895"/>
                  </a:lnTo>
                  <a:lnTo>
                    <a:pt x="327" y="895"/>
                  </a:lnTo>
                  <a:lnTo>
                    <a:pt x="328" y="895"/>
                  </a:lnTo>
                  <a:lnTo>
                    <a:pt x="328" y="895"/>
                  </a:lnTo>
                  <a:lnTo>
                    <a:pt x="330" y="895"/>
                  </a:lnTo>
                  <a:lnTo>
                    <a:pt x="331" y="896"/>
                  </a:lnTo>
                  <a:lnTo>
                    <a:pt x="333" y="898"/>
                  </a:lnTo>
                  <a:lnTo>
                    <a:pt x="336" y="901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6" y="903"/>
                  </a:lnTo>
                  <a:lnTo>
                    <a:pt x="338" y="903"/>
                  </a:lnTo>
                  <a:lnTo>
                    <a:pt x="338" y="903"/>
                  </a:lnTo>
                  <a:lnTo>
                    <a:pt x="339" y="904"/>
                  </a:lnTo>
                  <a:lnTo>
                    <a:pt x="339" y="904"/>
                  </a:lnTo>
                  <a:lnTo>
                    <a:pt x="339" y="906"/>
                  </a:lnTo>
                  <a:lnTo>
                    <a:pt x="339" y="906"/>
                  </a:lnTo>
                  <a:lnTo>
                    <a:pt x="339" y="906"/>
                  </a:lnTo>
                  <a:lnTo>
                    <a:pt x="341" y="904"/>
                  </a:lnTo>
                  <a:lnTo>
                    <a:pt x="342" y="904"/>
                  </a:lnTo>
                  <a:lnTo>
                    <a:pt x="342" y="903"/>
                  </a:lnTo>
                  <a:lnTo>
                    <a:pt x="344" y="903"/>
                  </a:lnTo>
                  <a:lnTo>
                    <a:pt x="348" y="904"/>
                  </a:lnTo>
                  <a:lnTo>
                    <a:pt x="350" y="904"/>
                  </a:lnTo>
                  <a:lnTo>
                    <a:pt x="351" y="903"/>
                  </a:lnTo>
                  <a:lnTo>
                    <a:pt x="356" y="899"/>
                  </a:lnTo>
                  <a:lnTo>
                    <a:pt x="356" y="901"/>
                  </a:lnTo>
                  <a:lnTo>
                    <a:pt x="356" y="901"/>
                  </a:lnTo>
                  <a:lnTo>
                    <a:pt x="358" y="899"/>
                  </a:lnTo>
                  <a:lnTo>
                    <a:pt x="358" y="898"/>
                  </a:lnTo>
                  <a:lnTo>
                    <a:pt x="359" y="899"/>
                  </a:lnTo>
                  <a:lnTo>
                    <a:pt x="359" y="899"/>
                  </a:lnTo>
                  <a:lnTo>
                    <a:pt x="364" y="903"/>
                  </a:lnTo>
                  <a:lnTo>
                    <a:pt x="364" y="904"/>
                  </a:lnTo>
                  <a:lnTo>
                    <a:pt x="367" y="904"/>
                  </a:lnTo>
                  <a:lnTo>
                    <a:pt x="368" y="904"/>
                  </a:lnTo>
                  <a:lnTo>
                    <a:pt x="370" y="903"/>
                  </a:lnTo>
                  <a:lnTo>
                    <a:pt x="370" y="906"/>
                  </a:lnTo>
                  <a:lnTo>
                    <a:pt x="370" y="907"/>
                  </a:lnTo>
                  <a:lnTo>
                    <a:pt x="371" y="909"/>
                  </a:lnTo>
                  <a:lnTo>
                    <a:pt x="371" y="909"/>
                  </a:lnTo>
                  <a:lnTo>
                    <a:pt x="373" y="910"/>
                  </a:lnTo>
                  <a:lnTo>
                    <a:pt x="373" y="910"/>
                  </a:lnTo>
                  <a:lnTo>
                    <a:pt x="373" y="912"/>
                  </a:lnTo>
                  <a:lnTo>
                    <a:pt x="373" y="912"/>
                  </a:lnTo>
                  <a:lnTo>
                    <a:pt x="375" y="912"/>
                  </a:lnTo>
                  <a:lnTo>
                    <a:pt x="375" y="912"/>
                  </a:lnTo>
                  <a:lnTo>
                    <a:pt x="376" y="913"/>
                  </a:lnTo>
                  <a:lnTo>
                    <a:pt x="376" y="913"/>
                  </a:lnTo>
                  <a:lnTo>
                    <a:pt x="379" y="915"/>
                  </a:lnTo>
                  <a:lnTo>
                    <a:pt x="381" y="915"/>
                  </a:lnTo>
                  <a:lnTo>
                    <a:pt x="387" y="912"/>
                  </a:lnTo>
                  <a:lnTo>
                    <a:pt x="391" y="912"/>
                  </a:lnTo>
                  <a:lnTo>
                    <a:pt x="393" y="910"/>
                  </a:lnTo>
                  <a:lnTo>
                    <a:pt x="395" y="910"/>
                  </a:lnTo>
                  <a:lnTo>
                    <a:pt x="398" y="912"/>
                  </a:lnTo>
                  <a:lnTo>
                    <a:pt x="399" y="912"/>
                  </a:lnTo>
                  <a:lnTo>
                    <a:pt x="401" y="915"/>
                  </a:lnTo>
                  <a:lnTo>
                    <a:pt x="402" y="916"/>
                  </a:lnTo>
                  <a:lnTo>
                    <a:pt x="404" y="916"/>
                  </a:lnTo>
                  <a:lnTo>
                    <a:pt x="405" y="913"/>
                  </a:lnTo>
                  <a:lnTo>
                    <a:pt x="407" y="912"/>
                  </a:lnTo>
                  <a:lnTo>
                    <a:pt x="408" y="912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3"/>
                  </a:lnTo>
                  <a:lnTo>
                    <a:pt x="410" y="915"/>
                  </a:lnTo>
                  <a:lnTo>
                    <a:pt x="411" y="915"/>
                  </a:lnTo>
                  <a:lnTo>
                    <a:pt x="413" y="915"/>
                  </a:lnTo>
                  <a:lnTo>
                    <a:pt x="416" y="913"/>
                  </a:lnTo>
                  <a:lnTo>
                    <a:pt x="418" y="915"/>
                  </a:lnTo>
                  <a:lnTo>
                    <a:pt x="427" y="915"/>
                  </a:lnTo>
                  <a:lnTo>
                    <a:pt x="430" y="915"/>
                  </a:lnTo>
                  <a:lnTo>
                    <a:pt x="430" y="915"/>
                  </a:lnTo>
                  <a:lnTo>
                    <a:pt x="432" y="913"/>
                  </a:lnTo>
                  <a:lnTo>
                    <a:pt x="432" y="913"/>
                  </a:lnTo>
                  <a:lnTo>
                    <a:pt x="432" y="912"/>
                  </a:lnTo>
                  <a:lnTo>
                    <a:pt x="430" y="910"/>
                  </a:lnTo>
                  <a:lnTo>
                    <a:pt x="430" y="909"/>
                  </a:lnTo>
                  <a:lnTo>
                    <a:pt x="428" y="909"/>
                  </a:lnTo>
                  <a:lnTo>
                    <a:pt x="430" y="907"/>
                  </a:lnTo>
                  <a:lnTo>
                    <a:pt x="430" y="907"/>
                  </a:lnTo>
                  <a:lnTo>
                    <a:pt x="430" y="907"/>
                  </a:lnTo>
                  <a:lnTo>
                    <a:pt x="430" y="906"/>
                  </a:lnTo>
                  <a:lnTo>
                    <a:pt x="430" y="903"/>
                  </a:lnTo>
                  <a:lnTo>
                    <a:pt x="430" y="901"/>
                  </a:lnTo>
                  <a:lnTo>
                    <a:pt x="430" y="899"/>
                  </a:lnTo>
                  <a:lnTo>
                    <a:pt x="432" y="898"/>
                  </a:lnTo>
                  <a:lnTo>
                    <a:pt x="435" y="898"/>
                  </a:lnTo>
                  <a:lnTo>
                    <a:pt x="436" y="898"/>
                  </a:lnTo>
                  <a:lnTo>
                    <a:pt x="438" y="899"/>
                  </a:lnTo>
                  <a:lnTo>
                    <a:pt x="439" y="899"/>
                  </a:lnTo>
                  <a:lnTo>
                    <a:pt x="441" y="899"/>
                  </a:lnTo>
                  <a:lnTo>
                    <a:pt x="442" y="899"/>
                  </a:lnTo>
                  <a:lnTo>
                    <a:pt x="445" y="901"/>
                  </a:lnTo>
                  <a:lnTo>
                    <a:pt x="447" y="903"/>
                  </a:lnTo>
                  <a:lnTo>
                    <a:pt x="448" y="903"/>
                  </a:lnTo>
                  <a:lnTo>
                    <a:pt x="450" y="904"/>
                  </a:lnTo>
                  <a:lnTo>
                    <a:pt x="450" y="904"/>
                  </a:lnTo>
                  <a:lnTo>
                    <a:pt x="452" y="904"/>
                  </a:lnTo>
                  <a:lnTo>
                    <a:pt x="452" y="904"/>
                  </a:lnTo>
                  <a:lnTo>
                    <a:pt x="453" y="903"/>
                  </a:lnTo>
                  <a:lnTo>
                    <a:pt x="453" y="904"/>
                  </a:lnTo>
                  <a:lnTo>
                    <a:pt x="455" y="904"/>
                  </a:lnTo>
                  <a:lnTo>
                    <a:pt x="455" y="904"/>
                  </a:lnTo>
                  <a:lnTo>
                    <a:pt x="461" y="906"/>
                  </a:lnTo>
                  <a:lnTo>
                    <a:pt x="462" y="906"/>
                  </a:lnTo>
                  <a:lnTo>
                    <a:pt x="464" y="907"/>
                  </a:lnTo>
                  <a:lnTo>
                    <a:pt x="465" y="909"/>
                  </a:lnTo>
                  <a:lnTo>
                    <a:pt x="465" y="910"/>
                  </a:lnTo>
                  <a:lnTo>
                    <a:pt x="465" y="912"/>
                  </a:lnTo>
                  <a:lnTo>
                    <a:pt x="467" y="912"/>
                  </a:lnTo>
                  <a:lnTo>
                    <a:pt x="468" y="912"/>
                  </a:lnTo>
                  <a:lnTo>
                    <a:pt x="470" y="912"/>
                  </a:lnTo>
                  <a:lnTo>
                    <a:pt x="479" y="912"/>
                  </a:lnTo>
                  <a:lnTo>
                    <a:pt x="482" y="912"/>
                  </a:lnTo>
                  <a:lnTo>
                    <a:pt x="481" y="913"/>
                  </a:lnTo>
                  <a:lnTo>
                    <a:pt x="482" y="913"/>
                  </a:lnTo>
                  <a:lnTo>
                    <a:pt x="482" y="913"/>
                  </a:lnTo>
                  <a:lnTo>
                    <a:pt x="482" y="915"/>
                  </a:lnTo>
                  <a:lnTo>
                    <a:pt x="484" y="916"/>
                  </a:lnTo>
                  <a:lnTo>
                    <a:pt x="485" y="918"/>
                  </a:lnTo>
                  <a:lnTo>
                    <a:pt x="487" y="923"/>
                  </a:lnTo>
                  <a:lnTo>
                    <a:pt x="488" y="924"/>
                  </a:lnTo>
                  <a:lnTo>
                    <a:pt x="490" y="923"/>
                  </a:lnTo>
                  <a:lnTo>
                    <a:pt x="492" y="919"/>
                  </a:lnTo>
                  <a:lnTo>
                    <a:pt x="493" y="919"/>
                  </a:lnTo>
                  <a:lnTo>
                    <a:pt x="495" y="918"/>
                  </a:lnTo>
                  <a:lnTo>
                    <a:pt x="496" y="918"/>
                  </a:lnTo>
                  <a:lnTo>
                    <a:pt x="501" y="921"/>
                  </a:lnTo>
                  <a:lnTo>
                    <a:pt x="501" y="921"/>
                  </a:lnTo>
                  <a:lnTo>
                    <a:pt x="510" y="923"/>
                  </a:lnTo>
                  <a:lnTo>
                    <a:pt x="509" y="924"/>
                  </a:lnTo>
                  <a:lnTo>
                    <a:pt x="510" y="924"/>
                  </a:lnTo>
                  <a:lnTo>
                    <a:pt x="512" y="926"/>
                  </a:lnTo>
                  <a:lnTo>
                    <a:pt x="513" y="926"/>
                  </a:lnTo>
                  <a:lnTo>
                    <a:pt x="513" y="927"/>
                  </a:lnTo>
                  <a:lnTo>
                    <a:pt x="512" y="927"/>
                  </a:lnTo>
                  <a:lnTo>
                    <a:pt x="510" y="929"/>
                  </a:lnTo>
                  <a:lnTo>
                    <a:pt x="509" y="930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09" y="933"/>
                  </a:lnTo>
                  <a:lnTo>
                    <a:pt x="510" y="935"/>
                  </a:lnTo>
                  <a:lnTo>
                    <a:pt x="515" y="935"/>
                  </a:lnTo>
                  <a:lnTo>
                    <a:pt x="516" y="935"/>
                  </a:lnTo>
                  <a:lnTo>
                    <a:pt x="521" y="938"/>
                  </a:lnTo>
                  <a:lnTo>
                    <a:pt x="522" y="939"/>
                  </a:lnTo>
                  <a:lnTo>
                    <a:pt x="524" y="939"/>
                  </a:lnTo>
                  <a:lnTo>
                    <a:pt x="525" y="939"/>
                  </a:lnTo>
                  <a:lnTo>
                    <a:pt x="525" y="941"/>
                  </a:lnTo>
                  <a:lnTo>
                    <a:pt x="527" y="944"/>
                  </a:lnTo>
                  <a:lnTo>
                    <a:pt x="529" y="946"/>
                  </a:lnTo>
                  <a:lnTo>
                    <a:pt x="529" y="947"/>
                  </a:lnTo>
                  <a:lnTo>
                    <a:pt x="530" y="949"/>
                  </a:lnTo>
                  <a:lnTo>
                    <a:pt x="532" y="949"/>
                  </a:lnTo>
                  <a:lnTo>
                    <a:pt x="533" y="949"/>
                  </a:lnTo>
                  <a:lnTo>
                    <a:pt x="535" y="947"/>
                  </a:lnTo>
                  <a:lnTo>
                    <a:pt x="535" y="947"/>
                  </a:lnTo>
                  <a:lnTo>
                    <a:pt x="536" y="946"/>
                  </a:lnTo>
                  <a:lnTo>
                    <a:pt x="538" y="944"/>
                  </a:lnTo>
                  <a:lnTo>
                    <a:pt x="539" y="944"/>
                  </a:lnTo>
                  <a:lnTo>
                    <a:pt x="539" y="943"/>
                  </a:lnTo>
                  <a:lnTo>
                    <a:pt x="539" y="943"/>
                  </a:lnTo>
                  <a:lnTo>
                    <a:pt x="541" y="941"/>
                  </a:lnTo>
                  <a:lnTo>
                    <a:pt x="544" y="943"/>
                  </a:lnTo>
                  <a:lnTo>
                    <a:pt x="549" y="941"/>
                  </a:lnTo>
                  <a:lnTo>
                    <a:pt x="552" y="939"/>
                  </a:lnTo>
                  <a:lnTo>
                    <a:pt x="553" y="941"/>
                  </a:lnTo>
                  <a:lnTo>
                    <a:pt x="555" y="943"/>
                  </a:lnTo>
                  <a:lnTo>
                    <a:pt x="558" y="944"/>
                  </a:lnTo>
                  <a:lnTo>
                    <a:pt x="561" y="944"/>
                  </a:lnTo>
                  <a:lnTo>
                    <a:pt x="562" y="944"/>
                  </a:lnTo>
                  <a:lnTo>
                    <a:pt x="562" y="946"/>
                  </a:lnTo>
                  <a:lnTo>
                    <a:pt x="564" y="947"/>
                  </a:lnTo>
                  <a:lnTo>
                    <a:pt x="566" y="949"/>
                  </a:lnTo>
                  <a:lnTo>
                    <a:pt x="567" y="949"/>
                  </a:lnTo>
                  <a:lnTo>
                    <a:pt x="569" y="950"/>
                  </a:lnTo>
                  <a:lnTo>
                    <a:pt x="569" y="950"/>
                  </a:lnTo>
                  <a:lnTo>
                    <a:pt x="570" y="950"/>
                  </a:lnTo>
                  <a:lnTo>
                    <a:pt x="570" y="950"/>
                  </a:lnTo>
                  <a:lnTo>
                    <a:pt x="570" y="949"/>
                  </a:lnTo>
                  <a:lnTo>
                    <a:pt x="572" y="947"/>
                  </a:lnTo>
                  <a:lnTo>
                    <a:pt x="573" y="947"/>
                  </a:lnTo>
                  <a:lnTo>
                    <a:pt x="576" y="949"/>
                  </a:lnTo>
                  <a:lnTo>
                    <a:pt x="578" y="949"/>
                  </a:lnTo>
                  <a:lnTo>
                    <a:pt x="579" y="949"/>
                  </a:lnTo>
                  <a:lnTo>
                    <a:pt x="579" y="949"/>
                  </a:lnTo>
                  <a:lnTo>
                    <a:pt x="579" y="947"/>
                  </a:lnTo>
                  <a:lnTo>
                    <a:pt x="578" y="946"/>
                  </a:lnTo>
                  <a:lnTo>
                    <a:pt x="579" y="946"/>
                  </a:lnTo>
                  <a:lnTo>
                    <a:pt x="582" y="943"/>
                  </a:lnTo>
                  <a:lnTo>
                    <a:pt x="584" y="941"/>
                  </a:lnTo>
                  <a:lnTo>
                    <a:pt x="586" y="941"/>
                  </a:lnTo>
                  <a:lnTo>
                    <a:pt x="587" y="943"/>
                  </a:lnTo>
                  <a:lnTo>
                    <a:pt x="589" y="943"/>
                  </a:lnTo>
                  <a:lnTo>
                    <a:pt x="590" y="941"/>
                  </a:lnTo>
                  <a:lnTo>
                    <a:pt x="593" y="939"/>
                  </a:lnTo>
                  <a:lnTo>
                    <a:pt x="593" y="938"/>
                  </a:lnTo>
                  <a:lnTo>
                    <a:pt x="595" y="938"/>
                  </a:lnTo>
                  <a:lnTo>
                    <a:pt x="596" y="938"/>
                  </a:lnTo>
                  <a:lnTo>
                    <a:pt x="598" y="938"/>
                  </a:lnTo>
                  <a:lnTo>
                    <a:pt x="599" y="936"/>
                  </a:lnTo>
                  <a:lnTo>
                    <a:pt x="602" y="936"/>
                  </a:lnTo>
                  <a:lnTo>
                    <a:pt x="604" y="936"/>
                  </a:lnTo>
                  <a:lnTo>
                    <a:pt x="604" y="936"/>
                  </a:lnTo>
                  <a:lnTo>
                    <a:pt x="607" y="936"/>
                  </a:lnTo>
                  <a:lnTo>
                    <a:pt x="607" y="936"/>
                  </a:lnTo>
                  <a:lnTo>
                    <a:pt x="607" y="938"/>
                  </a:lnTo>
                  <a:lnTo>
                    <a:pt x="609" y="938"/>
                  </a:lnTo>
                  <a:lnTo>
                    <a:pt x="609" y="939"/>
                  </a:lnTo>
                  <a:lnTo>
                    <a:pt x="610" y="939"/>
                  </a:lnTo>
                  <a:lnTo>
                    <a:pt x="612" y="941"/>
                  </a:lnTo>
                  <a:lnTo>
                    <a:pt x="613" y="941"/>
                  </a:lnTo>
                  <a:lnTo>
                    <a:pt x="615" y="941"/>
                  </a:lnTo>
                  <a:lnTo>
                    <a:pt x="618" y="939"/>
                  </a:lnTo>
                  <a:lnTo>
                    <a:pt x="618" y="939"/>
                  </a:lnTo>
                  <a:lnTo>
                    <a:pt x="618" y="938"/>
                  </a:lnTo>
                  <a:lnTo>
                    <a:pt x="616" y="935"/>
                  </a:lnTo>
                  <a:lnTo>
                    <a:pt x="616" y="935"/>
                  </a:lnTo>
                  <a:lnTo>
                    <a:pt x="616" y="933"/>
                  </a:lnTo>
                  <a:lnTo>
                    <a:pt x="616" y="933"/>
                  </a:lnTo>
                  <a:lnTo>
                    <a:pt x="616" y="932"/>
                  </a:lnTo>
                  <a:lnTo>
                    <a:pt x="615" y="930"/>
                  </a:lnTo>
                  <a:lnTo>
                    <a:pt x="613" y="930"/>
                  </a:lnTo>
                  <a:lnTo>
                    <a:pt x="612" y="930"/>
                  </a:lnTo>
                  <a:lnTo>
                    <a:pt x="610" y="929"/>
                  </a:lnTo>
                  <a:lnTo>
                    <a:pt x="609" y="927"/>
                  </a:lnTo>
                  <a:lnTo>
                    <a:pt x="609" y="924"/>
                  </a:lnTo>
                  <a:lnTo>
                    <a:pt x="609" y="919"/>
                  </a:lnTo>
                  <a:lnTo>
                    <a:pt x="607" y="915"/>
                  </a:lnTo>
                  <a:lnTo>
                    <a:pt x="609" y="910"/>
                  </a:lnTo>
                  <a:lnTo>
                    <a:pt x="609" y="907"/>
                  </a:lnTo>
                  <a:lnTo>
                    <a:pt x="609" y="904"/>
                  </a:lnTo>
                  <a:lnTo>
                    <a:pt x="609" y="898"/>
                  </a:lnTo>
                  <a:lnTo>
                    <a:pt x="609" y="892"/>
                  </a:lnTo>
                  <a:lnTo>
                    <a:pt x="609" y="890"/>
                  </a:lnTo>
                  <a:lnTo>
                    <a:pt x="609" y="889"/>
                  </a:lnTo>
                  <a:lnTo>
                    <a:pt x="609" y="889"/>
                  </a:lnTo>
                  <a:lnTo>
                    <a:pt x="609" y="886"/>
                  </a:lnTo>
                  <a:lnTo>
                    <a:pt x="609" y="883"/>
                  </a:lnTo>
                  <a:lnTo>
                    <a:pt x="610" y="881"/>
                  </a:lnTo>
                  <a:lnTo>
                    <a:pt x="610" y="879"/>
                  </a:lnTo>
                  <a:lnTo>
                    <a:pt x="612" y="876"/>
                  </a:lnTo>
                  <a:lnTo>
                    <a:pt x="612" y="875"/>
                  </a:lnTo>
                  <a:lnTo>
                    <a:pt x="613" y="873"/>
                  </a:lnTo>
                  <a:lnTo>
                    <a:pt x="613" y="872"/>
                  </a:lnTo>
                  <a:lnTo>
                    <a:pt x="615" y="870"/>
                  </a:lnTo>
                  <a:lnTo>
                    <a:pt x="616" y="869"/>
                  </a:lnTo>
                  <a:lnTo>
                    <a:pt x="618" y="867"/>
                  </a:lnTo>
                  <a:lnTo>
                    <a:pt x="618" y="866"/>
                  </a:lnTo>
                  <a:lnTo>
                    <a:pt x="619" y="864"/>
                  </a:lnTo>
                  <a:lnTo>
                    <a:pt x="621" y="864"/>
                  </a:lnTo>
                  <a:lnTo>
                    <a:pt x="621" y="862"/>
                  </a:lnTo>
                  <a:lnTo>
                    <a:pt x="622" y="862"/>
                  </a:lnTo>
                  <a:lnTo>
                    <a:pt x="622" y="861"/>
                  </a:lnTo>
                  <a:lnTo>
                    <a:pt x="629" y="856"/>
                  </a:lnTo>
                  <a:lnTo>
                    <a:pt x="633" y="853"/>
                  </a:lnTo>
                  <a:lnTo>
                    <a:pt x="636" y="853"/>
                  </a:lnTo>
                  <a:lnTo>
                    <a:pt x="638" y="853"/>
                  </a:lnTo>
                  <a:lnTo>
                    <a:pt x="641" y="855"/>
                  </a:lnTo>
                  <a:lnTo>
                    <a:pt x="643" y="853"/>
                  </a:lnTo>
                  <a:lnTo>
                    <a:pt x="649" y="847"/>
                  </a:lnTo>
                  <a:lnTo>
                    <a:pt x="652" y="844"/>
                  </a:lnTo>
                  <a:lnTo>
                    <a:pt x="659" y="841"/>
                  </a:lnTo>
                  <a:lnTo>
                    <a:pt x="675" y="829"/>
                  </a:lnTo>
                  <a:lnTo>
                    <a:pt x="676" y="827"/>
                  </a:lnTo>
                  <a:lnTo>
                    <a:pt x="679" y="827"/>
                  </a:lnTo>
                  <a:lnTo>
                    <a:pt x="683" y="826"/>
                  </a:lnTo>
                  <a:lnTo>
                    <a:pt x="687" y="827"/>
                  </a:lnTo>
                  <a:lnTo>
                    <a:pt x="689" y="829"/>
                  </a:lnTo>
                  <a:lnTo>
                    <a:pt x="689" y="829"/>
                  </a:lnTo>
                  <a:lnTo>
                    <a:pt x="689" y="830"/>
                  </a:lnTo>
                  <a:lnTo>
                    <a:pt x="689" y="833"/>
                  </a:lnTo>
                  <a:lnTo>
                    <a:pt x="692" y="835"/>
                  </a:lnTo>
                  <a:lnTo>
                    <a:pt x="693" y="835"/>
                  </a:lnTo>
                  <a:lnTo>
                    <a:pt x="695" y="836"/>
                  </a:lnTo>
                  <a:lnTo>
                    <a:pt x="710" y="836"/>
                  </a:lnTo>
                  <a:lnTo>
                    <a:pt x="718" y="836"/>
                  </a:lnTo>
                  <a:lnTo>
                    <a:pt x="721" y="838"/>
                  </a:lnTo>
                  <a:lnTo>
                    <a:pt x="723" y="839"/>
                  </a:lnTo>
                  <a:lnTo>
                    <a:pt x="723" y="839"/>
                  </a:lnTo>
                  <a:lnTo>
                    <a:pt x="723" y="841"/>
                  </a:lnTo>
                  <a:lnTo>
                    <a:pt x="721" y="842"/>
                  </a:lnTo>
                  <a:lnTo>
                    <a:pt x="721" y="846"/>
                  </a:lnTo>
                  <a:lnTo>
                    <a:pt x="724" y="846"/>
                  </a:lnTo>
                  <a:lnTo>
                    <a:pt x="729" y="847"/>
                  </a:lnTo>
                  <a:lnTo>
                    <a:pt x="738" y="847"/>
                  </a:lnTo>
                  <a:lnTo>
                    <a:pt x="741" y="847"/>
                  </a:lnTo>
                  <a:lnTo>
                    <a:pt x="741" y="846"/>
                  </a:lnTo>
                  <a:lnTo>
                    <a:pt x="740" y="844"/>
                  </a:lnTo>
                  <a:lnTo>
                    <a:pt x="736" y="841"/>
                  </a:lnTo>
                  <a:lnTo>
                    <a:pt x="735" y="839"/>
                  </a:lnTo>
                  <a:lnTo>
                    <a:pt x="733" y="836"/>
                  </a:lnTo>
                  <a:lnTo>
                    <a:pt x="733" y="829"/>
                  </a:lnTo>
                  <a:lnTo>
                    <a:pt x="733" y="827"/>
                  </a:lnTo>
                  <a:lnTo>
                    <a:pt x="732" y="824"/>
                  </a:lnTo>
                  <a:lnTo>
                    <a:pt x="732" y="824"/>
                  </a:lnTo>
                  <a:lnTo>
                    <a:pt x="732" y="824"/>
                  </a:lnTo>
                  <a:lnTo>
                    <a:pt x="733" y="826"/>
                  </a:lnTo>
                  <a:lnTo>
                    <a:pt x="735" y="827"/>
                  </a:lnTo>
                  <a:lnTo>
                    <a:pt x="735" y="829"/>
                  </a:lnTo>
                  <a:lnTo>
                    <a:pt x="735" y="830"/>
                  </a:lnTo>
                  <a:lnTo>
                    <a:pt x="735" y="836"/>
                  </a:lnTo>
                  <a:lnTo>
                    <a:pt x="736" y="839"/>
                  </a:lnTo>
                  <a:lnTo>
                    <a:pt x="738" y="842"/>
                  </a:lnTo>
                  <a:lnTo>
                    <a:pt x="741" y="844"/>
                  </a:lnTo>
                  <a:lnTo>
                    <a:pt x="743" y="846"/>
                  </a:lnTo>
                  <a:lnTo>
                    <a:pt x="743" y="847"/>
                  </a:lnTo>
                  <a:lnTo>
                    <a:pt x="744" y="847"/>
                  </a:lnTo>
                  <a:lnTo>
                    <a:pt x="747" y="846"/>
                  </a:lnTo>
                  <a:lnTo>
                    <a:pt x="744" y="846"/>
                  </a:lnTo>
                  <a:lnTo>
                    <a:pt x="744" y="844"/>
                  </a:lnTo>
                  <a:lnTo>
                    <a:pt x="743" y="842"/>
                  </a:lnTo>
                  <a:lnTo>
                    <a:pt x="743" y="841"/>
                  </a:lnTo>
                  <a:lnTo>
                    <a:pt x="743" y="841"/>
                  </a:lnTo>
                  <a:lnTo>
                    <a:pt x="744" y="839"/>
                  </a:lnTo>
                  <a:lnTo>
                    <a:pt x="746" y="839"/>
                  </a:lnTo>
                  <a:lnTo>
                    <a:pt x="747" y="838"/>
                  </a:lnTo>
                  <a:lnTo>
                    <a:pt x="749" y="838"/>
                  </a:lnTo>
                  <a:lnTo>
                    <a:pt x="752" y="839"/>
                  </a:lnTo>
                  <a:lnTo>
                    <a:pt x="753" y="841"/>
                  </a:lnTo>
                  <a:lnTo>
                    <a:pt x="756" y="839"/>
                  </a:lnTo>
                  <a:lnTo>
                    <a:pt x="758" y="839"/>
                  </a:lnTo>
                  <a:lnTo>
                    <a:pt x="758" y="836"/>
                  </a:lnTo>
                  <a:lnTo>
                    <a:pt x="758" y="833"/>
                  </a:lnTo>
                  <a:lnTo>
                    <a:pt x="756" y="833"/>
                  </a:lnTo>
                  <a:lnTo>
                    <a:pt x="755" y="833"/>
                  </a:lnTo>
                  <a:lnTo>
                    <a:pt x="755" y="832"/>
                  </a:lnTo>
                  <a:lnTo>
                    <a:pt x="755" y="830"/>
                  </a:lnTo>
                  <a:lnTo>
                    <a:pt x="755" y="829"/>
                  </a:lnTo>
                  <a:lnTo>
                    <a:pt x="755" y="827"/>
                  </a:lnTo>
                  <a:lnTo>
                    <a:pt x="755" y="826"/>
                  </a:lnTo>
                  <a:lnTo>
                    <a:pt x="756" y="826"/>
                  </a:lnTo>
                  <a:lnTo>
                    <a:pt x="756" y="826"/>
                  </a:lnTo>
                  <a:lnTo>
                    <a:pt x="758" y="827"/>
                  </a:lnTo>
                  <a:lnTo>
                    <a:pt x="758" y="827"/>
                  </a:lnTo>
                  <a:lnTo>
                    <a:pt x="760" y="827"/>
                  </a:lnTo>
                  <a:lnTo>
                    <a:pt x="760" y="827"/>
                  </a:lnTo>
                  <a:lnTo>
                    <a:pt x="761" y="829"/>
                  </a:lnTo>
                  <a:lnTo>
                    <a:pt x="763" y="829"/>
                  </a:lnTo>
                  <a:lnTo>
                    <a:pt x="763" y="830"/>
                  </a:lnTo>
                  <a:lnTo>
                    <a:pt x="763" y="832"/>
                  </a:lnTo>
                  <a:lnTo>
                    <a:pt x="764" y="833"/>
                  </a:lnTo>
                  <a:lnTo>
                    <a:pt x="766" y="833"/>
                  </a:lnTo>
                  <a:lnTo>
                    <a:pt x="769" y="833"/>
                  </a:lnTo>
                  <a:lnTo>
                    <a:pt x="770" y="832"/>
                  </a:lnTo>
                  <a:lnTo>
                    <a:pt x="770" y="833"/>
                  </a:lnTo>
                  <a:lnTo>
                    <a:pt x="770" y="836"/>
                  </a:lnTo>
                  <a:lnTo>
                    <a:pt x="769" y="838"/>
                  </a:lnTo>
                  <a:lnTo>
                    <a:pt x="767" y="839"/>
                  </a:lnTo>
                  <a:lnTo>
                    <a:pt x="764" y="839"/>
                  </a:lnTo>
                  <a:lnTo>
                    <a:pt x="758" y="839"/>
                  </a:lnTo>
                  <a:lnTo>
                    <a:pt x="756" y="841"/>
                  </a:lnTo>
                  <a:lnTo>
                    <a:pt x="755" y="844"/>
                  </a:lnTo>
                  <a:lnTo>
                    <a:pt x="755" y="846"/>
                  </a:lnTo>
                  <a:lnTo>
                    <a:pt x="756" y="849"/>
                  </a:lnTo>
                  <a:lnTo>
                    <a:pt x="758" y="849"/>
                  </a:lnTo>
                  <a:lnTo>
                    <a:pt x="763" y="849"/>
                  </a:lnTo>
                  <a:lnTo>
                    <a:pt x="766" y="849"/>
                  </a:lnTo>
                  <a:lnTo>
                    <a:pt x="772" y="849"/>
                  </a:lnTo>
                  <a:lnTo>
                    <a:pt x="777" y="847"/>
                  </a:lnTo>
                  <a:lnTo>
                    <a:pt x="780" y="849"/>
                  </a:lnTo>
                  <a:lnTo>
                    <a:pt x="780" y="852"/>
                  </a:lnTo>
                  <a:lnTo>
                    <a:pt x="781" y="853"/>
                  </a:lnTo>
                  <a:lnTo>
                    <a:pt x="781" y="855"/>
                  </a:lnTo>
                  <a:lnTo>
                    <a:pt x="781" y="855"/>
                  </a:lnTo>
                  <a:lnTo>
                    <a:pt x="781" y="856"/>
                  </a:lnTo>
                  <a:lnTo>
                    <a:pt x="780" y="858"/>
                  </a:lnTo>
                  <a:lnTo>
                    <a:pt x="780" y="859"/>
                  </a:lnTo>
                  <a:lnTo>
                    <a:pt x="780" y="861"/>
                  </a:lnTo>
                  <a:lnTo>
                    <a:pt x="781" y="861"/>
                  </a:lnTo>
                  <a:lnTo>
                    <a:pt x="783" y="861"/>
                  </a:lnTo>
                  <a:lnTo>
                    <a:pt x="784" y="861"/>
                  </a:lnTo>
                  <a:lnTo>
                    <a:pt x="787" y="861"/>
                  </a:lnTo>
                  <a:lnTo>
                    <a:pt x="789" y="861"/>
                  </a:lnTo>
                  <a:lnTo>
                    <a:pt x="792" y="861"/>
                  </a:lnTo>
                  <a:lnTo>
                    <a:pt x="792" y="861"/>
                  </a:lnTo>
                  <a:lnTo>
                    <a:pt x="793" y="861"/>
                  </a:lnTo>
                  <a:lnTo>
                    <a:pt x="793" y="861"/>
                  </a:lnTo>
                  <a:lnTo>
                    <a:pt x="795" y="862"/>
                  </a:lnTo>
                  <a:lnTo>
                    <a:pt x="795" y="864"/>
                  </a:lnTo>
                  <a:lnTo>
                    <a:pt x="797" y="866"/>
                  </a:lnTo>
                  <a:lnTo>
                    <a:pt x="798" y="866"/>
                  </a:lnTo>
                  <a:lnTo>
                    <a:pt x="800" y="866"/>
                  </a:lnTo>
                  <a:lnTo>
                    <a:pt x="800" y="864"/>
                  </a:lnTo>
                  <a:lnTo>
                    <a:pt x="801" y="864"/>
                  </a:lnTo>
                  <a:lnTo>
                    <a:pt x="803" y="864"/>
                  </a:lnTo>
                  <a:lnTo>
                    <a:pt x="804" y="864"/>
                  </a:lnTo>
                  <a:lnTo>
                    <a:pt x="806" y="866"/>
                  </a:lnTo>
                  <a:lnTo>
                    <a:pt x="806" y="867"/>
                  </a:lnTo>
                  <a:lnTo>
                    <a:pt x="809" y="869"/>
                  </a:lnTo>
                  <a:lnTo>
                    <a:pt x="810" y="869"/>
                  </a:lnTo>
                  <a:lnTo>
                    <a:pt x="812" y="869"/>
                  </a:lnTo>
                  <a:lnTo>
                    <a:pt x="812" y="870"/>
                  </a:lnTo>
                  <a:lnTo>
                    <a:pt x="812" y="870"/>
                  </a:lnTo>
                  <a:lnTo>
                    <a:pt x="813" y="872"/>
                  </a:lnTo>
                  <a:lnTo>
                    <a:pt x="815" y="872"/>
                  </a:lnTo>
                  <a:lnTo>
                    <a:pt x="815" y="872"/>
                  </a:lnTo>
                  <a:lnTo>
                    <a:pt x="813" y="873"/>
                  </a:lnTo>
                  <a:lnTo>
                    <a:pt x="812" y="875"/>
                  </a:lnTo>
                  <a:lnTo>
                    <a:pt x="812" y="875"/>
                  </a:lnTo>
                  <a:lnTo>
                    <a:pt x="815" y="876"/>
                  </a:lnTo>
                  <a:lnTo>
                    <a:pt x="818" y="878"/>
                  </a:lnTo>
                  <a:lnTo>
                    <a:pt x="820" y="875"/>
                  </a:lnTo>
                  <a:lnTo>
                    <a:pt x="820" y="875"/>
                  </a:lnTo>
                  <a:lnTo>
                    <a:pt x="823" y="875"/>
                  </a:lnTo>
                  <a:lnTo>
                    <a:pt x="824" y="875"/>
                  </a:lnTo>
                  <a:lnTo>
                    <a:pt x="824" y="875"/>
                  </a:lnTo>
                  <a:lnTo>
                    <a:pt x="823" y="873"/>
                  </a:lnTo>
                  <a:lnTo>
                    <a:pt x="821" y="873"/>
                  </a:lnTo>
                  <a:lnTo>
                    <a:pt x="821" y="870"/>
                  </a:lnTo>
                  <a:lnTo>
                    <a:pt x="820" y="870"/>
                  </a:lnTo>
                  <a:lnTo>
                    <a:pt x="821" y="869"/>
                  </a:lnTo>
                  <a:lnTo>
                    <a:pt x="823" y="869"/>
                  </a:lnTo>
                  <a:lnTo>
                    <a:pt x="824" y="869"/>
                  </a:lnTo>
                  <a:lnTo>
                    <a:pt x="824" y="870"/>
                  </a:lnTo>
                  <a:lnTo>
                    <a:pt x="824" y="870"/>
                  </a:lnTo>
                  <a:lnTo>
                    <a:pt x="823" y="872"/>
                  </a:lnTo>
                  <a:lnTo>
                    <a:pt x="826" y="872"/>
                  </a:lnTo>
                  <a:lnTo>
                    <a:pt x="827" y="872"/>
                  </a:lnTo>
                  <a:lnTo>
                    <a:pt x="829" y="872"/>
                  </a:lnTo>
                  <a:lnTo>
                    <a:pt x="830" y="875"/>
                  </a:lnTo>
                  <a:lnTo>
                    <a:pt x="832" y="875"/>
                  </a:lnTo>
                  <a:lnTo>
                    <a:pt x="835" y="875"/>
                  </a:lnTo>
                  <a:lnTo>
                    <a:pt x="837" y="873"/>
                  </a:lnTo>
                  <a:lnTo>
                    <a:pt x="838" y="875"/>
                  </a:lnTo>
                  <a:lnTo>
                    <a:pt x="838" y="878"/>
                  </a:lnTo>
                  <a:lnTo>
                    <a:pt x="837" y="878"/>
                  </a:lnTo>
                  <a:lnTo>
                    <a:pt x="837" y="878"/>
                  </a:lnTo>
                  <a:lnTo>
                    <a:pt x="835" y="879"/>
                  </a:lnTo>
                  <a:lnTo>
                    <a:pt x="835" y="879"/>
                  </a:lnTo>
                  <a:lnTo>
                    <a:pt x="840" y="879"/>
                  </a:lnTo>
                  <a:lnTo>
                    <a:pt x="841" y="879"/>
                  </a:lnTo>
                  <a:lnTo>
                    <a:pt x="843" y="878"/>
                  </a:lnTo>
                  <a:lnTo>
                    <a:pt x="841" y="878"/>
                  </a:lnTo>
                  <a:lnTo>
                    <a:pt x="840" y="878"/>
                  </a:lnTo>
                  <a:lnTo>
                    <a:pt x="840" y="875"/>
                  </a:lnTo>
                  <a:lnTo>
                    <a:pt x="841" y="873"/>
                  </a:lnTo>
                  <a:lnTo>
                    <a:pt x="841" y="872"/>
                  </a:lnTo>
                  <a:lnTo>
                    <a:pt x="843" y="872"/>
                  </a:lnTo>
                  <a:lnTo>
                    <a:pt x="844" y="870"/>
                  </a:lnTo>
                  <a:lnTo>
                    <a:pt x="847" y="870"/>
                  </a:lnTo>
                  <a:lnTo>
                    <a:pt x="849" y="870"/>
                  </a:lnTo>
                  <a:lnTo>
                    <a:pt x="850" y="872"/>
                  </a:lnTo>
                  <a:lnTo>
                    <a:pt x="852" y="872"/>
                  </a:lnTo>
                  <a:lnTo>
                    <a:pt x="854" y="872"/>
                  </a:lnTo>
                  <a:lnTo>
                    <a:pt x="854" y="873"/>
                  </a:lnTo>
                  <a:lnTo>
                    <a:pt x="857" y="873"/>
                  </a:lnTo>
                  <a:lnTo>
                    <a:pt x="857" y="872"/>
                  </a:lnTo>
                  <a:lnTo>
                    <a:pt x="855" y="870"/>
                  </a:lnTo>
                  <a:lnTo>
                    <a:pt x="857" y="869"/>
                  </a:lnTo>
                  <a:lnTo>
                    <a:pt x="858" y="867"/>
                  </a:lnTo>
                  <a:lnTo>
                    <a:pt x="860" y="867"/>
                  </a:lnTo>
                  <a:lnTo>
                    <a:pt x="861" y="867"/>
                  </a:lnTo>
                  <a:lnTo>
                    <a:pt x="864" y="867"/>
                  </a:lnTo>
                  <a:lnTo>
                    <a:pt x="866" y="867"/>
                  </a:lnTo>
                  <a:lnTo>
                    <a:pt x="867" y="866"/>
                  </a:lnTo>
                  <a:lnTo>
                    <a:pt x="869" y="866"/>
                  </a:lnTo>
                  <a:lnTo>
                    <a:pt x="869" y="864"/>
                  </a:lnTo>
                  <a:lnTo>
                    <a:pt x="870" y="864"/>
                  </a:lnTo>
                  <a:lnTo>
                    <a:pt x="872" y="864"/>
                  </a:lnTo>
                  <a:lnTo>
                    <a:pt x="872" y="864"/>
                  </a:lnTo>
                  <a:lnTo>
                    <a:pt x="872" y="864"/>
                  </a:lnTo>
                  <a:lnTo>
                    <a:pt x="874" y="864"/>
                  </a:lnTo>
                  <a:lnTo>
                    <a:pt x="874" y="866"/>
                  </a:lnTo>
                  <a:lnTo>
                    <a:pt x="875" y="864"/>
                  </a:lnTo>
                  <a:lnTo>
                    <a:pt x="877" y="864"/>
                  </a:lnTo>
                  <a:lnTo>
                    <a:pt x="878" y="862"/>
                  </a:lnTo>
                  <a:lnTo>
                    <a:pt x="878" y="862"/>
                  </a:lnTo>
                  <a:lnTo>
                    <a:pt x="878" y="861"/>
                  </a:lnTo>
                  <a:lnTo>
                    <a:pt x="878" y="859"/>
                  </a:lnTo>
                  <a:lnTo>
                    <a:pt x="878" y="858"/>
                  </a:lnTo>
                  <a:lnTo>
                    <a:pt x="880" y="858"/>
                  </a:lnTo>
                  <a:lnTo>
                    <a:pt x="880" y="855"/>
                  </a:lnTo>
                  <a:lnTo>
                    <a:pt x="880" y="855"/>
                  </a:lnTo>
                  <a:lnTo>
                    <a:pt x="878" y="855"/>
                  </a:lnTo>
                  <a:lnTo>
                    <a:pt x="874" y="856"/>
                  </a:lnTo>
                  <a:lnTo>
                    <a:pt x="872" y="855"/>
                  </a:lnTo>
                  <a:lnTo>
                    <a:pt x="874" y="853"/>
                  </a:lnTo>
                  <a:lnTo>
                    <a:pt x="875" y="852"/>
                  </a:lnTo>
                  <a:lnTo>
                    <a:pt x="877" y="850"/>
                  </a:lnTo>
                  <a:lnTo>
                    <a:pt x="878" y="850"/>
                  </a:lnTo>
                  <a:lnTo>
                    <a:pt x="878" y="849"/>
                  </a:lnTo>
                  <a:lnTo>
                    <a:pt x="878" y="847"/>
                  </a:lnTo>
                  <a:lnTo>
                    <a:pt x="880" y="847"/>
                  </a:lnTo>
                  <a:lnTo>
                    <a:pt x="881" y="847"/>
                  </a:lnTo>
                  <a:lnTo>
                    <a:pt x="881" y="846"/>
                  </a:lnTo>
                  <a:lnTo>
                    <a:pt x="883" y="844"/>
                  </a:lnTo>
                  <a:lnTo>
                    <a:pt x="883" y="841"/>
                  </a:lnTo>
                  <a:lnTo>
                    <a:pt x="884" y="839"/>
                  </a:lnTo>
                  <a:lnTo>
                    <a:pt x="884" y="839"/>
                  </a:lnTo>
                  <a:lnTo>
                    <a:pt x="886" y="839"/>
                  </a:lnTo>
                  <a:lnTo>
                    <a:pt x="886" y="841"/>
                  </a:lnTo>
                  <a:lnTo>
                    <a:pt x="889" y="841"/>
                  </a:lnTo>
                  <a:lnTo>
                    <a:pt x="890" y="841"/>
                  </a:lnTo>
                  <a:lnTo>
                    <a:pt x="892" y="841"/>
                  </a:lnTo>
                  <a:lnTo>
                    <a:pt x="892" y="841"/>
                  </a:lnTo>
                  <a:lnTo>
                    <a:pt x="892" y="839"/>
                  </a:lnTo>
                  <a:lnTo>
                    <a:pt x="892" y="838"/>
                  </a:lnTo>
                  <a:lnTo>
                    <a:pt x="892" y="838"/>
                  </a:lnTo>
                  <a:lnTo>
                    <a:pt x="894" y="838"/>
                  </a:lnTo>
                  <a:lnTo>
                    <a:pt x="894" y="838"/>
                  </a:lnTo>
                  <a:lnTo>
                    <a:pt x="894" y="839"/>
                  </a:lnTo>
                  <a:lnTo>
                    <a:pt x="895" y="839"/>
                  </a:lnTo>
                  <a:lnTo>
                    <a:pt x="895" y="838"/>
                  </a:lnTo>
                  <a:lnTo>
                    <a:pt x="897" y="836"/>
                  </a:lnTo>
                  <a:lnTo>
                    <a:pt x="897" y="835"/>
                  </a:lnTo>
                  <a:lnTo>
                    <a:pt x="900" y="832"/>
                  </a:lnTo>
                  <a:lnTo>
                    <a:pt x="900" y="832"/>
                  </a:lnTo>
                  <a:lnTo>
                    <a:pt x="900" y="830"/>
                  </a:lnTo>
                  <a:lnTo>
                    <a:pt x="900" y="830"/>
                  </a:lnTo>
                  <a:lnTo>
                    <a:pt x="898" y="830"/>
                  </a:lnTo>
                  <a:lnTo>
                    <a:pt x="898" y="829"/>
                  </a:lnTo>
                  <a:lnTo>
                    <a:pt x="900" y="827"/>
                  </a:lnTo>
                  <a:lnTo>
                    <a:pt x="901" y="827"/>
                  </a:lnTo>
                  <a:lnTo>
                    <a:pt x="903" y="827"/>
                  </a:lnTo>
                  <a:lnTo>
                    <a:pt x="904" y="827"/>
                  </a:lnTo>
                  <a:lnTo>
                    <a:pt x="904" y="827"/>
                  </a:lnTo>
                  <a:lnTo>
                    <a:pt x="906" y="829"/>
                  </a:lnTo>
                  <a:lnTo>
                    <a:pt x="906" y="827"/>
                  </a:lnTo>
                  <a:lnTo>
                    <a:pt x="907" y="827"/>
                  </a:lnTo>
                  <a:lnTo>
                    <a:pt x="907" y="826"/>
                  </a:lnTo>
                  <a:lnTo>
                    <a:pt x="909" y="824"/>
                  </a:lnTo>
                  <a:lnTo>
                    <a:pt x="911" y="824"/>
                  </a:lnTo>
                  <a:lnTo>
                    <a:pt x="911" y="826"/>
                  </a:lnTo>
                  <a:lnTo>
                    <a:pt x="912" y="827"/>
                  </a:lnTo>
                  <a:lnTo>
                    <a:pt x="914" y="826"/>
                  </a:lnTo>
                  <a:lnTo>
                    <a:pt x="914" y="826"/>
                  </a:lnTo>
                  <a:lnTo>
                    <a:pt x="912" y="824"/>
                  </a:lnTo>
                  <a:lnTo>
                    <a:pt x="912" y="824"/>
                  </a:lnTo>
                  <a:lnTo>
                    <a:pt x="912" y="821"/>
                  </a:lnTo>
                  <a:lnTo>
                    <a:pt x="912" y="818"/>
                  </a:lnTo>
                  <a:lnTo>
                    <a:pt x="914" y="818"/>
                  </a:lnTo>
                  <a:lnTo>
                    <a:pt x="914" y="816"/>
                  </a:lnTo>
                  <a:lnTo>
                    <a:pt x="914" y="816"/>
                  </a:lnTo>
                  <a:lnTo>
                    <a:pt x="915" y="816"/>
                  </a:lnTo>
                  <a:lnTo>
                    <a:pt x="917" y="815"/>
                  </a:lnTo>
                  <a:lnTo>
                    <a:pt x="917" y="816"/>
                  </a:lnTo>
                  <a:lnTo>
                    <a:pt x="918" y="816"/>
                  </a:lnTo>
                  <a:lnTo>
                    <a:pt x="918" y="816"/>
                  </a:lnTo>
                  <a:lnTo>
                    <a:pt x="920" y="815"/>
                  </a:lnTo>
                  <a:lnTo>
                    <a:pt x="920" y="813"/>
                  </a:lnTo>
                  <a:lnTo>
                    <a:pt x="921" y="813"/>
                  </a:lnTo>
                  <a:lnTo>
                    <a:pt x="921" y="812"/>
                  </a:lnTo>
                  <a:lnTo>
                    <a:pt x="924" y="812"/>
                  </a:lnTo>
                  <a:lnTo>
                    <a:pt x="926" y="812"/>
                  </a:lnTo>
                  <a:lnTo>
                    <a:pt x="926" y="813"/>
                  </a:lnTo>
                  <a:lnTo>
                    <a:pt x="927" y="813"/>
                  </a:lnTo>
                  <a:lnTo>
                    <a:pt x="927" y="812"/>
                  </a:lnTo>
                  <a:lnTo>
                    <a:pt x="929" y="810"/>
                  </a:lnTo>
                  <a:lnTo>
                    <a:pt x="929" y="810"/>
                  </a:lnTo>
                  <a:lnTo>
                    <a:pt x="931" y="809"/>
                  </a:lnTo>
                  <a:lnTo>
                    <a:pt x="931" y="807"/>
                  </a:lnTo>
                  <a:lnTo>
                    <a:pt x="931" y="807"/>
                  </a:lnTo>
                  <a:lnTo>
                    <a:pt x="932" y="806"/>
                  </a:lnTo>
                  <a:lnTo>
                    <a:pt x="934" y="804"/>
                  </a:lnTo>
                  <a:lnTo>
                    <a:pt x="935" y="806"/>
                  </a:lnTo>
                  <a:lnTo>
                    <a:pt x="935" y="807"/>
                  </a:lnTo>
                  <a:lnTo>
                    <a:pt x="937" y="806"/>
                  </a:lnTo>
                  <a:lnTo>
                    <a:pt x="937" y="806"/>
                  </a:lnTo>
                  <a:lnTo>
                    <a:pt x="937" y="806"/>
                  </a:lnTo>
                  <a:lnTo>
                    <a:pt x="938" y="806"/>
                  </a:lnTo>
                  <a:lnTo>
                    <a:pt x="938" y="804"/>
                  </a:lnTo>
                  <a:lnTo>
                    <a:pt x="938" y="804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38" y="802"/>
                  </a:lnTo>
                  <a:lnTo>
                    <a:pt x="940" y="802"/>
                  </a:lnTo>
                  <a:lnTo>
                    <a:pt x="940" y="801"/>
                  </a:lnTo>
                  <a:lnTo>
                    <a:pt x="938" y="796"/>
                  </a:lnTo>
                  <a:lnTo>
                    <a:pt x="938" y="795"/>
                  </a:lnTo>
                  <a:lnTo>
                    <a:pt x="940" y="792"/>
                  </a:lnTo>
                  <a:lnTo>
                    <a:pt x="943" y="789"/>
                  </a:lnTo>
                  <a:lnTo>
                    <a:pt x="944" y="785"/>
                  </a:lnTo>
                  <a:lnTo>
                    <a:pt x="947" y="782"/>
                  </a:lnTo>
                  <a:lnTo>
                    <a:pt x="949" y="781"/>
                  </a:lnTo>
                  <a:lnTo>
                    <a:pt x="951" y="779"/>
                  </a:lnTo>
                  <a:lnTo>
                    <a:pt x="951" y="778"/>
                  </a:lnTo>
                  <a:lnTo>
                    <a:pt x="952" y="776"/>
                  </a:lnTo>
                  <a:lnTo>
                    <a:pt x="952" y="775"/>
                  </a:lnTo>
                  <a:lnTo>
                    <a:pt x="954" y="775"/>
                  </a:lnTo>
                  <a:lnTo>
                    <a:pt x="954" y="773"/>
                  </a:lnTo>
                  <a:lnTo>
                    <a:pt x="954" y="772"/>
                  </a:lnTo>
                  <a:lnTo>
                    <a:pt x="954" y="772"/>
                  </a:lnTo>
                  <a:lnTo>
                    <a:pt x="954" y="769"/>
                  </a:lnTo>
                  <a:lnTo>
                    <a:pt x="952" y="767"/>
                  </a:lnTo>
                  <a:lnTo>
                    <a:pt x="951" y="765"/>
                  </a:lnTo>
                  <a:lnTo>
                    <a:pt x="952" y="762"/>
                  </a:lnTo>
                  <a:lnTo>
                    <a:pt x="949" y="762"/>
                  </a:lnTo>
                  <a:lnTo>
                    <a:pt x="946" y="764"/>
                  </a:lnTo>
                  <a:lnTo>
                    <a:pt x="944" y="764"/>
                  </a:lnTo>
                  <a:lnTo>
                    <a:pt x="931" y="767"/>
                  </a:lnTo>
                  <a:lnTo>
                    <a:pt x="927" y="767"/>
                  </a:lnTo>
                  <a:lnTo>
                    <a:pt x="927" y="767"/>
                  </a:lnTo>
                  <a:lnTo>
                    <a:pt x="927" y="767"/>
                  </a:lnTo>
                  <a:lnTo>
                    <a:pt x="926" y="765"/>
                  </a:lnTo>
                  <a:lnTo>
                    <a:pt x="926" y="765"/>
                  </a:lnTo>
                  <a:lnTo>
                    <a:pt x="924" y="764"/>
                  </a:lnTo>
                  <a:lnTo>
                    <a:pt x="923" y="764"/>
                  </a:lnTo>
                  <a:lnTo>
                    <a:pt x="921" y="764"/>
                  </a:lnTo>
                  <a:lnTo>
                    <a:pt x="914" y="759"/>
                  </a:lnTo>
                  <a:lnTo>
                    <a:pt x="911" y="758"/>
                  </a:lnTo>
                  <a:lnTo>
                    <a:pt x="906" y="755"/>
                  </a:lnTo>
                  <a:lnTo>
                    <a:pt x="906" y="755"/>
                  </a:lnTo>
                  <a:lnTo>
                    <a:pt x="904" y="755"/>
                  </a:lnTo>
                  <a:lnTo>
                    <a:pt x="903" y="756"/>
                  </a:lnTo>
                  <a:lnTo>
                    <a:pt x="903" y="756"/>
                  </a:lnTo>
                  <a:lnTo>
                    <a:pt x="901" y="755"/>
                  </a:lnTo>
                  <a:lnTo>
                    <a:pt x="901" y="755"/>
                  </a:lnTo>
                  <a:lnTo>
                    <a:pt x="900" y="753"/>
                  </a:lnTo>
                  <a:lnTo>
                    <a:pt x="900" y="753"/>
                  </a:lnTo>
                  <a:lnTo>
                    <a:pt x="900" y="752"/>
                  </a:lnTo>
                  <a:lnTo>
                    <a:pt x="900" y="750"/>
                  </a:lnTo>
                  <a:lnTo>
                    <a:pt x="898" y="750"/>
                  </a:lnTo>
                  <a:lnTo>
                    <a:pt x="897" y="749"/>
                  </a:lnTo>
                  <a:lnTo>
                    <a:pt x="897" y="749"/>
                  </a:lnTo>
                  <a:lnTo>
                    <a:pt x="895" y="745"/>
                  </a:lnTo>
                  <a:lnTo>
                    <a:pt x="895" y="745"/>
                  </a:lnTo>
                  <a:lnTo>
                    <a:pt x="894" y="744"/>
                  </a:lnTo>
                  <a:lnTo>
                    <a:pt x="894" y="742"/>
                  </a:lnTo>
                  <a:lnTo>
                    <a:pt x="892" y="742"/>
                  </a:lnTo>
                  <a:lnTo>
                    <a:pt x="894" y="741"/>
                  </a:lnTo>
                  <a:lnTo>
                    <a:pt x="894" y="741"/>
                  </a:lnTo>
                  <a:lnTo>
                    <a:pt x="894" y="738"/>
                  </a:lnTo>
                  <a:lnTo>
                    <a:pt x="894" y="736"/>
                  </a:lnTo>
                  <a:lnTo>
                    <a:pt x="897" y="735"/>
                  </a:lnTo>
                  <a:lnTo>
                    <a:pt x="895" y="733"/>
                  </a:lnTo>
                  <a:lnTo>
                    <a:pt x="892" y="732"/>
                  </a:lnTo>
                  <a:lnTo>
                    <a:pt x="890" y="729"/>
                  </a:lnTo>
                  <a:lnTo>
                    <a:pt x="890" y="725"/>
                  </a:lnTo>
                  <a:lnTo>
                    <a:pt x="892" y="724"/>
                  </a:lnTo>
                  <a:lnTo>
                    <a:pt x="895" y="721"/>
                  </a:lnTo>
                  <a:lnTo>
                    <a:pt x="898" y="716"/>
                  </a:lnTo>
                  <a:lnTo>
                    <a:pt x="898" y="716"/>
                  </a:lnTo>
                  <a:lnTo>
                    <a:pt x="898" y="713"/>
                  </a:lnTo>
                  <a:lnTo>
                    <a:pt x="898" y="712"/>
                  </a:lnTo>
                  <a:lnTo>
                    <a:pt x="900" y="710"/>
                  </a:lnTo>
                  <a:lnTo>
                    <a:pt x="901" y="708"/>
                  </a:lnTo>
                  <a:lnTo>
                    <a:pt x="903" y="708"/>
                  </a:lnTo>
                  <a:lnTo>
                    <a:pt x="906" y="708"/>
                  </a:lnTo>
                  <a:lnTo>
                    <a:pt x="907" y="708"/>
                  </a:lnTo>
                  <a:lnTo>
                    <a:pt x="906" y="708"/>
                  </a:lnTo>
                  <a:lnTo>
                    <a:pt x="904" y="704"/>
                  </a:lnTo>
                  <a:lnTo>
                    <a:pt x="904" y="702"/>
                  </a:lnTo>
                  <a:lnTo>
                    <a:pt x="903" y="701"/>
                  </a:lnTo>
                  <a:lnTo>
                    <a:pt x="903" y="698"/>
                  </a:lnTo>
                  <a:lnTo>
                    <a:pt x="903" y="698"/>
                  </a:lnTo>
                  <a:lnTo>
                    <a:pt x="903" y="696"/>
                  </a:lnTo>
                  <a:lnTo>
                    <a:pt x="903" y="696"/>
                  </a:lnTo>
                  <a:lnTo>
                    <a:pt x="903" y="696"/>
                  </a:lnTo>
                  <a:lnTo>
                    <a:pt x="903" y="695"/>
                  </a:lnTo>
                  <a:lnTo>
                    <a:pt x="903" y="695"/>
                  </a:lnTo>
                  <a:lnTo>
                    <a:pt x="903" y="695"/>
                  </a:lnTo>
                  <a:lnTo>
                    <a:pt x="903" y="693"/>
                  </a:lnTo>
                  <a:lnTo>
                    <a:pt x="901" y="692"/>
                  </a:lnTo>
                  <a:lnTo>
                    <a:pt x="898" y="690"/>
                  </a:lnTo>
                  <a:lnTo>
                    <a:pt x="897" y="690"/>
                  </a:lnTo>
                  <a:lnTo>
                    <a:pt x="892" y="692"/>
                  </a:lnTo>
                  <a:lnTo>
                    <a:pt x="892" y="692"/>
                  </a:lnTo>
                  <a:lnTo>
                    <a:pt x="886" y="688"/>
                  </a:lnTo>
                  <a:lnTo>
                    <a:pt x="884" y="685"/>
                  </a:lnTo>
                  <a:lnTo>
                    <a:pt x="883" y="684"/>
                  </a:lnTo>
                  <a:lnTo>
                    <a:pt x="883" y="678"/>
                  </a:lnTo>
                  <a:lnTo>
                    <a:pt x="883" y="675"/>
                  </a:lnTo>
                  <a:lnTo>
                    <a:pt x="880" y="673"/>
                  </a:lnTo>
                  <a:lnTo>
                    <a:pt x="878" y="673"/>
                  </a:lnTo>
                  <a:lnTo>
                    <a:pt x="877" y="673"/>
                  </a:lnTo>
                  <a:lnTo>
                    <a:pt x="877" y="672"/>
                  </a:lnTo>
                  <a:lnTo>
                    <a:pt x="875" y="670"/>
                  </a:lnTo>
                  <a:lnTo>
                    <a:pt x="875" y="668"/>
                  </a:lnTo>
                  <a:lnTo>
                    <a:pt x="875" y="668"/>
                  </a:lnTo>
                  <a:lnTo>
                    <a:pt x="875" y="667"/>
                  </a:lnTo>
                  <a:lnTo>
                    <a:pt x="874" y="665"/>
                  </a:lnTo>
                  <a:lnTo>
                    <a:pt x="874" y="664"/>
                  </a:lnTo>
                  <a:lnTo>
                    <a:pt x="875" y="664"/>
                  </a:lnTo>
                  <a:lnTo>
                    <a:pt x="875" y="664"/>
                  </a:lnTo>
                  <a:lnTo>
                    <a:pt x="878" y="662"/>
                  </a:lnTo>
                  <a:lnTo>
                    <a:pt x="878" y="661"/>
                  </a:lnTo>
                  <a:lnTo>
                    <a:pt x="880" y="661"/>
                  </a:lnTo>
                  <a:lnTo>
                    <a:pt x="881" y="661"/>
                  </a:lnTo>
                  <a:lnTo>
                    <a:pt x="881" y="661"/>
                  </a:lnTo>
                  <a:lnTo>
                    <a:pt x="883" y="661"/>
                  </a:lnTo>
                  <a:lnTo>
                    <a:pt x="883" y="659"/>
                  </a:lnTo>
                  <a:lnTo>
                    <a:pt x="886" y="661"/>
                  </a:lnTo>
                  <a:lnTo>
                    <a:pt x="889" y="662"/>
                  </a:lnTo>
                  <a:lnTo>
                    <a:pt x="890" y="662"/>
                  </a:lnTo>
                  <a:lnTo>
                    <a:pt x="894" y="661"/>
                  </a:lnTo>
                  <a:lnTo>
                    <a:pt x="894" y="661"/>
                  </a:lnTo>
                  <a:lnTo>
                    <a:pt x="894" y="661"/>
                  </a:lnTo>
                  <a:lnTo>
                    <a:pt x="894" y="659"/>
                  </a:lnTo>
                  <a:lnTo>
                    <a:pt x="894" y="659"/>
                  </a:lnTo>
                  <a:lnTo>
                    <a:pt x="894" y="659"/>
                  </a:lnTo>
                  <a:lnTo>
                    <a:pt x="895" y="659"/>
                  </a:lnTo>
                  <a:lnTo>
                    <a:pt x="897" y="658"/>
                  </a:lnTo>
                  <a:lnTo>
                    <a:pt x="898" y="658"/>
                  </a:lnTo>
                  <a:lnTo>
                    <a:pt x="898" y="655"/>
                  </a:lnTo>
                  <a:lnTo>
                    <a:pt x="900" y="655"/>
                  </a:lnTo>
                  <a:lnTo>
                    <a:pt x="903" y="653"/>
                  </a:lnTo>
                  <a:lnTo>
                    <a:pt x="904" y="652"/>
                  </a:lnTo>
                  <a:lnTo>
                    <a:pt x="906" y="653"/>
                  </a:lnTo>
                  <a:lnTo>
                    <a:pt x="906" y="653"/>
                  </a:lnTo>
                  <a:lnTo>
                    <a:pt x="907" y="653"/>
                  </a:lnTo>
                  <a:lnTo>
                    <a:pt x="907" y="653"/>
                  </a:lnTo>
                  <a:lnTo>
                    <a:pt x="909" y="650"/>
                  </a:lnTo>
                  <a:lnTo>
                    <a:pt x="911" y="648"/>
                  </a:lnTo>
                  <a:lnTo>
                    <a:pt x="911" y="647"/>
                  </a:lnTo>
                  <a:lnTo>
                    <a:pt x="911" y="645"/>
                  </a:lnTo>
                  <a:lnTo>
                    <a:pt x="909" y="642"/>
                  </a:lnTo>
                  <a:lnTo>
                    <a:pt x="911" y="642"/>
                  </a:lnTo>
                  <a:lnTo>
                    <a:pt x="912" y="639"/>
                  </a:lnTo>
                  <a:lnTo>
                    <a:pt x="914" y="636"/>
                  </a:lnTo>
                  <a:lnTo>
                    <a:pt x="915" y="635"/>
                  </a:lnTo>
                  <a:lnTo>
                    <a:pt x="915" y="633"/>
                  </a:lnTo>
                  <a:lnTo>
                    <a:pt x="914" y="633"/>
                  </a:lnTo>
                  <a:lnTo>
                    <a:pt x="911" y="632"/>
                  </a:lnTo>
                  <a:lnTo>
                    <a:pt x="911" y="630"/>
                  </a:lnTo>
                  <a:lnTo>
                    <a:pt x="909" y="630"/>
                  </a:lnTo>
                  <a:lnTo>
                    <a:pt x="909" y="628"/>
                  </a:lnTo>
                  <a:lnTo>
                    <a:pt x="909" y="627"/>
                  </a:lnTo>
                  <a:lnTo>
                    <a:pt x="907" y="627"/>
                  </a:lnTo>
                  <a:lnTo>
                    <a:pt x="904" y="624"/>
                  </a:lnTo>
                  <a:lnTo>
                    <a:pt x="901" y="622"/>
                  </a:lnTo>
                  <a:lnTo>
                    <a:pt x="901" y="621"/>
                  </a:lnTo>
                  <a:lnTo>
                    <a:pt x="901" y="616"/>
                  </a:lnTo>
                  <a:lnTo>
                    <a:pt x="900" y="616"/>
                  </a:lnTo>
                  <a:lnTo>
                    <a:pt x="900" y="615"/>
                  </a:lnTo>
                  <a:lnTo>
                    <a:pt x="900" y="613"/>
                  </a:lnTo>
                  <a:lnTo>
                    <a:pt x="900" y="613"/>
                  </a:lnTo>
                  <a:lnTo>
                    <a:pt x="900" y="611"/>
                  </a:lnTo>
                  <a:lnTo>
                    <a:pt x="900" y="610"/>
                  </a:lnTo>
                  <a:lnTo>
                    <a:pt x="900" y="608"/>
                  </a:lnTo>
                  <a:lnTo>
                    <a:pt x="900" y="608"/>
                  </a:lnTo>
                  <a:lnTo>
                    <a:pt x="897" y="607"/>
                  </a:lnTo>
                  <a:lnTo>
                    <a:pt x="895" y="607"/>
                  </a:lnTo>
                  <a:lnTo>
                    <a:pt x="894" y="605"/>
                  </a:lnTo>
                  <a:lnTo>
                    <a:pt x="894" y="605"/>
                  </a:lnTo>
                  <a:lnTo>
                    <a:pt x="890" y="604"/>
                  </a:lnTo>
                  <a:lnTo>
                    <a:pt x="889" y="602"/>
                  </a:lnTo>
                  <a:lnTo>
                    <a:pt x="887" y="601"/>
                  </a:lnTo>
                  <a:lnTo>
                    <a:pt x="887" y="596"/>
                  </a:lnTo>
                  <a:lnTo>
                    <a:pt x="886" y="595"/>
                  </a:lnTo>
                  <a:lnTo>
                    <a:pt x="886" y="591"/>
                  </a:lnTo>
                  <a:lnTo>
                    <a:pt x="887" y="590"/>
                  </a:lnTo>
                  <a:lnTo>
                    <a:pt x="887" y="588"/>
                  </a:lnTo>
                  <a:lnTo>
                    <a:pt x="889" y="588"/>
                  </a:lnTo>
                  <a:lnTo>
                    <a:pt x="892" y="588"/>
                  </a:lnTo>
                  <a:lnTo>
                    <a:pt x="892" y="588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2" y="587"/>
                  </a:lnTo>
                  <a:lnTo>
                    <a:pt x="894" y="587"/>
                  </a:lnTo>
                  <a:lnTo>
                    <a:pt x="894" y="587"/>
                  </a:lnTo>
                  <a:lnTo>
                    <a:pt x="894" y="587"/>
                  </a:lnTo>
                  <a:lnTo>
                    <a:pt x="895" y="587"/>
                  </a:lnTo>
                  <a:lnTo>
                    <a:pt x="897" y="587"/>
                  </a:lnTo>
                  <a:lnTo>
                    <a:pt x="900" y="585"/>
                  </a:lnTo>
                  <a:lnTo>
                    <a:pt x="900" y="584"/>
                  </a:lnTo>
                  <a:lnTo>
                    <a:pt x="901" y="582"/>
                  </a:lnTo>
                  <a:lnTo>
                    <a:pt x="901" y="581"/>
                  </a:lnTo>
                  <a:lnTo>
                    <a:pt x="903" y="579"/>
                  </a:lnTo>
                  <a:lnTo>
                    <a:pt x="903" y="579"/>
                  </a:lnTo>
                  <a:lnTo>
                    <a:pt x="904" y="579"/>
                  </a:lnTo>
                  <a:lnTo>
                    <a:pt x="904" y="578"/>
                  </a:lnTo>
                  <a:lnTo>
                    <a:pt x="903" y="576"/>
                  </a:lnTo>
                  <a:lnTo>
                    <a:pt x="903" y="575"/>
                  </a:lnTo>
                  <a:lnTo>
                    <a:pt x="903" y="573"/>
                  </a:lnTo>
                  <a:lnTo>
                    <a:pt x="901" y="571"/>
                  </a:lnTo>
                  <a:lnTo>
                    <a:pt x="901" y="571"/>
                  </a:lnTo>
                  <a:lnTo>
                    <a:pt x="897" y="565"/>
                  </a:lnTo>
                  <a:lnTo>
                    <a:pt x="895" y="564"/>
                  </a:lnTo>
                  <a:lnTo>
                    <a:pt x="894" y="565"/>
                  </a:lnTo>
                  <a:lnTo>
                    <a:pt x="894" y="565"/>
                  </a:lnTo>
                  <a:lnTo>
                    <a:pt x="894" y="565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2" y="565"/>
                  </a:lnTo>
                  <a:lnTo>
                    <a:pt x="892" y="564"/>
                  </a:lnTo>
                  <a:lnTo>
                    <a:pt x="892" y="564"/>
                  </a:lnTo>
                  <a:lnTo>
                    <a:pt x="892" y="564"/>
                  </a:lnTo>
                  <a:lnTo>
                    <a:pt x="892" y="562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2" y="561"/>
                  </a:lnTo>
                  <a:lnTo>
                    <a:pt x="894" y="559"/>
                  </a:lnTo>
                  <a:lnTo>
                    <a:pt x="894" y="559"/>
                  </a:lnTo>
                  <a:lnTo>
                    <a:pt x="892" y="558"/>
                  </a:lnTo>
                  <a:lnTo>
                    <a:pt x="886" y="556"/>
                  </a:lnTo>
                  <a:lnTo>
                    <a:pt x="886" y="555"/>
                  </a:lnTo>
                  <a:lnTo>
                    <a:pt x="886" y="550"/>
                  </a:lnTo>
                  <a:lnTo>
                    <a:pt x="887" y="547"/>
                  </a:lnTo>
                  <a:lnTo>
                    <a:pt x="890" y="542"/>
                  </a:lnTo>
                  <a:lnTo>
                    <a:pt x="889" y="539"/>
                  </a:lnTo>
                  <a:lnTo>
                    <a:pt x="886" y="536"/>
                  </a:lnTo>
                  <a:lnTo>
                    <a:pt x="884" y="533"/>
                  </a:lnTo>
                  <a:lnTo>
                    <a:pt x="884" y="531"/>
                  </a:lnTo>
                  <a:lnTo>
                    <a:pt x="886" y="530"/>
                  </a:lnTo>
                  <a:lnTo>
                    <a:pt x="887" y="528"/>
                  </a:lnTo>
                  <a:lnTo>
                    <a:pt x="887" y="527"/>
                  </a:lnTo>
                  <a:lnTo>
                    <a:pt x="887" y="525"/>
                  </a:lnTo>
                  <a:lnTo>
                    <a:pt x="886" y="525"/>
                  </a:lnTo>
                  <a:lnTo>
                    <a:pt x="886" y="525"/>
                  </a:lnTo>
                  <a:lnTo>
                    <a:pt x="886" y="524"/>
                  </a:lnTo>
                  <a:lnTo>
                    <a:pt x="874" y="522"/>
                  </a:lnTo>
                  <a:lnTo>
                    <a:pt x="869" y="521"/>
                  </a:lnTo>
                  <a:lnTo>
                    <a:pt x="864" y="522"/>
                  </a:lnTo>
                  <a:lnTo>
                    <a:pt x="858" y="527"/>
                  </a:lnTo>
                  <a:lnTo>
                    <a:pt x="855" y="527"/>
                  </a:lnTo>
                  <a:lnTo>
                    <a:pt x="854" y="527"/>
                  </a:lnTo>
                  <a:lnTo>
                    <a:pt x="850" y="528"/>
                  </a:lnTo>
                  <a:lnTo>
                    <a:pt x="849" y="530"/>
                  </a:lnTo>
                  <a:lnTo>
                    <a:pt x="846" y="533"/>
                  </a:lnTo>
                  <a:lnTo>
                    <a:pt x="844" y="534"/>
                  </a:lnTo>
                  <a:lnTo>
                    <a:pt x="844" y="536"/>
                  </a:lnTo>
                  <a:lnTo>
                    <a:pt x="844" y="538"/>
                  </a:lnTo>
                  <a:lnTo>
                    <a:pt x="846" y="539"/>
                  </a:lnTo>
                  <a:lnTo>
                    <a:pt x="846" y="541"/>
                  </a:lnTo>
                  <a:lnTo>
                    <a:pt x="846" y="542"/>
                  </a:lnTo>
                  <a:lnTo>
                    <a:pt x="846" y="542"/>
                  </a:lnTo>
                  <a:lnTo>
                    <a:pt x="847" y="542"/>
                  </a:lnTo>
                  <a:lnTo>
                    <a:pt x="849" y="542"/>
                  </a:lnTo>
                  <a:lnTo>
                    <a:pt x="849" y="542"/>
                  </a:lnTo>
                  <a:lnTo>
                    <a:pt x="849" y="545"/>
                  </a:lnTo>
                  <a:lnTo>
                    <a:pt x="847" y="547"/>
                  </a:lnTo>
                  <a:lnTo>
                    <a:pt x="843" y="550"/>
                  </a:lnTo>
                  <a:lnTo>
                    <a:pt x="838" y="555"/>
                  </a:lnTo>
                  <a:lnTo>
                    <a:pt x="837" y="556"/>
                  </a:lnTo>
                  <a:lnTo>
                    <a:pt x="833" y="555"/>
                  </a:lnTo>
                  <a:lnTo>
                    <a:pt x="830" y="555"/>
                  </a:lnTo>
                  <a:lnTo>
                    <a:pt x="827" y="556"/>
                  </a:lnTo>
                  <a:lnTo>
                    <a:pt x="826" y="556"/>
                  </a:lnTo>
                  <a:lnTo>
                    <a:pt x="826" y="555"/>
                  </a:lnTo>
                  <a:lnTo>
                    <a:pt x="827" y="553"/>
                  </a:lnTo>
                  <a:lnTo>
                    <a:pt x="827" y="551"/>
                  </a:lnTo>
                  <a:lnTo>
                    <a:pt x="826" y="550"/>
                  </a:lnTo>
                  <a:lnTo>
                    <a:pt x="824" y="548"/>
                  </a:lnTo>
                  <a:lnTo>
                    <a:pt x="826" y="548"/>
                  </a:lnTo>
                  <a:lnTo>
                    <a:pt x="827" y="547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4"/>
                  </a:lnTo>
                  <a:lnTo>
                    <a:pt x="832" y="545"/>
                  </a:lnTo>
                  <a:lnTo>
                    <a:pt x="833" y="545"/>
                  </a:lnTo>
                  <a:lnTo>
                    <a:pt x="833" y="545"/>
                  </a:lnTo>
                  <a:lnTo>
                    <a:pt x="835" y="544"/>
                  </a:lnTo>
                  <a:lnTo>
                    <a:pt x="835" y="544"/>
                  </a:lnTo>
                  <a:lnTo>
                    <a:pt x="835" y="542"/>
                  </a:lnTo>
                  <a:lnTo>
                    <a:pt x="835" y="541"/>
                  </a:lnTo>
                  <a:lnTo>
                    <a:pt x="837" y="538"/>
                  </a:lnTo>
                  <a:lnTo>
                    <a:pt x="837" y="538"/>
                  </a:lnTo>
                  <a:lnTo>
                    <a:pt x="837" y="534"/>
                  </a:lnTo>
                  <a:lnTo>
                    <a:pt x="838" y="531"/>
                  </a:lnTo>
                  <a:lnTo>
                    <a:pt x="838" y="531"/>
                  </a:lnTo>
                  <a:lnTo>
                    <a:pt x="838" y="528"/>
                  </a:lnTo>
                  <a:lnTo>
                    <a:pt x="837" y="528"/>
                  </a:lnTo>
                  <a:lnTo>
                    <a:pt x="832" y="525"/>
                  </a:lnTo>
                  <a:lnTo>
                    <a:pt x="832" y="525"/>
                  </a:lnTo>
                  <a:lnTo>
                    <a:pt x="833" y="525"/>
                  </a:lnTo>
                  <a:lnTo>
                    <a:pt x="833" y="524"/>
                  </a:lnTo>
                  <a:lnTo>
                    <a:pt x="833" y="524"/>
                  </a:lnTo>
                  <a:lnTo>
                    <a:pt x="833" y="522"/>
                  </a:lnTo>
                  <a:lnTo>
                    <a:pt x="833" y="522"/>
                  </a:lnTo>
                  <a:lnTo>
                    <a:pt x="833" y="522"/>
                  </a:lnTo>
                  <a:lnTo>
                    <a:pt x="833" y="521"/>
                  </a:lnTo>
                  <a:lnTo>
                    <a:pt x="833" y="521"/>
                  </a:lnTo>
                  <a:lnTo>
                    <a:pt x="833" y="521"/>
                  </a:lnTo>
                  <a:lnTo>
                    <a:pt x="833" y="519"/>
                  </a:lnTo>
                  <a:lnTo>
                    <a:pt x="837" y="514"/>
                  </a:lnTo>
                  <a:lnTo>
                    <a:pt x="840" y="511"/>
                  </a:lnTo>
                  <a:lnTo>
                    <a:pt x="838" y="510"/>
                  </a:lnTo>
                  <a:lnTo>
                    <a:pt x="837" y="508"/>
                  </a:lnTo>
                  <a:lnTo>
                    <a:pt x="838" y="507"/>
                  </a:lnTo>
                  <a:lnTo>
                    <a:pt x="849" y="498"/>
                  </a:lnTo>
                  <a:lnTo>
                    <a:pt x="854" y="494"/>
                  </a:lnTo>
                  <a:lnTo>
                    <a:pt x="854" y="494"/>
                  </a:lnTo>
                  <a:lnTo>
                    <a:pt x="857" y="491"/>
                  </a:lnTo>
                  <a:lnTo>
                    <a:pt x="858" y="490"/>
                  </a:lnTo>
                  <a:lnTo>
                    <a:pt x="860" y="490"/>
                  </a:lnTo>
                  <a:lnTo>
                    <a:pt x="860" y="488"/>
                  </a:lnTo>
                  <a:lnTo>
                    <a:pt x="861" y="488"/>
                  </a:lnTo>
                  <a:lnTo>
                    <a:pt x="861" y="485"/>
                  </a:lnTo>
                  <a:lnTo>
                    <a:pt x="860" y="485"/>
                  </a:lnTo>
                  <a:lnTo>
                    <a:pt x="860" y="485"/>
                  </a:lnTo>
                  <a:lnTo>
                    <a:pt x="860" y="484"/>
                  </a:lnTo>
                  <a:lnTo>
                    <a:pt x="860" y="484"/>
                  </a:lnTo>
                  <a:lnTo>
                    <a:pt x="861" y="481"/>
                  </a:lnTo>
                  <a:lnTo>
                    <a:pt x="861" y="479"/>
                  </a:lnTo>
                  <a:lnTo>
                    <a:pt x="861" y="479"/>
                  </a:lnTo>
                  <a:lnTo>
                    <a:pt x="861" y="478"/>
                  </a:lnTo>
                  <a:lnTo>
                    <a:pt x="861" y="476"/>
                  </a:lnTo>
                  <a:lnTo>
                    <a:pt x="861" y="476"/>
                  </a:lnTo>
                  <a:lnTo>
                    <a:pt x="861" y="473"/>
                  </a:lnTo>
                  <a:lnTo>
                    <a:pt x="860" y="473"/>
                  </a:lnTo>
                  <a:lnTo>
                    <a:pt x="861" y="468"/>
                  </a:lnTo>
                  <a:lnTo>
                    <a:pt x="864" y="467"/>
                  </a:lnTo>
                  <a:lnTo>
                    <a:pt x="874" y="464"/>
                  </a:lnTo>
                  <a:lnTo>
                    <a:pt x="878" y="461"/>
                  </a:lnTo>
                  <a:lnTo>
                    <a:pt x="880" y="457"/>
                  </a:lnTo>
                  <a:lnTo>
                    <a:pt x="878" y="456"/>
                  </a:lnTo>
                  <a:lnTo>
                    <a:pt x="880" y="454"/>
                  </a:lnTo>
                  <a:lnTo>
                    <a:pt x="880" y="453"/>
                  </a:lnTo>
                  <a:lnTo>
                    <a:pt x="883" y="453"/>
                  </a:lnTo>
                  <a:lnTo>
                    <a:pt x="883" y="451"/>
                  </a:lnTo>
                  <a:lnTo>
                    <a:pt x="883" y="451"/>
                  </a:lnTo>
                  <a:lnTo>
                    <a:pt x="884" y="451"/>
                  </a:lnTo>
                  <a:lnTo>
                    <a:pt x="884" y="450"/>
                  </a:lnTo>
                  <a:lnTo>
                    <a:pt x="886" y="448"/>
                  </a:lnTo>
                  <a:lnTo>
                    <a:pt x="890" y="444"/>
                  </a:lnTo>
                  <a:lnTo>
                    <a:pt x="890" y="444"/>
                  </a:lnTo>
                  <a:lnTo>
                    <a:pt x="892" y="442"/>
                  </a:lnTo>
                  <a:lnTo>
                    <a:pt x="895" y="439"/>
                  </a:lnTo>
                  <a:lnTo>
                    <a:pt x="900" y="436"/>
                  </a:lnTo>
                  <a:lnTo>
                    <a:pt x="900" y="433"/>
                  </a:lnTo>
                  <a:lnTo>
                    <a:pt x="900" y="431"/>
                  </a:lnTo>
                  <a:lnTo>
                    <a:pt x="901" y="430"/>
                  </a:lnTo>
                  <a:lnTo>
                    <a:pt x="901" y="430"/>
                  </a:lnTo>
                  <a:lnTo>
                    <a:pt x="903" y="430"/>
                  </a:lnTo>
                  <a:lnTo>
                    <a:pt x="903" y="428"/>
                  </a:lnTo>
                  <a:lnTo>
                    <a:pt x="904" y="427"/>
                  </a:lnTo>
                  <a:lnTo>
                    <a:pt x="904" y="427"/>
                  </a:lnTo>
                  <a:lnTo>
                    <a:pt x="906" y="427"/>
                  </a:lnTo>
                  <a:lnTo>
                    <a:pt x="906" y="425"/>
                  </a:lnTo>
                  <a:lnTo>
                    <a:pt x="906" y="424"/>
                  </a:lnTo>
                  <a:lnTo>
                    <a:pt x="904" y="424"/>
                  </a:lnTo>
                  <a:lnTo>
                    <a:pt x="903" y="422"/>
                  </a:lnTo>
                  <a:lnTo>
                    <a:pt x="901" y="424"/>
                  </a:lnTo>
                  <a:lnTo>
                    <a:pt x="894" y="424"/>
                  </a:lnTo>
                  <a:lnTo>
                    <a:pt x="894" y="422"/>
                  </a:lnTo>
                  <a:lnTo>
                    <a:pt x="894" y="421"/>
                  </a:lnTo>
                  <a:lnTo>
                    <a:pt x="895" y="419"/>
                  </a:lnTo>
                  <a:lnTo>
                    <a:pt x="897" y="419"/>
                  </a:lnTo>
                  <a:lnTo>
                    <a:pt x="897" y="416"/>
                  </a:lnTo>
                  <a:lnTo>
                    <a:pt x="900" y="416"/>
                  </a:lnTo>
                  <a:lnTo>
                    <a:pt x="900" y="414"/>
                  </a:lnTo>
                  <a:lnTo>
                    <a:pt x="901" y="414"/>
                  </a:lnTo>
                  <a:lnTo>
                    <a:pt x="903" y="413"/>
                  </a:lnTo>
                  <a:lnTo>
                    <a:pt x="901" y="411"/>
                  </a:lnTo>
                  <a:lnTo>
                    <a:pt x="901" y="410"/>
                  </a:lnTo>
                  <a:lnTo>
                    <a:pt x="901" y="410"/>
                  </a:lnTo>
                  <a:lnTo>
                    <a:pt x="903" y="408"/>
                  </a:lnTo>
                  <a:lnTo>
                    <a:pt x="903" y="408"/>
                  </a:lnTo>
                  <a:lnTo>
                    <a:pt x="903" y="408"/>
                  </a:lnTo>
                  <a:lnTo>
                    <a:pt x="904" y="408"/>
                  </a:lnTo>
                  <a:lnTo>
                    <a:pt x="904" y="408"/>
                  </a:lnTo>
                  <a:lnTo>
                    <a:pt x="907" y="410"/>
                  </a:lnTo>
                  <a:lnTo>
                    <a:pt x="911" y="408"/>
                  </a:lnTo>
                  <a:lnTo>
                    <a:pt x="912" y="408"/>
                  </a:lnTo>
                  <a:lnTo>
                    <a:pt x="914" y="410"/>
                  </a:lnTo>
                  <a:lnTo>
                    <a:pt x="914" y="410"/>
                  </a:lnTo>
                  <a:lnTo>
                    <a:pt x="914" y="410"/>
                  </a:lnTo>
                  <a:lnTo>
                    <a:pt x="917" y="410"/>
                  </a:lnTo>
                  <a:lnTo>
                    <a:pt x="915" y="413"/>
                  </a:lnTo>
                  <a:lnTo>
                    <a:pt x="915" y="414"/>
                  </a:lnTo>
                  <a:lnTo>
                    <a:pt x="917" y="414"/>
                  </a:lnTo>
                  <a:lnTo>
                    <a:pt x="920" y="416"/>
                  </a:lnTo>
                  <a:lnTo>
                    <a:pt x="920" y="416"/>
                  </a:lnTo>
                  <a:lnTo>
                    <a:pt x="920" y="416"/>
                  </a:lnTo>
                  <a:lnTo>
                    <a:pt x="920" y="417"/>
                  </a:lnTo>
                  <a:lnTo>
                    <a:pt x="920" y="417"/>
                  </a:lnTo>
                  <a:lnTo>
                    <a:pt x="921" y="417"/>
                  </a:lnTo>
                  <a:lnTo>
                    <a:pt x="924" y="416"/>
                  </a:lnTo>
                  <a:lnTo>
                    <a:pt x="926" y="416"/>
                  </a:lnTo>
                  <a:lnTo>
                    <a:pt x="927" y="416"/>
                  </a:lnTo>
                  <a:lnTo>
                    <a:pt x="931" y="416"/>
                  </a:lnTo>
                  <a:lnTo>
                    <a:pt x="932" y="416"/>
                  </a:lnTo>
                  <a:lnTo>
                    <a:pt x="934" y="414"/>
                  </a:lnTo>
                  <a:lnTo>
                    <a:pt x="934" y="413"/>
                  </a:lnTo>
                  <a:lnTo>
                    <a:pt x="935" y="413"/>
                  </a:lnTo>
                  <a:lnTo>
                    <a:pt x="935" y="411"/>
                  </a:lnTo>
                  <a:lnTo>
                    <a:pt x="935" y="411"/>
                  </a:lnTo>
                  <a:lnTo>
                    <a:pt x="934" y="411"/>
                  </a:lnTo>
                  <a:lnTo>
                    <a:pt x="934" y="410"/>
                  </a:lnTo>
                  <a:lnTo>
                    <a:pt x="934" y="410"/>
                  </a:lnTo>
                  <a:lnTo>
                    <a:pt x="934" y="410"/>
                  </a:lnTo>
                  <a:lnTo>
                    <a:pt x="935" y="408"/>
                  </a:lnTo>
                  <a:lnTo>
                    <a:pt x="935" y="410"/>
                  </a:lnTo>
                  <a:lnTo>
                    <a:pt x="937" y="410"/>
                  </a:lnTo>
                  <a:lnTo>
                    <a:pt x="937" y="410"/>
                  </a:lnTo>
                  <a:lnTo>
                    <a:pt x="938" y="410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8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38" y="407"/>
                  </a:lnTo>
                  <a:lnTo>
                    <a:pt x="940" y="407"/>
                  </a:lnTo>
                  <a:lnTo>
                    <a:pt x="940" y="407"/>
                  </a:lnTo>
                  <a:lnTo>
                    <a:pt x="940" y="405"/>
                  </a:lnTo>
                  <a:lnTo>
                    <a:pt x="940" y="404"/>
                  </a:lnTo>
                  <a:lnTo>
                    <a:pt x="940" y="404"/>
                  </a:lnTo>
                  <a:lnTo>
                    <a:pt x="938" y="404"/>
                  </a:lnTo>
                  <a:lnTo>
                    <a:pt x="938" y="404"/>
                  </a:lnTo>
                  <a:lnTo>
                    <a:pt x="941" y="401"/>
                  </a:lnTo>
                  <a:lnTo>
                    <a:pt x="941" y="401"/>
                  </a:lnTo>
                  <a:lnTo>
                    <a:pt x="944" y="399"/>
                  </a:lnTo>
                  <a:lnTo>
                    <a:pt x="946" y="399"/>
                  </a:lnTo>
                  <a:lnTo>
                    <a:pt x="946" y="399"/>
                  </a:lnTo>
                  <a:lnTo>
                    <a:pt x="946" y="397"/>
                  </a:lnTo>
                  <a:lnTo>
                    <a:pt x="947" y="397"/>
                  </a:lnTo>
                  <a:lnTo>
                    <a:pt x="947" y="396"/>
                  </a:lnTo>
                  <a:lnTo>
                    <a:pt x="946" y="396"/>
                  </a:lnTo>
                  <a:lnTo>
                    <a:pt x="946" y="394"/>
                  </a:lnTo>
                  <a:lnTo>
                    <a:pt x="946" y="394"/>
                  </a:lnTo>
                  <a:lnTo>
                    <a:pt x="944" y="391"/>
                  </a:lnTo>
                  <a:lnTo>
                    <a:pt x="943" y="390"/>
                  </a:lnTo>
                  <a:lnTo>
                    <a:pt x="941" y="390"/>
                  </a:lnTo>
                  <a:lnTo>
                    <a:pt x="941" y="388"/>
                  </a:lnTo>
                  <a:lnTo>
                    <a:pt x="941" y="388"/>
                  </a:lnTo>
                  <a:lnTo>
                    <a:pt x="941" y="385"/>
                  </a:lnTo>
                  <a:lnTo>
                    <a:pt x="941" y="385"/>
                  </a:lnTo>
                  <a:lnTo>
                    <a:pt x="943" y="384"/>
                  </a:lnTo>
                  <a:lnTo>
                    <a:pt x="943" y="382"/>
                  </a:lnTo>
                  <a:lnTo>
                    <a:pt x="943" y="380"/>
                  </a:lnTo>
                  <a:lnTo>
                    <a:pt x="941" y="377"/>
                  </a:lnTo>
                  <a:lnTo>
                    <a:pt x="943" y="376"/>
                  </a:lnTo>
                  <a:lnTo>
                    <a:pt x="943" y="371"/>
                  </a:lnTo>
                  <a:lnTo>
                    <a:pt x="943" y="371"/>
                  </a:lnTo>
                  <a:lnTo>
                    <a:pt x="944" y="371"/>
                  </a:lnTo>
                  <a:lnTo>
                    <a:pt x="944" y="370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7"/>
                  </a:lnTo>
                  <a:lnTo>
                    <a:pt x="944" y="365"/>
                  </a:lnTo>
                  <a:lnTo>
                    <a:pt x="944" y="365"/>
                  </a:lnTo>
                  <a:lnTo>
                    <a:pt x="944" y="365"/>
                  </a:lnTo>
                  <a:lnTo>
                    <a:pt x="946" y="364"/>
                  </a:lnTo>
                  <a:lnTo>
                    <a:pt x="946" y="364"/>
                  </a:lnTo>
                  <a:lnTo>
                    <a:pt x="946" y="362"/>
                  </a:lnTo>
                  <a:lnTo>
                    <a:pt x="946" y="360"/>
                  </a:lnTo>
                  <a:lnTo>
                    <a:pt x="946" y="359"/>
                  </a:lnTo>
                  <a:lnTo>
                    <a:pt x="949" y="357"/>
                  </a:lnTo>
                  <a:lnTo>
                    <a:pt x="949" y="356"/>
                  </a:lnTo>
                  <a:lnTo>
                    <a:pt x="949" y="353"/>
                  </a:lnTo>
                  <a:lnTo>
                    <a:pt x="946" y="347"/>
                  </a:lnTo>
                  <a:lnTo>
                    <a:pt x="946" y="342"/>
                  </a:lnTo>
                  <a:lnTo>
                    <a:pt x="946" y="340"/>
                  </a:lnTo>
                  <a:lnTo>
                    <a:pt x="946" y="339"/>
                  </a:lnTo>
                  <a:lnTo>
                    <a:pt x="947" y="337"/>
                  </a:lnTo>
                  <a:lnTo>
                    <a:pt x="947" y="337"/>
                  </a:lnTo>
                  <a:lnTo>
                    <a:pt x="947" y="336"/>
                  </a:lnTo>
                  <a:lnTo>
                    <a:pt x="947" y="334"/>
                  </a:lnTo>
                  <a:lnTo>
                    <a:pt x="949" y="333"/>
                  </a:lnTo>
                  <a:lnTo>
                    <a:pt x="954" y="327"/>
                  </a:lnTo>
                  <a:lnTo>
                    <a:pt x="954" y="325"/>
                  </a:lnTo>
                  <a:lnTo>
                    <a:pt x="954" y="324"/>
                  </a:lnTo>
                  <a:lnTo>
                    <a:pt x="955" y="320"/>
                  </a:lnTo>
                  <a:lnTo>
                    <a:pt x="955" y="319"/>
                  </a:lnTo>
                  <a:lnTo>
                    <a:pt x="957" y="317"/>
                  </a:lnTo>
                  <a:lnTo>
                    <a:pt x="958" y="316"/>
                  </a:lnTo>
                  <a:lnTo>
                    <a:pt x="958" y="314"/>
                  </a:lnTo>
                  <a:lnTo>
                    <a:pt x="958" y="313"/>
                  </a:lnTo>
                  <a:lnTo>
                    <a:pt x="958" y="311"/>
                  </a:lnTo>
                  <a:lnTo>
                    <a:pt x="958" y="310"/>
                  </a:lnTo>
                  <a:lnTo>
                    <a:pt x="958" y="310"/>
                  </a:lnTo>
                  <a:lnTo>
                    <a:pt x="958" y="308"/>
                  </a:lnTo>
                  <a:lnTo>
                    <a:pt x="958" y="305"/>
                  </a:lnTo>
                  <a:lnTo>
                    <a:pt x="958" y="304"/>
                  </a:lnTo>
                  <a:lnTo>
                    <a:pt x="960" y="302"/>
                  </a:lnTo>
                  <a:lnTo>
                    <a:pt x="960" y="302"/>
                  </a:lnTo>
                  <a:lnTo>
                    <a:pt x="960" y="300"/>
                  </a:lnTo>
                  <a:lnTo>
                    <a:pt x="960" y="299"/>
                  </a:lnTo>
                  <a:lnTo>
                    <a:pt x="961" y="297"/>
                  </a:lnTo>
                  <a:lnTo>
                    <a:pt x="961" y="296"/>
                  </a:lnTo>
                  <a:lnTo>
                    <a:pt x="963" y="294"/>
                  </a:lnTo>
                  <a:lnTo>
                    <a:pt x="963" y="294"/>
                  </a:lnTo>
                  <a:lnTo>
                    <a:pt x="963" y="291"/>
                  </a:lnTo>
                  <a:lnTo>
                    <a:pt x="963" y="288"/>
                  </a:lnTo>
                  <a:lnTo>
                    <a:pt x="963" y="283"/>
                  </a:lnTo>
                  <a:lnTo>
                    <a:pt x="966" y="279"/>
                  </a:lnTo>
                  <a:lnTo>
                    <a:pt x="967" y="279"/>
                  </a:lnTo>
                  <a:lnTo>
                    <a:pt x="969" y="279"/>
                  </a:lnTo>
                  <a:lnTo>
                    <a:pt x="969" y="277"/>
                  </a:lnTo>
                  <a:lnTo>
                    <a:pt x="972" y="274"/>
                  </a:lnTo>
                  <a:lnTo>
                    <a:pt x="972" y="274"/>
                  </a:lnTo>
                  <a:lnTo>
                    <a:pt x="974" y="273"/>
                  </a:lnTo>
                  <a:lnTo>
                    <a:pt x="974" y="273"/>
                  </a:lnTo>
                  <a:lnTo>
                    <a:pt x="975" y="271"/>
                  </a:lnTo>
                  <a:lnTo>
                    <a:pt x="975" y="270"/>
                  </a:lnTo>
                  <a:lnTo>
                    <a:pt x="975" y="268"/>
                  </a:lnTo>
                  <a:lnTo>
                    <a:pt x="975" y="268"/>
                  </a:lnTo>
                  <a:lnTo>
                    <a:pt x="978" y="268"/>
                  </a:lnTo>
                  <a:lnTo>
                    <a:pt x="978" y="268"/>
                  </a:lnTo>
                  <a:lnTo>
                    <a:pt x="978" y="267"/>
                  </a:lnTo>
                  <a:lnTo>
                    <a:pt x="980" y="267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1" y="265"/>
                  </a:lnTo>
                  <a:lnTo>
                    <a:pt x="983" y="263"/>
                  </a:lnTo>
                  <a:lnTo>
                    <a:pt x="984" y="262"/>
                  </a:lnTo>
                  <a:lnTo>
                    <a:pt x="984" y="260"/>
                  </a:lnTo>
                  <a:lnTo>
                    <a:pt x="988" y="251"/>
                  </a:lnTo>
                  <a:lnTo>
                    <a:pt x="991" y="247"/>
                  </a:lnTo>
                  <a:lnTo>
                    <a:pt x="992" y="245"/>
                  </a:lnTo>
                  <a:lnTo>
                    <a:pt x="992" y="245"/>
                  </a:lnTo>
                  <a:lnTo>
                    <a:pt x="991" y="245"/>
                  </a:lnTo>
                  <a:lnTo>
                    <a:pt x="984" y="243"/>
                  </a:lnTo>
                  <a:close/>
                  <a:moveTo>
                    <a:pt x="530" y="939"/>
                  </a:moveTo>
                  <a:lnTo>
                    <a:pt x="530" y="939"/>
                  </a:lnTo>
                  <a:lnTo>
                    <a:pt x="529" y="939"/>
                  </a:lnTo>
                  <a:lnTo>
                    <a:pt x="527" y="938"/>
                  </a:lnTo>
                  <a:lnTo>
                    <a:pt x="527" y="938"/>
                  </a:lnTo>
                  <a:lnTo>
                    <a:pt x="527" y="936"/>
                  </a:lnTo>
                  <a:lnTo>
                    <a:pt x="527" y="935"/>
                  </a:lnTo>
                  <a:lnTo>
                    <a:pt x="529" y="935"/>
                  </a:lnTo>
                  <a:lnTo>
                    <a:pt x="529" y="935"/>
                  </a:lnTo>
                  <a:lnTo>
                    <a:pt x="530" y="938"/>
                  </a:lnTo>
                  <a:lnTo>
                    <a:pt x="530" y="938"/>
                  </a:lnTo>
                  <a:lnTo>
                    <a:pt x="530" y="939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85"/>
            <p:cNvSpPr>
              <a:spLocks noEditPoints="1"/>
            </p:cNvSpPr>
            <p:nvPr/>
          </p:nvSpPr>
          <p:spPr bwMode="gray">
            <a:xfrm>
              <a:off x="7991475" y="1727201"/>
              <a:ext cx="1425575" cy="2900363"/>
            </a:xfrm>
            <a:custGeom>
              <a:avLst/>
              <a:gdLst>
                <a:gd name="T0" fmla="*/ 74 w 898"/>
                <a:gd name="T1" fmla="*/ 1795 h 1827"/>
                <a:gd name="T2" fmla="*/ 47 w 898"/>
                <a:gd name="T3" fmla="*/ 1800 h 1827"/>
                <a:gd name="T4" fmla="*/ 9 w 898"/>
                <a:gd name="T5" fmla="*/ 1766 h 1827"/>
                <a:gd name="T6" fmla="*/ 94 w 898"/>
                <a:gd name="T7" fmla="*/ 1757 h 1827"/>
                <a:gd name="T8" fmla="*/ 37 w 898"/>
                <a:gd name="T9" fmla="*/ 1770 h 1827"/>
                <a:gd name="T10" fmla="*/ 43 w 898"/>
                <a:gd name="T11" fmla="*/ 1747 h 1827"/>
                <a:gd name="T12" fmla="*/ 20 w 898"/>
                <a:gd name="T13" fmla="*/ 1766 h 1827"/>
                <a:gd name="T14" fmla="*/ 115 w 898"/>
                <a:gd name="T15" fmla="*/ 1727 h 1827"/>
                <a:gd name="T16" fmla="*/ 249 w 898"/>
                <a:gd name="T17" fmla="*/ 1798 h 1827"/>
                <a:gd name="T18" fmla="*/ 180 w 898"/>
                <a:gd name="T19" fmla="*/ 1780 h 1827"/>
                <a:gd name="T20" fmla="*/ 172 w 898"/>
                <a:gd name="T21" fmla="*/ 1777 h 1827"/>
                <a:gd name="T22" fmla="*/ 181 w 898"/>
                <a:gd name="T23" fmla="*/ 1777 h 1827"/>
                <a:gd name="T24" fmla="*/ 459 w 898"/>
                <a:gd name="T25" fmla="*/ 1763 h 1827"/>
                <a:gd name="T26" fmla="*/ 224 w 898"/>
                <a:gd name="T27" fmla="*/ 1798 h 1827"/>
                <a:gd name="T28" fmla="*/ 204 w 898"/>
                <a:gd name="T29" fmla="*/ 1760 h 1827"/>
                <a:gd name="T30" fmla="*/ 206 w 898"/>
                <a:gd name="T31" fmla="*/ 1743 h 1827"/>
                <a:gd name="T32" fmla="*/ 175 w 898"/>
                <a:gd name="T33" fmla="*/ 1747 h 1827"/>
                <a:gd name="T34" fmla="*/ 134 w 898"/>
                <a:gd name="T35" fmla="*/ 1727 h 1827"/>
                <a:gd name="T36" fmla="*/ 127 w 898"/>
                <a:gd name="T37" fmla="*/ 1704 h 1827"/>
                <a:gd name="T38" fmla="*/ 135 w 898"/>
                <a:gd name="T39" fmla="*/ 1618 h 1827"/>
                <a:gd name="T40" fmla="*/ 120 w 898"/>
                <a:gd name="T41" fmla="*/ 1332 h 1827"/>
                <a:gd name="T42" fmla="*/ 124 w 898"/>
                <a:gd name="T43" fmla="*/ 1293 h 1827"/>
                <a:gd name="T44" fmla="*/ 197 w 898"/>
                <a:gd name="T45" fmla="*/ 1279 h 1827"/>
                <a:gd name="T46" fmla="*/ 183 w 898"/>
                <a:gd name="T47" fmla="*/ 1270 h 1827"/>
                <a:gd name="T48" fmla="*/ 241 w 898"/>
                <a:gd name="T49" fmla="*/ 1211 h 1827"/>
                <a:gd name="T50" fmla="*/ 874 w 898"/>
                <a:gd name="T51" fmla="*/ 1315 h 1827"/>
                <a:gd name="T52" fmla="*/ 777 w 898"/>
                <a:gd name="T53" fmla="*/ 1068 h 1827"/>
                <a:gd name="T54" fmla="*/ 780 w 898"/>
                <a:gd name="T55" fmla="*/ 871 h 1827"/>
                <a:gd name="T56" fmla="*/ 730 w 898"/>
                <a:gd name="T57" fmla="*/ 417 h 1827"/>
                <a:gd name="T58" fmla="*/ 582 w 898"/>
                <a:gd name="T59" fmla="*/ 26 h 1827"/>
                <a:gd name="T60" fmla="*/ 465 w 898"/>
                <a:gd name="T61" fmla="*/ 203 h 1827"/>
                <a:gd name="T62" fmla="*/ 343 w 898"/>
                <a:gd name="T63" fmla="*/ 275 h 1827"/>
                <a:gd name="T64" fmla="*/ 132 w 898"/>
                <a:gd name="T65" fmla="*/ 277 h 1827"/>
                <a:gd name="T66" fmla="*/ 271 w 898"/>
                <a:gd name="T67" fmla="*/ 403 h 1827"/>
                <a:gd name="T68" fmla="*/ 305 w 898"/>
                <a:gd name="T69" fmla="*/ 575 h 1827"/>
                <a:gd name="T70" fmla="*/ 306 w 898"/>
                <a:gd name="T71" fmla="*/ 733 h 1827"/>
                <a:gd name="T72" fmla="*/ 379 w 898"/>
                <a:gd name="T73" fmla="*/ 837 h 1827"/>
                <a:gd name="T74" fmla="*/ 434 w 898"/>
                <a:gd name="T75" fmla="*/ 916 h 1827"/>
                <a:gd name="T76" fmla="*/ 432 w 898"/>
                <a:gd name="T77" fmla="*/ 996 h 1827"/>
                <a:gd name="T78" fmla="*/ 374 w 898"/>
                <a:gd name="T79" fmla="*/ 1027 h 1827"/>
                <a:gd name="T80" fmla="*/ 328 w 898"/>
                <a:gd name="T81" fmla="*/ 1116 h 1827"/>
                <a:gd name="T82" fmla="*/ 274 w 898"/>
                <a:gd name="T83" fmla="*/ 1184 h 1827"/>
                <a:gd name="T84" fmla="*/ 237 w 898"/>
                <a:gd name="T85" fmla="*/ 1222 h 1827"/>
                <a:gd name="T86" fmla="*/ 209 w 898"/>
                <a:gd name="T87" fmla="*/ 1261 h 1827"/>
                <a:gd name="T88" fmla="*/ 175 w 898"/>
                <a:gd name="T89" fmla="*/ 1292 h 1827"/>
                <a:gd name="T90" fmla="*/ 143 w 898"/>
                <a:gd name="T91" fmla="*/ 1330 h 1827"/>
                <a:gd name="T92" fmla="*/ 118 w 898"/>
                <a:gd name="T93" fmla="*/ 1416 h 1827"/>
                <a:gd name="T94" fmla="*/ 131 w 898"/>
                <a:gd name="T95" fmla="*/ 1499 h 1827"/>
                <a:gd name="T96" fmla="*/ 141 w 898"/>
                <a:gd name="T97" fmla="*/ 1573 h 1827"/>
                <a:gd name="T98" fmla="*/ 140 w 898"/>
                <a:gd name="T99" fmla="*/ 1640 h 1827"/>
                <a:gd name="T100" fmla="*/ 144 w 898"/>
                <a:gd name="T101" fmla="*/ 1689 h 1827"/>
                <a:gd name="T102" fmla="*/ 174 w 898"/>
                <a:gd name="T103" fmla="*/ 1710 h 1827"/>
                <a:gd name="T104" fmla="*/ 218 w 898"/>
                <a:gd name="T105" fmla="*/ 1758 h 1827"/>
                <a:gd name="T106" fmla="*/ 260 w 898"/>
                <a:gd name="T107" fmla="*/ 1792 h 1827"/>
                <a:gd name="T108" fmla="*/ 275 w 898"/>
                <a:gd name="T109" fmla="*/ 1817 h 1827"/>
                <a:gd name="T110" fmla="*/ 345 w 898"/>
                <a:gd name="T111" fmla="*/ 1794 h 1827"/>
                <a:gd name="T112" fmla="*/ 383 w 898"/>
                <a:gd name="T113" fmla="*/ 1783 h 1827"/>
                <a:gd name="T114" fmla="*/ 434 w 898"/>
                <a:gd name="T115" fmla="*/ 1760 h 1827"/>
                <a:gd name="T116" fmla="*/ 474 w 898"/>
                <a:gd name="T117" fmla="*/ 1741 h 1827"/>
                <a:gd name="T118" fmla="*/ 508 w 898"/>
                <a:gd name="T119" fmla="*/ 1741 h 1827"/>
                <a:gd name="T120" fmla="*/ 542 w 898"/>
                <a:gd name="T121" fmla="*/ 1729 h 1827"/>
                <a:gd name="T122" fmla="*/ 593 w 898"/>
                <a:gd name="T123" fmla="*/ 1724 h 1827"/>
                <a:gd name="T124" fmla="*/ 727 w 898"/>
                <a:gd name="T125" fmla="*/ 1601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8" h="1827">
                  <a:moveTo>
                    <a:pt x="103" y="1809"/>
                  </a:moveTo>
                  <a:lnTo>
                    <a:pt x="103" y="1807"/>
                  </a:lnTo>
                  <a:lnTo>
                    <a:pt x="101" y="1807"/>
                  </a:lnTo>
                  <a:lnTo>
                    <a:pt x="100" y="1809"/>
                  </a:lnTo>
                  <a:lnTo>
                    <a:pt x="100" y="1810"/>
                  </a:lnTo>
                  <a:lnTo>
                    <a:pt x="100" y="1812"/>
                  </a:lnTo>
                  <a:lnTo>
                    <a:pt x="101" y="1812"/>
                  </a:lnTo>
                  <a:lnTo>
                    <a:pt x="101" y="1812"/>
                  </a:lnTo>
                  <a:lnTo>
                    <a:pt x="103" y="1814"/>
                  </a:lnTo>
                  <a:lnTo>
                    <a:pt x="104" y="1812"/>
                  </a:lnTo>
                  <a:lnTo>
                    <a:pt x="103" y="1810"/>
                  </a:lnTo>
                  <a:lnTo>
                    <a:pt x="103" y="1809"/>
                  </a:lnTo>
                  <a:close/>
                  <a:moveTo>
                    <a:pt x="109" y="1807"/>
                  </a:moveTo>
                  <a:lnTo>
                    <a:pt x="111" y="1807"/>
                  </a:lnTo>
                  <a:lnTo>
                    <a:pt x="109" y="1806"/>
                  </a:lnTo>
                  <a:lnTo>
                    <a:pt x="109" y="1806"/>
                  </a:lnTo>
                  <a:lnTo>
                    <a:pt x="109" y="1806"/>
                  </a:lnTo>
                  <a:lnTo>
                    <a:pt x="106" y="1806"/>
                  </a:lnTo>
                  <a:lnTo>
                    <a:pt x="104" y="1806"/>
                  </a:lnTo>
                  <a:lnTo>
                    <a:pt x="104" y="1807"/>
                  </a:lnTo>
                  <a:lnTo>
                    <a:pt x="104" y="1807"/>
                  </a:lnTo>
                  <a:lnTo>
                    <a:pt x="104" y="1807"/>
                  </a:lnTo>
                  <a:lnTo>
                    <a:pt x="104" y="1809"/>
                  </a:lnTo>
                  <a:lnTo>
                    <a:pt x="109" y="1810"/>
                  </a:lnTo>
                  <a:lnTo>
                    <a:pt x="109" y="1810"/>
                  </a:lnTo>
                  <a:lnTo>
                    <a:pt x="109" y="1809"/>
                  </a:lnTo>
                  <a:lnTo>
                    <a:pt x="107" y="1807"/>
                  </a:lnTo>
                  <a:lnTo>
                    <a:pt x="107" y="1807"/>
                  </a:lnTo>
                  <a:lnTo>
                    <a:pt x="109" y="1807"/>
                  </a:lnTo>
                  <a:close/>
                  <a:moveTo>
                    <a:pt x="66" y="1798"/>
                  </a:moveTo>
                  <a:lnTo>
                    <a:pt x="63" y="1797"/>
                  </a:lnTo>
                  <a:lnTo>
                    <a:pt x="61" y="1797"/>
                  </a:lnTo>
                  <a:lnTo>
                    <a:pt x="58" y="1800"/>
                  </a:lnTo>
                  <a:lnTo>
                    <a:pt x="57" y="1803"/>
                  </a:lnTo>
                  <a:lnTo>
                    <a:pt x="57" y="1806"/>
                  </a:lnTo>
                  <a:lnTo>
                    <a:pt x="58" y="1806"/>
                  </a:lnTo>
                  <a:lnTo>
                    <a:pt x="60" y="1804"/>
                  </a:lnTo>
                  <a:lnTo>
                    <a:pt x="60" y="1803"/>
                  </a:lnTo>
                  <a:lnTo>
                    <a:pt x="61" y="1803"/>
                  </a:lnTo>
                  <a:lnTo>
                    <a:pt x="63" y="1801"/>
                  </a:lnTo>
                  <a:lnTo>
                    <a:pt x="66" y="1801"/>
                  </a:lnTo>
                  <a:lnTo>
                    <a:pt x="69" y="1800"/>
                  </a:lnTo>
                  <a:lnTo>
                    <a:pt x="67" y="1798"/>
                  </a:lnTo>
                  <a:lnTo>
                    <a:pt x="66" y="1798"/>
                  </a:lnTo>
                  <a:close/>
                  <a:moveTo>
                    <a:pt x="81" y="1792"/>
                  </a:moveTo>
                  <a:lnTo>
                    <a:pt x="81" y="1792"/>
                  </a:lnTo>
                  <a:lnTo>
                    <a:pt x="81" y="1792"/>
                  </a:lnTo>
                  <a:lnTo>
                    <a:pt x="80" y="1792"/>
                  </a:lnTo>
                  <a:lnTo>
                    <a:pt x="80" y="1792"/>
                  </a:lnTo>
                  <a:lnTo>
                    <a:pt x="80" y="1792"/>
                  </a:lnTo>
                  <a:lnTo>
                    <a:pt x="80" y="1790"/>
                  </a:lnTo>
                  <a:lnTo>
                    <a:pt x="80" y="1790"/>
                  </a:lnTo>
                  <a:lnTo>
                    <a:pt x="78" y="1790"/>
                  </a:lnTo>
                  <a:lnTo>
                    <a:pt x="78" y="1790"/>
                  </a:lnTo>
                  <a:lnTo>
                    <a:pt x="77" y="1790"/>
                  </a:lnTo>
                  <a:lnTo>
                    <a:pt x="77" y="1790"/>
                  </a:lnTo>
                  <a:lnTo>
                    <a:pt x="75" y="1792"/>
                  </a:lnTo>
                  <a:lnTo>
                    <a:pt x="74" y="1795"/>
                  </a:lnTo>
                  <a:lnTo>
                    <a:pt x="74" y="1797"/>
                  </a:lnTo>
                  <a:lnTo>
                    <a:pt x="74" y="1798"/>
                  </a:lnTo>
                  <a:lnTo>
                    <a:pt x="75" y="1798"/>
                  </a:lnTo>
                  <a:lnTo>
                    <a:pt x="75" y="1798"/>
                  </a:lnTo>
                  <a:lnTo>
                    <a:pt x="77" y="1797"/>
                  </a:lnTo>
                  <a:lnTo>
                    <a:pt x="77" y="1797"/>
                  </a:lnTo>
                  <a:lnTo>
                    <a:pt x="78" y="1798"/>
                  </a:lnTo>
                  <a:lnTo>
                    <a:pt x="80" y="1798"/>
                  </a:lnTo>
                  <a:lnTo>
                    <a:pt x="80" y="1797"/>
                  </a:lnTo>
                  <a:lnTo>
                    <a:pt x="81" y="1795"/>
                  </a:lnTo>
                  <a:lnTo>
                    <a:pt x="81" y="1795"/>
                  </a:lnTo>
                  <a:lnTo>
                    <a:pt x="81" y="1794"/>
                  </a:lnTo>
                  <a:lnTo>
                    <a:pt x="80" y="1794"/>
                  </a:lnTo>
                  <a:lnTo>
                    <a:pt x="81" y="1794"/>
                  </a:lnTo>
                  <a:lnTo>
                    <a:pt x="81" y="1794"/>
                  </a:lnTo>
                  <a:lnTo>
                    <a:pt x="81" y="1794"/>
                  </a:lnTo>
                  <a:lnTo>
                    <a:pt x="81" y="1792"/>
                  </a:lnTo>
                  <a:lnTo>
                    <a:pt x="81" y="1792"/>
                  </a:lnTo>
                  <a:close/>
                  <a:moveTo>
                    <a:pt x="67" y="1790"/>
                  </a:moveTo>
                  <a:lnTo>
                    <a:pt x="66" y="1794"/>
                  </a:lnTo>
                  <a:lnTo>
                    <a:pt x="64" y="1795"/>
                  </a:lnTo>
                  <a:lnTo>
                    <a:pt x="66" y="1797"/>
                  </a:lnTo>
                  <a:lnTo>
                    <a:pt x="67" y="1795"/>
                  </a:lnTo>
                  <a:lnTo>
                    <a:pt x="69" y="1794"/>
                  </a:lnTo>
                  <a:lnTo>
                    <a:pt x="70" y="1789"/>
                  </a:lnTo>
                  <a:lnTo>
                    <a:pt x="69" y="1789"/>
                  </a:lnTo>
                  <a:lnTo>
                    <a:pt x="67" y="1790"/>
                  </a:lnTo>
                  <a:close/>
                  <a:moveTo>
                    <a:pt x="75" y="1792"/>
                  </a:moveTo>
                  <a:lnTo>
                    <a:pt x="75" y="1790"/>
                  </a:lnTo>
                  <a:lnTo>
                    <a:pt x="75" y="1789"/>
                  </a:lnTo>
                  <a:lnTo>
                    <a:pt x="77" y="1789"/>
                  </a:lnTo>
                  <a:lnTo>
                    <a:pt x="75" y="1789"/>
                  </a:lnTo>
                  <a:lnTo>
                    <a:pt x="74" y="1789"/>
                  </a:lnTo>
                  <a:lnTo>
                    <a:pt x="74" y="1789"/>
                  </a:lnTo>
                  <a:lnTo>
                    <a:pt x="75" y="1789"/>
                  </a:lnTo>
                  <a:lnTo>
                    <a:pt x="75" y="1789"/>
                  </a:lnTo>
                  <a:lnTo>
                    <a:pt x="72" y="1790"/>
                  </a:lnTo>
                  <a:lnTo>
                    <a:pt x="70" y="1790"/>
                  </a:lnTo>
                  <a:lnTo>
                    <a:pt x="70" y="1794"/>
                  </a:lnTo>
                  <a:lnTo>
                    <a:pt x="74" y="1794"/>
                  </a:lnTo>
                  <a:lnTo>
                    <a:pt x="74" y="1794"/>
                  </a:lnTo>
                  <a:lnTo>
                    <a:pt x="75" y="1792"/>
                  </a:lnTo>
                  <a:close/>
                  <a:moveTo>
                    <a:pt x="52" y="1794"/>
                  </a:moveTo>
                  <a:lnTo>
                    <a:pt x="50" y="1789"/>
                  </a:lnTo>
                  <a:lnTo>
                    <a:pt x="47" y="1786"/>
                  </a:lnTo>
                  <a:lnTo>
                    <a:pt x="46" y="1786"/>
                  </a:lnTo>
                  <a:lnTo>
                    <a:pt x="43" y="1784"/>
                  </a:lnTo>
                  <a:lnTo>
                    <a:pt x="41" y="1789"/>
                  </a:lnTo>
                  <a:lnTo>
                    <a:pt x="38" y="1790"/>
                  </a:lnTo>
                  <a:lnTo>
                    <a:pt x="38" y="1794"/>
                  </a:lnTo>
                  <a:lnTo>
                    <a:pt x="40" y="1794"/>
                  </a:lnTo>
                  <a:lnTo>
                    <a:pt x="41" y="1795"/>
                  </a:lnTo>
                  <a:lnTo>
                    <a:pt x="43" y="1795"/>
                  </a:lnTo>
                  <a:lnTo>
                    <a:pt x="44" y="1797"/>
                  </a:lnTo>
                  <a:lnTo>
                    <a:pt x="44" y="1798"/>
                  </a:lnTo>
                  <a:lnTo>
                    <a:pt x="43" y="1800"/>
                  </a:lnTo>
                  <a:lnTo>
                    <a:pt x="44" y="1801"/>
                  </a:lnTo>
                  <a:lnTo>
                    <a:pt x="47" y="1800"/>
                  </a:lnTo>
                  <a:lnTo>
                    <a:pt x="49" y="1800"/>
                  </a:lnTo>
                  <a:lnTo>
                    <a:pt x="49" y="1800"/>
                  </a:lnTo>
                  <a:lnTo>
                    <a:pt x="49" y="1803"/>
                  </a:lnTo>
                  <a:lnTo>
                    <a:pt x="49" y="1803"/>
                  </a:lnTo>
                  <a:lnTo>
                    <a:pt x="52" y="1801"/>
                  </a:lnTo>
                  <a:lnTo>
                    <a:pt x="52" y="1798"/>
                  </a:lnTo>
                  <a:lnTo>
                    <a:pt x="52" y="1797"/>
                  </a:lnTo>
                  <a:lnTo>
                    <a:pt x="52" y="1794"/>
                  </a:lnTo>
                  <a:close/>
                  <a:moveTo>
                    <a:pt x="57" y="1784"/>
                  </a:moveTo>
                  <a:lnTo>
                    <a:pt x="58" y="1781"/>
                  </a:lnTo>
                  <a:lnTo>
                    <a:pt x="57" y="1778"/>
                  </a:lnTo>
                  <a:lnTo>
                    <a:pt x="55" y="1778"/>
                  </a:lnTo>
                  <a:lnTo>
                    <a:pt x="55" y="1778"/>
                  </a:lnTo>
                  <a:lnTo>
                    <a:pt x="55" y="1781"/>
                  </a:lnTo>
                  <a:lnTo>
                    <a:pt x="55" y="1783"/>
                  </a:lnTo>
                  <a:lnTo>
                    <a:pt x="54" y="1781"/>
                  </a:lnTo>
                  <a:lnTo>
                    <a:pt x="52" y="1777"/>
                  </a:lnTo>
                  <a:lnTo>
                    <a:pt x="52" y="1780"/>
                  </a:lnTo>
                  <a:lnTo>
                    <a:pt x="50" y="1781"/>
                  </a:lnTo>
                  <a:lnTo>
                    <a:pt x="50" y="1784"/>
                  </a:lnTo>
                  <a:lnTo>
                    <a:pt x="50" y="1786"/>
                  </a:lnTo>
                  <a:lnTo>
                    <a:pt x="50" y="1787"/>
                  </a:lnTo>
                  <a:lnTo>
                    <a:pt x="54" y="1789"/>
                  </a:lnTo>
                  <a:lnTo>
                    <a:pt x="55" y="1789"/>
                  </a:lnTo>
                  <a:lnTo>
                    <a:pt x="55" y="1790"/>
                  </a:lnTo>
                  <a:lnTo>
                    <a:pt x="55" y="1790"/>
                  </a:lnTo>
                  <a:lnTo>
                    <a:pt x="57" y="1789"/>
                  </a:lnTo>
                  <a:lnTo>
                    <a:pt x="55" y="1786"/>
                  </a:lnTo>
                  <a:lnTo>
                    <a:pt x="57" y="1784"/>
                  </a:lnTo>
                  <a:close/>
                  <a:moveTo>
                    <a:pt x="86" y="1780"/>
                  </a:moveTo>
                  <a:lnTo>
                    <a:pt x="86" y="1778"/>
                  </a:lnTo>
                  <a:lnTo>
                    <a:pt x="86" y="1778"/>
                  </a:lnTo>
                  <a:lnTo>
                    <a:pt x="84" y="1777"/>
                  </a:lnTo>
                  <a:lnTo>
                    <a:pt x="84" y="1777"/>
                  </a:lnTo>
                  <a:lnTo>
                    <a:pt x="83" y="1777"/>
                  </a:lnTo>
                  <a:lnTo>
                    <a:pt x="83" y="1778"/>
                  </a:lnTo>
                  <a:lnTo>
                    <a:pt x="83" y="1780"/>
                  </a:lnTo>
                  <a:lnTo>
                    <a:pt x="84" y="1781"/>
                  </a:lnTo>
                  <a:lnTo>
                    <a:pt x="86" y="1783"/>
                  </a:lnTo>
                  <a:lnTo>
                    <a:pt x="86" y="1783"/>
                  </a:lnTo>
                  <a:lnTo>
                    <a:pt x="87" y="1781"/>
                  </a:lnTo>
                  <a:lnTo>
                    <a:pt x="87" y="1780"/>
                  </a:lnTo>
                  <a:lnTo>
                    <a:pt x="86" y="1780"/>
                  </a:lnTo>
                  <a:close/>
                  <a:moveTo>
                    <a:pt x="86" y="1764"/>
                  </a:moveTo>
                  <a:lnTo>
                    <a:pt x="86" y="1766"/>
                  </a:lnTo>
                  <a:lnTo>
                    <a:pt x="84" y="1767"/>
                  </a:lnTo>
                  <a:lnTo>
                    <a:pt x="84" y="1769"/>
                  </a:lnTo>
                  <a:lnTo>
                    <a:pt x="86" y="1769"/>
                  </a:lnTo>
                  <a:lnTo>
                    <a:pt x="87" y="1770"/>
                  </a:lnTo>
                  <a:lnTo>
                    <a:pt x="89" y="1769"/>
                  </a:lnTo>
                  <a:lnTo>
                    <a:pt x="89" y="1767"/>
                  </a:lnTo>
                  <a:lnTo>
                    <a:pt x="87" y="1767"/>
                  </a:lnTo>
                  <a:lnTo>
                    <a:pt x="86" y="1764"/>
                  </a:lnTo>
                  <a:close/>
                  <a:moveTo>
                    <a:pt x="10" y="1770"/>
                  </a:moveTo>
                  <a:lnTo>
                    <a:pt x="10" y="1770"/>
                  </a:lnTo>
                  <a:lnTo>
                    <a:pt x="10" y="1769"/>
                  </a:lnTo>
                  <a:lnTo>
                    <a:pt x="9" y="1767"/>
                  </a:lnTo>
                  <a:lnTo>
                    <a:pt x="9" y="1766"/>
                  </a:lnTo>
                  <a:lnTo>
                    <a:pt x="9" y="1764"/>
                  </a:lnTo>
                  <a:lnTo>
                    <a:pt x="9" y="1763"/>
                  </a:lnTo>
                  <a:lnTo>
                    <a:pt x="7" y="1763"/>
                  </a:lnTo>
                  <a:lnTo>
                    <a:pt x="6" y="1761"/>
                  </a:lnTo>
                  <a:lnTo>
                    <a:pt x="6" y="1760"/>
                  </a:lnTo>
                  <a:lnTo>
                    <a:pt x="4" y="1760"/>
                  </a:lnTo>
                  <a:lnTo>
                    <a:pt x="3" y="1761"/>
                  </a:lnTo>
                  <a:lnTo>
                    <a:pt x="3" y="1763"/>
                  </a:lnTo>
                  <a:lnTo>
                    <a:pt x="1" y="1764"/>
                  </a:lnTo>
                  <a:lnTo>
                    <a:pt x="1" y="1764"/>
                  </a:lnTo>
                  <a:lnTo>
                    <a:pt x="1" y="1766"/>
                  </a:lnTo>
                  <a:lnTo>
                    <a:pt x="1" y="1767"/>
                  </a:lnTo>
                  <a:lnTo>
                    <a:pt x="1" y="1769"/>
                  </a:lnTo>
                  <a:lnTo>
                    <a:pt x="1" y="1770"/>
                  </a:lnTo>
                  <a:lnTo>
                    <a:pt x="0" y="1772"/>
                  </a:lnTo>
                  <a:lnTo>
                    <a:pt x="0" y="1772"/>
                  </a:lnTo>
                  <a:lnTo>
                    <a:pt x="0" y="1772"/>
                  </a:lnTo>
                  <a:lnTo>
                    <a:pt x="0" y="1773"/>
                  </a:lnTo>
                  <a:lnTo>
                    <a:pt x="0" y="1777"/>
                  </a:lnTo>
                  <a:lnTo>
                    <a:pt x="1" y="1780"/>
                  </a:lnTo>
                  <a:lnTo>
                    <a:pt x="3" y="1780"/>
                  </a:lnTo>
                  <a:lnTo>
                    <a:pt x="4" y="1780"/>
                  </a:lnTo>
                  <a:lnTo>
                    <a:pt x="6" y="1777"/>
                  </a:lnTo>
                  <a:lnTo>
                    <a:pt x="6" y="1775"/>
                  </a:lnTo>
                  <a:lnTo>
                    <a:pt x="6" y="1772"/>
                  </a:lnTo>
                  <a:lnTo>
                    <a:pt x="6" y="1770"/>
                  </a:lnTo>
                  <a:lnTo>
                    <a:pt x="6" y="1772"/>
                  </a:lnTo>
                  <a:lnTo>
                    <a:pt x="9" y="1775"/>
                  </a:lnTo>
                  <a:lnTo>
                    <a:pt x="9" y="1777"/>
                  </a:lnTo>
                  <a:lnTo>
                    <a:pt x="10" y="1775"/>
                  </a:lnTo>
                  <a:lnTo>
                    <a:pt x="10" y="1775"/>
                  </a:lnTo>
                  <a:lnTo>
                    <a:pt x="10" y="1775"/>
                  </a:lnTo>
                  <a:lnTo>
                    <a:pt x="12" y="1775"/>
                  </a:lnTo>
                  <a:lnTo>
                    <a:pt x="12" y="1772"/>
                  </a:lnTo>
                  <a:lnTo>
                    <a:pt x="10" y="1770"/>
                  </a:lnTo>
                  <a:close/>
                  <a:moveTo>
                    <a:pt x="64" y="1763"/>
                  </a:moveTo>
                  <a:lnTo>
                    <a:pt x="64" y="1764"/>
                  </a:lnTo>
                  <a:lnTo>
                    <a:pt x="64" y="1766"/>
                  </a:lnTo>
                  <a:lnTo>
                    <a:pt x="64" y="1767"/>
                  </a:lnTo>
                  <a:lnTo>
                    <a:pt x="64" y="1767"/>
                  </a:lnTo>
                  <a:lnTo>
                    <a:pt x="64" y="1769"/>
                  </a:lnTo>
                  <a:lnTo>
                    <a:pt x="64" y="1769"/>
                  </a:lnTo>
                  <a:lnTo>
                    <a:pt x="64" y="1770"/>
                  </a:lnTo>
                  <a:lnTo>
                    <a:pt x="69" y="1763"/>
                  </a:lnTo>
                  <a:lnTo>
                    <a:pt x="69" y="1761"/>
                  </a:lnTo>
                  <a:lnTo>
                    <a:pt x="69" y="1761"/>
                  </a:lnTo>
                  <a:lnTo>
                    <a:pt x="67" y="1760"/>
                  </a:lnTo>
                  <a:lnTo>
                    <a:pt x="67" y="1760"/>
                  </a:lnTo>
                  <a:lnTo>
                    <a:pt x="66" y="1761"/>
                  </a:lnTo>
                  <a:lnTo>
                    <a:pt x="64" y="1760"/>
                  </a:lnTo>
                  <a:lnTo>
                    <a:pt x="63" y="1760"/>
                  </a:lnTo>
                  <a:lnTo>
                    <a:pt x="61" y="1761"/>
                  </a:lnTo>
                  <a:lnTo>
                    <a:pt x="61" y="1764"/>
                  </a:lnTo>
                  <a:lnTo>
                    <a:pt x="61" y="1764"/>
                  </a:lnTo>
                  <a:lnTo>
                    <a:pt x="64" y="1763"/>
                  </a:lnTo>
                  <a:close/>
                  <a:moveTo>
                    <a:pt x="97" y="1757"/>
                  </a:moveTo>
                  <a:lnTo>
                    <a:pt x="95" y="1757"/>
                  </a:lnTo>
                  <a:lnTo>
                    <a:pt x="94" y="1757"/>
                  </a:lnTo>
                  <a:lnTo>
                    <a:pt x="94" y="1760"/>
                  </a:lnTo>
                  <a:lnTo>
                    <a:pt x="95" y="1764"/>
                  </a:lnTo>
                  <a:lnTo>
                    <a:pt x="97" y="1764"/>
                  </a:lnTo>
                  <a:lnTo>
                    <a:pt x="97" y="1763"/>
                  </a:lnTo>
                  <a:lnTo>
                    <a:pt x="97" y="1763"/>
                  </a:lnTo>
                  <a:lnTo>
                    <a:pt x="98" y="1763"/>
                  </a:lnTo>
                  <a:lnTo>
                    <a:pt x="98" y="1761"/>
                  </a:lnTo>
                  <a:lnTo>
                    <a:pt x="100" y="1760"/>
                  </a:lnTo>
                  <a:lnTo>
                    <a:pt x="98" y="1758"/>
                  </a:lnTo>
                  <a:lnTo>
                    <a:pt x="97" y="1757"/>
                  </a:lnTo>
                  <a:close/>
                  <a:moveTo>
                    <a:pt x="95" y="1747"/>
                  </a:moveTo>
                  <a:lnTo>
                    <a:pt x="95" y="1746"/>
                  </a:lnTo>
                  <a:lnTo>
                    <a:pt x="94" y="1746"/>
                  </a:lnTo>
                  <a:lnTo>
                    <a:pt x="94" y="1744"/>
                  </a:lnTo>
                  <a:lnTo>
                    <a:pt x="92" y="1744"/>
                  </a:lnTo>
                  <a:lnTo>
                    <a:pt x="92" y="1744"/>
                  </a:lnTo>
                  <a:lnTo>
                    <a:pt x="92" y="1746"/>
                  </a:lnTo>
                  <a:lnTo>
                    <a:pt x="92" y="1746"/>
                  </a:lnTo>
                  <a:lnTo>
                    <a:pt x="90" y="1747"/>
                  </a:lnTo>
                  <a:lnTo>
                    <a:pt x="90" y="1747"/>
                  </a:lnTo>
                  <a:lnTo>
                    <a:pt x="90" y="1749"/>
                  </a:lnTo>
                  <a:lnTo>
                    <a:pt x="90" y="1749"/>
                  </a:lnTo>
                  <a:lnTo>
                    <a:pt x="90" y="1750"/>
                  </a:lnTo>
                  <a:lnTo>
                    <a:pt x="90" y="1752"/>
                  </a:lnTo>
                  <a:lnTo>
                    <a:pt x="90" y="1752"/>
                  </a:lnTo>
                  <a:lnTo>
                    <a:pt x="90" y="1752"/>
                  </a:lnTo>
                  <a:lnTo>
                    <a:pt x="94" y="1750"/>
                  </a:lnTo>
                  <a:lnTo>
                    <a:pt x="94" y="1749"/>
                  </a:lnTo>
                  <a:lnTo>
                    <a:pt x="95" y="1747"/>
                  </a:lnTo>
                  <a:close/>
                  <a:moveTo>
                    <a:pt x="40" y="1786"/>
                  </a:moveTo>
                  <a:lnTo>
                    <a:pt x="40" y="1784"/>
                  </a:lnTo>
                  <a:lnTo>
                    <a:pt x="40" y="1783"/>
                  </a:lnTo>
                  <a:lnTo>
                    <a:pt x="38" y="1783"/>
                  </a:lnTo>
                  <a:lnTo>
                    <a:pt x="38" y="1783"/>
                  </a:lnTo>
                  <a:lnTo>
                    <a:pt x="38" y="1783"/>
                  </a:lnTo>
                  <a:lnTo>
                    <a:pt x="38" y="1780"/>
                  </a:lnTo>
                  <a:lnTo>
                    <a:pt x="38" y="1778"/>
                  </a:lnTo>
                  <a:lnTo>
                    <a:pt x="38" y="1773"/>
                  </a:lnTo>
                  <a:lnTo>
                    <a:pt x="38" y="1773"/>
                  </a:lnTo>
                  <a:lnTo>
                    <a:pt x="38" y="1775"/>
                  </a:lnTo>
                  <a:lnTo>
                    <a:pt x="37" y="1775"/>
                  </a:lnTo>
                  <a:lnTo>
                    <a:pt x="37" y="1777"/>
                  </a:lnTo>
                  <a:lnTo>
                    <a:pt x="37" y="1775"/>
                  </a:lnTo>
                  <a:lnTo>
                    <a:pt x="35" y="1775"/>
                  </a:lnTo>
                  <a:lnTo>
                    <a:pt x="35" y="1773"/>
                  </a:lnTo>
                  <a:lnTo>
                    <a:pt x="32" y="1772"/>
                  </a:lnTo>
                  <a:lnTo>
                    <a:pt x="32" y="1772"/>
                  </a:lnTo>
                  <a:lnTo>
                    <a:pt x="30" y="1770"/>
                  </a:lnTo>
                  <a:lnTo>
                    <a:pt x="29" y="1769"/>
                  </a:lnTo>
                  <a:lnTo>
                    <a:pt x="29" y="1767"/>
                  </a:lnTo>
                  <a:lnTo>
                    <a:pt x="30" y="1766"/>
                  </a:lnTo>
                  <a:lnTo>
                    <a:pt x="32" y="1766"/>
                  </a:lnTo>
                  <a:lnTo>
                    <a:pt x="32" y="1767"/>
                  </a:lnTo>
                  <a:lnTo>
                    <a:pt x="32" y="1767"/>
                  </a:lnTo>
                  <a:lnTo>
                    <a:pt x="32" y="1769"/>
                  </a:lnTo>
                  <a:lnTo>
                    <a:pt x="34" y="1770"/>
                  </a:lnTo>
                  <a:lnTo>
                    <a:pt x="37" y="1772"/>
                  </a:lnTo>
                  <a:lnTo>
                    <a:pt x="37" y="1770"/>
                  </a:lnTo>
                  <a:lnTo>
                    <a:pt x="37" y="1769"/>
                  </a:lnTo>
                  <a:lnTo>
                    <a:pt x="37" y="1767"/>
                  </a:lnTo>
                  <a:lnTo>
                    <a:pt x="38" y="1767"/>
                  </a:lnTo>
                  <a:lnTo>
                    <a:pt x="37" y="1766"/>
                  </a:lnTo>
                  <a:lnTo>
                    <a:pt x="35" y="1763"/>
                  </a:lnTo>
                  <a:lnTo>
                    <a:pt x="34" y="1760"/>
                  </a:lnTo>
                  <a:lnTo>
                    <a:pt x="34" y="1758"/>
                  </a:lnTo>
                  <a:lnTo>
                    <a:pt x="37" y="1760"/>
                  </a:lnTo>
                  <a:lnTo>
                    <a:pt x="38" y="1758"/>
                  </a:lnTo>
                  <a:lnTo>
                    <a:pt x="38" y="1755"/>
                  </a:lnTo>
                  <a:lnTo>
                    <a:pt x="38" y="1753"/>
                  </a:lnTo>
                  <a:lnTo>
                    <a:pt x="38" y="1752"/>
                  </a:lnTo>
                  <a:lnTo>
                    <a:pt x="40" y="1753"/>
                  </a:lnTo>
                  <a:lnTo>
                    <a:pt x="40" y="1755"/>
                  </a:lnTo>
                  <a:lnTo>
                    <a:pt x="38" y="1758"/>
                  </a:lnTo>
                  <a:lnTo>
                    <a:pt x="38" y="1761"/>
                  </a:lnTo>
                  <a:lnTo>
                    <a:pt x="38" y="1764"/>
                  </a:lnTo>
                  <a:lnTo>
                    <a:pt x="40" y="1766"/>
                  </a:lnTo>
                  <a:lnTo>
                    <a:pt x="40" y="1767"/>
                  </a:lnTo>
                  <a:lnTo>
                    <a:pt x="40" y="1770"/>
                  </a:lnTo>
                  <a:lnTo>
                    <a:pt x="40" y="1770"/>
                  </a:lnTo>
                  <a:lnTo>
                    <a:pt x="41" y="1766"/>
                  </a:lnTo>
                  <a:lnTo>
                    <a:pt x="44" y="1763"/>
                  </a:lnTo>
                  <a:lnTo>
                    <a:pt x="47" y="1763"/>
                  </a:lnTo>
                  <a:lnTo>
                    <a:pt x="49" y="1763"/>
                  </a:lnTo>
                  <a:lnTo>
                    <a:pt x="49" y="1764"/>
                  </a:lnTo>
                  <a:lnTo>
                    <a:pt x="44" y="1764"/>
                  </a:lnTo>
                  <a:lnTo>
                    <a:pt x="43" y="1766"/>
                  </a:lnTo>
                  <a:lnTo>
                    <a:pt x="43" y="1767"/>
                  </a:lnTo>
                  <a:lnTo>
                    <a:pt x="43" y="1770"/>
                  </a:lnTo>
                  <a:lnTo>
                    <a:pt x="43" y="1772"/>
                  </a:lnTo>
                  <a:lnTo>
                    <a:pt x="43" y="1773"/>
                  </a:lnTo>
                  <a:lnTo>
                    <a:pt x="46" y="1773"/>
                  </a:lnTo>
                  <a:lnTo>
                    <a:pt x="47" y="1773"/>
                  </a:lnTo>
                  <a:lnTo>
                    <a:pt x="47" y="1773"/>
                  </a:lnTo>
                  <a:lnTo>
                    <a:pt x="47" y="1773"/>
                  </a:lnTo>
                  <a:lnTo>
                    <a:pt x="49" y="1773"/>
                  </a:lnTo>
                  <a:lnTo>
                    <a:pt x="49" y="1773"/>
                  </a:lnTo>
                  <a:lnTo>
                    <a:pt x="49" y="1772"/>
                  </a:lnTo>
                  <a:lnTo>
                    <a:pt x="50" y="1770"/>
                  </a:lnTo>
                  <a:lnTo>
                    <a:pt x="50" y="1769"/>
                  </a:lnTo>
                  <a:lnTo>
                    <a:pt x="50" y="1769"/>
                  </a:lnTo>
                  <a:lnTo>
                    <a:pt x="52" y="1769"/>
                  </a:lnTo>
                  <a:lnTo>
                    <a:pt x="52" y="1769"/>
                  </a:lnTo>
                  <a:lnTo>
                    <a:pt x="52" y="1767"/>
                  </a:lnTo>
                  <a:lnTo>
                    <a:pt x="50" y="1766"/>
                  </a:lnTo>
                  <a:lnTo>
                    <a:pt x="54" y="1764"/>
                  </a:lnTo>
                  <a:lnTo>
                    <a:pt x="54" y="1763"/>
                  </a:lnTo>
                  <a:lnTo>
                    <a:pt x="57" y="1758"/>
                  </a:lnTo>
                  <a:lnTo>
                    <a:pt x="54" y="1757"/>
                  </a:lnTo>
                  <a:lnTo>
                    <a:pt x="52" y="1757"/>
                  </a:lnTo>
                  <a:lnTo>
                    <a:pt x="50" y="1755"/>
                  </a:lnTo>
                  <a:lnTo>
                    <a:pt x="50" y="1757"/>
                  </a:lnTo>
                  <a:lnTo>
                    <a:pt x="49" y="1757"/>
                  </a:lnTo>
                  <a:lnTo>
                    <a:pt x="50" y="1752"/>
                  </a:lnTo>
                  <a:lnTo>
                    <a:pt x="49" y="1750"/>
                  </a:lnTo>
                  <a:lnTo>
                    <a:pt x="44" y="1749"/>
                  </a:lnTo>
                  <a:lnTo>
                    <a:pt x="43" y="1747"/>
                  </a:lnTo>
                  <a:lnTo>
                    <a:pt x="43" y="1746"/>
                  </a:lnTo>
                  <a:lnTo>
                    <a:pt x="41" y="1747"/>
                  </a:lnTo>
                  <a:lnTo>
                    <a:pt x="41" y="1747"/>
                  </a:lnTo>
                  <a:lnTo>
                    <a:pt x="38" y="1746"/>
                  </a:lnTo>
                  <a:lnTo>
                    <a:pt x="38" y="1746"/>
                  </a:lnTo>
                  <a:lnTo>
                    <a:pt x="38" y="1746"/>
                  </a:lnTo>
                  <a:lnTo>
                    <a:pt x="38" y="1749"/>
                  </a:lnTo>
                  <a:lnTo>
                    <a:pt x="37" y="1747"/>
                  </a:lnTo>
                  <a:lnTo>
                    <a:pt x="35" y="1746"/>
                  </a:lnTo>
                  <a:lnTo>
                    <a:pt x="34" y="1746"/>
                  </a:lnTo>
                  <a:lnTo>
                    <a:pt x="30" y="1746"/>
                  </a:lnTo>
                  <a:lnTo>
                    <a:pt x="29" y="1744"/>
                  </a:lnTo>
                  <a:lnTo>
                    <a:pt x="29" y="1741"/>
                  </a:lnTo>
                  <a:lnTo>
                    <a:pt x="29" y="1740"/>
                  </a:lnTo>
                  <a:lnTo>
                    <a:pt x="27" y="1738"/>
                  </a:lnTo>
                  <a:lnTo>
                    <a:pt x="26" y="1738"/>
                  </a:lnTo>
                  <a:lnTo>
                    <a:pt x="24" y="1740"/>
                  </a:lnTo>
                  <a:lnTo>
                    <a:pt x="23" y="1741"/>
                  </a:lnTo>
                  <a:lnTo>
                    <a:pt x="21" y="1743"/>
                  </a:lnTo>
                  <a:lnTo>
                    <a:pt x="21" y="1744"/>
                  </a:lnTo>
                  <a:lnTo>
                    <a:pt x="20" y="1746"/>
                  </a:lnTo>
                  <a:lnTo>
                    <a:pt x="20" y="1746"/>
                  </a:lnTo>
                  <a:lnTo>
                    <a:pt x="21" y="1746"/>
                  </a:lnTo>
                  <a:lnTo>
                    <a:pt x="23" y="1747"/>
                  </a:lnTo>
                  <a:lnTo>
                    <a:pt x="23" y="1749"/>
                  </a:lnTo>
                  <a:lnTo>
                    <a:pt x="24" y="1752"/>
                  </a:lnTo>
                  <a:lnTo>
                    <a:pt x="24" y="1752"/>
                  </a:lnTo>
                  <a:lnTo>
                    <a:pt x="26" y="1752"/>
                  </a:lnTo>
                  <a:lnTo>
                    <a:pt x="26" y="1749"/>
                  </a:lnTo>
                  <a:lnTo>
                    <a:pt x="27" y="1747"/>
                  </a:lnTo>
                  <a:lnTo>
                    <a:pt x="27" y="1747"/>
                  </a:lnTo>
                  <a:lnTo>
                    <a:pt x="27" y="1749"/>
                  </a:lnTo>
                  <a:lnTo>
                    <a:pt x="29" y="1749"/>
                  </a:lnTo>
                  <a:lnTo>
                    <a:pt x="29" y="1750"/>
                  </a:lnTo>
                  <a:lnTo>
                    <a:pt x="30" y="1752"/>
                  </a:lnTo>
                  <a:lnTo>
                    <a:pt x="30" y="1755"/>
                  </a:lnTo>
                  <a:lnTo>
                    <a:pt x="30" y="1757"/>
                  </a:lnTo>
                  <a:lnTo>
                    <a:pt x="30" y="1758"/>
                  </a:lnTo>
                  <a:lnTo>
                    <a:pt x="29" y="1758"/>
                  </a:lnTo>
                  <a:lnTo>
                    <a:pt x="29" y="1758"/>
                  </a:lnTo>
                  <a:lnTo>
                    <a:pt x="29" y="1758"/>
                  </a:lnTo>
                  <a:lnTo>
                    <a:pt x="29" y="1757"/>
                  </a:lnTo>
                  <a:lnTo>
                    <a:pt x="27" y="1755"/>
                  </a:lnTo>
                  <a:lnTo>
                    <a:pt x="27" y="1753"/>
                  </a:lnTo>
                  <a:lnTo>
                    <a:pt x="27" y="1755"/>
                  </a:lnTo>
                  <a:lnTo>
                    <a:pt x="27" y="1758"/>
                  </a:lnTo>
                  <a:lnTo>
                    <a:pt x="27" y="1761"/>
                  </a:lnTo>
                  <a:lnTo>
                    <a:pt x="26" y="1763"/>
                  </a:lnTo>
                  <a:lnTo>
                    <a:pt x="24" y="1767"/>
                  </a:lnTo>
                  <a:lnTo>
                    <a:pt x="23" y="1766"/>
                  </a:lnTo>
                  <a:lnTo>
                    <a:pt x="23" y="1764"/>
                  </a:lnTo>
                  <a:lnTo>
                    <a:pt x="23" y="1766"/>
                  </a:lnTo>
                  <a:lnTo>
                    <a:pt x="23" y="1767"/>
                  </a:lnTo>
                  <a:lnTo>
                    <a:pt x="23" y="1770"/>
                  </a:lnTo>
                  <a:lnTo>
                    <a:pt x="21" y="1770"/>
                  </a:lnTo>
                  <a:lnTo>
                    <a:pt x="21" y="1770"/>
                  </a:lnTo>
                  <a:lnTo>
                    <a:pt x="20" y="1769"/>
                  </a:lnTo>
                  <a:lnTo>
                    <a:pt x="20" y="1766"/>
                  </a:lnTo>
                  <a:lnTo>
                    <a:pt x="20" y="1764"/>
                  </a:lnTo>
                  <a:lnTo>
                    <a:pt x="18" y="1763"/>
                  </a:lnTo>
                  <a:lnTo>
                    <a:pt x="18" y="1763"/>
                  </a:lnTo>
                  <a:lnTo>
                    <a:pt x="20" y="1758"/>
                  </a:lnTo>
                  <a:lnTo>
                    <a:pt x="21" y="1755"/>
                  </a:lnTo>
                  <a:lnTo>
                    <a:pt x="20" y="1753"/>
                  </a:lnTo>
                  <a:lnTo>
                    <a:pt x="20" y="1753"/>
                  </a:lnTo>
                  <a:lnTo>
                    <a:pt x="20" y="1755"/>
                  </a:lnTo>
                  <a:lnTo>
                    <a:pt x="18" y="1753"/>
                  </a:lnTo>
                  <a:lnTo>
                    <a:pt x="17" y="1753"/>
                  </a:lnTo>
                  <a:lnTo>
                    <a:pt x="18" y="1755"/>
                  </a:lnTo>
                  <a:lnTo>
                    <a:pt x="18" y="1755"/>
                  </a:lnTo>
                  <a:lnTo>
                    <a:pt x="18" y="1757"/>
                  </a:lnTo>
                  <a:lnTo>
                    <a:pt x="15" y="1758"/>
                  </a:lnTo>
                  <a:lnTo>
                    <a:pt x="15" y="1758"/>
                  </a:lnTo>
                  <a:lnTo>
                    <a:pt x="13" y="1760"/>
                  </a:lnTo>
                  <a:lnTo>
                    <a:pt x="13" y="1760"/>
                  </a:lnTo>
                  <a:lnTo>
                    <a:pt x="13" y="1763"/>
                  </a:lnTo>
                  <a:lnTo>
                    <a:pt x="12" y="1764"/>
                  </a:lnTo>
                  <a:lnTo>
                    <a:pt x="12" y="1761"/>
                  </a:lnTo>
                  <a:lnTo>
                    <a:pt x="12" y="1760"/>
                  </a:lnTo>
                  <a:lnTo>
                    <a:pt x="10" y="1760"/>
                  </a:lnTo>
                  <a:lnTo>
                    <a:pt x="9" y="1760"/>
                  </a:lnTo>
                  <a:lnTo>
                    <a:pt x="10" y="1766"/>
                  </a:lnTo>
                  <a:lnTo>
                    <a:pt x="10" y="1767"/>
                  </a:lnTo>
                  <a:lnTo>
                    <a:pt x="12" y="1767"/>
                  </a:lnTo>
                  <a:lnTo>
                    <a:pt x="12" y="1769"/>
                  </a:lnTo>
                  <a:lnTo>
                    <a:pt x="13" y="1773"/>
                  </a:lnTo>
                  <a:lnTo>
                    <a:pt x="13" y="1778"/>
                  </a:lnTo>
                  <a:lnTo>
                    <a:pt x="17" y="1784"/>
                  </a:lnTo>
                  <a:lnTo>
                    <a:pt x="18" y="1789"/>
                  </a:lnTo>
                  <a:lnTo>
                    <a:pt x="18" y="1786"/>
                  </a:lnTo>
                  <a:lnTo>
                    <a:pt x="20" y="1784"/>
                  </a:lnTo>
                  <a:lnTo>
                    <a:pt x="21" y="1784"/>
                  </a:lnTo>
                  <a:lnTo>
                    <a:pt x="23" y="1786"/>
                  </a:lnTo>
                  <a:lnTo>
                    <a:pt x="23" y="1787"/>
                  </a:lnTo>
                  <a:lnTo>
                    <a:pt x="23" y="1787"/>
                  </a:lnTo>
                  <a:lnTo>
                    <a:pt x="24" y="1787"/>
                  </a:lnTo>
                  <a:lnTo>
                    <a:pt x="26" y="1787"/>
                  </a:lnTo>
                  <a:lnTo>
                    <a:pt x="26" y="1786"/>
                  </a:lnTo>
                  <a:lnTo>
                    <a:pt x="26" y="1786"/>
                  </a:lnTo>
                  <a:lnTo>
                    <a:pt x="26" y="1784"/>
                  </a:lnTo>
                  <a:lnTo>
                    <a:pt x="27" y="1784"/>
                  </a:lnTo>
                  <a:lnTo>
                    <a:pt x="29" y="1784"/>
                  </a:lnTo>
                  <a:lnTo>
                    <a:pt x="30" y="1786"/>
                  </a:lnTo>
                  <a:lnTo>
                    <a:pt x="32" y="1790"/>
                  </a:lnTo>
                  <a:lnTo>
                    <a:pt x="30" y="1792"/>
                  </a:lnTo>
                  <a:lnTo>
                    <a:pt x="32" y="1792"/>
                  </a:lnTo>
                  <a:lnTo>
                    <a:pt x="32" y="1790"/>
                  </a:lnTo>
                  <a:lnTo>
                    <a:pt x="32" y="1789"/>
                  </a:lnTo>
                  <a:lnTo>
                    <a:pt x="32" y="1787"/>
                  </a:lnTo>
                  <a:lnTo>
                    <a:pt x="34" y="1786"/>
                  </a:lnTo>
                  <a:lnTo>
                    <a:pt x="37" y="1786"/>
                  </a:lnTo>
                  <a:lnTo>
                    <a:pt x="38" y="1786"/>
                  </a:lnTo>
                  <a:lnTo>
                    <a:pt x="40" y="1786"/>
                  </a:lnTo>
                  <a:close/>
                  <a:moveTo>
                    <a:pt x="117" y="1727"/>
                  </a:moveTo>
                  <a:lnTo>
                    <a:pt x="117" y="1727"/>
                  </a:lnTo>
                  <a:lnTo>
                    <a:pt x="115" y="1727"/>
                  </a:lnTo>
                  <a:lnTo>
                    <a:pt x="115" y="1729"/>
                  </a:lnTo>
                  <a:lnTo>
                    <a:pt x="115" y="1729"/>
                  </a:lnTo>
                  <a:lnTo>
                    <a:pt x="115" y="1730"/>
                  </a:lnTo>
                  <a:lnTo>
                    <a:pt x="115" y="1732"/>
                  </a:lnTo>
                  <a:lnTo>
                    <a:pt x="117" y="1732"/>
                  </a:lnTo>
                  <a:lnTo>
                    <a:pt x="117" y="1730"/>
                  </a:lnTo>
                  <a:lnTo>
                    <a:pt x="117" y="1727"/>
                  </a:lnTo>
                  <a:lnTo>
                    <a:pt x="117" y="1727"/>
                  </a:lnTo>
                  <a:close/>
                  <a:moveTo>
                    <a:pt x="221" y="1817"/>
                  </a:moveTo>
                  <a:lnTo>
                    <a:pt x="221" y="1818"/>
                  </a:lnTo>
                  <a:lnTo>
                    <a:pt x="220" y="1818"/>
                  </a:lnTo>
                  <a:lnTo>
                    <a:pt x="218" y="1818"/>
                  </a:lnTo>
                  <a:lnTo>
                    <a:pt x="217" y="1818"/>
                  </a:lnTo>
                  <a:lnTo>
                    <a:pt x="217" y="1820"/>
                  </a:lnTo>
                  <a:lnTo>
                    <a:pt x="215" y="1820"/>
                  </a:lnTo>
                  <a:lnTo>
                    <a:pt x="215" y="1820"/>
                  </a:lnTo>
                  <a:lnTo>
                    <a:pt x="215" y="1821"/>
                  </a:lnTo>
                  <a:lnTo>
                    <a:pt x="217" y="1821"/>
                  </a:lnTo>
                  <a:lnTo>
                    <a:pt x="217" y="1821"/>
                  </a:lnTo>
                  <a:lnTo>
                    <a:pt x="221" y="1818"/>
                  </a:lnTo>
                  <a:lnTo>
                    <a:pt x="223" y="1818"/>
                  </a:lnTo>
                  <a:lnTo>
                    <a:pt x="223" y="1818"/>
                  </a:lnTo>
                  <a:lnTo>
                    <a:pt x="221" y="1817"/>
                  </a:lnTo>
                  <a:close/>
                  <a:moveTo>
                    <a:pt x="328" y="1803"/>
                  </a:moveTo>
                  <a:lnTo>
                    <a:pt x="326" y="1803"/>
                  </a:lnTo>
                  <a:lnTo>
                    <a:pt x="323" y="1803"/>
                  </a:lnTo>
                  <a:lnTo>
                    <a:pt x="323" y="1804"/>
                  </a:lnTo>
                  <a:lnTo>
                    <a:pt x="322" y="1806"/>
                  </a:lnTo>
                  <a:lnTo>
                    <a:pt x="322" y="1806"/>
                  </a:lnTo>
                  <a:lnTo>
                    <a:pt x="323" y="1806"/>
                  </a:lnTo>
                  <a:lnTo>
                    <a:pt x="323" y="1807"/>
                  </a:lnTo>
                  <a:lnTo>
                    <a:pt x="325" y="1807"/>
                  </a:lnTo>
                  <a:lnTo>
                    <a:pt x="326" y="1807"/>
                  </a:lnTo>
                  <a:lnTo>
                    <a:pt x="326" y="1806"/>
                  </a:lnTo>
                  <a:lnTo>
                    <a:pt x="326" y="1806"/>
                  </a:lnTo>
                  <a:lnTo>
                    <a:pt x="326" y="1806"/>
                  </a:lnTo>
                  <a:lnTo>
                    <a:pt x="328" y="1806"/>
                  </a:lnTo>
                  <a:lnTo>
                    <a:pt x="328" y="1804"/>
                  </a:lnTo>
                  <a:lnTo>
                    <a:pt x="328" y="1804"/>
                  </a:lnTo>
                  <a:lnTo>
                    <a:pt x="328" y="1803"/>
                  </a:lnTo>
                  <a:close/>
                  <a:moveTo>
                    <a:pt x="252" y="1794"/>
                  </a:moveTo>
                  <a:lnTo>
                    <a:pt x="252" y="1794"/>
                  </a:lnTo>
                  <a:lnTo>
                    <a:pt x="252" y="1794"/>
                  </a:lnTo>
                  <a:lnTo>
                    <a:pt x="252" y="1792"/>
                  </a:lnTo>
                  <a:lnTo>
                    <a:pt x="252" y="1790"/>
                  </a:lnTo>
                  <a:lnTo>
                    <a:pt x="254" y="1789"/>
                  </a:lnTo>
                  <a:lnTo>
                    <a:pt x="252" y="1789"/>
                  </a:lnTo>
                  <a:lnTo>
                    <a:pt x="251" y="1789"/>
                  </a:lnTo>
                  <a:lnTo>
                    <a:pt x="249" y="1790"/>
                  </a:lnTo>
                  <a:lnTo>
                    <a:pt x="248" y="1790"/>
                  </a:lnTo>
                  <a:lnTo>
                    <a:pt x="249" y="1792"/>
                  </a:lnTo>
                  <a:lnTo>
                    <a:pt x="249" y="1792"/>
                  </a:lnTo>
                  <a:lnTo>
                    <a:pt x="251" y="1792"/>
                  </a:lnTo>
                  <a:lnTo>
                    <a:pt x="251" y="1792"/>
                  </a:lnTo>
                  <a:lnTo>
                    <a:pt x="248" y="1794"/>
                  </a:lnTo>
                  <a:lnTo>
                    <a:pt x="248" y="1795"/>
                  </a:lnTo>
                  <a:lnTo>
                    <a:pt x="249" y="1798"/>
                  </a:lnTo>
                  <a:lnTo>
                    <a:pt x="249" y="1798"/>
                  </a:lnTo>
                  <a:lnTo>
                    <a:pt x="251" y="1798"/>
                  </a:lnTo>
                  <a:lnTo>
                    <a:pt x="251" y="1797"/>
                  </a:lnTo>
                  <a:lnTo>
                    <a:pt x="251" y="1794"/>
                  </a:lnTo>
                  <a:lnTo>
                    <a:pt x="252" y="1794"/>
                  </a:lnTo>
                  <a:close/>
                  <a:moveTo>
                    <a:pt x="217" y="1800"/>
                  </a:moveTo>
                  <a:lnTo>
                    <a:pt x="217" y="1800"/>
                  </a:lnTo>
                  <a:lnTo>
                    <a:pt x="218" y="1797"/>
                  </a:lnTo>
                  <a:lnTo>
                    <a:pt x="218" y="1795"/>
                  </a:lnTo>
                  <a:lnTo>
                    <a:pt x="218" y="1789"/>
                  </a:lnTo>
                  <a:lnTo>
                    <a:pt x="217" y="1787"/>
                  </a:lnTo>
                  <a:lnTo>
                    <a:pt x="215" y="1786"/>
                  </a:lnTo>
                  <a:lnTo>
                    <a:pt x="214" y="1787"/>
                  </a:lnTo>
                  <a:lnTo>
                    <a:pt x="215" y="1792"/>
                  </a:lnTo>
                  <a:lnTo>
                    <a:pt x="214" y="1792"/>
                  </a:lnTo>
                  <a:lnTo>
                    <a:pt x="214" y="1790"/>
                  </a:lnTo>
                  <a:lnTo>
                    <a:pt x="214" y="1787"/>
                  </a:lnTo>
                  <a:lnTo>
                    <a:pt x="212" y="1787"/>
                  </a:lnTo>
                  <a:lnTo>
                    <a:pt x="211" y="1787"/>
                  </a:lnTo>
                  <a:lnTo>
                    <a:pt x="211" y="1790"/>
                  </a:lnTo>
                  <a:lnTo>
                    <a:pt x="211" y="1792"/>
                  </a:lnTo>
                  <a:lnTo>
                    <a:pt x="211" y="1795"/>
                  </a:lnTo>
                  <a:lnTo>
                    <a:pt x="211" y="1797"/>
                  </a:lnTo>
                  <a:lnTo>
                    <a:pt x="212" y="1798"/>
                  </a:lnTo>
                  <a:lnTo>
                    <a:pt x="214" y="1800"/>
                  </a:lnTo>
                  <a:lnTo>
                    <a:pt x="214" y="1800"/>
                  </a:lnTo>
                  <a:lnTo>
                    <a:pt x="214" y="1798"/>
                  </a:lnTo>
                  <a:lnTo>
                    <a:pt x="215" y="1798"/>
                  </a:lnTo>
                  <a:lnTo>
                    <a:pt x="217" y="1798"/>
                  </a:lnTo>
                  <a:lnTo>
                    <a:pt x="217" y="1800"/>
                  </a:lnTo>
                  <a:close/>
                  <a:moveTo>
                    <a:pt x="249" y="1787"/>
                  </a:moveTo>
                  <a:lnTo>
                    <a:pt x="251" y="1787"/>
                  </a:lnTo>
                  <a:lnTo>
                    <a:pt x="252" y="1786"/>
                  </a:lnTo>
                  <a:lnTo>
                    <a:pt x="254" y="1786"/>
                  </a:lnTo>
                  <a:lnTo>
                    <a:pt x="254" y="1786"/>
                  </a:lnTo>
                  <a:lnTo>
                    <a:pt x="254" y="1786"/>
                  </a:lnTo>
                  <a:lnTo>
                    <a:pt x="254" y="1787"/>
                  </a:lnTo>
                  <a:lnTo>
                    <a:pt x="255" y="1786"/>
                  </a:lnTo>
                  <a:lnTo>
                    <a:pt x="255" y="1786"/>
                  </a:lnTo>
                  <a:lnTo>
                    <a:pt x="257" y="1784"/>
                  </a:lnTo>
                  <a:lnTo>
                    <a:pt x="257" y="1784"/>
                  </a:lnTo>
                  <a:lnTo>
                    <a:pt x="255" y="1783"/>
                  </a:lnTo>
                  <a:lnTo>
                    <a:pt x="255" y="1781"/>
                  </a:lnTo>
                  <a:lnTo>
                    <a:pt x="254" y="1781"/>
                  </a:lnTo>
                  <a:lnTo>
                    <a:pt x="252" y="1781"/>
                  </a:lnTo>
                  <a:lnTo>
                    <a:pt x="251" y="1781"/>
                  </a:lnTo>
                  <a:lnTo>
                    <a:pt x="251" y="1783"/>
                  </a:lnTo>
                  <a:lnTo>
                    <a:pt x="249" y="1783"/>
                  </a:lnTo>
                  <a:lnTo>
                    <a:pt x="249" y="1784"/>
                  </a:lnTo>
                  <a:lnTo>
                    <a:pt x="248" y="1786"/>
                  </a:lnTo>
                  <a:lnTo>
                    <a:pt x="248" y="1786"/>
                  </a:lnTo>
                  <a:lnTo>
                    <a:pt x="248" y="1787"/>
                  </a:lnTo>
                  <a:lnTo>
                    <a:pt x="249" y="1787"/>
                  </a:lnTo>
                  <a:lnTo>
                    <a:pt x="249" y="1787"/>
                  </a:lnTo>
                  <a:close/>
                  <a:moveTo>
                    <a:pt x="184" y="1780"/>
                  </a:moveTo>
                  <a:lnTo>
                    <a:pt x="183" y="1780"/>
                  </a:lnTo>
                  <a:lnTo>
                    <a:pt x="181" y="1778"/>
                  </a:lnTo>
                  <a:lnTo>
                    <a:pt x="181" y="1780"/>
                  </a:lnTo>
                  <a:lnTo>
                    <a:pt x="180" y="1780"/>
                  </a:lnTo>
                  <a:lnTo>
                    <a:pt x="180" y="1781"/>
                  </a:lnTo>
                  <a:lnTo>
                    <a:pt x="180" y="1781"/>
                  </a:lnTo>
                  <a:lnTo>
                    <a:pt x="180" y="1783"/>
                  </a:lnTo>
                  <a:lnTo>
                    <a:pt x="183" y="1783"/>
                  </a:lnTo>
                  <a:lnTo>
                    <a:pt x="183" y="1783"/>
                  </a:lnTo>
                  <a:lnTo>
                    <a:pt x="184" y="1781"/>
                  </a:lnTo>
                  <a:lnTo>
                    <a:pt x="186" y="1781"/>
                  </a:lnTo>
                  <a:lnTo>
                    <a:pt x="184" y="1780"/>
                  </a:lnTo>
                  <a:lnTo>
                    <a:pt x="184" y="1780"/>
                  </a:lnTo>
                  <a:close/>
                  <a:moveTo>
                    <a:pt x="152" y="1773"/>
                  </a:moveTo>
                  <a:lnTo>
                    <a:pt x="149" y="1775"/>
                  </a:lnTo>
                  <a:lnTo>
                    <a:pt x="147" y="1780"/>
                  </a:lnTo>
                  <a:lnTo>
                    <a:pt x="149" y="1778"/>
                  </a:lnTo>
                  <a:lnTo>
                    <a:pt x="151" y="1780"/>
                  </a:lnTo>
                  <a:lnTo>
                    <a:pt x="152" y="1781"/>
                  </a:lnTo>
                  <a:lnTo>
                    <a:pt x="149" y="1781"/>
                  </a:lnTo>
                  <a:lnTo>
                    <a:pt x="147" y="1781"/>
                  </a:lnTo>
                  <a:lnTo>
                    <a:pt x="146" y="1783"/>
                  </a:lnTo>
                  <a:lnTo>
                    <a:pt x="147" y="1783"/>
                  </a:lnTo>
                  <a:lnTo>
                    <a:pt x="147" y="1784"/>
                  </a:lnTo>
                  <a:lnTo>
                    <a:pt x="149" y="1784"/>
                  </a:lnTo>
                  <a:lnTo>
                    <a:pt x="149" y="1784"/>
                  </a:lnTo>
                  <a:lnTo>
                    <a:pt x="151" y="1784"/>
                  </a:lnTo>
                  <a:lnTo>
                    <a:pt x="152" y="1783"/>
                  </a:lnTo>
                  <a:lnTo>
                    <a:pt x="152" y="1783"/>
                  </a:lnTo>
                  <a:lnTo>
                    <a:pt x="155" y="1784"/>
                  </a:lnTo>
                  <a:lnTo>
                    <a:pt x="155" y="1784"/>
                  </a:lnTo>
                  <a:lnTo>
                    <a:pt x="157" y="1783"/>
                  </a:lnTo>
                  <a:lnTo>
                    <a:pt x="157" y="1781"/>
                  </a:lnTo>
                  <a:lnTo>
                    <a:pt x="157" y="1781"/>
                  </a:lnTo>
                  <a:lnTo>
                    <a:pt x="157" y="1780"/>
                  </a:lnTo>
                  <a:lnTo>
                    <a:pt x="155" y="1780"/>
                  </a:lnTo>
                  <a:lnTo>
                    <a:pt x="158" y="1778"/>
                  </a:lnTo>
                  <a:lnTo>
                    <a:pt x="158" y="1778"/>
                  </a:lnTo>
                  <a:lnTo>
                    <a:pt x="158" y="1777"/>
                  </a:lnTo>
                  <a:lnTo>
                    <a:pt x="155" y="1773"/>
                  </a:lnTo>
                  <a:lnTo>
                    <a:pt x="152" y="1773"/>
                  </a:lnTo>
                  <a:close/>
                  <a:moveTo>
                    <a:pt x="169" y="1770"/>
                  </a:moveTo>
                  <a:lnTo>
                    <a:pt x="166" y="1770"/>
                  </a:lnTo>
                  <a:lnTo>
                    <a:pt x="164" y="1772"/>
                  </a:lnTo>
                  <a:lnTo>
                    <a:pt x="163" y="1773"/>
                  </a:lnTo>
                  <a:lnTo>
                    <a:pt x="163" y="1775"/>
                  </a:lnTo>
                  <a:lnTo>
                    <a:pt x="164" y="1777"/>
                  </a:lnTo>
                  <a:lnTo>
                    <a:pt x="164" y="1777"/>
                  </a:lnTo>
                  <a:lnTo>
                    <a:pt x="163" y="1777"/>
                  </a:lnTo>
                  <a:lnTo>
                    <a:pt x="163" y="1778"/>
                  </a:lnTo>
                  <a:lnTo>
                    <a:pt x="163" y="1780"/>
                  </a:lnTo>
                  <a:lnTo>
                    <a:pt x="163" y="1780"/>
                  </a:lnTo>
                  <a:lnTo>
                    <a:pt x="161" y="1781"/>
                  </a:lnTo>
                  <a:lnTo>
                    <a:pt x="164" y="1783"/>
                  </a:lnTo>
                  <a:lnTo>
                    <a:pt x="166" y="1783"/>
                  </a:lnTo>
                  <a:lnTo>
                    <a:pt x="169" y="1781"/>
                  </a:lnTo>
                  <a:lnTo>
                    <a:pt x="171" y="1780"/>
                  </a:lnTo>
                  <a:lnTo>
                    <a:pt x="169" y="1778"/>
                  </a:lnTo>
                  <a:lnTo>
                    <a:pt x="169" y="1778"/>
                  </a:lnTo>
                  <a:lnTo>
                    <a:pt x="171" y="1778"/>
                  </a:lnTo>
                  <a:lnTo>
                    <a:pt x="171" y="1778"/>
                  </a:lnTo>
                  <a:lnTo>
                    <a:pt x="172" y="1777"/>
                  </a:lnTo>
                  <a:lnTo>
                    <a:pt x="169" y="1777"/>
                  </a:lnTo>
                  <a:lnTo>
                    <a:pt x="175" y="1777"/>
                  </a:lnTo>
                  <a:lnTo>
                    <a:pt x="174" y="1773"/>
                  </a:lnTo>
                  <a:lnTo>
                    <a:pt x="174" y="1773"/>
                  </a:lnTo>
                  <a:lnTo>
                    <a:pt x="174" y="1773"/>
                  </a:lnTo>
                  <a:lnTo>
                    <a:pt x="175" y="1773"/>
                  </a:lnTo>
                  <a:lnTo>
                    <a:pt x="175" y="1773"/>
                  </a:lnTo>
                  <a:lnTo>
                    <a:pt x="177" y="1773"/>
                  </a:lnTo>
                  <a:lnTo>
                    <a:pt x="177" y="1772"/>
                  </a:lnTo>
                  <a:lnTo>
                    <a:pt x="174" y="1770"/>
                  </a:lnTo>
                  <a:lnTo>
                    <a:pt x="169" y="1770"/>
                  </a:lnTo>
                  <a:close/>
                  <a:moveTo>
                    <a:pt x="211" y="1773"/>
                  </a:moveTo>
                  <a:lnTo>
                    <a:pt x="212" y="1772"/>
                  </a:lnTo>
                  <a:lnTo>
                    <a:pt x="214" y="1770"/>
                  </a:lnTo>
                  <a:lnTo>
                    <a:pt x="212" y="1769"/>
                  </a:lnTo>
                  <a:lnTo>
                    <a:pt x="208" y="1770"/>
                  </a:lnTo>
                  <a:lnTo>
                    <a:pt x="208" y="1770"/>
                  </a:lnTo>
                  <a:lnTo>
                    <a:pt x="208" y="1772"/>
                  </a:lnTo>
                  <a:lnTo>
                    <a:pt x="206" y="1773"/>
                  </a:lnTo>
                  <a:lnTo>
                    <a:pt x="206" y="1773"/>
                  </a:lnTo>
                  <a:lnTo>
                    <a:pt x="206" y="1773"/>
                  </a:lnTo>
                  <a:lnTo>
                    <a:pt x="206" y="1775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9" y="1777"/>
                  </a:lnTo>
                  <a:lnTo>
                    <a:pt x="209" y="1777"/>
                  </a:lnTo>
                  <a:lnTo>
                    <a:pt x="209" y="1777"/>
                  </a:lnTo>
                  <a:lnTo>
                    <a:pt x="208" y="1775"/>
                  </a:lnTo>
                  <a:lnTo>
                    <a:pt x="209" y="1775"/>
                  </a:lnTo>
                  <a:lnTo>
                    <a:pt x="211" y="1773"/>
                  </a:lnTo>
                  <a:close/>
                  <a:moveTo>
                    <a:pt x="138" y="1770"/>
                  </a:moveTo>
                  <a:lnTo>
                    <a:pt x="137" y="1767"/>
                  </a:lnTo>
                  <a:lnTo>
                    <a:pt x="134" y="1767"/>
                  </a:lnTo>
                  <a:lnTo>
                    <a:pt x="131" y="1769"/>
                  </a:lnTo>
                  <a:lnTo>
                    <a:pt x="131" y="1770"/>
                  </a:lnTo>
                  <a:lnTo>
                    <a:pt x="132" y="1770"/>
                  </a:lnTo>
                  <a:lnTo>
                    <a:pt x="132" y="1772"/>
                  </a:lnTo>
                  <a:lnTo>
                    <a:pt x="134" y="1772"/>
                  </a:lnTo>
                  <a:lnTo>
                    <a:pt x="134" y="1773"/>
                  </a:lnTo>
                  <a:lnTo>
                    <a:pt x="137" y="1773"/>
                  </a:lnTo>
                  <a:lnTo>
                    <a:pt x="138" y="1773"/>
                  </a:lnTo>
                  <a:lnTo>
                    <a:pt x="138" y="1775"/>
                  </a:lnTo>
                  <a:lnTo>
                    <a:pt x="138" y="1775"/>
                  </a:lnTo>
                  <a:lnTo>
                    <a:pt x="140" y="1772"/>
                  </a:lnTo>
                  <a:lnTo>
                    <a:pt x="140" y="1772"/>
                  </a:lnTo>
                  <a:lnTo>
                    <a:pt x="143" y="1772"/>
                  </a:lnTo>
                  <a:lnTo>
                    <a:pt x="143" y="1770"/>
                  </a:lnTo>
                  <a:lnTo>
                    <a:pt x="140" y="1770"/>
                  </a:lnTo>
                  <a:lnTo>
                    <a:pt x="138" y="1770"/>
                  </a:lnTo>
                  <a:close/>
                  <a:moveTo>
                    <a:pt x="189" y="1767"/>
                  </a:moveTo>
                  <a:lnTo>
                    <a:pt x="188" y="1767"/>
                  </a:lnTo>
                  <a:lnTo>
                    <a:pt x="186" y="1769"/>
                  </a:lnTo>
                  <a:lnTo>
                    <a:pt x="184" y="1770"/>
                  </a:lnTo>
                  <a:lnTo>
                    <a:pt x="181" y="1772"/>
                  </a:lnTo>
                  <a:lnTo>
                    <a:pt x="180" y="1773"/>
                  </a:lnTo>
                  <a:lnTo>
                    <a:pt x="181" y="1777"/>
                  </a:lnTo>
                  <a:lnTo>
                    <a:pt x="183" y="1780"/>
                  </a:lnTo>
                  <a:lnTo>
                    <a:pt x="184" y="1778"/>
                  </a:lnTo>
                  <a:lnTo>
                    <a:pt x="188" y="1777"/>
                  </a:lnTo>
                  <a:lnTo>
                    <a:pt x="188" y="1775"/>
                  </a:lnTo>
                  <a:lnTo>
                    <a:pt x="186" y="1773"/>
                  </a:lnTo>
                  <a:lnTo>
                    <a:pt x="186" y="1773"/>
                  </a:lnTo>
                  <a:lnTo>
                    <a:pt x="191" y="1770"/>
                  </a:lnTo>
                  <a:lnTo>
                    <a:pt x="189" y="1767"/>
                  </a:lnTo>
                  <a:close/>
                  <a:moveTo>
                    <a:pt x="469" y="1767"/>
                  </a:moveTo>
                  <a:lnTo>
                    <a:pt x="468" y="1769"/>
                  </a:lnTo>
                  <a:lnTo>
                    <a:pt x="469" y="1770"/>
                  </a:lnTo>
                  <a:lnTo>
                    <a:pt x="469" y="1770"/>
                  </a:lnTo>
                  <a:lnTo>
                    <a:pt x="471" y="1769"/>
                  </a:lnTo>
                  <a:lnTo>
                    <a:pt x="472" y="1769"/>
                  </a:lnTo>
                  <a:lnTo>
                    <a:pt x="472" y="1767"/>
                  </a:lnTo>
                  <a:lnTo>
                    <a:pt x="471" y="1766"/>
                  </a:lnTo>
                  <a:lnTo>
                    <a:pt x="469" y="1767"/>
                  </a:lnTo>
                  <a:close/>
                  <a:moveTo>
                    <a:pt x="206" y="1763"/>
                  </a:moveTo>
                  <a:lnTo>
                    <a:pt x="204" y="1761"/>
                  </a:lnTo>
                  <a:lnTo>
                    <a:pt x="203" y="1763"/>
                  </a:lnTo>
                  <a:lnTo>
                    <a:pt x="201" y="1766"/>
                  </a:lnTo>
                  <a:lnTo>
                    <a:pt x="200" y="1769"/>
                  </a:lnTo>
                  <a:lnTo>
                    <a:pt x="201" y="1772"/>
                  </a:lnTo>
                  <a:lnTo>
                    <a:pt x="204" y="1770"/>
                  </a:lnTo>
                  <a:lnTo>
                    <a:pt x="206" y="1766"/>
                  </a:lnTo>
                  <a:lnTo>
                    <a:pt x="206" y="1763"/>
                  </a:lnTo>
                  <a:close/>
                  <a:moveTo>
                    <a:pt x="155" y="1760"/>
                  </a:moveTo>
                  <a:lnTo>
                    <a:pt x="154" y="1760"/>
                  </a:lnTo>
                  <a:lnTo>
                    <a:pt x="152" y="1761"/>
                  </a:lnTo>
                  <a:lnTo>
                    <a:pt x="152" y="1763"/>
                  </a:lnTo>
                  <a:lnTo>
                    <a:pt x="152" y="1766"/>
                  </a:lnTo>
                  <a:lnTo>
                    <a:pt x="154" y="1766"/>
                  </a:lnTo>
                  <a:lnTo>
                    <a:pt x="154" y="1766"/>
                  </a:lnTo>
                  <a:lnTo>
                    <a:pt x="154" y="1766"/>
                  </a:lnTo>
                  <a:lnTo>
                    <a:pt x="155" y="1766"/>
                  </a:lnTo>
                  <a:lnTo>
                    <a:pt x="155" y="1766"/>
                  </a:lnTo>
                  <a:lnTo>
                    <a:pt x="155" y="1764"/>
                  </a:lnTo>
                  <a:lnTo>
                    <a:pt x="157" y="1763"/>
                  </a:lnTo>
                  <a:lnTo>
                    <a:pt x="157" y="1761"/>
                  </a:lnTo>
                  <a:lnTo>
                    <a:pt x="155" y="1761"/>
                  </a:lnTo>
                  <a:lnTo>
                    <a:pt x="155" y="1761"/>
                  </a:lnTo>
                  <a:lnTo>
                    <a:pt x="155" y="1761"/>
                  </a:lnTo>
                  <a:lnTo>
                    <a:pt x="155" y="1760"/>
                  </a:lnTo>
                  <a:lnTo>
                    <a:pt x="155" y="1760"/>
                  </a:lnTo>
                  <a:close/>
                  <a:moveTo>
                    <a:pt x="451" y="1755"/>
                  </a:moveTo>
                  <a:lnTo>
                    <a:pt x="449" y="1758"/>
                  </a:lnTo>
                  <a:lnTo>
                    <a:pt x="451" y="1761"/>
                  </a:lnTo>
                  <a:lnTo>
                    <a:pt x="452" y="1763"/>
                  </a:lnTo>
                  <a:lnTo>
                    <a:pt x="454" y="1764"/>
                  </a:lnTo>
                  <a:lnTo>
                    <a:pt x="452" y="1766"/>
                  </a:lnTo>
                  <a:lnTo>
                    <a:pt x="452" y="1767"/>
                  </a:lnTo>
                  <a:lnTo>
                    <a:pt x="454" y="1767"/>
                  </a:lnTo>
                  <a:lnTo>
                    <a:pt x="456" y="1769"/>
                  </a:lnTo>
                  <a:lnTo>
                    <a:pt x="456" y="1767"/>
                  </a:lnTo>
                  <a:lnTo>
                    <a:pt x="456" y="1766"/>
                  </a:lnTo>
                  <a:lnTo>
                    <a:pt x="457" y="1764"/>
                  </a:lnTo>
                  <a:lnTo>
                    <a:pt x="459" y="1764"/>
                  </a:lnTo>
                  <a:lnTo>
                    <a:pt x="459" y="1763"/>
                  </a:lnTo>
                  <a:lnTo>
                    <a:pt x="452" y="1755"/>
                  </a:lnTo>
                  <a:lnTo>
                    <a:pt x="451" y="1755"/>
                  </a:lnTo>
                  <a:close/>
                  <a:moveTo>
                    <a:pt x="245" y="1787"/>
                  </a:moveTo>
                  <a:lnTo>
                    <a:pt x="248" y="1783"/>
                  </a:lnTo>
                  <a:lnTo>
                    <a:pt x="246" y="1778"/>
                  </a:lnTo>
                  <a:lnTo>
                    <a:pt x="246" y="1778"/>
                  </a:lnTo>
                  <a:lnTo>
                    <a:pt x="248" y="1777"/>
                  </a:lnTo>
                  <a:lnTo>
                    <a:pt x="246" y="1775"/>
                  </a:lnTo>
                  <a:lnTo>
                    <a:pt x="246" y="1775"/>
                  </a:lnTo>
                  <a:lnTo>
                    <a:pt x="246" y="1775"/>
                  </a:lnTo>
                  <a:lnTo>
                    <a:pt x="246" y="1773"/>
                  </a:lnTo>
                  <a:lnTo>
                    <a:pt x="246" y="1773"/>
                  </a:lnTo>
                  <a:lnTo>
                    <a:pt x="248" y="1773"/>
                  </a:lnTo>
                  <a:lnTo>
                    <a:pt x="246" y="1772"/>
                  </a:lnTo>
                  <a:lnTo>
                    <a:pt x="246" y="1770"/>
                  </a:lnTo>
                  <a:lnTo>
                    <a:pt x="248" y="1769"/>
                  </a:lnTo>
                  <a:lnTo>
                    <a:pt x="249" y="1769"/>
                  </a:lnTo>
                  <a:lnTo>
                    <a:pt x="249" y="1767"/>
                  </a:lnTo>
                  <a:lnTo>
                    <a:pt x="249" y="1766"/>
                  </a:lnTo>
                  <a:lnTo>
                    <a:pt x="251" y="1764"/>
                  </a:lnTo>
                  <a:lnTo>
                    <a:pt x="252" y="1763"/>
                  </a:lnTo>
                  <a:lnTo>
                    <a:pt x="254" y="1761"/>
                  </a:lnTo>
                  <a:lnTo>
                    <a:pt x="255" y="1758"/>
                  </a:lnTo>
                  <a:lnTo>
                    <a:pt x="255" y="1755"/>
                  </a:lnTo>
                  <a:lnTo>
                    <a:pt x="254" y="1755"/>
                  </a:lnTo>
                  <a:lnTo>
                    <a:pt x="251" y="1757"/>
                  </a:lnTo>
                  <a:lnTo>
                    <a:pt x="249" y="1760"/>
                  </a:lnTo>
                  <a:lnTo>
                    <a:pt x="248" y="1763"/>
                  </a:lnTo>
                  <a:lnTo>
                    <a:pt x="245" y="1766"/>
                  </a:lnTo>
                  <a:lnTo>
                    <a:pt x="231" y="1767"/>
                  </a:lnTo>
                  <a:lnTo>
                    <a:pt x="229" y="1769"/>
                  </a:lnTo>
                  <a:lnTo>
                    <a:pt x="226" y="1770"/>
                  </a:lnTo>
                  <a:lnTo>
                    <a:pt x="220" y="1772"/>
                  </a:lnTo>
                  <a:lnTo>
                    <a:pt x="218" y="1770"/>
                  </a:lnTo>
                  <a:lnTo>
                    <a:pt x="218" y="1769"/>
                  </a:lnTo>
                  <a:lnTo>
                    <a:pt x="220" y="1766"/>
                  </a:lnTo>
                  <a:lnTo>
                    <a:pt x="218" y="1766"/>
                  </a:lnTo>
                  <a:lnTo>
                    <a:pt x="217" y="1769"/>
                  </a:lnTo>
                  <a:lnTo>
                    <a:pt x="217" y="1773"/>
                  </a:lnTo>
                  <a:lnTo>
                    <a:pt x="215" y="1777"/>
                  </a:lnTo>
                  <a:lnTo>
                    <a:pt x="229" y="1778"/>
                  </a:lnTo>
                  <a:lnTo>
                    <a:pt x="229" y="1780"/>
                  </a:lnTo>
                  <a:lnTo>
                    <a:pt x="221" y="1780"/>
                  </a:lnTo>
                  <a:lnTo>
                    <a:pt x="220" y="1780"/>
                  </a:lnTo>
                  <a:lnTo>
                    <a:pt x="217" y="1781"/>
                  </a:lnTo>
                  <a:lnTo>
                    <a:pt x="215" y="1783"/>
                  </a:lnTo>
                  <a:lnTo>
                    <a:pt x="217" y="1784"/>
                  </a:lnTo>
                  <a:lnTo>
                    <a:pt x="218" y="1784"/>
                  </a:lnTo>
                  <a:lnTo>
                    <a:pt x="220" y="1786"/>
                  </a:lnTo>
                  <a:lnTo>
                    <a:pt x="220" y="1787"/>
                  </a:lnTo>
                  <a:lnTo>
                    <a:pt x="220" y="1789"/>
                  </a:lnTo>
                  <a:lnTo>
                    <a:pt x="220" y="1790"/>
                  </a:lnTo>
                  <a:lnTo>
                    <a:pt x="220" y="1792"/>
                  </a:lnTo>
                  <a:lnTo>
                    <a:pt x="220" y="1794"/>
                  </a:lnTo>
                  <a:lnTo>
                    <a:pt x="220" y="1795"/>
                  </a:lnTo>
                  <a:lnTo>
                    <a:pt x="220" y="1800"/>
                  </a:lnTo>
                  <a:lnTo>
                    <a:pt x="221" y="1798"/>
                  </a:lnTo>
                  <a:lnTo>
                    <a:pt x="224" y="1798"/>
                  </a:lnTo>
                  <a:lnTo>
                    <a:pt x="224" y="1797"/>
                  </a:lnTo>
                  <a:lnTo>
                    <a:pt x="228" y="1794"/>
                  </a:lnTo>
                  <a:lnTo>
                    <a:pt x="229" y="1792"/>
                  </a:lnTo>
                  <a:lnTo>
                    <a:pt x="229" y="1794"/>
                  </a:lnTo>
                  <a:lnTo>
                    <a:pt x="228" y="1795"/>
                  </a:lnTo>
                  <a:lnTo>
                    <a:pt x="228" y="1797"/>
                  </a:lnTo>
                  <a:lnTo>
                    <a:pt x="228" y="1798"/>
                  </a:lnTo>
                  <a:lnTo>
                    <a:pt x="229" y="1798"/>
                  </a:lnTo>
                  <a:lnTo>
                    <a:pt x="229" y="1798"/>
                  </a:lnTo>
                  <a:lnTo>
                    <a:pt x="229" y="1800"/>
                  </a:lnTo>
                  <a:lnTo>
                    <a:pt x="229" y="1801"/>
                  </a:lnTo>
                  <a:lnTo>
                    <a:pt x="229" y="1801"/>
                  </a:lnTo>
                  <a:lnTo>
                    <a:pt x="229" y="1800"/>
                  </a:lnTo>
                  <a:lnTo>
                    <a:pt x="229" y="1800"/>
                  </a:lnTo>
                  <a:lnTo>
                    <a:pt x="231" y="1798"/>
                  </a:lnTo>
                  <a:lnTo>
                    <a:pt x="232" y="1797"/>
                  </a:lnTo>
                  <a:lnTo>
                    <a:pt x="234" y="1795"/>
                  </a:lnTo>
                  <a:lnTo>
                    <a:pt x="234" y="1797"/>
                  </a:lnTo>
                  <a:lnTo>
                    <a:pt x="235" y="1800"/>
                  </a:lnTo>
                  <a:lnTo>
                    <a:pt x="237" y="1798"/>
                  </a:lnTo>
                  <a:lnTo>
                    <a:pt x="237" y="1798"/>
                  </a:lnTo>
                  <a:lnTo>
                    <a:pt x="238" y="1798"/>
                  </a:lnTo>
                  <a:lnTo>
                    <a:pt x="240" y="1798"/>
                  </a:lnTo>
                  <a:lnTo>
                    <a:pt x="240" y="1795"/>
                  </a:lnTo>
                  <a:lnTo>
                    <a:pt x="241" y="1795"/>
                  </a:lnTo>
                  <a:lnTo>
                    <a:pt x="240" y="1794"/>
                  </a:lnTo>
                  <a:lnTo>
                    <a:pt x="240" y="1794"/>
                  </a:lnTo>
                  <a:lnTo>
                    <a:pt x="238" y="1794"/>
                  </a:lnTo>
                  <a:lnTo>
                    <a:pt x="238" y="1792"/>
                  </a:lnTo>
                  <a:lnTo>
                    <a:pt x="245" y="1787"/>
                  </a:lnTo>
                  <a:close/>
                  <a:moveTo>
                    <a:pt x="183" y="1757"/>
                  </a:moveTo>
                  <a:lnTo>
                    <a:pt x="183" y="1757"/>
                  </a:lnTo>
                  <a:lnTo>
                    <a:pt x="183" y="1757"/>
                  </a:lnTo>
                  <a:lnTo>
                    <a:pt x="183" y="1757"/>
                  </a:lnTo>
                  <a:lnTo>
                    <a:pt x="184" y="1757"/>
                  </a:lnTo>
                  <a:lnTo>
                    <a:pt x="184" y="1755"/>
                  </a:lnTo>
                  <a:lnTo>
                    <a:pt x="184" y="1755"/>
                  </a:lnTo>
                  <a:lnTo>
                    <a:pt x="184" y="1755"/>
                  </a:lnTo>
                  <a:lnTo>
                    <a:pt x="183" y="1757"/>
                  </a:lnTo>
                  <a:close/>
                  <a:moveTo>
                    <a:pt x="181" y="1757"/>
                  </a:moveTo>
                  <a:lnTo>
                    <a:pt x="183" y="1753"/>
                  </a:lnTo>
                  <a:lnTo>
                    <a:pt x="183" y="1753"/>
                  </a:lnTo>
                  <a:lnTo>
                    <a:pt x="181" y="1752"/>
                  </a:lnTo>
                  <a:lnTo>
                    <a:pt x="178" y="1752"/>
                  </a:lnTo>
                  <a:lnTo>
                    <a:pt x="178" y="1753"/>
                  </a:lnTo>
                  <a:lnTo>
                    <a:pt x="177" y="1753"/>
                  </a:lnTo>
                  <a:lnTo>
                    <a:pt x="175" y="1753"/>
                  </a:lnTo>
                  <a:lnTo>
                    <a:pt x="175" y="1753"/>
                  </a:lnTo>
                  <a:lnTo>
                    <a:pt x="175" y="1757"/>
                  </a:lnTo>
                  <a:lnTo>
                    <a:pt x="177" y="1757"/>
                  </a:lnTo>
                  <a:lnTo>
                    <a:pt x="178" y="1758"/>
                  </a:lnTo>
                  <a:lnTo>
                    <a:pt x="178" y="1758"/>
                  </a:lnTo>
                  <a:lnTo>
                    <a:pt x="180" y="1758"/>
                  </a:lnTo>
                  <a:lnTo>
                    <a:pt x="181" y="1757"/>
                  </a:lnTo>
                  <a:close/>
                  <a:moveTo>
                    <a:pt x="200" y="1761"/>
                  </a:moveTo>
                  <a:lnTo>
                    <a:pt x="204" y="1761"/>
                  </a:lnTo>
                  <a:lnTo>
                    <a:pt x="204" y="1760"/>
                  </a:lnTo>
                  <a:lnTo>
                    <a:pt x="204" y="1760"/>
                  </a:lnTo>
                  <a:lnTo>
                    <a:pt x="206" y="1760"/>
                  </a:lnTo>
                  <a:lnTo>
                    <a:pt x="206" y="1758"/>
                  </a:lnTo>
                  <a:lnTo>
                    <a:pt x="206" y="1758"/>
                  </a:lnTo>
                  <a:lnTo>
                    <a:pt x="208" y="1760"/>
                  </a:lnTo>
                  <a:lnTo>
                    <a:pt x="208" y="1760"/>
                  </a:lnTo>
                  <a:lnTo>
                    <a:pt x="209" y="1760"/>
                  </a:lnTo>
                  <a:lnTo>
                    <a:pt x="209" y="1758"/>
                  </a:lnTo>
                  <a:lnTo>
                    <a:pt x="209" y="1757"/>
                  </a:lnTo>
                  <a:lnTo>
                    <a:pt x="209" y="1755"/>
                  </a:lnTo>
                  <a:lnTo>
                    <a:pt x="203" y="1752"/>
                  </a:lnTo>
                  <a:lnTo>
                    <a:pt x="194" y="1752"/>
                  </a:lnTo>
                  <a:lnTo>
                    <a:pt x="192" y="1752"/>
                  </a:lnTo>
                  <a:lnTo>
                    <a:pt x="191" y="1753"/>
                  </a:lnTo>
                  <a:lnTo>
                    <a:pt x="191" y="1757"/>
                  </a:lnTo>
                  <a:lnTo>
                    <a:pt x="191" y="1760"/>
                  </a:lnTo>
                  <a:lnTo>
                    <a:pt x="191" y="1760"/>
                  </a:lnTo>
                  <a:lnTo>
                    <a:pt x="192" y="1758"/>
                  </a:lnTo>
                  <a:lnTo>
                    <a:pt x="195" y="1760"/>
                  </a:lnTo>
                  <a:lnTo>
                    <a:pt x="197" y="1761"/>
                  </a:lnTo>
                  <a:lnTo>
                    <a:pt x="198" y="1758"/>
                  </a:lnTo>
                  <a:lnTo>
                    <a:pt x="195" y="1758"/>
                  </a:lnTo>
                  <a:lnTo>
                    <a:pt x="197" y="1757"/>
                  </a:lnTo>
                  <a:lnTo>
                    <a:pt x="198" y="1757"/>
                  </a:lnTo>
                  <a:lnTo>
                    <a:pt x="200" y="1758"/>
                  </a:lnTo>
                  <a:lnTo>
                    <a:pt x="201" y="1760"/>
                  </a:lnTo>
                  <a:lnTo>
                    <a:pt x="200" y="1761"/>
                  </a:lnTo>
                  <a:lnTo>
                    <a:pt x="200" y="1761"/>
                  </a:lnTo>
                  <a:close/>
                  <a:moveTo>
                    <a:pt x="214" y="1746"/>
                  </a:moveTo>
                  <a:lnTo>
                    <a:pt x="214" y="1746"/>
                  </a:lnTo>
                  <a:lnTo>
                    <a:pt x="212" y="1746"/>
                  </a:lnTo>
                  <a:lnTo>
                    <a:pt x="211" y="1747"/>
                  </a:lnTo>
                  <a:lnTo>
                    <a:pt x="209" y="1749"/>
                  </a:lnTo>
                  <a:lnTo>
                    <a:pt x="208" y="1752"/>
                  </a:lnTo>
                  <a:lnTo>
                    <a:pt x="211" y="1752"/>
                  </a:lnTo>
                  <a:lnTo>
                    <a:pt x="212" y="1752"/>
                  </a:lnTo>
                  <a:lnTo>
                    <a:pt x="214" y="1752"/>
                  </a:lnTo>
                  <a:lnTo>
                    <a:pt x="212" y="1753"/>
                  </a:lnTo>
                  <a:lnTo>
                    <a:pt x="212" y="1755"/>
                  </a:lnTo>
                  <a:lnTo>
                    <a:pt x="212" y="1755"/>
                  </a:lnTo>
                  <a:lnTo>
                    <a:pt x="214" y="1755"/>
                  </a:lnTo>
                  <a:lnTo>
                    <a:pt x="217" y="1755"/>
                  </a:lnTo>
                  <a:lnTo>
                    <a:pt x="218" y="1753"/>
                  </a:lnTo>
                  <a:lnTo>
                    <a:pt x="220" y="1752"/>
                  </a:lnTo>
                  <a:lnTo>
                    <a:pt x="220" y="1749"/>
                  </a:lnTo>
                  <a:lnTo>
                    <a:pt x="218" y="1749"/>
                  </a:lnTo>
                  <a:lnTo>
                    <a:pt x="217" y="1749"/>
                  </a:lnTo>
                  <a:lnTo>
                    <a:pt x="217" y="1749"/>
                  </a:lnTo>
                  <a:lnTo>
                    <a:pt x="214" y="1749"/>
                  </a:lnTo>
                  <a:lnTo>
                    <a:pt x="214" y="1747"/>
                  </a:lnTo>
                  <a:lnTo>
                    <a:pt x="214" y="1747"/>
                  </a:lnTo>
                  <a:lnTo>
                    <a:pt x="214" y="1746"/>
                  </a:lnTo>
                  <a:close/>
                  <a:moveTo>
                    <a:pt x="197" y="1747"/>
                  </a:moveTo>
                  <a:lnTo>
                    <a:pt x="197" y="1747"/>
                  </a:lnTo>
                  <a:lnTo>
                    <a:pt x="198" y="1749"/>
                  </a:lnTo>
                  <a:lnTo>
                    <a:pt x="200" y="1747"/>
                  </a:lnTo>
                  <a:lnTo>
                    <a:pt x="206" y="1746"/>
                  </a:lnTo>
                  <a:lnTo>
                    <a:pt x="208" y="1744"/>
                  </a:lnTo>
                  <a:lnTo>
                    <a:pt x="206" y="1743"/>
                  </a:lnTo>
                  <a:lnTo>
                    <a:pt x="203" y="1743"/>
                  </a:lnTo>
                  <a:lnTo>
                    <a:pt x="197" y="1746"/>
                  </a:lnTo>
                  <a:lnTo>
                    <a:pt x="197" y="1746"/>
                  </a:lnTo>
                  <a:lnTo>
                    <a:pt x="197" y="1747"/>
                  </a:lnTo>
                  <a:close/>
                  <a:moveTo>
                    <a:pt x="195" y="1743"/>
                  </a:moveTo>
                  <a:lnTo>
                    <a:pt x="195" y="1743"/>
                  </a:lnTo>
                  <a:lnTo>
                    <a:pt x="194" y="1744"/>
                  </a:lnTo>
                  <a:lnTo>
                    <a:pt x="192" y="1746"/>
                  </a:lnTo>
                  <a:lnTo>
                    <a:pt x="192" y="1746"/>
                  </a:lnTo>
                  <a:lnTo>
                    <a:pt x="200" y="1743"/>
                  </a:lnTo>
                  <a:lnTo>
                    <a:pt x="200" y="1743"/>
                  </a:lnTo>
                  <a:lnTo>
                    <a:pt x="195" y="1743"/>
                  </a:lnTo>
                  <a:close/>
                  <a:moveTo>
                    <a:pt x="135" y="1746"/>
                  </a:moveTo>
                  <a:lnTo>
                    <a:pt x="135" y="1746"/>
                  </a:lnTo>
                  <a:lnTo>
                    <a:pt x="137" y="1747"/>
                  </a:lnTo>
                  <a:lnTo>
                    <a:pt x="137" y="1747"/>
                  </a:lnTo>
                  <a:lnTo>
                    <a:pt x="137" y="1746"/>
                  </a:lnTo>
                  <a:lnTo>
                    <a:pt x="137" y="1744"/>
                  </a:lnTo>
                  <a:lnTo>
                    <a:pt x="135" y="1741"/>
                  </a:lnTo>
                  <a:lnTo>
                    <a:pt x="134" y="1741"/>
                  </a:lnTo>
                  <a:lnTo>
                    <a:pt x="134" y="1741"/>
                  </a:lnTo>
                  <a:lnTo>
                    <a:pt x="132" y="1741"/>
                  </a:lnTo>
                  <a:lnTo>
                    <a:pt x="132" y="1743"/>
                  </a:lnTo>
                  <a:lnTo>
                    <a:pt x="132" y="1744"/>
                  </a:lnTo>
                  <a:lnTo>
                    <a:pt x="132" y="1744"/>
                  </a:lnTo>
                  <a:lnTo>
                    <a:pt x="134" y="1744"/>
                  </a:lnTo>
                  <a:lnTo>
                    <a:pt x="135" y="1744"/>
                  </a:lnTo>
                  <a:lnTo>
                    <a:pt x="135" y="1744"/>
                  </a:lnTo>
                  <a:lnTo>
                    <a:pt x="135" y="1746"/>
                  </a:lnTo>
                  <a:lnTo>
                    <a:pt x="135" y="1746"/>
                  </a:lnTo>
                  <a:close/>
                  <a:moveTo>
                    <a:pt x="526" y="1732"/>
                  </a:moveTo>
                  <a:lnTo>
                    <a:pt x="526" y="1732"/>
                  </a:lnTo>
                  <a:lnTo>
                    <a:pt x="526" y="1733"/>
                  </a:lnTo>
                  <a:lnTo>
                    <a:pt x="525" y="1733"/>
                  </a:lnTo>
                  <a:lnTo>
                    <a:pt x="525" y="1735"/>
                  </a:lnTo>
                  <a:lnTo>
                    <a:pt x="525" y="1737"/>
                  </a:lnTo>
                  <a:lnTo>
                    <a:pt x="525" y="1737"/>
                  </a:lnTo>
                  <a:lnTo>
                    <a:pt x="520" y="1738"/>
                  </a:lnTo>
                  <a:lnTo>
                    <a:pt x="520" y="1738"/>
                  </a:lnTo>
                  <a:lnTo>
                    <a:pt x="522" y="1741"/>
                  </a:lnTo>
                  <a:lnTo>
                    <a:pt x="522" y="1743"/>
                  </a:lnTo>
                  <a:lnTo>
                    <a:pt x="523" y="1743"/>
                  </a:lnTo>
                  <a:lnTo>
                    <a:pt x="523" y="1740"/>
                  </a:lnTo>
                  <a:lnTo>
                    <a:pt x="525" y="1738"/>
                  </a:lnTo>
                  <a:lnTo>
                    <a:pt x="529" y="1737"/>
                  </a:lnTo>
                  <a:lnTo>
                    <a:pt x="531" y="1737"/>
                  </a:lnTo>
                  <a:lnTo>
                    <a:pt x="531" y="1735"/>
                  </a:lnTo>
                  <a:lnTo>
                    <a:pt x="531" y="1735"/>
                  </a:lnTo>
                  <a:lnTo>
                    <a:pt x="526" y="1732"/>
                  </a:lnTo>
                  <a:close/>
                  <a:moveTo>
                    <a:pt x="172" y="1738"/>
                  </a:moveTo>
                  <a:lnTo>
                    <a:pt x="171" y="1738"/>
                  </a:lnTo>
                  <a:lnTo>
                    <a:pt x="169" y="1740"/>
                  </a:lnTo>
                  <a:lnTo>
                    <a:pt x="169" y="1741"/>
                  </a:lnTo>
                  <a:lnTo>
                    <a:pt x="169" y="1743"/>
                  </a:lnTo>
                  <a:lnTo>
                    <a:pt x="171" y="1744"/>
                  </a:lnTo>
                  <a:lnTo>
                    <a:pt x="172" y="1746"/>
                  </a:lnTo>
                  <a:lnTo>
                    <a:pt x="175" y="1746"/>
                  </a:lnTo>
                  <a:lnTo>
                    <a:pt x="175" y="1747"/>
                  </a:lnTo>
                  <a:lnTo>
                    <a:pt x="177" y="1749"/>
                  </a:lnTo>
                  <a:lnTo>
                    <a:pt x="177" y="1749"/>
                  </a:lnTo>
                  <a:lnTo>
                    <a:pt x="177" y="1750"/>
                  </a:lnTo>
                  <a:lnTo>
                    <a:pt x="177" y="1750"/>
                  </a:lnTo>
                  <a:lnTo>
                    <a:pt x="178" y="1750"/>
                  </a:lnTo>
                  <a:lnTo>
                    <a:pt x="178" y="1750"/>
                  </a:lnTo>
                  <a:lnTo>
                    <a:pt x="178" y="1749"/>
                  </a:lnTo>
                  <a:lnTo>
                    <a:pt x="178" y="1749"/>
                  </a:lnTo>
                  <a:lnTo>
                    <a:pt x="180" y="1750"/>
                  </a:lnTo>
                  <a:lnTo>
                    <a:pt x="181" y="1750"/>
                  </a:lnTo>
                  <a:lnTo>
                    <a:pt x="183" y="1750"/>
                  </a:lnTo>
                  <a:lnTo>
                    <a:pt x="184" y="1749"/>
                  </a:lnTo>
                  <a:lnTo>
                    <a:pt x="184" y="1749"/>
                  </a:lnTo>
                  <a:lnTo>
                    <a:pt x="183" y="1749"/>
                  </a:lnTo>
                  <a:lnTo>
                    <a:pt x="183" y="1747"/>
                  </a:lnTo>
                  <a:lnTo>
                    <a:pt x="181" y="1747"/>
                  </a:lnTo>
                  <a:lnTo>
                    <a:pt x="183" y="1747"/>
                  </a:lnTo>
                  <a:lnTo>
                    <a:pt x="184" y="1746"/>
                  </a:lnTo>
                  <a:lnTo>
                    <a:pt x="183" y="1744"/>
                  </a:lnTo>
                  <a:lnTo>
                    <a:pt x="183" y="1744"/>
                  </a:lnTo>
                  <a:lnTo>
                    <a:pt x="180" y="1744"/>
                  </a:lnTo>
                  <a:lnTo>
                    <a:pt x="181" y="1743"/>
                  </a:lnTo>
                  <a:lnTo>
                    <a:pt x="180" y="1743"/>
                  </a:lnTo>
                  <a:lnTo>
                    <a:pt x="178" y="1741"/>
                  </a:lnTo>
                  <a:lnTo>
                    <a:pt x="177" y="1740"/>
                  </a:lnTo>
                  <a:lnTo>
                    <a:pt x="178" y="1740"/>
                  </a:lnTo>
                  <a:lnTo>
                    <a:pt x="178" y="1740"/>
                  </a:lnTo>
                  <a:lnTo>
                    <a:pt x="181" y="1740"/>
                  </a:lnTo>
                  <a:lnTo>
                    <a:pt x="181" y="1740"/>
                  </a:lnTo>
                  <a:lnTo>
                    <a:pt x="180" y="1737"/>
                  </a:lnTo>
                  <a:lnTo>
                    <a:pt x="178" y="1735"/>
                  </a:lnTo>
                  <a:lnTo>
                    <a:pt x="178" y="1735"/>
                  </a:lnTo>
                  <a:lnTo>
                    <a:pt x="177" y="1735"/>
                  </a:lnTo>
                  <a:lnTo>
                    <a:pt x="177" y="1733"/>
                  </a:lnTo>
                  <a:lnTo>
                    <a:pt x="177" y="1732"/>
                  </a:lnTo>
                  <a:lnTo>
                    <a:pt x="174" y="1730"/>
                  </a:lnTo>
                  <a:lnTo>
                    <a:pt x="172" y="1729"/>
                  </a:lnTo>
                  <a:lnTo>
                    <a:pt x="171" y="1729"/>
                  </a:lnTo>
                  <a:lnTo>
                    <a:pt x="171" y="1729"/>
                  </a:lnTo>
                  <a:lnTo>
                    <a:pt x="169" y="1730"/>
                  </a:lnTo>
                  <a:lnTo>
                    <a:pt x="169" y="1733"/>
                  </a:lnTo>
                  <a:lnTo>
                    <a:pt x="174" y="1737"/>
                  </a:lnTo>
                  <a:lnTo>
                    <a:pt x="174" y="1738"/>
                  </a:lnTo>
                  <a:lnTo>
                    <a:pt x="172" y="1738"/>
                  </a:lnTo>
                  <a:close/>
                  <a:moveTo>
                    <a:pt x="163" y="1729"/>
                  </a:moveTo>
                  <a:lnTo>
                    <a:pt x="164" y="1727"/>
                  </a:lnTo>
                  <a:lnTo>
                    <a:pt x="166" y="1724"/>
                  </a:lnTo>
                  <a:lnTo>
                    <a:pt x="166" y="1723"/>
                  </a:lnTo>
                  <a:lnTo>
                    <a:pt x="168" y="1721"/>
                  </a:lnTo>
                  <a:lnTo>
                    <a:pt x="166" y="1720"/>
                  </a:lnTo>
                  <a:lnTo>
                    <a:pt x="163" y="1723"/>
                  </a:lnTo>
                  <a:lnTo>
                    <a:pt x="161" y="1727"/>
                  </a:lnTo>
                  <a:lnTo>
                    <a:pt x="161" y="1729"/>
                  </a:lnTo>
                  <a:lnTo>
                    <a:pt x="161" y="1730"/>
                  </a:lnTo>
                  <a:lnTo>
                    <a:pt x="163" y="1730"/>
                  </a:lnTo>
                  <a:lnTo>
                    <a:pt x="163" y="1729"/>
                  </a:lnTo>
                  <a:close/>
                  <a:moveTo>
                    <a:pt x="134" y="1727"/>
                  </a:moveTo>
                  <a:lnTo>
                    <a:pt x="134" y="1727"/>
                  </a:lnTo>
                  <a:lnTo>
                    <a:pt x="134" y="1723"/>
                  </a:lnTo>
                  <a:lnTo>
                    <a:pt x="132" y="1721"/>
                  </a:lnTo>
                  <a:lnTo>
                    <a:pt x="131" y="1718"/>
                  </a:lnTo>
                  <a:lnTo>
                    <a:pt x="129" y="1715"/>
                  </a:lnTo>
                  <a:lnTo>
                    <a:pt x="127" y="1715"/>
                  </a:lnTo>
                  <a:lnTo>
                    <a:pt x="127" y="1718"/>
                  </a:lnTo>
                  <a:lnTo>
                    <a:pt x="129" y="1720"/>
                  </a:lnTo>
                  <a:lnTo>
                    <a:pt x="129" y="1721"/>
                  </a:lnTo>
                  <a:lnTo>
                    <a:pt x="129" y="1724"/>
                  </a:lnTo>
                  <a:lnTo>
                    <a:pt x="131" y="1726"/>
                  </a:lnTo>
                  <a:lnTo>
                    <a:pt x="132" y="1726"/>
                  </a:lnTo>
                  <a:lnTo>
                    <a:pt x="134" y="1727"/>
                  </a:lnTo>
                  <a:close/>
                  <a:moveTo>
                    <a:pt x="144" y="1718"/>
                  </a:moveTo>
                  <a:lnTo>
                    <a:pt x="141" y="1718"/>
                  </a:lnTo>
                  <a:lnTo>
                    <a:pt x="140" y="1715"/>
                  </a:lnTo>
                  <a:lnTo>
                    <a:pt x="137" y="1715"/>
                  </a:lnTo>
                  <a:lnTo>
                    <a:pt x="135" y="1715"/>
                  </a:lnTo>
                  <a:lnTo>
                    <a:pt x="134" y="1718"/>
                  </a:lnTo>
                  <a:lnTo>
                    <a:pt x="135" y="1721"/>
                  </a:lnTo>
                  <a:lnTo>
                    <a:pt x="135" y="1721"/>
                  </a:lnTo>
                  <a:lnTo>
                    <a:pt x="135" y="1721"/>
                  </a:lnTo>
                  <a:lnTo>
                    <a:pt x="137" y="1720"/>
                  </a:lnTo>
                  <a:lnTo>
                    <a:pt x="138" y="1723"/>
                  </a:lnTo>
                  <a:lnTo>
                    <a:pt x="140" y="1726"/>
                  </a:lnTo>
                  <a:lnTo>
                    <a:pt x="141" y="1727"/>
                  </a:lnTo>
                  <a:lnTo>
                    <a:pt x="143" y="1729"/>
                  </a:lnTo>
                  <a:lnTo>
                    <a:pt x="143" y="1727"/>
                  </a:lnTo>
                  <a:lnTo>
                    <a:pt x="143" y="1726"/>
                  </a:lnTo>
                  <a:lnTo>
                    <a:pt x="143" y="1726"/>
                  </a:lnTo>
                  <a:lnTo>
                    <a:pt x="144" y="1726"/>
                  </a:lnTo>
                  <a:lnTo>
                    <a:pt x="144" y="1724"/>
                  </a:lnTo>
                  <a:lnTo>
                    <a:pt x="144" y="1723"/>
                  </a:lnTo>
                  <a:lnTo>
                    <a:pt x="144" y="1721"/>
                  </a:lnTo>
                  <a:lnTo>
                    <a:pt x="144" y="1721"/>
                  </a:lnTo>
                  <a:lnTo>
                    <a:pt x="144" y="1721"/>
                  </a:lnTo>
                  <a:lnTo>
                    <a:pt x="146" y="1721"/>
                  </a:lnTo>
                  <a:lnTo>
                    <a:pt x="146" y="1721"/>
                  </a:lnTo>
                  <a:lnTo>
                    <a:pt x="146" y="1721"/>
                  </a:lnTo>
                  <a:lnTo>
                    <a:pt x="144" y="1718"/>
                  </a:lnTo>
                  <a:close/>
                  <a:moveTo>
                    <a:pt x="129" y="1710"/>
                  </a:moveTo>
                  <a:lnTo>
                    <a:pt x="129" y="1710"/>
                  </a:lnTo>
                  <a:lnTo>
                    <a:pt x="131" y="1712"/>
                  </a:lnTo>
                  <a:lnTo>
                    <a:pt x="131" y="1713"/>
                  </a:lnTo>
                  <a:lnTo>
                    <a:pt x="131" y="1715"/>
                  </a:lnTo>
                  <a:lnTo>
                    <a:pt x="132" y="1713"/>
                  </a:lnTo>
                  <a:lnTo>
                    <a:pt x="132" y="1713"/>
                  </a:lnTo>
                  <a:lnTo>
                    <a:pt x="131" y="1713"/>
                  </a:lnTo>
                  <a:lnTo>
                    <a:pt x="131" y="1712"/>
                  </a:lnTo>
                  <a:lnTo>
                    <a:pt x="131" y="1709"/>
                  </a:lnTo>
                  <a:lnTo>
                    <a:pt x="132" y="1707"/>
                  </a:lnTo>
                  <a:lnTo>
                    <a:pt x="131" y="1706"/>
                  </a:lnTo>
                  <a:lnTo>
                    <a:pt x="131" y="1706"/>
                  </a:lnTo>
                  <a:lnTo>
                    <a:pt x="131" y="1704"/>
                  </a:lnTo>
                  <a:lnTo>
                    <a:pt x="131" y="1703"/>
                  </a:lnTo>
                  <a:lnTo>
                    <a:pt x="129" y="1703"/>
                  </a:lnTo>
                  <a:lnTo>
                    <a:pt x="129" y="1703"/>
                  </a:lnTo>
                  <a:lnTo>
                    <a:pt x="129" y="1704"/>
                  </a:lnTo>
                  <a:lnTo>
                    <a:pt x="127" y="1704"/>
                  </a:lnTo>
                  <a:lnTo>
                    <a:pt x="126" y="1706"/>
                  </a:lnTo>
                  <a:lnTo>
                    <a:pt x="126" y="1707"/>
                  </a:lnTo>
                  <a:lnTo>
                    <a:pt x="126" y="1709"/>
                  </a:lnTo>
                  <a:lnTo>
                    <a:pt x="127" y="1710"/>
                  </a:lnTo>
                  <a:lnTo>
                    <a:pt x="129" y="1710"/>
                  </a:lnTo>
                  <a:close/>
                  <a:moveTo>
                    <a:pt x="129" y="1673"/>
                  </a:moveTo>
                  <a:lnTo>
                    <a:pt x="131" y="1673"/>
                  </a:lnTo>
                  <a:lnTo>
                    <a:pt x="131" y="1670"/>
                  </a:lnTo>
                  <a:lnTo>
                    <a:pt x="129" y="1670"/>
                  </a:lnTo>
                  <a:lnTo>
                    <a:pt x="129" y="1672"/>
                  </a:lnTo>
                  <a:lnTo>
                    <a:pt x="129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6" y="1670"/>
                  </a:lnTo>
                  <a:lnTo>
                    <a:pt x="126" y="1669"/>
                  </a:lnTo>
                  <a:lnTo>
                    <a:pt x="124" y="1669"/>
                  </a:lnTo>
                  <a:lnTo>
                    <a:pt x="124" y="1670"/>
                  </a:lnTo>
                  <a:lnTo>
                    <a:pt x="124" y="1670"/>
                  </a:lnTo>
                  <a:lnTo>
                    <a:pt x="124" y="1672"/>
                  </a:lnTo>
                  <a:lnTo>
                    <a:pt x="124" y="1672"/>
                  </a:lnTo>
                  <a:lnTo>
                    <a:pt x="126" y="1672"/>
                  </a:lnTo>
                  <a:lnTo>
                    <a:pt x="126" y="1672"/>
                  </a:lnTo>
                  <a:lnTo>
                    <a:pt x="129" y="1673"/>
                  </a:lnTo>
                  <a:lnTo>
                    <a:pt x="129" y="1673"/>
                  </a:lnTo>
                  <a:close/>
                  <a:moveTo>
                    <a:pt x="127" y="1664"/>
                  </a:moveTo>
                  <a:lnTo>
                    <a:pt x="124" y="1666"/>
                  </a:lnTo>
                  <a:lnTo>
                    <a:pt x="126" y="1666"/>
                  </a:lnTo>
                  <a:lnTo>
                    <a:pt x="127" y="1666"/>
                  </a:lnTo>
                  <a:lnTo>
                    <a:pt x="129" y="1666"/>
                  </a:lnTo>
                  <a:lnTo>
                    <a:pt x="131" y="1666"/>
                  </a:lnTo>
                  <a:lnTo>
                    <a:pt x="132" y="1667"/>
                  </a:lnTo>
                  <a:lnTo>
                    <a:pt x="134" y="1667"/>
                  </a:lnTo>
                  <a:lnTo>
                    <a:pt x="134" y="1666"/>
                  </a:lnTo>
                  <a:lnTo>
                    <a:pt x="135" y="1663"/>
                  </a:lnTo>
                  <a:lnTo>
                    <a:pt x="135" y="1661"/>
                  </a:lnTo>
                  <a:lnTo>
                    <a:pt x="137" y="1661"/>
                  </a:lnTo>
                  <a:lnTo>
                    <a:pt x="138" y="1660"/>
                  </a:lnTo>
                  <a:lnTo>
                    <a:pt x="135" y="1656"/>
                  </a:lnTo>
                  <a:lnTo>
                    <a:pt x="134" y="1655"/>
                  </a:lnTo>
                  <a:lnTo>
                    <a:pt x="132" y="1652"/>
                  </a:lnTo>
                  <a:lnTo>
                    <a:pt x="131" y="1652"/>
                  </a:lnTo>
                  <a:lnTo>
                    <a:pt x="131" y="1653"/>
                  </a:lnTo>
                  <a:lnTo>
                    <a:pt x="127" y="1656"/>
                  </a:lnTo>
                  <a:lnTo>
                    <a:pt x="131" y="1656"/>
                  </a:lnTo>
                  <a:lnTo>
                    <a:pt x="131" y="1656"/>
                  </a:lnTo>
                  <a:lnTo>
                    <a:pt x="134" y="1660"/>
                  </a:lnTo>
                  <a:lnTo>
                    <a:pt x="134" y="1661"/>
                  </a:lnTo>
                  <a:lnTo>
                    <a:pt x="132" y="1661"/>
                  </a:lnTo>
                  <a:lnTo>
                    <a:pt x="132" y="1663"/>
                  </a:lnTo>
                  <a:lnTo>
                    <a:pt x="132" y="1663"/>
                  </a:lnTo>
                  <a:lnTo>
                    <a:pt x="132" y="1663"/>
                  </a:lnTo>
                  <a:lnTo>
                    <a:pt x="132" y="1664"/>
                  </a:lnTo>
                  <a:lnTo>
                    <a:pt x="132" y="1664"/>
                  </a:lnTo>
                  <a:lnTo>
                    <a:pt x="131" y="1666"/>
                  </a:lnTo>
                  <a:lnTo>
                    <a:pt x="127" y="1664"/>
                  </a:lnTo>
                  <a:close/>
                  <a:moveTo>
                    <a:pt x="135" y="1618"/>
                  </a:moveTo>
                  <a:lnTo>
                    <a:pt x="135" y="1620"/>
                  </a:lnTo>
                  <a:lnTo>
                    <a:pt x="135" y="1620"/>
                  </a:lnTo>
                  <a:lnTo>
                    <a:pt x="137" y="1621"/>
                  </a:lnTo>
                  <a:lnTo>
                    <a:pt x="137" y="1621"/>
                  </a:lnTo>
                  <a:lnTo>
                    <a:pt x="135" y="1621"/>
                  </a:lnTo>
                  <a:lnTo>
                    <a:pt x="137" y="1621"/>
                  </a:lnTo>
                  <a:lnTo>
                    <a:pt x="138" y="1621"/>
                  </a:lnTo>
                  <a:lnTo>
                    <a:pt x="138" y="1621"/>
                  </a:lnTo>
                  <a:lnTo>
                    <a:pt x="141" y="1621"/>
                  </a:lnTo>
                  <a:lnTo>
                    <a:pt x="143" y="1623"/>
                  </a:lnTo>
                  <a:lnTo>
                    <a:pt x="141" y="1621"/>
                  </a:lnTo>
                  <a:lnTo>
                    <a:pt x="141" y="1621"/>
                  </a:lnTo>
                  <a:lnTo>
                    <a:pt x="140" y="1618"/>
                  </a:lnTo>
                  <a:lnTo>
                    <a:pt x="138" y="1618"/>
                  </a:lnTo>
                  <a:lnTo>
                    <a:pt x="140" y="1616"/>
                  </a:lnTo>
                  <a:lnTo>
                    <a:pt x="138" y="1615"/>
                  </a:lnTo>
                  <a:lnTo>
                    <a:pt x="137" y="1616"/>
                  </a:lnTo>
                  <a:lnTo>
                    <a:pt x="137" y="1616"/>
                  </a:lnTo>
                  <a:lnTo>
                    <a:pt x="137" y="1618"/>
                  </a:lnTo>
                  <a:lnTo>
                    <a:pt x="137" y="1618"/>
                  </a:lnTo>
                  <a:lnTo>
                    <a:pt x="135" y="1618"/>
                  </a:lnTo>
                  <a:close/>
                  <a:moveTo>
                    <a:pt x="146" y="1552"/>
                  </a:moveTo>
                  <a:lnTo>
                    <a:pt x="147" y="1553"/>
                  </a:lnTo>
                  <a:lnTo>
                    <a:pt x="147" y="1553"/>
                  </a:lnTo>
                  <a:lnTo>
                    <a:pt x="147" y="1552"/>
                  </a:lnTo>
                  <a:lnTo>
                    <a:pt x="149" y="1552"/>
                  </a:lnTo>
                  <a:lnTo>
                    <a:pt x="149" y="1552"/>
                  </a:lnTo>
                  <a:lnTo>
                    <a:pt x="149" y="1550"/>
                  </a:lnTo>
                  <a:lnTo>
                    <a:pt x="149" y="1550"/>
                  </a:lnTo>
                  <a:lnTo>
                    <a:pt x="149" y="1550"/>
                  </a:lnTo>
                  <a:lnTo>
                    <a:pt x="146" y="1549"/>
                  </a:lnTo>
                  <a:lnTo>
                    <a:pt x="144" y="1550"/>
                  </a:lnTo>
                  <a:lnTo>
                    <a:pt x="144" y="1550"/>
                  </a:lnTo>
                  <a:lnTo>
                    <a:pt x="144" y="1552"/>
                  </a:lnTo>
                  <a:lnTo>
                    <a:pt x="146" y="1552"/>
                  </a:lnTo>
                  <a:close/>
                  <a:moveTo>
                    <a:pt x="121" y="1338"/>
                  </a:moveTo>
                  <a:lnTo>
                    <a:pt x="121" y="1338"/>
                  </a:lnTo>
                  <a:lnTo>
                    <a:pt x="121" y="1336"/>
                  </a:lnTo>
                  <a:lnTo>
                    <a:pt x="120" y="1336"/>
                  </a:lnTo>
                  <a:lnTo>
                    <a:pt x="120" y="1338"/>
                  </a:lnTo>
                  <a:lnTo>
                    <a:pt x="121" y="1339"/>
                  </a:lnTo>
                  <a:lnTo>
                    <a:pt x="123" y="1341"/>
                  </a:lnTo>
                  <a:lnTo>
                    <a:pt x="124" y="1339"/>
                  </a:lnTo>
                  <a:lnTo>
                    <a:pt x="124" y="1339"/>
                  </a:lnTo>
                  <a:lnTo>
                    <a:pt x="126" y="1341"/>
                  </a:lnTo>
                  <a:lnTo>
                    <a:pt x="126" y="1341"/>
                  </a:lnTo>
                  <a:lnTo>
                    <a:pt x="126" y="1339"/>
                  </a:lnTo>
                  <a:lnTo>
                    <a:pt x="126" y="1338"/>
                  </a:lnTo>
                  <a:lnTo>
                    <a:pt x="126" y="1336"/>
                  </a:lnTo>
                  <a:lnTo>
                    <a:pt x="126" y="1333"/>
                  </a:lnTo>
                  <a:lnTo>
                    <a:pt x="124" y="1333"/>
                  </a:lnTo>
                  <a:lnTo>
                    <a:pt x="124" y="1332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0" y="1330"/>
                  </a:lnTo>
                  <a:lnTo>
                    <a:pt x="120" y="1332"/>
                  </a:lnTo>
                  <a:lnTo>
                    <a:pt x="120" y="1333"/>
                  </a:lnTo>
                  <a:lnTo>
                    <a:pt x="120" y="1335"/>
                  </a:lnTo>
                  <a:lnTo>
                    <a:pt x="121" y="1335"/>
                  </a:lnTo>
                  <a:lnTo>
                    <a:pt x="121" y="1336"/>
                  </a:lnTo>
                  <a:lnTo>
                    <a:pt x="121" y="1336"/>
                  </a:lnTo>
                  <a:lnTo>
                    <a:pt x="121" y="1338"/>
                  </a:lnTo>
                  <a:close/>
                  <a:moveTo>
                    <a:pt x="121" y="1287"/>
                  </a:moveTo>
                  <a:lnTo>
                    <a:pt x="120" y="1287"/>
                  </a:lnTo>
                  <a:lnTo>
                    <a:pt x="117" y="1284"/>
                  </a:lnTo>
                  <a:lnTo>
                    <a:pt x="117" y="1285"/>
                  </a:lnTo>
                  <a:lnTo>
                    <a:pt x="117" y="1292"/>
                  </a:lnTo>
                  <a:lnTo>
                    <a:pt x="118" y="1293"/>
                  </a:lnTo>
                  <a:lnTo>
                    <a:pt x="118" y="1295"/>
                  </a:lnTo>
                  <a:lnTo>
                    <a:pt x="121" y="1296"/>
                  </a:lnTo>
                  <a:lnTo>
                    <a:pt x="121" y="1298"/>
                  </a:lnTo>
                  <a:lnTo>
                    <a:pt x="121" y="1299"/>
                  </a:lnTo>
                  <a:lnTo>
                    <a:pt x="120" y="1299"/>
                  </a:lnTo>
                  <a:lnTo>
                    <a:pt x="121" y="1302"/>
                  </a:lnTo>
                  <a:lnTo>
                    <a:pt x="123" y="1302"/>
                  </a:lnTo>
                  <a:lnTo>
                    <a:pt x="123" y="1301"/>
                  </a:lnTo>
                  <a:lnTo>
                    <a:pt x="124" y="1301"/>
                  </a:lnTo>
                  <a:lnTo>
                    <a:pt x="126" y="1301"/>
                  </a:lnTo>
                  <a:lnTo>
                    <a:pt x="126" y="1304"/>
                  </a:lnTo>
                  <a:lnTo>
                    <a:pt x="127" y="1305"/>
                  </a:lnTo>
                  <a:lnTo>
                    <a:pt x="127" y="1307"/>
                  </a:lnTo>
                  <a:lnTo>
                    <a:pt x="131" y="1307"/>
                  </a:lnTo>
                  <a:lnTo>
                    <a:pt x="132" y="1305"/>
                  </a:lnTo>
                  <a:lnTo>
                    <a:pt x="134" y="1304"/>
                  </a:lnTo>
                  <a:lnTo>
                    <a:pt x="132" y="1304"/>
                  </a:lnTo>
                  <a:lnTo>
                    <a:pt x="132" y="1304"/>
                  </a:lnTo>
                  <a:lnTo>
                    <a:pt x="132" y="1302"/>
                  </a:lnTo>
                  <a:lnTo>
                    <a:pt x="137" y="1298"/>
                  </a:lnTo>
                  <a:lnTo>
                    <a:pt x="138" y="1298"/>
                  </a:lnTo>
                  <a:lnTo>
                    <a:pt x="137" y="1299"/>
                  </a:lnTo>
                  <a:lnTo>
                    <a:pt x="138" y="1301"/>
                  </a:lnTo>
                  <a:lnTo>
                    <a:pt x="140" y="1299"/>
                  </a:lnTo>
                  <a:lnTo>
                    <a:pt x="141" y="1299"/>
                  </a:lnTo>
                  <a:lnTo>
                    <a:pt x="141" y="1298"/>
                  </a:lnTo>
                  <a:lnTo>
                    <a:pt x="141" y="1295"/>
                  </a:lnTo>
                  <a:lnTo>
                    <a:pt x="141" y="1293"/>
                  </a:lnTo>
                  <a:lnTo>
                    <a:pt x="141" y="1292"/>
                  </a:lnTo>
                  <a:lnTo>
                    <a:pt x="140" y="1288"/>
                  </a:lnTo>
                  <a:lnTo>
                    <a:pt x="137" y="1288"/>
                  </a:lnTo>
                  <a:lnTo>
                    <a:pt x="134" y="1290"/>
                  </a:lnTo>
                  <a:lnTo>
                    <a:pt x="132" y="1292"/>
                  </a:lnTo>
                  <a:lnTo>
                    <a:pt x="132" y="1293"/>
                  </a:lnTo>
                  <a:lnTo>
                    <a:pt x="132" y="1295"/>
                  </a:lnTo>
                  <a:lnTo>
                    <a:pt x="132" y="1295"/>
                  </a:lnTo>
                  <a:lnTo>
                    <a:pt x="132" y="1296"/>
                  </a:lnTo>
                  <a:lnTo>
                    <a:pt x="132" y="1296"/>
                  </a:lnTo>
                  <a:lnTo>
                    <a:pt x="131" y="1296"/>
                  </a:lnTo>
                  <a:lnTo>
                    <a:pt x="131" y="1296"/>
                  </a:lnTo>
                  <a:lnTo>
                    <a:pt x="129" y="1296"/>
                  </a:lnTo>
                  <a:lnTo>
                    <a:pt x="126" y="1295"/>
                  </a:lnTo>
                  <a:lnTo>
                    <a:pt x="124" y="1295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4" y="1292"/>
                  </a:lnTo>
                  <a:lnTo>
                    <a:pt x="126" y="1288"/>
                  </a:lnTo>
                  <a:lnTo>
                    <a:pt x="127" y="1287"/>
                  </a:lnTo>
                  <a:lnTo>
                    <a:pt x="127" y="1287"/>
                  </a:lnTo>
                  <a:lnTo>
                    <a:pt x="127" y="1285"/>
                  </a:lnTo>
                  <a:lnTo>
                    <a:pt x="124" y="1285"/>
                  </a:lnTo>
                  <a:lnTo>
                    <a:pt x="121" y="1287"/>
                  </a:lnTo>
                  <a:close/>
                  <a:moveTo>
                    <a:pt x="186" y="1285"/>
                  </a:moveTo>
                  <a:lnTo>
                    <a:pt x="186" y="1285"/>
                  </a:lnTo>
                  <a:lnTo>
                    <a:pt x="188" y="1285"/>
                  </a:lnTo>
                  <a:lnTo>
                    <a:pt x="189" y="1282"/>
                  </a:lnTo>
                  <a:lnTo>
                    <a:pt x="189" y="1282"/>
                  </a:lnTo>
                  <a:lnTo>
                    <a:pt x="188" y="1279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4" y="1278"/>
                  </a:lnTo>
                  <a:lnTo>
                    <a:pt x="186" y="1279"/>
                  </a:lnTo>
                  <a:lnTo>
                    <a:pt x="186" y="1279"/>
                  </a:lnTo>
                  <a:lnTo>
                    <a:pt x="186" y="1281"/>
                  </a:lnTo>
                  <a:lnTo>
                    <a:pt x="186" y="1281"/>
                  </a:lnTo>
                  <a:lnTo>
                    <a:pt x="184" y="1279"/>
                  </a:lnTo>
                  <a:lnTo>
                    <a:pt x="184" y="1281"/>
                  </a:lnTo>
                  <a:lnTo>
                    <a:pt x="183" y="1282"/>
                  </a:lnTo>
                  <a:lnTo>
                    <a:pt x="183" y="1284"/>
                  </a:lnTo>
                  <a:lnTo>
                    <a:pt x="183" y="1285"/>
                  </a:lnTo>
                  <a:lnTo>
                    <a:pt x="183" y="1285"/>
                  </a:lnTo>
                  <a:lnTo>
                    <a:pt x="184" y="1285"/>
                  </a:lnTo>
                  <a:lnTo>
                    <a:pt x="184" y="1285"/>
                  </a:lnTo>
                  <a:lnTo>
                    <a:pt x="184" y="1285"/>
                  </a:lnTo>
                  <a:lnTo>
                    <a:pt x="184" y="1284"/>
                  </a:lnTo>
                  <a:lnTo>
                    <a:pt x="184" y="1284"/>
                  </a:lnTo>
                  <a:lnTo>
                    <a:pt x="184" y="1284"/>
                  </a:lnTo>
                  <a:lnTo>
                    <a:pt x="184" y="1285"/>
                  </a:lnTo>
                  <a:lnTo>
                    <a:pt x="186" y="1285"/>
                  </a:lnTo>
                  <a:close/>
                  <a:moveTo>
                    <a:pt x="197" y="1284"/>
                  </a:moveTo>
                  <a:lnTo>
                    <a:pt x="198" y="1287"/>
                  </a:lnTo>
                  <a:lnTo>
                    <a:pt x="200" y="1287"/>
                  </a:lnTo>
                  <a:lnTo>
                    <a:pt x="201" y="1285"/>
                  </a:lnTo>
                  <a:lnTo>
                    <a:pt x="201" y="1284"/>
                  </a:lnTo>
                  <a:lnTo>
                    <a:pt x="203" y="1282"/>
                  </a:lnTo>
                  <a:lnTo>
                    <a:pt x="203" y="1281"/>
                  </a:lnTo>
                  <a:lnTo>
                    <a:pt x="203" y="1279"/>
                  </a:lnTo>
                  <a:lnTo>
                    <a:pt x="201" y="1278"/>
                  </a:lnTo>
                  <a:lnTo>
                    <a:pt x="201" y="1278"/>
                  </a:lnTo>
                  <a:lnTo>
                    <a:pt x="201" y="1276"/>
                  </a:lnTo>
                  <a:lnTo>
                    <a:pt x="201" y="1276"/>
                  </a:lnTo>
                  <a:lnTo>
                    <a:pt x="201" y="1276"/>
                  </a:lnTo>
                  <a:lnTo>
                    <a:pt x="200" y="1276"/>
                  </a:lnTo>
                  <a:lnTo>
                    <a:pt x="200" y="1278"/>
                  </a:lnTo>
                  <a:lnTo>
                    <a:pt x="200" y="1279"/>
                  </a:lnTo>
                  <a:lnTo>
                    <a:pt x="200" y="1281"/>
                  </a:lnTo>
                  <a:lnTo>
                    <a:pt x="198" y="1281"/>
                  </a:lnTo>
                  <a:lnTo>
                    <a:pt x="198" y="1281"/>
                  </a:lnTo>
                  <a:lnTo>
                    <a:pt x="198" y="1279"/>
                  </a:lnTo>
                  <a:lnTo>
                    <a:pt x="198" y="1279"/>
                  </a:lnTo>
                  <a:lnTo>
                    <a:pt x="197" y="1279"/>
                  </a:lnTo>
                  <a:lnTo>
                    <a:pt x="197" y="1279"/>
                  </a:lnTo>
                  <a:lnTo>
                    <a:pt x="197" y="1281"/>
                  </a:lnTo>
                  <a:lnTo>
                    <a:pt x="197" y="1281"/>
                  </a:lnTo>
                  <a:lnTo>
                    <a:pt x="195" y="1279"/>
                  </a:lnTo>
                  <a:lnTo>
                    <a:pt x="195" y="1278"/>
                  </a:lnTo>
                  <a:lnTo>
                    <a:pt x="194" y="1278"/>
                  </a:lnTo>
                  <a:lnTo>
                    <a:pt x="194" y="1278"/>
                  </a:lnTo>
                  <a:lnTo>
                    <a:pt x="192" y="1278"/>
                  </a:lnTo>
                  <a:lnTo>
                    <a:pt x="192" y="1278"/>
                  </a:lnTo>
                  <a:lnTo>
                    <a:pt x="191" y="1279"/>
                  </a:lnTo>
                  <a:lnTo>
                    <a:pt x="189" y="1279"/>
                  </a:lnTo>
                  <a:lnTo>
                    <a:pt x="191" y="1281"/>
                  </a:lnTo>
                  <a:lnTo>
                    <a:pt x="191" y="1281"/>
                  </a:lnTo>
                  <a:lnTo>
                    <a:pt x="191" y="1282"/>
                  </a:lnTo>
                  <a:lnTo>
                    <a:pt x="191" y="1284"/>
                  </a:lnTo>
                  <a:lnTo>
                    <a:pt x="191" y="1284"/>
                  </a:lnTo>
                  <a:lnTo>
                    <a:pt x="189" y="1285"/>
                  </a:lnTo>
                  <a:lnTo>
                    <a:pt x="189" y="1285"/>
                  </a:lnTo>
                  <a:lnTo>
                    <a:pt x="191" y="1287"/>
                  </a:lnTo>
                  <a:lnTo>
                    <a:pt x="191" y="1287"/>
                  </a:lnTo>
                  <a:lnTo>
                    <a:pt x="191" y="1287"/>
                  </a:lnTo>
                  <a:lnTo>
                    <a:pt x="191" y="1288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7" y="1290"/>
                  </a:lnTo>
                  <a:lnTo>
                    <a:pt x="197" y="1288"/>
                  </a:lnTo>
                  <a:lnTo>
                    <a:pt x="197" y="1287"/>
                  </a:lnTo>
                  <a:lnTo>
                    <a:pt x="195" y="1285"/>
                  </a:lnTo>
                  <a:lnTo>
                    <a:pt x="194" y="1285"/>
                  </a:lnTo>
                  <a:lnTo>
                    <a:pt x="194" y="1285"/>
                  </a:lnTo>
                  <a:lnTo>
                    <a:pt x="197" y="1284"/>
                  </a:lnTo>
                  <a:close/>
                  <a:moveTo>
                    <a:pt x="132" y="1282"/>
                  </a:moveTo>
                  <a:lnTo>
                    <a:pt x="132" y="1281"/>
                  </a:lnTo>
                  <a:lnTo>
                    <a:pt x="134" y="1281"/>
                  </a:lnTo>
                  <a:lnTo>
                    <a:pt x="134" y="1284"/>
                  </a:lnTo>
                  <a:lnTo>
                    <a:pt x="137" y="1279"/>
                  </a:lnTo>
                  <a:lnTo>
                    <a:pt x="138" y="1276"/>
                  </a:lnTo>
                  <a:lnTo>
                    <a:pt x="138" y="1275"/>
                  </a:lnTo>
                  <a:lnTo>
                    <a:pt x="135" y="1271"/>
                  </a:lnTo>
                  <a:lnTo>
                    <a:pt x="134" y="1273"/>
                  </a:lnTo>
                  <a:lnTo>
                    <a:pt x="131" y="1275"/>
                  </a:lnTo>
                  <a:lnTo>
                    <a:pt x="129" y="1276"/>
                  </a:lnTo>
                  <a:lnTo>
                    <a:pt x="127" y="1276"/>
                  </a:lnTo>
                  <a:lnTo>
                    <a:pt x="127" y="1276"/>
                  </a:lnTo>
                  <a:lnTo>
                    <a:pt x="127" y="1278"/>
                  </a:lnTo>
                  <a:lnTo>
                    <a:pt x="131" y="1282"/>
                  </a:lnTo>
                  <a:lnTo>
                    <a:pt x="132" y="1282"/>
                  </a:lnTo>
                  <a:close/>
                  <a:moveTo>
                    <a:pt x="191" y="1268"/>
                  </a:moveTo>
                  <a:lnTo>
                    <a:pt x="189" y="1268"/>
                  </a:lnTo>
                  <a:lnTo>
                    <a:pt x="189" y="1268"/>
                  </a:lnTo>
                  <a:lnTo>
                    <a:pt x="189" y="1267"/>
                  </a:lnTo>
                  <a:lnTo>
                    <a:pt x="188" y="1267"/>
                  </a:lnTo>
                  <a:lnTo>
                    <a:pt x="188" y="1268"/>
                  </a:lnTo>
                  <a:lnTo>
                    <a:pt x="186" y="1268"/>
                  </a:lnTo>
                  <a:lnTo>
                    <a:pt x="184" y="1268"/>
                  </a:lnTo>
                  <a:lnTo>
                    <a:pt x="183" y="1270"/>
                  </a:lnTo>
                  <a:lnTo>
                    <a:pt x="183" y="1270"/>
                  </a:lnTo>
                  <a:lnTo>
                    <a:pt x="183" y="1270"/>
                  </a:lnTo>
                  <a:lnTo>
                    <a:pt x="183" y="1271"/>
                  </a:lnTo>
                  <a:lnTo>
                    <a:pt x="181" y="1271"/>
                  </a:lnTo>
                  <a:lnTo>
                    <a:pt x="181" y="1273"/>
                  </a:lnTo>
                  <a:lnTo>
                    <a:pt x="181" y="1275"/>
                  </a:lnTo>
                  <a:lnTo>
                    <a:pt x="181" y="1275"/>
                  </a:lnTo>
                  <a:lnTo>
                    <a:pt x="181" y="1276"/>
                  </a:lnTo>
                  <a:lnTo>
                    <a:pt x="180" y="1276"/>
                  </a:lnTo>
                  <a:lnTo>
                    <a:pt x="181" y="1276"/>
                  </a:lnTo>
                  <a:lnTo>
                    <a:pt x="181" y="1276"/>
                  </a:lnTo>
                  <a:lnTo>
                    <a:pt x="181" y="1276"/>
                  </a:lnTo>
                  <a:lnTo>
                    <a:pt x="183" y="1275"/>
                  </a:lnTo>
                  <a:lnTo>
                    <a:pt x="184" y="1275"/>
                  </a:lnTo>
                  <a:lnTo>
                    <a:pt x="184" y="1273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9" y="1273"/>
                  </a:lnTo>
                  <a:lnTo>
                    <a:pt x="191" y="1271"/>
                  </a:lnTo>
                  <a:lnTo>
                    <a:pt x="191" y="1271"/>
                  </a:lnTo>
                  <a:lnTo>
                    <a:pt x="191" y="1270"/>
                  </a:lnTo>
                  <a:lnTo>
                    <a:pt x="191" y="1270"/>
                  </a:lnTo>
                  <a:lnTo>
                    <a:pt x="191" y="1270"/>
                  </a:lnTo>
                  <a:lnTo>
                    <a:pt x="192" y="1268"/>
                  </a:lnTo>
                  <a:lnTo>
                    <a:pt x="192" y="1268"/>
                  </a:lnTo>
                  <a:lnTo>
                    <a:pt x="191" y="1268"/>
                  </a:lnTo>
                  <a:lnTo>
                    <a:pt x="191" y="1268"/>
                  </a:lnTo>
                  <a:close/>
                  <a:moveTo>
                    <a:pt x="243" y="1208"/>
                  </a:moveTo>
                  <a:lnTo>
                    <a:pt x="245" y="1208"/>
                  </a:lnTo>
                  <a:lnTo>
                    <a:pt x="245" y="1207"/>
                  </a:lnTo>
                  <a:lnTo>
                    <a:pt x="245" y="1207"/>
                  </a:lnTo>
                  <a:lnTo>
                    <a:pt x="245" y="1205"/>
                  </a:lnTo>
                  <a:lnTo>
                    <a:pt x="246" y="1205"/>
                  </a:lnTo>
                  <a:lnTo>
                    <a:pt x="246" y="1204"/>
                  </a:lnTo>
                  <a:lnTo>
                    <a:pt x="246" y="1204"/>
                  </a:lnTo>
                  <a:lnTo>
                    <a:pt x="246" y="1204"/>
                  </a:lnTo>
                  <a:lnTo>
                    <a:pt x="246" y="1202"/>
                  </a:lnTo>
                  <a:lnTo>
                    <a:pt x="246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3" y="1201"/>
                  </a:lnTo>
                  <a:lnTo>
                    <a:pt x="243" y="1201"/>
                  </a:lnTo>
                  <a:lnTo>
                    <a:pt x="241" y="1201"/>
                  </a:lnTo>
                  <a:lnTo>
                    <a:pt x="240" y="1201"/>
                  </a:lnTo>
                  <a:lnTo>
                    <a:pt x="238" y="1202"/>
                  </a:lnTo>
                  <a:lnTo>
                    <a:pt x="237" y="1204"/>
                  </a:lnTo>
                  <a:lnTo>
                    <a:pt x="237" y="1204"/>
                  </a:lnTo>
                  <a:lnTo>
                    <a:pt x="235" y="1205"/>
                  </a:lnTo>
                  <a:lnTo>
                    <a:pt x="235" y="1205"/>
                  </a:lnTo>
                  <a:lnTo>
                    <a:pt x="235" y="1207"/>
                  </a:lnTo>
                  <a:lnTo>
                    <a:pt x="235" y="1207"/>
                  </a:lnTo>
                  <a:lnTo>
                    <a:pt x="237" y="1210"/>
                  </a:lnTo>
                  <a:lnTo>
                    <a:pt x="238" y="1211"/>
                  </a:lnTo>
                  <a:lnTo>
                    <a:pt x="240" y="1211"/>
                  </a:lnTo>
                  <a:lnTo>
                    <a:pt x="241" y="1211"/>
                  </a:lnTo>
                  <a:lnTo>
                    <a:pt x="241" y="1211"/>
                  </a:lnTo>
                  <a:lnTo>
                    <a:pt x="243" y="1211"/>
                  </a:lnTo>
                  <a:lnTo>
                    <a:pt x="243" y="1210"/>
                  </a:lnTo>
                  <a:lnTo>
                    <a:pt x="243" y="1208"/>
                  </a:lnTo>
                  <a:lnTo>
                    <a:pt x="243" y="1208"/>
                  </a:lnTo>
                  <a:lnTo>
                    <a:pt x="243" y="1208"/>
                  </a:lnTo>
                  <a:close/>
                  <a:moveTo>
                    <a:pt x="399" y="977"/>
                  </a:moveTo>
                  <a:lnTo>
                    <a:pt x="395" y="976"/>
                  </a:lnTo>
                  <a:lnTo>
                    <a:pt x="389" y="977"/>
                  </a:lnTo>
                  <a:lnTo>
                    <a:pt x="382" y="977"/>
                  </a:lnTo>
                  <a:lnTo>
                    <a:pt x="377" y="984"/>
                  </a:lnTo>
                  <a:lnTo>
                    <a:pt x="375" y="985"/>
                  </a:lnTo>
                  <a:lnTo>
                    <a:pt x="375" y="988"/>
                  </a:lnTo>
                  <a:lnTo>
                    <a:pt x="377" y="991"/>
                  </a:lnTo>
                  <a:lnTo>
                    <a:pt x="379" y="993"/>
                  </a:lnTo>
                  <a:lnTo>
                    <a:pt x="380" y="997"/>
                  </a:lnTo>
                  <a:lnTo>
                    <a:pt x="383" y="997"/>
                  </a:lnTo>
                  <a:lnTo>
                    <a:pt x="385" y="993"/>
                  </a:lnTo>
                  <a:lnTo>
                    <a:pt x="385" y="994"/>
                  </a:lnTo>
                  <a:lnTo>
                    <a:pt x="386" y="996"/>
                  </a:lnTo>
                  <a:lnTo>
                    <a:pt x="386" y="997"/>
                  </a:lnTo>
                  <a:lnTo>
                    <a:pt x="386" y="999"/>
                  </a:lnTo>
                  <a:lnTo>
                    <a:pt x="386" y="1000"/>
                  </a:lnTo>
                  <a:lnTo>
                    <a:pt x="388" y="1000"/>
                  </a:lnTo>
                  <a:lnTo>
                    <a:pt x="389" y="1000"/>
                  </a:lnTo>
                  <a:lnTo>
                    <a:pt x="389" y="1000"/>
                  </a:lnTo>
                  <a:lnTo>
                    <a:pt x="391" y="999"/>
                  </a:lnTo>
                  <a:lnTo>
                    <a:pt x="391" y="997"/>
                  </a:lnTo>
                  <a:lnTo>
                    <a:pt x="392" y="997"/>
                  </a:lnTo>
                  <a:lnTo>
                    <a:pt x="394" y="997"/>
                  </a:lnTo>
                  <a:lnTo>
                    <a:pt x="394" y="997"/>
                  </a:lnTo>
                  <a:lnTo>
                    <a:pt x="395" y="997"/>
                  </a:lnTo>
                  <a:lnTo>
                    <a:pt x="394" y="996"/>
                  </a:lnTo>
                  <a:lnTo>
                    <a:pt x="389" y="996"/>
                  </a:lnTo>
                  <a:lnTo>
                    <a:pt x="388" y="991"/>
                  </a:lnTo>
                  <a:lnTo>
                    <a:pt x="392" y="988"/>
                  </a:lnTo>
                  <a:lnTo>
                    <a:pt x="394" y="985"/>
                  </a:lnTo>
                  <a:lnTo>
                    <a:pt x="399" y="984"/>
                  </a:lnTo>
                  <a:lnTo>
                    <a:pt x="405" y="987"/>
                  </a:lnTo>
                  <a:lnTo>
                    <a:pt x="409" y="987"/>
                  </a:lnTo>
                  <a:lnTo>
                    <a:pt x="412" y="985"/>
                  </a:lnTo>
                  <a:lnTo>
                    <a:pt x="411" y="982"/>
                  </a:lnTo>
                  <a:lnTo>
                    <a:pt x="408" y="982"/>
                  </a:lnTo>
                  <a:lnTo>
                    <a:pt x="403" y="982"/>
                  </a:lnTo>
                  <a:lnTo>
                    <a:pt x="402" y="982"/>
                  </a:lnTo>
                  <a:lnTo>
                    <a:pt x="399" y="982"/>
                  </a:lnTo>
                  <a:lnTo>
                    <a:pt x="399" y="980"/>
                  </a:lnTo>
                  <a:lnTo>
                    <a:pt x="400" y="979"/>
                  </a:lnTo>
                  <a:lnTo>
                    <a:pt x="399" y="977"/>
                  </a:lnTo>
                  <a:close/>
                  <a:moveTo>
                    <a:pt x="894" y="1344"/>
                  </a:moveTo>
                  <a:lnTo>
                    <a:pt x="893" y="1341"/>
                  </a:lnTo>
                  <a:lnTo>
                    <a:pt x="893" y="1336"/>
                  </a:lnTo>
                  <a:lnTo>
                    <a:pt x="890" y="1333"/>
                  </a:lnTo>
                  <a:lnTo>
                    <a:pt x="890" y="1333"/>
                  </a:lnTo>
                  <a:lnTo>
                    <a:pt x="888" y="1332"/>
                  </a:lnTo>
                  <a:lnTo>
                    <a:pt x="882" y="1324"/>
                  </a:lnTo>
                  <a:lnTo>
                    <a:pt x="881" y="1321"/>
                  </a:lnTo>
                  <a:lnTo>
                    <a:pt x="876" y="1318"/>
                  </a:lnTo>
                  <a:lnTo>
                    <a:pt x="874" y="1315"/>
                  </a:lnTo>
                  <a:lnTo>
                    <a:pt x="873" y="1313"/>
                  </a:lnTo>
                  <a:lnTo>
                    <a:pt x="873" y="1308"/>
                  </a:lnTo>
                  <a:lnTo>
                    <a:pt x="871" y="1305"/>
                  </a:lnTo>
                  <a:lnTo>
                    <a:pt x="871" y="1302"/>
                  </a:lnTo>
                  <a:lnTo>
                    <a:pt x="871" y="1299"/>
                  </a:lnTo>
                  <a:lnTo>
                    <a:pt x="870" y="1296"/>
                  </a:lnTo>
                  <a:lnTo>
                    <a:pt x="868" y="1295"/>
                  </a:lnTo>
                  <a:lnTo>
                    <a:pt x="853" y="1284"/>
                  </a:lnTo>
                  <a:lnTo>
                    <a:pt x="841" y="1270"/>
                  </a:lnTo>
                  <a:lnTo>
                    <a:pt x="816" y="1255"/>
                  </a:lnTo>
                  <a:lnTo>
                    <a:pt x="814" y="1253"/>
                  </a:lnTo>
                  <a:lnTo>
                    <a:pt x="813" y="1250"/>
                  </a:lnTo>
                  <a:lnTo>
                    <a:pt x="808" y="1244"/>
                  </a:lnTo>
                  <a:lnTo>
                    <a:pt x="797" y="1235"/>
                  </a:lnTo>
                  <a:lnTo>
                    <a:pt x="780" y="1213"/>
                  </a:lnTo>
                  <a:lnTo>
                    <a:pt x="779" y="1208"/>
                  </a:lnTo>
                  <a:lnTo>
                    <a:pt x="780" y="1207"/>
                  </a:lnTo>
                  <a:lnTo>
                    <a:pt x="784" y="1205"/>
                  </a:lnTo>
                  <a:lnTo>
                    <a:pt x="794" y="1199"/>
                  </a:lnTo>
                  <a:lnTo>
                    <a:pt x="801" y="1193"/>
                  </a:lnTo>
                  <a:lnTo>
                    <a:pt x="805" y="1182"/>
                  </a:lnTo>
                  <a:lnTo>
                    <a:pt x="817" y="1167"/>
                  </a:lnTo>
                  <a:lnTo>
                    <a:pt x="817" y="1167"/>
                  </a:lnTo>
                  <a:lnTo>
                    <a:pt x="821" y="1161"/>
                  </a:lnTo>
                  <a:lnTo>
                    <a:pt x="824" y="1156"/>
                  </a:lnTo>
                  <a:lnTo>
                    <a:pt x="824" y="1150"/>
                  </a:lnTo>
                  <a:lnTo>
                    <a:pt x="822" y="1144"/>
                  </a:lnTo>
                  <a:lnTo>
                    <a:pt x="821" y="1141"/>
                  </a:lnTo>
                  <a:lnTo>
                    <a:pt x="819" y="1138"/>
                  </a:lnTo>
                  <a:lnTo>
                    <a:pt x="819" y="1134"/>
                  </a:lnTo>
                  <a:lnTo>
                    <a:pt x="821" y="1131"/>
                  </a:lnTo>
                  <a:lnTo>
                    <a:pt x="822" y="1127"/>
                  </a:lnTo>
                  <a:lnTo>
                    <a:pt x="821" y="1125"/>
                  </a:lnTo>
                  <a:lnTo>
                    <a:pt x="817" y="1124"/>
                  </a:lnTo>
                  <a:lnTo>
                    <a:pt x="813" y="1122"/>
                  </a:lnTo>
                  <a:lnTo>
                    <a:pt x="811" y="1119"/>
                  </a:lnTo>
                  <a:lnTo>
                    <a:pt x="810" y="1116"/>
                  </a:lnTo>
                  <a:lnTo>
                    <a:pt x="808" y="1113"/>
                  </a:lnTo>
                  <a:lnTo>
                    <a:pt x="804" y="1111"/>
                  </a:lnTo>
                  <a:lnTo>
                    <a:pt x="793" y="1107"/>
                  </a:lnTo>
                  <a:lnTo>
                    <a:pt x="787" y="1104"/>
                  </a:lnTo>
                  <a:lnTo>
                    <a:pt x="784" y="1101"/>
                  </a:lnTo>
                  <a:lnTo>
                    <a:pt x="782" y="1097"/>
                  </a:lnTo>
                  <a:lnTo>
                    <a:pt x="784" y="1093"/>
                  </a:lnTo>
                  <a:lnTo>
                    <a:pt x="785" y="1088"/>
                  </a:lnTo>
                  <a:lnTo>
                    <a:pt x="785" y="1084"/>
                  </a:lnTo>
                  <a:lnTo>
                    <a:pt x="782" y="1081"/>
                  </a:lnTo>
                  <a:lnTo>
                    <a:pt x="779" y="1079"/>
                  </a:lnTo>
                  <a:lnTo>
                    <a:pt x="779" y="1077"/>
                  </a:lnTo>
                  <a:lnTo>
                    <a:pt x="779" y="1077"/>
                  </a:lnTo>
                  <a:lnTo>
                    <a:pt x="779" y="1076"/>
                  </a:lnTo>
                  <a:lnTo>
                    <a:pt x="779" y="1076"/>
                  </a:lnTo>
                  <a:lnTo>
                    <a:pt x="779" y="1076"/>
                  </a:lnTo>
                  <a:lnTo>
                    <a:pt x="779" y="1074"/>
                  </a:lnTo>
                  <a:lnTo>
                    <a:pt x="779" y="1074"/>
                  </a:lnTo>
                  <a:lnTo>
                    <a:pt x="777" y="1073"/>
                  </a:lnTo>
                  <a:lnTo>
                    <a:pt x="777" y="1071"/>
                  </a:lnTo>
                  <a:lnTo>
                    <a:pt x="777" y="1068"/>
                  </a:lnTo>
                  <a:lnTo>
                    <a:pt x="777" y="1068"/>
                  </a:lnTo>
                  <a:lnTo>
                    <a:pt x="777" y="1068"/>
                  </a:lnTo>
                  <a:lnTo>
                    <a:pt x="777" y="1067"/>
                  </a:lnTo>
                  <a:lnTo>
                    <a:pt x="777" y="1067"/>
                  </a:lnTo>
                  <a:lnTo>
                    <a:pt x="777" y="1065"/>
                  </a:lnTo>
                  <a:lnTo>
                    <a:pt x="790" y="1059"/>
                  </a:lnTo>
                  <a:lnTo>
                    <a:pt x="791" y="1057"/>
                  </a:lnTo>
                  <a:lnTo>
                    <a:pt x="793" y="1054"/>
                  </a:lnTo>
                  <a:lnTo>
                    <a:pt x="794" y="1051"/>
                  </a:lnTo>
                  <a:lnTo>
                    <a:pt x="793" y="1048"/>
                  </a:lnTo>
                  <a:lnTo>
                    <a:pt x="790" y="1045"/>
                  </a:lnTo>
                  <a:lnTo>
                    <a:pt x="790" y="1044"/>
                  </a:lnTo>
                  <a:lnTo>
                    <a:pt x="788" y="1041"/>
                  </a:lnTo>
                  <a:lnTo>
                    <a:pt x="788" y="1041"/>
                  </a:lnTo>
                  <a:lnTo>
                    <a:pt x="788" y="1039"/>
                  </a:lnTo>
                  <a:lnTo>
                    <a:pt x="788" y="1037"/>
                  </a:lnTo>
                  <a:lnTo>
                    <a:pt x="788" y="1036"/>
                  </a:lnTo>
                  <a:lnTo>
                    <a:pt x="790" y="1034"/>
                  </a:lnTo>
                  <a:lnTo>
                    <a:pt x="788" y="1033"/>
                  </a:lnTo>
                  <a:lnTo>
                    <a:pt x="788" y="1031"/>
                  </a:lnTo>
                  <a:lnTo>
                    <a:pt x="785" y="1030"/>
                  </a:lnTo>
                  <a:lnTo>
                    <a:pt x="771" y="1030"/>
                  </a:lnTo>
                  <a:lnTo>
                    <a:pt x="764" y="1028"/>
                  </a:lnTo>
                  <a:lnTo>
                    <a:pt x="757" y="1020"/>
                  </a:lnTo>
                  <a:lnTo>
                    <a:pt x="753" y="1008"/>
                  </a:lnTo>
                  <a:lnTo>
                    <a:pt x="750" y="994"/>
                  </a:lnTo>
                  <a:lnTo>
                    <a:pt x="750" y="987"/>
                  </a:lnTo>
                  <a:lnTo>
                    <a:pt x="753" y="980"/>
                  </a:lnTo>
                  <a:lnTo>
                    <a:pt x="756" y="979"/>
                  </a:lnTo>
                  <a:lnTo>
                    <a:pt x="767" y="976"/>
                  </a:lnTo>
                  <a:lnTo>
                    <a:pt x="768" y="973"/>
                  </a:lnTo>
                  <a:lnTo>
                    <a:pt x="768" y="971"/>
                  </a:lnTo>
                  <a:lnTo>
                    <a:pt x="768" y="970"/>
                  </a:lnTo>
                  <a:lnTo>
                    <a:pt x="767" y="970"/>
                  </a:lnTo>
                  <a:lnTo>
                    <a:pt x="765" y="968"/>
                  </a:lnTo>
                  <a:lnTo>
                    <a:pt x="767" y="967"/>
                  </a:lnTo>
                  <a:lnTo>
                    <a:pt x="767" y="965"/>
                  </a:lnTo>
                  <a:lnTo>
                    <a:pt x="767" y="964"/>
                  </a:lnTo>
                  <a:lnTo>
                    <a:pt x="768" y="962"/>
                  </a:lnTo>
                  <a:lnTo>
                    <a:pt x="768" y="956"/>
                  </a:lnTo>
                  <a:lnTo>
                    <a:pt x="762" y="954"/>
                  </a:lnTo>
                  <a:lnTo>
                    <a:pt x="753" y="954"/>
                  </a:lnTo>
                  <a:lnTo>
                    <a:pt x="748" y="951"/>
                  </a:lnTo>
                  <a:lnTo>
                    <a:pt x="751" y="945"/>
                  </a:lnTo>
                  <a:lnTo>
                    <a:pt x="759" y="934"/>
                  </a:lnTo>
                  <a:lnTo>
                    <a:pt x="760" y="928"/>
                  </a:lnTo>
                  <a:lnTo>
                    <a:pt x="759" y="911"/>
                  </a:lnTo>
                  <a:lnTo>
                    <a:pt x="760" y="905"/>
                  </a:lnTo>
                  <a:lnTo>
                    <a:pt x="760" y="905"/>
                  </a:lnTo>
                  <a:lnTo>
                    <a:pt x="760" y="903"/>
                  </a:lnTo>
                  <a:lnTo>
                    <a:pt x="760" y="902"/>
                  </a:lnTo>
                  <a:lnTo>
                    <a:pt x="767" y="894"/>
                  </a:lnTo>
                  <a:lnTo>
                    <a:pt x="768" y="891"/>
                  </a:lnTo>
                  <a:lnTo>
                    <a:pt x="765" y="888"/>
                  </a:lnTo>
                  <a:lnTo>
                    <a:pt x="760" y="883"/>
                  </a:lnTo>
                  <a:lnTo>
                    <a:pt x="757" y="880"/>
                  </a:lnTo>
                  <a:lnTo>
                    <a:pt x="762" y="877"/>
                  </a:lnTo>
                  <a:lnTo>
                    <a:pt x="780" y="871"/>
                  </a:lnTo>
                  <a:lnTo>
                    <a:pt x="785" y="874"/>
                  </a:lnTo>
                  <a:lnTo>
                    <a:pt x="787" y="876"/>
                  </a:lnTo>
                  <a:lnTo>
                    <a:pt x="788" y="874"/>
                  </a:lnTo>
                  <a:lnTo>
                    <a:pt x="788" y="870"/>
                  </a:lnTo>
                  <a:lnTo>
                    <a:pt x="788" y="865"/>
                  </a:lnTo>
                  <a:lnTo>
                    <a:pt x="787" y="848"/>
                  </a:lnTo>
                  <a:lnTo>
                    <a:pt x="785" y="845"/>
                  </a:lnTo>
                  <a:lnTo>
                    <a:pt x="784" y="837"/>
                  </a:lnTo>
                  <a:lnTo>
                    <a:pt x="780" y="828"/>
                  </a:lnTo>
                  <a:lnTo>
                    <a:pt x="780" y="825"/>
                  </a:lnTo>
                  <a:lnTo>
                    <a:pt x="777" y="817"/>
                  </a:lnTo>
                  <a:lnTo>
                    <a:pt x="776" y="814"/>
                  </a:lnTo>
                  <a:lnTo>
                    <a:pt x="774" y="800"/>
                  </a:lnTo>
                  <a:lnTo>
                    <a:pt x="773" y="793"/>
                  </a:lnTo>
                  <a:lnTo>
                    <a:pt x="771" y="788"/>
                  </a:lnTo>
                  <a:lnTo>
                    <a:pt x="765" y="780"/>
                  </a:lnTo>
                  <a:lnTo>
                    <a:pt x="754" y="760"/>
                  </a:lnTo>
                  <a:lnTo>
                    <a:pt x="750" y="749"/>
                  </a:lnTo>
                  <a:lnTo>
                    <a:pt x="748" y="743"/>
                  </a:lnTo>
                  <a:lnTo>
                    <a:pt x="747" y="737"/>
                  </a:lnTo>
                  <a:lnTo>
                    <a:pt x="747" y="733"/>
                  </a:lnTo>
                  <a:lnTo>
                    <a:pt x="745" y="725"/>
                  </a:lnTo>
                  <a:lnTo>
                    <a:pt x="745" y="722"/>
                  </a:lnTo>
                  <a:lnTo>
                    <a:pt x="736" y="708"/>
                  </a:lnTo>
                  <a:lnTo>
                    <a:pt x="736" y="706"/>
                  </a:lnTo>
                  <a:lnTo>
                    <a:pt x="736" y="705"/>
                  </a:lnTo>
                  <a:lnTo>
                    <a:pt x="736" y="703"/>
                  </a:lnTo>
                  <a:lnTo>
                    <a:pt x="734" y="700"/>
                  </a:lnTo>
                  <a:lnTo>
                    <a:pt x="733" y="697"/>
                  </a:lnTo>
                  <a:lnTo>
                    <a:pt x="733" y="697"/>
                  </a:lnTo>
                  <a:lnTo>
                    <a:pt x="730" y="686"/>
                  </a:lnTo>
                  <a:lnTo>
                    <a:pt x="713" y="657"/>
                  </a:lnTo>
                  <a:lnTo>
                    <a:pt x="710" y="643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37" y="582"/>
                  </a:lnTo>
                  <a:lnTo>
                    <a:pt x="742" y="577"/>
                  </a:lnTo>
                  <a:lnTo>
                    <a:pt x="742" y="575"/>
                  </a:lnTo>
                  <a:lnTo>
                    <a:pt x="742" y="574"/>
                  </a:lnTo>
                  <a:lnTo>
                    <a:pt x="744" y="571"/>
                  </a:lnTo>
                  <a:lnTo>
                    <a:pt x="745" y="569"/>
                  </a:lnTo>
                  <a:lnTo>
                    <a:pt x="774" y="529"/>
                  </a:lnTo>
                  <a:lnTo>
                    <a:pt x="776" y="525"/>
                  </a:lnTo>
                  <a:lnTo>
                    <a:pt x="777" y="517"/>
                  </a:lnTo>
                  <a:lnTo>
                    <a:pt x="777" y="514"/>
                  </a:lnTo>
                  <a:lnTo>
                    <a:pt x="777" y="502"/>
                  </a:lnTo>
                  <a:lnTo>
                    <a:pt x="779" y="498"/>
                  </a:lnTo>
                  <a:lnTo>
                    <a:pt x="779" y="497"/>
                  </a:lnTo>
                  <a:lnTo>
                    <a:pt x="780" y="494"/>
                  </a:lnTo>
                  <a:lnTo>
                    <a:pt x="759" y="472"/>
                  </a:lnTo>
                  <a:lnTo>
                    <a:pt x="754" y="466"/>
                  </a:lnTo>
                  <a:lnTo>
                    <a:pt x="742" y="440"/>
                  </a:lnTo>
                  <a:lnTo>
                    <a:pt x="739" y="434"/>
                  </a:lnTo>
                  <a:lnTo>
                    <a:pt x="739" y="434"/>
                  </a:lnTo>
                  <a:lnTo>
                    <a:pt x="733" y="421"/>
                  </a:lnTo>
                  <a:lnTo>
                    <a:pt x="730" y="417"/>
                  </a:lnTo>
                  <a:lnTo>
                    <a:pt x="728" y="415"/>
                  </a:lnTo>
                  <a:lnTo>
                    <a:pt x="707" y="406"/>
                  </a:lnTo>
                  <a:lnTo>
                    <a:pt x="685" y="397"/>
                  </a:lnTo>
                  <a:lnTo>
                    <a:pt x="682" y="395"/>
                  </a:lnTo>
                  <a:lnTo>
                    <a:pt x="680" y="391"/>
                  </a:lnTo>
                  <a:lnTo>
                    <a:pt x="667" y="340"/>
                  </a:lnTo>
                  <a:lnTo>
                    <a:pt x="665" y="334"/>
                  </a:lnTo>
                  <a:lnTo>
                    <a:pt x="665" y="329"/>
                  </a:lnTo>
                  <a:lnTo>
                    <a:pt x="665" y="326"/>
                  </a:lnTo>
                  <a:lnTo>
                    <a:pt x="665" y="323"/>
                  </a:lnTo>
                  <a:lnTo>
                    <a:pt x="685" y="284"/>
                  </a:lnTo>
                  <a:lnTo>
                    <a:pt x="687" y="278"/>
                  </a:lnTo>
                  <a:lnTo>
                    <a:pt x="691" y="263"/>
                  </a:lnTo>
                  <a:lnTo>
                    <a:pt x="685" y="257"/>
                  </a:lnTo>
                  <a:lnTo>
                    <a:pt x="679" y="255"/>
                  </a:lnTo>
                  <a:lnTo>
                    <a:pt x="665" y="257"/>
                  </a:lnTo>
                  <a:lnTo>
                    <a:pt x="663" y="255"/>
                  </a:lnTo>
                  <a:lnTo>
                    <a:pt x="662" y="254"/>
                  </a:lnTo>
                  <a:lnTo>
                    <a:pt x="662" y="251"/>
                  </a:lnTo>
                  <a:lnTo>
                    <a:pt x="665" y="249"/>
                  </a:lnTo>
                  <a:lnTo>
                    <a:pt x="685" y="235"/>
                  </a:lnTo>
                  <a:lnTo>
                    <a:pt x="693" y="232"/>
                  </a:lnTo>
                  <a:lnTo>
                    <a:pt x="702" y="223"/>
                  </a:lnTo>
                  <a:lnTo>
                    <a:pt x="694" y="212"/>
                  </a:lnTo>
                  <a:lnTo>
                    <a:pt x="693" y="210"/>
                  </a:lnTo>
                  <a:lnTo>
                    <a:pt x="693" y="207"/>
                  </a:lnTo>
                  <a:lnTo>
                    <a:pt x="694" y="192"/>
                  </a:lnTo>
                  <a:lnTo>
                    <a:pt x="694" y="186"/>
                  </a:lnTo>
                  <a:lnTo>
                    <a:pt x="696" y="184"/>
                  </a:lnTo>
                  <a:lnTo>
                    <a:pt x="722" y="150"/>
                  </a:lnTo>
                  <a:lnTo>
                    <a:pt x="731" y="132"/>
                  </a:lnTo>
                  <a:lnTo>
                    <a:pt x="720" y="106"/>
                  </a:lnTo>
                  <a:lnTo>
                    <a:pt x="717" y="89"/>
                  </a:lnTo>
                  <a:lnTo>
                    <a:pt x="716" y="87"/>
                  </a:lnTo>
                  <a:lnTo>
                    <a:pt x="691" y="75"/>
                  </a:lnTo>
                  <a:lnTo>
                    <a:pt x="667" y="63"/>
                  </a:lnTo>
                  <a:lnTo>
                    <a:pt x="663" y="61"/>
                  </a:lnTo>
                  <a:lnTo>
                    <a:pt x="662" y="60"/>
                  </a:lnTo>
                  <a:lnTo>
                    <a:pt x="659" y="55"/>
                  </a:lnTo>
                  <a:lnTo>
                    <a:pt x="659" y="47"/>
                  </a:lnTo>
                  <a:lnTo>
                    <a:pt x="645" y="41"/>
                  </a:lnTo>
                  <a:lnTo>
                    <a:pt x="643" y="40"/>
                  </a:lnTo>
                  <a:lnTo>
                    <a:pt x="630" y="15"/>
                  </a:lnTo>
                  <a:lnTo>
                    <a:pt x="626" y="6"/>
                  </a:lnTo>
                  <a:lnTo>
                    <a:pt x="623" y="1"/>
                  </a:lnTo>
                  <a:lnTo>
                    <a:pt x="622" y="0"/>
                  </a:lnTo>
                  <a:lnTo>
                    <a:pt x="616" y="4"/>
                  </a:lnTo>
                  <a:lnTo>
                    <a:pt x="606" y="1"/>
                  </a:lnTo>
                  <a:lnTo>
                    <a:pt x="602" y="3"/>
                  </a:lnTo>
                  <a:lnTo>
                    <a:pt x="599" y="7"/>
                  </a:lnTo>
                  <a:lnTo>
                    <a:pt x="599" y="12"/>
                  </a:lnTo>
                  <a:lnTo>
                    <a:pt x="590" y="16"/>
                  </a:lnTo>
                  <a:lnTo>
                    <a:pt x="585" y="23"/>
                  </a:lnTo>
                  <a:lnTo>
                    <a:pt x="583" y="23"/>
                  </a:lnTo>
                  <a:lnTo>
                    <a:pt x="583" y="23"/>
                  </a:lnTo>
                  <a:lnTo>
                    <a:pt x="582" y="24"/>
                  </a:lnTo>
                  <a:lnTo>
                    <a:pt x="580" y="26"/>
                  </a:lnTo>
                  <a:lnTo>
                    <a:pt x="582" y="26"/>
                  </a:lnTo>
                  <a:lnTo>
                    <a:pt x="582" y="27"/>
                  </a:lnTo>
                  <a:lnTo>
                    <a:pt x="583" y="27"/>
                  </a:lnTo>
                  <a:lnTo>
                    <a:pt x="580" y="32"/>
                  </a:lnTo>
                  <a:lnTo>
                    <a:pt x="565" y="38"/>
                  </a:lnTo>
                  <a:lnTo>
                    <a:pt x="563" y="38"/>
                  </a:lnTo>
                  <a:lnTo>
                    <a:pt x="557" y="33"/>
                  </a:lnTo>
                  <a:lnTo>
                    <a:pt x="556" y="33"/>
                  </a:lnTo>
                  <a:lnTo>
                    <a:pt x="553" y="33"/>
                  </a:lnTo>
                  <a:lnTo>
                    <a:pt x="549" y="30"/>
                  </a:lnTo>
                  <a:lnTo>
                    <a:pt x="546" y="30"/>
                  </a:lnTo>
                  <a:lnTo>
                    <a:pt x="540" y="32"/>
                  </a:lnTo>
                  <a:lnTo>
                    <a:pt x="536" y="30"/>
                  </a:lnTo>
                  <a:lnTo>
                    <a:pt x="522" y="33"/>
                  </a:lnTo>
                  <a:lnTo>
                    <a:pt x="520" y="35"/>
                  </a:lnTo>
                  <a:lnTo>
                    <a:pt x="519" y="38"/>
                  </a:lnTo>
                  <a:lnTo>
                    <a:pt x="516" y="43"/>
                  </a:lnTo>
                  <a:lnTo>
                    <a:pt x="514" y="44"/>
                  </a:lnTo>
                  <a:lnTo>
                    <a:pt x="516" y="47"/>
                  </a:lnTo>
                  <a:lnTo>
                    <a:pt x="514" y="52"/>
                  </a:lnTo>
                  <a:lnTo>
                    <a:pt x="506" y="61"/>
                  </a:lnTo>
                  <a:lnTo>
                    <a:pt x="502" y="69"/>
                  </a:lnTo>
                  <a:lnTo>
                    <a:pt x="499" y="75"/>
                  </a:lnTo>
                  <a:lnTo>
                    <a:pt x="499" y="77"/>
                  </a:lnTo>
                  <a:lnTo>
                    <a:pt x="497" y="78"/>
                  </a:lnTo>
                  <a:lnTo>
                    <a:pt x="496" y="80"/>
                  </a:lnTo>
                  <a:lnTo>
                    <a:pt x="485" y="83"/>
                  </a:lnTo>
                  <a:lnTo>
                    <a:pt x="483" y="84"/>
                  </a:lnTo>
                  <a:lnTo>
                    <a:pt x="480" y="87"/>
                  </a:lnTo>
                  <a:lnTo>
                    <a:pt x="480" y="89"/>
                  </a:lnTo>
                  <a:lnTo>
                    <a:pt x="480" y="92"/>
                  </a:lnTo>
                  <a:lnTo>
                    <a:pt x="480" y="93"/>
                  </a:lnTo>
                  <a:lnTo>
                    <a:pt x="480" y="95"/>
                  </a:lnTo>
                  <a:lnTo>
                    <a:pt x="483" y="101"/>
                  </a:lnTo>
                  <a:lnTo>
                    <a:pt x="483" y="106"/>
                  </a:lnTo>
                  <a:lnTo>
                    <a:pt x="482" y="110"/>
                  </a:lnTo>
                  <a:lnTo>
                    <a:pt x="479" y="113"/>
                  </a:lnTo>
                  <a:lnTo>
                    <a:pt x="476" y="117"/>
                  </a:lnTo>
                  <a:lnTo>
                    <a:pt x="474" y="120"/>
                  </a:lnTo>
                  <a:lnTo>
                    <a:pt x="474" y="121"/>
                  </a:lnTo>
                  <a:lnTo>
                    <a:pt x="476" y="123"/>
                  </a:lnTo>
                  <a:lnTo>
                    <a:pt x="476" y="124"/>
                  </a:lnTo>
                  <a:lnTo>
                    <a:pt x="474" y="126"/>
                  </a:lnTo>
                  <a:lnTo>
                    <a:pt x="474" y="129"/>
                  </a:lnTo>
                  <a:lnTo>
                    <a:pt x="474" y="134"/>
                  </a:lnTo>
                  <a:lnTo>
                    <a:pt x="472" y="135"/>
                  </a:lnTo>
                  <a:lnTo>
                    <a:pt x="472" y="137"/>
                  </a:lnTo>
                  <a:lnTo>
                    <a:pt x="471" y="141"/>
                  </a:lnTo>
                  <a:lnTo>
                    <a:pt x="472" y="150"/>
                  </a:lnTo>
                  <a:lnTo>
                    <a:pt x="472" y="152"/>
                  </a:lnTo>
                  <a:lnTo>
                    <a:pt x="466" y="164"/>
                  </a:lnTo>
                  <a:lnTo>
                    <a:pt x="465" y="166"/>
                  </a:lnTo>
                  <a:lnTo>
                    <a:pt x="463" y="183"/>
                  </a:lnTo>
                  <a:lnTo>
                    <a:pt x="463" y="189"/>
                  </a:lnTo>
                  <a:lnTo>
                    <a:pt x="463" y="195"/>
                  </a:lnTo>
                  <a:lnTo>
                    <a:pt x="465" y="195"/>
                  </a:lnTo>
                  <a:lnTo>
                    <a:pt x="465" y="200"/>
                  </a:lnTo>
                  <a:lnTo>
                    <a:pt x="465" y="201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12"/>
                  </a:lnTo>
                  <a:lnTo>
                    <a:pt x="465" y="214"/>
                  </a:lnTo>
                  <a:lnTo>
                    <a:pt x="463" y="215"/>
                  </a:lnTo>
                  <a:lnTo>
                    <a:pt x="463" y="217"/>
                  </a:lnTo>
                  <a:lnTo>
                    <a:pt x="465" y="220"/>
                  </a:lnTo>
                  <a:lnTo>
                    <a:pt x="465" y="221"/>
                  </a:lnTo>
                  <a:lnTo>
                    <a:pt x="465" y="221"/>
                  </a:lnTo>
                  <a:lnTo>
                    <a:pt x="465" y="223"/>
                  </a:lnTo>
                  <a:lnTo>
                    <a:pt x="465" y="224"/>
                  </a:lnTo>
                  <a:lnTo>
                    <a:pt x="466" y="226"/>
                  </a:lnTo>
                  <a:lnTo>
                    <a:pt x="468" y="226"/>
                  </a:lnTo>
                  <a:lnTo>
                    <a:pt x="468" y="227"/>
                  </a:lnTo>
                  <a:lnTo>
                    <a:pt x="468" y="231"/>
                  </a:lnTo>
                  <a:lnTo>
                    <a:pt x="463" y="234"/>
                  </a:lnTo>
                  <a:lnTo>
                    <a:pt x="463" y="237"/>
                  </a:lnTo>
                  <a:lnTo>
                    <a:pt x="463" y="238"/>
                  </a:lnTo>
                  <a:lnTo>
                    <a:pt x="462" y="241"/>
                  </a:lnTo>
                  <a:lnTo>
                    <a:pt x="460" y="244"/>
                  </a:lnTo>
                  <a:lnTo>
                    <a:pt x="459" y="247"/>
                  </a:lnTo>
                  <a:lnTo>
                    <a:pt x="457" y="251"/>
                  </a:lnTo>
                  <a:lnTo>
                    <a:pt x="457" y="254"/>
                  </a:lnTo>
                  <a:lnTo>
                    <a:pt x="454" y="255"/>
                  </a:lnTo>
                  <a:lnTo>
                    <a:pt x="452" y="255"/>
                  </a:lnTo>
                  <a:lnTo>
                    <a:pt x="443" y="252"/>
                  </a:lnTo>
                  <a:lnTo>
                    <a:pt x="440" y="254"/>
                  </a:lnTo>
                  <a:lnTo>
                    <a:pt x="437" y="255"/>
                  </a:lnTo>
                  <a:lnTo>
                    <a:pt x="423" y="267"/>
                  </a:lnTo>
                  <a:lnTo>
                    <a:pt x="420" y="274"/>
                  </a:lnTo>
                  <a:lnTo>
                    <a:pt x="419" y="278"/>
                  </a:lnTo>
                  <a:lnTo>
                    <a:pt x="419" y="283"/>
                  </a:lnTo>
                  <a:lnTo>
                    <a:pt x="419" y="292"/>
                  </a:lnTo>
                  <a:lnTo>
                    <a:pt x="419" y="294"/>
                  </a:lnTo>
                  <a:lnTo>
                    <a:pt x="417" y="294"/>
                  </a:lnTo>
                  <a:lnTo>
                    <a:pt x="417" y="295"/>
                  </a:lnTo>
                  <a:lnTo>
                    <a:pt x="419" y="297"/>
                  </a:lnTo>
                  <a:lnTo>
                    <a:pt x="417" y="301"/>
                  </a:lnTo>
                  <a:lnTo>
                    <a:pt x="417" y="303"/>
                  </a:lnTo>
                  <a:lnTo>
                    <a:pt x="415" y="304"/>
                  </a:lnTo>
                  <a:lnTo>
                    <a:pt x="412" y="304"/>
                  </a:lnTo>
                  <a:lnTo>
                    <a:pt x="408" y="309"/>
                  </a:lnTo>
                  <a:lnTo>
                    <a:pt x="406" y="308"/>
                  </a:lnTo>
                  <a:lnTo>
                    <a:pt x="405" y="311"/>
                  </a:lnTo>
                  <a:lnTo>
                    <a:pt x="403" y="314"/>
                  </a:lnTo>
                  <a:lnTo>
                    <a:pt x="403" y="317"/>
                  </a:lnTo>
                  <a:lnTo>
                    <a:pt x="400" y="320"/>
                  </a:lnTo>
                  <a:lnTo>
                    <a:pt x="399" y="320"/>
                  </a:lnTo>
                  <a:lnTo>
                    <a:pt x="397" y="318"/>
                  </a:lnTo>
                  <a:lnTo>
                    <a:pt x="395" y="312"/>
                  </a:lnTo>
                  <a:lnTo>
                    <a:pt x="389" y="303"/>
                  </a:lnTo>
                  <a:lnTo>
                    <a:pt x="383" y="298"/>
                  </a:lnTo>
                  <a:lnTo>
                    <a:pt x="369" y="294"/>
                  </a:lnTo>
                  <a:lnTo>
                    <a:pt x="358" y="289"/>
                  </a:lnTo>
                  <a:lnTo>
                    <a:pt x="348" y="281"/>
                  </a:lnTo>
                  <a:lnTo>
                    <a:pt x="346" y="280"/>
                  </a:lnTo>
                  <a:lnTo>
                    <a:pt x="343" y="275"/>
                  </a:lnTo>
                  <a:lnTo>
                    <a:pt x="328" y="267"/>
                  </a:lnTo>
                  <a:lnTo>
                    <a:pt x="323" y="267"/>
                  </a:lnTo>
                  <a:lnTo>
                    <a:pt x="317" y="271"/>
                  </a:lnTo>
                  <a:lnTo>
                    <a:pt x="315" y="280"/>
                  </a:lnTo>
                  <a:lnTo>
                    <a:pt x="314" y="287"/>
                  </a:lnTo>
                  <a:lnTo>
                    <a:pt x="306" y="292"/>
                  </a:lnTo>
                  <a:lnTo>
                    <a:pt x="295" y="294"/>
                  </a:lnTo>
                  <a:lnTo>
                    <a:pt x="274" y="308"/>
                  </a:lnTo>
                  <a:lnTo>
                    <a:pt x="272" y="308"/>
                  </a:lnTo>
                  <a:lnTo>
                    <a:pt x="266" y="297"/>
                  </a:lnTo>
                  <a:lnTo>
                    <a:pt x="265" y="295"/>
                  </a:lnTo>
                  <a:lnTo>
                    <a:pt x="260" y="294"/>
                  </a:lnTo>
                  <a:lnTo>
                    <a:pt x="248" y="295"/>
                  </a:lnTo>
                  <a:lnTo>
                    <a:pt x="229" y="286"/>
                  </a:lnTo>
                  <a:lnTo>
                    <a:pt x="228" y="286"/>
                  </a:lnTo>
                  <a:lnTo>
                    <a:pt x="224" y="286"/>
                  </a:lnTo>
                  <a:lnTo>
                    <a:pt x="217" y="289"/>
                  </a:lnTo>
                  <a:lnTo>
                    <a:pt x="215" y="287"/>
                  </a:lnTo>
                  <a:lnTo>
                    <a:pt x="214" y="284"/>
                  </a:lnTo>
                  <a:lnTo>
                    <a:pt x="212" y="266"/>
                  </a:lnTo>
                  <a:lnTo>
                    <a:pt x="211" y="263"/>
                  </a:lnTo>
                  <a:lnTo>
                    <a:pt x="204" y="258"/>
                  </a:lnTo>
                  <a:lnTo>
                    <a:pt x="200" y="247"/>
                  </a:lnTo>
                  <a:lnTo>
                    <a:pt x="198" y="246"/>
                  </a:lnTo>
                  <a:lnTo>
                    <a:pt x="197" y="241"/>
                  </a:lnTo>
                  <a:lnTo>
                    <a:pt x="197" y="238"/>
                  </a:lnTo>
                  <a:lnTo>
                    <a:pt x="186" y="226"/>
                  </a:lnTo>
                  <a:lnTo>
                    <a:pt x="180" y="215"/>
                  </a:lnTo>
                  <a:lnTo>
                    <a:pt x="160" y="174"/>
                  </a:lnTo>
                  <a:lnTo>
                    <a:pt x="158" y="172"/>
                  </a:lnTo>
                  <a:lnTo>
                    <a:pt x="134" y="167"/>
                  </a:lnTo>
                  <a:lnTo>
                    <a:pt x="117" y="180"/>
                  </a:lnTo>
                  <a:lnTo>
                    <a:pt x="117" y="181"/>
                  </a:lnTo>
                  <a:lnTo>
                    <a:pt x="115" y="184"/>
                  </a:lnTo>
                  <a:lnTo>
                    <a:pt x="112" y="192"/>
                  </a:lnTo>
                  <a:lnTo>
                    <a:pt x="121" y="210"/>
                  </a:lnTo>
                  <a:lnTo>
                    <a:pt x="117" y="220"/>
                  </a:lnTo>
                  <a:lnTo>
                    <a:pt x="115" y="221"/>
                  </a:lnTo>
                  <a:lnTo>
                    <a:pt x="112" y="221"/>
                  </a:lnTo>
                  <a:lnTo>
                    <a:pt x="90" y="207"/>
                  </a:lnTo>
                  <a:lnTo>
                    <a:pt x="89" y="209"/>
                  </a:lnTo>
                  <a:lnTo>
                    <a:pt x="81" y="221"/>
                  </a:lnTo>
                  <a:lnTo>
                    <a:pt x="86" y="226"/>
                  </a:lnTo>
                  <a:lnTo>
                    <a:pt x="95" y="227"/>
                  </a:lnTo>
                  <a:lnTo>
                    <a:pt x="100" y="232"/>
                  </a:lnTo>
                  <a:lnTo>
                    <a:pt x="103" y="234"/>
                  </a:lnTo>
                  <a:lnTo>
                    <a:pt x="106" y="235"/>
                  </a:lnTo>
                  <a:lnTo>
                    <a:pt x="106" y="240"/>
                  </a:lnTo>
                  <a:lnTo>
                    <a:pt x="104" y="243"/>
                  </a:lnTo>
                  <a:lnTo>
                    <a:pt x="101" y="244"/>
                  </a:lnTo>
                  <a:lnTo>
                    <a:pt x="101" y="249"/>
                  </a:lnTo>
                  <a:lnTo>
                    <a:pt x="103" y="251"/>
                  </a:lnTo>
                  <a:lnTo>
                    <a:pt x="115" y="257"/>
                  </a:lnTo>
                  <a:lnTo>
                    <a:pt x="121" y="261"/>
                  </a:lnTo>
                  <a:lnTo>
                    <a:pt x="126" y="267"/>
                  </a:lnTo>
                  <a:lnTo>
                    <a:pt x="131" y="275"/>
                  </a:lnTo>
                  <a:lnTo>
                    <a:pt x="132" y="277"/>
                  </a:lnTo>
                  <a:lnTo>
                    <a:pt x="132" y="277"/>
                  </a:lnTo>
                  <a:lnTo>
                    <a:pt x="132" y="278"/>
                  </a:lnTo>
                  <a:lnTo>
                    <a:pt x="132" y="280"/>
                  </a:lnTo>
                  <a:lnTo>
                    <a:pt x="134" y="280"/>
                  </a:lnTo>
                  <a:lnTo>
                    <a:pt x="138" y="280"/>
                  </a:lnTo>
                  <a:lnTo>
                    <a:pt x="140" y="281"/>
                  </a:lnTo>
                  <a:lnTo>
                    <a:pt x="141" y="283"/>
                  </a:lnTo>
                  <a:lnTo>
                    <a:pt x="141" y="286"/>
                  </a:lnTo>
                  <a:lnTo>
                    <a:pt x="144" y="292"/>
                  </a:lnTo>
                  <a:lnTo>
                    <a:pt x="144" y="294"/>
                  </a:lnTo>
                  <a:lnTo>
                    <a:pt x="147" y="295"/>
                  </a:lnTo>
                  <a:lnTo>
                    <a:pt x="152" y="298"/>
                  </a:lnTo>
                  <a:lnTo>
                    <a:pt x="160" y="304"/>
                  </a:lnTo>
                  <a:lnTo>
                    <a:pt x="163" y="308"/>
                  </a:lnTo>
                  <a:lnTo>
                    <a:pt x="164" y="314"/>
                  </a:lnTo>
                  <a:lnTo>
                    <a:pt x="178" y="318"/>
                  </a:lnTo>
                  <a:lnTo>
                    <a:pt x="181" y="321"/>
                  </a:lnTo>
                  <a:lnTo>
                    <a:pt x="183" y="323"/>
                  </a:lnTo>
                  <a:lnTo>
                    <a:pt x="184" y="326"/>
                  </a:lnTo>
                  <a:lnTo>
                    <a:pt x="186" y="329"/>
                  </a:lnTo>
                  <a:lnTo>
                    <a:pt x="186" y="329"/>
                  </a:lnTo>
                  <a:lnTo>
                    <a:pt x="186" y="329"/>
                  </a:lnTo>
                  <a:lnTo>
                    <a:pt x="188" y="331"/>
                  </a:lnTo>
                  <a:lnTo>
                    <a:pt x="188" y="332"/>
                  </a:lnTo>
                  <a:lnTo>
                    <a:pt x="188" y="334"/>
                  </a:lnTo>
                  <a:lnTo>
                    <a:pt x="188" y="334"/>
                  </a:lnTo>
                  <a:lnTo>
                    <a:pt x="191" y="337"/>
                  </a:lnTo>
                  <a:lnTo>
                    <a:pt x="208" y="337"/>
                  </a:lnTo>
                  <a:lnTo>
                    <a:pt x="212" y="338"/>
                  </a:lnTo>
                  <a:lnTo>
                    <a:pt x="212" y="338"/>
                  </a:lnTo>
                  <a:lnTo>
                    <a:pt x="212" y="340"/>
                  </a:lnTo>
                  <a:lnTo>
                    <a:pt x="212" y="341"/>
                  </a:lnTo>
                  <a:lnTo>
                    <a:pt x="218" y="341"/>
                  </a:lnTo>
                  <a:lnTo>
                    <a:pt x="223" y="344"/>
                  </a:lnTo>
                  <a:lnTo>
                    <a:pt x="226" y="344"/>
                  </a:lnTo>
                  <a:lnTo>
                    <a:pt x="229" y="348"/>
                  </a:lnTo>
                  <a:lnTo>
                    <a:pt x="231" y="348"/>
                  </a:lnTo>
                  <a:lnTo>
                    <a:pt x="232" y="346"/>
                  </a:lnTo>
                  <a:lnTo>
                    <a:pt x="234" y="346"/>
                  </a:lnTo>
                  <a:lnTo>
                    <a:pt x="235" y="349"/>
                  </a:lnTo>
                  <a:lnTo>
                    <a:pt x="238" y="352"/>
                  </a:lnTo>
                  <a:lnTo>
                    <a:pt x="240" y="355"/>
                  </a:lnTo>
                  <a:lnTo>
                    <a:pt x="245" y="352"/>
                  </a:lnTo>
                  <a:lnTo>
                    <a:pt x="246" y="355"/>
                  </a:lnTo>
                  <a:lnTo>
                    <a:pt x="249" y="361"/>
                  </a:lnTo>
                  <a:lnTo>
                    <a:pt x="252" y="364"/>
                  </a:lnTo>
                  <a:lnTo>
                    <a:pt x="263" y="372"/>
                  </a:lnTo>
                  <a:lnTo>
                    <a:pt x="265" y="374"/>
                  </a:lnTo>
                  <a:lnTo>
                    <a:pt x="265" y="375"/>
                  </a:lnTo>
                  <a:lnTo>
                    <a:pt x="265" y="377"/>
                  </a:lnTo>
                  <a:lnTo>
                    <a:pt x="265" y="378"/>
                  </a:lnTo>
                  <a:lnTo>
                    <a:pt x="266" y="381"/>
                  </a:lnTo>
                  <a:lnTo>
                    <a:pt x="269" y="385"/>
                  </a:lnTo>
                  <a:lnTo>
                    <a:pt x="271" y="389"/>
                  </a:lnTo>
                  <a:lnTo>
                    <a:pt x="271" y="394"/>
                  </a:lnTo>
                  <a:lnTo>
                    <a:pt x="271" y="395"/>
                  </a:lnTo>
                  <a:lnTo>
                    <a:pt x="271" y="397"/>
                  </a:lnTo>
                  <a:lnTo>
                    <a:pt x="271" y="401"/>
                  </a:lnTo>
                  <a:lnTo>
                    <a:pt x="271" y="403"/>
                  </a:lnTo>
                  <a:lnTo>
                    <a:pt x="271" y="405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8"/>
                  </a:lnTo>
                  <a:lnTo>
                    <a:pt x="272" y="408"/>
                  </a:lnTo>
                  <a:lnTo>
                    <a:pt x="280" y="403"/>
                  </a:lnTo>
                  <a:lnTo>
                    <a:pt x="281" y="403"/>
                  </a:lnTo>
                  <a:lnTo>
                    <a:pt x="283" y="405"/>
                  </a:lnTo>
                  <a:lnTo>
                    <a:pt x="283" y="406"/>
                  </a:lnTo>
                  <a:lnTo>
                    <a:pt x="286" y="418"/>
                  </a:lnTo>
                  <a:lnTo>
                    <a:pt x="286" y="420"/>
                  </a:lnTo>
                  <a:lnTo>
                    <a:pt x="288" y="421"/>
                  </a:lnTo>
                  <a:lnTo>
                    <a:pt x="292" y="428"/>
                  </a:lnTo>
                  <a:lnTo>
                    <a:pt x="295" y="429"/>
                  </a:lnTo>
                  <a:lnTo>
                    <a:pt x="301" y="437"/>
                  </a:lnTo>
                  <a:lnTo>
                    <a:pt x="306" y="440"/>
                  </a:lnTo>
                  <a:lnTo>
                    <a:pt x="308" y="441"/>
                  </a:lnTo>
                  <a:lnTo>
                    <a:pt x="308" y="445"/>
                  </a:lnTo>
                  <a:lnTo>
                    <a:pt x="306" y="449"/>
                  </a:lnTo>
                  <a:lnTo>
                    <a:pt x="305" y="451"/>
                  </a:lnTo>
                  <a:lnTo>
                    <a:pt x="298" y="454"/>
                  </a:lnTo>
                  <a:lnTo>
                    <a:pt x="295" y="455"/>
                  </a:lnTo>
                  <a:lnTo>
                    <a:pt x="295" y="458"/>
                  </a:lnTo>
                  <a:lnTo>
                    <a:pt x="294" y="463"/>
                  </a:lnTo>
                  <a:lnTo>
                    <a:pt x="295" y="468"/>
                  </a:lnTo>
                  <a:lnTo>
                    <a:pt x="295" y="472"/>
                  </a:lnTo>
                  <a:lnTo>
                    <a:pt x="295" y="485"/>
                  </a:lnTo>
                  <a:lnTo>
                    <a:pt x="295" y="486"/>
                  </a:lnTo>
                  <a:lnTo>
                    <a:pt x="297" y="489"/>
                  </a:lnTo>
                  <a:lnTo>
                    <a:pt x="297" y="497"/>
                  </a:lnTo>
                  <a:lnTo>
                    <a:pt x="297" y="500"/>
                  </a:lnTo>
                  <a:lnTo>
                    <a:pt x="300" y="506"/>
                  </a:lnTo>
                  <a:lnTo>
                    <a:pt x="300" y="509"/>
                  </a:lnTo>
                  <a:lnTo>
                    <a:pt x="300" y="514"/>
                  </a:lnTo>
                  <a:lnTo>
                    <a:pt x="298" y="515"/>
                  </a:lnTo>
                  <a:lnTo>
                    <a:pt x="297" y="517"/>
                  </a:lnTo>
                  <a:lnTo>
                    <a:pt x="294" y="520"/>
                  </a:lnTo>
                  <a:lnTo>
                    <a:pt x="295" y="522"/>
                  </a:lnTo>
                  <a:lnTo>
                    <a:pt x="294" y="526"/>
                  </a:lnTo>
                  <a:lnTo>
                    <a:pt x="292" y="529"/>
                  </a:lnTo>
                  <a:lnTo>
                    <a:pt x="291" y="532"/>
                  </a:lnTo>
                  <a:lnTo>
                    <a:pt x="292" y="538"/>
                  </a:lnTo>
                  <a:lnTo>
                    <a:pt x="294" y="542"/>
                  </a:lnTo>
                  <a:lnTo>
                    <a:pt x="297" y="542"/>
                  </a:lnTo>
                  <a:lnTo>
                    <a:pt x="300" y="540"/>
                  </a:lnTo>
                  <a:lnTo>
                    <a:pt x="303" y="538"/>
                  </a:lnTo>
                  <a:lnTo>
                    <a:pt x="308" y="543"/>
                  </a:lnTo>
                  <a:lnTo>
                    <a:pt x="314" y="543"/>
                  </a:lnTo>
                  <a:lnTo>
                    <a:pt x="315" y="545"/>
                  </a:lnTo>
                  <a:lnTo>
                    <a:pt x="315" y="546"/>
                  </a:lnTo>
                  <a:lnTo>
                    <a:pt x="315" y="551"/>
                  </a:lnTo>
                  <a:lnTo>
                    <a:pt x="315" y="555"/>
                  </a:lnTo>
                  <a:lnTo>
                    <a:pt x="315" y="560"/>
                  </a:lnTo>
                  <a:lnTo>
                    <a:pt x="317" y="562"/>
                  </a:lnTo>
                  <a:lnTo>
                    <a:pt x="315" y="568"/>
                  </a:lnTo>
                  <a:lnTo>
                    <a:pt x="314" y="571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3" y="580"/>
                  </a:lnTo>
                  <a:lnTo>
                    <a:pt x="303" y="583"/>
                  </a:lnTo>
                  <a:lnTo>
                    <a:pt x="303" y="585"/>
                  </a:lnTo>
                  <a:lnTo>
                    <a:pt x="305" y="585"/>
                  </a:lnTo>
                  <a:lnTo>
                    <a:pt x="305" y="588"/>
                  </a:lnTo>
                  <a:lnTo>
                    <a:pt x="303" y="589"/>
                  </a:lnTo>
                  <a:lnTo>
                    <a:pt x="303" y="592"/>
                  </a:lnTo>
                  <a:lnTo>
                    <a:pt x="301" y="594"/>
                  </a:lnTo>
                  <a:lnTo>
                    <a:pt x="301" y="597"/>
                  </a:lnTo>
                  <a:lnTo>
                    <a:pt x="303" y="600"/>
                  </a:lnTo>
                  <a:lnTo>
                    <a:pt x="305" y="602"/>
                  </a:lnTo>
                  <a:lnTo>
                    <a:pt x="308" y="606"/>
                  </a:lnTo>
                  <a:lnTo>
                    <a:pt x="308" y="606"/>
                  </a:lnTo>
                  <a:lnTo>
                    <a:pt x="309" y="608"/>
                  </a:lnTo>
                  <a:lnTo>
                    <a:pt x="309" y="609"/>
                  </a:lnTo>
                  <a:lnTo>
                    <a:pt x="309" y="612"/>
                  </a:lnTo>
                  <a:lnTo>
                    <a:pt x="309" y="614"/>
                  </a:lnTo>
                  <a:lnTo>
                    <a:pt x="309" y="615"/>
                  </a:lnTo>
                  <a:lnTo>
                    <a:pt x="309" y="617"/>
                  </a:lnTo>
                  <a:lnTo>
                    <a:pt x="312" y="623"/>
                  </a:lnTo>
                  <a:lnTo>
                    <a:pt x="314" y="626"/>
                  </a:lnTo>
                  <a:lnTo>
                    <a:pt x="315" y="628"/>
                  </a:lnTo>
                  <a:lnTo>
                    <a:pt x="318" y="628"/>
                  </a:lnTo>
                  <a:lnTo>
                    <a:pt x="320" y="631"/>
                  </a:lnTo>
                  <a:lnTo>
                    <a:pt x="325" y="640"/>
                  </a:lnTo>
                  <a:lnTo>
                    <a:pt x="326" y="645"/>
                  </a:lnTo>
                  <a:lnTo>
                    <a:pt x="328" y="648"/>
                  </a:lnTo>
                  <a:lnTo>
                    <a:pt x="331" y="652"/>
                  </a:lnTo>
                  <a:lnTo>
                    <a:pt x="334" y="662"/>
                  </a:lnTo>
                  <a:lnTo>
                    <a:pt x="334" y="663"/>
                  </a:lnTo>
                  <a:lnTo>
                    <a:pt x="334" y="665"/>
                  </a:lnTo>
                  <a:lnTo>
                    <a:pt x="332" y="666"/>
                  </a:lnTo>
                  <a:lnTo>
                    <a:pt x="331" y="665"/>
                  </a:lnTo>
                  <a:lnTo>
                    <a:pt x="329" y="666"/>
                  </a:lnTo>
                  <a:lnTo>
                    <a:pt x="328" y="669"/>
                  </a:lnTo>
                  <a:lnTo>
                    <a:pt x="326" y="674"/>
                  </a:lnTo>
                  <a:lnTo>
                    <a:pt x="325" y="676"/>
                  </a:lnTo>
                  <a:lnTo>
                    <a:pt x="326" y="682"/>
                  </a:lnTo>
                  <a:lnTo>
                    <a:pt x="326" y="686"/>
                  </a:lnTo>
                  <a:lnTo>
                    <a:pt x="326" y="689"/>
                  </a:lnTo>
                  <a:lnTo>
                    <a:pt x="325" y="692"/>
                  </a:lnTo>
                  <a:lnTo>
                    <a:pt x="325" y="696"/>
                  </a:lnTo>
                  <a:lnTo>
                    <a:pt x="325" y="699"/>
                  </a:lnTo>
                  <a:lnTo>
                    <a:pt x="326" y="703"/>
                  </a:lnTo>
                  <a:lnTo>
                    <a:pt x="325" y="706"/>
                  </a:lnTo>
                  <a:lnTo>
                    <a:pt x="325" y="709"/>
                  </a:lnTo>
                  <a:lnTo>
                    <a:pt x="323" y="711"/>
                  </a:lnTo>
                  <a:lnTo>
                    <a:pt x="318" y="713"/>
                  </a:lnTo>
                  <a:lnTo>
                    <a:pt x="318" y="716"/>
                  </a:lnTo>
                  <a:lnTo>
                    <a:pt x="317" y="717"/>
                  </a:lnTo>
                  <a:lnTo>
                    <a:pt x="315" y="719"/>
                  </a:lnTo>
                  <a:lnTo>
                    <a:pt x="314" y="720"/>
                  </a:lnTo>
                  <a:lnTo>
                    <a:pt x="314" y="723"/>
                  </a:lnTo>
                  <a:lnTo>
                    <a:pt x="312" y="723"/>
                  </a:lnTo>
                  <a:lnTo>
                    <a:pt x="309" y="725"/>
                  </a:lnTo>
                  <a:lnTo>
                    <a:pt x="308" y="728"/>
                  </a:lnTo>
                  <a:lnTo>
                    <a:pt x="306" y="733"/>
                  </a:lnTo>
                  <a:lnTo>
                    <a:pt x="308" y="734"/>
                  </a:lnTo>
                  <a:lnTo>
                    <a:pt x="309" y="739"/>
                  </a:lnTo>
                  <a:lnTo>
                    <a:pt x="309" y="740"/>
                  </a:lnTo>
                  <a:lnTo>
                    <a:pt x="309" y="742"/>
                  </a:lnTo>
                  <a:lnTo>
                    <a:pt x="309" y="746"/>
                  </a:lnTo>
                  <a:lnTo>
                    <a:pt x="309" y="748"/>
                  </a:lnTo>
                  <a:lnTo>
                    <a:pt x="309" y="751"/>
                  </a:lnTo>
                  <a:lnTo>
                    <a:pt x="308" y="753"/>
                  </a:lnTo>
                  <a:lnTo>
                    <a:pt x="308" y="754"/>
                  </a:lnTo>
                  <a:lnTo>
                    <a:pt x="309" y="757"/>
                  </a:lnTo>
                  <a:lnTo>
                    <a:pt x="309" y="760"/>
                  </a:lnTo>
                  <a:lnTo>
                    <a:pt x="311" y="765"/>
                  </a:lnTo>
                  <a:lnTo>
                    <a:pt x="312" y="776"/>
                  </a:lnTo>
                  <a:lnTo>
                    <a:pt x="315" y="779"/>
                  </a:lnTo>
                  <a:lnTo>
                    <a:pt x="317" y="780"/>
                  </a:lnTo>
                  <a:lnTo>
                    <a:pt x="325" y="783"/>
                  </a:lnTo>
                  <a:lnTo>
                    <a:pt x="326" y="785"/>
                  </a:lnTo>
                  <a:lnTo>
                    <a:pt x="331" y="797"/>
                  </a:lnTo>
                  <a:lnTo>
                    <a:pt x="331" y="799"/>
                  </a:lnTo>
                  <a:lnTo>
                    <a:pt x="332" y="800"/>
                  </a:lnTo>
                  <a:lnTo>
                    <a:pt x="334" y="803"/>
                  </a:lnTo>
                  <a:lnTo>
                    <a:pt x="335" y="803"/>
                  </a:lnTo>
                  <a:lnTo>
                    <a:pt x="335" y="806"/>
                  </a:lnTo>
                  <a:lnTo>
                    <a:pt x="337" y="816"/>
                  </a:lnTo>
                  <a:lnTo>
                    <a:pt x="337" y="819"/>
                  </a:lnTo>
                  <a:lnTo>
                    <a:pt x="337" y="822"/>
                  </a:lnTo>
                  <a:lnTo>
                    <a:pt x="338" y="826"/>
                  </a:lnTo>
                  <a:lnTo>
                    <a:pt x="342" y="830"/>
                  </a:lnTo>
                  <a:lnTo>
                    <a:pt x="343" y="837"/>
                  </a:lnTo>
                  <a:lnTo>
                    <a:pt x="346" y="842"/>
                  </a:lnTo>
                  <a:lnTo>
                    <a:pt x="346" y="845"/>
                  </a:lnTo>
                  <a:lnTo>
                    <a:pt x="346" y="846"/>
                  </a:lnTo>
                  <a:lnTo>
                    <a:pt x="346" y="848"/>
                  </a:lnTo>
                  <a:lnTo>
                    <a:pt x="348" y="851"/>
                  </a:lnTo>
                  <a:lnTo>
                    <a:pt x="349" y="853"/>
                  </a:lnTo>
                  <a:lnTo>
                    <a:pt x="351" y="854"/>
                  </a:lnTo>
                  <a:lnTo>
                    <a:pt x="352" y="853"/>
                  </a:lnTo>
                  <a:lnTo>
                    <a:pt x="352" y="850"/>
                  </a:lnTo>
                  <a:lnTo>
                    <a:pt x="352" y="848"/>
                  </a:lnTo>
                  <a:lnTo>
                    <a:pt x="351" y="845"/>
                  </a:lnTo>
                  <a:lnTo>
                    <a:pt x="354" y="848"/>
                  </a:lnTo>
                  <a:lnTo>
                    <a:pt x="357" y="850"/>
                  </a:lnTo>
                  <a:lnTo>
                    <a:pt x="358" y="850"/>
                  </a:lnTo>
                  <a:lnTo>
                    <a:pt x="360" y="853"/>
                  </a:lnTo>
                  <a:lnTo>
                    <a:pt x="363" y="854"/>
                  </a:lnTo>
                  <a:lnTo>
                    <a:pt x="365" y="854"/>
                  </a:lnTo>
                  <a:lnTo>
                    <a:pt x="365" y="854"/>
                  </a:lnTo>
                  <a:lnTo>
                    <a:pt x="365" y="853"/>
                  </a:lnTo>
                  <a:lnTo>
                    <a:pt x="365" y="851"/>
                  </a:lnTo>
                  <a:lnTo>
                    <a:pt x="366" y="851"/>
                  </a:lnTo>
                  <a:lnTo>
                    <a:pt x="368" y="850"/>
                  </a:lnTo>
                  <a:lnTo>
                    <a:pt x="369" y="850"/>
                  </a:lnTo>
                  <a:lnTo>
                    <a:pt x="371" y="850"/>
                  </a:lnTo>
                  <a:lnTo>
                    <a:pt x="372" y="850"/>
                  </a:lnTo>
                  <a:lnTo>
                    <a:pt x="374" y="848"/>
                  </a:lnTo>
                  <a:lnTo>
                    <a:pt x="377" y="839"/>
                  </a:lnTo>
                  <a:lnTo>
                    <a:pt x="379" y="837"/>
                  </a:lnTo>
                  <a:lnTo>
                    <a:pt x="379" y="837"/>
                  </a:lnTo>
                  <a:lnTo>
                    <a:pt x="379" y="836"/>
                  </a:lnTo>
                  <a:lnTo>
                    <a:pt x="379" y="834"/>
                  </a:lnTo>
                  <a:lnTo>
                    <a:pt x="380" y="833"/>
                  </a:lnTo>
                  <a:lnTo>
                    <a:pt x="380" y="833"/>
                  </a:lnTo>
                  <a:lnTo>
                    <a:pt x="380" y="833"/>
                  </a:lnTo>
                  <a:lnTo>
                    <a:pt x="382" y="833"/>
                  </a:lnTo>
                  <a:lnTo>
                    <a:pt x="385" y="831"/>
                  </a:lnTo>
                  <a:lnTo>
                    <a:pt x="386" y="830"/>
                  </a:lnTo>
                  <a:lnTo>
                    <a:pt x="386" y="831"/>
                  </a:lnTo>
                  <a:lnTo>
                    <a:pt x="385" y="833"/>
                  </a:lnTo>
                  <a:lnTo>
                    <a:pt x="383" y="833"/>
                  </a:lnTo>
                  <a:lnTo>
                    <a:pt x="382" y="834"/>
                  </a:lnTo>
                  <a:lnTo>
                    <a:pt x="382" y="834"/>
                  </a:lnTo>
                  <a:lnTo>
                    <a:pt x="380" y="839"/>
                  </a:lnTo>
                  <a:lnTo>
                    <a:pt x="377" y="848"/>
                  </a:lnTo>
                  <a:lnTo>
                    <a:pt x="375" y="851"/>
                  </a:lnTo>
                  <a:lnTo>
                    <a:pt x="374" y="856"/>
                  </a:lnTo>
                  <a:lnTo>
                    <a:pt x="375" y="859"/>
                  </a:lnTo>
                  <a:lnTo>
                    <a:pt x="375" y="862"/>
                  </a:lnTo>
                  <a:lnTo>
                    <a:pt x="377" y="865"/>
                  </a:lnTo>
                  <a:lnTo>
                    <a:pt x="379" y="865"/>
                  </a:lnTo>
                  <a:lnTo>
                    <a:pt x="383" y="868"/>
                  </a:lnTo>
                  <a:lnTo>
                    <a:pt x="383" y="870"/>
                  </a:lnTo>
                  <a:lnTo>
                    <a:pt x="383" y="871"/>
                  </a:lnTo>
                  <a:lnTo>
                    <a:pt x="383" y="877"/>
                  </a:lnTo>
                  <a:lnTo>
                    <a:pt x="383" y="879"/>
                  </a:lnTo>
                  <a:lnTo>
                    <a:pt x="385" y="880"/>
                  </a:lnTo>
                  <a:lnTo>
                    <a:pt x="386" y="879"/>
                  </a:lnTo>
                  <a:lnTo>
                    <a:pt x="386" y="879"/>
                  </a:lnTo>
                  <a:lnTo>
                    <a:pt x="389" y="876"/>
                  </a:lnTo>
                  <a:lnTo>
                    <a:pt x="391" y="874"/>
                  </a:lnTo>
                  <a:lnTo>
                    <a:pt x="394" y="874"/>
                  </a:lnTo>
                  <a:lnTo>
                    <a:pt x="397" y="874"/>
                  </a:lnTo>
                  <a:lnTo>
                    <a:pt x="400" y="876"/>
                  </a:lnTo>
                  <a:lnTo>
                    <a:pt x="402" y="877"/>
                  </a:lnTo>
                  <a:lnTo>
                    <a:pt x="402" y="880"/>
                  </a:lnTo>
                  <a:lnTo>
                    <a:pt x="403" y="880"/>
                  </a:lnTo>
                  <a:lnTo>
                    <a:pt x="405" y="882"/>
                  </a:lnTo>
                  <a:lnTo>
                    <a:pt x="408" y="880"/>
                  </a:lnTo>
                  <a:lnTo>
                    <a:pt x="409" y="882"/>
                  </a:lnTo>
                  <a:lnTo>
                    <a:pt x="411" y="883"/>
                  </a:lnTo>
                  <a:lnTo>
                    <a:pt x="412" y="882"/>
                  </a:lnTo>
                  <a:lnTo>
                    <a:pt x="414" y="883"/>
                  </a:lnTo>
                  <a:lnTo>
                    <a:pt x="414" y="885"/>
                  </a:lnTo>
                  <a:lnTo>
                    <a:pt x="414" y="887"/>
                  </a:lnTo>
                  <a:lnTo>
                    <a:pt x="415" y="887"/>
                  </a:lnTo>
                  <a:lnTo>
                    <a:pt x="415" y="888"/>
                  </a:lnTo>
                  <a:lnTo>
                    <a:pt x="415" y="890"/>
                  </a:lnTo>
                  <a:lnTo>
                    <a:pt x="417" y="893"/>
                  </a:lnTo>
                  <a:lnTo>
                    <a:pt x="419" y="893"/>
                  </a:lnTo>
                  <a:lnTo>
                    <a:pt x="420" y="893"/>
                  </a:lnTo>
                  <a:lnTo>
                    <a:pt x="423" y="893"/>
                  </a:lnTo>
                  <a:lnTo>
                    <a:pt x="425" y="893"/>
                  </a:lnTo>
                  <a:lnTo>
                    <a:pt x="429" y="899"/>
                  </a:lnTo>
                  <a:lnTo>
                    <a:pt x="432" y="902"/>
                  </a:lnTo>
                  <a:lnTo>
                    <a:pt x="434" y="907"/>
                  </a:lnTo>
                  <a:lnTo>
                    <a:pt x="434" y="910"/>
                  </a:lnTo>
                  <a:lnTo>
                    <a:pt x="434" y="916"/>
                  </a:lnTo>
                  <a:lnTo>
                    <a:pt x="434" y="919"/>
                  </a:lnTo>
                  <a:lnTo>
                    <a:pt x="434" y="920"/>
                  </a:lnTo>
                  <a:lnTo>
                    <a:pt x="432" y="923"/>
                  </a:lnTo>
                  <a:lnTo>
                    <a:pt x="432" y="923"/>
                  </a:lnTo>
                  <a:lnTo>
                    <a:pt x="431" y="925"/>
                  </a:lnTo>
                  <a:lnTo>
                    <a:pt x="429" y="925"/>
                  </a:lnTo>
                  <a:lnTo>
                    <a:pt x="428" y="925"/>
                  </a:lnTo>
                  <a:lnTo>
                    <a:pt x="432" y="931"/>
                  </a:lnTo>
                  <a:lnTo>
                    <a:pt x="432" y="933"/>
                  </a:lnTo>
                  <a:lnTo>
                    <a:pt x="431" y="933"/>
                  </a:lnTo>
                  <a:lnTo>
                    <a:pt x="431" y="934"/>
                  </a:lnTo>
                  <a:lnTo>
                    <a:pt x="431" y="934"/>
                  </a:lnTo>
                  <a:lnTo>
                    <a:pt x="431" y="936"/>
                  </a:lnTo>
                  <a:lnTo>
                    <a:pt x="432" y="936"/>
                  </a:lnTo>
                  <a:lnTo>
                    <a:pt x="431" y="939"/>
                  </a:lnTo>
                  <a:lnTo>
                    <a:pt x="429" y="943"/>
                  </a:lnTo>
                  <a:lnTo>
                    <a:pt x="429" y="947"/>
                  </a:lnTo>
                  <a:lnTo>
                    <a:pt x="429" y="947"/>
                  </a:lnTo>
                  <a:lnTo>
                    <a:pt x="429" y="947"/>
                  </a:lnTo>
                  <a:lnTo>
                    <a:pt x="431" y="947"/>
                  </a:lnTo>
                  <a:lnTo>
                    <a:pt x="431" y="948"/>
                  </a:lnTo>
                  <a:lnTo>
                    <a:pt x="431" y="951"/>
                  </a:lnTo>
                  <a:lnTo>
                    <a:pt x="431" y="951"/>
                  </a:lnTo>
                  <a:lnTo>
                    <a:pt x="432" y="951"/>
                  </a:lnTo>
                  <a:lnTo>
                    <a:pt x="432" y="953"/>
                  </a:lnTo>
                  <a:lnTo>
                    <a:pt x="431" y="953"/>
                  </a:lnTo>
                  <a:lnTo>
                    <a:pt x="431" y="953"/>
                  </a:lnTo>
                  <a:lnTo>
                    <a:pt x="429" y="953"/>
                  </a:lnTo>
                  <a:lnTo>
                    <a:pt x="429" y="953"/>
                  </a:lnTo>
                  <a:lnTo>
                    <a:pt x="429" y="956"/>
                  </a:lnTo>
                  <a:lnTo>
                    <a:pt x="429" y="959"/>
                  </a:lnTo>
                  <a:lnTo>
                    <a:pt x="428" y="960"/>
                  </a:lnTo>
                  <a:lnTo>
                    <a:pt x="428" y="962"/>
                  </a:lnTo>
                  <a:lnTo>
                    <a:pt x="425" y="965"/>
                  </a:lnTo>
                  <a:lnTo>
                    <a:pt x="425" y="967"/>
                  </a:lnTo>
                  <a:lnTo>
                    <a:pt x="423" y="970"/>
                  </a:lnTo>
                  <a:lnTo>
                    <a:pt x="432" y="973"/>
                  </a:lnTo>
                  <a:lnTo>
                    <a:pt x="434" y="976"/>
                  </a:lnTo>
                  <a:lnTo>
                    <a:pt x="435" y="976"/>
                  </a:lnTo>
                  <a:lnTo>
                    <a:pt x="435" y="977"/>
                  </a:lnTo>
                  <a:lnTo>
                    <a:pt x="435" y="979"/>
                  </a:lnTo>
                  <a:lnTo>
                    <a:pt x="435" y="980"/>
                  </a:lnTo>
                  <a:lnTo>
                    <a:pt x="435" y="982"/>
                  </a:lnTo>
                  <a:lnTo>
                    <a:pt x="437" y="984"/>
                  </a:lnTo>
                  <a:lnTo>
                    <a:pt x="439" y="987"/>
                  </a:lnTo>
                  <a:lnTo>
                    <a:pt x="439" y="987"/>
                  </a:lnTo>
                  <a:lnTo>
                    <a:pt x="439" y="988"/>
                  </a:lnTo>
                  <a:lnTo>
                    <a:pt x="439" y="988"/>
                  </a:lnTo>
                  <a:lnTo>
                    <a:pt x="440" y="990"/>
                  </a:lnTo>
                  <a:lnTo>
                    <a:pt x="439" y="993"/>
                  </a:lnTo>
                  <a:lnTo>
                    <a:pt x="440" y="994"/>
                  </a:lnTo>
                  <a:lnTo>
                    <a:pt x="440" y="996"/>
                  </a:lnTo>
                  <a:lnTo>
                    <a:pt x="440" y="997"/>
                  </a:lnTo>
                  <a:lnTo>
                    <a:pt x="440" y="1000"/>
                  </a:lnTo>
                  <a:lnTo>
                    <a:pt x="439" y="1000"/>
                  </a:lnTo>
                  <a:lnTo>
                    <a:pt x="437" y="1000"/>
                  </a:lnTo>
                  <a:lnTo>
                    <a:pt x="435" y="999"/>
                  </a:lnTo>
                  <a:lnTo>
                    <a:pt x="432" y="996"/>
                  </a:lnTo>
                  <a:lnTo>
                    <a:pt x="432" y="994"/>
                  </a:lnTo>
                  <a:lnTo>
                    <a:pt x="425" y="994"/>
                  </a:lnTo>
                  <a:lnTo>
                    <a:pt x="423" y="994"/>
                  </a:lnTo>
                  <a:lnTo>
                    <a:pt x="423" y="996"/>
                  </a:lnTo>
                  <a:lnTo>
                    <a:pt x="423" y="996"/>
                  </a:lnTo>
                  <a:lnTo>
                    <a:pt x="423" y="997"/>
                  </a:lnTo>
                  <a:lnTo>
                    <a:pt x="422" y="997"/>
                  </a:lnTo>
                  <a:lnTo>
                    <a:pt x="425" y="1004"/>
                  </a:lnTo>
                  <a:lnTo>
                    <a:pt x="426" y="1005"/>
                  </a:lnTo>
                  <a:lnTo>
                    <a:pt x="429" y="1005"/>
                  </a:lnTo>
                  <a:lnTo>
                    <a:pt x="431" y="1008"/>
                  </a:lnTo>
                  <a:lnTo>
                    <a:pt x="432" y="1008"/>
                  </a:lnTo>
                  <a:lnTo>
                    <a:pt x="432" y="1008"/>
                  </a:lnTo>
                  <a:lnTo>
                    <a:pt x="434" y="1008"/>
                  </a:lnTo>
                  <a:lnTo>
                    <a:pt x="434" y="1008"/>
                  </a:lnTo>
                  <a:lnTo>
                    <a:pt x="435" y="1010"/>
                  </a:lnTo>
                  <a:lnTo>
                    <a:pt x="435" y="1011"/>
                  </a:lnTo>
                  <a:lnTo>
                    <a:pt x="434" y="1016"/>
                  </a:lnTo>
                  <a:lnTo>
                    <a:pt x="434" y="1017"/>
                  </a:lnTo>
                  <a:lnTo>
                    <a:pt x="435" y="1022"/>
                  </a:lnTo>
                  <a:lnTo>
                    <a:pt x="434" y="1022"/>
                  </a:lnTo>
                  <a:lnTo>
                    <a:pt x="428" y="1024"/>
                  </a:lnTo>
                  <a:lnTo>
                    <a:pt x="425" y="1024"/>
                  </a:lnTo>
                  <a:lnTo>
                    <a:pt x="426" y="1022"/>
                  </a:lnTo>
                  <a:lnTo>
                    <a:pt x="426" y="1022"/>
                  </a:lnTo>
                  <a:lnTo>
                    <a:pt x="428" y="1022"/>
                  </a:lnTo>
                  <a:lnTo>
                    <a:pt x="428" y="1020"/>
                  </a:lnTo>
                  <a:lnTo>
                    <a:pt x="425" y="1020"/>
                  </a:lnTo>
                  <a:lnTo>
                    <a:pt x="425" y="1020"/>
                  </a:lnTo>
                  <a:lnTo>
                    <a:pt x="423" y="1019"/>
                  </a:lnTo>
                  <a:lnTo>
                    <a:pt x="422" y="1016"/>
                  </a:lnTo>
                  <a:lnTo>
                    <a:pt x="422" y="1016"/>
                  </a:lnTo>
                  <a:lnTo>
                    <a:pt x="422" y="1013"/>
                  </a:lnTo>
                  <a:lnTo>
                    <a:pt x="422" y="1013"/>
                  </a:lnTo>
                  <a:lnTo>
                    <a:pt x="420" y="1011"/>
                  </a:lnTo>
                  <a:lnTo>
                    <a:pt x="420" y="1013"/>
                  </a:lnTo>
                  <a:lnTo>
                    <a:pt x="419" y="1013"/>
                  </a:lnTo>
                  <a:lnTo>
                    <a:pt x="419" y="1013"/>
                  </a:lnTo>
                  <a:lnTo>
                    <a:pt x="417" y="1011"/>
                  </a:lnTo>
                  <a:lnTo>
                    <a:pt x="417" y="1008"/>
                  </a:lnTo>
                  <a:lnTo>
                    <a:pt x="415" y="1007"/>
                  </a:lnTo>
                  <a:lnTo>
                    <a:pt x="415" y="1007"/>
                  </a:lnTo>
                  <a:lnTo>
                    <a:pt x="414" y="1007"/>
                  </a:lnTo>
                  <a:lnTo>
                    <a:pt x="400" y="1014"/>
                  </a:lnTo>
                  <a:lnTo>
                    <a:pt x="391" y="1016"/>
                  </a:lnTo>
                  <a:lnTo>
                    <a:pt x="388" y="1017"/>
                  </a:lnTo>
                  <a:lnTo>
                    <a:pt x="388" y="1020"/>
                  </a:lnTo>
                  <a:lnTo>
                    <a:pt x="385" y="1020"/>
                  </a:lnTo>
                  <a:lnTo>
                    <a:pt x="383" y="1022"/>
                  </a:lnTo>
                  <a:lnTo>
                    <a:pt x="383" y="1025"/>
                  </a:lnTo>
                  <a:lnTo>
                    <a:pt x="383" y="1027"/>
                  </a:lnTo>
                  <a:lnTo>
                    <a:pt x="383" y="1027"/>
                  </a:lnTo>
                  <a:lnTo>
                    <a:pt x="383" y="1028"/>
                  </a:lnTo>
                  <a:lnTo>
                    <a:pt x="383" y="1030"/>
                  </a:lnTo>
                  <a:lnTo>
                    <a:pt x="383" y="1030"/>
                  </a:lnTo>
                  <a:lnTo>
                    <a:pt x="377" y="1025"/>
                  </a:lnTo>
                  <a:lnTo>
                    <a:pt x="375" y="1025"/>
                  </a:lnTo>
                  <a:lnTo>
                    <a:pt x="374" y="1027"/>
                  </a:lnTo>
                  <a:lnTo>
                    <a:pt x="374" y="1028"/>
                  </a:lnTo>
                  <a:lnTo>
                    <a:pt x="377" y="1030"/>
                  </a:lnTo>
                  <a:lnTo>
                    <a:pt x="375" y="1033"/>
                  </a:lnTo>
                  <a:lnTo>
                    <a:pt x="374" y="1033"/>
                  </a:lnTo>
                  <a:lnTo>
                    <a:pt x="372" y="1036"/>
                  </a:lnTo>
                  <a:lnTo>
                    <a:pt x="372" y="1036"/>
                  </a:lnTo>
                  <a:lnTo>
                    <a:pt x="374" y="1037"/>
                  </a:lnTo>
                  <a:lnTo>
                    <a:pt x="374" y="1039"/>
                  </a:lnTo>
                  <a:lnTo>
                    <a:pt x="372" y="1042"/>
                  </a:lnTo>
                  <a:lnTo>
                    <a:pt x="371" y="1044"/>
                  </a:lnTo>
                  <a:lnTo>
                    <a:pt x="368" y="1045"/>
                  </a:lnTo>
                  <a:lnTo>
                    <a:pt x="366" y="1048"/>
                  </a:lnTo>
                  <a:lnTo>
                    <a:pt x="365" y="1048"/>
                  </a:lnTo>
                  <a:lnTo>
                    <a:pt x="365" y="1048"/>
                  </a:lnTo>
                  <a:lnTo>
                    <a:pt x="365" y="1050"/>
                  </a:lnTo>
                  <a:lnTo>
                    <a:pt x="365" y="1051"/>
                  </a:lnTo>
                  <a:lnTo>
                    <a:pt x="363" y="1053"/>
                  </a:lnTo>
                  <a:lnTo>
                    <a:pt x="362" y="1057"/>
                  </a:lnTo>
                  <a:lnTo>
                    <a:pt x="362" y="1059"/>
                  </a:lnTo>
                  <a:lnTo>
                    <a:pt x="360" y="1062"/>
                  </a:lnTo>
                  <a:lnTo>
                    <a:pt x="362" y="1062"/>
                  </a:lnTo>
                  <a:lnTo>
                    <a:pt x="362" y="1064"/>
                  </a:lnTo>
                  <a:lnTo>
                    <a:pt x="362" y="1065"/>
                  </a:lnTo>
                  <a:lnTo>
                    <a:pt x="360" y="1067"/>
                  </a:lnTo>
                  <a:lnTo>
                    <a:pt x="360" y="1068"/>
                  </a:lnTo>
                  <a:lnTo>
                    <a:pt x="360" y="1070"/>
                  </a:lnTo>
                  <a:lnTo>
                    <a:pt x="360" y="1071"/>
                  </a:lnTo>
                  <a:lnTo>
                    <a:pt x="358" y="1074"/>
                  </a:lnTo>
                  <a:lnTo>
                    <a:pt x="357" y="1074"/>
                  </a:lnTo>
                  <a:lnTo>
                    <a:pt x="357" y="1076"/>
                  </a:lnTo>
                  <a:lnTo>
                    <a:pt x="355" y="1077"/>
                  </a:lnTo>
                  <a:lnTo>
                    <a:pt x="354" y="1077"/>
                  </a:lnTo>
                  <a:lnTo>
                    <a:pt x="354" y="1079"/>
                  </a:lnTo>
                  <a:lnTo>
                    <a:pt x="354" y="1081"/>
                  </a:lnTo>
                  <a:lnTo>
                    <a:pt x="352" y="1082"/>
                  </a:lnTo>
                  <a:lnTo>
                    <a:pt x="351" y="1081"/>
                  </a:lnTo>
                  <a:lnTo>
                    <a:pt x="349" y="1082"/>
                  </a:lnTo>
                  <a:lnTo>
                    <a:pt x="349" y="1082"/>
                  </a:lnTo>
                  <a:lnTo>
                    <a:pt x="349" y="1084"/>
                  </a:lnTo>
                  <a:lnTo>
                    <a:pt x="349" y="1087"/>
                  </a:lnTo>
                  <a:lnTo>
                    <a:pt x="349" y="1088"/>
                  </a:lnTo>
                  <a:lnTo>
                    <a:pt x="346" y="1088"/>
                  </a:lnTo>
                  <a:lnTo>
                    <a:pt x="343" y="1090"/>
                  </a:lnTo>
                  <a:lnTo>
                    <a:pt x="343" y="1090"/>
                  </a:lnTo>
                  <a:lnTo>
                    <a:pt x="342" y="1090"/>
                  </a:lnTo>
                  <a:lnTo>
                    <a:pt x="342" y="1091"/>
                  </a:lnTo>
                  <a:lnTo>
                    <a:pt x="340" y="1091"/>
                  </a:lnTo>
                  <a:lnTo>
                    <a:pt x="340" y="1091"/>
                  </a:lnTo>
                  <a:lnTo>
                    <a:pt x="340" y="1094"/>
                  </a:lnTo>
                  <a:lnTo>
                    <a:pt x="338" y="1096"/>
                  </a:lnTo>
                  <a:lnTo>
                    <a:pt x="335" y="1097"/>
                  </a:lnTo>
                  <a:lnTo>
                    <a:pt x="334" y="1099"/>
                  </a:lnTo>
                  <a:lnTo>
                    <a:pt x="334" y="1101"/>
                  </a:lnTo>
                  <a:lnTo>
                    <a:pt x="332" y="1105"/>
                  </a:lnTo>
                  <a:lnTo>
                    <a:pt x="331" y="1108"/>
                  </a:lnTo>
                  <a:lnTo>
                    <a:pt x="329" y="1111"/>
                  </a:lnTo>
                  <a:lnTo>
                    <a:pt x="328" y="1113"/>
                  </a:lnTo>
                  <a:lnTo>
                    <a:pt x="328" y="1116"/>
                  </a:lnTo>
                  <a:lnTo>
                    <a:pt x="328" y="1119"/>
                  </a:lnTo>
                  <a:lnTo>
                    <a:pt x="329" y="1121"/>
                  </a:lnTo>
                  <a:lnTo>
                    <a:pt x="329" y="1122"/>
                  </a:lnTo>
                  <a:lnTo>
                    <a:pt x="328" y="1122"/>
                  </a:lnTo>
                  <a:lnTo>
                    <a:pt x="325" y="1119"/>
                  </a:lnTo>
                  <a:lnTo>
                    <a:pt x="323" y="1119"/>
                  </a:lnTo>
                  <a:lnTo>
                    <a:pt x="322" y="1125"/>
                  </a:lnTo>
                  <a:lnTo>
                    <a:pt x="322" y="1127"/>
                  </a:lnTo>
                  <a:lnTo>
                    <a:pt x="320" y="1127"/>
                  </a:lnTo>
                  <a:lnTo>
                    <a:pt x="317" y="1130"/>
                  </a:lnTo>
                  <a:lnTo>
                    <a:pt x="315" y="1130"/>
                  </a:lnTo>
                  <a:lnTo>
                    <a:pt x="314" y="1128"/>
                  </a:lnTo>
                  <a:lnTo>
                    <a:pt x="312" y="1130"/>
                  </a:lnTo>
                  <a:lnTo>
                    <a:pt x="312" y="1131"/>
                  </a:lnTo>
                  <a:lnTo>
                    <a:pt x="312" y="1134"/>
                  </a:lnTo>
                  <a:lnTo>
                    <a:pt x="312" y="1134"/>
                  </a:lnTo>
                  <a:lnTo>
                    <a:pt x="312" y="1136"/>
                  </a:lnTo>
                  <a:lnTo>
                    <a:pt x="311" y="1136"/>
                  </a:lnTo>
                  <a:lnTo>
                    <a:pt x="309" y="1139"/>
                  </a:lnTo>
                  <a:lnTo>
                    <a:pt x="308" y="1141"/>
                  </a:lnTo>
                  <a:lnTo>
                    <a:pt x="308" y="1142"/>
                  </a:lnTo>
                  <a:lnTo>
                    <a:pt x="308" y="1144"/>
                  </a:lnTo>
                  <a:lnTo>
                    <a:pt x="305" y="1147"/>
                  </a:lnTo>
                  <a:lnTo>
                    <a:pt x="305" y="1147"/>
                  </a:lnTo>
                  <a:lnTo>
                    <a:pt x="303" y="1147"/>
                  </a:lnTo>
                  <a:lnTo>
                    <a:pt x="301" y="1147"/>
                  </a:lnTo>
                  <a:lnTo>
                    <a:pt x="301" y="1148"/>
                  </a:lnTo>
                  <a:lnTo>
                    <a:pt x="301" y="1150"/>
                  </a:lnTo>
                  <a:lnTo>
                    <a:pt x="305" y="1154"/>
                  </a:lnTo>
                  <a:lnTo>
                    <a:pt x="305" y="1159"/>
                  </a:lnTo>
                  <a:lnTo>
                    <a:pt x="305" y="1161"/>
                  </a:lnTo>
                  <a:lnTo>
                    <a:pt x="298" y="1159"/>
                  </a:lnTo>
                  <a:lnTo>
                    <a:pt x="297" y="1158"/>
                  </a:lnTo>
                  <a:lnTo>
                    <a:pt x="295" y="1158"/>
                  </a:lnTo>
                  <a:lnTo>
                    <a:pt x="295" y="1159"/>
                  </a:lnTo>
                  <a:lnTo>
                    <a:pt x="294" y="1159"/>
                  </a:lnTo>
                  <a:lnTo>
                    <a:pt x="294" y="1159"/>
                  </a:lnTo>
                  <a:lnTo>
                    <a:pt x="292" y="1158"/>
                  </a:lnTo>
                  <a:lnTo>
                    <a:pt x="292" y="1156"/>
                  </a:lnTo>
                  <a:lnTo>
                    <a:pt x="289" y="1156"/>
                  </a:lnTo>
                  <a:lnTo>
                    <a:pt x="289" y="1156"/>
                  </a:lnTo>
                  <a:lnTo>
                    <a:pt x="288" y="1156"/>
                  </a:lnTo>
                  <a:lnTo>
                    <a:pt x="286" y="1164"/>
                  </a:lnTo>
                  <a:lnTo>
                    <a:pt x="286" y="1165"/>
                  </a:lnTo>
                  <a:lnTo>
                    <a:pt x="286" y="1167"/>
                  </a:lnTo>
                  <a:lnTo>
                    <a:pt x="288" y="1168"/>
                  </a:lnTo>
                  <a:lnTo>
                    <a:pt x="288" y="1170"/>
                  </a:lnTo>
                  <a:lnTo>
                    <a:pt x="286" y="1173"/>
                  </a:lnTo>
                  <a:lnTo>
                    <a:pt x="286" y="1174"/>
                  </a:lnTo>
                  <a:lnTo>
                    <a:pt x="288" y="1176"/>
                  </a:lnTo>
                  <a:lnTo>
                    <a:pt x="289" y="1178"/>
                  </a:lnTo>
                  <a:lnTo>
                    <a:pt x="288" y="1181"/>
                  </a:lnTo>
                  <a:lnTo>
                    <a:pt x="286" y="1182"/>
                  </a:lnTo>
                  <a:lnTo>
                    <a:pt x="285" y="1182"/>
                  </a:lnTo>
                  <a:lnTo>
                    <a:pt x="283" y="1181"/>
                  </a:lnTo>
                  <a:lnTo>
                    <a:pt x="281" y="1182"/>
                  </a:lnTo>
                  <a:lnTo>
                    <a:pt x="280" y="1184"/>
                  </a:lnTo>
                  <a:lnTo>
                    <a:pt x="274" y="1184"/>
                  </a:lnTo>
                  <a:lnTo>
                    <a:pt x="271" y="1184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71" y="1188"/>
                  </a:lnTo>
                  <a:lnTo>
                    <a:pt x="271" y="1188"/>
                  </a:lnTo>
                  <a:lnTo>
                    <a:pt x="269" y="1188"/>
                  </a:lnTo>
                  <a:lnTo>
                    <a:pt x="269" y="1190"/>
                  </a:lnTo>
                  <a:lnTo>
                    <a:pt x="268" y="1190"/>
                  </a:lnTo>
                  <a:lnTo>
                    <a:pt x="265" y="1188"/>
                  </a:lnTo>
                  <a:lnTo>
                    <a:pt x="263" y="1190"/>
                  </a:lnTo>
                  <a:lnTo>
                    <a:pt x="263" y="1191"/>
                  </a:lnTo>
                  <a:lnTo>
                    <a:pt x="258" y="1196"/>
                  </a:lnTo>
                  <a:lnTo>
                    <a:pt x="258" y="1198"/>
                  </a:lnTo>
                  <a:lnTo>
                    <a:pt x="258" y="1199"/>
                  </a:lnTo>
                  <a:lnTo>
                    <a:pt x="258" y="1201"/>
                  </a:lnTo>
                  <a:lnTo>
                    <a:pt x="258" y="1201"/>
                  </a:lnTo>
                  <a:lnTo>
                    <a:pt x="258" y="1204"/>
                  </a:lnTo>
                  <a:lnTo>
                    <a:pt x="258" y="1205"/>
                  </a:lnTo>
                  <a:lnTo>
                    <a:pt x="258" y="1205"/>
                  </a:lnTo>
                  <a:lnTo>
                    <a:pt x="257" y="1204"/>
                  </a:lnTo>
                  <a:lnTo>
                    <a:pt x="255" y="1199"/>
                  </a:lnTo>
                  <a:lnTo>
                    <a:pt x="255" y="1199"/>
                  </a:lnTo>
                  <a:lnTo>
                    <a:pt x="254" y="1199"/>
                  </a:lnTo>
                  <a:lnTo>
                    <a:pt x="252" y="1199"/>
                  </a:lnTo>
                  <a:lnTo>
                    <a:pt x="251" y="1202"/>
                  </a:lnTo>
                  <a:lnTo>
                    <a:pt x="252" y="1204"/>
                  </a:lnTo>
                  <a:lnTo>
                    <a:pt x="254" y="1204"/>
                  </a:lnTo>
                  <a:lnTo>
                    <a:pt x="254" y="1205"/>
                  </a:lnTo>
                  <a:lnTo>
                    <a:pt x="254" y="1205"/>
                  </a:lnTo>
                  <a:lnTo>
                    <a:pt x="254" y="1207"/>
                  </a:lnTo>
                  <a:lnTo>
                    <a:pt x="254" y="1208"/>
                  </a:lnTo>
                  <a:lnTo>
                    <a:pt x="252" y="1208"/>
                  </a:lnTo>
                  <a:lnTo>
                    <a:pt x="252" y="1208"/>
                  </a:lnTo>
                  <a:lnTo>
                    <a:pt x="249" y="1208"/>
                  </a:lnTo>
                  <a:lnTo>
                    <a:pt x="251" y="1208"/>
                  </a:lnTo>
                  <a:lnTo>
                    <a:pt x="252" y="1211"/>
                  </a:lnTo>
                  <a:lnTo>
                    <a:pt x="246" y="1211"/>
                  </a:lnTo>
                  <a:lnTo>
                    <a:pt x="251" y="1213"/>
                  </a:lnTo>
                  <a:lnTo>
                    <a:pt x="252" y="1215"/>
                  </a:lnTo>
                  <a:lnTo>
                    <a:pt x="251" y="1216"/>
                  </a:lnTo>
                  <a:lnTo>
                    <a:pt x="248" y="1218"/>
                  </a:lnTo>
                  <a:lnTo>
                    <a:pt x="248" y="1219"/>
                  </a:lnTo>
                  <a:lnTo>
                    <a:pt x="246" y="1221"/>
                  </a:lnTo>
                  <a:lnTo>
                    <a:pt x="246" y="1221"/>
                  </a:lnTo>
                  <a:lnTo>
                    <a:pt x="246" y="1222"/>
                  </a:lnTo>
                  <a:lnTo>
                    <a:pt x="246" y="1224"/>
                  </a:lnTo>
                  <a:lnTo>
                    <a:pt x="246" y="1224"/>
                  </a:lnTo>
                  <a:lnTo>
                    <a:pt x="246" y="1225"/>
                  </a:lnTo>
                  <a:lnTo>
                    <a:pt x="245" y="1225"/>
                  </a:lnTo>
                  <a:lnTo>
                    <a:pt x="245" y="1225"/>
                  </a:lnTo>
                  <a:lnTo>
                    <a:pt x="243" y="1227"/>
                  </a:lnTo>
                  <a:lnTo>
                    <a:pt x="241" y="1227"/>
                  </a:lnTo>
                  <a:lnTo>
                    <a:pt x="241" y="1228"/>
                  </a:lnTo>
                  <a:lnTo>
                    <a:pt x="240" y="1228"/>
                  </a:lnTo>
                  <a:lnTo>
                    <a:pt x="240" y="1227"/>
                  </a:lnTo>
                  <a:lnTo>
                    <a:pt x="238" y="1224"/>
                  </a:lnTo>
                  <a:lnTo>
                    <a:pt x="237" y="1222"/>
                  </a:lnTo>
                  <a:lnTo>
                    <a:pt x="237" y="1221"/>
                  </a:lnTo>
                  <a:lnTo>
                    <a:pt x="237" y="1218"/>
                  </a:lnTo>
                  <a:lnTo>
                    <a:pt x="235" y="1216"/>
                  </a:lnTo>
                  <a:lnTo>
                    <a:pt x="235" y="1215"/>
                  </a:lnTo>
                  <a:lnTo>
                    <a:pt x="234" y="1215"/>
                  </a:lnTo>
                  <a:lnTo>
                    <a:pt x="234" y="1215"/>
                  </a:lnTo>
                  <a:lnTo>
                    <a:pt x="232" y="1216"/>
                  </a:lnTo>
                  <a:lnTo>
                    <a:pt x="232" y="1218"/>
                  </a:lnTo>
                  <a:lnTo>
                    <a:pt x="232" y="1218"/>
                  </a:lnTo>
                  <a:lnTo>
                    <a:pt x="231" y="1218"/>
                  </a:lnTo>
                  <a:lnTo>
                    <a:pt x="231" y="1216"/>
                  </a:lnTo>
                  <a:lnTo>
                    <a:pt x="229" y="1215"/>
                  </a:lnTo>
                  <a:lnTo>
                    <a:pt x="229" y="1215"/>
                  </a:lnTo>
                  <a:lnTo>
                    <a:pt x="229" y="1216"/>
                  </a:lnTo>
                  <a:lnTo>
                    <a:pt x="229" y="1219"/>
                  </a:lnTo>
                  <a:lnTo>
                    <a:pt x="228" y="1222"/>
                  </a:lnTo>
                  <a:lnTo>
                    <a:pt x="226" y="1224"/>
                  </a:lnTo>
                  <a:lnTo>
                    <a:pt x="223" y="1222"/>
                  </a:lnTo>
                  <a:lnTo>
                    <a:pt x="224" y="1224"/>
                  </a:lnTo>
                  <a:lnTo>
                    <a:pt x="224" y="1224"/>
                  </a:lnTo>
                  <a:lnTo>
                    <a:pt x="224" y="1225"/>
                  </a:lnTo>
                  <a:lnTo>
                    <a:pt x="223" y="1225"/>
                  </a:lnTo>
                  <a:lnTo>
                    <a:pt x="223" y="1227"/>
                  </a:lnTo>
                  <a:lnTo>
                    <a:pt x="221" y="1228"/>
                  </a:lnTo>
                  <a:lnTo>
                    <a:pt x="224" y="1235"/>
                  </a:lnTo>
                  <a:lnTo>
                    <a:pt x="224" y="1236"/>
                  </a:lnTo>
                  <a:lnTo>
                    <a:pt x="221" y="1235"/>
                  </a:lnTo>
                  <a:lnTo>
                    <a:pt x="221" y="1235"/>
                  </a:lnTo>
                  <a:lnTo>
                    <a:pt x="221" y="1236"/>
                  </a:lnTo>
                  <a:lnTo>
                    <a:pt x="220" y="1238"/>
                  </a:lnTo>
                  <a:lnTo>
                    <a:pt x="220" y="1239"/>
                  </a:lnTo>
                  <a:lnTo>
                    <a:pt x="218" y="1239"/>
                  </a:lnTo>
                  <a:lnTo>
                    <a:pt x="218" y="1245"/>
                  </a:lnTo>
                  <a:lnTo>
                    <a:pt x="217" y="1245"/>
                  </a:lnTo>
                  <a:lnTo>
                    <a:pt x="217" y="1248"/>
                  </a:lnTo>
                  <a:lnTo>
                    <a:pt x="217" y="1250"/>
                  </a:lnTo>
                  <a:lnTo>
                    <a:pt x="217" y="1251"/>
                  </a:lnTo>
                  <a:lnTo>
                    <a:pt x="217" y="1253"/>
                  </a:lnTo>
                  <a:lnTo>
                    <a:pt x="217" y="1253"/>
                  </a:lnTo>
                  <a:lnTo>
                    <a:pt x="217" y="1255"/>
                  </a:lnTo>
                  <a:lnTo>
                    <a:pt x="215" y="1256"/>
                  </a:lnTo>
                  <a:lnTo>
                    <a:pt x="214" y="1256"/>
                  </a:lnTo>
                  <a:lnTo>
                    <a:pt x="214" y="1253"/>
                  </a:lnTo>
                  <a:lnTo>
                    <a:pt x="212" y="1251"/>
                  </a:lnTo>
                  <a:lnTo>
                    <a:pt x="211" y="1251"/>
                  </a:lnTo>
                  <a:lnTo>
                    <a:pt x="209" y="1250"/>
                  </a:lnTo>
                  <a:lnTo>
                    <a:pt x="209" y="1248"/>
                  </a:lnTo>
                  <a:lnTo>
                    <a:pt x="209" y="1247"/>
                  </a:lnTo>
                  <a:lnTo>
                    <a:pt x="209" y="1245"/>
                  </a:lnTo>
                  <a:lnTo>
                    <a:pt x="208" y="1244"/>
                  </a:lnTo>
                  <a:lnTo>
                    <a:pt x="206" y="1244"/>
                  </a:lnTo>
                  <a:lnTo>
                    <a:pt x="206" y="1244"/>
                  </a:lnTo>
                  <a:lnTo>
                    <a:pt x="204" y="1247"/>
                  </a:lnTo>
                  <a:lnTo>
                    <a:pt x="206" y="1251"/>
                  </a:lnTo>
                  <a:lnTo>
                    <a:pt x="208" y="1256"/>
                  </a:lnTo>
                  <a:lnTo>
                    <a:pt x="214" y="1262"/>
                  </a:lnTo>
                  <a:lnTo>
                    <a:pt x="212" y="1261"/>
                  </a:lnTo>
                  <a:lnTo>
                    <a:pt x="209" y="1261"/>
                  </a:lnTo>
                  <a:lnTo>
                    <a:pt x="208" y="1259"/>
                  </a:lnTo>
                  <a:lnTo>
                    <a:pt x="204" y="1256"/>
                  </a:lnTo>
                  <a:lnTo>
                    <a:pt x="203" y="1255"/>
                  </a:lnTo>
                  <a:lnTo>
                    <a:pt x="200" y="1253"/>
                  </a:lnTo>
                  <a:lnTo>
                    <a:pt x="198" y="1256"/>
                  </a:lnTo>
                  <a:lnTo>
                    <a:pt x="198" y="1261"/>
                  </a:lnTo>
                  <a:lnTo>
                    <a:pt x="200" y="1262"/>
                  </a:lnTo>
                  <a:lnTo>
                    <a:pt x="201" y="1264"/>
                  </a:lnTo>
                  <a:lnTo>
                    <a:pt x="201" y="1264"/>
                  </a:lnTo>
                  <a:lnTo>
                    <a:pt x="203" y="1264"/>
                  </a:lnTo>
                  <a:lnTo>
                    <a:pt x="203" y="1264"/>
                  </a:lnTo>
                  <a:lnTo>
                    <a:pt x="208" y="1270"/>
                  </a:lnTo>
                  <a:lnTo>
                    <a:pt x="209" y="1271"/>
                  </a:lnTo>
                  <a:lnTo>
                    <a:pt x="211" y="1275"/>
                  </a:lnTo>
                  <a:lnTo>
                    <a:pt x="211" y="1276"/>
                  </a:lnTo>
                  <a:lnTo>
                    <a:pt x="212" y="1278"/>
                  </a:lnTo>
                  <a:lnTo>
                    <a:pt x="212" y="1279"/>
                  </a:lnTo>
                  <a:lnTo>
                    <a:pt x="211" y="1281"/>
                  </a:lnTo>
                  <a:lnTo>
                    <a:pt x="209" y="1285"/>
                  </a:lnTo>
                  <a:lnTo>
                    <a:pt x="208" y="1285"/>
                  </a:lnTo>
                  <a:lnTo>
                    <a:pt x="206" y="1282"/>
                  </a:lnTo>
                  <a:lnTo>
                    <a:pt x="204" y="1282"/>
                  </a:lnTo>
                  <a:lnTo>
                    <a:pt x="204" y="1284"/>
                  </a:lnTo>
                  <a:lnTo>
                    <a:pt x="203" y="1287"/>
                  </a:lnTo>
                  <a:lnTo>
                    <a:pt x="200" y="1292"/>
                  </a:lnTo>
                  <a:lnTo>
                    <a:pt x="200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3"/>
                  </a:lnTo>
                  <a:lnTo>
                    <a:pt x="197" y="1293"/>
                  </a:lnTo>
                  <a:lnTo>
                    <a:pt x="197" y="1293"/>
                  </a:lnTo>
                  <a:lnTo>
                    <a:pt x="195" y="1293"/>
                  </a:lnTo>
                  <a:lnTo>
                    <a:pt x="194" y="1292"/>
                  </a:lnTo>
                  <a:lnTo>
                    <a:pt x="194" y="1293"/>
                  </a:lnTo>
                  <a:lnTo>
                    <a:pt x="191" y="1295"/>
                  </a:lnTo>
                  <a:lnTo>
                    <a:pt x="191" y="1295"/>
                  </a:lnTo>
                  <a:lnTo>
                    <a:pt x="189" y="1293"/>
                  </a:lnTo>
                  <a:lnTo>
                    <a:pt x="189" y="1292"/>
                  </a:lnTo>
                  <a:lnTo>
                    <a:pt x="188" y="1292"/>
                  </a:lnTo>
                  <a:lnTo>
                    <a:pt x="186" y="1292"/>
                  </a:lnTo>
                  <a:lnTo>
                    <a:pt x="186" y="1293"/>
                  </a:lnTo>
                  <a:lnTo>
                    <a:pt x="186" y="1295"/>
                  </a:lnTo>
                  <a:lnTo>
                    <a:pt x="186" y="1296"/>
                  </a:lnTo>
                  <a:lnTo>
                    <a:pt x="184" y="1298"/>
                  </a:lnTo>
                  <a:lnTo>
                    <a:pt x="184" y="1299"/>
                  </a:lnTo>
                  <a:lnTo>
                    <a:pt x="183" y="1301"/>
                  </a:lnTo>
                  <a:lnTo>
                    <a:pt x="181" y="1301"/>
                  </a:lnTo>
                  <a:lnTo>
                    <a:pt x="183" y="1304"/>
                  </a:lnTo>
                  <a:lnTo>
                    <a:pt x="183" y="1308"/>
                  </a:lnTo>
                  <a:lnTo>
                    <a:pt x="177" y="1302"/>
                  </a:lnTo>
                  <a:lnTo>
                    <a:pt x="175" y="1302"/>
                  </a:lnTo>
                  <a:lnTo>
                    <a:pt x="177" y="1301"/>
                  </a:lnTo>
                  <a:lnTo>
                    <a:pt x="177" y="1299"/>
                  </a:lnTo>
                  <a:lnTo>
                    <a:pt x="175" y="1293"/>
                  </a:lnTo>
                  <a:lnTo>
                    <a:pt x="175" y="1292"/>
                  </a:lnTo>
                  <a:lnTo>
                    <a:pt x="177" y="1288"/>
                  </a:lnTo>
                  <a:lnTo>
                    <a:pt x="175" y="1288"/>
                  </a:lnTo>
                  <a:lnTo>
                    <a:pt x="171" y="1292"/>
                  </a:lnTo>
                  <a:lnTo>
                    <a:pt x="169" y="1292"/>
                  </a:lnTo>
                  <a:lnTo>
                    <a:pt x="166" y="1292"/>
                  </a:lnTo>
                  <a:lnTo>
                    <a:pt x="166" y="1292"/>
                  </a:lnTo>
                  <a:lnTo>
                    <a:pt x="163" y="1295"/>
                  </a:lnTo>
                  <a:lnTo>
                    <a:pt x="163" y="1296"/>
                  </a:lnTo>
                  <a:lnTo>
                    <a:pt x="163" y="1296"/>
                  </a:lnTo>
                  <a:lnTo>
                    <a:pt x="166" y="1296"/>
                  </a:lnTo>
                  <a:lnTo>
                    <a:pt x="168" y="1298"/>
                  </a:lnTo>
                  <a:lnTo>
                    <a:pt x="166" y="1299"/>
                  </a:lnTo>
                  <a:lnTo>
                    <a:pt x="163" y="1298"/>
                  </a:lnTo>
                  <a:lnTo>
                    <a:pt x="161" y="1298"/>
                  </a:lnTo>
                  <a:lnTo>
                    <a:pt x="160" y="1296"/>
                  </a:lnTo>
                  <a:lnTo>
                    <a:pt x="158" y="1299"/>
                  </a:lnTo>
                  <a:lnTo>
                    <a:pt x="155" y="1298"/>
                  </a:lnTo>
                  <a:lnTo>
                    <a:pt x="152" y="1293"/>
                  </a:lnTo>
                  <a:lnTo>
                    <a:pt x="151" y="1293"/>
                  </a:lnTo>
                  <a:lnTo>
                    <a:pt x="149" y="1295"/>
                  </a:lnTo>
                  <a:lnTo>
                    <a:pt x="147" y="1296"/>
                  </a:lnTo>
                  <a:lnTo>
                    <a:pt x="147" y="1298"/>
                  </a:lnTo>
                  <a:lnTo>
                    <a:pt x="147" y="1299"/>
                  </a:lnTo>
                  <a:lnTo>
                    <a:pt x="147" y="1301"/>
                  </a:lnTo>
                  <a:lnTo>
                    <a:pt x="151" y="1302"/>
                  </a:lnTo>
                  <a:lnTo>
                    <a:pt x="151" y="1304"/>
                  </a:lnTo>
                  <a:lnTo>
                    <a:pt x="149" y="1304"/>
                  </a:lnTo>
                  <a:lnTo>
                    <a:pt x="147" y="1304"/>
                  </a:lnTo>
                  <a:lnTo>
                    <a:pt x="147" y="1305"/>
                  </a:lnTo>
                  <a:lnTo>
                    <a:pt x="149" y="1305"/>
                  </a:lnTo>
                  <a:lnTo>
                    <a:pt x="149" y="1307"/>
                  </a:lnTo>
                  <a:lnTo>
                    <a:pt x="149" y="1308"/>
                  </a:lnTo>
                  <a:lnTo>
                    <a:pt x="149" y="1310"/>
                  </a:lnTo>
                  <a:lnTo>
                    <a:pt x="149" y="1312"/>
                  </a:lnTo>
                  <a:lnTo>
                    <a:pt x="151" y="1312"/>
                  </a:lnTo>
                  <a:lnTo>
                    <a:pt x="152" y="1312"/>
                  </a:lnTo>
                  <a:lnTo>
                    <a:pt x="152" y="1312"/>
                  </a:lnTo>
                  <a:lnTo>
                    <a:pt x="151" y="1313"/>
                  </a:lnTo>
                  <a:lnTo>
                    <a:pt x="152" y="1316"/>
                  </a:lnTo>
                  <a:lnTo>
                    <a:pt x="154" y="1318"/>
                  </a:lnTo>
                  <a:lnTo>
                    <a:pt x="158" y="1322"/>
                  </a:lnTo>
                  <a:lnTo>
                    <a:pt x="161" y="1327"/>
                  </a:lnTo>
                  <a:lnTo>
                    <a:pt x="158" y="1328"/>
                  </a:lnTo>
                  <a:lnTo>
                    <a:pt x="157" y="1327"/>
                  </a:lnTo>
                  <a:lnTo>
                    <a:pt x="154" y="1325"/>
                  </a:lnTo>
                  <a:lnTo>
                    <a:pt x="152" y="1325"/>
                  </a:lnTo>
                  <a:lnTo>
                    <a:pt x="149" y="1321"/>
                  </a:lnTo>
                  <a:lnTo>
                    <a:pt x="147" y="1319"/>
                  </a:lnTo>
                  <a:lnTo>
                    <a:pt x="146" y="1322"/>
                  </a:lnTo>
                  <a:lnTo>
                    <a:pt x="146" y="1324"/>
                  </a:lnTo>
                  <a:lnTo>
                    <a:pt x="146" y="1324"/>
                  </a:lnTo>
                  <a:lnTo>
                    <a:pt x="144" y="1324"/>
                  </a:lnTo>
                  <a:lnTo>
                    <a:pt x="144" y="1324"/>
                  </a:lnTo>
                  <a:lnTo>
                    <a:pt x="143" y="1325"/>
                  </a:lnTo>
                  <a:lnTo>
                    <a:pt x="143" y="1325"/>
                  </a:lnTo>
                  <a:lnTo>
                    <a:pt x="143" y="1325"/>
                  </a:lnTo>
                  <a:lnTo>
                    <a:pt x="143" y="1327"/>
                  </a:lnTo>
                  <a:lnTo>
                    <a:pt x="143" y="1330"/>
                  </a:lnTo>
                  <a:lnTo>
                    <a:pt x="143" y="1333"/>
                  </a:lnTo>
                  <a:lnTo>
                    <a:pt x="144" y="1339"/>
                  </a:lnTo>
                  <a:lnTo>
                    <a:pt x="141" y="1341"/>
                  </a:lnTo>
                  <a:lnTo>
                    <a:pt x="141" y="1341"/>
                  </a:lnTo>
                  <a:lnTo>
                    <a:pt x="141" y="1342"/>
                  </a:lnTo>
                  <a:lnTo>
                    <a:pt x="140" y="1345"/>
                  </a:lnTo>
                  <a:lnTo>
                    <a:pt x="140" y="1347"/>
                  </a:lnTo>
                  <a:lnTo>
                    <a:pt x="140" y="1350"/>
                  </a:lnTo>
                  <a:lnTo>
                    <a:pt x="140" y="1352"/>
                  </a:lnTo>
                  <a:lnTo>
                    <a:pt x="138" y="1352"/>
                  </a:lnTo>
                  <a:lnTo>
                    <a:pt x="137" y="1353"/>
                  </a:lnTo>
                  <a:lnTo>
                    <a:pt x="137" y="1355"/>
                  </a:lnTo>
                  <a:lnTo>
                    <a:pt x="135" y="1355"/>
                  </a:lnTo>
                  <a:lnTo>
                    <a:pt x="131" y="1353"/>
                  </a:lnTo>
                  <a:lnTo>
                    <a:pt x="127" y="1353"/>
                  </a:lnTo>
                  <a:lnTo>
                    <a:pt x="127" y="1355"/>
                  </a:lnTo>
                  <a:lnTo>
                    <a:pt x="126" y="1356"/>
                  </a:lnTo>
                  <a:lnTo>
                    <a:pt x="126" y="1359"/>
                  </a:lnTo>
                  <a:lnTo>
                    <a:pt x="126" y="1362"/>
                  </a:lnTo>
                  <a:lnTo>
                    <a:pt x="126" y="1362"/>
                  </a:lnTo>
                  <a:lnTo>
                    <a:pt x="124" y="1365"/>
                  </a:lnTo>
                  <a:lnTo>
                    <a:pt x="124" y="1365"/>
                  </a:lnTo>
                  <a:lnTo>
                    <a:pt x="124" y="1367"/>
                  </a:lnTo>
                  <a:lnTo>
                    <a:pt x="123" y="1367"/>
                  </a:lnTo>
                  <a:lnTo>
                    <a:pt x="121" y="1365"/>
                  </a:lnTo>
                  <a:lnTo>
                    <a:pt x="120" y="1365"/>
                  </a:lnTo>
                  <a:lnTo>
                    <a:pt x="118" y="1367"/>
                  </a:lnTo>
                  <a:lnTo>
                    <a:pt x="118" y="1370"/>
                  </a:lnTo>
                  <a:lnTo>
                    <a:pt x="118" y="1372"/>
                  </a:lnTo>
                  <a:lnTo>
                    <a:pt x="120" y="1373"/>
                  </a:lnTo>
                  <a:lnTo>
                    <a:pt x="120" y="1375"/>
                  </a:lnTo>
                  <a:lnTo>
                    <a:pt x="121" y="1375"/>
                  </a:lnTo>
                  <a:lnTo>
                    <a:pt x="121" y="1375"/>
                  </a:lnTo>
                  <a:lnTo>
                    <a:pt x="121" y="1376"/>
                  </a:lnTo>
                  <a:lnTo>
                    <a:pt x="121" y="1378"/>
                  </a:lnTo>
                  <a:lnTo>
                    <a:pt x="121" y="1379"/>
                  </a:lnTo>
                  <a:lnTo>
                    <a:pt x="120" y="1382"/>
                  </a:lnTo>
                  <a:lnTo>
                    <a:pt x="117" y="1384"/>
                  </a:lnTo>
                  <a:lnTo>
                    <a:pt x="117" y="1384"/>
                  </a:lnTo>
                  <a:lnTo>
                    <a:pt x="117" y="1387"/>
                  </a:lnTo>
                  <a:lnTo>
                    <a:pt x="115" y="1393"/>
                  </a:lnTo>
                  <a:lnTo>
                    <a:pt x="115" y="1398"/>
                  </a:lnTo>
                  <a:lnTo>
                    <a:pt x="117" y="1395"/>
                  </a:lnTo>
                  <a:lnTo>
                    <a:pt x="117" y="1393"/>
                  </a:lnTo>
                  <a:lnTo>
                    <a:pt x="118" y="1393"/>
                  </a:lnTo>
                  <a:lnTo>
                    <a:pt x="120" y="1395"/>
                  </a:lnTo>
                  <a:lnTo>
                    <a:pt x="124" y="1396"/>
                  </a:lnTo>
                  <a:lnTo>
                    <a:pt x="126" y="1399"/>
                  </a:lnTo>
                  <a:lnTo>
                    <a:pt x="124" y="1399"/>
                  </a:lnTo>
                  <a:lnTo>
                    <a:pt x="123" y="1401"/>
                  </a:lnTo>
                  <a:lnTo>
                    <a:pt x="121" y="1402"/>
                  </a:lnTo>
                  <a:lnTo>
                    <a:pt x="120" y="1404"/>
                  </a:lnTo>
                  <a:lnTo>
                    <a:pt x="121" y="1407"/>
                  </a:lnTo>
                  <a:lnTo>
                    <a:pt x="121" y="1409"/>
                  </a:lnTo>
                  <a:lnTo>
                    <a:pt x="120" y="1409"/>
                  </a:lnTo>
                  <a:lnTo>
                    <a:pt x="120" y="1412"/>
                  </a:lnTo>
                  <a:lnTo>
                    <a:pt x="118" y="1413"/>
                  </a:lnTo>
                  <a:lnTo>
                    <a:pt x="118" y="1416"/>
                  </a:lnTo>
                  <a:lnTo>
                    <a:pt x="118" y="1419"/>
                  </a:lnTo>
                  <a:lnTo>
                    <a:pt x="120" y="1419"/>
                  </a:lnTo>
                  <a:lnTo>
                    <a:pt x="120" y="1419"/>
                  </a:lnTo>
                  <a:lnTo>
                    <a:pt x="121" y="1418"/>
                  </a:lnTo>
                  <a:lnTo>
                    <a:pt x="121" y="1421"/>
                  </a:lnTo>
                  <a:lnTo>
                    <a:pt x="120" y="1425"/>
                  </a:lnTo>
                  <a:lnTo>
                    <a:pt x="120" y="1429"/>
                  </a:lnTo>
                  <a:lnTo>
                    <a:pt x="121" y="1427"/>
                  </a:lnTo>
                  <a:lnTo>
                    <a:pt x="123" y="1425"/>
                  </a:lnTo>
                  <a:lnTo>
                    <a:pt x="124" y="1425"/>
                  </a:lnTo>
                  <a:lnTo>
                    <a:pt x="124" y="1425"/>
                  </a:lnTo>
                  <a:lnTo>
                    <a:pt x="124" y="1427"/>
                  </a:lnTo>
                  <a:lnTo>
                    <a:pt x="124" y="1427"/>
                  </a:lnTo>
                  <a:lnTo>
                    <a:pt x="123" y="1429"/>
                  </a:lnTo>
                  <a:lnTo>
                    <a:pt x="124" y="1430"/>
                  </a:lnTo>
                  <a:lnTo>
                    <a:pt x="124" y="1430"/>
                  </a:lnTo>
                  <a:lnTo>
                    <a:pt x="124" y="1430"/>
                  </a:lnTo>
                  <a:lnTo>
                    <a:pt x="124" y="1433"/>
                  </a:lnTo>
                  <a:lnTo>
                    <a:pt x="124" y="1436"/>
                  </a:lnTo>
                  <a:lnTo>
                    <a:pt x="124" y="1439"/>
                  </a:lnTo>
                  <a:lnTo>
                    <a:pt x="126" y="1439"/>
                  </a:lnTo>
                  <a:lnTo>
                    <a:pt x="124" y="1436"/>
                  </a:lnTo>
                  <a:lnTo>
                    <a:pt x="126" y="1435"/>
                  </a:lnTo>
                  <a:lnTo>
                    <a:pt x="131" y="1427"/>
                  </a:lnTo>
                  <a:lnTo>
                    <a:pt x="131" y="1429"/>
                  </a:lnTo>
                  <a:lnTo>
                    <a:pt x="131" y="1432"/>
                  </a:lnTo>
                  <a:lnTo>
                    <a:pt x="129" y="1433"/>
                  </a:lnTo>
                  <a:lnTo>
                    <a:pt x="129" y="1435"/>
                  </a:lnTo>
                  <a:lnTo>
                    <a:pt x="131" y="1436"/>
                  </a:lnTo>
                  <a:lnTo>
                    <a:pt x="131" y="1438"/>
                  </a:lnTo>
                  <a:lnTo>
                    <a:pt x="135" y="1436"/>
                  </a:lnTo>
                  <a:lnTo>
                    <a:pt x="135" y="1438"/>
                  </a:lnTo>
                  <a:lnTo>
                    <a:pt x="135" y="1445"/>
                  </a:lnTo>
                  <a:lnTo>
                    <a:pt x="135" y="1449"/>
                  </a:lnTo>
                  <a:lnTo>
                    <a:pt x="134" y="1453"/>
                  </a:lnTo>
                  <a:lnTo>
                    <a:pt x="134" y="1456"/>
                  </a:lnTo>
                  <a:lnTo>
                    <a:pt x="135" y="1455"/>
                  </a:lnTo>
                  <a:lnTo>
                    <a:pt x="135" y="1452"/>
                  </a:lnTo>
                  <a:lnTo>
                    <a:pt x="137" y="1450"/>
                  </a:lnTo>
                  <a:lnTo>
                    <a:pt x="138" y="1450"/>
                  </a:lnTo>
                  <a:lnTo>
                    <a:pt x="137" y="1456"/>
                  </a:lnTo>
                  <a:lnTo>
                    <a:pt x="138" y="1458"/>
                  </a:lnTo>
                  <a:lnTo>
                    <a:pt x="140" y="1459"/>
                  </a:lnTo>
                  <a:lnTo>
                    <a:pt x="138" y="1461"/>
                  </a:lnTo>
                  <a:lnTo>
                    <a:pt x="138" y="1462"/>
                  </a:lnTo>
                  <a:lnTo>
                    <a:pt x="135" y="1464"/>
                  </a:lnTo>
                  <a:lnTo>
                    <a:pt x="134" y="1467"/>
                  </a:lnTo>
                  <a:lnTo>
                    <a:pt x="135" y="1469"/>
                  </a:lnTo>
                  <a:lnTo>
                    <a:pt x="135" y="1470"/>
                  </a:lnTo>
                  <a:lnTo>
                    <a:pt x="134" y="1475"/>
                  </a:lnTo>
                  <a:lnTo>
                    <a:pt x="132" y="1472"/>
                  </a:lnTo>
                  <a:lnTo>
                    <a:pt x="132" y="1473"/>
                  </a:lnTo>
                  <a:lnTo>
                    <a:pt x="131" y="1481"/>
                  </a:lnTo>
                  <a:lnTo>
                    <a:pt x="131" y="1484"/>
                  </a:lnTo>
                  <a:lnTo>
                    <a:pt x="127" y="1495"/>
                  </a:lnTo>
                  <a:lnTo>
                    <a:pt x="131" y="1496"/>
                  </a:lnTo>
                  <a:lnTo>
                    <a:pt x="132" y="1496"/>
                  </a:lnTo>
                  <a:lnTo>
                    <a:pt x="131" y="1499"/>
                  </a:lnTo>
                  <a:lnTo>
                    <a:pt x="132" y="1501"/>
                  </a:lnTo>
                  <a:lnTo>
                    <a:pt x="134" y="1502"/>
                  </a:lnTo>
                  <a:lnTo>
                    <a:pt x="134" y="1502"/>
                  </a:lnTo>
                  <a:lnTo>
                    <a:pt x="134" y="1502"/>
                  </a:lnTo>
                  <a:lnTo>
                    <a:pt x="138" y="1502"/>
                  </a:lnTo>
                  <a:lnTo>
                    <a:pt x="138" y="1502"/>
                  </a:lnTo>
                  <a:lnTo>
                    <a:pt x="138" y="1504"/>
                  </a:lnTo>
                  <a:lnTo>
                    <a:pt x="140" y="1506"/>
                  </a:lnTo>
                  <a:lnTo>
                    <a:pt x="140" y="1506"/>
                  </a:lnTo>
                  <a:lnTo>
                    <a:pt x="141" y="1507"/>
                  </a:lnTo>
                  <a:lnTo>
                    <a:pt x="141" y="1509"/>
                  </a:lnTo>
                  <a:lnTo>
                    <a:pt x="140" y="1509"/>
                  </a:lnTo>
                  <a:lnTo>
                    <a:pt x="140" y="1510"/>
                  </a:lnTo>
                  <a:lnTo>
                    <a:pt x="140" y="1512"/>
                  </a:lnTo>
                  <a:lnTo>
                    <a:pt x="141" y="1515"/>
                  </a:lnTo>
                  <a:lnTo>
                    <a:pt x="143" y="1518"/>
                  </a:lnTo>
                  <a:lnTo>
                    <a:pt x="143" y="1519"/>
                  </a:lnTo>
                  <a:lnTo>
                    <a:pt x="144" y="1521"/>
                  </a:lnTo>
                  <a:lnTo>
                    <a:pt x="146" y="1521"/>
                  </a:lnTo>
                  <a:lnTo>
                    <a:pt x="146" y="1522"/>
                  </a:lnTo>
                  <a:lnTo>
                    <a:pt x="146" y="1524"/>
                  </a:lnTo>
                  <a:lnTo>
                    <a:pt x="146" y="1526"/>
                  </a:lnTo>
                  <a:lnTo>
                    <a:pt x="146" y="1529"/>
                  </a:lnTo>
                  <a:lnTo>
                    <a:pt x="144" y="1530"/>
                  </a:lnTo>
                  <a:lnTo>
                    <a:pt x="146" y="1533"/>
                  </a:lnTo>
                  <a:lnTo>
                    <a:pt x="152" y="1538"/>
                  </a:lnTo>
                  <a:lnTo>
                    <a:pt x="154" y="1539"/>
                  </a:lnTo>
                  <a:lnTo>
                    <a:pt x="152" y="1541"/>
                  </a:lnTo>
                  <a:lnTo>
                    <a:pt x="151" y="1538"/>
                  </a:lnTo>
                  <a:lnTo>
                    <a:pt x="149" y="1538"/>
                  </a:lnTo>
                  <a:lnTo>
                    <a:pt x="149" y="1539"/>
                  </a:lnTo>
                  <a:lnTo>
                    <a:pt x="151" y="1543"/>
                  </a:lnTo>
                  <a:lnTo>
                    <a:pt x="151" y="1544"/>
                  </a:lnTo>
                  <a:lnTo>
                    <a:pt x="151" y="1546"/>
                  </a:lnTo>
                  <a:lnTo>
                    <a:pt x="151" y="1547"/>
                  </a:lnTo>
                  <a:lnTo>
                    <a:pt x="151" y="1549"/>
                  </a:lnTo>
                  <a:lnTo>
                    <a:pt x="152" y="1550"/>
                  </a:lnTo>
                  <a:lnTo>
                    <a:pt x="154" y="1550"/>
                  </a:lnTo>
                  <a:lnTo>
                    <a:pt x="155" y="1558"/>
                  </a:lnTo>
                  <a:lnTo>
                    <a:pt x="158" y="1561"/>
                  </a:lnTo>
                  <a:lnTo>
                    <a:pt x="163" y="1567"/>
                  </a:lnTo>
                  <a:lnTo>
                    <a:pt x="163" y="1569"/>
                  </a:lnTo>
                  <a:lnTo>
                    <a:pt x="161" y="1567"/>
                  </a:lnTo>
                  <a:lnTo>
                    <a:pt x="157" y="1564"/>
                  </a:lnTo>
                  <a:lnTo>
                    <a:pt x="147" y="1559"/>
                  </a:lnTo>
                  <a:lnTo>
                    <a:pt x="146" y="1561"/>
                  </a:lnTo>
                  <a:lnTo>
                    <a:pt x="144" y="1561"/>
                  </a:lnTo>
                  <a:lnTo>
                    <a:pt x="144" y="1561"/>
                  </a:lnTo>
                  <a:lnTo>
                    <a:pt x="144" y="1563"/>
                  </a:lnTo>
                  <a:lnTo>
                    <a:pt x="144" y="1564"/>
                  </a:lnTo>
                  <a:lnTo>
                    <a:pt x="147" y="1569"/>
                  </a:lnTo>
                  <a:lnTo>
                    <a:pt x="149" y="1569"/>
                  </a:lnTo>
                  <a:lnTo>
                    <a:pt x="151" y="1567"/>
                  </a:lnTo>
                  <a:lnTo>
                    <a:pt x="152" y="1569"/>
                  </a:lnTo>
                  <a:lnTo>
                    <a:pt x="152" y="1569"/>
                  </a:lnTo>
                  <a:lnTo>
                    <a:pt x="154" y="1573"/>
                  </a:lnTo>
                  <a:lnTo>
                    <a:pt x="152" y="1575"/>
                  </a:lnTo>
                  <a:lnTo>
                    <a:pt x="141" y="1573"/>
                  </a:lnTo>
                  <a:lnTo>
                    <a:pt x="143" y="1575"/>
                  </a:lnTo>
                  <a:lnTo>
                    <a:pt x="147" y="1578"/>
                  </a:lnTo>
                  <a:lnTo>
                    <a:pt x="151" y="1579"/>
                  </a:lnTo>
                  <a:lnTo>
                    <a:pt x="152" y="1581"/>
                  </a:lnTo>
                  <a:lnTo>
                    <a:pt x="152" y="1584"/>
                  </a:lnTo>
                  <a:lnTo>
                    <a:pt x="151" y="1586"/>
                  </a:lnTo>
                  <a:lnTo>
                    <a:pt x="146" y="1584"/>
                  </a:lnTo>
                  <a:lnTo>
                    <a:pt x="143" y="1586"/>
                  </a:lnTo>
                  <a:lnTo>
                    <a:pt x="144" y="1587"/>
                  </a:lnTo>
                  <a:lnTo>
                    <a:pt x="146" y="1587"/>
                  </a:lnTo>
                  <a:lnTo>
                    <a:pt x="147" y="1589"/>
                  </a:lnTo>
                  <a:lnTo>
                    <a:pt x="149" y="1589"/>
                  </a:lnTo>
                  <a:lnTo>
                    <a:pt x="149" y="1590"/>
                  </a:lnTo>
                  <a:lnTo>
                    <a:pt x="149" y="1593"/>
                  </a:lnTo>
                  <a:lnTo>
                    <a:pt x="149" y="1595"/>
                  </a:lnTo>
                  <a:lnTo>
                    <a:pt x="149" y="1596"/>
                  </a:lnTo>
                  <a:lnTo>
                    <a:pt x="149" y="1596"/>
                  </a:lnTo>
                  <a:lnTo>
                    <a:pt x="151" y="1598"/>
                  </a:lnTo>
                  <a:lnTo>
                    <a:pt x="151" y="1598"/>
                  </a:lnTo>
                  <a:lnTo>
                    <a:pt x="151" y="1599"/>
                  </a:lnTo>
                  <a:lnTo>
                    <a:pt x="151" y="1601"/>
                  </a:lnTo>
                  <a:lnTo>
                    <a:pt x="151" y="1603"/>
                  </a:lnTo>
                  <a:lnTo>
                    <a:pt x="151" y="1604"/>
                  </a:lnTo>
                  <a:lnTo>
                    <a:pt x="151" y="1606"/>
                  </a:lnTo>
                  <a:lnTo>
                    <a:pt x="147" y="1606"/>
                  </a:lnTo>
                  <a:lnTo>
                    <a:pt x="147" y="1607"/>
                  </a:lnTo>
                  <a:lnTo>
                    <a:pt x="147" y="1609"/>
                  </a:lnTo>
                  <a:lnTo>
                    <a:pt x="146" y="1609"/>
                  </a:lnTo>
                  <a:lnTo>
                    <a:pt x="146" y="1610"/>
                  </a:lnTo>
                  <a:lnTo>
                    <a:pt x="149" y="1612"/>
                  </a:lnTo>
                  <a:lnTo>
                    <a:pt x="151" y="1613"/>
                  </a:lnTo>
                  <a:lnTo>
                    <a:pt x="152" y="1616"/>
                  </a:lnTo>
                  <a:lnTo>
                    <a:pt x="149" y="1618"/>
                  </a:lnTo>
                  <a:lnTo>
                    <a:pt x="147" y="1620"/>
                  </a:lnTo>
                  <a:lnTo>
                    <a:pt x="147" y="1620"/>
                  </a:lnTo>
                  <a:lnTo>
                    <a:pt x="147" y="1621"/>
                  </a:lnTo>
                  <a:lnTo>
                    <a:pt x="144" y="1621"/>
                  </a:lnTo>
                  <a:lnTo>
                    <a:pt x="144" y="1621"/>
                  </a:lnTo>
                  <a:lnTo>
                    <a:pt x="143" y="1623"/>
                  </a:lnTo>
                  <a:lnTo>
                    <a:pt x="144" y="1623"/>
                  </a:lnTo>
                  <a:lnTo>
                    <a:pt x="143" y="1624"/>
                  </a:lnTo>
                  <a:lnTo>
                    <a:pt x="143" y="1624"/>
                  </a:lnTo>
                  <a:lnTo>
                    <a:pt x="144" y="1626"/>
                  </a:lnTo>
                  <a:lnTo>
                    <a:pt x="144" y="1626"/>
                  </a:lnTo>
                  <a:lnTo>
                    <a:pt x="144" y="1626"/>
                  </a:lnTo>
                  <a:lnTo>
                    <a:pt x="143" y="1626"/>
                  </a:lnTo>
                  <a:lnTo>
                    <a:pt x="143" y="1626"/>
                  </a:lnTo>
                  <a:lnTo>
                    <a:pt x="143" y="1627"/>
                  </a:lnTo>
                  <a:lnTo>
                    <a:pt x="144" y="1629"/>
                  </a:lnTo>
                  <a:lnTo>
                    <a:pt x="144" y="1633"/>
                  </a:lnTo>
                  <a:lnTo>
                    <a:pt x="143" y="1635"/>
                  </a:lnTo>
                  <a:lnTo>
                    <a:pt x="144" y="1636"/>
                  </a:lnTo>
                  <a:lnTo>
                    <a:pt x="144" y="1638"/>
                  </a:lnTo>
                  <a:lnTo>
                    <a:pt x="146" y="1640"/>
                  </a:lnTo>
                  <a:lnTo>
                    <a:pt x="144" y="1640"/>
                  </a:lnTo>
                  <a:lnTo>
                    <a:pt x="140" y="1638"/>
                  </a:lnTo>
                  <a:lnTo>
                    <a:pt x="137" y="1640"/>
                  </a:lnTo>
                  <a:lnTo>
                    <a:pt x="140" y="1640"/>
                  </a:lnTo>
                  <a:lnTo>
                    <a:pt x="140" y="1641"/>
                  </a:lnTo>
                  <a:lnTo>
                    <a:pt x="140" y="1641"/>
                  </a:lnTo>
                  <a:lnTo>
                    <a:pt x="140" y="1641"/>
                  </a:lnTo>
                  <a:lnTo>
                    <a:pt x="138" y="1643"/>
                  </a:lnTo>
                  <a:lnTo>
                    <a:pt x="137" y="1641"/>
                  </a:lnTo>
                  <a:lnTo>
                    <a:pt x="134" y="1640"/>
                  </a:lnTo>
                  <a:lnTo>
                    <a:pt x="132" y="1640"/>
                  </a:lnTo>
                  <a:lnTo>
                    <a:pt x="132" y="1641"/>
                  </a:lnTo>
                  <a:lnTo>
                    <a:pt x="134" y="1643"/>
                  </a:lnTo>
                  <a:lnTo>
                    <a:pt x="135" y="1644"/>
                  </a:lnTo>
                  <a:lnTo>
                    <a:pt x="135" y="1644"/>
                  </a:lnTo>
                  <a:lnTo>
                    <a:pt x="134" y="1646"/>
                  </a:lnTo>
                  <a:lnTo>
                    <a:pt x="135" y="1647"/>
                  </a:lnTo>
                  <a:lnTo>
                    <a:pt x="138" y="1655"/>
                  </a:lnTo>
                  <a:lnTo>
                    <a:pt x="138" y="1656"/>
                  </a:lnTo>
                  <a:lnTo>
                    <a:pt x="138" y="1656"/>
                  </a:lnTo>
                  <a:lnTo>
                    <a:pt x="140" y="1658"/>
                  </a:lnTo>
                  <a:lnTo>
                    <a:pt x="140" y="1658"/>
                  </a:lnTo>
                  <a:lnTo>
                    <a:pt x="141" y="1658"/>
                  </a:lnTo>
                  <a:lnTo>
                    <a:pt x="141" y="1660"/>
                  </a:lnTo>
                  <a:lnTo>
                    <a:pt x="141" y="1661"/>
                  </a:lnTo>
                  <a:lnTo>
                    <a:pt x="141" y="1663"/>
                  </a:lnTo>
                  <a:lnTo>
                    <a:pt x="141" y="1663"/>
                  </a:lnTo>
                  <a:lnTo>
                    <a:pt x="140" y="1663"/>
                  </a:lnTo>
                  <a:lnTo>
                    <a:pt x="140" y="1661"/>
                  </a:lnTo>
                  <a:lnTo>
                    <a:pt x="140" y="1661"/>
                  </a:lnTo>
                  <a:lnTo>
                    <a:pt x="138" y="1661"/>
                  </a:lnTo>
                  <a:lnTo>
                    <a:pt x="137" y="1663"/>
                  </a:lnTo>
                  <a:lnTo>
                    <a:pt x="137" y="1663"/>
                  </a:lnTo>
                  <a:lnTo>
                    <a:pt x="138" y="1666"/>
                  </a:lnTo>
                  <a:lnTo>
                    <a:pt x="138" y="1666"/>
                  </a:lnTo>
                  <a:lnTo>
                    <a:pt x="140" y="1666"/>
                  </a:lnTo>
                  <a:lnTo>
                    <a:pt x="141" y="1667"/>
                  </a:lnTo>
                  <a:lnTo>
                    <a:pt x="141" y="1667"/>
                  </a:lnTo>
                  <a:lnTo>
                    <a:pt x="140" y="1669"/>
                  </a:lnTo>
                  <a:lnTo>
                    <a:pt x="138" y="1669"/>
                  </a:lnTo>
                  <a:lnTo>
                    <a:pt x="135" y="1669"/>
                  </a:lnTo>
                  <a:lnTo>
                    <a:pt x="134" y="1669"/>
                  </a:lnTo>
                  <a:lnTo>
                    <a:pt x="135" y="1672"/>
                  </a:lnTo>
                  <a:lnTo>
                    <a:pt x="134" y="1673"/>
                  </a:lnTo>
                  <a:lnTo>
                    <a:pt x="135" y="1675"/>
                  </a:lnTo>
                  <a:lnTo>
                    <a:pt x="135" y="1675"/>
                  </a:lnTo>
                  <a:lnTo>
                    <a:pt x="135" y="1676"/>
                  </a:lnTo>
                  <a:lnTo>
                    <a:pt x="135" y="1676"/>
                  </a:lnTo>
                  <a:lnTo>
                    <a:pt x="137" y="1676"/>
                  </a:lnTo>
                  <a:lnTo>
                    <a:pt x="138" y="1678"/>
                  </a:lnTo>
                  <a:lnTo>
                    <a:pt x="138" y="1680"/>
                  </a:lnTo>
                  <a:lnTo>
                    <a:pt x="138" y="1683"/>
                  </a:lnTo>
                  <a:lnTo>
                    <a:pt x="138" y="1683"/>
                  </a:lnTo>
                  <a:lnTo>
                    <a:pt x="140" y="1683"/>
                  </a:lnTo>
                  <a:lnTo>
                    <a:pt x="141" y="1686"/>
                  </a:lnTo>
                  <a:lnTo>
                    <a:pt x="141" y="1684"/>
                  </a:lnTo>
                  <a:lnTo>
                    <a:pt x="140" y="1686"/>
                  </a:lnTo>
                  <a:lnTo>
                    <a:pt x="138" y="1686"/>
                  </a:lnTo>
                  <a:lnTo>
                    <a:pt x="140" y="1687"/>
                  </a:lnTo>
                  <a:lnTo>
                    <a:pt x="141" y="1689"/>
                  </a:lnTo>
                  <a:lnTo>
                    <a:pt x="143" y="1689"/>
                  </a:lnTo>
                  <a:lnTo>
                    <a:pt x="144" y="1689"/>
                  </a:lnTo>
                  <a:lnTo>
                    <a:pt x="144" y="1690"/>
                  </a:lnTo>
                  <a:lnTo>
                    <a:pt x="141" y="1690"/>
                  </a:lnTo>
                  <a:lnTo>
                    <a:pt x="143" y="1692"/>
                  </a:lnTo>
                  <a:lnTo>
                    <a:pt x="143" y="1693"/>
                  </a:lnTo>
                  <a:lnTo>
                    <a:pt x="143" y="1695"/>
                  </a:lnTo>
                  <a:lnTo>
                    <a:pt x="143" y="1696"/>
                  </a:lnTo>
                  <a:lnTo>
                    <a:pt x="141" y="1696"/>
                  </a:lnTo>
                  <a:lnTo>
                    <a:pt x="137" y="1695"/>
                  </a:lnTo>
                  <a:lnTo>
                    <a:pt x="137" y="1696"/>
                  </a:lnTo>
                  <a:lnTo>
                    <a:pt x="137" y="1696"/>
                  </a:lnTo>
                  <a:lnTo>
                    <a:pt x="137" y="1696"/>
                  </a:lnTo>
                  <a:lnTo>
                    <a:pt x="137" y="1698"/>
                  </a:lnTo>
                  <a:lnTo>
                    <a:pt x="137" y="1700"/>
                  </a:lnTo>
                  <a:lnTo>
                    <a:pt x="138" y="1703"/>
                  </a:lnTo>
                  <a:lnTo>
                    <a:pt x="140" y="1704"/>
                  </a:lnTo>
                  <a:lnTo>
                    <a:pt x="141" y="1704"/>
                  </a:lnTo>
                  <a:lnTo>
                    <a:pt x="144" y="1707"/>
                  </a:lnTo>
                  <a:lnTo>
                    <a:pt x="144" y="1709"/>
                  </a:lnTo>
                  <a:lnTo>
                    <a:pt x="143" y="1709"/>
                  </a:lnTo>
                  <a:lnTo>
                    <a:pt x="141" y="1707"/>
                  </a:lnTo>
                  <a:lnTo>
                    <a:pt x="141" y="1710"/>
                  </a:lnTo>
                  <a:lnTo>
                    <a:pt x="141" y="1710"/>
                  </a:lnTo>
                  <a:lnTo>
                    <a:pt x="141" y="1710"/>
                  </a:lnTo>
                  <a:lnTo>
                    <a:pt x="140" y="1710"/>
                  </a:lnTo>
                  <a:lnTo>
                    <a:pt x="140" y="1712"/>
                  </a:lnTo>
                  <a:lnTo>
                    <a:pt x="141" y="1712"/>
                  </a:lnTo>
                  <a:lnTo>
                    <a:pt x="143" y="1713"/>
                  </a:lnTo>
                  <a:lnTo>
                    <a:pt x="143" y="1713"/>
                  </a:lnTo>
                  <a:lnTo>
                    <a:pt x="144" y="1713"/>
                  </a:lnTo>
                  <a:lnTo>
                    <a:pt x="146" y="1713"/>
                  </a:lnTo>
                  <a:lnTo>
                    <a:pt x="152" y="1713"/>
                  </a:lnTo>
                  <a:lnTo>
                    <a:pt x="154" y="1713"/>
                  </a:lnTo>
                  <a:lnTo>
                    <a:pt x="154" y="1715"/>
                  </a:lnTo>
                  <a:lnTo>
                    <a:pt x="149" y="1713"/>
                  </a:lnTo>
                  <a:lnTo>
                    <a:pt x="149" y="1713"/>
                  </a:lnTo>
                  <a:lnTo>
                    <a:pt x="152" y="1720"/>
                  </a:lnTo>
                  <a:lnTo>
                    <a:pt x="154" y="1724"/>
                  </a:lnTo>
                  <a:lnTo>
                    <a:pt x="152" y="1726"/>
                  </a:lnTo>
                  <a:lnTo>
                    <a:pt x="154" y="1726"/>
                  </a:lnTo>
                  <a:lnTo>
                    <a:pt x="155" y="1726"/>
                  </a:lnTo>
                  <a:lnTo>
                    <a:pt x="158" y="1724"/>
                  </a:lnTo>
                  <a:lnTo>
                    <a:pt x="158" y="1723"/>
                  </a:lnTo>
                  <a:lnTo>
                    <a:pt x="158" y="1721"/>
                  </a:lnTo>
                  <a:lnTo>
                    <a:pt x="158" y="1720"/>
                  </a:lnTo>
                  <a:lnTo>
                    <a:pt x="160" y="1720"/>
                  </a:lnTo>
                  <a:lnTo>
                    <a:pt x="160" y="1718"/>
                  </a:lnTo>
                  <a:lnTo>
                    <a:pt x="160" y="1718"/>
                  </a:lnTo>
                  <a:lnTo>
                    <a:pt x="160" y="1715"/>
                  </a:lnTo>
                  <a:lnTo>
                    <a:pt x="160" y="1713"/>
                  </a:lnTo>
                  <a:lnTo>
                    <a:pt x="161" y="1713"/>
                  </a:lnTo>
                  <a:lnTo>
                    <a:pt x="164" y="1712"/>
                  </a:lnTo>
                  <a:lnTo>
                    <a:pt x="166" y="1710"/>
                  </a:lnTo>
                  <a:lnTo>
                    <a:pt x="168" y="1709"/>
                  </a:lnTo>
                  <a:lnTo>
                    <a:pt x="172" y="1704"/>
                  </a:lnTo>
                  <a:lnTo>
                    <a:pt x="172" y="1707"/>
                  </a:lnTo>
                  <a:lnTo>
                    <a:pt x="172" y="1709"/>
                  </a:lnTo>
                  <a:lnTo>
                    <a:pt x="172" y="1710"/>
                  </a:lnTo>
                  <a:lnTo>
                    <a:pt x="174" y="1710"/>
                  </a:lnTo>
                  <a:lnTo>
                    <a:pt x="171" y="1712"/>
                  </a:lnTo>
                  <a:lnTo>
                    <a:pt x="171" y="1713"/>
                  </a:lnTo>
                  <a:lnTo>
                    <a:pt x="171" y="1715"/>
                  </a:lnTo>
                  <a:lnTo>
                    <a:pt x="171" y="1717"/>
                  </a:lnTo>
                  <a:lnTo>
                    <a:pt x="171" y="1721"/>
                  </a:lnTo>
                  <a:lnTo>
                    <a:pt x="169" y="1726"/>
                  </a:lnTo>
                  <a:lnTo>
                    <a:pt x="169" y="1727"/>
                  </a:lnTo>
                  <a:lnTo>
                    <a:pt x="171" y="1726"/>
                  </a:lnTo>
                  <a:lnTo>
                    <a:pt x="172" y="1726"/>
                  </a:lnTo>
                  <a:lnTo>
                    <a:pt x="175" y="1727"/>
                  </a:lnTo>
                  <a:lnTo>
                    <a:pt x="174" y="1724"/>
                  </a:lnTo>
                  <a:lnTo>
                    <a:pt x="172" y="1723"/>
                  </a:lnTo>
                  <a:lnTo>
                    <a:pt x="174" y="1721"/>
                  </a:lnTo>
                  <a:lnTo>
                    <a:pt x="175" y="1720"/>
                  </a:lnTo>
                  <a:lnTo>
                    <a:pt x="177" y="1720"/>
                  </a:lnTo>
                  <a:lnTo>
                    <a:pt x="180" y="1721"/>
                  </a:lnTo>
                  <a:lnTo>
                    <a:pt x="181" y="1721"/>
                  </a:lnTo>
                  <a:lnTo>
                    <a:pt x="180" y="1723"/>
                  </a:lnTo>
                  <a:lnTo>
                    <a:pt x="180" y="1724"/>
                  </a:lnTo>
                  <a:lnTo>
                    <a:pt x="180" y="1726"/>
                  </a:lnTo>
                  <a:lnTo>
                    <a:pt x="183" y="1726"/>
                  </a:lnTo>
                  <a:lnTo>
                    <a:pt x="183" y="1727"/>
                  </a:lnTo>
                  <a:lnTo>
                    <a:pt x="183" y="1727"/>
                  </a:lnTo>
                  <a:lnTo>
                    <a:pt x="184" y="1727"/>
                  </a:lnTo>
                  <a:lnTo>
                    <a:pt x="184" y="1729"/>
                  </a:lnTo>
                  <a:lnTo>
                    <a:pt x="184" y="1729"/>
                  </a:lnTo>
                  <a:lnTo>
                    <a:pt x="186" y="1729"/>
                  </a:lnTo>
                  <a:lnTo>
                    <a:pt x="186" y="1729"/>
                  </a:lnTo>
                  <a:lnTo>
                    <a:pt x="186" y="1729"/>
                  </a:lnTo>
                  <a:lnTo>
                    <a:pt x="186" y="1730"/>
                  </a:lnTo>
                  <a:lnTo>
                    <a:pt x="186" y="1730"/>
                  </a:lnTo>
                  <a:lnTo>
                    <a:pt x="188" y="1733"/>
                  </a:lnTo>
                  <a:lnTo>
                    <a:pt x="189" y="1733"/>
                  </a:lnTo>
                  <a:lnTo>
                    <a:pt x="191" y="1732"/>
                  </a:lnTo>
                  <a:lnTo>
                    <a:pt x="192" y="1730"/>
                  </a:lnTo>
                  <a:lnTo>
                    <a:pt x="192" y="1730"/>
                  </a:lnTo>
                  <a:lnTo>
                    <a:pt x="192" y="1733"/>
                  </a:lnTo>
                  <a:lnTo>
                    <a:pt x="194" y="1733"/>
                  </a:lnTo>
                  <a:lnTo>
                    <a:pt x="197" y="1733"/>
                  </a:lnTo>
                  <a:lnTo>
                    <a:pt x="198" y="1735"/>
                  </a:lnTo>
                  <a:lnTo>
                    <a:pt x="203" y="1738"/>
                  </a:lnTo>
                  <a:lnTo>
                    <a:pt x="206" y="1741"/>
                  </a:lnTo>
                  <a:lnTo>
                    <a:pt x="206" y="1743"/>
                  </a:lnTo>
                  <a:lnTo>
                    <a:pt x="209" y="1743"/>
                  </a:lnTo>
                  <a:lnTo>
                    <a:pt x="220" y="1740"/>
                  </a:lnTo>
                  <a:lnTo>
                    <a:pt x="218" y="1743"/>
                  </a:lnTo>
                  <a:lnTo>
                    <a:pt x="224" y="1744"/>
                  </a:lnTo>
                  <a:lnTo>
                    <a:pt x="228" y="1743"/>
                  </a:lnTo>
                  <a:lnTo>
                    <a:pt x="231" y="1740"/>
                  </a:lnTo>
                  <a:lnTo>
                    <a:pt x="232" y="1741"/>
                  </a:lnTo>
                  <a:lnTo>
                    <a:pt x="231" y="1743"/>
                  </a:lnTo>
                  <a:lnTo>
                    <a:pt x="229" y="1744"/>
                  </a:lnTo>
                  <a:lnTo>
                    <a:pt x="224" y="1749"/>
                  </a:lnTo>
                  <a:lnTo>
                    <a:pt x="224" y="1752"/>
                  </a:lnTo>
                  <a:lnTo>
                    <a:pt x="223" y="1753"/>
                  </a:lnTo>
                  <a:lnTo>
                    <a:pt x="221" y="1757"/>
                  </a:lnTo>
                  <a:lnTo>
                    <a:pt x="220" y="1758"/>
                  </a:lnTo>
                  <a:lnTo>
                    <a:pt x="218" y="1758"/>
                  </a:lnTo>
                  <a:lnTo>
                    <a:pt x="218" y="1760"/>
                  </a:lnTo>
                  <a:lnTo>
                    <a:pt x="218" y="1761"/>
                  </a:lnTo>
                  <a:lnTo>
                    <a:pt x="218" y="1761"/>
                  </a:lnTo>
                  <a:lnTo>
                    <a:pt x="218" y="1763"/>
                  </a:lnTo>
                  <a:lnTo>
                    <a:pt x="221" y="1763"/>
                  </a:lnTo>
                  <a:lnTo>
                    <a:pt x="224" y="1761"/>
                  </a:lnTo>
                  <a:lnTo>
                    <a:pt x="228" y="1758"/>
                  </a:lnTo>
                  <a:lnTo>
                    <a:pt x="229" y="1758"/>
                  </a:lnTo>
                  <a:lnTo>
                    <a:pt x="232" y="1758"/>
                  </a:lnTo>
                  <a:lnTo>
                    <a:pt x="229" y="1760"/>
                  </a:lnTo>
                  <a:lnTo>
                    <a:pt x="229" y="1760"/>
                  </a:lnTo>
                  <a:lnTo>
                    <a:pt x="228" y="1763"/>
                  </a:lnTo>
                  <a:lnTo>
                    <a:pt x="228" y="1764"/>
                  </a:lnTo>
                  <a:lnTo>
                    <a:pt x="229" y="1764"/>
                  </a:lnTo>
                  <a:lnTo>
                    <a:pt x="224" y="1767"/>
                  </a:lnTo>
                  <a:lnTo>
                    <a:pt x="223" y="1769"/>
                  </a:lnTo>
                  <a:lnTo>
                    <a:pt x="226" y="1769"/>
                  </a:lnTo>
                  <a:lnTo>
                    <a:pt x="231" y="1766"/>
                  </a:lnTo>
                  <a:lnTo>
                    <a:pt x="240" y="1764"/>
                  </a:lnTo>
                  <a:lnTo>
                    <a:pt x="249" y="1753"/>
                  </a:lnTo>
                  <a:lnTo>
                    <a:pt x="255" y="1752"/>
                  </a:lnTo>
                  <a:lnTo>
                    <a:pt x="258" y="1753"/>
                  </a:lnTo>
                  <a:lnTo>
                    <a:pt x="260" y="1750"/>
                  </a:lnTo>
                  <a:lnTo>
                    <a:pt x="261" y="1747"/>
                  </a:lnTo>
                  <a:lnTo>
                    <a:pt x="263" y="1746"/>
                  </a:lnTo>
                  <a:lnTo>
                    <a:pt x="265" y="1746"/>
                  </a:lnTo>
                  <a:lnTo>
                    <a:pt x="265" y="1747"/>
                  </a:lnTo>
                  <a:lnTo>
                    <a:pt x="265" y="1749"/>
                  </a:lnTo>
                  <a:lnTo>
                    <a:pt x="263" y="1750"/>
                  </a:lnTo>
                  <a:lnTo>
                    <a:pt x="261" y="1752"/>
                  </a:lnTo>
                  <a:lnTo>
                    <a:pt x="261" y="1753"/>
                  </a:lnTo>
                  <a:lnTo>
                    <a:pt x="261" y="1755"/>
                  </a:lnTo>
                  <a:lnTo>
                    <a:pt x="260" y="1758"/>
                  </a:lnTo>
                  <a:lnTo>
                    <a:pt x="255" y="1763"/>
                  </a:lnTo>
                  <a:lnTo>
                    <a:pt x="254" y="1764"/>
                  </a:lnTo>
                  <a:lnTo>
                    <a:pt x="249" y="1772"/>
                  </a:lnTo>
                  <a:lnTo>
                    <a:pt x="251" y="1772"/>
                  </a:lnTo>
                  <a:lnTo>
                    <a:pt x="251" y="1773"/>
                  </a:lnTo>
                  <a:lnTo>
                    <a:pt x="251" y="1775"/>
                  </a:lnTo>
                  <a:lnTo>
                    <a:pt x="249" y="1777"/>
                  </a:lnTo>
                  <a:lnTo>
                    <a:pt x="251" y="1778"/>
                  </a:lnTo>
                  <a:lnTo>
                    <a:pt x="252" y="1780"/>
                  </a:lnTo>
                  <a:lnTo>
                    <a:pt x="255" y="1780"/>
                  </a:lnTo>
                  <a:lnTo>
                    <a:pt x="255" y="1781"/>
                  </a:lnTo>
                  <a:lnTo>
                    <a:pt x="257" y="1783"/>
                  </a:lnTo>
                  <a:lnTo>
                    <a:pt x="257" y="1786"/>
                  </a:lnTo>
                  <a:lnTo>
                    <a:pt x="257" y="1784"/>
                  </a:lnTo>
                  <a:lnTo>
                    <a:pt x="258" y="1784"/>
                  </a:lnTo>
                  <a:lnTo>
                    <a:pt x="260" y="1783"/>
                  </a:lnTo>
                  <a:lnTo>
                    <a:pt x="260" y="1783"/>
                  </a:lnTo>
                  <a:lnTo>
                    <a:pt x="260" y="1780"/>
                  </a:lnTo>
                  <a:lnTo>
                    <a:pt x="261" y="1780"/>
                  </a:lnTo>
                  <a:lnTo>
                    <a:pt x="263" y="1781"/>
                  </a:lnTo>
                  <a:lnTo>
                    <a:pt x="260" y="1784"/>
                  </a:lnTo>
                  <a:lnTo>
                    <a:pt x="258" y="1786"/>
                  </a:lnTo>
                  <a:lnTo>
                    <a:pt x="258" y="1787"/>
                  </a:lnTo>
                  <a:lnTo>
                    <a:pt x="258" y="1790"/>
                  </a:lnTo>
                  <a:lnTo>
                    <a:pt x="260" y="1792"/>
                  </a:lnTo>
                  <a:lnTo>
                    <a:pt x="261" y="1792"/>
                  </a:lnTo>
                  <a:lnTo>
                    <a:pt x="263" y="1794"/>
                  </a:lnTo>
                  <a:lnTo>
                    <a:pt x="268" y="1794"/>
                  </a:lnTo>
                  <a:lnTo>
                    <a:pt x="274" y="1792"/>
                  </a:lnTo>
                  <a:lnTo>
                    <a:pt x="278" y="1794"/>
                  </a:lnTo>
                  <a:lnTo>
                    <a:pt x="277" y="1794"/>
                  </a:lnTo>
                  <a:lnTo>
                    <a:pt x="275" y="1798"/>
                  </a:lnTo>
                  <a:lnTo>
                    <a:pt x="274" y="1800"/>
                  </a:lnTo>
                  <a:lnTo>
                    <a:pt x="269" y="1801"/>
                  </a:lnTo>
                  <a:lnTo>
                    <a:pt x="268" y="1803"/>
                  </a:lnTo>
                  <a:lnTo>
                    <a:pt x="268" y="1804"/>
                  </a:lnTo>
                  <a:lnTo>
                    <a:pt x="266" y="1807"/>
                  </a:lnTo>
                  <a:lnTo>
                    <a:pt x="266" y="1809"/>
                  </a:lnTo>
                  <a:lnTo>
                    <a:pt x="268" y="1810"/>
                  </a:lnTo>
                  <a:lnTo>
                    <a:pt x="268" y="1810"/>
                  </a:lnTo>
                  <a:lnTo>
                    <a:pt x="268" y="1809"/>
                  </a:lnTo>
                  <a:lnTo>
                    <a:pt x="269" y="1807"/>
                  </a:lnTo>
                  <a:lnTo>
                    <a:pt x="272" y="1809"/>
                  </a:lnTo>
                  <a:lnTo>
                    <a:pt x="272" y="1807"/>
                  </a:lnTo>
                  <a:lnTo>
                    <a:pt x="272" y="1807"/>
                  </a:lnTo>
                  <a:lnTo>
                    <a:pt x="272" y="1806"/>
                  </a:lnTo>
                  <a:lnTo>
                    <a:pt x="274" y="1807"/>
                  </a:lnTo>
                  <a:lnTo>
                    <a:pt x="275" y="1807"/>
                  </a:lnTo>
                  <a:lnTo>
                    <a:pt x="274" y="1807"/>
                  </a:lnTo>
                  <a:lnTo>
                    <a:pt x="274" y="1809"/>
                  </a:lnTo>
                  <a:lnTo>
                    <a:pt x="274" y="1809"/>
                  </a:lnTo>
                  <a:lnTo>
                    <a:pt x="275" y="1809"/>
                  </a:lnTo>
                  <a:lnTo>
                    <a:pt x="277" y="1807"/>
                  </a:lnTo>
                  <a:lnTo>
                    <a:pt x="283" y="1795"/>
                  </a:lnTo>
                  <a:lnTo>
                    <a:pt x="283" y="1795"/>
                  </a:lnTo>
                  <a:lnTo>
                    <a:pt x="283" y="1798"/>
                  </a:lnTo>
                  <a:lnTo>
                    <a:pt x="281" y="1803"/>
                  </a:lnTo>
                  <a:lnTo>
                    <a:pt x="281" y="1806"/>
                  </a:lnTo>
                  <a:lnTo>
                    <a:pt x="278" y="1809"/>
                  </a:lnTo>
                  <a:lnTo>
                    <a:pt x="277" y="1810"/>
                  </a:lnTo>
                  <a:lnTo>
                    <a:pt x="275" y="1812"/>
                  </a:lnTo>
                  <a:lnTo>
                    <a:pt x="274" y="1812"/>
                  </a:lnTo>
                  <a:lnTo>
                    <a:pt x="272" y="1812"/>
                  </a:lnTo>
                  <a:lnTo>
                    <a:pt x="271" y="1812"/>
                  </a:lnTo>
                  <a:lnTo>
                    <a:pt x="271" y="1812"/>
                  </a:lnTo>
                  <a:lnTo>
                    <a:pt x="272" y="1815"/>
                  </a:lnTo>
                  <a:lnTo>
                    <a:pt x="269" y="1817"/>
                  </a:lnTo>
                  <a:lnTo>
                    <a:pt x="258" y="1821"/>
                  </a:lnTo>
                  <a:lnTo>
                    <a:pt x="255" y="1821"/>
                  </a:lnTo>
                  <a:lnTo>
                    <a:pt x="254" y="1823"/>
                  </a:lnTo>
                  <a:lnTo>
                    <a:pt x="252" y="1826"/>
                  </a:lnTo>
                  <a:lnTo>
                    <a:pt x="251" y="1827"/>
                  </a:lnTo>
                  <a:lnTo>
                    <a:pt x="252" y="1827"/>
                  </a:lnTo>
                  <a:lnTo>
                    <a:pt x="257" y="1826"/>
                  </a:lnTo>
                  <a:lnTo>
                    <a:pt x="258" y="1826"/>
                  </a:lnTo>
                  <a:lnTo>
                    <a:pt x="260" y="1824"/>
                  </a:lnTo>
                  <a:lnTo>
                    <a:pt x="265" y="1826"/>
                  </a:lnTo>
                  <a:lnTo>
                    <a:pt x="265" y="1824"/>
                  </a:lnTo>
                  <a:lnTo>
                    <a:pt x="278" y="1823"/>
                  </a:lnTo>
                  <a:lnTo>
                    <a:pt x="278" y="1821"/>
                  </a:lnTo>
                  <a:lnTo>
                    <a:pt x="277" y="1821"/>
                  </a:lnTo>
                  <a:lnTo>
                    <a:pt x="275" y="1818"/>
                  </a:lnTo>
                  <a:lnTo>
                    <a:pt x="275" y="1817"/>
                  </a:lnTo>
                  <a:lnTo>
                    <a:pt x="277" y="1814"/>
                  </a:lnTo>
                  <a:lnTo>
                    <a:pt x="283" y="1810"/>
                  </a:lnTo>
                  <a:lnTo>
                    <a:pt x="286" y="1807"/>
                  </a:lnTo>
                  <a:lnTo>
                    <a:pt x="289" y="1803"/>
                  </a:lnTo>
                  <a:lnTo>
                    <a:pt x="289" y="1803"/>
                  </a:lnTo>
                  <a:lnTo>
                    <a:pt x="291" y="1801"/>
                  </a:lnTo>
                  <a:lnTo>
                    <a:pt x="292" y="1800"/>
                  </a:lnTo>
                  <a:lnTo>
                    <a:pt x="292" y="1798"/>
                  </a:lnTo>
                  <a:lnTo>
                    <a:pt x="292" y="1797"/>
                  </a:lnTo>
                  <a:lnTo>
                    <a:pt x="292" y="1795"/>
                  </a:lnTo>
                  <a:lnTo>
                    <a:pt x="294" y="1795"/>
                  </a:lnTo>
                  <a:lnTo>
                    <a:pt x="295" y="1794"/>
                  </a:lnTo>
                  <a:lnTo>
                    <a:pt x="295" y="1792"/>
                  </a:lnTo>
                  <a:lnTo>
                    <a:pt x="295" y="1790"/>
                  </a:lnTo>
                  <a:lnTo>
                    <a:pt x="295" y="1790"/>
                  </a:lnTo>
                  <a:lnTo>
                    <a:pt x="297" y="1789"/>
                  </a:lnTo>
                  <a:lnTo>
                    <a:pt x="300" y="1789"/>
                  </a:lnTo>
                  <a:lnTo>
                    <a:pt x="298" y="1790"/>
                  </a:lnTo>
                  <a:lnTo>
                    <a:pt x="298" y="1790"/>
                  </a:lnTo>
                  <a:lnTo>
                    <a:pt x="298" y="1792"/>
                  </a:lnTo>
                  <a:lnTo>
                    <a:pt x="300" y="1794"/>
                  </a:lnTo>
                  <a:lnTo>
                    <a:pt x="300" y="1795"/>
                  </a:lnTo>
                  <a:lnTo>
                    <a:pt x="298" y="1795"/>
                  </a:lnTo>
                  <a:lnTo>
                    <a:pt x="295" y="1797"/>
                  </a:lnTo>
                  <a:lnTo>
                    <a:pt x="295" y="1798"/>
                  </a:lnTo>
                  <a:lnTo>
                    <a:pt x="292" y="1803"/>
                  </a:lnTo>
                  <a:lnTo>
                    <a:pt x="291" y="1806"/>
                  </a:lnTo>
                  <a:lnTo>
                    <a:pt x="292" y="1806"/>
                  </a:lnTo>
                  <a:lnTo>
                    <a:pt x="295" y="1804"/>
                  </a:lnTo>
                  <a:lnTo>
                    <a:pt x="301" y="1803"/>
                  </a:lnTo>
                  <a:lnTo>
                    <a:pt x="301" y="1803"/>
                  </a:lnTo>
                  <a:lnTo>
                    <a:pt x="303" y="1803"/>
                  </a:lnTo>
                  <a:lnTo>
                    <a:pt x="303" y="1804"/>
                  </a:lnTo>
                  <a:lnTo>
                    <a:pt x="305" y="1806"/>
                  </a:lnTo>
                  <a:lnTo>
                    <a:pt x="317" y="1804"/>
                  </a:lnTo>
                  <a:lnTo>
                    <a:pt x="318" y="1806"/>
                  </a:lnTo>
                  <a:lnTo>
                    <a:pt x="325" y="1800"/>
                  </a:lnTo>
                  <a:lnTo>
                    <a:pt x="329" y="1800"/>
                  </a:lnTo>
                  <a:lnTo>
                    <a:pt x="331" y="1798"/>
                  </a:lnTo>
                  <a:lnTo>
                    <a:pt x="331" y="1798"/>
                  </a:lnTo>
                  <a:lnTo>
                    <a:pt x="332" y="1797"/>
                  </a:lnTo>
                  <a:lnTo>
                    <a:pt x="332" y="1795"/>
                  </a:lnTo>
                  <a:lnTo>
                    <a:pt x="334" y="1794"/>
                  </a:lnTo>
                  <a:lnTo>
                    <a:pt x="335" y="1794"/>
                  </a:lnTo>
                  <a:lnTo>
                    <a:pt x="335" y="1795"/>
                  </a:lnTo>
                  <a:lnTo>
                    <a:pt x="334" y="1797"/>
                  </a:lnTo>
                  <a:lnTo>
                    <a:pt x="334" y="1798"/>
                  </a:lnTo>
                  <a:lnTo>
                    <a:pt x="335" y="1798"/>
                  </a:lnTo>
                  <a:lnTo>
                    <a:pt x="337" y="1795"/>
                  </a:lnTo>
                  <a:lnTo>
                    <a:pt x="338" y="1797"/>
                  </a:lnTo>
                  <a:lnTo>
                    <a:pt x="338" y="1797"/>
                  </a:lnTo>
                  <a:lnTo>
                    <a:pt x="342" y="1795"/>
                  </a:lnTo>
                  <a:lnTo>
                    <a:pt x="342" y="1795"/>
                  </a:lnTo>
                  <a:lnTo>
                    <a:pt x="343" y="1795"/>
                  </a:lnTo>
                  <a:lnTo>
                    <a:pt x="345" y="1797"/>
                  </a:lnTo>
                  <a:lnTo>
                    <a:pt x="346" y="1797"/>
                  </a:lnTo>
                  <a:lnTo>
                    <a:pt x="348" y="1795"/>
                  </a:lnTo>
                  <a:lnTo>
                    <a:pt x="345" y="1794"/>
                  </a:lnTo>
                  <a:lnTo>
                    <a:pt x="345" y="1794"/>
                  </a:lnTo>
                  <a:lnTo>
                    <a:pt x="346" y="1792"/>
                  </a:lnTo>
                  <a:lnTo>
                    <a:pt x="349" y="1792"/>
                  </a:lnTo>
                  <a:lnTo>
                    <a:pt x="351" y="1794"/>
                  </a:lnTo>
                  <a:lnTo>
                    <a:pt x="352" y="1794"/>
                  </a:lnTo>
                  <a:lnTo>
                    <a:pt x="352" y="1794"/>
                  </a:lnTo>
                  <a:lnTo>
                    <a:pt x="355" y="1792"/>
                  </a:lnTo>
                  <a:lnTo>
                    <a:pt x="354" y="1790"/>
                  </a:lnTo>
                  <a:lnTo>
                    <a:pt x="355" y="1789"/>
                  </a:lnTo>
                  <a:lnTo>
                    <a:pt x="357" y="1787"/>
                  </a:lnTo>
                  <a:lnTo>
                    <a:pt x="360" y="1789"/>
                  </a:lnTo>
                  <a:lnTo>
                    <a:pt x="360" y="1790"/>
                  </a:lnTo>
                  <a:lnTo>
                    <a:pt x="360" y="1792"/>
                  </a:lnTo>
                  <a:lnTo>
                    <a:pt x="360" y="1792"/>
                  </a:lnTo>
                  <a:lnTo>
                    <a:pt x="360" y="1794"/>
                  </a:lnTo>
                  <a:lnTo>
                    <a:pt x="358" y="1795"/>
                  </a:lnTo>
                  <a:lnTo>
                    <a:pt x="358" y="1797"/>
                  </a:lnTo>
                  <a:lnTo>
                    <a:pt x="357" y="1797"/>
                  </a:lnTo>
                  <a:lnTo>
                    <a:pt x="357" y="1800"/>
                  </a:lnTo>
                  <a:lnTo>
                    <a:pt x="358" y="1798"/>
                  </a:lnTo>
                  <a:lnTo>
                    <a:pt x="360" y="1797"/>
                  </a:lnTo>
                  <a:lnTo>
                    <a:pt x="360" y="1797"/>
                  </a:lnTo>
                  <a:lnTo>
                    <a:pt x="362" y="1798"/>
                  </a:lnTo>
                  <a:lnTo>
                    <a:pt x="365" y="1794"/>
                  </a:lnTo>
                  <a:lnTo>
                    <a:pt x="366" y="1792"/>
                  </a:lnTo>
                  <a:lnTo>
                    <a:pt x="368" y="1792"/>
                  </a:lnTo>
                  <a:lnTo>
                    <a:pt x="368" y="1794"/>
                  </a:lnTo>
                  <a:lnTo>
                    <a:pt x="365" y="1798"/>
                  </a:lnTo>
                  <a:lnTo>
                    <a:pt x="365" y="1800"/>
                  </a:lnTo>
                  <a:lnTo>
                    <a:pt x="366" y="1800"/>
                  </a:lnTo>
                  <a:lnTo>
                    <a:pt x="368" y="1800"/>
                  </a:lnTo>
                  <a:lnTo>
                    <a:pt x="369" y="1798"/>
                  </a:lnTo>
                  <a:lnTo>
                    <a:pt x="372" y="1794"/>
                  </a:lnTo>
                  <a:lnTo>
                    <a:pt x="377" y="1790"/>
                  </a:lnTo>
                  <a:lnTo>
                    <a:pt x="377" y="1789"/>
                  </a:lnTo>
                  <a:lnTo>
                    <a:pt x="375" y="1789"/>
                  </a:lnTo>
                  <a:lnTo>
                    <a:pt x="377" y="1786"/>
                  </a:lnTo>
                  <a:lnTo>
                    <a:pt x="379" y="1786"/>
                  </a:lnTo>
                  <a:lnTo>
                    <a:pt x="379" y="1784"/>
                  </a:lnTo>
                  <a:lnTo>
                    <a:pt x="374" y="1786"/>
                  </a:lnTo>
                  <a:lnTo>
                    <a:pt x="374" y="1784"/>
                  </a:lnTo>
                  <a:lnTo>
                    <a:pt x="375" y="1784"/>
                  </a:lnTo>
                  <a:lnTo>
                    <a:pt x="375" y="1783"/>
                  </a:lnTo>
                  <a:lnTo>
                    <a:pt x="377" y="1783"/>
                  </a:lnTo>
                  <a:lnTo>
                    <a:pt x="379" y="1780"/>
                  </a:lnTo>
                  <a:lnTo>
                    <a:pt x="377" y="1780"/>
                  </a:lnTo>
                  <a:lnTo>
                    <a:pt x="377" y="1780"/>
                  </a:lnTo>
                  <a:lnTo>
                    <a:pt x="375" y="1778"/>
                  </a:lnTo>
                  <a:lnTo>
                    <a:pt x="374" y="1777"/>
                  </a:lnTo>
                  <a:lnTo>
                    <a:pt x="374" y="1777"/>
                  </a:lnTo>
                  <a:lnTo>
                    <a:pt x="375" y="1777"/>
                  </a:lnTo>
                  <a:lnTo>
                    <a:pt x="380" y="1778"/>
                  </a:lnTo>
                  <a:lnTo>
                    <a:pt x="382" y="1780"/>
                  </a:lnTo>
                  <a:lnTo>
                    <a:pt x="382" y="1781"/>
                  </a:lnTo>
                  <a:lnTo>
                    <a:pt x="382" y="1783"/>
                  </a:lnTo>
                  <a:lnTo>
                    <a:pt x="382" y="1784"/>
                  </a:lnTo>
                  <a:lnTo>
                    <a:pt x="383" y="1784"/>
                  </a:lnTo>
                  <a:lnTo>
                    <a:pt x="383" y="1783"/>
                  </a:lnTo>
                  <a:lnTo>
                    <a:pt x="383" y="1781"/>
                  </a:lnTo>
                  <a:lnTo>
                    <a:pt x="383" y="1781"/>
                  </a:lnTo>
                  <a:lnTo>
                    <a:pt x="385" y="1780"/>
                  </a:lnTo>
                  <a:lnTo>
                    <a:pt x="385" y="1780"/>
                  </a:lnTo>
                  <a:lnTo>
                    <a:pt x="388" y="1778"/>
                  </a:lnTo>
                  <a:lnTo>
                    <a:pt x="391" y="1778"/>
                  </a:lnTo>
                  <a:lnTo>
                    <a:pt x="392" y="1778"/>
                  </a:lnTo>
                  <a:lnTo>
                    <a:pt x="394" y="1775"/>
                  </a:lnTo>
                  <a:lnTo>
                    <a:pt x="395" y="1775"/>
                  </a:lnTo>
                  <a:lnTo>
                    <a:pt x="394" y="1770"/>
                  </a:lnTo>
                  <a:lnTo>
                    <a:pt x="395" y="1770"/>
                  </a:lnTo>
                  <a:lnTo>
                    <a:pt x="399" y="1772"/>
                  </a:lnTo>
                  <a:lnTo>
                    <a:pt x="399" y="1775"/>
                  </a:lnTo>
                  <a:lnTo>
                    <a:pt x="395" y="1777"/>
                  </a:lnTo>
                  <a:lnTo>
                    <a:pt x="397" y="1778"/>
                  </a:lnTo>
                  <a:lnTo>
                    <a:pt x="399" y="1778"/>
                  </a:lnTo>
                  <a:lnTo>
                    <a:pt x="405" y="1778"/>
                  </a:lnTo>
                  <a:lnTo>
                    <a:pt x="405" y="1777"/>
                  </a:lnTo>
                  <a:lnTo>
                    <a:pt x="406" y="1769"/>
                  </a:lnTo>
                  <a:lnTo>
                    <a:pt x="408" y="1767"/>
                  </a:lnTo>
                  <a:lnTo>
                    <a:pt x="409" y="1767"/>
                  </a:lnTo>
                  <a:lnTo>
                    <a:pt x="409" y="1769"/>
                  </a:lnTo>
                  <a:lnTo>
                    <a:pt x="409" y="1772"/>
                  </a:lnTo>
                  <a:lnTo>
                    <a:pt x="409" y="1773"/>
                  </a:lnTo>
                  <a:lnTo>
                    <a:pt x="408" y="1775"/>
                  </a:lnTo>
                  <a:lnTo>
                    <a:pt x="409" y="1777"/>
                  </a:lnTo>
                  <a:lnTo>
                    <a:pt x="409" y="1777"/>
                  </a:lnTo>
                  <a:lnTo>
                    <a:pt x="411" y="1775"/>
                  </a:lnTo>
                  <a:lnTo>
                    <a:pt x="412" y="1777"/>
                  </a:lnTo>
                  <a:lnTo>
                    <a:pt x="412" y="1775"/>
                  </a:lnTo>
                  <a:lnTo>
                    <a:pt x="411" y="1773"/>
                  </a:lnTo>
                  <a:lnTo>
                    <a:pt x="412" y="1772"/>
                  </a:lnTo>
                  <a:lnTo>
                    <a:pt x="415" y="1770"/>
                  </a:lnTo>
                  <a:lnTo>
                    <a:pt x="415" y="1772"/>
                  </a:lnTo>
                  <a:lnTo>
                    <a:pt x="415" y="1772"/>
                  </a:lnTo>
                  <a:lnTo>
                    <a:pt x="415" y="1773"/>
                  </a:lnTo>
                  <a:lnTo>
                    <a:pt x="417" y="1773"/>
                  </a:lnTo>
                  <a:lnTo>
                    <a:pt x="422" y="1772"/>
                  </a:lnTo>
                  <a:lnTo>
                    <a:pt x="423" y="1770"/>
                  </a:lnTo>
                  <a:lnTo>
                    <a:pt x="422" y="1769"/>
                  </a:lnTo>
                  <a:lnTo>
                    <a:pt x="422" y="1769"/>
                  </a:lnTo>
                  <a:lnTo>
                    <a:pt x="423" y="1769"/>
                  </a:lnTo>
                  <a:lnTo>
                    <a:pt x="422" y="1767"/>
                  </a:lnTo>
                  <a:lnTo>
                    <a:pt x="420" y="1766"/>
                  </a:lnTo>
                  <a:lnTo>
                    <a:pt x="420" y="1764"/>
                  </a:lnTo>
                  <a:lnTo>
                    <a:pt x="420" y="1766"/>
                  </a:lnTo>
                  <a:lnTo>
                    <a:pt x="422" y="1766"/>
                  </a:lnTo>
                  <a:lnTo>
                    <a:pt x="422" y="1766"/>
                  </a:lnTo>
                  <a:lnTo>
                    <a:pt x="422" y="1766"/>
                  </a:lnTo>
                  <a:lnTo>
                    <a:pt x="422" y="1763"/>
                  </a:lnTo>
                  <a:lnTo>
                    <a:pt x="422" y="1763"/>
                  </a:lnTo>
                  <a:lnTo>
                    <a:pt x="423" y="1763"/>
                  </a:lnTo>
                  <a:lnTo>
                    <a:pt x="429" y="1763"/>
                  </a:lnTo>
                  <a:lnTo>
                    <a:pt x="432" y="1761"/>
                  </a:lnTo>
                  <a:lnTo>
                    <a:pt x="431" y="1761"/>
                  </a:lnTo>
                  <a:lnTo>
                    <a:pt x="431" y="1760"/>
                  </a:lnTo>
                  <a:lnTo>
                    <a:pt x="431" y="1758"/>
                  </a:lnTo>
                  <a:lnTo>
                    <a:pt x="434" y="1760"/>
                  </a:lnTo>
                  <a:lnTo>
                    <a:pt x="435" y="1760"/>
                  </a:lnTo>
                  <a:lnTo>
                    <a:pt x="435" y="1763"/>
                  </a:lnTo>
                  <a:lnTo>
                    <a:pt x="445" y="1763"/>
                  </a:lnTo>
                  <a:lnTo>
                    <a:pt x="446" y="1763"/>
                  </a:lnTo>
                  <a:lnTo>
                    <a:pt x="446" y="1761"/>
                  </a:lnTo>
                  <a:lnTo>
                    <a:pt x="446" y="1758"/>
                  </a:lnTo>
                  <a:lnTo>
                    <a:pt x="448" y="1758"/>
                  </a:lnTo>
                  <a:lnTo>
                    <a:pt x="448" y="1758"/>
                  </a:lnTo>
                  <a:lnTo>
                    <a:pt x="448" y="1758"/>
                  </a:lnTo>
                  <a:lnTo>
                    <a:pt x="448" y="1755"/>
                  </a:lnTo>
                  <a:lnTo>
                    <a:pt x="448" y="1753"/>
                  </a:lnTo>
                  <a:lnTo>
                    <a:pt x="448" y="1752"/>
                  </a:lnTo>
                  <a:lnTo>
                    <a:pt x="446" y="1752"/>
                  </a:lnTo>
                  <a:lnTo>
                    <a:pt x="446" y="1750"/>
                  </a:lnTo>
                  <a:lnTo>
                    <a:pt x="452" y="1749"/>
                  </a:lnTo>
                  <a:lnTo>
                    <a:pt x="454" y="1747"/>
                  </a:lnTo>
                  <a:lnTo>
                    <a:pt x="456" y="1746"/>
                  </a:lnTo>
                  <a:lnTo>
                    <a:pt x="457" y="1744"/>
                  </a:lnTo>
                  <a:lnTo>
                    <a:pt x="459" y="1744"/>
                  </a:lnTo>
                  <a:lnTo>
                    <a:pt x="460" y="1749"/>
                  </a:lnTo>
                  <a:lnTo>
                    <a:pt x="456" y="1749"/>
                  </a:lnTo>
                  <a:lnTo>
                    <a:pt x="456" y="1749"/>
                  </a:lnTo>
                  <a:lnTo>
                    <a:pt x="457" y="1750"/>
                  </a:lnTo>
                  <a:lnTo>
                    <a:pt x="457" y="1750"/>
                  </a:lnTo>
                  <a:lnTo>
                    <a:pt x="457" y="1752"/>
                  </a:lnTo>
                  <a:lnTo>
                    <a:pt x="456" y="1755"/>
                  </a:lnTo>
                  <a:lnTo>
                    <a:pt x="457" y="1755"/>
                  </a:lnTo>
                  <a:lnTo>
                    <a:pt x="463" y="1763"/>
                  </a:lnTo>
                  <a:lnTo>
                    <a:pt x="465" y="1763"/>
                  </a:lnTo>
                  <a:lnTo>
                    <a:pt x="466" y="1763"/>
                  </a:lnTo>
                  <a:lnTo>
                    <a:pt x="466" y="1761"/>
                  </a:lnTo>
                  <a:lnTo>
                    <a:pt x="471" y="1760"/>
                  </a:lnTo>
                  <a:lnTo>
                    <a:pt x="466" y="1757"/>
                  </a:lnTo>
                  <a:lnTo>
                    <a:pt x="463" y="1755"/>
                  </a:lnTo>
                  <a:lnTo>
                    <a:pt x="463" y="1752"/>
                  </a:lnTo>
                  <a:lnTo>
                    <a:pt x="463" y="1752"/>
                  </a:lnTo>
                  <a:lnTo>
                    <a:pt x="465" y="1752"/>
                  </a:lnTo>
                  <a:lnTo>
                    <a:pt x="468" y="1755"/>
                  </a:lnTo>
                  <a:lnTo>
                    <a:pt x="469" y="1757"/>
                  </a:lnTo>
                  <a:lnTo>
                    <a:pt x="471" y="1757"/>
                  </a:lnTo>
                  <a:lnTo>
                    <a:pt x="472" y="1757"/>
                  </a:lnTo>
                  <a:lnTo>
                    <a:pt x="472" y="1758"/>
                  </a:lnTo>
                  <a:lnTo>
                    <a:pt x="472" y="1760"/>
                  </a:lnTo>
                  <a:lnTo>
                    <a:pt x="474" y="1761"/>
                  </a:lnTo>
                  <a:lnTo>
                    <a:pt x="474" y="1761"/>
                  </a:lnTo>
                  <a:lnTo>
                    <a:pt x="476" y="1763"/>
                  </a:lnTo>
                  <a:lnTo>
                    <a:pt x="477" y="1763"/>
                  </a:lnTo>
                  <a:lnTo>
                    <a:pt x="477" y="1760"/>
                  </a:lnTo>
                  <a:lnTo>
                    <a:pt x="474" y="1755"/>
                  </a:lnTo>
                  <a:lnTo>
                    <a:pt x="474" y="1753"/>
                  </a:lnTo>
                  <a:lnTo>
                    <a:pt x="474" y="1752"/>
                  </a:lnTo>
                  <a:lnTo>
                    <a:pt x="476" y="1749"/>
                  </a:lnTo>
                  <a:lnTo>
                    <a:pt x="476" y="1746"/>
                  </a:lnTo>
                  <a:lnTo>
                    <a:pt x="476" y="1744"/>
                  </a:lnTo>
                  <a:lnTo>
                    <a:pt x="472" y="1743"/>
                  </a:lnTo>
                  <a:lnTo>
                    <a:pt x="471" y="1740"/>
                  </a:lnTo>
                  <a:lnTo>
                    <a:pt x="472" y="1740"/>
                  </a:lnTo>
                  <a:lnTo>
                    <a:pt x="474" y="1741"/>
                  </a:lnTo>
                  <a:lnTo>
                    <a:pt x="479" y="1746"/>
                  </a:lnTo>
                  <a:lnTo>
                    <a:pt x="479" y="1746"/>
                  </a:lnTo>
                  <a:lnTo>
                    <a:pt x="480" y="1746"/>
                  </a:lnTo>
                  <a:lnTo>
                    <a:pt x="480" y="1746"/>
                  </a:lnTo>
                  <a:lnTo>
                    <a:pt x="482" y="1744"/>
                  </a:lnTo>
                  <a:lnTo>
                    <a:pt x="482" y="1744"/>
                  </a:lnTo>
                  <a:lnTo>
                    <a:pt x="483" y="1744"/>
                  </a:lnTo>
                  <a:lnTo>
                    <a:pt x="482" y="1746"/>
                  </a:lnTo>
                  <a:lnTo>
                    <a:pt x="485" y="1750"/>
                  </a:lnTo>
                  <a:lnTo>
                    <a:pt x="485" y="1755"/>
                  </a:lnTo>
                  <a:lnTo>
                    <a:pt x="489" y="1753"/>
                  </a:lnTo>
                  <a:lnTo>
                    <a:pt x="489" y="1752"/>
                  </a:lnTo>
                  <a:lnTo>
                    <a:pt x="491" y="1750"/>
                  </a:lnTo>
                  <a:lnTo>
                    <a:pt x="491" y="1749"/>
                  </a:lnTo>
                  <a:lnTo>
                    <a:pt x="489" y="1749"/>
                  </a:lnTo>
                  <a:lnTo>
                    <a:pt x="489" y="1747"/>
                  </a:lnTo>
                  <a:lnTo>
                    <a:pt x="488" y="1747"/>
                  </a:lnTo>
                  <a:lnTo>
                    <a:pt x="486" y="1744"/>
                  </a:lnTo>
                  <a:lnTo>
                    <a:pt x="485" y="1743"/>
                  </a:lnTo>
                  <a:lnTo>
                    <a:pt x="483" y="1741"/>
                  </a:lnTo>
                  <a:lnTo>
                    <a:pt x="483" y="1740"/>
                  </a:lnTo>
                  <a:lnTo>
                    <a:pt x="483" y="1740"/>
                  </a:lnTo>
                  <a:lnTo>
                    <a:pt x="485" y="1740"/>
                  </a:lnTo>
                  <a:lnTo>
                    <a:pt x="485" y="1738"/>
                  </a:lnTo>
                  <a:lnTo>
                    <a:pt x="485" y="1737"/>
                  </a:lnTo>
                  <a:lnTo>
                    <a:pt x="485" y="1735"/>
                  </a:lnTo>
                  <a:lnTo>
                    <a:pt x="485" y="1735"/>
                  </a:lnTo>
                  <a:lnTo>
                    <a:pt x="483" y="1733"/>
                  </a:lnTo>
                  <a:lnTo>
                    <a:pt x="482" y="1730"/>
                  </a:lnTo>
                  <a:lnTo>
                    <a:pt x="480" y="1729"/>
                  </a:lnTo>
                  <a:lnTo>
                    <a:pt x="476" y="1727"/>
                  </a:lnTo>
                  <a:lnTo>
                    <a:pt x="476" y="1726"/>
                  </a:lnTo>
                  <a:lnTo>
                    <a:pt x="479" y="1727"/>
                  </a:lnTo>
                  <a:lnTo>
                    <a:pt x="480" y="1727"/>
                  </a:lnTo>
                  <a:lnTo>
                    <a:pt x="483" y="1730"/>
                  </a:lnTo>
                  <a:lnTo>
                    <a:pt x="486" y="1733"/>
                  </a:lnTo>
                  <a:lnTo>
                    <a:pt x="486" y="1735"/>
                  </a:lnTo>
                  <a:lnTo>
                    <a:pt x="489" y="1737"/>
                  </a:lnTo>
                  <a:lnTo>
                    <a:pt x="492" y="1740"/>
                  </a:lnTo>
                  <a:lnTo>
                    <a:pt x="492" y="1740"/>
                  </a:lnTo>
                  <a:lnTo>
                    <a:pt x="494" y="1740"/>
                  </a:lnTo>
                  <a:lnTo>
                    <a:pt x="496" y="1738"/>
                  </a:lnTo>
                  <a:lnTo>
                    <a:pt x="496" y="1738"/>
                  </a:lnTo>
                  <a:lnTo>
                    <a:pt x="503" y="1740"/>
                  </a:lnTo>
                  <a:lnTo>
                    <a:pt x="500" y="1735"/>
                  </a:lnTo>
                  <a:lnTo>
                    <a:pt x="499" y="1733"/>
                  </a:lnTo>
                  <a:lnTo>
                    <a:pt x="500" y="1732"/>
                  </a:lnTo>
                  <a:lnTo>
                    <a:pt x="500" y="1732"/>
                  </a:lnTo>
                  <a:lnTo>
                    <a:pt x="502" y="1733"/>
                  </a:lnTo>
                  <a:lnTo>
                    <a:pt x="503" y="1735"/>
                  </a:lnTo>
                  <a:lnTo>
                    <a:pt x="503" y="1737"/>
                  </a:lnTo>
                  <a:lnTo>
                    <a:pt x="505" y="1737"/>
                  </a:lnTo>
                  <a:lnTo>
                    <a:pt x="505" y="1740"/>
                  </a:lnTo>
                  <a:lnTo>
                    <a:pt x="506" y="1741"/>
                  </a:lnTo>
                  <a:lnTo>
                    <a:pt x="508" y="1743"/>
                  </a:lnTo>
                  <a:lnTo>
                    <a:pt x="508" y="1743"/>
                  </a:lnTo>
                  <a:lnTo>
                    <a:pt x="508" y="1741"/>
                  </a:lnTo>
                  <a:lnTo>
                    <a:pt x="508" y="1741"/>
                  </a:lnTo>
                  <a:lnTo>
                    <a:pt x="509" y="1740"/>
                  </a:lnTo>
                  <a:lnTo>
                    <a:pt x="509" y="1740"/>
                  </a:lnTo>
                  <a:lnTo>
                    <a:pt x="511" y="1740"/>
                  </a:lnTo>
                  <a:lnTo>
                    <a:pt x="511" y="1738"/>
                  </a:lnTo>
                  <a:lnTo>
                    <a:pt x="511" y="1737"/>
                  </a:lnTo>
                  <a:lnTo>
                    <a:pt x="513" y="1740"/>
                  </a:lnTo>
                  <a:lnTo>
                    <a:pt x="513" y="1740"/>
                  </a:lnTo>
                  <a:lnTo>
                    <a:pt x="514" y="1740"/>
                  </a:lnTo>
                  <a:lnTo>
                    <a:pt x="514" y="1738"/>
                  </a:lnTo>
                  <a:lnTo>
                    <a:pt x="514" y="1737"/>
                  </a:lnTo>
                  <a:lnTo>
                    <a:pt x="516" y="1737"/>
                  </a:lnTo>
                  <a:lnTo>
                    <a:pt x="517" y="1737"/>
                  </a:lnTo>
                  <a:lnTo>
                    <a:pt x="517" y="1735"/>
                  </a:lnTo>
                  <a:lnTo>
                    <a:pt x="519" y="1733"/>
                  </a:lnTo>
                  <a:lnTo>
                    <a:pt x="516" y="1729"/>
                  </a:lnTo>
                  <a:lnTo>
                    <a:pt x="517" y="1723"/>
                  </a:lnTo>
                  <a:lnTo>
                    <a:pt x="523" y="1710"/>
                  </a:lnTo>
                  <a:lnTo>
                    <a:pt x="526" y="1704"/>
                  </a:lnTo>
                  <a:lnTo>
                    <a:pt x="528" y="1703"/>
                  </a:lnTo>
                  <a:lnTo>
                    <a:pt x="531" y="1701"/>
                  </a:lnTo>
                  <a:lnTo>
                    <a:pt x="534" y="1703"/>
                  </a:lnTo>
                  <a:lnTo>
                    <a:pt x="537" y="1707"/>
                  </a:lnTo>
                  <a:lnTo>
                    <a:pt x="539" y="1713"/>
                  </a:lnTo>
                  <a:lnTo>
                    <a:pt x="533" y="1709"/>
                  </a:lnTo>
                  <a:lnTo>
                    <a:pt x="529" y="1707"/>
                  </a:lnTo>
                  <a:lnTo>
                    <a:pt x="525" y="1710"/>
                  </a:lnTo>
                  <a:lnTo>
                    <a:pt x="525" y="1712"/>
                  </a:lnTo>
                  <a:lnTo>
                    <a:pt x="525" y="1713"/>
                  </a:lnTo>
                  <a:lnTo>
                    <a:pt x="525" y="1717"/>
                  </a:lnTo>
                  <a:lnTo>
                    <a:pt x="525" y="1718"/>
                  </a:lnTo>
                  <a:lnTo>
                    <a:pt x="522" y="1723"/>
                  </a:lnTo>
                  <a:lnTo>
                    <a:pt x="520" y="1723"/>
                  </a:lnTo>
                  <a:lnTo>
                    <a:pt x="519" y="1724"/>
                  </a:lnTo>
                  <a:lnTo>
                    <a:pt x="517" y="1726"/>
                  </a:lnTo>
                  <a:lnTo>
                    <a:pt x="519" y="1729"/>
                  </a:lnTo>
                  <a:lnTo>
                    <a:pt x="520" y="1732"/>
                  </a:lnTo>
                  <a:lnTo>
                    <a:pt x="522" y="1733"/>
                  </a:lnTo>
                  <a:lnTo>
                    <a:pt x="523" y="1735"/>
                  </a:lnTo>
                  <a:lnTo>
                    <a:pt x="525" y="1733"/>
                  </a:lnTo>
                  <a:lnTo>
                    <a:pt x="525" y="1732"/>
                  </a:lnTo>
                  <a:lnTo>
                    <a:pt x="526" y="1732"/>
                  </a:lnTo>
                  <a:lnTo>
                    <a:pt x="528" y="1732"/>
                  </a:lnTo>
                  <a:lnTo>
                    <a:pt x="529" y="1732"/>
                  </a:lnTo>
                  <a:lnTo>
                    <a:pt x="531" y="1733"/>
                  </a:lnTo>
                  <a:lnTo>
                    <a:pt x="533" y="1735"/>
                  </a:lnTo>
                  <a:lnTo>
                    <a:pt x="534" y="1737"/>
                  </a:lnTo>
                  <a:lnTo>
                    <a:pt x="534" y="1737"/>
                  </a:lnTo>
                  <a:lnTo>
                    <a:pt x="536" y="1735"/>
                  </a:lnTo>
                  <a:lnTo>
                    <a:pt x="537" y="1735"/>
                  </a:lnTo>
                  <a:lnTo>
                    <a:pt x="537" y="1733"/>
                  </a:lnTo>
                  <a:lnTo>
                    <a:pt x="537" y="1733"/>
                  </a:lnTo>
                  <a:lnTo>
                    <a:pt x="537" y="1730"/>
                  </a:lnTo>
                  <a:lnTo>
                    <a:pt x="537" y="1729"/>
                  </a:lnTo>
                  <a:lnTo>
                    <a:pt x="539" y="1727"/>
                  </a:lnTo>
                  <a:lnTo>
                    <a:pt x="540" y="1727"/>
                  </a:lnTo>
                  <a:lnTo>
                    <a:pt x="542" y="1726"/>
                  </a:lnTo>
                  <a:lnTo>
                    <a:pt x="543" y="1726"/>
                  </a:lnTo>
                  <a:lnTo>
                    <a:pt x="542" y="1729"/>
                  </a:lnTo>
                  <a:lnTo>
                    <a:pt x="542" y="1730"/>
                  </a:lnTo>
                  <a:lnTo>
                    <a:pt x="542" y="1730"/>
                  </a:lnTo>
                  <a:lnTo>
                    <a:pt x="543" y="1730"/>
                  </a:lnTo>
                  <a:lnTo>
                    <a:pt x="551" y="1729"/>
                  </a:lnTo>
                  <a:lnTo>
                    <a:pt x="551" y="1729"/>
                  </a:lnTo>
                  <a:lnTo>
                    <a:pt x="554" y="1732"/>
                  </a:lnTo>
                  <a:lnTo>
                    <a:pt x="554" y="1732"/>
                  </a:lnTo>
                  <a:lnTo>
                    <a:pt x="554" y="1730"/>
                  </a:lnTo>
                  <a:lnTo>
                    <a:pt x="554" y="1729"/>
                  </a:lnTo>
                  <a:lnTo>
                    <a:pt x="551" y="1726"/>
                  </a:lnTo>
                  <a:lnTo>
                    <a:pt x="556" y="1727"/>
                  </a:lnTo>
                  <a:lnTo>
                    <a:pt x="557" y="1726"/>
                  </a:lnTo>
                  <a:lnTo>
                    <a:pt x="557" y="1723"/>
                  </a:lnTo>
                  <a:lnTo>
                    <a:pt x="559" y="1723"/>
                  </a:lnTo>
                  <a:lnTo>
                    <a:pt x="559" y="1721"/>
                  </a:lnTo>
                  <a:lnTo>
                    <a:pt x="559" y="1720"/>
                  </a:lnTo>
                  <a:lnTo>
                    <a:pt x="559" y="1718"/>
                  </a:lnTo>
                  <a:lnTo>
                    <a:pt x="559" y="1718"/>
                  </a:lnTo>
                  <a:lnTo>
                    <a:pt x="560" y="1718"/>
                  </a:lnTo>
                  <a:lnTo>
                    <a:pt x="560" y="1717"/>
                  </a:lnTo>
                  <a:lnTo>
                    <a:pt x="562" y="1718"/>
                  </a:lnTo>
                  <a:lnTo>
                    <a:pt x="563" y="1720"/>
                  </a:lnTo>
                  <a:lnTo>
                    <a:pt x="563" y="1721"/>
                  </a:lnTo>
                  <a:lnTo>
                    <a:pt x="563" y="1720"/>
                  </a:lnTo>
                  <a:lnTo>
                    <a:pt x="565" y="1718"/>
                  </a:lnTo>
                  <a:lnTo>
                    <a:pt x="565" y="1717"/>
                  </a:lnTo>
                  <a:lnTo>
                    <a:pt x="566" y="1718"/>
                  </a:lnTo>
                  <a:lnTo>
                    <a:pt x="566" y="1720"/>
                  </a:lnTo>
                  <a:lnTo>
                    <a:pt x="568" y="1721"/>
                  </a:lnTo>
                  <a:lnTo>
                    <a:pt x="569" y="1720"/>
                  </a:lnTo>
                  <a:lnTo>
                    <a:pt x="569" y="1721"/>
                  </a:lnTo>
                  <a:lnTo>
                    <a:pt x="569" y="1723"/>
                  </a:lnTo>
                  <a:lnTo>
                    <a:pt x="571" y="1721"/>
                  </a:lnTo>
                  <a:lnTo>
                    <a:pt x="571" y="1718"/>
                  </a:lnTo>
                  <a:lnTo>
                    <a:pt x="571" y="1717"/>
                  </a:lnTo>
                  <a:lnTo>
                    <a:pt x="569" y="1713"/>
                  </a:lnTo>
                  <a:lnTo>
                    <a:pt x="571" y="1712"/>
                  </a:lnTo>
                  <a:lnTo>
                    <a:pt x="573" y="1712"/>
                  </a:lnTo>
                  <a:lnTo>
                    <a:pt x="574" y="1712"/>
                  </a:lnTo>
                  <a:lnTo>
                    <a:pt x="573" y="1715"/>
                  </a:lnTo>
                  <a:lnTo>
                    <a:pt x="577" y="1718"/>
                  </a:lnTo>
                  <a:lnTo>
                    <a:pt x="580" y="1721"/>
                  </a:lnTo>
                  <a:lnTo>
                    <a:pt x="576" y="1720"/>
                  </a:lnTo>
                  <a:lnTo>
                    <a:pt x="574" y="1720"/>
                  </a:lnTo>
                  <a:lnTo>
                    <a:pt x="574" y="1723"/>
                  </a:lnTo>
                  <a:lnTo>
                    <a:pt x="576" y="1723"/>
                  </a:lnTo>
                  <a:lnTo>
                    <a:pt x="580" y="1723"/>
                  </a:lnTo>
                  <a:lnTo>
                    <a:pt x="585" y="1724"/>
                  </a:lnTo>
                  <a:lnTo>
                    <a:pt x="591" y="1730"/>
                  </a:lnTo>
                  <a:lnTo>
                    <a:pt x="594" y="1730"/>
                  </a:lnTo>
                  <a:lnTo>
                    <a:pt x="594" y="1729"/>
                  </a:lnTo>
                  <a:lnTo>
                    <a:pt x="594" y="1729"/>
                  </a:lnTo>
                  <a:lnTo>
                    <a:pt x="593" y="1729"/>
                  </a:lnTo>
                  <a:lnTo>
                    <a:pt x="593" y="1727"/>
                  </a:lnTo>
                  <a:lnTo>
                    <a:pt x="593" y="1727"/>
                  </a:lnTo>
                  <a:lnTo>
                    <a:pt x="593" y="1726"/>
                  </a:lnTo>
                  <a:lnTo>
                    <a:pt x="594" y="1726"/>
                  </a:lnTo>
                  <a:lnTo>
                    <a:pt x="593" y="1724"/>
                  </a:lnTo>
                  <a:lnTo>
                    <a:pt x="593" y="1724"/>
                  </a:lnTo>
                  <a:lnTo>
                    <a:pt x="593" y="1723"/>
                  </a:lnTo>
                  <a:lnTo>
                    <a:pt x="594" y="1723"/>
                  </a:lnTo>
                  <a:lnTo>
                    <a:pt x="600" y="1727"/>
                  </a:lnTo>
                  <a:lnTo>
                    <a:pt x="603" y="1729"/>
                  </a:lnTo>
                  <a:lnTo>
                    <a:pt x="603" y="1727"/>
                  </a:lnTo>
                  <a:lnTo>
                    <a:pt x="602" y="1726"/>
                  </a:lnTo>
                  <a:lnTo>
                    <a:pt x="602" y="1724"/>
                  </a:lnTo>
                  <a:lnTo>
                    <a:pt x="603" y="1723"/>
                  </a:lnTo>
                  <a:lnTo>
                    <a:pt x="603" y="1721"/>
                  </a:lnTo>
                  <a:lnTo>
                    <a:pt x="605" y="1721"/>
                  </a:lnTo>
                  <a:lnTo>
                    <a:pt x="608" y="1721"/>
                  </a:lnTo>
                  <a:lnTo>
                    <a:pt x="606" y="1723"/>
                  </a:lnTo>
                  <a:lnTo>
                    <a:pt x="605" y="1724"/>
                  </a:lnTo>
                  <a:lnTo>
                    <a:pt x="603" y="1726"/>
                  </a:lnTo>
                  <a:lnTo>
                    <a:pt x="610" y="1726"/>
                  </a:lnTo>
                  <a:lnTo>
                    <a:pt x="610" y="1726"/>
                  </a:lnTo>
                  <a:lnTo>
                    <a:pt x="613" y="1723"/>
                  </a:lnTo>
                  <a:lnTo>
                    <a:pt x="613" y="1723"/>
                  </a:lnTo>
                  <a:lnTo>
                    <a:pt x="611" y="1723"/>
                  </a:lnTo>
                  <a:lnTo>
                    <a:pt x="611" y="1723"/>
                  </a:lnTo>
                  <a:lnTo>
                    <a:pt x="613" y="1721"/>
                  </a:lnTo>
                  <a:lnTo>
                    <a:pt x="613" y="1720"/>
                  </a:lnTo>
                  <a:lnTo>
                    <a:pt x="611" y="1718"/>
                  </a:lnTo>
                  <a:lnTo>
                    <a:pt x="611" y="1717"/>
                  </a:lnTo>
                  <a:lnTo>
                    <a:pt x="613" y="1715"/>
                  </a:lnTo>
                  <a:lnTo>
                    <a:pt x="613" y="1715"/>
                  </a:lnTo>
                  <a:lnTo>
                    <a:pt x="613" y="1713"/>
                  </a:lnTo>
                  <a:lnTo>
                    <a:pt x="611" y="1713"/>
                  </a:lnTo>
                  <a:lnTo>
                    <a:pt x="614" y="1712"/>
                  </a:lnTo>
                  <a:lnTo>
                    <a:pt x="614" y="1713"/>
                  </a:lnTo>
                  <a:lnTo>
                    <a:pt x="616" y="1715"/>
                  </a:lnTo>
                  <a:lnTo>
                    <a:pt x="617" y="1717"/>
                  </a:lnTo>
                  <a:lnTo>
                    <a:pt x="623" y="1709"/>
                  </a:lnTo>
                  <a:lnTo>
                    <a:pt x="630" y="1701"/>
                  </a:lnTo>
                  <a:lnTo>
                    <a:pt x="631" y="1700"/>
                  </a:lnTo>
                  <a:lnTo>
                    <a:pt x="642" y="1686"/>
                  </a:lnTo>
                  <a:lnTo>
                    <a:pt x="650" y="1680"/>
                  </a:lnTo>
                  <a:lnTo>
                    <a:pt x="656" y="1670"/>
                  </a:lnTo>
                  <a:lnTo>
                    <a:pt x="667" y="1658"/>
                  </a:lnTo>
                  <a:lnTo>
                    <a:pt x="671" y="1656"/>
                  </a:lnTo>
                  <a:lnTo>
                    <a:pt x="677" y="1653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6"/>
                  </a:lnTo>
                  <a:lnTo>
                    <a:pt x="682" y="1644"/>
                  </a:lnTo>
                  <a:lnTo>
                    <a:pt x="687" y="1640"/>
                  </a:lnTo>
                  <a:lnTo>
                    <a:pt x="690" y="1635"/>
                  </a:lnTo>
                  <a:lnTo>
                    <a:pt x="691" y="1633"/>
                  </a:lnTo>
                  <a:lnTo>
                    <a:pt x="694" y="1630"/>
                  </a:lnTo>
                  <a:lnTo>
                    <a:pt x="700" y="1626"/>
                  </a:lnTo>
                  <a:lnTo>
                    <a:pt x="703" y="1623"/>
                  </a:lnTo>
                  <a:lnTo>
                    <a:pt x="716" y="1615"/>
                  </a:lnTo>
                  <a:lnTo>
                    <a:pt x="720" y="1610"/>
                  </a:lnTo>
                  <a:lnTo>
                    <a:pt x="725" y="1604"/>
                  </a:lnTo>
                  <a:lnTo>
                    <a:pt x="727" y="1601"/>
                  </a:lnTo>
                  <a:lnTo>
                    <a:pt x="727" y="1599"/>
                  </a:lnTo>
                  <a:lnTo>
                    <a:pt x="730" y="1596"/>
                  </a:lnTo>
                  <a:lnTo>
                    <a:pt x="740" y="1584"/>
                  </a:lnTo>
                  <a:lnTo>
                    <a:pt x="742" y="1581"/>
                  </a:lnTo>
                  <a:lnTo>
                    <a:pt x="744" y="1578"/>
                  </a:lnTo>
                  <a:lnTo>
                    <a:pt x="744" y="1575"/>
                  </a:lnTo>
                  <a:lnTo>
                    <a:pt x="745" y="1573"/>
                  </a:lnTo>
                  <a:lnTo>
                    <a:pt x="751" y="1572"/>
                  </a:lnTo>
                  <a:lnTo>
                    <a:pt x="753" y="1569"/>
                  </a:lnTo>
                  <a:lnTo>
                    <a:pt x="764" y="1556"/>
                  </a:lnTo>
                  <a:lnTo>
                    <a:pt x="765" y="1553"/>
                  </a:lnTo>
                  <a:lnTo>
                    <a:pt x="767" y="1549"/>
                  </a:lnTo>
                  <a:lnTo>
                    <a:pt x="768" y="1546"/>
                  </a:lnTo>
                  <a:lnTo>
                    <a:pt x="779" y="1535"/>
                  </a:lnTo>
                  <a:lnTo>
                    <a:pt x="791" y="1516"/>
                  </a:lnTo>
                  <a:lnTo>
                    <a:pt x="805" y="1493"/>
                  </a:lnTo>
                  <a:lnTo>
                    <a:pt x="805" y="1493"/>
                  </a:lnTo>
                  <a:lnTo>
                    <a:pt x="805" y="1493"/>
                  </a:lnTo>
                  <a:lnTo>
                    <a:pt x="816" y="1482"/>
                  </a:lnTo>
                  <a:lnTo>
                    <a:pt x="825" y="1469"/>
                  </a:lnTo>
                  <a:lnTo>
                    <a:pt x="827" y="1464"/>
                  </a:lnTo>
                  <a:lnTo>
                    <a:pt x="828" y="1462"/>
                  </a:lnTo>
                  <a:lnTo>
                    <a:pt x="830" y="1461"/>
                  </a:lnTo>
                  <a:lnTo>
                    <a:pt x="833" y="1459"/>
                  </a:lnTo>
                  <a:lnTo>
                    <a:pt x="839" y="1452"/>
                  </a:lnTo>
                  <a:lnTo>
                    <a:pt x="848" y="1445"/>
                  </a:lnTo>
                  <a:lnTo>
                    <a:pt x="848" y="1444"/>
                  </a:lnTo>
                  <a:lnTo>
                    <a:pt x="850" y="1442"/>
                  </a:lnTo>
                  <a:lnTo>
                    <a:pt x="851" y="1436"/>
                  </a:lnTo>
                  <a:lnTo>
                    <a:pt x="853" y="1435"/>
                  </a:lnTo>
                  <a:lnTo>
                    <a:pt x="864" y="1422"/>
                  </a:lnTo>
                  <a:lnTo>
                    <a:pt x="865" y="1419"/>
                  </a:lnTo>
                  <a:lnTo>
                    <a:pt x="865" y="1418"/>
                  </a:lnTo>
                  <a:lnTo>
                    <a:pt x="867" y="1416"/>
                  </a:lnTo>
                  <a:lnTo>
                    <a:pt x="871" y="1415"/>
                  </a:lnTo>
                  <a:lnTo>
                    <a:pt x="871" y="1415"/>
                  </a:lnTo>
                  <a:lnTo>
                    <a:pt x="871" y="1415"/>
                  </a:lnTo>
                  <a:lnTo>
                    <a:pt x="873" y="1412"/>
                  </a:lnTo>
                  <a:lnTo>
                    <a:pt x="874" y="1409"/>
                  </a:lnTo>
                  <a:lnTo>
                    <a:pt x="876" y="1401"/>
                  </a:lnTo>
                  <a:lnTo>
                    <a:pt x="878" y="1398"/>
                  </a:lnTo>
                  <a:lnTo>
                    <a:pt x="881" y="1392"/>
                  </a:lnTo>
                  <a:lnTo>
                    <a:pt x="882" y="1389"/>
                  </a:lnTo>
                  <a:lnTo>
                    <a:pt x="885" y="1373"/>
                  </a:lnTo>
                  <a:lnTo>
                    <a:pt x="887" y="1365"/>
                  </a:lnTo>
                  <a:lnTo>
                    <a:pt x="890" y="1359"/>
                  </a:lnTo>
                  <a:lnTo>
                    <a:pt x="898" y="1347"/>
                  </a:lnTo>
                  <a:lnTo>
                    <a:pt x="894" y="134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6"/>
            <p:cNvSpPr>
              <a:spLocks noEditPoints="1"/>
            </p:cNvSpPr>
            <p:nvPr/>
          </p:nvSpPr>
          <p:spPr bwMode="gray">
            <a:xfrm>
              <a:off x="7991475" y="1727201"/>
              <a:ext cx="1425575" cy="2900363"/>
            </a:xfrm>
            <a:custGeom>
              <a:avLst/>
              <a:gdLst>
                <a:gd name="T0" fmla="*/ 74 w 898"/>
                <a:gd name="T1" fmla="*/ 1795 h 1827"/>
                <a:gd name="T2" fmla="*/ 47 w 898"/>
                <a:gd name="T3" fmla="*/ 1800 h 1827"/>
                <a:gd name="T4" fmla="*/ 9 w 898"/>
                <a:gd name="T5" fmla="*/ 1766 h 1827"/>
                <a:gd name="T6" fmla="*/ 94 w 898"/>
                <a:gd name="T7" fmla="*/ 1757 h 1827"/>
                <a:gd name="T8" fmla="*/ 37 w 898"/>
                <a:gd name="T9" fmla="*/ 1770 h 1827"/>
                <a:gd name="T10" fmla="*/ 43 w 898"/>
                <a:gd name="T11" fmla="*/ 1747 h 1827"/>
                <a:gd name="T12" fmla="*/ 20 w 898"/>
                <a:gd name="T13" fmla="*/ 1766 h 1827"/>
                <a:gd name="T14" fmla="*/ 115 w 898"/>
                <a:gd name="T15" fmla="*/ 1727 h 1827"/>
                <a:gd name="T16" fmla="*/ 249 w 898"/>
                <a:gd name="T17" fmla="*/ 1798 h 1827"/>
                <a:gd name="T18" fmla="*/ 180 w 898"/>
                <a:gd name="T19" fmla="*/ 1780 h 1827"/>
                <a:gd name="T20" fmla="*/ 172 w 898"/>
                <a:gd name="T21" fmla="*/ 1777 h 1827"/>
                <a:gd name="T22" fmla="*/ 181 w 898"/>
                <a:gd name="T23" fmla="*/ 1777 h 1827"/>
                <a:gd name="T24" fmla="*/ 459 w 898"/>
                <a:gd name="T25" fmla="*/ 1763 h 1827"/>
                <a:gd name="T26" fmla="*/ 224 w 898"/>
                <a:gd name="T27" fmla="*/ 1798 h 1827"/>
                <a:gd name="T28" fmla="*/ 204 w 898"/>
                <a:gd name="T29" fmla="*/ 1760 h 1827"/>
                <a:gd name="T30" fmla="*/ 206 w 898"/>
                <a:gd name="T31" fmla="*/ 1743 h 1827"/>
                <a:gd name="T32" fmla="*/ 175 w 898"/>
                <a:gd name="T33" fmla="*/ 1747 h 1827"/>
                <a:gd name="T34" fmla="*/ 134 w 898"/>
                <a:gd name="T35" fmla="*/ 1727 h 1827"/>
                <a:gd name="T36" fmla="*/ 127 w 898"/>
                <a:gd name="T37" fmla="*/ 1704 h 1827"/>
                <a:gd name="T38" fmla="*/ 135 w 898"/>
                <a:gd name="T39" fmla="*/ 1618 h 1827"/>
                <a:gd name="T40" fmla="*/ 120 w 898"/>
                <a:gd name="T41" fmla="*/ 1332 h 1827"/>
                <a:gd name="T42" fmla="*/ 124 w 898"/>
                <a:gd name="T43" fmla="*/ 1293 h 1827"/>
                <a:gd name="T44" fmla="*/ 197 w 898"/>
                <a:gd name="T45" fmla="*/ 1279 h 1827"/>
                <a:gd name="T46" fmla="*/ 183 w 898"/>
                <a:gd name="T47" fmla="*/ 1270 h 1827"/>
                <a:gd name="T48" fmla="*/ 241 w 898"/>
                <a:gd name="T49" fmla="*/ 1211 h 1827"/>
                <a:gd name="T50" fmla="*/ 874 w 898"/>
                <a:gd name="T51" fmla="*/ 1315 h 1827"/>
                <a:gd name="T52" fmla="*/ 777 w 898"/>
                <a:gd name="T53" fmla="*/ 1068 h 1827"/>
                <a:gd name="T54" fmla="*/ 780 w 898"/>
                <a:gd name="T55" fmla="*/ 871 h 1827"/>
                <a:gd name="T56" fmla="*/ 730 w 898"/>
                <a:gd name="T57" fmla="*/ 417 h 1827"/>
                <a:gd name="T58" fmla="*/ 582 w 898"/>
                <a:gd name="T59" fmla="*/ 26 h 1827"/>
                <a:gd name="T60" fmla="*/ 465 w 898"/>
                <a:gd name="T61" fmla="*/ 203 h 1827"/>
                <a:gd name="T62" fmla="*/ 343 w 898"/>
                <a:gd name="T63" fmla="*/ 275 h 1827"/>
                <a:gd name="T64" fmla="*/ 132 w 898"/>
                <a:gd name="T65" fmla="*/ 277 h 1827"/>
                <a:gd name="T66" fmla="*/ 271 w 898"/>
                <a:gd name="T67" fmla="*/ 403 h 1827"/>
                <a:gd name="T68" fmla="*/ 305 w 898"/>
                <a:gd name="T69" fmla="*/ 575 h 1827"/>
                <a:gd name="T70" fmla="*/ 306 w 898"/>
                <a:gd name="T71" fmla="*/ 733 h 1827"/>
                <a:gd name="T72" fmla="*/ 379 w 898"/>
                <a:gd name="T73" fmla="*/ 837 h 1827"/>
                <a:gd name="T74" fmla="*/ 434 w 898"/>
                <a:gd name="T75" fmla="*/ 916 h 1827"/>
                <a:gd name="T76" fmla="*/ 432 w 898"/>
                <a:gd name="T77" fmla="*/ 996 h 1827"/>
                <a:gd name="T78" fmla="*/ 374 w 898"/>
                <a:gd name="T79" fmla="*/ 1027 h 1827"/>
                <a:gd name="T80" fmla="*/ 328 w 898"/>
                <a:gd name="T81" fmla="*/ 1116 h 1827"/>
                <a:gd name="T82" fmla="*/ 274 w 898"/>
                <a:gd name="T83" fmla="*/ 1184 h 1827"/>
                <a:gd name="T84" fmla="*/ 237 w 898"/>
                <a:gd name="T85" fmla="*/ 1222 h 1827"/>
                <a:gd name="T86" fmla="*/ 209 w 898"/>
                <a:gd name="T87" fmla="*/ 1261 h 1827"/>
                <a:gd name="T88" fmla="*/ 175 w 898"/>
                <a:gd name="T89" fmla="*/ 1292 h 1827"/>
                <a:gd name="T90" fmla="*/ 143 w 898"/>
                <a:gd name="T91" fmla="*/ 1330 h 1827"/>
                <a:gd name="T92" fmla="*/ 118 w 898"/>
                <a:gd name="T93" fmla="*/ 1416 h 1827"/>
                <a:gd name="T94" fmla="*/ 131 w 898"/>
                <a:gd name="T95" fmla="*/ 1499 h 1827"/>
                <a:gd name="T96" fmla="*/ 141 w 898"/>
                <a:gd name="T97" fmla="*/ 1573 h 1827"/>
                <a:gd name="T98" fmla="*/ 140 w 898"/>
                <a:gd name="T99" fmla="*/ 1640 h 1827"/>
                <a:gd name="T100" fmla="*/ 144 w 898"/>
                <a:gd name="T101" fmla="*/ 1689 h 1827"/>
                <a:gd name="T102" fmla="*/ 174 w 898"/>
                <a:gd name="T103" fmla="*/ 1710 h 1827"/>
                <a:gd name="T104" fmla="*/ 218 w 898"/>
                <a:gd name="T105" fmla="*/ 1758 h 1827"/>
                <a:gd name="T106" fmla="*/ 260 w 898"/>
                <a:gd name="T107" fmla="*/ 1792 h 1827"/>
                <a:gd name="T108" fmla="*/ 275 w 898"/>
                <a:gd name="T109" fmla="*/ 1817 h 1827"/>
                <a:gd name="T110" fmla="*/ 345 w 898"/>
                <a:gd name="T111" fmla="*/ 1794 h 1827"/>
                <a:gd name="T112" fmla="*/ 383 w 898"/>
                <a:gd name="T113" fmla="*/ 1783 h 1827"/>
                <a:gd name="T114" fmla="*/ 434 w 898"/>
                <a:gd name="T115" fmla="*/ 1760 h 1827"/>
                <a:gd name="T116" fmla="*/ 474 w 898"/>
                <a:gd name="T117" fmla="*/ 1741 h 1827"/>
                <a:gd name="T118" fmla="*/ 508 w 898"/>
                <a:gd name="T119" fmla="*/ 1741 h 1827"/>
                <a:gd name="T120" fmla="*/ 542 w 898"/>
                <a:gd name="T121" fmla="*/ 1729 h 1827"/>
                <a:gd name="T122" fmla="*/ 593 w 898"/>
                <a:gd name="T123" fmla="*/ 1724 h 1827"/>
                <a:gd name="T124" fmla="*/ 727 w 898"/>
                <a:gd name="T125" fmla="*/ 1601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8" h="1827">
                  <a:moveTo>
                    <a:pt x="103" y="1809"/>
                  </a:moveTo>
                  <a:lnTo>
                    <a:pt x="103" y="1807"/>
                  </a:lnTo>
                  <a:lnTo>
                    <a:pt x="101" y="1807"/>
                  </a:lnTo>
                  <a:lnTo>
                    <a:pt x="100" y="1809"/>
                  </a:lnTo>
                  <a:lnTo>
                    <a:pt x="100" y="1810"/>
                  </a:lnTo>
                  <a:lnTo>
                    <a:pt x="100" y="1812"/>
                  </a:lnTo>
                  <a:lnTo>
                    <a:pt x="101" y="1812"/>
                  </a:lnTo>
                  <a:lnTo>
                    <a:pt x="101" y="1812"/>
                  </a:lnTo>
                  <a:lnTo>
                    <a:pt x="103" y="1814"/>
                  </a:lnTo>
                  <a:lnTo>
                    <a:pt x="104" y="1812"/>
                  </a:lnTo>
                  <a:lnTo>
                    <a:pt x="103" y="1810"/>
                  </a:lnTo>
                  <a:lnTo>
                    <a:pt x="103" y="1809"/>
                  </a:lnTo>
                  <a:close/>
                  <a:moveTo>
                    <a:pt x="109" y="1807"/>
                  </a:moveTo>
                  <a:lnTo>
                    <a:pt x="111" y="1807"/>
                  </a:lnTo>
                  <a:lnTo>
                    <a:pt x="109" y="1806"/>
                  </a:lnTo>
                  <a:lnTo>
                    <a:pt x="109" y="1806"/>
                  </a:lnTo>
                  <a:lnTo>
                    <a:pt x="109" y="1806"/>
                  </a:lnTo>
                  <a:lnTo>
                    <a:pt x="106" y="1806"/>
                  </a:lnTo>
                  <a:lnTo>
                    <a:pt x="104" y="1806"/>
                  </a:lnTo>
                  <a:lnTo>
                    <a:pt x="104" y="1807"/>
                  </a:lnTo>
                  <a:lnTo>
                    <a:pt x="104" y="1807"/>
                  </a:lnTo>
                  <a:lnTo>
                    <a:pt x="104" y="1807"/>
                  </a:lnTo>
                  <a:lnTo>
                    <a:pt x="104" y="1809"/>
                  </a:lnTo>
                  <a:lnTo>
                    <a:pt x="109" y="1810"/>
                  </a:lnTo>
                  <a:lnTo>
                    <a:pt x="109" y="1810"/>
                  </a:lnTo>
                  <a:lnTo>
                    <a:pt x="109" y="1809"/>
                  </a:lnTo>
                  <a:lnTo>
                    <a:pt x="107" y="1807"/>
                  </a:lnTo>
                  <a:lnTo>
                    <a:pt x="107" y="1807"/>
                  </a:lnTo>
                  <a:lnTo>
                    <a:pt x="109" y="1807"/>
                  </a:lnTo>
                  <a:close/>
                  <a:moveTo>
                    <a:pt x="66" y="1798"/>
                  </a:moveTo>
                  <a:lnTo>
                    <a:pt x="63" y="1797"/>
                  </a:lnTo>
                  <a:lnTo>
                    <a:pt x="61" y="1797"/>
                  </a:lnTo>
                  <a:lnTo>
                    <a:pt x="58" y="1800"/>
                  </a:lnTo>
                  <a:lnTo>
                    <a:pt x="57" y="1803"/>
                  </a:lnTo>
                  <a:lnTo>
                    <a:pt x="57" y="1806"/>
                  </a:lnTo>
                  <a:lnTo>
                    <a:pt x="58" y="1806"/>
                  </a:lnTo>
                  <a:lnTo>
                    <a:pt x="60" y="1804"/>
                  </a:lnTo>
                  <a:lnTo>
                    <a:pt x="60" y="1803"/>
                  </a:lnTo>
                  <a:lnTo>
                    <a:pt x="61" y="1803"/>
                  </a:lnTo>
                  <a:lnTo>
                    <a:pt x="63" y="1801"/>
                  </a:lnTo>
                  <a:lnTo>
                    <a:pt x="66" y="1801"/>
                  </a:lnTo>
                  <a:lnTo>
                    <a:pt x="69" y="1800"/>
                  </a:lnTo>
                  <a:lnTo>
                    <a:pt x="67" y="1798"/>
                  </a:lnTo>
                  <a:lnTo>
                    <a:pt x="66" y="1798"/>
                  </a:lnTo>
                  <a:close/>
                  <a:moveTo>
                    <a:pt x="81" y="1792"/>
                  </a:moveTo>
                  <a:lnTo>
                    <a:pt x="81" y="1792"/>
                  </a:lnTo>
                  <a:lnTo>
                    <a:pt x="81" y="1792"/>
                  </a:lnTo>
                  <a:lnTo>
                    <a:pt x="80" y="1792"/>
                  </a:lnTo>
                  <a:lnTo>
                    <a:pt x="80" y="1792"/>
                  </a:lnTo>
                  <a:lnTo>
                    <a:pt x="80" y="1792"/>
                  </a:lnTo>
                  <a:lnTo>
                    <a:pt x="80" y="1790"/>
                  </a:lnTo>
                  <a:lnTo>
                    <a:pt x="80" y="1790"/>
                  </a:lnTo>
                  <a:lnTo>
                    <a:pt x="78" y="1790"/>
                  </a:lnTo>
                  <a:lnTo>
                    <a:pt x="78" y="1790"/>
                  </a:lnTo>
                  <a:lnTo>
                    <a:pt x="77" y="1790"/>
                  </a:lnTo>
                  <a:lnTo>
                    <a:pt x="77" y="1790"/>
                  </a:lnTo>
                  <a:lnTo>
                    <a:pt x="75" y="1792"/>
                  </a:lnTo>
                  <a:lnTo>
                    <a:pt x="74" y="1795"/>
                  </a:lnTo>
                  <a:lnTo>
                    <a:pt x="74" y="1797"/>
                  </a:lnTo>
                  <a:lnTo>
                    <a:pt x="74" y="1798"/>
                  </a:lnTo>
                  <a:lnTo>
                    <a:pt x="75" y="1798"/>
                  </a:lnTo>
                  <a:lnTo>
                    <a:pt x="75" y="1798"/>
                  </a:lnTo>
                  <a:lnTo>
                    <a:pt x="77" y="1797"/>
                  </a:lnTo>
                  <a:lnTo>
                    <a:pt x="77" y="1797"/>
                  </a:lnTo>
                  <a:lnTo>
                    <a:pt x="78" y="1798"/>
                  </a:lnTo>
                  <a:lnTo>
                    <a:pt x="80" y="1798"/>
                  </a:lnTo>
                  <a:lnTo>
                    <a:pt x="80" y="1797"/>
                  </a:lnTo>
                  <a:lnTo>
                    <a:pt x="81" y="1795"/>
                  </a:lnTo>
                  <a:lnTo>
                    <a:pt x="81" y="1795"/>
                  </a:lnTo>
                  <a:lnTo>
                    <a:pt x="81" y="1794"/>
                  </a:lnTo>
                  <a:lnTo>
                    <a:pt x="80" y="1794"/>
                  </a:lnTo>
                  <a:lnTo>
                    <a:pt x="81" y="1794"/>
                  </a:lnTo>
                  <a:lnTo>
                    <a:pt x="81" y="1794"/>
                  </a:lnTo>
                  <a:lnTo>
                    <a:pt x="81" y="1794"/>
                  </a:lnTo>
                  <a:lnTo>
                    <a:pt x="81" y="1792"/>
                  </a:lnTo>
                  <a:lnTo>
                    <a:pt x="81" y="1792"/>
                  </a:lnTo>
                  <a:close/>
                  <a:moveTo>
                    <a:pt x="67" y="1790"/>
                  </a:moveTo>
                  <a:lnTo>
                    <a:pt x="66" y="1794"/>
                  </a:lnTo>
                  <a:lnTo>
                    <a:pt x="64" y="1795"/>
                  </a:lnTo>
                  <a:lnTo>
                    <a:pt x="66" y="1797"/>
                  </a:lnTo>
                  <a:lnTo>
                    <a:pt x="67" y="1795"/>
                  </a:lnTo>
                  <a:lnTo>
                    <a:pt x="69" y="1794"/>
                  </a:lnTo>
                  <a:lnTo>
                    <a:pt x="70" y="1789"/>
                  </a:lnTo>
                  <a:lnTo>
                    <a:pt x="69" y="1789"/>
                  </a:lnTo>
                  <a:lnTo>
                    <a:pt x="67" y="1790"/>
                  </a:lnTo>
                  <a:close/>
                  <a:moveTo>
                    <a:pt x="75" y="1792"/>
                  </a:moveTo>
                  <a:lnTo>
                    <a:pt x="75" y="1790"/>
                  </a:lnTo>
                  <a:lnTo>
                    <a:pt x="75" y="1789"/>
                  </a:lnTo>
                  <a:lnTo>
                    <a:pt x="77" y="1789"/>
                  </a:lnTo>
                  <a:lnTo>
                    <a:pt x="75" y="1789"/>
                  </a:lnTo>
                  <a:lnTo>
                    <a:pt x="74" y="1789"/>
                  </a:lnTo>
                  <a:lnTo>
                    <a:pt x="74" y="1789"/>
                  </a:lnTo>
                  <a:lnTo>
                    <a:pt x="75" y="1789"/>
                  </a:lnTo>
                  <a:lnTo>
                    <a:pt x="75" y="1789"/>
                  </a:lnTo>
                  <a:lnTo>
                    <a:pt x="72" y="1790"/>
                  </a:lnTo>
                  <a:lnTo>
                    <a:pt x="70" y="1790"/>
                  </a:lnTo>
                  <a:lnTo>
                    <a:pt x="70" y="1794"/>
                  </a:lnTo>
                  <a:lnTo>
                    <a:pt x="74" y="1794"/>
                  </a:lnTo>
                  <a:lnTo>
                    <a:pt x="74" y="1794"/>
                  </a:lnTo>
                  <a:lnTo>
                    <a:pt x="75" y="1792"/>
                  </a:lnTo>
                  <a:close/>
                  <a:moveTo>
                    <a:pt x="52" y="1794"/>
                  </a:moveTo>
                  <a:lnTo>
                    <a:pt x="50" y="1789"/>
                  </a:lnTo>
                  <a:lnTo>
                    <a:pt x="47" y="1786"/>
                  </a:lnTo>
                  <a:lnTo>
                    <a:pt x="46" y="1786"/>
                  </a:lnTo>
                  <a:lnTo>
                    <a:pt x="43" y="1784"/>
                  </a:lnTo>
                  <a:lnTo>
                    <a:pt x="41" y="1789"/>
                  </a:lnTo>
                  <a:lnTo>
                    <a:pt x="38" y="1790"/>
                  </a:lnTo>
                  <a:lnTo>
                    <a:pt x="38" y="1794"/>
                  </a:lnTo>
                  <a:lnTo>
                    <a:pt x="40" y="1794"/>
                  </a:lnTo>
                  <a:lnTo>
                    <a:pt x="41" y="1795"/>
                  </a:lnTo>
                  <a:lnTo>
                    <a:pt x="43" y="1795"/>
                  </a:lnTo>
                  <a:lnTo>
                    <a:pt x="44" y="1797"/>
                  </a:lnTo>
                  <a:lnTo>
                    <a:pt x="44" y="1798"/>
                  </a:lnTo>
                  <a:lnTo>
                    <a:pt x="43" y="1800"/>
                  </a:lnTo>
                  <a:lnTo>
                    <a:pt x="44" y="1801"/>
                  </a:lnTo>
                  <a:lnTo>
                    <a:pt x="47" y="1800"/>
                  </a:lnTo>
                  <a:lnTo>
                    <a:pt x="49" y="1800"/>
                  </a:lnTo>
                  <a:lnTo>
                    <a:pt x="49" y="1800"/>
                  </a:lnTo>
                  <a:lnTo>
                    <a:pt x="49" y="1803"/>
                  </a:lnTo>
                  <a:lnTo>
                    <a:pt x="49" y="1803"/>
                  </a:lnTo>
                  <a:lnTo>
                    <a:pt x="52" y="1801"/>
                  </a:lnTo>
                  <a:lnTo>
                    <a:pt x="52" y="1798"/>
                  </a:lnTo>
                  <a:lnTo>
                    <a:pt x="52" y="1797"/>
                  </a:lnTo>
                  <a:lnTo>
                    <a:pt x="52" y="1794"/>
                  </a:lnTo>
                  <a:close/>
                  <a:moveTo>
                    <a:pt x="57" y="1784"/>
                  </a:moveTo>
                  <a:lnTo>
                    <a:pt x="58" y="1781"/>
                  </a:lnTo>
                  <a:lnTo>
                    <a:pt x="57" y="1778"/>
                  </a:lnTo>
                  <a:lnTo>
                    <a:pt x="55" y="1778"/>
                  </a:lnTo>
                  <a:lnTo>
                    <a:pt x="55" y="1778"/>
                  </a:lnTo>
                  <a:lnTo>
                    <a:pt x="55" y="1781"/>
                  </a:lnTo>
                  <a:lnTo>
                    <a:pt x="55" y="1783"/>
                  </a:lnTo>
                  <a:lnTo>
                    <a:pt x="54" y="1781"/>
                  </a:lnTo>
                  <a:lnTo>
                    <a:pt x="52" y="1777"/>
                  </a:lnTo>
                  <a:lnTo>
                    <a:pt x="52" y="1780"/>
                  </a:lnTo>
                  <a:lnTo>
                    <a:pt x="50" y="1781"/>
                  </a:lnTo>
                  <a:lnTo>
                    <a:pt x="50" y="1784"/>
                  </a:lnTo>
                  <a:lnTo>
                    <a:pt x="50" y="1786"/>
                  </a:lnTo>
                  <a:lnTo>
                    <a:pt x="50" y="1787"/>
                  </a:lnTo>
                  <a:lnTo>
                    <a:pt x="54" y="1789"/>
                  </a:lnTo>
                  <a:lnTo>
                    <a:pt x="55" y="1789"/>
                  </a:lnTo>
                  <a:lnTo>
                    <a:pt x="55" y="1790"/>
                  </a:lnTo>
                  <a:lnTo>
                    <a:pt x="55" y="1790"/>
                  </a:lnTo>
                  <a:lnTo>
                    <a:pt x="57" y="1789"/>
                  </a:lnTo>
                  <a:lnTo>
                    <a:pt x="55" y="1786"/>
                  </a:lnTo>
                  <a:lnTo>
                    <a:pt x="57" y="1784"/>
                  </a:lnTo>
                  <a:close/>
                  <a:moveTo>
                    <a:pt x="86" y="1780"/>
                  </a:moveTo>
                  <a:lnTo>
                    <a:pt x="86" y="1778"/>
                  </a:lnTo>
                  <a:lnTo>
                    <a:pt x="86" y="1778"/>
                  </a:lnTo>
                  <a:lnTo>
                    <a:pt x="84" y="1777"/>
                  </a:lnTo>
                  <a:lnTo>
                    <a:pt x="84" y="1777"/>
                  </a:lnTo>
                  <a:lnTo>
                    <a:pt x="83" y="1777"/>
                  </a:lnTo>
                  <a:lnTo>
                    <a:pt x="83" y="1778"/>
                  </a:lnTo>
                  <a:lnTo>
                    <a:pt x="83" y="1780"/>
                  </a:lnTo>
                  <a:lnTo>
                    <a:pt x="84" y="1781"/>
                  </a:lnTo>
                  <a:lnTo>
                    <a:pt x="86" y="1783"/>
                  </a:lnTo>
                  <a:lnTo>
                    <a:pt x="86" y="1783"/>
                  </a:lnTo>
                  <a:lnTo>
                    <a:pt x="87" y="1781"/>
                  </a:lnTo>
                  <a:lnTo>
                    <a:pt x="87" y="1780"/>
                  </a:lnTo>
                  <a:lnTo>
                    <a:pt x="86" y="1780"/>
                  </a:lnTo>
                  <a:close/>
                  <a:moveTo>
                    <a:pt x="86" y="1764"/>
                  </a:moveTo>
                  <a:lnTo>
                    <a:pt x="86" y="1766"/>
                  </a:lnTo>
                  <a:lnTo>
                    <a:pt x="84" y="1767"/>
                  </a:lnTo>
                  <a:lnTo>
                    <a:pt x="84" y="1769"/>
                  </a:lnTo>
                  <a:lnTo>
                    <a:pt x="86" y="1769"/>
                  </a:lnTo>
                  <a:lnTo>
                    <a:pt x="87" y="1770"/>
                  </a:lnTo>
                  <a:lnTo>
                    <a:pt x="89" y="1769"/>
                  </a:lnTo>
                  <a:lnTo>
                    <a:pt x="89" y="1767"/>
                  </a:lnTo>
                  <a:lnTo>
                    <a:pt x="87" y="1767"/>
                  </a:lnTo>
                  <a:lnTo>
                    <a:pt x="86" y="1764"/>
                  </a:lnTo>
                  <a:close/>
                  <a:moveTo>
                    <a:pt x="10" y="1770"/>
                  </a:moveTo>
                  <a:lnTo>
                    <a:pt x="10" y="1770"/>
                  </a:lnTo>
                  <a:lnTo>
                    <a:pt x="10" y="1769"/>
                  </a:lnTo>
                  <a:lnTo>
                    <a:pt x="9" y="1767"/>
                  </a:lnTo>
                  <a:lnTo>
                    <a:pt x="9" y="1766"/>
                  </a:lnTo>
                  <a:lnTo>
                    <a:pt x="9" y="1764"/>
                  </a:lnTo>
                  <a:lnTo>
                    <a:pt x="9" y="1763"/>
                  </a:lnTo>
                  <a:lnTo>
                    <a:pt x="7" y="1763"/>
                  </a:lnTo>
                  <a:lnTo>
                    <a:pt x="6" y="1761"/>
                  </a:lnTo>
                  <a:lnTo>
                    <a:pt x="6" y="1760"/>
                  </a:lnTo>
                  <a:lnTo>
                    <a:pt x="4" y="1760"/>
                  </a:lnTo>
                  <a:lnTo>
                    <a:pt x="3" y="1761"/>
                  </a:lnTo>
                  <a:lnTo>
                    <a:pt x="3" y="1763"/>
                  </a:lnTo>
                  <a:lnTo>
                    <a:pt x="1" y="1764"/>
                  </a:lnTo>
                  <a:lnTo>
                    <a:pt x="1" y="1764"/>
                  </a:lnTo>
                  <a:lnTo>
                    <a:pt x="1" y="1766"/>
                  </a:lnTo>
                  <a:lnTo>
                    <a:pt x="1" y="1767"/>
                  </a:lnTo>
                  <a:lnTo>
                    <a:pt x="1" y="1769"/>
                  </a:lnTo>
                  <a:lnTo>
                    <a:pt x="1" y="1770"/>
                  </a:lnTo>
                  <a:lnTo>
                    <a:pt x="0" y="1772"/>
                  </a:lnTo>
                  <a:lnTo>
                    <a:pt x="0" y="1772"/>
                  </a:lnTo>
                  <a:lnTo>
                    <a:pt x="0" y="1772"/>
                  </a:lnTo>
                  <a:lnTo>
                    <a:pt x="0" y="1773"/>
                  </a:lnTo>
                  <a:lnTo>
                    <a:pt x="0" y="1777"/>
                  </a:lnTo>
                  <a:lnTo>
                    <a:pt x="1" y="1780"/>
                  </a:lnTo>
                  <a:lnTo>
                    <a:pt x="3" y="1780"/>
                  </a:lnTo>
                  <a:lnTo>
                    <a:pt x="4" y="1780"/>
                  </a:lnTo>
                  <a:lnTo>
                    <a:pt x="6" y="1777"/>
                  </a:lnTo>
                  <a:lnTo>
                    <a:pt x="6" y="1775"/>
                  </a:lnTo>
                  <a:lnTo>
                    <a:pt x="6" y="1772"/>
                  </a:lnTo>
                  <a:lnTo>
                    <a:pt x="6" y="1770"/>
                  </a:lnTo>
                  <a:lnTo>
                    <a:pt x="6" y="1772"/>
                  </a:lnTo>
                  <a:lnTo>
                    <a:pt x="9" y="1775"/>
                  </a:lnTo>
                  <a:lnTo>
                    <a:pt x="9" y="1777"/>
                  </a:lnTo>
                  <a:lnTo>
                    <a:pt x="10" y="1775"/>
                  </a:lnTo>
                  <a:lnTo>
                    <a:pt x="10" y="1775"/>
                  </a:lnTo>
                  <a:lnTo>
                    <a:pt x="10" y="1775"/>
                  </a:lnTo>
                  <a:lnTo>
                    <a:pt x="12" y="1775"/>
                  </a:lnTo>
                  <a:lnTo>
                    <a:pt x="12" y="1772"/>
                  </a:lnTo>
                  <a:lnTo>
                    <a:pt x="10" y="1770"/>
                  </a:lnTo>
                  <a:close/>
                  <a:moveTo>
                    <a:pt x="64" y="1763"/>
                  </a:moveTo>
                  <a:lnTo>
                    <a:pt x="64" y="1764"/>
                  </a:lnTo>
                  <a:lnTo>
                    <a:pt x="64" y="1766"/>
                  </a:lnTo>
                  <a:lnTo>
                    <a:pt x="64" y="1767"/>
                  </a:lnTo>
                  <a:lnTo>
                    <a:pt x="64" y="1767"/>
                  </a:lnTo>
                  <a:lnTo>
                    <a:pt x="64" y="1769"/>
                  </a:lnTo>
                  <a:lnTo>
                    <a:pt x="64" y="1769"/>
                  </a:lnTo>
                  <a:lnTo>
                    <a:pt x="64" y="1770"/>
                  </a:lnTo>
                  <a:lnTo>
                    <a:pt x="69" y="1763"/>
                  </a:lnTo>
                  <a:lnTo>
                    <a:pt x="69" y="1761"/>
                  </a:lnTo>
                  <a:lnTo>
                    <a:pt x="69" y="1761"/>
                  </a:lnTo>
                  <a:lnTo>
                    <a:pt x="67" y="1760"/>
                  </a:lnTo>
                  <a:lnTo>
                    <a:pt x="67" y="1760"/>
                  </a:lnTo>
                  <a:lnTo>
                    <a:pt x="66" y="1761"/>
                  </a:lnTo>
                  <a:lnTo>
                    <a:pt x="64" y="1760"/>
                  </a:lnTo>
                  <a:lnTo>
                    <a:pt x="63" y="1760"/>
                  </a:lnTo>
                  <a:lnTo>
                    <a:pt x="61" y="1761"/>
                  </a:lnTo>
                  <a:lnTo>
                    <a:pt x="61" y="1764"/>
                  </a:lnTo>
                  <a:lnTo>
                    <a:pt x="61" y="1764"/>
                  </a:lnTo>
                  <a:lnTo>
                    <a:pt x="64" y="1763"/>
                  </a:lnTo>
                  <a:close/>
                  <a:moveTo>
                    <a:pt x="97" y="1757"/>
                  </a:moveTo>
                  <a:lnTo>
                    <a:pt x="95" y="1757"/>
                  </a:lnTo>
                  <a:lnTo>
                    <a:pt x="94" y="1757"/>
                  </a:lnTo>
                  <a:lnTo>
                    <a:pt x="94" y="1760"/>
                  </a:lnTo>
                  <a:lnTo>
                    <a:pt x="95" y="1764"/>
                  </a:lnTo>
                  <a:lnTo>
                    <a:pt x="97" y="1764"/>
                  </a:lnTo>
                  <a:lnTo>
                    <a:pt x="97" y="1763"/>
                  </a:lnTo>
                  <a:lnTo>
                    <a:pt x="97" y="1763"/>
                  </a:lnTo>
                  <a:lnTo>
                    <a:pt x="98" y="1763"/>
                  </a:lnTo>
                  <a:lnTo>
                    <a:pt x="98" y="1761"/>
                  </a:lnTo>
                  <a:lnTo>
                    <a:pt x="100" y="1760"/>
                  </a:lnTo>
                  <a:lnTo>
                    <a:pt x="98" y="1758"/>
                  </a:lnTo>
                  <a:lnTo>
                    <a:pt x="97" y="1757"/>
                  </a:lnTo>
                  <a:close/>
                  <a:moveTo>
                    <a:pt x="95" y="1747"/>
                  </a:moveTo>
                  <a:lnTo>
                    <a:pt x="95" y="1746"/>
                  </a:lnTo>
                  <a:lnTo>
                    <a:pt x="94" y="1746"/>
                  </a:lnTo>
                  <a:lnTo>
                    <a:pt x="94" y="1744"/>
                  </a:lnTo>
                  <a:lnTo>
                    <a:pt x="92" y="1744"/>
                  </a:lnTo>
                  <a:lnTo>
                    <a:pt x="92" y="1744"/>
                  </a:lnTo>
                  <a:lnTo>
                    <a:pt x="92" y="1746"/>
                  </a:lnTo>
                  <a:lnTo>
                    <a:pt x="92" y="1746"/>
                  </a:lnTo>
                  <a:lnTo>
                    <a:pt x="90" y="1747"/>
                  </a:lnTo>
                  <a:lnTo>
                    <a:pt x="90" y="1747"/>
                  </a:lnTo>
                  <a:lnTo>
                    <a:pt x="90" y="1749"/>
                  </a:lnTo>
                  <a:lnTo>
                    <a:pt x="90" y="1749"/>
                  </a:lnTo>
                  <a:lnTo>
                    <a:pt x="90" y="1750"/>
                  </a:lnTo>
                  <a:lnTo>
                    <a:pt x="90" y="1752"/>
                  </a:lnTo>
                  <a:lnTo>
                    <a:pt x="90" y="1752"/>
                  </a:lnTo>
                  <a:lnTo>
                    <a:pt x="90" y="1752"/>
                  </a:lnTo>
                  <a:lnTo>
                    <a:pt x="94" y="1750"/>
                  </a:lnTo>
                  <a:lnTo>
                    <a:pt x="94" y="1749"/>
                  </a:lnTo>
                  <a:lnTo>
                    <a:pt x="95" y="1747"/>
                  </a:lnTo>
                  <a:close/>
                  <a:moveTo>
                    <a:pt x="40" y="1786"/>
                  </a:moveTo>
                  <a:lnTo>
                    <a:pt x="40" y="1784"/>
                  </a:lnTo>
                  <a:lnTo>
                    <a:pt x="40" y="1783"/>
                  </a:lnTo>
                  <a:lnTo>
                    <a:pt x="38" y="1783"/>
                  </a:lnTo>
                  <a:lnTo>
                    <a:pt x="38" y="1783"/>
                  </a:lnTo>
                  <a:lnTo>
                    <a:pt x="38" y="1783"/>
                  </a:lnTo>
                  <a:lnTo>
                    <a:pt x="38" y="1780"/>
                  </a:lnTo>
                  <a:lnTo>
                    <a:pt x="38" y="1778"/>
                  </a:lnTo>
                  <a:lnTo>
                    <a:pt x="38" y="1773"/>
                  </a:lnTo>
                  <a:lnTo>
                    <a:pt x="38" y="1773"/>
                  </a:lnTo>
                  <a:lnTo>
                    <a:pt x="38" y="1775"/>
                  </a:lnTo>
                  <a:lnTo>
                    <a:pt x="37" y="1775"/>
                  </a:lnTo>
                  <a:lnTo>
                    <a:pt x="37" y="1777"/>
                  </a:lnTo>
                  <a:lnTo>
                    <a:pt x="37" y="1775"/>
                  </a:lnTo>
                  <a:lnTo>
                    <a:pt x="35" y="1775"/>
                  </a:lnTo>
                  <a:lnTo>
                    <a:pt x="35" y="1773"/>
                  </a:lnTo>
                  <a:lnTo>
                    <a:pt x="32" y="1772"/>
                  </a:lnTo>
                  <a:lnTo>
                    <a:pt x="32" y="1772"/>
                  </a:lnTo>
                  <a:lnTo>
                    <a:pt x="30" y="1770"/>
                  </a:lnTo>
                  <a:lnTo>
                    <a:pt x="29" y="1769"/>
                  </a:lnTo>
                  <a:lnTo>
                    <a:pt x="29" y="1767"/>
                  </a:lnTo>
                  <a:lnTo>
                    <a:pt x="30" y="1766"/>
                  </a:lnTo>
                  <a:lnTo>
                    <a:pt x="32" y="1766"/>
                  </a:lnTo>
                  <a:lnTo>
                    <a:pt x="32" y="1767"/>
                  </a:lnTo>
                  <a:lnTo>
                    <a:pt x="32" y="1767"/>
                  </a:lnTo>
                  <a:lnTo>
                    <a:pt x="32" y="1769"/>
                  </a:lnTo>
                  <a:lnTo>
                    <a:pt x="34" y="1770"/>
                  </a:lnTo>
                  <a:lnTo>
                    <a:pt x="37" y="1772"/>
                  </a:lnTo>
                  <a:lnTo>
                    <a:pt x="37" y="1770"/>
                  </a:lnTo>
                  <a:lnTo>
                    <a:pt x="37" y="1769"/>
                  </a:lnTo>
                  <a:lnTo>
                    <a:pt x="37" y="1767"/>
                  </a:lnTo>
                  <a:lnTo>
                    <a:pt x="38" y="1767"/>
                  </a:lnTo>
                  <a:lnTo>
                    <a:pt x="37" y="1766"/>
                  </a:lnTo>
                  <a:lnTo>
                    <a:pt x="35" y="1763"/>
                  </a:lnTo>
                  <a:lnTo>
                    <a:pt x="34" y="1760"/>
                  </a:lnTo>
                  <a:lnTo>
                    <a:pt x="34" y="1758"/>
                  </a:lnTo>
                  <a:lnTo>
                    <a:pt x="37" y="1760"/>
                  </a:lnTo>
                  <a:lnTo>
                    <a:pt x="38" y="1758"/>
                  </a:lnTo>
                  <a:lnTo>
                    <a:pt x="38" y="1755"/>
                  </a:lnTo>
                  <a:lnTo>
                    <a:pt x="38" y="1753"/>
                  </a:lnTo>
                  <a:lnTo>
                    <a:pt x="38" y="1752"/>
                  </a:lnTo>
                  <a:lnTo>
                    <a:pt x="40" y="1753"/>
                  </a:lnTo>
                  <a:lnTo>
                    <a:pt x="40" y="1755"/>
                  </a:lnTo>
                  <a:lnTo>
                    <a:pt x="38" y="1758"/>
                  </a:lnTo>
                  <a:lnTo>
                    <a:pt x="38" y="1761"/>
                  </a:lnTo>
                  <a:lnTo>
                    <a:pt x="38" y="1764"/>
                  </a:lnTo>
                  <a:lnTo>
                    <a:pt x="40" y="1766"/>
                  </a:lnTo>
                  <a:lnTo>
                    <a:pt x="40" y="1767"/>
                  </a:lnTo>
                  <a:lnTo>
                    <a:pt x="40" y="1770"/>
                  </a:lnTo>
                  <a:lnTo>
                    <a:pt x="40" y="1770"/>
                  </a:lnTo>
                  <a:lnTo>
                    <a:pt x="41" y="1766"/>
                  </a:lnTo>
                  <a:lnTo>
                    <a:pt x="44" y="1763"/>
                  </a:lnTo>
                  <a:lnTo>
                    <a:pt x="47" y="1763"/>
                  </a:lnTo>
                  <a:lnTo>
                    <a:pt x="49" y="1763"/>
                  </a:lnTo>
                  <a:lnTo>
                    <a:pt x="49" y="1764"/>
                  </a:lnTo>
                  <a:lnTo>
                    <a:pt x="44" y="1764"/>
                  </a:lnTo>
                  <a:lnTo>
                    <a:pt x="43" y="1766"/>
                  </a:lnTo>
                  <a:lnTo>
                    <a:pt x="43" y="1767"/>
                  </a:lnTo>
                  <a:lnTo>
                    <a:pt x="43" y="1770"/>
                  </a:lnTo>
                  <a:lnTo>
                    <a:pt x="43" y="1772"/>
                  </a:lnTo>
                  <a:lnTo>
                    <a:pt x="43" y="1773"/>
                  </a:lnTo>
                  <a:lnTo>
                    <a:pt x="46" y="1773"/>
                  </a:lnTo>
                  <a:lnTo>
                    <a:pt x="47" y="1773"/>
                  </a:lnTo>
                  <a:lnTo>
                    <a:pt x="47" y="1773"/>
                  </a:lnTo>
                  <a:lnTo>
                    <a:pt x="47" y="1773"/>
                  </a:lnTo>
                  <a:lnTo>
                    <a:pt x="49" y="1773"/>
                  </a:lnTo>
                  <a:lnTo>
                    <a:pt x="49" y="1773"/>
                  </a:lnTo>
                  <a:lnTo>
                    <a:pt x="49" y="1772"/>
                  </a:lnTo>
                  <a:lnTo>
                    <a:pt x="50" y="1770"/>
                  </a:lnTo>
                  <a:lnTo>
                    <a:pt x="50" y="1769"/>
                  </a:lnTo>
                  <a:lnTo>
                    <a:pt x="50" y="1769"/>
                  </a:lnTo>
                  <a:lnTo>
                    <a:pt x="52" y="1769"/>
                  </a:lnTo>
                  <a:lnTo>
                    <a:pt x="52" y="1769"/>
                  </a:lnTo>
                  <a:lnTo>
                    <a:pt x="52" y="1767"/>
                  </a:lnTo>
                  <a:lnTo>
                    <a:pt x="50" y="1766"/>
                  </a:lnTo>
                  <a:lnTo>
                    <a:pt x="54" y="1764"/>
                  </a:lnTo>
                  <a:lnTo>
                    <a:pt x="54" y="1763"/>
                  </a:lnTo>
                  <a:lnTo>
                    <a:pt x="57" y="1758"/>
                  </a:lnTo>
                  <a:lnTo>
                    <a:pt x="54" y="1757"/>
                  </a:lnTo>
                  <a:lnTo>
                    <a:pt x="52" y="1757"/>
                  </a:lnTo>
                  <a:lnTo>
                    <a:pt x="50" y="1755"/>
                  </a:lnTo>
                  <a:lnTo>
                    <a:pt x="50" y="1757"/>
                  </a:lnTo>
                  <a:lnTo>
                    <a:pt x="49" y="1757"/>
                  </a:lnTo>
                  <a:lnTo>
                    <a:pt x="50" y="1752"/>
                  </a:lnTo>
                  <a:lnTo>
                    <a:pt x="49" y="1750"/>
                  </a:lnTo>
                  <a:lnTo>
                    <a:pt x="44" y="1749"/>
                  </a:lnTo>
                  <a:lnTo>
                    <a:pt x="43" y="1747"/>
                  </a:lnTo>
                  <a:lnTo>
                    <a:pt x="43" y="1746"/>
                  </a:lnTo>
                  <a:lnTo>
                    <a:pt x="41" y="1747"/>
                  </a:lnTo>
                  <a:lnTo>
                    <a:pt x="41" y="1747"/>
                  </a:lnTo>
                  <a:lnTo>
                    <a:pt x="38" y="1746"/>
                  </a:lnTo>
                  <a:lnTo>
                    <a:pt x="38" y="1746"/>
                  </a:lnTo>
                  <a:lnTo>
                    <a:pt x="38" y="1746"/>
                  </a:lnTo>
                  <a:lnTo>
                    <a:pt x="38" y="1749"/>
                  </a:lnTo>
                  <a:lnTo>
                    <a:pt x="37" y="1747"/>
                  </a:lnTo>
                  <a:lnTo>
                    <a:pt x="35" y="1746"/>
                  </a:lnTo>
                  <a:lnTo>
                    <a:pt x="34" y="1746"/>
                  </a:lnTo>
                  <a:lnTo>
                    <a:pt x="30" y="1746"/>
                  </a:lnTo>
                  <a:lnTo>
                    <a:pt x="29" y="1744"/>
                  </a:lnTo>
                  <a:lnTo>
                    <a:pt x="29" y="1741"/>
                  </a:lnTo>
                  <a:lnTo>
                    <a:pt x="29" y="1740"/>
                  </a:lnTo>
                  <a:lnTo>
                    <a:pt x="27" y="1738"/>
                  </a:lnTo>
                  <a:lnTo>
                    <a:pt x="26" y="1738"/>
                  </a:lnTo>
                  <a:lnTo>
                    <a:pt x="24" y="1740"/>
                  </a:lnTo>
                  <a:lnTo>
                    <a:pt x="23" y="1741"/>
                  </a:lnTo>
                  <a:lnTo>
                    <a:pt x="21" y="1743"/>
                  </a:lnTo>
                  <a:lnTo>
                    <a:pt x="21" y="1744"/>
                  </a:lnTo>
                  <a:lnTo>
                    <a:pt x="20" y="1746"/>
                  </a:lnTo>
                  <a:lnTo>
                    <a:pt x="20" y="1746"/>
                  </a:lnTo>
                  <a:lnTo>
                    <a:pt x="21" y="1746"/>
                  </a:lnTo>
                  <a:lnTo>
                    <a:pt x="23" y="1747"/>
                  </a:lnTo>
                  <a:lnTo>
                    <a:pt x="23" y="1749"/>
                  </a:lnTo>
                  <a:lnTo>
                    <a:pt x="24" y="1752"/>
                  </a:lnTo>
                  <a:lnTo>
                    <a:pt x="24" y="1752"/>
                  </a:lnTo>
                  <a:lnTo>
                    <a:pt x="26" y="1752"/>
                  </a:lnTo>
                  <a:lnTo>
                    <a:pt x="26" y="1749"/>
                  </a:lnTo>
                  <a:lnTo>
                    <a:pt x="27" y="1747"/>
                  </a:lnTo>
                  <a:lnTo>
                    <a:pt x="27" y="1747"/>
                  </a:lnTo>
                  <a:lnTo>
                    <a:pt x="27" y="1749"/>
                  </a:lnTo>
                  <a:lnTo>
                    <a:pt x="29" y="1749"/>
                  </a:lnTo>
                  <a:lnTo>
                    <a:pt x="29" y="1750"/>
                  </a:lnTo>
                  <a:lnTo>
                    <a:pt x="30" y="1752"/>
                  </a:lnTo>
                  <a:lnTo>
                    <a:pt x="30" y="1755"/>
                  </a:lnTo>
                  <a:lnTo>
                    <a:pt x="30" y="1757"/>
                  </a:lnTo>
                  <a:lnTo>
                    <a:pt x="30" y="1758"/>
                  </a:lnTo>
                  <a:lnTo>
                    <a:pt x="29" y="1758"/>
                  </a:lnTo>
                  <a:lnTo>
                    <a:pt x="29" y="1758"/>
                  </a:lnTo>
                  <a:lnTo>
                    <a:pt x="29" y="1758"/>
                  </a:lnTo>
                  <a:lnTo>
                    <a:pt x="29" y="1757"/>
                  </a:lnTo>
                  <a:lnTo>
                    <a:pt x="27" y="1755"/>
                  </a:lnTo>
                  <a:lnTo>
                    <a:pt x="27" y="1753"/>
                  </a:lnTo>
                  <a:lnTo>
                    <a:pt x="27" y="1755"/>
                  </a:lnTo>
                  <a:lnTo>
                    <a:pt x="27" y="1758"/>
                  </a:lnTo>
                  <a:lnTo>
                    <a:pt x="27" y="1761"/>
                  </a:lnTo>
                  <a:lnTo>
                    <a:pt x="26" y="1763"/>
                  </a:lnTo>
                  <a:lnTo>
                    <a:pt x="24" y="1767"/>
                  </a:lnTo>
                  <a:lnTo>
                    <a:pt x="23" y="1766"/>
                  </a:lnTo>
                  <a:lnTo>
                    <a:pt x="23" y="1764"/>
                  </a:lnTo>
                  <a:lnTo>
                    <a:pt x="23" y="1766"/>
                  </a:lnTo>
                  <a:lnTo>
                    <a:pt x="23" y="1767"/>
                  </a:lnTo>
                  <a:lnTo>
                    <a:pt x="23" y="1770"/>
                  </a:lnTo>
                  <a:lnTo>
                    <a:pt x="21" y="1770"/>
                  </a:lnTo>
                  <a:lnTo>
                    <a:pt x="21" y="1770"/>
                  </a:lnTo>
                  <a:lnTo>
                    <a:pt x="20" y="1769"/>
                  </a:lnTo>
                  <a:lnTo>
                    <a:pt x="20" y="1766"/>
                  </a:lnTo>
                  <a:lnTo>
                    <a:pt x="20" y="1764"/>
                  </a:lnTo>
                  <a:lnTo>
                    <a:pt x="18" y="1763"/>
                  </a:lnTo>
                  <a:lnTo>
                    <a:pt x="18" y="1763"/>
                  </a:lnTo>
                  <a:lnTo>
                    <a:pt x="20" y="1758"/>
                  </a:lnTo>
                  <a:lnTo>
                    <a:pt x="21" y="1755"/>
                  </a:lnTo>
                  <a:lnTo>
                    <a:pt x="20" y="1753"/>
                  </a:lnTo>
                  <a:lnTo>
                    <a:pt x="20" y="1753"/>
                  </a:lnTo>
                  <a:lnTo>
                    <a:pt x="20" y="1755"/>
                  </a:lnTo>
                  <a:lnTo>
                    <a:pt x="18" y="1753"/>
                  </a:lnTo>
                  <a:lnTo>
                    <a:pt x="17" y="1753"/>
                  </a:lnTo>
                  <a:lnTo>
                    <a:pt x="18" y="1755"/>
                  </a:lnTo>
                  <a:lnTo>
                    <a:pt x="18" y="1755"/>
                  </a:lnTo>
                  <a:lnTo>
                    <a:pt x="18" y="1757"/>
                  </a:lnTo>
                  <a:lnTo>
                    <a:pt x="15" y="1758"/>
                  </a:lnTo>
                  <a:lnTo>
                    <a:pt x="15" y="1758"/>
                  </a:lnTo>
                  <a:lnTo>
                    <a:pt x="13" y="1760"/>
                  </a:lnTo>
                  <a:lnTo>
                    <a:pt x="13" y="1760"/>
                  </a:lnTo>
                  <a:lnTo>
                    <a:pt x="13" y="1763"/>
                  </a:lnTo>
                  <a:lnTo>
                    <a:pt x="12" y="1764"/>
                  </a:lnTo>
                  <a:lnTo>
                    <a:pt x="12" y="1761"/>
                  </a:lnTo>
                  <a:lnTo>
                    <a:pt x="12" y="1760"/>
                  </a:lnTo>
                  <a:lnTo>
                    <a:pt x="10" y="1760"/>
                  </a:lnTo>
                  <a:lnTo>
                    <a:pt x="9" y="1760"/>
                  </a:lnTo>
                  <a:lnTo>
                    <a:pt x="10" y="1766"/>
                  </a:lnTo>
                  <a:lnTo>
                    <a:pt x="10" y="1767"/>
                  </a:lnTo>
                  <a:lnTo>
                    <a:pt x="12" y="1767"/>
                  </a:lnTo>
                  <a:lnTo>
                    <a:pt x="12" y="1769"/>
                  </a:lnTo>
                  <a:lnTo>
                    <a:pt x="13" y="1773"/>
                  </a:lnTo>
                  <a:lnTo>
                    <a:pt x="13" y="1778"/>
                  </a:lnTo>
                  <a:lnTo>
                    <a:pt x="17" y="1784"/>
                  </a:lnTo>
                  <a:lnTo>
                    <a:pt x="18" y="1789"/>
                  </a:lnTo>
                  <a:lnTo>
                    <a:pt x="18" y="1786"/>
                  </a:lnTo>
                  <a:lnTo>
                    <a:pt x="20" y="1784"/>
                  </a:lnTo>
                  <a:lnTo>
                    <a:pt x="21" y="1784"/>
                  </a:lnTo>
                  <a:lnTo>
                    <a:pt x="23" y="1786"/>
                  </a:lnTo>
                  <a:lnTo>
                    <a:pt x="23" y="1787"/>
                  </a:lnTo>
                  <a:lnTo>
                    <a:pt x="23" y="1787"/>
                  </a:lnTo>
                  <a:lnTo>
                    <a:pt x="24" y="1787"/>
                  </a:lnTo>
                  <a:lnTo>
                    <a:pt x="26" y="1787"/>
                  </a:lnTo>
                  <a:lnTo>
                    <a:pt x="26" y="1786"/>
                  </a:lnTo>
                  <a:lnTo>
                    <a:pt x="26" y="1786"/>
                  </a:lnTo>
                  <a:lnTo>
                    <a:pt x="26" y="1784"/>
                  </a:lnTo>
                  <a:lnTo>
                    <a:pt x="27" y="1784"/>
                  </a:lnTo>
                  <a:lnTo>
                    <a:pt x="29" y="1784"/>
                  </a:lnTo>
                  <a:lnTo>
                    <a:pt x="30" y="1786"/>
                  </a:lnTo>
                  <a:lnTo>
                    <a:pt x="32" y="1790"/>
                  </a:lnTo>
                  <a:lnTo>
                    <a:pt x="30" y="1792"/>
                  </a:lnTo>
                  <a:lnTo>
                    <a:pt x="32" y="1792"/>
                  </a:lnTo>
                  <a:lnTo>
                    <a:pt x="32" y="1790"/>
                  </a:lnTo>
                  <a:lnTo>
                    <a:pt x="32" y="1789"/>
                  </a:lnTo>
                  <a:lnTo>
                    <a:pt x="32" y="1787"/>
                  </a:lnTo>
                  <a:lnTo>
                    <a:pt x="34" y="1786"/>
                  </a:lnTo>
                  <a:lnTo>
                    <a:pt x="37" y="1786"/>
                  </a:lnTo>
                  <a:lnTo>
                    <a:pt x="38" y="1786"/>
                  </a:lnTo>
                  <a:lnTo>
                    <a:pt x="40" y="1786"/>
                  </a:lnTo>
                  <a:close/>
                  <a:moveTo>
                    <a:pt x="117" y="1727"/>
                  </a:moveTo>
                  <a:lnTo>
                    <a:pt x="117" y="1727"/>
                  </a:lnTo>
                  <a:lnTo>
                    <a:pt x="115" y="1727"/>
                  </a:lnTo>
                  <a:lnTo>
                    <a:pt x="115" y="1729"/>
                  </a:lnTo>
                  <a:lnTo>
                    <a:pt x="115" y="1729"/>
                  </a:lnTo>
                  <a:lnTo>
                    <a:pt x="115" y="1730"/>
                  </a:lnTo>
                  <a:lnTo>
                    <a:pt x="115" y="1732"/>
                  </a:lnTo>
                  <a:lnTo>
                    <a:pt x="117" y="1732"/>
                  </a:lnTo>
                  <a:lnTo>
                    <a:pt x="117" y="1730"/>
                  </a:lnTo>
                  <a:lnTo>
                    <a:pt x="117" y="1727"/>
                  </a:lnTo>
                  <a:lnTo>
                    <a:pt x="117" y="1727"/>
                  </a:lnTo>
                  <a:close/>
                  <a:moveTo>
                    <a:pt x="221" y="1817"/>
                  </a:moveTo>
                  <a:lnTo>
                    <a:pt x="221" y="1818"/>
                  </a:lnTo>
                  <a:lnTo>
                    <a:pt x="220" y="1818"/>
                  </a:lnTo>
                  <a:lnTo>
                    <a:pt x="218" y="1818"/>
                  </a:lnTo>
                  <a:lnTo>
                    <a:pt x="217" y="1818"/>
                  </a:lnTo>
                  <a:lnTo>
                    <a:pt x="217" y="1820"/>
                  </a:lnTo>
                  <a:lnTo>
                    <a:pt x="215" y="1820"/>
                  </a:lnTo>
                  <a:lnTo>
                    <a:pt x="215" y="1820"/>
                  </a:lnTo>
                  <a:lnTo>
                    <a:pt x="215" y="1821"/>
                  </a:lnTo>
                  <a:lnTo>
                    <a:pt x="217" y="1821"/>
                  </a:lnTo>
                  <a:lnTo>
                    <a:pt x="217" y="1821"/>
                  </a:lnTo>
                  <a:lnTo>
                    <a:pt x="221" y="1818"/>
                  </a:lnTo>
                  <a:lnTo>
                    <a:pt x="223" y="1818"/>
                  </a:lnTo>
                  <a:lnTo>
                    <a:pt x="223" y="1818"/>
                  </a:lnTo>
                  <a:lnTo>
                    <a:pt x="221" y="1817"/>
                  </a:lnTo>
                  <a:close/>
                  <a:moveTo>
                    <a:pt x="328" y="1803"/>
                  </a:moveTo>
                  <a:lnTo>
                    <a:pt x="326" y="1803"/>
                  </a:lnTo>
                  <a:lnTo>
                    <a:pt x="323" y="1803"/>
                  </a:lnTo>
                  <a:lnTo>
                    <a:pt x="323" y="1804"/>
                  </a:lnTo>
                  <a:lnTo>
                    <a:pt x="322" y="1806"/>
                  </a:lnTo>
                  <a:lnTo>
                    <a:pt x="322" y="1806"/>
                  </a:lnTo>
                  <a:lnTo>
                    <a:pt x="323" y="1806"/>
                  </a:lnTo>
                  <a:lnTo>
                    <a:pt x="323" y="1807"/>
                  </a:lnTo>
                  <a:lnTo>
                    <a:pt x="325" y="1807"/>
                  </a:lnTo>
                  <a:lnTo>
                    <a:pt x="326" y="1807"/>
                  </a:lnTo>
                  <a:lnTo>
                    <a:pt x="326" y="1806"/>
                  </a:lnTo>
                  <a:lnTo>
                    <a:pt x="326" y="1806"/>
                  </a:lnTo>
                  <a:lnTo>
                    <a:pt x="326" y="1806"/>
                  </a:lnTo>
                  <a:lnTo>
                    <a:pt x="328" y="1806"/>
                  </a:lnTo>
                  <a:lnTo>
                    <a:pt x="328" y="1804"/>
                  </a:lnTo>
                  <a:lnTo>
                    <a:pt x="328" y="1804"/>
                  </a:lnTo>
                  <a:lnTo>
                    <a:pt x="328" y="1803"/>
                  </a:lnTo>
                  <a:close/>
                  <a:moveTo>
                    <a:pt x="252" y="1794"/>
                  </a:moveTo>
                  <a:lnTo>
                    <a:pt x="252" y="1794"/>
                  </a:lnTo>
                  <a:lnTo>
                    <a:pt x="252" y="1794"/>
                  </a:lnTo>
                  <a:lnTo>
                    <a:pt x="252" y="1792"/>
                  </a:lnTo>
                  <a:lnTo>
                    <a:pt x="252" y="1790"/>
                  </a:lnTo>
                  <a:lnTo>
                    <a:pt x="254" y="1789"/>
                  </a:lnTo>
                  <a:lnTo>
                    <a:pt x="252" y="1789"/>
                  </a:lnTo>
                  <a:lnTo>
                    <a:pt x="251" y="1789"/>
                  </a:lnTo>
                  <a:lnTo>
                    <a:pt x="249" y="1790"/>
                  </a:lnTo>
                  <a:lnTo>
                    <a:pt x="248" y="1790"/>
                  </a:lnTo>
                  <a:lnTo>
                    <a:pt x="249" y="1792"/>
                  </a:lnTo>
                  <a:lnTo>
                    <a:pt x="249" y="1792"/>
                  </a:lnTo>
                  <a:lnTo>
                    <a:pt x="251" y="1792"/>
                  </a:lnTo>
                  <a:lnTo>
                    <a:pt x="251" y="1792"/>
                  </a:lnTo>
                  <a:lnTo>
                    <a:pt x="248" y="1794"/>
                  </a:lnTo>
                  <a:lnTo>
                    <a:pt x="248" y="1795"/>
                  </a:lnTo>
                  <a:lnTo>
                    <a:pt x="249" y="1798"/>
                  </a:lnTo>
                  <a:lnTo>
                    <a:pt x="249" y="1798"/>
                  </a:lnTo>
                  <a:lnTo>
                    <a:pt x="251" y="1798"/>
                  </a:lnTo>
                  <a:lnTo>
                    <a:pt x="251" y="1797"/>
                  </a:lnTo>
                  <a:lnTo>
                    <a:pt x="251" y="1794"/>
                  </a:lnTo>
                  <a:lnTo>
                    <a:pt x="252" y="1794"/>
                  </a:lnTo>
                  <a:close/>
                  <a:moveTo>
                    <a:pt x="217" y="1800"/>
                  </a:moveTo>
                  <a:lnTo>
                    <a:pt x="217" y="1800"/>
                  </a:lnTo>
                  <a:lnTo>
                    <a:pt x="218" y="1797"/>
                  </a:lnTo>
                  <a:lnTo>
                    <a:pt x="218" y="1795"/>
                  </a:lnTo>
                  <a:lnTo>
                    <a:pt x="218" y="1789"/>
                  </a:lnTo>
                  <a:lnTo>
                    <a:pt x="217" y="1787"/>
                  </a:lnTo>
                  <a:lnTo>
                    <a:pt x="215" y="1786"/>
                  </a:lnTo>
                  <a:lnTo>
                    <a:pt x="214" y="1787"/>
                  </a:lnTo>
                  <a:lnTo>
                    <a:pt x="215" y="1792"/>
                  </a:lnTo>
                  <a:lnTo>
                    <a:pt x="214" y="1792"/>
                  </a:lnTo>
                  <a:lnTo>
                    <a:pt x="214" y="1790"/>
                  </a:lnTo>
                  <a:lnTo>
                    <a:pt x="214" y="1787"/>
                  </a:lnTo>
                  <a:lnTo>
                    <a:pt x="212" y="1787"/>
                  </a:lnTo>
                  <a:lnTo>
                    <a:pt x="211" y="1787"/>
                  </a:lnTo>
                  <a:lnTo>
                    <a:pt x="211" y="1790"/>
                  </a:lnTo>
                  <a:lnTo>
                    <a:pt x="211" y="1792"/>
                  </a:lnTo>
                  <a:lnTo>
                    <a:pt x="211" y="1795"/>
                  </a:lnTo>
                  <a:lnTo>
                    <a:pt x="211" y="1797"/>
                  </a:lnTo>
                  <a:lnTo>
                    <a:pt x="212" y="1798"/>
                  </a:lnTo>
                  <a:lnTo>
                    <a:pt x="214" y="1800"/>
                  </a:lnTo>
                  <a:lnTo>
                    <a:pt x="214" y="1800"/>
                  </a:lnTo>
                  <a:lnTo>
                    <a:pt x="214" y="1798"/>
                  </a:lnTo>
                  <a:lnTo>
                    <a:pt x="215" y="1798"/>
                  </a:lnTo>
                  <a:lnTo>
                    <a:pt x="217" y="1798"/>
                  </a:lnTo>
                  <a:lnTo>
                    <a:pt x="217" y="1800"/>
                  </a:lnTo>
                  <a:close/>
                  <a:moveTo>
                    <a:pt x="249" y="1787"/>
                  </a:moveTo>
                  <a:lnTo>
                    <a:pt x="251" y="1787"/>
                  </a:lnTo>
                  <a:lnTo>
                    <a:pt x="252" y="1786"/>
                  </a:lnTo>
                  <a:lnTo>
                    <a:pt x="254" y="1786"/>
                  </a:lnTo>
                  <a:lnTo>
                    <a:pt x="254" y="1786"/>
                  </a:lnTo>
                  <a:lnTo>
                    <a:pt x="254" y="1786"/>
                  </a:lnTo>
                  <a:lnTo>
                    <a:pt x="254" y="1787"/>
                  </a:lnTo>
                  <a:lnTo>
                    <a:pt x="255" y="1786"/>
                  </a:lnTo>
                  <a:lnTo>
                    <a:pt x="255" y="1786"/>
                  </a:lnTo>
                  <a:lnTo>
                    <a:pt x="257" y="1784"/>
                  </a:lnTo>
                  <a:lnTo>
                    <a:pt x="257" y="1784"/>
                  </a:lnTo>
                  <a:lnTo>
                    <a:pt x="255" y="1783"/>
                  </a:lnTo>
                  <a:lnTo>
                    <a:pt x="255" y="1781"/>
                  </a:lnTo>
                  <a:lnTo>
                    <a:pt x="254" y="1781"/>
                  </a:lnTo>
                  <a:lnTo>
                    <a:pt x="252" y="1781"/>
                  </a:lnTo>
                  <a:lnTo>
                    <a:pt x="251" y="1781"/>
                  </a:lnTo>
                  <a:lnTo>
                    <a:pt x="251" y="1783"/>
                  </a:lnTo>
                  <a:lnTo>
                    <a:pt x="249" y="1783"/>
                  </a:lnTo>
                  <a:lnTo>
                    <a:pt x="249" y="1784"/>
                  </a:lnTo>
                  <a:lnTo>
                    <a:pt x="248" y="1786"/>
                  </a:lnTo>
                  <a:lnTo>
                    <a:pt x="248" y="1786"/>
                  </a:lnTo>
                  <a:lnTo>
                    <a:pt x="248" y="1787"/>
                  </a:lnTo>
                  <a:lnTo>
                    <a:pt x="249" y="1787"/>
                  </a:lnTo>
                  <a:lnTo>
                    <a:pt x="249" y="1787"/>
                  </a:lnTo>
                  <a:close/>
                  <a:moveTo>
                    <a:pt x="184" y="1780"/>
                  </a:moveTo>
                  <a:lnTo>
                    <a:pt x="183" y="1780"/>
                  </a:lnTo>
                  <a:lnTo>
                    <a:pt x="181" y="1778"/>
                  </a:lnTo>
                  <a:lnTo>
                    <a:pt x="181" y="1780"/>
                  </a:lnTo>
                  <a:lnTo>
                    <a:pt x="180" y="1780"/>
                  </a:lnTo>
                  <a:lnTo>
                    <a:pt x="180" y="1781"/>
                  </a:lnTo>
                  <a:lnTo>
                    <a:pt x="180" y="1781"/>
                  </a:lnTo>
                  <a:lnTo>
                    <a:pt x="180" y="1783"/>
                  </a:lnTo>
                  <a:lnTo>
                    <a:pt x="183" y="1783"/>
                  </a:lnTo>
                  <a:lnTo>
                    <a:pt x="183" y="1783"/>
                  </a:lnTo>
                  <a:lnTo>
                    <a:pt x="184" y="1781"/>
                  </a:lnTo>
                  <a:lnTo>
                    <a:pt x="186" y="1781"/>
                  </a:lnTo>
                  <a:lnTo>
                    <a:pt x="184" y="1780"/>
                  </a:lnTo>
                  <a:lnTo>
                    <a:pt x="184" y="1780"/>
                  </a:lnTo>
                  <a:close/>
                  <a:moveTo>
                    <a:pt x="152" y="1773"/>
                  </a:moveTo>
                  <a:lnTo>
                    <a:pt x="149" y="1775"/>
                  </a:lnTo>
                  <a:lnTo>
                    <a:pt x="147" y="1780"/>
                  </a:lnTo>
                  <a:lnTo>
                    <a:pt x="149" y="1778"/>
                  </a:lnTo>
                  <a:lnTo>
                    <a:pt x="151" y="1780"/>
                  </a:lnTo>
                  <a:lnTo>
                    <a:pt x="152" y="1781"/>
                  </a:lnTo>
                  <a:lnTo>
                    <a:pt x="149" y="1781"/>
                  </a:lnTo>
                  <a:lnTo>
                    <a:pt x="147" y="1781"/>
                  </a:lnTo>
                  <a:lnTo>
                    <a:pt x="146" y="1783"/>
                  </a:lnTo>
                  <a:lnTo>
                    <a:pt x="147" y="1783"/>
                  </a:lnTo>
                  <a:lnTo>
                    <a:pt x="147" y="1784"/>
                  </a:lnTo>
                  <a:lnTo>
                    <a:pt x="149" y="1784"/>
                  </a:lnTo>
                  <a:lnTo>
                    <a:pt x="149" y="1784"/>
                  </a:lnTo>
                  <a:lnTo>
                    <a:pt x="151" y="1784"/>
                  </a:lnTo>
                  <a:lnTo>
                    <a:pt x="152" y="1783"/>
                  </a:lnTo>
                  <a:lnTo>
                    <a:pt x="152" y="1783"/>
                  </a:lnTo>
                  <a:lnTo>
                    <a:pt x="155" y="1784"/>
                  </a:lnTo>
                  <a:lnTo>
                    <a:pt x="155" y="1784"/>
                  </a:lnTo>
                  <a:lnTo>
                    <a:pt x="157" y="1783"/>
                  </a:lnTo>
                  <a:lnTo>
                    <a:pt x="157" y="1781"/>
                  </a:lnTo>
                  <a:lnTo>
                    <a:pt x="157" y="1781"/>
                  </a:lnTo>
                  <a:lnTo>
                    <a:pt x="157" y="1780"/>
                  </a:lnTo>
                  <a:lnTo>
                    <a:pt x="155" y="1780"/>
                  </a:lnTo>
                  <a:lnTo>
                    <a:pt x="158" y="1778"/>
                  </a:lnTo>
                  <a:lnTo>
                    <a:pt x="158" y="1778"/>
                  </a:lnTo>
                  <a:lnTo>
                    <a:pt x="158" y="1777"/>
                  </a:lnTo>
                  <a:lnTo>
                    <a:pt x="155" y="1773"/>
                  </a:lnTo>
                  <a:lnTo>
                    <a:pt x="152" y="1773"/>
                  </a:lnTo>
                  <a:close/>
                  <a:moveTo>
                    <a:pt x="169" y="1770"/>
                  </a:moveTo>
                  <a:lnTo>
                    <a:pt x="166" y="1770"/>
                  </a:lnTo>
                  <a:lnTo>
                    <a:pt x="164" y="1772"/>
                  </a:lnTo>
                  <a:lnTo>
                    <a:pt x="163" y="1773"/>
                  </a:lnTo>
                  <a:lnTo>
                    <a:pt x="163" y="1775"/>
                  </a:lnTo>
                  <a:lnTo>
                    <a:pt x="164" y="1777"/>
                  </a:lnTo>
                  <a:lnTo>
                    <a:pt x="164" y="1777"/>
                  </a:lnTo>
                  <a:lnTo>
                    <a:pt x="163" y="1777"/>
                  </a:lnTo>
                  <a:lnTo>
                    <a:pt x="163" y="1778"/>
                  </a:lnTo>
                  <a:lnTo>
                    <a:pt x="163" y="1780"/>
                  </a:lnTo>
                  <a:lnTo>
                    <a:pt x="163" y="1780"/>
                  </a:lnTo>
                  <a:lnTo>
                    <a:pt x="161" y="1781"/>
                  </a:lnTo>
                  <a:lnTo>
                    <a:pt x="164" y="1783"/>
                  </a:lnTo>
                  <a:lnTo>
                    <a:pt x="166" y="1783"/>
                  </a:lnTo>
                  <a:lnTo>
                    <a:pt x="169" y="1781"/>
                  </a:lnTo>
                  <a:lnTo>
                    <a:pt x="171" y="1780"/>
                  </a:lnTo>
                  <a:lnTo>
                    <a:pt x="169" y="1778"/>
                  </a:lnTo>
                  <a:lnTo>
                    <a:pt x="169" y="1778"/>
                  </a:lnTo>
                  <a:lnTo>
                    <a:pt x="171" y="1778"/>
                  </a:lnTo>
                  <a:lnTo>
                    <a:pt x="171" y="1778"/>
                  </a:lnTo>
                  <a:lnTo>
                    <a:pt x="172" y="1777"/>
                  </a:lnTo>
                  <a:lnTo>
                    <a:pt x="169" y="1777"/>
                  </a:lnTo>
                  <a:lnTo>
                    <a:pt x="175" y="1777"/>
                  </a:lnTo>
                  <a:lnTo>
                    <a:pt x="174" y="1773"/>
                  </a:lnTo>
                  <a:lnTo>
                    <a:pt x="174" y="1773"/>
                  </a:lnTo>
                  <a:lnTo>
                    <a:pt x="174" y="1773"/>
                  </a:lnTo>
                  <a:lnTo>
                    <a:pt x="175" y="1773"/>
                  </a:lnTo>
                  <a:lnTo>
                    <a:pt x="175" y="1773"/>
                  </a:lnTo>
                  <a:lnTo>
                    <a:pt x="177" y="1773"/>
                  </a:lnTo>
                  <a:lnTo>
                    <a:pt x="177" y="1772"/>
                  </a:lnTo>
                  <a:lnTo>
                    <a:pt x="174" y="1770"/>
                  </a:lnTo>
                  <a:lnTo>
                    <a:pt x="169" y="1770"/>
                  </a:lnTo>
                  <a:close/>
                  <a:moveTo>
                    <a:pt x="211" y="1773"/>
                  </a:moveTo>
                  <a:lnTo>
                    <a:pt x="212" y="1772"/>
                  </a:lnTo>
                  <a:lnTo>
                    <a:pt x="214" y="1770"/>
                  </a:lnTo>
                  <a:lnTo>
                    <a:pt x="212" y="1769"/>
                  </a:lnTo>
                  <a:lnTo>
                    <a:pt x="208" y="1770"/>
                  </a:lnTo>
                  <a:lnTo>
                    <a:pt x="208" y="1770"/>
                  </a:lnTo>
                  <a:lnTo>
                    <a:pt x="208" y="1772"/>
                  </a:lnTo>
                  <a:lnTo>
                    <a:pt x="206" y="1773"/>
                  </a:lnTo>
                  <a:lnTo>
                    <a:pt x="206" y="1773"/>
                  </a:lnTo>
                  <a:lnTo>
                    <a:pt x="206" y="1773"/>
                  </a:lnTo>
                  <a:lnTo>
                    <a:pt x="206" y="1775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6" y="1777"/>
                  </a:lnTo>
                  <a:lnTo>
                    <a:pt x="209" y="1777"/>
                  </a:lnTo>
                  <a:lnTo>
                    <a:pt x="209" y="1777"/>
                  </a:lnTo>
                  <a:lnTo>
                    <a:pt x="209" y="1777"/>
                  </a:lnTo>
                  <a:lnTo>
                    <a:pt x="208" y="1775"/>
                  </a:lnTo>
                  <a:lnTo>
                    <a:pt x="209" y="1775"/>
                  </a:lnTo>
                  <a:lnTo>
                    <a:pt x="211" y="1773"/>
                  </a:lnTo>
                  <a:close/>
                  <a:moveTo>
                    <a:pt x="138" y="1770"/>
                  </a:moveTo>
                  <a:lnTo>
                    <a:pt x="137" y="1767"/>
                  </a:lnTo>
                  <a:lnTo>
                    <a:pt x="134" y="1767"/>
                  </a:lnTo>
                  <a:lnTo>
                    <a:pt x="131" y="1769"/>
                  </a:lnTo>
                  <a:lnTo>
                    <a:pt x="131" y="1770"/>
                  </a:lnTo>
                  <a:lnTo>
                    <a:pt x="132" y="1770"/>
                  </a:lnTo>
                  <a:lnTo>
                    <a:pt x="132" y="1772"/>
                  </a:lnTo>
                  <a:lnTo>
                    <a:pt x="134" y="1772"/>
                  </a:lnTo>
                  <a:lnTo>
                    <a:pt x="134" y="1773"/>
                  </a:lnTo>
                  <a:lnTo>
                    <a:pt x="137" y="1773"/>
                  </a:lnTo>
                  <a:lnTo>
                    <a:pt x="138" y="1773"/>
                  </a:lnTo>
                  <a:lnTo>
                    <a:pt x="138" y="1775"/>
                  </a:lnTo>
                  <a:lnTo>
                    <a:pt x="138" y="1775"/>
                  </a:lnTo>
                  <a:lnTo>
                    <a:pt x="140" y="1772"/>
                  </a:lnTo>
                  <a:lnTo>
                    <a:pt x="140" y="1772"/>
                  </a:lnTo>
                  <a:lnTo>
                    <a:pt x="143" y="1772"/>
                  </a:lnTo>
                  <a:lnTo>
                    <a:pt x="143" y="1770"/>
                  </a:lnTo>
                  <a:lnTo>
                    <a:pt x="140" y="1770"/>
                  </a:lnTo>
                  <a:lnTo>
                    <a:pt x="138" y="1770"/>
                  </a:lnTo>
                  <a:close/>
                  <a:moveTo>
                    <a:pt x="189" y="1767"/>
                  </a:moveTo>
                  <a:lnTo>
                    <a:pt x="188" y="1767"/>
                  </a:lnTo>
                  <a:lnTo>
                    <a:pt x="186" y="1769"/>
                  </a:lnTo>
                  <a:lnTo>
                    <a:pt x="184" y="1770"/>
                  </a:lnTo>
                  <a:lnTo>
                    <a:pt x="181" y="1772"/>
                  </a:lnTo>
                  <a:lnTo>
                    <a:pt x="180" y="1773"/>
                  </a:lnTo>
                  <a:lnTo>
                    <a:pt x="181" y="1777"/>
                  </a:lnTo>
                  <a:lnTo>
                    <a:pt x="183" y="1780"/>
                  </a:lnTo>
                  <a:lnTo>
                    <a:pt x="184" y="1778"/>
                  </a:lnTo>
                  <a:lnTo>
                    <a:pt x="188" y="1777"/>
                  </a:lnTo>
                  <a:lnTo>
                    <a:pt x="188" y="1775"/>
                  </a:lnTo>
                  <a:lnTo>
                    <a:pt x="186" y="1773"/>
                  </a:lnTo>
                  <a:lnTo>
                    <a:pt x="186" y="1773"/>
                  </a:lnTo>
                  <a:lnTo>
                    <a:pt x="191" y="1770"/>
                  </a:lnTo>
                  <a:lnTo>
                    <a:pt x="189" y="1767"/>
                  </a:lnTo>
                  <a:close/>
                  <a:moveTo>
                    <a:pt x="469" y="1767"/>
                  </a:moveTo>
                  <a:lnTo>
                    <a:pt x="468" y="1769"/>
                  </a:lnTo>
                  <a:lnTo>
                    <a:pt x="469" y="1770"/>
                  </a:lnTo>
                  <a:lnTo>
                    <a:pt x="469" y="1770"/>
                  </a:lnTo>
                  <a:lnTo>
                    <a:pt x="471" y="1769"/>
                  </a:lnTo>
                  <a:lnTo>
                    <a:pt x="472" y="1769"/>
                  </a:lnTo>
                  <a:lnTo>
                    <a:pt x="472" y="1767"/>
                  </a:lnTo>
                  <a:lnTo>
                    <a:pt x="471" y="1766"/>
                  </a:lnTo>
                  <a:lnTo>
                    <a:pt x="469" y="1767"/>
                  </a:lnTo>
                  <a:close/>
                  <a:moveTo>
                    <a:pt x="206" y="1763"/>
                  </a:moveTo>
                  <a:lnTo>
                    <a:pt x="204" y="1761"/>
                  </a:lnTo>
                  <a:lnTo>
                    <a:pt x="203" y="1763"/>
                  </a:lnTo>
                  <a:lnTo>
                    <a:pt x="201" y="1766"/>
                  </a:lnTo>
                  <a:lnTo>
                    <a:pt x="200" y="1769"/>
                  </a:lnTo>
                  <a:lnTo>
                    <a:pt x="201" y="1772"/>
                  </a:lnTo>
                  <a:lnTo>
                    <a:pt x="204" y="1770"/>
                  </a:lnTo>
                  <a:lnTo>
                    <a:pt x="206" y="1766"/>
                  </a:lnTo>
                  <a:lnTo>
                    <a:pt x="206" y="1763"/>
                  </a:lnTo>
                  <a:close/>
                  <a:moveTo>
                    <a:pt x="155" y="1760"/>
                  </a:moveTo>
                  <a:lnTo>
                    <a:pt x="154" y="1760"/>
                  </a:lnTo>
                  <a:lnTo>
                    <a:pt x="152" y="1761"/>
                  </a:lnTo>
                  <a:lnTo>
                    <a:pt x="152" y="1763"/>
                  </a:lnTo>
                  <a:lnTo>
                    <a:pt x="152" y="1766"/>
                  </a:lnTo>
                  <a:lnTo>
                    <a:pt x="154" y="1766"/>
                  </a:lnTo>
                  <a:lnTo>
                    <a:pt x="154" y="1766"/>
                  </a:lnTo>
                  <a:lnTo>
                    <a:pt x="154" y="1766"/>
                  </a:lnTo>
                  <a:lnTo>
                    <a:pt x="155" y="1766"/>
                  </a:lnTo>
                  <a:lnTo>
                    <a:pt x="155" y="1766"/>
                  </a:lnTo>
                  <a:lnTo>
                    <a:pt x="155" y="1764"/>
                  </a:lnTo>
                  <a:lnTo>
                    <a:pt x="157" y="1763"/>
                  </a:lnTo>
                  <a:lnTo>
                    <a:pt x="157" y="1761"/>
                  </a:lnTo>
                  <a:lnTo>
                    <a:pt x="155" y="1761"/>
                  </a:lnTo>
                  <a:lnTo>
                    <a:pt x="155" y="1761"/>
                  </a:lnTo>
                  <a:lnTo>
                    <a:pt x="155" y="1761"/>
                  </a:lnTo>
                  <a:lnTo>
                    <a:pt x="155" y="1760"/>
                  </a:lnTo>
                  <a:lnTo>
                    <a:pt x="155" y="1760"/>
                  </a:lnTo>
                  <a:close/>
                  <a:moveTo>
                    <a:pt x="451" y="1755"/>
                  </a:moveTo>
                  <a:lnTo>
                    <a:pt x="449" y="1758"/>
                  </a:lnTo>
                  <a:lnTo>
                    <a:pt x="451" y="1761"/>
                  </a:lnTo>
                  <a:lnTo>
                    <a:pt x="452" y="1763"/>
                  </a:lnTo>
                  <a:lnTo>
                    <a:pt x="454" y="1764"/>
                  </a:lnTo>
                  <a:lnTo>
                    <a:pt x="452" y="1766"/>
                  </a:lnTo>
                  <a:lnTo>
                    <a:pt x="452" y="1767"/>
                  </a:lnTo>
                  <a:lnTo>
                    <a:pt x="454" y="1767"/>
                  </a:lnTo>
                  <a:lnTo>
                    <a:pt x="456" y="1769"/>
                  </a:lnTo>
                  <a:lnTo>
                    <a:pt x="456" y="1767"/>
                  </a:lnTo>
                  <a:lnTo>
                    <a:pt x="456" y="1766"/>
                  </a:lnTo>
                  <a:lnTo>
                    <a:pt x="457" y="1764"/>
                  </a:lnTo>
                  <a:lnTo>
                    <a:pt x="459" y="1764"/>
                  </a:lnTo>
                  <a:lnTo>
                    <a:pt x="459" y="1763"/>
                  </a:lnTo>
                  <a:lnTo>
                    <a:pt x="452" y="1755"/>
                  </a:lnTo>
                  <a:lnTo>
                    <a:pt x="451" y="1755"/>
                  </a:lnTo>
                  <a:close/>
                  <a:moveTo>
                    <a:pt x="245" y="1787"/>
                  </a:moveTo>
                  <a:lnTo>
                    <a:pt x="248" y="1783"/>
                  </a:lnTo>
                  <a:lnTo>
                    <a:pt x="246" y="1778"/>
                  </a:lnTo>
                  <a:lnTo>
                    <a:pt x="246" y="1778"/>
                  </a:lnTo>
                  <a:lnTo>
                    <a:pt x="248" y="1777"/>
                  </a:lnTo>
                  <a:lnTo>
                    <a:pt x="246" y="1775"/>
                  </a:lnTo>
                  <a:lnTo>
                    <a:pt x="246" y="1775"/>
                  </a:lnTo>
                  <a:lnTo>
                    <a:pt x="246" y="1775"/>
                  </a:lnTo>
                  <a:lnTo>
                    <a:pt x="246" y="1773"/>
                  </a:lnTo>
                  <a:lnTo>
                    <a:pt x="246" y="1773"/>
                  </a:lnTo>
                  <a:lnTo>
                    <a:pt x="248" y="1773"/>
                  </a:lnTo>
                  <a:lnTo>
                    <a:pt x="246" y="1772"/>
                  </a:lnTo>
                  <a:lnTo>
                    <a:pt x="246" y="1770"/>
                  </a:lnTo>
                  <a:lnTo>
                    <a:pt x="248" y="1769"/>
                  </a:lnTo>
                  <a:lnTo>
                    <a:pt x="249" y="1769"/>
                  </a:lnTo>
                  <a:lnTo>
                    <a:pt x="249" y="1767"/>
                  </a:lnTo>
                  <a:lnTo>
                    <a:pt x="249" y="1766"/>
                  </a:lnTo>
                  <a:lnTo>
                    <a:pt x="251" y="1764"/>
                  </a:lnTo>
                  <a:lnTo>
                    <a:pt x="252" y="1763"/>
                  </a:lnTo>
                  <a:lnTo>
                    <a:pt x="254" y="1761"/>
                  </a:lnTo>
                  <a:lnTo>
                    <a:pt x="255" y="1758"/>
                  </a:lnTo>
                  <a:lnTo>
                    <a:pt x="255" y="1755"/>
                  </a:lnTo>
                  <a:lnTo>
                    <a:pt x="254" y="1755"/>
                  </a:lnTo>
                  <a:lnTo>
                    <a:pt x="251" y="1757"/>
                  </a:lnTo>
                  <a:lnTo>
                    <a:pt x="249" y="1760"/>
                  </a:lnTo>
                  <a:lnTo>
                    <a:pt x="248" y="1763"/>
                  </a:lnTo>
                  <a:lnTo>
                    <a:pt x="245" y="1766"/>
                  </a:lnTo>
                  <a:lnTo>
                    <a:pt x="231" y="1767"/>
                  </a:lnTo>
                  <a:lnTo>
                    <a:pt x="229" y="1769"/>
                  </a:lnTo>
                  <a:lnTo>
                    <a:pt x="226" y="1770"/>
                  </a:lnTo>
                  <a:lnTo>
                    <a:pt x="220" y="1772"/>
                  </a:lnTo>
                  <a:lnTo>
                    <a:pt x="218" y="1770"/>
                  </a:lnTo>
                  <a:lnTo>
                    <a:pt x="218" y="1769"/>
                  </a:lnTo>
                  <a:lnTo>
                    <a:pt x="220" y="1766"/>
                  </a:lnTo>
                  <a:lnTo>
                    <a:pt x="218" y="1766"/>
                  </a:lnTo>
                  <a:lnTo>
                    <a:pt x="217" y="1769"/>
                  </a:lnTo>
                  <a:lnTo>
                    <a:pt x="217" y="1773"/>
                  </a:lnTo>
                  <a:lnTo>
                    <a:pt x="215" y="1777"/>
                  </a:lnTo>
                  <a:lnTo>
                    <a:pt x="229" y="1778"/>
                  </a:lnTo>
                  <a:lnTo>
                    <a:pt x="229" y="1780"/>
                  </a:lnTo>
                  <a:lnTo>
                    <a:pt x="221" y="1780"/>
                  </a:lnTo>
                  <a:lnTo>
                    <a:pt x="220" y="1780"/>
                  </a:lnTo>
                  <a:lnTo>
                    <a:pt x="217" y="1781"/>
                  </a:lnTo>
                  <a:lnTo>
                    <a:pt x="215" y="1783"/>
                  </a:lnTo>
                  <a:lnTo>
                    <a:pt x="217" y="1784"/>
                  </a:lnTo>
                  <a:lnTo>
                    <a:pt x="218" y="1784"/>
                  </a:lnTo>
                  <a:lnTo>
                    <a:pt x="220" y="1786"/>
                  </a:lnTo>
                  <a:lnTo>
                    <a:pt x="220" y="1787"/>
                  </a:lnTo>
                  <a:lnTo>
                    <a:pt x="220" y="1789"/>
                  </a:lnTo>
                  <a:lnTo>
                    <a:pt x="220" y="1790"/>
                  </a:lnTo>
                  <a:lnTo>
                    <a:pt x="220" y="1792"/>
                  </a:lnTo>
                  <a:lnTo>
                    <a:pt x="220" y="1794"/>
                  </a:lnTo>
                  <a:lnTo>
                    <a:pt x="220" y="1795"/>
                  </a:lnTo>
                  <a:lnTo>
                    <a:pt x="220" y="1800"/>
                  </a:lnTo>
                  <a:lnTo>
                    <a:pt x="221" y="1798"/>
                  </a:lnTo>
                  <a:lnTo>
                    <a:pt x="224" y="1798"/>
                  </a:lnTo>
                  <a:lnTo>
                    <a:pt x="224" y="1797"/>
                  </a:lnTo>
                  <a:lnTo>
                    <a:pt x="228" y="1794"/>
                  </a:lnTo>
                  <a:lnTo>
                    <a:pt x="229" y="1792"/>
                  </a:lnTo>
                  <a:lnTo>
                    <a:pt x="229" y="1794"/>
                  </a:lnTo>
                  <a:lnTo>
                    <a:pt x="228" y="1795"/>
                  </a:lnTo>
                  <a:lnTo>
                    <a:pt x="228" y="1797"/>
                  </a:lnTo>
                  <a:lnTo>
                    <a:pt x="228" y="1798"/>
                  </a:lnTo>
                  <a:lnTo>
                    <a:pt x="229" y="1798"/>
                  </a:lnTo>
                  <a:lnTo>
                    <a:pt x="229" y="1798"/>
                  </a:lnTo>
                  <a:lnTo>
                    <a:pt x="229" y="1800"/>
                  </a:lnTo>
                  <a:lnTo>
                    <a:pt x="229" y="1801"/>
                  </a:lnTo>
                  <a:lnTo>
                    <a:pt x="229" y="1801"/>
                  </a:lnTo>
                  <a:lnTo>
                    <a:pt x="229" y="1800"/>
                  </a:lnTo>
                  <a:lnTo>
                    <a:pt x="229" y="1800"/>
                  </a:lnTo>
                  <a:lnTo>
                    <a:pt x="231" y="1798"/>
                  </a:lnTo>
                  <a:lnTo>
                    <a:pt x="232" y="1797"/>
                  </a:lnTo>
                  <a:lnTo>
                    <a:pt x="234" y="1795"/>
                  </a:lnTo>
                  <a:lnTo>
                    <a:pt x="234" y="1797"/>
                  </a:lnTo>
                  <a:lnTo>
                    <a:pt x="235" y="1800"/>
                  </a:lnTo>
                  <a:lnTo>
                    <a:pt x="237" y="1798"/>
                  </a:lnTo>
                  <a:lnTo>
                    <a:pt x="237" y="1798"/>
                  </a:lnTo>
                  <a:lnTo>
                    <a:pt x="238" y="1798"/>
                  </a:lnTo>
                  <a:lnTo>
                    <a:pt x="240" y="1798"/>
                  </a:lnTo>
                  <a:lnTo>
                    <a:pt x="240" y="1795"/>
                  </a:lnTo>
                  <a:lnTo>
                    <a:pt x="241" y="1795"/>
                  </a:lnTo>
                  <a:lnTo>
                    <a:pt x="240" y="1794"/>
                  </a:lnTo>
                  <a:lnTo>
                    <a:pt x="240" y="1794"/>
                  </a:lnTo>
                  <a:lnTo>
                    <a:pt x="238" y="1794"/>
                  </a:lnTo>
                  <a:lnTo>
                    <a:pt x="238" y="1792"/>
                  </a:lnTo>
                  <a:lnTo>
                    <a:pt x="245" y="1787"/>
                  </a:lnTo>
                  <a:close/>
                  <a:moveTo>
                    <a:pt x="183" y="1757"/>
                  </a:moveTo>
                  <a:lnTo>
                    <a:pt x="183" y="1757"/>
                  </a:lnTo>
                  <a:lnTo>
                    <a:pt x="183" y="1757"/>
                  </a:lnTo>
                  <a:lnTo>
                    <a:pt x="183" y="1757"/>
                  </a:lnTo>
                  <a:lnTo>
                    <a:pt x="184" y="1757"/>
                  </a:lnTo>
                  <a:lnTo>
                    <a:pt x="184" y="1755"/>
                  </a:lnTo>
                  <a:lnTo>
                    <a:pt x="184" y="1755"/>
                  </a:lnTo>
                  <a:lnTo>
                    <a:pt x="184" y="1755"/>
                  </a:lnTo>
                  <a:lnTo>
                    <a:pt x="183" y="1757"/>
                  </a:lnTo>
                  <a:close/>
                  <a:moveTo>
                    <a:pt x="181" y="1757"/>
                  </a:moveTo>
                  <a:lnTo>
                    <a:pt x="183" y="1753"/>
                  </a:lnTo>
                  <a:lnTo>
                    <a:pt x="183" y="1753"/>
                  </a:lnTo>
                  <a:lnTo>
                    <a:pt x="181" y="1752"/>
                  </a:lnTo>
                  <a:lnTo>
                    <a:pt x="178" y="1752"/>
                  </a:lnTo>
                  <a:lnTo>
                    <a:pt x="178" y="1753"/>
                  </a:lnTo>
                  <a:lnTo>
                    <a:pt x="177" y="1753"/>
                  </a:lnTo>
                  <a:lnTo>
                    <a:pt x="175" y="1753"/>
                  </a:lnTo>
                  <a:lnTo>
                    <a:pt x="175" y="1753"/>
                  </a:lnTo>
                  <a:lnTo>
                    <a:pt x="175" y="1757"/>
                  </a:lnTo>
                  <a:lnTo>
                    <a:pt x="177" y="1757"/>
                  </a:lnTo>
                  <a:lnTo>
                    <a:pt x="178" y="1758"/>
                  </a:lnTo>
                  <a:lnTo>
                    <a:pt x="178" y="1758"/>
                  </a:lnTo>
                  <a:lnTo>
                    <a:pt x="180" y="1758"/>
                  </a:lnTo>
                  <a:lnTo>
                    <a:pt x="181" y="1757"/>
                  </a:lnTo>
                  <a:close/>
                  <a:moveTo>
                    <a:pt x="200" y="1761"/>
                  </a:moveTo>
                  <a:lnTo>
                    <a:pt x="204" y="1761"/>
                  </a:lnTo>
                  <a:lnTo>
                    <a:pt x="204" y="1760"/>
                  </a:lnTo>
                  <a:lnTo>
                    <a:pt x="204" y="1760"/>
                  </a:lnTo>
                  <a:lnTo>
                    <a:pt x="206" y="1760"/>
                  </a:lnTo>
                  <a:lnTo>
                    <a:pt x="206" y="1758"/>
                  </a:lnTo>
                  <a:lnTo>
                    <a:pt x="206" y="1758"/>
                  </a:lnTo>
                  <a:lnTo>
                    <a:pt x="208" y="1760"/>
                  </a:lnTo>
                  <a:lnTo>
                    <a:pt x="208" y="1760"/>
                  </a:lnTo>
                  <a:lnTo>
                    <a:pt x="209" y="1760"/>
                  </a:lnTo>
                  <a:lnTo>
                    <a:pt x="209" y="1758"/>
                  </a:lnTo>
                  <a:lnTo>
                    <a:pt x="209" y="1757"/>
                  </a:lnTo>
                  <a:lnTo>
                    <a:pt x="209" y="1755"/>
                  </a:lnTo>
                  <a:lnTo>
                    <a:pt x="203" y="1752"/>
                  </a:lnTo>
                  <a:lnTo>
                    <a:pt x="194" y="1752"/>
                  </a:lnTo>
                  <a:lnTo>
                    <a:pt x="192" y="1752"/>
                  </a:lnTo>
                  <a:lnTo>
                    <a:pt x="191" y="1753"/>
                  </a:lnTo>
                  <a:lnTo>
                    <a:pt x="191" y="1757"/>
                  </a:lnTo>
                  <a:lnTo>
                    <a:pt x="191" y="1760"/>
                  </a:lnTo>
                  <a:lnTo>
                    <a:pt x="191" y="1760"/>
                  </a:lnTo>
                  <a:lnTo>
                    <a:pt x="192" y="1758"/>
                  </a:lnTo>
                  <a:lnTo>
                    <a:pt x="195" y="1760"/>
                  </a:lnTo>
                  <a:lnTo>
                    <a:pt x="197" y="1761"/>
                  </a:lnTo>
                  <a:lnTo>
                    <a:pt x="198" y="1758"/>
                  </a:lnTo>
                  <a:lnTo>
                    <a:pt x="195" y="1758"/>
                  </a:lnTo>
                  <a:lnTo>
                    <a:pt x="197" y="1757"/>
                  </a:lnTo>
                  <a:lnTo>
                    <a:pt x="198" y="1757"/>
                  </a:lnTo>
                  <a:lnTo>
                    <a:pt x="200" y="1758"/>
                  </a:lnTo>
                  <a:lnTo>
                    <a:pt x="201" y="1760"/>
                  </a:lnTo>
                  <a:lnTo>
                    <a:pt x="200" y="1761"/>
                  </a:lnTo>
                  <a:lnTo>
                    <a:pt x="200" y="1761"/>
                  </a:lnTo>
                  <a:close/>
                  <a:moveTo>
                    <a:pt x="214" y="1746"/>
                  </a:moveTo>
                  <a:lnTo>
                    <a:pt x="214" y="1746"/>
                  </a:lnTo>
                  <a:lnTo>
                    <a:pt x="212" y="1746"/>
                  </a:lnTo>
                  <a:lnTo>
                    <a:pt x="211" y="1747"/>
                  </a:lnTo>
                  <a:lnTo>
                    <a:pt x="209" y="1749"/>
                  </a:lnTo>
                  <a:lnTo>
                    <a:pt x="208" y="1752"/>
                  </a:lnTo>
                  <a:lnTo>
                    <a:pt x="211" y="1752"/>
                  </a:lnTo>
                  <a:lnTo>
                    <a:pt x="212" y="1752"/>
                  </a:lnTo>
                  <a:lnTo>
                    <a:pt x="214" y="1752"/>
                  </a:lnTo>
                  <a:lnTo>
                    <a:pt x="212" y="1753"/>
                  </a:lnTo>
                  <a:lnTo>
                    <a:pt x="212" y="1755"/>
                  </a:lnTo>
                  <a:lnTo>
                    <a:pt x="212" y="1755"/>
                  </a:lnTo>
                  <a:lnTo>
                    <a:pt x="214" y="1755"/>
                  </a:lnTo>
                  <a:lnTo>
                    <a:pt x="217" y="1755"/>
                  </a:lnTo>
                  <a:lnTo>
                    <a:pt x="218" y="1753"/>
                  </a:lnTo>
                  <a:lnTo>
                    <a:pt x="220" y="1752"/>
                  </a:lnTo>
                  <a:lnTo>
                    <a:pt x="220" y="1749"/>
                  </a:lnTo>
                  <a:lnTo>
                    <a:pt x="218" y="1749"/>
                  </a:lnTo>
                  <a:lnTo>
                    <a:pt x="217" y="1749"/>
                  </a:lnTo>
                  <a:lnTo>
                    <a:pt x="217" y="1749"/>
                  </a:lnTo>
                  <a:lnTo>
                    <a:pt x="214" y="1749"/>
                  </a:lnTo>
                  <a:lnTo>
                    <a:pt x="214" y="1747"/>
                  </a:lnTo>
                  <a:lnTo>
                    <a:pt x="214" y="1747"/>
                  </a:lnTo>
                  <a:lnTo>
                    <a:pt x="214" y="1746"/>
                  </a:lnTo>
                  <a:close/>
                  <a:moveTo>
                    <a:pt x="197" y="1747"/>
                  </a:moveTo>
                  <a:lnTo>
                    <a:pt x="197" y="1747"/>
                  </a:lnTo>
                  <a:lnTo>
                    <a:pt x="198" y="1749"/>
                  </a:lnTo>
                  <a:lnTo>
                    <a:pt x="200" y="1747"/>
                  </a:lnTo>
                  <a:lnTo>
                    <a:pt x="206" y="1746"/>
                  </a:lnTo>
                  <a:lnTo>
                    <a:pt x="208" y="1744"/>
                  </a:lnTo>
                  <a:lnTo>
                    <a:pt x="206" y="1743"/>
                  </a:lnTo>
                  <a:lnTo>
                    <a:pt x="203" y="1743"/>
                  </a:lnTo>
                  <a:lnTo>
                    <a:pt x="197" y="1746"/>
                  </a:lnTo>
                  <a:lnTo>
                    <a:pt x="197" y="1746"/>
                  </a:lnTo>
                  <a:lnTo>
                    <a:pt x="197" y="1747"/>
                  </a:lnTo>
                  <a:close/>
                  <a:moveTo>
                    <a:pt x="195" y="1743"/>
                  </a:moveTo>
                  <a:lnTo>
                    <a:pt x="195" y="1743"/>
                  </a:lnTo>
                  <a:lnTo>
                    <a:pt x="194" y="1744"/>
                  </a:lnTo>
                  <a:lnTo>
                    <a:pt x="192" y="1746"/>
                  </a:lnTo>
                  <a:lnTo>
                    <a:pt x="192" y="1746"/>
                  </a:lnTo>
                  <a:lnTo>
                    <a:pt x="200" y="1743"/>
                  </a:lnTo>
                  <a:lnTo>
                    <a:pt x="200" y="1743"/>
                  </a:lnTo>
                  <a:lnTo>
                    <a:pt x="195" y="1743"/>
                  </a:lnTo>
                  <a:close/>
                  <a:moveTo>
                    <a:pt x="135" y="1746"/>
                  </a:moveTo>
                  <a:lnTo>
                    <a:pt x="135" y="1746"/>
                  </a:lnTo>
                  <a:lnTo>
                    <a:pt x="137" y="1747"/>
                  </a:lnTo>
                  <a:lnTo>
                    <a:pt x="137" y="1747"/>
                  </a:lnTo>
                  <a:lnTo>
                    <a:pt x="137" y="1746"/>
                  </a:lnTo>
                  <a:lnTo>
                    <a:pt x="137" y="1744"/>
                  </a:lnTo>
                  <a:lnTo>
                    <a:pt x="135" y="1741"/>
                  </a:lnTo>
                  <a:lnTo>
                    <a:pt x="134" y="1741"/>
                  </a:lnTo>
                  <a:lnTo>
                    <a:pt x="134" y="1741"/>
                  </a:lnTo>
                  <a:lnTo>
                    <a:pt x="132" y="1741"/>
                  </a:lnTo>
                  <a:lnTo>
                    <a:pt x="132" y="1743"/>
                  </a:lnTo>
                  <a:lnTo>
                    <a:pt x="132" y="1744"/>
                  </a:lnTo>
                  <a:lnTo>
                    <a:pt x="132" y="1744"/>
                  </a:lnTo>
                  <a:lnTo>
                    <a:pt x="134" y="1744"/>
                  </a:lnTo>
                  <a:lnTo>
                    <a:pt x="135" y="1744"/>
                  </a:lnTo>
                  <a:lnTo>
                    <a:pt x="135" y="1744"/>
                  </a:lnTo>
                  <a:lnTo>
                    <a:pt x="135" y="1746"/>
                  </a:lnTo>
                  <a:lnTo>
                    <a:pt x="135" y="1746"/>
                  </a:lnTo>
                  <a:close/>
                  <a:moveTo>
                    <a:pt x="526" y="1732"/>
                  </a:moveTo>
                  <a:lnTo>
                    <a:pt x="526" y="1732"/>
                  </a:lnTo>
                  <a:lnTo>
                    <a:pt x="526" y="1733"/>
                  </a:lnTo>
                  <a:lnTo>
                    <a:pt x="525" y="1733"/>
                  </a:lnTo>
                  <a:lnTo>
                    <a:pt x="525" y="1735"/>
                  </a:lnTo>
                  <a:lnTo>
                    <a:pt x="525" y="1737"/>
                  </a:lnTo>
                  <a:lnTo>
                    <a:pt x="525" y="1737"/>
                  </a:lnTo>
                  <a:lnTo>
                    <a:pt x="520" y="1738"/>
                  </a:lnTo>
                  <a:lnTo>
                    <a:pt x="520" y="1738"/>
                  </a:lnTo>
                  <a:lnTo>
                    <a:pt x="522" y="1741"/>
                  </a:lnTo>
                  <a:lnTo>
                    <a:pt x="522" y="1743"/>
                  </a:lnTo>
                  <a:lnTo>
                    <a:pt x="523" y="1743"/>
                  </a:lnTo>
                  <a:lnTo>
                    <a:pt x="523" y="1740"/>
                  </a:lnTo>
                  <a:lnTo>
                    <a:pt x="525" y="1738"/>
                  </a:lnTo>
                  <a:lnTo>
                    <a:pt x="529" y="1737"/>
                  </a:lnTo>
                  <a:lnTo>
                    <a:pt x="531" y="1737"/>
                  </a:lnTo>
                  <a:lnTo>
                    <a:pt x="531" y="1735"/>
                  </a:lnTo>
                  <a:lnTo>
                    <a:pt x="531" y="1735"/>
                  </a:lnTo>
                  <a:lnTo>
                    <a:pt x="526" y="1732"/>
                  </a:lnTo>
                  <a:close/>
                  <a:moveTo>
                    <a:pt x="172" y="1738"/>
                  </a:moveTo>
                  <a:lnTo>
                    <a:pt x="171" y="1738"/>
                  </a:lnTo>
                  <a:lnTo>
                    <a:pt x="169" y="1740"/>
                  </a:lnTo>
                  <a:lnTo>
                    <a:pt x="169" y="1741"/>
                  </a:lnTo>
                  <a:lnTo>
                    <a:pt x="169" y="1743"/>
                  </a:lnTo>
                  <a:lnTo>
                    <a:pt x="171" y="1744"/>
                  </a:lnTo>
                  <a:lnTo>
                    <a:pt x="172" y="1746"/>
                  </a:lnTo>
                  <a:lnTo>
                    <a:pt x="175" y="1746"/>
                  </a:lnTo>
                  <a:lnTo>
                    <a:pt x="175" y="1747"/>
                  </a:lnTo>
                  <a:lnTo>
                    <a:pt x="177" y="1749"/>
                  </a:lnTo>
                  <a:lnTo>
                    <a:pt x="177" y="1749"/>
                  </a:lnTo>
                  <a:lnTo>
                    <a:pt x="177" y="1750"/>
                  </a:lnTo>
                  <a:lnTo>
                    <a:pt x="177" y="1750"/>
                  </a:lnTo>
                  <a:lnTo>
                    <a:pt x="178" y="1750"/>
                  </a:lnTo>
                  <a:lnTo>
                    <a:pt x="178" y="1750"/>
                  </a:lnTo>
                  <a:lnTo>
                    <a:pt x="178" y="1749"/>
                  </a:lnTo>
                  <a:lnTo>
                    <a:pt x="178" y="1749"/>
                  </a:lnTo>
                  <a:lnTo>
                    <a:pt x="180" y="1750"/>
                  </a:lnTo>
                  <a:lnTo>
                    <a:pt x="181" y="1750"/>
                  </a:lnTo>
                  <a:lnTo>
                    <a:pt x="183" y="1750"/>
                  </a:lnTo>
                  <a:lnTo>
                    <a:pt x="184" y="1749"/>
                  </a:lnTo>
                  <a:lnTo>
                    <a:pt x="184" y="1749"/>
                  </a:lnTo>
                  <a:lnTo>
                    <a:pt x="183" y="1749"/>
                  </a:lnTo>
                  <a:lnTo>
                    <a:pt x="183" y="1747"/>
                  </a:lnTo>
                  <a:lnTo>
                    <a:pt x="181" y="1747"/>
                  </a:lnTo>
                  <a:lnTo>
                    <a:pt x="183" y="1747"/>
                  </a:lnTo>
                  <a:lnTo>
                    <a:pt x="184" y="1746"/>
                  </a:lnTo>
                  <a:lnTo>
                    <a:pt x="183" y="1744"/>
                  </a:lnTo>
                  <a:lnTo>
                    <a:pt x="183" y="1744"/>
                  </a:lnTo>
                  <a:lnTo>
                    <a:pt x="180" y="1744"/>
                  </a:lnTo>
                  <a:lnTo>
                    <a:pt x="181" y="1743"/>
                  </a:lnTo>
                  <a:lnTo>
                    <a:pt x="180" y="1743"/>
                  </a:lnTo>
                  <a:lnTo>
                    <a:pt x="178" y="1741"/>
                  </a:lnTo>
                  <a:lnTo>
                    <a:pt x="177" y="1740"/>
                  </a:lnTo>
                  <a:lnTo>
                    <a:pt x="178" y="1740"/>
                  </a:lnTo>
                  <a:lnTo>
                    <a:pt x="178" y="1740"/>
                  </a:lnTo>
                  <a:lnTo>
                    <a:pt x="181" y="1740"/>
                  </a:lnTo>
                  <a:lnTo>
                    <a:pt x="181" y="1740"/>
                  </a:lnTo>
                  <a:lnTo>
                    <a:pt x="180" y="1737"/>
                  </a:lnTo>
                  <a:lnTo>
                    <a:pt x="178" y="1735"/>
                  </a:lnTo>
                  <a:lnTo>
                    <a:pt x="178" y="1735"/>
                  </a:lnTo>
                  <a:lnTo>
                    <a:pt x="177" y="1735"/>
                  </a:lnTo>
                  <a:lnTo>
                    <a:pt x="177" y="1733"/>
                  </a:lnTo>
                  <a:lnTo>
                    <a:pt x="177" y="1732"/>
                  </a:lnTo>
                  <a:lnTo>
                    <a:pt x="174" y="1730"/>
                  </a:lnTo>
                  <a:lnTo>
                    <a:pt x="172" y="1729"/>
                  </a:lnTo>
                  <a:lnTo>
                    <a:pt x="171" y="1729"/>
                  </a:lnTo>
                  <a:lnTo>
                    <a:pt x="171" y="1729"/>
                  </a:lnTo>
                  <a:lnTo>
                    <a:pt x="169" y="1730"/>
                  </a:lnTo>
                  <a:lnTo>
                    <a:pt x="169" y="1733"/>
                  </a:lnTo>
                  <a:lnTo>
                    <a:pt x="174" y="1737"/>
                  </a:lnTo>
                  <a:lnTo>
                    <a:pt x="174" y="1738"/>
                  </a:lnTo>
                  <a:lnTo>
                    <a:pt x="172" y="1738"/>
                  </a:lnTo>
                  <a:close/>
                  <a:moveTo>
                    <a:pt x="163" y="1729"/>
                  </a:moveTo>
                  <a:lnTo>
                    <a:pt x="164" y="1727"/>
                  </a:lnTo>
                  <a:lnTo>
                    <a:pt x="166" y="1724"/>
                  </a:lnTo>
                  <a:lnTo>
                    <a:pt x="166" y="1723"/>
                  </a:lnTo>
                  <a:lnTo>
                    <a:pt x="168" y="1721"/>
                  </a:lnTo>
                  <a:lnTo>
                    <a:pt x="166" y="1720"/>
                  </a:lnTo>
                  <a:lnTo>
                    <a:pt x="163" y="1723"/>
                  </a:lnTo>
                  <a:lnTo>
                    <a:pt x="161" y="1727"/>
                  </a:lnTo>
                  <a:lnTo>
                    <a:pt x="161" y="1729"/>
                  </a:lnTo>
                  <a:lnTo>
                    <a:pt x="161" y="1730"/>
                  </a:lnTo>
                  <a:lnTo>
                    <a:pt x="163" y="1730"/>
                  </a:lnTo>
                  <a:lnTo>
                    <a:pt x="163" y="1729"/>
                  </a:lnTo>
                  <a:close/>
                  <a:moveTo>
                    <a:pt x="134" y="1727"/>
                  </a:moveTo>
                  <a:lnTo>
                    <a:pt x="134" y="1727"/>
                  </a:lnTo>
                  <a:lnTo>
                    <a:pt x="134" y="1723"/>
                  </a:lnTo>
                  <a:lnTo>
                    <a:pt x="132" y="1721"/>
                  </a:lnTo>
                  <a:lnTo>
                    <a:pt x="131" y="1718"/>
                  </a:lnTo>
                  <a:lnTo>
                    <a:pt x="129" y="1715"/>
                  </a:lnTo>
                  <a:lnTo>
                    <a:pt x="127" y="1715"/>
                  </a:lnTo>
                  <a:lnTo>
                    <a:pt x="127" y="1718"/>
                  </a:lnTo>
                  <a:lnTo>
                    <a:pt x="129" y="1720"/>
                  </a:lnTo>
                  <a:lnTo>
                    <a:pt x="129" y="1721"/>
                  </a:lnTo>
                  <a:lnTo>
                    <a:pt x="129" y="1724"/>
                  </a:lnTo>
                  <a:lnTo>
                    <a:pt x="131" y="1726"/>
                  </a:lnTo>
                  <a:lnTo>
                    <a:pt x="132" y="1726"/>
                  </a:lnTo>
                  <a:lnTo>
                    <a:pt x="134" y="1727"/>
                  </a:lnTo>
                  <a:close/>
                  <a:moveTo>
                    <a:pt x="144" y="1718"/>
                  </a:moveTo>
                  <a:lnTo>
                    <a:pt x="141" y="1718"/>
                  </a:lnTo>
                  <a:lnTo>
                    <a:pt x="140" y="1715"/>
                  </a:lnTo>
                  <a:lnTo>
                    <a:pt x="137" y="1715"/>
                  </a:lnTo>
                  <a:lnTo>
                    <a:pt x="135" y="1715"/>
                  </a:lnTo>
                  <a:lnTo>
                    <a:pt x="134" y="1718"/>
                  </a:lnTo>
                  <a:lnTo>
                    <a:pt x="135" y="1721"/>
                  </a:lnTo>
                  <a:lnTo>
                    <a:pt x="135" y="1721"/>
                  </a:lnTo>
                  <a:lnTo>
                    <a:pt x="135" y="1721"/>
                  </a:lnTo>
                  <a:lnTo>
                    <a:pt x="137" y="1720"/>
                  </a:lnTo>
                  <a:lnTo>
                    <a:pt x="138" y="1723"/>
                  </a:lnTo>
                  <a:lnTo>
                    <a:pt x="140" y="1726"/>
                  </a:lnTo>
                  <a:lnTo>
                    <a:pt x="141" y="1727"/>
                  </a:lnTo>
                  <a:lnTo>
                    <a:pt x="143" y="1729"/>
                  </a:lnTo>
                  <a:lnTo>
                    <a:pt x="143" y="1727"/>
                  </a:lnTo>
                  <a:lnTo>
                    <a:pt x="143" y="1726"/>
                  </a:lnTo>
                  <a:lnTo>
                    <a:pt x="143" y="1726"/>
                  </a:lnTo>
                  <a:lnTo>
                    <a:pt x="144" y="1726"/>
                  </a:lnTo>
                  <a:lnTo>
                    <a:pt x="144" y="1724"/>
                  </a:lnTo>
                  <a:lnTo>
                    <a:pt x="144" y="1723"/>
                  </a:lnTo>
                  <a:lnTo>
                    <a:pt x="144" y="1721"/>
                  </a:lnTo>
                  <a:lnTo>
                    <a:pt x="144" y="1721"/>
                  </a:lnTo>
                  <a:lnTo>
                    <a:pt x="144" y="1721"/>
                  </a:lnTo>
                  <a:lnTo>
                    <a:pt x="146" y="1721"/>
                  </a:lnTo>
                  <a:lnTo>
                    <a:pt x="146" y="1721"/>
                  </a:lnTo>
                  <a:lnTo>
                    <a:pt x="146" y="1721"/>
                  </a:lnTo>
                  <a:lnTo>
                    <a:pt x="144" y="1718"/>
                  </a:lnTo>
                  <a:close/>
                  <a:moveTo>
                    <a:pt x="129" y="1710"/>
                  </a:moveTo>
                  <a:lnTo>
                    <a:pt x="129" y="1710"/>
                  </a:lnTo>
                  <a:lnTo>
                    <a:pt x="131" y="1712"/>
                  </a:lnTo>
                  <a:lnTo>
                    <a:pt x="131" y="1713"/>
                  </a:lnTo>
                  <a:lnTo>
                    <a:pt x="131" y="1715"/>
                  </a:lnTo>
                  <a:lnTo>
                    <a:pt x="132" y="1713"/>
                  </a:lnTo>
                  <a:lnTo>
                    <a:pt x="132" y="1713"/>
                  </a:lnTo>
                  <a:lnTo>
                    <a:pt x="131" y="1713"/>
                  </a:lnTo>
                  <a:lnTo>
                    <a:pt x="131" y="1712"/>
                  </a:lnTo>
                  <a:lnTo>
                    <a:pt x="131" y="1709"/>
                  </a:lnTo>
                  <a:lnTo>
                    <a:pt x="132" y="1707"/>
                  </a:lnTo>
                  <a:lnTo>
                    <a:pt x="131" y="1706"/>
                  </a:lnTo>
                  <a:lnTo>
                    <a:pt x="131" y="1706"/>
                  </a:lnTo>
                  <a:lnTo>
                    <a:pt x="131" y="1704"/>
                  </a:lnTo>
                  <a:lnTo>
                    <a:pt x="131" y="1703"/>
                  </a:lnTo>
                  <a:lnTo>
                    <a:pt x="129" y="1703"/>
                  </a:lnTo>
                  <a:lnTo>
                    <a:pt x="129" y="1703"/>
                  </a:lnTo>
                  <a:lnTo>
                    <a:pt x="129" y="1704"/>
                  </a:lnTo>
                  <a:lnTo>
                    <a:pt x="127" y="1704"/>
                  </a:lnTo>
                  <a:lnTo>
                    <a:pt x="126" y="1706"/>
                  </a:lnTo>
                  <a:lnTo>
                    <a:pt x="126" y="1707"/>
                  </a:lnTo>
                  <a:lnTo>
                    <a:pt x="126" y="1709"/>
                  </a:lnTo>
                  <a:lnTo>
                    <a:pt x="127" y="1710"/>
                  </a:lnTo>
                  <a:lnTo>
                    <a:pt x="129" y="1710"/>
                  </a:lnTo>
                  <a:close/>
                  <a:moveTo>
                    <a:pt x="129" y="1673"/>
                  </a:moveTo>
                  <a:lnTo>
                    <a:pt x="131" y="1673"/>
                  </a:lnTo>
                  <a:lnTo>
                    <a:pt x="131" y="1670"/>
                  </a:lnTo>
                  <a:lnTo>
                    <a:pt x="129" y="1670"/>
                  </a:lnTo>
                  <a:lnTo>
                    <a:pt x="129" y="1672"/>
                  </a:lnTo>
                  <a:lnTo>
                    <a:pt x="129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7" y="1672"/>
                  </a:lnTo>
                  <a:lnTo>
                    <a:pt x="126" y="1670"/>
                  </a:lnTo>
                  <a:lnTo>
                    <a:pt x="126" y="1669"/>
                  </a:lnTo>
                  <a:lnTo>
                    <a:pt x="124" y="1669"/>
                  </a:lnTo>
                  <a:lnTo>
                    <a:pt x="124" y="1670"/>
                  </a:lnTo>
                  <a:lnTo>
                    <a:pt x="124" y="1670"/>
                  </a:lnTo>
                  <a:lnTo>
                    <a:pt x="124" y="1672"/>
                  </a:lnTo>
                  <a:lnTo>
                    <a:pt x="124" y="1672"/>
                  </a:lnTo>
                  <a:lnTo>
                    <a:pt x="126" y="1672"/>
                  </a:lnTo>
                  <a:lnTo>
                    <a:pt x="126" y="1672"/>
                  </a:lnTo>
                  <a:lnTo>
                    <a:pt x="129" y="1673"/>
                  </a:lnTo>
                  <a:lnTo>
                    <a:pt x="129" y="1673"/>
                  </a:lnTo>
                  <a:close/>
                  <a:moveTo>
                    <a:pt x="127" y="1664"/>
                  </a:moveTo>
                  <a:lnTo>
                    <a:pt x="124" y="1666"/>
                  </a:lnTo>
                  <a:lnTo>
                    <a:pt x="126" y="1666"/>
                  </a:lnTo>
                  <a:lnTo>
                    <a:pt x="127" y="1666"/>
                  </a:lnTo>
                  <a:lnTo>
                    <a:pt x="129" y="1666"/>
                  </a:lnTo>
                  <a:lnTo>
                    <a:pt x="131" y="1666"/>
                  </a:lnTo>
                  <a:lnTo>
                    <a:pt x="132" y="1667"/>
                  </a:lnTo>
                  <a:lnTo>
                    <a:pt x="134" y="1667"/>
                  </a:lnTo>
                  <a:lnTo>
                    <a:pt x="134" y="1666"/>
                  </a:lnTo>
                  <a:lnTo>
                    <a:pt x="135" y="1663"/>
                  </a:lnTo>
                  <a:lnTo>
                    <a:pt x="135" y="1661"/>
                  </a:lnTo>
                  <a:lnTo>
                    <a:pt x="137" y="1661"/>
                  </a:lnTo>
                  <a:lnTo>
                    <a:pt x="138" y="1660"/>
                  </a:lnTo>
                  <a:lnTo>
                    <a:pt x="135" y="1656"/>
                  </a:lnTo>
                  <a:lnTo>
                    <a:pt x="134" y="1655"/>
                  </a:lnTo>
                  <a:lnTo>
                    <a:pt x="132" y="1652"/>
                  </a:lnTo>
                  <a:lnTo>
                    <a:pt x="131" y="1652"/>
                  </a:lnTo>
                  <a:lnTo>
                    <a:pt x="131" y="1653"/>
                  </a:lnTo>
                  <a:lnTo>
                    <a:pt x="127" y="1656"/>
                  </a:lnTo>
                  <a:lnTo>
                    <a:pt x="131" y="1656"/>
                  </a:lnTo>
                  <a:lnTo>
                    <a:pt x="131" y="1656"/>
                  </a:lnTo>
                  <a:lnTo>
                    <a:pt x="134" y="1660"/>
                  </a:lnTo>
                  <a:lnTo>
                    <a:pt x="134" y="1661"/>
                  </a:lnTo>
                  <a:lnTo>
                    <a:pt x="132" y="1661"/>
                  </a:lnTo>
                  <a:lnTo>
                    <a:pt x="132" y="1663"/>
                  </a:lnTo>
                  <a:lnTo>
                    <a:pt x="132" y="1663"/>
                  </a:lnTo>
                  <a:lnTo>
                    <a:pt x="132" y="1663"/>
                  </a:lnTo>
                  <a:lnTo>
                    <a:pt x="132" y="1664"/>
                  </a:lnTo>
                  <a:lnTo>
                    <a:pt x="132" y="1664"/>
                  </a:lnTo>
                  <a:lnTo>
                    <a:pt x="131" y="1666"/>
                  </a:lnTo>
                  <a:lnTo>
                    <a:pt x="127" y="1664"/>
                  </a:lnTo>
                  <a:close/>
                  <a:moveTo>
                    <a:pt x="135" y="1618"/>
                  </a:moveTo>
                  <a:lnTo>
                    <a:pt x="135" y="1620"/>
                  </a:lnTo>
                  <a:lnTo>
                    <a:pt x="135" y="1620"/>
                  </a:lnTo>
                  <a:lnTo>
                    <a:pt x="137" y="1621"/>
                  </a:lnTo>
                  <a:lnTo>
                    <a:pt x="137" y="1621"/>
                  </a:lnTo>
                  <a:lnTo>
                    <a:pt x="135" y="1621"/>
                  </a:lnTo>
                  <a:lnTo>
                    <a:pt x="137" y="1621"/>
                  </a:lnTo>
                  <a:lnTo>
                    <a:pt x="138" y="1621"/>
                  </a:lnTo>
                  <a:lnTo>
                    <a:pt x="138" y="1621"/>
                  </a:lnTo>
                  <a:lnTo>
                    <a:pt x="141" y="1621"/>
                  </a:lnTo>
                  <a:lnTo>
                    <a:pt x="143" y="1623"/>
                  </a:lnTo>
                  <a:lnTo>
                    <a:pt x="141" y="1621"/>
                  </a:lnTo>
                  <a:lnTo>
                    <a:pt x="141" y="1621"/>
                  </a:lnTo>
                  <a:lnTo>
                    <a:pt x="140" y="1618"/>
                  </a:lnTo>
                  <a:lnTo>
                    <a:pt x="138" y="1618"/>
                  </a:lnTo>
                  <a:lnTo>
                    <a:pt x="140" y="1616"/>
                  </a:lnTo>
                  <a:lnTo>
                    <a:pt x="138" y="1615"/>
                  </a:lnTo>
                  <a:lnTo>
                    <a:pt x="137" y="1616"/>
                  </a:lnTo>
                  <a:lnTo>
                    <a:pt x="137" y="1616"/>
                  </a:lnTo>
                  <a:lnTo>
                    <a:pt x="137" y="1618"/>
                  </a:lnTo>
                  <a:lnTo>
                    <a:pt x="137" y="1618"/>
                  </a:lnTo>
                  <a:lnTo>
                    <a:pt x="135" y="1618"/>
                  </a:lnTo>
                  <a:close/>
                  <a:moveTo>
                    <a:pt x="146" y="1552"/>
                  </a:moveTo>
                  <a:lnTo>
                    <a:pt x="147" y="1553"/>
                  </a:lnTo>
                  <a:lnTo>
                    <a:pt x="147" y="1553"/>
                  </a:lnTo>
                  <a:lnTo>
                    <a:pt x="147" y="1552"/>
                  </a:lnTo>
                  <a:lnTo>
                    <a:pt x="149" y="1552"/>
                  </a:lnTo>
                  <a:lnTo>
                    <a:pt x="149" y="1552"/>
                  </a:lnTo>
                  <a:lnTo>
                    <a:pt x="149" y="1550"/>
                  </a:lnTo>
                  <a:lnTo>
                    <a:pt x="149" y="1550"/>
                  </a:lnTo>
                  <a:lnTo>
                    <a:pt x="149" y="1550"/>
                  </a:lnTo>
                  <a:lnTo>
                    <a:pt x="146" y="1549"/>
                  </a:lnTo>
                  <a:lnTo>
                    <a:pt x="144" y="1550"/>
                  </a:lnTo>
                  <a:lnTo>
                    <a:pt x="144" y="1550"/>
                  </a:lnTo>
                  <a:lnTo>
                    <a:pt x="144" y="1552"/>
                  </a:lnTo>
                  <a:lnTo>
                    <a:pt x="146" y="1552"/>
                  </a:lnTo>
                  <a:close/>
                  <a:moveTo>
                    <a:pt x="121" y="1338"/>
                  </a:moveTo>
                  <a:lnTo>
                    <a:pt x="121" y="1338"/>
                  </a:lnTo>
                  <a:lnTo>
                    <a:pt x="121" y="1336"/>
                  </a:lnTo>
                  <a:lnTo>
                    <a:pt x="120" y="1336"/>
                  </a:lnTo>
                  <a:lnTo>
                    <a:pt x="120" y="1338"/>
                  </a:lnTo>
                  <a:lnTo>
                    <a:pt x="121" y="1339"/>
                  </a:lnTo>
                  <a:lnTo>
                    <a:pt x="123" y="1341"/>
                  </a:lnTo>
                  <a:lnTo>
                    <a:pt x="124" y="1339"/>
                  </a:lnTo>
                  <a:lnTo>
                    <a:pt x="124" y="1339"/>
                  </a:lnTo>
                  <a:lnTo>
                    <a:pt x="126" y="1341"/>
                  </a:lnTo>
                  <a:lnTo>
                    <a:pt x="126" y="1341"/>
                  </a:lnTo>
                  <a:lnTo>
                    <a:pt x="126" y="1339"/>
                  </a:lnTo>
                  <a:lnTo>
                    <a:pt x="126" y="1338"/>
                  </a:lnTo>
                  <a:lnTo>
                    <a:pt x="126" y="1336"/>
                  </a:lnTo>
                  <a:lnTo>
                    <a:pt x="126" y="1333"/>
                  </a:lnTo>
                  <a:lnTo>
                    <a:pt x="124" y="1333"/>
                  </a:lnTo>
                  <a:lnTo>
                    <a:pt x="124" y="1332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1" y="1330"/>
                  </a:lnTo>
                  <a:lnTo>
                    <a:pt x="120" y="1330"/>
                  </a:lnTo>
                  <a:lnTo>
                    <a:pt x="120" y="1332"/>
                  </a:lnTo>
                  <a:lnTo>
                    <a:pt x="120" y="1333"/>
                  </a:lnTo>
                  <a:lnTo>
                    <a:pt x="120" y="1335"/>
                  </a:lnTo>
                  <a:lnTo>
                    <a:pt x="121" y="1335"/>
                  </a:lnTo>
                  <a:lnTo>
                    <a:pt x="121" y="1336"/>
                  </a:lnTo>
                  <a:lnTo>
                    <a:pt x="121" y="1336"/>
                  </a:lnTo>
                  <a:lnTo>
                    <a:pt x="121" y="1338"/>
                  </a:lnTo>
                  <a:close/>
                  <a:moveTo>
                    <a:pt x="121" y="1287"/>
                  </a:moveTo>
                  <a:lnTo>
                    <a:pt x="120" y="1287"/>
                  </a:lnTo>
                  <a:lnTo>
                    <a:pt x="117" y="1284"/>
                  </a:lnTo>
                  <a:lnTo>
                    <a:pt x="117" y="1285"/>
                  </a:lnTo>
                  <a:lnTo>
                    <a:pt x="117" y="1292"/>
                  </a:lnTo>
                  <a:lnTo>
                    <a:pt x="118" y="1293"/>
                  </a:lnTo>
                  <a:lnTo>
                    <a:pt x="118" y="1295"/>
                  </a:lnTo>
                  <a:lnTo>
                    <a:pt x="121" y="1296"/>
                  </a:lnTo>
                  <a:lnTo>
                    <a:pt x="121" y="1298"/>
                  </a:lnTo>
                  <a:lnTo>
                    <a:pt x="121" y="1299"/>
                  </a:lnTo>
                  <a:lnTo>
                    <a:pt x="120" y="1299"/>
                  </a:lnTo>
                  <a:lnTo>
                    <a:pt x="121" y="1302"/>
                  </a:lnTo>
                  <a:lnTo>
                    <a:pt x="123" y="1302"/>
                  </a:lnTo>
                  <a:lnTo>
                    <a:pt x="123" y="1301"/>
                  </a:lnTo>
                  <a:lnTo>
                    <a:pt x="124" y="1301"/>
                  </a:lnTo>
                  <a:lnTo>
                    <a:pt x="126" y="1301"/>
                  </a:lnTo>
                  <a:lnTo>
                    <a:pt x="126" y="1304"/>
                  </a:lnTo>
                  <a:lnTo>
                    <a:pt x="127" y="1305"/>
                  </a:lnTo>
                  <a:lnTo>
                    <a:pt x="127" y="1307"/>
                  </a:lnTo>
                  <a:lnTo>
                    <a:pt x="131" y="1307"/>
                  </a:lnTo>
                  <a:lnTo>
                    <a:pt x="132" y="1305"/>
                  </a:lnTo>
                  <a:lnTo>
                    <a:pt x="134" y="1304"/>
                  </a:lnTo>
                  <a:lnTo>
                    <a:pt x="132" y="1304"/>
                  </a:lnTo>
                  <a:lnTo>
                    <a:pt x="132" y="1304"/>
                  </a:lnTo>
                  <a:lnTo>
                    <a:pt x="132" y="1302"/>
                  </a:lnTo>
                  <a:lnTo>
                    <a:pt x="137" y="1298"/>
                  </a:lnTo>
                  <a:lnTo>
                    <a:pt x="138" y="1298"/>
                  </a:lnTo>
                  <a:lnTo>
                    <a:pt x="137" y="1299"/>
                  </a:lnTo>
                  <a:lnTo>
                    <a:pt x="138" y="1301"/>
                  </a:lnTo>
                  <a:lnTo>
                    <a:pt x="140" y="1299"/>
                  </a:lnTo>
                  <a:lnTo>
                    <a:pt x="141" y="1299"/>
                  </a:lnTo>
                  <a:lnTo>
                    <a:pt x="141" y="1298"/>
                  </a:lnTo>
                  <a:lnTo>
                    <a:pt x="141" y="1295"/>
                  </a:lnTo>
                  <a:lnTo>
                    <a:pt x="141" y="1293"/>
                  </a:lnTo>
                  <a:lnTo>
                    <a:pt x="141" y="1292"/>
                  </a:lnTo>
                  <a:lnTo>
                    <a:pt x="140" y="1288"/>
                  </a:lnTo>
                  <a:lnTo>
                    <a:pt x="137" y="1288"/>
                  </a:lnTo>
                  <a:lnTo>
                    <a:pt x="134" y="1290"/>
                  </a:lnTo>
                  <a:lnTo>
                    <a:pt x="132" y="1292"/>
                  </a:lnTo>
                  <a:lnTo>
                    <a:pt x="132" y="1293"/>
                  </a:lnTo>
                  <a:lnTo>
                    <a:pt x="132" y="1295"/>
                  </a:lnTo>
                  <a:lnTo>
                    <a:pt x="132" y="1295"/>
                  </a:lnTo>
                  <a:lnTo>
                    <a:pt x="132" y="1296"/>
                  </a:lnTo>
                  <a:lnTo>
                    <a:pt x="132" y="1296"/>
                  </a:lnTo>
                  <a:lnTo>
                    <a:pt x="131" y="1296"/>
                  </a:lnTo>
                  <a:lnTo>
                    <a:pt x="131" y="1296"/>
                  </a:lnTo>
                  <a:lnTo>
                    <a:pt x="129" y="1296"/>
                  </a:lnTo>
                  <a:lnTo>
                    <a:pt x="126" y="1295"/>
                  </a:lnTo>
                  <a:lnTo>
                    <a:pt x="124" y="1295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4" y="1292"/>
                  </a:lnTo>
                  <a:lnTo>
                    <a:pt x="126" y="1288"/>
                  </a:lnTo>
                  <a:lnTo>
                    <a:pt x="127" y="1287"/>
                  </a:lnTo>
                  <a:lnTo>
                    <a:pt x="127" y="1287"/>
                  </a:lnTo>
                  <a:lnTo>
                    <a:pt x="127" y="1285"/>
                  </a:lnTo>
                  <a:lnTo>
                    <a:pt x="124" y="1285"/>
                  </a:lnTo>
                  <a:lnTo>
                    <a:pt x="121" y="1287"/>
                  </a:lnTo>
                  <a:close/>
                  <a:moveTo>
                    <a:pt x="186" y="1285"/>
                  </a:moveTo>
                  <a:lnTo>
                    <a:pt x="186" y="1285"/>
                  </a:lnTo>
                  <a:lnTo>
                    <a:pt x="188" y="1285"/>
                  </a:lnTo>
                  <a:lnTo>
                    <a:pt x="189" y="1282"/>
                  </a:lnTo>
                  <a:lnTo>
                    <a:pt x="189" y="1282"/>
                  </a:lnTo>
                  <a:lnTo>
                    <a:pt x="188" y="1279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6" y="1278"/>
                  </a:lnTo>
                  <a:lnTo>
                    <a:pt x="184" y="1278"/>
                  </a:lnTo>
                  <a:lnTo>
                    <a:pt x="186" y="1279"/>
                  </a:lnTo>
                  <a:lnTo>
                    <a:pt x="186" y="1279"/>
                  </a:lnTo>
                  <a:lnTo>
                    <a:pt x="186" y="1281"/>
                  </a:lnTo>
                  <a:lnTo>
                    <a:pt x="186" y="1281"/>
                  </a:lnTo>
                  <a:lnTo>
                    <a:pt x="184" y="1279"/>
                  </a:lnTo>
                  <a:lnTo>
                    <a:pt x="184" y="1281"/>
                  </a:lnTo>
                  <a:lnTo>
                    <a:pt x="183" y="1282"/>
                  </a:lnTo>
                  <a:lnTo>
                    <a:pt x="183" y="1284"/>
                  </a:lnTo>
                  <a:lnTo>
                    <a:pt x="183" y="1285"/>
                  </a:lnTo>
                  <a:lnTo>
                    <a:pt x="183" y="1285"/>
                  </a:lnTo>
                  <a:lnTo>
                    <a:pt x="184" y="1285"/>
                  </a:lnTo>
                  <a:lnTo>
                    <a:pt x="184" y="1285"/>
                  </a:lnTo>
                  <a:lnTo>
                    <a:pt x="184" y="1285"/>
                  </a:lnTo>
                  <a:lnTo>
                    <a:pt x="184" y="1284"/>
                  </a:lnTo>
                  <a:lnTo>
                    <a:pt x="184" y="1284"/>
                  </a:lnTo>
                  <a:lnTo>
                    <a:pt x="184" y="1284"/>
                  </a:lnTo>
                  <a:lnTo>
                    <a:pt x="184" y="1285"/>
                  </a:lnTo>
                  <a:lnTo>
                    <a:pt x="186" y="1285"/>
                  </a:lnTo>
                  <a:close/>
                  <a:moveTo>
                    <a:pt x="197" y="1284"/>
                  </a:moveTo>
                  <a:lnTo>
                    <a:pt x="198" y="1287"/>
                  </a:lnTo>
                  <a:lnTo>
                    <a:pt x="200" y="1287"/>
                  </a:lnTo>
                  <a:lnTo>
                    <a:pt x="201" y="1285"/>
                  </a:lnTo>
                  <a:lnTo>
                    <a:pt x="201" y="1284"/>
                  </a:lnTo>
                  <a:lnTo>
                    <a:pt x="203" y="1282"/>
                  </a:lnTo>
                  <a:lnTo>
                    <a:pt x="203" y="1281"/>
                  </a:lnTo>
                  <a:lnTo>
                    <a:pt x="203" y="1279"/>
                  </a:lnTo>
                  <a:lnTo>
                    <a:pt x="201" y="1278"/>
                  </a:lnTo>
                  <a:lnTo>
                    <a:pt x="201" y="1278"/>
                  </a:lnTo>
                  <a:lnTo>
                    <a:pt x="201" y="1276"/>
                  </a:lnTo>
                  <a:lnTo>
                    <a:pt x="201" y="1276"/>
                  </a:lnTo>
                  <a:lnTo>
                    <a:pt x="201" y="1276"/>
                  </a:lnTo>
                  <a:lnTo>
                    <a:pt x="200" y="1276"/>
                  </a:lnTo>
                  <a:lnTo>
                    <a:pt x="200" y="1278"/>
                  </a:lnTo>
                  <a:lnTo>
                    <a:pt x="200" y="1279"/>
                  </a:lnTo>
                  <a:lnTo>
                    <a:pt x="200" y="1281"/>
                  </a:lnTo>
                  <a:lnTo>
                    <a:pt x="198" y="1281"/>
                  </a:lnTo>
                  <a:lnTo>
                    <a:pt x="198" y="1281"/>
                  </a:lnTo>
                  <a:lnTo>
                    <a:pt x="198" y="1279"/>
                  </a:lnTo>
                  <a:lnTo>
                    <a:pt x="198" y="1279"/>
                  </a:lnTo>
                  <a:lnTo>
                    <a:pt x="197" y="1279"/>
                  </a:lnTo>
                  <a:lnTo>
                    <a:pt x="197" y="1279"/>
                  </a:lnTo>
                  <a:lnTo>
                    <a:pt x="197" y="1281"/>
                  </a:lnTo>
                  <a:lnTo>
                    <a:pt x="197" y="1281"/>
                  </a:lnTo>
                  <a:lnTo>
                    <a:pt x="195" y="1279"/>
                  </a:lnTo>
                  <a:lnTo>
                    <a:pt x="195" y="1278"/>
                  </a:lnTo>
                  <a:lnTo>
                    <a:pt x="194" y="1278"/>
                  </a:lnTo>
                  <a:lnTo>
                    <a:pt x="194" y="1278"/>
                  </a:lnTo>
                  <a:lnTo>
                    <a:pt x="192" y="1278"/>
                  </a:lnTo>
                  <a:lnTo>
                    <a:pt x="192" y="1278"/>
                  </a:lnTo>
                  <a:lnTo>
                    <a:pt x="191" y="1279"/>
                  </a:lnTo>
                  <a:lnTo>
                    <a:pt x="189" y="1279"/>
                  </a:lnTo>
                  <a:lnTo>
                    <a:pt x="191" y="1281"/>
                  </a:lnTo>
                  <a:lnTo>
                    <a:pt x="191" y="1281"/>
                  </a:lnTo>
                  <a:lnTo>
                    <a:pt x="191" y="1282"/>
                  </a:lnTo>
                  <a:lnTo>
                    <a:pt x="191" y="1284"/>
                  </a:lnTo>
                  <a:lnTo>
                    <a:pt x="191" y="1284"/>
                  </a:lnTo>
                  <a:lnTo>
                    <a:pt x="189" y="1285"/>
                  </a:lnTo>
                  <a:lnTo>
                    <a:pt x="189" y="1285"/>
                  </a:lnTo>
                  <a:lnTo>
                    <a:pt x="191" y="1287"/>
                  </a:lnTo>
                  <a:lnTo>
                    <a:pt x="191" y="1287"/>
                  </a:lnTo>
                  <a:lnTo>
                    <a:pt x="191" y="1287"/>
                  </a:lnTo>
                  <a:lnTo>
                    <a:pt x="191" y="1288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5" y="1290"/>
                  </a:lnTo>
                  <a:lnTo>
                    <a:pt x="197" y="1290"/>
                  </a:lnTo>
                  <a:lnTo>
                    <a:pt x="197" y="1288"/>
                  </a:lnTo>
                  <a:lnTo>
                    <a:pt x="197" y="1287"/>
                  </a:lnTo>
                  <a:lnTo>
                    <a:pt x="195" y="1285"/>
                  </a:lnTo>
                  <a:lnTo>
                    <a:pt x="194" y="1285"/>
                  </a:lnTo>
                  <a:lnTo>
                    <a:pt x="194" y="1285"/>
                  </a:lnTo>
                  <a:lnTo>
                    <a:pt x="197" y="1284"/>
                  </a:lnTo>
                  <a:close/>
                  <a:moveTo>
                    <a:pt x="132" y="1282"/>
                  </a:moveTo>
                  <a:lnTo>
                    <a:pt x="132" y="1281"/>
                  </a:lnTo>
                  <a:lnTo>
                    <a:pt x="134" y="1281"/>
                  </a:lnTo>
                  <a:lnTo>
                    <a:pt x="134" y="1284"/>
                  </a:lnTo>
                  <a:lnTo>
                    <a:pt x="137" y="1279"/>
                  </a:lnTo>
                  <a:lnTo>
                    <a:pt x="138" y="1276"/>
                  </a:lnTo>
                  <a:lnTo>
                    <a:pt x="138" y="1275"/>
                  </a:lnTo>
                  <a:lnTo>
                    <a:pt x="135" y="1271"/>
                  </a:lnTo>
                  <a:lnTo>
                    <a:pt x="134" y="1273"/>
                  </a:lnTo>
                  <a:lnTo>
                    <a:pt x="131" y="1275"/>
                  </a:lnTo>
                  <a:lnTo>
                    <a:pt x="129" y="1276"/>
                  </a:lnTo>
                  <a:lnTo>
                    <a:pt x="127" y="1276"/>
                  </a:lnTo>
                  <a:lnTo>
                    <a:pt x="127" y="1276"/>
                  </a:lnTo>
                  <a:lnTo>
                    <a:pt x="127" y="1278"/>
                  </a:lnTo>
                  <a:lnTo>
                    <a:pt x="131" y="1282"/>
                  </a:lnTo>
                  <a:lnTo>
                    <a:pt x="132" y="1282"/>
                  </a:lnTo>
                  <a:close/>
                  <a:moveTo>
                    <a:pt x="191" y="1268"/>
                  </a:moveTo>
                  <a:lnTo>
                    <a:pt x="189" y="1268"/>
                  </a:lnTo>
                  <a:lnTo>
                    <a:pt x="189" y="1268"/>
                  </a:lnTo>
                  <a:lnTo>
                    <a:pt x="189" y="1267"/>
                  </a:lnTo>
                  <a:lnTo>
                    <a:pt x="188" y="1267"/>
                  </a:lnTo>
                  <a:lnTo>
                    <a:pt x="188" y="1268"/>
                  </a:lnTo>
                  <a:lnTo>
                    <a:pt x="186" y="1268"/>
                  </a:lnTo>
                  <a:lnTo>
                    <a:pt x="184" y="1268"/>
                  </a:lnTo>
                  <a:lnTo>
                    <a:pt x="183" y="1270"/>
                  </a:lnTo>
                  <a:lnTo>
                    <a:pt x="183" y="1270"/>
                  </a:lnTo>
                  <a:lnTo>
                    <a:pt x="183" y="1270"/>
                  </a:lnTo>
                  <a:lnTo>
                    <a:pt x="183" y="1271"/>
                  </a:lnTo>
                  <a:lnTo>
                    <a:pt x="181" y="1271"/>
                  </a:lnTo>
                  <a:lnTo>
                    <a:pt x="181" y="1273"/>
                  </a:lnTo>
                  <a:lnTo>
                    <a:pt x="181" y="1275"/>
                  </a:lnTo>
                  <a:lnTo>
                    <a:pt x="181" y="1275"/>
                  </a:lnTo>
                  <a:lnTo>
                    <a:pt x="181" y="1276"/>
                  </a:lnTo>
                  <a:lnTo>
                    <a:pt x="180" y="1276"/>
                  </a:lnTo>
                  <a:lnTo>
                    <a:pt x="181" y="1276"/>
                  </a:lnTo>
                  <a:lnTo>
                    <a:pt x="181" y="1276"/>
                  </a:lnTo>
                  <a:lnTo>
                    <a:pt x="181" y="1276"/>
                  </a:lnTo>
                  <a:lnTo>
                    <a:pt x="183" y="1275"/>
                  </a:lnTo>
                  <a:lnTo>
                    <a:pt x="184" y="1275"/>
                  </a:lnTo>
                  <a:lnTo>
                    <a:pt x="184" y="1273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9" y="1273"/>
                  </a:lnTo>
                  <a:lnTo>
                    <a:pt x="191" y="1271"/>
                  </a:lnTo>
                  <a:lnTo>
                    <a:pt x="191" y="1271"/>
                  </a:lnTo>
                  <a:lnTo>
                    <a:pt x="191" y="1270"/>
                  </a:lnTo>
                  <a:lnTo>
                    <a:pt x="191" y="1270"/>
                  </a:lnTo>
                  <a:lnTo>
                    <a:pt x="191" y="1270"/>
                  </a:lnTo>
                  <a:lnTo>
                    <a:pt x="192" y="1268"/>
                  </a:lnTo>
                  <a:lnTo>
                    <a:pt x="192" y="1268"/>
                  </a:lnTo>
                  <a:lnTo>
                    <a:pt x="191" y="1268"/>
                  </a:lnTo>
                  <a:lnTo>
                    <a:pt x="191" y="1268"/>
                  </a:lnTo>
                  <a:close/>
                  <a:moveTo>
                    <a:pt x="243" y="1208"/>
                  </a:moveTo>
                  <a:lnTo>
                    <a:pt x="245" y="1208"/>
                  </a:lnTo>
                  <a:lnTo>
                    <a:pt x="245" y="1207"/>
                  </a:lnTo>
                  <a:lnTo>
                    <a:pt x="245" y="1207"/>
                  </a:lnTo>
                  <a:lnTo>
                    <a:pt x="245" y="1205"/>
                  </a:lnTo>
                  <a:lnTo>
                    <a:pt x="246" y="1205"/>
                  </a:lnTo>
                  <a:lnTo>
                    <a:pt x="246" y="1204"/>
                  </a:lnTo>
                  <a:lnTo>
                    <a:pt x="246" y="1204"/>
                  </a:lnTo>
                  <a:lnTo>
                    <a:pt x="246" y="1204"/>
                  </a:lnTo>
                  <a:lnTo>
                    <a:pt x="246" y="1202"/>
                  </a:lnTo>
                  <a:lnTo>
                    <a:pt x="246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5" y="1202"/>
                  </a:lnTo>
                  <a:lnTo>
                    <a:pt x="243" y="1201"/>
                  </a:lnTo>
                  <a:lnTo>
                    <a:pt x="243" y="1201"/>
                  </a:lnTo>
                  <a:lnTo>
                    <a:pt x="241" y="1201"/>
                  </a:lnTo>
                  <a:lnTo>
                    <a:pt x="240" y="1201"/>
                  </a:lnTo>
                  <a:lnTo>
                    <a:pt x="238" y="1202"/>
                  </a:lnTo>
                  <a:lnTo>
                    <a:pt x="237" y="1204"/>
                  </a:lnTo>
                  <a:lnTo>
                    <a:pt x="237" y="1204"/>
                  </a:lnTo>
                  <a:lnTo>
                    <a:pt x="235" y="1205"/>
                  </a:lnTo>
                  <a:lnTo>
                    <a:pt x="235" y="1205"/>
                  </a:lnTo>
                  <a:lnTo>
                    <a:pt x="235" y="1207"/>
                  </a:lnTo>
                  <a:lnTo>
                    <a:pt x="235" y="1207"/>
                  </a:lnTo>
                  <a:lnTo>
                    <a:pt x="237" y="1210"/>
                  </a:lnTo>
                  <a:lnTo>
                    <a:pt x="238" y="1211"/>
                  </a:lnTo>
                  <a:lnTo>
                    <a:pt x="240" y="1211"/>
                  </a:lnTo>
                  <a:lnTo>
                    <a:pt x="241" y="1211"/>
                  </a:lnTo>
                  <a:lnTo>
                    <a:pt x="241" y="1211"/>
                  </a:lnTo>
                  <a:lnTo>
                    <a:pt x="243" y="1211"/>
                  </a:lnTo>
                  <a:lnTo>
                    <a:pt x="243" y="1210"/>
                  </a:lnTo>
                  <a:lnTo>
                    <a:pt x="243" y="1208"/>
                  </a:lnTo>
                  <a:lnTo>
                    <a:pt x="243" y="1208"/>
                  </a:lnTo>
                  <a:lnTo>
                    <a:pt x="243" y="1208"/>
                  </a:lnTo>
                  <a:close/>
                  <a:moveTo>
                    <a:pt x="399" y="977"/>
                  </a:moveTo>
                  <a:lnTo>
                    <a:pt x="395" y="976"/>
                  </a:lnTo>
                  <a:lnTo>
                    <a:pt x="389" y="977"/>
                  </a:lnTo>
                  <a:lnTo>
                    <a:pt x="382" y="977"/>
                  </a:lnTo>
                  <a:lnTo>
                    <a:pt x="377" y="984"/>
                  </a:lnTo>
                  <a:lnTo>
                    <a:pt x="375" y="985"/>
                  </a:lnTo>
                  <a:lnTo>
                    <a:pt x="375" y="988"/>
                  </a:lnTo>
                  <a:lnTo>
                    <a:pt x="377" y="991"/>
                  </a:lnTo>
                  <a:lnTo>
                    <a:pt x="379" y="993"/>
                  </a:lnTo>
                  <a:lnTo>
                    <a:pt x="380" y="997"/>
                  </a:lnTo>
                  <a:lnTo>
                    <a:pt x="383" y="997"/>
                  </a:lnTo>
                  <a:lnTo>
                    <a:pt x="385" y="993"/>
                  </a:lnTo>
                  <a:lnTo>
                    <a:pt x="385" y="994"/>
                  </a:lnTo>
                  <a:lnTo>
                    <a:pt x="386" y="996"/>
                  </a:lnTo>
                  <a:lnTo>
                    <a:pt x="386" y="997"/>
                  </a:lnTo>
                  <a:lnTo>
                    <a:pt x="386" y="999"/>
                  </a:lnTo>
                  <a:lnTo>
                    <a:pt x="386" y="1000"/>
                  </a:lnTo>
                  <a:lnTo>
                    <a:pt x="388" y="1000"/>
                  </a:lnTo>
                  <a:lnTo>
                    <a:pt x="389" y="1000"/>
                  </a:lnTo>
                  <a:lnTo>
                    <a:pt x="389" y="1000"/>
                  </a:lnTo>
                  <a:lnTo>
                    <a:pt x="391" y="999"/>
                  </a:lnTo>
                  <a:lnTo>
                    <a:pt x="391" y="997"/>
                  </a:lnTo>
                  <a:lnTo>
                    <a:pt x="392" y="997"/>
                  </a:lnTo>
                  <a:lnTo>
                    <a:pt x="394" y="997"/>
                  </a:lnTo>
                  <a:lnTo>
                    <a:pt x="394" y="997"/>
                  </a:lnTo>
                  <a:lnTo>
                    <a:pt x="395" y="997"/>
                  </a:lnTo>
                  <a:lnTo>
                    <a:pt x="394" y="996"/>
                  </a:lnTo>
                  <a:lnTo>
                    <a:pt x="389" y="996"/>
                  </a:lnTo>
                  <a:lnTo>
                    <a:pt x="388" y="991"/>
                  </a:lnTo>
                  <a:lnTo>
                    <a:pt x="392" y="988"/>
                  </a:lnTo>
                  <a:lnTo>
                    <a:pt x="394" y="985"/>
                  </a:lnTo>
                  <a:lnTo>
                    <a:pt x="399" y="984"/>
                  </a:lnTo>
                  <a:lnTo>
                    <a:pt x="405" y="987"/>
                  </a:lnTo>
                  <a:lnTo>
                    <a:pt x="409" y="987"/>
                  </a:lnTo>
                  <a:lnTo>
                    <a:pt x="412" y="985"/>
                  </a:lnTo>
                  <a:lnTo>
                    <a:pt x="411" y="982"/>
                  </a:lnTo>
                  <a:lnTo>
                    <a:pt x="408" y="982"/>
                  </a:lnTo>
                  <a:lnTo>
                    <a:pt x="403" y="982"/>
                  </a:lnTo>
                  <a:lnTo>
                    <a:pt x="402" y="982"/>
                  </a:lnTo>
                  <a:lnTo>
                    <a:pt x="399" y="982"/>
                  </a:lnTo>
                  <a:lnTo>
                    <a:pt x="399" y="980"/>
                  </a:lnTo>
                  <a:lnTo>
                    <a:pt x="400" y="979"/>
                  </a:lnTo>
                  <a:lnTo>
                    <a:pt x="399" y="977"/>
                  </a:lnTo>
                  <a:close/>
                  <a:moveTo>
                    <a:pt x="894" y="1344"/>
                  </a:moveTo>
                  <a:lnTo>
                    <a:pt x="893" y="1341"/>
                  </a:lnTo>
                  <a:lnTo>
                    <a:pt x="893" y="1336"/>
                  </a:lnTo>
                  <a:lnTo>
                    <a:pt x="890" y="1333"/>
                  </a:lnTo>
                  <a:lnTo>
                    <a:pt x="890" y="1333"/>
                  </a:lnTo>
                  <a:lnTo>
                    <a:pt x="888" y="1332"/>
                  </a:lnTo>
                  <a:lnTo>
                    <a:pt x="882" y="1324"/>
                  </a:lnTo>
                  <a:lnTo>
                    <a:pt x="881" y="1321"/>
                  </a:lnTo>
                  <a:lnTo>
                    <a:pt x="876" y="1318"/>
                  </a:lnTo>
                  <a:lnTo>
                    <a:pt x="874" y="1315"/>
                  </a:lnTo>
                  <a:lnTo>
                    <a:pt x="873" y="1313"/>
                  </a:lnTo>
                  <a:lnTo>
                    <a:pt x="873" y="1308"/>
                  </a:lnTo>
                  <a:lnTo>
                    <a:pt x="871" y="1305"/>
                  </a:lnTo>
                  <a:lnTo>
                    <a:pt x="871" y="1302"/>
                  </a:lnTo>
                  <a:lnTo>
                    <a:pt x="871" y="1299"/>
                  </a:lnTo>
                  <a:lnTo>
                    <a:pt x="870" y="1296"/>
                  </a:lnTo>
                  <a:lnTo>
                    <a:pt x="868" y="1295"/>
                  </a:lnTo>
                  <a:lnTo>
                    <a:pt x="853" y="1284"/>
                  </a:lnTo>
                  <a:lnTo>
                    <a:pt x="841" y="1270"/>
                  </a:lnTo>
                  <a:lnTo>
                    <a:pt x="816" y="1255"/>
                  </a:lnTo>
                  <a:lnTo>
                    <a:pt x="814" y="1253"/>
                  </a:lnTo>
                  <a:lnTo>
                    <a:pt x="813" y="1250"/>
                  </a:lnTo>
                  <a:lnTo>
                    <a:pt x="808" y="1244"/>
                  </a:lnTo>
                  <a:lnTo>
                    <a:pt x="797" y="1235"/>
                  </a:lnTo>
                  <a:lnTo>
                    <a:pt x="780" y="1213"/>
                  </a:lnTo>
                  <a:lnTo>
                    <a:pt x="779" y="1208"/>
                  </a:lnTo>
                  <a:lnTo>
                    <a:pt x="780" y="1207"/>
                  </a:lnTo>
                  <a:lnTo>
                    <a:pt x="784" y="1205"/>
                  </a:lnTo>
                  <a:lnTo>
                    <a:pt x="794" y="1199"/>
                  </a:lnTo>
                  <a:lnTo>
                    <a:pt x="801" y="1193"/>
                  </a:lnTo>
                  <a:lnTo>
                    <a:pt x="805" y="1182"/>
                  </a:lnTo>
                  <a:lnTo>
                    <a:pt x="817" y="1167"/>
                  </a:lnTo>
                  <a:lnTo>
                    <a:pt x="817" y="1167"/>
                  </a:lnTo>
                  <a:lnTo>
                    <a:pt x="821" y="1161"/>
                  </a:lnTo>
                  <a:lnTo>
                    <a:pt x="824" y="1156"/>
                  </a:lnTo>
                  <a:lnTo>
                    <a:pt x="824" y="1150"/>
                  </a:lnTo>
                  <a:lnTo>
                    <a:pt x="822" y="1144"/>
                  </a:lnTo>
                  <a:lnTo>
                    <a:pt x="821" y="1141"/>
                  </a:lnTo>
                  <a:lnTo>
                    <a:pt x="819" y="1138"/>
                  </a:lnTo>
                  <a:lnTo>
                    <a:pt x="819" y="1134"/>
                  </a:lnTo>
                  <a:lnTo>
                    <a:pt x="821" y="1131"/>
                  </a:lnTo>
                  <a:lnTo>
                    <a:pt x="822" y="1127"/>
                  </a:lnTo>
                  <a:lnTo>
                    <a:pt x="821" y="1125"/>
                  </a:lnTo>
                  <a:lnTo>
                    <a:pt x="817" y="1124"/>
                  </a:lnTo>
                  <a:lnTo>
                    <a:pt x="813" y="1122"/>
                  </a:lnTo>
                  <a:lnTo>
                    <a:pt x="811" y="1119"/>
                  </a:lnTo>
                  <a:lnTo>
                    <a:pt x="810" y="1116"/>
                  </a:lnTo>
                  <a:lnTo>
                    <a:pt x="808" y="1113"/>
                  </a:lnTo>
                  <a:lnTo>
                    <a:pt x="804" y="1111"/>
                  </a:lnTo>
                  <a:lnTo>
                    <a:pt x="793" y="1107"/>
                  </a:lnTo>
                  <a:lnTo>
                    <a:pt x="787" y="1104"/>
                  </a:lnTo>
                  <a:lnTo>
                    <a:pt x="784" y="1101"/>
                  </a:lnTo>
                  <a:lnTo>
                    <a:pt x="782" y="1097"/>
                  </a:lnTo>
                  <a:lnTo>
                    <a:pt x="784" y="1093"/>
                  </a:lnTo>
                  <a:lnTo>
                    <a:pt x="785" y="1088"/>
                  </a:lnTo>
                  <a:lnTo>
                    <a:pt x="785" y="1084"/>
                  </a:lnTo>
                  <a:lnTo>
                    <a:pt x="782" y="1081"/>
                  </a:lnTo>
                  <a:lnTo>
                    <a:pt x="779" y="1079"/>
                  </a:lnTo>
                  <a:lnTo>
                    <a:pt x="779" y="1077"/>
                  </a:lnTo>
                  <a:lnTo>
                    <a:pt x="779" y="1077"/>
                  </a:lnTo>
                  <a:lnTo>
                    <a:pt x="779" y="1076"/>
                  </a:lnTo>
                  <a:lnTo>
                    <a:pt x="779" y="1076"/>
                  </a:lnTo>
                  <a:lnTo>
                    <a:pt x="779" y="1076"/>
                  </a:lnTo>
                  <a:lnTo>
                    <a:pt x="779" y="1074"/>
                  </a:lnTo>
                  <a:lnTo>
                    <a:pt x="779" y="1074"/>
                  </a:lnTo>
                  <a:lnTo>
                    <a:pt x="777" y="1073"/>
                  </a:lnTo>
                  <a:lnTo>
                    <a:pt x="777" y="1071"/>
                  </a:lnTo>
                  <a:lnTo>
                    <a:pt x="777" y="1068"/>
                  </a:lnTo>
                  <a:lnTo>
                    <a:pt x="777" y="1068"/>
                  </a:lnTo>
                  <a:lnTo>
                    <a:pt x="777" y="1068"/>
                  </a:lnTo>
                  <a:lnTo>
                    <a:pt x="777" y="1067"/>
                  </a:lnTo>
                  <a:lnTo>
                    <a:pt x="777" y="1067"/>
                  </a:lnTo>
                  <a:lnTo>
                    <a:pt x="777" y="1065"/>
                  </a:lnTo>
                  <a:lnTo>
                    <a:pt x="790" y="1059"/>
                  </a:lnTo>
                  <a:lnTo>
                    <a:pt x="791" y="1057"/>
                  </a:lnTo>
                  <a:lnTo>
                    <a:pt x="793" y="1054"/>
                  </a:lnTo>
                  <a:lnTo>
                    <a:pt x="794" y="1051"/>
                  </a:lnTo>
                  <a:lnTo>
                    <a:pt x="793" y="1048"/>
                  </a:lnTo>
                  <a:lnTo>
                    <a:pt x="790" y="1045"/>
                  </a:lnTo>
                  <a:lnTo>
                    <a:pt x="790" y="1044"/>
                  </a:lnTo>
                  <a:lnTo>
                    <a:pt x="788" y="1041"/>
                  </a:lnTo>
                  <a:lnTo>
                    <a:pt x="788" y="1041"/>
                  </a:lnTo>
                  <a:lnTo>
                    <a:pt x="788" y="1039"/>
                  </a:lnTo>
                  <a:lnTo>
                    <a:pt x="788" y="1037"/>
                  </a:lnTo>
                  <a:lnTo>
                    <a:pt x="788" y="1036"/>
                  </a:lnTo>
                  <a:lnTo>
                    <a:pt x="790" y="1034"/>
                  </a:lnTo>
                  <a:lnTo>
                    <a:pt x="788" y="1033"/>
                  </a:lnTo>
                  <a:lnTo>
                    <a:pt x="788" y="1031"/>
                  </a:lnTo>
                  <a:lnTo>
                    <a:pt x="785" y="1030"/>
                  </a:lnTo>
                  <a:lnTo>
                    <a:pt x="771" y="1030"/>
                  </a:lnTo>
                  <a:lnTo>
                    <a:pt x="764" y="1028"/>
                  </a:lnTo>
                  <a:lnTo>
                    <a:pt x="757" y="1020"/>
                  </a:lnTo>
                  <a:lnTo>
                    <a:pt x="753" y="1008"/>
                  </a:lnTo>
                  <a:lnTo>
                    <a:pt x="750" y="994"/>
                  </a:lnTo>
                  <a:lnTo>
                    <a:pt x="750" y="987"/>
                  </a:lnTo>
                  <a:lnTo>
                    <a:pt x="753" y="980"/>
                  </a:lnTo>
                  <a:lnTo>
                    <a:pt x="756" y="979"/>
                  </a:lnTo>
                  <a:lnTo>
                    <a:pt x="767" y="976"/>
                  </a:lnTo>
                  <a:lnTo>
                    <a:pt x="768" y="973"/>
                  </a:lnTo>
                  <a:lnTo>
                    <a:pt x="768" y="971"/>
                  </a:lnTo>
                  <a:lnTo>
                    <a:pt x="768" y="970"/>
                  </a:lnTo>
                  <a:lnTo>
                    <a:pt x="767" y="970"/>
                  </a:lnTo>
                  <a:lnTo>
                    <a:pt x="765" y="968"/>
                  </a:lnTo>
                  <a:lnTo>
                    <a:pt x="767" y="967"/>
                  </a:lnTo>
                  <a:lnTo>
                    <a:pt x="767" y="965"/>
                  </a:lnTo>
                  <a:lnTo>
                    <a:pt x="767" y="964"/>
                  </a:lnTo>
                  <a:lnTo>
                    <a:pt x="768" y="962"/>
                  </a:lnTo>
                  <a:lnTo>
                    <a:pt x="768" y="956"/>
                  </a:lnTo>
                  <a:lnTo>
                    <a:pt x="762" y="954"/>
                  </a:lnTo>
                  <a:lnTo>
                    <a:pt x="753" y="954"/>
                  </a:lnTo>
                  <a:lnTo>
                    <a:pt x="748" y="951"/>
                  </a:lnTo>
                  <a:lnTo>
                    <a:pt x="751" y="945"/>
                  </a:lnTo>
                  <a:lnTo>
                    <a:pt x="759" y="934"/>
                  </a:lnTo>
                  <a:lnTo>
                    <a:pt x="760" y="928"/>
                  </a:lnTo>
                  <a:lnTo>
                    <a:pt x="759" y="911"/>
                  </a:lnTo>
                  <a:lnTo>
                    <a:pt x="760" y="905"/>
                  </a:lnTo>
                  <a:lnTo>
                    <a:pt x="760" y="905"/>
                  </a:lnTo>
                  <a:lnTo>
                    <a:pt x="760" y="903"/>
                  </a:lnTo>
                  <a:lnTo>
                    <a:pt x="760" y="902"/>
                  </a:lnTo>
                  <a:lnTo>
                    <a:pt x="767" y="894"/>
                  </a:lnTo>
                  <a:lnTo>
                    <a:pt x="768" y="891"/>
                  </a:lnTo>
                  <a:lnTo>
                    <a:pt x="765" y="888"/>
                  </a:lnTo>
                  <a:lnTo>
                    <a:pt x="760" y="883"/>
                  </a:lnTo>
                  <a:lnTo>
                    <a:pt x="757" y="880"/>
                  </a:lnTo>
                  <a:lnTo>
                    <a:pt x="762" y="877"/>
                  </a:lnTo>
                  <a:lnTo>
                    <a:pt x="780" y="871"/>
                  </a:lnTo>
                  <a:lnTo>
                    <a:pt x="785" y="874"/>
                  </a:lnTo>
                  <a:lnTo>
                    <a:pt x="787" y="876"/>
                  </a:lnTo>
                  <a:lnTo>
                    <a:pt x="788" y="874"/>
                  </a:lnTo>
                  <a:lnTo>
                    <a:pt x="788" y="870"/>
                  </a:lnTo>
                  <a:lnTo>
                    <a:pt x="788" y="865"/>
                  </a:lnTo>
                  <a:lnTo>
                    <a:pt x="787" y="848"/>
                  </a:lnTo>
                  <a:lnTo>
                    <a:pt x="785" y="845"/>
                  </a:lnTo>
                  <a:lnTo>
                    <a:pt x="784" y="837"/>
                  </a:lnTo>
                  <a:lnTo>
                    <a:pt x="780" y="828"/>
                  </a:lnTo>
                  <a:lnTo>
                    <a:pt x="780" y="825"/>
                  </a:lnTo>
                  <a:lnTo>
                    <a:pt x="777" y="817"/>
                  </a:lnTo>
                  <a:lnTo>
                    <a:pt x="776" y="814"/>
                  </a:lnTo>
                  <a:lnTo>
                    <a:pt x="774" y="800"/>
                  </a:lnTo>
                  <a:lnTo>
                    <a:pt x="773" y="793"/>
                  </a:lnTo>
                  <a:lnTo>
                    <a:pt x="771" y="788"/>
                  </a:lnTo>
                  <a:lnTo>
                    <a:pt x="765" y="780"/>
                  </a:lnTo>
                  <a:lnTo>
                    <a:pt x="754" y="760"/>
                  </a:lnTo>
                  <a:lnTo>
                    <a:pt x="750" y="749"/>
                  </a:lnTo>
                  <a:lnTo>
                    <a:pt x="748" y="743"/>
                  </a:lnTo>
                  <a:lnTo>
                    <a:pt x="747" y="737"/>
                  </a:lnTo>
                  <a:lnTo>
                    <a:pt x="747" y="733"/>
                  </a:lnTo>
                  <a:lnTo>
                    <a:pt x="745" y="725"/>
                  </a:lnTo>
                  <a:lnTo>
                    <a:pt x="745" y="722"/>
                  </a:lnTo>
                  <a:lnTo>
                    <a:pt x="736" y="708"/>
                  </a:lnTo>
                  <a:lnTo>
                    <a:pt x="736" y="706"/>
                  </a:lnTo>
                  <a:lnTo>
                    <a:pt x="736" y="705"/>
                  </a:lnTo>
                  <a:lnTo>
                    <a:pt x="736" y="703"/>
                  </a:lnTo>
                  <a:lnTo>
                    <a:pt x="734" y="700"/>
                  </a:lnTo>
                  <a:lnTo>
                    <a:pt x="733" y="697"/>
                  </a:lnTo>
                  <a:lnTo>
                    <a:pt x="733" y="697"/>
                  </a:lnTo>
                  <a:lnTo>
                    <a:pt x="730" y="686"/>
                  </a:lnTo>
                  <a:lnTo>
                    <a:pt x="713" y="657"/>
                  </a:lnTo>
                  <a:lnTo>
                    <a:pt x="710" y="643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37" y="582"/>
                  </a:lnTo>
                  <a:lnTo>
                    <a:pt x="742" y="577"/>
                  </a:lnTo>
                  <a:lnTo>
                    <a:pt x="742" y="575"/>
                  </a:lnTo>
                  <a:lnTo>
                    <a:pt x="742" y="574"/>
                  </a:lnTo>
                  <a:lnTo>
                    <a:pt x="744" y="571"/>
                  </a:lnTo>
                  <a:lnTo>
                    <a:pt x="745" y="569"/>
                  </a:lnTo>
                  <a:lnTo>
                    <a:pt x="774" y="529"/>
                  </a:lnTo>
                  <a:lnTo>
                    <a:pt x="776" y="525"/>
                  </a:lnTo>
                  <a:lnTo>
                    <a:pt x="777" y="517"/>
                  </a:lnTo>
                  <a:lnTo>
                    <a:pt x="777" y="514"/>
                  </a:lnTo>
                  <a:lnTo>
                    <a:pt x="777" y="502"/>
                  </a:lnTo>
                  <a:lnTo>
                    <a:pt x="779" y="498"/>
                  </a:lnTo>
                  <a:lnTo>
                    <a:pt x="779" y="497"/>
                  </a:lnTo>
                  <a:lnTo>
                    <a:pt x="780" y="494"/>
                  </a:lnTo>
                  <a:lnTo>
                    <a:pt x="759" y="472"/>
                  </a:lnTo>
                  <a:lnTo>
                    <a:pt x="754" y="466"/>
                  </a:lnTo>
                  <a:lnTo>
                    <a:pt x="742" y="440"/>
                  </a:lnTo>
                  <a:lnTo>
                    <a:pt x="739" y="434"/>
                  </a:lnTo>
                  <a:lnTo>
                    <a:pt x="739" y="434"/>
                  </a:lnTo>
                  <a:lnTo>
                    <a:pt x="733" y="421"/>
                  </a:lnTo>
                  <a:lnTo>
                    <a:pt x="730" y="417"/>
                  </a:lnTo>
                  <a:lnTo>
                    <a:pt x="728" y="415"/>
                  </a:lnTo>
                  <a:lnTo>
                    <a:pt x="707" y="406"/>
                  </a:lnTo>
                  <a:lnTo>
                    <a:pt x="685" y="397"/>
                  </a:lnTo>
                  <a:lnTo>
                    <a:pt x="682" y="395"/>
                  </a:lnTo>
                  <a:lnTo>
                    <a:pt x="680" y="391"/>
                  </a:lnTo>
                  <a:lnTo>
                    <a:pt x="667" y="340"/>
                  </a:lnTo>
                  <a:lnTo>
                    <a:pt x="665" y="334"/>
                  </a:lnTo>
                  <a:lnTo>
                    <a:pt x="665" y="329"/>
                  </a:lnTo>
                  <a:lnTo>
                    <a:pt x="665" y="326"/>
                  </a:lnTo>
                  <a:lnTo>
                    <a:pt x="665" y="323"/>
                  </a:lnTo>
                  <a:lnTo>
                    <a:pt x="685" y="284"/>
                  </a:lnTo>
                  <a:lnTo>
                    <a:pt x="687" y="278"/>
                  </a:lnTo>
                  <a:lnTo>
                    <a:pt x="691" y="263"/>
                  </a:lnTo>
                  <a:lnTo>
                    <a:pt x="685" y="257"/>
                  </a:lnTo>
                  <a:lnTo>
                    <a:pt x="679" y="255"/>
                  </a:lnTo>
                  <a:lnTo>
                    <a:pt x="665" y="257"/>
                  </a:lnTo>
                  <a:lnTo>
                    <a:pt x="663" y="255"/>
                  </a:lnTo>
                  <a:lnTo>
                    <a:pt x="662" y="254"/>
                  </a:lnTo>
                  <a:lnTo>
                    <a:pt x="662" y="251"/>
                  </a:lnTo>
                  <a:lnTo>
                    <a:pt x="665" y="249"/>
                  </a:lnTo>
                  <a:lnTo>
                    <a:pt x="685" y="235"/>
                  </a:lnTo>
                  <a:lnTo>
                    <a:pt x="693" y="232"/>
                  </a:lnTo>
                  <a:lnTo>
                    <a:pt x="702" y="223"/>
                  </a:lnTo>
                  <a:lnTo>
                    <a:pt x="694" y="212"/>
                  </a:lnTo>
                  <a:lnTo>
                    <a:pt x="693" y="210"/>
                  </a:lnTo>
                  <a:lnTo>
                    <a:pt x="693" y="207"/>
                  </a:lnTo>
                  <a:lnTo>
                    <a:pt x="694" y="192"/>
                  </a:lnTo>
                  <a:lnTo>
                    <a:pt x="694" y="186"/>
                  </a:lnTo>
                  <a:lnTo>
                    <a:pt x="696" y="184"/>
                  </a:lnTo>
                  <a:lnTo>
                    <a:pt x="722" y="150"/>
                  </a:lnTo>
                  <a:lnTo>
                    <a:pt x="731" y="132"/>
                  </a:lnTo>
                  <a:lnTo>
                    <a:pt x="720" y="106"/>
                  </a:lnTo>
                  <a:lnTo>
                    <a:pt x="717" y="89"/>
                  </a:lnTo>
                  <a:lnTo>
                    <a:pt x="716" y="87"/>
                  </a:lnTo>
                  <a:lnTo>
                    <a:pt x="691" y="75"/>
                  </a:lnTo>
                  <a:lnTo>
                    <a:pt x="667" y="63"/>
                  </a:lnTo>
                  <a:lnTo>
                    <a:pt x="663" y="61"/>
                  </a:lnTo>
                  <a:lnTo>
                    <a:pt x="662" y="60"/>
                  </a:lnTo>
                  <a:lnTo>
                    <a:pt x="659" y="55"/>
                  </a:lnTo>
                  <a:lnTo>
                    <a:pt x="659" y="47"/>
                  </a:lnTo>
                  <a:lnTo>
                    <a:pt x="645" y="41"/>
                  </a:lnTo>
                  <a:lnTo>
                    <a:pt x="643" y="40"/>
                  </a:lnTo>
                  <a:lnTo>
                    <a:pt x="630" y="15"/>
                  </a:lnTo>
                  <a:lnTo>
                    <a:pt x="626" y="6"/>
                  </a:lnTo>
                  <a:lnTo>
                    <a:pt x="623" y="1"/>
                  </a:lnTo>
                  <a:lnTo>
                    <a:pt x="622" y="0"/>
                  </a:lnTo>
                  <a:lnTo>
                    <a:pt x="616" y="4"/>
                  </a:lnTo>
                  <a:lnTo>
                    <a:pt x="606" y="1"/>
                  </a:lnTo>
                  <a:lnTo>
                    <a:pt x="602" y="3"/>
                  </a:lnTo>
                  <a:lnTo>
                    <a:pt x="599" y="7"/>
                  </a:lnTo>
                  <a:lnTo>
                    <a:pt x="599" y="12"/>
                  </a:lnTo>
                  <a:lnTo>
                    <a:pt x="590" y="16"/>
                  </a:lnTo>
                  <a:lnTo>
                    <a:pt x="585" y="23"/>
                  </a:lnTo>
                  <a:lnTo>
                    <a:pt x="583" y="23"/>
                  </a:lnTo>
                  <a:lnTo>
                    <a:pt x="583" y="23"/>
                  </a:lnTo>
                  <a:lnTo>
                    <a:pt x="582" y="24"/>
                  </a:lnTo>
                  <a:lnTo>
                    <a:pt x="580" y="26"/>
                  </a:lnTo>
                  <a:lnTo>
                    <a:pt x="582" y="26"/>
                  </a:lnTo>
                  <a:lnTo>
                    <a:pt x="582" y="27"/>
                  </a:lnTo>
                  <a:lnTo>
                    <a:pt x="583" y="27"/>
                  </a:lnTo>
                  <a:lnTo>
                    <a:pt x="580" y="32"/>
                  </a:lnTo>
                  <a:lnTo>
                    <a:pt x="565" y="38"/>
                  </a:lnTo>
                  <a:lnTo>
                    <a:pt x="563" y="38"/>
                  </a:lnTo>
                  <a:lnTo>
                    <a:pt x="557" y="33"/>
                  </a:lnTo>
                  <a:lnTo>
                    <a:pt x="556" y="33"/>
                  </a:lnTo>
                  <a:lnTo>
                    <a:pt x="553" y="33"/>
                  </a:lnTo>
                  <a:lnTo>
                    <a:pt x="549" y="30"/>
                  </a:lnTo>
                  <a:lnTo>
                    <a:pt x="546" y="30"/>
                  </a:lnTo>
                  <a:lnTo>
                    <a:pt x="540" y="32"/>
                  </a:lnTo>
                  <a:lnTo>
                    <a:pt x="536" y="30"/>
                  </a:lnTo>
                  <a:lnTo>
                    <a:pt x="522" y="33"/>
                  </a:lnTo>
                  <a:lnTo>
                    <a:pt x="520" y="35"/>
                  </a:lnTo>
                  <a:lnTo>
                    <a:pt x="519" y="38"/>
                  </a:lnTo>
                  <a:lnTo>
                    <a:pt x="516" y="43"/>
                  </a:lnTo>
                  <a:lnTo>
                    <a:pt x="514" y="44"/>
                  </a:lnTo>
                  <a:lnTo>
                    <a:pt x="516" y="47"/>
                  </a:lnTo>
                  <a:lnTo>
                    <a:pt x="514" y="52"/>
                  </a:lnTo>
                  <a:lnTo>
                    <a:pt x="506" y="61"/>
                  </a:lnTo>
                  <a:lnTo>
                    <a:pt x="502" y="69"/>
                  </a:lnTo>
                  <a:lnTo>
                    <a:pt x="499" y="75"/>
                  </a:lnTo>
                  <a:lnTo>
                    <a:pt x="499" y="77"/>
                  </a:lnTo>
                  <a:lnTo>
                    <a:pt x="497" y="78"/>
                  </a:lnTo>
                  <a:lnTo>
                    <a:pt x="496" y="80"/>
                  </a:lnTo>
                  <a:lnTo>
                    <a:pt x="485" y="83"/>
                  </a:lnTo>
                  <a:lnTo>
                    <a:pt x="483" y="84"/>
                  </a:lnTo>
                  <a:lnTo>
                    <a:pt x="480" y="87"/>
                  </a:lnTo>
                  <a:lnTo>
                    <a:pt x="480" y="89"/>
                  </a:lnTo>
                  <a:lnTo>
                    <a:pt x="480" y="92"/>
                  </a:lnTo>
                  <a:lnTo>
                    <a:pt x="480" y="93"/>
                  </a:lnTo>
                  <a:lnTo>
                    <a:pt x="480" y="95"/>
                  </a:lnTo>
                  <a:lnTo>
                    <a:pt x="483" y="101"/>
                  </a:lnTo>
                  <a:lnTo>
                    <a:pt x="483" y="106"/>
                  </a:lnTo>
                  <a:lnTo>
                    <a:pt x="482" y="110"/>
                  </a:lnTo>
                  <a:lnTo>
                    <a:pt x="479" y="113"/>
                  </a:lnTo>
                  <a:lnTo>
                    <a:pt x="476" y="117"/>
                  </a:lnTo>
                  <a:lnTo>
                    <a:pt x="474" y="120"/>
                  </a:lnTo>
                  <a:lnTo>
                    <a:pt x="474" y="121"/>
                  </a:lnTo>
                  <a:lnTo>
                    <a:pt x="476" y="123"/>
                  </a:lnTo>
                  <a:lnTo>
                    <a:pt x="476" y="124"/>
                  </a:lnTo>
                  <a:lnTo>
                    <a:pt x="474" y="126"/>
                  </a:lnTo>
                  <a:lnTo>
                    <a:pt x="474" y="129"/>
                  </a:lnTo>
                  <a:lnTo>
                    <a:pt x="474" y="134"/>
                  </a:lnTo>
                  <a:lnTo>
                    <a:pt x="472" y="135"/>
                  </a:lnTo>
                  <a:lnTo>
                    <a:pt x="472" y="137"/>
                  </a:lnTo>
                  <a:lnTo>
                    <a:pt x="471" y="141"/>
                  </a:lnTo>
                  <a:lnTo>
                    <a:pt x="472" y="150"/>
                  </a:lnTo>
                  <a:lnTo>
                    <a:pt x="472" y="152"/>
                  </a:lnTo>
                  <a:lnTo>
                    <a:pt x="466" y="164"/>
                  </a:lnTo>
                  <a:lnTo>
                    <a:pt x="465" y="166"/>
                  </a:lnTo>
                  <a:lnTo>
                    <a:pt x="463" y="183"/>
                  </a:lnTo>
                  <a:lnTo>
                    <a:pt x="463" y="189"/>
                  </a:lnTo>
                  <a:lnTo>
                    <a:pt x="463" y="195"/>
                  </a:lnTo>
                  <a:lnTo>
                    <a:pt x="465" y="195"/>
                  </a:lnTo>
                  <a:lnTo>
                    <a:pt x="465" y="200"/>
                  </a:lnTo>
                  <a:lnTo>
                    <a:pt x="465" y="201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12"/>
                  </a:lnTo>
                  <a:lnTo>
                    <a:pt x="465" y="214"/>
                  </a:lnTo>
                  <a:lnTo>
                    <a:pt x="463" y="215"/>
                  </a:lnTo>
                  <a:lnTo>
                    <a:pt x="463" y="217"/>
                  </a:lnTo>
                  <a:lnTo>
                    <a:pt x="465" y="220"/>
                  </a:lnTo>
                  <a:lnTo>
                    <a:pt x="465" y="221"/>
                  </a:lnTo>
                  <a:lnTo>
                    <a:pt x="465" y="221"/>
                  </a:lnTo>
                  <a:lnTo>
                    <a:pt x="465" y="223"/>
                  </a:lnTo>
                  <a:lnTo>
                    <a:pt x="465" y="224"/>
                  </a:lnTo>
                  <a:lnTo>
                    <a:pt x="466" y="226"/>
                  </a:lnTo>
                  <a:lnTo>
                    <a:pt x="468" y="226"/>
                  </a:lnTo>
                  <a:lnTo>
                    <a:pt x="468" y="227"/>
                  </a:lnTo>
                  <a:lnTo>
                    <a:pt x="468" y="231"/>
                  </a:lnTo>
                  <a:lnTo>
                    <a:pt x="463" y="234"/>
                  </a:lnTo>
                  <a:lnTo>
                    <a:pt x="463" y="237"/>
                  </a:lnTo>
                  <a:lnTo>
                    <a:pt x="463" y="238"/>
                  </a:lnTo>
                  <a:lnTo>
                    <a:pt x="462" y="241"/>
                  </a:lnTo>
                  <a:lnTo>
                    <a:pt x="460" y="244"/>
                  </a:lnTo>
                  <a:lnTo>
                    <a:pt x="459" y="247"/>
                  </a:lnTo>
                  <a:lnTo>
                    <a:pt x="457" y="251"/>
                  </a:lnTo>
                  <a:lnTo>
                    <a:pt x="457" y="254"/>
                  </a:lnTo>
                  <a:lnTo>
                    <a:pt x="454" y="255"/>
                  </a:lnTo>
                  <a:lnTo>
                    <a:pt x="452" y="255"/>
                  </a:lnTo>
                  <a:lnTo>
                    <a:pt x="443" y="252"/>
                  </a:lnTo>
                  <a:lnTo>
                    <a:pt x="440" y="254"/>
                  </a:lnTo>
                  <a:lnTo>
                    <a:pt x="437" y="255"/>
                  </a:lnTo>
                  <a:lnTo>
                    <a:pt x="423" y="267"/>
                  </a:lnTo>
                  <a:lnTo>
                    <a:pt x="420" y="274"/>
                  </a:lnTo>
                  <a:lnTo>
                    <a:pt x="419" y="278"/>
                  </a:lnTo>
                  <a:lnTo>
                    <a:pt x="419" y="283"/>
                  </a:lnTo>
                  <a:lnTo>
                    <a:pt x="419" y="292"/>
                  </a:lnTo>
                  <a:lnTo>
                    <a:pt x="419" y="294"/>
                  </a:lnTo>
                  <a:lnTo>
                    <a:pt x="417" y="294"/>
                  </a:lnTo>
                  <a:lnTo>
                    <a:pt x="417" y="295"/>
                  </a:lnTo>
                  <a:lnTo>
                    <a:pt x="419" y="297"/>
                  </a:lnTo>
                  <a:lnTo>
                    <a:pt x="417" y="301"/>
                  </a:lnTo>
                  <a:lnTo>
                    <a:pt x="417" y="303"/>
                  </a:lnTo>
                  <a:lnTo>
                    <a:pt x="415" y="304"/>
                  </a:lnTo>
                  <a:lnTo>
                    <a:pt x="412" y="304"/>
                  </a:lnTo>
                  <a:lnTo>
                    <a:pt x="408" y="309"/>
                  </a:lnTo>
                  <a:lnTo>
                    <a:pt x="406" y="308"/>
                  </a:lnTo>
                  <a:lnTo>
                    <a:pt x="405" y="311"/>
                  </a:lnTo>
                  <a:lnTo>
                    <a:pt x="403" y="314"/>
                  </a:lnTo>
                  <a:lnTo>
                    <a:pt x="403" y="317"/>
                  </a:lnTo>
                  <a:lnTo>
                    <a:pt x="400" y="320"/>
                  </a:lnTo>
                  <a:lnTo>
                    <a:pt x="399" y="320"/>
                  </a:lnTo>
                  <a:lnTo>
                    <a:pt x="397" y="318"/>
                  </a:lnTo>
                  <a:lnTo>
                    <a:pt x="395" y="312"/>
                  </a:lnTo>
                  <a:lnTo>
                    <a:pt x="389" y="303"/>
                  </a:lnTo>
                  <a:lnTo>
                    <a:pt x="383" y="298"/>
                  </a:lnTo>
                  <a:lnTo>
                    <a:pt x="369" y="294"/>
                  </a:lnTo>
                  <a:lnTo>
                    <a:pt x="358" y="289"/>
                  </a:lnTo>
                  <a:lnTo>
                    <a:pt x="348" y="281"/>
                  </a:lnTo>
                  <a:lnTo>
                    <a:pt x="346" y="280"/>
                  </a:lnTo>
                  <a:lnTo>
                    <a:pt x="343" y="275"/>
                  </a:lnTo>
                  <a:lnTo>
                    <a:pt x="328" y="267"/>
                  </a:lnTo>
                  <a:lnTo>
                    <a:pt x="323" y="267"/>
                  </a:lnTo>
                  <a:lnTo>
                    <a:pt x="317" y="271"/>
                  </a:lnTo>
                  <a:lnTo>
                    <a:pt x="315" y="280"/>
                  </a:lnTo>
                  <a:lnTo>
                    <a:pt x="314" y="287"/>
                  </a:lnTo>
                  <a:lnTo>
                    <a:pt x="306" y="292"/>
                  </a:lnTo>
                  <a:lnTo>
                    <a:pt x="295" y="294"/>
                  </a:lnTo>
                  <a:lnTo>
                    <a:pt x="274" y="308"/>
                  </a:lnTo>
                  <a:lnTo>
                    <a:pt x="272" y="308"/>
                  </a:lnTo>
                  <a:lnTo>
                    <a:pt x="266" y="297"/>
                  </a:lnTo>
                  <a:lnTo>
                    <a:pt x="265" y="295"/>
                  </a:lnTo>
                  <a:lnTo>
                    <a:pt x="260" y="294"/>
                  </a:lnTo>
                  <a:lnTo>
                    <a:pt x="248" y="295"/>
                  </a:lnTo>
                  <a:lnTo>
                    <a:pt x="229" y="286"/>
                  </a:lnTo>
                  <a:lnTo>
                    <a:pt x="228" y="286"/>
                  </a:lnTo>
                  <a:lnTo>
                    <a:pt x="224" y="286"/>
                  </a:lnTo>
                  <a:lnTo>
                    <a:pt x="217" y="289"/>
                  </a:lnTo>
                  <a:lnTo>
                    <a:pt x="215" y="287"/>
                  </a:lnTo>
                  <a:lnTo>
                    <a:pt x="214" y="284"/>
                  </a:lnTo>
                  <a:lnTo>
                    <a:pt x="212" y="266"/>
                  </a:lnTo>
                  <a:lnTo>
                    <a:pt x="211" y="263"/>
                  </a:lnTo>
                  <a:lnTo>
                    <a:pt x="204" y="258"/>
                  </a:lnTo>
                  <a:lnTo>
                    <a:pt x="200" y="247"/>
                  </a:lnTo>
                  <a:lnTo>
                    <a:pt x="198" y="246"/>
                  </a:lnTo>
                  <a:lnTo>
                    <a:pt x="197" y="241"/>
                  </a:lnTo>
                  <a:lnTo>
                    <a:pt x="197" y="238"/>
                  </a:lnTo>
                  <a:lnTo>
                    <a:pt x="186" y="226"/>
                  </a:lnTo>
                  <a:lnTo>
                    <a:pt x="180" y="215"/>
                  </a:lnTo>
                  <a:lnTo>
                    <a:pt x="160" y="174"/>
                  </a:lnTo>
                  <a:lnTo>
                    <a:pt x="158" y="172"/>
                  </a:lnTo>
                  <a:lnTo>
                    <a:pt x="134" y="167"/>
                  </a:lnTo>
                  <a:lnTo>
                    <a:pt x="117" y="180"/>
                  </a:lnTo>
                  <a:lnTo>
                    <a:pt x="117" y="181"/>
                  </a:lnTo>
                  <a:lnTo>
                    <a:pt x="115" y="184"/>
                  </a:lnTo>
                  <a:lnTo>
                    <a:pt x="112" y="192"/>
                  </a:lnTo>
                  <a:lnTo>
                    <a:pt x="121" y="210"/>
                  </a:lnTo>
                  <a:lnTo>
                    <a:pt x="117" y="220"/>
                  </a:lnTo>
                  <a:lnTo>
                    <a:pt x="115" y="221"/>
                  </a:lnTo>
                  <a:lnTo>
                    <a:pt x="112" y="221"/>
                  </a:lnTo>
                  <a:lnTo>
                    <a:pt x="90" y="207"/>
                  </a:lnTo>
                  <a:lnTo>
                    <a:pt x="89" y="209"/>
                  </a:lnTo>
                  <a:lnTo>
                    <a:pt x="81" y="221"/>
                  </a:lnTo>
                  <a:lnTo>
                    <a:pt x="86" y="226"/>
                  </a:lnTo>
                  <a:lnTo>
                    <a:pt x="95" y="227"/>
                  </a:lnTo>
                  <a:lnTo>
                    <a:pt x="100" y="232"/>
                  </a:lnTo>
                  <a:lnTo>
                    <a:pt x="103" y="234"/>
                  </a:lnTo>
                  <a:lnTo>
                    <a:pt x="106" y="235"/>
                  </a:lnTo>
                  <a:lnTo>
                    <a:pt x="106" y="240"/>
                  </a:lnTo>
                  <a:lnTo>
                    <a:pt x="104" y="243"/>
                  </a:lnTo>
                  <a:lnTo>
                    <a:pt x="101" y="244"/>
                  </a:lnTo>
                  <a:lnTo>
                    <a:pt x="101" y="249"/>
                  </a:lnTo>
                  <a:lnTo>
                    <a:pt x="103" y="251"/>
                  </a:lnTo>
                  <a:lnTo>
                    <a:pt x="115" y="257"/>
                  </a:lnTo>
                  <a:lnTo>
                    <a:pt x="121" y="261"/>
                  </a:lnTo>
                  <a:lnTo>
                    <a:pt x="126" y="267"/>
                  </a:lnTo>
                  <a:lnTo>
                    <a:pt x="131" y="275"/>
                  </a:lnTo>
                  <a:lnTo>
                    <a:pt x="132" y="277"/>
                  </a:lnTo>
                  <a:lnTo>
                    <a:pt x="132" y="277"/>
                  </a:lnTo>
                  <a:lnTo>
                    <a:pt x="132" y="278"/>
                  </a:lnTo>
                  <a:lnTo>
                    <a:pt x="132" y="280"/>
                  </a:lnTo>
                  <a:lnTo>
                    <a:pt x="134" y="280"/>
                  </a:lnTo>
                  <a:lnTo>
                    <a:pt x="138" y="280"/>
                  </a:lnTo>
                  <a:lnTo>
                    <a:pt x="140" y="281"/>
                  </a:lnTo>
                  <a:lnTo>
                    <a:pt x="141" y="283"/>
                  </a:lnTo>
                  <a:lnTo>
                    <a:pt x="141" y="286"/>
                  </a:lnTo>
                  <a:lnTo>
                    <a:pt x="144" y="292"/>
                  </a:lnTo>
                  <a:lnTo>
                    <a:pt x="144" y="294"/>
                  </a:lnTo>
                  <a:lnTo>
                    <a:pt x="147" y="295"/>
                  </a:lnTo>
                  <a:lnTo>
                    <a:pt x="152" y="298"/>
                  </a:lnTo>
                  <a:lnTo>
                    <a:pt x="160" y="304"/>
                  </a:lnTo>
                  <a:lnTo>
                    <a:pt x="163" y="308"/>
                  </a:lnTo>
                  <a:lnTo>
                    <a:pt x="164" y="314"/>
                  </a:lnTo>
                  <a:lnTo>
                    <a:pt x="178" y="318"/>
                  </a:lnTo>
                  <a:lnTo>
                    <a:pt x="181" y="321"/>
                  </a:lnTo>
                  <a:lnTo>
                    <a:pt x="183" y="323"/>
                  </a:lnTo>
                  <a:lnTo>
                    <a:pt x="184" y="326"/>
                  </a:lnTo>
                  <a:lnTo>
                    <a:pt x="186" y="329"/>
                  </a:lnTo>
                  <a:lnTo>
                    <a:pt x="186" y="329"/>
                  </a:lnTo>
                  <a:lnTo>
                    <a:pt x="186" y="329"/>
                  </a:lnTo>
                  <a:lnTo>
                    <a:pt x="188" y="331"/>
                  </a:lnTo>
                  <a:lnTo>
                    <a:pt x="188" y="332"/>
                  </a:lnTo>
                  <a:lnTo>
                    <a:pt x="188" y="334"/>
                  </a:lnTo>
                  <a:lnTo>
                    <a:pt x="188" y="334"/>
                  </a:lnTo>
                  <a:lnTo>
                    <a:pt x="191" y="337"/>
                  </a:lnTo>
                  <a:lnTo>
                    <a:pt x="208" y="337"/>
                  </a:lnTo>
                  <a:lnTo>
                    <a:pt x="212" y="338"/>
                  </a:lnTo>
                  <a:lnTo>
                    <a:pt x="212" y="338"/>
                  </a:lnTo>
                  <a:lnTo>
                    <a:pt x="212" y="340"/>
                  </a:lnTo>
                  <a:lnTo>
                    <a:pt x="212" y="341"/>
                  </a:lnTo>
                  <a:lnTo>
                    <a:pt x="218" y="341"/>
                  </a:lnTo>
                  <a:lnTo>
                    <a:pt x="223" y="344"/>
                  </a:lnTo>
                  <a:lnTo>
                    <a:pt x="226" y="344"/>
                  </a:lnTo>
                  <a:lnTo>
                    <a:pt x="229" y="348"/>
                  </a:lnTo>
                  <a:lnTo>
                    <a:pt x="231" y="348"/>
                  </a:lnTo>
                  <a:lnTo>
                    <a:pt x="232" y="346"/>
                  </a:lnTo>
                  <a:lnTo>
                    <a:pt x="234" y="346"/>
                  </a:lnTo>
                  <a:lnTo>
                    <a:pt x="235" y="349"/>
                  </a:lnTo>
                  <a:lnTo>
                    <a:pt x="238" y="352"/>
                  </a:lnTo>
                  <a:lnTo>
                    <a:pt x="240" y="355"/>
                  </a:lnTo>
                  <a:lnTo>
                    <a:pt x="245" y="352"/>
                  </a:lnTo>
                  <a:lnTo>
                    <a:pt x="246" y="355"/>
                  </a:lnTo>
                  <a:lnTo>
                    <a:pt x="249" y="361"/>
                  </a:lnTo>
                  <a:lnTo>
                    <a:pt x="252" y="364"/>
                  </a:lnTo>
                  <a:lnTo>
                    <a:pt x="263" y="372"/>
                  </a:lnTo>
                  <a:lnTo>
                    <a:pt x="265" y="374"/>
                  </a:lnTo>
                  <a:lnTo>
                    <a:pt x="265" y="375"/>
                  </a:lnTo>
                  <a:lnTo>
                    <a:pt x="265" y="377"/>
                  </a:lnTo>
                  <a:lnTo>
                    <a:pt x="265" y="378"/>
                  </a:lnTo>
                  <a:lnTo>
                    <a:pt x="266" y="381"/>
                  </a:lnTo>
                  <a:lnTo>
                    <a:pt x="269" y="385"/>
                  </a:lnTo>
                  <a:lnTo>
                    <a:pt x="271" y="389"/>
                  </a:lnTo>
                  <a:lnTo>
                    <a:pt x="271" y="394"/>
                  </a:lnTo>
                  <a:lnTo>
                    <a:pt x="271" y="395"/>
                  </a:lnTo>
                  <a:lnTo>
                    <a:pt x="271" y="397"/>
                  </a:lnTo>
                  <a:lnTo>
                    <a:pt x="271" y="401"/>
                  </a:lnTo>
                  <a:lnTo>
                    <a:pt x="271" y="403"/>
                  </a:lnTo>
                  <a:lnTo>
                    <a:pt x="271" y="405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8"/>
                  </a:lnTo>
                  <a:lnTo>
                    <a:pt x="272" y="408"/>
                  </a:lnTo>
                  <a:lnTo>
                    <a:pt x="280" y="403"/>
                  </a:lnTo>
                  <a:lnTo>
                    <a:pt x="281" y="403"/>
                  </a:lnTo>
                  <a:lnTo>
                    <a:pt x="283" y="405"/>
                  </a:lnTo>
                  <a:lnTo>
                    <a:pt x="283" y="406"/>
                  </a:lnTo>
                  <a:lnTo>
                    <a:pt x="286" y="418"/>
                  </a:lnTo>
                  <a:lnTo>
                    <a:pt x="286" y="420"/>
                  </a:lnTo>
                  <a:lnTo>
                    <a:pt x="288" y="421"/>
                  </a:lnTo>
                  <a:lnTo>
                    <a:pt x="292" y="428"/>
                  </a:lnTo>
                  <a:lnTo>
                    <a:pt x="295" y="429"/>
                  </a:lnTo>
                  <a:lnTo>
                    <a:pt x="301" y="437"/>
                  </a:lnTo>
                  <a:lnTo>
                    <a:pt x="306" y="440"/>
                  </a:lnTo>
                  <a:lnTo>
                    <a:pt x="308" y="441"/>
                  </a:lnTo>
                  <a:lnTo>
                    <a:pt x="308" y="445"/>
                  </a:lnTo>
                  <a:lnTo>
                    <a:pt x="306" y="449"/>
                  </a:lnTo>
                  <a:lnTo>
                    <a:pt x="305" y="451"/>
                  </a:lnTo>
                  <a:lnTo>
                    <a:pt x="298" y="454"/>
                  </a:lnTo>
                  <a:lnTo>
                    <a:pt x="295" y="455"/>
                  </a:lnTo>
                  <a:lnTo>
                    <a:pt x="295" y="458"/>
                  </a:lnTo>
                  <a:lnTo>
                    <a:pt x="294" y="463"/>
                  </a:lnTo>
                  <a:lnTo>
                    <a:pt x="295" y="468"/>
                  </a:lnTo>
                  <a:lnTo>
                    <a:pt x="295" y="472"/>
                  </a:lnTo>
                  <a:lnTo>
                    <a:pt x="295" y="485"/>
                  </a:lnTo>
                  <a:lnTo>
                    <a:pt x="295" y="486"/>
                  </a:lnTo>
                  <a:lnTo>
                    <a:pt x="297" y="489"/>
                  </a:lnTo>
                  <a:lnTo>
                    <a:pt x="297" y="497"/>
                  </a:lnTo>
                  <a:lnTo>
                    <a:pt x="297" y="500"/>
                  </a:lnTo>
                  <a:lnTo>
                    <a:pt x="300" y="506"/>
                  </a:lnTo>
                  <a:lnTo>
                    <a:pt x="300" y="509"/>
                  </a:lnTo>
                  <a:lnTo>
                    <a:pt x="300" y="514"/>
                  </a:lnTo>
                  <a:lnTo>
                    <a:pt x="298" y="515"/>
                  </a:lnTo>
                  <a:lnTo>
                    <a:pt x="297" y="517"/>
                  </a:lnTo>
                  <a:lnTo>
                    <a:pt x="294" y="520"/>
                  </a:lnTo>
                  <a:lnTo>
                    <a:pt x="295" y="522"/>
                  </a:lnTo>
                  <a:lnTo>
                    <a:pt x="294" y="526"/>
                  </a:lnTo>
                  <a:lnTo>
                    <a:pt x="292" y="529"/>
                  </a:lnTo>
                  <a:lnTo>
                    <a:pt x="291" y="532"/>
                  </a:lnTo>
                  <a:lnTo>
                    <a:pt x="292" y="538"/>
                  </a:lnTo>
                  <a:lnTo>
                    <a:pt x="294" y="542"/>
                  </a:lnTo>
                  <a:lnTo>
                    <a:pt x="297" y="542"/>
                  </a:lnTo>
                  <a:lnTo>
                    <a:pt x="300" y="540"/>
                  </a:lnTo>
                  <a:lnTo>
                    <a:pt x="303" y="538"/>
                  </a:lnTo>
                  <a:lnTo>
                    <a:pt x="308" y="543"/>
                  </a:lnTo>
                  <a:lnTo>
                    <a:pt x="314" y="543"/>
                  </a:lnTo>
                  <a:lnTo>
                    <a:pt x="315" y="545"/>
                  </a:lnTo>
                  <a:lnTo>
                    <a:pt x="315" y="546"/>
                  </a:lnTo>
                  <a:lnTo>
                    <a:pt x="315" y="551"/>
                  </a:lnTo>
                  <a:lnTo>
                    <a:pt x="315" y="555"/>
                  </a:lnTo>
                  <a:lnTo>
                    <a:pt x="315" y="560"/>
                  </a:lnTo>
                  <a:lnTo>
                    <a:pt x="317" y="562"/>
                  </a:lnTo>
                  <a:lnTo>
                    <a:pt x="315" y="568"/>
                  </a:lnTo>
                  <a:lnTo>
                    <a:pt x="314" y="571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3" y="580"/>
                  </a:lnTo>
                  <a:lnTo>
                    <a:pt x="303" y="583"/>
                  </a:lnTo>
                  <a:lnTo>
                    <a:pt x="303" y="585"/>
                  </a:lnTo>
                  <a:lnTo>
                    <a:pt x="305" y="585"/>
                  </a:lnTo>
                  <a:lnTo>
                    <a:pt x="305" y="588"/>
                  </a:lnTo>
                  <a:lnTo>
                    <a:pt x="303" y="589"/>
                  </a:lnTo>
                  <a:lnTo>
                    <a:pt x="303" y="592"/>
                  </a:lnTo>
                  <a:lnTo>
                    <a:pt x="301" y="594"/>
                  </a:lnTo>
                  <a:lnTo>
                    <a:pt x="301" y="597"/>
                  </a:lnTo>
                  <a:lnTo>
                    <a:pt x="303" y="600"/>
                  </a:lnTo>
                  <a:lnTo>
                    <a:pt x="305" y="602"/>
                  </a:lnTo>
                  <a:lnTo>
                    <a:pt x="308" y="606"/>
                  </a:lnTo>
                  <a:lnTo>
                    <a:pt x="308" y="606"/>
                  </a:lnTo>
                  <a:lnTo>
                    <a:pt x="309" y="608"/>
                  </a:lnTo>
                  <a:lnTo>
                    <a:pt x="309" y="609"/>
                  </a:lnTo>
                  <a:lnTo>
                    <a:pt x="309" y="612"/>
                  </a:lnTo>
                  <a:lnTo>
                    <a:pt x="309" y="614"/>
                  </a:lnTo>
                  <a:lnTo>
                    <a:pt x="309" y="615"/>
                  </a:lnTo>
                  <a:lnTo>
                    <a:pt x="309" y="617"/>
                  </a:lnTo>
                  <a:lnTo>
                    <a:pt x="312" y="623"/>
                  </a:lnTo>
                  <a:lnTo>
                    <a:pt x="314" y="626"/>
                  </a:lnTo>
                  <a:lnTo>
                    <a:pt x="315" y="628"/>
                  </a:lnTo>
                  <a:lnTo>
                    <a:pt x="318" y="628"/>
                  </a:lnTo>
                  <a:lnTo>
                    <a:pt x="320" y="631"/>
                  </a:lnTo>
                  <a:lnTo>
                    <a:pt x="325" y="640"/>
                  </a:lnTo>
                  <a:lnTo>
                    <a:pt x="326" y="645"/>
                  </a:lnTo>
                  <a:lnTo>
                    <a:pt x="328" y="648"/>
                  </a:lnTo>
                  <a:lnTo>
                    <a:pt x="331" y="652"/>
                  </a:lnTo>
                  <a:lnTo>
                    <a:pt x="334" y="662"/>
                  </a:lnTo>
                  <a:lnTo>
                    <a:pt x="334" y="663"/>
                  </a:lnTo>
                  <a:lnTo>
                    <a:pt x="334" y="665"/>
                  </a:lnTo>
                  <a:lnTo>
                    <a:pt x="332" y="666"/>
                  </a:lnTo>
                  <a:lnTo>
                    <a:pt x="331" y="665"/>
                  </a:lnTo>
                  <a:lnTo>
                    <a:pt x="329" y="666"/>
                  </a:lnTo>
                  <a:lnTo>
                    <a:pt x="328" y="669"/>
                  </a:lnTo>
                  <a:lnTo>
                    <a:pt x="326" y="674"/>
                  </a:lnTo>
                  <a:lnTo>
                    <a:pt x="325" y="676"/>
                  </a:lnTo>
                  <a:lnTo>
                    <a:pt x="326" y="682"/>
                  </a:lnTo>
                  <a:lnTo>
                    <a:pt x="326" y="686"/>
                  </a:lnTo>
                  <a:lnTo>
                    <a:pt x="326" y="689"/>
                  </a:lnTo>
                  <a:lnTo>
                    <a:pt x="325" y="692"/>
                  </a:lnTo>
                  <a:lnTo>
                    <a:pt x="325" y="696"/>
                  </a:lnTo>
                  <a:lnTo>
                    <a:pt x="325" y="699"/>
                  </a:lnTo>
                  <a:lnTo>
                    <a:pt x="326" y="703"/>
                  </a:lnTo>
                  <a:lnTo>
                    <a:pt x="325" y="706"/>
                  </a:lnTo>
                  <a:lnTo>
                    <a:pt x="325" y="709"/>
                  </a:lnTo>
                  <a:lnTo>
                    <a:pt x="323" y="711"/>
                  </a:lnTo>
                  <a:lnTo>
                    <a:pt x="318" y="713"/>
                  </a:lnTo>
                  <a:lnTo>
                    <a:pt x="318" y="716"/>
                  </a:lnTo>
                  <a:lnTo>
                    <a:pt x="317" y="717"/>
                  </a:lnTo>
                  <a:lnTo>
                    <a:pt x="315" y="719"/>
                  </a:lnTo>
                  <a:lnTo>
                    <a:pt x="314" y="720"/>
                  </a:lnTo>
                  <a:lnTo>
                    <a:pt x="314" y="723"/>
                  </a:lnTo>
                  <a:lnTo>
                    <a:pt x="312" y="723"/>
                  </a:lnTo>
                  <a:lnTo>
                    <a:pt x="309" y="725"/>
                  </a:lnTo>
                  <a:lnTo>
                    <a:pt x="308" y="728"/>
                  </a:lnTo>
                  <a:lnTo>
                    <a:pt x="306" y="733"/>
                  </a:lnTo>
                  <a:lnTo>
                    <a:pt x="308" y="734"/>
                  </a:lnTo>
                  <a:lnTo>
                    <a:pt x="309" y="739"/>
                  </a:lnTo>
                  <a:lnTo>
                    <a:pt x="309" y="740"/>
                  </a:lnTo>
                  <a:lnTo>
                    <a:pt x="309" y="742"/>
                  </a:lnTo>
                  <a:lnTo>
                    <a:pt x="309" y="746"/>
                  </a:lnTo>
                  <a:lnTo>
                    <a:pt x="309" y="748"/>
                  </a:lnTo>
                  <a:lnTo>
                    <a:pt x="309" y="751"/>
                  </a:lnTo>
                  <a:lnTo>
                    <a:pt x="308" y="753"/>
                  </a:lnTo>
                  <a:lnTo>
                    <a:pt x="308" y="754"/>
                  </a:lnTo>
                  <a:lnTo>
                    <a:pt x="309" y="757"/>
                  </a:lnTo>
                  <a:lnTo>
                    <a:pt x="309" y="760"/>
                  </a:lnTo>
                  <a:lnTo>
                    <a:pt x="311" y="765"/>
                  </a:lnTo>
                  <a:lnTo>
                    <a:pt x="312" y="776"/>
                  </a:lnTo>
                  <a:lnTo>
                    <a:pt x="315" y="779"/>
                  </a:lnTo>
                  <a:lnTo>
                    <a:pt x="317" y="780"/>
                  </a:lnTo>
                  <a:lnTo>
                    <a:pt x="325" y="783"/>
                  </a:lnTo>
                  <a:lnTo>
                    <a:pt x="326" y="785"/>
                  </a:lnTo>
                  <a:lnTo>
                    <a:pt x="331" y="797"/>
                  </a:lnTo>
                  <a:lnTo>
                    <a:pt x="331" y="799"/>
                  </a:lnTo>
                  <a:lnTo>
                    <a:pt x="332" y="800"/>
                  </a:lnTo>
                  <a:lnTo>
                    <a:pt x="334" y="803"/>
                  </a:lnTo>
                  <a:lnTo>
                    <a:pt x="335" y="803"/>
                  </a:lnTo>
                  <a:lnTo>
                    <a:pt x="335" y="806"/>
                  </a:lnTo>
                  <a:lnTo>
                    <a:pt x="337" y="816"/>
                  </a:lnTo>
                  <a:lnTo>
                    <a:pt x="337" y="819"/>
                  </a:lnTo>
                  <a:lnTo>
                    <a:pt x="337" y="822"/>
                  </a:lnTo>
                  <a:lnTo>
                    <a:pt x="338" y="826"/>
                  </a:lnTo>
                  <a:lnTo>
                    <a:pt x="342" y="830"/>
                  </a:lnTo>
                  <a:lnTo>
                    <a:pt x="343" y="837"/>
                  </a:lnTo>
                  <a:lnTo>
                    <a:pt x="346" y="842"/>
                  </a:lnTo>
                  <a:lnTo>
                    <a:pt x="346" y="845"/>
                  </a:lnTo>
                  <a:lnTo>
                    <a:pt x="346" y="846"/>
                  </a:lnTo>
                  <a:lnTo>
                    <a:pt x="346" y="848"/>
                  </a:lnTo>
                  <a:lnTo>
                    <a:pt x="348" y="851"/>
                  </a:lnTo>
                  <a:lnTo>
                    <a:pt x="349" y="853"/>
                  </a:lnTo>
                  <a:lnTo>
                    <a:pt x="351" y="854"/>
                  </a:lnTo>
                  <a:lnTo>
                    <a:pt x="352" y="853"/>
                  </a:lnTo>
                  <a:lnTo>
                    <a:pt x="352" y="850"/>
                  </a:lnTo>
                  <a:lnTo>
                    <a:pt x="352" y="848"/>
                  </a:lnTo>
                  <a:lnTo>
                    <a:pt x="351" y="845"/>
                  </a:lnTo>
                  <a:lnTo>
                    <a:pt x="354" y="848"/>
                  </a:lnTo>
                  <a:lnTo>
                    <a:pt x="357" y="850"/>
                  </a:lnTo>
                  <a:lnTo>
                    <a:pt x="358" y="850"/>
                  </a:lnTo>
                  <a:lnTo>
                    <a:pt x="360" y="853"/>
                  </a:lnTo>
                  <a:lnTo>
                    <a:pt x="363" y="854"/>
                  </a:lnTo>
                  <a:lnTo>
                    <a:pt x="365" y="854"/>
                  </a:lnTo>
                  <a:lnTo>
                    <a:pt x="365" y="854"/>
                  </a:lnTo>
                  <a:lnTo>
                    <a:pt x="365" y="853"/>
                  </a:lnTo>
                  <a:lnTo>
                    <a:pt x="365" y="851"/>
                  </a:lnTo>
                  <a:lnTo>
                    <a:pt x="366" y="851"/>
                  </a:lnTo>
                  <a:lnTo>
                    <a:pt x="368" y="850"/>
                  </a:lnTo>
                  <a:lnTo>
                    <a:pt x="369" y="850"/>
                  </a:lnTo>
                  <a:lnTo>
                    <a:pt x="371" y="850"/>
                  </a:lnTo>
                  <a:lnTo>
                    <a:pt x="372" y="850"/>
                  </a:lnTo>
                  <a:lnTo>
                    <a:pt x="374" y="848"/>
                  </a:lnTo>
                  <a:lnTo>
                    <a:pt x="377" y="839"/>
                  </a:lnTo>
                  <a:lnTo>
                    <a:pt x="379" y="837"/>
                  </a:lnTo>
                  <a:lnTo>
                    <a:pt x="379" y="837"/>
                  </a:lnTo>
                  <a:lnTo>
                    <a:pt x="379" y="836"/>
                  </a:lnTo>
                  <a:lnTo>
                    <a:pt x="379" y="834"/>
                  </a:lnTo>
                  <a:lnTo>
                    <a:pt x="380" y="833"/>
                  </a:lnTo>
                  <a:lnTo>
                    <a:pt x="380" y="833"/>
                  </a:lnTo>
                  <a:lnTo>
                    <a:pt x="380" y="833"/>
                  </a:lnTo>
                  <a:lnTo>
                    <a:pt x="382" y="833"/>
                  </a:lnTo>
                  <a:lnTo>
                    <a:pt x="385" y="831"/>
                  </a:lnTo>
                  <a:lnTo>
                    <a:pt x="386" y="830"/>
                  </a:lnTo>
                  <a:lnTo>
                    <a:pt x="386" y="831"/>
                  </a:lnTo>
                  <a:lnTo>
                    <a:pt x="385" y="833"/>
                  </a:lnTo>
                  <a:lnTo>
                    <a:pt x="383" y="833"/>
                  </a:lnTo>
                  <a:lnTo>
                    <a:pt x="382" y="834"/>
                  </a:lnTo>
                  <a:lnTo>
                    <a:pt x="382" y="834"/>
                  </a:lnTo>
                  <a:lnTo>
                    <a:pt x="380" y="839"/>
                  </a:lnTo>
                  <a:lnTo>
                    <a:pt x="377" y="848"/>
                  </a:lnTo>
                  <a:lnTo>
                    <a:pt x="375" y="851"/>
                  </a:lnTo>
                  <a:lnTo>
                    <a:pt x="374" y="856"/>
                  </a:lnTo>
                  <a:lnTo>
                    <a:pt x="375" y="859"/>
                  </a:lnTo>
                  <a:lnTo>
                    <a:pt x="375" y="862"/>
                  </a:lnTo>
                  <a:lnTo>
                    <a:pt x="377" y="865"/>
                  </a:lnTo>
                  <a:lnTo>
                    <a:pt x="379" y="865"/>
                  </a:lnTo>
                  <a:lnTo>
                    <a:pt x="383" y="868"/>
                  </a:lnTo>
                  <a:lnTo>
                    <a:pt x="383" y="870"/>
                  </a:lnTo>
                  <a:lnTo>
                    <a:pt x="383" y="871"/>
                  </a:lnTo>
                  <a:lnTo>
                    <a:pt x="383" y="877"/>
                  </a:lnTo>
                  <a:lnTo>
                    <a:pt x="383" y="879"/>
                  </a:lnTo>
                  <a:lnTo>
                    <a:pt x="385" y="880"/>
                  </a:lnTo>
                  <a:lnTo>
                    <a:pt x="386" y="879"/>
                  </a:lnTo>
                  <a:lnTo>
                    <a:pt x="386" y="879"/>
                  </a:lnTo>
                  <a:lnTo>
                    <a:pt x="389" y="876"/>
                  </a:lnTo>
                  <a:lnTo>
                    <a:pt x="391" y="874"/>
                  </a:lnTo>
                  <a:lnTo>
                    <a:pt x="394" y="874"/>
                  </a:lnTo>
                  <a:lnTo>
                    <a:pt x="397" y="874"/>
                  </a:lnTo>
                  <a:lnTo>
                    <a:pt x="400" y="876"/>
                  </a:lnTo>
                  <a:lnTo>
                    <a:pt x="402" y="877"/>
                  </a:lnTo>
                  <a:lnTo>
                    <a:pt x="402" y="880"/>
                  </a:lnTo>
                  <a:lnTo>
                    <a:pt x="403" y="880"/>
                  </a:lnTo>
                  <a:lnTo>
                    <a:pt x="405" y="882"/>
                  </a:lnTo>
                  <a:lnTo>
                    <a:pt x="408" y="880"/>
                  </a:lnTo>
                  <a:lnTo>
                    <a:pt x="409" y="882"/>
                  </a:lnTo>
                  <a:lnTo>
                    <a:pt x="411" y="883"/>
                  </a:lnTo>
                  <a:lnTo>
                    <a:pt x="412" y="882"/>
                  </a:lnTo>
                  <a:lnTo>
                    <a:pt x="414" y="883"/>
                  </a:lnTo>
                  <a:lnTo>
                    <a:pt x="414" y="885"/>
                  </a:lnTo>
                  <a:lnTo>
                    <a:pt x="414" y="887"/>
                  </a:lnTo>
                  <a:lnTo>
                    <a:pt x="415" y="887"/>
                  </a:lnTo>
                  <a:lnTo>
                    <a:pt x="415" y="888"/>
                  </a:lnTo>
                  <a:lnTo>
                    <a:pt x="415" y="890"/>
                  </a:lnTo>
                  <a:lnTo>
                    <a:pt x="417" y="893"/>
                  </a:lnTo>
                  <a:lnTo>
                    <a:pt x="419" y="893"/>
                  </a:lnTo>
                  <a:lnTo>
                    <a:pt x="420" y="893"/>
                  </a:lnTo>
                  <a:lnTo>
                    <a:pt x="423" y="893"/>
                  </a:lnTo>
                  <a:lnTo>
                    <a:pt x="425" y="893"/>
                  </a:lnTo>
                  <a:lnTo>
                    <a:pt x="429" y="899"/>
                  </a:lnTo>
                  <a:lnTo>
                    <a:pt x="432" y="902"/>
                  </a:lnTo>
                  <a:lnTo>
                    <a:pt x="434" y="907"/>
                  </a:lnTo>
                  <a:lnTo>
                    <a:pt x="434" y="910"/>
                  </a:lnTo>
                  <a:lnTo>
                    <a:pt x="434" y="916"/>
                  </a:lnTo>
                  <a:lnTo>
                    <a:pt x="434" y="919"/>
                  </a:lnTo>
                  <a:lnTo>
                    <a:pt x="434" y="920"/>
                  </a:lnTo>
                  <a:lnTo>
                    <a:pt x="432" y="923"/>
                  </a:lnTo>
                  <a:lnTo>
                    <a:pt x="432" y="923"/>
                  </a:lnTo>
                  <a:lnTo>
                    <a:pt x="431" y="925"/>
                  </a:lnTo>
                  <a:lnTo>
                    <a:pt x="429" y="925"/>
                  </a:lnTo>
                  <a:lnTo>
                    <a:pt x="428" y="925"/>
                  </a:lnTo>
                  <a:lnTo>
                    <a:pt x="432" y="931"/>
                  </a:lnTo>
                  <a:lnTo>
                    <a:pt x="432" y="933"/>
                  </a:lnTo>
                  <a:lnTo>
                    <a:pt x="431" y="933"/>
                  </a:lnTo>
                  <a:lnTo>
                    <a:pt x="431" y="934"/>
                  </a:lnTo>
                  <a:lnTo>
                    <a:pt x="431" y="934"/>
                  </a:lnTo>
                  <a:lnTo>
                    <a:pt x="431" y="936"/>
                  </a:lnTo>
                  <a:lnTo>
                    <a:pt x="432" y="936"/>
                  </a:lnTo>
                  <a:lnTo>
                    <a:pt x="431" y="939"/>
                  </a:lnTo>
                  <a:lnTo>
                    <a:pt x="429" y="943"/>
                  </a:lnTo>
                  <a:lnTo>
                    <a:pt x="429" y="947"/>
                  </a:lnTo>
                  <a:lnTo>
                    <a:pt x="429" y="947"/>
                  </a:lnTo>
                  <a:lnTo>
                    <a:pt x="429" y="947"/>
                  </a:lnTo>
                  <a:lnTo>
                    <a:pt x="431" y="947"/>
                  </a:lnTo>
                  <a:lnTo>
                    <a:pt x="431" y="948"/>
                  </a:lnTo>
                  <a:lnTo>
                    <a:pt x="431" y="951"/>
                  </a:lnTo>
                  <a:lnTo>
                    <a:pt x="431" y="951"/>
                  </a:lnTo>
                  <a:lnTo>
                    <a:pt x="432" y="951"/>
                  </a:lnTo>
                  <a:lnTo>
                    <a:pt x="432" y="953"/>
                  </a:lnTo>
                  <a:lnTo>
                    <a:pt x="431" y="953"/>
                  </a:lnTo>
                  <a:lnTo>
                    <a:pt x="431" y="953"/>
                  </a:lnTo>
                  <a:lnTo>
                    <a:pt x="429" y="953"/>
                  </a:lnTo>
                  <a:lnTo>
                    <a:pt x="429" y="953"/>
                  </a:lnTo>
                  <a:lnTo>
                    <a:pt x="429" y="956"/>
                  </a:lnTo>
                  <a:lnTo>
                    <a:pt x="429" y="959"/>
                  </a:lnTo>
                  <a:lnTo>
                    <a:pt x="428" y="960"/>
                  </a:lnTo>
                  <a:lnTo>
                    <a:pt x="428" y="962"/>
                  </a:lnTo>
                  <a:lnTo>
                    <a:pt x="425" y="965"/>
                  </a:lnTo>
                  <a:lnTo>
                    <a:pt x="425" y="967"/>
                  </a:lnTo>
                  <a:lnTo>
                    <a:pt x="423" y="970"/>
                  </a:lnTo>
                  <a:lnTo>
                    <a:pt x="432" y="973"/>
                  </a:lnTo>
                  <a:lnTo>
                    <a:pt x="434" y="976"/>
                  </a:lnTo>
                  <a:lnTo>
                    <a:pt x="435" y="976"/>
                  </a:lnTo>
                  <a:lnTo>
                    <a:pt x="435" y="977"/>
                  </a:lnTo>
                  <a:lnTo>
                    <a:pt x="435" y="979"/>
                  </a:lnTo>
                  <a:lnTo>
                    <a:pt x="435" y="980"/>
                  </a:lnTo>
                  <a:lnTo>
                    <a:pt x="435" y="982"/>
                  </a:lnTo>
                  <a:lnTo>
                    <a:pt x="437" y="984"/>
                  </a:lnTo>
                  <a:lnTo>
                    <a:pt x="439" y="987"/>
                  </a:lnTo>
                  <a:lnTo>
                    <a:pt x="439" y="987"/>
                  </a:lnTo>
                  <a:lnTo>
                    <a:pt x="439" y="988"/>
                  </a:lnTo>
                  <a:lnTo>
                    <a:pt x="439" y="988"/>
                  </a:lnTo>
                  <a:lnTo>
                    <a:pt x="440" y="990"/>
                  </a:lnTo>
                  <a:lnTo>
                    <a:pt x="439" y="993"/>
                  </a:lnTo>
                  <a:lnTo>
                    <a:pt x="440" y="994"/>
                  </a:lnTo>
                  <a:lnTo>
                    <a:pt x="440" y="996"/>
                  </a:lnTo>
                  <a:lnTo>
                    <a:pt x="440" y="997"/>
                  </a:lnTo>
                  <a:lnTo>
                    <a:pt x="440" y="1000"/>
                  </a:lnTo>
                  <a:lnTo>
                    <a:pt x="439" y="1000"/>
                  </a:lnTo>
                  <a:lnTo>
                    <a:pt x="437" y="1000"/>
                  </a:lnTo>
                  <a:lnTo>
                    <a:pt x="435" y="999"/>
                  </a:lnTo>
                  <a:lnTo>
                    <a:pt x="432" y="996"/>
                  </a:lnTo>
                  <a:lnTo>
                    <a:pt x="432" y="994"/>
                  </a:lnTo>
                  <a:lnTo>
                    <a:pt x="425" y="994"/>
                  </a:lnTo>
                  <a:lnTo>
                    <a:pt x="423" y="994"/>
                  </a:lnTo>
                  <a:lnTo>
                    <a:pt x="423" y="996"/>
                  </a:lnTo>
                  <a:lnTo>
                    <a:pt x="423" y="996"/>
                  </a:lnTo>
                  <a:lnTo>
                    <a:pt x="423" y="997"/>
                  </a:lnTo>
                  <a:lnTo>
                    <a:pt x="422" y="997"/>
                  </a:lnTo>
                  <a:lnTo>
                    <a:pt x="425" y="1004"/>
                  </a:lnTo>
                  <a:lnTo>
                    <a:pt x="426" y="1005"/>
                  </a:lnTo>
                  <a:lnTo>
                    <a:pt x="429" y="1005"/>
                  </a:lnTo>
                  <a:lnTo>
                    <a:pt x="431" y="1008"/>
                  </a:lnTo>
                  <a:lnTo>
                    <a:pt x="432" y="1008"/>
                  </a:lnTo>
                  <a:lnTo>
                    <a:pt x="432" y="1008"/>
                  </a:lnTo>
                  <a:lnTo>
                    <a:pt x="434" y="1008"/>
                  </a:lnTo>
                  <a:lnTo>
                    <a:pt x="434" y="1008"/>
                  </a:lnTo>
                  <a:lnTo>
                    <a:pt x="435" y="1010"/>
                  </a:lnTo>
                  <a:lnTo>
                    <a:pt x="435" y="1011"/>
                  </a:lnTo>
                  <a:lnTo>
                    <a:pt x="434" y="1016"/>
                  </a:lnTo>
                  <a:lnTo>
                    <a:pt x="434" y="1017"/>
                  </a:lnTo>
                  <a:lnTo>
                    <a:pt x="435" y="1022"/>
                  </a:lnTo>
                  <a:lnTo>
                    <a:pt x="434" y="1022"/>
                  </a:lnTo>
                  <a:lnTo>
                    <a:pt x="428" y="1024"/>
                  </a:lnTo>
                  <a:lnTo>
                    <a:pt x="425" y="1024"/>
                  </a:lnTo>
                  <a:lnTo>
                    <a:pt x="426" y="1022"/>
                  </a:lnTo>
                  <a:lnTo>
                    <a:pt x="426" y="1022"/>
                  </a:lnTo>
                  <a:lnTo>
                    <a:pt x="428" y="1022"/>
                  </a:lnTo>
                  <a:lnTo>
                    <a:pt x="428" y="1020"/>
                  </a:lnTo>
                  <a:lnTo>
                    <a:pt x="425" y="1020"/>
                  </a:lnTo>
                  <a:lnTo>
                    <a:pt x="425" y="1020"/>
                  </a:lnTo>
                  <a:lnTo>
                    <a:pt x="423" y="1019"/>
                  </a:lnTo>
                  <a:lnTo>
                    <a:pt x="422" y="1016"/>
                  </a:lnTo>
                  <a:lnTo>
                    <a:pt x="422" y="1016"/>
                  </a:lnTo>
                  <a:lnTo>
                    <a:pt x="422" y="1013"/>
                  </a:lnTo>
                  <a:lnTo>
                    <a:pt x="422" y="1013"/>
                  </a:lnTo>
                  <a:lnTo>
                    <a:pt x="420" y="1011"/>
                  </a:lnTo>
                  <a:lnTo>
                    <a:pt x="420" y="1013"/>
                  </a:lnTo>
                  <a:lnTo>
                    <a:pt x="419" y="1013"/>
                  </a:lnTo>
                  <a:lnTo>
                    <a:pt x="419" y="1013"/>
                  </a:lnTo>
                  <a:lnTo>
                    <a:pt x="417" y="1011"/>
                  </a:lnTo>
                  <a:lnTo>
                    <a:pt x="417" y="1008"/>
                  </a:lnTo>
                  <a:lnTo>
                    <a:pt x="415" y="1007"/>
                  </a:lnTo>
                  <a:lnTo>
                    <a:pt x="415" y="1007"/>
                  </a:lnTo>
                  <a:lnTo>
                    <a:pt x="414" y="1007"/>
                  </a:lnTo>
                  <a:lnTo>
                    <a:pt x="400" y="1014"/>
                  </a:lnTo>
                  <a:lnTo>
                    <a:pt x="391" y="1016"/>
                  </a:lnTo>
                  <a:lnTo>
                    <a:pt x="388" y="1017"/>
                  </a:lnTo>
                  <a:lnTo>
                    <a:pt x="388" y="1020"/>
                  </a:lnTo>
                  <a:lnTo>
                    <a:pt x="385" y="1020"/>
                  </a:lnTo>
                  <a:lnTo>
                    <a:pt x="383" y="1022"/>
                  </a:lnTo>
                  <a:lnTo>
                    <a:pt x="383" y="1025"/>
                  </a:lnTo>
                  <a:lnTo>
                    <a:pt x="383" y="1027"/>
                  </a:lnTo>
                  <a:lnTo>
                    <a:pt x="383" y="1027"/>
                  </a:lnTo>
                  <a:lnTo>
                    <a:pt x="383" y="1028"/>
                  </a:lnTo>
                  <a:lnTo>
                    <a:pt x="383" y="1030"/>
                  </a:lnTo>
                  <a:lnTo>
                    <a:pt x="383" y="1030"/>
                  </a:lnTo>
                  <a:lnTo>
                    <a:pt x="377" y="1025"/>
                  </a:lnTo>
                  <a:lnTo>
                    <a:pt x="375" y="1025"/>
                  </a:lnTo>
                  <a:lnTo>
                    <a:pt x="374" y="1027"/>
                  </a:lnTo>
                  <a:lnTo>
                    <a:pt x="374" y="1028"/>
                  </a:lnTo>
                  <a:lnTo>
                    <a:pt x="377" y="1030"/>
                  </a:lnTo>
                  <a:lnTo>
                    <a:pt x="375" y="1033"/>
                  </a:lnTo>
                  <a:lnTo>
                    <a:pt x="374" y="1033"/>
                  </a:lnTo>
                  <a:lnTo>
                    <a:pt x="372" y="1036"/>
                  </a:lnTo>
                  <a:lnTo>
                    <a:pt x="372" y="1036"/>
                  </a:lnTo>
                  <a:lnTo>
                    <a:pt x="374" y="1037"/>
                  </a:lnTo>
                  <a:lnTo>
                    <a:pt x="374" y="1039"/>
                  </a:lnTo>
                  <a:lnTo>
                    <a:pt x="372" y="1042"/>
                  </a:lnTo>
                  <a:lnTo>
                    <a:pt x="371" y="1044"/>
                  </a:lnTo>
                  <a:lnTo>
                    <a:pt x="368" y="1045"/>
                  </a:lnTo>
                  <a:lnTo>
                    <a:pt x="366" y="1048"/>
                  </a:lnTo>
                  <a:lnTo>
                    <a:pt x="365" y="1048"/>
                  </a:lnTo>
                  <a:lnTo>
                    <a:pt x="365" y="1048"/>
                  </a:lnTo>
                  <a:lnTo>
                    <a:pt x="365" y="1050"/>
                  </a:lnTo>
                  <a:lnTo>
                    <a:pt x="365" y="1051"/>
                  </a:lnTo>
                  <a:lnTo>
                    <a:pt x="363" y="1053"/>
                  </a:lnTo>
                  <a:lnTo>
                    <a:pt x="362" y="1057"/>
                  </a:lnTo>
                  <a:lnTo>
                    <a:pt x="362" y="1059"/>
                  </a:lnTo>
                  <a:lnTo>
                    <a:pt x="360" y="1062"/>
                  </a:lnTo>
                  <a:lnTo>
                    <a:pt x="362" y="1062"/>
                  </a:lnTo>
                  <a:lnTo>
                    <a:pt x="362" y="1064"/>
                  </a:lnTo>
                  <a:lnTo>
                    <a:pt x="362" y="1065"/>
                  </a:lnTo>
                  <a:lnTo>
                    <a:pt x="360" y="1067"/>
                  </a:lnTo>
                  <a:lnTo>
                    <a:pt x="360" y="1068"/>
                  </a:lnTo>
                  <a:lnTo>
                    <a:pt x="360" y="1070"/>
                  </a:lnTo>
                  <a:lnTo>
                    <a:pt x="360" y="1071"/>
                  </a:lnTo>
                  <a:lnTo>
                    <a:pt x="358" y="1074"/>
                  </a:lnTo>
                  <a:lnTo>
                    <a:pt x="357" y="1074"/>
                  </a:lnTo>
                  <a:lnTo>
                    <a:pt x="357" y="1076"/>
                  </a:lnTo>
                  <a:lnTo>
                    <a:pt x="355" y="1077"/>
                  </a:lnTo>
                  <a:lnTo>
                    <a:pt x="354" y="1077"/>
                  </a:lnTo>
                  <a:lnTo>
                    <a:pt x="354" y="1079"/>
                  </a:lnTo>
                  <a:lnTo>
                    <a:pt x="354" y="1081"/>
                  </a:lnTo>
                  <a:lnTo>
                    <a:pt x="352" y="1082"/>
                  </a:lnTo>
                  <a:lnTo>
                    <a:pt x="351" y="1081"/>
                  </a:lnTo>
                  <a:lnTo>
                    <a:pt x="349" y="1082"/>
                  </a:lnTo>
                  <a:lnTo>
                    <a:pt x="349" y="1082"/>
                  </a:lnTo>
                  <a:lnTo>
                    <a:pt x="349" y="1084"/>
                  </a:lnTo>
                  <a:lnTo>
                    <a:pt x="349" y="1087"/>
                  </a:lnTo>
                  <a:lnTo>
                    <a:pt x="349" y="1088"/>
                  </a:lnTo>
                  <a:lnTo>
                    <a:pt x="346" y="1088"/>
                  </a:lnTo>
                  <a:lnTo>
                    <a:pt x="343" y="1090"/>
                  </a:lnTo>
                  <a:lnTo>
                    <a:pt x="343" y="1090"/>
                  </a:lnTo>
                  <a:lnTo>
                    <a:pt x="342" y="1090"/>
                  </a:lnTo>
                  <a:lnTo>
                    <a:pt x="342" y="1091"/>
                  </a:lnTo>
                  <a:lnTo>
                    <a:pt x="340" y="1091"/>
                  </a:lnTo>
                  <a:lnTo>
                    <a:pt x="340" y="1091"/>
                  </a:lnTo>
                  <a:lnTo>
                    <a:pt x="340" y="1094"/>
                  </a:lnTo>
                  <a:lnTo>
                    <a:pt x="338" y="1096"/>
                  </a:lnTo>
                  <a:lnTo>
                    <a:pt x="335" y="1097"/>
                  </a:lnTo>
                  <a:lnTo>
                    <a:pt x="334" y="1099"/>
                  </a:lnTo>
                  <a:lnTo>
                    <a:pt x="334" y="1101"/>
                  </a:lnTo>
                  <a:lnTo>
                    <a:pt x="332" y="1105"/>
                  </a:lnTo>
                  <a:lnTo>
                    <a:pt x="331" y="1108"/>
                  </a:lnTo>
                  <a:lnTo>
                    <a:pt x="329" y="1111"/>
                  </a:lnTo>
                  <a:lnTo>
                    <a:pt x="328" y="1113"/>
                  </a:lnTo>
                  <a:lnTo>
                    <a:pt x="328" y="1116"/>
                  </a:lnTo>
                  <a:lnTo>
                    <a:pt x="328" y="1119"/>
                  </a:lnTo>
                  <a:lnTo>
                    <a:pt x="329" y="1121"/>
                  </a:lnTo>
                  <a:lnTo>
                    <a:pt x="329" y="1122"/>
                  </a:lnTo>
                  <a:lnTo>
                    <a:pt x="328" y="1122"/>
                  </a:lnTo>
                  <a:lnTo>
                    <a:pt x="325" y="1119"/>
                  </a:lnTo>
                  <a:lnTo>
                    <a:pt x="323" y="1119"/>
                  </a:lnTo>
                  <a:lnTo>
                    <a:pt x="322" y="1125"/>
                  </a:lnTo>
                  <a:lnTo>
                    <a:pt x="322" y="1127"/>
                  </a:lnTo>
                  <a:lnTo>
                    <a:pt x="320" y="1127"/>
                  </a:lnTo>
                  <a:lnTo>
                    <a:pt x="317" y="1130"/>
                  </a:lnTo>
                  <a:lnTo>
                    <a:pt x="315" y="1130"/>
                  </a:lnTo>
                  <a:lnTo>
                    <a:pt x="314" y="1128"/>
                  </a:lnTo>
                  <a:lnTo>
                    <a:pt x="312" y="1130"/>
                  </a:lnTo>
                  <a:lnTo>
                    <a:pt x="312" y="1131"/>
                  </a:lnTo>
                  <a:lnTo>
                    <a:pt x="312" y="1134"/>
                  </a:lnTo>
                  <a:lnTo>
                    <a:pt x="312" y="1134"/>
                  </a:lnTo>
                  <a:lnTo>
                    <a:pt x="312" y="1136"/>
                  </a:lnTo>
                  <a:lnTo>
                    <a:pt x="311" y="1136"/>
                  </a:lnTo>
                  <a:lnTo>
                    <a:pt x="309" y="1139"/>
                  </a:lnTo>
                  <a:lnTo>
                    <a:pt x="308" y="1141"/>
                  </a:lnTo>
                  <a:lnTo>
                    <a:pt x="308" y="1142"/>
                  </a:lnTo>
                  <a:lnTo>
                    <a:pt x="308" y="1144"/>
                  </a:lnTo>
                  <a:lnTo>
                    <a:pt x="305" y="1147"/>
                  </a:lnTo>
                  <a:lnTo>
                    <a:pt x="305" y="1147"/>
                  </a:lnTo>
                  <a:lnTo>
                    <a:pt x="303" y="1147"/>
                  </a:lnTo>
                  <a:lnTo>
                    <a:pt x="301" y="1147"/>
                  </a:lnTo>
                  <a:lnTo>
                    <a:pt x="301" y="1148"/>
                  </a:lnTo>
                  <a:lnTo>
                    <a:pt x="301" y="1150"/>
                  </a:lnTo>
                  <a:lnTo>
                    <a:pt x="305" y="1154"/>
                  </a:lnTo>
                  <a:lnTo>
                    <a:pt x="305" y="1159"/>
                  </a:lnTo>
                  <a:lnTo>
                    <a:pt x="305" y="1161"/>
                  </a:lnTo>
                  <a:lnTo>
                    <a:pt x="298" y="1159"/>
                  </a:lnTo>
                  <a:lnTo>
                    <a:pt x="297" y="1158"/>
                  </a:lnTo>
                  <a:lnTo>
                    <a:pt x="295" y="1158"/>
                  </a:lnTo>
                  <a:lnTo>
                    <a:pt x="295" y="1159"/>
                  </a:lnTo>
                  <a:lnTo>
                    <a:pt x="294" y="1159"/>
                  </a:lnTo>
                  <a:lnTo>
                    <a:pt x="294" y="1159"/>
                  </a:lnTo>
                  <a:lnTo>
                    <a:pt x="292" y="1158"/>
                  </a:lnTo>
                  <a:lnTo>
                    <a:pt x="292" y="1156"/>
                  </a:lnTo>
                  <a:lnTo>
                    <a:pt x="289" y="1156"/>
                  </a:lnTo>
                  <a:lnTo>
                    <a:pt x="289" y="1156"/>
                  </a:lnTo>
                  <a:lnTo>
                    <a:pt x="288" y="1156"/>
                  </a:lnTo>
                  <a:lnTo>
                    <a:pt x="286" y="1164"/>
                  </a:lnTo>
                  <a:lnTo>
                    <a:pt x="286" y="1165"/>
                  </a:lnTo>
                  <a:lnTo>
                    <a:pt x="286" y="1167"/>
                  </a:lnTo>
                  <a:lnTo>
                    <a:pt x="288" y="1168"/>
                  </a:lnTo>
                  <a:lnTo>
                    <a:pt x="288" y="1170"/>
                  </a:lnTo>
                  <a:lnTo>
                    <a:pt x="286" y="1173"/>
                  </a:lnTo>
                  <a:lnTo>
                    <a:pt x="286" y="1174"/>
                  </a:lnTo>
                  <a:lnTo>
                    <a:pt x="288" y="1176"/>
                  </a:lnTo>
                  <a:lnTo>
                    <a:pt x="289" y="1178"/>
                  </a:lnTo>
                  <a:lnTo>
                    <a:pt x="288" y="1181"/>
                  </a:lnTo>
                  <a:lnTo>
                    <a:pt x="286" y="1182"/>
                  </a:lnTo>
                  <a:lnTo>
                    <a:pt x="285" y="1182"/>
                  </a:lnTo>
                  <a:lnTo>
                    <a:pt x="283" y="1181"/>
                  </a:lnTo>
                  <a:lnTo>
                    <a:pt x="281" y="1182"/>
                  </a:lnTo>
                  <a:lnTo>
                    <a:pt x="280" y="1184"/>
                  </a:lnTo>
                  <a:lnTo>
                    <a:pt x="274" y="1184"/>
                  </a:lnTo>
                  <a:lnTo>
                    <a:pt x="271" y="1184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71" y="1188"/>
                  </a:lnTo>
                  <a:lnTo>
                    <a:pt x="271" y="1188"/>
                  </a:lnTo>
                  <a:lnTo>
                    <a:pt x="269" y="1188"/>
                  </a:lnTo>
                  <a:lnTo>
                    <a:pt x="269" y="1190"/>
                  </a:lnTo>
                  <a:lnTo>
                    <a:pt x="268" y="1190"/>
                  </a:lnTo>
                  <a:lnTo>
                    <a:pt x="265" y="1188"/>
                  </a:lnTo>
                  <a:lnTo>
                    <a:pt x="263" y="1190"/>
                  </a:lnTo>
                  <a:lnTo>
                    <a:pt x="263" y="1191"/>
                  </a:lnTo>
                  <a:lnTo>
                    <a:pt x="258" y="1196"/>
                  </a:lnTo>
                  <a:lnTo>
                    <a:pt x="258" y="1198"/>
                  </a:lnTo>
                  <a:lnTo>
                    <a:pt x="258" y="1199"/>
                  </a:lnTo>
                  <a:lnTo>
                    <a:pt x="258" y="1201"/>
                  </a:lnTo>
                  <a:lnTo>
                    <a:pt x="258" y="1201"/>
                  </a:lnTo>
                  <a:lnTo>
                    <a:pt x="258" y="1204"/>
                  </a:lnTo>
                  <a:lnTo>
                    <a:pt x="258" y="1205"/>
                  </a:lnTo>
                  <a:lnTo>
                    <a:pt x="258" y="1205"/>
                  </a:lnTo>
                  <a:lnTo>
                    <a:pt x="257" y="1204"/>
                  </a:lnTo>
                  <a:lnTo>
                    <a:pt x="255" y="1199"/>
                  </a:lnTo>
                  <a:lnTo>
                    <a:pt x="255" y="1199"/>
                  </a:lnTo>
                  <a:lnTo>
                    <a:pt x="254" y="1199"/>
                  </a:lnTo>
                  <a:lnTo>
                    <a:pt x="252" y="1199"/>
                  </a:lnTo>
                  <a:lnTo>
                    <a:pt x="251" y="1202"/>
                  </a:lnTo>
                  <a:lnTo>
                    <a:pt x="252" y="1204"/>
                  </a:lnTo>
                  <a:lnTo>
                    <a:pt x="254" y="1204"/>
                  </a:lnTo>
                  <a:lnTo>
                    <a:pt x="254" y="1205"/>
                  </a:lnTo>
                  <a:lnTo>
                    <a:pt x="254" y="1205"/>
                  </a:lnTo>
                  <a:lnTo>
                    <a:pt x="254" y="1207"/>
                  </a:lnTo>
                  <a:lnTo>
                    <a:pt x="254" y="1208"/>
                  </a:lnTo>
                  <a:lnTo>
                    <a:pt x="252" y="1208"/>
                  </a:lnTo>
                  <a:lnTo>
                    <a:pt x="252" y="1208"/>
                  </a:lnTo>
                  <a:lnTo>
                    <a:pt x="249" y="1208"/>
                  </a:lnTo>
                  <a:lnTo>
                    <a:pt x="251" y="1208"/>
                  </a:lnTo>
                  <a:lnTo>
                    <a:pt x="252" y="1211"/>
                  </a:lnTo>
                  <a:lnTo>
                    <a:pt x="246" y="1211"/>
                  </a:lnTo>
                  <a:lnTo>
                    <a:pt x="251" y="1213"/>
                  </a:lnTo>
                  <a:lnTo>
                    <a:pt x="252" y="1215"/>
                  </a:lnTo>
                  <a:lnTo>
                    <a:pt x="251" y="1216"/>
                  </a:lnTo>
                  <a:lnTo>
                    <a:pt x="248" y="1218"/>
                  </a:lnTo>
                  <a:lnTo>
                    <a:pt x="248" y="1219"/>
                  </a:lnTo>
                  <a:lnTo>
                    <a:pt x="246" y="1221"/>
                  </a:lnTo>
                  <a:lnTo>
                    <a:pt x="246" y="1221"/>
                  </a:lnTo>
                  <a:lnTo>
                    <a:pt x="246" y="1222"/>
                  </a:lnTo>
                  <a:lnTo>
                    <a:pt x="246" y="1224"/>
                  </a:lnTo>
                  <a:lnTo>
                    <a:pt x="246" y="1224"/>
                  </a:lnTo>
                  <a:lnTo>
                    <a:pt x="246" y="1225"/>
                  </a:lnTo>
                  <a:lnTo>
                    <a:pt x="245" y="1225"/>
                  </a:lnTo>
                  <a:lnTo>
                    <a:pt x="245" y="1225"/>
                  </a:lnTo>
                  <a:lnTo>
                    <a:pt x="243" y="1227"/>
                  </a:lnTo>
                  <a:lnTo>
                    <a:pt x="241" y="1227"/>
                  </a:lnTo>
                  <a:lnTo>
                    <a:pt x="241" y="1228"/>
                  </a:lnTo>
                  <a:lnTo>
                    <a:pt x="240" y="1228"/>
                  </a:lnTo>
                  <a:lnTo>
                    <a:pt x="240" y="1227"/>
                  </a:lnTo>
                  <a:lnTo>
                    <a:pt x="238" y="1224"/>
                  </a:lnTo>
                  <a:lnTo>
                    <a:pt x="237" y="1222"/>
                  </a:lnTo>
                  <a:lnTo>
                    <a:pt x="237" y="1221"/>
                  </a:lnTo>
                  <a:lnTo>
                    <a:pt x="237" y="1218"/>
                  </a:lnTo>
                  <a:lnTo>
                    <a:pt x="235" y="1216"/>
                  </a:lnTo>
                  <a:lnTo>
                    <a:pt x="235" y="1215"/>
                  </a:lnTo>
                  <a:lnTo>
                    <a:pt x="234" y="1215"/>
                  </a:lnTo>
                  <a:lnTo>
                    <a:pt x="234" y="1215"/>
                  </a:lnTo>
                  <a:lnTo>
                    <a:pt x="232" y="1216"/>
                  </a:lnTo>
                  <a:lnTo>
                    <a:pt x="232" y="1218"/>
                  </a:lnTo>
                  <a:lnTo>
                    <a:pt x="232" y="1218"/>
                  </a:lnTo>
                  <a:lnTo>
                    <a:pt x="231" y="1218"/>
                  </a:lnTo>
                  <a:lnTo>
                    <a:pt x="231" y="1216"/>
                  </a:lnTo>
                  <a:lnTo>
                    <a:pt x="229" y="1215"/>
                  </a:lnTo>
                  <a:lnTo>
                    <a:pt x="229" y="1215"/>
                  </a:lnTo>
                  <a:lnTo>
                    <a:pt x="229" y="1216"/>
                  </a:lnTo>
                  <a:lnTo>
                    <a:pt x="229" y="1219"/>
                  </a:lnTo>
                  <a:lnTo>
                    <a:pt x="228" y="1222"/>
                  </a:lnTo>
                  <a:lnTo>
                    <a:pt x="226" y="1224"/>
                  </a:lnTo>
                  <a:lnTo>
                    <a:pt x="223" y="1222"/>
                  </a:lnTo>
                  <a:lnTo>
                    <a:pt x="224" y="1224"/>
                  </a:lnTo>
                  <a:lnTo>
                    <a:pt x="224" y="1224"/>
                  </a:lnTo>
                  <a:lnTo>
                    <a:pt x="224" y="1225"/>
                  </a:lnTo>
                  <a:lnTo>
                    <a:pt x="223" y="1225"/>
                  </a:lnTo>
                  <a:lnTo>
                    <a:pt x="223" y="1227"/>
                  </a:lnTo>
                  <a:lnTo>
                    <a:pt x="221" y="1228"/>
                  </a:lnTo>
                  <a:lnTo>
                    <a:pt x="224" y="1235"/>
                  </a:lnTo>
                  <a:lnTo>
                    <a:pt x="224" y="1236"/>
                  </a:lnTo>
                  <a:lnTo>
                    <a:pt x="221" y="1235"/>
                  </a:lnTo>
                  <a:lnTo>
                    <a:pt x="221" y="1235"/>
                  </a:lnTo>
                  <a:lnTo>
                    <a:pt x="221" y="1236"/>
                  </a:lnTo>
                  <a:lnTo>
                    <a:pt x="220" y="1238"/>
                  </a:lnTo>
                  <a:lnTo>
                    <a:pt x="220" y="1239"/>
                  </a:lnTo>
                  <a:lnTo>
                    <a:pt x="218" y="1239"/>
                  </a:lnTo>
                  <a:lnTo>
                    <a:pt x="218" y="1245"/>
                  </a:lnTo>
                  <a:lnTo>
                    <a:pt x="217" y="1245"/>
                  </a:lnTo>
                  <a:lnTo>
                    <a:pt x="217" y="1248"/>
                  </a:lnTo>
                  <a:lnTo>
                    <a:pt x="217" y="1250"/>
                  </a:lnTo>
                  <a:lnTo>
                    <a:pt x="217" y="1251"/>
                  </a:lnTo>
                  <a:lnTo>
                    <a:pt x="217" y="1253"/>
                  </a:lnTo>
                  <a:lnTo>
                    <a:pt x="217" y="1253"/>
                  </a:lnTo>
                  <a:lnTo>
                    <a:pt x="217" y="1255"/>
                  </a:lnTo>
                  <a:lnTo>
                    <a:pt x="215" y="1256"/>
                  </a:lnTo>
                  <a:lnTo>
                    <a:pt x="214" y="1256"/>
                  </a:lnTo>
                  <a:lnTo>
                    <a:pt x="214" y="1253"/>
                  </a:lnTo>
                  <a:lnTo>
                    <a:pt x="212" y="1251"/>
                  </a:lnTo>
                  <a:lnTo>
                    <a:pt x="211" y="1251"/>
                  </a:lnTo>
                  <a:lnTo>
                    <a:pt x="209" y="1250"/>
                  </a:lnTo>
                  <a:lnTo>
                    <a:pt x="209" y="1248"/>
                  </a:lnTo>
                  <a:lnTo>
                    <a:pt x="209" y="1247"/>
                  </a:lnTo>
                  <a:lnTo>
                    <a:pt x="209" y="1245"/>
                  </a:lnTo>
                  <a:lnTo>
                    <a:pt x="208" y="1244"/>
                  </a:lnTo>
                  <a:lnTo>
                    <a:pt x="206" y="1244"/>
                  </a:lnTo>
                  <a:lnTo>
                    <a:pt x="206" y="1244"/>
                  </a:lnTo>
                  <a:lnTo>
                    <a:pt x="204" y="1247"/>
                  </a:lnTo>
                  <a:lnTo>
                    <a:pt x="206" y="1251"/>
                  </a:lnTo>
                  <a:lnTo>
                    <a:pt x="208" y="1256"/>
                  </a:lnTo>
                  <a:lnTo>
                    <a:pt x="214" y="1262"/>
                  </a:lnTo>
                  <a:lnTo>
                    <a:pt x="212" y="1261"/>
                  </a:lnTo>
                  <a:lnTo>
                    <a:pt x="209" y="1261"/>
                  </a:lnTo>
                  <a:lnTo>
                    <a:pt x="208" y="1259"/>
                  </a:lnTo>
                  <a:lnTo>
                    <a:pt x="204" y="1256"/>
                  </a:lnTo>
                  <a:lnTo>
                    <a:pt x="203" y="1255"/>
                  </a:lnTo>
                  <a:lnTo>
                    <a:pt x="200" y="1253"/>
                  </a:lnTo>
                  <a:lnTo>
                    <a:pt x="198" y="1256"/>
                  </a:lnTo>
                  <a:lnTo>
                    <a:pt x="198" y="1261"/>
                  </a:lnTo>
                  <a:lnTo>
                    <a:pt x="200" y="1262"/>
                  </a:lnTo>
                  <a:lnTo>
                    <a:pt x="201" y="1264"/>
                  </a:lnTo>
                  <a:lnTo>
                    <a:pt x="201" y="1264"/>
                  </a:lnTo>
                  <a:lnTo>
                    <a:pt x="203" y="1264"/>
                  </a:lnTo>
                  <a:lnTo>
                    <a:pt x="203" y="1264"/>
                  </a:lnTo>
                  <a:lnTo>
                    <a:pt x="208" y="1270"/>
                  </a:lnTo>
                  <a:lnTo>
                    <a:pt x="209" y="1271"/>
                  </a:lnTo>
                  <a:lnTo>
                    <a:pt x="211" y="1275"/>
                  </a:lnTo>
                  <a:lnTo>
                    <a:pt x="211" y="1276"/>
                  </a:lnTo>
                  <a:lnTo>
                    <a:pt x="212" y="1278"/>
                  </a:lnTo>
                  <a:lnTo>
                    <a:pt x="212" y="1279"/>
                  </a:lnTo>
                  <a:lnTo>
                    <a:pt x="211" y="1281"/>
                  </a:lnTo>
                  <a:lnTo>
                    <a:pt x="209" y="1285"/>
                  </a:lnTo>
                  <a:lnTo>
                    <a:pt x="208" y="1285"/>
                  </a:lnTo>
                  <a:lnTo>
                    <a:pt x="206" y="1282"/>
                  </a:lnTo>
                  <a:lnTo>
                    <a:pt x="204" y="1282"/>
                  </a:lnTo>
                  <a:lnTo>
                    <a:pt x="204" y="1284"/>
                  </a:lnTo>
                  <a:lnTo>
                    <a:pt x="203" y="1287"/>
                  </a:lnTo>
                  <a:lnTo>
                    <a:pt x="200" y="1292"/>
                  </a:lnTo>
                  <a:lnTo>
                    <a:pt x="200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2"/>
                  </a:lnTo>
                  <a:lnTo>
                    <a:pt x="198" y="1293"/>
                  </a:lnTo>
                  <a:lnTo>
                    <a:pt x="197" y="1293"/>
                  </a:lnTo>
                  <a:lnTo>
                    <a:pt x="197" y="1293"/>
                  </a:lnTo>
                  <a:lnTo>
                    <a:pt x="195" y="1293"/>
                  </a:lnTo>
                  <a:lnTo>
                    <a:pt x="194" y="1292"/>
                  </a:lnTo>
                  <a:lnTo>
                    <a:pt x="194" y="1293"/>
                  </a:lnTo>
                  <a:lnTo>
                    <a:pt x="191" y="1295"/>
                  </a:lnTo>
                  <a:lnTo>
                    <a:pt x="191" y="1295"/>
                  </a:lnTo>
                  <a:lnTo>
                    <a:pt x="189" y="1293"/>
                  </a:lnTo>
                  <a:lnTo>
                    <a:pt x="189" y="1292"/>
                  </a:lnTo>
                  <a:lnTo>
                    <a:pt x="188" y="1292"/>
                  </a:lnTo>
                  <a:lnTo>
                    <a:pt x="186" y="1292"/>
                  </a:lnTo>
                  <a:lnTo>
                    <a:pt x="186" y="1293"/>
                  </a:lnTo>
                  <a:lnTo>
                    <a:pt x="186" y="1295"/>
                  </a:lnTo>
                  <a:lnTo>
                    <a:pt x="186" y="1296"/>
                  </a:lnTo>
                  <a:lnTo>
                    <a:pt x="184" y="1298"/>
                  </a:lnTo>
                  <a:lnTo>
                    <a:pt x="184" y="1299"/>
                  </a:lnTo>
                  <a:lnTo>
                    <a:pt x="183" y="1301"/>
                  </a:lnTo>
                  <a:lnTo>
                    <a:pt x="181" y="1301"/>
                  </a:lnTo>
                  <a:lnTo>
                    <a:pt x="183" y="1304"/>
                  </a:lnTo>
                  <a:lnTo>
                    <a:pt x="183" y="1308"/>
                  </a:lnTo>
                  <a:lnTo>
                    <a:pt x="177" y="1302"/>
                  </a:lnTo>
                  <a:lnTo>
                    <a:pt x="175" y="1302"/>
                  </a:lnTo>
                  <a:lnTo>
                    <a:pt x="177" y="1301"/>
                  </a:lnTo>
                  <a:lnTo>
                    <a:pt x="177" y="1299"/>
                  </a:lnTo>
                  <a:lnTo>
                    <a:pt x="175" y="1293"/>
                  </a:lnTo>
                  <a:lnTo>
                    <a:pt x="175" y="1292"/>
                  </a:lnTo>
                  <a:lnTo>
                    <a:pt x="177" y="1288"/>
                  </a:lnTo>
                  <a:lnTo>
                    <a:pt x="175" y="1288"/>
                  </a:lnTo>
                  <a:lnTo>
                    <a:pt x="171" y="1292"/>
                  </a:lnTo>
                  <a:lnTo>
                    <a:pt x="169" y="1292"/>
                  </a:lnTo>
                  <a:lnTo>
                    <a:pt x="166" y="1292"/>
                  </a:lnTo>
                  <a:lnTo>
                    <a:pt x="166" y="1292"/>
                  </a:lnTo>
                  <a:lnTo>
                    <a:pt x="163" y="1295"/>
                  </a:lnTo>
                  <a:lnTo>
                    <a:pt x="163" y="1296"/>
                  </a:lnTo>
                  <a:lnTo>
                    <a:pt x="163" y="1296"/>
                  </a:lnTo>
                  <a:lnTo>
                    <a:pt x="166" y="1296"/>
                  </a:lnTo>
                  <a:lnTo>
                    <a:pt x="168" y="1298"/>
                  </a:lnTo>
                  <a:lnTo>
                    <a:pt x="166" y="1299"/>
                  </a:lnTo>
                  <a:lnTo>
                    <a:pt x="163" y="1298"/>
                  </a:lnTo>
                  <a:lnTo>
                    <a:pt x="161" y="1298"/>
                  </a:lnTo>
                  <a:lnTo>
                    <a:pt x="160" y="1296"/>
                  </a:lnTo>
                  <a:lnTo>
                    <a:pt x="158" y="1299"/>
                  </a:lnTo>
                  <a:lnTo>
                    <a:pt x="155" y="1298"/>
                  </a:lnTo>
                  <a:lnTo>
                    <a:pt x="152" y="1293"/>
                  </a:lnTo>
                  <a:lnTo>
                    <a:pt x="151" y="1293"/>
                  </a:lnTo>
                  <a:lnTo>
                    <a:pt x="149" y="1295"/>
                  </a:lnTo>
                  <a:lnTo>
                    <a:pt x="147" y="1296"/>
                  </a:lnTo>
                  <a:lnTo>
                    <a:pt x="147" y="1298"/>
                  </a:lnTo>
                  <a:lnTo>
                    <a:pt x="147" y="1299"/>
                  </a:lnTo>
                  <a:lnTo>
                    <a:pt x="147" y="1301"/>
                  </a:lnTo>
                  <a:lnTo>
                    <a:pt x="151" y="1302"/>
                  </a:lnTo>
                  <a:lnTo>
                    <a:pt x="151" y="1304"/>
                  </a:lnTo>
                  <a:lnTo>
                    <a:pt x="149" y="1304"/>
                  </a:lnTo>
                  <a:lnTo>
                    <a:pt x="147" y="1304"/>
                  </a:lnTo>
                  <a:lnTo>
                    <a:pt x="147" y="1305"/>
                  </a:lnTo>
                  <a:lnTo>
                    <a:pt x="149" y="1305"/>
                  </a:lnTo>
                  <a:lnTo>
                    <a:pt x="149" y="1307"/>
                  </a:lnTo>
                  <a:lnTo>
                    <a:pt x="149" y="1308"/>
                  </a:lnTo>
                  <a:lnTo>
                    <a:pt x="149" y="1310"/>
                  </a:lnTo>
                  <a:lnTo>
                    <a:pt x="149" y="1312"/>
                  </a:lnTo>
                  <a:lnTo>
                    <a:pt x="151" y="1312"/>
                  </a:lnTo>
                  <a:lnTo>
                    <a:pt x="152" y="1312"/>
                  </a:lnTo>
                  <a:lnTo>
                    <a:pt x="152" y="1312"/>
                  </a:lnTo>
                  <a:lnTo>
                    <a:pt x="151" y="1313"/>
                  </a:lnTo>
                  <a:lnTo>
                    <a:pt x="152" y="1316"/>
                  </a:lnTo>
                  <a:lnTo>
                    <a:pt x="154" y="1318"/>
                  </a:lnTo>
                  <a:lnTo>
                    <a:pt x="158" y="1322"/>
                  </a:lnTo>
                  <a:lnTo>
                    <a:pt x="161" y="1327"/>
                  </a:lnTo>
                  <a:lnTo>
                    <a:pt x="158" y="1328"/>
                  </a:lnTo>
                  <a:lnTo>
                    <a:pt x="157" y="1327"/>
                  </a:lnTo>
                  <a:lnTo>
                    <a:pt x="154" y="1325"/>
                  </a:lnTo>
                  <a:lnTo>
                    <a:pt x="152" y="1325"/>
                  </a:lnTo>
                  <a:lnTo>
                    <a:pt x="149" y="1321"/>
                  </a:lnTo>
                  <a:lnTo>
                    <a:pt x="147" y="1319"/>
                  </a:lnTo>
                  <a:lnTo>
                    <a:pt x="146" y="1322"/>
                  </a:lnTo>
                  <a:lnTo>
                    <a:pt x="146" y="1324"/>
                  </a:lnTo>
                  <a:lnTo>
                    <a:pt x="146" y="1324"/>
                  </a:lnTo>
                  <a:lnTo>
                    <a:pt x="144" y="1324"/>
                  </a:lnTo>
                  <a:lnTo>
                    <a:pt x="144" y="1324"/>
                  </a:lnTo>
                  <a:lnTo>
                    <a:pt x="143" y="1325"/>
                  </a:lnTo>
                  <a:lnTo>
                    <a:pt x="143" y="1325"/>
                  </a:lnTo>
                  <a:lnTo>
                    <a:pt x="143" y="1325"/>
                  </a:lnTo>
                  <a:lnTo>
                    <a:pt x="143" y="1327"/>
                  </a:lnTo>
                  <a:lnTo>
                    <a:pt x="143" y="1330"/>
                  </a:lnTo>
                  <a:lnTo>
                    <a:pt x="143" y="1333"/>
                  </a:lnTo>
                  <a:lnTo>
                    <a:pt x="144" y="1339"/>
                  </a:lnTo>
                  <a:lnTo>
                    <a:pt x="141" y="1341"/>
                  </a:lnTo>
                  <a:lnTo>
                    <a:pt x="141" y="1341"/>
                  </a:lnTo>
                  <a:lnTo>
                    <a:pt x="141" y="1342"/>
                  </a:lnTo>
                  <a:lnTo>
                    <a:pt x="140" y="1345"/>
                  </a:lnTo>
                  <a:lnTo>
                    <a:pt x="140" y="1347"/>
                  </a:lnTo>
                  <a:lnTo>
                    <a:pt x="140" y="1350"/>
                  </a:lnTo>
                  <a:lnTo>
                    <a:pt x="140" y="1352"/>
                  </a:lnTo>
                  <a:lnTo>
                    <a:pt x="138" y="1352"/>
                  </a:lnTo>
                  <a:lnTo>
                    <a:pt x="137" y="1353"/>
                  </a:lnTo>
                  <a:lnTo>
                    <a:pt x="137" y="1355"/>
                  </a:lnTo>
                  <a:lnTo>
                    <a:pt x="135" y="1355"/>
                  </a:lnTo>
                  <a:lnTo>
                    <a:pt x="131" y="1353"/>
                  </a:lnTo>
                  <a:lnTo>
                    <a:pt x="127" y="1353"/>
                  </a:lnTo>
                  <a:lnTo>
                    <a:pt x="127" y="1355"/>
                  </a:lnTo>
                  <a:lnTo>
                    <a:pt x="126" y="1356"/>
                  </a:lnTo>
                  <a:lnTo>
                    <a:pt x="126" y="1359"/>
                  </a:lnTo>
                  <a:lnTo>
                    <a:pt x="126" y="1362"/>
                  </a:lnTo>
                  <a:lnTo>
                    <a:pt x="126" y="1362"/>
                  </a:lnTo>
                  <a:lnTo>
                    <a:pt x="124" y="1365"/>
                  </a:lnTo>
                  <a:lnTo>
                    <a:pt x="124" y="1365"/>
                  </a:lnTo>
                  <a:lnTo>
                    <a:pt x="124" y="1367"/>
                  </a:lnTo>
                  <a:lnTo>
                    <a:pt x="123" y="1367"/>
                  </a:lnTo>
                  <a:lnTo>
                    <a:pt x="121" y="1365"/>
                  </a:lnTo>
                  <a:lnTo>
                    <a:pt x="120" y="1365"/>
                  </a:lnTo>
                  <a:lnTo>
                    <a:pt x="118" y="1367"/>
                  </a:lnTo>
                  <a:lnTo>
                    <a:pt x="118" y="1370"/>
                  </a:lnTo>
                  <a:lnTo>
                    <a:pt x="118" y="1372"/>
                  </a:lnTo>
                  <a:lnTo>
                    <a:pt x="120" y="1373"/>
                  </a:lnTo>
                  <a:lnTo>
                    <a:pt x="120" y="1375"/>
                  </a:lnTo>
                  <a:lnTo>
                    <a:pt x="121" y="1375"/>
                  </a:lnTo>
                  <a:lnTo>
                    <a:pt x="121" y="1375"/>
                  </a:lnTo>
                  <a:lnTo>
                    <a:pt x="121" y="1376"/>
                  </a:lnTo>
                  <a:lnTo>
                    <a:pt x="121" y="1378"/>
                  </a:lnTo>
                  <a:lnTo>
                    <a:pt x="121" y="1379"/>
                  </a:lnTo>
                  <a:lnTo>
                    <a:pt x="120" y="1382"/>
                  </a:lnTo>
                  <a:lnTo>
                    <a:pt x="117" y="1384"/>
                  </a:lnTo>
                  <a:lnTo>
                    <a:pt x="117" y="1384"/>
                  </a:lnTo>
                  <a:lnTo>
                    <a:pt x="117" y="1387"/>
                  </a:lnTo>
                  <a:lnTo>
                    <a:pt x="115" y="1393"/>
                  </a:lnTo>
                  <a:lnTo>
                    <a:pt x="115" y="1398"/>
                  </a:lnTo>
                  <a:lnTo>
                    <a:pt x="117" y="1395"/>
                  </a:lnTo>
                  <a:lnTo>
                    <a:pt x="117" y="1393"/>
                  </a:lnTo>
                  <a:lnTo>
                    <a:pt x="118" y="1393"/>
                  </a:lnTo>
                  <a:lnTo>
                    <a:pt x="120" y="1395"/>
                  </a:lnTo>
                  <a:lnTo>
                    <a:pt x="124" y="1396"/>
                  </a:lnTo>
                  <a:lnTo>
                    <a:pt x="126" y="1399"/>
                  </a:lnTo>
                  <a:lnTo>
                    <a:pt x="124" y="1399"/>
                  </a:lnTo>
                  <a:lnTo>
                    <a:pt x="123" y="1401"/>
                  </a:lnTo>
                  <a:lnTo>
                    <a:pt x="121" y="1402"/>
                  </a:lnTo>
                  <a:lnTo>
                    <a:pt x="120" y="1404"/>
                  </a:lnTo>
                  <a:lnTo>
                    <a:pt x="121" y="1407"/>
                  </a:lnTo>
                  <a:lnTo>
                    <a:pt x="121" y="1409"/>
                  </a:lnTo>
                  <a:lnTo>
                    <a:pt x="120" y="1409"/>
                  </a:lnTo>
                  <a:lnTo>
                    <a:pt x="120" y="1412"/>
                  </a:lnTo>
                  <a:lnTo>
                    <a:pt x="118" y="1413"/>
                  </a:lnTo>
                  <a:lnTo>
                    <a:pt x="118" y="1416"/>
                  </a:lnTo>
                  <a:lnTo>
                    <a:pt x="118" y="1419"/>
                  </a:lnTo>
                  <a:lnTo>
                    <a:pt x="120" y="1419"/>
                  </a:lnTo>
                  <a:lnTo>
                    <a:pt x="120" y="1419"/>
                  </a:lnTo>
                  <a:lnTo>
                    <a:pt x="121" y="1418"/>
                  </a:lnTo>
                  <a:lnTo>
                    <a:pt x="121" y="1421"/>
                  </a:lnTo>
                  <a:lnTo>
                    <a:pt x="120" y="1425"/>
                  </a:lnTo>
                  <a:lnTo>
                    <a:pt x="120" y="1429"/>
                  </a:lnTo>
                  <a:lnTo>
                    <a:pt x="121" y="1427"/>
                  </a:lnTo>
                  <a:lnTo>
                    <a:pt x="123" y="1425"/>
                  </a:lnTo>
                  <a:lnTo>
                    <a:pt x="124" y="1425"/>
                  </a:lnTo>
                  <a:lnTo>
                    <a:pt x="124" y="1425"/>
                  </a:lnTo>
                  <a:lnTo>
                    <a:pt x="124" y="1427"/>
                  </a:lnTo>
                  <a:lnTo>
                    <a:pt x="124" y="1427"/>
                  </a:lnTo>
                  <a:lnTo>
                    <a:pt x="123" y="1429"/>
                  </a:lnTo>
                  <a:lnTo>
                    <a:pt x="124" y="1430"/>
                  </a:lnTo>
                  <a:lnTo>
                    <a:pt x="124" y="1430"/>
                  </a:lnTo>
                  <a:lnTo>
                    <a:pt x="124" y="1430"/>
                  </a:lnTo>
                  <a:lnTo>
                    <a:pt x="124" y="1433"/>
                  </a:lnTo>
                  <a:lnTo>
                    <a:pt x="124" y="1436"/>
                  </a:lnTo>
                  <a:lnTo>
                    <a:pt x="124" y="1439"/>
                  </a:lnTo>
                  <a:lnTo>
                    <a:pt x="126" y="1439"/>
                  </a:lnTo>
                  <a:lnTo>
                    <a:pt x="124" y="1436"/>
                  </a:lnTo>
                  <a:lnTo>
                    <a:pt x="126" y="1435"/>
                  </a:lnTo>
                  <a:lnTo>
                    <a:pt x="131" y="1427"/>
                  </a:lnTo>
                  <a:lnTo>
                    <a:pt x="131" y="1429"/>
                  </a:lnTo>
                  <a:lnTo>
                    <a:pt x="131" y="1432"/>
                  </a:lnTo>
                  <a:lnTo>
                    <a:pt x="129" y="1433"/>
                  </a:lnTo>
                  <a:lnTo>
                    <a:pt x="129" y="1435"/>
                  </a:lnTo>
                  <a:lnTo>
                    <a:pt x="131" y="1436"/>
                  </a:lnTo>
                  <a:lnTo>
                    <a:pt x="131" y="1438"/>
                  </a:lnTo>
                  <a:lnTo>
                    <a:pt x="135" y="1436"/>
                  </a:lnTo>
                  <a:lnTo>
                    <a:pt x="135" y="1438"/>
                  </a:lnTo>
                  <a:lnTo>
                    <a:pt x="135" y="1445"/>
                  </a:lnTo>
                  <a:lnTo>
                    <a:pt x="135" y="1449"/>
                  </a:lnTo>
                  <a:lnTo>
                    <a:pt x="134" y="1453"/>
                  </a:lnTo>
                  <a:lnTo>
                    <a:pt x="134" y="1456"/>
                  </a:lnTo>
                  <a:lnTo>
                    <a:pt x="135" y="1455"/>
                  </a:lnTo>
                  <a:lnTo>
                    <a:pt x="135" y="1452"/>
                  </a:lnTo>
                  <a:lnTo>
                    <a:pt x="137" y="1450"/>
                  </a:lnTo>
                  <a:lnTo>
                    <a:pt x="138" y="1450"/>
                  </a:lnTo>
                  <a:lnTo>
                    <a:pt x="137" y="1456"/>
                  </a:lnTo>
                  <a:lnTo>
                    <a:pt x="138" y="1458"/>
                  </a:lnTo>
                  <a:lnTo>
                    <a:pt x="140" y="1459"/>
                  </a:lnTo>
                  <a:lnTo>
                    <a:pt x="138" y="1461"/>
                  </a:lnTo>
                  <a:lnTo>
                    <a:pt x="138" y="1462"/>
                  </a:lnTo>
                  <a:lnTo>
                    <a:pt x="135" y="1464"/>
                  </a:lnTo>
                  <a:lnTo>
                    <a:pt x="134" y="1467"/>
                  </a:lnTo>
                  <a:lnTo>
                    <a:pt x="135" y="1469"/>
                  </a:lnTo>
                  <a:lnTo>
                    <a:pt x="135" y="1470"/>
                  </a:lnTo>
                  <a:lnTo>
                    <a:pt x="134" y="1475"/>
                  </a:lnTo>
                  <a:lnTo>
                    <a:pt x="132" y="1472"/>
                  </a:lnTo>
                  <a:lnTo>
                    <a:pt x="132" y="1473"/>
                  </a:lnTo>
                  <a:lnTo>
                    <a:pt x="131" y="1481"/>
                  </a:lnTo>
                  <a:lnTo>
                    <a:pt x="131" y="1484"/>
                  </a:lnTo>
                  <a:lnTo>
                    <a:pt x="127" y="1495"/>
                  </a:lnTo>
                  <a:lnTo>
                    <a:pt x="131" y="1496"/>
                  </a:lnTo>
                  <a:lnTo>
                    <a:pt x="132" y="1496"/>
                  </a:lnTo>
                  <a:lnTo>
                    <a:pt x="131" y="1499"/>
                  </a:lnTo>
                  <a:lnTo>
                    <a:pt x="132" y="1501"/>
                  </a:lnTo>
                  <a:lnTo>
                    <a:pt x="134" y="1502"/>
                  </a:lnTo>
                  <a:lnTo>
                    <a:pt x="134" y="1502"/>
                  </a:lnTo>
                  <a:lnTo>
                    <a:pt x="134" y="1502"/>
                  </a:lnTo>
                  <a:lnTo>
                    <a:pt x="138" y="1502"/>
                  </a:lnTo>
                  <a:lnTo>
                    <a:pt x="138" y="1502"/>
                  </a:lnTo>
                  <a:lnTo>
                    <a:pt x="138" y="1504"/>
                  </a:lnTo>
                  <a:lnTo>
                    <a:pt x="140" y="1506"/>
                  </a:lnTo>
                  <a:lnTo>
                    <a:pt x="140" y="1506"/>
                  </a:lnTo>
                  <a:lnTo>
                    <a:pt x="141" y="1507"/>
                  </a:lnTo>
                  <a:lnTo>
                    <a:pt x="141" y="1509"/>
                  </a:lnTo>
                  <a:lnTo>
                    <a:pt x="140" y="1509"/>
                  </a:lnTo>
                  <a:lnTo>
                    <a:pt x="140" y="1510"/>
                  </a:lnTo>
                  <a:lnTo>
                    <a:pt x="140" y="1512"/>
                  </a:lnTo>
                  <a:lnTo>
                    <a:pt x="141" y="1515"/>
                  </a:lnTo>
                  <a:lnTo>
                    <a:pt x="143" y="1518"/>
                  </a:lnTo>
                  <a:lnTo>
                    <a:pt x="143" y="1519"/>
                  </a:lnTo>
                  <a:lnTo>
                    <a:pt x="144" y="1521"/>
                  </a:lnTo>
                  <a:lnTo>
                    <a:pt x="146" y="1521"/>
                  </a:lnTo>
                  <a:lnTo>
                    <a:pt x="146" y="1522"/>
                  </a:lnTo>
                  <a:lnTo>
                    <a:pt x="146" y="1524"/>
                  </a:lnTo>
                  <a:lnTo>
                    <a:pt x="146" y="1526"/>
                  </a:lnTo>
                  <a:lnTo>
                    <a:pt x="146" y="1529"/>
                  </a:lnTo>
                  <a:lnTo>
                    <a:pt x="144" y="1530"/>
                  </a:lnTo>
                  <a:lnTo>
                    <a:pt x="146" y="1533"/>
                  </a:lnTo>
                  <a:lnTo>
                    <a:pt x="152" y="1538"/>
                  </a:lnTo>
                  <a:lnTo>
                    <a:pt x="154" y="1539"/>
                  </a:lnTo>
                  <a:lnTo>
                    <a:pt x="152" y="1541"/>
                  </a:lnTo>
                  <a:lnTo>
                    <a:pt x="151" y="1538"/>
                  </a:lnTo>
                  <a:lnTo>
                    <a:pt x="149" y="1538"/>
                  </a:lnTo>
                  <a:lnTo>
                    <a:pt x="149" y="1539"/>
                  </a:lnTo>
                  <a:lnTo>
                    <a:pt x="151" y="1543"/>
                  </a:lnTo>
                  <a:lnTo>
                    <a:pt x="151" y="1544"/>
                  </a:lnTo>
                  <a:lnTo>
                    <a:pt x="151" y="1546"/>
                  </a:lnTo>
                  <a:lnTo>
                    <a:pt x="151" y="1547"/>
                  </a:lnTo>
                  <a:lnTo>
                    <a:pt x="151" y="1549"/>
                  </a:lnTo>
                  <a:lnTo>
                    <a:pt x="152" y="1550"/>
                  </a:lnTo>
                  <a:lnTo>
                    <a:pt x="154" y="1550"/>
                  </a:lnTo>
                  <a:lnTo>
                    <a:pt x="155" y="1558"/>
                  </a:lnTo>
                  <a:lnTo>
                    <a:pt x="158" y="1561"/>
                  </a:lnTo>
                  <a:lnTo>
                    <a:pt x="163" y="1567"/>
                  </a:lnTo>
                  <a:lnTo>
                    <a:pt x="163" y="1569"/>
                  </a:lnTo>
                  <a:lnTo>
                    <a:pt x="161" y="1567"/>
                  </a:lnTo>
                  <a:lnTo>
                    <a:pt x="157" y="1564"/>
                  </a:lnTo>
                  <a:lnTo>
                    <a:pt x="147" y="1559"/>
                  </a:lnTo>
                  <a:lnTo>
                    <a:pt x="146" y="1561"/>
                  </a:lnTo>
                  <a:lnTo>
                    <a:pt x="144" y="1561"/>
                  </a:lnTo>
                  <a:lnTo>
                    <a:pt x="144" y="1561"/>
                  </a:lnTo>
                  <a:lnTo>
                    <a:pt x="144" y="1563"/>
                  </a:lnTo>
                  <a:lnTo>
                    <a:pt x="144" y="1564"/>
                  </a:lnTo>
                  <a:lnTo>
                    <a:pt x="147" y="1569"/>
                  </a:lnTo>
                  <a:lnTo>
                    <a:pt x="149" y="1569"/>
                  </a:lnTo>
                  <a:lnTo>
                    <a:pt x="151" y="1567"/>
                  </a:lnTo>
                  <a:lnTo>
                    <a:pt x="152" y="1569"/>
                  </a:lnTo>
                  <a:lnTo>
                    <a:pt x="152" y="1569"/>
                  </a:lnTo>
                  <a:lnTo>
                    <a:pt x="154" y="1573"/>
                  </a:lnTo>
                  <a:lnTo>
                    <a:pt x="152" y="1575"/>
                  </a:lnTo>
                  <a:lnTo>
                    <a:pt x="141" y="1573"/>
                  </a:lnTo>
                  <a:lnTo>
                    <a:pt x="143" y="1575"/>
                  </a:lnTo>
                  <a:lnTo>
                    <a:pt x="147" y="1578"/>
                  </a:lnTo>
                  <a:lnTo>
                    <a:pt x="151" y="1579"/>
                  </a:lnTo>
                  <a:lnTo>
                    <a:pt x="152" y="1581"/>
                  </a:lnTo>
                  <a:lnTo>
                    <a:pt x="152" y="1584"/>
                  </a:lnTo>
                  <a:lnTo>
                    <a:pt x="151" y="1586"/>
                  </a:lnTo>
                  <a:lnTo>
                    <a:pt x="146" y="1584"/>
                  </a:lnTo>
                  <a:lnTo>
                    <a:pt x="143" y="1586"/>
                  </a:lnTo>
                  <a:lnTo>
                    <a:pt x="144" y="1587"/>
                  </a:lnTo>
                  <a:lnTo>
                    <a:pt x="146" y="1587"/>
                  </a:lnTo>
                  <a:lnTo>
                    <a:pt x="147" y="1589"/>
                  </a:lnTo>
                  <a:lnTo>
                    <a:pt x="149" y="1589"/>
                  </a:lnTo>
                  <a:lnTo>
                    <a:pt x="149" y="1590"/>
                  </a:lnTo>
                  <a:lnTo>
                    <a:pt x="149" y="1593"/>
                  </a:lnTo>
                  <a:lnTo>
                    <a:pt x="149" y="1595"/>
                  </a:lnTo>
                  <a:lnTo>
                    <a:pt x="149" y="1596"/>
                  </a:lnTo>
                  <a:lnTo>
                    <a:pt x="149" y="1596"/>
                  </a:lnTo>
                  <a:lnTo>
                    <a:pt x="151" y="1598"/>
                  </a:lnTo>
                  <a:lnTo>
                    <a:pt x="151" y="1598"/>
                  </a:lnTo>
                  <a:lnTo>
                    <a:pt x="151" y="1599"/>
                  </a:lnTo>
                  <a:lnTo>
                    <a:pt x="151" y="1601"/>
                  </a:lnTo>
                  <a:lnTo>
                    <a:pt x="151" y="1603"/>
                  </a:lnTo>
                  <a:lnTo>
                    <a:pt x="151" y="1604"/>
                  </a:lnTo>
                  <a:lnTo>
                    <a:pt x="151" y="1606"/>
                  </a:lnTo>
                  <a:lnTo>
                    <a:pt x="147" y="1606"/>
                  </a:lnTo>
                  <a:lnTo>
                    <a:pt x="147" y="1607"/>
                  </a:lnTo>
                  <a:lnTo>
                    <a:pt x="147" y="1609"/>
                  </a:lnTo>
                  <a:lnTo>
                    <a:pt x="146" y="1609"/>
                  </a:lnTo>
                  <a:lnTo>
                    <a:pt x="146" y="1610"/>
                  </a:lnTo>
                  <a:lnTo>
                    <a:pt x="149" y="1612"/>
                  </a:lnTo>
                  <a:lnTo>
                    <a:pt x="151" y="1613"/>
                  </a:lnTo>
                  <a:lnTo>
                    <a:pt x="152" y="1616"/>
                  </a:lnTo>
                  <a:lnTo>
                    <a:pt x="149" y="1618"/>
                  </a:lnTo>
                  <a:lnTo>
                    <a:pt x="147" y="1620"/>
                  </a:lnTo>
                  <a:lnTo>
                    <a:pt x="147" y="1620"/>
                  </a:lnTo>
                  <a:lnTo>
                    <a:pt x="147" y="1621"/>
                  </a:lnTo>
                  <a:lnTo>
                    <a:pt x="144" y="1621"/>
                  </a:lnTo>
                  <a:lnTo>
                    <a:pt x="144" y="1621"/>
                  </a:lnTo>
                  <a:lnTo>
                    <a:pt x="143" y="1623"/>
                  </a:lnTo>
                  <a:lnTo>
                    <a:pt x="144" y="1623"/>
                  </a:lnTo>
                  <a:lnTo>
                    <a:pt x="143" y="1624"/>
                  </a:lnTo>
                  <a:lnTo>
                    <a:pt x="143" y="1624"/>
                  </a:lnTo>
                  <a:lnTo>
                    <a:pt x="144" y="1626"/>
                  </a:lnTo>
                  <a:lnTo>
                    <a:pt x="144" y="1626"/>
                  </a:lnTo>
                  <a:lnTo>
                    <a:pt x="144" y="1626"/>
                  </a:lnTo>
                  <a:lnTo>
                    <a:pt x="143" y="1626"/>
                  </a:lnTo>
                  <a:lnTo>
                    <a:pt x="143" y="1626"/>
                  </a:lnTo>
                  <a:lnTo>
                    <a:pt x="143" y="1627"/>
                  </a:lnTo>
                  <a:lnTo>
                    <a:pt x="144" y="1629"/>
                  </a:lnTo>
                  <a:lnTo>
                    <a:pt x="144" y="1633"/>
                  </a:lnTo>
                  <a:lnTo>
                    <a:pt x="143" y="1635"/>
                  </a:lnTo>
                  <a:lnTo>
                    <a:pt x="144" y="1636"/>
                  </a:lnTo>
                  <a:lnTo>
                    <a:pt x="144" y="1638"/>
                  </a:lnTo>
                  <a:lnTo>
                    <a:pt x="146" y="1640"/>
                  </a:lnTo>
                  <a:lnTo>
                    <a:pt x="144" y="1640"/>
                  </a:lnTo>
                  <a:lnTo>
                    <a:pt x="140" y="1638"/>
                  </a:lnTo>
                  <a:lnTo>
                    <a:pt x="137" y="1640"/>
                  </a:lnTo>
                  <a:lnTo>
                    <a:pt x="140" y="1640"/>
                  </a:lnTo>
                  <a:lnTo>
                    <a:pt x="140" y="1641"/>
                  </a:lnTo>
                  <a:lnTo>
                    <a:pt x="140" y="1641"/>
                  </a:lnTo>
                  <a:lnTo>
                    <a:pt x="140" y="1641"/>
                  </a:lnTo>
                  <a:lnTo>
                    <a:pt x="138" y="1643"/>
                  </a:lnTo>
                  <a:lnTo>
                    <a:pt x="137" y="1641"/>
                  </a:lnTo>
                  <a:lnTo>
                    <a:pt x="134" y="1640"/>
                  </a:lnTo>
                  <a:lnTo>
                    <a:pt x="132" y="1640"/>
                  </a:lnTo>
                  <a:lnTo>
                    <a:pt x="132" y="1641"/>
                  </a:lnTo>
                  <a:lnTo>
                    <a:pt x="134" y="1643"/>
                  </a:lnTo>
                  <a:lnTo>
                    <a:pt x="135" y="1644"/>
                  </a:lnTo>
                  <a:lnTo>
                    <a:pt x="135" y="1644"/>
                  </a:lnTo>
                  <a:lnTo>
                    <a:pt x="134" y="1646"/>
                  </a:lnTo>
                  <a:lnTo>
                    <a:pt x="135" y="1647"/>
                  </a:lnTo>
                  <a:lnTo>
                    <a:pt x="138" y="1655"/>
                  </a:lnTo>
                  <a:lnTo>
                    <a:pt x="138" y="1656"/>
                  </a:lnTo>
                  <a:lnTo>
                    <a:pt x="138" y="1656"/>
                  </a:lnTo>
                  <a:lnTo>
                    <a:pt x="140" y="1658"/>
                  </a:lnTo>
                  <a:lnTo>
                    <a:pt x="140" y="1658"/>
                  </a:lnTo>
                  <a:lnTo>
                    <a:pt x="141" y="1658"/>
                  </a:lnTo>
                  <a:lnTo>
                    <a:pt x="141" y="1660"/>
                  </a:lnTo>
                  <a:lnTo>
                    <a:pt x="141" y="1661"/>
                  </a:lnTo>
                  <a:lnTo>
                    <a:pt x="141" y="1663"/>
                  </a:lnTo>
                  <a:lnTo>
                    <a:pt x="141" y="1663"/>
                  </a:lnTo>
                  <a:lnTo>
                    <a:pt x="140" y="1663"/>
                  </a:lnTo>
                  <a:lnTo>
                    <a:pt x="140" y="1661"/>
                  </a:lnTo>
                  <a:lnTo>
                    <a:pt x="140" y="1661"/>
                  </a:lnTo>
                  <a:lnTo>
                    <a:pt x="138" y="1661"/>
                  </a:lnTo>
                  <a:lnTo>
                    <a:pt x="137" y="1663"/>
                  </a:lnTo>
                  <a:lnTo>
                    <a:pt x="137" y="1663"/>
                  </a:lnTo>
                  <a:lnTo>
                    <a:pt x="138" y="1666"/>
                  </a:lnTo>
                  <a:lnTo>
                    <a:pt x="138" y="1666"/>
                  </a:lnTo>
                  <a:lnTo>
                    <a:pt x="140" y="1666"/>
                  </a:lnTo>
                  <a:lnTo>
                    <a:pt x="141" y="1667"/>
                  </a:lnTo>
                  <a:lnTo>
                    <a:pt x="141" y="1667"/>
                  </a:lnTo>
                  <a:lnTo>
                    <a:pt x="140" y="1669"/>
                  </a:lnTo>
                  <a:lnTo>
                    <a:pt x="138" y="1669"/>
                  </a:lnTo>
                  <a:lnTo>
                    <a:pt x="135" y="1669"/>
                  </a:lnTo>
                  <a:lnTo>
                    <a:pt x="134" y="1669"/>
                  </a:lnTo>
                  <a:lnTo>
                    <a:pt x="135" y="1672"/>
                  </a:lnTo>
                  <a:lnTo>
                    <a:pt x="134" y="1673"/>
                  </a:lnTo>
                  <a:lnTo>
                    <a:pt x="135" y="1675"/>
                  </a:lnTo>
                  <a:lnTo>
                    <a:pt x="135" y="1675"/>
                  </a:lnTo>
                  <a:lnTo>
                    <a:pt x="135" y="1676"/>
                  </a:lnTo>
                  <a:lnTo>
                    <a:pt x="135" y="1676"/>
                  </a:lnTo>
                  <a:lnTo>
                    <a:pt x="137" y="1676"/>
                  </a:lnTo>
                  <a:lnTo>
                    <a:pt x="138" y="1678"/>
                  </a:lnTo>
                  <a:lnTo>
                    <a:pt x="138" y="1680"/>
                  </a:lnTo>
                  <a:lnTo>
                    <a:pt x="138" y="1683"/>
                  </a:lnTo>
                  <a:lnTo>
                    <a:pt x="138" y="1683"/>
                  </a:lnTo>
                  <a:lnTo>
                    <a:pt x="140" y="1683"/>
                  </a:lnTo>
                  <a:lnTo>
                    <a:pt x="141" y="1686"/>
                  </a:lnTo>
                  <a:lnTo>
                    <a:pt x="141" y="1684"/>
                  </a:lnTo>
                  <a:lnTo>
                    <a:pt x="140" y="1686"/>
                  </a:lnTo>
                  <a:lnTo>
                    <a:pt x="138" y="1686"/>
                  </a:lnTo>
                  <a:lnTo>
                    <a:pt x="140" y="1687"/>
                  </a:lnTo>
                  <a:lnTo>
                    <a:pt x="141" y="1689"/>
                  </a:lnTo>
                  <a:lnTo>
                    <a:pt x="143" y="1689"/>
                  </a:lnTo>
                  <a:lnTo>
                    <a:pt x="144" y="1689"/>
                  </a:lnTo>
                  <a:lnTo>
                    <a:pt x="144" y="1690"/>
                  </a:lnTo>
                  <a:lnTo>
                    <a:pt x="141" y="1690"/>
                  </a:lnTo>
                  <a:lnTo>
                    <a:pt x="143" y="1692"/>
                  </a:lnTo>
                  <a:lnTo>
                    <a:pt x="143" y="1693"/>
                  </a:lnTo>
                  <a:lnTo>
                    <a:pt x="143" y="1695"/>
                  </a:lnTo>
                  <a:lnTo>
                    <a:pt x="143" y="1696"/>
                  </a:lnTo>
                  <a:lnTo>
                    <a:pt x="141" y="1696"/>
                  </a:lnTo>
                  <a:lnTo>
                    <a:pt x="137" y="1695"/>
                  </a:lnTo>
                  <a:lnTo>
                    <a:pt x="137" y="1696"/>
                  </a:lnTo>
                  <a:lnTo>
                    <a:pt x="137" y="1696"/>
                  </a:lnTo>
                  <a:lnTo>
                    <a:pt x="137" y="1696"/>
                  </a:lnTo>
                  <a:lnTo>
                    <a:pt x="137" y="1698"/>
                  </a:lnTo>
                  <a:lnTo>
                    <a:pt x="137" y="1700"/>
                  </a:lnTo>
                  <a:lnTo>
                    <a:pt x="138" y="1703"/>
                  </a:lnTo>
                  <a:lnTo>
                    <a:pt x="140" y="1704"/>
                  </a:lnTo>
                  <a:lnTo>
                    <a:pt x="141" y="1704"/>
                  </a:lnTo>
                  <a:lnTo>
                    <a:pt x="144" y="1707"/>
                  </a:lnTo>
                  <a:lnTo>
                    <a:pt x="144" y="1709"/>
                  </a:lnTo>
                  <a:lnTo>
                    <a:pt x="143" y="1709"/>
                  </a:lnTo>
                  <a:lnTo>
                    <a:pt x="141" y="1707"/>
                  </a:lnTo>
                  <a:lnTo>
                    <a:pt x="141" y="1710"/>
                  </a:lnTo>
                  <a:lnTo>
                    <a:pt x="141" y="1710"/>
                  </a:lnTo>
                  <a:lnTo>
                    <a:pt x="141" y="1710"/>
                  </a:lnTo>
                  <a:lnTo>
                    <a:pt x="140" y="1710"/>
                  </a:lnTo>
                  <a:lnTo>
                    <a:pt x="140" y="1712"/>
                  </a:lnTo>
                  <a:lnTo>
                    <a:pt x="141" y="1712"/>
                  </a:lnTo>
                  <a:lnTo>
                    <a:pt x="143" y="1713"/>
                  </a:lnTo>
                  <a:lnTo>
                    <a:pt x="143" y="1713"/>
                  </a:lnTo>
                  <a:lnTo>
                    <a:pt x="144" y="1713"/>
                  </a:lnTo>
                  <a:lnTo>
                    <a:pt x="146" y="1713"/>
                  </a:lnTo>
                  <a:lnTo>
                    <a:pt x="152" y="1713"/>
                  </a:lnTo>
                  <a:lnTo>
                    <a:pt x="154" y="1713"/>
                  </a:lnTo>
                  <a:lnTo>
                    <a:pt x="154" y="1715"/>
                  </a:lnTo>
                  <a:lnTo>
                    <a:pt x="149" y="1713"/>
                  </a:lnTo>
                  <a:lnTo>
                    <a:pt x="149" y="1713"/>
                  </a:lnTo>
                  <a:lnTo>
                    <a:pt x="152" y="1720"/>
                  </a:lnTo>
                  <a:lnTo>
                    <a:pt x="154" y="1724"/>
                  </a:lnTo>
                  <a:lnTo>
                    <a:pt x="152" y="1726"/>
                  </a:lnTo>
                  <a:lnTo>
                    <a:pt x="154" y="1726"/>
                  </a:lnTo>
                  <a:lnTo>
                    <a:pt x="155" y="1726"/>
                  </a:lnTo>
                  <a:lnTo>
                    <a:pt x="158" y="1724"/>
                  </a:lnTo>
                  <a:lnTo>
                    <a:pt x="158" y="1723"/>
                  </a:lnTo>
                  <a:lnTo>
                    <a:pt x="158" y="1721"/>
                  </a:lnTo>
                  <a:lnTo>
                    <a:pt x="158" y="1720"/>
                  </a:lnTo>
                  <a:lnTo>
                    <a:pt x="160" y="1720"/>
                  </a:lnTo>
                  <a:lnTo>
                    <a:pt x="160" y="1718"/>
                  </a:lnTo>
                  <a:lnTo>
                    <a:pt x="160" y="1718"/>
                  </a:lnTo>
                  <a:lnTo>
                    <a:pt x="160" y="1715"/>
                  </a:lnTo>
                  <a:lnTo>
                    <a:pt x="160" y="1713"/>
                  </a:lnTo>
                  <a:lnTo>
                    <a:pt x="161" y="1713"/>
                  </a:lnTo>
                  <a:lnTo>
                    <a:pt x="164" y="1712"/>
                  </a:lnTo>
                  <a:lnTo>
                    <a:pt x="166" y="1710"/>
                  </a:lnTo>
                  <a:lnTo>
                    <a:pt x="168" y="1709"/>
                  </a:lnTo>
                  <a:lnTo>
                    <a:pt x="172" y="1704"/>
                  </a:lnTo>
                  <a:lnTo>
                    <a:pt x="172" y="1707"/>
                  </a:lnTo>
                  <a:lnTo>
                    <a:pt x="172" y="1709"/>
                  </a:lnTo>
                  <a:lnTo>
                    <a:pt x="172" y="1710"/>
                  </a:lnTo>
                  <a:lnTo>
                    <a:pt x="174" y="1710"/>
                  </a:lnTo>
                  <a:lnTo>
                    <a:pt x="171" y="1712"/>
                  </a:lnTo>
                  <a:lnTo>
                    <a:pt x="171" y="1713"/>
                  </a:lnTo>
                  <a:lnTo>
                    <a:pt x="171" y="1715"/>
                  </a:lnTo>
                  <a:lnTo>
                    <a:pt x="171" y="1717"/>
                  </a:lnTo>
                  <a:lnTo>
                    <a:pt x="171" y="1721"/>
                  </a:lnTo>
                  <a:lnTo>
                    <a:pt x="169" y="1726"/>
                  </a:lnTo>
                  <a:lnTo>
                    <a:pt x="169" y="1727"/>
                  </a:lnTo>
                  <a:lnTo>
                    <a:pt x="171" y="1726"/>
                  </a:lnTo>
                  <a:lnTo>
                    <a:pt x="172" y="1726"/>
                  </a:lnTo>
                  <a:lnTo>
                    <a:pt x="175" y="1727"/>
                  </a:lnTo>
                  <a:lnTo>
                    <a:pt x="174" y="1724"/>
                  </a:lnTo>
                  <a:lnTo>
                    <a:pt x="172" y="1723"/>
                  </a:lnTo>
                  <a:lnTo>
                    <a:pt x="174" y="1721"/>
                  </a:lnTo>
                  <a:lnTo>
                    <a:pt x="175" y="1720"/>
                  </a:lnTo>
                  <a:lnTo>
                    <a:pt x="177" y="1720"/>
                  </a:lnTo>
                  <a:lnTo>
                    <a:pt x="180" y="1721"/>
                  </a:lnTo>
                  <a:lnTo>
                    <a:pt x="181" y="1721"/>
                  </a:lnTo>
                  <a:lnTo>
                    <a:pt x="180" y="1723"/>
                  </a:lnTo>
                  <a:lnTo>
                    <a:pt x="180" y="1724"/>
                  </a:lnTo>
                  <a:lnTo>
                    <a:pt x="180" y="1726"/>
                  </a:lnTo>
                  <a:lnTo>
                    <a:pt x="183" y="1726"/>
                  </a:lnTo>
                  <a:lnTo>
                    <a:pt x="183" y="1727"/>
                  </a:lnTo>
                  <a:lnTo>
                    <a:pt x="183" y="1727"/>
                  </a:lnTo>
                  <a:lnTo>
                    <a:pt x="184" y="1727"/>
                  </a:lnTo>
                  <a:lnTo>
                    <a:pt x="184" y="1729"/>
                  </a:lnTo>
                  <a:lnTo>
                    <a:pt x="184" y="1729"/>
                  </a:lnTo>
                  <a:lnTo>
                    <a:pt x="186" y="1729"/>
                  </a:lnTo>
                  <a:lnTo>
                    <a:pt x="186" y="1729"/>
                  </a:lnTo>
                  <a:lnTo>
                    <a:pt x="186" y="1729"/>
                  </a:lnTo>
                  <a:lnTo>
                    <a:pt x="186" y="1730"/>
                  </a:lnTo>
                  <a:lnTo>
                    <a:pt x="186" y="1730"/>
                  </a:lnTo>
                  <a:lnTo>
                    <a:pt x="188" y="1733"/>
                  </a:lnTo>
                  <a:lnTo>
                    <a:pt x="189" y="1733"/>
                  </a:lnTo>
                  <a:lnTo>
                    <a:pt x="191" y="1732"/>
                  </a:lnTo>
                  <a:lnTo>
                    <a:pt x="192" y="1730"/>
                  </a:lnTo>
                  <a:lnTo>
                    <a:pt x="192" y="1730"/>
                  </a:lnTo>
                  <a:lnTo>
                    <a:pt x="192" y="1733"/>
                  </a:lnTo>
                  <a:lnTo>
                    <a:pt x="194" y="1733"/>
                  </a:lnTo>
                  <a:lnTo>
                    <a:pt x="197" y="1733"/>
                  </a:lnTo>
                  <a:lnTo>
                    <a:pt x="198" y="1735"/>
                  </a:lnTo>
                  <a:lnTo>
                    <a:pt x="203" y="1738"/>
                  </a:lnTo>
                  <a:lnTo>
                    <a:pt x="206" y="1741"/>
                  </a:lnTo>
                  <a:lnTo>
                    <a:pt x="206" y="1743"/>
                  </a:lnTo>
                  <a:lnTo>
                    <a:pt x="209" y="1743"/>
                  </a:lnTo>
                  <a:lnTo>
                    <a:pt x="220" y="1740"/>
                  </a:lnTo>
                  <a:lnTo>
                    <a:pt x="218" y="1743"/>
                  </a:lnTo>
                  <a:lnTo>
                    <a:pt x="224" y="1744"/>
                  </a:lnTo>
                  <a:lnTo>
                    <a:pt x="228" y="1743"/>
                  </a:lnTo>
                  <a:lnTo>
                    <a:pt x="231" y="1740"/>
                  </a:lnTo>
                  <a:lnTo>
                    <a:pt x="232" y="1741"/>
                  </a:lnTo>
                  <a:lnTo>
                    <a:pt x="231" y="1743"/>
                  </a:lnTo>
                  <a:lnTo>
                    <a:pt x="229" y="1744"/>
                  </a:lnTo>
                  <a:lnTo>
                    <a:pt x="224" y="1749"/>
                  </a:lnTo>
                  <a:lnTo>
                    <a:pt x="224" y="1752"/>
                  </a:lnTo>
                  <a:lnTo>
                    <a:pt x="223" y="1753"/>
                  </a:lnTo>
                  <a:lnTo>
                    <a:pt x="221" y="1757"/>
                  </a:lnTo>
                  <a:lnTo>
                    <a:pt x="220" y="1758"/>
                  </a:lnTo>
                  <a:lnTo>
                    <a:pt x="218" y="1758"/>
                  </a:lnTo>
                  <a:lnTo>
                    <a:pt x="218" y="1760"/>
                  </a:lnTo>
                  <a:lnTo>
                    <a:pt x="218" y="1761"/>
                  </a:lnTo>
                  <a:lnTo>
                    <a:pt x="218" y="1761"/>
                  </a:lnTo>
                  <a:lnTo>
                    <a:pt x="218" y="1763"/>
                  </a:lnTo>
                  <a:lnTo>
                    <a:pt x="221" y="1763"/>
                  </a:lnTo>
                  <a:lnTo>
                    <a:pt x="224" y="1761"/>
                  </a:lnTo>
                  <a:lnTo>
                    <a:pt x="228" y="1758"/>
                  </a:lnTo>
                  <a:lnTo>
                    <a:pt x="229" y="1758"/>
                  </a:lnTo>
                  <a:lnTo>
                    <a:pt x="232" y="1758"/>
                  </a:lnTo>
                  <a:lnTo>
                    <a:pt x="229" y="1760"/>
                  </a:lnTo>
                  <a:lnTo>
                    <a:pt x="229" y="1760"/>
                  </a:lnTo>
                  <a:lnTo>
                    <a:pt x="228" y="1763"/>
                  </a:lnTo>
                  <a:lnTo>
                    <a:pt x="228" y="1764"/>
                  </a:lnTo>
                  <a:lnTo>
                    <a:pt x="229" y="1764"/>
                  </a:lnTo>
                  <a:lnTo>
                    <a:pt x="224" y="1767"/>
                  </a:lnTo>
                  <a:lnTo>
                    <a:pt x="223" y="1769"/>
                  </a:lnTo>
                  <a:lnTo>
                    <a:pt x="226" y="1769"/>
                  </a:lnTo>
                  <a:lnTo>
                    <a:pt x="231" y="1766"/>
                  </a:lnTo>
                  <a:lnTo>
                    <a:pt x="240" y="1764"/>
                  </a:lnTo>
                  <a:lnTo>
                    <a:pt x="249" y="1753"/>
                  </a:lnTo>
                  <a:lnTo>
                    <a:pt x="255" y="1752"/>
                  </a:lnTo>
                  <a:lnTo>
                    <a:pt x="258" y="1753"/>
                  </a:lnTo>
                  <a:lnTo>
                    <a:pt x="260" y="1750"/>
                  </a:lnTo>
                  <a:lnTo>
                    <a:pt x="261" y="1747"/>
                  </a:lnTo>
                  <a:lnTo>
                    <a:pt x="263" y="1746"/>
                  </a:lnTo>
                  <a:lnTo>
                    <a:pt x="265" y="1746"/>
                  </a:lnTo>
                  <a:lnTo>
                    <a:pt x="265" y="1747"/>
                  </a:lnTo>
                  <a:lnTo>
                    <a:pt x="265" y="1749"/>
                  </a:lnTo>
                  <a:lnTo>
                    <a:pt x="263" y="1750"/>
                  </a:lnTo>
                  <a:lnTo>
                    <a:pt x="261" y="1752"/>
                  </a:lnTo>
                  <a:lnTo>
                    <a:pt x="261" y="1753"/>
                  </a:lnTo>
                  <a:lnTo>
                    <a:pt x="261" y="1755"/>
                  </a:lnTo>
                  <a:lnTo>
                    <a:pt x="260" y="1758"/>
                  </a:lnTo>
                  <a:lnTo>
                    <a:pt x="255" y="1763"/>
                  </a:lnTo>
                  <a:lnTo>
                    <a:pt x="254" y="1764"/>
                  </a:lnTo>
                  <a:lnTo>
                    <a:pt x="249" y="1772"/>
                  </a:lnTo>
                  <a:lnTo>
                    <a:pt x="251" y="1772"/>
                  </a:lnTo>
                  <a:lnTo>
                    <a:pt x="251" y="1773"/>
                  </a:lnTo>
                  <a:lnTo>
                    <a:pt x="251" y="1775"/>
                  </a:lnTo>
                  <a:lnTo>
                    <a:pt x="249" y="1777"/>
                  </a:lnTo>
                  <a:lnTo>
                    <a:pt x="251" y="1778"/>
                  </a:lnTo>
                  <a:lnTo>
                    <a:pt x="252" y="1780"/>
                  </a:lnTo>
                  <a:lnTo>
                    <a:pt x="255" y="1780"/>
                  </a:lnTo>
                  <a:lnTo>
                    <a:pt x="255" y="1781"/>
                  </a:lnTo>
                  <a:lnTo>
                    <a:pt x="257" y="1783"/>
                  </a:lnTo>
                  <a:lnTo>
                    <a:pt x="257" y="1786"/>
                  </a:lnTo>
                  <a:lnTo>
                    <a:pt x="257" y="1784"/>
                  </a:lnTo>
                  <a:lnTo>
                    <a:pt x="258" y="1784"/>
                  </a:lnTo>
                  <a:lnTo>
                    <a:pt x="260" y="1783"/>
                  </a:lnTo>
                  <a:lnTo>
                    <a:pt x="260" y="1783"/>
                  </a:lnTo>
                  <a:lnTo>
                    <a:pt x="260" y="1780"/>
                  </a:lnTo>
                  <a:lnTo>
                    <a:pt x="261" y="1780"/>
                  </a:lnTo>
                  <a:lnTo>
                    <a:pt x="263" y="1781"/>
                  </a:lnTo>
                  <a:lnTo>
                    <a:pt x="260" y="1784"/>
                  </a:lnTo>
                  <a:lnTo>
                    <a:pt x="258" y="1786"/>
                  </a:lnTo>
                  <a:lnTo>
                    <a:pt x="258" y="1787"/>
                  </a:lnTo>
                  <a:lnTo>
                    <a:pt x="258" y="1790"/>
                  </a:lnTo>
                  <a:lnTo>
                    <a:pt x="260" y="1792"/>
                  </a:lnTo>
                  <a:lnTo>
                    <a:pt x="261" y="1792"/>
                  </a:lnTo>
                  <a:lnTo>
                    <a:pt x="263" y="1794"/>
                  </a:lnTo>
                  <a:lnTo>
                    <a:pt x="268" y="1794"/>
                  </a:lnTo>
                  <a:lnTo>
                    <a:pt x="274" y="1792"/>
                  </a:lnTo>
                  <a:lnTo>
                    <a:pt x="278" y="1794"/>
                  </a:lnTo>
                  <a:lnTo>
                    <a:pt x="277" y="1794"/>
                  </a:lnTo>
                  <a:lnTo>
                    <a:pt x="275" y="1798"/>
                  </a:lnTo>
                  <a:lnTo>
                    <a:pt x="274" y="1800"/>
                  </a:lnTo>
                  <a:lnTo>
                    <a:pt x="269" y="1801"/>
                  </a:lnTo>
                  <a:lnTo>
                    <a:pt x="268" y="1803"/>
                  </a:lnTo>
                  <a:lnTo>
                    <a:pt x="268" y="1804"/>
                  </a:lnTo>
                  <a:lnTo>
                    <a:pt x="266" y="1807"/>
                  </a:lnTo>
                  <a:lnTo>
                    <a:pt x="266" y="1809"/>
                  </a:lnTo>
                  <a:lnTo>
                    <a:pt x="268" y="1810"/>
                  </a:lnTo>
                  <a:lnTo>
                    <a:pt x="268" y="1810"/>
                  </a:lnTo>
                  <a:lnTo>
                    <a:pt x="268" y="1809"/>
                  </a:lnTo>
                  <a:lnTo>
                    <a:pt x="269" y="1807"/>
                  </a:lnTo>
                  <a:lnTo>
                    <a:pt x="272" y="1809"/>
                  </a:lnTo>
                  <a:lnTo>
                    <a:pt x="272" y="1807"/>
                  </a:lnTo>
                  <a:lnTo>
                    <a:pt x="272" y="1807"/>
                  </a:lnTo>
                  <a:lnTo>
                    <a:pt x="272" y="1806"/>
                  </a:lnTo>
                  <a:lnTo>
                    <a:pt x="274" y="1807"/>
                  </a:lnTo>
                  <a:lnTo>
                    <a:pt x="275" y="1807"/>
                  </a:lnTo>
                  <a:lnTo>
                    <a:pt x="274" y="1807"/>
                  </a:lnTo>
                  <a:lnTo>
                    <a:pt x="274" y="1809"/>
                  </a:lnTo>
                  <a:lnTo>
                    <a:pt x="274" y="1809"/>
                  </a:lnTo>
                  <a:lnTo>
                    <a:pt x="275" y="1809"/>
                  </a:lnTo>
                  <a:lnTo>
                    <a:pt x="277" y="1807"/>
                  </a:lnTo>
                  <a:lnTo>
                    <a:pt x="283" y="1795"/>
                  </a:lnTo>
                  <a:lnTo>
                    <a:pt x="283" y="1795"/>
                  </a:lnTo>
                  <a:lnTo>
                    <a:pt x="283" y="1798"/>
                  </a:lnTo>
                  <a:lnTo>
                    <a:pt x="281" y="1803"/>
                  </a:lnTo>
                  <a:lnTo>
                    <a:pt x="281" y="1806"/>
                  </a:lnTo>
                  <a:lnTo>
                    <a:pt x="278" y="1809"/>
                  </a:lnTo>
                  <a:lnTo>
                    <a:pt x="277" y="1810"/>
                  </a:lnTo>
                  <a:lnTo>
                    <a:pt x="275" y="1812"/>
                  </a:lnTo>
                  <a:lnTo>
                    <a:pt x="274" y="1812"/>
                  </a:lnTo>
                  <a:lnTo>
                    <a:pt x="272" y="1812"/>
                  </a:lnTo>
                  <a:lnTo>
                    <a:pt x="271" y="1812"/>
                  </a:lnTo>
                  <a:lnTo>
                    <a:pt x="271" y="1812"/>
                  </a:lnTo>
                  <a:lnTo>
                    <a:pt x="272" y="1815"/>
                  </a:lnTo>
                  <a:lnTo>
                    <a:pt x="269" y="1817"/>
                  </a:lnTo>
                  <a:lnTo>
                    <a:pt x="258" y="1821"/>
                  </a:lnTo>
                  <a:lnTo>
                    <a:pt x="255" y="1821"/>
                  </a:lnTo>
                  <a:lnTo>
                    <a:pt x="254" y="1823"/>
                  </a:lnTo>
                  <a:lnTo>
                    <a:pt x="252" y="1826"/>
                  </a:lnTo>
                  <a:lnTo>
                    <a:pt x="251" y="1827"/>
                  </a:lnTo>
                  <a:lnTo>
                    <a:pt x="252" y="1827"/>
                  </a:lnTo>
                  <a:lnTo>
                    <a:pt x="257" y="1826"/>
                  </a:lnTo>
                  <a:lnTo>
                    <a:pt x="258" y="1826"/>
                  </a:lnTo>
                  <a:lnTo>
                    <a:pt x="260" y="1824"/>
                  </a:lnTo>
                  <a:lnTo>
                    <a:pt x="265" y="1826"/>
                  </a:lnTo>
                  <a:lnTo>
                    <a:pt x="265" y="1824"/>
                  </a:lnTo>
                  <a:lnTo>
                    <a:pt x="278" y="1823"/>
                  </a:lnTo>
                  <a:lnTo>
                    <a:pt x="278" y="1821"/>
                  </a:lnTo>
                  <a:lnTo>
                    <a:pt x="277" y="1821"/>
                  </a:lnTo>
                  <a:lnTo>
                    <a:pt x="275" y="1818"/>
                  </a:lnTo>
                  <a:lnTo>
                    <a:pt x="275" y="1817"/>
                  </a:lnTo>
                  <a:lnTo>
                    <a:pt x="277" y="1814"/>
                  </a:lnTo>
                  <a:lnTo>
                    <a:pt x="283" y="1810"/>
                  </a:lnTo>
                  <a:lnTo>
                    <a:pt x="286" y="1807"/>
                  </a:lnTo>
                  <a:lnTo>
                    <a:pt x="289" y="1803"/>
                  </a:lnTo>
                  <a:lnTo>
                    <a:pt x="289" y="1803"/>
                  </a:lnTo>
                  <a:lnTo>
                    <a:pt x="291" y="1801"/>
                  </a:lnTo>
                  <a:lnTo>
                    <a:pt x="292" y="1800"/>
                  </a:lnTo>
                  <a:lnTo>
                    <a:pt x="292" y="1798"/>
                  </a:lnTo>
                  <a:lnTo>
                    <a:pt x="292" y="1797"/>
                  </a:lnTo>
                  <a:lnTo>
                    <a:pt x="292" y="1795"/>
                  </a:lnTo>
                  <a:lnTo>
                    <a:pt x="294" y="1795"/>
                  </a:lnTo>
                  <a:lnTo>
                    <a:pt x="295" y="1794"/>
                  </a:lnTo>
                  <a:lnTo>
                    <a:pt x="295" y="1792"/>
                  </a:lnTo>
                  <a:lnTo>
                    <a:pt x="295" y="1790"/>
                  </a:lnTo>
                  <a:lnTo>
                    <a:pt x="295" y="1790"/>
                  </a:lnTo>
                  <a:lnTo>
                    <a:pt x="297" y="1789"/>
                  </a:lnTo>
                  <a:lnTo>
                    <a:pt x="300" y="1789"/>
                  </a:lnTo>
                  <a:lnTo>
                    <a:pt x="298" y="1790"/>
                  </a:lnTo>
                  <a:lnTo>
                    <a:pt x="298" y="1790"/>
                  </a:lnTo>
                  <a:lnTo>
                    <a:pt x="298" y="1792"/>
                  </a:lnTo>
                  <a:lnTo>
                    <a:pt x="300" y="1794"/>
                  </a:lnTo>
                  <a:lnTo>
                    <a:pt x="300" y="1795"/>
                  </a:lnTo>
                  <a:lnTo>
                    <a:pt x="298" y="1795"/>
                  </a:lnTo>
                  <a:lnTo>
                    <a:pt x="295" y="1797"/>
                  </a:lnTo>
                  <a:lnTo>
                    <a:pt x="295" y="1798"/>
                  </a:lnTo>
                  <a:lnTo>
                    <a:pt x="292" y="1803"/>
                  </a:lnTo>
                  <a:lnTo>
                    <a:pt x="291" y="1806"/>
                  </a:lnTo>
                  <a:lnTo>
                    <a:pt x="292" y="1806"/>
                  </a:lnTo>
                  <a:lnTo>
                    <a:pt x="295" y="1804"/>
                  </a:lnTo>
                  <a:lnTo>
                    <a:pt x="301" y="1803"/>
                  </a:lnTo>
                  <a:lnTo>
                    <a:pt x="301" y="1803"/>
                  </a:lnTo>
                  <a:lnTo>
                    <a:pt x="303" y="1803"/>
                  </a:lnTo>
                  <a:lnTo>
                    <a:pt x="303" y="1804"/>
                  </a:lnTo>
                  <a:lnTo>
                    <a:pt x="305" y="1806"/>
                  </a:lnTo>
                  <a:lnTo>
                    <a:pt x="317" y="1804"/>
                  </a:lnTo>
                  <a:lnTo>
                    <a:pt x="318" y="1806"/>
                  </a:lnTo>
                  <a:lnTo>
                    <a:pt x="325" y="1800"/>
                  </a:lnTo>
                  <a:lnTo>
                    <a:pt x="329" y="1800"/>
                  </a:lnTo>
                  <a:lnTo>
                    <a:pt x="331" y="1798"/>
                  </a:lnTo>
                  <a:lnTo>
                    <a:pt x="331" y="1798"/>
                  </a:lnTo>
                  <a:lnTo>
                    <a:pt x="332" y="1797"/>
                  </a:lnTo>
                  <a:lnTo>
                    <a:pt x="332" y="1795"/>
                  </a:lnTo>
                  <a:lnTo>
                    <a:pt x="334" y="1794"/>
                  </a:lnTo>
                  <a:lnTo>
                    <a:pt x="335" y="1794"/>
                  </a:lnTo>
                  <a:lnTo>
                    <a:pt x="335" y="1795"/>
                  </a:lnTo>
                  <a:lnTo>
                    <a:pt x="334" y="1797"/>
                  </a:lnTo>
                  <a:lnTo>
                    <a:pt x="334" y="1798"/>
                  </a:lnTo>
                  <a:lnTo>
                    <a:pt x="335" y="1798"/>
                  </a:lnTo>
                  <a:lnTo>
                    <a:pt x="337" y="1795"/>
                  </a:lnTo>
                  <a:lnTo>
                    <a:pt x="338" y="1797"/>
                  </a:lnTo>
                  <a:lnTo>
                    <a:pt x="338" y="1797"/>
                  </a:lnTo>
                  <a:lnTo>
                    <a:pt x="342" y="1795"/>
                  </a:lnTo>
                  <a:lnTo>
                    <a:pt x="342" y="1795"/>
                  </a:lnTo>
                  <a:lnTo>
                    <a:pt x="343" y="1795"/>
                  </a:lnTo>
                  <a:lnTo>
                    <a:pt x="345" y="1797"/>
                  </a:lnTo>
                  <a:lnTo>
                    <a:pt x="346" y="1797"/>
                  </a:lnTo>
                  <a:lnTo>
                    <a:pt x="348" y="1795"/>
                  </a:lnTo>
                  <a:lnTo>
                    <a:pt x="345" y="1794"/>
                  </a:lnTo>
                  <a:lnTo>
                    <a:pt x="345" y="1794"/>
                  </a:lnTo>
                  <a:lnTo>
                    <a:pt x="346" y="1792"/>
                  </a:lnTo>
                  <a:lnTo>
                    <a:pt x="349" y="1792"/>
                  </a:lnTo>
                  <a:lnTo>
                    <a:pt x="351" y="1794"/>
                  </a:lnTo>
                  <a:lnTo>
                    <a:pt x="352" y="1794"/>
                  </a:lnTo>
                  <a:lnTo>
                    <a:pt x="352" y="1794"/>
                  </a:lnTo>
                  <a:lnTo>
                    <a:pt x="355" y="1792"/>
                  </a:lnTo>
                  <a:lnTo>
                    <a:pt x="354" y="1790"/>
                  </a:lnTo>
                  <a:lnTo>
                    <a:pt x="355" y="1789"/>
                  </a:lnTo>
                  <a:lnTo>
                    <a:pt x="357" y="1787"/>
                  </a:lnTo>
                  <a:lnTo>
                    <a:pt x="360" y="1789"/>
                  </a:lnTo>
                  <a:lnTo>
                    <a:pt x="360" y="1790"/>
                  </a:lnTo>
                  <a:lnTo>
                    <a:pt x="360" y="1792"/>
                  </a:lnTo>
                  <a:lnTo>
                    <a:pt x="360" y="1792"/>
                  </a:lnTo>
                  <a:lnTo>
                    <a:pt x="360" y="1794"/>
                  </a:lnTo>
                  <a:lnTo>
                    <a:pt x="358" y="1795"/>
                  </a:lnTo>
                  <a:lnTo>
                    <a:pt x="358" y="1797"/>
                  </a:lnTo>
                  <a:lnTo>
                    <a:pt x="357" y="1797"/>
                  </a:lnTo>
                  <a:lnTo>
                    <a:pt x="357" y="1800"/>
                  </a:lnTo>
                  <a:lnTo>
                    <a:pt x="358" y="1798"/>
                  </a:lnTo>
                  <a:lnTo>
                    <a:pt x="360" y="1797"/>
                  </a:lnTo>
                  <a:lnTo>
                    <a:pt x="360" y="1797"/>
                  </a:lnTo>
                  <a:lnTo>
                    <a:pt x="362" y="1798"/>
                  </a:lnTo>
                  <a:lnTo>
                    <a:pt x="365" y="1794"/>
                  </a:lnTo>
                  <a:lnTo>
                    <a:pt x="366" y="1792"/>
                  </a:lnTo>
                  <a:lnTo>
                    <a:pt x="368" y="1792"/>
                  </a:lnTo>
                  <a:lnTo>
                    <a:pt x="368" y="1794"/>
                  </a:lnTo>
                  <a:lnTo>
                    <a:pt x="365" y="1798"/>
                  </a:lnTo>
                  <a:lnTo>
                    <a:pt x="365" y="1800"/>
                  </a:lnTo>
                  <a:lnTo>
                    <a:pt x="366" y="1800"/>
                  </a:lnTo>
                  <a:lnTo>
                    <a:pt x="368" y="1800"/>
                  </a:lnTo>
                  <a:lnTo>
                    <a:pt x="369" y="1798"/>
                  </a:lnTo>
                  <a:lnTo>
                    <a:pt x="372" y="1794"/>
                  </a:lnTo>
                  <a:lnTo>
                    <a:pt x="377" y="1790"/>
                  </a:lnTo>
                  <a:lnTo>
                    <a:pt x="377" y="1789"/>
                  </a:lnTo>
                  <a:lnTo>
                    <a:pt x="375" y="1789"/>
                  </a:lnTo>
                  <a:lnTo>
                    <a:pt x="377" y="1786"/>
                  </a:lnTo>
                  <a:lnTo>
                    <a:pt x="379" y="1786"/>
                  </a:lnTo>
                  <a:lnTo>
                    <a:pt x="379" y="1784"/>
                  </a:lnTo>
                  <a:lnTo>
                    <a:pt x="374" y="1786"/>
                  </a:lnTo>
                  <a:lnTo>
                    <a:pt x="374" y="1784"/>
                  </a:lnTo>
                  <a:lnTo>
                    <a:pt x="375" y="1784"/>
                  </a:lnTo>
                  <a:lnTo>
                    <a:pt x="375" y="1783"/>
                  </a:lnTo>
                  <a:lnTo>
                    <a:pt x="377" y="1783"/>
                  </a:lnTo>
                  <a:lnTo>
                    <a:pt x="379" y="1780"/>
                  </a:lnTo>
                  <a:lnTo>
                    <a:pt x="377" y="1780"/>
                  </a:lnTo>
                  <a:lnTo>
                    <a:pt x="377" y="1780"/>
                  </a:lnTo>
                  <a:lnTo>
                    <a:pt x="375" y="1778"/>
                  </a:lnTo>
                  <a:lnTo>
                    <a:pt x="374" y="1777"/>
                  </a:lnTo>
                  <a:lnTo>
                    <a:pt x="374" y="1777"/>
                  </a:lnTo>
                  <a:lnTo>
                    <a:pt x="375" y="1777"/>
                  </a:lnTo>
                  <a:lnTo>
                    <a:pt x="380" y="1778"/>
                  </a:lnTo>
                  <a:lnTo>
                    <a:pt x="382" y="1780"/>
                  </a:lnTo>
                  <a:lnTo>
                    <a:pt x="382" y="1781"/>
                  </a:lnTo>
                  <a:lnTo>
                    <a:pt x="382" y="1783"/>
                  </a:lnTo>
                  <a:lnTo>
                    <a:pt x="382" y="1784"/>
                  </a:lnTo>
                  <a:lnTo>
                    <a:pt x="383" y="1784"/>
                  </a:lnTo>
                  <a:lnTo>
                    <a:pt x="383" y="1783"/>
                  </a:lnTo>
                  <a:lnTo>
                    <a:pt x="383" y="1781"/>
                  </a:lnTo>
                  <a:lnTo>
                    <a:pt x="383" y="1781"/>
                  </a:lnTo>
                  <a:lnTo>
                    <a:pt x="385" y="1780"/>
                  </a:lnTo>
                  <a:lnTo>
                    <a:pt x="385" y="1780"/>
                  </a:lnTo>
                  <a:lnTo>
                    <a:pt x="388" y="1778"/>
                  </a:lnTo>
                  <a:lnTo>
                    <a:pt x="391" y="1778"/>
                  </a:lnTo>
                  <a:lnTo>
                    <a:pt x="392" y="1778"/>
                  </a:lnTo>
                  <a:lnTo>
                    <a:pt x="394" y="1775"/>
                  </a:lnTo>
                  <a:lnTo>
                    <a:pt x="395" y="1775"/>
                  </a:lnTo>
                  <a:lnTo>
                    <a:pt x="394" y="1770"/>
                  </a:lnTo>
                  <a:lnTo>
                    <a:pt x="395" y="1770"/>
                  </a:lnTo>
                  <a:lnTo>
                    <a:pt x="399" y="1772"/>
                  </a:lnTo>
                  <a:lnTo>
                    <a:pt x="399" y="1775"/>
                  </a:lnTo>
                  <a:lnTo>
                    <a:pt x="395" y="1777"/>
                  </a:lnTo>
                  <a:lnTo>
                    <a:pt x="397" y="1778"/>
                  </a:lnTo>
                  <a:lnTo>
                    <a:pt x="399" y="1778"/>
                  </a:lnTo>
                  <a:lnTo>
                    <a:pt x="405" y="1778"/>
                  </a:lnTo>
                  <a:lnTo>
                    <a:pt x="405" y="1777"/>
                  </a:lnTo>
                  <a:lnTo>
                    <a:pt x="406" y="1769"/>
                  </a:lnTo>
                  <a:lnTo>
                    <a:pt x="408" y="1767"/>
                  </a:lnTo>
                  <a:lnTo>
                    <a:pt x="409" y="1767"/>
                  </a:lnTo>
                  <a:lnTo>
                    <a:pt x="409" y="1769"/>
                  </a:lnTo>
                  <a:lnTo>
                    <a:pt x="409" y="1772"/>
                  </a:lnTo>
                  <a:lnTo>
                    <a:pt x="409" y="1773"/>
                  </a:lnTo>
                  <a:lnTo>
                    <a:pt x="408" y="1775"/>
                  </a:lnTo>
                  <a:lnTo>
                    <a:pt x="409" y="1777"/>
                  </a:lnTo>
                  <a:lnTo>
                    <a:pt x="409" y="1777"/>
                  </a:lnTo>
                  <a:lnTo>
                    <a:pt x="411" y="1775"/>
                  </a:lnTo>
                  <a:lnTo>
                    <a:pt x="412" y="1777"/>
                  </a:lnTo>
                  <a:lnTo>
                    <a:pt x="412" y="1775"/>
                  </a:lnTo>
                  <a:lnTo>
                    <a:pt x="411" y="1773"/>
                  </a:lnTo>
                  <a:lnTo>
                    <a:pt x="412" y="1772"/>
                  </a:lnTo>
                  <a:lnTo>
                    <a:pt x="415" y="1770"/>
                  </a:lnTo>
                  <a:lnTo>
                    <a:pt x="415" y="1772"/>
                  </a:lnTo>
                  <a:lnTo>
                    <a:pt x="415" y="1772"/>
                  </a:lnTo>
                  <a:lnTo>
                    <a:pt x="415" y="1773"/>
                  </a:lnTo>
                  <a:lnTo>
                    <a:pt x="417" y="1773"/>
                  </a:lnTo>
                  <a:lnTo>
                    <a:pt x="422" y="1772"/>
                  </a:lnTo>
                  <a:lnTo>
                    <a:pt x="423" y="1770"/>
                  </a:lnTo>
                  <a:lnTo>
                    <a:pt x="422" y="1769"/>
                  </a:lnTo>
                  <a:lnTo>
                    <a:pt x="422" y="1769"/>
                  </a:lnTo>
                  <a:lnTo>
                    <a:pt x="423" y="1769"/>
                  </a:lnTo>
                  <a:lnTo>
                    <a:pt x="422" y="1767"/>
                  </a:lnTo>
                  <a:lnTo>
                    <a:pt x="420" y="1766"/>
                  </a:lnTo>
                  <a:lnTo>
                    <a:pt x="420" y="1764"/>
                  </a:lnTo>
                  <a:lnTo>
                    <a:pt x="420" y="1766"/>
                  </a:lnTo>
                  <a:lnTo>
                    <a:pt x="422" y="1766"/>
                  </a:lnTo>
                  <a:lnTo>
                    <a:pt x="422" y="1766"/>
                  </a:lnTo>
                  <a:lnTo>
                    <a:pt x="422" y="1766"/>
                  </a:lnTo>
                  <a:lnTo>
                    <a:pt x="422" y="1763"/>
                  </a:lnTo>
                  <a:lnTo>
                    <a:pt x="422" y="1763"/>
                  </a:lnTo>
                  <a:lnTo>
                    <a:pt x="423" y="1763"/>
                  </a:lnTo>
                  <a:lnTo>
                    <a:pt x="429" y="1763"/>
                  </a:lnTo>
                  <a:lnTo>
                    <a:pt x="432" y="1761"/>
                  </a:lnTo>
                  <a:lnTo>
                    <a:pt x="431" y="1761"/>
                  </a:lnTo>
                  <a:lnTo>
                    <a:pt x="431" y="1760"/>
                  </a:lnTo>
                  <a:lnTo>
                    <a:pt x="431" y="1758"/>
                  </a:lnTo>
                  <a:lnTo>
                    <a:pt x="434" y="1760"/>
                  </a:lnTo>
                  <a:lnTo>
                    <a:pt x="435" y="1760"/>
                  </a:lnTo>
                  <a:lnTo>
                    <a:pt x="435" y="1763"/>
                  </a:lnTo>
                  <a:lnTo>
                    <a:pt x="445" y="1763"/>
                  </a:lnTo>
                  <a:lnTo>
                    <a:pt x="446" y="1763"/>
                  </a:lnTo>
                  <a:lnTo>
                    <a:pt x="446" y="1761"/>
                  </a:lnTo>
                  <a:lnTo>
                    <a:pt x="446" y="1758"/>
                  </a:lnTo>
                  <a:lnTo>
                    <a:pt x="448" y="1758"/>
                  </a:lnTo>
                  <a:lnTo>
                    <a:pt x="448" y="1758"/>
                  </a:lnTo>
                  <a:lnTo>
                    <a:pt x="448" y="1758"/>
                  </a:lnTo>
                  <a:lnTo>
                    <a:pt x="448" y="1755"/>
                  </a:lnTo>
                  <a:lnTo>
                    <a:pt x="448" y="1753"/>
                  </a:lnTo>
                  <a:lnTo>
                    <a:pt x="448" y="1752"/>
                  </a:lnTo>
                  <a:lnTo>
                    <a:pt x="446" y="1752"/>
                  </a:lnTo>
                  <a:lnTo>
                    <a:pt x="446" y="1750"/>
                  </a:lnTo>
                  <a:lnTo>
                    <a:pt x="452" y="1749"/>
                  </a:lnTo>
                  <a:lnTo>
                    <a:pt x="454" y="1747"/>
                  </a:lnTo>
                  <a:lnTo>
                    <a:pt x="456" y="1746"/>
                  </a:lnTo>
                  <a:lnTo>
                    <a:pt x="457" y="1744"/>
                  </a:lnTo>
                  <a:lnTo>
                    <a:pt x="459" y="1744"/>
                  </a:lnTo>
                  <a:lnTo>
                    <a:pt x="460" y="1749"/>
                  </a:lnTo>
                  <a:lnTo>
                    <a:pt x="456" y="1749"/>
                  </a:lnTo>
                  <a:lnTo>
                    <a:pt x="456" y="1749"/>
                  </a:lnTo>
                  <a:lnTo>
                    <a:pt x="457" y="1750"/>
                  </a:lnTo>
                  <a:lnTo>
                    <a:pt x="457" y="1750"/>
                  </a:lnTo>
                  <a:lnTo>
                    <a:pt x="457" y="1752"/>
                  </a:lnTo>
                  <a:lnTo>
                    <a:pt x="456" y="1755"/>
                  </a:lnTo>
                  <a:lnTo>
                    <a:pt x="457" y="1755"/>
                  </a:lnTo>
                  <a:lnTo>
                    <a:pt x="463" y="1763"/>
                  </a:lnTo>
                  <a:lnTo>
                    <a:pt x="465" y="1763"/>
                  </a:lnTo>
                  <a:lnTo>
                    <a:pt x="466" y="1763"/>
                  </a:lnTo>
                  <a:lnTo>
                    <a:pt x="466" y="1761"/>
                  </a:lnTo>
                  <a:lnTo>
                    <a:pt x="471" y="1760"/>
                  </a:lnTo>
                  <a:lnTo>
                    <a:pt x="466" y="1757"/>
                  </a:lnTo>
                  <a:lnTo>
                    <a:pt x="463" y="1755"/>
                  </a:lnTo>
                  <a:lnTo>
                    <a:pt x="463" y="1752"/>
                  </a:lnTo>
                  <a:lnTo>
                    <a:pt x="463" y="1752"/>
                  </a:lnTo>
                  <a:lnTo>
                    <a:pt x="465" y="1752"/>
                  </a:lnTo>
                  <a:lnTo>
                    <a:pt x="468" y="1755"/>
                  </a:lnTo>
                  <a:lnTo>
                    <a:pt x="469" y="1757"/>
                  </a:lnTo>
                  <a:lnTo>
                    <a:pt x="471" y="1757"/>
                  </a:lnTo>
                  <a:lnTo>
                    <a:pt x="472" y="1757"/>
                  </a:lnTo>
                  <a:lnTo>
                    <a:pt x="472" y="1758"/>
                  </a:lnTo>
                  <a:lnTo>
                    <a:pt x="472" y="1760"/>
                  </a:lnTo>
                  <a:lnTo>
                    <a:pt x="474" y="1761"/>
                  </a:lnTo>
                  <a:lnTo>
                    <a:pt x="474" y="1761"/>
                  </a:lnTo>
                  <a:lnTo>
                    <a:pt x="476" y="1763"/>
                  </a:lnTo>
                  <a:lnTo>
                    <a:pt x="477" y="1763"/>
                  </a:lnTo>
                  <a:lnTo>
                    <a:pt x="477" y="1760"/>
                  </a:lnTo>
                  <a:lnTo>
                    <a:pt x="474" y="1755"/>
                  </a:lnTo>
                  <a:lnTo>
                    <a:pt x="474" y="1753"/>
                  </a:lnTo>
                  <a:lnTo>
                    <a:pt x="474" y="1752"/>
                  </a:lnTo>
                  <a:lnTo>
                    <a:pt x="476" y="1749"/>
                  </a:lnTo>
                  <a:lnTo>
                    <a:pt x="476" y="1746"/>
                  </a:lnTo>
                  <a:lnTo>
                    <a:pt x="476" y="1744"/>
                  </a:lnTo>
                  <a:lnTo>
                    <a:pt x="472" y="1743"/>
                  </a:lnTo>
                  <a:lnTo>
                    <a:pt x="471" y="1740"/>
                  </a:lnTo>
                  <a:lnTo>
                    <a:pt x="472" y="1740"/>
                  </a:lnTo>
                  <a:lnTo>
                    <a:pt x="474" y="1741"/>
                  </a:lnTo>
                  <a:lnTo>
                    <a:pt x="479" y="1746"/>
                  </a:lnTo>
                  <a:lnTo>
                    <a:pt x="479" y="1746"/>
                  </a:lnTo>
                  <a:lnTo>
                    <a:pt x="480" y="1746"/>
                  </a:lnTo>
                  <a:lnTo>
                    <a:pt x="480" y="1746"/>
                  </a:lnTo>
                  <a:lnTo>
                    <a:pt x="482" y="1744"/>
                  </a:lnTo>
                  <a:lnTo>
                    <a:pt x="482" y="1744"/>
                  </a:lnTo>
                  <a:lnTo>
                    <a:pt x="483" y="1744"/>
                  </a:lnTo>
                  <a:lnTo>
                    <a:pt x="482" y="1746"/>
                  </a:lnTo>
                  <a:lnTo>
                    <a:pt x="485" y="1750"/>
                  </a:lnTo>
                  <a:lnTo>
                    <a:pt x="485" y="1755"/>
                  </a:lnTo>
                  <a:lnTo>
                    <a:pt x="489" y="1753"/>
                  </a:lnTo>
                  <a:lnTo>
                    <a:pt x="489" y="1752"/>
                  </a:lnTo>
                  <a:lnTo>
                    <a:pt x="491" y="1750"/>
                  </a:lnTo>
                  <a:lnTo>
                    <a:pt x="491" y="1749"/>
                  </a:lnTo>
                  <a:lnTo>
                    <a:pt x="489" y="1749"/>
                  </a:lnTo>
                  <a:lnTo>
                    <a:pt x="489" y="1747"/>
                  </a:lnTo>
                  <a:lnTo>
                    <a:pt x="488" y="1747"/>
                  </a:lnTo>
                  <a:lnTo>
                    <a:pt x="486" y="1744"/>
                  </a:lnTo>
                  <a:lnTo>
                    <a:pt x="485" y="1743"/>
                  </a:lnTo>
                  <a:lnTo>
                    <a:pt x="483" y="1741"/>
                  </a:lnTo>
                  <a:lnTo>
                    <a:pt x="483" y="1740"/>
                  </a:lnTo>
                  <a:lnTo>
                    <a:pt x="483" y="1740"/>
                  </a:lnTo>
                  <a:lnTo>
                    <a:pt x="485" y="1740"/>
                  </a:lnTo>
                  <a:lnTo>
                    <a:pt x="485" y="1738"/>
                  </a:lnTo>
                  <a:lnTo>
                    <a:pt x="485" y="1737"/>
                  </a:lnTo>
                  <a:lnTo>
                    <a:pt x="485" y="1735"/>
                  </a:lnTo>
                  <a:lnTo>
                    <a:pt x="485" y="1735"/>
                  </a:lnTo>
                  <a:lnTo>
                    <a:pt x="483" y="1733"/>
                  </a:lnTo>
                  <a:lnTo>
                    <a:pt x="482" y="1730"/>
                  </a:lnTo>
                  <a:lnTo>
                    <a:pt x="480" y="1729"/>
                  </a:lnTo>
                  <a:lnTo>
                    <a:pt x="476" y="1727"/>
                  </a:lnTo>
                  <a:lnTo>
                    <a:pt x="476" y="1726"/>
                  </a:lnTo>
                  <a:lnTo>
                    <a:pt x="479" y="1727"/>
                  </a:lnTo>
                  <a:lnTo>
                    <a:pt x="480" y="1727"/>
                  </a:lnTo>
                  <a:lnTo>
                    <a:pt x="483" y="1730"/>
                  </a:lnTo>
                  <a:lnTo>
                    <a:pt x="486" y="1733"/>
                  </a:lnTo>
                  <a:lnTo>
                    <a:pt x="486" y="1735"/>
                  </a:lnTo>
                  <a:lnTo>
                    <a:pt x="489" y="1737"/>
                  </a:lnTo>
                  <a:lnTo>
                    <a:pt x="492" y="1740"/>
                  </a:lnTo>
                  <a:lnTo>
                    <a:pt x="492" y="1740"/>
                  </a:lnTo>
                  <a:lnTo>
                    <a:pt x="494" y="1740"/>
                  </a:lnTo>
                  <a:lnTo>
                    <a:pt x="496" y="1738"/>
                  </a:lnTo>
                  <a:lnTo>
                    <a:pt x="496" y="1738"/>
                  </a:lnTo>
                  <a:lnTo>
                    <a:pt x="503" y="1740"/>
                  </a:lnTo>
                  <a:lnTo>
                    <a:pt x="500" y="1735"/>
                  </a:lnTo>
                  <a:lnTo>
                    <a:pt x="499" y="1733"/>
                  </a:lnTo>
                  <a:lnTo>
                    <a:pt x="500" y="1732"/>
                  </a:lnTo>
                  <a:lnTo>
                    <a:pt x="500" y="1732"/>
                  </a:lnTo>
                  <a:lnTo>
                    <a:pt x="502" y="1733"/>
                  </a:lnTo>
                  <a:lnTo>
                    <a:pt x="503" y="1735"/>
                  </a:lnTo>
                  <a:lnTo>
                    <a:pt x="503" y="1737"/>
                  </a:lnTo>
                  <a:lnTo>
                    <a:pt x="505" y="1737"/>
                  </a:lnTo>
                  <a:lnTo>
                    <a:pt x="505" y="1740"/>
                  </a:lnTo>
                  <a:lnTo>
                    <a:pt x="506" y="1741"/>
                  </a:lnTo>
                  <a:lnTo>
                    <a:pt x="508" y="1743"/>
                  </a:lnTo>
                  <a:lnTo>
                    <a:pt x="508" y="1743"/>
                  </a:lnTo>
                  <a:lnTo>
                    <a:pt x="508" y="1741"/>
                  </a:lnTo>
                  <a:lnTo>
                    <a:pt x="508" y="1741"/>
                  </a:lnTo>
                  <a:lnTo>
                    <a:pt x="509" y="1740"/>
                  </a:lnTo>
                  <a:lnTo>
                    <a:pt x="509" y="1740"/>
                  </a:lnTo>
                  <a:lnTo>
                    <a:pt x="511" y="1740"/>
                  </a:lnTo>
                  <a:lnTo>
                    <a:pt x="511" y="1738"/>
                  </a:lnTo>
                  <a:lnTo>
                    <a:pt x="511" y="1737"/>
                  </a:lnTo>
                  <a:lnTo>
                    <a:pt x="513" y="1740"/>
                  </a:lnTo>
                  <a:lnTo>
                    <a:pt x="513" y="1740"/>
                  </a:lnTo>
                  <a:lnTo>
                    <a:pt x="514" y="1740"/>
                  </a:lnTo>
                  <a:lnTo>
                    <a:pt x="514" y="1738"/>
                  </a:lnTo>
                  <a:lnTo>
                    <a:pt x="514" y="1737"/>
                  </a:lnTo>
                  <a:lnTo>
                    <a:pt x="516" y="1737"/>
                  </a:lnTo>
                  <a:lnTo>
                    <a:pt x="517" y="1737"/>
                  </a:lnTo>
                  <a:lnTo>
                    <a:pt x="517" y="1735"/>
                  </a:lnTo>
                  <a:lnTo>
                    <a:pt x="519" y="1733"/>
                  </a:lnTo>
                  <a:lnTo>
                    <a:pt x="516" y="1729"/>
                  </a:lnTo>
                  <a:lnTo>
                    <a:pt x="517" y="1723"/>
                  </a:lnTo>
                  <a:lnTo>
                    <a:pt x="523" y="1710"/>
                  </a:lnTo>
                  <a:lnTo>
                    <a:pt x="526" y="1704"/>
                  </a:lnTo>
                  <a:lnTo>
                    <a:pt x="528" y="1703"/>
                  </a:lnTo>
                  <a:lnTo>
                    <a:pt x="531" y="1701"/>
                  </a:lnTo>
                  <a:lnTo>
                    <a:pt x="534" y="1703"/>
                  </a:lnTo>
                  <a:lnTo>
                    <a:pt x="537" y="1707"/>
                  </a:lnTo>
                  <a:lnTo>
                    <a:pt x="539" y="1713"/>
                  </a:lnTo>
                  <a:lnTo>
                    <a:pt x="533" y="1709"/>
                  </a:lnTo>
                  <a:lnTo>
                    <a:pt x="529" y="1707"/>
                  </a:lnTo>
                  <a:lnTo>
                    <a:pt x="525" y="1710"/>
                  </a:lnTo>
                  <a:lnTo>
                    <a:pt x="525" y="1712"/>
                  </a:lnTo>
                  <a:lnTo>
                    <a:pt x="525" y="1713"/>
                  </a:lnTo>
                  <a:lnTo>
                    <a:pt x="525" y="1717"/>
                  </a:lnTo>
                  <a:lnTo>
                    <a:pt x="525" y="1718"/>
                  </a:lnTo>
                  <a:lnTo>
                    <a:pt x="522" y="1723"/>
                  </a:lnTo>
                  <a:lnTo>
                    <a:pt x="520" y="1723"/>
                  </a:lnTo>
                  <a:lnTo>
                    <a:pt x="519" y="1724"/>
                  </a:lnTo>
                  <a:lnTo>
                    <a:pt x="517" y="1726"/>
                  </a:lnTo>
                  <a:lnTo>
                    <a:pt x="519" y="1729"/>
                  </a:lnTo>
                  <a:lnTo>
                    <a:pt x="520" y="1732"/>
                  </a:lnTo>
                  <a:lnTo>
                    <a:pt x="522" y="1733"/>
                  </a:lnTo>
                  <a:lnTo>
                    <a:pt x="523" y="1735"/>
                  </a:lnTo>
                  <a:lnTo>
                    <a:pt x="525" y="1733"/>
                  </a:lnTo>
                  <a:lnTo>
                    <a:pt x="525" y="1732"/>
                  </a:lnTo>
                  <a:lnTo>
                    <a:pt x="526" y="1732"/>
                  </a:lnTo>
                  <a:lnTo>
                    <a:pt x="528" y="1732"/>
                  </a:lnTo>
                  <a:lnTo>
                    <a:pt x="529" y="1732"/>
                  </a:lnTo>
                  <a:lnTo>
                    <a:pt x="531" y="1733"/>
                  </a:lnTo>
                  <a:lnTo>
                    <a:pt x="533" y="1735"/>
                  </a:lnTo>
                  <a:lnTo>
                    <a:pt x="534" y="1737"/>
                  </a:lnTo>
                  <a:lnTo>
                    <a:pt x="534" y="1737"/>
                  </a:lnTo>
                  <a:lnTo>
                    <a:pt x="536" y="1735"/>
                  </a:lnTo>
                  <a:lnTo>
                    <a:pt x="537" y="1735"/>
                  </a:lnTo>
                  <a:lnTo>
                    <a:pt x="537" y="1733"/>
                  </a:lnTo>
                  <a:lnTo>
                    <a:pt x="537" y="1733"/>
                  </a:lnTo>
                  <a:lnTo>
                    <a:pt x="537" y="1730"/>
                  </a:lnTo>
                  <a:lnTo>
                    <a:pt x="537" y="1729"/>
                  </a:lnTo>
                  <a:lnTo>
                    <a:pt x="539" y="1727"/>
                  </a:lnTo>
                  <a:lnTo>
                    <a:pt x="540" y="1727"/>
                  </a:lnTo>
                  <a:lnTo>
                    <a:pt x="542" y="1726"/>
                  </a:lnTo>
                  <a:lnTo>
                    <a:pt x="543" y="1726"/>
                  </a:lnTo>
                  <a:lnTo>
                    <a:pt x="542" y="1729"/>
                  </a:lnTo>
                  <a:lnTo>
                    <a:pt x="542" y="1730"/>
                  </a:lnTo>
                  <a:lnTo>
                    <a:pt x="542" y="1730"/>
                  </a:lnTo>
                  <a:lnTo>
                    <a:pt x="543" y="1730"/>
                  </a:lnTo>
                  <a:lnTo>
                    <a:pt x="551" y="1729"/>
                  </a:lnTo>
                  <a:lnTo>
                    <a:pt x="551" y="1729"/>
                  </a:lnTo>
                  <a:lnTo>
                    <a:pt x="554" y="1732"/>
                  </a:lnTo>
                  <a:lnTo>
                    <a:pt x="554" y="1732"/>
                  </a:lnTo>
                  <a:lnTo>
                    <a:pt x="554" y="1730"/>
                  </a:lnTo>
                  <a:lnTo>
                    <a:pt x="554" y="1729"/>
                  </a:lnTo>
                  <a:lnTo>
                    <a:pt x="551" y="1726"/>
                  </a:lnTo>
                  <a:lnTo>
                    <a:pt x="556" y="1727"/>
                  </a:lnTo>
                  <a:lnTo>
                    <a:pt x="557" y="1726"/>
                  </a:lnTo>
                  <a:lnTo>
                    <a:pt x="557" y="1723"/>
                  </a:lnTo>
                  <a:lnTo>
                    <a:pt x="559" y="1723"/>
                  </a:lnTo>
                  <a:lnTo>
                    <a:pt x="559" y="1721"/>
                  </a:lnTo>
                  <a:lnTo>
                    <a:pt x="559" y="1720"/>
                  </a:lnTo>
                  <a:lnTo>
                    <a:pt x="559" y="1718"/>
                  </a:lnTo>
                  <a:lnTo>
                    <a:pt x="559" y="1718"/>
                  </a:lnTo>
                  <a:lnTo>
                    <a:pt x="560" y="1718"/>
                  </a:lnTo>
                  <a:lnTo>
                    <a:pt x="560" y="1717"/>
                  </a:lnTo>
                  <a:lnTo>
                    <a:pt x="562" y="1718"/>
                  </a:lnTo>
                  <a:lnTo>
                    <a:pt x="563" y="1720"/>
                  </a:lnTo>
                  <a:lnTo>
                    <a:pt x="563" y="1721"/>
                  </a:lnTo>
                  <a:lnTo>
                    <a:pt x="563" y="1720"/>
                  </a:lnTo>
                  <a:lnTo>
                    <a:pt x="565" y="1718"/>
                  </a:lnTo>
                  <a:lnTo>
                    <a:pt x="565" y="1717"/>
                  </a:lnTo>
                  <a:lnTo>
                    <a:pt x="566" y="1718"/>
                  </a:lnTo>
                  <a:lnTo>
                    <a:pt x="566" y="1720"/>
                  </a:lnTo>
                  <a:lnTo>
                    <a:pt x="568" y="1721"/>
                  </a:lnTo>
                  <a:lnTo>
                    <a:pt x="569" y="1720"/>
                  </a:lnTo>
                  <a:lnTo>
                    <a:pt x="569" y="1721"/>
                  </a:lnTo>
                  <a:lnTo>
                    <a:pt x="569" y="1723"/>
                  </a:lnTo>
                  <a:lnTo>
                    <a:pt x="571" y="1721"/>
                  </a:lnTo>
                  <a:lnTo>
                    <a:pt x="571" y="1718"/>
                  </a:lnTo>
                  <a:lnTo>
                    <a:pt x="571" y="1717"/>
                  </a:lnTo>
                  <a:lnTo>
                    <a:pt x="569" y="1713"/>
                  </a:lnTo>
                  <a:lnTo>
                    <a:pt x="571" y="1712"/>
                  </a:lnTo>
                  <a:lnTo>
                    <a:pt x="573" y="1712"/>
                  </a:lnTo>
                  <a:lnTo>
                    <a:pt x="574" y="1712"/>
                  </a:lnTo>
                  <a:lnTo>
                    <a:pt x="573" y="1715"/>
                  </a:lnTo>
                  <a:lnTo>
                    <a:pt x="577" y="1718"/>
                  </a:lnTo>
                  <a:lnTo>
                    <a:pt x="580" y="1721"/>
                  </a:lnTo>
                  <a:lnTo>
                    <a:pt x="576" y="1720"/>
                  </a:lnTo>
                  <a:lnTo>
                    <a:pt x="574" y="1720"/>
                  </a:lnTo>
                  <a:lnTo>
                    <a:pt x="574" y="1723"/>
                  </a:lnTo>
                  <a:lnTo>
                    <a:pt x="576" y="1723"/>
                  </a:lnTo>
                  <a:lnTo>
                    <a:pt x="580" y="1723"/>
                  </a:lnTo>
                  <a:lnTo>
                    <a:pt x="585" y="1724"/>
                  </a:lnTo>
                  <a:lnTo>
                    <a:pt x="591" y="1730"/>
                  </a:lnTo>
                  <a:lnTo>
                    <a:pt x="594" y="1730"/>
                  </a:lnTo>
                  <a:lnTo>
                    <a:pt x="594" y="1729"/>
                  </a:lnTo>
                  <a:lnTo>
                    <a:pt x="594" y="1729"/>
                  </a:lnTo>
                  <a:lnTo>
                    <a:pt x="593" y="1729"/>
                  </a:lnTo>
                  <a:lnTo>
                    <a:pt x="593" y="1727"/>
                  </a:lnTo>
                  <a:lnTo>
                    <a:pt x="593" y="1727"/>
                  </a:lnTo>
                  <a:lnTo>
                    <a:pt x="593" y="1726"/>
                  </a:lnTo>
                  <a:lnTo>
                    <a:pt x="594" y="1726"/>
                  </a:lnTo>
                  <a:lnTo>
                    <a:pt x="593" y="1724"/>
                  </a:lnTo>
                  <a:lnTo>
                    <a:pt x="593" y="1724"/>
                  </a:lnTo>
                  <a:lnTo>
                    <a:pt x="593" y="1723"/>
                  </a:lnTo>
                  <a:lnTo>
                    <a:pt x="594" y="1723"/>
                  </a:lnTo>
                  <a:lnTo>
                    <a:pt x="600" y="1727"/>
                  </a:lnTo>
                  <a:lnTo>
                    <a:pt x="603" y="1729"/>
                  </a:lnTo>
                  <a:lnTo>
                    <a:pt x="603" y="1727"/>
                  </a:lnTo>
                  <a:lnTo>
                    <a:pt x="602" y="1726"/>
                  </a:lnTo>
                  <a:lnTo>
                    <a:pt x="602" y="1724"/>
                  </a:lnTo>
                  <a:lnTo>
                    <a:pt x="603" y="1723"/>
                  </a:lnTo>
                  <a:lnTo>
                    <a:pt x="603" y="1721"/>
                  </a:lnTo>
                  <a:lnTo>
                    <a:pt x="605" y="1721"/>
                  </a:lnTo>
                  <a:lnTo>
                    <a:pt x="608" y="1721"/>
                  </a:lnTo>
                  <a:lnTo>
                    <a:pt x="606" y="1723"/>
                  </a:lnTo>
                  <a:lnTo>
                    <a:pt x="605" y="1724"/>
                  </a:lnTo>
                  <a:lnTo>
                    <a:pt x="603" y="1726"/>
                  </a:lnTo>
                  <a:lnTo>
                    <a:pt x="610" y="1726"/>
                  </a:lnTo>
                  <a:lnTo>
                    <a:pt x="610" y="1726"/>
                  </a:lnTo>
                  <a:lnTo>
                    <a:pt x="613" y="1723"/>
                  </a:lnTo>
                  <a:lnTo>
                    <a:pt x="613" y="1723"/>
                  </a:lnTo>
                  <a:lnTo>
                    <a:pt x="611" y="1723"/>
                  </a:lnTo>
                  <a:lnTo>
                    <a:pt x="611" y="1723"/>
                  </a:lnTo>
                  <a:lnTo>
                    <a:pt x="613" y="1721"/>
                  </a:lnTo>
                  <a:lnTo>
                    <a:pt x="613" y="1720"/>
                  </a:lnTo>
                  <a:lnTo>
                    <a:pt x="611" y="1718"/>
                  </a:lnTo>
                  <a:lnTo>
                    <a:pt x="611" y="1717"/>
                  </a:lnTo>
                  <a:lnTo>
                    <a:pt x="613" y="1715"/>
                  </a:lnTo>
                  <a:lnTo>
                    <a:pt x="613" y="1715"/>
                  </a:lnTo>
                  <a:lnTo>
                    <a:pt x="613" y="1713"/>
                  </a:lnTo>
                  <a:lnTo>
                    <a:pt x="611" y="1713"/>
                  </a:lnTo>
                  <a:lnTo>
                    <a:pt x="614" y="1712"/>
                  </a:lnTo>
                  <a:lnTo>
                    <a:pt x="614" y="1713"/>
                  </a:lnTo>
                  <a:lnTo>
                    <a:pt x="616" y="1715"/>
                  </a:lnTo>
                  <a:lnTo>
                    <a:pt x="617" y="1717"/>
                  </a:lnTo>
                  <a:lnTo>
                    <a:pt x="623" y="1709"/>
                  </a:lnTo>
                  <a:lnTo>
                    <a:pt x="630" y="1701"/>
                  </a:lnTo>
                  <a:lnTo>
                    <a:pt x="631" y="1700"/>
                  </a:lnTo>
                  <a:lnTo>
                    <a:pt x="642" y="1686"/>
                  </a:lnTo>
                  <a:lnTo>
                    <a:pt x="650" y="1680"/>
                  </a:lnTo>
                  <a:lnTo>
                    <a:pt x="656" y="1670"/>
                  </a:lnTo>
                  <a:lnTo>
                    <a:pt x="667" y="1658"/>
                  </a:lnTo>
                  <a:lnTo>
                    <a:pt x="671" y="1656"/>
                  </a:lnTo>
                  <a:lnTo>
                    <a:pt x="677" y="1653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9"/>
                  </a:lnTo>
                  <a:lnTo>
                    <a:pt x="680" y="1646"/>
                  </a:lnTo>
                  <a:lnTo>
                    <a:pt x="682" y="1644"/>
                  </a:lnTo>
                  <a:lnTo>
                    <a:pt x="687" y="1640"/>
                  </a:lnTo>
                  <a:lnTo>
                    <a:pt x="690" y="1635"/>
                  </a:lnTo>
                  <a:lnTo>
                    <a:pt x="691" y="1633"/>
                  </a:lnTo>
                  <a:lnTo>
                    <a:pt x="694" y="1630"/>
                  </a:lnTo>
                  <a:lnTo>
                    <a:pt x="700" y="1626"/>
                  </a:lnTo>
                  <a:lnTo>
                    <a:pt x="703" y="1623"/>
                  </a:lnTo>
                  <a:lnTo>
                    <a:pt x="716" y="1615"/>
                  </a:lnTo>
                  <a:lnTo>
                    <a:pt x="720" y="1610"/>
                  </a:lnTo>
                  <a:lnTo>
                    <a:pt x="725" y="1604"/>
                  </a:lnTo>
                  <a:lnTo>
                    <a:pt x="727" y="1601"/>
                  </a:lnTo>
                  <a:lnTo>
                    <a:pt x="727" y="1599"/>
                  </a:lnTo>
                  <a:lnTo>
                    <a:pt x="730" y="1596"/>
                  </a:lnTo>
                  <a:lnTo>
                    <a:pt x="740" y="1584"/>
                  </a:lnTo>
                  <a:lnTo>
                    <a:pt x="742" y="1581"/>
                  </a:lnTo>
                  <a:lnTo>
                    <a:pt x="744" y="1578"/>
                  </a:lnTo>
                  <a:lnTo>
                    <a:pt x="744" y="1575"/>
                  </a:lnTo>
                  <a:lnTo>
                    <a:pt x="745" y="1573"/>
                  </a:lnTo>
                  <a:lnTo>
                    <a:pt x="751" y="1572"/>
                  </a:lnTo>
                  <a:lnTo>
                    <a:pt x="753" y="1569"/>
                  </a:lnTo>
                  <a:lnTo>
                    <a:pt x="764" y="1556"/>
                  </a:lnTo>
                  <a:lnTo>
                    <a:pt x="765" y="1553"/>
                  </a:lnTo>
                  <a:lnTo>
                    <a:pt x="767" y="1549"/>
                  </a:lnTo>
                  <a:lnTo>
                    <a:pt x="768" y="1546"/>
                  </a:lnTo>
                  <a:lnTo>
                    <a:pt x="779" y="1535"/>
                  </a:lnTo>
                  <a:lnTo>
                    <a:pt x="791" y="1516"/>
                  </a:lnTo>
                  <a:lnTo>
                    <a:pt x="805" y="1493"/>
                  </a:lnTo>
                  <a:lnTo>
                    <a:pt x="805" y="1493"/>
                  </a:lnTo>
                  <a:lnTo>
                    <a:pt x="805" y="1493"/>
                  </a:lnTo>
                  <a:lnTo>
                    <a:pt x="816" y="1482"/>
                  </a:lnTo>
                  <a:lnTo>
                    <a:pt x="825" y="1469"/>
                  </a:lnTo>
                  <a:lnTo>
                    <a:pt x="827" y="1464"/>
                  </a:lnTo>
                  <a:lnTo>
                    <a:pt x="828" y="1462"/>
                  </a:lnTo>
                  <a:lnTo>
                    <a:pt x="830" y="1461"/>
                  </a:lnTo>
                  <a:lnTo>
                    <a:pt x="833" y="1459"/>
                  </a:lnTo>
                  <a:lnTo>
                    <a:pt x="839" y="1452"/>
                  </a:lnTo>
                  <a:lnTo>
                    <a:pt x="848" y="1445"/>
                  </a:lnTo>
                  <a:lnTo>
                    <a:pt x="848" y="1444"/>
                  </a:lnTo>
                  <a:lnTo>
                    <a:pt x="850" y="1442"/>
                  </a:lnTo>
                  <a:lnTo>
                    <a:pt x="851" y="1436"/>
                  </a:lnTo>
                  <a:lnTo>
                    <a:pt x="853" y="1435"/>
                  </a:lnTo>
                  <a:lnTo>
                    <a:pt x="864" y="1422"/>
                  </a:lnTo>
                  <a:lnTo>
                    <a:pt x="865" y="1419"/>
                  </a:lnTo>
                  <a:lnTo>
                    <a:pt x="865" y="1418"/>
                  </a:lnTo>
                  <a:lnTo>
                    <a:pt x="867" y="1416"/>
                  </a:lnTo>
                  <a:lnTo>
                    <a:pt x="871" y="1415"/>
                  </a:lnTo>
                  <a:lnTo>
                    <a:pt x="871" y="1415"/>
                  </a:lnTo>
                  <a:lnTo>
                    <a:pt x="871" y="1415"/>
                  </a:lnTo>
                  <a:lnTo>
                    <a:pt x="873" y="1412"/>
                  </a:lnTo>
                  <a:lnTo>
                    <a:pt x="874" y="1409"/>
                  </a:lnTo>
                  <a:lnTo>
                    <a:pt x="876" y="1401"/>
                  </a:lnTo>
                  <a:lnTo>
                    <a:pt x="878" y="1398"/>
                  </a:lnTo>
                  <a:lnTo>
                    <a:pt x="881" y="1392"/>
                  </a:lnTo>
                  <a:lnTo>
                    <a:pt x="882" y="1389"/>
                  </a:lnTo>
                  <a:lnTo>
                    <a:pt x="885" y="1373"/>
                  </a:lnTo>
                  <a:lnTo>
                    <a:pt x="887" y="1365"/>
                  </a:lnTo>
                  <a:lnTo>
                    <a:pt x="890" y="1359"/>
                  </a:lnTo>
                  <a:lnTo>
                    <a:pt x="898" y="1347"/>
                  </a:lnTo>
                  <a:lnTo>
                    <a:pt x="894" y="134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7"/>
            <p:cNvSpPr>
              <a:spLocks noEditPoints="1"/>
            </p:cNvSpPr>
            <p:nvPr/>
          </p:nvSpPr>
          <p:spPr bwMode="gray">
            <a:xfrm>
              <a:off x="4779963" y="3995738"/>
              <a:ext cx="161925" cy="250825"/>
            </a:xfrm>
            <a:custGeom>
              <a:avLst/>
              <a:gdLst>
                <a:gd name="T0" fmla="*/ 67 w 102"/>
                <a:gd name="T1" fmla="*/ 149 h 158"/>
                <a:gd name="T2" fmla="*/ 71 w 102"/>
                <a:gd name="T3" fmla="*/ 146 h 158"/>
                <a:gd name="T4" fmla="*/ 70 w 102"/>
                <a:gd name="T5" fmla="*/ 138 h 158"/>
                <a:gd name="T6" fmla="*/ 63 w 102"/>
                <a:gd name="T7" fmla="*/ 134 h 158"/>
                <a:gd name="T8" fmla="*/ 70 w 102"/>
                <a:gd name="T9" fmla="*/ 132 h 158"/>
                <a:gd name="T10" fmla="*/ 57 w 102"/>
                <a:gd name="T11" fmla="*/ 123 h 158"/>
                <a:gd name="T12" fmla="*/ 53 w 102"/>
                <a:gd name="T13" fmla="*/ 121 h 158"/>
                <a:gd name="T14" fmla="*/ 56 w 102"/>
                <a:gd name="T15" fmla="*/ 135 h 158"/>
                <a:gd name="T16" fmla="*/ 74 w 102"/>
                <a:gd name="T17" fmla="*/ 157 h 158"/>
                <a:gd name="T18" fmla="*/ 65 w 102"/>
                <a:gd name="T19" fmla="*/ 81 h 158"/>
                <a:gd name="T20" fmla="*/ 57 w 102"/>
                <a:gd name="T21" fmla="*/ 84 h 158"/>
                <a:gd name="T22" fmla="*/ 74 w 102"/>
                <a:gd name="T23" fmla="*/ 103 h 158"/>
                <a:gd name="T24" fmla="*/ 76 w 102"/>
                <a:gd name="T25" fmla="*/ 93 h 158"/>
                <a:gd name="T26" fmla="*/ 0 w 102"/>
                <a:gd name="T27" fmla="*/ 47 h 158"/>
                <a:gd name="T28" fmla="*/ 39 w 102"/>
                <a:gd name="T29" fmla="*/ 46 h 158"/>
                <a:gd name="T30" fmla="*/ 33 w 102"/>
                <a:gd name="T31" fmla="*/ 38 h 158"/>
                <a:gd name="T32" fmla="*/ 22 w 102"/>
                <a:gd name="T33" fmla="*/ 43 h 158"/>
                <a:gd name="T34" fmla="*/ 23 w 102"/>
                <a:gd name="T35" fmla="*/ 49 h 158"/>
                <a:gd name="T36" fmla="*/ 33 w 102"/>
                <a:gd name="T37" fmla="*/ 58 h 158"/>
                <a:gd name="T38" fmla="*/ 34 w 102"/>
                <a:gd name="T39" fmla="*/ 57 h 158"/>
                <a:gd name="T40" fmla="*/ 37 w 102"/>
                <a:gd name="T41" fmla="*/ 57 h 158"/>
                <a:gd name="T42" fmla="*/ 45 w 102"/>
                <a:gd name="T43" fmla="*/ 52 h 158"/>
                <a:gd name="T44" fmla="*/ 96 w 102"/>
                <a:gd name="T45" fmla="*/ 18 h 158"/>
                <a:gd name="T46" fmla="*/ 100 w 102"/>
                <a:gd name="T47" fmla="*/ 23 h 158"/>
                <a:gd name="T48" fmla="*/ 59 w 102"/>
                <a:gd name="T49" fmla="*/ 64 h 158"/>
                <a:gd name="T50" fmla="*/ 68 w 102"/>
                <a:gd name="T51" fmla="*/ 64 h 158"/>
                <a:gd name="T52" fmla="*/ 65 w 102"/>
                <a:gd name="T53" fmla="*/ 53 h 158"/>
                <a:gd name="T54" fmla="*/ 59 w 102"/>
                <a:gd name="T55" fmla="*/ 46 h 158"/>
                <a:gd name="T56" fmla="*/ 48 w 102"/>
                <a:gd name="T57" fmla="*/ 30 h 158"/>
                <a:gd name="T58" fmla="*/ 34 w 102"/>
                <a:gd name="T59" fmla="*/ 13 h 158"/>
                <a:gd name="T60" fmla="*/ 33 w 102"/>
                <a:gd name="T61" fmla="*/ 30 h 158"/>
                <a:gd name="T62" fmla="*/ 33 w 102"/>
                <a:gd name="T63" fmla="*/ 38 h 158"/>
                <a:gd name="T64" fmla="*/ 39 w 102"/>
                <a:gd name="T65" fmla="*/ 41 h 158"/>
                <a:gd name="T66" fmla="*/ 50 w 102"/>
                <a:gd name="T67" fmla="*/ 52 h 158"/>
                <a:gd name="T68" fmla="*/ 70 w 102"/>
                <a:gd name="T69" fmla="*/ 33 h 158"/>
                <a:gd name="T70" fmla="*/ 70 w 102"/>
                <a:gd name="T71" fmla="*/ 27 h 158"/>
                <a:gd name="T72" fmla="*/ 68 w 102"/>
                <a:gd name="T73" fmla="*/ 23 h 158"/>
                <a:gd name="T74" fmla="*/ 54 w 102"/>
                <a:gd name="T75" fmla="*/ 18 h 158"/>
                <a:gd name="T76" fmla="*/ 56 w 102"/>
                <a:gd name="T77" fmla="*/ 15 h 158"/>
                <a:gd name="T78" fmla="*/ 50 w 102"/>
                <a:gd name="T79" fmla="*/ 10 h 158"/>
                <a:gd name="T80" fmla="*/ 43 w 102"/>
                <a:gd name="T81" fmla="*/ 15 h 158"/>
                <a:gd name="T82" fmla="*/ 56 w 102"/>
                <a:gd name="T83" fmla="*/ 37 h 158"/>
                <a:gd name="T84" fmla="*/ 63 w 102"/>
                <a:gd name="T85" fmla="*/ 35 h 158"/>
                <a:gd name="T86" fmla="*/ 71 w 102"/>
                <a:gd name="T87" fmla="*/ 52 h 158"/>
                <a:gd name="T88" fmla="*/ 74 w 102"/>
                <a:gd name="T89" fmla="*/ 49 h 158"/>
                <a:gd name="T90" fmla="*/ 74 w 102"/>
                <a:gd name="T91" fmla="*/ 41 h 158"/>
                <a:gd name="T92" fmla="*/ 80 w 102"/>
                <a:gd name="T93" fmla="*/ 6 h 158"/>
                <a:gd name="T94" fmla="*/ 82 w 102"/>
                <a:gd name="T95" fmla="*/ 24 h 158"/>
                <a:gd name="T96" fmla="*/ 80 w 102"/>
                <a:gd name="T97" fmla="*/ 29 h 158"/>
                <a:gd name="T98" fmla="*/ 85 w 102"/>
                <a:gd name="T99" fmla="*/ 35 h 158"/>
                <a:gd name="T100" fmla="*/ 91 w 102"/>
                <a:gd name="T101" fmla="*/ 33 h 158"/>
                <a:gd name="T102" fmla="*/ 87 w 102"/>
                <a:gd name="T103" fmla="*/ 23 h 158"/>
                <a:gd name="T104" fmla="*/ 74 w 102"/>
                <a:gd name="T105" fmla="*/ 18 h 158"/>
                <a:gd name="T106" fmla="*/ 76 w 102"/>
                <a:gd name="T107" fmla="*/ 7 h 158"/>
                <a:gd name="T108" fmla="*/ 67 w 102"/>
                <a:gd name="T109" fmla="*/ 12 h 158"/>
                <a:gd name="T110" fmla="*/ 74 w 102"/>
                <a:gd name="T111" fmla="*/ 26 h 158"/>
                <a:gd name="T112" fmla="*/ 63 w 102"/>
                <a:gd name="T113" fmla="*/ 4 h 158"/>
                <a:gd name="T114" fmla="*/ 91 w 102"/>
                <a:gd name="T115" fmla="*/ 16 h 158"/>
                <a:gd name="T116" fmla="*/ 90 w 102"/>
                <a:gd name="T117" fmla="*/ 13 h 158"/>
                <a:gd name="T118" fmla="*/ 85 w 102"/>
                <a:gd name="T119" fmla="*/ 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" h="158">
                  <a:moveTo>
                    <a:pt x="73" y="152"/>
                  </a:moveTo>
                  <a:lnTo>
                    <a:pt x="71" y="150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70" y="149"/>
                  </a:lnTo>
                  <a:lnTo>
                    <a:pt x="68" y="149"/>
                  </a:lnTo>
                  <a:lnTo>
                    <a:pt x="67" y="150"/>
                  </a:lnTo>
                  <a:lnTo>
                    <a:pt x="67" y="149"/>
                  </a:lnTo>
                  <a:lnTo>
                    <a:pt x="67" y="149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5" y="146"/>
                  </a:lnTo>
                  <a:lnTo>
                    <a:pt x="67" y="147"/>
                  </a:lnTo>
                  <a:lnTo>
                    <a:pt x="68" y="147"/>
                  </a:lnTo>
                  <a:lnTo>
                    <a:pt x="70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3" y="146"/>
                  </a:lnTo>
                  <a:lnTo>
                    <a:pt x="73" y="144"/>
                  </a:lnTo>
                  <a:lnTo>
                    <a:pt x="70" y="143"/>
                  </a:lnTo>
                  <a:lnTo>
                    <a:pt x="70" y="141"/>
                  </a:lnTo>
                  <a:lnTo>
                    <a:pt x="71" y="141"/>
                  </a:lnTo>
                  <a:lnTo>
                    <a:pt x="71" y="14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67" y="138"/>
                  </a:lnTo>
                  <a:lnTo>
                    <a:pt x="67" y="138"/>
                  </a:lnTo>
                  <a:lnTo>
                    <a:pt x="67" y="137"/>
                  </a:lnTo>
                  <a:lnTo>
                    <a:pt x="65" y="135"/>
                  </a:lnTo>
                  <a:lnTo>
                    <a:pt x="65" y="134"/>
                  </a:lnTo>
                  <a:lnTo>
                    <a:pt x="63" y="134"/>
                  </a:lnTo>
                  <a:lnTo>
                    <a:pt x="63" y="132"/>
                  </a:lnTo>
                  <a:lnTo>
                    <a:pt x="65" y="132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8" y="135"/>
                  </a:lnTo>
                  <a:lnTo>
                    <a:pt x="70" y="135"/>
                  </a:lnTo>
                  <a:lnTo>
                    <a:pt x="70" y="134"/>
                  </a:lnTo>
                  <a:lnTo>
                    <a:pt x="70" y="132"/>
                  </a:lnTo>
                  <a:lnTo>
                    <a:pt x="68" y="129"/>
                  </a:lnTo>
                  <a:lnTo>
                    <a:pt x="63" y="129"/>
                  </a:lnTo>
                  <a:lnTo>
                    <a:pt x="62" y="126"/>
                  </a:lnTo>
                  <a:lnTo>
                    <a:pt x="54" y="127"/>
                  </a:lnTo>
                  <a:lnTo>
                    <a:pt x="54" y="126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6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7" y="120"/>
                  </a:lnTo>
                  <a:lnTo>
                    <a:pt x="56" y="118"/>
                  </a:lnTo>
                  <a:lnTo>
                    <a:pt x="54" y="118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1" y="121"/>
                  </a:lnTo>
                  <a:lnTo>
                    <a:pt x="51" y="124"/>
                  </a:lnTo>
                  <a:lnTo>
                    <a:pt x="53" y="124"/>
                  </a:lnTo>
                  <a:lnTo>
                    <a:pt x="53" y="127"/>
                  </a:lnTo>
                  <a:lnTo>
                    <a:pt x="54" y="132"/>
                  </a:lnTo>
                  <a:lnTo>
                    <a:pt x="56" y="135"/>
                  </a:lnTo>
                  <a:lnTo>
                    <a:pt x="59" y="138"/>
                  </a:lnTo>
                  <a:lnTo>
                    <a:pt x="59" y="141"/>
                  </a:lnTo>
                  <a:lnTo>
                    <a:pt x="62" y="146"/>
                  </a:lnTo>
                  <a:lnTo>
                    <a:pt x="68" y="152"/>
                  </a:lnTo>
                  <a:lnTo>
                    <a:pt x="71" y="157"/>
                  </a:lnTo>
                  <a:lnTo>
                    <a:pt x="73" y="158"/>
                  </a:lnTo>
                  <a:lnTo>
                    <a:pt x="74" y="158"/>
                  </a:lnTo>
                  <a:lnTo>
                    <a:pt x="74" y="157"/>
                  </a:lnTo>
                  <a:lnTo>
                    <a:pt x="74" y="154"/>
                  </a:lnTo>
                  <a:lnTo>
                    <a:pt x="73" y="152"/>
                  </a:lnTo>
                  <a:close/>
                  <a:moveTo>
                    <a:pt x="74" y="87"/>
                  </a:moveTo>
                  <a:lnTo>
                    <a:pt x="74" y="86"/>
                  </a:lnTo>
                  <a:lnTo>
                    <a:pt x="73" y="84"/>
                  </a:lnTo>
                  <a:lnTo>
                    <a:pt x="68" y="83"/>
                  </a:lnTo>
                  <a:lnTo>
                    <a:pt x="67" y="83"/>
                  </a:lnTo>
                  <a:lnTo>
                    <a:pt x="65" y="81"/>
                  </a:lnTo>
                  <a:lnTo>
                    <a:pt x="65" y="80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7" y="78"/>
                  </a:lnTo>
                  <a:lnTo>
                    <a:pt x="56" y="78"/>
                  </a:lnTo>
                  <a:lnTo>
                    <a:pt x="56" y="80"/>
                  </a:lnTo>
                  <a:lnTo>
                    <a:pt x="57" y="84"/>
                  </a:lnTo>
                  <a:lnTo>
                    <a:pt x="57" y="87"/>
                  </a:lnTo>
                  <a:lnTo>
                    <a:pt x="59" y="89"/>
                  </a:lnTo>
                  <a:lnTo>
                    <a:pt x="59" y="90"/>
                  </a:lnTo>
                  <a:lnTo>
                    <a:pt x="60" y="90"/>
                  </a:lnTo>
                  <a:lnTo>
                    <a:pt x="67" y="92"/>
                  </a:lnTo>
                  <a:lnTo>
                    <a:pt x="68" y="93"/>
                  </a:lnTo>
                  <a:lnTo>
                    <a:pt x="73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0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3"/>
                  </a:lnTo>
                  <a:lnTo>
                    <a:pt x="77" y="92"/>
                  </a:lnTo>
                  <a:lnTo>
                    <a:pt x="77" y="90"/>
                  </a:lnTo>
                  <a:lnTo>
                    <a:pt x="74" y="87"/>
                  </a:lnTo>
                  <a:close/>
                  <a:moveTo>
                    <a:pt x="7" y="46"/>
                  </a:moveTo>
                  <a:lnTo>
                    <a:pt x="5" y="46"/>
                  </a:lnTo>
                  <a:lnTo>
                    <a:pt x="2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7" y="46"/>
                  </a:lnTo>
                  <a:close/>
                  <a:moveTo>
                    <a:pt x="42" y="47"/>
                  </a:moveTo>
                  <a:lnTo>
                    <a:pt x="40" y="47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7" y="43"/>
                  </a:lnTo>
                  <a:lnTo>
                    <a:pt x="36" y="41"/>
                  </a:lnTo>
                  <a:lnTo>
                    <a:pt x="34" y="41"/>
                  </a:lnTo>
                  <a:lnTo>
                    <a:pt x="31" y="40"/>
                  </a:lnTo>
                  <a:lnTo>
                    <a:pt x="31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0" y="43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3"/>
                  </a:lnTo>
                  <a:lnTo>
                    <a:pt x="17" y="47"/>
                  </a:lnTo>
                  <a:lnTo>
                    <a:pt x="20" y="49"/>
                  </a:lnTo>
                  <a:lnTo>
                    <a:pt x="23" y="49"/>
                  </a:lnTo>
                  <a:lnTo>
                    <a:pt x="25" y="50"/>
                  </a:lnTo>
                  <a:lnTo>
                    <a:pt x="27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3"/>
                  </a:lnTo>
                  <a:lnTo>
                    <a:pt x="25" y="55"/>
                  </a:lnTo>
                  <a:lnTo>
                    <a:pt x="30" y="57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7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4" y="5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60"/>
                  </a:lnTo>
                  <a:lnTo>
                    <a:pt x="34" y="60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7" y="55"/>
                  </a:lnTo>
                  <a:lnTo>
                    <a:pt x="39" y="55"/>
                  </a:lnTo>
                  <a:lnTo>
                    <a:pt x="40" y="55"/>
                  </a:lnTo>
                  <a:lnTo>
                    <a:pt x="42" y="57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5" y="52"/>
                  </a:lnTo>
                  <a:lnTo>
                    <a:pt x="45" y="49"/>
                  </a:lnTo>
                  <a:lnTo>
                    <a:pt x="43" y="47"/>
                  </a:lnTo>
                  <a:lnTo>
                    <a:pt x="42" y="47"/>
                  </a:lnTo>
                  <a:close/>
                  <a:moveTo>
                    <a:pt x="102" y="15"/>
                  </a:moveTo>
                  <a:lnTo>
                    <a:pt x="102" y="15"/>
                  </a:lnTo>
                  <a:lnTo>
                    <a:pt x="99" y="15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4" y="20"/>
                  </a:lnTo>
                  <a:lnTo>
                    <a:pt x="94" y="21"/>
                  </a:lnTo>
                  <a:lnTo>
                    <a:pt x="96" y="23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6"/>
                  </a:lnTo>
                  <a:lnTo>
                    <a:pt x="102" y="15"/>
                  </a:lnTo>
                  <a:close/>
                  <a:moveTo>
                    <a:pt x="53" y="57"/>
                  </a:moveTo>
                  <a:lnTo>
                    <a:pt x="56" y="58"/>
                  </a:lnTo>
                  <a:lnTo>
                    <a:pt x="59" y="64"/>
                  </a:lnTo>
                  <a:lnTo>
                    <a:pt x="63" y="67"/>
                  </a:lnTo>
                  <a:lnTo>
                    <a:pt x="67" y="70"/>
                  </a:lnTo>
                  <a:lnTo>
                    <a:pt x="68" y="73"/>
                  </a:lnTo>
                  <a:lnTo>
                    <a:pt x="71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68" y="64"/>
                  </a:lnTo>
                  <a:lnTo>
                    <a:pt x="68" y="63"/>
                  </a:lnTo>
                  <a:lnTo>
                    <a:pt x="68" y="60"/>
                  </a:lnTo>
                  <a:lnTo>
                    <a:pt x="70" y="58"/>
                  </a:lnTo>
                  <a:lnTo>
                    <a:pt x="68" y="57"/>
                  </a:lnTo>
                  <a:lnTo>
                    <a:pt x="62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5" y="53"/>
                  </a:lnTo>
                  <a:lnTo>
                    <a:pt x="65" y="53"/>
                  </a:lnTo>
                  <a:lnTo>
                    <a:pt x="65" y="52"/>
                  </a:lnTo>
                  <a:lnTo>
                    <a:pt x="63" y="49"/>
                  </a:lnTo>
                  <a:lnTo>
                    <a:pt x="62" y="47"/>
                  </a:lnTo>
                  <a:lnTo>
                    <a:pt x="56" y="47"/>
                  </a:lnTo>
                  <a:lnTo>
                    <a:pt x="57" y="47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60" y="41"/>
                  </a:lnTo>
                  <a:lnTo>
                    <a:pt x="59" y="40"/>
                  </a:lnTo>
                  <a:lnTo>
                    <a:pt x="56" y="38"/>
                  </a:lnTo>
                  <a:lnTo>
                    <a:pt x="51" y="35"/>
                  </a:lnTo>
                  <a:lnTo>
                    <a:pt x="48" y="33"/>
                  </a:lnTo>
                  <a:lnTo>
                    <a:pt x="48" y="30"/>
                  </a:lnTo>
                  <a:lnTo>
                    <a:pt x="45" y="23"/>
                  </a:lnTo>
                  <a:lnTo>
                    <a:pt x="43" y="20"/>
                  </a:lnTo>
                  <a:lnTo>
                    <a:pt x="43" y="18"/>
                  </a:lnTo>
                  <a:lnTo>
                    <a:pt x="40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3" y="20"/>
                  </a:lnTo>
                  <a:lnTo>
                    <a:pt x="33" y="23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7"/>
                  </a:lnTo>
                  <a:lnTo>
                    <a:pt x="33" y="38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39" y="38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1"/>
                  </a:lnTo>
                  <a:lnTo>
                    <a:pt x="39" y="43"/>
                  </a:lnTo>
                  <a:lnTo>
                    <a:pt x="40" y="44"/>
                  </a:lnTo>
                  <a:lnTo>
                    <a:pt x="47" y="44"/>
                  </a:lnTo>
                  <a:lnTo>
                    <a:pt x="47" y="46"/>
                  </a:lnTo>
                  <a:lnTo>
                    <a:pt x="48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3" y="57"/>
                  </a:lnTo>
                  <a:close/>
                  <a:moveTo>
                    <a:pt x="77" y="41"/>
                  </a:moveTo>
                  <a:lnTo>
                    <a:pt x="80" y="41"/>
                  </a:lnTo>
                  <a:lnTo>
                    <a:pt x="79" y="40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1" y="32"/>
                  </a:lnTo>
                  <a:lnTo>
                    <a:pt x="74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6"/>
                  </a:lnTo>
                  <a:lnTo>
                    <a:pt x="67" y="24"/>
                  </a:lnTo>
                  <a:lnTo>
                    <a:pt x="68" y="23"/>
                  </a:lnTo>
                  <a:lnTo>
                    <a:pt x="68" y="21"/>
                  </a:lnTo>
                  <a:lnTo>
                    <a:pt x="67" y="21"/>
                  </a:lnTo>
                  <a:lnTo>
                    <a:pt x="62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3"/>
                  </a:lnTo>
                  <a:lnTo>
                    <a:pt x="53" y="20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6" y="15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47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2" y="13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7" y="26"/>
                  </a:lnTo>
                  <a:lnTo>
                    <a:pt x="51" y="33"/>
                  </a:lnTo>
                  <a:lnTo>
                    <a:pt x="53" y="33"/>
                  </a:lnTo>
                  <a:lnTo>
                    <a:pt x="53" y="35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8"/>
                  </a:lnTo>
                  <a:lnTo>
                    <a:pt x="59" y="38"/>
                  </a:lnTo>
                  <a:lnTo>
                    <a:pt x="65" y="44"/>
                  </a:lnTo>
                  <a:lnTo>
                    <a:pt x="68" y="47"/>
                  </a:lnTo>
                  <a:lnTo>
                    <a:pt x="70" y="44"/>
                  </a:lnTo>
                  <a:lnTo>
                    <a:pt x="68" y="40"/>
                  </a:lnTo>
                  <a:lnTo>
                    <a:pt x="67" y="37"/>
                  </a:lnTo>
                  <a:lnTo>
                    <a:pt x="63" y="35"/>
                  </a:lnTo>
                  <a:lnTo>
                    <a:pt x="62" y="33"/>
                  </a:lnTo>
                  <a:lnTo>
                    <a:pt x="65" y="32"/>
                  </a:lnTo>
                  <a:lnTo>
                    <a:pt x="67" y="35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1" y="44"/>
                  </a:lnTo>
                  <a:lnTo>
                    <a:pt x="71" y="49"/>
                  </a:lnTo>
                  <a:lnTo>
                    <a:pt x="71" y="52"/>
                  </a:lnTo>
                  <a:lnTo>
                    <a:pt x="74" y="53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0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7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lnTo>
                    <a:pt x="76" y="43"/>
                  </a:lnTo>
                  <a:lnTo>
                    <a:pt x="74" y="41"/>
                  </a:lnTo>
                  <a:lnTo>
                    <a:pt x="73" y="41"/>
                  </a:lnTo>
                  <a:lnTo>
                    <a:pt x="73" y="40"/>
                  </a:lnTo>
                  <a:lnTo>
                    <a:pt x="77" y="41"/>
                  </a:lnTo>
                  <a:close/>
                  <a:moveTo>
                    <a:pt x="87" y="16"/>
                  </a:moveTo>
                  <a:lnTo>
                    <a:pt x="85" y="12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0" y="6"/>
                  </a:lnTo>
                  <a:lnTo>
                    <a:pt x="80" y="9"/>
                  </a:lnTo>
                  <a:lnTo>
                    <a:pt x="80" y="12"/>
                  </a:lnTo>
                  <a:lnTo>
                    <a:pt x="82" y="15"/>
                  </a:lnTo>
                  <a:lnTo>
                    <a:pt x="82" y="16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9" y="27"/>
                  </a:lnTo>
                  <a:lnTo>
                    <a:pt x="80" y="29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5"/>
                  </a:lnTo>
                  <a:lnTo>
                    <a:pt x="85" y="3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5" y="29"/>
                  </a:lnTo>
                  <a:lnTo>
                    <a:pt x="87" y="32"/>
                  </a:lnTo>
                  <a:lnTo>
                    <a:pt x="88" y="33"/>
                  </a:lnTo>
                  <a:lnTo>
                    <a:pt x="90" y="35"/>
                  </a:lnTo>
                  <a:lnTo>
                    <a:pt x="91" y="33"/>
                  </a:lnTo>
                  <a:lnTo>
                    <a:pt x="93" y="33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0" y="29"/>
                  </a:lnTo>
                  <a:lnTo>
                    <a:pt x="88" y="27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3" y="24"/>
                  </a:lnTo>
                  <a:lnTo>
                    <a:pt x="94" y="23"/>
                  </a:lnTo>
                  <a:lnTo>
                    <a:pt x="90" y="20"/>
                  </a:lnTo>
                  <a:lnTo>
                    <a:pt x="87" y="16"/>
                  </a:lnTo>
                  <a:close/>
                  <a:moveTo>
                    <a:pt x="74" y="18"/>
                  </a:moveTo>
                  <a:lnTo>
                    <a:pt x="76" y="20"/>
                  </a:lnTo>
                  <a:lnTo>
                    <a:pt x="77" y="21"/>
                  </a:lnTo>
                  <a:lnTo>
                    <a:pt x="79" y="23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79" y="18"/>
                  </a:lnTo>
                  <a:lnTo>
                    <a:pt x="79" y="15"/>
                  </a:lnTo>
                  <a:lnTo>
                    <a:pt x="76" y="7"/>
                  </a:lnTo>
                  <a:lnTo>
                    <a:pt x="74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9"/>
                  </a:lnTo>
                  <a:lnTo>
                    <a:pt x="73" y="12"/>
                  </a:lnTo>
                  <a:lnTo>
                    <a:pt x="74" y="18"/>
                  </a:lnTo>
                  <a:close/>
                  <a:moveTo>
                    <a:pt x="65" y="10"/>
                  </a:moveTo>
                  <a:lnTo>
                    <a:pt x="67" y="12"/>
                  </a:lnTo>
                  <a:lnTo>
                    <a:pt x="68" y="15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6" y="24"/>
                  </a:lnTo>
                  <a:lnTo>
                    <a:pt x="74" y="23"/>
                  </a:lnTo>
                  <a:lnTo>
                    <a:pt x="74" y="21"/>
                  </a:lnTo>
                  <a:lnTo>
                    <a:pt x="70" y="12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5" y="3"/>
                  </a:lnTo>
                  <a:lnTo>
                    <a:pt x="63" y="4"/>
                  </a:lnTo>
                  <a:lnTo>
                    <a:pt x="65" y="6"/>
                  </a:lnTo>
                  <a:lnTo>
                    <a:pt x="65" y="10"/>
                  </a:lnTo>
                  <a:close/>
                  <a:moveTo>
                    <a:pt x="84" y="4"/>
                  </a:moveTo>
                  <a:lnTo>
                    <a:pt x="84" y="9"/>
                  </a:lnTo>
                  <a:lnTo>
                    <a:pt x="85" y="10"/>
                  </a:lnTo>
                  <a:lnTo>
                    <a:pt x="87" y="13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4" y="13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88" y="9"/>
                  </a:lnTo>
                  <a:lnTo>
                    <a:pt x="88" y="7"/>
                  </a:lnTo>
                  <a:lnTo>
                    <a:pt x="87" y="6"/>
                  </a:lnTo>
                  <a:lnTo>
                    <a:pt x="87" y="4"/>
                  </a:lnTo>
                  <a:lnTo>
                    <a:pt x="85" y="1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2" y="3"/>
                  </a:lnTo>
                  <a:lnTo>
                    <a:pt x="84" y="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88"/>
            <p:cNvSpPr>
              <a:spLocks noEditPoints="1"/>
            </p:cNvSpPr>
            <p:nvPr/>
          </p:nvSpPr>
          <p:spPr bwMode="gray">
            <a:xfrm>
              <a:off x="4779963" y="3995738"/>
              <a:ext cx="161925" cy="250825"/>
            </a:xfrm>
            <a:custGeom>
              <a:avLst/>
              <a:gdLst>
                <a:gd name="T0" fmla="*/ 67 w 102"/>
                <a:gd name="T1" fmla="*/ 149 h 158"/>
                <a:gd name="T2" fmla="*/ 71 w 102"/>
                <a:gd name="T3" fmla="*/ 146 h 158"/>
                <a:gd name="T4" fmla="*/ 70 w 102"/>
                <a:gd name="T5" fmla="*/ 138 h 158"/>
                <a:gd name="T6" fmla="*/ 63 w 102"/>
                <a:gd name="T7" fmla="*/ 134 h 158"/>
                <a:gd name="T8" fmla="*/ 70 w 102"/>
                <a:gd name="T9" fmla="*/ 132 h 158"/>
                <a:gd name="T10" fmla="*/ 57 w 102"/>
                <a:gd name="T11" fmla="*/ 123 h 158"/>
                <a:gd name="T12" fmla="*/ 53 w 102"/>
                <a:gd name="T13" fmla="*/ 121 h 158"/>
                <a:gd name="T14" fmla="*/ 56 w 102"/>
                <a:gd name="T15" fmla="*/ 135 h 158"/>
                <a:gd name="T16" fmla="*/ 74 w 102"/>
                <a:gd name="T17" fmla="*/ 157 h 158"/>
                <a:gd name="T18" fmla="*/ 65 w 102"/>
                <a:gd name="T19" fmla="*/ 81 h 158"/>
                <a:gd name="T20" fmla="*/ 57 w 102"/>
                <a:gd name="T21" fmla="*/ 84 h 158"/>
                <a:gd name="T22" fmla="*/ 74 w 102"/>
                <a:gd name="T23" fmla="*/ 103 h 158"/>
                <a:gd name="T24" fmla="*/ 76 w 102"/>
                <a:gd name="T25" fmla="*/ 93 h 158"/>
                <a:gd name="T26" fmla="*/ 0 w 102"/>
                <a:gd name="T27" fmla="*/ 47 h 158"/>
                <a:gd name="T28" fmla="*/ 39 w 102"/>
                <a:gd name="T29" fmla="*/ 46 h 158"/>
                <a:gd name="T30" fmla="*/ 33 w 102"/>
                <a:gd name="T31" fmla="*/ 38 h 158"/>
                <a:gd name="T32" fmla="*/ 22 w 102"/>
                <a:gd name="T33" fmla="*/ 43 h 158"/>
                <a:gd name="T34" fmla="*/ 23 w 102"/>
                <a:gd name="T35" fmla="*/ 49 h 158"/>
                <a:gd name="T36" fmla="*/ 33 w 102"/>
                <a:gd name="T37" fmla="*/ 58 h 158"/>
                <a:gd name="T38" fmla="*/ 34 w 102"/>
                <a:gd name="T39" fmla="*/ 57 h 158"/>
                <a:gd name="T40" fmla="*/ 37 w 102"/>
                <a:gd name="T41" fmla="*/ 57 h 158"/>
                <a:gd name="T42" fmla="*/ 45 w 102"/>
                <a:gd name="T43" fmla="*/ 52 h 158"/>
                <a:gd name="T44" fmla="*/ 96 w 102"/>
                <a:gd name="T45" fmla="*/ 18 h 158"/>
                <a:gd name="T46" fmla="*/ 100 w 102"/>
                <a:gd name="T47" fmla="*/ 23 h 158"/>
                <a:gd name="T48" fmla="*/ 59 w 102"/>
                <a:gd name="T49" fmla="*/ 64 h 158"/>
                <a:gd name="T50" fmla="*/ 68 w 102"/>
                <a:gd name="T51" fmla="*/ 64 h 158"/>
                <a:gd name="T52" fmla="*/ 65 w 102"/>
                <a:gd name="T53" fmla="*/ 53 h 158"/>
                <a:gd name="T54" fmla="*/ 59 w 102"/>
                <a:gd name="T55" fmla="*/ 46 h 158"/>
                <a:gd name="T56" fmla="*/ 48 w 102"/>
                <a:gd name="T57" fmla="*/ 30 h 158"/>
                <a:gd name="T58" fmla="*/ 34 w 102"/>
                <a:gd name="T59" fmla="*/ 13 h 158"/>
                <a:gd name="T60" fmla="*/ 33 w 102"/>
                <a:gd name="T61" fmla="*/ 30 h 158"/>
                <a:gd name="T62" fmla="*/ 33 w 102"/>
                <a:gd name="T63" fmla="*/ 38 h 158"/>
                <a:gd name="T64" fmla="*/ 39 w 102"/>
                <a:gd name="T65" fmla="*/ 41 h 158"/>
                <a:gd name="T66" fmla="*/ 50 w 102"/>
                <a:gd name="T67" fmla="*/ 52 h 158"/>
                <a:gd name="T68" fmla="*/ 70 w 102"/>
                <a:gd name="T69" fmla="*/ 33 h 158"/>
                <a:gd name="T70" fmla="*/ 70 w 102"/>
                <a:gd name="T71" fmla="*/ 27 h 158"/>
                <a:gd name="T72" fmla="*/ 68 w 102"/>
                <a:gd name="T73" fmla="*/ 23 h 158"/>
                <a:gd name="T74" fmla="*/ 54 w 102"/>
                <a:gd name="T75" fmla="*/ 18 h 158"/>
                <a:gd name="T76" fmla="*/ 56 w 102"/>
                <a:gd name="T77" fmla="*/ 15 h 158"/>
                <a:gd name="T78" fmla="*/ 50 w 102"/>
                <a:gd name="T79" fmla="*/ 10 h 158"/>
                <a:gd name="T80" fmla="*/ 43 w 102"/>
                <a:gd name="T81" fmla="*/ 15 h 158"/>
                <a:gd name="T82" fmla="*/ 56 w 102"/>
                <a:gd name="T83" fmla="*/ 37 h 158"/>
                <a:gd name="T84" fmla="*/ 63 w 102"/>
                <a:gd name="T85" fmla="*/ 35 h 158"/>
                <a:gd name="T86" fmla="*/ 71 w 102"/>
                <a:gd name="T87" fmla="*/ 52 h 158"/>
                <a:gd name="T88" fmla="*/ 74 w 102"/>
                <a:gd name="T89" fmla="*/ 49 h 158"/>
                <a:gd name="T90" fmla="*/ 74 w 102"/>
                <a:gd name="T91" fmla="*/ 41 h 158"/>
                <a:gd name="T92" fmla="*/ 80 w 102"/>
                <a:gd name="T93" fmla="*/ 6 h 158"/>
                <a:gd name="T94" fmla="*/ 82 w 102"/>
                <a:gd name="T95" fmla="*/ 24 h 158"/>
                <a:gd name="T96" fmla="*/ 80 w 102"/>
                <a:gd name="T97" fmla="*/ 29 h 158"/>
                <a:gd name="T98" fmla="*/ 85 w 102"/>
                <a:gd name="T99" fmla="*/ 35 h 158"/>
                <a:gd name="T100" fmla="*/ 91 w 102"/>
                <a:gd name="T101" fmla="*/ 33 h 158"/>
                <a:gd name="T102" fmla="*/ 87 w 102"/>
                <a:gd name="T103" fmla="*/ 23 h 158"/>
                <a:gd name="T104" fmla="*/ 74 w 102"/>
                <a:gd name="T105" fmla="*/ 18 h 158"/>
                <a:gd name="T106" fmla="*/ 76 w 102"/>
                <a:gd name="T107" fmla="*/ 7 h 158"/>
                <a:gd name="T108" fmla="*/ 67 w 102"/>
                <a:gd name="T109" fmla="*/ 12 h 158"/>
                <a:gd name="T110" fmla="*/ 74 w 102"/>
                <a:gd name="T111" fmla="*/ 26 h 158"/>
                <a:gd name="T112" fmla="*/ 63 w 102"/>
                <a:gd name="T113" fmla="*/ 4 h 158"/>
                <a:gd name="T114" fmla="*/ 91 w 102"/>
                <a:gd name="T115" fmla="*/ 16 h 158"/>
                <a:gd name="T116" fmla="*/ 90 w 102"/>
                <a:gd name="T117" fmla="*/ 13 h 158"/>
                <a:gd name="T118" fmla="*/ 85 w 102"/>
                <a:gd name="T119" fmla="*/ 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" h="158">
                  <a:moveTo>
                    <a:pt x="73" y="152"/>
                  </a:moveTo>
                  <a:lnTo>
                    <a:pt x="71" y="150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70" y="149"/>
                  </a:lnTo>
                  <a:lnTo>
                    <a:pt x="68" y="149"/>
                  </a:lnTo>
                  <a:lnTo>
                    <a:pt x="67" y="150"/>
                  </a:lnTo>
                  <a:lnTo>
                    <a:pt x="67" y="149"/>
                  </a:lnTo>
                  <a:lnTo>
                    <a:pt x="67" y="149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5" y="146"/>
                  </a:lnTo>
                  <a:lnTo>
                    <a:pt x="67" y="147"/>
                  </a:lnTo>
                  <a:lnTo>
                    <a:pt x="68" y="147"/>
                  </a:lnTo>
                  <a:lnTo>
                    <a:pt x="70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3" y="146"/>
                  </a:lnTo>
                  <a:lnTo>
                    <a:pt x="73" y="144"/>
                  </a:lnTo>
                  <a:lnTo>
                    <a:pt x="70" y="143"/>
                  </a:lnTo>
                  <a:lnTo>
                    <a:pt x="70" y="141"/>
                  </a:lnTo>
                  <a:lnTo>
                    <a:pt x="71" y="141"/>
                  </a:lnTo>
                  <a:lnTo>
                    <a:pt x="71" y="140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67" y="138"/>
                  </a:lnTo>
                  <a:lnTo>
                    <a:pt x="67" y="138"/>
                  </a:lnTo>
                  <a:lnTo>
                    <a:pt x="67" y="137"/>
                  </a:lnTo>
                  <a:lnTo>
                    <a:pt x="65" y="135"/>
                  </a:lnTo>
                  <a:lnTo>
                    <a:pt x="65" y="134"/>
                  </a:lnTo>
                  <a:lnTo>
                    <a:pt x="63" y="134"/>
                  </a:lnTo>
                  <a:lnTo>
                    <a:pt x="63" y="132"/>
                  </a:lnTo>
                  <a:lnTo>
                    <a:pt x="65" y="132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8" y="135"/>
                  </a:lnTo>
                  <a:lnTo>
                    <a:pt x="70" y="135"/>
                  </a:lnTo>
                  <a:lnTo>
                    <a:pt x="70" y="134"/>
                  </a:lnTo>
                  <a:lnTo>
                    <a:pt x="70" y="132"/>
                  </a:lnTo>
                  <a:lnTo>
                    <a:pt x="68" y="129"/>
                  </a:lnTo>
                  <a:lnTo>
                    <a:pt x="63" y="129"/>
                  </a:lnTo>
                  <a:lnTo>
                    <a:pt x="62" y="126"/>
                  </a:lnTo>
                  <a:lnTo>
                    <a:pt x="54" y="127"/>
                  </a:lnTo>
                  <a:lnTo>
                    <a:pt x="54" y="126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6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7" y="120"/>
                  </a:lnTo>
                  <a:lnTo>
                    <a:pt x="56" y="118"/>
                  </a:lnTo>
                  <a:lnTo>
                    <a:pt x="54" y="118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1" y="121"/>
                  </a:lnTo>
                  <a:lnTo>
                    <a:pt x="51" y="124"/>
                  </a:lnTo>
                  <a:lnTo>
                    <a:pt x="53" y="124"/>
                  </a:lnTo>
                  <a:lnTo>
                    <a:pt x="53" y="127"/>
                  </a:lnTo>
                  <a:lnTo>
                    <a:pt x="54" y="132"/>
                  </a:lnTo>
                  <a:lnTo>
                    <a:pt x="56" y="135"/>
                  </a:lnTo>
                  <a:lnTo>
                    <a:pt x="59" y="138"/>
                  </a:lnTo>
                  <a:lnTo>
                    <a:pt x="59" y="141"/>
                  </a:lnTo>
                  <a:lnTo>
                    <a:pt x="62" y="146"/>
                  </a:lnTo>
                  <a:lnTo>
                    <a:pt x="68" y="152"/>
                  </a:lnTo>
                  <a:lnTo>
                    <a:pt x="71" y="157"/>
                  </a:lnTo>
                  <a:lnTo>
                    <a:pt x="73" y="158"/>
                  </a:lnTo>
                  <a:lnTo>
                    <a:pt x="74" y="158"/>
                  </a:lnTo>
                  <a:lnTo>
                    <a:pt x="74" y="157"/>
                  </a:lnTo>
                  <a:lnTo>
                    <a:pt x="74" y="154"/>
                  </a:lnTo>
                  <a:lnTo>
                    <a:pt x="73" y="152"/>
                  </a:lnTo>
                  <a:close/>
                  <a:moveTo>
                    <a:pt x="74" y="87"/>
                  </a:moveTo>
                  <a:lnTo>
                    <a:pt x="74" y="86"/>
                  </a:lnTo>
                  <a:lnTo>
                    <a:pt x="73" y="84"/>
                  </a:lnTo>
                  <a:lnTo>
                    <a:pt x="68" y="83"/>
                  </a:lnTo>
                  <a:lnTo>
                    <a:pt x="67" y="83"/>
                  </a:lnTo>
                  <a:lnTo>
                    <a:pt x="65" y="81"/>
                  </a:lnTo>
                  <a:lnTo>
                    <a:pt x="65" y="80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7" y="78"/>
                  </a:lnTo>
                  <a:lnTo>
                    <a:pt x="56" y="78"/>
                  </a:lnTo>
                  <a:lnTo>
                    <a:pt x="56" y="80"/>
                  </a:lnTo>
                  <a:lnTo>
                    <a:pt x="57" y="84"/>
                  </a:lnTo>
                  <a:lnTo>
                    <a:pt x="57" y="87"/>
                  </a:lnTo>
                  <a:lnTo>
                    <a:pt x="59" y="89"/>
                  </a:lnTo>
                  <a:lnTo>
                    <a:pt x="59" y="90"/>
                  </a:lnTo>
                  <a:lnTo>
                    <a:pt x="60" y="90"/>
                  </a:lnTo>
                  <a:lnTo>
                    <a:pt x="67" y="92"/>
                  </a:lnTo>
                  <a:lnTo>
                    <a:pt x="68" y="93"/>
                  </a:lnTo>
                  <a:lnTo>
                    <a:pt x="73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0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3"/>
                  </a:lnTo>
                  <a:lnTo>
                    <a:pt x="77" y="92"/>
                  </a:lnTo>
                  <a:lnTo>
                    <a:pt x="77" y="90"/>
                  </a:lnTo>
                  <a:lnTo>
                    <a:pt x="74" y="87"/>
                  </a:lnTo>
                  <a:close/>
                  <a:moveTo>
                    <a:pt x="7" y="46"/>
                  </a:moveTo>
                  <a:lnTo>
                    <a:pt x="5" y="46"/>
                  </a:lnTo>
                  <a:lnTo>
                    <a:pt x="2" y="46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7" y="46"/>
                  </a:lnTo>
                  <a:close/>
                  <a:moveTo>
                    <a:pt x="42" y="47"/>
                  </a:moveTo>
                  <a:lnTo>
                    <a:pt x="40" y="47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7" y="43"/>
                  </a:lnTo>
                  <a:lnTo>
                    <a:pt x="36" y="41"/>
                  </a:lnTo>
                  <a:lnTo>
                    <a:pt x="34" y="41"/>
                  </a:lnTo>
                  <a:lnTo>
                    <a:pt x="31" y="40"/>
                  </a:lnTo>
                  <a:lnTo>
                    <a:pt x="31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0" y="43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3"/>
                  </a:lnTo>
                  <a:lnTo>
                    <a:pt x="17" y="47"/>
                  </a:lnTo>
                  <a:lnTo>
                    <a:pt x="20" y="49"/>
                  </a:lnTo>
                  <a:lnTo>
                    <a:pt x="23" y="49"/>
                  </a:lnTo>
                  <a:lnTo>
                    <a:pt x="25" y="50"/>
                  </a:lnTo>
                  <a:lnTo>
                    <a:pt x="27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3"/>
                  </a:lnTo>
                  <a:lnTo>
                    <a:pt x="25" y="55"/>
                  </a:lnTo>
                  <a:lnTo>
                    <a:pt x="30" y="57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7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4" y="5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60"/>
                  </a:lnTo>
                  <a:lnTo>
                    <a:pt x="34" y="60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7" y="55"/>
                  </a:lnTo>
                  <a:lnTo>
                    <a:pt x="39" y="55"/>
                  </a:lnTo>
                  <a:lnTo>
                    <a:pt x="40" y="55"/>
                  </a:lnTo>
                  <a:lnTo>
                    <a:pt x="42" y="57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5" y="52"/>
                  </a:lnTo>
                  <a:lnTo>
                    <a:pt x="45" y="49"/>
                  </a:lnTo>
                  <a:lnTo>
                    <a:pt x="43" y="47"/>
                  </a:lnTo>
                  <a:lnTo>
                    <a:pt x="42" y="47"/>
                  </a:lnTo>
                  <a:close/>
                  <a:moveTo>
                    <a:pt x="102" y="15"/>
                  </a:moveTo>
                  <a:lnTo>
                    <a:pt x="102" y="15"/>
                  </a:lnTo>
                  <a:lnTo>
                    <a:pt x="99" y="15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4" y="20"/>
                  </a:lnTo>
                  <a:lnTo>
                    <a:pt x="94" y="21"/>
                  </a:lnTo>
                  <a:lnTo>
                    <a:pt x="96" y="23"/>
                  </a:lnTo>
                  <a:lnTo>
                    <a:pt x="96" y="24"/>
                  </a:lnTo>
                  <a:lnTo>
                    <a:pt x="97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6"/>
                  </a:lnTo>
                  <a:lnTo>
                    <a:pt x="102" y="15"/>
                  </a:lnTo>
                  <a:close/>
                  <a:moveTo>
                    <a:pt x="53" y="57"/>
                  </a:moveTo>
                  <a:lnTo>
                    <a:pt x="56" y="58"/>
                  </a:lnTo>
                  <a:lnTo>
                    <a:pt x="59" y="64"/>
                  </a:lnTo>
                  <a:lnTo>
                    <a:pt x="63" y="67"/>
                  </a:lnTo>
                  <a:lnTo>
                    <a:pt x="67" y="70"/>
                  </a:lnTo>
                  <a:lnTo>
                    <a:pt x="68" y="73"/>
                  </a:lnTo>
                  <a:lnTo>
                    <a:pt x="71" y="72"/>
                  </a:lnTo>
                  <a:lnTo>
                    <a:pt x="70" y="70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68" y="64"/>
                  </a:lnTo>
                  <a:lnTo>
                    <a:pt x="68" y="63"/>
                  </a:lnTo>
                  <a:lnTo>
                    <a:pt x="68" y="60"/>
                  </a:lnTo>
                  <a:lnTo>
                    <a:pt x="70" y="58"/>
                  </a:lnTo>
                  <a:lnTo>
                    <a:pt x="68" y="57"/>
                  </a:lnTo>
                  <a:lnTo>
                    <a:pt x="62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5" y="53"/>
                  </a:lnTo>
                  <a:lnTo>
                    <a:pt x="65" y="53"/>
                  </a:lnTo>
                  <a:lnTo>
                    <a:pt x="65" y="52"/>
                  </a:lnTo>
                  <a:lnTo>
                    <a:pt x="63" y="49"/>
                  </a:lnTo>
                  <a:lnTo>
                    <a:pt x="62" y="47"/>
                  </a:lnTo>
                  <a:lnTo>
                    <a:pt x="56" y="47"/>
                  </a:lnTo>
                  <a:lnTo>
                    <a:pt x="57" y="47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60" y="41"/>
                  </a:lnTo>
                  <a:lnTo>
                    <a:pt x="59" y="40"/>
                  </a:lnTo>
                  <a:lnTo>
                    <a:pt x="56" y="38"/>
                  </a:lnTo>
                  <a:lnTo>
                    <a:pt x="51" y="35"/>
                  </a:lnTo>
                  <a:lnTo>
                    <a:pt x="48" y="33"/>
                  </a:lnTo>
                  <a:lnTo>
                    <a:pt x="48" y="30"/>
                  </a:lnTo>
                  <a:lnTo>
                    <a:pt x="45" y="23"/>
                  </a:lnTo>
                  <a:lnTo>
                    <a:pt x="43" y="20"/>
                  </a:lnTo>
                  <a:lnTo>
                    <a:pt x="43" y="18"/>
                  </a:lnTo>
                  <a:lnTo>
                    <a:pt x="40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3" y="20"/>
                  </a:lnTo>
                  <a:lnTo>
                    <a:pt x="33" y="23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7"/>
                  </a:lnTo>
                  <a:lnTo>
                    <a:pt x="33" y="38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39" y="38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1"/>
                  </a:lnTo>
                  <a:lnTo>
                    <a:pt x="39" y="43"/>
                  </a:lnTo>
                  <a:lnTo>
                    <a:pt x="40" y="44"/>
                  </a:lnTo>
                  <a:lnTo>
                    <a:pt x="47" y="44"/>
                  </a:lnTo>
                  <a:lnTo>
                    <a:pt x="47" y="46"/>
                  </a:lnTo>
                  <a:lnTo>
                    <a:pt x="48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3" y="57"/>
                  </a:lnTo>
                  <a:close/>
                  <a:moveTo>
                    <a:pt x="77" y="41"/>
                  </a:moveTo>
                  <a:lnTo>
                    <a:pt x="80" y="41"/>
                  </a:lnTo>
                  <a:lnTo>
                    <a:pt x="79" y="40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1" y="32"/>
                  </a:lnTo>
                  <a:lnTo>
                    <a:pt x="74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6"/>
                  </a:lnTo>
                  <a:lnTo>
                    <a:pt x="67" y="24"/>
                  </a:lnTo>
                  <a:lnTo>
                    <a:pt x="68" y="23"/>
                  </a:lnTo>
                  <a:lnTo>
                    <a:pt x="68" y="21"/>
                  </a:lnTo>
                  <a:lnTo>
                    <a:pt x="67" y="21"/>
                  </a:lnTo>
                  <a:lnTo>
                    <a:pt x="62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3"/>
                  </a:lnTo>
                  <a:lnTo>
                    <a:pt x="53" y="20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6" y="15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47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2" y="13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7" y="26"/>
                  </a:lnTo>
                  <a:lnTo>
                    <a:pt x="51" y="33"/>
                  </a:lnTo>
                  <a:lnTo>
                    <a:pt x="53" y="33"/>
                  </a:lnTo>
                  <a:lnTo>
                    <a:pt x="53" y="35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8"/>
                  </a:lnTo>
                  <a:lnTo>
                    <a:pt x="59" y="38"/>
                  </a:lnTo>
                  <a:lnTo>
                    <a:pt x="65" y="44"/>
                  </a:lnTo>
                  <a:lnTo>
                    <a:pt x="68" y="47"/>
                  </a:lnTo>
                  <a:lnTo>
                    <a:pt x="70" y="44"/>
                  </a:lnTo>
                  <a:lnTo>
                    <a:pt x="68" y="40"/>
                  </a:lnTo>
                  <a:lnTo>
                    <a:pt x="67" y="37"/>
                  </a:lnTo>
                  <a:lnTo>
                    <a:pt x="63" y="35"/>
                  </a:lnTo>
                  <a:lnTo>
                    <a:pt x="62" y="33"/>
                  </a:lnTo>
                  <a:lnTo>
                    <a:pt x="65" y="32"/>
                  </a:lnTo>
                  <a:lnTo>
                    <a:pt x="67" y="35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1" y="44"/>
                  </a:lnTo>
                  <a:lnTo>
                    <a:pt x="71" y="49"/>
                  </a:lnTo>
                  <a:lnTo>
                    <a:pt x="71" y="52"/>
                  </a:lnTo>
                  <a:lnTo>
                    <a:pt x="74" y="53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0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7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lnTo>
                    <a:pt x="76" y="43"/>
                  </a:lnTo>
                  <a:lnTo>
                    <a:pt x="74" y="41"/>
                  </a:lnTo>
                  <a:lnTo>
                    <a:pt x="73" y="41"/>
                  </a:lnTo>
                  <a:lnTo>
                    <a:pt x="73" y="40"/>
                  </a:lnTo>
                  <a:lnTo>
                    <a:pt x="77" y="41"/>
                  </a:lnTo>
                  <a:close/>
                  <a:moveTo>
                    <a:pt x="87" y="16"/>
                  </a:moveTo>
                  <a:lnTo>
                    <a:pt x="85" y="12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0" y="6"/>
                  </a:lnTo>
                  <a:lnTo>
                    <a:pt x="80" y="9"/>
                  </a:lnTo>
                  <a:lnTo>
                    <a:pt x="80" y="12"/>
                  </a:lnTo>
                  <a:lnTo>
                    <a:pt x="82" y="15"/>
                  </a:lnTo>
                  <a:lnTo>
                    <a:pt x="82" y="16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9" y="27"/>
                  </a:lnTo>
                  <a:lnTo>
                    <a:pt x="80" y="29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5"/>
                  </a:lnTo>
                  <a:lnTo>
                    <a:pt x="85" y="3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5" y="29"/>
                  </a:lnTo>
                  <a:lnTo>
                    <a:pt x="87" y="32"/>
                  </a:lnTo>
                  <a:lnTo>
                    <a:pt x="88" y="33"/>
                  </a:lnTo>
                  <a:lnTo>
                    <a:pt x="90" y="35"/>
                  </a:lnTo>
                  <a:lnTo>
                    <a:pt x="91" y="33"/>
                  </a:lnTo>
                  <a:lnTo>
                    <a:pt x="93" y="33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0" y="29"/>
                  </a:lnTo>
                  <a:lnTo>
                    <a:pt x="88" y="27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3" y="24"/>
                  </a:lnTo>
                  <a:lnTo>
                    <a:pt x="94" y="23"/>
                  </a:lnTo>
                  <a:lnTo>
                    <a:pt x="90" y="20"/>
                  </a:lnTo>
                  <a:lnTo>
                    <a:pt x="87" y="16"/>
                  </a:lnTo>
                  <a:close/>
                  <a:moveTo>
                    <a:pt x="74" y="18"/>
                  </a:moveTo>
                  <a:lnTo>
                    <a:pt x="76" y="20"/>
                  </a:lnTo>
                  <a:lnTo>
                    <a:pt x="77" y="21"/>
                  </a:lnTo>
                  <a:lnTo>
                    <a:pt x="79" y="23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79" y="18"/>
                  </a:lnTo>
                  <a:lnTo>
                    <a:pt x="79" y="15"/>
                  </a:lnTo>
                  <a:lnTo>
                    <a:pt x="76" y="7"/>
                  </a:lnTo>
                  <a:lnTo>
                    <a:pt x="74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9"/>
                  </a:lnTo>
                  <a:lnTo>
                    <a:pt x="73" y="12"/>
                  </a:lnTo>
                  <a:lnTo>
                    <a:pt x="74" y="18"/>
                  </a:lnTo>
                  <a:close/>
                  <a:moveTo>
                    <a:pt x="65" y="10"/>
                  </a:moveTo>
                  <a:lnTo>
                    <a:pt x="67" y="12"/>
                  </a:lnTo>
                  <a:lnTo>
                    <a:pt x="68" y="15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6" y="24"/>
                  </a:lnTo>
                  <a:lnTo>
                    <a:pt x="74" y="23"/>
                  </a:lnTo>
                  <a:lnTo>
                    <a:pt x="74" y="21"/>
                  </a:lnTo>
                  <a:lnTo>
                    <a:pt x="70" y="12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5" y="3"/>
                  </a:lnTo>
                  <a:lnTo>
                    <a:pt x="63" y="4"/>
                  </a:lnTo>
                  <a:lnTo>
                    <a:pt x="65" y="6"/>
                  </a:lnTo>
                  <a:lnTo>
                    <a:pt x="65" y="10"/>
                  </a:lnTo>
                  <a:close/>
                  <a:moveTo>
                    <a:pt x="84" y="4"/>
                  </a:moveTo>
                  <a:lnTo>
                    <a:pt x="84" y="9"/>
                  </a:lnTo>
                  <a:lnTo>
                    <a:pt x="85" y="10"/>
                  </a:lnTo>
                  <a:lnTo>
                    <a:pt x="87" y="13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4" y="13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88" y="9"/>
                  </a:lnTo>
                  <a:lnTo>
                    <a:pt x="88" y="7"/>
                  </a:lnTo>
                  <a:lnTo>
                    <a:pt x="87" y="6"/>
                  </a:lnTo>
                  <a:lnTo>
                    <a:pt x="87" y="4"/>
                  </a:lnTo>
                  <a:lnTo>
                    <a:pt x="85" y="1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2" y="3"/>
                  </a:lnTo>
                  <a:lnTo>
                    <a:pt x="84" y="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89"/>
            <p:cNvSpPr>
              <a:spLocks noEditPoints="1"/>
            </p:cNvSpPr>
            <p:nvPr/>
          </p:nvSpPr>
          <p:spPr bwMode="gray">
            <a:xfrm>
              <a:off x="8264525" y="4659313"/>
              <a:ext cx="752475" cy="492125"/>
            </a:xfrm>
            <a:custGeom>
              <a:avLst/>
              <a:gdLst>
                <a:gd name="T0" fmla="*/ 159 w 474"/>
                <a:gd name="T1" fmla="*/ 227 h 310"/>
                <a:gd name="T2" fmla="*/ 82 w 474"/>
                <a:gd name="T3" fmla="*/ 153 h 310"/>
                <a:gd name="T4" fmla="*/ 57 w 474"/>
                <a:gd name="T5" fmla="*/ 151 h 310"/>
                <a:gd name="T6" fmla="*/ 26 w 474"/>
                <a:gd name="T7" fmla="*/ 164 h 310"/>
                <a:gd name="T8" fmla="*/ 17 w 474"/>
                <a:gd name="T9" fmla="*/ 177 h 310"/>
                <a:gd name="T10" fmla="*/ 12 w 474"/>
                <a:gd name="T11" fmla="*/ 187 h 310"/>
                <a:gd name="T12" fmla="*/ 0 w 474"/>
                <a:gd name="T13" fmla="*/ 199 h 310"/>
                <a:gd name="T14" fmla="*/ 22 w 474"/>
                <a:gd name="T15" fmla="*/ 230 h 310"/>
                <a:gd name="T16" fmla="*/ 12 w 474"/>
                <a:gd name="T17" fmla="*/ 247 h 310"/>
                <a:gd name="T18" fmla="*/ 34 w 474"/>
                <a:gd name="T19" fmla="*/ 214 h 310"/>
                <a:gd name="T20" fmla="*/ 49 w 474"/>
                <a:gd name="T21" fmla="*/ 210 h 310"/>
                <a:gd name="T22" fmla="*/ 66 w 474"/>
                <a:gd name="T23" fmla="*/ 208 h 310"/>
                <a:gd name="T24" fmla="*/ 89 w 474"/>
                <a:gd name="T25" fmla="*/ 188 h 310"/>
                <a:gd name="T26" fmla="*/ 99 w 474"/>
                <a:gd name="T27" fmla="*/ 174 h 310"/>
                <a:gd name="T28" fmla="*/ 111 w 474"/>
                <a:gd name="T29" fmla="*/ 174 h 310"/>
                <a:gd name="T30" fmla="*/ 96 w 474"/>
                <a:gd name="T31" fmla="*/ 151 h 310"/>
                <a:gd name="T32" fmla="*/ 116 w 474"/>
                <a:gd name="T33" fmla="*/ 164 h 310"/>
                <a:gd name="T34" fmla="*/ 114 w 474"/>
                <a:gd name="T35" fmla="*/ 102 h 310"/>
                <a:gd name="T36" fmla="*/ 26 w 474"/>
                <a:gd name="T37" fmla="*/ 114 h 310"/>
                <a:gd name="T38" fmla="*/ 49 w 474"/>
                <a:gd name="T39" fmla="*/ 142 h 310"/>
                <a:gd name="T40" fmla="*/ 76 w 474"/>
                <a:gd name="T41" fmla="*/ 131 h 310"/>
                <a:gd name="T42" fmla="*/ 83 w 474"/>
                <a:gd name="T43" fmla="*/ 121 h 310"/>
                <a:gd name="T44" fmla="*/ 85 w 474"/>
                <a:gd name="T45" fmla="*/ 110 h 310"/>
                <a:gd name="T46" fmla="*/ 57 w 474"/>
                <a:gd name="T47" fmla="*/ 85 h 310"/>
                <a:gd name="T48" fmla="*/ 25 w 474"/>
                <a:gd name="T49" fmla="*/ 105 h 310"/>
                <a:gd name="T50" fmla="*/ 471 w 474"/>
                <a:gd name="T51" fmla="*/ 44 h 310"/>
                <a:gd name="T52" fmla="*/ 377 w 474"/>
                <a:gd name="T53" fmla="*/ 33 h 310"/>
                <a:gd name="T54" fmla="*/ 320 w 474"/>
                <a:gd name="T55" fmla="*/ 14 h 310"/>
                <a:gd name="T56" fmla="*/ 304 w 474"/>
                <a:gd name="T57" fmla="*/ 10 h 310"/>
                <a:gd name="T58" fmla="*/ 290 w 474"/>
                <a:gd name="T59" fmla="*/ 7 h 310"/>
                <a:gd name="T60" fmla="*/ 277 w 474"/>
                <a:gd name="T61" fmla="*/ 17 h 310"/>
                <a:gd name="T62" fmla="*/ 240 w 474"/>
                <a:gd name="T63" fmla="*/ 22 h 310"/>
                <a:gd name="T64" fmla="*/ 222 w 474"/>
                <a:gd name="T65" fmla="*/ 31 h 310"/>
                <a:gd name="T66" fmla="*/ 213 w 474"/>
                <a:gd name="T67" fmla="*/ 33 h 310"/>
                <a:gd name="T68" fmla="*/ 177 w 474"/>
                <a:gd name="T69" fmla="*/ 37 h 310"/>
                <a:gd name="T70" fmla="*/ 170 w 474"/>
                <a:gd name="T71" fmla="*/ 57 h 310"/>
                <a:gd name="T72" fmla="*/ 136 w 474"/>
                <a:gd name="T73" fmla="*/ 59 h 310"/>
                <a:gd name="T74" fmla="*/ 120 w 474"/>
                <a:gd name="T75" fmla="*/ 91 h 310"/>
                <a:gd name="T76" fmla="*/ 134 w 474"/>
                <a:gd name="T77" fmla="*/ 94 h 310"/>
                <a:gd name="T78" fmla="*/ 119 w 474"/>
                <a:gd name="T79" fmla="*/ 105 h 310"/>
                <a:gd name="T80" fmla="*/ 137 w 474"/>
                <a:gd name="T81" fmla="*/ 125 h 310"/>
                <a:gd name="T82" fmla="*/ 148 w 474"/>
                <a:gd name="T83" fmla="*/ 134 h 310"/>
                <a:gd name="T84" fmla="*/ 125 w 474"/>
                <a:gd name="T85" fmla="*/ 137 h 310"/>
                <a:gd name="T86" fmla="*/ 129 w 474"/>
                <a:gd name="T87" fmla="*/ 157 h 310"/>
                <a:gd name="T88" fmla="*/ 140 w 474"/>
                <a:gd name="T89" fmla="*/ 185 h 310"/>
                <a:gd name="T90" fmla="*/ 150 w 474"/>
                <a:gd name="T91" fmla="*/ 190 h 310"/>
                <a:gd name="T92" fmla="*/ 180 w 474"/>
                <a:gd name="T93" fmla="*/ 198 h 310"/>
                <a:gd name="T94" fmla="*/ 196 w 474"/>
                <a:gd name="T95" fmla="*/ 204 h 310"/>
                <a:gd name="T96" fmla="*/ 183 w 474"/>
                <a:gd name="T97" fmla="*/ 253 h 310"/>
                <a:gd name="T98" fmla="*/ 213 w 474"/>
                <a:gd name="T99" fmla="*/ 242 h 310"/>
                <a:gd name="T100" fmla="*/ 248 w 474"/>
                <a:gd name="T101" fmla="*/ 238 h 310"/>
                <a:gd name="T102" fmla="*/ 260 w 474"/>
                <a:gd name="T103" fmla="*/ 236 h 310"/>
                <a:gd name="T104" fmla="*/ 287 w 474"/>
                <a:gd name="T105" fmla="*/ 251 h 310"/>
                <a:gd name="T106" fmla="*/ 327 w 474"/>
                <a:gd name="T107" fmla="*/ 295 h 310"/>
                <a:gd name="T108" fmla="*/ 351 w 474"/>
                <a:gd name="T109" fmla="*/ 307 h 310"/>
                <a:gd name="T110" fmla="*/ 381 w 474"/>
                <a:gd name="T111" fmla="*/ 298 h 310"/>
                <a:gd name="T112" fmla="*/ 411 w 474"/>
                <a:gd name="T113" fmla="*/ 298 h 310"/>
                <a:gd name="T114" fmla="*/ 422 w 474"/>
                <a:gd name="T115" fmla="*/ 273 h 310"/>
                <a:gd name="T116" fmla="*/ 433 w 474"/>
                <a:gd name="T117" fmla="*/ 248 h 310"/>
                <a:gd name="T118" fmla="*/ 416 w 474"/>
                <a:gd name="T119" fmla="*/ 136 h 310"/>
                <a:gd name="T120" fmla="*/ 468 w 474"/>
                <a:gd name="T121" fmla="*/ 5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4" h="310">
                  <a:moveTo>
                    <a:pt x="106" y="267"/>
                  </a:moveTo>
                  <a:lnTo>
                    <a:pt x="105" y="265"/>
                  </a:lnTo>
                  <a:lnTo>
                    <a:pt x="103" y="265"/>
                  </a:lnTo>
                  <a:lnTo>
                    <a:pt x="103" y="267"/>
                  </a:lnTo>
                  <a:lnTo>
                    <a:pt x="103" y="267"/>
                  </a:lnTo>
                  <a:lnTo>
                    <a:pt x="103" y="268"/>
                  </a:lnTo>
                  <a:lnTo>
                    <a:pt x="103" y="270"/>
                  </a:lnTo>
                  <a:lnTo>
                    <a:pt x="105" y="271"/>
                  </a:lnTo>
                  <a:lnTo>
                    <a:pt x="106" y="271"/>
                  </a:lnTo>
                  <a:lnTo>
                    <a:pt x="108" y="268"/>
                  </a:lnTo>
                  <a:lnTo>
                    <a:pt x="106" y="268"/>
                  </a:lnTo>
                  <a:lnTo>
                    <a:pt x="106" y="267"/>
                  </a:lnTo>
                  <a:close/>
                  <a:moveTo>
                    <a:pt x="160" y="219"/>
                  </a:moveTo>
                  <a:lnTo>
                    <a:pt x="159" y="219"/>
                  </a:lnTo>
                  <a:lnTo>
                    <a:pt x="157" y="222"/>
                  </a:lnTo>
                  <a:lnTo>
                    <a:pt x="157" y="225"/>
                  </a:lnTo>
                  <a:lnTo>
                    <a:pt x="159" y="227"/>
                  </a:lnTo>
                  <a:lnTo>
                    <a:pt x="162" y="225"/>
                  </a:lnTo>
                  <a:lnTo>
                    <a:pt x="163" y="222"/>
                  </a:lnTo>
                  <a:lnTo>
                    <a:pt x="162" y="219"/>
                  </a:lnTo>
                  <a:lnTo>
                    <a:pt x="160" y="219"/>
                  </a:lnTo>
                  <a:close/>
                  <a:moveTo>
                    <a:pt x="108" y="171"/>
                  </a:moveTo>
                  <a:lnTo>
                    <a:pt x="106" y="170"/>
                  </a:lnTo>
                  <a:lnTo>
                    <a:pt x="105" y="170"/>
                  </a:lnTo>
                  <a:lnTo>
                    <a:pt x="100" y="168"/>
                  </a:lnTo>
                  <a:lnTo>
                    <a:pt x="99" y="167"/>
                  </a:lnTo>
                  <a:lnTo>
                    <a:pt x="97" y="167"/>
                  </a:lnTo>
                  <a:lnTo>
                    <a:pt x="96" y="165"/>
                  </a:lnTo>
                  <a:lnTo>
                    <a:pt x="96" y="162"/>
                  </a:lnTo>
                  <a:lnTo>
                    <a:pt x="94" y="161"/>
                  </a:lnTo>
                  <a:lnTo>
                    <a:pt x="89" y="157"/>
                  </a:lnTo>
                  <a:lnTo>
                    <a:pt x="86" y="156"/>
                  </a:lnTo>
                  <a:lnTo>
                    <a:pt x="83" y="154"/>
                  </a:lnTo>
                  <a:lnTo>
                    <a:pt x="82" y="153"/>
                  </a:lnTo>
                  <a:lnTo>
                    <a:pt x="80" y="153"/>
                  </a:lnTo>
                  <a:lnTo>
                    <a:pt x="76" y="154"/>
                  </a:lnTo>
                  <a:lnTo>
                    <a:pt x="73" y="153"/>
                  </a:lnTo>
                  <a:lnTo>
                    <a:pt x="71" y="154"/>
                  </a:lnTo>
                  <a:lnTo>
                    <a:pt x="69" y="157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5" y="156"/>
                  </a:lnTo>
                  <a:lnTo>
                    <a:pt x="63" y="156"/>
                  </a:lnTo>
                  <a:lnTo>
                    <a:pt x="63" y="156"/>
                  </a:lnTo>
                  <a:lnTo>
                    <a:pt x="62" y="157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59" y="156"/>
                  </a:lnTo>
                  <a:lnTo>
                    <a:pt x="59" y="156"/>
                  </a:lnTo>
                  <a:lnTo>
                    <a:pt x="59" y="154"/>
                  </a:lnTo>
                  <a:lnTo>
                    <a:pt x="57" y="151"/>
                  </a:lnTo>
                  <a:lnTo>
                    <a:pt x="56" y="151"/>
                  </a:lnTo>
                  <a:lnTo>
                    <a:pt x="54" y="151"/>
                  </a:lnTo>
                  <a:lnTo>
                    <a:pt x="46" y="157"/>
                  </a:lnTo>
                  <a:lnTo>
                    <a:pt x="37" y="157"/>
                  </a:lnTo>
                  <a:lnTo>
                    <a:pt x="34" y="161"/>
                  </a:lnTo>
                  <a:lnTo>
                    <a:pt x="34" y="164"/>
                  </a:lnTo>
                  <a:lnTo>
                    <a:pt x="34" y="167"/>
                  </a:lnTo>
                  <a:lnTo>
                    <a:pt x="32" y="170"/>
                  </a:lnTo>
                  <a:lnTo>
                    <a:pt x="31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7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5"/>
                  </a:lnTo>
                  <a:lnTo>
                    <a:pt x="25" y="167"/>
                  </a:lnTo>
                  <a:lnTo>
                    <a:pt x="25" y="168"/>
                  </a:lnTo>
                  <a:lnTo>
                    <a:pt x="22" y="170"/>
                  </a:lnTo>
                  <a:lnTo>
                    <a:pt x="22" y="170"/>
                  </a:lnTo>
                  <a:lnTo>
                    <a:pt x="20" y="171"/>
                  </a:lnTo>
                  <a:lnTo>
                    <a:pt x="20" y="173"/>
                  </a:lnTo>
                  <a:lnTo>
                    <a:pt x="20" y="177"/>
                  </a:lnTo>
                  <a:lnTo>
                    <a:pt x="20" y="179"/>
                  </a:lnTo>
                  <a:lnTo>
                    <a:pt x="20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17" y="177"/>
                  </a:lnTo>
                  <a:lnTo>
                    <a:pt x="17" y="176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9" y="168"/>
                  </a:lnTo>
                  <a:lnTo>
                    <a:pt x="8" y="168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5" y="170"/>
                  </a:lnTo>
                  <a:lnTo>
                    <a:pt x="3" y="170"/>
                  </a:lnTo>
                  <a:lnTo>
                    <a:pt x="0" y="168"/>
                  </a:lnTo>
                  <a:lnTo>
                    <a:pt x="2" y="171"/>
                  </a:lnTo>
                  <a:lnTo>
                    <a:pt x="5" y="173"/>
                  </a:lnTo>
                  <a:lnTo>
                    <a:pt x="5" y="174"/>
                  </a:lnTo>
                  <a:lnTo>
                    <a:pt x="6" y="177"/>
                  </a:lnTo>
                  <a:lnTo>
                    <a:pt x="8" y="179"/>
                  </a:lnTo>
                  <a:lnTo>
                    <a:pt x="12" y="187"/>
                  </a:lnTo>
                  <a:lnTo>
                    <a:pt x="12" y="190"/>
                  </a:lnTo>
                  <a:lnTo>
                    <a:pt x="14" y="191"/>
                  </a:lnTo>
                  <a:lnTo>
                    <a:pt x="12" y="190"/>
                  </a:lnTo>
                  <a:lnTo>
                    <a:pt x="9" y="191"/>
                  </a:lnTo>
                  <a:lnTo>
                    <a:pt x="9" y="193"/>
                  </a:lnTo>
                  <a:lnTo>
                    <a:pt x="9" y="194"/>
                  </a:lnTo>
                  <a:lnTo>
                    <a:pt x="8" y="196"/>
                  </a:lnTo>
                  <a:lnTo>
                    <a:pt x="8" y="194"/>
                  </a:lnTo>
                  <a:lnTo>
                    <a:pt x="6" y="193"/>
                  </a:lnTo>
                  <a:lnTo>
                    <a:pt x="5" y="191"/>
                  </a:lnTo>
                  <a:lnTo>
                    <a:pt x="3" y="193"/>
                  </a:lnTo>
                  <a:lnTo>
                    <a:pt x="3" y="194"/>
                  </a:lnTo>
                  <a:lnTo>
                    <a:pt x="5" y="196"/>
                  </a:lnTo>
                  <a:lnTo>
                    <a:pt x="6" y="199"/>
                  </a:lnTo>
                  <a:lnTo>
                    <a:pt x="2" y="198"/>
                  </a:lnTo>
                  <a:lnTo>
                    <a:pt x="0" y="198"/>
                  </a:lnTo>
                  <a:lnTo>
                    <a:pt x="0" y="199"/>
                  </a:lnTo>
                  <a:lnTo>
                    <a:pt x="2" y="201"/>
                  </a:lnTo>
                  <a:lnTo>
                    <a:pt x="3" y="204"/>
                  </a:lnTo>
                  <a:lnTo>
                    <a:pt x="5" y="205"/>
                  </a:lnTo>
                  <a:lnTo>
                    <a:pt x="8" y="207"/>
                  </a:lnTo>
                  <a:lnTo>
                    <a:pt x="12" y="207"/>
                  </a:lnTo>
                  <a:lnTo>
                    <a:pt x="14" y="208"/>
                  </a:lnTo>
                  <a:lnTo>
                    <a:pt x="17" y="214"/>
                  </a:lnTo>
                  <a:lnTo>
                    <a:pt x="19" y="216"/>
                  </a:lnTo>
                  <a:lnTo>
                    <a:pt x="23" y="218"/>
                  </a:lnTo>
                  <a:lnTo>
                    <a:pt x="26" y="218"/>
                  </a:lnTo>
                  <a:lnTo>
                    <a:pt x="28" y="221"/>
                  </a:lnTo>
                  <a:lnTo>
                    <a:pt x="25" y="224"/>
                  </a:lnTo>
                  <a:lnTo>
                    <a:pt x="25" y="225"/>
                  </a:lnTo>
                  <a:lnTo>
                    <a:pt x="23" y="228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2" y="230"/>
                  </a:lnTo>
                  <a:lnTo>
                    <a:pt x="20" y="228"/>
                  </a:lnTo>
                  <a:lnTo>
                    <a:pt x="20" y="228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7" y="233"/>
                  </a:lnTo>
                  <a:lnTo>
                    <a:pt x="14" y="238"/>
                  </a:lnTo>
                  <a:lnTo>
                    <a:pt x="14" y="239"/>
                  </a:lnTo>
                  <a:lnTo>
                    <a:pt x="12" y="242"/>
                  </a:lnTo>
                  <a:lnTo>
                    <a:pt x="12" y="244"/>
                  </a:lnTo>
                  <a:lnTo>
                    <a:pt x="12" y="244"/>
                  </a:lnTo>
                  <a:lnTo>
                    <a:pt x="9" y="244"/>
                  </a:lnTo>
                  <a:lnTo>
                    <a:pt x="9" y="244"/>
                  </a:lnTo>
                  <a:lnTo>
                    <a:pt x="9" y="244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11" y="245"/>
                  </a:lnTo>
                  <a:lnTo>
                    <a:pt x="12" y="247"/>
                  </a:lnTo>
                  <a:lnTo>
                    <a:pt x="12" y="248"/>
                  </a:lnTo>
                  <a:lnTo>
                    <a:pt x="12" y="250"/>
                  </a:lnTo>
                  <a:lnTo>
                    <a:pt x="14" y="253"/>
                  </a:lnTo>
                  <a:lnTo>
                    <a:pt x="16" y="253"/>
                  </a:lnTo>
                  <a:lnTo>
                    <a:pt x="26" y="244"/>
                  </a:lnTo>
                  <a:lnTo>
                    <a:pt x="28" y="242"/>
                  </a:lnTo>
                  <a:lnTo>
                    <a:pt x="28" y="239"/>
                  </a:lnTo>
                  <a:lnTo>
                    <a:pt x="28" y="238"/>
                  </a:lnTo>
                  <a:lnTo>
                    <a:pt x="28" y="236"/>
                  </a:lnTo>
                  <a:lnTo>
                    <a:pt x="29" y="234"/>
                  </a:lnTo>
                  <a:lnTo>
                    <a:pt x="29" y="233"/>
                  </a:lnTo>
                  <a:lnTo>
                    <a:pt x="31" y="228"/>
                  </a:lnTo>
                  <a:lnTo>
                    <a:pt x="32" y="225"/>
                  </a:lnTo>
                  <a:lnTo>
                    <a:pt x="32" y="222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4" y="214"/>
                  </a:lnTo>
                  <a:lnTo>
                    <a:pt x="34" y="213"/>
                  </a:lnTo>
                  <a:lnTo>
                    <a:pt x="37" y="211"/>
                  </a:lnTo>
                  <a:lnTo>
                    <a:pt x="39" y="210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42" y="208"/>
                  </a:lnTo>
                  <a:lnTo>
                    <a:pt x="42" y="208"/>
                  </a:lnTo>
                  <a:lnTo>
                    <a:pt x="43" y="210"/>
                  </a:lnTo>
                  <a:lnTo>
                    <a:pt x="43" y="210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9" y="207"/>
                  </a:lnTo>
                  <a:lnTo>
                    <a:pt x="49" y="207"/>
                  </a:lnTo>
                  <a:lnTo>
                    <a:pt x="49" y="208"/>
                  </a:lnTo>
                  <a:lnTo>
                    <a:pt x="49" y="210"/>
                  </a:lnTo>
                  <a:lnTo>
                    <a:pt x="49" y="210"/>
                  </a:lnTo>
                  <a:lnTo>
                    <a:pt x="51" y="210"/>
                  </a:lnTo>
                  <a:lnTo>
                    <a:pt x="51" y="208"/>
                  </a:lnTo>
                  <a:lnTo>
                    <a:pt x="51" y="208"/>
                  </a:lnTo>
                  <a:lnTo>
                    <a:pt x="51" y="205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4" y="207"/>
                  </a:lnTo>
                  <a:lnTo>
                    <a:pt x="54" y="208"/>
                  </a:lnTo>
                  <a:lnTo>
                    <a:pt x="56" y="207"/>
                  </a:lnTo>
                  <a:lnTo>
                    <a:pt x="56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0" y="205"/>
                  </a:lnTo>
                  <a:lnTo>
                    <a:pt x="62" y="207"/>
                  </a:lnTo>
                  <a:lnTo>
                    <a:pt x="62" y="210"/>
                  </a:lnTo>
                  <a:lnTo>
                    <a:pt x="66" y="208"/>
                  </a:lnTo>
                  <a:lnTo>
                    <a:pt x="69" y="207"/>
                  </a:lnTo>
                  <a:lnTo>
                    <a:pt x="65" y="205"/>
                  </a:lnTo>
                  <a:lnTo>
                    <a:pt x="66" y="202"/>
                  </a:lnTo>
                  <a:lnTo>
                    <a:pt x="68" y="202"/>
                  </a:lnTo>
                  <a:lnTo>
                    <a:pt x="71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6" y="199"/>
                  </a:lnTo>
                  <a:lnTo>
                    <a:pt x="77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5" y="190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5" y="187"/>
                  </a:lnTo>
                  <a:lnTo>
                    <a:pt x="88" y="190"/>
                  </a:lnTo>
                  <a:lnTo>
                    <a:pt x="89" y="188"/>
                  </a:lnTo>
                  <a:lnTo>
                    <a:pt x="91" y="187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6" y="181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7"/>
                  </a:lnTo>
                  <a:lnTo>
                    <a:pt x="97" y="177"/>
                  </a:lnTo>
                  <a:lnTo>
                    <a:pt x="97" y="174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3"/>
                  </a:lnTo>
                  <a:lnTo>
                    <a:pt x="100" y="173"/>
                  </a:lnTo>
                  <a:lnTo>
                    <a:pt x="100" y="174"/>
                  </a:lnTo>
                  <a:lnTo>
                    <a:pt x="100" y="174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3" y="177"/>
                  </a:lnTo>
                  <a:lnTo>
                    <a:pt x="105" y="179"/>
                  </a:lnTo>
                  <a:lnTo>
                    <a:pt x="108" y="179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6" y="174"/>
                  </a:lnTo>
                  <a:lnTo>
                    <a:pt x="111" y="179"/>
                  </a:lnTo>
                  <a:lnTo>
                    <a:pt x="111" y="176"/>
                  </a:lnTo>
                  <a:lnTo>
                    <a:pt x="111" y="174"/>
                  </a:lnTo>
                  <a:lnTo>
                    <a:pt x="108" y="171"/>
                  </a:lnTo>
                  <a:close/>
                  <a:moveTo>
                    <a:pt x="116" y="159"/>
                  </a:moveTo>
                  <a:lnTo>
                    <a:pt x="114" y="157"/>
                  </a:lnTo>
                  <a:lnTo>
                    <a:pt x="114" y="156"/>
                  </a:lnTo>
                  <a:lnTo>
                    <a:pt x="113" y="154"/>
                  </a:lnTo>
                  <a:lnTo>
                    <a:pt x="113" y="154"/>
                  </a:lnTo>
                  <a:lnTo>
                    <a:pt x="113" y="153"/>
                  </a:lnTo>
                  <a:lnTo>
                    <a:pt x="113" y="151"/>
                  </a:lnTo>
                  <a:lnTo>
                    <a:pt x="113" y="150"/>
                  </a:lnTo>
                  <a:lnTo>
                    <a:pt x="111" y="148"/>
                  </a:lnTo>
                  <a:lnTo>
                    <a:pt x="108" y="147"/>
                  </a:lnTo>
                  <a:lnTo>
                    <a:pt x="102" y="145"/>
                  </a:lnTo>
                  <a:lnTo>
                    <a:pt x="100" y="144"/>
                  </a:lnTo>
                  <a:lnTo>
                    <a:pt x="99" y="145"/>
                  </a:lnTo>
                  <a:lnTo>
                    <a:pt x="97" y="147"/>
                  </a:lnTo>
                  <a:lnTo>
                    <a:pt x="97" y="148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3"/>
                  </a:lnTo>
                  <a:lnTo>
                    <a:pt x="93" y="151"/>
                  </a:lnTo>
                  <a:lnTo>
                    <a:pt x="91" y="153"/>
                  </a:lnTo>
                  <a:lnTo>
                    <a:pt x="91" y="156"/>
                  </a:lnTo>
                  <a:lnTo>
                    <a:pt x="93" y="157"/>
                  </a:lnTo>
                  <a:lnTo>
                    <a:pt x="97" y="159"/>
                  </a:lnTo>
                  <a:lnTo>
                    <a:pt x="103" y="165"/>
                  </a:lnTo>
                  <a:lnTo>
                    <a:pt x="105" y="165"/>
                  </a:lnTo>
                  <a:lnTo>
                    <a:pt x="106" y="164"/>
                  </a:lnTo>
                  <a:lnTo>
                    <a:pt x="108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3" y="165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16" y="164"/>
                  </a:lnTo>
                  <a:lnTo>
                    <a:pt x="117" y="162"/>
                  </a:lnTo>
                  <a:lnTo>
                    <a:pt x="117" y="161"/>
                  </a:lnTo>
                  <a:lnTo>
                    <a:pt x="116" y="159"/>
                  </a:lnTo>
                  <a:close/>
                  <a:moveTo>
                    <a:pt x="99" y="102"/>
                  </a:moveTo>
                  <a:lnTo>
                    <a:pt x="99" y="104"/>
                  </a:lnTo>
                  <a:lnTo>
                    <a:pt x="100" y="104"/>
                  </a:lnTo>
                  <a:lnTo>
                    <a:pt x="103" y="102"/>
                  </a:lnTo>
                  <a:lnTo>
                    <a:pt x="103" y="102"/>
                  </a:lnTo>
                  <a:lnTo>
                    <a:pt x="103" y="100"/>
                  </a:lnTo>
                  <a:lnTo>
                    <a:pt x="103" y="100"/>
                  </a:lnTo>
                  <a:lnTo>
                    <a:pt x="105" y="100"/>
                  </a:lnTo>
                  <a:lnTo>
                    <a:pt x="108" y="102"/>
                  </a:lnTo>
                  <a:lnTo>
                    <a:pt x="109" y="102"/>
                  </a:lnTo>
                  <a:lnTo>
                    <a:pt x="111" y="100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6" y="102"/>
                  </a:lnTo>
                  <a:lnTo>
                    <a:pt x="116" y="99"/>
                  </a:lnTo>
                  <a:lnTo>
                    <a:pt x="116" y="97"/>
                  </a:lnTo>
                  <a:lnTo>
                    <a:pt x="114" y="94"/>
                  </a:lnTo>
                  <a:lnTo>
                    <a:pt x="113" y="93"/>
                  </a:lnTo>
                  <a:lnTo>
                    <a:pt x="111" y="93"/>
                  </a:lnTo>
                  <a:lnTo>
                    <a:pt x="108" y="94"/>
                  </a:lnTo>
                  <a:lnTo>
                    <a:pt x="102" y="93"/>
                  </a:lnTo>
                  <a:lnTo>
                    <a:pt x="100" y="91"/>
                  </a:lnTo>
                  <a:lnTo>
                    <a:pt x="99" y="93"/>
                  </a:lnTo>
                  <a:lnTo>
                    <a:pt x="97" y="93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9" y="102"/>
                  </a:lnTo>
                  <a:close/>
                  <a:moveTo>
                    <a:pt x="26" y="114"/>
                  </a:moveTo>
                  <a:lnTo>
                    <a:pt x="29" y="114"/>
                  </a:lnTo>
                  <a:lnTo>
                    <a:pt x="34" y="114"/>
                  </a:lnTo>
                  <a:lnTo>
                    <a:pt x="37" y="113"/>
                  </a:lnTo>
                  <a:lnTo>
                    <a:pt x="39" y="114"/>
                  </a:lnTo>
                  <a:lnTo>
                    <a:pt x="42" y="116"/>
                  </a:lnTo>
                  <a:lnTo>
                    <a:pt x="45" y="121"/>
                  </a:lnTo>
                  <a:lnTo>
                    <a:pt x="45" y="122"/>
                  </a:lnTo>
                  <a:lnTo>
                    <a:pt x="45" y="124"/>
                  </a:lnTo>
                  <a:lnTo>
                    <a:pt x="45" y="127"/>
                  </a:lnTo>
                  <a:lnTo>
                    <a:pt x="46" y="130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9" y="136"/>
                  </a:lnTo>
                  <a:lnTo>
                    <a:pt x="48" y="137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9" y="142"/>
                  </a:lnTo>
                  <a:lnTo>
                    <a:pt x="54" y="144"/>
                  </a:lnTo>
                  <a:lnTo>
                    <a:pt x="59" y="144"/>
                  </a:lnTo>
                  <a:lnTo>
                    <a:pt x="62" y="141"/>
                  </a:lnTo>
                  <a:lnTo>
                    <a:pt x="63" y="137"/>
                  </a:lnTo>
                  <a:lnTo>
                    <a:pt x="66" y="130"/>
                  </a:lnTo>
                  <a:lnTo>
                    <a:pt x="68" y="127"/>
                  </a:lnTo>
                  <a:lnTo>
                    <a:pt x="68" y="125"/>
                  </a:lnTo>
                  <a:lnTo>
                    <a:pt x="71" y="124"/>
                  </a:lnTo>
                  <a:lnTo>
                    <a:pt x="73" y="124"/>
                  </a:lnTo>
                  <a:lnTo>
                    <a:pt x="74" y="124"/>
                  </a:lnTo>
                  <a:lnTo>
                    <a:pt x="74" y="125"/>
                  </a:lnTo>
                  <a:lnTo>
                    <a:pt x="73" y="125"/>
                  </a:lnTo>
                  <a:lnTo>
                    <a:pt x="71" y="127"/>
                  </a:lnTo>
                  <a:lnTo>
                    <a:pt x="71" y="128"/>
                  </a:lnTo>
                  <a:lnTo>
                    <a:pt x="71" y="130"/>
                  </a:lnTo>
                  <a:lnTo>
                    <a:pt x="74" y="131"/>
                  </a:lnTo>
                  <a:lnTo>
                    <a:pt x="76" y="131"/>
                  </a:lnTo>
                  <a:lnTo>
                    <a:pt x="77" y="130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79" y="128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5"/>
                  </a:lnTo>
                  <a:lnTo>
                    <a:pt x="79" y="122"/>
                  </a:lnTo>
                  <a:lnTo>
                    <a:pt x="79" y="122"/>
                  </a:lnTo>
                  <a:lnTo>
                    <a:pt x="80" y="122"/>
                  </a:lnTo>
                  <a:lnTo>
                    <a:pt x="82" y="122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21"/>
                  </a:lnTo>
                  <a:lnTo>
                    <a:pt x="83" y="12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8" y="124"/>
                  </a:lnTo>
                  <a:lnTo>
                    <a:pt x="89" y="124"/>
                  </a:lnTo>
                  <a:lnTo>
                    <a:pt x="89" y="122"/>
                  </a:lnTo>
                  <a:lnTo>
                    <a:pt x="89" y="119"/>
                  </a:lnTo>
                  <a:lnTo>
                    <a:pt x="89" y="119"/>
                  </a:lnTo>
                  <a:lnTo>
                    <a:pt x="89" y="119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6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5" y="110"/>
                  </a:lnTo>
                  <a:lnTo>
                    <a:pt x="83" y="110"/>
                  </a:lnTo>
                  <a:lnTo>
                    <a:pt x="83" y="108"/>
                  </a:lnTo>
                  <a:lnTo>
                    <a:pt x="83" y="107"/>
                  </a:lnTo>
                  <a:lnTo>
                    <a:pt x="83" y="104"/>
                  </a:lnTo>
                  <a:lnTo>
                    <a:pt x="83" y="102"/>
                  </a:lnTo>
                  <a:lnTo>
                    <a:pt x="82" y="100"/>
                  </a:lnTo>
                  <a:lnTo>
                    <a:pt x="76" y="97"/>
                  </a:lnTo>
                  <a:lnTo>
                    <a:pt x="68" y="97"/>
                  </a:lnTo>
                  <a:lnTo>
                    <a:pt x="66" y="97"/>
                  </a:lnTo>
                  <a:lnTo>
                    <a:pt x="65" y="94"/>
                  </a:lnTo>
                  <a:lnTo>
                    <a:pt x="63" y="93"/>
                  </a:lnTo>
                  <a:lnTo>
                    <a:pt x="66" y="88"/>
                  </a:lnTo>
                  <a:lnTo>
                    <a:pt x="65" y="87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57" y="85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56" y="91"/>
                  </a:lnTo>
                  <a:lnTo>
                    <a:pt x="54" y="93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49" y="94"/>
                  </a:lnTo>
                  <a:lnTo>
                    <a:pt x="49" y="96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6" y="100"/>
                  </a:lnTo>
                  <a:lnTo>
                    <a:pt x="45" y="100"/>
                  </a:lnTo>
                  <a:lnTo>
                    <a:pt x="45" y="102"/>
                  </a:lnTo>
                  <a:lnTo>
                    <a:pt x="46" y="102"/>
                  </a:lnTo>
                  <a:lnTo>
                    <a:pt x="25" y="105"/>
                  </a:lnTo>
                  <a:lnTo>
                    <a:pt x="20" y="105"/>
                  </a:lnTo>
                  <a:lnTo>
                    <a:pt x="17" y="105"/>
                  </a:lnTo>
                  <a:lnTo>
                    <a:pt x="16" y="108"/>
                  </a:lnTo>
                  <a:lnTo>
                    <a:pt x="17" y="110"/>
                  </a:lnTo>
                  <a:lnTo>
                    <a:pt x="26" y="114"/>
                  </a:lnTo>
                  <a:close/>
                  <a:moveTo>
                    <a:pt x="200" y="19"/>
                  </a:moveTo>
                  <a:lnTo>
                    <a:pt x="202" y="19"/>
                  </a:lnTo>
                  <a:lnTo>
                    <a:pt x="202" y="17"/>
                  </a:lnTo>
                  <a:lnTo>
                    <a:pt x="200" y="14"/>
                  </a:lnTo>
                  <a:lnTo>
                    <a:pt x="200" y="11"/>
                  </a:lnTo>
                  <a:lnTo>
                    <a:pt x="199" y="11"/>
                  </a:lnTo>
                  <a:lnTo>
                    <a:pt x="197" y="14"/>
                  </a:lnTo>
                  <a:lnTo>
                    <a:pt x="197" y="17"/>
                  </a:lnTo>
                  <a:lnTo>
                    <a:pt x="200" y="19"/>
                  </a:lnTo>
                  <a:close/>
                  <a:moveTo>
                    <a:pt x="474" y="47"/>
                  </a:moveTo>
                  <a:lnTo>
                    <a:pt x="473" y="45"/>
                  </a:lnTo>
                  <a:lnTo>
                    <a:pt x="471" y="44"/>
                  </a:lnTo>
                  <a:lnTo>
                    <a:pt x="471" y="42"/>
                  </a:lnTo>
                  <a:lnTo>
                    <a:pt x="470" y="37"/>
                  </a:lnTo>
                  <a:lnTo>
                    <a:pt x="468" y="36"/>
                  </a:lnTo>
                  <a:lnTo>
                    <a:pt x="464" y="34"/>
                  </a:lnTo>
                  <a:lnTo>
                    <a:pt x="464" y="31"/>
                  </a:lnTo>
                  <a:lnTo>
                    <a:pt x="461" y="37"/>
                  </a:lnTo>
                  <a:lnTo>
                    <a:pt x="458" y="39"/>
                  </a:lnTo>
                  <a:lnTo>
                    <a:pt x="454" y="42"/>
                  </a:lnTo>
                  <a:lnTo>
                    <a:pt x="451" y="42"/>
                  </a:lnTo>
                  <a:lnTo>
                    <a:pt x="441" y="39"/>
                  </a:lnTo>
                  <a:lnTo>
                    <a:pt x="428" y="39"/>
                  </a:lnTo>
                  <a:lnTo>
                    <a:pt x="418" y="36"/>
                  </a:lnTo>
                  <a:lnTo>
                    <a:pt x="407" y="36"/>
                  </a:lnTo>
                  <a:lnTo>
                    <a:pt x="396" y="36"/>
                  </a:lnTo>
                  <a:lnTo>
                    <a:pt x="382" y="34"/>
                  </a:lnTo>
                  <a:lnTo>
                    <a:pt x="381" y="34"/>
                  </a:lnTo>
                  <a:lnTo>
                    <a:pt x="377" y="33"/>
                  </a:lnTo>
                  <a:lnTo>
                    <a:pt x="374" y="31"/>
                  </a:lnTo>
                  <a:lnTo>
                    <a:pt x="371" y="27"/>
                  </a:lnTo>
                  <a:lnTo>
                    <a:pt x="368" y="24"/>
                  </a:lnTo>
                  <a:lnTo>
                    <a:pt x="365" y="20"/>
                  </a:lnTo>
                  <a:lnTo>
                    <a:pt x="362" y="19"/>
                  </a:lnTo>
                  <a:lnTo>
                    <a:pt x="359" y="19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3" y="20"/>
                  </a:lnTo>
                  <a:lnTo>
                    <a:pt x="351" y="20"/>
                  </a:lnTo>
                  <a:lnTo>
                    <a:pt x="350" y="20"/>
                  </a:lnTo>
                  <a:lnTo>
                    <a:pt x="347" y="20"/>
                  </a:lnTo>
                  <a:lnTo>
                    <a:pt x="342" y="17"/>
                  </a:lnTo>
                  <a:lnTo>
                    <a:pt x="339" y="16"/>
                  </a:lnTo>
                  <a:lnTo>
                    <a:pt x="336" y="14"/>
                  </a:lnTo>
                  <a:lnTo>
                    <a:pt x="334" y="14"/>
                  </a:lnTo>
                  <a:lnTo>
                    <a:pt x="320" y="14"/>
                  </a:lnTo>
                  <a:lnTo>
                    <a:pt x="319" y="14"/>
                  </a:lnTo>
                  <a:lnTo>
                    <a:pt x="319" y="13"/>
                  </a:lnTo>
                  <a:lnTo>
                    <a:pt x="319" y="11"/>
                  </a:lnTo>
                  <a:lnTo>
                    <a:pt x="319" y="11"/>
                  </a:lnTo>
                  <a:lnTo>
                    <a:pt x="316" y="8"/>
                  </a:lnTo>
                  <a:lnTo>
                    <a:pt x="313" y="7"/>
                  </a:lnTo>
                  <a:lnTo>
                    <a:pt x="313" y="7"/>
                  </a:lnTo>
                  <a:lnTo>
                    <a:pt x="311" y="7"/>
                  </a:lnTo>
                  <a:lnTo>
                    <a:pt x="310" y="8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0" y="11"/>
                  </a:lnTo>
                  <a:lnTo>
                    <a:pt x="308" y="13"/>
                  </a:lnTo>
                  <a:lnTo>
                    <a:pt x="308" y="11"/>
                  </a:lnTo>
                  <a:lnTo>
                    <a:pt x="307" y="8"/>
                  </a:lnTo>
                  <a:lnTo>
                    <a:pt x="305" y="7"/>
                  </a:lnTo>
                  <a:lnTo>
                    <a:pt x="304" y="10"/>
                  </a:lnTo>
                  <a:lnTo>
                    <a:pt x="304" y="11"/>
                  </a:lnTo>
                  <a:lnTo>
                    <a:pt x="302" y="13"/>
                  </a:lnTo>
                  <a:lnTo>
                    <a:pt x="302" y="14"/>
                  </a:lnTo>
                  <a:lnTo>
                    <a:pt x="300" y="14"/>
                  </a:lnTo>
                  <a:lnTo>
                    <a:pt x="300" y="14"/>
                  </a:lnTo>
                  <a:lnTo>
                    <a:pt x="299" y="14"/>
                  </a:lnTo>
                  <a:lnTo>
                    <a:pt x="297" y="13"/>
                  </a:lnTo>
                  <a:lnTo>
                    <a:pt x="297" y="10"/>
                  </a:lnTo>
                  <a:lnTo>
                    <a:pt x="296" y="7"/>
                  </a:lnTo>
                  <a:lnTo>
                    <a:pt x="297" y="7"/>
                  </a:lnTo>
                  <a:lnTo>
                    <a:pt x="293" y="2"/>
                  </a:lnTo>
                  <a:lnTo>
                    <a:pt x="291" y="0"/>
                  </a:lnTo>
                  <a:lnTo>
                    <a:pt x="288" y="3"/>
                  </a:lnTo>
                  <a:lnTo>
                    <a:pt x="290" y="3"/>
                  </a:lnTo>
                  <a:lnTo>
                    <a:pt x="290" y="3"/>
                  </a:lnTo>
                  <a:lnTo>
                    <a:pt x="290" y="3"/>
                  </a:lnTo>
                  <a:lnTo>
                    <a:pt x="290" y="7"/>
                  </a:lnTo>
                  <a:lnTo>
                    <a:pt x="290" y="8"/>
                  </a:lnTo>
                  <a:lnTo>
                    <a:pt x="291" y="11"/>
                  </a:lnTo>
                  <a:lnTo>
                    <a:pt x="293" y="13"/>
                  </a:lnTo>
                  <a:lnTo>
                    <a:pt x="291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5" y="14"/>
                  </a:lnTo>
                  <a:lnTo>
                    <a:pt x="282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79" y="7"/>
                  </a:lnTo>
                  <a:lnTo>
                    <a:pt x="276" y="2"/>
                  </a:lnTo>
                  <a:lnTo>
                    <a:pt x="274" y="0"/>
                  </a:lnTo>
                  <a:lnTo>
                    <a:pt x="274" y="3"/>
                  </a:lnTo>
                  <a:lnTo>
                    <a:pt x="274" y="10"/>
                  </a:lnTo>
                  <a:lnTo>
                    <a:pt x="276" y="16"/>
                  </a:lnTo>
                  <a:lnTo>
                    <a:pt x="277" y="17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77" y="20"/>
                  </a:lnTo>
                  <a:lnTo>
                    <a:pt x="271" y="20"/>
                  </a:lnTo>
                  <a:lnTo>
                    <a:pt x="270" y="22"/>
                  </a:lnTo>
                  <a:lnTo>
                    <a:pt x="268" y="24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53" y="22"/>
                  </a:lnTo>
                  <a:lnTo>
                    <a:pt x="250" y="19"/>
                  </a:lnTo>
                  <a:lnTo>
                    <a:pt x="248" y="19"/>
                  </a:lnTo>
                  <a:lnTo>
                    <a:pt x="247" y="20"/>
                  </a:lnTo>
                  <a:lnTo>
                    <a:pt x="247" y="25"/>
                  </a:lnTo>
                  <a:lnTo>
                    <a:pt x="245" y="25"/>
                  </a:lnTo>
                  <a:lnTo>
                    <a:pt x="243" y="25"/>
                  </a:lnTo>
                  <a:lnTo>
                    <a:pt x="240" y="22"/>
                  </a:lnTo>
                  <a:lnTo>
                    <a:pt x="239" y="22"/>
                  </a:lnTo>
                  <a:lnTo>
                    <a:pt x="233" y="24"/>
                  </a:lnTo>
                  <a:lnTo>
                    <a:pt x="231" y="24"/>
                  </a:lnTo>
                  <a:lnTo>
                    <a:pt x="227" y="17"/>
                  </a:lnTo>
                  <a:lnTo>
                    <a:pt x="223" y="14"/>
                  </a:lnTo>
                  <a:lnTo>
                    <a:pt x="222" y="16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2" y="19"/>
                  </a:lnTo>
                  <a:lnTo>
                    <a:pt x="222" y="20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2" y="31"/>
                  </a:lnTo>
                  <a:lnTo>
                    <a:pt x="222" y="31"/>
                  </a:lnTo>
                  <a:lnTo>
                    <a:pt x="222" y="31"/>
                  </a:lnTo>
                  <a:lnTo>
                    <a:pt x="219" y="33"/>
                  </a:lnTo>
                  <a:lnTo>
                    <a:pt x="217" y="31"/>
                  </a:lnTo>
                  <a:lnTo>
                    <a:pt x="217" y="28"/>
                  </a:lnTo>
                  <a:lnTo>
                    <a:pt x="216" y="25"/>
                  </a:lnTo>
                  <a:lnTo>
                    <a:pt x="214" y="25"/>
                  </a:lnTo>
                  <a:lnTo>
                    <a:pt x="214" y="25"/>
                  </a:lnTo>
                  <a:lnTo>
                    <a:pt x="213" y="25"/>
                  </a:lnTo>
                  <a:lnTo>
                    <a:pt x="213" y="27"/>
                  </a:lnTo>
                  <a:lnTo>
                    <a:pt x="213" y="28"/>
                  </a:lnTo>
                  <a:lnTo>
                    <a:pt x="213" y="28"/>
                  </a:lnTo>
                  <a:lnTo>
                    <a:pt x="210" y="28"/>
                  </a:lnTo>
                  <a:lnTo>
                    <a:pt x="210" y="30"/>
                  </a:lnTo>
                  <a:lnTo>
                    <a:pt x="211" y="30"/>
                  </a:lnTo>
                  <a:lnTo>
                    <a:pt x="213" y="31"/>
                  </a:lnTo>
                  <a:lnTo>
                    <a:pt x="213" y="33"/>
                  </a:lnTo>
                  <a:lnTo>
                    <a:pt x="211" y="34"/>
                  </a:lnTo>
                  <a:lnTo>
                    <a:pt x="210" y="33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3" y="31"/>
                  </a:lnTo>
                  <a:lnTo>
                    <a:pt x="202" y="31"/>
                  </a:lnTo>
                  <a:lnTo>
                    <a:pt x="200" y="33"/>
                  </a:lnTo>
                  <a:lnTo>
                    <a:pt x="199" y="31"/>
                  </a:lnTo>
                  <a:lnTo>
                    <a:pt x="197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188" y="28"/>
                  </a:lnTo>
                  <a:lnTo>
                    <a:pt x="188" y="30"/>
                  </a:lnTo>
                  <a:lnTo>
                    <a:pt x="188" y="34"/>
                  </a:lnTo>
                  <a:lnTo>
                    <a:pt x="186" y="36"/>
                  </a:lnTo>
                  <a:lnTo>
                    <a:pt x="183" y="37"/>
                  </a:lnTo>
                  <a:lnTo>
                    <a:pt x="177" y="37"/>
                  </a:lnTo>
                  <a:lnTo>
                    <a:pt x="176" y="37"/>
                  </a:lnTo>
                  <a:lnTo>
                    <a:pt x="177" y="39"/>
                  </a:lnTo>
                  <a:lnTo>
                    <a:pt x="179" y="42"/>
                  </a:lnTo>
                  <a:lnTo>
                    <a:pt x="180" y="45"/>
                  </a:lnTo>
                  <a:lnTo>
                    <a:pt x="177" y="47"/>
                  </a:lnTo>
                  <a:lnTo>
                    <a:pt x="176" y="45"/>
                  </a:lnTo>
                  <a:lnTo>
                    <a:pt x="171" y="40"/>
                  </a:lnTo>
                  <a:lnTo>
                    <a:pt x="170" y="39"/>
                  </a:lnTo>
                  <a:lnTo>
                    <a:pt x="168" y="39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5" y="44"/>
                  </a:lnTo>
                  <a:lnTo>
                    <a:pt x="170" y="51"/>
                  </a:lnTo>
                  <a:lnTo>
                    <a:pt x="171" y="53"/>
                  </a:lnTo>
                  <a:lnTo>
                    <a:pt x="170" y="57"/>
                  </a:lnTo>
                  <a:lnTo>
                    <a:pt x="166" y="54"/>
                  </a:lnTo>
                  <a:lnTo>
                    <a:pt x="162" y="54"/>
                  </a:lnTo>
                  <a:lnTo>
                    <a:pt x="159" y="56"/>
                  </a:lnTo>
                  <a:lnTo>
                    <a:pt x="156" y="56"/>
                  </a:lnTo>
                  <a:lnTo>
                    <a:pt x="151" y="54"/>
                  </a:lnTo>
                  <a:lnTo>
                    <a:pt x="145" y="54"/>
                  </a:lnTo>
                  <a:lnTo>
                    <a:pt x="143" y="56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9"/>
                  </a:lnTo>
                  <a:lnTo>
                    <a:pt x="143" y="60"/>
                  </a:lnTo>
                  <a:lnTo>
                    <a:pt x="143" y="62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39" y="59"/>
                  </a:lnTo>
                  <a:lnTo>
                    <a:pt x="137" y="59"/>
                  </a:lnTo>
                  <a:lnTo>
                    <a:pt x="136" y="59"/>
                  </a:lnTo>
                  <a:lnTo>
                    <a:pt x="134" y="60"/>
                  </a:lnTo>
                  <a:lnTo>
                    <a:pt x="133" y="62"/>
                  </a:lnTo>
                  <a:lnTo>
                    <a:pt x="131" y="62"/>
                  </a:lnTo>
                  <a:lnTo>
                    <a:pt x="131" y="64"/>
                  </a:lnTo>
                  <a:lnTo>
                    <a:pt x="129" y="64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3" y="65"/>
                  </a:lnTo>
                  <a:lnTo>
                    <a:pt x="125" y="70"/>
                  </a:lnTo>
                  <a:lnTo>
                    <a:pt x="126" y="77"/>
                  </a:lnTo>
                  <a:lnTo>
                    <a:pt x="126" y="85"/>
                  </a:lnTo>
                  <a:lnTo>
                    <a:pt x="125" y="84"/>
                  </a:lnTo>
                  <a:lnTo>
                    <a:pt x="125" y="82"/>
                  </a:lnTo>
                  <a:lnTo>
                    <a:pt x="123" y="84"/>
                  </a:lnTo>
                  <a:lnTo>
                    <a:pt x="120" y="87"/>
                  </a:lnTo>
                  <a:lnTo>
                    <a:pt x="120" y="90"/>
                  </a:lnTo>
                  <a:lnTo>
                    <a:pt x="120" y="91"/>
                  </a:lnTo>
                  <a:lnTo>
                    <a:pt x="120" y="91"/>
                  </a:lnTo>
                  <a:lnTo>
                    <a:pt x="119" y="91"/>
                  </a:lnTo>
                  <a:lnTo>
                    <a:pt x="119" y="91"/>
                  </a:lnTo>
                  <a:lnTo>
                    <a:pt x="120" y="94"/>
                  </a:lnTo>
                  <a:lnTo>
                    <a:pt x="122" y="96"/>
                  </a:lnTo>
                  <a:lnTo>
                    <a:pt x="126" y="97"/>
                  </a:lnTo>
                  <a:lnTo>
                    <a:pt x="128" y="97"/>
                  </a:lnTo>
                  <a:lnTo>
                    <a:pt x="128" y="99"/>
                  </a:lnTo>
                  <a:lnTo>
                    <a:pt x="128" y="100"/>
                  </a:lnTo>
                  <a:lnTo>
                    <a:pt x="129" y="99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31" y="94"/>
                  </a:lnTo>
                  <a:lnTo>
                    <a:pt x="131" y="94"/>
                  </a:lnTo>
                  <a:lnTo>
                    <a:pt x="133" y="94"/>
                  </a:lnTo>
                  <a:lnTo>
                    <a:pt x="134" y="94"/>
                  </a:lnTo>
                  <a:lnTo>
                    <a:pt x="133" y="91"/>
                  </a:lnTo>
                  <a:lnTo>
                    <a:pt x="131" y="90"/>
                  </a:lnTo>
                  <a:lnTo>
                    <a:pt x="129" y="88"/>
                  </a:lnTo>
                  <a:lnTo>
                    <a:pt x="131" y="90"/>
                  </a:lnTo>
                  <a:lnTo>
                    <a:pt x="133" y="91"/>
                  </a:lnTo>
                  <a:lnTo>
                    <a:pt x="134" y="93"/>
                  </a:lnTo>
                  <a:lnTo>
                    <a:pt x="134" y="97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4" y="100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28" y="102"/>
                  </a:lnTo>
                  <a:lnTo>
                    <a:pt x="126" y="104"/>
                  </a:lnTo>
                  <a:lnTo>
                    <a:pt x="120" y="104"/>
                  </a:lnTo>
                  <a:lnTo>
                    <a:pt x="119" y="105"/>
                  </a:lnTo>
                  <a:lnTo>
                    <a:pt x="119" y="108"/>
                  </a:lnTo>
                  <a:lnTo>
                    <a:pt x="122" y="113"/>
                  </a:lnTo>
                  <a:lnTo>
                    <a:pt x="122" y="114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3" y="122"/>
                  </a:lnTo>
                  <a:lnTo>
                    <a:pt x="122" y="124"/>
                  </a:lnTo>
                  <a:lnTo>
                    <a:pt x="119" y="130"/>
                  </a:lnTo>
                  <a:lnTo>
                    <a:pt x="123" y="127"/>
                  </a:lnTo>
                  <a:lnTo>
                    <a:pt x="125" y="127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7"/>
                  </a:lnTo>
                  <a:lnTo>
                    <a:pt x="129" y="127"/>
                  </a:lnTo>
                  <a:lnTo>
                    <a:pt x="131" y="125"/>
                  </a:lnTo>
                  <a:lnTo>
                    <a:pt x="133" y="125"/>
                  </a:lnTo>
                  <a:lnTo>
                    <a:pt x="137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3" y="127"/>
                  </a:lnTo>
                  <a:lnTo>
                    <a:pt x="146" y="125"/>
                  </a:lnTo>
                  <a:lnTo>
                    <a:pt x="148" y="125"/>
                  </a:lnTo>
                  <a:lnTo>
                    <a:pt x="151" y="127"/>
                  </a:lnTo>
                  <a:lnTo>
                    <a:pt x="153" y="128"/>
                  </a:lnTo>
                  <a:lnTo>
                    <a:pt x="151" y="128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6" y="128"/>
                  </a:lnTo>
                  <a:lnTo>
                    <a:pt x="145" y="130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33"/>
                  </a:lnTo>
                  <a:lnTo>
                    <a:pt x="148" y="134"/>
                  </a:lnTo>
                  <a:lnTo>
                    <a:pt x="146" y="134"/>
                  </a:lnTo>
                  <a:lnTo>
                    <a:pt x="145" y="134"/>
                  </a:lnTo>
                  <a:lnTo>
                    <a:pt x="143" y="134"/>
                  </a:lnTo>
                  <a:lnTo>
                    <a:pt x="140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4" y="133"/>
                  </a:lnTo>
                  <a:lnTo>
                    <a:pt x="131" y="133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6"/>
                  </a:lnTo>
                  <a:lnTo>
                    <a:pt x="128" y="136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9"/>
                  </a:lnTo>
                  <a:lnTo>
                    <a:pt x="123" y="142"/>
                  </a:lnTo>
                  <a:lnTo>
                    <a:pt x="125" y="147"/>
                  </a:lnTo>
                  <a:lnTo>
                    <a:pt x="125" y="150"/>
                  </a:lnTo>
                  <a:lnTo>
                    <a:pt x="125" y="153"/>
                  </a:lnTo>
                  <a:lnTo>
                    <a:pt x="125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5" y="157"/>
                  </a:lnTo>
                  <a:lnTo>
                    <a:pt x="125" y="159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9" y="156"/>
                  </a:lnTo>
                  <a:lnTo>
                    <a:pt x="129" y="157"/>
                  </a:lnTo>
                  <a:lnTo>
                    <a:pt x="129" y="159"/>
                  </a:lnTo>
                  <a:lnTo>
                    <a:pt x="131" y="161"/>
                  </a:lnTo>
                  <a:lnTo>
                    <a:pt x="131" y="162"/>
                  </a:lnTo>
                  <a:lnTo>
                    <a:pt x="133" y="164"/>
                  </a:lnTo>
                  <a:lnTo>
                    <a:pt x="134" y="164"/>
                  </a:lnTo>
                  <a:lnTo>
                    <a:pt x="136" y="162"/>
                  </a:lnTo>
                  <a:lnTo>
                    <a:pt x="137" y="164"/>
                  </a:lnTo>
                  <a:lnTo>
                    <a:pt x="137" y="167"/>
                  </a:lnTo>
                  <a:lnTo>
                    <a:pt x="137" y="171"/>
                  </a:lnTo>
                  <a:lnTo>
                    <a:pt x="137" y="174"/>
                  </a:lnTo>
                  <a:lnTo>
                    <a:pt x="137" y="176"/>
                  </a:lnTo>
                  <a:lnTo>
                    <a:pt x="137" y="177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40" y="182"/>
                  </a:lnTo>
                  <a:lnTo>
                    <a:pt x="140" y="184"/>
                  </a:lnTo>
                  <a:lnTo>
                    <a:pt x="140" y="185"/>
                  </a:lnTo>
                  <a:lnTo>
                    <a:pt x="140" y="187"/>
                  </a:lnTo>
                  <a:lnTo>
                    <a:pt x="140" y="188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3" y="190"/>
                  </a:lnTo>
                  <a:lnTo>
                    <a:pt x="143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6" y="190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50" y="190"/>
                  </a:lnTo>
                  <a:lnTo>
                    <a:pt x="150" y="190"/>
                  </a:lnTo>
                  <a:lnTo>
                    <a:pt x="151" y="191"/>
                  </a:lnTo>
                  <a:lnTo>
                    <a:pt x="154" y="191"/>
                  </a:lnTo>
                  <a:lnTo>
                    <a:pt x="159" y="193"/>
                  </a:lnTo>
                  <a:lnTo>
                    <a:pt x="162" y="196"/>
                  </a:lnTo>
                  <a:lnTo>
                    <a:pt x="165" y="199"/>
                  </a:lnTo>
                  <a:lnTo>
                    <a:pt x="166" y="204"/>
                  </a:lnTo>
                  <a:lnTo>
                    <a:pt x="168" y="204"/>
                  </a:lnTo>
                  <a:lnTo>
                    <a:pt x="168" y="205"/>
                  </a:lnTo>
                  <a:lnTo>
                    <a:pt x="170" y="204"/>
                  </a:lnTo>
                  <a:lnTo>
                    <a:pt x="171" y="201"/>
                  </a:lnTo>
                  <a:lnTo>
                    <a:pt x="173" y="199"/>
                  </a:lnTo>
                  <a:lnTo>
                    <a:pt x="174" y="199"/>
                  </a:lnTo>
                  <a:lnTo>
                    <a:pt x="176" y="201"/>
                  </a:lnTo>
                  <a:lnTo>
                    <a:pt x="177" y="201"/>
                  </a:lnTo>
                  <a:lnTo>
                    <a:pt x="179" y="199"/>
                  </a:lnTo>
                  <a:lnTo>
                    <a:pt x="180" y="198"/>
                  </a:lnTo>
                  <a:lnTo>
                    <a:pt x="182" y="194"/>
                  </a:lnTo>
                  <a:lnTo>
                    <a:pt x="182" y="193"/>
                  </a:lnTo>
                  <a:lnTo>
                    <a:pt x="182" y="190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5" y="185"/>
                  </a:lnTo>
                  <a:lnTo>
                    <a:pt x="185" y="184"/>
                  </a:lnTo>
                  <a:lnTo>
                    <a:pt x="188" y="182"/>
                  </a:lnTo>
                  <a:lnTo>
                    <a:pt x="191" y="184"/>
                  </a:lnTo>
                  <a:lnTo>
                    <a:pt x="194" y="185"/>
                  </a:lnTo>
                  <a:lnTo>
                    <a:pt x="200" y="190"/>
                  </a:lnTo>
                  <a:lnTo>
                    <a:pt x="202" y="191"/>
                  </a:lnTo>
                  <a:lnTo>
                    <a:pt x="202" y="194"/>
                  </a:lnTo>
                  <a:lnTo>
                    <a:pt x="202" y="198"/>
                  </a:lnTo>
                  <a:lnTo>
                    <a:pt x="199" y="201"/>
                  </a:lnTo>
                  <a:lnTo>
                    <a:pt x="197" y="202"/>
                  </a:lnTo>
                  <a:lnTo>
                    <a:pt x="196" y="204"/>
                  </a:lnTo>
                  <a:lnTo>
                    <a:pt x="196" y="205"/>
                  </a:lnTo>
                  <a:lnTo>
                    <a:pt x="196" y="207"/>
                  </a:lnTo>
                  <a:lnTo>
                    <a:pt x="196" y="208"/>
                  </a:lnTo>
                  <a:lnTo>
                    <a:pt x="194" y="211"/>
                  </a:lnTo>
                  <a:lnTo>
                    <a:pt x="194" y="213"/>
                  </a:lnTo>
                  <a:lnTo>
                    <a:pt x="194" y="214"/>
                  </a:lnTo>
                  <a:lnTo>
                    <a:pt x="196" y="216"/>
                  </a:lnTo>
                  <a:lnTo>
                    <a:pt x="196" y="218"/>
                  </a:lnTo>
                  <a:lnTo>
                    <a:pt x="196" y="219"/>
                  </a:lnTo>
                  <a:lnTo>
                    <a:pt x="194" y="222"/>
                  </a:lnTo>
                  <a:lnTo>
                    <a:pt x="194" y="228"/>
                  </a:lnTo>
                  <a:lnTo>
                    <a:pt x="193" y="231"/>
                  </a:lnTo>
                  <a:lnTo>
                    <a:pt x="190" y="236"/>
                  </a:lnTo>
                  <a:lnTo>
                    <a:pt x="188" y="241"/>
                  </a:lnTo>
                  <a:lnTo>
                    <a:pt x="185" y="250"/>
                  </a:lnTo>
                  <a:lnTo>
                    <a:pt x="183" y="251"/>
                  </a:lnTo>
                  <a:lnTo>
                    <a:pt x="183" y="253"/>
                  </a:lnTo>
                  <a:lnTo>
                    <a:pt x="183" y="254"/>
                  </a:lnTo>
                  <a:lnTo>
                    <a:pt x="183" y="256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5" y="259"/>
                  </a:lnTo>
                  <a:lnTo>
                    <a:pt x="188" y="259"/>
                  </a:lnTo>
                  <a:lnTo>
                    <a:pt x="190" y="258"/>
                  </a:lnTo>
                  <a:lnTo>
                    <a:pt x="190" y="256"/>
                  </a:lnTo>
                  <a:lnTo>
                    <a:pt x="191" y="253"/>
                  </a:lnTo>
                  <a:lnTo>
                    <a:pt x="193" y="251"/>
                  </a:lnTo>
                  <a:lnTo>
                    <a:pt x="196" y="250"/>
                  </a:lnTo>
                  <a:lnTo>
                    <a:pt x="199" y="247"/>
                  </a:lnTo>
                  <a:lnTo>
                    <a:pt x="200" y="247"/>
                  </a:lnTo>
                  <a:lnTo>
                    <a:pt x="207" y="247"/>
                  </a:lnTo>
                  <a:lnTo>
                    <a:pt x="211" y="247"/>
                  </a:lnTo>
                  <a:lnTo>
                    <a:pt x="211" y="245"/>
                  </a:lnTo>
                  <a:lnTo>
                    <a:pt x="213" y="242"/>
                  </a:lnTo>
                  <a:lnTo>
                    <a:pt x="214" y="241"/>
                  </a:lnTo>
                  <a:lnTo>
                    <a:pt x="217" y="241"/>
                  </a:lnTo>
                  <a:lnTo>
                    <a:pt x="219" y="242"/>
                  </a:lnTo>
                  <a:lnTo>
                    <a:pt x="220" y="242"/>
                  </a:lnTo>
                  <a:lnTo>
                    <a:pt x="222" y="242"/>
                  </a:lnTo>
                  <a:lnTo>
                    <a:pt x="223" y="241"/>
                  </a:lnTo>
                  <a:lnTo>
                    <a:pt x="225" y="239"/>
                  </a:lnTo>
                  <a:lnTo>
                    <a:pt x="231" y="239"/>
                  </a:lnTo>
                  <a:lnTo>
                    <a:pt x="233" y="238"/>
                  </a:lnTo>
                  <a:lnTo>
                    <a:pt x="237" y="233"/>
                  </a:lnTo>
                  <a:lnTo>
                    <a:pt x="237" y="231"/>
                  </a:lnTo>
                  <a:lnTo>
                    <a:pt x="240" y="231"/>
                  </a:lnTo>
                  <a:lnTo>
                    <a:pt x="242" y="230"/>
                  </a:lnTo>
                  <a:lnTo>
                    <a:pt x="245" y="230"/>
                  </a:lnTo>
                  <a:lnTo>
                    <a:pt x="247" y="231"/>
                  </a:lnTo>
                  <a:lnTo>
                    <a:pt x="248" y="234"/>
                  </a:lnTo>
                  <a:lnTo>
                    <a:pt x="248" y="238"/>
                  </a:lnTo>
                  <a:lnTo>
                    <a:pt x="250" y="241"/>
                  </a:lnTo>
                  <a:lnTo>
                    <a:pt x="250" y="242"/>
                  </a:lnTo>
                  <a:lnTo>
                    <a:pt x="251" y="242"/>
                  </a:lnTo>
                  <a:lnTo>
                    <a:pt x="254" y="241"/>
                  </a:lnTo>
                  <a:lnTo>
                    <a:pt x="256" y="239"/>
                  </a:lnTo>
                  <a:lnTo>
                    <a:pt x="254" y="236"/>
                  </a:lnTo>
                  <a:lnTo>
                    <a:pt x="253" y="233"/>
                  </a:lnTo>
                  <a:lnTo>
                    <a:pt x="253" y="230"/>
                  </a:lnTo>
                  <a:lnTo>
                    <a:pt x="254" y="230"/>
                  </a:lnTo>
                  <a:lnTo>
                    <a:pt x="256" y="230"/>
                  </a:lnTo>
                  <a:lnTo>
                    <a:pt x="257" y="231"/>
                  </a:lnTo>
                  <a:lnTo>
                    <a:pt x="257" y="231"/>
                  </a:lnTo>
                  <a:lnTo>
                    <a:pt x="257" y="234"/>
                  </a:lnTo>
                  <a:lnTo>
                    <a:pt x="259" y="234"/>
                  </a:lnTo>
                  <a:lnTo>
                    <a:pt x="259" y="236"/>
                  </a:lnTo>
                  <a:lnTo>
                    <a:pt x="259" y="236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63" y="238"/>
                  </a:lnTo>
                  <a:lnTo>
                    <a:pt x="268" y="242"/>
                  </a:lnTo>
                  <a:lnTo>
                    <a:pt x="271" y="244"/>
                  </a:lnTo>
                  <a:lnTo>
                    <a:pt x="274" y="245"/>
                  </a:lnTo>
                  <a:lnTo>
                    <a:pt x="274" y="245"/>
                  </a:lnTo>
                  <a:lnTo>
                    <a:pt x="276" y="247"/>
                  </a:lnTo>
                  <a:lnTo>
                    <a:pt x="276" y="247"/>
                  </a:lnTo>
                  <a:lnTo>
                    <a:pt x="276" y="248"/>
                  </a:lnTo>
                  <a:lnTo>
                    <a:pt x="276" y="248"/>
                  </a:lnTo>
                  <a:lnTo>
                    <a:pt x="276" y="250"/>
                  </a:lnTo>
                  <a:lnTo>
                    <a:pt x="277" y="251"/>
                  </a:lnTo>
                  <a:lnTo>
                    <a:pt x="279" y="253"/>
                  </a:lnTo>
                  <a:lnTo>
                    <a:pt x="280" y="253"/>
                  </a:lnTo>
                  <a:lnTo>
                    <a:pt x="282" y="253"/>
                  </a:lnTo>
                  <a:lnTo>
                    <a:pt x="287" y="251"/>
                  </a:lnTo>
                  <a:lnTo>
                    <a:pt x="287" y="251"/>
                  </a:lnTo>
                  <a:lnTo>
                    <a:pt x="288" y="251"/>
                  </a:lnTo>
                  <a:lnTo>
                    <a:pt x="290" y="253"/>
                  </a:lnTo>
                  <a:lnTo>
                    <a:pt x="290" y="256"/>
                  </a:lnTo>
                  <a:lnTo>
                    <a:pt x="291" y="259"/>
                  </a:lnTo>
                  <a:lnTo>
                    <a:pt x="293" y="261"/>
                  </a:lnTo>
                  <a:lnTo>
                    <a:pt x="308" y="262"/>
                  </a:lnTo>
                  <a:lnTo>
                    <a:pt x="310" y="264"/>
                  </a:lnTo>
                  <a:lnTo>
                    <a:pt x="310" y="264"/>
                  </a:lnTo>
                  <a:lnTo>
                    <a:pt x="310" y="265"/>
                  </a:lnTo>
                  <a:lnTo>
                    <a:pt x="310" y="265"/>
                  </a:lnTo>
                  <a:lnTo>
                    <a:pt x="310" y="267"/>
                  </a:lnTo>
                  <a:lnTo>
                    <a:pt x="310" y="268"/>
                  </a:lnTo>
                  <a:lnTo>
                    <a:pt x="310" y="271"/>
                  </a:lnTo>
                  <a:lnTo>
                    <a:pt x="310" y="273"/>
                  </a:lnTo>
                  <a:lnTo>
                    <a:pt x="317" y="279"/>
                  </a:lnTo>
                  <a:lnTo>
                    <a:pt x="320" y="282"/>
                  </a:lnTo>
                  <a:lnTo>
                    <a:pt x="327" y="295"/>
                  </a:lnTo>
                  <a:lnTo>
                    <a:pt x="330" y="298"/>
                  </a:lnTo>
                  <a:lnTo>
                    <a:pt x="333" y="299"/>
                  </a:lnTo>
                  <a:lnTo>
                    <a:pt x="334" y="301"/>
                  </a:lnTo>
                  <a:lnTo>
                    <a:pt x="339" y="302"/>
                  </a:lnTo>
                  <a:lnTo>
                    <a:pt x="339" y="302"/>
                  </a:lnTo>
                  <a:lnTo>
                    <a:pt x="341" y="304"/>
                  </a:lnTo>
                  <a:lnTo>
                    <a:pt x="344" y="307"/>
                  </a:lnTo>
                  <a:lnTo>
                    <a:pt x="345" y="308"/>
                  </a:lnTo>
                  <a:lnTo>
                    <a:pt x="345" y="308"/>
                  </a:lnTo>
                  <a:lnTo>
                    <a:pt x="347" y="308"/>
                  </a:lnTo>
                  <a:lnTo>
                    <a:pt x="348" y="307"/>
                  </a:lnTo>
                  <a:lnTo>
                    <a:pt x="348" y="308"/>
                  </a:lnTo>
                  <a:lnTo>
                    <a:pt x="350" y="308"/>
                  </a:lnTo>
                  <a:lnTo>
                    <a:pt x="351" y="308"/>
                  </a:lnTo>
                  <a:lnTo>
                    <a:pt x="351" y="308"/>
                  </a:lnTo>
                  <a:lnTo>
                    <a:pt x="351" y="308"/>
                  </a:lnTo>
                  <a:lnTo>
                    <a:pt x="351" y="307"/>
                  </a:lnTo>
                  <a:lnTo>
                    <a:pt x="353" y="305"/>
                  </a:lnTo>
                  <a:lnTo>
                    <a:pt x="354" y="304"/>
                  </a:lnTo>
                  <a:lnTo>
                    <a:pt x="357" y="302"/>
                  </a:lnTo>
                  <a:lnTo>
                    <a:pt x="359" y="302"/>
                  </a:lnTo>
                  <a:lnTo>
                    <a:pt x="365" y="302"/>
                  </a:lnTo>
                  <a:lnTo>
                    <a:pt x="367" y="302"/>
                  </a:lnTo>
                  <a:lnTo>
                    <a:pt x="368" y="301"/>
                  </a:lnTo>
                  <a:lnTo>
                    <a:pt x="370" y="299"/>
                  </a:lnTo>
                  <a:lnTo>
                    <a:pt x="370" y="296"/>
                  </a:lnTo>
                  <a:lnTo>
                    <a:pt x="371" y="295"/>
                  </a:lnTo>
                  <a:lnTo>
                    <a:pt x="373" y="295"/>
                  </a:lnTo>
                  <a:lnTo>
                    <a:pt x="373" y="295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7" y="296"/>
                  </a:lnTo>
                  <a:lnTo>
                    <a:pt x="377" y="296"/>
                  </a:lnTo>
                  <a:lnTo>
                    <a:pt x="381" y="298"/>
                  </a:lnTo>
                  <a:lnTo>
                    <a:pt x="382" y="298"/>
                  </a:lnTo>
                  <a:lnTo>
                    <a:pt x="385" y="302"/>
                  </a:lnTo>
                  <a:lnTo>
                    <a:pt x="387" y="304"/>
                  </a:lnTo>
                  <a:lnTo>
                    <a:pt x="388" y="305"/>
                  </a:lnTo>
                  <a:lnTo>
                    <a:pt x="394" y="305"/>
                  </a:lnTo>
                  <a:lnTo>
                    <a:pt x="405" y="310"/>
                  </a:lnTo>
                  <a:lnTo>
                    <a:pt x="408" y="308"/>
                  </a:lnTo>
                  <a:lnTo>
                    <a:pt x="408" y="307"/>
                  </a:lnTo>
                  <a:lnTo>
                    <a:pt x="407" y="305"/>
                  </a:lnTo>
                  <a:lnTo>
                    <a:pt x="407" y="302"/>
                  </a:lnTo>
                  <a:lnTo>
                    <a:pt x="407" y="301"/>
                  </a:lnTo>
                  <a:lnTo>
                    <a:pt x="407" y="299"/>
                  </a:lnTo>
                  <a:lnTo>
                    <a:pt x="408" y="299"/>
                  </a:lnTo>
                  <a:lnTo>
                    <a:pt x="408" y="299"/>
                  </a:lnTo>
                  <a:lnTo>
                    <a:pt x="410" y="299"/>
                  </a:lnTo>
                  <a:lnTo>
                    <a:pt x="410" y="298"/>
                  </a:lnTo>
                  <a:lnTo>
                    <a:pt x="411" y="298"/>
                  </a:lnTo>
                  <a:lnTo>
                    <a:pt x="411" y="295"/>
                  </a:lnTo>
                  <a:lnTo>
                    <a:pt x="411" y="295"/>
                  </a:lnTo>
                  <a:lnTo>
                    <a:pt x="411" y="295"/>
                  </a:lnTo>
                  <a:lnTo>
                    <a:pt x="410" y="291"/>
                  </a:lnTo>
                  <a:lnTo>
                    <a:pt x="410" y="291"/>
                  </a:lnTo>
                  <a:lnTo>
                    <a:pt x="410" y="291"/>
                  </a:lnTo>
                  <a:lnTo>
                    <a:pt x="410" y="290"/>
                  </a:lnTo>
                  <a:lnTo>
                    <a:pt x="411" y="288"/>
                  </a:lnTo>
                  <a:lnTo>
                    <a:pt x="411" y="288"/>
                  </a:lnTo>
                  <a:lnTo>
                    <a:pt x="413" y="287"/>
                  </a:lnTo>
                  <a:lnTo>
                    <a:pt x="419" y="284"/>
                  </a:lnTo>
                  <a:lnTo>
                    <a:pt x="421" y="284"/>
                  </a:lnTo>
                  <a:lnTo>
                    <a:pt x="421" y="281"/>
                  </a:lnTo>
                  <a:lnTo>
                    <a:pt x="419" y="278"/>
                  </a:lnTo>
                  <a:lnTo>
                    <a:pt x="421" y="275"/>
                  </a:lnTo>
                  <a:lnTo>
                    <a:pt x="421" y="273"/>
                  </a:lnTo>
                  <a:lnTo>
                    <a:pt x="422" y="273"/>
                  </a:lnTo>
                  <a:lnTo>
                    <a:pt x="424" y="271"/>
                  </a:lnTo>
                  <a:lnTo>
                    <a:pt x="422" y="270"/>
                  </a:lnTo>
                  <a:lnTo>
                    <a:pt x="422" y="270"/>
                  </a:lnTo>
                  <a:lnTo>
                    <a:pt x="422" y="270"/>
                  </a:lnTo>
                  <a:lnTo>
                    <a:pt x="424" y="270"/>
                  </a:lnTo>
                  <a:lnTo>
                    <a:pt x="434" y="268"/>
                  </a:lnTo>
                  <a:lnTo>
                    <a:pt x="439" y="267"/>
                  </a:lnTo>
                  <a:lnTo>
                    <a:pt x="441" y="265"/>
                  </a:lnTo>
                  <a:lnTo>
                    <a:pt x="442" y="264"/>
                  </a:lnTo>
                  <a:lnTo>
                    <a:pt x="442" y="261"/>
                  </a:lnTo>
                  <a:lnTo>
                    <a:pt x="441" y="259"/>
                  </a:lnTo>
                  <a:lnTo>
                    <a:pt x="433" y="256"/>
                  </a:lnTo>
                  <a:lnTo>
                    <a:pt x="433" y="254"/>
                  </a:lnTo>
                  <a:lnTo>
                    <a:pt x="431" y="253"/>
                  </a:lnTo>
                  <a:lnTo>
                    <a:pt x="433" y="251"/>
                  </a:lnTo>
                  <a:lnTo>
                    <a:pt x="433" y="250"/>
                  </a:lnTo>
                  <a:lnTo>
                    <a:pt x="433" y="248"/>
                  </a:lnTo>
                  <a:lnTo>
                    <a:pt x="433" y="245"/>
                  </a:lnTo>
                  <a:lnTo>
                    <a:pt x="431" y="244"/>
                  </a:lnTo>
                  <a:lnTo>
                    <a:pt x="430" y="242"/>
                  </a:lnTo>
                  <a:lnTo>
                    <a:pt x="430" y="239"/>
                  </a:lnTo>
                  <a:lnTo>
                    <a:pt x="431" y="234"/>
                  </a:lnTo>
                  <a:lnTo>
                    <a:pt x="430" y="231"/>
                  </a:lnTo>
                  <a:lnTo>
                    <a:pt x="427" y="225"/>
                  </a:lnTo>
                  <a:lnTo>
                    <a:pt x="424" y="219"/>
                  </a:lnTo>
                  <a:lnTo>
                    <a:pt x="422" y="216"/>
                  </a:lnTo>
                  <a:lnTo>
                    <a:pt x="421" y="211"/>
                  </a:lnTo>
                  <a:lnTo>
                    <a:pt x="419" y="205"/>
                  </a:lnTo>
                  <a:lnTo>
                    <a:pt x="421" y="198"/>
                  </a:lnTo>
                  <a:lnTo>
                    <a:pt x="425" y="188"/>
                  </a:lnTo>
                  <a:lnTo>
                    <a:pt x="422" y="168"/>
                  </a:lnTo>
                  <a:lnTo>
                    <a:pt x="419" y="150"/>
                  </a:lnTo>
                  <a:lnTo>
                    <a:pt x="418" y="142"/>
                  </a:lnTo>
                  <a:lnTo>
                    <a:pt x="416" y="136"/>
                  </a:lnTo>
                  <a:lnTo>
                    <a:pt x="419" y="127"/>
                  </a:lnTo>
                  <a:lnTo>
                    <a:pt x="421" y="119"/>
                  </a:lnTo>
                  <a:lnTo>
                    <a:pt x="431" y="111"/>
                  </a:lnTo>
                  <a:lnTo>
                    <a:pt x="438" y="105"/>
                  </a:lnTo>
                  <a:lnTo>
                    <a:pt x="438" y="105"/>
                  </a:lnTo>
                  <a:lnTo>
                    <a:pt x="439" y="102"/>
                  </a:lnTo>
                  <a:lnTo>
                    <a:pt x="439" y="99"/>
                  </a:lnTo>
                  <a:lnTo>
                    <a:pt x="444" y="93"/>
                  </a:lnTo>
                  <a:lnTo>
                    <a:pt x="444" y="90"/>
                  </a:lnTo>
                  <a:lnTo>
                    <a:pt x="448" y="77"/>
                  </a:lnTo>
                  <a:lnTo>
                    <a:pt x="451" y="67"/>
                  </a:lnTo>
                  <a:lnTo>
                    <a:pt x="453" y="64"/>
                  </a:lnTo>
                  <a:lnTo>
                    <a:pt x="453" y="62"/>
                  </a:lnTo>
                  <a:lnTo>
                    <a:pt x="454" y="59"/>
                  </a:lnTo>
                  <a:lnTo>
                    <a:pt x="458" y="57"/>
                  </a:lnTo>
                  <a:lnTo>
                    <a:pt x="467" y="57"/>
                  </a:lnTo>
                  <a:lnTo>
                    <a:pt x="468" y="56"/>
                  </a:lnTo>
                  <a:lnTo>
                    <a:pt x="467" y="56"/>
                  </a:lnTo>
                  <a:lnTo>
                    <a:pt x="461" y="53"/>
                  </a:lnTo>
                  <a:lnTo>
                    <a:pt x="464" y="53"/>
                  </a:lnTo>
                  <a:lnTo>
                    <a:pt x="470" y="51"/>
                  </a:lnTo>
                  <a:lnTo>
                    <a:pt x="473" y="50"/>
                  </a:lnTo>
                  <a:lnTo>
                    <a:pt x="474" y="50"/>
                  </a:lnTo>
                  <a:lnTo>
                    <a:pt x="474" y="48"/>
                  </a:lnTo>
                  <a:lnTo>
                    <a:pt x="474" y="47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90"/>
            <p:cNvSpPr>
              <a:spLocks noEditPoints="1"/>
            </p:cNvSpPr>
            <p:nvPr/>
          </p:nvSpPr>
          <p:spPr bwMode="gray">
            <a:xfrm>
              <a:off x="8264525" y="4659313"/>
              <a:ext cx="752475" cy="492125"/>
            </a:xfrm>
            <a:custGeom>
              <a:avLst/>
              <a:gdLst>
                <a:gd name="T0" fmla="*/ 159 w 474"/>
                <a:gd name="T1" fmla="*/ 227 h 310"/>
                <a:gd name="T2" fmla="*/ 82 w 474"/>
                <a:gd name="T3" fmla="*/ 153 h 310"/>
                <a:gd name="T4" fmla="*/ 57 w 474"/>
                <a:gd name="T5" fmla="*/ 151 h 310"/>
                <a:gd name="T6" fmla="*/ 26 w 474"/>
                <a:gd name="T7" fmla="*/ 164 h 310"/>
                <a:gd name="T8" fmla="*/ 17 w 474"/>
                <a:gd name="T9" fmla="*/ 177 h 310"/>
                <a:gd name="T10" fmla="*/ 12 w 474"/>
                <a:gd name="T11" fmla="*/ 187 h 310"/>
                <a:gd name="T12" fmla="*/ 0 w 474"/>
                <a:gd name="T13" fmla="*/ 199 h 310"/>
                <a:gd name="T14" fmla="*/ 22 w 474"/>
                <a:gd name="T15" fmla="*/ 230 h 310"/>
                <a:gd name="T16" fmla="*/ 12 w 474"/>
                <a:gd name="T17" fmla="*/ 247 h 310"/>
                <a:gd name="T18" fmla="*/ 34 w 474"/>
                <a:gd name="T19" fmla="*/ 214 h 310"/>
                <a:gd name="T20" fmla="*/ 49 w 474"/>
                <a:gd name="T21" fmla="*/ 210 h 310"/>
                <a:gd name="T22" fmla="*/ 66 w 474"/>
                <a:gd name="T23" fmla="*/ 208 h 310"/>
                <a:gd name="T24" fmla="*/ 89 w 474"/>
                <a:gd name="T25" fmla="*/ 188 h 310"/>
                <a:gd name="T26" fmla="*/ 99 w 474"/>
                <a:gd name="T27" fmla="*/ 174 h 310"/>
                <a:gd name="T28" fmla="*/ 111 w 474"/>
                <a:gd name="T29" fmla="*/ 174 h 310"/>
                <a:gd name="T30" fmla="*/ 96 w 474"/>
                <a:gd name="T31" fmla="*/ 151 h 310"/>
                <a:gd name="T32" fmla="*/ 116 w 474"/>
                <a:gd name="T33" fmla="*/ 164 h 310"/>
                <a:gd name="T34" fmla="*/ 114 w 474"/>
                <a:gd name="T35" fmla="*/ 102 h 310"/>
                <a:gd name="T36" fmla="*/ 26 w 474"/>
                <a:gd name="T37" fmla="*/ 114 h 310"/>
                <a:gd name="T38" fmla="*/ 49 w 474"/>
                <a:gd name="T39" fmla="*/ 142 h 310"/>
                <a:gd name="T40" fmla="*/ 76 w 474"/>
                <a:gd name="T41" fmla="*/ 131 h 310"/>
                <a:gd name="T42" fmla="*/ 83 w 474"/>
                <a:gd name="T43" fmla="*/ 121 h 310"/>
                <a:gd name="T44" fmla="*/ 85 w 474"/>
                <a:gd name="T45" fmla="*/ 110 h 310"/>
                <a:gd name="T46" fmla="*/ 57 w 474"/>
                <a:gd name="T47" fmla="*/ 85 h 310"/>
                <a:gd name="T48" fmla="*/ 25 w 474"/>
                <a:gd name="T49" fmla="*/ 105 h 310"/>
                <a:gd name="T50" fmla="*/ 471 w 474"/>
                <a:gd name="T51" fmla="*/ 44 h 310"/>
                <a:gd name="T52" fmla="*/ 377 w 474"/>
                <a:gd name="T53" fmla="*/ 33 h 310"/>
                <a:gd name="T54" fmla="*/ 320 w 474"/>
                <a:gd name="T55" fmla="*/ 14 h 310"/>
                <a:gd name="T56" fmla="*/ 304 w 474"/>
                <a:gd name="T57" fmla="*/ 10 h 310"/>
                <a:gd name="T58" fmla="*/ 290 w 474"/>
                <a:gd name="T59" fmla="*/ 7 h 310"/>
                <a:gd name="T60" fmla="*/ 277 w 474"/>
                <a:gd name="T61" fmla="*/ 17 h 310"/>
                <a:gd name="T62" fmla="*/ 240 w 474"/>
                <a:gd name="T63" fmla="*/ 22 h 310"/>
                <a:gd name="T64" fmla="*/ 222 w 474"/>
                <a:gd name="T65" fmla="*/ 31 h 310"/>
                <a:gd name="T66" fmla="*/ 213 w 474"/>
                <a:gd name="T67" fmla="*/ 33 h 310"/>
                <a:gd name="T68" fmla="*/ 177 w 474"/>
                <a:gd name="T69" fmla="*/ 37 h 310"/>
                <a:gd name="T70" fmla="*/ 170 w 474"/>
                <a:gd name="T71" fmla="*/ 57 h 310"/>
                <a:gd name="T72" fmla="*/ 136 w 474"/>
                <a:gd name="T73" fmla="*/ 59 h 310"/>
                <a:gd name="T74" fmla="*/ 120 w 474"/>
                <a:gd name="T75" fmla="*/ 91 h 310"/>
                <a:gd name="T76" fmla="*/ 134 w 474"/>
                <a:gd name="T77" fmla="*/ 94 h 310"/>
                <a:gd name="T78" fmla="*/ 119 w 474"/>
                <a:gd name="T79" fmla="*/ 105 h 310"/>
                <a:gd name="T80" fmla="*/ 137 w 474"/>
                <a:gd name="T81" fmla="*/ 125 h 310"/>
                <a:gd name="T82" fmla="*/ 148 w 474"/>
                <a:gd name="T83" fmla="*/ 134 h 310"/>
                <a:gd name="T84" fmla="*/ 125 w 474"/>
                <a:gd name="T85" fmla="*/ 137 h 310"/>
                <a:gd name="T86" fmla="*/ 129 w 474"/>
                <a:gd name="T87" fmla="*/ 157 h 310"/>
                <a:gd name="T88" fmla="*/ 140 w 474"/>
                <a:gd name="T89" fmla="*/ 185 h 310"/>
                <a:gd name="T90" fmla="*/ 150 w 474"/>
                <a:gd name="T91" fmla="*/ 190 h 310"/>
                <a:gd name="T92" fmla="*/ 180 w 474"/>
                <a:gd name="T93" fmla="*/ 198 h 310"/>
                <a:gd name="T94" fmla="*/ 196 w 474"/>
                <a:gd name="T95" fmla="*/ 204 h 310"/>
                <a:gd name="T96" fmla="*/ 183 w 474"/>
                <a:gd name="T97" fmla="*/ 253 h 310"/>
                <a:gd name="T98" fmla="*/ 213 w 474"/>
                <a:gd name="T99" fmla="*/ 242 h 310"/>
                <a:gd name="T100" fmla="*/ 248 w 474"/>
                <a:gd name="T101" fmla="*/ 238 h 310"/>
                <a:gd name="T102" fmla="*/ 260 w 474"/>
                <a:gd name="T103" fmla="*/ 236 h 310"/>
                <a:gd name="T104" fmla="*/ 287 w 474"/>
                <a:gd name="T105" fmla="*/ 251 h 310"/>
                <a:gd name="T106" fmla="*/ 327 w 474"/>
                <a:gd name="T107" fmla="*/ 295 h 310"/>
                <a:gd name="T108" fmla="*/ 351 w 474"/>
                <a:gd name="T109" fmla="*/ 307 h 310"/>
                <a:gd name="T110" fmla="*/ 381 w 474"/>
                <a:gd name="T111" fmla="*/ 298 h 310"/>
                <a:gd name="T112" fmla="*/ 411 w 474"/>
                <a:gd name="T113" fmla="*/ 298 h 310"/>
                <a:gd name="T114" fmla="*/ 422 w 474"/>
                <a:gd name="T115" fmla="*/ 273 h 310"/>
                <a:gd name="T116" fmla="*/ 433 w 474"/>
                <a:gd name="T117" fmla="*/ 248 h 310"/>
                <a:gd name="T118" fmla="*/ 416 w 474"/>
                <a:gd name="T119" fmla="*/ 136 h 310"/>
                <a:gd name="T120" fmla="*/ 468 w 474"/>
                <a:gd name="T121" fmla="*/ 5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4" h="310">
                  <a:moveTo>
                    <a:pt x="106" y="267"/>
                  </a:moveTo>
                  <a:lnTo>
                    <a:pt x="105" y="265"/>
                  </a:lnTo>
                  <a:lnTo>
                    <a:pt x="103" y="265"/>
                  </a:lnTo>
                  <a:lnTo>
                    <a:pt x="103" y="267"/>
                  </a:lnTo>
                  <a:lnTo>
                    <a:pt x="103" y="267"/>
                  </a:lnTo>
                  <a:lnTo>
                    <a:pt x="103" y="268"/>
                  </a:lnTo>
                  <a:lnTo>
                    <a:pt x="103" y="270"/>
                  </a:lnTo>
                  <a:lnTo>
                    <a:pt x="105" y="271"/>
                  </a:lnTo>
                  <a:lnTo>
                    <a:pt x="106" y="271"/>
                  </a:lnTo>
                  <a:lnTo>
                    <a:pt x="108" y="268"/>
                  </a:lnTo>
                  <a:lnTo>
                    <a:pt x="106" y="268"/>
                  </a:lnTo>
                  <a:lnTo>
                    <a:pt x="106" y="267"/>
                  </a:lnTo>
                  <a:close/>
                  <a:moveTo>
                    <a:pt x="160" y="219"/>
                  </a:moveTo>
                  <a:lnTo>
                    <a:pt x="159" y="219"/>
                  </a:lnTo>
                  <a:lnTo>
                    <a:pt x="157" y="222"/>
                  </a:lnTo>
                  <a:lnTo>
                    <a:pt x="157" y="225"/>
                  </a:lnTo>
                  <a:lnTo>
                    <a:pt x="159" y="227"/>
                  </a:lnTo>
                  <a:lnTo>
                    <a:pt x="162" y="225"/>
                  </a:lnTo>
                  <a:lnTo>
                    <a:pt x="163" y="222"/>
                  </a:lnTo>
                  <a:lnTo>
                    <a:pt x="162" y="219"/>
                  </a:lnTo>
                  <a:lnTo>
                    <a:pt x="160" y="219"/>
                  </a:lnTo>
                  <a:close/>
                  <a:moveTo>
                    <a:pt x="108" y="171"/>
                  </a:moveTo>
                  <a:lnTo>
                    <a:pt x="106" y="170"/>
                  </a:lnTo>
                  <a:lnTo>
                    <a:pt x="105" y="170"/>
                  </a:lnTo>
                  <a:lnTo>
                    <a:pt x="100" y="168"/>
                  </a:lnTo>
                  <a:lnTo>
                    <a:pt x="99" y="167"/>
                  </a:lnTo>
                  <a:lnTo>
                    <a:pt x="97" y="167"/>
                  </a:lnTo>
                  <a:lnTo>
                    <a:pt x="96" y="165"/>
                  </a:lnTo>
                  <a:lnTo>
                    <a:pt x="96" y="162"/>
                  </a:lnTo>
                  <a:lnTo>
                    <a:pt x="94" y="161"/>
                  </a:lnTo>
                  <a:lnTo>
                    <a:pt x="89" y="157"/>
                  </a:lnTo>
                  <a:lnTo>
                    <a:pt x="86" y="156"/>
                  </a:lnTo>
                  <a:lnTo>
                    <a:pt x="83" y="154"/>
                  </a:lnTo>
                  <a:lnTo>
                    <a:pt x="82" y="153"/>
                  </a:lnTo>
                  <a:lnTo>
                    <a:pt x="80" y="153"/>
                  </a:lnTo>
                  <a:lnTo>
                    <a:pt x="76" y="154"/>
                  </a:lnTo>
                  <a:lnTo>
                    <a:pt x="73" y="153"/>
                  </a:lnTo>
                  <a:lnTo>
                    <a:pt x="71" y="154"/>
                  </a:lnTo>
                  <a:lnTo>
                    <a:pt x="69" y="157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5" y="156"/>
                  </a:lnTo>
                  <a:lnTo>
                    <a:pt x="63" y="156"/>
                  </a:lnTo>
                  <a:lnTo>
                    <a:pt x="63" y="156"/>
                  </a:lnTo>
                  <a:lnTo>
                    <a:pt x="62" y="157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59" y="156"/>
                  </a:lnTo>
                  <a:lnTo>
                    <a:pt x="59" y="156"/>
                  </a:lnTo>
                  <a:lnTo>
                    <a:pt x="59" y="154"/>
                  </a:lnTo>
                  <a:lnTo>
                    <a:pt x="57" y="151"/>
                  </a:lnTo>
                  <a:lnTo>
                    <a:pt x="56" y="151"/>
                  </a:lnTo>
                  <a:lnTo>
                    <a:pt x="54" y="151"/>
                  </a:lnTo>
                  <a:lnTo>
                    <a:pt x="46" y="157"/>
                  </a:lnTo>
                  <a:lnTo>
                    <a:pt x="37" y="157"/>
                  </a:lnTo>
                  <a:lnTo>
                    <a:pt x="34" y="161"/>
                  </a:lnTo>
                  <a:lnTo>
                    <a:pt x="34" y="164"/>
                  </a:lnTo>
                  <a:lnTo>
                    <a:pt x="34" y="167"/>
                  </a:lnTo>
                  <a:lnTo>
                    <a:pt x="32" y="170"/>
                  </a:lnTo>
                  <a:lnTo>
                    <a:pt x="31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7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5"/>
                  </a:lnTo>
                  <a:lnTo>
                    <a:pt x="25" y="167"/>
                  </a:lnTo>
                  <a:lnTo>
                    <a:pt x="25" y="168"/>
                  </a:lnTo>
                  <a:lnTo>
                    <a:pt x="22" y="170"/>
                  </a:lnTo>
                  <a:lnTo>
                    <a:pt x="22" y="170"/>
                  </a:lnTo>
                  <a:lnTo>
                    <a:pt x="20" y="171"/>
                  </a:lnTo>
                  <a:lnTo>
                    <a:pt x="20" y="173"/>
                  </a:lnTo>
                  <a:lnTo>
                    <a:pt x="20" y="177"/>
                  </a:lnTo>
                  <a:lnTo>
                    <a:pt x="20" y="179"/>
                  </a:lnTo>
                  <a:lnTo>
                    <a:pt x="20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17" y="177"/>
                  </a:lnTo>
                  <a:lnTo>
                    <a:pt x="17" y="176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9" y="168"/>
                  </a:lnTo>
                  <a:lnTo>
                    <a:pt x="8" y="168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5" y="170"/>
                  </a:lnTo>
                  <a:lnTo>
                    <a:pt x="3" y="170"/>
                  </a:lnTo>
                  <a:lnTo>
                    <a:pt x="0" y="168"/>
                  </a:lnTo>
                  <a:lnTo>
                    <a:pt x="2" y="171"/>
                  </a:lnTo>
                  <a:lnTo>
                    <a:pt x="5" y="173"/>
                  </a:lnTo>
                  <a:lnTo>
                    <a:pt x="5" y="174"/>
                  </a:lnTo>
                  <a:lnTo>
                    <a:pt x="6" y="177"/>
                  </a:lnTo>
                  <a:lnTo>
                    <a:pt x="8" y="179"/>
                  </a:lnTo>
                  <a:lnTo>
                    <a:pt x="12" y="187"/>
                  </a:lnTo>
                  <a:lnTo>
                    <a:pt x="12" y="190"/>
                  </a:lnTo>
                  <a:lnTo>
                    <a:pt x="14" y="191"/>
                  </a:lnTo>
                  <a:lnTo>
                    <a:pt x="12" y="190"/>
                  </a:lnTo>
                  <a:lnTo>
                    <a:pt x="9" y="191"/>
                  </a:lnTo>
                  <a:lnTo>
                    <a:pt x="9" y="193"/>
                  </a:lnTo>
                  <a:lnTo>
                    <a:pt x="9" y="194"/>
                  </a:lnTo>
                  <a:lnTo>
                    <a:pt x="8" y="196"/>
                  </a:lnTo>
                  <a:lnTo>
                    <a:pt x="8" y="194"/>
                  </a:lnTo>
                  <a:lnTo>
                    <a:pt x="6" y="193"/>
                  </a:lnTo>
                  <a:lnTo>
                    <a:pt x="5" y="191"/>
                  </a:lnTo>
                  <a:lnTo>
                    <a:pt x="3" y="193"/>
                  </a:lnTo>
                  <a:lnTo>
                    <a:pt x="3" y="194"/>
                  </a:lnTo>
                  <a:lnTo>
                    <a:pt x="5" y="196"/>
                  </a:lnTo>
                  <a:lnTo>
                    <a:pt x="6" y="199"/>
                  </a:lnTo>
                  <a:lnTo>
                    <a:pt x="2" y="198"/>
                  </a:lnTo>
                  <a:lnTo>
                    <a:pt x="0" y="198"/>
                  </a:lnTo>
                  <a:lnTo>
                    <a:pt x="0" y="199"/>
                  </a:lnTo>
                  <a:lnTo>
                    <a:pt x="2" y="201"/>
                  </a:lnTo>
                  <a:lnTo>
                    <a:pt x="3" y="204"/>
                  </a:lnTo>
                  <a:lnTo>
                    <a:pt x="5" y="205"/>
                  </a:lnTo>
                  <a:lnTo>
                    <a:pt x="8" y="207"/>
                  </a:lnTo>
                  <a:lnTo>
                    <a:pt x="12" y="207"/>
                  </a:lnTo>
                  <a:lnTo>
                    <a:pt x="14" y="208"/>
                  </a:lnTo>
                  <a:lnTo>
                    <a:pt x="17" y="214"/>
                  </a:lnTo>
                  <a:lnTo>
                    <a:pt x="19" y="216"/>
                  </a:lnTo>
                  <a:lnTo>
                    <a:pt x="23" y="218"/>
                  </a:lnTo>
                  <a:lnTo>
                    <a:pt x="26" y="218"/>
                  </a:lnTo>
                  <a:lnTo>
                    <a:pt x="28" y="221"/>
                  </a:lnTo>
                  <a:lnTo>
                    <a:pt x="25" y="224"/>
                  </a:lnTo>
                  <a:lnTo>
                    <a:pt x="25" y="225"/>
                  </a:lnTo>
                  <a:lnTo>
                    <a:pt x="23" y="228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2" y="230"/>
                  </a:lnTo>
                  <a:lnTo>
                    <a:pt x="20" y="228"/>
                  </a:lnTo>
                  <a:lnTo>
                    <a:pt x="20" y="228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7" y="233"/>
                  </a:lnTo>
                  <a:lnTo>
                    <a:pt x="14" y="238"/>
                  </a:lnTo>
                  <a:lnTo>
                    <a:pt x="14" y="239"/>
                  </a:lnTo>
                  <a:lnTo>
                    <a:pt x="12" y="242"/>
                  </a:lnTo>
                  <a:lnTo>
                    <a:pt x="12" y="244"/>
                  </a:lnTo>
                  <a:lnTo>
                    <a:pt x="12" y="244"/>
                  </a:lnTo>
                  <a:lnTo>
                    <a:pt x="9" y="244"/>
                  </a:lnTo>
                  <a:lnTo>
                    <a:pt x="9" y="244"/>
                  </a:lnTo>
                  <a:lnTo>
                    <a:pt x="9" y="244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11" y="245"/>
                  </a:lnTo>
                  <a:lnTo>
                    <a:pt x="12" y="247"/>
                  </a:lnTo>
                  <a:lnTo>
                    <a:pt x="12" y="248"/>
                  </a:lnTo>
                  <a:lnTo>
                    <a:pt x="12" y="250"/>
                  </a:lnTo>
                  <a:lnTo>
                    <a:pt x="14" y="253"/>
                  </a:lnTo>
                  <a:lnTo>
                    <a:pt x="16" y="253"/>
                  </a:lnTo>
                  <a:lnTo>
                    <a:pt x="26" y="244"/>
                  </a:lnTo>
                  <a:lnTo>
                    <a:pt x="28" y="242"/>
                  </a:lnTo>
                  <a:lnTo>
                    <a:pt x="28" y="239"/>
                  </a:lnTo>
                  <a:lnTo>
                    <a:pt x="28" y="238"/>
                  </a:lnTo>
                  <a:lnTo>
                    <a:pt x="28" y="236"/>
                  </a:lnTo>
                  <a:lnTo>
                    <a:pt x="29" y="234"/>
                  </a:lnTo>
                  <a:lnTo>
                    <a:pt x="29" y="233"/>
                  </a:lnTo>
                  <a:lnTo>
                    <a:pt x="31" y="228"/>
                  </a:lnTo>
                  <a:lnTo>
                    <a:pt x="32" y="225"/>
                  </a:lnTo>
                  <a:lnTo>
                    <a:pt x="32" y="222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4" y="214"/>
                  </a:lnTo>
                  <a:lnTo>
                    <a:pt x="34" y="213"/>
                  </a:lnTo>
                  <a:lnTo>
                    <a:pt x="37" y="211"/>
                  </a:lnTo>
                  <a:lnTo>
                    <a:pt x="39" y="210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42" y="208"/>
                  </a:lnTo>
                  <a:lnTo>
                    <a:pt x="42" y="208"/>
                  </a:lnTo>
                  <a:lnTo>
                    <a:pt x="43" y="210"/>
                  </a:lnTo>
                  <a:lnTo>
                    <a:pt x="43" y="210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9" y="207"/>
                  </a:lnTo>
                  <a:lnTo>
                    <a:pt x="49" y="207"/>
                  </a:lnTo>
                  <a:lnTo>
                    <a:pt x="49" y="208"/>
                  </a:lnTo>
                  <a:lnTo>
                    <a:pt x="49" y="210"/>
                  </a:lnTo>
                  <a:lnTo>
                    <a:pt x="49" y="210"/>
                  </a:lnTo>
                  <a:lnTo>
                    <a:pt x="51" y="210"/>
                  </a:lnTo>
                  <a:lnTo>
                    <a:pt x="51" y="208"/>
                  </a:lnTo>
                  <a:lnTo>
                    <a:pt x="51" y="208"/>
                  </a:lnTo>
                  <a:lnTo>
                    <a:pt x="51" y="205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4" y="207"/>
                  </a:lnTo>
                  <a:lnTo>
                    <a:pt x="54" y="208"/>
                  </a:lnTo>
                  <a:lnTo>
                    <a:pt x="56" y="207"/>
                  </a:lnTo>
                  <a:lnTo>
                    <a:pt x="56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0" y="205"/>
                  </a:lnTo>
                  <a:lnTo>
                    <a:pt x="62" y="207"/>
                  </a:lnTo>
                  <a:lnTo>
                    <a:pt x="62" y="210"/>
                  </a:lnTo>
                  <a:lnTo>
                    <a:pt x="66" y="208"/>
                  </a:lnTo>
                  <a:lnTo>
                    <a:pt x="69" y="207"/>
                  </a:lnTo>
                  <a:lnTo>
                    <a:pt x="65" y="205"/>
                  </a:lnTo>
                  <a:lnTo>
                    <a:pt x="66" y="202"/>
                  </a:lnTo>
                  <a:lnTo>
                    <a:pt x="68" y="202"/>
                  </a:lnTo>
                  <a:lnTo>
                    <a:pt x="71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6" y="199"/>
                  </a:lnTo>
                  <a:lnTo>
                    <a:pt x="77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5" y="190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5" y="187"/>
                  </a:lnTo>
                  <a:lnTo>
                    <a:pt x="88" y="190"/>
                  </a:lnTo>
                  <a:lnTo>
                    <a:pt x="89" y="188"/>
                  </a:lnTo>
                  <a:lnTo>
                    <a:pt x="91" y="187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6" y="181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7"/>
                  </a:lnTo>
                  <a:lnTo>
                    <a:pt x="97" y="177"/>
                  </a:lnTo>
                  <a:lnTo>
                    <a:pt x="97" y="174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3"/>
                  </a:lnTo>
                  <a:lnTo>
                    <a:pt x="100" y="173"/>
                  </a:lnTo>
                  <a:lnTo>
                    <a:pt x="100" y="174"/>
                  </a:lnTo>
                  <a:lnTo>
                    <a:pt x="100" y="174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3" y="177"/>
                  </a:lnTo>
                  <a:lnTo>
                    <a:pt x="105" y="179"/>
                  </a:lnTo>
                  <a:lnTo>
                    <a:pt x="108" y="179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6" y="174"/>
                  </a:lnTo>
                  <a:lnTo>
                    <a:pt x="111" y="179"/>
                  </a:lnTo>
                  <a:lnTo>
                    <a:pt x="111" y="176"/>
                  </a:lnTo>
                  <a:lnTo>
                    <a:pt x="111" y="174"/>
                  </a:lnTo>
                  <a:lnTo>
                    <a:pt x="108" y="171"/>
                  </a:lnTo>
                  <a:close/>
                  <a:moveTo>
                    <a:pt x="116" y="159"/>
                  </a:moveTo>
                  <a:lnTo>
                    <a:pt x="114" y="157"/>
                  </a:lnTo>
                  <a:lnTo>
                    <a:pt x="114" y="156"/>
                  </a:lnTo>
                  <a:lnTo>
                    <a:pt x="113" y="154"/>
                  </a:lnTo>
                  <a:lnTo>
                    <a:pt x="113" y="154"/>
                  </a:lnTo>
                  <a:lnTo>
                    <a:pt x="113" y="153"/>
                  </a:lnTo>
                  <a:lnTo>
                    <a:pt x="113" y="151"/>
                  </a:lnTo>
                  <a:lnTo>
                    <a:pt x="113" y="150"/>
                  </a:lnTo>
                  <a:lnTo>
                    <a:pt x="111" y="148"/>
                  </a:lnTo>
                  <a:lnTo>
                    <a:pt x="108" y="147"/>
                  </a:lnTo>
                  <a:lnTo>
                    <a:pt x="102" y="145"/>
                  </a:lnTo>
                  <a:lnTo>
                    <a:pt x="100" y="144"/>
                  </a:lnTo>
                  <a:lnTo>
                    <a:pt x="99" y="145"/>
                  </a:lnTo>
                  <a:lnTo>
                    <a:pt x="97" y="147"/>
                  </a:lnTo>
                  <a:lnTo>
                    <a:pt x="97" y="148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3"/>
                  </a:lnTo>
                  <a:lnTo>
                    <a:pt x="93" y="151"/>
                  </a:lnTo>
                  <a:lnTo>
                    <a:pt x="91" y="153"/>
                  </a:lnTo>
                  <a:lnTo>
                    <a:pt x="91" y="156"/>
                  </a:lnTo>
                  <a:lnTo>
                    <a:pt x="93" y="157"/>
                  </a:lnTo>
                  <a:lnTo>
                    <a:pt x="97" y="159"/>
                  </a:lnTo>
                  <a:lnTo>
                    <a:pt x="103" y="165"/>
                  </a:lnTo>
                  <a:lnTo>
                    <a:pt x="105" y="165"/>
                  </a:lnTo>
                  <a:lnTo>
                    <a:pt x="106" y="164"/>
                  </a:lnTo>
                  <a:lnTo>
                    <a:pt x="108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3" y="165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16" y="164"/>
                  </a:lnTo>
                  <a:lnTo>
                    <a:pt x="117" y="162"/>
                  </a:lnTo>
                  <a:lnTo>
                    <a:pt x="117" y="161"/>
                  </a:lnTo>
                  <a:lnTo>
                    <a:pt x="116" y="159"/>
                  </a:lnTo>
                  <a:close/>
                  <a:moveTo>
                    <a:pt x="99" y="102"/>
                  </a:moveTo>
                  <a:lnTo>
                    <a:pt x="99" y="104"/>
                  </a:lnTo>
                  <a:lnTo>
                    <a:pt x="100" y="104"/>
                  </a:lnTo>
                  <a:lnTo>
                    <a:pt x="103" y="102"/>
                  </a:lnTo>
                  <a:lnTo>
                    <a:pt x="103" y="102"/>
                  </a:lnTo>
                  <a:lnTo>
                    <a:pt x="103" y="100"/>
                  </a:lnTo>
                  <a:lnTo>
                    <a:pt x="103" y="100"/>
                  </a:lnTo>
                  <a:lnTo>
                    <a:pt x="105" y="100"/>
                  </a:lnTo>
                  <a:lnTo>
                    <a:pt x="108" y="102"/>
                  </a:lnTo>
                  <a:lnTo>
                    <a:pt x="109" y="102"/>
                  </a:lnTo>
                  <a:lnTo>
                    <a:pt x="111" y="100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6" y="102"/>
                  </a:lnTo>
                  <a:lnTo>
                    <a:pt x="116" y="99"/>
                  </a:lnTo>
                  <a:lnTo>
                    <a:pt x="116" y="97"/>
                  </a:lnTo>
                  <a:lnTo>
                    <a:pt x="114" y="94"/>
                  </a:lnTo>
                  <a:lnTo>
                    <a:pt x="113" y="93"/>
                  </a:lnTo>
                  <a:lnTo>
                    <a:pt x="111" y="93"/>
                  </a:lnTo>
                  <a:lnTo>
                    <a:pt x="108" y="94"/>
                  </a:lnTo>
                  <a:lnTo>
                    <a:pt x="102" y="93"/>
                  </a:lnTo>
                  <a:lnTo>
                    <a:pt x="100" y="91"/>
                  </a:lnTo>
                  <a:lnTo>
                    <a:pt x="99" y="93"/>
                  </a:lnTo>
                  <a:lnTo>
                    <a:pt x="97" y="93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9" y="102"/>
                  </a:lnTo>
                  <a:close/>
                  <a:moveTo>
                    <a:pt x="26" y="114"/>
                  </a:moveTo>
                  <a:lnTo>
                    <a:pt x="29" y="114"/>
                  </a:lnTo>
                  <a:lnTo>
                    <a:pt x="34" y="114"/>
                  </a:lnTo>
                  <a:lnTo>
                    <a:pt x="37" y="113"/>
                  </a:lnTo>
                  <a:lnTo>
                    <a:pt x="39" y="114"/>
                  </a:lnTo>
                  <a:lnTo>
                    <a:pt x="42" y="116"/>
                  </a:lnTo>
                  <a:lnTo>
                    <a:pt x="45" y="121"/>
                  </a:lnTo>
                  <a:lnTo>
                    <a:pt x="45" y="122"/>
                  </a:lnTo>
                  <a:lnTo>
                    <a:pt x="45" y="124"/>
                  </a:lnTo>
                  <a:lnTo>
                    <a:pt x="45" y="127"/>
                  </a:lnTo>
                  <a:lnTo>
                    <a:pt x="46" y="130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9" y="136"/>
                  </a:lnTo>
                  <a:lnTo>
                    <a:pt x="48" y="137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9" y="142"/>
                  </a:lnTo>
                  <a:lnTo>
                    <a:pt x="54" y="144"/>
                  </a:lnTo>
                  <a:lnTo>
                    <a:pt x="59" y="144"/>
                  </a:lnTo>
                  <a:lnTo>
                    <a:pt x="62" y="141"/>
                  </a:lnTo>
                  <a:lnTo>
                    <a:pt x="63" y="137"/>
                  </a:lnTo>
                  <a:lnTo>
                    <a:pt x="66" y="130"/>
                  </a:lnTo>
                  <a:lnTo>
                    <a:pt x="68" y="127"/>
                  </a:lnTo>
                  <a:lnTo>
                    <a:pt x="68" y="125"/>
                  </a:lnTo>
                  <a:lnTo>
                    <a:pt x="71" y="124"/>
                  </a:lnTo>
                  <a:lnTo>
                    <a:pt x="73" y="124"/>
                  </a:lnTo>
                  <a:lnTo>
                    <a:pt x="74" y="124"/>
                  </a:lnTo>
                  <a:lnTo>
                    <a:pt x="74" y="125"/>
                  </a:lnTo>
                  <a:lnTo>
                    <a:pt x="73" y="125"/>
                  </a:lnTo>
                  <a:lnTo>
                    <a:pt x="71" y="127"/>
                  </a:lnTo>
                  <a:lnTo>
                    <a:pt x="71" y="128"/>
                  </a:lnTo>
                  <a:lnTo>
                    <a:pt x="71" y="130"/>
                  </a:lnTo>
                  <a:lnTo>
                    <a:pt x="74" y="131"/>
                  </a:lnTo>
                  <a:lnTo>
                    <a:pt x="76" y="131"/>
                  </a:lnTo>
                  <a:lnTo>
                    <a:pt x="77" y="130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79" y="128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5"/>
                  </a:lnTo>
                  <a:lnTo>
                    <a:pt x="79" y="122"/>
                  </a:lnTo>
                  <a:lnTo>
                    <a:pt x="79" y="122"/>
                  </a:lnTo>
                  <a:lnTo>
                    <a:pt x="80" y="122"/>
                  </a:lnTo>
                  <a:lnTo>
                    <a:pt x="82" y="122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21"/>
                  </a:lnTo>
                  <a:lnTo>
                    <a:pt x="83" y="12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8" y="124"/>
                  </a:lnTo>
                  <a:lnTo>
                    <a:pt x="89" y="124"/>
                  </a:lnTo>
                  <a:lnTo>
                    <a:pt x="89" y="122"/>
                  </a:lnTo>
                  <a:lnTo>
                    <a:pt x="89" y="119"/>
                  </a:lnTo>
                  <a:lnTo>
                    <a:pt x="89" y="119"/>
                  </a:lnTo>
                  <a:lnTo>
                    <a:pt x="89" y="119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6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5" y="110"/>
                  </a:lnTo>
                  <a:lnTo>
                    <a:pt x="83" y="110"/>
                  </a:lnTo>
                  <a:lnTo>
                    <a:pt x="83" y="108"/>
                  </a:lnTo>
                  <a:lnTo>
                    <a:pt x="83" y="107"/>
                  </a:lnTo>
                  <a:lnTo>
                    <a:pt x="83" y="104"/>
                  </a:lnTo>
                  <a:lnTo>
                    <a:pt x="83" y="102"/>
                  </a:lnTo>
                  <a:lnTo>
                    <a:pt x="82" y="100"/>
                  </a:lnTo>
                  <a:lnTo>
                    <a:pt x="76" y="97"/>
                  </a:lnTo>
                  <a:lnTo>
                    <a:pt x="68" y="97"/>
                  </a:lnTo>
                  <a:lnTo>
                    <a:pt x="66" y="97"/>
                  </a:lnTo>
                  <a:lnTo>
                    <a:pt x="65" y="94"/>
                  </a:lnTo>
                  <a:lnTo>
                    <a:pt x="63" y="93"/>
                  </a:lnTo>
                  <a:lnTo>
                    <a:pt x="66" y="88"/>
                  </a:lnTo>
                  <a:lnTo>
                    <a:pt x="65" y="87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57" y="85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56" y="91"/>
                  </a:lnTo>
                  <a:lnTo>
                    <a:pt x="54" y="93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49" y="94"/>
                  </a:lnTo>
                  <a:lnTo>
                    <a:pt x="49" y="96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6" y="100"/>
                  </a:lnTo>
                  <a:lnTo>
                    <a:pt x="45" y="100"/>
                  </a:lnTo>
                  <a:lnTo>
                    <a:pt x="45" y="102"/>
                  </a:lnTo>
                  <a:lnTo>
                    <a:pt x="46" y="102"/>
                  </a:lnTo>
                  <a:lnTo>
                    <a:pt x="25" y="105"/>
                  </a:lnTo>
                  <a:lnTo>
                    <a:pt x="20" y="105"/>
                  </a:lnTo>
                  <a:lnTo>
                    <a:pt x="17" y="105"/>
                  </a:lnTo>
                  <a:lnTo>
                    <a:pt x="16" y="108"/>
                  </a:lnTo>
                  <a:lnTo>
                    <a:pt x="17" y="110"/>
                  </a:lnTo>
                  <a:lnTo>
                    <a:pt x="26" y="114"/>
                  </a:lnTo>
                  <a:close/>
                  <a:moveTo>
                    <a:pt x="200" y="19"/>
                  </a:moveTo>
                  <a:lnTo>
                    <a:pt x="202" y="19"/>
                  </a:lnTo>
                  <a:lnTo>
                    <a:pt x="202" y="17"/>
                  </a:lnTo>
                  <a:lnTo>
                    <a:pt x="200" y="14"/>
                  </a:lnTo>
                  <a:lnTo>
                    <a:pt x="200" y="11"/>
                  </a:lnTo>
                  <a:lnTo>
                    <a:pt x="199" y="11"/>
                  </a:lnTo>
                  <a:lnTo>
                    <a:pt x="197" y="14"/>
                  </a:lnTo>
                  <a:lnTo>
                    <a:pt x="197" y="17"/>
                  </a:lnTo>
                  <a:lnTo>
                    <a:pt x="200" y="19"/>
                  </a:lnTo>
                  <a:close/>
                  <a:moveTo>
                    <a:pt x="474" y="47"/>
                  </a:moveTo>
                  <a:lnTo>
                    <a:pt x="473" y="45"/>
                  </a:lnTo>
                  <a:lnTo>
                    <a:pt x="471" y="44"/>
                  </a:lnTo>
                  <a:lnTo>
                    <a:pt x="471" y="42"/>
                  </a:lnTo>
                  <a:lnTo>
                    <a:pt x="470" y="37"/>
                  </a:lnTo>
                  <a:lnTo>
                    <a:pt x="468" y="36"/>
                  </a:lnTo>
                  <a:lnTo>
                    <a:pt x="464" y="34"/>
                  </a:lnTo>
                  <a:lnTo>
                    <a:pt x="464" y="31"/>
                  </a:lnTo>
                  <a:lnTo>
                    <a:pt x="461" y="37"/>
                  </a:lnTo>
                  <a:lnTo>
                    <a:pt x="458" y="39"/>
                  </a:lnTo>
                  <a:lnTo>
                    <a:pt x="454" y="42"/>
                  </a:lnTo>
                  <a:lnTo>
                    <a:pt x="451" y="42"/>
                  </a:lnTo>
                  <a:lnTo>
                    <a:pt x="441" y="39"/>
                  </a:lnTo>
                  <a:lnTo>
                    <a:pt x="428" y="39"/>
                  </a:lnTo>
                  <a:lnTo>
                    <a:pt x="418" y="36"/>
                  </a:lnTo>
                  <a:lnTo>
                    <a:pt x="407" y="36"/>
                  </a:lnTo>
                  <a:lnTo>
                    <a:pt x="396" y="36"/>
                  </a:lnTo>
                  <a:lnTo>
                    <a:pt x="382" y="34"/>
                  </a:lnTo>
                  <a:lnTo>
                    <a:pt x="381" y="34"/>
                  </a:lnTo>
                  <a:lnTo>
                    <a:pt x="377" y="33"/>
                  </a:lnTo>
                  <a:lnTo>
                    <a:pt x="374" y="31"/>
                  </a:lnTo>
                  <a:lnTo>
                    <a:pt x="371" y="27"/>
                  </a:lnTo>
                  <a:lnTo>
                    <a:pt x="368" y="24"/>
                  </a:lnTo>
                  <a:lnTo>
                    <a:pt x="365" y="20"/>
                  </a:lnTo>
                  <a:lnTo>
                    <a:pt x="362" y="19"/>
                  </a:lnTo>
                  <a:lnTo>
                    <a:pt x="359" y="19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3" y="20"/>
                  </a:lnTo>
                  <a:lnTo>
                    <a:pt x="351" y="20"/>
                  </a:lnTo>
                  <a:lnTo>
                    <a:pt x="350" y="20"/>
                  </a:lnTo>
                  <a:lnTo>
                    <a:pt x="347" y="20"/>
                  </a:lnTo>
                  <a:lnTo>
                    <a:pt x="342" y="17"/>
                  </a:lnTo>
                  <a:lnTo>
                    <a:pt x="339" y="16"/>
                  </a:lnTo>
                  <a:lnTo>
                    <a:pt x="336" y="14"/>
                  </a:lnTo>
                  <a:lnTo>
                    <a:pt x="334" y="14"/>
                  </a:lnTo>
                  <a:lnTo>
                    <a:pt x="320" y="14"/>
                  </a:lnTo>
                  <a:lnTo>
                    <a:pt x="319" y="14"/>
                  </a:lnTo>
                  <a:lnTo>
                    <a:pt x="319" y="13"/>
                  </a:lnTo>
                  <a:lnTo>
                    <a:pt x="319" y="11"/>
                  </a:lnTo>
                  <a:lnTo>
                    <a:pt x="319" y="11"/>
                  </a:lnTo>
                  <a:lnTo>
                    <a:pt x="316" y="8"/>
                  </a:lnTo>
                  <a:lnTo>
                    <a:pt x="313" y="7"/>
                  </a:lnTo>
                  <a:lnTo>
                    <a:pt x="313" y="7"/>
                  </a:lnTo>
                  <a:lnTo>
                    <a:pt x="311" y="7"/>
                  </a:lnTo>
                  <a:lnTo>
                    <a:pt x="310" y="8"/>
                  </a:lnTo>
                  <a:lnTo>
                    <a:pt x="310" y="10"/>
                  </a:lnTo>
                  <a:lnTo>
                    <a:pt x="311" y="11"/>
                  </a:lnTo>
                  <a:lnTo>
                    <a:pt x="310" y="11"/>
                  </a:lnTo>
                  <a:lnTo>
                    <a:pt x="308" y="13"/>
                  </a:lnTo>
                  <a:lnTo>
                    <a:pt x="308" y="11"/>
                  </a:lnTo>
                  <a:lnTo>
                    <a:pt x="307" y="8"/>
                  </a:lnTo>
                  <a:lnTo>
                    <a:pt x="305" y="7"/>
                  </a:lnTo>
                  <a:lnTo>
                    <a:pt x="304" y="10"/>
                  </a:lnTo>
                  <a:lnTo>
                    <a:pt x="304" y="11"/>
                  </a:lnTo>
                  <a:lnTo>
                    <a:pt x="302" y="13"/>
                  </a:lnTo>
                  <a:lnTo>
                    <a:pt x="302" y="14"/>
                  </a:lnTo>
                  <a:lnTo>
                    <a:pt x="300" y="14"/>
                  </a:lnTo>
                  <a:lnTo>
                    <a:pt x="300" y="14"/>
                  </a:lnTo>
                  <a:lnTo>
                    <a:pt x="299" y="14"/>
                  </a:lnTo>
                  <a:lnTo>
                    <a:pt x="297" y="13"/>
                  </a:lnTo>
                  <a:lnTo>
                    <a:pt x="297" y="10"/>
                  </a:lnTo>
                  <a:lnTo>
                    <a:pt x="296" y="7"/>
                  </a:lnTo>
                  <a:lnTo>
                    <a:pt x="297" y="7"/>
                  </a:lnTo>
                  <a:lnTo>
                    <a:pt x="293" y="2"/>
                  </a:lnTo>
                  <a:lnTo>
                    <a:pt x="291" y="0"/>
                  </a:lnTo>
                  <a:lnTo>
                    <a:pt x="288" y="3"/>
                  </a:lnTo>
                  <a:lnTo>
                    <a:pt x="290" y="3"/>
                  </a:lnTo>
                  <a:lnTo>
                    <a:pt x="290" y="3"/>
                  </a:lnTo>
                  <a:lnTo>
                    <a:pt x="290" y="3"/>
                  </a:lnTo>
                  <a:lnTo>
                    <a:pt x="290" y="7"/>
                  </a:lnTo>
                  <a:lnTo>
                    <a:pt x="290" y="8"/>
                  </a:lnTo>
                  <a:lnTo>
                    <a:pt x="291" y="11"/>
                  </a:lnTo>
                  <a:lnTo>
                    <a:pt x="293" y="13"/>
                  </a:lnTo>
                  <a:lnTo>
                    <a:pt x="291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5" y="14"/>
                  </a:lnTo>
                  <a:lnTo>
                    <a:pt x="282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79" y="7"/>
                  </a:lnTo>
                  <a:lnTo>
                    <a:pt x="276" y="2"/>
                  </a:lnTo>
                  <a:lnTo>
                    <a:pt x="274" y="0"/>
                  </a:lnTo>
                  <a:lnTo>
                    <a:pt x="274" y="3"/>
                  </a:lnTo>
                  <a:lnTo>
                    <a:pt x="274" y="10"/>
                  </a:lnTo>
                  <a:lnTo>
                    <a:pt x="276" y="16"/>
                  </a:lnTo>
                  <a:lnTo>
                    <a:pt x="277" y="17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77" y="20"/>
                  </a:lnTo>
                  <a:lnTo>
                    <a:pt x="271" y="20"/>
                  </a:lnTo>
                  <a:lnTo>
                    <a:pt x="270" y="22"/>
                  </a:lnTo>
                  <a:lnTo>
                    <a:pt x="268" y="24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53" y="22"/>
                  </a:lnTo>
                  <a:lnTo>
                    <a:pt x="250" y="19"/>
                  </a:lnTo>
                  <a:lnTo>
                    <a:pt x="248" y="19"/>
                  </a:lnTo>
                  <a:lnTo>
                    <a:pt x="247" y="20"/>
                  </a:lnTo>
                  <a:lnTo>
                    <a:pt x="247" y="25"/>
                  </a:lnTo>
                  <a:lnTo>
                    <a:pt x="245" y="25"/>
                  </a:lnTo>
                  <a:lnTo>
                    <a:pt x="243" y="25"/>
                  </a:lnTo>
                  <a:lnTo>
                    <a:pt x="240" y="22"/>
                  </a:lnTo>
                  <a:lnTo>
                    <a:pt x="239" y="22"/>
                  </a:lnTo>
                  <a:lnTo>
                    <a:pt x="233" y="24"/>
                  </a:lnTo>
                  <a:lnTo>
                    <a:pt x="231" y="24"/>
                  </a:lnTo>
                  <a:lnTo>
                    <a:pt x="227" y="17"/>
                  </a:lnTo>
                  <a:lnTo>
                    <a:pt x="223" y="14"/>
                  </a:lnTo>
                  <a:lnTo>
                    <a:pt x="222" y="16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2" y="19"/>
                  </a:lnTo>
                  <a:lnTo>
                    <a:pt x="222" y="20"/>
                  </a:lnTo>
                  <a:lnTo>
                    <a:pt x="222" y="22"/>
                  </a:lnTo>
                  <a:lnTo>
                    <a:pt x="223" y="22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2" y="31"/>
                  </a:lnTo>
                  <a:lnTo>
                    <a:pt x="222" y="31"/>
                  </a:lnTo>
                  <a:lnTo>
                    <a:pt x="222" y="31"/>
                  </a:lnTo>
                  <a:lnTo>
                    <a:pt x="219" y="33"/>
                  </a:lnTo>
                  <a:lnTo>
                    <a:pt x="217" y="31"/>
                  </a:lnTo>
                  <a:lnTo>
                    <a:pt x="217" y="28"/>
                  </a:lnTo>
                  <a:lnTo>
                    <a:pt x="216" y="25"/>
                  </a:lnTo>
                  <a:lnTo>
                    <a:pt x="214" y="25"/>
                  </a:lnTo>
                  <a:lnTo>
                    <a:pt x="214" y="25"/>
                  </a:lnTo>
                  <a:lnTo>
                    <a:pt x="213" y="25"/>
                  </a:lnTo>
                  <a:lnTo>
                    <a:pt x="213" y="27"/>
                  </a:lnTo>
                  <a:lnTo>
                    <a:pt x="213" y="28"/>
                  </a:lnTo>
                  <a:lnTo>
                    <a:pt x="213" y="28"/>
                  </a:lnTo>
                  <a:lnTo>
                    <a:pt x="210" y="28"/>
                  </a:lnTo>
                  <a:lnTo>
                    <a:pt x="210" y="30"/>
                  </a:lnTo>
                  <a:lnTo>
                    <a:pt x="211" y="30"/>
                  </a:lnTo>
                  <a:lnTo>
                    <a:pt x="213" y="31"/>
                  </a:lnTo>
                  <a:lnTo>
                    <a:pt x="213" y="33"/>
                  </a:lnTo>
                  <a:lnTo>
                    <a:pt x="211" y="34"/>
                  </a:lnTo>
                  <a:lnTo>
                    <a:pt x="210" y="33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3" y="31"/>
                  </a:lnTo>
                  <a:lnTo>
                    <a:pt x="202" y="31"/>
                  </a:lnTo>
                  <a:lnTo>
                    <a:pt x="200" y="33"/>
                  </a:lnTo>
                  <a:lnTo>
                    <a:pt x="199" y="31"/>
                  </a:lnTo>
                  <a:lnTo>
                    <a:pt x="197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188" y="28"/>
                  </a:lnTo>
                  <a:lnTo>
                    <a:pt x="188" y="30"/>
                  </a:lnTo>
                  <a:lnTo>
                    <a:pt x="188" y="34"/>
                  </a:lnTo>
                  <a:lnTo>
                    <a:pt x="186" y="36"/>
                  </a:lnTo>
                  <a:lnTo>
                    <a:pt x="183" y="37"/>
                  </a:lnTo>
                  <a:lnTo>
                    <a:pt x="177" y="37"/>
                  </a:lnTo>
                  <a:lnTo>
                    <a:pt x="176" y="37"/>
                  </a:lnTo>
                  <a:lnTo>
                    <a:pt x="177" y="39"/>
                  </a:lnTo>
                  <a:lnTo>
                    <a:pt x="179" y="42"/>
                  </a:lnTo>
                  <a:lnTo>
                    <a:pt x="180" y="45"/>
                  </a:lnTo>
                  <a:lnTo>
                    <a:pt x="177" y="47"/>
                  </a:lnTo>
                  <a:lnTo>
                    <a:pt x="176" y="45"/>
                  </a:lnTo>
                  <a:lnTo>
                    <a:pt x="171" y="40"/>
                  </a:lnTo>
                  <a:lnTo>
                    <a:pt x="170" y="39"/>
                  </a:lnTo>
                  <a:lnTo>
                    <a:pt x="168" y="39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5" y="44"/>
                  </a:lnTo>
                  <a:lnTo>
                    <a:pt x="170" y="51"/>
                  </a:lnTo>
                  <a:lnTo>
                    <a:pt x="171" y="53"/>
                  </a:lnTo>
                  <a:lnTo>
                    <a:pt x="170" y="57"/>
                  </a:lnTo>
                  <a:lnTo>
                    <a:pt x="166" y="54"/>
                  </a:lnTo>
                  <a:lnTo>
                    <a:pt x="162" y="54"/>
                  </a:lnTo>
                  <a:lnTo>
                    <a:pt x="159" y="56"/>
                  </a:lnTo>
                  <a:lnTo>
                    <a:pt x="156" y="56"/>
                  </a:lnTo>
                  <a:lnTo>
                    <a:pt x="151" y="54"/>
                  </a:lnTo>
                  <a:lnTo>
                    <a:pt x="145" y="54"/>
                  </a:lnTo>
                  <a:lnTo>
                    <a:pt x="143" y="56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9"/>
                  </a:lnTo>
                  <a:lnTo>
                    <a:pt x="143" y="60"/>
                  </a:lnTo>
                  <a:lnTo>
                    <a:pt x="143" y="62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39" y="59"/>
                  </a:lnTo>
                  <a:lnTo>
                    <a:pt x="137" y="59"/>
                  </a:lnTo>
                  <a:lnTo>
                    <a:pt x="136" y="59"/>
                  </a:lnTo>
                  <a:lnTo>
                    <a:pt x="134" y="60"/>
                  </a:lnTo>
                  <a:lnTo>
                    <a:pt x="133" y="62"/>
                  </a:lnTo>
                  <a:lnTo>
                    <a:pt x="131" y="62"/>
                  </a:lnTo>
                  <a:lnTo>
                    <a:pt x="131" y="64"/>
                  </a:lnTo>
                  <a:lnTo>
                    <a:pt x="129" y="64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3" y="65"/>
                  </a:lnTo>
                  <a:lnTo>
                    <a:pt x="125" y="70"/>
                  </a:lnTo>
                  <a:lnTo>
                    <a:pt x="126" y="77"/>
                  </a:lnTo>
                  <a:lnTo>
                    <a:pt x="126" y="85"/>
                  </a:lnTo>
                  <a:lnTo>
                    <a:pt x="125" y="84"/>
                  </a:lnTo>
                  <a:lnTo>
                    <a:pt x="125" y="82"/>
                  </a:lnTo>
                  <a:lnTo>
                    <a:pt x="123" y="84"/>
                  </a:lnTo>
                  <a:lnTo>
                    <a:pt x="120" y="87"/>
                  </a:lnTo>
                  <a:lnTo>
                    <a:pt x="120" y="90"/>
                  </a:lnTo>
                  <a:lnTo>
                    <a:pt x="120" y="91"/>
                  </a:lnTo>
                  <a:lnTo>
                    <a:pt x="120" y="91"/>
                  </a:lnTo>
                  <a:lnTo>
                    <a:pt x="119" y="91"/>
                  </a:lnTo>
                  <a:lnTo>
                    <a:pt x="119" y="91"/>
                  </a:lnTo>
                  <a:lnTo>
                    <a:pt x="120" y="94"/>
                  </a:lnTo>
                  <a:lnTo>
                    <a:pt x="122" y="96"/>
                  </a:lnTo>
                  <a:lnTo>
                    <a:pt x="126" y="97"/>
                  </a:lnTo>
                  <a:lnTo>
                    <a:pt x="128" y="97"/>
                  </a:lnTo>
                  <a:lnTo>
                    <a:pt x="128" y="99"/>
                  </a:lnTo>
                  <a:lnTo>
                    <a:pt x="128" y="100"/>
                  </a:lnTo>
                  <a:lnTo>
                    <a:pt x="129" y="99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31" y="94"/>
                  </a:lnTo>
                  <a:lnTo>
                    <a:pt x="131" y="94"/>
                  </a:lnTo>
                  <a:lnTo>
                    <a:pt x="133" y="94"/>
                  </a:lnTo>
                  <a:lnTo>
                    <a:pt x="134" y="94"/>
                  </a:lnTo>
                  <a:lnTo>
                    <a:pt x="133" y="91"/>
                  </a:lnTo>
                  <a:lnTo>
                    <a:pt x="131" y="90"/>
                  </a:lnTo>
                  <a:lnTo>
                    <a:pt x="129" y="88"/>
                  </a:lnTo>
                  <a:lnTo>
                    <a:pt x="131" y="90"/>
                  </a:lnTo>
                  <a:lnTo>
                    <a:pt x="133" y="91"/>
                  </a:lnTo>
                  <a:lnTo>
                    <a:pt x="134" y="93"/>
                  </a:lnTo>
                  <a:lnTo>
                    <a:pt x="134" y="97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4" y="100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28" y="102"/>
                  </a:lnTo>
                  <a:lnTo>
                    <a:pt x="126" y="104"/>
                  </a:lnTo>
                  <a:lnTo>
                    <a:pt x="120" y="104"/>
                  </a:lnTo>
                  <a:lnTo>
                    <a:pt x="119" y="105"/>
                  </a:lnTo>
                  <a:lnTo>
                    <a:pt x="119" y="108"/>
                  </a:lnTo>
                  <a:lnTo>
                    <a:pt x="122" y="113"/>
                  </a:lnTo>
                  <a:lnTo>
                    <a:pt x="122" y="114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3" y="122"/>
                  </a:lnTo>
                  <a:lnTo>
                    <a:pt x="122" y="124"/>
                  </a:lnTo>
                  <a:lnTo>
                    <a:pt x="119" y="130"/>
                  </a:lnTo>
                  <a:lnTo>
                    <a:pt x="123" y="127"/>
                  </a:lnTo>
                  <a:lnTo>
                    <a:pt x="125" y="127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7"/>
                  </a:lnTo>
                  <a:lnTo>
                    <a:pt x="129" y="127"/>
                  </a:lnTo>
                  <a:lnTo>
                    <a:pt x="131" y="125"/>
                  </a:lnTo>
                  <a:lnTo>
                    <a:pt x="133" y="125"/>
                  </a:lnTo>
                  <a:lnTo>
                    <a:pt x="137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3" y="127"/>
                  </a:lnTo>
                  <a:lnTo>
                    <a:pt x="146" y="125"/>
                  </a:lnTo>
                  <a:lnTo>
                    <a:pt x="148" y="125"/>
                  </a:lnTo>
                  <a:lnTo>
                    <a:pt x="151" y="127"/>
                  </a:lnTo>
                  <a:lnTo>
                    <a:pt x="153" y="128"/>
                  </a:lnTo>
                  <a:lnTo>
                    <a:pt x="151" y="128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6" y="128"/>
                  </a:lnTo>
                  <a:lnTo>
                    <a:pt x="145" y="130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33"/>
                  </a:lnTo>
                  <a:lnTo>
                    <a:pt x="148" y="134"/>
                  </a:lnTo>
                  <a:lnTo>
                    <a:pt x="146" y="134"/>
                  </a:lnTo>
                  <a:lnTo>
                    <a:pt x="145" y="134"/>
                  </a:lnTo>
                  <a:lnTo>
                    <a:pt x="143" y="134"/>
                  </a:lnTo>
                  <a:lnTo>
                    <a:pt x="140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4" y="133"/>
                  </a:lnTo>
                  <a:lnTo>
                    <a:pt x="131" y="133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6"/>
                  </a:lnTo>
                  <a:lnTo>
                    <a:pt x="128" y="136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9"/>
                  </a:lnTo>
                  <a:lnTo>
                    <a:pt x="123" y="142"/>
                  </a:lnTo>
                  <a:lnTo>
                    <a:pt x="125" y="147"/>
                  </a:lnTo>
                  <a:lnTo>
                    <a:pt x="125" y="150"/>
                  </a:lnTo>
                  <a:lnTo>
                    <a:pt x="125" y="153"/>
                  </a:lnTo>
                  <a:lnTo>
                    <a:pt x="125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5" y="157"/>
                  </a:lnTo>
                  <a:lnTo>
                    <a:pt x="125" y="159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9" y="156"/>
                  </a:lnTo>
                  <a:lnTo>
                    <a:pt x="129" y="157"/>
                  </a:lnTo>
                  <a:lnTo>
                    <a:pt x="129" y="159"/>
                  </a:lnTo>
                  <a:lnTo>
                    <a:pt x="131" y="161"/>
                  </a:lnTo>
                  <a:lnTo>
                    <a:pt x="131" y="162"/>
                  </a:lnTo>
                  <a:lnTo>
                    <a:pt x="133" y="164"/>
                  </a:lnTo>
                  <a:lnTo>
                    <a:pt x="134" y="164"/>
                  </a:lnTo>
                  <a:lnTo>
                    <a:pt x="136" y="162"/>
                  </a:lnTo>
                  <a:lnTo>
                    <a:pt x="137" y="164"/>
                  </a:lnTo>
                  <a:lnTo>
                    <a:pt x="137" y="167"/>
                  </a:lnTo>
                  <a:lnTo>
                    <a:pt x="137" y="171"/>
                  </a:lnTo>
                  <a:lnTo>
                    <a:pt x="137" y="174"/>
                  </a:lnTo>
                  <a:lnTo>
                    <a:pt x="137" y="176"/>
                  </a:lnTo>
                  <a:lnTo>
                    <a:pt x="137" y="177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40" y="182"/>
                  </a:lnTo>
                  <a:lnTo>
                    <a:pt x="140" y="184"/>
                  </a:lnTo>
                  <a:lnTo>
                    <a:pt x="140" y="185"/>
                  </a:lnTo>
                  <a:lnTo>
                    <a:pt x="140" y="187"/>
                  </a:lnTo>
                  <a:lnTo>
                    <a:pt x="140" y="188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3" y="190"/>
                  </a:lnTo>
                  <a:lnTo>
                    <a:pt x="143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6" y="190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50" y="190"/>
                  </a:lnTo>
                  <a:lnTo>
                    <a:pt x="150" y="190"/>
                  </a:lnTo>
                  <a:lnTo>
                    <a:pt x="151" y="191"/>
                  </a:lnTo>
                  <a:lnTo>
                    <a:pt x="154" y="191"/>
                  </a:lnTo>
                  <a:lnTo>
                    <a:pt x="159" y="193"/>
                  </a:lnTo>
                  <a:lnTo>
                    <a:pt x="162" y="196"/>
                  </a:lnTo>
                  <a:lnTo>
                    <a:pt x="165" y="199"/>
                  </a:lnTo>
                  <a:lnTo>
                    <a:pt x="166" y="204"/>
                  </a:lnTo>
                  <a:lnTo>
                    <a:pt x="168" y="204"/>
                  </a:lnTo>
                  <a:lnTo>
                    <a:pt x="168" y="205"/>
                  </a:lnTo>
                  <a:lnTo>
                    <a:pt x="170" y="204"/>
                  </a:lnTo>
                  <a:lnTo>
                    <a:pt x="171" y="201"/>
                  </a:lnTo>
                  <a:lnTo>
                    <a:pt x="173" y="199"/>
                  </a:lnTo>
                  <a:lnTo>
                    <a:pt x="174" y="199"/>
                  </a:lnTo>
                  <a:lnTo>
                    <a:pt x="176" y="201"/>
                  </a:lnTo>
                  <a:lnTo>
                    <a:pt x="177" y="201"/>
                  </a:lnTo>
                  <a:lnTo>
                    <a:pt x="179" y="199"/>
                  </a:lnTo>
                  <a:lnTo>
                    <a:pt x="180" y="198"/>
                  </a:lnTo>
                  <a:lnTo>
                    <a:pt x="182" y="194"/>
                  </a:lnTo>
                  <a:lnTo>
                    <a:pt x="182" y="193"/>
                  </a:lnTo>
                  <a:lnTo>
                    <a:pt x="182" y="190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5" y="185"/>
                  </a:lnTo>
                  <a:lnTo>
                    <a:pt x="185" y="184"/>
                  </a:lnTo>
                  <a:lnTo>
                    <a:pt x="188" y="182"/>
                  </a:lnTo>
                  <a:lnTo>
                    <a:pt x="191" y="184"/>
                  </a:lnTo>
                  <a:lnTo>
                    <a:pt x="194" y="185"/>
                  </a:lnTo>
                  <a:lnTo>
                    <a:pt x="200" y="190"/>
                  </a:lnTo>
                  <a:lnTo>
                    <a:pt x="202" y="191"/>
                  </a:lnTo>
                  <a:lnTo>
                    <a:pt x="202" y="194"/>
                  </a:lnTo>
                  <a:lnTo>
                    <a:pt x="202" y="198"/>
                  </a:lnTo>
                  <a:lnTo>
                    <a:pt x="199" y="201"/>
                  </a:lnTo>
                  <a:lnTo>
                    <a:pt x="197" y="202"/>
                  </a:lnTo>
                  <a:lnTo>
                    <a:pt x="196" y="204"/>
                  </a:lnTo>
                  <a:lnTo>
                    <a:pt x="196" y="205"/>
                  </a:lnTo>
                  <a:lnTo>
                    <a:pt x="196" y="207"/>
                  </a:lnTo>
                  <a:lnTo>
                    <a:pt x="196" y="208"/>
                  </a:lnTo>
                  <a:lnTo>
                    <a:pt x="194" y="211"/>
                  </a:lnTo>
                  <a:lnTo>
                    <a:pt x="194" y="213"/>
                  </a:lnTo>
                  <a:lnTo>
                    <a:pt x="194" y="214"/>
                  </a:lnTo>
                  <a:lnTo>
                    <a:pt x="196" y="216"/>
                  </a:lnTo>
                  <a:lnTo>
                    <a:pt x="196" y="218"/>
                  </a:lnTo>
                  <a:lnTo>
                    <a:pt x="196" y="219"/>
                  </a:lnTo>
                  <a:lnTo>
                    <a:pt x="194" y="222"/>
                  </a:lnTo>
                  <a:lnTo>
                    <a:pt x="194" y="228"/>
                  </a:lnTo>
                  <a:lnTo>
                    <a:pt x="193" y="231"/>
                  </a:lnTo>
                  <a:lnTo>
                    <a:pt x="190" y="236"/>
                  </a:lnTo>
                  <a:lnTo>
                    <a:pt x="188" y="241"/>
                  </a:lnTo>
                  <a:lnTo>
                    <a:pt x="185" y="250"/>
                  </a:lnTo>
                  <a:lnTo>
                    <a:pt x="183" y="251"/>
                  </a:lnTo>
                  <a:lnTo>
                    <a:pt x="183" y="253"/>
                  </a:lnTo>
                  <a:lnTo>
                    <a:pt x="183" y="254"/>
                  </a:lnTo>
                  <a:lnTo>
                    <a:pt x="183" y="256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5" y="259"/>
                  </a:lnTo>
                  <a:lnTo>
                    <a:pt x="188" y="259"/>
                  </a:lnTo>
                  <a:lnTo>
                    <a:pt x="190" y="258"/>
                  </a:lnTo>
                  <a:lnTo>
                    <a:pt x="190" y="256"/>
                  </a:lnTo>
                  <a:lnTo>
                    <a:pt x="191" y="253"/>
                  </a:lnTo>
                  <a:lnTo>
                    <a:pt x="193" y="251"/>
                  </a:lnTo>
                  <a:lnTo>
                    <a:pt x="196" y="250"/>
                  </a:lnTo>
                  <a:lnTo>
                    <a:pt x="199" y="247"/>
                  </a:lnTo>
                  <a:lnTo>
                    <a:pt x="200" y="247"/>
                  </a:lnTo>
                  <a:lnTo>
                    <a:pt x="207" y="247"/>
                  </a:lnTo>
                  <a:lnTo>
                    <a:pt x="211" y="247"/>
                  </a:lnTo>
                  <a:lnTo>
                    <a:pt x="211" y="245"/>
                  </a:lnTo>
                  <a:lnTo>
                    <a:pt x="213" y="242"/>
                  </a:lnTo>
                  <a:lnTo>
                    <a:pt x="214" y="241"/>
                  </a:lnTo>
                  <a:lnTo>
                    <a:pt x="217" y="241"/>
                  </a:lnTo>
                  <a:lnTo>
                    <a:pt x="219" y="242"/>
                  </a:lnTo>
                  <a:lnTo>
                    <a:pt x="220" y="242"/>
                  </a:lnTo>
                  <a:lnTo>
                    <a:pt x="222" y="242"/>
                  </a:lnTo>
                  <a:lnTo>
                    <a:pt x="223" y="241"/>
                  </a:lnTo>
                  <a:lnTo>
                    <a:pt x="225" y="239"/>
                  </a:lnTo>
                  <a:lnTo>
                    <a:pt x="231" y="239"/>
                  </a:lnTo>
                  <a:lnTo>
                    <a:pt x="233" y="238"/>
                  </a:lnTo>
                  <a:lnTo>
                    <a:pt x="237" y="233"/>
                  </a:lnTo>
                  <a:lnTo>
                    <a:pt x="237" y="231"/>
                  </a:lnTo>
                  <a:lnTo>
                    <a:pt x="240" y="231"/>
                  </a:lnTo>
                  <a:lnTo>
                    <a:pt x="242" y="230"/>
                  </a:lnTo>
                  <a:lnTo>
                    <a:pt x="245" y="230"/>
                  </a:lnTo>
                  <a:lnTo>
                    <a:pt x="247" y="231"/>
                  </a:lnTo>
                  <a:lnTo>
                    <a:pt x="248" y="234"/>
                  </a:lnTo>
                  <a:lnTo>
                    <a:pt x="248" y="238"/>
                  </a:lnTo>
                  <a:lnTo>
                    <a:pt x="250" y="241"/>
                  </a:lnTo>
                  <a:lnTo>
                    <a:pt x="250" y="242"/>
                  </a:lnTo>
                  <a:lnTo>
                    <a:pt x="251" y="242"/>
                  </a:lnTo>
                  <a:lnTo>
                    <a:pt x="254" y="241"/>
                  </a:lnTo>
                  <a:lnTo>
                    <a:pt x="256" y="239"/>
                  </a:lnTo>
                  <a:lnTo>
                    <a:pt x="254" y="236"/>
                  </a:lnTo>
                  <a:lnTo>
                    <a:pt x="253" y="233"/>
                  </a:lnTo>
                  <a:lnTo>
                    <a:pt x="253" y="230"/>
                  </a:lnTo>
                  <a:lnTo>
                    <a:pt x="254" y="230"/>
                  </a:lnTo>
                  <a:lnTo>
                    <a:pt x="256" y="230"/>
                  </a:lnTo>
                  <a:lnTo>
                    <a:pt x="257" y="231"/>
                  </a:lnTo>
                  <a:lnTo>
                    <a:pt x="257" y="231"/>
                  </a:lnTo>
                  <a:lnTo>
                    <a:pt x="257" y="234"/>
                  </a:lnTo>
                  <a:lnTo>
                    <a:pt x="259" y="234"/>
                  </a:lnTo>
                  <a:lnTo>
                    <a:pt x="259" y="236"/>
                  </a:lnTo>
                  <a:lnTo>
                    <a:pt x="259" y="236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63" y="238"/>
                  </a:lnTo>
                  <a:lnTo>
                    <a:pt x="268" y="242"/>
                  </a:lnTo>
                  <a:lnTo>
                    <a:pt x="271" y="244"/>
                  </a:lnTo>
                  <a:lnTo>
                    <a:pt x="274" y="245"/>
                  </a:lnTo>
                  <a:lnTo>
                    <a:pt x="274" y="245"/>
                  </a:lnTo>
                  <a:lnTo>
                    <a:pt x="276" y="247"/>
                  </a:lnTo>
                  <a:lnTo>
                    <a:pt x="276" y="247"/>
                  </a:lnTo>
                  <a:lnTo>
                    <a:pt x="276" y="248"/>
                  </a:lnTo>
                  <a:lnTo>
                    <a:pt x="276" y="248"/>
                  </a:lnTo>
                  <a:lnTo>
                    <a:pt x="276" y="250"/>
                  </a:lnTo>
                  <a:lnTo>
                    <a:pt x="277" y="251"/>
                  </a:lnTo>
                  <a:lnTo>
                    <a:pt x="279" y="253"/>
                  </a:lnTo>
                  <a:lnTo>
                    <a:pt x="280" y="253"/>
                  </a:lnTo>
                  <a:lnTo>
                    <a:pt x="282" y="253"/>
                  </a:lnTo>
                  <a:lnTo>
                    <a:pt x="287" y="251"/>
                  </a:lnTo>
                  <a:lnTo>
                    <a:pt x="287" y="251"/>
                  </a:lnTo>
                  <a:lnTo>
                    <a:pt x="288" y="251"/>
                  </a:lnTo>
                  <a:lnTo>
                    <a:pt x="290" y="253"/>
                  </a:lnTo>
                  <a:lnTo>
                    <a:pt x="290" y="256"/>
                  </a:lnTo>
                  <a:lnTo>
                    <a:pt x="291" y="259"/>
                  </a:lnTo>
                  <a:lnTo>
                    <a:pt x="293" y="261"/>
                  </a:lnTo>
                  <a:lnTo>
                    <a:pt x="308" y="262"/>
                  </a:lnTo>
                  <a:lnTo>
                    <a:pt x="310" y="264"/>
                  </a:lnTo>
                  <a:lnTo>
                    <a:pt x="310" y="264"/>
                  </a:lnTo>
                  <a:lnTo>
                    <a:pt x="310" y="265"/>
                  </a:lnTo>
                  <a:lnTo>
                    <a:pt x="310" y="265"/>
                  </a:lnTo>
                  <a:lnTo>
                    <a:pt x="310" y="267"/>
                  </a:lnTo>
                  <a:lnTo>
                    <a:pt x="310" y="268"/>
                  </a:lnTo>
                  <a:lnTo>
                    <a:pt x="310" y="271"/>
                  </a:lnTo>
                  <a:lnTo>
                    <a:pt x="310" y="273"/>
                  </a:lnTo>
                  <a:lnTo>
                    <a:pt x="317" y="279"/>
                  </a:lnTo>
                  <a:lnTo>
                    <a:pt x="320" y="282"/>
                  </a:lnTo>
                  <a:lnTo>
                    <a:pt x="327" y="295"/>
                  </a:lnTo>
                  <a:lnTo>
                    <a:pt x="330" y="298"/>
                  </a:lnTo>
                  <a:lnTo>
                    <a:pt x="333" y="299"/>
                  </a:lnTo>
                  <a:lnTo>
                    <a:pt x="334" y="301"/>
                  </a:lnTo>
                  <a:lnTo>
                    <a:pt x="339" y="302"/>
                  </a:lnTo>
                  <a:lnTo>
                    <a:pt x="339" y="302"/>
                  </a:lnTo>
                  <a:lnTo>
                    <a:pt x="341" y="304"/>
                  </a:lnTo>
                  <a:lnTo>
                    <a:pt x="344" y="307"/>
                  </a:lnTo>
                  <a:lnTo>
                    <a:pt x="345" y="308"/>
                  </a:lnTo>
                  <a:lnTo>
                    <a:pt x="345" y="308"/>
                  </a:lnTo>
                  <a:lnTo>
                    <a:pt x="347" y="308"/>
                  </a:lnTo>
                  <a:lnTo>
                    <a:pt x="348" y="307"/>
                  </a:lnTo>
                  <a:lnTo>
                    <a:pt x="348" y="308"/>
                  </a:lnTo>
                  <a:lnTo>
                    <a:pt x="350" y="308"/>
                  </a:lnTo>
                  <a:lnTo>
                    <a:pt x="351" y="308"/>
                  </a:lnTo>
                  <a:lnTo>
                    <a:pt x="351" y="308"/>
                  </a:lnTo>
                  <a:lnTo>
                    <a:pt x="351" y="308"/>
                  </a:lnTo>
                  <a:lnTo>
                    <a:pt x="351" y="307"/>
                  </a:lnTo>
                  <a:lnTo>
                    <a:pt x="353" y="305"/>
                  </a:lnTo>
                  <a:lnTo>
                    <a:pt x="354" y="304"/>
                  </a:lnTo>
                  <a:lnTo>
                    <a:pt x="357" y="302"/>
                  </a:lnTo>
                  <a:lnTo>
                    <a:pt x="359" y="302"/>
                  </a:lnTo>
                  <a:lnTo>
                    <a:pt x="365" y="302"/>
                  </a:lnTo>
                  <a:lnTo>
                    <a:pt x="367" y="302"/>
                  </a:lnTo>
                  <a:lnTo>
                    <a:pt x="368" y="301"/>
                  </a:lnTo>
                  <a:lnTo>
                    <a:pt x="370" y="299"/>
                  </a:lnTo>
                  <a:lnTo>
                    <a:pt x="370" y="296"/>
                  </a:lnTo>
                  <a:lnTo>
                    <a:pt x="371" y="295"/>
                  </a:lnTo>
                  <a:lnTo>
                    <a:pt x="373" y="295"/>
                  </a:lnTo>
                  <a:lnTo>
                    <a:pt x="373" y="295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7" y="296"/>
                  </a:lnTo>
                  <a:lnTo>
                    <a:pt x="377" y="296"/>
                  </a:lnTo>
                  <a:lnTo>
                    <a:pt x="381" y="298"/>
                  </a:lnTo>
                  <a:lnTo>
                    <a:pt x="382" y="298"/>
                  </a:lnTo>
                  <a:lnTo>
                    <a:pt x="385" y="302"/>
                  </a:lnTo>
                  <a:lnTo>
                    <a:pt x="387" y="304"/>
                  </a:lnTo>
                  <a:lnTo>
                    <a:pt x="388" y="305"/>
                  </a:lnTo>
                  <a:lnTo>
                    <a:pt x="394" y="305"/>
                  </a:lnTo>
                  <a:lnTo>
                    <a:pt x="405" y="310"/>
                  </a:lnTo>
                  <a:lnTo>
                    <a:pt x="408" y="308"/>
                  </a:lnTo>
                  <a:lnTo>
                    <a:pt x="408" y="307"/>
                  </a:lnTo>
                  <a:lnTo>
                    <a:pt x="407" y="305"/>
                  </a:lnTo>
                  <a:lnTo>
                    <a:pt x="407" y="302"/>
                  </a:lnTo>
                  <a:lnTo>
                    <a:pt x="407" y="301"/>
                  </a:lnTo>
                  <a:lnTo>
                    <a:pt x="407" y="299"/>
                  </a:lnTo>
                  <a:lnTo>
                    <a:pt x="408" y="299"/>
                  </a:lnTo>
                  <a:lnTo>
                    <a:pt x="408" y="299"/>
                  </a:lnTo>
                  <a:lnTo>
                    <a:pt x="410" y="299"/>
                  </a:lnTo>
                  <a:lnTo>
                    <a:pt x="410" y="298"/>
                  </a:lnTo>
                  <a:lnTo>
                    <a:pt x="411" y="298"/>
                  </a:lnTo>
                  <a:lnTo>
                    <a:pt x="411" y="295"/>
                  </a:lnTo>
                  <a:lnTo>
                    <a:pt x="411" y="295"/>
                  </a:lnTo>
                  <a:lnTo>
                    <a:pt x="411" y="295"/>
                  </a:lnTo>
                  <a:lnTo>
                    <a:pt x="410" y="291"/>
                  </a:lnTo>
                  <a:lnTo>
                    <a:pt x="410" y="291"/>
                  </a:lnTo>
                  <a:lnTo>
                    <a:pt x="410" y="291"/>
                  </a:lnTo>
                  <a:lnTo>
                    <a:pt x="410" y="290"/>
                  </a:lnTo>
                  <a:lnTo>
                    <a:pt x="411" y="288"/>
                  </a:lnTo>
                  <a:lnTo>
                    <a:pt x="411" y="288"/>
                  </a:lnTo>
                  <a:lnTo>
                    <a:pt x="413" y="287"/>
                  </a:lnTo>
                  <a:lnTo>
                    <a:pt x="419" y="284"/>
                  </a:lnTo>
                  <a:lnTo>
                    <a:pt x="421" y="284"/>
                  </a:lnTo>
                  <a:lnTo>
                    <a:pt x="421" y="281"/>
                  </a:lnTo>
                  <a:lnTo>
                    <a:pt x="419" y="278"/>
                  </a:lnTo>
                  <a:lnTo>
                    <a:pt x="421" y="275"/>
                  </a:lnTo>
                  <a:lnTo>
                    <a:pt x="421" y="273"/>
                  </a:lnTo>
                  <a:lnTo>
                    <a:pt x="422" y="273"/>
                  </a:lnTo>
                  <a:lnTo>
                    <a:pt x="424" y="271"/>
                  </a:lnTo>
                  <a:lnTo>
                    <a:pt x="422" y="270"/>
                  </a:lnTo>
                  <a:lnTo>
                    <a:pt x="422" y="270"/>
                  </a:lnTo>
                  <a:lnTo>
                    <a:pt x="422" y="270"/>
                  </a:lnTo>
                  <a:lnTo>
                    <a:pt x="424" y="270"/>
                  </a:lnTo>
                  <a:lnTo>
                    <a:pt x="434" y="268"/>
                  </a:lnTo>
                  <a:lnTo>
                    <a:pt x="439" y="267"/>
                  </a:lnTo>
                  <a:lnTo>
                    <a:pt x="441" y="265"/>
                  </a:lnTo>
                  <a:lnTo>
                    <a:pt x="442" y="264"/>
                  </a:lnTo>
                  <a:lnTo>
                    <a:pt x="442" y="261"/>
                  </a:lnTo>
                  <a:lnTo>
                    <a:pt x="441" y="259"/>
                  </a:lnTo>
                  <a:lnTo>
                    <a:pt x="433" y="256"/>
                  </a:lnTo>
                  <a:lnTo>
                    <a:pt x="433" y="254"/>
                  </a:lnTo>
                  <a:lnTo>
                    <a:pt x="431" y="253"/>
                  </a:lnTo>
                  <a:lnTo>
                    <a:pt x="433" y="251"/>
                  </a:lnTo>
                  <a:lnTo>
                    <a:pt x="433" y="250"/>
                  </a:lnTo>
                  <a:lnTo>
                    <a:pt x="433" y="248"/>
                  </a:lnTo>
                  <a:lnTo>
                    <a:pt x="433" y="245"/>
                  </a:lnTo>
                  <a:lnTo>
                    <a:pt x="431" y="244"/>
                  </a:lnTo>
                  <a:lnTo>
                    <a:pt x="430" y="242"/>
                  </a:lnTo>
                  <a:lnTo>
                    <a:pt x="430" y="239"/>
                  </a:lnTo>
                  <a:lnTo>
                    <a:pt x="431" y="234"/>
                  </a:lnTo>
                  <a:lnTo>
                    <a:pt x="430" y="231"/>
                  </a:lnTo>
                  <a:lnTo>
                    <a:pt x="427" y="225"/>
                  </a:lnTo>
                  <a:lnTo>
                    <a:pt x="424" y="219"/>
                  </a:lnTo>
                  <a:lnTo>
                    <a:pt x="422" y="216"/>
                  </a:lnTo>
                  <a:lnTo>
                    <a:pt x="421" y="211"/>
                  </a:lnTo>
                  <a:lnTo>
                    <a:pt x="419" y="205"/>
                  </a:lnTo>
                  <a:lnTo>
                    <a:pt x="421" y="198"/>
                  </a:lnTo>
                  <a:lnTo>
                    <a:pt x="425" y="188"/>
                  </a:lnTo>
                  <a:lnTo>
                    <a:pt x="422" y="168"/>
                  </a:lnTo>
                  <a:lnTo>
                    <a:pt x="419" y="150"/>
                  </a:lnTo>
                  <a:lnTo>
                    <a:pt x="418" y="142"/>
                  </a:lnTo>
                  <a:lnTo>
                    <a:pt x="416" y="136"/>
                  </a:lnTo>
                  <a:lnTo>
                    <a:pt x="419" y="127"/>
                  </a:lnTo>
                  <a:lnTo>
                    <a:pt x="421" y="119"/>
                  </a:lnTo>
                  <a:lnTo>
                    <a:pt x="431" y="111"/>
                  </a:lnTo>
                  <a:lnTo>
                    <a:pt x="438" y="105"/>
                  </a:lnTo>
                  <a:lnTo>
                    <a:pt x="438" y="105"/>
                  </a:lnTo>
                  <a:lnTo>
                    <a:pt x="439" y="102"/>
                  </a:lnTo>
                  <a:lnTo>
                    <a:pt x="439" y="99"/>
                  </a:lnTo>
                  <a:lnTo>
                    <a:pt x="444" y="93"/>
                  </a:lnTo>
                  <a:lnTo>
                    <a:pt x="444" y="90"/>
                  </a:lnTo>
                  <a:lnTo>
                    <a:pt x="448" y="77"/>
                  </a:lnTo>
                  <a:lnTo>
                    <a:pt x="451" y="67"/>
                  </a:lnTo>
                  <a:lnTo>
                    <a:pt x="453" y="64"/>
                  </a:lnTo>
                  <a:lnTo>
                    <a:pt x="453" y="62"/>
                  </a:lnTo>
                  <a:lnTo>
                    <a:pt x="454" y="59"/>
                  </a:lnTo>
                  <a:lnTo>
                    <a:pt x="458" y="57"/>
                  </a:lnTo>
                  <a:lnTo>
                    <a:pt x="467" y="57"/>
                  </a:lnTo>
                  <a:lnTo>
                    <a:pt x="468" y="56"/>
                  </a:lnTo>
                  <a:lnTo>
                    <a:pt x="467" y="56"/>
                  </a:lnTo>
                  <a:lnTo>
                    <a:pt x="461" y="53"/>
                  </a:lnTo>
                  <a:lnTo>
                    <a:pt x="464" y="53"/>
                  </a:lnTo>
                  <a:lnTo>
                    <a:pt x="470" y="51"/>
                  </a:lnTo>
                  <a:lnTo>
                    <a:pt x="473" y="50"/>
                  </a:lnTo>
                  <a:lnTo>
                    <a:pt x="474" y="50"/>
                  </a:lnTo>
                  <a:lnTo>
                    <a:pt x="474" y="48"/>
                  </a:lnTo>
                  <a:lnTo>
                    <a:pt x="474" y="4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91"/>
            <p:cNvSpPr>
              <a:spLocks noEditPoints="1"/>
            </p:cNvSpPr>
            <p:nvPr/>
          </p:nvSpPr>
          <p:spPr bwMode="gray">
            <a:xfrm>
              <a:off x="6640513" y="5097463"/>
              <a:ext cx="835025" cy="674688"/>
            </a:xfrm>
            <a:custGeom>
              <a:avLst/>
              <a:gdLst>
                <a:gd name="T0" fmla="*/ 218 w 526"/>
                <a:gd name="T1" fmla="*/ 383 h 425"/>
                <a:gd name="T2" fmla="*/ 179 w 526"/>
                <a:gd name="T3" fmla="*/ 387 h 425"/>
                <a:gd name="T4" fmla="*/ 312 w 526"/>
                <a:gd name="T5" fmla="*/ 360 h 425"/>
                <a:gd name="T6" fmla="*/ 312 w 526"/>
                <a:gd name="T7" fmla="*/ 377 h 425"/>
                <a:gd name="T8" fmla="*/ 127 w 526"/>
                <a:gd name="T9" fmla="*/ 368 h 425"/>
                <a:gd name="T10" fmla="*/ 139 w 526"/>
                <a:gd name="T11" fmla="*/ 387 h 425"/>
                <a:gd name="T12" fmla="*/ 193 w 526"/>
                <a:gd name="T13" fmla="*/ 402 h 425"/>
                <a:gd name="T14" fmla="*/ 492 w 526"/>
                <a:gd name="T15" fmla="*/ 339 h 425"/>
                <a:gd name="T16" fmla="*/ 20 w 526"/>
                <a:gd name="T17" fmla="*/ 313 h 425"/>
                <a:gd name="T18" fmla="*/ 188 w 526"/>
                <a:gd name="T19" fmla="*/ 310 h 425"/>
                <a:gd name="T20" fmla="*/ 187 w 526"/>
                <a:gd name="T21" fmla="*/ 300 h 425"/>
                <a:gd name="T22" fmla="*/ 173 w 526"/>
                <a:gd name="T23" fmla="*/ 294 h 425"/>
                <a:gd name="T24" fmla="*/ 121 w 526"/>
                <a:gd name="T25" fmla="*/ 308 h 425"/>
                <a:gd name="T26" fmla="*/ 141 w 526"/>
                <a:gd name="T27" fmla="*/ 343 h 425"/>
                <a:gd name="T28" fmla="*/ 158 w 526"/>
                <a:gd name="T29" fmla="*/ 357 h 425"/>
                <a:gd name="T30" fmla="*/ 338 w 526"/>
                <a:gd name="T31" fmla="*/ 294 h 425"/>
                <a:gd name="T32" fmla="*/ 181 w 526"/>
                <a:gd name="T33" fmla="*/ 265 h 425"/>
                <a:gd name="T34" fmla="*/ 284 w 526"/>
                <a:gd name="T35" fmla="*/ 368 h 425"/>
                <a:gd name="T36" fmla="*/ 298 w 526"/>
                <a:gd name="T37" fmla="*/ 350 h 425"/>
                <a:gd name="T38" fmla="*/ 328 w 526"/>
                <a:gd name="T39" fmla="*/ 286 h 425"/>
                <a:gd name="T40" fmla="*/ 281 w 526"/>
                <a:gd name="T41" fmla="*/ 242 h 425"/>
                <a:gd name="T42" fmla="*/ 295 w 526"/>
                <a:gd name="T43" fmla="*/ 268 h 425"/>
                <a:gd name="T44" fmla="*/ 275 w 526"/>
                <a:gd name="T45" fmla="*/ 277 h 425"/>
                <a:gd name="T46" fmla="*/ 270 w 526"/>
                <a:gd name="T47" fmla="*/ 250 h 425"/>
                <a:gd name="T48" fmla="*/ 244 w 526"/>
                <a:gd name="T49" fmla="*/ 266 h 425"/>
                <a:gd name="T50" fmla="*/ 211 w 526"/>
                <a:gd name="T51" fmla="*/ 282 h 425"/>
                <a:gd name="T52" fmla="*/ 224 w 526"/>
                <a:gd name="T53" fmla="*/ 325 h 425"/>
                <a:gd name="T54" fmla="*/ 247 w 526"/>
                <a:gd name="T55" fmla="*/ 340 h 425"/>
                <a:gd name="T56" fmla="*/ 275 w 526"/>
                <a:gd name="T57" fmla="*/ 362 h 425"/>
                <a:gd name="T58" fmla="*/ 282 w 526"/>
                <a:gd name="T59" fmla="*/ 400 h 425"/>
                <a:gd name="T60" fmla="*/ 264 w 526"/>
                <a:gd name="T61" fmla="*/ 142 h 425"/>
                <a:gd name="T62" fmla="*/ 59 w 526"/>
                <a:gd name="T63" fmla="*/ 131 h 425"/>
                <a:gd name="T64" fmla="*/ 44 w 526"/>
                <a:gd name="T65" fmla="*/ 117 h 425"/>
                <a:gd name="T66" fmla="*/ 222 w 526"/>
                <a:gd name="T67" fmla="*/ 63 h 425"/>
                <a:gd name="T68" fmla="*/ 101 w 526"/>
                <a:gd name="T69" fmla="*/ 365 h 425"/>
                <a:gd name="T70" fmla="*/ 121 w 526"/>
                <a:gd name="T71" fmla="*/ 337 h 425"/>
                <a:gd name="T72" fmla="*/ 110 w 526"/>
                <a:gd name="T73" fmla="*/ 300 h 425"/>
                <a:gd name="T74" fmla="*/ 133 w 526"/>
                <a:gd name="T75" fmla="*/ 279 h 425"/>
                <a:gd name="T76" fmla="*/ 156 w 526"/>
                <a:gd name="T77" fmla="*/ 259 h 425"/>
                <a:gd name="T78" fmla="*/ 171 w 526"/>
                <a:gd name="T79" fmla="*/ 200 h 425"/>
                <a:gd name="T80" fmla="*/ 182 w 526"/>
                <a:gd name="T81" fmla="*/ 225 h 425"/>
                <a:gd name="T82" fmla="*/ 205 w 526"/>
                <a:gd name="T83" fmla="*/ 168 h 425"/>
                <a:gd name="T84" fmla="*/ 156 w 526"/>
                <a:gd name="T85" fmla="*/ 145 h 425"/>
                <a:gd name="T86" fmla="*/ 159 w 526"/>
                <a:gd name="T87" fmla="*/ 142 h 425"/>
                <a:gd name="T88" fmla="*/ 147 w 526"/>
                <a:gd name="T89" fmla="*/ 94 h 425"/>
                <a:gd name="T90" fmla="*/ 158 w 526"/>
                <a:gd name="T91" fmla="*/ 20 h 425"/>
                <a:gd name="T92" fmla="*/ 14 w 526"/>
                <a:gd name="T93" fmla="*/ 136 h 425"/>
                <a:gd name="T94" fmla="*/ 25 w 526"/>
                <a:gd name="T95" fmla="*/ 145 h 425"/>
                <a:gd name="T96" fmla="*/ 47 w 526"/>
                <a:gd name="T97" fmla="*/ 108 h 425"/>
                <a:gd name="T98" fmla="*/ 124 w 526"/>
                <a:gd name="T99" fmla="*/ 92 h 425"/>
                <a:gd name="T100" fmla="*/ 82 w 526"/>
                <a:gd name="T101" fmla="*/ 119 h 425"/>
                <a:gd name="T102" fmla="*/ 90 w 526"/>
                <a:gd name="T103" fmla="*/ 162 h 425"/>
                <a:gd name="T104" fmla="*/ 79 w 526"/>
                <a:gd name="T105" fmla="*/ 149 h 425"/>
                <a:gd name="T106" fmla="*/ 70 w 526"/>
                <a:gd name="T107" fmla="*/ 129 h 425"/>
                <a:gd name="T108" fmla="*/ 48 w 526"/>
                <a:gd name="T109" fmla="*/ 166 h 425"/>
                <a:gd name="T110" fmla="*/ 14 w 526"/>
                <a:gd name="T111" fmla="*/ 159 h 425"/>
                <a:gd name="T112" fmla="*/ 4 w 526"/>
                <a:gd name="T113" fmla="*/ 229 h 425"/>
                <a:gd name="T114" fmla="*/ 4 w 526"/>
                <a:gd name="T115" fmla="*/ 240 h 425"/>
                <a:gd name="T116" fmla="*/ 39 w 526"/>
                <a:gd name="T117" fmla="*/ 311 h 425"/>
                <a:gd name="T118" fmla="*/ 34 w 526"/>
                <a:gd name="T119" fmla="*/ 351 h 425"/>
                <a:gd name="T120" fmla="*/ 101 w 526"/>
                <a:gd name="T121" fmla="*/ 393 h 425"/>
                <a:gd name="T122" fmla="*/ 122 w 526"/>
                <a:gd name="T123" fmla="*/ 38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6" h="425">
                  <a:moveTo>
                    <a:pt x="279" y="397"/>
                  </a:moveTo>
                  <a:lnTo>
                    <a:pt x="279" y="397"/>
                  </a:lnTo>
                  <a:lnTo>
                    <a:pt x="275" y="394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0"/>
                  </a:lnTo>
                  <a:lnTo>
                    <a:pt x="273" y="390"/>
                  </a:lnTo>
                  <a:lnTo>
                    <a:pt x="272" y="387"/>
                  </a:lnTo>
                  <a:lnTo>
                    <a:pt x="270" y="385"/>
                  </a:lnTo>
                  <a:lnTo>
                    <a:pt x="265" y="380"/>
                  </a:lnTo>
                  <a:lnTo>
                    <a:pt x="265" y="382"/>
                  </a:lnTo>
                  <a:lnTo>
                    <a:pt x="264" y="383"/>
                  </a:lnTo>
                  <a:lnTo>
                    <a:pt x="265" y="385"/>
                  </a:lnTo>
                  <a:lnTo>
                    <a:pt x="265" y="387"/>
                  </a:lnTo>
                  <a:lnTo>
                    <a:pt x="265" y="387"/>
                  </a:lnTo>
                  <a:lnTo>
                    <a:pt x="262" y="387"/>
                  </a:lnTo>
                  <a:lnTo>
                    <a:pt x="261" y="387"/>
                  </a:lnTo>
                  <a:lnTo>
                    <a:pt x="259" y="388"/>
                  </a:lnTo>
                  <a:lnTo>
                    <a:pt x="259" y="390"/>
                  </a:lnTo>
                  <a:lnTo>
                    <a:pt x="261" y="391"/>
                  </a:lnTo>
                  <a:lnTo>
                    <a:pt x="261" y="393"/>
                  </a:lnTo>
                  <a:lnTo>
                    <a:pt x="247" y="385"/>
                  </a:lnTo>
                  <a:lnTo>
                    <a:pt x="245" y="385"/>
                  </a:lnTo>
                  <a:lnTo>
                    <a:pt x="244" y="383"/>
                  </a:lnTo>
                  <a:lnTo>
                    <a:pt x="242" y="379"/>
                  </a:lnTo>
                  <a:lnTo>
                    <a:pt x="241" y="379"/>
                  </a:lnTo>
                  <a:lnTo>
                    <a:pt x="239" y="377"/>
                  </a:lnTo>
                  <a:lnTo>
                    <a:pt x="236" y="374"/>
                  </a:lnTo>
                  <a:lnTo>
                    <a:pt x="235" y="374"/>
                  </a:lnTo>
                  <a:lnTo>
                    <a:pt x="224" y="376"/>
                  </a:lnTo>
                  <a:lnTo>
                    <a:pt x="222" y="376"/>
                  </a:lnTo>
                  <a:lnTo>
                    <a:pt x="219" y="379"/>
                  </a:lnTo>
                  <a:lnTo>
                    <a:pt x="218" y="382"/>
                  </a:lnTo>
                  <a:lnTo>
                    <a:pt x="218" y="383"/>
                  </a:lnTo>
                  <a:lnTo>
                    <a:pt x="219" y="385"/>
                  </a:lnTo>
                  <a:lnTo>
                    <a:pt x="222" y="390"/>
                  </a:lnTo>
                  <a:lnTo>
                    <a:pt x="224" y="390"/>
                  </a:lnTo>
                  <a:lnTo>
                    <a:pt x="225" y="391"/>
                  </a:lnTo>
                  <a:lnTo>
                    <a:pt x="224" y="393"/>
                  </a:lnTo>
                  <a:lnTo>
                    <a:pt x="221" y="393"/>
                  </a:lnTo>
                  <a:lnTo>
                    <a:pt x="219" y="393"/>
                  </a:lnTo>
                  <a:lnTo>
                    <a:pt x="218" y="394"/>
                  </a:lnTo>
                  <a:lnTo>
                    <a:pt x="216" y="396"/>
                  </a:lnTo>
                  <a:lnTo>
                    <a:pt x="218" y="399"/>
                  </a:lnTo>
                  <a:lnTo>
                    <a:pt x="219" y="400"/>
                  </a:lnTo>
                  <a:lnTo>
                    <a:pt x="222" y="400"/>
                  </a:lnTo>
                  <a:lnTo>
                    <a:pt x="227" y="402"/>
                  </a:lnTo>
                  <a:lnTo>
                    <a:pt x="230" y="403"/>
                  </a:lnTo>
                  <a:lnTo>
                    <a:pt x="239" y="408"/>
                  </a:lnTo>
                  <a:lnTo>
                    <a:pt x="244" y="413"/>
                  </a:lnTo>
                  <a:lnTo>
                    <a:pt x="250" y="417"/>
                  </a:lnTo>
                  <a:lnTo>
                    <a:pt x="251" y="417"/>
                  </a:lnTo>
                  <a:lnTo>
                    <a:pt x="255" y="414"/>
                  </a:lnTo>
                  <a:lnTo>
                    <a:pt x="258" y="413"/>
                  </a:lnTo>
                  <a:lnTo>
                    <a:pt x="262" y="411"/>
                  </a:lnTo>
                  <a:lnTo>
                    <a:pt x="273" y="414"/>
                  </a:lnTo>
                  <a:lnTo>
                    <a:pt x="278" y="413"/>
                  </a:lnTo>
                  <a:lnTo>
                    <a:pt x="279" y="411"/>
                  </a:lnTo>
                  <a:lnTo>
                    <a:pt x="279" y="408"/>
                  </a:lnTo>
                  <a:lnTo>
                    <a:pt x="276" y="407"/>
                  </a:lnTo>
                  <a:lnTo>
                    <a:pt x="278" y="405"/>
                  </a:lnTo>
                  <a:lnTo>
                    <a:pt x="278" y="405"/>
                  </a:lnTo>
                  <a:lnTo>
                    <a:pt x="279" y="405"/>
                  </a:lnTo>
                  <a:lnTo>
                    <a:pt x="279" y="403"/>
                  </a:lnTo>
                  <a:lnTo>
                    <a:pt x="281" y="402"/>
                  </a:lnTo>
                  <a:lnTo>
                    <a:pt x="281" y="400"/>
                  </a:lnTo>
                  <a:lnTo>
                    <a:pt x="279" y="400"/>
                  </a:lnTo>
                  <a:lnTo>
                    <a:pt x="279" y="397"/>
                  </a:lnTo>
                  <a:close/>
                  <a:moveTo>
                    <a:pt x="179" y="387"/>
                  </a:moveTo>
                  <a:lnTo>
                    <a:pt x="179" y="385"/>
                  </a:lnTo>
                  <a:lnTo>
                    <a:pt x="178" y="383"/>
                  </a:lnTo>
                  <a:lnTo>
                    <a:pt x="178" y="383"/>
                  </a:lnTo>
                  <a:lnTo>
                    <a:pt x="176" y="382"/>
                  </a:lnTo>
                  <a:lnTo>
                    <a:pt x="176" y="383"/>
                  </a:lnTo>
                  <a:lnTo>
                    <a:pt x="176" y="385"/>
                  </a:lnTo>
                  <a:lnTo>
                    <a:pt x="176" y="385"/>
                  </a:lnTo>
                  <a:lnTo>
                    <a:pt x="174" y="385"/>
                  </a:lnTo>
                  <a:lnTo>
                    <a:pt x="173" y="385"/>
                  </a:lnTo>
                  <a:lnTo>
                    <a:pt x="171" y="380"/>
                  </a:lnTo>
                  <a:lnTo>
                    <a:pt x="171" y="379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0" y="382"/>
                  </a:lnTo>
                  <a:lnTo>
                    <a:pt x="170" y="382"/>
                  </a:lnTo>
                  <a:lnTo>
                    <a:pt x="168" y="382"/>
                  </a:lnTo>
                  <a:lnTo>
                    <a:pt x="167" y="380"/>
                  </a:lnTo>
                  <a:lnTo>
                    <a:pt x="165" y="379"/>
                  </a:lnTo>
                  <a:lnTo>
                    <a:pt x="164" y="376"/>
                  </a:lnTo>
                  <a:lnTo>
                    <a:pt x="158" y="373"/>
                  </a:lnTo>
                  <a:lnTo>
                    <a:pt x="156" y="371"/>
                  </a:lnTo>
                  <a:lnTo>
                    <a:pt x="156" y="374"/>
                  </a:lnTo>
                  <a:lnTo>
                    <a:pt x="158" y="377"/>
                  </a:lnTo>
                  <a:lnTo>
                    <a:pt x="171" y="391"/>
                  </a:lnTo>
                  <a:lnTo>
                    <a:pt x="173" y="391"/>
                  </a:lnTo>
                  <a:lnTo>
                    <a:pt x="173" y="391"/>
                  </a:lnTo>
                  <a:lnTo>
                    <a:pt x="174" y="390"/>
                  </a:lnTo>
                  <a:lnTo>
                    <a:pt x="181" y="388"/>
                  </a:lnTo>
                  <a:lnTo>
                    <a:pt x="181" y="388"/>
                  </a:lnTo>
                  <a:lnTo>
                    <a:pt x="179" y="387"/>
                  </a:lnTo>
                  <a:close/>
                  <a:moveTo>
                    <a:pt x="328" y="367"/>
                  </a:moveTo>
                  <a:lnTo>
                    <a:pt x="322" y="365"/>
                  </a:lnTo>
                  <a:lnTo>
                    <a:pt x="316" y="365"/>
                  </a:lnTo>
                  <a:lnTo>
                    <a:pt x="313" y="363"/>
                  </a:lnTo>
                  <a:lnTo>
                    <a:pt x="312" y="360"/>
                  </a:lnTo>
                  <a:lnTo>
                    <a:pt x="310" y="360"/>
                  </a:lnTo>
                  <a:lnTo>
                    <a:pt x="310" y="360"/>
                  </a:lnTo>
                  <a:lnTo>
                    <a:pt x="310" y="362"/>
                  </a:lnTo>
                  <a:lnTo>
                    <a:pt x="310" y="363"/>
                  </a:lnTo>
                  <a:lnTo>
                    <a:pt x="310" y="363"/>
                  </a:lnTo>
                  <a:lnTo>
                    <a:pt x="313" y="365"/>
                  </a:lnTo>
                  <a:lnTo>
                    <a:pt x="313" y="367"/>
                  </a:lnTo>
                  <a:lnTo>
                    <a:pt x="312" y="367"/>
                  </a:lnTo>
                  <a:lnTo>
                    <a:pt x="312" y="368"/>
                  </a:lnTo>
                  <a:lnTo>
                    <a:pt x="312" y="370"/>
                  </a:lnTo>
                  <a:lnTo>
                    <a:pt x="313" y="370"/>
                  </a:lnTo>
                  <a:lnTo>
                    <a:pt x="312" y="371"/>
                  </a:lnTo>
                  <a:lnTo>
                    <a:pt x="308" y="371"/>
                  </a:lnTo>
                  <a:lnTo>
                    <a:pt x="308" y="373"/>
                  </a:lnTo>
                  <a:lnTo>
                    <a:pt x="307" y="371"/>
                  </a:lnTo>
                  <a:lnTo>
                    <a:pt x="305" y="370"/>
                  </a:lnTo>
                  <a:lnTo>
                    <a:pt x="304" y="370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1" y="374"/>
                  </a:lnTo>
                  <a:lnTo>
                    <a:pt x="301" y="376"/>
                  </a:lnTo>
                  <a:lnTo>
                    <a:pt x="302" y="376"/>
                  </a:lnTo>
                  <a:lnTo>
                    <a:pt x="302" y="376"/>
                  </a:lnTo>
                  <a:lnTo>
                    <a:pt x="301" y="377"/>
                  </a:lnTo>
                  <a:lnTo>
                    <a:pt x="301" y="377"/>
                  </a:lnTo>
                  <a:lnTo>
                    <a:pt x="301" y="379"/>
                  </a:lnTo>
                  <a:lnTo>
                    <a:pt x="301" y="380"/>
                  </a:lnTo>
                  <a:lnTo>
                    <a:pt x="299" y="380"/>
                  </a:lnTo>
                  <a:lnTo>
                    <a:pt x="299" y="380"/>
                  </a:lnTo>
                  <a:lnTo>
                    <a:pt x="304" y="383"/>
                  </a:lnTo>
                  <a:lnTo>
                    <a:pt x="307" y="383"/>
                  </a:lnTo>
                  <a:lnTo>
                    <a:pt x="308" y="382"/>
                  </a:lnTo>
                  <a:lnTo>
                    <a:pt x="312" y="377"/>
                  </a:lnTo>
                  <a:lnTo>
                    <a:pt x="315" y="376"/>
                  </a:lnTo>
                  <a:lnTo>
                    <a:pt x="318" y="374"/>
                  </a:lnTo>
                  <a:lnTo>
                    <a:pt x="319" y="374"/>
                  </a:lnTo>
                  <a:lnTo>
                    <a:pt x="328" y="376"/>
                  </a:lnTo>
                  <a:lnTo>
                    <a:pt x="330" y="376"/>
                  </a:lnTo>
                  <a:lnTo>
                    <a:pt x="332" y="376"/>
                  </a:lnTo>
                  <a:lnTo>
                    <a:pt x="332" y="374"/>
                  </a:lnTo>
                  <a:lnTo>
                    <a:pt x="332" y="373"/>
                  </a:lnTo>
                  <a:lnTo>
                    <a:pt x="332" y="368"/>
                  </a:lnTo>
                  <a:lnTo>
                    <a:pt x="328" y="367"/>
                  </a:lnTo>
                  <a:close/>
                  <a:moveTo>
                    <a:pt x="144" y="373"/>
                  </a:moveTo>
                  <a:lnTo>
                    <a:pt x="141" y="370"/>
                  </a:lnTo>
                  <a:lnTo>
                    <a:pt x="139" y="367"/>
                  </a:lnTo>
                  <a:lnTo>
                    <a:pt x="138" y="365"/>
                  </a:lnTo>
                  <a:lnTo>
                    <a:pt x="133" y="365"/>
                  </a:lnTo>
                  <a:lnTo>
                    <a:pt x="131" y="363"/>
                  </a:lnTo>
                  <a:lnTo>
                    <a:pt x="127" y="359"/>
                  </a:lnTo>
                  <a:lnTo>
                    <a:pt x="124" y="357"/>
                  </a:lnTo>
                  <a:lnTo>
                    <a:pt x="121" y="359"/>
                  </a:lnTo>
                  <a:lnTo>
                    <a:pt x="114" y="362"/>
                  </a:lnTo>
                  <a:lnTo>
                    <a:pt x="114" y="362"/>
                  </a:lnTo>
                  <a:lnTo>
                    <a:pt x="116" y="363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3"/>
                  </a:lnTo>
                  <a:lnTo>
                    <a:pt x="117" y="365"/>
                  </a:lnTo>
                  <a:lnTo>
                    <a:pt x="117" y="365"/>
                  </a:lnTo>
                  <a:lnTo>
                    <a:pt x="117" y="367"/>
                  </a:lnTo>
                  <a:lnTo>
                    <a:pt x="119" y="367"/>
                  </a:lnTo>
                  <a:lnTo>
                    <a:pt x="119" y="367"/>
                  </a:lnTo>
                  <a:lnTo>
                    <a:pt x="121" y="367"/>
                  </a:lnTo>
                  <a:lnTo>
                    <a:pt x="121" y="367"/>
                  </a:lnTo>
                  <a:lnTo>
                    <a:pt x="127" y="367"/>
                  </a:lnTo>
                  <a:lnTo>
                    <a:pt x="127" y="368"/>
                  </a:lnTo>
                  <a:lnTo>
                    <a:pt x="127" y="368"/>
                  </a:lnTo>
                  <a:lnTo>
                    <a:pt x="127" y="370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4"/>
                  </a:lnTo>
                  <a:lnTo>
                    <a:pt x="130" y="376"/>
                  </a:lnTo>
                  <a:lnTo>
                    <a:pt x="131" y="376"/>
                  </a:lnTo>
                  <a:lnTo>
                    <a:pt x="130" y="376"/>
                  </a:lnTo>
                  <a:lnTo>
                    <a:pt x="128" y="374"/>
                  </a:lnTo>
                  <a:lnTo>
                    <a:pt x="125" y="373"/>
                  </a:lnTo>
                  <a:lnTo>
                    <a:pt x="124" y="371"/>
                  </a:lnTo>
                  <a:lnTo>
                    <a:pt x="124" y="373"/>
                  </a:lnTo>
                  <a:lnTo>
                    <a:pt x="125" y="373"/>
                  </a:lnTo>
                  <a:lnTo>
                    <a:pt x="124" y="376"/>
                  </a:lnTo>
                  <a:lnTo>
                    <a:pt x="125" y="379"/>
                  </a:lnTo>
                  <a:lnTo>
                    <a:pt x="128" y="382"/>
                  </a:lnTo>
                  <a:lnTo>
                    <a:pt x="131" y="382"/>
                  </a:lnTo>
                  <a:lnTo>
                    <a:pt x="131" y="382"/>
                  </a:lnTo>
                  <a:lnTo>
                    <a:pt x="133" y="380"/>
                  </a:lnTo>
                  <a:lnTo>
                    <a:pt x="134" y="380"/>
                  </a:lnTo>
                  <a:lnTo>
                    <a:pt x="134" y="380"/>
                  </a:lnTo>
                  <a:lnTo>
                    <a:pt x="138" y="382"/>
                  </a:lnTo>
                  <a:lnTo>
                    <a:pt x="142" y="385"/>
                  </a:lnTo>
                  <a:lnTo>
                    <a:pt x="142" y="385"/>
                  </a:lnTo>
                  <a:lnTo>
                    <a:pt x="139" y="385"/>
                  </a:lnTo>
                  <a:lnTo>
                    <a:pt x="138" y="382"/>
                  </a:lnTo>
                  <a:lnTo>
                    <a:pt x="134" y="382"/>
                  </a:lnTo>
                  <a:lnTo>
                    <a:pt x="133" y="382"/>
                  </a:lnTo>
                  <a:lnTo>
                    <a:pt x="133" y="383"/>
                  </a:lnTo>
                  <a:lnTo>
                    <a:pt x="134" y="385"/>
                  </a:lnTo>
                  <a:lnTo>
                    <a:pt x="138" y="385"/>
                  </a:lnTo>
                  <a:lnTo>
                    <a:pt x="139" y="387"/>
                  </a:lnTo>
                  <a:lnTo>
                    <a:pt x="139" y="387"/>
                  </a:lnTo>
                  <a:lnTo>
                    <a:pt x="141" y="387"/>
                  </a:lnTo>
                  <a:lnTo>
                    <a:pt x="142" y="385"/>
                  </a:lnTo>
                  <a:lnTo>
                    <a:pt x="144" y="385"/>
                  </a:lnTo>
                  <a:lnTo>
                    <a:pt x="145" y="385"/>
                  </a:lnTo>
                  <a:lnTo>
                    <a:pt x="147" y="383"/>
                  </a:lnTo>
                  <a:lnTo>
                    <a:pt x="147" y="383"/>
                  </a:lnTo>
                  <a:lnTo>
                    <a:pt x="144" y="374"/>
                  </a:lnTo>
                  <a:lnTo>
                    <a:pt x="144" y="373"/>
                  </a:lnTo>
                  <a:close/>
                  <a:moveTo>
                    <a:pt x="208" y="353"/>
                  </a:moveTo>
                  <a:lnTo>
                    <a:pt x="207" y="359"/>
                  </a:lnTo>
                  <a:lnTo>
                    <a:pt x="205" y="363"/>
                  </a:lnTo>
                  <a:lnTo>
                    <a:pt x="202" y="370"/>
                  </a:lnTo>
                  <a:lnTo>
                    <a:pt x="199" y="371"/>
                  </a:lnTo>
                  <a:lnTo>
                    <a:pt x="196" y="376"/>
                  </a:lnTo>
                  <a:lnTo>
                    <a:pt x="194" y="377"/>
                  </a:lnTo>
                  <a:lnTo>
                    <a:pt x="193" y="380"/>
                  </a:lnTo>
                  <a:lnTo>
                    <a:pt x="193" y="382"/>
                  </a:lnTo>
                  <a:lnTo>
                    <a:pt x="194" y="382"/>
                  </a:lnTo>
                  <a:lnTo>
                    <a:pt x="194" y="382"/>
                  </a:lnTo>
                  <a:lnTo>
                    <a:pt x="196" y="380"/>
                  </a:lnTo>
                  <a:lnTo>
                    <a:pt x="196" y="382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4" y="383"/>
                  </a:lnTo>
                  <a:lnTo>
                    <a:pt x="193" y="383"/>
                  </a:lnTo>
                  <a:lnTo>
                    <a:pt x="193" y="383"/>
                  </a:lnTo>
                  <a:lnTo>
                    <a:pt x="191" y="387"/>
                  </a:lnTo>
                  <a:lnTo>
                    <a:pt x="191" y="388"/>
                  </a:lnTo>
                  <a:lnTo>
                    <a:pt x="190" y="390"/>
                  </a:lnTo>
                  <a:lnTo>
                    <a:pt x="188" y="390"/>
                  </a:lnTo>
                  <a:lnTo>
                    <a:pt x="187" y="390"/>
                  </a:lnTo>
                  <a:lnTo>
                    <a:pt x="190" y="391"/>
                  </a:lnTo>
                  <a:lnTo>
                    <a:pt x="190" y="393"/>
                  </a:lnTo>
                  <a:lnTo>
                    <a:pt x="191" y="394"/>
                  </a:lnTo>
                  <a:lnTo>
                    <a:pt x="193" y="402"/>
                  </a:lnTo>
                  <a:lnTo>
                    <a:pt x="194" y="403"/>
                  </a:lnTo>
                  <a:lnTo>
                    <a:pt x="196" y="403"/>
                  </a:lnTo>
                  <a:lnTo>
                    <a:pt x="196" y="402"/>
                  </a:lnTo>
                  <a:lnTo>
                    <a:pt x="198" y="400"/>
                  </a:lnTo>
                  <a:lnTo>
                    <a:pt x="204" y="377"/>
                  </a:lnTo>
                  <a:lnTo>
                    <a:pt x="208" y="370"/>
                  </a:lnTo>
                  <a:lnTo>
                    <a:pt x="210" y="365"/>
                  </a:lnTo>
                  <a:lnTo>
                    <a:pt x="213" y="350"/>
                  </a:lnTo>
                  <a:lnTo>
                    <a:pt x="211" y="348"/>
                  </a:lnTo>
                  <a:lnTo>
                    <a:pt x="208" y="353"/>
                  </a:lnTo>
                  <a:close/>
                  <a:moveTo>
                    <a:pt x="524" y="353"/>
                  </a:moveTo>
                  <a:lnTo>
                    <a:pt x="526" y="353"/>
                  </a:lnTo>
                  <a:lnTo>
                    <a:pt x="526" y="353"/>
                  </a:lnTo>
                  <a:lnTo>
                    <a:pt x="526" y="353"/>
                  </a:lnTo>
                  <a:lnTo>
                    <a:pt x="526" y="351"/>
                  </a:lnTo>
                  <a:lnTo>
                    <a:pt x="524" y="350"/>
                  </a:lnTo>
                  <a:lnTo>
                    <a:pt x="521" y="348"/>
                  </a:lnTo>
                  <a:lnTo>
                    <a:pt x="515" y="345"/>
                  </a:lnTo>
                  <a:lnTo>
                    <a:pt x="515" y="345"/>
                  </a:lnTo>
                  <a:lnTo>
                    <a:pt x="513" y="343"/>
                  </a:lnTo>
                  <a:lnTo>
                    <a:pt x="512" y="340"/>
                  </a:lnTo>
                  <a:lnTo>
                    <a:pt x="510" y="340"/>
                  </a:lnTo>
                  <a:lnTo>
                    <a:pt x="509" y="340"/>
                  </a:lnTo>
                  <a:lnTo>
                    <a:pt x="506" y="339"/>
                  </a:lnTo>
                  <a:lnTo>
                    <a:pt x="503" y="337"/>
                  </a:lnTo>
                  <a:lnTo>
                    <a:pt x="501" y="334"/>
                  </a:lnTo>
                  <a:lnTo>
                    <a:pt x="501" y="334"/>
                  </a:lnTo>
                  <a:lnTo>
                    <a:pt x="498" y="330"/>
                  </a:lnTo>
                  <a:lnTo>
                    <a:pt x="496" y="328"/>
                  </a:lnTo>
                  <a:lnTo>
                    <a:pt x="496" y="330"/>
                  </a:lnTo>
                  <a:lnTo>
                    <a:pt x="495" y="333"/>
                  </a:lnTo>
                  <a:lnTo>
                    <a:pt x="495" y="334"/>
                  </a:lnTo>
                  <a:lnTo>
                    <a:pt x="493" y="337"/>
                  </a:lnTo>
                  <a:lnTo>
                    <a:pt x="493" y="339"/>
                  </a:lnTo>
                  <a:lnTo>
                    <a:pt x="492" y="339"/>
                  </a:lnTo>
                  <a:lnTo>
                    <a:pt x="492" y="348"/>
                  </a:lnTo>
                  <a:lnTo>
                    <a:pt x="492" y="353"/>
                  </a:lnTo>
                  <a:lnTo>
                    <a:pt x="490" y="356"/>
                  </a:lnTo>
                  <a:lnTo>
                    <a:pt x="492" y="357"/>
                  </a:lnTo>
                  <a:lnTo>
                    <a:pt x="498" y="362"/>
                  </a:lnTo>
                  <a:lnTo>
                    <a:pt x="504" y="363"/>
                  </a:lnTo>
                  <a:lnTo>
                    <a:pt x="509" y="367"/>
                  </a:lnTo>
                  <a:lnTo>
                    <a:pt x="513" y="368"/>
                  </a:lnTo>
                  <a:lnTo>
                    <a:pt x="516" y="370"/>
                  </a:lnTo>
                  <a:lnTo>
                    <a:pt x="519" y="370"/>
                  </a:lnTo>
                  <a:lnTo>
                    <a:pt x="521" y="370"/>
                  </a:lnTo>
                  <a:lnTo>
                    <a:pt x="521" y="368"/>
                  </a:lnTo>
                  <a:lnTo>
                    <a:pt x="523" y="367"/>
                  </a:lnTo>
                  <a:lnTo>
                    <a:pt x="523" y="365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23" y="362"/>
                  </a:lnTo>
                  <a:lnTo>
                    <a:pt x="524" y="359"/>
                  </a:lnTo>
                  <a:lnTo>
                    <a:pt x="526" y="357"/>
                  </a:lnTo>
                  <a:lnTo>
                    <a:pt x="526" y="356"/>
                  </a:lnTo>
                  <a:lnTo>
                    <a:pt x="526" y="356"/>
                  </a:lnTo>
                  <a:lnTo>
                    <a:pt x="524" y="353"/>
                  </a:lnTo>
                  <a:close/>
                  <a:moveTo>
                    <a:pt x="28" y="323"/>
                  </a:moveTo>
                  <a:lnTo>
                    <a:pt x="28" y="320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8" y="314"/>
                  </a:lnTo>
                  <a:lnTo>
                    <a:pt x="28" y="313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4" y="311"/>
                  </a:lnTo>
                  <a:lnTo>
                    <a:pt x="24" y="308"/>
                  </a:lnTo>
                  <a:lnTo>
                    <a:pt x="20" y="308"/>
                  </a:lnTo>
                  <a:lnTo>
                    <a:pt x="20" y="310"/>
                  </a:lnTo>
                  <a:lnTo>
                    <a:pt x="20" y="313"/>
                  </a:lnTo>
                  <a:lnTo>
                    <a:pt x="24" y="319"/>
                  </a:lnTo>
                  <a:lnTo>
                    <a:pt x="25" y="322"/>
                  </a:lnTo>
                  <a:lnTo>
                    <a:pt x="27" y="325"/>
                  </a:lnTo>
                  <a:lnTo>
                    <a:pt x="28" y="323"/>
                  </a:lnTo>
                  <a:lnTo>
                    <a:pt x="28" y="323"/>
                  </a:lnTo>
                  <a:close/>
                  <a:moveTo>
                    <a:pt x="188" y="360"/>
                  </a:moveTo>
                  <a:lnTo>
                    <a:pt x="191" y="360"/>
                  </a:lnTo>
                  <a:lnTo>
                    <a:pt x="194" y="360"/>
                  </a:lnTo>
                  <a:lnTo>
                    <a:pt x="196" y="360"/>
                  </a:lnTo>
                  <a:lnTo>
                    <a:pt x="196" y="359"/>
                  </a:lnTo>
                  <a:lnTo>
                    <a:pt x="198" y="359"/>
                  </a:lnTo>
                  <a:lnTo>
                    <a:pt x="198" y="357"/>
                  </a:lnTo>
                  <a:lnTo>
                    <a:pt x="199" y="356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1" y="350"/>
                  </a:lnTo>
                  <a:lnTo>
                    <a:pt x="201" y="348"/>
                  </a:lnTo>
                  <a:lnTo>
                    <a:pt x="202" y="347"/>
                  </a:lnTo>
                  <a:lnTo>
                    <a:pt x="202" y="343"/>
                  </a:lnTo>
                  <a:lnTo>
                    <a:pt x="202" y="340"/>
                  </a:lnTo>
                  <a:lnTo>
                    <a:pt x="202" y="339"/>
                  </a:lnTo>
                  <a:lnTo>
                    <a:pt x="202" y="336"/>
                  </a:lnTo>
                  <a:lnTo>
                    <a:pt x="201" y="333"/>
                  </a:lnTo>
                  <a:lnTo>
                    <a:pt x="199" y="331"/>
                  </a:lnTo>
                  <a:lnTo>
                    <a:pt x="201" y="330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1"/>
                  </a:lnTo>
                  <a:lnTo>
                    <a:pt x="204" y="331"/>
                  </a:lnTo>
                  <a:lnTo>
                    <a:pt x="204" y="330"/>
                  </a:lnTo>
                  <a:lnTo>
                    <a:pt x="202" y="323"/>
                  </a:lnTo>
                  <a:lnTo>
                    <a:pt x="201" y="322"/>
                  </a:lnTo>
                  <a:lnTo>
                    <a:pt x="194" y="311"/>
                  </a:lnTo>
                  <a:lnTo>
                    <a:pt x="193" y="311"/>
                  </a:lnTo>
                  <a:lnTo>
                    <a:pt x="188" y="310"/>
                  </a:lnTo>
                  <a:lnTo>
                    <a:pt x="187" y="310"/>
                  </a:lnTo>
                  <a:lnTo>
                    <a:pt x="185" y="310"/>
                  </a:lnTo>
                  <a:lnTo>
                    <a:pt x="185" y="311"/>
                  </a:lnTo>
                  <a:lnTo>
                    <a:pt x="187" y="311"/>
                  </a:lnTo>
                  <a:lnTo>
                    <a:pt x="185" y="313"/>
                  </a:lnTo>
                  <a:lnTo>
                    <a:pt x="184" y="313"/>
                  </a:lnTo>
                  <a:lnTo>
                    <a:pt x="184" y="311"/>
                  </a:lnTo>
                  <a:lnTo>
                    <a:pt x="184" y="310"/>
                  </a:lnTo>
                  <a:lnTo>
                    <a:pt x="185" y="308"/>
                  </a:lnTo>
                  <a:lnTo>
                    <a:pt x="185" y="308"/>
                  </a:lnTo>
                  <a:lnTo>
                    <a:pt x="191" y="310"/>
                  </a:lnTo>
                  <a:lnTo>
                    <a:pt x="194" y="308"/>
                  </a:lnTo>
                  <a:lnTo>
                    <a:pt x="196" y="306"/>
                  </a:lnTo>
                  <a:lnTo>
                    <a:pt x="198" y="305"/>
                  </a:lnTo>
                  <a:lnTo>
                    <a:pt x="198" y="305"/>
                  </a:lnTo>
                  <a:lnTo>
                    <a:pt x="198" y="302"/>
                  </a:lnTo>
                  <a:lnTo>
                    <a:pt x="196" y="300"/>
                  </a:lnTo>
                  <a:lnTo>
                    <a:pt x="196" y="300"/>
                  </a:lnTo>
                  <a:lnTo>
                    <a:pt x="194" y="300"/>
                  </a:lnTo>
                  <a:lnTo>
                    <a:pt x="194" y="299"/>
                  </a:lnTo>
                  <a:lnTo>
                    <a:pt x="194" y="297"/>
                  </a:lnTo>
                  <a:lnTo>
                    <a:pt x="194" y="297"/>
                  </a:lnTo>
                  <a:lnTo>
                    <a:pt x="191" y="291"/>
                  </a:lnTo>
                  <a:lnTo>
                    <a:pt x="188" y="288"/>
                  </a:lnTo>
                  <a:lnTo>
                    <a:pt x="187" y="290"/>
                  </a:lnTo>
                  <a:lnTo>
                    <a:pt x="187" y="290"/>
                  </a:lnTo>
                  <a:lnTo>
                    <a:pt x="188" y="293"/>
                  </a:lnTo>
                  <a:lnTo>
                    <a:pt x="188" y="296"/>
                  </a:lnTo>
                  <a:lnTo>
                    <a:pt x="187" y="294"/>
                  </a:lnTo>
                  <a:lnTo>
                    <a:pt x="187" y="293"/>
                  </a:lnTo>
                  <a:lnTo>
                    <a:pt x="187" y="296"/>
                  </a:lnTo>
                  <a:lnTo>
                    <a:pt x="187" y="297"/>
                  </a:lnTo>
                  <a:lnTo>
                    <a:pt x="188" y="300"/>
                  </a:lnTo>
                  <a:lnTo>
                    <a:pt x="187" y="302"/>
                  </a:lnTo>
                  <a:lnTo>
                    <a:pt x="187" y="300"/>
                  </a:lnTo>
                  <a:lnTo>
                    <a:pt x="185" y="300"/>
                  </a:lnTo>
                  <a:lnTo>
                    <a:pt x="185" y="299"/>
                  </a:lnTo>
                  <a:lnTo>
                    <a:pt x="184" y="300"/>
                  </a:lnTo>
                  <a:lnTo>
                    <a:pt x="185" y="302"/>
                  </a:lnTo>
                  <a:lnTo>
                    <a:pt x="185" y="302"/>
                  </a:lnTo>
                  <a:lnTo>
                    <a:pt x="185" y="302"/>
                  </a:lnTo>
                  <a:lnTo>
                    <a:pt x="187" y="302"/>
                  </a:lnTo>
                  <a:lnTo>
                    <a:pt x="187" y="303"/>
                  </a:lnTo>
                  <a:lnTo>
                    <a:pt x="187" y="303"/>
                  </a:lnTo>
                  <a:lnTo>
                    <a:pt x="187" y="305"/>
                  </a:lnTo>
                  <a:lnTo>
                    <a:pt x="187" y="305"/>
                  </a:lnTo>
                  <a:lnTo>
                    <a:pt x="184" y="306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8" y="311"/>
                  </a:lnTo>
                  <a:lnTo>
                    <a:pt x="174" y="311"/>
                  </a:lnTo>
                  <a:lnTo>
                    <a:pt x="173" y="310"/>
                  </a:lnTo>
                  <a:lnTo>
                    <a:pt x="176" y="305"/>
                  </a:lnTo>
                  <a:lnTo>
                    <a:pt x="178" y="305"/>
                  </a:lnTo>
                  <a:lnTo>
                    <a:pt x="178" y="305"/>
                  </a:lnTo>
                  <a:lnTo>
                    <a:pt x="178" y="305"/>
                  </a:lnTo>
                  <a:lnTo>
                    <a:pt x="179" y="303"/>
                  </a:lnTo>
                  <a:lnTo>
                    <a:pt x="179" y="302"/>
                  </a:lnTo>
                  <a:lnTo>
                    <a:pt x="178" y="302"/>
                  </a:lnTo>
                  <a:lnTo>
                    <a:pt x="178" y="300"/>
                  </a:lnTo>
                  <a:lnTo>
                    <a:pt x="178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81" y="299"/>
                  </a:lnTo>
                  <a:lnTo>
                    <a:pt x="179" y="297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4" y="296"/>
                  </a:lnTo>
                  <a:lnTo>
                    <a:pt x="173" y="294"/>
                  </a:lnTo>
                  <a:lnTo>
                    <a:pt x="173" y="293"/>
                  </a:lnTo>
                  <a:lnTo>
                    <a:pt x="167" y="290"/>
                  </a:lnTo>
                  <a:lnTo>
                    <a:pt x="165" y="288"/>
                  </a:lnTo>
                  <a:lnTo>
                    <a:pt x="164" y="288"/>
                  </a:lnTo>
                  <a:lnTo>
                    <a:pt x="164" y="291"/>
                  </a:lnTo>
                  <a:lnTo>
                    <a:pt x="164" y="293"/>
                  </a:lnTo>
                  <a:lnTo>
                    <a:pt x="162" y="293"/>
                  </a:lnTo>
                  <a:lnTo>
                    <a:pt x="162" y="293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59" y="290"/>
                  </a:lnTo>
                  <a:lnTo>
                    <a:pt x="158" y="291"/>
                  </a:lnTo>
                  <a:lnTo>
                    <a:pt x="154" y="293"/>
                  </a:lnTo>
                  <a:lnTo>
                    <a:pt x="145" y="296"/>
                  </a:lnTo>
                  <a:lnTo>
                    <a:pt x="138" y="302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30" y="299"/>
                  </a:lnTo>
                  <a:lnTo>
                    <a:pt x="130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4" y="297"/>
                  </a:lnTo>
                  <a:lnTo>
                    <a:pt x="121" y="302"/>
                  </a:lnTo>
                  <a:lnTo>
                    <a:pt x="121" y="302"/>
                  </a:lnTo>
                  <a:lnTo>
                    <a:pt x="119" y="302"/>
                  </a:lnTo>
                  <a:lnTo>
                    <a:pt x="119" y="303"/>
                  </a:lnTo>
                  <a:lnTo>
                    <a:pt x="117" y="305"/>
                  </a:lnTo>
                  <a:lnTo>
                    <a:pt x="121" y="305"/>
                  </a:lnTo>
                  <a:lnTo>
                    <a:pt x="128" y="311"/>
                  </a:lnTo>
                  <a:lnTo>
                    <a:pt x="127" y="311"/>
                  </a:lnTo>
                  <a:lnTo>
                    <a:pt x="124" y="311"/>
                  </a:lnTo>
                  <a:lnTo>
                    <a:pt x="122" y="308"/>
                  </a:lnTo>
                  <a:lnTo>
                    <a:pt x="121" y="308"/>
                  </a:lnTo>
                  <a:lnTo>
                    <a:pt x="121" y="308"/>
                  </a:lnTo>
                  <a:lnTo>
                    <a:pt x="122" y="311"/>
                  </a:lnTo>
                  <a:lnTo>
                    <a:pt x="124" y="313"/>
                  </a:lnTo>
                  <a:lnTo>
                    <a:pt x="127" y="313"/>
                  </a:lnTo>
                  <a:lnTo>
                    <a:pt x="128" y="313"/>
                  </a:lnTo>
                  <a:lnTo>
                    <a:pt x="128" y="314"/>
                  </a:lnTo>
                  <a:lnTo>
                    <a:pt x="127" y="316"/>
                  </a:lnTo>
                  <a:lnTo>
                    <a:pt x="127" y="314"/>
                  </a:lnTo>
                  <a:lnTo>
                    <a:pt x="130" y="317"/>
                  </a:lnTo>
                  <a:lnTo>
                    <a:pt x="130" y="319"/>
                  </a:lnTo>
                  <a:lnTo>
                    <a:pt x="128" y="319"/>
                  </a:lnTo>
                  <a:lnTo>
                    <a:pt x="127" y="319"/>
                  </a:lnTo>
                  <a:lnTo>
                    <a:pt x="125" y="319"/>
                  </a:lnTo>
                  <a:lnTo>
                    <a:pt x="127" y="322"/>
                  </a:lnTo>
                  <a:lnTo>
                    <a:pt x="128" y="322"/>
                  </a:lnTo>
                  <a:lnTo>
                    <a:pt x="130" y="323"/>
                  </a:lnTo>
                  <a:lnTo>
                    <a:pt x="131" y="323"/>
                  </a:lnTo>
                  <a:lnTo>
                    <a:pt x="133" y="323"/>
                  </a:lnTo>
                  <a:lnTo>
                    <a:pt x="133" y="323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4" y="331"/>
                  </a:lnTo>
                  <a:lnTo>
                    <a:pt x="134" y="333"/>
                  </a:lnTo>
                  <a:lnTo>
                    <a:pt x="134" y="333"/>
                  </a:lnTo>
                  <a:lnTo>
                    <a:pt x="133" y="334"/>
                  </a:lnTo>
                  <a:lnTo>
                    <a:pt x="133" y="336"/>
                  </a:lnTo>
                  <a:lnTo>
                    <a:pt x="133" y="336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6" y="340"/>
                  </a:lnTo>
                  <a:lnTo>
                    <a:pt x="139" y="340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3"/>
                  </a:lnTo>
                  <a:lnTo>
                    <a:pt x="141" y="345"/>
                  </a:lnTo>
                  <a:lnTo>
                    <a:pt x="141" y="347"/>
                  </a:lnTo>
                  <a:lnTo>
                    <a:pt x="141" y="350"/>
                  </a:lnTo>
                  <a:lnTo>
                    <a:pt x="141" y="350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3"/>
                  </a:lnTo>
                  <a:lnTo>
                    <a:pt x="144" y="353"/>
                  </a:lnTo>
                  <a:lnTo>
                    <a:pt x="144" y="353"/>
                  </a:lnTo>
                  <a:lnTo>
                    <a:pt x="144" y="350"/>
                  </a:lnTo>
                  <a:lnTo>
                    <a:pt x="142" y="347"/>
                  </a:lnTo>
                  <a:lnTo>
                    <a:pt x="142" y="345"/>
                  </a:lnTo>
                  <a:lnTo>
                    <a:pt x="142" y="343"/>
                  </a:lnTo>
                  <a:lnTo>
                    <a:pt x="144" y="343"/>
                  </a:lnTo>
                  <a:lnTo>
                    <a:pt x="145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8" y="345"/>
                  </a:lnTo>
                  <a:lnTo>
                    <a:pt x="150" y="345"/>
                  </a:lnTo>
                  <a:lnTo>
                    <a:pt x="150" y="345"/>
                  </a:lnTo>
                  <a:lnTo>
                    <a:pt x="151" y="347"/>
                  </a:lnTo>
                  <a:lnTo>
                    <a:pt x="153" y="348"/>
                  </a:lnTo>
                  <a:lnTo>
                    <a:pt x="154" y="351"/>
                  </a:lnTo>
                  <a:lnTo>
                    <a:pt x="153" y="353"/>
                  </a:lnTo>
                  <a:lnTo>
                    <a:pt x="147" y="357"/>
                  </a:lnTo>
                  <a:lnTo>
                    <a:pt x="148" y="357"/>
                  </a:lnTo>
                  <a:lnTo>
                    <a:pt x="151" y="357"/>
                  </a:lnTo>
                  <a:lnTo>
                    <a:pt x="153" y="357"/>
                  </a:lnTo>
                  <a:lnTo>
                    <a:pt x="154" y="357"/>
                  </a:lnTo>
                  <a:lnTo>
                    <a:pt x="156" y="359"/>
                  </a:lnTo>
                  <a:lnTo>
                    <a:pt x="158" y="360"/>
                  </a:lnTo>
                  <a:lnTo>
                    <a:pt x="158" y="357"/>
                  </a:lnTo>
                  <a:lnTo>
                    <a:pt x="158" y="357"/>
                  </a:lnTo>
                  <a:lnTo>
                    <a:pt x="159" y="357"/>
                  </a:lnTo>
                  <a:lnTo>
                    <a:pt x="165" y="360"/>
                  </a:lnTo>
                  <a:lnTo>
                    <a:pt x="167" y="360"/>
                  </a:lnTo>
                  <a:lnTo>
                    <a:pt x="168" y="360"/>
                  </a:lnTo>
                  <a:lnTo>
                    <a:pt x="170" y="360"/>
                  </a:lnTo>
                  <a:lnTo>
                    <a:pt x="170" y="360"/>
                  </a:lnTo>
                  <a:lnTo>
                    <a:pt x="170" y="362"/>
                  </a:lnTo>
                  <a:lnTo>
                    <a:pt x="171" y="362"/>
                  </a:lnTo>
                  <a:lnTo>
                    <a:pt x="173" y="363"/>
                  </a:lnTo>
                  <a:lnTo>
                    <a:pt x="178" y="363"/>
                  </a:lnTo>
                  <a:lnTo>
                    <a:pt x="181" y="365"/>
                  </a:lnTo>
                  <a:lnTo>
                    <a:pt x="182" y="365"/>
                  </a:lnTo>
                  <a:lnTo>
                    <a:pt x="184" y="363"/>
                  </a:lnTo>
                  <a:lnTo>
                    <a:pt x="184" y="362"/>
                  </a:lnTo>
                  <a:lnTo>
                    <a:pt x="185" y="362"/>
                  </a:lnTo>
                  <a:lnTo>
                    <a:pt x="187" y="360"/>
                  </a:lnTo>
                  <a:lnTo>
                    <a:pt x="188" y="360"/>
                  </a:lnTo>
                  <a:close/>
                  <a:moveTo>
                    <a:pt x="336" y="279"/>
                  </a:moveTo>
                  <a:lnTo>
                    <a:pt x="336" y="279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5" y="279"/>
                  </a:lnTo>
                  <a:lnTo>
                    <a:pt x="335" y="282"/>
                  </a:lnTo>
                  <a:lnTo>
                    <a:pt x="333" y="283"/>
                  </a:lnTo>
                  <a:lnTo>
                    <a:pt x="333" y="285"/>
                  </a:lnTo>
                  <a:lnTo>
                    <a:pt x="332" y="285"/>
                  </a:lnTo>
                  <a:lnTo>
                    <a:pt x="330" y="286"/>
                  </a:lnTo>
                  <a:lnTo>
                    <a:pt x="330" y="288"/>
                  </a:lnTo>
                  <a:lnTo>
                    <a:pt x="330" y="291"/>
                  </a:lnTo>
                  <a:lnTo>
                    <a:pt x="332" y="294"/>
                  </a:lnTo>
                  <a:lnTo>
                    <a:pt x="333" y="297"/>
                  </a:lnTo>
                  <a:lnTo>
                    <a:pt x="335" y="297"/>
                  </a:lnTo>
                  <a:lnTo>
                    <a:pt x="335" y="296"/>
                  </a:lnTo>
                  <a:lnTo>
                    <a:pt x="336" y="294"/>
                  </a:lnTo>
                  <a:lnTo>
                    <a:pt x="338" y="294"/>
                  </a:lnTo>
                  <a:lnTo>
                    <a:pt x="339" y="293"/>
                  </a:lnTo>
                  <a:lnTo>
                    <a:pt x="341" y="291"/>
                  </a:lnTo>
                  <a:lnTo>
                    <a:pt x="341" y="290"/>
                  </a:lnTo>
                  <a:lnTo>
                    <a:pt x="336" y="279"/>
                  </a:lnTo>
                  <a:close/>
                  <a:moveTo>
                    <a:pt x="191" y="256"/>
                  </a:moveTo>
                  <a:lnTo>
                    <a:pt x="191" y="254"/>
                  </a:lnTo>
                  <a:lnTo>
                    <a:pt x="191" y="253"/>
                  </a:lnTo>
                  <a:lnTo>
                    <a:pt x="191" y="254"/>
                  </a:lnTo>
                  <a:lnTo>
                    <a:pt x="190" y="254"/>
                  </a:lnTo>
                  <a:lnTo>
                    <a:pt x="190" y="256"/>
                  </a:lnTo>
                  <a:lnTo>
                    <a:pt x="188" y="254"/>
                  </a:lnTo>
                  <a:lnTo>
                    <a:pt x="188" y="253"/>
                  </a:lnTo>
                  <a:lnTo>
                    <a:pt x="188" y="251"/>
                  </a:lnTo>
                  <a:lnTo>
                    <a:pt x="188" y="250"/>
                  </a:lnTo>
                  <a:lnTo>
                    <a:pt x="188" y="248"/>
                  </a:lnTo>
                  <a:lnTo>
                    <a:pt x="187" y="248"/>
                  </a:lnTo>
                  <a:lnTo>
                    <a:pt x="185" y="246"/>
                  </a:lnTo>
                  <a:lnTo>
                    <a:pt x="184" y="243"/>
                  </a:lnTo>
                  <a:lnTo>
                    <a:pt x="184" y="239"/>
                  </a:lnTo>
                  <a:lnTo>
                    <a:pt x="182" y="237"/>
                  </a:lnTo>
                  <a:lnTo>
                    <a:pt x="182" y="239"/>
                  </a:lnTo>
                  <a:lnTo>
                    <a:pt x="181" y="240"/>
                  </a:lnTo>
                  <a:lnTo>
                    <a:pt x="181" y="243"/>
                  </a:lnTo>
                  <a:lnTo>
                    <a:pt x="182" y="245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5" y="250"/>
                  </a:lnTo>
                  <a:lnTo>
                    <a:pt x="185" y="251"/>
                  </a:lnTo>
                  <a:lnTo>
                    <a:pt x="185" y="254"/>
                  </a:lnTo>
                  <a:lnTo>
                    <a:pt x="184" y="256"/>
                  </a:lnTo>
                  <a:lnTo>
                    <a:pt x="182" y="257"/>
                  </a:lnTo>
                  <a:lnTo>
                    <a:pt x="181" y="257"/>
                  </a:lnTo>
                  <a:lnTo>
                    <a:pt x="181" y="259"/>
                  </a:lnTo>
                  <a:lnTo>
                    <a:pt x="181" y="260"/>
                  </a:lnTo>
                  <a:lnTo>
                    <a:pt x="181" y="265"/>
                  </a:lnTo>
                  <a:lnTo>
                    <a:pt x="182" y="268"/>
                  </a:lnTo>
                  <a:lnTo>
                    <a:pt x="185" y="270"/>
                  </a:lnTo>
                  <a:lnTo>
                    <a:pt x="188" y="266"/>
                  </a:lnTo>
                  <a:lnTo>
                    <a:pt x="188" y="265"/>
                  </a:lnTo>
                  <a:lnTo>
                    <a:pt x="188" y="260"/>
                  </a:lnTo>
                  <a:lnTo>
                    <a:pt x="188" y="259"/>
                  </a:lnTo>
                  <a:lnTo>
                    <a:pt x="191" y="256"/>
                  </a:lnTo>
                  <a:close/>
                  <a:moveTo>
                    <a:pt x="299" y="383"/>
                  </a:moveTo>
                  <a:lnTo>
                    <a:pt x="298" y="382"/>
                  </a:lnTo>
                  <a:lnTo>
                    <a:pt x="296" y="382"/>
                  </a:lnTo>
                  <a:lnTo>
                    <a:pt x="296" y="382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0" y="379"/>
                  </a:lnTo>
                  <a:lnTo>
                    <a:pt x="290" y="379"/>
                  </a:lnTo>
                  <a:lnTo>
                    <a:pt x="290" y="379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5" y="379"/>
                  </a:lnTo>
                  <a:lnTo>
                    <a:pt x="284" y="379"/>
                  </a:lnTo>
                  <a:lnTo>
                    <a:pt x="282" y="377"/>
                  </a:lnTo>
                  <a:lnTo>
                    <a:pt x="282" y="376"/>
                  </a:lnTo>
                  <a:lnTo>
                    <a:pt x="282" y="374"/>
                  </a:lnTo>
                  <a:lnTo>
                    <a:pt x="284" y="373"/>
                  </a:lnTo>
                  <a:lnTo>
                    <a:pt x="284" y="371"/>
                  </a:lnTo>
                  <a:lnTo>
                    <a:pt x="284" y="370"/>
                  </a:lnTo>
                  <a:lnTo>
                    <a:pt x="284" y="370"/>
                  </a:lnTo>
                  <a:lnTo>
                    <a:pt x="284" y="370"/>
                  </a:lnTo>
                  <a:lnTo>
                    <a:pt x="284" y="368"/>
                  </a:lnTo>
                  <a:lnTo>
                    <a:pt x="285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7" y="368"/>
                  </a:lnTo>
                  <a:lnTo>
                    <a:pt x="292" y="371"/>
                  </a:lnTo>
                  <a:lnTo>
                    <a:pt x="293" y="373"/>
                  </a:lnTo>
                  <a:lnTo>
                    <a:pt x="295" y="373"/>
                  </a:lnTo>
                  <a:lnTo>
                    <a:pt x="298" y="371"/>
                  </a:lnTo>
                  <a:lnTo>
                    <a:pt x="299" y="370"/>
                  </a:lnTo>
                  <a:lnTo>
                    <a:pt x="301" y="370"/>
                  </a:lnTo>
                  <a:lnTo>
                    <a:pt x="302" y="370"/>
                  </a:lnTo>
                  <a:lnTo>
                    <a:pt x="304" y="368"/>
                  </a:lnTo>
                  <a:lnTo>
                    <a:pt x="304" y="365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301" y="359"/>
                  </a:lnTo>
                  <a:lnTo>
                    <a:pt x="302" y="357"/>
                  </a:lnTo>
                  <a:lnTo>
                    <a:pt x="302" y="357"/>
                  </a:lnTo>
                  <a:lnTo>
                    <a:pt x="304" y="357"/>
                  </a:lnTo>
                  <a:lnTo>
                    <a:pt x="304" y="356"/>
                  </a:lnTo>
                  <a:lnTo>
                    <a:pt x="304" y="356"/>
                  </a:lnTo>
                  <a:lnTo>
                    <a:pt x="304" y="353"/>
                  </a:lnTo>
                  <a:lnTo>
                    <a:pt x="301" y="351"/>
                  </a:lnTo>
                  <a:lnTo>
                    <a:pt x="295" y="351"/>
                  </a:lnTo>
                  <a:lnTo>
                    <a:pt x="293" y="350"/>
                  </a:lnTo>
                  <a:lnTo>
                    <a:pt x="292" y="348"/>
                  </a:lnTo>
                  <a:lnTo>
                    <a:pt x="292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5"/>
                  </a:lnTo>
                  <a:lnTo>
                    <a:pt x="295" y="345"/>
                  </a:lnTo>
                  <a:lnTo>
                    <a:pt x="296" y="345"/>
                  </a:lnTo>
                  <a:lnTo>
                    <a:pt x="298" y="347"/>
                  </a:lnTo>
                  <a:lnTo>
                    <a:pt x="298" y="350"/>
                  </a:lnTo>
                  <a:lnTo>
                    <a:pt x="298" y="350"/>
                  </a:lnTo>
                  <a:lnTo>
                    <a:pt x="298" y="351"/>
                  </a:lnTo>
                  <a:lnTo>
                    <a:pt x="299" y="350"/>
                  </a:lnTo>
                  <a:lnTo>
                    <a:pt x="299" y="350"/>
                  </a:lnTo>
                  <a:lnTo>
                    <a:pt x="299" y="347"/>
                  </a:lnTo>
                  <a:lnTo>
                    <a:pt x="301" y="343"/>
                  </a:lnTo>
                  <a:lnTo>
                    <a:pt x="301" y="342"/>
                  </a:lnTo>
                  <a:lnTo>
                    <a:pt x="304" y="340"/>
                  </a:lnTo>
                  <a:lnTo>
                    <a:pt x="304" y="339"/>
                  </a:lnTo>
                  <a:lnTo>
                    <a:pt x="321" y="336"/>
                  </a:lnTo>
                  <a:lnTo>
                    <a:pt x="324" y="333"/>
                  </a:lnTo>
                  <a:lnTo>
                    <a:pt x="324" y="333"/>
                  </a:lnTo>
                  <a:lnTo>
                    <a:pt x="325" y="331"/>
                  </a:lnTo>
                  <a:lnTo>
                    <a:pt x="324" y="328"/>
                  </a:lnTo>
                  <a:lnTo>
                    <a:pt x="324" y="325"/>
                  </a:lnTo>
                  <a:lnTo>
                    <a:pt x="324" y="323"/>
                  </a:lnTo>
                  <a:lnTo>
                    <a:pt x="324" y="322"/>
                  </a:lnTo>
                  <a:lnTo>
                    <a:pt x="322" y="319"/>
                  </a:lnTo>
                  <a:lnTo>
                    <a:pt x="318" y="317"/>
                  </a:lnTo>
                  <a:lnTo>
                    <a:pt x="318" y="316"/>
                  </a:lnTo>
                  <a:lnTo>
                    <a:pt x="313" y="316"/>
                  </a:lnTo>
                  <a:lnTo>
                    <a:pt x="312" y="316"/>
                  </a:lnTo>
                  <a:lnTo>
                    <a:pt x="308" y="313"/>
                  </a:lnTo>
                  <a:lnTo>
                    <a:pt x="305" y="305"/>
                  </a:lnTo>
                  <a:lnTo>
                    <a:pt x="310" y="297"/>
                  </a:lnTo>
                  <a:lnTo>
                    <a:pt x="310" y="297"/>
                  </a:lnTo>
                  <a:lnTo>
                    <a:pt x="315" y="293"/>
                  </a:lnTo>
                  <a:lnTo>
                    <a:pt x="316" y="291"/>
                  </a:lnTo>
                  <a:lnTo>
                    <a:pt x="321" y="288"/>
                  </a:lnTo>
                  <a:lnTo>
                    <a:pt x="322" y="288"/>
                  </a:lnTo>
                  <a:lnTo>
                    <a:pt x="324" y="288"/>
                  </a:lnTo>
                  <a:lnTo>
                    <a:pt x="324" y="290"/>
                  </a:lnTo>
                  <a:lnTo>
                    <a:pt x="325" y="290"/>
                  </a:lnTo>
                  <a:lnTo>
                    <a:pt x="327" y="290"/>
                  </a:lnTo>
                  <a:lnTo>
                    <a:pt x="328" y="288"/>
                  </a:lnTo>
                  <a:lnTo>
                    <a:pt x="328" y="286"/>
                  </a:lnTo>
                  <a:lnTo>
                    <a:pt x="332" y="283"/>
                  </a:lnTo>
                  <a:lnTo>
                    <a:pt x="335" y="279"/>
                  </a:lnTo>
                  <a:lnTo>
                    <a:pt x="336" y="276"/>
                  </a:lnTo>
                  <a:lnTo>
                    <a:pt x="335" y="274"/>
                  </a:lnTo>
                  <a:lnTo>
                    <a:pt x="335" y="274"/>
                  </a:lnTo>
                  <a:lnTo>
                    <a:pt x="335" y="274"/>
                  </a:lnTo>
                  <a:lnTo>
                    <a:pt x="335" y="273"/>
                  </a:lnTo>
                  <a:lnTo>
                    <a:pt x="335" y="271"/>
                  </a:lnTo>
                  <a:lnTo>
                    <a:pt x="335" y="268"/>
                  </a:lnTo>
                  <a:lnTo>
                    <a:pt x="336" y="266"/>
                  </a:lnTo>
                  <a:lnTo>
                    <a:pt x="336" y="265"/>
                  </a:lnTo>
                  <a:lnTo>
                    <a:pt x="335" y="263"/>
                  </a:lnTo>
                  <a:lnTo>
                    <a:pt x="333" y="260"/>
                  </a:lnTo>
                  <a:lnTo>
                    <a:pt x="333" y="257"/>
                  </a:lnTo>
                  <a:lnTo>
                    <a:pt x="333" y="254"/>
                  </a:lnTo>
                  <a:lnTo>
                    <a:pt x="332" y="253"/>
                  </a:lnTo>
                  <a:lnTo>
                    <a:pt x="332" y="251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30" y="245"/>
                  </a:lnTo>
                  <a:lnTo>
                    <a:pt x="332" y="240"/>
                  </a:lnTo>
                  <a:lnTo>
                    <a:pt x="333" y="239"/>
                  </a:lnTo>
                  <a:lnTo>
                    <a:pt x="336" y="234"/>
                  </a:lnTo>
                  <a:lnTo>
                    <a:pt x="338" y="233"/>
                  </a:lnTo>
                  <a:lnTo>
                    <a:pt x="333" y="228"/>
                  </a:lnTo>
                  <a:lnTo>
                    <a:pt x="332" y="228"/>
                  </a:lnTo>
                  <a:lnTo>
                    <a:pt x="328" y="225"/>
                  </a:lnTo>
                  <a:lnTo>
                    <a:pt x="327" y="225"/>
                  </a:lnTo>
                  <a:lnTo>
                    <a:pt x="322" y="225"/>
                  </a:lnTo>
                  <a:lnTo>
                    <a:pt x="316" y="220"/>
                  </a:lnTo>
                  <a:lnTo>
                    <a:pt x="310" y="220"/>
                  </a:lnTo>
                  <a:lnTo>
                    <a:pt x="304" y="223"/>
                  </a:lnTo>
                  <a:lnTo>
                    <a:pt x="292" y="234"/>
                  </a:lnTo>
                  <a:lnTo>
                    <a:pt x="285" y="237"/>
                  </a:lnTo>
                  <a:lnTo>
                    <a:pt x="281" y="242"/>
                  </a:lnTo>
                  <a:lnTo>
                    <a:pt x="279" y="245"/>
                  </a:lnTo>
                  <a:lnTo>
                    <a:pt x="281" y="246"/>
                  </a:lnTo>
                  <a:lnTo>
                    <a:pt x="284" y="245"/>
                  </a:lnTo>
                  <a:lnTo>
                    <a:pt x="288" y="243"/>
                  </a:lnTo>
                  <a:lnTo>
                    <a:pt x="290" y="243"/>
                  </a:lnTo>
                  <a:lnTo>
                    <a:pt x="292" y="243"/>
                  </a:lnTo>
                  <a:lnTo>
                    <a:pt x="293" y="245"/>
                  </a:lnTo>
                  <a:lnTo>
                    <a:pt x="295" y="253"/>
                  </a:lnTo>
                  <a:lnTo>
                    <a:pt x="295" y="254"/>
                  </a:lnTo>
                  <a:lnTo>
                    <a:pt x="295" y="259"/>
                  </a:lnTo>
                  <a:lnTo>
                    <a:pt x="298" y="274"/>
                  </a:lnTo>
                  <a:lnTo>
                    <a:pt x="298" y="276"/>
                  </a:lnTo>
                  <a:lnTo>
                    <a:pt x="296" y="280"/>
                  </a:lnTo>
                  <a:lnTo>
                    <a:pt x="296" y="283"/>
                  </a:lnTo>
                  <a:lnTo>
                    <a:pt x="293" y="282"/>
                  </a:lnTo>
                  <a:lnTo>
                    <a:pt x="292" y="282"/>
                  </a:lnTo>
                  <a:lnTo>
                    <a:pt x="292" y="280"/>
                  </a:lnTo>
                  <a:lnTo>
                    <a:pt x="292" y="280"/>
                  </a:lnTo>
                  <a:lnTo>
                    <a:pt x="295" y="280"/>
                  </a:lnTo>
                  <a:lnTo>
                    <a:pt x="293" y="279"/>
                  </a:lnTo>
                  <a:lnTo>
                    <a:pt x="293" y="277"/>
                  </a:lnTo>
                  <a:lnTo>
                    <a:pt x="292" y="277"/>
                  </a:lnTo>
                  <a:lnTo>
                    <a:pt x="290" y="279"/>
                  </a:lnTo>
                  <a:lnTo>
                    <a:pt x="290" y="280"/>
                  </a:lnTo>
                  <a:lnTo>
                    <a:pt x="288" y="282"/>
                  </a:lnTo>
                  <a:lnTo>
                    <a:pt x="285" y="283"/>
                  </a:lnTo>
                  <a:lnTo>
                    <a:pt x="284" y="282"/>
                  </a:lnTo>
                  <a:lnTo>
                    <a:pt x="285" y="280"/>
                  </a:lnTo>
                  <a:lnTo>
                    <a:pt x="288" y="279"/>
                  </a:lnTo>
                  <a:lnTo>
                    <a:pt x="288" y="277"/>
                  </a:lnTo>
                  <a:lnTo>
                    <a:pt x="288" y="274"/>
                  </a:lnTo>
                  <a:lnTo>
                    <a:pt x="290" y="274"/>
                  </a:lnTo>
                  <a:lnTo>
                    <a:pt x="293" y="276"/>
                  </a:lnTo>
                  <a:lnTo>
                    <a:pt x="295" y="273"/>
                  </a:lnTo>
                  <a:lnTo>
                    <a:pt x="295" y="268"/>
                  </a:lnTo>
                  <a:lnTo>
                    <a:pt x="293" y="262"/>
                  </a:lnTo>
                  <a:lnTo>
                    <a:pt x="292" y="259"/>
                  </a:lnTo>
                  <a:lnTo>
                    <a:pt x="292" y="257"/>
                  </a:lnTo>
                  <a:lnTo>
                    <a:pt x="292" y="257"/>
                  </a:lnTo>
                  <a:lnTo>
                    <a:pt x="290" y="256"/>
                  </a:lnTo>
                  <a:lnTo>
                    <a:pt x="290" y="254"/>
                  </a:lnTo>
                  <a:lnTo>
                    <a:pt x="290" y="253"/>
                  </a:lnTo>
                  <a:lnTo>
                    <a:pt x="292" y="253"/>
                  </a:lnTo>
                  <a:lnTo>
                    <a:pt x="292" y="251"/>
                  </a:lnTo>
                  <a:lnTo>
                    <a:pt x="290" y="250"/>
                  </a:lnTo>
                  <a:lnTo>
                    <a:pt x="288" y="250"/>
                  </a:lnTo>
                  <a:lnTo>
                    <a:pt x="287" y="246"/>
                  </a:lnTo>
                  <a:lnTo>
                    <a:pt x="285" y="246"/>
                  </a:lnTo>
                  <a:lnTo>
                    <a:pt x="284" y="250"/>
                  </a:lnTo>
                  <a:lnTo>
                    <a:pt x="285" y="253"/>
                  </a:lnTo>
                  <a:lnTo>
                    <a:pt x="287" y="257"/>
                  </a:lnTo>
                  <a:lnTo>
                    <a:pt x="287" y="260"/>
                  </a:lnTo>
                  <a:lnTo>
                    <a:pt x="285" y="262"/>
                  </a:lnTo>
                  <a:lnTo>
                    <a:pt x="282" y="262"/>
                  </a:lnTo>
                  <a:lnTo>
                    <a:pt x="281" y="263"/>
                  </a:lnTo>
                  <a:lnTo>
                    <a:pt x="281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78" y="280"/>
                  </a:lnTo>
                  <a:lnTo>
                    <a:pt x="276" y="282"/>
                  </a:lnTo>
                  <a:lnTo>
                    <a:pt x="275" y="282"/>
                  </a:lnTo>
                  <a:lnTo>
                    <a:pt x="275" y="280"/>
                  </a:lnTo>
                  <a:lnTo>
                    <a:pt x="276" y="280"/>
                  </a:lnTo>
                  <a:lnTo>
                    <a:pt x="276" y="279"/>
                  </a:lnTo>
                  <a:lnTo>
                    <a:pt x="275" y="277"/>
                  </a:lnTo>
                  <a:lnTo>
                    <a:pt x="273" y="274"/>
                  </a:lnTo>
                  <a:lnTo>
                    <a:pt x="272" y="273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267" y="274"/>
                  </a:lnTo>
                  <a:lnTo>
                    <a:pt x="267" y="274"/>
                  </a:lnTo>
                  <a:lnTo>
                    <a:pt x="265" y="273"/>
                  </a:lnTo>
                  <a:lnTo>
                    <a:pt x="265" y="273"/>
                  </a:lnTo>
                  <a:lnTo>
                    <a:pt x="267" y="273"/>
                  </a:lnTo>
                  <a:lnTo>
                    <a:pt x="273" y="271"/>
                  </a:lnTo>
                  <a:lnTo>
                    <a:pt x="273" y="270"/>
                  </a:lnTo>
                  <a:lnTo>
                    <a:pt x="273" y="268"/>
                  </a:lnTo>
                  <a:lnTo>
                    <a:pt x="272" y="265"/>
                  </a:lnTo>
                  <a:lnTo>
                    <a:pt x="272" y="265"/>
                  </a:lnTo>
                  <a:lnTo>
                    <a:pt x="270" y="265"/>
                  </a:lnTo>
                  <a:lnTo>
                    <a:pt x="268" y="265"/>
                  </a:lnTo>
                  <a:lnTo>
                    <a:pt x="268" y="266"/>
                  </a:lnTo>
                  <a:lnTo>
                    <a:pt x="267" y="266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5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65" y="263"/>
                  </a:lnTo>
                  <a:lnTo>
                    <a:pt x="267" y="262"/>
                  </a:lnTo>
                  <a:lnTo>
                    <a:pt x="268" y="263"/>
                  </a:lnTo>
                  <a:lnTo>
                    <a:pt x="270" y="263"/>
                  </a:lnTo>
                  <a:lnTo>
                    <a:pt x="272" y="260"/>
                  </a:lnTo>
                  <a:lnTo>
                    <a:pt x="270" y="257"/>
                  </a:lnTo>
                  <a:lnTo>
                    <a:pt x="265" y="250"/>
                  </a:lnTo>
                  <a:lnTo>
                    <a:pt x="267" y="250"/>
                  </a:lnTo>
                  <a:lnTo>
                    <a:pt x="267" y="248"/>
                  </a:lnTo>
                  <a:lnTo>
                    <a:pt x="270" y="248"/>
                  </a:lnTo>
                  <a:lnTo>
                    <a:pt x="270" y="250"/>
                  </a:lnTo>
                  <a:lnTo>
                    <a:pt x="270" y="250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3" y="250"/>
                  </a:lnTo>
                  <a:lnTo>
                    <a:pt x="272" y="248"/>
                  </a:lnTo>
                  <a:lnTo>
                    <a:pt x="272" y="246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3" y="242"/>
                  </a:lnTo>
                  <a:lnTo>
                    <a:pt x="272" y="242"/>
                  </a:lnTo>
                  <a:lnTo>
                    <a:pt x="270" y="243"/>
                  </a:lnTo>
                  <a:lnTo>
                    <a:pt x="264" y="245"/>
                  </a:lnTo>
                  <a:lnTo>
                    <a:pt x="261" y="245"/>
                  </a:lnTo>
                  <a:lnTo>
                    <a:pt x="259" y="243"/>
                  </a:lnTo>
                  <a:lnTo>
                    <a:pt x="248" y="242"/>
                  </a:lnTo>
                  <a:lnTo>
                    <a:pt x="247" y="243"/>
                  </a:lnTo>
                  <a:lnTo>
                    <a:pt x="238" y="239"/>
                  </a:lnTo>
                  <a:lnTo>
                    <a:pt x="238" y="240"/>
                  </a:lnTo>
                  <a:lnTo>
                    <a:pt x="239" y="242"/>
                  </a:lnTo>
                  <a:lnTo>
                    <a:pt x="245" y="245"/>
                  </a:lnTo>
                  <a:lnTo>
                    <a:pt x="250" y="245"/>
                  </a:lnTo>
                  <a:lnTo>
                    <a:pt x="251" y="245"/>
                  </a:lnTo>
                  <a:lnTo>
                    <a:pt x="255" y="250"/>
                  </a:lnTo>
                  <a:lnTo>
                    <a:pt x="255" y="256"/>
                  </a:lnTo>
                  <a:lnTo>
                    <a:pt x="251" y="259"/>
                  </a:lnTo>
                  <a:lnTo>
                    <a:pt x="250" y="259"/>
                  </a:lnTo>
                  <a:lnTo>
                    <a:pt x="248" y="260"/>
                  </a:lnTo>
                  <a:lnTo>
                    <a:pt x="247" y="260"/>
                  </a:lnTo>
                  <a:lnTo>
                    <a:pt x="244" y="260"/>
                  </a:lnTo>
                  <a:lnTo>
                    <a:pt x="242" y="259"/>
                  </a:lnTo>
                  <a:lnTo>
                    <a:pt x="242" y="260"/>
                  </a:lnTo>
                  <a:lnTo>
                    <a:pt x="244" y="262"/>
                  </a:lnTo>
                  <a:lnTo>
                    <a:pt x="244" y="263"/>
                  </a:lnTo>
                  <a:lnTo>
                    <a:pt x="244" y="263"/>
                  </a:lnTo>
                  <a:lnTo>
                    <a:pt x="244" y="266"/>
                  </a:lnTo>
                  <a:lnTo>
                    <a:pt x="244" y="266"/>
                  </a:lnTo>
                  <a:lnTo>
                    <a:pt x="244" y="268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39" y="271"/>
                  </a:lnTo>
                  <a:lnTo>
                    <a:pt x="236" y="273"/>
                  </a:lnTo>
                  <a:lnTo>
                    <a:pt x="236" y="274"/>
                  </a:lnTo>
                  <a:lnTo>
                    <a:pt x="233" y="274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0" y="274"/>
                  </a:lnTo>
                  <a:lnTo>
                    <a:pt x="233" y="276"/>
                  </a:lnTo>
                  <a:lnTo>
                    <a:pt x="231" y="277"/>
                  </a:lnTo>
                  <a:lnTo>
                    <a:pt x="228" y="277"/>
                  </a:lnTo>
                  <a:lnTo>
                    <a:pt x="227" y="274"/>
                  </a:lnTo>
                  <a:lnTo>
                    <a:pt x="225" y="273"/>
                  </a:lnTo>
                  <a:lnTo>
                    <a:pt x="227" y="273"/>
                  </a:lnTo>
                  <a:lnTo>
                    <a:pt x="227" y="271"/>
                  </a:lnTo>
                  <a:lnTo>
                    <a:pt x="228" y="271"/>
                  </a:lnTo>
                  <a:lnTo>
                    <a:pt x="228" y="271"/>
                  </a:lnTo>
                  <a:lnTo>
                    <a:pt x="228" y="271"/>
                  </a:lnTo>
                  <a:lnTo>
                    <a:pt x="227" y="271"/>
                  </a:lnTo>
                  <a:lnTo>
                    <a:pt x="221" y="273"/>
                  </a:lnTo>
                  <a:lnTo>
                    <a:pt x="219" y="274"/>
                  </a:lnTo>
                  <a:lnTo>
                    <a:pt x="207" y="271"/>
                  </a:lnTo>
                  <a:lnTo>
                    <a:pt x="207" y="273"/>
                  </a:lnTo>
                  <a:lnTo>
                    <a:pt x="208" y="273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5" y="274"/>
                  </a:lnTo>
                  <a:lnTo>
                    <a:pt x="215" y="276"/>
                  </a:lnTo>
                  <a:lnTo>
                    <a:pt x="216" y="277"/>
                  </a:lnTo>
                  <a:lnTo>
                    <a:pt x="218" y="279"/>
                  </a:lnTo>
                  <a:lnTo>
                    <a:pt x="222" y="280"/>
                  </a:lnTo>
                  <a:lnTo>
                    <a:pt x="224" y="282"/>
                  </a:lnTo>
                  <a:lnTo>
                    <a:pt x="211" y="282"/>
                  </a:lnTo>
                  <a:lnTo>
                    <a:pt x="211" y="282"/>
                  </a:lnTo>
                  <a:lnTo>
                    <a:pt x="219" y="285"/>
                  </a:lnTo>
                  <a:lnTo>
                    <a:pt x="224" y="286"/>
                  </a:lnTo>
                  <a:lnTo>
                    <a:pt x="227" y="291"/>
                  </a:lnTo>
                  <a:lnTo>
                    <a:pt x="227" y="294"/>
                  </a:lnTo>
                  <a:lnTo>
                    <a:pt x="227" y="296"/>
                  </a:lnTo>
                  <a:lnTo>
                    <a:pt x="227" y="297"/>
                  </a:lnTo>
                  <a:lnTo>
                    <a:pt x="225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2" y="300"/>
                  </a:lnTo>
                  <a:lnTo>
                    <a:pt x="222" y="302"/>
                  </a:lnTo>
                  <a:lnTo>
                    <a:pt x="222" y="303"/>
                  </a:lnTo>
                  <a:lnTo>
                    <a:pt x="224" y="302"/>
                  </a:lnTo>
                  <a:lnTo>
                    <a:pt x="225" y="302"/>
                  </a:lnTo>
                  <a:lnTo>
                    <a:pt x="227" y="302"/>
                  </a:lnTo>
                  <a:lnTo>
                    <a:pt x="228" y="302"/>
                  </a:lnTo>
                  <a:lnTo>
                    <a:pt x="228" y="303"/>
                  </a:lnTo>
                  <a:lnTo>
                    <a:pt x="230" y="305"/>
                  </a:lnTo>
                  <a:lnTo>
                    <a:pt x="231" y="310"/>
                  </a:lnTo>
                  <a:lnTo>
                    <a:pt x="231" y="313"/>
                  </a:lnTo>
                  <a:lnTo>
                    <a:pt x="231" y="314"/>
                  </a:lnTo>
                  <a:lnTo>
                    <a:pt x="233" y="314"/>
                  </a:lnTo>
                  <a:lnTo>
                    <a:pt x="233" y="316"/>
                  </a:lnTo>
                  <a:lnTo>
                    <a:pt x="231" y="317"/>
                  </a:lnTo>
                  <a:lnTo>
                    <a:pt x="230" y="319"/>
                  </a:lnTo>
                  <a:lnTo>
                    <a:pt x="230" y="319"/>
                  </a:lnTo>
                  <a:lnTo>
                    <a:pt x="228" y="319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27" y="322"/>
                  </a:lnTo>
                  <a:lnTo>
                    <a:pt x="225" y="322"/>
                  </a:lnTo>
                  <a:lnTo>
                    <a:pt x="224" y="322"/>
                  </a:lnTo>
                  <a:lnTo>
                    <a:pt x="224" y="322"/>
                  </a:lnTo>
                  <a:lnTo>
                    <a:pt x="224" y="325"/>
                  </a:lnTo>
                  <a:lnTo>
                    <a:pt x="225" y="325"/>
                  </a:lnTo>
                  <a:lnTo>
                    <a:pt x="225" y="325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3"/>
                  </a:lnTo>
                  <a:lnTo>
                    <a:pt x="228" y="323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1" y="323"/>
                  </a:lnTo>
                  <a:lnTo>
                    <a:pt x="230" y="325"/>
                  </a:lnTo>
                  <a:lnTo>
                    <a:pt x="230" y="325"/>
                  </a:lnTo>
                  <a:lnTo>
                    <a:pt x="228" y="327"/>
                  </a:lnTo>
                  <a:lnTo>
                    <a:pt x="228" y="327"/>
                  </a:lnTo>
                  <a:lnTo>
                    <a:pt x="228" y="328"/>
                  </a:lnTo>
                  <a:lnTo>
                    <a:pt x="233" y="331"/>
                  </a:lnTo>
                  <a:lnTo>
                    <a:pt x="235" y="331"/>
                  </a:lnTo>
                  <a:lnTo>
                    <a:pt x="235" y="333"/>
                  </a:lnTo>
                  <a:lnTo>
                    <a:pt x="235" y="336"/>
                  </a:lnTo>
                  <a:lnTo>
                    <a:pt x="235" y="336"/>
                  </a:lnTo>
                  <a:lnTo>
                    <a:pt x="236" y="336"/>
                  </a:lnTo>
                  <a:lnTo>
                    <a:pt x="238" y="336"/>
                  </a:lnTo>
                  <a:lnTo>
                    <a:pt x="238" y="336"/>
                  </a:lnTo>
                  <a:lnTo>
                    <a:pt x="238" y="337"/>
                  </a:lnTo>
                  <a:lnTo>
                    <a:pt x="236" y="339"/>
                  </a:lnTo>
                  <a:lnTo>
                    <a:pt x="236" y="339"/>
                  </a:lnTo>
                  <a:lnTo>
                    <a:pt x="235" y="337"/>
                  </a:lnTo>
                  <a:lnTo>
                    <a:pt x="235" y="340"/>
                  </a:lnTo>
                  <a:lnTo>
                    <a:pt x="236" y="343"/>
                  </a:lnTo>
                  <a:lnTo>
                    <a:pt x="238" y="343"/>
                  </a:lnTo>
                  <a:lnTo>
                    <a:pt x="241" y="343"/>
                  </a:lnTo>
                  <a:lnTo>
                    <a:pt x="239" y="342"/>
                  </a:lnTo>
                  <a:lnTo>
                    <a:pt x="239" y="342"/>
                  </a:lnTo>
                  <a:lnTo>
                    <a:pt x="244" y="342"/>
                  </a:lnTo>
                  <a:lnTo>
                    <a:pt x="245" y="342"/>
                  </a:lnTo>
                  <a:lnTo>
                    <a:pt x="247" y="340"/>
                  </a:lnTo>
                  <a:lnTo>
                    <a:pt x="248" y="340"/>
                  </a:lnTo>
                  <a:lnTo>
                    <a:pt x="253" y="342"/>
                  </a:lnTo>
                  <a:lnTo>
                    <a:pt x="255" y="342"/>
                  </a:lnTo>
                  <a:lnTo>
                    <a:pt x="256" y="342"/>
                  </a:lnTo>
                  <a:lnTo>
                    <a:pt x="261" y="343"/>
                  </a:lnTo>
                  <a:lnTo>
                    <a:pt x="264" y="345"/>
                  </a:lnTo>
                  <a:lnTo>
                    <a:pt x="265" y="345"/>
                  </a:lnTo>
                  <a:lnTo>
                    <a:pt x="265" y="345"/>
                  </a:lnTo>
                  <a:lnTo>
                    <a:pt x="267" y="343"/>
                  </a:lnTo>
                  <a:lnTo>
                    <a:pt x="268" y="342"/>
                  </a:lnTo>
                  <a:lnTo>
                    <a:pt x="270" y="342"/>
                  </a:lnTo>
                  <a:lnTo>
                    <a:pt x="272" y="343"/>
                  </a:lnTo>
                  <a:lnTo>
                    <a:pt x="272" y="345"/>
                  </a:lnTo>
                  <a:lnTo>
                    <a:pt x="270" y="347"/>
                  </a:lnTo>
                  <a:lnTo>
                    <a:pt x="270" y="347"/>
                  </a:lnTo>
                  <a:lnTo>
                    <a:pt x="272" y="348"/>
                  </a:lnTo>
                  <a:lnTo>
                    <a:pt x="275" y="348"/>
                  </a:lnTo>
                  <a:lnTo>
                    <a:pt x="276" y="350"/>
                  </a:lnTo>
                  <a:lnTo>
                    <a:pt x="276" y="351"/>
                  </a:lnTo>
                  <a:lnTo>
                    <a:pt x="276" y="351"/>
                  </a:lnTo>
                  <a:lnTo>
                    <a:pt x="270" y="353"/>
                  </a:lnTo>
                  <a:lnTo>
                    <a:pt x="272" y="356"/>
                  </a:lnTo>
                  <a:lnTo>
                    <a:pt x="276" y="359"/>
                  </a:lnTo>
                  <a:lnTo>
                    <a:pt x="278" y="362"/>
                  </a:lnTo>
                  <a:lnTo>
                    <a:pt x="275" y="362"/>
                  </a:lnTo>
                  <a:lnTo>
                    <a:pt x="267" y="357"/>
                  </a:lnTo>
                  <a:lnTo>
                    <a:pt x="262" y="357"/>
                  </a:lnTo>
                  <a:lnTo>
                    <a:pt x="264" y="359"/>
                  </a:lnTo>
                  <a:lnTo>
                    <a:pt x="265" y="359"/>
                  </a:lnTo>
                  <a:lnTo>
                    <a:pt x="265" y="360"/>
                  </a:lnTo>
                  <a:lnTo>
                    <a:pt x="272" y="360"/>
                  </a:lnTo>
                  <a:lnTo>
                    <a:pt x="272" y="360"/>
                  </a:lnTo>
                  <a:lnTo>
                    <a:pt x="273" y="362"/>
                  </a:lnTo>
                  <a:lnTo>
                    <a:pt x="273" y="362"/>
                  </a:lnTo>
                  <a:lnTo>
                    <a:pt x="275" y="362"/>
                  </a:lnTo>
                  <a:lnTo>
                    <a:pt x="279" y="365"/>
                  </a:lnTo>
                  <a:lnTo>
                    <a:pt x="281" y="367"/>
                  </a:lnTo>
                  <a:lnTo>
                    <a:pt x="281" y="370"/>
                  </a:lnTo>
                  <a:lnTo>
                    <a:pt x="282" y="371"/>
                  </a:lnTo>
                  <a:lnTo>
                    <a:pt x="282" y="373"/>
                  </a:lnTo>
                  <a:lnTo>
                    <a:pt x="281" y="374"/>
                  </a:lnTo>
                  <a:lnTo>
                    <a:pt x="279" y="374"/>
                  </a:lnTo>
                  <a:lnTo>
                    <a:pt x="279" y="373"/>
                  </a:lnTo>
                  <a:lnTo>
                    <a:pt x="279" y="373"/>
                  </a:lnTo>
                  <a:lnTo>
                    <a:pt x="278" y="374"/>
                  </a:lnTo>
                  <a:lnTo>
                    <a:pt x="276" y="376"/>
                  </a:lnTo>
                  <a:lnTo>
                    <a:pt x="276" y="376"/>
                  </a:lnTo>
                  <a:lnTo>
                    <a:pt x="275" y="373"/>
                  </a:lnTo>
                  <a:lnTo>
                    <a:pt x="273" y="373"/>
                  </a:lnTo>
                  <a:lnTo>
                    <a:pt x="273" y="373"/>
                  </a:lnTo>
                  <a:lnTo>
                    <a:pt x="270" y="376"/>
                  </a:lnTo>
                  <a:lnTo>
                    <a:pt x="270" y="376"/>
                  </a:lnTo>
                  <a:lnTo>
                    <a:pt x="272" y="377"/>
                  </a:lnTo>
                  <a:lnTo>
                    <a:pt x="272" y="379"/>
                  </a:lnTo>
                  <a:lnTo>
                    <a:pt x="272" y="380"/>
                  </a:lnTo>
                  <a:lnTo>
                    <a:pt x="272" y="382"/>
                  </a:lnTo>
                  <a:lnTo>
                    <a:pt x="273" y="385"/>
                  </a:lnTo>
                  <a:lnTo>
                    <a:pt x="273" y="387"/>
                  </a:lnTo>
                  <a:lnTo>
                    <a:pt x="275" y="388"/>
                  </a:lnTo>
                  <a:lnTo>
                    <a:pt x="276" y="388"/>
                  </a:lnTo>
                  <a:lnTo>
                    <a:pt x="276" y="390"/>
                  </a:lnTo>
                  <a:lnTo>
                    <a:pt x="276" y="391"/>
                  </a:lnTo>
                  <a:lnTo>
                    <a:pt x="276" y="391"/>
                  </a:lnTo>
                  <a:lnTo>
                    <a:pt x="276" y="393"/>
                  </a:lnTo>
                  <a:lnTo>
                    <a:pt x="276" y="393"/>
                  </a:lnTo>
                  <a:lnTo>
                    <a:pt x="276" y="394"/>
                  </a:lnTo>
                  <a:lnTo>
                    <a:pt x="281" y="397"/>
                  </a:lnTo>
                  <a:lnTo>
                    <a:pt x="281" y="399"/>
                  </a:lnTo>
                  <a:lnTo>
                    <a:pt x="281" y="400"/>
                  </a:lnTo>
                  <a:lnTo>
                    <a:pt x="282" y="400"/>
                  </a:lnTo>
                  <a:lnTo>
                    <a:pt x="281" y="402"/>
                  </a:lnTo>
                  <a:lnTo>
                    <a:pt x="282" y="403"/>
                  </a:lnTo>
                  <a:lnTo>
                    <a:pt x="282" y="405"/>
                  </a:lnTo>
                  <a:lnTo>
                    <a:pt x="284" y="405"/>
                  </a:lnTo>
                  <a:lnTo>
                    <a:pt x="282" y="408"/>
                  </a:lnTo>
                  <a:lnTo>
                    <a:pt x="281" y="410"/>
                  </a:lnTo>
                  <a:lnTo>
                    <a:pt x="281" y="413"/>
                  </a:lnTo>
                  <a:lnTo>
                    <a:pt x="282" y="414"/>
                  </a:lnTo>
                  <a:lnTo>
                    <a:pt x="284" y="419"/>
                  </a:lnTo>
                  <a:lnTo>
                    <a:pt x="285" y="420"/>
                  </a:lnTo>
                  <a:lnTo>
                    <a:pt x="285" y="422"/>
                  </a:lnTo>
                  <a:lnTo>
                    <a:pt x="287" y="425"/>
                  </a:lnTo>
                  <a:lnTo>
                    <a:pt x="288" y="424"/>
                  </a:lnTo>
                  <a:lnTo>
                    <a:pt x="288" y="419"/>
                  </a:lnTo>
                  <a:lnTo>
                    <a:pt x="288" y="413"/>
                  </a:lnTo>
                  <a:lnTo>
                    <a:pt x="288" y="408"/>
                  </a:lnTo>
                  <a:lnTo>
                    <a:pt x="288" y="407"/>
                  </a:lnTo>
                  <a:lnTo>
                    <a:pt x="290" y="407"/>
                  </a:lnTo>
                  <a:lnTo>
                    <a:pt x="292" y="403"/>
                  </a:lnTo>
                  <a:lnTo>
                    <a:pt x="293" y="403"/>
                  </a:lnTo>
                  <a:lnTo>
                    <a:pt x="293" y="402"/>
                  </a:lnTo>
                  <a:lnTo>
                    <a:pt x="296" y="396"/>
                  </a:lnTo>
                  <a:lnTo>
                    <a:pt x="298" y="396"/>
                  </a:lnTo>
                  <a:lnTo>
                    <a:pt x="304" y="390"/>
                  </a:lnTo>
                  <a:lnTo>
                    <a:pt x="304" y="388"/>
                  </a:lnTo>
                  <a:lnTo>
                    <a:pt x="301" y="387"/>
                  </a:lnTo>
                  <a:lnTo>
                    <a:pt x="299" y="383"/>
                  </a:lnTo>
                  <a:close/>
                  <a:moveTo>
                    <a:pt x="256" y="146"/>
                  </a:move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61" y="145"/>
                  </a:lnTo>
                  <a:lnTo>
                    <a:pt x="262" y="143"/>
                  </a:lnTo>
                  <a:lnTo>
                    <a:pt x="262" y="142"/>
                  </a:lnTo>
                  <a:lnTo>
                    <a:pt x="264" y="142"/>
                  </a:lnTo>
                  <a:lnTo>
                    <a:pt x="264" y="142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2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5"/>
                  </a:lnTo>
                  <a:lnTo>
                    <a:pt x="256" y="146"/>
                  </a:lnTo>
                  <a:close/>
                  <a:moveTo>
                    <a:pt x="33" y="136"/>
                  </a:moveTo>
                  <a:lnTo>
                    <a:pt x="33" y="136"/>
                  </a:lnTo>
                  <a:lnTo>
                    <a:pt x="33" y="137"/>
                  </a:lnTo>
                  <a:lnTo>
                    <a:pt x="31" y="137"/>
                  </a:lnTo>
                  <a:lnTo>
                    <a:pt x="31" y="139"/>
                  </a:lnTo>
                  <a:lnTo>
                    <a:pt x="33" y="139"/>
                  </a:lnTo>
                  <a:lnTo>
                    <a:pt x="34" y="137"/>
                  </a:lnTo>
                  <a:lnTo>
                    <a:pt x="34" y="139"/>
                  </a:lnTo>
                  <a:lnTo>
                    <a:pt x="37" y="139"/>
                  </a:lnTo>
                  <a:lnTo>
                    <a:pt x="39" y="140"/>
                  </a:lnTo>
                  <a:lnTo>
                    <a:pt x="39" y="142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4" y="146"/>
                  </a:lnTo>
                  <a:lnTo>
                    <a:pt x="50" y="143"/>
                  </a:lnTo>
                  <a:lnTo>
                    <a:pt x="51" y="142"/>
                  </a:lnTo>
                  <a:lnTo>
                    <a:pt x="54" y="139"/>
                  </a:lnTo>
                  <a:lnTo>
                    <a:pt x="54" y="137"/>
                  </a:lnTo>
                  <a:lnTo>
                    <a:pt x="56" y="136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9" y="131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8"/>
                  </a:lnTo>
                  <a:lnTo>
                    <a:pt x="56" y="123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19"/>
                  </a:lnTo>
                  <a:lnTo>
                    <a:pt x="57" y="117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20"/>
                  </a:lnTo>
                  <a:lnTo>
                    <a:pt x="59" y="122"/>
                  </a:lnTo>
                  <a:lnTo>
                    <a:pt x="61" y="120"/>
                  </a:lnTo>
                  <a:lnTo>
                    <a:pt x="61" y="120"/>
                  </a:lnTo>
                  <a:lnTo>
                    <a:pt x="61" y="119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2"/>
                  </a:lnTo>
                  <a:lnTo>
                    <a:pt x="61" y="111"/>
                  </a:lnTo>
                  <a:lnTo>
                    <a:pt x="61" y="109"/>
                  </a:lnTo>
                  <a:lnTo>
                    <a:pt x="61" y="109"/>
                  </a:lnTo>
                  <a:lnTo>
                    <a:pt x="62" y="108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1" y="108"/>
                  </a:lnTo>
                  <a:lnTo>
                    <a:pt x="59" y="109"/>
                  </a:lnTo>
                  <a:lnTo>
                    <a:pt x="57" y="108"/>
                  </a:lnTo>
                  <a:lnTo>
                    <a:pt x="56" y="114"/>
                  </a:lnTo>
                  <a:lnTo>
                    <a:pt x="54" y="116"/>
                  </a:lnTo>
                  <a:lnTo>
                    <a:pt x="53" y="114"/>
                  </a:lnTo>
                  <a:lnTo>
                    <a:pt x="50" y="116"/>
                  </a:lnTo>
                  <a:lnTo>
                    <a:pt x="45" y="117"/>
                  </a:lnTo>
                  <a:lnTo>
                    <a:pt x="44" y="117"/>
                  </a:lnTo>
                  <a:lnTo>
                    <a:pt x="44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9"/>
                  </a:lnTo>
                  <a:lnTo>
                    <a:pt x="42" y="120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3"/>
                  </a:lnTo>
                  <a:lnTo>
                    <a:pt x="40" y="125"/>
                  </a:lnTo>
                  <a:lnTo>
                    <a:pt x="39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2" y="126"/>
                  </a:lnTo>
                  <a:lnTo>
                    <a:pt x="44" y="126"/>
                  </a:lnTo>
                  <a:lnTo>
                    <a:pt x="40" y="129"/>
                  </a:lnTo>
                  <a:lnTo>
                    <a:pt x="36" y="129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3" y="136"/>
                  </a:lnTo>
                  <a:close/>
                  <a:moveTo>
                    <a:pt x="208" y="69"/>
                  </a:moveTo>
                  <a:lnTo>
                    <a:pt x="210" y="71"/>
                  </a:lnTo>
                  <a:lnTo>
                    <a:pt x="213" y="71"/>
                  </a:lnTo>
                  <a:lnTo>
                    <a:pt x="215" y="76"/>
                  </a:lnTo>
                  <a:lnTo>
                    <a:pt x="216" y="76"/>
                  </a:lnTo>
                  <a:lnTo>
                    <a:pt x="219" y="76"/>
                  </a:lnTo>
                  <a:lnTo>
                    <a:pt x="221" y="74"/>
                  </a:lnTo>
                  <a:lnTo>
                    <a:pt x="221" y="72"/>
                  </a:lnTo>
                  <a:lnTo>
                    <a:pt x="222" y="71"/>
                  </a:lnTo>
                  <a:lnTo>
                    <a:pt x="224" y="68"/>
                  </a:lnTo>
                  <a:lnTo>
                    <a:pt x="224" y="66"/>
                  </a:lnTo>
                  <a:lnTo>
                    <a:pt x="222" y="65"/>
                  </a:lnTo>
                  <a:lnTo>
                    <a:pt x="222" y="63"/>
                  </a:lnTo>
                  <a:lnTo>
                    <a:pt x="227" y="62"/>
                  </a:lnTo>
                  <a:lnTo>
                    <a:pt x="228" y="62"/>
                  </a:lnTo>
                  <a:lnTo>
                    <a:pt x="230" y="63"/>
                  </a:lnTo>
                  <a:lnTo>
                    <a:pt x="231" y="62"/>
                  </a:lnTo>
                  <a:lnTo>
                    <a:pt x="231" y="60"/>
                  </a:lnTo>
                  <a:lnTo>
                    <a:pt x="231" y="59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27" y="57"/>
                  </a:lnTo>
                  <a:lnTo>
                    <a:pt x="224" y="59"/>
                  </a:lnTo>
                  <a:lnTo>
                    <a:pt x="219" y="59"/>
                  </a:lnTo>
                  <a:lnTo>
                    <a:pt x="218" y="60"/>
                  </a:lnTo>
                  <a:lnTo>
                    <a:pt x="216" y="62"/>
                  </a:lnTo>
                  <a:lnTo>
                    <a:pt x="213" y="62"/>
                  </a:lnTo>
                  <a:lnTo>
                    <a:pt x="211" y="63"/>
                  </a:lnTo>
                  <a:lnTo>
                    <a:pt x="208" y="65"/>
                  </a:lnTo>
                  <a:lnTo>
                    <a:pt x="205" y="66"/>
                  </a:lnTo>
                  <a:lnTo>
                    <a:pt x="205" y="66"/>
                  </a:lnTo>
                  <a:lnTo>
                    <a:pt x="207" y="68"/>
                  </a:lnTo>
                  <a:lnTo>
                    <a:pt x="208" y="69"/>
                  </a:lnTo>
                  <a:close/>
                  <a:moveTo>
                    <a:pt x="122" y="371"/>
                  </a:moveTo>
                  <a:lnTo>
                    <a:pt x="122" y="370"/>
                  </a:lnTo>
                  <a:lnTo>
                    <a:pt x="121" y="368"/>
                  </a:lnTo>
                  <a:lnTo>
                    <a:pt x="117" y="368"/>
                  </a:lnTo>
                  <a:lnTo>
                    <a:pt x="116" y="367"/>
                  </a:lnTo>
                  <a:lnTo>
                    <a:pt x="113" y="363"/>
                  </a:lnTo>
                  <a:lnTo>
                    <a:pt x="111" y="362"/>
                  </a:lnTo>
                  <a:lnTo>
                    <a:pt x="110" y="362"/>
                  </a:lnTo>
                  <a:lnTo>
                    <a:pt x="110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5" y="363"/>
                  </a:lnTo>
                  <a:lnTo>
                    <a:pt x="102" y="367"/>
                  </a:lnTo>
                  <a:lnTo>
                    <a:pt x="101" y="365"/>
                  </a:lnTo>
                  <a:lnTo>
                    <a:pt x="101" y="363"/>
                  </a:lnTo>
                  <a:lnTo>
                    <a:pt x="102" y="363"/>
                  </a:lnTo>
                  <a:lnTo>
                    <a:pt x="105" y="362"/>
                  </a:lnTo>
                  <a:lnTo>
                    <a:pt x="107" y="362"/>
                  </a:lnTo>
                  <a:lnTo>
                    <a:pt x="107" y="360"/>
                  </a:lnTo>
                  <a:lnTo>
                    <a:pt x="110" y="357"/>
                  </a:lnTo>
                  <a:lnTo>
                    <a:pt x="108" y="354"/>
                  </a:lnTo>
                  <a:lnTo>
                    <a:pt x="107" y="354"/>
                  </a:lnTo>
                  <a:lnTo>
                    <a:pt x="105" y="353"/>
                  </a:lnTo>
                  <a:lnTo>
                    <a:pt x="104" y="353"/>
                  </a:lnTo>
                  <a:lnTo>
                    <a:pt x="102" y="353"/>
                  </a:lnTo>
                  <a:lnTo>
                    <a:pt x="102" y="353"/>
                  </a:lnTo>
                  <a:lnTo>
                    <a:pt x="102" y="351"/>
                  </a:lnTo>
                  <a:lnTo>
                    <a:pt x="104" y="351"/>
                  </a:lnTo>
                  <a:lnTo>
                    <a:pt x="105" y="351"/>
                  </a:lnTo>
                  <a:lnTo>
                    <a:pt x="105" y="351"/>
                  </a:lnTo>
                  <a:lnTo>
                    <a:pt x="105" y="351"/>
                  </a:lnTo>
                  <a:lnTo>
                    <a:pt x="104" y="350"/>
                  </a:lnTo>
                  <a:lnTo>
                    <a:pt x="104" y="348"/>
                  </a:lnTo>
                  <a:lnTo>
                    <a:pt x="105" y="348"/>
                  </a:lnTo>
                  <a:lnTo>
                    <a:pt x="105" y="348"/>
                  </a:lnTo>
                  <a:lnTo>
                    <a:pt x="107" y="348"/>
                  </a:lnTo>
                  <a:lnTo>
                    <a:pt x="108" y="347"/>
                  </a:lnTo>
                  <a:lnTo>
                    <a:pt x="108" y="345"/>
                  </a:lnTo>
                  <a:lnTo>
                    <a:pt x="110" y="345"/>
                  </a:lnTo>
                  <a:lnTo>
                    <a:pt x="110" y="343"/>
                  </a:lnTo>
                  <a:lnTo>
                    <a:pt x="111" y="343"/>
                  </a:lnTo>
                  <a:lnTo>
                    <a:pt x="116" y="345"/>
                  </a:lnTo>
                  <a:lnTo>
                    <a:pt x="116" y="343"/>
                  </a:lnTo>
                  <a:lnTo>
                    <a:pt x="117" y="343"/>
                  </a:lnTo>
                  <a:lnTo>
                    <a:pt x="119" y="343"/>
                  </a:lnTo>
                  <a:lnTo>
                    <a:pt x="119" y="342"/>
                  </a:lnTo>
                  <a:lnTo>
                    <a:pt x="119" y="340"/>
                  </a:lnTo>
                  <a:lnTo>
                    <a:pt x="119" y="339"/>
                  </a:lnTo>
                  <a:lnTo>
                    <a:pt x="121" y="337"/>
                  </a:lnTo>
                  <a:lnTo>
                    <a:pt x="121" y="336"/>
                  </a:lnTo>
                  <a:lnTo>
                    <a:pt x="121" y="334"/>
                  </a:lnTo>
                  <a:lnTo>
                    <a:pt x="119" y="334"/>
                  </a:lnTo>
                  <a:lnTo>
                    <a:pt x="119" y="333"/>
                  </a:lnTo>
                  <a:lnTo>
                    <a:pt x="116" y="328"/>
                  </a:lnTo>
                  <a:lnTo>
                    <a:pt x="114" y="328"/>
                  </a:lnTo>
                  <a:lnTo>
                    <a:pt x="114" y="327"/>
                  </a:lnTo>
                  <a:lnTo>
                    <a:pt x="116" y="325"/>
                  </a:lnTo>
                  <a:lnTo>
                    <a:pt x="116" y="325"/>
                  </a:lnTo>
                  <a:lnTo>
                    <a:pt x="114" y="323"/>
                  </a:lnTo>
                  <a:lnTo>
                    <a:pt x="114" y="322"/>
                  </a:lnTo>
                  <a:lnTo>
                    <a:pt x="113" y="322"/>
                  </a:lnTo>
                  <a:lnTo>
                    <a:pt x="113" y="320"/>
                  </a:lnTo>
                  <a:lnTo>
                    <a:pt x="113" y="319"/>
                  </a:lnTo>
                  <a:lnTo>
                    <a:pt x="113" y="317"/>
                  </a:lnTo>
                  <a:lnTo>
                    <a:pt x="113" y="317"/>
                  </a:lnTo>
                  <a:lnTo>
                    <a:pt x="111" y="314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4" y="313"/>
                  </a:lnTo>
                  <a:lnTo>
                    <a:pt x="116" y="311"/>
                  </a:lnTo>
                  <a:lnTo>
                    <a:pt x="117" y="310"/>
                  </a:lnTo>
                  <a:lnTo>
                    <a:pt x="117" y="308"/>
                  </a:lnTo>
                  <a:lnTo>
                    <a:pt x="117" y="306"/>
                  </a:lnTo>
                  <a:lnTo>
                    <a:pt x="113" y="305"/>
                  </a:lnTo>
                  <a:lnTo>
                    <a:pt x="111" y="305"/>
                  </a:lnTo>
                  <a:lnTo>
                    <a:pt x="111" y="305"/>
                  </a:lnTo>
                  <a:lnTo>
                    <a:pt x="107" y="306"/>
                  </a:lnTo>
                  <a:lnTo>
                    <a:pt x="107" y="306"/>
                  </a:lnTo>
                  <a:lnTo>
                    <a:pt x="105" y="305"/>
                  </a:lnTo>
                  <a:lnTo>
                    <a:pt x="107" y="303"/>
                  </a:lnTo>
                  <a:lnTo>
                    <a:pt x="108" y="303"/>
                  </a:lnTo>
                  <a:lnTo>
                    <a:pt x="110" y="302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4" y="302"/>
                  </a:lnTo>
                  <a:lnTo>
                    <a:pt x="116" y="300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7"/>
                  </a:lnTo>
                  <a:lnTo>
                    <a:pt x="121" y="296"/>
                  </a:lnTo>
                  <a:lnTo>
                    <a:pt x="121" y="296"/>
                  </a:lnTo>
                  <a:lnTo>
                    <a:pt x="124" y="294"/>
                  </a:lnTo>
                  <a:lnTo>
                    <a:pt x="124" y="294"/>
                  </a:lnTo>
                  <a:lnTo>
                    <a:pt x="127" y="291"/>
                  </a:lnTo>
                  <a:lnTo>
                    <a:pt x="130" y="288"/>
                  </a:lnTo>
                  <a:lnTo>
                    <a:pt x="131" y="286"/>
                  </a:lnTo>
                  <a:lnTo>
                    <a:pt x="124" y="286"/>
                  </a:lnTo>
                  <a:lnTo>
                    <a:pt x="122" y="286"/>
                  </a:lnTo>
                  <a:lnTo>
                    <a:pt x="122" y="285"/>
                  </a:lnTo>
                  <a:lnTo>
                    <a:pt x="121" y="285"/>
                  </a:lnTo>
                  <a:lnTo>
                    <a:pt x="121" y="282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0" y="277"/>
                  </a:lnTo>
                  <a:lnTo>
                    <a:pt x="108" y="277"/>
                  </a:lnTo>
                  <a:lnTo>
                    <a:pt x="108" y="277"/>
                  </a:lnTo>
                  <a:lnTo>
                    <a:pt x="108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1" y="276"/>
                  </a:lnTo>
                  <a:lnTo>
                    <a:pt x="119" y="276"/>
                  </a:lnTo>
                  <a:lnTo>
                    <a:pt x="119" y="277"/>
                  </a:lnTo>
                  <a:lnTo>
                    <a:pt x="122" y="279"/>
                  </a:lnTo>
                  <a:lnTo>
                    <a:pt x="127" y="280"/>
                  </a:lnTo>
                  <a:lnTo>
                    <a:pt x="128" y="280"/>
                  </a:lnTo>
                  <a:lnTo>
                    <a:pt x="133" y="279"/>
                  </a:lnTo>
                  <a:lnTo>
                    <a:pt x="141" y="276"/>
                  </a:lnTo>
                  <a:lnTo>
                    <a:pt x="142" y="277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2" y="274"/>
                  </a:lnTo>
                  <a:lnTo>
                    <a:pt x="144" y="273"/>
                  </a:lnTo>
                  <a:lnTo>
                    <a:pt x="147" y="271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4" y="270"/>
                  </a:lnTo>
                  <a:lnTo>
                    <a:pt x="144" y="268"/>
                  </a:lnTo>
                  <a:lnTo>
                    <a:pt x="144" y="266"/>
                  </a:lnTo>
                  <a:lnTo>
                    <a:pt x="145" y="263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34" y="259"/>
                  </a:lnTo>
                  <a:lnTo>
                    <a:pt x="133" y="257"/>
                  </a:lnTo>
                  <a:lnTo>
                    <a:pt x="134" y="257"/>
                  </a:lnTo>
                  <a:lnTo>
                    <a:pt x="138" y="257"/>
                  </a:lnTo>
                  <a:lnTo>
                    <a:pt x="141" y="256"/>
                  </a:lnTo>
                  <a:lnTo>
                    <a:pt x="141" y="256"/>
                  </a:lnTo>
                  <a:lnTo>
                    <a:pt x="141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50" y="253"/>
                  </a:lnTo>
                  <a:lnTo>
                    <a:pt x="151" y="254"/>
                  </a:lnTo>
                  <a:lnTo>
                    <a:pt x="151" y="254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3" y="257"/>
                  </a:lnTo>
                  <a:lnTo>
                    <a:pt x="153" y="259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6" y="260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8" y="257"/>
                  </a:lnTo>
                  <a:lnTo>
                    <a:pt x="156" y="256"/>
                  </a:lnTo>
                  <a:lnTo>
                    <a:pt x="156" y="254"/>
                  </a:lnTo>
                  <a:lnTo>
                    <a:pt x="156" y="254"/>
                  </a:lnTo>
                  <a:lnTo>
                    <a:pt x="156" y="254"/>
                  </a:lnTo>
                  <a:lnTo>
                    <a:pt x="158" y="253"/>
                  </a:lnTo>
                  <a:lnTo>
                    <a:pt x="158" y="253"/>
                  </a:lnTo>
                  <a:lnTo>
                    <a:pt x="158" y="253"/>
                  </a:lnTo>
                  <a:lnTo>
                    <a:pt x="159" y="251"/>
                  </a:lnTo>
                  <a:lnTo>
                    <a:pt x="161" y="250"/>
                  </a:lnTo>
                  <a:lnTo>
                    <a:pt x="161" y="248"/>
                  </a:lnTo>
                  <a:lnTo>
                    <a:pt x="161" y="246"/>
                  </a:lnTo>
                  <a:lnTo>
                    <a:pt x="161" y="245"/>
                  </a:lnTo>
                  <a:lnTo>
                    <a:pt x="161" y="242"/>
                  </a:lnTo>
                  <a:lnTo>
                    <a:pt x="161" y="239"/>
                  </a:lnTo>
                  <a:lnTo>
                    <a:pt x="162" y="236"/>
                  </a:lnTo>
                  <a:lnTo>
                    <a:pt x="162" y="234"/>
                  </a:lnTo>
                  <a:lnTo>
                    <a:pt x="161" y="234"/>
                  </a:lnTo>
                  <a:lnTo>
                    <a:pt x="159" y="236"/>
                  </a:lnTo>
                  <a:lnTo>
                    <a:pt x="161" y="233"/>
                  </a:lnTo>
                  <a:lnTo>
                    <a:pt x="162" y="231"/>
                  </a:lnTo>
                  <a:lnTo>
                    <a:pt x="162" y="228"/>
                  </a:lnTo>
                  <a:lnTo>
                    <a:pt x="162" y="225"/>
                  </a:lnTo>
                  <a:lnTo>
                    <a:pt x="161" y="222"/>
                  </a:lnTo>
                  <a:lnTo>
                    <a:pt x="159" y="220"/>
                  </a:lnTo>
                  <a:lnTo>
                    <a:pt x="159" y="219"/>
                  </a:lnTo>
                  <a:lnTo>
                    <a:pt x="159" y="214"/>
                  </a:lnTo>
                  <a:lnTo>
                    <a:pt x="161" y="213"/>
                  </a:lnTo>
                  <a:lnTo>
                    <a:pt x="165" y="209"/>
                  </a:lnTo>
                  <a:lnTo>
                    <a:pt x="167" y="206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1" y="202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73" y="199"/>
                  </a:lnTo>
                  <a:lnTo>
                    <a:pt x="174" y="197"/>
                  </a:lnTo>
                  <a:lnTo>
                    <a:pt x="176" y="199"/>
                  </a:lnTo>
                  <a:lnTo>
                    <a:pt x="176" y="199"/>
                  </a:lnTo>
                  <a:lnTo>
                    <a:pt x="178" y="200"/>
                  </a:lnTo>
                  <a:lnTo>
                    <a:pt x="179" y="200"/>
                  </a:lnTo>
                  <a:lnTo>
                    <a:pt x="179" y="200"/>
                  </a:lnTo>
                  <a:lnTo>
                    <a:pt x="178" y="205"/>
                  </a:lnTo>
                  <a:lnTo>
                    <a:pt x="178" y="206"/>
                  </a:lnTo>
                  <a:lnTo>
                    <a:pt x="179" y="209"/>
                  </a:lnTo>
                  <a:lnTo>
                    <a:pt x="178" y="211"/>
                  </a:lnTo>
                  <a:lnTo>
                    <a:pt x="176" y="209"/>
                  </a:lnTo>
                  <a:lnTo>
                    <a:pt x="174" y="209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0" y="211"/>
                  </a:lnTo>
                  <a:lnTo>
                    <a:pt x="168" y="211"/>
                  </a:lnTo>
                  <a:lnTo>
                    <a:pt x="170" y="213"/>
                  </a:lnTo>
                  <a:lnTo>
                    <a:pt x="171" y="214"/>
                  </a:lnTo>
                  <a:lnTo>
                    <a:pt x="173" y="216"/>
                  </a:lnTo>
                  <a:lnTo>
                    <a:pt x="174" y="216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1" y="217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9" y="219"/>
                  </a:lnTo>
                  <a:lnTo>
                    <a:pt x="179" y="220"/>
                  </a:lnTo>
                  <a:lnTo>
                    <a:pt x="181" y="223"/>
                  </a:lnTo>
                  <a:lnTo>
                    <a:pt x="181" y="223"/>
                  </a:lnTo>
                  <a:lnTo>
                    <a:pt x="182" y="225"/>
                  </a:lnTo>
                  <a:lnTo>
                    <a:pt x="182" y="225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0"/>
                  </a:lnTo>
                  <a:lnTo>
                    <a:pt x="184" y="217"/>
                  </a:lnTo>
                  <a:lnTo>
                    <a:pt x="184" y="214"/>
                  </a:lnTo>
                  <a:lnTo>
                    <a:pt x="185" y="211"/>
                  </a:lnTo>
                  <a:lnTo>
                    <a:pt x="187" y="208"/>
                  </a:lnTo>
                  <a:lnTo>
                    <a:pt x="188" y="206"/>
                  </a:lnTo>
                  <a:lnTo>
                    <a:pt x="191" y="206"/>
                  </a:lnTo>
                  <a:lnTo>
                    <a:pt x="191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9"/>
                  </a:lnTo>
                  <a:lnTo>
                    <a:pt x="193" y="211"/>
                  </a:lnTo>
                  <a:lnTo>
                    <a:pt x="193" y="213"/>
                  </a:lnTo>
                  <a:lnTo>
                    <a:pt x="190" y="213"/>
                  </a:lnTo>
                  <a:lnTo>
                    <a:pt x="191" y="216"/>
                  </a:lnTo>
                  <a:lnTo>
                    <a:pt x="194" y="217"/>
                  </a:lnTo>
                  <a:lnTo>
                    <a:pt x="198" y="217"/>
                  </a:lnTo>
                  <a:lnTo>
                    <a:pt x="198" y="213"/>
                  </a:lnTo>
                  <a:lnTo>
                    <a:pt x="198" y="209"/>
                  </a:lnTo>
                  <a:lnTo>
                    <a:pt x="198" y="206"/>
                  </a:lnTo>
                  <a:lnTo>
                    <a:pt x="199" y="205"/>
                  </a:lnTo>
                  <a:lnTo>
                    <a:pt x="204" y="203"/>
                  </a:lnTo>
                  <a:lnTo>
                    <a:pt x="210" y="193"/>
                  </a:lnTo>
                  <a:lnTo>
                    <a:pt x="211" y="189"/>
                  </a:lnTo>
                  <a:lnTo>
                    <a:pt x="211" y="186"/>
                  </a:lnTo>
                  <a:lnTo>
                    <a:pt x="211" y="183"/>
                  </a:lnTo>
                  <a:lnTo>
                    <a:pt x="211" y="180"/>
                  </a:lnTo>
                  <a:lnTo>
                    <a:pt x="215" y="179"/>
                  </a:lnTo>
                  <a:lnTo>
                    <a:pt x="215" y="177"/>
                  </a:lnTo>
                  <a:lnTo>
                    <a:pt x="210" y="173"/>
                  </a:lnTo>
                  <a:lnTo>
                    <a:pt x="207" y="169"/>
                  </a:lnTo>
                  <a:lnTo>
                    <a:pt x="205" y="168"/>
                  </a:lnTo>
                  <a:lnTo>
                    <a:pt x="204" y="166"/>
                  </a:lnTo>
                  <a:lnTo>
                    <a:pt x="201" y="166"/>
                  </a:lnTo>
                  <a:lnTo>
                    <a:pt x="184" y="169"/>
                  </a:lnTo>
                  <a:lnTo>
                    <a:pt x="178" y="168"/>
                  </a:lnTo>
                  <a:lnTo>
                    <a:pt x="171" y="165"/>
                  </a:lnTo>
                  <a:lnTo>
                    <a:pt x="170" y="163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8" y="159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5" y="157"/>
                  </a:lnTo>
                  <a:lnTo>
                    <a:pt x="162" y="162"/>
                  </a:lnTo>
                  <a:lnTo>
                    <a:pt x="159" y="163"/>
                  </a:lnTo>
                  <a:lnTo>
                    <a:pt x="159" y="165"/>
                  </a:lnTo>
                  <a:lnTo>
                    <a:pt x="159" y="169"/>
                  </a:lnTo>
                  <a:lnTo>
                    <a:pt x="159" y="174"/>
                  </a:lnTo>
                  <a:lnTo>
                    <a:pt x="158" y="174"/>
                  </a:lnTo>
                  <a:lnTo>
                    <a:pt x="156" y="176"/>
                  </a:lnTo>
                  <a:lnTo>
                    <a:pt x="156" y="174"/>
                  </a:lnTo>
                  <a:lnTo>
                    <a:pt x="158" y="173"/>
                  </a:lnTo>
                  <a:lnTo>
                    <a:pt x="158" y="169"/>
                  </a:lnTo>
                  <a:lnTo>
                    <a:pt x="158" y="168"/>
                  </a:lnTo>
                  <a:lnTo>
                    <a:pt x="158" y="168"/>
                  </a:lnTo>
                  <a:lnTo>
                    <a:pt x="158" y="163"/>
                  </a:lnTo>
                  <a:lnTo>
                    <a:pt x="159" y="163"/>
                  </a:lnTo>
                  <a:lnTo>
                    <a:pt x="162" y="159"/>
                  </a:lnTo>
                  <a:lnTo>
                    <a:pt x="167" y="154"/>
                  </a:lnTo>
                  <a:lnTo>
                    <a:pt x="168" y="151"/>
                  </a:lnTo>
                  <a:lnTo>
                    <a:pt x="168" y="146"/>
                  </a:lnTo>
                  <a:lnTo>
                    <a:pt x="167" y="143"/>
                  </a:lnTo>
                  <a:lnTo>
                    <a:pt x="165" y="143"/>
                  </a:lnTo>
                  <a:lnTo>
                    <a:pt x="164" y="145"/>
                  </a:lnTo>
                  <a:lnTo>
                    <a:pt x="161" y="145"/>
                  </a:lnTo>
                  <a:lnTo>
                    <a:pt x="156" y="145"/>
                  </a:lnTo>
                  <a:lnTo>
                    <a:pt x="154" y="145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3" y="142"/>
                  </a:lnTo>
                  <a:lnTo>
                    <a:pt x="151" y="142"/>
                  </a:lnTo>
                  <a:lnTo>
                    <a:pt x="151" y="143"/>
                  </a:lnTo>
                  <a:lnTo>
                    <a:pt x="151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2" y="149"/>
                  </a:lnTo>
                  <a:lnTo>
                    <a:pt x="131" y="152"/>
                  </a:lnTo>
                  <a:lnTo>
                    <a:pt x="128" y="152"/>
                  </a:lnTo>
                  <a:lnTo>
                    <a:pt x="128" y="151"/>
                  </a:lnTo>
                  <a:lnTo>
                    <a:pt x="138" y="149"/>
                  </a:lnTo>
                  <a:lnTo>
                    <a:pt x="142" y="146"/>
                  </a:lnTo>
                  <a:lnTo>
                    <a:pt x="144" y="146"/>
                  </a:lnTo>
                  <a:lnTo>
                    <a:pt x="147" y="145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50" y="143"/>
                  </a:lnTo>
                  <a:lnTo>
                    <a:pt x="151" y="142"/>
                  </a:lnTo>
                  <a:lnTo>
                    <a:pt x="153" y="140"/>
                  </a:lnTo>
                  <a:lnTo>
                    <a:pt x="154" y="142"/>
                  </a:lnTo>
                  <a:lnTo>
                    <a:pt x="156" y="142"/>
                  </a:lnTo>
                  <a:lnTo>
                    <a:pt x="158" y="143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5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7" y="140"/>
                  </a:lnTo>
                  <a:lnTo>
                    <a:pt x="167" y="140"/>
                  </a:lnTo>
                  <a:lnTo>
                    <a:pt x="165" y="139"/>
                  </a:lnTo>
                  <a:lnTo>
                    <a:pt x="164" y="132"/>
                  </a:lnTo>
                  <a:lnTo>
                    <a:pt x="164" y="131"/>
                  </a:lnTo>
                  <a:lnTo>
                    <a:pt x="164" y="125"/>
                  </a:lnTo>
                  <a:lnTo>
                    <a:pt x="162" y="117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1"/>
                  </a:lnTo>
                  <a:lnTo>
                    <a:pt x="162" y="109"/>
                  </a:lnTo>
                  <a:lnTo>
                    <a:pt x="164" y="108"/>
                  </a:lnTo>
                  <a:lnTo>
                    <a:pt x="165" y="105"/>
                  </a:lnTo>
                  <a:lnTo>
                    <a:pt x="164" y="105"/>
                  </a:lnTo>
                  <a:lnTo>
                    <a:pt x="158" y="105"/>
                  </a:lnTo>
                  <a:lnTo>
                    <a:pt x="156" y="103"/>
                  </a:lnTo>
                  <a:lnTo>
                    <a:pt x="153" y="102"/>
                  </a:lnTo>
                  <a:lnTo>
                    <a:pt x="151" y="100"/>
                  </a:lnTo>
                  <a:lnTo>
                    <a:pt x="144" y="92"/>
                  </a:lnTo>
                  <a:lnTo>
                    <a:pt x="142" y="91"/>
                  </a:lnTo>
                  <a:lnTo>
                    <a:pt x="141" y="92"/>
                  </a:lnTo>
                  <a:lnTo>
                    <a:pt x="139" y="92"/>
                  </a:lnTo>
                  <a:lnTo>
                    <a:pt x="138" y="96"/>
                  </a:lnTo>
                  <a:lnTo>
                    <a:pt x="136" y="96"/>
                  </a:lnTo>
                  <a:lnTo>
                    <a:pt x="138" y="94"/>
                  </a:lnTo>
                  <a:lnTo>
                    <a:pt x="141" y="91"/>
                  </a:lnTo>
                  <a:lnTo>
                    <a:pt x="142" y="91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50" y="96"/>
                  </a:lnTo>
                  <a:lnTo>
                    <a:pt x="154" y="100"/>
                  </a:lnTo>
                  <a:lnTo>
                    <a:pt x="161" y="105"/>
                  </a:lnTo>
                  <a:lnTo>
                    <a:pt x="161" y="103"/>
                  </a:lnTo>
                  <a:lnTo>
                    <a:pt x="162" y="103"/>
                  </a:lnTo>
                  <a:lnTo>
                    <a:pt x="165" y="103"/>
                  </a:lnTo>
                  <a:lnTo>
                    <a:pt x="167" y="103"/>
                  </a:lnTo>
                  <a:lnTo>
                    <a:pt x="167" y="103"/>
                  </a:lnTo>
                  <a:lnTo>
                    <a:pt x="168" y="102"/>
                  </a:lnTo>
                  <a:lnTo>
                    <a:pt x="168" y="100"/>
                  </a:lnTo>
                  <a:lnTo>
                    <a:pt x="171" y="92"/>
                  </a:lnTo>
                  <a:lnTo>
                    <a:pt x="171" y="86"/>
                  </a:lnTo>
                  <a:lnTo>
                    <a:pt x="173" y="83"/>
                  </a:lnTo>
                  <a:lnTo>
                    <a:pt x="176" y="77"/>
                  </a:lnTo>
                  <a:lnTo>
                    <a:pt x="178" y="76"/>
                  </a:lnTo>
                  <a:lnTo>
                    <a:pt x="181" y="72"/>
                  </a:lnTo>
                  <a:lnTo>
                    <a:pt x="182" y="71"/>
                  </a:lnTo>
                  <a:lnTo>
                    <a:pt x="181" y="57"/>
                  </a:lnTo>
                  <a:lnTo>
                    <a:pt x="181" y="49"/>
                  </a:lnTo>
                  <a:lnTo>
                    <a:pt x="182" y="43"/>
                  </a:lnTo>
                  <a:lnTo>
                    <a:pt x="181" y="37"/>
                  </a:lnTo>
                  <a:lnTo>
                    <a:pt x="176" y="31"/>
                  </a:lnTo>
                  <a:lnTo>
                    <a:pt x="174" y="25"/>
                  </a:lnTo>
                  <a:lnTo>
                    <a:pt x="176" y="17"/>
                  </a:lnTo>
                  <a:lnTo>
                    <a:pt x="182" y="6"/>
                  </a:lnTo>
                  <a:lnTo>
                    <a:pt x="187" y="3"/>
                  </a:lnTo>
                  <a:lnTo>
                    <a:pt x="190" y="2"/>
                  </a:lnTo>
                  <a:lnTo>
                    <a:pt x="188" y="0"/>
                  </a:lnTo>
                  <a:lnTo>
                    <a:pt x="187" y="0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78" y="5"/>
                  </a:lnTo>
                  <a:lnTo>
                    <a:pt x="168" y="14"/>
                  </a:lnTo>
                  <a:lnTo>
                    <a:pt x="162" y="17"/>
                  </a:lnTo>
                  <a:lnTo>
                    <a:pt x="158" y="20"/>
                  </a:lnTo>
                  <a:lnTo>
                    <a:pt x="150" y="22"/>
                  </a:lnTo>
                  <a:lnTo>
                    <a:pt x="144" y="22"/>
                  </a:lnTo>
                  <a:lnTo>
                    <a:pt x="139" y="22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4" y="29"/>
                  </a:lnTo>
                  <a:lnTo>
                    <a:pt x="130" y="35"/>
                  </a:lnTo>
                  <a:lnTo>
                    <a:pt x="127" y="40"/>
                  </a:lnTo>
                  <a:lnTo>
                    <a:pt x="110" y="69"/>
                  </a:lnTo>
                  <a:lnTo>
                    <a:pt x="105" y="76"/>
                  </a:lnTo>
                  <a:lnTo>
                    <a:pt x="99" y="80"/>
                  </a:lnTo>
                  <a:lnTo>
                    <a:pt x="91" y="83"/>
                  </a:lnTo>
                  <a:lnTo>
                    <a:pt x="85" y="83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6"/>
                  </a:lnTo>
                  <a:lnTo>
                    <a:pt x="59" y="88"/>
                  </a:lnTo>
                  <a:lnTo>
                    <a:pt x="51" y="89"/>
                  </a:lnTo>
                  <a:lnTo>
                    <a:pt x="48" y="88"/>
                  </a:lnTo>
                  <a:lnTo>
                    <a:pt x="42" y="86"/>
                  </a:lnTo>
                  <a:lnTo>
                    <a:pt x="39" y="86"/>
                  </a:lnTo>
                  <a:lnTo>
                    <a:pt x="37" y="88"/>
                  </a:lnTo>
                  <a:lnTo>
                    <a:pt x="31" y="99"/>
                  </a:lnTo>
                  <a:lnTo>
                    <a:pt x="27" y="103"/>
                  </a:lnTo>
                  <a:lnTo>
                    <a:pt x="13" y="125"/>
                  </a:lnTo>
                  <a:lnTo>
                    <a:pt x="11" y="128"/>
                  </a:lnTo>
                  <a:lnTo>
                    <a:pt x="11" y="134"/>
                  </a:lnTo>
                  <a:lnTo>
                    <a:pt x="11" y="140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1" y="134"/>
                  </a:lnTo>
                  <a:lnTo>
                    <a:pt x="13" y="134"/>
                  </a:lnTo>
                  <a:lnTo>
                    <a:pt x="14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7" y="140"/>
                  </a:lnTo>
                  <a:lnTo>
                    <a:pt x="17" y="143"/>
                  </a:lnTo>
                  <a:lnTo>
                    <a:pt x="19" y="145"/>
                  </a:lnTo>
                  <a:lnTo>
                    <a:pt x="20" y="146"/>
                  </a:lnTo>
                  <a:lnTo>
                    <a:pt x="22" y="148"/>
                  </a:lnTo>
                  <a:lnTo>
                    <a:pt x="24" y="148"/>
                  </a:lnTo>
                  <a:lnTo>
                    <a:pt x="27" y="149"/>
                  </a:lnTo>
                  <a:lnTo>
                    <a:pt x="28" y="151"/>
                  </a:lnTo>
                  <a:lnTo>
                    <a:pt x="28" y="152"/>
                  </a:lnTo>
                  <a:lnTo>
                    <a:pt x="30" y="154"/>
                  </a:lnTo>
                  <a:lnTo>
                    <a:pt x="31" y="157"/>
                  </a:lnTo>
                  <a:lnTo>
                    <a:pt x="33" y="159"/>
                  </a:lnTo>
                  <a:lnTo>
                    <a:pt x="34" y="159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6" y="157"/>
                  </a:lnTo>
                  <a:lnTo>
                    <a:pt x="36" y="156"/>
                  </a:lnTo>
                  <a:lnTo>
                    <a:pt x="37" y="156"/>
                  </a:lnTo>
                  <a:lnTo>
                    <a:pt x="39" y="152"/>
                  </a:lnTo>
                  <a:lnTo>
                    <a:pt x="37" y="152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37" y="146"/>
                  </a:lnTo>
                  <a:lnTo>
                    <a:pt x="37" y="145"/>
                  </a:lnTo>
                  <a:lnTo>
                    <a:pt x="36" y="145"/>
                  </a:lnTo>
                  <a:lnTo>
                    <a:pt x="31" y="148"/>
                  </a:lnTo>
                  <a:lnTo>
                    <a:pt x="30" y="146"/>
                  </a:lnTo>
                  <a:lnTo>
                    <a:pt x="28" y="146"/>
                  </a:lnTo>
                  <a:lnTo>
                    <a:pt x="27" y="145"/>
                  </a:lnTo>
                  <a:lnTo>
                    <a:pt x="24" y="146"/>
                  </a:lnTo>
                  <a:lnTo>
                    <a:pt x="24" y="145"/>
                  </a:lnTo>
                  <a:lnTo>
                    <a:pt x="25" y="145"/>
                  </a:lnTo>
                  <a:lnTo>
                    <a:pt x="27" y="143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30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3" y="145"/>
                  </a:lnTo>
                  <a:lnTo>
                    <a:pt x="33" y="143"/>
                  </a:lnTo>
                  <a:lnTo>
                    <a:pt x="33" y="142"/>
                  </a:lnTo>
                  <a:lnTo>
                    <a:pt x="31" y="142"/>
                  </a:lnTo>
                  <a:lnTo>
                    <a:pt x="28" y="142"/>
                  </a:lnTo>
                  <a:lnTo>
                    <a:pt x="28" y="140"/>
                  </a:lnTo>
                  <a:lnTo>
                    <a:pt x="30" y="140"/>
                  </a:lnTo>
                  <a:lnTo>
                    <a:pt x="30" y="137"/>
                  </a:lnTo>
                  <a:lnTo>
                    <a:pt x="30" y="132"/>
                  </a:lnTo>
                  <a:lnTo>
                    <a:pt x="30" y="131"/>
                  </a:lnTo>
                  <a:lnTo>
                    <a:pt x="31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28"/>
                  </a:lnTo>
                  <a:lnTo>
                    <a:pt x="34" y="128"/>
                  </a:lnTo>
                  <a:lnTo>
                    <a:pt x="36" y="128"/>
                  </a:lnTo>
                  <a:lnTo>
                    <a:pt x="37" y="125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17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2" y="112"/>
                  </a:lnTo>
                  <a:lnTo>
                    <a:pt x="44" y="111"/>
                  </a:lnTo>
                  <a:lnTo>
                    <a:pt x="44" y="109"/>
                  </a:lnTo>
                  <a:lnTo>
                    <a:pt x="45" y="109"/>
                  </a:lnTo>
                  <a:lnTo>
                    <a:pt x="47" y="108"/>
                  </a:lnTo>
                  <a:lnTo>
                    <a:pt x="50" y="109"/>
                  </a:lnTo>
                  <a:lnTo>
                    <a:pt x="54" y="108"/>
                  </a:lnTo>
                  <a:lnTo>
                    <a:pt x="56" y="105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9" y="102"/>
                  </a:lnTo>
                  <a:lnTo>
                    <a:pt x="59" y="103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2" y="103"/>
                  </a:lnTo>
                  <a:lnTo>
                    <a:pt x="64" y="102"/>
                  </a:lnTo>
                  <a:lnTo>
                    <a:pt x="65" y="102"/>
                  </a:lnTo>
                  <a:lnTo>
                    <a:pt x="67" y="100"/>
                  </a:lnTo>
                  <a:lnTo>
                    <a:pt x="67" y="99"/>
                  </a:lnTo>
                  <a:lnTo>
                    <a:pt x="68" y="99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1" y="100"/>
                  </a:lnTo>
                  <a:lnTo>
                    <a:pt x="71" y="100"/>
                  </a:lnTo>
                  <a:lnTo>
                    <a:pt x="74" y="99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6"/>
                  </a:lnTo>
                  <a:lnTo>
                    <a:pt x="85" y="102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105" y="97"/>
                  </a:lnTo>
                  <a:lnTo>
                    <a:pt x="111" y="97"/>
                  </a:lnTo>
                  <a:lnTo>
                    <a:pt x="114" y="96"/>
                  </a:lnTo>
                  <a:lnTo>
                    <a:pt x="116" y="92"/>
                  </a:lnTo>
                  <a:lnTo>
                    <a:pt x="117" y="92"/>
                  </a:lnTo>
                  <a:lnTo>
                    <a:pt x="119" y="94"/>
                  </a:lnTo>
                  <a:lnTo>
                    <a:pt x="121" y="94"/>
                  </a:lnTo>
                  <a:lnTo>
                    <a:pt x="122" y="94"/>
                  </a:lnTo>
                  <a:lnTo>
                    <a:pt x="124" y="92"/>
                  </a:lnTo>
                  <a:lnTo>
                    <a:pt x="127" y="89"/>
                  </a:lnTo>
                  <a:lnTo>
                    <a:pt x="127" y="88"/>
                  </a:lnTo>
                  <a:lnTo>
                    <a:pt x="128" y="89"/>
                  </a:lnTo>
                  <a:lnTo>
                    <a:pt x="130" y="89"/>
                  </a:lnTo>
                  <a:lnTo>
                    <a:pt x="131" y="91"/>
                  </a:lnTo>
                  <a:lnTo>
                    <a:pt x="136" y="96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2" y="97"/>
                  </a:lnTo>
                  <a:lnTo>
                    <a:pt x="119" y="97"/>
                  </a:lnTo>
                  <a:lnTo>
                    <a:pt x="117" y="100"/>
                  </a:lnTo>
                  <a:lnTo>
                    <a:pt x="116" y="102"/>
                  </a:lnTo>
                  <a:lnTo>
                    <a:pt x="114" y="106"/>
                  </a:lnTo>
                  <a:lnTo>
                    <a:pt x="113" y="108"/>
                  </a:lnTo>
                  <a:lnTo>
                    <a:pt x="111" y="108"/>
                  </a:lnTo>
                  <a:lnTo>
                    <a:pt x="111" y="106"/>
                  </a:lnTo>
                  <a:lnTo>
                    <a:pt x="110" y="106"/>
                  </a:lnTo>
                  <a:lnTo>
                    <a:pt x="110" y="105"/>
                  </a:lnTo>
                  <a:lnTo>
                    <a:pt x="111" y="105"/>
                  </a:lnTo>
                  <a:lnTo>
                    <a:pt x="111" y="103"/>
                  </a:lnTo>
                  <a:lnTo>
                    <a:pt x="102" y="100"/>
                  </a:lnTo>
                  <a:lnTo>
                    <a:pt x="101" y="100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7" y="106"/>
                  </a:lnTo>
                  <a:lnTo>
                    <a:pt x="87" y="106"/>
                  </a:lnTo>
                  <a:lnTo>
                    <a:pt x="84" y="109"/>
                  </a:lnTo>
                  <a:lnTo>
                    <a:pt x="82" y="111"/>
                  </a:lnTo>
                  <a:lnTo>
                    <a:pt x="81" y="114"/>
                  </a:lnTo>
                  <a:lnTo>
                    <a:pt x="81" y="117"/>
                  </a:lnTo>
                  <a:lnTo>
                    <a:pt x="81" y="119"/>
                  </a:lnTo>
                  <a:lnTo>
                    <a:pt x="82" y="119"/>
                  </a:lnTo>
                  <a:lnTo>
                    <a:pt x="82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4" y="125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82" y="132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4" y="136"/>
                  </a:lnTo>
                  <a:lnTo>
                    <a:pt x="84" y="136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1" y="143"/>
                  </a:lnTo>
                  <a:lnTo>
                    <a:pt x="81" y="145"/>
                  </a:lnTo>
                  <a:lnTo>
                    <a:pt x="81" y="146"/>
                  </a:lnTo>
                  <a:lnTo>
                    <a:pt x="82" y="146"/>
                  </a:lnTo>
                  <a:lnTo>
                    <a:pt x="84" y="146"/>
                  </a:lnTo>
                  <a:lnTo>
                    <a:pt x="85" y="145"/>
                  </a:lnTo>
                  <a:lnTo>
                    <a:pt x="88" y="143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90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52"/>
                  </a:lnTo>
                  <a:lnTo>
                    <a:pt x="90" y="156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3"/>
                  </a:lnTo>
                  <a:lnTo>
                    <a:pt x="90" y="163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91" y="162"/>
                  </a:lnTo>
                  <a:lnTo>
                    <a:pt x="94" y="162"/>
                  </a:lnTo>
                  <a:lnTo>
                    <a:pt x="96" y="162"/>
                  </a:lnTo>
                  <a:lnTo>
                    <a:pt x="96" y="163"/>
                  </a:lnTo>
                  <a:lnTo>
                    <a:pt x="94" y="165"/>
                  </a:lnTo>
                  <a:lnTo>
                    <a:pt x="93" y="163"/>
                  </a:lnTo>
                  <a:lnTo>
                    <a:pt x="93" y="165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5"/>
                  </a:lnTo>
                  <a:lnTo>
                    <a:pt x="90" y="165"/>
                  </a:lnTo>
                  <a:lnTo>
                    <a:pt x="88" y="163"/>
                  </a:lnTo>
                  <a:lnTo>
                    <a:pt x="88" y="163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7" y="159"/>
                  </a:lnTo>
                  <a:lnTo>
                    <a:pt x="88" y="156"/>
                  </a:lnTo>
                  <a:lnTo>
                    <a:pt x="88" y="154"/>
                  </a:lnTo>
                  <a:lnTo>
                    <a:pt x="88" y="152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81" y="152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79" y="151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9" y="154"/>
                  </a:lnTo>
                  <a:lnTo>
                    <a:pt x="79" y="156"/>
                  </a:lnTo>
                  <a:lnTo>
                    <a:pt x="77" y="156"/>
                  </a:lnTo>
                  <a:lnTo>
                    <a:pt x="77" y="156"/>
                  </a:lnTo>
                  <a:lnTo>
                    <a:pt x="76" y="156"/>
                  </a:lnTo>
                  <a:lnTo>
                    <a:pt x="74" y="160"/>
                  </a:lnTo>
                  <a:lnTo>
                    <a:pt x="73" y="162"/>
                  </a:lnTo>
                  <a:lnTo>
                    <a:pt x="73" y="162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4" y="151"/>
                  </a:lnTo>
                  <a:lnTo>
                    <a:pt x="74" y="149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6" y="146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1" y="140"/>
                  </a:lnTo>
                  <a:lnTo>
                    <a:pt x="79" y="139"/>
                  </a:lnTo>
                  <a:lnTo>
                    <a:pt x="77" y="137"/>
                  </a:lnTo>
                  <a:lnTo>
                    <a:pt x="76" y="136"/>
                  </a:lnTo>
                  <a:lnTo>
                    <a:pt x="76" y="132"/>
                  </a:lnTo>
                  <a:lnTo>
                    <a:pt x="76" y="131"/>
                  </a:lnTo>
                  <a:lnTo>
                    <a:pt x="74" y="129"/>
                  </a:lnTo>
                  <a:lnTo>
                    <a:pt x="73" y="128"/>
                  </a:lnTo>
                  <a:lnTo>
                    <a:pt x="71" y="128"/>
                  </a:lnTo>
                  <a:lnTo>
                    <a:pt x="70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8" y="131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5" y="129"/>
                  </a:lnTo>
                  <a:lnTo>
                    <a:pt x="61" y="134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6" y="139"/>
                  </a:lnTo>
                  <a:lnTo>
                    <a:pt x="56" y="140"/>
                  </a:lnTo>
                  <a:lnTo>
                    <a:pt x="56" y="142"/>
                  </a:lnTo>
                  <a:lnTo>
                    <a:pt x="61" y="142"/>
                  </a:lnTo>
                  <a:lnTo>
                    <a:pt x="62" y="142"/>
                  </a:lnTo>
                  <a:lnTo>
                    <a:pt x="62" y="143"/>
                  </a:lnTo>
                  <a:lnTo>
                    <a:pt x="57" y="143"/>
                  </a:lnTo>
                  <a:lnTo>
                    <a:pt x="54" y="143"/>
                  </a:lnTo>
                  <a:lnTo>
                    <a:pt x="53" y="145"/>
                  </a:lnTo>
                  <a:lnTo>
                    <a:pt x="48" y="152"/>
                  </a:lnTo>
                  <a:lnTo>
                    <a:pt x="45" y="152"/>
                  </a:lnTo>
                  <a:lnTo>
                    <a:pt x="44" y="154"/>
                  </a:lnTo>
                  <a:lnTo>
                    <a:pt x="44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3"/>
                  </a:lnTo>
                  <a:lnTo>
                    <a:pt x="50" y="163"/>
                  </a:lnTo>
                  <a:lnTo>
                    <a:pt x="50" y="163"/>
                  </a:lnTo>
                  <a:lnTo>
                    <a:pt x="48" y="166"/>
                  </a:lnTo>
                  <a:lnTo>
                    <a:pt x="48" y="168"/>
                  </a:lnTo>
                  <a:lnTo>
                    <a:pt x="48" y="169"/>
                  </a:lnTo>
                  <a:lnTo>
                    <a:pt x="48" y="171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7" y="173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9" y="171"/>
                  </a:lnTo>
                  <a:lnTo>
                    <a:pt x="37" y="171"/>
                  </a:lnTo>
                  <a:lnTo>
                    <a:pt x="37" y="169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6"/>
                  </a:lnTo>
                  <a:lnTo>
                    <a:pt x="36" y="160"/>
                  </a:lnTo>
                  <a:lnTo>
                    <a:pt x="34" y="160"/>
                  </a:lnTo>
                  <a:lnTo>
                    <a:pt x="34" y="162"/>
                  </a:lnTo>
                  <a:lnTo>
                    <a:pt x="33" y="163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2" y="159"/>
                  </a:lnTo>
                  <a:lnTo>
                    <a:pt x="19" y="159"/>
                  </a:lnTo>
                  <a:lnTo>
                    <a:pt x="16" y="160"/>
                  </a:lnTo>
                  <a:lnTo>
                    <a:pt x="16" y="162"/>
                  </a:lnTo>
                  <a:lnTo>
                    <a:pt x="17" y="162"/>
                  </a:lnTo>
                  <a:lnTo>
                    <a:pt x="17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4" y="162"/>
                  </a:lnTo>
                  <a:lnTo>
                    <a:pt x="16" y="160"/>
                  </a:lnTo>
                  <a:lnTo>
                    <a:pt x="14" y="159"/>
                  </a:lnTo>
                  <a:lnTo>
                    <a:pt x="16" y="157"/>
                  </a:lnTo>
                  <a:lnTo>
                    <a:pt x="16" y="157"/>
                  </a:lnTo>
                  <a:lnTo>
                    <a:pt x="13" y="157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1" y="152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1"/>
                  </a:lnTo>
                  <a:lnTo>
                    <a:pt x="8" y="149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42"/>
                  </a:lnTo>
                  <a:lnTo>
                    <a:pt x="8" y="143"/>
                  </a:lnTo>
                  <a:lnTo>
                    <a:pt x="7" y="148"/>
                  </a:lnTo>
                  <a:lnTo>
                    <a:pt x="4" y="159"/>
                  </a:lnTo>
                  <a:lnTo>
                    <a:pt x="2" y="162"/>
                  </a:lnTo>
                  <a:lnTo>
                    <a:pt x="2" y="163"/>
                  </a:lnTo>
                  <a:lnTo>
                    <a:pt x="4" y="211"/>
                  </a:lnTo>
                  <a:lnTo>
                    <a:pt x="4" y="214"/>
                  </a:lnTo>
                  <a:lnTo>
                    <a:pt x="0" y="222"/>
                  </a:lnTo>
                  <a:lnTo>
                    <a:pt x="0" y="225"/>
                  </a:lnTo>
                  <a:lnTo>
                    <a:pt x="2" y="234"/>
                  </a:lnTo>
                  <a:lnTo>
                    <a:pt x="2" y="236"/>
                  </a:lnTo>
                  <a:lnTo>
                    <a:pt x="2" y="237"/>
                  </a:lnTo>
                  <a:lnTo>
                    <a:pt x="2" y="239"/>
                  </a:lnTo>
                  <a:lnTo>
                    <a:pt x="4" y="239"/>
                  </a:lnTo>
                  <a:lnTo>
                    <a:pt x="4" y="237"/>
                  </a:lnTo>
                  <a:lnTo>
                    <a:pt x="4" y="236"/>
                  </a:lnTo>
                  <a:lnTo>
                    <a:pt x="4" y="233"/>
                  </a:lnTo>
                  <a:lnTo>
                    <a:pt x="4" y="229"/>
                  </a:lnTo>
                  <a:lnTo>
                    <a:pt x="4" y="223"/>
                  </a:lnTo>
                  <a:lnTo>
                    <a:pt x="5" y="223"/>
                  </a:lnTo>
                  <a:lnTo>
                    <a:pt x="7" y="223"/>
                  </a:lnTo>
                  <a:lnTo>
                    <a:pt x="11" y="226"/>
                  </a:lnTo>
                  <a:lnTo>
                    <a:pt x="14" y="228"/>
                  </a:lnTo>
                  <a:lnTo>
                    <a:pt x="16" y="231"/>
                  </a:lnTo>
                  <a:lnTo>
                    <a:pt x="17" y="236"/>
                  </a:lnTo>
                  <a:lnTo>
                    <a:pt x="17" y="239"/>
                  </a:lnTo>
                  <a:lnTo>
                    <a:pt x="20" y="243"/>
                  </a:lnTo>
                  <a:lnTo>
                    <a:pt x="20" y="245"/>
                  </a:lnTo>
                  <a:lnTo>
                    <a:pt x="22" y="248"/>
                  </a:lnTo>
                  <a:lnTo>
                    <a:pt x="22" y="250"/>
                  </a:lnTo>
                  <a:lnTo>
                    <a:pt x="22" y="253"/>
                  </a:lnTo>
                  <a:lnTo>
                    <a:pt x="19" y="256"/>
                  </a:lnTo>
                  <a:lnTo>
                    <a:pt x="16" y="257"/>
                  </a:lnTo>
                  <a:lnTo>
                    <a:pt x="14" y="257"/>
                  </a:lnTo>
                  <a:lnTo>
                    <a:pt x="11" y="260"/>
                  </a:lnTo>
                  <a:lnTo>
                    <a:pt x="8" y="262"/>
                  </a:lnTo>
                  <a:lnTo>
                    <a:pt x="7" y="262"/>
                  </a:lnTo>
                  <a:lnTo>
                    <a:pt x="7" y="260"/>
                  </a:lnTo>
                  <a:lnTo>
                    <a:pt x="7" y="259"/>
                  </a:lnTo>
                  <a:lnTo>
                    <a:pt x="8" y="257"/>
                  </a:lnTo>
                  <a:lnTo>
                    <a:pt x="8" y="256"/>
                  </a:lnTo>
                  <a:lnTo>
                    <a:pt x="8" y="254"/>
                  </a:lnTo>
                  <a:lnTo>
                    <a:pt x="7" y="251"/>
                  </a:lnTo>
                  <a:lnTo>
                    <a:pt x="5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39"/>
                  </a:lnTo>
                  <a:lnTo>
                    <a:pt x="4" y="239"/>
                  </a:lnTo>
                  <a:lnTo>
                    <a:pt x="4" y="239"/>
                  </a:lnTo>
                  <a:lnTo>
                    <a:pt x="2" y="239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42"/>
                  </a:lnTo>
                  <a:lnTo>
                    <a:pt x="7" y="268"/>
                  </a:lnTo>
                  <a:lnTo>
                    <a:pt x="7" y="274"/>
                  </a:lnTo>
                  <a:lnTo>
                    <a:pt x="5" y="279"/>
                  </a:lnTo>
                  <a:lnTo>
                    <a:pt x="5" y="283"/>
                  </a:lnTo>
                  <a:lnTo>
                    <a:pt x="0" y="296"/>
                  </a:lnTo>
                  <a:lnTo>
                    <a:pt x="0" y="297"/>
                  </a:lnTo>
                  <a:lnTo>
                    <a:pt x="2" y="299"/>
                  </a:lnTo>
                  <a:lnTo>
                    <a:pt x="5" y="299"/>
                  </a:lnTo>
                  <a:lnTo>
                    <a:pt x="8" y="300"/>
                  </a:lnTo>
                  <a:lnTo>
                    <a:pt x="16" y="308"/>
                  </a:lnTo>
                  <a:lnTo>
                    <a:pt x="17" y="308"/>
                  </a:lnTo>
                  <a:lnTo>
                    <a:pt x="17" y="305"/>
                  </a:lnTo>
                  <a:lnTo>
                    <a:pt x="16" y="303"/>
                  </a:lnTo>
                  <a:lnTo>
                    <a:pt x="13" y="302"/>
                  </a:lnTo>
                  <a:lnTo>
                    <a:pt x="11" y="302"/>
                  </a:lnTo>
                  <a:lnTo>
                    <a:pt x="13" y="300"/>
                  </a:lnTo>
                  <a:lnTo>
                    <a:pt x="13" y="300"/>
                  </a:lnTo>
                  <a:lnTo>
                    <a:pt x="13" y="300"/>
                  </a:lnTo>
                  <a:lnTo>
                    <a:pt x="11" y="297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3" y="293"/>
                  </a:lnTo>
                  <a:lnTo>
                    <a:pt x="14" y="293"/>
                  </a:lnTo>
                  <a:lnTo>
                    <a:pt x="16" y="293"/>
                  </a:lnTo>
                  <a:lnTo>
                    <a:pt x="17" y="293"/>
                  </a:lnTo>
                  <a:lnTo>
                    <a:pt x="17" y="294"/>
                  </a:lnTo>
                  <a:lnTo>
                    <a:pt x="16" y="294"/>
                  </a:lnTo>
                  <a:lnTo>
                    <a:pt x="16" y="296"/>
                  </a:lnTo>
                  <a:lnTo>
                    <a:pt x="24" y="305"/>
                  </a:lnTo>
                  <a:lnTo>
                    <a:pt x="27" y="308"/>
                  </a:lnTo>
                  <a:lnTo>
                    <a:pt x="30" y="310"/>
                  </a:lnTo>
                  <a:lnTo>
                    <a:pt x="34" y="310"/>
                  </a:lnTo>
                  <a:lnTo>
                    <a:pt x="37" y="310"/>
                  </a:lnTo>
                  <a:lnTo>
                    <a:pt x="39" y="311"/>
                  </a:lnTo>
                  <a:lnTo>
                    <a:pt x="40" y="314"/>
                  </a:lnTo>
                  <a:lnTo>
                    <a:pt x="40" y="317"/>
                  </a:lnTo>
                  <a:lnTo>
                    <a:pt x="42" y="323"/>
                  </a:lnTo>
                  <a:lnTo>
                    <a:pt x="42" y="327"/>
                  </a:lnTo>
                  <a:lnTo>
                    <a:pt x="42" y="328"/>
                  </a:lnTo>
                  <a:lnTo>
                    <a:pt x="42" y="330"/>
                  </a:lnTo>
                  <a:lnTo>
                    <a:pt x="42" y="331"/>
                  </a:lnTo>
                  <a:lnTo>
                    <a:pt x="42" y="333"/>
                  </a:lnTo>
                  <a:lnTo>
                    <a:pt x="42" y="337"/>
                  </a:lnTo>
                  <a:lnTo>
                    <a:pt x="44" y="343"/>
                  </a:lnTo>
                  <a:lnTo>
                    <a:pt x="45" y="348"/>
                  </a:lnTo>
                  <a:lnTo>
                    <a:pt x="45" y="351"/>
                  </a:lnTo>
                  <a:lnTo>
                    <a:pt x="44" y="351"/>
                  </a:lnTo>
                  <a:lnTo>
                    <a:pt x="39" y="350"/>
                  </a:lnTo>
                  <a:lnTo>
                    <a:pt x="34" y="350"/>
                  </a:lnTo>
                  <a:lnTo>
                    <a:pt x="34" y="348"/>
                  </a:lnTo>
                  <a:lnTo>
                    <a:pt x="36" y="347"/>
                  </a:lnTo>
                  <a:lnTo>
                    <a:pt x="36" y="345"/>
                  </a:lnTo>
                  <a:lnTo>
                    <a:pt x="37" y="345"/>
                  </a:lnTo>
                  <a:lnTo>
                    <a:pt x="36" y="343"/>
                  </a:lnTo>
                  <a:lnTo>
                    <a:pt x="33" y="343"/>
                  </a:lnTo>
                  <a:lnTo>
                    <a:pt x="30" y="343"/>
                  </a:lnTo>
                  <a:lnTo>
                    <a:pt x="28" y="345"/>
                  </a:lnTo>
                  <a:lnTo>
                    <a:pt x="28" y="350"/>
                  </a:lnTo>
                  <a:lnTo>
                    <a:pt x="28" y="353"/>
                  </a:lnTo>
                  <a:lnTo>
                    <a:pt x="27" y="356"/>
                  </a:lnTo>
                  <a:lnTo>
                    <a:pt x="28" y="359"/>
                  </a:lnTo>
                  <a:lnTo>
                    <a:pt x="30" y="360"/>
                  </a:lnTo>
                  <a:lnTo>
                    <a:pt x="30" y="360"/>
                  </a:lnTo>
                  <a:lnTo>
                    <a:pt x="31" y="360"/>
                  </a:lnTo>
                  <a:lnTo>
                    <a:pt x="33" y="359"/>
                  </a:lnTo>
                  <a:lnTo>
                    <a:pt x="33" y="357"/>
                  </a:lnTo>
                  <a:lnTo>
                    <a:pt x="34" y="357"/>
                  </a:lnTo>
                  <a:lnTo>
                    <a:pt x="34" y="356"/>
                  </a:lnTo>
                  <a:lnTo>
                    <a:pt x="34" y="351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44" y="351"/>
                  </a:lnTo>
                  <a:lnTo>
                    <a:pt x="44" y="354"/>
                  </a:lnTo>
                  <a:lnTo>
                    <a:pt x="42" y="359"/>
                  </a:lnTo>
                  <a:lnTo>
                    <a:pt x="40" y="362"/>
                  </a:lnTo>
                  <a:lnTo>
                    <a:pt x="40" y="365"/>
                  </a:lnTo>
                  <a:lnTo>
                    <a:pt x="42" y="370"/>
                  </a:lnTo>
                  <a:lnTo>
                    <a:pt x="44" y="373"/>
                  </a:lnTo>
                  <a:lnTo>
                    <a:pt x="44" y="376"/>
                  </a:lnTo>
                  <a:lnTo>
                    <a:pt x="42" y="379"/>
                  </a:lnTo>
                  <a:lnTo>
                    <a:pt x="44" y="380"/>
                  </a:lnTo>
                  <a:lnTo>
                    <a:pt x="42" y="382"/>
                  </a:lnTo>
                  <a:lnTo>
                    <a:pt x="42" y="382"/>
                  </a:lnTo>
                  <a:lnTo>
                    <a:pt x="45" y="383"/>
                  </a:lnTo>
                  <a:lnTo>
                    <a:pt x="48" y="383"/>
                  </a:lnTo>
                  <a:lnTo>
                    <a:pt x="53" y="382"/>
                  </a:lnTo>
                  <a:lnTo>
                    <a:pt x="54" y="380"/>
                  </a:lnTo>
                  <a:lnTo>
                    <a:pt x="61" y="382"/>
                  </a:lnTo>
                  <a:lnTo>
                    <a:pt x="67" y="385"/>
                  </a:lnTo>
                  <a:lnTo>
                    <a:pt x="82" y="388"/>
                  </a:lnTo>
                  <a:lnTo>
                    <a:pt x="84" y="390"/>
                  </a:lnTo>
                  <a:lnTo>
                    <a:pt x="84" y="391"/>
                  </a:lnTo>
                  <a:lnTo>
                    <a:pt x="84" y="393"/>
                  </a:lnTo>
                  <a:lnTo>
                    <a:pt x="85" y="394"/>
                  </a:lnTo>
                  <a:lnTo>
                    <a:pt x="85" y="394"/>
                  </a:lnTo>
                  <a:lnTo>
                    <a:pt x="91" y="394"/>
                  </a:lnTo>
                  <a:lnTo>
                    <a:pt x="93" y="394"/>
                  </a:lnTo>
                  <a:lnTo>
                    <a:pt x="93" y="393"/>
                  </a:lnTo>
                  <a:lnTo>
                    <a:pt x="94" y="393"/>
                  </a:lnTo>
                  <a:lnTo>
                    <a:pt x="94" y="393"/>
                  </a:lnTo>
                  <a:lnTo>
                    <a:pt x="96" y="393"/>
                  </a:lnTo>
                  <a:lnTo>
                    <a:pt x="97" y="394"/>
                  </a:lnTo>
                  <a:lnTo>
                    <a:pt x="99" y="394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101" y="391"/>
                  </a:lnTo>
                  <a:lnTo>
                    <a:pt x="102" y="390"/>
                  </a:lnTo>
                  <a:lnTo>
                    <a:pt x="105" y="387"/>
                  </a:lnTo>
                  <a:lnTo>
                    <a:pt x="107" y="385"/>
                  </a:lnTo>
                  <a:lnTo>
                    <a:pt x="107" y="385"/>
                  </a:lnTo>
                  <a:lnTo>
                    <a:pt x="108" y="385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10" y="383"/>
                  </a:lnTo>
                  <a:lnTo>
                    <a:pt x="110" y="382"/>
                  </a:lnTo>
                  <a:lnTo>
                    <a:pt x="111" y="379"/>
                  </a:lnTo>
                  <a:lnTo>
                    <a:pt x="111" y="379"/>
                  </a:lnTo>
                  <a:lnTo>
                    <a:pt x="113" y="377"/>
                  </a:lnTo>
                  <a:lnTo>
                    <a:pt x="116" y="379"/>
                  </a:lnTo>
                  <a:lnTo>
                    <a:pt x="116" y="380"/>
                  </a:lnTo>
                  <a:lnTo>
                    <a:pt x="114" y="380"/>
                  </a:lnTo>
                  <a:lnTo>
                    <a:pt x="113" y="382"/>
                  </a:lnTo>
                  <a:lnTo>
                    <a:pt x="113" y="382"/>
                  </a:lnTo>
                  <a:lnTo>
                    <a:pt x="114" y="385"/>
                  </a:lnTo>
                  <a:lnTo>
                    <a:pt x="114" y="385"/>
                  </a:lnTo>
                  <a:lnTo>
                    <a:pt x="114" y="385"/>
                  </a:lnTo>
                  <a:lnTo>
                    <a:pt x="114" y="387"/>
                  </a:lnTo>
                  <a:lnTo>
                    <a:pt x="116" y="387"/>
                  </a:lnTo>
                  <a:lnTo>
                    <a:pt x="116" y="387"/>
                  </a:lnTo>
                  <a:lnTo>
                    <a:pt x="119" y="387"/>
                  </a:lnTo>
                  <a:lnTo>
                    <a:pt x="121" y="388"/>
                  </a:lnTo>
                  <a:lnTo>
                    <a:pt x="121" y="390"/>
                  </a:lnTo>
                  <a:lnTo>
                    <a:pt x="122" y="391"/>
                  </a:lnTo>
                  <a:lnTo>
                    <a:pt x="124" y="390"/>
                  </a:lnTo>
                  <a:lnTo>
                    <a:pt x="124" y="388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2" y="385"/>
                  </a:lnTo>
                  <a:lnTo>
                    <a:pt x="122" y="385"/>
                  </a:lnTo>
                  <a:lnTo>
                    <a:pt x="121" y="383"/>
                  </a:lnTo>
                  <a:lnTo>
                    <a:pt x="121" y="383"/>
                  </a:lnTo>
                  <a:lnTo>
                    <a:pt x="121" y="382"/>
                  </a:lnTo>
                  <a:lnTo>
                    <a:pt x="122" y="382"/>
                  </a:lnTo>
                  <a:lnTo>
                    <a:pt x="122" y="382"/>
                  </a:lnTo>
                  <a:lnTo>
                    <a:pt x="124" y="382"/>
                  </a:lnTo>
                  <a:lnTo>
                    <a:pt x="124" y="382"/>
                  </a:lnTo>
                  <a:lnTo>
                    <a:pt x="125" y="382"/>
                  </a:lnTo>
                  <a:lnTo>
                    <a:pt x="124" y="380"/>
                  </a:lnTo>
                  <a:lnTo>
                    <a:pt x="122" y="371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92"/>
            <p:cNvSpPr>
              <a:spLocks noEditPoints="1"/>
            </p:cNvSpPr>
            <p:nvPr/>
          </p:nvSpPr>
          <p:spPr bwMode="gray">
            <a:xfrm>
              <a:off x="6640513" y="5097463"/>
              <a:ext cx="835025" cy="674688"/>
            </a:xfrm>
            <a:custGeom>
              <a:avLst/>
              <a:gdLst>
                <a:gd name="T0" fmla="*/ 218 w 526"/>
                <a:gd name="T1" fmla="*/ 383 h 425"/>
                <a:gd name="T2" fmla="*/ 179 w 526"/>
                <a:gd name="T3" fmla="*/ 387 h 425"/>
                <a:gd name="T4" fmla="*/ 312 w 526"/>
                <a:gd name="T5" fmla="*/ 360 h 425"/>
                <a:gd name="T6" fmla="*/ 312 w 526"/>
                <a:gd name="T7" fmla="*/ 377 h 425"/>
                <a:gd name="T8" fmla="*/ 127 w 526"/>
                <a:gd name="T9" fmla="*/ 368 h 425"/>
                <a:gd name="T10" fmla="*/ 139 w 526"/>
                <a:gd name="T11" fmla="*/ 387 h 425"/>
                <a:gd name="T12" fmla="*/ 193 w 526"/>
                <a:gd name="T13" fmla="*/ 402 h 425"/>
                <a:gd name="T14" fmla="*/ 492 w 526"/>
                <a:gd name="T15" fmla="*/ 339 h 425"/>
                <a:gd name="T16" fmla="*/ 20 w 526"/>
                <a:gd name="T17" fmla="*/ 313 h 425"/>
                <a:gd name="T18" fmla="*/ 188 w 526"/>
                <a:gd name="T19" fmla="*/ 310 h 425"/>
                <a:gd name="T20" fmla="*/ 187 w 526"/>
                <a:gd name="T21" fmla="*/ 300 h 425"/>
                <a:gd name="T22" fmla="*/ 173 w 526"/>
                <a:gd name="T23" fmla="*/ 294 h 425"/>
                <a:gd name="T24" fmla="*/ 121 w 526"/>
                <a:gd name="T25" fmla="*/ 308 h 425"/>
                <a:gd name="T26" fmla="*/ 141 w 526"/>
                <a:gd name="T27" fmla="*/ 343 h 425"/>
                <a:gd name="T28" fmla="*/ 158 w 526"/>
                <a:gd name="T29" fmla="*/ 357 h 425"/>
                <a:gd name="T30" fmla="*/ 338 w 526"/>
                <a:gd name="T31" fmla="*/ 294 h 425"/>
                <a:gd name="T32" fmla="*/ 181 w 526"/>
                <a:gd name="T33" fmla="*/ 265 h 425"/>
                <a:gd name="T34" fmla="*/ 284 w 526"/>
                <a:gd name="T35" fmla="*/ 368 h 425"/>
                <a:gd name="T36" fmla="*/ 298 w 526"/>
                <a:gd name="T37" fmla="*/ 350 h 425"/>
                <a:gd name="T38" fmla="*/ 328 w 526"/>
                <a:gd name="T39" fmla="*/ 286 h 425"/>
                <a:gd name="T40" fmla="*/ 281 w 526"/>
                <a:gd name="T41" fmla="*/ 242 h 425"/>
                <a:gd name="T42" fmla="*/ 295 w 526"/>
                <a:gd name="T43" fmla="*/ 268 h 425"/>
                <a:gd name="T44" fmla="*/ 275 w 526"/>
                <a:gd name="T45" fmla="*/ 277 h 425"/>
                <a:gd name="T46" fmla="*/ 270 w 526"/>
                <a:gd name="T47" fmla="*/ 250 h 425"/>
                <a:gd name="T48" fmla="*/ 244 w 526"/>
                <a:gd name="T49" fmla="*/ 266 h 425"/>
                <a:gd name="T50" fmla="*/ 211 w 526"/>
                <a:gd name="T51" fmla="*/ 282 h 425"/>
                <a:gd name="T52" fmla="*/ 224 w 526"/>
                <a:gd name="T53" fmla="*/ 325 h 425"/>
                <a:gd name="T54" fmla="*/ 247 w 526"/>
                <a:gd name="T55" fmla="*/ 340 h 425"/>
                <a:gd name="T56" fmla="*/ 275 w 526"/>
                <a:gd name="T57" fmla="*/ 362 h 425"/>
                <a:gd name="T58" fmla="*/ 282 w 526"/>
                <a:gd name="T59" fmla="*/ 400 h 425"/>
                <a:gd name="T60" fmla="*/ 264 w 526"/>
                <a:gd name="T61" fmla="*/ 142 h 425"/>
                <a:gd name="T62" fmla="*/ 59 w 526"/>
                <a:gd name="T63" fmla="*/ 131 h 425"/>
                <a:gd name="T64" fmla="*/ 44 w 526"/>
                <a:gd name="T65" fmla="*/ 117 h 425"/>
                <a:gd name="T66" fmla="*/ 222 w 526"/>
                <a:gd name="T67" fmla="*/ 63 h 425"/>
                <a:gd name="T68" fmla="*/ 101 w 526"/>
                <a:gd name="T69" fmla="*/ 365 h 425"/>
                <a:gd name="T70" fmla="*/ 121 w 526"/>
                <a:gd name="T71" fmla="*/ 337 h 425"/>
                <a:gd name="T72" fmla="*/ 110 w 526"/>
                <a:gd name="T73" fmla="*/ 300 h 425"/>
                <a:gd name="T74" fmla="*/ 133 w 526"/>
                <a:gd name="T75" fmla="*/ 279 h 425"/>
                <a:gd name="T76" fmla="*/ 156 w 526"/>
                <a:gd name="T77" fmla="*/ 259 h 425"/>
                <a:gd name="T78" fmla="*/ 171 w 526"/>
                <a:gd name="T79" fmla="*/ 200 h 425"/>
                <a:gd name="T80" fmla="*/ 182 w 526"/>
                <a:gd name="T81" fmla="*/ 225 h 425"/>
                <a:gd name="T82" fmla="*/ 205 w 526"/>
                <a:gd name="T83" fmla="*/ 168 h 425"/>
                <a:gd name="T84" fmla="*/ 156 w 526"/>
                <a:gd name="T85" fmla="*/ 145 h 425"/>
                <a:gd name="T86" fmla="*/ 159 w 526"/>
                <a:gd name="T87" fmla="*/ 142 h 425"/>
                <a:gd name="T88" fmla="*/ 147 w 526"/>
                <a:gd name="T89" fmla="*/ 94 h 425"/>
                <a:gd name="T90" fmla="*/ 158 w 526"/>
                <a:gd name="T91" fmla="*/ 20 h 425"/>
                <a:gd name="T92" fmla="*/ 14 w 526"/>
                <a:gd name="T93" fmla="*/ 136 h 425"/>
                <a:gd name="T94" fmla="*/ 25 w 526"/>
                <a:gd name="T95" fmla="*/ 145 h 425"/>
                <a:gd name="T96" fmla="*/ 47 w 526"/>
                <a:gd name="T97" fmla="*/ 108 h 425"/>
                <a:gd name="T98" fmla="*/ 124 w 526"/>
                <a:gd name="T99" fmla="*/ 92 h 425"/>
                <a:gd name="T100" fmla="*/ 82 w 526"/>
                <a:gd name="T101" fmla="*/ 119 h 425"/>
                <a:gd name="T102" fmla="*/ 90 w 526"/>
                <a:gd name="T103" fmla="*/ 162 h 425"/>
                <a:gd name="T104" fmla="*/ 79 w 526"/>
                <a:gd name="T105" fmla="*/ 149 h 425"/>
                <a:gd name="T106" fmla="*/ 70 w 526"/>
                <a:gd name="T107" fmla="*/ 129 h 425"/>
                <a:gd name="T108" fmla="*/ 48 w 526"/>
                <a:gd name="T109" fmla="*/ 166 h 425"/>
                <a:gd name="T110" fmla="*/ 14 w 526"/>
                <a:gd name="T111" fmla="*/ 159 h 425"/>
                <a:gd name="T112" fmla="*/ 4 w 526"/>
                <a:gd name="T113" fmla="*/ 229 h 425"/>
                <a:gd name="T114" fmla="*/ 4 w 526"/>
                <a:gd name="T115" fmla="*/ 240 h 425"/>
                <a:gd name="T116" fmla="*/ 39 w 526"/>
                <a:gd name="T117" fmla="*/ 311 h 425"/>
                <a:gd name="T118" fmla="*/ 34 w 526"/>
                <a:gd name="T119" fmla="*/ 351 h 425"/>
                <a:gd name="T120" fmla="*/ 101 w 526"/>
                <a:gd name="T121" fmla="*/ 393 h 425"/>
                <a:gd name="T122" fmla="*/ 122 w 526"/>
                <a:gd name="T123" fmla="*/ 38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6" h="425">
                  <a:moveTo>
                    <a:pt x="279" y="397"/>
                  </a:moveTo>
                  <a:lnTo>
                    <a:pt x="279" y="397"/>
                  </a:lnTo>
                  <a:lnTo>
                    <a:pt x="275" y="394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0"/>
                  </a:lnTo>
                  <a:lnTo>
                    <a:pt x="273" y="390"/>
                  </a:lnTo>
                  <a:lnTo>
                    <a:pt x="272" y="387"/>
                  </a:lnTo>
                  <a:lnTo>
                    <a:pt x="270" y="385"/>
                  </a:lnTo>
                  <a:lnTo>
                    <a:pt x="265" y="380"/>
                  </a:lnTo>
                  <a:lnTo>
                    <a:pt x="265" y="382"/>
                  </a:lnTo>
                  <a:lnTo>
                    <a:pt x="264" y="383"/>
                  </a:lnTo>
                  <a:lnTo>
                    <a:pt x="265" y="385"/>
                  </a:lnTo>
                  <a:lnTo>
                    <a:pt x="265" y="387"/>
                  </a:lnTo>
                  <a:lnTo>
                    <a:pt x="265" y="387"/>
                  </a:lnTo>
                  <a:lnTo>
                    <a:pt x="262" y="387"/>
                  </a:lnTo>
                  <a:lnTo>
                    <a:pt x="261" y="387"/>
                  </a:lnTo>
                  <a:lnTo>
                    <a:pt x="259" y="388"/>
                  </a:lnTo>
                  <a:lnTo>
                    <a:pt x="259" y="390"/>
                  </a:lnTo>
                  <a:lnTo>
                    <a:pt x="261" y="391"/>
                  </a:lnTo>
                  <a:lnTo>
                    <a:pt x="261" y="393"/>
                  </a:lnTo>
                  <a:lnTo>
                    <a:pt x="247" y="385"/>
                  </a:lnTo>
                  <a:lnTo>
                    <a:pt x="245" y="385"/>
                  </a:lnTo>
                  <a:lnTo>
                    <a:pt x="244" y="383"/>
                  </a:lnTo>
                  <a:lnTo>
                    <a:pt x="242" y="379"/>
                  </a:lnTo>
                  <a:lnTo>
                    <a:pt x="241" y="379"/>
                  </a:lnTo>
                  <a:lnTo>
                    <a:pt x="239" y="377"/>
                  </a:lnTo>
                  <a:lnTo>
                    <a:pt x="236" y="374"/>
                  </a:lnTo>
                  <a:lnTo>
                    <a:pt x="235" y="374"/>
                  </a:lnTo>
                  <a:lnTo>
                    <a:pt x="224" y="376"/>
                  </a:lnTo>
                  <a:lnTo>
                    <a:pt x="222" y="376"/>
                  </a:lnTo>
                  <a:lnTo>
                    <a:pt x="219" y="379"/>
                  </a:lnTo>
                  <a:lnTo>
                    <a:pt x="218" y="382"/>
                  </a:lnTo>
                  <a:lnTo>
                    <a:pt x="218" y="383"/>
                  </a:lnTo>
                  <a:lnTo>
                    <a:pt x="219" y="385"/>
                  </a:lnTo>
                  <a:lnTo>
                    <a:pt x="222" y="390"/>
                  </a:lnTo>
                  <a:lnTo>
                    <a:pt x="224" y="390"/>
                  </a:lnTo>
                  <a:lnTo>
                    <a:pt x="225" y="391"/>
                  </a:lnTo>
                  <a:lnTo>
                    <a:pt x="224" y="393"/>
                  </a:lnTo>
                  <a:lnTo>
                    <a:pt x="221" y="393"/>
                  </a:lnTo>
                  <a:lnTo>
                    <a:pt x="219" y="393"/>
                  </a:lnTo>
                  <a:lnTo>
                    <a:pt x="218" y="394"/>
                  </a:lnTo>
                  <a:lnTo>
                    <a:pt x="216" y="396"/>
                  </a:lnTo>
                  <a:lnTo>
                    <a:pt x="218" y="399"/>
                  </a:lnTo>
                  <a:lnTo>
                    <a:pt x="219" y="400"/>
                  </a:lnTo>
                  <a:lnTo>
                    <a:pt x="222" y="400"/>
                  </a:lnTo>
                  <a:lnTo>
                    <a:pt x="227" y="402"/>
                  </a:lnTo>
                  <a:lnTo>
                    <a:pt x="230" y="403"/>
                  </a:lnTo>
                  <a:lnTo>
                    <a:pt x="239" y="408"/>
                  </a:lnTo>
                  <a:lnTo>
                    <a:pt x="244" y="413"/>
                  </a:lnTo>
                  <a:lnTo>
                    <a:pt x="250" y="417"/>
                  </a:lnTo>
                  <a:lnTo>
                    <a:pt x="251" y="417"/>
                  </a:lnTo>
                  <a:lnTo>
                    <a:pt x="255" y="414"/>
                  </a:lnTo>
                  <a:lnTo>
                    <a:pt x="258" y="413"/>
                  </a:lnTo>
                  <a:lnTo>
                    <a:pt x="262" y="411"/>
                  </a:lnTo>
                  <a:lnTo>
                    <a:pt x="273" y="414"/>
                  </a:lnTo>
                  <a:lnTo>
                    <a:pt x="278" y="413"/>
                  </a:lnTo>
                  <a:lnTo>
                    <a:pt x="279" y="411"/>
                  </a:lnTo>
                  <a:lnTo>
                    <a:pt x="279" y="408"/>
                  </a:lnTo>
                  <a:lnTo>
                    <a:pt x="276" y="407"/>
                  </a:lnTo>
                  <a:lnTo>
                    <a:pt x="278" y="405"/>
                  </a:lnTo>
                  <a:lnTo>
                    <a:pt x="278" y="405"/>
                  </a:lnTo>
                  <a:lnTo>
                    <a:pt x="279" y="405"/>
                  </a:lnTo>
                  <a:lnTo>
                    <a:pt x="279" y="403"/>
                  </a:lnTo>
                  <a:lnTo>
                    <a:pt x="281" y="402"/>
                  </a:lnTo>
                  <a:lnTo>
                    <a:pt x="281" y="400"/>
                  </a:lnTo>
                  <a:lnTo>
                    <a:pt x="279" y="400"/>
                  </a:lnTo>
                  <a:lnTo>
                    <a:pt x="279" y="397"/>
                  </a:lnTo>
                  <a:close/>
                  <a:moveTo>
                    <a:pt x="179" y="387"/>
                  </a:moveTo>
                  <a:lnTo>
                    <a:pt x="179" y="385"/>
                  </a:lnTo>
                  <a:lnTo>
                    <a:pt x="178" y="383"/>
                  </a:lnTo>
                  <a:lnTo>
                    <a:pt x="178" y="383"/>
                  </a:lnTo>
                  <a:lnTo>
                    <a:pt x="176" y="382"/>
                  </a:lnTo>
                  <a:lnTo>
                    <a:pt x="176" y="383"/>
                  </a:lnTo>
                  <a:lnTo>
                    <a:pt x="176" y="385"/>
                  </a:lnTo>
                  <a:lnTo>
                    <a:pt x="176" y="385"/>
                  </a:lnTo>
                  <a:lnTo>
                    <a:pt x="174" y="385"/>
                  </a:lnTo>
                  <a:lnTo>
                    <a:pt x="173" y="385"/>
                  </a:lnTo>
                  <a:lnTo>
                    <a:pt x="171" y="380"/>
                  </a:lnTo>
                  <a:lnTo>
                    <a:pt x="171" y="379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0" y="382"/>
                  </a:lnTo>
                  <a:lnTo>
                    <a:pt x="170" y="382"/>
                  </a:lnTo>
                  <a:lnTo>
                    <a:pt x="168" y="382"/>
                  </a:lnTo>
                  <a:lnTo>
                    <a:pt x="167" y="380"/>
                  </a:lnTo>
                  <a:lnTo>
                    <a:pt x="165" y="379"/>
                  </a:lnTo>
                  <a:lnTo>
                    <a:pt x="164" y="376"/>
                  </a:lnTo>
                  <a:lnTo>
                    <a:pt x="158" y="373"/>
                  </a:lnTo>
                  <a:lnTo>
                    <a:pt x="156" y="371"/>
                  </a:lnTo>
                  <a:lnTo>
                    <a:pt x="156" y="374"/>
                  </a:lnTo>
                  <a:lnTo>
                    <a:pt x="158" y="377"/>
                  </a:lnTo>
                  <a:lnTo>
                    <a:pt x="171" y="391"/>
                  </a:lnTo>
                  <a:lnTo>
                    <a:pt x="173" y="391"/>
                  </a:lnTo>
                  <a:lnTo>
                    <a:pt x="173" y="391"/>
                  </a:lnTo>
                  <a:lnTo>
                    <a:pt x="174" y="390"/>
                  </a:lnTo>
                  <a:lnTo>
                    <a:pt x="181" y="388"/>
                  </a:lnTo>
                  <a:lnTo>
                    <a:pt x="181" y="388"/>
                  </a:lnTo>
                  <a:lnTo>
                    <a:pt x="179" y="387"/>
                  </a:lnTo>
                  <a:close/>
                  <a:moveTo>
                    <a:pt x="328" y="367"/>
                  </a:moveTo>
                  <a:lnTo>
                    <a:pt x="322" y="365"/>
                  </a:lnTo>
                  <a:lnTo>
                    <a:pt x="316" y="365"/>
                  </a:lnTo>
                  <a:lnTo>
                    <a:pt x="313" y="363"/>
                  </a:lnTo>
                  <a:lnTo>
                    <a:pt x="312" y="360"/>
                  </a:lnTo>
                  <a:lnTo>
                    <a:pt x="310" y="360"/>
                  </a:lnTo>
                  <a:lnTo>
                    <a:pt x="310" y="360"/>
                  </a:lnTo>
                  <a:lnTo>
                    <a:pt x="310" y="362"/>
                  </a:lnTo>
                  <a:lnTo>
                    <a:pt x="310" y="363"/>
                  </a:lnTo>
                  <a:lnTo>
                    <a:pt x="310" y="363"/>
                  </a:lnTo>
                  <a:lnTo>
                    <a:pt x="313" y="365"/>
                  </a:lnTo>
                  <a:lnTo>
                    <a:pt x="313" y="367"/>
                  </a:lnTo>
                  <a:lnTo>
                    <a:pt x="312" y="367"/>
                  </a:lnTo>
                  <a:lnTo>
                    <a:pt x="312" y="368"/>
                  </a:lnTo>
                  <a:lnTo>
                    <a:pt x="312" y="370"/>
                  </a:lnTo>
                  <a:lnTo>
                    <a:pt x="313" y="370"/>
                  </a:lnTo>
                  <a:lnTo>
                    <a:pt x="312" y="371"/>
                  </a:lnTo>
                  <a:lnTo>
                    <a:pt x="308" y="371"/>
                  </a:lnTo>
                  <a:lnTo>
                    <a:pt x="308" y="373"/>
                  </a:lnTo>
                  <a:lnTo>
                    <a:pt x="307" y="371"/>
                  </a:lnTo>
                  <a:lnTo>
                    <a:pt x="305" y="370"/>
                  </a:lnTo>
                  <a:lnTo>
                    <a:pt x="304" y="370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1" y="374"/>
                  </a:lnTo>
                  <a:lnTo>
                    <a:pt x="301" y="376"/>
                  </a:lnTo>
                  <a:lnTo>
                    <a:pt x="302" y="376"/>
                  </a:lnTo>
                  <a:lnTo>
                    <a:pt x="302" y="376"/>
                  </a:lnTo>
                  <a:lnTo>
                    <a:pt x="301" y="377"/>
                  </a:lnTo>
                  <a:lnTo>
                    <a:pt x="301" y="377"/>
                  </a:lnTo>
                  <a:lnTo>
                    <a:pt x="301" y="379"/>
                  </a:lnTo>
                  <a:lnTo>
                    <a:pt x="301" y="380"/>
                  </a:lnTo>
                  <a:lnTo>
                    <a:pt x="299" y="380"/>
                  </a:lnTo>
                  <a:lnTo>
                    <a:pt x="299" y="380"/>
                  </a:lnTo>
                  <a:lnTo>
                    <a:pt x="304" y="383"/>
                  </a:lnTo>
                  <a:lnTo>
                    <a:pt x="307" y="383"/>
                  </a:lnTo>
                  <a:lnTo>
                    <a:pt x="308" y="382"/>
                  </a:lnTo>
                  <a:lnTo>
                    <a:pt x="312" y="377"/>
                  </a:lnTo>
                  <a:lnTo>
                    <a:pt x="315" y="376"/>
                  </a:lnTo>
                  <a:lnTo>
                    <a:pt x="318" y="374"/>
                  </a:lnTo>
                  <a:lnTo>
                    <a:pt x="319" y="374"/>
                  </a:lnTo>
                  <a:lnTo>
                    <a:pt x="328" y="376"/>
                  </a:lnTo>
                  <a:lnTo>
                    <a:pt x="330" y="376"/>
                  </a:lnTo>
                  <a:lnTo>
                    <a:pt x="332" y="376"/>
                  </a:lnTo>
                  <a:lnTo>
                    <a:pt x="332" y="374"/>
                  </a:lnTo>
                  <a:lnTo>
                    <a:pt x="332" y="373"/>
                  </a:lnTo>
                  <a:lnTo>
                    <a:pt x="332" y="368"/>
                  </a:lnTo>
                  <a:lnTo>
                    <a:pt x="328" y="367"/>
                  </a:lnTo>
                  <a:close/>
                  <a:moveTo>
                    <a:pt x="144" y="373"/>
                  </a:moveTo>
                  <a:lnTo>
                    <a:pt x="141" y="370"/>
                  </a:lnTo>
                  <a:lnTo>
                    <a:pt x="139" y="367"/>
                  </a:lnTo>
                  <a:lnTo>
                    <a:pt x="138" y="365"/>
                  </a:lnTo>
                  <a:lnTo>
                    <a:pt x="133" y="365"/>
                  </a:lnTo>
                  <a:lnTo>
                    <a:pt x="131" y="363"/>
                  </a:lnTo>
                  <a:lnTo>
                    <a:pt x="127" y="359"/>
                  </a:lnTo>
                  <a:lnTo>
                    <a:pt x="124" y="357"/>
                  </a:lnTo>
                  <a:lnTo>
                    <a:pt x="121" y="359"/>
                  </a:lnTo>
                  <a:lnTo>
                    <a:pt x="114" y="362"/>
                  </a:lnTo>
                  <a:lnTo>
                    <a:pt x="114" y="362"/>
                  </a:lnTo>
                  <a:lnTo>
                    <a:pt x="116" y="363"/>
                  </a:lnTo>
                  <a:lnTo>
                    <a:pt x="117" y="363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3"/>
                  </a:lnTo>
                  <a:lnTo>
                    <a:pt x="117" y="365"/>
                  </a:lnTo>
                  <a:lnTo>
                    <a:pt x="117" y="365"/>
                  </a:lnTo>
                  <a:lnTo>
                    <a:pt x="117" y="367"/>
                  </a:lnTo>
                  <a:lnTo>
                    <a:pt x="119" y="367"/>
                  </a:lnTo>
                  <a:lnTo>
                    <a:pt x="119" y="367"/>
                  </a:lnTo>
                  <a:lnTo>
                    <a:pt x="121" y="367"/>
                  </a:lnTo>
                  <a:lnTo>
                    <a:pt x="121" y="367"/>
                  </a:lnTo>
                  <a:lnTo>
                    <a:pt x="127" y="367"/>
                  </a:lnTo>
                  <a:lnTo>
                    <a:pt x="127" y="368"/>
                  </a:lnTo>
                  <a:lnTo>
                    <a:pt x="127" y="368"/>
                  </a:lnTo>
                  <a:lnTo>
                    <a:pt x="127" y="370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3"/>
                  </a:lnTo>
                  <a:lnTo>
                    <a:pt x="130" y="374"/>
                  </a:lnTo>
                  <a:lnTo>
                    <a:pt x="130" y="376"/>
                  </a:lnTo>
                  <a:lnTo>
                    <a:pt x="131" y="376"/>
                  </a:lnTo>
                  <a:lnTo>
                    <a:pt x="130" y="376"/>
                  </a:lnTo>
                  <a:lnTo>
                    <a:pt x="128" y="374"/>
                  </a:lnTo>
                  <a:lnTo>
                    <a:pt x="125" y="373"/>
                  </a:lnTo>
                  <a:lnTo>
                    <a:pt x="124" y="371"/>
                  </a:lnTo>
                  <a:lnTo>
                    <a:pt x="124" y="373"/>
                  </a:lnTo>
                  <a:lnTo>
                    <a:pt x="125" y="373"/>
                  </a:lnTo>
                  <a:lnTo>
                    <a:pt x="124" y="376"/>
                  </a:lnTo>
                  <a:lnTo>
                    <a:pt x="125" y="379"/>
                  </a:lnTo>
                  <a:lnTo>
                    <a:pt x="128" y="382"/>
                  </a:lnTo>
                  <a:lnTo>
                    <a:pt x="131" y="382"/>
                  </a:lnTo>
                  <a:lnTo>
                    <a:pt x="131" y="382"/>
                  </a:lnTo>
                  <a:lnTo>
                    <a:pt x="133" y="380"/>
                  </a:lnTo>
                  <a:lnTo>
                    <a:pt x="134" y="380"/>
                  </a:lnTo>
                  <a:lnTo>
                    <a:pt x="134" y="380"/>
                  </a:lnTo>
                  <a:lnTo>
                    <a:pt x="138" y="382"/>
                  </a:lnTo>
                  <a:lnTo>
                    <a:pt x="142" y="385"/>
                  </a:lnTo>
                  <a:lnTo>
                    <a:pt x="142" y="385"/>
                  </a:lnTo>
                  <a:lnTo>
                    <a:pt x="139" y="385"/>
                  </a:lnTo>
                  <a:lnTo>
                    <a:pt x="138" y="382"/>
                  </a:lnTo>
                  <a:lnTo>
                    <a:pt x="134" y="382"/>
                  </a:lnTo>
                  <a:lnTo>
                    <a:pt x="133" y="382"/>
                  </a:lnTo>
                  <a:lnTo>
                    <a:pt x="133" y="383"/>
                  </a:lnTo>
                  <a:lnTo>
                    <a:pt x="134" y="385"/>
                  </a:lnTo>
                  <a:lnTo>
                    <a:pt x="138" y="385"/>
                  </a:lnTo>
                  <a:lnTo>
                    <a:pt x="139" y="387"/>
                  </a:lnTo>
                  <a:lnTo>
                    <a:pt x="139" y="387"/>
                  </a:lnTo>
                  <a:lnTo>
                    <a:pt x="141" y="387"/>
                  </a:lnTo>
                  <a:lnTo>
                    <a:pt x="142" y="385"/>
                  </a:lnTo>
                  <a:lnTo>
                    <a:pt x="144" y="385"/>
                  </a:lnTo>
                  <a:lnTo>
                    <a:pt x="145" y="385"/>
                  </a:lnTo>
                  <a:lnTo>
                    <a:pt x="147" y="383"/>
                  </a:lnTo>
                  <a:lnTo>
                    <a:pt x="147" y="383"/>
                  </a:lnTo>
                  <a:lnTo>
                    <a:pt x="144" y="374"/>
                  </a:lnTo>
                  <a:lnTo>
                    <a:pt x="144" y="373"/>
                  </a:lnTo>
                  <a:close/>
                  <a:moveTo>
                    <a:pt x="208" y="353"/>
                  </a:moveTo>
                  <a:lnTo>
                    <a:pt x="207" y="359"/>
                  </a:lnTo>
                  <a:lnTo>
                    <a:pt x="205" y="363"/>
                  </a:lnTo>
                  <a:lnTo>
                    <a:pt x="202" y="370"/>
                  </a:lnTo>
                  <a:lnTo>
                    <a:pt x="199" y="371"/>
                  </a:lnTo>
                  <a:lnTo>
                    <a:pt x="196" y="376"/>
                  </a:lnTo>
                  <a:lnTo>
                    <a:pt x="194" y="377"/>
                  </a:lnTo>
                  <a:lnTo>
                    <a:pt x="193" y="380"/>
                  </a:lnTo>
                  <a:lnTo>
                    <a:pt x="193" y="382"/>
                  </a:lnTo>
                  <a:lnTo>
                    <a:pt x="194" y="382"/>
                  </a:lnTo>
                  <a:lnTo>
                    <a:pt x="194" y="382"/>
                  </a:lnTo>
                  <a:lnTo>
                    <a:pt x="196" y="380"/>
                  </a:lnTo>
                  <a:lnTo>
                    <a:pt x="196" y="382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4" y="383"/>
                  </a:lnTo>
                  <a:lnTo>
                    <a:pt x="193" y="383"/>
                  </a:lnTo>
                  <a:lnTo>
                    <a:pt x="193" y="383"/>
                  </a:lnTo>
                  <a:lnTo>
                    <a:pt x="191" y="387"/>
                  </a:lnTo>
                  <a:lnTo>
                    <a:pt x="191" y="388"/>
                  </a:lnTo>
                  <a:lnTo>
                    <a:pt x="190" y="390"/>
                  </a:lnTo>
                  <a:lnTo>
                    <a:pt x="188" y="390"/>
                  </a:lnTo>
                  <a:lnTo>
                    <a:pt x="187" y="390"/>
                  </a:lnTo>
                  <a:lnTo>
                    <a:pt x="190" y="391"/>
                  </a:lnTo>
                  <a:lnTo>
                    <a:pt x="190" y="393"/>
                  </a:lnTo>
                  <a:lnTo>
                    <a:pt x="191" y="394"/>
                  </a:lnTo>
                  <a:lnTo>
                    <a:pt x="193" y="402"/>
                  </a:lnTo>
                  <a:lnTo>
                    <a:pt x="194" y="403"/>
                  </a:lnTo>
                  <a:lnTo>
                    <a:pt x="196" y="403"/>
                  </a:lnTo>
                  <a:lnTo>
                    <a:pt x="196" y="402"/>
                  </a:lnTo>
                  <a:lnTo>
                    <a:pt x="198" y="400"/>
                  </a:lnTo>
                  <a:lnTo>
                    <a:pt x="204" y="377"/>
                  </a:lnTo>
                  <a:lnTo>
                    <a:pt x="208" y="370"/>
                  </a:lnTo>
                  <a:lnTo>
                    <a:pt x="210" y="365"/>
                  </a:lnTo>
                  <a:lnTo>
                    <a:pt x="213" y="350"/>
                  </a:lnTo>
                  <a:lnTo>
                    <a:pt x="211" y="348"/>
                  </a:lnTo>
                  <a:lnTo>
                    <a:pt x="208" y="353"/>
                  </a:lnTo>
                  <a:close/>
                  <a:moveTo>
                    <a:pt x="524" y="353"/>
                  </a:moveTo>
                  <a:lnTo>
                    <a:pt x="526" y="353"/>
                  </a:lnTo>
                  <a:lnTo>
                    <a:pt x="526" y="353"/>
                  </a:lnTo>
                  <a:lnTo>
                    <a:pt x="526" y="353"/>
                  </a:lnTo>
                  <a:lnTo>
                    <a:pt x="526" y="351"/>
                  </a:lnTo>
                  <a:lnTo>
                    <a:pt x="524" y="350"/>
                  </a:lnTo>
                  <a:lnTo>
                    <a:pt x="521" y="348"/>
                  </a:lnTo>
                  <a:lnTo>
                    <a:pt x="515" y="345"/>
                  </a:lnTo>
                  <a:lnTo>
                    <a:pt x="515" y="345"/>
                  </a:lnTo>
                  <a:lnTo>
                    <a:pt x="513" y="343"/>
                  </a:lnTo>
                  <a:lnTo>
                    <a:pt x="512" y="340"/>
                  </a:lnTo>
                  <a:lnTo>
                    <a:pt x="510" y="340"/>
                  </a:lnTo>
                  <a:lnTo>
                    <a:pt x="509" y="340"/>
                  </a:lnTo>
                  <a:lnTo>
                    <a:pt x="506" y="339"/>
                  </a:lnTo>
                  <a:lnTo>
                    <a:pt x="503" y="337"/>
                  </a:lnTo>
                  <a:lnTo>
                    <a:pt x="501" y="334"/>
                  </a:lnTo>
                  <a:lnTo>
                    <a:pt x="501" y="334"/>
                  </a:lnTo>
                  <a:lnTo>
                    <a:pt x="498" y="330"/>
                  </a:lnTo>
                  <a:lnTo>
                    <a:pt x="496" y="328"/>
                  </a:lnTo>
                  <a:lnTo>
                    <a:pt x="496" y="330"/>
                  </a:lnTo>
                  <a:lnTo>
                    <a:pt x="495" y="333"/>
                  </a:lnTo>
                  <a:lnTo>
                    <a:pt x="495" y="334"/>
                  </a:lnTo>
                  <a:lnTo>
                    <a:pt x="493" y="337"/>
                  </a:lnTo>
                  <a:lnTo>
                    <a:pt x="493" y="339"/>
                  </a:lnTo>
                  <a:lnTo>
                    <a:pt x="492" y="339"/>
                  </a:lnTo>
                  <a:lnTo>
                    <a:pt x="492" y="348"/>
                  </a:lnTo>
                  <a:lnTo>
                    <a:pt x="492" y="353"/>
                  </a:lnTo>
                  <a:lnTo>
                    <a:pt x="490" y="356"/>
                  </a:lnTo>
                  <a:lnTo>
                    <a:pt x="492" y="357"/>
                  </a:lnTo>
                  <a:lnTo>
                    <a:pt x="498" y="362"/>
                  </a:lnTo>
                  <a:lnTo>
                    <a:pt x="504" y="363"/>
                  </a:lnTo>
                  <a:lnTo>
                    <a:pt x="509" y="367"/>
                  </a:lnTo>
                  <a:lnTo>
                    <a:pt x="513" y="368"/>
                  </a:lnTo>
                  <a:lnTo>
                    <a:pt x="516" y="370"/>
                  </a:lnTo>
                  <a:lnTo>
                    <a:pt x="519" y="370"/>
                  </a:lnTo>
                  <a:lnTo>
                    <a:pt x="521" y="370"/>
                  </a:lnTo>
                  <a:lnTo>
                    <a:pt x="521" y="368"/>
                  </a:lnTo>
                  <a:lnTo>
                    <a:pt x="523" y="367"/>
                  </a:lnTo>
                  <a:lnTo>
                    <a:pt x="523" y="365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23" y="362"/>
                  </a:lnTo>
                  <a:lnTo>
                    <a:pt x="524" y="359"/>
                  </a:lnTo>
                  <a:lnTo>
                    <a:pt x="526" y="357"/>
                  </a:lnTo>
                  <a:lnTo>
                    <a:pt x="526" y="356"/>
                  </a:lnTo>
                  <a:lnTo>
                    <a:pt x="526" y="356"/>
                  </a:lnTo>
                  <a:lnTo>
                    <a:pt x="524" y="353"/>
                  </a:lnTo>
                  <a:close/>
                  <a:moveTo>
                    <a:pt x="28" y="323"/>
                  </a:moveTo>
                  <a:lnTo>
                    <a:pt x="28" y="320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8" y="314"/>
                  </a:lnTo>
                  <a:lnTo>
                    <a:pt x="28" y="313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4" y="311"/>
                  </a:lnTo>
                  <a:lnTo>
                    <a:pt x="24" y="308"/>
                  </a:lnTo>
                  <a:lnTo>
                    <a:pt x="20" y="308"/>
                  </a:lnTo>
                  <a:lnTo>
                    <a:pt x="20" y="310"/>
                  </a:lnTo>
                  <a:lnTo>
                    <a:pt x="20" y="313"/>
                  </a:lnTo>
                  <a:lnTo>
                    <a:pt x="24" y="319"/>
                  </a:lnTo>
                  <a:lnTo>
                    <a:pt x="25" y="322"/>
                  </a:lnTo>
                  <a:lnTo>
                    <a:pt x="27" y="325"/>
                  </a:lnTo>
                  <a:lnTo>
                    <a:pt x="28" y="323"/>
                  </a:lnTo>
                  <a:lnTo>
                    <a:pt x="28" y="323"/>
                  </a:lnTo>
                  <a:close/>
                  <a:moveTo>
                    <a:pt x="188" y="360"/>
                  </a:moveTo>
                  <a:lnTo>
                    <a:pt x="191" y="360"/>
                  </a:lnTo>
                  <a:lnTo>
                    <a:pt x="194" y="360"/>
                  </a:lnTo>
                  <a:lnTo>
                    <a:pt x="196" y="360"/>
                  </a:lnTo>
                  <a:lnTo>
                    <a:pt x="196" y="359"/>
                  </a:lnTo>
                  <a:lnTo>
                    <a:pt x="198" y="359"/>
                  </a:lnTo>
                  <a:lnTo>
                    <a:pt x="198" y="357"/>
                  </a:lnTo>
                  <a:lnTo>
                    <a:pt x="199" y="356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1" y="350"/>
                  </a:lnTo>
                  <a:lnTo>
                    <a:pt x="201" y="348"/>
                  </a:lnTo>
                  <a:lnTo>
                    <a:pt x="202" y="347"/>
                  </a:lnTo>
                  <a:lnTo>
                    <a:pt x="202" y="343"/>
                  </a:lnTo>
                  <a:lnTo>
                    <a:pt x="202" y="340"/>
                  </a:lnTo>
                  <a:lnTo>
                    <a:pt x="202" y="339"/>
                  </a:lnTo>
                  <a:lnTo>
                    <a:pt x="202" y="336"/>
                  </a:lnTo>
                  <a:lnTo>
                    <a:pt x="201" y="333"/>
                  </a:lnTo>
                  <a:lnTo>
                    <a:pt x="199" y="331"/>
                  </a:lnTo>
                  <a:lnTo>
                    <a:pt x="201" y="330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1"/>
                  </a:lnTo>
                  <a:lnTo>
                    <a:pt x="204" y="331"/>
                  </a:lnTo>
                  <a:lnTo>
                    <a:pt x="204" y="330"/>
                  </a:lnTo>
                  <a:lnTo>
                    <a:pt x="202" y="323"/>
                  </a:lnTo>
                  <a:lnTo>
                    <a:pt x="201" y="322"/>
                  </a:lnTo>
                  <a:lnTo>
                    <a:pt x="194" y="311"/>
                  </a:lnTo>
                  <a:lnTo>
                    <a:pt x="193" y="311"/>
                  </a:lnTo>
                  <a:lnTo>
                    <a:pt x="188" y="310"/>
                  </a:lnTo>
                  <a:lnTo>
                    <a:pt x="187" y="310"/>
                  </a:lnTo>
                  <a:lnTo>
                    <a:pt x="185" y="310"/>
                  </a:lnTo>
                  <a:lnTo>
                    <a:pt x="185" y="311"/>
                  </a:lnTo>
                  <a:lnTo>
                    <a:pt x="187" y="311"/>
                  </a:lnTo>
                  <a:lnTo>
                    <a:pt x="185" y="313"/>
                  </a:lnTo>
                  <a:lnTo>
                    <a:pt x="184" y="313"/>
                  </a:lnTo>
                  <a:lnTo>
                    <a:pt x="184" y="311"/>
                  </a:lnTo>
                  <a:lnTo>
                    <a:pt x="184" y="310"/>
                  </a:lnTo>
                  <a:lnTo>
                    <a:pt x="185" y="308"/>
                  </a:lnTo>
                  <a:lnTo>
                    <a:pt x="185" y="308"/>
                  </a:lnTo>
                  <a:lnTo>
                    <a:pt x="191" y="310"/>
                  </a:lnTo>
                  <a:lnTo>
                    <a:pt x="194" y="308"/>
                  </a:lnTo>
                  <a:lnTo>
                    <a:pt x="196" y="306"/>
                  </a:lnTo>
                  <a:lnTo>
                    <a:pt x="198" y="305"/>
                  </a:lnTo>
                  <a:lnTo>
                    <a:pt x="198" y="305"/>
                  </a:lnTo>
                  <a:lnTo>
                    <a:pt x="198" y="302"/>
                  </a:lnTo>
                  <a:lnTo>
                    <a:pt x="196" y="300"/>
                  </a:lnTo>
                  <a:lnTo>
                    <a:pt x="196" y="300"/>
                  </a:lnTo>
                  <a:lnTo>
                    <a:pt x="194" y="300"/>
                  </a:lnTo>
                  <a:lnTo>
                    <a:pt x="194" y="299"/>
                  </a:lnTo>
                  <a:lnTo>
                    <a:pt x="194" y="297"/>
                  </a:lnTo>
                  <a:lnTo>
                    <a:pt x="194" y="297"/>
                  </a:lnTo>
                  <a:lnTo>
                    <a:pt x="191" y="291"/>
                  </a:lnTo>
                  <a:lnTo>
                    <a:pt x="188" y="288"/>
                  </a:lnTo>
                  <a:lnTo>
                    <a:pt x="187" y="290"/>
                  </a:lnTo>
                  <a:lnTo>
                    <a:pt x="187" y="290"/>
                  </a:lnTo>
                  <a:lnTo>
                    <a:pt x="188" y="293"/>
                  </a:lnTo>
                  <a:lnTo>
                    <a:pt x="188" y="296"/>
                  </a:lnTo>
                  <a:lnTo>
                    <a:pt x="187" y="294"/>
                  </a:lnTo>
                  <a:lnTo>
                    <a:pt x="187" y="293"/>
                  </a:lnTo>
                  <a:lnTo>
                    <a:pt x="187" y="296"/>
                  </a:lnTo>
                  <a:lnTo>
                    <a:pt x="187" y="297"/>
                  </a:lnTo>
                  <a:lnTo>
                    <a:pt x="188" y="300"/>
                  </a:lnTo>
                  <a:lnTo>
                    <a:pt x="187" y="302"/>
                  </a:lnTo>
                  <a:lnTo>
                    <a:pt x="187" y="300"/>
                  </a:lnTo>
                  <a:lnTo>
                    <a:pt x="185" y="300"/>
                  </a:lnTo>
                  <a:lnTo>
                    <a:pt x="185" y="299"/>
                  </a:lnTo>
                  <a:lnTo>
                    <a:pt x="184" y="300"/>
                  </a:lnTo>
                  <a:lnTo>
                    <a:pt x="185" y="302"/>
                  </a:lnTo>
                  <a:lnTo>
                    <a:pt x="185" y="302"/>
                  </a:lnTo>
                  <a:lnTo>
                    <a:pt x="185" y="302"/>
                  </a:lnTo>
                  <a:lnTo>
                    <a:pt x="187" y="302"/>
                  </a:lnTo>
                  <a:lnTo>
                    <a:pt x="187" y="303"/>
                  </a:lnTo>
                  <a:lnTo>
                    <a:pt x="187" y="303"/>
                  </a:lnTo>
                  <a:lnTo>
                    <a:pt x="187" y="305"/>
                  </a:lnTo>
                  <a:lnTo>
                    <a:pt x="187" y="305"/>
                  </a:lnTo>
                  <a:lnTo>
                    <a:pt x="184" y="306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8" y="311"/>
                  </a:lnTo>
                  <a:lnTo>
                    <a:pt x="174" y="311"/>
                  </a:lnTo>
                  <a:lnTo>
                    <a:pt x="173" y="310"/>
                  </a:lnTo>
                  <a:lnTo>
                    <a:pt x="176" y="305"/>
                  </a:lnTo>
                  <a:lnTo>
                    <a:pt x="178" y="305"/>
                  </a:lnTo>
                  <a:lnTo>
                    <a:pt x="178" y="305"/>
                  </a:lnTo>
                  <a:lnTo>
                    <a:pt x="178" y="305"/>
                  </a:lnTo>
                  <a:lnTo>
                    <a:pt x="179" y="303"/>
                  </a:lnTo>
                  <a:lnTo>
                    <a:pt x="179" y="302"/>
                  </a:lnTo>
                  <a:lnTo>
                    <a:pt x="178" y="302"/>
                  </a:lnTo>
                  <a:lnTo>
                    <a:pt x="178" y="300"/>
                  </a:lnTo>
                  <a:lnTo>
                    <a:pt x="178" y="299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81" y="299"/>
                  </a:lnTo>
                  <a:lnTo>
                    <a:pt x="179" y="297"/>
                  </a:lnTo>
                  <a:lnTo>
                    <a:pt x="178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4" y="296"/>
                  </a:lnTo>
                  <a:lnTo>
                    <a:pt x="173" y="294"/>
                  </a:lnTo>
                  <a:lnTo>
                    <a:pt x="173" y="293"/>
                  </a:lnTo>
                  <a:lnTo>
                    <a:pt x="167" y="290"/>
                  </a:lnTo>
                  <a:lnTo>
                    <a:pt x="165" y="288"/>
                  </a:lnTo>
                  <a:lnTo>
                    <a:pt x="164" y="288"/>
                  </a:lnTo>
                  <a:lnTo>
                    <a:pt x="164" y="291"/>
                  </a:lnTo>
                  <a:lnTo>
                    <a:pt x="164" y="293"/>
                  </a:lnTo>
                  <a:lnTo>
                    <a:pt x="162" y="293"/>
                  </a:lnTo>
                  <a:lnTo>
                    <a:pt x="162" y="293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59" y="290"/>
                  </a:lnTo>
                  <a:lnTo>
                    <a:pt x="158" y="291"/>
                  </a:lnTo>
                  <a:lnTo>
                    <a:pt x="154" y="293"/>
                  </a:lnTo>
                  <a:lnTo>
                    <a:pt x="145" y="296"/>
                  </a:lnTo>
                  <a:lnTo>
                    <a:pt x="138" y="302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30" y="299"/>
                  </a:lnTo>
                  <a:lnTo>
                    <a:pt x="130" y="297"/>
                  </a:lnTo>
                  <a:lnTo>
                    <a:pt x="130" y="297"/>
                  </a:lnTo>
                  <a:lnTo>
                    <a:pt x="128" y="297"/>
                  </a:lnTo>
                  <a:lnTo>
                    <a:pt x="124" y="297"/>
                  </a:lnTo>
                  <a:lnTo>
                    <a:pt x="121" y="302"/>
                  </a:lnTo>
                  <a:lnTo>
                    <a:pt x="121" y="302"/>
                  </a:lnTo>
                  <a:lnTo>
                    <a:pt x="119" y="302"/>
                  </a:lnTo>
                  <a:lnTo>
                    <a:pt x="119" y="303"/>
                  </a:lnTo>
                  <a:lnTo>
                    <a:pt x="117" y="305"/>
                  </a:lnTo>
                  <a:lnTo>
                    <a:pt x="121" y="305"/>
                  </a:lnTo>
                  <a:lnTo>
                    <a:pt x="128" y="311"/>
                  </a:lnTo>
                  <a:lnTo>
                    <a:pt x="127" y="311"/>
                  </a:lnTo>
                  <a:lnTo>
                    <a:pt x="124" y="311"/>
                  </a:lnTo>
                  <a:lnTo>
                    <a:pt x="122" y="308"/>
                  </a:lnTo>
                  <a:lnTo>
                    <a:pt x="121" y="308"/>
                  </a:lnTo>
                  <a:lnTo>
                    <a:pt x="121" y="308"/>
                  </a:lnTo>
                  <a:lnTo>
                    <a:pt x="122" y="311"/>
                  </a:lnTo>
                  <a:lnTo>
                    <a:pt x="124" y="313"/>
                  </a:lnTo>
                  <a:lnTo>
                    <a:pt x="127" y="313"/>
                  </a:lnTo>
                  <a:lnTo>
                    <a:pt x="128" y="313"/>
                  </a:lnTo>
                  <a:lnTo>
                    <a:pt x="128" y="314"/>
                  </a:lnTo>
                  <a:lnTo>
                    <a:pt x="127" y="316"/>
                  </a:lnTo>
                  <a:lnTo>
                    <a:pt x="127" y="314"/>
                  </a:lnTo>
                  <a:lnTo>
                    <a:pt x="130" y="317"/>
                  </a:lnTo>
                  <a:lnTo>
                    <a:pt x="130" y="319"/>
                  </a:lnTo>
                  <a:lnTo>
                    <a:pt x="128" y="319"/>
                  </a:lnTo>
                  <a:lnTo>
                    <a:pt x="127" y="319"/>
                  </a:lnTo>
                  <a:lnTo>
                    <a:pt x="125" y="319"/>
                  </a:lnTo>
                  <a:lnTo>
                    <a:pt x="127" y="322"/>
                  </a:lnTo>
                  <a:lnTo>
                    <a:pt x="128" y="322"/>
                  </a:lnTo>
                  <a:lnTo>
                    <a:pt x="130" y="323"/>
                  </a:lnTo>
                  <a:lnTo>
                    <a:pt x="131" y="323"/>
                  </a:lnTo>
                  <a:lnTo>
                    <a:pt x="133" y="323"/>
                  </a:lnTo>
                  <a:lnTo>
                    <a:pt x="133" y="323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4" y="331"/>
                  </a:lnTo>
                  <a:lnTo>
                    <a:pt x="134" y="333"/>
                  </a:lnTo>
                  <a:lnTo>
                    <a:pt x="134" y="333"/>
                  </a:lnTo>
                  <a:lnTo>
                    <a:pt x="133" y="334"/>
                  </a:lnTo>
                  <a:lnTo>
                    <a:pt x="133" y="336"/>
                  </a:lnTo>
                  <a:lnTo>
                    <a:pt x="133" y="336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6" y="340"/>
                  </a:lnTo>
                  <a:lnTo>
                    <a:pt x="139" y="340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3"/>
                  </a:lnTo>
                  <a:lnTo>
                    <a:pt x="141" y="345"/>
                  </a:lnTo>
                  <a:lnTo>
                    <a:pt x="141" y="347"/>
                  </a:lnTo>
                  <a:lnTo>
                    <a:pt x="141" y="350"/>
                  </a:lnTo>
                  <a:lnTo>
                    <a:pt x="141" y="350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1"/>
                  </a:lnTo>
                  <a:lnTo>
                    <a:pt x="141" y="353"/>
                  </a:lnTo>
                  <a:lnTo>
                    <a:pt x="144" y="353"/>
                  </a:lnTo>
                  <a:lnTo>
                    <a:pt x="144" y="353"/>
                  </a:lnTo>
                  <a:lnTo>
                    <a:pt x="144" y="350"/>
                  </a:lnTo>
                  <a:lnTo>
                    <a:pt x="142" y="347"/>
                  </a:lnTo>
                  <a:lnTo>
                    <a:pt x="142" y="345"/>
                  </a:lnTo>
                  <a:lnTo>
                    <a:pt x="142" y="343"/>
                  </a:lnTo>
                  <a:lnTo>
                    <a:pt x="144" y="343"/>
                  </a:lnTo>
                  <a:lnTo>
                    <a:pt x="145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8" y="345"/>
                  </a:lnTo>
                  <a:lnTo>
                    <a:pt x="150" y="345"/>
                  </a:lnTo>
                  <a:lnTo>
                    <a:pt x="150" y="345"/>
                  </a:lnTo>
                  <a:lnTo>
                    <a:pt x="151" y="347"/>
                  </a:lnTo>
                  <a:lnTo>
                    <a:pt x="153" y="348"/>
                  </a:lnTo>
                  <a:lnTo>
                    <a:pt x="154" y="351"/>
                  </a:lnTo>
                  <a:lnTo>
                    <a:pt x="153" y="353"/>
                  </a:lnTo>
                  <a:lnTo>
                    <a:pt x="147" y="357"/>
                  </a:lnTo>
                  <a:lnTo>
                    <a:pt x="148" y="357"/>
                  </a:lnTo>
                  <a:lnTo>
                    <a:pt x="151" y="357"/>
                  </a:lnTo>
                  <a:lnTo>
                    <a:pt x="153" y="357"/>
                  </a:lnTo>
                  <a:lnTo>
                    <a:pt x="154" y="357"/>
                  </a:lnTo>
                  <a:lnTo>
                    <a:pt x="156" y="359"/>
                  </a:lnTo>
                  <a:lnTo>
                    <a:pt x="158" y="360"/>
                  </a:lnTo>
                  <a:lnTo>
                    <a:pt x="158" y="357"/>
                  </a:lnTo>
                  <a:lnTo>
                    <a:pt x="158" y="357"/>
                  </a:lnTo>
                  <a:lnTo>
                    <a:pt x="159" y="357"/>
                  </a:lnTo>
                  <a:lnTo>
                    <a:pt x="165" y="360"/>
                  </a:lnTo>
                  <a:lnTo>
                    <a:pt x="167" y="360"/>
                  </a:lnTo>
                  <a:lnTo>
                    <a:pt x="168" y="360"/>
                  </a:lnTo>
                  <a:lnTo>
                    <a:pt x="170" y="360"/>
                  </a:lnTo>
                  <a:lnTo>
                    <a:pt x="170" y="360"/>
                  </a:lnTo>
                  <a:lnTo>
                    <a:pt x="170" y="362"/>
                  </a:lnTo>
                  <a:lnTo>
                    <a:pt x="171" y="362"/>
                  </a:lnTo>
                  <a:lnTo>
                    <a:pt x="173" y="363"/>
                  </a:lnTo>
                  <a:lnTo>
                    <a:pt x="178" y="363"/>
                  </a:lnTo>
                  <a:lnTo>
                    <a:pt x="181" y="365"/>
                  </a:lnTo>
                  <a:lnTo>
                    <a:pt x="182" y="365"/>
                  </a:lnTo>
                  <a:lnTo>
                    <a:pt x="184" y="363"/>
                  </a:lnTo>
                  <a:lnTo>
                    <a:pt x="184" y="362"/>
                  </a:lnTo>
                  <a:lnTo>
                    <a:pt x="185" y="362"/>
                  </a:lnTo>
                  <a:lnTo>
                    <a:pt x="187" y="360"/>
                  </a:lnTo>
                  <a:lnTo>
                    <a:pt x="188" y="360"/>
                  </a:lnTo>
                  <a:close/>
                  <a:moveTo>
                    <a:pt x="336" y="279"/>
                  </a:moveTo>
                  <a:lnTo>
                    <a:pt x="336" y="279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5" y="279"/>
                  </a:lnTo>
                  <a:lnTo>
                    <a:pt x="335" y="282"/>
                  </a:lnTo>
                  <a:lnTo>
                    <a:pt x="333" y="283"/>
                  </a:lnTo>
                  <a:lnTo>
                    <a:pt x="333" y="285"/>
                  </a:lnTo>
                  <a:lnTo>
                    <a:pt x="332" y="285"/>
                  </a:lnTo>
                  <a:lnTo>
                    <a:pt x="330" y="286"/>
                  </a:lnTo>
                  <a:lnTo>
                    <a:pt x="330" y="288"/>
                  </a:lnTo>
                  <a:lnTo>
                    <a:pt x="330" y="291"/>
                  </a:lnTo>
                  <a:lnTo>
                    <a:pt x="332" y="294"/>
                  </a:lnTo>
                  <a:lnTo>
                    <a:pt x="333" y="297"/>
                  </a:lnTo>
                  <a:lnTo>
                    <a:pt x="335" y="297"/>
                  </a:lnTo>
                  <a:lnTo>
                    <a:pt x="335" y="296"/>
                  </a:lnTo>
                  <a:lnTo>
                    <a:pt x="336" y="294"/>
                  </a:lnTo>
                  <a:lnTo>
                    <a:pt x="338" y="294"/>
                  </a:lnTo>
                  <a:lnTo>
                    <a:pt x="339" y="293"/>
                  </a:lnTo>
                  <a:lnTo>
                    <a:pt x="341" y="291"/>
                  </a:lnTo>
                  <a:lnTo>
                    <a:pt x="341" y="290"/>
                  </a:lnTo>
                  <a:lnTo>
                    <a:pt x="336" y="279"/>
                  </a:lnTo>
                  <a:close/>
                  <a:moveTo>
                    <a:pt x="191" y="256"/>
                  </a:moveTo>
                  <a:lnTo>
                    <a:pt x="191" y="254"/>
                  </a:lnTo>
                  <a:lnTo>
                    <a:pt x="191" y="253"/>
                  </a:lnTo>
                  <a:lnTo>
                    <a:pt x="191" y="254"/>
                  </a:lnTo>
                  <a:lnTo>
                    <a:pt x="190" y="254"/>
                  </a:lnTo>
                  <a:lnTo>
                    <a:pt x="190" y="256"/>
                  </a:lnTo>
                  <a:lnTo>
                    <a:pt x="188" y="254"/>
                  </a:lnTo>
                  <a:lnTo>
                    <a:pt x="188" y="253"/>
                  </a:lnTo>
                  <a:lnTo>
                    <a:pt x="188" y="251"/>
                  </a:lnTo>
                  <a:lnTo>
                    <a:pt x="188" y="250"/>
                  </a:lnTo>
                  <a:lnTo>
                    <a:pt x="188" y="248"/>
                  </a:lnTo>
                  <a:lnTo>
                    <a:pt x="187" y="248"/>
                  </a:lnTo>
                  <a:lnTo>
                    <a:pt x="185" y="246"/>
                  </a:lnTo>
                  <a:lnTo>
                    <a:pt x="184" y="243"/>
                  </a:lnTo>
                  <a:lnTo>
                    <a:pt x="184" y="239"/>
                  </a:lnTo>
                  <a:lnTo>
                    <a:pt x="182" y="237"/>
                  </a:lnTo>
                  <a:lnTo>
                    <a:pt x="182" y="239"/>
                  </a:lnTo>
                  <a:lnTo>
                    <a:pt x="181" y="240"/>
                  </a:lnTo>
                  <a:lnTo>
                    <a:pt x="181" y="243"/>
                  </a:lnTo>
                  <a:lnTo>
                    <a:pt x="182" y="245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5" y="250"/>
                  </a:lnTo>
                  <a:lnTo>
                    <a:pt x="185" y="251"/>
                  </a:lnTo>
                  <a:lnTo>
                    <a:pt x="185" y="254"/>
                  </a:lnTo>
                  <a:lnTo>
                    <a:pt x="184" y="256"/>
                  </a:lnTo>
                  <a:lnTo>
                    <a:pt x="182" y="257"/>
                  </a:lnTo>
                  <a:lnTo>
                    <a:pt x="181" y="257"/>
                  </a:lnTo>
                  <a:lnTo>
                    <a:pt x="181" y="259"/>
                  </a:lnTo>
                  <a:lnTo>
                    <a:pt x="181" y="260"/>
                  </a:lnTo>
                  <a:lnTo>
                    <a:pt x="181" y="265"/>
                  </a:lnTo>
                  <a:lnTo>
                    <a:pt x="182" y="268"/>
                  </a:lnTo>
                  <a:lnTo>
                    <a:pt x="185" y="270"/>
                  </a:lnTo>
                  <a:lnTo>
                    <a:pt x="188" y="266"/>
                  </a:lnTo>
                  <a:lnTo>
                    <a:pt x="188" y="265"/>
                  </a:lnTo>
                  <a:lnTo>
                    <a:pt x="188" y="260"/>
                  </a:lnTo>
                  <a:lnTo>
                    <a:pt x="188" y="259"/>
                  </a:lnTo>
                  <a:lnTo>
                    <a:pt x="191" y="256"/>
                  </a:lnTo>
                  <a:close/>
                  <a:moveTo>
                    <a:pt x="299" y="383"/>
                  </a:moveTo>
                  <a:lnTo>
                    <a:pt x="298" y="382"/>
                  </a:lnTo>
                  <a:lnTo>
                    <a:pt x="296" y="382"/>
                  </a:lnTo>
                  <a:lnTo>
                    <a:pt x="296" y="382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0" y="379"/>
                  </a:lnTo>
                  <a:lnTo>
                    <a:pt x="290" y="379"/>
                  </a:lnTo>
                  <a:lnTo>
                    <a:pt x="290" y="379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5" y="379"/>
                  </a:lnTo>
                  <a:lnTo>
                    <a:pt x="284" y="379"/>
                  </a:lnTo>
                  <a:lnTo>
                    <a:pt x="282" y="377"/>
                  </a:lnTo>
                  <a:lnTo>
                    <a:pt x="282" y="376"/>
                  </a:lnTo>
                  <a:lnTo>
                    <a:pt x="282" y="374"/>
                  </a:lnTo>
                  <a:lnTo>
                    <a:pt x="284" y="373"/>
                  </a:lnTo>
                  <a:lnTo>
                    <a:pt x="284" y="371"/>
                  </a:lnTo>
                  <a:lnTo>
                    <a:pt x="284" y="370"/>
                  </a:lnTo>
                  <a:lnTo>
                    <a:pt x="284" y="370"/>
                  </a:lnTo>
                  <a:lnTo>
                    <a:pt x="284" y="370"/>
                  </a:lnTo>
                  <a:lnTo>
                    <a:pt x="284" y="368"/>
                  </a:lnTo>
                  <a:lnTo>
                    <a:pt x="285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4" y="368"/>
                  </a:lnTo>
                  <a:lnTo>
                    <a:pt x="287" y="368"/>
                  </a:lnTo>
                  <a:lnTo>
                    <a:pt x="292" y="371"/>
                  </a:lnTo>
                  <a:lnTo>
                    <a:pt x="293" y="373"/>
                  </a:lnTo>
                  <a:lnTo>
                    <a:pt x="295" y="373"/>
                  </a:lnTo>
                  <a:lnTo>
                    <a:pt x="298" y="371"/>
                  </a:lnTo>
                  <a:lnTo>
                    <a:pt x="299" y="370"/>
                  </a:lnTo>
                  <a:lnTo>
                    <a:pt x="301" y="370"/>
                  </a:lnTo>
                  <a:lnTo>
                    <a:pt x="302" y="370"/>
                  </a:lnTo>
                  <a:lnTo>
                    <a:pt x="304" y="368"/>
                  </a:lnTo>
                  <a:lnTo>
                    <a:pt x="304" y="365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301" y="359"/>
                  </a:lnTo>
                  <a:lnTo>
                    <a:pt x="302" y="357"/>
                  </a:lnTo>
                  <a:lnTo>
                    <a:pt x="302" y="357"/>
                  </a:lnTo>
                  <a:lnTo>
                    <a:pt x="304" y="357"/>
                  </a:lnTo>
                  <a:lnTo>
                    <a:pt x="304" y="356"/>
                  </a:lnTo>
                  <a:lnTo>
                    <a:pt x="304" y="356"/>
                  </a:lnTo>
                  <a:lnTo>
                    <a:pt x="304" y="353"/>
                  </a:lnTo>
                  <a:lnTo>
                    <a:pt x="301" y="351"/>
                  </a:lnTo>
                  <a:lnTo>
                    <a:pt x="295" y="351"/>
                  </a:lnTo>
                  <a:lnTo>
                    <a:pt x="293" y="350"/>
                  </a:lnTo>
                  <a:lnTo>
                    <a:pt x="292" y="348"/>
                  </a:lnTo>
                  <a:lnTo>
                    <a:pt x="292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5"/>
                  </a:lnTo>
                  <a:lnTo>
                    <a:pt x="295" y="345"/>
                  </a:lnTo>
                  <a:lnTo>
                    <a:pt x="296" y="345"/>
                  </a:lnTo>
                  <a:lnTo>
                    <a:pt x="298" y="347"/>
                  </a:lnTo>
                  <a:lnTo>
                    <a:pt x="298" y="350"/>
                  </a:lnTo>
                  <a:lnTo>
                    <a:pt x="298" y="350"/>
                  </a:lnTo>
                  <a:lnTo>
                    <a:pt x="298" y="351"/>
                  </a:lnTo>
                  <a:lnTo>
                    <a:pt x="299" y="350"/>
                  </a:lnTo>
                  <a:lnTo>
                    <a:pt x="299" y="350"/>
                  </a:lnTo>
                  <a:lnTo>
                    <a:pt x="299" y="347"/>
                  </a:lnTo>
                  <a:lnTo>
                    <a:pt x="301" y="343"/>
                  </a:lnTo>
                  <a:lnTo>
                    <a:pt x="301" y="342"/>
                  </a:lnTo>
                  <a:lnTo>
                    <a:pt x="304" y="340"/>
                  </a:lnTo>
                  <a:lnTo>
                    <a:pt x="304" y="339"/>
                  </a:lnTo>
                  <a:lnTo>
                    <a:pt x="321" y="336"/>
                  </a:lnTo>
                  <a:lnTo>
                    <a:pt x="324" y="333"/>
                  </a:lnTo>
                  <a:lnTo>
                    <a:pt x="324" y="333"/>
                  </a:lnTo>
                  <a:lnTo>
                    <a:pt x="325" y="331"/>
                  </a:lnTo>
                  <a:lnTo>
                    <a:pt x="324" y="328"/>
                  </a:lnTo>
                  <a:lnTo>
                    <a:pt x="324" y="325"/>
                  </a:lnTo>
                  <a:lnTo>
                    <a:pt x="324" y="323"/>
                  </a:lnTo>
                  <a:lnTo>
                    <a:pt x="324" y="322"/>
                  </a:lnTo>
                  <a:lnTo>
                    <a:pt x="322" y="319"/>
                  </a:lnTo>
                  <a:lnTo>
                    <a:pt x="318" y="317"/>
                  </a:lnTo>
                  <a:lnTo>
                    <a:pt x="318" y="316"/>
                  </a:lnTo>
                  <a:lnTo>
                    <a:pt x="313" y="316"/>
                  </a:lnTo>
                  <a:lnTo>
                    <a:pt x="312" y="316"/>
                  </a:lnTo>
                  <a:lnTo>
                    <a:pt x="308" y="313"/>
                  </a:lnTo>
                  <a:lnTo>
                    <a:pt x="305" y="305"/>
                  </a:lnTo>
                  <a:lnTo>
                    <a:pt x="310" y="297"/>
                  </a:lnTo>
                  <a:lnTo>
                    <a:pt x="310" y="297"/>
                  </a:lnTo>
                  <a:lnTo>
                    <a:pt x="315" y="293"/>
                  </a:lnTo>
                  <a:lnTo>
                    <a:pt x="316" y="291"/>
                  </a:lnTo>
                  <a:lnTo>
                    <a:pt x="321" y="288"/>
                  </a:lnTo>
                  <a:lnTo>
                    <a:pt x="322" y="288"/>
                  </a:lnTo>
                  <a:lnTo>
                    <a:pt x="324" y="288"/>
                  </a:lnTo>
                  <a:lnTo>
                    <a:pt x="324" y="290"/>
                  </a:lnTo>
                  <a:lnTo>
                    <a:pt x="325" y="290"/>
                  </a:lnTo>
                  <a:lnTo>
                    <a:pt x="327" y="290"/>
                  </a:lnTo>
                  <a:lnTo>
                    <a:pt x="328" y="288"/>
                  </a:lnTo>
                  <a:lnTo>
                    <a:pt x="328" y="286"/>
                  </a:lnTo>
                  <a:lnTo>
                    <a:pt x="332" y="283"/>
                  </a:lnTo>
                  <a:lnTo>
                    <a:pt x="335" y="279"/>
                  </a:lnTo>
                  <a:lnTo>
                    <a:pt x="336" y="276"/>
                  </a:lnTo>
                  <a:lnTo>
                    <a:pt x="335" y="274"/>
                  </a:lnTo>
                  <a:lnTo>
                    <a:pt x="335" y="274"/>
                  </a:lnTo>
                  <a:lnTo>
                    <a:pt x="335" y="274"/>
                  </a:lnTo>
                  <a:lnTo>
                    <a:pt x="335" y="273"/>
                  </a:lnTo>
                  <a:lnTo>
                    <a:pt x="335" y="271"/>
                  </a:lnTo>
                  <a:lnTo>
                    <a:pt x="335" y="268"/>
                  </a:lnTo>
                  <a:lnTo>
                    <a:pt x="336" y="266"/>
                  </a:lnTo>
                  <a:lnTo>
                    <a:pt x="336" y="265"/>
                  </a:lnTo>
                  <a:lnTo>
                    <a:pt x="335" y="263"/>
                  </a:lnTo>
                  <a:lnTo>
                    <a:pt x="333" y="260"/>
                  </a:lnTo>
                  <a:lnTo>
                    <a:pt x="333" y="257"/>
                  </a:lnTo>
                  <a:lnTo>
                    <a:pt x="333" y="254"/>
                  </a:lnTo>
                  <a:lnTo>
                    <a:pt x="332" y="253"/>
                  </a:lnTo>
                  <a:lnTo>
                    <a:pt x="332" y="251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30" y="245"/>
                  </a:lnTo>
                  <a:lnTo>
                    <a:pt x="332" y="240"/>
                  </a:lnTo>
                  <a:lnTo>
                    <a:pt x="333" y="239"/>
                  </a:lnTo>
                  <a:lnTo>
                    <a:pt x="336" y="234"/>
                  </a:lnTo>
                  <a:lnTo>
                    <a:pt x="338" y="233"/>
                  </a:lnTo>
                  <a:lnTo>
                    <a:pt x="333" y="228"/>
                  </a:lnTo>
                  <a:lnTo>
                    <a:pt x="332" y="228"/>
                  </a:lnTo>
                  <a:lnTo>
                    <a:pt x="328" y="225"/>
                  </a:lnTo>
                  <a:lnTo>
                    <a:pt x="327" y="225"/>
                  </a:lnTo>
                  <a:lnTo>
                    <a:pt x="322" y="225"/>
                  </a:lnTo>
                  <a:lnTo>
                    <a:pt x="316" y="220"/>
                  </a:lnTo>
                  <a:lnTo>
                    <a:pt x="310" y="220"/>
                  </a:lnTo>
                  <a:lnTo>
                    <a:pt x="304" y="223"/>
                  </a:lnTo>
                  <a:lnTo>
                    <a:pt x="292" y="234"/>
                  </a:lnTo>
                  <a:lnTo>
                    <a:pt x="285" y="237"/>
                  </a:lnTo>
                  <a:lnTo>
                    <a:pt x="281" y="242"/>
                  </a:lnTo>
                  <a:lnTo>
                    <a:pt x="279" y="245"/>
                  </a:lnTo>
                  <a:lnTo>
                    <a:pt x="281" y="246"/>
                  </a:lnTo>
                  <a:lnTo>
                    <a:pt x="284" y="245"/>
                  </a:lnTo>
                  <a:lnTo>
                    <a:pt x="288" y="243"/>
                  </a:lnTo>
                  <a:lnTo>
                    <a:pt x="290" y="243"/>
                  </a:lnTo>
                  <a:lnTo>
                    <a:pt x="292" y="243"/>
                  </a:lnTo>
                  <a:lnTo>
                    <a:pt x="293" y="245"/>
                  </a:lnTo>
                  <a:lnTo>
                    <a:pt x="295" y="253"/>
                  </a:lnTo>
                  <a:lnTo>
                    <a:pt x="295" y="254"/>
                  </a:lnTo>
                  <a:lnTo>
                    <a:pt x="295" y="259"/>
                  </a:lnTo>
                  <a:lnTo>
                    <a:pt x="298" y="274"/>
                  </a:lnTo>
                  <a:lnTo>
                    <a:pt x="298" y="276"/>
                  </a:lnTo>
                  <a:lnTo>
                    <a:pt x="296" y="280"/>
                  </a:lnTo>
                  <a:lnTo>
                    <a:pt x="296" y="283"/>
                  </a:lnTo>
                  <a:lnTo>
                    <a:pt x="293" y="282"/>
                  </a:lnTo>
                  <a:lnTo>
                    <a:pt x="292" y="282"/>
                  </a:lnTo>
                  <a:lnTo>
                    <a:pt x="292" y="280"/>
                  </a:lnTo>
                  <a:lnTo>
                    <a:pt x="292" y="280"/>
                  </a:lnTo>
                  <a:lnTo>
                    <a:pt x="295" y="280"/>
                  </a:lnTo>
                  <a:lnTo>
                    <a:pt x="293" y="279"/>
                  </a:lnTo>
                  <a:lnTo>
                    <a:pt x="293" y="277"/>
                  </a:lnTo>
                  <a:lnTo>
                    <a:pt x="292" y="277"/>
                  </a:lnTo>
                  <a:lnTo>
                    <a:pt x="290" y="279"/>
                  </a:lnTo>
                  <a:lnTo>
                    <a:pt x="290" y="280"/>
                  </a:lnTo>
                  <a:lnTo>
                    <a:pt x="288" y="282"/>
                  </a:lnTo>
                  <a:lnTo>
                    <a:pt x="285" y="283"/>
                  </a:lnTo>
                  <a:lnTo>
                    <a:pt x="284" y="282"/>
                  </a:lnTo>
                  <a:lnTo>
                    <a:pt x="285" y="280"/>
                  </a:lnTo>
                  <a:lnTo>
                    <a:pt x="288" y="279"/>
                  </a:lnTo>
                  <a:lnTo>
                    <a:pt x="288" y="277"/>
                  </a:lnTo>
                  <a:lnTo>
                    <a:pt x="288" y="274"/>
                  </a:lnTo>
                  <a:lnTo>
                    <a:pt x="290" y="274"/>
                  </a:lnTo>
                  <a:lnTo>
                    <a:pt x="293" y="276"/>
                  </a:lnTo>
                  <a:lnTo>
                    <a:pt x="295" y="273"/>
                  </a:lnTo>
                  <a:lnTo>
                    <a:pt x="295" y="268"/>
                  </a:lnTo>
                  <a:lnTo>
                    <a:pt x="293" y="262"/>
                  </a:lnTo>
                  <a:lnTo>
                    <a:pt x="292" y="259"/>
                  </a:lnTo>
                  <a:lnTo>
                    <a:pt x="292" y="257"/>
                  </a:lnTo>
                  <a:lnTo>
                    <a:pt x="292" y="257"/>
                  </a:lnTo>
                  <a:lnTo>
                    <a:pt x="290" y="256"/>
                  </a:lnTo>
                  <a:lnTo>
                    <a:pt x="290" y="254"/>
                  </a:lnTo>
                  <a:lnTo>
                    <a:pt x="290" y="253"/>
                  </a:lnTo>
                  <a:lnTo>
                    <a:pt x="292" y="253"/>
                  </a:lnTo>
                  <a:lnTo>
                    <a:pt x="292" y="251"/>
                  </a:lnTo>
                  <a:lnTo>
                    <a:pt x="290" y="250"/>
                  </a:lnTo>
                  <a:lnTo>
                    <a:pt x="288" y="250"/>
                  </a:lnTo>
                  <a:lnTo>
                    <a:pt x="287" y="246"/>
                  </a:lnTo>
                  <a:lnTo>
                    <a:pt x="285" y="246"/>
                  </a:lnTo>
                  <a:lnTo>
                    <a:pt x="284" y="250"/>
                  </a:lnTo>
                  <a:lnTo>
                    <a:pt x="285" y="253"/>
                  </a:lnTo>
                  <a:lnTo>
                    <a:pt x="287" y="257"/>
                  </a:lnTo>
                  <a:lnTo>
                    <a:pt x="287" y="260"/>
                  </a:lnTo>
                  <a:lnTo>
                    <a:pt x="285" y="262"/>
                  </a:lnTo>
                  <a:lnTo>
                    <a:pt x="282" y="262"/>
                  </a:lnTo>
                  <a:lnTo>
                    <a:pt x="281" y="263"/>
                  </a:lnTo>
                  <a:lnTo>
                    <a:pt x="281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78" y="280"/>
                  </a:lnTo>
                  <a:lnTo>
                    <a:pt x="276" y="282"/>
                  </a:lnTo>
                  <a:lnTo>
                    <a:pt x="275" y="282"/>
                  </a:lnTo>
                  <a:lnTo>
                    <a:pt x="275" y="280"/>
                  </a:lnTo>
                  <a:lnTo>
                    <a:pt x="276" y="280"/>
                  </a:lnTo>
                  <a:lnTo>
                    <a:pt x="276" y="279"/>
                  </a:lnTo>
                  <a:lnTo>
                    <a:pt x="275" y="277"/>
                  </a:lnTo>
                  <a:lnTo>
                    <a:pt x="273" y="274"/>
                  </a:lnTo>
                  <a:lnTo>
                    <a:pt x="272" y="273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267" y="274"/>
                  </a:lnTo>
                  <a:lnTo>
                    <a:pt x="267" y="274"/>
                  </a:lnTo>
                  <a:lnTo>
                    <a:pt x="265" y="273"/>
                  </a:lnTo>
                  <a:lnTo>
                    <a:pt x="265" y="273"/>
                  </a:lnTo>
                  <a:lnTo>
                    <a:pt x="267" y="273"/>
                  </a:lnTo>
                  <a:lnTo>
                    <a:pt x="273" y="271"/>
                  </a:lnTo>
                  <a:lnTo>
                    <a:pt x="273" y="270"/>
                  </a:lnTo>
                  <a:lnTo>
                    <a:pt x="273" y="268"/>
                  </a:lnTo>
                  <a:lnTo>
                    <a:pt x="272" y="265"/>
                  </a:lnTo>
                  <a:lnTo>
                    <a:pt x="272" y="265"/>
                  </a:lnTo>
                  <a:lnTo>
                    <a:pt x="270" y="265"/>
                  </a:lnTo>
                  <a:lnTo>
                    <a:pt x="268" y="265"/>
                  </a:lnTo>
                  <a:lnTo>
                    <a:pt x="268" y="266"/>
                  </a:lnTo>
                  <a:lnTo>
                    <a:pt x="267" y="266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5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65" y="263"/>
                  </a:lnTo>
                  <a:lnTo>
                    <a:pt x="267" y="262"/>
                  </a:lnTo>
                  <a:lnTo>
                    <a:pt x="268" y="263"/>
                  </a:lnTo>
                  <a:lnTo>
                    <a:pt x="270" y="263"/>
                  </a:lnTo>
                  <a:lnTo>
                    <a:pt x="272" y="260"/>
                  </a:lnTo>
                  <a:lnTo>
                    <a:pt x="270" y="257"/>
                  </a:lnTo>
                  <a:lnTo>
                    <a:pt x="265" y="250"/>
                  </a:lnTo>
                  <a:lnTo>
                    <a:pt x="267" y="250"/>
                  </a:lnTo>
                  <a:lnTo>
                    <a:pt x="267" y="248"/>
                  </a:lnTo>
                  <a:lnTo>
                    <a:pt x="270" y="248"/>
                  </a:lnTo>
                  <a:lnTo>
                    <a:pt x="270" y="250"/>
                  </a:lnTo>
                  <a:lnTo>
                    <a:pt x="270" y="250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3" y="250"/>
                  </a:lnTo>
                  <a:lnTo>
                    <a:pt x="272" y="248"/>
                  </a:lnTo>
                  <a:lnTo>
                    <a:pt x="272" y="246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3" y="242"/>
                  </a:lnTo>
                  <a:lnTo>
                    <a:pt x="272" y="242"/>
                  </a:lnTo>
                  <a:lnTo>
                    <a:pt x="270" y="243"/>
                  </a:lnTo>
                  <a:lnTo>
                    <a:pt x="264" y="245"/>
                  </a:lnTo>
                  <a:lnTo>
                    <a:pt x="261" y="245"/>
                  </a:lnTo>
                  <a:lnTo>
                    <a:pt x="259" y="243"/>
                  </a:lnTo>
                  <a:lnTo>
                    <a:pt x="248" y="242"/>
                  </a:lnTo>
                  <a:lnTo>
                    <a:pt x="247" y="243"/>
                  </a:lnTo>
                  <a:lnTo>
                    <a:pt x="238" y="239"/>
                  </a:lnTo>
                  <a:lnTo>
                    <a:pt x="238" y="240"/>
                  </a:lnTo>
                  <a:lnTo>
                    <a:pt x="239" y="242"/>
                  </a:lnTo>
                  <a:lnTo>
                    <a:pt x="245" y="245"/>
                  </a:lnTo>
                  <a:lnTo>
                    <a:pt x="250" y="245"/>
                  </a:lnTo>
                  <a:lnTo>
                    <a:pt x="251" y="245"/>
                  </a:lnTo>
                  <a:lnTo>
                    <a:pt x="255" y="250"/>
                  </a:lnTo>
                  <a:lnTo>
                    <a:pt x="255" y="256"/>
                  </a:lnTo>
                  <a:lnTo>
                    <a:pt x="251" y="259"/>
                  </a:lnTo>
                  <a:lnTo>
                    <a:pt x="250" y="259"/>
                  </a:lnTo>
                  <a:lnTo>
                    <a:pt x="248" y="260"/>
                  </a:lnTo>
                  <a:lnTo>
                    <a:pt x="247" y="260"/>
                  </a:lnTo>
                  <a:lnTo>
                    <a:pt x="244" y="260"/>
                  </a:lnTo>
                  <a:lnTo>
                    <a:pt x="242" y="259"/>
                  </a:lnTo>
                  <a:lnTo>
                    <a:pt x="242" y="260"/>
                  </a:lnTo>
                  <a:lnTo>
                    <a:pt x="244" y="262"/>
                  </a:lnTo>
                  <a:lnTo>
                    <a:pt x="244" y="263"/>
                  </a:lnTo>
                  <a:lnTo>
                    <a:pt x="244" y="263"/>
                  </a:lnTo>
                  <a:lnTo>
                    <a:pt x="244" y="266"/>
                  </a:lnTo>
                  <a:lnTo>
                    <a:pt x="244" y="266"/>
                  </a:lnTo>
                  <a:lnTo>
                    <a:pt x="244" y="268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39" y="271"/>
                  </a:lnTo>
                  <a:lnTo>
                    <a:pt x="236" y="273"/>
                  </a:lnTo>
                  <a:lnTo>
                    <a:pt x="236" y="274"/>
                  </a:lnTo>
                  <a:lnTo>
                    <a:pt x="233" y="274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0" y="274"/>
                  </a:lnTo>
                  <a:lnTo>
                    <a:pt x="233" y="276"/>
                  </a:lnTo>
                  <a:lnTo>
                    <a:pt x="231" y="277"/>
                  </a:lnTo>
                  <a:lnTo>
                    <a:pt x="228" y="277"/>
                  </a:lnTo>
                  <a:lnTo>
                    <a:pt x="227" y="274"/>
                  </a:lnTo>
                  <a:lnTo>
                    <a:pt x="225" y="273"/>
                  </a:lnTo>
                  <a:lnTo>
                    <a:pt x="227" y="273"/>
                  </a:lnTo>
                  <a:lnTo>
                    <a:pt x="227" y="271"/>
                  </a:lnTo>
                  <a:lnTo>
                    <a:pt x="228" y="271"/>
                  </a:lnTo>
                  <a:lnTo>
                    <a:pt x="228" y="271"/>
                  </a:lnTo>
                  <a:lnTo>
                    <a:pt x="228" y="271"/>
                  </a:lnTo>
                  <a:lnTo>
                    <a:pt x="227" y="271"/>
                  </a:lnTo>
                  <a:lnTo>
                    <a:pt x="221" y="273"/>
                  </a:lnTo>
                  <a:lnTo>
                    <a:pt x="219" y="274"/>
                  </a:lnTo>
                  <a:lnTo>
                    <a:pt x="207" y="271"/>
                  </a:lnTo>
                  <a:lnTo>
                    <a:pt x="207" y="273"/>
                  </a:lnTo>
                  <a:lnTo>
                    <a:pt x="208" y="273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5" y="274"/>
                  </a:lnTo>
                  <a:lnTo>
                    <a:pt x="215" y="276"/>
                  </a:lnTo>
                  <a:lnTo>
                    <a:pt x="216" y="277"/>
                  </a:lnTo>
                  <a:lnTo>
                    <a:pt x="218" y="279"/>
                  </a:lnTo>
                  <a:lnTo>
                    <a:pt x="222" y="280"/>
                  </a:lnTo>
                  <a:lnTo>
                    <a:pt x="224" y="282"/>
                  </a:lnTo>
                  <a:lnTo>
                    <a:pt x="211" y="282"/>
                  </a:lnTo>
                  <a:lnTo>
                    <a:pt x="211" y="282"/>
                  </a:lnTo>
                  <a:lnTo>
                    <a:pt x="219" y="285"/>
                  </a:lnTo>
                  <a:lnTo>
                    <a:pt x="224" y="286"/>
                  </a:lnTo>
                  <a:lnTo>
                    <a:pt x="227" y="291"/>
                  </a:lnTo>
                  <a:lnTo>
                    <a:pt x="227" y="294"/>
                  </a:lnTo>
                  <a:lnTo>
                    <a:pt x="227" y="296"/>
                  </a:lnTo>
                  <a:lnTo>
                    <a:pt x="227" y="297"/>
                  </a:lnTo>
                  <a:lnTo>
                    <a:pt x="225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2" y="300"/>
                  </a:lnTo>
                  <a:lnTo>
                    <a:pt x="222" y="302"/>
                  </a:lnTo>
                  <a:lnTo>
                    <a:pt x="222" y="303"/>
                  </a:lnTo>
                  <a:lnTo>
                    <a:pt x="224" y="302"/>
                  </a:lnTo>
                  <a:lnTo>
                    <a:pt x="225" y="302"/>
                  </a:lnTo>
                  <a:lnTo>
                    <a:pt x="227" y="302"/>
                  </a:lnTo>
                  <a:lnTo>
                    <a:pt x="228" y="302"/>
                  </a:lnTo>
                  <a:lnTo>
                    <a:pt x="228" y="303"/>
                  </a:lnTo>
                  <a:lnTo>
                    <a:pt x="230" y="305"/>
                  </a:lnTo>
                  <a:lnTo>
                    <a:pt x="231" y="310"/>
                  </a:lnTo>
                  <a:lnTo>
                    <a:pt x="231" y="313"/>
                  </a:lnTo>
                  <a:lnTo>
                    <a:pt x="231" y="314"/>
                  </a:lnTo>
                  <a:lnTo>
                    <a:pt x="233" y="314"/>
                  </a:lnTo>
                  <a:lnTo>
                    <a:pt x="233" y="316"/>
                  </a:lnTo>
                  <a:lnTo>
                    <a:pt x="231" y="317"/>
                  </a:lnTo>
                  <a:lnTo>
                    <a:pt x="230" y="319"/>
                  </a:lnTo>
                  <a:lnTo>
                    <a:pt x="230" y="319"/>
                  </a:lnTo>
                  <a:lnTo>
                    <a:pt x="228" y="319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27" y="322"/>
                  </a:lnTo>
                  <a:lnTo>
                    <a:pt x="225" y="322"/>
                  </a:lnTo>
                  <a:lnTo>
                    <a:pt x="224" y="322"/>
                  </a:lnTo>
                  <a:lnTo>
                    <a:pt x="224" y="322"/>
                  </a:lnTo>
                  <a:lnTo>
                    <a:pt x="224" y="325"/>
                  </a:lnTo>
                  <a:lnTo>
                    <a:pt x="225" y="325"/>
                  </a:lnTo>
                  <a:lnTo>
                    <a:pt x="225" y="325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3"/>
                  </a:lnTo>
                  <a:lnTo>
                    <a:pt x="228" y="323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1" y="323"/>
                  </a:lnTo>
                  <a:lnTo>
                    <a:pt x="230" y="325"/>
                  </a:lnTo>
                  <a:lnTo>
                    <a:pt x="230" y="325"/>
                  </a:lnTo>
                  <a:lnTo>
                    <a:pt x="228" y="327"/>
                  </a:lnTo>
                  <a:lnTo>
                    <a:pt x="228" y="327"/>
                  </a:lnTo>
                  <a:lnTo>
                    <a:pt x="228" y="328"/>
                  </a:lnTo>
                  <a:lnTo>
                    <a:pt x="233" y="331"/>
                  </a:lnTo>
                  <a:lnTo>
                    <a:pt x="235" y="331"/>
                  </a:lnTo>
                  <a:lnTo>
                    <a:pt x="235" y="333"/>
                  </a:lnTo>
                  <a:lnTo>
                    <a:pt x="235" y="336"/>
                  </a:lnTo>
                  <a:lnTo>
                    <a:pt x="235" y="336"/>
                  </a:lnTo>
                  <a:lnTo>
                    <a:pt x="236" y="336"/>
                  </a:lnTo>
                  <a:lnTo>
                    <a:pt x="238" y="336"/>
                  </a:lnTo>
                  <a:lnTo>
                    <a:pt x="238" y="336"/>
                  </a:lnTo>
                  <a:lnTo>
                    <a:pt x="238" y="337"/>
                  </a:lnTo>
                  <a:lnTo>
                    <a:pt x="236" y="339"/>
                  </a:lnTo>
                  <a:lnTo>
                    <a:pt x="236" y="339"/>
                  </a:lnTo>
                  <a:lnTo>
                    <a:pt x="235" y="337"/>
                  </a:lnTo>
                  <a:lnTo>
                    <a:pt x="235" y="340"/>
                  </a:lnTo>
                  <a:lnTo>
                    <a:pt x="236" y="343"/>
                  </a:lnTo>
                  <a:lnTo>
                    <a:pt x="238" y="343"/>
                  </a:lnTo>
                  <a:lnTo>
                    <a:pt x="241" y="343"/>
                  </a:lnTo>
                  <a:lnTo>
                    <a:pt x="239" y="342"/>
                  </a:lnTo>
                  <a:lnTo>
                    <a:pt x="239" y="342"/>
                  </a:lnTo>
                  <a:lnTo>
                    <a:pt x="244" y="342"/>
                  </a:lnTo>
                  <a:lnTo>
                    <a:pt x="245" y="342"/>
                  </a:lnTo>
                  <a:lnTo>
                    <a:pt x="247" y="340"/>
                  </a:lnTo>
                  <a:lnTo>
                    <a:pt x="248" y="340"/>
                  </a:lnTo>
                  <a:lnTo>
                    <a:pt x="253" y="342"/>
                  </a:lnTo>
                  <a:lnTo>
                    <a:pt x="255" y="342"/>
                  </a:lnTo>
                  <a:lnTo>
                    <a:pt x="256" y="342"/>
                  </a:lnTo>
                  <a:lnTo>
                    <a:pt x="261" y="343"/>
                  </a:lnTo>
                  <a:lnTo>
                    <a:pt x="264" y="345"/>
                  </a:lnTo>
                  <a:lnTo>
                    <a:pt x="265" y="345"/>
                  </a:lnTo>
                  <a:lnTo>
                    <a:pt x="265" y="345"/>
                  </a:lnTo>
                  <a:lnTo>
                    <a:pt x="267" y="343"/>
                  </a:lnTo>
                  <a:lnTo>
                    <a:pt x="268" y="342"/>
                  </a:lnTo>
                  <a:lnTo>
                    <a:pt x="270" y="342"/>
                  </a:lnTo>
                  <a:lnTo>
                    <a:pt x="272" y="343"/>
                  </a:lnTo>
                  <a:lnTo>
                    <a:pt x="272" y="345"/>
                  </a:lnTo>
                  <a:lnTo>
                    <a:pt x="270" y="347"/>
                  </a:lnTo>
                  <a:lnTo>
                    <a:pt x="270" y="347"/>
                  </a:lnTo>
                  <a:lnTo>
                    <a:pt x="272" y="348"/>
                  </a:lnTo>
                  <a:lnTo>
                    <a:pt x="275" y="348"/>
                  </a:lnTo>
                  <a:lnTo>
                    <a:pt x="276" y="350"/>
                  </a:lnTo>
                  <a:lnTo>
                    <a:pt x="276" y="351"/>
                  </a:lnTo>
                  <a:lnTo>
                    <a:pt x="276" y="351"/>
                  </a:lnTo>
                  <a:lnTo>
                    <a:pt x="270" y="353"/>
                  </a:lnTo>
                  <a:lnTo>
                    <a:pt x="272" y="356"/>
                  </a:lnTo>
                  <a:lnTo>
                    <a:pt x="276" y="359"/>
                  </a:lnTo>
                  <a:lnTo>
                    <a:pt x="278" y="362"/>
                  </a:lnTo>
                  <a:lnTo>
                    <a:pt x="275" y="362"/>
                  </a:lnTo>
                  <a:lnTo>
                    <a:pt x="267" y="357"/>
                  </a:lnTo>
                  <a:lnTo>
                    <a:pt x="262" y="357"/>
                  </a:lnTo>
                  <a:lnTo>
                    <a:pt x="264" y="359"/>
                  </a:lnTo>
                  <a:lnTo>
                    <a:pt x="265" y="359"/>
                  </a:lnTo>
                  <a:lnTo>
                    <a:pt x="265" y="360"/>
                  </a:lnTo>
                  <a:lnTo>
                    <a:pt x="272" y="360"/>
                  </a:lnTo>
                  <a:lnTo>
                    <a:pt x="272" y="360"/>
                  </a:lnTo>
                  <a:lnTo>
                    <a:pt x="273" y="362"/>
                  </a:lnTo>
                  <a:lnTo>
                    <a:pt x="273" y="362"/>
                  </a:lnTo>
                  <a:lnTo>
                    <a:pt x="275" y="362"/>
                  </a:lnTo>
                  <a:lnTo>
                    <a:pt x="279" y="365"/>
                  </a:lnTo>
                  <a:lnTo>
                    <a:pt x="281" y="367"/>
                  </a:lnTo>
                  <a:lnTo>
                    <a:pt x="281" y="370"/>
                  </a:lnTo>
                  <a:lnTo>
                    <a:pt x="282" y="371"/>
                  </a:lnTo>
                  <a:lnTo>
                    <a:pt x="282" y="373"/>
                  </a:lnTo>
                  <a:lnTo>
                    <a:pt x="281" y="374"/>
                  </a:lnTo>
                  <a:lnTo>
                    <a:pt x="279" y="374"/>
                  </a:lnTo>
                  <a:lnTo>
                    <a:pt x="279" y="373"/>
                  </a:lnTo>
                  <a:lnTo>
                    <a:pt x="279" y="373"/>
                  </a:lnTo>
                  <a:lnTo>
                    <a:pt x="278" y="374"/>
                  </a:lnTo>
                  <a:lnTo>
                    <a:pt x="276" y="376"/>
                  </a:lnTo>
                  <a:lnTo>
                    <a:pt x="276" y="376"/>
                  </a:lnTo>
                  <a:lnTo>
                    <a:pt x="275" y="373"/>
                  </a:lnTo>
                  <a:lnTo>
                    <a:pt x="273" y="373"/>
                  </a:lnTo>
                  <a:lnTo>
                    <a:pt x="273" y="373"/>
                  </a:lnTo>
                  <a:lnTo>
                    <a:pt x="270" y="376"/>
                  </a:lnTo>
                  <a:lnTo>
                    <a:pt x="270" y="376"/>
                  </a:lnTo>
                  <a:lnTo>
                    <a:pt x="272" y="377"/>
                  </a:lnTo>
                  <a:lnTo>
                    <a:pt x="272" y="379"/>
                  </a:lnTo>
                  <a:lnTo>
                    <a:pt x="272" y="380"/>
                  </a:lnTo>
                  <a:lnTo>
                    <a:pt x="272" y="382"/>
                  </a:lnTo>
                  <a:lnTo>
                    <a:pt x="273" y="385"/>
                  </a:lnTo>
                  <a:lnTo>
                    <a:pt x="273" y="387"/>
                  </a:lnTo>
                  <a:lnTo>
                    <a:pt x="275" y="388"/>
                  </a:lnTo>
                  <a:lnTo>
                    <a:pt x="276" y="388"/>
                  </a:lnTo>
                  <a:lnTo>
                    <a:pt x="276" y="390"/>
                  </a:lnTo>
                  <a:lnTo>
                    <a:pt x="276" y="391"/>
                  </a:lnTo>
                  <a:lnTo>
                    <a:pt x="276" y="391"/>
                  </a:lnTo>
                  <a:lnTo>
                    <a:pt x="276" y="393"/>
                  </a:lnTo>
                  <a:lnTo>
                    <a:pt x="276" y="393"/>
                  </a:lnTo>
                  <a:lnTo>
                    <a:pt x="276" y="394"/>
                  </a:lnTo>
                  <a:lnTo>
                    <a:pt x="281" y="397"/>
                  </a:lnTo>
                  <a:lnTo>
                    <a:pt x="281" y="399"/>
                  </a:lnTo>
                  <a:lnTo>
                    <a:pt x="281" y="400"/>
                  </a:lnTo>
                  <a:lnTo>
                    <a:pt x="282" y="400"/>
                  </a:lnTo>
                  <a:lnTo>
                    <a:pt x="281" y="402"/>
                  </a:lnTo>
                  <a:lnTo>
                    <a:pt x="282" y="403"/>
                  </a:lnTo>
                  <a:lnTo>
                    <a:pt x="282" y="405"/>
                  </a:lnTo>
                  <a:lnTo>
                    <a:pt x="284" y="405"/>
                  </a:lnTo>
                  <a:lnTo>
                    <a:pt x="282" y="408"/>
                  </a:lnTo>
                  <a:lnTo>
                    <a:pt x="281" y="410"/>
                  </a:lnTo>
                  <a:lnTo>
                    <a:pt x="281" y="413"/>
                  </a:lnTo>
                  <a:lnTo>
                    <a:pt x="282" y="414"/>
                  </a:lnTo>
                  <a:lnTo>
                    <a:pt x="284" y="419"/>
                  </a:lnTo>
                  <a:lnTo>
                    <a:pt x="285" y="420"/>
                  </a:lnTo>
                  <a:lnTo>
                    <a:pt x="285" y="422"/>
                  </a:lnTo>
                  <a:lnTo>
                    <a:pt x="287" y="425"/>
                  </a:lnTo>
                  <a:lnTo>
                    <a:pt x="288" y="424"/>
                  </a:lnTo>
                  <a:lnTo>
                    <a:pt x="288" y="419"/>
                  </a:lnTo>
                  <a:lnTo>
                    <a:pt x="288" y="413"/>
                  </a:lnTo>
                  <a:lnTo>
                    <a:pt x="288" y="408"/>
                  </a:lnTo>
                  <a:lnTo>
                    <a:pt x="288" y="407"/>
                  </a:lnTo>
                  <a:lnTo>
                    <a:pt x="290" y="407"/>
                  </a:lnTo>
                  <a:lnTo>
                    <a:pt x="292" y="403"/>
                  </a:lnTo>
                  <a:lnTo>
                    <a:pt x="293" y="403"/>
                  </a:lnTo>
                  <a:lnTo>
                    <a:pt x="293" y="402"/>
                  </a:lnTo>
                  <a:lnTo>
                    <a:pt x="296" y="396"/>
                  </a:lnTo>
                  <a:lnTo>
                    <a:pt x="298" y="396"/>
                  </a:lnTo>
                  <a:lnTo>
                    <a:pt x="304" y="390"/>
                  </a:lnTo>
                  <a:lnTo>
                    <a:pt x="304" y="388"/>
                  </a:lnTo>
                  <a:lnTo>
                    <a:pt x="301" y="387"/>
                  </a:lnTo>
                  <a:lnTo>
                    <a:pt x="299" y="383"/>
                  </a:lnTo>
                  <a:close/>
                  <a:moveTo>
                    <a:pt x="256" y="146"/>
                  </a:move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61" y="145"/>
                  </a:lnTo>
                  <a:lnTo>
                    <a:pt x="262" y="143"/>
                  </a:lnTo>
                  <a:lnTo>
                    <a:pt x="262" y="142"/>
                  </a:lnTo>
                  <a:lnTo>
                    <a:pt x="264" y="142"/>
                  </a:lnTo>
                  <a:lnTo>
                    <a:pt x="264" y="142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2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5"/>
                  </a:lnTo>
                  <a:lnTo>
                    <a:pt x="256" y="146"/>
                  </a:lnTo>
                  <a:close/>
                  <a:moveTo>
                    <a:pt x="33" y="136"/>
                  </a:moveTo>
                  <a:lnTo>
                    <a:pt x="33" y="136"/>
                  </a:lnTo>
                  <a:lnTo>
                    <a:pt x="33" y="137"/>
                  </a:lnTo>
                  <a:lnTo>
                    <a:pt x="31" y="137"/>
                  </a:lnTo>
                  <a:lnTo>
                    <a:pt x="31" y="139"/>
                  </a:lnTo>
                  <a:lnTo>
                    <a:pt x="33" y="139"/>
                  </a:lnTo>
                  <a:lnTo>
                    <a:pt x="34" y="137"/>
                  </a:lnTo>
                  <a:lnTo>
                    <a:pt x="34" y="139"/>
                  </a:lnTo>
                  <a:lnTo>
                    <a:pt x="37" y="139"/>
                  </a:lnTo>
                  <a:lnTo>
                    <a:pt x="39" y="140"/>
                  </a:lnTo>
                  <a:lnTo>
                    <a:pt x="39" y="142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4" y="146"/>
                  </a:lnTo>
                  <a:lnTo>
                    <a:pt x="50" y="143"/>
                  </a:lnTo>
                  <a:lnTo>
                    <a:pt x="51" y="142"/>
                  </a:lnTo>
                  <a:lnTo>
                    <a:pt x="54" y="139"/>
                  </a:lnTo>
                  <a:lnTo>
                    <a:pt x="54" y="137"/>
                  </a:lnTo>
                  <a:lnTo>
                    <a:pt x="56" y="136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9" y="131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8"/>
                  </a:lnTo>
                  <a:lnTo>
                    <a:pt x="56" y="123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19"/>
                  </a:lnTo>
                  <a:lnTo>
                    <a:pt x="57" y="117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20"/>
                  </a:lnTo>
                  <a:lnTo>
                    <a:pt x="59" y="122"/>
                  </a:lnTo>
                  <a:lnTo>
                    <a:pt x="61" y="120"/>
                  </a:lnTo>
                  <a:lnTo>
                    <a:pt x="61" y="120"/>
                  </a:lnTo>
                  <a:lnTo>
                    <a:pt x="61" y="119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2"/>
                  </a:lnTo>
                  <a:lnTo>
                    <a:pt x="61" y="111"/>
                  </a:lnTo>
                  <a:lnTo>
                    <a:pt x="61" y="109"/>
                  </a:lnTo>
                  <a:lnTo>
                    <a:pt x="61" y="109"/>
                  </a:lnTo>
                  <a:lnTo>
                    <a:pt x="62" y="108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1" y="108"/>
                  </a:lnTo>
                  <a:lnTo>
                    <a:pt x="59" y="109"/>
                  </a:lnTo>
                  <a:lnTo>
                    <a:pt x="57" y="108"/>
                  </a:lnTo>
                  <a:lnTo>
                    <a:pt x="56" y="114"/>
                  </a:lnTo>
                  <a:lnTo>
                    <a:pt x="54" y="116"/>
                  </a:lnTo>
                  <a:lnTo>
                    <a:pt x="53" y="114"/>
                  </a:lnTo>
                  <a:lnTo>
                    <a:pt x="50" y="116"/>
                  </a:lnTo>
                  <a:lnTo>
                    <a:pt x="45" y="117"/>
                  </a:lnTo>
                  <a:lnTo>
                    <a:pt x="44" y="117"/>
                  </a:lnTo>
                  <a:lnTo>
                    <a:pt x="44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9"/>
                  </a:lnTo>
                  <a:lnTo>
                    <a:pt x="42" y="120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3"/>
                  </a:lnTo>
                  <a:lnTo>
                    <a:pt x="40" y="125"/>
                  </a:lnTo>
                  <a:lnTo>
                    <a:pt x="39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2" y="126"/>
                  </a:lnTo>
                  <a:lnTo>
                    <a:pt x="44" y="126"/>
                  </a:lnTo>
                  <a:lnTo>
                    <a:pt x="40" y="129"/>
                  </a:lnTo>
                  <a:lnTo>
                    <a:pt x="36" y="129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3" y="136"/>
                  </a:lnTo>
                  <a:close/>
                  <a:moveTo>
                    <a:pt x="208" y="69"/>
                  </a:moveTo>
                  <a:lnTo>
                    <a:pt x="210" y="71"/>
                  </a:lnTo>
                  <a:lnTo>
                    <a:pt x="213" y="71"/>
                  </a:lnTo>
                  <a:lnTo>
                    <a:pt x="215" y="76"/>
                  </a:lnTo>
                  <a:lnTo>
                    <a:pt x="216" y="76"/>
                  </a:lnTo>
                  <a:lnTo>
                    <a:pt x="219" y="76"/>
                  </a:lnTo>
                  <a:lnTo>
                    <a:pt x="221" y="74"/>
                  </a:lnTo>
                  <a:lnTo>
                    <a:pt x="221" y="72"/>
                  </a:lnTo>
                  <a:lnTo>
                    <a:pt x="222" y="71"/>
                  </a:lnTo>
                  <a:lnTo>
                    <a:pt x="224" y="68"/>
                  </a:lnTo>
                  <a:lnTo>
                    <a:pt x="224" y="66"/>
                  </a:lnTo>
                  <a:lnTo>
                    <a:pt x="222" y="65"/>
                  </a:lnTo>
                  <a:lnTo>
                    <a:pt x="222" y="63"/>
                  </a:lnTo>
                  <a:lnTo>
                    <a:pt x="227" y="62"/>
                  </a:lnTo>
                  <a:lnTo>
                    <a:pt x="228" y="62"/>
                  </a:lnTo>
                  <a:lnTo>
                    <a:pt x="230" y="63"/>
                  </a:lnTo>
                  <a:lnTo>
                    <a:pt x="231" y="62"/>
                  </a:lnTo>
                  <a:lnTo>
                    <a:pt x="231" y="60"/>
                  </a:lnTo>
                  <a:lnTo>
                    <a:pt x="231" y="59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27" y="57"/>
                  </a:lnTo>
                  <a:lnTo>
                    <a:pt x="224" y="59"/>
                  </a:lnTo>
                  <a:lnTo>
                    <a:pt x="219" y="59"/>
                  </a:lnTo>
                  <a:lnTo>
                    <a:pt x="218" y="60"/>
                  </a:lnTo>
                  <a:lnTo>
                    <a:pt x="216" y="62"/>
                  </a:lnTo>
                  <a:lnTo>
                    <a:pt x="213" y="62"/>
                  </a:lnTo>
                  <a:lnTo>
                    <a:pt x="211" y="63"/>
                  </a:lnTo>
                  <a:lnTo>
                    <a:pt x="208" y="65"/>
                  </a:lnTo>
                  <a:lnTo>
                    <a:pt x="205" y="66"/>
                  </a:lnTo>
                  <a:lnTo>
                    <a:pt x="205" y="66"/>
                  </a:lnTo>
                  <a:lnTo>
                    <a:pt x="207" y="68"/>
                  </a:lnTo>
                  <a:lnTo>
                    <a:pt x="208" y="69"/>
                  </a:lnTo>
                  <a:close/>
                  <a:moveTo>
                    <a:pt x="122" y="371"/>
                  </a:moveTo>
                  <a:lnTo>
                    <a:pt x="122" y="370"/>
                  </a:lnTo>
                  <a:lnTo>
                    <a:pt x="121" y="368"/>
                  </a:lnTo>
                  <a:lnTo>
                    <a:pt x="117" y="368"/>
                  </a:lnTo>
                  <a:lnTo>
                    <a:pt x="116" y="367"/>
                  </a:lnTo>
                  <a:lnTo>
                    <a:pt x="113" y="363"/>
                  </a:lnTo>
                  <a:lnTo>
                    <a:pt x="111" y="362"/>
                  </a:lnTo>
                  <a:lnTo>
                    <a:pt x="110" y="362"/>
                  </a:lnTo>
                  <a:lnTo>
                    <a:pt x="110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5" y="363"/>
                  </a:lnTo>
                  <a:lnTo>
                    <a:pt x="102" y="367"/>
                  </a:lnTo>
                  <a:lnTo>
                    <a:pt x="101" y="365"/>
                  </a:lnTo>
                  <a:lnTo>
                    <a:pt x="101" y="363"/>
                  </a:lnTo>
                  <a:lnTo>
                    <a:pt x="102" y="363"/>
                  </a:lnTo>
                  <a:lnTo>
                    <a:pt x="105" y="362"/>
                  </a:lnTo>
                  <a:lnTo>
                    <a:pt x="107" y="362"/>
                  </a:lnTo>
                  <a:lnTo>
                    <a:pt x="107" y="360"/>
                  </a:lnTo>
                  <a:lnTo>
                    <a:pt x="110" y="357"/>
                  </a:lnTo>
                  <a:lnTo>
                    <a:pt x="108" y="354"/>
                  </a:lnTo>
                  <a:lnTo>
                    <a:pt x="107" y="354"/>
                  </a:lnTo>
                  <a:lnTo>
                    <a:pt x="105" y="353"/>
                  </a:lnTo>
                  <a:lnTo>
                    <a:pt x="104" y="353"/>
                  </a:lnTo>
                  <a:lnTo>
                    <a:pt x="102" y="353"/>
                  </a:lnTo>
                  <a:lnTo>
                    <a:pt x="102" y="353"/>
                  </a:lnTo>
                  <a:lnTo>
                    <a:pt x="102" y="351"/>
                  </a:lnTo>
                  <a:lnTo>
                    <a:pt x="104" y="351"/>
                  </a:lnTo>
                  <a:lnTo>
                    <a:pt x="105" y="351"/>
                  </a:lnTo>
                  <a:lnTo>
                    <a:pt x="105" y="351"/>
                  </a:lnTo>
                  <a:lnTo>
                    <a:pt x="105" y="351"/>
                  </a:lnTo>
                  <a:lnTo>
                    <a:pt x="104" y="350"/>
                  </a:lnTo>
                  <a:lnTo>
                    <a:pt x="104" y="348"/>
                  </a:lnTo>
                  <a:lnTo>
                    <a:pt x="105" y="348"/>
                  </a:lnTo>
                  <a:lnTo>
                    <a:pt x="105" y="348"/>
                  </a:lnTo>
                  <a:lnTo>
                    <a:pt x="107" y="348"/>
                  </a:lnTo>
                  <a:lnTo>
                    <a:pt x="108" y="347"/>
                  </a:lnTo>
                  <a:lnTo>
                    <a:pt x="108" y="345"/>
                  </a:lnTo>
                  <a:lnTo>
                    <a:pt x="110" y="345"/>
                  </a:lnTo>
                  <a:lnTo>
                    <a:pt x="110" y="343"/>
                  </a:lnTo>
                  <a:lnTo>
                    <a:pt x="111" y="343"/>
                  </a:lnTo>
                  <a:lnTo>
                    <a:pt x="116" y="345"/>
                  </a:lnTo>
                  <a:lnTo>
                    <a:pt x="116" y="343"/>
                  </a:lnTo>
                  <a:lnTo>
                    <a:pt x="117" y="343"/>
                  </a:lnTo>
                  <a:lnTo>
                    <a:pt x="119" y="343"/>
                  </a:lnTo>
                  <a:lnTo>
                    <a:pt x="119" y="342"/>
                  </a:lnTo>
                  <a:lnTo>
                    <a:pt x="119" y="340"/>
                  </a:lnTo>
                  <a:lnTo>
                    <a:pt x="119" y="339"/>
                  </a:lnTo>
                  <a:lnTo>
                    <a:pt x="121" y="337"/>
                  </a:lnTo>
                  <a:lnTo>
                    <a:pt x="121" y="336"/>
                  </a:lnTo>
                  <a:lnTo>
                    <a:pt x="121" y="334"/>
                  </a:lnTo>
                  <a:lnTo>
                    <a:pt x="119" y="334"/>
                  </a:lnTo>
                  <a:lnTo>
                    <a:pt x="119" y="333"/>
                  </a:lnTo>
                  <a:lnTo>
                    <a:pt x="116" y="328"/>
                  </a:lnTo>
                  <a:lnTo>
                    <a:pt x="114" y="328"/>
                  </a:lnTo>
                  <a:lnTo>
                    <a:pt x="114" y="327"/>
                  </a:lnTo>
                  <a:lnTo>
                    <a:pt x="116" y="325"/>
                  </a:lnTo>
                  <a:lnTo>
                    <a:pt x="116" y="325"/>
                  </a:lnTo>
                  <a:lnTo>
                    <a:pt x="114" y="323"/>
                  </a:lnTo>
                  <a:lnTo>
                    <a:pt x="114" y="322"/>
                  </a:lnTo>
                  <a:lnTo>
                    <a:pt x="113" y="322"/>
                  </a:lnTo>
                  <a:lnTo>
                    <a:pt x="113" y="320"/>
                  </a:lnTo>
                  <a:lnTo>
                    <a:pt x="113" y="319"/>
                  </a:lnTo>
                  <a:lnTo>
                    <a:pt x="113" y="317"/>
                  </a:lnTo>
                  <a:lnTo>
                    <a:pt x="113" y="317"/>
                  </a:lnTo>
                  <a:lnTo>
                    <a:pt x="111" y="314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4" y="313"/>
                  </a:lnTo>
                  <a:lnTo>
                    <a:pt x="116" y="311"/>
                  </a:lnTo>
                  <a:lnTo>
                    <a:pt x="117" y="310"/>
                  </a:lnTo>
                  <a:lnTo>
                    <a:pt x="117" y="308"/>
                  </a:lnTo>
                  <a:lnTo>
                    <a:pt x="117" y="306"/>
                  </a:lnTo>
                  <a:lnTo>
                    <a:pt x="113" y="305"/>
                  </a:lnTo>
                  <a:lnTo>
                    <a:pt x="111" y="305"/>
                  </a:lnTo>
                  <a:lnTo>
                    <a:pt x="111" y="305"/>
                  </a:lnTo>
                  <a:lnTo>
                    <a:pt x="107" y="306"/>
                  </a:lnTo>
                  <a:lnTo>
                    <a:pt x="107" y="306"/>
                  </a:lnTo>
                  <a:lnTo>
                    <a:pt x="105" y="305"/>
                  </a:lnTo>
                  <a:lnTo>
                    <a:pt x="107" y="303"/>
                  </a:lnTo>
                  <a:lnTo>
                    <a:pt x="108" y="303"/>
                  </a:lnTo>
                  <a:lnTo>
                    <a:pt x="110" y="302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4" y="302"/>
                  </a:lnTo>
                  <a:lnTo>
                    <a:pt x="116" y="300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7"/>
                  </a:lnTo>
                  <a:lnTo>
                    <a:pt x="121" y="296"/>
                  </a:lnTo>
                  <a:lnTo>
                    <a:pt x="121" y="296"/>
                  </a:lnTo>
                  <a:lnTo>
                    <a:pt x="124" y="294"/>
                  </a:lnTo>
                  <a:lnTo>
                    <a:pt x="124" y="294"/>
                  </a:lnTo>
                  <a:lnTo>
                    <a:pt x="127" y="291"/>
                  </a:lnTo>
                  <a:lnTo>
                    <a:pt x="130" y="288"/>
                  </a:lnTo>
                  <a:lnTo>
                    <a:pt x="131" y="286"/>
                  </a:lnTo>
                  <a:lnTo>
                    <a:pt x="124" y="286"/>
                  </a:lnTo>
                  <a:lnTo>
                    <a:pt x="122" y="286"/>
                  </a:lnTo>
                  <a:lnTo>
                    <a:pt x="122" y="285"/>
                  </a:lnTo>
                  <a:lnTo>
                    <a:pt x="121" y="285"/>
                  </a:lnTo>
                  <a:lnTo>
                    <a:pt x="121" y="282"/>
                  </a:lnTo>
                  <a:lnTo>
                    <a:pt x="116" y="279"/>
                  </a:lnTo>
                  <a:lnTo>
                    <a:pt x="116" y="279"/>
                  </a:lnTo>
                  <a:lnTo>
                    <a:pt x="110" y="277"/>
                  </a:lnTo>
                  <a:lnTo>
                    <a:pt x="108" y="277"/>
                  </a:lnTo>
                  <a:lnTo>
                    <a:pt x="108" y="277"/>
                  </a:lnTo>
                  <a:lnTo>
                    <a:pt x="108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1" y="276"/>
                  </a:lnTo>
                  <a:lnTo>
                    <a:pt x="119" y="276"/>
                  </a:lnTo>
                  <a:lnTo>
                    <a:pt x="119" y="277"/>
                  </a:lnTo>
                  <a:lnTo>
                    <a:pt x="122" y="279"/>
                  </a:lnTo>
                  <a:lnTo>
                    <a:pt x="127" y="280"/>
                  </a:lnTo>
                  <a:lnTo>
                    <a:pt x="128" y="280"/>
                  </a:lnTo>
                  <a:lnTo>
                    <a:pt x="133" y="279"/>
                  </a:lnTo>
                  <a:lnTo>
                    <a:pt x="141" y="276"/>
                  </a:lnTo>
                  <a:lnTo>
                    <a:pt x="142" y="277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2" y="274"/>
                  </a:lnTo>
                  <a:lnTo>
                    <a:pt x="144" y="273"/>
                  </a:lnTo>
                  <a:lnTo>
                    <a:pt x="147" y="271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4" y="270"/>
                  </a:lnTo>
                  <a:lnTo>
                    <a:pt x="144" y="268"/>
                  </a:lnTo>
                  <a:lnTo>
                    <a:pt x="144" y="266"/>
                  </a:lnTo>
                  <a:lnTo>
                    <a:pt x="145" y="263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34" y="259"/>
                  </a:lnTo>
                  <a:lnTo>
                    <a:pt x="133" y="257"/>
                  </a:lnTo>
                  <a:lnTo>
                    <a:pt x="134" y="257"/>
                  </a:lnTo>
                  <a:lnTo>
                    <a:pt x="138" y="257"/>
                  </a:lnTo>
                  <a:lnTo>
                    <a:pt x="141" y="256"/>
                  </a:lnTo>
                  <a:lnTo>
                    <a:pt x="141" y="256"/>
                  </a:lnTo>
                  <a:lnTo>
                    <a:pt x="141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50" y="253"/>
                  </a:lnTo>
                  <a:lnTo>
                    <a:pt x="151" y="254"/>
                  </a:lnTo>
                  <a:lnTo>
                    <a:pt x="151" y="254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3" y="257"/>
                  </a:lnTo>
                  <a:lnTo>
                    <a:pt x="153" y="259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6" y="260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8" y="257"/>
                  </a:lnTo>
                  <a:lnTo>
                    <a:pt x="156" y="256"/>
                  </a:lnTo>
                  <a:lnTo>
                    <a:pt x="156" y="254"/>
                  </a:lnTo>
                  <a:lnTo>
                    <a:pt x="156" y="254"/>
                  </a:lnTo>
                  <a:lnTo>
                    <a:pt x="156" y="254"/>
                  </a:lnTo>
                  <a:lnTo>
                    <a:pt x="158" y="253"/>
                  </a:lnTo>
                  <a:lnTo>
                    <a:pt x="158" y="253"/>
                  </a:lnTo>
                  <a:lnTo>
                    <a:pt x="158" y="253"/>
                  </a:lnTo>
                  <a:lnTo>
                    <a:pt x="159" y="251"/>
                  </a:lnTo>
                  <a:lnTo>
                    <a:pt x="161" y="250"/>
                  </a:lnTo>
                  <a:lnTo>
                    <a:pt x="161" y="248"/>
                  </a:lnTo>
                  <a:lnTo>
                    <a:pt x="161" y="246"/>
                  </a:lnTo>
                  <a:lnTo>
                    <a:pt x="161" y="245"/>
                  </a:lnTo>
                  <a:lnTo>
                    <a:pt x="161" y="242"/>
                  </a:lnTo>
                  <a:lnTo>
                    <a:pt x="161" y="239"/>
                  </a:lnTo>
                  <a:lnTo>
                    <a:pt x="162" y="236"/>
                  </a:lnTo>
                  <a:lnTo>
                    <a:pt x="162" y="234"/>
                  </a:lnTo>
                  <a:lnTo>
                    <a:pt x="161" y="234"/>
                  </a:lnTo>
                  <a:lnTo>
                    <a:pt x="159" y="236"/>
                  </a:lnTo>
                  <a:lnTo>
                    <a:pt x="161" y="233"/>
                  </a:lnTo>
                  <a:lnTo>
                    <a:pt x="162" y="231"/>
                  </a:lnTo>
                  <a:lnTo>
                    <a:pt x="162" y="228"/>
                  </a:lnTo>
                  <a:lnTo>
                    <a:pt x="162" y="225"/>
                  </a:lnTo>
                  <a:lnTo>
                    <a:pt x="161" y="222"/>
                  </a:lnTo>
                  <a:lnTo>
                    <a:pt x="159" y="220"/>
                  </a:lnTo>
                  <a:lnTo>
                    <a:pt x="159" y="219"/>
                  </a:lnTo>
                  <a:lnTo>
                    <a:pt x="159" y="214"/>
                  </a:lnTo>
                  <a:lnTo>
                    <a:pt x="161" y="213"/>
                  </a:lnTo>
                  <a:lnTo>
                    <a:pt x="165" y="209"/>
                  </a:lnTo>
                  <a:lnTo>
                    <a:pt x="167" y="206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1" y="202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73" y="199"/>
                  </a:lnTo>
                  <a:lnTo>
                    <a:pt x="174" y="197"/>
                  </a:lnTo>
                  <a:lnTo>
                    <a:pt x="176" y="199"/>
                  </a:lnTo>
                  <a:lnTo>
                    <a:pt x="176" y="199"/>
                  </a:lnTo>
                  <a:lnTo>
                    <a:pt x="178" y="200"/>
                  </a:lnTo>
                  <a:lnTo>
                    <a:pt x="179" y="200"/>
                  </a:lnTo>
                  <a:lnTo>
                    <a:pt x="179" y="200"/>
                  </a:lnTo>
                  <a:lnTo>
                    <a:pt x="178" y="205"/>
                  </a:lnTo>
                  <a:lnTo>
                    <a:pt x="178" y="206"/>
                  </a:lnTo>
                  <a:lnTo>
                    <a:pt x="179" y="209"/>
                  </a:lnTo>
                  <a:lnTo>
                    <a:pt x="178" y="211"/>
                  </a:lnTo>
                  <a:lnTo>
                    <a:pt x="176" y="209"/>
                  </a:lnTo>
                  <a:lnTo>
                    <a:pt x="174" y="209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0" y="211"/>
                  </a:lnTo>
                  <a:lnTo>
                    <a:pt x="168" y="211"/>
                  </a:lnTo>
                  <a:lnTo>
                    <a:pt x="170" y="213"/>
                  </a:lnTo>
                  <a:lnTo>
                    <a:pt x="171" y="214"/>
                  </a:lnTo>
                  <a:lnTo>
                    <a:pt x="173" y="216"/>
                  </a:lnTo>
                  <a:lnTo>
                    <a:pt x="174" y="216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1" y="217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9" y="219"/>
                  </a:lnTo>
                  <a:lnTo>
                    <a:pt x="179" y="220"/>
                  </a:lnTo>
                  <a:lnTo>
                    <a:pt x="181" y="223"/>
                  </a:lnTo>
                  <a:lnTo>
                    <a:pt x="181" y="223"/>
                  </a:lnTo>
                  <a:lnTo>
                    <a:pt x="182" y="225"/>
                  </a:lnTo>
                  <a:lnTo>
                    <a:pt x="182" y="225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0"/>
                  </a:lnTo>
                  <a:lnTo>
                    <a:pt x="184" y="217"/>
                  </a:lnTo>
                  <a:lnTo>
                    <a:pt x="184" y="214"/>
                  </a:lnTo>
                  <a:lnTo>
                    <a:pt x="185" y="211"/>
                  </a:lnTo>
                  <a:lnTo>
                    <a:pt x="187" y="208"/>
                  </a:lnTo>
                  <a:lnTo>
                    <a:pt x="188" y="206"/>
                  </a:lnTo>
                  <a:lnTo>
                    <a:pt x="191" y="206"/>
                  </a:lnTo>
                  <a:lnTo>
                    <a:pt x="191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9"/>
                  </a:lnTo>
                  <a:lnTo>
                    <a:pt x="193" y="211"/>
                  </a:lnTo>
                  <a:lnTo>
                    <a:pt x="193" y="213"/>
                  </a:lnTo>
                  <a:lnTo>
                    <a:pt x="190" y="213"/>
                  </a:lnTo>
                  <a:lnTo>
                    <a:pt x="191" y="216"/>
                  </a:lnTo>
                  <a:lnTo>
                    <a:pt x="194" y="217"/>
                  </a:lnTo>
                  <a:lnTo>
                    <a:pt x="198" y="217"/>
                  </a:lnTo>
                  <a:lnTo>
                    <a:pt x="198" y="213"/>
                  </a:lnTo>
                  <a:lnTo>
                    <a:pt x="198" y="209"/>
                  </a:lnTo>
                  <a:lnTo>
                    <a:pt x="198" y="206"/>
                  </a:lnTo>
                  <a:lnTo>
                    <a:pt x="199" y="205"/>
                  </a:lnTo>
                  <a:lnTo>
                    <a:pt x="204" y="203"/>
                  </a:lnTo>
                  <a:lnTo>
                    <a:pt x="210" y="193"/>
                  </a:lnTo>
                  <a:lnTo>
                    <a:pt x="211" y="189"/>
                  </a:lnTo>
                  <a:lnTo>
                    <a:pt x="211" y="186"/>
                  </a:lnTo>
                  <a:lnTo>
                    <a:pt x="211" y="183"/>
                  </a:lnTo>
                  <a:lnTo>
                    <a:pt x="211" y="180"/>
                  </a:lnTo>
                  <a:lnTo>
                    <a:pt x="215" y="179"/>
                  </a:lnTo>
                  <a:lnTo>
                    <a:pt x="215" y="177"/>
                  </a:lnTo>
                  <a:lnTo>
                    <a:pt x="210" y="173"/>
                  </a:lnTo>
                  <a:lnTo>
                    <a:pt x="207" y="169"/>
                  </a:lnTo>
                  <a:lnTo>
                    <a:pt x="205" y="168"/>
                  </a:lnTo>
                  <a:lnTo>
                    <a:pt x="204" y="166"/>
                  </a:lnTo>
                  <a:lnTo>
                    <a:pt x="201" y="166"/>
                  </a:lnTo>
                  <a:lnTo>
                    <a:pt x="184" y="169"/>
                  </a:lnTo>
                  <a:lnTo>
                    <a:pt x="178" y="168"/>
                  </a:lnTo>
                  <a:lnTo>
                    <a:pt x="171" y="165"/>
                  </a:lnTo>
                  <a:lnTo>
                    <a:pt x="170" y="163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8" y="159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5" y="157"/>
                  </a:lnTo>
                  <a:lnTo>
                    <a:pt x="162" y="162"/>
                  </a:lnTo>
                  <a:lnTo>
                    <a:pt x="159" y="163"/>
                  </a:lnTo>
                  <a:lnTo>
                    <a:pt x="159" y="165"/>
                  </a:lnTo>
                  <a:lnTo>
                    <a:pt x="159" y="169"/>
                  </a:lnTo>
                  <a:lnTo>
                    <a:pt x="159" y="174"/>
                  </a:lnTo>
                  <a:lnTo>
                    <a:pt x="158" y="174"/>
                  </a:lnTo>
                  <a:lnTo>
                    <a:pt x="156" y="176"/>
                  </a:lnTo>
                  <a:lnTo>
                    <a:pt x="156" y="174"/>
                  </a:lnTo>
                  <a:lnTo>
                    <a:pt x="158" y="173"/>
                  </a:lnTo>
                  <a:lnTo>
                    <a:pt x="158" y="169"/>
                  </a:lnTo>
                  <a:lnTo>
                    <a:pt x="158" y="168"/>
                  </a:lnTo>
                  <a:lnTo>
                    <a:pt x="158" y="168"/>
                  </a:lnTo>
                  <a:lnTo>
                    <a:pt x="158" y="163"/>
                  </a:lnTo>
                  <a:lnTo>
                    <a:pt x="159" y="163"/>
                  </a:lnTo>
                  <a:lnTo>
                    <a:pt x="162" y="159"/>
                  </a:lnTo>
                  <a:lnTo>
                    <a:pt x="167" y="154"/>
                  </a:lnTo>
                  <a:lnTo>
                    <a:pt x="168" y="151"/>
                  </a:lnTo>
                  <a:lnTo>
                    <a:pt x="168" y="146"/>
                  </a:lnTo>
                  <a:lnTo>
                    <a:pt x="167" y="143"/>
                  </a:lnTo>
                  <a:lnTo>
                    <a:pt x="165" y="143"/>
                  </a:lnTo>
                  <a:lnTo>
                    <a:pt x="164" y="145"/>
                  </a:lnTo>
                  <a:lnTo>
                    <a:pt x="161" y="145"/>
                  </a:lnTo>
                  <a:lnTo>
                    <a:pt x="156" y="145"/>
                  </a:lnTo>
                  <a:lnTo>
                    <a:pt x="154" y="145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3" y="142"/>
                  </a:lnTo>
                  <a:lnTo>
                    <a:pt x="151" y="142"/>
                  </a:lnTo>
                  <a:lnTo>
                    <a:pt x="151" y="143"/>
                  </a:lnTo>
                  <a:lnTo>
                    <a:pt x="151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2" y="149"/>
                  </a:lnTo>
                  <a:lnTo>
                    <a:pt x="131" y="152"/>
                  </a:lnTo>
                  <a:lnTo>
                    <a:pt x="128" y="152"/>
                  </a:lnTo>
                  <a:lnTo>
                    <a:pt x="128" y="151"/>
                  </a:lnTo>
                  <a:lnTo>
                    <a:pt x="138" y="149"/>
                  </a:lnTo>
                  <a:lnTo>
                    <a:pt x="142" y="146"/>
                  </a:lnTo>
                  <a:lnTo>
                    <a:pt x="144" y="146"/>
                  </a:lnTo>
                  <a:lnTo>
                    <a:pt x="147" y="145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50" y="143"/>
                  </a:lnTo>
                  <a:lnTo>
                    <a:pt x="151" y="142"/>
                  </a:lnTo>
                  <a:lnTo>
                    <a:pt x="153" y="140"/>
                  </a:lnTo>
                  <a:lnTo>
                    <a:pt x="154" y="142"/>
                  </a:lnTo>
                  <a:lnTo>
                    <a:pt x="156" y="142"/>
                  </a:lnTo>
                  <a:lnTo>
                    <a:pt x="158" y="143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5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7" y="140"/>
                  </a:lnTo>
                  <a:lnTo>
                    <a:pt x="167" y="140"/>
                  </a:lnTo>
                  <a:lnTo>
                    <a:pt x="165" y="139"/>
                  </a:lnTo>
                  <a:lnTo>
                    <a:pt x="164" y="132"/>
                  </a:lnTo>
                  <a:lnTo>
                    <a:pt x="164" y="131"/>
                  </a:lnTo>
                  <a:lnTo>
                    <a:pt x="164" y="125"/>
                  </a:lnTo>
                  <a:lnTo>
                    <a:pt x="162" y="117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1"/>
                  </a:lnTo>
                  <a:lnTo>
                    <a:pt x="162" y="109"/>
                  </a:lnTo>
                  <a:lnTo>
                    <a:pt x="164" y="108"/>
                  </a:lnTo>
                  <a:lnTo>
                    <a:pt x="165" y="105"/>
                  </a:lnTo>
                  <a:lnTo>
                    <a:pt x="164" y="105"/>
                  </a:lnTo>
                  <a:lnTo>
                    <a:pt x="158" y="105"/>
                  </a:lnTo>
                  <a:lnTo>
                    <a:pt x="156" y="103"/>
                  </a:lnTo>
                  <a:lnTo>
                    <a:pt x="153" y="102"/>
                  </a:lnTo>
                  <a:lnTo>
                    <a:pt x="151" y="100"/>
                  </a:lnTo>
                  <a:lnTo>
                    <a:pt x="144" y="92"/>
                  </a:lnTo>
                  <a:lnTo>
                    <a:pt x="142" y="91"/>
                  </a:lnTo>
                  <a:lnTo>
                    <a:pt x="141" y="92"/>
                  </a:lnTo>
                  <a:lnTo>
                    <a:pt x="139" y="92"/>
                  </a:lnTo>
                  <a:lnTo>
                    <a:pt x="138" y="96"/>
                  </a:lnTo>
                  <a:lnTo>
                    <a:pt x="136" y="96"/>
                  </a:lnTo>
                  <a:lnTo>
                    <a:pt x="138" y="94"/>
                  </a:lnTo>
                  <a:lnTo>
                    <a:pt x="141" y="91"/>
                  </a:lnTo>
                  <a:lnTo>
                    <a:pt x="142" y="91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50" y="96"/>
                  </a:lnTo>
                  <a:lnTo>
                    <a:pt x="154" y="100"/>
                  </a:lnTo>
                  <a:lnTo>
                    <a:pt x="161" y="105"/>
                  </a:lnTo>
                  <a:lnTo>
                    <a:pt x="161" y="103"/>
                  </a:lnTo>
                  <a:lnTo>
                    <a:pt x="162" y="103"/>
                  </a:lnTo>
                  <a:lnTo>
                    <a:pt x="165" y="103"/>
                  </a:lnTo>
                  <a:lnTo>
                    <a:pt x="167" y="103"/>
                  </a:lnTo>
                  <a:lnTo>
                    <a:pt x="167" y="103"/>
                  </a:lnTo>
                  <a:lnTo>
                    <a:pt x="168" y="102"/>
                  </a:lnTo>
                  <a:lnTo>
                    <a:pt x="168" y="100"/>
                  </a:lnTo>
                  <a:lnTo>
                    <a:pt x="171" y="92"/>
                  </a:lnTo>
                  <a:lnTo>
                    <a:pt x="171" y="86"/>
                  </a:lnTo>
                  <a:lnTo>
                    <a:pt x="173" y="83"/>
                  </a:lnTo>
                  <a:lnTo>
                    <a:pt x="176" y="77"/>
                  </a:lnTo>
                  <a:lnTo>
                    <a:pt x="178" y="76"/>
                  </a:lnTo>
                  <a:lnTo>
                    <a:pt x="181" y="72"/>
                  </a:lnTo>
                  <a:lnTo>
                    <a:pt x="182" y="71"/>
                  </a:lnTo>
                  <a:lnTo>
                    <a:pt x="181" y="57"/>
                  </a:lnTo>
                  <a:lnTo>
                    <a:pt x="181" y="49"/>
                  </a:lnTo>
                  <a:lnTo>
                    <a:pt x="182" y="43"/>
                  </a:lnTo>
                  <a:lnTo>
                    <a:pt x="181" y="37"/>
                  </a:lnTo>
                  <a:lnTo>
                    <a:pt x="176" y="31"/>
                  </a:lnTo>
                  <a:lnTo>
                    <a:pt x="174" y="25"/>
                  </a:lnTo>
                  <a:lnTo>
                    <a:pt x="176" y="17"/>
                  </a:lnTo>
                  <a:lnTo>
                    <a:pt x="182" y="6"/>
                  </a:lnTo>
                  <a:lnTo>
                    <a:pt x="187" y="3"/>
                  </a:lnTo>
                  <a:lnTo>
                    <a:pt x="190" y="2"/>
                  </a:lnTo>
                  <a:lnTo>
                    <a:pt x="188" y="0"/>
                  </a:lnTo>
                  <a:lnTo>
                    <a:pt x="187" y="0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78" y="5"/>
                  </a:lnTo>
                  <a:lnTo>
                    <a:pt x="168" y="14"/>
                  </a:lnTo>
                  <a:lnTo>
                    <a:pt x="162" y="17"/>
                  </a:lnTo>
                  <a:lnTo>
                    <a:pt x="158" y="20"/>
                  </a:lnTo>
                  <a:lnTo>
                    <a:pt x="150" y="22"/>
                  </a:lnTo>
                  <a:lnTo>
                    <a:pt x="144" y="22"/>
                  </a:lnTo>
                  <a:lnTo>
                    <a:pt x="139" y="22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4" y="29"/>
                  </a:lnTo>
                  <a:lnTo>
                    <a:pt x="130" y="35"/>
                  </a:lnTo>
                  <a:lnTo>
                    <a:pt x="127" y="40"/>
                  </a:lnTo>
                  <a:lnTo>
                    <a:pt x="110" y="69"/>
                  </a:lnTo>
                  <a:lnTo>
                    <a:pt x="105" y="76"/>
                  </a:lnTo>
                  <a:lnTo>
                    <a:pt x="99" y="80"/>
                  </a:lnTo>
                  <a:lnTo>
                    <a:pt x="91" y="83"/>
                  </a:lnTo>
                  <a:lnTo>
                    <a:pt x="85" y="83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6"/>
                  </a:lnTo>
                  <a:lnTo>
                    <a:pt x="59" y="88"/>
                  </a:lnTo>
                  <a:lnTo>
                    <a:pt x="51" y="89"/>
                  </a:lnTo>
                  <a:lnTo>
                    <a:pt x="48" y="88"/>
                  </a:lnTo>
                  <a:lnTo>
                    <a:pt x="42" y="86"/>
                  </a:lnTo>
                  <a:lnTo>
                    <a:pt x="39" y="86"/>
                  </a:lnTo>
                  <a:lnTo>
                    <a:pt x="37" y="88"/>
                  </a:lnTo>
                  <a:lnTo>
                    <a:pt x="31" y="99"/>
                  </a:lnTo>
                  <a:lnTo>
                    <a:pt x="27" y="103"/>
                  </a:lnTo>
                  <a:lnTo>
                    <a:pt x="13" y="125"/>
                  </a:lnTo>
                  <a:lnTo>
                    <a:pt x="11" y="128"/>
                  </a:lnTo>
                  <a:lnTo>
                    <a:pt x="11" y="134"/>
                  </a:lnTo>
                  <a:lnTo>
                    <a:pt x="11" y="140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1" y="134"/>
                  </a:lnTo>
                  <a:lnTo>
                    <a:pt x="13" y="134"/>
                  </a:lnTo>
                  <a:lnTo>
                    <a:pt x="14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7" y="140"/>
                  </a:lnTo>
                  <a:lnTo>
                    <a:pt x="17" y="143"/>
                  </a:lnTo>
                  <a:lnTo>
                    <a:pt x="19" y="145"/>
                  </a:lnTo>
                  <a:lnTo>
                    <a:pt x="20" y="146"/>
                  </a:lnTo>
                  <a:lnTo>
                    <a:pt x="22" y="148"/>
                  </a:lnTo>
                  <a:lnTo>
                    <a:pt x="24" y="148"/>
                  </a:lnTo>
                  <a:lnTo>
                    <a:pt x="27" y="149"/>
                  </a:lnTo>
                  <a:lnTo>
                    <a:pt x="28" y="151"/>
                  </a:lnTo>
                  <a:lnTo>
                    <a:pt x="28" y="152"/>
                  </a:lnTo>
                  <a:lnTo>
                    <a:pt x="30" y="154"/>
                  </a:lnTo>
                  <a:lnTo>
                    <a:pt x="31" y="157"/>
                  </a:lnTo>
                  <a:lnTo>
                    <a:pt x="33" y="159"/>
                  </a:lnTo>
                  <a:lnTo>
                    <a:pt x="34" y="159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6" y="157"/>
                  </a:lnTo>
                  <a:lnTo>
                    <a:pt x="36" y="156"/>
                  </a:lnTo>
                  <a:lnTo>
                    <a:pt x="37" y="156"/>
                  </a:lnTo>
                  <a:lnTo>
                    <a:pt x="39" y="152"/>
                  </a:lnTo>
                  <a:lnTo>
                    <a:pt x="37" y="152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37" y="146"/>
                  </a:lnTo>
                  <a:lnTo>
                    <a:pt x="37" y="145"/>
                  </a:lnTo>
                  <a:lnTo>
                    <a:pt x="36" y="145"/>
                  </a:lnTo>
                  <a:lnTo>
                    <a:pt x="31" y="148"/>
                  </a:lnTo>
                  <a:lnTo>
                    <a:pt x="30" y="146"/>
                  </a:lnTo>
                  <a:lnTo>
                    <a:pt x="28" y="146"/>
                  </a:lnTo>
                  <a:lnTo>
                    <a:pt x="27" y="145"/>
                  </a:lnTo>
                  <a:lnTo>
                    <a:pt x="24" y="146"/>
                  </a:lnTo>
                  <a:lnTo>
                    <a:pt x="24" y="145"/>
                  </a:lnTo>
                  <a:lnTo>
                    <a:pt x="25" y="145"/>
                  </a:lnTo>
                  <a:lnTo>
                    <a:pt x="27" y="143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30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3" y="145"/>
                  </a:lnTo>
                  <a:lnTo>
                    <a:pt x="33" y="143"/>
                  </a:lnTo>
                  <a:lnTo>
                    <a:pt x="33" y="142"/>
                  </a:lnTo>
                  <a:lnTo>
                    <a:pt x="31" y="142"/>
                  </a:lnTo>
                  <a:lnTo>
                    <a:pt x="28" y="142"/>
                  </a:lnTo>
                  <a:lnTo>
                    <a:pt x="28" y="140"/>
                  </a:lnTo>
                  <a:lnTo>
                    <a:pt x="30" y="140"/>
                  </a:lnTo>
                  <a:lnTo>
                    <a:pt x="30" y="137"/>
                  </a:lnTo>
                  <a:lnTo>
                    <a:pt x="30" y="132"/>
                  </a:lnTo>
                  <a:lnTo>
                    <a:pt x="30" y="131"/>
                  </a:lnTo>
                  <a:lnTo>
                    <a:pt x="31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28"/>
                  </a:lnTo>
                  <a:lnTo>
                    <a:pt x="34" y="128"/>
                  </a:lnTo>
                  <a:lnTo>
                    <a:pt x="36" y="128"/>
                  </a:lnTo>
                  <a:lnTo>
                    <a:pt x="37" y="125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17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2" y="112"/>
                  </a:lnTo>
                  <a:lnTo>
                    <a:pt x="44" y="111"/>
                  </a:lnTo>
                  <a:lnTo>
                    <a:pt x="44" y="109"/>
                  </a:lnTo>
                  <a:lnTo>
                    <a:pt x="45" y="109"/>
                  </a:lnTo>
                  <a:lnTo>
                    <a:pt x="47" y="108"/>
                  </a:lnTo>
                  <a:lnTo>
                    <a:pt x="50" y="109"/>
                  </a:lnTo>
                  <a:lnTo>
                    <a:pt x="54" y="108"/>
                  </a:lnTo>
                  <a:lnTo>
                    <a:pt x="56" y="105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9" y="102"/>
                  </a:lnTo>
                  <a:lnTo>
                    <a:pt x="59" y="103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2" y="103"/>
                  </a:lnTo>
                  <a:lnTo>
                    <a:pt x="64" y="102"/>
                  </a:lnTo>
                  <a:lnTo>
                    <a:pt x="65" y="102"/>
                  </a:lnTo>
                  <a:lnTo>
                    <a:pt x="67" y="100"/>
                  </a:lnTo>
                  <a:lnTo>
                    <a:pt x="67" y="99"/>
                  </a:lnTo>
                  <a:lnTo>
                    <a:pt x="68" y="99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1" y="100"/>
                  </a:lnTo>
                  <a:lnTo>
                    <a:pt x="71" y="100"/>
                  </a:lnTo>
                  <a:lnTo>
                    <a:pt x="74" y="99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6"/>
                  </a:lnTo>
                  <a:lnTo>
                    <a:pt x="85" y="102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105" y="97"/>
                  </a:lnTo>
                  <a:lnTo>
                    <a:pt x="111" y="97"/>
                  </a:lnTo>
                  <a:lnTo>
                    <a:pt x="114" y="96"/>
                  </a:lnTo>
                  <a:lnTo>
                    <a:pt x="116" y="92"/>
                  </a:lnTo>
                  <a:lnTo>
                    <a:pt x="117" y="92"/>
                  </a:lnTo>
                  <a:lnTo>
                    <a:pt x="119" y="94"/>
                  </a:lnTo>
                  <a:lnTo>
                    <a:pt x="121" y="94"/>
                  </a:lnTo>
                  <a:lnTo>
                    <a:pt x="122" y="94"/>
                  </a:lnTo>
                  <a:lnTo>
                    <a:pt x="124" y="92"/>
                  </a:lnTo>
                  <a:lnTo>
                    <a:pt x="127" y="89"/>
                  </a:lnTo>
                  <a:lnTo>
                    <a:pt x="127" y="88"/>
                  </a:lnTo>
                  <a:lnTo>
                    <a:pt x="128" y="89"/>
                  </a:lnTo>
                  <a:lnTo>
                    <a:pt x="130" y="89"/>
                  </a:lnTo>
                  <a:lnTo>
                    <a:pt x="131" y="91"/>
                  </a:lnTo>
                  <a:lnTo>
                    <a:pt x="136" y="96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2" y="97"/>
                  </a:lnTo>
                  <a:lnTo>
                    <a:pt x="119" y="97"/>
                  </a:lnTo>
                  <a:lnTo>
                    <a:pt x="117" y="100"/>
                  </a:lnTo>
                  <a:lnTo>
                    <a:pt x="116" y="102"/>
                  </a:lnTo>
                  <a:lnTo>
                    <a:pt x="114" y="106"/>
                  </a:lnTo>
                  <a:lnTo>
                    <a:pt x="113" y="108"/>
                  </a:lnTo>
                  <a:lnTo>
                    <a:pt x="111" y="108"/>
                  </a:lnTo>
                  <a:lnTo>
                    <a:pt x="111" y="106"/>
                  </a:lnTo>
                  <a:lnTo>
                    <a:pt x="110" y="106"/>
                  </a:lnTo>
                  <a:lnTo>
                    <a:pt x="110" y="105"/>
                  </a:lnTo>
                  <a:lnTo>
                    <a:pt x="111" y="105"/>
                  </a:lnTo>
                  <a:lnTo>
                    <a:pt x="111" y="103"/>
                  </a:lnTo>
                  <a:lnTo>
                    <a:pt x="102" y="100"/>
                  </a:lnTo>
                  <a:lnTo>
                    <a:pt x="101" y="100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7" y="106"/>
                  </a:lnTo>
                  <a:lnTo>
                    <a:pt x="87" y="106"/>
                  </a:lnTo>
                  <a:lnTo>
                    <a:pt x="84" y="109"/>
                  </a:lnTo>
                  <a:lnTo>
                    <a:pt x="82" y="111"/>
                  </a:lnTo>
                  <a:lnTo>
                    <a:pt x="81" y="114"/>
                  </a:lnTo>
                  <a:lnTo>
                    <a:pt x="81" y="117"/>
                  </a:lnTo>
                  <a:lnTo>
                    <a:pt x="81" y="119"/>
                  </a:lnTo>
                  <a:lnTo>
                    <a:pt x="82" y="119"/>
                  </a:lnTo>
                  <a:lnTo>
                    <a:pt x="82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4" y="125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82" y="132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4" y="136"/>
                  </a:lnTo>
                  <a:lnTo>
                    <a:pt x="84" y="136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1" y="143"/>
                  </a:lnTo>
                  <a:lnTo>
                    <a:pt x="81" y="145"/>
                  </a:lnTo>
                  <a:lnTo>
                    <a:pt x="81" y="146"/>
                  </a:lnTo>
                  <a:lnTo>
                    <a:pt x="82" y="146"/>
                  </a:lnTo>
                  <a:lnTo>
                    <a:pt x="84" y="146"/>
                  </a:lnTo>
                  <a:lnTo>
                    <a:pt x="85" y="145"/>
                  </a:lnTo>
                  <a:lnTo>
                    <a:pt x="88" y="143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90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52"/>
                  </a:lnTo>
                  <a:lnTo>
                    <a:pt x="90" y="156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3"/>
                  </a:lnTo>
                  <a:lnTo>
                    <a:pt x="90" y="163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91" y="162"/>
                  </a:lnTo>
                  <a:lnTo>
                    <a:pt x="94" y="162"/>
                  </a:lnTo>
                  <a:lnTo>
                    <a:pt x="96" y="162"/>
                  </a:lnTo>
                  <a:lnTo>
                    <a:pt x="96" y="163"/>
                  </a:lnTo>
                  <a:lnTo>
                    <a:pt x="94" y="165"/>
                  </a:lnTo>
                  <a:lnTo>
                    <a:pt x="93" y="163"/>
                  </a:lnTo>
                  <a:lnTo>
                    <a:pt x="93" y="165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5"/>
                  </a:lnTo>
                  <a:lnTo>
                    <a:pt x="90" y="165"/>
                  </a:lnTo>
                  <a:lnTo>
                    <a:pt x="88" y="163"/>
                  </a:lnTo>
                  <a:lnTo>
                    <a:pt x="88" y="163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7" y="159"/>
                  </a:lnTo>
                  <a:lnTo>
                    <a:pt x="88" y="156"/>
                  </a:lnTo>
                  <a:lnTo>
                    <a:pt x="88" y="154"/>
                  </a:lnTo>
                  <a:lnTo>
                    <a:pt x="88" y="152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81" y="152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79" y="151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7" y="154"/>
                  </a:lnTo>
                  <a:lnTo>
                    <a:pt x="79" y="154"/>
                  </a:lnTo>
                  <a:lnTo>
                    <a:pt x="79" y="156"/>
                  </a:lnTo>
                  <a:lnTo>
                    <a:pt x="77" y="156"/>
                  </a:lnTo>
                  <a:lnTo>
                    <a:pt x="77" y="156"/>
                  </a:lnTo>
                  <a:lnTo>
                    <a:pt x="76" y="156"/>
                  </a:lnTo>
                  <a:lnTo>
                    <a:pt x="74" y="160"/>
                  </a:lnTo>
                  <a:lnTo>
                    <a:pt x="73" y="162"/>
                  </a:lnTo>
                  <a:lnTo>
                    <a:pt x="73" y="162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4" y="151"/>
                  </a:lnTo>
                  <a:lnTo>
                    <a:pt x="74" y="149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6" y="146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1" y="140"/>
                  </a:lnTo>
                  <a:lnTo>
                    <a:pt x="79" y="139"/>
                  </a:lnTo>
                  <a:lnTo>
                    <a:pt x="77" y="137"/>
                  </a:lnTo>
                  <a:lnTo>
                    <a:pt x="76" y="136"/>
                  </a:lnTo>
                  <a:lnTo>
                    <a:pt x="76" y="132"/>
                  </a:lnTo>
                  <a:lnTo>
                    <a:pt x="76" y="131"/>
                  </a:lnTo>
                  <a:lnTo>
                    <a:pt x="74" y="129"/>
                  </a:lnTo>
                  <a:lnTo>
                    <a:pt x="73" y="128"/>
                  </a:lnTo>
                  <a:lnTo>
                    <a:pt x="71" y="128"/>
                  </a:lnTo>
                  <a:lnTo>
                    <a:pt x="70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8" y="131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5" y="129"/>
                  </a:lnTo>
                  <a:lnTo>
                    <a:pt x="61" y="134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6" y="139"/>
                  </a:lnTo>
                  <a:lnTo>
                    <a:pt x="56" y="140"/>
                  </a:lnTo>
                  <a:lnTo>
                    <a:pt x="56" y="142"/>
                  </a:lnTo>
                  <a:lnTo>
                    <a:pt x="61" y="142"/>
                  </a:lnTo>
                  <a:lnTo>
                    <a:pt x="62" y="142"/>
                  </a:lnTo>
                  <a:lnTo>
                    <a:pt x="62" y="143"/>
                  </a:lnTo>
                  <a:lnTo>
                    <a:pt x="57" y="143"/>
                  </a:lnTo>
                  <a:lnTo>
                    <a:pt x="54" y="143"/>
                  </a:lnTo>
                  <a:lnTo>
                    <a:pt x="53" y="145"/>
                  </a:lnTo>
                  <a:lnTo>
                    <a:pt x="48" y="152"/>
                  </a:lnTo>
                  <a:lnTo>
                    <a:pt x="45" y="152"/>
                  </a:lnTo>
                  <a:lnTo>
                    <a:pt x="44" y="154"/>
                  </a:lnTo>
                  <a:lnTo>
                    <a:pt x="44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3"/>
                  </a:lnTo>
                  <a:lnTo>
                    <a:pt x="50" y="163"/>
                  </a:lnTo>
                  <a:lnTo>
                    <a:pt x="50" y="163"/>
                  </a:lnTo>
                  <a:lnTo>
                    <a:pt x="48" y="166"/>
                  </a:lnTo>
                  <a:lnTo>
                    <a:pt x="48" y="168"/>
                  </a:lnTo>
                  <a:lnTo>
                    <a:pt x="48" y="169"/>
                  </a:lnTo>
                  <a:lnTo>
                    <a:pt x="48" y="171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7" y="173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9" y="171"/>
                  </a:lnTo>
                  <a:lnTo>
                    <a:pt x="37" y="171"/>
                  </a:lnTo>
                  <a:lnTo>
                    <a:pt x="37" y="169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6"/>
                  </a:lnTo>
                  <a:lnTo>
                    <a:pt x="36" y="160"/>
                  </a:lnTo>
                  <a:lnTo>
                    <a:pt x="34" y="160"/>
                  </a:lnTo>
                  <a:lnTo>
                    <a:pt x="34" y="162"/>
                  </a:lnTo>
                  <a:lnTo>
                    <a:pt x="33" y="163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2" y="159"/>
                  </a:lnTo>
                  <a:lnTo>
                    <a:pt x="19" y="159"/>
                  </a:lnTo>
                  <a:lnTo>
                    <a:pt x="16" y="160"/>
                  </a:lnTo>
                  <a:lnTo>
                    <a:pt x="16" y="162"/>
                  </a:lnTo>
                  <a:lnTo>
                    <a:pt x="17" y="162"/>
                  </a:lnTo>
                  <a:lnTo>
                    <a:pt x="17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4" y="162"/>
                  </a:lnTo>
                  <a:lnTo>
                    <a:pt x="16" y="160"/>
                  </a:lnTo>
                  <a:lnTo>
                    <a:pt x="14" y="159"/>
                  </a:lnTo>
                  <a:lnTo>
                    <a:pt x="16" y="157"/>
                  </a:lnTo>
                  <a:lnTo>
                    <a:pt x="16" y="157"/>
                  </a:lnTo>
                  <a:lnTo>
                    <a:pt x="13" y="157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1" y="152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1"/>
                  </a:lnTo>
                  <a:lnTo>
                    <a:pt x="8" y="149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42"/>
                  </a:lnTo>
                  <a:lnTo>
                    <a:pt x="8" y="143"/>
                  </a:lnTo>
                  <a:lnTo>
                    <a:pt x="7" y="148"/>
                  </a:lnTo>
                  <a:lnTo>
                    <a:pt x="4" y="159"/>
                  </a:lnTo>
                  <a:lnTo>
                    <a:pt x="2" y="162"/>
                  </a:lnTo>
                  <a:lnTo>
                    <a:pt x="2" y="163"/>
                  </a:lnTo>
                  <a:lnTo>
                    <a:pt x="4" y="211"/>
                  </a:lnTo>
                  <a:lnTo>
                    <a:pt x="4" y="214"/>
                  </a:lnTo>
                  <a:lnTo>
                    <a:pt x="0" y="222"/>
                  </a:lnTo>
                  <a:lnTo>
                    <a:pt x="0" y="225"/>
                  </a:lnTo>
                  <a:lnTo>
                    <a:pt x="2" y="234"/>
                  </a:lnTo>
                  <a:lnTo>
                    <a:pt x="2" y="236"/>
                  </a:lnTo>
                  <a:lnTo>
                    <a:pt x="2" y="237"/>
                  </a:lnTo>
                  <a:lnTo>
                    <a:pt x="2" y="239"/>
                  </a:lnTo>
                  <a:lnTo>
                    <a:pt x="4" y="239"/>
                  </a:lnTo>
                  <a:lnTo>
                    <a:pt x="4" y="237"/>
                  </a:lnTo>
                  <a:lnTo>
                    <a:pt x="4" y="236"/>
                  </a:lnTo>
                  <a:lnTo>
                    <a:pt x="4" y="233"/>
                  </a:lnTo>
                  <a:lnTo>
                    <a:pt x="4" y="229"/>
                  </a:lnTo>
                  <a:lnTo>
                    <a:pt x="4" y="223"/>
                  </a:lnTo>
                  <a:lnTo>
                    <a:pt x="5" y="223"/>
                  </a:lnTo>
                  <a:lnTo>
                    <a:pt x="7" y="223"/>
                  </a:lnTo>
                  <a:lnTo>
                    <a:pt x="11" y="226"/>
                  </a:lnTo>
                  <a:lnTo>
                    <a:pt x="14" y="228"/>
                  </a:lnTo>
                  <a:lnTo>
                    <a:pt x="16" y="231"/>
                  </a:lnTo>
                  <a:lnTo>
                    <a:pt x="17" y="236"/>
                  </a:lnTo>
                  <a:lnTo>
                    <a:pt x="17" y="239"/>
                  </a:lnTo>
                  <a:lnTo>
                    <a:pt x="20" y="243"/>
                  </a:lnTo>
                  <a:lnTo>
                    <a:pt x="20" y="245"/>
                  </a:lnTo>
                  <a:lnTo>
                    <a:pt x="22" y="248"/>
                  </a:lnTo>
                  <a:lnTo>
                    <a:pt x="22" y="250"/>
                  </a:lnTo>
                  <a:lnTo>
                    <a:pt x="22" y="253"/>
                  </a:lnTo>
                  <a:lnTo>
                    <a:pt x="19" y="256"/>
                  </a:lnTo>
                  <a:lnTo>
                    <a:pt x="16" y="257"/>
                  </a:lnTo>
                  <a:lnTo>
                    <a:pt x="14" y="257"/>
                  </a:lnTo>
                  <a:lnTo>
                    <a:pt x="11" y="260"/>
                  </a:lnTo>
                  <a:lnTo>
                    <a:pt x="8" y="262"/>
                  </a:lnTo>
                  <a:lnTo>
                    <a:pt x="7" y="262"/>
                  </a:lnTo>
                  <a:lnTo>
                    <a:pt x="7" y="260"/>
                  </a:lnTo>
                  <a:lnTo>
                    <a:pt x="7" y="259"/>
                  </a:lnTo>
                  <a:lnTo>
                    <a:pt x="8" y="257"/>
                  </a:lnTo>
                  <a:lnTo>
                    <a:pt x="8" y="256"/>
                  </a:lnTo>
                  <a:lnTo>
                    <a:pt x="8" y="254"/>
                  </a:lnTo>
                  <a:lnTo>
                    <a:pt x="7" y="251"/>
                  </a:lnTo>
                  <a:lnTo>
                    <a:pt x="5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39"/>
                  </a:lnTo>
                  <a:lnTo>
                    <a:pt x="4" y="239"/>
                  </a:lnTo>
                  <a:lnTo>
                    <a:pt x="4" y="239"/>
                  </a:lnTo>
                  <a:lnTo>
                    <a:pt x="2" y="239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42"/>
                  </a:lnTo>
                  <a:lnTo>
                    <a:pt x="7" y="268"/>
                  </a:lnTo>
                  <a:lnTo>
                    <a:pt x="7" y="274"/>
                  </a:lnTo>
                  <a:lnTo>
                    <a:pt x="5" y="279"/>
                  </a:lnTo>
                  <a:lnTo>
                    <a:pt x="5" y="283"/>
                  </a:lnTo>
                  <a:lnTo>
                    <a:pt x="0" y="296"/>
                  </a:lnTo>
                  <a:lnTo>
                    <a:pt x="0" y="297"/>
                  </a:lnTo>
                  <a:lnTo>
                    <a:pt x="2" y="299"/>
                  </a:lnTo>
                  <a:lnTo>
                    <a:pt x="5" y="299"/>
                  </a:lnTo>
                  <a:lnTo>
                    <a:pt x="8" y="300"/>
                  </a:lnTo>
                  <a:lnTo>
                    <a:pt x="16" y="308"/>
                  </a:lnTo>
                  <a:lnTo>
                    <a:pt x="17" y="308"/>
                  </a:lnTo>
                  <a:lnTo>
                    <a:pt x="17" y="305"/>
                  </a:lnTo>
                  <a:lnTo>
                    <a:pt x="16" y="303"/>
                  </a:lnTo>
                  <a:lnTo>
                    <a:pt x="13" y="302"/>
                  </a:lnTo>
                  <a:lnTo>
                    <a:pt x="11" y="302"/>
                  </a:lnTo>
                  <a:lnTo>
                    <a:pt x="13" y="300"/>
                  </a:lnTo>
                  <a:lnTo>
                    <a:pt x="13" y="300"/>
                  </a:lnTo>
                  <a:lnTo>
                    <a:pt x="13" y="300"/>
                  </a:lnTo>
                  <a:lnTo>
                    <a:pt x="11" y="297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3" y="293"/>
                  </a:lnTo>
                  <a:lnTo>
                    <a:pt x="14" y="293"/>
                  </a:lnTo>
                  <a:lnTo>
                    <a:pt x="16" y="293"/>
                  </a:lnTo>
                  <a:lnTo>
                    <a:pt x="17" y="293"/>
                  </a:lnTo>
                  <a:lnTo>
                    <a:pt x="17" y="294"/>
                  </a:lnTo>
                  <a:lnTo>
                    <a:pt x="16" y="294"/>
                  </a:lnTo>
                  <a:lnTo>
                    <a:pt x="16" y="296"/>
                  </a:lnTo>
                  <a:lnTo>
                    <a:pt x="24" y="305"/>
                  </a:lnTo>
                  <a:lnTo>
                    <a:pt x="27" y="308"/>
                  </a:lnTo>
                  <a:lnTo>
                    <a:pt x="30" y="310"/>
                  </a:lnTo>
                  <a:lnTo>
                    <a:pt x="34" y="310"/>
                  </a:lnTo>
                  <a:lnTo>
                    <a:pt x="37" y="310"/>
                  </a:lnTo>
                  <a:lnTo>
                    <a:pt x="39" y="311"/>
                  </a:lnTo>
                  <a:lnTo>
                    <a:pt x="40" y="314"/>
                  </a:lnTo>
                  <a:lnTo>
                    <a:pt x="40" y="317"/>
                  </a:lnTo>
                  <a:lnTo>
                    <a:pt x="42" y="323"/>
                  </a:lnTo>
                  <a:lnTo>
                    <a:pt x="42" y="327"/>
                  </a:lnTo>
                  <a:lnTo>
                    <a:pt x="42" y="328"/>
                  </a:lnTo>
                  <a:lnTo>
                    <a:pt x="42" y="330"/>
                  </a:lnTo>
                  <a:lnTo>
                    <a:pt x="42" y="331"/>
                  </a:lnTo>
                  <a:lnTo>
                    <a:pt x="42" y="333"/>
                  </a:lnTo>
                  <a:lnTo>
                    <a:pt x="42" y="337"/>
                  </a:lnTo>
                  <a:lnTo>
                    <a:pt x="44" y="343"/>
                  </a:lnTo>
                  <a:lnTo>
                    <a:pt x="45" y="348"/>
                  </a:lnTo>
                  <a:lnTo>
                    <a:pt x="45" y="351"/>
                  </a:lnTo>
                  <a:lnTo>
                    <a:pt x="44" y="351"/>
                  </a:lnTo>
                  <a:lnTo>
                    <a:pt x="39" y="350"/>
                  </a:lnTo>
                  <a:lnTo>
                    <a:pt x="34" y="350"/>
                  </a:lnTo>
                  <a:lnTo>
                    <a:pt x="34" y="348"/>
                  </a:lnTo>
                  <a:lnTo>
                    <a:pt x="36" y="347"/>
                  </a:lnTo>
                  <a:lnTo>
                    <a:pt x="36" y="345"/>
                  </a:lnTo>
                  <a:lnTo>
                    <a:pt x="37" y="345"/>
                  </a:lnTo>
                  <a:lnTo>
                    <a:pt x="36" y="343"/>
                  </a:lnTo>
                  <a:lnTo>
                    <a:pt x="33" y="343"/>
                  </a:lnTo>
                  <a:lnTo>
                    <a:pt x="30" y="343"/>
                  </a:lnTo>
                  <a:lnTo>
                    <a:pt x="28" y="345"/>
                  </a:lnTo>
                  <a:lnTo>
                    <a:pt x="28" y="350"/>
                  </a:lnTo>
                  <a:lnTo>
                    <a:pt x="28" y="353"/>
                  </a:lnTo>
                  <a:lnTo>
                    <a:pt x="27" y="356"/>
                  </a:lnTo>
                  <a:lnTo>
                    <a:pt x="28" y="359"/>
                  </a:lnTo>
                  <a:lnTo>
                    <a:pt x="30" y="360"/>
                  </a:lnTo>
                  <a:lnTo>
                    <a:pt x="30" y="360"/>
                  </a:lnTo>
                  <a:lnTo>
                    <a:pt x="31" y="360"/>
                  </a:lnTo>
                  <a:lnTo>
                    <a:pt x="33" y="359"/>
                  </a:lnTo>
                  <a:lnTo>
                    <a:pt x="33" y="357"/>
                  </a:lnTo>
                  <a:lnTo>
                    <a:pt x="34" y="357"/>
                  </a:lnTo>
                  <a:lnTo>
                    <a:pt x="34" y="356"/>
                  </a:lnTo>
                  <a:lnTo>
                    <a:pt x="34" y="351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44" y="351"/>
                  </a:lnTo>
                  <a:lnTo>
                    <a:pt x="44" y="354"/>
                  </a:lnTo>
                  <a:lnTo>
                    <a:pt x="42" y="359"/>
                  </a:lnTo>
                  <a:lnTo>
                    <a:pt x="40" y="362"/>
                  </a:lnTo>
                  <a:lnTo>
                    <a:pt x="40" y="365"/>
                  </a:lnTo>
                  <a:lnTo>
                    <a:pt x="42" y="370"/>
                  </a:lnTo>
                  <a:lnTo>
                    <a:pt x="44" y="373"/>
                  </a:lnTo>
                  <a:lnTo>
                    <a:pt x="44" y="376"/>
                  </a:lnTo>
                  <a:lnTo>
                    <a:pt x="42" y="379"/>
                  </a:lnTo>
                  <a:lnTo>
                    <a:pt x="44" y="380"/>
                  </a:lnTo>
                  <a:lnTo>
                    <a:pt x="42" y="382"/>
                  </a:lnTo>
                  <a:lnTo>
                    <a:pt x="42" y="382"/>
                  </a:lnTo>
                  <a:lnTo>
                    <a:pt x="45" y="383"/>
                  </a:lnTo>
                  <a:lnTo>
                    <a:pt x="48" y="383"/>
                  </a:lnTo>
                  <a:lnTo>
                    <a:pt x="53" y="382"/>
                  </a:lnTo>
                  <a:lnTo>
                    <a:pt x="54" y="380"/>
                  </a:lnTo>
                  <a:lnTo>
                    <a:pt x="61" y="382"/>
                  </a:lnTo>
                  <a:lnTo>
                    <a:pt x="67" y="385"/>
                  </a:lnTo>
                  <a:lnTo>
                    <a:pt x="82" y="388"/>
                  </a:lnTo>
                  <a:lnTo>
                    <a:pt x="84" y="390"/>
                  </a:lnTo>
                  <a:lnTo>
                    <a:pt x="84" y="391"/>
                  </a:lnTo>
                  <a:lnTo>
                    <a:pt x="84" y="393"/>
                  </a:lnTo>
                  <a:lnTo>
                    <a:pt x="85" y="394"/>
                  </a:lnTo>
                  <a:lnTo>
                    <a:pt x="85" y="394"/>
                  </a:lnTo>
                  <a:lnTo>
                    <a:pt x="91" y="394"/>
                  </a:lnTo>
                  <a:lnTo>
                    <a:pt x="93" y="394"/>
                  </a:lnTo>
                  <a:lnTo>
                    <a:pt x="93" y="393"/>
                  </a:lnTo>
                  <a:lnTo>
                    <a:pt x="94" y="393"/>
                  </a:lnTo>
                  <a:lnTo>
                    <a:pt x="94" y="393"/>
                  </a:lnTo>
                  <a:lnTo>
                    <a:pt x="96" y="393"/>
                  </a:lnTo>
                  <a:lnTo>
                    <a:pt x="97" y="394"/>
                  </a:lnTo>
                  <a:lnTo>
                    <a:pt x="99" y="394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101" y="391"/>
                  </a:lnTo>
                  <a:lnTo>
                    <a:pt x="102" y="390"/>
                  </a:lnTo>
                  <a:lnTo>
                    <a:pt x="105" y="387"/>
                  </a:lnTo>
                  <a:lnTo>
                    <a:pt x="107" y="385"/>
                  </a:lnTo>
                  <a:lnTo>
                    <a:pt x="107" y="385"/>
                  </a:lnTo>
                  <a:lnTo>
                    <a:pt x="108" y="385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10" y="383"/>
                  </a:lnTo>
                  <a:lnTo>
                    <a:pt x="110" y="382"/>
                  </a:lnTo>
                  <a:lnTo>
                    <a:pt x="111" y="379"/>
                  </a:lnTo>
                  <a:lnTo>
                    <a:pt x="111" y="379"/>
                  </a:lnTo>
                  <a:lnTo>
                    <a:pt x="113" y="377"/>
                  </a:lnTo>
                  <a:lnTo>
                    <a:pt x="116" y="379"/>
                  </a:lnTo>
                  <a:lnTo>
                    <a:pt x="116" y="380"/>
                  </a:lnTo>
                  <a:lnTo>
                    <a:pt x="114" y="380"/>
                  </a:lnTo>
                  <a:lnTo>
                    <a:pt x="113" y="382"/>
                  </a:lnTo>
                  <a:lnTo>
                    <a:pt x="113" y="382"/>
                  </a:lnTo>
                  <a:lnTo>
                    <a:pt x="114" y="385"/>
                  </a:lnTo>
                  <a:lnTo>
                    <a:pt x="114" y="385"/>
                  </a:lnTo>
                  <a:lnTo>
                    <a:pt x="114" y="385"/>
                  </a:lnTo>
                  <a:lnTo>
                    <a:pt x="114" y="387"/>
                  </a:lnTo>
                  <a:lnTo>
                    <a:pt x="116" y="387"/>
                  </a:lnTo>
                  <a:lnTo>
                    <a:pt x="116" y="387"/>
                  </a:lnTo>
                  <a:lnTo>
                    <a:pt x="119" y="387"/>
                  </a:lnTo>
                  <a:lnTo>
                    <a:pt x="121" y="388"/>
                  </a:lnTo>
                  <a:lnTo>
                    <a:pt x="121" y="390"/>
                  </a:lnTo>
                  <a:lnTo>
                    <a:pt x="122" y="391"/>
                  </a:lnTo>
                  <a:lnTo>
                    <a:pt x="124" y="390"/>
                  </a:lnTo>
                  <a:lnTo>
                    <a:pt x="124" y="388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2" y="385"/>
                  </a:lnTo>
                  <a:lnTo>
                    <a:pt x="122" y="385"/>
                  </a:lnTo>
                  <a:lnTo>
                    <a:pt x="121" y="383"/>
                  </a:lnTo>
                  <a:lnTo>
                    <a:pt x="121" y="383"/>
                  </a:lnTo>
                  <a:lnTo>
                    <a:pt x="121" y="382"/>
                  </a:lnTo>
                  <a:lnTo>
                    <a:pt x="122" y="382"/>
                  </a:lnTo>
                  <a:lnTo>
                    <a:pt x="122" y="382"/>
                  </a:lnTo>
                  <a:lnTo>
                    <a:pt x="124" y="382"/>
                  </a:lnTo>
                  <a:lnTo>
                    <a:pt x="124" y="382"/>
                  </a:lnTo>
                  <a:lnTo>
                    <a:pt x="125" y="382"/>
                  </a:lnTo>
                  <a:lnTo>
                    <a:pt x="124" y="380"/>
                  </a:lnTo>
                  <a:lnTo>
                    <a:pt x="122" y="371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93"/>
            <p:cNvSpPr>
              <a:spLocks/>
            </p:cNvSpPr>
            <p:nvPr/>
          </p:nvSpPr>
          <p:spPr bwMode="gray">
            <a:xfrm>
              <a:off x="7110413" y="6459538"/>
              <a:ext cx="800100" cy="454025"/>
            </a:xfrm>
            <a:custGeom>
              <a:avLst/>
              <a:gdLst>
                <a:gd name="T0" fmla="*/ 491 w 504"/>
                <a:gd name="T1" fmla="*/ 157 h 286"/>
                <a:gd name="T2" fmla="*/ 478 w 504"/>
                <a:gd name="T3" fmla="*/ 134 h 286"/>
                <a:gd name="T4" fmla="*/ 458 w 504"/>
                <a:gd name="T5" fmla="*/ 126 h 286"/>
                <a:gd name="T6" fmla="*/ 444 w 504"/>
                <a:gd name="T7" fmla="*/ 120 h 286"/>
                <a:gd name="T8" fmla="*/ 421 w 504"/>
                <a:gd name="T9" fmla="*/ 112 h 286"/>
                <a:gd name="T10" fmla="*/ 410 w 504"/>
                <a:gd name="T11" fmla="*/ 104 h 286"/>
                <a:gd name="T12" fmla="*/ 422 w 504"/>
                <a:gd name="T13" fmla="*/ 88 h 286"/>
                <a:gd name="T14" fmla="*/ 399 w 504"/>
                <a:gd name="T15" fmla="*/ 94 h 286"/>
                <a:gd name="T16" fmla="*/ 393 w 504"/>
                <a:gd name="T17" fmla="*/ 84 h 286"/>
                <a:gd name="T18" fmla="*/ 373 w 504"/>
                <a:gd name="T19" fmla="*/ 75 h 286"/>
                <a:gd name="T20" fmla="*/ 367 w 504"/>
                <a:gd name="T21" fmla="*/ 91 h 286"/>
                <a:gd name="T22" fmla="*/ 361 w 504"/>
                <a:gd name="T23" fmla="*/ 97 h 286"/>
                <a:gd name="T24" fmla="*/ 339 w 504"/>
                <a:gd name="T25" fmla="*/ 109 h 286"/>
                <a:gd name="T26" fmla="*/ 319 w 504"/>
                <a:gd name="T27" fmla="*/ 81 h 286"/>
                <a:gd name="T28" fmla="*/ 308 w 504"/>
                <a:gd name="T29" fmla="*/ 71 h 286"/>
                <a:gd name="T30" fmla="*/ 322 w 504"/>
                <a:gd name="T31" fmla="*/ 61 h 286"/>
                <a:gd name="T32" fmla="*/ 308 w 504"/>
                <a:gd name="T33" fmla="*/ 46 h 286"/>
                <a:gd name="T34" fmla="*/ 293 w 504"/>
                <a:gd name="T35" fmla="*/ 46 h 286"/>
                <a:gd name="T36" fmla="*/ 267 w 504"/>
                <a:gd name="T37" fmla="*/ 34 h 286"/>
                <a:gd name="T38" fmla="*/ 242 w 504"/>
                <a:gd name="T39" fmla="*/ 23 h 286"/>
                <a:gd name="T40" fmla="*/ 228 w 504"/>
                <a:gd name="T41" fmla="*/ 4 h 286"/>
                <a:gd name="T42" fmla="*/ 216 w 504"/>
                <a:gd name="T43" fmla="*/ 6 h 286"/>
                <a:gd name="T44" fmla="*/ 208 w 504"/>
                <a:gd name="T45" fmla="*/ 21 h 286"/>
                <a:gd name="T46" fmla="*/ 191 w 504"/>
                <a:gd name="T47" fmla="*/ 15 h 286"/>
                <a:gd name="T48" fmla="*/ 180 w 504"/>
                <a:gd name="T49" fmla="*/ 3 h 286"/>
                <a:gd name="T50" fmla="*/ 163 w 504"/>
                <a:gd name="T51" fmla="*/ 3 h 286"/>
                <a:gd name="T52" fmla="*/ 162 w 504"/>
                <a:gd name="T53" fmla="*/ 18 h 286"/>
                <a:gd name="T54" fmla="*/ 134 w 504"/>
                <a:gd name="T55" fmla="*/ 32 h 286"/>
                <a:gd name="T56" fmla="*/ 108 w 504"/>
                <a:gd name="T57" fmla="*/ 41 h 286"/>
                <a:gd name="T58" fmla="*/ 97 w 504"/>
                <a:gd name="T59" fmla="*/ 49 h 286"/>
                <a:gd name="T60" fmla="*/ 77 w 504"/>
                <a:gd name="T61" fmla="*/ 63 h 286"/>
                <a:gd name="T62" fmla="*/ 66 w 504"/>
                <a:gd name="T63" fmla="*/ 74 h 286"/>
                <a:gd name="T64" fmla="*/ 42 w 504"/>
                <a:gd name="T65" fmla="*/ 75 h 286"/>
                <a:gd name="T66" fmla="*/ 28 w 504"/>
                <a:gd name="T67" fmla="*/ 83 h 286"/>
                <a:gd name="T68" fmla="*/ 16 w 504"/>
                <a:gd name="T69" fmla="*/ 103 h 286"/>
                <a:gd name="T70" fmla="*/ 12 w 504"/>
                <a:gd name="T71" fmla="*/ 94 h 286"/>
                <a:gd name="T72" fmla="*/ 3 w 504"/>
                <a:gd name="T73" fmla="*/ 88 h 286"/>
                <a:gd name="T74" fmla="*/ 9 w 504"/>
                <a:gd name="T75" fmla="*/ 111 h 286"/>
                <a:gd name="T76" fmla="*/ 32 w 504"/>
                <a:gd name="T77" fmla="*/ 131 h 286"/>
                <a:gd name="T78" fmla="*/ 25 w 504"/>
                <a:gd name="T79" fmla="*/ 154 h 286"/>
                <a:gd name="T80" fmla="*/ 36 w 504"/>
                <a:gd name="T81" fmla="*/ 168 h 286"/>
                <a:gd name="T82" fmla="*/ 45 w 504"/>
                <a:gd name="T83" fmla="*/ 188 h 286"/>
                <a:gd name="T84" fmla="*/ 69 w 504"/>
                <a:gd name="T85" fmla="*/ 203 h 286"/>
                <a:gd name="T86" fmla="*/ 97 w 504"/>
                <a:gd name="T87" fmla="*/ 231 h 286"/>
                <a:gd name="T88" fmla="*/ 114 w 504"/>
                <a:gd name="T89" fmla="*/ 242 h 286"/>
                <a:gd name="T90" fmla="*/ 142 w 504"/>
                <a:gd name="T91" fmla="*/ 269 h 286"/>
                <a:gd name="T92" fmla="*/ 145 w 504"/>
                <a:gd name="T93" fmla="*/ 278 h 286"/>
                <a:gd name="T94" fmla="*/ 183 w 504"/>
                <a:gd name="T95" fmla="*/ 280 h 286"/>
                <a:gd name="T96" fmla="*/ 194 w 504"/>
                <a:gd name="T97" fmla="*/ 283 h 286"/>
                <a:gd name="T98" fmla="*/ 214 w 504"/>
                <a:gd name="T99" fmla="*/ 263 h 286"/>
                <a:gd name="T100" fmla="*/ 217 w 504"/>
                <a:gd name="T101" fmla="*/ 235 h 286"/>
                <a:gd name="T102" fmla="*/ 239 w 504"/>
                <a:gd name="T103" fmla="*/ 237 h 286"/>
                <a:gd name="T104" fmla="*/ 273 w 504"/>
                <a:gd name="T105" fmla="*/ 252 h 286"/>
                <a:gd name="T106" fmla="*/ 285 w 504"/>
                <a:gd name="T107" fmla="*/ 254 h 286"/>
                <a:gd name="T108" fmla="*/ 321 w 504"/>
                <a:gd name="T109" fmla="*/ 266 h 286"/>
                <a:gd name="T110" fmla="*/ 342 w 504"/>
                <a:gd name="T111" fmla="*/ 265 h 286"/>
                <a:gd name="T112" fmla="*/ 365 w 504"/>
                <a:gd name="T113" fmla="*/ 275 h 286"/>
                <a:gd name="T114" fmla="*/ 402 w 504"/>
                <a:gd name="T115" fmla="*/ 254 h 286"/>
                <a:gd name="T116" fmla="*/ 438 w 504"/>
                <a:gd name="T117" fmla="*/ 234 h 286"/>
                <a:gd name="T118" fmla="*/ 468 w 504"/>
                <a:gd name="T119" fmla="*/ 198 h 286"/>
                <a:gd name="T120" fmla="*/ 490 w 504"/>
                <a:gd name="T121" fmla="*/ 18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4" h="286">
                  <a:moveTo>
                    <a:pt x="504" y="174"/>
                  </a:moveTo>
                  <a:lnTo>
                    <a:pt x="502" y="169"/>
                  </a:lnTo>
                  <a:lnTo>
                    <a:pt x="502" y="168"/>
                  </a:lnTo>
                  <a:lnTo>
                    <a:pt x="502" y="166"/>
                  </a:lnTo>
                  <a:lnTo>
                    <a:pt x="501" y="165"/>
                  </a:lnTo>
                  <a:lnTo>
                    <a:pt x="501" y="160"/>
                  </a:lnTo>
                  <a:lnTo>
                    <a:pt x="501" y="160"/>
                  </a:lnTo>
                  <a:lnTo>
                    <a:pt x="499" y="158"/>
                  </a:lnTo>
                  <a:lnTo>
                    <a:pt x="498" y="158"/>
                  </a:lnTo>
                  <a:lnTo>
                    <a:pt x="498" y="160"/>
                  </a:lnTo>
                  <a:lnTo>
                    <a:pt x="496" y="160"/>
                  </a:lnTo>
                  <a:lnTo>
                    <a:pt x="495" y="158"/>
                  </a:lnTo>
                  <a:lnTo>
                    <a:pt x="493" y="157"/>
                  </a:lnTo>
                  <a:lnTo>
                    <a:pt x="493" y="157"/>
                  </a:lnTo>
                  <a:lnTo>
                    <a:pt x="491" y="157"/>
                  </a:lnTo>
                  <a:lnTo>
                    <a:pt x="488" y="155"/>
                  </a:lnTo>
                  <a:lnTo>
                    <a:pt x="488" y="155"/>
                  </a:lnTo>
                  <a:lnTo>
                    <a:pt x="488" y="154"/>
                  </a:lnTo>
                  <a:lnTo>
                    <a:pt x="487" y="151"/>
                  </a:lnTo>
                  <a:lnTo>
                    <a:pt x="485" y="148"/>
                  </a:lnTo>
                  <a:lnTo>
                    <a:pt x="484" y="145"/>
                  </a:lnTo>
                  <a:lnTo>
                    <a:pt x="484" y="141"/>
                  </a:lnTo>
                  <a:lnTo>
                    <a:pt x="485" y="138"/>
                  </a:lnTo>
                  <a:lnTo>
                    <a:pt x="484" y="137"/>
                  </a:lnTo>
                  <a:lnTo>
                    <a:pt x="484" y="135"/>
                  </a:lnTo>
                  <a:lnTo>
                    <a:pt x="484" y="134"/>
                  </a:lnTo>
                  <a:lnTo>
                    <a:pt x="484" y="132"/>
                  </a:lnTo>
                  <a:lnTo>
                    <a:pt x="482" y="132"/>
                  </a:lnTo>
                  <a:lnTo>
                    <a:pt x="479" y="134"/>
                  </a:lnTo>
                  <a:lnTo>
                    <a:pt x="478" y="134"/>
                  </a:lnTo>
                  <a:lnTo>
                    <a:pt x="471" y="131"/>
                  </a:lnTo>
                  <a:lnTo>
                    <a:pt x="470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2"/>
                  </a:lnTo>
                  <a:lnTo>
                    <a:pt x="464" y="132"/>
                  </a:lnTo>
                  <a:lnTo>
                    <a:pt x="462" y="131"/>
                  </a:lnTo>
                  <a:lnTo>
                    <a:pt x="462" y="131"/>
                  </a:lnTo>
                  <a:lnTo>
                    <a:pt x="461" y="128"/>
                  </a:lnTo>
                  <a:lnTo>
                    <a:pt x="461" y="128"/>
                  </a:lnTo>
                  <a:lnTo>
                    <a:pt x="459" y="128"/>
                  </a:lnTo>
                  <a:lnTo>
                    <a:pt x="458" y="126"/>
                  </a:lnTo>
                  <a:lnTo>
                    <a:pt x="458" y="126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48" y="123"/>
                  </a:lnTo>
                  <a:lnTo>
                    <a:pt x="448" y="121"/>
                  </a:lnTo>
                  <a:lnTo>
                    <a:pt x="448" y="120"/>
                  </a:lnTo>
                  <a:lnTo>
                    <a:pt x="444" y="117"/>
                  </a:lnTo>
                  <a:lnTo>
                    <a:pt x="444" y="117"/>
                  </a:lnTo>
                  <a:lnTo>
                    <a:pt x="442" y="117"/>
                  </a:lnTo>
                  <a:lnTo>
                    <a:pt x="442" y="118"/>
                  </a:lnTo>
                  <a:lnTo>
                    <a:pt x="442" y="118"/>
                  </a:lnTo>
                  <a:lnTo>
                    <a:pt x="444" y="118"/>
                  </a:lnTo>
                  <a:lnTo>
                    <a:pt x="444" y="118"/>
                  </a:lnTo>
                  <a:lnTo>
                    <a:pt x="444" y="120"/>
                  </a:lnTo>
                  <a:lnTo>
                    <a:pt x="444" y="120"/>
                  </a:lnTo>
                  <a:lnTo>
                    <a:pt x="444" y="121"/>
                  </a:lnTo>
                  <a:lnTo>
                    <a:pt x="442" y="121"/>
                  </a:lnTo>
                  <a:lnTo>
                    <a:pt x="439" y="121"/>
                  </a:lnTo>
                  <a:lnTo>
                    <a:pt x="438" y="123"/>
                  </a:lnTo>
                  <a:lnTo>
                    <a:pt x="434" y="124"/>
                  </a:lnTo>
                  <a:lnTo>
                    <a:pt x="433" y="124"/>
                  </a:lnTo>
                  <a:lnTo>
                    <a:pt x="430" y="124"/>
                  </a:lnTo>
                  <a:lnTo>
                    <a:pt x="425" y="120"/>
                  </a:lnTo>
                  <a:lnTo>
                    <a:pt x="424" y="118"/>
                  </a:lnTo>
                  <a:lnTo>
                    <a:pt x="424" y="117"/>
                  </a:lnTo>
                  <a:lnTo>
                    <a:pt x="424" y="115"/>
                  </a:lnTo>
                  <a:lnTo>
                    <a:pt x="422" y="114"/>
                  </a:lnTo>
                  <a:lnTo>
                    <a:pt x="422" y="114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1" y="111"/>
                  </a:lnTo>
                  <a:lnTo>
                    <a:pt x="419" y="109"/>
                  </a:lnTo>
                  <a:lnTo>
                    <a:pt x="418" y="109"/>
                  </a:lnTo>
                  <a:lnTo>
                    <a:pt x="418" y="109"/>
                  </a:lnTo>
                  <a:lnTo>
                    <a:pt x="416" y="109"/>
                  </a:lnTo>
                  <a:lnTo>
                    <a:pt x="416" y="109"/>
                  </a:lnTo>
                  <a:lnTo>
                    <a:pt x="414" y="109"/>
                  </a:lnTo>
                  <a:lnTo>
                    <a:pt x="411" y="104"/>
                  </a:lnTo>
                  <a:lnTo>
                    <a:pt x="410" y="104"/>
                  </a:lnTo>
                  <a:lnTo>
                    <a:pt x="411" y="103"/>
                  </a:lnTo>
                  <a:lnTo>
                    <a:pt x="411" y="103"/>
                  </a:lnTo>
                  <a:lnTo>
                    <a:pt x="416" y="101"/>
                  </a:lnTo>
                  <a:lnTo>
                    <a:pt x="418" y="101"/>
                  </a:lnTo>
                  <a:lnTo>
                    <a:pt x="421" y="100"/>
                  </a:lnTo>
                  <a:lnTo>
                    <a:pt x="422" y="98"/>
                  </a:lnTo>
                  <a:lnTo>
                    <a:pt x="422" y="97"/>
                  </a:lnTo>
                  <a:lnTo>
                    <a:pt x="422" y="94"/>
                  </a:lnTo>
                  <a:lnTo>
                    <a:pt x="421" y="94"/>
                  </a:lnTo>
                  <a:lnTo>
                    <a:pt x="421" y="92"/>
                  </a:lnTo>
                  <a:lnTo>
                    <a:pt x="421" y="91"/>
                  </a:lnTo>
                  <a:lnTo>
                    <a:pt x="422" y="89"/>
                  </a:lnTo>
                  <a:lnTo>
                    <a:pt x="422" y="89"/>
                  </a:lnTo>
                  <a:lnTo>
                    <a:pt x="422" y="88"/>
                  </a:lnTo>
                  <a:lnTo>
                    <a:pt x="422" y="88"/>
                  </a:lnTo>
                  <a:lnTo>
                    <a:pt x="422" y="88"/>
                  </a:lnTo>
                  <a:lnTo>
                    <a:pt x="421" y="86"/>
                  </a:lnTo>
                  <a:lnTo>
                    <a:pt x="421" y="86"/>
                  </a:lnTo>
                  <a:lnTo>
                    <a:pt x="419" y="84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88"/>
                  </a:lnTo>
                  <a:lnTo>
                    <a:pt x="416" y="91"/>
                  </a:lnTo>
                  <a:lnTo>
                    <a:pt x="414" y="91"/>
                  </a:lnTo>
                  <a:lnTo>
                    <a:pt x="413" y="92"/>
                  </a:lnTo>
                  <a:lnTo>
                    <a:pt x="405" y="91"/>
                  </a:lnTo>
                  <a:lnTo>
                    <a:pt x="402" y="91"/>
                  </a:lnTo>
                  <a:lnTo>
                    <a:pt x="401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8" y="91"/>
                  </a:lnTo>
                  <a:lnTo>
                    <a:pt x="396" y="91"/>
                  </a:lnTo>
                  <a:lnTo>
                    <a:pt x="394" y="91"/>
                  </a:lnTo>
                  <a:lnTo>
                    <a:pt x="394" y="92"/>
                  </a:lnTo>
                  <a:lnTo>
                    <a:pt x="393" y="92"/>
                  </a:lnTo>
                  <a:lnTo>
                    <a:pt x="393" y="91"/>
                  </a:lnTo>
                  <a:lnTo>
                    <a:pt x="391" y="89"/>
                  </a:lnTo>
                  <a:lnTo>
                    <a:pt x="391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1" y="86"/>
                  </a:lnTo>
                  <a:lnTo>
                    <a:pt x="391" y="86"/>
                  </a:lnTo>
                  <a:lnTo>
                    <a:pt x="393" y="84"/>
                  </a:lnTo>
                  <a:lnTo>
                    <a:pt x="391" y="84"/>
                  </a:lnTo>
                  <a:lnTo>
                    <a:pt x="387" y="84"/>
                  </a:lnTo>
                  <a:lnTo>
                    <a:pt x="385" y="84"/>
                  </a:lnTo>
                  <a:lnTo>
                    <a:pt x="384" y="83"/>
                  </a:lnTo>
                  <a:lnTo>
                    <a:pt x="382" y="81"/>
                  </a:lnTo>
                  <a:lnTo>
                    <a:pt x="382" y="81"/>
                  </a:lnTo>
                  <a:lnTo>
                    <a:pt x="381" y="80"/>
                  </a:lnTo>
                  <a:lnTo>
                    <a:pt x="381" y="78"/>
                  </a:lnTo>
                  <a:lnTo>
                    <a:pt x="381" y="78"/>
                  </a:lnTo>
                  <a:lnTo>
                    <a:pt x="381" y="77"/>
                  </a:lnTo>
                  <a:lnTo>
                    <a:pt x="377" y="78"/>
                  </a:lnTo>
                  <a:lnTo>
                    <a:pt x="377" y="78"/>
                  </a:lnTo>
                  <a:lnTo>
                    <a:pt x="376" y="77"/>
                  </a:lnTo>
                  <a:lnTo>
                    <a:pt x="374" y="75"/>
                  </a:lnTo>
                  <a:lnTo>
                    <a:pt x="373" y="75"/>
                  </a:lnTo>
                  <a:lnTo>
                    <a:pt x="365" y="74"/>
                  </a:lnTo>
                  <a:lnTo>
                    <a:pt x="364" y="74"/>
                  </a:lnTo>
                  <a:lnTo>
                    <a:pt x="364" y="72"/>
                  </a:lnTo>
                  <a:lnTo>
                    <a:pt x="361" y="72"/>
                  </a:lnTo>
                  <a:lnTo>
                    <a:pt x="359" y="71"/>
                  </a:lnTo>
                  <a:lnTo>
                    <a:pt x="357" y="72"/>
                  </a:lnTo>
                  <a:lnTo>
                    <a:pt x="357" y="74"/>
                  </a:lnTo>
                  <a:lnTo>
                    <a:pt x="359" y="78"/>
                  </a:lnTo>
                  <a:lnTo>
                    <a:pt x="361" y="80"/>
                  </a:lnTo>
                  <a:lnTo>
                    <a:pt x="361" y="83"/>
                  </a:lnTo>
                  <a:lnTo>
                    <a:pt x="362" y="84"/>
                  </a:lnTo>
                  <a:lnTo>
                    <a:pt x="364" y="86"/>
                  </a:lnTo>
                  <a:lnTo>
                    <a:pt x="365" y="88"/>
                  </a:lnTo>
                  <a:lnTo>
                    <a:pt x="367" y="89"/>
                  </a:lnTo>
                  <a:lnTo>
                    <a:pt x="367" y="91"/>
                  </a:lnTo>
                  <a:lnTo>
                    <a:pt x="367" y="94"/>
                  </a:lnTo>
                  <a:lnTo>
                    <a:pt x="368" y="95"/>
                  </a:lnTo>
                  <a:lnTo>
                    <a:pt x="368" y="97"/>
                  </a:lnTo>
                  <a:lnTo>
                    <a:pt x="368" y="97"/>
                  </a:lnTo>
                  <a:lnTo>
                    <a:pt x="367" y="97"/>
                  </a:lnTo>
                  <a:lnTo>
                    <a:pt x="367" y="95"/>
                  </a:lnTo>
                  <a:lnTo>
                    <a:pt x="365" y="95"/>
                  </a:lnTo>
                  <a:lnTo>
                    <a:pt x="365" y="95"/>
                  </a:lnTo>
                  <a:lnTo>
                    <a:pt x="364" y="95"/>
                  </a:lnTo>
                  <a:lnTo>
                    <a:pt x="364" y="95"/>
                  </a:lnTo>
                  <a:lnTo>
                    <a:pt x="364" y="97"/>
                  </a:lnTo>
                  <a:lnTo>
                    <a:pt x="364" y="97"/>
                  </a:lnTo>
                  <a:lnTo>
                    <a:pt x="364" y="97"/>
                  </a:lnTo>
                  <a:lnTo>
                    <a:pt x="362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7" y="100"/>
                  </a:lnTo>
                  <a:lnTo>
                    <a:pt x="356" y="100"/>
                  </a:lnTo>
                  <a:lnTo>
                    <a:pt x="354" y="100"/>
                  </a:lnTo>
                  <a:lnTo>
                    <a:pt x="354" y="100"/>
                  </a:lnTo>
                  <a:lnTo>
                    <a:pt x="351" y="101"/>
                  </a:lnTo>
                  <a:lnTo>
                    <a:pt x="351" y="103"/>
                  </a:lnTo>
                  <a:lnTo>
                    <a:pt x="350" y="104"/>
                  </a:lnTo>
                  <a:lnTo>
                    <a:pt x="348" y="106"/>
                  </a:lnTo>
                  <a:lnTo>
                    <a:pt x="347" y="108"/>
                  </a:lnTo>
                  <a:lnTo>
                    <a:pt x="345" y="111"/>
                  </a:lnTo>
                  <a:lnTo>
                    <a:pt x="342" y="111"/>
                  </a:lnTo>
                  <a:lnTo>
                    <a:pt x="339" y="109"/>
                  </a:lnTo>
                  <a:lnTo>
                    <a:pt x="336" y="106"/>
                  </a:lnTo>
                  <a:lnTo>
                    <a:pt x="334" y="104"/>
                  </a:lnTo>
                  <a:lnTo>
                    <a:pt x="334" y="103"/>
                  </a:lnTo>
                  <a:lnTo>
                    <a:pt x="333" y="100"/>
                  </a:lnTo>
                  <a:lnTo>
                    <a:pt x="333" y="97"/>
                  </a:lnTo>
                  <a:lnTo>
                    <a:pt x="330" y="95"/>
                  </a:lnTo>
                  <a:lnTo>
                    <a:pt x="330" y="94"/>
                  </a:lnTo>
                  <a:lnTo>
                    <a:pt x="328" y="92"/>
                  </a:lnTo>
                  <a:lnTo>
                    <a:pt x="327" y="89"/>
                  </a:lnTo>
                  <a:lnTo>
                    <a:pt x="325" y="88"/>
                  </a:lnTo>
                  <a:lnTo>
                    <a:pt x="324" y="86"/>
                  </a:lnTo>
                  <a:lnTo>
                    <a:pt x="321" y="84"/>
                  </a:lnTo>
                  <a:lnTo>
                    <a:pt x="319" y="83"/>
                  </a:lnTo>
                  <a:lnTo>
                    <a:pt x="319" y="81"/>
                  </a:lnTo>
                  <a:lnTo>
                    <a:pt x="319" y="81"/>
                  </a:lnTo>
                  <a:lnTo>
                    <a:pt x="319" y="80"/>
                  </a:lnTo>
                  <a:lnTo>
                    <a:pt x="319" y="78"/>
                  </a:lnTo>
                  <a:lnTo>
                    <a:pt x="317" y="78"/>
                  </a:lnTo>
                  <a:lnTo>
                    <a:pt x="314" y="78"/>
                  </a:lnTo>
                  <a:lnTo>
                    <a:pt x="313" y="78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1" y="78"/>
                  </a:lnTo>
                  <a:lnTo>
                    <a:pt x="311" y="78"/>
                  </a:lnTo>
                  <a:lnTo>
                    <a:pt x="310" y="75"/>
                  </a:lnTo>
                  <a:lnTo>
                    <a:pt x="308" y="74"/>
                  </a:lnTo>
                  <a:lnTo>
                    <a:pt x="307" y="72"/>
                  </a:lnTo>
                  <a:lnTo>
                    <a:pt x="308" y="71"/>
                  </a:lnTo>
                  <a:lnTo>
                    <a:pt x="310" y="71"/>
                  </a:lnTo>
                  <a:lnTo>
                    <a:pt x="308" y="71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1" y="68"/>
                  </a:lnTo>
                  <a:lnTo>
                    <a:pt x="313" y="66"/>
                  </a:lnTo>
                  <a:lnTo>
                    <a:pt x="314" y="66"/>
                  </a:lnTo>
                  <a:lnTo>
                    <a:pt x="314" y="64"/>
                  </a:lnTo>
                  <a:lnTo>
                    <a:pt x="316" y="64"/>
                  </a:lnTo>
                  <a:lnTo>
                    <a:pt x="317" y="64"/>
                  </a:lnTo>
                  <a:lnTo>
                    <a:pt x="319" y="64"/>
                  </a:lnTo>
                  <a:lnTo>
                    <a:pt x="321" y="63"/>
                  </a:lnTo>
                  <a:lnTo>
                    <a:pt x="322" y="61"/>
                  </a:lnTo>
                  <a:lnTo>
                    <a:pt x="322" y="61"/>
                  </a:lnTo>
                  <a:lnTo>
                    <a:pt x="322" y="61"/>
                  </a:lnTo>
                  <a:lnTo>
                    <a:pt x="322" y="60"/>
                  </a:lnTo>
                  <a:lnTo>
                    <a:pt x="322" y="60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22" y="57"/>
                  </a:lnTo>
                  <a:lnTo>
                    <a:pt x="322" y="57"/>
                  </a:lnTo>
                  <a:lnTo>
                    <a:pt x="325" y="55"/>
                  </a:lnTo>
                  <a:lnTo>
                    <a:pt x="324" y="54"/>
                  </a:lnTo>
                  <a:lnTo>
                    <a:pt x="317" y="46"/>
                  </a:lnTo>
                  <a:lnTo>
                    <a:pt x="316" y="46"/>
                  </a:lnTo>
                  <a:lnTo>
                    <a:pt x="313" y="44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08" y="46"/>
                  </a:lnTo>
                  <a:lnTo>
                    <a:pt x="308" y="48"/>
                  </a:lnTo>
                  <a:lnTo>
                    <a:pt x="307" y="49"/>
                  </a:lnTo>
                  <a:lnTo>
                    <a:pt x="305" y="49"/>
                  </a:lnTo>
                  <a:lnTo>
                    <a:pt x="305" y="49"/>
                  </a:lnTo>
                  <a:lnTo>
                    <a:pt x="302" y="46"/>
                  </a:lnTo>
                  <a:lnTo>
                    <a:pt x="299" y="46"/>
                  </a:lnTo>
                  <a:lnTo>
                    <a:pt x="294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3" y="49"/>
                  </a:lnTo>
                  <a:lnTo>
                    <a:pt x="293" y="48"/>
                  </a:lnTo>
                  <a:lnTo>
                    <a:pt x="293" y="46"/>
                  </a:lnTo>
                  <a:lnTo>
                    <a:pt x="291" y="44"/>
                  </a:lnTo>
                  <a:lnTo>
                    <a:pt x="291" y="43"/>
                  </a:lnTo>
                  <a:lnTo>
                    <a:pt x="290" y="41"/>
                  </a:lnTo>
                  <a:lnTo>
                    <a:pt x="288" y="41"/>
                  </a:lnTo>
                  <a:lnTo>
                    <a:pt x="284" y="43"/>
                  </a:lnTo>
                  <a:lnTo>
                    <a:pt x="282" y="43"/>
                  </a:lnTo>
                  <a:lnTo>
                    <a:pt x="282" y="43"/>
                  </a:lnTo>
                  <a:lnTo>
                    <a:pt x="277" y="37"/>
                  </a:lnTo>
                  <a:lnTo>
                    <a:pt x="277" y="35"/>
                  </a:lnTo>
                  <a:lnTo>
                    <a:pt x="277" y="35"/>
                  </a:lnTo>
                  <a:lnTo>
                    <a:pt x="276" y="35"/>
                  </a:lnTo>
                  <a:lnTo>
                    <a:pt x="270" y="37"/>
                  </a:lnTo>
                  <a:lnTo>
                    <a:pt x="268" y="37"/>
                  </a:lnTo>
                  <a:lnTo>
                    <a:pt x="268" y="35"/>
                  </a:lnTo>
                  <a:lnTo>
                    <a:pt x="267" y="34"/>
                  </a:lnTo>
                  <a:lnTo>
                    <a:pt x="267" y="34"/>
                  </a:lnTo>
                  <a:lnTo>
                    <a:pt x="251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31"/>
                  </a:lnTo>
                  <a:lnTo>
                    <a:pt x="247" y="32"/>
                  </a:lnTo>
                  <a:lnTo>
                    <a:pt x="245" y="32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29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4" y="24"/>
                  </a:lnTo>
                  <a:lnTo>
                    <a:pt x="242" y="24"/>
                  </a:lnTo>
                  <a:lnTo>
                    <a:pt x="242" y="23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9" y="18"/>
                  </a:lnTo>
                  <a:lnTo>
                    <a:pt x="237" y="17"/>
                  </a:lnTo>
                  <a:lnTo>
                    <a:pt x="237" y="15"/>
                  </a:lnTo>
                  <a:lnTo>
                    <a:pt x="237" y="12"/>
                  </a:lnTo>
                  <a:lnTo>
                    <a:pt x="239" y="12"/>
                  </a:lnTo>
                  <a:lnTo>
                    <a:pt x="239" y="11"/>
                  </a:lnTo>
                  <a:lnTo>
                    <a:pt x="237" y="9"/>
                  </a:lnTo>
                  <a:lnTo>
                    <a:pt x="236" y="7"/>
                  </a:lnTo>
                  <a:lnTo>
                    <a:pt x="231" y="7"/>
                  </a:lnTo>
                  <a:lnTo>
                    <a:pt x="230" y="6"/>
                  </a:lnTo>
                  <a:lnTo>
                    <a:pt x="230" y="4"/>
                  </a:lnTo>
                  <a:lnTo>
                    <a:pt x="230" y="3"/>
                  </a:lnTo>
                  <a:lnTo>
                    <a:pt x="228" y="4"/>
                  </a:lnTo>
                  <a:lnTo>
                    <a:pt x="228" y="6"/>
                  </a:lnTo>
                  <a:lnTo>
                    <a:pt x="228" y="6"/>
                  </a:lnTo>
                  <a:lnTo>
                    <a:pt x="227" y="7"/>
                  </a:lnTo>
                  <a:lnTo>
                    <a:pt x="227" y="7"/>
                  </a:lnTo>
                  <a:lnTo>
                    <a:pt x="225" y="6"/>
                  </a:lnTo>
                  <a:lnTo>
                    <a:pt x="225" y="6"/>
                  </a:lnTo>
                  <a:lnTo>
                    <a:pt x="223" y="4"/>
                  </a:lnTo>
                  <a:lnTo>
                    <a:pt x="220" y="4"/>
                  </a:lnTo>
                  <a:lnTo>
                    <a:pt x="219" y="3"/>
                  </a:lnTo>
                  <a:lnTo>
                    <a:pt x="219" y="3"/>
                  </a:lnTo>
                  <a:lnTo>
                    <a:pt x="219" y="4"/>
                  </a:lnTo>
                  <a:lnTo>
                    <a:pt x="217" y="4"/>
                  </a:lnTo>
                  <a:lnTo>
                    <a:pt x="217" y="4"/>
                  </a:lnTo>
                  <a:lnTo>
                    <a:pt x="216" y="4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7"/>
                  </a:lnTo>
                  <a:lnTo>
                    <a:pt x="217" y="7"/>
                  </a:lnTo>
                  <a:lnTo>
                    <a:pt x="219" y="9"/>
                  </a:lnTo>
                  <a:lnTo>
                    <a:pt x="219" y="14"/>
                  </a:lnTo>
                  <a:lnTo>
                    <a:pt x="217" y="14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7"/>
                  </a:lnTo>
                  <a:lnTo>
                    <a:pt x="217" y="20"/>
                  </a:lnTo>
                  <a:lnTo>
                    <a:pt x="217" y="21"/>
                  </a:lnTo>
                  <a:lnTo>
                    <a:pt x="208" y="21"/>
                  </a:lnTo>
                  <a:lnTo>
                    <a:pt x="207" y="21"/>
                  </a:lnTo>
                  <a:lnTo>
                    <a:pt x="205" y="21"/>
                  </a:lnTo>
                  <a:lnTo>
                    <a:pt x="203" y="24"/>
                  </a:lnTo>
                  <a:lnTo>
                    <a:pt x="202" y="26"/>
                  </a:lnTo>
                  <a:lnTo>
                    <a:pt x="202" y="27"/>
                  </a:lnTo>
                  <a:lnTo>
                    <a:pt x="200" y="27"/>
                  </a:lnTo>
                  <a:lnTo>
                    <a:pt x="199" y="27"/>
                  </a:lnTo>
                  <a:lnTo>
                    <a:pt x="196" y="26"/>
                  </a:lnTo>
                  <a:lnTo>
                    <a:pt x="193" y="24"/>
                  </a:lnTo>
                  <a:lnTo>
                    <a:pt x="193" y="24"/>
                  </a:lnTo>
                  <a:lnTo>
                    <a:pt x="190" y="23"/>
                  </a:lnTo>
                  <a:lnTo>
                    <a:pt x="190" y="21"/>
                  </a:lnTo>
                  <a:lnTo>
                    <a:pt x="190" y="20"/>
                  </a:lnTo>
                  <a:lnTo>
                    <a:pt x="191" y="17"/>
                  </a:lnTo>
                  <a:lnTo>
                    <a:pt x="191" y="15"/>
                  </a:lnTo>
                  <a:lnTo>
                    <a:pt x="191" y="14"/>
                  </a:lnTo>
                  <a:lnTo>
                    <a:pt x="190" y="14"/>
                  </a:lnTo>
                  <a:lnTo>
                    <a:pt x="185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9"/>
                  </a:lnTo>
                  <a:lnTo>
                    <a:pt x="187" y="7"/>
                  </a:lnTo>
                  <a:lnTo>
                    <a:pt x="187" y="7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2" y="4"/>
                  </a:lnTo>
                  <a:lnTo>
                    <a:pt x="182" y="4"/>
                  </a:lnTo>
                  <a:lnTo>
                    <a:pt x="180" y="3"/>
                  </a:lnTo>
                  <a:lnTo>
                    <a:pt x="180" y="3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79" y="1"/>
                  </a:lnTo>
                  <a:lnTo>
                    <a:pt x="179" y="3"/>
                  </a:lnTo>
                  <a:lnTo>
                    <a:pt x="176" y="3"/>
                  </a:lnTo>
                  <a:lnTo>
                    <a:pt x="174" y="3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1" y="3"/>
                  </a:lnTo>
                  <a:lnTo>
                    <a:pt x="171" y="1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3" y="3"/>
                  </a:lnTo>
                  <a:lnTo>
                    <a:pt x="162" y="6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5" y="7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5" y="11"/>
                  </a:lnTo>
                  <a:lnTo>
                    <a:pt x="168" y="12"/>
                  </a:lnTo>
                  <a:lnTo>
                    <a:pt x="171" y="14"/>
                  </a:lnTo>
                  <a:lnTo>
                    <a:pt x="173" y="14"/>
                  </a:lnTo>
                  <a:lnTo>
                    <a:pt x="173" y="17"/>
                  </a:lnTo>
                  <a:lnTo>
                    <a:pt x="170" y="18"/>
                  </a:lnTo>
                  <a:lnTo>
                    <a:pt x="163" y="18"/>
                  </a:lnTo>
                  <a:lnTo>
                    <a:pt x="162" y="18"/>
                  </a:lnTo>
                  <a:lnTo>
                    <a:pt x="160" y="20"/>
                  </a:lnTo>
                  <a:lnTo>
                    <a:pt x="159" y="21"/>
                  </a:lnTo>
                  <a:lnTo>
                    <a:pt x="159" y="23"/>
                  </a:lnTo>
                  <a:lnTo>
                    <a:pt x="146" y="27"/>
                  </a:lnTo>
                  <a:lnTo>
                    <a:pt x="145" y="27"/>
                  </a:lnTo>
                  <a:lnTo>
                    <a:pt x="142" y="27"/>
                  </a:lnTo>
                  <a:lnTo>
                    <a:pt x="140" y="27"/>
                  </a:lnTo>
                  <a:lnTo>
                    <a:pt x="140" y="29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7" y="31"/>
                  </a:lnTo>
                  <a:lnTo>
                    <a:pt x="137" y="31"/>
                  </a:lnTo>
                  <a:lnTo>
                    <a:pt x="136" y="31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5"/>
                  </a:lnTo>
                  <a:lnTo>
                    <a:pt x="134" y="35"/>
                  </a:lnTo>
                  <a:lnTo>
                    <a:pt x="134" y="35"/>
                  </a:lnTo>
                  <a:lnTo>
                    <a:pt x="134" y="35"/>
                  </a:lnTo>
                  <a:lnTo>
                    <a:pt x="131" y="37"/>
                  </a:lnTo>
                  <a:lnTo>
                    <a:pt x="130" y="38"/>
                  </a:lnTo>
                  <a:lnTo>
                    <a:pt x="126" y="37"/>
                  </a:lnTo>
                  <a:lnTo>
                    <a:pt x="125" y="37"/>
                  </a:lnTo>
                  <a:lnTo>
                    <a:pt x="122" y="38"/>
                  </a:lnTo>
                  <a:lnTo>
                    <a:pt x="120" y="38"/>
                  </a:lnTo>
                  <a:lnTo>
                    <a:pt x="114" y="38"/>
                  </a:lnTo>
                  <a:lnTo>
                    <a:pt x="111" y="40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49"/>
                  </a:lnTo>
                  <a:lnTo>
                    <a:pt x="103" y="51"/>
                  </a:lnTo>
                  <a:lnTo>
                    <a:pt x="103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9" y="51"/>
                  </a:lnTo>
                  <a:lnTo>
                    <a:pt x="99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4" y="52"/>
                  </a:lnTo>
                  <a:lnTo>
                    <a:pt x="93" y="52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89" y="55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5" y="60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77" y="63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9"/>
                  </a:lnTo>
                  <a:lnTo>
                    <a:pt x="69" y="71"/>
                  </a:lnTo>
                  <a:lnTo>
                    <a:pt x="68" y="72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3" y="75"/>
                  </a:lnTo>
                  <a:lnTo>
                    <a:pt x="57" y="71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3" y="71"/>
                  </a:lnTo>
                  <a:lnTo>
                    <a:pt x="51" y="71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2" y="75"/>
                  </a:lnTo>
                  <a:lnTo>
                    <a:pt x="36" y="75"/>
                  </a:lnTo>
                  <a:lnTo>
                    <a:pt x="32" y="77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81"/>
                  </a:lnTo>
                  <a:lnTo>
                    <a:pt x="28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2" y="89"/>
                  </a:lnTo>
                  <a:lnTo>
                    <a:pt x="22" y="91"/>
                  </a:lnTo>
                  <a:lnTo>
                    <a:pt x="20" y="91"/>
                  </a:lnTo>
                  <a:lnTo>
                    <a:pt x="20" y="92"/>
                  </a:lnTo>
                  <a:lnTo>
                    <a:pt x="20" y="94"/>
                  </a:lnTo>
                  <a:lnTo>
                    <a:pt x="19" y="95"/>
                  </a:lnTo>
                  <a:lnTo>
                    <a:pt x="19" y="97"/>
                  </a:lnTo>
                  <a:lnTo>
                    <a:pt x="17" y="98"/>
                  </a:lnTo>
                  <a:lnTo>
                    <a:pt x="19" y="100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7" y="103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2" y="95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1" y="92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3" y="84"/>
                  </a:lnTo>
                  <a:lnTo>
                    <a:pt x="0" y="84"/>
                  </a:lnTo>
                  <a:lnTo>
                    <a:pt x="2" y="86"/>
                  </a:lnTo>
                  <a:lnTo>
                    <a:pt x="3" y="88"/>
                  </a:lnTo>
                  <a:lnTo>
                    <a:pt x="3" y="89"/>
                  </a:lnTo>
                  <a:lnTo>
                    <a:pt x="3" y="91"/>
                  </a:lnTo>
                  <a:lnTo>
                    <a:pt x="3" y="92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95"/>
                  </a:lnTo>
                  <a:lnTo>
                    <a:pt x="5" y="97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1"/>
                  </a:lnTo>
                  <a:lnTo>
                    <a:pt x="9" y="103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9" y="109"/>
                  </a:lnTo>
                  <a:lnTo>
                    <a:pt x="9" y="111"/>
                  </a:lnTo>
                  <a:lnTo>
                    <a:pt x="11" y="111"/>
                  </a:lnTo>
                  <a:lnTo>
                    <a:pt x="12" y="112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5"/>
                  </a:lnTo>
                  <a:lnTo>
                    <a:pt x="14" y="117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8" y="123"/>
                  </a:lnTo>
                  <a:lnTo>
                    <a:pt x="29" y="124"/>
                  </a:lnTo>
                  <a:lnTo>
                    <a:pt x="29" y="126"/>
                  </a:lnTo>
                  <a:lnTo>
                    <a:pt x="29" y="128"/>
                  </a:lnTo>
                  <a:lnTo>
                    <a:pt x="29" y="129"/>
                  </a:lnTo>
                  <a:lnTo>
                    <a:pt x="32" y="131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5"/>
                  </a:lnTo>
                  <a:lnTo>
                    <a:pt x="32" y="137"/>
                  </a:lnTo>
                  <a:lnTo>
                    <a:pt x="31" y="140"/>
                  </a:lnTo>
                  <a:lnTo>
                    <a:pt x="31" y="141"/>
                  </a:lnTo>
                  <a:lnTo>
                    <a:pt x="29" y="141"/>
                  </a:lnTo>
                  <a:lnTo>
                    <a:pt x="29" y="143"/>
                  </a:lnTo>
                  <a:lnTo>
                    <a:pt x="29" y="145"/>
                  </a:lnTo>
                  <a:lnTo>
                    <a:pt x="29" y="148"/>
                  </a:lnTo>
                  <a:lnTo>
                    <a:pt x="28" y="148"/>
                  </a:lnTo>
                  <a:lnTo>
                    <a:pt x="25" y="149"/>
                  </a:lnTo>
                  <a:lnTo>
                    <a:pt x="23" y="151"/>
                  </a:lnTo>
                  <a:lnTo>
                    <a:pt x="23" y="152"/>
                  </a:lnTo>
                  <a:lnTo>
                    <a:pt x="25" y="154"/>
                  </a:lnTo>
                  <a:lnTo>
                    <a:pt x="26" y="155"/>
                  </a:lnTo>
                  <a:lnTo>
                    <a:pt x="28" y="157"/>
                  </a:lnTo>
                  <a:lnTo>
                    <a:pt x="28" y="158"/>
                  </a:lnTo>
                  <a:lnTo>
                    <a:pt x="31" y="158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2" y="161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32" y="165"/>
                  </a:lnTo>
                  <a:lnTo>
                    <a:pt x="32" y="165"/>
                  </a:lnTo>
                  <a:lnTo>
                    <a:pt x="32" y="166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9"/>
                  </a:lnTo>
                  <a:lnTo>
                    <a:pt x="37" y="172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5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2" y="178"/>
                  </a:lnTo>
                  <a:lnTo>
                    <a:pt x="42" y="180"/>
                  </a:lnTo>
                  <a:lnTo>
                    <a:pt x="42" y="183"/>
                  </a:lnTo>
                  <a:lnTo>
                    <a:pt x="42" y="185"/>
                  </a:lnTo>
                  <a:lnTo>
                    <a:pt x="43" y="188"/>
                  </a:lnTo>
                  <a:lnTo>
                    <a:pt x="45" y="188"/>
                  </a:lnTo>
                  <a:lnTo>
                    <a:pt x="48" y="189"/>
                  </a:lnTo>
                  <a:lnTo>
                    <a:pt x="49" y="191"/>
                  </a:lnTo>
                  <a:lnTo>
                    <a:pt x="53" y="197"/>
                  </a:lnTo>
                  <a:lnTo>
                    <a:pt x="53" y="198"/>
                  </a:lnTo>
                  <a:lnTo>
                    <a:pt x="54" y="198"/>
                  </a:lnTo>
                  <a:lnTo>
                    <a:pt x="59" y="200"/>
                  </a:lnTo>
                  <a:lnTo>
                    <a:pt x="60" y="198"/>
                  </a:lnTo>
                  <a:lnTo>
                    <a:pt x="60" y="197"/>
                  </a:lnTo>
                  <a:lnTo>
                    <a:pt x="60" y="197"/>
                  </a:lnTo>
                  <a:lnTo>
                    <a:pt x="63" y="198"/>
                  </a:lnTo>
                  <a:lnTo>
                    <a:pt x="65" y="198"/>
                  </a:lnTo>
                  <a:lnTo>
                    <a:pt x="66" y="200"/>
                  </a:lnTo>
                  <a:lnTo>
                    <a:pt x="68" y="201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5"/>
                  </a:lnTo>
                  <a:lnTo>
                    <a:pt x="71" y="206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4" y="209"/>
                  </a:lnTo>
                  <a:lnTo>
                    <a:pt x="80" y="218"/>
                  </a:lnTo>
                  <a:lnTo>
                    <a:pt x="82" y="220"/>
                  </a:lnTo>
                  <a:lnTo>
                    <a:pt x="83" y="223"/>
                  </a:lnTo>
                  <a:lnTo>
                    <a:pt x="85" y="223"/>
                  </a:lnTo>
                  <a:lnTo>
                    <a:pt x="89" y="223"/>
                  </a:lnTo>
                  <a:lnTo>
                    <a:pt x="91" y="225"/>
                  </a:lnTo>
                  <a:lnTo>
                    <a:pt x="91" y="225"/>
                  </a:lnTo>
                  <a:lnTo>
                    <a:pt x="94" y="228"/>
                  </a:lnTo>
                  <a:lnTo>
                    <a:pt x="97" y="231"/>
                  </a:lnTo>
                  <a:lnTo>
                    <a:pt x="99" y="234"/>
                  </a:lnTo>
                  <a:lnTo>
                    <a:pt x="99" y="237"/>
                  </a:lnTo>
                  <a:lnTo>
                    <a:pt x="99" y="238"/>
                  </a:lnTo>
                  <a:lnTo>
                    <a:pt x="102" y="240"/>
                  </a:lnTo>
                  <a:lnTo>
                    <a:pt x="103" y="242"/>
                  </a:lnTo>
                  <a:lnTo>
                    <a:pt x="105" y="243"/>
                  </a:lnTo>
                  <a:lnTo>
                    <a:pt x="106" y="242"/>
                  </a:lnTo>
                  <a:lnTo>
                    <a:pt x="106" y="240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10" y="240"/>
                  </a:lnTo>
                  <a:lnTo>
                    <a:pt x="111" y="240"/>
                  </a:lnTo>
                  <a:lnTo>
                    <a:pt x="113" y="242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16" y="245"/>
                  </a:lnTo>
                  <a:lnTo>
                    <a:pt x="116" y="246"/>
                  </a:lnTo>
                  <a:lnTo>
                    <a:pt x="117" y="248"/>
                  </a:lnTo>
                  <a:lnTo>
                    <a:pt x="119" y="249"/>
                  </a:lnTo>
                  <a:lnTo>
                    <a:pt x="120" y="249"/>
                  </a:lnTo>
                  <a:lnTo>
                    <a:pt x="122" y="251"/>
                  </a:lnTo>
                  <a:lnTo>
                    <a:pt x="123" y="251"/>
                  </a:lnTo>
                  <a:lnTo>
                    <a:pt x="125" y="254"/>
                  </a:lnTo>
                  <a:lnTo>
                    <a:pt x="128" y="260"/>
                  </a:lnTo>
                  <a:lnTo>
                    <a:pt x="130" y="262"/>
                  </a:lnTo>
                  <a:lnTo>
                    <a:pt x="133" y="263"/>
                  </a:lnTo>
                  <a:lnTo>
                    <a:pt x="134" y="263"/>
                  </a:lnTo>
                  <a:lnTo>
                    <a:pt x="136" y="265"/>
                  </a:lnTo>
                  <a:lnTo>
                    <a:pt x="137" y="266"/>
                  </a:lnTo>
                  <a:lnTo>
                    <a:pt x="142" y="269"/>
                  </a:lnTo>
                  <a:lnTo>
                    <a:pt x="143" y="269"/>
                  </a:lnTo>
                  <a:lnTo>
                    <a:pt x="145" y="271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6" y="272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7"/>
                  </a:lnTo>
                  <a:lnTo>
                    <a:pt x="145" y="278"/>
                  </a:lnTo>
                  <a:lnTo>
                    <a:pt x="145" y="278"/>
                  </a:lnTo>
                  <a:lnTo>
                    <a:pt x="146" y="280"/>
                  </a:lnTo>
                  <a:lnTo>
                    <a:pt x="146" y="280"/>
                  </a:lnTo>
                  <a:lnTo>
                    <a:pt x="150" y="282"/>
                  </a:lnTo>
                  <a:lnTo>
                    <a:pt x="160" y="283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8" y="285"/>
                  </a:lnTo>
                  <a:lnTo>
                    <a:pt x="170" y="285"/>
                  </a:lnTo>
                  <a:lnTo>
                    <a:pt x="174" y="283"/>
                  </a:lnTo>
                  <a:lnTo>
                    <a:pt x="176" y="282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80" y="278"/>
                  </a:lnTo>
                  <a:lnTo>
                    <a:pt x="183" y="280"/>
                  </a:lnTo>
                  <a:lnTo>
                    <a:pt x="183" y="280"/>
                  </a:lnTo>
                  <a:lnTo>
                    <a:pt x="185" y="280"/>
                  </a:lnTo>
                  <a:lnTo>
                    <a:pt x="187" y="278"/>
                  </a:lnTo>
                  <a:lnTo>
                    <a:pt x="188" y="278"/>
                  </a:lnTo>
                  <a:lnTo>
                    <a:pt x="188" y="278"/>
                  </a:lnTo>
                  <a:lnTo>
                    <a:pt x="188" y="280"/>
                  </a:lnTo>
                  <a:lnTo>
                    <a:pt x="188" y="280"/>
                  </a:lnTo>
                  <a:lnTo>
                    <a:pt x="190" y="282"/>
                  </a:lnTo>
                  <a:lnTo>
                    <a:pt x="190" y="282"/>
                  </a:lnTo>
                  <a:lnTo>
                    <a:pt x="191" y="280"/>
                  </a:lnTo>
                  <a:lnTo>
                    <a:pt x="191" y="280"/>
                  </a:lnTo>
                  <a:lnTo>
                    <a:pt x="193" y="282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4" y="283"/>
                  </a:lnTo>
                  <a:lnTo>
                    <a:pt x="196" y="283"/>
                  </a:lnTo>
                  <a:lnTo>
                    <a:pt x="196" y="282"/>
                  </a:lnTo>
                  <a:lnTo>
                    <a:pt x="196" y="278"/>
                  </a:lnTo>
                  <a:lnTo>
                    <a:pt x="196" y="275"/>
                  </a:lnTo>
                  <a:lnTo>
                    <a:pt x="196" y="272"/>
                  </a:lnTo>
                  <a:lnTo>
                    <a:pt x="197" y="271"/>
                  </a:lnTo>
                  <a:lnTo>
                    <a:pt x="202" y="266"/>
                  </a:lnTo>
                  <a:lnTo>
                    <a:pt x="202" y="265"/>
                  </a:lnTo>
                  <a:lnTo>
                    <a:pt x="203" y="263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205" y="260"/>
                  </a:lnTo>
                  <a:lnTo>
                    <a:pt x="208" y="262"/>
                  </a:lnTo>
                  <a:lnTo>
                    <a:pt x="213" y="263"/>
                  </a:lnTo>
                  <a:lnTo>
                    <a:pt x="214" y="263"/>
                  </a:lnTo>
                  <a:lnTo>
                    <a:pt x="214" y="260"/>
                  </a:lnTo>
                  <a:lnTo>
                    <a:pt x="214" y="260"/>
                  </a:lnTo>
                  <a:lnTo>
                    <a:pt x="214" y="260"/>
                  </a:lnTo>
                  <a:lnTo>
                    <a:pt x="214" y="258"/>
                  </a:lnTo>
                  <a:lnTo>
                    <a:pt x="214" y="258"/>
                  </a:lnTo>
                  <a:lnTo>
                    <a:pt x="214" y="257"/>
                  </a:lnTo>
                  <a:lnTo>
                    <a:pt x="214" y="255"/>
                  </a:lnTo>
                  <a:lnTo>
                    <a:pt x="216" y="249"/>
                  </a:lnTo>
                  <a:lnTo>
                    <a:pt x="216" y="246"/>
                  </a:lnTo>
                  <a:lnTo>
                    <a:pt x="216" y="242"/>
                  </a:lnTo>
                  <a:lnTo>
                    <a:pt x="216" y="238"/>
                  </a:lnTo>
                  <a:lnTo>
                    <a:pt x="217" y="237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8" y="237"/>
                  </a:lnTo>
                  <a:lnTo>
                    <a:pt x="230" y="238"/>
                  </a:lnTo>
                  <a:lnTo>
                    <a:pt x="230" y="240"/>
                  </a:lnTo>
                  <a:lnTo>
                    <a:pt x="230" y="242"/>
                  </a:lnTo>
                  <a:lnTo>
                    <a:pt x="230" y="243"/>
                  </a:lnTo>
                  <a:lnTo>
                    <a:pt x="230" y="243"/>
                  </a:lnTo>
                  <a:lnTo>
                    <a:pt x="236" y="242"/>
                  </a:lnTo>
                  <a:lnTo>
                    <a:pt x="236" y="242"/>
                  </a:lnTo>
                  <a:lnTo>
                    <a:pt x="237" y="240"/>
                  </a:lnTo>
                  <a:lnTo>
                    <a:pt x="237" y="240"/>
                  </a:lnTo>
                  <a:lnTo>
                    <a:pt x="237" y="238"/>
                  </a:lnTo>
                  <a:lnTo>
                    <a:pt x="239" y="237"/>
                  </a:lnTo>
                  <a:lnTo>
                    <a:pt x="239" y="237"/>
                  </a:lnTo>
                  <a:lnTo>
                    <a:pt x="239" y="238"/>
                  </a:lnTo>
                  <a:lnTo>
                    <a:pt x="239" y="238"/>
                  </a:lnTo>
                  <a:lnTo>
                    <a:pt x="240" y="238"/>
                  </a:lnTo>
                  <a:lnTo>
                    <a:pt x="244" y="238"/>
                  </a:lnTo>
                  <a:lnTo>
                    <a:pt x="245" y="238"/>
                  </a:lnTo>
                  <a:lnTo>
                    <a:pt x="248" y="242"/>
                  </a:lnTo>
                  <a:lnTo>
                    <a:pt x="251" y="242"/>
                  </a:lnTo>
                  <a:lnTo>
                    <a:pt x="253" y="243"/>
                  </a:lnTo>
                  <a:lnTo>
                    <a:pt x="257" y="246"/>
                  </a:lnTo>
                  <a:lnTo>
                    <a:pt x="259" y="246"/>
                  </a:lnTo>
                  <a:lnTo>
                    <a:pt x="264" y="249"/>
                  </a:lnTo>
                  <a:lnTo>
                    <a:pt x="270" y="252"/>
                  </a:lnTo>
                  <a:lnTo>
                    <a:pt x="271" y="252"/>
                  </a:lnTo>
                  <a:lnTo>
                    <a:pt x="273" y="252"/>
                  </a:lnTo>
                  <a:lnTo>
                    <a:pt x="274" y="252"/>
                  </a:lnTo>
                  <a:lnTo>
                    <a:pt x="276" y="251"/>
                  </a:lnTo>
                  <a:lnTo>
                    <a:pt x="277" y="251"/>
                  </a:lnTo>
                  <a:lnTo>
                    <a:pt x="279" y="251"/>
                  </a:lnTo>
                  <a:lnTo>
                    <a:pt x="280" y="251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82" y="252"/>
                  </a:lnTo>
                  <a:lnTo>
                    <a:pt x="284" y="254"/>
                  </a:lnTo>
                  <a:lnTo>
                    <a:pt x="284" y="254"/>
                  </a:lnTo>
                  <a:lnTo>
                    <a:pt x="285" y="254"/>
                  </a:lnTo>
                  <a:lnTo>
                    <a:pt x="284" y="255"/>
                  </a:lnTo>
                  <a:lnTo>
                    <a:pt x="285" y="254"/>
                  </a:lnTo>
                  <a:lnTo>
                    <a:pt x="285" y="254"/>
                  </a:lnTo>
                  <a:lnTo>
                    <a:pt x="287" y="255"/>
                  </a:lnTo>
                  <a:lnTo>
                    <a:pt x="287" y="255"/>
                  </a:lnTo>
                  <a:lnTo>
                    <a:pt x="287" y="255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96" y="263"/>
                  </a:lnTo>
                  <a:lnTo>
                    <a:pt x="299" y="265"/>
                  </a:lnTo>
                  <a:lnTo>
                    <a:pt x="307" y="265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7" y="266"/>
                  </a:lnTo>
                  <a:lnTo>
                    <a:pt x="319" y="266"/>
                  </a:lnTo>
                  <a:lnTo>
                    <a:pt x="319" y="266"/>
                  </a:lnTo>
                  <a:lnTo>
                    <a:pt x="321" y="266"/>
                  </a:lnTo>
                  <a:lnTo>
                    <a:pt x="322" y="266"/>
                  </a:lnTo>
                  <a:lnTo>
                    <a:pt x="325" y="258"/>
                  </a:lnTo>
                  <a:lnTo>
                    <a:pt x="327" y="258"/>
                  </a:lnTo>
                  <a:lnTo>
                    <a:pt x="328" y="258"/>
                  </a:lnTo>
                  <a:lnTo>
                    <a:pt x="330" y="258"/>
                  </a:lnTo>
                  <a:lnTo>
                    <a:pt x="331" y="258"/>
                  </a:lnTo>
                  <a:lnTo>
                    <a:pt x="331" y="258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7" y="260"/>
                  </a:lnTo>
                  <a:lnTo>
                    <a:pt x="339" y="260"/>
                  </a:lnTo>
                  <a:lnTo>
                    <a:pt x="341" y="262"/>
                  </a:lnTo>
                  <a:lnTo>
                    <a:pt x="341" y="262"/>
                  </a:lnTo>
                  <a:lnTo>
                    <a:pt x="342" y="263"/>
                  </a:lnTo>
                  <a:lnTo>
                    <a:pt x="342" y="265"/>
                  </a:lnTo>
                  <a:lnTo>
                    <a:pt x="344" y="266"/>
                  </a:lnTo>
                  <a:lnTo>
                    <a:pt x="344" y="266"/>
                  </a:lnTo>
                  <a:lnTo>
                    <a:pt x="347" y="266"/>
                  </a:lnTo>
                  <a:lnTo>
                    <a:pt x="348" y="266"/>
                  </a:lnTo>
                  <a:lnTo>
                    <a:pt x="351" y="268"/>
                  </a:lnTo>
                  <a:lnTo>
                    <a:pt x="353" y="269"/>
                  </a:lnTo>
                  <a:lnTo>
                    <a:pt x="354" y="268"/>
                  </a:lnTo>
                  <a:lnTo>
                    <a:pt x="356" y="268"/>
                  </a:lnTo>
                  <a:lnTo>
                    <a:pt x="357" y="268"/>
                  </a:lnTo>
                  <a:lnTo>
                    <a:pt x="359" y="269"/>
                  </a:lnTo>
                  <a:lnTo>
                    <a:pt x="361" y="277"/>
                  </a:lnTo>
                  <a:lnTo>
                    <a:pt x="364" y="280"/>
                  </a:lnTo>
                  <a:lnTo>
                    <a:pt x="364" y="278"/>
                  </a:lnTo>
                  <a:lnTo>
                    <a:pt x="365" y="277"/>
                  </a:lnTo>
                  <a:lnTo>
                    <a:pt x="365" y="275"/>
                  </a:lnTo>
                  <a:lnTo>
                    <a:pt x="370" y="265"/>
                  </a:lnTo>
                  <a:lnTo>
                    <a:pt x="371" y="262"/>
                  </a:lnTo>
                  <a:lnTo>
                    <a:pt x="373" y="258"/>
                  </a:lnTo>
                  <a:lnTo>
                    <a:pt x="374" y="258"/>
                  </a:lnTo>
                  <a:lnTo>
                    <a:pt x="374" y="255"/>
                  </a:lnTo>
                  <a:lnTo>
                    <a:pt x="376" y="254"/>
                  </a:lnTo>
                  <a:lnTo>
                    <a:pt x="379" y="252"/>
                  </a:lnTo>
                  <a:lnTo>
                    <a:pt x="384" y="251"/>
                  </a:lnTo>
                  <a:lnTo>
                    <a:pt x="387" y="252"/>
                  </a:lnTo>
                  <a:lnTo>
                    <a:pt x="394" y="255"/>
                  </a:lnTo>
                  <a:lnTo>
                    <a:pt x="396" y="255"/>
                  </a:lnTo>
                  <a:lnTo>
                    <a:pt x="398" y="255"/>
                  </a:lnTo>
                  <a:lnTo>
                    <a:pt x="399" y="254"/>
                  </a:lnTo>
                  <a:lnTo>
                    <a:pt x="401" y="254"/>
                  </a:lnTo>
                  <a:lnTo>
                    <a:pt x="402" y="254"/>
                  </a:lnTo>
                  <a:lnTo>
                    <a:pt x="404" y="257"/>
                  </a:lnTo>
                  <a:lnTo>
                    <a:pt x="407" y="257"/>
                  </a:lnTo>
                  <a:lnTo>
                    <a:pt x="421" y="251"/>
                  </a:lnTo>
                  <a:lnTo>
                    <a:pt x="422" y="251"/>
                  </a:lnTo>
                  <a:lnTo>
                    <a:pt x="425" y="246"/>
                  </a:lnTo>
                  <a:lnTo>
                    <a:pt x="427" y="245"/>
                  </a:lnTo>
                  <a:lnTo>
                    <a:pt x="428" y="245"/>
                  </a:lnTo>
                  <a:lnTo>
                    <a:pt x="430" y="245"/>
                  </a:lnTo>
                  <a:lnTo>
                    <a:pt x="431" y="245"/>
                  </a:lnTo>
                  <a:lnTo>
                    <a:pt x="433" y="243"/>
                  </a:lnTo>
                  <a:lnTo>
                    <a:pt x="433" y="242"/>
                  </a:lnTo>
                  <a:lnTo>
                    <a:pt x="434" y="238"/>
                  </a:lnTo>
                  <a:lnTo>
                    <a:pt x="434" y="237"/>
                  </a:lnTo>
                  <a:lnTo>
                    <a:pt x="436" y="234"/>
                  </a:lnTo>
                  <a:lnTo>
                    <a:pt x="438" y="234"/>
                  </a:lnTo>
                  <a:lnTo>
                    <a:pt x="439" y="234"/>
                  </a:lnTo>
                  <a:lnTo>
                    <a:pt x="442" y="234"/>
                  </a:lnTo>
                  <a:lnTo>
                    <a:pt x="445" y="232"/>
                  </a:lnTo>
                  <a:lnTo>
                    <a:pt x="447" y="231"/>
                  </a:lnTo>
                  <a:lnTo>
                    <a:pt x="448" y="228"/>
                  </a:lnTo>
                  <a:lnTo>
                    <a:pt x="450" y="225"/>
                  </a:lnTo>
                  <a:lnTo>
                    <a:pt x="450" y="220"/>
                  </a:lnTo>
                  <a:lnTo>
                    <a:pt x="450" y="220"/>
                  </a:lnTo>
                  <a:lnTo>
                    <a:pt x="450" y="217"/>
                  </a:lnTo>
                  <a:lnTo>
                    <a:pt x="450" y="212"/>
                  </a:lnTo>
                  <a:lnTo>
                    <a:pt x="451" y="209"/>
                  </a:lnTo>
                  <a:lnTo>
                    <a:pt x="453" y="206"/>
                  </a:lnTo>
                  <a:lnTo>
                    <a:pt x="456" y="205"/>
                  </a:lnTo>
                  <a:lnTo>
                    <a:pt x="465" y="200"/>
                  </a:lnTo>
                  <a:lnTo>
                    <a:pt x="468" y="198"/>
                  </a:lnTo>
                  <a:lnTo>
                    <a:pt x="470" y="197"/>
                  </a:lnTo>
                  <a:lnTo>
                    <a:pt x="470" y="192"/>
                  </a:lnTo>
                  <a:lnTo>
                    <a:pt x="473" y="192"/>
                  </a:lnTo>
                  <a:lnTo>
                    <a:pt x="475" y="191"/>
                  </a:lnTo>
                  <a:lnTo>
                    <a:pt x="478" y="188"/>
                  </a:lnTo>
                  <a:lnTo>
                    <a:pt x="481" y="186"/>
                  </a:lnTo>
                  <a:lnTo>
                    <a:pt x="481" y="185"/>
                  </a:lnTo>
                  <a:lnTo>
                    <a:pt x="481" y="185"/>
                  </a:lnTo>
                  <a:lnTo>
                    <a:pt x="481" y="181"/>
                  </a:lnTo>
                  <a:lnTo>
                    <a:pt x="482" y="181"/>
                  </a:lnTo>
                  <a:lnTo>
                    <a:pt x="484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8" y="180"/>
                  </a:lnTo>
                  <a:lnTo>
                    <a:pt x="490" y="180"/>
                  </a:lnTo>
                  <a:lnTo>
                    <a:pt x="491" y="180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9" y="178"/>
                  </a:lnTo>
                  <a:lnTo>
                    <a:pt x="501" y="178"/>
                  </a:lnTo>
                  <a:lnTo>
                    <a:pt x="504" y="178"/>
                  </a:lnTo>
                  <a:lnTo>
                    <a:pt x="504" y="175"/>
                  </a:lnTo>
                  <a:lnTo>
                    <a:pt x="504" y="174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94"/>
            <p:cNvSpPr>
              <a:spLocks/>
            </p:cNvSpPr>
            <p:nvPr/>
          </p:nvSpPr>
          <p:spPr bwMode="gray">
            <a:xfrm>
              <a:off x="7110413" y="6459538"/>
              <a:ext cx="800100" cy="454025"/>
            </a:xfrm>
            <a:custGeom>
              <a:avLst/>
              <a:gdLst>
                <a:gd name="T0" fmla="*/ 491 w 504"/>
                <a:gd name="T1" fmla="*/ 157 h 286"/>
                <a:gd name="T2" fmla="*/ 478 w 504"/>
                <a:gd name="T3" fmla="*/ 134 h 286"/>
                <a:gd name="T4" fmla="*/ 458 w 504"/>
                <a:gd name="T5" fmla="*/ 126 h 286"/>
                <a:gd name="T6" fmla="*/ 444 w 504"/>
                <a:gd name="T7" fmla="*/ 120 h 286"/>
                <a:gd name="T8" fmla="*/ 421 w 504"/>
                <a:gd name="T9" fmla="*/ 112 h 286"/>
                <a:gd name="T10" fmla="*/ 410 w 504"/>
                <a:gd name="T11" fmla="*/ 104 h 286"/>
                <a:gd name="T12" fmla="*/ 422 w 504"/>
                <a:gd name="T13" fmla="*/ 88 h 286"/>
                <a:gd name="T14" fmla="*/ 399 w 504"/>
                <a:gd name="T15" fmla="*/ 94 h 286"/>
                <a:gd name="T16" fmla="*/ 393 w 504"/>
                <a:gd name="T17" fmla="*/ 84 h 286"/>
                <a:gd name="T18" fmla="*/ 373 w 504"/>
                <a:gd name="T19" fmla="*/ 75 h 286"/>
                <a:gd name="T20" fmla="*/ 367 w 504"/>
                <a:gd name="T21" fmla="*/ 91 h 286"/>
                <a:gd name="T22" fmla="*/ 361 w 504"/>
                <a:gd name="T23" fmla="*/ 97 h 286"/>
                <a:gd name="T24" fmla="*/ 339 w 504"/>
                <a:gd name="T25" fmla="*/ 109 h 286"/>
                <a:gd name="T26" fmla="*/ 319 w 504"/>
                <a:gd name="T27" fmla="*/ 81 h 286"/>
                <a:gd name="T28" fmla="*/ 308 w 504"/>
                <a:gd name="T29" fmla="*/ 71 h 286"/>
                <a:gd name="T30" fmla="*/ 322 w 504"/>
                <a:gd name="T31" fmla="*/ 61 h 286"/>
                <a:gd name="T32" fmla="*/ 308 w 504"/>
                <a:gd name="T33" fmla="*/ 46 h 286"/>
                <a:gd name="T34" fmla="*/ 293 w 504"/>
                <a:gd name="T35" fmla="*/ 46 h 286"/>
                <a:gd name="T36" fmla="*/ 267 w 504"/>
                <a:gd name="T37" fmla="*/ 34 h 286"/>
                <a:gd name="T38" fmla="*/ 242 w 504"/>
                <a:gd name="T39" fmla="*/ 23 h 286"/>
                <a:gd name="T40" fmla="*/ 228 w 504"/>
                <a:gd name="T41" fmla="*/ 4 h 286"/>
                <a:gd name="T42" fmla="*/ 216 w 504"/>
                <a:gd name="T43" fmla="*/ 6 h 286"/>
                <a:gd name="T44" fmla="*/ 208 w 504"/>
                <a:gd name="T45" fmla="*/ 21 h 286"/>
                <a:gd name="T46" fmla="*/ 191 w 504"/>
                <a:gd name="T47" fmla="*/ 15 h 286"/>
                <a:gd name="T48" fmla="*/ 180 w 504"/>
                <a:gd name="T49" fmla="*/ 3 h 286"/>
                <a:gd name="T50" fmla="*/ 163 w 504"/>
                <a:gd name="T51" fmla="*/ 3 h 286"/>
                <a:gd name="T52" fmla="*/ 162 w 504"/>
                <a:gd name="T53" fmla="*/ 18 h 286"/>
                <a:gd name="T54" fmla="*/ 134 w 504"/>
                <a:gd name="T55" fmla="*/ 32 h 286"/>
                <a:gd name="T56" fmla="*/ 108 w 504"/>
                <a:gd name="T57" fmla="*/ 41 h 286"/>
                <a:gd name="T58" fmla="*/ 97 w 504"/>
                <a:gd name="T59" fmla="*/ 49 h 286"/>
                <a:gd name="T60" fmla="*/ 77 w 504"/>
                <a:gd name="T61" fmla="*/ 63 h 286"/>
                <a:gd name="T62" fmla="*/ 66 w 504"/>
                <a:gd name="T63" fmla="*/ 74 h 286"/>
                <a:gd name="T64" fmla="*/ 42 w 504"/>
                <a:gd name="T65" fmla="*/ 75 h 286"/>
                <a:gd name="T66" fmla="*/ 28 w 504"/>
                <a:gd name="T67" fmla="*/ 83 h 286"/>
                <a:gd name="T68" fmla="*/ 16 w 504"/>
                <a:gd name="T69" fmla="*/ 103 h 286"/>
                <a:gd name="T70" fmla="*/ 12 w 504"/>
                <a:gd name="T71" fmla="*/ 94 h 286"/>
                <a:gd name="T72" fmla="*/ 3 w 504"/>
                <a:gd name="T73" fmla="*/ 88 h 286"/>
                <a:gd name="T74" fmla="*/ 9 w 504"/>
                <a:gd name="T75" fmla="*/ 111 h 286"/>
                <a:gd name="T76" fmla="*/ 32 w 504"/>
                <a:gd name="T77" fmla="*/ 131 h 286"/>
                <a:gd name="T78" fmla="*/ 25 w 504"/>
                <a:gd name="T79" fmla="*/ 154 h 286"/>
                <a:gd name="T80" fmla="*/ 36 w 504"/>
                <a:gd name="T81" fmla="*/ 168 h 286"/>
                <a:gd name="T82" fmla="*/ 45 w 504"/>
                <a:gd name="T83" fmla="*/ 188 h 286"/>
                <a:gd name="T84" fmla="*/ 69 w 504"/>
                <a:gd name="T85" fmla="*/ 203 h 286"/>
                <a:gd name="T86" fmla="*/ 97 w 504"/>
                <a:gd name="T87" fmla="*/ 231 h 286"/>
                <a:gd name="T88" fmla="*/ 114 w 504"/>
                <a:gd name="T89" fmla="*/ 242 h 286"/>
                <a:gd name="T90" fmla="*/ 142 w 504"/>
                <a:gd name="T91" fmla="*/ 269 h 286"/>
                <a:gd name="T92" fmla="*/ 145 w 504"/>
                <a:gd name="T93" fmla="*/ 278 h 286"/>
                <a:gd name="T94" fmla="*/ 183 w 504"/>
                <a:gd name="T95" fmla="*/ 280 h 286"/>
                <a:gd name="T96" fmla="*/ 194 w 504"/>
                <a:gd name="T97" fmla="*/ 283 h 286"/>
                <a:gd name="T98" fmla="*/ 214 w 504"/>
                <a:gd name="T99" fmla="*/ 263 h 286"/>
                <a:gd name="T100" fmla="*/ 217 w 504"/>
                <a:gd name="T101" fmla="*/ 235 h 286"/>
                <a:gd name="T102" fmla="*/ 239 w 504"/>
                <a:gd name="T103" fmla="*/ 237 h 286"/>
                <a:gd name="T104" fmla="*/ 273 w 504"/>
                <a:gd name="T105" fmla="*/ 252 h 286"/>
                <a:gd name="T106" fmla="*/ 285 w 504"/>
                <a:gd name="T107" fmla="*/ 254 h 286"/>
                <a:gd name="T108" fmla="*/ 321 w 504"/>
                <a:gd name="T109" fmla="*/ 266 h 286"/>
                <a:gd name="T110" fmla="*/ 342 w 504"/>
                <a:gd name="T111" fmla="*/ 265 h 286"/>
                <a:gd name="T112" fmla="*/ 365 w 504"/>
                <a:gd name="T113" fmla="*/ 275 h 286"/>
                <a:gd name="T114" fmla="*/ 402 w 504"/>
                <a:gd name="T115" fmla="*/ 254 h 286"/>
                <a:gd name="T116" fmla="*/ 438 w 504"/>
                <a:gd name="T117" fmla="*/ 234 h 286"/>
                <a:gd name="T118" fmla="*/ 468 w 504"/>
                <a:gd name="T119" fmla="*/ 198 h 286"/>
                <a:gd name="T120" fmla="*/ 490 w 504"/>
                <a:gd name="T121" fmla="*/ 18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4" h="286">
                  <a:moveTo>
                    <a:pt x="504" y="174"/>
                  </a:moveTo>
                  <a:lnTo>
                    <a:pt x="502" y="169"/>
                  </a:lnTo>
                  <a:lnTo>
                    <a:pt x="502" y="168"/>
                  </a:lnTo>
                  <a:lnTo>
                    <a:pt x="502" y="166"/>
                  </a:lnTo>
                  <a:lnTo>
                    <a:pt x="501" y="165"/>
                  </a:lnTo>
                  <a:lnTo>
                    <a:pt x="501" y="160"/>
                  </a:lnTo>
                  <a:lnTo>
                    <a:pt x="501" y="160"/>
                  </a:lnTo>
                  <a:lnTo>
                    <a:pt x="499" y="158"/>
                  </a:lnTo>
                  <a:lnTo>
                    <a:pt x="498" y="158"/>
                  </a:lnTo>
                  <a:lnTo>
                    <a:pt x="498" y="160"/>
                  </a:lnTo>
                  <a:lnTo>
                    <a:pt x="496" y="160"/>
                  </a:lnTo>
                  <a:lnTo>
                    <a:pt x="495" y="158"/>
                  </a:lnTo>
                  <a:lnTo>
                    <a:pt x="493" y="157"/>
                  </a:lnTo>
                  <a:lnTo>
                    <a:pt x="493" y="157"/>
                  </a:lnTo>
                  <a:lnTo>
                    <a:pt x="491" y="157"/>
                  </a:lnTo>
                  <a:lnTo>
                    <a:pt x="488" y="155"/>
                  </a:lnTo>
                  <a:lnTo>
                    <a:pt x="488" y="155"/>
                  </a:lnTo>
                  <a:lnTo>
                    <a:pt x="488" y="154"/>
                  </a:lnTo>
                  <a:lnTo>
                    <a:pt x="487" y="151"/>
                  </a:lnTo>
                  <a:lnTo>
                    <a:pt x="485" y="148"/>
                  </a:lnTo>
                  <a:lnTo>
                    <a:pt x="484" y="145"/>
                  </a:lnTo>
                  <a:lnTo>
                    <a:pt x="484" y="141"/>
                  </a:lnTo>
                  <a:lnTo>
                    <a:pt x="485" y="138"/>
                  </a:lnTo>
                  <a:lnTo>
                    <a:pt x="484" y="137"/>
                  </a:lnTo>
                  <a:lnTo>
                    <a:pt x="484" y="135"/>
                  </a:lnTo>
                  <a:lnTo>
                    <a:pt x="484" y="134"/>
                  </a:lnTo>
                  <a:lnTo>
                    <a:pt x="484" y="132"/>
                  </a:lnTo>
                  <a:lnTo>
                    <a:pt x="482" y="132"/>
                  </a:lnTo>
                  <a:lnTo>
                    <a:pt x="479" y="134"/>
                  </a:lnTo>
                  <a:lnTo>
                    <a:pt x="478" y="134"/>
                  </a:lnTo>
                  <a:lnTo>
                    <a:pt x="471" y="131"/>
                  </a:lnTo>
                  <a:lnTo>
                    <a:pt x="470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2"/>
                  </a:lnTo>
                  <a:lnTo>
                    <a:pt x="464" y="132"/>
                  </a:lnTo>
                  <a:lnTo>
                    <a:pt x="462" y="131"/>
                  </a:lnTo>
                  <a:lnTo>
                    <a:pt x="462" y="131"/>
                  </a:lnTo>
                  <a:lnTo>
                    <a:pt x="461" y="128"/>
                  </a:lnTo>
                  <a:lnTo>
                    <a:pt x="461" y="128"/>
                  </a:lnTo>
                  <a:lnTo>
                    <a:pt x="459" y="128"/>
                  </a:lnTo>
                  <a:lnTo>
                    <a:pt x="458" y="126"/>
                  </a:lnTo>
                  <a:lnTo>
                    <a:pt x="458" y="126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48" y="123"/>
                  </a:lnTo>
                  <a:lnTo>
                    <a:pt x="448" y="121"/>
                  </a:lnTo>
                  <a:lnTo>
                    <a:pt x="448" y="120"/>
                  </a:lnTo>
                  <a:lnTo>
                    <a:pt x="444" y="117"/>
                  </a:lnTo>
                  <a:lnTo>
                    <a:pt x="444" y="117"/>
                  </a:lnTo>
                  <a:lnTo>
                    <a:pt x="442" y="117"/>
                  </a:lnTo>
                  <a:lnTo>
                    <a:pt x="442" y="118"/>
                  </a:lnTo>
                  <a:lnTo>
                    <a:pt x="442" y="118"/>
                  </a:lnTo>
                  <a:lnTo>
                    <a:pt x="444" y="118"/>
                  </a:lnTo>
                  <a:lnTo>
                    <a:pt x="444" y="118"/>
                  </a:lnTo>
                  <a:lnTo>
                    <a:pt x="444" y="120"/>
                  </a:lnTo>
                  <a:lnTo>
                    <a:pt x="444" y="120"/>
                  </a:lnTo>
                  <a:lnTo>
                    <a:pt x="444" y="121"/>
                  </a:lnTo>
                  <a:lnTo>
                    <a:pt x="442" y="121"/>
                  </a:lnTo>
                  <a:lnTo>
                    <a:pt x="439" y="121"/>
                  </a:lnTo>
                  <a:lnTo>
                    <a:pt x="438" y="123"/>
                  </a:lnTo>
                  <a:lnTo>
                    <a:pt x="434" y="124"/>
                  </a:lnTo>
                  <a:lnTo>
                    <a:pt x="433" y="124"/>
                  </a:lnTo>
                  <a:lnTo>
                    <a:pt x="430" y="124"/>
                  </a:lnTo>
                  <a:lnTo>
                    <a:pt x="425" y="120"/>
                  </a:lnTo>
                  <a:lnTo>
                    <a:pt x="424" y="118"/>
                  </a:lnTo>
                  <a:lnTo>
                    <a:pt x="424" y="117"/>
                  </a:lnTo>
                  <a:lnTo>
                    <a:pt x="424" y="115"/>
                  </a:lnTo>
                  <a:lnTo>
                    <a:pt x="422" y="114"/>
                  </a:lnTo>
                  <a:lnTo>
                    <a:pt x="422" y="114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2" y="111"/>
                  </a:lnTo>
                  <a:lnTo>
                    <a:pt x="421" y="111"/>
                  </a:lnTo>
                  <a:lnTo>
                    <a:pt x="419" y="109"/>
                  </a:lnTo>
                  <a:lnTo>
                    <a:pt x="418" y="109"/>
                  </a:lnTo>
                  <a:lnTo>
                    <a:pt x="418" y="109"/>
                  </a:lnTo>
                  <a:lnTo>
                    <a:pt x="416" y="109"/>
                  </a:lnTo>
                  <a:lnTo>
                    <a:pt x="416" y="109"/>
                  </a:lnTo>
                  <a:lnTo>
                    <a:pt x="414" y="109"/>
                  </a:lnTo>
                  <a:lnTo>
                    <a:pt x="411" y="104"/>
                  </a:lnTo>
                  <a:lnTo>
                    <a:pt x="410" y="104"/>
                  </a:lnTo>
                  <a:lnTo>
                    <a:pt x="411" y="103"/>
                  </a:lnTo>
                  <a:lnTo>
                    <a:pt x="411" y="103"/>
                  </a:lnTo>
                  <a:lnTo>
                    <a:pt x="416" y="101"/>
                  </a:lnTo>
                  <a:lnTo>
                    <a:pt x="418" y="101"/>
                  </a:lnTo>
                  <a:lnTo>
                    <a:pt x="421" y="100"/>
                  </a:lnTo>
                  <a:lnTo>
                    <a:pt x="422" y="98"/>
                  </a:lnTo>
                  <a:lnTo>
                    <a:pt x="422" y="97"/>
                  </a:lnTo>
                  <a:lnTo>
                    <a:pt x="422" y="94"/>
                  </a:lnTo>
                  <a:lnTo>
                    <a:pt x="421" y="94"/>
                  </a:lnTo>
                  <a:lnTo>
                    <a:pt x="421" y="92"/>
                  </a:lnTo>
                  <a:lnTo>
                    <a:pt x="421" y="91"/>
                  </a:lnTo>
                  <a:lnTo>
                    <a:pt x="422" y="89"/>
                  </a:lnTo>
                  <a:lnTo>
                    <a:pt x="422" y="89"/>
                  </a:lnTo>
                  <a:lnTo>
                    <a:pt x="422" y="88"/>
                  </a:lnTo>
                  <a:lnTo>
                    <a:pt x="422" y="88"/>
                  </a:lnTo>
                  <a:lnTo>
                    <a:pt x="422" y="88"/>
                  </a:lnTo>
                  <a:lnTo>
                    <a:pt x="421" y="86"/>
                  </a:lnTo>
                  <a:lnTo>
                    <a:pt x="421" y="86"/>
                  </a:lnTo>
                  <a:lnTo>
                    <a:pt x="419" y="84"/>
                  </a:lnTo>
                  <a:lnTo>
                    <a:pt x="418" y="86"/>
                  </a:lnTo>
                  <a:lnTo>
                    <a:pt x="418" y="86"/>
                  </a:lnTo>
                  <a:lnTo>
                    <a:pt x="418" y="88"/>
                  </a:lnTo>
                  <a:lnTo>
                    <a:pt x="416" y="91"/>
                  </a:lnTo>
                  <a:lnTo>
                    <a:pt x="414" y="91"/>
                  </a:lnTo>
                  <a:lnTo>
                    <a:pt x="413" y="92"/>
                  </a:lnTo>
                  <a:lnTo>
                    <a:pt x="405" y="91"/>
                  </a:lnTo>
                  <a:lnTo>
                    <a:pt x="402" y="91"/>
                  </a:lnTo>
                  <a:lnTo>
                    <a:pt x="401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9" y="94"/>
                  </a:lnTo>
                  <a:lnTo>
                    <a:pt x="398" y="91"/>
                  </a:lnTo>
                  <a:lnTo>
                    <a:pt x="396" y="91"/>
                  </a:lnTo>
                  <a:lnTo>
                    <a:pt x="394" y="91"/>
                  </a:lnTo>
                  <a:lnTo>
                    <a:pt x="394" y="92"/>
                  </a:lnTo>
                  <a:lnTo>
                    <a:pt x="393" y="92"/>
                  </a:lnTo>
                  <a:lnTo>
                    <a:pt x="393" y="91"/>
                  </a:lnTo>
                  <a:lnTo>
                    <a:pt x="391" y="89"/>
                  </a:lnTo>
                  <a:lnTo>
                    <a:pt x="391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1" y="86"/>
                  </a:lnTo>
                  <a:lnTo>
                    <a:pt x="391" y="86"/>
                  </a:lnTo>
                  <a:lnTo>
                    <a:pt x="393" y="84"/>
                  </a:lnTo>
                  <a:lnTo>
                    <a:pt x="391" y="84"/>
                  </a:lnTo>
                  <a:lnTo>
                    <a:pt x="387" y="84"/>
                  </a:lnTo>
                  <a:lnTo>
                    <a:pt x="385" y="84"/>
                  </a:lnTo>
                  <a:lnTo>
                    <a:pt x="384" y="83"/>
                  </a:lnTo>
                  <a:lnTo>
                    <a:pt x="382" y="81"/>
                  </a:lnTo>
                  <a:lnTo>
                    <a:pt x="382" y="81"/>
                  </a:lnTo>
                  <a:lnTo>
                    <a:pt x="381" y="80"/>
                  </a:lnTo>
                  <a:lnTo>
                    <a:pt x="381" y="78"/>
                  </a:lnTo>
                  <a:lnTo>
                    <a:pt x="381" y="78"/>
                  </a:lnTo>
                  <a:lnTo>
                    <a:pt x="381" y="77"/>
                  </a:lnTo>
                  <a:lnTo>
                    <a:pt x="377" y="78"/>
                  </a:lnTo>
                  <a:lnTo>
                    <a:pt x="377" y="78"/>
                  </a:lnTo>
                  <a:lnTo>
                    <a:pt x="376" y="77"/>
                  </a:lnTo>
                  <a:lnTo>
                    <a:pt x="374" y="75"/>
                  </a:lnTo>
                  <a:lnTo>
                    <a:pt x="373" y="75"/>
                  </a:lnTo>
                  <a:lnTo>
                    <a:pt x="365" y="74"/>
                  </a:lnTo>
                  <a:lnTo>
                    <a:pt x="364" y="74"/>
                  </a:lnTo>
                  <a:lnTo>
                    <a:pt x="364" y="72"/>
                  </a:lnTo>
                  <a:lnTo>
                    <a:pt x="361" y="72"/>
                  </a:lnTo>
                  <a:lnTo>
                    <a:pt x="359" y="71"/>
                  </a:lnTo>
                  <a:lnTo>
                    <a:pt x="357" y="72"/>
                  </a:lnTo>
                  <a:lnTo>
                    <a:pt x="357" y="74"/>
                  </a:lnTo>
                  <a:lnTo>
                    <a:pt x="359" y="78"/>
                  </a:lnTo>
                  <a:lnTo>
                    <a:pt x="361" y="80"/>
                  </a:lnTo>
                  <a:lnTo>
                    <a:pt x="361" y="83"/>
                  </a:lnTo>
                  <a:lnTo>
                    <a:pt x="362" y="84"/>
                  </a:lnTo>
                  <a:lnTo>
                    <a:pt x="364" y="86"/>
                  </a:lnTo>
                  <a:lnTo>
                    <a:pt x="365" y="88"/>
                  </a:lnTo>
                  <a:lnTo>
                    <a:pt x="367" y="89"/>
                  </a:lnTo>
                  <a:lnTo>
                    <a:pt x="367" y="91"/>
                  </a:lnTo>
                  <a:lnTo>
                    <a:pt x="367" y="94"/>
                  </a:lnTo>
                  <a:lnTo>
                    <a:pt x="368" y="95"/>
                  </a:lnTo>
                  <a:lnTo>
                    <a:pt x="368" y="97"/>
                  </a:lnTo>
                  <a:lnTo>
                    <a:pt x="368" y="97"/>
                  </a:lnTo>
                  <a:lnTo>
                    <a:pt x="367" y="97"/>
                  </a:lnTo>
                  <a:lnTo>
                    <a:pt x="367" y="95"/>
                  </a:lnTo>
                  <a:lnTo>
                    <a:pt x="365" y="95"/>
                  </a:lnTo>
                  <a:lnTo>
                    <a:pt x="365" y="95"/>
                  </a:lnTo>
                  <a:lnTo>
                    <a:pt x="364" y="95"/>
                  </a:lnTo>
                  <a:lnTo>
                    <a:pt x="364" y="95"/>
                  </a:lnTo>
                  <a:lnTo>
                    <a:pt x="364" y="97"/>
                  </a:lnTo>
                  <a:lnTo>
                    <a:pt x="364" y="97"/>
                  </a:lnTo>
                  <a:lnTo>
                    <a:pt x="364" y="97"/>
                  </a:lnTo>
                  <a:lnTo>
                    <a:pt x="362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7" y="100"/>
                  </a:lnTo>
                  <a:lnTo>
                    <a:pt x="356" y="100"/>
                  </a:lnTo>
                  <a:lnTo>
                    <a:pt x="354" y="100"/>
                  </a:lnTo>
                  <a:lnTo>
                    <a:pt x="354" y="100"/>
                  </a:lnTo>
                  <a:lnTo>
                    <a:pt x="351" y="101"/>
                  </a:lnTo>
                  <a:lnTo>
                    <a:pt x="351" y="103"/>
                  </a:lnTo>
                  <a:lnTo>
                    <a:pt x="350" y="104"/>
                  </a:lnTo>
                  <a:lnTo>
                    <a:pt x="348" y="106"/>
                  </a:lnTo>
                  <a:lnTo>
                    <a:pt x="347" y="108"/>
                  </a:lnTo>
                  <a:lnTo>
                    <a:pt x="345" y="111"/>
                  </a:lnTo>
                  <a:lnTo>
                    <a:pt x="342" y="111"/>
                  </a:lnTo>
                  <a:lnTo>
                    <a:pt x="339" y="109"/>
                  </a:lnTo>
                  <a:lnTo>
                    <a:pt x="336" y="106"/>
                  </a:lnTo>
                  <a:lnTo>
                    <a:pt x="334" y="104"/>
                  </a:lnTo>
                  <a:lnTo>
                    <a:pt x="334" y="103"/>
                  </a:lnTo>
                  <a:lnTo>
                    <a:pt x="333" y="100"/>
                  </a:lnTo>
                  <a:lnTo>
                    <a:pt x="333" y="97"/>
                  </a:lnTo>
                  <a:lnTo>
                    <a:pt x="330" y="95"/>
                  </a:lnTo>
                  <a:lnTo>
                    <a:pt x="330" y="94"/>
                  </a:lnTo>
                  <a:lnTo>
                    <a:pt x="328" y="92"/>
                  </a:lnTo>
                  <a:lnTo>
                    <a:pt x="327" y="89"/>
                  </a:lnTo>
                  <a:lnTo>
                    <a:pt x="325" y="88"/>
                  </a:lnTo>
                  <a:lnTo>
                    <a:pt x="324" y="86"/>
                  </a:lnTo>
                  <a:lnTo>
                    <a:pt x="321" y="84"/>
                  </a:lnTo>
                  <a:lnTo>
                    <a:pt x="319" y="83"/>
                  </a:lnTo>
                  <a:lnTo>
                    <a:pt x="319" y="81"/>
                  </a:lnTo>
                  <a:lnTo>
                    <a:pt x="319" y="81"/>
                  </a:lnTo>
                  <a:lnTo>
                    <a:pt x="319" y="80"/>
                  </a:lnTo>
                  <a:lnTo>
                    <a:pt x="319" y="78"/>
                  </a:lnTo>
                  <a:lnTo>
                    <a:pt x="317" y="78"/>
                  </a:lnTo>
                  <a:lnTo>
                    <a:pt x="314" y="78"/>
                  </a:lnTo>
                  <a:lnTo>
                    <a:pt x="313" y="78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1" y="78"/>
                  </a:lnTo>
                  <a:lnTo>
                    <a:pt x="311" y="78"/>
                  </a:lnTo>
                  <a:lnTo>
                    <a:pt x="310" y="75"/>
                  </a:lnTo>
                  <a:lnTo>
                    <a:pt x="308" y="74"/>
                  </a:lnTo>
                  <a:lnTo>
                    <a:pt x="307" y="72"/>
                  </a:lnTo>
                  <a:lnTo>
                    <a:pt x="308" y="71"/>
                  </a:lnTo>
                  <a:lnTo>
                    <a:pt x="310" y="71"/>
                  </a:lnTo>
                  <a:lnTo>
                    <a:pt x="308" y="71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1" y="68"/>
                  </a:lnTo>
                  <a:lnTo>
                    <a:pt x="313" y="66"/>
                  </a:lnTo>
                  <a:lnTo>
                    <a:pt x="314" y="66"/>
                  </a:lnTo>
                  <a:lnTo>
                    <a:pt x="314" y="64"/>
                  </a:lnTo>
                  <a:lnTo>
                    <a:pt x="316" y="64"/>
                  </a:lnTo>
                  <a:lnTo>
                    <a:pt x="317" y="64"/>
                  </a:lnTo>
                  <a:lnTo>
                    <a:pt x="319" y="64"/>
                  </a:lnTo>
                  <a:lnTo>
                    <a:pt x="321" y="63"/>
                  </a:lnTo>
                  <a:lnTo>
                    <a:pt x="322" y="61"/>
                  </a:lnTo>
                  <a:lnTo>
                    <a:pt x="322" y="61"/>
                  </a:lnTo>
                  <a:lnTo>
                    <a:pt x="322" y="61"/>
                  </a:lnTo>
                  <a:lnTo>
                    <a:pt x="322" y="60"/>
                  </a:lnTo>
                  <a:lnTo>
                    <a:pt x="322" y="60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22" y="57"/>
                  </a:lnTo>
                  <a:lnTo>
                    <a:pt x="322" y="57"/>
                  </a:lnTo>
                  <a:lnTo>
                    <a:pt x="325" y="55"/>
                  </a:lnTo>
                  <a:lnTo>
                    <a:pt x="324" y="54"/>
                  </a:lnTo>
                  <a:lnTo>
                    <a:pt x="317" y="46"/>
                  </a:lnTo>
                  <a:lnTo>
                    <a:pt x="316" y="46"/>
                  </a:lnTo>
                  <a:lnTo>
                    <a:pt x="313" y="44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08" y="46"/>
                  </a:lnTo>
                  <a:lnTo>
                    <a:pt x="308" y="48"/>
                  </a:lnTo>
                  <a:lnTo>
                    <a:pt x="307" y="49"/>
                  </a:lnTo>
                  <a:lnTo>
                    <a:pt x="305" y="49"/>
                  </a:lnTo>
                  <a:lnTo>
                    <a:pt x="305" y="49"/>
                  </a:lnTo>
                  <a:lnTo>
                    <a:pt x="302" y="46"/>
                  </a:lnTo>
                  <a:lnTo>
                    <a:pt x="299" y="46"/>
                  </a:lnTo>
                  <a:lnTo>
                    <a:pt x="294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3" y="49"/>
                  </a:lnTo>
                  <a:lnTo>
                    <a:pt x="293" y="48"/>
                  </a:lnTo>
                  <a:lnTo>
                    <a:pt x="293" y="46"/>
                  </a:lnTo>
                  <a:lnTo>
                    <a:pt x="291" y="44"/>
                  </a:lnTo>
                  <a:lnTo>
                    <a:pt x="291" y="43"/>
                  </a:lnTo>
                  <a:lnTo>
                    <a:pt x="290" y="41"/>
                  </a:lnTo>
                  <a:lnTo>
                    <a:pt x="288" y="41"/>
                  </a:lnTo>
                  <a:lnTo>
                    <a:pt x="284" y="43"/>
                  </a:lnTo>
                  <a:lnTo>
                    <a:pt x="282" y="43"/>
                  </a:lnTo>
                  <a:lnTo>
                    <a:pt x="282" y="43"/>
                  </a:lnTo>
                  <a:lnTo>
                    <a:pt x="277" y="37"/>
                  </a:lnTo>
                  <a:lnTo>
                    <a:pt x="277" y="35"/>
                  </a:lnTo>
                  <a:lnTo>
                    <a:pt x="277" y="35"/>
                  </a:lnTo>
                  <a:lnTo>
                    <a:pt x="276" y="35"/>
                  </a:lnTo>
                  <a:lnTo>
                    <a:pt x="270" y="37"/>
                  </a:lnTo>
                  <a:lnTo>
                    <a:pt x="268" y="37"/>
                  </a:lnTo>
                  <a:lnTo>
                    <a:pt x="268" y="35"/>
                  </a:lnTo>
                  <a:lnTo>
                    <a:pt x="267" y="34"/>
                  </a:lnTo>
                  <a:lnTo>
                    <a:pt x="267" y="34"/>
                  </a:lnTo>
                  <a:lnTo>
                    <a:pt x="251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31"/>
                  </a:lnTo>
                  <a:lnTo>
                    <a:pt x="247" y="32"/>
                  </a:lnTo>
                  <a:lnTo>
                    <a:pt x="245" y="32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29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4" y="24"/>
                  </a:lnTo>
                  <a:lnTo>
                    <a:pt x="242" y="24"/>
                  </a:lnTo>
                  <a:lnTo>
                    <a:pt x="242" y="23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9" y="18"/>
                  </a:lnTo>
                  <a:lnTo>
                    <a:pt x="237" y="17"/>
                  </a:lnTo>
                  <a:lnTo>
                    <a:pt x="237" y="15"/>
                  </a:lnTo>
                  <a:lnTo>
                    <a:pt x="237" y="12"/>
                  </a:lnTo>
                  <a:lnTo>
                    <a:pt x="239" y="12"/>
                  </a:lnTo>
                  <a:lnTo>
                    <a:pt x="239" y="11"/>
                  </a:lnTo>
                  <a:lnTo>
                    <a:pt x="237" y="9"/>
                  </a:lnTo>
                  <a:lnTo>
                    <a:pt x="236" y="7"/>
                  </a:lnTo>
                  <a:lnTo>
                    <a:pt x="231" y="7"/>
                  </a:lnTo>
                  <a:lnTo>
                    <a:pt x="230" y="6"/>
                  </a:lnTo>
                  <a:lnTo>
                    <a:pt x="230" y="4"/>
                  </a:lnTo>
                  <a:lnTo>
                    <a:pt x="230" y="3"/>
                  </a:lnTo>
                  <a:lnTo>
                    <a:pt x="228" y="4"/>
                  </a:lnTo>
                  <a:lnTo>
                    <a:pt x="228" y="6"/>
                  </a:lnTo>
                  <a:lnTo>
                    <a:pt x="228" y="6"/>
                  </a:lnTo>
                  <a:lnTo>
                    <a:pt x="227" y="7"/>
                  </a:lnTo>
                  <a:lnTo>
                    <a:pt x="227" y="7"/>
                  </a:lnTo>
                  <a:lnTo>
                    <a:pt x="225" y="6"/>
                  </a:lnTo>
                  <a:lnTo>
                    <a:pt x="225" y="6"/>
                  </a:lnTo>
                  <a:lnTo>
                    <a:pt x="223" y="4"/>
                  </a:lnTo>
                  <a:lnTo>
                    <a:pt x="220" y="4"/>
                  </a:lnTo>
                  <a:lnTo>
                    <a:pt x="219" y="3"/>
                  </a:lnTo>
                  <a:lnTo>
                    <a:pt x="219" y="3"/>
                  </a:lnTo>
                  <a:lnTo>
                    <a:pt x="219" y="4"/>
                  </a:lnTo>
                  <a:lnTo>
                    <a:pt x="217" y="4"/>
                  </a:lnTo>
                  <a:lnTo>
                    <a:pt x="217" y="4"/>
                  </a:lnTo>
                  <a:lnTo>
                    <a:pt x="216" y="4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7"/>
                  </a:lnTo>
                  <a:lnTo>
                    <a:pt x="217" y="7"/>
                  </a:lnTo>
                  <a:lnTo>
                    <a:pt x="219" y="9"/>
                  </a:lnTo>
                  <a:lnTo>
                    <a:pt x="219" y="14"/>
                  </a:lnTo>
                  <a:lnTo>
                    <a:pt x="217" y="14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5"/>
                  </a:lnTo>
                  <a:lnTo>
                    <a:pt x="217" y="17"/>
                  </a:lnTo>
                  <a:lnTo>
                    <a:pt x="217" y="20"/>
                  </a:lnTo>
                  <a:lnTo>
                    <a:pt x="217" y="21"/>
                  </a:lnTo>
                  <a:lnTo>
                    <a:pt x="208" y="21"/>
                  </a:lnTo>
                  <a:lnTo>
                    <a:pt x="207" y="21"/>
                  </a:lnTo>
                  <a:lnTo>
                    <a:pt x="205" y="21"/>
                  </a:lnTo>
                  <a:lnTo>
                    <a:pt x="203" y="24"/>
                  </a:lnTo>
                  <a:lnTo>
                    <a:pt x="202" y="26"/>
                  </a:lnTo>
                  <a:lnTo>
                    <a:pt x="202" y="27"/>
                  </a:lnTo>
                  <a:lnTo>
                    <a:pt x="200" y="27"/>
                  </a:lnTo>
                  <a:lnTo>
                    <a:pt x="199" y="27"/>
                  </a:lnTo>
                  <a:lnTo>
                    <a:pt x="196" y="26"/>
                  </a:lnTo>
                  <a:lnTo>
                    <a:pt x="193" y="24"/>
                  </a:lnTo>
                  <a:lnTo>
                    <a:pt x="193" y="24"/>
                  </a:lnTo>
                  <a:lnTo>
                    <a:pt x="190" y="23"/>
                  </a:lnTo>
                  <a:lnTo>
                    <a:pt x="190" y="21"/>
                  </a:lnTo>
                  <a:lnTo>
                    <a:pt x="190" y="20"/>
                  </a:lnTo>
                  <a:lnTo>
                    <a:pt x="191" y="17"/>
                  </a:lnTo>
                  <a:lnTo>
                    <a:pt x="191" y="15"/>
                  </a:lnTo>
                  <a:lnTo>
                    <a:pt x="191" y="14"/>
                  </a:lnTo>
                  <a:lnTo>
                    <a:pt x="190" y="14"/>
                  </a:lnTo>
                  <a:lnTo>
                    <a:pt x="185" y="15"/>
                  </a:lnTo>
                  <a:lnTo>
                    <a:pt x="185" y="15"/>
                  </a:lnTo>
                  <a:lnTo>
                    <a:pt x="185" y="14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9"/>
                  </a:lnTo>
                  <a:lnTo>
                    <a:pt x="187" y="7"/>
                  </a:lnTo>
                  <a:lnTo>
                    <a:pt x="187" y="7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2" y="4"/>
                  </a:lnTo>
                  <a:lnTo>
                    <a:pt x="182" y="4"/>
                  </a:lnTo>
                  <a:lnTo>
                    <a:pt x="180" y="3"/>
                  </a:lnTo>
                  <a:lnTo>
                    <a:pt x="180" y="3"/>
                  </a:lnTo>
                  <a:lnTo>
                    <a:pt x="180" y="1"/>
                  </a:lnTo>
                  <a:lnTo>
                    <a:pt x="180" y="0"/>
                  </a:lnTo>
                  <a:lnTo>
                    <a:pt x="179" y="1"/>
                  </a:lnTo>
                  <a:lnTo>
                    <a:pt x="179" y="3"/>
                  </a:lnTo>
                  <a:lnTo>
                    <a:pt x="176" y="3"/>
                  </a:lnTo>
                  <a:lnTo>
                    <a:pt x="174" y="3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1" y="3"/>
                  </a:lnTo>
                  <a:lnTo>
                    <a:pt x="171" y="1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3" y="3"/>
                  </a:lnTo>
                  <a:lnTo>
                    <a:pt x="162" y="6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5" y="7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5" y="11"/>
                  </a:lnTo>
                  <a:lnTo>
                    <a:pt x="168" y="12"/>
                  </a:lnTo>
                  <a:lnTo>
                    <a:pt x="171" y="14"/>
                  </a:lnTo>
                  <a:lnTo>
                    <a:pt x="173" y="14"/>
                  </a:lnTo>
                  <a:lnTo>
                    <a:pt x="173" y="17"/>
                  </a:lnTo>
                  <a:lnTo>
                    <a:pt x="170" y="18"/>
                  </a:lnTo>
                  <a:lnTo>
                    <a:pt x="163" y="18"/>
                  </a:lnTo>
                  <a:lnTo>
                    <a:pt x="162" y="18"/>
                  </a:lnTo>
                  <a:lnTo>
                    <a:pt x="160" y="20"/>
                  </a:lnTo>
                  <a:lnTo>
                    <a:pt x="159" y="21"/>
                  </a:lnTo>
                  <a:lnTo>
                    <a:pt x="159" y="23"/>
                  </a:lnTo>
                  <a:lnTo>
                    <a:pt x="146" y="27"/>
                  </a:lnTo>
                  <a:lnTo>
                    <a:pt x="145" y="27"/>
                  </a:lnTo>
                  <a:lnTo>
                    <a:pt x="142" y="27"/>
                  </a:lnTo>
                  <a:lnTo>
                    <a:pt x="140" y="27"/>
                  </a:lnTo>
                  <a:lnTo>
                    <a:pt x="140" y="29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7" y="31"/>
                  </a:lnTo>
                  <a:lnTo>
                    <a:pt x="137" y="31"/>
                  </a:lnTo>
                  <a:lnTo>
                    <a:pt x="136" y="31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5"/>
                  </a:lnTo>
                  <a:lnTo>
                    <a:pt x="134" y="35"/>
                  </a:lnTo>
                  <a:lnTo>
                    <a:pt x="134" y="35"/>
                  </a:lnTo>
                  <a:lnTo>
                    <a:pt x="134" y="35"/>
                  </a:lnTo>
                  <a:lnTo>
                    <a:pt x="131" y="37"/>
                  </a:lnTo>
                  <a:lnTo>
                    <a:pt x="130" y="38"/>
                  </a:lnTo>
                  <a:lnTo>
                    <a:pt x="126" y="37"/>
                  </a:lnTo>
                  <a:lnTo>
                    <a:pt x="125" y="37"/>
                  </a:lnTo>
                  <a:lnTo>
                    <a:pt x="122" y="38"/>
                  </a:lnTo>
                  <a:lnTo>
                    <a:pt x="120" y="38"/>
                  </a:lnTo>
                  <a:lnTo>
                    <a:pt x="114" y="38"/>
                  </a:lnTo>
                  <a:lnTo>
                    <a:pt x="111" y="40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5" y="49"/>
                  </a:lnTo>
                  <a:lnTo>
                    <a:pt x="103" y="51"/>
                  </a:lnTo>
                  <a:lnTo>
                    <a:pt x="103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9" y="51"/>
                  </a:lnTo>
                  <a:lnTo>
                    <a:pt x="99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4" y="52"/>
                  </a:lnTo>
                  <a:lnTo>
                    <a:pt x="93" y="52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89" y="55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5" y="60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77" y="63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9"/>
                  </a:lnTo>
                  <a:lnTo>
                    <a:pt x="69" y="71"/>
                  </a:lnTo>
                  <a:lnTo>
                    <a:pt x="68" y="72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3" y="75"/>
                  </a:lnTo>
                  <a:lnTo>
                    <a:pt x="57" y="71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3" y="71"/>
                  </a:lnTo>
                  <a:lnTo>
                    <a:pt x="51" y="71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2" y="75"/>
                  </a:lnTo>
                  <a:lnTo>
                    <a:pt x="36" y="75"/>
                  </a:lnTo>
                  <a:lnTo>
                    <a:pt x="32" y="77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81"/>
                  </a:lnTo>
                  <a:lnTo>
                    <a:pt x="28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2" y="89"/>
                  </a:lnTo>
                  <a:lnTo>
                    <a:pt x="22" y="91"/>
                  </a:lnTo>
                  <a:lnTo>
                    <a:pt x="20" y="91"/>
                  </a:lnTo>
                  <a:lnTo>
                    <a:pt x="20" y="92"/>
                  </a:lnTo>
                  <a:lnTo>
                    <a:pt x="20" y="94"/>
                  </a:lnTo>
                  <a:lnTo>
                    <a:pt x="19" y="95"/>
                  </a:lnTo>
                  <a:lnTo>
                    <a:pt x="19" y="97"/>
                  </a:lnTo>
                  <a:lnTo>
                    <a:pt x="17" y="98"/>
                  </a:lnTo>
                  <a:lnTo>
                    <a:pt x="19" y="100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7" y="103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2" y="95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1" y="92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3" y="84"/>
                  </a:lnTo>
                  <a:lnTo>
                    <a:pt x="0" y="84"/>
                  </a:lnTo>
                  <a:lnTo>
                    <a:pt x="2" y="86"/>
                  </a:lnTo>
                  <a:lnTo>
                    <a:pt x="3" y="88"/>
                  </a:lnTo>
                  <a:lnTo>
                    <a:pt x="3" y="89"/>
                  </a:lnTo>
                  <a:lnTo>
                    <a:pt x="3" y="91"/>
                  </a:lnTo>
                  <a:lnTo>
                    <a:pt x="3" y="92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95"/>
                  </a:lnTo>
                  <a:lnTo>
                    <a:pt x="5" y="97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1"/>
                  </a:lnTo>
                  <a:lnTo>
                    <a:pt x="9" y="103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9" y="109"/>
                  </a:lnTo>
                  <a:lnTo>
                    <a:pt x="9" y="111"/>
                  </a:lnTo>
                  <a:lnTo>
                    <a:pt x="11" y="111"/>
                  </a:lnTo>
                  <a:lnTo>
                    <a:pt x="12" y="112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5"/>
                  </a:lnTo>
                  <a:lnTo>
                    <a:pt x="14" y="117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8" y="123"/>
                  </a:lnTo>
                  <a:lnTo>
                    <a:pt x="29" y="124"/>
                  </a:lnTo>
                  <a:lnTo>
                    <a:pt x="29" y="126"/>
                  </a:lnTo>
                  <a:lnTo>
                    <a:pt x="29" y="128"/>
                  </a:lnTo>
                  <a:lnTo>
                    <a:pt x="29" y="129"/>
                  </a:lnTo>
                  <a:lnTo>
                    <a:pt x="32" y="131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5"/>
                  </a:lnTo>
                  <a:lnTo>
                    <a:pt x="32" y="137"/>
                  </a:lnTo>
                  <a:lnTo>
                    <a:pt x="31" y="140"/>
                  </a:lnTo>
                  <a:lnTo>
                    <a:pt x="31" y="141"/>
                  </a:lnTo>
                  <a:lnTo>
                    <a:pt x="29" y="141"/>
                  </a:lnTo>
                  <a:lnTo>
                    <a:pt x="29" y="143"/>
                  </a:lnTo>
                  <a:lnTo>
                    <a:pt x="29" y="145"/>
                  </a:lnTo>
                  <a:lnTo>
                    <a:pt x="29" y="148"/>
                  </a:lnTo>
                  <a:lnTo>
                    <a:pt x="28" y="148"/>
                  </a:lnTo>
                  <a:lnTo>
                    <a:pt x="25" y="149"/>
                  </a:lnTo>
                  <a:lnTo>
                    <a:pt x="23" y="151"/>
                  </a:lnTo>
                  <a:lnTo>
                    <a:pt x="23" y="152"/>
                  </a:lnTo>
                  <a:lnTo>
                    <a:pt x="25" y="154"/>
                  </a:lnTo>
                  <a:lnTo>
                    <a:pt x="26" y="155"/>
                  </a:lnTo>
                  <a:lnTo>
                    <a:pt x="28" y="157"/>
                  </a:lnTo>
                  <a:lnTo>
                    <a:pt x="28" y="158"/>
                  </a:lnTo>
                  <a:lnTo>
                    <a:pt x="31" y="158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2" y="161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32" y="165"/>
                  </a:lnTo>
                  <a:lnTo>
                    <a:pt x="32" y="165"/>
                  </a:lnTo>
                  <a:lnTo>
                    <a:pt x="32" y="166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9"/>
                  </a:lnTo>
                  <a:lnTo>
                    <a:pt x="37" y="172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5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2" y="178"/>
                  </a:lnTo>
                  <a:lnTo>
                    <a:pt x="42" y="180"/>
                  </a:lnTo>
                  <a:lnTo>
                    <a:pt x="42" y="183"/>
                  </a:lnTo>
                  <a:lnTo>
                    <a:pt x="42" y="185"/>
                  </a:lnTo>
                  <a:lnTo>
                    <a:pt x="43" y="188"/>
                  </a:lnTo>
                  <a:lnTo>
                    <a:pt x="45" y="188"/>
                  </a:lnTo>
                  <a:lnTo>
                    <a:pt x="48" y="189"/>
                  </a:lnTo>
                  <a:lnTo>
                    <a:pt x="49" y="191"/>
                  </a:lnTo>
                  <a:lnTo>
                    <a:pt x="53" y="197"/>
                  </a:lnTo>
                  <a:lnTo>
                    <a:pt x="53" y="198"/>
                  </a:lnTo>
                  <a:lnTo>
                    <a:pt x="54" y="198"/>
                  </a:lnTo>
                  <a:lnTo>
                    <a:pt x="59" y="200"/>
                  </a:lnTo>
                  <a:lnTo>
                    <a:pt x="60" y="198"/>
                  </a:lnTo>
                  <a:lnTo>
                    <a:pt x="60" y="197"/>
                  </a:lnTo>
                  <a:lnTo>
                    <a:pt x="60" y="197"/>
                  </a:lnTo>
                  <a:lnTo>
                    <a:pt x="63" y="198"/>
                  </a:lnTo>
                  <a:lnTo>
                    <a:pt x="65" y="198"/>
                  </a:lnTo>
                  <a:lnTo>
                    <a:pt x="66" y="200"/>
                  </a:lnTo>
                  <a:lnTo>
                    <a:pt x="68" y="201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5"/>
                  </a:lnTo>
                  <a:lnTo>
                    <a:pt x="71" y="206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4" y="209"/>
                  </a:lnTo>
                  <a:lnTo>
                    <a:pt x="80" y="218"/>
                  </a:lnTo>
                  <a:lnTo>
                    <a:pt x="82" y="220"/>
                  </a:lnTo>
                  <a:lnTo>
                    <a:pt x="83" y="223"/>
                  </a:lnTo>
                  <a:lnTo>
                    <a:pt x="85" y="223"/>
                  </a:lnTo>
                  <a:lnTo>
                    <a:pt x="89" y="223"/>
                  </a:lnTo>
                  <a:lnTo>
                    <a:pt x="91" y="225"/>
                  </a:lnTo>
                  <a:lnTo>
                    <a:pt x="91" y="225"/>
                  </a:lnTo>
                  <a:lnTo>
                    <a:pt x="94" y="228"/>
                  </a:lnTo>
                  <a:lnTo>
                    <a:pt x="97" y="231"/>
                  </a:lnTo>
                  <a:lnTo>
                    <a:pt x="99" y="234"/>
                  </a:lnTo>
                  <a:lnTo>
                    <a:pt x="99" y="237"/>
                  </a:lnTo>
                  <a:lnTo>
                    <a:pt x="99" y="238"/>
                  </a:lnTo>
                  <a:lnTo>
                    <a:pt x="102" y="240"/>
                  </a:lnTo>
                  <a:lnTo>
                    <a:pt x="103" y="242"/>
                  </a:lnTo>
                  <a:lnTo>
                    <a:pt x="105" y="243"/>
                  </a:lnTo>
                  <a:lnTo>
                    <a:pt x="106" y="242"/>
                  </a:lnTo>
                  <a:lnTo>
                    <a:pt x="106" y="240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10" y="240"/>
                  </a:lnTo>
                  <a:lnTo>
                    <a:pt x="111" y="240"/>
                  </a:lnTo>
                  <a:lnTo>
                    <a:pt x="113" y="242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16" y="245"/>
                  </a:lnTo>
                  <a:lnTo>
                    <a:pt x="116" y="246"/>
                  </a:lnTo>
                  <a:lnTo>
                    <a:pt x="117" y="248"/>
                  </a:lnTo>
                  <a:lnTo>
                    <a:pt x="119" y="249"/>
                  </a:lnTo>
                  <a:lnTo>
                    <a:pt x="120" y="249"/>
                  </a:lnTo>
                  <a:lnTo>
                    <a:pt x="122" y="251"/>
                  </a:lnTo>
                  <a:lnTo>
                    <a:pt x="123" y="251"/>
                  </a:lnTo>
                  <a:lnTo>
                    <a:pt x="125" y="254"/>
                  </a:lnTo>
                  <a:lnTo>
                    <a:pt x="128" y="260"/>
                  </a:lnTo>
                  <a:lnTo>
                    <a:pt x="130" y="262"/>
                  </a:lnTo>
                  <a:lnTo>
                    <a:pt x="133" y="263"/>
                  </a:lnTo>
                  <a:lnTo>
                    <a:pt x="134" y="263"/>
                  </a:lnTo>
                  <a:lnTo>
                    <a:pt x="136" y="265"/>
                  </a:lnTo>
                  <a:lnTo>
                    <a:pt x="137" y="266"/>
                  </a:lnTo>
                  <a:lnTo>
                    <a:pt x="142" y="269"/>
                  </a:lnTo>
                  <a:lnTo>
                    <a:pt x="143" y="269"/>
                  </a:lnTo>
                  <a:lnTo>
                    <a:pt x="145" y="271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6" y="272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5"/>
                  </a:lnTo>
                  <a:lnTo>
                    <a:pt x="145" y="277"/>
                  </a:lnTo>
                  <a:lnTo>
                    <a:pt x="145" y="278"/>
                  </a:lnTo>
                  <a:lnTo>
                    <a:pt x="145" y="278"/>
                  </a:lnTo>
                  <a:lnTo>
                    <a:pt x="146" y="280"/>
                  </a:lnTo>
                  <a:lnTo>
                    <a:pt x="146" y="280"/>
                  </a:lnTo>
                  <a:lnTo>
                    <a:pt x="150" y="282"/>
                  </a:lnTo>
                  <a:lnTo>
                    <a:pt x="160" y="283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8" y="285"/>
                  </a:lnTo>
                  <a:lnTo>
                    <a:pt x="170" y="285"/>
                  </a:lnTo>
                  <a:lnTo>
                    <a:pt x="174" y="283"/>
                  </a:lnTo>
                  <a:lnTo>
                    <a:pt x="176" y="282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80" y="278"/>
                  </a:lnTo>
                  <a:lnTo>
                    <a:pt x="183" y="280"/>
                  </a:lnTo>
                  <a:lnTo>
                    <a:pt x="183" y="280"/>
                  </a:lnTo>
                  <a:lnTo>
                    <a:pt x="185" y="280"/>
                  </a:lnTo>
                  <a:lnTo>
                    <a:pt x="187" y="278"/>
                  </a:lnTo>
                  <a:lnTo>
                    <a:pt x="188" y="278"/>
                  </a:lnTo>
                  <a:lnTo>
                    <a:pt x="188" y="278"/>
                  </a:lnTo>
                  <a:lnTo>
                    <a:pt x="188" y="280"/>
                  </a:lnTo>
                  <a:lnTo>
                    <a:pt x="188" y="280"/>
                  </a:lnTo>
                  <a:lnTo>
                    <a:pt x="190" y="282"/>
                  </a:lnTo>
                  <a:lnTo>
                    <a:pt x="190" y="282"/>
                  </a:lnTo>
                  <a:lnTo>
                    <a:pt x="191" y="280"/>
                  </a:lnTo>
                  <a:lnTo>
                    <a:pt x="191" y="280"/>
                  </a:lnTo>
                  <a:lnTo>
                    <a:pt x="193" y="282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4" y="283"/>
                  </a:lnTo>
                  <a:lnTo>
                    <a:pt x="196" y="283"/>
                  </a:lnTo>
                  <a:lnTo>
                    <a:pt x="196" y="282"/>
                  </a:lnTo>
                  <a:lnTo>
                    <a:pt x="196" y="278"/>
                  </a:lnTo>
                  <a:lnTo>
                    <a:pt x="196" y="275"/>
                  </a:lnTo>
                  <a:lnTo>
                    <a:pt x="196" y="272"/>
                  </a:lnTo>
                  <a:lnTo>
                    <a:pt x="197" y="271"/>
                  </a:lnTo>
                  <a:lnTo>
                    <a:pt x="202" y="266"/>
                  </a:lnTo>
                  <a:lnTo>
                    <a:pt x="202" y="265"/>
                  </a:lnTo>
                  <a:lnTo>
                    <a:pt x="203" y="263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205" y="260"/>
                  </a:lnTo>
                  <a:lnTo>
                    <a:pt x="208" y="262"/>
                  </a:lnTo>
                  <a:lnTo>
                    <a:pt x="213" y="263"/>
                  </a:lnTo>
                  <a:lnTo>
                    <a:pt x="214" y="263"/>
                  </a:lnTo>
                  <a:lnTo>
                    <a:pt x="214" y="260"/>
                  </a:lnTo>
                  <a:lnTo>
                    <a:pt x="214" y="260"/>
                  </a:lnTo>
                  <a:lnTo>
                    <a:pt x="214" y="260"/>
                  </a:lnTo>
                  <a:lnTo>
                    <a:pt x="214" y="258"/>
                  </a:lnTo>
                  <a:lnTo>
                    <a:pt x="214" y="258"/>
                  </a:lnTo>
                  <a:lnTo>
                    <a:pt x="214" y="257"/>
                  </a:lnTo>
                  <a:lnTo>
                    <a:pt x="214" y="255"/>
                  </a:lnTo>
                  <a:lnTo>
                    <a:pt x="216" y="249"/>
                  </a:lnTo>
                  <a:lnTo>
                    <a:pt x="216" y="246"/>
                  </a:lnTo>
                  <a:lnTo>
                    <a:pt x="216" y="242"/>
                  </a:lnTo>
                  <a:lnTo>
                    <a:pt x="216" y="238"/>
                  </a:lnTo>
                  <a:lnTo>
                    <a:pt x="217" y="237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8" y="237"/>
                  </a:lnTo>
                  <a:lnTo>
                    <a:pt x="230" y="238"/>
                  </a:lnTo>
                  <a:lnTo>
                    <a:pt x="230" y="240"/>
                  </a:lnTo>
                  <a:lnTo>
                    <a:pt x="230" y="242"/>
                  </a:lnTo>
                  <a:lnTo>
                    <a:pt x="230" y="243"/>
                  </a:lnTo>
                  <a:lnTo>
                    <a:pt x="230" y="243"/>
                  </a:lnTo>
                  <a:lnTo>
                    <a:pt x="236" y="242"/>
                  </a:lnTo>
                  <a:lnTo>
                    <a:pt x="236" y="242"/>
                  </a:lnTo>
                  <a:lnTo>
                    <a:pt x="237" y="240"/>
                  </a:lnTo>
                  <a:lnTo>
                    <a:pt x="237" y="240"/>
                  </a:lnTo>
                  <a:lnTo>
                    <a:pt x="237" y="238"/>
                  </a:lnTo>
                  <a:lnTo>
                    <a:pt x="239" y="237"/>
                  </a:lnTo>
                  <a:lnTo>
                    <a:pt x="239" y="237"/>
                  </a:lnTo>
                  <a:lnTo>
                    <a:pt x="239" y="238"/>
                  </a:lnTo>
                  <a:lnTo>
                    <a:pt x="239" y="238"/>
                  </a:lnTo>
                  <a:lnTo>
                    <a:pt x="240" y="238"/>
                  </a:lnTo>
                  <a:lnTo>
                    <a:pt x="244" y="238"/>
                  </a:lnTo>
                  <a:lnTo>
                    <a:pt x="245" y="238"/>
                  </a:lnTo>
                  <a:lnTo>
                    <a:pt x="248" y="242"/>
                  </a:lnTo>
                  <a:lnTo>
                    <a:pt x="251" y="242"/>
                  </a:lnTo>
                  <a:lnTo>
                    <a:pt x="253" y="243"/>
                  </a:lnTo>
                  <a:lnTo>
                    <a:pt x="257" y="246"/>
                  </a:lnTo>
                  <a:lnTo>
                    <a:pt x="259" y="246"/>
                  </a:lnTo>
                  <a:lnTo>
                    <a:pt x="264" y="249"/>
                  </a:lnTo>
                  <a:lnTo>
                    <a:pt x="270" y="252"/>
                  </a:lnTo>
                  <a:lnTo>
                    <a:pt x="271" y="252"/>
                  </a:lnTo>
                  <a:lnTo>
                    <a:pt x="273" y="252"/>
                  </a:lnTo>
                  <a:lnTo>
                    <a:pt x="274" y="252"/>
                  </a:lnTo>
                  <a:lnTo>
                    <a:pt x="276" y="251"/>
                  </a:lnTo>
                  <a:lnTo>
                    <a:pt x="277" y="251"/>
                  </a:lnTo>
                  <a:lnTo>
                    <a:pt x="279" y="251"/>
                  </a:lnTo>
                  <a:lnTo>
                    <a:pt x="280" y="251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82" y="252"/>
                  </a:lnTo>
                  <a:lnTo>
                    <a:pt x="284" y="254"/>
                  </a:lnTo>
                  <a:lnTo>
                    <a:pt x="284" y="254"/>
                  </a:lnTo>
                  <a:lnTo>
                    <a:pt x="285" y="254"/>
                  </a:lnTo>
                  <a:lnTo>
                    <a:pt x="284" y="255"/>
                  </a:lnTo>
                  <a:lnTo>
                    <a:pt x="285" y="254"/>
                  </a:lnTo>
                  <a:lnTo>
                    <a:pt x="285" y="254"/>
                  </a:lnTo>
                  <a:lnTo>
                    <a:pt x="287" y="255"/>
                  </a:lnTo>
                  <a:lnTo>
                    <a:pt x="287" y="255"/>
                  </a:lnTo>
                  <a:lnTo>
                    <a:pt x="287" y="255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96" y="263"/>
                  </a:lnTo>
                  <a:lnTo>
                    <a:pt x="299" y="265"/>
                  </a:lnTo>
                  <a:lnTo>
                    <a:pt x="307" y="265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7" y="266"/>
                  </a:lnTo>
                  <a:lnTo>
                    <a:pt x="319" y="266"/>
                  </a:lnTo>
                  <a:lnTo>
                    <a:pt x="319" y="266"/>
                  </a:lnTo>
                  <a:lnTo>
                    <a:pt x="321" y="266"/>
                  </a:lnTo>
                  <a:lnTo>
                    <a:pt x="322" y="266"/>
                  </a:lnTo>
                  <a:lnTo>
                    <a:pt x="325" y="258"/>
                  </a:lnTo>
                  <a:lnTo>
                    <a:pt x="327" y="258"/>
                  </a:lnTo>
                  <a:lnTo>
                    <a:pt x="328" y="258"/>
                  </a:lnTo>
                  <a:lnTo>
                    <a:pt x="330" y="258"/>
                  </a:lnTo>
                  <a:lnTo>
                    <a:pt x="331" y="258"/>
                  </a:lnTo>
                  <a:lnTo>
                    <a:pt x="331" y="258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7" y="260"/>
                  </a:lnTo>
                  <a:lnTo>
                    <a:pt x="339" y="260"/>
                  </a:lnTo>
                  <a:lnTo>
                    <a:pt x="341" y="262"/>
                  </a:lnTo>
                  <a:lnTo>
                    <a:pt x="341" y="262"/>
                  </a:lnTo>
                  <a:lnTo>
                    <a:pt x="342" y="263"/>
                  </a:lnTo>
                  <a:lnTo>
                    <a:pt x="342" y="265"/>
                  </a:lnTo>
                  <a:lnTo>
                    <a:pt x="344" y="266"/>
                  </a:lnTo>
                  <a:lnTo>
                    <a:pt x="344" y="266"/>
                  </a:lnTo>
                  <a:lnTo>
                    <a:pt x="347" y="266"/>
                  </a:lnTo>
                  <a:lnTo>
                    <a:pt x="348" y="266"/>
                  </a:lnTo>
                  <a:lnTo>
                    <a:pt x="351" y="268"/>
                  </a:lnTo>
                  <a:lnTo>
                    <a:pt x="353" y="269"/>
                  </a:lnTo>
                  <a:lnTo>
                    <a:pt x="354" y="268"/>
                  </a:lnTo>
                  <a:lnTo>
                    <a:pt x="356" y="268"/>
                  </a:lnTo>
                  <a:lnTo>
                    <a:pt x="357" y="268"/>
                  </a:lnTo>
                  <a:lnTo>
                    <a:pt x="359" y="269"/>
                  </a:lnTo>
                  <a:lnTo>
                    <a:pt x="361" y="277"/>
                  </a:lnTo>
                  <a:lnTo>
                    <a:pt x="364" y="280"/>
                  </a:lnTo>
                  <a:lnTo>
                    <a:pt x="364" y="278"/>
                  </a:lnTo>
                  <a:lnTo>
                    <a:pt x="365" y="277"/>
                  </a:lnTo>
                  <a:lnTo>
                    <a:pt x="365" y="275"/>
                  </a:lnTo>
                  <a:lnTo>
                    <a:pt x="370" y="265"/>
                  </a:lnTo>
                  <a:lnTo>
                    <a:pt x="371" y="262"/>
                  </a:lnTo>
                  <a:lnTo>
                    <a:pt x="373" y="258"/>
                  </a:lnTo>
                  <a:lnTo>
                    <a:pt x="374" y="258"/>
                  </a:lnTo>
                  <a:lnTo>
                    <a:pt x="374" y="255"/>
                  </a:lnTo>
                  <a:lnTo>
                    <a:pt x="376" y="254"/>
                  </a:lnTo>
                  <a:lnTo>
                    <a:pt x="379" y="252"/>
                  </a:lnTo>
                  <a:lnTo>
                    <a:pt x="384" y="251"/>
                  </a:lnTo>
                  <a:lnTo>
                    <a:pt x="387" y="252"/>
                  </a:lnTo>
                  <a:lnTo>
                    <a:pt x="394" y="255"/>
                  </a:lnTo>
                  <a:lnTo>
                    <a:pt x="396" y="255"/>
                  </a:lnTo>
                  <a:lnTo>
                    <a:pt x="398" y="255"/>
                  </a:lnTo>
                  <a:lnTo>
                    <a:pt x="399" y="254"/>
                  </a:lnTo>
                  <a:lnTo>
                    <a:pt x="401" y="254"/>
                  </a:lnTo>
                  <a:lnTo>
                    <a:pt x="402" y="254"/>
                  </a:lnTo>
                  <a:lnTo>
                    <a:pt x="404" y="257"/>
                  </a:lnTo>
                  <a:lnTo>
                    <a:pt x="407" y="257"/>
                  </a:lnTo>
                  <a:lnTo>
                    <a:pt x="421" y="251"/>
                  </a:lnTo>
                  <a:lnTo>
                    <a:pt x="422" y="251"/>
                  </a:lnTo>
                  <a:lnTo>
                    <a:pt x="425" y="246"/>
                  </a:lnTo>
                  <a:lnTo>
                    <a:pt x="427" y="245"/>
                  </a:lnTo>
                  <a:lnTo>
                    <a:pt x="428" y="245"/>
                  </a:lnTo>
                  <a:lnTo>
                    <a:pt x="430" y="245"/>
                  </a:lnTo>
                  <a:lnTo>
                    <a:pt x="431" y="245"/>
                  </a:lnTo>
                  <a:lnTo>
                    <a:pt x="433" y="243"/>
                  </a:lnTo>
                  <a:lnTo>
                    <a:pt x="433" y="242"/>
                  </a:lnTo>
                  <a:lnTo>
                    <a:pt x="434" y="238"/>
                  </a:lnTo>
                  <a:lnTo>
                    <a:pt x="434" y="237"/>
                  </a:lnTo>
                  <a:lnTo>
                    <a:pt x="436" y="234"/>
                  </a:lnTo>
                  <a:lnTo>
                    <a:pt x="438" y="234"/>
                  </a:lnTo>
                  <a:lnTo>
                    <a:pt x="439" y="234"/>
                  </a:lnTo>
                  <a:lnTo>
                    <a:pt x="442" y="234"/>
                  </a:lnTo>
                  <a:lnTo>
                    <a:pt x="445" y="232"/>
                  </a:lnTo>
                  <a:lnTo>
                    <a:pt x="447" y="231"/>
                  </a:lnTo>
                  <a:lnTo>
                    <a:pt x="448" y="228"/>
                  </a:lnTo>
                  <a:lnTo>
                    <a:pt x="450" y="225"/>
                  </a:lnTo>
                  <a:lnTo>
                    <a:pt x="450" y="220"/>
                  </a:lnTo>
                  <a:lnTo>
                    <a:pt x="450" y="220"/>
                  </a:lnTo>
                  <a:lnTo>
                    <a:pt x="450" y="217"/>
                  </a:lnTo>
                  <a:lnTo>
                    <a:pt x="450" y="212"/>
                  </a:lnTo>
                  <a:lnTo>
                    <a:pt x="451" y="209"/>
                  </a:lnTo>
                  <a:lnTo>
                    <a:pt x="453" y="206"/>
                  </a:lnTo>
                  <a:lnTo>
                    <a:pt x="456" y="205"/>
                  </a:lnTo>
                  <a:lnTo>
                    <a:pt x="465" y="200"/>
                  </a:lnTo>
                  <a:lnTo>
                    <a:pt x="468" y="198"/>
                  </a:lnTo>
                  <a:lnTo>
                    <a:pt x="470" y="197"/>
                  </a:lnTo>
                  <a:lnTo>
                    <a:pt x="470" y="192"/>
                  </a:lnTo>
                  <a:lnTo>
                    <a:pt x="473" y="192"/>
                  </a:lnTo>
                  <a:lnTo>
                    <a:pt x="475" y="191"/>
                  </a:lnTo>
                  <a:lnTo>
                    <a:pt x="478" y="188"/>
                  </a:lnTo>
                  <a:lnTo>
                    <a:pt x="481" y="186"/>
                  </a:lnTo>
                  <a:lnTo>
                    <a:pt x="481" y="185"/>
                  </a:lnTo>
                  <a:lnTo>
                    <a:pt x="481" y="185"/>
                  </a:lnTo>
                  <a:lnTo>
                    <a:pt x="481" y="181"/>
                  </a:lnTo>
                  <a:lnTo>
                    <a:pt x="482" y="181"/>
                  </a:lnTo>
                  <a:lnTo>
                    <a:pt x="484" y="180"/>
                  </a:lnTo>
                  <a:lnTo>
                    <a:pt x="487" y="180"/>
                  </a:lnTo>
                  <a:lnTo>
                    <a:pt x="488" y="180"/>
                  </a:lnTo>
                  <a:lnTo>
                    <a:pt x="488" y="180"/>
                  </a:lnTo>
                  <a:lnTo>
                    <a:pt x="490" y="180"/>
                  </a:lnTo>
                  <a:lnTo>
                    <a:pt x="491" y="180"/>
                  </a:lnTo>
                  <a:lnTo>
                    <a:pt x="495" y="181"/>
                  </a:lnTo>
                  <a:lnTo>
                    <a:pt x="496" y="181"/>
                  </a:lnTo>
                  <a:lnTo>
                    <a:pt x="499" y="178"/>
                  </a:lnTo>
                  <a:lnTo>
                    <a:pt x="501" y="178"/>
                  </a:lnTo>
                  <a:lnTo>
                    <a:pt x="504" y="178"/>
                  </a:lnTo>
                  <a:lnTo>
                    <a:pt x="504" y="175"/>
                  </a:lnTo>
                  <a:lnTo>
                    <a:pt x="504" y="174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95"/>
            <p:cNvSpPr>
              <a:spLocks/>
            </p:cNvSpPr>
            <p:nvPr/>
          </p:nvSpPr>
          <p:spPr bwMode="gray">
            <a:xfrm>
              <a:off x="9618663" y="8967788"/>
              <a:ext cx="274638" cy="160338"/>
            </a:xfrm>
            <a:custGeom>
              <a:avLst/>
              <a:gdLst>
                <a:gd name="T0" fmla="*/ 153 w 173"/>
                <a:gd name="T1" fmla="*/ 9 h 101"/>
                <a:gd name="T2" fmla="*/ 139 w 173"/>
                <a:gd name="T3" fmla="*/ 15 h 101"/>
                <a:gd name="T4" fmla="*/ 116 w 173"/>
                <a:gd name="T5" fmla="*/ 24 h 101"/>
                <a:gd name="T6" fmla="*/ 87 w 173"/>
                <a:gd name="T7" fmla="*/ 32 h 101"/>
                <a:gd name="T8" fmla="*/ 59 w 173"/>
                <a:gd name="T9" fmla="*/ 29 h 101"/>
                <a:gd name="T10" fmla="*/ 48 w 173"/>
                <a:gd name="T11" fmla="*/ 26 h 101"/>
                <a:gd name="T12" fmla="*/ 50 w 173"/>
                <a:gd name="T13" fmla="*/ 41 h 101"/>
                <a:gd name="T14" fmla="*/ 42 w 173"/>
                <a:gd name="T15" fmla="*/ 49 h 101"/>
                <a:gd name="T16" fmla="*/ 33 w 173"/>
                <a:gd name="T17" fmla="*/ 46 h 101"/>
                <a:gd name="T18" fmla="*/ 30 w 173"/>
                <a:gd name="T19" fmla="*/ 46 h 101"/>
                <a:gd name="T20" fmla="*/ 28 w 173"/>
                <a:gd name="T21" fmla="*/ 46 h 101"/>
                <a:gd name="T22" fmla="*/ 23 w 173"/>
                <a:gd name="T23" fmla="*/ 46 h 101"/>
                <a:gd name="T24" fmla="*/ 22 w 173"/>
                <a:gd name="T25" fmla="*/ 46 h 101"/>
                <a:gd name="T26" fmla="*/ 20 w 173"/>
                <a:gd name="T27" fmla="*/ 47 h 101"/>
                <a:gd name="T28" fmla="*/ 16 w 173"/>
                <a:gd name="T29" fmla="*/ 55 h 101"/>
                <a:gd name="T30" fmla="*/ 7 w 173"/>
                <a:gd name="T31" fmla="*/ 58 h 101"/>
                <a:gd name="T32" fmla="*/ 0 w 173"/>
                <a:gd name="T33" fmla="*/ 54 h 101"/>
                <a:gd name="T34" fmla="*/ 2 w 173"/>
                <a:gd name="T35" fmla="*/ 61 h 101"/>
                <a:gd name="T36" fmla="*/ 5 w 173"/>
                <a:gd name="T37" fmla="*/ 69 h 101"/>
                <a:gd name="T38" fmla="*/ 5 w 173"/>
                <a:gd name="T39" fmla="*/ 74 h 101"/>
                <a:gd name="T40" fmla="*/ 10 w 173"/>
                <a:gd name="T41" fmla="*/ 80 h 101"/>
                <a:gd name="T42" fmla="*/ 11 w 173"/>
                <a:gd name="T43" fmla="*/ 84 h 101"/>
                <a:gd name="T44" fmla="*/ 20 w 173"/>
                <a:gd name="T45" fmla="*/ 89 h 101"/>
                <a:gd name="T46" fmla="*/ 30 w 173"/>
                <a:gd name="T47" fmla="*/ 94 h 101"/>
                <a:gd name="T48" fmla="*/ 40 w 173"/>
                <a:gd name="T49" fmla="*/ 92 h 101"/>
                <a:gd name="T50" fmla="*/ 48 w 173"/>
                <a:gd name="T51" fmla="*/ 95 h 101"/>
                <a:gd name="T52" fmla="*/ 56 w 173"/>
                <a:gd name="T53" fmla="*/ 101 h 101"/>
                <a:gd name="T54" fmla="*/ 56 w 173"/>
                <a:gd name="T55" fmla="*/ 95 h 101"/>
                <a:gd name="T56" fmla="*/ 60 w 173"/>
                <a:gd name="T57" fmla="*/ 89 h 101"/>
                <a:gd name="T58" fmla="*/ 74 w 173"/>
                <a:gd name="T59" fmla="*/ 89 h 101"/>
                <a:gd name="T60" fmla="*/ 82 w 173"/>
                <a:gd name="T61" fmla="*/ 86 h 101"/>
                <a:gd name="T62" fmla="*/ 87 w 173"/>
                <a:gd name="T63" fmla="*/ 83 h 101"/>
                <a:gd name="T64" fmla="*/ 93 w 173"/>
                <a:gd name="T65" fmla="*/ 81 h 101"/>
                <a:gd name="T66" fmla="*/ 99 w 173"/>
                <a:gd name="T67" fmla="*/ 78 h 101"/>
                <a:gd name="T68" fmla="*/ 100 w 173"/>
                <a:gd name="T69" fmla="*/ 75 h 101"/>
                <a:gd name="T70" fmla="*/ 102 w 173"/>
                <a:gd name="T71" fmla="*/ 72 h 101"/>
                <a:gd name="T72" fmla="*/ 105 w 173"/>
                <a:gd name="T73" fmla="*/ 66 h 101"/>
                <a:gd name="T74" fmla="*/ 111 w 173"/>
                <a:gd name="T75" fmla="*/ 64 h 101"/>
                <a:gd name="T76" fmla="*/ 113 w 173"/>
                <a:gd name="T77" fmla="*/ 64 h 101"/>
                <a:gd name="T78" fmla="*/ 119 w 173"/>
                <a:gd name="T79" fmla="*/ 67 h 101"/>
                <a:gd name="T80" fmla="*/ 121 w 173"/>
                <a:gd name="T81" fmla="*/ 66 h 101"/>
                <a:gd name="T82" fmla="*/ 130 w 173"/>
                <a:gd name="T83" fmla="*/ 63 h 101"/>
                <a:gd name="T84" fmla="*/ 134 w 173"/>
                <a:gd name="T85" fmla="*/ 66 h 101"/>
                <a:gd name="T86" fmla="*/ 133 w 173"/>
                <a:gd name="T87" fmla="*/ 61 h 101"/>
                <a:gd name="T88" fmla="*/ 130 w 173"/>
                <a:gd name="T89" fmla="*/ 57 h 101"/>
                <a:gd name="T90" fmla="*/ 127 w 173"/>
                <a:gd name="T91" fmla="*/ 54 h 101"/>
                <a:gd name="T92" fmla="*/ 121 w 173"/>
                <a:gd name="T93" fmla="*/ 47 h 101"/>
                <a:gd name="T94" fmla="*/ 125 w 173"/>
                <a:gd name="T95" fmla="*/ 34 h 101"/>
                <a:gd name="T96" fmla="*/ 131 w 173"/>
                <a:gd name="T97" fmla="*/ 34 h 101"/>
                <a:gd name="T98" fmla="*/ 137 w 173"/>
                <a:gd name="T99" fmla="*/ 26 h 101"/>
                <a:gd name="T100" fmla="*/ 168 w 173"/>
                <a:gd name="T101" fmla="*/ 4 h 101"/>
                <a:gd name="T102" fmla="*/ 171 w 173"/>
                <a:gd name="T103" fmla="*/ 3 h 101"/>
                <a:gd name="T104" fmla="*/ 173 w 173"/>
                <a:gd name="T10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3" h="101">
                  <a:moveTo>
                    <a:pt x="171" y="0"/>
                  </a:moveTo>
                  <a:lnTo>
                    <a:pt x="170" y="1"/>
                  </a:lnTo>
                  <a:lnTo>
                    <a:pt x="156" y="7"/>
                  </a:lnTo>
                  <a:lnTo>
                    <a:pt x="153" y="9"/>
                  </a:lnTo>
                  <a:lnTo>
                    <a:pt x="148" y="10"/>
                  </a:lnTo>
                  <a:lnTo>
                    <a:pt x="144" y="12"/>
                  </a:lnTo>
                  <a:lnTo>
                    <a:pt x="142" y="12"/>
                  </a:lnTo>
                  <a:lnTo>
                    <a:pt x="139" y="15"/>
                  </a:lnTo>
                  <a:lnTo>
                    <a:pt x="134" y="17"/>
                  </a:lnTo>
                  <a:lnTo>
                    <a:pt x="131" y="20"/>
                  </a:lnTo>
                  <a:lnTo>
                    <a:pt x="121" y="24"/>
                  </a:lnTo>
                  <a:lnTo>
                    <a:pt x="116" y="24"/>
                  </a:lnTo>
                  <a:lnTo>
                    <a:pt x="113" y="24"/>
                  </a:lnTo>
                  <a:lnTo>
                    <a:pt x="110" y="26"/>
                  </a:lnTo>
                  <a:lnTo>
                    <a:pt x="104" y="29"/>
                  </a:lnTo>
                  <a:lnTo>
                    <a:pt x="87" y="32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4" y="29"/>
                  </a:lnTo>
                  <a:lnTo>
                    <a:pt x="53" y="27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50" y="29"/>
                  </a:lnTo>
                  <a:lnTo>
                    <a:pt x="50" y="32"/>
                  </a:lnTo>
                  <a:lnTo>
                    <a:pt x="50" y="38"/>
                  </a:lnTo>
                  <a:lnTo>
                    <a:pt x="50" y="41"/>
                  </a:lnTo>
                  <a:lnTo>
                    <a:pt x="48" y="44"/>
                  </a:lnTo>
                  <a:lnTo>
                    <a:pt x="47" y="46"/>
                  </a:lnTo>
                  <a:lnTo>
                    <a:pt x="44" y="47"/>
                  </a:lnTo>
                  <a:lnTo>
                    <a:pt x="42" y="49"/>
                  </a:lnTo>
                  <a:lnTo>
                    <a:pt x="39" y="47"/>
                  </a:lnTo>
                  <a:lnTo>
                    <a:pt x="37" y="46"/>
                  </a:lnTo>
                  <a:lnTo>
                    <a:pt x="36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8" y="44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7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9" y="49"/>
                  </a:lnTo>
                  <a:lnTo>
                    <a:pt x="17" y="52"/>
                  </a:lnTo>
                  <a:lnTo>
                    <a:pt x="16" y="55"/>
                  </a:lnTo>
                  <a:lnTo>
                    <a:pt x="13" y="57"/>
                  </a:lnTo>
                  <a:lnTo>
                    <a:pt x="11" y="58"/>
                  </a:lnTo>
                  <a:lnTo>
                    <a:pt x="8" y="58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5" y="69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10" y="80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20" y="89"/>
                  </a:lnTo>
                  <a:lnTo>
                    <a:pt x="22" y="89"/>
                  </a:lnTo>
                  <a:lnTo>
                    <a:pt x="22" y="91"/>
                  </a:lnTo>
                  <a:lnTo>
                    <a:pt x="27" y="92"/>
                  </a:lnTo>
                  <a:lnTo>
                    <a:pt x="30" y="94"/>
                  </a:lnTo>
                  <a:lnTo>
                    <a:pt x="33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40" y="92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8" y="94"/>
                  </a:lnTo>
                  <a:lnTo>
                    <a:pt x="48" y="95"/>
                  </a:lnTo>
                  <a:lnTo>
                    <a:pt x="50" y="98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6" y="101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4" y="97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9" y="91"/>
                  </a:lnTo>
                  <a:lnTo>
                    <a:pt x="60" y="89"/>
                  </a:lnTo>
                  <a:lnTo>
                    <a:pt x="62" y="89"/>
                  </a:lnTo>
                  <a:lnTo>
                    <a:pt x="67" y="89"/>
                  </a:lnTo>
                  <a:lnTo>
                    <a:pt x="73" y="89"/>
                  </a:lnTo>
                  <a:lnTo>
                    <a:pt x="74" y="89"/>
                  </a:lnTo>
                  <a:lnTo>
                    <a:pt x="74" y="89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4" y="83"/>
                  </a:lnTo>
                  <a:lnTo>
                    <a:pt x="85" y="84"/>
                  </a:lnTo>
                  <a:lnTo>
                    <a:pt x="87" y="83"/>
                  </a:lnTo>
                  <a:lnTo>
                    <a:pt x="90" y="83"/>
                  </a:lnTo>
                  <a:lnTo>
                    <a:pt x="91" y="81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4" y="80"/>
                  </a:lnTo>
                  <a:lnTo>
                    <a:pt x="94" y="78"/>
                  </a:lnTo>
                  <a:lnTo>
                    <a:pt x="96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100" y="77"/>
                  </a:lnTo>
                  <a:lnTo>
                    <a:pt x="100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4"/>
                  </a:lnTo>
                  <a:lnTo>
                    <a:pt x="102" y="72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4" y="67"/>
                  </a:lnTo>
                  <a:lnTo>
                    <a:pt x="105" y="66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8" y="64"/>
                  </a:lnTo>
                  <a:lnTo>
                    <a:pt x="111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4" y="64"/>
                  </a:lnTo>
                  <a:lnTo>
                    <a:pt x="116" y="66"/>
                  </a:lnTo>
                  <a:lnTo>
                    <a:pt x="117" y="67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21" y="67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2" y="64"/>
                  </a:lnTo>
                  <a:lnTo>
                    <a:pt x="125" y="64"/>
                  </a:lnTo>
                  <a:lnTo>
                    <a:pt x="130" y="63"/>
                  </a:lnTo>
                  <a:lnTo>
                    <a:pt x="130" y="64"/>
                  </a:lnTo>
                  <a:lnTo>
                    <a:pt x="131" y="64"/>
                  </a:lnTo>
                  <a:lnTo>
                    <a:pt x="133" y="64"/>
                  </a:lnTo>
                  <a:lnTo>
                    <a:pt x="134" y="66"/>
                  </a:lnTo>
                  <a:lnTo>
                    <a:pt x="136" y="66"/>
                  </a:lnTo>
                  <a:lnTo>
                    <a:pt x="136" y="64"/>
                  </a:lnTo>
                  <a:lnTo>
                    <a:pt x="134" y="63"/>
                  </a:lnTo>
                  <a:lnTo>
                    <a:pt x="133" y="61"/>
                  </a:lnTo>
                  <a:lnTo>
                    <a:pt x="133" y="60"/>
                  </a:lnTo>
                  <a:lnTo>
                    <a:pt x="131" y="58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27" y="54"/>
                  </a:lnTo>
                  <a:lnTo>
                    <a:pt x="127" y="54"/>
                  </a:lnTo>
                  <a:lnTo>
                    <a:pt x="125" y="52"/>
                  </a:lnTo>
                  <a:lnTo>
                    <a:pt x="125" y="51"/>
                  </a:lnTo>
                  <a:lnTo>
                    <a:pt x="122" y="47"/>
                  </a:lnTo>
                  <a:lnTo>
                    <a:pt x="121" y="47"/>
                  </a:lnTo>
                  <a:lnTo>
                    <a:pt x="122" y="40"/>
                  </a:lnTo>
                  <a:lnTo>
                    <a:pt x="122" y="38"/>
                  </a:lnTo>
                  <a:lnTo>
                    <a:pt x="124" y="37"/>
                  </a:lnTo>
                  <a:lnTo>
                    <a:pt x="125" y="34"/>
                  </a:lnTo>
                  <a:lnTo>
                    <a:pt x="127" y="34"/>
                  </a:lnTo>
                  <a:lnTo>
                    <a:pt x="128" y="34"/>
                  </a:lnTo>
                  <a:lnTo>
                    <a:pt x="130" y="34"/>
                  </a:lnTo>
                  <a:lnTo>
                    <a:pt x="131" y="34"/>
                  </a:lnTo>
                  <a:lnTo>
                    <a:pt x="133" y="32"/>
                  </a:lnTo>
                  <a:lnTo>
                    <a:pt x="134" y="32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9" y="24"/>
                  </a:lnTo>
                  <a:lnTo>
                    <a:pt x="154" y="15"/>
                  </a:lnTo>
                  <a:lnTo>
                    <a:pt x="162" y="9"/>
                  </a:lnTo>
                  <a:lnTo>
                    <a:pt x="168" y="4"/>
                  </a:lnTo>
                  <a:lnTo>
                    <a:pt x="170" y="4"/>
                  </a:lnTo>
                  <a:lnTo>
                    <a:pt x="171" y="4"/>
                  </a:lnTo>
                  <a:lnTo>
                    <a:pt x="171" y="4"/>
                  </a:lnTo>
                  <a:lnTo>
                    <a:pt x="171" y="3"/>
                  </a:lnTo>
                  <a:lnTo>
                    <a:pt x="171" y="1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1" y="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96"/>
            <p:cNvSpPr>
              <a:spLocks/>
            </p:cNvSpPr>
            <p:nvPr/>
          </p:nvSpPr>
          <p:spPr bwMode="gray">
            <a:xfrm>
              <a:off x="9618663" y="8967788"/>
              <a:ext cx="274638" cy="160338"/>
            </a:xfrm>
            <a:custGeom>
              <a:avLst/>
              <a:gdLst>
                <a:gd name="T0" fmla="*/ 153 w 173"/>
                <a:gd name="T1" fmla="*/ 9 h 101"/>
                <a:gd name="T2" fmla="*/ 139 w 173"/>
                <a:gd name="T3" fmla="*/ 15 h 101"/>
                <a:gd name="T4" fmla="*/ 116 w 173"/>
                <a:gd name="T5" fmla="*/ 24 h 101"/>
                <a:gd name="T6" fmla="*/ 87 w 173"/>
                <a:gd name="T7" fmla="*/ 32 h 101"/>
                <a:gd name="T8" fmla="*/ 59 w 173"/>
                <a:gd name="T9" fmla="*/ 29 h 101"/>
                <a:gd name="T10" fmla="*/ 48 w 173"/>
                <a:gd name="T11" fmla="*/ 26 h 101"/>
                <a:gd name="T12" fmla="*/ 50 w 173"/>
                <a:gd name="T13" fmla="*/ 41 h 101"/>
                <a:gd name="T14" fmla="*/ 42 w 173"/>
                <a:gd name="T15" fmla="*/ 49 h 101"/>
                <a:gd name="T16" fmla="*/ 33 w 173"/>
                <a:gd name="T17" fmla="*/ 46 h 101"/>
                <a:gd name="T18" fmla="*/ 30 w 173"/>
                <a:gd name="T19" fmla="*/ 46 h 101"/>
                <a:gd name="T20" fmla="*/ 28 w 173"/>
                <a:gd name="T21" fmla="*/ 46 h 101"/>
                <a:gd name="T22" fmla="*/ 23 w 173"/>
                <a:gd name="T23" fmla="*/ 46 h 101"/>
                <a:gd name="T24" fmla="*/ 22 w 173"/>
                <a:gd name="T25" fmla="*/ 46 h 101"/>
                <a:gd name="T26" fmla="*/ 20 w 173"/>
                <a:gd name="T27" fmla="*/ 47 h 101"/>
                <a:gd name="T28" fmla="*/ 16 w 173"/>
                <a:gd name="T29" fmla="*/ 55 h 101"/>
                <a:gd name="T30" fmla="*/ 7 w 173"/>
                <a:gd name="T31" fmla="*/ 58 h 101"/>
                <a:gd name="T32" fmla="*/ 0 w 173"/>
                <a:gd name="T33" fmla="*/ 54 h 101"/>
                <a:gd name="T34" fmla="*/ 2 w 173"/>
                <a:gd name="T35" fmla="*/ 61 h 101"/>
                <a:gd name="T36" fmla="*/ 5 w 173"/>
                <a:gd name="T37" fmla="*/ 69 h 101"/>
                <a:gd name="T38" fmla="*/ 5 w 173"/>
                <a:gd name="T39" fmla="*/ 74 h 101"/>
                <a:gd name="T40" fmla="*/ 10 w 173"/>
                <a:gd name="T41" fmla="*/ 80 h 101"/>
                <a:gd name="T42" fmla="*/ 11 w 173"/>
                <a:gd name="T43" fmla="*/ 84 h 101"/>
                <a:gd name="T44" fmla="*/ 20 w 173"/>
                <a:gd name="T45" fmla="*/ 89 h 101"/>
                <a:gd name="T46" fmla="*/ 30 w 173"/>
                <a:gd name="T47" fmla="*/ 94 h 101"/>
                <a:gd name="T48" fmla="*/ 40 w 173"/>
                <a:gd name="T49" fmla="*/ 92 h 101"/>
                <a:gd name="T50" fmla="*/ 48 w 173"/>
                <a:gd name="T51" fmla="*/ 95 h 101"/>
                <a:gd name="T52" fmla="*/ 56 w 173"/>
                <a:gd name="T53" fmla="*/ 101 h 101"/>
                <a:gd name="T54" fmla="*/ 56 w 173"/>
                <a:gd name="T55" fmla="*/ 95 h 101"/>
                <a:gd name="T56" fmla="*/ 60 w 173"/>
                <a:gd name="T57" fmla="*/ 89 h 101"/>
                <a:gd name="T58" fmla="*/ 74 w 173"/>
                <a:gd name="T59" fmla="*/ 89 h 101"/>
                <a:gd name="T60" fmla="*/ 82 w 173"/>
                <a:gd name="T61" fmla="*/ 86 h 101"/>
                <a:gd name="T62" fmla="*/ 87 w 173"/>
                <a:gd name="T63" fmla="*/ 83 h 101"/>
                <a:gd name="T64" fmla="*/ 93 w 173"/>
                <a:gd name="T65" fmla="*/ 81 h 101"/>
                <a:gd name="T66" fmla="*/ 99 w 173"/>
                <a:gd name="T67" fmla="*/ 78 h 101"/>
                <a:gd name="T68" fmla="*/ 100 w 173"/>
                <a:gd name="T69" fmla="*/ 75 h 101"/>
                <a:gd name="T70" fmla="*/ 102 w 173"/>
                <a:gd name="T71" fmla="*/ 72 h 101"/>
                <a:gd name="T72" fmla="*/ 105 w 173"/>
                <a:gd name="T73" fmla="*/ 66 h 101"/>
                <a:gd name="T74" fmla="*/ 111 w 173"/>
                <a:gd name="T75" fmla="*/ 64 h 101"/>
                <a:gd name="T76" fmla="*/ 113 w 173"/>
                <a:gd name="T77" fmla="*/ 64 h 101"/>
                <a:gd name="T78" fmla="*/ 119 w 173"/>
                <a:gd name="T79" fmla="*/ 67 h 101"/>
                <a:gd name="T80" fmla="*/ 121 w 173"/>
                <a:gd name="T81" fmla="*/ 66 h 101"/>
                <a:gd name="T82" fmla="*/ 130 w 173"/>
                <a:gd name="T83" fmla="*/ 63 h 101"/>
                <a:gd name="T84" fmla="*/ 134 w 173"/>
                <a:gd name="T85" fmla="*/ 66 h 101"/>
                <a:gd name="T86" fmla="*/ 133 w 173"/>
                <a:gd name="T87" fmla="*/ 61 h 101"/>
                <a:gd name="T88" fmla="*/ 130 w 173"/>
                <a:gd name="T89" fmla="*/ 57 h 101"/>
                <a:gd name="T90" fmla="*/ 127 w 173"/>
                <a:gd name="T91" fmla="*/ 54 h 101"/>
                <a:gd name="T92" fmla="*/ 121 w 173"/>
                <a:gd name="T93" fmla="*/ 47 h 101"/>
                <a:gd name="T94" fmla="*/ 125 w 173"/>
                <a:gd name="T95" fmla="*/ 34 h 101"/>
                <a:gd name="T96" fmla="*/ 131 w 173"/>
                <a:gd name="T97" fmla="*/ 34 h 101"/>
                <a:gd name="T98" fmla="*/ 137 w 173"/>
                <a:gd name="T99" fmla="*/ 26 h 101"/>
                <a:gd name="T100" fmla="*/ 168 w 173"/>
                <a:gd name="T101" fmla="*/ 4 h 101"/>
                <a:gd name="T102" fmla="*/ 171 w 173"/>
                <a:gd name="T103" fmla="*/ 3 h 101"/>
                <a:gd name="T104" fmla="*/ 173 w 173"/>
                <a:gd name="T10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3" h="101">
                  <a:moveTo>
                    <a:pt x="171" y="0"/>
                  </a:moveTo>
                  <a:lnTo>
                    <a:pt x="170" y="1"/>
                  </a:lnTo>
                  <a:lnTo>
                    <a:pt x="156" y="7"/>
                  </a:lnTo>
                  <a:lnTo>
                    <a:pt x="153" y="9"/>
                  </a:lnTo>
                  <a:lnTo>
                    <a:pt x="148" y="10"/>
                  </a:lnTo>
                  <a:lnTo>
                    <a:pt x="144" y="12"/>
                  </a:lnTo>
                  <a:lnTo>
                    <a:pt x="142" y="12"/>
                  </a:lnTo>
                  <a:lnTo>
                    <a:pt x="139" y="15"/>
                  </a:lnTo>
                  <a:lnTo>
                    <a:pt x="134" y="17"/>
                  </a:lnTo>
                  <a:lnTo>
                    <a:pt x="131" y="20"/>
                  </a:lnTo>
                  <a:lnTo>
                    <a:pt x="121" y="24"/>
                  </a:lnTo>
                  <a:lnTo>
                    <a:pt x="116" y="24"/>
                  </a:lnTo>
                  <a:lnTo>
                    <a:pt x="113" y="24"/>
                  </a:lnTo>
                  <a:lnTo>
                    <a:pt x="110" y="26"/>
                  </a:lnTo>
                  <a:lnTo>
                    <a:pt x="104" y="29"/>
                  </a:lnTo>
                  <a:lnTo>
                    <a:pt x="87" y="32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4" y="29"/>
                  </a:lnTo>
                  <a:lnTo>
                    <a:pt x="53" y="27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50" y="29"/>
                  </a:lnTo>
                  <a:lnTo>
                    <a:pt x="50" y="32"/>
                  </a:lnTo>
                  <a:lnTo>
                    <a:pt x="50" y="38"/>
                  </a:lnTo>
                  <a:lnTo>
                    <a:pt x="50" y="41"/>
                  </a:lnTo>
                  <a:lnTo>
                    <a:pt x="48" y="44"/>
                  </a:lnTo>
                  <a:lnTo>
                    <a:pt x="47" y="46"/>
                  </a:lnTo>
                  <a:lnTo>
                    <a:pt x="44" y="47"/>
                  </a:lnTo>
                  <a:lnTo>
                    <a:pt x="42" y="49"/>
                  </a:lnTo>
                  <a:lnTo>
                    <a:pt x="39" y="47"/>
                  </a:lnTo>
                  <a:lnTo>
                    <a:pt x="37" y="46"/>
                  </a:lnTo>
                  <a:lnTo>
                    <a:pt x="36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8" y="44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7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9" y="49"/>
                  </a:lnTo>
                  <a:lnTo>
                    <a:pt x="17" y="52"/>
                  </a:lnTo>
                  <a:lnTo>
                    <a:pt x="16" y="55"/>
                  </a:lnTo>
                  <a:lnTo>
                    <a:pt x="13" y="57"/>
                  </a:lnTo>
                  <a:lnTo>
                    <a:pt x="11" y="58"/>
                  </a:lnTo>
                  <a:lnTo>
                    <a:pt x="8" y="58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5" y="69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10" y="80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20" y="89"/>
                  </a:lnTo>
                  <a:lnTo>
                    <a:pt x="22" y="89"/>
                  </a:lnTo>
                  <a:lnTo>
                    <a:pt x="22" y="91"/>
                  </a:lnTo>
                  <a:lnTo>
                    <a:pt x="27" y="92"/>
                  </a:lnTo>
                  <a:lnTo>
                    <a:pt x="30" y="94"/>
                  </a:lnTo>
                  <a:lnTo>
                    <a:pt x="33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40" y="92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8" y="94"/>
                  </a:lnTo>
                  <a:lnTo>
                    <a:pt x="48" y="95"/>
                  </a:lnTo>
                  <a:lnTo>
                    <a:pt x="50" y="98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6" y="101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4" y="97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9" y="91"/>
                  </a:lnTo>
                  <a:lnTo>
                    <a:pt x="60" y="89"/>
                  </a:lnTo>
                  <a:lnTo>
                    <a:pt x="62" y="89"/>
                  </a:lnTo>
                  <a:lnTo>
                    <a:pt x="67" y="89"/>
                  </a:lnTo>
                  <a:lnTo>
                    <a:pt x="73" y="89"/>
                  </a:lnTo>
                  <a:lnTo>
                    <a:pt x="74" y="89"/>
                  </a:lnTo>
                  <a:lnTo>
                    <a:pt x="74" y="89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4" y="83"/>
                  </a:lnTo>
                  <a:lnTo>
                    <a:pt x="85" y="84"/>
                  </a:lnTo>
                  <a:lnTo>
                    <a:pt x="87" y="83"/>
                  </a:lnTo>
                  <a:lnTo>
                    <a:pt x="90" y="83"/>
                  </a:lnTo>
                  <a:lnTo>
                    <a:pt x="91" y="81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4" y="80"/>
                  </a:lnTo>
                  <a:lnTo>
                    <a:pt x="94" y="78"/>
                  </a:lnTo>
                  <a:lnTo>
                    <a:pt x="96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99" y="78"/>
                  </a:lnTo>
                  <a:lnTo>
                    <a:pt x="100" y="77"/>
                  </a:lnTo>
                  <a:lnTo>
                    <a:pt x="100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4"/>
                  </a:lnTo>
                  <a:lnTo>
                    <a:pt x="102" y="72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4" y="67"/>
                  </a:lnTo>
                  <a:lnTo>
                    <a:pt x="105" y="66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8" y="64"/>
                  </a:lnTo>
                  <a:lnTo>
                    <a:pt x="111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4" y="64"/>
                  </a:lnTo>
                  <a:lnTo>
                    <a:pt x="116" y="66"/>
                  </a:lnTo>
                  <a:lnTo>
                    <a:pt x="117" y="67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21" y="67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2" y="64"/>
                  </a:lnTo>
                  <a:lnTo>
                    <a:pt x="125" y="64"/>
                  </a:lnTo>
                  <a:lnTo>
                    <a:pt x="130" y="63"/>
                  </a:lnTo>
                  <a:lnTo>
                    <a:pt x="130" y="64"/>
                  </a:lnTo>
                  <a:lnTo>
                    <a:pt x="131" y="64"/>
                  </a:lnTo>
                  <a:lnTo>
                    <a:pt x="133" y="64"/>
                  </a:lnTo>
                  <a:lnTo>
                    <a:pt x="134" y="66"/>
                  </a:lnTo>
                  <a:lnTo>
                    <a:pt x="136" y="66"/>
                  </a:lnTo>
                  <a:lnTo>
                    <a:pt x="136" y="64"/>
                  </a:lnTo>
                  <a:lnTo>
                    <a:pt x="134" y="63"/>
                  </a:lnTo>
                  <a:lnTo>
                    <a:pt x="133" y="61"/>
                  </a:lnTo>
                  <a:lnTo>
                    <a:pt x="133" y="60"/>
                  </a:lnTo>
                  <a:lnTo>
                    <a:pt x="131" y="58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27" y="54"/>
                  </a:lnTo>
                  <a:lnTo>
                    <a:pt x="127" y="54"/>
                  </a:lnTo>
                  <a:lnTo>
                    <a:pt x="125" y="52"/>
                  </a:lnTo>
                  <a:lnTo>
                    <a:pt x="125" y="51"/>
                  </a:lnTo>
                  <a:lnTo>
                    <a:pt x="122" y="47"/>
                  </a:lnTo>
                  <a:lnTo>
                    <a:pt x="121" y="47"/>
                  </a:lnTo>
                  <a:lnTo>
                    <a:pt x="122" y="40"/>
                  </a:lnTo>
                  <a:lnTo>
                    <a:pt x="122" y="38"/>
                  </a:lnTo>
                  <a:lnTo>
                    <a:pt x="124" y="37"/>
                  </a:lnTo>
                  <a:lnTo>
                    <a:pt x="125" y="34"/>
                  </a:lnTo>
                  <a:lnTo>
                    <a:pt x="127" y="34"/>
                  </a:lnTo>
                  <a:lnTo>
                    <a:pt x="128" y="34"/>
                  </a:lnTo>
                  <a:lnTo>
                    <a:pt x="130" y="34"/>
                  </a:lnTo>
                  <a:lnTo>
                    <a:pt x="131" y="34"/>
                  </a:lnTo>
                  <a:lnTo>
                    <a:pt x="133" y="32"/>
                  </a:lnTo>
                  <a:lnTo>
                    <a:pt x="134" y="32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9" y="24"/>
                  </a:lnTo>
                  <a:lnTo>
                    <a:pt x="154" y="15"/>
                  </a:lnTo>
                  <a:lnTo>
                    <a:pt x="162" y="9"/>
                  </a:lnTo>
                  <a:lnTo>
                    <a:pt x="168" y="4"/>
                  </a:lnTo>
                  <a:lnTo>
                    <a:pt x="170" y="4"/>
                  </a:lnTo>
                  <a:lnTo>
                    <a:pt x="171" y="4"/>
                  </a:lnTo>
                  <a:lnTo>
                    <a:pt x="171" y="4"/>
                  </a:lnTo>
                  <a:lnTo>
                    <a:pt x="171" y="3"/>
                  </a:lnTo>
                  <a:lnTo>
                    <a:pt x="171" y="1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1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99"/>
            <p:cNvSpPr>
              <a:spLocks/>
            </p:cNvSpPr>
            <p:nvPr/>
          </p:nvSpPr>
          <p:spPr bwMode="gray">
            <a:xfrm>
              <a:off x="8326438" y="7651751"/>
              <a:ext cx="738188" cy="479425"/>
            </a:xfrm>
            <a:custGeom>
              <a:avLst/>
              <a:gdLst>
                <a:gd name="T0" fmla="*/ 414 w 465"/>
                <a:gd name="T1" fmla="*/ 25 h 302"/>
                <a:gd name="T2" fmla="*/ 365 w 465"/>
                <a:gd name="T3" fmla="*/ 16 h 302"/>
                <a:gd name="T4" fmla="*/ 322 w 465"/>
                <a:gd name="T5" fmla="*/ 14 h 302"/>
                <a:gd name="T6" fmla="*/ 266 w 465"/>
                <a:gd name="T7" fmla="*/ 39 h 302"/>
                <a:gd name="T8" fmla="*/ 240 w 465"/>
                <a:gd name="T9" fmla="*/ 57 h 302"/>
                <a:gd name="T10" fmla="*/ 203 w 465"/>
                <a:gd name="T11" fmla="*/ 53 h 302"/>
                <a:gd name="T12" fmla="*/ 103 w 465"/>
                <a:gd name="T13" fmla="*/ 40 h 302"/>
                <a:gd name="T14" fmla="*/ 38 w 465"/>
                <a:gd name="T15" fmla="*/ 39 h 302"/>
                <a:gd name="T16" fmla="*/ 44 w 465"/>
                <a:gd name="T17" fmla="*/ 13 h 302"/>
                <a:gd name="T18" fmla="*/ 18 w 465"/>
                <a:gd name="T19" fmla="*/ 13 h 302"/>
                <a:gd name="T20" fmla="*/ 3 w 465"/>
                <a:gd name="T21" fmla="*/ 25 h 302"/>
                <a:gd name="T22" fmla="*/ 3 w 465"/>
                <a:gd name="T23" fmla="*/ 51 h 302"/>
                <a:gd name="T24" fmla="*/ 9 w 465"/>
                <a:gd name="T25" fmla="*/ 65 h 302"/>
                <a:gd name="T26" fmla="*/ 12 w 465"/>
                <a:gd name="T27" fmla="*/ 76 h 302"/>
                <a:gd name="T28" fmla="*/ 24 w 465"/>
                <a:gd name="T29" fmla="*/ 86 h 302"/>
                <a:gd name="T30" fmla="*/ 40 w 465"/>
                <a:gd name="T31" fmla="*/ 103 h 302"/>
                <a:gd name="T32" fmla="*/ 40 w 465"/>
                <a:gd name="T33" fmla="*/ 123 h 302"/>
                <a:gd name="T34" fmla="*/ 27 w 465"/>
                <a:gd name="T35" fmla="*/ 137 h 302"/>
                <a:gd name="T36" fmla="*/ 7 w 465"/>
                <a:gd name="T37" fmla="*/ 143 h 302"/>
                <a:gd name="T38" fmla="*/ 6 w 465"/>
                <a:gd name="T39" fmla="*/ 159 h 302"/>
                <a:gd name="T40" fmla="*/ 12 w 465"/>
                <a:gd name="T41" fmla="*/ 185 h 302"/>
                <a:gd name="T42" fmla="*/ 12 w 465"/>
                <a:gd name="T43" fmla="*/ 213 h 302"/>
                <a:gd name="T44" fmla="*/ 32 w 465"/>
                <a:gd name="T45" fmla="*/ 224 h 302"/>
                <a:gd name="T46" fmla="*/ 38 w 465"/>
                <a:gd name="T47" fmla="*/ 233 h 302"/>
                <a:gd name="T48" fmla="*/ 44 w 465"/>
                <a:gd name="T49" fmla="*/ 250 h 302"/>
                <a:gd name="T50" fmla="*/ 43 w 465"/>
                <a:gd name="T51" fmla="*/ 265 h 302"/>
                <a:gd name="T52" fmla="*/ 43 w 465"/>
                <a:gd name="T53" fmla="*/ 285 h 302"/>
                <a:gd name="T54" fmla="*/ 64 w 465"/>
                <a:gd name="T55" fmla="*/ 288 h 302"/>
                <a:gd name="T56" fmla="*/ 95 w 465"/>
                <a:gd name="T57" fmla="*/ 290 h 302"/>
                <a:gd name="T58" fmla="*/ 115 w 465"/>
                <a:gd name="T59" fmla="*/ 280 h 302"/>
                <a:gd name="T60" fmla="*/ 126 w 465"/>
                <a:gd name="T61" fmla="*/ 274 h 302"/>
                <a:gd name="T62" fmla="*/ 140 w 465"/>
                <a:gd name="T63" fmla="*/ 271 h 302"/>
                <a:gd name="T64" fmla="*/ 152 w 465"/>
                <a:gd name="T65" fmla="*/ 274 h 302"/>
                <a:gd name="T66" fmla="*/ 166 w 465"/>
                <a:gd name="T67" fmla="*/ 280 h 302"/>
                <a:gd name="T68" fmla="*/ 180 w 465"/>
                <a:gd name="T69" fmla="*/ 291 h 302"/>
                <a:gd name="T70" fmla="*/ 204 w 465"/>
                <a:gd name="T71" fmla="*/ 294 h 302"/>
                <a:gd name="T72" fmla="*/ 235 w 465"/>
                <a:gd name="T73" fmla="*/ 299 h 302"/>
                <a:gd name="T74" fmla="*/ 254 w 465"/>
                <a:gd name="T75" fmla="*/ 294 h 302"/>
                <a:gd name="T76" fmla="*/ 280 w 465"/>
                <a:gd name="T77" fmla="*/ 291 h 302"/>
                <a:gd name="T78" fmla="*/ 283 w 465"/>
                <a:gd name="T79" fmla="*/ 279 h 302"/>
                <a:gd name="T80" fmla="*/ 280 w 465"/>
                <a:gd name="T81" fmla="*/ 265 h 302"/>
                <a:gd name="T82" fmla="*/ 280 w 465"/>
                <a:gd name="T83" fmla="*/ 254 h 302"/>
                <a:gd name="T84" fmla="*/ 300 w 465"/>
                <a:gd name="T85" fmla="*/ 245 h 302"/>
                <a:gd name="T86" fmla="*/ 312 w 465"/>
                <a:gd name="T87" fmla="*/ 234 h 302"/>
                <a:gd name="T88" fmla="*/ 332 w 465"/>
                <a:gd name="T89" fmla="*/ 230 h 302"/>
                <a:gd name="T90" fmla="*/ 345 w 465"/>
                <a:gd name="T91" fmla="*/ 224 h 302"/>
                <a:gd name="T92" fmla="*/ 358 w 465"/>
                <a:gd name="T93" fmla="*/ 220 h 302"/>
                <a:gd name="T94" fmla="*/ 388 w 465"/>
                <a:gd name="T95" fmla="*/ 236 h 302"/>
                <a:gd name="T96" fmla="*/ 391 w 465"/>
                <a:gd name="T97" fmla="*/ 233 h 302"/>
                <a:gd name="T98" fmla="*/ 406 w 465"/>
                <a:gd name="T99" fmla="*/ 228 h 302"/>
                <a:gd name="T100" fmla="*/ 422 w 465"/>
                <a:gd name="T101" fmla="*/ 227 h 302"/>
                <a:gd name="T102" fmla="*/ 412 w 465"/>
                <a:gd name="T103" fmla="*/ 216 h 302"/>
                <a:gd name="T104" fmla="*/ 403 w 465"/>
                <a:gd name="T105" fmla="*/ 203 h 302"/>
                <a:gd name="T106" fmla="*/ 400 w 465"/>
                <a:gd name="T107" fmla="*/ 193 h 302"/>
                <a:gd name="T108" fmla="*/ 397 w 465"/>
                <a:gd name="T109" fmla="*/ 183 h 302"/>
                <a:gd name="T110" fmla="*/ 389 w 465"/>
                <a:gd name="T111" fmla="*/ 182 h 302"/>
                <a:gd name="T112" fmla="*/ 380 w 465"/>
                <a:gd name="T113" fmla="*/ 182 h 302"/>
                <a:gd name="T114" fmla="*/ 392 w 465"/>
                <a:gd name="T115" fmla="*/ 167 h 302"/>
                <a:gd name="T116" fmla="*/ 408 w 465"/>
                <a:gd name="T117" fmla="*/ 156 h 302"/>
                <a:gd name="T118" fmla="*/ 412 w 465"/>
                <a:gd name="T119" fmla="*/ 122 h 302"/>
                <a:gd name="T120" fmla="*/ 422 w 465"/>
                <a:gd name="T121" fmla="*/ 103 h 302"/>
                <a:gd name="T122" fmla="*/ 451 w 465"/>
                <a:gd name="T123" fmla="*/ 8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5" h="302">
                  <a:moveTo>
                    <a:pt x="465" y="70"/>
                  </a:moveTo>
                  <a:lnTo>
                    <a:pt x="465" y="70"/>
                  </a:lnTo>
                  <a:lnTo>
                    <a:pt x="463" y="68"/>
                  </a:lnTo>
                  <a:lnTo>
                    <a:pt x="463" y="66"/>
                  </a:lnTo>
                  <a:lnTo>
                    <a:pt x="463" y="65"/>
                  </a:lnTo>
                  <a:lnTo>
                    <a:pt x="463" y="53"/>
                  </a:lnTo>
                  <a:lnTo>
                    <a:pt x="463" y="51"/>
                  </a:lnTo>
                  <a:lnTo>
                    <a:pt x="452" y="51"/>
                  </a:lnTo>
                  <a:lnTo>
                    <a:pt x="437" y="50"/>
                  </a:lnTo>
                  <a:lnTo>
                    <a:pt x="422" y="42"/>
                  </a:lnTo>
                  <a:lnTo>
                    <a:pt x="419" y="40"/>
                  </a:lnTo>
                  <a:lnTo>
                    <a:pt x="415" y="28"/>
                  </a:lnTo>
                  <a:lnTo>
                    <a:pt x="414" y="25"/>
                  </a:lnTo>
                  <a:lnTo>
                    <a:pt x="414" y="25"/>
                  </a:lnTo>
                  <a:lnTo>
                    <a:pt x="409" y="25"/>
                  </a:lnTo>
                  <a:lnTo>
                    <a:pt x="405" y="28"/>
                  </a:lnTo>
                  <a:lnTo>
                    <a:pt x="400" y="29"/>
                  </a:lnTo>
                  <a:lnTo>
                    <a:pt x="397" y="25"/>
                  </a:lnTo>
                  <a:lnTo>
                    <a:pt x="395" y="25"/>
                  </a:lnTo>
                  <a:lnTo>
                    <a:pt x="394" y="22"/>
                  </a:lnTo>
                  <a:lnTo>
                    <a:pt x="392" y="22"/>
                  </a:lnTo>
                  <a:lnTo>
                    <a:pt x="388" y="23"/>
                  </a:lnTo>
                  <a:lnTo>
                    <a:pt x="374" y="23"/>
                  </a:lnTo>
                  <a:lnTo>
                    <a:pt x="374" y="22"/>
                  </a:lnTo>
                  <a:lnTo>
                    <a:pt x="372" y="20"/>
                  </a:lnTo>
                  <a:lnTo>
                    <a:pt x="371" y="19"/>
                  </a:lnTo>
                  <a:lnTo>
                    <a:pt x="368" y="17"/>
                  </a:lnTo>
                  <a:lnTo>
                    <a:pt x="365" y="16"/>
                  </a:lnTo>
                  <a:lnTo>
                    <a:pt x="366" y="13"/>
                  </a:lnTo>
                  <a:lnTo>
                    <a:pt x="365" y="11"/>
                  </a:lnTo>
                  <a:lnTo>
                    <a:pt x="365" y="11"/>
                  </a:lnTo>
                  <a:lnTo>
                    <a:pt x="363" y="13"/>
                  </a:lnTo>
                  <a:lnTo>
                    <a:pt x="362" y="11"/>
                  </a:lnTo>
                  <a:lnTo>
                    <a:pt x="354" y="9"/>
                  </a:lnTo>
                  <a:lnTo>
                    <a:pt x="348" y="6"/>
                  </a:lnTo>
                  <a:lnTo>
                    <a:pt x="346" y="8"/>
                  </a:lnTo>
                  <a:lnTo>
                    <a:pt x="337" y="8"/>
                  </a:lnTo>
                  <a:lnTo>
                    <a:pt x="331" y="13"/>
                  </a:lnTo>
                  <a:lnTo>
                    <a:pt x="328" y="13"/>
                  </a:lnTo>
                  <a:lnTo>
                    <a:pt x="325" y="13"/>
                  </a:lnTo>
                  <a:lnTo>
                    <a:pt x="323" y="13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0" y="14"/>
                  </a:lnTo>
                  <a:lnTo>
                    <a:pt x="317" y="16"/>
                  </a:lnTo>
                  <a:lnTo>
                    <a:pt x="302" y="17"/>
                  </a:lnTo>
                  <a:lnTo>
                    <a:pt x="295" y="19"/>
                  </a:lnTo>
                  <a:lnTo>
                    <a:pt x="294" y="19"/>
                  </a:lnTo>
                  <a:lnTo>
                    <a:pt x="289" y="22"/>
                  </a:lnTo>
                  <a:lnTo>
                    <a:pt x="283" y="23"/>
                  </a:lnTo>
                  <a:lnTo>
                    <a:pt x="280" y="25"/>
                  </a:lnTo>
                  <a:lnTo>
                    <a:pt x="277" y="28"/>
                  </a:lnTo>
                  <a:lnTo>
                    <a:pt x="275" y="29"/>
                  </a:lnTo>
                  <a:lnTo>
                    <a:pt x="275" y="31"/>
                  </a:lnTo>
                  <a:lnTo>
                    <a:pt x="266" y="37"/>
                  </a:lnTo>
                  <a:lnTo>
                    <a:pt x="266" y="39"/>
                  </a:lnTo>
                  <a:lnTo>
                    <a:pt x="265" y="40"/>
                  </a:lnTo>
                  <a:lnTo>
                    <a:pt x="261" y="45"/>
                  </a:lnTo>
                  <a:lnTo>
                    <a:pt x="260" y="46"/>
                  </a:lnTo>
                  <a:lnTo>
                    <a:pt x="257" y="48"/>
                  </a:lnTo>
                  <a:lnTo>
                    <a:pt x="257" y="50"/>
                  </a:lnTo>
                  <a:lnTo>
                    <a:pt x="255" y="53"/>
                  </a:lnTo>
                  <a:lnTo>
                    <a:pt x="252" y="53"/>
                  </a:lnTo>
                  <a:lnTo>
                    <a:pt x="251" y="53"/>
                  </a:lnTo>
                  <a:lnTo>
                    <a:pt x="248" y="53"/>
                  </a:lnTo>
                  <a:lnTo>
                    <a:pt x="246" y="54"/>
                  </a:lnTo>
                  <a:lnTo>
                    <a:pt x="245" y="56"/>
                  </a:lnTo>
                  <a:lnTo>
                    <a:pt x="243" y="56"/>
                  </a:lnTo>
                  <a:lnTo>
                    <a:pt x="241" y="57"/>
                  </a:lnTo>
                  <a:lnTo>
                    <a:pt x="240" y="57"/>
                  </a:lnTo>
                  <a:lnTo>
                    <a:pt x="238" y="59"/>
                  </a:lnTo>
                  <a:lnTo>
                    <a:pt x="237" y="59"/>
                  </a:lnTo>
                  <a:lnTo>
                    <a:pt x="234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29" y="60"/>
                  </a:lnTo>
                  <a:lnTo>
                    <a:pt x="228" y="60"/>
                  </a:lnTo>
                  <a:lnTo>
                    <a:pt x="223" y="60"/>
                  </a:lnTo>
                  <a:lnTo>
                    <a:pt x="221" y="59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5" y="54"/>
                  </a:lnTo>
                  <a:lnTo>
                    <a:pt x="212" y="54"/>
                  </a:lnTo>
                  <a:lnTo>
                    <a:pt x="203" y="53"/>
                  </a:lnTo>
                  <a:lnTo>
                    <a:pt x="194" y="50"/>
                  </a:lnTo>
                  <a:lnTo>
                    <a:pt x="178" y="51"/>
                  </a:lnTo>
                  <a:lnTo>
                    <a:pt x="175" y="51"/>
                  </a:lnTo>
                  <a:lnTo>
                    <a:pt x="172" y="50"/>
                  </a:lnTo>
                  <a:lnTo>
                    <a:pt x="160" y="45"/>
                  </a:lnTo>
                  <a:lnTo>
                    <a:pt x="157" y="45"/>
                  </a:lnTo>
                  <a:lnTo>
                    <a:pt x="155" y="45"/>
                  </a:lnTo>
                  <a:lnTo>
                    <a:pt x="151" y="48"/>
                  </a:lnTo>
                  <a:lnTo>
                    <a:pt x="149" y="50"/>
                  </a:lnTo>
                  <a:lnTo>
                    <a:pt x="147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07" y="43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84" y="37"/>
                  </a:lnTo>
                  <a:lnTo>
                    <a:pt x="72" y="36"/>
                  </a:lnTo>
                  <a:lnTo>
                    <a:pt x="66" y="37"/>
                  </a:lnTo>
                  <a:lnTo>
                    <a:pt x="63" y="39"/>
                  </a:lnTo>
                  <a:lnTo>
                    <a:pt x="60" y="39"/>
                  </a:lnTo>
                  <a:lnTo>
                    <a:pt x="58" y="40"/>
                  </a:lnTo>
                  <a:lnTo>
                    <a:pt x="52" y="40"/>
                  </a:lnTo>
                  <a:lnTo>
                    <a:pt x="41" y="42"/>
                  </a:lnTo>
                  <a:lnTo>
                    <a:pt x="40" y="40"/>
                  </a:lnTo>
                  <a:lnTo>
                    <a:pt x="38" y="39"/>
                  </a:lnTo>
                  <a:lnTo>
                    <a:pt x="37" y="37"/>
                  </a:lnTo>
                  <a:lnTo>
                    <a:pt x="37" y="36"/>
                  </a:lnTo>
                  <a:lnTo>
                    <a:pt x="38" y="26"/>
                  </a:lnTo>
                  <a:lnTo>
                    <a:pt x="40" y="25"/>
                  </a:lnTo>
                  <a:lnTo>
                    <a:pt x="41" y="23"/>
                  </a:lnTo>
                  <a:lnTo>
                    <a:pt x="43" y="23"/>
                  </a:lnTo>
                  <a:lnTo>
                    <a:pt x="46" y="23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50" y="17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1" y="11"/>
                  </a:lnTo>
                  <a:lnTo>
                    <a:pt x="24" y="0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3" y="25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1" y="33"/>
                  </a:lnTo>
                  <a:lnTo>
                    <a:pt x="1" y="36"/>
                  </a:lnTo>
                  <a:lnTo>
                    <a:pt x="1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1" y="46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1"/>
                  </a:lnTo>
                  <a:lnTo>
                    <a:pt x="3" y="53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6" y="59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10" y="71"/>
                  </a:lnTo>
                  <a:lnTo>
                    <a:pt x="12" y="76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7" y="82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34" y="93"/>
                  </a:lnTo>
                  <a:lnTo>
                    <a:pt x="35" y="94"/>
                  </a:lnTo>
                  <a:lnTo>
                    <a:pt x="35" y="96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9"/>
                  </a:lnTo>
                  <a:lnTo>
                    <a:pt x="37" y="100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1" y="105"/>
                  </a:lnTo>
                  <a:lnTo>
                    <a:pt x="46" y="106"/>
                  </a:lnTo>
                  <a:lnTo>
                    <a:pt x="46" y="106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6" y="113"/>
                  </a:lnTo>
                  <a:lnTo>
                    <a:pt x="44" y="116"/>
                  </a:lnTo>
                  <a:lnTo>
                    <a:pt x="43" y="117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0" y="120"/>
                  </a:lnTo>
                  <a:lnTo>
                    <a:pt x="40" y="122"/>
                  </a:lnTo>
                  <a:lnTo>
                    <a:pt x="40" y="123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4" y="128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0" y="130"/>
                  </a:lnTo>
                  <a:lnTo>
                    <a:pt x="30" y="131"/>
                  </a:lnTo>
                  <a:lnTo>
                    <a:pt x="29" y="136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7" y="137"/>
                  </a:lnTo>
                  <a:lnTo>
                    <a:pt x="26" y="139"/>
                  </a:lnTo>
                  <a:lnTo>
                    <a:pt x="23" y="139"/>
                  </a:lnTo>
                  <a:lnTo>
                    <a:pt x="18" y="137"/>
                  </a:lnTo>
                  <a:lnTo>
                    <a:pt x="15" y="139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9" y="142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51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6"/>
                  </a:lnTo>
                  <a:lnTo>
                    <a:pt x="6" y="159"/>
                  </a:lnTo>
                  <a:lnTo>
                    <a:pt x="7" y="160"/>
                  </a:lnTo>
                  <a:lnTo>
                    <a:pt x="7" y="162"/>
                  </a:lnTo>
                  <a:lnTo>
                    <a:pt x="6" y="163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9" y="173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9"/>
                  </a:lnTo>
                  <a:lnTo>
                    <a:pt x="13" y="182"/>
                  </a:lnTo>
                  <a:lnTo>
                    <a:pt x="12" y="185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9" y="188"/>
                  </a:lnTo>
                  <a:lnTo>
                    <a:pt x="9" y="188"/>
                  </a:lnTo>
                  <a:lnTo>
                    <a:pt x="7" y="190"/>
                  </a:lnTo>
                  <a:lnTo>
                    <a:pt x="6" y="193"/>
                  </a:lnTo>
                  <a:lnTo>
                    <a:pt x="6" y="194"/>
                  </a:lnTo>
                  <a:lnTo>
                    <a:pt x="4" y="194"/>
                  </a:lnTo>
                  <a:lnTo>
                    <a:pt x="1" y="194"/>
                  </a:lnTo>
                  <a:lnTo>
                    <a:pt x="0" y="196"/>
                  </a:lnTo>
                  <a:lnTo>
                    <a:pt x="6" y="205"/>
                  </a:lnTo>
                  <a:lnTo>
                    <a:pt x="9" y="208"/>
                  </a:lnTo>
                  <a:lnTo>
                    <a:pt x="10" y="211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3" y="214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24" y="220"/>
                  </a:lnTo>
                  <a:lnTo>
                    <a:pt x="26" y="222"/>
                  </a:lnTo>
                  <a:lnTo>
                    <a:pt x="26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4"/>
                  </a:lnTo>
                  <a:lnTo>
                    <a:pt x="30" y="222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5" y="225"/>
                  </a:lnTo>
                  <a:lnTo>
                    <a:pt x="35" y="225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7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30"/>
                  </a:lnTo>
                  <a:lnTo>
                    <a:pt x="38" y="233"/>
                  </a:lnTo>
                  <a:lnTo>
                    <a:pt x="38" y="234"/>
                  </a:lnTo>
                  <a:lnTo>
                    <a:pt x="38" y="237"/>
                  </a:lnTo>
                  <a:lnTo>
                    <a:pt x="40" y="237"/>
                  </a:lnTo>
                  <a:lnTo>
                    <a:pt x="38" y="239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1" y="240"/>
                  </a:lnTo>
                  <a:lnTo>
                    <a:pt x="41" y="242"/>
                  </a:lnTo>
                  <a:lnTo>
                    <a:pt x="41" y="245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6" y="251"/>
                  </a:lnTo>
                  <a:lnTo>
                    <a:pt x="47" y="251"/>
                  </a:lnTo>
                  <a:lnTo>
                    <a:pt x="49" y="253"/>
                  </a:lnTo>
                  <a:lnTo>
                    <a:pt x="49" y="256"/>
                  </a:lnTo>
                  <a:lnTo>
                    <a:pt x="47" y="257"/>
                  </a:lnTo>
                  <a:lnTo>
                    <a:pt x="47" y="259"/>
                  </a:lnTo>
                  <a:lnTo>
                    <a:pt x="46" y="260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4" y="264"/>
                  </a:lnTo>
                  <a:lnTo>
                    <a:pt x="44" y="264"/>
                  </a:lnTo>
                  <a:lnTo>
                    <a:pt x="43" y="264"/>
                  </a:lnTo>
                  <a:lnTo>
                    <a:pt x="43" y="265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70"/>
                  </a:lnTo>
                  <a:lnTo>
                    <a:pt x="44" y="270"/>
                  </a:lnTo>
                  <a:lnTo>
                    <a:pt x="44" y="271"/>
                  </a:lnTo>
                  <a:lnTo>
                    <a:pt x="44" y="271"/>
                  </a:lnTo>
                  <a:lnTo>
                    <a:pt x="44" y="273"/>
                  </a:lnTo>
                  <a:lnTo>
                    <a:pt x="44" y="274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44" y="284"/>
                  </a:lnTo>
                  <a:lnTo>
                    <a:pt x="44" y="284"/>
                  </a:lnTo>
                  <a:lnTo>
                    <a:pt x="44" y="284"/>
                  </a:lnTo>
                  <a:lnTo>
                    <a:pt x="43" y="285"/>
                  </a:lnTo>
                  <a:lnTo>
                    <a:pt x="43" y="285"/>
                  </a:lnTo>
                  <a:lnTo>
                    <a:pt x="43" y="288"/>
                  </a:lnTo>
                  <a:lnTo>
                    <a:pt x="44" y="290"/>
                  </a:lnTo>
                  <a:lnTo>
                    <a:pt x="44" y="291"/>
                  </a:lnTo>
                  <a:lnTo>
                    <a:pt x="41" y="293"/>
                  </a:lnTo>
                  <a:lnTo>
                    <a:pt x="57" y="296"/>
                  </a:lnTo>
                  <a:lnTo>
                    <a:pt x="60" y="294"/>
                  </a:lnTo>
                  <a:lnTo>
                    <a:pt x="61" y="294"/>
                  </a:lnTo>
                  <a:lnTo>
                    <a:pt x="63" y="294"/>
                  </a:lnTo>
                  <a:lnTo>
                    <a:pt x="63" y="293"/>
                  </a:lnTo>
                  <a:lnTo>
                    <a:pt x="63" y="293"/>
                  </a:lnTo>
                  <a:lnTo>
                    <a:pt x="63" y="291"/>
                  </a:lnTo>
                  <a:lnTo>
                    <a:pt x="64" y="290"/>
                  </a:lnTo>
                  <a:lnTo>
                    <a:pt x="64" y="288"/>
                  </a:lnTo>
                  <a:lnTo>
                    <a:pt x="66" y="288"/>
                  </a:lnTo>
                  <a:lnTo>
                    <a:pt x="67" y="287"/>
                  </a:lnTo>
                  <a:lnTo>
                    <a:pt x="69" y="287"/>
                  </a:lnTo>
                  <a:lnTo>
                    <a:pt x="70" y="288"/>
                  </a:lnTo>
                  <a:lnTo>
                    <a:pt x="72" y="290"/>
                  </a:lnTo>
                  <a:lnTo>
                    <a:pt x="72" y="290"/>
                  </a:lnTo>
                  <a:lnTo>
                    <a:pt x="74" y="290"/>
                  </a:lnTo>
                  <a:lnTo>
                    <a:pt x="75" y="288"/>
                  </a:lnTo>
                  <a:lnTo>
                    <a:pt x="77" y="287"/>
                  </a:lnTo>
                  <a:lnTo>
                    <a:pt x="78" y="287"/>
                  </a:lnTo>
                  <a:lnTo>
                    <a:pt x="86" y="287"/>
                  </a:lnTo>
                  <a:lnTo>
                    <a:pt x="90" y="290"/>
                  </a:lnTo>
                  <a:lnTo>
                    <a:pt x="94" y="290"/>
                  </a:lnTo>
                  <a:lnTo>
                    <a:pt x="95" y="290"/>
                  </a:lnTo>
                  <a:lnTo>
                    <a:pt x="95" y="288"/>
                  </a:lnTo>
                  <a:lnTo>
                    <a:pt x="97" y="287"/>
                  </a:lnTo>
                  <a:lnTo>
                    <a:pt x="98" y="287"/>
                  </a:lnTo>
                  <a:lnTo>
                    <a:pt x="100" y="287"/>
                  </a:lnTo>
                  <a:lnTo>
                    <a:pt x="103" y="287"/>
                  </a:lnTo>
                  <a:lnTo>
                    <a:pt x="104" y="287"/>
                  </a:lnTo>
                  <a:lnTo>
                    <a:pt x="106" y="284"/>
                  </a:lnTo>
                  <a:lnTo>
                    <a:pt x="107" y="284"/>
                  </a:lnTo>
                  <a:lnTo>
                    <a:pt x="109" y="284"/>
                  </a:lnTo>
                  <a:lnTo>
                    <a:pt x="111" y="284"/>
                  </a:lnTo>
                  <a:lnTo>
                    <a:pt x="112" y="282"/>
                  </a:lnTo>
                  <a:lnTo>
                    <a:pt x="112" y="282"/>
                  </a:lnTo>
                  <a:lnTo>
                    <a:pt x="115" y="280"/>
                  </a:lnTo>
                  <a:lnTo>
                    <a:pt x="115" y="280"/>
                  </a:lnTo>
                  <a:lnTo>
                    <a:pt x="118" y="284"/>
                  </a:lnTo>
                  <a:lnTo>
                    <a:pt x="120" y="284"/>
                  </a:lnTo>
                  <a:lnTo>
                    <a:pt x="121" y="282"/>
                  </a:lnTo>
                  <a:lnTo>
                    <a:pt x="121" y="282"/>
                  </a:lnTo>
                  <a:lnTo>
                    <a:pt x="121" y="282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4" y="282"/>
                  </a:lnTo>
                  <a:lnTo>
                    <a:pt x="124" y="282"/>
                  </a:lnTo>
                  <a:lnTo>
                    <a:pt x="126" y="280"/>
                  </a:lnTo>
                  <a:lnTo>
                    <a:pt x="126" y="280"/>
                  </a:lnTo>
                  <a:lnTo>
                    <a:pt x="126" y="279"/>
                  </a:lnTo>
                  <a:lnTo>
                    <a:pt x="126" y="277"/>
                  </a:lnTo>
                  <a:lnTo>
                    <a:pt x="126" y="274"/>
                  </a:lnTo>
                  <a:lnTo>
                    <a:pt x="127" y="273"/>
                  </a:lnTo>
                  <a:lnTo>
                    <a:pt x="131" y="273"/>
                  </a:lnTo>
                  <a:lnTo>
                    <a:pt x="134" y="274"/>
                  </a:lnTo>
                  <a:lnTo>
                    <a:pt x="134" y="274"/>
                  </a:lnTo>
                  <a:lnTo>
                    <a:pt x="134" y="276"/>
                  </a:lnTo>
                  <a:lnTo>
                    <a:pt x="135" y="276"/>
                  </a:lnTo>
                  <a:lnTo>
                    <a:pt x="135" y="276"/>
                  </a:lnTo>
                  <a:lnTo>
                    <a:pt x="135" y="276"/>
                  </a:lnTo>
                  <a:lnTo>
                    <a:pt x="135" y="274"/>
                  </a:lnTo>
                  <a:lnTo>
                    <a:pt x="135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8" y="271"/>
                  </a:lnTo>
                  <a:lnTo>
                    <a:pt x="140" y="271"/>
                  </a:lnTo>
                  <a:lnTo>
                    <a:pt x="141" y="271"/>
                  </a:lnTo>
                  <a:lnTo>
                    <a:pt x="143" y="271"/>
                  </a:lnTo>
                  <a:lnTo>
                    <a:pt x="144" y="273"/>
                  </a:lnTo>
                  <a:lnTo>
                    <a:pt x="144" y="274"/>
                  </a:lnTo>
                  <a:lnTo>
                    <a:pt x="143" y="274"/>
                  </a:lnTo>
                  <a:lnTo>
                    <a:pt x="144" y="274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9" y="274"/>
                  </a:lnTo>
                  <a:lnTo>
                    <a:pt x="151" y="274"/>
                  </a:lnTo>
                  <a:lnTo>
                    <a:pt x="152" y="274"/>
                  </a:lnTo>
                  <a:lnTo>
                    <a:pt x="154" y="274"/>
                  </a:lnTo>
                  <a:lnTo>
                    <a:pt x="155" y="274"/>
                  </a:lnTo>
                  <a:lnTo>
                    <a:pt x="157" y="271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1" y="273"/>
                  </a:lnTo>
                  <a:lnTo>
                    <a:pt x="163" y="274"/>
                  </a:lnTo>
                  <a:lnTo>
                    <a:pt x="163" y="277"/>
                  </a:lnTo>
                  <a:lnTo>
                    <a:pt x="163" y="279"/>
                  </a:lnTo>
                  <a:lnTo>
                    <a:pt x="163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80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66" y="282"/>
                  </a:lnTo>
                  <a:lnTo>
                    <a:pt x="166" y="282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71" y="284"/>
                  </a:lnTo>
                  <a:lnTo>
                    <a:pt x="171" y="285"/>
                  </a:lnTo>
                  <a:lnTo>
                    <a:pt x="172" y="285"/>
                  </a:lnTo>
                  <a:lnTo>
                    <a:pt x="174" y="285"/>
                  </a:lnTo>
                  <a:lnTo>
                    <a:pt x="175" y="285"/>
                  </a:lnTo>
                  <a:lnTo>
                    <a:pt x="175" y="287"/>
                  </a:lnTo>
                  <a:lnTo>
                    <a:pt x="178" y="290"/>
                  </a:lnTo>
                  <a:lnTo>
                    <a:pt x="180" y="291"/>
                  </a:lnTo>
                  <a:lnTo>
                    <a:pt x="181" y="291"/>
                  </a:lnTo>
                  <a:lnTo>
                    <a:pt x="183" y="290"/>
                  </a:lnTo>
                  <a:lnTo>
                    <a:pt x="181" y="288"/>
                  </a:lnTo>
                  <a:lnTo>
                    <a:pt x="183" y="288"/>
                  </a:lnTo>
                  <a:lnTo>
                    <a:pt x="184" y="287"/>
                  </a:lnTo>
                  <a:lnTo>
                    <a:pt x="186" y="287"/>
                  </a:lnTo>
                  <a:lnTo>
                    <a:pt x="188" y="287"/>
                  </a:lnTo>
                  <a:lnTo>
                    <a:pt x="189" y="287"/>
                  </a:lnTo>
                  <a:lnTo>
                    <a:pt x="191" y="288"/>
                  </a:lnTo>
                  <a:lnTo>
                    <a:pt x="203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4"/>
                  </a:lnTo>
                  <a:lnTo>
                    <a:pt x="206" y="294"/>
                  </a:lnTo>
                  <a:lnTo>
                    <a:pt x="208" y="296"/>
                  </a:lnTo>
                  <a:lnTo>
                    <a:pt x="209" y="296"/>
                  </a:lnTo>
                  <a:lnTo>
                    <a:pt x="211" y="297"/>
                  </a:lnTo>
                  <a:lnTo>
                    <a:pt x="214" y="302"/>
                  </a:lnTo>
                  <a:lnTo>
                    <a:pt x="215" y="302"/>
                  </a:lnTo>
                  <a:lnTo>
                    <a:pt x="217" y="302"/>
                  </a:lnTo>
                  <a:lnTo>
                    <a:pt x="218" y="302"/>
                  </a:lnTo>
                  <a:lnTo>
                    <a:pt x="231" y="299"/>
                  </a:lnTo>
                  <a:lnTo>
                    <a:pt x="232" y="297"/>
                  </a:lnTo>
                  <a:lnTo>
                    <a:pt x="234" y="299"/>
                  </a:lnTo>
                  <a:lnTo>
                    <a:pt x="234" y="299"/>
                  </a:lnTo>
                  <a:lnTo>
                    <a:pt x="234" y="299"/>
                  </a:lnTo>
                  <a:lnTo>
                    <a:pt x="235" y="299"/>
                  </a:lnTo>
                  <a:lnTo>
                    <a:pt x="235" y="297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38" y="294"/>
                  </a:lnTo>
                  <a:lnTo>
                    <a:pt x="245" y="296"/>
                  </a:lnTo>
                  <a:lnTo>
                    <a:pt x="245" y="296"/>
                  </a:lnTo>
                  <a:lnTo>
                    <a:pt x="246" y="296"/>
                  </a:lnTo>
                  <a:lnTo>
                    <a:pt x="248" y="297"/>
                  </a:lnTo>
                  <a:lnTo>
                    <a:pt x="248" y="297"/>
                  </a:lnTo>
                  <a:lnTo>
                    <a:pt x="249" y="296"/>
                  </a:lnTo>
                  <a:lnTo>
                    <a:pt x="249" y="296"/>
                  </a:lnTo>
                  <a:lnTo>
                    <a:pt x="251" y="296"/>
                  </a:lnTo>
                  <a:lnTo>
                    <a:pt x="251" y="294"/>
                  </a:lnTo>
                  <a:lnTo>
                    <a:pt x="254" y="294"/>
                  </a:lnTo>
                  <a:lnTo>
                    <a:pt x="257" y="293"/>
                  </a:lnTo>
                  <a:lnTo>
                    <a:pt x="257" y="293"/>
                  </a:lnTo>
                  <a:lnTo>
                    <a:pt x="258" y="293"/>
                  </a:lnTo>
                  <a:lnTo>
                    <a:pt x="261" y="296"/>
                  </a:lnTo>
                  <a:lnTo>
                    <a:pt x="263" y="296"/>
                  </a:lnTo>
                  <a:lnTo>
                    <a:pt x="263" y="296"/>
                  </a:lnTo>
                  <a:lnTo>
                    <a:pt x="266" y="294"/>
                  </a:lnTo>
                  <a:lnTo>
                    <a:pt x="266" y="294"/>
                  </a:lnTo>
                  <a:lnTo>
                    <a:pt x="268" y="296"/>
                  </a:lnTo>
                  <a:lnTo>
                    <a:pt x="268" y="294"/>
                  </a:lnTo>
                  <a:lnTo>
                    <a:pt x="271" y="294"/>
                  </a:lnTo>
                  <a:lnTo>
                    <a:pt x="272" y="293"/>
                  </a:lnTo>
                  <a:lnTo>
                    <a:pt x="272" y="293"/>
                  </a:lnTo>
                  <a:lnTo>
                    <a:pt x="280" y="291"/>
                  </a:lnTo>
                  <a:lnTo>
                    <a:pt x="280" y="291"/>
                  </a:lnTo>
                  <a:lnTo>
                    <a:pt x="280" y="291"/>
                  </a:lnTo>
                  <a:lnTo>
                    <a:pt x="281" y="290"/>
                  </a:lnTo>
                  <a:lnTo>
                    <a:pt x="283" y="287"/>
                  </a:lnTo>
                  <a:lnTo>
                    <a:pt x="283" y="285"/>
                  </a:lnTo>
                  <a:lnTo>
                    <a:pt x="283" y="284"/>
                  </a:lnTo>
                  <a:lnTo>
                    <a:pt x="285" y="284"/>
                  </a:lnTo>
                  <a:lnTo>
                    <a:pt x="285" y="284"/>
                  </a:lnTo>
                  <a:lnTo>
                    <a:pt x="285" y="282"/>
                  </a:lnTo>
                  <a:lnTo>
                    <a:pt x="285" y="282"/>
                  </a:lnTo>
                  <a:lnTo>
                    <a:pt x="283" y="280"/>
                  </a:lnTo>
                  <a:lnTo>
                    <a:pt x="283" y="280"/>
                  </a:lnTo>
                  <a:lnTo>
                    <a:pt x="281" y="279"/>
                  </a:lnTo>
                  <a:lnTo>
                    <a:pt x="283" y="279"/>
                  </a:lnTo>
                  <a:lnTo>
                    <a:pt x="283" y="277"/>
                  </a:lnTo>
                  <a:lnTo>
                    <a:pt x="283" y="276"/>
                  </a:lnTo>
                  <a:lnTo>
                    <a:pt x="283" y="274"/>
                  </a:lnTo>
                  <a:lnTo>
                    <a:pt x="283" y="274"/>
                  </a:lnTo>
                  <a:lnTo>
                    <a:pt x="283" y="273"/>
                  </a:lnTo>
                  <a:lnTo>
                    <a:pt x="283" y="273"/>
                  </a:lnTo>
                  <a:lnTo>
                    <a:pt x="281" y="271"/>
                  </a:lnTo>
                  <a:lnTo>
                    <a:pt x="281" y="271"/>
                  </a:lnTo>
                  <a:lnTo>
                    <a:pt x="281" y="271"/>
                  </a:lnTo>
                  <a:lnTo>
                    <a:pt x="281" y="270"/>
                  </a:lnTo>
                  <a:lnTo>
                    <a:pt x="281" y="268"/>
                  </a:lnTo>
                  <a:lnTo>
                    <a:pt x="280" y="267"/>
                  </a:lnTo>
                  <a:lnTo>
                    <a:pt x="280" y="265"/>
                  </a:lnTo>
                  <a:lnTo>
                    <a:pt x="280" y="265"/>
                  </a:lnTo>
                  <a:lnTo>
                    <a:pt x="278" y="264"/>
                  </a:lnTo>
                  <a:lnTo>
                    <a:pt x="277" y="264"/>
                  </a:lnTo>
                  <a:lnTo>
                    <a:pt x="277" y="264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0"/>
                  </a:lnTo>
                  <a:lnTo>
                    <a:pt x="275" y="259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6"/>
                  </a:lnTo>
                  <a:lnTo>
                    <a:pt x="277" y="256"/>
                  </a:lnTo>
                  <a:lnTo>
                    <a:pt x="277" y="256"/>
                  </a:lnTo>
                  <a:lnTo>
                    <a:pt x="277" y="256"/>
                  </a:lnTo>
                  <a:lnTo>
                    <a:pt x="280" y="254"/>
                  </a:lnTo>
                  <a:lnTo>
                    <a:pt x="281" y="254"/>
                  </a:lnTo>
                  <a:lnTo>
                    <a:pt x="286" y="253"/>
                  </a:lnTo>
                  <a:lnTo>
                    <a:pt x="288" y="251"/>
                  </a:lnTo>
                  <a:lnTo>
                    <a:pt x="288" y="253"/>
                  </a:lnTo>
                  <a:lnTo>
                    <a:pt x="289" y="253"/>
                  </a:lnTo>
                  <a:lnTo>
                    <a:pt x="291" y="254"/>
                  </a:lnTo>
                  <a:lnTo>
                    <a:pt x="292" y="256"/>
                  </a:lnTo>
                  <a:lnTo>
                    <a:pt x="294" y="256"/>
                  </a:lnTo>
                  <a:lnTo>
                    <a:pt x="295" y="256"/>
                  </a:lnTo>
                  <a:lnTo>
                    <a:pt x="295" y="254"/>
                  </a:lnTo>
                  <a:lnTo>
                    <a:pt x="295" y="253"/>
                  </a:lnTo>
                  <a:lnTo>
                    <a:pt x="295" y="251"/>
                  </a:lnTo>
                  <a:lnTo>
                    <a:pt x="297" y="248"/>
                  </a:lnTo>
                  <a:lnTo>
                    <a:pt x="300" y="245"/>
                  </a:lnTo>
                  <a:lnTo>
                    <a:pt x="308" y="245"/>
                  </a:lnTo>
                  <a:lnTo>
                    <a:pt x="311" y="245"/>
                  </a:lnTo>
                  <a:lnTo>
                    <a:pt x="311" y="244"/>
                  </a:lnTo>
                  <a:lnTo>
                    <a:pt x="312" y="242"/>
                  </a:lnTo>
                  <a:lnTo>
                    <a:pt x="312" y="239"/>
                  </a:lnTo>
                  <a:lnTo>
                    <a:pt x="312" y="239"/>
                  </a:lnTo>
                  <a:lnTo>
                    <a:pt x="312" y="239"/>
                  </a:lnTo>
                  <a:lnTo>
                    <a:pt x="312" y="237"/>
                  </a:lnTo>
                  <a:lnTo>
                    <a:pt x="312" y="237"/>
                  </a:lnTo>
                  <a:lnTo>
                    <a:pt x="312" y="236"/>
                  </a:lnTo>
                  <a:lnTo>
                    <a:pt x="312" y="236"/>
                  </a:lnTo>
                  <a:lnTo>
                    <a:pt x="312" y="236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5" y="231"/>
                  </a:lnTo>
                  <a:lnTo>
                    <a:pt x="317" y="230"/>
                  </a:lnTo>
                  <a:lnTo>
                    <a:pt x="318" y="230"/>
                  </a:lnTo>
                  <a:lnTo>
                    <a:pt x="325" y="231"/>
                  </a:lnTo>
                  <a:lnTo>
                    <a:pt x="326" y="231"/>
                  </a:lnTo>
                  <a:lnTo>
                    <a:pt x="326" y="231"/>
                  </a:lnTo>
                  <a:lnTo>
                    <a:pt x="329" y="230"/>
                  </a:lnTo>
                  <a:lnTo>
                    <a:pt x="329" y="228"/>
                  </a:lnTo>
                  <a:lnTo>
                    <a:pt x="331" y="230"/>
                  </a:lnTo>
                  <a:lnTo>
                    <a:pt x="331" y="230"/>
                  </a:lnTo>
                  <a:lnTo>
                    <a:pt x="332" y="231"/>
                  </a:lnTo>
                  <a:lnTo>
                    <a:pt x="332" y="230"/>
                  </a:lnTo>
                  <a:lnTo>
                    <a:pt x="334" y="230"/>
                  </a:lnTo>
                  <a:lnTo>
                    <a:pt x="334" y="228"/>
                  </a:lnTo>
                  <a:lnTo>
                    <a:pt x="335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8" y="228"/>
                  </a:lnTo>
                  <a:lnTo>
                    <a:pt x="338" y="228"/>
                  </a:lnTo>
                  <a:lnTo>
                    <a:pt x="340" y="228"/>
                  </a:lnTo>
                  <a:lnTo>
                    <a:pt x="342" y="228"/>
                  </a:lnTo>
                  <a:lnTo>
                    <a:pt x="342" y="227"/>
                  </a:lnTo>
                  <a:lnTo>
                    <a:pt x="343" y="225"/>
                  </a:lnTo>
                  <a:lnTo>
                    <a:pt x="343" y="224"/>
                  </a:lnTo>
                  <a:lnTo>
                    <a:pt x="345" y="224"/>
                  </a:lnTo>
                  <a:lnTo>
                    <a:pt x="346" y="224"/>
                  </a:lnTo>
                  <a:lnTo>
                    <a:pt x="348" y="220"/>
                  </a:lnTo>
                  <a:lnTo>
                    <a:pt x="349" y="219"/>
                  </a:lnTo>
                  <a:lnTo>
                    <a:pt x="349" y="219"/>
                  </a:lnTo>
                  <a:lnTo>
                    <a:pt x="351" y="219"/>
                  </a:lnTo>
                  <a:lnTo>
                    <a:pt x="352" y="219"/>
                  </a:lnTo>
                  <a:lnTo>
                    <a:pt x="354" y="220"/>
                  </a:lnTo>
                  <a:lnTo>
                    <a:pt x="354" y="220"/>
                  </a:lnTo>
                  <a:lnTo>
                    <a:pt x="355" y="220"/>
                  </a:lnTo>
                  <a:lnTo>
                    <a:pt x="357" y="220"/>
                  </a:lnTo>
                  <a:lnTo>
                    <a:pt x="358" y="222"/>
                  </a:lnTo>
                  <a:lnTo>
                    <a:pt x="358" y="222"/>
                  </a:lnTo>
                  <a:lnTo>
                    <a:pt x="358" y="220"/>
                  </a:lnTo>
                  <a:lnTo>
                    <a:pt x="358" y="220"/>
                  </a:lnTo>
                  <a:lnTo>
                    <a:pt x="362" y="219"/>
                  </a:lnTo>
                  <a:lnTo>
                    <a:pt x="362" y="217"/>
                  </a:lnTo>
                  <a:lnTo>
                    <a:pt x="363" y="217"/>
                  </a:lnTo>
                  <a:lnTo>
                    <a:pt x="366" y="217"/>
                  </a:lnTo>
                  <a:lnTo>
                    <a:pt x="368" y="219"/>
                  </a:lnTo>
                  <a:lnTo>
                    <a:pt x="371" y="222"/>
                  </a:lnTo>
                  <a:lnTo>
                    <a:pt x="374" y="227"/>
                  </a:lnTo>
                  <a:lnTo>
                    <a:pt x="375" y="228"/>
                  </a:lnTo>
                  <a:lnTo>
                    <a:pt x="377" y="230"/>
                  </a:lnTo>
                  <a:lnTo>
                    <a:pt x="383" y="233"/>
                  </a:lnTo>
                  <a:lnTo>
                    <a:pt x="383" y="234"/>
                  </a:lnTo>
                  <a:lnTo>
                    <a:pt x="385" y="236"/>
                  </a:lnTo>
                  <a:lnTo>
                    <a:pt x="386" y="237"/>
                  </a:lnTo>
                  <a:lnTo>
                    <a:pt x="388" y="236"/>
                  </a:lnTo>
                  <a:lnTo>
                    <a:pt x="386" y="236"/>
                  </a:lnTo>
                  <a:lnTo>
                    <a:pt x="386" y="236"/>
                  </a:lnTo>
                  <a:lnTo>
                    <a:pt x="388" y="236"/>
                  </a:lnTo>
                  <a:lnTo>
                    <a:pt x="388" y="236"/>
                  </a:lnTo>
                  <a:lnTo>
                    <a:pt x="388" y="236"/>
                  </a:lnTo>
                  <a:lnTo>
                    <a:pt x="388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8" y="234"/>
                  </a:lnTo>
                  <a:lnTo>
                    <a:pt x="389" y="234"/>
                  </a:lnTo>
                  <a:lnTo>
                    <a:pt x="389" y="233"/>
                  </a:lnTo>
                  <a:lnTo>
                    <a:pt x="391" y="233"/>
                  </a:lnTo>
                  <a:lnTo>
                    <a:pt x="391" y="233"/>
                  </a:lnTo>
                  <a:lnTo>
                    <a:pt x="391" y="233"/>
                  </a:lnTo>
                  <a:lnTo>
                    <a:pt x="391" y="231"/>
                  </a:lnTo>
                  <a:lnTo>
                    <a:pt x="397" y="230"/>
                  </a:lnTo>
                  <a:lnTo>
                    <a:pt x="400" y="230"/>
                  </a:lnTo>
                  <a:lnTo>
                    <a:pt x="403" y="233"/>
                  </a:lnTo>
                  <a:lnTo>
                    <a:pt x="405" y="233"/>
                  </a:lnTo>
                  <a:lnTo>
                    <a:pt x="406" y="233"/>
                  </a:lnTo>
                  <a:lnTo>
                    <a:pt x="406" y="233"/>
                  </a:lnTo>
                  <a:lnTo>
                    <a:pt x="406" y="231"/>
                  </a:lnTo>
                  <a:lnTo>
                    <a:pt x="406" y="231"/>
                  </a:lnTo>
                  <a:lnTo>
                    <a:pt x="406" y="230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28"/>
                  </a:lnTo>
                  <a:lnTo>
                    <a:pt x="409" y="228"/>
                  </a:lnTo>
                  <a:lnTo>
                    <a:pt x="411" y="228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7" y="228"/>
                  </a:lnTo>
                  <a:lnTo>
                    <a:pt x="419" y="230"/>
                  </a:lnTo>
                  <a:lnTo>
                    <a:pt x="422" y="230"/>
                  </a:lnTo>
                  <a:lnTo>
                    <a:pt x="422" y="230"/>
                  </a:lnTo>
                  <a:lnTo>
                    <a:pt x="422" y="228"/>
                  </a:lnTo>
                  <a:lnTo>
                    <a:pt x="422" y="228"/>
                  </a:lnTo>
                  <a:lnTo>
                    <a:pt x="422" y="227"/>
                  </a:lnTo>
                  <a:lnTo>
                    <a:pt x="422" y="225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2"/>
                  </a:lnTo>
                  <a:lnTo>
                    <a:pt x="419" y="222"/>
                  </a:lnTo>
                  <a:lnTo>
                    <a:pt x="419" y="220"/>
                  </a:lnTo>
                  <a:lnTo>
                    <a:pt x="419" y="220"/>
                  </a:lnTo>
                  <a:lnTo>
                    <a:pt x="419" y="219"/>
                  </a:lnTo>
                  <a:lnTo>
                    <a:pt x="417" y="219"/>
                  </a:lnTo>
                  <a:lnTo>
                    <a:pt x="417" y="217"/>
                  </a:lnTo>
                  <a:lnTo>
                    <a:pt x="412" y="216"/>
                  </a:lnTo>
                  <a:lnTo>
                    <a:pt x="412" y="213"/>
                  </a:lnTo>
                  <a:lnTo>
                    <a:pt x="411" y="211"/>
                  </a:lnTo>
                  <a:lnTo>
                    <a:pt x="409" y="211"/>
                  </a:lnTo>
                  <a:lnTo>
                    <a:pt x="409" y="210"/>
                  </a:lnTo>
                  <a:lnTo>
                    <a:pt x="409" y="210"/>
                  </a:lnTo>
                  <a:lnTo>
                    <a:pt x="409" y="210"/>
                  </a:lnTo>
                  <a:lnTo>
                    <a:pt x="409" y="208"/>
                  </a:lnTo>
                  <a:lnTo>
                    <a:pt x="408" y="208"/>
                  </a:lnTo>
                  <a:lnTo>
                    <a:pt x="406" y="207"/>
                  </a:lnTo>
                  <a:lnTo>
                    <a:pt x="406" y="207"/>
                  </a:lnTo>
                  <a:lnTo>
                    <a:pt x="406" y="205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2" y="202"/>
                  </a:lnTo>
                  <a:lnTo>
                    <a:pt x="402" y="199"/>
                  </a:lnTo>
                  <a:lnTo>
                    <a:pt x="403" y="197"/>
                  </a:lnTo>
                  <a:lnTo>
                    <a:pt x="405" y="196"/>
                  </a:lnTo>
                  <a:lnTo>
                    <a:pt x="403" y="196"/>
                  </a:lnTo>
                  <a:lnTo>
                    <a:pt x="403" y="194"/>
                  </a:lnTo>
                  <a:lnTo>
                    <a:pt x="403" y="194"/>
                  </a:lnTo>
                  <a:lnTo>
                    <a:pt x="403" y="194"/>
                  </a:lnTo>
                  <a:lnTo>
                    <a:pt x="403" y="193"/>
                  </a:lnTo>
                  <a:lnTo>
                    <a:pt x="403" y="193"/>
                  </a:lnTo>
                  <a:lnTo>
                    <a:pt x="402" y="194"/>
                  </a:lnTo>
                  <a:lnTo>
                    <a:pt x="402" y="194"/>
                  </a:lnTo>
                  <a:lnTo>
                    <a:pt x="400" y="193"/>
                  </a:lnTo>
                  <a:lnTo>
                    <a:pt x="399" y="193"/>
                  </a:lnTo>
                  <a:lnTo>
                    <a:pt x="399" y="191"/>
                  </a:lnTo>
                  <a:lnTo>
                    <a:pt x="399" y="190"/>
                  </a:lnTo>
                  <a:lnTo>
                    <a:pt x="399" y="188"/>
                  </a:lnTo>
                  <a:lnTo>
                    <a:pt x="399" y="188"/>
                  </a:lnTo>
                  <a:lnTo>
                    <a:pt x="399" y="188"/>
                  </a:lnTo>
                  <a:lnTo>
                    <a:pt x="397" y="187"/>
                  </a:lnTo>
                  <a:lnTo>
                    <a:pt x="399" y="187"/>
                  </a:lnTo>
                  <a:lnTo>
                    <a:pt x="399" y="187"/>
                  </a:lnTo>
                  <a:lnTo>
                    <a:pt x="399" y="185"/>
                  </a:lnTo>
                  <a:lnTo>
                    <a:pt x="399" y="187"/>
                  </a:lnTo>
                  <a:lnTo>
                    <a:pt x="399" y="185"/>
                  </a:lnTo>
                  <a:lnTo>
                    <a:pt x="397" y="185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94" y="185"/>
                  </a:lnTo>
                  <a:lnTo>
                    <a:pt x="394" y="183"/>
                  </a:lnTo>
                  <a:lnTo>
                    <a:pt x="392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2" y="182"/>
                  </a:lnTo>
                  <a:lnTo>
                    <a:pt x="392" y="182"/>
                  </a:lnTo>
                  <a:lnTo>
                    <a:pt x="391" y="182"/>
                  </a:lnTo>
                  <a:lnTo>
                    <a:pt x="391" y="182"/>
                  </a:lnTo>
                  <a:lnTo>
                    <a:pt x="389" y="182"/>
                  </a:lnTo>
                  <a:lnTo>
                    <a:pt x="389" y="182"/>
                  </a:lnTo>
                  <a:lnTo>
                    <a:pt x="388" y="182"/>
                  </a:lnTo>
                  <a:lnTo>
                    <a:pt x="388" y="182"/>
                  </a:lnTo>
                  <a:lnTo>
                    <a:pt x="386" y="180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3"/>
                  </a:lnTo>
                  <a:lnTo>
                    <a:pt x="383" y="183"/>
                  </a:lnTo>
                  <a:lnTo>
                    <a:pt x="382" y="180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2"/>
                  </a:lnTo>
                  <a:lnTo>
                    <a:pt x="380" y="182"/>
                  </a:lnTo>
                  <a:lnTo>
                    <a:pt x="380" y="182"/>
                  </a:lnTo>
                  <a:lnTo>
                    <a:pt x="380" y="180"/>
                  </a:lnTo>
                  <a:lnTo>
                    <a:pt x="380" y="179"/>
                  </a:lnTo>
                  <a:lnTo>
                    <a:pt x="380" y="177"/>
                  </a:lnTo>
                  <a:lnTo>
                    <a:pt x="382" y="179"/>
                  </a:lnTo>
                  <a:lnTo>
                    <a:pt x="382" y="176"/>
                  </a:lnTo>
                  <a:lnTo>
                    <a:pt x="383" y="174"/>
                  </a:lnTo>
                  <a:lnTo>
                    <a:pt x="383" y="171"/>
                  </a:lnTo>
                  <a:lnTo>
                    <a:pt x="386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70"/>
                  </a:lnTo>
                  <a:lnTo>
                    <a:pt x="392" y="167"/>
                  </a:lnTo>
                  <a:lnTo>
                    <a:pt x="392" y="163"/>
                  </a:lnTo>
                  <a:lnTo>
                    <a:pt x="394" y="163"/>
                  </a:lnTo>
                  <a:lnTo>
                    <a:pt x="395" y="162"/>
                  </a:lnTo>
                  <a:lnTo>
                    <a:pt x="399" y="160"/>
                  </a:lnTo>
                  <a:lnTo>
                    <a:pt x="400" y="160"/>
                  </a:lnTo>
                  <a:lnTo>
                    <a:pt x="400" y="160"/>
                  </a:lnTo>
                  <a:lnTo>
                    <a:pt x="399" y="159"/>
                  </a:lnTo>
                  <a:lnTo>
                    <a:pt x="399" y="159"/>
                  </a:lnTo>
                  <a:lnTo>
                    <a:pt x="399" y="157"/>
                  </a:lnTo>
                  <a:lnTo>
                    <a:pt x="400" y="156"/>
                  </a:lnTo>
                  <a:lnTo>
                    <a:pt x="400" y="156"/>
                  </a:lnTo>
                  <a:lnTo>
                    <a:pt x="402" y="156"/>
                  </a:lnTo>
                  <a:lnTo>
                    <a:pt x="405" y="156"/>
                  </a:lnTo>
                  <a:lnTo>
                    <a:pt x="408" y="156"/>
                  </a:lnTo>
                  <a:lnTo>
                    <a:pt x="412" y="156"/>
                  </a:lnTo>
                  <a:lnTo>
                    <a:pt x="412" y="156"/>
                  </a:lnTo>
                  <a:lnTo>
                    <a:pt x="412" y="153"/>
                  </a:lnTo>
                  <a:lnTo>
                    <a:pt x="412" y="148"/>
                  </a:lnTo>
                  <a:lnTo>
                    <a:pt x="412" y="145"/>
                  </a:lnTo>
                  <a:lnTo>
                    <a:pt x="411" y="143"/>
                  </a:lnTo>
                  <a:lnTo>
                    <a:pt x="411" y="142"/>
                  </a:lnTo>
                  <a:lnTo>
                    <a:pt x="412" y="140"/>
                  </a:lnTo>
                  <a:lnTo>
                    <a:pt x="412" y="139"/>
                  </a:lnTo>
                  <a:lnTo>
                    <a:pt x="412" y="133"/>
                  </a:lnTo>
                  <a:lnTo>
                    <a:pt x="412" y="130"/>
                  </a:lnTo>
                  <a:lnTo>
                    <a:pt x="412" y="125"/>
                  </a:lnTo>
                  <a:lnTo>
                    <a:pt x="411" y="123"/>
                  </a:lnTo>
                  <a:lnTo>
                    <a:pt x="412" y="122"/>
                  </a:lnTo>
                  <a:lnTo>
                    <a:pt x="412" y="122"/>
                  </a:lnTo>
                  <a:lnTo>
                    <a:pt x="412" y="120"/>
                  </a:lnTo>
                  <a:lnTo>
                    <a:pt x="414" y="120"/>
                  </a:lnTo>
                  <a:lnTo>
                    <a:pt x="414" y="116"/>
                  </a:lnTo>
                  <a:lnTo>
                    <a:pt x="415" y="111"/>
                  </a:lnTo>
                  <a:lnTo>
                    <a:pt x="415" y="110"/>
                  </a:lnTo>
                  <a:lnTo>
                    <a:pt x="415" y="108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4" y="106"/>
                  </a:lnTo>
                  <a:lnTo>
                    <a:pt x="414" y="106"/>
                  </a:lnTo>
                  <a:lnTo>
                    <a:pt x="415" y="105"/>
                  </a:lnTo>
                  <a:lnTo>
                    <a:pt x="420" y="103"/>
                  </a:lnTo>
                  <a:lnTo>
                    <a:pt x="422" y="103"/>
                  </a:lnTo>
                  <a:lnTo>
                    <a:pt x="423" y="102"/>
                  </a:lnTo>
                  <a:lnTo>
                    <a:pt x="426" y="91"/>
                  </a:lnTo>
                  <a:lnTo>
                    <a:pt x="426" y="90"/>
                  </a:lnTo>
                  <a:lnTo>
                    <a:pt x="429" y="86"/>
                  </a:lnTo>
                  <a:lnTo>
                    <a:pt x="432" y="85"/>
                  </a:lnTo>
                  <a:lnTo>
                    <a:pt x="434" y="85"/>
                  </a:lnTo>
                  <a:lnTo>
                    <a:pt x="439" y="85"/>
                  </a:lnTo>
                  <a:lnTo>
                    <a:pt x="440" y="85"/>
                  </a:lnTo>
                  <a:lnTo>
                    <a:pt x="443" y="83"/>
                  </a:lnTo>
                  <a:lnTo>
                    <a:pt x="445" y="83"/>
                  </a:lnTo>
                  <a:lnTo>
                    <a:pt x="448" y="83"/>
                  </a:lnTo>
                  <a:lnTo>
                    <a:pt x="449" y="85"/>
                  </a:lnTo>
                  <a:lnTo>
                    <a:pt x="451" y="85"/>
                  </a:lnTo>
                  <a:lnTo>
                    <a:pt x="451" y="86"/>
                  </a:lnTo>
                  <a:lnTo>
                    <a:pt x="454" y="88"/>
                  </a:lnTo>
                  <a:lnTo>
                    <a:pt x="456" y="90"/>
                  </a:lnTo>
                  <a:lnTo>
                    <a:pt x="456" y="88"/>
                  </a:lnTo>
                  <a:lnTo>
                    <a:pt x="456" y="86"/>
                  </a:lnTo>
                  <a:lnTo>
                    <a:pt x="457" y="85"/>
                  </a:lnTo>
                  <a:lnTo>
                    <a:pt x="460" y="82"/>
                  </a:lnTo>
                  <a:lnTo>
                    <a:pt x="460" y="82"/>
                  </a:lnTo>
                  <a:lnTo>
                    <a:pt x="462" y="80"/>
                  </a:lnTo>
                  <a:lnTo>
                    <a:pt x="463" y="77"/>
                  </a:lnTo>
                  <a:lnTo>
                    <a:pt x="465" y="74"/>
                  </a:lnTo>
                  <a:lnTo>
                    <a:pt x="465" y="71"/>
                  </a:lnTo>
                  <a:lnTo>
                    <a:pt x="465" y="7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100"/>
            <p:cNvSpPr>
              <a:spLocks/>
            </p:cNvSpPr>
            <p:nvPr/>
          </p:nvSpPr>
          <p:spPr bwMode="gray">
            <a:xfrm>
              <a:off x="8326438" y="7651751"/>
              <a:ext cx="738188" cy="479425"/>
            </a:xfrm>
            <a:custGeom>
              <a:avLst/>
              <a:gdLst>
                <a:gd name="T0" fmla="*/ 414 w 465"/>
                <a:gd name="T1" fmla="*/ 25 h 302"/>
                <a:gd name="T2" fmla="*/ 365 w 465"/>
                <a:gd name="T3" fmla="*/ 16 h 302"/>
                <a:gd name="T4" fmla="*/ 322 w 465"/>
                <a:gd name="T5" fmla="*/ 14 h 302"/>
                <a:gd name="T6" fmla="*/ 266 w 465"/>
                <a:gd name="T7" fmla="*/ 39 h 302"/>
                <a:gd name="T8" fmla="*/ 240 w 465"/>
                <a:gd name="T9" fmla="*/ 57 h 302"/>
                <a:gd name="T10" fmla="*/ 203 w 465"/>
                <a:gd name="T11" fmla="*/ 53 h 302"/>
                <a:gd name="T12" fmla="*/ 103 w 465"/>
                <a:gd name="T13" fmla="*/ 40 h 302"/>
                <a:gd name="T14" fmla="*/ 38 w 465"/>
                <a:gd name="T15" fmla="*/ 39 h 302"/>
                <a:gd name="T16" fmla="*/ 44 w 465"/>
                <a:gd name="T17" fmla="*/ 13 h 302"/>
                <a:gd name="T18" fmla="*/ 18 w 465"/>
                <a:gd name="T19" fmla="*/ 13 h 302"/>
                <a:gd name="T20" fmla="*/ 3 w 465"/>
                <a:gd name="T21" fmla="*/ 25 h 302"/>
                <a:gd name="T22" fmla="*/ 3 w 465"/>
                <a:gd name="T23" fmla="*/ 51 h 302"/>
                <a:gd name="T24" fmla="*/ 9 w 465"/>
                <a:gd name="T25" fmla="*/ 65 h 302"/>
                <a:gd name="T26" fmla="*/ 12 w 465"/>
                <a:gd name="T27" fmla="*/ 76 h 302"/>
                <a:gd name="T28" fmla="*/ 24 w 465"/>
                <a:gd name="T29" fmla="*/ 86 h 302"/>
                <a:gd name="T30" fmla="*/ 40 w 465"/>
                <a:gd name="T31" fmla="*/ 103 h 302"/>
                <a:gd name="T32" fmla="*/ 40 w 465"/>
                <a:gd name="T33" fmla="*/ 123 h 302"/>
                <a:gd name="T34" fmla="*/ 27 w 465"/>
                <a:gd name="T35" fmla="*/ 137 h 302"/>
                <a:gd name="T36" fmla="*/ 7 w 465"/>
                <a:gd name="T37" fmla="*/ 143 h 302"/>
                <a:gd name="T38" fmla="*/ 6 w 465"/>
                <a:gd name="T39" fmla="*/ 159 h 302"/>
                <a:gd name="T40" fmla="*/ 12 w 465"/>
                <a:gd name="T41" fmla="*/ 185 h 302"/>
                <a:gd name="T42" fmla="*/ 12 w 465"/>
                <a:gd name="T43" fmla="*/ 213 h 302"/>
                <a:gd name="T44" fmla="*/ 32 w 465"/>
                <a:gd name="T45" fmla="*/ 224 h 302"/>
                <a:gd name="T46" fmla="*/ 38 w 465"/>
                <a:gd name="T47" fmla="*/ 233 h 302"/>
                <a:gd name="T48" fmla="*/ 44 w 465"/>
                <a:gd name="T49" fmla="*/ 250 h 302"/>
                <a:gd name="T50" fmla="*/ 43 w 465"/>
                <a:gd name="T51" fmla="*/ 265 h 302"/>
                <a:gd name="T52" fmla="*/ 43 w 465"/>
                <a:gd name="T53" fmla="*/ 285 h 302"/>
                <a:gd name="T54" fmla="*/ 64 w 465"/>
                <a:gd name="T55" fmla="*/ 288 h 302"/>
                <a:gd name="T56" fmla="*/ 95 w 465"/>
                <a:gd name="T57" fmla="*/ 290 h 302"/>
                <a:gd name="T58" fmla="*/ 115 w 465"/>
                <a:gd name="T59" fmla="*/ 280 h 302"/>
                <a:gd name="T60" fmla="*/ 126 w 465"/>
                <a:gd name="T61" fmla="*/ 274 h 302"/>
                <a:gd name="T62" fmla="*/ 140 w 465"/>
                <a:gd name="T63" fmla="*/ 271 h 302"/>
                <a:gd name="T64" fmla="*/ 152 w 465"/>
                <a:gd name="T65" fmla="*/ 274 h 302"/>
                <a:gd name="T66" fmla="*/ 166 w 465"/>
                <a:gd name="T67" fmla="*/ 280 h 302"/>
                <a:gd name="T68" fmla="*/ 180 w 465"/>
                <a:gd name="T69" fmla="*/ 291 h 302"/>
                <a:gd name="T70" fmla="*/ 204 w 465"/>
                <a:gd name="T71" fmla="*/ 294 h 302"/>
                <a:gd name="T72" fmla="*/ 235 w 465"/>
                <a:gd name="T73" fmla="*/ 299 h 302"/>
                <a:gd name="T74" fmla="*/ 254 w 465"/>
                <a:gd name="T75" fmla="*/ 294 h 302"/>
                <a:gd name="T76" fmla="*/ 280 w 465"/>
                <a:gd name="T77" fmla="*/ 291 h 302"/>
                <a:gd name="T78" fmla="*/ 283 w 465"/>
                <a:gd name="T79" fmla="*/ 279 h 302"/>
                <a:gd name="T80" fmla="*/ 280 w 465"/>
                <a:gd name="T81" fmla="*/ 265 h 302"/>
                <a:gd name="T82" fmla="*/ 280 w 465"/>
                <a:gd name="T83" fmla="*/ 254 h 302"/>
                <a:gd name="T84" fmla="*/ 300 w 465"/>
                <a:gd name="T85" fmla="*/ 245 h 302"/>
                <a:gd name="T86" fmla="*/ 312 w 465"/>
                <a:gd name="T87" fmla="*/ 234 h 302"/>
                <a:gd name="T88" fmla="*/ 332 w 465"/>
                <a:gd name="T89" fmla="*/ 230 h 302"/>
                <a:gd name="T90" fmla="*/ 345 w 465"/>
                <a:gd name="T91" fmla="*/ 224 h 302"/>
                <a:gd name="T92" fmla="*/ 358 w 465"/>
                <a:gd name="T93" fmla="*/ 220 h 302"/>
                <a:gd name="T94" fmla="*/ 388 w 465"/>
                <a:gd name="T95" fmla="*/ 236 h 302"/>
                <a:gd name="T96" fmla="*/ 391 w 465"/>
                <a:gd name="T97" fmla="*/ 233 h 302"/>
                <a:gd name="T98" fmla="*/ 406 w 465"/>
                <a:gd name="T99" fmla="*/ 228 h 302"/>
                <a:gd name="T100" fmla="*/ 422 w 465"/>
                <a:gd name="T101" fmla="*/ 227 h 302"/>
                <a:gd name="T102" fmla="*/ 412 w 465"/>
                <a:gd name="T103" fmla="*/ 216 h 302"/>
                <a:gd name="T104" fmla="*/ 403 w 465"/>
                <a:gd name="T105" fmla="*/ 203 h 302"/>
                <a:gd name="T106" fmla="*/ 400 w 465"/>
                <a:gd name="T107" fmla="*/ 193 h 302"/>
                <a:gd name="T108" fmla="*/ 397 w 465"/>
                <a:gd name="T109" fmla="*/ 183 h 302"/>
                <a:gd name="T110" fmla="*/ 389 w 465"/>
                <a:gd name="T111" fmla="*/ 182 h 302"/>
                <a:gd name="T112" fmla="*/ 380 w 465"/>
                <a:gd name="T113" fmla="*/ 182 h 302"/>
                <a:gd name="T114" fmla="*/ 392 w 465"/>
                <a:gd name="T115" fmla="*/ 167 h 302"/>
                <a:gd name="T116" fmla="*/ 408 w 465"/>
                <a:gd name="T117" fmla="*/ 156 h 302"/>
                <a:gd name="T118" fmla="*/ 412 w 465"/>
                <a:gd name="T119" fmla="*/ 122 h 302"/>
                <a:gd name="T120" fmla="*/ 422 w 465"/>
                <a:gd name="T121" fmla="*/ 103 h 302"/>
                <a:gd name="T122" fmla="*/ 451 w 465"/>
                <a:gd name="T123" fmla="*/ 8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5" h="302">
                  <a:moveTo>
                    <a:pt x="465" y="70"/>
                  </a:moveTo>
                  <a:lnTo>
                    <a:pt x="465" y="70"/>
                  </a:lnTo>
                  <a:lnTo>
                    <a:pt x="463" y="68"/>
                  </a:lnTo>
                  <a:lnTo>
                    <a:pt x="463" y="66"/>
                  </a:lnTo>
                  <a:lnTo>
                    <a:pt x="463" y="65"/>
                  </a:lnTo>
                  <a:lnTo>
                    <a:pt x="463" y="53"/>
                  </a:lnTo>
                  <a:lnTo>
                    <a:pt x="463" y="51"/>
                  </a:lnTo>
                  <a:lnTo>
                    <a:pt x="452" y="51"/>
                  </a:lnTo>
                  <a:lnTo>
                    <a:pt x="437" y="50"/>
                  </a:lnTo>
                  <a:lnTo>
                    <a:pt x="422" y="42"/>
                  </a:lnTo>
                  <a:lnTo>
                    <a:pt x="419" y="40"/>
                  </a:lnTo>
                  <a:lnTo>
                    <a:pt x="415" y="28"/>
                  </a:lnTo>
                  <a:lnTo>
                    <a:pt x="414" y="25"/>
                  </a:lnTo>
                  <a:lnTo>
                    <a:pt x="414" y="25"/>
                  </a:lnTo>
                  <a:lnTo>
                    <a:pt x="409" y="25"/>
                  </a:lnTo>
                  <a:lnTo>
                    <a:pt x="405" y="28"/>
                  </a:lnTo>
                  <a:lnTo>
                    <a:pt x="400" y="29"/>
                  </a:lnTo>
                  <a:lnTo>
                    <a:pt x="397" y="25"/>
                  </a:lnTo>
                  <a:lnTo>
                    <a:pt x="395" y="25"/>
                  </a:lnTo>
                  <a:lnTo>
                    <a:pt x="394" y="22"/>
                  </a:lnTo>
                  <a:lnTo>
                    <a:pt x="392" y="22"/>
                  </a:lnTo>
                  <a:lnTo>
                    <a:pt x="388" y="23"/>
                  </a:lnTo>
                  <a:lnTo>
                    <a:pt x="374" y="23"/>
                  </a:lnTo>
                  <a:lnTo>
                    <a:pt x="374" y="22"/>
                  </a:lnTo>
                  <a:lnTo>
                    <a:pt x="372" y="20"/>
                  </a:lnTo>
                  <a:lnTo>
                    <a:pt x="371" y="19"/>
                  </a:lnTo>
                  <a:lnTo>
                    <a:pt x="368" y="17"/>
                  </a:lnTo>
                  <a:lnTo>
                    <a:pt x="365" y="16"/>
                  </a:lnTo>
                  <a:lnTo>
                    <a:pt x="366" y="13"/>
                  </a:lnTo>
                  <a:lnTo>
                    <a:pt x="365" y="11"/>
                  </a:lnTo>
                  <a:lnTo>
                    <a:pt x="365" y="11"/>
                  </a:lnTo>
                  <a:lnTo>
                    <a:pt x="363" y="13"/>
                  </a:lnTo>
                  <a:lnTo>
                    <a:pt x="362" y="11"/>
                  </a:lnTo>
                  <a:lnTo>
                    <a:pt x="354" y="9"/>
                  </a:lnTo>
                  <a:lnTo>
                    <a:pt x="348" y="6"/>
                  </a:lnTo>
                  <a:lnTo>
                    <a:pt x="346" y="8"/>
                  </a:lnTo>
                  <a:lnTo>
                    <a:pt x="337" y="8"/>
                  </a:lnTo>
                  <a:lnTo>
                    <a:pt x="331" y="13"/>
                  </a:lnTo>
                  <a:lnTo>
                    <a:pt x="328" y="13"/>
                  </a:lnTo>
                  <a:lnTo>
                    <a:pt x="325" y="13"/>
                  </a:lnTo>
                  <a:lnTo>
                    <a:pt x="323" y="13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0" y="14"/>
                  </a:lnTo>
                  <a:lnTo>
                    <a:pt x="317" y="16"/>
                  </a:lnTo>
                  <a:lnTo>
                    <a:pt x="302" y="17"/>
                  </a:lnTo>
                  <a:lnTo>
                    <a:pt x="295" y="19"/>
                  </a:lnTo>
                  <a:lnTo>
                    <a:pt x="294" y="19"/>
                  </a:lnTo>
                  <a:lnTo>
                    <a:pt x="289" y="22"/>
                  </a:lnTo>
                  <a:lnTo>
                    <a:pt x="283" y="23"/>
                  </a:lnTo>
                  <a:lnTo>
                    <a:pt x="280" y="25"/>
                  </a:lnTo>
                  <a:lnTo>
                    <a:pt x="277" y="28"/>
                  </a:lnTo>
                  <a:lnTo>
                    <a:pt x="275" y="29"/>
                  </a:lnTo>
                  <a:lnTo>
                    <a:pt x="275" y="31"/>
                  </a:lnTo>
                  <a:lnTo>
                    <a:pt x="266" y="37"/>
                  </a:lnTo>
                  <a:lnTo>
                    <a:pt x="266" y="39"/>
                  </a:lnTo>
                  <a:lnTo>
                    <a:pt x="265" y="40"/>
                  </a:lnTo>
                  <a:lnTo>
                    <a:pt x="261" y="45"/>
                  </a:lnTo>
                  <a:lnTo>
                    <a:pt x="260" y="46"/>
                  </a:lnTo>
                  <a:lnTo>
                    <a:pt x="257" y="48"/>
                  </a:lnTo>
                  <a:lnTo>
                    <a:pt x="257" y="50"/>
                  </a:lnTo>
                  <a:lnTo>
                    <a:pt x="255" y="53"/>
                  </a:lnTo>
                  <a:lnTo>
                    <a:pt x="252" y="53"/>
                  </a:lnTo>
                  <a:lnTo>
                    <a:pt x="251" y="53"/>
                  </a:lnTo>
                  <a:lnTo>
                    <a:pt x="248" y="53"/>
                  </a:lnTo>
                  <a:lnTo>
                    <a:pt x="246" y="54"/>
                  </a:lnTo>
                  <a:lnTo>
                    <a:pt x="245" y="56"/>
                  </a:lnTo>
                  <a:lnTo>
                    <a:pt x="243" y="56"/>
                  </a:lnTo>
                  <a:lnTo>
                    <a:pt x="241" y="57"/>
                  </a:lnTo>
                  <a:lnTo>
                    <a:pt x="240" y="57"/>
                  </a:lnTo>
                  <a:lnTo>
                    <a:pt x="238" y="59"/>
                  </a:lnTo>
                  <a:lnTo>
                    <a:pt x="237" y="59"/>
                  </a:lnTo>
                  <a:lnTo>
                    <a:pt x="234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29" y="60"/>
                  </a:lnTo>
                  <a:lnTo>
                    <a:pt x="228" y="60"/>
                  </a:lnTo>
                  <a:lnTo>
                    <a:pt x="223" y="60"/>
                  </a:lnTo>
                  <a:lnTo>
                    <a:pt x="221" y="59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5" y="54"/>
                  </a:lnTo>
                  <a:lnTo>
                    <a:pt x="212" y="54"/>
                  </a:lnTo>
                  <a:lnTo>
                    <a:pt x="203" y="53"/>
                  </a:lnTo>
                  <a:lnTo>
                    <a:pt x="194" y="50"/>
                  </a:lnTo>
                  <a:lnTo>
                    <a:pt x="178" y="51"/>
                  </a:lnTo>
                  <a:lnTo>
                    <a:pt x="175" y="51"/>
                  </a:lnTo>
                  <a:lnTo>
                    <a:pt x="172" y="50"/>
                  </a:lnTo>
                  <a:lnTo>
                    <a:pt x="160" y="45"/>
                  </a:lnTo>
                  <a:lnTo>
                    <a:pt x="157" y="45"/>
                  </a:lnTo>
                  <a:lnTo>
                    <a:pt x="155" y="45"/>
                  </a:lnTo>
                  <a:lnTo>
                    <a:pt x="151" y="48"/>
                  </a:lnTo>
                  <a:lnTo>
                    <a:pt x="149" y="50"/>
                  </a:lnTo>
                  <a:lnTo>
                    <a:pt x="147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07" y="43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84" y="37"/>
                  </a:lnTo>
                  <a:lnTo>
                    <a:pt x="72" y="36"/>
                  </a:lnTo>
                  <a:lnTo>
                    <a:pt x="66" y="37"/>
                  </a:lnTo>
                  <a:lnTo>
                    <a:pt x="63" y="39"/>
                  </a:lnTo>
                  <a:lnTo>
                    <a:pt x="60" y="39"/>
                  </a:lnTo>
                  <a:lnTo>
                    <a:pt x="58" y="40"/>
                  </a:lnTo>
                  <a:lnTo>
                    <a:pt x="52" y="40"/>
                  </a:lnTo>
                  <a:lnTo>
                    <a:pt x="41" y="42"/>
                  </a:lnTo>
                  <a:lnTo>
                    <a:pt x="40" y="40"/>
                  </a:lnTo>
                  <a:lnTo>
                    <a:pt x="38" y="39"/>
                  </a:lnTo>
                  <a:lnTo>
                    <a:pt x="37" y="37"/>
                  </a:lnTo>
                  <a:lnTo>
                    <a:pt x="37" y="36"/>
                  </a:lnTo>
                  <a:lnTo>
                    <a:pt x="38" y="26"/>
                  </a:lnTo>
                  <a:lnTo>
                    <a:pt x="40" y="25"/>
                  </a:lnTo>
                  <a:lnTo>
                    <a:pt x="41" y="23"/>
                  </a:lnTo>
                  <a:lnTo>
                    <a:pt x="43" y="23"/>
                  </a:lnTo>
                  <a:lnTo>
                    <a:pt x="46" y="23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50" y="17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1" y="11"/>
                  </a:lnTo>
                  <a:lnTo>
                    <a:pt x="24" y="0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3" y="25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1" y="33"/>
                  </a:lnTo>
                  <a:lnTo>
                    <a:pt x="1" y="36"/>
                  </a:lnTo>
                  <a:lnTo>
                    <a:pt x="1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1" y="46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1"/>
                  </a:lnTo>
                  <a:lnTo>
                    <a:pt x="3" y="53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6" y="59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10" y="71"/>
                  </a:lnTo>
                  <a:lnTo>
                    <a:pt x="12" y="76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7" y="82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34" y="93"/>
                  </a:lnTo>
                  <a:lnTo>
                    <a:pt x="35" y="94"/>
                  </a:lnTo>
                  <a:lnTo>
                    <a:pt x="35" y="96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9"/>
                  </a:lnTo>
                  <a:lnTo>
                    <a:pt x="37" y="100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1" y="105"/>
                  </a:lnTo>
                  <a:lnTo>
                    <a:pt x="46" y="106"/>
                  </a:lnTo>
                  <a:lnTo>
                    <a:pt x="46" y="106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6" y="113"/>
                  </a:lnTo>
                  <a:lnTo>
                    <a:pt x="44" y="116"/>
                  </a:lnTo>
                  <a:lnTo>
                    <a:pt x="43" y="117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0" y="120"/>
                  </a:lnTo>
                  <a:lnTo>
                    <a:pt x="40" y="122"/>
                  </a:lnTo>
                  <a:lnTo>
                    <a:pt x="40" y="123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4" y="128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0" y="130"/>
                  </a:lnTo>
                  <a:lnTo>
                    <a:pt x="30" y="131"/>
                  </a:lnTo>
                  <a:lnTo>
                    <a:pt x="29" y="136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7" y="137"/>
                  </a:lnTo>
                  <a:lnTo>
                    <a:pt x="26" y="139"/>
                  </a:lnTo>
                  <a:lnTo>
                    <a:pt x="23" y="139"/>
                  </a:lnTo>
                  <a:lnTo>
                    <a:pt x="18" y="137"/>
                  </a:lnTo>
                  <a:lnTo>
                    <a:pt x="15" y="139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9" y="142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51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6"/>
                  </a:lnTo>
                  <a:lnTo>
                    <a:pt x="6" y="159"/>
                  </a:lnTo>
                  <a:lnTo>
                    <a:pt x="7" y="160"/>
                  </a:lnTo>
                  <a:lnTo>
                    <a:pt x="7" y="162"/>
                  </a:lnTo>
                  <a:lnTo>
                    <a:pt x="6" y="163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9" y="173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9"/>
                  </a:lnTo>
                  <a:lnTo>
                    <a:pt x="13" y="182"/>
                  </a:lnTo>
                  <a:lnTo>
                    <a:pt x="12" y="185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9" y="188"/>
                  </a:lnTo>
                  <a:lnTo>
                    <a:pt x="9" y="188"/>
                  </a:lnTo>
                  <a:lnTo>
                    <a:pt x="7" y="190"/>
                  </a:lnTo>
                  <a:lnTo>
                    <a:pt x="6" y="193"/>
                  </a:lnTo>
                  <a:lnTo>
                    <a:pt x="6" y="194"/>
                  </a:lnTo>
                  <a:lnTo>
                    <a:pt x="4" y="194"/>
                  </a:lnTo>
                  <a:lnTo>
                    <a:pt x="1" y="194"/>
                  </a:lnTo>
                  <a:lnTo>
                    <a:pt x="0" y="196"/>
                  </a:lnTo>
                  <a:lnTo>
                    <a:pt x="6" y="205"/>
                  </a:lnTo>
                  <a:lnTo>
                    <a:pt x="9" y="208"/>
                  </a:lnTo>
                  <a:lnTo>
                    <a:pt x="10" y="211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3" y="214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24" y="220"/>
                  </a:lnTo>
                  <a:lnTo>
                    <a:pt x="26" y="222"/>
                  </a:lnTo>
                  <a:lnTo>
                    <a:pt x="26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4"/>
                  </a:lnTo>
                  <a:lnTo>
                    <a:pt x="30" y="222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5" y="225"/>
                  </a:lnTo>
                  <a:lnTo>
                    <a:pt x="35" y="225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7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30"/>
                  </a:lnTo>
                  <a:lnTo>
                    <a:pt x="38" y="233"/>
                  </a:lnTo>
                  <a:lnTo>
                    <a:pt x="38" y="234"/>
                  </a:lnTo>
                  <a:lnTo>
                    <a:pt x="38" y="237"/>
                  </a:lnTo>
                  <a:lnTo>
                    <a:pt x="40" y="237"/>
                  </a:lnTo>
                  <a:lnTo>
                    <a:pt x="38" y="239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1" y="240"/>
                  </a:lnTo>
                  <a:lnTo>
                    <a:pt x="41" y="242"/>
                  </a:lnTo>
                  <a:lnTo>
                    <a:pt x="41" y="245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6" y="251"/>
                  </a:lnTo>
                  <a:lnTo>
                    <a:pt x="47" y="251"/>
                  </a:lnTo>
                  <a:lnTo>
                    <a:pt x="49" y="253"/>
                  </a:lnTo>
                  <a:lnTo>
                    <a:pt x="49" y="256"/>
                  </a:lnTo>
                  <a:lnTo>
                    <a:pt x="47" y="257"/>
                  </a:lnTo>
                  <a:lnTo>
                    <a:pt x="47" y="259"/>
                  </a:lnTo>
                  <a:lnTo>
                    <a:pt x="46" y="260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4" y="264"/>
                  </a:lnTo>
                  <a:lnTo>
                    <a:pt x="44" y="264"/>
                  </a:lnTo>
                  <a:lnTo>
                    <a:pt x="43" y="264"/>
                  </a:lnTo>
                  <a:lnTo>
                    <a:pt x="43" y="265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70"/>
                  </a:lnTo>
                  <a:lnTo>
                    <a:pt x="44" y="270"/>
                  </a:lnTo>
                  <a:lnTo>
                    <a:pt x="44" y="271"/>
                  </a:lnTo>
                  <a:lnTo>
                    <a:pt x="44" y="271"/>
                  </a:lnTo>
                  <a:lnTo>
                    <a:pt x="44" y="273"/>
                  </a:lnTo>
                  <a:lnTo>
                    <a:pt x="44" y="274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44" y="284"/>
                  </a:lnTo>
                  <a:lnTo>
                    <a:pt x="44" y="284"/>
                  </a:lnTo>
                  <a:lnTo>
                    <a:pt x="44" y="284"/>
                  </a:lnTo>
                  <a:lnTo>
                    <a:pt x="43" y="285"/>
                  </a:lnTo>
                  <a:lnTo>
                    <a:pt x="43" y="285"/>
                  </a:lnTo>
                  <a:lnTo>
                    <a:pt x="43" y="288"/>
                  </a:lnTo>
                  <a:lnTo>
                    <a:pt x="44" y="290"/>
                  </a:lnTo>
                  <a:lnTo>
                    <a:pt x="44" y="291"/>
                  </a:lnTo>
                  <a:lnTo>
                    <a:pt x="41" y="293"/>
                  </a:lnTo>
                  <a:lnTo>
                    <a:pt x="57" y="296"/>
                  </a:lnTo>
                  <a:lnTo>
                    <a:pt x="60" y="294"/>
                  </a:lnTo>
                  <a:lnTo>
                    <a:pt x="61" y="294"/>
                  </a:lnTo>
                  <a:lnTo>
                    <a:pt x="63" y="294"/>
                  </a:lnTo>
                  <a:lnTo>
                    <a:pt x="63" y="293"/>
                  </a:lnTo>
                  <a:lnTo>
                    <a:pt x="63" y="293"/>
                  </a:lnTo>
                  <a:lnTo>
                    <a:pt x="63" y="291"/>
                  </a:lnTo>
                  <a:lnTo>
                    <a:pt x="64" y="290"/>
                  </a:lnTo>
                  <a:lnTo>
                    <a:pt x="64" y="288"/>
                  </a:lnTo>
                  <a:lnTo>
                    <a:pt x="66" y="288"/>
                  </a:lnTo>
                  <a:lnTo>
                    <a:pt x="67" y="287"/>
                  </a:lnTo>
                  <a:lnTo>
                    <a:pt x="69" y="287"/>
                  </a:lnTo>
                  <a:lnTo>
                    <a:pt x="70" y="288"/>
                  </a:lnTo>
                  <a:lnTo>
                    <a:pt x="72" y="290"/>
                  </a:lnTo>
                  <a:lnTo>
                    <a:pt x="72" y="290"/>
                  </a:lnTo>
                  <a:lnTo>
                    <a:pt x="74" y="290"/>
                  </a:lnTo>
                  <a:lnTo>
                    <a:pt x="75" y="288"/>
                  </a:lnTo>
                  <a:lnTo>
                    <a:pt x="77" y="287"/>
                  </a:lnTo>
                  <a:lnTo>
                    <a:pt x="78" y="287"/>
                  </a:lnTo>
                  <a:lnTo>
                    <a:pt x="86" y="287"/>
                  </a:lnTo>
                  <a:lnTo>
                    <a:pt x="90" y="290"/>
                  </a:lnTo>
                  <a:lnTo>
                    <a:pt x="94" y="290"/>
                  </a:lnTo>
                  <a:lnTo>
                    <a:pt x="95" y="290"/>
                  </a:lnTo>
                  <a:lnTo>
                    <a:pt x="95" y="288"/>
                  </a:lnTo>
                  <a:lnTo>
                    <a:pt x="97" y="287"/>
                  </a:lnTo>
                  <a:lnTo>
                    <a:pt x="98" y="287"/>
                  </a:lnTo>
                  <a:lnTo>
                    <a:pt x="100" y="287"/>
                  </a:lnTo>
                  <a:lnTo>
                    <a:pt x="103" y="287"/>
                  </a:lnTo>
                  <a:lnTo>
                    <a:pt x="104" y="287"/>
                  </a:lnTo>
                  <a:lnTo>
                    <a:pt x="106" y="284"/>
                  </a:lnTo>
                  <a:lnTo>
                    <a:pt x="107" y="284"/>
                  </a:lnTo>
                  <a:lnTo>
                    <a:pt x="109" y="284"/>
                  </a:lnTo>
                  <a:lnTo>
                    <a:pt x="111" y="284"/>
                  </a:lnTo>
                  <a:lnTo>
                    <a:pt x="112" y="282"/>
                  </a:lnTo>
                  <a:lnTo>
                    <a:pt x="112" y="282"/>
                  </a:lnTo>
                  <a:lnTo>
                    <a:pt x="115" y="280"/>
                  </a:lnTo>
                  <a:lnTo>
                    <a:pt x="115" y="280"/>
                  </a:lnTo>
                  <a:lnTo>
                    <a:pt x="118" y="284"/>
                  </a:lnTo>
                  <a:lnTo>
                    <a:pt x="120" y="284"/>
                  </a:lnTo>
                  <a:lnTo>
                    <a:pt x="121" y="282"/>
                  </a:lnTo>
                  <a:lnTo>
                    <a:pt x="121" y="282"/>
                  </a:lnTo>
                  <a:lnTo>
                    <a:pt x="121" y="282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4" y="282"/>
                  </a:lnTo>
                  <a:lnTo>
                    <a:pt x="124" y="282"/>
                  </a:lnTo>
                  <a:lnTo>
                    <a:pt x="126" y="280"/>
                  </a:lnTo>
                  <a:lnTo>
                    <a:pt x="126" y="280"/>
                  </a:lnTo>
                  <a:lnTo>
                    <a:pt x="126" y="279"/>
                  </a:lnTo>
                  <a:lnTo>
                    <a:pt x="126" y="277"/>
                  </a:lnTo>
                  <a:lnTo>
                    <a:pt x="126" y="274"/>
                  </a:lnTo>
                  <a:lnTo>
                    <a:pt x="127" y="273"/>
                  </a:lnTo>
                  <a:lnTo>
                    <a:pt x="131" y="273"/>
                  </a:lnTo>
                  <a:lnTo>
                    <a:pt x="134" y="274"/>
                  </a:lnTo>
                  <a:lnTo>
                    <a:pt x="134" y="274"/>
                  </a:lnTo>
                  <a:lnTo>
                    <a:pt x="134" y="276"/>
                  </a:lnTo>
                  <a:lnTo>
                    <a:pt x="135" y="276"/>
                  </a:lnTo>
                  <a:lnTo>
                    <a:pt x="135" y="276"/>
                  </a:lnTo>
                  <a:lnTo>
                    <a:pt x="135" y="276"/>
                  </a:lnTo>
                  <a:lnTo>
                    <a:pt x="135" y="274"/>
                  </a:lnTo>
                  <a:lnTo>
                    <a:pt x="135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8" y="271"/>
                  </a:lnTo>
                  <a:lnTo>
                    <a:pt x="140" y="271"/>
                  </a:lnTo>
                  <a:lnTo>
                    <a:pt x="141" y="271"/>
                  </a:lnTo>
                  <a:lnTo>
                    <a:pt x="143" y="271"/>
                  </a:lnTo>
                  <a:lnTo>
                    <a:pt x="144" y="273"/>
                  </a:lnTo>
                  <a:lnTo>
                    <a:pt x="144" y="274"/>
                  </a:lnTo>
                  <a:lnTo>
                    <a:pt x="143" y="274"/>
                  </a:lnTo>
                  <a:lnTo>
                    <a:pt x="144" y="274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49" y="274"/>
                  </a:lnTo>
                  <a:lnTo>
                    <a:pt x="151" y="274"/>
                  </a:lnTo>
                  <a:lnTo>
                    <a:pt x="152" y="274"/>
                  </a:lnTo>
                  <a:lnTo>
                    <a:pt x="154" y="274"/>
                  </a:lnTo>
                  <a:lnTo>
                    <a:pt x="155" y="274"/>
                  </a:lnTo>
                  <a:lnTo>
                    <a:pt x="157" y="271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1" y="273"/>
                  </a:lnTo>
                  <a:lnTo>
                    <a:pt x="163" y="274"/>
                  </a:lnTo>
                  <a:lnTo>
                    <a:pt x="163" y="277"/>
                  </a:lnTo>
                  <a:lnTo>
                    <a:pt x="163" y="279"/>
                  </a:lnTo>
                  <a:lnTo>
                    <a:pt x="163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80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66" y="282"/>
                  </a:lnTo>
                  <a:lnTo>
                    <a:pt x="166" y="282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71" y="284"/>
                  </a:lnTo>
                  <a:lnTo>
                    <a:pt x="171" y="285"/>
                  </a:lnTo>
                  <a:lnTo>
                    <a:pt x="172" y="285"/>
                  </a:lnTo>
                  <a:lnTo>
                    <a:pt x="174" y="285"/>
                  </a:lnTo>
                  <a:lnTo>
                    <a:pt x="175" y="285"/>
                  </a:lnTo>
                  <a:lnTo>
                    <a:pt x="175" y="287"/>
                  </a:lnTo>
                  <a:lnTo>
                    <a:pt x="178" y="290"/>
                  </a:lnTo>
                  <a:lnTo>
                    <a:pt x="180" y="291"/>
                  </a:lnTo>
                  <a:lnTo>
                    <a:pt x="181" y="291"/>
                  </a:lnTo>
                  <a:lnTo>
                    <a:pt x="183" y="290"/>
                  </a:lnTo>
                  <a:lnTo>
                    <a:pt x="181" y="288"/>
                  </a:lnTo>
                  <a:lnTo>
                    <a:pt x="183" y="288"/>
                  </a:lnTo>
                  <a:lnTo>
                    <a:pt x="184" y="287"/>
                  </a:lnTo>
                  <a:lnTo>
                    <a:pt x="186" y="287"/>
                  </a:lnTo>
                  <a:lnTo>
                    <a:pt x="188" y="287"/>
                  </a:lnTo>
                  <a:lnTo>
                    <a:pt x="189" y="287"/>
                  </a:lnTo>
                  <a:lnTo>
                    <a:pt x="191" y="288"/>
                  </a:lnTo>
                  <a:lnTo>
                    <a:pt x="203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4"/>
                  </a:lnTo>
                  <a:lnTo>
                    <a:pt x="206" y="294"/>
                  </a:lnTo>
                  <a:lnTo>
                    <a:pt x="208" y="296"/>
                  </a:lnTo>
                  <a:lnTo>
                    <a:pt x="209" y="296"/>
                  </a:lnTo>
                  <a:lnTo>
                    <a:pt x="211" y="297"/>
                  </a:lnTo>
                  <a:lnTo>
                    <a:pt x="214" y="302"/>
                  </a:lnTo>
                  <a:lnTo>
                    <a:pt x="215" y="302"/>
                  </a:lnTo>
                  <a:lnTo>
                    <a:pt x="217" y="302"/>
                  </a:lnTo>
                  <a:lnTo>
                    <a:pt x="218" y="302"/>
                  </a:lnTo>
                  <a:lnTo>
                    <a:pt x="231" y="299"/>
                  </a:lnTo>
                  <a:lnTo>
                    <a:pt x="232" y="297"/>
                  </a:lnTo>
                  <a:lnTo>
                    <a:pt x="234" y="299"/>
                  </a:lnTo>
                  <a:lnTo>
                    <a:pt x="234" y="299"/>
                  </a:lnTo>
                  <a:lnTo>
                    <a:pt x="234" y="299"/>
                  </a:lnTo>
                  <a:lnTo>
                    <a:pt x="235" y="299"/>
                  </a:lnTo>
                  <a:lnTo>
                    <a:pt x="235" y="297"/>
                  </a:lnTo>
                  <a:lnTo>
                    <a:pt x="237" y="296"/>
                  </a:lnTo>
                  <a:lnTo>
                    <a:pt x="237" y="296"/>
                  </a:lnTo>
                  <a:lnTo>
                    <a:pt x="238" y="294"/>
                  </a:lnTo>
                  <a:lnTo>
                    <a:pt x="245" y="296"/>
                  </a:lnTo>
                  <a:lnTo>
                    <a:pt x="245" y="296"/>
                  </a:lnTo>
                  <a:lnTo>
                    <a:pt x="246" y="296"/>
                  </a:lnTo>
                  <a:lnTo>
                    <a:pt x="248" y="297"/>
                  </a:lnTo>
                  <a:lnTo>
                    <a:pt x="248" y="297"/>
                  </a:lnTo>
                  <a:lnTo>
                    <a:pt x="249" y="296"/>
                  </a:lnTo>
                  <a:lnTo>
                    <a:pt x="249" y="296"/>
                  </a:lnTo>
                  <a:lnTo>
                    <a:pt x="251" y="296"/>
                  </a:lnTo>
                  <a:lnTo>
                    <a:pt x="251" y="294"/>
                  </a:lnTo>
                  <a:lnTo>
                    <a:pt x="254" y="294"/>
                  </a:lnTo>
                  <a:lnTo>
                    <a:pt x="257" y="293"/>
                  </a:lnTo>
                  <a:lnTo>
                    <a:pt x="257" y="293"/>
                  </a:lnTo>
                  <a:lnTo>
                    <a:pt x="258" y="293"/>
                  </a:lnTo>
                  <a:lnTo>
                    <a:pt x="261" y="296"/>
                  </a:lnTo>
                  <a:lnTo>
                    <a:pt x="263" y="296"/>
                  </a:lnTo>
                  <a:lnTo>
                    <a:pt x="263" y="296"/>
                  </a:lnTo>
                  <a:lnTo>
                    <a:pt x="266" y="294"/>
                  </a:lnTo>
                  <a:lnTo>
                    <a:pt x="266" y="294"/>
                  </a:lnTo>
                  <a:lnTo>
                    <a:pt x="268" y="296"/>
                  </a:lnTo>
                  <a:lnTo>
                    <a:pt x="268" y="294"/>
                  </a:lnTo>
                  <a:lnTo>
                    <a:pt x="271" y="294"/>
                  </a:lnTo>
                  <a:lnTo>
                    <a:pt x="272" y="293"/>
                  </a:lnTo>
                  <a:lnTo>
                    <a:pt x="272" y="293"/>
                  </a:lnTo>
                  <a:lnTo>
                    <a:pt x="280" y="291"/>
                  </a:lnTo>
                  <a:lnTo>
                    <a:pt x="280" y="291"/>
                  </a:lnTo>
                  <a:lnTo>
                    <a:pt x="280" y="291"/>
                  </a:lnTo>
                  <a:lnTo>
                    <a:pt x="281" y="290"/>
                  </a:lnTo>
                  <a:lnTo>
                    <a:pt x="283" y="287"/>
                  </a:lnTo>
                  <a:lnTo>
                    <a:pt x="283" y="285"/>
                  </a:lnTo>
                  <a:lnTo>
                    <a:pt x="283" y="284"/>
                  </a:lnTo>
                  <a:lnTo>
                    <a:pt x="285" y="284"/>
                  </a:lnTo>
                  <a:lnTo>
                    <a:pt x="285" y="284"/>
                  </a:lnTo>
                  <a:lnTo>
                    <a:pt x="285" y="282"/>
                  </a:lnTo>
                  <a:lnTo>
                    <a:pt x="285" y="282"/>
                  </a:lnTo>
                  <a:lnTo>
                    <a:pt x="283" y="280"/>
                  </a:lnTo>
                  <a:lnTo>
                    <a:pt x="283" y="280"/>
                  </a:lnTo>
                  <a:lnTo>
                    <a:pt x="281" y="279"/>
                  </a:lnTo>
                  <a:lnTo>
                    <a:pt x="283" y="279"/>
                  </a:lnTo>
                  <a:lnTo>
                    <a:pt x="283" y="277"/>
                  </a:lnTo>
                  <a:lnTo>
                    <a:pt x="283" y="276"/>
                  </a:lnTo>
                  <a:lnTo>
                    <a:pt x="283" y="274"/>
                  </a:lnTo>
                  <a:lnTo>
                    <a:pt x="283" y="274"/>
                  </a:lnTo>
                  <a:lnTo>
                    <a:pt x="283" y="273"/>
                  </a:lnTo>
                  <a:lnTo>
                    <a:pt x="283" y="273"/>
                  </a:lnTo>
                  <a:lnTo>
                    <a:pt x="281" y="271"/>
                  </a:lnTo>
                  <a:lnTo>
                    <a:pt x="281" y="271"/>
                  </a:lnTo>
                  <a:lnTo>
                    <a:pt x="281" y="271"/>
                  </a:lnTo>
                  <a:lnTo>
                    <a:pt x="281" y="270"/>
                  </a:lnTo>
                  <a:lnTo>
                    <a:pt x="281" y="268"/>
                  </a:lnTo>
                  <a:lnTo>
                    <a:pt x="280" y="267"/>
                  </a:lnTo>
                  <a:lnTo>
                    <a:pt x="280" y="265"/>
                  </a:lnTo>
                  <a:lnTo>
                    <a:pt x="280" y="265"/>
                  </a:lnTo>
                  <a:lnTo>
                    <a:pt x="278" y="264"/>
                  </a:lnTo>
                  <a:lnTo>
                    <a:pt x="277" y="264"/>
                  </a:lnTo>
                  <a:lnTo>
                    <a:pt x="277" y="264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0"/>
                  </a:lnTo>
                  <a:lnTo>
                    <a:pt x="275" y="259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6"/>
                  </a:lnTo>
                  <a:lnTo>
                    <a:pt x="277" y="256"/>
                  </a:lnTo>
                  <a:lnTo>
                    <a:pt x="277" y="256"/>
                  </a:lnTo>
                  <a:lnTo>
                    <a:pt x="277" y="256"/>
                  </a:lnTo>
                  <a:lnTo>
                    <a:pt x="280" y="254"/>
                  </a:lnTo>
                  <a:lnTo>
                    <a:pt x="281" y="254"/>
                  </a:lnTo>
                  <a:lnTo>
                    <a:pt x="286" y="253"/>
                  </a:lnTo>
                  <a:lnTo>
                    <a:pt x="288" y="251"/>
                  </a:lnTo>
                  <a:lnTo>
                    <a:pt x="288" y="253"/>
                  </a:lnTo>
                  <a:lnTo>
                    <a:pt x="289" y="253"/>
                  </a:lnTo>
                  <a:lnTo>
                    <a:pt x="291" y="254"/>
                  </a:lnTo>
                  <a:lnTo>
                    <a:pt x="292" y="256"/>
                  </a:lnTo>
                  <a:lnTo>
                    <a:pt x="294" y="256"/>
                  </a:lnTo>
                  <a:lnTo>
                    <a:pt x="295" y="256"/>
                  </a:lnTo>
                  <a:lnTo>
                    <a:pt x="295" y="254"/>
                  </a:lnTo>
                  <a:lnTo>
                    <a:pt x="295" y="253"/>
                  </a:lnTo>
                  <a:lnTo>
                    <a:pt x="295" y="251"/>
                  </a:lnTo>
                  <a:lnTo>
                    <a:pt x="297" y="248"/>
                  </a:lnTo>
                  <a:lnTo>
                    <a:pt x="300" y="245"/>
                  </a:lnTo>
                  <a:lnTo>
                    <a:pt x="308" y="245"/>
                  </a:lnTo>
                  <a:lnTo>
                    <a:pt x="311" y="245"/>
                  </a:lnTo>
                  <a:lnTo>
                    <a:pt x="311" y="244"/>
                  </a:lnTo>
                  <a:lnTo>
                    <a:pt x="312" y="242"/>
                  </a:lnTo>
                  <a:lnTo>
                    <a:pt x="312" y="239"/>
                  </a:lnTo>
                  <a:lnTo>
                    <a:pt x="312" y="239"/>
                  </a:lnTo>
                  <a:lnTo>
                    <a:pt x="312" y="239"/>
                  </a:lnTo>
                  <a:lnTo>
                    <a:pt x="312" y="237"/>
                  </a:lnTo>
                  <a:lnTo>
                    <a:pt x="312" y="237"/>
                  </a:lnTo>
                  <a:lnTo>
                    <a:pt x="312" y="236"/>
                  </a:lnTo>
                  <a:lnTo>
                    <a:pt x="312" y="236"/>
                  </a:lnTo>
                  <a:lnTo>
                    <a:pt x="312" y="236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5" y="231"/>
                  </a:lnTo>
                  <a:lnTo>
                    <a:pt x="317" y="230"/>
                  </a:lnTo>
                  <a:lnTo>
                    <a:pt x="318" y="230"/>
                  </a:lnTo>
                  <a:lnTo>
                    <a:pt x="325" y="231"/>
                  </a:lnTo>
                  <a:lnTo>
                    <a:pt x="326" y="231"/>
                  </a:lnTo>
                  <a:lnTo>
                    <a:pt x="326" y="231"/>
                  </a:lnTo>
                  <a:lnTo>
                    <a:pt x="329" y="230"/>
                  </a:lnTo>
                  <a:lnTo>
                    <a:pt x="329" y="228"/>
                  </a:lnTo>
                  <a:lnTo>
                    <a:pt x="331" y="230"/>
                  </a:lnTo>
                  <a:lnTo>
                    <a:pt x="331" y="230"/>
                  </a:lnTo>
                  <a:lnTo>
                    <a:pt x="332" y="231"/>
                  </a:lnTo>
                  <a:lnTo>
                    <a:pt x="332" y="230"/>
                  </a:lnTo>
                  <a:lnTo>
                    <a:pt x="334" y="230"/>
                  </a:lnTo>
                  <a:lnTo>
                    <a:pt x="334" y="228"/>
                  </a:lnTo>
                  <a:lnTo>
                    <a:pt x="335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8" y="228"/>
                  </a:lnTo>
                  <a:lnTo>
                    <a:pt x="338" y="228"/>
                  </a:lnTo>
                  <a:lnTo>
                    <a:pt x="340" y="228"/>
                  </a:lnTo>
                  <a:lnTo>
                    <a:pt x="342" y="228"/>
                  </a:lnTo>
                  <a:lnTo>
                    <a:pt x="342" y="227"/>
                  </a:lnTo>
                  <a:lnTo>
                    <a:pt x="343" y="225"/>
                  </a:lnTo>
                  <a:lnTo>
                    <a:pt x="343" y="224"/>
                  </a:lnTo>
                  <a:lnTo>
                    <a:pt x="345" y="224"/>
                  </a:lnTo>
                  <a:lnTo>
                    <a:pt x="346" y="224"/>
                  </a:lnTo>
                  <a:lnTo>
                    <a:pt x="348" y="220"/>
                  </a:lnTo>
                  <a:lnTo>
                    <a:pt x="349" y="219"/>
                  </a:lnTo>
                  <a:lnTo>
                    <a:pt x="349" y="219"/>
                  </a:lnTo>
                  <a:lnTo>
                    <a:pt x="351" y="219"/>
                  </a:lnTo>
                  <a:lnTo>
                    <a:pt x="352" y="219"/>
                  </a:lnTo>
                  <a:lnTo>
                    <a:pt x="354" y="220"/>
                  </a:lnTo>
                  <a:lnTo>
                    <a:pt x="354" y="220"/>
                  </a:lnTo>
                  <a:lnTo>
                    <a:pt x="355" y="220"/>
                  </a:lnTo>
                  <a:lnTo>
                    <a:pt x="357" y="220"/>
                  </a:lnTo>
                  <a:lnTo>
                    <a:pt x="358" y="222"/>
                  </a:lnTo>
                  <a:lnTo>
                    <a:pt x="358" y="222"/>
                  </a:lnTo>
                  <a:lnTo>
                    <a:pt x="358" y="220"/>
                  </a:lnTo>
                  <a:lnTo>
                    <a:pt x="358" y="220"/>
                  </a:lnTo>
                  <a:lnTo>
                    <a:pt x="362" y="219"/>
                  </a:lnTo>
                  <a:lnTo>
                    <a:pt x="362" y="217"/>
                  </a:lnTo>
                  <a:lnTo>
                    <a:pt x="363" y="217"/>
                  </a:lnTo>
                  <a:lnTo>
                    <a:pt x="366" y="217"/>
                  </a:lnTo>
                  <a:lnTo>
                    <a:pt x="368" y="219"/>
                  </a:lnTo>
                  <a:lnTo>
                    <a:pt x="371" y="222"/>
                  </a:lnTo>
                  <a:lnTo>
                    <a:pt x="374" y="227"/>
                  </a:lnTo>
                  <a:lnTo>
                    <a:pt x="375" y="228"/>
                  </a:lnTo>
                  <a:lnTo>
                    <a:pt x="377" y="230"/>
                  </a:lnTo>
                  <a:lnTo>
                    <a:pt x="383" y="233"/>
                  </a:lnTo>
                  <a:lnTo>
                    <a:pt x="383" y="234"/>
                  </a:lnTo>
                  <a:lnTo>
                    <a:pt x="385" y="236"/>
                  </a:lnTo>
                  <a:lnTo>
                    <a:pt x="386" y="237"/>
                  </a:lnTo>
                  <a:lnTo>
                    <a:pt x="388" y="236"/>
                  </a:lnTo>
                  <a:lnTo>
                    <a:pt x="386" y="236"/>
                  </a:lnTo>
                  <a:lnTo>
                    <a:pt x="386" y="236"/>
                  </a:lnTo>
                  <a:lnTo>
                    <a:pt x="388" y="236"/>
                  </a:lnTo>
                  <a:lnTo>
                    <a:pt x="388" y="236"/>
                  </a:lnTo>
                  <a:lnTo>
                    <a:pt x="388" y="236"/>
                  </a:lnTo>
                  <a:lnTo>
                    <a:pt x="388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8" y="234"/>
                  </a:lnTo>
                  <a:lnTo>
                    <a:pt x="389" y="234"/>
                  </a:lnTo>
                  <a:lnTo>
                    <a:pt x="389" y="233"/>
                  </a:lnTo>
                  <a:lnTo>
                    <a:pt x="391" y="233"/>
                  </a:lnTo>
                  <a:lnTo>
                    <a:pt x="391" y="233"/>
                  </a:lnTo>
                  <a:lnTo>
                    <a:pt x="391" y="233"/>
                  </a:lnTo>
                  <a:lnTo>
                    <a:pt x="391" y="231"/>
                  </a:lnTo>
                  <a:lnTo>
                    <a:pt x="397" y="230"/>
                  </a:lnTo>
                  <a:lnTo>
                    <a:pt x="400" y="230"/>
                  </a:lnTo>
                  <a:lnTo>
                    <a:pt x="403" y="233"/>
                  </a:lnTo>
                  <a:lnTo>
                    <a:pt x="405" y="233"/>
                  </a:lnTo>
                  <a:lnTo>
                    <a:pt x="406" y="233"/>
                  </a:lnTo>
                  <a:lnTo>
                    <a:pt x="406" y="233"/>
                  </a:lnTo>
                  <a:lnTo>
                    <a:pt x="406" y="231"/>
                  </a:lnTo>
                  <a:lnTo>
                    <a:pt x="406" y="231"/>
                  </a:lnTo>
                  <a:lnTo>
                    <a:pt x="406" y="230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28"/>
                  </a:lnTo>
                  <a:lnTo>
                    <a:pt x="409" y="228"/>
                  </a:lnTo>
                  <a:lnTo>
                    <a:pt x="411" y="228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7" y="228"/>
                  </a:lnTo>
                  <a:lnTo>
                    <a:pt x="419" y="230"/>
                  </a:lnTo>
                  <a:lnTo>
                    <a:pt x="422" y="230"/>
                  </a:lnTo>
                  <a:lnTo>
                    <a:pt x="422" y="230"/>
                  </a:lnTo>
                  <a:lnTo>
                    <a:pt x="422" y="228"/>
                  </a:lnTo>
                  <a:lnTo>
                    <a:pt x="422" y="228"/>
                  </a:lnTo>
                  <a:lnTo>
                    <a:pt x="422" y="227"/>
                  </a:lnTo>
                  <a:lnTo>
                    <a:pt x="422" y="225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4"/>
                  </a:lnTo>
                  <a:lnTo>
                    <a:pt x="420" y="222"/>
                  </a:lnTo>
                  <a:lnTo>
                    <a:pt x="419" y="222"/>
                  </a:lnTo>
                  <a:lnTo>
                    <a:pt x="419" y="220"/>
                  </a:lnTo>
                  <a:lnTo>
                    <a:pt x="419" y="220"/>
                  </a:lnTo>
                  <a:lnTo>
                    <a:pt x="419" y="219"/>
                  </a:lnTo>
                  <a:lnTo>
                    <a:pt x="417" y="219"/>
                  </a:lnTo>
                  <a:lnTo>
                    <a:pt x="417" y="217"/>
                  </a:lnTo>
                  <a:lnTo>
                    <a:pt x="412" y="216"/>
                  </a:lnTo>
                  <a:lnTo>
                    <a:pt x="412" y="213"/>
                  </a:lnTo>
                  <a:lnTo>
                    <a:pt x="411" y="211"/>
                  </a:lnTo>
                  <a:lnTo>
                    <a:pt x="409" y="211"/>
                  </a:lnTo>
                  <a:lnTo>
                    <a:pt x="409" y="210"/>
                  </a:lnTo>
                  <a:lnTo>
                    <a:pt x="409" y="210"/>
                  </a:lnTo>
                  <a:lnTo>
                    <a:pt x="409" y="210"/>
                  </a:lnTo>
                  <a:lnTo>
                    <a:pt x="409" y="208"/>
                  </a:lnTo>
                  <a:lnTo>
                    <a:pt x="408" y="208"/>
                  </a:lnTo>
                  <a:lnTo>
                    <a:pt x="406" y="207"/>
                  </a:lnTo>
                  <a:lnTo>
                    <a:pt x="406" y="207"/>
                  </a:lnTo>
                  <a:lnTo>
                    <a:pt x="406" y="205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3" y="203"/>
                  </a:lnTo>
                  <a:lnTo>
                    <a:pt x="402" y="202"/>
                  </a:lnTo>
                  <a:lnTo>
                    <a:pt x="402" y="199"/>
                  </a:lnTo>
                  <a:lnTo>
                    <a:pt x="403" y="197"/>
                  </a:lnTo>
                  <a:lnTo>
                    <a:pt x="405" y="196"/>
                  </a:lnTo>
                  <a:lnTo>
                    <a:pt x="403" y="196"/>
                  </a:lnTo>
                  <a:lnTo>
                    <a:pt x="403" y="194"/>
                  </a:lnTo>
                  <a:lnTo>
                    <a:pt x="403" y="194"/>
                  </a:lnTo>
                  <a:lnTo>
                    <a:pt x="403" y="194"/>
                  </a:lnTo>
                  <a:lnTo>
                    <a:pt x="403" y="193"/>
                  </a:lnTo>
                  <a:lnTo>
                    <a:pt x="403" y="193"/>
                  </a:lnTo>
                  <a:lnTo>
                    <a:pt x="402" y="194"/>
                  </a:lnTo>
                  <a:lnTo>
                    <a:pt x="402" y="194"/>
                  </a:lnTo>
                  <a:lnTo>
                    <a:pt x="400" y="193"/>
                  </a:lnTo>
                  <a:lnTo>
                    <a:pt x="399" y="193"/>
                  </a:lnTo>
                  <a:lnTo>
                    <a:pt x="399" y="191"/>
                  </a:lnTo>
                  <a:lnTo>
                    <a:pt x="399" y="190"/>
                  </a:lnTo>
                  <a:lnTo>
                    <a:pt x="399" y="188"/>
                  </a:lnTo>
                  <a:lnTo>
                    <a:pt x="399" y="188"/>
                  </a:lnTo>
                  <a:lnTo>
                    <a:pt x="399" y="188"/>
                  </a:lnTo>
                  <a:lnTo>
                    <a:pt x="397" y="187"/>
                  </a:lnTo>
                  <a:lnTo>
                    <a:pt x="399" y="187"/>
                  </a:lnTo>
                  <a:lnTo>
                    <a:pt x="399" y="187"/>
                  </a:lnTo>
                  <a:lnTo>
                    <a:pt x="399" y="185"/>
                  </a:lnTo>
                  <a:lnTo>
                    <a:pt x="399" y="187"/>
                  </a:lnTo>
                  <a:lnTo>
                    <a:pt x="399" y="185"/>
                  </a:lnTo>
                  <a:lnTo>
                    <a:pt x="397" y="185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94" y="185"/>
                  </a:lnTo>
                  <a:lnTo>
                    <a:pt x="394" y="183"/>
                  </a:lnTo>
                  <a:lnTo>
                    <a:pt x="392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4" y="182"/>
                  </a:lnTo>
                  <a:lnTo>
                    <a:pt x="392" y="182"/>
                  </a:lnTo>
                  <a:lnTo>
                    <a:pt x="392" y="182"/>
                  </a:lnTo>
                  <a:lnTo>
                    <a:pt x="391" y="182"/>
                  </a:lnTo>
                  <a:lnTo>
                    <a:pt x="391" y="182"/>
                  </a:lnTo>
                  <a:lnTo>
                    <a:pt x="389" y="182"/>
                  </a:lnTo>
                  <a:lnTo>
                    <a:pt x="389" y="182"/>
                  </a:lnTo>
                  <a:lnTo>
                    <a:pt x="388" y="182"/>
                  </a:lnTo>
                  <a:lnTo>
                    <a:pt x="388" y="182"/>
                  </a:lnTo>
                  <a:lnTo>
                    <a:pt x="386" y="180"/>
                  </a:lnTo>
                  <a:lnTo>
                    <a:pt x="386" y="182"/>
                  </a:lnTo>
                  <a:lnTo>
                    <a:pt x="385" y="182"/>
                  </a:lnTo>
                  <a:lnTo>
                    <a:pt x="385" y="183"/>
                  </a:lnTo>
                  <a:lnTo>
                    <a:pt x="383" y="183"/>
                  </a:lnTo>
                  <a:lnTo>
                    <a:pt x="382" y="180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3"/>
                  </a:lnTo>
                  <a:lnTo>
                    <a:pt x="380" y="182"/>
                  </a:lnTo>
                  <a:lnTo>
                    <a:pt x="380" y="182"/>
                  </a:lnTo>
                  <a:lnTo>
                    <a:pt x="380" y="182"/>
                  </a:lnTo>
                  <a:lnTo>
                    <a:pt x="380" y="180"/>
                  </a:lnTo>
                  <a:lnTo>
                    <a:pt x="380" y="179"/>
                  </a:lnTo>
                  <a:lnTo>
                    <a:pt x="380" y="177"/>
                  </a:lnTo>
                  <a:lnTo>
                    <a:pt x="382" y="179"/>
                  </a:lnTo>
                  <a:lnTo>
                    <a:pt x="382" y="176"/>
                  </a:lnTo>
                  <a:lnTo>
                    <a:pt x="383" y="174"/>
                  </a:lnTo>
                  <a:lnTo>
                    <a:pt x="383" y="171"/>
                  </a:lnTo>
                  <a:lnTo>
                    <a:pt x="386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70"/>
                  </a:lnTo>
                  <a:lnTo>
                    <a:pt x="392" y="167"/>
                  </a:lnTo>
                  <a:lnTo>
                    <a:pt x="392" y="163"/>
                  </a:lnTo>
                  <a:lnTo>
                    <a:pt x="394" y="163"/>
                  </a:lnTo>
                  <a:lnTo>
                    <a:pt x="395" y="162"/>
                  </a:lnTo>
                  <a:lnTo>
                    <a:pt x="399" y="160"/>
                  </a:lnTo>
                  <a:lnTo>
                    <a:pt x="400" y="160"/>
                  </a:lnTo>
                  <a:lnTo>
                    <a:pt x="400" y="160"/>
                  </a:lnTo>
                  <a:lnTo>
                    <a:pt x="399" y="159"/>
                  </a:lnTo>
                  <a:lnTo>
                    <a:pt x="399" y="159"/>
                  </a:lnTo>
                  <a:lnTo>
                    <a:pt x="399" y="157"/>
                  </a:lnTo>
                  <a:lnTo>
                    <a:pt x="400" y="156"/>
                  </a:lnTo>
                  <a:lnTo>
                    <a:pt x="400" y="156"/>
                  </a:lnTo>
                  <a:lnTo>
                    <a:pt x="402" y="156"/>
                  </a:lnTo>
                  <a:lnTo>
                    <a:pt x="405" y="156"/>
                  </a:lnTo>
                  <a:lnTo>
                    <a:pt x="408" y="156"/>
                  </a:lnTo>
                  <a:lnTo>
                    <a:pt x="412" y="156"/>
                  </a:lnTo>
                  <a:lnTo>
                    <a:pt x="412" y="156"/>
                  </a:lnTo>
                  <a:lnTo>
                    <a:pt x="412" y="153"/>
                  </a:lnTo>
                  <a:lnTo>
                    <a:pt x="412" y="148"/>
                  </a:lnTo>
                  <a:lnTo>
                    <a:pt x="412" y="145"/>
                  </a:lnTo>
                  <a:lnTo>
                    <a:pt x="411" y="143"/>
                  </a:lnTo>
                  <a:lnTo>
                    <a:pt x="411" y="142"/>
                  </a:lnTo>
                  <a:lnTo>
                    <a:pt x="412" y="140"/>
                  </a:lnTo>
                  <a:lnTo>
                    <a:pt x="412" y="139"/>
                  </a:lnTo>
                  <a:lnTo>
                    <a:pt x="412" y="133"/>
                  </a:lnTo>
                  <a:lnTo>
                    <a:pt x="412" y="130"/>
                  </a:lnTo>
                  <a:lnTo>
                    <a:pt x="412" y="125"/>
                  </a:lnTo>
                  <a:lnTo>
                    <a:pt x="411" y="123"/>
                  </a:lnTo>
                  <a:lnTo>
                    <a:pt x="412" y="122"/>
                  </a:lnTo>
                  <a:lnTo>
                    <a:pt x="412" y="122"/>
                  </a:lnTo>
                  <a:lnTo>
                    <a:pt x="412" y="120"/>
                  </a:lnTo>
                  <a:lnTo>
                    <a:pt x="414" y="120"/>
                  </a:lnTo>
                  <a:lnTo>
                    <a:pt x="414" y="116"/>
                  </a:lnTo>
                  <a:lnTo>
                    <a:pt x="415" y="111"/>
                  </a:lnTo>
                  <a:lnTo>
                    <a:pt x="415" y="110"/>
                  </a:lnTo>
                  <a:lnTo>
                    <a:pt x="415" y="108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4" y="106"/>
                  </a:lnTo>
                  <a:lnTo>
                    <a:pt x="414" y="106"/>
                  </a:lnTo>
                  <a:lnTo>
                    <a:pt x="415" y="105"/>
                  </a:lnTo>
                  <a:lnTo>
                    <a:pt x="420" y="103"/>
                  </a:lnTo>
                  <a:lnTo>
                    <a:pt x="422" y="103"/>
                  </a:lnTo>
                  <a:lnTo>
                    <a:pt x="423" y="102"/>
                  </a:lnTo>
                  <a:lnTo>
                    <a:pt x="426" y="91"/>
                  </a:lnTo>
                  <a:lnTo>
                    <a:pt x="426" y="90"/>
                  </a:lnTo>
                  <a:lnTo>
                    <a:pt x="429" y="86"/>
                  </a:lnTo>
                  <a:lnTo>
                    <a:pt x="432" y="85"/>
                  </a:lnTo>
                  <a:lnTo>
                    <a:pt x="434" y="85"/>
                  </a:lnTo>
                  <a:lnTo>
                    <a:pt x="439" y="85"/>
                  </a:lnTo>
                  <a:lnTo>
                    <a:pt x="440" y="85"/>
                  </a:lnTo>
                  <a:lnTo>
                    <a:pt x="443" y="83"/>
                  </a:lnTo>
                  <a:lnTo>
                    <a:pt x="445" y="83"/>
                  </a:lnTo>
                  <a:lnTo>
                    <a:pt x="448" y="83"/>
                  </a:lnTo>
                  <a:lnTo>
                    <a:pt x="449" y="85"/>
                  </a:lnTo>
                  <a:lnTo>
                    <a:pt x="451" y="85"/>
                  </a:lnTo>
                  <a:lnTo>
                    <a:pt x="451" y="86"/>
                  </a:lnTo>
                  <a:lnTo>
                    <a:pt x="454" y="88"/>
                  </a:lnTo>
                  <a:lnTo>
                    <a:pt x="456" y="90"/>
                  </a:lnTo>
                  <a:lnTo>
                    <a:pt x="456" y="88"/>
                  </a:lnTo>
                  <a:lnTo>
                    <a:pt x="456" y="86"/>
                  </a:lnTo>
                  <a:lnTo>
                    <a:pt x="457" y="85"/>
                  </a:lnTo>
                  <a:lnTo>
                    <a:pt x="460" y="82"/>
                  </a:lnTo>
                  <a:lnTo>
                    <a:pt x="460" y="82"/>
                  </a:lnTo>
                  <a:lnTo>
                    <a:pt x="462" y="80"/>
                  </a:lnTo>
                  <a:lnTo>
                    <a:pt x="463" y="77"/>
                  </a:lnTo>
                  <a:lnTo>
                    <a:pt x="465" y="74"/>
                  </a:lnTo>
                  <a:lnTo>
                    <a:pt x="465" y="71"/>
                  </a:lnTo>
                  <a:lnTo>
                    <a:pt x="465" y="7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101"/>
            <p:cNvSpPr>
              <a:spLocks/>
            </p:cNvSpPr>
            <p:nvPr/>
          </p:nvSpPr>
          <p:spPr bwMode="gray">
            <a:xfrm>
              <a:off x="7540625" y="7478713"/>
              <a:ext cx="461963" cy="444500"/>
            </a:xfrm>
            <a:custGeom>
              <a:avLst/>
              <a:gdLst>
                <a:gd name="T0" fmla="*/ 282 w 291"/>
                <a:gd name="T1" fmla="*/ 122 h 280"/>
                <a:gd name="T2" fmla="*/ 273 w 291"/>
                <a:gd name="T3" fmla="*/ 115 h 280"/>
                <a:gd name="T4" fmla="*/ 264 w 291"/>
                <a:gd name="T5" fmla="*/ 105 h 280"/>
                <a:gd name="T6" fmla="*/ 256 w 291"/>
                <a:gd name="T7" fmla="*/ 89 h 280"/>
                <a:gd name="T8" fmla="*/ 259 w 291"/>
                <a:gd name="T9" fmla="*/ 74 h 280"/>
                <a:gd name="T10" fmla="*/ 270 w 291"/>
                <a:gd name="T11" fmla="*/ 57 h 280"/>
                <a:gd name="T12" fmla="*/ 271 w 291"/>
                <a:gd name="T13" fmla="*/ 40 h 280"/>
                <a:gd name="T14" fmla="*/ 264 w 291"/>
                <a:gd name="T15" fmla="*/ 38 h 280"/>
                <a:gd name="T16" fmla="*/ 248 w 291"/>
                <a:gd name="T17" fmla="*/ 43 h 280"/>
                <a:gd name="T18" fmla="*/ 228 w 291"/>
                <a:gd name="T19" fmla="*/ 34 h 280"/>
                <a:gd name="T20" fmla="*/ 230 w 291"/>
                <a:gd name="T21" fmla="*/ 29 h 280"/>
                <a:gd name="T22" fmla="*/ 220 w 291"/>
                <a:gd name="T23" fmla="*/ 20 h 280"/>
                <a:gd name="T24" fmla="*/ 216 w 291"/>
                <a:gd name="T25" fmla="*/ 18 h 280"/>
                <a:gd name="T26" fmla="*/ 211 w 291"/>
                <a:gd name="T27" fmla="*/ 21 h 280"/>
                <a:gd name="T28" fmla="*/ 200 w 291"/>
                <a:gd name="T29" fmla="*/ 17 h 280"/>
                <a:gd name="T30" fmla="*/ 184 w 291"/>
                <a:gd name="T31" fmla="*/ 18 h 280"/>
                <a:gd name="T32" fmla="*/ 170 w 291"/>
                <a:gd name="T33" fmla="*/ 14 h 280"/>
                <a:gd name="T34" fmla="*/ 150 w 291"/>
                <a:gd name="T35" fmla="*/ 14 h 280"/>
                <a:gd name="T36" fmla="*/ 133 w 291"/>
                <a:gd name="T37" fmla="*/ 17 h 280"/>
                <a:gd name="T38" fmla="*/ 130 w 291"/>
                <a:gd name="T39" fmla="*/ 12 h 280"/>
                <a:gd name="T40" fmla="*/ 114 w 291"/>
                <a:gd name="T41" fmla="*/ 12 h 280"/>
                <a:gd name="T42" fmla="*/ 97 w 291"/>
                <a:gd name="T43" fmla="*/ 6 h 280"/>
                <a:gd name="T44" fmla="*/ 94 w 291"/>
                <a:gd name="T45" fmla="*/ 5 h 280"/>
                <a:gd name="T46" fmla="*/ 86 w 291"/>
                <a:gd name="T47" fmla="*/ 3 h 280"/>
                <a:gd name="T48" fmla="*/ 80 w 291"/>
                <a:gd name="T49" fmla="*/ 11 h 280"/>
                <a:gd name="T50" fmla="*/ 50 w 291"/>
                <a:gd name="T51" fmla="*/ 18 h 280"/>
                <a:gd name="T52" fmla="*/ 40 w 291"/>
                <a:gd name="T53" fmla="*/ 28 h 280"/>
                <a:gd name="T54" fmla="*/ 23 w 291"/>
                <a:gd name="T55" fmla="*/ 9 h 280"/>
                <a:gd name="T56" fmla="*/ 5 w 291"/>
                <a:gd name="T57" fmla="*/ 12 h 280"/>
                <a:gd name="T58" fmla="*/ 2 w 291"/>
                <a:gd name="T59" fmla="*/ 37 h 280"/>
                <a:gd name="T60" fmla="*/ 2 w 291"/>
                <a:gd name="T61" fmla="*/ 54 h 280"/>
                <a:gd name="T62" fmla="*/ 11 w 291"/>
                <a:gd name="T63" fmla="*/ 60 h 280"/>
                <a:gd name="T64" fmla="*/ 16 w 291"/>
                <a:gd name="T65" fmla="*/ 61 h 280"/>
                <a:gd name="T66" fmla="*/ 25 w 291"/>
                <a:gd name="T67" fmla="*/ 69 h 280"/>
                <a:gd name="T68" fmla="*/ 28 w 291"/>
                <a:gd name="T69" fmla="*/ 78 h 280"/>
                <a:gd name="T70" fmla="*/ 33 w 291"/>
                <a:gd name="T71" fmla="*/ 94 h 280"/>
                <a:gd name="T72" fmla="*/ 37 w 291"/>
                <a:gd name="T73" fmla="*/ 100 h 280"/>
                <a:gd name="T74" fmla="*/ 46 w 291"/>
                <a:gd name="T75" fmla="*/ 125 h 280"/>
                <a:gd name="T76" fmla="*/ 57 w 291"/>
                <a:gd name="T77" fmla="*/ 132 h 280"/>
                <a:gd name="T78" fmla="*/ 74 w 291"/>
                <a:gd name="T79" fmla="*/ 155 h 280"/>
                <a:gd name="T80" fmla="*/ 117 w 291"/>
                <a:gd name="T81" fmla="*/ 191 h 280"/>
                <a:gd name="T82" fmla="*/ 130 w 291"/>
                <a:gd name="T83" fmla="*/ 220 h 280"/>
                <a:gd name="T84" fmla="*/ 143 w 291"/>
                <a:gd name="T85" fmla="*/ 240 h 280"/>
                <a:gd name="T86" fmla="*/ 147 w 291"/>
                <a:gd name="T87" fmla="*/ 245 h 280"/>
                <a:gd name="T88" fmla="*/ 157 w 291"/>
                <a:gd name="T89" fmla="*/ 246 h 280"/>
                <a:gd name="T90" fmla="*/ 188 w 291"/>
                <a:gd name="T91" fmla="*/ 272 h 280"/>
                <a:gd name="T92" fmla="*/ 204 w 291"/>
                <a:gd name="T93" fmla="*/ 280 h 280"/>
                <a:gd name="T94" fmla="*/ 210 w 291"/>
                <a:gd name="T95" fmla="*/ 276 h 280"/>
                <a:gd name="T96" fmla="*/ 204 w 291"/>
                <a:gd name="T97" fmla="*/ 254 h 280"/>
                <a:gd name="T98" fmla="*/ 207 w 291"/>
                <a:gd name="T99" fmla="*/ 234 h 280"/>
                <a:gd name="T100" fmla="*/ 220 w 291"/>
                <a:gd name="T101" fmla="*/ 212 h 280"/>
                <a:gd name="T102" fmla="*/ 242 w 291"/>
                <a:gd name="T103" fmla="*/ 202 h 280"/>
                <a:gd name="T104" fmla="*/ 247 w 291"/>
                <a:gd name="T105" fmla="*/ 206 h 280"/>
                <a:gd name="T106" fmla="*/ 242 w 291"/>
                <a:gd name="T107" fmla="*/ 189 h 280"/>
                <a:gd name="T108" fmla="*/ 239 w 291"/>
                <a:gd name="T109" fmla="*/ 183 h 280"/>
                <a:gd name="T110" fmla="*/ 251 w 291"/>
                <a:gd name="T111" fmla="*/ 183 h 280"/>
                <a:gd name="T112" fmla="*/ 267 w 291"/>
                <a:gd name="T113" fmla="*/ 175 h 280"/>
                <a:gd name="T114" fmla="*/ 276 w 291"/>
                <a:gd name="T115" fmla="*/ 180 h 280"/>
                <a:gd name="T116" fmla="*/ 281 w 291"/>
                <a:gd name="T117" fmla="*/ 172 h 280"/>
                <a:gd name="T118" fmla="*/ 262 w 291"/>
                <a:gd name="T119" fmla="*/ 137 h 280"/>
                <a:gd name="T120" fmla="*/ 270 w 291"/>
                <a:gd name="T121" fmla="*/ 134 h 280"/>
                <a:gd name="T122" fmla="*/ 291 w 291"/>
                <a:gd name="T123" fmla="*/ 13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" h="280">
                  <a:moveTo>
                    <a:pt x="291" y="128"/>
                  </a:moveTo>
                  <a:lnTo>
                    <a:pt x="290" y="126"/>
                  </a:lnTo>
                  <a:lnTo>
                    <a:pt x="290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7" y="126"/>
                  </a:lnTo>
                  <a:lnTo>
                    <a:pt x="284" y="125"/>
                  </a:lnTo>
                  <a:lnTo>
                    <a:pt x="284" y="123"/>
                  </a:lnTo>
                  <a:lnTo>
                    <a:pt x="282" y="122"/>
                  </a:lnTo>
                  <a:lnTo>
                    <a:pt x="281" y="122"/>
                  </a:lnTo>
                  <a:lnTo>
                    <a:pt x="281" y="120"/>
                  </a:lnTo>
                  <a:lnTo>
                    <a:pt x="281" y="118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7"/>
                  </a:lnTo>
                  <a:lnTo>
                    <a:pt x="273" y="115"/>
                  </a:lnTo>
                  <a:lnTo>
                    <a:pt x="273" y="114"/>
                  </a:lnTo>
                  <a:lnTo>
                    <a:pt x="271" y="112"/>
                  </a:lnTo>
                  <a:lnTo>
                    <a:pt x="271" y="111"/>
                  </a:lnTo>
                  <a:lnTo>
                    <a:pt x="271" y="108"/>
                  </a:lnTo>
                  <a:lnTo>
                    <a:pt x="270" y="106"/>
                  </a:lnTo>
                  <a:lnTo>
                    <a:pt x="268" y="105"/>
                  </a:lnTo>
                  <a:lnTo>
                    <a:pt x="267" y="105"/>
                  </a:lnTo>
                  <a:lnTo>
                    <a:pt x="265" y="105"/>
                  </a:lnTo>
                  <a:lnTo>
                    <a:pt x="264" y="105"/>
                  </a:lnTo>
                  <a:lnTo>
                    <a:pt x="264" y="105"/>
                  </a:lnTo>
                  <a:lnTo>
                    <a:pt x="262" y="105"/>
                  </a:lnTo>
                  <a:lnTo>
                    <a:pt x="259" y="103"/>
                  </a:lnTo>
                  <a:lnTo>
                    <a:pt x="257" y="103"/>
                  </a:lnTo>
                  <a:lnTo>
                    <a:pt x="256" y="102"/>
                  </a:lnTo>
                  <a:lnTo>
                    <a:pt x="254" y="98"/>
                  </a:lnTo>
                  <a:lnTo>
                    <a:pt x="253" y="95"/>
                  </a:lnTo>
                  <a:lnTo>
                    <a:pt x="253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6" y="89"/>
                  </a:lnTo>
                  <a:lnTo>
                    <a:pt x="256" y="86"/>
                  </a:lnTo>
                  <a:lnTo>
                    <a:pt x="254" y="82"/>
                  </a:lnTo>
                  <a:lnTo>
                    <a:pt x="254" y="80"/>
                  </a:lnTo>
                  <a:lnTo>
                    <a:pt x="257" y="78"/>
                  </a:lnTo>
                  <a:lnTo>
                    <a:pt x="257" y="78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5" y="61"/>
                  </a:lnTo>
                  <a:lnTo>
                    <a:pt x="267" y="61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70" y="57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3" y="41"/>
                  </a:lnTo>
                  <a:lnTo>
                    <a:pt x="273" y="41"/>
                  </a:lnTo>
                  <a:lnTo>
                    <a:pt x="273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64" y="38"/>
                  </a:lnTo>
                  <a:lnTo>
                    <a:pt x="262" y="38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59" y="37"/>
                  </a:lnTo>
                  <a:lnTo>
                    <a:pt x="259" y="37"/>
                  </a:lnTo>
                  <a:lnTo>
                    <a:pt x="257" y="37"/>
                  </a:lnTo>
                  <a:lnTo>
                    <a:pt x="251" y="41"/>
                  </a:lnTo>
                  <a:lnTo>
                    <a:pt x="250" y="43"/>
                  </a:lnTo>
                  <a:lnTo>
                    <a:pt x="248" y="43"/>
                  </a:lnTo>
                  <a:lnTo>
                    <a:pt x="247" y="43"/>
                  </a:lnTo>
                  <a:lnTo>
                    <a:pt x="245" y="43"/>
                  </a:lnTo>
                  <a:lnTo>
                    <a:pt x="237" y="45"/>
                  </a:lnTo>
                  <a:lnTo>
                    <a:pt x="234" y="43"/>
                  </a:lnTo>
                  <a:lnTo>
                    <a:pt x="233" y="41"/>
                  </a:lnTo>
                  <a:lnTo>
                    <a:pt x="233" y="41"/>
                  </a:lnTo>
                  <a:lnTo>
                    <a:pt x="231" y="41"/>
                  </a:lnTo>
                  <a:lnTo>
                    <a:pt x="230" y="38"/>
                  </a:lnTo>
                  <a:lnTo>
                    <a:pt x="228" y="35"/>
                  </a:lnTo>
                  <a:lnTo>
                    <a:pt x="228" y="34"/>
                  </a:lnTo>
                  <a:lnTo>
                    <a:pt x="230" y="34"/>
                  </a:lnTo>
                  <a:lnTo>
                    <a:pt x="231" y="32"/>
                  </a:lnTo>
                  <a:lnTo>
                    <a:pt x="230" y="32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8"/>
                  </a:lnTo>
                  <a:lnTo>
                    <a:pt x="228" y="28"/>
                  </a:lnTo>
                  <a:lnTo>
                    <a:pt x="227" y="28"/>
                  </a:lnTo>
                  <a:lnTo>
                    <a:pt x="225" y="28"/>
                  </a:lnTo>
                  <a:lnTo>
                    <a:pt x="225" y="26"/>
                  </a:lnTo>
                  <a:lnTo>
                    <a:pt x="222" y="21"/>
                  </a:lnTo>
                  <a:lnTo>
                    <a:pt x="222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1"/>
                  </a:lnTo>
                  <a:lnTo>
                    <a:pt x="220" y="21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7" y="21"/>
                  </a:lnTo>
                  <a:lnTo>
                    <a:pt x="217" y="21"/>
                  </a:lnTo>
                  <a:lnTo>
                    <a:pt x="217" y="20"/>
                  </a:lnTo>
                  <a:lnTo>
                    <a:pt x="216" y="18"/>
                  </a:lnTo>
                  <a:lnTo>
                    <a:pt x="216" y="18"/>
                  </a:lnTo>
                  <a:lnTo>
                    <a:pt x="216" y="18"/>
                  </a:lnTo>
                  <a:lnTo>
                    <a:pt x="214" y="20"/>
                  </a:lnTo>
                  <a:lnTo>
                    <a:pt x="214" y="20"/>
                  </a:lnTo>
                  <a:lnTo>
                    <a:pt x="213" y="20"/>
                  </a:lnTo>
                  <a:lnTo>
                    <a:pt x="213" y="20"/>
                  </a:lnTo>
                  <a:lnTo>
                    <a:pt x="211" y="20"/>
                  </a:lnTo>
                  <a:lnTo>
                    <a:pt x="211" y="20"/>
                  </a:lnTo>
                  <a:lnTo>
                    <a:pt x="211" y="20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3"/>
                  </a:lnTo>
                  <a:lnTo>
                    <a:pt x="210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5" y="21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2" y="18"/>
                  </a:lnTo>
                  <a:lnTo>
                    <a:pt x="202" y="17"/>
                  </a:lnTo>
                  <a:lnTo>
                    <a:pt x="200" y="17"/>
                  </a:lnTo>
                  <a:lnTo>
                    <a:pt x="194" y="17"/>
                  </a:lnTo>
                  <a:lnTo>
                    <a:pt x="194" y="15"/>
                  </a:lnTo>
                  <a:lnTo>
                    <a:pt x="190" y="14"/>
                  </a:lnTo>
                  <a:lnTo>
                    <a:pt x="188" y="12"/>
                  </a:lnTo>
                  <a:lnTo>
                    <a:pt x="187" y="14"/>
                  </a:lnTo>
                  <a:lnTo>
                    <a:pt x="185" y="14"/>
                  </a:lnTo>
                  <a:lnTo>
                    <a:pt x="185" y="15"/>
                  </a:lnTo>
                  <a:lnTo>
                    <a:pt x="185" y="17"/>
                  </a:lnTo>
                  <a:lnTo>
                    <a:pt x="185" y="18"/>
                  </a:lnTo>
                  <a:lnTo>
                    <a:pt x="184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0" y="18"/>
                  </a:lnTo>
                  <a:lnTo>
                    <a:pt x="179" y="18"/>
                  </a:lnTo>
                  <a:lnTo>
                    <a:pt x="177" y="18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1" y="14"/>
                  </a:lnTo>
                  <a:lnTo>
                    <a:pt x="170" y="14"/>
                  </a:lnTo>
                  <a:lnTo>
                    <a:pt x="165" y="20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2" y="21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7" y="21"/>
                  </a:lnTo>
                  <a:lnTo>
                    <a:pt x="156" y="20"/>
                  </a:lnTo>
                  <a:lnTo>
                    <a:pt x="151" y="15"/>
                  </a:lnTo>
                  <a:lnTo>
                    <a:pt x="150" y="14"/>
                  </a:lnTo>
                  <a:lnTo>
                    <a:pt x="147" y="12"/>
                  </a:lnTo>
                  <a:lnTo>
                    <a:pt x="145" y="12"/>
                  </a:lnTo>
                  <a:lnTo>
                    <a:pt x="143" y="12"/>
                  </a:lnTo>
                  <a:lnTo>
                    <a:pt x="140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0" y="15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7" y="14"/>
                  </a:lnTo>
                  <a:lnTo>
                    <a:pt x="125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0" y="12"/>
                  </a:lnTo>
                  <a:lnTo>
                    <a:pt x="119" y="11"/>
                  </a:lnTo>
                  <a:lnTo>
                    <a:pt x="116" y="9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05" y="12"/>
                  </a:lnTo>
                  <a:lnTo>
                    <a:pt x="103" y="11"/>
                  </a:lnTo>
                  <a:lnTo>
                    <a:pt x="100" y="8"/>
                  </a:lnTo>
                  <a:lnTo>
                    <a:pt x="99" y="5"/>
                  </a:lnTo>
                  <a:lnTo>
                    <a:pt x="99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3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4" y="3"/>
                  </a:lnTo>
                  <a:lnTo>
                    <a:pt x="93" y="3"/>
                  </a:lnTo>
                  <a:lnTo>
                    <a:pt x="94" y="3"/>
                  </a:lnTo>
                  <a:lnTo>
                    <a:pt x="94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3"/>
                  </a:lnTo>
                  <a:lnTo>
                    <a:pt x="91" y="1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5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65" y="6"/>
                  </a:lnTo>
                  <a:lnTo>
                    <a:pt x="62" y="6"/>
                  </a:lnTo>
                  <a:lnTo>
                    <a:pt x="57" y="8"/>
                  </a:lnTo>
                  <a:lnTo>
                    <a:pt x="56" y="14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48" y="25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6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0" y="28"/>
                  </a:lnTo>
                  <a:lnTo>
                    <a:pt x="37" y="26"/>
                  </a:lnTo>
                  <a:lnTo>
                    <a:pt x="31" y="20"/>
                  </a:lnTo>
                  <a:lnTo>
                    <a:pt x="29" y="17"/>
                  </a:lnTo>
                  <a:lnTo>
                    <a:pt x="28" y="14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6"/>
                  </a:lnTo>
                  <a:lnTo>
                    <a:pt x="13" y="6"/>
                  </a:lnTo>
                  <a:lnTo>
                    <a:pt x="9" y="8"/>
                  </a:lnTo>
                  <a:lnTo>
                    <a:pt x="6" y="9"/>
                  </a:lnTo>
                  <a:lnTo>
                    <a:pt x="6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8"/>
                  </a:lnTo>
                  <a:lnTo>
                    <a:pt x="5" y="20"/>
                  </a:lnTo>
                  <a:lnTo>
                    <a:pt x="3" y="25"/>
                  </a:lnTo>
                  <a:lnTo>
                    <a:pt x="3" y="26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2" y="35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40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5" y="46"/>
                  </a:lnTo>
                  <a:lnTo>
                    <a:pt x="5" y="48"/>
                  </a:lnTo>
                  <a:lnTo>
                    <a:pt x="3" y="48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2" y="54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9" y="66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3" y="74"/>
                  </a:lnTo>
                  <a:lnTo>
                    <a:pt x="23" y="75"/>
                  </a:lnTo>
                  <a:lnTo>
                    <a:pt x="22" y="77"/>
                  </a:lnTo>
                  <a:lnTo>
                    <a:pt x="23" y="78"/>
                  </a:lnTo>
                  <a:lnTo>
                    <a:pt x="25" y="78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31" y="80"/>
                  </a:lnTo>
                  <a:lnTo>
                    <a:pt x="31" y="82"/>
                  </a:lnTo>
                  <a:lnTo>
                    <a:pt x="31" y="83"/>
                  </a:lnTo>
                  <a:lnTo>
                    <a:pt x="33" y="88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4" y="94"/>
                  </a:lnTo>
                  <a:lnTo>
                    <a:pt x="36" y="95"/>
                  </a:lnTo>
                  <a:lnTo>
                    <a:pt x="37" y="95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36" y="102"/>
                  </a:lnTo>
                  <a:lnTo>
                    <a:pt x="36" y="103"/>
                  </a:lnTo>
                  <a:lnTo>
                    <a:pt x="36" y="105"/>
                  </a:lnTo>
                  <a:lnTo>
                    <a:pt x="37" y="108"/>
                  </a:lnTo>
                  <a:lnTo>
                    <a:pt x="37" y="112"/>
                  </a:lnTo>
                  <a:lnTo>
                    <a:pt x="39" y="114"/>
                  </a:lnTo>
                  <a:lnTo>
                    <a:pt x="42" y="117"/>
                  </a:lnTo>
                  <a:lnTo>
                    <a:pt x="43" y="118"/>
                  </a:lnTo>
                  <a:lnTo>
                    <a:pt x="45" y="123"/>
                  </a:lnTo>
                  <a:lnTo>
                    <a:pt x="46" y="125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50" y="128"/>
                  </a:lnTo>
                  <a:lnTo>
                    <a:pt x="50" y="128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4" y="132"/>
                  </a:lnTo>
                  <a:lnTo>
                    <a:pt x="57" y="132"/>
                  </a:lnTo>
                  <a:lnTo>
                    <a:pt x="59" y="134"/>
                  </a:lnTo>
                  <a:lnTo>
                    <a:pt x="60" y="135"/>
                  </a:lnTo>
                  <a:lnTo>
                    <a:pt x="62" y="137"/>
                  </a:lnTo>
                  <a:lnTo>
                    <a:pt x="63" y="140"/>
                  </a:lnTo>
                  <a:lnTo>
                    <a:pt x="66" y="143"/>
                  </a:lnTo>
                  <a:lnTo>
                    <a:pt x="70" y="146"/>
                  </a:lnTo>
                  <a:lnTo>
                    <a:pt x="73" y="149"/>
                  </a:lnTo>
                  <a:lnTo>
                    <a:pt x="73" y="151"/>
                  </a:lnTo>
                  <a:lnTo>
                    <a:pt x="73" y="152"/>
                  </a:lnTo>
                  <a:lnTo>
                    <a:pt x="74" y="155"/>
                  </a:lnTo>
                  <a:lnTo>
                    <a:pt x="74" y="157"/>
                  </a:lnTo>
                  <a:lnTo>
                    <a:pt x="83" y="163"/>
                  </a:lnTo>
                  <a:lnTo>
                    <a:pt x="94" y="175"/>
                  </a:lnTo>
                  <a:lnTo>
                    <a:pt x="99" y="180"/>
                  </a:lnTo>
                  <a:lnTo>
                    <a:pt x="100" y="182"/>
                  </a:lnTo>
                  <a:lnTo>
                    <a:pt x="102" y="183"/>
                  </a:lnTo>
                  <a:lnTo>
                    <a:pt x="106" y="186"/>
                  </a:lnTo>
                  <a:lnTo>
                    <a:pt x="114" y="186"/>
                  </a:lnTo>
                  <a:lnTo>
                    <a:pt x="116" y="188"/>
                  </a:lnTo>
                  <a:lnTo>
                    <a:pt x="117" y="191"/>
                  </a:lnTo>
                  <a:lnTo>
                    <a:pt x="116" y="200"/>
                  </a:lnTo>
                  <a:lnTo>
                    <a:pt x="117" y="205"/>
                  </a:lnTo>
                  <a:lnTo>
                    <a:pt x="120" y="209"/>
                  </a:lnTo>
                  <a:lnTo>
                    <a:pt x="123" y="212"/>
                  </a:lnTo>
                  <a:lnTo>
                    <a:pt x="125" y="212"/>
                  </a:lnTo>
                  <a:lnTo>
                    <a:pt x="127" y="214"/>
                  </a:lnTo>
                  <a:lnTo>
                    <a:pt x="127" y="214"/>
                  </a:lnTo>
                  <a:lnTo>
                    <a:pt x="127" y="217"/>
                  </a:lnTo>
                  <a:lnTo>
                    <a:pt x="128" y="219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3" y="231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9"/>
                  </a:lnTo>
                  <a:lnTo>
                    <a:pt x="143" y="240"/>
                  </a:lnTo>
                  <a:lnTo>
                    <a:pt x="139" y="242"/>
                  </a:lnTo>
                  <a:lnTo>
                    <a:pt x="140" y="242"/>
                  </a:lnTo>
                  <a:lnTo>
                    <a:pt x="142" y="243"/>
                  </a:lnTo>
                  <a:lnTo>
                    <a:pt x="140" y="243"/>
                  </a:lnTo>
                  <a:lnTo>
                    <a:pt x="139" y="242"/>
                  </a:lnTo>
                  <a:lnTo>
                    <a:pt x="137" y="242"/>
                  </a:lnTo>
                  <a:lnTo>
                    <a:pt x="145" y="246"/>
                  </a:lnTo>
                  <a:lnTo>
                    <a:pt x="145" y="246"/>
                  </a:lnTo>
                  <a:lnTo>
                    <a:pt x="145" y="246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48" y="243"/>
                  </a:lnTo>
                  <a:lnTo>
                    <a:pt x="150" y="245"/>
                  </a:lnTo>
                  <a:lnTo>
                    <a:pt x="153" y="245"/>
                  </a:lnTo>
                  <a:lnTo>
                    <a:pt x="154" y="246"/>
                  </a:lnTo>
                  <a:lnTo>
                    <a:pt x="156" y="245"/>
                  </a:lnTo>
                  <a:lnTo>
                    <a:pt x="156" y="245"/>
                  </a:lnTo>
                  <a:lnTo>
                    <a:pt x="157" y="245"/>
                  </a:lnTo>
                  <a:lnTo>
                    <a:pt x="157" y="246"/>
                  </a:lnTo>
                  <a:lnTo>
                    <a:pt x="157" y="246"/>
                  </a:lnTo>
                  <a:lnTo>
                    <a:pt x="157" y="249"/>
                  </a:lnTo>
                  <a:lnTo>
                    <a:pt x="157" y="251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3" y="256"/>
                  </a:lnTo>
                  <a:lnTo>
                    <a:pt x="165" y="257"/>
                  </a:lnTo>
                  <a:lnTo>
                    <a:pt x="168" y="260"/>
                  </a:lnTo>
                  <a:lnTo>
                    <a:pt x="170" y="262"/>
                  </a:lnTo>
                  <a:lnTo>
                    <a:pt x="174" y="265"/>
                  </a:lnTo>
                  <a:lnTo>
                    <a:pt x="188" y="272"/>
                  </a:lnTo>
                  <a:lnTo>
                    <a:pt x="190" y="274"/>
                  </a:lnTo>
                  <a:lnTo>
                    <a:pt x="194" y="276"/>
                  </a:lnTo>
                  <a:lnTo>
                    <a:pt x="196" y="276"/>
                  </a:lnTo>
                  <a:lnTo>
                    <a:pt x="197" y="277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202" y="280"/>
                  </a:lnTo>
                  <a:lnTo>
                    <a:pt x="204" y="280"/>
                  </a:lnTo>
                  <a:lnTo>
                    <a:pt x="204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7" y="280"/>
                  </a:lnTo>
                  <a:lnTo>
                    <a:pt x="207" y="280"/>
                  </a:lnTo>
                  <a:lnTo>
                    <a:pt x="208" y="279"/>
                  </a:lnTo>
                  <a:lnTo>
                    <a:pt x="208" y="279"/>
                  </a:lnTo>
                  <a:lnTo>
                    <a:pt x="207" y="277"/>
                  </a:lnTo>
                  <a:lnTo>
                    <a:pt x="208" y="276"/>
                  </a:lnTo>
                  <a:lnTo>
                    <a:pt x="210" y="276"/>
                  </a:lnTo>
                  <a:lnTo>
                    <a:pt x="211" y="274"/>
                  </a:lnTo>
                  <a:lnTo>
                    <a:pt x="211" y="274"/>
                  </a:lnTo>
                  <a:lnTo>
                    <a:pt x="211" y="272"/>
                  </a:lnTo>
                  <a:lnTo>
                    <a:pt x="211" y="269"/>
                  </a:lnTo>
                  <a:lnTo>
                    <a:pt x="211" y="266"/>
                  </a:lnTo>
                  <a:lnTo>
                    <a:pt x="210" y="265"/>
                  </a:lnTo>
                  <a:lnTo>
                    <a:pt x="208" y="263"/>
                  </a:lnTo>
                  <a:lnTo>
                    <a:pt x="205" y="259"/>
                  </a:lnTo>
                  <a:lnTo>
                    <a:pt x="205" y="257"/>
                  </a:lnTo>
                  <a:lnTo>
                    <a:pt x="204" y="254"/>
                  </a:lnTo>
                  <a:lnTo>
                    <a:pt x="204" y="252"/>
                  </a:lnTo>
                  <a:lnTo>
                    <a:pt x="205" y="251"/>
                  </a:lnTo>
                  <a:lnTo>
                    <a:pt x="205" y="251"/>
                  </a:lnTo>
                  <a:lnTo>
                    <a:pt x="207" y="249"/>
                  </a:lnTo>
                  <a:lnTo>
                    <a:pt x="205" y="248"/>
                  </a:lnTo>
                  <a:lnTo>
                    <a:pt x="204" y="243"/>
                  </a:lnTo>
                  <a:lnTo>
                    <a:pt x="204" y="242"/>
                  </a:lnTo>
                  <a:lnTo>
                    <a:pt x="204" y="240"/>
                  </a:lnTo>
                  <a:lnTo>
                    <a:pt x="205" y="236"/>
                  </a:lnTo>
                  <a:lnTo>
                    <a:pt x="207" y="234"/>
                  </a:lnTo>
                  <a:lnTo>
                    <a:pt x="211" y="232"/>
                  </a:lnTo>
                  <a:lnTo>
                    <a:pt x="216" y="232"/>
                  </a:lnTo>
                  <a:lnTo>
                    <a:pt x="219" y="234"/>
                  </a:lnTo>
                  <a:lnTo>
                    <a:pt x="217" y="226"/>
                  </a:lnTo>
                  <a:lnTo>
                    <a:pt x="217" y="223"/>
                  </a:lnTo>
                  <a:lnTo>
                    <a:pt x="217" y="223"/>
                  </a:lnTo>
                  <a:lnTo>
                    <a:pt x="217" y="220"/>
                  </a:lnTo>
                  <a:lnTo>
                    <a:pt x="219" y="217"/>
                  </a:lnTo>
                  <a:lnTo>
                    <a:pt x="222" y="212"/>
                  </a:lnTo>
                  <a:lnTo>
                    <a:pt x="220" y="212"/>
                  </a:lnTo>
                  <a:lnTo>
                    <a:pt x="222" y="211"/>
                  </a:lnTo>
                  <a:lnTo>
                    <a:pt x="231" y="203"/>
                  </a:lnTo>
                  <a:lnTo>
                    <a:pt x="233" y="203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1" y="200"/>
                  </a:lnTo>
                  <a:lnTo>
                    <a:pt x="233" y="200"/>
                  </a:lnTo>
                  <a:lnTo>
                    <a:pt x="237" y="200"/>
                  </a:lnTo>
                  <a:lnTo>
                    <a:pt x="239" y="200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2" y="203"/>
                  </a:lnTo>
                  <a:lnTo>
                    <a:pt x="242" y="203"/>
                  </a:lnTo>
                  <a:lnTo>
                    <a:pt x="242" y="205"/>
                  </a:lnTo>
                  <a:lnTo>
                    <a:pt x="244" y="206"/>
                  </a:lnTo>
                  <a:lnTo>
                    <a:pt x="244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7" y="206"/>
                  </a:lnTo>
                  <a:lnTo>
                    <a:pt x="247" y="206"/>
                  </a:lnTo>
                  <a:lnTo>
                    <a:pt x="247" y="205"/>
                  </a:lnTo>
                  <a:lnTo>
                    <a:pt x="247" y="205"/>
                  </a:lnTo>
                  <a:lnTo>
                    <a:pt x="248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8" y="200"/>
                  </a:lnTo>
                  <a:lnTo>
                    <a:pt x="247" y="194"/>
                  </a:lnTo>
                  <a:lnTo>
                    <a:pt x="244" y="191"/>
                  </a:lnTo>
                  <a:lnTo>
                    <a:pt x="242" y="189"/>
                  </a:lnTo>
                  <a:lnTo>
                    <a:pt x="240" y="191"/>
                  </a:lnTo>
                  <a:lnTo>
                    <a:pt x="240" y="189"/>
                  </a:lnTo>
                  <a:lnTo>
                    <a:pt x="242" y="189"/>
                  </a:lnTo>
                  <a:lnTo>
                    <a:pt x="242" y="188"/>
                  </a:lnTo>
                  <a:lnTo>
                    <a:pt x="240" y="186"/>
                  </a:lnTo>
                  <a:lnTo>
                    <a:pt x="240" y="186"/>
                  </a:lnTo>
                  <a:lnTo>
                    <a:pt x="239" y="186"/>
                  </a:lnTo>
                  <a:lnTo>
                    <a:pt x="237" y="186"/>
                  </a:lnTo>
                  <a:lnTo>
                    <a:pt x="237" y="185"/>
                  </a:lnTo>
                  <a:lnTo>
                    <a:pt x="239" y="183"/>
                  </a:lnTo>
                  <a:lnTo>
                    <a:pt x="239" y="183"/>
                  </a:lnTo>
                  <a:lnTo>
                    <a:pt x="240" y="183"/>
                  </a:lnTo>
                  <a:lnTo>
                    <a:pt x="242" y="180"/>
                  </a:lnTo>
                  <a:lnTo>
                    <a:pt x="244" y="180"/>
                  </a:lnTo>
                  <a:lnTo>
                    <a:pt x="245" y="180"/>
                  </a:lnTo>
                  <a:lnTo>
                    <a:pt x="247" y="180"/>
                  </a:lnTo>
                  <a:lnTo>
                    <a:pt x="247" y="182"/>
                  </a:lnTo>
                  <a:lnTo>
                    <a:pt x="248" y="183"/>
                  </a:lnTo>
                  <a:lnTo>
                    <a:pt x="250" y="185"/>
                  </a:lnTo>
                  <a:lnTo>
                    <a:pt x="251" y="183"/>
                  </a:lnTo>
                  <a:lnTo>
                    <a:pt x="253" y="183"/>
                  </a:lnTo>
                  <a:lnTo>
                    <a:pt x="254" y="182"/>
                  </a:lnTo>
                  <a:lnTo>
                    <a:pt x="256" y="180"/>
                  </a:lnTo>
                  <a:lnTo>
                    <a:pt x="259" y="182"/>
                  </a:lnTo>
                  <a:lnTo>
                    <a:pt x="262" y="182"/>
                  </a:lnTo>
                  <a:lnTo>
                    <a:pt x="262" y="180"/>
                  </a:lnTo>
                  <a:lnTo>
                    <a:pt x="264" y="177"/>
                  </a:lnTo>
                  <a:lnTo>
                    <a:pt x="264" y="175"/>
                  </a:lnTo>
                  <a:lnTo>
                    <a:pt x="265" y="175"/>
                  </a:lnTo>
                  <a:lnTo>
                    <a:pt x="267" y="175"/>
                  </a:lnTo>
                  <a:lnTo>
                    <a:pt x="268" y="175"/>
                  </a:lnTo>
                  <a:lnTo>
                    <a:pt x="268" y="175"/>
                  </a:lnTo>
                  <a:lnTo>
                    <a:pt x="270" y="174"/>
                  </a:lnTo>
                  <a:lnTo>
                    <a:pt x="271" y="174"/>
                  </a:lnTo>
                  <a:lnTo>
                    <a:pt x="273" y="174"/>
                  </a:lnTo>
                  <a:lnTo>
                    <a:pt x="273" y="175"/>
                  </a:lnTo>
                  <a:lnTo>
                    <a:pt x="274" y="179"/>
                  </a:lnTo>
                  <a:lnTo>
                    <a:pt x="276" y="180"/>
                  </a:lnTo>
                  <a:lnTo>
                    <a:pt x="276" y="180"/>
                  </a:lnTo>
                  <a:lnTo>
                    <a:pt x="276" y="180"/>
                  </a:lnTo>
                  <a:lnTo>
                    <a:pt x="277" y="177"/>
                  </a:lnTo>
                  <a:lnTo>
                    <a:pt x="277" y="177"/>
                  </a:lnTo>
                  <a:lnTo>
                    <a:pt x="281" y="179"/>
                  </a:lnTo>
                  <a:lnTo>
                    <a:pt x="282" y="179"/>
                  </a:lnTo>
                  <a:lnTo>
                    <a:pt x="282" y="177"/>
                  </a:lnTo>
                  <a:lnTo>
                    <a:pt x="282" y="177"/>
                  </a:lnTo>
                  <a:lnTo>
                    <a:pt x="281" y="177"/>
                  </a:lnTo>
                  <a:lnTo>
                    <a:pt x="281" y="175"/>
                  </a:lnTo>
                  <a:lnTo>
                    <a:pt x="281" y="174"/>
                  </a:lnTo>
                  <a:lnTo>
                    <a:pt x="281" y="172"/>
                  </a:lnTo>
                  <a:lnTo>
                    <a:pt x="281" y="171"/>
                  </a:lnTo>
                  <a:lnTo>
                    <a:pt x="284" y="169"/>
                  </a:lnTo>
                  <a:lnTo>
                    <a:pt x="282" y="166"/>
                  </a:lnTo>
                  <a:lnTo>
                    <a:pt x="281" y="162"/>
                  </a:lnTo>
                  <a:lnTo>
                    <a:pt x="279" y="157"/>
                  </a:lnTo>
                  <a:lnTo>
                    <a:pt x="271" y="149"/>
                  </a:lnTo>
                  <a:lnTo>
                    <a:pt x="268" y="143"/>
                  </a:lnTo>
                  <a:lnTo>
                    <a:pt x="265" y="140"/>
                  </a:lnTo>
                  <a:lnTo>
                    <a:pt x="264" y="138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4" y="135"/>
                  </a:lnTo>
                  <a:lnTo>
                    <a:pt x="264" y="135"/>
                  </a:lnTo>
                  <a:lnTo>
                    <a:pt x="264" y="134"/>
                  </a:lnTo>
                  <a:lnTo>
                    <a:pt x="264" y="132"/>
                  </a:lnTo>
                  <a:lnTo>
                    <a:pt x="264" y="132"/>
                  </a:lnTo>
                  <a:lnTo>
                    <a:pt x="265" y="132"/>
                  </a:lnTo>
                  <a:lnTo>
                    <a:pt x="267" y="132"/>
                  </a:lnTo>
                  <a:lnTo>
                    <a:pt x="268" y="132"/>
                  </a:lnTo>
                  <a:lnTo>
                    <a:pt x="270" y="134"/>
                  </a:lnTo>
                  <a:lnTo>
                    <a:pt x="271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9" y="135"/>
                  </a:lnTo>
                  <a:lnTo>
                    <a:pt x="282" y="135"/>
                  </a:lnTo>
                  <a:lnTo>
                    <a:pt x="285" y="135"/>
                  </a:lnTo>
                  <a:lnTo>
                    <a:pt x="287" y="135"/>
                  </a:lnTo>
                  <a:lnTo>
                    <a:pt x="290" y="132"/>
                  </a:lnTo>
                  <a:lnTo>
                    <a:pt x="291" y="131"/>
                  </a:lnTo>
                  <a:lnTo>
                    <a:pt x="291" y="129"/>
                  </a:lnTo>
                  <a:lnTo>
                    <a:pt x="291" y="128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102"/>
            <p:cNvSpPr>
              <a:spLocks/>
            </p:cNvSpPr>
            <p:nvPr/>
          </p:nvSpPr>
          <p:spPr bwMode="gray">
            <a:xfrm>
              <a:off x="7540625" y="7478713"/>
              <a:ext cx="461963" cy="444500"/>
            </a:xfrm>
            <a:custGeom>
              <a:avLst/>
              <a:gdLst>
                <a:gd name="T0" fmla="*/ 282 w 291"/>
                <a:gd name="T1" fmla="*/ 122 h 280"/>
                <a:gd name="T2" fmla="*/ 273 w 291"/>
                <a:gd name="T3" fmla="*/ 115 h 280"/>
                <a:gd name="T4" fmla="*/ 264 w 291"/>
                <a:gd name="T5" fmla="*/ 105 h 280"/>
                <a:gd name="T6" fmla="*/ 256 w 291"/>
                <a:gd name="T7" fmla="*/ 89 h 280"/>
                <a:gd name="T8" fmla="*/ 259 w 291"/>
                <a:gd name="T9" fmla="*/ 74 h 280"/>
                <a:gd name="T10" fmla="*/ 270 w 291"/>
                <a:gd name="T11" fmla="*/ 57 h 280"/>
                <a:gd name="T12" fmla="*/ 271 w 291"/>
                <a:gd name="T13" fmla="*/ 40 h 280"/>
                <a:gd name="T14" fmla="*/ 264 w 291"/>
                <a:gd name="T15" fmla="*/ 38 h 280"/>
                <a:gd name="T16" fmla="*/ 248 w 291"/>
                <a:gd name="T17" fmla="*/ 43 h 280"/>
                <a:gd name="T18" fmla="*/ 228 w 291"/>
                <a:gd name="T19" fmla="*/ 34 h 280"/>
                <a:gd name="T20" fmla="*/ 230 w 291"/>
                <a:gd name="T21" fmla="*/ 29 h 280"/>
                <a:gd name="T22" fmla="*/ 220 w 291"/>
                <a:gd name="T23" fmla="*/ 20 h 280"/>
                <a:gd name="T24" fmla="*/ 216 w 291"/>
                <a:gd name="T25" fmla="*/ 18 h 280"/>
                <a:gd name="T26" fmla="*/ 211 w 291"/>
                <a:gd name="T27" fmla="*/ 21 h 280"/>
                <a:gd name="T28" fmla="*/ 200 w 291"/>
                <a:gd name="T29" fmla="*/ 17 h 280"/>
                <a:gd name="T30" fmla="*/ 184 w 291"/>
                <a:gd name="T31" fmla="*/ 18 h 280"/>
                <a:gd name="T32" fmla="*/ 170 w 291"/>
                <a:gd name="T33" fmla="*/ 14 h 280"/>
                <a:gd name="T34" fmla="*/ 150 w 291"/>
                <a:gd name="T35" fmla="*/ 14 h 280"/>
                <a:gd name="T36" fmla="*/ 133 w 291"/>
                <a:gd name="T37" fmla="*/ 17 h 280"/>
                <a:gd name="T38" fmla="*/ 130 w 291"/>
                <a:gd name="T39" fmla="*/ 12 h 280"/>
                <a:gd name="T40" fmla="*/ 114 w 291"/>
                <a:gd name="T41" fmla="*/ 12 h 280"/>
                <a:gd name="T42" fmla="*/ 97 w 291"/>
                <a:gd name="T43" fmla="*/ 6 h 280"/>
                <a:gd name="T44" fmla="*/ 94 w 291"/>
                <a:gd name="T45" fmla="*/ 5 h 280"/>
                <a:gd name="T46" fmla="*/ 86 w 291"/>
                <a:gd name="T47" fmla="*/ 3 h 280"/>
                <a:gd name="T48" fmla="*/ 80 w 291"/>
                <a:gd name="T49" fmla="*/ 11 h 280"/>
                <a:gd name="T50" fmla="*/ 50 w 291"/>
                <a:gd name="T51" fmla="*/ 18 h 280"/>
                <a:gd name="T52" fmla="*/ 40 w 291"/>
                <a:gd name="T53" fmla="*/ 28 h 280"/>
                <a:gd name="T54" fmla="*/ 23 w 291"/>
                <a:gd name="T55" fmla="*/ 9 h 280"/>
                <a:gd name="T56" fmla="*/ 5 w 291"/>
                <a:gd name="T57" fmla="*/ 12 h 280"/>
                <a:gd name="T58" fmla="*/ 2 w 291"/>
                <a:gd name="T59" fmla="*/ 37 h 280"/>
                <a:gd name="T60" fmla="*/ 2 w 291"/>
                <a:gd name="T61" fmla="*/ 54 h 280"/>
                <a:gd name="T62" fmla="*/ 11 w 291"/>
                <a:gd name="T63" fmla="*/ 60 h 280"/>
                <a:gd name="T64" fmla="*/ 16 w 291"/>
                <a:gd name="T65" fmla="*/ 61 h 280"/>
                <a:gd name="T66" fmla="*/ 25 w 291"/>
                <a:gd name="T67" fmla="*/ 69 h 280"/>
                <a:gd name="T68" fmla="*/ 28 w 291"/>
                <a:gd name="T69" fmla="*/ 78 h 280"/>
                <a:gd name="T70" fmla="*/ 33 w 291"/>
                <a:gd name="T71" fmla="*/ 94 h 280"/>
                <a:gd name="T72" fmla="*/ 37 w 291"/>
                <a:gd name="T73" fmla="*/ 100 h 280"/>
                <a:gd name="T74" fmla="*/ 46 w 291"/>
                <a:gd name="T75" fmla="*/ 125 h 280"/>
                <a:gd name="T76" fmla="*/ 57 w 291"/>
                <a:gd name="T77" fmla="*/ 132 h 280"/>
                <a:gd name="T78" fmla="*/ 74 w 291"/>
                <a:gd name="T79" fmla="*/ 155 h 280"/>
                <a:gd name="T80" fmla="*/ 117 w 291"/>
                <a:gd name="T81" fmla="*/ 191 h 280"/>
                <a:gd name="T82" fmla="*/ 130 w 291"/>
                <a:gd name="T83" fmla="*/ 220 h 280"/>
                <a:gd name="T84" fmla="*/ 143 w 291"/>
                <a:gd name="T85" fmla="*/ 240 h 280"/>
                <a:gd name="T86" fmla="*/ 147 w 291"/>
                <a:gd name="T87" fmla="*/ 245 h 280"/>
                <a:gd name="T88" fmla="*/ 157 w 291"/>
                <a:gd name="T89" fmla="*/ 246 h 280"/>
                <a:gd name="T90" fmla="*/ 188 w 291"/>
                <a:gd name="T91" fmla="*/ 272 h 280"/>
                <a:gd name="T92" fmla="*/ 204 w 291"/>
                <a:gd name="T93" fmla="*/ 280 h 280"/>
                <a:gd name="T94" fmla="*/ 210 w 291"/>
                <a:gd name="T95" fmla="*/ 276 h 280"/>
                <a:gd name="T96" fmla="*/ 204 w 291"/>
                <a:gd name="T97" fmla="*/ 254 h 280"/>
                <a:gd name="T98" fmla="*/ 207 w 291"/>
                <a:gd name="T99" fmla="*/ 234 h 280"/>
                <a:gd name="T100" fmla="*/ 220 w 291"/>
                <a:gd name="T101" fmla="*/ 212 h 280"/>
                <a:gd name="T102" fmla="*/ 242 w 291"/>
                <a:gd name="T103" fmla="*/ 202 h 280"/>
                <a:gd name="T104" fmla="*/ 247 w 291"/>
                <a:gd name="T105" fmla="*/ 206 h 280"/>
                <a:gd name="T106" fmla="*/ 242 w 291"/>
                <a:gd name="T107" fmla="*/ 189 h 280"/>
                <a:gd name="T108" fmla="*/ 239 w 291"/>
                <a:gd name="T109" fmla="*/ 183 h 280"/>
                <a:gd name="T110" fmla="*/ 251 w 291"/>
                <a:gd name="T111" fmla="*/ 183 h 280"/>
                <a:gd name="T112" fmla="*/ 267 w 291"/>
                <a:gd name="T113" fmla="*/ 175 h 280"/>
                <a:gd name="T114" fmla="*/ 276 w 291"/>
                <a:gd name="T115" fmla="*/ 180 h 280"/>
                <a:gd name="T116" fmla="*/ 281 w 291"/>
                <a:gd name="T117" fmla="*/ 172 h 280"/>
                <a:gd name="T118" fmla="*/ 262 w 291"/>
                <a:gd name="T119" fmla="*/ 137 h 280"/>
                <a:gd name="T120" fmla="*/ 270 w 291"/>
                <a:gd name="T121" fmla="*/ 134 h 280"/>
                <a:gd name="T122" fmla="*/ 291 w 291"/>
                <a:gd name="T123" fmla="*/ 13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" h="280">
                  <a:moveTo>
                    <a:pt x="291" y="128"/>
                  </a:moveTo>
                  <a:lnTo>
                    <a:pt x="290" y="126"/>
                  </a:lnTo>
                  <a:lnTo>
                    <a:pt x="290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7" y="126"/>
                  </a:lnTo>
                  <a:lnTo>
                    <a:pt x="284" y="125"/>
                  </a:lnTo>
                  <a:lnTo>
                    <a:pt x="284" y="123"/>
                  </a:lnTo>
                  <a:lnTo>
                    <a:pt x="282" y="122"/>
                  </a:lnTo>
                  <a:lnTo>
                    <a:pt x="281" y="122"/>
                  </a:lnTo>
                  <a:lnTo>
                    <a:pt x="281" y="120"/>
                  </a:lnTo>
                  <a:lnTo>
                    <a:pt x="281" y="118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7"/>
                  </a:lnTo>
                  <a:lnTo>
                    <a:pt x="273" y="115"/>
                  </a:lnTo>
                  <a:lnTo>
                    <a:pt x="273" y="114"/>
                  </a:lnTo>
                  <a:lnTo>
                    <a:pt x="271" y="112"/>
                  </a:lnTo>
                  <a:lnTo>
                    <a:pt x="271" y="111"/>
                  </a:lnTo>
                  <a:lnTo>
                    <a:pt x="271" y="108"/>
                  </a:lnTo>
                  <a:lnTo>
                    <a:pt x="270" y="106"/>
                  </a:lnTo>
                  <a:lnTo>
                    <a:pt x="268" y="105"/>
                  </a:lnTo>
                  <a:lnTo>
                    <a:pt x="267" y="105"/>
                  </a:lnTo>
                  <a:lnTo>
                    <a:pt x="265" y="105"/>
                  </a:lnTo>
                  <a:lnTo>
                    <a:pt x="264" y="105"/>
                  </a:lnTo>
                  <a:lnTo>
                    <a:pt x="264" y="105"/>
                  </a:lnTo>
                  <a:lnTo>
                    <a:pt x="262" y="105"/>
                  </a:lnTo>
                  <a:lnTo>
                    <a:pt x="259" y="103"/>
                  </a:lnTo>
                  <a:lnTo>
                    <a:pt x="257" y="103"/>
                  </a:lnTo>
                  <a:lnTo>
                    <a:pt x="256" y="102"/>
                  </a:lnTo>
                  <a:lnTo>
                    <a:pt x="254" y="98"/>
                  </a:lnTo>
                  <a:lnTo>
                    <a:pt x="253" y="95"/>
                  </a:lnTo>
                  <a:lnTo>
                    <a:pt x="253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6" y="89"/>
                  </a:lnTo>
                  <a:lnTo>
                    <a:pt x="256" y="86"/>
                  </a:lnTo>
                  <a:lnTo>
                    <a:pt x="254" y="82"/>
                  </a:lnTo>
                  <a:lnTo>
                    <a:pt x="254" y="80"/>
                  </a:lnTo>
                  <a:lnTo>
                    <a:pt x="257" y="78"/>
                  </a:lnTo>
                  <a:lnTo>
                    <a:pt x="257" y="78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4" y="66"/>
                  </a:lnTo>
                  <a:lnTo>
                    <a:pt x="265" y="63"/>
                  </a:lnTo>
                  <a:lnTo>
                    <a:pt x="265" y="61"/>
                  </a:lnTo>
                  <a:lnTo>
                    <a:pt x="267" y="61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70" y="57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3" y="41"/>
                  </a:lnTo>
                  <a:lnTo>
                    <a:pt x="273" y="41"/>
                  </a:lnTo>
                  <a:lnTo>
                    <a:pt x="273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64" y="38"/>
                  </a:lnTo>
                  <a:lnTo>
                    <a:pt x="262" y="38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59" y="37"/>
                  </a:lnTo>
                  <a:lnTo>
                    <a:pt x="259" y="37"/>
                  </a:lnTo>
                  <a:lnTo>
                    <a:pt x="257" y="37"/>
                  </a:lnTo>
                  <a:lnTo>
                    <a:pt x="251" y="41"/>
                  </a:lnTo>
                  <a:lnTo>
                    <a:pt x="250" y="43"/>
                  </a:lnTo>
                  <a:lnTo>
                    <a:pt x="248" y="43"/>
                  </a:lnTo>
                  <a:lnTo>
                    <a:pt x="247" y="43"/>
                  </a:lnTo>
                  <a:lnTo>
                    <a:pt x="245" y="43"/>
                  </a:lnTo>
                  <a:lnTo>
                    <a:pt x="237" y="45"/>
                  </a:lnTo>
                  <a:lnTo>
                    <a:pt x="234" y="43"/>
                  </a:lnTo>
                  <a:lnTo>
                    <a:pt x="233" y="41"/>
                  </a:lnTo>
                  <a:lnTo>
                    <a:pt x="233" y="41"/>
                  </a:lnTo>
                  <a:lnTo>
                    <a:pt x="231" y="41"/>
                  </a:lnTo>
                  <a:lnTo>
                    <a:pt x="230" y="38"/>
                  </a:lnTo>
                  <a:lnTo>
                    <a:pt x="228" y="35"/>
                  </a:lnTo>
                  <a:lnTo>
                    <a:pt x="228" y="34"/>
                  </a:lnTo>
                  <a:lnTo>
                    <a:pt x="230" y="34"/>
                  </a:lnTo>
                  <a:lnTo>
                    <a:pt x="231" y="32"/>
                  </a:lnTo>
                  <a:lnTo>
                    <a:pt x="230" y="32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8"/>
                  </a:lnTo>
                  <a:lnTo>
                    <a:pt x="228" y="28"/>
                  </a:lnTo>
                  <a:lnTo>
                    <a:pt x="227" y="28"/>
                  </a:lnTo>
                  <a:lnTo>
                    <a:pt x="225" y="28"/>
                  </a:lnTo>
                  <a:lnTo>
                    <a:pt x="225" y="26"/>
                  </a:lnTo>
                  <a:lnTo>
                    <a:pt x="222" y="21"/>
                  </a:lnTo>
                  <a:lnTo>
                    <a:pt x="222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1"/>
                  </a:lnTo>
                  <a:lnTo>
                    <a:pt x="220" y="21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7" y="21"/>
                  </a:lnTo>
                  <a:lnTo>
                    <a:pt x="217" y="21"/>
                  </a:lnTo>
                  <a:lnTo>
                    <a:pt x="217" y="20"/>
                  </a:lnTo>
                  <a:lnTo>
                    <a:pt x="216" y="18"/>
                  </a:lnTo>
                  <a:lnTo>
                    <a:pt x="216" y="18"/>
                  </a:lnTo>
                  <a:lnTo>
                    <a:pt x="216" y="18"/>
                  </a:lnTo>
                  <a:lnTo>
                    <a:pt x="214" y="20"/>
                  </a:lnTo>
                  <a:lnTo>
                    <a:pt x="214" y="20"/>
                  </a:lnTo>
                  <a:lnTo>
                    <a:pt x="213" y="20"/>
                  </a:lnTo>
                  <a:lnTo>
                    <a:pt x="213" y="20"/>
                  </a:lnTo>
                  <a:lnTo>
                    <a:pt x="211" y="20"/>
                  </a:lnTo>
                  <a:lnTo>
                    <a:pt x="211" y="20"/>
                  </a:lnTo>
                  <a:lnTo>
                    <a:pt x="211" y="20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3"/>
                  </a:lnTo>
                  <a:lnTo>
                    <a:pt x="210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5" y="21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2" y="18"/>
                  </a:lnTo>
                  <a:lnTo>
                    <a:pt x="202" y="17"/>
                  </a:lnTo>
                  <a:lnTo>
                    <a:pt x="200" y="17"/>
                  </a:lnTo>
                  <a:lnTo>
                    <a:pt x="194" y="17"/>
                  </a:lnTo>
                  <a:lnTo>
                    <a:pt x="194" y="15"/>
                  </a:lnTo>
                  <a:lnTo>
                    <a:pt x="190" y="14"/>
                  </a:lnTo>
                  <a:lnTo>
                    <a:pt x="188" y="12"/>
                  </a:lnTo>
                  <a:lnTo>
                    <a:pt x="187" y="14"/>
                  </a:lnTo>
                  <a:lnTo>
                    <a:pt x="185" y="14"/>
                  </a:lnTo>
                  <a:lnTo>
                    <a:pt x="185" y="15"/>
                  </a:lnTo>
                  <a:lnTo>
                    <a:pt x="185" y="17"/>
                  </a:lnTo>
                  <a:lnTo>
                    <a:pt x="185" y="18"/>
                  </a:lnTo>
                  <a:lnTo>
                    <a:pt x="184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0" y="18"/>
                  </a:lnTo>
                  <a:lnTo>
                    <a:pt x="179" y="18"/>
                  </a:lnTo>
                  <a:lnTo>
                    <a:pt x="177" y="18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1" y="14"/>
                  </a:lnTo>
                  <a:lnTo>
                    <a:pt x="170" y="14"/>
                  </a:lnTo>
                  <a:lnTo>
                    <a:pt x="165" y="20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2" y="21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7" y="21"/>
                  </a:lnTo>
                  <a:lnTo>
                    <a:pt x="156" y="20"/>
                  </a:lnTo>
                  <a:lnTo>
                    <a:pt x="151" y="15"/>
                  </a:lnTo>
                  <a:lnTo>
                    <a:pt x="150" y="14"/>
                  </a:lnTo>
                  <a:lnTo>
                    <a:pt x="147" y="12"/>
                  </a:lnTo>
                  <a:lnTo>
                    <a:pt x="145" y="12"/>
                  </a:lnTo>
                  <a:lnTo>
                    <a:pt x="143" y="12"/>
                  </a:lnTo>
                  <a:lnTo>
                    <a:pt x="140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0" y="15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7" y="14"/>
                  </a:lnTo>
                  <a:lnTo>
                    <a:pt x="125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0" y="12"/>
                  </a:lnTo>
                  <a:lnTo>
                    <a:pt x="119" y="11"/>
                  </a:lnTo>
                  <a:lnTo>
                    <a:pt x="116" y="9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05" y="12"/>
                  </a:lnTo>
                  <a:lnTo>
                    <a:pt x="103" y="11"/>
                  </a:lnTo>
                  <a:lnTo>
                    <a:pt x="100" y="8"/>
                  </a:lnTo>
                  <a:lnTo>
                    <a:pt x="99" y="5"/>
                  </a:lnTo>
                  <a:lnTo>
                    <a:pt x="99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3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4" y="3"/>
                  </a:lnTo>
                  <a:lnTo>
                    <a:pt x="93" y="3"/>
                  </a:lnTo>
                  <a:lnTo>
                    <a:pt x="94" y="3"/>
                  </a:lnTo>
                  <a:lnTo>
                    <a:pt x="94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3"/>
                  </a:lnTo>
                  <a:lnTo>
                    <a:pt x="91" y="1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5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65" y="6"/>
                  </a:lnTo>
                  <a:lnTo>
                    <a:pt x="62" y="6"/>
                  </a:lnTo>
                  <a:lnTo>
                    <a:pt x="57" y="8"/>
                  </a:lnTo>
                  <a:lnTo>
                    <a:pt x="56" y="14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48" y="25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6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0" y="28"/>
                  </a:lnTo>
                  <a:lnTo>
                    <a:pt x="37" y="26"/>
                  </a:lnTo>
                  <a:lnTo>
                    <a:pt x="31" y="20"/>
                  </a:lnTo>
                  <a:lnTo>
                    <a:pt x="29" y="17"/>
                  </a:lnTo>
                  <a:lnTo>
                    <a:pt x="28" y="14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6"/>
                  </a:lnTo>
                  <a:lnTo>
                    <a:pt x="13" y="6"/>
                  </a:lnTo>
                  <a:lnTo>
                    <a:pt x="9" y="8"/>
                  </a:lnTo>
                  <a:lnTo>
                    <a:pt x="6" y="9"/>
                  </a:lnTo>
                  <a:lnTo>
                    <a:pt x="6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8"/>
                  </a:lnTo>
                  <a:lnTo>
                    <a:pt x="5" y="20"/>
                  </a:lnTo>
                  <a:lnTo>
                    <a:pt x="3" y="25"/>
                  </a:lnTo>
                  <a:lnTo>
                    <a:pt x="3" y="26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2" y="35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40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5" y="46"/>
                  </a:lnTo>
                  <a:lnTo>
                    <a:pt x="5" y="48"/>
                  </a:lnTo>
                  <a:lnTo>
                    <a:pt x="3" y="48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2" y="54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9" y="66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3" y="74"/>
                  </a:lnTo>
                  <a:lnTo>
                    <a:pt x="23" y="75"/>
                  </a:lnTo>
                  <a:lnTo>
                    <a:pt x="22" y="77"/>
                  </a:lnTo>
                  <a:lnTo>
                    <a:pt x="23" y="78"/>
                  </a:lnTo>
                  <a:lnTo>
                    <a:pt x="25" y="78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31" y="80"/>
                  </a:lnTo>
                  <a:lnTo>
                    <a:pt x="31" y="82"/>
                  </a:lnTo>
                  <a:lnTo>
                    <a:pt x="31" y="83"/>
                  </a:lnTo>
                  <a:lnTo>
                    <a:pt x="33" y="88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4" y="94"/>
                  </a:lnTo>
                  <a:lnTo>
                    <a:pt x="36" y="95"/>
                  </a:lnTo>
                  <a:lnTo>
                    <a:pt x="37" y="95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36" y="102"/>
                  </a:lnTo>
                  <a:lnTo>
                    <a:pt x="36" y="103"/>
                  </a:lnTo>
                  <a:lnTo>
                    <a:pt x="36" y="105"/>
                  </a:lnTo>
                  <a:lnTo>
                    <a:pt x="37" y="108"/>
                  </a:lnTo>
                  <a:lnTo>
                    <a:pt x="37" y="112"/>
                  </a:lnTo>
                  <a:lnTo>
                    <a:pt x="39" y="114"/>
                  </a:lnTo>
                  <a:lnTo>
                    <a:pt x="42" y="117"/>
                  </a:lnTo>
                  <a:lnTo>
                    <a:pt x="43" y="118"/>
                  </a:lnTo>
                  <a:lnTo>
                    <a:pt x="45" y="123"/>
                  </a:lnTo>
                  <a:lnTo>
                    <a:pt x="46" y="125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50" y="128"/>
                  </a:lnTo>
                  <a:lnTo>
                    <a:pt x="50" y="128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4" y="132"/>
                  </a:lnTo>
                  <a:lnTo>
                    <a:pt x="57" y="132"/>
                  </a:lnTo>
                  <a:lnTo>
                    <a:pt x="59" y="134"/>
                  </a:lnTo>
                  <a:lnTo>
                    <a:pt x="60" y="135"/>
                  </a:lnTo>
                  <a:lnTo>
                    <a:pt x="62" y="137"/>
                  </a:lnTo>
                  <a:lnTo>
                    <a:pt x="63" y="140"/>
                  </a:lnTo>
                  <a:lnTo>
                    <a:pt x="66" y="143"/>
                  </a:lnTo>
                  <a:lnTo>
                    <a:pt x="70" y="146"/>
                  </a:lnTo>
                  <a:lnTo>
                    <a:pt x="73" y="149"/>
                  </a:lnTo>
                  <a:lnTo>
                    <a:pt x="73" y="151"/>
                  </a:lnTo>
                  <a:lnTo>
                    <a:pt x="73" y="152"/>
                  </a:lnTo>
                  <a:lnTo>
                    <a:pt x="74" y="155"/>
                  </a:lnTo>
                  <a:lnTo>
                    <a:pt x="74" y="157"/>
                  </a:lnTo>
                  <a:lnTo>
                    <a:pt x="83" y="163"/>
                  </a:lnTo>
                  <a:lnTo>
                    <a:pt x="94" y="175"/>
                  </a:lnTo>
                  <a:lnTo>
                    <a:pt x="99" y="180"/>
                  </a:lnTo>
                  <a:lnTo>
                    <a:pt x="100" y="182"/>
                  </a:lnTo>
                  <a:lnTo>
                    <a:pt x="102" y="183"/>
                  </a:lnTo>
                  <a:lnTo>
                    <a:pt x="106" y="186"/>
                  </a:lnTo>
                  <a:lnTo>
                    <a:pt x="114" y="186"/>
                  </a:lnTo>
                  <a:lnTo>
                    <a:pt x="116" y="188"/>
                  </a:lnTo>
                  <a:lnTo>
                    <a:pt x="117" y="191"/>
                  </a:lnTo>
                  <a:lnTo>
                    <a:pt x="116" y="200"/>
                  </a:lnTo>
                  <a:lnTo>
                    <a:pt x="117" y="205"/>
                  </a:lnTo>
                  <a:lnTo>
                    <a:pt x="120" y="209"/>
                  </a:lnTo>
                  <a:lnTo>
                    <a:pt x="123" y="212"/>
                  </a:lnTo>
                  <a:lnTo>
                    <a:pt x="125" y="212"/>
                  </a:lnTo>
                  <a:lnTo>
                    <a:pt x="127" y="214"/>
                  </a:lnTo>
                  <a:lnTo>
                    <a:pt x="127" y="214"/>
                  </a:lnTo>
                  <a:lnTo>
                    <a:pt x="127" y="217"/>
                  </a:lnTo>
                  <a:lnTo>
                    <a:pt x="128" y="219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3" y="231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45" y="239"/>
                  </a:lnTo>
                  <a:lnTo>
                    <a:pt x="143" y="240"/>
                  </a:lnTo>
                  <a:lnTo>
                    <a:pt x="139" y="242"/>
                  </a:lnTo>
                  <a:lnTo>
                    <a:pt x="140" y="242"/>
                  </a:lnTo>
                  <a:lnTo>
                    <a:pt x="142" y="243"/>
                  </a:lnTo>
                  <a:lnTo>
                    <a:pt x="140" y="243"/>
                  </a:lnTo>
                  <a:lnTo>
                    <a:pt x="139" y="242"/>
                  </a:lnTo>
                  <a:lnTo>
                    <a:pt x="137" y="242"/>
                  </a:lnTo>
                  <a:lnTo>
                    <a:pt x="145" y="246"/>
                  </a:lnTo>
                  <a:lnTo>
                    <a:pt x="145" y="246"/>
                  </a:lnTo>
                  <a:lnTo>
                    <a:pt x="145" y="246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48" y="243"/>
                  </a:lnTo>
                  <a:lnTo>
                    <a:pt x="150" y="245"/>
                  </a:lnTo>
                  <a:lnTo>
                    <a:pt x="153" y="245"/>
                  </a:lnTo>
                  <a:lnTo>
                    <a:pt x="154" y="246"/>
                  </a:lnTo>
                  <a:lnTo>
                    <a:pt x="156" y="245"/>
                  </a:lnTo>
                  <a:lnTo>
                    <a:pt x="156" y="245"/>
                  </a:lnTo>
                  <a:lnTo>
                    <a:pt x="157" y="245"/>
                  </a:lnTo>
                  <a:lnTo>
                    <a:pt x="157" y="246"/>
                  </a:lnTo>
                  <a:lnTo>
                    <a:pt x="157" y="246"/>
                  </a:lnTo>
                  <a:lnTo>
                    <a:pt x="157" y="249"/>
                  </a:lnTo>
                  <a:lnTo>
                    <a:pt x="157" y="251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3" y="256"/>
                  </a:lnTo>
                  <a:lnTo>
                    <a:pt x="165" y="257"/>
                  </a:lnTo>
                  <a:lnTo>
                    <a:pt x="168" y="260"/>
                  </a:lnTo>
                  <a:lnTo>
                    <a:pt x="170" y="262"/>
                  </a:lnTo>
                  <a:lnTo>
                    <a:pt x="174" y="265"/>
                  </a:lnTo>
                  <a:lnTo>
                    <a:pt x="188" y="272"/>
                  </a:lnTo>
                  <a:lnTo>
                    <a:pt x="190" y="274"/>
                  </a:lnTo>
                  <a:lnTo>
                    <a:pt x="194" y="276"/>
                  </a:lnTo>
                  <a:lnTo>
                    <a:pt x="196" y="276"/>
                  </a:lnTo>
                  <a:lnTo>
                    <a:pt x="197" y="277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199" y="279"/>
                  </a:lnTo>
                  <a:lnTo>
                    <a:pt x="202" y="280"/>
                  </a:lnTo>
                  <a:lnTo>
                    <a:pt x="204" y="280"/>
                  </a:lnTo>
                  <a:lnTo>
                    <a:pt x="204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7" y="280"/>
                  </a:lnTo>
                  <a:lnTo>
                    <a:pt x="207" y="280"/>
                  </a:lnTo>
                  <a:lnTo>
                    <a:pt x="208" y="279"/>
                  </a:lnTo>
                  <a:lnTo>
                    <a:pt x="208" y="279"/>
                  </a:lnTo>
                  <a:lnTo>
                    <a:pt x="207" y="277"/>
                  </a:lnTo>
                  <a:lnTo>
                    <a:pt x="208" y="276"/>
                  </a:lnTo>
                  <a:lnTo>
                    <a:pt x="210" y="276"/>
                  </a:lnTo>
                  <a:lnTo>
                    <a:pt x="211" y="274"/>
                  </a:lnTo>
                  <a:lnTo>
                    <a:pt x="211" y="274"/>
                  </a:lnTo>
                  <a:lnTo>
                    <a:pt x="211" y="272"/>
                  </a:lnTo>
                  <a:lnTo>
                    <a:pt x="211" y="269"/>
                  </a:lnTo>
                  <a:lnTo>
                    <a:pt x="211" y="266"/>
                  </a:lnTo>
                  <a:lnTo>
                    <a:pt x="210" y="265"/>
                  </a:lnTo>
                  <a:lnTo>
                    <a:pt x="208" y="263"/>
                  </a:lnTo>
                  <a:lnTo>
                    <a:pt x="205" y="259"/>
                  </a:lnTo>
                  <a:lnTo>
                    <a:pt x="205" y="257"/>
                  </a:lnTo>
                  <a:lnTo>
                    <a:pt x="204" y="254"/>
                  </a:lnTo>
                  <a:lnTo>
                    <a:pt x="204" y="252"/>
                  </a:lnTo>
                  <a:lnTo>
                    <a:pt x="205" y="251"/>
                  </a:lnTo>
                  <a:lnTo>
                    <a:pt x="205" y="251"/>
                  </a:lnTo>
                  <a:lnTo>
                    <a:pt x="207" y="249"/>
                  </a:lnTo>
                  <a:lnTo>
                    <a:pt x="205" y="248"/>
                  </a:lnTo>
                  <a:lnTo>
                    <a:pt x="204" y="243"/>
                  </a:lnTo>
                  <a:lnTo>
                    <a:pt x="204" y="242"/>
                  </a:lnTo>
                  <a:lnTo>
                    <a:pt x="204" y="240"/>
                  </a:lnTo>
                  <a:lnTo>
                    <a:pt x="205" y="236"/>
                  </a:lnTo>
                  <a:lnTo>
                    <a:pt x="207" y="234"/>
                  </a:lnTo>
                  <a:lnTo>
                    <a:pt x="211" y="232"/>
                  </a:lnTo>
                  <a:lnTo>
                    <a:pt x="216" y="232"/>
                  </a:lnTo>
                  <a:lnTo>
                    <a:pt x="219" y="234"/>
                  </a:lnTo>
                  <a:lnTo>
                    <a:pt x="217" y="226"/>
                  </a:lnTo>
                  <a:lnTo>
                    <a:pt x="217" y="223"/>
                  </a:lnTo>
                  <a:lnTo>
                    <a:pt x="217" y="223"/>
                  </a:lnTo>
                  <a:lnTo>
                    <a:pt x="217" y="220"/>
                  </a:lnTo>
                  <a:lnTo>
                    <a:pt x="219" y="217"/>
                  </a:lnTo>
                  <a:lnTo>
                    <a:pt x="222" y="212"/>
                  </a:lnTo>
                  <a:lnTo>
                    <a:pt x="220" y="212"/>
                  </a:lnTo>
                  <a:lnTo>
                    <a:pt x="222" y="211"/>
                  </a:lnTo>
                  <a:lnTo>
                    <a:pt x="231" y="203"/>
                  </a:lnTo>
                  <a:lnTo>
                    <a:pt x="233" y="203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1" y="200"/>
                  </a:lnTo>
                  <a:lnTo>
                    <a:pt x="233" y="200"/>
                  </a:lnTo>
                  <a:lnTo>
                    <a:pt x="237" y="200"/>
                  </a:lnTo>
                  <a:lnTo>
                    <a:pt x="239" y="200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2" y="203"/>
                  </a:lnTo>
                  <a:lnTo>
                    <a:pt x="242" y="203"/>
                  </a:lnTo>
                  <a:lnTo>
                    <a:pt x="242" y="205"/>
                  </a:lnTo>
                  <a:lnTo>
                    <a:pt x="244" y="206"/>
                  </a:lnTo>
                  <a:lnTo>
                    <a:pt x="244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7" y="206"/>
                  </a:lnTo>
                  <a:lnTo>
                    <a:pt x="247" y="206"/>
                  </a:lnTo>
                  <a:lnTo>
                    <a:pt x="247" y="205"/>
                  </a:lnTo>
                  <a:lnTo>
                    <a:pt x="247" y="205"/>
                  </a:lnTo>
                  <a:lnTo>
                    <a:pt x="248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8" y="200"/>
                  </a:lnTo>
                  <a:lnTo>
                    <a:pt x="247" y="194"/>
                  </a:lnTo>
                  <a:lnTo>
                    <a:pt x="244" y="191"/>
                  </a:lnTo>
                  <a:lnTo>
                    <a:pt x="242" y="189"/>
                  </a:lnTo>
                  <a:lnTo>
                    <a:pt x="240" y="191"/>
                  </a:lnTo>
                  <a:lnTo>
                    <a:pt x="240" y="189"/>
                  </a:lnTo>
                  <a:lnTo>
                    <a:pt x="242" y="189"/>
                  </a:lnTo>
                  <a:lnTo>
                    <a:pt x="242" y="188"/>
                  </a:lnTo>
                  <a:lnTo>
                    <a:pt x="240" y="186"/>
                  </a:lnTo>
                  <a:lnTo>
                    <a:pt x="240" y="186"/>
                  </a:lnTo>
                  <a:lnTo>
                    <a:pt x="239" y="186"/>
                  </a:lnTo>
                  <a:lnTo>
                    <a:pt x="237" y="186"/>
                  </a:lnTo>
                  <a:lnTo>
                    <a:pt x="237" y="185"/>
                  </a:lnTo>
                  <a:lnTo>
                    <a:pt x="239" y="183"/>
                  </a:lnTo>
                  <a:lnTo>
                    <a:pt x="239" y="183"/>
                  </a:lnTo>
                  <a:lnTo>
                    <a:pt x="240" y="183"/>
                  </a:lnTo>
                  <a:lnTo>
                    <a:pt x="242" y="180"/>
                  </a:lnTo>
                  <a:lnTo>
                    <a:pt x="244" y="180"/>
                  </a:lnTo>
                  <a:lnTo>
                    <a:pt x="245" y="180"/>
                  </a:lnTo>
                  <a:lnTo>
                    <a:pt x="247" y="180"/>
                  </a:lnTo>
                  <a:lnTo>
                    <a:pt x="247" y="182"/>
                  </a:lnTo>
                  <a:lnTo>
                    <a:pt x="248" y="183"/>
                  </a:lnTo>
                  <a:lnTo>
                    <a:pt x="250" y="185"/>
                  </a:lnTo>
                  <a:lnTo>
                    <a:pt x="251" y="183"/>
                  </a:lnTo>
                  <a:lnTo>
                    <a:pt x="253" y="183"/>
                  </a:lnTo>
                  <a:lnTo>
                    <a:pt x="254" y="182"/>
                  </a:lnTo>
                  <a:lnTo>
                    <a:pt x="256" y="180"/>
                  </a:lnTo>
                  <a:lnTo>
                    <a:pt x="259" y="182"/>
                  </a:lnTo>
                  <a:lnTo>
                    <a:pt x="262" y="182"/>
                  </a:lnTo>
                  <a:lnTo>
                    <a:pt x="262" y="180"/>
                  </a:lnTo>
                  <a:lnTo>
                    <a:pt x="264" y="177"/>
                  </a:lnTo>
                  <a:lnTo>
                    <a:pt x="264" y="175"/>
                  </a:lnTo>
                  <a:lnTo>
                    <a:pt x="265" y="175"/>
                  </a:lnTo>
                  <a:lnTo>
                    <a:pt x="267" y="175"/>
                  </a:lnTo>
                  <a:lnTo>
                    <a:pt x="268" y="175"/>
                  </a:lnTo>
                  <a:lnTo>
                    <a:pt x="268" y="175"/>
                  </a:lnTo>
                  <a:lnTo>
                    <a:pt x="270" y="174"/>
                  </a:lnTo>
                  <a:lnTo>
                    <a:pt x="271" y="174"/>
                  </a:lnTo>
                  <a:lnTo>
                    <a:pt x="273" y="174"/>
                  </a:lnTo>
                  <a:lnTo>
                    <a:pt x="273" y="175"/>
                  </a:lnTo>
                  <a:lnTo>
                    <a:pt x="274" y="179"/>
                  </a:lnTo>
                  <a:lnTo>
                    <a:pt x="276" y="180"/>
                  </a:lnTo>
                  <a:lnTo>
                    <a:pt x="276" y="180"/>
                  </a:lnTo>
                  <a:lnTo>
                    <a:pt x="276" y="180"/>
                  </a:lnTo>
                  <a:lnTo>
                    <a:pt x="277" y="177"/>
                  </a:lnTo>
                  <a:lnTo>
                    <a:pt x="277" y="177"/>
                  </a:lnTo>
                  <a:lnTo>
                    <a:pt x="281" y="179"/>
                  </a:lnTo>
                  <a:lnTo>
                    <a:pt x="282" y="179"/>
                  </a:lnTo>
                  <a:lnTo>
                    <a:pt x="282" y="177"/>
                  </a:lnTo>
                  <a:lnTo>
                    <a:pt x="282" y="177"/>
                  </a:lnTo>
                  <a:lnTo>
                    <a:pt x="281" y="177"/>
                  </a:lnTo>
                  <a:lnTo>
                    <a:pt x="281" y="175"/>
                  </a:lnTo>
                  <a:lnTo>
                    <a:pt x="281" y="174"/>
                  </a:lnTo>
                  <a:lnTo>
                    <a:pt x="281" y="172"/>
                  </a:lnTo>
                  <a:lnTo>
                    <a:pt x="281" y="171"/>
                  </a:lnTo>
                  <a:lnTo>
                    <a:pt x="284" y="169"/>
                  </a:lnTo>
                  <a:lnTo>
                    <a:pt x="282" y="166"/>
                  </a:lnTo>
                  <a:lnTo>
                    <a:pt x="281" y="162"/>
                  </a:lnTo>
                  <a:lnTo>
                    <a:pt x="279" y="157"/>
                  </a:lnTo>
                  <a:lnTo>
                    <a:pt x="271" y="149"/>
                  </a:lnTo>
                  <a:lnTo>
                    <a:pt x="268" y="143"/>
                  </a:lnTo>
                  <a:lnTo>
                    <a:pt x="265" y="140"/>
                  </a:lnTo>
                  <a:lnTo>
                    <a:pt x="264" y="138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4" y="135"/>
                  </a:lnTo>
                  <a:lnTo>
                    <a:pt x="264" y="135"/>
                  </a:lnTo>
                  <a:lnTo>
                    <a:pt x="264" y="134"/>
                  </a:lnTo>
                  <a:lnTo>
                    <a:pt x="264" y="132"/>
                  </a:lnTo>
                  <a:lnTo>
                    <a:pt x="264" y="132"/>
                  </a:lnTo>
                  <a:lnTo>
                    <a:pt x="265" y="132"/>
                  </a:lnTo>
                  <a:lnTo>
                    <a:pt x="267" y="132"/>
                  </a:lnTo>
                  <a:lnTo>
                    <a:pt x="268" y="132"/>
                  </a:lnTo>
                  <a:lnTo>
                    <a:pt x="270" y="134"/>
                  </a:lnTo>
                  <a:lnTo>
                    <a:pt x="271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9" y="135"/>
                  </a:lnTo>
                  <a:lnTo>
                    <a:pt x="282" y="135"/>
                  </a:lnTo>
                  <a:lnTo>
                    <a:pt x="285" y="135"/>
                  </a:lnTo>
                  <a:lnTo>
                    <a:pt x="287" y="135"/>
                  </a:lnTo>
                  <a:lnTo>
                    <a:pt x="290" y="132"/>
                  </a:lnTo>
                  <a:lnTo>
                    <a:pt x="291" y="131"/>
                  </a:lnTo>
                  <a:lnTo>
                    <a:pt x="291" y="129"/>
                  </a:lnTo>
                  <a:lnTo>
                    <a:pt x="291" y="128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103"/>
            <p:cNvSpPr>
              <a:spLocks/>
            </p:cNvSpPr>
            <p:nvPr/>
          </p:nvSpPr>
          <p:spPr bwMode="gray">
            <a:xfrm>
              <a:off x="5983288" y="6373813"/>
              <a:ext cx="455613" cy="371475"/>
            </a:xfrm>
            <a:custGeom>
              <a:avLst/>
              <a:gdLst>
                <a:gd name="T0" fmla="*/ 282 w 287"/>
                <a:gd name="T1" fmla="*/ 123 h 234"/>
                <a:gd name="T2" fmla="*/ 274 w 287"/>
                <a:gd name="T3" fmla="*/ 118 h 234"/>
                <a:gd name="T4" fmla="*/ 271 w 287"/>
                <a:gd name="T5" fmla="*/ 111 h 234"/>
                <a:gd name="T6" fmla="*/ 265 w 287"/>
                <a:gd name="T7" fmla="*/ 94 h 234"/>
                <a:gd name="T8" fmla="*/ 257 w 287"/>
                <a:gd name="T9" fmla="*/ 88 h 234"/>
                <a:gd name="T10" fmla="*/ 239 w 287"/>
                <a:gd name="T11" fmla="*/ 86 h 234"/>
                <a:gd name="T12" fmla="*/ 231 w 287"/>
                <a:gd name="T13" fmla="*/ 80 h 234"/>
                <a:gd name="T14" fmla="*/ 239 w 287"/>
                <a:gd name="T15" fmla="*/ 63 h 234"/>
                <a:gd name="T16" fmla="*/ 245 w 287"/>
                <a:gd name="T17" fmla="*/ 49 h 234"/>
                <a:gd name="T18" fmla="*/ 247 w 287"/>
                <a:gd name="T19" fmla="*/ 41 h 234"/>
                <a:gd name="T20" fmla="*/ 231 w 287"/>
                <a:gd name="T21" fmla="*/ 37 h 234"/>
                <a:gd name="T22" fmla="*/ 214 w 287"/>
                <a:gd name="T23" fmla="*/ 28 h 234"/>
                <a:gd name="T24" fmla="*/ 193 w 287"/>
                <a:gd name="T25" fmla="*/ 21 h 234"/>
                <a:gd name="T26" fmla="*/ 185 w 287"/>
                <a:gd name="T27" fmla="*/ 3 h 234"/>
                <a:gd name="T28" fmla="*/ 166 w 287"/>
                <a:gd name="T29" fmla="*/ 9 h 234"/>
                <a:gd name="T30" fmla="*/ 166 w 287"/>
                <a:gd name="T31" fmla="*/ 0 h 234"/>
                <a:gd name="T32" fmla="*/ 150 w 287"/>
                <a:gd name="T33" fmla="*/ 6 h 234"/>
                <a:gd name="T34" fmla="*/ 139 w 287"/>
                <a:gd name="T35" fmla="*/ 11 h 234"/>
                <a:gd name="T36" fmla="*/ 129 w 287"/>
                <a:gd name="T37" fmla="*/ 17 h 234"/>
                <a:gd name="T38" fmla="*/ 133 w 287"/>
                <a:gd name="T39" fmla="*/ 26 h 234"/>
                <a:gd name="T40" fmla="*/ 126 w 287"/>
                <a:gd name="T41" fmla="*/ 15 h 234"/>
                <a:gd name="T42" fmla="*/ 93 w 287"/>
                <a:gd name="T43" fmla="*/ 32 h 234"/>
                <a:gd name="T44" fmla="*/ 73 w 287"/>
                <a:gd name="T45" fmla="*/ 26 h 234"/>
                <a:gd name="T46" fmla="*/ 62 w 287"/>
                <a:gd name="T47" fmla="*/ 18 h 234"/>
                <a:gd name="T48" fmla="*/ 2 w 287"/>
                <a:gd name="T49" fmla="*/ 57 h 234"/>
                <a:gd name="T50" fmla="*/ 5 w 287"/>
                <a:gd name="T51" fmla="*/ 77 h 234"/>
                <a:gd name="T52" fmla="*/ 12 w 287"/>
                <a:gd name="T53" fmla="*/ 81 h 234"/>
                <a:gd name="T54" fmla="*/ 26 w 287"/>
                <a:gd name="T55" fmla="*/ 94 h 234"/>
                <a:gd name="T56" fmla="*/ 48 w 287"/>
                <a:gd name="T57" fmla="*/ 91 h 234"/>
                <a:gd name="T58" fmla="*/ 56 w 287"/>
                <a:gd name="T59" fmla="*/ 114 h 234"/>
                <a:gd name="T60" fmla="*/ 71 w 287"/>
                <a:gd name="T61" fmla="*/ 115 h 234"/>
                <a:gd name="T62" fmla="*/ 83 w 287"/>
                <a:gd name="T63" fmla="*/ 134 h 234"/>
                <a:gd name="T64" fmla="*/ 91 w 287"/>
                <a:gd name="T65" fmla="*/ 135 h 234"/>
                <a:gd name="T66" fmla="*/ 116 w 287"/>
                <a:gd name="T67" fmla="*/ 140 h 234"/>
                <a:gd name="T68" fmla="*/ 125 w 287"/>
                <a:gd name="T69" fmla="*/ 146 h 234"/>
                <a:gd name="T70" fmla="*/ 122 w 287"/>
                <a:gd name="T71" fmla="*/ 160 h 234"/>
                <a:gd name="T72" fmla="*/ 119 w 287"/>
                <a:gd name="T73" fmla="*/ 175 h 234"/>
                <a:gd name="T74" fmla="*/ 142 w 287"/>
                <a:gd name="T75" fmla="*/ 183 h 234"/>
                <a:gd name="T76" fmla="*/ 160 w 287"/>
                <a:gd name="T77" fmla="*/ 166 h 234"/>
                <a:gd name="T78" fmla="*/ 173 w 287"/>
                <a:gd name="T79" fmla="*/ 165 h 234"/>
                <a:gd name="T80" fmla="*/ 174 w 287"/>
                <a:gd name="T81" fmla="*/ 188 h 234"/>
                <a:gd name="T82" fmla="*/ 173 w 287"/>
                <a:gd name="T83" fmla="*/ 200 h 234"/>
                <a:gd name="T84" fmla="*/ 194 w 287"/>
                <a:gd name="T85" fmla="*/ 209 h 234"/>
                <a:gd name="T86" fmla="*/ 205 w 287"/>
                <a:gd name="T87" fmla="*/ 219 h 234"/>
                <a:gd name="T88" fmla="*/ 213 w 287"/>
                <a:gd name="T89" fmla="*/ 220 h 234"/>
                <a:gd name="T90" fmla="*/ 225 w 287"/>
                <a:gd name="T91" fmla="*/ 231 h 234"/>
                <a:gd name="T92" fmla="*/ 237 w 287"/>
                <a:gd name="T93" fmla="*/ 229 h 234"/>
                <a:gd name="T94" fmla="*/ 247 w 287"/>
                <a:gd name="T95" fmla="*/ 222 h 234"/>
                <a:gd name="T96" fmla="*/ 247 w 287"/>
                <a:gd name="T97" fmla="*/ 212 h 234"/>
                <a:gd name="T98" fmla="*/ 245 w 287"/>
                <a:gd name="T99" fmla="*/ 208 h 234"/>
                <a:gd name="T100" fmla="*/ 237 w 287"/>
                <a:gd name="T101" fmla="*/ 199 h 234"/>
                <a:gd name="T102" fmla="*/ 239 w 287"/>
                <a:gd name="T103" fmla="*/ 191 h 234"/>
                <a:gd name="T104" fmla="*/ 243 w 287"/>
                <a:gd name="T105" fmla="*/ 180 h 234"/>
                <a:gd name="T106" fmla="*/ 247 w 287"/>
                <a:gd name="T107" fmla="*/ 169 h 234"/>
                <a:gd name="T108" fmla="*/ 256 w 287"/>
                <a:gd name="T109" fmla="*/ 157 h 234"/>
                <a:gd name="T110" fmla="*/ 263 w 287"/>
                <a:gd name="T111" fmla="*/ 157 h 234"/>
                <a:gd name="T112" fmla="*/ 267 w 287"/>
                <a:gd name="T113" fmla="*/ 158 h 234"/>
                <a:gd name="T114" fmla="*/ 271 w 287"/>
                <a:gd name="T115" fmla="*/ 149 h 234"/>
                <a:gd name="T116" fmla="*/ 282 w 287"/>
                <a:gd name="T117" fmla="*/ 14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7" h="234">
                  <a:moveTo>
                    <a:pt x="287" y="138"/>
                  </a:moveTo>
                  <a:lnTo>
                    <a:pt x="287" y="137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4" y="129"/>
                  </a:lnTo>
                  <a:lnTo>
                    <a:pt x="285" y="128"/>
                  </a:lnTo>
                  <a:lnTo>
                    <a:pt x="285" y="125"/>
                  </a:lnTo>
                  <a:lnTo>
                    <a:pt x="284" y="125"/>
                  </a:lnTo>
                  <a:lnTo>
                    <a:pt x="284" y="125"/>
                  </a:lnTo>
                  <a:lnTo>
                    <a:pt x="284" y="123"/>
                  </a:lnTo>
                  <a:lnTo>
                    <a:pt x="282" y="123"/>
                  </a:lnTo>
                  <a:lnTo>
                    <a:pt x="282" y="122"/>
                  </a:lnTo>
                  <a:lnTo>
                    <a:pt x="282" y="120"/>
                  </a:lnTo>
                  <a:lnTo>
                    <a:pt x="284" y="120"/>
                  </a:lnTo>
                  <a:lnTo>
                    <a:pt x="282" y="120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4" y="118"/>
                  </a:lnTo>
                  <a:lnTo>
                    <a:pt x="274" y="118"/>
                  </a:lnTo>
                  <a:lnTo>
                    <a:pt x="273" y="118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73" y="115"/>
                  </a:lnTo>
                  <a:lnTo>
                    <a:pt x="271" y="115"/>
                  </a:lnTo>
                  <a:lnTo>
                    <a:pt x="271" y="115"/>
                  </a:lnTo>
                  <a:lnTo>
                    <a:pt x="271" y="115"/>
                  </a:lnTo>
                  <a:lnTo>
                    <a:pt x="271" y="114"/>
                  </a:lnTo>
                  <a:lnTo>
                    <a:pt x="270" y="112"/>
                  </a:lnTo>
                  <a:lnTo>
                    <a:pt x="271" y="111"/>
                  </a:lnTo>
                  <a:lnTo>
                    <a:pt x="274" y="108"/>
                  </a:lnTo>
                  <a:lnTo>
                    <a:pt x="276" y="108"/>
                  </a:lnTo>
                  <a:lnTo>
                    <a:pt x="276" y="106"/>
                  </a:lnTo>
                  <a:lnTo>
                    <a:pt x="276" y="106"/>
                  </a:lnTo>
                  <a:lnTo>
                    <a:pt x="277" y="105"/>
                  </a:lnTo>
                  <a:lnTo>
                    <a:pt x="277" y="105"/>
                  </a:lnTo>
                  <a:lnTo>
                    <a:pt x="271" y="105"/>
                  </a:lnTo>
                  <a:lnTo>
                    <a:pt x="270" y="103"/>
                  </a:lnTo>
                  <a:lnTo>
                    <a:pt x="270" y="102"/>
                  </a:lnTo>
                  <a:lnTo>
                    <a:pt x="270" y="102"/>
                  </a:lnTo>
                  <a:lnTo>
                    <a:pt x="265" y="94"/>
                  </a:lnTo>
                  <a:lnTo>
                    <a:pt x="265" y="92"/>
                  </a:lnTo>
                  <a:lnTo>
                    <a:pt x="263" y="92"/>
                  </a:lnTo>
                  <a:lnTo>
                    <a:pt x="260" y="94"/>
                  </a:lnTo>
                  <a:lnTo>
                    <a:pt x="259" y="94"/>
                  </a:lnTo>
                  <a:lnTo>
                    <a:pt x="259" y="92"/>
                  </a:lnTo>
                  <a:lnTo>
                    <a:pt x="259" y="91"/>
                  </a:lnTo>
                  <a:lnTo>
                    <a:pt x="259" y="89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7" y="88"/>
                  </a:lnTo>
                  <a:lnTo>
                    <a:pt x="257" y="88"/>
                  </a:lnTo>
                  <a:lnTo>
                    <a:pt x="256" y="89"/>
                  </a:lnTo>
                  <a:lnTo>
                    <a:pt x="251" y="88"/>
                  </a:lnTo>
                  <a:lnTo>
                    <a:pt x="250" y="88"/>
                  </a:lnTo>
                  <a:lnTo>
                    <a:pt x="250" y="88"/>
                  </a:lnTo>
                  <a:lnTo>
                    <a:pt x="250" y="88"/>
                  </a:lnTo>
                  <a:lnTo>
                    <a:pt x="243" y="88"/>
                  </a:lnTo>
                  <a:lnTo>
                    <a:pt x="242" y="88"/>
                  </a:lnTo>
                  <a:lnTo>
                    <a:pt x="240" y="86"/>
                  </a:lnTo>
                  <a:lnTo>
                    <a:pt x="240" y="86"/>
                  </a:lnTo>
                  <a:lnTo>
                    <a:pt x="239" y="86"/>
                  </a:lnTo>
                  <a:lnTo>
                    <a:pt x="239" y="88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36" y="88"/>
                  </a:lnTo>
                  <a:lnTo>
                    <a:pt x="236" y="88"/>
                  </a:lnTo>
                  <a:lnTo>
                    <a:pt x="236" y="85"/>
                  </a:lnTo>
                  <a:lnTo>
                    <a:pt x="236" y="83"/>
                  </a:lnTo>
                  <a:lnTo>
                    <a:pt x="234" y="83"/>
                  </a:lnTo>
                  <a:lnTo>
                    <a:pt x="233" y="81"/>
                  </a:lnTo>
                  <a:lnTo>
                    <a:pt x="233" y="81"/>
                  </a:lnTo>
                  <a:lnTo>
                    <a:pt x="231" y="80"/>
                  </a:lnTo>
                  <a:lnTo>
                    <a:pt x="230" y="78"/>
                  </a:lnTo>
                  <a:lnTo>
                    <a:pt x="230" y="77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7" y="69"/>
                  </a:lnTo>
                  <a:lnTo>
                    <a:pt x="237" y="69"/>
                  </a:lnTo>
                  <a:lnTo>
                    <a:pt x="239" y="68"/>
                  </a:lnTo>
                  <a:lnTo>
                    <a:pt x="240" y="65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39" y="63"/>
                  </a:lnTo>
                  <a:lnTo>
                    <a:pt x="237" y="63"/>
                  </a:lnTo>
                  <a:lnTo>
                    <a:pt x="240" y="58"/>
                  </a:lnTo>
                  <a:lnTo>
                    <a:pt x="242" y="55"/>
                  </a:lnTo>
                  <a:lnTo>
                    <a:pt x="240" y="55"/>
                  </a:lnTo>
                  <a:lnTo>
                    <a:pt x="240" y="54"/>
                  </a:lnTo>
                  <a:lnTo>
                    <a:pt x="242" y="52"/>
                  </a:lnTo>
                  <a:lnTo>
                    <a:pt x="242" y="52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3" y="51"/>
                  </a:lnTo>
                  <a:lnTo>
                    <a:pt x="245" y="49"/>
                  </a:lnTo>
                  <a:lnTo>
                    <a:pt x="243" y="49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5" y="48"/>
                  </a:lnTo>
                  <a:lnTo>
                    <a:pt x="245" y="48"/>
                  </a:lnTo>
                  <a:lnTo>
                    <a:pt x="247" y="48"/>
                  </a:lnTo>
                  <a:lnTo>
                    <a:pt x="247" y="46"/>
                  </a:lnTo>
                  <a:lnTo>
                    <a:pt x="245" y="45"/>
                  </a:lnTo>
                  <a:lnTo>
                    <a:pt x="245" y="43"/>
                  </a:lnTo>
                  <a:lnTo>
                    <a:pt x="247" y="43"/>
                  </a:lnTo>
                  <a:lnTo>
                    <a:pt x="247" y="41"/>
                  </a:lnTo>
                  <a:lnTo>
                    <a:pt x="245" y="40"/>
                  </a:lnTo>
                  <a:lnTo>
                    <a:pt x="245" y="40"/>
                  </a:lnTo>
                  <a:lnTo>
                    <a:pt x="242" y="41"/>
                  </a:lnTo>
                  <a:lnTo>
                    <a:pt x="240" y="40"/>
                  </a:lnTo>
                  <a:lnTo>
                    <a:pt x="239" y="38"/>
                  </a:lnTo>
                  <a:lnTo>
                    <a:pt x="239" y="37"/>
                  </a:lnTo>
                  <a:lnTo>
                    <a:pt x="237" y="37"/>
                  </a:lnTo>
                  <a:lnTo>
                    <a:pt x="234" y="37"/>
                  </a:lnTo>
                  <a:lnTo>
                    <a:pt x="233" y="38"/>
                  </a:lnTo>
                  <a:lnTo>
                    <a:pt x="233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7" y="34"/>
                  </a:lnTo>
                  <a:lnTo>
                    <a:pt x="225" y="34"/>
                  </a:lnTo>
                  <a:lnTo>
                    <a:pt x="225" y="32"/>
                  </a:lnTo>
                  <a:lnTo>
                    <a:pt x="225" y="31"/>
                  </a:lnTo>
                  <a:lnTo>
                    <a:pt x="223" y="28"/>
                  </a:lnTo>
                  <a:lnTo>
                    <a:pt x="222" y="26"/>
                  </a:lnTo>
                  <a:lnTo>
                    <a:pt x="220" y="25"/>
                  </a:lnTo>
                  <a:lnTo>
                    <a:pt x="219" y="25"/>
                  </a:lnTo>
                  <a:lnTo>
                    <a:pt x="217" y="26"/>
                  </a:lnTo>
                  <a:lnTo>
                    <a:pt x="214" y="28"/>
                  </a:lnTo>
                  <a:lnTo>
                    <a:pt x="213" y="28"/>
                  </a:lnTo>
                  <a:lnTo>
                    <a:pt x="203" y="28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0" y="28"/>
                  </a:lnTo>
                  <a:lnTo>
                    <a:pt x="200" y="25"/>
                  </a:lnTo>
                  <a:lnTo>
                    <a:pt x="199" y="23"/>
                  </a:lnTo>
                  <a:lnTo>
                    <a:pt x="197" y="21"/>
                  </a:lnTo>
                  <a:lnTo>
                    <a:pt x="194" y="23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18"/>
                  </a:lnTo>
                  <a:lnTo>
                    <a:pt x="191" y="17"/>
                  </a:lnTo>
                  <a:lnTo>
                    <a:pt x="190" y="14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0" y="9"/>
                  </a:lnTo>
                  <a:lnTo>
                    <a:pt x="190" y="6"/>
                  </a:lnTo>
                  <a:lnTo>
                    <a:pt x="188" y="4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83" y="4"/>
                  </a:lnTo>
                  <a:lnTo>
                    <a:pt x="183" y="6"/>
                  </a:lnTo>
                  <a:lnTo>
                    <a:pt x="182" y="8"/>
                  </a:lnTo>
                  <a:lnTo>
                    <a:pt x="180" y="11"/>
                  </a:lnTo>
                  <a:lnTo>
                    <a:pt x="179" y="12"/>
                  </a:lnTo>
                  <a:lnTo>
                    <a:pt x="177" y="12"/>
                  </a:lnTo>
                  <a:lnTo>
                    <a:pt x="174" y="11"/>
                  </a:lnTo>
                  <a:lnTo>
                    <a:pt x="173" y="11"/>
                  </a:lnTo>
                  <a:lnTo>
                    <a:pt x="168" y="11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8" y="8"/>
                  </a:lnTo>
                  <a:lnTo>
                    <a:pt x="171" y="9"/>
                  </a:lnTo>
                  <a:lnTo>
                    <a:pt x="170" y="8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71" y="3"/>
                  </a:lnTo>
                  <a:lnTo>
                    <a:pt x="170" y="1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3" y="1"/>
                  </a:lnTo>
                  <a:lnTo>
                    <a:pt x="159" y="8"/>
                  </a:lnTo>
                  <a:lnTo>
                    <a:pt x="157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3" y="9"/>
                  </a:lnTo>
                  <a:lnTo>
                    <a:pt x="151" y="9"/>
                  </a:lnTo>
                  <a:lnTo>
                    <a:pt x="150" y="9"/>
                  </a:lnTo>
                  <a:lnTo>
                    <a:pt x="148" y="8"/>
                  </a:lnTo>
                  <a:lnTo>
                    <a:pt x="148" y="6"/>
                  </a:lnTo>
                  <a:lnTo>
                    <a:pt x="150" y="6"/>
                  </a:lnTo>
                  <a:lnTo>
                    <a:pt x="150" y="3"/>
                  </a:lnTo>
                  <a:lnTo>
                    <a:pt x="148" y="3"/>
                  </a:lnTo>
                  <a:lnTo>
                    <a:pt x="148" y="1"/>
                  </a:lnTo>
                  <a:lnTo>
                    <a:pt x="145" y="3"/>
                  </a:lnTo>
                  <a:lnTo>
                    <a:pt x="142" y="4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40" y="17"/>
                  </a:lnTo>
                  <a:lnTo>
                    <a:pt x="139" y="17"/>
                  </a:lnTo>
                  <a:lnTo>
                    <a:pt x="136" y="17"/>
                  </a:lnTo>
                  <a:lnTo>
                    <a:pt x="134" y="17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29" y="15"/>
                  </a:lnTo>
                  <a:lnTo>
                    <a:pt x="129" y="15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8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3" y="26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1" y="23"/>
                  </a:lnTo>
                  <a:lnTo>
                    <a:pt x="129" y="21"/>
                  </a:lnTo>
                  <a:lnTo>
                    <a:pt x="128" y="20"/>
                  </a:lnTo>
                  <a:lnTo>
                    <a:pt x="128" y="18"/>
                  </a:lnTo>
                  <a:lnTo>
                    <a:pt x="128" y="17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5" y="18"/>
                  </a:lnTo>
                  <a:lnTo>
                    <a:pt x="125" y="20"/>
                  </a:lnTo>
                  <a:lnTo>
                    <a:pt x="122" y="23"/>
                  </a:lnTo>
                  <a:lnTo>
                    <a:pt x="119" y="26"/>
                  </a:lnTo>
                  <a:lnTo>
                    <a:pt x="109" y="31"/>
                  </a:lnTo>
                  <a:lnTo>
                    <a:pt x="106" y="34"/>
                  </a:lnTo>
                  <a:lnTo>
                    <a:pt x="103" y="34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1" y="28"/>
                  </a:lnTo>
                  <a:lnTo>
                    <a:pt x="82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6" y="25"/>
                  </a:lnTo>
                  <a:lnTo>
                    <a:pt x="74" y="25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31"/>
                  </a:lnTo>
                  <a:lnTo>
                    <a:pt x="69" y="31"/>
                  </a:lnTo>
                  <a:lnTo>
                    <a:pt x="66" y="31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2" y="28"/>
                  </a:lnTo>
                  <a:lnTo>
                    <a:pt x="62" y="25"/>
                  </a:lnTo>
                  <a:lnTo>
                    <a:pt x="62" y="21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45" y="20"/>
                  </a:lnTo>
                  <a:lnTo>
                    <a:pt x="29" y="29"/>
                  </a:lnTo>
                  <a:lnTo>
                    <a:pt x="14" y="38"/>
                  </a:lnTo>
                  <a:lnTo>
                    <a:pt x="3" y="46"/>
                  </a:lnTo>
                  <a:lnTo>
                    <a:pt x="0" y="48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2" y="57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3" y="68"/>
                  </a:lnTo>
                  <a:lnTo>
                    <a:pt x="3" y="69"/>
                  </a:lnTo>
                  <a:lnTo>
                    <a:pt x="5" y="74"/>
                  </a:lnTo>
                  <a:lnTo>
                    <a:pt x="5" y="75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8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8" y="81"/>
                  </a:lnTo>
                  <a:lnTo>
                    <a:pt x="9" y="81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6"/>
                  </a:lnTo>
                  <a:lnTo>
                    <a:pt x="17" y="88"/>
                  </a:lnTo>
                  <a:lnTo>
                    <a:pt x="17" y="89"/>
                  </a:lnTo>
                  <a:lnTo>
                    <a:pt x="17" y="91"/>
                  </a:lnTo>
                  <a:lnTo>
                    <a:pt x="19" y="91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9" y="89"/>
                  </a:lnTo>
                  <a:lnTo>
                    <a:pt x="31" y="88"/>
                  </a:lnTo>
                  <a:lnTo>
                    <a:pt x="32" y="88"/>
                  </a:lnTo>
                  <a:lnTo>
                    <a:pt x="37" y="86"/>
                  </a:lnTo>
                  <a:lnTo>
                    <a:pt x="43" y="85"/>
                  </a:lnTo>
                  <a:lnTo>
                    <a:pt x="45" y="85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8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7"/>
                  </a:lnTo>
                  <a:lnTo>
                    <a:pt x="52" y="100"/>
                  </a:lnTo>
                  <a:lnTo>
                    <a:pt x="52" y="103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6" y="114"/>
                  </a:lnTo>
                  <a:lnTo>
                    <a:pt x="56" y="115"/>
                  </a:lnTo>
                  <a:lnTo>
                    <a:pt x="57" y="117"/>
                  </a:lnTo>
                  <a:lnTo>
                    <a:pt x="60" y="118"/>
                  </a:lnTo>
                  <a:lnTo>
                    <a:pt x="62" y="118"/>
                  </a:lnTo>
                  <a:lnTo>
                    <a:pt x="63" y="118"/>
                  </a:lnTo>
                  <a:lnTo>
                    <a:pt x="66" y="117"/>
                  </a:lnTo>
                  <a:lnTo>
                    <a:pt x="68" y="117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1" y="118"/>
                  </a:lnTo>
                  <a:lnTo>
                    <a:pt x="73" y="118"/>
                  </a:lnTo>
                  <a:lnTo>
                    <a:pt x="77" y="118"/>
                  </a:lnTo>
                  <a:lnTo>
                    <a:pt x="79" y="120"/>
                  </a:lnTo>
                  <a:lnTo>
                    <a:pt x="80" y="120"/>
                  </a:lnTo>
                  <a:lnTo>
                    <a:pt x="82" y="122"/>
                  </a:lnTo>
                  <a:lnTo>
                    <a:pt x="83" y="123"/>
                  </a:lnTo>
                  <a:lnTo>
                    <a:pt x="83" y="128"/>
                  </a:lnTo>
                  <a:lnTo>
                    <a:pt x="83" y="134"/>
                  </a:lnTo>
                  <a:lnTo>
                    <a:pt x="85" y="138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38"/>
                  </a:lnTo>
                  <a:lnTo>
                    <a:pt x="89" y="137"/>
                  </a:lnTo>
                  <a:lnTo>
                    <a:pt x="89" y="135"/>
                  </a:lnTo>
                  <a:lnTo>
                    <a:pt x="91" y="135"/>
                  </a:lnTo>
                  <a:lnTo>
                    <a:pt x="94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0" y="137"/>
                  </a:lnTo>
                  <a:lnTo>
                    <a:pt x="102" y="138"/>
                  </a:lnTo>
                  <a:lnTo>
                    <a:pt x="103" y="138"/>
                  </a:lnTo>
                  <a:lnTo>
                    <a:pt x="108" y="135"/>
                  </a:lnTo>
                  <a:lnTo>
                    <a:pt x="109" y="135"/>
                  </a:lnTo>
                  <a:lnTo>
                    <a:pt x="111" y="137"/>
                  </a:lnTo>
                  <a:lnTo>
                    <a:pt x="114" y="138"/>
                  </a:lnTo>
                  <a:lnTo>
                    <a:pt x="116" y="140"/>
                  </a:lnTo>
                  <a:lnTo>
                    <a:pt x="117" y="142"/>
                  </a:lnTo>
                  <a:lnTo>
                    <a:pt x="119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3" y="145"/>
                  </a:lnTo>
                  <a:lnTo>
                    <a:pt x="125" y="146"/>
                  </a:lnTo>
                  <a:lnTo>
                    <a:pt x="125" y="146"/>
                  </a:lnTo>
                  <a:lnTo>
                    <a:pt x="125" y="148"/>
                  </a:lnTo>
                  <a:lnTo>
                    <a:pt x="123" y="148"/>
                  </a:lnTo>
                  <a:lnTo>
                    <a:pt x="122" y="149"/>
                  </a:lnTo>
                  <a:lnTo>
                    <a:pt x="122" y="151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19" y="158"/>
                  </a:lnTo>
                  <a:lnTo>
                    <a:pt x="119" y="160"/>
                  </a:lnTo>
                  <a:lnTo>
                    <a:pt x="120" y="162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66"/>
                  </a:lnTo>
                  <a:lnTo>
                    <a:pt x="125" y="166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2" y="171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19" y="174"/>
                  </a:lnTo>
                  <a:lnTo>
                    <a:pt x="119" y="175"/>
                  </a:lnTo>
                  <a:lnTo>
                    <a:pt x="119" y="175"/>
                  </a:lnTo>
                  <a:lnTo>
                    <a:pt x="120" y="177"/>
                  </a:lnTo>
                  <a:lnTo>
                    <a:pt x="120" y="178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23" y="180"/>
                  </a:lnTo>
                  <a:lnTo>
                    <a:pt x="125" y="182"/>
                  </a:lnTo>
                  <a:lnTo>
                    <a:pt x="125" y="180"/>
                  </a:lnTo>
                  <a:lnTo>
                    <a:pt x="129" y="180"/>
                  </a:lnTo>
                  <a:lnTo>
                    <a:pt x="142" y="183"/>
                  </a:lnTo>
                  <a:lnTo>
                    <a:pt x="142" y="183"/>
                  </a:lnTo>
                  <a:lnTo>
                    <a:pt x="143" y="183"/>
                  </a:lnTo>
                  <a:lnTo>
                    <a:pt x="154" y="178"/>
                  </a:lnTo>
                  <a:lnTo>
                    <a:pt x="157" y="177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9" y="174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8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68" y="158"/>
                  </a:lnTo>
                  <a:lnTo>
                    <a:pt x="170" y="157"/>
                  </a:lnTo>
                  <a:lnTo>
                    <a:pt x="171" y="158"/>
                  </a:lnTo>
                  <a:lnTo>
                    <a:pt x="171" y="158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6"/>
                  </a:lnTo>
                  <a:lnTo>
                    <a:pt x="173" y="165"/>
                  </a:lnTo>
                  <a:lnTo>
                    <a:pt x="173" y="165"/>
                  </a:lnTo>
                  <a:lnTo>
                    <a:pt x="171" y="168"/>
                  </a:lnTo>
                  <a:lnTo>
                    <a:pt x="171" y="169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68" y="178"/>
                  </a:lnTo>
                  <a:lnTo>
                    <a:pt x="168" y="180"/>
                  </a:lnTo>
                  <a:lnTo>
                    <a:pt x="168" y="182"/>
                  </a:lnTo>
                  <a:lnTo>
                    <a:pt x="173" y="183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4" y="188"/>
                  </a:lnTo>
                  <a:lnTo>
                    <a:pt x="173" y="189"/>
                  </a:lnTo>
                  <a:lnTo>
                    <a:pt x="173" y="191"/>
                  </a:lnTo>
                  <a:lnTo>
                    <a:pt x="173" y="191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3" y="194"/>
                  </a:lnTo>
                  <a:lnTo>
                    <a:pt x="173" y="195"/>
                  </a:lnTo>
                  <a:lnTo>
                    <a:pt x="173" y="199"/>
                  </a:lnTo>
                  <a:lnTo>
                    <a:pt x="173" y="200"/>
                  </a:lnTo>
                  <a:lnTo>
                    <a:pt x="176" y="200"/>
                  </a:lnTo>
                  <a:lnTo>
                    <a:pt x="177" y="200"/>
                  </a:lnTo>
                  <a:lnTo>
                    <a:pt x="180" y="199"/>
                  </a:lnTo>
                  <a:lnTo>
                    <a:pt x="182" y="199"/>
                  </a:lnTo>
                  <a:lnTo>
                    <a:pt x="182" y="199"/>
                  </a:lnTo>
                  <a:lnTo>
                    <a:pt x="183" y="200"/>
                  </a:lnTo>
                  <a:lnTo>
                    <a:pt x="186" y="202"/>
                  </a:lnTo>
                  <a:lnTo>
                    <a:pt x="188" y="203"/>
                  </a:lnTo>
                  <a:lnTo>
                    <a:pt x="190" y="205"/>
                  </a:lnTo>
                  <a:lnTo>
                    <a:pt x="191" y="205"/>
                  </a:lnTo>
                  <a:lnTo>
                    <a:pt x="194" y="209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9" y="212"/>
                  </a:lnTo>
                  <a:lnTo>
                    <a:pt x="202" y="211"/>
                  </a:lnTo>
                  <a:lnTo>
                    <a:pt x="203" y="211"/>
                  </a:lnTo>
                  <a:lnTo>
                    <a:pt x="205" y="212"/>
                  </a:lnTo>
                  <a:lnTo>
                    <a:pt x="207" y="214"/>
                  </a:lnTo>
                  <a:lnTo>
                    <a:pt x="207" y="215"/>
                  </a:lnTo>
                  <a:lnTo>
                    <a:pt x="207" y="217"/>
                  </a:lnTo>
                  <a:lnTo>
                    <a:pt x="205" y="217"/>
                  </a:lnTo>
                  <a:lnTo>
                    <a:pt x="205" y="219"/>
                  </a:lnTo>
                  <a:lnTo>
                    <a:pt x="205" y="220"/>
                  </a:lnTo>
                  <a:lnTo>
                    <a:pt x="207" y="220"/>
                  </a:lnTo>
                  <a:lnTo>
                    <a:pt x="208" y="220"/>
                  </a:lnTo>
                  <a:lnTo>
                    <a:pt x="208" y="220"/>
                  </a:lnTo>
                  <a:lnTo>
                    <a:pt x="208" y="220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3" y="220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7" y="228"/>
                  </a:lnTo>
                  <a:lnTo>
                    <a:pt x="217" y="229"/>
                  </a:lnTo>
                  <a:lnTo>
                    <a:pt x="217" y="229"/>
                  </a:lnTo>
                  <a:lnTo>
                    <a:pt x="217" y="231"/>
                  </a:lnTo>
                  <a:lnTo>
                    <a:pt x="217" y="232"/>
                  </a:lnTo>
                  <a:lnTo>
                    <a:pt x="217" y="232"/>
                  </a:lnTo>
                  <a:lnTo>
                    <a:pt x="219" y="234"/>
                  </a:lnTo>
                  <a:lnTo>
                    <a:pt x="222" y="232"/>
                  </a:lnTo>
                  <a:lnTo>
                    <a:pt x="223" y="231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8" y="231"/>
                  </a:lnTo>
                  <a:lnTo>
                    <a:pt x="228" y="231"/>
                  </a:lnTo>
                  <a:lnTo>
                    <a:pt x="230" y="231"/>
                  </a:lnTo>
                  <a:lnTo>
                    <a:pt x="230" y="229"/>
                  </a:lnTo>
                  <a:lnTo>
                    <a:pt x="230" y="229"/>
                  </a:lnTo>
                  <a:lnTo>
                    <a:pt x="231" y="228"/>
                  </a:lnTo>
                  <a:lnTo>
                    <a:pt x="234" y="228"/>
                  </a:lnTo>
                  <a:lnTo>
                    <a:pt x="236" y="229"/>
                  </a:lnTo>
                  <a:lnTo>
                    <a:pt x="237" y="229"/>
                  </a:lnTo>
                  <a:lnTo>
                    <a:pt x="237" y="229"/>
                  </a:lnTo>
                  <a:lnTo>
                    <a:pt x="239" y="228"/>
                  </a:lnTo>
                  <a:lnTo>
                    <a:pt x="239" y="228"/>
                  </a:lnTo>
                  <a:lnTo>
                    <a:pt x="240" y="228"/>
                  </a:lnTo>
                  <a:lnTo>
                    <a:pt x="242" y="228"/>
                  </a:lnTo>
                  <a:lnTo>
                    <a:pt x="243" y="229"/>
                  </a:lnTo>
                  <a:lnTo>
                    <a:pt x="245" y="228"/>
                  </a:lnTo>
                  <a:lnTo>
                    <a:pt x="247" y="226"/>
                  </a:lnTo>
                  <a:lnTo>
                    <a:pt x="247" y="225"/>
                  </a:lnTo>
                  <a:lnTo>
                    <a:pt x="245" y="223"/>
                  </a:lnTo>
                  <a:lnTo>
                    <a:pt x="247" y="223"/>
                  </a:lnTo>
                  <a:lnTo>
                    <a:pt x="247" y="222"/>
                  </a:lnTo>
                  <a:lnTo>
                    <a:pt x="248" y="219"/>
                  </a:lnTo>
                  <a:lnTo>
                    <a:pt x="248" y="219"/>
                  </a:lnTo>
                  <a:lnTo>
                    <a:pt x="250" y="217"/>
                  </a:lnTo>
                  <a:lnTo>
                    <a:pt x="250" y="217"/>
                  </a:lnTo>
                  <a:lnTo>
                    <a:pt x="250" y="215"/>
                  </a:lnTo>
                  <a:lnTo>
                    <a:pt x="248" y="214"/>
                  </a:lnTo>
                  <a:lnTo>
                    <a:pt x="248" y="214"/>
                  </a:lnTo>
                  <a:lnTo>
                    <a:pt x="247" y="214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1"/>
                  </a:lnTo>
                  <a:lnTo>
                    <a:pt x="247" y="211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48" y="209"/>
                  </a:lnTo>
                  <a:lnTo>
                    <a:pt x="248" y="209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3" y="208"/>
                  </a:lnTo>
                  <a:lnTo>
                    <a:pt x="243" y="208"/>
                  </a:lnTo>
                  <a:lnTo>
                    <a:pt x="243" y="206"/>
                  </a:lnTo>
                  <a:lnTo>
                    <a:pt x="243" y="205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0" y="200"/>
                  </a:lnTo>
                  <a:lnTo>
                    <a:pt x="239" y="200"/>
                  </a:lnTo>
                  <a:lnTo>
                    <a:pt x="239" y="200"/>
                  </a:lnTo>
                  <a:lnTo>
                    <a:pt x="237" y="199"/>
                  </a:lnTo>
                  <a:lnTo>
                    <a:pt x="237" y="197"/>
                  </a:lnTo>
                  <a:lnTo>
                    <a:pt x="237" y="195"/>
                  </a:lnTo>
                  <a:lnTo>
                    <a:pt x="237" y="194"/>
                  </a:lnTo>
                  <a:lnTo>
                    <a:pt x="239" y="194"/>
                  </a:lnTo>
                  <a:lnTo>
                    <a:pt x="237" y="194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40" y="192"/>
                  </a:lnTo>
                  <a:lnTo>
                    <a:pt x="239" y="191"/>
                  </a:lnTo>
                  <a:lnTo>
                    <a:pt x="237" y="189"/>
                  </a:lnTo>
                  <a:lnTo>
                    <a:pt x="237" y="189"/>
                  </a:lnTo>
                  <a:lnTo>
                    <a:pt x="237" y="188"/>
                  </a:lnTo>
                  <a:lnTo>
                    <a:pt x="240" y="183"/>
                  </a:lnTo>
                  <a:lnTo>
                    <a:pt x="240" y="183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2" y="182"/>
                  </a:lnTo>
                  <a:lnTo>
                    <a:pt x="242" y="180"/>
                  </a:lnTo>
                  <a:lnTo>
                    <a:pt x="243" y="180"/>
                  </a:lnTo>
                  <a:lnTo>
                    <a:pt x="243" y="180"/>
                  </a:lnTo>
                  <a:lnTo>
                    <a:pt x="245" y="178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5"/>
                  </a:lnTo>
                  <a:lnTo>
                    <a:pt x="243" y="174"/>
                  </a:lnTo>
                  <a:lnTo>
                    <a:pt x="245" y="174"/>
                  </a:lnTo>
                  <a:lnTo>
                    <a:pt x="247" y="174"/>
                  </a:lnTo>
                  <a:lnTo>
                    <a:pt x="247" y="172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7" y="169"/>
                  </a:lnTo>
                  <a:lnTo>
                    <a:pt x="248" y="168"/>
                  </a:lnTo>
                  <a:lnTo>
                    <a:pt x="248" y="168"/>
                  </a:lnTo>
                  <a:lnTo>
                    <a:pt x="248" y="166"/>
                  </a:lnTo>
                  <a:lnTo>
                    <a:pt x="248" y="165"/>
                  </a:lnTo>
                  <a:lnTo>
                    <a:pt x="248" y="165"/>
                  </a:lnTo>
                  <a:lnTo>
                    <a:pt x="250" y="163"/>
                  </a:lnTo>
                  <a:lnTo>
                    <a:pt x="253" y="162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59" y="155"/>
                  </a:lnTo>
                  <a:lnTo>
                    <a:pt x="259" y="157"/>
                  </a:lnTo>
                  <a:lnTo>
                    <a:pt x="259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2" y="158"/>
                  </a:lnTo>
                  <a:lnTo>
                    <a:pt x="263" y="158"/>
                  </a:lnTo>
                  <a:lnTo>
                    <a:pt x="263" y="157"/>
                  </a:lnTo>
                  <a:lnTo>
                    <a:pt x="263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7" y="158"/>
                  </a:lnTo>
                  <a:lnTo>
                    <a:pt x="265" y="160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8" y="160"/>
                  </a:lnTo>
                  <a:lnTo>
                    <a:pt x="268" y="160"/>
                  </a:lnTo>
                  <a:lnTo>
                    <a:pt x="268" y="160"/>
                  </a:lnTo>
                  <a:lnTo>
                    <a:pt x="267" y="158"/>
                  </a:lnTo>
                  <a:lnTo>
                    <a:pt x="267" y="158"/>
                  </a:lnTo>
                  <a:lnTo>
                    <a:pt x="268" y="157"/>
                  </a:lnTo>
                  <a:lnTo>
                    <a:pt x="268" y="157"/>
                  </a:lnTo>
                  <a:lnTo>
                    <a:pt x="268" y="155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1" y="154"/>
                  </a:lnTo>
                  <a:lnTo>
                    <a:pt x="271" y="154"/>
                  </a:lnTo>
                  <a:lnTo>
                    <a:pt x="270" y="152"/>
                  </a:lnTo>
                  <a:lnTo>
                    <a:pt x="270" y="151"/>
                  </a:lnTo>
                  <a:lnTo>
                    <a:pt x="270" y="149"/>
                  </a:lnTo>
                  <a:lnTo>
                    <a:pt x="271" y="149"/>
                  </a:lnTo>
                  <a:lnTo>
                    <a:pt x="273" y="148"/>
                  </a:lnTo>
                  <a:lnTo>
                    <a:pt x="274" y="146"/>
                  </a:lnTo>
                  <a:lnTo>
                    <a:pt x="277" y="146"/>
                  </a:lnTo>
                  <a:lnTo>
                    <a:pt x="279" y="145"/>
                  </a:lnTo>
                  <a:lnTo>
                    <a:pt x="279" y="143"/>
                  </a:lnTo>
                  <a:lnTo>
                    <a:pt x="279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0" y="140"/>
                  </a:lnTo>
                  <a:lnTo>
                    <a:pt x="282" y="140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5" y="140"/>
                  </a:lnTo>
                  <a:lnTo>
                    <a:pt x="287" y="138"/>
                  </a:lnTo>
                  <a:lnTo>
                    <a:pt x="287" y="138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104"/>
            <p:cNvSpPr>
              <a:spLocks/>
            </p:cNvSpPr>
            <p:nvPr/>
          </p:nvSpPr>
          <p:spPr bwMode="gray">
            <a:xfrm>
              <a:off x="5983288" y="6373813"/>
              <a:ext cx="455613" cy="371475"/>
            </a:xfrm>
            <a:custGeom>
              <a:avLst/>
              <a:gdLst>
                <a:gd name="T0" fmla="*/ 282 w 287"/>
                <a:gd name="T1" fmla="*/ 123 h 234"/>
                <a:gd name="T2" fmla="*/ 274 w 287"/>
                <a:gd name="T3" fmla="*/ 118 h 234"/>
                <a:gd name="T4" fmla="*/ 271 w 287"/>
                <a:gd name="T5" fmla="*/ 111 h 234"/>
                <a:gd name="T6" fmla="*/ 265 w 287"/>
                <a:gd name="T7" fmla="*/ 94 h 234"/>
                <a:gd name="T8" fmla="*/ 257 w 287"/>
                <a:gd name="T9" fmla="*/ 88 h 234"/>
                <a:gd name="T10" fmla="*/ 239 w 287"/>
                <a:gd name="T11" fmla="*/ 86 h 234"/>
                <a:gd name="T12" fmla="*/ 231 w 287"/>
                <a:gd name="T13" fmla="*/ 80 h 234"/>
                <a:gd name="T14" fmla="*/ 239 w 287"/>
                <a:gd name="T15" fmla="*/ 63 h 234"/>
                <a:gd name="T16" fmla="*/ 245 w 287"/>
                <a:gd name="T17" fmla="*/ 49 h 234"/>
                <a:gd name="T18" fmla="*/ 247 w 287"/>
                <a:gd name="T19" fmla="*/ 41 h 234"/>
                <a:gd name="T20" fmla="*/ 231 w 287"/>
                <a:gd name="T21" fmla="*/ 37 h 234"/>
                <a:gd name="T22" fmla="*/ 214 w 287"/>
                <a:gd name="T23" fmla="*/ 28 h 234"/>
                <a:gd name="T24" fmla="*/ 193 w 287"/>
                <a:gd name="T25" fmla="*/ 21 h 234"/>
                <a:gd name="T26" fmla="*/ 185 w 287"/>
                <a:gd name="T27" fmla="*/ 3 h 234"/>
                <a:gd name="T28" fmla="*/ 166 w 287"/>
                <a:gd name="T29" fmla="*/ 9 h 234"/>
                <a:gd name="T30" fmla="*/ 166 w 287"/>
                <a:gd name="T31" fmla="*/ 0 h 234"/>
                <a:gd name="T32" fmla="*/ 150 w 287"/>
                <a:gd name="T33" fmla="*/ 6 h 234"/>
                <a:gd name="T34" fmla="*/ 139 w 287"/>
                <a:gd name="T35" fmla="*/ 11 h 234"/>
                <a:gd name="T36" fmla="*/ 129 w 287"/>
                <a:gd name="T37" fmla="*/ 17 h 234"/>
                <a:gd name="T38" fmla="*/ 133 w 287"/>
                <a:gd name="T39" fmla="*/ 26 h 234"/>
                <a:gd name="T40" fmla="*/ 126 w 287"/>
                <a:gd name="T41" fmla="*/ 15 h 234"/>
                <a:gd name="T42" fmla="*/ 93 w 287"/>
                <a:gd name="T43" fmla="*/ 32 h 234"/>
                <a:gd name="T44" fmla="*/ 73 w 287"/>
                <a:gd name="T45" fmla="*/ 26 h 234"/>
                <a:gd name="T46" fmla="*/ 62 w 287"/>
                <a:gd name="T47" fmla="*/ 18 h 234"/>
                <a:gd name="T48" fmla="*/ 2 w 287"/>
                <a:gd name="T49" fmla="*/ 57 h 234"/>
                <a:gd name="T50" fmla="*/ 5 w 287"/>
                <a:gd name="T51" fmla="*/ 77 h 234"/>
                <a:gd name="T52" fmla="*/ 12 w 287"/>
                <a:gd name="T53" fmla="*/ 81 h 234"/>
                <a:gd name="T54" fmla="*/ 26 w 287"/>
                <a:gd name="T55" fmla="*/ 94 h 234"/>
                <a:gd name="T56" fmla="*/ 48 w 287"/>
                <a:gd name="T57" fmla="*/ 91 h 234"/>
                <a:gd name="T58" fmla="*/ 56 w 287"/>
                <a:gd name="T59" fmla="*/ 114 h 234"/>
                <a:gd name="T60" fmla="*/ 71 w 287"/>
                <a:gd name="T61" fmla="*/ 115 h 234"/>
                <a:gd name="T62" fmla="*/ 83 w 287"/>
                <a:gd name="T63" fmla="*/ 134 h 234"/>
                <a:gd name="T64" fmla="*/ 91 w 287"/>
                <a:gd name="T65" fmla="*/ 135 h 234"/>
                <a:gd name="T66" fmla="*/ 116 w 287"/>
                <a:gd name="T67" fmla="*/ 140 h 234"/>
                <a:gd name="T68" fmla="*/ 125 w 287"/>
                <a:gd name="T69" fmla="*/ 146 h 234"/>
                <a:gd name="T70" fmla="*/ 122 w 287"/>
                <a:gd name="T71" fmla="*/ 160 h 234"/>
                <a:gd name="T72" fmla="*/ 119 w 287"/>
                <a:gd name="T73" fmla="*/ 175 h 234"/>
                <a:gd name="T74" fmla="*/ 142 w 287"/>
                <a:gd name="T75" fmla="*/ 183 h 234"/>
                <a:gd name="T76" fmla="*/ 160 w 287"/>
                <a:gd name="T77" fmla="*/ 166 h 234"/>
                <a:gd name="T78" fmla="*/ 173 w 287"/>
                <a:gd name="T79" fmla="*/ 165 h 234"/>
                <a:gd name="T80" fmla="*/ 174 w 287"/>
                <a:gd name="T81" fmla="*/ 188 h 234"/>
                <a:gd name="T82" fmla="*/ 173 w 287"/>
                <a:gd name="T83" fmla="*/ 200 h 234"/>
                <a:gd name="T84" fmla="*/ 194 w 287"/>
                <a:gd name="T85" fmla="*/ 209 h 234"/>
                <a:gd name="T86" fmla="*/ 205 w 287"/>
                <a:gd name="T87" fmla="*/ 219 h 234"/>
                <a:gd name="T88" fmla="*/ 213 w 287"/>
                <a:gd name="T89" fmla="*/ 220 h 234"/>
                <a:gd name="T90" fmla="*/ 225 w 287"/>
                <a:gd name="T91" fmla="*/ 231 h 234"/>
                <a:gd name="T92" fmla="*/ 237 w 287"/>
                <a:gd name="T93" fmla="*/ 229 h 234"/>
                <a:gd name="T94" fmla="*/ 247 w 287"/>
                <a:gd name="T95" fmla="*/ 222 h 234"/>
                <a:gd name="T96" fmla="*/ 247 w 287"/>
                <a:gd name="T97" fmla="*/ 212 h 234"/>
                <a:gd name="T98" fmla="*/ 245 w 287"/>
                <a:gd name="T99" fmla="*/ 208 h 234"/>
                <a:gd name="T100" fmla="*/ 237 w 287"/>
                <a:gd name="T101" fmla="*/ 199 h 234"/>
                <a:gd name="T102" fmla="*/ 239 w 287"/>
                <a:gd name="T103" fmla="*/ 191 h 234"/>
                <a:gd name="T104" fmla="*/ 243 w 287"/>
                <a:gd name="T105" fmla="*/ 180 h 234"/>
                <a:gd name="T106" fmla="*/ 247 w 287"/>
                <a:gd name="T107" fmla="*/ 169 h 234"/>
                <a:gd name="T108" fmla="*/ 256 w 287"/>
                <a:gd name="T109" fmla="*/ 157 h 234"/>
                <a:gd name="T110" fmla="*/ 263 w 287"/>
                <a:gd name="T111" fmla="*/ 157 h 234"/>
                <a:gd name="T112" fmla="*/ 267 w 287"/>
                <a:gd name="T113" fmla="*/ 158 h 234"/>
                <a:gd name="T114" fmla="*/ 271 w 287"/>
                <a:gd name="T115" fmla="*/ 149 h 234"/>
                <a:gd name="T116" fmla="*/ 282 w 287"/>
                <a:gd name="T117" fmla="*/ 14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7" h="234">
                  <a:moveTo>
                    <a:pt x="287" y="138"/>
                  </a:moveTo>
                  <a:lnTo>
                    <a:pt x="287" y="137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4" y="129"/>
                  </a:lnTo>
                  <a:lnTo>
                    <a:pt x="285" y="128"/>
                  </a:lnTo>
                  <a:lnTo>
                    <a:pt x="285" y="125"/>
                  </a:lnTo>
                  <a:lnTo>
                    <a:pt x="284" y="125"/>
                  </a:lnTo>
                  <a:lnTo>
                    <a:pt x="284" y="125"/>
                  </a:lnTo>
                  <a:lnTo>
                    <a:pt x="284" y="123"/>
                  </a:lnTo>
                  <a:lnTo>
                    <a:pt x="282" y="123"/>
                  </a:lnTo>
                  <a:lnTo>
                    <a:pt x="282" y="122"/>
                  </a:lnTo>
                  <a:lnTo>
                    <a:pt x="282" y="120"/>
                  </a:lnTo>
                  <a:lnTo>
                    <a:pt x="284" y="120"/>
                  </a:lnTo>
                  <a:lnTo>
                    <a:pt x="282" y="120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4" y="118"/>
                  </a:lnTo>
                  <a:lnTo>
                    <a:pt x="274" y="118"/>
                  </a:lnTo>
                  <a:lnTo>
                    <a:pt x="273" y="118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73" y="115"/>
                  </a:lnTo>
                  <a:lnTo>
                    <a:pt x="271" y="115"/>
                  </a:lnTo>
                  <a:lnTo>
                    <a:pt x="271" y="115"/>
                  </a:lnTo>
                  <a:lnTo>
                    <a:pt x="271" y="115"/>
                  </a:lnTo>
                  <a:lnTo>
                    <a:pt x="271" y="114"/>
                  </a:lnTo>
                  <a:lnTo>
                    <a:pt x="270" y="112"/>
                  </a:lnTo>
                  <a:lnTo>
                    <a:pt x="271" y="111"/>
                  </a:lnTo>
                  <a:lnTo>
                    <a:pt x="274" y="108"/>
                  </a:lnTo>
                  <a:lnTo>
                    <a:pt x="276" y="108"/>
                  </a:lnTo>
                  <a:lnTo>
                    <a:pt x="276" y="106"/>
                  </a:lnTo>
                  <a:lnTo>
                    <a:pt x="276" y="106"/>
                  </a:lnTo>
                  <a:lnTo>
                    <a:pt x="277" y="105"/>
                  </a:lnTo>
                  <a:lnTo>
                    <a:pt x="277" y="105"/>
                  </a:lnTo>
                  <a:lnTo>
                    <a:pt x="271" y="105"/>
                  </a:lnTo>
                  <a:lnTo>
                    <a:pt x="270" y="103"/>
                  </a:lnTo>
                  <a:lnTo>
                    <a:pt x="270" y="102"/>
                  </a:lnTo>
                  <a:lnTo>
                    <a:pt x="270" y="102"/>
                  </a:lnTo>
                  <a:lnTo>
                    <a:pt x="265" y="94"/>
                  </a:lnTo>
                  <a:lnTo>
                    <a:pt x="265" y="92"/>
                  </a:lnTo>
                  <a:lnTo>
                    <a:pt x="263" y="92"/>
                  </a:lnTo>
                  <a:lnTo>
                    <a:pt x="260" y="94"/>
                  </a:lnTo>
                  <a:lnTo>
                    <a:pt x="259" y="94"/>
                  </a:lnTo>
                  <a:lnTo>
                    <a:pt x="259" y="92"/>
                  </a:lnTo>
                  <a:lnTo>
                    <a:pt x="259" y="91"/>
                  </a:lnTo>
                  <a:lnTo>
                    <a:pt x="259" y="89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7" y="88"/>
                  </a:lnTo>
                  <a:lnTo>
                    <a:pt x="257" y="88"/>
                  </a:lnTo>
                  <a:lnTo>
                    <a:pt x="256" y="89"/>
                  </a:lnTo>
                  <a:lnTo>
                    <a:pt x="251" y="88"/>
                  </a:lnTo>
                  <a:lnTo>
                    <a:pt x="250" y="88"/>
                  </a:lnTo>
                  <a:lnTo>
                    <a:pt x="250" y="88"/>
                  </a:lnTo>
                  <a:lnTo>
                    <a:pt x="250" y="88"/>
                  </a:lnTo>
                  <a:lnTo>
                    <a:pt x="243" y="88"/>
                  </a:lnTo>
                  <a:lnTo>
                    <a:pt x="242" y="88"/>
                  </a:lnTo>
                  <a:lnTo>
                    <a:pt x="240" y="86"/>
                  </a:lnTo>
                  <a:lnTo>
                    <a:pt x="240" y="86"/>
                  </a:lnTo>
                  <a:lnTo>
                    <a:pt x="239" y="86"/>
                  </a:lnTo>
                  <a:lnTo>
                    <a:pt x="239" y="88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36" y="88"/>
                  </a:lnTo>
                  <a:lnTo>
                    <a:pt x="236" y="88"/>
                  </a:lnTo>
                  <a:lnTo>
                    <a:pt x="236" y="85"/>
                  </a:lnTo>
                  <a:lnTo>
                    <a:pt x="236" y="83"/>
                  </a:lnTo>
                  <a:lnTo>
                    <a:pt x="234" y="83"/>
                  </a:lnTo>
                  <a:lnTo>
                    <a:pt x="233" y="81"/>
                  </a:lnTo>
                  <a:lnTo>
                    <a:pt x="233" y="81"/>
                  </a:lnTo>
                  <a:lnTo>
                    <a:pt x="231" y="80"/>
                  </a:lnTo>
                  <a:lnTo>
                    <a:pt x="230" y="78"/>
                  </a:lnTo>
                  <a:lnTo>
                    <a:pt x="230" y="77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7" y="69"/>
                  </a:lnTo>
                  <a:lnTo>
                    <a:pt x="237" y="69"/>
                  </a:lnTo>
                  <a:lnTo>
                    <a:pt x="239" y="68"/>
                  </a:lnTo>
                  <a:lnTo>
                    <a:pt x="240" y="65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39" y="63"/>
                  </a:lnTo>
                  <a:lnTo>
                    <a:pt x="237" y="63"/>
                  </a:lnTo>
                  <a:lnTo>
                    <a:pt x="240" y="58"/>
                  </a:lnTo>
                  <a:lnTo>
                    <a:pt x="242" y="55"/>
                  </a:lnTo>
                  <a:lnTo>
                    <a:pt x="240" y="55"/>
                  </a:lnTo>
                  <a:lnTo>
                    <a:pt x="240" y="54"/>
                  </a:lnTo>
                  <a:lnTo>
                    <a:pt x="242" y="52"/>
                  </a:lnTo>
                  <a:lnTo>
                    <a:pt x="242" y="52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3" y="51"/>
                  </a:lnTo>
                  <a:lnTo>
                    <a:pt x="245" y="49"/>
                  </a:lnTo>
                  <a:lnTo>
                    <a:pt x="243" y="49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5" y="48"/>
                  </a:lnTo>
                  <a:lnTo>
                    <a:pt x="245" y="48"/>
                  </a:lnTo>
                  <a:lnTo>
                    <a:pt x="247" y="48"/>
                  </a:lnTo>
                  <a:lnTo>
                    <a:pt x="247" y="46"/>
                  </a:lnTo>
                  <a:lnTo>
                    <a:pt x="245" y="45"/>
                  </a:lnTo>
                  <a:lnTo>
                    <a:pt x="245" y="43"/>
                  </a:lnTo>
                  <a:lnTo>
                    <a:pt x="247" y="43"/>
                  </a:lnTo>
                  <a:lnTo>
                    <a:pt x="247" y="41"/>
                  </a:lnTo>
                  <a:lnTo>
                    <a:pt x="245" y="40"/>
                  </a:lnTo>
                  <a:lnTo>
                    <a:pt x="245" y="40"/>
                  </a:lnTo>
                  <a:lnTo>
                    <a:pt x="242" y="41"/>
                  </a:lnTo>
                  <a:lnTo>
                    <a:pt x="240" y="40"/>
                  </a:lnTo>
                  <a:lnTo>
                    <a:pt x="239" y="38"/>
                  </a:lnTo>
                  <a:lnTo>
                    <a:pt x="239" y="37"/>
                  </a:lnTo>
                  <a:lnTo>
                    <a:pt x="237" y="37"/>
                  </a:lnTo>
                  <a:lnTo>
                    <a:pt x="234" y="37"/>
                  </a:lnTo>
                  <a:lnTo>
                    <a:pt x="233" y="38"/>
                  </a:lnTo>
                  <a:lnTo>
                    <a:pt x="233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7" y="34"/>
                  </a:lnTo>
                  <a:lnTo>
                    <a:pt x="225" y="34"/>
                  </a:lnTo>
                  <a:lnTo>
                    <a:pt x="225" y="32"/>
                  </a:lnTo>
                  <a:lnTo>
                    <a:pt x="225" y="31"/>
                  </a:lnTo>
                  <a:lnTo>
                    <a:pt x="223" y="28"/>
                  </a:lnTo>
                  <a:lnTo>
                    <a:pt x="222" y="26"/>
                  </a:lnTo>
                  <a:lnTo>
                    <a:pt x="220" y="25"/>
                  </a:lnTo>
                  <a:lnTo>
                    <a:pt x="219" y="25"/>
                  </a:lnTo>
                  <a:lnTo>
                    <a:pt x="217" y="26"/>
                  </a:lnTo>
                  <a:lnTo>
                    <a:pt x="214" y="28"/>
                  </a:lnTo>
                  <a:lnTo>
                    <a:pt x="213" y="28"/>
                  </a:lnTo>
                  <a:lnTo>
                    <a:pt x="203" y="28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0" y="28"/>
                  </a:lnTo>
                  <a:lnTo>
                    <a:pt x="200" y="25"/>
                  </a:lnTo>
                  <a:lnTo>
                    <a:pt x="199" y="23"/>
                  </a:lnTo>
                  <a:lnTo>
                    <a:pt x="197" y="21"/>
                  </a:lnTo>
                  <a:lnTo>
                    <a:pt x="194" y="23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18"/>
                  </a:lnTo>
                  <a:lnTo>
                    <a:pt x="191" y="17"/>
                  </a:lnTo>
                  <a:lnTo>
                    <a:pt x="190" y="14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0" y="9"/>
                  </a:lnTo>
                  <a:lnTo>
                    <a:pt x="190" y="6"/>
                  </a:lnTo>
                  <a:lnTo>
                    <a:pt x="188" y="4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83" y="4"/>
                  </a:lnTo>
                  <a:lnTo>
                    <a:pt x="183" y="6"/>
                  </a:lnTo>
                  <a:lnTo>
                    <a:pt x="182" y="8"/>
                  </a:lnTo>
                  <a:lnTo>
                    <a:pt x="180" y="11"/>
                  </a:lnTo>
                  <a:lnTo>
                    <a:pt x="179" y="12"/>
                  </a:lnTo>
                  <a:lnTo>
                    <a:pt x="177" y="12"/>
                  </a:lnTo>
                  <a:lnTo>
                    <a:pt x="174" y="11"/>
                  </a:lnTo>
                  <a:lnTo>
                    <a:pt x="173" y="11"/>
                  </a:lnTo>
                  <a:lnTo>
                    <a:pt x="168" y="11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8" y="8"/>
                  </a:lnTo>
                  <a:lnTo>
                    <a:pt x="171" y="9"/>
                  </a:lnTo>
                  <a:lnTo>
                    <a:pt x="170" y="8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71" y="3"/>
                  </a:lnTo>
                  <a:lnTo>
                    <a:pt x="170" y="1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3" y="1"/>
                  </a:lnTo>
                  <a:lnTo>
                    <a:pt x="159" y="8"/>
                  </a:lnTo>
                  <a:lnTo>
                    <a:pt x="157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3" y="9"/>
                  </a:lnTo>
                  <a:lnTo>
                    <a:pt x="151" y="9"/>
                  </a:lnTo>
                  <a:lnTo>
                    <a:pt x="150" y="9"/>
                  </a:lnTo>
                  <a:lnTo>
                    <a:pt x="148" y="8"/>
                  </a:lnTo>
                  <a:lnTo>
                    <a:pt x="148" y="6"/>
                  </a:lnTo>
                  <a:lnTo>
                    <a:pt x="150" y="6"/>
                  </a:lnTo>
                  <a:lnTo>
                    <a:pt x="150" y="3"/>
                  </a:lnTo>
                  <a:lnTo>
                    <a:pt x="148" y="3"/>
                  </a:lnTo>
                  <a:lnTo>
                    <a:pt x="148" y="1"/>
                  </a:lnTo>
                  <a:lnTo>
                    <a:pt x="145" y="3"/>
                  </a:lnTo>
                  <a:lnTo>
                    <a:pt x="142" y="4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40" y="17"/>
                  </a:lnTo>
                  <a:lnTo>
                    <a:pt x="139" y="17"/>
                  </a:lnTo>
                  <a:lnTo>
                    <a:pt x="136" y="17"/>
                  </a:lnTo>
                  <a:lnTo>
                    <a:pt x="134" y="17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29" y="15"/>
                  </a:lnTo>
                  <a:lnTo>
                    <a:pt x="129" y="15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8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3" y="26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1" y="23"/>
                  </a:lnTo>
                  <a:lnTo>
                    <a:pt x="129" y="21"/>
                  </a:lnTo>
                  <a:lnTo>
                    <a:pt x="128" y="20"/>
                  </a:lnTo>
                  <a:lnTo>
                    <a:pt x="128" y="18"/>
                  </a:lnTo>
                  <a:lnTo>
                    <a:pt x="128" y="17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5" y="18"/>
                  </a:lnTo>
                  <a:lnTo>
                    <a:pt x="125" y="20"/>
                  </a:lnTo>
                  <a:lnTo>
                    <a:pt x="122" y="23"/>
                  </a:lnTo>
                  <a:lnTo>
                    <a:pt x="119" y="26"/>
                  </a:lnTo>
                  <a:lnTo>
                    <a:pt x="109" y="31"/>
                  </a:lnTo>
                  <a:lnTo>
                    <a:pt x="106" y="34"/>
                  </a:lnTo>
                  <a:lnTo>
                    <a:pt x="103" y="34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1" y="28"/>
                  </a:lnTo>
                  <a:lnTo>
                    <a:pt x="82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6" y="25"/>
                  </a:lnTo>
                  <a:lnTo>
                    <a:pt x="74" y="25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31"/>
                  </a:lnTo>
                  <a:lnTo>
                    <a:pt x="69" y="31"/>
                  </a:lnTo>
                  <a:lnTo>
                    <a:pt x="66" y="31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2" y="28"/>
                  </a:lnTo>
                  <a:lnTo>
                    <a:pt x="62" y="25"/>
                  </a:lnTo>
                  <a:lnTo>
                    <a:pt x="62" y="21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45" y="20"/>
                  </a:lnTo>
                  <a:lnTo>
                    <a:pt x="29" y="29"/>
                  </a:lnTo>
                  <a:lnTo>
                    <a:pt x="14" y="38"/>
                  </a:lnTo>
                  <a:lnTo>
                    <a:pt x="3" y="46"/>
                  </a:lnTo>
                  <a:lnTo>
                    <a:pt x="0" y="48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2" y="57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3" y="68"/>
                  </a:lnTo>
                  <a:lnTo>
                    <a:pt x="3" y="69"/>
                  </a:lnTo>
                  <a:lnTo>
                    <a:pt x="5" y="74"/>
                  </a:lnTo>
                  <a:lnTo>
                    <a:pt x="5" y="75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8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8" y="81"/>
                  </a:lnTo>
                  <a:lnTo>
                    <a:pt x="9" y="81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6"/>
                  </a:lnTo>
                  <a:lnTo>
                    <a:pt x="17" y="88"/>
                  </a:lnTo>
                  <a:lnTo>
                    <a:pt x="17" y="89"/>
                  </a:lnTo>
                  <a:lnTo>
                    <a:pt x="17" y="91"/>
                  </a:lnTo>
                  <a:lnTo>
                    <a:pt x="19" y="91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9" y="89"/>
                  </a:lnTo>
                  <a:lnTo>
                    <a:pt x="31" y="88"/>
                  </a:lnTo>
                  <a:lnTo>
                    <a:pt x="32" y="88"/>
                  </a:lnTo>
                  <a:lnTo>
                    <a:pt x="37" y="86"/>
                  </a:lnTo>
                  <a:lnTo>
                    <a:pt x="43" y="85"/>
                  </a:lnTo>
                  <a:lnTo>
                    <a:pt x="45" y="85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8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7"/>
                  </a:lnTo>
                  <a:lnTo>
                    <a:pt x="52" y="100"/>
                  </a:lnTo>
                  <a:lnTo>
                    <a:pt x="52" y="103"/>
                  </a:lnTo>
                  <a:lnTo>
                    <a:pt x="54" y="109"/>
                  </a:lnTo>
                  <a:lnTo>
                    <a:pt x="54" y="112"/>
                  </a:lnTo>
                  <a:lnTo>
                    <a:pt x="56" y="114"/>
                  </a:lnTo>
                  <a:lnTo>
                    <a:pt x="56" y="115"/>
                  </a:lnTo>
                  <a:lnTo>
                    <a:pt x="57" y="117"/>
                  </a:lnTo>
                  <a:lnTo>
                    <a:pt x="60" y="118"/>
                  </a:lnTo>
                  <a:lnTo>
                    <a:pt x="62" y="118"/>
                  </a:lnTo>
                  <a:lnTo>
                    <a:pt x="63" y="118"/>
                  </a:lnTo>
                  <a:lnTo>
                    <a:pt x="66" y="117"/>
                  </a:lnTo>
                  <a:lnTo>
                    <a:pt x="68" y="117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1" y="118"/>
                  </a:lnTo>
                  <a:lnTo>
                    <a:pt x="73" y="118"/>
                  </a:lnTo>
                  <a:lnTo>
                    <a:pt x="77" y="118"/>
                  </a:lnTo>
                  <a:lnTo>
                    <a:pt x="79" y="120"/>
                  </a:lnTo>
                  <a:lnTo>
                    <a:pt x="80" y="120"/>
                  </a:lnTo>
                  <a:lnTo>
                    <a:pt x="82" y="122"/>
                  </a:lnTo>
                  <a:lnTo>
                    <a:pt x="83" y="123"/>
                  </a:lnTo>
                  <a:lnTo>
                    <a:pt x="83" y="128"/>
                  </a:lnTo>
                  <a:lnTo>
                    <a:pt x="83" y="134"/>
                  </a:lnTo>
                  <a:lnTo>
                    <a:pt x="85" y="138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38"/>
                  </a:lnTo>
                  <a:lnTo>
                    <a:pt x="89" y="137"/>
                  </a:lnTo>
                  <a:lnTo>
                    <a:pt x="89" y="135"/>
                  </a:lnTo>
                  <a:lnTo>
                    <a:pt x="91" y="135"/>
                  </a:lnTo>
                  <a:lnTo>
                    <a:pt x="94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0" y="137"/>
                  </a:lnTo>
                  <a:lnTo>
                    <a:pt x="102" y="138"/>
                  </a:lnTo>
                  <a:lnTo>
                    <a:pt x="103" y="138"/>
                  </a:lnTo>
                  <a:lnTo>
                    <a:pt x="108" y="135"/>
                  </a:lnTo>
                  <a:lnTo>
                    <a:pt x="109" y="135"/>
                  </a:lnTo>
                  <a:lnTo>
                    <a:pt x="111" y="137"/>
                  </a:lnTo>
                  <a:lnTo>
                    <a:pt x="114" y="138"/>
                  </a:lnTo>
                  <a:lnTo>
                    <a:pt x="116" y="140"/>
                  </a:lnTo>
                  <a:lnTo>
                    <a:pt x="117" y="142"/>
                  </a:lnTo>
                  <a:lnTo>
                    <a:pt x="119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3" y="145"/>
                  </a:lnTo>
                  <a:lnTo>
                    <a:pt x="125" y="146"/>
                  </a:lnTo>
                  <a:lnTo>
                    <a:pt x="125" y="146"/>
                  </a:lnTo>
                  <a:lnTo>
                    <a:pt x="125" y="148"/>
                  </a:lnTo>
                  <a:lnTo>
                    <a:pt x="123" y="148"/>
                  </a:lnTo>
                  <a:lnTo>
                    <a:pt x="122" y="149"/>
                  </a:lnTo>
                  <a:lnTo>
                    <a:pt x="122" y="151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19" y="158"/>
                  </a:lnTo>
                  <a:lnTo>
                    <a:pt x="119" y="160"/>
                  </a:lnTo>
                  <a:lnTo>
                    <a:pt x="120" y="162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66"/>
                  </a:lnTo>
                  <a:lnTo>
                    <a:pt x="125" y="166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2" y="171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19" y="174"/>
                  </a:lnTo>
                  <a:lnTo>
                    <a:pt x="119" y="175"/>
                  </a:lnTo>
                  <a:lnTo>
                    <a:pt x="119" y="175"/>
                  </a:lnTo>
                  <a:lnTo>
                    <a:pt x="120" y="177"/>
                  </a:lnTo>
                  <a:lnTo>
                    <a:pt x="120" y="178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23" y="180"/>
                  </a:lnTo>
                  <a:lnTo>
                    <a:pt x="125" y="182"/>
                  </a:lnTo>
                  <a:lnTo>
                    <a:pt x="125" y="180"/>
                  </a:lnTo>
                  <a:lnTo>
                    <a:pt x="129" y="180"/>
                  </a:lnTo>
                  <a:lnTo>
                    <a:pt x="142" y="183"/>
                  </a:lnTo>
                  <a:lnTo>
                    <a:pt x="142" y="183"/>
                  </a:lnTo>
                  <a:lnTo>
                    <a:pt x="143" y="183"/>
                  </a:lnTo>
                  <a:lnTo>
                    <a:pt x="154" y="178"/>
                  </a:lnTo>
                  <a:lnTo>
                    <a:pt x="157" y="177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9" y="174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8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68" y="158"/>
                  </a:lnTo>
                  <a:lnTo>
                    <a:pt x="170" y="157"/>
                  </a:lnTo>
                  <a:lnTo>
                    <a:pt x="171" y="158"/>
                  </a:lnTo>
                  <a:lnTo>
                    <a:pt x="171" y="158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6"/>
                  </a:lnTo>
                  <a:lnTo>
                    <a:pt x="173" y="165"/>
                  </a:lnTo>
                  <a:lnTo>
                    <a:pt x="173" y="165"/>
                  </a:lnTo>
                  <a:lnTo>
                    <a:pt x="171" y="168"/>
                  </a:lnTo>
                  <a:lnTo>
                    <a:pt x="171" y="169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68" y="178"/>
                  </a:lnTo>
                  <a:lnTo>
                    <a:pt x="168" y="180"/>
                  </a:lnTo>
                  <a:lnTo>
                    <a:pt x="168" y="182"/>
                  </a:lnTo>
                  <a:lnTo>
                    <a:pt x="173" y="183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4" y="188"/>
                  </a:lnTo>
                  <a:lnTo>
                    <a:pt x="173" y="189"/>
                  </a:lnTo>
                  <a:lnTo>
                    <a:pt x="173" y="191"/>
                  </a:lnTo>
                  <a:lnTo>
                    <a:pt x="173" y="191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3" y="194"/>
                  </a:lnTo>
                  <a:lnTo>
                    <a:pt x="173" y="195"/>
                  </a:lnTo>
                  <a:lnTo>
                    <a:pt x="173" y="199"/>
                  </a:lnTo>
                  <a:lnTo>
                    <a:pt x="173" y="200"/>
                  </a:lnTo>
                  <a:lnTo>
                    <a:pt x="176" y="200"/>
                  </a:lnTo>
                  <a:lnTo>
                    <a:pt x="177" y="200"/>
                  </a:lnTo>
                  <a:lnTo>
                    <a:pt x="180" y="199"/>
                  </a:lnTo>
                  <a:lnTo>
                    <a:pt x="182" y="199"/>
                  </a:lnTo>
                  <a:lnTo>
                    <a:pt x="182" y="199"/>
                  </a:lnTo>
                  <a:lnTo>
                    <a:pt x="183" y="200"/>
                  </a:lnTo>
                  <a:lnTo>
                    <a:pt x="186" y="202"/>
                  </a:lnTo>
                  <a:lnTo>
                    <a:pt x="188" y="203"/>
                  </a:lnTo>
                  <a:lnTo>
                    <a:pt x="190" y="205"/>
                  </a:lnTo>
                  <a:lnTo>
                    <a:pt x="191" y="205"/>
                  </a:lnTo>
                  <a:lnTo>
                    <a:pt x="194" y="209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9" y="212"/>
                  </a:lnTo>
                  <a:lnTo>
                    <a:pt x="202" y="211"/>
                  </a:lnTo>
                  <a:lnTo>
                    <a:pt x="203" y="211"/>
                  </a:lnTo>
                  <a:lnTo>
                    <a:pt x="205" y="212"/>
                  </a:lnTo>
                  <a:lnTo>
                    <a:pt x="207" y="214"/>
                  </a:lnTo>
                  <a:lnTo>
                    <a:pt x="207" y="215"/>
                  </a:lnTo>
                  <a:lnTo>
                    <a:pt x="207" y="217"/>
                  </a:lnTo>
                  <a:lnTo>
                    <a:pt x="205" y="217"/>
                  </a:lnTo>
                  <a:lnTo>
                    <a:pt x="205" y="219"/>
                  </a:lnTo>
                  <a:lnTo>
                    <a:pt x="205" y="220"/>
                  </a:lnTo>
                  <a:lnTo>
                    <a:pt x="207" y="220"/>
                  </a:lnTo>
                  <a:lnTo>
                    <a:pt x="208" y="220"/>
                  </a:lnTo>
                  <a:lnTo>
                    <a:pt x="208" y="220"/>
                  </a:lnTo>
                  <a:lnTo>
                    <a:pt x="208" y="220"/>
                  </a:lnTo>
                  <a:lnTo>
                    <a:pt x="208" y="219"/>
                  </a:lnTo>
                  <a:lnTo>
                    <a:pt x="208" y="219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3" y="220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7" y="228"/>
                  </a:lnTo>
                  <a:lnTo>
                    <a:pt x="217" y="229"/>
                  </a:lnTo>
                  <a:lnTo>
                    <a:pt x="217" y="229"/>
                  </a:lnTo>
                  <a:lnTo>
                    <a:pt x="217" y="231"/>
                  </a:lnTo>
                  <a:lnTo>
                    <a:pt x="217" y="232"/>
                  </a:lnTo>
                  <a:lnTo>
                    <a:pt x="217" y="232"/>
                  </a:lnTo>
                  <a:lnTo>
                    <a:pt x="219" y="234"/>
                  </a:lnTo>
                  <a:lnTo>
                    <a:pt x="222" y="232"/>
                  </a:lnTo>
                  <a:lnTo>
                    <a:pt x="223" y="231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8" y="231"/>
                  </a:lnTo>
                  <a:lnTo>
                    <a:pt x="228" y="231"/>
                  </a:lnTo>
                  <a:lnTo>
                    <a:pt x="230" y="231"/>
                  </a:lnTo>
                  <a:lnTo>
                    <a:pt x="230" y="229"/>
                  </a:lnTo>
                  <a:lnTo>
                    <a:pt x="230" y="229"/>
                  </a:lnTo>
                  <a:lnTo>
                    <a:pt x="231" y="228"/>
                  </a:lnTo>
                  <a:lnTo>
                    <a:pt x="234" y="228"/>
                  </a:lnTo>
                  <a:lnTo>
                    <a:pt x="236" y="229"/>
                  </a:lnTo>
                  <a:lnTo>
                    <a:pt x="237" y="229"/>
                  </a:lnTo>
                  <a:lnTo>
                    <a:pt x="237" y="229"/>
                  </a:lnTo>
                  <a:lnTo>
                    <a:pt x="239" y="228"/>
                  </a:lnTo>
                  <a:lnTo>
                    <a:pt x="239" y="228"/>
                  </a:lnTo>
                  <a:lnTo>
                    <a:pt x="240" y="228"/>
                  </a:lnTo>
                  <a:lnTo>
                    <a:pt x="242" y="228"/>
                  </a:lnTo>
                  <a:lnTo>
                    <a:pt x="243" y="229"/>
                  </a:lnTo>
                  <a:lnTo>
                    <a:pt x="245" y="228"/>
                  </a:lnTo>
                  <a:lnTo>
                    <a:pt x="247" y="226"/>
                  </a:lnTo>
                  <a:lnTo>
                    <a:pt x="247" y="225"/>
                  </a:lnTo>
                  <a:lnTo>
                    <a:pt x="245" y="223"/>
                  </a:lnTo>
                  <a:lnTo>
                    <a:pt x="247" y="223"/>
                  </a:lnTo>
                  <a:lnTo>
                    <a:pt x="247" y="222"/>
                  </a:lnTo>
                  <a:lnTo>
                    <a:pt x="248" y="219"/>
                  </a:lnTo>
                  <a:lnTo>
                    <a:pt x="248" y="219"/>
                  </a:lnTo>
                  <a:lnTo>
                    <a:pt x="250" y="217"/>
                  </a:lnTo>
                  <a:lnTo>
                    <a:pt x="250" y="217"/>
                  </a:lnTo>
                  <a:lnTo>
                    <a:pt x="250" y="215"/>
                  </a:lnTo>
                  <a:lnTo>
                    <a:pt x="248" y="214"/>
                  </a:lnTo>
                  <a:lnTo>
                    <a:pt x="248" y="214"/>
                  </a:lnTo>
                  <a:lnTo>
                    <a:pt x="247" y="214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1"/>
                  </a:lnTo>
                  <a:lnTo>
                    <a:pt x="247" y="211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48" y="209"/>
                  </a:lnTo>
                  <a:lnTo>
                    <a:pt x="248" y="209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7" y="208"/>
                  </a:lnTo>
                  <a:lnTo>
                    <a:pt x="245" y="208"/>
                  </a:lnTo>
                  <a:lnTo>
                    <a:pt x="245" y="208"/>
                  </a:lnTo>
                  <a:lnTo>
                    <a:pt x="243" y="208"/>
                  </a:lnTo>
                  <a:lnTo>
                    <a:pt x="243" y="208"/>
                  </a:lnTo>
                  <a:lnTo>
                    <a:pt x="243" y="206"/>
                  </a:lnTo>
                  <a:lnTo>
                    <a:pt x="243" y="205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0" y="200"/>
                  </a:lnTo>
                  <a:lnTo>
                    <a:pt x="239" y="200"/>
                  </a:lnTo>
                  <a:lnTo>
                    <a:pt x="239" y="200"/>
                  </a:lnTo>
                  <a:lnTo>
                    <a:pt x="237" y="199"/>
                  </a:lnTo>
                  <a:lnTo>
                    <a:pt x="237" y="197"/>
                  </a:lnTo>
                  <a:lnTo>
                    <a:pt x="237" y="195"/>
                  </a:lnTo>
                  <a:lnTo>
                    <a:pt x="237" y="194"/>
                  </a:lnTo>
                  <a:lnTo>
                    <a:pt x="239" y="194"/>
                  </a:lnTo>
                  <a:lnTo>
                    <a:pt x="237" y="194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40" y="192"/>
                  </a:lnTo>
                  <a:lnTo>
                    <a:pt x="239" y="191"/>
                  </a:lnTo>
                  <a:lnTo>
                    <a:pt x="237" y="189"/>
                  </a:lnTo>
                  <a:lnTo>
                    <a:pt x="237" y="189"/>
                  </a:lnTo>
                  <a:lnTo>
                    <a:pt x="237" y="188"/>
                  </a:lnTo>
                  <a:lnTo>
                    <a:pt x="240" y="183"/>
                  </a:lnTo>
                  <a:lnTo>
                    <a:pt x="240" y="183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2" y="182"/>
                  </a:lnTo>
                  <a:lnTo>
                    <a:pt x="242" y="180"/>
                  </a:lnTo>
                  <a:lnTo>
                    <a:pt x="243" y="180"/>
                  </a:lnTo>
                  <a:lnTo>
                    <a:pt x="243" y="180"/>
                  </a:lnTo>
                  <a:lnTo>
                    <a:pt x="245" y="178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5"/>
                  </a:lnTo>
                  <a:lnTo>
                    <a:pt x="243" y="174"/>
                  </a:lnTo>
                  <a:lnTo>
                    <a:pt x="245" y="174"/>
                  </a:lnTo>
                  <a:lnTo>
                    <a:pt x="247" y="174"/>
                  </a:lnTo>
                  <a:lnTo>
                    <a:pt x="247" y="172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7" y="169"/>
                  </a:lnTo>
                  <a:lnTo>
                    <a:pt x="248" y="168"/>
                  </a:lnTo>
                  <a:lnTo>
                    <a:pt x="248" y="168"/>
                  </a:lnTo>
                  <a:lnTo>
                    <a:pt x="248" y="166"/>
                  </a:lnTo>
                  <a:lnTo>
                    <a:pt x="248" y="165"/>
                  </a:lnTo>
                  <a:lnTo>
                    <a:pt x="248" y="165"/>
                  </a:lnTo>
                  <a:lnTo>
                    <a:pt x="250" y="163"/>
                  </a:lnTo>
                  <a:lnTo>
                    <a:pt x="253" y="162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59" y="155"/>
                  </a:lnTo>
                  <a:lnTo>
                    <a:pt x="259" y="157"/>
                  </a:lnTo>
                  <a:lnTo>
                    <a:pt x="259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2" y="158"/>
                  </a:lnTo>
                  <a:lnTo>
                    <a:pt x="263" y="158"/>
                  </a:lnTo>
                  <a:lnTo>
                    <a:pt x="263" y="157"/>
                  </a:lnTo>
                  <a:lnTo>
                    <a:pt x="263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7" y="158"/>
                  </a:lnTo>
                  <a:lnTo>
                    <a:pt x="265" y="160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8" y="160"/>
                  </a:lnTo>
                  <a:lnTo>
                    <a:pt x="268" y="160"/>
                  </a:lnTo>
                  <a:lnTo>
                    <a:pt x="268" y="160"/>
                  </a:lnTo>
                  <a:lnTo>
                    <a:pt x="267" y="158"/>
                  </a:lnTo>
                  <a:lnTo>
                    <a:pt x="267" y="158"/>
                  </a:lnTo>
                  <a:lnTo>
                    <a:pt x="268" y="157"/>
                  </a:lnTo>
                  <a:lnTo>
                    <a:pt x="268" y="157"/>
                  </a:lnTo>
                  <a:lnTo>
                    <a:pt x="268" y="155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1" y="154"/>
                  </a:lnTo>
                  <a:lnTo>
                    <a:pt x="271" y="154"/>
                  </a:lnTo>
                  <a:lnTo>
                    <a:pt x="270" y="152"/>
                  </a:lnTo>
                  <a:lnTo>
                    <a:pt x="270" y="151"/>
                  </a:lnTo>
                  <a:lnTo>
                    <a:pt x="270" y="149"/>
                  </a:lnTo>
                  <a:lnTo>
                    <a:pt x="271" y="149"/>
                  </a:lnTo>
                  <a:lnTo>
                    <a:pt x="273" y="148"/>
                  </a:lnTo>
                  <a:lnTo>
                    <a:pt x="274" y="146"/>
                  </a:lnTo>
                  <a:lnTo>
                    <a:pt x="277" y="146"/>
                  </a:lnTo>
                  <a:lnTo>
                    <a:pt x="279" y="145"/>
                  </a:lnTo>
                  <a:lnTo>
                    <a:pt x="279" y="143"/>
                  </a:lnTo>
                  <a:lnTo>
                    <a:pt x="279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0" y="140"/>
                  </a:lnTo>
                  <a:lnTo>
                    <a:pt x="282" y="140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5" y="140"/>
                  </a:lnTo>
                  <a:lnTo>
                    <a:pt x="287" y="138"/>
                  </a:lnTo>
                  <a:lnTo>
                    <a:pt x="287" y="138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105"/>
            <p:cNvSpPr>
              <a:spLocks/>
            </p:cNvSpPr>
            <p:nvPr/>
          </p:nvSpPr>
          <p:spPr bwMode="gray">
            <a:xfrm>
              <a:off x="8421688" y="5441951"/>
              <a:ext cx="1128713" cy="981075"/>
            </a:xfrm>
            <a:custGeom>
              <a:avLst/>
              <a:gdLst>
                <a:gd name="T0" fmla="*/ 694 w 711"/>
                <a:gd name="T1" fmla="*/ 337 h 618"/>
                <a:gd name="T2" fmla="*/ 679 w 711"/>
                <a:gd name="T3" fmla="*/ 310 h 618"/>
                <a:gd name="T4" fmla="*/ 643 w 711"/>
                <a:gd name="T5" fmla="*/ 273 h 618"/>
                <a:gd name="T6" fmla="*/ 605 w 711"/>
                <a:gd name="T7" fmla="*/ 236 h 618"/>
                <a:gd name="T8" fmla="*/ 582 w 711"/>
                <a:gd name="T9" fmla="*/ 190 h 618"/>
                <a:gd name="T10" fmla="*/ 577 w 711"/>
                <a:gd name="T11" fmla="*/ 148 h 618"/>
                <a:gd name="T12" fmla="*/ 580 w 711"/>
                <a:gd name="T13" fmla="*/ 131 h 618"/>
                <a:gd name="T14" fmla="*/ 576 w 711"/>
                <a:gd name="T15" fmla="*/ 91 h 618"/>
                <a:gd name="T16" fmla="*/ 554 w 711"/>
                <a:gd name="T17" fmla="*/ 65 h 618"/>
                <a:gd name="T18" fmla="*/ 519 w 711"/>
                <a:gd name="T19" fmla="*/ 43 h 618"/>
                <a:gd name="T20" fmla="*/ 460 w 711"/>
                <a:gd name="T21" fmla="*/ 46 h 618"/>
                <a:gd name="T22" fmla="*/ 449 w 711"/>
                <a:gd name="T23" fmla="*/ 22 h 618"/>
                <a:gd name="T24" fmla="*/ 408 w 711"/>
                <a:gd name="T25" fmla="*/ 12 h 618"/>
                <a:gd name="T26" fmla="*/ 355 w 711"/>
                <a:gd name="T27" fmla="*/ 6 h 618"/>
                <a:gd name="T28" fmla="*/ 312 w 711"/>
                <a:gd name="T29" fmla="*/ 43 h 618"/>
                <a:gd name="T30" fmla="*/ 255 w 711"/>
                <a:gd name="T31" fmla="*/ 65 h 618"/>
                <a:gd name="T32" fmla="*/ 251 w 711"/>
                <a:gd name="T33" fmla="*/ 111 h 618"/>
                <a:gd name="T34" fmla="*/ 246 w 711"/>
                <a:gd name="T35" fmla="*/ 133 h 618"/>
                <a:gd name="T36" fmla="*/ 209 w 711"/>
                <a:gd name="T37" fmla="*/ 159 h 618"/>
                <a:gd name="T38" fmla="*/ 192 w 711"/>
                <a:gd name="T39" fmla="*/ 179 h 618"/>
                <a:gd name="T40" fmla="*/ 183 w 711"/>
                <a:gd name="T41" fmla="*/ 223 h 618"/>
                <a:gd name="T42" fmla="*/ 192 w 711"/>
                <a:gd name="T43" fmla="*/ 245 h 618"/>
                <a:gd name="T44" fmla="*/ 185 w 711"/>
                <a:gd name="T45" fmla="*/ 263 h 618"/>
                <a:gd name="T46" fmla="*/ 166 w 711"/>
                <a:gd name="T47" fmla="*/ 247 h 618"/>
                <a:gd name="T48" fmla="*/ 123 w 711"/>
                <a:gd name="T49" fmla="*/ 265 h 618"/>
                <a:gd name="T50" fmla="*/ 112 w 711"/>
                <a:gd name="T51" fmla="*/ 280 h 618"/>
                <a:gd name="T52" fmla="*/ 60 w 711"/>
                <a:gd name="T53" fmla="*/ 288 h 618"/>
                <a:gd name="T54" fmla="*/ 26 w 711"/>
                <a:gd name="T55" fmla="*/ 297 h 618"/>
                <a:gd name="T56" fmla="*/ 54 w 711"/>
                <a:gd name="T57" fmla="*/ 384 h 618"/>
                <a:gd name="T58" fmla="*/ 55 w 711"/>
                <a:gd name="T59" fmla="*/ 416 h 618"/>
                <a:gd name="T60" fmla="*/ 3 w 711"/>
                <a:gd name="T61" fmla="*/ 496 h 618"/>
                <a:gd name="T62" fmla="*/ 24 w 711"/>
                <a:gd name="T63" fmla="*/ 505 h 618"/>
                <a:gd name="T64" fmla="*/ 37 w 711"/>
                <a:gd name="T65" fmla="*/ 530 h 618"/>
                <a:gd name="T66" fmla="*/ 29 w 711"/>
                <a:gd name="T67" fmla="*/ 558 h 618"/>
                <a:gd name="T68" fmla="*/ 30 w 711"/>
                <a:gd name="T69" fmla="*/ 579 h 618"/>
                <a:gd name="T70" fmla="*/ 49 w 711"/>
                <a:gd name="T71" fmla="*/ 571 h 618"/>
                <a:gd name="T72" fmla="*/ 148 w 711"/>
                <a:gd name="T73" fmla="*/ 533 h 618"/>
                <a:gd name="T74" fmla="*/ 275 w 711"/>
                <a:gd name="T75" fmla="*/ 556 h 618"/>
                <a:gd name="T76" fmla="*/ 311 w 711"/>
                <a:gd name="T77" fmla="*/ 575 h 618"/>
                <a:gd name="T78" fmla="*/ 340 w 711"/>
                <a:gd name="T79" fmla="*/ 590 h 618"/>
                <a:gd name="T80" fmla="*/ 371 w 711"/>
                <a:gd name="T81" fmla="*/ 573 h 618"/>
                <a:gd name="T82" fmla="*/ 392 w 711"/>
                <a:gd name="T83" fmla="*/ 579 h 618"/>
                <a:gd name="T84" fmla="*/ 416 w 711"/>
                <a:gd name="T85" fmla="*/ 590 h 618"/>
                <a:gd name="T86" fmla="*/ 451 w 711"/>
                <a:gd name="T87" fmla="*/ 584 h 618"/>
                <a:gd name="T88" fmla="*/ 473 w 711"/>
                <a:gd name="T89" fmla="*/ 593 h 618"/>
                <a:gd name="T90" fmla="*/ 503 w 711"/>
                <a:gd name="T91" fmla="*/ 591 h 618"/>
                <a:gd name="T92" fmla="*/ 536 w 711"/>
                <a:gd name="T93" fmla="*/ 610 h 618"/>
                <a:gd name="T94" fmla="*/ 553 w 711"/>
                <a:gd name="T95" fmla="*/ 610 h 618"/>
                <a:gd name="T96" fmla="*/ 554 w 711"/>
                <a:gd name="T97" fmla="*/ 590 h 618"/>
                <a:gd name="T98" fmla="*/ 550 w 711"/>
                <a:gd name="T99" fmla="*/ 576 h 618"/>
                <a:gd name="T100" fmla="*/ 556 w 711"/>
                <a:gd name="T101" fmla="*/ 558 h 618"/>
                <a:gd name="T102" fmla="*/ 563 w 711"/>
                <a:gd name="T103" fmla="*/ 541 h 618"/>
                <a:gd name="T104" fmla="*/ 574 w 711"/>
                <a:gd name="T105" fmla="*/ 528 h 618"/>
                <a:gd name="T106" fmla="*/ 596 w 711"/>
                <a:gd name="T107" fmla="*/ 518 h 618"/>
                <a:gd name="T108" fmla="*/ 634 w 711"/>
                <a:gd name="T109" fmla="*/ 498 h 618"/>
                <a:gd name="T110" fmla="*/ 625 w 711"/>
                <a:gd name="T111" fmla="*/ 467 h 618"/>
                <a:gd name="T112" fmla="*/ 627 w 711"/>
                <a:gd name="T113" fmla="*/ 439 h 618"/>
                <a:gd name="T114" fmla="*/ 608 w 711"/>
                <a:gd name="T115" fmla="*/ 394 h 618"/>
                <a:gd name="T116" fmla="*/ 640 w 711"/>
                <a:gd name="T117" fmla="*/ 382 h 618"/>
                <a:gd name="T118" fmla="*/ 673 w 711"/>
                <a:gd name="T119" fmla="*/ 393 h 618"/>
                <a:gd name="T120" fmla="*/ 691 w 711"/>
                <a:gd name="T121" fmla="*/ 367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1" h="618">
                  <a:moveTo>
                    <a:pt x="711" y="350"/>
                  </a:moveTo>
                  <a:lnTo>
                    <a:pt x="710" y="347"/>
                  </a:lnTo>
                  <a:lnTo>
                    <a:pt x="710" y="347"/>
                  </a:lnTo>
                  <a:lnTo>
                    <a:pt x="707" y="348"/>
                  </a:lnTo>
                  <a:lnTo>
                    <a:pt x="707" y="348"/>
                  </a:lnTo>
                  <a:lnTo>
                    <a:pt x="705" y="347"/>
                  </a:lnTo>
                  <a:lnTo>
                    <a:pt x="707" y="345"/>
                  </a:lnTo>
                  <a:lnTo>
                    <a:pt x="707" y="344"/>
                  </a:lnTo>
                  <a:lnTo>
                    <a:pt x="705" y="344"/>
                  </a:lnTo>
                  <a:lnTo>
                    <a:pt x="704" y="344"/>
                  </a:lnTo>
                  <a:lnTo>
                    <a:pt x="702" y="344"/>
                  </a:lnTo>
                  <a:lnTo>
                    <a:pt x="702" y="344"/>
                  </a:lnTo>
                  <a:lnTo>
                    <a:pt x="702" y="345"/>
                  </a:lnTo>
                  <a:lnTo>
                    <a:pt x="700" y="344"/>
                  </a:lnTo>
                  <a:lnTo>
                    <a:pt x="700" y="344"/>
                  </a:lnTo>
                  <a:lnTo>
                    <a:pt x="700" y="344"/>
                  </a:lnTo>
                  <a:lnTo>
                    <a:pt x="699" y="340"/>
                  </a:lnTo>
                  <a:lnTo>
                    <a:pt x="697" y="340"/>
                  </a:lnTo>
                  <a:lnTo>
                    <a:pt x="694" y="337"/>
                  </a:lnTo>
                  <a:lnTo>
                    <a:pt x="691" y="337"/>
                  </a:lnTo>
                  <a:lnTo>
                    <a:pt x="690" y="334"/>
                  </a:lnTo>
                  <a:lnTo>
                    <a:pt x="688" y="333"/>
                  </a:lnTo>
                  <a:lnTo>
                    <a:pt x="688" y="328"/>
                  </a:lnTo>
                  <a:lnTo>
                    <a:pt x="688" y="327"/>
                  </a:lnTo>
                  <a:lnTo>
                    <a:pt x="688" y="325"/>
                  </a:lnTo>
                  <a:lnTo>
                    <a:pt x="688" y="325"/>
                  </a:lnTo>
                  <a:lnTo>
                    <a:pt x="694" y="322"/>
                  </a:lnTo>
                  <a:lnTo>
                    <a:pt x="694" y="322"/>
                  </a:lnTo>
                  <a:lnTo>
                    <a:pt x="694" y="320"/>
                  </a:lnTo>
                  <a:lnTo>
                    <a:pt x="694" y="319"/>
                  </a:lnTo>
                  <a:lnTo>
                    <a:pt x="694" y="319"/>
                  </a:lnTo>
                  <a:lnTo>
                    <a:pt x="693" y="316"/>
                  </a:lnTo>
                  <a:lnTo>
                    <a:pt x="691" y="316"/>
                  </a:lnTo>
                  <a:lnTo>
                    <a:pt x="690" y="316"/>
                  </a:lnTo>
                  <a:lnTo>
                    <a:pt x="685" y="316"/>
                  </a:lnTo>
                  <a:lnTo>
                    <a:pt x="685" y="314"/>
                  </a:lnTo>
                  <a:lnTo>
                    <a:pt x="682" y="311"/>
                  </a:lnTo>
                  <a:lnTo>
                    <a:pt x="679" y="310"/>
                  </a:lnTo>
                  <a:lnTo>
                    <a:pt x="670" y="307"/>
                  </a:lnTo>
                  <a:lnTo>
                    <a:pt x="667" y="304"/>
                  </a:lnTo>
                  <a:lnTo>
                    <a:pt x="664" y="304"/>
                  </a:lnTo>
                  <a:lnTo>
                    <a:pt x="648" y="308"/>
                  </a:lnTo>
                  <a:lnTo>
                    <a:pt x="642" y="305"/>
                  </a:lnTo>
                  <a:lnTo>
                    <a:pt x="639" y="305"/>
                  </a:lnTo>
                  <a:lnTo>
                    <a:pt x="640" y="302"/>
                  </a:lnTo>
                  <a:lnTo>
                    <a:pt x="642" y="297"/>
                  </a:lnTo>
                  <a:lnTo>
                    <a:pt x="643" y="294"/>
                  </a:lnTo>
                  <a:lnTo>
                    <a:pt x="645" y="287"/>
                  </a:lnTo>
                  <a:lnTo>
                    <a:pt x="647" y="285"/>
                  </a:lnTo>
                  <a:lnTo>
                    <a:pt x="647" y="284"/>
                  </a:lnTo>
                  <a:lnTo>
                    <a:pt x="647" y="282"/>
                  </a:lnTo>
                  <a:lnTo>
                    <a:pt x="647" y="282"/>
                  </a:lnTo>
                  <a:lnTo>
                    <a:pt x="647" y="280"/>
                  </a:lnTo>
                  <a:lnTo>
                    <a:pt x="645" y="274"/>
                  </a:lnTo>
                  <a:lnTo>
                    <a:pt x="645" y="273"/>
                  </a:lnTo>
                  <a:lnTo>
                    <a:pt x="645" y="273"/>
                  </a:lnTo>
                  <a:lnTo>
                    <a:pt x="643" y="273"/>
                  </a:lnTo>
                  <a:lnTo>
                    <a:pt x="643" y="273"/>
                  </a:lnTo>
                  <a:lnTo>
                    <a:pt x="642" y="274"/>
                  </a:lnTo>
                  <a:lnTo>
                    <a:pt x="640" y="274"/>
                  </a:lnTo>
                  <a:lnTo>
                    <a:pt x="640" y="273"/>
                  </a:lnTo>
                  <a:lnTo>
                    <a:pt x="640" y="270"/>
                  </a:lnTo>
                  <a:lnTo>
                    <a:pt x="639" y="268"/>
                  </a:lnTo>
                  <a:lnTo>
                    <a:pt x="639" y="268"/>
                  </a:lnTo>
                  <a:lnTo>
                    <a:pt x="637" y="267"/>
                  </a:lnTo>
                  <a:lnTo>
                    <a:pt x="636" y="267"/>
                  </a:lnTo>
                  <a:lnTo>
                    <a:pt x="633" y="267"/>
                  </a:lnTo>
                  <a:lnTo>
                    <a:pt x="627" y="263"/>
                  </a:lnTo>
                  <a:lnTo>
                    <a:pt x="623" y="262"/>
                  </a:lnTo>
                  <a:lnTo>
                    <a:pt x="622" y="262"/>
                  </a:lnTo>
                  <a:lnTo>
                    <a:pt x="619" y="260"/>
                  </a:lnTo>
                  <a:lnTo>
                    <a:pt x="608" y="251"/>
                  </a:lnTo>
                  <a:lnTo>
                    <a:pt x="607" y="248"/>
                  </a:lnTo>
                  <a:lnTo>
                    <a:pt x="607" y="245"/>
                  </a:lnTo>
                  <a:lnTo>
                    <a:pt x="605" y="237"/>
                  </a:lnTo>
                  <a:lnTo>
                    <a:pt x="605" y="236"/>
                  </a:lnTo>
                  <a:lnTo>
                    <a:pt x="603" y="234"/>
                  </a:lnTo>
                  <a:lnTo>
                    <a:pt x="603" y="233"/>
                  </a:lnTo>
                  <a:lnTo>
                    <a:pt x="602" y="231"/>
                  </a:lnTo>
                  <a:lnTo>
                    <a:pt x="600" y="225"/>
                  </a:lnTo>
                  <a:lnTo>
                    <a:pt x="599" y="223"/>
                  </a:lnTo>
                  <a:lnTo>
                    <a:pt x="597" y="222"/>
                  </a:lnTo>
                  <a:lnTo>
                    <a:pt x="597" y="222"/>
                  </a:lnTo>
                  <a:lnTo>
                    <a:pt x="596" y="220"/>
                  </a:lnTo>
                  <a:lnTo>
                    <a:pt x="591" y="219"/>
                  </a:lnTo>
                  <a:lnTo>
                    <a:pt x="588" y="217"/>
                  </a:lnTo>
                  <a:lnTo>
                    <a:pt x="590" y="211"/>
                  </a:lnTo>
                  <a:lnTo>
                    <a:pt x="594" y="205"/>
                  </a:lnTo>
                  <a:lnTo>
                    <a:pt x="596" y="200"/>
                  </a:lnTo>
                  <a:lnTo>
                    <a:pt x="593" y="199"/>
                  </a:lnTo>
                  <a:lnTo>
                    <a:pt x="591" y="194"/>
                  </a:lnTo>
                  <a:lnTo>
                    <a:pt x="585" y="194"/>
                  </a:lnTo>
                  <a:lnTo>
                    <a:pt x="583" y="194"/>
                  </a:lnTo>
                  <a:lnTo>
                    <a:pt x="583" y="191"/>
                  </a:lnTo>
                  <a:lnTo>
                    <a:pt x="582" y="190"/>
                  </a:lnTo>
                  <a:lnTo>
                    <a:pt x="571" y="182"/>
                  </a:lnTo>
                  <a:lnTo>
                    <a:pt x="568" y="180"/>
                  </a:lnTo>
                  <a:lnTo>
                    <a:pt x="566" y="179"/>
                  </a:lnTo>
                  <a:lnTo>
                    <a:pt x="566" y="177"/>
                  </a:lnTo>
                  <a:lnTo>
                    <a:pt x="566" y="174"/>
                  </a:lnTo>
                  <a:lnTo>
                    <a:pt x="568" y="171"/>
                  </a:lnTo>
                  <a:lnTo>
                    <a:pt x="570" y="170"/>
                  </a:lnTo>
                  <a:lnTo>
                    <a:pt x="571" y="168"/>
                  </a:lnTo>
                  <a:lnTo>
                    <a:pt x="571" y="165"/>
                  </a:lnTo>
                  <a:lnTo>
                    <a:pt x="570" y="162"/>
                  </a:lnTo>
                  <a:lnTo>
                    <a:pt x="570" y="162"/>
                  </a:lnTo>
                  <a:lnTo>
                    <a:pt x="571" y="160"/>
                  </a:lnTo>
                  <a:lnTo>
                    <a:pt x="576" y="159"/>
                  </a:lnTo>
                  <a:lnTo>
                    <a:pt x="577" y="157"/>
                  </a:lnTo>
                  <a:lnTo>
                    <a:pt x="579" y="156"/>
                  </a:lnTo>
                  <a:lnTo>
                    <a:pt x="579" y="154"/>
                  </a:lnTo>
                  <a:lnTo>
                    <a:pt x="577" y="153"/>
                  </a:lnTo>
                  <a:lnTo>
                    <a:pt x="577" y="150"/>
                  </a:lnTo>
                  <a:lnTo>
                    <a:pt x="577" y="148"/>
                  </a:lnTo>
                  <a:lnTo>
                    <a:pt x="579" y="148"/>
                  </a:lnTo>
                  <a:lnTo>
                    <a:pt x="582" y="150"/>
                  </a:lnTo>
                  <a:lnTo>
                    <a:pt x="583" y="150"/>
                  </a:lnTo>
                  <a:lnTo>
                    <a:pt x="583" y="146"/>
                  </a:lnTo>
                  <a:lnTo>
                    <a:pt x="583" y="143"/>
                  </a:lnTo>
                  <a:lnTo>
                    <a:pt x="582" y="140"/>
                  </a:lnTo>
                  <a:lnTo>
                    <a:pt x="582" y="140"/>
                  </a:lnTo>
                  <a:lnTo>
                    <a:pt x="582" y="139"/>
                  </a:lnTo>
                  <a:lnTo>
                    <a:pt x="582" y="137"/>
                  </a:lnTo>
                  <a:lnTo>
                    <a:pt x="582" y="137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0" y="133"/>
                  </a:lnTo>
                  <a:lnTo>
                    <a:pt x="580" y="133"/>
                  </a:lnTo>
                  <a:lnTo>
                    <a:pt x="580" y="133"/>
                  </a:lnTo>
                  <a:lnTo>
                    <a:pt x="580" y="131"/>
                  </a:lnTo>
                  <a:lnTo>
                    <a:pt x="580" y="131"/>
                  </a:lnTo>
                  <a:lnTo>
                    <a:pt x="580" y="130"/>
                  </a:lnTo>
                  <a:lnTo>
                    <a:pt x="576" y="126"/>
                  </a:lnTo>
                  <a:lnTo>
                    <a:pt x="576" y="125"/>
                  </a:lnTo>
                  <a:lnTo>
                    <a:pt x="574" y="120"/>
                  </a:lnTo>
                  <a:lnTo>
                    <a:pt x="573" y="119"/>
                  </a:lnTo>
                  <a:lnTo>
                    <a:pt x="570" y="117"/>
                  </a:lnTo>
                  <a:lnTo>
                    <a:pt x="570" y="116"/>
                  </a:lnTo>
                  <a:lnTo>
                    <a:pt x="568" y="114"/>
                  </a:lnTo>
                  <a:lnTo>
                    <a:pt x="568" y="113"/>
                  </a:lnTo>
                  <a:lnTo>
                    <a:pt x="570" y="110"/>
                  </a:lnTo>
                  <a:lnTo>
                    <a:pt x="573" y="106"/>
                  </a:lnTo>
                  <a:lnTo>
                    <a:pt x="577" y="103"/>
                  </a:lnTo>
                  <a:lnTo>
                    <a:pt x="577" y="102"/>
                  </a:lnTo>
                  <a:lnTo>
                    <a:pt x="577" y="99"/>
                  </a:lnTo>
                  <a:lnTo>
                    <a:pt x="576" y="97"/>
                  </a:lnTo>
                  <a:lnTo>
                    <a:pt x="576" y="96"/>
                  </a:lnTo>
                  <a:lnTo>
                    <a:pt x="574" y="93"/>
                  </a:lnTo>
                  <a:lnTo>
                    <a:pt x="576" y="91"/>
                  </a:lnTo>
                  <a:lnTo>
                    <a:pt x="577" y="89"/>
                  </a:lnTo>
                  <a:lnTo>
                    <a:pt x="577" y="88"/>
                  </a:lnTo>
                  <a:lnTo>
                    <a:pt x="577" y="88"/>
                  </a:lnTo>
                  <a:lnTo>
                    <a:pt x="576" y="86"/>
                  </a:lnTo>
                  <a:lnTo>
                    <a:pt x="577" y="82"/>
                  </a:lnTo>
                  <a:lnTo>
                    <a:pt x="577" y="77"/>
                  </a:lnTo>
                  <a:lnTo>
                    <a:pt x="577" y="77"/>
                  </a:lnTo>
                  <a:lnTo>
                    <a:pt x="576" y="74"/>
                  </a:lnTo>
                  <a:lnTo>
                    <a:pt x="573" y="73"/>
                  </a:lnTo>
                  <a:lnTo>
                    <a:pt x="570" y="73"/>
                  </a:lnTo>
                  <a:lnTo>
                    <a:pt x="566" y="74"/>
                  </a:lnTo>
                  <a:lnTo>
                    <a:pt x="565" y="74"/>
                  </a:lnTo>
                  <a:lnTo>
                    <a:pt x="562" y="69"/>
                  </a:lnTo>
                  <a:lnTo>
                    <a:pt x="562" y="68"/>
                  </a:lnTo>
                  <a:lnTo>
                    <a:pt x="560" y="66"/>
                  </a:lnTo>
                  <a:lnTo>
                    <a:pt x="560" y="66"/>
                  </a:lnTo>
                  <a:lnTo>
                    <a:pt x="557" y="66"/>
                  </a:lnTo>
                  <a:lnTo>
                    <a:pt x="556" y="66"/>
                  </a:lnTo>
                  <a:lnTo>
                    <a:pt x="554" y="65"/>
                  </a:lnTo>
                  <a:lnTo>
                    <a:pt x="553" y="63"/>
                  </a:lnTo>
                  <a:lnTo>
                    <a:pt x="553" y="62"/>
                  </a:lnTo>
                  <a:lnTo>
                    <a:pt x="553" y="60"/>
                  </a:lnTo>
                  <a:lnTo>
                    <a:pt x="553" y="60"/>
                  </a:lnTo>
                  <a:lnTo>
                    <a:pt x="553" y="57"/>
                  </a:lnTo>
                  <a:lnTo>
                    <a:pt x="553" y="57"/>
                  </a:lnTo>
                  <a:lnTo>
                    <a:pt x="551" y="57"/>
                  </a:lnTo>
                  <a:lnTo>
                    <a:pt x="545" y="53"/>
                  </a:lnTo>
                  <a:lnTo>
                    <a:pt x="543" y="53"/>
                  </a:lnTo>
                  <a:lnTo>
                    <a:pt x="545" y="51"/>
                  </a:lnTo>
                  <a:lnTo>
                    <a:pt x="545" y="49"/>
                  </a:lnTo>
                  <a:lnTo>
                    <a:pt x="545" y="49"/>
                  </a:lnTo>
                  <a:lnTo>
                    <a:pt x="543" y="48"/>
                  </a:lnTo>
                  <a:lnTo>
                    <a:pt x="530" y="43"/>
                  </a:lnTo>
                  <a:lnTo>
                    <a:pt x="528" y="42"/>
                  </a:lnTo>
                  <a:lnTo>
                    <a:pt x="525" y="40"/>
                  </a:lnTo>
                  <a:lnTo>
                    <a:pt x="523" y="40"/>
                  </a:lnTo>
                  <a:lnTo>
                    <a:pt x="522" y="40"/>
                  </a:lnTo>
                  <a:lnTo>
                    <a:pt x="519" y="43"/>
                  </a:lnTo>
                  <a:lnTo>
                    <a:pt x="517" y="45"/>
                  </a:lnTo>
                  <a:lnTo>
                    <a:pt x="508" y="40"/>
                  </a:lnTo>
                  <a:lnTo>
                    <a:pt x="505" y="40"/>
                  </a:lnTo>
                  <a:lnTo>
                    <a:pt x="502" y="42"/>
                  </a:lnTo>
                  <a:lnTo>
                    <a:pt x="499" y="43"/>
                  </a:lnTo>
                  <a:lnTo>
                    <a:pt x="497" y="45"/>
                  </a:lnTo>
                  <a:lnTo>
                    <a:pt x="494" y="51"/>
                  </a:lnTo>
                  <a:lnTo>
                    <a:pt x="493" y="53"/>
                  </a:lnTo>
                  <a:lnTo>
                    <a:pt x="488" y="51"/>
                  </a:lnTo>
                  <a:lnTo>
                    <a:pt x="485" y="51"/>
                  </a:lnTo>
                  <a:lnTo>
                    <a:pt x="479" y="56"/>
                  </a:lnTo>
                  <a:lnTo>
                    <a:pt x="473" y="62"/>
                  </a:lnTo>
                  <a:lnTo>
                    <a:pt x="471" y="63"/>
                  </a:lnTo>
                  <a:lnTo>
                    <a:pt x="469" y="62"/>
                  </a:lnTo>
                  <a:lnTo>
                    <a:pt x="465" y="57"/>
                  </a:lnTo>
                  <a:lnTo>
                    <a:pt x="462" y="54"/>
                  </a:lnTo>
                  <a:lnTo>
                    <a:pt x="460" y="51"/>
                  </a:lnTo>
                  <a:lnTo>
                    <a:pt x="460" y="49"/>
                  </a:lnTo>
                  <a:lnTo>
                    <a:pt x="460" y="46"/>
                  </a:lnTo>
                  <a:lnTo>
                    <a:pt x="462" y="42"/>
                  </a:lnTo>
                  <a:lnTo>
                    <a:pt x="463" y="40"/>
                  </a:lnTo>
                  <a:lnTo>
                    <a:pt x="463" y="37"/>
                  </a:lnTo>
                  <a:lnTo>
                    <a:pt x="463" y="37"/>
                  </a:lnTo>
                  <a:lnTo>
                    <a:pt x="463" y="36"/>
                  </a:lnTo>
                  <a:lnTo>
                    <a:pt x="465" y="36"/>
                  </a:lnTo>
                  <a:lnTo>
                    <a:pt x="465" y="34"/>
                  </a:lnTo>
                  <a:lnTo>
                    <a:pt x="466" y="34"/>
                  </a:lnTo>
                  <a:lnTo>
                    <a:pt x="466" y="34"/>
                  </a:lnTo>
                  <a:lnTo>
                    <a:pt x="466" y="34"/>
                  </a:lnTo>
                  <a:lnTo>
                    <a:pt x="468" y="34"/>
                  </a:lnTo>
                  <a:lnTo>
                    <a:pt x="468" y="33"/>
                  </a:lnTo>
                  <a:lnTo>
                    <a:pt x="468" y="33"/>
                  </a:lnTo>
                  <a:lnTo>
                    <a:pt x="466" y="31"/>
                  </a:lnTo>
                  <a:lnTo>
                    <a:pt x="465" y="29"/>
                  </a:lnTo>
                  <a:lnTo>
                    <a:pt x="465" y="28"/>
                  </a:lnTo>
                  <a:lnTo>
                    <a:pt x="463" y="26"/>
                  </a:lnTo>
                  <a:lnTo>
                    <a:pt x="451" y="23"/>
                  </a:lnTo>
                  <a:lnTo>
                    <a:pt x="449" y="22"/>
                  </a:lnTo>
                  <a:lnTo>
                    <a:pt x="445" y="19"/>
                  </a:lnTo>
                  <a:lnTo>
                    <a:pt x="442" y="17"/>
                  </a:lnTo>
                  <a:lnTo>
                    <a:pt x="437" y="17"/>
                  </a:lnTo>
                  <a:lnTo>
                    <a:pt x="432" y="19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5" y="23"/>
                  </a:lnTo>
                  <a:lnTo>
                    <a:pt x="422" y="26"/>
                  </a:lnTo>
                  <a:lnTo>
                    <a:pt x="422" y="29"/>
                  </a:lnTo>
                  <a:lnTo>
                    <a:pt x="420" y="29"/>
                  </a:lnTo>
                  <a:lnTo>
                    <a:pt x="414" y="28"/>
                  </a:lnTo>
                  <a:lnTo>
                    <a:pt x="412" y="26"/>
                  </a:lnTo>
                  <a:lnTo>
                    <a:pt x="412" y="23"/>
                  </a:lnTo>
                  <a:lnTo>
                    <a:pt x="411" y="20"/>
                  </a:lnTo>
                  <a:lnTo>
                    <a:pt x="411" y="17"/>
                  </a:lnTo>
                  <a:lnTo>
                    <a:pt x="411" y="16"/>
                  </a:lnTo>
                  <a:lnTo>
                    <a:pt x="408" y="12"/>
                  </a:lnTo>
                  <a:lnTo>
                    <a:pt x="406" y="9"/>
                  </a:lnTo>
                  <a:lnTo>
                    <a:pt x="406" y="9"/>
                  </a:lnTo>
                  <a:lnTo>
                    <a:pt x="405" y="8"/>
                  </a:lnTo>
                  <a:lnTo>
                    <a:pt x="400" y="8"/>
                  </a:lnTo>
                  <a:lnTo>
                    <a:pt x="389" y="9"/>
                  </a:lnTo>
                  <a:lnTo>
                    <a:pt x="388" y="9"/>
                  </a:lnTo>
                  <a:lnTo>
                    <a:pt x="385" y="14"/>
                  </a:lnTo>
                  <a:lnTo>
                    <a:pt x="383" y="16"/>
                  </a:lnTo>
                  <a:lnTo>
                    <a:pt x="382" y="14"/>
                  </a:lnTo>
                  <a:lnTo>
                    <a:pt x="380" y="12"/>
                  </a:lnTo>
                  <a:lnTo>
                    <a:pt x="379" y="9"/>
                  </a:lnTo>
                  <a:lnTo>
                    <a:pt x="372" y="3"/>
                  </a:lnTo>
                  <a:lnTo>
                    <a:pt x="371" y="2"/>
                  </a:lnTo>
                  <a:lnTo>
                    <a:pt x="368" y="0"/>
                  </a:lnTo>
                  <a:lnTo>
                    <a:pt x="365" y="2"/>
                  </a:lnTo>
                  <a:lnTo>
                    <a:pt x="365" y="2"/>
                  </a:lnTo>
                  <a:lnTo>
                    <a:pt x="362" y="3"/>
                  </a:lnTo>
                  <a:lnTo>
                    <a:pt x="359" y="5"/>
                  </a:lnTo>
                  <a:lnTo>
                    <a:pt x="355" y="6"/>
                  </a:lnTo>
                  <a:lnTo>
                    <a:pt x="355" y="6"/>
                  </a:lnTo>
                  <a:lnTo>
                    <a:pt x="354" y="8"/>
                  </a:lnTo>
                  <a:lnTo>
                    <a:pt x="352" y="9"/>
                  </a:lnTo>
                  <a:lnTo>
                    <a:pt x="352" y="11"/>
                  </a:lnTo>
                  <a:lnTo>
                    <a:pt x="351" y="12"/>
                  </a:lnTo>
                  <a:lnTo>
                    <a:pt x="346" y="16"/>
                  </a:lnTo>
                  <a:lnTo>
                    <a:pt x="343" y="19"/>
                  </a:lnTo>
                  <a:lnTo>
                    <a:pt x="343" y="22"/>
                  </a:lnTo>
                  <a:lnTo>
                    <a:pt x="342" y="26"/>
                  </a:lnTo>
                  <a:lnTo>
                    <a:pt x="334" y="31"/>
                  </a:lnTo>
                  <a:lnTo>
                    <a:pt x="332" y="37"/>
                  </a:lnTo>
                  <a:lnTo>
                    <a:pt x="331" y="43"/>
                  </a:lnTo>
                  <a:lnTo>
                    <a:pt x="331" y="46"/>
                  </a:lnTo>
                  <a:lnTo>
                    <a:pt x="329" y="48"/>
                  </a:lnTo>
                  <a:lnTo>
                    <a:pt x="328" y="48"/>
                  </a:lnTo>
                  <a:lnTo>
                    <a:pt x="319" y="48"/>
                  </a:lnTo>
                  <a:lnTo>
                    <a:pt x="315" y="46"/>
                  </a:lnTo>
                  <a:lnTo>
                    <a:pt x="314" y="45"/>
                  </a:lnTo>
                  <a:lnTo>
                    <a:pt x="312" y="43"/>
                  </a:lnTo>
                  <a:lnTo>
                    <a:pt x="311" y="45"/>
                  </a:lnTo>
                  <a:lnTo>
                    <a:pt x="306" y="48"/>
                  </a:lnTo>
                  <a:lnTo>
                    <a:pt x="305" y="49"/>
                  </a:lnTo>
                  <a:lnTo>
                    <a:pt x="303" y="48"/>
                  </a:lnTo>
                  <a:lnTo>
                    <a:pt x="298" y="43"/>
                  </a:lnTo>
                  <a:lnTo>
                    <a:pt x="297" y="43"/>
                  </a:lnTo>
                  <a:lnTo>
                    <a:pt x="294" y="42"/>
                  </a:lnTo>
                  <a:lnTo>
                    <a:pt x="285" y="43"/>
                  </a:lnTo>
                  <a:lnTo>
                    <a:pt x="285" y="43"/>
                  </a:lnTo>
                  <a:lnTo>
                    <a:pt x="283" y="45"/>
                  </a:lnTo>
                  <a:lnTo>
                    <a:pt x="278" y="49"/>
                  </a:lnTo>
                  <a:lnTo>
                    <a:pt x="274" y="57"/>
                  </a:lnTo>
                  <a:lnTo>
                    <a:pt x="272" y="60"/>
                  </a:lnTo>
                  <a:lnTo>
                    <a:pt x="266" y="63"/>
                  </a:lnTo>
                  <a:lnTo>
                    <a:pt x="265" y="63"/>
                  </a:lnTo>
                  <a:lnTo>
                    <a:pt x="262" y="62"/>
                  </a:lnTo>
                  <a:lnTo>
                    <a:pt x="258" y="60"/>
                  </a:lnTo>
                  <a:lnTo>
                    <a:pt x="257" y="62"/>
                  </a:lnTo>
                  <a:lnTo>
                    <a:pt x="255" y="65"/>
                  </a:lnTo>
                  <a:lnTo>
                    <a:pt x="257" y="68"/>
                  </a:lnTo>
                  <a:lnTo>
                    <a:pt x="257" y="71"/>
                  </a:lnTo>
                  <a:lnTo>
                    <a:pt x="257" y="74"/>
                  </a:lnTo>
                  <a:lnTo>
                    <a:pt x="255" y="77"/>
                  </a:lnTo>
                  <a:lnTo>
                    <a:pt x="254" y="80"/>
                  </a:lnTo>
                  <a:lnTo>
                    <a:pt x="252" y="82"/>
                  </a:lnTo>
                  <a:lnTo>
                    <a:pt x="251" y="85"/>
                  </a:lnTo>
                  <a:lnTo>
                    <a:pt x="251" y="88"/>
                  </a:lnTo>
                  <a:lnTo>
                    <a:pt x="252" y="91"/>
                  </a:lnTo>
                  <a:lnTo>
                    <a:pt x="252" y="93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8" y="100"/>
                  </a:lnTo>
                  <a:lnTo>
                    <a:pt x="248" y="102"/>
                  </a:lnTo>
                  <a:lnTo>
                    <a:pt x="245" y="105"/>
                  </a:lnTo>
                  <a:lnTo>
                    <a:pt x="245" y="108"/>
                  </a:lnTo>
                  <a:lnTo>
                    <a:pt x="245" y="110"/>
                  </a:lnTo>
                  <a:lnTo>
                    <a:pt x="246" y="110"/>
                  </a:lnTo>
                  <a:lnTo>
                    <a:pt x="251" y="111"/>
                  </a:lnTo>
                  <a:lnTo>
                    <a:pt x="252" y="111"/>
                  </a:lnTo>
                  <a:lnTo>
                    <a:pt x="257" y="111"/>
                  </a:lnTo>
                  <a:lnTo>
                    <a:pt x="269" y="113"/>
                  </a:lnTo>
                  <a:lnTo>
                    <a:pt x="271" y="114"/>
                  </a:lnTo>
                  <a:lnTo>
                    <a:pt x="271" y="116"/>
                  </a:lnTo>
                  <a:lnTo>
                    <a:pt x="271" y="119"/>
                  </a:lnTo>
                  <a:lnTo>
                    <a:pt x="268" y="120"/>
                  </a:lnTo>
                  <a:lnTo>
                    <a:pt x="266" y="120"/>
                  </a:lnTo>
                  <a:lnTo>
                    <a:pt x="263" y="120"/>
                  </a:lnTo>
                  <a:lnTo>
                    <a:pt x="263" y="122"/>
                  </a:lnTo>
                  <a:lnTo>
                    <a:pt x="260" y="123"/>
                  </a:lnTo>
                  <a:lnTo>
                    <a:pt x="258" y="125"/>
                  </a:lnTo>
                  <a:lnTo>
                    <a:pt x="258" y="126"/>
                  </a:lnTo>
                  <a:lnTo>
                    <a:pt x="258" y="131"/>
                  </a:lnTo>
                  <a:lnTo>
                    <a:pt x="257" y="134"/>
                  </a:lnTo>
                  <a:lnTo>
                    <a:pt x="255" y="136"/>
                  </a:lnTo>
                  <a:lnTo>
                    <a:pt x="254" y="136"/>
                  </a:lnTo>
                  <a:lnTo>
                    <a:pt x="246" y="133"/>
                  </a:lnTo>
                  <a:lnTo>
                    <a:pt x="246" y="133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3" y="136"/>
                  </a:lnTo>
                  <a:lnTo>
                    <a:pt x="243" y="136"/>
                  </a:lnTo>
                  <a:lnTo>
                    <a:pt x="234" y="133"/>
                  </a:lnTo>
                  <a:lnTo>
                    <a:pt x="231" y="134"/>
                  </a:lnTo>
                  <a:lnTo>
                    <a:pt x="229" y="137"/>
                  </a:lnTo>
                  <a:lnTo>
                    <a:pt x="229" y="139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8" y="145"/>
                  </a:lnTo>
                  <a:lnTo>
                    <a:pt x="225" y="151"/>
                  </a:lnTo>
                  <a:lnTo>
                    <a:pt x="225" y="153"/>
                  </a:lnTo>
                  <a:lnTo>
                    <a:pt x="223" y="154"/>
                  </a:lnTo>
                  <a:lnTo>
                    <a:pt x="221" y="156"/>
                  </a:lnTo>
                  <a:lnTo>
                    <a:pt x="218" y="157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6" y="159"/>
                  </a:lnTo>
                  <a:lnTo>
                    <a:pt x="205" y="159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3"/>
                  </a:lnTo>
                  <a:lnTo>
                    <a:pt x="198" y="166"/>
                  </a:lnTo>
                  <a:lnTo>
                    <a:pt x="197" y="166"/>
                  </a:lnTo>
                  <a:lnTo>
                    <a:pt x="195" y="168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5" y="174"/>
                  </a:lnTo>
                  <a:lnTo>
                    <a:pt x="195" y="176"/>
                  </a:lnTo>
                  <a:lnTo>
                    <a:pt x="195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2" y="179"/>
                  </a:lnTo>
                  <a:lnTo>
                    <a:pt x="191" y="180"/>
                  </a:lnTo>
                  <a:lnTo>
                    <a:pt x="191" y="182"/>
                  </a:lnTo>
                  <a:lnTo>
                    <a:pt x="191" y="188"/>
                  </a:lnTo>
                  <a:lnTo>
                    <a:pt x="191" y="190"/>
                  </a:lnTo>
                  <a:lnTo>
                    <a:pt x="191" y="191"/>
                  </a:lnTo>
                  <a:lnTo>
                    <a:pt x="191" y="193"/>
                  </a:lnTo>
                  <a:lnTo>
                    <a:pt x="189" y="194"/>
                  </a:lnTo>
                  <a:lnTo>
                    <a:pt x="189" y="196"/>
                  </a:lnTo>
                  <a:lnTo>
                    <a:pt x="191" y="197"/>
                  </a:lnTo>
                  <a:lnTo>
                    <a:pt x="192" y="202"/>
                  </a:lnTo>
                  <a:lnTo>
                    <a:pt x="192" y="205"/>
                  </a:lnTo>
                  <a:lnTo>
                    <a:pt x="192" y="208"/>
                  </a:lnTo>
                  <a:lnTo>
                    <a:pt x="191" y="210"/>
                  </a:lnTo>
                  <a:lnTo>
                    <a:pt x="189" y="211"/>
                  </a:lnTo>
                  <a:lnTo>
                    <a:pt x="185" y="214"/>
                  </a:lnTo>
                  <a:lnTo>
                    <a:pt x="185" y="216"/>
                  </a:lnTo>
                  <a:lnTo>
                    <a:pt x="183" y="217"/>
                  </a:lnTo>
                  <a:lnTo>
                    <a:pt x="183" y="220"/>
                  </a:lnTo>
                  <a:lnTo>
                    <a:pt x="183" y="223"/>
                  </a:lnTo>
                  <a:lnTo>
                    <a:pt x="183" y="227"/>
                  </a:lnTo>
                  <a:lnTo>
                    <a:pt x="181" y="230"/>
                  </a:lnTo>
                  <a:lnTo>
                    <a:pt x="178" y="233"/>
                  </a:lnTo>
                  <a:lnTo>
                    <a:pt x="177" y="236"/>
                  </a:lnTo>
                  <a:lnTo>
                    <a:pt x="177" y="239"/>
                  </a:lnTo>
                  <a:lnTo>
                    <a:pt x="177" y="240"/>
                  </a:lnTo>
                  <a:lnTo>
                    <a:pt x="178" y="242"/>
                  </a:lnTo>
                  <a:lnTo>
                    <a:pt x="181" y="240"/>
                  </a:lnTo>
                  <a:lnTo>
                    <a:pt x="186" y="239"/>
                  </a:lnTo>
                  <a:lnTo>
                    <a:pt x="188" y="239"/>
                  </a:lnTo>
                  <a:lnTo>
                    <a:pt x="189" y="239"/>
                  </a:lnTo>
                  <a:lnTo>
                    <a:pt x="189" y="240"/>
                  </a:lnTo>
                  <a:lnTo>
                    <a:pt x="189" y="242"/>
                  </a:lnTo>
                  <a:lnTo>
                    <a:pt x="191" y="243"/>
                  </a:lnTo>
                  <a:lnTo>
                    <a:pt x="191" y="243"/>
                  </a:lnTo>
                  <a:lnTo>
                    <a:pt x="191" y="243"/>
                  </a:lnTo>
                  <a:lnTo>
                    <a:pt x="192" y="243"/>
                  </a:lnTo>
                  <a:lnTo>
                    <a:pt x="192" y="243"/>
                  </a:lnTo>
                  <a:lnTo>
                    <a:pt x="192" y="245"/>
                  </a:lnTo>
                  <a:lnTo>
                    <a:pt x="194" y="245"/>
                  </a:lnTo>
                  <a:lnTo>
                    <a:pt x="194" y="247"/>
                  </a:lnTo>
                  <a:lnTo>
                    <a:pt x="194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50"/>
                  </a:lnTo>
                  <a:lnTo>
                    <a:pt x="195" y="250"/>
                  </a:lnTo>
                  <a:lnTo>
                    <a:pt x="195" y="250"/>
                  </a:lnTo>
                  <a:lnTo>
                    <a:pt x="195" y="251"/>
                  </a:lnTo>
                  <a:lnTo>
                    <a:pt x="194" y="253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2" y="260"/>
                  </a:lnTo>
                  <a:lnTo>
                    <a:pt x="191" y="262"/>
                  </a:lnTo>
                  <a:lnTo>
                    <a:pt x="188" y="260"/>
                  </a:lnTo>
                  <a:lnTo>
                    <a:pt x="188" y="262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5" y="263"/>
                  </a:lnTo>
                  <a:lnTo>
                    <a:pt x="177" y="262"/>
                  </a:lnTo>
                  <a:lnTo>
                    <a:pt x="175" y="262"/>
                  </a:lnTo>
                  <a:lnTo>
                    <a:pt x="174" y="260"/>
                  </a:lnTo>
                  <a:lnTo>
                    <a:pt x="174" y="257"/>
                  </a:lnTo>
                  <a:lnTo>
                    <a:pt x="174" y="257"/>
                  </a:lnTo>
                  <a:lnTo>
                    <a:pt x="175" y="256"/>
                  </a:lnTo>
                  <a:lnTo>
                    <a:pt x="177" y="254"/>
                  </a:lnTo>
                  <a:lnTo>
                    <a:pt x="175" y="254"/>
                  </a:lnTo>
                  <a:lnTo>
                    <a:pt x="174" y="253"/>
                  </a:lnTo>
                  <a:lnTo>
                    <a:pt x="174" y="251"/>
                  </a:lnTo>
                  <a:lnTo>
                    <a:pt x="175" y="251"/>
                  </a:lnTo>
                  <a:lnTo>
                    <a:pt x="177" y="251"/>
                  </a:lnTo>
                  <a:lnTo>
                    <a:pt x="178" y="250"/>
                  </a:lnTo>
                  <a:lnTo>
                    <a:pt x="172" y="243"/>
                  </a:lnTo>
                  <a:lnTo>
                    <a:pt x="172" y="242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69" y="242"/>
                  </a:lnTo>
                  <a:lnTo>
                    <a:pt x="166" y="247"/>
                  </a:lnTo>
                  <a:lnTo>
                    <a:pt x="164" y="248"/>
                  </a:lnTo>
                  <a:lnTo>
                    <a:pt x="158" y="248"/>
                  </a:lnTo>
                  <a:lnTo>
                    <a:pt x="154" y="247"/>
                  </a:lnTo>
                  <a:lnTo>
                    <a:pt x="152" y="247"/>
                  </a:lnTo>
                  <a:lnTo>
                    <a:pt x="151" y="248"/>
                  </a:lnTo>
                  <a:lnTo>
                    <a:pt x="149" y="254"/>
                  </a:lnTo>
                  <a:lnTo>
                    <a:pt x="149" y="257"/>
                  </a:lnTo>
                  <a:lnTo>
                    <a:pt x="146" y="260"/>
                  </a:lnTo>
                  <a:lnTo>
                    <a:pt x="143" y="263"/>
                  </a:lnTo>
                  <a:lnTo>
                    <a:pt x="138" y="263"/>
                  </a:lnTo>
                  <a:lnTo>
                    <a:pt x="134" y="262"/>
                  </a:lnTo>
                  <a:lnTo>
                    <a:pt x="129" y="260"/>
                  </a:lnTo>
                  <a:lnTo>
                    <a:pt x="126" y="260"/>
                  </a:lnTo>
                  <a:lnTo>
                    <a:pt x="126" y="262"/>
                  </a:lnTo>
                  <a:lnTo>
                    <a:pt x="123" y="262"/>
                  </a:lnTo>
                  <a:lnTo>
                    <a:pt x="123" y="263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1" y="267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70"/>
                  </a:lnTo>
                  <a:lnTo>
                    <a:pt x="121" y="273"/>
                  </a:lnTo>
                  <a:lnTo>
                    <a:pt x="123" y="274"/>
                  </a:lnTo>
                  <a:lnTo>
                    <a:pt x="123" y="277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5"/>
                  </a:lnTo>
                  <a:lnTo>
                    <a:pt x="115" y="284"/>
                  </a:lnTo>
                  <a:lnTo>
                    <a:pt x="114" y="284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1" y="282"/>
                  </a:lnTo>
                  <a:lnTo>
                    <a:pt x="106" y="284"/>
                  </a:lnTo>
                  <a:lnTo>
                    <a:pt x="101" y="285"/>
                  </a:lnTo>
                  <a:lnTo>
                    <a:pt x="94" y="293"/>
                  </a:lnTo>
                  <a:lnTo>
                    <a:pt x="91" y="294"/>
                  </a:lnTo>
                  <a:lnTo>
                    <a:pt x="87" y="294"/>
                  </a:lnTo>
                  <a:lnTo>
                    <a:pt x="86" y="293"/>
                  </a:lnTo>
                  <a:lnTo>
                    <a:pt x="83" y="293"/>
                  </a:lnTo>
                  <a:lnTo>
                    <a:pt x="81" y="293"/>
                  </a:lnTo>
                  <a:lnTo>
                    <a:pt x="81" y="291"/>
                  </a:lnTo>
                  <a:lnTo>
                    <a:pt x="80" y="288"/>
                  </a:lnTo>
                  <a:lnTo>
                    <a:pt x="77" y="285"/>
                  </a:lnTo>
                  <a:lnTo>
                    <a:pt x="75" y="285"/>
                  </a:lnTo>
                  <a:lnTo>
                    <a:pt x="72" y="285"/>
                  </a:lnTo>
                  <a:lnTo>
                    <a:pt x="67" y="288"/>
                  </a:lnTo>
                  <a:lnTo>
                    <a:pt x="66" y="288"/>
                  </a:lnTo>
                  <a:lnTo>
                    <a:pt x="61" y="288"/>
                  </a:lnTo>
                  <a:lnTo>
                    <a:pt x="60" y="288"/>
                  </a:lnTo>
                  <a:lnTo>
                    <a:pt x="58" y="287"/>
                  </a:lnTo>
                  <a:lnTo>
                    <a:pt x="57" y="287"/>
                  </a:lnTo>
                  <a:lnTo>
                    <a:pt x="55" y="287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7" y="288"/>
                  </a:lnTo>
                  <a:lnTo>
                    <a:pt x="46" y="288"/>
                  </a:lnTo>
                  <a:lnTo>
                    <a:pt x="46" y="290"/>
                  </a:lnTo>
                  <a:lnTo>
                    <a:pt x="44" y="290"/>
                  </a:lnTo>
                  <a:lnTo>
                    <a:pt x="40" y="291"/>
                  </a:lnTo>
                  <a:lnTo>
                    <a:pt x="35" y="293"/>
                  </a:lnTo>
                  <a:lnTo>
                    <a:pt x="35" y="293"/>
                  </a:lnTo>
                  <a:lnTo>
                    <a:pt x="34" y="293"/>
                  </a:lnTo>
                  <a:lnTo>
                    <a:pt x="27" y="288"/>
                  </a:lnTo>
                  <a:lnTo>
                    <a:pt x="24" y="287"/>
                  </a:lnTo>
                  <a:lnTo>
                    <a:pt x="24" y="291"/>
                  </a:lnTo>
                  <a:lnTo>
                    <a:pt x="24" y="294"/>
                  </a:lnTo>
                  <a:lnTo>
                    <a:pt x="26" y="297"/>
                  </a:lnTo>
                  <a:lnTo>
                    <a:pt x="27" y="300"/>
                  </a:lnTo>
                  <a:lnTo>
                    <a:pt x="27" y="307"/>
                  </a:lnTo>
                  <a:lnTo>
                    <a:pt x="27" y="310"/>
                  </a:lnTo>
                  <a:lnTo>
                    <a:pt x="30" y="313"/>
                  </a:lnTo>
                  <a:lnTo>
                    <a:pt x="30" y="313"/>
                  </a:lnTo>
                  <a:lnTo>
                    <a:pt x="30" y="313"/>
                  </a:lnTo>
                  <a:lnTo>
                    <a:pt x="30" y="320"/>
                  </a:lnTo>
                  <a:lnTo>
                    <a:pt x="32" y="328"/>
                  </a:lnTo>
                  <a:lnTo>
                    <a:pt x="38" y="348"/>
                  </a:lnTo>
                  <a:lnTo>
                    <a:pt x="41" y="356"/>
                  </a:lnTo>
                  <a:lnTo>
                    <a:pt x="43" y="359"/>
                  </a:lnTo>
                  <a:lnTo>
                    <a:pt x="46" y="371"/>
                  </a:lnTo>
                  <a:lnTo>
                    <a:pt x="47" y="374"/>
                  </a:lnTo>
                  <a:lnTo>
                    <a:pt x="49" y="376"/>
                  </a:lnTo>
                  <a:lnTo>
                    <a:pt x="49" y="377"/>
                  </a:lnTo>
                  <a:lnTo>
                    <a:pt x="51" y="381"/>
                  </a:lnTo>
                  <a:lnTo>
                    <a:pt x="51" y="382"/>
                  </a:lnTo>
                  <a:lnTo>
                    <a:pt x="52" y="384"/>
                  </a:lnTo>
                  <a:lnTo>
                    <a:pt x="54" y="384"/>
                  </a:lnTo>
                  <a:lnTo>
                    <a:pt x="55" y="385"/>
                  </a:lnTo>
                  <a:lnTo>
                    <a:pt x="54" y="388"/>
                  </a:lnTo>
                  <a:lnTo>
                    <a:pt x="54" y="390"/>
                  </a:lnTo>
                  <a:lnTo>
                    <a:pt x="52" y="391"/>
                  </a:lnTo>
                  <a:lnTo>
                    <a:pt x="52" y="394"/>
                  </a:lnTo>
                  <a:lnTo>
                    <a:pt x="52" y="396"/>
                  </a:lnTo>
                  <a:lnTo>
                    <a:pt x="52" y="397"/>
                  </a:lnTo>
                  <a:lnTo>
                    <a:pt x="55" y="401"/>
                  </a:lnTo>
                  <a:lnTo>
                    <a:pt x="55" y="404"/>
                  </a:lnTo>
                  <a:lnTo>
                    <a:pt x="55" y="404"/>
                  </a:lnTo>
                  <a:lnTo>
                    <a:pt x="55" y="405"/>
                  </a:lnTo>
                  <a:lnTo>
                    <a:pt x="55" y="407"/>
                  </a:lnTo>
                  <a:lnTo>
                    <a:pt x="57" y="410"/>
                  </a:lnTo>
                  <a:lnTo>
                    <a:pt x="57" y="411"/>
                  </a:lnTo>
                  <a:lnTo>
                    <a:pt x="57" y="411"/>
                  </a:lnTo>
                  <a:lnTo>
                    <a:pt x="55" y="413"/>
                  </a:lnTo>
                  <a:lnTo>
                    <a:pt x="55" y="414"/>
                  </a:lnTo>
                  <a:lnTo>
                    <a:pt x="55" y="416"/>
                  </a:lnTo>
                  <a:lnTo>
                    <a:pt x="55" y="416"/>
                  </a:lnTo>
                  <a:lnTo>
                    <a:pt x="55" y="416"/>
                  </a:lnTo>
                  <a:lnTo>
                    <a:pt x="55" y="417"/>
                  </a:lnTo>
                  <a:lnTo>
                    <a:pt x="57" y="433"/>
                  </a:lnTo>
                  <a:lnTo>
                    <a:pt x="57" y="436"/>
                  </a:lnTo>
                  <a:lnTo>
                    <a:pt x="55" y="442"/>
                  </a:lnTo>
                  <a:lnTo>
                    <a:pt x="52" y="445"/>
                  </a:lnTo>
                  <a:lnTo>
                    <a:pt x="43" y="451"/>
                  </a:lnTo>
                  <a:lnTo>
                    <a:pt x="30" y="456"/>
                  </a:lnTo>
                  <a:lnTo>
                    <a:pt x="24" y="459"/>
                  </a:lnTo>
                  <a:lnTo>
                    <a:pt x="17" y="465"/>
                  </a:lnTo>
                  <a:lnTo>
                    <a:pt x="7" y="479"/>
                  </a:lnTo>
                  <a:lnTo>
                    <a:pt x="6" y="482"/>
                  </a:lnTo>
                  <a:lnTo>
                    <a:pt x="4" y="484"/>
                  </a:lnTo>
                  <a:lnTo>
                    <a:pt x="0" y="491"/>
                  </a:lnTo>
                  <a:lnTo>
                    <a:pt x="1" y="491"/>
                  </a:lnTo>
                  <a:lnTo>
                    <a:pt x="1" y="491"/>
                  </a:lnTo>
                  <a:lnTo>
                    <a:pt x="1" y="493"/>
                  </a:lnTo>
                  <a:lnTo>
                    <a:pt x="3" y="493"/>
                  </a:lnTo>
                  <a:lnTo>
                    <a:pt x="3" y="496"/>
                  </a:lnTo>
                  <a:lnTo>
                    <a:pt x="3" y="498"/>
                  </a:lnTo>
                  <a:lnTo>
                    <a:pt x="4" y="499"/>
                  </a:lnTo>
                  <a:lnTo>
                    <a:pt x="9" y="501"/>
                  </a:lnTo>
                  <a:lnTo>
                    <a:pt x="10" y="499"/>
                  </a:lnTo>
                  <a:lnTo>
                    <a:pt x="10" y="501"/>
                  </a:lnTo>
                  <a:lnTo>
                    <a:pt x="15" y="502"/>
                  </a:lnTo>
                  <a:lnTo>
                    <a:pt x="18" y="502"/>
                  </a:lnTo>
                  <a:lnTo>
                    <a:pt x="18" y="504"/>
                  </a:lnTo>
                  <a:lnTo>
                    <a:pt x="17" y="504"/>
                  </a:lnTo>
                  <a:lnTo>
                    <a:pt x="17" y="504"/>
                  </a:lnTo>
                  <a:lnTo>
                    <a:pt x="18" y="504"/>
                  </a:lnTo>
                  <a:lnTo>
                    <a:pt x="20" y="504"/>
                  </a:lnTo>
                  <a:lnTo>
                    <a:pt x="20" y="505"/>
                  </a:lnTo>
                  <a:lnTo>
                    <a:pt x="20" y="505"/>
                  </a:lnTo>
                  <a:lnTo>
                    <a:pt x="21" y="504"/>
                  </a:lnTo>
                  <a:lnTo>
                    <a:pt x="21" y="505"/>
                  </a:lnTo>
                  <a:lnTo>
                    <a:pt x="23" y="505"/>
                  </a:lnTo>
                  <a:lnTo>
                    <a:pt x="23" y="505"/>
                  </a:lnTo>
                  <a:lnTo>
                    <a:pt x="24" y="505"/>
                  </a:lnTo>
                  <a:lnTo>
                    <a:pt x="24" y="505"/>
                  </a:lnTo>
                  <a:lnTo>
                    <a:pt x="24" y="507"/>
                  </a:lnTo>
                  <a:lnTo>
                    <a:pt x="24" y="507"/>
                  </a:lnTo>
                  <a:lnTo>
                    <a:pt x="26" y="511"/>
                  </a:lnTo>
                  <a:lnTo>
                    <a:pt x="27" y="511"/>
                  </a:lnTo>
                  <a:lnTo>
                    <a:pt x="30" y="511"/>
                  </a:lnTo>
                  <a:lnTo>
                    <a:pt x="32" y="513"/>
                  </a:lnTo>
                  <a:lnTo>
                    <a:pt x="34" y="513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5" y="516"/>
                  </a:lnTo>
                  <a:lnTo>
                    <a:pt x="35" y="516"/>
                  </a:lnTo>
                  <a:lnTo>
                    <a:pt x="35" y="518"/>
                  </a:lnTo>
                  <a:lnTo>
                    <a:pt x="35" y="519"/>
                  </a:lnTo>
                  <a:lnTo>
                    <a:pt x="37" y="521"/>
                  </a:lnTo>
                  <a:lnTo>
                    <a:pt x="38" y="525"/>
                  </a:lnTo>
                  <a:lnTo>
                    <a:pt x="38" y="527"/>
                  </a:lnTo>
                  <a:lnTo>
                    <a:pt x="37" y="528"/>
                  </a:lnTo>
                  <a:lnTo>
                    <a:pt x="37" y="530"/>
                  </a:lnTo>
                  <a:lnTo>
                    <a:pt x="35" y="533"/>
                  </a:lnTo>
                  <a:lnTo>
                    <a:pt x="34" y="535"/>
                  </a:lnTo>
                  <a:lnTo>
                    <a:pt x="34" y="539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2"/>
                  </a:lnTo>
                  <a:lnTo>
                    <a:pt x="34" y="544"/>
                  </a:lnTo>
                  <a:lnTo>
                    <a:pt x="32" y="545"/>
                  </a:lnTo>
                  <a:lnTo>
                    <a:pt x="34" y="547"/>
                  </a:lnTo>
                  <a:lnTo>
                    <a:pt x="35" y="550"/>
                  </a:lnTo>
                  <a:lnTo>
                    <a:pt x="34" y="551"/>
                  </a:lnTo>
                  <a:lnTo>
                    <a:pt x="32" y="553"/>
                  </a:lnTo>
                  <a:lnTo>
                    <a:pt x="30" y="555"/>
                  </a:lnTo>
                  <a:lnTo>
                    <a:pt x="29" y="556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61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29" y="565"/>
                  </a:lnTo>
                  <a:lnTo>
                    <a:pt x="29" y="565"/>
                  </a:lnTo>
                  <a:lnTo>
                    <a:pt x="29" y="565"/>
                  </a:lnTo>
                  <a:lnTo>
                    <a:pt x="29" y="567"/>
                  </a:lnTo>
                  <a:lnTo>
                    <a:pt x="29" y="567"/>
                  </a:lnTo>
                  <a:lnTo>
                    <a:pt x="27" y="567"/>
                  </a:lnTo>
                  <a:lnTo>
                    <a:pt x="27" y="568"/>
                  </a:lnTo>
                  <a:lnTo>
                    <a:pt x="29" y="570"/>
                  </a:lnTo>
                  <a:lnTo>
                    <a:pt x="29" y="570"/>
                  </a:lnTo>
                  <a:lnTo>
                    <a:pt x="27" y="573"/>
                  </a:lnTo>
                  <a:lnTo>
                    <a:pt x="29" y="576"/>
                  </a:lnTo>
                  <a:lnTo>
                    <a:pt x="29" y="578"/>
                  </a:lnTo>
                  <a:lnTo>
                    <a:pt x="30" y="579"/>
                  </a:lnTo>
                  <a:lnTo>
                    <a:pt x="30" y="579"/>
                  </a:lnTo>
                  <a:lnTo>
                    <a:pt x="29" y="579"/>
                  </a:lnTo>
                  <a:lnTo>
                    <a:pt x="30" y="582"/>
                  </a:lnTo>
                  <a:lnTo>
                    <a:pt x="32" y="582"/>
                  </a:lnTo>
                  <a:lnTo>
                    <a:pt x="32" y="582"/>
                  </a:lnTo>
                  <a:lnTo>
                    <a:pt x="34" y="584"/>
                  </a:lnTo>
                  <a:lnTo>
                    <a:pt x="34" y="585"/>
                  </a:lnTo>
                  <a:lnTo>
                    <a:pt x="35" y="585"/>
                  </a:lnTo>
                  <a:lnTo>
                    <a:pt x="35" y="582"/>
                  </a:lnTo>
                  <a:lnTo>
                    <a:pt x="35" y="582"/>
                  </a:lnTo>
                  <a:lnTo>
                    <a:pt x="32" y="576"/>
                  </a:lnTo>
                  <a:lnTo>
                    <a:pt x="32" y="575"/>
                  </a:lnTo>
                  <a:lnTo>
                    <a:pt x="32" y="575"/>
                  </a:lnTo>
                  <a:lnTo>
                    <a:pt x="34" y="573"/>
                  </a:lnTo>
                  <a:lnTo>
                    <a:pt x="34" y="571"/>
                  </a:lnTo>
                  <a:lnTo>
                    <a:pt x="35" y="571"/>
                  </a:lnTo>
                  <a:lnTo>
                    <a:pt x="41" y="568"/>
                  </a:lnTo>
                  <a:lnTo>
                    <a:pt x="44" y="570"/>
                  </a:lnTo>
                  <a:lnTo>
                    <a:pt x="49" y="571"/>
                  </a:lnTo>
                  <a:lnTo>
                    <a:pt x="51" y="571"/>
                  </a:lnTo>
                  <a:lnTo>
                    <a:pt x="54" y="571"/>
                  </a:lnTo>
                  <a:lnTo>
                    <a:pt x="55" y="575"/>
                  </a:lnTo>
                  <a:lnTo>
                    <a:pt x="58" y="576"/>
                  </a:lnTo>
                  <a:lnTo>
                    <a:pt x="61" y="576"/>
                  </a:lnTo>
                  <a:lnTo>
                    <a:pt x="72" y="567"/>
                  </a:lnTo>
                  <a:lnTo>
                    <a:pt x="81" y="561"/>
                  </a:lnTo>
                  <a:lnTo>
                    <a:pt x="83" y="558"/>
                  </a:lnTo>
                  <a:lnTo>
                    <a:pt x="84" y="550"/>
                  </a:lnTo>
                  <a:lnTo>
                    <a:pt x="86" y="547"/>
                  </a:lnTo>
                  <a:lnTo>
                    <a:pt x="89" y="544"/>
                  </a:lnTo>
                  <a:lnTo>
                    <a:pt x="91" y="542"/>
                  </a:lnTo>
                  <a:lnTo>
                    <a:pt x="92" y="541"/>
                  </a:lnTo>
                  <a:lnTo>
                    <a:pt x="111" y="539"/>
                  </a:lnTo>
                  <a:lnTo>
                    <a:pt x="115" y="541"/>
                  </a:lnTo>
                  <a:lnTo>
                    <a:pt x="117" y="541"/>
                  </a:lnTo>
                  <a:lnTo>
                    <a:pt x="137" y="538"/>
                  </a:lnTo>
                  <a:lnTo>
                    <a:pt x="144" y="535"/>
                  </a:lnTo>
                  <a:lnTo>
                    <a:pt x="148" y="533"/>
                  </a:lnTo>
                  <a:lnTo>
                    <a:pt x="151" y="533"/>
                  </a:lnTo>
                  <a:lnTo>
                    <a:pt x="163" y="536"/>
                  </a:lnTo>
                  <a:lnTo>
                    <a:pt x="178" y="536"/>
                  </a:lnTo>
                  <a:lnTo>
                    <a:pt x="188" y="536"/>
                  </a:lnTo>
                  <a:lnTo>
                    <a:pt x="194" y="535"/>
                  </a:lnTo>
                  <a:lnTo>
                    <a:pt x="209" y="538"/>
                  </a:lnTo>
                  <a:lnTo>
                    <a:pt x="215" y="538"/>
                  </a:lnTo>
                  <a:lnTo>
                    <a:pt x="217" y="539"/>
                  </a:lnTo>
                  <a:lnTo>
                    <a:pt x="221" y="542"/>
                  </a:lnTo>
                  <a:lnTo>
                    <a:pt x="225" y="544"/>
                  </a:lnTo>
                  <a:lnTo>
                    <a:pt x="242" y="544"/>
                  </a:lnTo>
                  <a:lnTo>
                    <a:pt x="243" y="545"/>
                  </a:lnTo>
                  <a:lnTo>
                    <a:pt x="243" y="545"/>
                  </a:lnTo>
                  <a:lnTo>
                    <a:pt x="243" y="547"/>
                  </a:lnTo>
                  <a:lnTo>
                    <a:pt x="243" y="548"/>
                  </a:lnTo>
                  <a:lnTo>
                    <a:pt x="243" y="550"/>
                  </a:lnTo>
                  <a:lnTo>
                    <a:pt x="245" y="550"/>
                  </a:lnTo>
                  <a:lnTo>
                    <a:pt x="262" y="550"/>
                  </a:lnTo>
                  <a:lnTo>
                    <a:pt x="275" y="556"/>
                  </a:lnTo>
                  <a:lnTo>
                    <a:pt x="280" y="558"/>
                  </a:lnTo>
                  <a:lnTo>
                    <a:pt x="288" y="555"/>
                  </a:lnTo>
                  <a:lnTo>
                    <a:pt x="294" y="555"/>
                  </a:lnTo>
                  <a:lnTo>
                    <a:pt x="297" y="556"/>
                  </a:lnTo>
                  <a:lnTo>
                    <a:pt x="298" y="558"/>
                  </a:lnTo>
                  <a:lnTo>
                    <a:pt x="300" y="559"/>
                  </a:lnTo>
                  <a:lnTo>
                    <a:pt x="298" y="561"/>
                  </a:lnTo>
                  <a:lnTo>
                    <a:pt x="298" y="564"/>
                  </a:lnTo>
                  <a:lnTo>
                    <a:pt x="300" y="567"/>
                  </a:lnTo>
                  <a:lnTo>
                    <a:pt x="302" y="568"/>
                  </a:lnTo>
                  <a:lnTo>
                    <a:pt x="303" y="568"/>
                  </a:lnTo>
                  <a:lnTo>
                    <a:pt x="305" y="568"/>
                  </a:lnTo>
                  <a:lnTo>
                    <a:pt x="306" y="568"/>
                  </a:lnTo>
                  <a:lnTo>
                    <a:pt x="306" y="570"/>
                  </a:lnTo>
                  <a:lnTo>
                    <a:pt x="305" y="573"/>
                  </a:lnTo>
                  <a:lnTo>
                    <a:pt x="305" y="575"/>
                  </a:lnTo>
                  <a:lnTo>
                    <a:pt x="306" y="576"/>
                  </a:lnTo>
                  <a:lnTo>
                    <a:pt x="308" y="576"/>
                  </a:lnTo>
                  <a:lnTo>
                    <a:pt x="311" y="575"/>
                  </a:lnTo>
                  <a:lnTo>
                    <a:pt x="314" y="576"/>
                  </a:lnTo>
                  <a:lnTo>
                    <a:pt x="315" y="576"/>
                  </a:lnTo>
                  <a:lnTo>
                    <a:pt x="319" y="575"/>
                  </a:lnTo>
                  <a:lnTo>
                    <a:pt x="320" y="573"/>
                  </a:lnTo>
                  <a:lnTo>
                    <a:pt x="322" y="571"/>
                  </a:lnTo>
                  <a:lnTo>
                    <a:pt x="323" y="571"/>
                  </a:lnTo>
                  <a:lnTo>
                    <a:pt x="323" y="571"/>
                  </a:lnTo>
                  <a:lnTo>
                    <a:pt x="332" y="575"/>
                  </a:lnTo>
                  <a:lnTo>
                    <a:pt x="335" y="575"/>
                  </a:lnTo>
                  <a:lnTo>
                    <a:pt x="337" y="576"/>
                  </a:lnTo>
                  <a:lnTo>
                    <a:pt x="339" y="578"/>
                  </a:lnTo>
                  <a:lnTo>
                    <a:pt x="337" y="581"/>
                  </a:lnTo>
                  <a:lnTo>
                    <a:pt x="335" y="587"/>
                  </a:lnTo>
                  <a:lnTo>
                    <a:pt x="335" y="587"/>
                  </a:lnTo>
                  <a:lnTo>
                    <a:pt x="335" y="588"/>
                  </a:lnTo>
                  <a:lnTo>
                    <a:pt x="337" y="590"/>
                  </a:lnTo>
                  <a:lnTo>
                    <a:pt x="339" y="590"/>
                  </a:lnTo>
                  <a:lnTo>
                    <a:pt x="339" y="591"/>
                  </a:lnTo>
                  <a:lnTo>
                    <a:pt x="340" y="590"/>
                  </a:lnTo>
                  <a:lnTo>
                    <a:pt x="342" y="590"/>
                  </a:lnTo>
                  <a:lnTo>
                    <a:pt x="345" y="585"/>
                  </a:lnTo>
                  <a:lnTo>
                    <a:pt x="345" y="584"/>
                  </a:lnTo>
                  <a:lnTo>
                    <a:pt x="345" y="582"/>
                  </a:lnTo>
                  <a:lnTo>
                    <a:pt x="345" y="582"/>
                  </a:lnTo>
                  <a:lnTo>
                    <a:pt x="345" y="581"/>
                  </a:lnTo>
                  <a:lnTo>
                    <a:pt x="345" y="579"/>
                  </a:lnTo>
                  <a:lnTo>
                    <a:pt x="345" y="576"/>
                  </a:lnTo>
                  <a:lnTo>
                    <a:pt x="346" y="575"/>
                  </a:lnTo>
                  <a:lnTo>
                    <a:pt x="348" y="573"/>
                  </a:lnTo>
                  <a:lnTo>
                    <a:pt x="349" y="573"/>
                  </a:lnTo>
                  <a:lnTo>
                    <a:pt x="351" y="573"/>
                  </a:lnTo>
                  <a:lnTo>
                    <a:pt x="355" y="579"/>
                  </a:lnTo>
                  <a:lnTo>
                    <a:pt x="357" y="579"/>
                  </a:lnTo>
                  <a:lnTo>
                    <a:pt x="359" y="579"/>
                  </a:lnTo>
                  <a:lnTo>
                    <a:pt x="365" y="579"/>
                  </a:lnTo>
                  <a:lnTo>
                    <a:pt x="366" y="579"/>
                  </a:lnTo>
                  <a:lnTo>
                    <a:pt x="369" y="578"/>
                  </a:lnTo>
                  <a:lnTo>
                    <a:pt x="371" y="573"/>
                  </a:lnTo>
                  <a:lnTo>
                    <a:pt x="372" y="570"/>
                  </a:lnTo>
                  <a:lnTo>
                    <a:pt x="374" y="568"/>
                  </a:lnTo>
                  <a:lnTo>
                    <a:pt x="375" y="568"/>
                  </a:lnTo>
                  <a:lnTo>
                    <a:pt x="377" y="568"/>
                  </a:lnTo>
                  <a:lnTo>
                    <a:pt x="379" y="570"/>
                  </a:lnTo>
                  <a:lnTo>
                    <a:pt x="379" y="571"/>
                  </a:lnTo>
                  <a:lnTo>
                    <a:pt x="379" y="571"/>
                  </a:lnTo>
                  <a:lnTo>
                    <a:pt x="379" y="573"/>
                  </a:lnTo>
                  <a:lnTo>
                    <a:pt x="380" y="575"/>
                  </a:lnTo>
                  <a:lnTo>
                    <a:pt x="380" y="575"/>
                  </a:lnTo>
                  <a:lnTo>
                    <a:pt x="382" y="576"/>
                  </a:lnTo>
                  <a:lnTo>
                    <a:pt x="383" y="578"/>
                  </a:lnTo>
                  <a:lnTo>
                    <a:pt x="383" y="579"/>
                  </a:lnTo>
                  <a:lnTo>
                    <a:pt x="385" y="582"/>
                  </a:lnTo>
                  <a:lnTo>
                    <a:pt x="385" y="584"/>
                  </a:lnTo>
                  <a:lnTo>
                    <a:pt x="386" y="584"/>
                  </a:lnTo>
                  <a:lnTo>
                    <a:pt x="386" y="582"/>
                  </a:lnTo>
                  <a:lnTo>
                    <a:pt x="389" y="581"/>
                  </a:lnTo>
                  <a:lnTo>
                    <a:pt x="392" y="579"/>
                  </a:lnTo>
                  <a:lnTo>
                    <a:pt x="394" y="578"/>
                  </a:lnTo>
                  <a:lnTo>
                    <a:pt x="397" y="578"/>
                  </a:lnTo>
                  <a:lnTo>
                    <a:pt x="403" y="579"/>
                  </a:lnTo>
                  <a:lnTo>
                    <a:pt x="405" y="581"/>
                  </a:lnTo>
                  <a:lnTo>
                    <a:pt x="406" y="582"/>
                  </a:lnTo>
                  <a:lnTo>
                    <a:pt x="406" y="584"/>
                  </a:lnTo>
                  <a:lnTo>
                    <a:pt x="408" y="591"/>
                  </a:lnTo>
                  <a:lnTo>
                    <a:pt x="408" y="593"/>
                  </a:lnTo>
                  <a:lnTo>
                    <a:pt x="408" y="593"/>
                  </a:lnTo>
                  <a:lnTo>
                    <a:pt x="409" y="595"/>
                  </a:lnTo>
                  <a:lnTo>
                    <a:pt x="411" y="595"/>
                  </a:lnTo>
                  <a:lnTo>
                    <a:pt x="411" y="593"/>
                  </a:lnTo>
                  <a:lnTo>
                    <a:pt x="412" y="593"/>
                  </a:lnTo>
                  <a:lnTo>
                    <a:pt x="412" y="595"/>
                  </a:lnTo>
                  <a:lnTo>
                    <a:pt x="414" y="598"/>
                  </a:lnTo>
                  <a:lnTo>
                    <a:pt x="414" y="598"/>
                  </a:lnTo>
                  <a:lnTo>
                    <a:pt x="416" y="596"/>
                  </a:lnTo>
                  <a:lnTo>
                    <a:pt x="416" y="595"/>
                  </a:lnTo>
                  <a:lnTo>
                    <a:pt x="416" y="590"/>
                  </a:lnTo>
                  <a:lnTo>
                    <a:pt x="416" y="588"/>
                  </a:lnTo>
                  <a:lnTo>
                    <a:pt x="417" y="585"/>
                  </a:lnTo>
                  <a:lnTo>
                    <a:pt x="420" y="582"/>
                  </a:lnTo>
                  <a:lnTo>
                    <a:pt x="422" y="581"/>
                  </a:lnTo>
                  <a:lnTo>
                    <a:pt x="425" y="579"/>
                  </a:lnTo>
                  <a:lnTo>
                    <a:pt x="426" y="579"/>
                  </a:lnTo>
                  <a:lnTo>
                    <a:pt x="431" y="579"/>
                  </a:lnTo>
                  <a:lnTo>
                    <a:pt x="432" y="578"/>
                  </a:lnTo>
                  <a:lnTo>
                    <a:pt x="434" y="576"/>
                  </a:lnTo>
                  <a:lnTo>
                    <a:pt x="437" y="573"/>
                  </a:lnTo>
                  <a:lnTo>
                    <a:pt x="439" y="571"/>
                  </a:lnTo>
                  <a:lnTo>
                    <a:pt x="439" y="571"/>
                  </a:lnTo>
                  <a:lnTo>
                    <a:pt x="440" y="571"/>
                  </a:lnTo>
                  <a:lnTo>
                    <a:pt x="443" y="571"/>
                  </a:lnTo>
                  <a:lnTo>
                    <a:pt x="446" y="573"/>
                  </a:lnTo>
                  <a:lnTo>
                    <a:pt x="446" y="575"/>
                  </a:lnTo>
                  <a:lnTo>
                    <a:pt x="448" y="579"/>
                  </a:lnTo>
                  <a:lnTo>
                    <a:pt x="451" y="582"/>
                  </a:lnTo>
                  <a:lnTo>
                    <a:pt x="451" y="584"/>
                  </a:lnTo>
                  <a:lnTo>
                    <a:pt x="453" y="587"/>
                  </a:lnTo>
                  <a:lnTo>
                    <a:pt x="451" y="590"/>
                  </a:lnTo>
                  <a:lnTo>
                    <a:pt x="451" y="591"/>
                  </a:lnTo>
                  <a:lnTo>
                    <a:pt x="453" y="593"/>
                  </a:lnTo>
                  <a:lnTo>
                    <a:pt x="454" y="595"/>
                  </a:lnTo>
                  <a:lnTo>
                    <a:pt x="456" y="596"/>
                  </a:lnTo>
                  <a:lnTo>
                    <a:pt x="456" y="599"/>
                  </a:lnTo>
                  <a:lnTo>
                    <a:pt x="457" y="601"/>
                  </a:lnTo>
                  <a:lnTo>
                    <a:pt x="459" y="602"/>
                  </a:lnTo>
                  <a:lnTo>
                    <a:pt x="460" y="602"/>
                  </a:lnTo>
                  <a:lnTo>
                    <a:pt x="460" y="601"/>
                  </a:lnTo>
                  <a:lnTo>
                    <a:pt x="463" y="599"/>
                  </a:lnTo>
                  <a:lnTo>
                    <a:pt x="465" y="599"/>
                  </a:lnTo>
                  <a:lnTo>
                    <a:pt x="468" y="601"/>
                  </a:lnTo>
                  <a:lnTo>
                    <a:pt x="469" y="601"/>
                  </a:lnTo>
                  <a:lnTo>
                    <a:pt x="471" y="598"/>
                  </a:lnTo>
                  <a:lnTo>
                    <a:pt x="471" y="595"/>
                  </a:lnTo>
                  <a:lnTo>
                    <a:pt x="473" y="595"/>
                  </a:lnTo>
                  <a:lnTo>
                    <a:pt x="473" y="593"/>
                  </a:lnTo>
                  <a:lnTo>
                    <a:pt x="476" y="593"/>
                  </a:lnTo>
                  <a:lnTo>
                    <a:pt x="477" y="593"/>
                  </a:lnTo>
                  <a:lnTo>
                    <a:pt x="479" y="591"/>
                  </a:lnTo>
                  <a:lnTo>
                    <a:pt x="479" y="590"/>
                  </a:lnTo>
                  <a:lnTo>
                    <a:pt x="480" y="588"/>
                  </a:lnTo>
                  <a:lnTo>
                    <a:pt x="482" y="587"/>
                  </a:lnTo>
                  <a:lnTo>
                    <a:pt x="483" y="587"/>
                  </a:lnTo>
                  <a:lnTo>
                    <a:pt x="485" y="587"/>
                  </a:lnTo>
                  <a:lnTo>
                    <a:pt x="486" y="588"/>
                  </a:lnTo>
                  <a:lnTo>
                    <a:pt x="488" y="590"/>
                  </a:lnTo>
                  <a:lnTo>
                    <a:pt x="488" y="593"/>
                  </a:lnTo>
                  <a:lnTo>
                    <a:pt x="489" y="593"/>
                  </a:lnTo>
                  <a:lnTo>
                    <a:pt x="496" y="595"/>
                  </a:lnTo>
                  <a:lnTo>
                    <a:pt x="497" y="595"/>
                  </a:lnTo>
                  <a:lnTo>
                    <a:pt x="499" y="593"/>
                  </a:lnTo>
                  <a:lnTo>
                    <a:pt x="500" y="591"/>
                  </a:lnTo>
                  <a:lnTo>
                    <a:pt x="500" y="590"/>
                  </a:lnTo>
                  <a:lnTo>
                    <a:pt x="502" y="591"/>
                  </a:lnTo>
                  <a:lnTo>
                    <a:pt x="503" y="591"/>
                  </a:lnTo>
                  <a:lnTo>
                    <a:pt x="503" y="591"/>
                  </a:lnTo>
                  <a:lnTo>
                    <a:pt x="508" y="588"/>
                  </a:lnTo>
                  <a:lnTo>
                    <a:pt x="509" y="588"/>
                  </a:lnTo>
                  <a:lnTo>
                    <a:pt x="520" y="588"/>
                  </a:lnTo>
                  <a:lnTo>
                    <a:pt x="522" y="588"/>
                  </a:lnTo>
                  <a:lnTo>
                    <a:pt x="525" y="590"/>
                  </a:lnTo>
                  <a:lnTo>
                    <a:pt x="526" y="595"/>
                  </a:lnTo>
                  <a:lnTo>
                    <a:pt x="528" y="596"/>
                  </a:lnTo>
                  <a:lnTo>
                    <a:pt x="533" y="598"/>
                  </a:lnTo>
                  <a:lnTo>
                    <a:pt x="533" y="598"/>
                  </a:lnTo>
                  <a:lnTo>
                    <a:pt x="534" y="599"/>
                  </a:lnTo>
                  <a:lnTo>
                    <a:pt x="534" y="599"/>
                  </a:lnTo>
                  <a:lnTo>
                    <a:pt x="534" y="601"/>
                  </a:lnTo>
                  <a:lnTo>
                    <a:pt x="534" y="602"/>
                  </a:lnTo>
                  <a:lnTo>
                    <a:pt x="534" y="602"/>
                  </a:lnTo>
                  <a:lnTo>
                    <a:pt x="533" y="605"/>
                  </a:lnTo>
                  <a:lnTo>
                    <a:pt x="533" y="605"/>
                  </a:lnTo>
                  <a:lnTo>
                    <a:pt x="533" y="607"/>
                  </a:lnTo>
                  <a:lnTo>
                    <a:pt x="536" y="610"/>
                  </a:lnTo>
                  <a:lnTo>
                    <a:pt x="537" y="610"/>
                  </a:lnTo>
                  <a:lnTo>
                    <a:pt x="537" y="612"/>
                  </a:lnTo>
                  <a:lnTo>
                    <a:pt x="540" y="612"/>
                  </a:lnTo>
                  <a:lnTo>
                    <a:pt x="540" y="612"/>
                  </a:lnTo>
                  <a:lnTo>
                    <a:pt x="542" y="612"/>
                  </a:lnTo>
                  <a:lnTo>
                    <a:pt x="543" y="615"/>
                  </a:lnTo>
                  <a:lnTo>
                    <a:pt x="545" y="615"/>
                  </a:lnTo>
                  <a:lnTo>
                    <a:pt x="546" y="615"/>
                  </a:lnTo>
                  <a:lnTo>
                    <a:pt x="546" y="615"/>
                  </a:lnTo>
                  <a:lnTo>
                    <a:pt x="548" y="616"/>
                  </a:lnTo>
                  <a:lnTo>
                    <a:pt x="548" y="616"/>
                  </a:lnTo>
                  <a:lnTo>
                    <a:pt x="550" y="618"/>
                  </a:lnTo>
                  <a:lnTo>
                    <a:pt x="550" y="618"/>
                  </a:lnTo>
                  <a:lnTo>
                    <a:pt x="551" y="618"/>
                  </a:lnTo>
                  <a:lnTo>
                    <a:pt x="551" y="618"/>
                  </a:lnTo>
                  <a:lnTo>
                    <a:pt x="551" y="615"/>
                  </a:lnTo>
                  <a:lnTo>
                    <a:pt x="551" y="615"/>
                  </a:lnTo>
                  <a:lnTo>
                    <a:pt x="553" y="612"/>
                  </a:lnTo>
                  <a:lnTo>
                    <a:pt x="553" y="610"/>
                  </a:lnTo>
                  <a:lnTo>
                    <a:pt x="554" y="608"/>
                  </a:lnTo>
                  <a:lnTo>
                    <a:pt x="557" y="605"/>
                  </a:lnTo>
                  <a:lnTo>
                    <a:pt x="556" y="602"/>
                  </a:lnTo>
                  <a:lnTo>
                    <a:pt x="557" y="602"/>
                  </a:lnTo>
                  <a:lnTo>
                    <a:pt x="557" y="602"/>
                  </a:lnTo>
                  <a:lnTo>
                    <a:pt x="557" y="601"/>
                  </a:lnTo>
                  <a:lnTo>
                    <a:pt x="556" y="601"/>
                  </a:lnTo>
                  <a:lnTo>
                    <a:pt x="556" y="598"/>
                  </a:lnTo>
                  <a:lnTo>
                    <a:pt x="556" y="596"/>
                  </a:lnTo>
                  <a:lnTo>
                    <a:pt x="554" y="596"/>
                  </a:lnTo>
                  <a:lnTo>
                    <a:pt x="554" y="596"/>
                  </a:lnTo>
                  <a:lnTo>
                    <a:pt x="553" y="595"/>
                  </a:lnTo>
                  <a:lnTo>
                    <a:pt x="553" y="593"/>
                  </a:lnTo>
                  <a:lnTo>
                    <a:pt x="553" y="591"/>
                  </a:lnTo>
                  <a:lnTo>
                    <a:pt x="553" y="591"/>
                  </a:lnTo>
                  <a:lnTo>
                    <a:pt x="554" y="591"/>
                  </a:lnTo>
                  <a:lnTo>
                    <a:pt x="556" y="591"/>
                  </a:lnTo>
                  <a:lnTo>
                    <a:pt x="556" y="590"/>
                  </a:lnTo>
                  <a:lnTo>
                    <a:pt x="554" y="590"/>
                  </a:lnTo>
                  <a:lnTo>
                    <a:pt x="554" y="590"/>
                  </a:lnTo>
                  <a:lnTo>
                    <a:pt x="553" y="588"/>
                  </a:lnTo>
                  <a:lnTo>
                    <a:pt x="553" y="587"/>
                  </a:lnTo>
                  <a:lnTo>
                    <a:pt x="553" y="587"/>
                  </a:lnTo>
                  <a:lnTo>
                    <a:pt x="553" y="585"/>
                  </a:lnTo>
                  <a:lnTo>
                    <a:pt x="553" y="584"/>
                  </a:lnTo>
                  <a:lnTo>
                    <a:pt x="551" y="584"/>
                  </a:lnTo>
                  <a:lnTo>
                    <a:pt x="551" y="584"/>
                  </a:lnTo>
                  <a:lnTo>
                    <a:pt x="553" y="582"/>
                  </a:lnTo>
                  <a:lnTo>
                    <a:pt x="553" y="581"/>
                  </a:lnTo>
                  <a:lnTo>
                    <a:pt x="551" y="581"/>
                  </a:lnTo>
                  <a:lnTo>
                    <a:pt x="550" y="581"/>
                  </a:lnTo>
                  <a:lnTo>
                    <a:pt x="548" y="579"/>
                  </a:lnTo>
                  <a:lnTo>
                    <a:pt x="548" y="578"/>
                  </a:lnTo>
                  <a:lnTo>
                    <a:pt x="548" y="578"/>
                  </a:lnTo>
                  <a:lnTo>
                    <a:pt x="548" y="578"/>
                  </a:lnTo>
                  <a:lnTo>
                    <a:pt x="550" y="578"/>
                  </a:lnTo>
                  <a:lnTo>
                    <a:pt x="550" y="578"/>
                  </a:lnTo>
                  <a:lnTo>
                    <a:pt x="550" y="576"/>
                  </a:lnTo>
                  <a:lnTo>
                    <a:pt x="550" y="576"/>
                  </a:lnTo>
                  <a:lnTo>
                    <a:pt x="548" y="575"/>
                  </a:lnTo>
                  <a:lnTo>
                    <a:pt x="548" y="575"/>
                  </a:lnTo>
                  <a:lnTo>
                    <a:pt x="550" y="571"/>
                  </a:lnTo>
                  <a:lnTo>
                    <a:pt x="551" y="571"/>
                  </a:lnTo>
                  <a:lnTo>
                    <a:pt x="550" y="570"/>
                  </a:lnTo>
                  <a:lnTo>
                    <a:pt x="550" y="570"/>
                  </a:lnTo>
                  <a:lnTo>
                    <a:pt x="551" y="570"/>
                  </a:lnTo>
                  <a:lnTo>
                    <a:pt x="551" y="568"/>
                  </a:lnTo>
                  <a:lnTo>
                    <a:pt x="551" y="568"/>
                  </a:lnTo>
                  <a:lnTo>
                    <a:pt x="551" y="567"/>
                  </a:lnTo>
                  <a:lnTo>
                    <a:pt x="553" y="564"/>
                  </a:lnTo>
                  <a:lnTo>
                    <a:pt x="551" y="562"/>
                  </a:lnTo>
                  <a:lnTo>
                    <a:pt x="553" y="562"/>
                  </a:lnTo>
                  <a:lnTo>
                    <a:pt x="554" y="562"/>
                  </a:lnTo>
                  <a:lnTo>
                    <a:pt x="556" y="562"/>
                  </a:lnTo>
                  <a:lnTo>
                    <a:pt x="556" y="561"/>
                  </a:lnTo>
                  <a:lnTo>
                    <a:pt x="556" y="559"/>
                  </a:lnTo>
                  <a:lnTo>
                    <a:pt x="556" y="558"/>
                  </a:lnTo>
                  <a:lnTo>
                    <a:pt x="557" y="558"/>
                  </a:lnTo>
                  <a:lnTo>
                    <a:pt x="557" y="556"/>
                  </a:lnTo>
                  <a:lnTo>
                    <a:pt x="557" y="556"/>
                  </a:lnTo>
                  <a:lnTo>
                    <a:pt x="556" y="555"/>
                  </a:lnTo>
                  <a:lnTo>
                    <a:pt x="556" y="555"/>
                  </a:lnTo>
                  <a:lnTo>
                    <a:pt x="557" y="553"/>
                  </a:lnTo>
                  <a:lnTo>
                    <a:pt x="559" y="551"/>
                  </a:lnTo>
                  <a:lnTo>
                    <a:pt x="559" y="550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7"/>
                  </a:lnTo>
                  <a:lnTo>
                    <a:pt x="560" y="545"/>
                  </a:lnTo>
                  <a:lnTo>
                    <a:pt x="560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2"/>
                  </a:lnTo>
                  <a:lnTo>
                    <a:pt x="563" y="542"/>
                  </a:lnTo>
                  <a:lnTo>
                    <a:pt x="563" y="541"/>
                  </a:lnTo>
                  <a:lnTo>
                    <a:pt x="563" y="539"/>
                  </a:lnTo>
                  <a:lnTo>
                    <a:pt x="565" y="539"/>
                  </a:lnTo>
                  <a:lnTo>
                    <a:pt x="565" y="539"/>
                  </a:lnTo>
                  <a:lnTo>
                    <a:pt x="566" y="539"/>
                  </a:lnTo>
                  <a:lnTo>
                    <a:pt x="568" y="539"/>
                  </a:lnTo>
                  <a:lnTo>
                    <a:pt x="568" y="538"/>
                  </a:lnTo>
                  <a:lnTo>
                    <a:pt x="570" y="536"/>
                  </a:lnTo>
                  <a:lnTo>
                    <a:pt x="570" y="536"/>
                  </a:lnTo>
                  <a:lnTo>
                    <a:pt x="570" y="535"/>
                  </a:lnTo>
                  <a:lnTo>
                    <a:pt x="570" y="535"/>
                  </a:lnTo>
                  <a:lnTo>
                    <a:pt x="570" y="535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1"/>
                  </a:lnTo>
                  <a:lnTo>
                    <a:pt x="574" y="531"/>
                  </a:lnTo>
                  <a:lnTo>
                    <a:pt x="574" y="530"/>
                  </a:lnTo>
                  <a:lnTo>
                    <a:pt x="574" y="530"/>
                  </a:lnTo>
                  <a:lnTo>
                    <a:pt x="574" y="528"/>
                  </a:lnTo>
                  <a:lnTo>
                    <a:pt x="574" y="528"/>
                  </a:lnTo>
                  <a:lnTo>
                    <a:pt x="576" y="527"/>
                  </a:lnTo>
                  <a:lnTo>
                    <a:pt x="576" y="527"/>
                  </a:lnTo>
                  <a:lnTo>
                    <a:pt x="576" y="527"/>
                  </a:lnTo>
                  <a:lnTo>
                    <a:pt x="577" y="527"/>
                  </a:lnTo>
                  <a:lnTo>
                    <a:pt x="577" y="527"/>
                  </a:lnTo>
                  <a:lnTo>
                    <a:pt x="579" y="527"/>
                  </a:lnTo>
                  <a:lnTo>
                    <a:pt x="580" y="525"/>
                  </a:lnTo>
                  <a:lnTo>
                    <a:pt x="579" y="524"/>
                  </a:lnTo>
                  <a:lnTo>
                    <a:pt x="577" y="524"/>
                  </a:lnTo>
                  <a:lnTo>
                    <a:pt x="577" y="524"/>
                  </a:lnTo>
                  <a:lnTo>
                    <a:pt x="577" y="522"/>
                  </a:lnTo>
                  <a:lnTo>
                    <a:pt x="577" y="522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8"/>
                  </a:lnTo>
                  <a:lnTo>
                    <a:pt x="580" y="518"/>
                  </a:lnTo>
                  <a:lnTo>
                    <a:pt x="591" y="518"/>
                  </a:lnTo>
                  <a:lnTo>
                    <a:pt x="594" y="518"/>
                  </a:lnTo>
                  <a:lnTo>
                    <a:pt x="596" y="518"/>
                  </a:lnTo>
                  <a:lnTo>
                    <a:pt x="599" y="521"/>
                  </a:lnTo>
                  <a:lnTo>
                    <a:pt x="600" y="522"/>
                  </a:lnTo>
                  <a:lnTo>
                    <a:pt x="602" y="521"/>
                  </a:lnTo>
                  <a:lnTo>
                    <a:pt x="603" y="519"/>
                  </a:lnTo>
                  <a:lnTo>
                    <a:pt x="605" y="516"/>
                  </a:lnTo>
                  <a:lnTo>
                    <a:pt x="607" y="514"/>
                  </a:lnTo>
                  <a:lnTo>
                    <a:pt x="613" y="513"/>
                  </a:lnTo>
                  <a:lnTo>
                    <a:pt x="619" y="513"/>
                  </a:lnTo>
                  <a:lnTo>
                    <a:pt x="631" y="514"/>
                  </a:lnTo>
                  <a:lnTo>
                    <a:pt x="640" y="514"/>
                  </a:lnTo>
                  <a:lnTo>
                    <a:pt x="640" y="511"/>
                  </a:lnTo>
                  <a:lnTo>
                    <a:pt x="640" y="508"/>
                  </a:lnTo>
                  <a:lnTo>
                    <a:pt x="639" y="507"/>
                  </a:lnTo>
                  <a:lnTo>
                    <a:pt x="636" y="504"/>
                  </a:lnTo>
                  <a:lnTo>
                    <a:pt x="634" y="504"/>
                  </a:lnTo>
                  <a:lnTo>
                    <a:pt x="634" y="502"/>
                  </a:lnTo>
                  <a:lnTo>
                    <a:pt x="634" y="501"/>
                  </a:lnTo>
                  <a:lnTo>
                    <a:pt x="634" y="499"/>
                  </a:lnTo>
                  <a:lnTo>
                    <a:pt x="634" y="498"/>
                  </a:lnTo>
                  <a:lnTo>
                    <a:pt x="636" y="496"/>
                  </a:lnTo>
                  <a:lnTo>
                    <a:pt x="634" y="496"/>
                  </a:lnTo>
                  <a:lnTo>
                    <a:pt x="631" y="494"/>
                  </a:lnTo>
                  <a:lnTo>
                    <a:pt x="631" y="494"/>
                  </a:lnTo>
                  <a:lnTo>
                    <a:pt x="630" y="493"/>
                  </a:lnTo>
                  <a:lnTo>
                    <a:pt x="628" y="491"/>
                  </a:lnTo>
                  <a:lnTo>
                    <a:pt x="625" y="488"/>
                  </a:lnTo>
                  <a:lnTo>
                    <a:pt x="627" y="488"/>
                  </a:lnTo>
                  <a:lnTo>
                    <a:pt x="628" y="487"/>
                  </a:lnTo>
                  <a:lnTo>
                    <a:pt x="628" y="485"/>
                  </a:lnTo>
                  <a:lnTo>
                    <a:pt x="628" y="484"/>
                  </a:lnTo>
                  <a:lnTo>
                    <a:pt x="628" y="481"/>
                  </a:lnTo>
                  <a:lnTo>
                    <a:pt x="628" y="481"/>
                  </a:lnTo>
                  <a:lnTo>
                    <a:pt x="628" y="479"/>
                  </a:lnTo>
                  <a:lnTo>
                    <a:pt x="627" y="478"/>
                  </a:lnTo>
                  <a:lnTo>
                    <a:pt x="627" y="474"/>
                  </a:lnTo>
                  <a:lnTo>
                    <a:pt x="628" y="471"/>
                  </a:lnTo>
                  <a:lnTo>
                    <a:pt x="627" y="468"/>
                  </a:lnTo>
                  <a:lnTo>
                    <a:pt x="625" y="467"/>
                  </a:lnTo>
                  <a:lnTo>
                    <a:pt x="625" y="465"/>
                  </a:lnTo>
                  <a:lnTo>
                    <a:pt x="625" y="464"/>
                  </a:lnTo>
                  <a:lnTo>
                    <a:pt x="625" y="464"/>
                  </a:lnTo>
                  <a:lnTo>
                    <a:pt x="627" y="462"/>
                  </a:lnTo>
                  <a:lnTo>
                    <a:pt x="625" y="461"/>
                  </a:lnTo>
                  <a:lnTo>
                    <a:pt x="625" y="461"/>
                  </a:lnTo>
                  <a:lnTo>
                    <a:pt x="627" y="461"/>
                  </a:lnTo>
                  <a:lnTo>
                    <a:pt x="630" y="462"/>
                  </a:lnTo>
                  <a:lnTo>
                    <a:pt x="630" y="461"/>
                  </a:lnTo>
                  <a:lnTo>
                    <a:pt x="630" y="461"/>
                  </a:lnTo>
                  <a:lnTo>
                    <a:pt x="630" y="459"/>
                  </a:lnTo>
                  <a:lnTo>
                    <a:pt x="627" y="456"/>
                  </a:lnTo>
                  <a:lnTo>
                    <a:pt x="625" y="454"/>
                  </a:lnTo>
                  <a:lnTo>
                    <a:pt x="623" y="450"/>
                  </a:lnTo>
                  <a:lnTo>
                    <a:pt x="620" y="445"/>
                  </a:lnTo>
                  <a:lnTo>
                    <a:pt x="619" y="444"/>
                  </a:lnTo>
                  <a:lnTo>
                    <a:pt x="619" y="444"/>
                  </a:lnTo>
                  <a:lnTo>
                    <a:pt x="625" y="441"/>
                  </a:lnTo>
                  <a:lnTo>
                    <a:pt x="627" y="439"/>
                  </a:lnTo>
                  <a:lnTo>
                    <a:pt x="627" y="433"/>
                  </a:lnTo>
                  <a:lnTo>
                    <a:pt x="625" y="431"/>
                  </a:lnTo>
                  <a:lnTo>
                    <a:pt x="625" y="430"/>
                  </a:lnTo>
                  <a:lnTo>
                    <a:pt x="623" y="430"/>
                  </a:lnTo>
                  <a:lnTo>
                    <a:pt x="622" y="428"/>
                  </a:lnTo>
                  <a:lnTo>
                    <a:pt x="622" y="425"/>
                  </a:lnTo>
                  <a:lnTo>
                    <a:pt x="622" y="424"/>
                  </a:lnTo>
                  <a:lnTo>
                    <a:pt x="620" y="424"/>
                  </a:lnTo>
                  <a:lnTo>
                    <a:pt x="619" y="424"/>
                  </a:lnTo>
                  <a:lnTo>
                    <a:pt x="617" y="422"/>
                  </a:lnTo>
                  <a:lnTo>
                    <a:pt x="614" y="421"/>
                  </a:lnTo>
                  <a:lnTo>
                    <a:pt x="613" y="419"/>
                  </a:lnTo>
                  <a:lnTo>
                    <a:pt x="611" y="416"/>
                  </a:lnTo>
                  <a:lnTo>
                    <a:pt x="608" y="410"/>
                  </a:lnTo>
                  <a:lnTo>
                    <a:pt x="608" y="407"/>
                  </a:lnTo>
                  <a:lnTo>
                    <a:pt x="602" y="402"/>
                  </a:lnTo>
                  <a:lnTo>
                    <a:pt x="603" y="401"/>
                  </a:lnTo>
                  <a:lnTo>
                    <a:pt x="608" y="394"/>
                  </a:lnTo>
                  <a:lnTo>
                    <a:pt x="608" y="394"/>
                  </a:lnTo>
                  <a:lnTo>
                    <a:pt x="610" y="394"/>
                  </a:lnTo>
                  <a:lnTo>
                    <a:pt x="611" y="393"/>
                  </a:lnTo>
                  <a:lnTo>
                    <a:pt x="611" y="393"/>
                  </a:lnTo>
                  <a:lnTo>
                    <a:pt x="611" y="391"/>
                  </a:lnTo>
                  <a:lnTo>
                    <a:pt x="611" y="390"/>
                  </a:lnTo>
                  <a:lnTo>
                    <a:pt x="611" y="390"/>
                  </a:lnTo>
                  <a:lnTo>
                    <a:pt x="610" y="388"/>
                  </a:lnTo>
                  <a:lnTo>
                    <a:pt x="611" y="382"/>
                  </a:lnTo>
                  <a:lnTo>
                    <a:pt x="614" y="381"/>
                  </a:lnTo>
                  <a:lnTo>
                    <a:pt x="619" y="381"/>
                  </a:lnTo>
                  <a:lnTo>
                    <a:pt x="622" y="381"/>
                  </a:lnTo>
                  <a:lnTo>
                    <a:pt x="623" y="381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30" y="379"/>
                  </a:lnTo>
                  <a:lnTo>
                    <a:pt x="634" y="381"/>
                  </a:lnTo>
                  <a:lnTo>
                    <a:pt x="636" y="381"/>
                  </a:lnTo>
                  <a:lnTo>
                    <a:pt x="639" y="381"/>
                  </a:lnTo>
                  <a:lnTo>
                    <a:pt x="640" y="382"/>
                  </a:lnTo>
                  <a:lnTo>
                    <a:pt x="640" y="384"/>
                  </a:lnTo>
                  <a:lnTo>
                    <a:pt x="642" y="388"/>
                  </a:lnTo>
                  <a:lnTo>
                    <a:pt x="643" y="391"/>
                  </a:lnTo>
                  <a:lnTo>
                    <a:pt x="643" y="391"/>
                  </a:lnTo>
                  <a:lnTo>
                    <a:pt x="647" y="391"/>
                  </a:lnTo>
                  <a:lnTo>
                    <a:pt x="647" y="391"/>
                  </a:lnTo>
                  <a:lnTo>
                    <a:pt x="651" y="393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6" y="393"/>
                  </a:lnTo>
                  <a:lnTo>
                    <a:pt x="659" y="393"/>
                  </a:lnTo>
                  <a:lnTo>
                    <a:pt x="664" y="394"/>
                  </a:lnTo>
                  <a:lnTo>
                    <a:pt x="667" y="394"/>
                  </a:lnTo>
                  <a:lnTo>
                    <a:pt x="668" y="394"/>
                  </a:lnTo>
                  <a:lnTo>
                    <a:pt x="670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1"/>
                  </a:lnTo>
                  <a:lnTo>
                    <a:pt x="673" y="391"/>
                  </a:lnTo>
                  <a:lnTo>
                    <a:pt x="673" y="391"/>
                  </a:lnTo>
                  <a:lnTo>
                    <a:pt x="674" y="390"/>
                  </a:lnTo>
                  <a:lnTo>
                    <a:pt x="674" y="390"/>
                  </a:lnTo>
                  <a:lnTo>
                    <a:pt x="674" y="390"/>
                  </a:lnTo>
                  <a:lnTo>
                    <a:pt x="677" y="390"/>
                  </a:lnTo>
                  <a:lnTo>
                    <a:pt x="680" y="387"/>
                  </a:lnTo>
                  <a:lnTo>
                    <a:pt x="682" y="385"/>
                  </a:lnTo>
                  <a:lnTo>
                    <a:pt x="684" y="382"/>
                  </a:lnTo>
                  <a:lnTo>
                    <a:pt x="687" y="382"/>
                  </a:lnTo>
                  <a:lnTo>
                    <a:pt x="688" y="381"/>
                  </a:lnTo>
                  <a:lnTo>
                    <a:pt x="690" y="379"/>
                  </a:lnTo>
                  <a:lnTo>
                    <a:pt x="691" y="376"/>
                  </a:lnTo>
                  <a:lnTo>
                    <a:pt x="693" y="373"/>
                  </a:lnTo>
                  <a:lnTo>
                    <a:pt x="694" y="370"/>
                  </a:lnTo>
                  <a:lnTo>
                    <a:pt x="691" y="370"/>
                  </a:lnTo>
                  <a:lnTo>
                    <a:pt x="691" y="368"/>
                  </a:lnTo>
                  <a:lnTo>
                    <a:pt x="691" y="367"/>
                  </a:lnTo>
                  <a:lnTo>
                    <a:pt x="694" y="367"/>
                  </a:lnTo>
                  <a:lnTo>
                    <a:pt x="696" y="368"/>
                  </a:lnTo>
                  <a:lnTo>
                    <a:pt x="697" y="368"/>
                  </a:lnTo>
                  <a:lnTo>
                    <a:pt x="700" y="368"/>
                  </a:lnTo>
                  <a:lnTo>
                    <a:pt x="702" y="367"/>
                  </a:lnTo>
                  <a:lnTo>
                    <a:pt x="702" y="367"/>
                  </a:lnTo>
                  <a:lnTo>
                    <a:pt x="702" y="365"/>
                  </a:lnTo>
                  <a:lnTo>
                    <a:pt x="700" y="364"/>
                  </a:lnTo>
                  <a:lnTo>
                    <a:pt x="707" y="364"/>
                  </a:lnTo>
                  <a:lnTo>
                    <a:pt x="708" y="364"/>
                  </a:lnTo>
                  <a:lnTo>
                    <a:pt x="708" y="364"/>
                  </a:lnTo>
                  <a:lnTo>
                    <a:pt x="710" y="364"/>
                  </a:lnTo>
                  <a:lnTo>
                    <a:pt x="711" y="364"/>
                  </a:lnTo>
                  <a:lnTo>
                    <a:pt x="710" y="359"/>
                  </a:lnTo>
                  <a:lnTo>
                    <a:pt x="711" y="351"/>
                  </a:lnTo>
                  <a:lnTo>
                    <a:pt x="711" y="350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06"/>
            <p:cNvSpPr>
              <a:spLocks/>
            </p:cNvSpPr>
            <p:nvPr/>
          </p:nvSpPr>
          <p:spPr bwMode="gray">
            <a:xfrm>
              <a:off x="8421688" y="5441951"/>
              <a:ext cx="1128713" cy="981075"/>
            </a:xfrm>
            <a:custGeom>
              <a:avLst/>
              <a:gdLst>
                <a:gd name="T0" fmla="*/ 694 w 711"/>
                <a:gd name="T1" fmla="*/ 337 h 618"/>
                <a:gd name="T2" fmla="*/ 679 w 711"/>
                <a:gd name="T3" fmla="*/ 310 h 618"/>
                <a:gd name="T4" fmla="*/ 643 w 711"/>
                <a:gd name="T5" fmla="*/ 273 h 618"/>
                <a:gd name="T6" fmla="*/ 605 w 711"/>
                <a:gd name="T7" fmla="*/ 236 h 618"/>
                <a:gd name="T8" fmla="*/ 582 w 711"/>
                <a:gd name="T9" fmla="*/ 190 h 618"/>
                <a:gd name="T10" fmla="*/ 577 w 711"/>
                <a:gd name="T11" fmla="*/ 148 h 618"/>
                <a:gd name="T12" fmla="*/ 580 w 711"/>
                <a:gd name="T13" fmla="*/ 131 h 618"/>
                <a:gd name="T14" fmla="*/ 576 w 711"/>
                <a:gd name="T15" fmla="*/ 91 h 618"/>
                <a:gd name="T16" fmla="*/ 554 w 711"/>
                <a:gd name="T17" fmla="*/ 65 h 618"/>
                <a:gd name="T18" fmla="*/ 519 w 711"/>
                <a:gd name="T19" fmla="*/ 43 h 618"/>
                <a:gd name="T20" fmla="*/ 460 w 711"/>
                <a:gd name="T21" fmla="*/ 46 h 618"/>
                <a:gd name="T22" fmla="*/ 449 w 711"/>
                <a:gd name="T23" fmla="*/ 22 h 618"/>
                <a:gd name="T24" fmla="*/ 408 w 711"/>
                <a:gd name="T25" fmla="*/ 12 h 618"/>
                <a:gd name="T26" fmla="*/ 355 w 711"/>
                <a:gd name="T27" fmla="*/ 6 h 618"/>
                <a:gd name="T28" fmla="*/ 312 w 711"/>
                <a:gd name="T29" fmla="*/ 43 h 618"/>
                <a:gd name="T30" fmla="*/ 255 w 711"/>
                <a:gd name="T31" fmla="*/ 65 h 618"/>
                <a:gd name="T32" fmla="*/ 251 w 711"/>
                <a:gd name="T33" fmla="*/ 111 h 618"/>
                <a:gd name="T34" fmla="*/ 246 w 711"/>
                <a:gd name="T35" fmla="*/ 133 h 618"/>
                <a:gd name="T36" fmla="*/ 209 w 711"/>
                <a:gd name="T37" fmla="*/ 159 h 618"/>
                <a:gd name="T38" fmla="*/ 192 w 711"/>
                <a:gd name="T39" fmla="*/ 179 h 618"/>
                <a:gd name="T40" fmla="*/ 183 w 711"/>
                <a:gd name="T41" fmla="*/ 223 h 618"/>
                <a:gd name="T42" fmla="*/ 192 w 711"/>
                <a:gd name="T43" fmla="*/ 245 h 618"/>
                <a:gd name="T44" fmla="*/ 185 w 711"/>
                <a:gd name="T45" fmla="*/ 263 h 618"/>
                <a:gd name="T46" fmla="*/ 166 w 711"/>
                <a:gd name="T47" fmla="*/ 247 h 618"/>
                <a:gd name="T48" fmla="*/ 123 w 711"/>
                <a:gd name="T49" fmla="*/ 265 h 618"/>
                <a:gd name="T50" fmla="*/ 112 w 711"/>
                <a:gd name="T51" fmla="*/ 280 h 618"/>
                <a:gd name="T52" fmla="*/ 60 w 711"/>
                <a:gd name="T53" fmla="*/ 288 h 618"/>
                <a:gd name="T54" fmla="*/ 26 w 711"/>
                <a:gd name="T55" fmla="*/ 297 h 618"/>
                <a:gd name="T56" fmla="*/ 54 w 711"/>
                <a:gd name="T57" fmla="*/ 384 h 618"/>
                <a:gd name="T58" fmla="*/ 55 w 711"/>
                <a:gd name="T59" fmla="*/ 416 h 618"/>
                <a:gd name="T60" fmla="*/ 3 w 711"/>
                <a:gd name="T61" fmla="*/ 496 h 618"/>
                <a:gd name="T62" fmla="*/ 24 w 711"/>
                <a:gd name="T63" fmla="*/ 505 h 618"/>
                <a:gd name="T64" fmla="*/ 37 w 711"/>
                <a:gd name="T65" fmla="*/ 530 h 618"/>
                <a:gd name="T66" fmla="*/ 29 w 711"/>
                <a:gd name="T67" fmla="*/ 558 h 618"/>
                <a:gd name="T68" fmla="*/ 30 w 711"/>
                <a:gd name="T69" fmla="*/ 579 h 618"/>
                <a:gd name="T70" fmla="*/ 49 w 711"/>
                <a:gd name="T71" fmla="*/ 571 h 618"/>
                <a:gd name="T72" fmla="*/ 148 w 711"/>
                <a:gd name="T73" fmla="*/ 533 h 618"/>
                <a:gd name="T74" fmla="*/ 275 w 711"/>
                <a:gd name="T75" fmla="*/ 556 h 618"/>
                <a:gd name="T76" fmla="*/ 311 w 711"/>
                <a:gd name="T77" fmla="*/ 575 h 618"/>
                <a:gd name="T78" fmla="*/ 340 w 711"/>
                <a:gd name="T79" fmla="*/ 590 h 618"/>
                <a:gd name="T80" fmla="*/ 371 w 711"/>
                <a:gd name="T81" fmla="*/ 573 h 618"/>
                <a:gd name="T82" fmla="*/ 392 w 711"/>
                <a:gd name="T83" fmla="*/ 579 h 618"/>
                <a:gd name="T84" fmla="*/ 416 w 711"/>
                <a:gd name="T85" fmla="*/ 590 h 618"/>
                <a:gd name="T86" fmla="*/ 451 w 711"/>
                <a:gd name="T87" fmla="*/ 584 h 618"/>
                <a:gd name="T88" fmla="*/ 473 w 711"/>
                <a:gd name="T89" fmla="*/ 593 h 618"/>
                <a:gd name="T90" fmla="*/ 503 w 711"/>
                <a:gd name="T91" fmla="*/ 591 h 618"/>
                <a:gd name="T92" fmla="*/ 536 w 711"/>
                <a:gd name="T93" fmla="*/ 610 h 618"/>
                <a:gd name="T94" fmla="*/ 553 w 711"/>
                <a:gd name="T95" fmla="*/ 610 h 618"/>
                <a:gd name="T96" fmla="*/ 554 w 711"/>
                <a:gd name="T97" fmla="*/ 590 h 618"/>
                <a:gd name="T98" fmla="*/ 550 w 711"/>
                <a:gd name="T99" fmla="*/ 576 h 618"/>
                <a:gd name="T100" fmla="*/ 556 w 711"/>
                <a:gd name="T101" fmla="*/ 558 h 618"/>
                <a:gd name="T102" fmla="*/ 563 w 711"/>
                <a:gd name="T103" fmla="*/ 541 h 618"/>
                <a:gd name="T104" fmla="*/ 574 w 711"/>
                <a:gd name="T105" fmla="*/ 528 h 618"/>
                <a:gd name="T106" fmla="*/ 596 w 711"/>
                <a:gd name="T107" fmla="*/ 518 h 618"/>
                <a:gd name="T108" fmla="*/ 634 w 711"/>
                <a:gd name="T109" fmla="*/ 498 h 618"/>
                <a:gd name="T110" fmla="*/ 625 w 711"/>
                <a:gd name="T111" fmla="*/ 467 h 618"/>
                <a:gd name="T112" fmla="*/ 627 w 711"/>
                <a:gd name="T113" fmla="*/ 439 h 618"/>
                <a:gd name="T114" fmla="*/ 608 w 711"/>
                <a:gd name="T115" fmla="*/ 394 h 618"/>
                <a:gd name="T116" fmla="*/ 640 w 711"/>
                <a:gd name="T117" fmla="*/ 382 h 618"/>
                <a:gd name="T118" fmla="*/ 673 w 711"/>
                <a:gd name="T119" fmla="*/ 393 h 618"/>
                <a:gd name="T120" fmla="*/ 691 w 711"/>
                <a:gd name="T121" fmla="*/ 367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1" h="618">
                  <a:moveTo>
                    <a:pt x="711" y="350"/>
                  </a:moveTo>
                  <a:lnTo>
                    <a:pt x="710" y="347"/>
                  </a:lnTo>
                  <a:lnTo>
                    <a:pt x="710" y="347"/>
                  </a:lnTo>
                  <a:lnTo>
                    <a:pt x="707" y="348"/>
                  </a:lnTo>
                  <a:lnTo>
                    <a:pt x="707" y="348"/>
                  </a:lnTo>
                  <a:lnTo>
                    <a:pt x="705" y="347"/>
                  </a:lnTo>
                  <a:lnTo>
                    <a:pt x="707" y="345"/>
                  </a:lnTo>
                  <a:lnTo>
                    <a:pt x="707" y="344"/>
                  </a:lnTo>
                  <a:lnTo>
                    <a:pt x="705" y="344"/>
                  </a:lnTo>
                  <a:lnTo>
                    <a:pt x="704" y="344"/>
                  </a:lnTo>
                  <a:lnTo>
                    <a:pt x="702" y="344"/>
                  </a:lnTo>
                  <a:lnTo>
                    <a:pt x="702" y="344"/>
                  </a:lnTo>
                  <a:lnTo>
                    <a:pt x="702" y="345"/>
                  </a:lnTo>
                  <a:lnTo>
                    <a:pt x="700" y="344"/>
                  </a:lnTo>
                  <a:lnTo>
                    <a:pt x="700" y="344"/>
                  </a:lnTo>
                  <a:lnTo>
                    <a:pt x="700" y="344"/>
                  </a:lnTo>
                  <a:lnTo>
                    <a:pt x="699" y="340"/>
                  </a:lnTo>
                  <a:lnTo>
                    <a:pt x="697" y="340"/>
                  </a:lnTo>
                  <a:lnTo>
                    <a:pt x="694" y="337"/>
                  </a:lnTo>
                  <a:lnTo>
                    <a:pt x="691" y="337"/>
                  </a:lnTo>
                  <a:lnTo>
                    <a:pt x="690" y="334"/>
                  </a:lnTo>
                  <a:lnTo>
                    <a:pt x="688" y="333"/>
                  </a:lnTo>
                  <a:lnTo>
                    <a:pt x="688" y="328"/>
                  </a:lnTo>
                  <a:lnTo>
                    <a:pt x="688" y="327"/>
                  </a:lnTo>
                  <a:lnTo>
                    <a:pt x="688" y="325"/>
                  </a:lnTo>
                  <a:lnTo>
                    <a:pt x="688" y="325"/>
                  </a:lnTo>
                  <a:lnTo>
                    <a:pt x="694" y="322"/>
                  </a:lnTo>
                  <a:lnTo>
                    <a:pt x="694" y="322"/>
                  </a:lnTo>
                  <a:lnTo>
                    <a:pt x="694" y="320"/>
                  </a:lnTo>
                  <a:lnTo>
                    <a:pt x="694" y="319"/>
                  </a:lnTo>
                  <a:lnTo>
                    <a:pt x="694" y="319"/>
                  </a:lnTo>
                  <a:lnTo>
                    <a:pt x="693" y="316"/>
                  </a:lnTo>
                  <a:lnTo>
                    <a:pt x="691" y="316"/>
                  </a:lnTo>
                  <a:lnTo>
                    <a:pt x="690" y="316"/>
                  </a:lnTo>
                  <a:lnTo>
                    <a:pt x="685" y="316"/>
                  </a:lnTo>
                  <a:lnTo>
                    <a:pt x="685" y="314"/>
                  </a:lnTo>
                  <a:lnTo>
                    <a:pt x="682" y="311"/>
                  </a:lnTo>
                  <a:lnTo>
                    <a:pt x="679" y="310"/>
                  </a:lnTo>
                  <a:lnTo>
                    <a:pt x="670" y="307"/>
                  </a:lnTo>
                  <a:lnTo>
                    <a:pt x="667" y="304"/>
                  </a:lnTo>
                  <a:lnTo>
                    <a:pt x="664" y="304"/>
                  </a:lnTo>
                  <a:lnTo>
                    <a:pt x="648" y="308"/>
                  </a:lnTo>
                  <a:lnTo>
                    <a:pt x="642" y="305"/>
                  </a:lnTo>
                  <a:lnTo>
                    <a:pt x="639" y="305"/>
                  </a:lnTo>
                  <a:lnTo>
                    <a:pt x="640" y="302"/>
                  </a:lnTo>
                  <a:lnTo>
                    <a:pt x="642" y="297"/>
                  </a:lnTo>
                  <a:lnTo>
                    <a:pt x="643" y="294"/>
                  </a:lnTo>
                  <a:lnTo>
                    <a:pt x="645" y="287"/>
                  </a:lnTo>
                  <a:lnTo>
                    <a:pt x="647" y="285"/>
                  </a:lnTo>
                  <a:lnTo>
                    <a:pt x="647" y="284"/>
                  </a:lnTo>
                  <a:lnTo>
                    <a:pt x="647" y="282"/>
                  </a:lnTo>
                  <a:lnTo>
                    <a:pt x="647" y="282"/>
                  </a:lnTo>
                  <a:lnTo>
                    <a:pt x="647" y="280"/>
                  </a:lnTo>
                  <a:lnTo>
                    <a:pt x="645" y="274"/>
                  </a:lnTo>
                  <a:lnTo>
                    <a:pt x="645" y="273"/>
                  </a:lnTo>
                  <a:lnTo>
                    <a:pt x="645" y="273"/>
                  </a:lnTo>
                  <a:lnTo>
                    <a:pt x="643" y="273"/>
                  </a:lnTo>
                  <a:lnTo>
                    <a:pt x="643" y="273"/>
                  </a:lnTo>
                  <a:lnTo>
                    <a:pt x="642" y="274"/>
                  </a:lnTo>
                  <a:lnTo>
                    <a:pt x="640" y="274"/>
                  </a:lnTo>
                  <a:lnTo>
                    <a:pt x="640" y="273"/>
                  </a:lnTo>
                  <a:lnTo>
                    <a:pt x="640" y="270"/>
                  </a:lnTo>
                  <a:lnTo>
                    <a:pt x="639" y="268"/>
                  </a:lnTo>
                  <a:lnTo>
                    <a:pt x="639" y="268"/>
                  </a:lnTo>
                  <a:lnTo>
                    <a:pt x="637" y="267"/>
                  </a:lnTo>
                  <a:lnTo>
                    <a:pt x="636" y="267"/>
                  </a:lnTo>
                  <a:lnTo>
                    <a:pt x="633" y="267"/>
                  </a:lnTo>
                  <a:lnTo>
                    <a:pt x="627" y="263"/>
                  </a:lnTo>
                  <a:lnTo>
                    <a:pt x="623" y="262"/>
                  </a:lnTo>
                  <a:lnTo>
                    <a:pt x="622" y="262"/>
                  </a:lnTo>
                  <a:lnTo>
                    <a:pt x="619" y="260"/>
                  </a:lnTo>
                  <a:lnTo>
                    <a:pt x="608" y="251"/>
                  </a:lnTo>
                  <a:lnTo>
                    <a:pt x="607" y="248"/>
                  </a:lnTo>
                  <a:lnTo>
                    <a:pt x="607" y="245"/>
                  </a:lnTo>
                  <a:lnTo>
                    <a:pt x="605" y="237"/>
                  </a:lnTo>
                  <a:lnTo>
                    <a:pt x="605" y="236"/>
                  </a:lnTo>
                  <a:lnTo>
                    <a:pt x="603" y="234"/>
                  </a:lnTo>
                  <a:lnTo>
                    <a:pt x="603" y="233"/>
                  </a:lnTo>
                  <a:lnTo>
                    <a:pt x="602" y="231"/>
                  </a:lnTo>
                  <a:lnTo>
                    <a:pt x="600" y="225"/>
                  </a:lnTo>
                  <a:lnTo>
                    <a:pt x="599" y="223"/>
                  </a:lnTo>
                  <a:lnTo>
                    <a:pt x="597" y="222"/>
                  </a:lnTo>
                  <a:lnTo>
                    <a:pt x="597" y="222"/>
                  </a:lnTo>
                  <a:lnTo>
                    <a:pt x="596" y="220"/>
                  </a:lnTo>
                  <a:lnTo>
                    <a:pt x="591" y="219"/>
                  </a:lnTo>
                  <a:lnTo>
                    <a:pt x="588" y="217"/>
                  </a:lnTo>
                  <a:lnTo>
                    <a:pt x="590" y="211"/>
                  </a:lnTo>
                  <a:lnTo>
                    <a:pt x="594" y="205"/>
                  </a:lnTo>
                  <a:lnTo>
                    <a:pt x="596" y="200"/>
                  </a:lnTo>
                  <a:lnTo>
                    <a:pt x="593" y="199"/>
                  </a:lnTo>
                  <a:lnTo>
                    <a:pt x="591" y="194"/>
                  </a:lnTo>
                  <a:lnTo>
                    <a:pt x="585" y="194"/>
                  </a:lnTo>
                  <a:lnTo>
                    <a:pt x="583" y="194"/>
                  </a:lnTo>
                  <a:lnTo>
                    <a:pt x="583" y="191"/>
                  </a:lnTo>
                  <a:lnTo>
                    <a:pt x="582" y="190"/>
                  </a:lnTo>
                  <a:lnTo>
                    <a:pt x="571" y="182"/>
                  </a:lnTo>
                  <a:lnTo>
                    <a:pt x="568" y="180"/>
                  </a:lnTo>
                  <a:lnTo>
                    <a:pt x="566" y="179"/>
                  </a:lnTo>
                  <a:lnTo>
                    <a:pt x="566" y="177"/>
                  </a:lnTo>
                  <a:lnTo>
                    <a:pt x="566" y="174"/>
                  </a:lnTo>
                  <a:lnTo>
                    <a:pt x="568" y="171"/>
                  </a:lnTo>
                  <a:lnTo>
                    <a:pt x="570" y="170"/>
                  </a:lnTo>
                  <a:lnTo>
                    <a:pt x="571" y="168"/>
                  </a:lnTo>
                  <a:lnTo>
                    <a:pt x="571" y="165"/>
                  </a:lnTo>
                  <a:lnTo>
                    <a:pt x="570" y="162"/>
                  </a:lnTo>
                  <a:lnTo>
                    <a:pt x="570" y="162"/>
                  </a:lnTo>
                  <a:lnTo>
                    <a:pt x="571" y="160"/>
                  </a:lnTo>
                  <a:lnTo>
                    <a:pt x="576" y="159"/>
                  </a:lnTo>
                  <a:lnTo>
                    <a:pt x="577" y="157"/>
                  </a:lnTo>
                  <a:lnTo>
                    <a:pt x="579" y="156"/>
                  </a:lnTo>
                  <a:lnTo>
                    <a:pt x="579" y="154"/>
                  </a:lnTo>
                  <a:lnTo>
                    <a:pt x="577" y="153"/>
                  </a:lnTo>
                  <a:lnTo>
                    <a:pt x="577" y="150"/>
                  </a:lnTo>
                  <a:lnTo>
                    <a:pt x="577" y="148"/>
                  </a:lnTo>
                  <a:lnTo>
                    <a:pt x="579" y="148"/>
                  </a:lnTo>
                  <a:lnTo>
                    <a:pt x="582" y="150"/>
                  </a:lnTo>
                  <a:lnTo>
                    <a:pt x="583" y="150"/>
                  </a:lnTo>
                  <a:lnTo>
                    <a:pt x="583" y="146"/>
                  </a:lnTo>
                  <a:lnTo>
                    <a:pt x="583" y="143"/>
                  </a:lnTo>
                  <a:lnTo>
                    <a:pt x="582" y="140"/>
                  </a:lnTo>
                  <a:lnTo>
                    <a:pt x="582" y="140"/>
                  </a:lnTo>
                  <a:lnTo>
                    <a:pt x="582" y="139"/>
                  </a:lnTo>
                  <a:lnTo>
                    <a:pt x="582" y="137"/>
                  </a:lnTo>
                  <a:lnTo>
                    <a:pt x="582" y="137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2" y="134"/>
                  </a:lnTo>
                  <a:lnTo>
                    <a:pt x="580" y="133"/>
                  </a:lnTo>
                  <a:lnTo>
                    <a:pt x="580" y="133"/>
                  </a:lnTo>
                  <a:lnTo>
                    <a:pt x="580" y="133"/>
                  </a:lnTo>
                  <a:lnTo>
                    <a:pt x="580" y="131"/>
                  </a:lnTo>
                  <a:lnTo>
                    <a:pt x="580" y="131"/>
                  </a:lnTo>
                  <a:lnTo>
                    <a:pt x="580" y="130"/>
                  </a:lnTo>
                  <a:lnTo>
                    <a:pt x="576" y="126"/>
                  </a:lnTo>
                  <a:lnTo>
                    <a:pt x="576" y="125"/>
                  </a:lnTo>
                  <a:lnTo>
                    <a:pt x="574" y="120"/>
                  </a:lnTo>
                  <a:lnTo>
                    <a:pt x="573" y="119"/>
                  </a:lnTo>
                  <a:lnTo>
                    <a:pt x="570" y="117"/>
                  </a:lnTo>
                  <a:lnTo>
                    <a:pt x="570" y="116"/>
                  </a:lnTo>
                  <a:lnTo>
                    <a:pt x="568" y="114"/>
                  </a:lnTo>
                  <a:lnTo>
                    <a:pt x="568" y="113"/>
                  </a:lnTo>
                  <a:lnTo>
                    <a:pt x="570" y="110"/>
                  </a:lnTo>
                  <a:lnTo>
                    <a:pt x="573" y="106"/>
                  </a:lnTo>
                  <a:lnTo>
                    <a:pt x="577" y="103"/>
                  </a:lnTo>
                  <a:lnTo>
                    <a:pt x="577" y="102"/>
                  </a:lnTo>
                  <a:lnTo>
                    <a:pt x="577" y="99"/>
                  </a:lnTo>
                  <a:lnTo>
                    <a:pt x="576" y="97"/>
                  </a:lnTo>
                  <a:lnTo>
                    <a:pt x="576" y="96"/>
                  </a:lnTo>
                  <a:lnTo>
                    <a:pt x="574" y="93"/>
                  </a:lnTo>
                  <a:lnTo>
                    <a:pt x="576" y="91"/>
                  </a:lnTo>
                  <a:lnTo>
                    <a:pt x="577" y="89"/>
                  </a:lnTo>
                  <a:lnTo>
                    <a:pt x="577" y="88"/>
                  </a:lnTo>
                  <a:lnTo>
                    <a:pt x="577" y="88"/>
                  </a:lnTo>
                  <a:lnTo>
                    <a:pt x="576" y="86"/>
                  </a:lnTo>
                  <a:lnTo>
                    <a:pt x="577" y="82"/>
                  </a:lnTo>
                  <a:lnTo>
                    <a:pt x="577" y="77"/>
                  </a:lnTo>
                  <a:lnTo>
                    <a:pt x="577" y="77"/>
                  </a:lnTo>
                  <a:lnTo>
                    <a:pt x="576" y="74"/>
                  </a:lnTo>
                  <a:lnTo>
                    <a:pt x="573" y="73"/>
                  </a:lnTo>
                  <a:lnTo>
                    <a:pt x="570" y="73"/>
                  </a:lnTo>
                  <a:lnTo>
                    <a:pt x="566" y="74"/>
                  </a:lnTo>
                  <a:lnTo>
                    <a:pt x="565" y="74"/>
                  </a:lnTo>
                  <a:lnTo>
                    <a:pt x="562" y="69"/>
                  </a:lnTo>
                  <a:lnTo>
                    <a:pt x="562" y="68"/>
                  </a:lnTo>
                  <a:lnTo>
                    <a:pt x="560" y="66"/>
                  </a:lnTo>
                  <a:lnTo>
                    <a:pt x="560" y="66"/>
                  </a:lnTo>
                  <a:lnTo>
                    <a:pt x="557" y="66"/>
                  </a:lnTo>
                  <a:lnTo>
                    <a:pt x="556" y="66"/>
                  </a:lnTo>
                  <a:lnTo>
                    <a:pt x="554" y="65"/>
                  </a:lnTo>
                  <a:lnTo>
                    <a:pt x="553" y="63"/>
                  </a:lnTo>
                  <a:lnTo>
                    <a:pt x="553" y="62"/>
                  </a:lnTo>
                  <a:lnTo>
                    <a:pt x="553" y="60"/>
                  </a:lnTo>
                  <a:lnTo>
                    <a:pt x="553" y="60"/>
                  </a:lnTo>
                  <a:lnTo>
                    <a:pt x="553" y="57"/>
                  </a:lnTo>
                  <a:lnTo>
                    <a:pt x="553" y="57"/>
                  </a:lnTo>
                  <a:lnTo>
                    <a:pt x="551" y="57"/>
                  </a:lnTo>
                  <a:lnTo>
                    <a:pt x="545" y="53"/>
                  </a:lnTo>
                  <a:lnTo>
                    <a:pt x="543" y="53"/>
                  </a:lnTo>
                  <a:lnTo>
                    <a:pt x="545" y="51"/>
                  </a:lnTo>
                  <a:lnTo>
                    <a:pt x="545" y="49"/>
                  </a:lnTo>
                  <a:lnTo>
                    <a:pt x="545" y="49"/>
                  </a:lnTo>
                  <a:lnTo>
                    <a:pt x="543" y="48"/>
                  </a:lnTo>
                  <a:lnTo>
                    <a:pt x="530" y="43"/>
                  </a:lnTo>
                  <a:lnTo>
                    <a:pt x="528" y="42"/>
                  </a:lnTo>
                  <a:lnTo>
                    <a:pt x="525" y="40"/>
                  </a:lnTo>
                  <a:lnTo>
                    <a:pt x="523" y="40"/>
                  </a:lnTo>
                  <a:lnTo>
                    <a:pt x="522" y="40"/>
                  </a:lnTo>
                  <a:lnTo>
                    <a:pt x="519" y="43"/>
                  </a:lnTo>
                  <a:lnTo>
                    <a:pt x="517" y="45"/>
                  </a:lnTo>
                  <a:lnTo>
                    <a:pt x="508" y="40"/>
                  </a:lnTo>
                  <a:lnTo>
                    <a:pt x="505" y="40"/>
                  </a:lnTo>
                  <a:lnTo>
                    <a:pt x="502" y="42"/>
                  </a:lnTo>
                  <a:lnTo>
                    <a:pt x="499" y="43"/>
                  </a:lnTo>
                  <a:lnTo>
                    <a:pt x="497" y="45"/>
                  </a:lnTo>
                  <a:lnTo>
                    <a:pt x="494" y="51"/>
                  </a:lnTo>
                  <a:lnTo>
                    <a:pt x="493" y="53"/>
                  </a:lnTo>
                  <a:lnTo>
                    <a:pt x="488" y="51"/>
                  </a:lnTo>
                  <a:lnTo>
                    <a:pt x="485" y="51"/>
                  </a:lnTo>
                  <a:lnTo>
                    <a:pt x="479" y="56"/>
                  </a:lnTo>
                  <a:lnTo>
                    <a:pt x="473" y="62"/>
                  </a:lnTo>
                  <a:lnTo>
                    <a:pt x="471" y="63"/>
                  </a:lnTo>
                  <a:lnTo>
                    <a:pt x="469" y="62"/>
                  </a:lnTo>
                  <a:lnTo>
                    <a:pt x="465" y="57"/>
                  </a:lnTo>
                  <a:lnTo>
                    <a:pt x="462" y="54"/>
                  </a:lnTo>
                  <a:lnTo>
                    <a:pt x="460" y="51"/>
                  </a:lnTo>
                  <a:lnTo>
                    <a:pt x="460" y="49"/>
                  </a:lnTo>
                  <a:lnTo>
                    <a:pt x="460" y="46"/>
                  </a:lnTo>
                  <a:lnTo>
                    <a:pt x="462" y="42"/>
                  </a:lnTo>
                  <a:lnTo>
                    <a:pt x="463" y="40"/>
                  </a:lnTo>
                  <a:lnTo>
                    <a:pt x="463" y="37"/>
                  </a:lnTo>
                  <a:lnTo>
                    <a:pt x="463" y="37"/>
                  </a:lnTo>
                  <a:lnTo>
                    <a:pt x="463" y="36"/>
                  </a:lnTo>
                  <a:lnTo>
                    <a:pt x="465" y="36"/>
                  </a:lnTo>
                  <a:lnTo>
                    <a:pt x="465" y="34"/>
                  </a:lnTo>
                  <a:lnTo>
                    <a:pt x="466" y="34"/>
                  </a:lnTo>
                  <a:lnTo>
                    <a:pt x="466" y="34"/>
                  </a:lnTo>
                  <a:lnTo>
                    <a:pt x="466" y="34"/>
                  </a:lnTo>
                  <a:lnTo>
                    <a:pt x="468" y="34"/>
                  </a:lnTo>
                  <a:lnTo>
                    <a:pt x="468" y="33"/>
                  </a:lnTo>
                  <a:lnTo>
                    <a:pt x="468" y="33"/>
                  </a:lnTo>
                  <a:lnTo>
                    <a:pt x="466" y="31"/>
                  </a:lnTo>
                  <a:lnTo>
                    <a:pt x="465" y="29"/>
                  </a:lnTo>
                  <a:lnTo>
                    <a:pt x="465" y="28"/>
                  </a:lnTo>
                  <a:lnTo>
                    <a:pt x="463" y="26"/>
                  </a:lnTo>
                  <a:lnTo>
                    <a:pt x="451" y="23"/>
                  </a:lnTo>
                  <a:lnTo>
                    <a:pt x="449" y="22"/>
                  </a:lnTo>
                  <a:lnTo>
                    <a:pt x="445" y="19"/>
                  </a:lnTo>
                  <a:lnTo>
                    <a:pt x="442" y="17"/>
                  </a:lnTo>
                  <a:lnTo>
                    <a:pt x="437" y="17"/>
                  </a:lnTo>
                  <a:lnTo>
                    <a:pt x="432" y="19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5" y="23"/>
                  </a:lnTo>
                  <a:lnTo>
                    <a:pt x="422" y="26"/>
                  </a:lnTo>
                  <a:lnTo>
                    <a:pt x="422" y="29"/>
                  </a:lnTo>
                  <a:lnTo>
                    <a:pt x="420" y="29"/>
                  </a:lnTo>
                  <a:lnTo>
                    <a:pt x="414" y="28"/>
                  </a:lnTo>
                  <a:lnTo>
                    <a:pt x="412" y="26"/>
                  </a:lnTo>
                  <a:lnTo>
                    <a:pt x="412" y="23"/>
                  </a:lnTo>
                  <a:lnTo>
                    <a:pt x="411" y="20"/>
                  </a:lnTo>
                  <a:lnTo>
                    <a:pt x="411" y="17"/>
                  </a:lnTo>
                  <a:lnTo>
                    <a:pt x="411" y="16"/>
                  </a:lnTo>
                  <a:lnTo>
                    <a:pt x="408" y="12"/>
                  </a:lnTo>
                  <a:lnTo>
                    <a:pt x="406" y="9"/>
                  </a:lnTo>
                  <a:lnTo>
                    <a:pt x="406" y="9"/>
                  </a:lnTo>
                  <a:lnTo>
                    <a:pt x="405" y="8"/>
                  </a:lnTo>
                  <a:lnTo>
                    <a:pt x="400" y="8"/>
                  </a:lnTo>
                  <a:lnTo>
                    <a:pt x="389" y="9"/>
                  </a:lnTo>
                  <a:lnTo>
                    <a:pt x="388" y="9"/>
                  </a:lnTo>
                  <a:lnTo>
                    <a:pt x="385" y="14"/>
                  </a:lnTo>
                  <a:lnTo>
                    <a:pt x="383" y="16"/>
                  </a:lnTo>
                  <a:lnTo>
                    <a:pt x="382" y="14"/>
                  </a:lnTo>
                  <a:lnTo>
                    <a:pt x="380" y="12"/>
                  </a:lnTo>
                  <a:lnTo>
                    <a:pt x="379" y="9"/>
                  </a:lnTo>
                  <a:lnTo>
                    <a:pt x="372" y="3"/>
                  </a:lnTo>
                  <a:lnTo>
                    <a:pt x="371" y="2"/>
                  </a:lnTo>
                  <a:lnTo>
                    <a:pt x="368" y="0"/>
                  </a:lnTo>
                  <a:lnTo>
                    <a:pt x="365" y="2"/>
                  </a:lnTo>
                  <a:lnTo>
                    <a:pt x="365" y="2"/>
                  </a:lnTo>
                  <a:lnTo>
                    <a:pt x="362" y="3"/>
                  </a:lnTo>
                  <a:lnTo>
                    <a:pt x="359" y="5"/>
                  </a:lnTo>
                  <a:lnTo>
                    <a:pt x="355" y="6"/>
                  </a:lnTo>
                  <a:lnTo>
                    <a:pt x="355" y="6"/>
                  </a:lnTo>
                  <a:lnTo>
                    <a:pt x="354" y="8"/>
                  </a:lnTo>
                  <a:lnTo>
                    <a:pt x="352" y="9"/>
                  </a:lnTo>
                  <a:lnTo>
                    <a:pt x="352" y="11"/>
                  </a:lnTo>
                  <a:lnTo>
                    <a:pt x="351" y="12"/>
                  </a:lnTo>
                  <a:lnTo>
                    <a:pt x="346" y="16"/>
                  </a:lnTo>
                  <a:lnTo>
                    <a:pt x="343" y="19"/>
                  </a:lnTo>
                  <a:lnTo>
                    <a:pt x="343" y="22"/>
                  </a:lnTo>
                  <a:lnTo>
                    <a:pt x="342" y="26"/>
                  </a:lnTo>
                  <a:lnTo>
                    <a:pt x="334" y="31"/>
                  </a:lnTo>
                  <a:lnTo>
                    <a:pt x="332" y="37"/>
                  </a:lnTo>
                  <a:lnTo>
                    <a:pt x="331" y="43"/>
                  </a:lnTo>
                  <a:lnTo>
                    <a:pt x="331" y="46"/>
                  </a:lnTo>
                  <a:lnTo>
                    <a:pt x="329" y="48"/>
                  </a:lnTo>
                  <a:lnTo>
                    <a:pt x="328" y="48"/>
                  </a:lnTo>
                  <a:lnTo>
                    <a:pt x="319" y="48"/>
                  </a:lnTo>
                  <a:lnTo>
                    <a:pt x="315" y="46"/>
                  </a:lnTo>
                  <a:lnTo>
                    <a:pt x="314" y="45"/>
                  </a:lnTo>
                  <a:lnTo>
                    <a:pt x="312" y="43"/>
                  </a:lnTo>
                  <a:lnTo>
                    <a:pt x="311" y="45"/>
                  </a:lnTo>
                  <a:lnTo>
                    <a:pt x="306" y="48"/>
                  </a:lnTo>
                  <a:lnTo>
                    <a:pt x="305" y="49"/>
                  </a:lnTo>
                  <a:lnTo>
                    <a:pt x="303" y="48"/>
                  </a:lnTo>
                  <a:lnTo>
                    <a:pt x="298" y="43"/>
                  </a:lnTo>
                  <a:lnTo>
                    <a:pt x="297" y="43"/>
                  </a:lnTo>
                  <a:lnTo>
                    <a:pt x="294" y="42"/>
                  </a:lnTo>
                  <a:lnTo>
                    <a:pt x="285" y="43"/>
                  </a:lnTo>
                  <a:lnTo>
                    <a:pt x="285" y="43"/>
                  </a:lnTo>
                  <a:lnTo>
                    <a:pt x="283" y="45"/>
                  </a:lnTo>
                  <a:lnTo>
                    <a:pt x="278" y="49"/>
                  </a:lnTo>
                  <a:lnTo>
                    <a:pt x="274" y="57"/>
                  </a:lnTo>
                  <a:lnTo>
                    <a:pt x="272" y="60"/>
                  </a:lnTo>
                  <a:lnTo>
                    <a:pt x="266" y="63"/>
                  </a:lnTo>
                  <a:lnTo>
                    <a:pt x="265" y="63"/>
                  </a:lnTo>
                  <a:lnTo>
                    <a:pt x="262" y="62"/>
                  </a:lnTo>
                  <a:lnTo>
                    <a:pt x="258" y="60"/>
                  </a:lnTo>
                  <a:lnTo>
                    <a:pt x="257" y="62"/>
                  </a:lnTo>
                  <a:lnTo>
                    <a:pt x="255" y="65"/>
                  </a:lnTo>
                  <a:lnTo>
                    <a:pt x="257" y="68"/>
                  </a:lnTo>
                  <a:lnTo>
                    <a:pt x="257" y="71"/>
                  </a:lnTo>
                  <a:lnTo>
                    <a:pt x="257" y="74"/>
                  </a:lnTo>
                  <a:lnTo>
                    <a:pt x="255" y="77"/>
                  </a:lnTo>
                  <a:lnTo>
                    <a:pt x="254" y="80"/>
                  </a:lnTo>
                  <a:lnTo>
                    <a:pt x="252" y="82"/>
                  </a:lnTo>
                  <a:lnTo>
                    <a:pt x="251" y="85"/>
                  </a:lnTo>
                  <a:lnTo>
                    <a:pt x="251" y="88"/>
                  </a:lnTo>
                  <a:lnTo>
                    <a:pt x="252" y="91"/>
                  </a:lnTo>
                  <a:lnTo>
                    <a:pt x="252" y="93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8" y="100"/>
                  </a:lnTo>
                  <a:lnTo>
                    <a:pt x="248" y="102"/>
                  </a:lnTo>
                  <a:lnTo>
                    <a:pt x="245" y="105"/>
                  </a:lnTo>
                  <a:lnTo>
                    <a:pt x="245" y="108"/>
                  </a:lnTo>
                  <a:lnTo>
                    <a:pt x="245" y="110"/>
                  </a:lnTo>
                  <a:lnTo>
                    <a:pt x="246" y="110"/>
                  </a:lnTo>
                  <a:lnTo>
                    <a:pt x="251" y="111"/>
                  </a:lnTo>
                  <a:lnTo>
                    <a:pt x="252" y="111"/>
                  </a:lnTo>
                  <a:lnTo>
                    <a:pt x="257" y="111"/>
                  </a:lnTo>
                  <a:lnTo>
                    <a:pt x="269" y="113"/>
                  </a:lnTo>
                  <a:lnTo>
                    <a:pt x="271" y="114"/>
                  </a:lnTo>
                  <a:lnTo>
                    <a:pt x="271" y="116"/>
                  </a:lnTo>
                  <a:lnTo>
                    <a:pt x="271" y="119"/>
                  </a:lnTo>
                  <a:lnTo>
                    <a:pt x="268" y="120"/>
                  </a:lnTo>
                  <a:lnTo>
                    <a:pt x="266" y="120"/>
                  </a:lnTo>
                  <a:lnTo>
                    <a:pt x="263" y="120"/>
                  </a:lnTo>
                  <a:lnTo>
                    <a:pt x="263" y="122"/>
                  </a:lnTo>
                  <a:lnTo>
                    <a:pt x="260" y="123"/>
                  </a:lnTo>
                  <a:lnTo>
                    <a:pt x="258" y="125"/>
                  </a:lnTo>
                  <a:lnTo>
                    <a:pt x="258" y="126"/>
                  </a:lnTo>
                  <a:lnTo>
                    <a:pt x="258" y="131"/>
                  </a:lnTo>
                  <a:lnTo>
                    <a:pt x="257" y="134"/>
                  </a:lnTo>
                  <a:lnTo>
                    <a:pt x="255" y="136"/>
                  </a:lnTo>
                  <a:lnTo>
                    <a:pt x="254" y="136"/>
                  </a:lnTo>
                  <a:lnTo>
                    <a:pt x="246" y="133"/>
                  </a:lnTo>
                  <a:lnTo>
                    <a:pt x="246" y="133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3" y="136"/>
                  </a:lnTo>
                  <a:lnTo>
                    <a:pt x="243" y="136"/>
                  </a:lnTo>
                  <a:lnTo>
                    <a:pt x="234" y="133"/>
                  </a:lnTo>
                  <a:lnTo>
                    <a:pt x="231" y="134"/>
                  </a:lnTo>
                  <a:lnTo>
                    <a:pt x="229" y="137"/>
                  </a:lnTo>
                  <a:lnTo>
                    <a:pt x="229" y="139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8" y="145"/>
                  </a:lnTo>
                  <a:lnTo>
                    <a:pt x="225" y="151"/>
                  </a:lnTo>
                  <a:lnTo>
                    <a:pt x="225" y="153"/>
                  </a:lnTo>
                  <a:lnTo>
                    <a:pt x="223" y="154"/>
                  </a:lnTo>
                  <a:lnTo>
                    <a:pt x="221" y="156"/>
                  </a:lnTo>
                  <a:lnTo>
                    <a:pt x="218" y="157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6" y="159"/>
                  </a:lnTo>
                  <a:lnTo>
                    <a:pt x="205" y="159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3"/>
                  </a:lnTo>
                  <a:lnTo>
                    <a:pt x="198" y="166"/>
                  </a:lnTo>
                  <a:lnTo>
                    <a:pt x="197" y="166"/>
                  </a:lnTo>
                  <a:lnTo>
                    <a:pt x="195" y="168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5" y="174"/>
                  </a:lnTo>
                  <a:lnTo>
                    <a:pt x="195" y="176"/>
                  </a:lnTo>
                  <a:lnTo>
                    <a:pt x="195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2" y="179"/>
                  </a:lnTo>
                  <a:lnTo>
                    <a:pt x="191" y="180"/>
                  </a:lnTo>
                  <a:lnTo>
                    <a:pt x="191" y="182"/>
                  </a:lnTo>
                  <a:lnTo>
                    <a:pt x="191" y="188"/>
                  </a:lnTo>
                  <a:lnTo>
                    <a:pt x="191" y="190"/>
                  </a:lnTo>
                  <a:lnTo>
                    <a:pt x="191" y="191"/>
                  </a:lnTo>
                  <a:lnTo>
                    <a:pt x="191" y="193"/>
                  </a:lnTo>
                  <a:lnTo>
                    <a:pt x="189" y="194"/>
                  </a:lnTo>
                  <a:lnTo>
                    <a:pt x="189" y="196"/>
                  </a:lnTo>
                  <a:lnTo>
                    <a:pt x="191" y="197"/>
                  </a:lnTo>
                  <a:lnTo>
                    <a:pt x="192" y="202"/>
                  </a:lnTo>
                  <a:lnTo>
                    <a:pt x="192" y="205"/>
                  </a:lnTo>
                  <a:lnTo>
                    <a:pt x="192" y="208"/>
                  </a:lnTo>
                  <a:lnTo>
                    <a:pt x="191" y="210"/>
                  </a:lnTo>
                  <a:lnTo>
                    <a:pt x="189" y="211"/>
                  </a:lnTo>
                  <a:lnTo>
                    <a:pt x="185" y="214"/>
                  </a:lnTo>
                  <a:lnTo>
                    <a:pt x="185" y="216"/>
                  </a:lnTo>
                  <a:lnTo>
                    <a:pt x="183" y="217"/>
                  </a:lnTo>
                  <a:lnTo>
                    <a:pt x="183" y="220"/>
                  </a:lnTo>
                  <a:lnTo>
                    <a:pt x="183" y="223"/>
                  </a:lnTo>
                  <a:lnTo>
                    <a:pt x="183" y="227"/>
                  </a:lnTo>
                  <a:lnTo>
                    <a:pt x="181" y="230"/>
                  </a:lnTo>
                  <a:lnTo>
                    <a:pt x="178" y="233"/>
                  </a:lnTo>
                  <a:lnTo>
                    <a:pt x="177" y="236"/>
                  </a:lnTo>
                  <a:lnTo>
                    <a:pt x="177" y="239"/>
                  </a:lnTo>
                  <a:lnTo>
                    <a:pt x="177" y="240"/>
                  </a:lnTo>
                  <a:lnTo>
                    <a:pt x="178" y="242"/>
                  </a:lnTo>
                  <a:lnTo>
                    <a:pt x="181" y="240"/>
                  </a:lnTo>
                  <a:lnTo>
                    <a:pt x="186" y="239"/>
                  </a:lnTo>
                  <a:lnTo>
                    <a:pt x="188" y="239"/>
                  </a:lnTo>
                  <a:lnTo>
                    <a:pt x="189" y="239"/>
                  </a:lnTo>
                  <a:lnTo>
                    <a:pt x="189" y="240"/>
                  </a:lnTo>
                  <a:lnTo>
                    <a:pt x="189" y="242"/>
                  </a:lnTo>
                  <a:lnTo>
                    <a:pt x="191" y="243"/>
                  </a:lnTo>
                  <a:lnTo>
                    <a:pt x="191" y="243"/>
                  </a:lnTo>
                  <a:lnTo>
                    <a:pt x="191" y="243"/>
                  </a:lnTo>
                  <a:lnTo>
                    <a:pt x="192" y="243"/>
                  </a:lnTo>
                  <a:lnTo>
                    <a:pt x="192" y="243"/>
                  </a:lnTo>
                  <a:lnTo>
                    <a:pt x="192" y="245"/>
                  </a:lnTo>
                  <a:lnTo>
                    <a:pt x="194" y="245"/>
                  </a:lnTo>
                  <a:lnTo>
                    <a:pt x="194" y="247"/>
                  </a:lnTo>
                  <a:lnTo>
                    <a:pt x="194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50"/>
                  </a:lnTo>
                  <a:lnTo>
                    <a:pt x="195" y="250"/>
                  </a:lnTo>
                  <a:lnTo>
                    <a:pt x="195" y="250"/>
                  </a:lnTo>
                  <a:lnTo>
                    <a:pt x="195" y="251"/>
                  </a:lnTo>
                  <a:lnTo>
                    <a:pt x="194" y="253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2" y="260"/>
                  </a:lnTo>
                  <a:lnTo>
                    <a:pt x="191" y="262"/>
                  </a:lnTo>
                  <a:lnTo>
                    <a:pt x="188" y="260"/>
                  </a:lnTo>
                  <a:lnTo>
                    <a:pt x="188" y="262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5" y="263"/>
                  </a:lnTo>
                  <a:lnTo>
                    <a:pt x="177" y="262"/>
                  </a:lnTo>
                  <a:lnTo>
                    <a:pt x="175" y="262"/>
                  </a:lnTo>
                  <a:lnTo>
                    <a:pt x="174" y="260"/>
                  </a:lnTo>
                  <a:lnTo>
                    <a:pt x="174" y="257"/>
                  </a:lnTo>
                  <a:lnTo>
                    <a:pt x="174" y="257"/>
                  </a:lnTo>
                  <a:lnTo>
                    <a:pt x="175" y="256"/>
                  </a:lnTo>
                  <a:lnTo>
                    <a:pt x="177" y="254"/>
                  </a:lnTo>
                  <a:lnTo>
                    <a:pt x="175" y="254"/>
                  </a:lnTo>
                  <a:lnTo>
                    <a:pt x="174" y="253"/>
                  </a:lnTo>
                  <a:lnTo>
                    <a:pt x="174" y="251"/>
                  </a:lnTo>
                  <a:lnTo>
                    <a:pt x="175" y="251"/>
                  </a:lnTo>
                  <a:lnTo>
                    <a:pt x="177" y="251"/>
                  </a:lnTo>
                  <a:lnTo>
                    <a:pt x="178" y="250"/>
                  </a:lnTo>
                  <a:lnTo>
                    <a:pt x="172" y="243"/>
                  </a:lnTo>
                  <a:lnTo>
                    <a:pt x="172" y="242"/>
                  </a:lnTo>
                  <a:lnTo>
                    <a:pt x="172" y="242"/>
                  </a:lnTo>
                  <a:lnTo>
                    <a:pt x="171" y="242"/>
                  </a:lnTo>
                  <a:lnTo>
                    <a:pt x="169" y="242"/>
                  </a:lnTo>
                  <a:lnTo>
                    <a:pt x="166" y="247"/>
                  </a:lnTo>
                  <a:lnTo>
                    <a:pt x="164" y="248"/>
                  </a:lnTo>
                  <a:lnTo>
                    <a:pt x="158" y="248"/>
                  </a:lnTo>
                  <a:lnTo>
                    <a:pt x="154" y="247"/>
                  </a:lnTo>
                  <a:lnTo>
                    <a:pt x="152" y="247"/>
                  </a:lnTo>
                  <a:lnTo>
                    <a:pt x="151" y="248"/>
                  </a:lnTo>
                  <a:lnTo>
                    <a:pt x="149" y="254"/>
                  </a:lnTo>
                  <a:lnTo>
                    <a:pt x="149" y="257"/>
                  </a:lnTo>
                  <a:lnTo>
                    <a:pt x="146" y="260"/>
                  </a:lnTo>
                  <a:lnTo>
                    <a:pt x="143" y="263"/>
                  </a:lnTo>
                  <a:lnTo>
                    <a:pt x="138" y="263"/>
                  </a:lnTo>
                  <a:lnTo>
                    <a:pt x="134" y="262"/>
                  </a:lnTo>
                  <a:lnTo>
                    <a:pt x="129" y="260"/>
                  </a:lnTo>
                  <a:lnTo>
                    <a:pt x="126" y="260"/>
                  </a:lnTo>
                  <a:lnTo>
                    <a:pt x="126" y="262"/>
                  </a:lnTo>
                  <a:lnTo>
                    <a:pt x="123" y="262"/>
                  </a:lnTo>
                  <a:lnTo>
                    <a:pt x="123" y="263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1" y="267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70"/>
                  </a:lnTo>
                  <a:lnTo>
                    <a:pt x="121" y="273"/>
                  </a:lnTo>
                  <a:lnTo>
                    <a:pt x="123" y="274"/>
                  </a:lnTo>
                  <a:lnTo>
                    <a:pt x="123" y="277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5"/>
                  </a:lnTo>
                  <a:lnTo>
                    <a:pt x="115" y="284"/>
                  </a:lnTo>
                  <a:lnTo>
                    <a:pt x="114" y="284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2" y="280"/>
                  </a:lnTo>
                  <a:lnTo>
                    <a:pt x="111" y="282"/>
                  </a:lnTo>
                  <a:lnTo>
                    <a:pt x="106" y="284"/>
                  </a:lnTo>
                  <a:lnTo>
                    <a:pt x="101" y="285"/>
                  </a:lnTo>
                  <a:lnTo>
                    <a:pt x="94" y="293"/>
                  </a:lnTo>
                  <a:lnTo>
                    <a:pt x="91" y="294"/>
                  </a:lnTo>
                  <a:lnTo>
                    <a:pt x="87" y="294"/>
                  </a:lnTo>
                  <a:lnTo>
                    <a:pt x="86" y="293"/>
                  </a:lnTo>
                  <a:lnTo>
                    <a:pt x="83" y="293"/>
                  </a:lnTo>
                  <a:lnTo>
                    <a:pt x="81" y="293"/>
                  </a:lnTo>
                  <a:lnTo>
                    <a:pt x="81" y="291"/>
                  </a:lnTo>
                  <a:lnTo>
                    <a:pt x="80" y="288"/>
                  </a:lnTo>
                  <a:lnTo>
                    <a:pt x="77" y="285"/>
                  </a:lnTo>
                  <a:lnTo>
                    <a:pt x="75" y="285"/>
                  </a:lnTo>
                  <a:lnTo>
                    <a:pt x="72" y="285"/>
                  </a:lnTo>
                  <a:lnTo>
                    <a:pt x="67" y="288"/>
                  </a:lnTo>
                  <a:lnTo>
                    <a:pt x="66" y="288"/>
                  </a:lnTo>
                  <a:lnTo>
                    <a:pt x="61" y="288"/>
                  </a:lnTo>
                  <a:lnTo>
                    <a:pt x="60" y="288"/>
                  </a:lnTo>
                  <a:lnTo>
                    <a:pt x="58" y="287"/>
                  </a:lnTo>
                  <a:lnTo>
                    <a:pt x="57" y="287"/>
                  </a:lnTo>
                  <a:lnTo>
                    <a:pt x="55" y="287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7" y="288"/>
                  </a:lnTo>
                  <a:lnTo>
                    <a:pt x="46" y="288"/>
                  </a:lnTo>
                  <a:lnTo>
                    <a:pt x="46" y="290"/>
                  </a:lnTo>
                  <a:lnTo>
                    <a:pt x="44" y="290"/>
                  </a:lnTo>
                  <a:lnTo>
                    <a:pt x="40" y="291"/>
                  </a:lnTo>
                  <a:lnTo>
                    <a:pt x="35" y="293"/>
                  </a:lnTo>
                  <a:lnTo>
                    <a:pt x="35" y="293"/>
                  </a:lnTo>
                  <a:lnTo>
                    <a:pt x="34" y="293"/>
                  </a:lnTo>
                  <a:lnTo>
                    <a:pt x="27" y="288"/>
                  </a:lnTo>
                  <a:lnTo>
                    <a:pt x="24" y="287"/>
                  </a:lnTo>
                  <a:lnTo>
                    <a:pt x="24" y="291"/>
                  </a:lnTo>
                  <a:lnTo>
                    <a:pt x="24" y="294"/>
                  </a:lnTo>
                  <a:lnTo>
                    <a:pt x="26" y="297"/>
                  </a:lnTo>
                  <a:lnTo>
                    <a:pt x="27" y="300"/>
                  </a:lnTo>
                  <a:lnTo>
                    <a:pt x="27" y="307"/>
                  </a:lnTo>
                  <a:lnTo>
                    <a:pt x="27" y="310"/>
                  </a:lnTo>
                  <a:lnTo>
                    <a:pt x="30" y="313"/>
                  </a:lnTo>
                  <a:lnTo>
                    <a:pt x="30" y="313"/>
                  </a:lnTo>
                  <a:lnTo>
                    <a:pt x="30" y="313"/>
                  </a:lnTo>
                  <a:lnTo>
                    <a:pt x="30" y="320"/>
                  </a:lnTo>
                  <a:lnTo>
                    <a:pt x="32" y="328"/>
                  </a:lnTo>
                  <a:lnTo>
                    <a:pt x="38" y="348"/>
                  </a:lnTo>
                  <a:lnTo>
                    <a:pt x="41" y="356"/>
                  </a:lnTo>
                  <a:lnTo>
                    <a:pt x="43" y="359"/>
                  </a:lnTo>
                  <a:lnTo>
                    <a:pt x="46" y="371"/>
                  </a:lnTo>
                  <a:lnTo>
                    <a:pt x="47" y="374"/>
                  </a:lnTo>
                  <a:lnTo>
                    <a:pt x="49" y="376"/>
                  </a:lnTo>
                  <a:lnTo>
                    <a:pt x="49" y="377"/>
                  </a:lnTo>
                  <a:lnTo>
                    <a:pt x="51" y="381"/>
                  </a:lnTo>
                  <a:lnTo>
                    <a:pt x="51" y="382"/>
                  </a:lnTo>
                  <a:lnTo>
                    <a:pt x="52" y="384"/>
                  </a:lnTo>
                  <a:lnTo>
                    <a:pt x="54" y="384"/>
                  </a:lnTo>
                  <a:lnTo>
                    <a:pt x="55" y="385"/>
                  </a:lnTo>
                  <a:lnTo>
                    <a:pt x="54" y="388"/>
                  </a:lnTo>
                  <a:lnTo>
                    <a:pt x="54" y="390"/>
                  </a:lnTo>
                  <a:lnTo>
                    <a:pt x="52" y="391"/>
                  </a:lnTo>
                  <a:lnTo>
                    <a:pt x="52" y="394"/>
                  </a:lnTo>
                  <a:lnTo>
                    <a:pt x="52" y="396"/>
                  </a:lnTo>
                  <a:lnTo>
                    <a:pt x="52" y="397"/>
                  </a:lnTo>
                  <a:lnTo>
                    <a:pt x="55" y="401"/>
                  </a:lnTo>
                  <a:lnTo>
                    <a:pt x="55" y="404"/>
                  </a:lnTo>
                  <a:lnTo>
                    <a:pt x="55" y="404"/>
                  </a:lnTo>
                  <a:lnTo>
                    <a:pt x="55" y="405"/>
                  </a:lnTo>
                  <a:lnTo>
                    <a:pt x="55" y="407"/>
                  </a:lnTo>
                  <a:lnTo>
                    <a:pt x="57" y="410"/>
                  </a:lnTo>
                  <a:lnTo>
                    <a:pt x="57" y="411"/>
                  </a:lnTo>
                  <a:lnTo>
                    <a:pt x="57" y="411"/>
                  </a:lnTo>
                  <a:lnTo>
                    <a:pt x="55" y="413"/>
                  </a:lnTo>
                  <a:lnTo>
                    <a:pt x="55" y="414"/>
                  </a:lnTo>
                  <a:lnTo>
                    <a:pt x="55" y="416"/>
                  </a:lnTo>
                  <a:lnTo>
                    <a:pt x="55" y="416"/>
                  </a:lnTo>
                  <a:lnTo>
                    <a:pt x="55" y="416"/>
                  </a:lnTo>
                  <a:lnTo>
                    <a:pt x="55" y="417"/>
                  </a:lnTo>
                  <a:lnTo>
                    <a:pt x="57" y="433"/>
                  </a:lnTo>
                  <a:lnTo>
                    <a:pt x="57" y="436"/>
                  </a:lnTo>
                  <a:lnTo>
                    <a:pt x="55" y="442"/>
                  </a:lnTo>
                  <a:lnTo>
                    <a:pt x="52" y="445"/>
                  </a:lnTo>
                  <a:lnTo>
                    <a:pt x="43" y="451"/>
                  </a:lnTo>
                  <a:lnTo>
                    <a:pt x="30" y="456"/>
                  </a:lnTo>
                  <a:lnTo>
                    <a:pt x="24" y="459"/>
                  </a:lnTo>
                  <a:lnTo>
                    <a:pt x="17" y="465"/>
                  </a:lnTo>
                  <a:lnTo>
                    <a:pt x="7" y="479"/>
                  </a:lnTo>
                  <a:lnTo>
                    <a:pt x="6" y="482"/>
                  </a:lnTo>
                  <a:lnTo>
                    <a:pt x="4" y="484"/>
                  </a:lnTo>
                  <a:lnTo>
                    <a:pt x="0" y="491"/>
                  </a:lnTo>
                  <a:lnTo>
                    <a:pt x="1" y="491"/>
                  </a:lnTo>
                  <a:lnTo>
                    <a:pt x="1" y="491"/>
                  </a:lnTo>
                  <a:lnTo>
                    <a:pt x="1" y="493"/>
                  </a:lnTo>
                  <a:lnTo>
                    <a:pt x="3" y="493"/>
                  </a:lnTo>
                  <a:lnTo>
                    <a:pt x="3" y="496"/>
                  </a:lnTo>
                  <a:lnTo>
                    <a:pt x="3" y="498"/>
                  </a:lnTo>
                  <a:lnTo>
                    <a:pt x="4" y="499"/>
                  </a:lnTo>
                  <a:lnTo>
                    <a:pt x="9" y="501"/>
                  </a:lnTo>
                  <a:lnTo>
                    <a:pt x="10" y="499"/>
                  </a:lnTo>
                  <a:lnTo>
                    <a:pt x="10" y="501"/>
                  </a:lnTo>
                  <a:lnTo>
                    <a:pt x="15" y="502"/>
                  </a:lnTo>
                  <a:lnTo>
                    <a:pt x="18" y="502"/>
                  </a:lnTo>
                  <a:lnTo>
                    <a:pt x="18" y="504"/>
                  </a:lnTo>
                  <a:lnTo>
                    <a:pt x="17" y="504"/>
                  </a:lnTo>
                  <a:lnTo>
                    <a:pt x="17" y="504"/>
                  </a:lnTo>
                  <a:lnTo>
                    <a:pt x="18" y="504"/>
                  </a:lnTo>
                  <a:lnTo>
                    <a:pt x="20" y="504"/>
                  </a:lnTo>
                  <a:lnTo>
                    <a:pt x="20" y="505"/>
                  </a:lnTo>
                  <a:lnTo>
                    <a:pt x="20" y="505"/>
                  </a:lnTo>
                  <a:lnTo>
                    <a:pt x="21" y="504"/>
                  </a:lnTo>
                  <a:lnTo>
                    <a:pt x="21" y="505"/>
                  </a:lnTo>
                  <a:lnTo>
                    <a:pt x="23" y="505"/>
                  </a:lnTo>
                  <a:lnTo>
                    <a:pt x="23" y="505"/>
                  </a:lnTo>
                  <a:lnTo>
                    <a:pt x="24" y="505"/>
                  </a:lnTo>
                  <a:lnTo>
                    <a:pt x="24" y="505"/>
                  </a:lnTo>
                  <a:lnTo>
                    <a:pt x="24" y="507"/>
                  </a:lnTo>
                  <a:lnTo>
                    <a:pt x="24" y="507"/>
                  </a:lnTo>
                  <a:lnTo>
                    <a:pt x="26" y="511"/>
                  </a:lnTo>
                  <a:lnTo>
                    <a:pt x="27" y="511"/>
                  </a:lnTo>
                  <a:lnTo>
                    <a:pt x="30" y="511"/>
                  </a:lnTo>
                  <a:lnTo>
                    <a:pt x="32" y="513"/>
                  </a:lnTo>
                  <a:lnTo>
                    <a:pt x="34" y="513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5" y="516"/>
                  </a:lnTo>
                  <a:lnTo>
                    <a:pt x="35" y="516"/>
                  </a:lnTo>
                  <a:lnTo>
                    <a:pt x="35" y="518"/>
                  </a:lnTo>
                  <a:lnTo>
                    <a:pt x="35" y="519"/>
                  </a:lnTo>
                  <a:lnTo>
                    <a:pt x="37" y="521"/>
                  </a:lnTo>
                  <a:lnTo>
                    <a:pt x="38" y="525"/>
                  </a:lnTo>
                  <a:lnTo>
                    <a:pt x="38" y="527"/>
                  </a:lnTo>
                  <a:lnTo>
                    <a:pt x="37" y="528"/>
                  </a:lnTo>
                  <a:lnTo>
                    <a:pt x="37" y="530"/>
                  </a:lnTo>
                  <a:lnTo>
                    <a:pt x="35" y="533"/>
                  </a:lnTo>
                  <a:lnTo>
                    <a:pt x="34" y="535"/>
                  </a:lnTo>
                  <a:lnTo>
                    <a:pt x="34" y="539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1"/>
                  </a:lnTo>
                  <a:lnTo>
                    <a:pt x="34" y="542"/>
                  </a:lnTo>
                  <a:lnTo>
                    <a:pt x="34" y="544"/>
                  </a:lnTo>
                  <a:lnTo>
                    <a:pt x="32" y="545"/>
                  </a:lnTo>
                  <a:lnTo>
                    <a:pt x="34" y="547"/>
                  </a:lnTo>
                  <a:lnTo>
                    <a:pt x="35" y="550"/>
                  </a:lnTo>
                  <a:lnTo>
                    <a:pt x="34" y="551"/>
                  </a:lnTo>
                  <a:lnTo>
                    <a:pt x="32" y="553"/>
                  </a:lnTo>
                  <a:lnTo>
                    <a:pt x="30" y="555"/>
                  </a:lnTo>
                  <a:lnTo>
                    <a:pt x="29" y="556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61"/>
                  </a:lnTo>
                  <a:lnTo>
                    <a:pt x="29" y="562"/>
                  </a:lnTo>
                  <a:lnTo>
                    <a:pt x="29" y="562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29" y="565"/>
                  </a:lnTo>
                  <a:lnTo>
                    <a:pt x="29" y="565"/>
                  </a:lnTo>
                  <a:lnTo>
                    <a:pt x="29" y="565"/>
                  </a:lnTo>
                  <a:lnTo>
                    <a:pt x="29" y="567"/>
                  </a:lnTo>
                  <a:lnTo>
                    <a:pt x="29" y="567"/>
                  </a:lnTo>
                  <a:lnTo>
                    <a:pt x="27" y="567"/>
                  </a:lnTo>
                  <a:lnTo>
                    <a:pt x="27" y="568"/>
                  </a:lnTo>
                  <a:lnTo>
                    <a:pt x="29" y="570"/>
                  </a:lnTo>
                  <a:lnTo>
                    <a:pt x="29" y="570"/>
                  </a:lnTo>
                  <a:lnTo>
                    <a:pt x="27" y="573"/>
                  </a:lnTo>
                  <a:lnTo>
                    <a:pt x="29" y="576"/>
                  </a:lnTo>
                  <a:lnTo>
                    <a:pt x="29" y="578"/>
                  </a:lnTo>
                  <a:lnTo>
                    <a:pt x="30" y="579"/>
                  </a:lnTo>
                  <a:lnTo>
                    <a:pt x="30" y="579"/>
                  </a:lnTo>
                  <a:lnTo>
                    <a:pt x="29" y="579"/>
                  </a:lnTo>
                  <a:lnTo>
                    <a:pt x="30" y="582"/>
                  </a:lnTo>
                  <a:lnTo>
                    <a:pt x="32" y="582"/>
                  </a:lnTo>
                  <a:lnTo>
                    <a:pt x="32" y="582"/>
                  </a:lnTo>
                  <a:lnTo>
                    <a:pt x="34" y="584"/>
                  </a:lnTo>
                  <a:lnTo>
                    <a:pt x="34" y="585"/>
                  </a:lnTo>
                  <a:lnTo>
                    <a:pt x="35" y="585"/>
                  </a:lnTo>
                  <a:lnTo>
                    <a:pt x="35" y="582"/>
                  </a:lnTo>
                  <a:lnTo>
                    <a:pt x="35" y="582"/>
                  </a:lnTo>
                  <a:lnTo>
                    <a:pt x="32" y="576"/>
                  </a:lnTo>
                  <a:lnTo>
                    <a:pt x="32" y="575"/>
                  </a:lnTo>
                  <a:lnTo>
                    <a:pt x="32" y="575"/>
                  </a:lnTo>
                  <a:lnTo>
                    <a:pt x="34" y="573"/>
                  </a:lnTo>
                  <a:lnTo>
                    <a:pt x="34" y="571"/>
                  </a:lnTo>
                  <a:lnTo>
                    <a:pt x="35" y="571"/>
                  </a:lnTo>
                  <a:lnTo>
                    <a:pt x="41" y="568"/>
                  </a:lnTo>
                  <a:lnTo>
                    <a:pt x="44" y="570"/>
                  </a:lnTo>
                  <a:lnTo>
                    <a:pt x="49" y="571"/>
                  </a:lnTo>
                  <a:lnTo>
                    <a:pt x="51" y="571"/>
                  </a:lnTo>
                  <a:lnTo>
                    <a:pt x="54" y="571"/>
                  </a:lnTo>
                  <a:lnTo>
                    <a:pt x="55" y="575"/>
                  </a:lnTo>
                  <a:lnTo>
                    <a:pt x="58" y="576"/>
                  </a:lnTo>
                  <a:lnTo>
                    <a:pt x="61" y="576"/>
                  </a:lnTo>
                  <a:lnTo>
                    <a:pt x="72" y="567"/>
                  </a:lnTo>
                  <a:lnTo>
                    <a:pt x="81" y="561"/>
                  </a:lnTo>
                  <a:lnTo>
                    <a:pt x="83" y="558"/>
                  </a:lnTo>
                  <a:lnTo>
                    <a:pt x="84" y="550"/>
                  </a:lnTo>
                  <a:lnTo>
                    <a:pt x="86" y="547"/>
                  </a:lnTo>
                  <a:lnTo>
                    <a:pt x="89" y="544"/>
                  </a:lnTo>
                  <a:lnTo>
                    <a:pt x="91" y="542"/>
                  </a:lnTo>
                  <a:lnTo>
                    <a:pt x="92" y="541"/>
                  </a:lnTo>
                  <a:lnTo>
                    <a:pt x="111" y="539"/>
                  </a:lnTo>
                  <a:lnTo>
                    <a:pt x="115" y="541"/>
                  </a:lnTo>
                  <a:lnTo>
                    <a:pt x="117" y="541"/>
                  </a:lnTo>
                  <a:lnTo>
                    <a:pt x="137" y="538"/>
                  </a:lnTo>
                  <a:lnTo>
                    <a:pt x="144" y="535"/>
                  </a:lnTo>
                  <a:lnTo>
                    <a:pt x="148" y="533"/>
                  </a:lnTo>
                  <a:lnTo>
                    <a:pt x="151" y="533"/>
                  </a:lnTo>
                  <a:lnTo>
                    <a:pt x="163" y="536"/>
                  </a:lnTo>
                  <a:lnTo>
                    <a:pt x="178" y="536"/>
                  </a:lnTo>
                  <a:lnTo>
                    <a:pt x="188" y="536"/>
                  </a:lnTo>
                  <a:lnTo>
                    <a:pt x="194" y="535"/>
                  </a:lnTo>
                  <a:lnTo>
                    <a:pt x="209" y="538"/>
                  </a:lnTo>
                  <a:lnTo>
                    <a:pt x="215" y="538"/>
                  </a:lnTo>
                  <a:lnTo>
                    <a:pt x="217" y="539"/>
                  </a:lnTo>
                  <a:lnTo>
                    <a:pt x="221" y="542"/>
                  </a:lnTo>
                  <a:lnTo>
                    <a:pt x="225" y="544"/>
                  </a:lnTo>
                  <a:lnTo>
                    <a:pt x="242" y="544"/>
                  </a:lnTo>
                  <a:lnTo>
                    <a:pt x="243" y="545"/>
                  </a:lnTo>
                  <a:lnTo>
                    <a:pt x="243" y="545"/>
                  </a:lnTo>
                  <a:lnTo>
                    <a:pt x="243" y="547"/>
                  </a:lnTo>
                  <a:lnTo>
                    <a:pt x="243" y="548"/>
                  </a:lnTo>
                  <a:lnTo>
                    <a:pt x="243" y="550"/>
                  </a:lnTo>
                  <a:lnTo>
                    <a:pt x="245" y="550"/>
                  </a:lnTo>
                  <a:lnTo>
                    <a:pt x="262" y="550"/>
                  </a:lnTo>
                  <a:lnTo>
                    <a:pt x="275" y="556"/>
                  </a:lnTo>
                  <a:lnTo>
                    <a:pt x="280" y="558"/>
                  </a:lnTo>
                  <a:lnTo>
                    <a:pt x="288" y="555"/>
                  </a:lnTo>
                  <a:lnTo>
                    <a:pt x="294" y="555"/>
                  </a:lnTo>
                  <a:lnTo>
                    <a:pt x="297" y="556"/>
                  </a:lnTo>
                  <a:lnTo>
                    <a:pt x="298" y="558"/>
                  </a:lnTo>
                  <a:lnTo>
                    <a:pt x="300" y="559"/>
                  </a:lnTo>
                  <a:lnTo>
                    <a:pt x="298" y="561"/>
                  </a:lnTo>
                  <a:lnTo>
                    <a:pt x="298" y="564"/>
                  </a:lnTo>
                  <a:lnTo>
                    <a:pt x="300" y="567"/>
                  </a:lnTo>
                  <a:lnTo>
                    <a:pt x="302" y="568"/>
                  </a:lnTo>
                  <a:lnTo>
                    <a:pt x="303" y="568"/>
                  </a:lnTo>
                  <a:lnTo>
                    <a:pt x="305" y="568"/>
                  </a:lnTo>
                  <a:lnTo>
                    <a:pt x="306" y="568"/>
                  </a:lnTo>
                  <a:lnTo>
                    <a:pt x="306" y="570"/>
                  </a:lnTo>
                  <a:lnTo>
                    <a:pt x="305" y="573"/>
                  </a:lnTo>
                  <a:lnTo>
                    <a:pt x="305" y="575"/>
                  </a:lnTo>
                  <a:lnTo>
                    <a:pt x="306" y="576"/>
                  </a:lnTo>
                  <a:lnTo>
                    <a:pt x="308" y="576"/>
                  </a:lnTo>
                  <a:lnTo>
                    <a:pt x="311" y="575"/>
                  </a:lnTo>
                  <a:lnTo>
                    <a:pt x="314" y="576"/>
                  </a:lnTo>
                  <a:lnTo>
                    <a:pt x="315" y="576"/>
                  </a:lnTo>
                  <a:lnTo>
                    <a:pt x="319" y="575"/>
                  </a:lnTo>
                  <a:lnTo>
                    <a:pt x="320" y="573"/>
                  </a:lnTo>
                  <a:lnTo>
                    <a:pt x="322" y="571"/>
                  </a:lnTo>
                  <a:lnTo>
                    <a:pt x="323" y="571"/>
                  </a:lnTo>
                  <a:lnTo>
                    <a:pt x="323" y="571"/>
                  </a:lnTo>
                  <a:lnTo>
                    <a:pt x="332" y="575"/>
                  </a:lnTo>
                  <a:lnTo>
                    <a:pt x="335" y="575"/>
                  </a:lnTo>
                  <a:lnTo>
                    <a:pt x="337" y="576"/>
                  </a:lnTo>
                  <a:lnTo>
                    <a:pt x="339" y="578"/>
                  </a:lnTo>
                  <a:lnTo>
                    <a:pt x="337" y="581"/>
                  </a:lnTo>
                  <a:lnTo>
                    <a:pt x="335" y="587"/>
                  </a:lnTo>
                  <a:lnTo>
                    <a:pt x="335" y="587"/>
                  </a:lnTo>
                  <a:lnTo>
                    <a:pt x="335" y="588"/>
                  </a:lnTo>
                  <a:lnTo>
                    <a:pt x="337" y="590"/>
                  </a:lnTo>
                  <a:lnTo>
                    <a:pt x="339" y="590"/>
                  </a:lnTo>
                  <a:lnTo>
                    <a:pt x="339" y="591"/>
                  </a:lnTo>
                  <a:lnTo>
                    <a:pt x="340" y="590"/>
                  </a:lnTo>
                  <a:lnTo>
                    <a:pt x="342" y="590"/>
                  </a:lnTo>
                  <a:lnTo>
                    <a:pt x="345" y="585"/>
                  </a:lnTo>
                  <a:lnTo>
                    <a:pt x="345" y="584"/>
                  </a:lnTo>
                  <a:lnTo>
                    <a:pt x="345" y="582"/>
                  </a:lnTo>
                  <a:lnTo>
                    <a:pt x="345" y="582"/>
                  </a:lnTo>
                  <a:lnTo>
                    <a:pt x="345" y="581"/>
                  </a:lnTo>
                  <a:lnTo>
                    <a:pt x="345" y="579"/>
                  </a:lnTo>
                  <a:lnTo>
                    <a:pt x="345" y="576"/>
                  </a:lnTo>
                  <a:lnTo>
                    <a:pt x="346" y="575"/>
                  </a:lnTo>
                  <a:lnTo>
                    <a:pt x="348" y="573"/>
                  </a:lnTo>
                  <a:lnTo>
                    <a:pt x="349" y="573"/>
                  </a:lnTo>
                  <a:lnTo>
                    <a:pt x="351" y="573"/>
                  </a:lnTo>
                  <a:lnTo>
                    <a:pt x="355" y="579"/>
                  </a:lnTo>
                  <a:lnTo>
                    <a:pt x="357" y="579"/>
                  </a:lnTo>
                  <a:lnTo>
                    <a:pt x="359" y="579"/>
                  </a:lnTo>
                  <a:lnTo>
                    <a:pt x="365" y="579"/>
                  </a:lnTo>
                  <a:lnTo>
                    <a:pt x="366" y="579"/>
                  </a:lnTo>
                  <a:lnTo>
                    <a:pt x="369" y="578"/>
                  </a:lnTo>
                  <a:lnTo>
                    <a:pt x="371" y="573"/>
                  </a:lnTo>
                  <a:lnTo>
                    <a:pt x="372" y="570"/>
                  </a:lnTo>
                  <a:lnTo>
                    <a:pt x="374" y="568"/>
                  </a:lnTo>
                  <a:lnTo>
                    <a:pt x="375" y="568"/>
                  </a:lnTo>
                  <a:lnTo>
                    <a:pt x="377" y="568"/>
                  </a:lnTo>
                  <a:lnTo>
                    <a:pt x="379" y="570"/>
                  </a:lnTo>
                  <a:lnTo>
                    <a:pt x="379" y="571"/>
                  </a:lnTo>
                  <a:lnTo>
                    <a:pt x="379" y="571"/>
                  </a:lnTo>
                  <a:lnTo>
                    <a:pt x="379" y="573"/>
                  </a:lnTo>
                  <a:lnTo>
                    <a:pt x="380" y="575"/>
                  </a:lnTo>
                  <a:lnTo>
                    <a:pt x="380" y="575"/>
                  </a:lnTo>
                  <a:lnTo>
                    <a:pt x="382" y="576"/>
                  </a:lnTo>
                  <a:lnTo>
                    <a:pt x="383" y="578"/>
                  </a:lnTo>
                  <a:lnTo>
                    <a:pt x="383" y="579"/>
                  </a:lnTo>
                  <a:lnTo>
                    <a:pt x="385" y="582"/>
                  </a:lnTo>
                  <a:lnTo>
                    <a:pt x="385" y="584"/>
                  </a:lnTo>
                  <a:lnTo>
                    <a:pt x="386" y="584"/>
                  </a:lnTo>
                  <a:lnTo>
                    <a:pt x="386" y="582"/>
                  </a:lnTo>
                  <a:lnTo>
                    <a:pt x="389" y="581"/>
                  </a:lnTo>
                  <a:lnTo>
                    <a:pt x="392" y="579"/>
                  </a:lnTo>
                  <a:lnTo>
                    <a:pt x="394" y="578"/>
                  </a:lnTo>
                  <a:lnTo>
                    <a:pt x="397" y="578"/>
                  </a:lnTo>
                  <a:lnTo>
                    <a:pt x="403" y="579"/>
                  </a:lnTo>
                  <a:lnTo>
                    <a:pt x="405" y="581"/>
                  </a:lnTo>
                  <a:lnTo>
                    <a:pt x="406" y="582"/>
                  </a:lnTo>
                  <a:lnTo>
                    <a:pt x="406" y="584"/>
                  </a:lnTo>
                  <a:lnTo>
                    <a:pt x="408" y="591"/>
                  </a:lnTo>
                  <a:lnTo>
                    <a:pt x="408" y="593"/>
                  </a:lnTo>
                  <a:lnTo>
                    <a:pt x="408" y="593"/>
                  </a:lnTo>
                  <a:lnTo>
                    <a:pt x="409" y="595"/>
                  </a:lnTo>
                  <a:lnTo>
                    <a:pt x="411" y="595"/>
                  </a:lnTo>
                  <a:lnTo>
                    <a:pt x="411" y="593"/>
                  </a:lnTo>
                  <a:lnTo>
                    <a:pt x="412" y="593"/>
                  </a:lnTo>
                  <a:lnTo>
                    <a:pt x="412" y="595"/>
                  </a:lnTo>
                  <a:lnTo>
                    <a:pt x="414" y="598"/>
                  </a:lnTo>
                  <a:lnTo>
                    <a:pt x="414" y="598"/>
                  </a:lnTo>
                  <a:lnTo>
                    <a:pt x="416" y="596"/>
                  </a:lnTo>
                  <a:lnTo>
                    <a:pt x="416" y="595"/>
                  </a:lnTo>
                  <a:lnTo>
                    <a:pt x="416" y="590"/>
                  </a:lnTo>
                  <a:lnTo>
                    <a:pt x="416" y="588"/>
                  </a:lnTo>
                  <a:lnTo>
                    <a:pt x="417" y="585"/>
                  </a:lnTo>
                  <a:lnTo>
                    <a:pt x="420" y="582"/>
                  </a:lnTo>
                  <a:lnTo>
                    <a:pt x="422" y="581"/>
                  </a:lnTo>
                  <a:lnTo>
                    <a:pt x="425" y="579"/>
                  </a:lnTo>
                  <a:lnTo>
                    <a:pt x="426" y="579"/>
                  </a:lnTo>
                  <a:lnTo>
                    <a:pt x="431" y="579"/>
                  </a:lnTo>
                  <a:lnTo>
                    <a:pt x="432" y="578"/>
                  </a:lnTo>
                  <a:lnTo>
                    <a:pt x="434" y="576"/>
                  </a:lnTo>
                  <a:lnTo>
                    <a:pt x="437" y="573"/>
                  </a:lnTo>
                  <a:lnTo>
                    <a:pt x="439" y="571"/>
                  </a:lnTo>
                  <a:lnTo>
                    <a:pt x="439" y="571"/>
                  </a:lnTo>
                  <a:lnTo>
                    <a:pt x="440" y="571"/>
                  </a:lnTo>
                  <a:lnTo>
                    <a:pt x="443" y="571"/>
                  </a:lnTo>
                  <a:lnTo>
                    <a:pt x="446" y="573"/>
                  </a:lnTo>
                  <a:lnTo>
                    <a:pt x="446" y="575"/>
                  </a:lnTo>
                  <a:lnTo>
                    <a:pt x="448" y="579"/>
                  </a:lnTo>
                  <a:lnTo>
                    <a:pt x="451" y="582"/>
                  </a:lnTo>
                  <a:lnTo>
                    <a:pt x="451" y="584"/>
                  </a:lnTo>
                  <a:lnTo>
                    <a:pt x="453" y="587"/>
                  </a:lnTo>
                  <a:lnTo>
                    <a:pt x="451" y="590"/>
                  </a:lnTo>
                  <a:lnTo>
                    <a:pt x="451" y="591"/>
                  </a:lnTo>
                  <a:lnTo>
                    <a:pt x="453" y="593"/>
                  </a:lnTo>
                  <a:lnTo>
                    <a:pt x="454" y="595"/>
                  </a:lnTo>
                  <a:lnTo>
                    <a:pt x="456" y="596"/>
                  </a:lnTo>
                  <a:lnTo>
                    <a:pt x="456" y="599"/>
                  </a:lnTo>
                  <a:lnTo>
                    <a:pt x="457" y="601"/>
                  </a:lnTo>
                  <a:lnTo>
                    <a:pt x="459" y="602"/>
                  </a:lnTo>
                  <a:lnTo>
                    <a:pt x="460" y="602"/>
                  </a:lnTo>
                  <a:lnTo>
                    <a:pt x="460" y="601"/>
                  </a:lnTo>
                  <a:lnTo>
                    <a:pt x="463" y="599"/>
                  </a:lnTo>
                  <a:lnTo>
                    <a:pt x="465" y="599"/>
                  </a:lnTo>
                  <a:lnTo>
                    <a:pt x="468" y="601"/>
                  </a:lnTo>
                  <a:lnTo>
                    <a:pt x="469" y="601"/>
                  </a:lnTo>
                  <a:lnTo>
                    <a:pt x="471" y="598"/>
                  </a:lnTo>
                  <a:lnTo>
                    <a:pt x="471" y="595"/>
                  </a:lnTo>
                  <a:lnTo>
                    <a:pt x="473" y="595"/>
                  </a:lnTo>
                  <a:lnTo>
                    <a:pt x="473" y="593"/>
                  </a:lnTo>
                  <a:lnTo>
                    <a:pt x="476" y="593"/>
                  </a:lnTo>
                  <a:lnTo>
                    <a:pt x="477" y="593"/>
                  </a:lnTo>
                  <a:lnTo>
                    <a:pt x="479" y="591"/>
                  </a:lnTo>
                  <a:lnTo>
                    <a:pt x="479" y="590"/>
                  </a:lnTo>
                  <a:lnTo>
                    <a:pt x="480" y="588"/>
                  </a:lnTo>
                  <a:lnTo>
                    <a:pt x="482" y="587"/>
                  </a:lnTo>
                  <a:lnTo>
                    <a:pt x="483" y="587"/>
                  </a:lnTo>
                  <a:lnTo>
                    <a:pt x="485" y="587"/>
                  </a:lnTo>
                  <a:lnTo>
                    <a:pt x="486" y="588"/>
                  </a:lnTo>
                  <a:lnTo>
                    <a:pt x="488" y="590"/>
                  </a:lnTo>
                  <a:lnTo>
                    <a:pt x="488" y="593"/>
                  </a:lnTo>
                  <a:lnTo>
                    <a:pt x="489" y="593"/>
                  </a:lnTo>
                  <a:lnTo>
                    <a:pt x="496" y="595"/>
                  </a:lnTo>
                  <a:lnTo>
                    <a:pt x="497" y="595"/>
                  </a:lnTo>
                  <a:lnTo>
                    <a:pt x="499" y="593"/>
                  </a:lnTo>
                  <a:lnTo>
                    <a:pt x="500" y="591"/>
                  </a:lnTo>
                  <a:lnTo>
                    <a:pt x="500" y="590"/>
                  </a:lnTo>
                  <a:lnTo>
                    <a:pt x="502" y="591"/>
                  </a:lnTo>
                  <a:lnTo>
                    <a:pt x="503" y="591"/>
                  </a:lnTo>
                  <a:lnTo>
                    <a:pt x="503" y="591"/>
                  </a:lnTo>
                  <a:lnTo>
                    <a:pt x="508" y="588"/>
                  </a:lnTo>
                  <a:lnTo>
                    <a:pt x="509" y="588"/>
                  </a:lnTo>
                  <a:lnTo>
                    <a:pt x="520" y="588"/>
                  </a:lnTo>
                  <a:lnTo>
                    <a:pt x="522" y="588"/>
                  </a:lnTo>
                  <a:lnTo>
                    <a:pt x="525" y="590"/>
                  </a:lnTo>
                  <a:lnTo>
                    <a:pt x="526" y="595"/>
                  </a:lnTo>
                  <a:lnTo>
                    <a:pt x="528" y="596"/>
                  </a:lnTo>
                  <a:lnTo>
                    <a:pt x="533" y="598"/>
                  </a:lnTo>
                  <a:lnTo>
                    <a:pt x="533" y="598"/>
                  </a:lnTo>
                  <a:lnTo>
                    <a:pt x="534" y="599"/>
                  </a:lnTo>
                  <a:lnTo>
                    <a:pt x="534" y="599"/>
                  </a:lnTo>
                  <a:lnTo>
                    <a:pt x="534" y="601"/>
                  </a:lnTo>
                  <a:lnTo>
                    <a:pt x="534" y="602"/>
                  </a:lnTo>
                  <a:lnTo>
                    <a:pt x="534" y="602"/>
                  </a:lnTo>
                  <a:lnTo>
                    <a:pt x="533" y="605"/>
                  </a:lnTo>
                  <a:lnTo>
                    <a:pt x="533" y="605"/>
                  </a:lnTo>
                  <a:lnTo>
                    <a:pt x="533" y="607"/>
                  </a:lnTo>
                  <a:lnTo>
                    <a:pt x="536" y="610"/>
                  </a:lnTo>
                  <a:lnTo>
                    <a:pt x="537" y="610"/>
                  </a:lnTo>
                  <a:lnTo>
                    <a:pt x="537" y="612"/>
                  </a:lnTo>
                  <a:lnTo>
                    <a:pt x="540" y="612"/>
                  </a:lnTo>
                  <a:lnTo>
                    <a:pt x="540" y="612"/>
                  </a:lnTo>
                  <a:lnTo>
                    <a:pt x="542" y="612"/>
                  </a:lnTo>
                  <a:lnTo>
                    <a:pt x="543" y="615"/>
                  </a:lnTo>
                  <a:lnTo>
                    <a:pt x="545" y="615"/>
                  </a:lnTo>
                  <a:lnTo>
                    <a:pt x="546" y="615"/>
                  </a:lnTo>
                  <a:lnTo>
                    <a:pt x="546" y="615"/>
                  </a:lnTo>
                  <a:lnTo>
                    <a:pt x="548" y="616"/>
                  </a:lnTo>
                  <a:lnTo>
                    <a:pt x="548" y="616"/>
                  </a:lnTo>
                  <a:lnTo>
                    <a:pt x="550" y="618"/>
                  </a:lnTo>
                  <a:lnTo>
                    <a:pt x="550" y="618"/>
                  </a:lnTo>
                  <a:lnTo>
                    <a:pt x="551" y="618"/>
                  </a:lnTo>
                  <a:lnTo>
                    <a:pt x="551" y="618"/>
                  </a:lnTo>
                  <a:lnTo>
                    <a:pt x="551" y="615"/>
                  </a:lnTo>
                  <a:lnTo>
                    <a:pt x="551" y="615"/>
                  </a:lnTo>
                  <a:lnTo>
                    <a:pt x="553" y="612"/>
                  </a:lnTo>
                  <a:lnTo>
                    <a:pt x="553" y="610"/>
                  </a:lnTo>
                  <a:lnTo>
                    <a:pt x="554" y="608"/>
                  </a:lnTo>
                  <a:lnTo>
                    <a:pt x="557" y="605"/>
                  </a:lnTo>
                  <a:lnTo>
                    <a:pt x="556" y="602"/>
                  </a:lnTo>
                  <a:lnTo>
                    <a:pt x="557" y="602"/>
                  </a:lnTo>
                  <a:lnTo>
                    <a:pt x="557" y="602"/>
                  </a:lnTo>
                  <a:lnTo>
                    <a:pt x="557" y="601"/>
                  </a:lnTo>
                  <a:lnTo>
                    <a:pt x="556" y="601"/>
                  </a:lnTo>
                  <a:lnTo>
                    <a:pt x="556" y="598"/>
                  </a:lnTo>
                  <a:lnTo>
                    <a:pt x="556" y="596"/>
                  </a:lnTo>
                  <a:lnTo>
                    <a:pt x="554" y="596"/>
                  </a:lnTo>
                  <a:lnTo>
                    <a:pt x="554" y="596"/>
                  </a:lnTo>
                  <a:lnTo>
                    <a:pt x="553" y="595"/>
                  </a:lnTo>
                  <a:lnTo>
                    <a:pt x="553" y="593"/>
                  </a:lnTo>
                  <a:lnTo>
                    <a:pt x="553" y="591"/>
                  </a:lnTo>
                  <a:lnTo>
                    <a:pt x="553" y="591"/>
                  </a:lnTo>
                  <a:lnTo>
                    <a:pt x="554" y="591"/>
                  </a:lnTo>
                  <a:lnTo>
                    <a:pt x="556" y="591"/>
                  </a:lnTo>
                  <a:lnTo>
                    <a:pt x="556" y="590"/>
                  </a:lnTo>
                  <a:lnTo>
                    <a:pt x="554" y="590"/>
                  </a:lnTo>
                  <a:lnTo>
                    <a:pt x="554" y="590"/>
                  </a:lnTo>
                  <a:lnTo>
                    <a:pt x="553" y="588"/>
                  </a:lnTo>
                  <a:lnTo>
                    <a:pt x="553" y="587"/>
                  </a:lnTo>
                  <a:lnTo>
                    <a:pt x="553" y="587"/>
                  </a:lnTo>
                  <a:lnTo>
                    <a:pt x="553" y="585"/>
                  </a:lnTo>
                  <a:lnTo>
                    <a:pt x="553" y="584"/>
                  </a:lnTo>
                  <a:lnTo>
                    <a:pt x="551" y="584"/>
                  </a:lnTo>
                  <a:lnTo>
                    <a:pt x="551" y="584"/>
                  </a:lnTo>
                  <a:lnTo>
                    <a:pt x="553" y="582"/>
                  </a:lnTo>
                  <a:lnTo>
                    <a:pt x="553" y="581"/>
                  </a:lnTo>
                  <a:lnTo>
                    <a:pt x="551" y="581"/>
                  </a:lnTo>
                  <a:lnTo>
                    <a:pt x="550" y="581"/>
                  </a:lnTo>
                  <a:lnTo>
                    <a:pt x="548" y="579"/>
                  </a:lnTo>
                  <a:lnTo>
                    <a:pt x="548" y="578"/>
                  </a:lnTo>
                  <a:lnTo>
                    <a:pt x="548" y="578"/>
                  </a:lnTo>
                  <a:lnTo>
                    <a:pt x="548" y="578"/>
                  </a:lnTo>
                  <a:lnTo>
                    <a:pt x="550" y="578"/>
                  </a:lnTo>
                  <a:lnTo>
                    <a:pt x="550" y="578"/>
                  </a:lnTo>
                  <a:lnTo>
                    <a:pt x="550" y="576"/>
                  </a:lnTo>
                  <a:lnTo>
                    <a:pt x="550" y="576"/>
                  </a:lnTo>
                  <a:lnTo>
                    <a:pt x="548" y="575"/>
                  </a:lnTo>
                  <a:lnTo>
                    <a:pt x="548" y="575"/>
                  </a:lnTo>
                  <a:lnTo>
                    <a:pt x="550" y="571"/>
                  </a:lnTo>
                  <a:lnTo>
                    <a:pt x="551" y="571"/>
                  </a:lnTo>
                  <a:lnTo>
                    <a:pt x="550" y="570"/>
                  </a:lnTo>
                  <a:lnTo>
                    <a:pt x="550" y="570"/>
                  </a:lnTo>
                  <a:lnTo>
                    <a:pt x="551" y="570"/>
                  </a:lnTo>
                  <a:lnTo>
                    <a:pt x="551" y="568"/>
                  </a:lnTo>
                  <a:lnTo>
                    <a:pt x="551" y="568"/>
                  </a:lnTo>
                  <a:lnTo>
                    <a:pt x="551" y="567"/>
                  </a:lnTo>
                  <a:lnTo>
                    <a:pt x="553" y="564"/>
                  </a:lnTo>
                  <a:lnTo>
                    <a:pt x="551" y="562"/>
                  </a:lnTo>
                  <a:lnTo>
                    <a:pt x="553" y="562"/>
                  </a:lnTo>
                  <a:lnTo>
                    <a:pt x="554" y="562"/>
                  </a:lnTo>
                  <a:lnTo>
                    <a:pt x="556" y="562"/>
                  </a:lnTo>
                  <a:lnTo>
                    <a:pt x="556" y="561"/>
                  </a:lnTo>
                  <a:lnTo>
                    <a:pt x="556" y="559"/>
                  </a:lnTo>
                  <a:lnTo>
                    <a:pt x="556" y="558"/>
                  </a:lnTo>
                  <a:lnTo>
                    <a:pt x="557" y="558"/>
                  </a:lnTo>
                  <a:lnTo>
                    <a:pt x="557" y="556"/>
                  </a:lnTo>
                  <a:lnTo>
                    <a:pt x="557" y="556"/>
                  </a:lnTo>
                  <a:lnTo>
                    <a:pt x="556" y="555"/>
                  </a:lnTo>
                  <a:lnTo>
                    <a:pt x="556" y="555"/>
                  </a:lnTo>
                  <a:lnTo>
                    <a:pt x="557" y="553"/>
                  </a:lnTo>
                  <a:lnTo>
                    <a:pt x="559" y="551"/>
                  </a:lnTo>
                  <a:lnTo>
                    <a:pt x="559" y="550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7"/>
                  </a:lnTo>
                  <a:lnTo>
                    <a:pt x="560" y="545"/>
                  </a:lnTo>
                  <a:lnTo>
                    <a:pt x="560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2"/>
                  </a:lnTo>
                  <a:lnTo>
                    <a:pt x="563" y="542"/>
                  </a:lnTo>
                  <a:lnTo>
                    <a:pt x="563" y="541"/>
                  </a:lnTo>
                  <a:lnTo>
                    <a:pt x="563" y="539"/>
                  </a:lnTo>
                  <a:lnTo>
                    <a:pt x="565" y="539"/>
                  </a:lnTo>
                  <a:lnTo>
                    <a:pt x="565" y="539"/>
                  </a:lnTo>
                  <a:lnTo>
                    <a:pt x="566" y="539"/>
                  </a:lnTo>
                  <a:lnTo>
                    <a:pt x="568" y="539"/>
                  </a:lnTo>
                  <a:lnTo>
                    <a:pt x="568" y="538"/>
                  </a:lnTo>
                  <a:lnTo>
                    <a:pt x="570" y="536"/>
                  </a:lnTo>
                  <a:lnTo>
                    <a:pt x="570" y="536"/>
                  </a:lnTo>
                  <a:lnTo>
                    <a:pt x="570" y="535"/>
                  </a:lnTo>
                  <a:lnTo>
                    <a:pt x="570" y="535"/>
                  </a:lnTo>
                  <a:lnTo>
                    <a:pt x="570" y="535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1"/>
                  </a:lnTo>
                  <a:lnTo>
                    <a:pt x="574" y="531"/>
                  </a:lnTo>
                  <a:lnTo>
                    <a:pt x="574" y="530"/>
                  </a:lnTo>
                  <a:lnTo>
                    <a:pt x="574" y="530"/>
                  </a:lnTo>
                  <a:lnTo>
                    <a:pt x="574" y="528"/>
                  </a:lnTo>
                  <a:lnTo>
                    <a:pt x="574" y="528"/>
                  </a:lnTo>
                  <a:lnTo>
                    <a:pt x="576" y="527"/>
                  </a:lnTo>
                  <a:lnTo>
                    <a:pt x="576" y="527"/>
                  </a:lnTo>
                  <a:lnTo>
                    <a:pt x="576" y="527"/>
                  </a:lnTo>
                  <a:lnTo>
                    <a:pt x="577" y="527"/>
                  </a:lnTo>
                  <a:lnTo>
                    <a:pt x="577" y="527"/>
                  </a:lnTo>
                  <a:lnTo>
                    <a:pt x="579" y="527"/>
                  </a:lnTo>
                  <a:lnTo>
                    <a:pt x="580" y="525"/>
                  </a:lnTo>
                  <a:lnTo>
                    <a:pt x="579" y="524"/>
                  </a:lnTo>
                  <a:lnTo>
                    <a:pt x="577" y="524"/>
                  </a:lnTo>
                  <a:lnTo>
                    <a:pt x="577" y="524"/>
                  </a:lnTo>
                  <a:lnTo>
                    <a:pt x="577" y="522"/>
                  </a:lnTo>
                  <a:lnTo>
                    <a:pt x="577" y="522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8"/>
                  </a:lnTo>
                  <a:lnTo>
                    <a:pt x="580" y="518"/>
                  </a:lnTo>
                  <a:lnTo>
                    <a:pt x="591" y="518"/>
                  </a:lnTo>
                  <a:lnTo>
                    <a:pt x="594" y="518"/>
                  </a:lnTo>
                  <a:lnTo>
                    <a:pt x="596" y="518"/>
                  </a:lnTo>
                  <a:lnTo>
                    <a:pt x="599" y="521"/>
                  </a:lnTo>
                  <a:lnTo>
                    <a:pt x="600" y="522"/>
                  </a:lnTo>
                  <a:lnTo>
                    <a:pt x="602" y="521"/>
                  </a:lnTo>
                  <a:lnTo>
                    <a:pt x="603" y="519"/>
                  </a:lnTo>
                  <a:lnTo>
                    <a:pt x="605" y="516"/>
                  </a:lnTo>
                  <a:lnTo>
                    <a:pt x="607" y="514"/>
                  </a:lnTo>
                  <a:lnTo>
                    <a:pt x="613" y="513"/>
                  </a:lnTo>
                  <a:lnTo>
                    <a:pt x="619" y="513"/>
                  </a:lnTo>
                  <a:lnTo>
                    <a:pt x="631" y="514"/>
                  </a:lnTo>
                  <a:lnTo>
                    <a:pt x="640" y="514"/>
                  </a:lnTo>
                  <a:lnTo>
                    <a:pt x="640" y="511"/>
                  </a:lnTo>
                  <a:lnTo>
                    <a:pt x="640" y="508"/>
                  </a:lnTo>
                  <a:lnTo>
                    <a:pt x="639" y="507"/>
                  </a:lnTo>
                  <a:lnTo>
                    <a:pt x="636" y="504"/>
                  </a:lnTo>
                  <a:lnTo>
                    <a:pt x="634" y="504"/>
                  </a:lnTo>
                  <a:lnTo>
                    <a:pt x="634" y="502"/>
                  </a:lnTo>
                  <a:lnTo>
                    <a:pt x="634" y="501"/>
                  </a:lnTo>
                  <a:lnTo>
                    <a:pt x="634" y="499"/>
                  </a:lnTo>
                  <a:lnTo>
                    <a:pt x="634" y="498"/>
                  </a:lnTo>
                  <a:lnTo>
                    <a:pt x="636" y="496"/>
                  </a:lnTo>
                  <a:lnTo>
                    <a:pt x="634" y="496"/>
                  </a:lnTo>
                  <a:lnTo>
                    <a:pt x="631" y="494"/>
                  </a:lnTo>
                  <a:lnTo>
                    <a:pt x="631" y="494"/>
                  </a:lnTo>
                  <a:lnTo>
                    <a:pt x="630" y="493"/>
                  </a:lnTo>
                  <a:lnTo>
                    <a:pt x="628" y="491"/>
                  </a:lnTo>
                  <a:lnTo>
                    <a:pt x="625" y="488"/>
                  </a:lnTo>
                  <a:lnTo>
                    <a:pt x="627" y="488"/>
                  </a:lnTo>
                  <a:lnTo>
                    <a:pt x="628" y="487"/>
                  </a:lnTo>
                  <a:lnTo>
                    <a:pt x="628" y="485"/>
                  </a:lnTo>
                  <a:lnTo>
                    <a:pt x="628" y="484"/>
                  </a:lnTo>
                  <a:lnTo>
                    <a:pt x="628" y="481"/>
                  </a:lnTo>
                  <a:lnTo>
                    <a:pt x="628" y="481"/>
                  </a:lnTo>
                  <a:lnTo>
                    <a:pt x="628" y="479"/>
                  </a:lnTo>
                  <a:lnTo>
                    <a:pt x="627" y="478"/>
                  </a:lnTo>
                  <a:lnTo>
                    <a:pt x="627" y="474"/>
                  </a:lnTo>
                  <a:lnTo>
                    <a:pt x="628" y="471"/>
                  </a:lnTo>
                  <a:lnTo>
                    <a:pt x="627" y="468"/>
                  </a:lnTo>
                  <a:lnTo>
                    <a:pt x="625" y="467"/>
                  </a:lnTo>
                  <a:lnTo>
                    <a:pt x="625" y="465"/>
                  </a:lnTo>
                  <a:lnTo>
                    <a:pt x="625" y="464"/>
                  </a:lnTo>
                  <a:lnTo>
                    <a:pt x="625" y="464"/>
                  </a:lnTo>
                  <a:lnTo>
                    <a:pt x="627" y="462"/>
                  </a:lnTo>
                  <a:lnTo>
                    <a:pt x="625" y="461"/>
                  </a:lnTo>
                  <a:lnTo>
                    <a:pt x="625" y="461"/>
                  </a:lnTo>
                  <a:lnTo>
                    <a:pt x="627" y="461"/>
                  </a:lnTo>
                  <a:lnTo>
                    <a:pt x="630" y="462"/>
                  </a:lnTo>
                  <a:lnTo>
                    <a:pt x="630" y="461"/>
                  </a:lnTo>
                  <a:lnTo>
                    <a:pt x="630" y="461"/>
                  </a:lnTo>
                  <a:lnTo>
                    <a:pt x="630" y="459"/>
                  </a:lnTo>
                  <a:lnTo>
                    <a:pt x="627" y="456"/>
                  </a:lnTo>
                  <a:lnTo>
                    <a:pt x="625" y="454"/>
                  </a:lnTo>
                  <a:lnTo>
                    <a:pt x="623" y="450"/>
                  </a:lnTo>
                  <a:lnTo>
                    <a:pt x="620" y="445"/>
                  </a:lnTo>
                  <a:lnTo>
                    <a:pt x="619" y="444"/>
                  </a:lnTo>
                  <a:lnTo>
                    <a:pt x="619" y="444"/>
                  </a:lnTo>
                  <a:lnTo>
                    <a:pt x="625" y="441"/>
                  </a:lnTo>
                  <a:lnTo>
                    <a:pt x="627" y="439"/>
                  </a:lnTo>
                  <a:lnTo>
                    <a:pt x="627" y="433"/>
                  </a:lnTo>
                  <a:lnTo>
                    <a:pt x="625" y="431"/>
                  </a:lnTo>
                  <a:lnTo>
                    <a:pt x="625" y="430"/>
                  </a:lnTo>
                  <a:lnTo>
                    <a:pt x="623" y="430"/>
                  </a:lnTo>
                  <a:lnTo>
                    <a:pt x="622" y="428"/>
                  </a:lnTo>
                  <a:lnTo>
                    <a:pt x="622" y="425"/>
                  </a:lnTo>
                  <a:lnTo>
                    <a:pt x="622" y="424"/>
                  </a:lnTo>
                  <a:lnTo>
                    <a:pt x="620" y="424"/>
                  </a:lnTo>
                  <a:lnTo>
                    <a:pt x="619" y="424"/>
                  </a:lnTo>
                  <a:lnTo>
                    <a:pt x="617" y="422"/>
                  </a:lnTo>
                  <a:lnTo>
                    <a:pt x="614" y="421"/>
                  </a:lnTo>
                  <a:lnTo>
                    <a:pt x="613" y="419"/>
                  </a:lnTo>
                  <a:lnTo>
                    <a:pt x="611" y="416"/>
                  </a:lnTo>
                  <a:lnTo>
                    <a:pt x="608" y="410"/>
                  </a:lnTo>
                  <a:lnTo>
                    <a:pt x="608" y="407"/>
                  </a:lnTo>
                  <a:lnTo>
                    <a:pt x="602" y="402"/>
                  </a:lnTo>
                  <a:lnTo>
                    <a:pt x="603" y="401"/>
                  </a:lnTo>
                  <a:lnTo>
                    <a:pt x="608" y="394"/>
                  </a:lnTo>
                  <a:lnTo>
                    <a:pt x="608" y="394"/>
                  </a:lnTo>
                  <a:lnTo>
                    <a:pt x="610" y="394"/>
                  </a:lnTo>
                  <a:lnTo>
                    <a:pt x="611" y="393"/>
                  </a:lnTo>
                  <a:lnTo>
                    <a:pt x="611" y="393"/>
                  </a:lnTo>
                  <a:lnTo>
                    <a:pt x="611" y="391"/>
                  </a:lnTo>
                  <a:lnTo>
                    <a:pt x="611" y="390"/>
                  </a:lnTo>
                  <a:lnTo>
                    <a:pt x="611" y="390"/>
                  </a:lnTo>
                  <a:lnTo>
                    <a:pt x="610" y="388"/>
                  </a:lnTo>
                  <a:lnTo>
                    <a:pt x="611" y="382"/>
                  </a:lnTo>
                  <a:lnTo>
                    <a:pt x="614" y="381"/>
                  </a:lnTo>
                  <a:lnTo>
                    <a:pt x="619" y="381"/>
                  </a:lnTo>
                  <a:lnTo>
                    <a:pt x="622" y="381"/>
                  </a:lnTo>
                  <a:lnTo>
                    <a:pt x="623" y="381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30" y="379"/>
                  </a:lnTo>
                  <a:lnTo>
                    <a:pt x="634" y="381"/>
                  </a:lnTo>
                  <a:lnTo>
                    <a:pt x="636" y="381"/>
                  </a:lnTo>
                  <a:lnTo>
                    <a:pt x="639" y="381"/>
                  </a:lnTo>
                  <a:lnTo>
                    <a:pt x="640" y="382"/>
                  </a:lnTo>
                  <a:lnTo>
                    <a:pt x="640" y="384"/>
                  </a:lnTo>
                  <a:lnTo>
                    <a:pt x="642" y="388"/>
                  </a:lnTo>
                  <a:lnTo>
                    <a:pt x="643" y="391"/>
                  </a:lnTo>
                  <a:lnTo>
                    <a:pt x="643" y="391"/>
                  </a:lnTo>
                  <a:lnTo>
                    <a:pt x="647" y="391"/>
                  </a:lnTo>
                  <a:lnTo>
                    <a:pt x="647" y="391"/>
                  </a:lnTo>
                  <a:lnTo>
                    <a:pt x="651" y="393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6" y="393"/>
                  </a:lnTo>
                  <a:lnTo>
                    <a:pt x="659" y="393"/>
                  </a:lnTo>
                  <a:lnTo>
                    <a:pt x="664" y="394"/>
                  </a:lnTo>
                  <a:lnTo>
                    <a:pt x="667" y="394"/>
                  </a:lnTo>
                  <a:lnTo>
                    <a:pt x="668" y="394"/>
                  </a:lnTo>
                  <a:lnTo>
                    <a:pt x="670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3"/>
                  </a:lnTo>
                  <a:lnTo>
                    <a:pt x="673" y="391"/>
                  </a:lnTo>
                  <a:lnTo>
                    <a:pt x="673" y="391"/>
                  </a:lnTo>
                  <a:lnTo>
                    <a:pt x="673" y="391"/>
                  </a:lnTo>
                  <a:lnTo>
                    <a:pt x="674" y="390"/>
                  </a:lnTo>
                  <a:lnTo>
                    <a:pt x="674" y="390"/>
                  </a:lnTo>
                  <a:lnTo>
                    <a:pt x="674" y="390"/>
                  </a:lnTo>
                  <a:lnTo>
                    <a:pt x="677" y="390"/>
                  </a:lnTo>
                  <a:lnTo>
                    <a:pt x="680" y="387"/>
                  </a:lnTo>
                  <a:lnTo>
                    <a:pt x="682" y="385"/>
                  </a:lnTo>
                  <a:lnTo>
                    <a:pt x="684" y="382"/>
                  </a:lnTo>
                  <a:lnTo>
                    <a:pt x="687" y="382"/>
                  </a:lnTo>
                  <a:lnTo>
                    <a:pt x="688" y="381"/>
                  </a:lnTo>
                  <a:lnTo>
                    <a:pt x="690" y="379"/>
                  </a:lnTo>
                  <a:lnTo>
                    <a:pt x="691" y="376"/>
                  </a:lnTo>
                  <a:lnTo>
                    <a:pt x="693" y="373"/>
                  </a:lnTo>
                  <a:lnTo>
                    <a:pt x="694" y="370"/>
                  </a:lnTo>
                  <a:lnTo>
                    <a:pt x="691" y="370"/>
                  </a:lnTo>
                  <a:lnTo>
                    <a:pt x="691" y="368"/>
                  </a:lnTo>
                  <a:lnTo>
                    <a:pt x="691" y="367"/>
                  </a:lnTo>
                  <a:lnTo>
                    <a:pt x="694" y="367"/>
                  </a:lnTo>
                  <a:lnTo>
                    <a:pt x="696" y="368"/>
                  </a:lnTo>
                  <a:lnTo>
                    <a:pt x="697" y="368"/>
                  </a:lnTo>
                  <a:lnTo>
                    <a:pt x="700" y="368"/>
                  </a:lnTo>
                  <a:lnTo>
                    <a:pt x="702" y="367"/>
                  </a:lnTo>
                  <a:lnTo>
                    <a:pt x="702" y="367"/>
                  </a:lnTo>
                  <a:lnTo>
                    <a:pt x="702" y="365"/>
                  </a:lnTo>
                  <a:lnTo>
                    <a:pt x="700" y="364"/>
                  </a:lnTo>
                  <a:lnTo>
                    <a:pt x="707" y="364"/>
                  </a:lnTo>
                  <a:lnTo>
                    <a:pt x="708" y="364"/>
                  </a:lnTo>
                  <a:lnTo>
                    <a:pt x="708" y="364"/>
                  </a:lnTo>
                  <a:lnTo>
                    <a:pt x="710" y="364"/>
                  </a:lnTo>
                  <a:lnTo>
                    <a:pt x="711" y="364"/>
                  </a:lnTo>
                  <a:lnTo>
                    <a:pt x="710" y="359"/>
                  </a:lnTo>
                  <a:lnTo>
                    <a:pt x="711" y="351"/>
                  </a:lnTo>
                  <a:lnTo>
                    <a:pt x="711" y="35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07"/>
            <p:cNvSpPr>
              <a:spLocks noEditPoints="1"/>
            </p:cNvSpPr>
            <p:nvPr/>
          </p:nvSpPr>
          <p:spPr bwMode="gray">
            <a:xfrm>
              <a:off x="10975975" y="8027988"/>
              <a:ext cx="692150" cy="541338"/>
            </a:xfrm>
            <a:custGeom>
              <a:avLst/>
              <a:gdLst>
                <a:gd name="T0" fmla="*/ 82 w 436"/>
                <a:gd name="T1" fmla="*/ 253 h 341"/>
                <a:gd name="T2" fmla="*/ 71 w 436"/>
                <a:gd name="T3" fmla="*/ 228 h 341"/>
                <a:gd name="T4" fmla="*/ 40 w 436"/>
                <a:gd name="T5" fmla="*/ 231 h 341"/>
                <a:gd name="T6" fmla="*/ 22 w 436"/>
                <a:gd name="T7" fmla="*/ 210 h 341"/>
                <a:gd name="T8" fmla="*/ 3 w 436"/>
                <a:gd name="T9" fmla="*/ 222 h 341"/>
                <a:gd name="T10" fmla="*/ 17 w 436"/>
                <a:gd name="T11" fmla="*/ 242 h 341"/>
                <a:gd name="T12" fmla="*/ 28 w 436"/>
                <a:gd name="T13" fmla="*/ 261 h 341"/>
                <a:gd name="T14" fmla="*/ 42 w 436"/>
                <a:gd name="T15" fmla="*/ 270 h 341"/>
                <a:gd name="T16" fmla="*/ 49 w 436"/>
                <a:gd name="T17" fmla="*/ 282 h 341"/>
                <a:gd name="T18" fmla="*/ 100 w 436"/>
                <a:gd name="T19" fmla="*/ 296 h 341"/>
                <a:gd name="T20" fmla="*/ 436 w 436"/>
                <a:gd name="T21" fmla="*/ 156 h 341"/>
                <a:gd name="T22" fmla="*/ 419 w 436"/>
                <a:gd name="T23" fmla="*/ 145 h 341"/>
                <a:gd name="T24" fmla="*/ 16 w 436"/>
                <a:gd name="T25" fmla="*/ 80 h 341"/>
                <a:gd name="T26" fmla="*/ 407 w 436"/>
                <a:gd name="T27" fmla="*/ 139 h 341"/>
                <a:gd name="T28" fmla="*/ 373 w 436"/>
                <a:gd name="T29" fmla="*/ 131 h 341"/>
                <a:gd name="T30" fmla="*/ 353 w 436"/>
                <a:gd name="T31" fmla="*/ 119 h 341"/>
                <a:gd name="T32" fmla="*/ 330 w 436"/>
                <a:gd name="T33" fmla="*/ 84 h 341"/>
                <a:gd name="T34" fmla="*/ 313 w 436"/>
                <a:gd name="T35" fmla="*/ 45 h 341"/>
                <a:gd name="T36" fmla="*/ 279 w 436"/>
                <a:gd name="T37" fmla="*/ 11 h 341"/>
                <a:gd name="T38" fmla="*/ 236 w 436"/>
                <a:gd name="T39" fmla="*/ 54 h 341"/>
                <a:gd name="T40" fmla="*/ 217 w 436"/>
                <a:gd name="T41" fmla="*/ 68 h 341"/>
                <a:gd name="T42" fmla="*/ 183 w 436"/>
                <a:gd name="T43" fmla="*/ 51 h 341"/>
                <a:gd name="T44" fmla="*/ 173 w 436"/>
                <a:gd name="T45" fmla="*/ 33 h 341"/>
                <a:gd name="T46" fmla="*/ 153 w 436"/>
                <a:gd name="T47" fmla="*/ 17 h 341"/>
                <a:gd name="T48" fmla="*/ 133 w 436"/>
                <a:gd name="T49" fmla="*/ 10 h 341"/>
                <a:gd name="T50" fmla="*/ 106 w 436"/>
                <a:gd name="T51" fmla="*/ 14 h 341"/>
                <a:gd name="T52" fmla="*/ 114 w 436"/>
                <a:gd name="T53" fmla="*/ 40 h 341"/>
                <a:gd name="T54" fmla="*/ 143 w 436"/>
                <a:gd name="T55" fmla="*/ 62 h 341"/>
                <a:gd name="T56" fmla="*/ 133 w 436"/>
                <a:gd name="T57" fmla="*/ 80 h 341"/>
                <a:gd name="T58" fmla="*/ 106 w 436"/>
                <a:gd name="T59" fmla="*/ 70 h 341"/>
                <a:gd name="T60" fmla="*/ 73 w 436"/>
                <a:gd name="T61" fmla="*/ 57 h 341"/>
                <a:gd name="T62" fmla="*/ 25 w 436"/>
                <a:gd name="T63" fmla="*/ 54 h 341"/>
                <a:gd name="T64" fmla="*/ 23 w 436"/>
                <a:gd name="T65" fmla="*/ 84 h 341"/>
                <a:gd name="T66" fmla="*/ 48 w 436"/>
                <a:gd name="T67" fmla="*/ 90 h 341"/>
                <a:gd name="T68" fmla="*/ 49 w 436"/>
                <a:gd name="T69" fmla="*/ 116 h 341"/>
                <a:gd name="T70" fmla="*/ 56 w 436"/>
                <a:gd name="T71" fmla="*/ 144 h 341"/>
                <a:gd name="T72" fmla="*/ 88 w 436"/>
                <a:gd name="T73" fmla="*/ 173 h 341"/>
                <a:gd name="T74" fmla="*/ 73 w 436"/>
                <a:gd name="T75" fmla="*/ 193 h 341"/>
                <a:gd name="T76" fmla="*/ 105 w 436"/>
                <a:gd name="T77" fmla="*/ 225 h 341"/>
                <a:gd name="T78" fmla="*/ 128 w 436"/>
                <a:gd name="T79" fmla="*/ 233 h 341"/>
                <a:gd name="T80" fmla="*/ 128 w 436"/>
                <a:gd name="T81" fmla="*/ 253 h 341"/>
                <a:gd name="T82" fmla="*/ 120 w 436"/>
                <a:gd name="T83" fmla="*/ 264 h 341"/>
                <a:gd name="T84" fmla="*/ 130 w 436"/>
                <a:gd name="T85" fmla="*/ 294 h 341"/>
                <a:gd name="T86" fmla="*/ 151 w 436"/>
                <a:gd name="T87" fmla="*/ 273 h 341"/>
                <a:gd name="T88" fmla="*/ 168 w 436"/>
                <a:gd name="T89" fmla="*/ 264 h 341"/>
                <a:gd name="T90" fmla="*/ 207 w 436"/>
                <a:gd name="T91" fmla="*/ 233 h 341"/>
                <a:gd name="T92" fmla="*/ 239 w 436"/>
                <a:gd name="T93" fmla="*/ 216 h 341"/>
                <a:gd name="T94" fmla="*/ 251 w 436"/>
                <a:gd name="T95" fmla="*/ 265 h 341"/>
                <a:gd name="T96" fmla="*/ 259 w 436"/>
                <a:gd name="T97" fmla="*/ 285 h 341"/>
                <a:gd name="T98" fmla="*/ 257 w 436"/>
                <a:gd name="T99" fmla="*/ 315 h 341"/>
                <a:gd name="T100" fmla="*/ 281 w 436"/>
                <a:gd name="T101" fmla="*/ 335 h 341"/>
                <a:gd name="T102" fmla="*/ 302 w 436"/>
                <a:gd name="T103" fmla="*/ 302 h 341"/>
                <a:gd name="T104" fmla="*/ 310 w 436"/>
                <a:gd name="T105" fmla="*/ 271 h 341"/>
                <a:gd name="T106" fmla="*/ 324 w 436"/>
                <a:gd name="T107" fmla="*/ 273 h 341"/>
                <a:gd name="T108" fmla="*/ 330 w 436"/>
                <a:gd name="T109" fmla="*/ 279 h 341"/>
                <a:gd name="T110" fmla="*/ 345 w 436"/>
                <a:gd name="T111" fmla="*/ 254 h 341"/>
                <a:gd name="T112" fmla="*/ 345 w 436"/>
                <a:gd name="T113" fmla="*/ 245 h 341"/>
                <a:gd name="T114" fmla="*/ 347 w 436"/>
                <a:gd name="T115" fmla="*/ 214 h 341"/>
                <a:gd name="T116" fmla="*/ 347 w 436"/>
                <a:gd name="T117" fmla="*/ 201 h 341"/>
                <a:gd name="T118" fmla="*/ 350 w 436"/>
                <a:gd name="T119" fmla="*/ 187 h 341"/>
                <a:gd name="T120" fmla="*/ 368 w 436"/>
                <a:gd name="T121" fmla="*/ 161 h 341"/>
                <a:gd name="T122" fmla="*/ 393 w 436"/>
                <a:gd name="T123" fmla="*/ 153 h 341"/>
                <a:gd name="T124" fmla="*/ 418 w 436"/>
                <a:gd name="T125" fmla="*/ 162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6" h="341">
                  <a:moveTo>
                    <a:pt x="93" y="276"/>
                  </a:moveTo>
                  <a:lnTo>
                    <a:pt x="91" y="273"/>
                  </a:lnTo>
                  <a:lnTo>
                    <a:pt x="90" y="271"/>
                  </a:lnTo>
                  <a:lnTo>
                    <a:pt x="88" y="268"/>
                  </a:lnTo>
                  <a:lnTo>
                    <a:pt x="88" y="265"/>
                  </a:lnTo>
                  <a:lnTo>
                    <a:pt x="88" y="264"/>
                  </a:lnTo>
                  <a:lnTo>
                    <a:pt x="90" y="261"/>
                  </a:lnTo>
                  <a:lnTo>
                    <a:pt x="90" y="261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8"/>
                  </a:lnTo>
                  <a:lnTo>
                    <a:pt x="88" y="256"/>
                  </a:lnTo>
                  <a:lnTo>
                    <a:pt x="83" y="254"/>
                  </a:lnTo>
                  <a:lnTo>
                    <a:pt x="83" y="254"/>
                  </a:lnTo>
                  <a:lnTo>
                    <a:pt x="82" y="253"/>
                  </a:lnTo>
                  <a:lnTo>
                    <a:pt x="80" y="251"/>
                  </a:lnTo>
                  <a:lnTo>
                    <a:pt x="79" y="250"/>
                  </a:lnTo>
                  <a:lnTo>
                    <a:pt x="74" y="248"/>
                  </a:lnTo>
                  <a:lnTo>
                    <a:pt x="74" y="248"/>
                  </a:lnTo>
                  <a:lnTo>
                    <a:pt x="73" y="247"/>
                  </a:lnTo>
                  <a:lnTo>
                    <a:pt x="74" y="245"/>
                  </a:lnTo>
                  <a:lnTo>
                    <a:pt x="76" y="241"/>
                  </a:lnTo>
                  <a:lnTo>
                    <a:pt x="77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6" y="233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4" y="228"/>
                  </a:lnTo>
                  <a:lnTo>
                    <a:pt x="71" y="228"/>
                  </a:lnTo>
                  <a:lnTo>
                    <a:pt x="69" y="228"/>
                  </a:lnTo>
                  <a:lnTo>
                    <a:pt x="69" y="228"/>
                  </a:lnTo>
                  <a:lnTo>
                    <a:pt x="60" y="230"/>
                  </a:lnTo>
                  <a:lnTo>
                    <a:pt x="59" y="231"/>
                  </a:lnTo>
                  <a:lnTo>
                    <a:pt x="53" y="234"/>
                  </a:lnTo>
                  <a:lnTo>
                    <a:pt x="51" y="236"/>
                  </a:lnTo>
                  <a:lnTo>
                    <a:pt x="51" y="236"/>
                  </a:lnTo>
                  <a:lnTo>
                    <a:pt x="49" y="236"/>
                  </a:lnTo>
                  <a:lnTo>
                    <a:pt x="49" y="236"/>
                  </a:lnTo>
                  <a:lnTo>
                    <a:pt x="48" y="236"/>
                  </a:lnTo>
                  <a:lnTo>
                    <a:pt x="48" y="236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2" y="231"/>
                  </a:lnTo>
                  <a:lnTo>
                    <a:pt x="40" y="231"/>
                  </a:lnTo>
                  <a:lnTo>
                    <a:pt x="39" y="230"/>
                  </a:lnTo>
                  <a:lnTo>
                    <a:pt x="39" y="228"/>
                  </a:lnTo>
                  <a:lnTo>
                    <a:pt x="37" y="225"/>
                  </a:lnTo>
                  <a:lnTo>
                    <a:pt x="36" y="225"/>
                  </a:lnTo>
                  <a:lnTo>
                    <a:pt x="34" y="225"/>
                  </a:lnTo>
                  <a:lnTo>
                    <a:pt x="33" y="228"/>
                  </a:lnTo>
                  <a:lnTo>
                    <a:pt x="29" y="228"/>
                  </a:lnTo>
                  <a:lnTo>
                    <a:pt x="28" y="228"/>
                  </a:lnTo>
                  <a:lnTo>
                    <a:pt x="28" y="227"/>
                  </a:lnTo>
                  <a:lnTo>
                    <a:pt x="28" y="222"/>
                  </a:lnTo>
                  <a:lnTo>
                    <a:pt x="28" y="221"/>
                  </a:lnTo>
                  <a:lnTo>
                    <a:pt x="28" y="219"/>
                  </a:lnTo>
                  <a:lnTo>
                    <a:pt x="28" y="218"/>
                  </a:lnTo>
                  <a:lnTo>
                    <a:pt x="22" y="211"/>
                  </a:lnTo>
                  <a:lnTo>
                    <a:pt x="22" y="210"/>
                  </a:lnTo>
                  <a:lnTo>
                    <a:pt x="19" y="208"/>
                  </a:lnTo>
                  <a:lnTo>
                    <a:pt x="17" y="210"/>
                  </a:lnTo>
                  <a:lnTo>
                    <a:pt x="14" y="211"/>
                  </a:lnTo>
                  <a:lnTo>
                    <a:pt x="14" y="213"/>
                  </a:lnTo>
                  <a:lnTo>
                    <a:pt x="11" y="213"/>
                  </a:lnTo>
                  <a:lnTo>
                    <a:pt x="9" y="214"/>
                  </a:lnTo>
                  <a:lnTo>
                    <a:pt x="6" y="214"/>
                  </a:lnTo>
                  <a:lnTo>
                    <a:pt x="2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2" y="221"/>
                  </a:lnTo>
                  <a:lnTo>
                    <a:pt x="2" y="222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6" y="222"/>
                  </a:lnTo>
                  <a:lnTo>
                    <a:pt x="8" y="222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8" y="225"/>
                  </a:lnTo>
                  <a:lnTo>
                    <a:pt x="9" y="227"/>
                  </a:lnTo>
                  <a:lnTo>
                    <a:pt x="11" y="236"/>
                  </a:lnTo>
                  <a:lnTo>
                    <a:pt x="13" y="238"/>
                  </a:lnTo>
                  <a:lnTo>
                    <a:pt x="14" y="239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6" y="242"/>
                  </a:lnTo>
                  <a:lnTo>
                    <a:pt x="16" y="242"/>
                  </a:lnTo>
                  <a:lnTo>
                    <a:pt x="17" y="242"/>
                  </a:lnTo>
                  <a:lnTo>
                    <a:pt x="17" y="242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9" y="244"/>
                  </a:lnTo>
                  <a:lnTo>
                    <a:pt x="20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8"/>
                  </a:lnTo>
                  <a:lnTo>
                    <a:pt x="23" y="248"/>
                  </a:lnTo>
                  <a:lnTo>
                    <a:pt x="23" y="250"/>
                  </a:lnTo>
                  <a:lnTo>
                    <a:pt x="23" y="250"/>
                  </a:lnTo>
                  <a:lnTo>
                    <a:pt x="25" y="253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6"/>
                  </a:lnTo>
                  <a:lnTo>
                    <a:pt x="28" y="261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37" y="264"/>
                  </a:lnTo>
                  <a:lnTo>
                    <a:pt x="39" y="264"/>
                  </a:lnTo>
                  <a:lnTo>
                    <a:pt x="39" y="264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5"/>
                  </a:lnTo>
                  <a:lnTo>
                    <a:pt x="40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2" y="270"/>
                  </a:lnTo>
                  <a:lnTo>
                    <a:pt x="43" y="270"/>
                  </a:lnTo>
                  <a:lnTo>
                    <a:pt x="43" y="271"/>
                  </a:lnTo>
                  <a:lnTo>
                    <a:pt x="45" y="271"/>
                  </a:lnTo>
                  <a:lnTo>
                    <a:pt x="45" y="271"/>
                  </a:lnTo>
                  <a:lnTo>
                    <a:pt x="45" y="273"/>
                  </a:lnTo>
                  <a:lnTo>
                    <a:pt x="46" y="274"/>
                  </a:lnTo>
                  <a:lnTo>
                    <a:pt x="46" y="276"/>
                  </a:lnTo>
                  <a:lnTo>
                    <a:pt x="46" y="276"/>
                  </a:lnTo>
                  <a:lnTo>
                    <a:pt x="49" y="278"/>
                  </a:lnTo>
                  <a:lnTo>
                    <a:pt x="49" y="278"/>
                  </a:lnTo>
                  <a:lnTo>
                    <a:pt x="49" y="279"/>
                  </a:lnTo>
                  <a:lnTo>
                    <a:pt x="48" y="279"/>
                  </a:lnTo>
                  <a:lnTo>
                    <a:pt x="48" y="281"/>
                  </a:lnTo>
                  <a:lnTo>
                    <a:pt x="48" y="281"/>
                  </a:lnTo>
                  <a:lnTo>
                    <a:pt x="49" y="282"/>
                  </a:lnTo>
                  <a:lnTo>
                    <a:pt x="51" y="284"/>
                  </a:lnTo>
                  <a:lnTo>
                    <a:pt x="53" y="284"/>
                  </a:lnTo>
                  <a:lnTo>
                    <a:pt x="54" y="284"/>
                  </a:lnTo>
                  <a:lnTo>
                    <a:pt x="54" y="285"/>
                  </a:lnTo>
                  <a:lnTo>
                    <a:pt x="56" y="285"/>
                  </a:lnTo>
                  <a:lnTo>
                    <a:pt x="57" y="285"/>
                  </a:lnTo>
                  <a:lnTo>
                    <a:pt x="57" y="285"/>
                  </a:lnTo>
                  <a:lnTo>
                    <a:pt x="59" y="285"/>
                  </a:lnTo>
                  <a:lnTo>
                    <a:pt x="63" y="287"/>
                  </a:lnTo>
                  <a:lnTo>
                    <a:pt x="69" y="287"/>
                  </a:lnTo>
                  <a:lnTo>
                    <a:pt x="74" y="288"/>
                  </a:lnTo>
                  <a:lnTo>
                    <a:pt x="76" y="290"/>
                  </a:lnTo>
                  <a:lnTo>
                    <a:pt x="91" y="293"/>
                  </a:lnTo>
                  <a:lnTo>
                    <a:pt x="96" y="294"/>
                  </a:lnTo>
                  <a:lnTo>
                    <a:pt x="100" y="296"/>
                  </a:lnTo>
                  <a:lnTo>
                    <a:pt x="102" y="296"/>
                  </a:lnTo>
                  <a:lnTo>
                    <a:pt x="97" y="287"/>
                  </a:lnTo>
                  <a:lnTo>
                    <a:pt x="93" y="276"/>
                  </a:lnTo>
                  <a:close/>
                  <a:moveTo>
                    <a:pt x="436" y="154"/>
                  </a:moveTo>
                  <a:lnTo>
                    <a:pt x="435" y="154"/>
                  </a:lnTo>
                  <a:lnTo>
                    <a:pt x="433" y="154"/>
                  </a:lnTo>
                  <a:lnTo>
                    <a:pt x="433" y="154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31" y="156"/>
                  </a:lnTo>
                  <a:lnTo>
                    <a:pt x="433" y="157"/>
                  </a:lnTo>
                  <a:lnTo>
                    <a:pt x="433" y="157"/>
                  </a:lnTo>
                  <a:lnTo>
                    <a:pt x="435" y="157"/>
                  </a:lnTo>
                  <a:lnTo>
                    <a:pt x="436" y="156"/>
                  </a:lnTo>
                  <a:lnTo>
                    <a:pt x="436" y="154"/>
                  </a:lnTo>
                  <a:close/>
                  <a:moveTo>
                    <a:pt x="418" y="145"/>
                  </a:moveTo>
                  <a:lnTo>
                    <a:pt x="416" y="144"/>
                  </a:lnTo>
                  <a:lnTo>
                    <a:pt x="416" y="142"/>
                  </a:lnTo>
                  <a:lnTo>
                    <a:pt x="416" y="141"/>
                  </a:lnTo>
                  <a:lnTo>
                    <a:pt x="416" y="141"/>
                  </a:lnTo>
                  <a:lnTo>
                    <a:pt x="415" y="141"/>
                  </a:lnTo>
                  <a:lnTo>
                    <a:pt x="413" y="141"/>
                  </a:lnTo>
                  <a:lnTo>
                    <a:pt x="413" y="142"/>
                  </a:lnTo>
                  <a:lnTo>
                    <a:pt x="416" y="145"/>
                  </a:lnTo>
                  <a:lnTo>
                    <a:pt x="416" y="148"/>
                  </a:lnTo>
                  <a:lnTo>
                    <a:pt x="418" y="148"/>
                  </a:lnTo>
                  <a:lnTo>
                    <a:pt x="418" y="148"/>
                  </a:lnTo>
                  <a:lnTo>
                    <a:pt x="419" y="147"/>
                  </a:lnTo>
                  <a:lnTo>
                    <a:pt x="419" y="145"/>
                  </a:lnTo>
                  <a:lnTo>
                    <a:pt x="418" y="145"/>
                  </a:lnTo>
                  <a:close/>
                  <a:moveTo>
                    <a:pt x="33" y="91"/>
                  </a:move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31" y="93"/>
                  </a:lnTo>
                  <a:lnTo>
                    <a:pt x="33" y="93"/>
                  </a:lnTo>
                  <a:lnTo>
                    <a:pt x="33" y="91"/>
                  </a:lnTo>
                  <a:close/>
                  <a:moveTo>
                    <a:pt x="16" y="87"/>
                  </a:moveTo>
                  <a:lnTo>
                    <a:pt x="19" y="87"/>
                  </a:lnTo>
                  <a:lnTo>
                    <a:pt x="19" y="85"/>
                  </a:lnTo>
                  <a:lnTo>
                    <a:pt x="19" y="82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4" y="84"/>
                  </a:lnTo>
                  <a:lnTo>
                    <a:pt x="14" y="85"/>
                  </a:lnTo>
                  <a:lnTo>
                    <a:pt x="16" y="87"/>
                  </a:lnTo>
                  <a:close/>
                  <a:moveTo>
                    <a:pt x="418" y="161"/>
                  </a:moveTo>
                  <a:lnTo>
                    <a:pt x="416" y="159"/>
                  </a:lnTo>
                  <a:lnTo>
                    <a:pt x="416" y="151"/>
                  </a:lnTo>
                  <a:lnTo>
                    <a:pt x="415" y="150"/>
                  </a:lnTo>
                  <a:lnTo>
                    <a:pt x="415" y="147"/>
                  </a:lnTo>
                  <a:lnTo>
                    <a:pt x="413" y="145"/>
                  </a:lnTo>
                  <a:lnTo>
                    <a:pt x="411" y="145"/>
                  </a:lnTo>
                  <a:lnTo>
                    <a:pt x="410" y="144"/>
                  </a:lnTo>
                  <a:lnTo>
                    <a:pt x="408" y="142"/>
                  </a:lnTo>
                  <a:lnTo>
                    <a:pt x="408" y="141"/>
                  </a:lnTo>
                  <a:lnTo>
                    <a:pt x="407" y="139"/>
                  </a:lnTo>
                  <a:lnTo>
                    <a:pt x="405" y="137"/>
                  </a:lnTo>
                  <a:lnTo>
                    <a:pt x="399" y="136"/>
                  </a:lnTo>
                  <a:lnTo>
                    <a:pt x="398" y="136"/>
                  </a:lnTo>
                  <a:lnTo>
                    <a:pt x="396" y="134"/>
                  </a:lnTo>
                  <a:lnTo>
                    <a:pt x="394" y="133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3" y="130"/>
                  </a:lnTo>
                  <a:lnTo>
                    <a:pt x="393" y="130"/>
                  </a:lnTo>
                  <a:lnTo>
                    <a:pt x="384" y="130"/>
                  </a:lnTo>
                  <a:lnTo>
                    <a:pt x="382" y="130"/>
                  </a:lnTo>
                  <a:lnTo>
                    <a:pt x="379" y="131"/>
                  </a:lnTo>
                  <a:lnTo>
                    <a:pt x="378" y="131"/>
                  </a:lnTo>
                  <a:lnTo>
                    <a:pt x="376" y="131"/>
                  </a:lnTo>
                  <a:lnTo>
                    <a:pt x="373" y="131"/>
                  </a:lnTo>
                  <a:lnTo>
                    <a:pt x="368" y="130"/>
                  </a:lnTo>
                  <a:lnTo>
                    <a:pt x="367" y="130"/>
                  </a:lnTo>
                  <a:lnTo>
                    <a:pt x="364" y="127"/>
                  </a:lnTo>
                  <a:lnTo>
                    <a:pt x="364" y="127"/>
                  </a:lnTo>
                  <a:lnTo>
                    <a:pt x="362" y="127"/>
                  </a:lnTo>
                  <a:lnTo>
                    <a:pt x="359" y="125"/>
                  </a:lnTo>
                  <a:lnTo>
                    <a:pt x="358" y="125"/>
                  </a:lnTo>
                  <a:lnTo>
                    <a:pt x="356" y="124"/>
                  </a:lnTo>
                  <a:lnTo>
                    <a:pt x="354" y="124"/>
                  </a:lnTo>
                  <a:lnTo>
                    <a:pt x="354" y="122"/>
                  </a:lnTo>
                  <a:lnTo>
                    <a:pt x="354" y="122"/>
                  </a:lnTo>
                  <a:lnTo>
                    <a:pt x="354" y="122"/>
                  </a:lnTo>
                  <a:lnTo>
                    <a:pt x="353" y="120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3" y="117"/>
                  </a:lnTo>
                  <a:lnTo>
                    <a:pt x="353" y="116"/>
                  </a:lnTo>
                  <a:lnTo>
                    <a:pt x="354" y="113"/>
                  </a:lnTo>
                  <a:lnTo>
                    <a:pt x="354" y="110"/>
                  </a:lnTo>
                  <a:lnTo>
                    <a:pt x="354" y="110"/>
                  </a:lnTo>
                  <a:lnTo>
                    <a:pt x="353" y="108"/>
                  </a:lnTo>
                  <a:lnTo>
                    <a:pt x="351" y="107"/>
                  </a:lnTo>
                  <a:lnTo>
                    <a:pt x="350" y="105"/>
                  </a:lnTo>
                  <a:lnTo>
                    <a:pt x="348" y="105"/>
                  </a:lnTo>
                  <a:lnTo>
                    <a:pt x="345" y="104"/>
                  </a:lnTo>
                  <a:lnTo>
                    <a:pt x="344" y="102"/>
                  </a:lnTo>
                  <a:lnTo>
                    <a:pt x="342" y="100"/>
                  </a:lnTo>
                  <a:lnTo>
                    <a:pt x="342" y="99"/>
                  </a:lnTo>
                  <a:lnTo>
                    <a:pt x="333" y="90"/>
                  </a:lnTo>
                  <a:lnTo>
                    <a:pt x="330" y="84"/>
                  </a:lnTo>
                  <a:lnTo>
                    <a:pt x="328" y="76"/>
                  </a:lnTo>
                  <a:lnTo>
                    <a:pt x="327" y="76"/>
                  </a:lnTo>
                  <a:lnTo>
                    <a:pt x="327" y="74"/>
                  </a:lnTo>
                  <a:lnTo>
                    <a:pt x="327" y="73"/>
                  </a:lnTo>
                  <a:lnTo>
                    <a:pt x="325" y="64"/>
                  </a:lnTo>
                  <a:lnTo>
                    <a:pt x="325" y="62"/>
                  </a:lnTo>
                  <a:lnTo>
                    <a:pt x="324" y="60"/>
                  </a:lnTo>
                  <a:lnTo>
                    <a:pt x="322" y="59"/>
                  </a:lnTo>
                  <a:lnTo>
                    <a:pt x="321" y="54"/>
                  </a:lnTo>
                  <a:lnTo>
                    <a:pt x="317" y="48"/>
                  </a:lnTo>
                  <a:lnTo>
                    <a:pt x="316" y="47"/>
                  </a:lnTo>
                  <a:lnTo>
                    <a:pt x="316" y="47"/>
                  </a:lnTo>
                  <a:lnTo>
                    <a:pt x="314" y="45"/>
                  </a:lnTo>
                  <a:lnTo>
                    <a:pt x="314" y="45"/>
                  </a:lnTo>
                  <a:lnTo>
                    <a:pt x="313" y="45"/>
                  </a:lnTo>
                  <a:lnTo>
                    <a:pt x="311" y="42"/>
                  </a:lnTo>
                  <a:lnTo>
                    <a:pt x="311" y="40"/>
                  </a:lnTo>
                  <a:lnTo>
                    <a:pt x="310" y="39"/>
                  </a:lnTo>
                  <a:lnTo>
                    <a:pt x="308" y="37"/>
                  </a:lnTo>
                  <a:lnTo>
                    <a:pt x="308" y="37"/>
                  </a:lnTo>
                  <a:lnTo>
                    <a:pt x="305" y="31"/>
                  </a:lnTo>
                  <a:lnTo>
                    <a:pt x="299" y="25"/>
                  </a:lnTo>
                  <a:lnTo>
                    <a:pt x="299" y="23"/>
                  </a:lnTo>
                  <a:lnTo>
                    <a:pt x="297" y="22"/>
                  </a:lnTo>
                  <a:lnTo>
                    <a:pt x="296" y="19"/>
                  </a:lnTo>
                  <a:lnTo>
                    <a:pt x="288" y="10"/>
                  </a:lnTo>
                  <a:lnTo>
                    <a:pt x="287" y="8"/>
                  </a:lnTo>
                  <a:lnTo>
                    <a:pt x="284" y="7"/>
                  </a:lnTo>
                  <a:lnTo>
                    <a:pt x="284" y="5"/>
                  </a:lnTo>
                  <a:lnTo>
                    <a:pt x="279" y="11"/>
                  </a:lnTo>
                  <a:lnTo>
                    <a:pt x="274" y="17"/>
                  </a:lnTo>
                  <a:lnTo>
                    <a:pt x="274" y="19"/>
                  </a:lnTo>
                  <a:lnTo>
                    <a:pt x="271" y="27"/>
                  </a:lnTo>
                  <a:lnTo>
                    <a:pt x="270" y="30"/>
                  </a:lnTo>
                  <a:lnTo>
                    <a:pt x="268" y="31"/>
                  </a:lnTo>
                  <a:lnTo>
                    <a:pt x="262" y="36"/>
                  </a:lnTo>
                  <a:lnTo>
                    <a:pt x="257" y="39"/>
                  </a:lnTo>
                  <a:lnTo>
                    <a:pt x="256" y="40"/>
                  </a:lnTo>
                  <a:lnTo>
                    <a:pt x="247" y="42"/>
                  </a:lnTo>
                  <a:lnTo>
                    <a:pt x="244" y="43"/>
                  </a:lnTo>
                  <a:lnTo>
                    <a:pt x="242" y="47"/>
                  </a:lnTo>
                  <a:lnTo>
                    <a:pt x="240" y="53"/>
                  </a:lnTo>
                  <a:lnTo>
                    <a:pt x="239" y="54"/>
                  </a:lnTo>
                  <a:lnTo>
                    <a:pt x="237" y="54"/>
                  </a:lnTo>
                  <a:lnTo>
                    <a:pt x="236" y="54"/>
                  </a:lnTo>
                  <a:lnTo>
                    <a:pt x="236" y="56"/>
                  </a:lnTo>
                  <a:lnTo>
                    <a:pt x="234" y="59"/>
                  </a:lnTo>
                  <a:lnTo>
                    <a:pt x="234" y="59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1" y="64"/>
                  </a:lnTo>
                  <a:lnTo>
                    <a:pt x="233" y="65"/>
                  </a:lnTo>
                  <a:lnTo>
                    <a:pt x="233" y="67"/>
                  </a:lnTo>
                  <a:lnTo>
                    <a:pt x="233" y="68"/>
                  </a:lnTo>
                  <a:lnTo>
                    <a:pt x="231" y="68"/>
                  </a:lnTo>
                  <a:lnTo>
                    <a:pt x="228" y="70"/>
                  </a:lnTo>
                  <a:lnTo>
                    <a:pt x="227" y="70"/>
                  </a:lnTo>
                  <a:lnTo>
                    <a:pt x="220" y="70"/>
                  </a:lnTo>
                  <a:lnTo>
                    <a:pt x="219" y="70"/>
                  </a:lnTo>
                  <a:lnTo>
                    <a:pt x="217" y="68"/>
                  </a:lnTo>
                  <a:lnTo>
                    <a:pt x="214" y="67"/>
                  </a:lnTo>
                  <a:lnTo>
                    <a:pt x="213" y="67"/>
                  </a:lnTo>
                  <a:lnTo>
                    <a:pt x="211" y="67"/>
                  </a:lnTo>
                  <a:lnTo>
                    <a:pt x="208" y="70"/>
                  </a:lnTo>
                  <a:lnTo>
                    <a:pt x="207" y="70"/>
                  </a:lnTo>
                  <a:lnTo>
                    <a:pt x="205" y="68"/>
                  </a:lnTo>
                  <a:lnTo>
                    <a:pt x="203" y="65"/>
                  </a:lnTo>
                  <a:lnTo>
                    <a:pt x="202" y="65"/>
                  </a:lnTo>
                  <a:lnTo>
                    <a:pt x="194" y="64"/>
                  </a:lnTo>
                  <a:lnTo>
                    <a:pt x="193" y="64"/>
                  </a:lnTo>
                  <a:lnTo>
                    <a:pt x="191" y="62"/>
                  </a:lnTo>
                  <a:lnTo>
                    <a:pt x="185" y="59"/>
                  </a:lnTo>
                  <a:lnTo>
                    <a:pt x="185" y="57"/>
                  </a:lnTo>
                  <a:lnTo>
                    <a:pt x="183" y="56"/>
                  </a:lnTo>
                  <a:lnTo>
                    <a:pt x="183" y="51"/>
                  </a:lnTo>
                  <a:lnTo>
                    <a:pt x="183" y="48"/>
                  </a:lnTo>
                  <a:lnTo>
                    <a:pt x="183" y="47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77" y="39"/>
                  </a:lnTo>
                  <a:lnTo>
                    <a:pt x="177" y="37"/>
                  </a:lnTo>
                  <a:lnTo>
                    <a:pt x="177" y="36"/>
                  </a:lnTo>
                  <a:lnTo>
                    <a:pt x="176" y="34"/>
                  </a:lnTo>
                  <a:lnTo>
                    <a:pt x="176" y="33"/>
                  </a:lnTo>
                  <a:lnTo>
                    <a:pt x="174" y="33"/>
                  </a:lnTo>
                  <a:lnTo>
                    <a:pt x="173" y="33"/>
                  </a:lnTo>
                  <a:lnTo>
                    <a:pt x="171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3"/>
                  </a:lnTo>
                  <a:lnTo>
                    <a:pt x="167" y="30"/>
                  </a:lnTo>
                  <a:lnTo>
                    <a:pt x="163" y="27"/>
                  </a:lnTo>
                  <a:lnTo>
                    <a:pt x="160" y="23"/>
                  </a:lnTo>
                  <a:lnTo>
                    <a:pt x="159" y="22"/>
                  </a:lnTo>
                  <a:lnTo>
                    <a:pt x="159" y="20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6" y="17"/>
                  </a:lnTo>
                  <a:lnTo>
                    <a:pt x="154" y="17"/>
                  </a:lnTo>
                  <a:lnTo>
                    <a:pt x="153" y="17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48" y="10"/>
                  </a:lnTo>
                  <a:lnTo>
                    <a:pt x="147" y="7"/>
                  </a:lnTo>
                  <a:lnTo>
                    <a:pt x="147" y="5"/>
                  </a:lnTo>
                  <a:lnTo>
                    <a:pt x="147" y="5"/>
                  </a:lnTo>
                  <a:lnTo>
                    <a:pt x="145" y="7"/>
                  </a:lnTo>
                  <a:lnTo>
                    <a:pt x="143" y="7"/>
                  </a:lnTo>
                  <a:lnTo>
                    <a:pt x="143" y="7"/>
                  </a:lnTo>
                  <a:lnTo>
                    <a:pt x="140" y="8"/>
                  </a:lnTo>
                  <a:lnTo>
                    <a:pt x="139" y="8"/>
                  </a:lnTo>
                  <a:lnTo>
                    <a:pt x="136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3" y="10"/>
                  </a:lnTo>
                  <a:lnTo>
                    <a:pt x="131" y="8"/>
                  </a:lnTo>
                  <a:lnTo>
                    <a:pt x="133" y="5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26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20" y="7"/>
                  </a:lnTo>
                  <a:lnTo>
                    <a:pt x="119" y="10"/>
                  </a:lnTo>
                  <a:lnTo>
                    <a:pt x="116" y="13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3" y="16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5" y="16"/>
                  </a:lnTo>
                  <a:lnTo>
                    <a:pt x="105" y="19"/>
                  </a:lnTo>
                  <a:lnTo>
                    <a:pt x="105" y="25"/>
                  </a:lnTo>
                  <a:lnTo>
                    <a:pt x="105" y="30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1" y="30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3" y="37"/>
                  </a:lnTo>
                  <a:lnTo>
                    <a:pt x="113" y="39"/>
                  </a:lnTo>
                  <a:lnTo>
                    <a:pt x="114" y="40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20" y="43"/>
                  </a:lnTo>
                  <a:lnTo>
                    <a:pt x="125" y="47"/>
                  </a:lnTo>
                  <a:lnTo>
                    <a:pt x="131" y="50"/>
                  </a:lnTo>
                  <a:lnTo>
                    <a:pt x="136" y="53"/>
                  </a:lnTo>
                  <a:lnTo>
                    <a:pt x="136" y="56"/>
                  </a:lnTo>
                  <a:lnTo>
                    <a:pt x="137" y="54"/>
                  </a:lnTo>
                  <a:lnTo>
                    <a:pt x="139" y="54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0" y="57"/>
                  </a:lnTo>
                  <a:lnTo>
                    <a:pt x="142" y="60"/>
                  </a:lnTo>
                  <a:lnTo>
                    <a:pt x="143" y="62"/>
                  </a:lnTo>
                  <a:lnTo>
                    <a:pt x="143" y="62"/>
                  </a:lnTo>
                  <a:lnTo>
                    <a:pt x="142" y="62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2" y="67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0" y="68"/>
                  </a:lnTo>
                  <a:lnTo>
                    <a:pt x="139" y="68"/>
                  </a:lnTo>
                  <a:lnTo>
                    <a:pt x="139" y="71"/>
                  </a:lnTo>
                  <a:lnTo>
                    <a:pt x="139" y="74"/>
                  </a:lnTo>
                  <a:lnTo>
                    <a:pt x="137" y="77"/>
                  </a:lnTo>
                  <a:lnTo>
                    <a:pt x="137" y="79"/>
                  </a:lnTo>
                  <a:lnTo>
                    <a:pt x="136" y="80"/>
                  </a:lnTo>
                  <a:lnTo>
                    <a:pt x="134" y="80"/>
                  </a:lnTo>
                  <a:lnTo>
                    <a:pt x="133" y="80"/>
                  </a:lnTo>
                  <a:lnTo>
                    <a:pt x="131" y="79"/>
                  </a:lnTo>
                  <a:lnTo>
                    <a:pt x="130" y="80"/>
                  </a:lnTo>
                  <a:lnTo>
                    <a:pt x="130" y="82"/>
                  </a:lnTo>
                  <a:lnTo>
                    <a:pt x="130" y="84"/>
                  </a:lnTo>
                  <a:lnTo>
                    <a:pt x="128" y="85"/>
                  </a:lnTo>
                  <a:lnTo>
                    <a:pt x="126" y="85"/>
                  </a:lnTo>
                  <a:lnTo>
                    <a:pt x="125" y="84"/>
                  </a:lnTo>
                  <a:lnTo>
                    <a:pt x="123" y="80"/>
                  </a:lnTo>
                  <a:lnTo>
                    <a:pt x="122" y="80"/>
                  </a:lnTo>
                  <a:lnTo>
                    <a:pt x="117" y="79"/>
                  </a:lnTo>
                  <a:lnTo>
                    <a:pt x="116" y="77"/>
                  </a:lnTo>
                  <a:lnTo>
                    <a:pt x="111" y="74"/>
                  </a:lnTo>
                  <a:lnTo>
                    <a:pt x="110" y="71"/>
                  </a:lnTo>
                  <a:lnTo>
                    <a:pt x="108" y="70"/>
                  </a:lnTo>
                  <a:lnTo>
                    <a:pt x="106" y="70"/>
                  </a:lnTo>
                  <a:lnTo>
                    <a:pt x="102" y="70"/>
                  </a:lnTo>
                  <a:lnTo>
                    <a:pt x="100" y="70"/>
                  </a:lnTo>
                  <a:lnTo>
                    <a:pt x="97" y="71"/>
                  </a:lnTo>
                  <a:lnTo>
                    <a:pt x="96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77" y="68"/>
                  </a:lnTo>
                  <a:lnTo>
                    <a:pt x="74" y="67"/>
                  </a:lnTo>
                  <a:lnTo>
                    <a:pt x="73" y="65"/>
                  </a:lnTo>
                  <a:lnTo>
                    <a:pt x="69" y="64"/>
                  </a:lnTo>
                  <a:lnTo>
                    <a:pt x="68" y="60"/>
                  </a:lnTo>
                  <a:lnTo>
                    <a:pt x="69" y="57"/>
                  </a:lnTo>
                  <a:lnTo>
                    <a:pt x="71" y="57"/>
                  </a:lnTo>
                  <a:lnTo>
                    <a:pt x="73" y="57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65" y="54"/>
                  </a:lnTo>
                  <a:lnTo>
                    <a:pt x="56" y="50"/>
                  </a:lnTo>
                  <a:lnTo>
                    <a:pt x="53" y="48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48" y="47"/>
                  </a:lnTo>
                  <a:lnTo>
                    <a:pt x="46" y="48"/>
                  </a:lnTo>
                  <a:lnTo>
                    <a:pt x="45" y="47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25" y="54"/>
                  </a:lnTo>
                  <a:lnTo>
                    <a:pt x="17" y="60"/>
                  </a:lnTo>
                  <a:lnTo>
                    <a:pt x="20" y="67"/>
                  </a:lnTo>
                  <a:lnTo>
                    <a:pt x="19" y="68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5" y="70"/>
                  </a:lnTo>
                  <a:lnTo>
                    <a:pt x="26" y="71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33" y="77"/>
                  </a:lnTo>
                  <a:lnTo>
                    <a:pt x="29" y="79"/>
                  </a:lnTo>
                  <a:lnTo>
                    <a:pt x="22" y="79"/>
                  </a:lnTo>
                  <a:lnTo>
                    <a:pt x="22" y="82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9" y="85"/>
                  </a:lnTo>
                  <a:lnTo>
                    <a:pt x="31" y="85"/>
                  </a:lnTo>
                  <a:lnTo>
                    <a:pt x="33" y="87"/>
                  </a:lnTo>
                  <a:lnTo>
                    <a:pt x="34" y="88"/>
                  </a:lnTo>
                  <a:lnTo>
                    <a:pt x="37" y="88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5" y="88"/>
                  </a:lnTo>
                  <a:lnTo>
                    <a:pt x="46" y="88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3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51" y="94"/>
                  </a:lnTo>
                  <a:lnTo>
                    <a:pt x="53" y="96"/>
                  </a:lnTo>
                  <a:lnTo>
                    <a:pt x="56" y="100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2" y="102"/>
                  </a:lnTo>
                  <a:lnTo>
                    <a:pt x="62" y="105"/>
                  </a:lnTo>
                  <a:lnTo>
                    <a:pt x="60" y="108"/>
                  </a:lnTo>
                  <a:lnTo>
                    <a:pt x="59" y="111"/>
                  </a:lnTo>
                  <a:lnTo>
                    <a:pt x="53" y="114"/>
                  </a:lnTo>
                  <a:lnTo>
                    <a:pt x="49" y="116"/>
                  </a:lnTo>
                  <a:lnTo>
                    <a:pt x="46" y="117"/>
                  </a:lnTo>
                  <a:lnTo>
                    <a:pt x="45" y="120"/>
                  </a:lnTo>
                  <a:lnTo>
                    <a:pt x="45" y="124"/>
                  </a:lnTo>
                  <a:lnTo>
                    <a:pt x="45" y="125"/>
                  </a:lnTo>
                  <a:lnTo>
                    <a:pt x="46" y="127"/>
                  </a:lnTo>
                  <a:lnTo>
                    <a:pt x="46" y="128"/>
                  </a:lnTo>
                  <a:lnTo>
                    <a:pt x="48" y="130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51" y="134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3" y="137"/>
                  </a:lnTo>
                  <a:lnTo>
                    <a:pt x="54" y="139"/>
                  </a:lnTo>
                  <a:lnTo>
                    <a:pt x="56" y="144"/>
                  </a:lnTo>
                  <a:lnTo>
                    <a:pt x="60" y="148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80" y="162"/>
                  </a:lnTo>
                  <a:lnTo>
                    <a:pt x="82" y="162"/>
                  </a:lnTo>
                  <a:lnTo>
                    <a:pt x="83" y="161"/>
                  </a:lnTo>
                  <a:lnTo>
                    <a:pt x="83" y="161"/>
                  </a:lnTo>
                  <a:lnTo>
                    <a:pt x="85" y="161"/>
                  </a:lnTo>
                  <a:lnTo>
                    <a:pt x="86" y="162"/>
                  </a:lnTo>
                  <a:lnTo>
                    <a:pt x="88" y="162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88" y="173"/>
                  </a:lnTo>
                  <a:lnTo>
                    <a:pt x="88" y="176"/>
                  </a:lnTo>
                  <a:lnTo>
                    <a:pt x="86" y="177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3" y="184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77" y="187"/>
                  </a:lnTo>
                  <a:lnTo>
                    <a:pt x="65" y="184"/>
                  </a:lnTo>
                  <a:lnTo>
                    <a:pt x="60" y="187"/>
                  </a:lnTo>
                  <a:lnTo>
                    <a:pt x="60" y="188"/>
                  </a:lnTo>
                  <a:lnTo>
                    <a:pt x="60" y="190"/>
                  </a:lnTo>
                  <a:lnTo>
                    <a:pt x="62" y="191"/>
                  </a:lnTo>
                  <a:lnTo>
                    <a:pt x="69" y="191"/>
                  </a:lnTo>
                  <a:lnTo>
                    <a:pt x="73" y="193"/>
                  </a:lnTo>
                  <a:lnTo>
                    <a:pt x="74" y="194"/>
                  </a:lnTo>
                  <a:lnTo>
                    <a:pt x="77" y="201"/>
                  </a:lnTo>
                  <a:lnTo>
                    <a:pt x="77" y="202"/>
                  </a:lnTo>
                  <a:lnTo>
                    <a:pt x="80" y="205"/>
                  </a:lnTo>
                  <a:lnTo>
                    <a:pt x="82" y="207"/>
                  </a:lnTo>
                  <a:lnTo>
                    <a:pt x="85" y="208"/>
                  </a:lnTo>
                  <a:lnTo>
                    <a:pt x="90" y="208"/>
                  </a:lnTo>
                  <a:lnTo>
                    <a:pt x="91" y="211"/>
                  </a:lnTo>
                  <a:lnTo>
                    <a:pt x="94" y="218"/>
                  </a:lnTo>
                  <a:lnTo>
                    <a:pt x="97" y="219"/>
                  </a:lnTo>
                  <a:lnTo>
                    <a:pt x="100" y="219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3" y="225"/>
                  </a:lnTo>
                  <a:lnTo>
                    <a:pt x="105" y="225"/>
                  </a:lnTo>
                  <a:lnTo>
                    <a:pt x="106" y="227"/>
                  </a:lnTo>
                  <a:lnTo>
                    <a:pt x="110" y="225"/>
                  </a:lnTo>
                  <a:lnTo>
                    <a:pt x="114" y="224"/>
                  </a:lnTo>
                  <a:lnTo>
                    <a:pt x="117" y="224"/>
                  </a:lnTo>
                  <a:lnTo>
                    <a:pt x="117" y="224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2" y="228"/>
                  </a:lnTo>
                  <a:lnTo>
                    <a:pt x="126" y="227"/>
                  </a:lnTo>
                  <a:lnTo>
                    <a:pt x="128" y="228"/>
                  </a:lnTo>
                  <a:lnTo>
                    <a:pt x="130" y="228"/>
                  </a:lnTo>
                  <a:lnTo>
                    <a:pt x="130" y="230"/>
                  </a:lnTo>
                  <a:lnTo>
                    <a:pt x="131" y="231"/>
                  </a:lnTo>
                  <a:lnTo>
                    <a:pt x="130" y="233"/>
                  </a:lnTo>
                  <a:lnTo>
                    <a:pt x="128" y="233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28" y="236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2" y="239"/>
                  </a:lnTo>
                  <a:lnTo>
                    <a:pt x="119" y="241"/>
                  </a:lnTo>
                  <a:lnTo>
                    <a:pt x="119" y="244"/>
                  </a:lnTo>
                  <a:lnTo>
                    <a:pt x="119" y="247"/>
                  </a:lnTo>
                  <a:lnTo>
                    <a:pt x="122" y="248"/>
                  </a:lnTo>
                  <a:lnTo>
                    <a:pt x="126" y="251"/>
                  </a:lnTo>
                  <a:lnTo>
                    <a:pt x="128" y="251"/>
                  </a:lnTo>
                  <a:lnTo>
                    <a:pt x="128" y="253"/>
                  </a:lnTo>
                  <a:lnTo>
                    <a:pt x="130" y="254"/>
                  </a:lnTo>
                  <a:lnTo>
                    <a:pt x="130" y="256"/>
                  </a:lnTo>
                  <a:lnTo>
                    <a:pt x="131" y="258"/>
                  </a:lnTo>
                  <a:lnTo>
                    <a:pt x="134" y="261"/>
                  </a:lnTo>
                  <a:lnTo>
                    <a:pt x="136" y="261"/>
                  </a:lnTo>
                  <a:lnTo>
                    <a:pt x="136" y="261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4" y="262"/>
                  </a:lnTo>
                  <a:lnTo>
                    <a:pt x="131" y="265"/>
                  </a:lnTo>
                  <a:lnTo>
                    <a:pt x="130" y="265"/>
                  </a:lnTo>
                  <a:lnTo>
                    <a:pt x="125" y="262"/>
                  </a:lnTo>
                  <a:lnTo>
                    <a:pt x="122" y="262"/>
                  </a:lnTo>
                  <a:lnTo>
                    <a:pt x="120" y="264"/>
                  </a:lnTo>
                  <a:lnTo>
                    <a:pt x="120" y="267"/>
                  </a:lnTo>
                  <a:lnTo>
                    <a:pt x="123" y="268"/>
                  </a:lnTo>
                  <a:lnTo>
                    <a:pt x="125" y="270"/>
                  </a:lnTo>
                  <a:lnTo>
                    <a:pt x="126" y="271"/>
                  </a:lnTo>
                  <a:lnTo>
                    <a:pt x="128" y="274"/>
                  </a:lnTo>
                  <a:lnTo>
                    <a:pt x="128" y="278"/>
                  </a:lnTo>
                  <a:lnTo>
                    <a:pt x="128" y="281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5"/>
                  </a:lnTo>
                  <a:lnTo>
                    <a:pt x="126" y="287"/>
                  </a:lnTo>
                  <a:lnTo>
                    <a:pt x="126" y="287"/>
                  </a:lnTo>
                  <a:lnTo>
                    <a:pt x="126" y="288"/>
                  </a:lnTo>
                  <a:lnTo>
                    <a:pt x="130" y="294"/>
                  </a:lnTo>
                  <a:lnTo>
                    <a:pt x="131" y="294"/>
                  </a:lnTo>
                  <a:lnTo>
                    <a:pt x="133" y="293"/>
                  </a:lnTo>
                  <a:lnTo>
                    <a:pt x="134" y="293"/>
                  </a:lnTo>
                  <a:lnTo>
                    <a:pt x="134" y="291"/>
                  </a:lnTo>
                  <a:lnTo>
                    <a:pt x="136" y="290"/>
                  </a:lnTo>
                  <a:lnTo>
                    <a:pt x="137" y="288"/>
                  </a:lnTo>
                  <a:lnTo>
                    <a:pt x="139" y="285"/>
                  </a:lnTo>
                  <a:lnTo>
                    <a:pt x="140" y="284"/>
                  </a:lnTo>
                  <a:lnTo>
                    <a:pt x="142" y="282"/>
                  </a:lnTo>
                  <a:lnTo>
                    <a:pt x="145" y="281"/>
                  </a:lnTo>
                  <a:lnTo>
                    <a:pt x="147" y="279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0" y="274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54" y="268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7"/>
                  </a:lnTo>
                  <a:lnTo>
                    <a:pt x="157" y="267"/>
                  </a:lnTo>
                  <a:lnTo>
                    <a:pt x="159" y="267"/>
                  </a:lnTo>
                  <a:lnTo>
                    <a:pt x="160" y="267"/>
                  </a:lnTo>
                  <a:lnTo>
                    <a:pt x="162" y="267"/>
                  </a:lnTo>
                  <a:lnTo>
                    <a:pt x="162" y="267"/>
                  </a:lnTo>
                  <a:lnTo>
                    <a:pt x="167" y="265"/>
                  </a:lnTo>
                  <a:lnTo>
                    <a:pt x="167" y="265"/>
                  </a:lnTo>
                  <a:lnTo>
                    <a:pt x="168" y="264"/>
                  </a:lnTo>
                  <a:lnTo>
                    <a:pt x="168" y="264"/>
                  </a:lnTo>
                  <a:lnTo>
                    <a:pt x="170" y="259"/>
                  </a:lnTo>
                  <a:lnTo>
                    <a:pt x="173" y="254"/>
                  </a:lnTo>
                  <a:lnTo>
                    <a:pt x="173" y="254"/>
                  </a:lnTo>
                  <a:lnTo>
                    <a:pt x="173" y="253"/>
                  </a:lnTo>
                  <a:lnTo>
                    <a:pt x="177" y="251"/>
                  </a:lnTo>
                  <a:lnTo>
                    <a:pt x="185" y="248"/>
                  </a:lnTo>
                  <a:lnTo>
                    <a:pt x="185" y="248"/>
                  </a:lnTo>
                  <a:lnTo>
                    <a:pt x="188" y="247"/>
                  </a:lnTo>
                  <a:lnTo>
                    <a:pt x="190" y="244"/>
                  </a:lnTo>
                  <a:lnTo>
                    <a:pt x="190" y="244"/>
                  </a:lnTo>
                  <a:lnTo>
                    <a:pt x="194" y="239"/>
                  </a:lnTo>
                  <a:lnTo>
                    <a:pt x="196" y="238"/>
                  </a:lnTo>
                  <a:lnTo>
                    <a:pt x="199" y="236"/>
                  </a:lnTo>
                  <a:lnTo>
                    <a:pt x="205" y="233"/>
                  </a:lnTo>
                  <a:lnTo>
                    <a:pt x="207" y="233"/>
                  </a:lnTo>
                  <a:lnTo>
                    <a:pt x="207" y="233"/>
                  </a:lnTo>
                  <a:lnTo>
                    <a:pt x="211" y="228"/>
                  </a:lnTo>
                  <a:lnTo>
                    <a:pt x="213" y="228"/>
                  </a:lnTo>
                  <a:lnTo>
                    <a:pt x="222" y="224"/>
                  </a:lnTo>
                  <a:lnTo>
                    <a:pt x="225" y="219"/>
                  </a:lnTo>
                  <a:lnTo>
                    <a:pt x="225" y="219"/>
                  </a:lnTo>
                  <a:lnTo>
                    <a:pt x="227" y="218"/>
                  </a:lnTo>
                  <a:lnTo>
                    <a:pt x="228" y="218"/>
                  </a:lnTo>
                  <a:lnTo>
                    <a:pt x="234" y="218"/>
                  </a:lnTo>
                  <a:lnTo>
                    <a:pt x="236" y="218"/>
                  </a:lnTo>
                  <a:lnTo>
                    <a:pt x="236" y="216"/>
                  </a:lnTo>
                  <a:lnTo>
                    <a:pt x="237" y="214"/>
                  </a:lnTo>
                  <a:lnTo>
                    <a:pt x="237" y="214"/>
                  </a:lnTo>
                  <a:lnTo>
                    <a:pt x="237" y="214"/>
                  </a:lnTo>
                  <a:lnTo>
                    <a:pt x="239" y="216"/>
                  </a:lnTo>
                  <a:lnTo>
                    <a:pt x="244" y="221"/>
                  </a:lnTo>
                  <a:lnTo>
                    <a:pt x="256" y="236"/>
                  </a:lnTo>
                  <a:lnTo>
                    <a:pt x="262" y="241"/>
                  </a:lnTo>
                  <a:lnTo>
                    <a:pt x="264" y="244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2" y="247"/>
                  </a:lnTo>
                  <a:lnTo>
                    <a:pt x="259" y="250"/>
                  </a:lnTo>
                  <a:lnTo>
                    <a:pt x="254" y="251"/>
                  </a:lnTo>
                  <a:lnTo>
                    <a:pt x="251" y="253"/>
                  </a:lnTo>
                  <a:lnTo>
                    <a:pt x="250" y="254"/>
                  </a:lnTo>
                  <a:lnTo>
                    <a:pt x="248" y="258"/>
                  </a:lnTo>
                  <a:lnTo>
                    <a:pt x="248" y="261"/>
                  </a:lnTo>
                  <a:lnTo>
                    <a:pt x="250" y="262"/>
                  </a:lnTo>
                  <a:lnTo>
                    <a:pt x="251" y="265"/>
                  </a:lnTo>
                  <a:lnTo>
                    <a:pt x="254" y="270"/>
                  </a:lnTo>
                  <a:lnTo>
                    <a:pt x="259" y="271"/>
                  </a:lnTo>
                  <a:lnTo>
                    <a:pt x="260" y="273"/>
                  </a:lnTo>
                  <a:lnTo>
                    <a:pt x="262" y="278"/>
                  </a:lnTo>
                  <a:lnTo>
                    <a:pt x="264" y="279"/>
                  </a:lnTo>
                  <a:lnTo>
                    <a:pt x="264" y="279"/>
                  </a:lnTo>
                  <a:lnTo>
                    <a:pt x="262" y="281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59" y="285"/>
                  </a:lnTo>
                  <a:lnTo>
                    <a:pt x="245" y="288"/>
                  </a:lnTo>
                  <a:lnTo>
                    <a:pt x="244" y="288"/>
                  </a:lnTo>
                  <a:lnTo>
                    <a:pt x="244" y="288"/>
                  </a:lnTo>
                  <a:lnTo>
                    <a:pt x="244" y="290"/>
                  </a:lnTo>
                  <a:lnTo>
                    <a:pt x="240" y="291"/>
                  </a:lnTo>
                  <a:lnTo>
                    <a:pt x="239" y="293"/>
                  </a:lnTo>
                  <a:lnTo>
                    <a:pt x="239" y="298"/>
                  </a:lnTo>
                  <a:lnTo>
                    <a:pt x="240" y="299"/>
                  </a:lnTo>
                  <a:lnTo>
                    <a:pt x="247" y="304"/>
                  </a:lnTo>
                  <a:lnTo>
                    <a:pt x="256" y="308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1"/>
                  </a:lnTo>
                  <a:lnTo>
                    <a:pt x="257" y="313"/>
                  </a:lnTo>
                  <a:lnTo>
                    <a:pt x="257" y="315"/>
                  </a:lnTo>
                  <a:lnTo>
                    <a:pt x="260" y="318"/>
                  </a:lnTo>
                  <a:lnTo>
                    <a:pt x="262" y="319"/>
                  </a:lnTo>
                  <a:lnTo>
                    <a:pt x="264" y="321"/>
                  </a:lnTo>
                  <a:lnTo>
                    <a:pt x="265" y="321"/>
                  </a:lnTo>
                  <a:lnTo>
                    <a:pt x="270" y="319"/>
                  </a:lnTo>
                  <a:lnTo>
                    <a:pt x="271" y="319"/>
                  </a:lnTo>
                  <a:lnTo>
                    <a:pt x="271" y="321"/>
                  </a:lnTo>
                  <a:lnTo>
                    <a:pt x="273" y="324"/>
                  </a:lnTo>
                  <a:lnTo>
                    <a:pt x="273" y="325"/>
                  </a:lnTo>
                  <a:lnTo>
                    <a:pt x="274" y="325"/>
                  </a:lnTo>
                  <a:lnTo>
                    <a:pt x="276" y="328"/>
                  </a:lnTo>
                  <a:lnTo>
                    <a:pt x="277" y="330"/>
                  </a:lnTo>
                  <a:lnTo>
                    <a:pt x="279" y="331"/>
                  </a:lnTo>
                  <a:lnTo>
                    <a:pt x="281" y="333"/>
                  </a:lnTo>
                  <a:lnTo>
                    <a:pt x="281" y="335"/>
                  </a:lnTo>
                  <a:lnTo>
                    <a:pt x="284" y="338"/>
                  </a:lnTo>
                  <a:lnTo>
                    <a:pt x="285" y="341"/>
                  </a:lnTo>
                  <a:lnTo>
                    <a:pt x="285" y="341"/>
                  </a:lnTo>
                  <a:lnTo>
                    <a:pt x="290" y="341"/>
                  </a:lnTo>
                  <a:lnTo>
                    <a:pt x="291" y="339"/>
                  </a:lnTo>
                  <a:lnTo>
                    <a:pt x="293" y="339"/>
                  </a:lnTo>
                  <a:lnTo>
                    <a:pt x="294" y="338"/>
                  </a:lnTo>
                  <a:lnTo>
                    <a:pt x="296" y="336"/>
                  </a:lnTo>
                  <a:lnTo>
                    <a:pt x="297" y="336"/>
                  </a:lnTo>
                  <a:lnTo>
                    <a:pt x="301" y="336"/>
                  </a:lnTo>
                  <a:lnTo>
                    <a:pt x="305" y="336"/>
                  </a:lnTo>
                  <a:lnTo>
                    <a:pt x="305" y="336"/>
                  </a:lnTo>
                  <a:lnTo>
                    <a:pt x="305" y="321"/>
                  </a:lnTo>
                  <a:lnTo>
                    <a:pt x="305" y="305"/>
                  </a:lnTo>
                  <a:lnTo>
                    <a:pt x="302" y="302"/>
                  </a:lnTo>
                  <a:lnTo>
                    <a:pt x="302" y="301"/>
                  </a:lnTo>
                  <a:lnTo>
                    <a:pt x="302" y="299"/>
                  </a:lnTo>
                  <a:lnTo>
                    <a:pt x="302" y="294"/>
                  </a:lnTo>
                  <a:lnTo>
                    <a:pt x="305" y="296"/>
                  </a:lnTo>
                  <a:lnTo>
                    <a:pt x="307" y="293"/>
                  </a:lnTo>
                  <a:lnTo>
                    <a:pt x="307" y="293"/>
                  </a:lnTo>
                  <a:lnTo>
                    <a:pt x="308" y="290"/>
                  </a:lnTo>
                  <a:lnTo>
                    <a:pt x="308" y="288"/>
                  </a:lnTo>
                  <a:lnTo>
                    <a:pt x="311" y="282"/>
                  </a:lnTo>
                  <a:lnTo>
                    <a:pt x="311" y="279"/>
                  </a:lnTo>
                  <a:lnTo>
                    <a:pt x="310" y="278"/>
                  </a:lnTo>
                  <a:lnTo>
                    <a:pt x="310" y="276"/>
                  </a:lnTo>
                  <a:lnTo>
                    <a:pt x="310" y="271"/>
                  </a:lnTo>
                  <a:lnTo>
                    <a:pt x="310" y="271"/>
                  </a:lnTo>
                  <a:lnTo>
                    <a:pt x="310" y="271"/>
                  </a:lnTo>
                  <a:lnTo>
                    <a:pt x="311" y="270"/>
                  </a:lnTo>
                  <a:lnTo>
                    <a:pt x="311" y="270"/>
                  </a:lnTo>
                  <a:lnTo>
                    <a:pt x="311" y="268"/>
                  </a:lnTo>
                  <a:lnTo>
                    <a:pt x="311" y="268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3" y="265"/>
                  </a:lnTo>
                  <a:lnTo>
                    <a:pt x="313" y="265"/>
                  </a:lnTo>
                  <a:lnTo>
                    <a:pt x="316" y="265"/>
                  </a:lnTo>
                  <a:lnTo>
                    <a:pt x="317" y="265"/>
                  </a:lnTo>
                  <a:lnTo>
                    <a:pt x="319" y="267"/>
                  </a:lnTo>
                  <a:lnTo>
                    <a:pt x="319" y="267"/>
                  </a:lnTo>
                  <a:lnTo>
                    <a:pt x="319" y="271"/>
                  </a:lnTo>
                  <a:lnTo>
                    <a:pt x="319" y="271"/>
                  </a:lnTo>
                  <a:lnTo>
                    <a:pt x="324" y="273"/>
                  </a:lnTo>
                  <a:lnTo>
                    <a:pt x="325" y="273"/>
                  </a:lnTo>
                  <a:lnTo>
                    <a:pt x="325" y="274"/>
                  </a:lnTo>
                  <a:lnTo>
                    <a:pt x="325" y="276"/>
                  </a:lnTo>
                  <a:lnTo>
                    <a:pt x="325" y="279"/>
                  </a:lnTo>
                  <a:lnTo>
                    <a:pt x="324" y="281"/>
                  </a:lnTo>
                  <a:lnTo>
                    <a:pt x="322" y="281"/>
                  </a:lnTo>
                  <a:lnTo>
                    <a:pt x="319" y="281"/>
                  </a:lnTo>
                  <a:lnTo>
                    <a:pt x="319" y="282"/>
                  </a:lnTo>
                  <a:lnTo>
                    <a:pt x="319" y="282"/>
                  </a:lnTo>
                  <a:lnTo>
                    <a:pt x="319" y="284"/>
                  </a:lnTo>
                  <a:lnTo>
                    <a:pt x="319" y="285"/>
                  </a:lnTo>
                  <a:lnTo>
                    <a:pt x="321" y="287"/>
                  </a:lnTo>
                  <a:lnTo>
                    <a:pt x="324" y="285"/>
                  </a:lnTo>
                  <a:lnTo>
                    <a:pt x="330" y="281"/>
                  </a:lnTo>
                  <a:lnTo>
                    <a:pt x="330" y="279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1" y="273"/>
                  </a:lnTo>
                  <a:lnTo>
                    <a:pt x="331" y="270"/>
                  </a:lnTo>
                  <a:lnTo>
                    <a:pt x="331" y="268"/>
                  </a:lnTo>
                  <a:lnTo>
                    <a:pt x="333" y="267"/>
                  </a:lnTo>
                  <a:lnTo>
                    <a:pt x="333" y="256"/>
                  </a:lnTo>
                  <a:lnTo>
                    <a:pt x="333" y="253"/>
                  </a:lnTo>
                  <a:lnTo>
                    <a:pt x="334" y="250"/>
                  </a:lnTo>
                  <a:lnTo>
                    <a:pt x="337" y="250"/>
                  </a:lnTo>
                  <a:lnTo>
                    <a:pt x="341" y="251"/>
                  </a:lnTo>
                  <a:lnTo>
                    <a:pt x="342" y="253"/>
                  </a:lnTo>
                  <a:lnTo>
                    <a:pt x="344" y="254"/>
                  </a:lnTo>
                  <a:lnTo>
                    <a:pt x="345" y="254"/>
                  </a:lnTo>
                  <a:lnTo>
                    <a:pt x="345" y="254"/>
                  </a:lnTo>
                  <a:lnTo>
                    <a:pt x="344" y="253"/>
                  </a:lnTo>
                  <a:lnTo>
                    <a:pt x="342" y="253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5" y="251"/>
                  </a:lnTo>
                  <a:lnTo>
                    <a:pt x="344" y="251"/>
                  </a:lnTo>
                  <a:lnTo>
                    <a:pt x="344" y="250"/>
                  </a:lnTo>
                  <a:lnTo>
                    <a:pt x="345" y="247"/>
                  </a:lnTo>
                  <a:lnTo>
                    <a:pt x="345" y="247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4" y="244"/>
                  </a:lnTo>
                  <a:lnTo>
                    <a:pt x="336" y="238"/>
                  </a:lnTo>
                  <a:lnTo>
                    <a:pt x="336" y="236"/>
                  </a:lnTo>
                  <a:lnTo>
                    <a:pt x="336" y="233"/>
                  </a:lnTo>
                  <a:lnTo>
                    <a:pt x="336" y="231"/>
                  </a:lnTo>
                  <a:lnTo>
                    <a:pt x="337" y="228"/>
                  </a:lnTo>
                  <a:lnTo>
                    <a:pt x="337" y="227"/>
                  </a:lnTo>
                  <a:lnTo>
                    <a:pt x="339" y="225"/>
                  </a:lnTo>
                  <a:lnTo>
                    <a:pt x="339" y="224"/>
                  </a:lnTo>
                  <a:lnTo>
                    <a:pt x="339" y="221"/>
                  </a:lnTo>
                  <a:lnTo>
                    <a:pt x="341" y="219"/>
                  </a:lnTo>
                  <a:lnTo>
                    <a:pt x="344" y="216"/>
                  </a:lnTo>
                  <a:lnTo>
                    <a:pt x="345" y="216"/>
                  </a:lnTo>
                  <a:lnTo>
                    <a:pt x="347" y="214"/>
                  </a:lnTo>
                  <a:lnTo>
                    <a:pt x="347" y="214"/>
                  </a:lnTo>
                  <a:lnTo>
                    <a:pt x="345" y="211"/>
                  </a:lnTo>
                  <a:lnTo>
                    <a:pt x="344" y="210"/>
                  </a:lnTo>
                  <a:lnTo>
                    <a:pt x="345" y="208"/>
                  </a:lnTo>
                  <a:lnTo>
                    <a:pt x="344" y="208"/>
                  </a:lnTo>
                  <a:lnTo>
                    <a:pt x="344" y="208"/>
                  </a:lnTo>
                  <a:lnTo>
                    <a:pt x="345" y="207"/>
                  </a:lnTo>
                  <a:lnTo>
                    <a:pt x="345" y="205"/>
                  </a:lnTo>
                  <a:lnTo>
                    <a:pt x="347" y="205"/>
                  </a:lnTo>
                  <a:lnTo>
                    <a:pt x="347" y="204"/>
                  </a:lnTo>
                  <a:lnTo>
                    <a:pt x="345" y="204"/>
                  </a:lnTo>
                  <a:lnTo>
                    <a:pt x="345" y="204"/>
                  </a:lnTo>
                  <a:lnTo>
                    <a:pt x="345" y="202"/>
                  </a:lnTo>
                  <a:lnTo>
                    <a:pt x="345" y="202"/>
                  </a:lnTo>
                  <a:lnTo>
                    <a:pt x="347" y="201"/>
                  </a:lnTo>
                  <a:lnTo>
                    <a:pt x="347" y="201"/>
                  </a:lnTo>
                  <a:lnTo>
                    <a:pt x="347" y="201"/>
                  </a:lnTo>
                  <a:lnTo>
                    <a:pt x="348" y="199"/>
                  </a:lnTo>
                  <a:lnTo>
                    <a:pt x="347" y="197"/>
                  </a:lnTo>
                  <a:lnTo>
                    <a:pt x="347" y="196"/>
                  </a:lnTo>
                  <a:lnTo>
                    <a:pt x="347" y="194"/>
                  </a:lnTo>
                  <a:lnTo>
                    <a:pt x="347" y="193"/>
                  </a:lnTo>
                  <a:lnTo>
                    <a:pt x="347" y="191"/>
                  </a:lnTo>
                  <a:lnTo>
                    <a:pt x="347" y="191"/>
                  </a:lnTo>
                  <a:lnTo>
                    <a:pt x="348" y="190"/>
                  </a:lnTo>
                  <a:lnTo>
                    <a:pt x="348" y="190"/>
                  </a:lnTo>
                  <a:lnTo>
                    <a:pt x="350" y="188"/>
                  </a:lnTo>
                  <a:lnTo>
                    <a:pt x="350" y="188"/>
                  </a:lnTo>
                  <a:lnTo>
                    <a:pt x="351" y="188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7" y="182"/>
                  </a:lnTo>
                  <a:lnTo>
                    <a:pt x="347" y="181"/>
                  </a:lnTo>
                  <a:lnTo>
                    <a:pt x="348" y="179"/>
                  </a:lnTo>
                  <a:lnTo>
                    <a:pt x="351" y="177"/>
                  </a:lnTo>
                  <a:lnTo>
                    <a:pt x="351" y="176"/>
                  </a:lnTo>
                  <a:lnTo>
                    <a:pt x="351" y="174"/>
                  </a:lnTo>
                  <a:lnTo>
                    <a:pt x="351" y="171"/>
                  </a:lnTo>
                  <a:lnTo>
                    <a:pt x="351" y="171"/>
                  </a:lnTo>
                  <a:lnTo>
                    <a:pt x="353" y="170"/>
                  </a:lnTo>
                  <a:lnTo>
                    <a:pt x="356" y="167"/>
                  </a:lnTo>
                  <a:lnTo>
                    <a:pt x="358" y="165"/>
                  </a:lnTo>
                  <a:lnTo>
                    <a:pt x="364" y="164"/>
                  </a:lnTo>
                  <a:lnTo>
                    <a:pt x="368" y="161"/>
                  </a:lnTo>
                  <a:lnTo>
                    <a:pt x="373" y="161"/>
                  </a:lnTo>
                  <a:lnTo>
                    <a:pt x="376" y="159"/>
                  </a:lnTo>
                  <a:lnTo>
                    <a:pt x="378" y="156"/>
                  </a:lnTo>
                  <a:lnTo>
                    <a:pt x="378" y="154"/>
                  </a:lnTo>
                  <a:lnTo>
                    <a:pt x="379" y="151"/>
                  </a:lnTo>
                  <a:lnTo>
                    <a:pt x="381" y="151"/>
                  </a:lnTo>
                  <a:lnTo>
                    <a:pt x="384" y="151"/>
                  </a:lnTo>
                  <a:lnTo>
                    <a:pt x="385" y="153"/>
                  </a:lnTo>
                  <a:lnTo>
                    <a:pt x="385" y="153"/>
                  </a:lnTo>
                  <a:lnTo>
                    <a:pt x="387" y="153"/>
                  </a:lnTo>
                  <a:lnTo>
                    <a:pt x="387" y="154"/>
                  </a:lnTo>
                  <a:lnTo>
                    <a:pt x="388" y="156"/>
                  </a:lnTo>
                  <a:lnTo>
                    <a:pt x="390" y="156"/>
                  </a:lnTo>
                  <a:lnTo>
                    <a:pt x="391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1"/>
                  </a:lnTo>
                  <a:lnTo>
                    <a:pt x="399" y="151"/>
                  </a:lnTo>
                  <a:lnTo>
                    <a:pt x="401" y="151"/>
                  </a:lnTo>
                  <a:lnTo>
                    <a:pt x="402" y="153"/>
                  </a:lnTo>
                  <a:lnTo>
                    <a:pt x="407" y="153"/>
                  </a:lnTo>
                  <a:lnTo>
                    <a:pt x="408" y="154"/>
                  </a:lnTo>
                  <a:lnTo>
                    <a:pt x="410" y="154"/>
                  </a:lnTo>
                  <a:lnTo>
                    <a:pt x="413" y="157"/>
                  </a:lnTo>
                  <a:lnTo>
                    <a:pt x="415" y="161"/>
                  </a:lnTo>
                  <a:lnTo>
                    <a:pt x="416" y="162"/>
                  </a:lnTo>
                  <a:lnTo>
                    <a:pt x="418" y="165"/>
                  </a:lnTo>
                  <a:lnTo>
                    <a:pt x="418" y="164"/>
                  </a:lnTo>
                  <a:lnTo>
                    <a:pt x="418" y="162"/>
                  </a:lnTo>
                  <a:lnTo>
                    <a:pt x="418" y="161"/>
                  </a:lnTo>
                  <a:close/>
                  <a:moveTo>
                    <a:pt x="57" y="127"/>
                  </a:moveTo>
                  <a:lnTo>
                    <a:pt x="56" y="128"/>
                  </a:lnTo>
                  <a:lnTo>
                    <a:pt x="53" y="127"/>
                  </a:lnTo>
                  <a:lnTo>
                    <a:pt x="53" y="127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3" y="124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7" y="122"/>
                  </a:lnTo>
                  <a:lnTo>
                    <a:pt x="59" y="124"/>
                  </a:lnTo>
                  <a:lnTo>
                    <a:pt x="57" y="127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108"/>
            <p:cNvSpPr>
              <a:spLocks noEditPoints="1"/>
            </p:cNvSpPr>
            <p:nvPr/>
          </p:nvSpPr>
          <p:spPr bwMode="gray">
            <a:xfrm>
              <a:off x="10975975" y="8027988"/>
              <a:ext cx="692150" cy="541338"/>
            </a:xfrm>
            <a:custGeom>
              <a:avLst/>
              <a:gdLst>
                <a:gd name="T0" fmla="*/ 82 w 436"/>
                <a:gd name="T1" fmla="*/ 253 h 341"/>
                <a:gd name="T2" fmla="*/ 71 w 436"/>
                <a:gd name="T3" fmla="*/ 228 h 341"/>
                <a:gd name="T4" fmla="*/ 40 w 436"/>
                <a:gd name="T5" fmla="*/ 231 h 341"/>
                <a:gd name="T6" fmla="*/ 22 w 436"/>
                <a:gd name="T7" fmla="*/ 210 h 341"/>
                <a:gd name="T8" fmla="*/ 3 w 436"/>
                <a:gd name="T9" fmla="*/ 222 h 341"/>
                <a:gd name="T10" fmla="*/ 17 w 436"/>
                <a:gd name="T11" fmla="*/ 242 h 341"/>
                <a:gd name="T12" fmla="*/ 28 w 436"/>
                <a:gd name="T13" fmla="*/ 261 h 341"/>
                <a:gd name="T14" fmla="*/ 42 w 436"/>
                <a:gd name="T15" fmla="*/ 270 h 341"/>
                <a:gd name="T16" fmla="*/ 49 w 436"/>
                <a:gd name="T17" fmla="*/ 282 h 341"/>
                <a:gd name="T18" fmla="*/ 100 w 436"/>
                <a:gd name="T19" fmla="*/ 296 h 341"/>
                <a:gd name="T20" fmla="*/ 436 w 436"/>
                <a:gd name="T21" fmla="*/ 156 h 341"/>
                <a:gd name="T22" fmla="*/ 419 w 436"/>
                <a:gd name="T23" fmla="*/ 145 h 341"/>
                <a:gd name="T24" fmla="*/ 16 w 436"/>
                <a:gd name="T25" fmla="*/ 80 h 341"/>
                <a:gd name="T26" fmla="*/ 407 w 436"/>
                <a:gd name="T27" fmla="*/ 139 h 341"/>
                <a:gd name="T28" fmla="*/ 373 w 436"/>
                <a:gd name="T29" fmla="*/ 131 h 341"/>
                <a:gd name="T30" fmla="*/ 353 w 436"/>
                <a:gd name="T31" fmla="*/ 119 h 341"/>
                <a:gd name="T32" fmla="*/ 330 w 436"/>
                <a:gd name="T33" fmla="*/ 84 h 341"/>
                <a:gd name="T34" fmla="*/ 313 w 436"/>
                <a:gd name="T35" fmla="*/ 45 h 341"/>
                <a:gd name="T36" fmla="*/ 279 w 436"/>
                <a:gd name="T37" fmla="*/ 11 h 341"/>
                <a:gd name="T38" fmla="*/ 236 w 436"/>
                <a:gd name="T39" fmla="*/ 54 h 341"/>
                <a:gd name="T40" fmla="*/ 217 w 436"/>
                <a:gd name="T41" fmla="*/ 68 h 341"/>
                <a:gd name="T42" fmla="*/ 183 w 436"/>
                <a:gd name="T43" fmla="*/ 51 h 341"/>
                <a:gd name="T44" fmla="*/ 173 w 436"/>
                <a:gd name="T45" fmla="*/ 33 h 341"/>
                <a:gd name="T46" fmla="*/ 153 w 436"/>
                <a:gd name="T47" fmla="*/ 17 h 341"/>
                <a:gd name="T48" fmla="*/ 133 w 436"/>
                <a:gd name="T49" fmla="*/ 10 h 341"/>
                <a:gd name="T50" fmla="*/ 106 w 436"/>
                <a:gd name="T51" fmla="*/ 14 h 341"/>
                <a:gd name="T52" fmla="*/ 114 w 436"/>
                <a:gd name="T53" fmla="*/ 40 h 341"/>
                <a:gd name="T54" fmla="*/ 143 w 436"/>
                <a:gd name="T55" fmla="*/ 62 h 341"/>
                <a:gd name="T56" fmla="*/ 133 w 436"/>
                <a:gd name="T57" fmla="*/ 80 h 341"/>
                <a:gd name="T58" fmla="*/ 106 w 436"/>
                <a:gd name="T59" fmla="*/ 70 h 341"/>
                <a:gd name="T60" fmla="*/ 73 w 436"/>
                <a:gd name="T61" fmla="*/ 57 h 341"/>
                <a:gd name="T62" fmla="*/ 25 w 436"/>
                <a:gd name="T63" fmla="*/ 54 h 341"/>
                <a:gd name="T64" fmla="*/ 23 w 436"/>
                <a:gd name="T65" fmla="*/ 84 h 341"/>
                <a:gd name="T66" fmla="*/ 48 w 436"/>
                <a:gd name="T67" fmla="*/ 90 h 341"/>
                <a:gd name="T68" fmla="*/ 49 w 436"/>
                <a:gd name="T69" fmla="*/ 116 h 341"/>
                <a:gd name="T70" fmla="*/ 56 w 436"/>
                <a:gd name="T71" fmla="*/ 144 h 341"/>
                <a:gd name="T72" fmla="*/ 88 w 436"/>
                <a:gd name="T73" fmla="*/ 173 h 341"/>
                <a:gd name="T74" fmla="*/ 73 w 436"/>
                <a:gd name="T75" fmla="*/ 193 h 341"/>
                <a:gd name="T76" fmla="*/ 105 w 436"/>
                <a:gd name="T77" fmla="*/ 225 h 341"/>
                <a:gd name="T78" fmla="*/ 128 w 436"/>
                <a:gd name="T79" fmla="*/ 233 h 341"/>
                <a:gd name="T80" fmla="*/ 128 w 436"/>
                <a:gd name="T81" fmla="*/ 253 h 341"/>
                <a:gd name="T82" fmla="*/ 120 w 436"/>
                <a:gd name="T83" fmla="*/ 264 h 341"/>
                <a:gd name="T84" fmla="*/ 130 w 436"/>
                <a:gd name="T85" fmla="*/ 294 h 341"/>
                <a:gd name="T86" fmla="*/ 151 w 436"/>
                <a:gd name="T87" fmla="*/ 273 h 341"/>
                <a:gd name="T88" fmla="*/ 168 w 436"/>
                <a:gd name="T89" fmla="*/ 264 h 341"/>
                <a:gd name="T90" fmla="*/ 207 w 436"/>
                <a:gd name="T91" fmla="*/ 233 h 341"/>
                <a:gd name="T92" fmla="*/ 239 w 436"/>
                <a:gd name="T93" fmla="*/ 216 h 341"/>
                <a:gd name="T94" fmla="*/ 251 w 436"/>
                <a:gd name="T95" fmla="*/ 265 h 341"/>
                <a:gd name="T96" fmla="*/ 259 w 436"/>
                <a:gd name="T97" fmla="*/ 285 h 341"/>
                <a:gd name="T98" fmla="*/ 257 w 436"/>
                <a:gd name="T99" fmla="*/ 315 h 341"/>
                <a:gd name="T100" fmla="*/ 281 w 436"/>
                <a:gd name="T101" fmla="*/ 335 h 341"/>
                <a:gd name="T102" fmla="*/ 302 w 436"/>
                <a:gd name="T103" fmla="*/ 302 h 341"/>
                <a:gd name="T104" fmla="*/ 310 w 436"/>
                <a:gd name="T105" fmla="*/ 271 h 341"/>
                <a:gd name="T106" fmla="*/ 324 w 436"/>
                <a:gd name="T107" fmla="*/ 273 h 341"/>
                <a:gd name="T108" fmla="*/ 330 w 436"/>
                <a:gd name="T109" fmla="*/ 279 h 341"/>
                <a:gd name="T110" fmla="*/ 345 w 436"/>
                <a:gd name="T111" fmla="*/ 254 h 341"/>
                <a:gd name="T112" fmla="*/ 345 w 436"/>
                <a:gd name="T113" fmla="*/ 245 h 341"/>
                <a:gd name="T114" fmla="*/ 347 w 436"/>
                <a:gd name="T115" fmla="*/ 214 h 341"/>
                <a:gd name="T116" fmla="*/ 347 w 436"/>
                <a:gd name="T117" fmla="*/ 201 h 341"/>
                <a:gd name="T118" fmla="*/ 350 w 436"/>
                <a:gd name="T119" fmla="*/ 187 h 341"/>
                <a:gd name="T120" fmla="*/ 368 w 436"/>
                <a:gd name="T121" fmla="*/ 161 h 341"/>
                <a:gd name="T122" fmla="*/ 393 w 436"/>
                <a:gd name="T123" fmla="*/ 153 h 341"/>
                <a:gd name="T124" fmla="*/ 418 w 436"/>
                <a:gd name="T125" fmla="*/ 162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6" h="341">
                  <a:moveTo>
                    <a:pt x="93" y="276"/>
                  </a:moveTo>
                  <a:lnTo>
                    <a:pt x="91" y="273"/>
                  </a:lnTo>
                  <a:lnTo>
                    <a:pt x="90" y="271"/>
                  </a:lnTo>
                  <a:lnTo>
                    <a:pt x="88" y="268"/>
                  </a:lnTo>
                  <a:lnTo>
                    <a:pt x="88" y="265"/>
                  </a:lnTo>
                  <a:lnTo>
                    <a:pt x="88" y="264"/>
                  </a:lnTo>
                  <a:lnTo>
                    <a:pt x="90" y="261"/>
                  </a:lnTo>
                  <a:lnTo>
                    <a:pt x="90" y="261"/>
                  </a:lnTo>
                  <a:lnTo>
                    <a:pt x="91" y="259"/>
                  </a:lnTo>
                  <a:lnTo>
                    <a:pt x="90" y="259"/>
                  </a:lnTo>
                  <a:lnTo>
                    <a:pt x="90" y="258"/>
                  </a:lnTo>
                  <a:lnTo>
                    <a:pt x="88" y="256"/>
                  </a:lnTo>
                  <a:lnTo>
                    <a:pt x="83" y="254"/>
                  </a:lnTo>
                  <a:lnTo>
                    <a:pt x="83" y="254"/>
                  </a:lnTo>
                  <a:lnTo>
                    <a:pt x="82" y="253"/>
                  </a:lnTo>
                  <a:lnTo>
                    <a:pt x="80" y="251"/>
                  </a:lnTo>
                  <a:lnTo>
                    <a:pt x="79" y="250"/>
                  </a:lnTo>
                  <a:lnTo>
                    <a:pt x="74" y="248"/>
                  </a:lnTo>
                  <a:lnTo>
                    <a:pt x="74" y="248"/>
                  </a:lnTo>
                  <a:lnTo>
                    <a:pt x="73" y="247"/>
                  </a:lnTo>
                  <a:lnTo>
                    <a:pt x="74" y="245"/>
                  </a:lnTo>
                  <a:lnTo>
                    <a:pt x="76" y="241"/>
                  </a:lnTo>
                  <a:lnTo>
                    <a:pt x="77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6" y="233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4" y="228"/>
                  </a:lnTo>
                  <a:lnTo>
                    <a:pt x="71" y="228"/>
                  </a:lnTo>
                  <a:lnTo>
                    <a:pt x="69" y="228"/>
                  </a:lnTo>
                  <a:lnTo>
                    <a:pt x="69" y="228"/>
                  </a:lnTo>
                  <a:lnTo>
                    <a:pt x="60" y="230"/>
                  </a:lnTo>
                  <a:lnTo>
                    <a:pt x="59" y="231"/>
                  </a:lnTo>
                  <a:lnTo>
                    <a:pt x="53" y="234"/>
                  </a:lnTo>
                  <a:lnTo>
                    <a:pt x="51" y="236"/>
                  </a:lnTo>
                  <a:lnTo>
                    <a:pt x="51" y="236"/>
                  </a:lnTo>
                  <a:lnTo>
                    <a:pt x="49" y="236"/>
                  </a:lnTo>
                  <a:lnTo>
                    <a:pt x="49" y="236"/>
                  </a:lnTo>
                  <a:lnTo>
                    <a:pt x="48" y="236"/>
                  </a:lnTo>
                  <a:lnTo>
                    <a:pt x="48" y="236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2" y="231"/>
                  </a:lnTo>
                  <a:lnTo>
                    <a:pt x="40" y="231"/>
                  </a:lnTo>
                  <a:lnTo>
                    <a:pt x="39" y="230"/>
                  </a:lnTo>
                  <a:lnTo>
                    <a:pt x="39" y="228"/>
                  </a:lnTo>
                  <a:lnTo>
                    <a:pt x="37" y="225"/>
                  </a:lnTo>
                  <a:lnTo>
                    <a:pt x="36" y="225"/>
                  </a:lnTo>
                  <a:lnTo>
                    <a:pt x="34" y="225"/>
                  </a:lnTo>
                  <a:lnTo>
                    <a:pt x="33" y="228"/>
                  </a:lnTo>
                  <a:lnTo>
                    <a:pt x="29" y="228"/>
                  </a:lnTo>
                  <a:lnTo>
                    <a:pt x="28" y="228"/>
                  </a:lnTo>
                  <a:lnTo>
                    <a:pt x="28" y="227"/>
                  </a:lnTo>
                  <a:lnTo>
                    <a:pt x="28" y="222"/>
                  </a:lnTo>
                  <a:lnTo>
                    <a:pt x="28" y="221"/>
                  </a:lnTo>
                  <a:lnTo>
                    <a:pt x="28" y="219"/>
                  </a:lnTo>
                  <a:lnTo>
                    <a:pt x="28" y="218"/>
                  </a:lnTo>
                  <a:lnTo>
                    <a:pt x="22" y="211"/>
                  </a:lnTo>
                  <a:lnTo>
                    <a:pt x="22" y="210"/>
                  </a:lnTo>
                  <a:lnTo>
                    <a:pt x="19" y="208"/>
                  </a:lnTo>
                  <a:lnTo>
                    <a:pt x="17" y="210"/>
                  </a:lnTo>
                  <a:lnTo>
                    <a:pt x="14" y="211"/>
                  </a:lnTo>
                  <a:lnTo>
                    <a:pt x="14" y="213"/>
                  </a:lnTo>
                  <a:lnTo>
                    <a:pt x="11" y="213"/>
                  </a:lnTo>
                  <a:lnTo>
                    <a:pt x="9" y="214"/>
                  </a:lnTo>
                  <a:lnTo>
                    <a:pt x="6" y="214"/>
                  </a:lnTo>
                  <a:lnTo>
                    <a:pt x="2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2" y="221"/>
                  </a:lnTo>
                  <a:lnTo>
                    <a:pt x="2" y="222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6" y="222"/>
                  </a:lnTo>
                  <a:lnTo>
                    <a:pt x="8" y="222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8" y="225"/>
                  </a:lnTo>
                  <a:lnTo>
                    <a:pt x="9" y="227"/>
                  </a:lnTo>
                  <a:lnTo>
                    <a:pt x="11" y="236"/>
                  </a:lnTo>
                  <a:lnTo>
                    <a:pt x="13" y="238"/>
                  </a:lnTo>
                  <a:lnTo>
                    <a:pt x="14" y="239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6" y="242"/>
                  </a:lnTo>
                  <a:lnTo>
                    <a:pt x="16" y="242"/>
                  </a:lnTo>
                  <a:lnTo>
                    <a:pt x="17" y="242"/>
                  </a:lnTo>
                  <a:lnTo>
                    <a:pt x="17" y="242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9" y="244"/>
                  </a:lnTo>
                  <a:lnTo>
                    <a:pt x="20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8"/>
                  </a:lnTo>
                  <a:lnTo>
                    <a:pt x="23" y="248"/>
                  </a:lnTo>
                  <a:lnTo>
                    <a:pt x="23" y="250"/>
                  </a:lnTo>
                  <a:lnTo>
                    <a:pt x="23" y="250"/>
                  </a:lnTo>
                  <a:lnTo>
                    <a:pt x="25" y="253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6"/>
                  </a:lnTo>
                  <a:lnTo>
                    <a:pt x="28" y="261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37" y="264"/>
                  </a:lnTo>
                  <a:lnTo>
                    <a:pt x="39" y="264"/>
                  </a:lnTo>
                  <a:lnTo>
                    <a:pt x="39" y="264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5"/>
                  </a:lnTo>
                  <a:lnTo>
                    <a:pt x="40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2" y="270"/>
                  </a:lnTo>
                  <a:lnTo>
                    <a:pt x="43" y="270"/>
                  </a:lnTo>
                  <a:lnTo>
                    <a:pt x="43" y="271"/>
                  </a:lnTo>
                  <a:lnTo>
                    <a:pt x="45" y="271"/>
                  </a:lnTo>
                  <a:lnTo>
                    <a:pt x="45" y="271"/>
                  </a:lnTo>
                  <a:lnTo>
                    <a:pt x="45" y="273"/>
                  </a:lnTo>
                  <a:lnTo>
                    <a:pt x="46" y="274"/>
                  </a:lnTo>
                  <a:lnTo>
                    <a:pt x="46" y="276"/>
                  </a:lnTo>
                  <a:lnTo>
                    <a:pt x="46" y="276"/>
                  </a:lnTo>
                  <a:lnTo>
                    <a:pt x="49" y="278"/>
                  </a:lnTo>
                  <a:lnTo>
                    <a:pt x="49" y="278"/>
                  </a:lnTo>
                  <a:lnTo>
                    <a:pt x="49" y="279"/>
                  </a:lnTo>
                  <a:lnTo>
                    <a:pt x="48" y="279"/>
                  </a:lnTo>
                  <a:lnTo>
                    <a:pt x="48" y="281"/>
                  </a:lnTo>
                  <a:lnTo>
                    <a:pt x="48" y="281"/>
                  </a:lnTo>
                  <a:lnTo>
                    <a:pt x="49" y="282"/>
                  </a:lnTo>
                  <a:lnTo>
                    <a:pt x="51" y="284"/>
                  </a:lnTo>
                  <a:lnTo>
                    <a:pt x="53" y="284"/>
                  </a:lnTo>
                  <a:lnTo>
                    <a:pt x="54" y="284"/>
                  </a:lnTo>
                  <a:lnTo>
                    <a:pt x="54" y="285"/>
                  </a:lnTo>
                  <a:lnTo>
                    <a:pt x="56" y="285"/>
                  </a:lnTo>
                  <a:lnTo>
                    <a:pt x="57" y="285"/>
                  </a:lnTo>
                  <a:lnTo>
                    <a:pt x="57" y="285"/>
                  </a:lnTo>
                  <a:lnTo>
                    <a:pt x="59" y="285"/>
                  </a:lnTo>
                  <a:lnTo>
                    <a:pt x="63" y="287"/>
                  </a:lnTo>
                  <a:lnTo>
                    <a:pt x="69" y="287"/>
                  </a:lnTo>
                  <a:lnTo>
                    <a:pt x="74" y="288"/>
                  </a:lnTo>
                  <a:lnTo>
                    <a:pt x="76" y="290"/>
                  </a:lnTo>
                  <a:lnTo>
                    <a:pt x="91" y="293"/>
                  </a:lnTo>
                  <a:lnTo>
                    <a:pt x="96" y="294"/>
                  </a:lnTo>
                  <a:lnTo>
                    <a:pt x="100" y="296"/>
                  </a:lnTo>
                  <a:lnTo>
                    <a:pt x="102" y="296"/>
                  </a:lnTo>
                  <a:lnTo>
                    <a:pt x="97" y="287"/>
                  </a:lnTo>
                  <a:lnTo>
                    <a:pt x="93" y="276"/>
                  </a:lnTo>
                  <a:close/>
                  <a:moveTo>
                    <a:pt x="436" y="154"/>
                  </a:moveTo>
                  <a:lnTo>
                    <a:pt x="435" y="154"/>
                  </a:lnTo>
                  <a:lnTo>
                    <a:pt x="433" y="154"/>
                  </a:lnTo>
                  <a:lnTo>
                    <a:pt x="433" y="154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31" y="156"/>
                  </a:lnTo>
                  <a:lnTo>
                    <a:pt x="433" y="157"/>
                  </a:lnTo>
                  <a:lnTo>
                    <a:pt x="433" y="157"/>
                  </a:lnTo>
                  <a:lnTo>
                    <a:pt x="435" y="157"/>
                  </a:lnTo>
                  <a:lnTo>
                    <a:pt x="436" y="156"/>
                  </a:lnTo>
                  <a:lnTo>
                    <a:pt x="436" y="154"/>
                  </a:lnTo>
                  <a:close/>
                  <a:moveTo>
                    <a:pt x="418" y="145"/>
                  </a:moveTo>
                  <a:lnTo>
                    <a:pt x="416" y="144"/>
                  </a:lnTo>
                  <a:lnTo>
                    <a:pt x="416" y="142"/>
                  </a:lnTo>
                  <a:lnTo>
                    <a:pt x="416" y="141"/>
                  </a:lnTo>
                  <a:lnTo>
                    <a:pt x="416" y="141"/>
                  </a:lnTo>
                  <a:lnTo>
                    <a:pt x="415" y="141"/>
                  </a:lnTo>
                  <a:lnTo>
                    <a:pt x="413" y="141"/>
                  </a:lnTo>
                  <a:lnTo>
                    <a:pt x="413" y="142"/>
                  </a:lnTo>
                  <a:lnTo>
                    <a:pt x="416" y="145"/>
                  </a:lnTo>
                  <a:lnTo>
                    <a:pt x="416" y="148"/>
                  </a:lnTo>
                  <a:lnTo>
                    <a:pt x="418" y="148"/>
                  </a:lnTo>
                  <a:lnTo>
                    <a:pt x="418" y="148"/>
                  </a:lnTo>
                  <a:lnTo>
                    <a:pt x="419" y="147"/>
                  </a:lnTo>
                  <a:lnTo>
                    <a:pt x="419" y="145"/>
                  </a:lnTo>
                  <a:lnTo>
                    <a:pt x="418" y="145"/>
                  </a:lnTo>
                  <a:close/>
                  <a:moveTo>
                    <a:pt x="33" y="91"/>
                  </a:move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31" y="93"/>
                  </a:lnTo>
                  <a:lnTo>
                    <a:pt x="33" y="93"/>
                  </a:lnTo>
                  <a:lnTo>
                    <a:pt x="33" y="91"/>
                  </a:lnTo>
                  <a:close/>
                  <a:moveTo>
                    <a:pt x="16" y="87"/>
                  </a:moveTo>
                  <a:lnTo>
                    <a:pt x="19" y="87"/>
                  </a:lnTo>
                  <a:lnTo>
                    <a:pt x="19" y="85"/>
                  </a:lnTo>
                  <a:lnTo>
                    <a:pt x="19" y="82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4" y="84"/>
                  </a:lnTo>
                  <a:lnTo>
                    <a:pt x="14" y="85"/>
                  </a:lnTo>
                  <a:lnTo>
                    <a:pt x="16" y="87"/>
                  </a:lnTo>
                  <a:close/>
                  <a:moveTo>
                    <a:pt x="418" y="161"/>
                  </a:moveTo>
                  <a:lnTo>
                    <a:pt x="416" y="159"/>
                  </a:lnTo>
                  <a:lnTo>
                    <a:pt x="416" y="151"/>
                  </a:lnTo>
                  <a:lnTo>
                    <a:pt x="415" y="150"/>
                  </a:lnTo>
                  <a:lnTo>
                    <a:pt x="415" y="147"/>
                  </a:lnTo>
                  <a:lnTo>
                    <a:pt x="413" y="145"/>
                  </a:lnTo>
                  <a:lnTo>
                    <a:pt x="411" y="145"/>
                  </a:lnTo>
                  <a:lnTo>
                    <a:pt x="410" y="144"/>
                  </a:lnTo>
                  <a:lnTo>
                    <a:pt x="408" y="142"/>
                  </a:lnTo>
                  <a:lnTo>
                    <a:pt x="408" y="141"/>
                  </a:lnTo>
                  <a:lnTo>
                    <a:pt x="407" y="139"/>
                  </a:lnTo>
                  <a:lnTo>
                    <a:pt x="405" y="137"/>
                  </a:lnTo>
                  <a:lnTo>
                    <a:pt x="399" y="136"/>
                  </a:lnTo>
                  <a:lnTo>
                    <a:pt x="398" y="136"/>
                  </a:lnTo>
                  <a:lnTo>
                    <a:pt x="396" y="134"/>
                  </a:lnTo>
                  <a:lnTo>
                    <a:pt x="394" y="133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3" y="130"/>
                  </a:lnTo>
                  <a:lnTo>
                    <a:pt x="393" y="130"/>
                  </a:lnTo>
                  <a:lnTo>
                    <a:pt x="384" y="130"/>
                  </a:lnTo>
                  <a:lnTo>
                    <a:pt x="382" y="130"/>
                  </a:lnTo>
                  <a:lnTo>
                    <a:pt x="379" y="131"/>
                  </a:lnTo>
                  <a:lnTo>
                    <a:pt x="378" y="131"/>
                  </a:lnTo>
                  <a:lnTo>
                    <a:pt x="376" y="131"/>
                  </a:lnTo>
                  <a:lnTo>
                    <a:pt x="373" y="131"/>
                  </a:lnTo>
                  <a:lnTo>
                    <a:pt x="368" y="130"/>
                  </a:lnTo>
                  <a:lnTo>
                    <a:pt x="367" y="130"/>
                  </a:lnTo>
                  <a:lnTo>
                    <a:pt x="364" y="127"/>
                  </a:lnTo>
                  <a:lnTo>
                    <a:pt x="364" y="127"/>
                  </a:lnTo>
                  <a:lnTo>
                    <a:pt x="362" y="127"/>
                  </a:lnTo>
                  <a:lnTo>
                    <a:pt x="359" y="125"/>
                  </a:lnTo>
                  <a:lnTo>
                    <a:pt x="358" y="125"/>
                  </a:lnTo>
                  <a:lnTo>
                    <a:pt x="356" y="124"/>
                  </a:lnTo>
                  <a:lnTo>
                    <a:pt x="354" y="124"/>
                  </a:lnTo>
                  <a:lnTo>
                    <a:pt x="354" y="122"/>
                  </a:lnTo>
                  <a:lnTo>
                    <a:pt x="354" y="122"/>
                  </a:lnTo>
                  <a:lnTo>
                    <a:pt x="354" y="122"/>
                  </a:lnTo>
                  <a:lnTo>
                    <a:pt x="353" y="120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3" y="117"/>
                  </a:lnTo>
                  <a:lnTo>
                    <a:pt x="353" y="116"/>
                  </a:lnTo>
                  <a:lnTo>
                    <a:pt x="354" y="113"/>
                  </a:lnTo>
                  <a:lnTo>
                    <a:pt x="354" y="110"/>
                  </a:lnTo>
                  <a:lnTo>
                    <a:pt x="354" y="110"/>
                  </a:lnTo>
                  <a:lnTo>
                    <a:pt x="353" y="108"/>
                  </a:lnTo>
                  <a:lnTo>
                    <a:pt x="351" y="107"/>
                  </a:lnTo>
                  <a:lnTo>
                    <a:pt x="350" y="105"/>
                  </a:lnTo>
                  <a:lnTo>
                    <a:pt x="348" y="105"/>
                  </a:lnTo>
                  <a:lnTo>
                    <a:pt x="345" y="104"/>
                  </a:lnTo>
                  <a:lnTo>
                    <a:pt x="344" y="102"/>
                  </a:lnTo>
                  <a:lnTo>
                    <a:pt x="342" y="100"/>
                  </a:lnTo>
                  <a:lnTo>
                    <a:pt x="342" y="99"/>
                  </a:lnTo>
                  <a:lnTo>
                    <a:pt x="333" y="90"/>
                  </a:lnTo>
                  <a:lnTo>
                    <a:pt x="330" y="84"/>
                  </a:lnTo>
                  <a:lnTo>
                    <a:pt x="328" y="76"/>
                  </a:lnTo>
                  <a:lnTo>
                    <a:pt x="327" y="76"/>
                  </a:lnTo>
                  <a:lnTo>
                    <a:pt x="327" y="74"/>
                  </a:lnTo>
                  <a:lnTo>
                    <a:pt x="327" y="73"/>
                  </a:lnTo>
                  <a:lnTo>
                    <a:pt x="325" y="64"/>
                  </a:lnTo>
                  <a:lnTo>
                    <a:pt x="325" y="62"/>
                  </a:lnTo>
                  <a:lnTo>
                    <a:pt x="324" y="60"/>
                  </a:lnTo>
                  <a:lnTo>
                    <a:pt x="322" y="59"/>
                  </a:lnTo>
                  <a:lnTo>
                    <a:pt x="321" y="54"/>
                  </a:lnTo>
                  <a:lnTo>
                    <a:pt x="317" y="48"/>
                  </a:lnTo>
                  <a:lnTo>
                    <a:pt x="316" y="47"/>
                  </a:lnTo>
                  <a:lnTo>
                    <a:pt x="316" y="47"/>
                  </a:lnTo>
                  <a:lnTo>
                    <a:pt x="314" y="45"/>
                  </a:lnTo>
                  <a:lnTo>
                    <a:pt x="314" y="45"/>
                  </a:lnTo>
                  <a:lnTo>
                    <a:pt x="313" y="45"/>
                  </a:lnTo>
                  <a:lnTo>
                    <a:pt x="311" y="42"/>
                  </a:lnTo>
                  <a:lnTo>
                    <a:pt x="311" y="40"/>
                  </a:lnTo>
                  <a:lnTo>
                    <a:pt x="310" y="39"/>
                  </a:lnTo>
                  <a:lnTo>
                    <a:pt x="308" y="37"/>
                  </a:lnTo>
                  <a:lnTo>
                    <a:pt x="308" y="37"/>
                  </a:lnTo>
                  <a:lnTo>
                    <a:pt x="305" y="31"/>
                  </a:lnTo>
                  <a:lnTo>
                    <a:pt x="299" y="25"/>
                  </a:lnTo>
                  <a:lnTo>
                    <a:pt x="299" y="23"/>
                  </a:lnTo>
                  <a:lnTo>
                    <a:pt x="297" y="22"/>
                  </a:lnTo>
                  <a:lnTo>
                    <a:pt x="296" y="19"/>
                  </a:lnTo>
                  <a:lnTo>
                    <a:pt x="288" y="10"/>
                  </a:lnTo>
                  <a:lnTo>
                    <a:pt x="287" y="8"/>
                  </a:lnTo>
                  <a:lnTo>
                    <a:pt x="284" y="7"/>
                  </a:lnTo>
                  <a:lnTo>
                    <a:pt x="284" y="5"/>
                  </a:lnTo>
                  <a:lnTo>
                    <a:pt x="279" y="11"/>
                  </a:lnTo>
                  <a:lnTo>
                    <a:pt x="274" y="17"/>
                  </a:lnTo>
                  <a:lnTo>
                    <a:pt x="274" y="19"/>
                  </a:lnTo>
                  <a:lnTo>
                    <a:pt x="271" y="27"/>
                  </a:lnTo>
                  <a:lnTo>
                    <a:pt x="270" y="30"/>
                  </a:lnTo>
                  <a:lnTo>
                    <a:pt x="268" y="31"/>
                  </a:lnTo>
                  <a:lnTo>
                    <a:pt x="262" y="36"/>
                  </a:lnTo>
                  <a:lnTo>
                    <a:pt x="257" y="39"/>
                  </a:lnTo>
                  <a:lnTo>
                    <a:pt x="256" y="40"/>
                  </a:lnTo>
                  <a:lnTo>
                    <a:pt x="247" y="42"/>
                  </a:lnTo>
                  <a:lnTo>
                    <a:pt x="244" y="43"/>
                  </a:lnTo>
                  <a:lnTo>
                    <a:pt x="242" y="47"/>
                  </a:lnTo>
                  <a:lnTo>
                    <a:pt x="240" y="53"/>
                  </a:lnTo>
                  <a:lnTo>
                    <a:pt x="239" y="54"/>
                  </a:lnTo>
                  <a:lnTo>
                    <a:pt x="237" y="54"/>
                  </a:lnTo>
                  <a:lnTo>
                    <a:pt x="236" y="54"/>
                  </a:lnTo>
                  <a:lnTo>
                    <a:pt x="236" y="56"/>
                  </a:lnTo>
                  <a:lnTo>
                    <a:pt x="234" y="59"/>
                  </a:lnTo>
                  <a:lnTo>
                    <a:pt x="234" y="59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1" y="64"/>
                  </a:lnTo>
                  <a:lnTo>
                    <a:pt x="233" y="65"/>
                  </a:lnTo>
                  <a:lnTo>
                    <a:pt x="233" y="67"/>
                  </a:lnTo>
                  <a:lnTo>
                    <a:pt x="233" y="68"/>
                  </a:lnTo>
                  <a:lnTo>
                    <a:pt x="231" y="68"/>
                  </a:lnTo>
                  <a:lnTo>
                    <a:pt x="228" y="70"/>
                  </a:lnTo>
                  <a:lnTo>
                    <a:pt x="227" y="70"/>
                  </a:lnTo>
                  <a:lnTo>
                    <a:pt x="220" y="70"/>
                  </a:lnTo>
                  <a:lnTo>
                    <a:pt x="219" y="70"/>
                  </a:lnTo>
                  <a:lnTo>
                    <a:pt x="217" y="68"/>
                  </a:lnTo>
                  <a:lnTo>
                    <a:pt x="214" y="67"/>
                  </a:lnTo>
                  <a:lnTo>
                    <a:pt x="213" y="67"/>
                  </a:lnTo>
                  <a:lnTo>
                    <a:pt x="211" y="67"/>
                  </a:lnTo>
                  <a:lnTo>
                    <a:pt x="208" y="70"/>
                  </a:lnTo>
                  <a:lnTo>
                    <a:pt x="207" y="70"/>
                  </a:lnTo>
                  <a:lnTo>
                    <a:pt x="205" y="68"/>
                  </a:lnTo>
                  <a:lnTo>
                    <a:pt x="203" y="65"/>
                  </a:lnTo>
                  <a:lnTo>
                    <a:pt x="202" y="65"/>
                  </a:lnTo>
                  <a:lnTo>
                    <a:pt x="194" y="64"/>
                  </a:lnTo>
                  <a:lnTo>
                    <a:pt x="193" y="64"/>
                  </a:lnTo>
                  <a:lnTo>
                    <a:pt x="191" y="62"/>
                  </a:lnTo>
                  <a:lnTo>
                    <a:pt x="185" y="59"/>
                  </a:lnTo>
                  <a:lnTo>
                    <a:pt x="185" y="57"/>
                  </a:lnTo>
                  <a:lnTo>
                    <a:pt x="183" y="56"/>
                  </a:lnTo>
                  <a:lnTo>
                    <a:pt x="183" y="51"/>
                  </a:lnTo>
                  <a:lnTo>
                    <a:pt x="183" y="48"/>
                  </a:lnTo>
                  <a:lnTo>
                    <a:pt x="183" y="47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2"/>
                  </a:lnTo>
                  <a:lnTo>
                    <a:pt x="180" y="42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77" y="39"/>
                  </a:lnTo>
                  <a:lnTo>
                    <a:pt x="177" y="37"/>
                  </a:lnTo>
                  <a:lnTo>
                    <a:pt x="177" y="36"/>
                  </a:lnTo>
                  <a:lnTo>
                    <a:pt x="176" y="34"/>
                  </a:lnTo>
                  <a:lnTo>
                    <a:pt x="176" y="33"/>
                  </a:lnTo>
                  <a:lnTo>
                    <a:pt x="174" y="33"/>
                  </a:lnTo>
                  <a:lnTo>
                    <a:pt x="173" y="33"/>
                  </a:lnTo>
                  <a:lnTo>
                    <a:pt x="171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3"/>
                  </a:lnTo>
                  <a:lnTo>
                    <a:pt x="167" y="30"/>
                  </a:lnTo>
                  <a:lnTo>
                    <a:pt x="163" y="27"/>
                  </a:lnTo>
                  <a:lnTo>
                    <a:pt x="160" y="23"/>
                  </a:lnTo>
                  <a:lnTo>
                    <a:pt x="159" y="22"/>
                  </a:lnTo>
                  <a:lnTo>
                    <a:pt x="159" y="20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6" y="17"/>
                  </a:lnTo>
                  <a:lnTo>
                    <a:pt x="154" y="17"/>
                  </a:lnTo>
                  <a:lnTo>
                    <a:pt x="153" y="17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48" y="10"/>
                  </a:lnTo>
                  <a:lnTo>
                    <a:pt x="147" y="7"/>
                  </a:lnTo>
                  <a:lnTo>
                    <a:pt x="147" y="5"/>
                  </a:lnTo>
                  <a:lnTo>
                    <a:pt x="147" y="5"/>
                  </a:lnTo>
                  <a:lnTo>
                    <a:pt x="145" y="7"/>
                  </a:lnTo>
                  <a:lnTo>
                    <a:pt x="143" y="7"/>
                  </a:lnTo>
                  <a:lnTo>
                    <a:pt x="143" y="7"/>
                  </a:lnTo>
                  <a:lnTo>
                    <a:pt x="140" y="8"/>
                  </a:lnTo>
                  <a:lnTo>
                    <a:pt x="139" y="8"/>
                  </a:lnTo>
                  <a:lnTo>
                    <a:pt x="136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3" y="10"/>
                  </a:lnTo>
                  <a:lnTo>
                    <a:pt x="131" y="8"/>
                  </a:lnTo>
                  <a:lnTo>
                    <a:pt x="133" y="5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26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20" y="7"/>
                  </a:lnTo>
                  <a:lnTo>
                    <a:pt x="119" y="10"/>
                  </a:lnTo>
                  <a:lnTo>
                    <a:pt x="116" y="13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3" y="16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5" y="16"/>
                  </a:lnTo>
                  <a:lnTo>
                    <a:pt x="105" y="19"/>
                  </a:lnTo>
                  <a:lnTo>
                    <a:pt x="105" y="25"/>
                  </a:lnTo>
                  <a:lnTo>
                    <a:pt x="105" y="30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1" y="30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3" y="37"/>
                  </a:lnTo>
                  <a:lnTo>
                    <a:pt x="113" y="39"/>
                  </a:lnTo>
                  <a:lnTo>
                    <a:pt x="114" y="40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20" y="43"/>
                  </a:lnTo>
                  <a:lnTo>
                    <a:pt x="125" y="47"/>
                  </a:lnTo>
                  <a:lnTo>
                    <a:pt x="131" y="50"/>
                  </a:lnTo>
                  <a:lnTo>
                    <a:pt x="136" y="53"/>
                  </a:lnTo>
                  <a:lnTo>
                    <a:pt x="136" y="56"/>
                  </a:lnTo>
                  <a:lnTo>
                    <a:pt x="137" y="54"/>
                  </a:lnTo>
                  <a:lnTo>
                    <a:pt x="139" y="54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0" y="57"/>
                  </a:lnTo>
                  <a:lnTo>
                    <a:pt x="142" y="60"/>
                  </a:lnTo>
                  <a:lnTo>
                    <a:pt x="143" y="62"/>
                  </a:lnTo>
                  <a:lnTo>
                    <a:pt x="143" y="62"/>
                  </a:lnTo>
                  <a:lnTo>
                    <a:pt x="142" y="62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2" y="67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0" y="68"/>
                  </a:lnTo>
                  <a:lnTo>
                    <a:pt x="139" y="68"/>
                  </a:lnTo>
                  <a:lnTo>
                    <a:pt x="139" y="71"/>
                  </a:lnTo>
                  <a:lnTo>
                    <a:pt x="139" y="74"/>
                  </a:lnTo>
                  <a:lnTo>
                    <a:pt x="137" y="77"/>
                  </a:lnTo>
                  <a:lnTo>
                    <a:pt x="137" y="79"/>
                  </a:lnTo>
                  <a:lnTo>
                    <a:pt x="136" y="80"/>
                  </a:lnTo>
                  <a:lnTo>
                    <a:pt x="134" y="80"/>
                  </a:lnTo>
                  <a:lnTo>
                    <a:pt x="133" y="80"/>
                  </a:lnTo>
                  <a:lnTo>
                    <a:pt x="131" y="79"/>
                  </a:lnTo>
                  <a:lnTo>
                    <a:pt x="130" y="80"/>
                  </a:lnTo>
                  <a:lnTo>
                    <a:pt x="130" y="82"/>
                  </a:lnTo>
                  <a:lnTo>
                    <a:pt x="130" y="84"/>
                  </a:lnTo>
                  <a:lnTo>
                    <a:pt x="128" y="85"/>
                  </a:lnTo>
                  <a:lnTo>
                    <a:pt x="126" y="85"/>
                  </a:lnTo>
                  <a:lnTo>
                    <a:pt x="125" y="84"/>
                  </a:lnTo>
                  <a:lnTo>
                    <a:pt x="123" y="80"/>
                  </a:lnTo>
                  <a:lnTo>
                    <a:pt x="122" y="80"/>
                  </a:lnTo>
                  <a:lnTo>
                    <a:pt x="117" y="79"/>
                  </a:lnTo>
                  <a:lnTo>
                    <a:pt x="116" y="77"/>
                  </a:lnTo>
                  <a:lnTo>
                    <a:pt x="111" y="74"/>
                  </a:lnTo>
                  <a:lnTo>
                    <a:pt x="110" y="71"/>
                  </a:lnTo>
                  <a:lnTo>
                    <a:pt x="108" y="70"/>
                  </a:lnTo>
                  <a:lnTo>
                    <a:pt x="106" y="70"/>
                  </a:lnTo>
                  <a:lnTo>
                    <a:pt x="102" y="70"/>
                  </a:lnTo>
                  <a:lnTo>
                    <a:pt x="100" y="70"/>
                  </a:lnTo>
                  <a:lnTo>
                    <a:pt x="97" y="71"/>
                  </a:lnTo>
                  <a:lnTo>
                    <a:pt x="96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77" y="68"/>
                  </a:lnTo>
                  <a:lnTo>
                    <a:pt x="74" y="67"/>
                  </a:lnTo>
                  <a:lnTo>
                    <a:pt x="73" y="65"/>
                  </a:lnTo>
                  <a:lnTo>
                    <a:pt x="69" y="64"/>
                  </a:lnTo>
                  <a:lnTo>
                    <a:pt x="68" y="60"/>
                  </a:lnTo>
                  <a:lnTo>
                    <a:pt x="69" y="57"/>
                  </a:lnTo>
                  <a:lnTo>
                    <a:pt x="71" y="57"/>
                  </a:lnTo>
                  <a:lnTo>
                    <a:pt x="73" y="57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65" y="54"/>
                  </a:lnTo>
                  <a:lnTo>
                    <a:pt x="56" y="50"/>
                  </a:lnTo>
                  <a:lnTo>
                    <a:pt x="53" y="48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48" y="47"/>
                  </a:lnTo>
                  <a:lnTo>
                    <a:pt x="46" y="48"/>
                  </a:lnTo>
                  <a:lnTo>
                    <a:pt x="45" y="47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25" y="54"/>
                  </a:lnTo>
                  <a:lnTo>
                    <a:pt x="17" y="60"/>
                  </a:lnTo>
                  <a:lnTo>
                    <a:pt x="20" y="67"/>
                  </a:lnTo>
                  <a:lnTo>
                    <a:pt x="19" y="68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5" y="70"/>
                  </a:lnTo>
                  <a:lnTo>
                    <a:pt x="26" y="71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33" y="77"/>
                  </a:lnTo>
                  <a:lnTo>
                    <a:pt x="29" y="79"/>
                  </a:lnTo>
                  <a:lnTo>
                    <a:pt x="22" y="79"/>
                  </a:lnTo>
                  <a:lnTo>
                    <a:pt x="22" y="82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9" y="85"/>
                  </a:lnTo>
                  <a:lnTo>
                    <a:pt x="31" y="85"/>
                  </a:lnTo>
                  <a:lnTo>
                    <a:pt x="33" y="87"/>
                  </a:lnTo>
                  <a:lnTo>
                    <a:pt x="34" y="88"/>
                  </a:lnTo>
                  <a:lnTo>
                    <a:pt x="37" y="88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5" y="88"/>
                  </a:lnTo>
                  <a:lnTo>
                    <a:pt x="46" y="88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3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51" y="94"/>
                  </a:lnTo>
                  <a:lnTo>
                    <a:pt x="53" y="96"/>
                  </a:lnTo>
                  <a:lnTo>
                    <a:pt x="56" y="100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2" y="102"/>
                  </a:lnTo>
                  <a:lnTo>
                    <a:pt x="62" y="105"/>
                  </a:lnTo>
                  <a:lnTo>
                    <a:pt x="60" y="108"/>
                  </a:lnTo>
                  <a:lnTo>
                    <a:pt x="59" y="111"/>
                  </a:lnTo>
                  <a:lnTo>
                    <a:pt x="53" y="114"/>
                  </a:lnTo>
                  <a:lnTo>
                    <a:pt x="49" y="116"/>
                  </a:lnTo>
                  <a:lnTo>
                    <a:pt x="46" y="117"/>
                  </a:lnTo>
                  <a:lnTo>
                    <a:pt x="45" y="120"/>
                  </a:lnTo>
                  <a:lnTo>
                    <a:pt x="45" y="124"/>
                  </a:lnTo>
                  <a:lnTo>
                    <a:pt x="45" y="125"/>
                  </a:lnTo>
                  <a:lnTo>
                    <a:pt x="46" y="127"/>
                  </a:lnTo>
                  <a:lnTo>
                    <a:pt x="46" y="128"/>
                  </a:lnTo>
                  <a:lnTo>
                    <a:pt x="48" y="130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51" y="134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3" y="137"/>
                  </a:lnTo>
                  <a:lnTo>
                    <a:pt x="54" y="139"/>
                  </a:lnTo>
                  <a:lnTo>
                    <a:pt x="56" y="144"/>
                  </a:lnTo>
                  <a:lnTo>
                    <a:pt x="60" y="148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80" y="162"/>
                  </a:lnTo>
                  <a:lnTo>
                    <a:pt x="82" y="162"/>
                  </a:lnTo>
                  <a:lnTo>
                    <a:pt x="83" y="161"/>
                  </a:lnTo>
                  <a:lnTo>
                    <a:pt x="83" y="161"/>
                  </a:lnTo>
                  <a:lnTo>
                    <a:pt x="85" y="161"/>
                  </a:lnTo>
                  <a:lnTo>
                    <a:pt x="86" y="162"/>
                  </a:lnTo>
                  <a:lnTo>
                    <a:pt x="88" y="162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88" y="173"/>
                  </a:lnTo>
                  <a:lnTo>
                    <a:pt x="88" y="176"/>
                  </a:lnTo>
                  <a:lnTo>
                    <a:pt x="86" y="177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3" y="184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77" y="187"/>
                  </a:lnTo>
                  <a:lnTo>
                    <a:pt x="65" y="184"/>
                  </a:lnTo>
                  <a:lnTo>
                    <a:pt x="60" y="187"/>
                  </a:lnTo>
                  <a:lnTo>
                    <a:pt x="60" y="188"/>
                  </a:lnTo>
                  <a:lnTo>
                    <a:pt x="60" y="190"/>
                  </a:lnTo>
                  <a:lnTo>
                    <a:pt x="62" y="191"/>
                  </a:lnTo>
                  <a:lnTo>
                    <a:pt x="69" y="191"/>
                  </a:lnTo>
                  <a:lnTo>
                    <a:pt x="73" y="193"/>
                  </a:lnTo>
                  <a:lnTo>
                    <a:pt x="74" y="194"/>
                  </a:lnTo>
                  <a:lnTo>
                    <a:pt x="77" y="201"/>
                  </a:lnTo>
                  <a:lnTo>
                    <a:pt x="77" y="202"/>
                  </a:lnTo>
                  <a:lnTo>
                    <a:pt x="80" y="205"/>
                  </a:lnTo>
                  <a:lnTo>
                    <a:pt x="82" y="207"/>
                  </a:lnTo>
                  <a:lnTo>
                    <a:pt x="85" y="208"/>
                  </a:lnTo>
                  <a:lnTo>
                    <a:pt x="90" y="208"/>
                  </a:lnTo>
                  <a:lnTo>
                    <a:pt x="91" y="211"/>
                  </a:lnTo>
                  <a:lnTo>
                    <a:pt x="94" y="218"/>
                  </a:lnTo>
                  <a:lnTo>
                    <a:pt x="97" y="219"/>
                  </a:lnTo>
                  <a:lnTo>
                    <a:pt x="100" y="219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3" y="225"/>
                  </a:lnTo>
                  <a:lnTo>
                    <a:pt x="105" y="225"/>
                  </a:lnTo>
                  <a:lnTo>
                    <a:pt x="106" y="227"/>
                  </a:lnTo>
                  <a:lnTo>
                    <a:pt x="110" y="225"/>
                  </a:lnTo>
                  <a:lnTo>
                    <a:pt x="114" y="224"/>
                  </a:lnTo>
                  <a:lnTo>
                    <a:pt x="117" y="224"/>
                  </a:lnTo>
                  <a:lnTo>
                    <a:pt x="117" y="224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2" y="228"/>
                  </a:lnTo>
                  <a:lnTo>
                    <a:pt x="126" y="227"/>
                  </a:lnTo>
                  <a:lnTo>
                    <a:pt x="128" y="228"/>
                  </a:lnTo>
                  <a:lnTo>
                    <a:pt x="130" y="228"/>
                  </a:lnTo>
                  <a:lnTo>
                    <a:pt x="130" y="230"/>
                  </a:lnTo>
                  <a:lnTo>
                    <a:pt x="131" y="231"/>
                  </a:lnTo>
                  <a:lnTo>
                    <a:pt x="130" y="233"/>
                  </a:lnTo>
                  <a:lnTo>
                    <a:pt x="128" y="233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28" y="236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2" y="239"/>
                  </a:lnTo>
                  <a:lnTo>
                    <a:pt x="119" y="241"/>
                  </a:lnTo>
                  <a:lnTo>
                    <a:pt x="119" y="244"/>
                  </a:lnTo>
                  <a:lnTo>
                    <a:pt x="119" y="247"/>
                  </a:lnTo>
                  <a:lnTo>
                    <a:pt x="122" y="248"/>
                  </a:lnTo>
                  <a:lnTo>
                    <a:pt x="126" y="251"/>
                  </a:lnTo>
                  <a:lnTo>
                    <a:pt x="128" y="251"/>
                  </a:lnTo>
                  <a:lnTo>
                    <a:pt x="128" y="253"/>
                  </a:lnTo>
                  <a:lnTo>
                    <a:pt x="130" y="254"/>
                  </a:lnTo>
                  <a:lnTo>
                    <a:pt x="130" y="256"/>
                  </a:lnTo>
                  <a:lnTo>
                    <a:pt x="131" y="258"/>
                  </a:lnTo>
                  <a:lnTo>
                    <a:pt x="134" y="261"/>
                  </a:lnTo>
                  <a:lnTo>
                    <a:pt x="136" y="261"/>
                  </a:lnTo>
                  <a:lnTo>
                    <a:pt x="136" y="261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4" y="262"/>
                  </a:lnTo>
                  <a:lnTo>
                    <a:pt x="131" y="265"/>
                  </a:lnTo>
                  <a:lnTo>
                    <a:pt x="130" y="265"/>
                  </a:lnTo>
                  <a:lnTo>
                    <a:pt x="125" y="262"/>
                  </a:lnTo>
                  <a:lnTo>
                    <a:pt x="122" y="262"/>
                  </a:lnTo>
                  <a:lnTo>
                    <a:pt x="120" y="264"/>
                  </a:lnTo>
                  <a:lnTo>
                    <a:pt x="120" y="267"/>
                  </a:lnTo>
                  <a:lnTo>
                    <a:pt x="123" y="268"/>
                  </a:lnTo>
                  <a:lnTo>
                    <a:pt x="125" y="270"/>
                  </a:lnTo>
                  <a:lnTo>
                    <a:pt x="126" y="271"/>
                  </a:lnTo>
                  <a:lnTo>
                    <a:pt x="128" y="274"/>
                  </a:lnTo>
                  <a:lnTo>
                    <a:pt x="128" y="278"/>
                  </a:lnTo>
                  <a:lnTo>
                    <a:pt x="128" y="281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5"/>
                  </a:lnTo>
                  <a:lnTo>
                    <a:pt x="126" y="287"/>
                  </a:lnTo>
                  <a:lnTo>
                    <a:pt x="126" y="287"/>
                  </a:lnTo>
                  <a:lnTo>
                    <a:pt x="126" y="288"/>
                  </a:lnTo>
                  <a:lnTo>
                    <a:pt x="130" y="294"/>
                  </a:lnTo>
                  <a:lnTo>
                    <a:pt x="131" y="294"/>
                  </a:lnTo>
                  <a:lnTo>
                    <a:pt x="133" y="293"/>
                  </a:lnTo>
                  <a:lnTo>
                    <a:pt x="134" y="293"/>
                  </a:lnTo>
                  <a:lnTo>
                    <a:pt x="134" y="291"/>
                  </a:lnTo>
                  <a:lnTo>
                    <a:pt x="136" y="290"/>
                  </a:lnTo>
                  <a:lnTo>
                    <a:pt x="137" y="288"/>
                  </a:lnTo>
                  <a:lnTo>
                    <a:pt x="139" y="285"/>
                  </a:lnTo>
                  <a:lnTo>
                    <a:pt x="140" y="284"/>
                  </a:lnTo>
                  <a:lnTo>
                    <a:pt x="142" y="282"/>
                  </a:lnTo>
                  <a:lnTo>
                    <a:pt x="145" y="281"/>
                  </a:lnTo>
                  <a:lnTo>
                    <a:pt x="147" y="279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0" y="274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54" y="268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7"/>
                  </a:lnTo>
                  <a:lnTo>
                    <a:pt x="157" y="267"/>
                  </a:lnTo>
                  <a:lnTo>
                    <a:pt x="159" y="267"/>
                  </a:lnTo>
                  <a:lnTo>
                    <a:pt x="160" y="267"/>
                  </a:lnTo>
                  <a:lnTo>
                    <a:pt x="162" y="267"/>
                  </a:lnTo>
                  <a:lnTo>
                    <a:pt x="162" y="267"/>
                  </a:lnTo>
                  <a:lnTo>
                    <a:pt x="167" y="265"/>
                  </a:lnTo>
                  <a:lnTo>
                    <a:pt x="167" y="265"/>
                  </a:lnTo>
                  <a:lnTo>
                    <a:pt x="168" y="264"/>
                  </a:lnTo>
                  <a:lnTo>
                    <a:pt x="168" y="264"/>
                  </a:lnTo>
                  <a:lnTo>
                    <a:pt x="170" y="259"/>
                  </a:lnTo>
                  <a:lnTo>
                    <a:pt x="173" y="254"/>
                  </a:lnTo>
                  <a:lnTo>
                    <a:pt x="173" y="254"/>
                  </a:lnTo>
                  <a:lnTo>
                    <a:pt x="173" y="253"/>
                  </a:lnTo>
                  <a:lnTo>
                    <a:pt x="177" y="251"/>
                  </a:lnTo>
                  <a:lnTo>
                    <a:pt x="185" y="248"/>
                  </a:lnTo>
                  <a:lnTo>
                    <a:pt x="185" y="248"/>
                  </a:lnTo>
                  <a:lnTo>
                    <a:pt x="188" y="247"/>
                  </a:lnTo>
                  <a:lnTo>
                    <a:pt x="190" y="244"/>
                  </a:lnTo>
                  <a:lnTo>
                    <a:pt x="190" y="244"/>
                  </a:lnTo>
                  <a:lnTo>
                    <a:pt x="194" y="239"/>
                  </a:lnTo>
                  <a:lnTo>
                    <a:pt x="196" y="238"/>
                  </a:lnTo>
                  <a:lnTo>
                    <a:pt x="199" y="236"/>
                  </a:lnTo>
                  <a:lnTo>
                    <a:pt x="205" y="233"/>
                  </a:lnTo>
                  <a:lnTo>
                    <a:pt x="207" y="233"/>
                  </a:lnTo>
                  <a:lnTo>
                    <a:pt x="207" y="233"/>
                  </a:lnTo>
                  <a:lnTo>
                    <a:pt x="211" y="228"/>
                  </a:lnTo>
                  <a:lnTo>
                    <a:pt x="213" y="228"/>
                  </a:lnTo>
                  <a:lnTo>
                    <a:pt x="222" y="224"/>
                  </a:lnTo>
                  <a:lnTo>
                    <a:pt x="225" y="219"/>
                  </a:lnTo>
                  <a:lnTo>
                    <a:pt x="225" y="219"/>
                  </a:lnTo>
                  <a:lnTo>
                    <a:pt x="227" y="218"/>
                  </a:lnTo>
                  <a:lnTo>
                    <a:pt x="228" y="218"/>
                  </a:lnTo>
                  <a:lnTo>
                    <a:pt x="234" y="218"/>
                  </a:lnTo>
                  <a:lnTo>
                    <a:pt x="236" y="218"/>
                  </a:lnTo>
                  <a:lnTo>
                    <a:pt x="236" y="216"/>
                  </a:lnTo>
                  <a:lnTo>
                    <a:pt x="237" y="214"/>
                  </a:lnTo>
                  <a:lnTo>
                    <a:pt x="237" y="214"/>
                  </a:lnTo>
                  <a:lnTo>
                    <a:pt x="237" y="214"/>
                  </a:lnTo>
                  <a:lnTo>
                    <a:pt x="239" y="216"/>
                  </a:lnTo>
                  <a:lnTo>
                    <a:pt x="244" y="221"/>
                  </a:lnTo>
                  <a:lnTo>
                    <a:pt x="256" y="236"/>
                  </a:lnTo>
                  <a:lnTo>
                    <a:pt x="262" y="241"/>
                  </a:lnTo>
                  <a:lnTo>
                    <a:pt x="264" y="244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2" y="247"/>
                  </a:lnTo>
                  <a:lnTo>
                    <a:pt x="259" y="250"/>
                  </a:lnTo>
                  <a:lnTo>
                    <a:pt x="254" y="251"/>
                  </a:lnTo>
                  <a:lnTo>
                    <a:pt x="251" y="253"/>
                  </a:lnTo>
                  <a:lnTo>
                    <a:pt x="250" y="254"/>
                  </a:lnTo>
                  <a:lnTo>
                    <a:pt x="248" y="258"/>
                  </a:lnTo>
                  <a:lnTo>
                    <a:pt x="248" y="261"/>
                  </a:lnTo>
                  <a:lnTo>
                    <a:pt x="250" y="262"/>
                  </a:lnTo>
                  <a:lnTo>
                    <a:pt x="251" y="265"/>
                  </a:lnTo>
                  <a:lnTo>
                    <a:pt x="254" y="270"/>
                  </a:lnTo>
                  <a:lnTo>
                    <a:pt x="259" y="271"/>
                  </a:lnTo>
                  <a:lnTo>
                    <a:pt x="260" y="273"/>
                  </a:lnTo>
                  <a:lnTo>
                    <a:pt x="262" y="278"/>
                  </a:lnTo>
                  <a:lnTo>
                    <a:pt x="264" y="279"/>
                  </a:lnTo>
                  <a:lnTo>
                    <a:pt x="264" y="279"/>
                  </a:lnTo>
                  <a:lnTo>
                    <a:pt x="262" y="281"/>
                  </a:lnTo>
                  <a:lnTo>
                    <a:pt x="262" y="281"/>
                  </a:lnTo>
                  <a:lnTo>
                    <a:pt x="262" y="282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62" y="284"/>
                  </a:lnTo>
                  <a:lnTo>
                    <a:pt x="259" y="285"/>
                  </a:lnTo>
                  <a:lnTo>
                    <a:pt x="245" y="288"/>
                  </a:lnTo>
                  <a:lnTo>
                    <a:pt x="244" y="288"/>
                  </a:lnTo>
                  <a:lnTo>
                    <a:pt x="244" y="288"/>
                  </a:lnTo>
                  <a:lnTo>
                    <a:pt x="244" y="290"/>
                  </a:lnTo>
                  <a:lnTo>
                    <a:pt x="240" y="291"/>
                  </a:lnTo>
                  <a:lnTo>
                    <a:pt x="239" y="293"/>
                  </a:lnTo>
                  <a:lnTo>
                    <a:pt x="239" y="298"/>
                  </a:lnTo>
                  <a:lnTo>
                    <a:pt x="240" y="299"/>
                  </a:lnTo>
                  <a:lnTo>
                    <a:pt x="247" y="304"/>
                  </a:lnTo>
                  <a:lnTo>
                    <a:pt x="256" y="308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1"/>
                  </a:lnTo>
                  <a:lnTo>
                    <a:pt x="257" y="313"/>
                  </a:lnTo>
                  <a:lnTo>
                    <a:pt x="257" y="315"/>
                  </a:lnTo>
                  <a:lnTo>
                    <a:pt x="260" y="318"/>
                  </a:lnTo>
                  <a:lnTo>
                    <a:pt x="262" y="319"/>
                  </a:lnTo>
                  <a:lnTo>
                    <a:pt x="264" y="321"/>
                  </a:lnTo>
                  <a:lnTo>
                    <a:pt x="265" y="321"/>
                  </a:lnTo>
                  <a:lnTo>
                    <a:pt x="270" y="319"/>
                  </a:lnTo>
                  <a:lnTo>
                    <a:pt x="271" y="319"/>
                  </a:lnTo>
                  <a:lnTo>
                    <a:pt x="271" y="321"/>
                  </a:lnTo>
                  <a:lnTo>
                    <a:pt x="273" y="324"/>
                  </a:lnTo>
                  <a:lnTo>
                    <a:pt x="273" y="325"/>
                  </a:lnTo>
                  <a:lnTo>
                    <a:pt x="274" y="325"/>
                  </a:lnTo>
                  <a:lnTo>
                    <a:pt x="276" y="328"/>
                  </a:lnTo>
                  <a:lnTo>
                    <a:pt x="277" y="330"/>
                  </a:lnTo>
                  <a:lnTo>
                    <a:pt x="279" y="331"/>
                  </a:lnTo>
                  <a:lnTo>
                    <a:pt x="281" y="333"/>
                  </a:lnTo>
                  <a:lnTo>
                    <a:pt x="281" y="335"/>
                  </a:lnTo>
                  <a:lnTo>
                    <a:pt x="284" y="338"/>
                  </a:lnTo>
                  <a:lnTo>
                    <a:pt x="285" y="341"/>
                  </a:lnTo>
                  <a:lnTo>
                    <a:pt x="285" y="341"/>
                  </a:lnTo>
                  <a:lnTo>
                    <a:pt x="290" y="341"/>
                  </a:lnTo>
                  <a:lnTo>
                    <a:pt x="291" y="339"/>
                  </a:lnTo>
                  <a:lnTo>
                    <a:pt x="293" y="339"/>
                  </a:lnTo>
                  <a:lnTo>
                    <a:pt x="294" y="338"/>
                  </a:lnTo>
                  <a:lnTo>
                    <a:pt x="296" y="336"/>
                  </a:lnTo>
                  <a:lnTo>
                    <a:pt x="297" y="336"/>
                  </a:lnTo>
                  <a:lnTo>
                    <a:pt x="301" y="336"/>
                  </a:lnTo>
                  <a:lnTo>
                    <a:pt x="305" y="336"/>
                  </a:lnTo>
                  <a:lnTo>
                    <a:pt x="305" y="336"/>
                  </a:lnTo>
                  <a:lnTo>
                    <a:pt x="305" y="321"/>
                  </a:lnTo>
                  <a:lnTo>
                    <a:pt x="305" y="305"/>
                  </a:lnTo>
                  <a:lnTo>
                    <a:pt x="302" y="302"/>
                  </a:lnTo>
                  <a:lnTo>
                    <a:pt x="302" y="301"/>
                  </a:lnTo>
                  <a:lnTo>
                    <a:pt x="302" y="299"/>
                  </a:lnTo>
                  <a:lnTo>
                    <a:pt x="302" y="294"/>
                  </a:lnTo>
                  <a:lnTo>
                    <a:pt x="305" y="296"/>
                  </a:lnTo>
                  <a:lnTo>
                    <a:pt x="307" y="293"/>
                  </a:lnTo>
                  <a:lnTo>
                    <a:pt x="307" y="293"/>
                  </a:lnTo>
                  <a:lnTo>
                    <a:pt x="308" y="290"/>
                  </a:lnTo>
                  <a:lnTo>
                    <a:pt x="308" y="288"/>
                  </a:lnTo>
                  <a:lnTo>
                    <a:pt x="311" y="282"/>
                  </a:lnTo>
                  <a:lnTo>
                    <a:pt x="311" y="279"/>
                  </a:lnTo>
                  <a:lnTo>
                    <a:pt x="310" y="278"/>
                  </a:lnTo>
                  <a:lnTo>
                    <a:pt x="310" y="276"/>
                  </a:lnTo>
                  <a:lnTo>
                    <a:pt x="310" y="271"/>
                  </a:lnTo>
                  <a:lnTo>
                    <a:pt x="310" y="271"/>
                  </a:lnTo>
                  <a:lnTo>
                    <a:pt x="310" y="271"/>
                  </a:lnTo>
                  <a:lnTo>
                    <a:pt x="311" y="270"/>
                  </a:lnTo>
                  <a:lnTo>
                    <a:pt x="311" y="270"/>
                  </a:lnTo>
                  <a:lnTo>
                    <a:pt x="311" y="268"/>
                  </a:lnTo>
                  <a:lnTo>
                    <a:pt x="311" y="268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3" y="265"/>
                  </a:lnTo>
                  <a:lnTo>
                    <a:pt x="313" y="265"/>
                  </a:lnTo>
                  <a:lnTo>
                    <a:pt x="316" y="265"/>
                  </a:lnTo>
                  <a:lnTo>
                    <a:pt x="317" y="265"/>
                  </a:lnTo>
                  <a:lnTo>
                    <a:pt x="319" y="267"/>
                  </a:lnTo>
                  <a:lnTo>
                    <a:pt x="319" y="267"/>
                  </a:lnTo>
                  <a:lnTo>
                    <a:pt x="319" y="271"/>
                  </a:lnTo>
                  <a:lnTo>
                    <a:pt x="319" y="271"/>
                  </a:lnTo>
                  <a:lnTo>
                    <a:pt x="324" y="273"/>
                  </a:lnTo>
                  <a:lnTo>
                    <a:pt x="325" y="273"/>
                  </a:lnTo>
                  <a:lnTo>
                    <a:pt x="325" y="274"/>
                  </a:lnTo>
                  <a:lnTo>
                    <a:pt x="325" y="276"/>
                  </a:lnTo>
                  <a:lnTo>
                    <a:pt x="325" y="279"/>
                  </a:lnTo>
                  <a:lnTo>
                    <a:pt x="324" y="281"/>
                  </a:lnTo>
                  <a:lnTo>
                    <a:pt x="322" y="281"/>
                  </a:lnTo>
                  <a:lnTo>
                    <a:pt x="319" y="281"/>
                  </a:lnTo>
                  <a:lnTo>
                    <a:pt x="319" y="282"/>
                  </a:lnTo>
                  <a:lnTo>
                    <a:pt x="319" y="282"/>
                  </a:lnTo>
                  <a:lnTo>
                    <a:pt x="319" y="284"/>
                  </a:lnTo>
                  <a:lnTo>
                    <a:pt x="319" y="285"/>
                  </a:lnTo>
                  <a:lnTo>
                    <a:pt x="321" y="287"/>
                  </a:lnTo>
                  <a:lnTo>
                    <a:pt x="324" y="285"/>
                  </a:lnTo>
                  <a:lnTo>
                    <a:pt x="330" y="281"/>
                  </a:lnTo>
                  <a:lnTo>
                    <a:pt x="330" y="279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1" y="273"/>
                  </a:lnTo>
                  <a:lnTo>
                    <a:pt x="331" y="270"/>
                  </a:lnTo>
                  <a:lnTo>
                    <a:pt x="331" y="268"/>
                  </a:lnTo>
                  <a:lnTo>
                    <a:pt x="333" y="267"/>
                  </a:lnTo>
                  <a:lnTo>
                    <a:pt x="333" y="256"/>
                  </a:lnTo>
                  <a:lnTo>
                    <a:pt x="333" y="253"/>
                  </a:lnTo>
                  <a:lnTo>
                    <a:pt x="334" y="250"/>
                  </a:lnTo>
                  <a:lnTo>
                    <a:pt x="337" y="250"/>
                  </a:lnTo>
                  <a:lnTo>
                    <a:pt x="341" y="251"/>
                  </a:lnTo>
                  <a:lnTo>
                    <a:pt x="342" y="253"/>
                  </a:lnTo>
                  <a:lnTo>
                    <a:pt x="344" y="254"/>
                  </a:lnTo>
                  <a:lnTo>
                    <a:pt x="345" y="254"/>
                  </a:lnTo>
                  <a:lnTo>
                    <a:pt x="345" y="254"/>
                  </a:lnTo>
                  <a:lnTo>
                    <a:pt x="344" y="253"/>
                  </a:lnTo>
                  <a:lnTo>
                    <a:pt x="342" y="253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2" y="250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5" y="251"/>
                  </a:lnTo>
                  <a:lnTo>
                    <a:pt x="344" y="251"/>
                  </a:lnTo>
                  <a:lnTo>
                    <a:pt x="344" y="250"/>
                  </a:lnTo>
                  <a:lnTo>
                    <a:pt x="345" y="247"/>
                  </a:lnTo>
                  <a:lnTo>
                    <a:pt x="345" y="247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4" y="244"/>
                  </a:lnTo>
                  <a:lnTo>
                    <a:pt x="336" y="238"/>
                  </a:lnTo>
                  <a:lnTo>
                    <a:pt x="336" y="236"/>
                  </a:lnTo>
                  <a:lnTo>
                    <a:pt x="336" y="233"/>
                  </a:lnTo>
                  <a:lnTo>
                    <a:pt x="336" y="231"/>
                  </a:lnTo>
                  <a:lnTo>
                    <a:pt x="337" y="228"/>
                  </a:lnTo>
                  <a:lnTo>
                    <a:pt x="337" y="227"/>
                  </a:lnTo>
                  <a:lnTo>
                    <a:pt x="339" y="225"/>
                  </a:lnTo>
                  <a:lnTo>
                    <a:pt x="339" y="224"/>
                  </a:lnTo>
                  <a:lnTo>
                    <a:pt x="339" y="221"/>
                  </a:lnTo>
                  <a:lnTo>
                    <a:pt x="341" y="219"/>
                  </a:lnTo>
                  <a:lnTo>
                    <a:pt x="344" y="216"/>
                  </a:lnTo>
                  <a:lnTo>
                    <a:pt x="345" y="216"/>
                  </a:lnTo>
                  <a:lnTo>
                    <a:pt x="347" y="214"/>
                  </a:lnTo>
                  <a:lnTo>
                    <a:pt x="347" y="214"/>
                  </a:lnTo>
                  <a:lnTo>
                    <a:pt x="345" y="211"/>
                  </a:lnTo>
                  <a:lnTo>
                    <a:pt x="344" y="210"/>
                  </a:lnTo>
                  <a:lnTo>
                    <a:pt x="345" y="208"/>
                  </a:lnTo>
                  <a:lnTo>
                    <a:pt x="344" y="208"/>
                  </a:lnTo>
                  <a:lnTo>
                    <a:pt x="344" y="208"/>
                  </a:lnTo>
                  <a:lnTo>
                    <a:pt x="345" y="207"/>
                  </a:lnTo>
                  <a:lnTo>
                    <a:pt x="345" y="205"/>
                  </a:lnTo>
                  <a:lnTo>
                    <a:pt x="347" y="205"/>
                  </a:lnTo>
                  <a:lnTo>
                    <a:pt x="347" y="204"/>
                  </a:lnTo>
                  <a:lnTo>
                    <a:pt x="345" y="204"/>
                  </a:lnTo>
                  <a:lnTo>
                    <a:pt x="345" y="204"/>
                  </a:lnTo>
                  <a:lnTo>
                    <a:pt x="345" y="202"/>
                  </a:lnTo>
                  <a:lnTo>
                    <a:pt x="345" y="202"/>
                  </a:lnTo>
                  <a:lnTo>
                    <a:pt x="347" y="201"/>
                  </a:lnTo>
                  <a:lnTo>
                    <a:pt x="347" y="201"/>
                  </a:lnTo>
                  <a:lnTo>
                    <a:pt x="347" y="201"/>
                  </a:lnTo>
                  <a:lnTo>
                    <a:pt x="348" y="199"/>
                  </a:lnTo>
                  <a:lnTo>
                    <a:pt x="347" y="197"/>
                  </a:lnTo>
                  <a:lnTo>
                    <a:pt x="347" y="196"/>
                  </a:lnTo>
                  <a:lnTo>
                    <a:pt x="347" y="194"/>
                  </a:lnTo>
                  <a:lnTo>
                    <a:pt x="347" y="193"/>
                  </a:lnTo>
                  <a:lnTo>
                    <a:pt x="347" y="191"/>
                  </a:lnTo>
                  <a:lnTo>
                    <a:pt x="347" y="191"/>
                  </a:lnTo>
                  <a:lnTo>
                    <a:pt x="348" y="190"/>
                  </a:lnTo>
                  <a:lnTo>
                    <a:pt x="348" y="190"/>
                  </a:lnTo>
                  <a:lnTo>
                    <a:pt x="350" y="188"/>
                  </a:lnTo>
                  <a:lnTo>
                    <a:pt x="350" y="188"/>
                  </a:lnTo>
                  <a:lnTo>
                    <a:pt x="351" y="188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48" y="185"/>
                  </a:lnTo>
                  <a:lnTo>
                    <a:pt x="348" y="185"/>
                  </a:lnTo>
                  <a:lnTo>
                    <a:pt x="347" y="182"/>
                  </a:lnTo>
                  <a:lnTo>
                    <a:pt x="347" y="181"/>
                  </a:lnTo>
                  <a:lnTo>
                    <a:pt x="348" y="179"/>
                  </a:lnTo>
                  <a:lnTo>
                    <a:pt x="351" y="177"/>
                  </a:lnTo>
                  <a:lnTo>
                    <a:pt x="351" y="176"/>
                  </a:lnTo>
                  <a:lnTo>
                    <a:pt x="351" y="174"/>
                  </a:lnTo>
                  <a:lnTo>
                    <a:pt x="351" y="171"/>
                  </a:lnTo>
                  <a:lnTo>
                    <a:pt x="351" y="171"/>
                  </a:lnTo>
                  <a:lnTo>
                    <a:pt x="353" y="170"/>
                  </a:lnTo>
                  <a:lnTo>
                    <a:pt x="356" y="167"/>
                  </a:lnTo>
                  <a:lnTo>
                    <a:pt x="358" y="165"/>
                  </a:lnTo>
                  <a:lnTo>
                    <a:pt x="364" y="164"/>
                  </a:lnTo>
                  <a:lnTo>
                    <a:pt x="368" y="161"/>
                  </a:lnTo>
                  <a:lnTo>
                    <a:pt x="373" y="161"/>
                  </a:lnTo>
                  <a:lnTo>
                    <a:pt x="376" y="159"/>
                  </a:lnTo>
                  <a:lnTo>
                    <a:pt x="378" y="156"/>
                  </a:lnTo>
                  <a:lnTo>
                    <a:pt x="378" y="154"/>
                  </a:lnTo>
                  <a:lnTo>
                    <a:pt x="379" y="151"/>
                  </a:lnTo>
                  <a:lnTo>
                    <a:pt x="381" y="151"/>
                  </a:lnTo>
                  <a:lnTo>
                    <a:pt x="384" y="151"/>
                  </a:lnTo>
                  <a:lnTo>
                    <a:pt x="385" y="153"/>
                  </a:lnTo>
                  <a:lnTo>
                    <a:pt x="385" y="153"/>
                  </a:lnTo>
                  <a:lnTo>
                    <a:pt x="387" y="153"/>
                  </a:lnTo>
                  <a:lnTo>
                    <a:pt x="387" y="154"/>
                  </a:lnTo>
                  <a:lnTo>
                    <a:pt x="388" y="156"/>
                  </a:lnTo>
                  <a:lnTo>
                    <a:pt x="390" y="156"/>
                  </a:lnTo>
                  <a:lnTo>
                    <a:pt x="391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1"/>
                  </a:lnTo>
                  <a:lnTo>
                    <a:pt x="399" y="151"/>
                  </a:lnTo>
                  <a:lnTo>
                    <a:pt x="401" y="151"/>
                  </a:lnTo>
                  <a:lnTo>
                    <a:pt x="402" y="153"/>
                  </a:lnTo>
                  <a:lnTo>
                    <a:pt x="407" y="153"/>
                  </a:lnTo>
                  <a:lnTo>
                    <a:pt x="408" y="154"/>
                  </a:lnTo>
                  <a:lnTo>
                    <a:pt x="410" y="154"/>
                  </a:lnTo>
                  <a:lnTo>
                    <a:pt x="413" y="157"/>
                  </a:lnTo>
                  <a:lnTo>
                    <a:pt x="415" y="161"/>
                  </a:lnTo>
                  <a:lnTo>
                    <a:pt x="416" y="162"/>
                  </a:lnTo>
                  <a:lnTo>
                    <a:pt x="418" y="165"/>
                  </a:lnTo>
                  <a:lnTo>
                    <a:pt x="418" y="164"/>
                  </a:lnTo>
                  <a:lnTo>
                    <a:pt x="418" y="162"/>
                  </a:lnTo>
                  <a:lnTo>
                    <a:pt x="418" y="161"/>
                  </a:lnTo>
                  <a:close/>
                  <a:moveTo>
                    <a:pt x="57" y="127"/>
                  </a:moveTo>
                  <a:lnTo>
                    <a:pt x="56" y="128"/>
                  </a:lnTo>
                  <a:lnTo>
                    <a:pt x="53" y="127"/>
                  </a:lnTo>
                  <a:lnTo>
                    <a:pt x="53" y="127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3" y="124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7" y="122"/>
                  </a:lnTo>
                  <a:lnTo>
                    <a:pt x="59" y="124"/>
                  </a:lnTo>
                  <a:lnTo>
                    <a:pt x="57" y="12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109"/>
            <p:cNvSpPr>
              <a:spLocks/>
            </p:cNvSpPr>
            <p:nvPr/>
          </p:nvSpPr>
          <p:spPr bwMode="gray">
            <a:xfrm>
              <a:off x="6810375" y="6832601"/>
              <a:ext cx="901700" cy="460375"/>
            </a:xfrm>
            <a:custGeom>
              <a:avLst/>
              <a:gdLst>
                <a:gd name="T0" fmla="*/ 554 w 568"/>
                <a:gd name="T1" fmla="*/ 93 h 290"/>
                <a:gd name="T2" fmla="*/ 550 w 568"/>
                <a:gd name="T3" fmla="*/ 77 h 290"/>
                <a:gd name="T4" fmla="*/ 550 w 568"/>
                <a:gd name="T5" fmla="*/ 56 h 290"/>
                <a:gd name="T6" fmla="*/ 531 w 568"/>
                <a:gd name="T7" fmla="*/ 30 h 290"/>
                <a:gd name="T8" fmla="*/ 506 w 568"/>
                <a:gd name="T9" fmla="*/ 31 h 290"/>
                <a:gd name="T10" fmla="*/ 471 w 568"/>
                <a:gd name="T11" fmla="*/ 17 h 290"/>
                <a:gd name="T12" fmla="*/ 434 w 568"/>
                <a:gd name="T13" fmla="*/ 3 h 290"/>
                <a:gd name="T14" fmla="*/ 412 w 568"/>
                <a:gd name="T15" fmla="*/ 0 h 290"/>
                <a:gd name="T16" fmla="*/ 403 w 568"/>
                <a:gd name="T17" fmla="*/ 28 h 290"/>
                <a:gd name="T18" fmla="*/ 382 w 568"/>
                <a:gd name="T19" fmla="*/ 47 h 290"/>
                <a:gd name="T20" fmla="*/ 359 w 568"/>
                <a:gd name="T21" fmla="*/ 50 h 290"/>
                <a:gd name="T22" fmla="*/ 335 w 568"/>
                <a:gd name="T23" fmla="*/ 39 h 290"/>
                <a:gd name="T24" fmla="*/ 319 w 568"/>
                <a:gd name="T25" fmla="*/ 36 h 290"/>
                <a:gd name="T26" fmla="*/ 305 w 568"/>
                <a:gd name="T27" fmla="*/ 50 h 290"/>
                <a:gd name="T28" fmla="*/ 291 w 568"/>
                <a:gd name="T29" fmla="*/ 67 h 290"/>
                <a:gd name="T30" fmla="*/ 242 w 568"/>
                <a:gd name="T31" fmla="*/ 97 h 290"/>
                <a:gd name="T32" fmla="*/ 251 w 568"/>
                <a:gd name="T33" fmla="*/ 119 h 290"/>
                <a:gd name="T34" fmla="*/ 258 w 568"/>
                <a:gd name="T35" fmla="*/ 144 h 290"/>
                <a:gd name="T36" fmla="*/ 260 w 568"/>
                <a:gd name="T37" fmla="*/ 164 h 290"/>
                <a:gd name="T38" fmla="*/ 246 w 568"/>
                <a:gd name="T39" fmla="*/ 165 h 290"/>
                <a:gd name="T40" fmla="*/ 225 w 568"/>
                <a:gd name="T41" fmla="*/ 153 h 290"/>
                <a:gd name="T42" fmla="*/ 200 w 568"/>
                <a:gd name="T43" fmla="*/ 147 h 290"/>
                <a:gd name="T44" fmla="*/ 200 w 568"/>
                <a:gd name="T45" fmla="*/ 153 h 290"/>
                <a:gd name="T46" fmla="*/ 151 w 568"/>
                <a:gd name="T47" fmla="*/ 167 h 290"/>
                <a:gd name="T48" fmla="*/ 126 w 568"/>
                <a:gd name="T49" fmla="*/ 179 h 290"/>
                <a:gd name="T50" fmla="*/ 101 w 568"/>
                <a:gd name="T51" fmla="*/ 167 h 290"/>
                <a:gd name="T52" fmla="*/ 71 w 568"/>
                <a:gd name="T53" fmla="*/ 164 h 290"/>
                <a:gd name="T54" fmla="*/ 67 w 568"/>
                <a:gd name="T55" fmla="*/ 170 h 290"/>
                <a:gd name="T56" fmla="*/ 47 w 568"/>
                <a:gd name="T57" fmla="*/ 193 h 290"/>
                <a:gd name="T58" fmla="*/ 43 w 568"/>
                <a:gd name="T59" fmla="*/ 184 h 290"/>
                <a:gd name="T60" fmla="*/ 34 w 568"/>
                <a:gd name="T61" fmla="*/ 168 h 290"/>
                <a:gd name="T62" fmla="*/ 18 w 568"/>
                <a:gd name="T63" fmla="*/ 159 h 290"/>
                <a:gd name="T64" fmla="*/ 4 w 568"/>
                <a:gd name="T65" fmla="*/ 184 h 290"/>
                <a:gd name="T66" fmla="*/ 4 w 568"/>
                <a:gd name="T67" fmla="*/ 216 h 290"/>
                <a:gd name="T68" fmla="*/ 40 w 568"/>
                <a:gd name="T69" fmla="*/ 238 h 290"/>
                <a:gd name="T70" fmla="*/ 63 w 568"/>
                <a:gd name="T71" fmla="*/ 224 h 290"/>
                <a:gd name="T72" fmla="*/ 91 w 568"/>
                <a:gd name="T73" fmla="*/ 242 h 290"/>
                <a:gd name="T74" fmla="*/ 108 w 568"/>
                <a:gd name="T75" fmla="*/ 247 h 290"/>
                <a:gd name="T76" fmla="*/ 135 w 568"/>
                <a:gd name="T77" fmla="*/ 225 h 290"/>
                <a:gd name="T78" fmla="*/ 151 w 568"/>
                <a:gd name="T79" fmla="*/ 224 h 290"/>
                <a:gd name="T80" fmla="*/ 185 w 568"/>
                <a:gd name="T81" fmla="*/ 217 h 290"/>
                <a:gd name="T82" fmla="*/ 195 w 568"/>
                <a:gd name="T83" fmla="*/ 233 h 290"/>
                <a:gd name="T84" fmla="*/ 208 w 568"/>
                <a:gd name="T85" fmla="*/ 247 h 290"/>
                <a:gd name="T86" fmla="*/ 238 w 568"/>
                <a:gd name="T87" fmla="*/ 262 h 290"/>
                <a:gd name="T88" fmla="*/ 309 w 568"/>
                <a:gd name="T89" fmla="*/ 274 h 290"/>
                <a:gd name="T90" fmla="*/ 360 w 568"/>
                <a:gd name="T91" fmla="*/ 284 h 290"/>
                <a:gd name="T92" fmla="*/ 377 w 568"/>
                <a:gd name="T93" fmla="*/ 284 h 290"/>
                <a:gd name="T94" fmla="*/ 392 w 568"/>
                <a:gd name="T95" fmla="*/ 273 h 290"/>
                <a:gd name="T96" fmla="*/ 423 w 568"/>
                <a:gd name="T97" fmla="*/ 262 h 290"/>
                <a:gd name="T98" fmla="*/ 453 w 568"/>
                <a:gd name="T99" fmla="*/ 258 h 290"/>
                <a:gd name="T100" fmla="*/ 483 w 568"/>
                <a:gd name="T101" fmla="*/ 259 h 290"/>
                <a:gd name="T102" fmla="*/ 489 w 568"/>
                <a:gd name="T103" fmla="*/ 238 h 290"/>
                <a:gd name="T104" fmla="*/ 510 w 568"/>
                <a:gd name="T105" fmla="*/ 222 h 290"/>
                <a:gd name="T106" fmla="*/ 519 w 568"/>
                <a:gd name="T107" fmla="*/ 216 h 290"/>
                <a:gd name="T108" fmla="*/ 513 w 568"/>
                <a:gd name="T109" fmla="*/ 202 h 290"/>
                <a:gd name="T110" fmla="*/ 514 w 568"/>
                <a:gd name="T111" fmla="*/ 184 h 290"/>
                <a:gd name="T112" fmla="*/ 530 w 568"/>
                <a:gd name="T113" fmla="*/ 156 h 290"/>
                <a:gd name="T114" fmla="*/ 520 w 568"/>
                <a:gd name="T115" fmla="*/ 144 h 290"/>
                <a:gd name="T116" fmla="*/ 550 w 568"/>
                <a:gd name="T117" fmla="*/ 148 h 290"/>
                <a:gd name="T118" fmla="*/ 560 w 568"/>
                <a:gd name="T119" fmla="*/ 12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8" h="290">
                  <a:moveTo>
                    <a:pt x="568" y="113"/>
                  </a:moveTo>
                  <a:lnTo>
                    <a:pt x="565" y="111"/>
                  </a:lnTo>
                  <a:lnTo>
                    <a:pt x="563" y="110"/>
                  </a:lnTo>
                  <a:lnTo>
                    <a:pt x="562" y="108"/>
                  </a:lnTo>
                  <a:lnTo>
                    <a:pt x="562" y="107"/>
                  </a:lnTo>
                  <a:lnTo>
                    <a:pt x="560" y="107"/>
                  </a:lnTo>
                  <a:lnTo>
                    <a:pt x="560" y="107"/>
                  </a:lnTo>
                  <a:lnTo>
                    <a:pt x="560" y="104"/>
                  </a:lnTo>
                  <a:lnTo>
                    <a:pt x="562" y="104"/>
                  </a:lnTo>
                  <a:lnTo>
                    <a:pt x="562" y="102"/>
                  </a:lnTo>
                  <a:lnTo>
                    <a:pt x="562" y="100"/>
                  </a:lnTo>
                  <a:lnTo>
                    <a:pt x="560" y="100"/>
                  </a:lnTo>
                  <a:lnTo>
                    <a:pt x="560" y="99"/>
                  </a:lnTo>
                  <a:lnTo>
                    <a:pt x="559" y="97"/>
                  </a:lnTo>
                  <a:lnTo>
                    <a:pt x="557" y="97"/>
                  </a:lnTo>
                  <a:lnTo>
                    <a:pt x="557" y="97"/>
                  </a:lnTo>
                  <a:lnTo>
                    <a:pt x="554" y="94"/>
                  </a:lnTo>
                  <a:lnTo>
                    <a:pt x="554" y="93"/>
                  </a:lnTo>
                  <a:lnTo>
                    <a:pt x="554" y="91"/>
                  </a:lnTo>
                  <a:lnTo>
                    <a:pt x="554" y="88"/>
                  </a:lnTo>
                  <a:lnTo>
                    <a:pt x="553" y="85"/>
                  </a:lnTo>
                  <a:lnTo>
                    <a:pt x="553" y="84"/>
                  </a:lnTo>
                  <a:lnTo>
                    <a:pt x="553" y="84"/>
                  </a:lnTo>
                  <a:lnTo>
                    <a:pt x="553" y="82"/>
                  </a:lnTo>
                  <a:lnTo>
                    <a:pt x="553" y="82"/>
                  </a:lnTo>
                  <a:lnTo>
                    <a:pt x="553" y="82"/>
                  </a:lnTo>
                  <a:lnTo>
                    <a:pt x="551" y="80"/>
                  </a:lnTo>
                  <a:lnTo>
                    <a:pt x="551" y="80"/>
                  </a:lnTo>
                  <a:lnTo>
                    <a:pt x="550" y="80"/>
                  </a:lnTo>
                  <a:lnTo>
                    <a:pt x="550" y="80"/>
                  </a:lnTo>
                  <a:lnTo>
                    <a:pt x="550" y="79"/>
                  </a:lnTo>
                  <a:lnTo>
                    <a:pt x="550" y="79"/>
                  </a:lnTo>
                  <a:lnTo>
                    <a:pt x="550" y="77"/>
                  </a:lnTo>
                  <a:lnTo>
                    <a:pt x="550" y="77"/>
                  </a:lnTo>
                  <a:lnTo>
                    <a:pt x="548" y="77"/>
                  </a:lnTo>
                  <a:lnTo>
                    <a:pt x="550" y="77"/>
                  </a:lnTo>
                  <a:lnTo>
                    <a:pt x="550" y="76"/>
                  </a:lnTo>
                  <a:lnTo>
                    <a:pt x="550" y="76"/>
                  </a:lnTo>
                  <a:lnTo>
                    <a:pt x="550" y="74"/>
                  </a:lnTo>
                  <a:lnTo>
                    <a:pt x="548" y="74"/>
                  </a:lnTo>
                  <a:lnTo>
                    <a:pt x="548" y="73"/>
                  </a:lnTo>
                  <a:lnTo>
                    <a:pt x="546" y="73"/>
                  </a:lnTo>
                  <a:lnTo>
                    <a:pt x="545" y="73"/>
                  </a:lnTo>
                  <a:lnTo>
                    <a:pt x="545" y="73"/>
                  </a:lnTo>
                  <a:lnTo>
                    <a:pt x="545" y="73"/>
                  </a:lnTo>
                  <a:lnTo>
                    <a:pt x="545" y="71"/>
                  </a:lnTo>
                  <a:lnTo>
                    <a:pt x="545" y="70"/>
                  </a:lnTo>
                  <a:lnTo>
                    <a:pt x="545" y="70"/>
                  </a:lnTo>
                  <a:lnTo>
                    <a:pt x="545" y="70"/>
                  </a:lnTo>
                  <a:lnTo>
                    <a:pt x="546" y="64"/>
                  </a:lnTo>
                  <a:lnTo>
                    <a:pt x="546" y="62"/>
                  </a:lnTo>
                  <a:lnTo>
                    <a:pt x="546" y="60"/>
                  </a:lnTo>
                  <a:lnTo>
                    <a:pt x="550" y="57"/>
                  </a:lnTo>
                  <a:lnTo>
                    <a:pt x="550" y="56"/>
                  </a:lnTo>
                  <a:lnTo>
                    <a:pt x="550" y="54"/>
                  </a:lnTo>
                  <a:lnTo>
                    <a:pt x="551" y="54"/>
                  </a:lnTo>
                  <a:lnTo>
                    <a:pt x="553" y="53"/>
                  </a:lnTo>
                  <a:lnTo>
                    <a:pt x="553" y="53"/>
                  </a:lnTo>
                  <a:lnTo>
                    <a:pt x="553" y="51"/>
                  </a:lnTo>
                  <a:lnTo>
                    <a:pt x="553" y="45"/>
                  </a:lnTo>
                  <a:lnTo>
                    <a:pt x="550" y="42"/>
                  </a:lnTo>
                  <a:lnTo>
                    <a:pt x="548" y="34"/>
                  </a:lnTo>
                  <a:lnTo>
                    <a:pt x="546" y="33"/>
                  </a:lnTo>
                  <a:lnTo>
                    <a:pt x="545" y="33"/>
                  </a:lnTo>
                  <a:lnTo>
                    <a:pt x="543" y="33"/>
                  </a:lnTo>
                  <a:lnTo>
                    <a:pt x="542" y="34"/>
                  </a:lnTo>
                  <a:lnTo>
                    <a:pt x="540" y="33"/>
                  </a:lnTo>
                  <a:lnTo>
                    <a:pt x="537" y="31"/>
                  </a:lnTo>
                  <a:lnTo>
                    <a:pt x="536" y="31"/>
                  </a:lnTo>
                  <a:lnTo>
                    <a:pt x="533" y="31"/>
                  </a:lnTo>
                  <a:lnTo>
                    <a:pt x="533" y="31"/>
                  </a:lnTo>
                  <a:lnTo>
                    <a:pt x="531" y="30"/>
                  </a:lnTo>
                  <a:lnTo>
                    <a:pt x="531" y="28"/>
                  </a:lnTo>
                  <a:lnTo>
                    <a:pt x="530" y="27"/>
                  </a:lnTo>
                  <a:lnTo>
                    <a:pt x="530" y="27"/>
                  </a:lnTo>
                  <a:lnTo>
                    <a:pt x="528" y="25"/>
                  </a:lnTo>
                  <a:lnTo>
                    <a:pt x="526" y="25"/>
                  </a:lnTo>
                  <a:lnTo>
                    <a:pt x="522" y="23"/>
                  </a:lnTo>
                  <a:lnTo>
                    <a:pt x="522" y="23"/>
                  </a:lnTo>
                  <a:lnTo>
                    <a:pt x="520" y="23"/>
                  </a:lnTo>
                  <a:lnTo>
                    <a:pt x="520" y="23"/>
                  </a:lnTo>
                  <a:lnTo>
                    <a:pt x="519" y="23"/>
                  </a:lnTo>
                  <a:lnTo>
                    <a:pt x="517" y="23"/>
                  </a:lnTo>
                  <a:lnTo>
                    <a:pt x="516" y="23"/>
                  </a:lnTo>
                  <a:lnTo>
                    <a:pt x="514" y="23"/>
                  </a:lnTo>
                  <a:lnTo>
                    <a:pt x="511" y="31"/>
                  </a:lnTo>
                  <a:lnTo>
                    <a:pt x="510" y="31"/>
                  </a:lnTo>
                  <a:lnTo>
                    <a:pt x="508" y="31"/>
                  </a:lnTo>
                  <a:lnTo>
                    <a:pt x="508" y="31"/>
                  </a:lnTo>
                  <a:lnTo>
                    <a:pt x="506" y="31"/>
                  </a:lnTo>
                  <a:lnTo>
                    <a:pt x="505" y="31"/>
                  </a:lnTo>
                  <a:lnTo>
                    <a:pt x="505" y="31"/>
                  </a:lnTo>
                  <a:lnTo>
                    <a:pt x="496" y="30"/>
                  </a:lnTo>
                  <a:lnTo>
                    <a:pt x="488" y="30"/>
                  </a:lnTo>
                  <a:lnTo>
                    <a:pt x="485" y="28"/>
                  </a:lnTo>
                  <a:lnTo>
                    <a:pt x="477" y="22"/>
                  </a:lnTo>
                  <a:lnTo>
                    <a:pt x="477" y="22"/>
                  </a:lnTo>
                  <a:lnTo>
                    <a:pt x="477" y="22"/>
                  </a:lnTo>
                  <a:lnTo>
                    <a:pt x="476" y="20"/>
                  </a:lnTo>
                  <a:lnTo>
                    <a:pt x="476" y="20"/>
                  </a:lnTo>
                  <a:lnTo>
                    <a:pt x="476" y="20"/>
                  </a:lnTo>
                  <a:lnTo>
                    <a:pt x="474" y="19"/>
                  </a:lnTo>
                  <a:lnTo>
                    <a:pt x="474" y="19"/>
                  </a:lnTo>
                  <a:lnTo>
                    <a:pt x="473" y="20"/>
                  </a:lnTo>
                  <a:lnTo>
                    <a:pt x="474" y="19"/>
                  </a:lnTo>
                  <a:lnTo>
                    <a:pt x="473" y="19"/>
                  </a:lnTo>
                  <a:lnTo>
                    <a:pt x="473" y="19"/>
                  </a:lnTo>
                  <a:lnTo>
                    <a:pt x="471" y="17"/>
                  </a:lnTo>
                  <a:lnTo>
                    <a:pt x="469" y="17"/>
                  </a:lnTo>
                  <a:lnTo>
                    <a:pt x="469" y="17"/>
                  </a:lnTo>
                  <a:lnTo>
                    <a:pt x="469" y="17"/>
                  </a:lnTo>
                  <a:lnTo>
                    <a:pt x="469" y="16"/>
                  </a:lnTo>
                  <a:lnTo>
                    <a:pt x="468" y="16"/>
                  </a:lnTo>
                  <a:lnTo>
                    <a:pt x="466" y="16"/>
                  </a:lnTo>
                  <a:lnTo>
                    <a:pt x="465" y="16"/>
                  </a:lnTo>
                  <a:lnTo>
                    <a:pt x="463" y="17"/>
                  </a:lnTo>
                  <a:lnTo>
                    <a:pt x="462" y="17"/>
                  </a:lnTo>
                  <a:lnTo>
                    <a:pt x="460" y="17"/>
                  </a:lnTo>
                  <a:lnTo>
                    <a:pt x="459" y="17"/>
                  </a:lnTo>
                  <a:lnTo>
                    <a:pt x="453" y="14"/>
                  </a:lnTo>
                  <a:lnTo>
                    <a:pt x="448" y="11"/>
                  </a:lnTo>
                  <a:lnTo>
                    <a:pt x="446" y="11"/>
                  </a:lnTo>
                  <a:lnTo>
                    <a:pt x="442" y="8"/>
                  </a:lnTo>
                  <a:lnTo>
                    <a:pt x="440" y="7"/>
                  </a:lnTo>
                  <a:lnTo>
                    <a:pt x="437" y="7"/>
                  </a:lnTo>
                  <a:lnTo>
                    <a:pt x="434" y="3"/>
                  </a:lnTo>
                  <a:lnTo>
                    <a:pt x="433" y="3"/>
                  </a:lnTo>
                  <a:lnTo>
                    <a:pt x="429" y="3"/>
                  </a:lnTo>
                  <a:lnTo>
                    <a:pt x="428" y="3"/>
                  </a:lnTo>
                  <a:lnTo>
                    <a:pt x="428" y="3"/>
                  </a:lnTo>
                  <a:lnTo>
                    <a:pt x="428" y="2"/>
                  </a:lnTo>
                  <a:lnTo>
                    <a:pt x="428" y="2"/>
                  </a:lnTo>
                  <a:lnTo>
                    <a:pt x="426" y="3"/>
                  </a:lnTo>
                  <a:lnTo>
                    <a:pt x="426" y="5"/>
                  </a:lnTo>
                  <a:lnTo>
                    <a:pt x="426" y="5"/>
                  </a:lnTo>
                  <a:lnTo>
                    <a:pt x="425" y="7"/>
                  </a:lnTo>
                  <a:lnTo>
                    <a:pt x="425" y="7"/>
                  </a:lnTo>
                  <a:lnTo>
                    <a:pt x="419" y="8"/>
                  </a:lnTo>
                  <a:lnTo>
                    <a:pt x="419" y="8"/>
                  </a:lnTo>
                  <a:lnTo>
                    <a:pt x="419" y="7"/>
                  </a:lnTo>
                  <a:lnTo>
                    <a:pt x="419" y="5"/>
                  </a:lnTo>
                  <a:lnTo>
                    <a:pt x="419" y="3"/>
                  </a:lnTo>
                  <a:lnTo>
                    <a:pt x="417" y="2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2"/>
                  </a:lnTo>
                  <a:lnTo>
                    <a:pt x="405" y="3"/>
                  </a:lnTo>
                  <a:lnTo>
                    <a:pt x="405" y="7"/>
                  </a:lnTo>
                  <a:lnTo>
                    <a:pt x="405" y="11"/>
                  </a:lnTo>
                  <a:lnTo>
                    <a:pt x="405" y="14"/>
                  </a:lnTo>
                  <a:lnTo>
                    <a:pt x="403" y="20"/>
                  </a:lnTo>
                  <a:lnTo>
                    <a:pt x="403" y="22"/>
                  </a:lnTo>
                  <a:lnTo>
                    <a:pt x="403" y="23"/>
                  </a:lnTo>
                  <a:lnTo>
                    <a:pt x="403" y="23"/>
                  </a:lnTo>
                  <a:lnTo>
                    <a:pt x="403" y="25"/>
                  </a:lnTo>
                  <a:lnTo>
                    <a:pt x="403" y="25"/>
                  </a:lnTo>
                  <a:lnTo>
                    <a:pt x="403" y="25"/>
                  </a:lnTo>
                  <a:lnTo>
                    <a:pt x="403" y="28"/>
                  </a:lnTo>
                  <a:lnTo>
                    <a:pt x="402" y="28"/>
                  </a:lnTo>
                  <a:lnTo>
                    <a:pt x="397" y="27"/>
                  </a:lnTo>
                  <a:lnTo>
                    <a:pt x="394" y="25"/>
                  </a:lnTo>
                  <a:lnTo>
                    <a:pt x="392" y="27"/>
                  </a:lnTo>
                  <a:lnTo>
                    <a:pt x="392" y="27"/>
                  </a:lnTo>
                  <a:lnTo>
                    <a:pt x="392" y="28"/>
                  </a:lnTo>
                  <a:lnTo>
                    <a:pt x="391" y="30"/>
                  </a:lnTo>
                  <a:lnTo>
                    <a:pt x="391" y="31"/>
                  </a:lnTo>
                  <a:lnTo>
                    <a:pt x="386" y="36"/>
                  </a:lnTo>
                  <a:lnTo>
                    <a:pt x="385" y="37"/>
                  </a:lnTo>
                  <a:lnTo>
                    <a:pt x="385" y="40"/>
                  </a:lnTo>
                  <a:lnTo>
                    <a:pt x="385" y="43"/>
                  </a:lnTo>
                  <a:lnTo>
                    <a:pt x="385" y="47"/>
                  </a:lnTo>
                  <a:lnTo>
                    <a:pt x="385" y="48"/>
                  </a:lnTo>
                  <a:lnTo>
                    <a:pt x="383" y="4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2" y="47"/>
                  </a:lnTo>
                  <a:lnTo>
                    <a:pt x="380" y="45"/>
                  </a:lnTo>
                  <a:lnTo>
                    <a:pt x="380" y="45"/>
                  </a:lnTo>
                  <a:lnTo>
                    <a:pt x="379" y="47"/>
                  </a:lnTo>
                  <a:lnTo>
                    <a:pt x="379" y="47"/>
                  </a:lnTo>
                  <a:lnTo>
                    <a:pt x="377" y="45"/>
                  </a:lnTo>
                  <a:lnTo>
                    <a:pt x="377" y="45"/>
                  </a:lnTo>
                  <a:lnTo>
                    <a:pt x="377" y="43"/>
                  </a:lnTo>
                  <a:lnTo>
                    <a:pt x="377" y="43"/>
                  </a:lnTo>
                  <a:lnTo>
                    <a:pt x="376" y="43"/>
                  </a:lnTo>
                  <a:lnTo>
                    <a:pt x="374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69" y="43"/>
                  </a:lnTo>
                  <a:lnTo>
                    <a:pt x="366" y="40"/>
                  </a:lnTo>
                  <a:lnTo>
                    <a:pt x="366" y="42"/>
                  </a:lnTo>
                  <a:lnTo>
                    <a:pt x="365" y="47"/>
                  </a:lnTo>
                  <a:lnTo>
                    <a:pt x="363" y="48"/>
                  </a:lnTo>
                  <a:lnTo>
                    <a:pt x="359" y="50"/>
                  </a:lnTo>
                  <a:lnTo>
                    <a:pt x="357" y="50"/>
                  </a:lnTo>
                  <a:lnTo>
                    <a:pt x="357" y="51"/>
                  </a:lnTo>
                  <a:lnTo>
                    <a:pt x="357" y="51"/>
                  </a:lnTo>
                  <a:lnTo>
                    <a:pt x="349" y="48"/>
                  </a:lnTo>
                  <a:lnTo>
                    <a:pt x="339" y="47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4" y="43"/>
                  </a:lnTo>
                  <a:lnTo>
                    <a:pt x="334" y="43"/>
                  </a:lnTo>
                  <a:lnTo>
                    <a:pt x="334" y="42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5" y="40"/>
                  </a:lnTo>
                  <a:lnTo>
                    <a:pt x="335" y="40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7"/>
                  </a:lnTo>
                  <a:lnTo>
                    <a:pt x="334" y="36"/>
                  </a:lnTo>
                  <a:lnTo>
                    <a:pt x="332" y="34"/>
                  </a:lnTo>
                  <a:lnTo>
                    <a:pt x="331" y="34"/>
                  </a:lnTo>
                  <a:lnTo>
                    <a:pt x="326" y="31"/>
                  </a:lnTo>
                  <a:lnTo>
                    <a:pt x="325" y="30"/>
                  </a:lnTo>
                  <a:lnTo>
                    <a:pt x="323" y="28"/>
                  </a:lnTo>
                  <a:lnTo>
                    <a:pt x="322" y="28"/>
                  </a:lnTo>
                  <a:lnTo>
                    <a:pt x="319" y="27"/>
                  </a:lnTo>
                  <a:lnTo>
                    <a:pt x="317" y="31"/>
                  </a:lnTo>
                  <a:lnTo>
                    <a:pt x="317" y="33"/>
                  </a:lnTo>
                  <a:lnTo>
                    <a:pt x="317" y="33"/>
                  </a:lnTo>
                  <a:lnTo>
                    <a:pt x="319" y="34"/>
                  </a:lnTo>
                  <a:lnTo>
                    <a:pt x="319" y="34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9" y="40"/>
                  </a:lnTo>
                  <a:lnTo>
                    <a:pt x="319" y="43"/>
                  </a:lnTo>
                  <a:lnTo>
                    <a:pt x="319" y="45"/>
                  </a:lnTo>
                  <a:lnTo>
                    <a:pt x="317" y="47"/>
                  </a:lnTo>
                  <a:lnTo>
                    <a:pt x="317" y="48"/>
                  </a:lnTo>
                  <a:lnTo>
                    <a:pt x="315" y="50"/>
                  </a:lnTo>
                  <a:lnTo>
                    <a:pt x="315" y="50"/>
                  </a:lnTo>
                  <a:lnTo>
                    <a:pt x="315" y="50"/>
                  </a:lnTo>
                  <a:lnTo>
                    <a:pt x="314" y="50"/>
                  </a:lnTo>
                  <a:lnTo>
                    <a:pt x="312" y="50"/>
                  </a:lnTo>
                  <a:lnTo>
                    <a:pt x="312" y="51"/>
                  </a:lnTo>
                  <a:lnTo>
                    <a:pt x="312" y="54"/>
                  </a:lnTo>
                  <a:lnTo>
                    <a:pt x="312" y="54"/>
                  </a:lnTo>
                  <a:lnTo>
                    <a:pt x="309" y="53"/>
                  </a:lnTo>
                  <a:lnTo>
                    <a:pt x="308" y="51"/>
                  </a:lnTo>
                  <a:lnTo>
                    <a:pt x="306" y="51"/>
                  </a:lnTo>
                  <a:lnTo>
                    <a:pt x="305" y="50"/>
                  </a:lnTo>
                  <a:lnTo>
                    <a:pt x="297" y="48"/>
                  </a:lnTo>
                  <a:lnTo>
                    <a:pt x="295" y="48"/>
                  </a:lnTo>
                  <a:lnTo>
                    <a:pt x="292" y="48"/>
                  </a:lnTo>
                  <a:lnTo>
                    <a:pt x="292" y="50"/>
                  </a:lnTo>
                  <a:lnTo>
                    <a:pt x="291" y="50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2" y="53"/>
                  </a:lnTo>
                  <a:lnTo>
                    <a:pt x="292" y="54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1" y="59"/>
                  </a:lnTo>
                  <a:lnTo>
                    <a:pt x="291" y="59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2" y="77"/>
                  </a:lnTo>
                  <a:lnTo>
                    <a:pt x="278" y="79"/>
                  </a:lnTo>
                  <a:lnTo>
                    <a:pt x="269" y="80"/>
                  </a:lnTo>
                  <a:lnTo>
                    <a:pt x="262" y="84"/>
                  </a:lnTo>
                  <a:lnTo>
                    <a:pt x="260" y="85"/>
                  </a:lnTo>
                  <a:lnTo>
                    <a:pt x="257" y="87"/>
                  </a:lnTo>
                  <a:lnTo>
                    <a:pt x="254" y="88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49" y="90"/>
                  </a:lnTo>
                  <a:lnTo>
                    <a:pt x="248" y="91"/>
                  </a:lnTo>
                  <a:lnTo>
                    <a:pt x="248" y="91"/>
                  </a:lnTo>
                  <a:lnTo>
                    <a:pt x="246" y="94"/>
                  </a:lnTo>
                  <a:lnTo>
                    <a:pt x="245" y="94"/>
                  </a:lnTo>
                  <a:lnTo>
                    <a:pt x="242" y="97"/>
                  </a:lnTo>
                  <a:lnTo>
                    <a:pt x="242" y="97"/>
                  </a:lnTo>
                  <a:lnTo>
                    <a:pt x="242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38" y="100"/>
                  </a:lnTo>
                  <a:lnTo>
                    <a:pt x="238" y="102"/>
                  </a:lnTo>
                  <a:lnTo>
                    <a:pt x="240" y="104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6" y="111"/>
                  </a:lnTo>
                  <a:lnTo>
                    <a:pt x="248" y="113"/>
                  </a:lnTo>
                  <a:lnTo>
                    <a:pt x="248" y="114"/>
                  </a:lnTo>
                  <a:lnTo>
                    <a:pt x="248" y="114"/>
                  </a:lnTo>
                  <a:lnTo>
                    <a:pt x="248" y="116"/>
                  </a:lnTo>
                  <a:lnTo>
                    <a:pt x="248" y="117"/>
                  </a:lnTo>
                  <a:lnTo>
                    <a:pt x="249" y="117"/>
                  </a:lnTo>
                  <a:lnTo>
                    <a:pt x="251" y="119"/>
                  </a:lnTo>
                  <a:lnTo>
                    <a:pt x="252" y="120"/>
                  </a:lnTo>
                  <a:lnTo>
                    <a:pt x="254" y="120"/>
                  </a:lnTo>
                  <a:lnTo>
                    <a:pt x="255" y="127"/>
                  </a:lnTo>
                  <a:lnTo>
                    <a:pt x="257" y="130"/>
                  </a:lnTo>
                  <a:lnTo>
                    <a:pt x="258" y="130"/>
                  </a:lnTo>
                  <a:lnTo>
                    <a:pt x="252" y="137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1" y="144"/>
                  </a:lnTo>
                  <a:lnTo>
                    <a:pt x="252" y="145"/>
                  </a:lnTo>
                  <a:lnTo>
                    <a:pt x="255" y="145"/>
                  </a:lnTo>
                  <a:lnTo>
                    <a:pt x="257" y="145"/>
                  </a:lnTo>
                  <a:lnTo>
                    <a:pt x="258" y="144"/>
                  </a:lnTo>
                  <a:lnTo>
                    <a:pt x="260" y="145"/>
                  </a:lnTo>
                  <a:lnTo>
                    <a:pt x="262" y="145"/>
                  </a:lnTo>
                  <a:lnTo>
                    <a:pt x="262" y="147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1"/>
                  </a:lnTo>
                  <a:lnTo>
                    <a:pt x="265" y="153"/>
                  </a:lnTo>
                  <a:lnTo>
                    <a:pt x="263" y="154"/>
                  </a:lnTo>
                  <a:lnTo>
                    <a:pt x="263" y="154"/>
                  </a:lnTo>
                  <a:lnTo>
                    <a:pt x="263" y="157"/>
                  </a:lnTo>
                  <a:lnTo>
                    <a:pt x="263" y="157"/>
                  </a:lnTo>
                  <a:lnTo>
                    <a:pt x="262" y="159"/>
                  </a:lnTo>
                  <a:lnTo>
                    <a:pt x="262" y="159"/>
                  </a:lnTo>
                  <a:lnTo>
                    <a:pt x="262" y="161"/>
                  </a:lnTo>
                  <a:lnTo>
                    <a:pt x="262" y="161"/>
                  </a:lnTo>
                  <a:lnTo>
                    <a:pt x="262" y="162"/>
                  </a:lnTo>
                  <a:lnTo>
                    <a:pt x="260" y="164"/>
                  </a:lnTo>
                  <a:lnTo>
                    <a:pt x="260" y="164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7" y="171"/>
                  </a:lnTo>
                  <a:lnTo>
                    <a:pt x="257" y="171"/>
                  </a:lnTo>
                  <a:lnTo>
                    <a:pt x="257" y="171"/>
                  </a:lnTo>
                  <a:lnTo>
                    <a:pt x="255" y="171"/>
                  </a:lnTo>
                  <a:lnTo>
                    <a:pt x="255" y="171"/>
                  </a:lnTo>
                  <a:lnTo>
                    <a:pt x="254" y="171"/>
                  </a:lnTo>
                  <a:lnTo>
                    <a:pt x="254" y="171"/>
                  </a:lnTo>
                  <a:lnTo>
                    <a:pt x="249" y="168"/>
                  </a:lnTo>
                  <a:lnTo>
                    <a:pt x="246" y="165"/>
                  </a:lnTo>
                  <a:lnTo>
                    <a:pt x="246" y="164"/>
                  </a:lnTo>
                  <a:lnTo>
                    <a:pt x="245" y="164"/>
                  </a:lnTo>
                  <a:lnTo>
                    <a:pt x="245" y="164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3" y="157"/>
                  </a:lnTo>
                  <a:lnTo>
                    <a:pt x="245" y="156"/>
                  </a:lnTo>
                  <a:lnTo>
                    <a:pt x="243" y="154"/>
                  </a:lnTo>
                  <a:lnTo>
                    <a:pt x="242" y="153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5" y="148"/>
                  </a:lnTo>
                  <a:lnTo>
                    <a:pt x="232" y="148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6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3" y="154"/>
                  </a:lnTo>
                  <a:lnTo>
                    <a:pt x="221" y="154"/>
                  </a:lnTo>
                  <a:lnTo>
                    <a:pt x="220" y="153"/>
                  </a:lnTo>
                  <a:lnTo>
                    <a:pt x="218" y="151"/>
                  </a:lnTo>
                  <a:lnTo>
                    <a:pt x="217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15" y="147"/>
                  </a:lnTo>
                  <a:lnTo>
                    <a:pt x="214" y="147"/>
                  </a:lnTo>
                  <a:lnTo>
                    <a:pt x="211" y="148"/>
                  </a:lnTo>
                  <a:lnTo>
                    <a:pt x="211" y="148"/>
                  </a:lnTo>
                  <a:lnTo>
                    <a:pt x="206" y="147"/>
                  </a:lnTo>
                  <a:lnTo>
                    <a:pt x="205" y="147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1" y="148"/>
                  </a:lnTo>
                  <a:lnTo>
                    <a:pt x="200" y="147"/>
                  </a:lnTo>
                  <a:lnTo>
                    <a:pt x="201" y="145"/>
                  </a:lnTo>
                  <a:lnTo>
                    <a:pt x="201" y="145"/>
                  </a:lnTo>
                  <a:lnTo>
                    <a:pt x="201" y="144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4"/>
                  </a:lnTo>
                  <a:lnTo>
                    <a:pt x="200" y="144"/>
                  </a:lnTo>
                  <a:lnTo>
                    <a:pt x="198" y="145"/>
                  </a:lnTo>
                  <a:lnTo>
                    <a:pt x="197" y="145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3"/>
                  </a:lnTo>
                  <a:lnTo>
                    <a:pt x="198" y="154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80" y="156"/>
                  </a:lnTo>
                  <a:lnTo>
                    <a:pt x="174" y="157"/>
                  </a:lnTo>
                  <a:lnTo>
                    <a:pt x="172" y="157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66" y="159"/>
                  </a:lnTo>
                  <a:lnTo>
                    <a:pt x="160" y="159"/>
                  </a:lnTo>
                  <a:lnTo>
                    <a:pt x="157" y="157"/>
                  </a:lnTo>
                  <a:lnTo>
                    <a:pt x="155" y="157"/>
                  </a:lnTo>
                  <a:lnTo>
                    <a:pt x="155" y="159"/>
                  </a:lnTo>
                  <a:lnTo>
                    <a:pt x="154" y="161"/>
                  </a:lnTo>
                  <a:lnTo>
                    <a:pt x="152" y="162"/>
                  </a:lnTo>
                  <a:lnTo>
                    <a:pt x="152" y="164"/>
                  </a:lnTo>
                  <a:lnTo>
                    <a:pt x="152" y="165"/>
                  </a:lnTo>
                  <a:lnTo>
                    <a:pt x="151" y="167"/>
                  </a:lnTo>
                  <a:lnTo>
                    <a:pt x="149" y="167"/>
                  </a:lnTo>
                  <a:lnTo>
                    <a:pt x="146" y="168"/>
                  </a:lnTo>
                  <a:lnTo>
                    <a:pt x="144" y="167"/>
                  </a:lnTo>
                  <a:lnTo>
                    <a:pt x="141" y="167"/>
                  </a:lnTo>
                  <a:lnTo>
                    <a:pt x="140" y="167"/>
                  </a:lnTo>
                  <a:lnTo>
                    <a:pt x="137" y="171"/>
                  </a:lnTo>
                  <a:lnTo>
                    <a:pt x="138" y="171"/>
                  </a:lnTo>
                  <a:lnTo>
                    <a:pt x="138" y="173"/>
                  </a:lnTo>
                  <a:lnTo>
                    <a:pt x="138" y="173"/>
                  </a:lnTo>
                  <a:lnTo>
                    <a:pt x="138" y="174"/>
                  </a:lnTo>
                  <a:lnTo>
                    <a:pt x="137" y="174"/>
                  </a:lnTo>
                  <a:lnTo>
                    <a:pt x="134" y="174"/>
                  </a:lnTo>
                  <a:lnTo>
                    <a:pt x="132" y="174"/>
                  </a:lnTo>
                  <a:lnTo>
                    <a:pt x="131" y="176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8" y="179"/>
                  </a:lnTo>
                  <a:lnTo>
                    <a:pt x="126" y="179"/>
                  </a:lnTo>
                  <a:lnTo>
                    <a:pt x="126" y="176"/>
                  </a:lnTo>
                  <a:lnTo>
                    <a:pt x="124" y="176"/>
                  </a:lnTo>
                  <a:lnTo>
                    <a:pt x="121" y="176"/>
                  </a:lnTo>
                  <a:lnTo>
                    <a:pt x="117" y="179"/>
                  </a:lnTo>
                  <a:lnTo>
                    <a:pt x="115" y="181"/>
                  </a:lnTo>
                  <a:lnTo>
                    <a:pt x="108" y="181"/>
                  </a:lnTo>
                  <a:lnTo>
                    <a:pt x="108" y="179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8" y="176"/>
                  </a:lnTo>
                  <a:lnTo>
                    <a:pt x="108" y="176"/>
                  </a:lnTo>
                  <a:lnTo>
                    <a:pt x="106" y="176"/>
                  </a:lnTo>
                  <a:lnTo>
                    <a:pt x="103" y="171"/>
                  </a:lnTo>
                  <a:lnTo>
                    <a:pt x="98" y="170"/>
                  </a:lnTo>
                  <a:lnTo>
                    <a:pt x="98" y="168"/>
                  </a:lnTo>
                  <a:lnTo>
                    <a:pt x="101" y="167"/>
                  </a:lnTo>
                  <a:lnTo>
                    <a:pt x="101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7" y="165"/>
                  </a:lnTo>
                  <a:lnTo>
                    <a:pt x="94" y="167"/>
                  </a:lnTo>
                  <a:lnTo>
                    <a:pt x="92" y="167"/>
                  </a:lnTo>
                  <a:lnTo>
                    <a:pt x="91" y="167"/>
                  </a:lnTo>
                  <a:lnTo>
                    <a:pt x="91" y="165"/>
                  </a:lnTo>
                  <a:lnTo>
                    <a:pt x="91" y="165"/>
                  </a:lnTo>
                  <a:lnTo>
                    <a:pt x="91" y="165"/>
                  </a:lnTo>
                  <a:lnTo>
                    <a:pt x="80" y="161"/>
                  </a:lnTo>
                  <a:lnTo>
                    <a:pt x="78" y="161"/>
                  </a:lnTo>
                  <a:lnTo>
                    <a:pt x="78" y="162"/>
                  </a:lnTo>
                  <a:lnTo>
                    <a:pt x="77" y="164"/>
                  </a:lnTo>
                  <a:lnTo>
                    <a:pt x="75" y="165"/>
                  </a:lnTo>
                  <a:lnTo>
                    <a:pt x="74" y="165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69" y="162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7" y="159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7" y="162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6" y="168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9" y="171"/>
                  </a:lnTo>
                  <a:lnTo>
                    <a:pt x="69" y="173"/>
                  </a:lnTo>
                  <a:lnTo>
                    <a:pt x="69" y="174"/>
                  </a:lnTo>
                  <a:lnTo>
                    <a:pt x="67" y="177"/>
                  </a:lnTo>
                  <a:lnTo>
                    <a:pt x="67" y="179"/>
                  </a:lnTo>
                  <a:lnTo>
                    <a:pt x="66" y="181"/>
                  </a:lnTo>
                  <a:lnTo>
                    <a:pt x="64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4"/>
                  </a:lnTo>
                  <a:lnTo>
                    <a:pt x="61" y="187"/>
                  </a:lnTo>
                  <a:lnTo>
                    <a:pt x="60" y="188"/>
                  </a:lnTo>
                  <a:lnTo>
                    <a:pt x="58" y="190"/>
                  </a:lnTo>
                  <a:lnTo>
                    <a:pt x="55" y="191"/>
                  </a:lnTo>
                  <a:lnTo>
                    <a:pt x="54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1"/>
                  </a:lnTo>
                  <a:lnTo>
                    <a:pt x="47" y="191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51" y="184"/>
                  </a:lnTo>
                  <a:lnTo>
                    <a:pt x="51" y="182"/>
                  </a:lnTo>
                  <a:lnTo>
                    <a:pt x="49" y="181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44" y="182"/>
                  </a:lnTo>
                  <a:lnTo>
                    <a:pt x="43" y="182"/>
                  </a:lnTo>
                  <a:lnTo>
                    <a:pt x="43" y="184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0" y="182"/>
                  </a:lnTo>
                  <a:lnTo>
                    <a:pt x="40" y="181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1" y="177"/>
                  </a:lnTo>
                  <a:lnTo>
                    <a:pt x="41" y="176"/>
                  </a:lnTo>
                  <a:lnTo>
                    <a:pt x="40" y="174"/>
                  </a:lnTo>
                  <a:lnTo>
                    <a:pt x="37" y="170"/>
                  </a:lnTo>
                  <a:lnTo>
                    <a:pt x="37" y="170"/>
                  </a:lnTo>
                  <a:lnTo>
                    <a:pt x="35" y="170"/>
                  </a:lnTo>
                  <a:lnTo>
                    <a:pt x="35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68"/>
                  </a:lnTo>
                  <a:lnTo>
                    <a:pt x="34" y="167"/>
                  </a:lnTo>
                  <a:lnTo>
                    <a:pt x="32" y="167"/>
                  </a:lnTo>
                  <a:lnTo>
                    <a:pt x="32" y="165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29" y="165"/>
                  </a:lnTo>
                  <a:lnTo>
                    <a:pt x="27" y="164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3" y="164"/>
                  </a:lnTo>
                  <a:lnTo>
                    <a:pt x="23" y="164"/>
                  </a:lnTo>
                  <a:lnTo>
                    <a:pt x="21" y="164"/>
                  </a:lnTo>
                  <a:lnTo>
                    <a:pt x="21" y="162"/>
                  </a:lnTo>
                  <a:lnTo>
                    <a:pt x="21" y="161"/>
                  </a:lnTo>
                  <a:lnTo>
                    <a:pt x="21" y="159"/>
                  </a:lnTo>
                  <a:lnTo>
                    <a:pt x="20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4" y="164"/>
                  </a:lnTo>
                  <a:lnTo>
                    <a:pt x="14" y="165"/>
                  </a:lnTo>
                  <a:lnTo>
                    <a:pt x="10" y="165"/>
                  </a:lnTo>
                  <a:lnTo>
                    <a:pt x="6" y="165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1" y="167"/>
                  </a:lnTo>
                  <a:lnTo>
                    <a:pt x="1" y="167"/>
                  </a:lnTo>
                  <a:lnTo>
                    <a:pt x="4" y="170"/>
                  </a:lnTo>
                  <a:lnTo>
                    <a:pt x="7" y="171"/>
                  </a:lnTo>
                  <a:lnTo>
                    <a:pt x="9" y="173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6" y="184"/>
                  </a:lnTo>
                  <a:lnTo>
                    <a:pt x="4" y="184"/>
                  </a:lnTo>
                  <a:lnTo>
                    <a:pt x="4" y="187"/>
                  </a:lnTo>
                  <a:lnTo>
                    <a:pt x="4" y="187"/>
                  </a:lnTo>
                  <a:lnTo>
                    <a:pt x="1" y="190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1" y="196"/>
                  </a:lnTo>
                  <a:lnTo>
                    <a:pt x="1" y="197"/>
                  </a:lnTo>
                  <a:lnTo>
                    <a:pt x="1" y="199"/>
                  </a:lnTo>
                  <a:lnTo>
                    <a:pt x="1" y="199"/>
                  </a:lnTo>
                  <a:lnTo>
                    <a:pt x="3" y="201"/>
                  </a:lnTo>
                  <a:lnTo>
                    <a:pt x="3" y="202"/>
                  </a:lnTo>
                  <a:lnTo>
                    <a:pt x="1" y="204"/>
                  </a:lnTo>
                  <a:lnTo>
                    <a:pt x="1" y="205"/>
                  </a:lnTo>
                  <a:lnTo>
                    <a:pt x="4" y="205"/>
                  </a:lnTo>
                  <a:lnTo>
                    <a:pt x="6" y="208"/>
                  </a:lnTo>
                  <a:lnTo>
                    <a:pt x="6" y="211"/>
                  </a:lnTo>
                  <a:lnTo>
                    <a:pt x="6" y="214"/>
                  </a:lnTo>
                  <a:lnTo>
                    <a:pt x="4" y="216"/>
                  </a:lnTo>
                  <a:lnTo>
                    <a:pt x="6" y="217"/>
                  </a:lnTo>
                  <a:lnTo>
                    <a:pt x="9" y="216"/>
                  </a:lnTo>
                  <a:lnTo>
                    <a:pt x="10" y="216"/>
                  </a:lnTo>
                  <a:lnTo>
                    <a:pt x="24" y="221"/>
                  </a:lnTo>
                  <a:lnTo>
                    <a:pt x="24" y="222"/>
                  </a:lnTo>
                  <a:lnTo>
                    <a:pt x="24" y="222"/>
                  </a:lnTo>
                  <a:lnTo>
                    <a:pt x="26" y="222"/>
                  </a:lnTo>
                  <a:lnTo>
                    <a:pt x="26" y="222"/>
                  </a:lnTo>
                  <a:lnTo>
                    <a:pt x="26" y="224"/>
                  </a:lnTo>
                  <a:lnTo>
                    <a:pt x="26" y="225"/>
                  </a:lnTo>
                  <a:lnTo>
                    <a:pt x="24" y="227"/>
                  </a:lnTo>
                  <a:lnTo>
                    <a:pt x="24" y="228"/>
                  </a:lnTo>
                  <a:lnTo>
                    <a:pt x="24" y="230"/>
                  </a:lnTo>
                  <a:lnTo>
                    <a:pt x="26" y="230"/>
                  </a:lnTo>
                  <a:lnTo>
                    <a:pt x="27" y="231"/>
                  </a:lnTo>
                  <a:lnTo>
                    <a:pt x="35" y="234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7" y="239"/>
                  </a:lnTo>
                  <a:lnTo>
                    <a:pt x="51" y="238"/>
                  </a:lnTo>
                  <a:lnTo>
                    <a:pt x="51" y="236"/>
                  </a:lnTo>
                  <a:lnTo>
                    <a:pt x="51" y="234"/>
                  </a:lnTo>
                  <a:lnTo>
                    <a:pt x="51" y="234"/>
                  </a:lnTo>
                  <a:lnTo>
                    <a:pt x="52" y="233"/>
                  </a:lnTo>
                  <a:lnTo>
                    <a:pt x="52" y="231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7" y="231"/>
                  </a:lnTo>
                  <a:lnTo>
                    <a:pt x="57" y="228"/>
                  </a:lnTo>
                  <a:lnTo>
                    <a:pt x="58" y="227"/>
                  </a:lnTo>
                  <a:lnTo>
                    <a:pt x="60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6" y="227"/>
                  </a:lnTo>
                  <a:lnTo>
                    <a:pt x="69" y="228"/>
                  </a:lnTo>
                  <a:lnTo>
                    <a:pt x="69" y="230"/>
                  </a:lnTo>
                  <a:lnTo>
                    <a:pt x="69" y="231"/>
                  </a:lnTo>
                  <a:lnTo>
                    <a:pt x="69" y="234"/>
                  </a:lnTo>
                  <a:lnTo>
                    <a:pt x="69" y="238"/>
                  </a:lnTo>
                  <a:lnTo>
                    <a:pt x="71" y="239"/>
                  </a:lnTo>
                  <a:lnTo>
                    <a:pt x="74" y="239"/>
                  </a:lnTo>
                  <a:lnTo>
                    <a:pt x="81" y="238"/>
                  </a:lnTo>
                  <a:lnTo>
                    <a:pt x="83" y="238"/>
                  </a:lnTo>
                  <a:lnTo>
                    <a:pt x="84" y="238"/>
                  </a:lnTo>
                  <a:lnTo>
                    <a:pt x="91" y="241"/>
                  </a:lnTo>
                  <a:lnTo>
                    <a:pt x="91" y="242"/>
                  </a:lnTo>
                  <a:lnTo>
                    <a:pt x="91" y="244"/>
                  </a:lnTo>
                  <a:lnTo>
                    <a:pt x="89" y="244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1" y="245"/>
                  </a:lnTo>
                  <a:lnTo>
                    <a:pt x="92" y="245"/>
                  </a:lnTo>
                  <a:lnTo>
                    <a:pt x="94" y="247"/>
                  </a:lnTo>
                  <a:lnTo>
                    <a:pt x="95" y="247"/>
                  </a:lnTo>
                  <a:lnTo>
                    <a:pt x="97" y="247"/>
                  </a:lnTo>
                  <a:lnTo>
                    <a:pt x="97" y="247"/>
                  </a:lnTo>
                  <a:lnTo>
                    <a:pt x="98" y="247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101" y="248"/>
                  </a:lnTo>
                  <a:lnTo>
                    <a:pt x="103" y="247"/>
                  </a:lnTo>
                  <a:lnTo>
                    <a:pt x="104" y="247"/>
                  </a:lnTo>
                  <a:lnTo>
                    <a:pt x="108" y="247"/>
                  </a:lnTo>
                  <a:lnTo>
                    <a:pt x="108" y="248"/>
                  </a:lnTo>
                  <a:lnTo>
                    <a:pt x="109" y="248"/>
                  </a:lnTo>
                  <a:lnTo>
                    <a:pt x="111" y="247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14" y="244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14" y="241"/>
                  </a:lnTo>
                  <a:lnTo>
                    <a:pt x="114" y="241"/>
                  </a:lnTo>
                  <a:lnTo>
                    <a:pt x="115" y="238"/>
                  </a:lnTo>
                  <a:lnTo>
                    <a:pt x="115" y="233"/>
                  </a:lnTo>
                  <a:lnTo>
                    <a:pt x="117" y="233"/>
                  </a:lnTo>
                  <a:lnTo>
                    <a:pt x="121" y="227"/>
                  </a:lnTo>
                  <a:lnTo>
                    <a:pt x="123" y="227"/>
                  </a:lnTo>
                  <a:lnTo>
                    <a:pt x="128" y="225"/>
                  </a:lnTo>
                  <a:lnTo>
                    <a:pt x="132" y="224"/>
                  </a:lnTo>
                  <a:lnTo>
                    <a:pt x="135" y="225"/>
                  </a:lnTo>
                  <a:lnTo>
                    <a:pt x="138" y="225"/>
                  </a:lnTo>
                  <a:lnTo>
                    <a:pt x="140" y="225"/>
                  </a:lnTo>
                  <a:lnTo>
                    <a:pt x="143" y="224"/>
                  </a:lnTo>
                  <a:lnTo>
                    <a:pt x="143" y="224"/>
                  </a:lnTo>
                  <a:lnTo>
                    <a:pt x="143" y="222"/>
                  </a:lnTo>
                  <a:lnTo>
                    <a:pt x="144" y="222"/>
                  </a:lnTo>
                  <a:lnTo>
                    <a:pt x="144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9" y="224"/>
                  </a:lnTo>
                  <a:lnTo>
                    <a:pt x="149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2" y="222"/>
                  </a:lnTo>
                  <a:lnTo>
                    <a:pt x="154" y="222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60" y="224"/>
                  </a:lnTo>
                  <a:lnTo>
                    <a:pt x="163" y="225"/>
                  </a:lnTo>
                  <a:lnTo>
                    <a:pt x="165" y="225"/>
                  </a:lnTo>
                  <a:lnTo>
                    <a:pt x="165" y="225"/>
                  </a:lnTo>
                  <a:lnTo>
                    <a:pt x="166" y="224"/>
                  </a:lnTo>
                  <a:lnTo>
                    <a:pt x="168" y="224"/>
                  </a:lnTo>
                  <a:lnTo>
                    <a:pt x="171" y="224"/>
                  </a:lnTo>
                  <a:lnTo>
                    <a:pt x="174" y="221"/>
                  </a:lnTo>
                  <a:lnTo>
                    <a:pt x="177" y="219"/>
                  </a:lnTo>
                  <a:lnTo>
                    <a:pt x="180" y="219"/>
                  </a:lnTo>
                  <a:lnTo>
                    <a:pt x="185" y="217"/>
                  </a:lnTo>
                  <a:lnTo>
                    <a:pt x="192" y="214"/>
                  </a:lnTo>
                  <a:lnTo>
                    <a:pt x="194" y="214"/>
                  </a:lnTo>
                  <a:lnTo>
                    <a:pt x="197" y="213"/>
                  </a:lnTo>
                  <a:lnTo>
                    <a:pt x="200" y="214"/>
                  </a:lnTo>
                  <a:lnTo>
                    <a:pt x="200" y="216"/>
                  </a:lnTo>
                  <a:lnTo>
                    <a:pt x="198" y="217"/>
                  </a:lnTo>
                  <a:lnTo>
                    <a:pt x="197" y="219"/>
                  </a:lnTo>
                  <a:lnTo>
                    <a:pt x="194" y="222"/>
                  </a:lnTo>
                  <a:lnTo>
                    <a:pt x="192" y="224"/>
                  </a:lnTo>
                  <a:lnTo>
                    <a:pt x="192" y="225"/>
                  </a:lnTo>
                  <a:lnTo>
                    <a:pt x="194" y="225"/>
                  </a:lnTo>
                  <a:lnTo>
                    <a:pt x="194" y="228"/>
                  </a:lnTo>
                  <a:lnTo>
                    <a:pt x="194" y="230"/>
                  </a:lnTo>
                  <a:lnTo>
                    <a:pt x="195" y="230"/>
                  </a:lnTo>
                  <a:lnTo>
                    <a:pt x="195" y="231"/>
                  </a:lnTo>
                  <a:lnTo>
                    <a:pt x="194" y="233"/>
                  </a:lnTo>
                  <a:lnTo>
                    <a:pt x="194" y="233"/>
                  </a:lnTo>
                  <a:lnTo>
                    <a:pt x="195" y="233"/>
                  </a:lnTo>
                  <a:lnTo>
                    <a:pt x="197" y="233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6"/>
                  </a:lnTo>
                  <a:lnTo>
                    <a:pt x="200" y="236"/>
                  </a:lnTo>
                  <a:lnTo>
                    <a:pt x="203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1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4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5" y="247"/>
                  </a:lnTo>
                  <a:lnTo>
                    <a:pt x="205" y="247"/>
                  </a:lnTo>
                  <a:lnTo>
                    <a:pt x="206" y="247"/>
                  </a:lnTo>
                  <a:lnTo>
                    <a:pt x="208" y="247"/>
                  </a:lnTo>
                  <a:lnTo>
                    <a:pt x="209" y="248"/>
                  </a:lnTo>
                  <a:lnTo>
                    <a:pt x="211" y="250"/>
                  </a:lnTo>
                  <a:lnTo>
                    <a:pt x="212" y="254"/>
                  </a:lnTo>
                  <a:lnTo>
                    <a:pt x="214" y="256"/>
                  </a:lnTo>
                  <a:lnTo>
                    <a:pt x="217" y="258"/>
                  </a:lnTo>
                  <a:lnTo>
                    <a:pt x="218" y="258"/>
                  </a:lnTo>
                  <a:lnTo>
                    <a:pt x="221" y="258"/>
                  </a:lnTo>
                  <a:lnTo>
                    <a:pt x="223" y="259"/>
                  </a:lnTo>
                  <a:lnTo>
                    <a:pt x="225" y="261"/>
                  </a:lnTo>
                  <a:lnTo>
                    <a:pt x="226" y="261"/>
                  </a:lnTo>
                  <a:lnTo>
                    <a:pt x="231" y="261"/>
                  </a:lnTo>
                  <a:lnTo>
                    <a:pt x="234" y="261"/>
                  </a:lnTo>
                  <a:lnTo>
                    <a:pt x="234" y="261"/>
                  </a:lnTo>
                  <a:lnTo>
                    <a:pt x="234" y="261"/>
                  </a:lnTo>
                  <a:lnTo>
                    <a:pt x="235" y="262"/>
                  </a:lnTo>
                  <a:lnTo>
                    <a:pt x="237" y="262"/>
                  </a:lnTo>
                  <a:lnTo>
                    <a:pt x="237" y="262"/>
                  </a:lnTo>
                  <a:lnTo>
                    <a:pt x="238" y="262"/>
                  </a:lnTo>
                  <a:lnTo>
                    <a:pt x="238" y="261"/>
                  </a:lnTo>
                  <a:lnTo>
                    <a:pt x="240" y="262"/>
                  </a:lnTo>
                  <a:lnTo>
                    <a:pt x="242" y="262"/>
                  </a:lnTo>
                  <a:lnTo>
                    <a:pt x="246" y="265"/>
                  </a:lnTo>
                  <a:lnTo>
                    <a:pt x="263" y="267"/>
                  </a:lnTo>
                  <a:lnTo>
                    <a:pt x="269" y="268"/>
                  </a:lnTo>
                  <a:lnTo>
                    <a:pt x="274" y="270"/>
                  </a:lnTo>
                  <a:lnTo>
                    <a:pt x="275" y="271"/>
                  </a:lnTo>
                  <a:lnTo>
                    <a:pt x="278" y="271"/>
                  </a:lnTo>
                  <a:lnTo>
                    <a:pt x="286" y="270"/>
                  </a:lnTo>
                  <a:lnTo>
                    <a:pt x="289" y="270"/>
                  </a:lnTo>
                  <a:lnTo>
                    <a:pt x="294" y="270"/>
                  </a:lnTo>
                  <a:lnTo>
                    <a:pt x="294" y="270"/>
                  </a:lnTo>
                  <a:lnTo>
                    <a:pt x="295" y="271"/>
                  </a:lnTo>
                  <a:lnTo>
                    <a:pt x="295" y="271"/>
                  </a:lnTo>
                  <a:lnTo>
                    <a:pt x="300" y="271"/>
                  </a:lnTo>
                  <a:lnTo>
                    <a:pt x="308" y="274"/>
                  </a:lnTo>
                  <a:lnTo>
                    <a:pt x="309" y="274"/>
                  </a:lnTo>
                  <a:lnTo>
                    <a:pt x="311" y="274"/>
                  </a:lnTo>
                  <a:lnTo>
                    <a:pt x="312" y="274"/>
                  </a:lnTo>
                  <a:lnTo>
                    <a:pt x="317" y="276"/>
                  </a:lnTo>
                  <a:lnTo>
                    <a:pt x="317" y="276"/>
                  </a:lnTo>
                  <a:lnTo>
                    <a:pt x="323" y="274"/>
                  </a:lnTo>
                  <a:lnTo>
                    <a:pt x="325" y="276"/>
                  </a:lnTo>
                  <a:lnTo>
                    <a:pt x="331" y="279"/>
                  </a:lnTo>
                  <a:lnTo>
                    <a:pt x="332" y="279"/>
                  </a:lnTo>
                  <a:lnTo>
                    <a:pt x="334" y="279"/>
                  </a:lnTo>
                  <a:lnTo>
                    <a:pt x="335" y="279"/>
                  </a:lnTo>
                  <a:lnTo>
                    <a:pt x="337" y="279"/>
                  </a:lnTo>
                  <a:lnTo>
                    <a:pt x="339" y="279"/>
                  </a:lnTo>
                  <a:lnTo>
                    <a:pt x="339" y="279"/>
                  </a:lnTo>
                  <a:lnTo>
                    <a:pt x="343" y="284"/>
                  </a:lnTo>
                  <a:lnTo>
                    <a:pt x="343" y="284"/>
                  </a:lnTo>
                  <a:lnTo>
                    <a:pt x="345" y="284"/>
                  </a:lnTo>
                  <a:lnTo>
                    <a:pt x="351" y="284"/>
                  </a:lnTo>
                  <a:lnTo>
                    <a:pt x="360" y="284"/>
                  </a:lnTo>
                  <a:lnTo>
                    <a:pt x="362" y="284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5" y="285"/>
                  </a:lnTo>
                  <a:lnTo>
                    <a:pt x="365" y="285"/>
                  </a:lnTo>
                  <a:lnTo>
                    <a:pt x="366" y="285"/>
                  </a:lnTo>
                  <a:lnTo>
                    <a:pt x="368" y="287"/>
                  </a:lnTo>
                  <a:lnTo>
                    <a:pt x="371" y="285"/>
                  </a:lnTo>
                  <a:lnTo>
                    <a:pt x="371" y="287"/>
                  </a:lnTo>
                  <a:lnTo>
                    <a:pt x="372" y="288"/>
                  </a:lnTo>
                  <a:lnTo>
                    <a:pt x="372" y="290"/>
                  </a:lnTo>
                  <a:lnTo>
                    <a:pt x="374" y="290"/>
                  </a:lnTo>
                  <a:lnTo>
                    <a:pt x="376" y="288"/>
                  </a:lnTo>
                  <a:lnTo>
                    <a:pt x="376" y="287"/>
                  </a:lnTo>
                  <a:lnTo>
                    <a:pt x="376" y="285"/>
                  </a:lnTo>
                  <a:lnTo>
                    <a:pt x="377" y="284"/>
                  </a:lnTo>
                  <a:lnTo>
                    <a:pt x="377" y="284"/>
                  </a:lnTo>
                  <a:lnTo>
                    <a:pt x="379" y="284"/>
                  </a:lnTo>
                  <a:lnTo>
                    <a:pt x="380" y="284"/>
                  </a:lnTo>
                  <a:lnTo>
                    <a:pt x="380" y="282"/>
                  </a:lnTo>
                  <a:lnTo>
                    <a:pt x="382" y="281"/>
                  </a:lnTo>
                  <a:lnTo>
                    <a:pt x="383" y="281"/>
                  </a:lnTo>
                  <a:lnTo>
                    <a:pt x="383" y="281"/>
                  </a:lnTo>
                  <a:lnTo>
                    <a:pt x="383" y="281"/>
                  </a:lnTo>
                  <a:lnTo>
                    <a:pt x="385" y="281"/>
                  </a:lnTo>
                  <a:lnTo>
                    <a:pt x="385" y="279"/>
                  </a:lnTo>
                  <a:lnTo>
                    <a:pt x="385" y="278"/>
                  </a:lnTo>
                  <a:lnTo>
                    <a:pt x="386" y="278"/>
                  </a:lnTo>
                  <a:lnTo>
                    <a:pt x="386" y="278"/>
                  </a:lnTo>
                  <a:lnTo>
                    <a:pt x="388" y="278"/>
                  </a:lnTo>
                  <a:lnTo>
                    <a:pt x="389" y="278"/>
                  </a:lnTo>
                  <a:lnTo>
                    <a:pt x="391" y="276"/>
                  </a:lnTo>
                  <a:lnTo>
                    <a:pt x="391" y="276"/>
                  </a:lnTo>
                  <a:lnTo>
                    <a:pt x="392" y="274"/>
                  </a:lnTo>
                  <a:lnTo>
                    <a:pt x="392" y="273"/>
                  </a:lnTo>
                  <a:lnTo>
                    <a:pt x="394" y="271"/>
                  </a:lnTo>
                  <a:lnTo>
                    <a:pt x="394" y="270"/>
                  </a:lnTo>
                  <a:lnTo>
                    <a:pt x="396" y="268"/>
                  </a:lnTo>
                  <a:lnTo>
                    <a:pt x="396" y="265"/>
                  </a:lnTo>
                  <a:lnTo>
                    <a:pt x="397" y="265"/>
                  </a:lnTo>
                  <a:lnTo>
                    <a:pt x="399" y="265"/>
                  </a:lnTo>
                  <a:lnTo>
                    <a:pt x="400" y="265"/>
                  </a:lnTo>
                  <a:lnTo>
                    <a:pt x="400" y="265"/>
                  </a:lnTo>
                  <a:lnTo>
                    <a:pt x="402" y="264"/>
                  </a:lnTo>
                  <a:lnTo>
                    <a:pt x="402" y="264"/>
                  </a:lnTo>
                  <a:lnTo>
                    <a:pt x="403" y="264"/>
                  </a:lnTo>
                  <a:lnTo>
                    <a:pt x="405" y="265"/>
                  </a:lnTo>
                  <a:lnTo>
                    <a:pt x="408" y="262"/>
                  </a:lnTo>
                  <a:lnTo>
                    <a:pt x="412" y="261"/>
                  </a:lnTo>
                  <a:lnTo>
                    <a:pt x="414" y="261"/>
                  </a:lnTo>
                  <a:lnTo>
                    <a:pt x="416" y="261"/>
                  </a:lnTo>
                  <a:lnTo>
                    <a:pt x="420" y="262"/>
                  </a:lnTo>
                  <a:lnTo>
                    <a:pt x="423" y="262"/>
                  </a:lnTo>
                  <a:lnTo>
                    <a:pt x="433" y="261"/>
                  </a:lnTo>
                  <a:lnTo>
                    <a:pt x="436" y="261"/>
                  </a:lnTo>
                  <a:lnTo>
                    <a:pt x="439" y="262"/>
                  </a:lnTo>
                  <a:lnTo>
                    <a:pt x="440" y="264"/>
                  </a:lnTo>
                  <a:lnTo>
                    <a:pt x="440" y="264"/>
                  </a:lnTo>
                  <a:lnTo>
                    <a:pt x="442" y="264"/>
                  </a:lnTo>
                  <a:lnTo>
                    <a:pt x="443" y="264"/>
                  </a:lnTo>
                  <a:lnTo>
                    <a:pt x="445" y="262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1"/>
                  </a:lnTo>
                  <a:lnTo>
                    <a:pt x="446" y="261"/>
                  </a:lnTo>
                  <a:lnTo>
                    <a:pt x="446" y="259"/>
                  </a:lnTo>
                  <a:lnTo>
                    <a:pt x="448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3" y="258"/>
                  </a:lnTo>
                  <a:lnTo>
                    <a:pt x="454" y="258"/>
                  </a:lnTo>
                  <a:lnTo>
                    <a:pt x="454" y="258"/>
                  </a:lnTo>
                  <a:lnTo>
                    <a:pt x="454" y="256"/>
                  </a:lnTo>
                  <a:lnTo>
                    <a:pt x="454" y="254"/>
                  </a:lnTo>
                  <a:lnTo>
                    <a:pt x="454" y="253"/>
                  </a:lnTo>
                  <a:lnTo>
                    <a:pt x="456" y="254"/>
                  </a:lnTo>
                  <a:lnTo>
                    <a:pt x="462" y="254"/>
                  </a:lnTo>
                  <a:lnTo>
                    <a:pt x="463" y="254"/>
                  </a:lnTo>
                  <a:lnTo>
                    <a:pt x="466" y="254"/>
                  </a:lnTo>
                  <a:lnTo>
                    <a:pt x="468" y="253"/>
                  </a:lnTo>
                  <a:lnTo>
                    <a:pt x="471" y="253"/>
                  </a:lnTo>
                  <a:lnTo>
                    <a:pt x="473" y="253"/>
                  </a:lnTo>
                  <a:lnTo>
                    <a:pt x="477" y="256"/>
                  </a:lnTo>
                  <a:lnTo>
                    <a:pt x="480" y="256"/>
                  </a:lnTo>
                  <a:lnTo>
                    <a:pt x="482" y="256"/>
                  </a:lnTo>
                  <a:lnTo>
                    <a:pt x="483" y="259"/>
                  </a:lnTo>
                  <a:lnTo>
                    <a:pt x="483" y="259"/>
                  </a:lnTo>
                  <a:lnTo>
                    <a:pt x="483" y="259"/>
                  </a:lnTo>
                  <a:lnTo>
                    <a:pt x="483" y="256"/>
                  </a:lnTo>
                  <a:lnTo>
                    <a:pt x="482" y="254"/>
                  </a:lnTo>
                  <a:lnTo>
                    <a:pt x="480" y="253"/>
                  </a:lnTo>
                  <a:lnTo>
                    <a:pt x="480" y="250"/>
                  </a:lnTo>
                  <a:lnTo>
                    <a:pt x="480" y="248"/>
                  </a:lnTo>
                  <a:lnTo>
                    <a:pt x="480" y="247"/>
                  </a:lnTo>
                  <a:lnTo>
                    <a:pt x="480" y="247"/>
                  </a:lnTo>
                  <a:lnTo>
                    <a:pt x="480" y="244"/>
                  </a:lnTo>
                  <a:lnTo>
                    <a:pt x="480" y="242"/>
                  </a:lnTo>
                  <a:lnTo>
                    <a:pt x="480" y="242"/>
                  </a:lnTo>
                  <a:lnTo>
                    <a:pt x="480" y="242"/>
                  </a:lnTo>
                  <a:lnTo>
                    <a:pt x="480" y="241"/>
                  </a:lnTo>
                  <a:lnTo>
                    <a:pt x="480" y="241"/>
                  </a:lnTo>
                  <a:lnTo>
                    <a:pt x="483" y="241"/>
                  </a:lnTo>
                  <a:lnTo>
                    <a:pt x="485" y="241"/>
                  </a:lnTo>
                  <a:lnTo>
                    <a:pt x="486" y="239"/>
                  </a:lnTo>
                  <a:lnTo>
                    <a:pt x="489" y="238"/>
                  </a:lnTo>
                  <a:lnTo>
                    <a:pt x="489" y="238"/>
                  </a:lnTo>
                  <a:lnTo>
                    <a:pt x="491" y="236"/>
                  </a:lnTo>
                  <a:lnTo>
                    <a:pt x="494" y="233"/>
                  </a:lnTo>
                  <a:lnTo>
                    <a:pt x="494" y="231"/>
                  </a:lnTo>
                  <a:lnTo>
                    <a:pt x="496" y="230"/>
                  </a:lnTo>
                  <a:lnTo>
                    <a:pt x="499" y="230"/>
                  </a:lnTo>
                  <a:lnTo>
                    <a:pt x="499" y="228"/>
                  </a:lnTo>
                  <a:lnTo>
                    <a:pt x="499" y="228"/>
                  </a:lnTo>
                  <a:lnTo>
                    <a:pt x="499" y="228"/>
                  </a:lnTo>
                  <a:lnTo>
                    <a:pt x="499" y="227"/>
                  </a:lnTo>
                  <a:lnTo>
                    <a:pt x="499" y="227"/>
                  </a:lnTo>
                  <a:lnTo>
                    <a:pt x="500" y="225"/>
                  </a:lnTo>
                  <a:lnTo>
                    <a:pt x="500" y="225"/>
                  </a:lnTo>
                  <a:lnTo>
                    <a:pt x="502" y="225"/>
                  </a:lnTo>
                  <a:lnTo>
                    <a:pt x="502" y="224"/>
                  </a:lnTo>
                  <a:lnTo>
                    <a:pt x="502" y="222"/>
                  </a:lnTo>
                  <a:lnTo>
                    <a:pt x="503" y="222"/>
                  </a:lnTo>
                  <a:lnTo>
                    <a:pt x="506" y="222"/>
                  </a:lnTo>
                  <a:lnTo>
                    <a:pt x="510" y="222"/>
                  </a:lnTo>
                  <a:lnTo>
                    <a:pt x="511" y="222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7" y="224"/>
                  </a:lnTo>
                  <a:lnTo>
                    <a:pt x="519" y="222"/>
                  </a:lnTo>
                  <a:lnTo>
                    <a:pt x="517" y="222"/>
                  </a:lnTo>
                  <a:lnTo>
                    <a:pt x="517" y="221"/>
                  </a:lnTo>
                  <a:lnTo>
                    <a:pt x="516" y="221"/>
                  </a:lnTo>
                  <a:lnTo>
                    <a:pt x="514" y="221"/>
                  </a:lnTo>
                  <a:lnTo>
                    <a:pt x="514" y="219"/>
                  </a:lnTo>
                  <a:lnTo>
                    <a:pt x="517" y="217"/>
                  </a:lnTo>
                  <a:lnTo>
                    <a:pt x="519" y="217"/>
                  </a:lnTo>
                  <a:lnTo>
                    <a:pt x="519" y="216"/>
                  </a:lnTo>
                  <a:lnTo>
                    <a:pt x="519" y="216"/>
                  </a:lnTo>
                  <a:lnTo>
                    <a:pt x="517" y="216"/>
                  </a:lnTo>
                  <a:lnTo>
                    <a:pt x="516" y="214"/>
                  </a:lnTo>
                  <a:lnTo>
                    <a:pt x="516" y="214"/>
                  </a:lnTo>
                  <a:lnTo>
                    <a:pt x="516" y="213"/>
                  </a:lnTo>
                  <a:lnTo>
                    <a:pt x="517" y="211"/>
                  </a:lnTo>
                  <a:lnTo>
                    <a:pt x="519" y="208"/>
                  </a:lnTo>
                  <a:lnTo>
                    <a:pt x="520" y="208"/>
                  </a:lnTo>
                  <a:lnTo>
                    <a:pt x="519" y="207"/>
                  </a:lnTo>
                  <a:lnTo>
                    <a:pt x="517" y="207"/>
                  </a:lnTo>
                  <a:lnTo>
                    <a:pt x="516" y="207"/>
                  </a:lnTo>
                  <a:lnTo>
                    <a:pt x="514" y="207"/>
                  </a:lnTo>
                  <a:lnTo>
                    <a:pt x="514" y="207"/>
                  </a:lnTo>
                  <a:lnTo>
                    <a:pt x="514" y="204"/>
                  </a:lnTo>
                  <a:lnTo>
                    <a:pt x="514" y="204"/>
                  </a:lnTo>
                  <a:lnTo>
                    <a:pt x="514" y="202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2"/>
                  </a:lnTo>
                  <a:lnTo>
                    <a:pt x="513" y="201"/>
                  </a:lnTo>
                  <a:lnTo>
                    <a:pt x="514" y="197"/>
                  </a:lnTo>
                  <a:lnTo>
                    <a:pt x="513" y="196"/>
                  </a:lnTo>
                  <a:lnTo>
                    <a:pt x="513" y="196"/>
                  </a:lnTo>
                  <a:lnTo>
                    <a:pt x="516" y="194"/>
                  </a:lnTo>
                  <a:lnTo>
                    <a:pt x="517" y="194"/>
                  </a:lnTo>
                  <a:lnTo>
                    <a:pt x="517" y="193"/>
                  </a:lnTo>
                  <a:lnTo>
                    <a:pt x="517" y="191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79"/>
                  </a:lnTo>
                  <a:lnTo>
                    <a:pt x="514" y="177"/>
                  </a:lnTo>
                  <a:lnTo>
                    <a:pt x="516" y="177"/>
                  </a:lnTo>
                  <a:lnTo>
                    <a:pt x="517" y="179"/>
                  </a:lnTo>
                  <a:lnTo>
                    <a:pt x="517" y="181"/>
                  </a:lnTo>
                  <a:lnTo>
                    <a:pt x="525" y="176"/>
                  </a:lnTo>
                  <a:lnTo>
                    <a:pt x="528" y="174"/>
                  </a:lnTo>
                  <a:lnTo>
                    <a:pt x="530" y="173"/>
                  </a:lnTo>
                  <a:lnTo>
                    <a:pt x="530" y="168"/>
                  </a:lnTo>
                  <a:lnTo>
                    <a:pt x="530" y="168"/>
                  </a:lnTo>
                  <a:lnTo>
                    <a:pt x="533" y="167"/>
                  </a:lnTo>
                  <a:lnTo>
                    <a:pt x="533" y="165"/>
                  </a:lnTo>
                  <a:lnTo>
                    <a:pt x="533" y="164"/>
                  </a:lnTo>
                  <a:lnTo>
                    <a:pt x="533" y="162"/>
                  </a:lnTo>
                  <a:lnTo>
                    <a:pt x="531" y="162"/>
                  </a:lnTo>
                  <a:lnTo>
                    <a:pt x="530" y="161"/>
                  </a:lnTo>
                  <a:lnTo>
                    <a:pt x="531" y="159"/>
                  </a:lnTo>
                  <a:lnTo>
                    <a:pt x="530" y="156"/>
                  </a:lnTo>
                  <a:lnTo>
                    <a:pt x="528" y="154"/>
                  </a:lnTo>
                  <a:lnTo>
                    <a:pt x="526" y="154"/>
                  </a:lnTo>
                  <a:lnTo>
                    <a:pt x="525" y="154"/>
                  </a:lnTo>
                  <a:lnTo>
                    <a:pt x="520" y="153"/>
                  </a:lnTo>
                  <a:lnTo>
                    <a:pt x="517" y="153"/>
                  </a:lnTo>
                  <a:lnTo>
                    <a:pt x="514" y="151"/>
                  </a:lnTo>
                  <a:lnTo>
                    <a:pt x="513" y="150"/>
                  </a:lnTo>
                  <a:lnTo>
                    <a:pt x="513" y="150"/>
                  </a:lnTo>
                  <a:lnTo>
                    <a:pt x="514" y="148"/>
                  </a:lnTo>
                  <a:lnTo>
                    <a:pt x="514" y="147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7" y="147"/>
                  </a:lnTo>
                  <a:lnTo>
                    <a:pt x="520" y="145"/>
                  </a:lnTo>
                  <a:lnTo>
                    <a:pt x="520" y="145"/>
                  </a:lnTo>
                  <a:lnTo>
                    <a:pt x="520" y="144"/>
                  </a:lnTo>
                  <a:lnTo>
                    <a:pt x="520" y="142"/>
                  </a:lnTo>
                  <a:lnTo>
                    <a:pt x="522" y="140"/>
                  </a:lnTo>
                  <a:lnTo>
                    <a:pt x="523" y="140"/>
                  </a:lnTo>
                  <a:lnTo>
                    <a:pt x="526" y="140"/>
                  </a:lnTo>
                  <a:lnTo>
                    <a:pt x="533" y="142"/>
                  </a:lnTo>
                  <a:lnTo>
                    <a:pt x="534" y="144"/>
                  </a:lnTo>
                  <a:lnTo>
                    <a:pt x="534" y="144"/>
                  </a:lnTo>
                  <a:lnTo>
                    <a:pt x="534" y="145"/>
                  </a:lnTo>
                  <a:lnTo>
                    <a:pt x="536" y="147"/>
                  </a:lnTo>
                  <a:lnTo>
                    <a:pt x="536" y="148"/>
                  </a:lnTo>
                  <a:lnTo>
                    <a:pt x="537" y="148"/>
                  </a:lnTo>
                  <a:lnTo>
                    <a:pt x="542" y="148"/>
                  </a:lnTo>
                  <a:lnTo>
                    <a:pt x="542" y="148"/>
                  </a:lnTo>
                  <a:lnTo>
                    <a:pt x="543" y="148"/>
                  </a:lnTo>
                  <a:lnTo>
                    <a:pt x="543" y="145"/>
                  </a:lnTo>
                  <a:lnTo>
                    <a:pt x="545" y="145"/>
                  </a:lnTo>
                  <a:lnTo>
                    <a:pt x="546" y="147"/>
                  </a:lnTo>
                  <a:lnTo>
                    <a:pt x="550" y="148"/>
                  </a:lnTo>
                  <a:lnTo>
                    <a:pt x="554" y="147"/>
                  </a:lnTo>
                  <a:lnTo>
                    <a:pt x="560" y="145"/>
                  </a:lnTo>
                  <a:lnTo>
                    <a:pt x="562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2"/>
                  </a:lnTo>
                  <a:lnTo>
                    <a:pt x="560" y="139"/>
                  </a:lnTo>
                  <a:lnTo>
                    <a:pt x="559" y="137"/>
                  </a:lnTo>
                  <a:lnTo>
                    <a:pt x="559" y="134"/>
                  </a:lnTo>
                  <a:lnTo>
                    <a:pt x="560" y="133"/>
                  </a:lnTo>
                  <a:lnTo>
                    <a:pt x="560" y="133"/>
                  </a:lnTo>
                  <a:lnTo>
                    <a:pt x="559" y="131"/>
                  </a:lnTo>
                  <a:lnTo>
                    <a:pt x="559" y="130"/>
                  </a:lnTo>
                  <a:lnTo>
                    <a:pt x="557" y="130"/>
                  </a:lnTo>
                  <a:lnTo>
                    <a:pt x="557" y="130"/>
                  </a:lnTo>
                  <a:lnTo>
                    <a:pt x="557" y="128"/>
                  </a:lnTo>
                  <a:lnTo>
                    <a:pt x="557" y="128"/>
                  </a:lnTo>
                  <a:lnTo>
                    <a:pt x="560" y="127"/>
                  </a:lnTo>
                  <a:lnTo>
                    <a:pt x="562" y="127"/>
                  </a:lnTo>
                  <a:lnTo>
                    <a:pt x="562" y="125"/>
                  </a:lnTo>
                  <a:lnTo>
                    <a:pt x="562" y="124"/>
                  </a:lnTo>
                  <a:lnTo>
                    <a:pt x="563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3" y="119"/>
                  </a:lnTo>
                  <a:lnTo>
                    <a:pt x="563" y="119"/>
                  </a:lnTo>
                  <a:lnTo>
                    <a:pt x="563" y="119"/>
                  </a:lnTo>
                  <a:lnTo>
                    <a:pt x="563" y="117"/>
                  </a:lnTo>
                  <a:lnTo>
                    <a:pt x="563" y="117"/>
                  </a:lnTo>
                  <a:lnTo>
                    <a:pt x="562" y="116"/>
                  </a:lnTo>
                  <a:lnTo>
                    <a:pt x="568" y="11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110"/>
            <p:cNvSpPr>
              <a:spLocks/>
            </p:cNvSpPr>
            <p:nvPr/>
          </p:nvSpPr>
          <p:spPr bwMode="gray">
            <a:xfrm>
              <a:off x="6810375" y="6832601"/>
              <a:ext cx="901700" cy="460375"/>
            </a:xfrm>
            <a:custGeom>
              <a:avLst/>
              <a:gdLst>
                <a:gd name="T0" fmla="*/ 554 w 568"/>
                <a:gd name="T1" fmla="*/ 93 h 290"/>
                <a:gd name="T2" fmla="*/ 550 w 568"/>
                <a:gd name="T3" fmla="*/ 77 h 290"/>
                <a:gd name="T4" fmla="*/ 550 w 568"/>
                <a:gd name="T5" fmla="*/ 56 h 290"/>
                <a:gd name="T6" fmla="*/ 531 w 568"/>
                <a:gd name="T7" fmla="*/ 30 h 290"/>
                <a:gd name="T8" fmla="*/ 506 w 568"/>
                <a:gd name="T9" fmla="*/ 31 h 290"/>
                <a:gd name="T10" fmla="*/ 471 w 568"/>
                <a:gd name="T11" fmla="*/ 17 h 290"/>
                <a:gd name="T12" fmla="*/ 434 w 568"/>
                <a:gd name="T13" fmla="*/ 3 h 290"/>
                <a:gd name="T14" fmla="*/ 412 w 568"/>
                <a:gd name="T15" fmla="*/ 0 h 290"/>
                <a:gd name="T16" fmla="*/ 403 w 568"/>
                <a:gd name="T17" fmla="*/ 28 h 290"/>
                <a:gd name="T18" fmla="*/ 382 w 568"/>
                <a:gd name="T19" fmla="*/ 47 h 290"/>
                <a:gd name="T20" fmla="*/ 359 w 568"/>
                <a:gd name="T21" fmla="*/ 50 h 290"/>
                <a:gd name="T22" fmla="*/ 335 w 568"/>
                <a:gd name="T23" fmla="*/ 39 h 290"/>
                <a:gd name="T24" fmla="*/ 319 w 568"/>
                <a:gd name="T25" fmla="*/ 36 h 290"/>
                <a:gd name="T26" fmla="*/ 305 w 568"/>
                <a:gd name="T27" fmla="*/ 50 h 290"/>
                <a:gd name="T28" fmla="*/ 291 w 568"/>
                <a:gd name="T29" fmla="*/ 67 h 290"/>
                <a:gd name="T30" fmla="*/ 242 w 568"/>
                <a:gd name="T31" fmla="*/ 97 h 290"/>
                <a:gd name="T32" fmla="*/ 251 w 568"/>
                <a:gd name="T33" fmla="*/ 119 h 290"/>
                <a:gd name="T34" fmla="*/ 258 w 568"/>
                <a:gd name="T35" fmla="*/ 144 h 290"/>
                <a:gd name="T36" fmla="*/ 260 w 568"/>
                <a:gd name="T37" fmla="*/ 164 h 290"/>
                <a:gd name="T38" fmla="*/ 246 w 568"/>
                <a:gd name="T39" fmla="*/ 165 h 290"/>
                <a:gd name="T40" fmla="*/ 225 w 568"/>
                <a:gd name="T41" fmla="*/ 153 h 290"/>
                <a:gd name="T42" fmla="*/ 200 w 568"/>
                <a:gd name="T43" fmla="*/ 147 h 290"/>
                <a:gd name="T44" fmla="*/ 200 w 568"/>
                <a:gd name="T45" fmla="*/ 153 h 290"/>
                <a:gd name="T46" fmla="*/ 151 w 568"/>
                <a:gd name="T47" fmla="*/ 167 h 290"/>
                <a:gd name="T48" fmla="*/ 126 w 568"/>
                <a:gd name="T49" fmla="*/ 179 h 290"/>
                <a:gd name="T50" fmla="*/ 101 w 568"/>
                <a:gd name="T51" fmla="*/ 167 h 290"/>
                <a:gd name="T52" fmla="*/ 71 w 568"/>
                <a:gd name="T53" fmla="*/ 164 h 290"/>
                <a:gd name="T54" fmla="*/ 67 w 568"/>
                <a:gd name="T55" fmla="*/ 170 h 290"/>
                <a:gd name="T56" fmla="*/ 47 w 568"/>
                <a:gd name="T57" fmla="*/ 193 h 290"/>
                <a:gd name="T58" fmla="*/ 43 w 568"/>
                <a:gd name="T59" fmla="*/ 184 h 290"/>
                <a:gd name="T60" fmla="*/ 34 w 568"/>
                <a:gd name="T61" fmla="*/ 168 h 290"/>
                <a:gd name="T62" fmla="*/ 18 w 568"/>
                <a:gd name="T63" fmla="*/ 159 h 290"/>
                <a:gd name="T64" fmla="*/ 4 w 568"/>
                <a:gd name="T65" fmla="*/ 184 h 290"/>
                <a:gd name="T66" fmla="*/ 4 w 568"/>
                <a:gd name="T67" fmla="*/ 216 h 290"/>
                <a:gd name="T68" fmla="*/ 40 w 568"/>
                <a:gd name="T69" fmla="*/ 238 h 290"/>
                <a:gd name="T70" fmla="*/ 63 w 568"/>
                <a:gd name="T71" fmla="*/ 224 h 290"/>
                <a:gd name="T72" fmla="*/ 91 w 568"/>
                <a:gd name="T73" fmla="*/ 242 h 290"/>
                <a:gd name="T74" fmla="*/ 108 w 568"/>
                <a:gd name="T75" fmla="*/ 247 h 290"/>
                <a:gd name="T76" fmla="*/ 135 w 568"/>
                <a:gd name="T77" fmla="*/ 225 h 290"/>
                <a:gd name="T78" fmla="*/ 151 w 568"/>
                <a:gd name="T79" fmla="*/ 224 h 290"/>
                <a:gd name="T80" fmla="*/ 185 w 568"/>
                <a:gd name="T81" fmla="*/ 217 h 290"/>
                <a:gd name="T82" fmla="*/ 195 w 568"/>
                <a:gd name="T83" fmla="*/ 233 h 290"/>
                <a:gd name="T84" fmla="*/ 208 w 568"/>
                <a:gd name="T85" fmla="*/ 247 h 290"/>
                <a:gd name="T86" fmla="*/ 238 w 568"/>
                <a:gd name="T87" fmla="*/ 262 h 290"/>
                <a:gd name="T88" fmla="*/ 309 w 568"/>
                <a:gd name="T89" fmla="*/ 274 h 290"/>
                <a:gd name="T90" fmla="*/ 360 w 568"/>
                <a:gd name="T91" fmla="*/ 284 h 290"/>
                <a:gd name="T92" fmla="*/ 377 w 568"/>
                <a:gd name="T93" fmla="*/ 284 h 290"/>
                <a:gd name="T94" fmla="*/ 392 w 568"/>
                <a:gd name="T95" fmla="*/ 273 h 290"/>
                <a:gd name="T96" fmla="*/ 423 w 568"/>
                <a:gd name="T97" fmla="*/ 262 h 290"/>
                <a:gd name="T98" fmla="*/ 453 w 568"/>
                <a:gd name="T99" fmla="*/ 258 h 290"/>
                <a:gd name="T100" fmla="*/ 483 w 568"/>
                <a:gd name="T101" fmla="*/ 259 h 290"/>
                <a:gd name="T102" fmla="*/ 489 w 568"/>
                <a:gd name="T103" fmla="*/ 238 h 290"/>
                <a:gd name="T104" fmla="*/ 510 w 568"/>
                <a:gd name="T105" fmla="*/ 222 h 290"/>
                <a:gd name="T106" fmla="*/ 519 w 568"/>
                <a:gd name="T107" fmla="*/ 216 h 290"/>
                <a:gd name="T108" fmla="*/ 513 w 568"/>
                <a:gd name="T109" fmla="*/ 202 h 290"/>
                <a:gd name="T110" fmla="*/ 514 w 568"/>
                <a:gd name="T111" fmla="*/ 184 h 290"/>
                <a:gd name="T112" fmla="*/ 530 w 568"/>
                <a:gd name="T113" fmla="*/ 156 h 290"/>
                <a:gd name="T114" fmla="*/ 520 w 568"/>
                <a:gd name="T115" fmla="*/ 144 h 290"/>
                <a:gd name="T116" fmla="*/ 550 w 568"/>
                <a:gd name="T117" fmla="*/ 148 h 290"/>
                <a:gd name="T118" fmla="*/ 560 w 568"/>
                <a:gd name="T119" fmla="*/ 12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8" h="290">
                  <a:moveTo>
                    <a:pt x="568" y="113"/>
                  </a:moveTo>
                  <a:lnTo>
                    <a:pt x="565" y="111"/>
                  </a:lnTo>
                  <a:lnTo>
                    <a:pt x="563" y="110"/>
                  </a:lnTo>
                  <a:lnTo>
                    <a:pt x="562" y="108"/>
                  </a:lnTo>
                  <a:lnTo>
                    <a:pt x="562" y="107"/>
                  </a:lnTo>
                  <a:lnTo>
                    <a:pt x="560" y="107"/>
                  </a:lnTo>
                  <a:lnTo>
                    <a:pt x="560" y="107"/>
                  </a:lnTo>
                  <a:lnTo>
                    <a:pt x="560" y="104"/>
                  </a:lnTo>
                  <a:lnTo>
                    <a:pt x="562" y="104"/>
                  </a:lnTo>
                  <a:lnTo>
                    <a:pt x="562" y="102"/>
                  </a:lnTo>
                  <a:lnTo>
                    <a:pt x="562" y="100"/>
                  </a:lnTo>
                  <a:lnTo>
                    <a:pt x="560" y="100"/>
                  </a:lnTo>
                  <a:lnTo>
                    <a:pt x="560" y="99"/>
                  </a:lnTo>
                  <a:lnTo>
                    <a:pt x="559" y="97"/>
                  </a:lnTo>
                  <a:lnTo>
                    <a:pt x="557" y="97"/>
                  </a:lnTo>
                  <a:lnTo>
                    <a:pt x="557" y="97"/>
                  </a:lnTo>
                  <a:lnTo>
                    <a:pt x="554" y="94"/>
                  </a:lnTo>
                  <a:lnTo>
                    <a:pt x="554" y="93"/>
                  </a:lnTo>
                  <a:lnTo>
                    <a:pt x="554" y="91"/>
                  </a:lnTo>
                  <a:lnTo>
                    <a:pt x="554" y="88"/>
                  </a:lnTo>
                  <a:lnTo>
                    <a:pt x="553" y="85"/>
                  </a:lnTo>
                  <a:lnTo>
                    <a:pt x="553" y="84"/>
                  </a:lnTo>
                  <a:lnTo>
                    <a:pt x="553" y="84"/>
                  </a:lnTo>
                  <a:lnTo>
                    <a:pt x="553" y="82"/>
                  </a:lnTo>
                  <a:lnTo>
                    <a:pt x="553" y="82"/>
                  </a:lnTo>
                  <a:lnTo>
                    <a:pt x="553" y="82"/>
                  </a:lnTo>
                  <a:lnTo>
                    <a:pt x="551" y="80"/>
                  </a:lnTo>
                  <a:lnTo>
                    <a:pt x="551" y="80"/>
                  </a:lnTo>
                  <a:lnTo>
                    <a:pt x="550" y="80"/>
                  </a:lnTo>
                  <a:lnTo>
                    <a:pt x="550" y="80"/>
                  </a:lnTo>
                  <a:lnTo>
                    <a:pt x="550" y="79"/>
                  </a:lnTo>
                  <a:lnTo>
                    <a:pt x="550" y="79"/>
                  </a:lnTo>
                  <a:lnTo>
                    <a:pt x="550" y="77"/>
                  </a:lnTo>
                  <a:lnTo>
                    <a:pt x="550" y="77"/>
                  </a:lnTo>
                  <a:lnTo>
                    <a:pt x="548" y="77"/>
                  </a:lnTo>
                  <a:lnTo>
                    <a:pt x="550" y="77"/>
                  </a:lnTo>
                  <a:lnTo>
                    <a:pt x="550" y="76"/>
                  </a:lnTo>
                  <a:lnTo>
                    <a:pt x="550" y="76"/>
                  </a:lnTo>
                  <a:lnTo>
                    <a:pt x="550" y="74"/>
                  </a:lnTo>
                  <a:lnTo>
                    <a:pt x="548" y="74"/>
                  </a:lnTo>
                  <a:lnTo>
                    <a:pt x="548" y="73"/>
                  </a:lnTo>
                  <a:lnTo>
                    <a:pt x="546" y="73"/>
                  </a:lnTo>
                  <a:lnTo>
                    <a:pt x="545" y="73"/>
                  </a:lnTo>
                  <a:lnTo>
                    <a:pt x="545" y="73"/>
                  </a:lnTo>
                  <a:lnTo>
                    <a:pt x="545" y="73"/>
                  </a:lnTo>
                  <a:lnTo>
                    <a:pt x="545" y="71"/>
                  </a:lnTo>
                  <a:lnTo>
                    <a:pt x="545" y="70"/>
                  </a:lnTo>
                  <a:lnTo>
                    <a:pt x="545" y="70"/>
                  </a:lnTo>
                  <a:lnTo>
                    <a:pt x="545" y="70"/>
                  </a:lnTo>
                  <a:lnTo>
                    <a:pt x="546" y="64"/>
                  </a:lnTo>
                  <a:lnTo>
                    <a:pt x="546" y="62"/>
                  </a:lnTo>
                  <a:lnTo>
                    <a:pt x="546" y="60"/>
                  </a:lnTo>
                  <a:lnTo>
                    <a:pt x="550" y="57"/>
                  </a:lnTo>
                  <a:lnTo>
                    <a:pt x="550" y="56"/>
                  </a:lnTo>
                  <a:lnTo>
                    <a:pt x="550" y="54"/>
                  </a:lnTo>
                  <a:lnTo>
                    <a:pt x="551" y="54"/>
                  </a:lnTo>
                  <a:lnTo>
                    <a:pt x="553" y="53"/>
                  </a:lnTo>
                  <a:lnTo>
                    <a:pt x="553" y="53"/>
                  </a:lnTo>
                  <a:lnTo>
                    <a:pt x="553" y="51"/>
                  </a:lnTo>
                  <a:lnTo>
                    <a:pt x="553" y="45"/>
                  </a:lnTo>
                  <a:lnTo>
                    <a:pt x="550" y="42"/>
                  </a:lnTo>
                  <a:lnTo>
                    <a:pt x="548" y="34"/>
                  </a:lnTo>
                  <a:lnTo>
                    <a:pt x="546" y="33"/>
                  </a:lnTo>
                  <a:lnTo>
                    <a:pt x="545" y="33"/>
                  </a:lnTo>
                  <a:lnTo>
                    <a:pt x="543" y="33"/>
                  </a:lnTo>
                  <a:lnTo>
                    <a:pt x="542" y="34"/>
                  </a:lnTo>
                  <a:lnTo>
                    <a:pt x="540" y="33"/>
                  </a:lnTo>
                  <a:lnTo>
                    <a:pt x="537" y="31"/>
                  </a:lnTo>
                  <a:lnTo>
                    <a:pt x="536" y="31"/>
                  </a:lnTo>
                  <a:lnTo>
                    <a:pt x="533" y="31"/>
                  </a:lnTo>
                  <a:lnTo>
                    <a:pt x="533" y="31"/>
                  </a:lnTo>
                  <a:lnTo>
                    <a:pt x="531" y="30"/>
                  </a:lnTo>
                  <a:lnTo>
                    <a:pt x="531" y="28"/>
                  </a:lnTo>
                  <a:lnTo>
                    <a:pt x="530" y="27"/>
                  </a:lnTo>
                  <a:lnTo>
                    <a:pt x="530" y="27"/>
                  </a:lnTo>
                  <a:lnTo>
                    <a:pt x="528" y="25"/>
                  </a:lnTo>
                  <a:lnTo>
                    <a:pt x="526" y="25"/>
                  </a:lnTo>
                  <a:lnTo>
                    <a:pt x="522" y="23"/>
                  </a:lnTo>
                  <a:lnTo>
                    <a:pt x="522" y="23"/>
                  </a:lnTo>
                  <a:lnTo>
                    <a:pt x="520" y="23"/>
                  </a:lnTo>
                  <a:lnTo>
                    <a:pt x="520" y="23"/>
                  </a:lnTo>
                  <a:lnTo>
                    <a:pt x="519" y="23"/>
                  </a:lnTo>
                  <a:lnTo>
                    <a:pt x="517" y="23"/>
                  </a:lnTo>
                  <a:lnTo>
                    <a:pt x="516" y="23"/>
                  </a:lnTo>
                  <a:lnTo>
                    <a:pt x="514" y="23"/>
                  </a:lnTo>
                  <a:lnTo>
                    <a:pt x="511" y="31"/>
                  </a:lnTo>
                  <a:lnTo>
                    <a:pt x="510" y="31"/>
                  </a:lnTo>
                  <a:lnTo>
                    <a:pt x="508" y="31"/>
                  </a:lnTo>
                  <a:lnTo>
                    <a:pt x="508" y="31"/>
                  </a:lnTo>
                  <a:lnTo>
                    <a:pt x="506" y="31"/>
                  </a:lnTo>
                  <a:lnTo>
                    <a:pt x="505" y="31"/>
                  </a:lnTo>
                  <a:lnTo>
                    <a:pt x="505" y="31"/>
                  </a:lnTo>
                  <a:lnTo>
                    <a:pt x="496" y="30"/>
                  </a:lnTo>
                  <a:lnTo>
                    <a:pt x="488" y="30"/>
                  </a:lnTo>
                  <a:lnTo>
                    <a:pt x="485" y="28"/>
                  </a:lnTo>
                  <a:lnTo>
                    <a:pt x="477" y="22"/>
                  </a:lnTo>
                  <a:lnTo>
                    <a:pt x="477" y="22"/>
                  </a:lnTo>
                  <a:lnTo>
                    <a:pt x="477" y="22"/>
                  </a:lnTo>
                  <a:lnTo>
                    <a:pt x="476" y="20"/>
                  </a:lnTo>
                  <a:lnTo>
                    <a:pt x="476" y="20"/>
                  </a:lnTo>
                  <a:lnTo>
                    <a:pt x="476" y="20"/>
                  </a:lnTo>
                  <a:lnTo>
                    <a:pt x="474" y="19"/>
                  </a:lnTo>
                  <a:lnTo>
                    <a:pt x="474" y="19"/>
                  </a:lnTo>
                  <a:lnTo>
                    <a:pt x="473" y="20"/>
                  </a:lnTo>
                  <a:lnTo>
                    <a:pt x="474" y="19"/>
                  </a:lnTo>
                  <a:lnTo>
                    <a:pt x="473" y="19"/>
                  </a:lnTo>
                  <a:lnTo>
                    <a:pt x="473" y="19"/>
                  </a:lnTo>
                  <a:lnTo>
                    <a:pt x="471" y="17"/>
                  </a:lnTo>
                  <a:lnTo>
                    <a:pt x="469" y="17"/>
                  </a:lnTo>
                  <a:lnTo>
                    <a:pt x="469" y="17"/>
                  </a:lnTo>
                  <a:lnTo>
                    <a:pt x="469" y="17"/>
                  </a:lnTo>
                  <a:lnTo>
                    <a:pt x="469" y="16"/>
                  </a:lnTo>
                  <a:lnTo>
                    <a:pt x="468" y="16"/>
                  </a:lnTo>
                  <a:lnTo>
                    <a:pt x="466" y="16"/>
                  </a:lnTo>
                  <a:lnTo>
                    <a:pt x="465" y="16"/>
                  </a:lnTo>
                  <a:lnTo>
                    <a:pt x="463" y="17"/>
                  </a:lnTo>
                  <a:lnTo>
                    <a:pt x="462" y="17"/>
                  </a:lnTo>
                  <a:lnTo>
                    <a:pt x="460" y="17"/>
                  </a:lnTo>
                  <a:lnTo>
                    <a:pt x="459" y="17"/>
                  </a:lnTo>
                  <a:lnTo>
                    <a:pt x="453" y="14"/>
                  </a:lnTo>
                  <a:lnTo>
                    <a:pt x="448" y="11"/>
                  </a:lnTo>
                  <a:lnTo>
                    <a:pt x="446" y="11"/>
                  </a:lnTo>
                  <a:lnTo>
                    <a:pt x="442" y="8"/>
                  </a:lnTo>
                  <a:lnTo>
                    <a:pt x="440" y="7"/>
                  </a:lnTo>
                  <a:lnTo>
                    <a:pt x="437" y="7"/>
                  </a:lnTo>
                  <a:lnTo>
                    <a:pt x="434" y="3"/>
                  </a:lnTo>
                  <a:lnTo>
                    <a:pt x="433" y="3"/>
                  </a:lnTo>
                  <a:lnTo>
                    <a:pt x="429" y="3"/>
                  </a:lnTo>
                  <a:lnTo>
                    <a:pt x="428" y="3"/>
                  </a:lnTo>
                  <a:lnTo>
                    <a:pt x="428" y="3"/>
                  </a:lnTo>
                  <a:lnTo>
                    <a:pt x="428" y="2"/>
                  </a:lnTo>
                  <a:lnTo>
                    <a:pt x="428" y="2"/>
                  </a:lnTo>
                  <a:lnTo>
                    <a:pt x="426" y="3"/>
                  </a:lnTo>
                  <a:lnTo>
                    <a:pt x="426" y="5"/>
                  </a:lnTo>
                  <a:lnTo>
                    <a:pt x="426" y="5"/>
                  </a:lnTo>
                  <a:lnTo>
                    <a:pt x="425" y="7"/>
                  </a:lnTo>
                  <a:lnTo>
                    <a:pt x="425" y="7"/>
                  </a:lnTo>
                  <a:lnTo>
                    <a:pt x="419" y="8"/>
                  </a:lnTo>
                  <a:lnTo>
                    <a:pt x="419" y="8"/>
                  </a:lnTo>
                  <a:lnTo>
                    <a:pt x="419" y="7"/>
                  </a:lnTo>
                  <a:lnTo>
                    <a:pt x="419" y="5"/>
                  </a:lnTo>
                  <a:lnTo>
                    <a:pt x="419" y="3"/>
                  </a:lnTo>
                  <a:lnTo>
                    <a:pt x="417" y="2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06" y="2"/>
                  </a:lnTo>
                  <a:lnTo>
                    <a:pt x="405" y="3"/>
                  </a:lnTo>
                  <a:lnTo>
                    <a:pt x="405" y="7"/>
                  </a:lnTo>
                  <a:lnTo>
                    <a:pt x="405" y="11"/>
                  </a:lnTo>
                  <a:lnTo>
                    <a:pt x="405" y="14"/>
                  </a:lnTo>
                  <a:lnTo>
                    <a:pt x="403" y="20"/>
                  </a:lnTo>
                  <a:lnTo>
                    <a:pt x="403" y="22"/>
                  </a:lnTo>
                  <a:lnTo>
                    <a:pt x="403" y="23"/>
                  </a:lnTo>
                  <a:lnTo>
                    <a:pt x="403" y="23"/>
                  </a:lnTo>
                  <a:lnTo>
                    <a:pt x="403" y="25"/>
                  </a:lnTo>
                  <a:lnTo>
                    <a:pt x="403" y="25"/>
                  </a:lnTo>
                  <a:lnTo>
                    <a:pt x="403" y="25"/>
                  </a:lnTo>
                  <a:lnTo>
                    <a:pt x="403" y="28"/>
                  </a:lnTo>
                  <a:lnTo>
                    <a:pt x="402" y="28"/>
                  </a:lnTo>
                  <a:lnTo>
                    <a:pt x="397" y="27"/>
                  </a:lnTo>
                  <a:lnTo>
                    <a:pt x="394" y="25"/>
                  </a:lnTo>
                  <a:lnTo>
                    <a:pt x="392" y="27"/>
                  </a:lnTo>
                  <a:lnTo>
                    <a:pt x="392" y="27"/>
                  </a:lnTo>
                  <a:lnTo>
                    <a:pt x="392" y="28"/>
                  </a:lnTo>
                  <a:lnTo>
                    <a:pt x="391" y="30"/>
                  </a:lnTo>
                  <a:lnTo>
                    <a:pt x="391" y="31"/>
                  </a:lnTo>
                  <a:lnTo>
                    <a:pt x="386" y="36"/>
                  </a:lnTo>
                  <a:lnTo>
                    <a:pt x="385" y="37"/>
                  </a:lnTo>
                  <a:lnTo>
                    <a:pt x="385" y="40"/>
                  </a:lnTo>
                  <a:lnTo>
                    <a:pt x="385" y="43"/>
                  </a:lnTo>
                  <a:lnTo>
                    <a:pt x="385" y="47"/>
                  </a:lnTo>
                  <a:lnTo>
                    <a:pt x="385" y="48"/>
                  </a:lnTo>
                  <a:lnTo>
                    <a:pt x="383" y="4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2" y="47"/>
                  </a:lnTo>
                  <a:lnTo>
                    <a:pt x="380" y="45"/>
                  </a:lnTo>
                  <a:lnTo>
                    <a:pt x="380" y="45"/>
                  </a:lnTo>
                  <a:lnTo>
                    <a:pt x="379" y="47"/>
                  </a:lnTo>
                  <a:lnTo>
                    <a:pt x="379" y="47"/>
                  </a:lnTo>
                  <a:lnTo>
                    <a:pt x="377" y="45"/>
                  </a:lnTo>
                  <a:lnTo>
                    <a:pt x="377" y="45"/>
                  </a:lnTo>
                  <a:lnTo>
                    <a:pt x="377" y="43"/>
                  </a:lnTo>
                  <a:lnTo>
                    <a:pt x="377" y="43"/>
                  </a:lnTo>
                  <a:lnTo>
                    <a:pt x="376" y="43"/>
                  </a:lnTo>
                  <a:lnTo>
                    <a:pt x="374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69" y="43"/>
                  </a:lnTo>
                  <a:lnTo>
                    <a:pt x="366" y="40"/>
                  </a:lnTo>
                  <a:lnTo>
                    <a:pt x="366" y="42"/>
                  </a:lnTo>
                  <a:lnTo>
                    <a:pt x="365" y="47"/>
                  </a:lnTo>
                  <a:lnTo>
                    <a:pt x="363" y="48"/>
                  </a:lnTo>
                  <a:lnTo>
                    <a:pt x="359" y="50"/>
                  </a:lnTo>
                  <a:lnTo>
                    <a:pt x="357" y="50"/>
                  </a:lnTo>
                  <a:lnTo>
                    <a:pt x="357" y="51"/>
                  </a:lnTo>
                  <a:lnTo>
                    <a:pt x="357" y="51"/>
                  </a:lnTo>
                  <a:lnTo>
                    <a:pt x="349" y="48"/>
                  </a:lnTo>
                  <a:lnTo>
                    <a:pt x="339" y="47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4" y="43"/>
                  </a:lnTo>
                  <a:lnTo>
                    <a:pt x="334" y="43"/>
                  </a:lnTo>
                  <a:lnTo>
                    <a:pt x="334" y="42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4" y="40"/>
                  </a:lnTo>
                  <a:lnTo>
                    <a:pt x="335" y="40"/>
                  </a:lnTo>
                  <a:lnTo>
                    <a:pt x="335" y="40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4" y="37"/>
                  </a:lnTo>
                  <a:lnTo>
                    <a:pt x="334" y="37"/>
                  </a:lnTo>
                  <a:lnTo>
                    <a:pt x="334" y="36"/>
                  </a:lnTo>
                  <a:lnTo>
                    <a:pt x="332" y="34"/>
                  </a:lnTo>
                  <a:lnTo>
                    <a:pt x="331" y="34"/>
                  </a:lnTo>
                  <a:lnTo>
                    <a:pt x="326" y="31"/>
                  </a:lnTo>
                  <a:lnTo>
                    <a:pt x="325" y="30"/>
                  </a:lnTo>
                  <a:lnTo>
                    <a:pt x="323" y="28"/>
                  </a:lnTo>
                  <a:lnTo>
                    <a:pt x="322" y="28"/>
                  </a:lnTo>
                  <a:lnTo>
                    <a:pt x="319" y="27"/>
                  </a:lnTo>
                  <a:lnTo>
                    <a:pt x="317" y="31"/>
                  </a:lnTo>
                  <a:lnTo>
                    <a:pt x="317" y="33"/>
                  </a:lnTo>
                  <a:lnTo>
                    <a:pt x="317" y="33"/>
                  </a:lnTo>
                  <a:lnTo>
                    <a:pt x="319" y="34"/>
                  </a:lnTo>
                  <a:lnTo>
                    <a:pt x="319" y="34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7"/>
                  </a:lnTo>
                  <a:lnTo>
                    <a:pt x="319" y="40"/>
                  </a:lnTo>
                  <a:lnTo>
                    <a:pt x="319" y="43"/>
                  </a:lnTo>
                  <a:lnTo>
                    <a:pt x="319" y="45"/>
                  </a:lnTo>
                  <a:lnTo>
                    <a:pt x="317" y="47"/>
                  </a:lnTo>
                  <a:lnTo>
                    <a:pt x="317" y="48"/>
                  </a:lnTo>
                  <a:lnTo>
                    <a:pt x="315" y="50"/>
                  </a:lnTo>
                  <a:lnTo>
                    <a:pt x="315" y="50"/>
                  </a:lnTo>
                  <a:lnTo>
                    <a:pt x="315" y="50"/>
                  </a:lnTo>
                  <a:lnTo>
                    <a:pt x="314" y="50"/>
                  </a:lnTo>
                  <a:lnTo>
                    <a:pt x="312" y="50"/>
                  </a:lnTo>
                  <a:lnTo>
                    <a:pt x="312" y="51"/>
                  </a:lnTo>
                  <a:lnTo>
                    <a:pt x="312" y="54"/>
                  </a:lnTo>
                  <a:lnTo>
                    <a:pt x="312" y="54"/>
                  </a:lnTo>
                  <a:lnTo>
                    <a:pt x="309" y="53"/>
                  </a:lnTo>
                  <a:lnTo>
                    <a:pt x="308" y="51"/>
                  </a:lnTo>
                  <a:lnTo>
                    <a:pt x="306" y="51"/>
                  </a:lnTo>
                  <a:lnTo>
                    <a:pt x="305" y="50"/>
                  </a:lnTo>
                  <a:lnTo>
                    <a:pt x="297" y="48"/>
                  </a:lnTo>
                  <a:lnTo>
                    <a:pt x="295" y="48"/>
                  </a:lnTo>
                  <a:lnTo>
                    <a:pt x="292" y="48"/>
                  </a:lnTo>
                  <a:lnTo>
                    <a:pt x="292" y="50"/>
                  </a:lnTo>
                  <a:lnTo>
                    <a:pt x="291" y="50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2" y="53"/>
                  </a:lnTo>
                  <a:lnTo>
                    <a:pt x="292" y="54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1" y="59"/>
                  </a:lnTo>
                  <a:lnTo>
                    <a:pt x="291" y="59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2" y="77"/>
                  </a:lnTo>
                  <a:lnTo>
                    <a:pt x="278" y="79"/>
                  </a:lnTo>
                  <a:lnTo>
                    <a:pt x="269" y="80"/>
                  </a:lnTo>
                  <a:lnTo>
                    <a:pt x="262" y="84"/>
                  </a:lnTo>
                  <a:lnTo>
                    <a:pt x="260" y="85"/>
                  </a:lnTo>
                  <a:lnTo>
                    <a:pt x="257" y="87"/>
                  </a:lnTo>
                  <a:lnTo>
                    <a:pt x="254" y="88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49" y="90"/>
                  </a:lnTo>
                  <a:lnTo>
                    <a:pt x="248" y="91"/>
                  </a:lnTo>
                  <a:lnTo>
                    <a:pt x="248" y="91"/>
                  </a:lnTo>
                  <a:lnTo>
                    <a:pt x="246" y="94"/>
                  </a:lnTo>
                  <a:lnTo>
                    <a:pt x="245" y="94"/>
                  </a:lnTo>
                  <a:lnTo>
                    <a:pt x="242" y="97"/>
                  </a:lnTo>
                  <a:lnTo>
                    <a:pt x="242" y="97"/>
                  </a:lnTo>
                  <a:lnTo>
                    <a:pt x="242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38" y="100"/>
                  </a:lnTo>
                  <a:lnTo>
                    <a:pt x="238" y="102"/>
                  </a:lnTo>
                  <a:lnTo>
                    <a:pt x="240" y="104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6" y="111"/>
                  </a:lnTo>
                  <a:lnTo>
                    <a:pt x="248" y="113"/>
                  </a:lnTo>
                  <a:lnTo>
                    <a:pt x="248" y="114"/>
                  </a:lnTo>
                  <a:lnTo>
                    <a:pt x="248" y="114"/>
                  </a:lnTo>
                  <a:lnTo>
                    <a:pt x="248" y="116"/>
                  </a:lnTo>
                  <a:lnTo>
                    <a:pt x="248" y="117"/>
                  </a:lnTo>
                  <a:lnTo>
                    <a:pt x="249" y="117"/>
                  </a:lnTo>
                  <a:lnTo>
                    <a:pt x="251" y="119"/>
                  </a:lnTo>
                  <a:lnTo>
                    <a:pt x="252" y="120"/>
                  </a:lnTo>
                  <a:lnTo>
                    <a:pt x="254" y="120"/>
                  </a:lnTo>
                  <a:lnTo>
                    <a:pt x="255" y="127"/>
                  </a:lnTo>
                  <a:lnTo>
                    <a:pt x="257" y="130"/>
                  </a:lnTo>
                  <a:lnTo>
                    <a:pt x="258" y="130"/>
                  </a:lnTo>
                  <a:lnTo>
                    <a:pt x="252" y="137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2" y="140"/>
                  </a:lnTo>
                  <a:lnTo>
                    <a:pt x="251" y="144"/>
                  </a:lnTo>
                  <a:lnTo>
                    <a:pt x="252" y="145"/>
                  </a:lnTo>
                  <a:lnTo>
                    <a:pt x="255" y="145"/>
                  </a:lnTo>
                  <a:lnTo>
                    <a:pt x="257" y="145"/>
                  </a:lnTo>
                  <a:lnTo>
                    <a:pt x="258" y="144"/>
                  </a:lnTo>
                  <a:lnTo>
                    <a:pt x="260" y="145"/>
                  </a:lnTo>
                  <a:lnTo>
                    <a:pt x="262" y="145"/>
                  </a:lnTo>
                  <a:lnTo>
                    <a:pt x="262" y="147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1"/>
                  </a:lnTo>
                  <a:lnTo>
                    <a:pt x="265" y="153"/>
                  </a:lnTo>
                  <a:lnTo>
                    <a:pt x="263" y="154"/>
                  </a:lnTo>
                  <a:lnTo>
                    <a:pt x="263" y="154"/>
                  </a:lnTo>
                  <a:lnTo>
                    <a:pt x="263" y="157"/>
                  </a:lnTo>
                  <a:lnTo>
                    <a:pt x="263" y="157"/>
                  </a:lnTo>
                  <a:lnTo>
                    <a:pt x="262" y="159"/>
                  </a:lnTo>
                  <a:lnTo>
                    <a:pt x="262" y="159"/>
                  </a:lnTo>
                  <a:lnTo>
                    <a:pt x="262" y="161"/>
                  </a:lnTo>
                  <a:lnTo>
                    <a:pt x="262" y="161"/>
                  </a:lnTo>
                  <a:lnTo>
                    <a:pt x="262" y="162"/>
                  </a:lnTo>
                  <a:lnTo>
                    <a:pt x="260" y="164"/>
                  </a:lnTo>
                  <a:lnTo>
                    <a:pt x="260" y="164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7" y="171"/>
                  </a:lnTo>
                  <a:lnTo>
                    <a:pt x="257" y="171"/>
                  </a:lnTo>
                  <a:lnTo>
                    <a:pt x="257" y="171"/>
                  </a:lnTo>
                  <a:lnTo>
                    <a:pt x="255" y="171"/>
                  </a:lnTo>
                  <a:lnTo>
                    <a:pt x="255" y="171"/>
                  </a:lnTo>
                  <a:lnTo>
                    <a:pt x="254" y="171"/>
                  </a:lnTo>
                  <a:lnTo>
                    <a:pt x="254" y="171"/>
                  </a:lnTo>
                  <a:lnTo>
                    <a:pt x="249" y="168"/>
                  </a:lnTo>
                  <a:lnTo>
                    <a:pt x="246" y="165"/>
                  </a:lnTo>
                  <a:lnTo>
                    <a:pt x="246" y="164"/>
                  </a:lnTo>
                  <a:lnTo>
                    <a:pt x="245" y="164"/>
                  </a:lnTo>
                  <a:lnTo>
                    <a:pt x="245" y="164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3" y="157"/>
                  </a:lnTo>
                  <a:lnTo>
                    <a:pt x="245" y="156"/>
                  </a:lnTo>
                  <a:lnTo>
                    <a:pt x="243" y="154"/>
                  </a:lnTo>
                  <a:lnTo>
                    <a:pt x="242" y="153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5" y="148"/>
                  </a:lnTo>
                  <a:lnTo>
                    <a:pt x="232" y="148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6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3" y="154"/>
                  </a:lnTo>
                  <a:lnTo>
                    <a:pt x="221" y="154"/>
                  </a:lnTo>
                  <a:lnTo>
                    <a:pt x="220" y="153"/>
                  </a:lnTo>
                  <a:lnTo>
                    <a:pt x="218" y="151"/>
                  </a:lnTo>
                  <a:lnTo>
                    <a:pt x="217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15" y="147"/>
                  </a:lnTo>
                  <a:lnTo>
                    <a:pt x="214" y="147"/>
                  </a:lnTo>
                  <a:lnTo>
                    <a:pt x="211" y="148"/>
                  </a:lnTo>
                  <a:lnTo>
                    <a:pt x="211" y="148"/>
                  </a:lnTo>
                  <a:lnTo>
                    <a:pt x="206" y="147"/>
                  </a:lnTo>
                  <a:lnTo>
                    <a:pt x="205" y="147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1" y="148"/>
                  </a:lnTo>
                  <a:lnTo>
                    <a:pt x="200" y="147"/>
                  </a:lnTo>
                  <a:lnTo>
                    <a:pt x="201" y="145"/>
                  </a:lnTo>
                  <a:lnTo>
                    <a:pt x="201" y="145"/>
                  </a:lnTo>
                  <a:lnTo>
                    <a:pt x="201" y="144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4"/>
                  </a:lnTo>
                  <a:lnTo>
                    <a:pt x="200" y="144"/>
                  </a:lnTo>
                  <a:lnTo>
                    <a:pt x="198" y="145"/>
                  </a:lnTo>
                  <a:lnTo>
                    <a:pt x="197" y="145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3"/>
                  </a:lnTo>
                  <a:lnTo>
                    <a:pt x="198" y="154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80" y="156"/>
                  </a:lnTo>
                  <a:lnTo>
                    <a:pt x="174" y="157"/>
                  </a:lnTo>
                  <a:lnTo>
                    <a:pt x="172" y="157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66" y="159"/>
                  </a:lnTo>
                  <a:lnTo>
                    <a:pt x="160" y="159"/>
                  </a:lnTo>
                  <a:lnTo>
                    <a:pt x="157" y="157"/>
                  </a:lnTo>
                  <a:lnTo>
                    <a:pt x="155" y="157"/>
                  </a:lnTo>
                  <a:lnTo>
                    <a:pt x="155" y="159"/>
                  </a:lnTo>
                  <a:lnTo>
                    <a:pt x="154" y="161"/>
                  </a:lnTo>
                  <a:lnTo>
                    <a:pt x="152" y="162"/>
                  </a:lnTo>
                  <a:lnTo>
                    <a:pt x="152" y="164"/>
                  </a:lnTo>
                  <a:lnTo>
                    <a:pt x="152" y="165"/>
                  </a:lnTo>
                  <a:lnTo>
                    <a:pt x="151" y="167"/>
                  </a:lnTo>
                  <a:lnTo>
                    <a:pt x="149" y="167"/>
                  </a:lnTo>
                  <a:lnTo>
                    <a:pt x="146" y="168"/>
                  </a:lnTo>
                  <a:lnTo>
                    <a:pt x="144" y="167"/>
                  </a:lnTo>
                  <a:lnTo>
                    <a:pt x="141" y="167"/>
                  </a:lnTo>
                  <a:lnTo>
                    <a:pt x="140" y="167"/>
                  </a:lnTo>
                  <a:lnTo>
                    <a:pt x="137" y="171"/>
                  </a:lnTo>
                  <a:lnTo>
                    <a:pt x="138" y="171"/>
                  </a:lnTo>
                  <a:lnTo>
                    <a:pt x="138" y="173"/>
                  </a:lnTo>
                  <a:lnTo>
                    <a:pt x="138" y="173"/>
                  </a:lnTo>
                  <a:lnTo>
                    <a:pt x="138" y="174"/>
                  </a:lnTo>
                  <a:lnTo>
                    <a:pt x="137" y="174"/>
                  </a:lnTo>
                  <a:lnTo>
                    <a:pt x="134" y="174"/>
                  </a:lnTo>
                  <a:lnTo>
                    <a:pt x="132" y="174"/>
                  </a:lnTo>
                  <a:lnTo>
                    <a:pt x="131" y="176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8" y="179"/>
                  </a:lnTo>
                  <a:lnTo>
                    <a:pt x="126" y="179"/>
                  </a:lnTo>
                  <a:lnTo>
                    <a:pt x="126" y="176"/>
                  </a:lnTo>
                  <a:lnTo>
                    <a:pt x="124" y="176"/>
                  </a:lnTo>
                  <a:lnTo>
                    <a:pt x="121" y="176"/>
                  </a:lnTo>
                  <a:lnTo>
                    <a:pt x="117" y="179"/>
                  </a:lnTo>
                  <a:lnTo>
                    <a:pt x="115" y="181"/>
                  </a:lnTo>
                  <a:lnTo>
                    <a:pt x="108" y="181"/>
                  </a:lnTo>
                  <a:lnTo>
                    <a:pt x="108" y="179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8" y="176"/>
                  </a:lnTo>
                  <a:lnTo>
                    <a:pt x="108" y="176"/>
                  </a:lnTo>
                  <a:lnTo>
                    <a:pt x="106" y="176"/>
                  </a:lnTo>
                  <a:lnTo>
                    <a:pt x="103" y="171"/>
                  </a:lnTo>
                  <a:lnTo>
                    <a:pt x="98" y="170"/>
                  </a:lnTo>
                  <a:lnTo>
                    <a:pt x="98" y="168"/>
                  </a:lnTo>
                  <a:lnTo>
                    <a:pt x="101" y="167"/>
                  </a:lnTo>
                  <a:lnTo>
                    <a:pt x="101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7" y="165"/>
                  </a:lnTo>
                  <a:lnTo>
                    <a:pt x="94" y="167"/>
                  </a:lnTo>
                  <a:lnTo>
                    <a:pt x="92" y="167"/>
                  </a:lnTo>
                  <a:lnTo>
                    <a:pt x="91" y="167"/>
                  </a:lnTo>
                  <a:lnTo>
                    <a:pt x="91" y="165"/>
                  </a:lnTo>
                  <a:lnTo>
                    <a:pt x="91" y="165"/>
                  </a:lnTo>
                  <a:lnTo>
                    <a:pt x="91" y="165"/>
                  </a:lnTo>
                  <a:lnTo>
                    <a:pt x="80" y="161"/>
                  </a:lnTo>
                  <a:lnTo>
                    <a:pt x="78" y="161"/>
                  </a:lnTo>
                  <a:lnTo>
                    <a:pt x="78" y="162"/>
                  </a:lnTo>
                  <a:lnTo>
                    <a:pt x="77" y="164"/>
                  </a:lnTo>
                  <a:lnTo>
                    <a:pt x="75" y="165"/>
                  </a:lnTo>
                  <a:lnTo>
                    <a:pt x="74" y="165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69" y="162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7" y="159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7" y="162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6" y="168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9" y="171"/>
                  </a:lnTo>
                  <a:lnTo>
                    <a:pt x="69" y="173"/>
                  </a:lnTo>
                  <a:lnTo>
                    <a:pt x="69" y="174"/>
                  </a:lnTo>
                  <a:lnTo>
                    <a:pt x="67" y="177"/>
                  </a:lnTo>
                  <a:lnTo>
                    <a:pt x="67" y="179"/>
                  </a:lnTo>
                  <a:lnTo>
                    <a:pt x="66" y="181"/>
                  </a:lnTo>
                  <a:lnTo>
                    <a:pt x="64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4"/>
                  </a:lnTo>
                  <a:lnTo>
                    <a:pt x="61" y="187"/>
                  </a:lnTo>
                  <a:lnTo>
                    <a:pt x="60" y="188"/>
                  </a:lnTo>
                  <a:lnTo>
                    <a:pt x="58" y="190"/>
                  </a:lnTo>
                  <a:lnTo>
                    <a:pt x="55" y="191"/>
                  </a:lnTo>
                  <a:lnTo>
                    <a:pt x="54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3"/>
                  </a:lnTo>
                  <a:lnTo>
                    <a:pt x="47" y="191"/>
                  </a:lnTo>
                  <a:lnTo>
                    <a:pt x="47" y="191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51" y="184"/>
                  </a:lnTo>
                  <a:lnTo>
                    <a:pt x="51" y="182"/>
                  </a:lnTo>
                  <a:lnTo>
                    <a:pt x="49" y="181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44" y="182"/>
                  </a:lnTo>
                  <a:lnTo>
                    <a:pt x="43" y="182"/>
                  </a:lnTo>
                  <a:lnTo>
                    <a:pt x="43" y="184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0" y="182"/>
                  </a:lnTo>
                  <a:lnTo>
                    <a:pt x="40" y="181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1" y="177"/>
                  </a:lnTo>
                  <a:lnTo>
                    <a:pt x="41" y="176"/>
                  </a:lnTo>
                  <a:lnTo>
                    <a:pt x="40" y="174"/>
                  </a:lnTo>
                  <a:lnTo>
                    <a:pt x="37" y="170"/>
                  </a:lnTo>
                  <a:lnTo>
                    <a:pt x="37" y="170"/>
                  </a:lnTo>
                  <a:lnTo>
                    <a:pt x="35" y="170"/>
                  </a:lnTo>
                  <a:lnTo>
                    <a:pt x="35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68"/>
                  </a:lnTo>
                  <a:lnTo>
                    <a:pt x="34" y="167"/>
                  </a:lnTo>
                  <a:lnTo>
                    <a:pt x="32" y="167"/>
                  </a:lnTo>
                  <a:lnTo>
                    <a:pt x="32" y="165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29" y="165"/>
                  </a:lnTo>
                  <a:lnTo>
                    <a:pt x="27" y="164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3" y="164"/>
                  </a:lnTo>
                  <a:lnTo>
                    <a:pt x="23" y="164"/>
                  </a:lnTo>
                  <a:lnTo>
                    <a:pt x="21" y="164"/>
                  </a:lnTo>
                  <a:lnTo>
                    <a:pt x="21" y="162"/>
                  </a:lnTo>
                  <a:lnTo>
                    <a:pt x="21" y="161"/>
                  </a:lnTo>
                  <a:lnTo>
                    <a:pt x="21" y="159"/>
                  </a:lnTo>
                  <a:lnTo>
                    <a:pt x="20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4" y="164"/>
                  </a:lnTo>
                  <a:lnTo>
                    <a:pt x="14" y="165"/>
                  </a:lnTo>
                  <a:lnTo>
                    <a:pt x="10" y="165"/>
                  </a:lnTo>
                  <a:lnTo>
                    <a:pt x="6" y="165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1" y="167"/>
                  </a:lnTo>
                  <a:lnTo>
                    <a:pt x="1" y="167"/>
                  </a:lnTo>
                  <a:lnTo>
                    <a:pt x="4" y="170"/>
                  </a:lnTo>
                  <a:lnTo>
                    <a:pt x="7" y="171"/>
                  </a:lnTo>
                  <a:lnTo>
                    <a:pt x="9" y="173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6" y="184"/>
                  </a:lnTo>
                  <a:lnTo>
                    <a:pt x="4" y="184"/>
                  </a:lnTo>
                  <a:lnTo>
                    <a:pt x="4" y="187"/>
                  </a:lnTo>
                  <a:lnTo>
                    <a:pt x="4" y="187"/>
                  </a:lnTo>
                  <a:lnTo>
                    <a:pt x="1" y="190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1" y="196"/>
                  </a:lnTo>
                  <a:lnTo>
                    <a:pt x="1" y="197"/>
                  </a:lnTo>
                  <a:lnTo>
                    <a:pt x="1" y="199"/>
                  </a:lnTo>
                  <a:lnTo>
                    <a:pt x="1" y="199"/>
                  </a:lnTo>
                  <a:lnTo>
                    <a:pt x="3" y="201"/>
                  </a:lnTo>
                  <a:lnTo>
                    <a:pt x="3" y="202"/>
                  </a:lnTo>
                  <a:lnTo>
                    <a:pt x="1" y="204"/>
                  </a:lnTo>
                  <a:lnTo>
                    <a:pt x="1" y="205"/>
                  </a:lnTo>
                  <a:lnTo>
                    <a:pt x="4" y="205"/>
                  </a:lnTo>
                  <a:lnTo>
                    <a:pt x="6" y="208"/>
                  </a:lnTo>
                  <a:lnTo>
                    <a:pt x="6" y="211"/>
                  </a:lnTo>
                  <a:lnTo>
                    <a:pt x="6" y="214"/>
                  </a:lnTo>
                  <a:lnTo>
                    <a:pt x="4" y="216"/>
                  </a:lnTo>
                  <a:lnTo>
                    <a:pt x="6" y="217"/>
                  </a:lnTo>
                  <a:lnTo>
                    <a:pt x="9" y="216"/>
                  </a:lnTo>
                  <a:lnTo>
                    <a:pt x="10" y="216"/>
                  </a:lnTo>
                  <a:lnTo>
                    <a:pt x="24" y="221"/>
                  </a:lnTo>
                  <a:lnTo>
                    <a:pt x="24" y="222"/>
                  </a:lnTo>
                  <a:lnTo>
                    <a:pt x="24" y="222"/>
                  </a:lnTo>
                  <a:lnTo>
                    <a:pt x="26" y="222"/>
                  </a:lnTo>
                  <a:lnTo>
                    <a:pt x="26" y="222"/>
                  </a:lnTo>
                  <a:lnTo>
                    <a:pt x="26" y="224"/>
                  </a:lnTo>
                  <a:lnTo>
                    <a:pt x="26" y="225"/>
                  </a:lnTo>
                  <a:lnTo>
                    <a:pt x="24" y="227"/>
                  </a:lnTo>
                  <a:lnTo>
                    <a:pt x="24" y="228"/>
                  </a:lnTo>
                  <a:lnTo>
                    <a:pt x="24" y="230"/>
                  </a:lnTo>
                  <a:lnTo>
                    <a:pt x="26" y="230"/>
                  </a:lnTo>
                  <a:lnTo>
                    <a:pt x="27" y="231"/>
                  </a:lnTo>
                  <a:lnTo>
                    <a:pt x="35" y="234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7" y="239"/>
                  </a:lnTo>
                  <a:lnTo>
                    <a:pt x="51" y="238"/>
                  </a:lnTo>
                  <a:lnTo>
                    <a:pt x="51" y="236"/>
                  </a:lnTo>
                  <a:lnTo>
                    <a:pt x="51" y="234"/>
                  </a:lnTo>
                  <a:lnTo>
                    <a:pt x="51" y="234"/>
                  </a:lnTo>
                  <a:lnTo>
                    <a:pt x="52" y="233"/>
                  </a:lnTo>
                  <a:lnTo>
                    <a:pt x="52" y="231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7" y="231"/>
                  </a:lnTo>
                  <a:lnTo>
                    <a:pt x="57" y="228"/>
                  </a:lnTo>
                  <a:lnTo>
                    <a:pt x="58" y="227"/>
                  </a:lnTo>
                  <a:lnTo>
                    <a:pt x="60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6" y="227"/>
                  </a:lnTo>
                  <a:lnTo>
                    <a:pt x="69" y="228"/>
                  </a:lnTo>
                  <a:lnTo>
                    <a:pt x="69" y="230"/>
                  </a:lnTo>
                  <a:lnTo>
                    <a:pt x="69" y="231"/>
                  </a:lnTo>
                  <a:lnTo>
                    <a:pt x="69" y="234"/>
                  </a:lnTo>
                  <a:lnTo>
                    <a:pt x="69" y="238"/>
                  </a:lnTo>
                  <a:lnTo>
                    <a:pt x="71" y="239"/>
                  </a:lnTo>
                  <a:lnTo>
                    <a:pt x="74" y="239"/>
                  </a:lnTo>
                  <a:lnTo>
                    <a:pt x="81" y="238"/>
                  </a:lnTo>
                  <a:lnTo>
                    <a:pt x="83" y="238"/>
                  </a:lnTo>
                  <a:lnTo>
                    <a:pt x="84" y="238"/>
                  </a:lnTo>
                  <a:lnTo>
                    <a:pt x="91" y="241"/>
                  </a:lnTo>
                  <a:lnTo>
                    <a:pt x="91" y="242"/>
                  </a:lnTo>
                  <a:lnTo>
                    <a:pt x="91" y="244"/>
                  </a:lnTo>
                  <a:lnTo>
                    <a:pt x="89" y="244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1" y="245"/>
                  </a:lnTo>
                  <a:lnTo>
                    <a:pt x="92" y="245"/>
                  </a:lnTo>
                  <a:lnTo>
                    <a:pt x="94" y="247"/>
                  </a:lnTo>
                  <a:lnTo>
                    <a:pt x="95" y="247"/>
                  </a:lnTo>
                  <a:lnTo>
                    <a:pt x="97" y="247"/>
                  </a:lnTo>
                  <a:lnTo>
                    <a:pt x="97" y="247"/>
                  </a:lnTo>
                  <a:lnTo>
                    <a:pt x="98" y="247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101" y="248"/>
                  </a:lnTo>
                  <a:lnTo>
                    <a:pt x="103" y="247"/>
                  </a:lnTo>
                  <a:lnTo>
                    <a:pt x="104" y="247"/>
                  </a:lnTo>
                  <a:lnTo>
                    <a:pt x="108" y="247"/>
                  </a:lnTo>
                  <a:lnTo>
                    <a:pt x="108" y="248"/>
                  </a:lnTo>
                  <a:lnTo>
                    <a:pt x="109" y="248"/>
                  </a:lnTo>
                  <a:lnTo>
                    <a:pt x="111" y="247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14" y="244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14" y="241"/>
                  </a:lnTo>
                  <a:lnTo>
                    <a:pt x="114" y="241"/>
                  </a:lnTo>
                  <a:lnTo>
                    <a:pt x="115" y="238"/>
                  </a:lnTo>
                  <a:lnTo>
                    <a:pt x="115" y="233"/>
                  </a:lnTo>
                  <a:lnTo>
                    <a:pt x="117" y="233"/>
                  </a:lnTo>
                  <a:lnTo>
                    <a:pt x="121" y="227"/>
                  </a:lnTo>
                  <a:lnTo>
                    <a:pt x="123" y="227"/>
                  </a:lnTo>
                  <a:lnTo>
                    <a:pt x="128" y="225"/>
                  </a:lnTo>
                  <a:lnTo>
                    <a:pt x="132" y="224"/>
                  </a:lnTo>
                  <a:lnTo>
                    <a:pt x="135" y="225"/>
                  </a:lnTo>
                  <a:lnTo>
                    <a:pt x="138" y="225"/>
                  </a:lnTo>
                  <a:lnTo>
                    <a:pt x="140" y="225"/>
                  </a:lnTo>
                  <a:lnTo>
                    <a:pt x="143" y="224"/>
                  </a:lnTo>
                  <a:lnTo>
                    <a:pt x="143" y="224"/>
                  </a:lnTo>
                  <a:lnTo>
                    <a:pt x="143" y="222"/>
                  </a:lnTo>
                  <a:lnTo>
                    <a:pt x="144" y="222"/>
                  </a:lnTo>
                  <a:lnTo>
                    <a:pt x="144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9" y="224"/>
                  </a:lnTo>
                  <a:lnTo>
                    <a:pt x="149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1" y="224"/>
                  </a:lnTo>
                  <a:lnTo>
                    <a:pt x="152" y="222"/>
                  </a:lnTo>
                  <a:lnTo>
                    <a:pt x="154" y="222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58" y="224"/>
                  </a:lnTo>
                  <a:lnTo>
                    <a:pt x="160" y="224"/>
                  </a:lnTo>
                  <a:lnTo>
                    <a:pt x="163" y="225"/>
                  </a:lnTo>
                  <a:lnTo>
                    <a:pt x="165" y="225"/>
                  </a:lnTo>
                  <a:lnTo>
                    <a:pt x="165" y="225"/>
                  </a:lnTo>
                  <a:lnTo>
                    <a:pt x="166" y="224"/>
                  </a:lnTo>
                  <a:lnTo>
                    <a:pt x="168" y="224"/>
                  </a:lnTo>
                  <a:lnTo>
                    <a:pt x="171" y="224"/>
                  </a:lnTo>
                  <a:lnTo>
                    <a:pt x="174" y="221"/>
                  </a:lnTo>
                  <a:lnTo>
                    <a:pt x="177" y="219"/>
                  </a:lnTo>
                  <a:lnTo>
                    <a:pt x="180" y="219"/>
                  </a:lnTo>
                  <a:lnTo>
                    <a:pt x="185" y="217"/>
                  </a:lnTo>
                  <a:lnTo>
                    <a:pt x="192" y="214"/>
                  </a:lnTo>
                  <a:lnTo>
                    <a:pt x="194" y="214"/>
                  </a:lnTo>
                  <a:lnTo>
                    <a:pt x="197" y="213"/>
                  </a:lnTo>
                  <a:lnTo>
                    <a:pt x="200" y="214"/>
                  </a:lnTo>
                  <a:lnTo>
                    <a:pt x="200" y="216"/>
                  </a:lnTo>
                  <a:lnTo>
                    <a:pt x="198" y="217"/>
                  </a:lnTo>
                  <a:lnTo>
                    <a:pt x="197" y="219"/>
                  </a:lnTo>
                  <a:lnTo>
                    <a:pt x="194" y="222"/>
                  </a:lnTo>
                  <a:lnTo>
                    <a:pt x="192" y="224"/>
                  </a:lnTo>
                  <a:lnTo>
                    <a:pt x="192" y="225"/>
                  </a:lnTo>
                  <a:lnTo>
                    <a:pt x="194" y="225"/>
                  </a:lnTo>
                  <a:lnTo>
                    <a:pt x="194" y="228"/>
                  </a:lnTo>
                  <a:lnTo>
                    <a:pt x="194" y="230"/>
                  </a:lnTo>
                  <a:lnTo>
                    <a:pt x="195" y="230"/>
                  </a:lnTo>
                  <a:lnTo>
                    <a:pt x="195" y="231"/>
                  </a:lnTo>
                  <a:lnTo>
                    <a:pt x="194" y="233"/>
                  </a:lnTo>
                  <a:lnTo>
                    <a:pt x="194" y="233"/>
                  </a:lnTo>
                  <a:lnTo>
                    <a:pt x="195" y="233"/>
                  </a:lnTo>
                  <a:lnTo>
                    <a:pt x="197" y="233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6"/>
                  </a:lnTo>
                  <a:lnTo>
                    <a:pt x="200" y="236"/>
                  </a:lnTo>
                  <a:lnTo>
                    <a:pt x="203" y="236"/>
                  </a:lnTo>
                  <a:lnTo>
                    <a:pt x="205" y="238"/>
                  </a:lnTo>
                  <a:lnTo>
                    <a:pt x="205" y="239"/>
                  </a:lnTo>
                  <a:lnTo>
                    <a:pt x="205" y="241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4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5" y="247"/>
                  </a:lnTo>
                  <a:lnTo>
                    <a:pt x="205" y="247"/>
                  </a:lnTo>
                  <a:lnTo>
                    <a:pt x="206" y="247"/>
                  </a:lnTo>
                  <a:lnTo>
                    <a:pt x="208" y="247"/>
                  </a:lnTo>
                  <a:lnTo>
                    <a:pt x="209" y="248"/>
                  </a:lnTo>
                  <a:lnTo>
                    <a:pt x="211" y="250"/>
                  </a:lnTo>
                  <a:lnTo>
                    <a:pt x="212" y="254"/>
                  </a:lnTo>
                  <a:lnTo>
                    <a:pt x="214" y="256"/>
                  </a:lnTo>
                  <a:lnTo>
                    <a:pt x="217" y="258"/>
                  </a:lnTo>
                  <a:lnTo>
                    <a:pt x="218" y="258"/>
                  </a:lnTo>
                  <a:lnTo>
                    <a:pt x="221" y="258"/>
                  </a:lnTo>
                  <a:lnTo>
                    <a:pt x="223" y="259"/>
                  </a:lnTo>
                  <a:lnTo>
                    <a:pt x="225" y="261"/>
                  </a:lnTo>
                  <a:lnTo>
                    <a:pt x="226" y="261"/>
                  </a:lnTo>
                  <a:lnTo>
                    <a:pt x="231" y="261"/>
                  </a:lnTo>
                  <a:lnTo>
                    <a:pt x="234" y="261"/>
                  </a:lnTo>
                  <a:lnTo>
                    <a:pt x="234" y="261"/>
                  </a:lnTo>
                  <a:lnTo>
                    <a:pt x="234" y="261"/>
                  </a:lnTo>
                  <a:lnTo>
                    <a:pt x="235" y="262"/>
                  </a:lnTo>
                  <a:lnTo>
                    <a:pt x="237" y="262"/>
                  </a:lnTo>
                  <a:lnTo>
                    <a:pt x="237" y="262"/>
                  </a:lnTo>
                  <a:lnTo>
                    <a:pt x="238" y="262"/>
                  </a:lnTo>
                  <a:lnTo>
                    <a:pt x="238" y="261"/>
                  </a:lnTo>
                  <a:lnTo>
                    <a:pt x="240" y="262"/>
                  </a:lnTo>
                  <a:lnTo>
                    <a:pt x="242" y="262"/>
                  </a:lnTo>
                  <a:lnTo>
                    <a:pt x="246" y="265"/>
                  </a:lnTo>
                  <a:lnTo>
                    <a:pt x="263" y="267"/>
                  </a:lnTo>
                  <a:lnTo>
                    <a:pt x="269" y="268"/>
                  </a:lnTo>
                  <a:lnTo>
                    <a:pt x="274" y="270"/>
                  </a:lnTo>
                  <a:lnTo>
                    <a:pt x="275" y="271"/>
                  </a:lnTo>
                  <a:lnTo>
                    <a:pt x="278" y="271"/>
                  </a:lnTo>
                  <a:lnTo>
                    <a:pt x="286" y="270"/>
                  </a:lnTo>
                  <a:lnTo>
                    <a:pt x="289" y="270"/>
                  </a:lnTo>
                  <a:lnTo>
                    <a:pt x="294" y="270"/>
                  </a:lnTo>
                  <a:lnTo>
                    <a:pt x="294" y="270"/>
                  </a:lnTo>
                  <a:lnTo>
                    <a:pt x="295" y="271"/>
                  </a:lnTo>
                  <a:lnTo>
                    <a:pt x="295" y="271"/>
                  </a:lnTo>
                  <a:lnTo>
                    <a:pt x="300" y="271"/>
                  </a:lnTo>
                  <a:lnTo>
                    <a:pt x="308" y="274"/>
                  </a:lnTo>
                  <a:lnTo>
                    <a:pt x="309" y="274"/>
                  </a:lnTo>
                  <a:lnTo>
                    <a:pt x="311" y="274"/>
                  </a:lnTo>
                  <a:lnTo>
                    <a:pt x="312" y="274"/>
                  </a:lnTo>
                  <a:lnTo>
                    <a:pt x="317" y="276"/>
                  </a:lnTo>
                  <a:lnTo>
                    <a:pt x="317" y="276"/>
                  </a:lnTo>
                  <a:lnTo>
                    <a:pt x="323" y="274"/>
                  </a:lnTo>
                  <a:lnTo>
                    <a:pt x="325" y="276"/>
                  </a:lnTo>
                  <a:lnTo>
                    <a:pt x="331" y="279"/>
                  </a:lnTo>
                  <a:lnTo>
                    <a:pt x="332" y="279"/>
                  </a:lnTo>
                  <a:lnTo>
                    <a:pt x="334" y="279"/>
                  </a:lnTo>
                  <a:lnTo>
                    <a:pt x="335" y="279"/>
                  </a:lnTo>
                  <a:lnTo>
                    <a:pt x="337" y="279"/>
                  </a:lnTo>
                  <a:lnTo>
                    <a:pt x="339" y="279"/>
                  </a:lnTo>
                  <a:lnTo>
                    <a:pt x="339" y="279"/>
                  </a:lnTo>
                  <a:lnTo>
                    <a:pt x="343" y="284"/>
                  </a:lnTo>
                  <a:lnTo>
                    <a:pt x="343" y="284"/>
                  </a:lnTo>
                  <a:lnTo>
                    <a:pt x="345" y="284"/>
                  </a:lnTo>
                  <a:lnTo>
                    <a:pt x="351" y="284"/>
                  </a:lnTo>
                  <a:lnTo>
                    <a:pt x="360" y="284"/>
                  </a:lnTo>
                  <a:lnTo>
                    <a:pt x="362" y="284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5" y="285"/>
                  </a:lnTo>
                  <a:lnTo>
                    <a:pt x="365" y="285"/>
                  </a:lnTo>
                  <a:lnTo>
                    <a:pt x="366" y="285"/>
                  </a:lnTo>
                  <a:lnTo>
                    <a:pt x="368" y="287"/>
                  </a:lnTo>
                  <a:lnTo>
                    <a:pt x="371" y="285"/>
                  </a:lnTo>
                  <a:lnTo>
                    <a:pt x="371" y="287"/>
                  </a:lnTo>
                  <a:lnTo>
                    <a:pt x="372" y="288"/>
                  </a:lnTo>
                  <a:lnTo>
                    <a:pt x="372" y="290"/>
                  </a:lnTo>
                  <a:lnTo>
                    <a:pt x="374" y="290"/>
                  </a:lnTo>
                  <a:lnTo>
                    <a:pt x="376" y="288"/>
                  </a:lnTo>
                  <a:lnTo>
                    <a:pt x="376" y="287"/>
                  </a:lnTo>
                  <a:lnTo>
                    <a:pt x="376" y="285"/>
                  </a:lnTo>
                  <a:lnTo>
                    <a:pt x="377" y="284"/>
                  </a:lnTo>
                  <a:lnTo>
                    <a:pt x="377" y="284"/>
                  </a:lnTo>
                  <a:lnTo>
                    <a:pt x="379" y="284"/>
                  </a:lnTo>
                  <a:lnTo>
                    <a:pt x="380" y="284"/>
                  </a:lnTo>
                  <a:lnTo>
                    <a:pt x="380" y="282"/>
                  </a:lnTo>
                  <a:lnTo>
                    <a:pt x="382" y="281"/>
                  </a:lnTo>
                  <a:lnTo>
                    <a:pt x="383" y="281"/>
                  </a:lnTo>
                  <a:lnTo>
                    <a:pt x="383" y="281"/>
                  </a:lnTo>
                  <a:lnTo>
                    <a:pt x="383" y="281"/>
                  </a:lnTo>
                  <a:lnTo>
                    <a:pt x="385" y="281"/>
                  </a:lnTo>
                  <a:lnTo>
                    <a:pt x="385" y="279"/>
                  </a:lnTo>
                  <a:lnTo>
                    <a:pt x="385" y="278"/>
                  </a:lnTo>
                  <a:lnTo>
                    <a:pt x="386" y="278"/>
                  </a:lnTo>
                  <a:lnTo>
                    <a:pt x="386" y="278"/>
                  </a:lnTo>
                  <a:lnTo>
                    <a:pt x="388" y="278"/>
                  </a:lnTo>
                  <a:lnTo>
                    <a:pt x="389" y="278"/>
                  </a:lnTo>
                  <a:lnTo>
                    <a:pt x="391" y="276"/>
                  </a:lnTo>
                  <a:lnTo>
                    <a:pt x="391" y="276"/>
                  </a:lnTo>
                  <a:lnTo>
                    <a:pt x="392" y="274"/>
                  </a:lnTo>
                  <a:lnTo>
                    <a:pt x="392" y="273"/>
                  </a:lnTo>
                  <a:lnTo>
                    <a:pt x="394" y="271"/>
                  </a:lnTo>
                  <a:lnTo>
                    <a:pt x="394" y="270"/>
                  </a:lnTo>
                  <a:lnTo>
                    <a:pt x="396" y="268"/>
                  </a:lnTo>
                  <a:lnTo>
                    <a:pt x="396" y="265"/>
                  </a:lnTo>
                  <a:lnTo>
                    <a:pt x="397" y="265"/>
                  </a:lnTo>
                  <a:lnTo>
                    <a:pt x="399" y="265"/>
                  </a:lnTo>
                  <a:lnTo>
                    <a:pt x="400" y="265"/>
                  </a:lnTo>
                  <a:lnTo>
                    <a:pt x="400" y="265"/>
                  </a:lnTo>
                  <a:lnTo>
                    <a:pt x="402" y="264"/>
                  </a:lnTo>
                  <a:lnTo>
                    <a:pt x="402" y="264"/>
                  </a:lnTo>
                  <a:lnTo>
                    <a:pt x="403" y="264"/>
                  </a:lnTo>
                  <a:lnTo>
                    <a:pt x="405" y="265"/>
                  </a:lnTo>
                  <a:lnTo>
                    <a:pt x="408" y="262"/>
                  </a:lnTo>
                  <a:lnTo>
                    <a:pt x="412" y="261"/>
                  </a:lnTo>
                  <a:lnTo>
                    <a:pt x="414" y="261"/>
                  </a:lnTo>
                  <a:lnTo>
                    <a:pt x="416" y="261"/>
                  </a:lnTo>
                  <a:lnTo>
                    <a:pt x="420" y="262"/>
                  </a:lnTo>
                  <a:lnTo>
                    <a:pt x="423" y="262"/>
                  </a:lnTo>
                  <a:lnTo>
                    <a:pt x="433" y="261"/>
                  </a:lnTo>
                  <a:lnTo>
                    <a:pt x="436" y="261"/>
                  </a:lnTo>
                  <a:lnTo>
                    <a:pt x="439" y="262"/>
                  </a:lnTo>
                  <a:lnTo>
                    <a:pt x="440" y="264"/>
                  </a:lnTo>
                  <a:lnTo>
                    <a:pt x="440" y="264"/>
                  </a:lnTo>
                  <a:lnTo>
                    <a:pt x="442" y="264"/>
                  </a:lnTo>
                  <a:lnTo>
                    <a:pt x="443" y="264"/>
                  </a:lnTo>
                  <a:lnTo>
                    <a:pt x="445" y="262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1"/>
                  </a:lnTo>
                  <a:lnTo>
                    <a:pt x="446" y="261"/>
                  </a:lnTo>
                  <a:lnTo>
                    <a:pt x="446" y="259"/>
                  </a:lnTo>
                  <a:lnTo>
                    <a:pt x="448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3" y="258"/>
                  </a:lnTo>
                  <a:lnTo>
                    <a:pt x="454" y="258"/>
                  </a:lnTo>
                  <a:lnTo>
                    <a:pt x="454" y="258"/>
                  </a:lnTo>
                  <a:lnTo>
                    <a:pt x="454" y="256"/>
                  </a:lnTo>
                  <a:lnTo>
                    <a:pt x="454" y="254"/>
                  </a:lnTo>
                  <a:lnTo>
                    <a:pt x="454" y="253"/>
                  </a:lnTo>
                  <a:lnTo>
                    <a:pt x="456" y="254"/>
                  </a:lnTo>
                  <a:lnTo>
                    <a:pt x="462" y="254"/>
                  </a:lnTo>
                  <a:lnTo>
                    <a:pt x="463" y="254"/>
                  </a:lnTo>
                  <a:lnTo>
                    <a:pt x="466" y="254"/>
                  </a:lnTo>
                  <a:lnTo>
                    <a:pt x="468" y="253"/>
                  </a:lnTo>
                  <a:lnTo>
                    <a:pt x="471" y="253"/>
                  </a:lnTo>
                  <a:lnTo>
                    <a:pt x="473" y="253"/>
                  </a:lnTo>
                  <a:lnTo>
                    <a:pt x="477" y="256"/>
                  </a:lnTo>
                  <a:lnTo>
                    <a:pt x="480" y="256"/>
                  </a:lnTo>
                  <a:lnTo>
                    <a:pt x="482" y="256"/>
                  </a:lnTo>
                  <a:lnTo>
                    <a:pt x="483" y="259"/>
                  </a:lnTo>
                  <a:lnTo>
                    <a:pt x="483" y="259"/>
                  </a:lnTo>
                  <a:lnTo>
                    <a:pt x="483" y="259"/>
                  </a:lnTo>
                  <a:lnTo>
                    <a:pt x="483" y="256"/>
                  </a:lnTo>
                  <a:lnTo>
                    <a:pt x="482" y="254"/>
                  </a:lnTo>
                  <a:lnTo>
                    <a:pt x="480" y="253"/>
                  </a:lnTo>
                  <a:lnTo>
                    <a:pt x="480" y="250"/>
                  </a:lnTo>
                  <a:lnTo>
                    <a:pt x="480" y="248"/>
                  </a:lnTo>
                  <a:lnTo>
                    <a:pt x="480" y="247"/>
                  </a:lnTo>
                  <a:lnTo>
                    <a:pt x="480" y="247"/>
                  </a:lnTo>
                  <a:lnTo>
                    <a:pt x="480" y="244"/>
                  </a:lnTo>
                  <a:lnTo>
                    <a:pt x="480" y="242"/>
                  </a:lnTo>
                  <a:lnTo>
                    <a:pt x="480" y="242"/>
                  </a:lnTo>
                  <a:lnTo>
                    <a:pt x="480" y="242"/>
                  </a:lnTo>
                  <a:lnTo>
                    <a:pt x="480" y="241"/>
                  </a:lnTo>
                  <a:lnTo>
                    <a:pt x="480" y="241"/>
                  </a:lnTo>
                  <a:lnTo>
                    <a:pt x="483" y="241"/>
                  </a:lnTo>
                  <a:lnTo>
                    <a:pt x="485" y="241"/>
                  </a:lnTo>
                  <a:lnTo>
                    <a:pt x="486" y="239"/>
                  </a:lnTo>
                  <a:lnTo>
                    <a:pt x="489" y="238"/>
                  </a:lnTo>
                  <a:lnTo>
                    <a:pt x="489" y="238"/>
                  </a:lnTo>
                  <a:lnTo>
                    <a:pt x="491" y="236"/>
                  </a:lnTo>
                  <a:lnTo>
                    <a:pt x="494" y="233"/>
                  </a:lnTo>
                  <a:lnTo>
                    <a:pt x="494" y="231"/>
                  </a:lnTo>
                  <a:lnTo>
                    <a:pt x="496" y="230"/>
                  </a:lnTo>
                  <a:lnTo>
                    <a:pt x="499" y="230"/>
                  </a:lnTo>
                  <a:lnTo>
                    <a:pt x="499" y="228"/>
                  </a:lnTo>
                  <a:lnTo>
                    <a:pt x="499" y="228"/>
                  </a:lnTo>
                  <a:lnTo>
                    <a:pt x="499" y="228"/>
                  </a:lnTo>
                  <a:lnTo>
                    <a:pt x="499" y="227"/>
                  </a:lnTo>
                  <a:lnTo>
                    <a:pt x="499" y="227"/>
                  </a:lnTo>
                  <a:lnTo>
                    <a:pt x="500" y="225"/>
                  </a:lnTo>
                  <a:lnTo>
                    <a:pt x="500" y="225"/>
                  </a:lnTo>
                  <a:lnTo>
                    <a:pt x="502" y="225"/>
                  </a:lnTo>
                  <a:lnTo>
                    <a:pt x="502" y="224"/>
                  </a:lnTo>
                  <a:lnTo>
                    <a:pt x="502" y="222"/>
                  </a:lnTo>
                  <a:lnTo>
                    <a:pt x="503" y="222"/>
                  </a:lnTo>
                  <a:lnTo>
                    <a:pt x="506" y="222"/>
                  </a:lnTo>
                  <a:lnTo>
                    <a:pt x="510" y="222"/>
                  </a:lnTo>
                  <a:lnTo>
                    <a:pt x="511" y="222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7" y="224"/>
                  </a:lnTo>
                  <a:lnTo>
                    <a:pt x="519" y="222"/>
                  </a:lnTo>
                  <a:lnTo>
                    <a:pt x="517" y="222"/>
                  </a:lnTo>
                  <a:lnTo>
                    <a:pt x="517" y="221"/>
                  </a:lnTo>
                  <a:lnTo>
                    <a:pt x="516" y="221"/>
                  </a:lnTo>
                  <a:lnTo>
                    <a:pt x="514" y="221"/>
                  </a:lnTo>
                  <a:lnTo>
                    <a:pt x="514" y="219"/>
                  </a:lnTo>
                  <a:lnTo>
                    <a:pt x="517" y="217"/>
                  </a:lnTo>
                  <a:lnTo>
                    <a:pt x="519" y="217"/>
                  </a:lnTo>
                  <a:lnTo>
                    <a:pt x="519" y="216"/>
                  </a:lnTo>
                  <a:lnTo>
                    <a:pt x="519" y="216"/>
                  </a:lnTo>
                  <a:lnTo>
                    <a:pt x="517" y="216"/>
                  </a:lnTo>
                  <a:lnTo>
                    <a:pt x="516" y="214"/>
                  </a:lnTo>
                  <a:lnTo>
                    <a:pt x="516" y="214"/>
                  </a:lnTo>
                  <a:lnTo>
                    <a:pt x="516" y="213"/>
                  </a:lnTo>
                  <a:lnTo>
                    <a:pt x="517" y="211"/>
                  </a:lnTo>
                  <a:lnTo>
                    <a:pt x="519" y="208"/>
                  </a:lnTo>
                  <a:lnTo>
                    <a:pt x="520" y="208"/>
                  </a:lnTo>
                  <a:lnTo>
                    <a:pt x="519" y="207"/>
                  </a:lnTo>
                  <a:lnTo>
                    <a:pt x="517" y="207"/>
                  </a:lnTo>
                  <a:lnTo>
                    <a:pt x="516" y="207"/>
                  </a:lnTo>
                  <a:lnTo>
                    <a:pt x="514" y="207"/>
                  </a:lnTo>
                  <a:lnTo>
                    <a:pt x="514" y="207"/>
                  </a:lnTo>
                  <a:lnTo>
                    <a:pt x="514" y="204"/>
                  </a:lnTo>
                  <a:lnTo>
                    <a:pt x="514" y="204"/>
                  </a:lnTo>
                  <a:lnTo>
                    <a:pt x="514" y="202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2"/>
                  </a:lnTo>
                  <a:lnTo>
                    <a:pt x="513" y="201"/>
                  </a:lnTo>
                  <a:lnTo>
                    <a:pt x="514" y="197"/>
                  </a:lnTo>
                  <a:lnTo>
                    <a:pt x="513" y="196"/>
                  </a:lnTo>
                  <a:lnTo>
                    <a:pt x="513" y="196"/>
                  </a:lnTo>
                  <a:lnTo>
                    <a:pt x="516" y="194"/>
                  </a:lnTo>
                  <a:lnTo>
                    <a:pt x="517" y="194"/>
                  </a:lnTo>
                  <a:lnTo>
                    <a:pt x="517" y="193"/>
                  </a:lnTo>
                  <a:lnTo>
                    <a:pt x="517" y="191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84"/>
                  </a:lnTo>
                  <a:lnTo>
                    <a:pt x="514" y="179"/>
                  </a:lnTo>
                  <a:lnTo>
                    <a:pt x="514" y="177"/>
                  </a:lnTo>
                  <a:lnTo>
                    <a:pt x="516" y="177"/>
                  </a:lnTo>
                  <a:lnTo>
                    <a:pt x="517" y="179"/>
                  </a:lnTo>
                  <a:lnTo>
                    <a:pt x="517" y="181"/>
                  </a:lnTo>
                  <a:lnTo>
                    <a:pt x="525" y="176"/>
                  </a:lnTo>
                  <a:lnTo>
                    <a:pt x="528" y="174"/>
                  </a:lnTo>
                  <a:lnTo>
                    <a:pt x="530" y="173"/>
                  </a:lnTo>
                  <a:lnTo>
                    <a:pt x="530" y="168"/>
                  </a:lnTo>
                  <a:lnTo>
                    <a:pt x="530" y="168"/>
                  </a:lnTo>
                  <a:lnTo>
                    <a:pt x="533" y="167"/>
                  </a:lnTo>
                  <a:lnTo>
                    <a:pt x="533" y="165"/>
                  </a:lnTo>
                  <a:lnTo>
                    <a:pt x="533" y="164"/>
                  </a:lnTo>
                  <a:lnTo>
                    <a:pt x="533" y="162"/>
                  </a:lnTo>
                  <a:lnTo>
                    <a:pt x="531" y="162"/>
                  </a:lnTo>
                  <a:lnTo>
                    <a:pt x="530" y="161"/>
                  </a:lnTo>
                  <a:lnTo>
                    <a:pt x="531" y="159"/>
                  </a:lnTo>
                  <a:lnTo>
                    <a:pt x="530" y="156"/>
                  </a:lnTo>
                  <a:lnTo>
                    <a:pt x="528" y="154"/>
                  </a:lnTo>
                  <a:lnTo>
                    <a:pt x="526" y="154"/>
                  </a:lnTo>
                  <a:lnTo>
                    <a:pt x="525" y="154"/>
                  </a:lnTo>
                  <a:lnTo>
                    <a:pt x="520" y="153"/>
                  </a:lnTo>
                  <a:lnTo>
                    <a:pt x="517" y="153"/>
                  </a:lnTo>
                  <a:lnTo>
                    <a:pt x="514" y="151"/>
                  </a:lnTo>
                  <a:lnTo>
                    <a:pt x="513" y="150"/>
                  </a:lnTo>
                  <a:lnTo>
                    <a:pt x="513" y="150"/>
                  </a:lnTo>
                  <a:lnTo>
                    <a:pt x="514" y="148"/>
                  </a:lnTo>
                  <a:lnTo>
                    <a:pt x="514" y="147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6" y="148"/>
                  </a:lnTo>
                  <a:lnTo>
                    <a:pt x="517" y="147"/>
                  </a:lnTo>
                  <a:lnTo>
                    <a:pt x="520" y="145"/>
                  </a:lnTo>
                  <a:lnTo>
                    <a:pt x="520" y="145"/>
                  </a:lnTo>
                  <a:lnTo>
                    <a:pt x="520" y="144"/>
                  </a:lnTo>
                  <a:lnTo>
                    <a:pt x="520" y="142"/>
                  </a:lnTo>
                  <a:lnTo>
                    <a:pt x="522" y="140"/>
                  </a:lnTo>
                  <a:lnTo>
                    <a:pt x="523" y="140"/>
                  </a:lnTo>
                  <a:lnTo>
                    <a:pt x="526" y="140"/>
                  </a:lnTo>
                  <a:lnTo>
                    <a:pt x="533" y="142"/>
                  </a:lnTo>
                  <a:lnTo>
                    <a:pt x="534" y="144"/>
                  </a:lnTo>
                  <a:lnTo>
                    <a:pt x="534" y="144"/>
                  </a:lnTo>
                  <a:lnTo>
                    <a:pt x="534" y="145"/>
                  </a:lnTo>
                  <a:lnTo>
                    <a:pt x="536" y="147"/>
                  </a:lnTo>
                  <a:lnTo>
                    <a:pt x="536" y="148"/>
                  </a:lnTo>
                  <a:lnTo>
                    <a:pt x="537" y="148"/>
                  </a:lnTo>
                  <a:lnTo>
                    <a:pt x="542" y="148"/>
                  </a:lnTo>
                  <a:lnTo>
                    <a:pt x="542" y="148"/>
                  </a:lnTo>
                  <a:lnTo>
                    <a:pt x="543" y="148"/>
                  </a:lnTo>
                  <a:lnTo>
                    <a:pt x="543" y="145"/>
                  </a:lnTo>
                  <a:lnTo>
                    <a:pt x="545" y="145"/>
                  </a:lnTo>
                  <a:lnTo>
                    <a:pt x="546" y="147"/>
                  </a:lnTo>
                  <a:lnTo>
                    <a:pt x="550" y="148"/>
                  </a:lnTo>
                  <a:lnTo>
                    <a:pt x="554" y="147"/>
                  </a:lnTo>
                  <a:lnTo>
                    <a:pt x="560" y="145"/>
                  </a:lnTo>
                  <a:lnTo>
                    <a:pt x="562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2"/>
                  </a:lnTo>
                  <a:lnTo>
                    <a:pt x="560" y="139"/>
                  </a:lnTo>
                  <a:lnTo>
                    <a:pt x="559" y="137"/>
                  </a:lnTo>
                  <a:lnTo>
                    <a:pt x="559" y="134"/>
                  </a:lnTo>
                  <a:lnTo>
                    <a:pt x="560" y="133"/>
                  </a:lnTo>
                  <a:lnTo>
                    <a:pt x="560" y="133"/>
                  </a:lnTo>
                  <a:lnTo>
                    <a:pt x="559" y="131"/>
                  </a:lnTo>
                  <a:lnTo>
                    <a:pt x="559" y="130"/>
                  </a:lnTo>
                  <a:lnTo>
                    <a:pt x="557" y="130"/>
                  </a:lnTo>
                  <a:lnTo>
                    <a:pt x="557" y="130"/>
                  </a:lnTo>
                  <a:lnTo>
                    <a:pt x="557" y="128"/>
                  </a:lnTo>
                  <a:lnTo>
                    <a:pt x="557" y="128"/>
                  </a:lnTo>
                  <a:lnTo>
                    <a:pt x="560" y="127"/>
                  </a:lnTo>
                  <a:lnTo>
                    <a:pt x="562" y="127"/>
                  </a:lnTo>
                  <a:lnTo>
                    <a:pt x="562" y="125"/>
                  </a:lnTo>
                  <a:lnTo>
                    <a:pt x="562" y="124"/>
                  </a:lnTo>
                  <a:lnTo>
                    <a:pt x="563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3" y="119"/>
                  </a:lnTo>
                  <a:lnTo>
                    <a:pt x="563" y="119"/>
                  </a:lnTo>
                  <a:lnTo>
                    <a:pt x="563" y="119"/>
                  </a:lnTo>
                  <a:lnTo>
                    <a:pt x="563" y="117"/>
                  </a:lnTo>
                  <a:lnTo>
                    <a:pt x="563" y="117"/>
                  </a:lnTo>
                  <a:lnTo>
                    <a:pt x="562" y="116"/>
                  </a:lnTo>
                  <a:lnTo>
                    <a:pt x="568" y="11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111"/>
            <p:cNvSpPr>
              <a:spLocks noEditPoints="1"/>
            </p:cNvSpPr>
            <p:nvPr/>
          </p:nvSpPr>
          <p:spPr bwMode="gray">
            <a:xfrm>
              <a:off x="10817225" y="8123238"/>
              <a:ext cx="374650" cy="374650"/>
            </a:xfrm>
            <a:custGeom>
              <a:avLst/>
              <a:gdLst>
                <a:gd name="T0" fmla="*/ 153 w 236"/>
                <a:gd name="T1" fmla="*/ 67 h 236"/>
                <a:gd name="T2" fmla="*/ 236 w 236"/>
                <a:gd name="T3" fmla="*/ 202 h 236"/>
                <a:gd name="T4" fmla="*/ 228 w 236"/>
                <a:gd name="T5" fmla="*/ 193 h 236"/>
                <a:gd name="T6" fmla="*/ 222 w 236"/>
                <a:gd name="T7" fmla="*/ 179 h 236"/>
                <a:gd name="T8" fmla="*/ 228 w 236"/>
                <a:gd name="T9" fmla="*/ 174 h 236"/>
                <a:gd name="T10" fmla="*/ 226 w 236"/>
                <a:gd name="T11" fmla="*/ 167 h 236"/>
                <a:gd name="T12" fmla="*/ 210 w 236"/>
                <a:gd name="T13" fmla="*/ 165 h 236"/>
                <a:gd name="T14" fmla="*/ 197 w 236"/>
                <a:gd name="T15" fmla="*/ 159 h 236"/>
                <a:gd name="T16" fmla="*/ 177 w 236"/>
                <a:gd name="T17" fmla="*/ 142 h 236"/>
                <a:gd name="T18" fmla="*/ 160 w 236"/>
                <a:gd name="T19" fmla="*/ 128 h 236"/>
                <a:gd name="T20" fmla="*/ 185 w 236"/>
                <a:gd name="T21" fmla="*/ 119 h 236"/>
                <a:gd name="T22" fmla="*/ 190 w 236"/>
                <a:gd name="T23" fmla="*/ 105 h 236"/>
                <a:gd name="T24" fmla="*/ 182 w 236"/>
                <a:gd name="T25" fmla="*/ 102 h 236"/>
                <a:gd name="T26" fmla="*/ 153 w 236"/>
                <a:gd name="T27" fmla="*/ 77 h 236"/>
                <a:gd name="T28" fmla="*/ 146 w 236"/>
                <a:gd name="T29" fmla="*/ 68 h 236"/>
                <a:gd name="T30" fmla="*/ 153 w 236"/>
                <a:gd name="T31" fmla="*/ 54 h 236"/>
                <a:gd name="T32" fmla="*/ 157 w 236"/>
                <a:gd name="T33" fmla="*/ 42 h 236"/>
                <a:gd name="T34" fmla="*/ 148 w 236"/>
                <a:gd name="T35" fmla="*/ 30 h 236"/>
                <a:gd name="T36" fmla="*/ 134 w 236"/>
                <a:gd name="T37" fmla="*/ 28 h 236"/>
                <a:gd name="T38" fmla="*/ 125 w 236"/>
                <a:gd name="T39" fmla="*/ 24 h 236"/>
                <a:gd name="T40" fmla="*/ 131 w 236"/>
                <a:gd name="T41" fmla="*/ 16 h 236"/>
                <a:gd name="T42" fmla="*/ 120 w 236"/>
                <a:gd name="T43" fmla="*/ 7 h 236"/>
                <a:gd name="T44" fmla="*/ 102 w 236"/>
                <a:gd name="T45" fmla="*/ 4 h 236"/>
                <a:gd name="T46" fmla="*/ 92 w 236"/>
                <a:gd name="T47" fmla="*/ 8 h 236"/>
                <a:gd name="T48" fmla="*/ 82 w 236"/>
                <a:gd name="T49" fmla="*/ 11 h 236"/>
                <a:gd name="T50" fmla="*/ 76 w 236"/>
                <a:gd name="T51" fmla="*/ 11 h 236"/>
                <a:gd name="T52" fmla="*/ 66 w 236"/>
                <a:gd name="T53" fmla="*/ 10 h 236"/>
                <a:gd name="T54" fmla="*/ 56 w 236"/>
                <a:gd name="T55" fmla="*/ 7 h 236"/>
                <a:gd name="T56" fmla="*/ 46 w 236"/>
                <a:gd name="T57" fmla="*/ 11 h 236"/>
                <a:gd name="T58" fmla="*/ 29 w 236"/>
                <a:gd name="T59" fmla="*/ 14 h 236"/>
                <a:gd name="T60" fmla="*/ 2 w 236"/>
                <a:gd name="T61" fmla="*/ 19 h 236"/>
                <a:gd name="T62" fmla="*/ 6 w 236"/>
                <a:gd name="T63" fmla="*/ 28 h 236"/>
                <a:gd name="T64" fmla="*/ 17 w 236"/>
                <a:gd name="T65" fmla="*/ 44 h 236"/>
                <a:gd name="T66" fmla="*/ 20 w 236"/>
                <a:gd name="T67" fmla="*/ 64 h 236"/>
                <a:gd name="T68" fmla="*/ 15 w 236"/>
                <a:gd name="T69" fmla="*/ 74 h 236"/>
                <a:gd name="T70" fmla="*/ 12 w 236"/>
                <a:gd name="T71" fmla="*/ 77 h 236"/>
                <a:gd name="T72" fmla="*/ 14 w 236"/>
                <a:gd name="T73" fmla="*/ 90 h 236"/>
                <a:gd name="T74" fmla="*/ 20 w 236"/>
                <a:gd name="T75" fmla="*/ 104 h 236"/>
                <a:gd name="T76" fmla="*/ 17 w 236"/>
                <a:gd name="T77" fmla="*/ 113 h 236"/>
                <a:gd name="T78" fmla="*/ 48 w 236"/>
                <a:gd name="T79" fmla="*/ 124 h 236"/>
                <a:gd name="T80" fmla="*/ 57 w 236"/>
                <a:gd name="T81" fmla="*/ 124 h 236"/>
                <a:gd name="T82" fmla="*/ 83 w 236"/>
                <a:gd name="T83" fmla="*/ 136 h 236"/>
                <a:gd name="T84" fmla="*/ 86 w 236"/>
                <a:gd name="T85" fmla="*/ 142 h 236"/>
                <a:gd name="T86" fmla="*/ 94 w 236"/>
                <a:gd name="T87" fmla="*/ 147 h 236"/>
                <a:gd name="T88" fmla="*/ 109 w 236"/>
                <a:gd name="T89" fmla="*/ 154 h 236"/>
                <a:gd name="T90" fmla="*/ 122 w 236"/>
                <a:gd name="T91" fmla="*/ 151 h 236"/>
                <a:gd name="T92" fmla="*/ 129 w 236"/>
                <a:gd name="T93" fmla="*/ 168 h 236"/>
                <a:gd name="T94" fmla="*/ 140 w 236"/>
                <a:gd name="T95" fmla="*/ 171 h 236"/>
                <a:gd name="T96" fmla="*/ 149 w 236"/>
                <a:gd name="T97" fmla="*/ 176 h 236"/>
                <a:gd name="T98" fmla="*/ 169 w 236"/>
                <a:gd name="T99" fmla="*/ 168 h 236"/>
                <a:gd name="T100" fmla="*/ 176 w 236"/>
                <a:gd name="T101" fmla="*/ 176 h 236"/>
                <a:gd name="T102" fmla="*/ 179 w 236"/>
                <a:gd name="T103" fmla="*/ 190 h 236"/>
                <a:gd name="T104" fmla="*/ 190 w 236"/>
                <a:gd name="T105" fmla="*/ 199 h 236"/>
                <a:gd name="T106" fmla="*/ 190 w 236"/>
                <a:gd name="T107" fmla="*/ 211 h 236"/>
                <a:gd name="T108" fmla="*/ 211 w 236"/>
                <a:gd name="T109" fmla="*/ 231 h 236"/>
                <a:gd name="T110" fmla="*/ 228 w 236"/>
                <a:gd name="T111" fmla="*/ 233 h 236"/>
                <a:gd name="T112" fmla="*/ 226 w 236"/>
                <a:gd name="T113" fmla="*/ 224 h 236"/>
                <a:gd name="T114" fmla="*/ 223 w 236"/>
                <a:gd name="T115" fmla="*/ 208 h 236"/>
                <a:gd name="T116" fmla="*/ 234 w 236"/>
                <a:gd name="T117" fmla="*/ 202 h 236"/>
                <a:gd name="T118" fmla="*/ 114 w 236"/>
                <a:gd name="T119" fmla="*/ 24 h 236"/>
                <a:gd name="T120" fmla="*/ 131 w 236"/>
                <a:gd name="T121" fmla="*/ 33 h 236"/>
                <a:gd name="T122" fmla="*/ 133 w 236"/>
                <a:gd name="T123" fmla="*/ 3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6" h="236">
                  <a:moveTo>
                    <a:pt x="156" y="62"/>
                  </a:moveTo>
                  <a:lnTo>
                    <a:pt x="154" y="62"/>
                  </a:lnTo>
                  <a:lnTo>
                    <a:pt x="154" y="62"/>
                  </a:lnTo>
                  <a:lnTo>
                    <a:pt x="153" y="64"/>
                  </a:lnTo>
                  <a:lnTo>
                    <a:pt x="153" y="65"/>
                  </a:lnTo>
                  <a:lnTo>
                    <a:pt x="153" y="65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6" y="68"/>
                  </a:lnTo>
                  <a:lnTo>
                    <a:pt x="157" y="67"/>
                  </a:lnTo>
                  <a:lnTo>
                    <a:pt x="159" y="64"/>
                  </a:lnTo>
                  <a:lnTo>
                    <a:pt x="157" y="62"/>
                  </a:lnTo>
                  <a:lnTo>
                    <a:pt x="156" y="62"/>
                  </a:lnTo>
                  <a:close/>
                  <a:moveTo>
                    <a:pt x="236" y="202"/>
                  </a:moveTo>
                  <a:lnTo>
                    <a:pt x="236" y="201"/>
                  </a:lnTo>
                  <a:lnTo>
                    <a:pt x="236" y="201"/>
                  </a:lnTo>
                  <a:lnTo>
                    <a:pt x="234" y="201"/>
                  </a:lnTo>
                  <a:lnTo>
                    <a:pt x="231" y="198"/>
                  </a:lnTo>
                  <a:lnTo>
                    <a:pt x="230" y="196"/>
                  </a:lnTo>
                  <a:lnTo>
                    <a:pt x="230" y="194"/>
                  </a:lnTo>
                  <a:lnTo>
                    <a:pt x="228" y="193"/>
                  </a:lnTo>
                  <a:lnTo>
                    <a:pt x="228" y="191"/>
                  </a:lnTo>
                  <a:lnTo>
                    <a:pt x="226" y="191"/>
                  </a:lnTo>
                  <a:lnTo>
                    <a:pt x="222" y="188"/>
                  </a:lnTo>
                  <a:lnTo>
                    <a:pt x="219" y="187"/>
                  </a:lnTo>
                  <a:lnTo>
                    <a:pt x="219" y="184"/>
                  </a:lnTo>
                  <a:lnTo>
                    <a:pt x="219" y="181"/>
                  </a:lnTo>
                  <a:lnTo>
                    <a:pt x="222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8" y="178"/>
                  </a:lnTo>
                  <a:lnTo>
                    <a:pt x="228" y="178"/>
                  </a:lnTo>
                  <a:lnTo>
                    <a:pt x="228" y="176"/>
                  </a:lnTo>
                  <a:lnTo>
                    <a:pt x="228" y="176"/>
                  </a:lnTo>
                  <a:lnTo>
                    <a:pt x="228" y="174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1" y="171"/>
                  </a:lnTo>
                  <a:lnTo>
                    <a:pt x="230" y="170"/>
                  </a:lnTo>
                  <a:lnTo>
                    <a:pt x="230" y="168"/>
                  </a:lnTo>
                  <a:lnTo>
                    <a:pt x="228" y="168"/>
                  </a:lnTo>
                  <a:lnTo>
                    <a:pt x="226" y="167"/>
                  </a:lnTo>
                  <a:lnTo>
                    <a:pt x="222" y="168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17" y="164"/>
                  </a:lnTo>
                  <a:lnTo>
                    <a:pt x="217" y="164"/>
                  </a:lnTo>
                  <a:lnTo>
                    <a:pt x="214" y="164"/>
                  </a:lnTo>
                  <a:lnTo>
                    <a:pt x="210" y="165"/>
                  </a:lnTo>
                  <a:lnTo>
                    <a:pt x="206" y="167"/>
                  </a:lnTo>
                  <a:lnTo>
                    <a:pt x="205" y="165"/>
                  </a:lnTo>
                  <a:lnTo>
                    <a:pt x="203" y="165"/>
                  </a:lnTo>
                  <a:lnTo>
                    <a:pt x="202" y="162"/>
                  </a:lnTo>
                  <a:lnTo>
                    <a:pt x="202" y="161"/>
                  </a:lnTo>
                  <a:lnTo>
                    <a:pt x="200" y="159"/>
                  </a:lnTo>
                  <a:lnTo>
                    <a:pt x="197" y="159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2" y="147"/>
                  </a:lnTo>
                  <a:lnTo>
                    <a:pt x="180" y="145"/>
                  </a:lnTo>
                  <a:lnTo>
                    <a:pt x="177" y="142"/>
                  </a:lnTo>
                  <a:lnTo>
                    <a:pt x="177" y="141"/>
                  </a:lnTo>
                  <a:lnTo>
                    <a:pt x="174" y="134"/>
                  </a:lnTo>
                  <a:lnTo>
                    <a:pt x="173" y="133"/>
                  </a:lnTo>
                  <a:lnTo>
                    <a:pt x="169" y="131"/>
                  </a:lnTo>
                  <a:lnTo>
                    <a:pt x="162" y="131"/>
                  </a:lnTo>
                  <a:lnTo>
                    <a:pt x="160" y="130"/>
                  </a:lnTo>
                  <a:lnTo>
                    <a:pt x="160" y="128"/>
                  </a:lnTo>
                  <a:lnTo>
                    <a:pt x="160" y="127"/>
                  </a:lnTo>
                  <a:lnTo>
                    <a:pt x="165" y="124"/>
                  </a:lnTo>
                  <a:lnTo>
                    <a:pt x="177" y="127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3" y="124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6" y="117"/>
                  </a:lnTo>
                  <a:lnTo>
                    <a:pt x="188" y="116"/>
                  </a:lnTo>
                  <a:lnTo>
                    <a:pt x="188" y="113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90" y="105"/>
                  </a:lnTo>
                  <a:lnTo>
                    <a:pt x="190" y="105"/>
                  </a:lnTo>
                  <a:lnTo>
                    <a:pt x="188" y="102"/>
                  </a:lnTo>
                  <a:lnTo>
                    <a:pt x="186" y="102"/>
                  </a:lnTo>
                  <a:lnTo>
                    <a:pt x="185" y="101"/>
                  </a:lnTo>
                  <a:lnTo>
                    <a:pt x="183" y="101"/>
                  </a:lnTo>
                  <a:lnTo>
                    <a:pt x="183" y="101"/>
                  </a:lnTo>
                  <a:lnTo>
                    <a:pt x="182" y="102"/>
                  </a:lnTo>
                  <a:lnTo>
                    <a:pt x="180" y="102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60" y="88"/>
                  </a:lnTo>
                  <a:lnTo>
                    <a:pt x="156" y="84"/>
                  </a:lnTo>
                  <a:lnTo>
                    <a:pt x="154" y="79"/>
                  </a:lnTo>
                  <a:lnTo>
                    <a:pt x="153" y="7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51" y="74"/>
                  </a:lnTo>
                  <a:lnTo>
                    <a:pt x="149" y="73"/>
                  </a:lnTo>
                  <a:lnTo>
                    <a:pt x="149" y="71"/>
                  </a:lnTo>
                  <a:lnTo>
                    <a:pt x="148" y="70"/>
                  </a:lnTo>
                  <a:lnTo>
                    <a:pt x="146" y="68"/>
                  </a:lnTo>
                  <a:lnTo>
                    <a:pt x="146" y="67"/>
                  </a:lnTo>
                  <a:lnTo>
                    <a:pt x="145" y="65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6" y="57"/>
                  </a:lnTo>
                  <a:lnTo>
                    <a:pt x="149" y="56"/>
                  </a:lnTo>
                  <a:lnTo>
                    <a:pt x="153" y="54"/>
                  </a:lnTo>
                  <a:lnTo>
                    <a:pt x="159" y="51"/>
                  </a:lnTo>
                  <a:lnTo>
                    <a:pt x="160" y="48"/>
                  </a:lnTo>
                  <a:lnTo>
                    <a:pt x="162" y="45"/>
                  </a:lnTo>
                  <a:lnTo>
                    <a:pt x="162" y="42"/>
                  </a:lnTo>
                  <a:lnTo>
                    <a:pt x="160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6" y="40"/>
                  </a:lnTo>
                  <a:lnTo>
                    <a:pt x="153" y="36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8" y="33"/>
                  </a:lnTo>
                  <a:lnTo>
                    <a:pt x="148" y="30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5" y="28"/>
                  </a:lnTo>
                  <a:lnTo>
                    <a:pt x="142" y="30"/>
                  </a:lnTo>
                  <a:lnTo>
                    <a:pt x="140" y="30"/>
                  </a:lnTo>
                  <a:lnTo>
                    <a:pt x="137" y="28"/>
                  </a:lnTo>
                  <a:lnTo>
                    <a:pt x="134" y="28"/>
                  </a:lnTo>
                  <a:lnTo>
                    <a:pt x="133" y="27"/>
                  </a:lnTo>
                  <a:lnTo>
                    <a:pt x="131" y="25"/>
                  </a:lnTo>
                  <a:lnTo>
                    <a:pt x="129" y="25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2"/>
                  </a:lnTo>
                  <a:lnTo>
                    <a:pt x="122" y="19"/>
                  </a:lnTo>
                  <a:lnTo>
                    <a:pt x="129" y="19"/>
                  </a:lnTo>
                  <a:lnTo>
                    <a:pt x="133" y="17"/>
                  </a:lnTo>
                  <a:lnTo>
                    <a:pt x="131" y="16"/>
                  </a:lnTo>
                  <a:lnTo>
                    <a:pt x="131" y="14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20" y="10"/>
                  </a:lnTo>
                  <a:lnTo>
                    <a:pt x="119" y="10"/>
                  </a:lnTo>
                  <a:lnTo>
                    <a:pt x="119" y="8"/>
                  </a:lnTo>
                  <a:lnTo>
                    <a:pt x="120" y="7"/>
                  </a:lnTo>
                  <a:lnTo>
                    <a:pt x="117" y="0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1" y="4"/>
                  </a:lnTo>
                  <a:lnTo>
                    <a:pt x="103" y="2"/>
                  </a:lnTo>
                  <a:lnTo>
                    <a:pt x="102" y="4"/>
                  </a:lnTo>
                  <a:lnTo>
                    <a:pt x="103" y="5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3" y="8"/>
                  </a:lnTo>
                  <a:lnTo>
                    <a:pt x="92" y="8"/>
                  </a:lnTo>
                  <a:lnTo>
                    <a:pt x="89" y="8"/>
                  </a:lnTo>
                  <a:lnTo>
                    <a:pt x="88" y="7"/>
                  </a:lnTo>
                  <a:lnTo>
                    <a:pt x="86" y="8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3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0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0"/>
                  </a:lnTo>
                  <a:lnTo>
                    <a:pt x="79" y="11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2" y="11"/>
                  </a:lnTo>
                  <a:lnTo>
                    <a:pt x="69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5" y="10"/>
                  </a:lnTo>
                  <a:lnTo>
                    <a:pt x="63" y="10"/>
                  </a:lnTo>
                  <a:lnTo>
                    <a:pt x="62" y="10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49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9" y="13"/>
                  </a:lnTo>
                  <a:lnTo>
                    <a:pt x="32" y="13"/>
                  </a:lnTo>
                  <a:lnTo>
                    <a:pt x="29" y="14"/>
                  </a:lnTo>
                  <a:lnTo>
                    <a:pt x="26" y="17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11" y="17"/>
                  </a:lnTo>
                  <a:lnTo>
                    <a:pt x="6" y="17"/>
                  </a:lnTo>
                  <a:lnTo>
                    <a:pt x="3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2" y="27"/>
                  </a:lnTo>
                  <a:lnTo>
                    <a:pt x="3" y="28"/>
                  </a:lnTo>
                  <a:lnTo>
                    <a:pt x="6" y="28"/>
                  </a:lnTo>
                  <a:lnTo>
                    <a:pt x="9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5" y="37"/>
                  </a:lnTo>
                  <a:lnTo>
                    <a:pt x="17" y="39"/>
                  </a:lnTo>
                  <a:lnTo>
                    <a:pt x="17" y="42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22" y="51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60"/>
                  </a:lnTo>
                  <a:lnTo>
                    <a:pt x="22" y="62"/>
                  </a:lnTo>
                  <a:lnTo>
                    <a:pt x="20" y="64"/>
                  </a:lnTo>
                  <a:lnTo>
                    <a:pt x="20" y="65"/>
                  </a:lnTo>
                  <a:lnTo>
                    <a:pt x="20" y="67"/>
                  </a:lnTo>
                  <a:lnTo>
                    <a:pt x="17" y="71"/>
                  </a:lnTo>
                  <a:lnTo>
                    <a:pt x="17" y="73"/>
                  </a:lnTo>
                  <a:lnTo>
                    <a:pt x="17" y="76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2" y="77"/>
                  </a:lnTo>
                  <a:lnTo>
                    <a:pt x="9" y="81"/>
                  </a:lnTo>
                  <a:lnTo>
                    <a:pt x="9" y="82"/>
                  </a:lnTo>
                  <a:lnTo>
                    <a:pt x="11" y="84"/>
                  </a:lnTo>
                  <a:lnTo>
                    <a:pt x="14" y="85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90"/>
                  </a:lnTo>
                  <a:lnTo>
                    <a:pt x="12" y="91"/>
                  </a:lnTo>
                  <a:lnTo>
                    <a:pt x="12" y="93"/>
                  </a:lnTo>
                  <a:lnTo>
                    <a:pt x="12" y="94"/>
                  </a:lnTo>
                  <a:lnTo>
                    <a:pt x="15" y="96"/>
                  </a:lnTo>
                  <a:lnTo>
                    <a:pt x="19" y="101"/>
                  </a:lnTo>
                  <a:lnTo>
                    <a:pt x="19" y="104"/>
                  </a:lnTo>
                  <a:lnTo>
                    <a:pt x="20" y="104"/>
                  </a:lnTo>
                  <a:lnTo>
                    <a:pt x="19" y="105"/>
                  </a:lnTo>
                  <a:lnTo>
                    <a:pt x="19" y="107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1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6"/>
                  </a:lnTo>
                  <a:lnTo>
                    <a:pt x="22" y="117"/>
                  </a:lnTo>
                  <a:lnTo>
                    <a:pt x="28" y="121"/>
                  </a:lnTo>
                  <a:lnTo>
                    <a:pt x="36" y="124"/>
                  </a:lnTo>
                  <a:lnTo>
                    <a:pt x="45" y="125"/>
                  </a:lnTo>
                  <a:lnTo>
                    <a:pt x="46" y="125"/>
                  </a:lnTo>
                  <a:lnTo>
                    <a:pt x="48" y="124"/>
                  </a:lnTo>
                  <a:lnTo>
                    <a:pt x="51" y="124"/>
                  </a:lnTo>
                  <a:lnTo>
                    <a:pt x="51" y="124"/>
                  </a:lnTo>
                  <a:lnTo>
                    <a:pt x="52" y="124"/>
                  </a:lnTo>
                  <a:lnTo>
                    <a:pt x="52" y="125"/>
                  </a:lnTo>
                  <a:lnTo>
                    <a:pt x="54" y="124"/>
                  </a:lnTo>
                  <a:lnTo>
                    <a:pt x="56" y="124"/>
                  </a:lnTo>
                  <a:lnTo>
                    <a:pt x="57" y="124"/>
                  </a:lnTo>
                  <a:lnTo>
                    <a:pt x="62" y="122"/>
                  </a:lnTo>
                  <a:lnTo>
                    <a:pt x="63" y="122"/>
                  </a:lnTo>
                  <a:lnTo>
                    <a:pt x="66" y="124"/>
                  </a:lnTo>
                  <a:lnTo>
                    <a:pt x="71" y="125"/>
                  </a:lnTo>
                  <a:lnTo>
                    <a:pt x="77" y="130"/>
                  </a:lnTo>
                  <a:lnTo>
                    <a:pt x="82" y="133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9"/>
                  </a:lnTo>
                  <a:lnTo>
                    <a:pt x="86" y="141"/>
                  </a:lnTo>
                  <a:lnTo>
                    <a:pt x="86" y="141"/>
                  </a:lnTo>
                  <a:lnTo>
                    <a:pt x="86" y="142"/>
                  </a:lnTo>
                  <a:lnTo>
                    <a:pt x="86" y="144"/>
                  </a:lnTo>
                  <a:lnTo>
                    <a:pt x="88" y="142"/>
                  </a:lnTo>
                  <a:lnTo>
                    <a:pt x="91" y="145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9" y="153"/>
                  </a:lnTo>
                  <a:lnTo>
                    <a:pt x="100" y="156"/>
                  </a:lnTo>
                  <a:lnTo>
                    <a:pt x="102" y="154"/>
                  </a:lnTo>
                  <a:lnTo>
                    <a:pt x="106" y="154"/>
                  </a:lnTo>
                  <a:lnTo>
                    <a:pt x="109" y="154"/>
                  </a:lnTo>
                  <a:lnTo>
                    <a:pt x="111" y="153"/>
                  </a:lnTo>
                  <a:lnTo>
                    <a:pt x="114" y="153"/>
                  </a:lnTo>
                  <a:lnTo>
                    <a:pt x="114" y="151"/>
                  </a:lnTo>
                  <a:lnTo>
                    <a:pt x="117" y="150"/>
                  </a:lnTo>
                  <a:lnTo>
                    <a:pt x="119" y="148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8" y="158"/>
                  </a:lnTo>
                  <a:lnTo>
                    <a:pt x="128" y="159"/>
                  </a:lnTo>
                  <a:lnTo>
                    <a:pt x="128" y="161"/>
                  </a:lnTo>
                  <a:lnTo>
                    <a:pt x="128" y="162"/>
                  </a:lnTo>
                  <a:lnTo>
                    <a:pt x="128" y="167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33" y="168"/>
                  </a:lnTo>
                  <a:lnTo>
                    <a:pt x="134" y="165"/>
                  </a:lnTo>
                  <a:lnTo>
                    <a:pt x="136" y="165"/>
                  </a:lnTo>
                  <a:lnTo>
                    <a:pt x="137" y="165"/>
                  </a:lnTo>
                  <a:lnTo>
                    <a:pt x="139" y="168"/>
                  </a:lnTo>
                  <a:lnTo>
                    <a:pt x="139" y="170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5" y="173"/>
                  </a:lnTo>
                  <a:lnTo>
                    <a:pt x="146" y="173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3" y="174"/>
                  </a:lnTo>
                  <a:lnTo>
                    <a:pt x="159" y="171"/>
                  </a:lnTo>
                  <a:lnTo>
                    <a:pt x="160" y="170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71" y="168"/>
                  </a:lnTo>
                  <a:lnTo>
                    <a:pt x="174" y="168"/>
                  </a:lnTo>
                  <a:lnTo>
                    <a:pt x="176" y="170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7" y="181"/>
                  </a:lnTo>
                  <a:lnTo>
                    <a:pt x="176" y="181"/>
                  </a:lnTo>
                  <a:lnTo>
                    <a:pt x="174" y="185"/>
                  </a:lnTo>
                  <a:lnTo>
                    <a:pt x="173" y="187"/>
                  </a:lnTo>
                  <a:lnTo>
                    <a:pt x="174" y="188"/>
                  </a:lnTo>
                  <a:lnTo>
                    <a:pt x="174" y="188"/>
                  </a:lnTo>
                  <a:lnTo>
                    <a:pt x="179" y="190"/>
                  </a:lnTo>
                  <a:lnTo>
                    <a:pt x="180" y="191"/>
                  </a:lnTo>
                  <a:lnTo>
                    <a:pt x="182" y="193"/>
                  </a:lnTo>
                  <a:lnTo>
                    <a:pt x="183" y="194"/>
                  </a:lnTo>
                  <a:lnTo>
                    <a:pt x="183" y="194"/>
                  </a:lnTo>
                  <a:lnTo>
                    <a:pt x="188" y="196"/>
                  </a:lnTo>
                  <a:lnTo>
                    <a:pt x="190" y="198"/>
                  </a:lnTo>
                  <a:lnTo>
                    <a:pt x="190" y="199"/>
                  </a:lnTo>
                  <a:lnTo>
                    <a:pt x="191" y="199"/>
                  </a:lnTo>
                  <a:lnTo>
                    <a:pt x="190" y="201"/>
                  </a:lnTo>
                  <a:lnTo>
                    <a:pt x="190" y="201"/>
                  </a:lnTo>
                  <a:lnTo>
                    <a:pt x="188" y="204"/>
                  </a:lnTo>
                  <a:lnTo>
                    <a:pt x="188" y="205"/>
                  </a:lnTo>
                  <a:lnTo>
                    <a:pt x="188" y="208"/>
                  </a:lnTo>
                  <a:lnTo>
                    <a:pt x="190" y="211"/>
                  </a:lnTo>
                  <a:lnTo>
                    <a:pt x="191" y="213"/>
                  </a:lnTo>
                  <a:lnTo>
                    <a:pt x="193" y="216"/>
                  </a:lnTo>
                  <a:lnTo>
                    <a:pt x="197" y="227"/>
                  </a:lnTo>
                  <a:lnTo>
                    <a:pt x="202" y="236"/>
                  </a:lnTo>
                  <a:lnTo>
                    <a:pt x="206" y="234"/>
                  </a:lnTo>
                  <a:lnTo>
                    <a:pt x="208" y="234"/>
                  </a:lnTo>
                  <a:lnTo>
                    <a:pt x="211" y="231"/>
                  </a:lnTo>
                  <a:lnTo>
                    <a:pt x="213" y="231"/>
                  </a:lnTo>
                  <a:lnTo>
                    <a:pt x="214" y="231"/>
                  </a:lnTo>
                  <a:lnTo>
                    <a:pt x="217" y="230"/>
                  </a:lnTo>
                  <a:lnTo>
                    <a:pt x="219" y="230"/>
                  </a:lnTo>
                  <a:lnTo>
                    <a:pt x="219" y="230"/>
                  </a:lnTo>
                  <a:lnTo>
                    <a:pt x="220" y="230"/>
                  </a:lnTo>
                  <a:lnTo>
                    <a:pt x="228" y="233"/>
                  </a:lnTo>
                  <a:lnTo>
                    <a:pt x="230" y="234"/>
                  </a:lnTo>
                  <a:lnTo>
                    <a:pt x="226" y="228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5"/>
                  </a:lnTo>
                  <a:lnTo>
                    <a:pt x="226" y="224"/>
                  </a:lnTo>
                  <a:lnTo>
                    <a:pt x="226" y="224"/>
                  </a:lnTo>
                  <a:lnTo>
                    <a:pt x="226" y="224"/>
                  </a:lnTo>
                  <a:lnTo>
                    <a:pt x="228" y="221"/>
                  </a:lnTo>
                  <a:lnTo>
                    <a:pt x="228" y="218"/>
                  </a:lnTo>
                  <a:lnTo>
                    <a:pt x="228" y="214"/>
                  </a:lnTo>
                  <a:lnTo>
                    <a:pt x="226" y="211"/>
                  </a:lnTo>
                  <a:lnTo>
                    <a:pt x="225" y="210"/>
                  </a:lnTo>
                  <a:lnTo>
                    <a:pt x="223" y="208"/>
                  </a:lnTo>
                  <a:lnTo>
                    <a:pt x="220" y="207"/>
                  </a:lnTo>
                  <a:lnTo>
                    <a:pt x="220" y="204"/>
                  </a:lnTo>
                  <a:lnTo>
                    <a:pt x="222" y="202"/>
                  </a:lnTo>
                  <a:lnTo>
                    <a:pt x="225" y="202"/>
                  </a:lnTo>
                  <a:lnTo>
                    <a:pt x="230" y="205"/>
                  </a:lnTo>
                  <a:lnTo>
                    <a:pt x="231" y="205"/>
                  </a:lnTo>
                  <a:lnTo>
                    <a:pt x="234" y="202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6" y="202"/>
                  </a:lnTo>
                  <a:close/>
                  <a:moveTo>
                    <a:pt x="119" y="27"/>
                  </a:moveTo>
                  <a:lnTo>
                    <a:pt x="116" y="27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4" y="22"/>
                  </a:lnTo>
                  <a:lnTo>
                    <a:pt x="116" y="20"/>
                  </a:lnTo>
                  <a:lnTo>
                    <a:pt x="119" y="22"/>
                  </a:lnTo>
                  <a:lnTo>
                    <a:pt x="119" y="25"/>
                  </a:lnTo>
                  <a:lnTo>
                    <a:pt x="119" y="27"/>
                  </a:lnTo>
                  <a:close/>
                  <a:moveTo>
                    <a:pt x="133" y="33"/>
                  </a:moveTo>
                  <a:lnTo>
                    <a:pt x="131" y="33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3" y="31"/>
                  </a:lnTo>
                  <a:lnTo>
                    <a:pt x="133" y="33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112"/>
            <p:cNvSpPr>
              <a:spLocks noEditPoints="1"/>
            </p:cNvSpPr>
            <p:nvPr/>
          </p:nvSpPr>
          <p:spPr bwMode="gray">
            <a:xfrm>
              <a:off x="10817225" y="8123238"/>
              <a:ext cx="374650" cy="374650"/>
            </a:xfrm>
            <a:custGeom>
              <a:avLst/>
              <a:gdLst>
                <a:gd name="T0" fmla="*/ 153 w 236"/>
                <a:gd name="T1" fmla="*/ 67 h 236"/>
                <a:gd name="T2" fmla="*/ 236 w 236"/>
                <a:gd name="T3" fmla="*/ 202 h 236"/>
                <a:gd name="T4" fmla="*/ 228 w 236"/>
                <a:gd name="T5" fmla="*/ 193 h 236"/>
                <a:gd name="T6" fmla="*/ 222 w 236"/>
                <a:gd name="T7" fmla="*/ 179 h 236"/>
                <a:gd name="T8" fmla="*/ 228 w 236"/>
                <a:gd name="T9" fmla="*/ 174 h 236"/>
                <a:gd name="T10" fmla="*/ 226 w 236"/>
                <a:gd name="T11" fmla="*/ 167 h 236"/>
                <a:gd name="T12" fmla="*/ 210 w 236"/>
                <a:gd name="T13" fmla="*/ 165 h 236"/>
                <a:gd name="T14" fmla="*/ 197 w 236"/>
                <a:gd name="T15" fmla="*/ 159 h 236"/>
                <a:gd name="T16" fmla="*/ 177 w 236"/>
                <a:gd name="T17" fmla="*/ 142 h 236"/>
                <a:gd name="T18" fmla="*/ 160 w 236"/>
                <a:gd name="T19" fmla="*/ 128 h 236"/>
                <a:gd name="T20" fmla="*/ 185 w 236"/>
                <a:gd name="T21" fmla="*/ 119 h 236"/>
                <a:gd name="T22" fmla="*/ 190 w 236"/>
                <a:gd name="T23" fmla="*/ 105 h 236"/>
                <a:gd name="T24" fmla="*/ 182 w 236"/>
                <a:gd name="T25" fmla="*/ 102 h 236"/>
                <a:gd name="T26" fmla="*/ 153 w 236"/>
                <a:gd name="T27" fmla="*/ 77 h 236"/>
                <a:gd name="T28" fmla="*/ 146 w 236"/>
                <a:gd name="T29" fmla="*/ 68 h 236"/>
                <a:gd name="T30" fmla="*/ 153 w 236"/>
                <a:gd name="T31" fmla="*/ 54 h 236"/>
                <a:gd name="T32" fmla="*/ 157 w 236"/>
                <a:gd name="T33" fmla="*/ 42 h 236"/>
                <a:gd name="T34" fmla="*/ 148 w 236"/>
                <a:gd name="T35" fmla="*/ 30 h 236"/>
                <a:gd name="T36" fmla="*/ 134 w 236"/>
                <a:gd name="T37" fmla="*/ 28 h 236"/>
                <a:gd name="T38" fmla="*/ 125 w 236"/>
                <a:gd name="T39" fmla="*/ 24 h 236"/>
                <a:gd name="T40" fmla="*/ 131 w 236"/>
                <a:gd name="T41" fmla="*/ 16 h 236"/>
                <a:gd name="T42" fmla="*/ 120 w 236"/>
                <a:gd name="T43" fmla="*/ 7 h 236"/>
                <a:gd name="T44" fmla="*/ 102 w 236"/>
                <a:gd name="T45" fmla="*/ 4 h 236"/>
                <a:gd name="T46" fmla="*/ 92 w 236"/>
                <a:gd name="T47" fmla="*/ 8 h 236"/>
                <a:gd name="T48" fmla="*/ 82 w 236"/>
                <a:gd name="T49" fmla="*/ 11 h 236"/>
                <a:gd name="T50" fmla="*/ 76 w 236"/>
                <a:gd name="T51" fmla="*/ 11 h 236"/>
                <a:gd name="T52" fmla="*/ 66 w 236"/>
                <a:gd name="T53" fmla="*/ 10 h 236"/>
                <a:gd name="T54" fmla="*/ 56 w 236"/>
                <a:gd name="T55" fmla="*/ 7 h 236"/>
                <a:gd name="T56" fmla="*/ 46 w 236"/>
                <a:gd name="T57" fmla="*/ 11 h 236"/>
                <a:gd name="T58" fmla="*/ 29 w 236"/>
                <a:gd name="T59" fmla="*/ 14 h 236"/>
                <a:gd name="T60" fmla="*/ 2 w 236"/>
                <a:gd name="T61" fmla="*/ 19 h 236"/>
                <a:gd name="T62" fmla="*/ 6 w 236"/>
                <a:gd name="T63" fmla="*/ 28 h 236"/>
                <a:gd name="T64" fmla="*/ 17 w 236"/>
                <a:gd name="T65" fmla="*/ 44 h 236"/>
                <a:gd name="T66" fmla="*/ 20 w 236"/>
                <a:gd name="T67" fmla="*/ 64 h 236"/>
                <a:gd name="T68" fmla="*/ 15 w 236"/>
                <a:gd name="T69" fmla="*/ 74 h 236"/>
                <a:gd name="T70" fmla="*/ 12 w 236"/>
                <a:gd name="T71" fmla="*/ 77 h 236"/>
                <a:gd name="T72" fmla="*/ 14 w 236"/>
                <a:gd name="T73" fmla="*/ 90 h 236"/>
                <a:gd name="T74" fmla="*/ 20 w 236"/>
                <a:gd name="T75" fmla="*/ 104 h 236"/>
                <a:gd name="T76" fmla="*/ 17 w 236"/>
                <a:gd name="T77" fmla="*/ 113 h 236"/>
                <a:gd name="T78" fmla="*/ 48 w 236"/>
                <a:gd name="T79" fmla="*/ 124 h 236"/>
                <a:gd name="T80" fmla="*/ 57 w 236"/>
                <a:gd name="T81" fmla="*/ 124 h 236"/>
                <a:gd name="T82" fmla="*/ 83 w 236"/>
                <a:gd name="T83" fmla="*/ 136 h 236"/>
                <a:gd name="T84" fmla="*/ 86 w 236"/>
                <a:gd name="T85" fmla="*/ 142 h 236"/>
                <a:gd name="T86" fmla="*/ 94 w 236"/>
                <a:gd name="T87" fmla="*/ 147 h 236"/>
                <a:gd name="T88" fmla="*/ 109 w 236"/>
                <a:gd name="T89" fmla="*/ 154 h 236"/>
                <a:gd name="T90" fmla="*/ 122 w 236"/>
                <a:gd name="T91" fmla="*/ 151 h 236"/>
                <a:gd name="T92" fmla="*/ 129 w 236"/>
                <a:gd name="T93" fmla="*/ 168 h 236"/>
                <a:gd name="T94" fmla="*/ 140 w 236"/>
                <a:gd name="T95" fmla="*/ 171 h 236"/>
                <a:gd name="T96" fmla="*/ 149 w 236"/>
                <a:gd name="T97" fmla="*/ 176 h 236"/>
                <a:gd name="T98" fmla="*/ 169 w 236"/>
                <a:gd name="T99" fmla="*/ 168 h 236"/>
                <a:gd name="T100" fmla="*/ 176 w 236"/>
                <a:gd name="T101" fmla="*/ 176 h 236"/>
                <a:gd name="T102" fmla="*/ 179 w 236"/>
                <a:gd name="T103" fmla="*/ 190 h 236"/>
                <a:gd name="T104" fmla="*/ 190 w 236"/>
                <a:gd name="T105" fmla="*/ 199 h 236"/>
                <a:gd name="T106" fmla="*/ 190 w 236"/>
                <a:gd name="T107" fmla="*/ 211 h 236"/>
                <a:gd name="T108" fmla="*/ 211 w 236"/>
                <a:gd name="T109" fmla="*/ 231 h 236"/>
                <a:gd name="T110" fmla="*/ 228 w 236"/>
                <a:gd name="T111" fmla="*/ 233 h 236"/>
                <a:gd name="T112" fmla="*/ 226 w 236"/>
                <a:gd name="T113" fmla="*/ 224 h 236"/>
                <a:gd name="T114" fmla="*/ 223 w 236"/>
                <a:gd name="T115" fmla="*/ 208 h 236"/>
                <a:gd name="T116" fmla="*/ 234 w 236"/>
                <a:gd name="T117" fmla="*/ 202 h 236"/>
                <a:gd name="T118" fmla="*/ 114 w 236"/>
                <a:gd name="T119" fmla="*/ 24 h 236"/>
                <a:gd name="T120" fmla="*/ 131 w 236"/>
                <a:gd name="T121" fmla="*/ 33 h 236"/>
                <a:gd name="T122" fmla="*/ 133 w 236"/>
                <a:gd name="T123" fmla="*/ 3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6" h="236">
                  <a:moveTo>
                    <a:pt x="156" y="62"/>
                  </a:moveTo>
                  <a:lnTo>
                    <a:pt x="154" y="62"/>
                  </a:lnTo>
                  <a:lnTo>
                    <a:pt x="154" y="62"/>
                  </a:lnTo>
                  <a:lnTo>
                    <a:pt x="153" y="64"/>
                  </a:lnTo>
                  <a:lnTo>
                    <a:pt x="153" y="65"/>
                  </a:lnTo>
                  <a:lnTo>
                    <a:pt x="153" y="65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6" y="68"/>
                  </a:lnTo>
                  <a:lnTo>
                    <a:pt x="157" y="67"/>
                  </a:lnTo>
                  <a:lnTo>
                    <a:pt x="159" y="64"/>
                  </a:lnTo>
                  <a:lnTo>
                    <a:pt x="157" y="62"/>
                  </a:lnTo>
                  <a:lnTo>
                    <a:pt x="156" y="62"/>
                  </a:lnTo>
                  <a:close/>
                  <a:moveTo>
                    <a:pt x="236" y="202"/>
                  </a:moveTo>
                  <a:lnTo>
                    <a:pt x="236" y="201"/>
                  </a:lnTo>
                  <a:lnTo>
                    <a:pt x="236" y="201"/>
                  </a:lnTo>
                  <a:lnTo>
                    <a:pt x="234" y="201"/>
                  </a:lnTo>
                  <a:lnTo>
                    <a:pt x="231" y="198"/>
                  </a:lnTo>
                  <a:lnTo>
                    <a:pt x="230" y="196"/>
                  </a:lnTo>
                  <a:lnTo>
                    <a:pt x="230" y="194"/>
                  </a:lnTo>
                  <a:lnTo>
                    <a:pt x="228" y="193"/>
                  </a:lnTo>
                  <a:lnTo>
                    <a:pt x="228" y="191"/>
                  </a:lnTo>
                  <a:lnTo>
                    <a:pt x="226" y="191"/>
                  </a:lnTo>
                  <a:lnTo>
                    <a:pt x="222" y="188"/>
                  </a:lnTo>
                  <a:lnTo>
                    <a:pt x="219" y="187"/>
                  </a:lnTo>
                  <a:lnTo>
                    <a:pt x="219" y="184"/>
                  </a:lnTo>
                  <a:lnTo>
                    <a:pt x="219" y="181"/>
                  </a:lnTo>
                  <a:lnTo>
                    <a:pt x="222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8" y="178"/>
                  </a:lnTo>
                  <a:lnTo>
                    <a:pt x="228" y="178"/>
                  </a:lnTo>
                  <a:lnTo>
                    <a:pt x="228" y="176"/>
                  </a:lnTo>
                  <a:lnTo>
                    <a:pt x="228" y="176"/>
                  </a:lnTo>
                  <a:lnTo>
                    <a:pt x="228" y="174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1" y="171"/>
                  </a:lnTo>
                  <a:lnTo>
                    <a:pt x="230" y="170"/>
                  </a:lnTo>
                  <a:lnTo>
                    <a:pt x="230" y="168"/>
                  </a:lnTo>
                  <a:lnTo>
                    <a:pt x="228" y="168"/>
                  </a:lnTo>
                  <a:lnTo>
                    <a:pt x="226" y="167"/>
                  </a:lnTo>
                  <a:lnTo>
                    <a:pt x="222" y="168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17" y="164"/>
                  </a:lnTo>
                  <a:lnTo>
                    <a:pt x="217" y="164"/>
                  </a:lnTo>
                  <a:lnTo>
                    <a:pt x="214" y="164"/>
                  </a:lnTo>
                  <a:lnTo>
                    <a:pt x="210" y="165"/>
                  </a:lnTo>
                  <a:lnTo>
                    <a:pt x="206" y="167"/>
                  </a:lnTo>
                  <a:lnTo>
                    <a:pt x="205" y="165"/>
                  </a:lnTo>
                  <a:lnTo>
                    <a:pt x="203" y="165"/>
                  </a:lnTo>
                  <a:lnTo>
                    <a:pt x="202" y="162"/>
                  </a:lnTo>
                  <a:lnTo>
                    <a:pt x="202" y="161"/>
                  </a:lnTo>
                  <a:lnTo>
                    <a:pt x="200" y="159"/>
                  </a:lnTo>
                  <a:lnTo>
                    <a:pt x="197" y="159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2" y="147"/>
                  </a:lnTo>
                  <a:lnTo>
                    <a:pt x="180" y="145"/>
                  </a:lnTo>
                  <a:lnTo>
                    <a:pt x="177" y="142"/>
                  </a:lnTo>
                  <a:lnTo>
                    <a:pt x="177" y="141"/>
                  </a:lnTo>
                  <a:lnTo>
                    <a:pt x="174" y="134"/>
                  </a:lnTo>
                  <a:lnTo>
                    <a:pt x="173" y="133"/>
                  </a:lnTo>
                  <a:lnTo>
                    <a:pt x="169" y="131"/>
                  </a:lnTo>
                  <a:lnTo>
                    <a:pt x="162" y="131"/>
                  </a:lnTo>
                  <a:lnTo>
                    <a:pt x="160" y="130"/>
                  </a:lnTo>
                  <a:lnTo>
                    <a:pt x="160" y="128"/>
                  </a:lnTo>
                  <a:lnTo>
                    <a:pt x="160" y="127"/>
                  </a:lnTo>
                  <a:lnTo>
                    <a:pt x="165" y="124"/>
                  </a:lnTo>
                  <a:lnTo>
                    <a:pt x="177" y="127"/>
                  </a:lnTo>
                  <a:lnTo>
                    <a:pt x="182" y="125"/>
                  </a:lnTo>
                  <a:lnTo>
                    <a:pt x="183" y="125"/>
                  </a:lnTo>
                  <a:lnTo>
                    <a:pt x="183" y="124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6" y="117"/>
                  </a:lnTo>
                  <a:lnTo>
                    <a:pt x="188" y="116"/>
                  </a:lnTo>
                  <a:lnTo>
                    <a:pt x="188" y="113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90" y="105"/>
                  </a:lnTo>
                  <a:lnTo>
                    <a:pt x="190" y="105"/>
                  </a:lnTo>
                  <a:lnTo>
                    <a:pt x="188" y="102"/>
                  </a:lnTo>
                  <a:lnTo>
                    <a:pt x="186" y="102"/>
                  </a:lnTo>
                  <a:lnTo>
                    <a:pt x="185" y="101"/>
                  </a:lnTo>
                  <a:lnTo>
                    <a:pt x="183" y="101"/>
                  </a:lnTo>
                  <a:lnTo>
                    <a:pt x="183" y="101"/>
                  </a:lnTo>
                  <a:lnTo>
                    <a:pt x="182" y="102"/>
                  </a:lnTo>
                  <a:lnTo>
                    <a:pt x="180" y="102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60" y="88"/>
                  </a:lnTo>
                  <a:lnTo>
                    <a:pt x="156" y="84"/>
                  </a:lnTo>
                  <a:lnTo>
                    <a:pt x="154" y="79"/>
                  </a:lnTo>
                  <a:lnTo>
                    <a:pt x="153" y="7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51" y="74"/>
                  </a:lnTo>
                  <a:lnTo>
                    <a:pt x="149" y="73"/>
                  </a:lnTo>
                  <a:lnTo>
                    <a:pt x="149" y="71"/>
                  </a:lnTo>
                  <a:lnTo>
                    <a:pt x="148" y="70"/>
                  </a:lnTo>
                  <a:lnTo>
                    <a:pt x="146" y="68"/>
                  </a:lnTo>
                  <a:lnTo>
                    <a:pt x="146" y="67"/>
                  </a:lnTo>
                  <a:lnTo>
                    <a:pt x="145" y="65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6" y="57"/>
                  </a:lnTo>
                  <a:lnTo>
                    <a:pt x="149" y="56"/>
                  </a:lnTo>
                  <a:lnTo>
                    <a:pt x="153" y="54"/>
                  </a:lnTo>
                  <a:lnTo>
                    <a:pt x="159" y="51"/>
                  </a:lnTo>
                  <a:lnTo>
                    <a:pt x="160" y="48"/>
                  </a:lnTo>
                  <a:lnTo>
                    <a:pt x="162" y="45"/>
                  </a:lnTo>
                  <a:lnTo>
                    <a:pt x="162" y="42"/>
                  </a:lnTo>
                  <a:lnTo>
                    <a:pt x="160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6" y="40"/>
                  </a:lnTo>
                  <a:lnTo>
                    <a:pt x="153" y="36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8" y="33"/>
                  </a:lnTo>
                  <a:lnTo>
                    <a:pt x="148" y="30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5" y="28"/>
                  </a:lnTo>
                  <a:lnTo>
                    <a:pt x="142" y="30"/>
                  </a:lnTo>
                  <a:lnTo>
                    <a:pt x="140" y="30"/>
                  </a:lnTo>
                  <a:lnTo>
                    <a:pt x="137" y="28"/>
                  </a:lnTo>
                  <a:lnTo>
                    <a:pt x="134" y="28"/>
                  </a:lnTo>
                  <a:lnTo>
                    <a:pt x="133" y="27"/>
                  </a:lnTo>
                  <a:lnTo>
                    <a:pt x="131" y="25"/>
                  </a:lnTo>
                  <a:lnTo>
                    <a:pt x="129" y="25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2"/>
                  </a:lnTo>
                  <a:lnTo>
                    <a:pt x="122" y="19"/>
                  </a:lnTo>
                  <a:lnTo>
                    <a:pt x="129" y="19"/>
                  </a:lnTo>
                  <a:lnTo>
                    <a:pt x="133" y="17"/>
                  </a:lnTo>
                  <a:lnTo>
                    <a:pt x="131" y="16"/>
                  </a:lnTo>
                  <a:lnTo>
                    <a:pt x="131" y="14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20" y="10"/>
                  </a:lnTo>
                  <a:lnTo>
                    <a:pt x="119" y="10"/>
                  </a:lnTo>
                  <a:lnTo>
                    <a:pt x="119" y="8"/>
                  </a:lnTo>
                  <a:lnTo>
                    <a:pt x="120" y="7"/>
                  </a:lnTo>
                  <a:lnTo>
                    <a:pt x="117" y="0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1" y="4"/>
                  </a:lnTo>
                  <a:lnTo>
                    <a:pt x="103" y="2"/>
                  </a:lnTo>
                  <a:lnTo>
                    <a:pt x="102" y="4"/>
                  </a:lnTo>
                  <a:lnTo>
                    <a:pt x="103" y="5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3" y="8"/>
                  </a:lnTo>
                  <a:lnTo>
                    <a:pt x="92" y="8"/>
                  </a:lnTo>
                  <a:lnTo>
                    <a:pt x="89" y="8"/>
                  </a:lnTo>
                  <a:lnTo>
                    <a:pt x="88" y="7"/>
                  </a:lnTo>
                  <a:lnTo>
                    <a:pt x="86" y="8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3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0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0"/>
                  </a:lnTo>
                  <a:lnTo>
                    <a:pt x="79" y="11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2" y="11"/>
                  </a:lnTo>
                  <a:lnTo>
                    <a:pt x="69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5" y="10"/>
                  </a:lnTo>
                  <a:lnTo>
                    <a:pt x="63" y="10"/>
                  </a:lnTo>
                  <a:lnTo>
                    <a:pt x="62" y="10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49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9" y="13"/>
                  </a:lnTo>
                  <a:lnTo>
                    <a:pt x="32" y="13"/>
                  </a:lnTo>
                  <a:lnTo>
                    <a:pt x="29" y="14"/>
                  </a:lnTo>
                  <a:lnTo>
                    <a:pt x="26" y="17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11" y="17"/>
                  </a:lnTo>
                  <a:lnTo>
                    <a:pt x="6" y="17"/>
                  </a:lnTo>
                  <a:lnTo>
                    <a:pt x="3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2" y="27"/>
                  </a:lnTo>
                  <a:lnTo>
                    <a:pt x="3" y="28"/>
                  </a:lnTo>
                  <a:lnTo>
                    <a:pt x="6" y="28"/>
                  </a:lnTo>
                  <a:lnTo>
                    <a:pt x="9" y="30"/>
                  </a:lnTo>
                  <a:lnTo>
                    <a:pt x="12" y="33"/>
                  </a:lnTo>
                  <a:lnTo>
                    <a:pt x="15" y="36"/>
                  </a:lnTo>
                  <a:lnTo>
                    <a:pt x="15" y="37"/>
                  </a:lnTo>
                  <a:lnTo>
                    <a:pt x="17" y="39"/>
                  </a:lnTo>
                  <a:lnTo>
                    <a:pt x="17" y="42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22" y="51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60"/>
                  </a:lnTo>
                  <a:lnTo>
                    <a:pt x="22" y="62"/>
                  </a:lnTo>
                  <a:lnTo>
                    <a:pt x="20" y="64"/>
                  </a:lnTo>
                  <a:lnTo>
                    <a:pt x="20" y="65"/>
                  </a:lnTo>
                  <a:lnTo>
                    <a:pt x="20" y="67"/>
                  </a:lnTo>
                  <a:lnTo>
                    <a:pt x="17" y="71"/>
                  </a:lnTo>
                  <a:lnTo>
                    <a:pt x="17" y="73"/>
                  </a:lnTo>
                  <a:lnTo>
                    <a:pt x="17" y="76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2" y="77"/>
                  </a:lnTo>
                  <a:lnTo>
                    <a:pt x="9" y="81"/>
                  </a:lnTo>
                  <a:lnTo>
                    <a:pt x="9" y="82"/>
                  </a:lnTo>
                  <a:lnTo>
                    <a:pt x="11" y="84"/>
                  </a:lnTo>
                  <a:lnTo>
                    <a:pt x="14" y="85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90"/>
                  </a:lnTo>
                  <a:lnTo>
                    <a:pt x="12" y="91"/>
                  </a:lnTo>
                  <a:lnTo>
                    <a:pt x="12" y="93"/>
                  </a:lnTo>
                  <a:lnTo>
                    <a:pt x="12" y="94"/>
                  </a:lnTo>
                  <a:lnTo>
                    <a:pt x="15" y="96"/>
                  </a:lnTo>
                  <a:lnTo>
                    <a:pt x="19" y="101"/>
                  </a:lnTo>
                  <a:lnTo>
                    <a:pt x="19" y="104"/>
                  </a:lnTo>
                  <a:lnTo>
                    <a:pt x="20" y="104"/>
                  </a:lnTo>
                  <a:lnTo>
                    <a:pt x="19" y="105"/>
                  </a:lnTo>
                  <a:lnTo>
                    <a:pt x="19" y="107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1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6"/>
                  </a:lnTo>
                  <a:lnTo>
                    <a:pt x="22" y="117"/>
                  </a:lnTo>
                  <a:lnTo>
                    <a:pt x="28" y="121"/>
                  </a:lnTo>
                  <a:lnTo>
                    <a:pt x="36" y="124"/>
                  </a:lnTo>
                  <a:lnTo>
                    <a:pt x="45" y="125"/>
                  </a:lnTo>
                  <a:lnTo>
                    <a:pt x="46" y="125"/>
                  </a:lnTo>
                  <a:lnTo>
                    <a:pt x="48" y="124"/>
                  </a:lnTo>
                  <a:lnTo>
                    <a:pt x="51" y="124"/>
                  </a:lnTo>
                  <a:lnTo>
                    <a:pt x="51" y="124"/>
                  </a:lnTo>
                  <a:lnTo>
                    <a:pt x="52" y="124"/>
                  </a:lnTo>
                  <a:lnTo>
                    <a:pt x="52" y="125"/>
                  </a:lnTo>
                  <a:lnTo>
                    <a:pt x="54" y="124"/>
                  </a:lnTo>
                  <a:lnTo>
                    <a:pt x="56" y="124"/>
                  </a:lnTo>
                  <a:lnTo>
                    <a:pt x="57" y="124"/>
                  </a:lnTo>
                  <a:lnTo>
                    <a:pt x="62" y="122"/>
                  </a:lnTo>
                  <a:lnTo>
                    <a:pt x="63" y="122"/>
                  </a:lnTo>
                  <a:lnTo>
                    <a:pt x="66" y="124"/>
                  </a:lnTo>
                  <a:lnTo>
                    <a:pt x="71" y="125"/>
                  </a:lnTo>
                  <a:lnTo>
                    <a:pt x="77" y="130"/>
                  </a:lnTo>
                  <a:lnTo>
                    <a:pt x="82" y="133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9"/>
                  </a:lnTo>
                  <a:lnTo>
                    <a:pt x="86" y="141"/>
                  </a:lnTo>
                  <a:lnTo>
                    <a:pt x="86" y="141"/>
                  </a:lnTo>
                  <a:lnTo>
                    <a:pt x="86" y="142"/>
                  </a:lnTo>
                  <a:lnTo>
                    <a:pt x="86" y="144"/>
                  </a:lnTo>
                  <a:lnTo>
                    <a:pt x="88" y="142"/>
                  </a:lnTo>
                  <a:lnTo>
                    <a:pt x="91" y="145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9" y="153"/>
                  </a:lnTo>
                  <a:lnTo>
                    <a:pt x="100" y="156"/>
                  </a:lnTo>
                  <a:lnTo>
                    <a:pt x="102" y="154"/>
                  </a:lnTo>
                  <a:lnTo>
                    <a:pt x="106" y="154"/>
                  </a:lnTo>
                  <a:lnTo>
                    <a:pt x="109" y="154"/>
                  </a:lnTo>
                  <a:lnTo>
                    <a:pt x="111" y="153"/>
                  </a:lnTo>
                  <a:lnTo>
                    <a:pt x="114" y="153"/>
                  </a:lnTo>
                  <a:lnTo>
                    <a:pt x="114" y="151"/>
                  </a:lnTo>
                  <a:lnTo>
                    <a:pt x="117" y="150"/>
                  </a:lnTo>
                  <a:lnTo>
                    <a:pt x="119" y="148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8" y="158"/>
                  </a:lnTo>
                  <a:lnTo>
                    <a:pt x="128" y="159"/>
                  </a:lnTo>
                  <a:lnTo>
                    <a:pt x="128" y="161"/>
                  </a:lnTo>
                  <a:lnTo>
                    <a:pt x="128" y="162"/>
                  </a:lnTo>
                  <a:lnTo>
                    <a:pt x="128" y="167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33" y="168"/>
                  </a:lnTo>
                  <a:lnTo>
                    <a:pt x="134" y="165"/>
                  </a:lnTo>
                  <a:lnTo>
                    <a:pt x="136" y="165"/>
                  </a:lnTo>
                  <a:lnTo>
                    <a:pt x="137" y="165"/>
                  </a:lnTo>
                  <a:lnTo>
                    <a:pt x="139" y="168"/>
                  </a:lnTo>
                  <a:lnTo>
                    <a:pt x="139" y="170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5" y="173"/>
                  </a:lnTo>
                  <a:lnTo>
                    <a:pt x="146" y="173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3" y="174"/>
                  </a:lnTo>
                  <a:lnTo>
                    <a:pt x="159" y="171"/>
                  </a:lnTo>
                  <a:lnTo>
                    <a:pt x="160" y="170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71" y="168"/>
                  </a:lnTo>
                  <a:lnTo>
                    <a:pt x="174" y="168"/>
                  </a:lnTo>
                  <a:lnTo>
                    <a:pt x="176" y="170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7" y="181"/>
                  </a:lnTo>
                  <a:lnTo>
                    <a:pt x="176" y="181"/>
                  </a:lnTo>
                  <a:lnTo>
                    <a:pt x="174" y="185"/>
                  </a:lnTo>
                  <a:lnTo>
                    <a:pt x="173" y="187"/>
                  </a:lnTo>
                  <a:lnTo>
                    <a:pt x="174" y="188"/>
                  </a:lnTo>
                  <a:lnTo>
                    <a:pt x="174" y="188"/>
                  </a:lnTo>
                  <a:lnTo>
                    <a:pt x="179" y="190"/>
                  </a:lnTo>
                  <a:lnTo>
                    <a:pt x="180" y="191"/>
                  </a:lnTo>
                  <a:lnTo>
                    <a:pt x="182" y="193"/>
                  </a:lnTo>
                  <a:lnTo>
                    <a:pt x="183" y="194"/>
                  </a:lnTo>
                  <a:lnTo>
                    <a:pt x="183" y="194"/>
                  </a:lnTo>
                  <a:lnTo>
                    <a:pt x="188" y="196"/>
                  </a:lnTo>
                  <a:lnTo>
                    <a:pt x="190" y="198"/>
                  </a:lnTo>
                  <a:lnTo>
                    <a:pt x="190" y="199"/>
                  </a:lnTo>
                  <a:lnTo>
                    <a:pt x="191" y="199"/>
                  </a:lnTo>
                  <a:lnTo>
                    <a:pt x="190" y="201"/>
                  </a:lnTo>
                  <a:lnTo>
                    <a:pt x="190" y="201"/>
                  </a:lnTo>
                  <a:lnTo>
                    <a:pt x="188" y="204"/>
                  </a:lnTo>
                  <a:lnTo>
                    <a:pt x="188" y="205"/>
                  </a:lnTo>
                  <a:lnTo>
                    <a:pt x="188" y="208"/>
                  </a:lnTo>
                  <a:lnTo>
                    <a:pt x="190" y="211"/>
                  </a:lnTo>
                  <a:lnTo>
                    <a:pt x="191" y="213"/>
                  </a:lnTo>
                  <a:lnTo>
                    <a:pt x="193" y="216"/>
                  </a:lnTo>
                  <a:lnTo>
                    <a:pt x="197" y="227"/>
                  </a:lnTo>
                  <a:lnTo>
                    <a:pt x="202" y="236"/>
                  </a:lnTo>
                  <a:lnTo>
                    <a:pt x="206" y="234"/>
                  </a:lnTo>
                  <a:lnTo>
                    <a:pt x="208" y="234"/>
                  </a:lnTo>
                  <a:lnTo>
                    <a:pt x="211" y="231"/>
                  </a:lnTo>
                  <a:lnTo>
                    <a:pt x="213" y="231"/>
                  </a:lnTo>
                  <a:lnTo>
                    <a:pt x="214" y="231"/>
                  </a:lnTo>
                  <a:lnTo>
                    <a:pt x="217" y="230"/>
                  </a:lnTo>
                  <a:lnTo>
                    <a:pt x="219" y="230"/>
                  </a:lnTo>
                  <a:lnTo>
                    <a:pt x="219" y="230"/>
                  </a:lnTo>
                  <a:lnTo>
                    <a:pt x="220" y="230"/>
                  </a:lnTo>
                  <a:lnTo>
                    <a:pt x="228" y="233"/>
                  </a:lnTo>
                  <a:lnTo>
                    <a:pt x="230" y="234"/>
                  </a:lnTo>
                  <a:lnTo>
                    <a:pt x="226" y="228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5"/>
                  </a:lnTo>
                  <a:lnTo>
                    <a:pt x="226" y="224"/>
                  </a:lnTo>
                  <a:lnTo>
                    <a:pt x="226" y="224"/>
                  </a:lnTo>
                  <a:lnTo>
                    <a:pt x="226" y="224"/>
                  </a:lnTo>
                  <a:lnTo>
                    <a:pt x="228" y="221"/>
                  </a:lnTo>
                  <a:lnTo>
                    <a:pt x="228" y="218"/>
                  </a:lnTo>
                  <a:lnTo>
                    <a:pt x="228" y="214"/>
                  </a:lnTo>
                  <a:lnTo>
                    <a:pt x="226" y="211"/>
                  </a:lnTo>
                  <a:lnTo>
                    <a:pt x="225" y="210"/>
                  </a:lnTo>
                  <a:lnTo>
                    <a:pt x="223" y="208"/>
                  </a:lnTo>
                  <a:lnTo>
                    <a:pt x="220" y="207"/>
                  </a:lnTo>
                  <a:lnTo>
                    <a:pt x="220" y="204"/>
                  </a:lnTo>
                  <a:lnTo>
                    <a:pt x="222" y="202"/>
                  </a:lnTo>
                  <a:lnTo>
                    <a:pt x="225" y="202"/>
                  </a:lnTo>
                  <a:lnTo>
                    <a:pt x="230" y="205"/>
                  </a:lnTo>
                  <a:lnTo>
                    <a:pt x="231" y="205"/>
                  </a:lnTo>
                  <a:lnTo>
                    <a:pt x="234" y="202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6" y="202"/>
                  </a:lnTo>
                  <a:close/>
                  <a:moveTo>
                    <a:pt x="119" y="27"/>
                  </a:moveTo>
                  <a:lnTo>
                    <a:pt x="116" y="27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4" y="22"/>
                  </a:lnTo>
                  <a:lnTo>
                    <a:pt x="116" y="20"/>
                  </a:lnTo>
                  <a:lnTo>
                    <a:pt x="119" y="22"/>
                  </a:lnTo>
                  <a:lnTo>
                    <a:pt x="119" y="25"/>
                  </a:lnTo>
                  <a:lnTo>
                    <a:pt x="119" y="27"/>
                  </a:lnTo>
                  <a:close/>
                  <a:moveTo>
                    <a:pt x="133" y="33"/>
                  </a:moveTo>
                  <a:lnTo>
                    <a:pt x="131" y="33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3" y="31"/>
                  </a:lnTo>
                  <a:lnTo>
                    <a:pt x="133" y="3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113"/>
            <p:cNvSpPr>
              <a:spLocks/>
            </p:cNvSpPr>
            <p:nvPr/>
          </p:nvSpPr>
          <p:spPr bwMode="gray">
            <a:xfrm>
              <a:off x="5851525" y="7908926"/>
              <a:ext cx="41275" cy="33338"/>
            </a:xfrm>
            <a:custGeom>
              <a:avLst/>
              <a:gdLst>
                <a:gd name="T0" fmla="*/ 26 w 26"/>
                <a:gd name="T1" fmla="*/ 8 h 21"/>
                <a:gd name="T2" fmla="*/ 25 w 26"/>
                <a:gd name="T3" fmla="*/ 8 h 21"/>
                <a:gd name="T4" fmla="*/ 23 w 26"/>
                <a:gd name="T5" fmla="*/ 6 h 21"/>
                <a:gd name="T6" fmla="*/ 22 w 26"/>
                <a:gd name="T7" fmla="*/ 6 h 21"/>
                <a:gd name="T8" fmla="*/ 23 w 26"/>
                <a:gd name="T9" fmla="*/ 5 h 21"/>
                <a:gd name="T10" fmla="*/ 14 w 26"/>
                <a:gd name="T11" fmla="*/ 3 h 21"/>
                <a:gd name="T12" fmla="*/ 14 w 26"/>
                <a:gd name="T13" fmla="*/ 3 h 21"/>
                <a:gd name="T14" fmla="*/ 9 w 26"/>
                <a:gd name="T15" fmla="*/ 0 h 21"/>
                <a:gd name="T16" fmla="*/ 8 w 26"/>
                <a:gd name="T17" fmla="*/ 0 h 21"/>
                <a:gd name="T18" fmla="*/ 6 w 26"/>
                <a:gd name="T19" fmla="*/ 1 h 21"/>
                <a:gd name="T20" fmla="*/ 5 w 26"/>
                <a:gd name="T21" fmla="*/ 1 h 21"/>
                <a:gd name="T22" fmla="*/ 3 w 26"/>
                <a:gd name="T23" fmla="*/ 5 h 21"/>
                <a:gd name="T24" fmla="*/ 1 w 26"/>
                <a:gd name="T25" fmla="*/ 6 h 21"/>
                <a:gd name="T26" fmla="*/ 0 w 26"/>
                <a:gd name="T27" fmla="*/ 6 h 21"/>
                <a:gd name="T28" fmla="*/ 0 w 26"/>
                <a:gd name="T29" fmla="*/ 8 h 21"/>
                <a:gd name="T30" fmla="*/ 0 w 26"/>
                <a:gd name="T31" fmla="*/ 8 h 21"/>
                <a:gd name="T32" fmla="*/ 1 w 26"/>
                <a:gd name="T33" fmla="*/ 9 h 21"/>
                <a:gd name="T34" fmla="*/ 1 w 26"/>
                <a:gd name="T35" fmla="*/ 9 h 21"/>
                <a:gd name="T36" fmla="*/ 0 w 26"/>
                <a:gd name="T37" fmla="*/ 11 h 21"/>
                <a:gd name="T38" fmla="*/ 0 w 26"/>
                <a:gd name="T39" fmla="*/ 12 h 21"/>
                <a:gd name="T40" fmla="*/ 1 w 26"/>
                <a:gd name="T41" fmla="*/ 12 h 21"/>
                <a:gd name="T42" fmla="*/ 3 w 26"/>
                <a:gd name="T43" fmla="*/ 14 h 21"/>
                <a:gd name="T44" fmla="*/ 3 w 26"/>
                <a:gd name="T45" fmla="*/ 15 h 21"/>
                <a:gd name="T46" fmla="*/ 1 w 26"/>
                <a:gd name="T47" fmla="*/ 15 h 21"/>
                <a:gd name="T48" fmla="*/ 0 w 26"/>
                <a:gd name="T49" fmla="*/ 15 h 21"/>
                <a:gd name="T50" fmla="*/ 0 w 26"/>
                <a:gd name="T51" fmla="*/ 17 h 21"/>
                <a:gd name="T52" fmla="*/ 1 w 26"/>
                <a:gd name="T53" fmla="*/ 20 h 21"/>
                <a:gd name="T54" fmla="*/ 1 w 26"/>
                <a:gd name="T55" fmla="*/ 21 h 21"/>
                <a:gd name="T56" fmla="*/ 3 w 26"/>
                <a:gd name="T57" fmla="*/ 21 h 21"/>
                <a:gd name="T58" fmla="*/ 8 w 26"/>
                <a:gd name="T59" fmla="*/ 21 h 21"/>
                <a:gd name="T60" fmla="*/ 8 w 26"/>
                <a:gd name="T61" fmla="*/ 21 h 21"/>
                <a:gd name="T62" fmla="*/ 8 w 26"/>
                <a:gd name="T63" fmla="*/ 21 h 21"/>
                <a:gd name="T64" fmla="*/ 9 w 26"/>
                <a:gd name="T65" fmla="*/ 21 h 21"/>
                <a:gd name="T66" fmla="*/ 9 w 26"/>
                <a:gd name="T67" fmla="*/ 20 h 21"/>
                <a:gd name="T68" fmla="*/ 9 w 26"/>
                <a:gd name="T69" fmla="*/ 20 h 21"/>
                <a:gd name="T70" fmla="*/ 14 w 26"/>
                <a:gd name="T71" fmla="*/ 20 h 21"/>
                <a:gd name="T72" fmla="*/ 17 w 26"/>
                <a:gd name="T73" fmla="*/ 18 h 21"/>
                <a:gd name="T74" fmla="*/ 17 w 26"/>
                <a:gd name="T75" fmla="*/ 15 h 21"/>
                <a:gd name="T76" fmla="*/ 18 w 26"/>
                <a:gd name="T77" fmla="*/ 15 h 21"/>
                <a:gd name="T78" fmla="*/ 18 w 26"/>
                <a:gd name="T79" fmla="*/ 15 h 21"/>
                <a:gd name="T80" fmla="*/ 18 w 26"/>
                <a:gd name="T81" fmla="*/ 15 h 21"/>
                <a:gd name="T82" fmla="*/ 18 w 26"/>
                <a:gd name="T83" fmla="*/ 15 h 21"/>
                <a:gd name="T84" fmla="*/ 20 w 26"/>
                <a:gd name="T85" fmla="*/ 15 h 21"/>
                <a:gd name="T86" fmla="*/ 20 w 26"/>
                <a:gd name="T87" fmla="*/ 15 h 21"/>
                <a:gd name="T88" fmla="*/ 22 w 26"/>
                <a:gd name="T89" fmla="*/ 15 h 21"/>
                <a:gd name="T90" fmla="*/ 22 w 26"/>
                <a:gd name="T91" fmla="*/ 15 h 21"/>
                <a:gd name="T92" fmla="*/ 22 w 26"/>
                <a:gd name="T93" fmla="*/ 12 h 21"/>
                <a:gd name="T94" fmla="*/ 23 w 26"/>
                <a:gd name="T95" fmla="*/ 11 h 21"/>
                <a:gd name="T96" fmla="*/ 25 w 26"/>
                <a:gd name="T97" fmla="*/ 9 h 21"/>
                <a:gd name="T98" fmla="*/ 26 w 26"/>
                <a:gd name="T99" fmla="*/ 9 h 21"/>
                <a:gd name="T100" fmla="*/ 26 w 26"/>
                <a:gd name="T101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" h="21">
                  <a:moveTo>
                    <a:pt x="26" y="8"/>
                  </a:moveTo>
                  <a:lnTo>
                    <a:pt x="25" y="8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5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3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8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114"/>
            <p:cNvSpPr>
              <a:spLocks/>
            </p:cNvSpPr>
            <p:nvPr/>
          </p:nvSpPr>
          <p:spPr bwMode="gray">
            <a:xfrm>
              <a:off x="5851525" y="7908926"/>
              <a:ext cx="41275" cy="33338"/>
            </a:xfrm>
            <a:custGeom>
              <a:avLst/>
              <a:gdLst>
                <a:gd name="T0" fmla="*/ 26 w 26"/>
                <a:gd name="T1" fmla="*/ 8 h 21"/>
                <a:gd name="T2" fmla="*/ 25 w 26"/>
                <a:gd name="T3" fmla="*/ 8 h 21"/>
                <a:gd name="T4" fmla="*/ 23 w 26"/>
                <a:gd name="T5" fmla="*/ 6 h 21"/>
                <a:gd name="T6" fmla="*/ 22 w 26"/>
                <a:gd name="T7" fmla="*/ 6 h 21"/>
                <a:gd name="T8" fmla="*/ 23 w 26"/>
                <a:gd name="T9" fmla="*/ 5 h 21"/>
                <a:gd name="T10" fmla="*/ 14 w 26"/>
                <a:gd name="T11" fmla="*/ 3 h 21"/>
                <a:gd name="T12" fmla="*/ 14 w 26"/>
                <a:gd name="T13" fmla="*/ 3 h 21"/>
                <a:gd name="T14" fmla="*/ 9 w 26"/>
                <a:gd name="T15" fmla="*/ 0 h 21"/>
                <a:gd name="T16" fmla="*/ 8 w 26"/>
                <a:gd name="T17" fmla="*/ 0 h 21"/>
                <a:gd name="T18" fmla="*/ 6 w 26"/>
                <a:gd name="T19" fmla="*/ 1 h 21"/>
                <a:gd name="T20" fmla="*/ 5 w 26"/>
                <a:gd name="T21" fmla="*/ 1 h 21"/>
                <a:gd name="T22" fmla="*/ 3 w 26"/>
                <a:gd name="T23" fmla="*/ 5 h 21"/>
                <a:gd name="T24" fmla="*/ 1 w 26"/>
                <a:gd name="T25" fmla="*/ 6 h 21"/>
                <a:gd name="T26" fmla="*/ 0 w 26"/>
                <a:gd name="T27" fmla="*/ 6 h 21"/>
                <a:gd name="T28" fmla="*/ 0 w 26"/>
                <a:gd name="T29" fmla="*/ 8 h 21"/>
                <a:gd name="T30" fmla="*/ 0 w 26"/>
                <a:gd name="T31" fmla="*/ 8 h 21"/>
                <a:gd name="T32" fmla="*/ 1 w 26"/>
                <a:gd name="T33" fmla="*/ 9 h 21"/>
                <a:gd name="T34" fmla="*/ 1 w 26"/>
                <a:gd name="T35" fmla="*/ 9 h 21"/>
                <a:gd name="T36" fmla="*/ 0 w 26"/>
                <a:gd name="T37" fmla="*/ 11 h 21"/>
                <a:gd name="T38" fmla="*/ 0 w 26"/>
                <a:gd name="T39" fmla="*/ 12 h 21"/>
                <a:gd name="T40" fmla="*/ 1 w 26"/>
                <a:gd name="T41" fmla="*/ 12 h 21"/>
                <a:gd name="T42" fmla="*/ 3 w 26"/>
                <a:gd name="T43" fmla="*/ 14 h 21"/>
                <a:gd name="T44" fmla="*/ 3 w 26"/>
                <a:gd name="T45" fmla="*/ 15 h 21"/>
                <a:gd name="T46" fmla="*/ 1 w 26"/>
                <a:gd name="T47" fmla="*/ 15 h 21"/>
                <a:gd name="T48" fmla="*/ 0 w 26"/>
                <a:gd name="T49" fmla="*/ 15 h 21"/>
                <a:gd name="T50" fmla="*/ 0 w 26"/>
                <a:gd name="T51" fmla="*/ 17 h 21"/>
                <a:gd name="T52" fmla="*/ 1 w 26"/>
                <a:gd name="T53" fmla="*/ 20 h 21"/>
                <a:gd name="T54" fmla="*/ 1 w 26"/>
                <a:gd name="T55" fmla="*/ 21 h 21"/>
                <a:gd name="T56" fmla="*/ 3 w 26"/>
                <a:gd name="T57" fmla="*/ 21 h 21"/>
                <a:gd name="T58" fmla="*/ 8 w 26"/>
                <a:gd name="T59" fmla="*/ 21 h 21"/>
                <a:gd name="T60" fmla="*/ 8 w 26"/>
                <a:gd name="T61" fmla="*/ 21 h 21"/>
                <a:gd name="T62" fmla="*/ 8 w 26"/>
                <a:gd name="T63" fmla="*/ 21 h 21"/>
                <a:gd name="T64" fmla="*/ 9 w 26"/>
                <a:gd name="T65" fmla="*/ 21 h 21"/>
                <a:gd name="T66" fmla="*/ 9 w 26"/>
                <a:gd name="T67" fmla="*/ 20 h 21"/>
                <a:gd name="T68" fmla="*/ 9 w 26"/>
                <a:gd name="T69" fmla="*/ 20 h 21"/>
                <a:gd name="T70" fmla="*/ 14 w 26"/>
                <a:gd name="T71" fmla="*/ 20 h 21"/>
                <a:gd name="T72" fmla="*/ 17 w 26"/>
                <a:gd name="T73" fmla="*/ 18 h 21"/>
                <a:gd name="T74" fmla="*/ 17 w 26"/>
                <a:gd name="T75" fmla="*/ 15 h 21"/>
                <a:gd name="T76" fmla="*/ 18 w 26"/>
                <a:gd name="T77" fmla="*/ 15 h 21"/>
                <a:gd name="T78" fmla="*/ 18 w 26"/>
                <a:gd name="T79" fmla="*/ 15 h 21"/>
                <a:gd name="T80" fmla="*/ 18 w 26"/>
                <a:gd name="T81" fmla="*/ 15 h 21"/>
                <a:gd name="T82" fmla="*/ 18 w 26"/>
                <a:gd name="T83" fmla="*/ 15 h 21"/>
                <a:gd name="T84" fmla="*/ 20 w 26"/>
                <a:gd name="T85" fmla="*/ 15 h 21"/>
                <a:gd name="T86" fmla="*/ 20 w 26"/>
                <a:gd name="T87" fmla="*/ 15 h 21"/>
                <a:gd name="T88" fmla="*/ 22 w 26"/>
                <a:gd name="T89" fmla="*/ 15 h 21"/>
                <a:gd name="T90" fmla="*/ 22 w 26"/>
                <a:gd name="T91" fmla="*/ 15 h 21"/>
                <a:gd name="T92" fmla="*/ 22 w 26"/>
                <a:gd name="T93" fmla="*/ 12 h 21"/>
                <a:gd name="T94" fmla="*/ 23 w 26"/>
                <a:gd name="T95" fmla="*/ 11 h 21"/>
                <a:gd name="T96" fmla="*/ 25 w 26"/>
                <a:gd name="T97" fmla="*/ 9 h 21"/>
                <a:gd name="T98" fmla="*/ 26 w 26"/>
                <a:gd name="T99" fmla="*/ 9 h 21"/>
                <a:gd name="T100" fmla="*/ 26 w 26"/>
                <a:gd name="T101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" h="21">
                  <a:moveTo>
                    <a:pt x="26" y="8"/>
                  </a:moveTo>
                  <a:lnTo>
                    <a:pt x="25" y="8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5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3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8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115"/>
            <p:cNvSpPr>
              <a:spLocks/>
            </p:cNvSpPr>
            <p:nvPr/>
          </p:nvSpPr>
          <p:spPr bwMode="gray">
            <a:xfrm>
              <a:off x="7961313" y="7908926"/>
              <a:ext cx="207963" cy="471488"/>
            </a:xfrm>
            <a:custGeom>
              <a:avLst/>
              <a:gdLst>
                <a:gd name="T0" fmla="*/ 125 w 131"/>
                <a:gd name="T1" fmla="*/ 188 h 297"/>
                <a:gd name="T2" fmla="*/ 117 w 131"/>
                <a:gd name="T3" fmla="*/ 171 h 297"/>
                <a:gd name="T4" fmla="*/ 103 w 131"/>
                <a:gd name="T5" fmla="*/ 159 h 297"/>
                <a:gd name="T6" fmla="*/ 97 w 131"/>
                <a:gd name="T7" fmla="*/ 154 h 297"/>
                <a:gd name="T8" fmla="*/ 91 w 131"/>
                <a:gd name="T9" fmla="*/ 131 h 297"/>
                <a:gd name="T10" fmla="*/ 94 w 131"/>
                <a:gd name="T11" fmla="*/ 122 h 297"/>
                <a:gd name="T12" fmla="*/ 89 w 131"/>
                <a:gd name="T13" fmla="*/ 115 h 297"/>
                <a:gd name="T14" fmla="*/ 94 w 131"/>
                <a:gd name="T15" fmla="*/ 106 h 297"/>
                <a:gd name="T16" fmla="*/ 96 w 131"/>
                <a:gd name="T17" fmla="*/ 86 h 297"/>
                <a:gd name="T18" fmla="*/ 97 w 131"/>
                <a:gd name="T19" fmla="*/ 75 h 297"/>
                <a:gd name="T20" fmla="*/ 99 w 131"/>
                <a:gd name="T21" fmla="*/ 66 h 297"/>
                <a:gd name="T22" fmla="*/ 88 w 131"/>
                <a:gd name="T23" fmla="*/ 40 h 297"/>
                <a:gd name="T24" fmla="*/ 71 w 131"/>
                <a:gd name="T25" fmla="*/ 28 h 297"/>
                <a:gd name="T26" fmla="*/ 68 w 131"/>
                <a:gd name="T27" fmla="*/ 21 h 297"/>
                <a:gd name="T28" fmla="*/ 57 w 131"/>
                <a:gd name="T29" fmla="*/ 9 h 297"/>
                <a:gd name="T30" fmla="*/ 42 w 131"/>
                <a:gd name="T31" fmla="*/ 18 h 297"/>
                <a:gd name="T32" fmla="*/ 34 w 131"/>
                <a:gd name="T33" fmla="*/ 9 h 297"/>
                <a:gd name="T34" fmla="*/ 32 w 131"/>
                <a:gd name="T35" fmla="*/ 0 h 297"/>
                <a:gd name="T36" fmla="*/ 23 w 131"/>
                <a:gd name="T37" fmla="*/ 12 h 297"/>
                <a:gd name="T38" fmla="*/ 16 w 131"/>
                <a:gd name="T39" fmla="*/ 23 h 297"/>
                <a:gd name="T40" fmla="*/ 0 w 131"/>
                <a:gd name="T41" fmla="*/ 48 h 297"/>
                <a:gd name="T42" fmla="*/ 6 w 131"/>
                <a:gd name="T43" fmla="*/ 60 h 297"/>
                <a:gd name="T44" fmla="*/ 6 w 131"/>
                <a:gd name="T45" fmla="*/ 69 h 297"/>
                <a:gd name="T46" fmla="*/ 8 w 131"/>
                <a:gd name="T47" fmla="*/ 77 h 297"/>
                <a:gd name="T48" fmla="*/ 25 w 131"/>
                <a:gd name="T49" fmla="*/ 88 h 297"/>
                <a:gd name="T50" fmla="*/ 25 w 131"/>
                <a:gd name="T51" fmla="*/ 102 h 297"/>
                <a:gd name="T52" fmla="*/ 22 w 131"/>
                <a:gd name="T53" fmla="*/ 106 h 297"/>
                <a:gd name="T54" fmla="*/ 19 w 131"/>
                <a:gd name="T55" fmla="*/ 114 h 297"/>
                <a:gd name="T56" fmla="*/ 9 w 131"/>
                <a:gd name="T57" fmla="*/ 125 h 297"/>
                <a:gd name="T58" fmla="*/ 17 w 131"/>
                <a:gd name="T59" fmla="*/ 135 h 297"/>
                <a:gd name="T60" fmla="*/ 12 w 131"/>
                <a:gd name="T61" fmla="*/ 151 h 297"/>
                <a:gd name="T62" fmla="*/ 16 w 131"/>
                <a:gd name="T63" fmla="*/ 165 h 297"/>
                <a:gd name="T64" fmla="*/ 17 w 131"/>
                <a:gd name="T65" fmla="*/ 166 h 297"/>
                <a:gd name="T66" fmla="*/ 12 w 131"/>
                <a:gd name="T67" fmla="*/ 175 h 297"/>
                <a:gd name="T68" fmla="*/ 12 w 131"/>
                <a:gd name="T69" fmla="*/ 169 h 297"/>
                <a:gd name="T70" fmla="*/ 9 w 131"/>
                <a:gd name="T71" fmla="*/ 179 h 297"/>
                <a:gd name="T72" fmla="*/ 8 w 131"/>
                <a:gd name="T73" fmla="*/ 191 h 297"/>
                <a:gd name="T74" fmla="*/ 9 w 131"/>
                <a:gd name="T75" fmla="*/ 208 h 297"/>
                <a:gd name="T76" fmla="*/ 11 w 131"/>
                <a:gd name="T77" fmla="*/ 211 h 297"/>
                <a:gd name="T78" fmla="*/ 16 w 131"/>
                <a:gd name="T79" fmla="*/ 219 h 297"/>
                <a:gd name="T80" fmla="*/ 9 w 131"/>
                <a:gd name="T81" fmla="*/ 223 h 297"/>
                <a:gd name="T82" fmla="*/ 3 w 131"/>
                <a:gd name="T83" fmla="*/ 223 h 297"/>
                <a:gd name="T84" fmla="*/ 25 w 131"/>
                <a:gd name="T85" fmla="*/ 246 h 297"/>
                <a:gd name="T86" fmla="*/ 37 w 131"/>
                <a:gd name="T87" fmla="*/ 254 h 297"/>
                <a:gd name="T88" fmla="*/ 42 w 131"/>
                <a:gd name="T89" fmla="*/ 257 h 297"/>
                <a:gd name="T90" fmla="*/ 48 w 131"/>
                <a:gd name="T91" fmla="*/ 269 h 297"/>
                <a:gd name="T92" fmla="*/ 53 w 131"/>
                <a:gd name="T93" fmla="*/ 274 h 297"/>
                <a:gd name="T94" fmla="*/ 54 w 131"/>
                <a:gd name="T95" fmla="*/ 286 h 297"/>
                <a:gd name="T96" fmla="*/ 59 w 131"/>
                <a:gd name="T97" fmla="*/ 291 h 297"/>
                <a:gd name="T98" fmla="*/ 71 w 131"/>
                <a:gd name="T99" fmla="*/ 294 h 297"/>
                <a:gd name="T100" fmla="*/ 77 w 131"/>
                <a:gd name="T101" fmla="*/ 288 h 297"/>
                <a:gd name="T102" fmla="*/ 76 w 131"/>
                <a:gd name="T103" fmla="*/ 283 h 297"/>
                <a:gd name="T104" fmla="*/ 80 w 131"/>
                <a:gd name="T105" fmla="*/ 282 h 297"/>
                <a:gd name="T106" fmla="*/ 77 w 131"/>
                <a:gd name="T107" fmla="*/ 263 h 297"/>
                <a:gd name="T108" fmla="*/ 89 w 131"/>
                <a:gd name="T109" fmla="*/ 256 h 297"/>
                <a:gd name="T110" fmla="*/ 105 w 131"/>
                <a:gd name="T111" fmla="*/ 249 h 297"/>
                <a:gd name="T112" fmla="*/ 106 w 131"/>
                <a:gd name="T113" fmla="*/ 240 h 297"/>
                <a:gd name="T114" fmla="*/ 111 w 131"/>
                <a:gd name="T115" fmla="*/ 229 h 297"/>
                <a:gd name="T116" fmla="*/ 114 w 131"/>
                <a:gd name="T117" fmla="*/ 219 h 297"/>
                <a:gd name="T118" fmla="*/ 125 w 131"/>
                <a:gd name="T119" fmla="*/ 214 h 297"/>
                <a:gd name="T120" fmla="*/ 130 w 131"/>
                <a:gd name="T121" fmla="*/ 20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1" h="297">
                  <a:moveTo>
                    <a:pt x="131" y="197"/>
                  </a:moveTo>
                  <a:lnTo>
                    <a:pt x="131" y="195"/>
                  </a:lnTo>
                  <a:lnTo>
                    <a:pt x="131" y="194"/>
                  </a:lnTo>
                  <a:lnTo>
                    <a:pt x="128" y="192"/>
                  </a:lnTo>
                  <a:lnTo>
                    <a:pt x="126" y="189"/>
                  </a:lnTo>
                  <a:lnTo>
                    <a:pt x="126" y="189"/>
                  </a:lnTo>
                  <a:lnTo>
                    <a:pt x="126" y="188"/>
                  </a:lnTo>
                  <a:lnTo>
                    <a:pt x="125" y="188"/>
                  </a:lnTo>
                  <a:lnTo>
                    <a:pt x="125" y="188"/>
                  </a:lnTo>
                  <a:lnTo>
                    <a:pt x="126" y="186"/>
                  </a:lnTo>
                  <a:lnTo>
                    <a:pt x="126" y="183"/>
                  </a:lnTo>
                  <a:lnTo>
                    <a:pt x="126" y="179"/>
                  </a:lnTo>
                  <a:lnTo>
                    <a:pt x="126" y="177"/>
                  </a:lnTo>
                  <a:lnTo>
                    <a:pt x="126" y="174"/>
                  </a:lnTo>
                  <a:lnTo>
                    <a:pt x="125" y="174"/>
                  </a:lnTo>
                  <a:lnTo>
                    <a:pt x="120" y="172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6" y="172"/>
                  </a:lnTo>
                  <a:lnTo>
                    <a:pt x="113" y="174"/>
                  </a:lnTo>
                  <a:lnTo>
                    <a:pt x="111" y="174"/>
                  </a:lnTo>
                  <a:lnTo>
                    <a:pt x="109" y="174"/>
                  </a:lnTo>
                  <a:lnTo>
                    <a:pt x="109" y="174"/>
                  </a:lnTo>
                  <a:lnTo>
                    <a:pt x="108" y="172"/>
                  </a:lnTo>
                  <a:lnTo>
                    <a:pt x="106" y="171"/>
                  </a:lnTo>
                  <a:lnTo>
                    <a:pt x="105" y="165"/>
                  </a:lnTo>
                  <a:lnTo>
                    <a:pt x="103" y="159"/>
                  </a:lnTo>
                  <a:lnTo>
                    <a:pt x="103" y="157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5"/>
                  </a:lnTo>
                  <a:lnTo>
                    <a:pt x="99" y="155"/>
                  </a:lnTo>
                  <a:lnTo>
                    <a:pt x="97" y="155"/>
                  </a:lnTo>
                  <a:lnTo>
                    <a:pt x="97" y="154"/>
                  </a:lnTo>
                  <a:lnTo>
                    <a:pt x="97" y="152"/>
                  </a:lnTo>
                  <a:lnTo>
                    <a:pt x="97" y="149"/>
                  </a:lnTo>
                  <a:lnTo>
                    <a:pt x="96" y="148"/>
                  </a:lnTo>
                  <a:lnTo>
                    <a:pt x="93" y="143"/>
                  </a:lnTo>
                  <a:lnTo>
                    <a:pt x="93" y="142"/>
                  </a:lnTo>
                  <a:lnTo>
                    <a:pt x="91" y="135"/>
                  </a:lnTo>
                  <a:lnTo>
                    <a:pt x="89" y="132"/>
                  </a:lnTo>
                  <a:lnTo>
                    <a:pt x="89" y="132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3" y="131"/>
                  </a:lnTo>
                  <a:lnTo>
                    <a:pt x="94" y="129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4" y="122"/>
                  </a:lnTo>
                  <a:lnTo>
                    <a:pt x="93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0"/>
                  </a:lnTo>
                  <a:lnTo>
                    <a:pt x="91" y="118"/>
                  </a:lnTo>
                  <a:lnTo>
                    <a:pt x="91" y="118"/>
                  </a:lnTo>
                  <a:lnTo>
                    <a:pt x="91" y="118"/>
                  </a:lnTo>
                  <a:lnTo>
                    <a:pt x="89" y="117"/>
                  </a:lnTo>
                  <a:lnTo>
                    <a:pt x="89" y="115"/>
                  </a:lnTo>
                  <a:lnTo>
                    <a:pt x="88" y="115"/>
                  </a:lnTo>
                  <a:lnTo>
                    <a:pt x="88" y="114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91" y="109"/>
                  </a:lnTo>
                  <a:lnTo>
                    <a:pt x="93" y="109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3" y="102"/>
                  </a:lnTo>
                  <a:lnTo>
                    <a:pt x="93" y="98"/>
                  </a:lnTo>
                  <a:lnTo>
                    <a:pt x="93" y="92"/>
                  </a:lnTo>
                  <a:lnTo>
                    <a:pt x="93" y="91"/>
                  </a:lnTo>
                  <a:lnTo>
                    <a:pt x="93" y="89"/>
                  </a:lnTo>
                  <a:lnTo>
                    <a:pt x="94" y="88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85"/>
                  </a:lnTo>
                  <a:lnTo>
                    <a:pt x="96" y="83"/>
                  </a:lnTo>
                  <a:lnTo>
                    <a:pt x="94" y="82"/>
                  </a:lnTo>
                  <a:lnTo>
                    <a:pt x="94" y="80"/>
                  </a:lnTo>
                  <a:lnTo>
                    <a:pt x="96" y="78"/>
                  </a:lnTo>
                  <a:lnTo>
                    <a:pt x="97" y="78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2"/>
                  </a:lnTo>
                  <a:lnTo>
                    <a:pt x="99" y="72"/>
                  </a:lnTo>
                  <a:lnTo>
                    <a:pt x="99" y="71"/>
                  </a:lnTo>
                  <a:lnTo>
                    <a:pt x="99" y="69"/>
                  </a:lnTo>
                  <a:lnTo>
                    <a:pt x="99" y="68"/>
                  </a:lnTo>
                  <a:lnTo>
                    <a:pt x="99" y="66"/>
                  </a:lnTo>
                  <a:lnTo>
                    <a:pt x="96" y="60"/>
                  </a:lnTo>
                  <a:lnTo>
                    <a:pt x="96" y="58"/>
                  </a:lnTo>
                  <a:lnTo>
                    <a:pt x="96" y="54"/>
                  </a:lnTo>
                  <a:lnTo>
                    <a:pt x="96" y="52"/>
                  </a:lnTo>
                  <a:lnTo>
                    <a:pt x="94" y="51"/>
                  </a:lnTo>
                  <a:lnTo>
                    <a:pt x="93" y="45"/>
                  </a:lnTo>
                  <a:lnTo>
                    <a:pt x="91" y="41"/>
                  </a:lnTo>
                  <a:lnTo>
                    <a:pt x="89" y="41"/>
                  </a:lnTo>
                  <a:lnTo>
                    <a:pt x="88" y="40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1" y="32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5" y="14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57" y="9"/>
                  </a:lnTo>
                  <a:lnTo>
                    <a:pt x="56" y="11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48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5" y="17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39" y="17"/>
                  </a:lnTo>
                  <a:lnTo>
                    <a:pt x="36" y="15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6" y="5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7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3" y="43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6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71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5"/>
                  </a:lnTo>
                  <a:lnTo>
                    <a:pt x="8" y="77"/>
                  </a:lnTo>
                  <a:lnTo>
                    <a:pt x="8" y="78"/>
                  </a:lnTo>
                  <a:lnTo>
                    <a:pt x="8" y="80"/>
                  </a:lnTo>
                  <a:lnTo>
                    <a:pt x="12" y="78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23" y="83"/>
                  </a:lnTo>
                  <a:lnTo>
                    <a:pt x="25" y="83"/>
                  </a:lnTo>
                  <a:lnTo>
                    <a:pt x="25" y="85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94"/>
                  </a:lnTo>
                  <a:lnTo>
                    <a:pt x="23" y="97"/>
                  </a:lnTo>
                  <a:lnTo>
                    <a:pt x="22" y="98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6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3"/>
                  </a:lnTo>
                  <a:lnTo>
                    <a:pt x="23" y="103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9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12"/>
                  </a:lnTo>
                  <a:lnTo>
                    <a:pt x="19" y="114"/>
                  </a:lnTo>
                  <a:lnTo>
                    <a:pt x="19" y="115"/>
                  </a:lnTo>
                  <a:lnTo>
                    <a:pt x="17" y="118"/>
                  </a:lnTo>
                  <a:lnTo>
                    <a:pt x="14" y="120"/>
                  </a:lnTo>
                  <a:lnTo>
                    <a:pt x="12" y="120"/>
                  </a:lnTo>
                  <a:lnTo>
                    <a:pt x="14" y="123"/>
                  </a:lnTo>
                  <a:lnTo>
                    <a:pt x="12" y="125"/>
                  </a:lnTo>
                  <a:lnTo>
                    <a:pt x="11" y="125"/>
                  </a:lnTo>
                  <a:lnTo>
                    <a:pt x="9" y="123"/>
                  </a:lnTo>
                  <a:lnTo>
                    <a:pt x="9" y="125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1" y="131"/>
                  </a:lnTo>
                  <a:lnTo>
                    <a:pt x="11" y="132"/>
                  </a:lnTo>
                  <a:lnTo>
                    <a:pt x="12" y="134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7" y="134"/>
                  </a:lnTo>
                  <a:lnTo>
                    <a:pt x="17" y="135"/>
                  </a:lnTo>
                  <a:lnTo>
                    <a:pt x="19" y="137"/>
                  </a:lnTo>
                  <a:lnTo>
                    <a:pt x="19" y="139"/>
                  </a:lnTo>
                  <a:lnTo>
                    <a:pt x="19" y="140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49"/>
                  </a:lnTo>
                  <a:lnTo>
                    <a:pt x="12" y="149"/>
                  </a:lnTo>
                  <a:lnTo>
                    <a:pt x="12" y="151"/>
                  </a:lnTo>
                  <a:lnTo>
                    <a:pt x="14" y="151"/>
                  </a:lnTo>
                  <a:lnTo>
                    <a:pt x="14" y="152"/>
                  </a:lnTo>
                  <a:lnTo>
                    <a:pt x="14" y="154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4" y="163"/>
                  </a:lnTo>
                  <a:lnTo>
                    <a:pt x="14" y="163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4" y="169"/>
                  </a:lnTo>
                  <a:lnTo>
                    <a:pt x="14" y="171"/>
                  </a:lnTo>
                  <a:lnTo>
                    <a:pt x="14" y="171"/>
                  </a:lnTo>
                  <a:lnTo>
                    <a:pt x="14" y="171"/>
                  </a:lnTo>
                  <a:lnTo>
                    <a:pt x="16" y="169"/>
                  </a:lnTo>
                  <a:lnTo>
                    <a:pt x="17" y="166"/>
                  </a:lnTo>
                  <a:lnTo>
                    <a:pt x="17" y="163"/>
                  </a:lnTo>
                  <a:lnTo>
                    <a:pt x="17" y="166"/>
                  </a:lnTo>
                  <a:lnTo>
                    <a:pt x="19" y="168"/>
                  </a:lnTo>
                  <a:lnTo>
                    <a:pt x="19" y="169"/>
                  </a:lnTo>
                  <a:lnTo>
                    <a:pt x="19" y="172"/>
                  </a:lnTo>
                  <a:lnTo>
                    <a:pt x="19" y="174"/>
                  </a:lnTo>
                  <a:lnTo>
                    <a:pt x="14" y="175"/>
                  </a:lnTo>
                  <a:lnTo>
                    <a:pt x="12" y="177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2" y="177"/>
                  </a:lnTo>
                  <a:lnTo>
                    <a:pt x="12" y="177"/>
                  </a:lnTo>
                  <a:lnTo>
                    <a:pt x="12" y="174"/>
                  </a:lnTo>
                  <a:lnTo>
                    <a:pt x="12" y="172"/>
                  </a:lnTo>
                  <a:lnTo>
                    <a:pt x="12" y="171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1" y="172"/>
                  </a:lnTo>
                  <a:lnTo>
                    <a:pt x="9" y="172"/>
                  </a:lnTo>
                  <a:lnTo>
                    <a:pt x="8" y="172"/>
                  </a:lnTo>
                  <a:lnTo>
                    <a:pt x="9" y="174"/>
                  </a:lnTo>
                  <a:lnTo>
                    <a:pt x="11" y="175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9" y="179"/>
                  </a:lnTo>
                  <a:lnTo>
                    <a:pt x="9" y="180"/>
                  </a:lnTo>
                  <a:lnTo>
                    <a:pt x="9" y="180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9" y="182"/>
                  </a:lnTo>
                  <a:lnTo>
                    <a:pt x="8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8" y="191"/>
                  </a:lnTo>
                  <a:lnTo>
                    <a:pt x="6" y="192"/>
                  </a:lnTo>
                  <a:lnTo>
                    <a:pt x="6" y="194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3" y="197"/>
                  </a:lnTo>
                  <a:lnTo>
                    <a:pt x="3" y="199"/>
                  </a:lnTo>
                  <a:lnTo>
                    <a:pt x="3" y="199"/>
                  </a:lnTo>
                  <a:lnTo>
                    <a:pt x="8" y="206"/>
                  </a:lnTo>
                  <a:lnTo>
                    <a:pt x="9" y="208"/>
                  </a:lnTo>
                  <a:lnTo>
                    <a:pt x="9" y="205"/>
                  </a:lnTo>
                  <a:lnTo>
                    <a:pt x="11" y="205"/>
                  </a:lnTo>
                  <a:lnTo>
                    <a:pt x="12" y="206"/>
                  </a:lnTo>
                  <a:lnTo>
                    <a:pt x="14" y="208"/>
                  </a:lnTo>
                  <a:lnTo>
                    <a:pt x="14" y="211"/>
                  </a:lnTo>
                  <a:lnTo>
                    <a:pt x="14" y="212"/>
                  </a:lnTo>
                  <a:lnTo>
                    <a:pt x="12" y="212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9" y="211"/>
                  </a:lnTo>
                  <a:lnTo>
                    <a:pt x="11" y="214"/>
                  </a:lnTo>
                  <a:lnTo>
                    <a:pt x="14" y="217"/>
                  </a:lnTo>
                  <a:lnTo>
                    <a:pt x="16" y="217"/>
                  </a:lnTo>
                  <a:lnTo>
                    <a:pt x="16" y="219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4" y="229"/>
                  </a:lnTo>
                  <a:lnTo>
                    <a:pt x="12" y="229"/>
                  </a:lnTo>
                  <a:lnTo>
                    <a:pt x="11" y="229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9" y="225"/>
                  </a:lnTo>
                  <a:lnTo>
                    <a:pt x="9" y="223"/>
                  </a:lnTo>
                  <a:lnTo>
                    <a:pt x="6" y="220"/>
                  </a:lnTo>
                  <a:lnTo>
                    <a:pt x="5" y="219"/>
                  </a:lnTo>
                  <a:lnTo>
                    <a:pt x="3" y="219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3" y="223"/>
                  </a:lnTo>
                  <a:lnTo>
                    <a:pt x="6" y="225"/>
                  </a:lnTo>
                  <a:lnTo>
                    <a:pt x="6" y="226"/>
                  </a:lnTo>
                  <a:lnTo>
                    <a:pt x="8" y="231"/>
                  </a:lnTo>
                  <a:lnTo>
                    <a:pt x="8" y="231"/>
                  </a:lnTo>
                  <a:lnTo>
                    <a:pt x="8" y="232"/>
                  </a:lnTo>
                  <a:lnTo>
                    <a:pt x="16" y="242"/>
                  </a:lnTo>
                  <a:lnTo>
                    <a:pt x="19" y="243"/>
                  </a:lnTo>
                  <a:lnTo>
                    <a:pt x="22" y="245"/>
                  </a:lnTo>
                  <a:lnTo>
                    <a:pt x="25" y="246"/>
                  </a:lnTo>
                  <a:lnTo>
                    <a:pt x="29" y="249"/>
                  </a:lnTo>
                  <a:lnTo>
                    <a:pt x="34" y="251"/>
                  </a:lnTo>
                  <a:lnTo>
                    <a:pt x="34" y="251"/>
                  </a:lnTo>
                  <a:lnTo>
                    <a:pt x="34" y="251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6" y="254"/>
                  </a:lnTo>
                  <a:lnTo>
                    <a:pt x="37" y="254"/>
                  </a:lnTo>
                  <a:lnTo>
                    <a:pt x="37" y="254"/>
                  </a:lnTo>
                  <a:lnTo>
                    <a:pt x="37" y="254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7" y="254"/>
                  </a:lnTo>
                  <a:lnTo>
                    <a:pt x="39" y="254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43" y="257"/>
                  </a:lnTo>
                  <a:lnTo>
                    <a:pt x="45" y="257"/>
                  </a:lnTo>
                  <a:lnTo>
                    <a:pt x="45" y="259"/>
                  </a:lnTo>
                  <a:lnTo>
                    <a:pt x="45" y="260"/>
                  </a:lnTo>
                  <a:lnTo>
                    <a:pt x="49" y="266"/>
                  </a:lnTo>
                  <a:lnTo>
                    <a:pt x="51" y="268"/>
                  </a:lnTo>
                  <a:lnTo>
                    <a:pt x="49" y="268"/>
                  </a:lnTo>
                  <a:lnTo>
                    <a:pt x="49" y="269"/>
                  </a:lnTo>
                  <a:lnTo>
                    <a:pt x="48" y="269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51" y="271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3" y="274"/>
                  </a:lnTo>
                  <a:lnTo>
                    <a:pt x="54" y="274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56" y="277"/>
                  </a:lnTo>
                  <a:lnTo>
                    <a:pt x="56" y="277"/>
                  </a:lnTo>
                  <a:lnTo>
                    <a:pt x="54" y="283"/>
                  </a:lnTo>
                  <a:lnTo>
                    <a:pt x="53" y="285"/>
                  </a:lnTo>
                  <a:lnTo>
                    <a:pt x="54" y="285"/>
                  </a:lnTo>
                  <a:lnTo>
                    <a:pt x="54" y="286"/>
                  </a:lnTo>
                  <a:lnTo>
                    <a:pt x="54" y="289"/>
                  </a:lnTo>
                  <a:lnTo>
                    <a:pt x="54" y="291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1"/>
                  </a:lnTo>
                  <a:lnTo>
                    <a:pt x="54" y="291"/>
                  </a:lnTo>
                  <a:lnTo>
                    <a:pt x="54" y="291"/>
                  </a:lnTo>
                  <a:lnTo>
                    <a:pt x="56" y="291"/>
                  </a:lnTo>
                  <a:lnTo>
                    <a:pt x="59" y="291"/>
                  </a:lnTo>
                  <a:lnTo>
                    <a:pt x="62" y="293"/>
                  </a:lnTo>
                  <a:lnTo>
                    <a:pt x="65" y="294"/>
                  </a:lnTo>
                  <a:lnTo>
                    <a:pt x="66" y="296"/>
                  </a:lnTo>
                  <a:lnTo>
                    <a:pt x="68" y="297"/>
                  </a:lnTo>
                  <a:lnTo>
                    <a:pt x="69" y="297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69" y="294"/>
                  </a:lnTo>
                  <a:lnTo>
                    <a:pt x="71" y="294"/>
                  </a:lnTo>
                  <a:lnTo>
                    <a:pt x="71" y="294"/>
                  </a:lnTo>
                  <a:lnTo>
                    <a:pt x="71" y="294"/>
                  </a:lnTo>
                  <a:lnTo>
                    <a:pt x="73" y="294"/>
                  </a:lnTo>
                  <a:lnTo>
                    <a:pt x="73" y="294"/>
                  </a:lnTo>
                  <a:lnTo>
                    <a:pt x="73" y="293"/>
                  </a:lnTo>
                  <a:lnTo>
                    <a:pt x="74" y="291"/>
                  </a:lnTo>
                  <a:lnTo>
                    <a:pt x="76" y="289"/>
                  </a:lnTo>
                  <a:lnTo>
                    <a:pt x="77" y="289"/>
                  </a:lnTo>
                  <a:lnTo>
                    <a:pt x="77" y="288"/>
                  </a:lnTo>
                  <a:lnTo>
                    <a:pt x="77" y="288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77" y="280"/>
                  </a:lnTo>
                  <a:lnTo>
                    <a:pt x="77" y="280"/>
                  </a:lnTo>
                  <a:lnTo>
                    <a:pt x="80" y="282"/>
                  </a:lnTo>
                  <a:lnTo>
                    <a:pt x="80" y="282"/>
                  </a:lnTo>
                  <a:lnTo>
                    <a:pt x="82" y="282"/>
                  </a:lnTo>
                  <a:lnTo>
                    <a:pt x="83" y="282"/>
                  </a:lnTo>
                  <a:lnTo>
                    <a:pt x="85" y="279"/>
                  </a:lnTo>
                  <a:lnTo>
                    <a:pt x="83" y="277"/>
                  </a:lnTo>
                  <a:lnTo>
                    <a:pt x="80" y="272"/>
                  </a:lnTo>
                  <a:lnTo>
                    <a:pt x="79" y="269"/>
                  </a:lnTo>
                  <a:lnTo>
                    <a:pt x="79" y="269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82" y="263"/>
                  </a:lnTo>
                  <a:lnTo>
                    <a:pt x="83" y="262"/>
                  </a:lnTo>
                  <a:lnTo>
                    <a:pt x="83" y="260"/>
                  </a:lnTo>
                  <a:lnTo>
                    <a:pt x="83" y="259"/>
                  </a:lnTo>
                  <a:lnTo>
                    <a:pt x="85" y="257"/>
                  </a:lnTo>
                  <a:lnTo>
                    <a:pt x="85" y="256"/>
                  </a:lnTo>
                  <a:lnTo>
                    <a:pt x="86" y="256"/>
                  </a:lnTo>
                  <a:lnTo>
                    <a:pt x="89" y="256"/>
                  </a:lnTo>
                  <a:lnTo>
                    <a:pt x="91" y="256"/>
                  </a:lnTo>
                  <a:lnTo>
                    <a:pt x="93" y="254"/>
                  </a:lnTo>
                  <a:lnTo>
                    <a:pt x="96" y="256"/>
                  </a:lnTo>
                  <a:lnTo>
                    <a:pt x="97" y="256"/>
                  </a:lnTo>
                  <a:lnTo>
                    <a:pt x="100" y="254"/>
                  </a:lnTo>
                  <a:lnTo>
                    <a:pt x="102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5" y="249"/>
                  </a:lnTo>
                  <a:lnTo>
                    <a:pt x="105" y="248"/>
                  </a:lnTo>
                  <a:lnTo>
                    <a:pt x="103" y="246"/>
                  </a:lnTo>
                  <a:lnTo>
                    <a:pt x="103" y="246"/>
                  </a:lnTo>
                  <a:lnTo>
                    <a:pt x="103" y="245"/>
                  </a:lnTo>
                  <a:lnTo>
                    <a:pt x="103" y="245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6" y="240"/>
                  </a:lnTo>
                  <a:lnTo>
                    <a:pt x="106" y="239"/>
                  </a:lnTo>
                  <a:lnTo>
                    <a:pt x="106" y="237"/>
                  </a:lnTo>
                  <a:lnTo>
                    <a:pt x="106" y="234"/>
                  </a:lnTo>
                  <a:lnTo>
                    <a:pt x="108" y="234"/>
                  </a:lnTo>
                  <a:lnTo>
                    <a:pt x="108" y="232"/>
                  </a:lnTo>
                  <a:lnTo>
                    <a:pt x="109" y="232"/>
                  </a:lnTo>
                  <a:lnTo>
                    <a:pt x="109" y="232"/>
                  </a:lnTo>
                  <a:lnTo>
                    <a:pt x="109" y="231"/>
                  </a:lnTo>
                  <a:lnTo>
                    <a:pt x="111" y="229"/>
                  </a:lnTo>
                  <a:lnTo>
                    <a:pt x="111" y="228"/>
                  </a:lnTo>
                  <a:lnTo>
                    <a:pt x="113" y="226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2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6" y="219"/>
                  </a:lnTo>
                  <a:lnTo>
                    <a:pt x="116" y="217"/>
                  </a:lnTo>
                  <a:lnTo>
                    <a:pt x="116" y="217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20" y="217"/>
                  </a:lnTo>
                  <a:lnTo>
                    <a:pt x="122" y="217"/>
                  </a:lnTo>
                  <a:lnTo>
                    <a:pt x="125" y="216"/>
                  </a:lnTo>
                  <a:lnTo>
                    <a:pt x="125" y="214"/>
                  </a:lnTo>
                  <a:lnTo>
                    <a:pt x="125" y="214"/>
                  </a:lnTo>
                  <a:lnTo>
                    <a:pt x="125" y="214"/>
                  </a:lnTo>
                  <a:lnTo>
                    <a:pt x="125" y="212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8" y="211"/>
                  </a:lnTo>
                  <a:lnTo>
                    <a:pt x="128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8"/>
                  </a:lnTo>
                  <a:lnTo>
                    <a:pt x="131" y="208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1" y="205"/>
                  </a:lnTo>
                  <a:lnTo>
                    <a:pt x="131" y="202"/>
                  </a:lnTo>
                  <a:lnTo>
                    <a:pt x="131" y="200"/>
                  </a:lnTo>
                  <a:lnTo>
                    <a:pt x="131" y="197"/>
                  </a:lnTo>
                  <a:close/>
                </a:path>
              </a:pathLst>
            </a:custGeom>
            <a:grpFill/>
            <a:ln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16"/>
            <p:cNvSpPr>
              <a:spLocks/>
            </p:cNvSpPr>
            <p:nvPr/>
          </p:nvSpPr>
          <p:spPr bwMode="gray">
            <a:xfrm>
              <a:off x="7961313" y="7908926"/>
              <a:ext cx="207963" cy="471488"/>
            </a:xfrm>
            <a:custGeom>
              <a:avLst/>
              <a:gdLst>
                <a:gd name="T0" fmla="*/ 125 w 131"/>
                <a:gd name="T1" fmla="*/ 188 h 297"/>
                <a:gd name="T2" fmla="*/ 117 w 131"/>
                <a:gd name="T3" fmla="*/ 171 h 297"/>
                <a:gd name="T4" fmla="*/ 103 w 131"/>
                <a:gd name="T5" fmla="*/ 159 h 297"/>
                <a:gd name="T6" fmla="*/ 97 w 131"/>
                <a:gd name="T7" fmla="*/ 154 h 297"/>
                <a:gd name="T8" fmla="*/ 91 w 131"/>
                <a:gd name="T9" fmla="*/ 131 h 297"/>
                <a:gd name="T10" fmla="*/ 94 w 131"/>
                <a:gd name="T11" fmla="*/ 122 h 297"/>
                <a:gd name="T12" fmla="*/ 89 w 131"/>
                <a:gd name="T13" fmla="*/ 115 h 297"/>
                <a:gd name="T14" fmla="*/ 94 w 131"/>
                <a:gd name="T15" fmla="*/ 106 h 297"/>
                <a:gd name="T16" fmla="*/ 96 w 131"/>
                <a:gd name="T17" fmla="*/ 86 h 297"/>
                <a:gd name="T18" fmla="*/ 97 w 131"/>
                <a:gd name="T19" fmla="*/ 75 h 297"/>
                <a:gd name="T20" fmla="*/ 99 w 131"/>
                <a:gd name="T21" fmla="*/ 66 h 297"/>
                <a:gd name="T22" fmla="*/ 88 w 131"/>
                <a:gd name="T23" fmla="*/ 40 h 297"/>
                <a:gd name="T24" fmla="*/ 71 w 131"/>
                <a:gd name="T25" fmla="*/ 28 h 297"/>
                <a:gd name="T26" fmla="*/ 68 w 131"/>
                <a:gd name="T27" fmla="*/ 21 h 297"/>
                <a:gd name="T28" fmla="*/ 57 w 131"/>
                <a:gd name="T29" fmla="*/ 9 h 297"/>
                <a:gd name="T30" fmla="*/ 42 w 131"/>
                <a:gd name="T31" fmla="*/ 18 h 297"/>
                <a:gd name="T32" fmla="*/ 34 w 131"/>
                <a:gd name="T33" fmla="*/ 9 h 297"/>
                <a:gd name="T34" fmla="*/ 32 w 131"/>
                <a:gd name="T35" fmla="*/ 0 h 297"/>
                <a:gd name="T36" fmla="*/ 23 w 131"/>
                <a:gd name="T37" fmla="*/ 12 h 297"/>
                <a:gd name="T38" fmla="*/ 16 w 131"/>
                <a:gd name="T39" fmla="*/ 23 h 297"/>
                <a:gd name="T40" fmla="*/ 0 w 131"/>
                <a:gd name="T41" fmla="*/ 48 h 297"/>
                <a:gd name="T42" fmla="*/ 6 w 131"/>
                <a:gd name="T43" fmla="*/ 60 h 297"/>
                <a:gd name="T44" fmla="*/ 6 w 131"/>
                <a:gd name="T45" fmla="*/ 69 h 297"/>
                <a:gd name="T46" fmla="*/ 8 w 131"/>
                <a:gd name="T47" fmla="*/ 77 h 297"/>
                <a:gd name="T48" fmla="*/ 25 w 131"/>
                <a:gd name="T49" fmla="*/ 88 h 297"/>
                <a:gd name="T50" fmla="*/ 25 w 131"/>
                <a:gd name="T51" fmla="*/ 102 h 297"/>
                <a:gd name="T52" fmla="*/ 22 w 131"/>
                <a:gd name="T53" fmla="*/ 106 h 297"/>
                <a:gd name="T54" fmla="*/ 19 w 131"/>
                <a:gd name="T55" fmla="*/ 114 h 297"/>
                <a:gd name="T56" fmla="*/ 9 w 131"/>
                <a:gd name="T57" fmla="*/ 125 h 297"/>
                <a:gd name="T58" fmla="*/ 17 w 131"/>
                <a:gd name="T59" fmla="*/ 135 h 297"/>
                <a:gd name="T60" fmla="*/ 12 w 131"/>
                <a:gd name="T61" fmla="*/ 151 h 297"/>
                <a:gd name="T62" fmla="*/ 16 w 131"/>
                <a:gd name="T63" fmla="*/ 165 h 297"/>
                <a:gd name="T64" fmla="*/ 17 w 131"/>
                <a:gd name="T65" fmla="*/ 166 h 297"/>
                <a:gd name="T66" fmla="*/ 12 w 131"/>
                <a:gd name="T67" fmla="*/ 175 h 297"/>
                <a:gd name="T68" fmla="*/ 12 w 131"/>
                <a:gd name="T69" fmla="*/ 169 h 297"/>
                <a:gd name="T70" fmla="*/ 9 w 131"/>
                <a:gd name="T71" fmla="*/ 179 h 297"/>
                <a:gd name="T72" fmla="*/ 8 w 131"/>
                <a:gd name="T73" fmla="*/ 191 h 297"/>
                <a:gd name="T74" fmla="*/ 9 w 131"/>
                <a:gd name="T75" fmla="*/ 208 h 297"/>
                <a:gd name="T76" fmla="*/ 11 w 131"/>
                <a:gd name="T77" fmla="*/ 211 h 297"/>
                <a:gd name="T78" fmla="*/ 16 w 131"/>
                <a:gd name="T79" fmla="*/ 219 h 297"/>
                <a:gd name="T80" fmla="*/ 9 w 131"/>
                <a:gd name="T81" fmla="*/ 223 h 297"/>
                <a:gd name="T82" fmla="*/ 3 w 131"/>
                <a:gd name="T83" fmla="*/ 223 h 297"/>
                <a:gd name="T84" fmla="*/ 25 w 131"/>
                <a:gd name="T85" fmla="*/ 246 h 297"/>
                <a:gd name="T86" fmla="*/ 37 w 131"/>
                <a:gd name="T87" fmla="*/ 254 h 297"/>
                <a:gd name="T88" fmla="*/ 42 w 131"/>
                <a:gd name="T89" fmla="*/ 257 h 297"/>
                <a:gd name="T90" fmla="*/ 48 w 131"/>
                <a:gd name="T91" fmla="*/ 269 h 297"/>
                <a:gd name="T92" fmla="*/ 53 w 131"/>
                <a:gd name="T93" fmla="*/ 274 h 297"/>
                <a:gd name="T94" fmla="*/ 54 w 131"/>
                <a:gd name="T95" fmla="*/ 286 h 297"/>
                <a:gd name="T96" fmla="*/ 59 w 131"/>
                <a:gd name="T97" fmla="*/ 291 h 297"/>
                <a:gd name="T98" fmla="*/ 71 w 131"/>
                <a:gd name="T99" fmla="*/ 294 h 297"/>
                <a:gd name="T100" fmla="*/ 77 w 131"/>
                <a:gd name="T101" fmla="*/ 288 h 297"/>
                <a:gd name="T102" fmla="*/ 76 w 131"/>
                <a:gd name="T103" fmla="*/ 283 h 297"/>
                <a:gd name="T104" fmla="*/ 80 w 131"/>
                <a:gd name="T105" fmla="*/ 282 h 297"/>
                <a:gd name="T106" fmla="*/ 77 w 131"/>
                <a:gd name="T107" fmla="*/ 263 h 297"/>
                <a:gd name="T108" fmla="*/ 89 w 131"/>
                <a:gd name="T109" fmla="*/ 256 h 297"/>
                <a:gd name="T110" fmla="*/ 105 w 131"/>
                <a:gd name="T111" fmla="*/ 249 h 297"/>
                <a:gd name="T112" fmla="*/ 106 w 131"/>
                <a:gd name="T113" fmla="*/ 240 h 297"/>
                <a:gd name="T114" fmla="*/ 111 w 131"/>
                <a:gd name="T115" fmla="*/ 229 h 297"/>
                <a:gd name="T116" fmla="*/ 114 w 131"/>
                <a:gd name="T117" fmla="*/ 219 h 297"/>
                <a:gd name="T118" fmla="*/ 125 w 131"/>
                <a:gd name="T119" fmla="*/ 214 h 297"/>
                <a:gd name="T120" fmla="*/ 130 w 131"/>
                <a:gd name="T121" fmla="*/ 20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1" h="297">
                  <a:moveTo>
                    <a:pt x="131" y="197"/>
                  </a:moveTo>
                  <a:lnTo>
                    <a:pt x="131" y="195"/>
                  </a:lnTo>
                  <a:lnTo>
                    <a:pt x="131" y="194"/>
                  </a:lnTo>
                  <a:lnTo>
                    <a:pt x="128" y="192"/>
                  </a:lnTo>
                  <a:lnTo>
                    <a:pt x="126" y="189"/>
                  </a:lnTo>
                  <a:lnTo>
                    <a:pt x="126" y="189"/>
                  </a:lnTo>
                  <a:lnTo>
                    <a:pt x="126" y="188"/>
                  </a:lnTo>
                  <a:lnTo>
                    <a:pt x="125" y="188"/>
                  </a:lnTo>
                  <a:lnTo>
                    <a:pt x="125" y="188"/>
                  </a:lnTo>
                  <a:lnTo>
                    <a:pt x="126" y="186"/>
                  </a:lnTo>
                  <a:lnTo>
                    <a:pt x="126" y="183"/>
                  </a:lnTo>
                  <a:lnTo>
                    <a:pt x="126" y="179"/>
                  </a:lnTo>
                  <a:lnTo>
                    <a:pt x="126" y="177"/>
                  </a:lnTo>
                  <a:lnTo>
                    <a:pt x="126" y="174"/>
                  </a:lnTo>
                  <a:lnTo>
                    <a:pt x="125" y="174"/>
                  </a:lnTo>
                  <a:lnTo>
                    <a:pt x="120" y="172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6" y="172"/>
                  </a:lnTo>
                  <a:lnTo>
                    <a:pt x="113" y="174"/>
                  </a:lnTo>
                  <a:lnTo>
                    <a:pt x="111" y="174"/>
                  </a:lnTo>
                  <a:lnTo>
                    <a:pt x="109" y="174"/>
                  </a:lnTo>
                  <a:lnTo>
                    <a:pt x="109" y="174"/>
                  </a:lnTo>
                  <a:lnTo>
                    <a:pt x="108" y="172"/>
                  </a:lnTo>
                  <a:lnTo>
                    <a:pt x="106" y="171"/>
                  </a:lnTo>
                  <a:lnTo>
                    <a:pt x="105" y="165"/>
                  </a:lnTo>
                  <a:lnTo>
                    <a:pt x="103" y="159"/>
                  </a:lnTo>
                  <a:lnTo>
                    <a:pt x="103" y="157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5"/>
                  </a:lnTo>
                  <a:lnTo>
                    <a:pt x="99" y="155"/>
                  </a:lnTo>
                  <a:lnTo>
                    <a:pt x="97" y="155"/>
                  </a:lnTo>
                  <a:lnTo>
                    <a:pt x="97" y="154"/>
                  </a:lnTo>
                  <a:lnTo>
                    <a:pt x="97" y="152"/>
                  </a:lnTo>
                  <a:lnTo>
                    <a:pt x="97" y="149"/>
                  </a:lnTo>
                  <a:lnTo>
                    <a:pt x="96" y="148"/>
                  </a:lnTo>
                  <a:lnTo>
                    <a:pt x="93" y="143"/>
                  </a:lnTo>
                  <a:lnTo>
                    <a:pt x="93" y="142"/>
                  </a:lnTo>
                  <a:lnTo>
                    <a:pt x="91" y="135"/>
                  </a:lnTo>
                  <a:lnTo>
                    <a:pt x="89" y="132"/>
                  </a:lnTo>
                  <a:lnTo>
                    <a:pt x="89" y="132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3" y="131"/>
                  </a:lnTo>
                  <a:lnTo>
                    <a:pt x="94" y="129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4" y="122"/>
                  </a:lnTo>
                  <a:lnTo>
                    <a:pt x="93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0"/>
                  </a:lnTo>
                  <a:lnTo>
                    <a:pt x="91" y="118"/>
                  </a:lnTo>
                  <a:lnTo>
                    <a:pt x="91" y="118"/>
                  </a:lnTo>
                  <a:lnTo>
                    <a:pt x="91" y="118"/>
                  </a:lnTo>
                  <a:lnTo>
                    <a:pt x="89" y="117"/>
                  </a:lnTo>
                  <a:lnTo>
                    <a:pt x="89" y="115"/>
                  </a:lnTo>
                  <a:lnTo>
                    <a:pt x="88" y="115"/>
                  </a:lnTo>
                  <a:lnTo>
                    <a:pt x="88" y="114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91" y="109"/>
                  </a:lnTo>
                  <a:lnTo>
                    <a:pt x="93" y="109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3" y="102"/>
                  </a:lnTo>
                  <a:lnTo>
                    <a:pt x="93" y="98"/>
                  </a:lnTo>
                  <a:lnTo>
                    <a:pt x="93" y="92"/>
                  </a:lnTo>
                  <a:lnTo>
                    <a:pt x="93" y="91"/>
                  </a:lnTo>
                  <a:lnTo>
                    <a:pt x="93" y="89"/>
                  </a:lnTo>
                  <a:lnTo>
                    <a:pt x="94" y="88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85"/>
                  </a:lnTo>
                  <a:lnTo>
                    <a:pt x="96" y="83"/>
                  </a:lnTo>
                  <a:lnTo>
                    <a:pt x="94" y="82"/>
                  </a:lnTo>
                  <a:lnTo>
                    <a:pt x="94" y="80"/>
                  </a:lnTo>
                  <a:lnTo>
                    <a:pt x="96" y="78"/>
                  </a:lnTo>
                  <a:lnTo>
                    <a:pt x="97" y="78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2"/>
                  </a:lnTo>
                  <a:lnTo>
                    <a:pt x="99" y="72"/>
                  </a:lnTo>
                  <a:lnTo>
                    <a:pt x="99" y="71"/>
                  </a:lnTo>
                  <a:lnTo>
                    <a:pt x="99" y="69"/>
                  </a:lnTo>
                  <a:lnTo>
                    <a:pt x="99" y="68"/>
                  </a:lnTo>
                  <a:lnTo>
                    <a:pt x="99" y="66"/>
                  </a:lnTo>
                  <a:lnTo>
                    <a:pt x="96" y="60"/>
                  </a:lnTo>
                  <a:lnTo>
                    <a:pt x="96" y="58"/>
                  </a:lnTo>
                  <a:lnTo>
                    <a:pt x="96" y="54"/>
                  </a:lnTo>
                  <a:lnTo>
                    <a:pt x="96" y="52"/>
                  </a:lnTo>
                  <a:lnTo>
                    <a:pt x="94" y="51"/>
                  </a:lnTo>
                  <a:lnTo>
                    <a:pt x="93" y="45"/>
                  </a:lnTo>
                  <a:lnTo>
                    <a:pt x="91" y="41"/>
                  </a:lnTo>
                  <a:lnTo>
                    <a:pt x="89" y="41"/>
                  </a:lnTo>
                  <a:lnTo>
                    <a:pt x="88" y="40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1" y="32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5" y="14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57" y="9"/>
                  </a:lnTo>
                  <a:lnTo>
                    <a:pt x="56" y="11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48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5" y="17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39" y="17"/>
                  </a:lnTo>
                  <a:lnTo>
                    <a:pt x="36" y="15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6" y="5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7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3" y="43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6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71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5"/>
                  </a:lnTo>
                  <a:lnTo>
                    <a:pt x="8" y="77"/>
                  </a:lnTo>
                  <a:lnTo>
                    <a:pt x="8" y="78"/>
                  </a:lnTo>
                  <a:lnTo>
                    <a:pt x="8" y="80"/>
                  </a:lnTo>
                  <a:lnTo>
                    <a:pt x="12" y="78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23" y="83"/>
                  </a:lnTo>
                  <a:lnTo>
                    <a:pt x="25" y="83"/>
                  </a:lnTo>
                  <a:lnTo>
                    <a:pt x="25" y="85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94"/>
                  </a:lnTo>
                  <a:lnTo>
                    <a:pt x="23" y="97"/>
                  </a:lnTo>
                  <a:lnTo>
                    <a:pt x="22" y="98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6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3"/>
                  </a:lnTo>
                  <a:lnTo>
                    <a:pt x="23" y="103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9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12"/>
                  </a:lnTo>
                  <a:lnTo>
                    <a:pt x="19" y="114"/>
                  </a:lnTo>
                  <a:lnTo>
                    <a:pt x="19" y="115"/>
                  </a:lnTo>
                  <a:lnTo>
                    <a:pt x="17" y="118"/>
                  </a:lnTo>
                  <a:lnTo>
                    <a:pt x="14" y="120"/>
                  </a:lnTo>
                  <a:lnTo>
                    <a:pt x="12" y="120"/>
                  </a:lnTo>
                  <a:lnTo>
                    <a:pt x="14" y="123"/>
                  </a:lnTo>
                  <a:lnTo>
                    <a:pt x="12" y="125"/>
                  </a:lnTo>
                  <a:lnTo>
                    <a:pt x="11" y="125"/>
                  </a:lnTo>
                  <a:lnTo>
                    <a:pt x="9" y="123"/>
                  </a:lnTo>
                  <a:lnTo>
                    <a:pt x="9" y="125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1" y="131"/>
                  </a:lnTo>
                  <a:lnTo>
                    <a:pt x="11" y="132"/>
                  </a:lnTo>
                  <a:lnTo>
                    <a:pt x="12" y="134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7" y="134"/>
                  </a:lnTo>
                  <a:lnTo>
                    <a:pt x="17" y="135"/>
                  </a:lnTo>
                  <a:lnTo>
                    <a:pt x="19" y="137"/>
                  </a:lnTo>
                  <a:lnTo>
                    <a:pt x="19" y="139"/>
                  </a:lnTo>
                  <a:lnTo>
                    <a:pt x="19" y="140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49"/>
                  </a:lnTo>
                  <a:lnTo>
                    <a:pt x="12" y="149"/>
                  </a:lnTo>
                  <a:lnTo>
                    <a:pt x="12" y="151"/>
                  </a:lnTo>
                  <a:lnTo>
                    <a:pt x="14" y="151"/>
                  </a:lnTo>
                  <a:lnTo>
                    <a:pt x="14" y="152"/>
                  </a:lnTo>
                  <a:lnTo>
                    <a:pt x="14" y="154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4" y="163"/>
                  </a:lnTo>
                  <a:lnTo>
                    <a:pt x="14" y="163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4" y="169"/>
                  </a:lnTo>
                  <a:lnTo>
                    <a:pt x="14" y="171"/>
                  </a:lnTo>
                  <a:lnTo>
                    <a:pt x="14" y="171"/>
                  </a:lnTo>
                  <a:lnTo>
                    <a:pt x="14" y="171"/>
                  </a:lnTo>
                  <a:lnTo>
                    <a:pt x="16" y="169"/>
                  </a:lnTo>
                  <a:lnTo>
                    <a:pt x="17" y="166"/>
                  </a:lnTo>
                  <a:lnTo>
                    <a:pt x="17" y="163"/>
                  </a:lnTo>
                  <a:lnTo>
                    <a:pt x="17" y="166"/>
                  </a:lnTo>
                  <a:lnTo>
                    <a:pt x="19" y="168"/>
                  </a:lnTo>
                  <a:lnTo>
                    <a:pt x="19" y="169"/>
                  </a:lnTo>
                  <a:lnTo>
                    <a:pt x="19" y="172"/>
                  </a:lnTo>
                  <a:lnTo>
                    <a:pt x="19" y="174"/>
                  </a:lnTo>
                  <a:lnTo>
                    <a:pt x="14" y="175"/>
                  </a:lnTo>
                  <a:lnTo>
                    <a:pt x="12" y="177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2" y="177"/>
                  </a:lnTo>
                  <a:lnTo>
                    <a:pt x="12" y="177"/>
                  </a:lnTo>
                  <a:lnTo>
                    <a:pt x="12" y="174"/>
                  </a:lnTo>
                  <a:lnTo>
                    <a:pt x="12" y="172"/>
                  </a:lnTo>
                  <a:lnTo>
                    <a:pt x="12" y="171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1" y="172"/>
                  </a:lnTo>
                  <a:lnTo>
                    <a:pt x="9" y="172"/>
                  </a:lnTo>
                  <a:lnTo>
                    <a:pt x="8" y="172"/>
                  </a:lnTo>
                  <a:lnTo>
                    <a:pt x="9" y="174"/>
                  </a:lnTo>
                  <a:lnTo>
                    <a:pt x="11" y="175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9" y="179"/>
                  </a:lnTo>
                  <a:lnTo>
                    <a:pt x="9" y="180"/>
                  </a:lnTo>
                  <a:lnTo>
                    <a:pt x="9" y="180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9" y="182"/>
                  </a:lnTo>
                  <a:lnTo>
                    <a:pt x="8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8" y="191"/>
                  </a:lnTo>
                  <a:lnTo>
                    <a:pt x="6" y="192"/>
                  </a:lnTo>
                  <a:lnTo>
                    <a:pt x="6" y="194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3" y="197"/>
                  </a:lnTo>
                  <a:lnTo>
                    <a:pt x="3" y="199"/>
                  </a:lnTo>
                  <a:lnTo>
                    <a:pt x="3" y="199"/>
                  </a:lnTo>
                  <a:lnTo>
                    <a:pt x="8" y="206"/>
                  </a:lnTo>
                  <a:lnTo>
                    <a:pt x="9" y="208"/>
                  </a:lnTo>
                  <a:lnTo>
                    <a:pt x="9" y="205"/>
                  </a:lnTo>
                  <a:lnTo>
                    <a:pt x="11" y="205"/>
                  </a:lnTo>
                  <a:lnTo>
                    <a:pt x="12" y="206"/>
                  </a:lnTo>
                  <a:lnTo>
                    <a:pt x="14" y="208"/>
                  </a:lnTo>
                  <a:lnTo>
                    <a:pt x="14" y="211"/>
                  </a:lnTo>
                  <a:lnTo>
                    <a:pt x="14" y="212"/>
                  </a:lnTo>
                  <a:lnTo>
                    <a:pt x="12" y="212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9" y="211"/>
                  </a:lnTo>
                  <a:lnTo>
                    <a:pt x="11" y="214"/>
                  </a:lnTo>
                  <a:lnTo>
                    <a:pt x="14" y="217"/>
                  </a:lnTo>
                  <a:lnTo>
                    <a:pt x="16" y="217"/>
                  </a:lnTo>
                  <a:lnTo>
                    <a:pt x="16" y="219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4" y="229"/>
                  </a:lnTo>
                  <a:lnTo>
                    <a:pt x="12" y="229"/>
                  </a:lnTo>
                  <a:lnTo>
                    <a:pt x="11" y="229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9" y="225"/>
                  </a:lnTo>
                  <a:lnTo>
                    <a:pt x="9" y="223"/>
                  </a:lnTo>
                  <a:lnTo>
                    <a:pt x="6" y="220"/>
                  </a:lnTo>
                  <a:lnTo>
                    <a:pt x="5" y="219"/>
                  </a:lnTo>
                  <a:lnTo>
                    <a:pt x="3" y="219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3" y="223"/>
                  </a:lnTo>
                  <a:lnTo>
                    <a:pt x="6" y="225"/>
                  </a:lnTo>
                  <a:lnTo>
                    <a:pt x="6" y="226"/>
                  </a:lnTo>
                  <a:lnTo>
                    <a:pt x="8" y="231"/>
                  </a:lnTo>
                  <a:lnTo>
                    <a:pt x="8" y="231"/>
                  </a:lnTo>
                  <a:lnTo>
                    <a:pt x="8" y="232"/>
                  </a:lnTo>
                  <a:lnTo>
                    <a:pt x="16" y="242"/>
                  </a:lnTo>
                  <a:lnTo>
                    <a:pt x="19" y="243"/>
                  </a:lnTo>
                  <a:lnTo>
                    <a:pt x="22" y="245"/>
                  </a:lnTo>
                  <a:lnTo>
                    <a:pt x="25" y="246"/>
                  </a:lnTo>
                  <a:lnTo>
                    <a:pt x="29" y="249"/>
                  </a:lnTo>
                  <a:lnTo>
                    <a:pt x="34" y="251"/>
                  </a:lnTo>
                  <a:lnTo>
                    <a:pt x="34" y="251"/>
                  </a:lnTo>
                  <a:lnTo>
                    <a:pt x="34" y="251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6" y="254"/>
                  </a:lnTo>
                  <a:lnTo>
                    <a:pt x="37" y="254"/>
                  </a:lnTo>
                  <a:lnTo>
                    <a:pt x="37" y="254"/>
                  </a:lnTo>
                  <a:lnTo>
                    <a:pt x="37" y="254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7" y="254"/>
                  </a:lnTo>
                  <a:lnTo>
                    <a:pt x="39" y="254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43" y="257"/>
                  </a:lnTo>
                  <a:lnTo>
                    <a:pt x="45" y="257"/>
                  </a:lnTo>
                  <a:lnTo>
                    <a:pt x="45" y="259"/>
                  </a:lnTo>
                  <a:lnTo>
                    <a:pt x="45" y="260"/>
                  </a:lnTo>
                  <a:lnTo>
                    <a:pt x="49" y="266"/>
                  </a:lnTo>
                  <a:lnTo>
                    <a:pt x="51" y="268"/>
                  </a:lnTo>
                  <a:lnTo>
                    <a:pt x="49" y="268"/>
                  </a:lnTo>
                  <a:lnTo>
                    <a:pt x="49" y="269"/>
                  </a:lnTo>
                  <a:lnTo>
                    <a:pt x="48" y="269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51" y="271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3" y="274"/>
                  </a:lnTo>
                  <a:lnTo>
                    <a:pt x="54" y="274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56" y="277"/>
                  </a:lnTo>
                  <a:lnTo>
                    <a:pt x="56" y="277"/>
                  </a:lnTo>
                  <a:lnTo>
                    <a:pt x="54" y="283"/>
                  </a:lnTo>
                  <a:lnTo>
                    <a:pt x="53" y="285"/>
                  </a:lnTo>
                  <a:lnTo>
                    <a:pt x="54" y="285"/>
                  </a:lnTo>
                  <a:lnTo>
                    <a:pt x="54" y="286"/>
                  </a:lnTo>
                  <a:lnTo>
                    <a:pt x="54" y="289"/>
                  </a:lnTo>
                  <a:lnTo>
                    <a:pt x="54" y="291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1"/>
                  </a:lnTo>
                  <a:lnTo>
                    <a:pt x="54" y="291"/>
                  </a:lnTo>
                  <a:lnTo>
                    <a:pt x="54" y="291"/>
                  </a:lnTo>
                  <a:lnTo>
                    <a:pt x="56" y="291"/>
                  </a:lnTo>
                  <a:lnTo>
                    <a:pt x="59" y="291"/>
                  </a:lnTo>
                  <a:lnTo>
                    <a:pt x="62" y="293"/>
                  </a:lnTo>
                  <a:lnTo>
                    <a:pt x="65" y="294"/>
                  </a:lnTo>
                  <a:lnTo>
                    <a:pt x="66" y="296"/>
                  </a:lnTo>
                  <a:lnTo>
                    <a:pt x="68" y="297"/>
                  </a:lnTo>
                  <a:lnTo>
                    <a:pt x="69" y="297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69" y="294"/>
                  </a:lnTo>
                  <a:lnTo>
                    <a:pt x="71" y="294"/>
                  </a:lnTo>
                  <a:lnTo>
                    <a:pt x="71" y="294"/>
                  </a:lnTo>
                  <a:lnTo>
                    <a:pt x="71" y="294"/>
                  </a:lnTo>
                  <a:lnTo>
                    <a:pt x="73" y="294"/>
                  </a:lnTo>
                  <a:lnTo>
                    <a:pt x="73" y="294"/>
                  </a:lnTo>
                  <a:lnTo>
                    <a:pt x="73" y="293"/>
                  </a:lnTo>
                  <a:lnTo>
                    <a:pt x="74" y="291"/>
                  </a:lnTo>
                  <a:lnTo>
                    <a:pt x="76" y="289"/>
                  </a:lnTo>
                  <a:lnTo>
                    <a:pt x="77" y="289"/>
                  </a:lnTo>
                  <a:lnTo>
                    <a:pt x="77" y="288"/>
                  </a:lnTo>
                  <a:lnTo>
                    <a:pt x="77" y="288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77" y="280"/>
                  </a:lnTo>
                  <a:lnTo>
                    <a:pt x="77" y="280"/>
                  </a:lnTo>
                  <a:lnTo>
                    <a:pt x="80" y="282"/>
                  </a:lnTo>
                  <a:lnTo>
                    <a:pt x="80" y="282"/>
                  </a:lnTo>
                  <a:lnTo>
                    <a:pt x="82" y="282"/>
                  </a:lnTo>
                  <a:lnTo>
                    <a:pt x="83" y="282"/>
                  </a:lnTo>
                  <a:lnTo>
                    <a:pt x="85" y="279"/>
                  </a:lnTo>
                  <a:lnTo>
                    <a:pt x="83" y="277"/>
                  </a:lnTo>
                  <a:lnTo>
                    <a:pt x="80" y="272"/>
                  </a:lnTo>
                  <a:lnTo>
                    <a:pt x="79" y="269"/>
                  </a:lnTo>
                  <a:lnTo>
                    <a:pt x="79" y="269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82" y="263"/>
                  </a:lnTo>
                  <a:lnTo>
                    <a:pt x="83" y="262"/>
                  </a:lnTo>
                  <a:lnTo>
                    <a:pt x="83" y="260"/>
                  </a:lnTo>
                  <a:lnTo>
                    <a:pt x="83" y="259"/>
                  </a:lnTo>
                  <a:lnTo>
                    <a:pt x="85" y="257"/>
                  </a:lnTo>
                  <a:lnTo>
                    <a:pt x="85" y="256"/>
                  </a:lnTo>
                  <a:lnTo>
                    <a:pt x="86" y="256"/>
                  </a:lnTo>
                  <a:lnTo>
                    <a:pt x="89" y="256"/>
                  </a:lnTo>
                  <a:lnTo>
                    <a:pt x="91" y="256"/>
                  </a:lnTo>
                  <a:lnTo>
                    <a:pt x="93" y="254"/>
                  </a:lnTo>
                  <a:lnTo>
                    <a:pt x="96" y="256"/>
                  </a:lnTo>
                  <a:lnTo>
                    <a:pt x="97" y="256"/>
                  </a:lnTo>
                  <a:lnTo>
                    <a:pt x="100" y="254"/>
                  </a:lnTo>
                  <a:lnTo>
                    <a:pt x="102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5" y="249"/>
                  </a:lnTo>
                  <a:lnTo>
                    <a:pt x="105" y="248"/>
                  </a:lnTo>
                  <a:lnTo>
                    <a:pt x="103" y="246"/>
                  </a:lnTo>
                  <a:lnTo>
                    <a:pt x="103" y="246"/>
                  </a:lnTo>
                  <a:lnTo>
                    <a:pt x="103" y="245"/>
                  </a:lnTo>
                  <a:lnTo>
                    <a:pt x="103" y="245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6" y="240"/>
                  </a:lnTo>
                  <a:lnTo>
                    <a:pt x="106" y="239"/>
                  </a:lnTo>
                  <a:lnTo>
                    <a:pt x="106" y="237"/>
                  </a:lnTo>
                  <a:lnTo>
                    <a:pt x="106" y="234"/>
                  </a:lnTo>
                  <a:lnTo>
                    <a:pt x="108" y="234"/>
                  </a:lnTo>
                  <a:lnTo>
                    <a:pt x="108" y="232"/>
                  </a:lnTo>
                  <a:lnTo>
                    <a:pt x="109" y="232"/>
                  </a:lnTo>
                  <a:lnTo>
                    <a:pt x="109" y="232"/>
                  </a:lnTo>
                  <a:lnTo>
                    <a:pt x="109" y="231"/>
                  </a:lnTo>
                  <a:lnTo>
                    <a:pt x="111" y="229"/>
                  </a:lnTo>
                  <a:lnTo>
                    <a:pt x="111" y="228"/>
                  </a:lnTo>
                  <a:lnTo>
                    <a:pt x="113" y="226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2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6" y="219"/>
                  </a:lnTo>
                  <a:lnTo>
                    <a:pt x="116" y="217"/>
                  </a:lnTo>
                  <a:lnTo>
                    <a:pt x="116" y="217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20" y="217"/>
                  </a:lnTo>
                  <a:lnTo>
                    <a:pt x="122" y="217"/>
                  </a:lnTo>
                  <a:lnTo>
                    <a:pt x="125" y="216"/>
                  </a:lnTo>
                  <a:lnTo>
                    <a:pt x="125" y="214"/>
                  </a:lnTo>
                  <a:lnTo>
                    <a:pt x="125" y="214"/>
                  </a:lnTo>
                  <a:lnTo>
                    <a:pt x="125" y="214"/>
                  </a:lnTo>
                  <a:lnTo>
                    <a:pt x="125" y="212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8" y="211"/>
                  </a:lnTo>
                  <a:lnTo>
                    <a:pt x="128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8"/>
                  </a:lnTo>
                  <a:lnTo>
                    <a:pt x="131" y="208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1" y="205"/>
                  </a:lnTo>
                  <a:lnTo>
                    <a:pt x="131" y="202"/>
                  </a:lnTo>
                  <a:lnTo>
                    <a:pt x="131" y="200"/>
                  </a:lnTo>
                  <a:lnTo>
                    <a:pt x="131" y="19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3" name="Rectangle 11"/>
          <p:cNvSpPr>
            <a:spLocks noChangeArrowheads="1"/>
          </p:cNvSpPr>
          <p:nvPr/>
        </p:nvSpPr>
        <p:spPr bwMode="gray">
          <a:xfrm>
            <a:off x="5187137" y="2789843"/>
            <a:ext cx="681007" cy="20766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Stockholm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0" name="Rectangle 11"/>
          <p:cNvSpPr>
            <a:spLocks noChangeArrowheads="1"/>
          </p:cNvSpPr>
          <p:nvPr/>
        </p:nvSpPr>
        <p:spPr bwMode="gray">
          <a:xfrm flipH="1">
            <a:off x="3929348" y="2752074"/>
            <a:ext cx="354620" cy="20766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Oslo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60" name="Rectangle 11"/>
          <p:cNvSpPr>
            <a:spLocks noChangeArrowheads="1"/>
          </p:cNvSpPr>
          <p:nvPr/>
        </p:nvSpPr>
        <p:spPr bwMode="gray">
          <a:xfrm>
            <a:off x="4356024" y="3963145"/>
            <a:ext cx="432000" cy="207662"/>
          </a:xfrm>
          <a:prstGeom prst="rect">
            <a:avLst/>
          </a:prstGeom>
          <a:solidFill>
            <a:srgbClr val="42126E"/>
          </a:solidFill>
          <a:ln>
            <a:noFill/>
          </a:ln>
          <a:ex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Berlin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64" name="Rectangle 11"/>
          <p:cNvSpPr>
            <a:spLocks noChangeArrowheads="1"/>
          </p:cNvSpPr>
          <p:nvPr/>
        </p:nvSpPr>
        <p:spPr bwMode="gray">
          <a:xfrm>
            <a:off x="3203848" y="3991720"/>
            <a:ext cx="576000" cy="207662"/>
          </a:xfrm>
          <a:prstGeom prst="rect">
            <a:avLst/>
          </a:prstGeom>
          <a:solidFill>
            <a:srgbClr val="42126E"/>
          </a:solidFill>
          <a:ln>
            <a:noFill/>
          </a:ln>
          <a:ex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London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68" name="Rectangle 11"/>
          <p:cNvSpPr>
            <a:spLocks noChangeArrowheads="1"/>
          </p:cNvSpPr>
          <p:nvPr/>
        </p:nvSpPr>
        <p:spPr bwMode="gray">
          <a:xfrm>
            <a:off x="3419872" y="4517482"/>
            <a:ext cx="396000" cy="207662"/>
          </a:xfrm>
          <a:prstGeom prst="rect">
            <a:avLst/>
          </a:prstGeom>
          <a:solidFill>
            <a:srgbClr val="1397FE"/>
          </a:solidFill>
          <a:ln>
            <a:noFill/>
          </a:ln>
          <a:ex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Paris</a:t>
            </a:r>
            <a:endParaRPr lang="en-GB" sz="1000" dirty="0">
              <a:solidFill>
                <a:schemeClr val="bg1"/>
              </a:solidFill>
            </a:endParaRPr>
          </a:p>
        </p:txBody>
      </p:sp>
      <p:grpSp>
        <p:nvGrpSpPr>
          <p:cNvPr id="147" name="Groupe 146"/>
          <p:cNvGrpSpPr/>
          <p:nvPr/>
        </p:nvGrpSpPr>
        <p:grpSpPr>
          <a:xfrm>
            <a:off x="2631600" y="5115600"/>
            <a:ext cx="1200150" cy="885825"/>
            <a:chOff x="1233488" y="4684713"/>
            <a:chExt cx="1200150" cy="885825"/>
          </a:xfrm>
        </p:grpSpPr>
        <p:sp>
          <p:nvSpPr>
            <p:cNvPr id="1028" name="AutoShape 4"/>
            <p:cNvSpPr>
              <a:spLocks noChangeAspect="1" noChangeArrowheads="1" noTextEdit="1"/>
            </p:cNvSpPr>
            <p:nvPr/>
          </p:nvSpPr>
          <p:spPr bwMode="auto">
            <a:xfrm>
              <a:off x="1233488" y="4684713"/>
              <a:ext cx="1200150" cy="885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1" name="Freeform 7"/>
            <p:cNvSpPr>
              <a:spLocks/>
            </p:cNvSpPr>
            <p:nvPr/>
          </p:nvSpPr>
          <p:spPr bwMode="auto">
            <a:xfrm>
              <a:off x="1677988" y="556101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2" name="Freeform 8"/>
            <p:cNvSpPr>
              <a:spLocks/>
            </p:cNvSpPr>
            <p:nvPr/>
          </p:nvSpPr>
          <p:spPr bwMode="auto">
            <a:xfrm>
              <a:off x="1838326" y="556101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3" name="Freeform 9"/>
            <p:cNvSpPr>
              <a:spLocks/>
            </p:cNvSpPr>
            <p:nvPr/>
          </p:nvSpPr>
          <p:spPr bwMode="auto">
            <a:xfrm>
              <a:off x="1711326" y="555783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4" name="Freeform 10"/>
            <p:cNvSpPr>
              <a:spLocks/>
            </p:cNvSpPr>
            <p:nvPr/>
          </p:nvSpPr>
          <p:spPr bwMode="auto">
            <a:xfrm>
              <a:off x="1711326" y="555783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5" name="Freeform 11"/>
            <p:cNvSpPr>
              <a:spLocks/>
            </p:cNvSpPr>
            <p:nvPr/>
          </p:nvSpPr>
          <p:spPr bwMode="auto">
            <a:xfrm>
              <a:off x="1790701" y="5546726"/>
              <a:ext cx="6350" cy="635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4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3" y="3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6" name="Freeform 12"/>
            <p:cNvSpPr>
              <a:spLocks/>
            </p:cNvSpPr>
            <p:nvPr/>
          </p:nvSpPr>
          <p:spPr bwMode="auto">
            <a:xfrm>
              <a:off x="1581151" y="5489576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7" name="Freeform 13"/>
            <p:cNvSpPr>
              <a:spLocks/>
            </p:cNvSpPr>
            <p:nvPr/>
          </p:nvSpPr>
          <p:spPr bwMode="auto">
            <a:xfrm>
              <a:off x="1581151" y="5489576"/>
              <a:ext cx="9525" cy="7938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5"/>
                </a:cxn>
                <a:cxn ang="0">
                  <a:pos x="3" y="5"/>
                </a:cxn>
                <a:cxn ang="0">
                  <a:pos x="4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2"/>
                </a:cxn>
                <a:cxn ang="0">
                  <a:pos x="4" y="2"/>
                </a:cxn>
              </a:cxnLst>
              <a:rect l="0" t="0" r="r" b="b"/>
              <a:pathLst>
                <a:path w="6" h="5">
                  <a:moveTo>
                    <a:pt x="4" y="2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4" y="2"/>
                  </a:lnTo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8" name="Freeform 14"/>
            <p:cNvSpPr>
              <a:spLocks/>
            </p:cNvSpPr>
            <p:nvPr/>
          </p:nvSpPr>
          <p:spPr bwMode="auto">
            <a:xfrm>
              <a:off x="1984376" y="5311776"/>
              <a:ext cx="1588" cy="9525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1" y="6"/>
                </a:cxn>
                <a:cxn ang="0">
                  <a:pos x="1" y="4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1" y="5"/>
                </a:cxn>
              </a:cxnLst>
              <a:rect l="0" t="0" r="r" b="b"/>
              <a:pathLst>
                <a:path w="1" h="6">
                  <a:moveTo>
                    <a:pt x="1" y="5"/>
                  </a:moveTo>
                  <a:lnTo>
                    <a:pt x="1" y="6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5"/>
                  </a:lnTo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9" name="Freeform 15"/>
            <p:cNvSpPr>
              <a:spLocks/>
            </p:cNvSpPr>
            <p:nvPr/>
          </p:nvSpPr>
          <p:spPr bwMode="auto">
            <a:xfrm>
              <a:off x="2168526" y="5213351"/>
              <a:ext cx="17463" cy="14288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6" y="4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0" y="8"/>
                </a:cxn>
                <a:cxn ang="0">
                  <a:pos x="1" y="9"/>
                </a:cxn>
                <a:cxn ang="0">
                  <a:pos x="2" y="8"/>
                </a:cxn>
                <a:cxn ang="0">
                  <a:pos x="3" y="7"/>
                </a:cxn>
                <a:cxn ang="0">
                  <a:pos x="3" y="7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8" y="8"/>
                </a:cxn>
                <a:cxn ang="0">
                  <a:pos x="10" y="8"/>
                </a:cxn>
                <a:cxn ang="0">
                  <a:pos x="11" y="8"/>
                </a:cxn>
                <a:cxn ang="0">
                  <a:pos x="11" y="5"/>
                </a:cxn>
                <a:cxn ang="0">
                  <a:pos x="10" y="4"/>
                </a:cxn>
                <a:cxn ang="0">
                  <a:pos x="8" y="5"/>
                </a:cxn>
              </a:cxnLst>
              <a:rect l="0" t="0" r="r" b="b"/>
              <a:pathLst>
                <a:path w="11" h="9">
                  <a:moveTo>
                    <a:pt x="8" y="5"/>
                  </a:moveTo>
                  <a:lnTo>
                    <a:pt x="6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1" y="7"/>
                  </a:lnTo>
                  <a:lnTo>
                    <a:pt x="0" y="8"/>
                  </a:lnTo>
                  <a:lnTo>
                    <a:pt x="1" y="9"/>
                  </a:lnTo>
                  <a:lnTo>
                    <a:pt x="2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5"/>
                  </a:lnTo>
                  <a:lnTo>
                    <a:pt x="6" y="5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0" y="4"/>
                  </a:lnTo>
                  <a:lnTo>
                    <a:pt x="8" y="5"/>
                  </a:lnTo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0" name="Freeform 16"/>
            <p:cNvSpPr>
              <a:spLocks/>
            </p:cNvSpPr>
            <p:nvPr/>
          </p:nvSpPr>
          <p:spPr bwMode="auto">
            <a:xfrm>
              <a:off x="2154238" y="5178426"/>
              <a:ext cx="34925" cy="28575"/>
            </a:xfrm>
            <a:custGeom>
              <a:avLst/>
              <a:gdLst/>
              <a:ahLst/>
              <a:cxnLst>
                <a:cxn ang="0">
                  <a:pos x="22" y="2"/>
                </a:cxn>
                <a:cxn ang="0">
                  <a:pos x="20" y="1"/>
                </a:cxn>
                <a:cxn ang="0">
                  <a:pos x="19" y="1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5" y="1"/>
                </a:cxn>
                <a:cxn ang="0">
                  <a:pos x="11" y="2"/>
                </a:cxn>
                <a:cxn ang="0">
                  <a:pos x="10" y="2"/>
                </a:cxn>
                <a:cxn ang="0">
                  <a:pos x="8" y="3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3" y="9"/>
                </a:cxn>
                <a:cxn ang="0">
                  <a:pos x="3" y="10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1" y="12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5" y="15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7" y="16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1" y="14"/>
                </a:cxn>
                <a:cxn ang="0">
                  <a:pos x="12" y="13"/>
                </a:cxn>
                <a:cxn ang="0">
                  <a:pos x="13" y="13"/>
                </a:cxn>
                <a:cxn ang="0">
                  <a:pos x="15" y="13"/>
                </a:cxn>
                <a:cxn ang="0">
                  <a:pos x="17" y="12"/>
                </a:cxn>
                <a:cxn ang="0">
                  <a:pos x="20" y="8"/>
                </a:cxn>
                <a:cxn ang="0">
                  <a:pos x="20" y="7"/>
                </a:cxn>
                <a:cxn ang="0">
                  <a:pos x="22" y="6"/>
                </a:cxn>
                <a:cxn ang="0">
                  <a:pos x="22" y="3"/>
                </a:cxn>
              </a:cxnLst>
              <a:rect l="0" t="0" r="r" b="b"/>
              <a:pathLst>
                <a:path w="22" h="18">
                  <a:moveTo>
                    <a:pt x="22" y="2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2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1" y="15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8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3"/>
                  </a:lnTo>
                  <a:lnTo>
                    <a:pt x="22" y="2"/>
                  </a:lnTo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1" name="Freeform 17"/>
            <p:cNvSpPr>
              <a:spLocks/>
            </p:cNvSpPr>
            <p:nvPr/>
          </p:nvSpPr>
          <p:spPr bwMode="auto">
            <a:xfrm>
              <a:off x="2300288" y="5172076"/>
              <a:ext cx="7938" cy="6350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3" y="4"/>
                </a:cxn>
                <a:cxn ang="0">
                  <a:pos x="5" y="3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3" y="1"/>
                </a:cxn>
              </a:cxnLst>
              <a:rect l="0" t="0" r="r" b="b"/>
              <a:pathLst>
                <a:path w="5" h="4">
                  <a:moveTo>
                    <a:pt x="3" y="1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3" y="1"/>
                  </a:lnTo>
                  <a:close/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2" name="Freeform 18"/>
            <p:cNvSpPr>
              <a:spLocks/>
            </p:cNvSpPr>
            <p:nvPr/>
          </p:nvSpPr>
          <p:spPr bwMode="auto">
            <a:xfrm>
              <a:off x="2252663" y="5094288"/>
              <a:ext cx="98425" cy="69850"/>
            </a:xfrm>
            <a:custGeom>
              <a:avLst/>
              <a:gdLst/>
              <a:ahLst/>
              <a:cxnLst>
                <a:cxn ang="0">
                  <a:pos x="56" y="11"/>
                </a:cxn>
                <a:cxn ang="0">
                  <a:pos x="52" y="13"/>
                </a:cxn>
                <a:cxn ang="0">
                  <a:pos x="44" y="11"/>
                </a:cxn>
                <a:cxn ang="0">
                  <a:pos x="43" y="9"/>
                </a:cxn>
                <a:cxn ang="0">
                  <a:pos x="45" y="7"/>
                </a:cxn>
                <a:cxn ang="0">
                  <a:pos x="46" y="5"/>
                </a:cxn>
                <a:cxn ang="0">
                  <a:pos x="47" y="4"/>
                </a:cxn>
                <a:cxn ang="0">
                  <a:pos x="41" y="4"/>
                </a:cxn>
                <a:cxn ang="0">
                  <a:pos x="42" y="3"/>
                </a:cxn>
                <a:cxn ang="0">
                  <a:pos x="44" y="2"/>
                </a:cxn>
                <a:cxn ang="0">
                  <a:pos x="47" y="0"/>
                </a:cxn>
                <a:cxn ang="0">
                  <a:pos x="46" y="0"/>
                </a:cxn>
                <a:cxn ang="0">
                  <a:pos x="37" y="2"/>
                </a:cxn>
                <a:cxn ang="0">
                  <a:pos x="28" y="4"/>
                </a:cxn>
                <a:cxn ang="0">
                  <a:pos x="26" y="5"/>
                </a:cxn>
                <a:cxn ang="0">
                  <a:pos x="25" y="7"/>
                </a:cxn>
                <a:cxn ang="0">
                  <a:pos x="23" y="8"/>
                </a:cxn>
                <a:cxn ang="0">
                  <a:pos x="20" y="9"/>
                </a:cxn>
                <a:cxn ang="0">
                  <a:pos x="18" y="11"/>
                </a:cxn>
                <a:cxn ang="0">
                  <a:pos x="17" y="11"/>
                </a:cxn>
                <a:cxn ang="0">
                  <a:pos x="16" y="13"/>
                </a:cxn>
                <a:cxn ang="0">
                  <a:pos x="14" y="15"/>
                </a:cxn>
                <a:cxn ang="0">
                  <a:pos x="10" y="15"/>
                </a:cxn>
                <a:cxn ang="0">
                  <a:pos x="6" y="20"/>
                </a:cxn>
                <a:cxn ang="0">
                  <a:pos x="0" y="23"/>
                </a:cxn>
                <a:cxn ang="0">
                  <a:pos x="1" y="26"/>
                </a:cxn>
                <a:cxn ang="0">
                  <a:pos x="3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7" y="29"/>
                </a:cxn>
                <a:cxn ang="0">
                  <a:pos x="9" y="31"/>
                </a:cxn>
                <a:cxn ang="0">
                  <a:pos x="12" y="27"/>
                </a:cxn>
                <a:cxn ang="0">
                  <a:pos x="18" y="26"/>
                </a:cxn>
                <a:cxn ang="0">
                  <a:pos x="23" y="29"/>
                </a:cxn>
                <a:cxn ang="0">
                  <a:pos x="23" y="32"/>
                </a:cxn>
                <a:cxn ang="0">
                  <a:pos x="26" y="38"/>
                </a:cxn>
                <a:cxn ang="0">
                  <a:pos x="33" y="38"/>
                </a:cxn>
                <a:cxn ang="0">
                  <a:pos x="33" y="38"/>
                </a:cxn>
                <a:cxn ang="0">
                  <a:pos x="35" y="39"/>
                </a:cxn>
                <a:cxn ang="0">
                  <a:pos x="36" y="41"/>
                </a:cxn>
                <a:cxn ang="0">
                  <a:pos x="39" y="43"/>
                </a:cxn>
                <a:cxn ang="0">
                  <a:pos x="39" y="43"/>
                </a:cxn>
                <a:cxn ang="0">
                  <a:pos x="43" y="41"/>
                </a:cxn>
                <a:cxn ang="0">
                  <a:pos x="51" y="34"/>
                </a:cxn>
                <a:cxn ang="0">
                  <a:pos x="52" y="31"/>
                </a:cxn>
                <a:cxn ang="0">
                  <a:pos x="58" y="24"/>
                </a:cxn>
                <a:cxn ang="0">
                  <a:pos x="59" y="21"/>
                </a:cxn>
                <a:cxn ang="0">
                  <a:pos x="60" y="18"/>
                </a:cxn>
                <a:cxn ang="0">
                  <a:pos x="60" y="15"/>
                </a:cxn>
                <a:cxn ang="0">
                  <a:pos x="60" y="15"/>
                </a:cxn>
                <a:cxn ang="0">
                  <a:pos x="62" y="13"/>
                </a:cxn>
              </a:cxnLst>
              <a:rect l="0" t="0" r="r" b="b"/>
              <a:pathLst>
                <a:path w="62" h="44">
                  <a:moveTo>
                    <a:pt x="60" y="13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4" y="11"/>
                  </a:lnTo>
                  <a:lnTo>
                    <a:pt x="53" y="13"/>
                  </a:lnTo>
                  <a:lnTo>
                    <a:pt x="52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5" y="8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3" y="5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8" y="4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8"/>
                  </a:lnTo>
                  <a:lnTo>
                    <a:pt x="22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9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9" y="17"/>
                  </a:lnTo>
                  <a:lnTo>
                    <a:pt x="7" y="18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1" y="22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1" y="26"/>
                  </a:lnTo>
                  <a:lnTo>
                    <a:pt x="2" y="27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4" y="27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8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11" y="28"/>
                  </a:lnTo>
                  <a:lnTo>
                    <a:pt x="12" y="27"/>
                  </a:lnTo>
                  <a:lnTo>
                    <a:pt x="16" y="26"/>
                  </a:lnTo>
                  <a:lnTo>
                    <a:pt x="17" y="24"/>
                  </a:lnTo>
                  <a:lnTo>
                    <a:pt x="18" y="26"/>
                  </a:lnTo>
                  <a:lnTo>
                    <a:pt x="20" y="27"/>
                  </a:lnTo>
                  <a:lnTo>
                    <a:pt x="22" y="28"/>
                  </a:lnTo>
                  <a:lnTo>
                    <a:pt x="23" y="29"/>
                  </a:lnTo>
                  <a:lnTo>
                    <a:pt x="22" y="31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3" y="35"/>
                  </a:lnTo>
                  <a:lnTo>
                    <a:pt x="24" y="37"/>
                  </a:lnTo>
                  <a:lnTo>
                    <a:pt x="26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9" y="43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41" y="43"/>
                  </a:lnTo>
                  <a:lnTo>
                    <a:pt x="41" y="42"/>
                  </a:lnTo>
                  <a:lnTo>
                    <a:pt x="43" y="41"/>
                  </a:lnTo>
                  <a:lnTo>
                    <a:pt x="47" y="38"/>
                  </a:lnTo>
                  <a:lnTo>
                    <a:pt x="50" y="36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2" y="31"/>
                  </a:lnTo>
                  <a:lnTo>
                    <a:pt x="53" y="28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0" y="2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3"/>
                  </a:lnTo>
                  <a:lnTo>
                    <a:pt x="60" y="13"/>
                  </a:lnTo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3" name="Freeform 19"/>
            <p:cNvSpPr>
              <a:spLocks/>
            </p:cNvSpPr>
            <p:nvPr/>
          </p:nvSpPr>
          <p:spPr bwMode="auto">
            <a:xfrm>
              <a:off x="2378076" y="5081588"/>
              <a:ext cx="46038" cy="26988"/>
            </a:xfrm>
            <a:custGeom>
              <a:avLst/>
              <a:gdLst/>
              <a:ahLst/>
              <a:cxnLst>
                <a:cxn ang="0">
                  <a:pos x="29" y="11"/>
                </a:cxn>
                <a:cxn ang="0">
                  <a:pos x="27" y="10"/>
                </a:cxn>
                <a:cxn ang="0">
                  <a:pos x="26" y="8"/>
                </a:cxn>
                <a:cxn ang="0">
                  <a:pos x="26" y="8"/>
                </a:cxn>
                <a:cxn ang="0">
                  <a:pos x="26" y="6"/>
                </a:cxn>
                <a:cxn ang="0">
                  <a:pos x="25" y="5"/>
                </a:cxn>
                <a:cxn ang="0">
                  <a:pos x="23" y="5"/>
                </a:cxn>
                <a:cxn ang="0">
                  <a:pos x="23" y="4"/>
                </a:cxn>
                <a:cxn ang="0">
                  <a:pos x="21" y="4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9" y="2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4" y="2"/>
                </a:cxn>
                <a:cxn ang="0">
                  <a:pos x="13" y="2"/>
                </a:cxn>
                <a:cxn ang="0">
                  <a:pos x="6" y="2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1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10" y="10"/>
                </a:cxn>
                <a:cxn ang="0">
                  <a:pos x="21" y="16"/>
                </a:cxn>
                <a:cxn ang="0">
                  <a:pos x="27" y="17"/>
                </a:cxn>
                <a:cxn ang="0">
                  <a:pos x="29" y="12"/>
                </a:cxn>
                <a:cxn ang="0">
                  <a:pos x="29" y="13"/>
                </a:cxn>
                <a:cxn ang="0">
                  <a:pos x="29" y="13"/>
                </a:cxn>
              </a:cxnLst>
              <a:rect l="0" t="0" r="r" b="b"/>
              <a:pathLst>
                <a:path w="29" h="17">
                  <a:moveTo>
                    <a:pt x="29" y="12"/>
                  </a:moveTo>
                  <a:lnTo>
                    <a:pt x="29" y="11"/>
                  </a:lnTo>
                  <a:lnTo>
                    <a:pt x="29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21" y="16"/>
                  </a:lnTo>
                  <a:lnTo>
                    <a:pt x="25" y="17"/>
                  </a:lnTo>
                  <a:lnTo>
                    <a:pt x="27" y="17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2"/>
                  </a:lnTo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4" name="Freeform 20"/>
            <p:cNvSpPr>
              <a:spLocks/>
            </p:cNvSpPr>
            <p:nvPr/>
          </p:nvSpPr>
          <p:spPr bwMode="auto">
            <a:xfrm>
              <a:off x="2217738" y="4835526"/>
              <a:ext cx="4763" cy="31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5" name="Freeform 21"/>
            <p:cNvSpPr>
              <a:spLocks/>
            </p:cNvSpPr>
            <p:nvPr/>
          </p:nvSpPr>
          <p:spPr bwMode="auto">
            <a:xfrm>
              <a:off x="1233488" y="4684713"/>
              <a:ext cx="1093788" cy="787400"/>
            </a:xfrm>
            <a:custGeom>
              <a:avLst/>
              <a:gdLst/>
              <a:ahLst/>
              <a:cxnLst>
                <a:cxn ang="0">
                  <a:pos x="683" y="117"/>
                </a:cxn>
                <a:cxn ang="0">
                  <a:pos x="681" y="91"/>
                </a:cxn>
                <a:cxn ang="0">
                  <a:pos x="646" y="98"/>
                </a:cxn>
                <a:cxn ang="0">
                  <a:pos x="611" y="91"/>
                </a:cxn>
                <a:cxn ang="0">
                  <a:pos x="586" y="85"/>
                </a:cxn>
                <a:cxn ang="0">
                  <a:pos x="558" y="68"/>
                </a:cxn>
                <a:cxn ang="0">
                  <a:pos x="529" y="74"/>
                </a:cxn>
                <a:cxn ang="0">
                  <a:pos x="491" y="65"/>
                </a:cxn>
                <a:cxn ang="0">
                  <a:pos x="468" y="60"/>
                </a:cxn>
                <a:cxn ang="0">
                  <a:pos x="427" y="50"/>
                </a:cxn>
                <a:cxn ang="0">
                  <a:pos x="412" y="35"/>
                </a:cxn>
                <a:cxn ang="0">
                  <a:pos x="389" y="34"/>
                </a:cxn>
                <a:cxn ang="0">
                  <a:pos x="348" y="24"/>
                </a:cxn>
                <a:cxn ang="0">
                  <a:pos x="316" y="25"/>
                </a:cxn>
                <a:cxn ang="0">
                  <a:pos x="303" y="23"/>
                </a:cxn>
                <a:cxn ang="0">
                  <a:pos x="291" y="23"/>
                </a:cxn>
                <a:cxn ang="0">
                  <a:pos x="239" y="23"/>
                </a:cxn>
                <a:cxn ang="0">
                  <a:pos x="189" y="9"/>
                </a:cxn>
                <a:cxn ang="0">
                  <a:pos x="155" y="17"/>
                </a:cxn>
                <a:cxn ang="0">
                  <a:pos x="113" y="17"/>
                </a:cxn>
                <a:cxn ang="0">
                  <a:pos x="88" y="4"/>
                </a:cxn>
                <a:cxn ang="0">
                  <a:pos x="80" y="6"/>
                </a:cxn>
                <a:cxn ang="0">
                  <a:pos x="54" y="15"/>
                </a:cxn>
                <a:cxn ang="0">
                  <a:pos x="60" y="27"/>
                </a:cxn>
                <a:cxn ang="0">
                  <a:pos x="35" y="34"/>
                </a:cxn>
                <a:cxn ang="0">
                  <a:pos x="9" y="40"/>
                </a:cxn>
                <a:cxn ang="0">
                  <a:pos x="2" y="54"/>
                </a:cxn>
                <a:cxn ang="0">
                  <a:pos x="11" y="64"/>
                </a:cxn>
                <a:cxn ang="0">
                  <a:pos x="15" y="75"/>
                </a:cxn>
                <a:cxn ang="0">
                  <a:pos x="31" y="76"/>
                </a:cxn>
                <a:cxn ang="0">
                  <a:pos x="25" y="94"/>
                </a:cxn>
                <a:cxn ang="0">
                  <a:pos x="29" y="102"/>
                </a:cxn>
                <a:cxn ang="0">
                  <a:pos x="23" y="113"/>
                </a:cxn>
                <a:cxn ang="0">
                  <a:pos x="60" y="111"/>
                </a:cxn>
                <a:cxn ang="0">
                  <a:pos x="75" y="126"/>
                </a:cxn>
                <a:cxn ang="0">
                  <a:pos x="102" y="133"/>
                </a:cxn>
                <a:cxn ang="0">
                  <a:pos x="146" y="124"/>
                </a:cxn>
                <a:cxn ang="0">
                  <a:pos x="165" y="153"/>
                </a:cxn>
                <a:cxn ang="0">
                  <a:pos x="136" y="182"/>
                </a:cxn>
                <a:cxn ang="0">
                  <a:pos x="134" y="213"/>
                </a:cxn>
                <a:cxn ang="0">
                  <a:pos x="128" y="242"/>
                </a:cxn>
                <a:cxn ang="0">
                  <a:pos x="125" y="269"/>
                </a:cxn>
                <a:cxn ang="0">
                  <a:pos x="113" y="299"/>
                </a:cxn>
                <a:cxn ang="0">
                  <a:pos x="120" y="323"/>
                </a:cxn>
                <a:cxn ang="0">
                  <a:pos x="115" y="357"/>
                </a:cxn>
                <a:cxn ang="0">
                  <a:pos x="113" y="375"/>
                </a:cxn>
                <a:cxn ang="0">
                  <a:pos x="100" y="405"/>
                </a:cxn>
                <a:cxn ang="0">
                  <a:pos x="131" y="423"/>
                </a:cxn>
                <a:cxn ang="0">
                  <a:pos x="157" y="452"/>
                </a:cxn>
                <a:cxn ang="0">
                  <a:pos x="171" y="475"/>
                </a:cxn>
                <a:cxn ang="0">
                  <a:pos x="211" y="488"/>
                </a:cxn>
                <a:cxn ang="0">
                  <a:pos x="247" y="467"/>
                </a:cxn>
                <a:cxn ang="0">
                  <a:pos x="318" y="455"/>
                </a:cxn>
                <a:cxn ang="0">
                  <a:pos x="375" y="448"/>
                </a:cxn>
                <a:cxn ang="0">
                  <a:pos x="405" y="439"/>
                </a:cxn>
                <a:cxn ang="0">
                  <a:pos x="429" y="406"/>
                </a:cxn>
                <a:cxn ang="0">
                  <a:pos x="467" y="399"/>
                </a:cxn>
                <a:cxn ang="0">
                  <a:pos x="473" y="366"/>
                </a:cxn>
                <a:cxn ang="0">
                  <a:pos x="506" y="336"/>
                </a:cxn>
                <a:cxn ang="0">
                  <a:pos x="507" y="320"/>
                </a:cxn>
                <a:cxn ang="0">
                  <a:pos x="510" y="249"/>
                </a:cxn>
                <a:cxn ang="0">
                  <a:pos x="554" y="206"/>
                </a:cxn>
                <a:cxn ang="0">
                  <a:pos x="596" y="173"/>
                </a:cxn>
              </a:cxnLst>
              <a:rect l="0" t="0" r="r" b="b"/>
              <a:pathLst>
                <a:path w="689" h="496">
                  <a:moveTo>
                    <a:pt x="640" y="151"/>
                  </a:moveTo>
                  <a:lnTo>
                    <a:pt x="642" y="150"/>
                  </a:lnTo>
                  <a:lnTo>
                    <a:pt x="653" y="146"/>
                  </a:lnTo>
                  <a:lnTo>
                    <a:pt x="660" y="143"/>
                  </a:lnTo>
                  <a:lnTo>
                    <a:pt x="661" y="142"/>
                  </a:lnTo>
                  <a:lnTo>
                    <a:pt x="661" y="142"/>
                  </a:lnTo>
                  <a:lnTo>
                    <a:pt x="662" y="142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0"/>
                  </a:lnTo>
                  <a:lnTo>
                    <a:pt x="663" y="140"/>
                  </a:lnTo>
                  <a:lnTo>
                    <a:pt x="663" y="140"/>
                  </a:lnTo>
                  <a:lnTo>
                    <a:pt x="665" y="140"/>
                  </a:lnTo>
                  <a:lnTo>
                    <a:pt x="666" y="139"/>
                  </a:lnTo>
                  <a:lnTo>
                    <a:pt x="667" y="139"/>
                  </a:lnTo>
                  <a:lnTo>
                    <a:pt x="669" y="138"/>
                  </a:lnTo>
                  <a:lnTo>
                    <a:pt x="675" y="134"/>
                  </a:lnTo>
                  <a:lnTo>
                    <a:pt x="675" y="133"/>
                  </a:lnTo>
                  <a:lnTo>
                    <a:pt x="675" y="132"/>
                  </a:lnTo>
                  <a:lnTo>
                    <a:pt x="678" y="130"/>
                  </a:lnTo>
                  <a:lnTo>
                    <a:pt x="680" y="130"/>
                  </a:lnTo>
                  <a:lnTo>
                    <a:pt x="681" y="128"/>
                  </a:lnTo>
                  <a:lnTo>
                    <a:pt x="682" y="128"/>
                  </a:lnTo>
                  <a:lnTo>
                    <a:pt x="683" y="126"/>
                  </a:lnTo>
                  <a:lnTo>
                    <a:pt x="684" y="124"/>
                  </a:lnTo>
                  <a:lnTo>
                    <a:pt x="684" y="123"/>
                  </a:lnTo>
                  <a:lnTo>
                    <a:pt x="684" y="122"/>
                  </a:lnTo>
                  <a:lnTo>
                    <a:pt x="683" y="120"/>
                  </a:lnTo>
                  <a:lnTo>
                    <a:pt x="683" y="120"/>
                  </a:lnTo>
                  <a:lnTo>
                    <a:pt x="683" y="120"/>
                  </a:lnTo>
                  <a:lnTo>
                    <a:pt x="682" y="119"/>
                  </a:lnTo>
                  <a:lnTo>
                    <a:pt x="682" y="118"/>
                  </a:lnTo>
                  <a:lnTo>
                    <a:pt x="682" y="117"/>
                  </a:lnTo>
                  <a:lnTo>
                    <a:pt x="683" y="117"/>
                  </a:lnTo>
                  <a:lnTo>
                    <a:pt x="683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79" y="111"/>
                  </a:lnTo>
                  <a:lnTo>
                    <a:pt x="679" y="111"/>
                  </a:lnTo>
                  <a:lnTo>
                    <a:pt x="678" y="110"/>
                  </a:lnTo>
                  <a:lnTo>
                    <a:pt x="678" y="107"/>
                  </a:lnTo>
                  <a:lnTo>
                    <a:pt x="678" y="105"/>
                  </a:lnTo>
                  <a:lnTo>
                    <a:pt x="679" y="104"/>
                  </a:lnTo>
                  <a:lnTo>
                    <a:pt x="680" y="104"/>
                  </a:lnTo>
                  <a:lnTo>
                    <a:pt x="681" y="102"/>
                  </a:lnTo>
                  <a:lnTo>
                    <a:pt x="681" y="104"/>
                  </a:lnTo>
                  <a:lnTo>
                    <a:pt x="683" y="104"/>
                  </a:lnTo>
                  <a:lnTo>
                    <a:pt x="686" y="104"/>
                  </a:lnTo>
                  <a:lnTo>
                    <a:pt x="686" y="104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87" y="102"/>
                  </a:lnTo>
                  <a:lnTo>
                    <a:pt x="688" y="102"/>
                  </a:lnTo>
                  <a:lnTo>
                    <a:pt x="688" y="102"/>
                  </a:lnTo>
                  <a:lnTo>
                    <a:pt x="689" y="98"/>
                  </a:lnTo>
                  <a:lnTo>
                    <a:pt x="688" y="98"/>
                  </a:lnTo>
                  <a:lnTo>
                    <a:pt x="687" y="98"/>
                  </a:lnTo>
                  <a:lnTo>
                    <a:pt x="687" y="98"/>
                  </a:lnTo>
                  <a:lnTo>
                    <a:pt x="686" y="98"/>
                  </a:lnTo>
                  <a:lnTo>
                    <a:pt x="686" y="98"/>
                  </a:lnTo>
                  <a:lnTo>
                    <a:pt x="684" y="98"/>
                  </a:lnTo>
                  <a:lnTo>
                    <a:pt x="682" y="98"/>
                  </a:lnTo>
                  <a:lnTo>
                    <a:pt x="682" y="98"/>
                  </a:lnTo>
                  <a:lnTo>
                    <a:pt x="681" y="96"/>
                  </a:lnTo>
                  <a:lnTo>
                    <a:pt x="681" y="96"/>
                  </a:lnTo>
                  <a:lnTo>
                    <a:pt x="681" y="94"/>
                  </a:lnTo>
                  <a:lnTo>
                    <a:pt x="681" y="92"/>
                  </a:lnTo>
                  <a:lnTo>
                    <a:pt x="681" y="91"/>
                  </a:lnTo>
                  <a:lnTo>
                    <a:pt x="679" y="92"/>
                  </a:lnTo>
                  <a:lnTo>
                    <a:pt x="678" y="92"/>
                  </a:lnTo>
                  <a:lnTo>
                    <a:pt x="677" y="92"/>
                  </a:lnTo>
                  <a:lnTo>
                    <a:pt x="675" y="91"/>
                  </a:lnTo>
                  <a:lnTo>
                    <a:pt x="675" y="91"/>
                  </a:lnTo>
                  <a:lnTo>
                    <a:pt x="675" y="90"/>
                  </a:lnTo>
                  <a:lnTo>
                    <a:pt x="673" y="90"/>
                  </a:lnTo>
                  <a:lnTo>
                    <a:pt x="673" y="89"/>
                  </a:lnTo>
                  <a:lnTo>
                    <a:pt x="673" y="89"/>
                  </a:lnTo>
                  <a:lnTo>
                    <a:pt x="671" y="89"/>
                  </a:lnTo>
                  <a:lnTo>
                    <a:pt x="671" y="89"/>
                  </a:lnTo>
                  <a:lnTo>
                    <a:pt x="669" y="89"/>
                  </a:lnTo>
                  <a:lnTo>
                    <a:pt x="667" y="89"/>
                  </a:lnTo>
                  <a:lnTo>
                    <a:pt x="666" y="90"/>
                  </a:lnTo>
                  <a:lnTo>
                    <a:pt x="665" y="90"/>
                  </a:lnTo>
                  <a:lnTo>
                    <a:pt x="664" y="90"/>
                  </a:lnTo>
                  <a:lnTo>
                    <a:pt x="663" y="90"/>
                  </a:lnTo>
                  <a:lnTo>
                    <a:pt x="663" y="91"/>
                  </a:lnTo>
                  <a:lnTo>
                    <a:pt x="661" y="92"/>
                  </a:lnTo>
                  <a:lnTo>
                    <a:pt x="660" y="94"/>
                  </a:lnTo>
                  <a:lnTo>
                    <a:pt x="659" y="94"/>
                  </a:lnTo>
                  <a:lnTo>
                    <a:pt x="658" y="92"/>
                  </a:lnTo>
                  <a:lnTo>
                    <a:pt x="656" y="92"/>
                  </a:lnTo>
                  <a:lnTo>
                    <a:pt x="655" y="94"/>
                  </a:lnTo>
                  <a:lnTo>
                    <a:pt x="653" y="96"/>
                  </a:lnTo>
                  <a:lnTo>
                    <a:pt x="652" y="96"/>
                  </a:lnTo>
                  <a:lnTo>
                    <a:pt x="653" y="96"/>
                  </a:lnTo>
                  <a:lnTo>
                    <a:pt x="653" y="98"/>
                  </a:lnTo>
                  <a:lnTo>
                    <a:pt x="653" y="98"/>
                  </a:lnTo>
                  <a:lnTo>
                    <a:pt x="652" y="98"/>
                  </a:lnTo>
                  <a:lnTo>
                    <a:pt x="650" y="98"/>
                  </a:lnTo>
                  <a:lnTo>
                    <a:pt x="648" y="96"/>
                  </a:lnTo>
                  <a:lnTo>
                    <a:pt x="647" y="96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5" y="98"/>
                  </a:lnTo>
                  <a:lnTo>
                    <a:pt x="645" y="98"/>
                  </a:lnTo>
                  <a:lnTo>
                    <a:pt x="644" y="98"/>
                  </a:lnTo>
                  <a:lnTo>
                    <a:pt x="643" y="98"/>
                  </a:lnTo>
                  <a:lnTo>
                    <a:pt x="642" y="96"/>
                  </a:lnTo>
                  <a:lnTo>
                    <a:pt x="640" y="96"/>
                  </a:lnTo>
                  <a:lnTo>
                    <a:pt x="640" y="94"/>
                  </a:lnTo>
                  <a:lnTo>
                    <a:pt x="639" y="94"/>
                  </a:lnTo>
                  <a:lnTo>
                    <a:pt x="637" y="94"/>
                  </a:lnTo>
                  <a:lnTo>
                    <a:pt x="635" y="94"/>
                  </a:lnTo>
                  <a:lnTo>
                    <a:pt x="633" y="92"/>
                  </a:lnTo>
                  <a:lnTo>
                    <a:pt x="633" y="91"/>
                  </a:lnTo>
                  <a:lnTo>
                    <a:pt x="630" y="92"/>
                  </a:lnTo>
                  <a:lnTo>
                    <a:pt x="627" y="94"/>
                  </a:lnTo>
                  <a:lnTo>
                    <a:pt x="625" y="92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1" y="96"/>
                  </a:lnTo>
                  <a:lnTo>
                    <a:pt x="620" y="96"/>
                  </a:lnTo>
                  <a:lnTo>
                    <a:pt x="620" y="96"/>
                  </a:lnTo>
                  <a:lnTo>
                    <a:pt x="619" y="98"/>
                  </a:lnTo>
                  <a:lnTo>
                    <a:pt x="618" y="98"/>
                  </a:lnTo>
                  <a:lnTo>
                    <a:pt x="617" y="98"/>
                  </a:lnTo>
                  <a:lnTo>
                    <a:pt x="616" y="96"/>
                  </a:lnTo>
                  <a:lnTo>
                    <a:pt x="616" y="96"/>
                  </a:lnTo>
                  <a:lnTo>
                    <a:pt x="614" y="94"/>
                  </a:lnTo>
                  <a:lnTo>
                    <a:pt x="613" y="92"/>
                  </a:lnTo>
                  <a:lnTo>
                    <a:pt x="613" y="91"/>
                  </a:lnTo>
                  <a:lnTo>
                    <a:pt x="612" y="91"/>
                  </a:lnTo>
                  <a:lnTo>
                    <a:pt x="611" y="91"/>
                  </a:lnTo>
                  <a:lnTo>
                    <a:pt x="610" y="90"/>
                  </a:lnTo>
                  <a:lnTo>
                    <a:pt x="606" y="89"/>
                  </a:lnTo>
                  <a:lnTo>
                    <a:pt x="606" y="89"/>
                  </a:lnTo>
                  <a:lnTo>
                    <a:pt x="602" y="89"/>
                  </a:lnTo>
                  <a:lnTo>
                    <a:pt x="601" y="87"/>
                  </a:lnTo>
                  <a:lnTo>
                    <a:pt x="601" y="87"/>
                  </a:lnTo>
                  <a:lnTo>
                    <a:pt x="601" y="87"/>
                  </a:lnTo>
                  <a:lnTo>
                    <a:pt x="601" y="87"/>
                  </a:lnTo>
                  <a:lnTo>
                    <a:pt x="601" y="87"/>
                  </a:lnTo>
                  <a:lnTo>
                    <a:pt x="601" y="87"/>
                  </a:lnTo>
                  <a:lnTo>
                    <a:pt x="600" y="87"/>
                  </a:lnTo>
                  <a:lnTo>
                    <a:pt x="600" y="87"/>
                  </a:lnTo>
                  <a:lnTo>
                    <a:pt x="598" y="87"/>
                  </a:lnTo>
                  <a:lnTo>
                    <a:pt x="598" y="87"/>
                  </a:lnTo>
                  <a:lnTo>
                    <a:pt x="598" y="87"/>
                  </a:lnTo>
                  <a:lnTo>
                    <a:pt x="598" y="87"/>
                  </a:lnTo>
                  <a:lnTo>
                    <a:pt x="598" y="87"/>
                  </a:lnTo>
                  <a:lnTo>
                    <a:pt x="598" y="89"/>
                  </a:lnTo>
                  <a:lnTo>
                    <a:pt x="596" y="90"/>
                  </a:lnTo>
                  <a:lnTo>
                    <a:pt x="592" y="90"/>
                  </a:lnTo>
                  <a:lnTo>
                    <a:pt x="592" y="90"/>
                  </a:lnTo>
                  <a:lnTo>
                    <a:pt x="592" y="91"/>
                  </a:lnTo>
                  <a:lnTo>
                    <a:pt x="591" y="91"/>
                  </a:lnTo>
                  <a:lnTo>
                    <a:pt x="591" y="91"/>
                  </a:lnTo>
                  <a:lnTo>
                    <a:pt x="591" y="91"/>
                  </a:lnTo>
                  <a:lnTo>
                    <a:pt x="587" y="91"/>
                  </a:lnTo>
                  <a:lnTo>
                    <a:pt x="586" y="91"/>
                  </a:lnTo>
                  <a:lnTo>
                    <a:pt x="586" y="90"/>
                  </a:lnTo>
                  <a:lnTo>
                    <a:pt x="585" y="89"/>
                  </a:lnTo>
                  <a:lnTo>
                    <a:pt x="585" y="87"/>
                  </a:lnTo>
                  <a:lnTo>
                    <a:pt x="586" y="87"/>
                  </a:lnTo>
                  <a:lnTo>
                    <a:pt x="587" y="87"/>
                  </a:lnTo>
                  <a:lnTo>
                    <a:pt x="587" y="86"/>
                  </a:lnTo>
                  <a:lnTo>
                    <a:pt x="586" y="85"/>
                  </a:lnTo>
                  <a:lnTo>
                    <a:pt x="585" y="85"/>
                  </a:lnTo>
                  <a:lnTo>
                    <a:pt x="585" y="84"/>
                  </a:lnTo>
                  <a:lnTo>
                    <a:pt x="586" y="83"/>
                  </a:lnTo>
                  <a:lnTo>
                    <a:pt x="586" y="83"/>
                  </a:lnTo>
                  <a:lnTo>
                    <a:pt x="585" y="83"/>
                  </a:lnTo>
                  <a:lnTo>
                    <a:pt x="585" y="83"/>
                  </a:lnTo>
                  <a:lnTo>
                    <a:pt x="585" y="81"/>
                  </a:lnTo>
                  <a:lnTo>
                    <a:pt x="586" y="81"/>
                  </a:lnTo>
                  <a:lnTo>
                    <a:pt x="585" y="80"/>
                  </a:lnTo>
                  <a:lnTo>
                    <a:pt x="584" y="77"/>
                  </a:lnTo>
                  <a:lnTo>
                    <a:pt x="583" y="76"/>
                  </a:lnTo>
                  <a:lnTo>
                    <a:pt x="582" y="75"/>
                  </a:lnTo>
                  <a:lnTo>
                    <a:pt x="582" y="74"/>
                  </a:lnTo>
                  <a:lnTo>
                    <a:pt x="582" y="74"/>
                  </a:lnTo>
                  <a:lnTo>
                    <a:pt x="581" y="74"/>
                  </a:lnTo>
                  <a:lnTo>
                    <a:pt x="582" y="73"/>
                  </a:lnTo>
                  <a:lnTo>
                    <a:pt x="579" y="73"/>
                  </a:lnTo>
                  <a:lnTo>
                    <a:pt x="573" y="73"/>
                  </a:lnTo>
                  <a:lnTo>
                    <a:pt x="571" y="73"/>
                  </a:lnTo>
                  <a:lnTo>
                    <a:pt x="570" y="73"/>
                  </a:lnTo>
                  <a:lnTo>
                    <a:pt x="569" y="73"/>
                  </a:lnTo>
                  <a:lnTo>
                    <a:pt x="569" y="72"/>
                  </a:lnTo>
                  <a:lnTo>
                    <a:pt x="569" y="71"/>
                  </a:lnTo>
                  <a:lnTo>
                    <a:pt x="568" y="70"/>
                  </a:lnTo>
                  <a:lnTo>
                    <a:pt x="567" y="69"/>
                  </a:lnTo>
                  <a:lnTo>
                    <a:pt x="566" y="69"/>
                  </a:lnTo>
                  <a:lnTo>
                    <a:pt x="562" y="68"/>
                  </a:lnTo>
                  <a:lnTo>
                    <a:pt x="562" y="68"/>
                  </a:lnTo>
                  <a:lnTo>
                    <a:pt x="560" y="68"/>
                  </a:lnTo>
                  <a:lnTo>
                    <a:pt x="560" y="67"/>
                  </a:lnTo>
                  <a:lnTo>
                    <a:pt x="560" y="68"/>
                  </a:lnTo>
                  <a:lnTo>
                    <a:pt x="560" y="68"/>
                  </a:lnTo>
                  <a:lnTo>
                    <a:pt x="558" y="68"/>
                  </a:lnTo>
                  <a:lnTo>
                    <a:pt x="558" y="68"/>
                  </a:lnTo>
                  <a:lnTo>
                    <a:pt x="557" y="67"/>
                  </a:lnTo>
                  <a:lnTo>
                    <a:pt x="556" y="67"/>
                  </a:lnTo>
                  <a:lnTo>
                    <a:pt x="554" y="66"/>
                  </a:lnTo>
                  <a:lnTo>
                    <a:pt x="552" y="65"/>
                  </a:lnTo>
                  <a:lnTo>
                    <a:pt x="551" y="65"/>
                  </a:lnTo>
                  <a:lnTo>
                    <a:pt x="550" y="65"/>
                  </a:lnTo>
                  <a:lnTo>
                    <a:pt x="549" y="65"/>
                  </a:lnTo>
                  <a:lnTo>
                    <a:pt x="548" y="64"/>
                  </a:lnTo>
                  <a:lnTo>
                    <a:pt x="547" y="64"/>
                  </a:lnTo>
                  <a:lnTo>
                    <a:pt x="545" y="64"/>
                  </a:lnTo>
                  <a:lnTo>
                    <a:pt x="543" y="65"/>
                  </a:lnTo>
                  <a:lnTo>
                    <a:pt x="543" y="66"/>
                  </a:lnTo>
                  <a:lnTo>
                    <a:pt x="543" y="67"/>
                  </a:lnTo>
                  <a:lnTo>
                    <a:pt x="543" y="69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2" y="71"/>
                  </a:lnTo>
                  <a:lnTo>
                    <a:pt x="543" y="71"/>
                  </a:lnTo>
                  <a:lnTo>
                    <a:pt x="543" y="72"/>
                  </a:lnTo>
                  <a:lnTo>
                    <a:pt x="545" y="73"/>
                  </a:lnTo>
                  <a:lnTo>
                    <a:pt x="545" y="74"/>
                  </a:lnTo>
                  <a:lnTo>
                    <a:pt x="545" y="74"/>
                  </a:lnTo>
                  <a:lnTo>
                    <a:pt x="543" y="75"/>
                  </a:lnTo>
                  <a:lnTo>
                    <a:pt x="543" y="75"/>
                  </a:lnTo>
                  <a:lnTo>
                    <a:pt x="541" y="75"/>
                  </a:lnTo>
                  <a:lnTo>
                    <a:pt x="534" y="75"/>
                  </a:lnTo>
                  <a:lnTo>
                    <a:pt x="533" y="74"/>
                  </a:lnTo>
                  <a:lnTo>
                    <a:pt x="531" y="75"/>
                  </a:lnTo>
                  <a:lnTo>
                    <a:pt x="530" y="75"/>
                  </a:lnTo>
                  <a:lnTo>
                    <a:pt x="529" y="75"/>
                  </a:lnTo>
                  <a:lnTo>
                    <a:pt x="529" y="74"/>
                  </a:lnTo>
                  <a:lnTo>
                    <a:pt x="529" y="74"/>
                  </a:lnTo>
                  <a:lnTo>
                    <a:pt x="529" y="74"/>
                  </a:lnTo>
                  <a:lnTo>
                    <a:pt x="529" y="74"/>
                  </a:lnTo>
                  <a:lnTo>
                    <a:pt x="527" y="73"/>
                  </a:lnTo>
                  <a:lnTo>
                    <a:pt x="527" y="73"/>
                  </a:lnTo>
                  <a:lnTo>
                    <a:pt x="525" y="74"/>
                  </a:lnTo>
                  <a:lnTo>
                    <a:pt x="524" y="76"/>
                  </a:lnTo>
                  <a:lnTo>
                    <a:pt x="523" y="76"/>
                  </a:lnTo>
                  <a:lnTo>
                    <a:pt x="522" y="75"/>
                  </a:lnTo>
                  <a:lnTo>
                    <a:pt x="521" y="73"/>
                  </a:lnTo>
                  <a:lnTo>
                    <a:pt x="520" y="73"/>
                  </a:lnTo>
                  <a:lnTo>
                    <a:pt x="518" y="72"/>
                  </a:lnTo>
                  <a:lnTo>
                    <a:pt x="516" y="72"/>
                  </a:lnTo>
                  <a:lnTo>
                    <a:pt x="515" y="73"/>
                  </a:lnTo>
                  <a:lnTo>
                    <a:pt x="512" y="73"/>
                  </a:lnTo>
                  <a:lnTo>
                    <a:pt x="507" y="75"/>
                  </a:lnTo>
                  <a:lnTo>
                    <a:pt x="506" y="75"/>
                  </a:lnTo>
                  <a:lnTo>
                    <a:pt x="504" y="74"/>
                  </a:lnTo>
                  <a:lnTo>
                    <a:pt x="504" y="74"/>
                  </a:lnTo>
                  <a:lnTo>
                    <a:pt x="503" y="73"/>
                  </a:lnTo>
                  <a:lnTo>
                    <a:pt x="503" y="73"/>
                  </a:lnTo>
                  <a:lnTo>
                    <a:pt x="501" y="73"/>
                  </a:lnTo>
                  <a:lnTo>
                    <a:pt x="501" y="73"/>
                  </a:lnTo>
                  <a:lnTo>
                    <a:pt x="501" y="72"/>
                  </a:lnTo>
                  <a:lnTo>
                    <a:pt x="501" y="72"/>
                  </a:lnTo>
                  <a:lnTo>
                    <a:pt x="500" y="71"/>
                  </a:lnTo>
                  <a:lnTo>
                    <a:pt x="500" y="71"/>
                  </a:lnTo>
                  <a:lnTo>
                    <a:pt x="500" y="70"/>
                  </a:lnTo>
                  <a:lnTo>
                    <a:pt x="500" y="69"/>
                  </a:lnTo>
                  <a:lnTo>
                    <a:pt x="500" y="67"/>
                  </a:lnTo>
                  <a:lnTo>
                    <a:pt x="498" y="68"/>
                  </a:lnTo>
                  <a:lnTo>
                    <a:pt x="497" y="68"/>
                  </a:lnTo>
                  <a:lnTo>
                    <a:pt x="495" y="68"/>
                  </a:lnTo>
                  <a:lnTo>
                    <a:pt x="495" y="67"/>
                  </a:lnTo>
                  <a:lnTo>
                    <a:pt x="491" y="65"/>
                  </a:lnTo>
                  <a:lnTo>
                    <a:pt x="491" y="65"/>
                  </a:lnTo>
                  <a:lnTo>
                    <a:pt x="491" y="64"/>
                  </a:lnTo>
                  <a:lnTo>
                    <a:pt x="491" y="65"/>
                  </a:lnTo>
                  <a:lnTo>
                    <a:pt x="489" y="66"/>
                  </a:lnTo>
                  <a:lnTo>
                    <a:pt x="489" y="66"/>
                  </a:lnTo>
                  <a:lnTo>
                    <a:pt x="489" y="65"/>
                  </a:lnTo>
                  <a:lnTo>
                    <a:pt x="485" y="67"/>
                  </a:lnTo>
                  <a:lnTo>
                    <a:pt x="485" y="68"/>
                  </a:lnTo>
                  <a:lnTo>
                    <a:pt x="483" y="68"/>
                  </a:lnTo>
                  <a:lnTo>
                    <a:pt x="480" y="67"/>
                  </a:lnTo>
                  <a:lnTo>
                    <a:pt x="479" y="67"/>
                  </a:lnTo>
                  <a:lnTo>
                    <a:pt x="479" y="68"/>
                  </a:lnTo>
                  <a:lnTo>
                    <a:pt x="478" y="68"/>
                  </a:lnTo>
                  <a:lnTo>
                    <a:pt x="477" y="69"/>
                  </a:lnTo>
                  <a:lnTo>
                    <a:pt x="477" y="69"/>
                  </a:lnTo>
                  <a:lnTo>
                    <a:pt x="477" y="69"/>
                  </a:lnTo>
                  <a:lnTo>
                    <a:pt x="477" y="68"/>
                  </a:lnTo>
                  <a:lnTo>
                    <a:pt x="477" y="68"/>
                  </a:lnTo>
                  <a:lnTo>
                    <a:pt x="476" y="67"/>
                  </a:lnTo>
                  <a:lnTo>
                    <a:pt x="476" y="67"/>
                  </a:lnTo>
                  <a:lnTo>
                    <a:pt x="474" y="67"/>
                  </a:lnTo>
                  <a:lnTo>
                    <a:pt x="474" y="67"/>
                  </a:lnTo>
                  <a:lnTo>
                    <a:pt x="474" y="67"/>
                  </a:lnTo>
                  <a:lnTo>
                    <a:pt x="474" y="67"/>
                  </a:lnTo>
                  <a:lnTo>
                    <a:pt x="474" y="66"/>
                  </a:lnTo>
                  <a:lnTo>
                    <a:pt x="472" y="64"/>
                  </a:lnTo>
                  <a:lnTo>
                    <a:pt x="471" y="63"/>
                  </a:lnTo>
                  <a:lnTo>
                    <a:pt x="470" y="62"/>
                  </a:lnTo>
                  <a:lnTo>
                    <a:pt x="469" y="62"/>
                  </a:lnTo>
                  <a:lnTo>
                    <a:pt x="469" y="62"/>
                  </a:lnTo>
                  <a:lnTo>
                    <a:pt x="468" y="62"/>
                  </a:lnTo>
                  <a:lnTo>
                    <a:pt x="468" y="62"/>
                  </a:lnTo>
                  <a:lnTo>
                    <a:pt x="468" y="61"/>
                  </a:lnTo>
                  <a:lnTo>
                    <a:pt x="468" y="61"/>
                  </a:lnTo>
                  <a:lnTo>
                    <a:pt x="468" y="60"/>
                  </a:lnTo>
                  <a:lnTo>
                    <a:pt x="468" y="60"/>
                  </a:lnTo>
                  <a:lnTo>
                    <a:pt x="468" y="59"/>
                  </a:lnTo>
                  <a:lnTo>
                    <a:pt x="467" y="58"/>
                  </a:lnTo>
                  <a:lnTo>
                    <a:pt x="466" y="57"/>
                  </a:lnTo>
                  <a:lnTo>
                    <a:pt x="461" y="58"/>
                  </a:lnTo>
                  <a:lnTo>
                    <a:pt x="456" y="57"/>
                  </a:lnTo>
                  <a:lnTo>
                    <a:pt x="454" y="57"/>
                  </a:lnTo>
                  <a:lnTo>
                    <a:pt x="452" y="56"/>
                  </a:lnTo>
                  <a:lnTo>
                    <a:pt x="452" y="55"/>
                  </a:lnTo>
                  <a:lnTo>
                    <a:pt x="451" y="55"/>
                  </a:lnTo>
                  <a:lnTo>
                    <a:pt x="449" y="54"/>
                  </a:lnTo>
                  <a:lnTo>
                    <a:pt x="449" y="54"/>
                  </a:lnTo>
                  <a:lnTo>
                    <a:pt x="447" y="54"/>
                  </a:lnTo>
                  <a:lnTo>
                    <a:pt x="447" y="53"/>
                  </a:lnTo>
                  <a:lnTo>
                    <a:pt x="445" y="54"/>
                  </a:lnTo>
                  <a:lnTo>
                    <a:pt x="443" y="51"/>
                  </a:lnTo>
                  <a:lnTo>
                    <a:pt x="441" y="51"/>
                  </a:lnTo>
                  <a:lnTo>
                    <a:pt x="438" y="51"/>
                  </a:lnTo>
                  <a:lnTo>
                    <a:pt x="437" y="50"/>
                  </a:lnTo>
                  <a:lnTo>
                    <a:pt x="437" y="49"/>
                  </a:lnTo>
                  <a:lnTo>
                    <a:pt x="437" y="49"/>
                  </a:lnTo>
                  <a:lnTo>
                    <a:pt x="437" y="48"/>
                  </a:lnTo>
                  <a:lnTo>
                    <a:pt x="437" y="47"/>
                  </a:lnTo>
                  <a:lnTo>
                    <a:pt x="437" y="47"/>
                  </a:lnTo>
                  <a:lnTo>
                    <a:pt x="435" y="47"/>
                  </a:lnTo>
                  <a:lnTo>
                    <a:pt x="434" y="48"/>
                  </a:lnTo>
                  <a:lnTo>
                    <a:pt x="434" y="49"/>
                  </a:lnTo>
                  <a:lnTo>
                    <a:pt x="434" y="51"/>
                  </a:lnTo>
                  <a:lnTo>
                    <a:pt x="434" y="51"/>
                  </a:lnTo>
                  <a:lnTo>
                    <a:pt x="433" y="51"/>
                  </a:lnTo>
                  <a:lnTo>
                    <a:pt x="431" y="51"/>
                  </a:lnTo>
                  <a:lnTo>
                    <a:pt x="429" y="51"/>
                  </a:lnTo>
                  <a:lnTo>
                    <a:pt x="428" y="51"/>
                  </a:lnTo>
                  <a:lnTo>
                    <a:pt x="427" y="50"/>
                  </a:lnTo>
                  <a:lnTo>
                    <a:pt x="427" y="49"/>
                  </a:lnTo>
                  <a:lnTo>
                    <a:pt x="427" y="48"/>
                  </a:lnTo>
                  <a:lnTo>
                    <a:pt x="429" y="46"/>
                  </a:lnTo>
                  <a:lnTo>
                    <a:pt x="431" y="45"/>
                  </a:lnTo>
                  <a:lnTo>
                    <a:pt x="431" y="43"/>
                  </a:lnTo>
                  <a:lnTo>
                    <a:pt x="431" y="40"/>
                  </a:lnTo>
                  <a:lnTo>
                    <a:pt x="431" y="38"/>
                  </a:lnTo>
                  <a:lnTo>
                    <a:pt x="429" y="36"/>
                  </a:lnTo>
                  <a:lnTo>
                    <a:pt x="429" y="36"/>
                  </a:lnTo>
                  <a:lnTo>
                    <a:pt x="428" y="36"/>
                  </a:lnTo>
                  <a:lnTo>
                    <a:pt x="428" y="36"/>
                  </a:lnTo>
                  <a:lnTo>
                    <a:pt x="426" y="36"/>
                  </a:lnTo>
                  <a:lnTo>
                    <a:pt x="424" y="35"/>
                  </a:lnTo>
                  <a:lnTo>
                    <a:pt x="422" y="35"/>
                  </a:lnTo>
                  <a:lnTo>
                    <a:pt x="422" y="36"/>
                  </a:lnTo>
                  <a:lnTo>
                    <a:pt x="422" y="36"/>
                  </a:lnTo>
                  <a:lnTo>
                    <a:pt x="422" y="36"/>
                  </a:lnTo>
                  <a:lnTo>
                    <a:pt x="420" y="38"/>
                  </a:lnTo>
                  <a:lnTo>
                    <a:pt x="420" y="38"/>
                  </a:lnTo>
                  <a:lnTo>
                    <a:pt x="420" y="38"/>
                  </a:lnTo>
                  <a:lnTo>
                    <a:pt x="420" y="36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18" y="35"/>
                  </a:lnTo>
                  <a:lnTo>
                    <a:pt x="418" y="35"/>
                  </a:lnTo>
                  <a:lnTo>
                    <a:pt x="418" y="35"/>
                  </a:lnTo>
                  <a:lnTo>
                    <a:pt x="418" y="34"/>
                  </a:lnTo>
                  <a:lnTo>
                    <a:pt x="417" y="34"/>
                  </a:lnTo>
                  <a:lnTo>
                    <a:pt x="416" y="34"/>
                  </a:lnTo>
                  <a:lnTo>
                    <a:pt x="414" y="34"/>
                  </a:lnTo>
                  <a:lnTo>
                    <a:pt x="414" y="34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412" y="35"/>
                  </a:lnTo>
                  <a:lnTo>
                    <a:pt x="412" y="34"/>
                  </a:lnTo>
                  <a:lnTo>
                    <a:pt x="412" y="32"/>
                  </a:lnTo>
                  <a:lnTo>
                    <a:pt x="411" y="32"/>
                  </a:lnTo>
                  <a:lnTo>
                    <a:pt x="410" y="30"/>
                  </a:lnTo>
                  <a:lnTo>
                    <a:pt x="410" y="30"/>
                  </a:lnTo>
                  <a:lnTo>
                    <a:pt x="410" y="29"/>
                  </a:lnTo>
                  <a:lnTo>
                    <a:pt x="410" y="29"/>
                  </a:lnTo>
                  <a:lnTo>
                    <a:pt x="409" y="27"/>
                  </a:lnTo>
                  <a:lnTo>
                    <a:pt x="407" y="29"/>
                  </a:lnTo>
                  <a:lnTo>
                    <a:pt x="405" y="30"/>
                  </a:lnTo>
                  <a:lnTo>
                    <a:pt x="404" y="30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5" y="32"/>
                  </a:lnTo>
                  <a:lnTo>
                    <a:pt x="404" y="32"/>
                  </a:lnTo>
                  <a:lnTo>
                    <a:pt x="402" y="32"/>
                  </a:lnTo>
                  <a:lnTo>
                    <a:pt x="402" y="32"/>
                  </a:lnTo>
                  <a:lnTo>
                    <a:pt x="402" y="30"/>
                  </a:lnTo>
                  <a:lnTo>
                    <a:pt x="401" y="30"/>
                  </a:lnTo>
                  <a:lnTo>
                    <a:pt x="400" y="32"/>
                  </a:lnTo>
                  <a:lnTo>
                    <a:pt x="399" y="32"/>
                  </a:lnTo>
                  <a:lnTo>
                    <a:pt x="395" y="34"/>
                  </a:lnTo>
                  <a:lnTo>
                    <a:pt x="395" y="34"/>
                  </a:lnTo>
                  <a:lnTo>
                    <a:pt x="393" y="34"/>
                  </a:lnTo>
                  <a:lnTo>
                    <a:pt x="392" y="35"/>
                  </a:lnTo>
                  <a:lnTo>
                    <a:pt x="391" y="35"/>
                  </a:lnTo>
                  <a:lnTo>
                    <a:pt x="391" y="35"/>
                  </a:lnTo>
                  <a:lnTo>
                    <a:pt x="391" y="34"/>
                  </a:lnTo>
                  <a:lnTo>
                    <a:pt x="391" y="34"/>
                  </a:lnTo>
                  <a:lnTo>
                    <a:pt x="391" y="34"/>
                  </a:lnTo>
                  <a:lnTo>
                    <a:pt x="390" y="34"/>
                  </a:lnTo>
                  <a:lnTo>
                    <a:pt x="390" y="35"/>
                  </a:lnTo>
                  <a:lnTo>
                    <a:pt x="390" y="35"/>
                  </a:lnTo>
                  <a:lnTo>
                    <a:pt x="389" y="34"/>
                  </a:lnTo>
                  <a:lnTo>
                    <a:pt x="389" y="34"/>
                  </a:lnTo>
                  <a:lnTo>
                    <a:pt x="389" y="32"/>
                  </a:lnTo>
                  <a:lnTo>
                    <a:pt x="387" y="32"/>
                  </a:lnTo>
                  <a:lnTo>
                    <a:pt x="387" y="32"/>
                  </a:lnTo>
                  <a:lnTo>
                    <a:pt x="385" y="34"/>
                  </a:lnTo>
                  <a:lnTo>
                    <a:pt x="383" y="34"/>
                  </a:lnTo>
                  <a:lnTo>
                    <a:pt x="381" y="34"/>
                  </a:lnTo>
                  <a:lnTo>
                    <a:pt x="378" y="32"/>
                  </a:lnTo>
                  <a:lnTo>
                    <a:pt x="372" y="30"/>
                  </a:lnTo>
                  <a:lnTo>
                    <a:pt x="372" y="30"/>
                  </a:lnTo>
                  <a:lnTo>
                    <a:pt x="371" y="29"/>
                  </a:lnTo>
                  <a:lnTo>
                    <a:pt x="368" y="29"/>
                  </a:lnTo>
                  <a:lnTo>
                    <a:pt x="366" y="27"/>
                  </a:lnTo>
                  <a:lnTo>
                    <a:pt x="364" y="27"/>
                  </a:lnTo>
                  <a:lnTo>
                    <a:pt x="364" y="27"/>
                  </a:lnTo>
                  <a:lnTo>
                    <a:pt x="363" y="27"/>
                  </a:lnTo>
                  <a:lnTo>
                    <a:pt x="362" y="27"/>
                  </a:lnTo>
                  <a:lnTo>
                    <a:pt x="362" y="27"/>
                  </a:lnTo>
                  <a:lnTo>
                    <a:pt x="362" y="27"/>
                  </a:lnTo>
                  <a:lnTo>
                    <a:pt x="362" y="27"/>
                  </a:lnTo>
                  <a:lnTo>
                    <a:pt x="362" y="27"/>
                  </a:lnTo>
                  <a:lnTo>
                    <a:pt x="362" y="29"/>
                  </a:lnTo>
                  <a:lnTo>
                    <a:pt x="362" y="30"/>
                  </a:lnTo>
                  <a:lnTo>
                    <a:pt x="360" y="27"/>
                  </a:lnTo>
                  <a:lnTo>
                    <a:pt x="360" y="27"/>
                  </a:lnTo>
                  <a:lnTo>
                    <a:pt x="359" y="25"/>
                  </a:lnTo>
                  <a:lnTo>
                    <a:pt x="358" y="24"/>
                  </a:lnTo>
                  <a:lnTo>
                    <a:pt x="357" y="23"/>
                  </a:lnTo>
                  <a:lnTo>
                    <a:pt x="357" y="23"/>
                  </a:lnTo>
                  <a:lnTo>
                    <a:pt x="356" y="23"/>
                  </a:lnTo>
                  <a:lnTo>
                    <a:pt x="355" y="24"/>
                  </a:lnTo>
                  <a:lnTo>
                    <a:pt x="353" y="24"/>
                  </a:lnTo>
                  <a:lnTo>
                    <a:pt x="349" y="24"/>
                  </a:lnTo>
                  <a:lnTo>
                    <a:pt x="348" y="24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48" y="25"/>
                  </a:lnTo>
                  <a:lnTo>
                    <a:pt x="348" y="25"/>
                  </a:lnTo>
                  <a:lnTo>
                    <a:pt x="347" y="27"/>
                  </a:lnTo>
                  <a:lnTo>
                    <a:pt x="345" y="27"/>
                  </a:lnTo>
                  <a:lnTo>
                    <a:pt x="343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3" y="32"/>
                  </a:lnTo>
                  <a:lnTo>
                    <a:pt x="343" y="32"/>
                  </a:lnTo>
                  <a:lnTo>
                    <a:pt x="341" y="30"/>
                  </a:lnTo>
                  <a:lnTo>
                    <a:pt x="339" y="30"/>
                  </a:lnTo>
                  <a:lnTo>
                    <a:pt x="338" y="30"/>
                  </a:lnTo>
                  <a:lnTo>
                    <a:pt x="337" y="30"/>
                  </a:lnTo>
                  <a:lnTo>
                    <a:pt x="336" y="30"/>
                  </a:lnTo>
                  <a:lnTo>
                    <a:pt x="335" y="30"/>
                  </a:lnTo>
                  <a:lnTo>
                    <a:pt x="333" y="29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0" y="27"/>
                  </a:lnTo>
                  <a:lnTo>
                    <a:pt x="326" y="27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0" y="25"/>
                  </a:lnTo>
                  <a:lnTo>
                    <a:pt x="318" y="27"/>
                  </a:lnTo>
                  <a:lnTo>
                    <a:pt x="318" y="25"/>
                  </a:lnTo>
                  <a:lnTo>
                    <a:pt x="318" y="25"/>
                  </a:lnTo>
                  <a:lnTo>
                    <a:pt x="316" y="25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18" y="23"/>
                  </a:lnTo>
                  <a:lnTo>
                    <a:pt x="318" y="23"/>
                  </a:lnTo>
                  <a:lnTo>
                    <a:pt x="318" y="23"/>
                  </a:lnTo>
                  <a:lnTo>
                    <a:pt x="320" y="23"/>
                  </a:lnTo>
                  <a:lnTo>
                    <a:pt x="320" y="24"/>
                  </a:lnTo>
                  <a:lnTo>
                    <a:pt x="320" y="23"/>
                  </a:lnTo>
                  <a:lnTo>
                    <a:pt x="321" y="24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0" y="23"/>
                  </a:lnTo>
                  <a:lnTo>
                    <a:pt x="316" y="21"/>
                  </a:lnTo>
                  <a:lnTo>
                    <a:pt x="316" y="21"/>
                  </a:lnTo>
                  <a:lnTo>
                    <a:pt x="315" y="21"/>
                  </a:lnTo>
                  <a:lnTo>
                    <a:pt x="315" y="21"/>
                  </a:lnTo>
                  <a:lnTo>
                    <a:pt x="314" y="21"/>
                  </a:lnTo>
                  <a:lnTo>
                    <a:pt x="314" y="19"/>
                  </a:lnTo>
                  <a:lnTo>
                    <a:pt x="313" y="19"/>
                  </a:lnTo>
                  <a:lnTo>
                    <a:pt x="309" y="21"/>
                  </a:lnTo>
                  <a:lnTo>
                    <a:pt x="307" y="21"/>
                  </a:lnTo>
                  <a:lnTo>
                    <a:pt x="307" y="21"/>
                  </a:lnTo>
                  <a:lnTo>
                    <a:pt x="307" y="21"/>
                  </a:lnTo>
                  <a:lnTo>
                    <a:pt x="305" y="21"/>
                  </a:lnTo>
                  <a:lnTo>
                    <a:pt x="304" y="21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4" y="23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2" y="23"/>
                  </a:lnTo>
                  <a:lnTo>
                    <a:pt x="301" y="24"/>
                  </a:lnTo>
                  <a:lnTo>
                    <a:pt x="301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2" y="21"/>
                  </a:lnTo>
                  <a:lnTo>
                    <a:pt x="301" y="21"/>
                  </a:lnTo>
                  <a:lnTo>
                    <a:pt x="299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4" y="21"/>
                  </a:lnTo>
                  <a:lnTo>
                    <a:pt x="293" y="21"/>
                  </a:lnTo>
                  <a:lnTo>
                    <a:pt x="291" y="23"/>
                  </a:lnTo>
                  <a:lnTo>
                    <a:pt x="291" y="23"/>
                  </a:lnTo>
                  <a:lnTo>
                    <a:pt x="292" y="23"/>
                  </a:lnTo>
                  <a:lnTo>
                    <a:pt x="292" y="24"/>
                  </a:lnTo>
                  <a:lnTo>
                    <a:pt x="292" y="24"/>
                  </a:lnTo>
                  <a:lnTo>
                    <a:pt x="292" y="24"/>
                  </a:lnTo>
                  <a:lnTo>
                    <a:pt x="291" y="24"/>
                  </a:lnTo>
                  <a:lnTo>
                    <a:pt x="291" y="24"/>
                  </a:lnTo>
                  <a:lnTo>
                    <a:pt x="289" y="23"/>
                  </a:lnTo>
                  <a:lnTo>
                    <a:pt x="289" y="23"/>
                  </a:lnTo>
                  <a:lnTo>
                    <a:pt x="288" y="23"/>
                  </a:lnTo>
                  <a:lnTo>
                    <a:pt x="288" y="24"/>
                  </a:lnTo>
                  <a:lnTo>
                    <a:pt x="288" y="24"/>
                  </a:lnTo>
                  <a:lnTo>
                    <a:pt x="288" y="24"/>
                  </a:lnTo>
                  <a:lnTo>
                    <a:pt x="286" y="24"/>
                  </a:lnTo>
                  <a:lnTo>
                    <a:pt x="285" y="24"/>
                  </a:lnTo>
                  <a:lnTo>
                    <a:pt x="280" y="25"/>
                  </a:lnTo>
                  <a:lnTo>
                    <a:pt x="279" y="27"/>
                  </a:lnTo>
                  <a:lnTo>
                    <a:pt x="272" y="27"/>
                  </a:lnTo>
                  <a:lnTo>
                    <a:pt x="270" y="27"/>
                  </a:lnTo>
                  <a:lnTo>
                    <a:pt x="269" y="27"/>
                  </a:lnTo>
                  <a:lnTo>
                    <a:pt x="269" y="29"/>
                  </a:lnTo>
                  <a:lnTo>
                    <a:pt x="269" y="29"/>
                  </a:lnTo>
                  <a:lnTo>
                    <a:pt x="268" y="27"/>
                  </a:lnTo>
                  <a:lnTo>
                    <a:pt x="266" y="27"/>
                  </a:lnTo>
                  <a:lnTo>
                    <a:pt x="265" y="27"/>
                  </a:lnTo>
                  <a:lnTo>
                    <a:pt x="263" y="29"/>
                  </a:lnTo>
                  <a:lnTo>
                    <a:pt x="262" y="27"/>
                  </a:lnTo>
                  <a:lnTo>
                    <a:pt x="261" y="27"/>
                  </a:lnTo>
                  <a:lnTo>
                    <a:pt x="250" y="25"/>
                  </a:lnTo>
                  <a:lnTo>
                    <a:pt x="249" y="25"/>
                  </a:lnTo>
                  <a:lnTo>
                    <a:pt x="244" y="23"/>
                  </a:lnTo>
                  <a:lnTo>
                    <a:pt x="240" y="23"/>
                  </a:lnTo>
                  <a:lnTo>
                    <a:pt x="239" y="23"/>
                  </a:lnTo>
                  <a:lnTo>
                    <a:pt x="239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6" y="23"/>
                  </a:lnTo>
                  <a:lnTo>
                    <a:pt x="233" y="23"/>
                  </a:lnTo>
                  <a:lnTo>
                    <a:pt x="232" y="23"/>
                  </a:lnTo>
                  <a:lnTo>
                    <a:pt x="232" y="21"/>
                  </a:lnTo>
                  <a:lnTo>
                    <a:pt x="230" y="21"/>
                  </a:lnTo>
                  <a:lnTo>
                    <a:pt x="225" y="21"/>
                  </a:lnTo>
                  <a:lnTo>
                    <a:pt x="224" y="21"/>
                  </a:lnTo>
                  <a:lnTo>
                    <a:pt x="219" y="19"/>
                  </a:lnTo>
                  <a:lnTo>
                    <a:pt x="218" y="17"/>
                  </a:lnTo>
                  <a:lnTo>
                    <a:pt x="216" y="17"/>
                  </a:lnTo>
                  <a:lnTo>
                    <a:pt x="216" y="17"/>
                  </a:lnTo>
                  <a:lnTo>
                    <a:pt x="215" y="19"/>
                  </a:lnTo>
                  <a:lnTo>
                    <a:pt x="215" y="19"/>
                  </a:lnTo>
                  <a:lnTo>
                    <a:pt x="215" y="19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3" y="21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7"/>
                  </a:lnTo>
                  <a:lnTo>
                    <a:pt x="211" y="17"/>
                  </a:lnTo>
                  <a:lnTo>
                    <a:pt x="201" y="17"/>
                  </a:lnTo>
                  <a:lnTo>
                    <a:pt x="198" y="17"/>
                  </a:lnTo>
                  <a:lnTo>
                    <a:pt x="198" y="15"/>
                  </a:lnTo>
                  <a:lnTo>
                    <a:pt x="197" y="14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196" y="14"/>
                  </a:lnTo>
                  <a:lnTo>
                    <a:pt x="192" y="11"/>
                  </a:lnTo>
                  <a:lnTo>
                    <a:pt x="191" y="10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88" y="10"/>
                  </a:lnTo>
                  <a:lnTo>
                    <a:pt x="188" y="11"/>
                  </a:lnTo>
                  <a:lnTo>
                    <a:pt x="188" y="11"/>
                  </a:lnTo>
                  <a:lnTo>
                    <a:pt x="186" y="11"/>
                  </a:lnTo>
                  <a:lnTo>
                    <a:pt x="186" y="11"/>
                  </a:lnTo>
                  <a:lnTo>
                    <a:pt x="186" y="12"/>
                  </a:lnTo>
                  <a:lnTo>
                    <a:pt x="186" y="12"/>
                  </a:lnTo>
                  <a:lnTo>
                    <a:pt x="186" y="12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78" y="15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1" y="15"/>
                  </a:lnTo>
                  <a:lnTo>
                    <a:pt x="170" y="15"/>
                  </a:lnTo>
                  <a:lnTo>
                    <a:pt x="169" y="14"/>
                  </a:lnTo>
                  <a:lnTo>
                    <a:pt x="167" y="14"/>
                  </a:lnTo>
                  <a:lnTo>
                    <a:pt x="167" y="14"/>
                  </a:lnTo>
                  <a:lnTo>
                    <a:pt x="167" y="14"/>
                  </a:lnTo>
                  <a:lnTo>
                    <a:pt x="165" y="15"/>
                  </a:lnTo>
                  <a:lnTo>
                    <a:pt x="164" y="15"/>
                  </a:lnTo>
                  <a:lnTo>
                    <a:pt x="163" y="15"/>
                  </a:lnTo>
                  <a:lnTo>
                    <a:pt x="161" y="15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6" y="15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4" y="17"/>
                  </a:lnTo>
                  <a:lnTo>
                    <a:pt x="153" y="17"/>
                  </a:lnTo>
                  <a:lnTo>
                    <a:pt x="153" y="17"/>
                  </a:lnTo>
                  <a:lnTo>
                    <a:pt x="150" y="17"/>
                  </a:lnTo>
                  <a:lnTo>
                    <a:pt x="148" y="15"/>
                  </a:lnTo>
                  <a:lnTo>
                    <a:pt x="145" y="15"/>
                  </a:lnTo>
                  <a:lnTo>
                    <a:pt x="143" y="17"/>
                  </a:lnTo>
                  <a:lnTo>
                    <a:pt x="140" y="17"/>
                  </a:lnTo>
                  <a:lnTo>
                    <a:pt x="138" y="15"/>
                  </a:lnTo>
                  <a:lnTo>
                    <a:pt x="134" y="17"/>
                  </a:lnTo>
                  <a:lnTo>
                    <a:pt x="134" y="15"/>
                  </a:lnTo>
                  <a:lnTo>
                    <a:pt x="129" y="17"/>
                  </a:lnTo>
                  <a:lnTo>
                    <a:pt x="126" y="17"/>
                  </a:lnTo>
                  <a:lnTo>
                    <a:pt x="126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3" y="17"/>
                  </a:lnTo>
                  <a:lnTo>
                    <a:pt x="122" y="17"/>
                  </a:lnTo>
                  <a:lnTo>
                    <a:pt x="121" y="15"/>
                  </a:lnTo>
                  <a:lnTo>
                    <a:pt x="121" y="17"/>
                  </a:lnTo>
                  <a:lnTo>
                    <a:pt x="117" y="17"/>
                  </a:lnTo>
                  <a:lnTo>
                    <a:pt x="115" y="17"/>
                  </a:lnTo>
                  <a:lnTo>
                    <a:pt x="114" y="15"/>
                  </a:lnTo>
                  <a:lnTo>
                    <a:pt x="113" y="15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0" y="14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100" y="6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3" y="8"/>
                  </a:lnTo>
                  <a:lnTo>
                    <a:pt x="92" y="8"/>
                  </a:lnTo>
                  <a:lnTo>
                    <a:pt x="93" y="6"/>
                  </a:lnTo>
                  <a:lnTo>
                    <a:pt x="90" y="4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4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8" y="1"/>
                  </a:lnTo>
                  <a:lnTo>
                    <a:pt x="88" y="2"/>
                  </a:lnTo>
                  <a:lnTo>
                    <a:pt x="87" y="3"/>
                  </a:lnTo>
                  <a:lnTo>
                    <a:pt x="86" y="3"/>
                  </a:lnTo>
                  <a:lnTo>
                    <a:pt x="84" y="4"/>
                  </a:lnTo>
                  <a:lnTo>
                    <a:pt x="83" y="4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80" y="8"/>
                  </a:lnTo>
                  <a:lnTo>
                    <a:pt x="80" y="9"/>
                  </a:lnTo>
                  <a:lnTo>
                    <a:pt x="76" y="9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3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5" y="4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59" y="15"/>
                  </a:lnTo>
                  <a:lnTo>
                    <a:pt x="57" y="17"/>
                  </a:lnTo>
                  <a:lnTo>
                    <a:pt x="56" y="15"/>
                  </a:lnTo>
                  <a:lnTo>
                    <a:pt x="56" y="17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21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7" y="21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56" y="23"/>
                  </a:lnTo>
                  <a:lnTo>
                    <a:pt x="54" y="23"/>
                  </a:lnTo>
                  <a:lnTo>
                    <a:pt x="56" y="24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9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6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4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1" y="30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1" y="32"/>
                  </a:lnTo>
                  <a:lnTo>
                    <a:pt x="39" y="32"/>
                  </a:lnTo>
                  <a:lnTo>
                    <a:pt x="36" y="32"/>
                  </a:lnTo>
                  <a:lnTo>
                    <a:pt x="35" y="34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1" y="34"/>
                  </a:lnTo>
                  <a:lnTo>
                    <a:pt x="30" y="34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21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5" y="44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5" y="46"/>
                  </a:lnTo>
                  <a:lnTo>
                    <a:pt x="5" y="47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9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8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57"/>
                  </a:lnTo>
                  <a:lnTo>
                    <a:pt x="7" y="58"/>
                  </a:lnTo>
                  <a:lnTo>
                    <a:pt x="7" y="59"/>
                  </a:lnTo>
                  <a:lnTo>
                    <a:pt x="8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1"/>
                  </a:lnTo>
                  <a:lnTo>
                    <a:pt x="8" y="61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2" y="65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9" y="66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2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69"/>
                  </a:lnTo>
                  <a:lnTo>
                    <a:pt x="14" y="68"/>
                  </a:lnTo>
                  <a:lnTo>
                    <a:pt x="15" y="67"/>
                  </a:lnTo>
                  <a:lnTo>
                    <a:pt x="18" y="68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9"/>
                  </a:lnTo>
                  <a:lnTo>
                    <a:pt x="18" y="70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3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6"/>
                  </a:lnTo>
                  <a:lnTo>
                    <a:pt x="14" y="77"/>
                  </a:lnTo>
                  <a:lnTo>
                    <a:pt x="13" y="79"/>
                  </a:lnTo>
                  <a:lnTo>
                    <a:pt x="13" y="81"/>
                  </a:lnTo>
                  <a:lnTo>
                    <a:pt x="14" y="81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4"/>
                  </a:lnTo>
                  <a:lnTo>
                    <a:pt x="16" y="8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0"/>
                  </a:lnTo>
                  <a:lnTo>
                    <a:pt x="21" y="79"/>
                  </a:lnTo>
                  <a:lnTo>
                    <a:pt x="23" y="78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4" y="79"/>
                  </a:lnTo>
                  <a:lnTo>
                    <a:pt x="25" y="78"/>
                  </a:lnTo>
                  <a:lnTo>
                    <a:pt x="24" y="77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7" y="75"/>
                  </a:lnTo>
                  <a:lnTo>
                    <a:pt x="27" y="76"/>
                  </a:lnTo>
                  <a:lnTo>
                    <a:pt x="27" y="77"/>
                  </a:lnTo>
                  <a:lnTo>
                    <a:pt x="29" y="78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1" y="76"/>
                  </a:lnTo>
                  <a:lnTo>
                    <a:pt x="31" y="74"/>
                  </a:lnTo>
                  <a:lnTo>
                    <a:pt x="32" y="74"/>
                  </a:lnTo>
                  <a:lnTo>
                    <a:pt x="31" y="76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3" y="91"/>
                  </a:lnTo>
                  <a:lnTo>
                    <a:pt x="33" y="91"/>
                  </a:lnTo>
                  <a:lnTo>
                    <a:pt x="33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3" y="94"/>
                  </a:lnTo>
                  <a:lnTo>
                    <a:pt x="32" y="94"/>
                  </a:lnTo>
                  <a:lnTo>
                    <a:pt x="30" y="96"/>
                  </a:lnTo>
                  <a:lnTo>
                    <a:pt x="30" y="98"/>
                  </a:lnTo>
                  <a:lnTo>
                    <a:pt x="29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100"/>
                  </a:lnTo>
                  <a:lnTo>
                    <a:pt x="27" y="102"/>
                  </a:lnTo>
                  <a:lnTo>
                    <a:pt x="25" y="100"/>
                  </a:lnTo>
                  <a:lnTo>
                    <a:pt x="25" y="100"/>
                  </a:lnTo>
                  <a:lnTo>
                    <a:pt x="25" y="100"/>
                  </a:lnTo>
                  <a:lnTo>
                    <a:pt x="24" y="102"/>
                  </a:lnTo>
                  <a:lnTo>
                    <a:pt x="24" y="104"/>
                  </a:lnTo>
                  <a:lnTo>
                    <a:pt x="25" y="102"/>
                  </a:lnTo>
                  <a:lnTo>
                    <a:pt x="27" y="104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32" y="102"/>
                  </a:lnTo>
                  <a:lnTo>
                    <a:pt x="33" y="100"/>
                  </a:lnTo>
                  <a:lnTo>
                    <a:pt x="34" y="100"/>
                  </a:lnTo>
                  <a:lnTo>
                    <a:pt x="35" y="99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2" y="104"/>
                  </a:lnTo>
                  <a:lnTo>
                    <a:pt x="30" y="105"/>
                  </a:lnTo>
                  <a:lnTo>
                    <a:pt x="29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3" y="113"/>
                  </a:lnTo>
                  <a:lnTo>
                    <a:pt x="21" y="113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4" y="128"/>
                  </a:lnTo>
                  <a:lnTo>
                    <a:pt x="25" y="126"/>
                  </a:lnTo>
                  <a:lnTo>
                    <a:pt x="27" y="126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9" y="124"/>
                  </a:lnTo>
                  <a:lnTo>
                    <a:pt x="30" y="123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4" y="120"/>
                  </a:lnTo>
                  <a:lnTo>
                    <a:pt x="35" y="120"/>
                  </a:lnTo>
                  <a:lnTo>
                    <a:pt x="35" y="118"/>
                  </a:lnTo>
                  <a:lnTo>
                    <a:pt x="36" y="118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40" y="117"/>
                  </a:lnTo>
                  <a:lnTo>
                    <a:pt x="41" y="115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7" y="111"/>
                  </a:lnTo>
                  <a:lnTo>
                    <a:pt x="58" y="111"/>
                  </a:lnTo>
                  <a:lnTo>
                    <a:pt x="59" y="110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0" y="115"/>
                  </a:lnTo>
                  <a:lnTo>
                    <a:pt x="60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3" y="115"/>
                  </a:lnTo>
                  <a:lnTo>
                    <a:pt x="63" y="115"/>
                  </a:lnTo>
                  <a:lnTo>
                    <a:pt x="65" y="115"/>
                  </a:lnTo>
                  <a:lnTo>
                    <a:pt x="65" y="117"/>
                  </a:lnTo>
                  <a:lnTo>
                    <a:pt x="65" y="118"/>
                  </a:lnTo>
                  <a:lnTo>
                    <a:pt x="65" y="119"/>
                  </a:lnTo>
                  <a:lnTo>
                    <a:pt x="65" y="120"/>
                  </a:lnTo>
                  <a:lnTo>
                    <a:pt x="65" y="120"/>
                  </a:lnTo>
                  <a:lnTo>
                    <a:pt x="63" y="120"/>
                  </a:lnTo>
                  <a:lnTo>
                    <a:pt x="61" y="123"/>
                  </a:lnTo>
                  <a:lnTo>
                    <a:pt x="59" y="125"/>
                  </a:lnTo>
                  <a:lnTo>
                    <a:pt x="59" y="126"/>
                  </a:lnTo>
                  <a:lnTo>
                    <a:pt x="59" y="128"/>
                  </a:lnTo>
                  <a:lnTo>
                    <a:pt x="59" y="129"/>
                  </a:lnTo>
                  <a:lnTo>
                    <a:pt x="61" y="130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5" y="133"/>
                  </a:lnTo>
                  <a:lnTo>
                    <a:pt x="68" y="132"/>
                  </a:lnTo>
                  <a:lnTo>
                    <a:pt x="69" y="132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29"/>
                  </a:lnTo>
                  <a:lnTo>
                    <a:pt x="73" y="129"/>
                  </a:lnTo>
                  <a:lnTo>
                    <a:pt x="74" y="129"/>
                  </a:lnTo>
                  <a:lnTo>
                    <a:pt x="75" y="129"/>
                  </a:lnTo>
                  <a:lnTo>
                    <a:pt x="75" y="128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6" y="126"/>
                  </a:lnTo>
                  <a:lnTo>
                    <a:pt x="77" y="128"/>
                  </a:lnTo>
                  <a:lnTo>
                    <a:pt x="77" y="130"/>
                  </a:lnTo>
                  <a:lnTo>
                    <a:pt x="78" y="130"/>
                  </a:lnTo>
                  <a:lnTo>
                    <a:pt x="80" y="129"/>
                  </a:lnTo>
                  <a:lnTo>
                    <a:pt x="80" y="129"/>
                  </a:lnTo>
                  <a:lnTo>
                    <a:pt x="80" y="128"/>
                  </a:lnTo>
                  <a:lnTo>
                    <a:pt x="80" y="128"/>
                  </a:lnTo>
                  <a:lnTo>
                    <a:pt x="81" y="128"/>
                  </a:lnTo>
                  <a:lnTo>
                    <a:pt x="85" y="128"/>
                  </a:lnTo>
                  <a:lnTo>
                    <a:pt x="86" y="126"/>
                  </a:lnTo>
                  <a:lnTo>
                    <a:pt x="87" y="126"/>
                  </a:lnTo>
                  <a:lnTo>
                    <a:pt x="88" y="128"/>
                  </a:lnTo>
                  <a:lnTo>
                    <a:pt x="90" y="128"/>
                  </a:lnTo>
                  <a:lnTo>
                    <a:pt x="93" y="129"/>
                  </a:lnTo>
                  <a:lnTo>
                    <a:pt x="92" y="131"/>
                  </a:lnTo>
                  <a:lnTo>
                    <a:pt x="92" y="131"/>
                  </a:lnTo>
                  <a:lnTo>
                    <a:pt x="93" y="132"/>
                  </a:lnTo>
                  <a:lnTo>
                    <a:pt x="94" y="132"/>
                  </a:lnTo>
                  <a:lnTo>
                    <a:pt x="96" y="132"/>
                  </a:lnTo>
                  <a:lnTo>
                    <a:pt x="96" y="131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98" y="130"/>
                  </a:lnTo>
                  <a:lnTo>
                    <a:pt x="100" y="130"/>
                  </a:lnTo>
                  <a:lnTo>
                    <a:pt x="101" y="130"/>
                  </a:lnTo>
                  <a:lnTo>
                    <a:pt x="101" y="131"/>
                  </a:lnTo>
                  <a:lnTo>
                    <a:pt x="102" y="132"/>
                  </a:lnTo>
                  <a:lnTo>
                    <a:pt x="102" y="133"/>
                  </a:lnTo>
                  <a:lnTo>
                    <a:pt x="102" y="132"/>
                  </a:lnTo>
                  <a:lnTo>
                    <a:pt x="104" y="131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7" y="130"/>
                  </a:lnTo>
                  <a:lnTo>
                    <a:pt x="109" y="130"/>
                  </a:lnTo>
                  <a:lnTo>
                    <a:pt x="113" y="129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4" y="124"/>
                  </a:lnTo>
                  <a:lnTo>
                    <a:pt x="115" y="123"/>
                  </a:lnTo>
                  <a:lnTo>
                    <a:pt x="115" y="122"/>
                  </a:lnTo>
                  <a:lnTo>
                    <a:pt x="117" y="122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22"/>
                  </a:lnTo>
                  <a:lnTo>
                    <a:pt x="121" y="123"/>
                  </a:lnTo>
                  <a:lnTo>
                    <a:pt x="123" y="124"/>
                  </a:lnTo>
                  <a:lnTo>
                    <a:pt x="125" y="123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28" y="123"/>
                  </a:lnTo>
                  <a:lnTo>
                    <a:pt x="129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4" y="123"/>
                  </a:lnTo>
                  <a:lnTo>
                    <a:pt x="136" y="120"/>
                  </a:lnTo>
                  <a:lnTo>
                    <a:pt x="137" y="122"/>
                  </a:lnTo>
                  <a:lnTo>
                    <a:pt x="140" y="124"/>
                  </a:lnTo>
                  <a:lnTo>
                    <a:pt x="140" y="125"/>
                  </a:lnTo>
                  <a:lnTo>
                    <a:pt x="145" y="125"/>
                  </a:lnTo>
                  <a:lnTo>
                    <a:pt x="146" y="124"/>
                  </a:lnTo>
                  <a:lnTo>
                    <a:pt x="147" y="123"/>
                  </a:lnTo>
                  <a:lnTo>
                    <a:pt x="148" y="123"/>
                  </a:lnTo>
                  <a:lnTo>
                    <a:pt x="149" y="124"/>
                  </a:lnTo>
                  <a:lnTo>
                    <a:pt x="149" y="125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9"/>
                  </a:lnTo>
                  <a:lnTo>
                    <a:pt x="152" y="129"/>
                  </a:lnTo>
                  <a:lnTo>
                    <a:pt x="152" y="130"/>
                  </a:lnTo>
                  <a:lnTo>
                    <a:pt x="150" y="135"/>
                  </a:lnTo>
                  <a:lnTo>
                    <a:pt x="149" y="136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8"/>
                  </a:lnTo>
                  <a:lnTo>
                    <a:pt x="149" y="138"/>
                  </a:lnTo>
                  <a:lnTo>
                    <a:pt x="149" y="139"/>
                  </a:lnTo>
                  <a:lnTo>
                    <a:pt x="149" y="140"/>
                  </a:lnTo>
                  <a:lnTo>
                    <a:pt x="150" y="141"/>
                  </a:lnTo>
                  <a:lnTo>
                    <a:pt x="150" y="142"/>
                  </a:lnTo>
                  <a:lnTo>
                    <a:pt x="153" y="143"/>
                  </a:lnTo>
                  <a:lnTo>
                    <a:pt x="153" y="143"/>
                  </a:lnTo>
                  <a:lnTo>
                    <a:pt x="154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1"/>
                  </a:lnTo>
                  <a:lnTo>
                    <a:pt x="156" y="141"/>
                  </a:lnTo>
                  <a:lnTo>
                    <a:pt x="161" y="142"/>
                  </a:lnTo>
                  <a:lnTo>
                    <a:pt x="163" y="143"/>
                  </a:lnTo>
                  <a:lnTo>
                    <a:pt x="165" y="144"/>
                  </a:lnTo>
                  <a:lnTo>
                    <a:pt x="167" y="147"/>
                  </a:lnTo>
                  <a:lnTo>
                    <a:pt x="169" y="147"/>
                  </a:lnTo>
                  <a:lnTo>
                    <a:pt x="170" y="148"/>
                  </a:lnTo>
                  <a:lnTo>
                    <a:pt x="167" y="151"/>
                  </a:lnTo>
                  <a:lnTo>
                    <a:pt x="165" y="153"/>
                  </a:lnTo>
                  <a:lnTo>
                    <a:pt x="165" y="153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5"/>
                  </a:lnTo>
                  <a:lnTo>
                    <a:pt x="163" y="158"/>
                  </a:lnTo>
                  <a:lnTo>
                    <a:pt x="163" y="158"/>
                  </a:lnTo>
                  <a:lnTo>
                    <a:pt x="161" y="158"/>
                  </a:lnTo>
                  <a:lnTo>
                    <a:pt x="161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61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7" y="164"/>
                  </a:lnTo>
                  <a:lnTo>
                    <a:pt x="155" y="165"/>
                  </a:lnTo>
                  <a:lnTo>
                    <a:pt x="154" y="166"/>
                  </a:lnTo>
                  <a:lnTo>
                    <a:pt x="150" y="167"/>
                  </a:lnTo>
                  <a:lnTo>
                    <a:pt x="149" y="167"/>
                  </a:lnTo>
                  <a:lnTo>
                    <a:pt x="146" y="167"/>
                  </a:lnTo>
                  <a:lnTo>
                    <a:pt x="145" y="169"/>
                  </a:lnTo>
                  <a:lnTo>
                    <a:pt x="145" y="169"/>
                  </a:lnTo>
                  <a:lnTo>
                    <a:pt x="143" y="171"/>
                  </a:lnTo>
                  <a:lnTo>
                    <a:pt x="143" y="173"/>
                  </a:lnTo>
                  <a:lnTo>
                    <a:pt x="142" y="173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5"/>
                  </a:lnTo>
                  <a:lnTo>
                    <a:pt x="140" y="177"/>
                  </a:lnTo>
                  <a:lnTo>
                    <a:pt x="140" y="179"/>
                  </a:lnTo>
                  <a:lnTo>
                    <a:pt x="137" y="182"/>
                  </a:lnTo>
                  <a:lnTo>
                    <a:pt x="136" y="182"/>
                  </a:lnTo>
                  <a:lnTo>
                    <a:pt x="134" y="182"/>
                  </a:lnTo>
                  <a:lnTo>
                    <a:pt x="131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4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6"/>
                  </a:lnTo>
                  <a:lnTo>
                    <a:pt x="131" y="188"/>
                  </a:lnTo>
                  <a:lnTo>
                    <a:pt x="132" y="188"/>
                  </a:lnTo>
                  <a:lnTo>
                    <a:pt x="134" y="190"/>
                  </a:lnTo>
                  <a:lnTo>
                    <a:pt x="134" y="192"/>
                  </a:lnTo>
                  <a:lnTo>
                    <a:pt x="134" y="192"/>
                  </a:lnTo>
                  <a:lnTo>
                    <a:pt x="134" y="194"/>
                  </a:lnTo>
                  <a:lnTo>
                    <a:pt x="136" y="194"/>
                  </a:lnTo>
                  <a:lnTo>
                    <a:pt x="136" y="195"/>
                  </a:lnTo>
                  <a:lnTo>
                    <a:pt x="136" y="195"/>
                  </a:lnTo>
                  <a:lnTo>
                    <a:pt x="134" y="195"/>
                  </a:lnTo>
                  <a:lnTo>
                    <a:pt x="134" y="197"/>
                  </a:lnTo>
                  <a:lnTo>
                    <a:pt x="134" y="198"/>
                  </a:lnTo>
                  <a:lnTo>
                    <a:pt x="134" y="199"/>
                  </a:lnTo>
                  <a:lnTo>
                    <a:pt x="134" y="199"/>
                  </a:lnTo>
                  <a:lnTo>
                    <a:pt x="134" y="199"/>
                  </a:lnTo>
                  <a:lnTo>
                    <a:pt x="134" y="200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6" y="204"/>
                  </a:lnTo>
                  <a:lnTo>
                    <a:pt x="136" y="206"/>
                  </a:lnTo>
                  <a:lnTo>
                    <a:pt x="136" y="207"/>
                  </a:lnTo>
                  <a:lnTo>
                    <a:pt x="136" y="208"/>
                  </a:lnTo>
                  <a:lnTo>
                    <a:pt x="136" y="209"/>
                  </a:lnTo>
                  <a:lnTo>
                    <a:pt x="134" y="211"/>
                  </a:lnTo>
                  <a:lnTo>
                    <a:pt x="134" y="212"/>
                  </a:lnTo>
                  <a:lnTo>
                    <a:pt x="134" y="213"/>
                  </a:lnTo>
                  <a:lnTo>
                    <a:pt x="134" y="214"/>
                  </a:lnTo>
                  <a:lnTo>
                    <a:pt x="136" y="215"/>
                  </a:lnTo>
                  <a:lnTo>
                    <a:pt x="136" y="215"/>
                  </a:lnTo>
                  <a:lnTo>
                    <a:pt x="136" y="216"/>
                  </a:lnTo>
                  <a:lnTo>
                    <a:pt x="136" y="217"/>
                  </a:lnTo>
                  <a:lnTo>
                    <a:pt x="134" y="219"/>
                  </a:lnTo>
                  <a:lnTo>
                    <a:pt x="134" y="221"/>
                  </a:lnTo>
                  <a:lnTo>
                    <a:pt x="134" y="223"/>
                  </a:lnTo>
                  <a:lnTo>
                    <a:pt x="136" y="225"/>
                  </a:lnTo>
                  <a:lnTo>
                    <a:pt x="137" y="227"/>
                  </a:lnTo>
                  <a:lnTo>
                    <a:pt x="136" y="228"/>
                  </a:lnTo>
                  <a:lnTo>
                    <a:pt x="136" y="228"/>
                  </a:lnTo>
                  <a:lnTo>
                    <a:pt x="134" y="230"/>
                  </a:lnTo>
                  <a:lnTo>
                    <a:pt x="134" y="230"/>
                  </a:lnTo>
                  <a:lnTo>
                    <a:pt x="132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3"/>
                  </a:lnTo>
                  <a:lnTo>
                    <a:pt x="131" y="233"/>
                  </a:lnTo>
                  <a:lnTo>
                    <a:pt x="130" y="233"/>
                  </a:lnTo>
                  <a:lnTo>
                    <a:pt x="129" y="233"/>
                  </a:lnTo>
                  <a:lnTo>
                    <a:pt x="129" y="233"/>
                  </a:lnTo>
                  <a:lnTo>
                    <a:pt x="128" y="233"/>
                  </a:lnTo>
                  <a:lnTo>
                    <a:pt x="126" y="234"/>
                  </a:lnTo>
                  <a:lnTo>
                    <a:pt x="125" y="235"/>
                  </a:lnTo>
                  <a:lnTo>
                    <a:pt x="125" y="235"/>
                  </a:lnTo>
                  <a:lnTo>
                    <a:pt x="125" y="237"/>
                  </a:lnTo>
                  <a:lnTo>
                    <a:pt x="123" y="238"/>
                  </a:lnTo>
                  <a:lnTo>
                    <a:pt x="125" y="238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6" y="242"/>
                  </a:lnTo>
                  <a:lnTo>
                    <a:pt x="127" y="242"/>
                  </a:lnTo>
                  <a:lnTo>
                    <a:pt x="128" y="242"/>
                  </a:lnTo>
                  <a:lnTo>
                    <a:pt x="128" y="242"/>
                  </a:lnTo>
                  <a:lnTo>
                    <a:pt x="129" y="244"/>
                  </a:lnTo>
                  <a:lnTo>
                    <a:pt x="130" y="246"/>
                  </a:lnTo>
                  <a:lnTo>
                    <a:pt x="132" y="248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5"/>
                  </a:lnTo>
                  <a:lnTo>
                    <a:pt x="130" y="256"/>
                  </a:lnTo>
                  <a:lnTo>
                    <a:pt x="130" y="257"/>
                  </a:lnTo>
                  <a:lnTo>
                    <a:pt x="130" y="259"/>
                  </a:lnTo>
                  <a:lnTo>
                    <a:pt x="129" y="260"/>
                  </a:lnTo>
                  <a:lnTo>
                    <a:pt x="128" y="261"/>
                  </a:lnTo>
                  <a:lnTo>
                    <a:pt x="127" y="261"/>
                  </a:lnTo>
                  <a:lnTo>
                    <a:pt x="127" y="261"/>
                  </a:lnTo>
                  <a:lnTo>
                    <a:pt x="126" y="261"/>
                  </a:lnTo>
                  <a:lnTo>
                    <a:pt x="126" y="263"/>
                  </a:lnTo>
                  <a:lnTo>
                    <a:pt x="127" y="263"/>
                  </a:lnTo>
                  <a:lnTo>
                    <a:pt x="127" y="263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5" y="269"/>
                  </a:lnTo>
                  <a:lnTo>
                    <a:pt x="125" y="269"/>
                  </a:lnTo>
                  <a:lnTo>
                    <a:pt x="115" y="270"/>
                  </a:lnTo>
                  <a:lnTo>
                    <a:pt x="114" y="270"/>
                  </a:lnTo>
                  <a:lnTo>
                    <a:pt x="113" y="270"/>
                  </a:lnTo>
                  <a:lnTo>
                    <a:pt x="113" y="270"/>
                  </a:lnTo>
                  <a:lnTo>
                    <a:pt x="110" y="270"/>
                  </a:lnTo>
                  <a:lnTo>
                    <a:pt x="109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8" y="275"/>
                  </a:lnTo>
                  <a:lnTo>
                    <a:pt x="98" y="276"/>
                  </a:lnTo>
                  <a:lnTo>
                    <a:pt x="101" y="278"/>
                  </a:lnTo>
                  <a:lnTo>
                    <a:pt x="101" y="279"/>
                  </a:lnTo>
                  <a:lnTo>
                    <a:pt x="103" y="280"/>
                  </a:lnTo>
                  <a:lnTo>
                    <a:pt x="103" y="280"/>
                  </a:lnTo>
                  <a:lnTo>
                    <a:pt x="104" y="282"/>
                  </a:lnTo>
                  <a:lnTo>
                    <a:pt x="105" y="282"/>
                  </a:lnTo>
                  <a:lnTo>
                    <a:pt x="107" y="283"/>
                  </a:lnTo>
                  <a:lnTo>
                    <a:pt x="109" y="283"/>
                  </a:lnTo>
                  <a:lnTo>
                    <a:pt x="109" y="284"/>
                  </a:lnTo>
                  <a:lnTo>
                    <a:pt x="109" y="285"/>
                  </a:lnTo>
                  <a:lnTo>
                    <a:pt x="109" y="287"/>
                  </a:lnTo>
                  <a:lnTo>
                    <a:pt x="107" y="288"/>
                  </a:lnTo>
                  <a:lnTo>
                    <a:pt x="107" y="288"/>
                  </a:lnTo>
                  <a:lnTo>
                    <a:pt x="107" y="290"/>
                  </a:lnTo>
                  <a:lnTo>
                    <a:pt x="107" y="291"/>
                  </a:lnTo>
                  <a:lnTo>
                    <a:pt x="109" y="292"/>
                  </a:lnTo>
                  <a:lnTo>
                    <a:pt x="110" y="293"/>
                  </a:lnTo>
                  <a:lnTo>
                    <a:pt x="113" y="296"/>
                  </a:lnTo>
                  <a:lnTo>
                    <a:pt x="111" y="297"/>
                  </a:lnTo>
                  <a:lnTo>
                    <a:pt x="111" y="298"/>
                  </a:lnTo>
                  <a:lnTo>
                    <a:pt x="113" y="299"/>
                  </a:lnTo>
                  <a:lnTo>
                    <a:pt x="113" y="300"/>
                  </a:lnTo>
                  <a:lnTo>
                    <a:pt x="114" y="301"/>
                  </a:lnTo>
                  <a:lnTo>
                    <a:pt x="115" y="301"/>
                  </a:lnTo>
                  <a:lnTo>
                    <a:pt x="117" y="302"/>
                  </a:lnTo>
                  <a:lnTo>
                    <a:pt x="117" y="303"/>
                  </a:lnTo>
                  <a:lnTo>
                    <a:pt x="117" y="304"/>
                  </a:lnTo>
                  <a:lnTo>
                    <a:pt x="117" y="305"/>
                  </a:lnTo>
                  <a:lnTo>
                    <a:pt x="117" y="305"/>
                  </a:lnTo>
                  <a:lnTo>
                    <a:pt x="117" y="306"/>
                  </a:lnTo>
                  <a:lnTo>
                    <a:pt x="117" y="306"/>
                  </a:lnTo>
                  <a:lnTo>
                    <a:pt x="119" y="306"/>
                  </a:lnTo>
                  <a:lnTo>
                    <a:pt x="120" y="306"/>
                  </a:lnTo>
                  <a:lnTo>
                    <a:pt x="121" y="305"/>
                  </a:lnTo>
                  <a:lnTo>
                    <a:pt x="122" y="305"/>
                  </a:lnTo>
                  <a:lnTo>
                    <a:pt x="123" y="306"/>
                  </a:lnTo>
                  <a:lnTo>
                    <a:pt x="125" y="306"/>
                  </a:lnTo>
                  <a:lnTo>
                    <a:pt x="126" y="307"/>
                  </a:lnTo>
                  <a:lnTo>
                    <a:pt x="127" y="308"/>
                  </a:lnTo>
                  <a:lnTo>
                    <a:pt x="127" y="309"/>
                  </a:lnTo>
                  <a:lnTo>
                    <a:pt x="127" y="310"/>
                  </a:lnTo>
                  <a:lnTo>
                    <a:pt x="127" y="311"/>
                  </a:lnTo>
                  <a:lnTo>
                    <a:pt x="128" y="311"/>
                  </a:lnTo>
                  <a:lnTo>
                    <a:pt x="127" y="312"/>
                  </a:lnTo>
                  <a:lnTo>
                    <a:pt x="127" y="313"/>
                  </a:lnTo>
                  <a:lnTo>
                    <a:pt x="125" y="316"/>
                  </a:lnTo>
                  <a:lnTo>
                    <a:pt x="123" y="317"/>
                  </a:lnTo>
                  <a:lnTo>
                    <a:pt x="122" y="318"/>
                  </a:lnTo>
                  <a:lnTo>
                    <a:pt x="123" y="319"/>
                  </a:lnTo>
                  <a:lnTo>
                    <a:pt x="122" y="320"/>
                  </a:lnTo>
                  <a:lnTo>
                    <a:pt x="123" y="321"/>
                  </a:lnTo>
                  <a:lnTo>
                    <a:pt x="122" y="323"/>
                  </a:lnTo>
                  <a:lnTo>
                    <a:pt x="122" y="323"/>
                  </a:lnTo>
                  <a:lnTo>
                    <a:pt x="121" y="323"/>
                  </a:lnTo>
                  <a:lnTo>
                    <a:pt x="120" y="323"/>
                  </a:lnTo>
                  <a:lnTo>
                    <a:pt x="117" y="324"/>
                  </a:lnTo>
                  <a:lnTo>
                    <a:pt x="117" y="324"/>
                  </a:lnTo>
                  <a:lnTo>
                    <a:pt x="117" y="325"/>
                  </a:lnTo>
                  <a:lnTo>
                    <a:pt x="117" y="325"/>
                  </a:lnTo>
                  <a:lnTo>
                    <a:pt x="115" y="327"/>
                  </a:lnTo>
                  <a:lnTo>
                    <a:pt x="114" y="327"/>
                  </a:lnTo>
                  <a:lnTo>
                    <a:pt x="113" y="327"/>
                  </a:lnTo>
                  <a:lnTo>
                    <a:pt x="111" y="329"/>
                  </a:lnTo>
                  <a:lnTo>
                    <a:pt x="111" y="329"/>
                  </a:lnTo>
                  <a:lnTo>
                    <a:pt x="111" y="330"/>
                  </a:lnTo>
                  <a:lnTo>
                    <a:pt x="111" y="330"/>
                  </a:lnTo>
                  <a:lnTo>
                    <a:pt x="110" y="332"/>
                  </a:lnTo>
                  <a:lnTo>
                    <a:pt x="110" y="335"/>
                  </a:lnTo>
                  <a:lnTo>
                    <a:pt x="110" y="335"/>
                  </a:lnTo>
                  <a:lnTo>
                    <a:pt x="110" y="336"/>
                  </a:lnTo>
                  <a:lnTo>
                    <a:pt x="110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8"/>
                  </a:lnTo>
                  <a:lnTo>
                    <a:pt x="109" y="340"/>
                  </a:lnTo>
                  <a:lnTo>
                    <a:pt x="107" y="344"/>
                  </a:lnTo>
                  <a:lnTo>
                    <a:pt x="107" y="344"/>
                  </a:lnTo>
                  <a:lnTo>
                    <a:pt x="107" y="344"/>
                  </a:lnTo>
                  <a:lnTo>
                    <a:pt x="107" y="345"/>
                  </a:lnTo>
                  <a:lnTo>
                    <a:pt x="107" y="347"/>
                  </a:lnTo>
                  <a:lnTo>
                    <a:pt x="107" y="348"/>
                  </a:lnTo>
                  <a:lnTo>
                    <a:pt x="107" y="348"/>
                  </a:lnTo>
                  <a:lnTo>
                    <a:pt x="109" y="349"/>
                  </a:lnTo>
                  <a:lnTo>
                    <a:pt x="114" y="355"/>
                  </a:lnTo>
                  <a:lnTo>
                    <a:pt x="114" y="356"/>
                  </a:lnTo>
                  <a:lnTo>
                    <a:pt x="115" y="357"/>
                  </a:lnTo>
                  <a:lnTo>
                    <a:pt x="115" y="357"/>
                  </a:lnTo>
                  <a:lnTo>
                    <a:pt x="115" y="357"/>
                  </a:lnTo>
                  <a:lnTo>
                    <a:pt x="117" y="357"/>
                  </a:lnTo>
                  <a:lnTo>
                    <a:pt x="117" y="357"/>
                  </a:lnTo>
                  <a:lnTo>
                    <a:pt x="119" y="363"/>
                  </a:lnTo>
                  <a:lnTo>
                    <a:pt x="120" y="364"/>
                  </a:lnTo>
                  <a:lnTo>
                    <a:pt x="120" y="364"/>
                  </a:lnTo>
                  <a:lnTo>
                    <a:pt x="121" y="364"/>
                  </a:lnTo>
                  <a:lnTo>
                    <a:pt x="122" y="364"/>
                  </a:lnTo>
                  <a:lnTo>
                    <a:pt x="123" y="363"/>
                  </a:lnTo>
                  <a:lnTo>
                    <a:pt x="125" y="363"/>
                  </a:lnTo>
                  <a:lnTo>
                    <a:pt x="125" y="363"/>
                  </a:lnTo>
                  <a:lnTo>
                    <a:pt x="125" y="363"/>
                  </a:lnTo>
                  <a:lnTo>
                    <a:pt x="127" y="362"/>
                  </a:lnTo>
                  <a:lnTo>
                    <a:pt x="128" y="362"/>
                  </a:lnTo>
                  <a:lnTo>
                    <a:pt x="129" y="363"/>
                  </a:lnTo>
                  <a:lnTo>
                    <a:pt x="129" y="363"/>
                  </a:lnTo>
                  <a:lnTo>
                    <a:pt x="128" y="365"/>
                  </a:lnTo>
                  <a:lnTo>
                    <a:pt x="128" y="365"/>
                  </a:lnTo>
                  <a:lnTo>
                    <a:pt x="127" y="368"/>
                  </a:lnTo>
                  <a:lnTo>
                    <a:pt x="126" y="369"/>
                  </a:lnTo>
                  <a:lnTo>
                    <a:pt x="126" y="371"/>
                  </a:lnTo>
                  <a:lnTo>
                    <a:pt x="125" y="372"/>
                  </a:lnTo>
                  <a:lnTo>
                    <a:pt x="125" y="373"/>
                  </a:lnTo>
                  <a:lnTo>
                    <a:pt x="123" y="374"/>
                  </a:lnTo>
                  <a:lnTo>
                    <a:pt x="120" y="373"/>
                  </a:lnTo>
                  <a:lnTo>
                    <a:pt x="119" y="372"/>
                  </a:lnTo>
                  <a:lnTo>
                    <a:pt x="119" y="373"/>
                  </a:lnTo>
                  <a:lnTo>
                    <a:pt x="117" y="374"/>
                  </a:lnTo>
                  <a:lnTo>
                    <a:pt x="117" y="375"/>
                  </a:lnTo>
                  <a:lnTo>
                    <a:pt x="117" y="375"/>
                  </a:lnTo>
                  <a:lnTo>
                    <a:pt x="117" y="375"/>
                  </a:lnTo>
                  <a:lnTo>
                    <a:pt x="115" y="376"/>
                  </a:lnTo>
                  <a:lnTo>
                    <a:pt x="115" y="375"/>
                  </a:lnTo>
                  <a:lnTo>
                    <a:pt x="114" y="375"/>
                  </a:lnTo>
                  <a:lnTo>
                    <a:pt x="113" y="375"/>
                  </a:lnTo>
                  <a:lnTo>
                    <a:pt x="113" y="376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8"/>
                  </a:lnTo>
                  <a:lnTo>
                    <a:pt x="111" y="379"/>
                  </a:lnTo>
                  <a:lnTo>
                    <a:pt x="110" y="382"/>
                  </a:lnTo>
                  <a:lnTo>
                    <a:pt x="109" y="384"/>
                  </a:lnTo>
                  <a:lnTo>
                    <a:pt x="107" y="386"/>
                  </a:lnTo>
                  <a:lnTo>
                    <a:pt x="103" y="390"/>
                  </a:lnTo>
                  <a:lnTo>
                    <a:pt x="102" y="391"/>
                  </a:lnTo>
                  <a:lnTo>
                    <a:pt x="101" y="393"/>
                  </a:lnTo>
                  <a:lnTo>
                    <a:pt x="101" y="396"/>
                  </a:lnTo>
                  <a:lnTo>
                    <a:pt x="100" y="398"/>
                  </a:lnTo>
                  <a:lnTo>
                    <a:pt x="100" y="398"/>
                  </a:lnTo>
                  <a:lnTo>
                    <a:pt x="98" y="399"/>
                  </a:lnTo>
                  <a:lnTo>
                    <a:pt x="98" y="399"/>
                  </a:lnTo>
                  <a:lnTo>
                    <a:pt x="98" y="400"/>
                  </a:lnTo>
                  <a:lnTo>
                    <a:pt x="98" y="400"/>
                  </a:lnTo>
                  <a:lnTo>
                    <a:pt x="98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2"/>
                  </a:lnTo>
                  <a:lnTo>
                    <a:pt x="98" y="402"/>
                  </a:lnTo>
                  <a:lnTo>
                    <a:pt x="98" y="402"/>
                  </a:lnTo>
                  <a:lnTo>
                    <a:pt x="98" y="402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8" y="405"/>
                  </a:lnTo>
                  <a:lnTo>
                    <a:pt x="100" y="405"/>
                  </a:lnTo>
                  <a:lnTo>
                    <a:pt x="100" y="406"/>
                  </a:lnTo>
                  <a:lnTo>
                    <a:pt x="101" y="407"/>
                  </a:lnTo>
                  <a:lnTo>
                    <a:pt x="101" y="408"/>
                  </a:lnTo>
                  <a:lnTo>
                    <a:pt x="101" y="411"/>
                  </a:lnTo>
                  <a:lnTo>
                    <a:pt x="101" y="411"/>
                  </a:lnTo>
                  <a:lnTo>
                    <a:pt x="102" y="413"/>
                  </a:lnTo>
                  <a:lnTo>
                    <a:pt x="102" y="417"/>
                  </a:lnTo>
                  <a:lnTo>
                    <a:pt x="103" y="419"/>
                  </a:lnTo>
                  <a:lnTo>
                    <a:pt x="102" y="420"/>
                  </a:lnTo>
                  <a:lnTo>
                    <a:pt x="102" y="421"/>
                  </a:lnTo>
                  <a:lnTo>
                    <a:pt x="103" y="425"/>
                  </a:lnTo>
                  <a:lnTo>
                    <a:pt x="104" y="425"/>
                  </a:lnTo>
                  <a:lnTo>
                    <a:pt x="105" y="426"/>
                  </a:lnTo>
                  <a:lnTo>
                    <a:pt x="107" y="426"/>
                  </a:lnTo>
                  <a:lnTo>
                    <a:pt x="107" y="425"/>
                  </a:lnTo>
                  <a:lnTo>
                    <a:pt x="107" y="424"/>
                  </a:lnTo>
                  <a:lnTo>
                    <a:pt x="121" y="424"/>
                  </a:lnTo>
                  <a:lnTo>
                    <a:pt x="120" y="424"/>
                  </a:lnTo>
                  <a:lnTo>
                    <a:pt x="119" y="424"/>
                  </a:lnTo>
                  <a:lnTo>
                    <a:pt x="120" y="423"/>
                  </a:lnTo>
                  <a:lnTo>
                    <a:pt x="122" y="424"/>
                  </a:lnTo>
                  <a:lnTo>
                    <a:pt x="125" y="424"/>
                  </a:lnTo>
                  <a:lnTo>
                    <a:pt x="129" y="426"/>
                  </a:lnTo>
                  <a:lnTo>
                    <a:pt x="130" y="426"/>
                  </a:lnTo>
                  <a:lnTo>
                    <a:pt x="130" y="425"/>
                  </a:lnTo>
                  <a:lnTo>
                    <a:pt x="129" y="424"/>
                  </a:lnTo>
                  <a:lnTo>
                    <a:pt x="128" y="423"/>
                  </a:lnTo>
                  <a:lnTo>
                    <a:pt x="128" y="421"/>
                  </a:lnTo>
                  <a:lnTo>
                    <a:pt x="130" y="421"/>
                  </a:lnTo>
                  <a:lnTo>
                    <a:pt x="131" y="420"/>
                  </a:lnTo>
                  <a:lnTo>
                    <a:pt x="134" y="419"/>
                  </a:lnTo>
                  <a:lnTo>
                    <a:pt x="134" y="419"/>
                  </a:lnTo>
                  <a:lnTo>
                    <a:pt x="131" y="421"/>
                  </a:lnTo>
                  <a:lnTo>
                    <a:pt x="131" y="423"/>
                  </a:lnTo>
                  <a:lnTo>
                    <a:pt x="130" y="424"/>
                  </a:lnTo>
                  <a:lnTo>
                    <a:pt x="131" y="425"/>
                  </a:lnTo>
                  <a:lnTo>
                    <a:pt x="131" y="426"/>
                  </a:lnTo>
                  <a:lnTo>
                    <a:pt x="132" y="426"/>
                  </a:lnTo>
                  <a:lnTo>
                    <a:pt x="134" y="426"/>
                  </a:lnTo>
                  <a:lnTo>
                    <a:pt x="136" y="428"/>
                  </a:lnTo>
                  <a:lnTo>
                    <a:pt x="137" y="428"/>
                  </a:lnTo>
                  <a:lnTo>
                    <a:pt x="138" y="430"/>
                  </a:lnTo>
                  <a:lnTo>
                    <a:pt x="140" y="430"/>
                  </a:lnTo>
                  <a:lnTo>
                    <a:pt x="153" y="439"/>
                  </a:lnTo>
                  <a:lnTo>
                    <a:pt x="155" y="440"/>
                  </a:lnTo>
                  <a:lnTo>
                    <a:pt x="156" y="442"/>
                  </a:lnTo>
                  <a:lnTo>
                    <a:pt x="157" y="446"/>
                  </a:lnTo>
                  <a:lnTo>
                    <a:pt x="159" y="448"/>
                  </a:lnTo>
                  <a:lnTo>
                    <a:pt x="161" y="448"/>
                  </a:lnTo>
                  <a:lnTo>
                    <a:pt x="161" y="447"/>
                  </a:lnTo>
                  <a:lnTo>
                    <a:pt x="161" y="444"/>
                  </a:lnTo>
                  <a:lnTo>
                    <a:pt x="161" y="442"/>
                  </a:lnTo>
                  <a:lnTo>
                    <a:pt x="163" y="442"/>
                  </a:lnTo>
                  <a:lnTo>
                    <a:pt x="165" y="441"/>
                  </a:lnTo>
                  <a:lnTo>
                    <a:pt x="167" y="442"/>
                  </a:lnTo>
                  <a:lnTo>
                    <a:pt x="167" y="442"/>
                  </a:lnTo>
                  <a:lnTo>
                    <a:pt x="169" y="441"/>
                  </a:lnTo>
                  <a:lnTo>
                    <a:pt x="170" y="441"/>
                  </a:lnTo>
                  <a:lnTo>
                    <a:pt x="169" y="442"/>
                  </a:lnTo>
                  <a:lnTo>
                    <a:pt x="164" y="442"/>
                  </a:lnTo>
                  <a:lnTo>
                    <a:pt x="161" y="444"/>
                  </a:lnTo>
                  <a:lnTo>
                    <a:pt x="161" y="445"/>
                  </a:lnTo>
                  <a:lnTo>
                    <a:pt x="161" y="447"/>
                  </a:lnTo>
                  <a:lnTo>
                    <a:pt x="161" y="449"/>
                  </a:lnTo>
                  <a:lnTo>
                    <a:pt x="161" y="449"/>
                  </a:lnTo>
                  <a:lnTo>
                    <a:pt x="159" y="450"/>
                  </a:lnTo>
                  <a:lnTo>
                    <a:pt x="159" y="451"/>
                  </a:lnTo>
                  <a:lnTo>
                    <a:pt x="157" y="452"/>
                  </a:lnTo>
                  <a:lnTo>
                    <a:pt x="156" y="453"/>
                  </a:lnTo>
                  <a:lnTo>
                    <a:pt x="157" y="454"/>
                  </a:lnTo>
                  <a:lnTo>
                    <a:pt x="157" y="455"/>
                  </a:lnTo>
                  <a:lnTo>
                    <a:pt x="159" y="456"/>
                  </a:lnTo>
                  <a:lnTo>
                    <a:pt x="159" y="458"/>
                  </a:lnTo>
                  <a:lnTo>
                    <a:pt x="159" y="459"/>
                  </a:lnTo>
                  <a:lnTo>
                    <a:pt x="161" y="459"/>
                  </a:lnTo>
                  <a:lnTo>
                    <a:pt x="164" y="460"/>
                  </a:lnTo>
                  <a:lnTo>
                    <a:pt x="165" y="460"/>
                  </a:lnTo>
                  <a:lnTo>
                    <a:pt x="167" y="462"/>
                  </a:lnTo>
                  <a:lnTo>
                    <a:pt x="169" y="463"/>
                  </a:lnTo>
                  <a:lnTo>
                    <a:pt x="167" y="465"/>
                  </a:lnTo>
                  <a:lnTo>
                    <a:pt x="169" y="466"/>
                  </a:lnTo>
                  <a:lnTo>
                    <a:pt x="170" y="466"/>
                  </a:lnTo>
                  <a:lnTo>
                    <a:pt x="171" y="466"/>
                  </a:lnTo>
                  <a:lnTo>
                    <a:pt x="171" y="466"/>
                  </a:lnTo>
                  <a:lnTo>
                    <a:pt x="170" y="467"/>
                  </a:lnTo>
                  <a:lnTo>
                    <a:pt x="169" y="468"/>
                  </a:lnTo>
                  <a:lnTo>
                    <a:pt x="169" y="468"/>
                  </a:lnTo>
                  <a:lnTo>
                    <a:pt x="167" y="468"/>
                  </a:lnTo>
                  <a:lnTo>
                    <a:pt x="167" y="467"/>
                  </a:lnTo>
                  <a:lnTo>
                    <a:pt x="167" y="467"/>
                  </a:lnTo>
                  <a:lnTo>
                    <a:pt x="167" y="466"/>
                  </a:lnTo>
                  <a:lnTo>
                    <a:pt x="167" y="466"/>
                  </a:lnTo>
                  <a:lnTo>
                    <a:pt x="165" y="464"/>
                  </a:lnTo>
                  <a:lnTo>
                    <a:pt x="164" y="464"/>
                  </a:lnTo>
                  <a:lnTo>
                    <a:pt x="164" y="465"/>
                  </a:lnTo>
                  <a:lnTo>
                    <a:pt x="164" y="465"/>
                  </a:lnTo>
                  <a:lnTo>
                    <a:pt x="165" y="466"/>
                  </a:lnTo>
                  <a:lnTo>
                    <a:pt x="167" y="468"/>
                  </a:lnTo>
                  <a:lnTo>
                    <a:pt x="167" y="470"/>
                  </a:lnTo>
                  <a:lnTo>
                    <a:pt x="169" y="472"/>
                  </a:lnTo>
                  <a:lnTo>
                    <a:pt x="171" y="474"/>
                  </a:lnTo>
                  <a:lnTo>
                    <a:pt x="171" y="475"/>
                  </a:lnTo>
                  <a:lnTo>
                    <a:pt x="171" y="477"/>
                  </a:lnTo>
                  <a:lnTo>
                    <a:pt x="172" y="477"/>
                  </a:lnTo>
                  <a:lnTo>
                    <a:pt x="172" y="479"/>
                  </a:lnTo>
                  <a:lnTo>
                    <a:pt x="176" y="480"/>
                  </a:lnTo>
                  <a:lnTo>
                    <a:pt x="176" y="481"/>
                  </a:lnTo>
                  <a:lnTo>
                    <a:pt x="178" y="483"/>
                  </a:lnTo>
                  <a:lnTo>
                    <a:pt x="178" y="485"/>
                  </a:lnTo>
                  <a:lnTo>
                    <a:pt x="181" y="486"/>
                  </a:lnTo>
                  <a:lnTo>
                    <a:pt x="184" y="485"/>
                  </a:lnTo>
                  <a:lnTo>
                    <a:pt x="186" y="485"/>
                  </a:lnTo>
                  <a:lnTo>
                    <a:pt x="186" y="486"/>
                  </a:lnTo>
                  <a:lnTo>
                    <a:pt x="190" y="490"/>
                  </a:lnTo>
                  <a:lnTo>
                    <a:pt x="191" y="492"/>
                  </a:lnTo>
                  <a:lnTo>
                    <a:pt x="191" y="492"/>
                  </a:lnTo>
                  <a:lnTo>
                    <a:pt x="194" y="492"/>
                  </a:lnTo>
                  <a:lnTo>
                    <a:pt x="194" y="494"/>
                  </a:lnTo>
                  <a:lnTo>
                    <a:pt x="196" y="494"/>
                  </a:lnTo>
                  <a:lnTo>
                    <a:pt x="198" y="492"/>
                  </a:lnTo>
                  <a:lnTo>
                    <a:pt x="198" y="494"/>
                  </a:lnTo>
                  <a:lnTo>
                    <a:pt x="200" y="494"/>
                  </a:lnTo>
                  <a:lnTo>
                    <a:pt x="201" y="496"/>
                  </a:lnTo>
                  <a:lnTo>
                    <a:pt x="203" y="496"/>
                  </a:lnTo>
                  <a:lnTo>
                    <a:pt x="205" y="495"/>
                  </a:lnTo>
                  <a:lnTo>
                    <a:pt x="209" y="494"/>
                  </a:lnTo>
                  <a:lnTo>
                    <a:pt x="210" y="494"/>
                  </a:lnTo>
                  <a:lnTo>
                    <a:pt x="211" y="494"/>
                  </a:lnTo>
                  <a:lnTo>
                    <a:pt x="211" y="492"/>
                  </a:lnTo>
                  <a:lnTo>
                    <a:pt x="211" y="492"/>
                  </a:lnTo>
                  <a:lnTo>
                    <a:pt x="211" y="492"/>
                  </a:lnTo>
                  <a:lnTo>
                    <a:pt x="211" y="492"/>
                  </a:lnTo>
                  <a:lnTo>
                    <a:pt x="211" y="490"/>
                  </a:lnTo>
                  <a:lnTo>
                    <a:pt x="211" y="490"/>
                  </a:lnTo>
                  <a:lnTo>
                    <a:pt x="211" y="488"/>
                  </a:lnTo>
                  <a:lnTo>
                    <a:pt x="211" y="488"/>
                  </a:lnTo>
                  <a:lnTo>
                    <a:pt x="211" y="488"/>
                  </a:lnTo>
                  <a:lnTo>
                    <a:pt x="211" y="486"/>
                  </a:lnTo>
                  <a:lnTo>
                    <a:pt x="211" y="486"/>
                  </a:lnTo>
                  <a:lnTo>
                    <a:pt x="213" y="486"/>
                  </a:lnTo>
                  <a:lnTo>
                    <a:pt x="213" y="486"/>
                  </a:lnTo>
                  <a:lnTo>
                    <a:pt x="215" y="488"/>
                  </a:lnTo>
                  <a:lnTo>
                    <a:pt x="216" y="488"/>
                  </a:lnTo>
                  <a:lnTo>
                    <a:pt x="217" y="488"/>
                  </a:lnTo>
                  <a:lnTo>
                    <a:pt x="217" y="485"/>
                  </a:lnTo>
                  <a:lnTo>
                    <a:pt x="217" y="485"/>
                  </a:lnTo>
                  <a:lnTo>
                    <a:pt x="219" y="482"/>
                  </a:lnTo>
                  <a:lnTo>
                    <a:pt x="219" y="481"/>
                  </a:lnTo>
                  <a:lnTo>
                    <a:pt x="219" y="480"/>
                  </a:lnTo>
                  <a:lnTo>
                    <a:pt x="219" y="480"/>
                  </a:lnTo>
                  <a:lnTo>
                    <a:pt x="220" y="480"/>
                  </a:lnTo>
                  <a:lnTo>
                    <a:pt x="220" y="479"/>
                  </a:lnTo>
                  <a:lnTo>
                    <a:pt x="220" y="479"/>
                  </a:lnTo>
                  <a:lnTo>
                    <a:pt x="222" y="479"/>
                  </a:lnTo>
                  <a:lnTo>
                    <a:pt x="222" y="479"/>
                  </a:lnTo>
                  <a:lnTo>
                    <a:pt x="223" y="477"/>
                  </a:lnTo>
                  <a:lnTo>
                    <a:pt x="223" y="475"/>
                  </a:lnTo>
                  <a:lnTo>
                    <a:pt x="224" y="473"/>
                  </a:lnTo>
                  <a:lnTo>
                    <a:pt x="225" y="472"/>
                  </a:lnTo>
                  <a:lnTo>
                    <a:pt x="226" y="472"/>
                  </a:lnTo>
                  <a:lnTo>
                    <a:pt x="226" y="471"/>
                  </a:lnTo>
                  <a:lnTo>
                    <a:pt x="228" y="471"/>
                  </a:lnTo>
                  <a:lnTo>
                    <a:pt x="230" y="471"/>
                  </a:lnTo>
                  <a:lnTo>
                    <a:pt x="232" y="469"/>
                  </a:lnTo>
                  <a:lnTo>
                    <a:pt x="235" y="469"/>
                  </a:lnTo>
                  <a:lnTo>
                    <a:pt x="240" y="467"/>
                  </a:lnTo>
                  <a:lnTo>
                    <a:pt x="240" y="466"/>
                  </a:lnTo>
                  <a:lnTo>
                    <a:pt x="241" y="466"/>
                  </a:lnTo>
                  <a:lnTo>
                    <a:pt x="242" y="466"/>
                  </a:lnTo>
                  <a:lnTo>
                    <a:pt x="247" y="467"/>
                  </a:lnTo>
                  <a:lnTo>
                    <a:pt x="250" y="467"/>
                  </a:lnTo>
                  <a:lnTo>
                    <a:pt x="252" y="467"/>
                  </a:lnTo>
                  <a:lnTo>
                    <a:pt x="253" y="466"/>
                  </a:lnTo>
                  <a:lnTo>
                    <a:pt x="255" y="466"/>
                  </a:lnTo>
                  <a:lnTo>
                    <a:pt x="257" y="465"/>
                  </a:lnTo>
                  <a:lnTo>
                    <a:pt x="258" y="462"/>
                  </a:lnTo>
                  <a:lnTo>
                    <a:pt x="261" y="462"/>
                  </a:lnTo>
                  <a:lnTo>
                    <a:pt x="262" y="459"/>
                  </a:lnTo>
                  <a:lnTo>
                    <a:pt x="263" y="458"/>
                  </a:lnTo>
                  <a:lnTo>
                    <a:pt x="263" y="458"/>
                  </a:lnTo>
                  <a:lnTo>
                    <a:pt x="265" y="457"/>
                  </a:lnTo>
                  <a:lnTo>
                    <a:pt x="265" y="456"/>
                  </a:lnTo>
                  <a:lnTo>
                    <a:pt x="266" y="454"/>
                  </a:lnTo>
                  <a:lnTo>
                    <a:pt x="267" y="453"/>
                  </a:lnTo>
                  <a:lnTo>
                    <a:pt x="268" y="453"/>
                  </a:lnTo>
                  <a:lnTo>
                    <a:pt x="276" y="454"/>
                  </a:lnTo>
                  <a:lnTo>
                    <a:pt x="279" y="454"/>
                  </a:lnTo>
                  <a:lnTo>
                    <a:pt x="284" y="453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92" y="453"/>
                  </a:lnTo>
                  <a:lnTo>
                    <a:pt x="296" y="452"/>
                  </a:lnTo>
                  <a:lnTo>
                    <a:pt x="299" y="451"/>
                  </a:lnTo>
                  <a:lnTo>
                    <a:pt x="301" y="452"/>
                  </a:lnTo>
                  <a:lnTo>
                    <a:pt x="304" y="453"/>
                  </a:lnTo>
                  <a:lnTo>
                    <a:pt x="307" y="453"/>
                  </a:lnTo>
                  <a:lnTo>
                    <a:pt x="307" y="452"/>
                  </a:lnTo>
                  <a:lnTo>
                    <a:pt x="309" y="452"/>
                  </a:lnTo>
                  <a:lnTo>
                    <a:pt x="312" y="452"/>
                  </a:lnTo>
                  <a:lnTo>
                    <a:pt x="312" y="453"/>
                  </a:lnTo>
                  <a:lnTo>
                    <a:pt x="314" y="454"/>
                  </a:lnTo>
                  <a:lnTo>
                    <a:pt x="315" y="453"/>
                  </a:lnTo>
                  <a:lnTo>
                    <a:pt x="316" y="453"/>
                  </a:lnTo>
                  <a:lnTo>
                    <a:pt x="318" y="455"/>
                  </a:lnTo>
                  <a:lnTo>
                    <a:pt x="322" y="455"/>
                  </a:lnTo>
                  <a:lnTo>
                    <a:pt x="323" y="454"/>
                  </a:lnTo>
                  <a:lnTo>
                    <a:pt x="324" y="453"/>
                  </a:lnTo>
                  <a:lnTo>
                    <a:pt x="326" y="452"/>
                  </a:lnTo>
                  <a:lnTo>
                    <a:pt x="326" y="452"/>
                  </a:lnTo>
                  <a:lnTo>
                    <a:pt x="332" y="451"/>
                  </a:lnTo>
                  <a:lnTo>
                    <a:pt x="336" y="452"/>
                  </a:lnTo>
                  <a:lnTo>
                    <a:pt x="340" y="452"/>
                  </a:lnTo>
                  <a:lnTo>
                    <a:pt x="345" y="452"/>
                  </a:lnTo>
                  <a:lnTo>
                    <a:pt x="348" y="451"/>
                  </a:lnTo>
                  <a:lnTo>
                    <a:pt x="349" y="452"/>
                  </a:lnTo>
                  <a:lnTo>
                    <a:pt x="351" y="453"/>
                  </a:lnTo>
                  <a:lnTo>
                    <a:pt x="351" y="454"/>
                  </a:lnTo>
                  <a:lnTo>
                    <a:pt x="353" y="455"/>
                  </a:lnTo>
                  <a:lnTo>
                    <a:pt x="353" y="454"/>
                  </a:lnTo>
                  <a:lnTo>
                    <a:pt x="354" y="454"/>
                  </a:lnTo>
                  <a:lnTo>
                    <a:pt x="354" y="454"/>
                  </a:lnTo>
                  <a:lnTo>
                    <a:pt x="355" y="454"/>
                  </a:lnTo>
                  <a:lnTo>
                    <a:pt x="356" y="455"/>
                  </a:lnTo>
                  <a:lnTo>
                    <a:pt x="357" y="456"/>
                  </a:lnTo>
                  <a:lnTo>
                    <a:pt x="358" y="455"/>
                  </a:lnTo>
                  <a:lnTo>
                    <a:pt x="359" y="456"/>
                  </a:lnTo>
                  <a:lnTo>
                    <a:pt x="362" y="455"/>
                  </a:lnTo>
                  <a:lnTo>
                    <a:pt x="363" y="455"/>
                  </a:lnTo>
                  <a:lnTo>
                    <a:pt x="364" y="454"/>
                  </a:lnTo>
                  <a:lnTo>
                    <a:pt x="364" y="454"/>
                  </a:lnTo>
                  <a:lnTo>
                    <a:pt x="365" y="453"/>
                  </a:lnTo>
                  <a:lnTo>
                    <a:pt x="366" y="450"/>
                  </a:lnTo>
                  <a:lnTo>
                    <a:pt x="368" y="448"/>
                  </a:lnTo>
                  <a:lnTo>
                    <a:pt x="368" y="447"/>
                  </a:lnTo>
                  <a:lnTo>
                    <a:pt x="372" y="447"/>
                  </a:lnTo>
                  <a:lnTo>
                    <a:pt x="372" y="447"/>
                  </a:lnTo>
                  <a:lnTo>
                    <a:pt x="375" y="447"/>
                  </a:lnTo>
                  <a:lnTo>
                    <a:pt x="375" y="448"/>
                  </a:lnTo>
                  <a:lnTo>
                    <a:pt x="376" y="447"/>
                  </a:lnTo>
                  <a:lnTo>
                    <a:pt x="378" y="447"/>
                  </a:lnTo>
                  <a:lnTo>
                    <a:pt x="378" y="446"/>
                  </a:lnTo>
                  <a:lnTo>
                    <a:pt x="381" y="447"/>
                  </a:lnTo>
                  <a:lnTo>
                    <a:pt x="382" y="447"/>
                  </a:lnTo>
                  <a:lnTo>
                    <a:pt x="383" y="448"/>
                  </a:lnTo>
                  <a:lnTo>
                    <a:pt x="385" y="449"/>
                  </a:lnTo>
                  <a:lnTo>
                    <a:pt x="387" y="451"/>
                  </a:lnTo>
                  <a:lnTo>
                    <a:pt x="387" y="452"/>
                  </a:lnTo>
                  <a:lnTo>
                    <a:pt x="390" y="453"/>
                  </a:lnTo>
                  <a:lnTo>
                    <a:pt x="391" y="453"/>
                  </a:lnTo>
                  <a:lnTo>
                    <a:pt x="392" y="452"/>
                  </a:lnTo>
                  <a:lnTo>
                    <a:pt x="393" y="452"/>
                  </a:lnTo>
                  <a:lnTo>
                    <a:pt x="393" y="451"/>
                  </a:lnTo>
                  <a:lnTo>
                    <a:pt x="395" y="450"/>
                  </a:lnTo>
                  <a:lnTo>
                    <a:pt x="395" y="450"/>
                  </a:lnTo>
                  <a:lnTo>
                    <a:pt x="395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48"/>
                  </a:lnTo>
                  <a:lnTo>
                    <a:pt x="397" y="447"/>
                  </a:lnTo>
                  <a:lnTo>
                    <a:pt x="398" y="447"/>
                  </a:lnTo>
                  <a:lnTo>
                    <a:pt x="398" y="446"/>
                  </a:lnTo>
                  <a:lnTo>
                    <a:pt x="399" y="443"/>
                  </a:lnTo>
                  <a:lnTo>
                    <a:pt x="399" y="443"/>
                  </a:lnTo>
                  <a:lnTo>
                    <a:pt x="401" y="441"/>
                  </a:lnTo>
                  <a:lnTo>
                    <a:pt x="402" y="441"/>
                  </a:lnTo>
                  <a:lnTo>
                    <a:pt x="402" y="441"/>
                  </a:lnTo>
                  <a:lnTo>
                    <a:pt x="404" y="441"/>
                  </a:lnTo>
                  <a:lnTo>
                    <a:pt x="405" y="440"/>
                  </a:lnTo>
                  <a:lnTo>
                    <a:pt x="405" y="440"/>
                  </a:lnTo>
                  <a:lnTo>
                    <a:pt x="405" y="440"/>
                  </a:lnTo>
                  <a:lnTo>
                    <a:pt x="405" y="439"/>
                  </a:lnTo>
                  <a:lnTo>
                    <a:pt x="405" y="439"/>
                  </a:lnTo>
                  <a:lnTo>
                    <a:pt x="404" y="438"/>
                  </a:lnTo>
                  <a:lnTo>
                    <a:pt x="404" y="437"/>
                  </a:lnTo>
                  <a:lnTo>
                    <a:pt x="405" y="436"/>
                  </a:lnTo>
                  <a:lnTo>
                    <a:pt x="407" y="432"/>
                  </a:lnTo>
                  <a:lnTo>
                    <a:pt x="407" y="430"/>
                  </a:lnTo>
                  <a:lnTo>
                    <a:pt x="408" y="428"/>
                  </a:lnTo>
                  <a:lnTo>
                    <a:pt x="408" y="426"/>
                  </a:lnTo>
                  <a:lnTo>
                    <a:pt x="409" y="424"/>
                  </a:lnTo>
                  <a:lnTo>
                    <a:pt x="410" y="421"/>
                  </a:lnTo>
                  <a:lnTo>
                    <a:pt x="414" y="419"/>
                  </a:lnTo>
                  <a:lnTo>
                    <a:pt x="414" y="417"/>
                  </a:lnTo>
                  <a:lnTo>
                    <a:pt x="416" y="415"/>
                  </a:lnTo>
                  <a:lnTo>
                    <a:pt x="416" y="415"/>
                  </a:lnTo>
                  <a:lnTo>
                    <a:pt x="417" y="415"/>
                  </a:lnTo>
                  <a:lnTo>
                    <a:pt x="418" y="415"/>
                  </a:lnTo>
                  <a:lnTo>
                    <a:pt x="418" y="413"/>
                  </a:lnTo>
                  <a:lnTo>
                    <a:pt x="418" y="413"/>
                  </a:lnTo>
                  <a:lnTo>
                    <a:pt x="420" y="413"/>
                  </a:lnTo>
                  <a:lnTo>
                    <a:pt x="422" y="411"/>
                  </a:lnTo>
                  <a:lnTo>
                    <a:pt x="424" y="411"/>
                  </a:lnTo>
                  <a:lnTo>
                    <a:pt x="424" y="411"/>
                  </a:lnTo>
                  <a:lnTo>
                    <a:pt x="425" y="411"/>
                  </a:lnTo>
                  <a:lnTo>
                    <a:pt x="425" y="410"/>
                  </a:lnTo>
                  <a:lnTo>
                    <a:pt x="426" y="410"/>
                  </a:lnTo>
                  <a:lnTo>
                    <a:pt x="426" y="411"/>
                  </a:lnTo>
                  <a:lnTo>
                    <a:pt x="426" y="411"/>
                  </a:lnTo>
                  <a:lnTo>
                    <a:pt x="427" y="410"/>
                  </a:lnTo>
                  <a:lnTo>
                    <a:pt x="427" y="410"/>
                  </a:lnTo>
                  <a:lnTo>
                    <a:pt x="427" y="407"/>
                  </a:lnTo>
                  <a:lnTo>
                    <a:pt x="427" y="407"/>
                  </a:lnTo>
                  <a:lnTo>
                    <a:pt x="428" y="406"/>
                  </a:lnTo>
                  <a:lnTo>
                    <a:pt x="428" y="406"/>
                  </a:lnTo>
                  <a:lnTo>
                    <a:pt x="428" y="406"/>
                  </a:lnTo>
                  <a:lnTo>
                    <a:pt x="429" y="406"/>
                  </a:lnTo>
                  <a:lnTo>
                    <a:pt x="429" y="405"/>
                  </a:lnTo>
                  <a:lnTo>
                    <a:pt x="431" y="405"/>
                  </a:lnTo>
                  <a:lnTo>
                    <a:pt x="433" y="404"/>
                  </a:lnTo>
                  <a:lnTo>
                    <a:pt x="434" y="402"/>
                  </a:lnTo>
                  <a:lnTo>
                    <a:pt x="437" y="402"/>
                  </a:lnTo>
                  <a:lnTo>
                    <a:pt x="437" y="402"/>
                  </a:lnTo>
                  <a:lnTo>
                    <a:pt x="439" y="402"/>
                  </a:lnTo>
                  <a:lnTo>
                    <a:pt x="439" y="402"/>
                  </a:lnTo>
                  <a:lnTo>
                    <a:pt x="441" y="400"/>
                  </a:lnTo>
                  <a:lnTo>
                    <a:pt x="441" y="402"/>
                  </a:lnTo>
                  <a:lnTo>
                    <a:pt x="443" y="402"/>
                  </a:lnTo>
                  <a:lnTo>
                    <a:pt x="444" y="402"/>
                  </a:lnTo>
                  <a:lnTo>
                    <a:pt x="444" y="402"/>
                  </a:lnTo>
                  <a:lnTo>
                    <a:pt x="444" y="404"/>
                  </a:lnTo>
                  <a:lnTo>
                    <a:pt x="447" y="404"/>
                  </a:lnTo>
                  <a:lnTo>
                    <a:pt x="447" y="404"/>
                  </a:lnTo>
                  <a:lnTo>
                    <a:pt x="447" y="402"/>
                  </a:lnTo>
                  <a:lnTo>
                    <a:pt x="447" y="402"/>
                  </a:lnTo>
                  <a:lnTo>
                    <a:pt x="447" y="402"/>
                  </a:lnTo>
                  <a:lnTo>
                    <a:pt x="447" y="402"/>
                  </a:lnTo>
                  <a:lnTo>
                    <a:pt x="449" y="400"/>
                  </a:lnTo>
                  <a:lnTo>
                    <a:pt x="450" y="400"/>
                  </a:lnTo>
                  <a:lnTo>
                    <a:pt x="453" y="400"/>
                  </a:lnTo>
                  <a:lnTo>
                    <a:pt x="455" y="402"/>
                  </a:lnTo>
                  <a:lnTo>
                    <a:pt x="456" y="402"/>
                  </a:lnTo>
                  <a:lnTo>
                    <a:pt x="458" y="402"/>
                  </a:lnTo>
                  <a:lnTo>
                    <a:pt x="458" y="402"/>
                  </a:lnTo>
                  <a:lnTo>
                    <a:pt x="460" y="402"/>
                  </a:lnTo>
                  <a:lnTo>
                    <a:pt x="460" y="402"/>
                  </a:lnTo>
                  <a:lnTo>
                    <a:pt x="462" y="402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7" y="399"/>
                  </a:lnTo>
                  <a:lnTo>
                    <a:pt x="467" y="399"/>
                  </a:lnTo>
                  <a:lnTo>
                    <a:pt x="468" y="399"/>
                  </a:lnTo>
                  <a:lnTo>
                    <a:pt x="468" y="399"/>
                  </a:lnTo>
                  <a:lnTo>
                    <a:pt x="468" y="399"/>
                  </a:lnTo>
                  <a:lnTo>
                    <a:pt x="469" y="399"/>
                  </a:lnTo>
                  <a:lnTo>
                    <a:pt x="470" y="398"/>
                  </a:lnTo>
                  <a:lnTo>
                    <a:pt x="470" y="398"/>
                  </a:lnTo>
                  <a:lnTo>
                    <a:pt x="469" y="398"/>
                  </a:lnTo>
                  <a:lnTo>
                    <a:pt x="468" y="396"/>
                  </a:lnTo>
                  <a:lnTo>
                    <a:pt x="468" y="398"/>
                  </a:lnTo>
                  <a:lnTo>
                    <a:pt x="467" y="398"/>
                  </a:lnTo>
                  <a:lnTo>
                    <a:pt x="466" y="396"/>
                  </a:lnTo>
                  <a:lnTo>
                    <a:pt x="464" y="395"/>
                  </a:lnTo>
                  <a:lnTo>
                    <a:pt x="464" y="395"/>
                  </a:lnTo>
                  <a:lnTo>
                    <a:pt x="461" y="392"/>
                  </a:lnTo>
                  <a:lnTo>
                    <a:pt x="461" y="391"/>
                  </a:lnTo>
                  <a:lnTo>
                    <a:pt x="462" y="390"/>
                  </a:lnTo>
                  <a:lnTo>
                    <a:pt x="464" y="389"/>
                  </a:lnTo>
                  <a:lnTo>
                    <a:pt x="464" y="389"/>
                  </a:lnTo>
                  <a:lnTo>
                    <a:pt x="466" y="386"/>
                  </a:lnTo>
                  <a:lnTo>
                    <a:pt x="467" y="387"/>
                  </a:lnTo>
                  <a:lnTo>
                    <a:pt x="467" y="387"/>
                  </a:lnTo>
                  <a:lnTo>
                    <a:pt x="467" y="384"/>
                  </a:lnTo>
                  <a:lnTo>
                    <a:pt x="467" y="384"/>
                  </a:lnTo>
                  <a:lnTo>
                    <a:pt x="467" y="383"/>
                  </a:lnTo>
                  <a:lnTo>
                    <a:pt x="469" y="378"/>
                  </a:lnTo>
                  <a:lnTo>
                    <a:pt x="469" y="378"/>
                  </a:lnTo>
                  <a:lnTo>
                    <a:pt x="470" y="377"/>
                  </a:lnTo>
                  <a:lnTo>
                    <a:pt x="472" y="376"/>
                  </a:lnTo>
                  <a:lnTo>
                    <a:pt x="472" y="376"/>
                  </a:lnTo>
                  <a:lnTo>
                    <a:pt x="472" y="374"/>
                  </a:lnTo>
                  <a:lnTo>
                    <a:pt x="472" y="370"/>
                  </a:lnTo>
                  <a:lnTo>
                    <a:pt x="472" y="368"/>
                  </a:lnTo>
                  <a:lnTo>
                    <a:pt x="473" y="367"/>
                  </a:lnTo>
                  <a:lnTo>
                    <a:pt x="473" y="366"/>
                  </a:lnTo>
                  <a:lnTo>
                    <a:pt x="473" y="365"/>
                  </a:lnTo>
                  <a:lnTo>
                    <a:pt x="474" y="364"/>
                  </a:lnTo>
                  <a:lnTo>
                    <a:pt x="476" y="363"/>
                  </a:lnTo>
                  <a:lnTo>
                    <a:pt x="477" y="363"/>
                  </a:lnTo>
                  <a:lnTo>
                    <a:pt x="479" y="363"/>
                  </a:lnTo>
                  <a:lnTo>
                    <a:pt x="480" y="363"/>
                  </a:lnTo>
                  <a:lnTo>
                    <a:pt x="480" y="362"/>
                  </a:lnTo>
                  <a:lnTo>
                    <a:pt x="480" y="357"/>
                  </a:lnTo>
                  <a:lnTo>
                    <a:pt x="480" y="353"/>
                  </a:lnTo>
                  <a:lnTo>
                    <a:pt x="483" y="353"/>
                  </a:lnTo>
                  <a:lnTo>
                    <a:pt x="483" y="353"/>
                  </a:lnTo>
                  <a:lnTo>
                    <a:pt x="483" y="353"/>
                  </a:lnTo>
                  <a:lnTo>
                    <a:pt x="483" y="353"/>
                  </a:lnTo>
                  <a:lnTo>
                    <a:pt x="485" y="353"/>
                  </a:lnTo>
                  <a:lnTo>
                    <a:pt x="485" y="351"/>
                  </a:lnTo>
                  <a:lnTo>
                    <a:pt x="485" y="351"/>
                  </a:lnTo>
                  <a:lnTo>
                    <a:pt x="485" y="350"/>
                  </a:lnTo>
                  <a:lnTo>
                    <a:pt x="487" y="350"/>
                  </a:lnTo>
                  <a:lnTo>
                    <a:pt x="488" y="348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91" y="345"/>
                  </a:lnTo>
                  <a:lnTo>
                    <a:pt x="495" y="344"/>
                  </a:lnTo>
                  <a:lnTo>
                    <a:pt x="497" y="342"/>
                  </a:lnTo>
                  <a:lnTo>
                    <a:pt x="498" y="342"/>
                  </a:lnTo>
                  <a:lnTo>
                    <a:pt x="500" y="342"/>
                  </a:lnTo>
                  <a:lnTo>
                    <a:pt x="503" y="342"/>
                  </a:lnTo>
                  <a:lnTo>
                    <a:pt x="504" y="342"/>
                  </a:lnTo>
                  <a:lnTo>
                    <a:pt x="505" y="340"/>
                  </a:lnTo>
                  <a:lnTo>
                    <a:pt x="505" y="340"/>
                  </a:lnTo>
                  <a:lnTo>
                    <a:pt x="505" y="338"/>
                  </a:lnTo>
                  <a:lnTo>
                    <a:pt x="505" y="338"/>
                  </a:lnTo>
                  <a:lnTo>
                    <a:pt x="506" y="336"/>
                  </a:lnTo>
                  <a:lnTo>
                    <a:pt x="506" y="336"/>
                  </a:lnTo>
                  <a:lnTo>
                    <a:pt x="507" y="336"/>
                  </a:lnTo>
                  <a:lnTo>
                    <a:pt x="508" y="336"/>
                  </a:lnTo>
                  <a:lnTo>
                    <a:pt x="510" y="336"/>
                  </a:lnTo>
                  <a:lnTo>
                    <a:pt x="510" y="336"/>
                  </a:lnTo>
                  <a:lnTo>
                    <a:pt x="512" y="336"/>
                  </a:lnTo>
                  <a:lnTo>
                    <a:pt x="513" y="336"/>
                  </a:lnTo>
                  <a:lnTo>
                    <a:pt x="512" y="335"/>
                  </a:lnTo>
                  <a:lnTo>
                    <a:pt x="513" y="334"/>
                  </a:lnTo>
                  <a:lnTo>
                    <a:pt x="513" y="334"/>
                  </a:lnTo>
                  <a:lnTo>
                    <a:pt x="514" y="334"/>
                  </a:lnTo>
                  <a:lnTo>
                    <a:pt x="514" y="332"/>
                  </a:lnTo>
                  <a:lnTo>
                    <a:pt x="515" y="332"/>
                  </a:lnTo>
                  <a:lnTo>
                    <a:pt x="516" y="332"/>
                  </a:lnTo>
                  <a:lnTo>
                    <a:pt x="516" y="332"/>
                  </a:lnTo>
                  <a:lnTo>
                    <a:pt x="516" y="331"/>
                  </a:lnTo>
                  <a:lnTo>
                    <a:pt x="516" y="330"/>
                  </a:lnTo>
                  <a:lnTo>
                    <a:pt x="518" y="329"/>
                  </a:lnTo>
                  <a:lnTo>
                    <a:pt x="518" y="329"/>
                  </a:lnTo>
                  <a:lnTo>
                    <a:pt x="520" y="329"/>
                  </a:lnTo>
                  <a:lnTo>
                    <a:pt x="521" y="329"/>
                  </a:lnTo>
                  <a:lnTo>
                    <a:pt x="521" y="329"/>
                  </a:lnTo>
                  <a:lnTo>
                    <a:pt x="521" y="327"/>
                  </a:lnTo>
                  <a:lnTo>
                    <a:pt x="521" y="327"/>
                  </a:lnTo>
                  <a:lnTo>
                    <a:pt x="520" y="327"/>
                  </a:lnTo>
                  <a:lnTo>
                    <a:pt x="518" y="327"/>
                  </a:lnTo>
                  <a:lnTo>
                    <a:pt x="518" y="325"/>
                  </a:lnTo>
                  <a:lnTo>
                    <a:pt x="518" y="325"/>
                  </a:lnTo>
                  <a:lnTo>
                    <a:pt x="518" y="325"/>
                  </a:lnTo>
                  <a:lnTo>
                    <a:pt x="518" y="325"/>
                  </a:lnTo>
                  <a:lnTo>
                    <a:pt x="516" y="323"/>
                  </a:lnTo>
                  <a:lnTo>
                    <a:pt x="514" y="323"/>
                  </a:lnTo>
                  <a:lnTo>
                    <a:pt x="512" y="321"/>
                  </a:lnTo>
                  <a:lnTo>
                    <a:pt x="508" y="321"/>
                  </a:lnTo>
                  <a:lnTo>
                    <a:pt x="507" y="320"/>
                  </a:lnTo>
                  <a:lnTo>
                    <a:pt x="506" y="320"/>
                  </a:lnTo>
                  <a:lnTo>
                    <a:pt x="504" y="318"/>
                  </a:lnTo>
                  <a:lnTo>
                    <a:pt x="501" y="316"/>
                  </a:lnTo>
                  <a:lnTo>
                    <a:pt x="501" y="315"/>
                  </a:lnTo>
                  <a:lnTo>
                    <a:pt x="500" y="312"/>
                  </a:lnTo>
                  <a:lnTo>
                    <a:pt x="498" y="310"/>
                  </a:lnTo>
                  <a:lnTo>
                    <a:pt x="496" y="307"/>
                  </a:lnTo>
                  <a:lnTo>
                    <a:pt x="496" y="305"/>
                  </a:lnTo>
                  <a:lnTo>
                    <a:pt x="495" y="303"/>
                  </a:lnTo>
                  <a:lnTo>
                    <a:pt x="495" y="302"/>
                  </a:lnTo>
                  <a:lnTo>
                    <a:pt x="496" y="301"/>
                  </a:lnTo>
                  <a:lnTo>
                    <a:pt x="496" y="301"/>
                  </a:lnTo>
                  <a:lnTo>
                    <a:pt x="496" y="300"/>
                  </a:lnTo>
                  <a:lnTo>
                    <a:pt x="495" y="299"/>
                  </a:lnTo>
                  <a:lnTo>
                    <a:pt x="491" y="292"/>
                  </a:lnTo>
                  <a:lnTo>
                    <a:pt x="491" y="288"/>
                  </a:lnTo>
                  <a:lnTo>
                    <a:pt x="491" y="286"/>
                  </a:lnTo>
                  <a:lnTo>
                    <a:pt x="491" y="282"/>
                  </a:lnTo>
                  <a:lnTo>
                    <a:pt x="491" y="280"/>
                  </a:lnTo>
                  <a:lnTo>
                    <a:pt x="491" y="279"/>
                  </a:lnTo>
                  <a:lnTo>
                    <a:pt x="493" y="276"/>
                  </a:lnTo>
                  <a:lnTo>
                    <a:pt x="493" y="276"/>
                  </a:lnTo>
                  <a:lnTo>
                    <a:pt x="494" y="275"/>
                  </a:lnTo>
                  <a:lnTo>
                    <a:pt x="494" y="274"/>
                  </a:lnTo>
                  <a:lnTo>
                    <a:pt x="495" y="273"/>
                  </a:lnTo>
                  <a:lnTo>
                    <a:pt x="496" y="272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503" y="260"/>
                  </a:lnTo>
                  <a:lnTo>
                    <a:pt x="506" y="255"/>
                  </a:lnTo>
                  <a:lnTo>
                    <a:pt x="507" y="254"/>
                  </a:lnTo>
                  <a:lnTo>
                    <a:pt x="510" y="249"/>
                  </a:lnTo>
                  <a:lnTo>
                    <a:pt x="512" y="248"/>
                  </a:lnTo>
                  <a:lnTo>
                    <a:pt x="514" y="246"/>
                  </a:lnTo>
                  <a:lnTo>
                    <a:pt x="516" y="244"/>
                  </a:lnTo>
                  <a:lnTo>
                    <a:pt x="520" y="238"/>
                  </a:lnTo>
                  <a:lnTo>
                    <a:pt x="522" y="236"/>
                  </a:lnTo>
                  <a:lnTo>
                    <a:pt x="524" y="233"/>
                  </a:lnTo>
                  <a:lnTo>
                    <a:pt x="525" y="233"/>
                  </a:lnTo>
                  <a:lnTo>
                    <a:pt x="527" y="233"/>
                  </a:lnTo>
                  <a:lnTo>
                    <a:pt x="527" y="231"/>
                  </a:lnTo>
                  <a:lnTo>
                    <a:pt x="531" y="224"/>
                  </a:lnTo>
                  <a:lnTo>
                    <a:pt x="533" y="223"/>
                  </a:lnTo>
                  <a:lnTo>
                    <a:pt x="533" y="222"/>
                  </a:lnTo>
                  <a:lnTo>
                    <a:pt x="533" y="221"/>
                  </a:lnTo>
                  <a:lnTo>
                    <a:pt x="534" y="220"/>
                  </a:lnTo>
                  <a:lnTo>
                    <a:pt x="535" y="218"/>
                  </a:lnTo>
                  <a:lnTo>
                    <a:pt x="537" y="217"/>
                  </a:lnTo>
                  <a:lnTo>
                    <a:pt x="537" y="213"/>
                  </a:lnTo>
                  <a:lnTo>
                    <a:pt x="539" y="212"/>
                  </a:lnTo>
                  <a:lnTo>
                    <a:pt x="540" y="211"/>
                  </a:lnTo>
                  <a:lnTo>
                    <a:pt x="541" y="210"/>
                  </a:lnTo>
                  <a:lnTo>
                    <a:pt x="546" y="209"/>
                  </a:lnTo>
                  <a:lnTo>
                    <a:pt x="547" y="209"/>
                  </a:lnTo>
                  <a:lnTo>
                    <a:pt x="548" y="209"/>
                  </a:lnTo>
                  <a:lnTo>
                    <a:pt x="546" y="212"/>
                  </a:lnTo>
                  <a:lnTo>
                    <a:pt x="545" y="213"/>
                  </a:lnTo>
                  <a:lnTo>
                    <a:pt x="543" y="212"/>
                  </a:lnTo>
                  <a:lnTo>
                    <a:pt x="540" y="212"/>
                  </a:lnTo>
                  <a:lnTo>
                    <a:pt x="541" y="214"/>
                  </a:lnTo>
                  <a:lnTo>
                    <a:pt x="543" y="214"/>
                  </a:lnTo>
                  <a:lnTo>
                    <a:pt x="545" y="213"/>
                  </a:lnTo>
                  <a:lnTo>
                    <a:pt x="547" y="212"/>
                  </a:lnTo>
                  <a:lnTo>
                    <a:pt x="549" y="208"/>
                  </a:lnTo>
                  <a:lnTo>
                    <a:pt x="550" y="207"/>
                  </a:lnTo>
                  <a:lnTo>
                    <a:pt x="554" y="206"/>
                  </a:lnTo>
                  <a:lnTo>
                    <a:pt x="554" y="206"/>
                  </a:lnTo>
                  <a:lnTo>
                    <a:pt x="556" y="204"/>
                  </a:lnTo>
                  <a:lnTo>
                    <a:pt x="556" y="203"/>
                  </a:lnTo>
                  <a:lnTo>
                    <a:pt x="554" y="203"/>
                  </a:lnTo>
                  <a:lnTo>
                    <a:pt x="554" y="203"/>
                  </a:lnTo>
                  <a:lnTo>
                    <a:pt x="552" y="201"/>
                  </a:lnTo>
                  <a:lnTo>
                    <a:pt x="551" y="200"/>
                  </a:lnTo>
                  <a:lnTo>
                    <a:pt x="550" y="200"/>
                  </a:lnTo>
                  <a:lnTo>
                    <a:pt x="550" y="199"/>
                  </a:lnTo>
                  <a:lnTo>
                    <a:pt x="549" y="199"/>
                  </a:lnTo>
                  <a:lnTo>
                    <a:pt x="550" y="200"/>
                  </a:lnTo>
                  <a:lnTo>
                    <a:pt x="550" y="200"/>
                  </a:lnTo>
                  <a:lnTo>
                    <a:pt x="549" y="201"/>
                  </a:lnTo>
                  <a:lnTo>
                    <a:pt x="549" y="201"/>
                  </a:lnTo>
                  <a:lnTo>
                    <a:pt x="547" y="200"/>
                  </a:lnTo>
                  <a:lnTo>
                    <a:pt x="546" y="199"/>
                  </a:lnTo>
                  <a:lnTo>
                    <a:pt x="547" y="197"/>
                  </a:lnTo>
                  <a:lnTo>
                    <a:pt x="552" y="192"/>
                  </a:lnTo>
                  <a:lnTo>
                    <a:pt x="556" y="188"/>
                  </a:lnTo>
                  <a:lnTo>
                    <a:pt x="562" y="182"/>
                  </a:lnTo>
                  <a:lnTo>
                    <a:pt x="564" y="182"/>
                  </a:lnTo>
                  <a:lnTo>
                    <a:pt x="566" y="180"/>
                  </a:lnTo>
                  <a:lnTo>
                    <a:pt x="568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1" y="182"/>
                  </a:lnTo>
                  <a:lnTo>
                    <a:pt x="573" y="182"/>
                  </a:lnTo>
                  <a:lnTo>
                    <a:pt x="573" y="180"/>
                  </a:lnTo>
                  <a:lnTo>
                    <a:pt x="573" y="180"/>
                  </a:lnTo>
                  <a:lnTo>
                    <a:pt x="574" y="179"/>
                  </a:lnTo>
                  <a:lnTo>
                    <a:pt x="574" y="179"/>
                  </a:lnTo>
                  <a:lnTo>
                    <a:pt x="579" y="177"/>
                  </a:lnTo>
                  <a:lnTo>
                    <a:pt x="592" y="173"/>
                  </a:lnTo>
                  <a:lnTo>
                    <a:pt x="596" y="173"/>
                  </a:lnTo>
                  <a:lnTo>
                    <a:pt x="608" y="169"/>
                  </a:lnTo>
                  <a:lnTo>
                    <a:pt x="609" y="171"/>
                  </a:lnTo>
                  <a:lnTo>
                    <a:pt x="610" y="169"/>
                  </a:lnTo>
                  <a:lnTo>
                    <a:pt x="611" y="169"/>
                  </a:lnTo>
                  <a:lnTo>
                    <a:pt x="614" y="169"/>
                  </a:lnTo>
                  <a:lnTo>
                    <a:pt x="618" y="169"/>
                  </a:lnTo>
                  <a:lnTo>
                    <a:pt x="620" y="167"/>
                  </a:lnTo>
                  <a:lnTo>
                    <a:pt x="625" y="165"/>
                  </a:lnTo>
                  <a:lnTo>
                    <a:pt x="626" y="164"/>
                  </a:lnTo>
                  <a:lnTo>
                    <a:pt x="628" y="162"/>
                  </a:lnTo>
                  <a:lnTo>
                    <a:pt x="630" y="158"/>
                  </a:lnTo>
                  <a:lnTo>
                    <a:pt x="631" y="156"/>
                  </a:lnTo>
                  <a:lnTo>
                    <a:pt x="633" y="155"/>
                  </a:lnTo>
                  <a:lnTo>
                    <a:pt x="637" y="153"/>
                  </a:lnTo>
                  <a:lnTo>
                    <a:pt x="640" y="151"/>
                  </a:lnTo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77" name="Groupe 176"/>
          <p:cNvGrpSpPr/>
          <p:nvPr/>
        </p:nvGrpSpPr>
        <p:grpSpPr>
          <a:xfrm>
            <a:off x="4604400" y="4809600"/>
            <a:ext cx="514350" cy="447676"/>
            <a:chOff x="4791075" y="5038725"/>
            <a:chExt cx="514350" cy="44767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051" name="Freeform 27"/>
            <p:cNvSpPr>
              <a:spLocks/>
            </p:cNvSpPr>
            <p:nvPr/>
          </p:nvSpPr>
          <p:spPr bwMode="auto">
            <a:xfrm>
              <a:off x="5078413" y="5448300"/>
              <a:ext cx="11113" cy="6350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3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5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7" y="2"/>
                </a:cxn>
                <a:cxn ang="0">
                  <a:pos x="7" y="1"/>
                </a:cxn>
                <a:cxn ang="0">
                  <a:pos x="7" y="1"/>
                </a:cxn>
              </a:cxnLst>
              <a:rect l="0" t="0" r="r" b="b"/>
              <a:pathLst>
                <a:path w="7" h="4">
                  <a:moveTo>
                    <a:pt x="7" y="1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2" name="Freeform 28"/>
            <p:cNvSpPr>
              <a:spLocks/>
            </p:cNvSpPr>
            <p:nvPr/>
          </p:nvSpPr>
          <p:spPr bwMode="auto">
            <a:xfrm>
              <a:off x="5124450" y="5446713"/>
              <a:ext cx="38100" cy="11113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4" y="4"/>
                </a:cxn>
                <a:cxn ang="0">
                  <a:pos x="14" y="4"/>
                </a:cxn>
                <a:cxn ang="0">
                  <a:pos x="14" y="4"/>
                </a:cxn>
                <a:cxn ang="0">
                  <a:pos x="14" y="3"/>
                </a:cxn>
                <a:cxn ang="0">
                  <a:pos x="13" y="3"/>
                </a:cxn>
                <a:cxn ang="0">
                  <a:pos x="11" y="2"/>
                </a:cxn>
                <a:cxn ang="0">
                  <a:pos x="9" y="1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2" y="3"/>
                </a:cxn>
                <a:cxn ang="0">
                  <a:pos x="3" y="2"/>
                </a:cxn>
                <a:cxn ang="0">
                  <a:pos x="24" y="7"/>
                </a:cxn>
                <a:cxn ang="0">
                  <a:pos x="22" y="6"/>
                </a:cxn>
                <a:cxn ang="0">
                  <a:pos x="19" y="5"/>
                </a:cxn>
              </a:cxnLst>
              <a:rect l="0" t="0" r="r" b="b"/>
              <a:pathLst>
                <a:path w="24" h="7">
                  <a:moveTo>
                    <a:pt x="19" y="5"/>
                  </a:moveTo>
                  <a:lnTo>
                    <a:pt x="18" y="4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9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2"/>
                  </a:lnTo>
                  <a:lnTo>
                    <a:pt x="24" y="7"/>
                  </a:lnTo>
                  <a:lnTo>
                    <a:pt x="22" y="6"/>
                  </a:lnTo>
                  <a:lnTo>
                    <a:pt x="19" y="5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3" name="Freeform 29"/>
            <p:cNvSpPr>
              <a:spLocks/>
            </p:cNvSpPr>
            <p:nvPr/>
          </p:nvSpPr>
          <p:spPr bwMode="auto">
            <a:xfrm>
              <a:off x="5065713" y="5426075"/>
              <a:ext cx="47625" cy="11113"/>
            </a:xfrm>
            <a:custGeom>
              <a:avLst/>
              <a:gdLst/>
              <a:ahLst/>
              <a:cxnLst>
                <a:cxn ang="0">
                  <a:pos x="28" y="3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1" y="1"/>
                </a:cxn>
                <a:cxn ang="0">
                  <a:pos x="14" y="2"/>
                </a:cxn>
                <a:cxn ang="0">
                  <a:pos x="13" y="2"/>
                </a:cxn>
                <a:cxn ang="0">
                  <a:pos x="11" y="3"/>
                </a:cxn>
                <a:cxn ang="0">
                  <a:pos x="9" y="3"/>
                </a:cxn>
                <a:cxn ang="0">
                  <a:pos x="7" y="2"/>
                </a:cxn>
                <a:cxn ang="0">
                  <a:pos x="5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3"/>
                </a:cxn>
                <a:cxn ang="0">
                  <a:pos x="0" y="4"/>
                </a:cxn>
                <a:cxn ang="0">
                  <a:pos x="1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5" y="5"/>
                </a:cxn>
                <a:cxn ang="0">
                  <a:pos x="11" y="7"/>
                </a:cxn>
                <a:cxn ang="0">
                  <a:pos x="13" y="6"/>
                </a:cxn>
                <a:cxn ang="0">
                  <a:pos x="17" y="5"/>
                </a:cxn>
                <a:cxn ang="0">
                  <a:pos x="20" y="5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29" y="5"/>
                </a:cxn>
                <a:cxn ang="0">
                  <a:pos x="30" y="6"/>
                </a:cxn>
                <a:cxn ang="0">
                  <a:pos x="30" y="5"/>
                </a:cxn>
                <a:cxn ang="0">
                  <a:pos x="28" y="4"/>
                </a:cxn>
                <a:cxn ang="0">
                  <a:pos x="28" y="3"/>
                </a:cxn>
              </a:cxnLst>
              <a:rect l="0" t="0" r="r" b="b"/>
              <a:pathLst>
                <a:path w="30" h="7">
                  <a:moveTo>
                    <a:pt x="28" y="3"/>
                  </a:moveTo>
                  <a:lnTo>
                    <a:pt x="26" y="2"/>
                  </a:lnTo>
                  <a:lnTo>
                    <a:pt x="25" y="2"/>
                  </a:lnTo>
                  <a:lnTo>
                    <a:pt x="21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7" y="2"/>
                  </a:lnTo>
                  <a:lnTo>
                    <a:pt x="5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0" y="4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11" y="7"/>
                  </a:lnTo>
                  <a:lnTo>
                    <a:pt x="13" y="6"/>
                  </a:lnTo>
                  <a:lnTo>
                    <a:pt x="17" y="5"/>
                  </a:lnTo>
                  <a:lnTo>
                    <a:pt x="20" y="5"/>
                  </a:lnTo>
                  <a:lnTo>
                    <a:pt x="25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28" y="4"/>
                  </a:lnTo>
                  <a:lnTo>
                    <a:pt x="28" y="3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4" name="Freeform 30"/>
            <p:cNvSpPr>
              <a:spLocks/>
            </p:cNvSpPr>
            <p:nvPr/>
          </p:nvSpPr>
          <p:spPr bwMode="auto">
            <a:xfrm>
              <a:off x="5095875" y="5421313"/>
              <a:ext cx="130175" cy="65088"/>
            </a:xfrm>
            <a:custGeom>
              <a:avLst/>
              <a:gdLst/>
              <a:ahLst/>
              <a:cxnLst>
                <a:cxn ang="0">
                  <a:pos x="80" y="38"/>
                </a:cxn>
                <a:cxn ang="0">
                  <a:pos x="79" y="35"/>
                </a:cxn>
                <a:cxn ang="0">
                  <a:pos x="78" y="32"/>
                </a:cxn>
                <a:cxn ang="0">
                  <a:pos x="76" y="31"/>
                </a:cxn>
                <a:cxn ang="0">
                  <a:pos x="73" y="29"/>
                </a:cxn>
                <a:cxn ang="0">
                  <a:pos x="67" y="27"/>
                </a:cxn>
                <a:cxn ang="0">
                  <a:pos x="53" y="19"/>
                </a:cxn>
                <a:cxn ang="0">
                  <a:pos x="47" y="15"/>
                </a:cxn>
                <a:cxn ang="0">
                  <a:pos x="45" y="12"/>
                </a:cxn>
                <a:cxn ang="0">
                  <a:pos x="45" y="9"/>
                </a:cxn>
                <a:cxn ang="0">
                  <a:pos x="42" y="10"/>
                </a:cxn>
                <a:cxn ang="0">
                  <a:pos x="38" y="8"/>
                </a:cxn>
                <a:cxn ang="0">
                  <a:pos x="36" y="10"/>
                </a:cxn>
                <a:cxn ang="0">
                  <a:pos x="40" y="11"/>
                </a:cxn>
                <a:cxn ang="0">
                  <a:pos x="40" y="14"/>
                </a:cxn>
                <a:cxn ang="0">
                  <a:pos x="36" y="11"/>
                </a:cxn>
                <a:cxn ang="0">
                  <a:pos x="34" y="10"/>
                </a:cxn>
                <a:cxn ang="0">
                  <a:pos x="30" y="9"/>
                </a:cxn>
                <a:cxn ang="0">
                  <a:pos x="29" y="8"/>
                </a:cxn>
                <a:cxn ang="0">
                  <a:pos x="29" y="9"/>
                </a:cxn>
                <a:cxn ang="0">
                  <a:pos x="27" y="9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4" y="6"/>
                </a:cxn>
                <a:cxn ang="0">
                  <a:pos x="9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" y="1"/>
                </a:cxn>
                <a:cxn ang="0">
                  <a:pos x="3" y="3"/>
                </a:cxn>
                <a:cxn ang="0">
                  <a:pos x="11" y="4"/>
                </a:cxn>
                <a:cxn ang="0">
                  <a:pos x="13" y="5"/>
                </a:cxn>
                <a:cxn ang="0">
                  <a:pos x="24" y="9"/>
                </a:cxn>
                <a:cxn ang="0">
                  <a:pos x="29" y="13"/>
                </a:cxn>
                <a:cxn ang="0">
                  <a:pos x="37" y="15"/>
                </a:cxn>
                <a:cxn ang="0">
                  <a:pos x="42" y="17"/>
                </a:cxn>
                <a:cxn ang="0">
                  <a:pos x="42" y="18"/>
                </a:cxn>
                <a:cxn ang="0">
                  <a:pos x="42" y="16"/>
                </a:cxn>
                <a:cxn ang="0">
                  <a:pos x="40" y="15"/>
                </a:cxn>
                <a:cxn ang="0">
                  <a:pos x="42" y="16"/>
                </a:cxn>
                <a:cxn ang="0">
                  <a:pos x="42" y="16"/>
                </a:cxn>
                <a:cxn ang="0">
                  <a:pos x="44" y="15"/>
                </a:cxn>
                <a:cxn ang="0">
                  <a:pos x="49" y="17"/>
                </a:cxn>
                <a:cxn ang="0">
                  <a:pos x="53" y="21"/>
                </a:cxn>
                <a:cxn ang="0">
                  <a:pos x="57" y="23"/>
                </a:cxn>
                <a:cxn ang="0">
                  <a:pos x="59" y="25"/>
                </a:cxn>
                <a:cxn ang="0">
                  <a:pos x="59" y="26"/>
                </a:cxn>
                <a:cxn ang="0">
                  <a:pos x="61" y="26"/>
                </a:cxn>
                <a:cxn ang="0">
                  <a:pos x="67" y="28"/>
                </a:cxn>
                <a:cxn ang="0">
                  <a:pos x="67" y="31"/>
                </a:cxn>
                <a:cxn ang="0">
                  <a:pos x="78" y="38"/>
                </a:cxn>
                <a:cxn ang="0">
                  <a:pos x="81" y="40"/>
                </a:cxn>
                <a:cxn ang="0">
                  <a:pos x="82" y="40"/>
                </a:cxn>
              </a:cxnLst>
              <a:rect l="0" t="0" r="r" b="b"/>
              <a:pathLst>
                <a:path w="82" h="41">
                  <a:moveTo>
                    <a:pt x="81" y="39"/>
                  </a:moveTo>
                  <a:lnTo>
                    <a:pt x="80" y="39"/>
                  </a:lnTo>
                  <a:lnTo>
                    <a:pt x="80" y="38"/>
                  </a:lnTo>
                  <a:lnTo>
                    <a:pt x="79" y="37"/>
                  </a:lnTo>
                  <a:lnTo>
                    <a:pt x="79" y="36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8" y="32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4" y="30"/>
                  </a:lnTo>
                  <a:lnTo>
                    <a:pt x="73" y="29"/>
                  </a:lnTo>
                  <a:lnTo>
                    <a:pt x="72" y="29"/>
                  </a:lnTo>
                  <a:lnTo>
                    <a:pt x="69" y="28"/>
                  </a:lnTo>
                  <a:lnTo>
                    <a:pt x="67" y="27"/>
                  </a:lnTo>
                  <a:lnTo>
                    <a:pt x="57" y="22"/>
                  </a:lnTo>
                  <a:lnTo>
                    <a:pt x="54" y="20"/>
                  </a:lnTo>
                  <a:lnTo>
                    <a:pt x="53" y="19"/>
                  </a:lnTo>
                  <a:lnTo>
                    <a:pt x="51" y="17"/>
                  </a:lnTo>
                  <a:lnTo>
                    <a:pt x="49" y="16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2" y="10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38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10"/>
                  </a:lnTo>
                  <a:lnTo>
                    <a:pt x="37" y="11"/>
                  </a:lnTo>
                  <a:lnTo>
                    <a:pt x="40" y="10"/>
                  </a:lnTo>
                  <a:lnTo>
                    <a:pt x="40" y="11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37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1" y="4"/>
                  </a:lnTo>
                  <a:lnTo>
                    <a:pt x="13" y="2"/>
                  </a:lnTo>
                  <a:lnTo>
                    <a:pt x="9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5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9" y="8"/>
                  </a:lnTo>
                  <a:lnTo>
                    <a:pt x="24" y="9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4" y="15"/>
                  </a:lnTo>
                  <a:lnTo>
                    <a:pt x="37" y="15"/>
                  </a:lnTo>
                  <a:lnTo>
                    <a:pt x="40" y="16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0" y="15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6" y="16"/>
                  </a:lnTo>
                  <a:lnTo>
                    <a:pt x="47" y="17"/>
                  </a:lnTo>
                  <a:lnTo>
                    <a:pt x="49" y="17"/>
                  </a:lnTo>
                  <a:lnTo>
                    <a:pt x="48" y="18"/>
                  </a:lnTo>
                  <a:lnTo>
                    <a:pt x="49" y="19"/>
                  </a:lnTo>
                  <a:lnTo>
                    <a:pt x="53" y="21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4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6"/>
                  </a:lnTo>
                  <a:lnTo>
                    <a:pt x="60" y="26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4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7" y="31"/>
                  </a:lnTo>
                  <a:lnTo>
                    <a:pt x="67" y="32"/>
                  </a:lnTo>
                  <a:lnTo>
                    <a:pt x="78" y="37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80" y="39"/>
                  </a:lnTo>
                  <a:lnTo>
                    <a:pt x="81" y="40"/>
                  </a:lnTo>
                  <a:lnTo>
                    <a:pt x="82" y="41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39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5" name="Freeform 31"/>
            <p:cNvSpPr>
              <a:spLocks/>
            </p:cNvSpPr>
            <p:nvPr/>
          </p:nvSpPr>
          <p:spPr bwMode="auto">
            <a:xfrm>
              <a:off x="5013325" y="5416550"/>
              <a:ext cx="17463" cy="7938"/>
            </a:xfrm>
            <a:custGeom>
              <a:avLst/>
              <a:gdLst/>
              <a:ahLst/>
              <a:cxnLst>
                <a:cxn ang="0">
                  <a:pos x="11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0" y="1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8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1" y="1"/>
                </a:cxn>
              </a:cxnLst>
              <a:rect l="0" t="0" r="r" b="b"/>
              <a:pathLst>
                <a:path w="11" h="5"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1" y="5"/>
                  </a:lnTo>
                  <a:lnTo>
                    <a:pt x="2" y="5"/>
                  </a:lnTo>
                  <a:lnTo>
                    <a:pt x="4" y="5"/>
                  </a:lnTo>
                  <a:lnTo>
                    <a:pt x="8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6" name="Freeform 32"/>
            <p:cNvSpPr>
              <a:spLocks/>
            </p:cNvSpPr>
            <p:nvPr/>
          </p:nvSpPr>
          <p:spPr bwMode="auto">
            <a:xfrm>
              <a:off x="5041900" y="5400675"/>
              <a:ext cx="71438" cy="12700"/>
            </a:xfrm>
            <a:custGeom>
              <a:avLst/>
              <a:gdLst/>
              <a:ahLst/>
              <a:cxnLst>
                <a:cxn ang="0">
                  <a:pos x="18" y="8"/>
                </a:cxn>
                <a:cxn ang="0">
                  <a:pos x="45" y="8"/>
                </a:cxn>
                <a:cxn ang="0">
                  <a:pos x="43" y="7"/>
                </a:cxn>
                <a:cxn ang="0">
                  <a:pos x="40" y="7"/>
                </a:cxn>
                <a:cxn ang="0">
                  <a:pos x="35" y="7"/>
                </a:cxn>
                <a:cxn ang="0">
                  <a:pos x="32" y="6"/>
                </a:cxn>
                <a:cxn ang="0">
                  <a:pos x="28" y="6"/>
                </a:cxn>
                <a:cxn ang="0">
                  <a:pos x="26" y="6"/>
                </a:cxn>
                <a:cxn ang="0">
                  <a:pos x="26" y="5"/>
                </a:cxn>
                <a:cxn ang="0">
                  <a:pos x="26" y="5"/>
                </a:cxn>
                <a:cxn ang="0">
                  <a:pos x="20" y="5"/>
                </a:cxn>
                <a:cxn ang="0">
                  <a:pos x="19" y="5"/>
                </a:cxn>
                <a:cxn ang="0">
                  <a:pos x="18" y="5"/>
                </a:cxn>
                <a:cxn ang="0">
                  <a:pos x="17" y="4"/>
                </a:cxn>
                <a:cxn ang="0">
                  <a:pos x="17" y="4"/>
                </a:cxn>
                <a:cxn ang="0">
                  <a:pos x="17" y="4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7" y="2"/>
                </a:cxn>
                <a:cxn ang="0">
                  <a:pos x="17" y="2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5" y="2"/>
                </a:cxn>
                <a:cxn ang="0">
                  <a:pos x="13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10" y="2"/>
                </a:cxn>
                <a:cxn ang="0">
                  <a:pos x="11" y="4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10" y="7"/>
                </a:cxn>
                <a:cxn ang="0">
                  <a:pos x="16" y="8"/>
                </a:cxn>
                <a:cxn ang="0">
                  <a:pos x="18" y="8"/>
                </a:cxn>
              </a:cxnLst>
              <a:rect l="0" t="0" r="r" b="b"/>
              <a:pathLst>
                <a:path w="45" h="8">
                  <a:moveTo>
                    <a:pt x="18" y="8"/>
                  </a:moveTo>
                  <a:lnTo>
                    <a:pt x="45" y="8"/>
                  </a:lnTo>
                  <a:lnTo>
                    <a:pt x="43" y="7"/>
                  </a:lnTo>
                  <a:lnTo>
                    <a:pt x="40" y="7"/>
                  </a:lnTo>
                  <a:lnTo>
                    <a:pt x="35" y="7"/>
                  </a:lnTo>
                  <a:lnTo>
                    <a:pt x="32" y="6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8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0" y="2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5"/>
                  </a:lnTo>
                  <a:lnTo>
                    <a:pt x="5" y="5"/>
                  </a:lnTo>
                  <a:lnTo>
                    <a:pt x="10" y="7"/>
                  </a:lnTo>
                  <a:lnTo>
                    <a:pt x="16" y="8"/>
                  </a:lnTo>
                  <a:lnTo>
                    <a:pt x="18" y="8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7" name="Freeform 33"/>
            <p:cNvSpPr>
              <a:spLocks/>
            </p:cNvSpPr>
            <p:nvPr/>
          </p:nvSpPr>
          <p:spPr bwMode="auto">
            <a:xfrm>
              <a:off x="5045075" y="5383213"/>
              <a:ext cx="41275" cy="15875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5" y="8"/>
                </a:cxn>
                <a:cxn ang="0">
                  <a:pos x="8" y="9"/>
                </a:cxn>
                <a:cxn ang="0">
                  <a:pos x="11" y="10"/>
                </a:cxn>
                <a:cxn ang="0">
                  <a:pos x="21" y="9"/>
                </a:cxn>
                <a:cxn ang="0">
                  <a:pos x="24" y="9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6" y="8"/>
                </a:cxn>
                <a:cxn ang="0">
                  <a:pos x="26" y="5"/>
                </a:cxn>
                <a:cxn ang="0">
                  <a:pos x="26" y="5"/>
                </a:cxn>
                <a:cxn ang="0">
                  <a:pos x="24" y="5"/>
                </a:cxn>
                <a:cxn ang="0">
                  <a:pos x="24" y="5"/>
                </a:cxn>
                <a:cxn ang="0">
                  <a:pos x="24" y="5"/>
                </a:cxn>
                <a:cxn ang="0">
                  <a:pos x="24" y="4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21" y="5"/>
                </a:cxn>
                <a:cxn ang="0">
                  <a:pos x="21" y="4"/>
                </a:cxn>
                <a:cxn ang="0">
                  <a:pos x="20" y="4"/>
                </a:cxn>
                <a:cxn ang="0">
                  <a:pos x="21" y="4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3"/>
                </a:cxn>
                <a:cxn ang="0">
                  <a:pos x="2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</a:cxnLst>
              <a:rect l="0" t="0" r="r" b="b"/>
              <a:pathLst>
                <a:path w="26" h="10"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8"/>
                  </a:lnTo>
                  <a:lnTo>
                    <a:pt x="8" y="9"/>
                  </a:lnTo>
                  <a:lnTo>
                    <a:pt x="11" y="10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5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8" name="Freeform 34"/>
            <p:cNvSpPr>
              <a:spLocks/>
            </p:cNvSpPr>
            <p:nvPr/>
          </p:nvSpPr>
          <p:spPr bwMode="auto">
            <a:xfrm>
              <a:off x="5026025" y="5383213"/>
              <a:ext cx="17463" cy="7938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10" y="3"/>
                </a:cxn>
                <a:cxn ang="0">
                  <a:pos x="9" y="2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5"/>
                </a:cxn>
                <a:cxn ang="0">
                  <a:pos x="10" y="5"/>
                </a:cxn>
                <a:cxn ang="0">
                  <a:pos x="11" y="4"/>
                </a:cxn>
              </a:cxnLst>
              <a:rect l="0" t="0" r="r" b="b"/>
              <a:pathLst>
                <a:path w="11" h="5">
                  <a:moveTo>
                    <a:pt x="11" y="4"/>
                  </a:moveTo>
                  <a:lnTo>
                    <a:pt x="10" y="3"/>
                  </a:lnTo>
                  <a:lnTo>
                    <a:pt x="9" y="2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5" y="3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1" y="4"/>
                  </a:lnTo>
                  <a:close/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9" name="Freeform 35"/>
            <p:cNvSpPr>
              <a:spLocks/>
            </p:cNvSpPr>
            <p:nvPr/>
          </p:nvSpPr>
          <p:spPr bwMode="auto">
            <a:xfrm>
              <a:off x="5026025" y="5370513"/>
              <a:ext cx="15875" cy="476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7" y="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2"/>
                </a:cxn>
              </a:cxnLst>
              <a:rect l="0" t="0" r="r" b="b"/>
              <a:pathLst>
                <a:path w="10" h="3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7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0" name="Freeform 36"/>
            <p:cNvSpPr>
              <a:spLocks/>
            </p:cNvSpPr>
            <p:nvPr/>
          </p:nvSpPr>
          <p:spPr bwMode="auto">
            <a:xfrm>
              <a:off x="4975225" y="5353050"/>
              <a:ext cx="11113" cy="4763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3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7" h="3">
                  <a:moveTo>
                    <a:pt x="3" y="2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3" y="2"/>
                  </a:lnTo>
                  <a:lnTo>
                    <a:pt x="3" y="2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1" name="Freeform 37"/>
            <p:cNvSpPr>
              <a:spLocks/>
            </p:cNvSpPr>
            <p:nvPr/>
          </p:nvSpPr>
          <p:spPr bwMode="auto">
            <a:xfrm>
              <a:off x="4943475" y="5332413"/>
              <a:ext cx="14288" cy="11113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6" y="4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3" y="3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8" y="7"/>
                </a:cxn>
                <a:cxn ang="0">
                  <a:pos x="9" y="7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9" h="7">
                  <a:moveTo>
                    <a:pt x="6" y="6"/>
                  </a:moveTo>
                  <a:lnTo>
                    <a:pt x="6" y="4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7"/>
                  </a:lnTo>
                  <a:lnTo>
                    <a:pt x="9" y="7"/>
                  </a:lnTo>
                  <a:lnTo>
                    <a:pt x="6" y="6"/>
                  </a:lnTo>
                  <a:lnTo>
                    <a:pt x="6" y="6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2" name="Freeform 38"/>
            <p:cNvSpPr>
              <a:spLocks/>
            </p:cNvSpPr>
            <p:nvPr/>
          </p:nvSpPr>
          <p:spPr bwMode="auto">
            <a:xfrm>
              <a:off x="4943475" y="5318125"/>
              <a:ext cx="17463" cy="14288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9" y="4"/>
                </a:cxn>
                <a:cxn ang="0">
                  <a:pos x="8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10" y="9"/>
                </a:cxn>
                <a:cxn ang="0">
                  <a:pos x="10" y="9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11" y="7"/>
                </a:cxn>
                <a:cxn ang="0">
                  <a:pos x="11" y="7"/>
                </a:cxn>
              </a:cxnLst>
              <a:rect l="0" t="0" r="r" b="b"/>
              <a:pathLst>
                <a:path w="11" h="9">
                  <a:moveTo>
                    <a:pt x="11" y="7"/>
                  </a:moveTo>
                  <a:lnTo>
                    <a:pt x="10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2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3" name="Freeform 39"/>
            <p:cNvSpPr>
              <a:spLocks/>
            </p:cNvSpPr>
            <p:nvPr/>
          </p:nvSpPr>
          <p:spPr bwMode="auto">
            <a:xfrm>
              <a:off x="4927600" y="5302250"/>
              <a:ext cx="15875" cy="14288"/>
            </a:xfrm>
            <a:custGeom>
              <a:avLst/>
              <a:gdLst/>
              <a:ahLst/>
              <a:cxnLst>
                <a:cxn ang="0">
                  <a:pos x="10" y="9"/>
                </a:cxn>
                <a:cxn ang="0">
                  <a:pos x="10" y="9"/>
                </a:cxn>
                <a:cxn ang="0">
                  <a:pos x="10" y="7"/>
                </a:cxn>
                <a:cxn ang="0">
                  <a:pos x="10" y="6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6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7"/>
                </a:cxn>
                <a:cxn ang="0">
                  <a:pos x="10" y="8"/>
                </a:cxn>
                <a:cxn ang="0">
                  <a:pos x="10" y="9"/>
                </a:cxn>
              </a:cxnLst>
              <a:rect l="0" t="0" r="r" b="b"/>
              <a:pathLst>
                <a:path w="10" h="9">
                  <a:moveTo>
                    <a:pt x="10" y="9"/>
                  </a:moveTo>
                  <a:lnTo>
                    <a:pt x="10" y="9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4"/>
                  </a:lnTo>
                  <a:lnTo>
                    <a:pt x="5" y="5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10" y="8"/>
                  </a:lnTo>
                  <a:lnTo>
                    <a:pt x="10" y="9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4" name="Freeform 40"/>
            <p:cNvSpPr>
              <a:spLocks/>
            </p:cNvSpPr>
            <p:nvPr/>
          </p:nvSpPr>
          <p:spPr bwMode="auto">
            <a:xfrm>
              <a:off x="4906963" y="5300663"/>
              <a:ext cx="3175" cy="3175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5" name="Freeform 41"/>
            <p:cNvSpPr>
              <a:spLocks/>
            </p:cNvSpPr>
            <p:nvPr/>
          </p:nvSpPr>
          <p:spPr bwMode="auto">
            <a:xfrm>
              <a:off x="4908550" y="5300663"/>
              <a:ext cx="31750" cy="31750"/>
            </a:xfrm>
            <a:custGeom>
              <a:avLst/>
              <a:gdLst/>
              <a:ahLst/>
              <a:cxnLst>
                <a:cxn ang="0">
                  <a:pos x="19" y="20"/>
                </a:cxn>
                <a:cxn ang="0">
                  <a:pos x="20" y="18"/>
                </a:cxn>
                <a:cxn ang="0">
                  <a:pos x="20" y="18"/>
                </a:cxn>
                <a:cxn ang="0">
                  <a:pos x="17" y="15"/>
                </a:cxn>
                <a:cxn ang="0">
                  <a:pos x="15" y="13"/>
                </a:cxn>
                <a:cxn ang="0">
                  <a:pos x="15" y="13"/>
                </a:cxn>
                <a:cxn ang="0">
                  <a:pos x="14" y="13"/>
                </a:cxn>
                <a:cxn ang="0">
                  <a:pos x="14" y="12"/>
                </a:cxn>
                <a:cxn ang="0">
                  <a:pos x="11" y="10"/>
                </a:cxn>
                <a:cxn ang="0">
                  <a:pos x="10" y="9"/>
                </a:cxn>
                <a:cxn ang="0">
                  <a:pos x="10" y="8"/>
                </a:cxn>
                <a:cxn ang="0">
                  <a:pos x="10" y="7"/>
                </a:cxn>
                <a:cxn ang="0">
                  <a:pos x="10" y="7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7" y="7"/>
                </a:cxn>
                <a:cxn ang="0">
                  <a:pos x="8" y="7"/>
                </a:cxn>
                <a:cxn ang="0">
                  <a:pos x="9" y="8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5" y="18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8" y="20"/>
                </a:cxn>
                <a:cxn ang="0">
                  <a:pos x="18" y="20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18" y="20"/>
                </a:cxn>
                <a:cxn ang="0">
                  <a:pos x="18" y="20"/>
                </a:cxn>
                <a:cxn ang="0">
                  <a:pos x="17" y="18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7" y="18"/>
                </a:cxn>
                <a:cxn ang="0">
                  <a:pos x="19" y="20"/>
                </a:cxn>
              </a:cxnLst>
              <a:rect l="0" t="0" r="r" b="b"/>
              <a:pathLst>
                <a:path w="20" h="20">
                  <a:moveTo>
                    <a:pt x="19" y="20"/>
                  </a:moveTo>
                  <a:lnTo>
                    <a:pt x="20" y="18"/>
                  </a:lnTo>
                  <a:lnTo>
                    <a:pt x="20" y="18"/>
                  </a:lnTo>
                  <a:lnTo>
                    <a:pt x="17" y="15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1" y="10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8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9" y="20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6" name="Freeform 42"/>
            <p:cNvSpPr>
              <a:spLocks/>
            </p:cNvSpPr>
            <p:nvPr/>
          </p:nvSpPr>
          <p:spPr bwMode="auto">
            <a:xfrm>
              <a:off x="4900613" y="5287963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7" name="Freeform 43"/>
            <p:cNvSpPr>
              <a:spLocks/>
            </p:cNvSpPr>
            <p:nvPr/>
          </p:nvSpPr>
          <p:spPr bwMode="auto">
            <a:xfrm>
              <a:off x="4886325" y="5281613"/>
              <a:ext cx="6350" cy="476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3" y="2"/>
                </a:cxn>
                <a:cxn ang="0">
                  <a:pos x="2" y="1"/>
                </a:cxn>
              </a:cxnLst>
              <a:rect l="0" t="0" r="r" b="b"/>
              <a:pathLst>
                <a:path w="4" h="3">
                  <a:moveTo>
                    <a:pt x="2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2"/>
                  </a:lnTo>
                  <a:lnTo>
                    <a:pt x="2" y="1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8" name="Freeform 44"/>
            <p:cNvSpPr>
              <a:spLocks/>
            </p:cNvSpPr>
            <p:nvPr/>
          </p:nvSpPr>
          <p:spPr bwMode="auto">
            <a:xfrm>
              <a:off x="4900613" y="5273675"/>
              <a:ext cx="6350" cy="9525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3" y="3"/>
                </a:cxn>
              </a:cxnLst>
              <a:rect l="0" t="0" r="r" b="b"/>
              <a:pathLst>
                <a:path w="4" h="6"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4" y="5"/>
                  </a:lnTo>
                  <a:lnTo>
                    <a:pt x="3" y="4"/>
                  </a:lnTo>
                  <a:lnTo>
                    <a:pt x="3" y="3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9" name="Freeform 45"/>
            <p:cNvSpPr>
              <a:spLocks/>
            </p:cNvSpPr>
            <p:nvPr/>
          </p:nvSpPr>
          <p:spPr bwMode="auto">
            <a:xfrm>
              <a:off x="4856163" y="5246688"/>
              <a:ext cx="3175" cy="635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2" h="4">
                  <a:moveTo>
                    <a:pt x="0" y="1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0" name="Freeform 46"/>
            <p:cNvSpPr>
              <a:spLocks/>
            </p:cNvSpPr>
            <p:nvPr/>
          </p:nvSpPr>
          <p:spPr bwMode="auto">
            <a:xfrm>
              <a:off x="4900613" y="5243513"/>
              <a:ext cx="42863" cy="44450"/>
            </a:xfrm>
            <a:custGeom>
              <a:avLst/>
              <a:gdLst/>
              <a:ahLst/>
              <a:cxnLst>
                <a:cxn ang="0">
                  <a:pos x="6" y="9"/>
                </a:cxn>
                <a:cxn ang="0">
                  <a:pos x="7" y="11"/>
                </a:cxn>
                <a:cxn ang="0">
                  <a:pos x="10" y="14"/>
                </a:cxn>
                <a:cxn ang="0">
                  <a:pos x="8" y="14"/>
                </a:cxn>
                <a:cxn ang="0">
                  <a:pos x="8" y="15"/>
                </a:cxn>
                <a:cxn ang="0">
                  <a:pos x="12" y="16"/>
                </a:cxn>
                <a:cxn ang="0">
                  <a:pos x="16" y="21"/>
                </a:cxn>
                <a:cxn ang="0">
                  <a:pos x="16" y="21"/>
                </a:cxn>
                <a:cxn ang="0">
                  <a:pos x="19" y="21"/>
                </a:cxn>
                <a:cxn ang="0">
                  <a:pos x="20" y="22"/>
                </a:cxn>
                <a:cxn ang="0">
                  <a:pos x="20" y="22"/>
                </a:cxn>
                <a:cxn ang="0">
                  <a:pos x="19" y="22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19" y="25"/>
                </a:cxn>
                <a:cxn ang="0">
                  <a:pos x="21" y="27"/>
                </a:cxn>
                <a:cxn ang="0">
                  <a:pos x="23" y="28"/>
                </a:cxn>
                <a:cxn ang="0">
                  <a:pos x="21" y="26"/>
                </a:cxn>
                <a:cxn ang="0">
                  <a:pos x="22" y="25"/>
                </a:cxn>
                <a:cxn ang="0">
                  <a:pos x="25" y="27"/>
                </a:cxn>
                <a:cxn ang="0">
                  <a:pos x="25" y="26"/>
                </a:cxn>
                <a:cxn ang="0">
                  <a:pos x="25" y="26"/>
                </a:cxn>
                <a:cxn ang="0">
                  <a:pos x="25" y="25"/>
                </a:cxn>
                <a:cxn ang="0">
                  <a:pos x="24" y="24"/>
                </a:cxn>
                <a:cxn ang="0">
                  <a:pos x="23" y="23"/>
                </a:cxn>
                <a:cxn ang="0">
                  <a:pos x="25" y="24"/>
                </a:cxn>
                <a:cxn ang="0">
                  <a:pos x="27" y="25"/>
                </a:cxn>
                <a:cxn ang="0">
                  <a:pos x="25" y="23"/>
                </a:cxn>
                <a:cxn ang="0">
                  <a:pos x="23" y="21"/>
                </a:cxn>
                <a:cxn ang="0">
                  <a:pos x="16" y="16"/>
                </a:cxn>
                <a:cxn ang="0">
                  <a:pos x="17" y="18"/>
                </a:cxn>
                <a:cxn ang="0">
                  <a:pos x="19" y="20"/>
                </a:cxn>
                <a:cxn ang="0">
                  <a:pos x="12" y="12"/>
                </a:cxn>
                <a:cxn ang="0">
                  <a:pos x="8" y="9"/>
                </a:cxn>
                <a:cxn ang="0">
                  <a:pos x="10" y="11"/>
                </a:cxn>
                <a:cxn ang="0">
                  <a:pos x="12" y="12"/>
                </a:cxn>
                <a:cxn ang="0">
                  <a:pos x="14" y="13"/>
                </a:cxn>
                <a:cxn ang="0">
                  <a:pos x="15" y="14"/>
                </a:cxn>
                <a:cxn ang="0">
                  <a:pos x="17" y="15"/>
                </a:cxn>
                <a:cxn ang="0">
                  <a:pos x="16" y="13"/>
                </a:cxn>
                <a:cxn ang="0">
                  <a:pos x="14" y="12"/>
                </a:cxn>
                <a:cxn ang="0">
                  <a:pos x="12" y="9"/>
                </a:cxn>
                <a:cxn ang="0">
                  <a:pos x="8" y="7"/>
                </a:cxn>
                <a:cxn ang="0">
                  <a:pos x="7" y="9"/>
                </a:cxn>
                <a:cxn ang="0">
                  <a:pos x="2" y="3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7" h="28">
                  <a:moveTo>
                    <a:pt x="0" y="3"/>
                  </a:moveTo>
                  <a:lnTo>
                    <a:pt x="6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8" y="13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5" y="19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20" y="26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4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7" y="26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5" y="2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3" y="21"/>
                  </a:lnTo>
                  <a:lnTo>
                    <a:pt x="19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8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6" y="18"/>
                  </a:lnTo>
                  <a:lnTo>
                    <a:pt x="12" y="12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4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2" y="9"/>
                  </a:lnTo>
                  <a:lnTo>
                    <a:pt x="10" y="8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5" y="7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1" name="Freeform 47"/>
            <p:cNvSpPr>
              <a:spLocks/>
            </p:cNvSpPr>
            <p:nvPr/>
          </p:nvSpPr>
          <p:spPr bwMode="auto">
            <a:xfrm>
              <a:off x="4865688" y="5241925"/>
              <a:ext cx="15875" cy="25400"/>
            </a:xfrm>
            <a:custGeom>
              <a:avLst/>
              <a:gdLst/>
              <a:ahLst/>
              <a:cxnLst>
                <a:cxn ang="0">
                  <a:pos x="5" y="10"/>
                </a:cxn>
                <a:cxn ang="0">
                  <a:pos x="3" y="8"/>
                </a:cxn>
                <a:cxn ang="0">
                  <a:pos x="3" y="8"/>
                </a:cxn>
                <a:cxn ang="0">
                  <a:pos x="3" y="6"/>
                </a:cxn>
                <a:cxn ang="0">
                  <a:pos x="2" y="5"/>
                </a:cxn>
                <a:cxn ang="0">
                  <a:pos x="2" y="4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2" y="10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5" y="13"/>
                </a:cxn>
                <a:cxn ang="0">
                  <a:pos x="7" y="15"/>
                </a:cxn>
                <a:cxn ang="0">
                  <a:pos x="9" y="16"/>
                </a:cxn>
                <a:cxn ang="0">
                  <a:pos x="10" y="16"/>
                </a:cxn>
                <a:cxn ang="0">
                  <a:pos x="10" y="15"/>
                </a:cxn>
                <a:cxn ang="0">
                  <a:pos x="5" y="10"/>
                </a:cxn>
              </a:cxnLst>
              <a:rect l="0" t="0" r="r" b="b"/>
              <a:pathLst>
                <a:path w="10" h="16">
                  <a:moveTo>
                    <a:pt x="5" y="10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7" y="15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5" y="10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2" name="Freeform 48"/>
            <p:cNvSpPr>
              <a:spLocks/>
            </p:cNvSpPr>
            <p:nvPr/>
          </p:nvSpPr>
          <p:spPr bwMode="auto">
            <a:xfrm>
              <a:off x="4892675" y="5227638"/>
              <a:ext cx="17463" cy="15875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9" y="9"/>
                </a:cxn>
                <a:cxn ang="0">
                  <a:pos x="10" y="10"/>
                </a:cxn>
                <a:cxn ang="0">
                  <a:pos x="11" y="9"/>
                </a:cxn>
                <a:cxn ang="0">
                  <a:pos x="10" y="8"/>
                </a:cxn>
                <a:cxn ang="0">
                  <a:pos x="9" y="6"/>
                </a:cxn>
                <a:cxn ang="0">
                  <a:pos x="9" y="4"/>
                </a:cxn>
                <a:cxn ang="0">
                  <a:pos x="7" y="4"/>
                </a:cxn>
                <a:cxn ang="0">
                  <a:pos x="5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</a:cxnLst>
              <a:rect l="0" t="0" r="r" b="b"/>
              <a:pathLst>
                <a:path w="11" h="10">
                  <a:moveTo>
                    <a:pt x="5" y="6"/>
                  </a:moveTo>
                  <a:lnTo>
                    <a:pt x="5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7" y="6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9" y="6"/>
                  </a:lnTo>
                  <a:lnTo>
                    <a:pt x="9" y="4"/>
                  </a:lnTo>
                  <a:lnTo>
                    <a:pt x="7" y="4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3" name="Freeform 49"/>
            <p:cNvSpPr>
              <a:spLocks/>
            </p:cNvSpPr>
            <p:nvPr/>
          </p:nvSpPr>
          <p:spPr bwMode="auto">
            <a:xfrm>
              <a:off x="4859338" y="5192713"/>
              <a:ext cx="22225" cy="60325"/>
            </a:xfrm>
            <a:custGeom>
              <a:avLst/>
              <a:gdLst/>
              <a:ahLst/>
              <a:cxnLst>
                <a:cxn ang="0">
                  <a:pos x="13" y="36"/>
                </a:cxn>
                <a:cxn ang="0">
                  <a:pos x="13" y="35"/>
                </a:cxn>
                <a:cxn ang="0">
                  <a:pos x="11" y="32"/>
                </a:cxn>
                <a:cxn ang="0">
                  <a:pos x="11" y="30"/>
                </a:cxn>
                <a:cxn ang="0">
                  <a:pos x="11" y="28"/>
                </a:cxn>
                <a:cxn ang="0">
                  <a:pos x="11" y="26"/>
                </a:cxn>
                <a:cxn ang="0">
                  <a:pos x="9" y="26"/>
                </a:cxn>
                <a:cxn ang="0">
                  <a:pos x="11" y="24"/>
                </a:cxn>
                <a:cxn ang="0">
                  <a:pos x="9" y="19"/>
                </a:cxn>
                <a:cxn ang="0">
                  <a:pos x="11" y="17"/>
                </a:cxn>
                <a:cxn ang="0">
                  <a:pos x="11" y="16"/>
                </a:cxn>
                <a:cxn ang="0">
                  <a:pos x="11" y="13"/>
                </a:cxn>
                <a:cxn ang="0">
                  <a:pos x="9" y="13"/>
                </a:cxn>
                <a:cxn ang="0">
                  <a:pos x="9" y="11"/>
                </a:cxn>
                <a:cxn ang="0">
                  <a:pos x="6" y="9"/>
                </a:cxn>
                <a:cxn ang="0">
                  <a:pos x="5" y="5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6" y="13"/>
                </a:cxn>
                <a:cxn ang="0">
                  <a:pos x="7" y="16"/>
                </a:cxn>
                <a:cxn ang="0">
                  <a:pos x="6" y="15"/>
                </a:cxn>
                <a:cxn ang="0">
                  <a:pos x="7" y="17"/>
                </a:cxn>
                <a:cxn ang="0">
                  <a:pos x="6" y="17"/>
                </a:cxn>
                <a:cxn ang="0">
                  <a:pos x="5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17"/>
                </a:cxn>
                <a:cxn ang="0">
                  <a:pos x="1" y="17"/>
                </a:cxn>
                <a:cxn ang="0">
                  <a:pos x="3" y="19"/>
                </a:cxn>
                <a:cxn ang="0">
                  <a:pos x="4" y="24"/>
                </a:cxn>
                <a:cxn ang="0">
                  <a:pos x="5" y="25"/>
                </a:cxn>
                <a:cxn ang="0">
                  <a:pos x="5" y="26"/>
                </a:cxn>
                <a:cxn ang="0">
                  <a:pos x="5" y="28"/>
                </a:cxn>
                <a:cxn ang="0">
                  <a:pos x="6" y="28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11" y="38"/>
                </a:cxn>
                <a:cxn ang="0">
                  <a:pos x="13" y="38"/>
                </a:cxn>
                <a:cxn ang="0">
                  <a:pos x="14" y="37"/>
                </a:cxn>
                <a:cxn ang="0">
                  <a:pos x="14" y="36"/>
                </a:cxn>
              </a:cxnLst>
              <a:rect l="0" t="0" r="r" b="b"/>
              <a:pathLst>
                <a:path w="14" h="38">
                  <a:moveTo>
                    <a:pt x="13" y="36"/>
                  </a:moveTo>
                  <a:lnTo>
                    <a:pt x="13" y="36"/>
                  </a:lnTo>
                  <a:lnTo>
                    <a:pt x="13" y="36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9" y="22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1" y="17"/>
                  </a:lnTo>
                  <a:lnTo>
                    <a:pt x="9" y="17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6" y="9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8"/>
                  </a:lnTo>
                  <a:lnTo>
                    <a:pt x="4" y="9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3" y="19"/>
                  </a:lnTo>
                  <a:lnTo>
                    <a:pt x="3" y="23"/>
                  </a:lnTo>
                  <a:lnTo>
                    <a:pt x="4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6" y="32"/>
                  </a:lnTo>
                  <a:lnTo>
                    <a:pt x="9" y="35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3" y="36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4" name="Freeform 50"/>
            <p:cNvSpPr>
              <a:spLocks/>
            </p:cNvSpPr>
            <p:nvPr/>
          </p:nvSpPr>
          <p:spPr bwMode="auto">
            <a:xfrm>
              <a:off x="4873625" y="5184775"/>
              <a:ext cx="33338" cy="33338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1" y="15"/>
                </a:cxn>
                <a:cxn ang="0">
                  <a:pos x="11" y="18"/>
                </a:cxn>
                <a:cxn ang="0">
                  <a:pos x="12" y="18"/>
                </a:cxn>
                <a:cxn ang="0">
                  <a:pos x="15" y="21"/>
                </a:cxn>
                <a:cxn ang="0">
                  <a:pos x="17" y="21"/>
                </a:cxn>
                <a:cxn ang="0">
                  <a:pos x="17" y="20"/>
                </a:cxn>
                <a:cxn ang="0">
                  <a:pos x="17" y="18"/>
                </a:cxn>
                <a:cxn ang="0">
                  <a:pos x="19" y="1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17" y="11"/>
                </a:cxn>
                <a:cxn ang="0">
                  <a:pos x="13" y="11"/>
                </a:cxn>
                <a:cxn ang="0">
                  <a:pos x="12" y="9"/>
                </a:cxn>
                <a:cxn ang="0">
                  <a:pos x="13" y="5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6" y="0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8" y="15"/>
                </a:cxn>
                <a:cxn ang="0">
                  <a:pos x="8" y="15"/>
                </a:cxn>
              </a:cxnLst>
              <a:rect l="0" t="0" r="r" b="b"/>
              <a:pathLst>
                <a:path w="21" h="21">
                  <a:moveTo>
                    <a:pt x="8" y="15"/>
                  </a:moveTo>
                  <a:lnTo>
                    <a:pt x="8" y="14"/>
                  </a:lnTo>
                  <a:lnTo>
                    <a:pt x="10" y="14"/>
                  </a:lnTo>
                  <a:lnTo>
                    <a:pt x="11" y="15"/>
                  </a:lnTo>
                  <a:lnTo>
                    <a:pt x="10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9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8" y="15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5" name="Freeform 51"/>
            <p:cNvSpPr>
              <a:spLocks/>
            </p:cNvSpPr>
            <p:nvPr/>
          </p:nvSpPr>
          <p:spPr bwMode="auto">
            <a:xfrm>
              <a:off x="4791075" y="5038725"/>
              <a:ext cx="514350" cy="393700"/>
            </a:xfrm>
            <a:custGeom>
              <a:avLst/>
              <a:gdLst/>
              <a:ahLst/>
              <a:cxnLst>
                <a:cxn ang="0">
                  <a:pos x="301" y="74"/>
                </a:cxn>
                <a:cxn ang="0">
                  <a:pos x="297" y="68"/>
                </a:cxn>
                <a:cxn ang="0">
                  <a:pos x="295" y="49"/>
                </a:cxn>
                <a:cxn ang="0">
                  <a:pos x="289" y="47"/>
                </a:cxn>
                <a:cxn ang="0">
                  <a:pos x="268" y="57"/>
                </a:cxn>
                <a:cxn ang="0">
                  <a:pos x="238" y="53"/>
                </a:cxn>
                <a:cxn ang="0">
                  <a:pos x="211" y="42"/>
                </a:cxn>
                <a:cxn ang="0">
                  <a:pos x="198" y="31"/>
                </a:cxn>
                <a:cxn ang="0">
                  <a:pos x="182" y="13"/>
                </a:cxn>
                <a:cxn ang="0">
                  <a:pos x="165" y="5"/>
                </a:cxn>
                <a:cxn ang="0">
                  <a:pos x="152" y="3"/>
                </a:cxn>
                <a:cxn ang="0">
                  <a:pos x="144" y="11"/>
                </a:cxn>
                <a:cxn ang="0">
                  <a:pos x="128" y="21"/>
                </a:cxn>
                <a:cxn ang="0">
                  <a:pos x="121" y="37"/>
                </a:cxn>
                <a:cxn ang="0">
                  <a:pos x="109" y="52"/>
                </a:cxn>
                <a:cxn ang="0">
                  <a:pos x="99" y="62"/>
                </a:cxn>
                <a:cxn ang="0">
                  <a:pos x="98" y="69"/>
                </a:cxn>
                <a:cxn ang="0">
                  <a:pos x="77" y="73"/>
                </a:cxn>
                <a:cxn ang="0">
                  <a:pos x="60" y="64"/>
                </a:cxn>
                <a:cxn ang="0">
                  <a:pos x="39" y="74"/>
                </a:cxn>
                <a:cxn ang="0">
                  <a:pos x="18" y="80"/>
                </a:cxn>
                <a:cxn ang="0">
                  <a:pos x="4" y="84"/>
                </a:cxn>
                <a:cxn ang="0">
                  <a:pos x="6" y="92"/>
                </a:cxn>
                <a:cxn ang="0">
                  <a:pos x="8" y="99"/>
                </a:cxn>
                <a:cxn ang="0">
                  <a:pos x="18" y="118"/>
                </a:cxn>
                <a:cxn ang="0">
                  <a:pos x="23" y="123"/>
                </a:cxn>
                <a:cxn ang="0">
                  <a:pos x="27" y="120"/>
                </a:cxn>
                <a:cxn ang="0">
                  <a:pos x="29" y="114"/>
                </a:cxn>
                <a:cxn ang="0">
                  <a:pos x="31" y="107"/>
                </a:cxn>
                <a:cxn ang="0">
                  <a:pos x="37" y="105"/>
                </a:cxn>
                <a:cxn ang="0">
                  <a:pos x="50" y="86"/>
                </a:cxn>
                <a:cxn ang="0">
                  <a:pos x="79" y="112"/>
                </a:cxn>
                <a:cxn ang="0">
                  <a:pos x="106" y="155"/>
                </a:cxn>
                <a:cxn ang="0">
                  <a:pos x="98" y="160"/>
                </a:cxn>
                <a:cxn ang="0">
                  <a:pos x="91" y="163"/>
                </a:cxn>
                <a:cxn ang="0">
                  <a:pos x="111" y="183"/>
                </a:cxn>
                <a:cxn ang="0">
                  <a:pos x="128" y="196"/>
                </a:cxn>
                <a:cxn ang="0">
                  <a:pos x="132" y="200"/>
                </a:cxn>
                <a:cxn ang="0">
                  <a:pos x="135" y="207"/>
                </a:cxn>
                <a:cxn ang="0">
                  <a:pos x="140" y="212"/>
                </a:cxn>
                <a:cxn ang="0">
                  <a:pos x="159" y="209"/>
                </a:cxn>
                <a:cxn ang="0">
                  <a:pos x="195" y="226"/>
                </a:cxn>
                <a:cxn ang="0">
                  <a:pos x="217" y="242"/>
                </a:cxn>
                <a:cxn ang="0">
                  <a:pos x="228" y="244"/>
                </a:cxn>
                <a:cxn ang="0">
                  <a:pos x="196" y="209"/>
                </a:cxn>
                <a:cxn ang="0">
                  <a:pos x="158" y="173"/>
                </a:cxn>
                <a:cxn ang="0">
                  <a:pos x="145" y="151"/>
                </a:cxn>
                <a:cxn ang="0">
                  <a:pos x="140" y="135"/>
                </a:cxn>
                <a:cxn ang="0">
                  <a:pos x="128" y="129"/>
                </a:cxn>
                <a:cxn ang="0">
                  <a:pos x="125" y="110"/>
                </a:cxn>
                <a:cxn ang="0">
                  <a:pos x="142" y="99"/>
                </a:cxn>
                <a:cxn ang="0">
                  <a:pos x="167" y="93"/>
                </a:cxn>
                <a:cxn ang="0">
                  <a:pos x="190" y="93"/>
                </a:cxn>
                <a:cxn ang="0">
                  <a:pos x="209" y="97"/>
                </a:cxn>
                <a:cxn ang="0">
                  <a:pos x="222" y="101"/>
                </a:cxn>
                <a:cxn ang="0">
                  <a:pos x="253" y="101"/>
                </a:cxn>
                <a:cxn ang="0">
                  <a:pos x="276" y="105"/>
                </a:cxn>
                <a:cxn ang="0">
                  <a:pos x="283" y="102"/>
                </a:cxn>
                <a:cxn ang="0">
                  <a:pos x="290" y="114"/>
                </a:cxn>
                <a:cxn ang="0">
                  <a:pos x="307" y="110"/>
                </a:cxn>
                <a:cxn ang="0">
                  <a:pos x="310" y="95"/>
                </a:cxn>
              </a:cxnLst>
              <a:rect l="0" t="0" r="r" b="b"/>
              <a:pathLst>
                <a:path w="324" h="248">
                  <a:moveTo>
                    <a:pt x="323" y="93"/>
                  </a:moveTo>
                  <a:lnTo>
                    <a:pt x="322" y="93"/>
                  </a:lnTo>
                  <a:lnTo>
                    <a:pt x="322" y="92"/>
                  </a:lnTo>
                  <a:lnTo>
                    <a:pt x="310" y="89"/>
                  </a:lnTo>
                  <a:lnTo>
                    <a:pt x="308" y="88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6" y="84"/>
                  </a:lnTo>
                  <a:lnTo>
                    <a:pt x="306" y="84"/>
                  </a:lnTo>
                  <a:lnTo>
                    <a:pt x="304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1" y="81"/>
                  </a:lnTo>
                  <a:lnTo>
                    <a:pt x="303" y="80"/>
                  </a:lnTo>
                  <a:lnTo>
                    <a:pt x="304" y="80"/>
                  </a:lnTo>
                  <a:lnTo>
                    <a:pt x="304" y="78"/>
                  </a:lnTo>
                  <a:lnTo>
                    <a:pt x="303" y="77"/>
                  </a:lnTo>
                  <a:lnTo>
                    <a:pt x="301" y="77"/>
                  </a:lnTo>
                  <a:lnTo>
                    <a:pt x="301" y="76"/>
                  </a:lnTo>
                  <a:lnTo>
                    <a:pt x="301" y="74"/>
                  </a:lnTo>
                  <a:lnTo>
                    <a:pt x="303" y="74"/>
                  </a:lnTo>
                  <a:lnTo>
                    <a:pt x="306" y="74"/>
                  </a:lnTo>
                  <a:lnTo>
                    <a:pt x="307" y="73"/>
                  </a:lnTo>
                  <a:lnTo>
                    <a:pt x="307" y="72"/>
                  </a:lnTo>
                  <a:lnTo>
                    <a:pt x="306" y="72"/>
                  </a:lnTo>
                  <a:lnTo>
                    <a:pt x="305" y="72"/>
                  </a:lnTo>
                  <a:lnTo>
                    <a:pt x="304" y="71"/>
                  </a:lnTo>
                  <a:lnTo>
                    <a:pt x="304" y="71"/>
                  </a:lnTo>
                  <a:lnTo>
                    <a:pt x="304" y="71"/>
                  </a:lnTo>
                  <a:lnTo>
                    <a:pt x="304" y="71"/>
                  </a:lnTo>
                  <a:lnTo>
                    <a:pt x="303" y="71"/>
                  </a:lnTo>
                  <a:lnTo>
                    <a:pt x="303" y="69"/>
                  </a:lnTo>
                  <a:lnTo>
                    <a:pt x="301" y="69"/>
                  </a:lnTo>
                  <a:lnTo>
                    <a:pt x="301" y="71"/>
                  </a:lnTo>
                  <a:lnTo>
                    <a:pt x="301" y="71"/>
                  </a:lnTo>
                  <a:lnTo>
                    <a:pt x="301" y="71"/>
                  </a:lnTo>
                  <a:lnTo>
                    <a:pt x="299" y="71"/>
                  </a:lnTo>
                  <a:lnTo>
                    <a:pt x="298" y="71"/>
                  </a:lnTo>
                  <a:lnTo>
                    <a:pt x="298" y="71"/>
                  </a:lnTo>
                  <a:lnTo>
                    <a:pt x="297" y="69"/>
                  </a:lnTo>
                  <a:lnTo>
                    <a:pt x="295" y="69"/>
                  </a:lnTo>
                  <a:lnTo>
                    <a:pt x="297" y="68"/>
                  </a:lnTo>
                  <a:lnTo>
                    <a:pt x="297" y="67"/>
                  </a:lnTo>
                  <a:lnTo>
                    <a:pt x="297" y="66"/>
                  </a:lnTo>
                  <a:lnTo>
                    <a:pt x="297" y="65"/>
                  </a:lnTo>
                  <a:lnTo>
                    <a:pt x="298" y="65"/>
                  </a:lnTo>
                  <a:lnTo>
                    <a:pt x="299" y="63"/>
                  </a:lnTo>
                  <a:lnTo>
                    <a:pt x="299" y="62"/>
                  </a:lnTo>
                  <a:lnTo>
                    <a:pt x="299" y="61"/>
                  </a:lnTo>
                  <a:lnTo>
                    <a:pt x="299" y="61"/>
                  </a:lnTo>
                  <a:lnTo>
                    <a:pt x="298" y="60"/>
                  </a:lnTo>
                  <a:lnTo>
                    <a:pt x="297" y="60"/>
                  </a:lnTo>
                  <a:lnTo>
                    <a:pt x="297" y="59"/>
                  </a:lnTo>
                  <a:lnTo>
                    <a:pt x="295" y="57"/>
                  </a:lnTo>
                  <a:lnTo>
                    <a:pt x="295" y="56"/>
                  </a:lnTo>
                  <a:lnTo>
                    <a:pt x="295" y="54"/>
                  </a:lnTo>
                  <a:lnTo>
                    <a:pt x="293" y="53"/>
                  </a:lnTo>
                  <a:lnTo>
                    <a:pt x="293" y="53"/>
                  </a:lnTo>
                  <a:lnTo>
                    <a:pt x="293" y="52"/>
                  </a:lnTo>
                  <a:lnTo>
                    <a:pt x="293" y="52"/>
                  </a:lnTo>
                  <a:lnTo>
                    <a:pt x="293" y="52"/>
                  </a:lnTo>
                  <a:lnTo>
                    <a:pt x="293" y="51"/>
                  </a:lnTo>
                  <a:lnTo>
                    <a:pt x="293" y="49"/>
                  </a:lnTo>
                  <a:lnTo>
                    <a:pt x="295" y="49"/>
                  </a:lnTo>
                  <a:lnTo>
                    <a:pt x="295" y="49"/>
                  </a:lnTo>
                  <a:lnTo>
                    <a:pt x="297" y="48"/>
                  </a:lnTo>
                  <a:lnTo>
                    <a:pt x="295" y="48"/>
                  </a:lnTo>
                  <a:lnTo>
                    <a:pt x="295" y="47"/>
                  </a:lnTo>
                  <a:lnTo>
                    <a:pt x="295" y="47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7" y="45"/>
                  </a:lnTo>
                  <a:lnTo>
                    <a:pt x="295" y="44"/>
                  </a:lnTo>
                  <a:lnTo>
                    <a:pt x="295" y="44"/>
                  </a:lnTo>
                  <a:lnTo>
                    <a:pt x="295" y="45"/>
                  </a:lnTo>
                  <a:lnTo>
                    <a:pt x="295" y="45"/>
                  </a:lnTo>
                  <a:lnTo>
                    <a:pt x="293" y="45"/>
                  </a:lnTo>
                  <a:lnTo>
                    <a:pt x="292" y="46"/>
                  </a:lnTo>
                  <a:lnTo>
                    <a:pt x="291" y="46"/>
                  </a:lnTo>
                  <a:lnTo>
                    <a:pt x="291" y="46"/>
                  </a:lnTo>
                  <a:lnTo>
                    <a:pt x="291" y="45"/>
                  </a:lnTo>
                  <a:lnTo>
                    <a:pt x="290" y="46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89" y="47"/>
                  </a:lnTo>
                  <a:lnTo>
                    <a:pt x="289" y="47"/>
                  </a:lnTo>
                  <a:lnTo>
                    <a:pt x="287" y="46"/>
                  </a:lnTo>
                  <a:lnTo>
                    <a:pt x="283" y="46"/>
                  </a:lnTo>
                  <a:lnTo>
                    <a:pt x="282" y="46"/>
                  </a:lnTo>
                  <a:lnTo>
                    <a:pt x="281" y="47"/>
                  </a:lnTo>
                  <a:lnTo>
                    <a:pt x="281" y="47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0" y="49"/>
                  </a:lnTo>
                  <a:lnTo>
                    <a:pt x="279" y="51"/>
                  </a:lnTo>
                  <a:lnTo>
                    <a:pt x="278" y="52"/>
                  </a:lnTo>
                  <a:lnTo>
                    <a:pt x="276" y="54"/>
                  </a:lnTo>
                  <a:lnTo>
                    <a:pt x="274" y="54"/>
                  </a:lnTo>
                  <a:lnTo>
                    <a:pt x="273" y="54"/>
                  </a:lnTo>
                  <a:lnTo>
                    <a:pt x="272" y="54"/>
                  </a:lnTo>
                  <a:lnTo>
                    <a:pt x="271" y="56"/>
                  </a:lnTo>
                  <a:lnTo>
                    <a:pt x="270" y="57"/>
                  </a:lnTo>
                  <a:lnTo>
                    <a:pt x="268" y="57"/>
                  </a:lnTo>
                  <a:lnTo>
                    <a:pt x="268" y="57"/>
                  </a:lnTo>
                  <a:lnTo>
                    <a:pt x="268" y="57"/>
                  </a:lnTo>
                  <a:lnTo>
                    <a:pt x="268" y="57"/>
                  </a:lnTo>
                  <a:lnTo>
                    <a:pt x="268" y="57"/>
                  </a:lnTo>
                  <a:lnTo>
                    <a:pt x="266" y="56"/>
                  </a:lnTo>
                  <a:lnTo>
                    <a:pt x="266" y="56"/>
                  </a:lnTo>
                  <a:lnTo>
                    <a:pt x="265" y="56"/>
                  </a:lnTo>
                  <a:lnTo>
                    <a:pt x="264" y="57"/>
                  </a:lnTo>
                  <a:lnTo>
                    <a:pt x="263" y="56"/>
                  </a:lnTo>
                  <a:lnTo>
                    <a:pt x="262" y="56"/>
                  </a:lnTo>
                  <a:lnTo>
                    <a:pt x="261" y="56"/>
                  </a:lnTo>
                  <a:lnTo>
                    <a:pt x="259" y="54"/>
                  </a:lnTo>
                  <a:lnTo>
                    <a:pt x="259" y="54"/>
                  </a:lnTo>
                  <a:lnTo>
                    <a:pt x="253" y="54"/>
                  </a:lnTo>
                  <a:lnTo>
                    <a:pt x="253" y="54"/>
                  </a:lnTo>
                  <a:lnTo>
                    <a:pt x="253" y="55"/>
                  </a:lnTo>
                  <a:lnTo>
                    <a:pt x="252" y="55"/>
                  </a:lnTo>
                  <a:lnTo>
                    <a:pt x="252" y="55"/>
                  </a:lnTo>
                  <a:lnTo>
                    <a:pt x="245" y="54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40" y="55"/>
                  </a:lnTo>
                  <a:lnTo>
                    <a:pt x="239" y="55"/>
                  </a:lnTo>
                  <a:lnTo>
                    <a:pt x="239" y="55"/>
                  </a:lnTo>
                  <a:lnTo>
                    <a:pt x="239" y="55"/>
                  </a:lnTo>
                  <a:lnTo>
                    <a:pt x="238" y="53"/>
                  </a:lnTo>
                  <a:lnTo>
                    <a:pt x="236" y="52"/>
                  </a:lnTo>
                  <a:lnTo>
                    <a:pt x="230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49"/>
                  </a:lnTo>
                  <a:lnTo>
                    <a:pt x="228" y="48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6" y="46"/>
                  </a:lnTo>
                  <a:lnTo>
                    <a:pt x="224" y="44"/>
                  </a:lnTo>
                  <a:lnTo>
                    <a:pt x="222" y="43"/>
                  </a:lnTo>
                  <a:lnTo>
                    <a:pt x="220" y="43"/>
                  </a:lnTo>
                  <a:lnTo>
                    <a:pt x="216" y="42"/>
                  </a:lnTo>
                  <a:lnTo>
                    <a:pt x="216" y="43"/>
                  </a:lnTo>
                  <a:lnTo>
                    <a:pt x="215" y="43"/>
                  </a:lnTo>
                  <a:lnTo>
                    <a:pt x="215" y="43"/>
                  </a:lnTo>
                  <a:lnTo>
                    <a:pt x="215" y="43"/>
                  </a:lnTo>
                  <a:lnTo>
                    <a:pt x="215" y="42"/>
                  </a:lnTo>
                  <a:lnTo>
                    <a:pt x="213" y="42"/>
                  </a:lnTo>
                  <a:lnTo>
                    <a:pt x="212" y="42"/>
                  </a:lnTo>
                  <a:lnTo>
                    <a:pt x="211" y="42"/>
                  </a:lnTo>
                  <a:lnTo>
                    <a:pt x="211" y="42"/>
                  </a:lnTo>
                  <a:lnTo>
                    <a:pt x="211" y="42"/>
                  </a:lnTo>
                  <a:lnTo>
                    <a:pt x="211" y="39"/>
                  </a:lnTo>
                  <a:lnTo>
                    <a:pt x="210" y="41"/>
                  </a:lnTo>
                  <a:lnTo>
                    <a:pt x="210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10" y="39"/>
                  </a:lnTo>
                  <a:lnTo>
                    <a:pt x="209" y="39"/>
                  </a:lnTo>
                  <a:lnTo>
                    <a:pt x="207" y="39"/>
                  </a:lnTo>
                  <a:lnTo>
                    <a:pt x="207" y="38"/>
                  </a:lnTo>
                  <a:lnTo>
                    <a:pt x="207" y="37"/>
                  </a:lnTo>
                  <a:lnTo>
                    <a:pt x="207" y="37"/>
                  </a:lnTo>
                  <a:lnTo>
                    <a:pt x="207" y="34"/>
                  </a:lnTo>
                  <a:lnTo>
                    <a:pt x="205" y="34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198" y="31"/>
                  </a:lnTo>
                  <a:lnTo>
                    <a:pt x="197" y="30"/>
                  </a:lnTo>
                  <a:lnTo>
                    <a:pt x="195" y="29"/>
                  </a:lnTo>
                  <a:lnTo>
                    <a:pt x="194" y="28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88" y="22"/>
                  </a:lnTo>
                  <a:lnTo>
                    <a:pt x="187" y="20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4" y="17"/>
                  </a:lnTo>
                  <a:lnTo>
                    <a:pt x="184" y="15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0" y="11"/>
                  </a:lnTo>
                  <a:lnTo>
                    <a:pt x="180" y="11"/>
                  </a:lnTo>
                  <a:lnTo>
                    <a:pt x="180" y="13"/>
                  </a:lnTo>
                  <a:lnTo>
                    <a:pt x="180" y="13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6" y="9"/>
                  </a:lnTo>
                  <a:lnTo>
                    <a:pt x="175" y="8"/>
                  </a:lnTo>
                  <a:lnTo>
                    <a:pt x="174" y="7"/>
                  </a:lnTo>
                  <a:lnTo>
                    <a:pt x="173" y="5"/>
                  </a:lnTo>
                  <a:lnTo>
                    <a:pt x="171" y="5"/>
                  </a:lnTo>
                  <a:lnTo>
                    <a:pt x="170" y="5"/>
                  </a:lnTo>
                  <a:lnTo>
                    <a:pt x="170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8" y="5"/>
                  </a:lnTo>
                  <a:lnTo>
                    <a:pt x="165" y="5"/>
                  </a:lnTo>
                  <a:lnTo>
                    <a:pt x="165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2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59" y="2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2"/>
                  </a:lnTo>
                  <a:lnTo>
                    <a:pt x="152" y="3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7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2" y="13"/>
                  </a:lnTo>
                  <a:lnTo>
                    <a:pt x="151" y="13"/>
                  </a:lnTo>
                  <a:lnTo>
                    <a:pt x="150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2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0" y="17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28" y="21"/>
                  </a:lnTo>
                  <a:lnTo>
                    <a:pt x="127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8" y="24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6" y="28"/>
                  </a:lnTo>
                  <a:lnTo>
                    <a:pt x="115" y="30"/>
                  </a:lnTo>
                  <a:lnTo>
                    <a:pt x="115" y="31"/>
                  </a:lnTo>
                  <a:lnTo>
                    <a:pt x="116" y="33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7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41"/>
                  </a:lnTo>
                  <a:lnTo>
                    <a:pt x="119" y="43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6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9" y="49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18" y="52"/>
                  </a:lnTo>
                  <a:lnTo>
                    <a:pt x="117" y="52"/>
                  </a:lnTo>
                  <a:lnTo>
                    <a:pt x="115" y="52"/>
                  </a:lnTo>
                  <a:lnTo>
                    <a:pt x="112" y="52"/>
                  </a:lnTo>
                  <a:lnTo>
                    <a:pt x="111" y="51"/>
                  </a:lnTo>
                  <a:lnTo>
                    <a:pt x="111" y="52"/>
                  </a:lnTo>
                  <a:lnTo>
                    <a:pt x="110" y="52"/>
                  </a:lnTo>
                  <a:lnTo>
                    <a:pt x="109" y="52"/>
                  </a:lnTo>
                  <a:lnTo>
                    <a:pt x="109" y="52"/>
                  </a:lnTo>
                  <a:lnTo>
                    <a:pt x="108" y="52"/>
                  </a:lnTo>
                  <a:lnTo>
                    <a:pt x="107" y="52"/>
                  </a:lnTo>
                  <a:lnTo>
                    <a:pt x="107" y="52"/>
                  </a:lnTo>
                  <a:lnTo>
                    <a:pt x="107" y="53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6" y="55"/>
                  </a:lnTo>
                  <a:lnTo>
                    <a:pt x="106" y="55"/>
                  </a:lnTo>
                  <a:lnTo>
                    <a:pt x="102" y="56"/>
                  </a:lnTo>
                  <a:lnTo>
                    <a:pt x="99" y="57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8" y="60"/>
                  </a:lnTo>
                  <a:lnTo>
                    <a:pt x="98" y="61"/>
                  </a:lnTo>
                  <a:lnTo>
                    <a:pt x="98" y="61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1"/>
                  </a:lnTo>
                  <a:lnTo>
                    <a:pt x="100" y="61"/>
                  </a:lnTo>
                  <a:lnTo>
                    <a:pt x="102" y="61"/>
                  </a:lnTo>
                  <a:lnTo>
                    <a:pt x="102" y="61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2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0" y="65"/>
                  </a:lnTo>
                  <a:lnTo>
                    <a:pt x="99" y="65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8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99" y="71"/>
                  </a:lnTo>
                  <a:lnTo>
                    <a:pt x="99" y="72"/>
                  </a:lnTo>
                  <a:lnTo>
                    <a:pt x="100" y="73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7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6" y="78"/>
                  </a:lnTo>
                  <a:lnTo>
                    <a:pt x="93" y="80"/>
                  </a:lnTo>
                  <a:lnTo>
                    <a:pt x="90" y="80"/>
                  </a:lnTo>
                  <a:lnTo>
                    <a:pt x="86" y="76"/>
                  </a:lnTo>
                  <a:lnTo>
                    <a:pt x="85" y="75"/>
                  </a:lnTo>
                  <a:lnTo>
                    <a:pt x="83" y="75"/>
                  </a:lnTo>
                  <a:lnTo>
                    <a:pt x="83" y="75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1" y="74"/>
                  </a:lnTo>
                  <a:lnTo>
                    <a:pt x="79" y="74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6"/>
                  </a:lnTo>
                  <a:lnTo>
                    <a:pt x="74" y="77"/>
                  </a:lnTo>
                  <a:lnTo>
                    <a:pt x="72" y="76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60" y="66"/>
                  </a:lnTo>
                  <a:lnTo>
                    <a:pt x="60" y="65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58" y="63"/>
                  </a:lnTo>
                  <a:lnTo>
                    <a:pt x="58" y="64"/>
                  </a:lnTo>
                  <a:lnTo>
                    <a:pt x="57" y="65"/>
                  </a:lnTo>
                  <a:lnTo>
                    <a:pt x="56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2"/>
                  </a:lnTo>
                  <a:lnTo>
                    <a:pt x="52" y="73"/>
                  </a:lnTo>
                  <a:lnTo>
                    <a:pt x="50" y="74"/>
                  </a:lnTo>
                  <a:lnTo>
                    <a:pt x="48" y="75"/>
                  </a:lnTo>
                  <a:lnTo>
                    <a:pt x="46" y="76"/>
                  </a:lnTo>
                  <a:lnTo>
                    <a:pt x="43" y="75"/>
                  </a:lnTo>
                  <a:lnTo>
                    <a:pt x="41" y="74"/>
                  </a:lnTo>
                  <a:lnTo>
                    <a:pt x="40" y="74"/>
                  </a:lnTo>
                  <a:lnTo>
                    <a:pt x="39" y="74"/>
                  </a:lnTo>
                  <a:lnTo>
                    <a:pt x="36" y="75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9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4" y="77"/>
                  </a:lnTo>
                  <a:lnTo>
                    <a:pt x="23" y="78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5" y="76"/>
                  </a:lnTo>
                  <a:lnTo>
                    <a:pt x="10" y="77"/>
                  </a:lnTo>
                  <a:lnTo>
                    <a:pt x="7" y="77"/>
                  </a:lnTo>
                  <a:lnTo>
                    <a:pt x="5" y="75"/>
                  </a:lnTo>
                  <a:lnTo>
                    <a:pt x="4" y="74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0" y="74"/>
                  </a:lnTo>
                  <a:lnTo>
                    <a:pt x="0" y="75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3" y="82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5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6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6" y="88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5" y="89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6" y="92"/>
                  </a:lnTo>
                  <a:lnTo>
                    <a:pt x="6" y="93"/>
                  </a:lnTo>
                  <a:lnTo>
                    <a:pt x="5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6" y="97"/>
                  </a:lnTo>
                  <a:lnTo>
                    <a:pt x="5" y="97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7" y="99"/>
                  </a:lnTo>
                  <a:lnTo>
                    <a:pt x="8" y="99"/>
                  </a:lnTo>
                  <a:lnTo>
                    <a:pt x="10" y="99"/>
                  </a:lnTo>
                  <a:lnTo>
                    <a:pt x="12" y="99"/>
                  </a:lnTo>
                  <a:lnTo>
                    <a:pt x="13" y="99"/>
                  </a:lnTo>
                  <a:lnTo>
                    <a:pt x="8" y="99"/>
                  </a:lnTo>
                  <a:lnTo>
                    <a:pt x="7" y="101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8" y="103"/>
                  </a:lnTo>
                  <a:lnTo>
                    <a:pt x="10" y="105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3" y="108"/>
                  </a:lnTo>
                  <a:lnTo>
                    <a:pt x="15" y="112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20" y="116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6" y="116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20" y="119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21" y="121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3" y="122"/>
                  </a:lnTo>
                  <a:lnTo>
                    <a:pt x="23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0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1"/>
                  </a:lnTo>
                  <a:lnTo>
                    <a:pt x="25" y="122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1" y="112"/>
                  </a:lnTo>
                  <a:lnTo>
                    <a:pt x="31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7"/>
                  </a:lnTo>
                  <a:lnTo>
                    <a:pt x="30" y="106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3" y="112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7" y="106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2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7" y="99"/>
                  </a:lnTo>
                  <a:lnTo>
                    <a:pt x="39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5"/>
                  </a:lnTo>
                  <a:lnTo>
                    <a:pt x="42" y="92"/>
                  </a:lnTo>
                  <a:lnTo>
                    <a:pt x="42" y="88"/>
                  </a:lnTo>
                  <a:lnTo>
                    <a:pt x="43" y="86"/>
                  </a:lnTo>
                  <a:lnTo>
                    <a:pt x="44" y="86"/>
                  </a:lnTo>
                  <a:lnTo>
                    <a:pt x="46" y="84"/>
                  </a:lnTo>
                  <a:lnTo>
                    <a:pt x="47" y="84"/>
                  </a:lnTo>
                  <a:lnTo>
                    <a:pt x="48" y="86"/>
                  </a:lnTo>
                  <a:lnTo>
                    <a:pt x="50" y="86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7"/>
                  </a:lnTo>
                  <a:lnTo>
                    <a:pt x="60" y="88"/>
                  </a:lnTo>
                  <a:lnTo>
                    <a:pt x="60" y="89"/>
                  </a:lnTo>
                  <a:lnTo>
                    <a:pt x="60" y="89"/>
                  </a:lnTo>
                  <a:lnTo>
                    <a:pt x="60" y="90"/>
                  </a:lnTo>
                  <a:lnTo>
                    <a:pt x="60" y="92"/>
                  </a:lnTo>
                  <a:lnTo>
                    <a:pt x="62" y="92"/>
                  </a:lnTo>
                  <a:lnTo>
                    <a:pt x="64" y="95"/>
                  </a:lnTo>
                  <a:lnTo>
                    <a:pt x="69" y="99"/>
                  </a:lnTo>
                  <a:lnTo>
                    <a:pt x="73" y="101"/>
                  </a:lnTo>
                  <a:lnTo>
                    <a:pt x="74" y="101"/>
                  </a:lnTo>
                  <a:lnTo>
                    <a:pt x="75" y="102"/>
                  </a:lnTo>
                  <a:lnTo>
                    <a:pt x="75" y="103"/>
                  </a:lnTo>
                  <a:lnTo>
                    <a:pt x="79" y="110"/>
                  </a:lnTo>
                  <a:lnTo>
                    <a:pt x="79" y="112"/>
                  </a:lnTo>
                  <a:lnTo>
                    <a:pt x="79" y="113"/>
                  </a:lnTo>
                  <a:lnTo>
                    <a:pt x="77" y="114"/>
                  </a:lnTo>
                  <a:lnTo>
                    <a:pt x="76" y="118"/>
                  </a:lnTo>
                  <a:lnTo>
                    <a:pt x="76" y="120"/>
                  </a:lnTo>
                  <a:lnTo>
                    <a:pt x="76" y="123"/>
                  </a:lnTo>
                  <a:lnTo>
                    <a:pt x="76" y="125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6" y="128"/>
                  </a:lnTo>
                  <a:lnTo>
                    <a:pt x="77" y="129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5" y="140"/>
                  </a:lnTo>
                  <a:lnTo>
                    <a:pt x="85" y="140"/>
                  </a:lnTo>
                  <a:lnTo>
                    <a:pt x="88" y="141"/>
                  </a:lnTo>
                  <a:lnTo>
                    <a:pt x="89" y="142"/>
                  </a:lnTo>
                  <a:lnTo>
                    <a:pt x="91" y="145"/>
                  </a:lnTo>
                  <a:lnTo>
                    <a:pt x="99" y="152"/>
                  </a:lnTo>
                  <a:lnTo>
                    <a:pt x="100" y="153"/>
                  </a:lnTo>
                  <a:lnTo>
                    <a:pt x="105" y="155"/>
                  </a:lnTo>
                  <a:lnTo>
                    <a:pt x="106" y="155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06" y="159"/>
                  </a:lnTo>
                  <a:lnTo>
                    <a:pt x="105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98" y="155"/>
                  </a:lnTo>
                  <a:lnTo>
                    <a:pt x="96" y="154"/>
                  </a:lnTo>
                  <a:lnTo>
                    <a:pt x="98" y="155"/>
                  </a:lnTo>
                  <a:lnTo>
                    <a:pt x="98" y="156"/>
                  </a:lnTo>
                  <a:lnTo>
                    <a:pt x="99" y="156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8" y="157"/>
                  </a:lnTo>
                  <a:lnTo>
                    <a:pt x="99" y="160"/>
                  </a:lnTo>
                  <a:lnTo>
                    <a:pt x="98" y="160"/>
                  </a:lnTo>
                  <a:lnTo>
                    <a:pt x="98" y="159"/>
                  </a:lnTo>
                  <a:lnTo>
                    <a:pt x="96" y="158"/>
                  </a:lnTo>
                  <a:lnTo>
                    <a:pt x="93" y="156"/>
                  </a:lnTo>
                  <a:lnTo>
                    <a:pt x="93" y="157"/>
                  </a:lnTo>
                  <a:lnTo>
                    <a:pt x="94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4" y="158"/>
                  </a:lnTo>
                  <a:lnTo>
                    <a:pt x="93" y="159"/>
                  </a:lnTo>
                  <a:lnTo>
                    <a:pt x="92" y="160"/>
                  </a:lnTo>
                  <a:lnTo>
                    <a:pt x="92" y="159"/>
                  </a:lnTo>
                  <a:lnTo>
                    <a:pt x="91" y="158"/>
                  </a:lnTo>
                  <a:lnTo>
                    <a:pt x="90" y="158"/>
                  </a:lnTo>
                  <a:lnTo>
                    <a:pt x="90" y="158"/>
                  </a:lnTo>
                  <a:lnTo>
                    <a:pt x="89" y="159"/>
                  </a:lnTo>
                  <a:lnTo>
                    <a:pt x="90" y="160"/>
                  </a:lnTo>
                  <a:lnTo>
                    <a:pt x="91" y="161"/>
                  </a:lnTo>
                  <a:lnTo>
                    <a:pt x="91" y="162"/>
                  </a:lnTo>
                  <a:lnTo>
                    <a:pt x="91" y="163"/>
                  </a:lnTo>
                  <a:lnTo>
                    <a:pt x="93" y="166"/>
                  </a:lnTo>
                  <a:lnTo>
                    <a:pt x="94" y="167"/>
                  </a:lnTo>
                  <a:lnTo>
                    <a:pt x="94" y="167"/>
                  </a:lnTo>
                  <a:lnTo>
                    <a:pt x="94" y="168"/>
                  </a:lnTo>
                  <a:lnTo>
                    <a:pt x="94" y="168"/>
                  </a:lnTo>
                  <a:lnTo>
                    <a:pt x="96" y="170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100" y="174"/>
                  </a:lnTo>
                  <a:lnTo>
                    <a:pt x="102" y="174"/>
                  </a:lnTo>
                  <a:lnTo>
                    <a:pt x="102" y="175"/>
                  </a:lnTo>
                  <a:lnTo>
                    <a:pt x="104" y="177"/>
                  </a:lnTo>
                  <a:lnTo>
                    <a:pt x="107" y="180"/>
                  </a:lnTo>
                  <a:lnTo>
                    <a:pt x="107" y="181"/>
                  </a:lnTo>
                  <a:lnTo>
                    <a:pt x="107" y="181"/>
                  </a:lnTo>
                  <a:lnTo>
                    <a:pt x="108" y="181"/>
                  </a:lnTo>
                  <a:lnTo>
                    <a:pt x="108" y="183"/>
                  </a:lnTo>
                  <a:lnTo>
                    <a:pt x="109" y="183"/>
                  </a:lnTo>
                  <a:lnTo>
                    <a:pt x="109" y="183"/>
                  </a:lnTo>
                  <a:lnTo>
                    <a:pt x="110" y="183"/>
                  </a:lnTo>
                  <a:lnTo>
                    <a:pt x="110" y="183"/>
                  </a:lnTo>
                  <a:lnTo>
                    <a:pt x="111" y="183"/>
                  </a:lnTo>
                  <a:lnTo>
                    <a:pt x="112" y="185"/>
                  </a:lnTo>
                  <a:lnTo>
                    <a:pt x="112" y="185"/>
                  </a:lnTo>
                  <a:lnTo>
                    <a:pt x="113" y="186"/>
                  </a:lnTo>
                  <a:lnTo>
                    <a:pt x="118" y="188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8" y="189"/>
                  </a:lnTo>
                  <a:lnTo>
                    <a:pt x="117" y="188"/>
                  </a:lnTo>
                  <a:lnTo>
                    <a:pt x="117" y="189"/>
                  </a:lnTo>
                  <a:lnTo>
                    <a:pt x="119" y="191"/>
                  </a:lnTo>
                  <a:lnTo>
                    <a:pt x="121" y="191"/>
                  </a:lnTo>
                  <a:lnTo>
                    <a:pt x="121" y="192"/>
                  </a:lnTo>
                  <a:lnTo>
                    <a:pt x="121" y="192"/>
                  </a:lnTo>
                  <a:lnTo>
                    <a:pt x="125" y="194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6"/>
                  </a:lnTo>
                  <a:lnTo>
                    <a:pt x="129" y="196"/>
                  </a:lnTo>
                  <a:lnTo>
                    <a:pt x="129" y="196"/>
                  </a:lnTo>
                  <a:lnTo>
                    <a:pt x="131" y="196"/>
                  </a:lnTo>
                  <a:lnTo>
                    <a:pt x="131" y="198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3" y="198"/>
                  </a:lnTo>
                  <a:lnTo>
                    <a:pt x="134" y="198"/>
                  </a:lnTo>
                  <a:lnTo>
                    <a:pt x="134" y="198"/>
                  </a:lnTo>
                  <a:lnTo>
                    <a:pt x="134" y="198"/>
                  </a:lnTo>
                  <a:lnTo>
                    <a:pt x="135" y="198"/>
                  </a:lnTo>
                  <a:lnTo>
                    <a:pt x="135" y="198"/>
                  </a:lnTo>
                  <a:lnTo>
                    <a:pt x="134" y="198"/>
                  </a:lnTo>
                  <a:lnTo>
                    <a:pt x="134" y="200"/>
                  </a:lnTo>
                  <a:lnTo>
                    <a:pt x="134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4" y="200"/>
                  </a:lnTo>
                  <a:lnTo>
                    <a:pt x="134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2" y="200"/>
                  </a:lnTo>
                  <a:lnTo>
                    <a:pt x="133" y="200"/>
                  </a:lnTo>
                  <a:lnTo>
                    <a:pt x="135" y="201"/>
                  </a:lnTo>
                  <a:lnTo>
                    <a:pt x="135" y="201"/>
                  </a:lnTo>
                  <a:lnTo>
                    <a:pt x="134" y="201"/>
                  </a:lnTo>
                  <a:lnTo>
                    <a:pt x="133" y="201"/>
                  </a:lnTo>
                  <a:lnTo>
                    <a:pt x="133" y="202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133" y="206"/>
                  </a:lnTo>
                  <a:lnTo>
                    <a:pt x="133" y="206"/>
                  </a:lnTo>
                  <a:lnTo>
                    <a:pt x="133" y="206"/>
                  </a:lnTo>
                  <a:lnTo>
                    <a:pt x="134" y="206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3" y="207"/>
                  </a:lnTo>
                  <a:lnTo>
                    <a:pt x="134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6" y="207"/>
                  </a:lnTo>
                  <a:lnTo>
                    <a:pt x="136" y="207"/>
                  </a:lnTo>
                  <a:lnTo>
                    <a:pt x="136" y="207"/>
                  </a:lnTo>
                  <a:lnTo>
                    <a:pt x="136" y="209"/>
                  </a:lnTo>
                  <a:lnTo>
                    <a:pt x="136" y="209"/>
                  </a:lnTo>
                  <a:lnTo>
                    <a:pt x="136" y="209"/>
                  </a:lnTo>
                  <a:lnTo>
                    <a:pt x="136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6" y="211"/>
                  </a:lnTo>
                  <a:lnTo>
                    <a:pt x="138" y="211"/>
                  </a:lnTo>
                  <a:lnTo>
                    <a:pt x="138" y="211"/>
                  </a:lnTo>
                  <a:lnTo>
                    <a:pt x="138" y="211"/>
                  </a:lnTo>
                  <a:lnTo>
                    <a:pt x="138" y="211"/>
                  </a:lnTo>
                  <a:lnTo>
                    <a:pt x="138" y="211"/>
                  </a:lnTo>
                  <a:lnTo>
                    <a:pt x="140" y="212"/>
                  </a:lnTo>
                  <a:lnTo>
                    <a:pt x="141" y="212"/>
                  </a:lnTo>
                  <a:lnTo>
                    <a:pt x="143" y="212"/>
                  </a:lnTo>
                  <a:lnTo>
                    <a:pt x="143" y="212"/>
                  </a:lnTo>
                  <a:lnTo>
                    <a:pt x="143" y="212"/>
                  </a:lnTo>
                  <a:lnTo>
                    <a:pt x="146" y="212"/>
                  </a:lnTo>
                  <a:lnTo>
                    <a:pt x="146" y="211"/>
                  </a:lnTo>
                  <a:lnTo>
                    <a:pt x="145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51" y="209"/>
                  </a:lnTo>
                  <a:lnTo>
                    <a:pt x="153" y="209"/>
                  </a:lnTo>
                  <a:lnTo>
                    <a:pt x="153" y="207"/>
                  </a:lnTo>
                  <a:lnTo>
                    <a:pt x="154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61" y="207"/>
                  </a:lnTo>
                  <a:lnTo>
                    <a:pt x="162" y="207"/>
                  </a:lnTo>
                  <a:lnTo>
                    <a:pt x="163" y="207"/>
                  </a:lnTo>
                  <a:lnTo>
                    <a:pt x="162" y="209"/>
                  </a:lnTo>
                  <a:lnTo>
                    <a:pt x="161" y="209"/>
                  </a:lnTo>
                  <a:lnTo>
                    <a:pt x="160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63" y="209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09"/>
                  </a:lnTo>
                  <a:lnTo>
                    <a:pt x="165" y="209"/>
                  </a:lnTo>
                  <a:lnTo>
                    <a:pt x="167" y="209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71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9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7"/>
                  </a:lnTo>
                  <a:lnTo>
                    <a:pt x="195" y="227"/>
                  </a:lnTo>
                  <a:lnTo>
                    <a:pt x="196" y="228"/>
                  </a:lnTo>
                  <a:lnTo>
                    <a:pt x="196" y="228"/>
                  </a:lnTo>
                  <a:lnTo>
                    <a:pt x="196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98" y="228"/>
                  </a:lnTo>
                  <a:lnTo>
                    <a:pt x="198" y="230"/>
                  </a:lnTo>
                  <a:lnTo>
                    <a:pt x="198" y="230"/>
                  </a:lnTo>
                  <a:lnTo>
                    <a:pt x="199" y="230"/>
                  </a:lnTo>
                  <a:lnTo>
                    <a:pt x="202" y="232"/>
                  </a:lnTo>
                  <a:lnTo>
                    <a:pt x="210" y="236"/>
                  </a:lnTo>
                  <a:lnTo>
                    <a:pt x="212" y="239"/>
                  </a:lnTo>
                  <a:lnTo>
                    <a:pt x="215" y="241"/>
                  </a:lnTo>
                  <a:lnTo>
                    <a:pt x="216" y="240"/>
                  </a:lnTo>
                  <a:lnTo>
                    <a:pt x="216" y="240"/>
                  </a:lnTo>
                  <a:lnTo>
                    <a:pt x="216" y="241"/>
                  </a:lnTo>
                  <a:lnTo>
                    <a:pt x="216" y="241"/>
                  </a:lnTo>
                  <a:lnTo>
                    <a:pt x="216" y="242"/>
                  </a:lnTo>
                  <a:lnTo>
                    <a:pt x="217" y="242"/>
                  </a:lnTo>
                  <a:lnTo>
                    <a:pt x="217" y="242"/>
                  </a:lnTo>
                  <a:lnTo>
                    <a:pt x="217" y="242"/>
                  </a:lnTo>
                  <a:lnTo>
                    <a:pt x="217" y="243"/>
                  </a:lnTo>
                  <a:lnTo>
                    <a:pt x="216" y="243"/>
                  </a:lnTo>
                  <a:lnTo>
                    <a:pt x="217" y="243"/>
                  </a:lnTo>
                  <a:lnTo>
                    <a:pt x="217" y="242"/>
                  </a:lnTo>
                  <a:lnTo>
                    <a:pt x="219" y="242"/>
                  </a:lnTo>
                  <a:lnTo>
                    <a:pt x="220" y="242"/>
                  </a:lnTo>
                  <a:lnTo>
                    <a:pt x="219" y="243"/>
                  </a:lnTo>
                  <a:lnTo>
                    <a:pt x="217" y="243"/>
                  </a:lnTo>
                  <a:lnTo>
                    <a:pt x="217" y="244"/>
                  </a:lnTo>
                  <a:lnTo>
                    <a:pt x="219" y="245"/>
                  </a:lnTo>
                  <a:lnTo>
                    <a:pt x="219" y="246"/>
                  </a:lnTo>
                  <a:lnTo>
                    <a:pt x="220" y="247"/>
                  </a:lnTo>
                  <a:lnTo>
                    <a:pt x="221" y="247"/>
                  </a:lnTo>
                  <a:lnTo>
                    <a:pt x="222" y="247"/>
                  </a:lnTo>
                  <a:lnTo>
                    <a:pt x="223" y="248"/>
                  </a:lnTo>
                  <a:lnTo>
                    <a:pt x="223" y="248"/>
                  </a:lnTo>
                  <a:lnTo>
                    <a:pt x="223" y="248"/>
                  </a:lnTo>
                  <a:lnTo>
                    <a:pt x="226" y="247"/>
                  </a:lnTo>
                  <a:lnTo>
                    <a:pt x="228" y="246"/>
                  </a:lnTo>
                  <a:lnTo>
                    <a:pt x="228" y="244"/>
                  </a:lnTo>
                  <a:lnTo>
                    <a:pt x="228" y="244"/>
                  </a:lnTo>
                  <a:lnTo>
                    <a:pt x="228" y="244"/>
                  </a:lnTo>
                  <a:lnTo>
                    <a:pt x="228" y="244"/>
                  </a:lnTo>
                  <a:lnTo>
                    <a:pt x="226" y="241"/>
                  </a:lnTo>
                  <a:lnTo>
                    <a:pt x="224" y="239"/>
                  </a:lnTo>
                  <a:lnTo>
                    <a:pt x="224" y="239"/>
                  </a:lnTo>
                  <a:lnTo>
                    <a:pt x="217" y="234"/>
                  </a:lnTo>
                  <a:lnTo>
                    <a:pt x="217" y="234"/>
                  </a:lnTo>
                  <a:lnTo>
                    <a:pt x="216" y="233"/>
                  </a:lnTo>
                  <a:lnTo>
                    <a:pt x="215" y="232"/>
                  </a:lnTo>
                  <a:lnTo>
                    <a:pt x="215" y="230"/>
                  </a:lnTo>
                  <a:lnTo>
                    <a:pt x="215" y="230"/>
                  </a:lnTo>
                  <a:lnTo>
                    <a:pt x="213" y="228"/>
                  </a:lnTo>
                  <a:lnTo>
                    <a:pt x="212" y="228"/>
                  </a:lnTo>
                  <a:lnTo>
                    <a:pt x="210" y="227"/>
                  </a:lnTo>
                  <a:lnTo>
                    <a:pt x="207" y="224"/>
                  </a:lnTo>
                  <a:lnTo>
                    <a:pt x="207" y="221"/>
                  </a:lnTo>
                  <a:lnTo>
                    <a:pt x="207" y="215"/>
                  </a:lnTo>
                  <a:lnTo>
                    <a:pt x="207" y="213"/>
                  </a:lnTo>
                  <a:lnTo>
                    <a:pt x="205" y="212"/>
                  </a:lnTo>
                  <a:lnTo>
                    <a:pt x="199" y="212"/>
                  </a:lnTo>
                  <a:lnTo>
                    <a:pt x="196" y="209"/>
                  </a:lnTo>
                  <a:lnTo>
                    <a:pt x="195" y="209"/>
                  </a:lnTo>
                  <a:lnTo>
                    <a:pt x="194" y="207"/>
                  </a:lnTo>
                  <a:lnTo>
                    <a:pt x="190" y="204"/>
                  </a:lnTo>
                  <a:lnTo>
                    <a:pt x="182" y="196"/>
                  </a:lnTo>
                  <a:lnTo>
                    <a:pt x="176" y="192"/>
                  </a:lnTo>
                  <a:lnTo>
                    <a:pt x="176" y="191"/>
                  </a:lnTo>
                  <a:lnTo>
                    <a:pt x="175" y="189"/>
                  </a:lnTo>
                  <a:lnTo>
                    <a:pt x="175" y="188"/>
                  </a:lnTo>
                  <a:lnTo>
                    <a:pt x="175" y="187"/>
                  </a:lnTo>
                  <a:lnTo>
                    <a:pt x="173" y="185"/>
                  </a:lnTo>
                  <a:lnTo>
                    <a:pt x="170" y="183"/>
                  </a:lnTo>
                  <a:lnTo>
                    <a:pt x="168" y="181"/>
                  </a:lnTo>
                  <a:lnTo>
                    <a:pt x="167" y="179"/>
                  </a:lnTo>
                  <a:lnTo>
                    <a:pt x="165" y="178"/>
                  </a:lnTo>
                  <a:lnTo>
                    <a:pt x="165" y="177"/>
                  </a:lnTo>
                  <a:lnTo>
                    <a:pt x="163" y="176"/>
                  </a:lnTo>
                  <a:lnTo>
                    <a:pt x="161" y="176"/>
                  </a:lnTo>
                  <a:lnTo>
                    <a:pt x="161" y="175"/>
                  </a:lnTo>
                  <a:lnTo>
                    <a:pt x="161" y="174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58" y="173"/>
                  </a:lnTo>
                  <a:lnTo>
                    <a:pt x="158" y="173"/>
                  </a:lnTo>
                  <a:lnTo>
                    <a:pt x="157" y="172"/>
                  </a:lnTo>
                  <a:lnTo>
                    <a:pt x="157" y="172"/>
                  </a:lnTo>
                  <a:lnTo>
                    <a:pt x="155" y="171"/>
                  </a:lnTo>
                  <a:lnTo>
                    <a:pt x="154" y="170"/>
                  </a:lnTo>
                  <a:lnTo>
                    <a:pt x="153" y="167"/>
                  </a:lnTo>
                  <a:lnTo>
                    <a:pt x="152" y="166"/>
                  </a:lnTo>
                  <a:lnTo>
                    <a:pt x="150" y="164"/>
                  </a:lnTo>
                  <a:lnTo>
                    <a:pt x="148" y="163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8" y="154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6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49"/>
                  </a:lnTo>
                  <a:lnTo>
                    <a:pt x="145" y="147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3" y="141"/>
                  </a:lnTo>
                  <a:lnTo>
                    <a:pt x="142" y="141"/>
                  </a:lnTo>
                  <a:lnTo>
                    <a:pt x="140" y="141"/>
                  </a:lnTo>
                  <a:lnTo>
                    <a:pt x="138" y="141"/>
                  </a:lnTo>
                  <a:lnTo>
                    <a:pt x="138" y="140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6"/>
                  </a:lnTo>
                  <a:lnTo>
                    <a:pt x="140" y="135"/>
                  </a:lnTo>
                  <a:lnTo>
                    <a:pt x="138" y="135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5" y="133"/>
                  </a:lnTo>
                  <a:lnTo>
                    <a:pt x="134" y="131"/>
                  </a:lnTo>
                  <a:lnTo>
                    <a:pt x="134" y="129"/>
                  </a:lnTo>
                  <a:lnTo>
                    <a:pt x="134" y="129"/>
                  </a:lnTo>
                  <a:lnTo>
                    <a:pt x="133" y="129"/>
                  </a:lnTo>
                  <a:lnTo>
                    <a:pt x="133" y="129"/>
                  </a:lnTo>
                  <a:lnTo>
                    <a:pt x="132" y="129"/>
                  </a:lnTo>
                  <a:lnTo>
                    <a:pt x="132" y="129"/>
                  </a:lnTo>
                  <a:lnTo>
                    <a:pt x="132" y="129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1" y="128"/>
                  </a:lnTo>
                  <a:lnTo>
                    <a:pt x="131" y="128"/>
                  </a:lnTo>
                  <a:lnTo>
                    <a:pt x="129" y="129"/>
                  </a:lnTo>
                  <a:lnTo>
                    <a:pt x="129" y="129"/>
                  </a:lnTo>
                  <a:lnTo>
                    <a:pt x="129" y="129"/>
                  </a:lnTo>
                  <a:lnTo>
                    <a:pt x="128" y="129"/>
                  </a:lnTo>
                  <a:lnTo>
                    <a:pt x="127" y="129"/>
                  </a:lnTo>
                  <a:lnTo>
                    <a:pt x="127" y="129"/>
                  </a:lnTo>
                  <a:lnTo>
                    <a:pt x="126" y="129"/>
                  </a:lnTo>
                  <a:lnTo>
                    <a:pt x="126" y="129"/>
                  </a:lnTo>
                  <a:lnTo>
                    <a:pt x="126" y="128"/>
                  </a:lnTo>
                  <a:lnTo>
                    <a:pt x="124" y="127"/>
                  </a:lnTo>
                  <a:lnTo>
                    <a:pt x="124" y="12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21" y="122"/>
                  </a:lnTo>
                  <a:lnTo>
                    <a:pt x="123" y="122"/>
                  </a:lnTo>
                  <a:lnTo>
                    <a:pt x="124" y="121"/>
                  </a:lnTo>
                  <a:lnTo>
                    <a:pt x="125" y="121"/>
                  </a:lnTo>
                  <a:lnTo>
                    <a:pt x="125" y="120"/>
                  </a:lnTo>
                  <a:lnTo>
                    <a:pt x="125" y="118"/>
                  </a:lnTo>
                  <a:lnTo>
                    <a:pt x="124" y="116"/>
                  </a:lnTo>
                  <a:lnTo>
                    <a:pt x="123" y="116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3" y="113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4" y="107"/>
                  </a:lnTo>
                  <a:lnTo>
                    <a:pt x="124" y="106"/>
                  </a:lnTo>
                  <a:lnTo>
                    <a:pt x="125" y="102"/>
                  </a:lnTo>
                  <a:lnTo>
                    <a:pt x="126" y="101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8" y="95"/>
                  </a:lnTo>
                  <a:lnTo>
                    <a:pt x="131" y="93"/>
                  </a:lnTo>
                  <a:lnTo>
                    <a:pt x="136" y="93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2" y="99"/>
                  </a:lnTo>
                  <a:lnTo>
                    <a:pt x="143" y="101"/>
                  </a:lnTo>
                  <a:lnTo>
                    <a:pt x="144" y="102"/>
                  </a:lnTo>
                  <a:lnTo>
                    <a:pt x="148" y="107"/>
                  </a:lnTo>
                  <a:lnTo>
                    <a:pt x="151" y="108"/>
                  </a:lnTo>
                  <a:lnTo>
                    <a:pt x="153" y="108"/>
                  </a:lnTo>
                  <a:lnTo>
                    <a:pt x="154" y="108"/>
                  </a:lnTo>
                  <a:lnTo>
                    <a:pt x="155" y="108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7" y="106"/>
                  </a:lnTo>
                  <a:lnTo>
                    <a:pt x="158" y="103"/>
                  </a:lnTo>
                  <a:lnTo>
                    <a:pt x="158" y="102"/>
                  </a:lnTo>
                  <a:lnTo>
                    <a:pt x="159" y="102"/>
                  </a:lnTo>
                  <a:lnTo>
                    <a:pt x="158" y="101"/>
                  </a:lnTo>
                  <a:lnTo>
                    <a:pt x="158" y="101"/>
                  </a:lnTo>
                  <a:lnTo>
                    <a:pt x="159" y="101"/>
                  </a:lnTo>
                  <a:lnTo>
                    <a:pt x="159" y="101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62" y="99"/>
                  </a:lnTo>
                  <a:lnTo>
                    <a:pt x="163" y="95"/>
                  </a:lnTo>
                  <a:lnTo>
                    <a:pt x="167" y="93"/>
                  </a:lnTo>
                  <a:lnTo>
                    <a:pt x="169" y="93"/>
                  </a:lnTo>
                  <a:lnTo>
                    <a:pt x="180" y="97"/>
                  </a:lnTo>
                  <a:lnTo>
                    <a:pt x="181" y="97"/>
                  </a:lnTo>
                  <a:lnTo>
                    <a:pt x="182" y="95"/>
                  </a:lnTo>
                  <a:lnTo>
                    <a:pt x="182" y="95"/>
                  </a:lnTo>
                  <a:lnTo>
                    <a:pt x="182" y="95"/>
                  </a:lnTo>
                  <a:lnTo>
                    <a:pt x="182" y="93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6" y="92"/>
                  </a:lnTo>
                  <a:lnTo>
                    <a:pt x="186" y="90"/>
                  </a:lnTo>
                  <a:lnTo>
                    <a:pt x="186" y="90"/>
                  </a:lnTo>
                  <a:lnTo>
                    <a:pt x="188" y="89"/>
                  </a:lnTo>
                  <a:lnTo>
                    <a:pt x="188" y="89"/>
                  </a:lnTo>
                  <a:lnTo>
                    <a:pt x="188" y="90"/>
                  </a:lnTo>
                  <a:lnTo>
                    <a:pt x="190" y="92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3" y="92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95" y="95"/>
                  </a:lnTo>
                  <a:lnTo>
                    <a:pt x="197" y="97"/>
                  </a:lnTo>
                  <a:lnTo>
                    <a:pt x="198" y="97"/>
                  </a:lnTo>
                  <a:lnTo>
                    <a:pt x="202" y="99"/>
                  </a:lnTo>
                  <a:lnTo>
                    <a:pt x="203" y="99"/>
                  </a:lnTo>
                  <a:lnTo>
                    <a:pt x="205" y="97"/>
                  </a:lnTo>
                  <a:lnTo>
                    <a:pt x="205" y="97"/>
                  </a:lnTo>
                  <a:lnTo>
                    <a:pt x="207" y="95"/>
                  </a:lnTo>
                  <a:lnTo>
                    <a:pt x="209" y="97"/>
                  </a:lnTo>
                  <a:lnTo>
                    <a:pt x="210" y="97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13" y="99"/>
                  </a:lnTo>
                  <a:lnTo>
                    <a:pt x="215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7" y="97"/>
                  </a:lnTo>
                  <a:lnTo>
                    <a:pt x="217" y="99"/>
                  </a:lnTo>
                  <a:lnTo>
                    <a:pt x="217" y="99"/>
                  </a:lnTo>
                  <a:lnTo>
                    <a:pt x="217" y="99"/>
                  </a:lnTo>
                  <a:lnTo>
                    <a:pt x="217" y="99"/>
                  </a:lnTo>
                  <a:lnTo>
                    <a:pt x="217" y="99"/>
                  </a:lnTo>
                  <a:lnTo>
                    <a:pt x="217" y="99"/>
                  </a:lnTo>
                  <a:lnTo>
                    <a:pt x="219" y="99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21" y="101"/>
                  </a:lnTo>
                  <a:lnTo>
                    <a:pt x="222" y="101"/>
                  </a:lnTo>
                  <a:lnTo>
                    <a:pt x="223" y="101"/>
                  </a:lnTo>
                  <a:lnTo>
                    <a:pt x="224" y="99"/>
                  </a:lnTo>
                  <a:lnTo>
                    <a:pt x="226" y="97"/>
                  </a:lnTo>
                  <a:lnTo>
                    <a:pt x="228" y="97"/>
                  </a:lnTo>
                  <a:lnTo>
                    <a:pt x="229" y="97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6" y="102"/>
                  </a:lnTo>
                  <a:lnTo>
                    <a:pt x="237" y="103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40" y="103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3" y="102"/>
                  </a:lnTo>
                  <a:lnTo>
                    <a:pt x="246" y="99"/>
                  </a:lnTo>
                  <a:lnTo>
                    <a:pt x="247" y="99"/>
                  </a:lnTo>
                  <a:lnTo>
                    <a:pt x="249" y="99"/>
                  </a:lnTo>
                  <a:lnTo>
                    <a:pt x="249" y="99"/>
                  </a:lnTo>
                  <a:lnTo>
                    <a:pt x="252" y="101"/>
                  </a:lnTo>
                  <a:lnTo>
                    <a:pt x="253" y="101"/>
                  </a:lnTo>
                  <a:lnTo>
                    <a:pt x="253" y="101"/>
                  </a:lnTo>
                  <a:lnTo>
                    <a:pt x="255" y="101"/>
                  </a:lnTo>
                  <a:lnTo>
                    <a:pt x="255" y="101"/>
                  </a:lnTo>
                  <a:lnTo>
                    <a:pt x="255" y="101"/>
                  </a:lnTo>
                  <a:lnTo>
                    <a:pt x="256" y="101"/>
                  </a:lnTo>
                  <a:lnTo>
                    <a:pt x="257" y="101"/>
                  </a:lnTo>
                  <a:lnTo>
                    <a:pt x="257" y="101"/>
                  </a:lnTo>
                  <a:lnTo>
                    <a:pt x="257" y="99"/>
                  </a:lnTo>
                  <a:lnTo>
                    <a:pt x="257" y="99"/>
                  </a:lnTo>
                  <a:lnTo>
                    <a:pt x="259" y="99"/>
                  </a:lnTo>
                  <a:lnTo>
                    <a:pt x="259" y="97"/>
                  </a:lnTo>
                  <a:lnTo>
                    <a:pt x="261" y="99"/>
                  </a:lnTo>
                  <a:lnTo>
                    <a:pt x="264" y="99"/>
                  </a:lnTo>
                  <a:lnTo>
                    <a:pt x="264" y="101"/>
                  </a:lnTo>
                  <a:lnTo>
                    <a:pt x="268" y="101"/>
                  </a:lnTo>
                  <a:lnTo>
                    <a:pt x="270" y="101"/>
                  </a:lnTo>
                  <a:lnTo>
                    <a:pt x="270" y="101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72" y="103"/>
                  </a:lnTo>
                  <a:lnTo>
                    <a:pt x="273" y="105"/>
                  </a:lnTo>
                  <a:lnTo>
                    <a:pt x="273" y="105"/>
                  </a:lnTo>
                  <a:lnTo>
                    <a:pt x="276" y="105"/>
                  </a:lnTo>
                  <a:lnTo>
                    <a:pt x="276" y="105"/>
                  </a:lnTo>
                  <a:lnTo>
                    <a:pt x="276" y="103"/>
                  </a:lnTo>
                  <a:lnTo>
                    <a:pt x="276" y="103"/>
                  </a:lnTo>
                  <a:lnTo>
                    <a:pt x="276" y="102"/>
                  </a:lnTo>
                  <a:lnTo>
                    <a:pt x="276" y="102"/>
                  </a:lnTo>
                  <a:lnTo>
                    <a:pt x="276" y="102"/>
                  </a:lnTo>
                  <a:lnTo>
                    <a:pt x="278" y="102"/>
                  </a:lnTo>
                  <a:lnTo>
                    <a:pt x="278" y="102"/>
                  </a:lnTo>
                  <a:lnTo>
                    <a:pt x="279" y="102"/>
                  </a:lnTo>
                  <a:lnTo>
                    <a:pt x="279" y="102"/>
                  </a:lnTo>
                  <a:lnTo>
                    <a:pt x="280" y="101"/>
                  </a:lnTo>
                  <a:lnTo>
                    <a:pt x="280" y="101"/>
                  </a:lnTo>
                  <a:lnTo>
                    <a:pt x="280" y="101"/>
                  </a:lnTo>
                  <a:lnTo>
                    <a:pt x="281" y="102"/>
                  </a:lnTo>
                  <a:lnTo>
                    <a:pt x="281" y="103"/>
                  </a:lnTo>
                  <a:lnTo>
                    <a:pt x="281" y="103"/>
                  </a:lnTo>
                  <a:lnTo>
                    <a:pt x="282" y="105"/>
                  </a:lnTo>
                  <a:lnTo>
                    <a:pt x="282" y="105"/>
                  </a:lnTo>
                  <a:lnTo>
                    <a:pt x="282" y="105"/>
                  </a:lnTo>
                  <a:lnTo>
                    <a:pt x="283" y="103"/>
                  </a:lnTo>
                  <a:lnTo>
                    <a:pt x="283" y="103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5" y="102"/>
                  </a:lnTo>
                  <a:lnTo>
                    <a:pt x="285" y="103"/>
                  </a:lnTo>
                  <a:lnTo>
                    <a:pt x="287" y="107"/>
                  </a:lnTo>
                  <a:lnTo>
                    <a:pt x="287" y="108"/>
                  </a:lnTo>
                  <a:lnTo>
                    <a:pt x="288" y="108"/>
                  </a:lnTo>
                  <a:lnTo>
                    <a:pt x="289" y="108"/>
                  </a:lnTo>
                  <a:lnTo>
                    <a:pt x="290" y="108"/>
                  </a:lnTo>
                  <a:lnTo>
                    <a:pt x="290" y="108"/>
                  </a:lnTo>
                  <a:lnTo>
                    <a:pt x="290" y="108"/>
                  </a:lnTo>
                  <a:lnTo>
                    <a:pt x="290" y="108"/>
                  </a:lnTo>
                  <a:lnTo>
                    <a:pt x="290" y="110"/>
                  </a:lnTo>
                  <a:lnTo>
                    <a:pt x="290" y="110"/>
                  </a:lnTo>
                  <a:lnTo>
                    <a:pt x="290" y="110"/>
                  </a:lnTo>
                  <a:lnTo>
                    <a:pt x="290" y="110"/>
                  </a:lnTo>
                  <a:lnTo>
                    <a:pt x="290" y="110"/>
                  </a:lnTo>
                  <a:lnTo>
                    <a:pt x="291" y="110"/>
                  </a:lnTo>
                  <a:lnTo>
                    <a:pt x="290" y="112"/>
                  </a:lnTo>
                  <a:lnTo>
                    <a:pt x="289" y="112"/>
                  </a:lnTo>
                  <a:lnTo>
                    <a:pt x="289" y="113"/>
                  </a:lnTo>
                  <a:lnTo>
                    <a:pt x="290" y="114"/>
                  </a:lnTo>
                  <a:lnTo>
                    <a:pt x="291" y="116"/>
                  </a:lnTo>
                  <a:lnTo>
                    <a:pt x="292" y="116"/>
                  </a:lnTo>
                  <a:lnTo>
                    <a:pt x="292" y="116"/>
                  </a:lnTo>
                  <a:lnTo>
                    <a:pt x="293" y="118"/>
                  </a:lnTo>
                  <a:lnTo>
                    <a:pt x="295" y="119"/>
                  </a:lnTo>
                  <a:lnTo>
                    <a:pt x="301" y="118"/>
                  </a:lnTo>
                  <a:lnTo>
                    <a:pt x="303" y="118"/>
                  </a:lnTo>
                  <a:lnTo>
                    <a:pt x="301" y="116"/>
                  </a:lnTo>
                  <a:lnTo>
                    <a:pt x="301" y="114"/>
                  </a:lnTo>
                  <a:lnTo>
                    <a:pt x="303" y="114"/>
                  </a:lnTo>
                  <a:lnTo>
                    <a:pt x="304" y="114"/>
                  </a:lnTo>
                  <a:lnTo>
                    <a:pt x="305" y="114"/>
                  </a:lnTo>
                  <a:lnTo>
                    <a:pt x="305" y="114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8" y="113"/>
                  </a:lnTo>
                  <a:lnTo>
                    <a:pt x="308" y="112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7" y="110"/>
                  </a:lnTo>
                  <a:lnTo>
                    <a:pt x="306" y="110"/>
                  </a:lnTo>
                  <a:lnTo>
                    <a:pt x="306" y="110"/>
                  </a:lnTo>
                  <a:lnTo>
                    <a:pt x="306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7"/>
                  </a:lnTo>
                  <a:lnTo>
                    <a:pt x="306" y="105"/>
                  </a:lnTo>
                  <a:lnTo>
                    <a:pt x="306" y="102"/>
                  </a:lnTo>
                  <a:lnTo>
                    <a:pt x="306" y="102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5" y="99"/>
                  </a:lnTo>
                  <a:lnTo>
                    <a:pt x="308" y="99"/>
                  </a:lnTo>
                  <a:lnTo>
                    <a:pt x="309" y="99"/>
                  </a:lnTo>
                  <a:lnTo>
                    <a:pt x="309" y="97"/>
                  </a:lnTo>
                  <a:lnTo>
                    <a:pt x="308" y="97"/>
                  </a:lnTo>
                  <a:lnTo>
                    <a:pt x="308" y="95"/>
                  </a:lnTo>
                  <a:lnTo>
                    <a:pt x="309" y="95"/>
                  </a:lnTo>
                  <a:lnTo>
                    <a:pt x="310" y="95"/>
                  </a:lnTo>
                  <a:lnTo>
                    <a:pt x="310" y="97"/>
                  </a:lnTo>
                  <a:lnTo>
                    <a:pt x="312" y="97"/>
                  </a:lnTo>
                  <a:lnTo>
                    <a:pt x="313" y="97"/>
                  </a:lnTo>
                  <a:lnTo>
                    <a:pt x="314" y="97"/>
                  </a:lnTo>
                  <a:lnTo>
                    <a:pt x="316" y="97"/>
                  </a:lnTo>
                  <a:lnTo>
                    <a:pt x="316" y="97"/>
                  </a:lnTo>
                  <a:lnTo>
                    <a:pt x="316" y="97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23" y="97"/>
                  </a:lnTo>
                  <a:lnTo>
                    <a:pt x="323" y="97"/>
                  </a:lnTo>
                  <a:lnTo>
                    <a:pt x="324" y="97"/>
                  </a:lnTo>
                  <a:lnTo>
                    <a:pt x="324" y="95"/>
                  </a:lnTo>
                  <a:lnTo>
                    <a:pt x="323" y="93"/>
                  </a:lnTo>
                </a:path>
              </a:pathLst>
            </a:custGeom>
            <a:grpFill/>
            <a:ln w="9525" cap="flat">
              <a:solidFill>
                <a:srgbClr val="B1B1B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79" name="Group 599"/>
          <p:cNvGrpSpPr>
            <a:grpSpLocks noChangeAspect="1"/>
          </p:cNvGrpSpPr>
          <p:nvPr/>
        </p:nvGrpSpPr>
        <p:grpSpPr>
          <a:xfrm>
            <a:off x="4984701" y="2780928"/>
            <a:ext cx="149478" cy="252000"/>
            <a:chOff x="1175219" y="3779106"/>
            <a:chExt cx="1240674" cy="2091345"/>
          </a:xfrm>
          <a:solidFill>
            <a:srgbClr val="DD0B74"/>
          </a:solidFill>
          <a:effectLst>
            <a:outerShdw blurRad="25400" dist="254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80" name="Oval 19"/>
            <p:cNvSpPr>
              <a:spLocks/>
            </p:cNvSpPr>
            <p:nvPr/>
          </p:nvSpPr>
          <p:spPr>
            <a:xfrm>
              <a:off x="1175219" y="3779106"/>
              <a:ext cx="1240674" cy="2091345"/>
            </a:xfrm>
            <a:custGeom>
              <a:avLst/>
              <a:gdLst/>
              <a:ahLst/>
              <a:cxnLst/>
              <a:rect l="l" t="t" r="r" b="b"/>
              <a:pathLst>
                <a:path w="1240674" h="2091345">
                  <a:moveTo>
                    <a:pt x="620337" y="0"/>
                  </a:moveTo>
                  <a:cubicBezTo>
                    <a:pt x="962940" y="0"/>
                    <a:pt x="1240674" y="277734"/>
                    <a:pt x="1240674" y="620337"/>
                  </a:cubicBezTo>
                  <a:cubicBezTo>
                    <a:pt x="1240674" y="701876"/>
                    <a:pt x="1224943" y="779740"/>
                    <a:pt x="1195380" y="850671"/>
                  </a:cubicBezTo>
                  <a:lnTo>
                    <a:pt x="1197648" y="850671"/>
                  </a:lnTo>
                  <a:lnTo>
                    <a:pt x="620337" y="2091345"/>
                  </a:lnTo>
                  <a:lnTo>
                    <a:pt x="43026" y="850671"/>
                  </a:lnTo>
                  <a:lnTo>
                    <a:pt x="45294" y="850671"/>
                  </a:lnTo>
                  <a:cubicBezTo>
                    <a:pt x="15732" y="779740"/>
                    <a:pt x="0" y="701876"/>
                    <a:pt x="0" y="620337"/>
                  </a:cubicBezTo>
                  <a:cubicBezTo>
                    <a:pt x="0" y="277734"/>
                    <a:pt x="277734" y="0"/>
                    <a:pt x="620337" y="0"/>
                  </a:cubicBezTo>
                  <a:close/>
                </a:path>
              </a:pathLst>
            </a:custGeom>
            <a:grpFill/>
            <a:ln>
              <a:solidFill>
                <a:srgbClr val="DD0B7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601"/>
            <p:cNvSpPr>
              <a:spLocks/>
            </p:cNvSpPr>
            <p:nvPr/>
          </p:nvSpPr>
          <p:spPr>
            <a:xfrm>
              <a:off x="1371787" y="3975674"/>
              <a:ext cx="847538" cy="84753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D0B74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6" name="Groupe 165"/>
          <p:cNvGrpSpPr/>
          <p:nvPr/>
        </p:nvGrpSpPr>
        <p:grpSpPr>
          <a:xfrm>
            <a:off x="4355976" y="2888968"/>
            <a:ext cx="149478" cy="252000"/>
            <a:chOff x="4355976" y="2888968"/>
            <a:chExt cx="149478" cy="252000"/>
          </a:xfrm>
        </p:grpSpPr>
        <p:sp>
          <p:nvSpPr>
            <p:cNvPr id="182" name="Oval 19"/>
            <p:cNvSpPr>
              <a:spLocks/>
            </p:cNvSpPr>
            <p:nvPr/>
          </p:nvSpPr>
          <p:spPr>
            <a:xfrm>
              <a:off x="4355976" y="2888968"/>
              <a:ext cx="149478" cy="252000"/>
            </a:xfrm>
            <a:custGeom>
              <a:avLst/>
              <a:gdLst/>
              <a:ahLst/>
              <a:cxnLst/>
              <a:rect l="l" t="t" r="r" b="b"/>
              <a:pathLst>
                <a:path w="1240674" h="2091345">
                  <a:moveTo>
                    <a:pt x="620337" y="0"/>
                  </a:moveTo>
                  <a:cubicBezTo>
                    <a:pt x="962940" y="0"/>
                    <a:pt x="1240674" y="277734"/>
                    <a:pt x="1240674" y="620337"/>
                  </a:cubicBezTo>
                  <a:cubicBezTo>
                    <a:pt x="1240674" y="701876"/>
                    <a:pt x="1224943" y="779740"/>
                    <a:pt x="1195380" y="850671"/>
                  </a:cubicBezTo>
                  <a:lnTo>
                    <a:pt x="1197648" y="850671"/>
                  </a:lnTo>
                  <a:lnTo>
                    <a:pt x="620337" y="2091345"/>
                  </a:lnTo>
                  <a:lnTo>
                    <a:pt x="43026" y="850671"/>
                  </a:lnTo>
                  <a:lnTo>
                    <a:pt x="45294" y="850671"/>
                  </a:lnTo>
                  <a:cubicBezTo>
                    <a:pt x="15732" y="779740"/>
                    <a:pt x="0" y="701876"/>
                    <a:pt x="0" y="620337"/>
                  </a:cubicBezTo>
                  <a:cubicBezTo>
                    <a:pt x="0" y="277734"/>
                    <a:pt x="277734" y="0"/>
                    <a:pt x="620337" y="0"/>
                  </a:cubicBezTo>
                  <a:close/>
                </a:path>
              </a:pathLst>
            </a:custGeom>
            <a:solidFill>
              <a:srgbClr val="B1C606"/>
            </a:solidFill>
            <a:ln>
              <a:solidFill>
                <a:srgbClr val="B1C60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Oval 601"/>
            <p:cNvSpPr>
              <a:spLocks/>
            </p:cNvSpPr>
            <p:nvPr/>
          </p:nvSpPr>
          <p:spPr>
            <a:xfrm>
              <a:off x="4379659" y="2912654"/>
              <a:ext cx="102112" cy="10212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B1C60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5" name="Oval 19"/>
          <p:cNvSpPr>
            <a:spLocks/>
          </p:cNvSpPr>
          <p:nvPr/>
        </p:nvSpPr>
        <p:spPr>
          <a:xfrm>
            <a:off x="3203848" y="4437112"/>
            <a:ext cx="149478" cy="252000"/>
          </a:xfrm>
          <a:custGeom>
            <a:avLst/>
            <a:gdLst/>
            <a:ahLst/>
            <a:cxnLst/>
            <a:rect l="l" t="t" r="r" b="b"/>
            <a:pathLst>
              <a:path w="1240674" h="2091345">
                <a:moveTo>
                  <a:pt x="620337" y="0"/>
                </a:moveTo>
                <a:cubicBezTo>
                  <a:pt x="962940" y="0"/>
                  <a:pt x="1240674" y="277734"/>
                  <a:pt x="1240674" y="620337"/>
                </a:cubicBezTo>
                <a:cubicBezTo>
                  <a:pt x="1240674" y="701876"/>
                  <a:pt x="1224943" y="779740"/>
                  <a:pt x="1195380" y="850671"/>
                </a:cubicBezTo>
                <a:lnTo>
                  <a:pt x="1197648" y="850671"/>
                </a:lnTo>
                <a:lnTo>
                  <a:pt x="620337" y="2091345"/>
                </a:lnTo>
                <a:lnTo>
                  <a:pt x="43026" y="850671"/>
                </a:lnTo>
                <a:lnTo>
                  <a:pt x="45294" y="850671"/>
                </a:lnTo>
                <a:cubicBezTo>
                  <a:pt x="15732" y="779740"/>
                  <a:pt x="0" y="701876"/>
                  <a:pt x="0" y="620337"/>
                </a:cubicBezTo>
                <a:cubicBezTo>
                  <a:pt x="0" y="277734"/>
                  <a:pt x="277734" y="0"/>
                  <a:pt x="620337" y="0"/>
                </a:cubicBezTo>
                <a:close/>
              </a:path>
            </a:pathLst>
          </a:custGeom>
          <a:solidFill>
            <a:srgbClr val="1397FE"/>
          </a:solidFill>
          <a:ln>
            <a:solidFill>
              <a:srgbClr val="1397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Oval 601"/>
          <p:cNvSpPr>
            <a:spLocks/>
          </p:cNvSpPr>
          <p:nvPr/>
        </p:nvSpPr>
        <p:spPr>
          <a:xfrm>
            <a:off x="3227531" y="4460798"/>
            <a:ext cx="102112" cy="102125"/>
          </a:xfrm>
          <a:prstGeom prst="ellipse">
            <a:avLst/>
          </a:prstGeom>
          <a:solidFill>
            <a:schemeClr val="bg1"/>
          </a:solidFill>
          <a:ln>
            <a:solidFill>
              <a:srgbClr val="1397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7" name="Group 599"/>
          <p:cNvGrpSpPr>
            <a:grpSpLocks noChangeAspect="1"/>
          </p:cNvGrpSpPr>
          <p:nvPr/>
        </p:nvGrpSpPr>
        <p:grpSpPr>
          <a:xfrm>
            <a:off x="4139952" y="3861048"/>
            <a:ext cx="149478" cy="252000"/>
            <a:chOff x="1175219" y="3779106"/>
            <a:chExt cx="1240674" cy="2091345"/>
          </a:xfrm>
          <a:solidFill>
            <a:srgbClr val="42126E"/>
          </a:solidFill>
          <a:effectLst>
            <a:outerShdw blurRad="25400" dist="254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98" name="Oval 19"/>
            <p:cNvSpPr>
              <a:spLocks/>
            </p:cNvSpPr>
            <p:nvPr/>
          </p:nvSpPr>
          <p:spPr>
            <a:xfrm>
              <a:off x="1175219" y="3779106"/>
              <a:ext cx="1240674" cy="2091345"/>
            </a:xfrm>
            <a:custGeom>
              <a:avLst/>
              <a:gdLst/>
              <a:ahLst/>
              <a:cxnLst/>
              <a:rect l="l" t="t" r="r" b="b"/>
              <a:pathLst>
                <a:path w="1240674" h="2091345">
                  <a:moveTo>
                    <a:pt x="620337" y="0"/>
                  </a:moveTo>
                  <a:cubicBezTo>
                    <a:pt x="962940" y="0"/>
                    <a:pt x="1240674" y="277734"/>
                    <a:pt x="1240674" y="620337"/>
                  </a:cubicBezTo>
                  <a:cubicBezTo>
                    <a:pt x="1240674" y="701876"/>
                    <a:pt x="1224943" y="779740"/>
                    <a:pt x="1195380" y="850671"/>
                  </a:cubicBezTo>
                  <a:lnTo>
                    <a:pt x="1197648" y="850671"/>
                  </a:lnTo>
                  <a:lnTo>
                    <a:pt x="620337" y="2091345"/>
                  </a:lnTo>
                  <a:lnTo>
                    <a:pt x="43026" y="850671"/>
                  </a:lnTo>
                  <a:lnTo>
                    <a:pt x="45294" y="850671"/>
                  </a:lnTo>
                  <a:cubicBezTo>
                    <a:pt x="15732" y="779740"/>
                    <a:pt x="0" y="701876"/>
                    <a:pt x="0" y="620337"/>
                  </a:cubicBezTo>
                  <a:cubicBezTo>
                    <a:pt x="0" y="277734"/>
                    <a:pt x="277734" y="0"/>
                    <a:pt x="620337" y="0"/>
                  </a:cubicBezTo>
                  <a:close/>
                </a:path>
              </a:pathLst>
            </a:custGeom>
            <a:grpFill/>
            <a:ln>
              <a:solidFill>
                <a:srgbClr val="421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601"/>
            <p:cNvSpPr>
              <a:spLocks/>
            </p:cNvSpPr>
            <p:nvPr/>
          </p:nvSpPr>
          <p:spPr>
            <a:xfrm>
              <a:off x="1371787" y="3975674"/>
              <a:ext cx="847538" cy="84753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21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0" name="Group 599"/>
          <p:cNvGrpSpPr>
            <a:grpSpLocks noChangeAspect="1"/>
          </p:cNvGrpSpPr>
          <p:nvPr/>
        </p:nvGrpSpPr>
        <p:grpSpPr>
          <a:xfrm>
            <a:off x="2982362" y="3969088"/>
            <a:ext cx="149478" cy="252000"/>
            <a:chOff x="1175219" y="3779106"/>
            <a:chExt cx="1240674" cy="2091345"/>
          </a:xfrm>
          <a:solidFill>
            <a:srgbClr val="42126E"/>
          </a:solidFill>
          <a:effectLst>
            <a:outerShdw blurRad="25400" dist="254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201" name="Oval 19"/>
            <p:cNvSpPr>
              <a:spLocks/>
            </p:cNvSpPr>
            <p:nvPr/>
          </p:nvSpPr>
          <p:spPr>
            <a:xfrm>
              <a:off x="1175219" y="3779106"/>
              <a:ext cx="1240674" cy="2091345"/>
            </a:xfrm>
            <a:custGeom>
              <a:avLst/>
              <a:gdLst/>
              <a:ahLst/>
              <a:cxnLst/>
              <a:rect l="l" t="t" r="r" b="b"/>
              <a:pathLst>
                <a:path w="1240674" h="2091345">
                  <a:moveTo>
                    <a:pt x="620337" y="0"/>
                  </a:moveTo>
                  <a:cubicBezTo>
                    <a:pt x="962940" y="0"/>
                    <a:pt x="1240674" y="277734"/>
                    <a:pt x="1240674" y="620337"/>
                  </a:cubicBezTo>
                  <a:cubicBezTo>
                    <a:pt x="1240674" y="701876"/>
                    <a:pt x="1224943" y="779740"/>
                    <a:pt x="1195380" y="850671"/>
                  </a:cubicBezTo>
                  <a:lnTo>
                    <a:pt x="1197648" y="850671"/>
                  </a:lnTo>
                  <a:lnTo>
                    <a:pt x="620337" y="2091345"/>
                  </a:lnTo>
                  <a:lnTo>
                    <a:pt x="43026" y="850671"/>
                  </a:lnTo>
                  <a:lnTo>
                    <a:pt x="45294" y="850671"/>
                  </a:lnTo>
                  <a:cubicBezTo>
                    <a:pt x="15732" y="779740"/>
                    <a:pt x="0" y="701876"/>
                    <a:pt x="0" y="620337"/>
                  </a:cubicBezTo>
                  <a:cubicBezTo>
                    <a:pt x="0" y="277734"/>
                    <a:pt x="277734" y="0"/>
                    <a:pt x="620337" y="0"/>
                  </a:cubicBezTo>
                  <a:close/>
                </a:path>
              </a:pathLst>
            </a:custGeom>
            <a:grpFill/>
            <a:ln>
              <a:solidFill>
                <a:srgbClr val="421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Oval 601"/>
            <p:cNvSpPr>
              <a:spLocks/>
            </p:cNvSpPr>
            <p:nvPr/>
          </p:nvSpPr>
          <p:spPr>
            <a:xfrm>
              <a:off x="1371787" y="3975674"/>
              <a:ext cx="847538" cy="84753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21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912807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BD8F6872-F376-476F-AA0B-5DDBBE634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OF EUROPE + FLAGS</a:t>
            </a:r>
            <a:endParaRPr lang="fr-BE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xmlns="" id="{79E95D64-085C-48A8-AA5F-5693CC72EA1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 noProof="0"/>
              <a:t>02/02/2018</a:t>
            </a:r>
            <a:endParaRPr lang="en-US" noProof="0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xmlns="" id="{19829CB5-CFF2-4DA8-A087-F5E53105E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noProof="0"/>
              <a:t>GEM Week - How GEM drives energy transition for its clients?</a:t>
            </a:r>
            <a:endParaRPr lang="en-US" noProof="0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xmlns="" id="{6BA7278A-D9DA-48F5-A7D4-46F22D656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US" noProof="0" smtClean="0"/>
              <a:pPr/>
              <a:t>29</a:t>
            </a:fld>
            <a:endParaRPr lang="en-US" noProof="0" dirty="0"/>
          </a:p>
        </p:txBody>
      </p:sp>
      <p:grpSp>
        <p:nvGrpSpPr>
          <p:cNvPr id="399" name="Groupe 398">
            <a:extLst>
              <a:ext uri="{FF2B5EF4-FFF2-40B4-BE49-F238E27FC236}">
                <a16:creationId xmlns:a16="http://schemas.microsoft.com/office/drawing/2014/main" xmlns="" id="{D7DA3410-3749-474D-A7FB-46A4F3E516AF}"/>
              </a:ext>
            </a:extLst>
          </p:cNvPr>
          <p:cNvGrpSpPr/>
          <p:nvPr/>
        </p:nvGrpSpPr>
        <p:grpSpPr>
          <a:xfrm>
            <a:off x="804552" y="1706604"/>
            <a:ext cx="7459901" cy="3735326"/>
            <a:chOff x="804551" y="849354"/>
            <a:chExt cx="7459901" cy="3735326"/>
          </a:xfrm>
        </p:grpSpPr>
        <p:grpSp>
          <p:nvGrpSpPr>
            <p:cNvPr id="243" name="Group 4">
              <a:extLst>
                <a:ext uri="{FF2B5EF4-FFF2-40B4-BE49-F238E27FC236}">
                  <a16:creationId xmlns:a16="http://schemas.microsoft.com/office/drawing/2014/main" xmlns="" id="{7C55CA42-D052-4C95-8DCD-71E443D8EEE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09000">
              <a:off x="2575736" y="849354"/>
              <a:ext cx="4392581" cy="3676084"/>
              <a:chOff x="298" y="0"/>
              <a:chExt cx="5162" cy="4320"/>
            </a:xfrm>
            <a:solidFill>
              <a:schemeClr val="bg1">
                <a:lumMod val="95000"/>
              </a:schemeClr>
            </a:solidFill>
          </p:grpSpPr>
          <p:sp>
            <p:nvSpPr>
              <p:cNvPr id="244" name="Freeform 5">
                <a:extLst>
                  <a:ext uri="{FF2B5EF4-FFF2-40B4-BE49-F238E27FC236}">
                    <a16:creationId xmlns:a16="http://schemas.microsoft.com/office/drawing/2014/main" xmlns="" id="{9BE4B8ED-2AC9-4D93-B5C1-B00B1EA0AD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2" y="2072"/>
                <a:ext cx="1392" cy="942"/>
              </a:xfrm>
              <a:custGeom>
                <a:avLst/>
                <a:gdLst>
                  <a:gd name="T0" fmla="*/ 1369 w 1392"/>
                  <a:gd name="T1" fmla="*/ 208 h 942"/>
                  <a:gd name="T2" fmla="*/ 1312 w 1392"/>
                  <a:gd name="T3" fmla="*/ 153 h 942"/>
                  <a:gd name="T4" fmla="*/ 1108 w 1392"/>
                  <a:gd name="T5" fmla="*/ 150 h 942"/>
                  <a:gd name="T6" fmla="*/ 900 w 1392"/>
                  <a:gd name="T7" fmla="*/ 88 h 942"/>
                  <a:gd name="T8" fmla="*/ 821 w 1392"/>
                  <a:gd name="T9" fmla="*/ 71 h 942"/>
                  <a:gd name="T10" fmla="*/ 764 w 1392"/>
                  <a:gd name="T11" fmla="*/ 0 h 942"/>
                  <a:gd name="T12" fmla="*/ 576 w 1392"/>
                  <a:gd name="T13" fmla="*/ 88 h 942"/>
                  <a:gd name="T14" fmla="*/ 491 w 1392"/>
                  <a:gd name="T15" fmla="*/ 201 h 942"/>
                  <a:gd name="T16" fmla="*/ 423 w 1392"/>
                  <a:gd name="T17" fmla="*/ 205 h 942"/>
                  <a:gd name="T18" fmla="*/ 383 w 1392"/>
                  <a:gd name="T19" fmla="*/ 193 h 942"/>
                  <a:gd name="T20" fmla="*/ 361 w 1392"/>
                  <a:gd name="T21" fmla="*/ 196 h 942"/>
                  <a:gd name="T22" fmla="*/ 114 w 1392"/>
                  <a:gd name="T23" fmla="*/ 205 h 942"/>
                  <a:gd name="T24" fmla="*/ 48 w 1392"/>
                  <a:gd name="T25" fmla="*/ 270 h 942"/>
                  <a:gd name="T26" fmla="*/ 103 w 1392"/>
                  <a:gd name="T27" fmla="*/ 425 h 942"/>
                  <a:gd name="T28" fmla="*/ 21 w 1392"/>
                  <a:gd name="T29" fmla="*/ 521 h 942"/>
                  <a:gd name="T30" fmla="*/ 35 w 1392"/>
                  <a:gd name="T31" fmla="*/ 582 h 942"/>
                  <a:gd name="T32" fmla="*/ 0 w 1392"/>
                  <a:gd name="T33" fmla="*/ 680 h 942"/>
                  <a:gd name="T34" fmla="*/ 77 w 1392"/>
                  <a:gd name="T35" fmla="*/ 703 h 942"/>
                  <a:gd name="T36" fmla="*/ 353 w 1392"/>
                  <a:gd name="T37" fmla="*/ 630 h 942"/>
                  <a:gd name="T38" fmla="*/ 386 w 1392"/>
                  <a:gd name="T39" fmla="*/ 596 h 942"/>
                  <a:gd name="T40" fmla="*/ 514 w 1392"/>
                  <a:gd name="T41" fmla="*/ 612 h 942"/>
                  <a:gd name="T42" fmla="*/ 614 w 1392"/>
                  <a:gd name="T43" fmla="*/ 661 h 942"/>
                  <a:gd name="T44" fmla="*/ 660 w 1392"/>
                  <a:gd name="T45" fmla="*/ 729 h 942"/>
                  <a:gd name="T46" fmla="*/ 665 w 1392"/>
                  <a:gd name="T47" fmla="*/ 791 h 942"/>
                  <a:gd name="T48" fmla="*/ 616 w 1392"/>
                  <a:gd name="T49" fmla="*/ 853 h 942"/>
                  <a:gd name="T50" fmla="*/ 574 w 1392"/>
                  <a:gd name="T51" fmla="*/ 910 h 942"/>
                  <a:gd name="T52" fmla="*/ 627 w 1392"/>
                  <a:gd name="T53" fmla="*/ 938 h 942"/>
                  <a:gd name="T54" fmla="*/ 670 w 1392"/>
                  <a:gd name="T55" fmla="*/ 901 h 942"/>
                  <a:gd name="T56" fmla="*/ 693 w 1392"/>
                  <a:gd name="T57" fmla="*/ 882 h 942"/>
                  <a:gd name="T58" fmla="*/ 756 w 1392"/>
                  <a:gd name="T59" fmla="*/ 749 h 942"/>
                  <a:gd name="T60" fmla="*/ 844 w 1392"/>
                  <a:gd name="T61" fmla="*/ 724 h 942"/>
                  <a:gd name="T62" fmla="*/ 819 w 1392"/>
                  <a:gd name="T63" fmla="*/ 755 h 942"/>
                  <a:gd name="T64" fmla="*/ 889 w 1392"/>
                  <a:gd name="T65" fmla="*/ 755 h 942"/>
                  <a:gd name="T66" fmla="*/ 962 w 1392"/>
                  <a:gd name="T67" fmla="*/ 743 h 942"/>
                  <a:gd name="T68" fmla="*/ 1011 w 1392"/>
                  <a:gd name="T69" fmla="*/ 763 h 942"/>
                  <a:gd name="T70" fmla="*/ 934 w 1392"/>
                  <a:gd name="T71" fmla="*/ 842 h 942"/>
                  <a:gd name="T72" fmla="*/ 991 w 1392"/>
                  <a:gd name="T73" fmla="*/ 853 h 942"/>
                  <a:gd name="T74" fmla="*/ 1053 w 1392"/>
                  <a:gd name="T75" fmla="*/ 910 h 942"/>
                  <a:gd name="T76" fmla="*/ 1121 w 1392"/>
                  <a:gd name="T77" fmla="*/ 893 h 942"/>
                  <a:gd name="T78" fmla="*/ 1153 w 1392"/>
                  <a:gd name="T79" fmla="*/ 853 h 942"/>
                  <a:gd name="T80" fmla="*/ 1229 w 1392"/>
                  <a:gd name="T81" fmla="*/ 806 h 942"/>
                  <a:gd name="T82" fmla="*/ 1258 w 1392"/>
                  <a:gd name="T83" fmla="*/ 743 h 942"/>
                  <a:gd name="T84" fmla="*/ 1154 w 1392"/>
                  <a:gd name="T85" fmla="*/ 779 h 942"/>
                  <a:gd name="T86" fmla="*/ 1066 w 1392"/>
                  <a:gd name="T87" fmla="*/ 717 h 942"/>
                  <a:gd name="T88" fmla="*/ 1181 w 1392"/>
                  <a:gd name="T89" fmla="*/ 605 h 942"/>
                  <a:gd name="T90" fmla="*/ 1201 w 1392"/>
                  <a:gd name="T91" fmla="*/ 589 h 942"/>
                  <a:gd name="T92" fmla="*/ 1226 w 1392"/>
                  <a:gd name="T93" fmla="*/ 592 h 942"/>
                  <a:gd name="T94" fmla="*/ 1270 w 1392"/>
                  <a:gd name="T95" fmla="*/ 519 h 942"/>
                  <a:gd name="T96" fmla="*/ 1330 w 1392"/>
                  <a:gd name="T97" fmla="*/ 474 h 942"/>
                  <a:gd name="T98" fmla="*/ 1332 w 1392"/>
                  <a:gd name="T99" fmla="*/ 371 h 942"/>
                  <a:gd name="T100" fmla="*/ 1391 w 1392"/>
                  <a:gd name="T101" fmla="*/ 312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92" h="942">
                    <a:moveTo>
                      <a:pt x="1357" y="262"/>
                    </a:moveTo>
                    <a:lnTo>
                      <a:pt x="1369" y="208"/>
                    </a:lnTo>
                    <a:lnTo>
                      <a:pt x="1340" y="147"/>
                    </a:lnTo>
                    <a:lnTo>
                      <a:pt x="1312" y="153"/>
                    </a:lnTo>
                    <a:lnTo>
                      <a:pt x="1128" y="134"/>
                    </a:lnTo>
                    <a:lnTo>
                      <a:pt x="1108" y="150"/>
                    </a:lnTo>
                    <a:lnTo>
                      <a:pt x="977" y="154"/>
                    </a:lnTo>
                    <a:lnTo>
                      <a:pt x="900" y="88"/>
                    </a:lnTo>
                    <a:lnTo>
                      <a:pt x="849" y="110"/>
                    </a:lnTo>
                    <a:lnTo>
                      <a:pt x="821" y="71"/>
                    </a:lnTo>
                    <a:lnTo>
                      <a:pt x="812" y="23"/>
                    </a:lnTo>
                    <a:lnTo>
                      <a:pt x="764" y="0"/>
                    </a:lnTo>
                    <a:lnTo>
                      <a:pt x="628" y="62"/>
                    </a:lnTo>
                    <a:lnTo>
                      <a:pt x="576" y="88"/>
                    </a:lnTo>
                    <a:lnTo>
                      <a:pt x="554" y="174"/>
                    </a:lnTo>
                    <a:lnTo>
                      <a:pt x="491" y="201"/>
                    </a:lnTo>
                    <a:lnTo>
                      <a:pt x="464" y="188"/>
                    </a:lnTo>
                    <a:lnTo>
                      <a:pt x="423" y="205"/>
                    </a:lnTo>
                    <a:lnTo>
                      <a:pt x="392" y="184"/>
                    </a:lnTo>
                    <a:lnTo>
                      <a:pt x="383" y="193"/>
                    </a:lnTo>
                    <a:lnTo>
                      <a:pt x="375" y="207"/>
                    </a:lnTo>
                    <a:lnTo>
                      <a:pt x="361" y="196"/>
                    </a:lnTo>
                    <a:lnTo>
                      <a:pt x="213" y="184"/>
                    </a:lnTo>
                    <a:lnTo>
                      <a:pt x="114" y="205"/>
                    </a:lnTo>
                    <a:lnTo>
                      <a:pt x="83" y="253"/>
                    </a:lnTo>
                    <a:lnTo>
                      <a:pt x="48" y="270"/>
                    </a:lnTo>
                    <a:lnTo>
                      <a:pt x="108" y="378"/>
                    </a:lnTo>
                    <a:lnTo>
                      <a:pt x="103" y="425"/>
                    </a:lnTo>
                    <a:lnTo>
                      <a:pt x="71" y="417"/>
                    </a:lnTo>
                    <a:lnTo>
                      <a:pt x="21" y="521"/>
                    </a:lnTo>
                    <a:lnTo>
                      <a:pt x="38" y="564"/>
                    </a:lnTo>
                    <a:lnTo>
                      <a:pt x="35" y="582"/>
                    </a:lnTo>
                    <a:lnTo>
                      <a:pt x="4" y="573"/>
                    </a:lnTo>
                    <a:lnTo>
                      <a:pt x="0" y="680"/>
                    </a:lnTo>
                    <a:lnTo>
                      <a:pt x="54" y="718"/>
                    </a:lnTo>
                    <a:lnTo>
                      <a:pt x="77" y="703"/>
                    </a:lnTo>
                    <a:lnTo>
                      <a:pt x="242" y="698"/>
                    </a:lnTo>
                    <a:lnTo>
                      <a:pt x="353" y="630"/>
                    </a:lnTo>
                    <a:lnTo>
                      <a:pt x="375" y="627"/>
                    </a:lnTo>
                    <a:lnTo>
                      <a:pt x="386" y="596"/>
                    </a:lnTo>
                    <a:lnTo>
                      <a:pt x="430" y="579"/>
                    </a:lnTo>
                    <a:lnTo>
                      <a:pt x="514" y="612"/>
                    </a:lnTo>
                    <a:lnTo>
                      <a:pt x="543" y="599"/>
                    </a:lnTo>
                    <a:lnTo>
                      <a:pt x="614" y="661"/>
                    </a:lnTo>
                    <a:lnTo>
                      <a:pt x="628" y="709"/>
                    </a:lnTo>
                    <a:lnTo>
                      <a:pt x="660" y="729"/>
                    </a:lnTo>
                    <a:lnTo>
                      <a:pt x="679" y="760"/>
                    </a:lnTo>
                    <a:lnTo>
                      <a:pt x="665" y="791"/>
                    </a:lnTo>
                    <a:lnTo>
                      <a:pt x="616" y="813"/>
                    </a:lnTo>
                    <a:lnTo>
                      <a:pt x="616" y="853"/>
                    </a:lnTo>
                    <a:lnTo>
                      <a:pt x="589" y="902"/>
                    </a:lnTo>
                    <a:lnTo>
                      <a:pt x="574" y="910"/>
                    </a:lnTo>
                    <a:lnTo>
                      <a:pt x="602" y="942"/>
                    </a:lnTo>
                    <a:lnTo>
                      <a:pt x="627" y="938"/>
                    </a:lnTo>
                    <a:lnTo>
                      <a:pt x="639" y="913"/>
                    </a:lnTo>
                    <a:lnTo>
                      <a:pt x="670" y="901"/>
                    </a:lnTo>
                    <a:lnTo>
                      <a:pt x="693" y="907"/>
                    </a:lnTo>
                    <a:lnTo>
                      <a:pt x="693" y="882"/>
                    </a:lnTo>
                    <a:lnTo>
                      <a:pt x="741" y="820"/>
                    </a:lnTo>
                    <a:lnTo>
                      <a:pt x="756" y="749"/>
                    </a:lnTo>
                    <a:lnTo>
                      <a:pt x="772" y="734"/>
                    </a:lnTo>
                    <a:lnTo>
                      <a:pt x="844" y="724"/>
                    </a:lnTo>
                    <a:lnTo>
                      <a:pt x="812" y="737"/>
                    </a:lnTo>
                    <a:lnTo>
                      <a:pt x="819" y="755"/>
                    </a:lnTo>
                    <a:lnTo>
                      <a:pt x="861" y="760"/>
                    </a:lnTo>
                    <a:lnTo>
                      <a:pt x="889" y="755"/>
                    </a:lnTo>
                    <a:lnTo>
                      <a:pt x="928" y="765"/>
                    </a:lnTo>
                    <a:lnTo>
                      <a:pt x="962" y="743"/>
                    </a:lnTo>
                    <a:lnTo>
                      <a:pt x="994" y="737"/>
                    </a:lnTo>
                    <a:lnTo>
                      <a:pt x="1011" y="763"/>
                    </a:lnTo>
                    <a:lnTo>
                      <a:pt x="985" y="772"/>
                    </a:lnTo>
                    <a:lnTo>
                      <a:pt x="934" y="842"/>
                    </a:lnTo>
                    <a:lnTo>
                      <a:pt x="949" y="853"/>
                    </a:lnTo>
                    <a:lnTo>
                      <a:pt x="991" y="853"/>
                    </a:lnTo>
                    <a:lnTo>
                      <a:pt x="1042" y="868"/>
                    </a:lnTo>
                    <a:lnTo>
                      <a:pt x="1053" y="910"/>
                    </a:lnTo>
                    <a:lnTo>
                      <a:pt x="1088" y="932"/>
                    </a:lnTo>
                    <a:lnTo>
                      <a:pt x="1121" y="893"/>
                    </a:lnTo>
                    <a:lnTo>
                      <a:pt x="1127" y="860"/>
                    </a:lnTo>
                    <a:lnTo>
                      <a:pt x="1153" y="853"/>
                    </a:lnTo>
                    <a:lnTo>
                      <a:pt x="1193" y="806"/>
                    </a:lnTo>
                    <a:lnTo>
                      <a:pt x="1229" y="806"/>
                    </a:lnTo>
                    <a:lnTo>
                      <a:pt x="1264" y="779"/>
                    </a:lnTo>
                    <a:lnTo>
                      <a:pt x="1258" y="743"/>
                    </a:lnTo>
                    <a:lnTo>
                      <a:pt x="1226" y="738"/>
                    </a:lnTo>
                    <a:lnTo>
                      <a:pt x="1154" y="779"/>
                    </a:lnTo>
                    <a:lnTo>
                      <a:pt x="1070" y="728"/>
                    </a:lnTo>
                    <a:lnTo>
                      <a:pt x="1066" y="717"/>
                    </a:lnTo>
                    <a:lnTo>
                      <a:pt x="1121" y="698"/>
                    </a:lnTo>
                    <a:lnTo>
                      <a:pt x="1181" y="605"/>
                    </a:lnTo>
                    <a:lnTo>
                      <a:pt x="1190" y="621"/>
                    </a:lnTo>
                    <a:lnTo>
                      <a:pt x="1201" y="589"/>
                    </a:lnTo>
                    <a:lnTo>
                      <a:pt x="1221" y="573"/>
                    </a:lnTo>
                    <a:lnTo>
                      <a:pt x="1226" y="592"/>
                    </a:lnTo>
                    <a:lnTo>
                      <a:pt x="1233" y="561"/>
                    </a:lnTo>
                    <a:lnTo>
                      <a:pt x="1270" y="519"/>
                    </a:lnTo>
                    <a:lnTo>
                      <a:pt x="1290" y="513"/>
                    </a:lnTo>
                    <a:lnTo>
                      <a:pt x="1330" y="474"/>
                    </a:lnTo>
                    <a:lnTo>
                      <a:pt x="1307" y="436"/>
                    </a:lnTo>
                    <a:lnTo>
                      <a:pt x="1332" y="371"/>
                    </a:lnTo>
                    <a:lnTo>
                      <a:pt x="1392" y="346"/>
                    </a:lnTo>
                    <a:lnTo>
                      <a:pt x="1391" y="312"/>
                    </a:lnTo>
                    <a:lnTo>
                      <a:pt x="1357" y="26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5" name="Freeform 6">
                <a:extLst>
                  <a:ext uri="{FF2B5EF4-FFF2-40B4-BE49-F238E27FC236}">
                    <a16:creationId xmlns:a16="http://schemas.microsoft.com/office/drawing/2014/main" xmlns="" id="{7442AE64-66C4-4D13-9B73-C08F1C7AE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9" y="2898"/>
                <a:ext cx="366" cy="232"/>
              </a:xfrm>
              <a:custGeom>
                <a:avLst/>
                <a:gdLst>
                  <a:gd name="T0" fmla="*/ 363 w 366"/>
                  <a:gd name="T1" fmla="*/ 99 h 232"/>
                  <a:gd name="T2" fmla="*/ 332 w 366"/>
                  <a:gd name="T3" fmla="*/ 104 h 232"/>
                  <a:gd name="T4" fmla="*/ 293 w 366"/>
                  <a:gd name="T5" fmla="*/ 85 h 232"/>
                  <a:gd name="T6" fmla="*/ 308 w 366"/>
                  <a:gd name="T7" fmla="*/ 25 h 232"/>
                  <a:gd name="T8" fmla="*/ 254 w 366"/>
                  <a:gd name="T9" fmla="*/ 5 h 232"/>
                  <a:gd name="T10" fmla="*/ 207 w 366"/>
                  <a:gd name="T11" fmla="*/ 0 h 232"/>
                  <a:gd name="T12" fmla="*/ 202 w 366"/>
                  <a:gd name="T13" fmla="*/ 16 h 232"/>
                  <a:gd name="T14" fmla="*/ 134 w 366"/>
                  <a:gd name="T15" fmla="*/ 24 h 232"/>
                  <a:gd name="T16" fmla="*/ 109 w 366"/>
                  <a:gd name="T17" fmla="*/ 25 h 232"/>
                  <a:gd name="T18" fmla="*/ 85 w 366"/>
                  <a:gd name="T19" fmla="*/ 47 h 232"/>
                  <a:gd name="T20" fmla="*/ 82 w 366"/>
                  <a:gd name="T21" fmla="*/ 64 h 232"/>
                  <a:gd name="T22" fmla="*/ 46 w 366"/>
                  <a:gd name="T23" fmla="*/ 92 h 232"/>
                  <a:gd name="T24" fmla="*/ 1 w 366"/>
                  <a:gd name="T25" fmla="*/ 147 h 232"/>
                  <a:gd name="T26" fmla="*/ 0 w 366"/>
                  <a:gd name="T27" fmla="*/ 170 h 232"/>
                  <a:gd name="T28" fmla="*/ 61 w 366"/>
                  <a:gd name="T29" fmla="*/ 167 h 232"/>
                  <a:gd name="T30" fmla="*/ 74 w 366"/>
                  <a:gd name="T31" fmla="*/ 221 h 232"/>
                  <a:gd name="T32" fmla="*/ 115 w 366"/>
                  <a:gd name="T33" fmla="*/ 231 h 232"/>
                  <a:gd name="T34" fmla="*/ 142 w 366"/>
                  <a:gd name="T35" fmla="*/ 220 h 232"/>
                  <a:gd name="T36" fmla="*/ 159 w 366"/>
                  <a:gd name="T37" fmla="*/ 184 h 232"/>
                  <a:gd name="T38" fmla="*/ 200 w 366"/>
                  <a:gd name="T39" fmla="*/ 167 h 232"/>
                  <a:gd name="T40" fmla="*/ 213 w 366"/>
                  <a:gd name="T41" fmla="*/ 203 h 232"/>
                  <a:gd name="T42" fmla="*/ 250 w 366"/>
                  <a:gd name="T43" fmla="*/ 231 h 232"/>
                  <a:gd name="T44" fmla="*/ 261 w 366"/>
                  <a:gd name="T45" fmla="*/ 232 h 232"/>
                  <a:gd name="T46" fmla="*/ 267 w 366"/>
                  <a:gd name="T47" fmla="*/ 172 h 232"/>
                  <a:gd name="T48" fmla="*/ 275 w 366"/>
                  <a:gd name="T49" fmla="*/ 161 h 232"/>
                  <a:gd name="T50" fmla="*/ 304 w 366"/>
                  <a:gd name="T51" fmla="*/ 177 h 232"/>
                  <a:gd name="T52" fmla="*/ 321 w 366"/>
                  <a:gd name="T53" fmla="*/ 170 h 232"/>
                  <a:gd name="T54" fmla="*/ 339 w 366"/>
                  <a:gd name="T55" fmla="*/ 175 h 232"/>
                  <a:gd name="T56" fmla="*/ 346 w 366"/>
                  <a:gd name="T57" fmla="*/ 141 h 232"/>
                  <a:gd name="T58" fmla="*/ 366 w 366"/>
                  <a:gd name="T59" fmla="*/ 143 h 232"/>
                  <a:gd name="T60" fmla="*/ 352 w 366"/>
                  <a:gd name="T61" fmla="*/ 123 h 232"/>
                  <a:gd name="T62" fmla="*/ 364 w 366"/>
                  <a:gd name="T63" fmla="*/ 115 h 232"/>
                  <a:gd name="T64" fmla="*/ 363 w 366"/>
                  <a:gd name="T65" fmla="*/ 9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6" h="232">
                    <a:moveTo>
                      <a:pt x="363" y="99"/>
                    </a:moveTo>
                    <a:lnTo>
                      <a:pt x="332" y="104"/>
                    </a:lnTo>
                    <a:lnTo>
                      <a:pt x="293" y="85"/>
                    </a:lnTo>
                    <a:lnTo>
                      <a:pt x="308" y="25"/>
                    </a:lnTo>
                    <a:lnTo>
                      <a:pt x="254" y="5"/>
                    </a:lnTo>
                    <a:lnTo>
                      <a:pt x="207" y="0"/>
                    </a:lnTo>
                    <a:lnTo>
                      <a:pt x="202" y="16"/>
                    </a:lnTo>
                    <a:lnTo>
                      <a:pt x="134" y="24"/>
                    </a:lnTo>
                    <a:lnTo>
                      <a:pt x="109" y="25"/>
                    </a:lnTo>
                    <a:lnTo>
                      <a:pt x="85" y="47"/>
                    </a:lnTo>
                    <a:lnTo>
                      <a:pt x="82" y="64"/>
                    </a:lnTo>
                    <a:lnTo>
                      <a:pt x="46" y="92"/>
                    </a:lnTo>
                    <a:lnTo>
                      <a:pt x="1" y="147"/>
                    </a:lnTo>
                    <a:lnTo>
                      <a:pt x="0" y="170"/>
                    </a:lnTo>
                    <a:lnTo>
                      <a:pt x="61" y="167"/>
                    </a:lnTo>
                    <a:lnTo>
                      <a:pt x="74" y="221"/>
                    </a:lnTo>
                    <a:lnTo>
                      <a:pt x="115" y="231"/>
                    </a:lnTo>
                    <a:lnTo>
                      <a:pt x="142" y="220"/>
                    </a:lnTo>
                    <a:lnTo>
                      <a:pt x="159" y="184"/>
                    </a:lnTo>
                    <a:lnTo>
                      <a:pt x="200" y="167"/>
                    </a:lnTo>
                    <a:lnTo>
                      <a:pt x="213" y="203"/>
                    </a:lnTo>
                    <a:lnTo>
                      <a:pt x="250" y="231"/>
                    </a:lnTo>
                    <a:lnTo>
                      <a:pt x="261" y="232"/>
                    </a:lnTo>
                    <a:lnTo>
                      <a:pt x="267" y="172"/>
                    </a:lnTo>
                    <a:lnTo>
                      <a:pt x="275" y="161"/>
                    </a:lnTo>
                    <a:lnTo>
                      <a:pt x="304" y="177"/>
                    </a:lnTo>
                    <a:lnTo>
                      <a:pt x="321" y="170"/>
                    </a:lnTo>
                    <a:lnTo>
                      <a:pt x="339" y="175"/>
                    </a:lnTo>
                    <a:lnTo>
                      <a:pt x="346" y="141"/>
                    </a:lnTo>
                    <a:lnTo>
                      <a:pt x="366" y="143"/>
                    </a:lnTo>
                    <a:lnTo>
                      <a:pt x="352" y="123"/>
                    </a:lnTo>
                    <a:lnTo>
                      <a:pt x="364" y="115"/>
                    </a:lnTo>
                    <a:lnTo>
                      <a:pt x="363" y="9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6" name="Freeform 7">
                <a:extLst>
                  <a:ext uri="{FF2B5EF4-FFF2-40B4-BE49-F238E27FC236}">
                    <a16:creationId xmlns:a16="http://schemas.microsoft.com/office/drawing/2014/main" xmlns="" id="{50F546ED-94D7-42D5-953E-02AC4F997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6" y="290"/>
                <a:ext cx="667" cy="1684"/>
              </a:xfrm>
              <a:custGeom>
                <a:avLst/>
                <a:gdLst>
                  <a:gd name="T0" fmla="*/ 632 w 667"/>
                  <a:gd name="T1" fmla="*/ 226 h 1684"/>
                  <a:gd name="T2" fmla="*/ 431 w 667"/>
                  <a:gd name="T3" fmla="*/ 0 h 1684"/>
                  <a:gd name="T4" fmla="*/ 414 w 667"/>
                  <a:gd name="T5" fmla="*/ 76 h 1684"/>
                  <a:gd name="T6" fmla="*/ 329 w 667"/>
                  <a:gd name="T7" fmla="*/ 116 h 1684"/>
                  <a:gd name="T8" fmla="*/ 287 w 667"/>
                  <a:gd name="T9" fmla="*/ 144 h 1684"/>
                  <a:gd name="T10" fmla="*/ 261 w 667"/>
                  <a:gd name="T11" fmla="*/ 243 h 1684"/>
                  <a:gd name="T12" fmla="*/ 218 w 667"/>
                  <a:gd name="T13" fmla="*/ 359 h 1684"/>
                  <a:gd name="T14" fmla="*/ 186 w 667"/>
                  <a:gd name="T15" fmla="*/ 435 h 1684"/>
                  <a:gd name="T16" fmla="*/ 152 w 667"/>
                  <a:gd name="T17" fmla="*/ 558 h 1684"/>
                  <a:gd name="T18" fmla="*/ 175 w 667"/>
                  <a:gd name="T19" fmla="*/ 609 h 1684"/>
                  <a:gd name="T20" fmla="*/ 113 w 667"/>
                  <a:gd name="T21" fmla="*/ 640 h 1684"/>
                  <a:gd name="T22" fmla="*/ 56 w 667"/>
                  <a:gd name="T23" fmla="*/ 767 h 1684"/>
                  <a:gd name="T24" fmla="*/ 82 w 667"/>
                  <a:gd name="T25" fmla="*/ 924 h 1684"/>
                  <a:gd name="T26" fmla="*/ 74 w 667"/>
                  <a:gd name="T27" fmla="*/ 1003 h 1684"/>
                  <a:gd name="T28" fmla="*/ 39 w 667"/>
                  <a:gd name="T29" fmla="*/ 1172 h 1684"/>
                  <a:gd name="T30" fmla="*/ 25 w 667"/>
                  <a:gd name="T31" fmla="*/ 1267 h 1684"/>
                  <a:gd name="T32" fmla="*/ 0 w 667"/>
                  <a:gd name="T33" fmla="*/ 1260 h 1684"/>
                  <a:gd name="T34" fmla="*/ 28 w 667"/>
                  <a:gd name="T35" fmla="*/ 1354 h 1684"/>
                  <a:gd name="T36" fmla="*/ 116 w 667"/>
                  <a:gd name="T37" fmla="*/ 1547 h 1684"/>
                  <a:gd name="T38" fmla="*/ 148 w 667"/>
                  <a:gd name="T39" fmla="*/ 1643 h 1684"/>
                  <a:gd name="T40" fmla="*/ 201 w 667"/>
                  <a:gd name="T41" fmla="*/ 1684 h 1684"/>
                  <a:gd name="T42" fmla="*/ 229 w 667"/>
                  <a:gd name="T43" fmla="*/ 1640 h 1684"/>
                  <a:gd name="T44" fmla="*/ 269 w 667"/>
                  <a:gd name="T45" fmla="*/ 1579 h 1684"/>
                  <a:gd name="T46" fmla="*/ 328 w 667"/>
                  <a:gd name="T47" fmla="*/ 1586 h 1684"/>
                  <a:gd name="T48" fmla="*/ 360 w 667"/>
                  <a:gd name="T49" fmla="*/ 1501 h 1684"/>
                  <a:gd name="T50" fmla="*/ 366 w 667"/>
                  <a:gd name="T51" fmla="*/ 1400 h 1684"/>
                  <a:gd name="T52" fmla="*/ 379 w 667"/>
                  <a:gd name="T53" fmla="*/ 1314 h 1684"/>
                  <a:gd name="T54" fmla="*/ 382 w 667"/>
                  <a:gd name="T55" fmla="*/ 1275 h 1684"/>
                  <a:gd name="T56" fmla="*/ 436 w 667"/>
                  <a:gd name="T57" fmla="*/ 1258 h 1684"/>
                  <a:gd name="T58" fmla="*/ 439 w 667"/>
                  <a:gd name="T59" fmla="*/ 1255 h 1684"/>
                  <a:gd name="T60" fmla="*/ 459 w 667"/>
                  <a:gd name="T61" fmla="*/ 1192 h 1684"/>
                  <a:gd name="T62" fmla="*/ 408 w 667"/>
                  <a:gd name="T63" fmla="*/ 1032 h 1684"/>
                  <a:gd name="T64" fmla="*/ 363 w 667"/>
                  <a:gd name="T65" fmla="*/ 912 h 1684"/>
                  <a:gd name="T66" fmla="*/ 369 w 667"/>
                  <a:gd name="T67" fmla="*/ 841 h 1684"/>
                  <a:gd name="T68" fmla="*/ 463 w 667"/>
                  <a:gd name="T69" fmla="*/ 686 h 1684"/>
                  <a:gd name="T70" fmla="*/ 521 w 667"/>
                  <a:gd name="T71" fmla="*/ 598 h 1684"/>
                  <a:gd name="T72" fmla="*/ 522 w 667"/>
                  <a:gd name="T73" fmla="*/ 512 h 1684"/>
                  <a:gd name="T74" fmla="*/ 544 w 667"/>
                  <a:gd name="T75" fmla="*/ 441 h 1684"/>
                  <a:gd name="T76" fmla="*/ 579 w 667"/>
                  <a:gd name="T77" fmla="*/ 391 h 1684"/>
                  <a:gd name="T78" fmla="*/ 667 w 667"/>
                  <a:gd name="T79" fmla="*/ 357 h 1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67" h="1684">
                    <a:moveTo>
                      <a:pt x="632" y="305"/>
                    </a:moveTo>
                    <a:lnTo>
                      <a:pt x="632" y="226"/>
                    </a:lnTo>
                    <a:lnTo>
                      <a:pt x="576" y="82"/>
                    </a:lnTo>
                    <a:lnTo>
                      <a:pt x="431" y="0"/>
                    </a:lnTo>
                    <a:lnTo>
                      <a:pt x="406" y="16"/>
                    </a:lnTo>
                    <a:lnTo>
                      <a:pt x="414" y="76"/>
                    </a:lnTo>
                    <a:lnTo>
                      <a:pt x="331" y="70"/>
                    </a:lnTo>
                    <a:lnTo>
                      <a:pt x="329" y="116"/>
                    </a:lnTo>
                    <a:lnTo>
                      <a:pt x="307" y="147"/>
                    </a:lnTo>
                    <a:lnTo>
                      <a:pt x="287" y="144"/>
                    </a:lnTo>
                    <a:lnTo>
                      <a:pt x="261" y="186"/>
                    </a:lnTo>
                    <a:lnTo>
                      <a:pt x="261" y="243"/>
                    </a:lnTo>
                    <a:lnTo>
                      <a:pt x="213" y="317"/>
                    </a:lnTo>
                    <a:lnTo>
                      <a:pt x="218" y="359"/>
                    </a:lnTo>
                    <a:lnTo>
                      <a:pt x="176" y="380"/>
                    </a:lnTo>
                    <a:lnTo>
                      <a:pt x="186" y="435"/>
                    </a:lnTo>
                    <a:lnTo>
                      <a:pt x="175" y="523"/>
                    </a:lnTo>
                    <a:lnTo>
                      <a:pt x="152" y="558"/>
                    </a:lnTo>
                    <a:lnTo>
                      <a:pt x="170" y="575"/>
                    </a:lnTo>
                    <a:lnTo>
                      <a:pt x="175" y="609"/>
                    </a:lnTo>
                    <a:lnTo>
                      <a:pt x="158" y="637"/>
                    </a:lnTo>
                    <a:lnTo>
                      <a:pt x="113" y="640"/>
                    </a:lnTo>
                    <a:lnTo>
                      <a:pt x="70" y="691"/>
                    </a:lnTo>
                    <a:lnTo>
                      <a:pt x="56" y="767"/>
                    </a:lnTo>
                    <a:lnTo>
                      <a:pt x="59" y="901"/>
                    </a:lnTo>
                    <a:lnTo>
                      <a:pt x="82" y="924"/>
                    </a:lnTo>
                    <a:lnTo>
                      <a:pt x="90" y="985"/>
                    </a:lnTo>
                    <a:lnTo>
                      <a:pt x="74" y="1003"/>
                    </a:lnTo>
                    <a:lnTo>
                      <a:pt x="73" y="1119"/>
                    </a:lnTo>
                    <a:lnTo>
                      <a:pt x="39" y="1172"/>
                    </a:lnTo>
                    <a:lnTo>
                      <a:pt x="42" y="1224"/>
                    </a:lnTo>
                    <a:lnTo>
                      <a:pt x="25" y="1267"/>
                    </a:lnTo>
                    <a:lnTo>
                      <a:pt x="20" y="1270"/>
                    </a:lnTo>
                    <a:lnTo>
                      <a:pt x="0" y="1260"/>
                    </a:lnTo>
                    <a:lnTo>
                      <a:pt x="8" y="1346"/>
                    </a:lnTo>
                    <a:lnTo>
                      <a:pt x="28" y="1354"/>
                    </a:lnTo>
                    <a:lnTo>
                      <a:pt x="30" y="1389"/>
                    </a:lnTo>
                    <a:lnTo>
                      <a:pt x="116" y="1547"/>
                    </a:lnTo>
                    <a:lnTo>
                      <a:pt x="101" y="1578"/>
                    </a:lnTo>
                    <a:lnTo>
                      <a:pt x="148" y="1643"/>
                    </a:lnTo>
                    <a:lnTo>
                      <a:pt x="142" y="1675"/>
                    </a:lnTo>
                    <a:lnTo>
                      <a:pt x="201" y="1684"/>
                    </a:lnTo>
                    <a:lnTo>
                      <a:pt x="232" y="1664"/>
                    </a:lnTo>
                    <a:lnTo>
                      <a:pt x="229" y="1640"/>
                    </a:lnTo>
                    <a:lnTo>
                      <a:pt x="235" y="1607"/>
                    </a:lnTo>
                    <a:lnTo>
                      <a:pt x="269" y="1579"/>
                    </a:lnTo>
                    <a:lnTo>
                      <a:pt x="324" y="1589"/>
                    </a:lnTo>
                    <a:lnTo>
                      <a:pt x="328" y="1586"/>
                    </a:lnTo>
                    <a:lnTo>
                      <a:pt x="329" y="1562"/>
                    </a:lnTo>
                    <a:lnTo>
                      <a:pt x="360" y="1501"/>
                    </a:lnTo>
                    <a:lnTo>
                      <a:pt x="351" y="1453"/>
                    </a:lnTo>
                    <a:lnTo>
                      <a:pt x="366" y="1400"/>
                    </a:lnTo>
                    <a:lnTo>
                      <a:pt x="360" y="1371"/>
                    </a:lnTo>
                    <a:lnTo>
                      <a:pt x="379" y="1314"/>
                    </a:lnTo>
                    <a:lnTo>
                      <a:pt x="363" y="1297"/>
                    </a:lnTo>
                    <a:lnTo>
                      <a:pt x="382" y="1275"/>
                    </a:lnTo>
                    <a:lnTo>
                      <a:pt x="403" y="1252"/>
                    </a:lnTo>
                    <a:lnTo>
                      <a:pt x="436" y="1258"/>
                    </a:lnTo>
                    <a:lnTo>
                      <a:pt x="437" y="1255"/>
                    </a:lnTo>
                    <a:lnTo>
                      <a:pt x="439" y="1255"/>
                    </a:lnTo>
                    <a:lnTo>
                      <a:pt x="465" y="1210"/>
                    </a:lnTo>
                    <a:lnTo>
                      <a:pt x="459" y="1192"/>
                    </a:lnTo>
                    <a:lnTo>
                      <a:pt x="479" y="1121"/>
                    </a:lnTo>
                    <a:lnTo>
                      <a:pt x="408" y="1032"/>
                    </a:lnTo>
                    <a:lnTo>
                      <a:pt x="377" y="1023"/>
                    </a:lnTo>
                    <a:lnTo>
                      <a:pt x="363" y="912"/>
                    </a:lnTo>
                    <a:lnTo>
                      <a:pt x="375" y="898"/>
                    </a:lnTo>
                    <a:lnTo>
                      <a:pt x="369" y="841"/>
                    </a:lnTo>
                    <a:lnTo>
                      <a:pt x="391" y="745"/>
                    </a:lnTo>
                    <a:lnTo>
                      <a:pt x="463" y="686"/>
                    </a:lnTo>
                    <a:lnTo>
                      <a:pt x="519" y="635"/>
                    </a:lnTo>
                    <a:lnTo>
                      <a:pt x="521" y="598"/>
                    </a:lnTo>
                    <a:lnTo>
                      <a:pt x="541" y="555"/>
                    </a:lnTo>
                    <a:lnTo>
                      <a:pt x="522" y="512"/>
                    </a:lnTo>
                    <a:lnTo>
                      <a:pt x="539" y="487"/>
                    </a:lnTo>
                    <a:lnTo>
                      <a:pt x="544" y="441"/>
                    </a:lnTo>
                    <a:lnTo>
                      <a:pt x="575" y="414"/>
                    </a:lnTo>
                    <a:lnTo>
                      <a:pt x="579" y="391"/>
                    </a:lnTo>
                    <a:lnTo>
                      <a:pt x="615" y="368"/>
                    </a:lnTo>
                    <a:lnTo>
                      <a:pt x="667" y="357"/>
                    </a:lnTo>
                    <a:lnTo>
                      <a:pt x="632" y="30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7" name="Freeform 8">
                <a:extLst>
                  <a:ext uri="{FF2B5EF4-FFF2-40B4-BE49-F238E27FC236}">
                    <a16:creationId xmlns:a16="http://schemas.microsoft.com/office/drawing/2014/main" xmlns="" id="{7FD8AA35-B50A-4CAA-8AD1-A7CB4CA05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1" y="1726"/>
                <a:ext cx="32" cy="128"/>
              </a:xfrm>
              <a:custGeom>
                <a:avLst/>
                <a:gdLst>
                  <a:gd name="T0" fmla="*/ 3 w 32"/>
                  <a:gd name="T1" fmla="*/ 75 h 128"/>
                  <a:gd name="T2" fmla="*/ 0 w 32"/>
                  <a:gd name="T3" fmla="*/ 128 h 128"/>
                  <a:gd name="T4" fmla="*/ 17 w 32"/>
                  <a:gd name="T5" fmla="*/ 114 h 128"/>
                  <a:gd name="T6" fmla="*/ 32 w 32"/>
                  <a:gd name="T7" fmla="*/ 28 h 128"/>
                  <a:gd name="T8" fmla="*/ 27 w 32"/>
                  <a:gd name="T9" fmla="*/ 0 h 128"/>
                  <a:gd name="T10" fmla="*/ 26 w 32"/>
                  <a:gd name="T11" fmla="*/ 3 h 128"/>
                  <a:gd name="T12" fmla="*/ 3 w 32"/>
                  <a:gd name="T13" fmla="*/ 75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8">
                    <a:moveTo>
                      <a:pt x="3" y="75"/>
                    </a:moveTo>
                    <a:lnTo>
                      <a:pt x="0" y="128"/>
                    </a:lnTo>
                    <a:lnTo>
                      <a:pt x="17" y="114"/>
                    </a:lnTo>
                    <a:lnTo>
                      <a:pt x="32" y="28"/>
                    </a:lnTo>
                    <a:lnTo>
                      <a:pt x="27" y="0"/>
                    </a:lnTo>
                    <a:lnTo>
                      <a:pt x="26" y="3"/>
                    </a:lnTo>
                    <a:lnTo>
                      <a:pt x="3" y="7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8" name="Freeform 9">
                <a:extLst>
                  <a:ext uri="{FF2B5EF4-FFF2-40B4-BE49-F238E27FC236}">
                    <a16:creationId xmlns:a16="http://schemas.microsoft.com/office/drawing/2014/main" xmlns="" id="{A36FA515-DC19-4E89-B6DC-9AA00FC7D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9" y="1622"/>
                <a:ext cx="78" cy="122"/>
              </a:xfrm>
              <a:custGeom>
                <a:avLst/>
                <a:gdLst>
                  <a:gd name="T0" fmla="*/ 0 w 78"/>
                  <a:gd name="T1" fmla="*/ 74 h 122"/>
                  <a:gd name="T2" fmla="*/ 10 w 78"/>
                  <a:gd name="T3" fmla="*/ 122 h 122"/>
                  <a:gd name="T4" fmla="*/ 45 w 78"/>
                  <a:gd name="T5" fmla="*/ 91 h 122"/>
                  <a:gd name="T6" fmla="*/ 47 w 78"/>
                  <a:gd name="T7" fmla="*/ 88 h 122"/>
                  <a:gd name="T8" fmla="*/ 39 w 78"/>
                  <a:gd name="T9" fmla="*/ 54 h 122"/>
                  <a:gd name="T10" fmla="*/ 76 w 78"/>
                  <a:gd name="T11" fmla="*/ 3 h 122"/>
                  <a:gd name="T12" fmla="*/ 78 w 78"/>
                  <a:gd name="T13" fmla="*/ 0 h 122"/>
                  <a:gd name="T14" fmla="*/ 33 w 78"/>
                  <a:gd name="T15" fmla="*/ 3 h 122"/>
                  <a:gd name="T16" fmla="*/ 0 w 78"/>
                  <a:gd name="T17" fmla="*/ 7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122">
                    <a:moveTo>
                      <a:pt x="0" y="74"/>
                    </a:moveTo>
                    <a:lnTo>
                      <a:pt x="10" y="122"/>
                    </a:lnTo>
                    <a:lnTo>
                      <a:pt x="45" y="91"/>
                    </a:lnTo>
                    <a:lnTo>
                      <a:pt x="47" y="88"/>
                    </a:lnTo>
                    <a:lnTo>
                      <a:pt x="39" y="54"/>
                    </a:lnTo>
                    <a:lnTo>
                      <a:pt x="76" y="3"/>
                    </a:lnTo>
                    <a:lnTo>
                      <a:pt x="78" y="0"/>
                    </a:lnTo>
                    <a:lnTo>
                      <a:pt x="33" y="3"/>
                    </a:lnTo>
                    <a:lnTo>
                      <a:pt x="0" y="7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9" name="Freeform 10">
                <a:extLst>
                  <a:ext uri="{FF2B5EF4-FFF2-40B4-BE49-F238E27FC236}">
                    <a16:creationId xmlns:a16="http://schemas.microsoft.com/office/drawing/2014/main" xmlns="" id="{BD728C87-B2E6-4CF5-90B6-B53C9F457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2982"/>
                <a:ext cx="260" cy="201"/>
              </a:xfrm>
              <a:custGeom>
                <a:avLst/>
                <a:gdLst>
                  <a:gd name="T0" fmla="*/ 223 w 260"/>
                  <a:gd name="T1" fmla="*/ 0 h 201"/>
                  <a:gd name="T2" fmla="*/ 195 w 260"/>
                  <a:gd name="T3" fmla="*/ 39 h 201"/>
                  <a:gd name="T4" fmla="*/ 138 w 260"/>
                  <a:gd name="T5" fmla="*/ 39 h 201"/>
                  <a:gd name="T6" fmla="*/ 102 w 260"/>
                  <a:gd name="T7" fmla="*/ 71 h 201"/>
                  <a:gd name="T8" fmla="*/ 31 w 260"/>
                  <a:gd name="T9" fmla="*/ 57 h 201"/>
                  <a:gd name="T10" fmla="*/ 2 w 260"/>
                  <a:gd name="T11" fmla="*/ 72 h 201"/>
                  <a:gd name="T12" fmla="*/ 0 w 260"/>
                  <a:gd name="T13" fmla="*/ 105 h 201"/>
                  <a:gd name="T14" fmla="*/ 22 w 260"/>
                  <a:gd name="T15" fmla="*/ 134 h 201"/>
                  <a:gd name="T16" fmla="*/ 25 w 260"/>
                  <a:gd name="T17" fmla="*/ 161 h 201"/>
                  <a:gd name="T18" fmla="*/ 3 w 260"/>
                  <a:gd name="T19" fmla="*/ 178 h 201"/>
                  <a:gd name="T20" fmla="*/ 11 w 260"/>
                  <a:gd name="T21" fmla="*/ 201 h 201"/>
                  <a:gd name="T22" fmla="*/ 110 w 260"/>
                  <a:gd name="T23" fmla="*/ 142 h 201"/>
                  <a:gd name="T24" fmla="*/ 142 w 260"/>
                  <a:gd name="T25" fmla="*/ 150 h 201"/>
                  <a:gd name="T26" fmla="*/ 164 w 260"/>
                  <a:gd name="T27" fmla="*/ 103 h 201"/>
                  <a:gd name="T28" fmla="*/ 260 w 260"/>
                  <a:gd name="T29" fmla="*/ 66 h 201"/>
                  <a:gd name="T30" fmla="*/ 223 w 260"/>
                  <a:gd name="T3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0" h="201">
                    <a:moveTo>
                      <a:pt x="223" y="0"/>
                    </a:moveTo>
                    <a:lnTo>
                      <a:pt x="195" y="39"/>
                    </a:lnTo>
                    <a:lnTo>
                      <a:pt x="138" y="39"/>
                    </a:lnTo>
                    <a:lnTo>
                      <a:pt x="102" y="71"/>
                    </a:lnTo>
                    <a:lnTo>
                      <a:pt x="31" y="57"/>
                    </a:lnTo>
                    <a:lnTo>
                      <a:pt x="2" y="72"/>
                    </a:lnTo>
                    <a:lnTo>
                      <a:pt x="0" y="105"/>
                    </a:lnTo>
                    <a:lnTo>
                      <a:pt x="22" y="134"/>
                    </a:lnTo>
                    <a:lnTo>
                      <a:pt x="25" y="161"/>
                    </a:lnTo>
                    <a:lnTo>
                      <a:pt x="3" y="178"/>
                    </a:lnTo>
                    <a:lnTo>
                      <a:pt x="11" y="201"/>
                    </a:lnTo>
                    <a:lnTo>
                      <a:pt x="110" y="142"/>
                    </a:lnTo>
                    <a:lnTo>
                      <a:pt x="142" y="150"/>
                    </a:lnTo>
                    <a:lnTo>
                      <a:pt x="164" y="103"/>
                    </a:lnTo>
                    <a:lnTo>
                      <a:pt x="260" y="66"/>
                    </a:lnTo>
                    <a:lnTo>
                      <a:pt x="22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0" name="Freeform 11">
                <a:extLst>
                  <a:ext uri="{FF2B5EF4-FFF2-40B4-BE49-F238E27FC236}">
                    <a16:creationId xmlns:a16="http://schemas.microsoft.com/office/drawing/2014/main" xmlns="" id="{D1D9C597-A6BA-4FAD-9640-7953FD12B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2617"/>
                <a:ext cx="433" cy="255"/>
              </a:xfrm>
              <a:custGeom>
                <a:avLst/>
                <a:gdLst>
                  <a:gd name="T0" fmla="*/ 382 w 433"/>
                  <a:gd name="T1" fmla="*/ 2 h 255"/>
                  <a:gd name="T2" fmla="*/ 347 w 433"/>
                  <a:gd name="T3" fmla="*/ 0 h 255"/>
                  <a:gd name="T4" fmla="*/ 321 w 433"/>
                  <a:gd name="T5" fmla="*/ 19 h 255"/>
                  <a:gd name="T6" fmla="*/ 294 w 433"/>
                  <a:gd name="T7" fmla="*/ 16 h 255"/>
                  <a:gd name="T8" fmla="*/ 264 w 433"/>
                  <a:gd name="T9" fmla="*/ 27 h 255"/>
                  <a:gd name="T10" fmla="*/ 245 w 433"/>
                  <a:gd name="T11" fmla="*/ 51 h 255"/>
                  <a:gd name="T12" fmla="*/ 200 w 433"/>
                  <a:gd name="T13" fmla="*/ 34 h 255"/>
                  <a:gd name="T14" fmla="*/ 177 w 433"/>
                  <a:gd name="T15" fmla="*/ 47 h 255"/>
                  <a:gd name="T16" fmla="*/ 166 w 433"/>
                  <a:gd name="T17" fmla="*/ 37 h 255"/>
                  <a:gd name="T18" fmla="*/ 135 w 433"/>
                  <a:gd name="T19" fmla="*/ 50 h 255"/>
                  <a:gd name="T20" fmla="*/ 122 w 433"/>
                  <a:gd name="T21" fmla="*/ 65 h 255"/>
                  <a:gd name="T22" fmla="*/ 100 w 433"/>
                  <a:gd name="T23" fmla="*/ 74 h 255"/>
                  <a:gd name="T24" fmla="*/ 98 w 433"/>
                  <a:gd name="T25" fmla="*/ 77 h 255"/>
                  <a:gd name="T26" fmla="*/ 97 w 433"/>
                  <a:gd name="T27" fmla="*/ 77 h 255"/>
                  <a:gd name="T28" fmla="*/ 88 w 433"/>
                  <a:gd name="T29" fmla="*/ 105 h 255"/>
                  <a:gd name="T30" fmla="*/ 41 w 433"/>
                  <a:gd name="T31" fmla="*/ 132 h 255"/>
                  <a:gd name="T32" fmla="*/ 15 w 433"/>
                  <a:gd name="T33" fmla="*/ 133 h 255"/>
                  <a:gd name="T34" fmla="*/ 12 w 433"/>
                  <a:gd name="T35" fmla="*/ 136 h 255"/>
                  <a:gd name="T36" fmla="*/ 12 w 433"/>
                  <a:gd name="T37" fmla="*/ 136 h 255"/>
                  <a:gd name="T38" fmla="*/ 0 w 433"/>
                  <a:gd name="T39" fmla="*/ 153 h 255"/>
                  <a:gd name="T40" fmla="*/ 18 w 433"/>
                  <a:gd name="T41" fmla="*/ 218 h 255"/>
                  <a:gd name="T42" fmla="*/ 81 w 433"/>
                  <a:gd name="T43" fmla="*/ 255 h 255"/>
                  <a:gd name="T44" fmla="*/ 160 w 433"/>
                  <a:gd name="T45" fmla="*/ 232 h 255"/>
                  <a:gd name="T46" fmla="*/ 157 w 433"/>
                  <a:gd name="T47" fmla="*/ 203 h 255"/>
                  <a:gd name="T48" fmla="*/ 222 w 433"/>
                  <a:gd name="T49" fmla="*/ 179 h 255"/>
                  <a:gd name="T50" fmla="*/ 240 w 433"/>
                  <a:gd name="T51" fmla="*/ 187 h 255"/>
                  <a:gd name="T52" fmla="*/ 284 w 433"/>
                  <a:gd name="T53" fmla="*/ 166 h 255"/>
                  <a:gd name="T54" fmla="*/ 290 w 433"/>
                  <a:gd name="T55" fmla="*/ 136 h 255"/>
                  <a:gd name="T56" fmla="*/ 372 w 433"/>
                  <a:gd name="T57" fmla="*/ 122 h 255"/>
                  <a:gd name="T58" fmla="*/ 399 w 433"/>
                  <a:gd name="T59" fmla="*/ 138 h 255"/>
                  <a:gd name="T60" fmla="*/ 429 w 433"/>
                  <a:gd name="T61" fmla="*/ 135 h 255"/>
                  <a:gd name="T62" fmla="*/ 433 w 433"/>
                  <a:gd name="T63" fmla="*/ 25 h 255"/>
                  <a:gd name="T64" fmla="*/ 382 w 433"/>
                  <a:gd name="T65" fmla="*/ 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3" h="255">
                    <a:moveTo>
                      <a:pt x="382" y="2"/>
                    </a:moveTo>
                    <a:lnTo>
                      <a:pt x="347" y="0"/>
                    </a:lnTo>
                    <a:lnTo>
                      <a:pt x="321" y="19"/>
                    </a:lnTo>
                    <a:lnTo>
                      <a:pt x="294" y="16"/>
                    </a:lnTo>
                    <a:lnTo>
                      <a:pt x="264" y="27"/>
                    </a:lnTo>
                    <a:lnTo>
                      <a:pt x="245" y="51"/>
                    </a:lnTo>
                    <a:lnTo>
                      <a:pt x="200" y="34"/>
                    </a:lnTo>
                    <a:lnTo>
                      <a:pt x="177" y="47"/>
                    </a:lnTo>
                    <a:lnTo>
                      <a:pt x="166" y="37"/>
                    </a:lnTo>
                    <a:lnTo>
                      <a:pt x="135" y="50"/>
                    </a:lnTo>
                    <a:lnTo>
                      <a:pt x="122" y="65"/>
                    </a:lnTo>
                    <a:lnTo>
                      <a:pt x="100" y="74"/>
                    </a:lnTo>
                    <a:lnTo>
                      <a:pt x="98" y="77"/>
                    </a:lnTo>
                    <a:lnTo>
                      <a:pt x="97" y="77"/>
                    </a:lnTo>
                    <a:lnTo>
                      <a:pt x="88" y="105"/>
                    </a:lnTo>
                    <a:lnTo>
                      <a:pt x="41" y="132"/>
                    </a:lnTo>
                    <a:lnTo>
                      <a:pt x="15" y="133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0" y="153"/>
                    </a:lnTo>
                    <a:lnTo>
                      <a:pt x="18" y="218"/>
                    </a:lnTo>
                    <a:lnTo>
                      <a:pt x="81" y="255"/>
                    </a:lnTo>
                    <a:lnTo>
                      <a:pt x="160" y="232"/>
                    </a:lnTo>
                    <a:lnTo>
                      <a:pt x="157" y="203"/>
                    </a:lnTo>
                    <a:lnTo>
                      <a:pt x="222" y="179"/>
                    </a:lnTo>
                    <a:lnTo>
                      <a:pt x="240" y="187"/>
                    </a:lnTo>
                    <a:lnTo>
                      <a:pt x="284" y="166"/>
                    </a:lnTo>
                    <a:lnTo>
                      <a:pt x="290" y="136"/>
                    </a:lnTo>
                    <a:lnTo>
                      <a:pt x="372" y="122"/>
                    </a:lnTo>
                    <a:lnTo>
                      <a:pt x="399" y="138"/>
                    </a:lnTo>
                    <a:lnTo>
                      <a:pt x="429" y="135"/>
                    </a:lnTo>
                    <a:lnTo>
                      <a:pt x="433" y="25"/>
                    </a:lnTo>
                    <a:lnTo>
                      <a:pt x="382" y="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1" name="Freeform 12">
                <a:extLst>
                  <a:ext uri="{FF2B5EF4-FFF2-40B4-BE49-F238E27FC236}">
                    <a16:creationId xmlns:a16="http://schemas.microsoft.com/office/drawing/2014/main" xmlns="" id="{BFC70E69-FA90-4E64-ADEC-B46D159F9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" y="3062"/>
                <a:ext cx="363" cy="470"/>
              </a:xfrm>
              <a:custGeom>
                <a:avLst/>
                <a:gdLst>
                  <a:gd name="T0" fmla="*/ 349 w 363"/>
                  <a:gd name="T1" fmla="*/ 298 h 470"/>
                  <a:gd name="T2" fmla="*/ 308 w 363"/>
                  <a:gd name="T3" fmla="*/ 269 h 470"/>
                  <a:gd name="T4" fmla="*/ 300 w 363"/>
                  <a:gd name="T5" fmla="*/ 234 h 470"/>
                  <a:gd name="T6" fmla="*/ 315 w 363"/>
                  <a:gd name="T7" fmla="*/ 198 h 470"/>
                  <a:gd name="T8" fmla="*/ 306 w 363"/>
                  <a:gd name="T9" fmla="*/ 167 h 470"/>
                  <a:gd name="T10" fmla="*/ 192 w 363"/>
                  <a:gd name="T11" fmla="*/ 141 h 470"/>
                  <a:gd name="T12" fmla="*/ 170 w 363"/>
                  <a:gd name="T13" fmla="*/ 90 h 470"/>
                  <a:gd name="T14" fmla="*/ 132 w 363"/>
                  <a:gd name="T15" fmla="*/ 67 h 470"/>
                  <a:gd name="T16" fmla="*/ 99 w 363"/>
                  <a:gd name="T17" fmla="*/ 0 h 470"/>
                  <a:gd name="T18" fmla="*/ 31 w 363"/>
                  <a:gd name="T19" fmla="*/ 3 h 470"/>
                  <a:gd name="T20" fmla="*/ 0 w 363"/>
                  <a:gd name="T21" fmla="*/ 13 h 470"/>
                  <a:gd name="T22" fmla="*/ 28 w 363"/>
                  <a:gd name="T23" fmla="*/ 62 h 470"/>
                  <a:gd name="T24" fmla="*/ 17 w 363"/>
                  <a:gd name="T25" fmla="*/ 87 h 470"/>
                  <a:gd name="T26" fmla="*/ 34 w 363"/>
                  <a:gd name="T27" fmla="*/ 110 h 470"/>
                  <a:gd name="T28" fmla="*/ 36 w 363"/>
                  <a:gd name="T29" fmla="*/ 156 h 470"/>
                  <a:gd name="T30" fmla="*/ 62 w 363"/>
                  <a:gd name="T31" fmla="*/ 181 h 470"/>
                  <a:gd name="T32" fmla="*/ 54 w 363"/>
                  <a:gd name="T33" fmla="*/ 291 h 470"/>
                  <a:gd name="T34" fmla="*/ 85 w 363"/>
                  <a:gd name="T35" fmla="*/ 308 h 470"/>
                  <a:gd name="T36" fmla="*/ 91 w 363"/>
                  <a:gd name="T37" fmla="*/ 340 h 470"/>
                  <a:gd name="T38" fmla="*/ 149 w 363"/>
                  <a:gd name="T39" fmla="*/ 360 h 470"/>
                  <a:gd name="T40" fmla="*/ 133 w 363"/>
                  <a:gd name="T41" fmla="*/ 434 h 470"/>
                  <a:gd name="T42" fmla="*/ 169 w 363"/>
                  <a:gd name="T43" fmla="*/ 470 h 470"/>
                  <a:gd name="T44" fmla="*/ 263 w 363"/>
                  <a:gd name="T45" fmla="*/ 445 h 470"/>
                  <a:gd name="T46" fmla="*/ 348 w 363"/>
                  <a:gd name="T47" fmla="*/ 436 h 470"/>
                  <a:gd name="T48" fmla="*/ 338 w 363"/>
                  <a:gd name="T49" fmla="*/ 346 h 470"/>
                  <a:gd name="T50" fmla="*/ 363 w 363"/>
                  <a:gd name="T51" fmla="*/ 328 h 470"/>
                  <a:gd name="T52" fmla="*/ 349 w 363"/>
                  <a:gd name="T53" fmla="*/ 298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3" h="470">
                    <a:moveTo>
                      <a:pt x="349" y="298"/>
                    </a:moveTo>
                    <a:lnTo>
                      <a:pt x="308" y="269"/>
                    </a:lnTo>
                    <a:lnTo>
                      <a:pt x="300" y="234"/>
                    </a:lnTo>
                    <a:lnTo>
                      <a:pt x="315" y="198"/>
                    </a:lnTo>
                    <a:lnTo>
                      <a:pt x="306" y="167"/>
                    </a:lnTo>
                    <a:lnTo>
                      <a:pt x="192" y="141"/>
                    </a:lnTo>
                    <a:lnTo>
                      <a:pt x="170" y="90"/>
                    </a:lnTo>
                    <a:lnTo>
                      <a:pt x="132" y="67"/>
                    </a:lnTo>
                    <a:lnTo>
                      <a:pt x="99" y="0"/>
                    </a:lnTo>
                    <a:lnTo>
                      <a:pt x="31" y="3"/>
                    </a:lnTo>
                    <a:lnTo>
                      <a:pt x="0" y="13"/>
                    </a:lnTo>
                    <a:lnTo>
                      <a:pt x="28" y="62"/>
                    </a:lnTo>
                    <a:lnTo>
                      <a:pt x="17" y="87"/>
                    </a:lnTo>
                    <a:lnTo>
                      <a:pt x="34" y="110"/>
                    </a:lnTo>
                    <a:lnTo>
                      <a:pt x="36" y="156"/>
                    </a:lnTo>
                    <a:lnTo>
                      <a:pt x="62" y="181"/>
                    </a:lnTo>
                    <a:lnTo>
                      <a:pt x="54" y="291"/>
                    </a:lnTo>
                    <a:lnTo>
                      <a:pt x="85" y="308"/>
                    </a:lnTo>
                    <a:lnTo>
                      <a:pt x="91" y="340"/>
                    </a:lnTo>
                    <a:lnTo>
                      <a:pt x="149" y="360"/>
                    </a:lnTo>
                    <a:lnTo>
                      <a:pt x="133" y="434"/>
                    </a:lnTo>
                    <a:lnTo>
                      <a:pt x="169" y="470"/>
                    </a:lnTo>
                    <a:lnTo>
                      <a:pt x="263" y="445"/>
                    </a:lnTo>
                    <a:lnTo>
                      <a:pt x="348" y="436"/>
                    </a:lnTo>
                    <a:lnTo>
                      <a:pt x="338" y="346"/>
                    </a:lnTo>
                    <a:lnTo>
                      <a:pt x="363" y="328"/>
                    </a:lnTo>
                    <a:lnTo>
                      <a:pt x="349" y="29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2" name="Freeform 13">
                <a:extLst>
                  <a:ext uri="{FF2B5EF4-FFF2-40B4-BE49-F238E27FC236}">
                    <a16:creationId xmlns:a16="http://schemas.microsoft.com/office/drawing/2014/main" xmlns="" id="{D172409E-A742-4168-A8F4-40A22F542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" y="1865"/>
                <a:ext cx="157" cy="143"/>
              </a:xfrm>
              <a:custGeom>
                <a:avLst/>
                <a:gdLst>
                  <a:gd name="T0" fmla="*/ 64 w 157"/>
                  <a:gd name="T1" fmla="*/ 97 h 143"/>
                  <a:gd name="T2" fmla="*/ 72 w 157"/>
                  <a:gd name="T3" fmla="*/ 128 h 143"/>
                  <a:gd name="T4" fmla="*/ 100 w 157"/>
                  <a:gd name="T5" fmla="*/ 143 h 143"/>
                  <a:gd name="T6" fmla="*/ 148 w 157"/>
                  <a:gd name="T7" fmla="*/ 134 h 143"/>
                  <a:gd name="T8" fmla="*/ 157 w 157"/>
                  <a:gd name="T9" fmla="*/ 88 h 143"/>
                  <a:gd name="T10" fmla="*/ 137 w 157"/>
                  <a:gd name="T11" fmla="*/ 82 h 143"/>
                  <a:gd name="T12" fmla="*/ 155 w 157"/>
                  <a:gd name="T13" fmla="*/ 69 h 143"/>
                  <a:gd name="T14" fmla="*/ 142 w 157"/>
                  <a:gd name="T15" fmla="*/ 6 h 143"/>
                  <a:gd name="T16" fmla="*/ 92 w 157"/>
                  <a:gd name="T17" fmla="*/ 0 h 143"/>
                  <a:gd name="T18" fmla="*/ 21 w 157"/>
                  <a:gd name="T19" fmla="*/ 28 h 143"/>
                  <a:gd name="T20" fmla="*/ 0 w 157"/>
                  <a:gd name="T21" fmla="*/ 82 h 143"/>
                  <a:gd name="T22" fmla="*/ 34 w 157"/>
                  <a:gd name="T23" fmla="*/ 106 h 143"/>
                  <a:gd name="T24" fmla="*/ 64 w 157"/>
                  <a:gd name="T25" fmla="*/ 97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7" h="143">
                    <a:moveTo>
                      <a:pt x="64" y="97"/>
                    </a:moveTo>
                    <a:lnTo>
                      <a:pt x="72" y="128"/>
                    </a:lnTo>
                    <a:lnTo>
                      <a:pt x="100" y="143"/>
                    </a:lnTo>
                    <a:lnTo>
                      <a:pt x="148" y="134"/>
                    </a:lnTo>
                    <a:lnTo>
                      <a:pt x="157" y="88"/>
                    </a:lnTo>
                    <a:lnTo>
                      <a:pt x="137" y="82"/>
                    </a:lnTo>
                    <a:lnTo>
                      <a:pt x="155" y="69"/>
                    </a:lnTo>
                    <a:lnTo>
                      <a:pt x="142" y="6"/>
                    </a:lnTo>
                    <a:lnTo>
                      <a:pt x="92" y="0"/>
                    </a:lnTo>
                    <a:lnTo>
                      <a:pt x="21" y="28"/>
                    </a:lnTo>
                    <a:lnTo>
                      <a:pt x="0" y="82"/>
                    </a:lnTo>
                    <a:lnTo>
                      <a:pt x="34" y="106"/>
                    </a:lnTo>
                    <a:lnTo>
                      <a:pt x="64" y="9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3" name="Freeform 14">
                <a:extLst>
                  <a:ext uri="{FF2B5EF4-FFF2-40B4-BE49-F238E27FC236}">
                    <a16:creationId xmlns:a16="http://schemas.microsoft.com/office/drawing/2014/main" xmlns="" id="{DE611D84-82BD-4B24-8079-DA1C85472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" y="1482"/>
                <a:ext cx="62" cy="49"/>
              </a:xfrm>
              <a:custGeom>
                <a:avLst/>
                <a:gdLst>
                  <a:gd name="T0" fmla="*/ 62 w 62"/>
                  <a:gd name="T1" fmla="*/ 24 h 49"/>
                  <a:gd name="T2" fmla="*/ 59 w 62"/>
                  <a:gd name="T3" fmla="*/ 0 h 49"/>
                  <a:gd name="T4" fmla="*/ 5 w 62"/>
                  <a:gd name="T5" fmla="*/ 29 h 49"/>
                  <a:gd name="T6" fmla="*/ 0 w 62"/>
                  <a:gd name="T7" fmla="*/ 49 h 49"/>
                  <a:gd name="T8" fmla="*/ 31 w 62"/>
                  <a:gd name="T9" fmla="*/ 48 h 49"/>
                  <a:gd name="T10" fmla="*/ 62 w 62"/>
                  <a:gd name="T11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49">
                    <a:moveTo>
                      <a:pt x="62" y="24"/>
                    </a:moveTo>
                    <a:lnTo>
                      <a:pt x="59" y="0"/>
                    </a:lnTo>
                    <a:lnTo>
                      <a:pt x="5" y="29"/>
                    </a:lnTo>
                    <a:lnTo>
                      <a:pt x="0" y="49"/>
                    </a:lnTo>
                    <a:lnTo>
                      <a:pt x="31" y="48"/>
                    </a:lnTo>
                    <a:lnTo>
                      <a:pt x="62" y="2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4" name="Freeform 15">
                <a:extLst>
                  <a:ext uri="{FF2B5EF4-FFF2-40B4-BE49-F238E27FC236}">
                    <a16:creationId xmlns:a16="http://schemas.microsoft.com/office/drawing/2014/main" xmlns="" id="{8FAA1A06-0D6D-4EF2-A273-46A69FFCC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" y="1571"/>
                <a:ext cx="31" cy="43"/>
              </a:xfrm>
              <a:custGeom>
                <a:avLst/>
                <a:gdLst>
                  <a:gd name="T0" fmla="*/ 31 w 31"/>
                  <a:gd name="T1" fmla="*/ 13 h 43"/>
                  <a:gd name="T2" fmla="*/ 20 w 31"/>
                  <a:gd name="T3" fmla="*/ 0 h 43"/>
                  <a:gd name="T4" fmla="*/ 0 w 31"/>
                  <a:gd name="T5" fmla="*/ 31 h 43"/>
                  <a:gd name="T6" fmla="*/ 6 w 31"/>
                  <a:gd name="T7" fmla="*/ 43 h 43"/>
                  <a:gd name="T8" fmla="*/ 31 w 31"/>
                  <a:gd name="T9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43">
                    <a:moveTo>
                      <a:pt x="31" y="13"/>
                    </a:moveTo>
                    <a:lnTo>
                      <a:pt x="20" y="0"/>
                    </a:lnTo>
                    <a:lnTo>
                      <a:pt x="0" y="31"/>
                    </a:lnTo>
                    <a:lnTo>
                      <a:pt x="6" y="43"/>
                    </a:lnTo>
                    <a:lnTo>
                      <a:pt x="31" y="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5" name="Freeform 16">
                <a:extLst>
                  <a:ext uri="{FF2B5EF4-FFF2-40B4-BE49-F238E27FC236}">
                    <a16:creationId xmlns:a16="http://schemas.microsoft.com/office/drawing/2014/main" xmlns="" id="{D905B06D-A0B5-4083-A366-BE37D3443F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" y="1638"/>
                <a:ext cx="22" cy="18"/>
              </a:xfrm>
              <a:custGeom>
                <a:avLst/>
                <a:gdLst>
                  <a:gd name="T0" fmla="*/ 22 w 22"/>
                  <a:gd name="T1" fmla="*/ 10 h 18"/>
                  <a:gd name="T2" fmla="*/ 14 w 22"/>
                  <a:gd name="T3" fmla="*/ 0 h 18"/>
                  <a:gd name="T4" fmla="*/ 0 w 22"/>
                  <a:gd name="T5" fmla="*/ 17 h 18"/>
                  <a:gd name="T6" fmla="*/ 9 w 22"/>
                  <a:gd name="T7" fmla="*/ 18 h 18"/>
                  <a:gd name="T8" fmla="*/ 22 w 22"/>
                  <a:gd name="T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8">
                    <a:moveTo>
                      <a:pt x="22" y="10"/>
                    </a:moveTo>
                    <a:lnTo>
                      <a:pt x="14" y="0"/>
                    </a:lnTo>
                    <a:lnTo>
                      <a:pt x="0" y="17"/>
                    </a:lnTo>
                    <a:lnTo>
                      <a:pt x="9" y="18"/>
                    </a:lnTo>
                    <a:lnTo>
                      <a:pt x="22" y="1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6" name="Freeform 17">
                <a:extLst>
                  <a:ext uri="{FF2B5EF4-FFF2-40B4-BE49-F238E27FC236}">
                    <a16:creationId xmlns:a16="http://schemas.microsoft.com/office/drawing/2014/main" xmlns="" id="{FE6DEA94-23B7-4F8E-8021-FB96DC6A1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7" y="1577"/>
                <a:ext cx="37" cy="62"/>
              </a:xfrm>
              <a:custGeom>
                <a:avLst/>
                <a:gdLst>
                  <a:gd name="T0" fmla="*/ 37 w 37"/>
                  <a:gd name="T1" fmla="*/ 48 h 62"/>
                  <a:gd name="T2" fmla="*/ 32 w 37"/>
                  <a:gd name="T3" fmla="*/ 0 h 62"/>
                  <a:gd name="T4" fmla="*/ 0 w 37"/>
                  <a:gd name="T5" fmla="*/ 14 h 62"/>
                  <a:gd name="T6" fmla="*/ 18 w 37"/>
                  <a:gd name="T7" fmla="*/ 44 h 62"/>
                  <a:gd name="T8" fmla="*/ 20 w 37"/>
                  <a:gd name="T9" fmla="*/ 62 h 62"/>
                  <a:gd name="T10" fmla="*/ 37 w 37"/>
                  <a:gd name="T11" fmla="*/ 4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2">
                    <a:moveTo>
                      <a:pt x="37" y="48"/>
                    </a:moveTo>
                    <a:lnTo>
                      <a:pt x="32" y="0"/>
                    </a:lnTo>
                    <a:lnTo>
                      <a:pt x="0" y="14"/>
                    </a:lnTo>
                    <a:lnTo>
                      <a:pt x="18" y="44"/>
                    </a:lnTo>
                    <a:lnTo>
                      <a:pt x="20" y="62"/>
                    </a:lnTo>
                    <a:lnTo>
                      <a:pt x="37" y="4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7" name="Freeform 18">
                <a:extLst>
                  <a:ext uri="{FF2B5EF4-FFF2-40B4-BE49-F238E27FC236}">
                    <a16:creationId xmlns:a16="http://schemas.microsoft.com/office/drawing/2014/main" xmlns="" id="{466F73F5-933F-487B-95AE-EA26C2292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1737"/>
                <a:ext cx="23" cy="23"/>
              </a:xfrm>
              <a:custGeom>
                <a:avLst/>
                <a:gdLst>
                  <a:gd name="T0" fmla="*/ 23 w 23"/>
                  <a:gd name="T1" fmla="*/ 15 h 23"/>
                  <a:gd name="T2" fmla="*/ 15 w 23"/>
                  <a:gd name="T3" fmla="*/ 0 h 23"/>
                  <a:gd name="T4" fmla="*/ 0 w 23"/>
                  <a:gd name="T5" fmla="*/ 9 h 23"/>
                  <a:gd name="T6" fmla="*/ 7 w 23"/>
                  <a:gd name="T7" fmla="*/ 23 h 23"/>
                  <a:gd name="T8" fmla="*/ 23 w 23"/>
                  <a:gd name="T9" fmla="*/ 1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3" y="15"/>
                    </a:moveTo>
                    <a:lnTo>
                      <a:pt x="15" y="0"/>
                    </a:lnTo>
                    <a:lnTo>
                      <a:pt x="0" y="9"/>
                    </a:lnTo>
                    <a:lnTo>
                      <a:pt x="7" y="23"/>
                    </a:lnTo>
                    <a:lnTo>
                      <a:pt x="23" y="1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8" name="Freeform 19">
                <a:extLst>
                  <a:ext uri="{FF2B5EF4-FFF2-40B4-BE49-F238E27FC236}">
                    <a16:creationId xmlns:a16="http://schemas.microsoft.com/office/drawing/2014/main" xmlns="" id="{B04AA00F-210C-48E2-AE0E-9156AE286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4" y="1781"/>
                <a:ext cx="34" cy="34"/>
              </a:xfrm>
              <a:custGeom>
                <a:avLst/>
                <a:gdLst>
                  <a:gd name="T0" fmla="*/ 28 w 34"/>
                  <a:gd name="T1" fmla="*/ 30 h 34"/>
                  <a:gd name="T2" fmla="*/ 34 w 34"/>
                  <a:gd name="T3" fmla="*/ 0 h 34"/>
                  <a:gd name="T4" fmla="*/ 8 w 34"/>
                  <a:gd name="T5" fmla="*/ 3 h 34"/>
                  <a:gd name="T6" fmla="*/ 0 w 34"/>
                  <a:gd name="T7" fmla="*/ 24 h 34"/>
                  <a:gd name="T8" fmla="*/ 13 w 34"/>
                  <a:gd name="T9" fmla="*/ 34 h 34"/>
                  <a:gd name="T10" fmla="*/ 28 w 34"/>
                  <a:gd name="T11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34">
                    <a:moveTo>
                      <a:pt x="28" y="30"/>
                    </a:moveTo>
                    <a:lnTo>
                      <a:pt x="34" y="0"/>
                    </a:lnTo>
                    <a:lnTo>
                      <a:pt x="8" y="3"/>
                    </a:lnTo>
                    <a:lnTo>
                      <a:pt x="0" y="24"/>
                    </a:lnTo>
                    <a:lnTo>
                      <a:pt x="13" y="34"/>
                    </a:lnTo>
                    <a:lnTo>
                      <a:pt x="28" y="3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9" name="Freeform 20">
                <a:extLst>
                  <a:ext uri="{FF2B5EF4-FFF2-40B4-BE49-F238E27FC236}">
                    <a16:creationId xmlns:a16="http://schemas.microsoft.com/office/drawing/2014/main" xmlns="" id="{688F12A0-527B-4A99-A9B2-0E38E7377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7" y="1480"/>
                <a:ext cx="613" cy="1023"/>
              </a:xfrm>
              <a:custGeom>
                <a:avLst/>
                <a:gdLst>
                  <a:gd name="T0" fmla="*/ 497 w 613"/>
                  <a:gd name="T1" fmla="*/ 734 h 1023"/>
                  <a:gd name="T2" fmla="*/ 516 w 613"/>
                  <a:gd name="T3" fmla="*/ 672 h 1023"/>
                  <a:gd name="T4" fmla="*/ 516 w 613"/>
                  <a:gd name="T5" fmla="*/ 647 h 1023"/>
                  <a:gd name="T6" fmla="*/ 428 w 613"/>
                  <a:gd name="T7" fmla="*/ 484 h 1023"/>
                  <a:gd name="T8" fmla="*/ 377 w 613"/>
                  <a:gd name="T9" fmla="*/ 338 h 1023"/>
                  <a:gd name="T10" fmla="*/ 374 w 613"/>
                  <a:gd name="T11" fmla="*/ 312 h 1023"/>
                  <a:gd name="T12" fmla="*/ 386 w 613"/>
                  <a:gd name="T13" fmla="*/ 275 h 1023"/>
                  <a:gd name="T14" fmla="*/ 462 w 613"/>
                  <a:gd name="T15" fmla="*/ 156 h 1023"/>
                  <a:gd name="T16" fmla="*/ 331 w 613"/>
                  <a:gd name="T17" fmla="*/ 114 h 1023"/>
                  <a:gd name="T18" fmla="*/ 388 w 613"/>
                  <a:gd name="T19" fmla="*/ 53 h 1023"/>
                  <a:gd name="T20" fmla="*/ 329 w 613"/>
                  <a:gd name="T21" fmla="*/ 17 h 1023"/>
                  <a:gd name="T22" fmla="*/ 270 w 613"/>
                  <a:gd name="T23" fmla="*/ 28 h 1023"/>
                  <a:gd name="T24" fmla="*/ 249 w 613"/>
                  <a:gd name="T25" fmla="*/ 46 h 1023"/>
                  <a:gd name="T26" fmla="*/ 229 w 613"/>
                  <a:gd name="T27" fmla="*/ 73 h 1023"/>
                  <a:gd name="T28" fmla="*/ 202 w 613"/>
                  <a:gd name="T29" fmla="*/ 150 h 1023"/>
                  <a:gd name="T30" fmla="*/ 122 w 613"/>
                  <a:gd name="T31" fmla="*/ 236 h 1023"/>
                  <a:gd name="T32" fmla="*/ 184 w 613"/>
                  <a:gd name="T33" fmla="*/ 261 h 1023"/>
                  <a:gd name="T34" fmla="*/ 161 w 613"/>
                  <a:gd name="T35" fmla="*/ 329 h 1023"/>
                  <a:gd name="T36" fmla="*/ 153 w 613"/>
                  <a:gd name="T37" fmla="*/ 379 h 1023"/>
                  <a:gd name="T38" fmla="*/ 190 w 613"/>
                  <a:gd name="T39" fmla="*/ 315 h 1023"/>
                  <a:gd name="T40" fmla="*/ 204 w 613"/>
                  <a:gd name="T41" fmla="*/ 343 h 1023"/>
                  <a:gd name="T42" fmla="*/ 172 w 613"/>
                  <a:gd name="T43" fmla="*/ 428 h 1023"/>
                  <a:gd name="T44" fmla="*/ 196 w 613"/>
                  <a:gd name="T45" fmla="*/ 461 h 1023"/>
                  <a:gd name="T46" fmla="*/ 266 w 613"/>
                  <a:gd name="T47" fmla="*/ 451 h 1023"/>
                  <a:gd name="T48" fmla="*/ 281 w 613"/>
                  <a:gd name="T49" fmla="*/ 470 h 1023"/>
                  <a:gd name="T50" fmla="*/ 281 w 613"/>
                  <a:gd name="T51" fmla="*/ 547 h 1023"/>
                  <a:gd name="T52" fmla="*/ 314 w 613"/>
                  <a:gd name="T53" fmla="*/ 575 h 1023"/>
                  <a:gd name="T54" fmla="*/ 264 w 613"/>
                  <a:gd name="T55" fmla="*/ 652 h 1023"/>
                  <a:gd name="T56" fmla="*/ 178 w 613"/>
                  <a:gd name="T57" fmla="*/ 660 h 1023"/>
                  <a:gd name="T58" fmla="*/ 148 w 613"/>
                  <a:gd name="T59" fmla="*/ 706 h 1023"/>
                  <a:gd name="T60" fmla="*/ 179 w 613"/>
                  <a:gd name="T61" fmla="*/ 743 h 1023"/>
                  <a:gd name="T62" fmla="*/ 84 w 613"/>
                  <a:gd name="T63" fmla="*/ 788 h 1023"/>
                  <a:gd name="T64" fmla="*/ 142 w 613"/>
                  <a:gd name="T65" fmla="*/ 825 h 1023"/>
                  <a:gd name="T66" fmla="*/ 202 w 613"/>
                  <a:gd name="T67" fmla="*/ 882 h 1023"/>
                  <a:gd name="T68" fmla="*/ 212 w 613"/>
                  <a:gd name="T69" fmla="*/ 907 h 1023"/>
                  <a:gd name="T70" fmla="*/ 29 w 613"/>
                  <a:gd name="T71" fmla="*/ 981 h 1023"/>
                  <a:gd name="T72" fmla="*/ 3 w 613"/>
                  <a:gd name="T73" fmla="*/ 1014 h 1023"/>
                  <a:gd name="T74" fmla="*/ 43 w 613"/>
                  <a:gd name="T75" fmla="*/ 1009 h 1023"/>
                  <a:gd name="T76" fmla="*/ 122 w 613"/>
                  <a:gd name="T77" fmla="*/ 994 h 1023"/>
                  <a:gd name="T78" fmla="*/ 173 w 613"/>
                  <a:gd name="T79" fmla="*/ 980 h 1023"/>
                  <a:gd name="T80" fmla="*/ 252 w 613"/>
                  <a:gd name="T81" fmla="*/ 994 h 1023"/>
                  <a:gd name="T82" fmla="*/ 295 w 613"/>
                  <a:gd name="T83" fmla="*/ 998 h 1023"/>
                  <a:gd name="T84" fmla="*/ 385 w 613"/>
                  <a:gd name="T85" fmla="*/ 997 h 1023"/>
                  <a:gd name="T86" fmla="*/ 466 w 613"/>
                  <a:gd name="T87" fmla="*/ 1006 h 1023"/>
                  <a:gd name="T88" fmla="*/ 571 w 613"/>
                  <a:gd name="T89" fmla="*/ 938 h 1023"/>
                  <a:gd name="T90" fmla="*/ 479 w 613"/>
                  <a:gd name="T91" fmla="*/ 922 h 1023"/>
                  <a:gd name="T92" fmla="*/ 613 w 613"/>
                  <a:gd name="T93" fmla="*/ 839 h 1023"/>
                  <a:gd name="T94" fmla="*/ 544 w 613"/>
                  <a:gd name="T95" fmla="*/ 737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13" h="1023">
                    <a:moveTo>
                      <a:pt x="511" y="748"/>
                    </a:moveTo>
                    <a:lnTo>
                      <a:pt x="497" y="734"/>
                    </a:lnTo>
                    <a:lnTo>
                      <a:pt x="519" y="702"/>
                    </a:lnTo>
                    <a:lnTo>
                      <a:pt x="516" y="672"/>
                    </a:lnTo>
                    <a:lnTo>
                      <a:pt x="471" y="630"/>
                    </a:lnTo>
                    <a:lnTo>
                      <a:pt x="516" y="647"/>
                    </a:lnTo>
                    <a:lnTo>
                      <a:pt x="477" y="539"/>
                    </a:lnTo>
                    <a:lnTo>
                      <a:pt x="428" y="484"/>
                    </a:lnTo>
                    <a:lnTo>
                      <a:pt x="417" y="400"/>
                    </a:lnTo>
                    <a:lnTo>
                      <a:pt x="377" y="338"/>
                    </a:lnTo>
                    <a:lnTo>
                      <a:pt x="335" y="340"/>
                    </a:lnTo>
                    <a:lnTo>
                      <a:pt x="374" y="312"/>
                    </a:lnTo>
                    <a:lnTo>
                      <a:pt x="366" y="294"/>
                    </a:lnTo>
                    <a:lnTo>
                      <a:pt x="386" y="275"/>
                    </a:lnTo>
                    <a:lnTo>
                      <a:pt x="462" y="182"/>
                    </a:lnTo>
                    <a:lnTo>
                      <a:pt x="462" y="156"/>
                    </a:lnTo>
                    <a:lnTo>
                      <a:pt x="383" y="121"/>
                    </a:lnTo>
                    <a:lnTo>
                      <a:pt x="331" y="114"/>
                    </a:lnTo>
                    <a:lnTo>
                      <a:pt x="340" y="90"/>
                    </a:lnTo>
                    <a:lnTo>
                      <a:pt x="388" y="53"/>
                    </a:lnTo>
                    <a:lnTo>
                      <a:pt x="397" y="25"/>
                    </a:lnTo>
                    <a:lnTo>
                      <a:pt x="329" y="17"/>
                    </a:lnTo>
                    <a:lnTo>
                      <a:pt x="289" y="0"/>
                    </a:lnTo>
                    <a:lnTo>
                      <a:pt x="270" y="28"/>
                    </a:lnTo>
                    <a:lnTo>
                      <a:pt x="272" y="46"/>
                    </a:lnTo>
                    <a:lnTo>
                      <a:pt x="249" y="46"/>
                    </a:lnTo>
                    <a:lnTo>
                      <a:pt x="246" y="84"/>
                    </a:lnTo>
                    <a:lnTo>
                      <a:pt x="229" y="73"/>
                    </a:lnTo>
                    <a:lnTo>
                      <a:pt x="207" y="88"/>
                    </a:lnTo>
                    <a:lnTo>
                      <a:pt x="202" y="150"/>
                    </a:lnTo>
                    <a:lnTo>
                      <a:pt x="161" y="202"/>
                    </a:lnTo>
                    <a:lnTo>
                      <a:pt x="122" y="236"/>
                    </a:lnTo>
                    <a:lnTo>
                      <a:pt x="145" y="266"/>
                    </a:lnTo>
                    <a:lnTo>
                      <a:pt x="184" y="261"/>
                    </a:lnTo>
                    <a:lnTo>
                      <a:pt x="161" y="306"/>
                    </a:lnTo>
                    <a:lnTo>
                      <a:pt x="161" y="329"/>
                    </a:lnTo>
                    <a:lnTo>
                      <a:pt x="133" y="371"/>
                    </a:lnTo>
                    <a:lnTo>
                      <a:pt x="153" y="379"/>
                    </a:lnTo>
                    <a:lnTo>
                      <a:pt x="176" y="349"/>
                    </a:lnTo>
                    <a:lnTo>
                      <a:pt x="190" y="315"/>
                    </a:lnTo>
                    <a:lnTo>
                      <a:pt x="215" y="323"/>
                    </a:lnTo>
                    <a:lnTo>
                      <a:pt x="204" y="343"/>
                    </a:lnTo>
                    <a:lnTo>
                      <a:pt x="213" y="368"/>
                    </a:lnTo>
                    <a:lnTo>
                      <a:pt x="172" y="428"/>
                    </a:lnTo>
                    <a:lnTo>
                      <a:pt x="173" y="464"/>
                    </a:lnTo>
                    <a:lnTo>
                      <a:pt x="196" y="461"/>
                    </a:lnTo>
                    <a:lnTo>
                      <a:pt x="224" y="479"/>
                    </a:lnTo>
                    <a:lnTo>
                      <a:pt x="266" y="451"/>
                    </a:lnTo>
                    <a:lnTo>
                      <a:pt x="307" y="456"/>
                    </a:lnTo>
                    <a:lnTo>
                      <a:pt x="281" y="470"/>
                    </a:lnTo>
                    <a:lnTo>
                      <a:pt x="261" y="491"/>
                    </a:lnTo>
                    <a:lnTo>
                      <a:pt x="281" y="547"/>
                    </a:lnTo>
                    <a:lnTo>
                      <a:pt x="314" y="549"/>
                    </a:lnTo>
                    <a:lnTo>
                      <a:pt x="314" y="575"/>
                    </a:lnTo>
                    <a:lnTo>
                      <a:pt x="276" y="615"/>
                    </a:lnTo>
                    <a:lnTo>
                      <a:pt x="264" y="652"/>
                    </a:lnTo>
                    <a:lnTo>
                      <a:pt x="229" y="647"/>
                    </a:lnTo>
                    <a:lnTo>
                      <a:pt x="178" y="660"/>
                    </a:lnTo>
                    <a:lnTo>
                      <a:pt x="127" y="689"/>
                    </a:lnTo>
                    <a:lnTo>
                      <a:pt x="148" y="706"/>
                    </a:lnTo>
                    <a:lnTo>
                      <a:pt x="176" y="695"/>
                    </a:lnTo>
                    <a:lnTo>
                      <a:pt x="179" y="743"/>
                    </a:lnTo>
                    <a:lnTo>
                      <a:pt x="136" y="776"/>
                    </a:lnTo>
                    <a:lnTo>
                      <a:pt x="84" y="788"/>
                    </a:lnTo>
                    <a:lnTo>
                      <a:pt x="88" y="830"/>
                    </a:lnTo>
                    <a:lnTo>
                      <a:pt x="142" y="825"/>
                    </a:lnTo>
                    <a:lnTo>
                      <a:pt x="141" y="845"/>
                    </a:lnTo>
                    <a:lnTo>
                      <a:pt x="202" y="882"/>
                    </a:lnTo>
                    <a:lnTo>
                      <a:pt x="238" y="876"/>
                    </a:lnTo>
                    <a:lnTo>
                      <a:pt x="212" y="907"/>
                    </a:lnTo>
                    <a:lnTo>
                      <a:pt x="150" y="899"/>
                    </a:lnTo>
                    <a:lnTo>
                      <a:pt x="29" y="981"/>
                    </a:lnTo>
                    <a:lnTo>
                      <a:pt x="0" y="989"/>
                    </a:lnTo>
                    <a:lnTo>
                      <a:pt x="3" y="1014"/>
                    </a:lnTo>
                    <a:lnTo>
                      <a:pt x="31" y="1023"/>
                    </a:lnTo>
                    <a:lnTo>
                      <a:pt x="43" y="1009"/>
                    </a:lnTo>
                    <a:lnTo>
                      <a:pt x="80" y="986"/>
                    </a:lnTo>
                    <a:lnTo>
                      <a:pt x="122" y="994"/>
                    </a:lnTo>
                    <a:lnTo>
                      <a:pt x="158" y="1015"/>
                    </a:lnTo>
                    <a:lnTo>
                      <a:pt x="173" y="980"/>
                    </a:lnTo>
                    <a:lnTo>
                      <a:pt x="230" y="970"/>
                    </a:lnTo>
                    <a:lnTo>
                      <a:pt x="252" y="994"/>
                    </a:lnTo>
                    <a:lnTo>
                      <a:pt x="270" y="987"/>
                    </a:lnTo>
                    <a:lnTo>
                      <a:pt x="295" y="998"/>
                    </a:lnTo>
                    <a:lnTo>
                      <a:pt x="360" y="983"/>
                    </a:lnTo>
                    <a:lnTo>
                      <a:pt x="385" y="997"/>
                    </a:lnTo>
                    <a:lnTo>
                      <a:pt x="411" y="997"/>
                    </a:lnTo>
                    <a:lnTo>
                      <a:pt x="466" y="1006"/>
                    </a:lnTo>
                    <a:lnTo>
                      <a:pt x="562" y="967"/>
                    </a:lnTo>
                    <a:lnTo>
                      <a:pt x="571" y="938"/>
                    </a:lnTo>
                    <a:lnTo>
                      <a:pt x="528" y="933"/>
                    </a:lnTo>
                    <a:lnTo>
                      <a:pt x="479" y="922"/>
                    </a:lnTo>
                    <a:lnTo>
                      <a:pt x="545" y="905"/>
                    </a:lnTo>
                    <a:lnTo>
                      <a:pt x="613" y="839"/>
                    </a:lnTo>
                    <a:lnTo>
                      <a:pt x="608" y="771"/>
                    </a:lnTo>
                    <a:lnTo>
                      <a:pt x="544" y="737"/>
                    </a:lnTo>
                    <a:lnTo>
                      <a:pt x="511" y="748"/>
                    </a:lnTo>
                    <a:close/>
                  </a:path>
                </a:pathLst>
              </a:custGeom>
              <a:solidFill>
                <a:schemeClr val="accent4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0" name="Freeform 21">
                <a:extLst>
                  <a:ext uri="{FF2B5EF4-FFF2-40B4-BE49-F238E27FC236}">
                    <a16:creationId xmlns:a16="http://schemas.microsoft.com/office/drawing/2014/main" xmlns="" id="{4F213AF4-EDAB-4294-BFEE-5F6771600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990"/>
                <a:ext cx="37" cy="37"/>
              </a:xfrm>
              <a:custGeom>
                <a:avLst/>
                <a:gdLst>
                  <a:gd name="T0" fmla="*/ 37 w 37"/>
                  <a:gd name="T1" fmla="*/ 0 h 37"/>
                  <a:gd name="T2" fmla="*/ 3 w 37"/>
                  <a:gd name="T3" fmla="*/ 18 h 37"/>
                  <a:gd name="T4" fmla="*/ 0 w 37"/>
                  <a:gd name="T5" fmla="*/ 37 h 37"/>
                  <a:gd name="T6" fmla="*/ 27 w 37"/>
                  <a:gd name="T7" fmla="*/ 31 h 37"/>
                  <a:gd name="T8" fmla="*/ 37 w 37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7" y="0"/>
                    </a:moveTo>
                    <a:lnTo>
                      <a:pt x="3" y="18"/>
                    </a:lnTo>
                    <a:lnTo>
                      <a:pt x="0" y="37"/>
                    </a:lnTo>
                    <a:lnTo>
                      <a:pt x="27" y="31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1" name="Freeform 22">
                <a:extLst>
                  <a:ext uri="{FF2B5EF4-FFF2-40B4-BE49-F238E27FC236}">
                    <a16:creationId xmlns:a16="http://schemas.microsoft.com/office/drawing/2014/main" xmlns="" id="{D007024E-92BA-4B17-928E-52EDE29FE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3" y="2086"/>
                <a:ext cx="43" cy="37"/>
              </a:xfrm>
              <a:custGeom>
                <a:avLst/>
                <a:gdLst>
                  <a:gd name="T0" fmla="*/ 0 w 43"/>
                  <a:gd name="T1" fmla="*/ 31 h 37"/>
                  <a:gd name="T2" fmla="*/ 23 w 43"/>
                  <a:gd name="T3" fmla="*/ 37 h 37"/>
                  <a:gd name="T4" fmla="*/ 43 w 43"/>
                  <a:gd name="T5" fmla="*/ 15 h 37"/>
                  <a:gd name="T6" fmla="*/ 12 w 43"/>
                  <a:gd name="T7" fmla="*/ 0 h 37"/>
                  <a:gd name="T8" fmla="*/ 0 w 43"/>
                  <a:gd name="T9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7">
                    <a:moveTo>
                      <a:pt x="0" y="31"/>
                    </a:moveTo>
                    <a:lnTo>
                      <a:pt x="23" y="37"/>
                    </a:lnTo>
                    <a:lnTo>
                      <a:pt x="43" y="15"/>
                    </a:lnTo>
                    <a:lnTo>
                      <a:pt x="12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2" name="Freeform 23">
                <a:extLst>
                  <a:ext uri="{FF2B5EF4-FFF2-40B4-BE49-F238E27FC236}">
                    <a16:creationId xmlns:a16="http://schemas.microsoft.com/office/drawing/2014/main" xmlns="" id="{88C2B2DE-7EB2-438C-81EE-CFAA70F6D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462"/>
                <a:ext cx="33" cy="20"/>
              </a:xfrm>
              <a:custGeom>
                <a:avLst/>
                <a:gdLst>
                  <a:gd name="T0" fmla="*/ 33 w 33"/>
                  <a:gd name="T1" fmla="*/ 4 h 20"/>
                  <a:gd name="T2" fmla="*/ 16 w 33"/>
                  <a:gd name="T3" fmla="*/ 0 h 20"/>
                  <a:gd name="T4" fmla="*/ 0 w 33"/>
                  <a:gd name="T5" fmla="*/ 10 h 20"/>
                  <a:gd name="T6" fmla="*/ 14 w 33"/>
                  <a:gd name="T7" fmla="*/ 20 h 20"/>
                  <a:gd name="T8" fmla="*/ 33 w 33"/>
                  <a:gd name="T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lnTo>
                      <a:pt x="16" y="0"/>
                    </a:lnTo>
                    <a:lnTo>
                      <a:pt x="0" y="10"/>
                    </a:lnTo>
                    <a:lnTo>
                      <a:pt x="14" y="20"/>
                    </a:lnTo>
                    <a:lnTo>
                      <a:pt x="33" y="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3" name="Freeform 24">
                <a:extLst>
                  <a:ext uri="{FF2B5EF4-FFF2-40B4-BE49-F238E27FC236}">
                    <a16:creationId xmlns:a16="http://schemas.microsoft.com/office/drawing/2014/main" xmlns="" id="{468676E8-FF93-4F70-AD2C-732A6B85D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8" y="1420"/>
                <a:ext cx="18" cy="25"/>
              </a:xfrm>
              <a:custGeom>
                <a:avLst/>
                <a:gdLst>
                  <a:gd name="T0" fmla="*/ 18 w 18"/>
                  <a:gd name="T1" fmla="*/ 11 h 25"/>
                  <a:gd name="T2" fmla="*/ 3 w 18"/>
                  <a:gd name="T3" fmla="*/ 0 h 25"/>
                  <a:gd name="T4" fmla="*/ 0 w 18"/>
                  <a:gd name="T5" fmla="*/ 20 h 25"/>
                  <a:gd name="T6" fmla="*/ 14 w 18"/>
                  <a:gd name="T7" fmla="*/ 25 h 25"/>
                  <a:gd name="T8" fmla="*/ 18 w 18"/>
                  <a:gd name="T9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5">
                    <a:moveTo>
                      <a:pt x="18" y="11"/>
                    </a:moveTo>
                    <a:lnTo>
                      <a:pt x="3" y="0"/>
                    </a:lnTo>
                    <a:lnTo>
                      <a:pt x="0" y="20"/>
                    </a:lnTo>
                    <a:lnTo>
                      <a:pt x="14" y="25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4" name="Freeform 25">
                <a:extLst>
                  <a:ext uri="{FF2B5EF4-FFF2-40B4-BE49-F238E27FC236}">
                    <a16:creationId xmlns:a16="http://schemas.microsoft.com/office/drawing/2014/main" xmlns="" id="{00FF2AD3-23A5-424E-A85A-28A23B20B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0" y="1290"/>
                <a:ext cx="49" cy="100"/>
              </a:xfrm>
              <a:custGeom>
                <a:avLst/>
                <a:gdLst>
                  <a:gd name="T0" fmla="*/ 15 w 49"/>
                  <a:gd name="T1" fmla="*/ 51 h 100"/>
                  <a:gd name="T2" fmla="*/ 14 w 49"/>
                  <a:gd name="T3" fmla="*/ 65 h 100"/>
                  <a:gd name="T4" fmla="*/ 0 w 49"/>
                  <a:gd name="T5" fmla="*/ 88 h 100"/>
                  <a:gd name="T6" fmla="*/ 11 w 49"/>
                  <a:gd name="T7" fmla="*/ 100 h 100"/>
                  <a:gd name="T8" fmla="*/ 49 w 49"/>
                  <a:gd name="T9" fmla="*/ 19 h 100"/>
                  <a:gd name="T10" fmla="*/ 37 w 49"/>
                  <a:gd name="T11" fmla="*/ 0 h 100"/>
                  <a:gd name="T12" fmla="*/ 15 w 49"/>
                  <a:gd name="T13" fmla="*/ 5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100">
                    <a:moveTo>
                      <a:pt x="15" y="51"/>
                    </a:moveTo>
                    <a:lnTo>
                      <a:pt x="14" y="65"/>
                    </a:lnTo>
                    <a:lnTo>
                      <a:pt x="0" y="88"/>
                    </a:lnTo>
                    <a:lnTo>
                      <a:pt x="11" y="100"/>
                    </a:lnTo>
                    <a:lnTo>
                      <a:pt x="49" y="19"/>
                    </a:lnTo>
                    <a:lnTo>
                      <a:pt x="37" y="0"/>
                    </a:lnTo>
                    <a:lnTo>
                      <a:pt x="15" y="5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5" name="Freeform 26">
                <a:extLst>
                  <a:ext uri="{FF2B5EF4-FFF2-40B4-BE49-F238E27FC236}">
                    <a16:creationId xmlns:a16="http://schemas.microsoft.com/office/drawing/2014/main" xmlns="" id="{077EA3BF-E079-44AC-AB0E-EF7637A6F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9" y="1261"/>
                <a:ext cx="19" cy="29"/>
              </a:xfrm>
              <a:custGeom>
                <a:avLst/>
                <a:gdLst>
                  <a:gd name="T0" fmla="*/ 11 w 19"/>
                  <a:gd name="T1" fmla="*/ 0 h 29"/>
                  <a:gd name="T2" fmla="*/ 0 w 19"/>
                  <a:gd name="T3" fmla="*/ 21 h 29"/>
                  <a:gd name="T4" fmla="*/ 11 w 19"/>
                  <a:gd name="T5" fmla="*/ 29 h 29"/>
                  <a:gd name="T6" fmla="*/ 19 w 19"/>
                  <a:gd name="T7" fmla="*/ 12 h 29"/>
                  <a:gd name="T8" fmla="*/ 11 w 1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9">
                    <a:moveTo>
                      <a:pt x="11" y="0"/>
                    </a:moveTo>
                    <a:lnTo>
                      <a:pt x="0" y="21"/>
                    </a:lnTo>
                    <a:lnTo>
                      <a:pt x="11" y="29"/>
                    </a:lnTo>
                    <a:lnTo>
                      <a:pt x="19" y="1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6" name="Freeform 27">
                <a:extLst>
                  <a:ext uri="{FF2B5EF4-FFF2-40B4-BE49-F238E27FC236}">
                    <a16:creationId xmlns:a16="http://schemas.microsoft.com/office/drawing/2014/main" xmlns="" id="{C7BEB054-A2C7-4800-B99D-8C42414B7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9" y="2699"/>
                <a:ext cx="797" cy="592"/>
              </a:xfrm>
              <a:custGeom>
                <a:avLst/>
                <a:gdLst>
                  <a:gd name="T0" fmla="*/ 786 w 797"/>
                  <a:gd name="T1" fmla="*/ 280 h 592"/>
                  <a:gd name="T2" fmla="*/ 763 w 797"/>
                  <a:gd name="T3" fmla="*/ 274 h 592"/>
                  <a:gd name="T4" fmla="*/ 732 w 797"/>
                  <a:gd name="T5" fmla="*/ 286 h 592"/>
                  <a:gd name="T6" fmla="*/ 720 w 797"/>
                  <a:gd name="T7" fmla="*/ 311 h 592"/>
                  <a:gd name="T8" fmla="*/ 695 w 797"/>
                  <a:gd name="T9" fmla="*/ 315 h 592"/>
                  <a:gd name="T10" fmla="*/ 667 w 797"/>
                  <a:gd name="T11" fmla="*/ 283 h 592"/>
                  <a:gd name="T12" fmla="*/ 639 w 797"/>
                  <a:gd name="T13" fmla="*/ 232 h 592"/>
                  <a:gd name="T14" fmla="*/ 628 w 797"/>
                  <a:gd name="T15" fmla="*/ 141 h 592"/>
                  <a:gd name="T16" fmla="*/ 553 w 797"/>
                  <a:gd name="T17" fmla="*/ 87 h 592"/>
                  <a:gd name="T18" fmla="*/ 514 w 797"/>
                  <a:gd name="T19" fmla="*/ 33 h 592"/>
                  <a:gd name="T20" fmla="*/ 468 w 797"/>
                  <a:gd name="T21" fmla="*/ 0 h 592"/>
                  <a:gd name="T22" fmla="*/ 446 w 797"/>
                  <a:gd name="T23" fmla="*/ 3 h 592"/>
                  <a:gd name="T24" fmla="*/ 335 w 797"/>
                  <a:gd name="T25" fmla="*/ 71 h 592"/>
                  <a:gd name="T26" fmla="*/ 168 w 797"/>
                  <a:gd name="T27" fmla="*/ 76 h 592"/>
                  <a:gd name="T28" fmla="*/ 147 w 797"/>
                  <a:gd name="T29" fmla="*/ 91 h 592"/>
                  <a:gd name="T30" fmla="*/ 117 w 797"/>
                  <a:gd name="T31" fmla="*/ 135 h 592"/>
                  <a:gd name="T32" fmla="*/ 26 w 797"/>
                  <a:gd name="T33" fmla="*/ 354 h 592"/>
                  <a:gd name="T34" fmla="*/ 0 w 797"/>
                  <a:gd name="T35" fmla="*/ 363 h 592"/>
                  <a:gd name="T36" fmla="*/ 33 w 797"/>
                  <a:gd name="T37" fmla="*/ 430 h 592"/>
                  <a:gd name="T38" fmla="*/ 71 w 797"/>
                  <a:gd name="T39" fmla="*/ 453 h 592"/>
                  <a:gd name="T40" fmla="*/ 93 w 797"/>
                  <a:gd name="T41" fmla="*/ 504 h 592"/>
                  <a:gd name="T42" fmla="*/ 207 w 797"/>
                  <a:gd name="T43" fmla="*/ 530 h 592"/>
                  <a:gd name="T44" fmla="*/ 216 w 797"/>
                  <a:gd name="T45" fmla="*/ 561 h 592"/>
                  <a:gd name="T46" fmla="*/ 239 w 797"/>
                  <a:gd name="T47" fmla="*/ 566 h 592"/>
                  <a:gd name="T48" fmla="*/ 244 w 797"/>
                  <a:gd name="T49" fmla="*/ 592 h 592"/>
                  <a:gd name="T50" fmla="*/ 355 w 797"/>
                  <a:gd name="T51" fmla="*/ 586 h 592"/>
                  <a:gd name="T52" fmla="*/ 456 w 797"/>
                  <a:gd name="T53" fmla="*/ 575 h 592"/>
                  <a:gd name="T54" fmla="*/ 493 w 797"/>
                  <a:gd name="T55" fmla="*/ 547 h 592"/>
                  <a:gd name="T56" fmla="*/ 644 w 797"/>
                  <a:gd name="T57" fmla="*/ 481 h 592"/>
                  <a:gd name="T58" fmla="*/ 676 w 797"/>
                  <a:gd name="T59" fmla="*/ 478 h 592"/>
                  <a:gd name="T60" fmla="*/ 741 w 797"/>
                  <a:gd name="T61" fmla="*/ 487 h 592"/>
                  <a:gd name="T62" fmla="*/ 746 w 797"/>
                  <a:gd name="T63" fmla="*/ 400 h 592"/>
                  <a:gd name="T64" fmla="*/ 763 w 797"/>
                  <a:gd name="T65" fmla="*/ 372 h 592"/>
                  <a:gd name="T66" fmla="*/ 797 w 797"/>
                  <a:gd name="T67" fmla="*/ 349 h 592"/>
                  <a:gd name="T68" fmla="*/ 797 w 797"/>
                  <a:gd name="T69" fmla="*/ 306 h 592"/>
                  <a:gd name="T70" fmla="*/ 786 w 797"/>
                  <a:gd name="T71" fmla="*/ 28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7" h="592">
                    <a:moveTo>
                      <a:pt x="786" y="280"/>
                    </a:moveTo>
                    <a:lnTo>
                      <a:pt x="763" y="274"/>
                    </a:lnTo>
                    <a:lnTo>
                      <a:pt x="732" y="286"/>
                    </a:lnTo>
                    <a:lnTo>
                      <a:pt x="720" y="311"/>
                    </a:lnTo>
                    <a:lnTo>
                      <a:pt x="695" y="315"/>
                    </a:lnTo>
                    <a:lnTo>
                      <a:pt x="667" y="283"/>
                    </a:lnTo>
                    <a:lnTo>
                      <a:pt x="639" y="232"/>
                    </a:lnTo>
                    <a:lnTo>
                      <a:pt x="628" y="141"/>
                    </a:lnTo>
                    <a:lnTo>
                      <a:pt x="553" y="87"/>
                    </a:lnTo>
                    <a:lnTo>
                      <a:pt x="514" y="33"/>
                    </a:lnTo>
                    <a:lnTo>
                      <a:pt x="468" y="0"/>
                    </a:lnTo>
                    <a:lnTo>
                      <a:pt x="446" y="3"/>
                    </a:lnTo>
                    <a:lnTo>
                      <a:pt x="335" y="71"/>
                    </a:lnTo>
                    <a:lnTo>
                      <a:pt x="168" y="76"/>
                    </a:lnTo>
                    <a:lnTo>
                      <a:pt x="147" y="91"/>
                    </a:lnTo>
                    <a:lnTo>
                      <a:pt x="117" y="135"/>
                    </a:lnTo>
                    <a:lnTo>
                      <a:pt x="26" y="354"/>
                    </a:lnTo>
                    <a:lnTo>
                      <a:pt x="0" y="363"/>
                    </a:lnTo>
                    <a:lnTo>
                      <a:pt x="33" y="430"/>
                    </a:lnTo>
                    <a:lnTo>
                      <a:pt x="71" y="453"/>
                    </a:lnTo>
                    <a:lnTo>
                      <a:pt x="93" y="504"/>
                    </a:lnTo>
                    <a:lnTo>
                      <a:pt x="207" y="530"/>
                    </a:lnTo>
                    <a:lnTo>
                      <a:pt x="216" y="561"/>
                    </a:lnTo>
                    <a:lnTo>
                      <a:pt x="239" y="566"/>
                    </a:lnTo>
                    <a:lnTo>
                      <a:pt x="244" y="592"/>
                    </a:lnTo>
                    <a:lnTo>
                      <a:pt x="355" y="586"/>
                    </a:lnTo>
                    <a:lnTo>
                      <a:pt x="456" y="575"/>
                    </a:lnTo>
                    <a:lnTo>
                      <a:pt x="493" y="547"/>
                    </a:lnTo>
                    <a:lnTo>
                      <a:pt x="644" y="481"/>
                    </a:lnTo>
                    <a:lnTo>
                      <a:pt x="676" y="478"/>
                    </a:lnTo>
                    <a:lnTo>
                      <a:pt x="741" y="487"/>
                    </a:lnTo>
                    <a:lnTo>
                      <a:pt x="746" y="400"/>
                    </a:lnTo>
                    <a:lnTo>
                      <a:pt x="763" y="372"/>
                    </a:lnTo>
                    <a:lnTo>
                      <a:pt x="797" y="349"/>
                    </a:lnTo>
                    <a:lnTo>
                      <a:pt x="797" y="306"/>
                    </a:lnTo>
                    <a:lnTo>
                      <a:pt x="786" y="28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7" name="Freeform 28">
                <a:extLst>
                  <a:ext uri="{FF2B5EF4-FFF2-40B4-BE49-F238E27FC236}">
                    <a16:creationId xmlns:a16="http://schemas.microsoft.com/office/drawing/2014/main" xmlns="" id="{C3A56B4C-4C56-4B08-9437-4FEB02E78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7" y="2487"/>
                <a:ext cx="551" cy="302"/>
              </a:xfrm>
              <a:custGeom>
                <a:avLst/>
                <a:gdLst>
                  <a:gd name="T0" fmla="*/ 492 w 551"/>
                  <a:gd name="T1" fmla="*/ 121 h 302"/>
                  <a:gd name="T2" fmla="*/ 466 w 551"/>
                  <a:gd name="T3" fmla="*/ 118 h 302"/>
                  <a:gd name="T4" fmla="*/ 427 w 551"/>
                  <a:gd name="T5" fmla="*/ 67 h 302"/>
                  <a:gd name="T6" fmla="*/ 362 w 551"/>
                  <a:gd name="T7" fmla="*/ 59 h 302"/>
                  <a:gd name="T8" fmla="*/ 365 w 551"/>
                  <a:gd name="T9" fmla="*/ 92 h 302"/>
                  <a:gd name="T10" fmla="*/ 344 w 551"/>
                  <a:gd name="T11" fmla="*/ 101 h 302"/>
                  <a:gd name="T12" fmla="*/ 311 w 551"/>
                  <a:gd name="T13" fmla="*/ 65 h 302"/>
                  <a:gd name="T14" fmla="*/ 327 w 551"/>
                  <a:gd name="T15" fmla="*/ 44 h 302"/>
                  <a:gd name="T16" fmla="*/ 313 w 551"/>
                  <a:gd name="T17" fmla="*/ 27 h 302"/>
                  <a:gd name="T18" fmla="*/ 254 w 551"/>
                  <a:gd name="T19" fmla="*/ 27 h 302"/>
                  <a:gd name="T20" fmla="*/ 234 w 551"/>
                  <a:gd name="T21" fmla="*/ 0 h 302"/>
                  <a:gd name="T22" fmla="*/ 211 w 551"/>
                  <a:gd name="T23" fmla="*/ 13 h 302"/>
                  <a:gd name="T24" fmla="*/ 196 w 551"/>
                  <a:gd name="T25" fmla="*/ 22 h 302"/>
                  <a:gd name="T26" fmla="*/ 168 w 551"/>
                  <a:gd name="T27" fmla="*/ 5 h 302"/>
                  <a:gd name="T28" fmla="*/ 149 w 551"/>
                  <a:gd name="T29" fmla="*/ 14 h 302"/>
                  <a:gd name="T30" fmla="*/ 149 w 551"/>
                  <a:gd name="T31" fmla="*/ 41 h 302"/>
                  <a:gd name="T32" fmla="*/ 57 w 551"/>
                  <a:gd name="T33" fmla="*/ 68 h 302"/>
                  <a:gd name="T34" fmla="*/ 0 w 551"/>
                  <a:gd name="T35" fmla="*/ 110 h 302"/>
                  <a:gd name="T36" fmla="*/ 54 w 551"/>
                  <a:gd name="T37" fmla="*/ 226 h 302"/>
                  <a:gd name="T38" fmla="*/ 80 w 551"/>
                  <a:gd name="T39" fmla="*/ 234 h 302"/>
                  <a:gd name="T40" fmla="*/ 142 w 551"/>
                  <a:gd name="T41" fmla="*/ 289 h 302"/>
                  <a:gd name="T42" fmla="*/ 173 w 551"/>
                  <a:gd name="T43" fmla="*/ 302 h 302"/>
                  <a:gd name="T44" fmla="*/ 211 w 551"/>
                  <a:gd name="T45" fmla="*/ 282 h 302"/>
                  <a:gd name="T46" fmla="*/ 211 w 551"/>
                  <a:gd name="T47" fmla="*/ 246 h 302"/>
                  <a:gd name="T48" fmla="*/ 233 w 551"/>
                  <a:gd name="T49" fmla="*/ 240 h 302"/>
                  <a:gd name="T50" fmla="*/ 321 w 551"/>
                  <a:gd name="T51" fmla="*/ 274 h 302"/>
                  <a:gd name="T52" fmla="*/ 352 w 551"/>
                  <a:gd name="T53" fmla="*/ 262 h 302"/>
                  <a:gd name="T54" fmla="*/ 386 w 551"/>
                  <a:gd name="T55" fmla="*/ 282 h 302"/>
                  <a:gd name="T56" fmla="*/ 386 w 551"/>
                  <a:gd name="T57" fmla="*/ 283 h 302"/>
                  <a:gd name="T58" fmla="*/ 398 w 551"/>
                  <a:gd name="T59" fmla="*/ 266 h 302"/>
                  <a:gd name="T60" fmla="*/ 424 w 551"/>
                  <a:gd name="T61" fmla="*/ 265 h 302"/>
                  <a:gd name="T62" fmla="*/ 472 w 551"/>
                  <a:gd name="T63" fmla="*/ 237 h 302"/>
                  <a:gd name="T64" fmla="*/ 483 w 551"/>
                  <a:gd name="T65" fmla="*/ 207 h 302"/>
                  <a:gd name="T66" fmla="*/ 506 w 551"/>
                  <a:gd name="T67" fmla="*/ 198 h 302"/>
                  <a:gd name="T68" fmla="*/ 520 w 551"/>
                  <a:gd name="T69" fmla="*/ 183 h 302"/>
                  <a:gd name="T70" fmla="*/ 551 w 551"/>
                  <a:gd name="T71" fmla="*/ 170 h 302"/>
                  <a:gd name="T72" fmla="*/ 492 w 551"/>
                  <a:gd name="T73" fmla="*/ 121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51" h="302">
                    <a:moveTo>
                      <a:pt x="492" y="121"/>
                    </a:moveTo>
                    <a:lnTo>
                      <a:pt x="466" y="118"/>
                    </a:lnTo>
                    <a:lnTo>
                      <a:pt x="427" y="67"/>
                    </a:lnTo>
                    <a:lnTo>
                      <a:pt x="362" y="59"/>
                    </a:lnTo>
                    <a:lnTo>
                      <a:pt x="365" y="92"/>
                    </a:lnTo>
                    <a:lnTo>
                      <a:pt x="344" y="101"/>
                    </a:lnTo>
                    <a:lnTo>
                      <a:pt x="311" y="65"/>
                    </a:lnTo>
                    <a:lnTo>
                      <a:pt x="327" y="44"/>
                    </a:lnTo>
                    <a:lnTo>
                      <a:pt x="313" y="27"/>
                    </a:lnTo>
                    <a:lnTo>
                      <a:pt x="254" y="27"/>
                    </a:lnTo>
                    <a:lnTo>
                      <a:pt x="234" y="0"/>
                    </a:lnTo>
                    <a:lnTo>
                      <a:pt x="211" y="13"/>
                    </a:lnTo>
                    <a:lnTo>
                      <a:pt x="196" y="22"/>
                    </a:lnTo>
                    <a:lnTo>
                      <a:pt x="168" y="5"/>
                    </a:lnTo>
                    <a:lnTo>
                      <a:pt x="149" y="14"/>
                    </a:lnTo>
                    <a:lnTo>
                      <a:pt x="149" y="41"/>
                    </a:lnTo>
                    <a:lnTo>
                      <a:pt x="57" y="68"/>
                    </a:lnTo>
                    <a:lnTo>
                      <a:pt x="0" y="110"/>
                    </a:lnTo>
                    <a:lnTo>
                      <a:pt x="54" y="226"/>
                    </a:lnTo>
                    <a:lnTo>
                      <a:pt x="80" y="234"/>
                    </a:lnTo>
                    <a:lnTo>
                      <a:pt x="142" y="289"/>
                    </a:lnTo>
                    <a:lnTo>
                      <a:pt x="173" y="302"/>
                    </a:lnTo>
                    <a:lnTo>
                      <a:pt x="211" y="282"/>
                    </a:lnTo>
                    <a:lnTo>
                      <a:pt x="211" y="246"/>
                    </a:lnTo>
                    <a:lnTo>
                      <a:pt x="233" y="240"/>
                    </a:lnTo>
                    <a:lnTo>
                      <a:pt x="321" y="274"/>
                    </a:lnTo>
                    <a:lnTo>
                      <a:pt x="352" y="262"/>
                    </a:lnTo>
                    <a:lnTo>
                      <a:pt x="386" y="282"/>
                    </a:lnTo>
                    <a:lnTo>
                      <a:pt x="386" y="283"/>
                    </a:lnTo>
                    <a:lnTo>
                      <a:pt x="398" y="266"/>
                    </a:lnTo>
                    <a:lnTo>
                      <a:pt x="424" y="265"/>
                    </a:lnTo>
                    <a:lnTo>
                      <a:pt x="472" y="237"/>
                    </a:lnTo>
                    <a:lnTo>
                      <a:pt x="483" y="207"/>
                    </a:lnTo>
                    <a:lnTo>
                      <a:pt x="506" y="198"/>
                    </a:lnTo>
                    <a:lnTo>
                      <a:pt x="520" y="183"/>
                    </a:lnTo>
                    <a:lnTo>
                      <a:pt x="551" y="170"/>
                    </a:lnTo>
                    <a:lnTo>
                      <a:pt x="492" y="12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8" name="Freeform 29">
                <a:extLst>
                  <a:ext uri="{FF2B5EF4-FFF2-40B4-BE49-F238E27FC236}">
                    <a16:creationId xmlns:a16="http://schemas.microsoft.com/office/drawing/2014/main" xmlns="" id="{0F0853BA-B832-4420-BB49-31A585008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" y="3387"/>
                <a:ext cx="377" cy="616"/>
              </a:xfrm>
              <a:custGeom>
                <a:avLst/>
                <a:gdLst>
                  <a:gd name="T0" fmla="*/ 363 w 377"/>
                  <a:gd name="T1" fmla="*/ 63 h 616"/>
                  <a:gd name="T2" fmla="*/ 323 w 377"/>
                  <a:gd name="T3" fmla="*/ 48 h 616"/>
                  <a:gd name="T4" fmla="*/ 284 w 377"/>
                  <a:gd name="T5" fmla="*/ 55 h 616"/>
                  <a:gd name="T6" fmla="*/ 227 w 377"/>
                  <a:gd name="T7" fmla="*/ 37 h 616"/>
                  <a:gd name="T8" fmla="*/ 219 w 377"/>
                  <a:gd name="T9" fmla="*/ 0 h 616"/>
                  <a:gd name="T10" fmla="*/ 156 w 377"/>
                  <a:gd name="T11" fmla="*/ 7 h 616"/>
                  <a:gd name="T12" fmla="*/ 134 w 377"/>
                  <a:gd name="T13" fmla="*/ 148 h 616"/>
                  <a:gd name="T14" fmla="*/ 25 w 377"/>
                  <a:gd name="T15" fmla="*/ 309 h 616"/>
                  <a:gd name="T16" fmla="*/ 0 w 377"/>
                  <a:gd name="T17" fmla="*/ 369 h 616"/>
                  <a:gd name="T18" fmla="*/ 15 w 377"/>
                  <a:gd name="T19" fmla="*/ 387 h 616"/>
                  <a:gd name="T20" fmla="*/ 15 w 377"/>
                  <a:gd name="T21" fmla="*/ 409 h 616"/>
                  <a:gd name="T22" fmla="*/ 45 w 377"/>
                  <a:gd name="T23" fmla="*/ 415 h 616"/>
                  <a:gd name="T24" fmla="*/ 42 w 377"/>
                  <a:gd name="T25" fmla="*/ 468 h 616"/>
                  <a:gd name="T26" fmla="*/ 8 w 377"/>
                  <a:gd name="T27" fmla="*/ 588 h 616"/>
                  <a:gd name="T28" fmla="*/ 54 w 377"/>
                  <a:gd name="T29" fmla="*/ 585 h 616"/>
                  <a:gd name="T30" fmla="*/ 119 w 377"/>
                  <a:gd name="T31" fmla="*/ 616 h 616"/>
                  <a:gd name="T32" fmla="*/ 174 w 377"/>
                  <a:gd name="T33" fmla="*/ 599 h 616"/>
                  <a:gd name="T34" fmla="*/ 168 w 377"/>
                  <a:gd name="T35" fmla="*/ 556 h 616"/>
                  <a:gd name="T36" fmla="*/ 222 w 377"/>
                  <a:gd name="T37" fmla="*/ 494 h 616"/>
                  <a:gd name="T38" fmla="*/ 204 w 377"/>
                  <a:gd name="T39" fmla="*/ 451 h 616"/>
                  <a:gd name="T40" fmla="*/ 239 w 377"/>
                  <a:gd name="T41" fmla="*/ 392 h 616"/>
                  <a:gd name="T42" fmla="*/ 210 w 377"/>
                  <a:gd name="T43" fmla="*/ 318 h 616"/>
                  <a:gd name="T44" fmla="*/ 269 w 377"/>
                  <a:gd name="T45" fmla="*/ 316 h 616"/>
                  <a:gd name="T46" fmla="*/ 279 w 377"/>
                  <a:gd name="T47" fmla="*/ 279 h 616"/>
                  <a:gd name="T48" fmla="*/ 306 w 377"/>
                  <a:gd name="T49" fmla="*/ 250 h 616"/>
                  <a:gd name="T50" fmla="*/ 310 w 377"/>
                  <a:gd name="T51" fmla="*/ 160 h 616"/>
                  <a:gd name="T52" fmla="*/ 377 w 377"/>
                  <a:gd name="T53" fmla="*/ 89 h 616"/>
                  <a:gd name="T54" fmla="*/ 363 w 377"/>
                  <a:gd name="T55" fmla="*/ 63 h 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77" h="616">
                    <a:moveTo>
                      <a:pt x="363" y="63"/>
                    </a:moveTo>
                    <a:lnTo>
                      <a:pt x="323" y="48"/>
                    </a:lnTo>
                    <a:lnTo>
                      <a:pt x="284" y="55"/>
                    </a:lnTo>
                    <a:lnTo>
                      <a:pt x="227" y="37"/>
                    </a:lnTo>
                    <a:lnTo>
                      <a:pt x="219" y="0"/>
                    </a:lnTo>
                    <a:lnTo>
                      <a:pt x="156" y="7"/>
                    </a:lnTo>
                    <a:lnTo>
                      <a:pt x="134" y="148"/>
                    </a:lnTo>
                    <a:lnTo>
                      <a:pt x="25" y="309"/>
                    </a:lnTo>
                    <a:lnTo>
                      <a:pt x="0" y="369"/>
                    </a:lnTo>
                    <a:lnTo>
                      <a:pt x="15" y="387"/>
                    </a:lnTo>
                    <a:lnTo>
                      <a:pt x="15" y="409"/>
                    </a:lnTo>
                    <a:lnTo>
                      <a:pt x="45" y="415"/>
                    </a:lnTo>
                    <a:lnTo>
                      <a:pt x="42" y="468"/>
                    </a:lnTo>
                    <a:lnTo>
                      <a:pt x="8" y="588"/>
                    </a:lnTo>
                    <a:lnTo>
                      <a:pt x="54" y="585"/>
                    </a:lnTo>
                    <a:lnTo>
                      <a:pt x="119" y="616"/>
                    </a:lnTo>
                    <a:lnTo>
                      <a:pt x="174" y="599"/>
                    </a:lnTo>
                    <a:lnTo>
                      <a:pt x="168" y="556"/>
                    </a:lnTo>
                    <a:lnTo>
                      <a:pt x="222" y="494"/>
                    </a:lnTo>
                    <a:lnTo>
                      <a:pt x="204" y="451"/>
                    </a:lnTo>
                    <a:lnTo>
                      <a:pt x="239" y="392"/>
                    </a:lnTo>
                    <a:lnTo>
                      <a:pt x="210" y="318"/>
                    </a:lnTo>
                    <a:lnTo>
                      <a:pt x="269" y="316"/>
                    </a:lnTo>
                    <a:lnTo>
                      <a:pt x="279" y="279"/>
                    </a:lnTo>
                    <a:lnTo>
                      <a:pt x="306" y="250"/>
                    </a:lnTo>
                    <a:lnTo>
                      <a:pt x="310" y="160"/>
                    </a:lnTo>
                    <a:lnTo>
                      <a:pt x="377" y="89"/>
                    </a:lnTo>
                    <a:lnTo>
                      <a:pt x="363" y="6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9" name="Freeform 30">
                <a:extLst>
                  <a:ext uri="{FF2B5EF4-FFF2-40B4-BE49-F238E27FC236}">
                    <a16:creationId xmlns:a16="http://schemas.microsoft.com/office/drawing/2014/main" xmlns="" id="{B9FB2059-BA79-407A-B611-0205921E7C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8" y="2015"/>
                <a:ext cx="792" cy="656"/>
              </a:xfrm>
              <a:custGeom>
                <a:avLst/>
                <a:gdLst>
                  <a:gd name="T0" fmla="*/ 733 w 792"/>
                  <a:gd name="T1" fmla="*/ 330 h 656"/>
                  <a:gd name="T2" fmla="*/ 715 w 792"/>
                  <a:gd name="T3" fmla="*/ 293 h 656"/>
                  <a:gd name="T4" fmla="*/ 719 w 792"/>
                  <a:gd name="T5" fmla="*/ 273 h 656"/>
                  <a:gd name="T6" fmla="*/ 704 w 792"/>
                  <a:gd name="T7" fmla="*/ 259 h 656"/>
                  <a:gd name="T8" fmla="*/ 699 w 792"/>
                  <a:gd name="T9" fmla="*/ 218 h 656"/>
                  <a:gd name="T10" fmla="*/ 721 w 792"/>
                  <a:gd name="T11" fmla="*/ 184 h 656"/>
                  <a:gd name="T12" fmla="*/ 704 w 792"/>
                  <a:gd name="T13" fmla="*/ 123 h 656"/>
                  <a:gd name="T14" fmla="*/ 678 w 792"/>
                  <a:gd name="T15" fmla="*/ 94 h 656"/>
                  <a:gd name="T16" fmla="*/ 678 w 792"/>
                  <a:gd name="T17" fmla="*/ 46 h 656"/>
                  <a:gd name="T18" fmla="*/ 665 w 792"/>
                  <a:gd name="T19" fmla="*/ 27 h 656"/>
                  <a:gd name="T20" fmla="*/ 603 w 792"/>
                  <a:gd name="T21" fmla="*/ 0 h 656"/>
                  <a:gd name="T22" fmla="*/ 583 w 792"/>
                  <a:gd name="T23" fmla="*/ 12 h 656"/>
                  <a:gd name="T24" fmla="*/ 455 w 792"/>
                  <a:gd name="T25" fmla="*/ 29 h 656"/>
                  <a:gd name="T26" fmla="*/ 397 w 792"/>
                  <a:gd name="T27" fmla="*/ 17 h 656"/>
                  <a:gd name="T28" fmla="*/ 355 w 792"/>
                  <a:gd name="T29" fmla="*/ 48 h 656"/>
                  <a:gd name="T30" fmla="*/ 324 w 792"/>
                  <a:gd name="T31" fmla="*/ 54 h 656"/>
                  <a:gd name="T32" fmla="*/ 309 w 792"/>
                  <a:gd name="T33" fmla="*/ 40 h 656"/>
                  <a:gd name="T34" fmla="*/ 313 w 792"/>
                  <a:gd name="T35" fmla="*/ 26 h 656"/>
                  <a:gd name="T36" fmla="*/ 285 w 792"/>
                  <a:gd name="T37" fmla="*/ 7 h 656"/>
                  <a:gd name="T38" fmla="*/ 185 w 792"/>
                  <a:gd name="T39" fmla="*/ 32 h 656"/>
                  <a:gd name="T40" fmla="*/ 92 w 792"/>
                  <a:gd name="T41" fmla="*/ 95 h 656"/>
                  <a:gd name="T42" fmla="*/ 26 w 792"/>
                  <a:gd name="T43" fmla="*/ 126 h 656"/>
                  <a:gd name="T44" fmla="*/ 4 w 792"/>
                  <a:gd name="T45" fmla="*/ 133 h 656"/>
                  <a:gd name="T46" fmla="*/ 15 w 792"/>
                  <a:gd name="T47" fmla="*/ 222 h 656"/>
                  <a:gd name="T48" fmla="*/ 0 w 792"/>
                  <a:gd name="T49" fmla="*/ 262 h 656"/>
                  <a:gd name="T50" fmla="*/ 31 w 792"/>
                  <a:gd name="T51" fmla="*/ 295 h 656"/>
                  <a:gd name="T52" fmla="*/ 54 w 792"/>
                  <a:gd name="T53" fmla="*/ 357 h 656"/>
                  <a:gd name="T54" fmla="*/ 43 w 792"/>
                  <a:gd name="T55" fmla="*/ 403 h 656"/>
                  <a:gd name="T56" fmla="*/ 63 w 792"/>
                  <a:gd name="T57" fmla="*/ 432 h 656"/>
                  <a:gd name="T58" fmla="*/ 80 w 792"/>
                  <a:gd name="T59" fmla="*/ 485 h 656"/>
                  <a:gd name="T60" fmla="*/ 103 w 792"/>
                  <a:gd name="T61" fmla="*/ 472 h 656"/>
                  <a:gd name="T62" fmla="*/ 123 w 792"/>
                  <a:gd name="T63" fmla="*/ 499 h 656"/>
                  <a:gd name="T64" fmla="*/ 182 w 792"/>
                  <a:gd name="T65" fmla="*/ 499 h 656"/>
                  <a:gd name="T66" fmla="*/ 196 w 792"/>
                  <a:gd name="T67" fmla="*/ 516 h 656"/>
                  <a:gd name="T68" fmla="*/ 180 w 792"/>
                  <a:gd name="T69" fmla="*/ 537 h 656"/>
                  <a:gd name="T70" fmla="*/ 213 w 792"/>
                  <a:gd name="T71" fmla="*/ 573 h 656"/>
                  <a:gd name="T72" fmla="*/ 234 w 792"/>
                  <a:gd name="T73" fmla="*/ 564 h 656"/>
                  <a:gd name="T74" fmla="*/ 231 w 792"/>
                  <a:gd name="T75" fmla="*/ 531 h 656"/>
                  <a:gd name="T76" fmla="*/ 296 w 792"/>
                  <a:gd name="T77" fmla="*/ 539 h 656"/>
                  <a:gd name="T78" fmla="*/ 335 w 792"/>
                  <a:gd name="T79" fmla="*/ 590 h 656"/>
                  <a:gd name="T80" fmla="*/ 361 w 792"/>
                  <a:gd name="T81" fmla="*/ 593 h 656"/>
                  <a:gd name="T82" fmla="*/ 429 w 792"/>
                  <a:gd name="T83" fmla="*/ 652 h 656"/>
                  <a:gd name="T84" fmla="*/ 454 w 792"/>
                  <a:gd name="T85" fmla="*/ 639 h 656"/>
                  <a:gd name="T86" fmla="*/ 498 w 792"/>
                  <a:gd name="T87" fmla="*/ 656 h 656"/>
                  <a:gd name="T88" fmla="*/ 517 w 792"/>
                  <a:gd name="T89" fmla="*/ 632 h 656"/>
                  <a:gd name="T90" fmla="*/ 548 w 792"/>
                  <a:gd name="T91" fmla="*/ 621 h 656"/>
                  <a:gd name="T92" fmla="*/ 574 w 792"/>
                  <a:gd name="T93" fmla="*/ 624 h 656"/>
                  <a:gd name="T94" fmla="*/ 602 w 792"/>
                  <a:gd name="T95" fmla="*/ 605 h 656"/>
                  <a:gd name="T96" fmla="*/ 637 w 792"/>
                  <a:gd name="T97" fmla="*/ 607 h 656"/>
                  <a:gd name="T98" fmla="*/ 688 w 792"/>
                  <a:gd name="T99" fmla="*/ 630 h 656"/>
                  <a:gd name="T100" fmla="*/ 719 w 792"/>
                  <a:gd name="T101" fmla="*/ 639 h 656"/>
                  <a:gd name="T102" fmla="*/ 722 w 792"/>
                  <a:gd name="T103" fmla="*/ 621 h 656"/>
                  <a:gd name="T104" fmla="*/ 705 w 792"/>
                  <a:gd name="T105" fmla="*/ 578 h 656"/>
                  <a:gd name="T106" fmla="*/ 755 w 792"/>
                  <a:gd name="T107" fmla="*/ 474 h 656"/>
                  <a:gd name="T108" fmla="*/ 787 w 792"/>
                  <a:gd name="T109" fmla="*/ 482 h 656"/>
                  <a:gd name="T110" fmla="*/ 792 w 792"/>
                  <a:gd name="T111" fmla="*/ 435 h 656"/>
                  <a:gd name="T112" fmla="*/ 733 w 792"/>
                  <a:gd name="T113" fmla="*/ 330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656">
                    <a:moveTo>
                      <a:pt x="733" y="330"/>
                    </a:moveTo>
                    <a:lnTo>
                      <a:pt x="715" y="293"/>
                    </a:lnTo>
                    <a:lnTo>
                      <a:pt x="719" y="273"/>
                    </a:lnTo>
                    <a:lnTo>
                      <a:pt x="704" y="259"/>
                    </a:lnTo>
                    <a:lnTo>
                      <a:pt x="699" y="218"/>
                    </a:lnTo>
                    <a:lnTo>
                      <a:pt x="721" y="184"/>
                    </a:lnTo>
                    <a:lnTo>
                      <a:pt x="704" y="123"/>
                    </a:lnTo>
                    <a:lnTo>
                      <a:pt x="678" y="94"/>
                    </a:lnTo>
                    <a:lnTo>
                      <a:pt x="678" y="46"/>
                    </a:lnTo>
                    <a:lnTo>
                      <a:pt x="665" y="27"/>
                    </a:lnTo>
                    <a:lnTo>
                      <a:pt x="603" y="0"/>
                    </a:lnTo>
                    <a:lnTo>
                      <a:pt x="583" y="12"/>
                    </a:lnTo>
                    <a:lnTo>
                      <a:pt x="455" y="29"/>
                    </a:lnTo>
                    <a:lnTo>
                      <a:pt x="397" y="17"/>
                    </a:lnTo>
                    <a:lnTo>
                      <a:pt x="355" y="48"/>
                    </a:lnTo>
                    <a:lnTo>
                      <a:pt x="324" y="54"/>
                    </a:lnTo>
                    <a:lnTo>
                      <a:pt x="309" y="40"/>
                    </a:lnTo>
                    <a:lnTo>
                      <a:pt x="313" y="26"/>
                    </a:lnTo>
                    <a:lnTo>
                      <a:pt x="285" y="7"/>
                    </a:lnTo>
                    <a:lnTo>
                      <a:pt x="185" y="32"/>
                    </a:lnTo>
                    <a:lnTo>
                      <a:pt x="92" y="95"/>
                    </a:lnTo>
                    <a:lnTo>
                      <a:pt x="26" y="126"/>
                    </a:lnTo>
                    <a:lnTo>
                      <a:pt x="4" y="133"/>
                    </a:lnTo>
                    <a:lnTo>
                      <a:pt x="15" y="222"/>
                    </a:lnTo>
                    <a:lnTo>
                      <a:pt x="0" y="262"/>
                    </a:lnTo>
                    <a:lnTo>
                      <a:pt x="31" y="295"/>
                    </a:lnTo>
                    <a:lnTo>
                      <a:pt x="54" y="357"/>
                    </a:lnTo>
                    <a:lnTo>
                      <a:pt x="43" y="403"/>
                    </a:lnTo>
                    <a:lnTo>
                      <a:pt x="63" y="432"/>
                    </a:lnTo>
                    <a:lnTo>
                      <a:pt x="80" y="485"/>
                    </a:lnTo>
                    <a:lnTo>
                      <a:pt x="103" y="472"/>
                    </a:lnTo>
                    <a:lnTo>
                      <a:pt x="123" y="499"/>
                    </a:lnTo>
                    <a:lnTo>
                      <a:pt x="182" y="499"/>
                    </a:lnTo>
                    <a:lnTo>
                      <a:pt x="196" y="516"/>
                    </a:lnTo>
                    <a:lnTo>
                      <a:pt x="180" y="537"/>
                    </a:lnTo>
                    <a:lnTo>
                      <a:pt x="213" y="573"/>
                    </a:lnTo>
                    <a:lnTo>
                      <a:pt x="234" y="564"/>
                    </a:lnTo>
                    <a:lnTo>
                      <a:pt x="231" y="531"/>
                    </a:lnTo>
                    <a:lnTo>
                      <a:pt x="296" y="539"/>
                    </a:lnTo>
                    <a:lnTo>
                      <a:pt x="335" y="590"/>
                    </a:lnTo>
                    <a:lnTo>
                      <a:pt x="361" y="593"/>
                    </a:lnTo>
                    <a:lnTo>
                      <a:pt x="429" y="652"/>
                    </a:lnTo>
                    <a:lnTo>
                      <a:pt x="454" y="639"/>
                    </a:lnTo>
                    <a:lnTo>
                      <a:pt x="498" y="656"/>
                    </a:lnTo>
                    <a:lnTo>
                      <a:pt x="517" y="632"/>
                    </a:lnTo>
                    <a:lnTo>
                      <a:pt x="548" y="621"/>
                    </a:lnTo>
                    <a:lnTo>
                      <a:pt x="574" y="624"/>
                    </a:lnTo>
                    <a:lnTo>
                      <a:pt x="602" y="605"/>
                    </a:lnTo>
                    <a:lnTo>
                      <a:pt x="637" y="607"/>
                    </a:lnTo>
                    <a:lnTo>
                      <a:pt x="688" y="630"/>
                    </a:lnTo>
                    <a:lnTo>
                      <a:pt x="719" y="639"/>
                    </a:lnTo>
                    <a:lnTo>
                      <a:pt x="722" y="621"/>
                    </a:lnTo>
                    <a:lnTo>
                      <a:pt x="705" y="578"/>
                    </a:lnTo>
                    <a:lnTo>
                      <a:pt x="755" y="474"/>
                    </a:lnTo>
                    <a:lnTo>
                      <a:pt x="787" y="482"/>
                    </a:lnTo>
                    <a:lnTo>
                      <a:pt x="792" y="435"/>
                    </a:lnTo>
                    <a:lnTo>
                      <a:pt x="733" y="330"/>
                    </a:lnTo>
                    <a:close/>
                  </a:path>
                </a:pathLst>
              </a:custGeom>
              <a:solidFill>
                <a:schemeClr val="accent4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0" name="Freeform 31">
                <a:extLst>
                  <a:ext uri="{FF2B5EF4-FFF2-40B4-BE49-F238E27FC236}">
                    <a16:creationId xmlns:a16="http://schemas.microsoft.com/office/drawing/2014/main" xmlns="" id="{CEDD022D-E12D-4E05-906F-A2A274243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9" y="2186"/>
                <a:ext cx="295" cy="346"/>
              </a:xfrm>
              <a:custGeom>
                <a:avLst/>
                <a:gdLst>
                  <a:gd name="T0" fmla="*/ 287 w 295"/>
                  <a:gd name="T1" fmla="*/ 91 h 346"/>
                  <a:gd name="T2" fmla="*/ 295 w 295"/>
                  <a:gd name="T3" fmla="*/ 40 h 346"/>
                  <a:gd name="T4" fmla="*/ 281 w 295"/>
                  <a:gd name="T5" fmla="*/ 11 h 346"/>
                  <a:gd name="T6" fmla="*/ 259 w 295"/>
                  <a:gd name="T7" fmla="*/ 0 h 346"/>
                  <a:gd name="T8" fmla="*/ 198 w 295"/>
                  <a:gd name="T9" fmla="*/ 13 h 346"/>
                  <a:gd name="T10" fmla="*/ 167 w 295"/>
                  <a:gd name="T11" fmla="*/ 50 h 346"/>
                  <a:gd name="T12" fmla="*/ 167 w 295"/>
                  <a:gd name="T13" fmla="*/ 73 h 346"/>
                  <a:gd name="T14" fmla="*/ 181 w 295"/>
                  <a:gd name="T15" fmla="*/ 77 h 346"/>
                  <a:gd name="T16" fmla="*/ 179 w 295"/>
                  <a:gd name="T17" fmla="*/ 105 h 346"/>
                  <a:gd name="T18" fmla="*/ 193 w 295"/>
                  <a:gd name="T19" fmla="*/ 115 h 346"/>
                  <a:gd name="T20" fmla="*/ 136 w 295"/>
                  <a:gd name="T21" fmla="*/ 152 h 346"/>
                  <a:gd name="T22" fmla="*/ 133 w 295"/>
                  <a:gd name="T23" fmla="*/ 118 h 346"/>
                  <a:gd name="T24" fmla="*/ 145 w 295"/>
                  <a:gd name="T25" fmla="*/ 113 h 346"/>
                  <a:gd name="T26" fmla="*/ 150 w 295"/>
                  <a:gd name="T27" fmla="*/ 99 h 346"/>
                  <a:gd name="T28" fmla="*/ 139 w 295"/>
                  <a:gd name="T29" fmla="*/ 93 h 346"/>
                  <a:gd name="T30" fmla="*/ 128 w 295"/>
                  <a:gd name="T31" fmla="*/ 68 h 346"/>
                  <a:gd name="T32" fmla="*/ 111 w 295"/>
                  <a:gd name="T33" fmla="*/ 65 h 346"/>
                  <a:gd name="T34" fmla="*/ 83 w 295"/>
                  <a:gd name="T35" fmla="*/ 139 h 346"/>
                  <a:gd name="T36" fmla="*/ 43 w 295"/>
                  <a:gd name="T37" fmla="*/ 193 h 346"/>
                  <a:gd name="T38" fmla="*/ 45 w 295"/>
                  <a:gd name="T39" fmla="*/ 215 h 346"/>
                  <a:gd name="T40" fmla="*/ 18 w 295"/>
                  <a:gd name="T41" fmla="*/ 227 h 346"/>
                  <a:gd name="T42" fmla="*/ 0 w 295"/>
                  <a:gd name="T43" fmla="*/ 243 h 346"/>
                  <a:gd name="T44" fmla="*/ 35 w 295"/>
                  <a:gd name="T45" fmla="*/ 254 h 346"/>
                  <a:gd name="T46" fmla="*/ 63 w 295"/>
                  <a:gd name="T47" fmla="*/ 252 h 346"/>
                  <a:gd name="T48" fmla="*/ 85 w 295"/>
                  <a:gd name="T49" fmla="*/ 240 h 346"/>
                  <a:gd name="T50" fmla="*/ 114 w 295"/>
                  <a:gd name="T51" fmla="*/ 250 h 346"/>
                  <a:gd name="T52" fmla="*/ 168 w 295"/>
                  <a:gd name="T53" fmla="*/ 292 h 346"/>
                  <a:gd name="T54" fmla="*/ 157 w 295"/>
                  <a:gd name="T55" fmla="*/ 335 h 346"/>
                  <a:gd name="T56" fmla="*/ 194 w 295"/>
                  <a:gd name="T57" fmla="*/ 346 h 346"/>
                  <a:gd name="T58" fmla="*/ 193 w 295"/>
                  <a:gd name="T59" fmla="*/ 308 h 346"/>
                  <a:gd name="T60" fmla="*/ 208 w 295"/>
                  <a:gd name="T61" fmla="*/ 283 h 346"/>
                  <a:gd name="T62" fmla="*/ 202 w 295"/>
                  <a:gd name="T63" fmla="*/ 210 h 346"/>
                  <a:gd name="T64" fmla="*/ 218 w 295"/>
                  <a:gd name="T65" fmla="*/ 199 h 346"/>
                  <a:gd name="T66" fmla="*/ 235 w 295"/>
                  <a:gd name="T67" fmla="*/ 201 h 346"/>
                  <a:gd name="T68" fmla="*/ 265 w 295"/>
                  <a:gd name="T69" fmla="*/ 190 h 346"/>
                  <a:gd name="T70" fmla="*/ 262 w 295"/>
                  <a:gd name="T71" fmla="*/ 172 h 346"/>
                  <a:gd name="T72" fmla="*/ 276 w 295"/>
                  <a:gd name="T73" fmla="*/ 147 h 346"/>
                  <a:gd name="T74" fmla="*/ 276 w 295"/>
                  <a:gd name="T75" fmla="*/ 125 h 346"/>
                  <a:gd name="T76" fmla="*/ 264 w 295"/>
                  <a:gd name="T77" fmla="*/ 116 h 346"/>
                  <a:gd name="T78" fmla="*/ 267 w 295"/>
                  <a:gd name="T79" fmla="*/ 99 h 346"/>
                  <a:gd name="T80" fmla="*/ 287 w 295"/>
                  <a:gd name="T81" fmla="*/ 91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5" h="346">
                    <a:moveTo>
                      <a:pt x="287" y="91"/>
                    </a:moveTo>
                    <a:lnTo>
                      <a:pt x="295" y="40"/>
                    </a:lnTo>
                    <a:lnTo>
                      <a:pt x="281" y="11"/>
                    </a:lnTo>
                    <a:lnTo>
                      <a:pt x="259" y="0"/>
                    </a:lnTo>
                    <a:lnTo>
                      <a:pt x="198" y="13"/>
                    </a:lnTo>
                    <a:lnTo>
                      <a:pt x="167" y="50"/>
                    </a:lnTo>
                    <a:lnTo>
                      <a:pt x="167" y="73"/>
                    </a:lnTo>
                    <a:lnTo>
                      <a:pt x="181" y="77"/>
                    </a:lnTo>
                    <a:lnTo>
                      <a:pt x="179" y="105"/>
                    </a:lnTo>
                    <a:lnTo>
                      <a:pt x="193" y="115"/>
                    </a:lnTo>
                    <a:lnTo>
                      <a:pt x="136" y="152"/>
                    </a:lnTo>
                    <a:lnTo>
                      <a:pt x="133" y="118"/>
                    </a:lnTo>
                    <a:lnTo>
                      <a:pt x="145" y="113"/>
                    </a:lnTo>
                    <a:lnTo>
                      <a:pt x="150" y="99"/>
                    </a:lnTo>
                    <a:lnTo>
                      <a:pt x="139" y="93"/>
                    </a:lnTo>
                    <a:lnTo>
                      <a:pt x="128" y="68"/>
                    </a:lnTo>
                    <a:lnTo>
                      <a:pt x="111" y="65"/>
                    </a:lnTo>
                    <a:lnTo>
                      <a:pt x="83" y="139"/>
                    </a:lnTo>
                    <a:lnTo>
                      <a:pt x="43" y="193"/>
                    </a:lnTo>
                    <a:lnTo>
                      <a:pt x="45" y="215"/>
                    </a:lnTo>
                    <a:lnTo>
                      <a:pt x="18" y="227"/>
                    </a:lnTo>
                    <a:lnTo>
                      <a:pt x="0" y="243"/>
                    </a:lnTo>
                    <a:lnTo>
                      <a:pt x="35" y="254"/>
                    </a:lnTo>
                    <a:lnTo>
                      <a:pt x="63" y="252"/>
                    </a:lnTo>
                    <a:lnTo>
                      <a:pt x="85" y="240"/>
                    </a:lnTo>
                    <a:lnTo>
                      <a:pt x="114" y="250"/>
                    </a:lnTo>
                    <a:lnTo>
                      <a:pt x="168" y="292"/>
                    </a:lnTo>
                    <a:lnTo>
                      <a:pt x="157" y="335"/>
                    </a:lnTo>
                    <a:lnTo>
                      <a:pt x="194" y="346"/>
                    </a:lnTo>
                    <a:lnTo>
                      <a:pt x="193" y="308"/>
                    </a:lnTo>
                    <a:lnTo>
                      <a:pt x="208" y="283"/>
                    </a:lnTo>
                    <a:lnTo>
                      <a:pt x="202" y="210"/>
                    </a:lnTo>
                    <a:lnTo>
                      <a:pt x="218" y="199"/>
                    </a:lnTo>
                    <a:lnTo>
                      <a:pt x="235" y="201"/>
                    </a:lnTo>
                    <a:lnTo>
                      <a:pt x="265" y="190"/>
                    </a:lnTo>
                    <a:lnTo>
                      <a:pt x="262" y="172"/>
                    </a:lnTo>
                    <a:lnTo>
                      <a:pt x="276" y="147"/>
                    </a:lnTo>
                    <a:lnTo>
                      <a:pt x="276" y="125"/>
                    </a:lnTo>
                    <a:lnTo>
                      <a:pt x="264" y="116"/>
                    </a:lnTo>
                    <a:lnTo>
                      <a:pt x="267" y="99"/>
                    </a:lnTo>
                    <a:lnTo>
                      <a:pt x="287" y="91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1" name="Freeform 32">
                <a:extLst>
                  <a:ext uri="{FF2B5EF4-FFF2-40B4-BE49-F238E27FC236}">
                    <a16:creationId xmlns:a16="http://schemas.microsoft.com/office/drawing/2014/main" xmlns="" id="{4348233D-E338-4640-8283-C446F5D7F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3" y="2223"/>
                <a:ext cx="17" cy="20"/>
              </a:xfrm>
              <a:custGeom>
                <a:avLst/>
                <a:gdLst>
                  <a:gd name="T0" fmla="*/ 17 w 17"/>
                  <a:gd name="T1" fmla="*/ 3 h 20"/>
                  <a:gd name="T2" fmla="*/ 9 w 17"/>
                  <a:gd name="T3" fmla="*/ 0 h 20"/>
                  <a:gd name="T4" fmla="*/ 0 w 17"/>
                  <a:gd name="T5" fmla="*/ 19 h 20"/>
                  <a:gd name="T6" fmla="*/ 14 w 17"/>
                  <a:gd name="T7" fmla="*/ 20 h 20"/>
                  <a:gd name="T8" fmla="*/ 17 w 17"/>
                  <a:gd name="T9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0">
                    <a:moveTo>
                      <a:pt x="17" y="3"/>
                    </a:moveTo>
                    <a:lnTo>
                      <a:pt x="9" y="0"/>
                    </a:lnTo>
                    <a:lnTo>
                      <a:pt x="0" y="19"/>
                    </a:lnTo>
                    <a:lnTo>
                      <a:pt x="14" y="20"/>
                    </a:lnTo>
                    <a:lnTo>
                      <a:pt x="17" y="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2" name="Freeform 33">
                <a:extLst>
                  <a:ext uri="{FF2B5EF4-FFF2-40B4-BE49-F238E27FC236}">
                    <a16:creationId xmlns:a16="http://schemas.microsoft.com/office/drawing/2014/main" xmlns="" id="{3B3AD9B5-C4CB-4DAE-BF1C-198EDFBC5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2203"/>
                <a:ext cx="15" cy="13"/>
              </a:xfrm>
              <a:custGeom>
                <a:avLst/>
                <a:gdLst>
                  <a:gd name="T0" fmla="*/ 15 w 15"/>
                  <a:gd name="T1" fmla="*/ 2 h 13"/>
                  <a:gd name="T2" fmla="*/ 11 w 15"/>
                  <a:gd name="T3" fmla="*/ 0 h 13"/>
                  <a:gd name="T4" fmla="*/ 0 w 15"/>
                  <a:gd name="T5" fmla="*/ 11 h 13"/>
                  <a:gd name="T6" fmla="*/ 6 w 15"/>
                  <a:gd name="T7" fmla="*/ 13 h 13"/>
                  <a:gd name="T8" fmla="*/ 15 w 15"/>
                  <a:gd name="T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3">
                    <a:moveTo>
                      <a:pt x="15" y="2"/>
                    </a:moveTo>
                    <a:lnTo>
                      <a:pt x="11" y="0"/>
                    </a:lnTo>
                    <a:lnTo>
                      <a:pt x="0" y="11"/>
                    </a:lnTo>
                    <a:lnTo>
                      <a:pt x="6" y="13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3" name="Freeform 34">
                <a:extLst>
                  <a:ext uri="{FF2B5EF4-FFF2-40B4-BE49-F238E27FC236}">
                    <a16:creationId xmlns:a16="http://schemas.microsoft.com/office/drawing/2014/main" xmlns="" id="{AEC4EDFE-A0A1-475E-BAA0-AEE6C4CC4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" y="2189"/>
                <a:ext cx="15" cy="13"/>
              </a:xfrm>
              <a:custGeom>
                <a:avLst/>
                <a:gdLst>
                  <a:gd name="T0" fmla="*/ 12 w 15"/>
                  <a:gd name="T1" fmla="*/ 0 h 13"/>
                  <a:gd name="T2" fmla="*/ 0 w 15"/>
                  <a:gd name="T3" fmla="*/ 5 h 13"/>
                  <a:gd name="T4" fmla="*/ 0 w 15"/>
                  <a:gd name="T5" fmla="*/ 13 h 13"/>
                  <a:gd name="T6" fmla="*/ 15 w 15"/>
                  <a:gd name="T7" fmla="*/ 6 h 13"/>
                  <a:gd name="T8" fmla="*/ 12 w 15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3">
                    <a:moveTo>
                      <a:pt x="12" y="0"/>
                    </a:moveTo>
                    <a:lnTo>
                      <a:pt x="0" y="5"/>
                    </a:lnTo>
                    <a:lnTo>
                      <a:pt x="0" y="13"/>
                    </a:lnTo>
                    <a:lnTo>
                      <a:pt x="15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4" name="Freeform 35">
                <a:extLst>
                  <a:ext uri="{FF2B5EF4-FFF2-40B4-BE49-F238E27FC236}">
                    <a16:creationId xmlns:a16="http://schemas.microsoft.com/office/drawing/2014/main" xmlns="" id="{1BB96630-1113-4660-B44F-DE3848201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" y="2183"/>
                <a:ext cx="11" cy="9"/>
              </a:xfrm>
              <a:custGeom>
                <a:avLst/>
                <a:gdLst>
                  <a:gd name="T0" fmla="*/ 11 w 11"/>
                  <a:gd name="T1" fmla="*/ 0 h 9"/>
                  <a:gd name="T2" fmla="*/ 2 w 11"/>
                  <a:gd name="T3" fmla="*/ 3 h 9"/>
                  <a:gd name="T4" fmla="*/ 0 w 11"/>
                  <a:gd name="T5" fmla="*/ 9 h 9"/>
                  <a:gd name="T6" fmla="*/ 11 w 11"/>
                  <a:gd name="T7" fmla="*/ 8 h 9"/>
                  <a:gd name="T8" fmla="*/ 11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11" y="0"/>
                    </a:moveTo>
                    <a:lnTo>
                      <a:pt x="2" y="3"/>
                    </a:lnTo>
                    <a:lnTo>
                      <a:pt x="0" y="9"/>
                    </a:lnTo>
                    <a:lnTo>
                      <a:pt x="11" y="8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5" name="Freeform 36">
                <a:extLst>
                  <a:ext uri="{FF2B5EF4-FFF2-40B4-BE49-F238E27FC236}">
                    <a16:creationId xmlns:a16="http://schemas.microsoft.com/office/drawing/2014/main" xmlns="" id="{DAAA0D9F-1B95-43C4-85A5-F450F764B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180"/>
                <a:ext cx="11" cy="8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3 h 8"/>
                  <a:gd name="T4" fmla="*/ 0 w 11"/>
                  <a:gd name="T5" fmla="*/ 8 h 8"/>
                  <a:gd name="T6" fmla="*/ 11 w 11"/>
                  <a:gd name="T7" fmla="*/ 6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0" y="3"/>
                    </a:lnTo>
                    <a:lnTo>
                      <a:pt x="0" y="8"/>
                    </a:lnTo>
                    <a:lnTo>
                      <a:pt x="11" y="6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6" name="Freeform 37">
                <a:extLst>
                  <a:ext uri="{FF2B5EF4-FFF2-40B4-BE49-F238E27FC236}">
                    <a16:creationId xmlns:a16="http://schemas.microsoft.com/office/drawing/2014/main" xmlns="" id="{D861969D-11A6-4EB1-8D53-3D8F7EF34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" y="0"/>
                <a:ext cx="1246" cy="1667"/>
              </a:xfrm>
              <a:custGeom>
                <a:avLst/>
                <a:gdLst>
                  <a:gd name="T0" fmla="*/ 1243 w 1246"/>
                  <a:gd name="T1" fmla="*/ 42 h 1667"/>
                  <a:gd name="T2" fmla="*/ 1129 w 1246"/>
                  <a:gd name="T3" fmla="*/ 56 h 1667"/>
                  <a:gd name="T4" fmla="*/ 1075 w 1246"/>
                  <a:gd name="T5" fmla="*/ 8 h 1667"/>
                  <a:gd name="T6" fmla="*/ 1018 w 1246"/>
                  <a:gd name="T7" fmla="*/ 69 h 1667"/>
                  <a:gd name="T8" fmla="*/ 1001 w 1246"/>
                  <a:gd name="T9" fmla="*/ 80 h 1667"/>
                  <a:gd name="T10" fmla="*/ 934 w 1246"/>
                  <a:gd name="T11" fmla="*/ 93 h 1667"/>
                  <a:gd name="T12" fmla="*/ 851 w 1246"/>
                  <a:gd name="T13" fmla="*/ 150 h 1667"/>
                  <a:gd name="T14" fmla="*/ 822 w 1246"/>
                  <a:gd name="T15" fmla="*/ 147 h 1667"/>
                  <a:gd name="T16" fmla="*/ 766 w 1246"/>
                  <a:gd name="T17" fmla="*/ 188 h 1667"/>
                  <a:gd name="T18" fmla="*/ 724 w 1246"/>
                  <a:gd name="T19" fmla="*/ 267 h 1667"/>
                  <a:gd name="T20" fmla="*/ 647 w 1246"/>
                  <a:gd name="T21" fmla="*/ 368 h 1667"/>
                  <a:gd name="T22" fmla="*/ 619 w 1246"/>
                  <a:gd name="T23" fmla="*/ 433 h 1667"/>
                  <a:gd name="T24" fmla="*/ 567 w 1246"/>
                  <a:gd name="T25" fmla="*/ 524 h 1667"/>
                  <a:gd name="T26" fmla="*/ 525 w 1246"/>
                  <a:gd name="T27" fmla="*/ 573 h 1667"/>
                  <a:gd name="T28" fmla="*/ 494 w 1246"/>
                  <a:gd name="T29" fmla="*/ 687 h 1667"/>
                  <a:gd name="T30" fmla="*/ 473 w 1246"/>
                  <a:gd name="T31" fmla="*/ 806 h 1667"/>
                  <a:gd name="T32" fmla="*/ 440 w 1246"/>
                  <a:gd name="T33" fmla="*/ 856 h 1667"/>
                  <a:gd name="T34" fmla="*/ 325 w 1246"/>
                  <a:gd name="T35" fmla="*/ 950 h 1667"/>
                  <a:gd name="T36" fmla="*/ 286 w 1246"/>
                  <a:gd name="T37" fmla="*/ 981 h 1667"/>
                  <a:gd name="T38" fmla="*/ 235 w 1246"/>
                  <a:gd name="T39" fmla="*/ 1032 h 1667"/>
                  <a:gd name="T40" fmla="*/ 181 w 1246"/>
                  <a:gd name="T41" fmla="*/ 1061 h 1667"/>
                  <a:gd name="T42" fmla="*/ 156 w 1246"/>
                  <a:gd name="T43" fmla="*/ 1120 h 1667"/>
                  <a:gd name="T44" fmla="*/ 139 w 1246"/>
                  <a:gd name="T45" fmla="*/ 1157 h 1667"/>
                  <a:gd name="T46" fmla="*/ 110 w 1246"/>
                  <a:gd name="T47" fmla="*/ 1168 h 1667"/>
                  <a:gd name="T48" fmla="*/ 125 w 1246"/>
                  <a:gd name="T49" fmla="*/ 1185 h 1667"/>
                  <a:gd name="T50" fmla="*/ 42 w 1246"/>
                  <a:gd name="T51" fmla="*/ 1221 h 1667"/>
                  <a:gd name="T52" fmla="*/ 88 w 1246"/>
                  <a:gd name="T53" fmla="*/ 1264 h 1667"/>
                  <a:gd name="T54" fmla="*/ 40 w 1246"/>
                  <a:gd name="T55" fmla="*/ 1279 h 1667"/>
                  <a:gd name="T56" fmla="*/ 56 w 1246"/>
                  <a:gd name="T57" fmla="*/ 1409 h 1667"/>
                  <a:gd name="T58" fmla="*/ 42 w 1246"/>
                  <a:gd name="T59" fmla="*/ 1449 h 1667"/>
                  <a:gd name="T60" fmla="*/ 25 w 1246"/>
                  <a:gd name="T61" fmla="*/ 1500 h 1667"/>
                  <a:gd name="T62" fmla="*/ 59 w 1246"/>
                  <a:gd name="T63" fmla="*/ 1581 h 1667"/>
                  <a:gd name="T64" fmla="*/ 111 w 1246"/>
                  <a:gd name="T65" fmla="*/ 1644 h 1667"/>
                  <a:gd name="T66" fmla="*/ 206 w 1246"/>
                  <a:gd name="T67" fmla="*/ 1667 h 1667"/>
                  <a:gd name="T68" fmla="*/ 272 w 1246"/>
                  <a:gd name="T69" fmla="*/ 1565 h 1667"/>
                  <a:gd name="T70" fmla="*/ 366 w 1246"/>
                  <a:gd name="T71" fmla="*/ 1523 h 1667"/>
                  <a:gd name="T72" fmla="*/ 423 w 1246"/>
                  <a:gd name="T73" fmla="*/ 1560 h 1667"/>
                  <a:gd name="T74" fmla="*/ 442 w 1246"/>
                  <a:gd name="T75" fmla="*/ 1462 h 1667"/>
                  <a:gd name="T76" fmla="*/ 493 w 1246"/>
                  <a:gd name="T77" fmla="*/ 1275 h 1667"/>
                  <a:gd name="T78" fmla="*/ 459 w 1246"/>
                  <a:gd name="T79" fmla="*/ 1057 h 1667"/>
                  <a:gd name="T80" fmla="*/ 561 w 1246"/>
                  <a:gd name="T81" fmla="*/ 927 h 1667"/>
                  <a:gd name="T82" fmla="*/ 555 w 1246"/>
                  <a:gd name="T83" fmla="*/ 848 h 1667"/>
                  <a:gd name="T84" fmla="*/ 579 w 1246"/>
                  <a:gd name="T85" fmla="*/ 670 h 1667"/>
                  <a:gd name="T86" fmla="*/ 664 w 1246"/>
                  <a:gd name="T87" fmla="*/ 533 h 1667"/>
                  <a:gd name="T88" fmla="*/ 710 w 1246"/>
                  <a:gd name="T89" fmla="*/ 437 h 1667"/>
                  <a:gd name="T90" fmla="*/ 817 w 1246"/>
                  <a:gd name="T91" fmla="*/ 366 h 1667"/>
                  <a:gd name="T92" fmla="*/ 842 w 1246"/>
                  <a:gd name="T93" fmla="*/ 256 h 1667"/>
                  <a:gd name="T94" fmla="*/ 956 w 1246"/>
                  <a:gd name="T95" fmla="*/ 314 h 1667"/>
                  <a:gd name="T96" fmla="*/ 1052 w 1246"/>
                  <a:gd name="T97" fmla="*/ 263 h 1667"/>
                  <a:gd name="T98" fmla="*/ 1110 w 1246"/>
                  <a:gd name="T99" fmla="*/ 113 h 1667"/>
                  <a:gd name="T100" fmla="*/ 1234 w 1246"/>
                  <a:gd name="T101" fmla="*/ 147 h 1667"/>
                  <a:gd name="T102" fmla="*/ 1166 w 1246"/>
                  <a:gd name="T103" fmla="*/ 91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46" h="1667">
                    <a:moveTo>
                      <a:pt x="1166" y="91"/>
                    </a:moveTo>
                    <a:lnTo>
                      <a:pt x="1203" y="82"/>
                    </a:lnTo>
                    <a:lnTo>
                      <a:pt x="1243" y="42"/>
                    </a:lnTo>
                    <a:lnTo>
                      <a:pt x="1184" y="8"/>
                    </a:lnTo>
                    <a:lnTo>
                      <a:pt x="1137" y="11"/>
                    </a:lnTo>
                    <a:lnTo>
                      <a:pt x="1129" y="56"/>
                    </a:lnTo>
                    <a:lnTo>
                      <a:pt x="1103" y="46"/>
                    </a:lnTo>
                    <a:lnTo>
                      <a:pt x="1109" y="0"/>
                    </a:lnTo>
                    <a:lnTo>
                      <a:pt x="1075" y="8"/>
                    </a:lnTo>
                    <a:lnTo>
                      <a:pt x="1066" y="60"/>
                    </a:lnTo>
                    <a:lnTo>
                      <a:pt x="1039" y="25"/>
                    </a:lnTo>
                    <a:lnTo>
                      <a:pt x="1018" y="69"/>
                    </a:lnTo>
                    <a:lnTo>
                      <a:pt x="1004" y="130"/>
                    </a:lnTo>
                    <a:lnTo>
                      <a:pt x="999" y="94"/>
                    </a:lnTo>
                    <a:lnTo>
                      <a:pt x="1001" y="80"/>
                    </a:lnTo>
                    <a:lnTo>
                      <a:pt x="978" y="83"/>
                    </a:lnTo>
                    <a:lnTo>
                      <a:pt x="954" y="99"/>
                    </a:lnTo>
                    <a:lnTo>
                      <a:pt x="934" y="93"/>
                    </a:lnTo>
                    <a:lnTo>
                      <a:pt x="913" y="128"/>
                    </a:lnTo>
                    <a:lnTo>
                      <a:pt x="856" y="128"/>
                    </a:lnTo>
                    <a:lnTo>
                      <a:pt x="851" y="150"/>
                    </a:lnTo>
                    <a:lnTo>
                      <a:pt x="869" y="167"/>
                    </a:lnTo>
                    <a:lnTo>
                      <a:pt x="832" y="171"/>
                    </a:lnTo>
                    <a:lnTo>
                      <a:pt x="822" y="147"/>
                    </a:lnTo>
                    <a:lnTo>
                      <a:pt x="794" y="173"/>
                    </a:lnTo>
                    <a:lnTo>
                      <a:pt x="800" y="207"/>
                    </a:lnTo>
                    <a:lnTo>
                      <a:pt x="766" y="188"/>
                    </a:lnTo>
                    <a:lnTo>
                      <a:pt x="744" y="219"/>
                    </a:lnTo>
                    <a:lnTo>
                      <a:pt x="751" y="246"/>
                    </a:lnTo>
                    <a:lnTo>
                      <a:pt x="724" y="267"/>
                    </a:lnTo>
                    <a:lnTo>
                      <a:pt x="692" y="320"/>
                    </a:lnTo>
                    <a:lnTo>
                      <a:pt x="660" y="340"/>
                    </a:lnTo>
                    <a:lnTo>
                      <a:pt x="647" y="368"/>
                    </a:lnTo>
                    <a:lnTo>
                      <a:pt x="689" y="372"/>
                    </a:lnTo>
                    <a:lnTo>
                      <a:pt x="647" y="391"/>
                    </a:lnTo>
                    <a:lnTo>
                      <a:pt x="619" y="433"/>
                    </a:lnTo>
                    <a:lnTo>
                      <a:pt x="592" y="459"/>
                    </a:lnTo>
                    <a:lnTo>
                      <a:pt x="598" y="484"/>
                    </a:lnTo>
                    <a:lnTo>
                      <a:pt x="567" y="524"/>
                    </a:lnTo>
                    <a:lnTo>
                      <a:pt x="584" y="531"/>
                    </a:lnTo>
                    <a:lnTo>
                      <a:pt x="558" y="556"/>
                    </a:lnTo>
                    <a:lnTo>
                      <a:pt x="525" y="573"/>
                    </a:lnTo>
                    <a:lnTo>
                      <a:pt x="511" y="643"/>
                    </a:lnTo>
                    <a:lnTo>
                      <a:pt x="525" y="658"/>
                    </a:lnTo>
                    <a:lnTo>
                      <a:pt x="494" y="687"/>
                    </a:lnTo>
                    <a:lnTo>
                      <a:pt x="504" y="712"/>
                    </a:lnTo>
                    <a:lnTo>
                      <a:pt x="484" y="731"/>
                    </a:lnTo>
                    <a:lnTo>
                      <a:pt x="473" y="806"/>
                    </a:lnTo>
                    <a:lnTo>
                      <a:pt x="485" y="847"/>
                    </a:lnTo>
                    <a:lnTo>
                      <a:pt x="459" y="850"/>
                    </a:lnTo>
                    <a:lnTo>
                      <a:pt x="440" y="856"/>
                    </a:lnTo>
                    <a:lnTo>
                      <a:pt x="434" y="879"/>
                    </a:lnTo>
                    <a:lnTo>
                      <a:pt x="409" y="865"/>
                    </a:lnTo>
                    <a:lnTo>
                      <a:pt x="325" y="950"/>
                    </a:lnTo>
                    <a:lnTo>
                      <a:pt x="320" y="972"/>
                    </a:lnTo>
                    <a:lnTo>
                      <a:pt x="340" y="972"/>
                    </a:lnTo>
                    <a:lnTo>
                      <a:pt x="286" y="981"/>
                    </a:lnTo>
                    <a:lnTo>
                      <a:pt x="271" y="1015"/>
                    </a:lnTo>
                    <a:lnTo>
                      <a:pt x="249" y="1012"/>
                    </a:lnTo>
                    <a:lnTo>
                      <a:pt x="235" y="1032"/>
                    </a:lnTo>
                    <a:lnTo>
                      <a:pt x="254" y="1057"/>
                    </a:lnTo>
                    <a:lnTo>
                      <a:pt x="213" y="1035"/>
                    </a:lnTo>
                    <a:lnTo>
                      <a:pt x="181" y="1061"/>
                    </a:lnTo>
                    <a:lnTo>
                      <a:pt x="206" y="1088"/>
                    </a:lnTo>
                    <a:lnTo>
                      <a:pt x="162" y="1074"/>
                    </a:lnTo>
                    <a:lnTo>
                      <a:pt x="156" y="1120"/>
                    </a:lnTo>
                    <a:lnTo>
                      <a:pt x="172" y="1159"/>
                    </a:lnTo>
                    <a:lnTo>
                      <a:pt x="162" y="1160"/>
                    </a:lnTo>
                    <a:lnTo>
                      <a:pt x="139" y="1157"/>
                    </a:lnTo>
                    <a:lnTo>
                      <a:pt x="141" y="1163"/>
                    </a:lnTo>
                    <a:lnTo>
                      <a:pt x="133" y="1163"/>
                    </a:lnTo>
                    <a:lnTo>
                      <a:pt x="110" y="1168"/>
                    </a:lnTo>
                    <a:lnTo>
                      <a:pt x="74" y="1162"/>
                    </a:lnTo>
                    <a:lnTo>
                      <a:pt x="70" y="1182"/>
                    </a:lnTo>
                    <a:lnTo>
                      <a:pt x="125" y="1185"/>
                    </a:lnTo>
                    <a:lnTo>
                      <a:pt x="62" y="1188"/>
                    </a:lnTo>
                    <a:lnTo>
                      <a:pt x="54" y="1207"/>
                    </a:lnTo>
                    <a:lnTo>
                      <a:pt x="42" y="1221"/>
                    </a:lnTo>
                    <a:lnTo>
                      <a:pt x="0" y="1242"/>
                    </a:lnTo>
                    <a:lnTo>
                      <a:pt x="3" y="1270"/>
                    </a:lnTo>
                    <a:lnTo>
                      <a:pt x="88" y="1264"/>
                    </a:lnTo>
                    <a:lnTo>
                      <a:pt x="124" y="1268"/>
                    </a:lnTo>
                    <a:lnTo>
                      <a:pt x="88" y="1267"/>
                    </a:lnTo>
                    <a:lnTo>
                      <a:pt x="40" y="1279"/>
                    </a:lnTo>
                    <a:lnTo>
                      <a:pt x="59" y="1312"/>
                    </a:lnTo>
                    <a:lnTo>
                      <a:pt x="40" y="1339"/>
                    </a:lnTo>
                    <a:lnTo>
                      <a:pt x="56" y="1409"/>
                    </a:lnTo>
                    <a:lnTo>
                      <a:pt x="107" y="1373"/>
                    </a:lnTo>
                    <a:lnTo>
                      <a:pt x="59" y="1435"/>
                    </a:lnTo>
                    <a:lnTo>
                      <a:pt x="42" y="1449"/>
                    </a:lnTo>
                    <a:lnTo>
                      <a:pt x="47" y="1488"/>
                    </a:lnTo>
                    <a:lnTo>
                      <a:pt x="62" y="1483"/>
                    </a:lnTo>
                    <a:lnTo>
                      <a:pt x="25" y="1500"/>
                    </a:lnTo>
                    <a:lnTo>
                      <a:pt x="33" y="1565"/>
                    </a:lnTo>
                    <a:lnTo>
                      <a:pt x="53" y="1562"/>
                    </a:lnTo>
                    <a:lnTo>
                      <a:pt x="59" y="1581"/>
                    </a:lnTo>
                    <a:lnTo>
                      <a:pt x="96" y="1622"/>
                    </a:lnTo>
                    <a:lnTo>
                      <a:pt x="127" y="1633"/>
                    </a:lnTo>
                    <a:lnTo>
                      <a:pt x="111" y="1644"/>
                    </a:lnTo>
                    <a:lnTo>
                      <a:pt x="139" y="1656"/>
                    </a:lnTo>
                    <a:lnTo>
                      <a:pt x="201" y="1662"/>
                    </a:lnTo>
                    <a:lnTo>
                      <a:pt x="206" y="1667"/>
                    </a:lnTo>
                    <a:lnTo>
                      <a:pt x="207" y="1667"/>
                    </a:lnTo>
                    <a:lnTo>
                      <a:pt x="247" y="1627"/>
                    </a:lnTo>
                    <a:lnTo>
                      <a:pt x="272" y="1565"/>
                    </a:lnTo>
                    <a:lnTo>
                      <a:pt x="309" y="1542"/>
                    </a:lnTo>
                    <a:lnTo>
                      <a:pt x="338" y="1547"/>
                    </a:lnTo>
                    <a:lnTo>
                      <a:pt x="366" y="1523"/>
                    </a:lnTo>
                    <a:lnTo>
                      <a:pt x="372" y="1489"/>
                    </a:lnTo>
                    <a:lnTo>
                      <a:pt x="403" y="1551"/>
                    </a:lnTo>
                    <a:lnTo>
                      <a:pt x="423" y="1560"/>
                    </a:lnTo>
                    <a:lnTo>
                      <a:pt x="428" y="1557"/>
                    </a:lnTo>
                    <a:lnTo>
                      <a:pt x="445" y="1514"/>
                    </a:lnTo>
                    <a:lnTo>
                      <a:pt x="442" y="1462"/>
                    </a:lnTo>
                    <a:lnTo>
                      <a:pt x="477" y="1409"/>
                    </a:lnTo>
                    <a:lnTo>
                      <a:pt x="477" y="1293"/>
                    </a:lnTo>
                    <a:lnTo>
                      <a:pt x="493" y="1275"/>
                    </a:lnTo>
                    <a:lnTo>
                      <a:pt x="485" y="1214"/>
                    </a:lnTo>
                    <a:lnTo>
                      <a:pt x="462" y="1191"/>
                    </a:lnTo>
                    <a:lnTo>
                      <a:pt x="459" y="1057"/>
                    </a:lnTo>
                    <a:lnTo>
                      <a:pt x="473" y="981"/>
                    </a:lnTo>
                    <a:lnTo>
                      <a:pt x="516" y="930"/>
                    </a:lnTo>
                    <a:lnTo>
                      <a:pt x="561" y="927"/>
                    </a:lnTo>
                    <a:lnTo>
                      <a:pt x="578" y="899"/>
                    </a:lnTo>
                    <a:lnTo>
                      <a:pt x="573" y="865"/>
                    </a:lnTo>
                    <a:lnTo>
                      <a:pt x="555" y="848"/>
                    </a:lnTo>
                    <a:lnTo>
                      <a:pt x="578" y="813"/>
                    </a:lnTo>
                    <a:lnTo>
                      <a:pt x="589" y="725"/>
                    </a:lnTo>
                    <a:lnTo>
                      <a:pt x="579" y="670"/>
                    </a:lnTo>
                    <a:lnTo>
                      <a:pt x="621" y="649"/>
                    </a:lnTo>
                    <a:lnTo>
                      <a:pt x="616" y="607"/>
                    </a:lnTo>
                    <a:lnTo>
                      <a:pt x="664" y="533"/>
                    </a:lnTo>
                    <a:lnTo>
                      <a:pt x="664" y="476"/>
                    </a:lnTo>
                    <a:lnTo>
                      <a:pt x="690" y="434"/>
                    </a:lnTo>
                    <a:lnTo>
                      <a:pt x="710" y="437"/>
                    </a:lnTo>
                    <a:lnTo>
                      <a:pt x="732" y="406"/>
                    </a:lnTo>
                    <a:lnTo>
                      <a:pt x="734" y="360"/>
                    </a:lnTo>
                    <a:lnTo>
                      <a:pt x="817" y="366"/>
                    </a:lnTo>
                    <a:lnTo>
                      <a:pt x="809" y="306"/>
                    </a:lnTo>
                    <a:lnTo>
                      <a:pt x="834" y="290"/>
                    </a:lnTo>
                    <a:lnTo>
                      <a:pt x="842" y="256"/>
                    </a:lnTo>
                    <a:lnTo>
                      <a:pt x="880" y="255"/>
                    </a:lnTo>
                    <a:lnTo>
                      <a:pt x="908" y="297"/>
                    </a:lnTo>
                    <a:lnTo>
                      <a:pt x="956" y="314"/>
                    </a:lnTo>
                    <a:lnTo>
                      <a:pt x="974" y="289"/>
                    </a:lnTo>
                    <a:lnTo>
                      <a:pt x="1015" y="303"/>
                    </a:lnTo>
                    <a:lnTo>
                      <a:pt x="1052" y="263"/>
                    </a:lnTo>
                    <a:lnTo>
                      <a:pt x="1049" y="188"/>
                    </a:lnTo>
                    <a:lnTo>
                      <a:pt x="1089" y="145"/>
                    </a:lnTo>
                    <a:lnTo>
                      <a:pt x="1110" y="113"/>
                    </a:lnTo>
                    <a:lnTo>
                      <a:pt x="1172" y="141"/>
                    </a:lnTo>
                    <a:lnTo>
                      <a:pt x="1195" y="196"/>
                    </a:lnTo>
                    <a:lnTo>
                      <a:pt x="1234" y="147"/>
                    </a:lnTo>
                    <a:lnTo>
                      <a:pt x="1246" y="116"/>
                    </a:lnTo>
                    <a:lnTo>
                      <a:pt x="1208" y="117"/>
                    </a:lnTo>
                    <a:lnTo>
                      <a:pt x="1166" y="91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7" name="Freeform 38">
                <a:extLst>
                  <a:ext uri="{FF2B5EF4-FFF2-40B4-BE49-F238E27FC236}">
                    <a16:creationId xmlns:a16="http://schemas.microsoft.com/office/drawing/2014/main" xmlns="" id="{AE2389AF-C1E4-4A9C-80F3-5708E1C9F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0" y="334"/>
                <a:ext cx="49" cy="55"/>
              </a:xfrm>
              <a:custGeom>
                <a:avLst/>
                <a:gdLst>
                  <a:gd name="T0" fmla="*/ 49 w 49"/>
                  <a:gd name="T1" fmla="*/ 0 h 55"/>
                  <a:gd name="T2" fmla="*/ 34 w 49"/>
                  <a:gd name="T3" fmla="*/ 6 h 55"/>
                  <a:gd name="T4" fmla="*/ 6 w 49"/>
                  <a:gd name="T5" fmla="*/ 21 h 55"/>
                  <a:gd name="T6" fmla="*/ 0 w 49"/>
                  <a:gd name="T7" fmla="*/ 52 h 55"/>
                  <a:gd name="T8" fmla="*/ 20 w 49"/>
                  <a:gd name="T9" fmla="*/ 55 h 55"/>
                  <a:gd name="T10" fmla="*/ 49 w 49"/>
                  <a:gd name="T1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49" y="0"/>
                    </a:moveTo>
                    <a:lnTo>
                      <a:pt x="34" y="6"/>
                    </a:lnTo>
                    <a:lnTo>
                      <a:pt x="6" y="21"/>
                    </a:lnTo>
                    <a:lnTo>
                      <a:pt x="0" y="52"/>
                    </a:lnTo>
                    <a:lnTo>
                      <a:pt x="20" y="55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8" name="Freeform 39">
                <a:extLst>
                  <a:ext uri="{FF2B5EF4-FFF2-40B4-BE49-F238E27FC236}">
                    <a16:creationId xmlns:a16="http://schemas.microsoft.com/office/drawing/2014/main" xmlns="" id="{63DCFB4F-88FE-456C-A808-14906BE80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4" y="368"/>
                <a:ext cx="56" cy="60"/>
              </a:xfrm>
              <a:custGeom>
                <a:avLst/>
                <a:gdLst>
                  <a:gd name="T0" fmla="*/ 45 w 56"/>
                  <a:gd name="T1" fmla="*/ 0 h 60"/>
                  <a:gd name="T2" fmla="*/ 7 w 56"/>
                  <a:gd name="T3" fmla="*/ 34 h 60"/>
                  <a:gd name="T4" fmla="*/ 0 w 56"/>
                  <a:gd name="T5" fmla="*/ 60 h 60"/>
                  <a:gd name="T6" fmla="*/ 56 w 56"/>
                  <a:gd name="T7" fmla="*/ 18 h 60"/>
                  <a:gd name="T8" fmla="*/ 45 w 56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0">
                    <a:moveTo>
                      <a:pt x="45" y="0"/>
                    </a:moveTo>
                    <a:lnTo>
                      <a:pt x="7" y="34"/>
                    </a:lnTo>
                    <a:lnTo>
                      <a:pt x="0" y="60"/>
                    </a:lnTo>
                    <a:lnTo>
                      <a:pt x="56" y="18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9" name="Freeform 40">
                <a:extLst>
                  <a:ext uri="{FF2B5EF4-FFF2-40B4-BE49-F238E27FC236}">
                    <a16:creationId xmlns:a16="http://schemas.microsoft.com/office/drawing/2014/main" xmlns="" id="{F9BCB555-EC8A-45DD-80B0-A18ADAFB85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434"/>
                <a:ext cx="45" cy="34"/>
              </a:xfrm>
              <a:custGeom>
                <a:avLst/>
                <a:gdLst>
                  <a:gd name="T0" fmla="*/ 45 w 45"/>
                  <a:gd name="T1" fmla="*/ 0 h 34"/>
                  <a:gd name="T2" fmla="*/ 22 w 45"/>
                  <a:gd name="T3" fmla="*/ 3 h 34"/>
                  <a:gd name="T4" fmla="*/ 0 w 45"/>
                  <a:gd name="T5" fmla="*/ 12 h 34"/>
                  <a:gd name="T6" fmla="*/ 14 w 45"/>
                  <a:gd name="T7" fmla="*/ 34 h 34"/>
                  <a:gd name="T8" fmla="*/ 45 w 45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5" y="0"/>
                    </a:moveTo>
                    <a:lnTo>
                      <a:pt x="22" y="3"/>
                    </a:lnTo>
                    <a:lnTo>
                      <a:pt x="0" y="12"/>
                    </a:lnTo>
                    <a:lnTo>
                      <a:pt x="14" y="3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0" name="Freeform 41">
                <a:extLst>
                  <a:ext uri="{FF2B5EF4-FFF2-40B4-BE49-F238E27FC236}">
                    <a16:creationId xmlns:a16="http://schemas.microsoft.com/office/drawing/2014/main" xmlns="" id="{062FD88F-1319-42E3-9EAF-48B756F60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" y="286"/>
                <a:ext cx="73" cy="80"/>
              </a:xfrm>
              <a:custGeom>
                <a:avLst/>
                <a:gdLst>
                  <a:gd name="T0" fmla="*/ 42 w 73"/>
                  <a:gd name="T1" fmla="*/ 45 h 80"/>
                  <a:gd name="T2" fmla="*/ 41 w 73"/>
                  <a:gd name="T3" fmla="*/ 43 h 80"/>
                  <a:gd name="T4" fmla="*/ 73 w 73"/>
                  <a:gd name="T5" fmla="*/ 4 h 80"/>
                  <a:gd name="T6" fmla="*/ 62 w 73"/>
                  <a:gd name="T7" fmla="*/ 0 h 80"/>
                  <a:gd name="T8" fmla="*/ 36 w 73"/>
                  <a:gd name="T9" fmla="*/ 20 h 80"/>
                  <a:gd name="T10" fmla="*/ 39 w 73"/>
                  <a:gd name="T11" fmla="*/ 41 h 80"/>
                  <a:gd name="T12" fmla="*/ 25 w 73"/>
                  <a:gd name="T13" fmla="*/ 34 h 80"/>
                  <a:gd name="T14" fmla="*/ 0 w 73"/>
                  <a:gd name="T15" fmla="*/ 69 h 80"/>
                  <a:gd name="T16" fmla="*/ 14 w 73"/>
                  <a:gd name="T17" fmla="*/ 80 h 80"/>
                  <a:gd name="T18" fmla="*/ 42 w 73"/>
                  <a:gd name="T19" fmla="*/ 4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80">
                    <a:moveTo>
                      <a:pt x="42" y="45"/>
                    </a:moveTo>
                    <a:lnTo>
                      <a:pt x="41" y="43"/>
                    </a:lnTo>
                    <a:lnTo>
                      <a:pt x="73" y="4"/>
                    </a:lnTo>
                    <a:lnTo>
                      <a:pt x="62" y="0"/>
                    </a:lnTo>
                    <a:lnTo>
                      <a:pt x="36" y="20"/>
                    </a:lnTo>
                    <a:lnTo>
                      <a:pt x="39" y="41"/>
                    </a:lnTo>
                    <a:lnTo>
                      <a:pt x="25" y="34"/>
                    </a:lnTo>
                    <a:lnTo>
                      <a:pt x="0" y="69"/>
                    </a:lnTo>
                    <a:lnTo>
                      <a:pt x="14" y="80"/>
                    </a:lnTo>
                    <a:lnTo>
                      <a:pt x="42" y="4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1" name="Freeform 42">
                <a:extLst>
                  <a:ext uri="{FF2B5EF4-FFF2-40B4-BE49-F238E27FC236}">
                    <a16:creationId xmlns:a16="http://schemas.microsoft.com/office/drawing/2014/main" xmlns="" id="{8FA21016-C675-47BF-8D89-BBB4D1919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239"/>
                <a:ext cx="53" cy="67"/>
              </a:xfrm>
              <a:custGeom>
                <a:avLst/>
                <a:gdLst>
                  <a:gd name="T0" fmla="*/ 43 w 53"/>
                  <a:gd name="T1" fmla="*/ 44 h 67"/>
                  <a:gd name="T2" fmla="*/ 53 w 53"/>
                  <a:gd name="T3" fmla="*/ 10 h 67"/>
                  <a:gd name="T4" fmla="*/ 25 w 53"/>
                  <a:gd name="T5" fmla="*/ 0 h 67"/>
                  <a:gd name="T6" fmla="*/ 0 w 53"/>
                  <a:gd name="T7" fmla="*/ 33 h 67"/>
                  <a:gd name="T8" fmla="*/ 11 w 53"/>
                  <a:gd name="T9" fmla="*/ 67 h 67"/>
                  <a:gd name="T10" fmla="*/ 43 w 53"/>
                  <a:gd name="T11" fmla="*/ 4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" h="67">
                    <a:moveTo>
                      <a:pt x="43" y="44"/>
                    </a:moveTo>
                    <a:lnTo>
                      <a:pt x="53" y="10"/>
                    </a:lnTo>
                    <a:lnTo>
                      <a:pt x="25" y="0"/>
                    </a:lnTo>
                    <a:lnTo>
                      <a:pt x="0" y="33"/>
                    </a:lnTo>
                    <a:lnTo>
                      <a:pt x="11" y="67"/>
                    </a:lnTo>
                    <a:lnTo>
                      <a:pt x="43" y="4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2" name="Freeform 43">
                <a:extLst>
                  <a:ext uri="{FF2B5EF4-FFF2-40B4-BE49-F238E27FC236}">
                    <a16:creationId xmlns:a16="http://schemas.microsoft.com/office/drawing/2014/main" xmlns="" id="{6B16EC15-837C-4E0C-ADFA-ED5C7257A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0" y="205"/>
                <a:ext cx="14" cy="22"/>
              </a:xfrm>
              <a:custGeom>
                <a:avLst/>
                <a:gdLst>
                  <a:gd name="T0" fmla="*/ 0 w 14"/>
                  <a:gd name="T1" fmla="*/ 0 h 22"/>
                  <a:gd name="T2" fmla="*/ 3 w 14"/>
                  <a:gd name="T3" fmla="*/ 22 h 22"/>
                  <a:gd name="T4" fmla="*/ 14 w 14"/>
                  <a:gd name="T5" fmla="*/ 5 h 22"/>
                  <a:gd name="T6" fmla="*/ 0 w 14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2">
                    <a:moveTo>
                      <a:pt x="0" y="0"/>
                    </a:moveTo>
                    <a:lnTo>
                      <a:pt x="3" y="22"/>
                    </a:lnTo>
                    <a:lnTo>
                      <a:pt x="14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3" name="Freeform 44">
                <a:extLst>
                  <a:ext uri="{FF2B5EF4-FFF2-40B4-BE49-F238E27FC236}">
                    <a16:creationId xmlns:a16="http://schemas.microsoft.com/office/drawing/2014/main" xmlns="" id="{394DA80E-A261-4CE6-9EC7-ED56F5C36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7" y="3399"/>
                <a:ext cx="172" cy="173"/>
              </a:xfrm>
              <a:custGeom>
                <a:avLst/>
                <a:gdLst>
                  <a:gd name="T0" fmla="*/ 172 w 172"/>
                  <a:gd name="T1" fmla="*/ 23 h 173"/>
                  <a:gd name="T2" fmla="*/ 114 w 172"/>
                  <a:gd name="T3" fmla="*/ 3 h 173"/>
                  <a:gd name="T4" fmla="*/ 87 w 172"/>
                  <a:gd name="T5" fmla="*/ 0 h 173"/>
                  <a:gd name="T6" fmla="*/ 45 w 172"/>
                  <a:gd name="T7" fmla="*/ 76 h 173"/>
                  <a:gd name="T8" fmla="*/ 6 w 172"/>
                  <a:gd name="T9" fmla="*/ 104 h 173"/>
                  <a:gd name="T10" fmla="*/ 0 w 172"/>
                  <a:gd name="T11" fmla="*/ 124 h 173"/>
                  <a:gd name="T12" fmla="*/ 67 w 172"/>
                  <a:gd name="T13" fmla="*/ 173 h 173"/>
                  <a:gd name="T14" fmla="*/ 85 w 172"/>
                  <a:gd name="T15" fmla="*/ 168 h 173"/>
                  <a:gd name="T16" fmla="*/ 82 w 172"/>
                  <a:gd name="T17" fmla="*/ 151 h 173"/>
                  <a:gd name="T18" fmla="*/ 80 w 172"/>
                  <a:gd name="T19" fmla="*/ 114 h 173"/>
                  <a:gd name="T20" fmla="*/ 97 w 172"/>
                  <a:gd name="T21" fmla="*/ 80 h 173"/>
                  <a:gd name="T22" fmla="*/ 113 w 172"/>
                  <a:gd name="T23" fmla="*/ 94 h 173"/>
                  <a:gd name="T24" fmla="*/ 128 w 172"/>
                  <a:gd name="T25" fmla="*/ 82 h 173"/>
                  <a:gd name="T26" fmla="*/ 156 w 172"/>
                  <a:gd name="T27" fmla="*/ 97 h 173"/>
                  <a:gd name="T28" fmla="*/ 156 w 172"/>
                  <a:gd name="T29" fmla="*/ 93 h 173"/>
                  <a:gd name="T30" fmla="*/ 172 w 172"/>
                  <a:gd name="T31" fmla="*/ 2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2" h="173">
                    <a:moveTo>
                      <a:pt x="172" y="23"/>
                    </a:moveTo>
                    <a:lnTo>
                      <a:pt x="114" y="3"/>
                    </a:lnTo>
                    <a:lnTo>
                      <a:pt x="87" y="0"/>
                    </a:lnTo>
                    <a:lnTo>
                      <a:pt x="45" y="76"/>
                    </a:lnTo>
                    <a:lnTo>
                      <a:pt x="6" y="104"/>
                    </a:lnTo>
                    <a:lnTo>
                      <a:pt x="0" y="124"/>
                    </a:lnTo>
                    <a:lnTo>
                      <a:pt x="67" y="173"/>
                    </a:lnTo>
                    <a:lnTo>
                      <a:pt x="85" y="168"/>
                    </a:lnTo>
                    <a:lnTo>
                      <a:pt x="82" y="151"/>
                    </a:lnTo>
                    <a:lnTo>
                      <a:pt x="80" y="114"/>
                    </a:lnTo>
                    <a:lnTo>
                      <a:pt x="97" y="80"/>
                    </a:lnTo>
                    <a:lnTo>
                      <a:pt x="113" y="94"/>
                    </a:lnTo>
                    <a:lnTo>
                      <a:pt x="128" y="82"/>
                    </a:lnTo>
                    <a:lnTo>
                      <a:pt x="156" y="97"/>
                    </a:lnTo>
                    <a:lnTo>
                      <a:pt x="156" y="93"/>
                    </a:lnTo>
                    <a:lnTo>
                      <a:pt x="172" y="2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4" name="Freeform 45">
                <a:extLst>
                  <a:ext uri="{FF2B5EF4-FFF2-40B4-BE49-F238E27FC236}">
                    <a16:creationId xmlns:a16="http://schemas.microsoft.com/office/drawing/2014/main" xmlns="" id="{BD8C0619-71C1-43CC-836E-995CDF046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" y="2651"/>
                <a:ext cx="304" cy="331"/>
              </a:xfrm>
              <a:custGeom>
                <a:avLst/>
                <a:gdLst>
                  <a:gd name="T0" fmla="*/ 285 w 304"/>
                  <a:gd name="T1" fmla="*/ 150 h 331"/>
                  <a:gd name="T2" fmla="*/ 253 w 304"/>
                  <a:gd name="T3" fmla="*/ 130 h 331"/>
                  <a:gd name="T4" fmla="*/ 239 w 304"/>
                  <a:gd name="T5" fmla="*/ 82 h 331"/>
                  <a:gd name="T6" fmla="*/ 168 w 304"/>
                  <a:gd name="T7" fmla="*/ 20 h 331"/>
                  <a:gd name="T8" fmla="*/ 139 w 304"/>
                  <a:gd name="T9" fmla="*/ 33 h 331"/>
                  <a:gd name="T10" fmla="*/ 55 w 304"/>
                  <a:gd name="T11" fmla="*/ 0 h 331"/>
                  <a:gd name="T12" fmla="*/ 11 w 304"/>
                  <a:gd name="T13" fmla="*/ 17 h 331"/>
                  <a:gd name="T14" fmla="*/ 0 w 304"/>
                  <a:gd name="T15" fmla="*/ 50 h 331"/>
                  <a:gd name="T16" fmla="*/ 46 w 304"/>
                  <a:gd name="T17" fmla="*/ 81 h 331"/>
                  <a:gd name="T18" fmla="*/ 85 w 304"/>
                  <a:gd name="T19" fmla="*/ 135 h 331"/>
                  <a:gd name="T20" fmla="*/ 160 w 304"/>
                  <a:gd name="T21" fmla="*/ 189 h 331"/>
                  <a:gd name="T22" fmla="*/ 171 w 304"/>
                  <a:gd name="T23" fmla="*/ 280 h 331"/>
                  <a:gd name="T24" fmla="*/ 199 w 304"/>
                  <a:gd name="T25" fmla="*/ 331 h 331"/>
                  <a:gd name="T26" fmla="*/ 214 w 304"/>
                  <a:gd name="T27" fmla="*/ 323 h 331"/>
                  <a:gd name="T28" fmla="*/ 241 w 304"/>
                  <a:gd name="T29" fmla="*/ 274 h 331"/>
                  <a:gd name="T30" fmla="*/ 241 w 304"/>
                  <a:gd name="T31" fmla="*/ 234 h 331"/>
                  <a:gd name="T32" fmla="*/ 290 w 304"/>
                  <a:gd name="T33" fmla="*/ 212 h 331"/>
                  <a:gd name="T34" fmla="*/ 304 w 304"/>
                  <a:gd name="T35" fmla="*/ 181 h 331"/>
                  <a:gd name="T36" fmla="*/ 285 w 304"/>
                  <a:gd name="T37" fmla="*/ 15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4" h="331">
                    <a:moveTo>
                      <a:pt x="285" y="150"/>
                    </a:moveTo>
                    <a:lnTo>
                      <a:pt x="253" y="130"/>
                    </a:lnTo>
                    <a:lnTo>
                      <a:pt x="239" y="82"/>
                    </a:lnTo>
                    <a:lnTo>
                      <a:pt x="168" y="20"/>
                    </a:lnTo>
                    <a:lnTo>
                      <a:pt x="139" y="33"/>
                    </a:lnTo>
                    <a:lnTo>
                      <a:pt x="55" y="0"/>
                    </a:lnTo>
                    <a:lnTo>
                      <a:pt x="11" y="17"/>
                    </a:lnTo>
                    <a:lnTo>
                      <a:pt x="0" y="50"/>
                    </a:lnTo>
                    <a:lnTo>
                      <a:pt x="46" y="81"/>
                    </a:lnTo>
                    <a:lnTo>
                      <a:pt x="85" y="135"/>
                    </a:lnTo>
                    <a:lnTo>
                      <a:pt x="160" y="189"/>
                    </a:lnTo>
                    <a:lnTo>
                      <a:pt x="171" y="280"/>
                    </a:lnTo>
                    <a:lnTo>
                      <a:pt x="199" y="331"/>
                    </a:lnTo>
                    <a:lnTo>
                      <a:pt x="214" y="323"/>
                    </a:lnTo>
                    <a:lnTo>
                      <a:pt x="241" y="274"/>
                    </a:lnTo>
                    <a:lnTo>
                      <a:pt x="241" y="234"/>
                    </a:lnTo>
                    <a:lnTo>
                      <a:pt x="290" y="212"/>
                    </a:lnTo>
                    <a:lnTo>
                      <a:pt x="304" y="181"/>
                    </a:lnTo>
                    <a:lnTo>
                      <a:pt x="285" y="15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5" name="Freeform 46">
                <a:extLst>
                  <a:ext uri="{FF2B5EF4-FFF2-40B4-BE49-F238E27FC236}">
                    <a16:creationId xmlns:a16="http://schemas.microsoft.com/office/drawing/2014/main" xmlns="" id="{5C84B404-089E-4AFD-A7C1-FDDE97444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" y="3498"/>
                <a:ext cx="247" cy="162"/>
              </a:xfrm>
              <a:custGeom>
                <a:avLst/>
                <a:gdLst>
                  <a:gd name="T0" fmla="*/ 181 w 247"/>
                  <a:gd name="T1" fmla="*/ 0 h 162"/>
                  <a:gd name="T2" fmla="*/ 225 w 247"/>
                  <a:gd name="T3" fmla="*/ 26 h 162"/>
                  <a:gd name="T4" fmla="*/ 247 w 247"/>
                  <a:gd name="T5" fmla="*/ 80 h 162"/>
                  <a:gd name="T6" fmla="*/ 222 w 247"/>
                  <a:gd name="T7" fmla="*/ 108 h 162"/>
                  <a:gd name="T8" fmla="*/ 185 w 247"/>
                  <a:gd name="T9" fmla="*/ 114 h 162"/>
                  <a:gd name="T10" fmla="*/ 156 w 247"/>
                  <a:gd name="T11" fmla="*/ 139 h 162"/>
                  <a:gd name="T12" fmla="*/ 63 w 247"/>
                  <a:gd name="T13" fmla="*/ 162 h 162"/>
                  <a:gd name="T14" fmla="*/ 45 w 247"/>
                  <a:gd name="T15" fmla="*/ 147 h 162"/>
                  <a:gd name="T16" fmla="*/ 28 w 247"/>
                  <a:gd name="T17" fmla="*/ 139 h 162"/>
                  <a:gd name="T18" fmla="*/ 0 w 247"/>
                  <a:gd name="T19" fmla="*/ 93 h 162"/>
                  <a:gd name="T20" fmla="*/ 2 w 247"/>
                  <a:gd name="T21" fmla="*/ 34 h 162"/>
                  <a:gd name="T22" fmla="*/ 96 w 247"/>
                  <a:gd name="T23" fmla="*/ 9 h 162"/>
                  <a:gd name="T24" fmla="*/ 181 w 247"/>
                  <a:gd name="T2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162">
                    <a:moveTo>
                      <a:pt x="181" y="0"/>
                    </a:moveTo>
                    <a:lnTo>
                      <a:pt x="225" y="26"/>
                    </a:lnTo>
                    <a:lnTo>
                      <a:pt x="247" y="80"/>
                    </a:lnTo>
                    <a:lnTo>
                      <a:pt x="222" y="108"/>
                    </a:lnTo>
                    <a:lnTo>
                      <a:pt x="185" y="114"/>
                    </a:lnTo>
                    <a:lnTo>
                      <a:pt x="156" y="139"/>
                    </a:lnTo>
                    <a:lnTo>
                      <a:pt x="63" y="162"/>
                    </a:lnTo>
                    <a:lnTo>
                      <a:pt x="45" y="147"/>
                    </a:lnTo>
                    <a:lnTo>
                      <a:pt x="28" y="139"/>
                    </a:lnTo>
                    <a:lnTo>
                      <a:pt x="0" y="93"/>
                    </a:lnTo>
                    <a:lnTo>
                      <a:pt x="2" y="34"/>
                    </a:lnTo>
                    <a:lnTo>
                      <a:pt x="96" y="9"/>
                    </a:lnTo>
                    <a:lnTo>
                      <a:pt x="18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6" name="Freeform 47">
                <a:extLst>
                  <a:ext uri="{FF2B5EF4-FFF2-40B4-BE49-F238E27FC236}">
                    <a16:creationId xmlns:a16="http://schemas.microsoft.com/office/drawing/2014/main" xmlns="" id="{04125566-57C3-41A4-BAE0-78FC91A4F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5" y="2600"/>
                <a:ext cx="71" cy="79"/>
              </a:xfrm>
              <a:custGeom>
                <a:avLst/>
                <a:gdLst>
                  <a:gd name="T0" fmla="*/ 45 w 71"/>
                  <a:gd name="T1" fmla="*/ 28 h 79"/>
                  <a:gd name="T2" fmla="*/ 34 w 71"/>
                  <a:gd name="T3" fmla="*/ 0 h 79"/>
                  <a:gd name="T4" fmla="*/ 15 w 71"/>
                  <a:gd name="T5" fmla="*/ 3 h 79"/>
                  <a:gd name="T6" fmla="*/ 0 w 71"/>
                  <a:gd name="T7" fmla="*/ 39 h 79"/>
                  <a:gd name="T8" fmla="*/ 8 w 71"/>
                  <a:gd name="T9" fmla="*/ 74 h 79"/>
                  <a:gd name="T10" fmla="*/ 60 w 71"/>
                  <a:gd name="T11" fmla="*/ 79 h 79"/>
                  <a:gd name="T12" fmla="*/ 71 w 71"/>
                  <a:gd name="T13" fmla="*/ 53 h 79"/>
                  <a:gd name="T14" fmla="*/ 45 w 71"/>
                  <a:gd name="T15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1" h="79">
                    <a:moveTo>
                      <a:pt x="45" y="28"/>
                    </a:moveTo>
                    <a:lnTo>
                      <a:pt x="34" y="0"/>
                    </a:lnTo>
                    <a:lnTo>
                      <a:pt x="15" y="3"/>
                    </a:lnTo>
                    <a:lnTo>
                      <a:pt x="0" y="39"/>
                    </a:lnTo>
                    <a:lnTo>
                      <a:pt x="8" y="74"/>
                    </a:lnTo>
                    <a:lnTo>
                      <a:pt x="60" y="79"/>
                    </a:lnTo>
                    <a:lnTo>
                      <a:pt x="71" y="53"/>
                    </a:lnTo>
                    <a:lnTo>
                      <a:pt x="45" y="2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7" name="Freeform 48">
                <a:extLst>
                  <a:ext uri="{FF2B5EF4-FFF2-40B4-BE49-F238E27FC236}">
                    <a16:creationId xmlns:a16="http://schemas.microsoft.com/office/drawing/2014/main" xmlns="" id="{1A952092-0742-400E-B2FA-3288F0D39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1757"/>
                <a:ext cx="419" cy="304"/>
              </a:xfrm>
              <a:custGeom>
                <a:avLst/>
                <a:gdLst>
                  <a:gd name="T0" fmla="*/ 0 w 419"/>
                  <a:gd name="T1" fmla="*/ 88 h 304"/>
                  <a:gd name="T2" fmla="*/ 34 w 419"/>
                  <a:gd name="T3" fmla="*/ 57 h 304"/>
                  <a:gd name="T4" fmla="*/ 96 w 419"/>
                  <a:gd name="T5" fmla="*/ 34 h 304"/>
                  <a:gd name="T6" fmla="*/ 213 w 419"/>
                  <a:gd name="T7" fmla="*/ 12 h 304"/>
                  <a:gd name="T8" fmla="*/ 244 w 419"/>
                  <a:gd name="T9" fmla="*/ 0 h 304"/>
                  <a:gd name="T10" fmla="*/ 278 w 419"/>
                  <a:gd name="T11" fmla="*/ 17 h 304"/>
                  <a:gd name="T12" fmla="*/ 402 w 419"/>
                  <a:gd name="T13" fmla="*/ 54 h 304"/>
                  <a:gd name="T14" fmla="*/ 419 w 419"/>
                  <a:gd name="T15" fmla="*/ 106 h 304"/>
                  <a:gd name="T16" fmla="*/ 388 w 419"/>
                  <a:gd name="T17" fmla="*/ 123 h 304"/>
                  <a:gd name="T18" fmla="*/ 349 w 419"/>
                  <a:gd name="T19" fmla="*/ 196 h 304"/>
                  <a:gd name="T20" fmla="*/ 371 w 419"/>
                  <a:gd name="T21" fmla="*/ 236 h 304"/>
                  <a:gd name="T22" fmla="*/ 334 w 419"/>
                  <a:gd name="T23" fmla="*/ 253 h 304"/>
                  <a:gd name="T24" fmla="*/ 294 w 419"/>
                  <a:gd name="T25" fmla="*/ 293 h 304"/>
                  <a:gd name="T26" fmla="*/ 234 w 419"/>
                  <a:gd name="T27" fmla="*/ 304 h 304"/>
                  <a:gd name="T28" fmla="*/ 221 w 419"/>
                  <a:gd name="T29" fmla="*/ 285 h 304"/>
                  <a:gd name="T30" fmla="*/ 159 w 419"/>
                  <a:gd name="T31" fmla="*/ 258 h 304"/>
                  <a:gd name="T32" fmla="*/ 152 w 419"/>
                  <a:gd name="T33" fmla="*/ 214 h 304"/>
                  <a:gd name="T34" fmla="*/ 122 w 419"/>
                  <a:gd name="T35" fmla="*/ 188 h 304"/>
                  <a:gd name="T36" fmla="*/ 56 w 419"/>
                  <a:gd name="T37" fmla="*/ 177 h 304"/>
                  <a:gd name="T38" fmla="*/ 11 w 419"/>
                  <a:gd name="T39" fmla="*/ 154 h 304"/>
                  <a:gd name="T40" fmla="*/ 0 w 419"/>
                  <a:gd name="T41" fmla="*/ 88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19" h="304">
                    <a:moveTo>
                      <a:pt x="0" y="88"/>
                    </a:moveTo>
                    <a:lnTo>
                      <a:pt x="34" y="57"/>
                    </a:lnTo>
                    <a:lnTo>
                      <a:pt x="96" y="34"/>
                    </a:lnTo>
                    <a:lnTo>
                      <a:pt x="213" y="12"/>
                    </a:lnTo>
                    <a:lnTo>
                      <a:pt x="244" y="0"/>
                    </a:lnTo>
                    <a:lnTo>
                      <a:pt x="278" y="17"/>
                    </a:lnTo>
                    <a:lnTo>
                      <a:pt x="402" y="54"/>
                    </a:lnTo>
                    <a:lnTo>
                      <a:pt x="419" y="106"/>
                    </a:lnTo>
                    <a:lnTo>
                      <a:pt x="388" y="123"/>
                    </a:lnTo>
                    <a:lnTo>
                      <a:pt x="349" y="196"/>
                    </a:lnTo>
                    <a:lnTo>
                      <a:pt x="371" y="236"/>
                    </a:lnTo>
                    <a:lnTo>
                      <a:pt x="334" y="253"/>
                    </a:lnTo>
                    <a:lnTo>
                      <a:pt x="294" y="293"/>
                    </a:lnTo>
                    <a:lnTo>
                      <a:pt x="234" y="304"/>
                    </a:lnTo>
                    <a:lnTo>
                      <a:pt x="221" y="285"/>
                    </a:lnTo>
                    <a:lnTo>
                      <a:pt x="159" y="258"/>
                    </a:lnTo>
                    <a:lnTo>
                      <a:pt x="152" y="214"/>
                    </a:lnTo>
                    <a:lnTo>
                      <a:pt x="122" y="188"/>
                    </a:lnTo>
                    <a:lnTo>
                      <a:pt x="56" y="177"/>
                    </a:lnTo>
                    <a:lnTo>
                      <a:pt x="11" y="154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8" name="Freeform 49">
                <a:extLst>
                  <a:ext uri="{FF2B5EF4-FFF2-40B4-BE49-F238E27FC236}">
                    <a16:creationId xmlns:a16="http://schemas.microsoft.com/office/drawing/2014/main" xmlns="" id="{0DC5D46F-50AD-42A8-99D0-F1020F2ED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" y="2948"/>
                <a:ext cx="33" cy="46"/>
              </a:xfrm>
              <a:custGeom>
                <a:avLst/>
                <a:gdLst>
                  <a:gd name="T0" fmla="*/ 10 w 33"/>
                  <a:gd name="T1" fmla="*/ 0 h 46"/>
                  <a:gd name="T2" fmla="*/ 33 w 33"/>
                  <a:gd name="T3" fmla="*/ 32 h 46"/>
                  <a:gd name="T4" fmla="*/ 25 w 33"/>
                  <a:gd name="T5" fmla="*/ 46 h 46"/>
                  <a:gd name="T6" fmla="*/ 0 w 33"/>
                  <a:gd name="T7" fmla="*/ 35 h 46"/>
                  <a:gd name="T8" fmla="*/ 10 w 3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6">
                    <a:moveTo>
                      <a:pt x="10" y="0"/>
                    </a:moveTo>
                    <a:lnTo>
                      <a:pt x="33" y="32"/>
                    </a:lnTo>
                    <a:lnTo>
                      <a:pt x="25" y="46"/>
                    </a:lnTo>
                    <a:lnTo>
                      <a:pt x="0" y="35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9" name="Freeform 50">
                <a:extLst>
                  <a:ext uri="{FF2B5EF4-FFF2-40B4-BE49-F238E27FC236}">
                    <a16:creationId xmlns:a16="http://schemas.microsoft.com/office/drawing/2014/main" xmlns="" id="{244452B9-84F1-42AF-8EC8-7EB2EC3CA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" y="1550"/>
                <a:ext cx="491" cy="295"/>
              </a:xfrm>
              <a:custGeom>
                <a:avLst/>
                <a:gdLst>
                  <a:gd name="T0" fmla="*/ 196 w 491"/>
                  <a:gd name="T1" fmla="*/ 35 h 295"/>
                  <a:gd name="T2" fmla="*/ 244 w 491"/>
                  <a:gd name="T3" fmla="*/ 0 h 295"/>
                  <a:gd name="T4" fmla="*/ 345 w 491"/>
                  <a:gd name="T5" fmla="*/ 58 h 295"/>
                  <a:gd name="T6" fmla="*/ 395 w 491"/>
                  <a:gd name="T7" fmla="*/ 49 h 295"/>
                  <a:gd name="T8" fmla="*/ 423 w 491"/>
                  <a:gd name="T9" fmla="*/ 71 h 295"/>
                  <a:gd name="T10" fmla="*/ 439 w 491"/>
                  <a:gd name="T11" fmla="*/ 119 h 295"/>
                  <a:gd name="T12" fmla="*/ 491 w 491"/>
                  <a:gd name="T13" fmla="*/ 199 h 295"/>
                  <a:gd name="T14" fmla="*/ 463 w 491"/>
                  <a:gd name="T15" fmla="*/ 234 h 295"/>
                  <a:gd name="T16" fmla="*/ 408 w 491"/>
                  <a:gd name="T17" fmla="*/ 261 h 295"/>
                  <a:gd name="T18" fmla="*/ 284 w 491"/>
                  <a:gd name="T19" fmla="*/ 224 h 295"/>
                  <a:gd name="T20" fmla="*/ 250 w 491"/>
                  <a:gd name="T21" fmla="*/ 207 h 295"/>
                  <a:gd name="T22" fmla="*/ 219 w 491"/>
                  <a:gd name="T23" fmla="*/ 219 h 295"/>
                  <a:gd name="T24" fmla="*/ 102 w 491"/>
                  <a:gd name="T25" fmla="*/ 241 h 295"/>
                  <a:gd name="T26" fmla="*/ 40 w 491"/>
                  <a:gd name="T27" fmla="*/ 264 h 295"/>
                  <a:gd name="T28" fmla="*/ 6 w 491"/>
                  <a:gd name="T29" fmla="*/ 295 h 295"/>
                  <a:gd name="T30" fmla="*/ 0 w 491"/>
                  <a:gd name="T31" fmla="*/ 166 h 295"/>
                  <a:gd name="T32" fmla="*/ 37 w 491"/>
                  <a:gd name="T33" fmla="*/ 100 h 295"/>
                  <a:gd name="T34" fmla="*/ 84 w 491"/>
                  <a:gd name="T35" fmla="*/ 81 h 295"/>
                  <a:gd name="T36" fmla="*/ 102 w 491"/>
                  <a:gd name="T37" fmla="*/ 111 h 295"/>
                  <a:gd name="T38" fmla="*/ 138 w 491"/>
                  <a:gd name="T39" fmla="*/ 126 h 295"/>
                  <a:gd name="T40" fmla="*/ 165 w 491"/>
                  <a:gd name="T41" fmla="*/ 153 h 295"/>
                  <a:gd name="T42" fmla="*/ 198 w 491"/>
                  <a:gd name="T43" fmla="*/ 151 h 295"/>
                  <a:gd name="T44" fmla="*/ 210 w 491"/>
                  <a:gd name="T45" fmla="*/ 120 h 295"/>
                  <a:gd name="T46" fmla="*/ 196 w 491"/>
                  <a:gd name="T47" fmla="*/ 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1" h="295">
                    <a:moveTo>
                      <a:pt x="196" y="35"/>
                    </a:moveTo>
                    <a:lnTo>
                      <a:pt x="244" y="0"/>
                    </a:lnTo>
                    <a:lnTo>
                      <a:pt x="345" y="58"/>
                    </a:lnTo>
                    <a:lnTo>
                      <a:pt x="395" y="49"/>
                    </a:lnTo>
                    <a:lnTo>
                      <a:pt x="423" y="71"/>
                    </a:lnTo>
                    <a:lnTo>
                      <a:pt x="439" y="119"/>
                    </a:lnTo>
                    <a:lnTo>
                      <a:pt x="491" y="199"/>
                    </a:lnTo>
                    <a:lnTo>
                      <a:pt x="463" y="234"/>
                    </a:lnTo>
                    <a:lnTo>
                      <a:pt x="408" y="261"/>
                    </a:lnTo>
                    <a:lnTo>
                      <a:pt x="284" y="224"/>
                    </a:lnTo>
                    <a:lnTo>
                      <a:pt x="250" y="207"/>
                    </a:lnTo>
                    <a:lnTo>
                      <a:pt x="219" y="219"/>
                    </a:lnTo>
                    <a:lnTo>
                      <a:pt x="102" y="241"/>
                    </a:lnTo>
                    <a:lnTo>
                      <a:pt x="40" y="264"/>
                    </a:lnTo>
                    <a:lnTo>
                      <a:pt x="6" y="295"/>
                    </a:lnTo>
                    <a:lnTo>
                      <a:pt x="0" y="166"/>
                    </a:lnTo>
                    <a:lnTo>
                      <a:pt x="37" y="100"/>
                    </a:lnTo>
                    <a:lnTo>
                      <a:pt x="84" y="81"/>
                    </a:lnTo>
                    <a:lnTo>
                      <a:pt x="102" y="111"/>
                    </a:lnTo>
                    <a:lnTo>
                      <a:pt x="138" y="126"/>
                    </a:lnTo>
                    <a:lnTo>
                      <a:pt x="165" y="153"/>
                    </a:lnTo>
                    <a:lnTo>
                      <a:pt x="198" y="151"/>
                    </a:lnTo>
                    <a:lnTo>
                      <a:pt x="210" y="120"/>
                    </a:lnTo>
                    <a:lnTo>
                      <a:pt x="196" y="3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0" name="Freeform 51">
                <a:extLst>
                  <a:ext uri="{FF2B5EF4-FFF2-40B4-BE49-F238E27FC236}">
                    <a16:creationId xmlns:a16="http://schemas.microsoft.com/office/drawing/2014/main" xmlns="" id="{A1A6F5A8-EBB3-432A-A0BD-AE16BD170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8" y="2976"/>
                <a:ext cx="1081" cy="1097"/>
              </a:xfrm>
              <a:custGeom>
                <a:avLst/>
                <a:gdLst>
                  <a:gd name="T0" fmla="*/ 997 w 1081"/>
                  <a:gd name="T1" fmla="*/ 740 h 1097"/>
                  <a:gd name="T2" fmla="*/ 899 w 1081"/>
                  <a:gd name="T3" fmla="*/ 690 h 1097"/>
                  <a:gd name="T4" fmla="*/ 829 w 1081"/>
                  <a:gd name="T5" fmla="*/ 644 h 1097"/>
                  <a:gd name="T6" fmla="*/ 840 w 1081"/>
                  <a:gd name="T7" fmla="*/ 615 h 1097"/>
                  <a:gd name="T8" fmla="*/ 720 w 1081"/>
                  <a:gd name="T9" fmla="*/ 605 h 1097"/>
                  <a:gd name="T10" fmla="*/ 601 w 1081"/>
                  <a:gd name="T11" fmla="*/ 440 h 1097"/>
                  <a:gd name="T12" fmla="*/ 503 w 1081"/>
                  <a:gd name="T13" fmla="*/ 375 h 1097"/>
                  <a:gd name="T14" fmla="*/ 489 w 1081"/>
                  <a:gd name="T15" fmla="*/ 293 h 1097"/>
                  <a:gd name="T16" fmla="*/ 506 w 1081"/>
                  <a:gd name="T17" fmla="*/ 272 h 1097"/>
                  <a:gd name="T18" fmla="*/ 485 w 1081"/>
                  <a:gd name="T19" fmla="*/ 222 h 1097"/>
                  <a:gd name="T20" fmla="*/ 519 w 1081"/>
                  <a:gd name="T21" fmla="*/ 193 h 1097"/>
                  <a:gd name="T22" fmla="*/ 562 w 1081"/>
                  <a:gd name="T23" fmla="*/ 173 h 1097"/>
                  <a:gd name="T24" fmla="*/ 596 w 1081"/>
                  <a:gd name="T25" fmla="*/ 167 h 1097"/>
                  <a:gd name="T26" fmla="*/ 571 w 1081"/>
                  <a:gd name="T27" fmla="*/ 111 h 1097"/>
                  <a:gd name="T28" fmla="*/ 557 w 1081"/>
                  <a:gd name="T29" fmla="*/ 60 h 1097"/>
                  <a:gd name="T30" fmla="*/ 457 w 1081"/>
                  <a:gd name="T31" fmla="*/ 14 h 1097"/>
                  <a:gd name="T32" fmla="*/ 439 w 1081"/>
                  <a:gd name="T33" fmla="*/ 4 h 1097"/>
                  <a:gd name="T34" fmla="*/ 372 w 1081"/>
                  <a:gd name="T35" fmla="*/ 20 h 1097"/>
                  <a:gd name="T36" fmla="*/ 318 w 1081"/>
                  <a:gd name="T37" fmla="*/ 37 h 1097"/>
                  <a:gd name="T38" fmla="*/ 317 w 1081"/>
                  <a:gd name="T39" fmla="*/ 65 h 1097"/>
                  <a:gd name="T40" fmla="*/ 290 w 1081"/>
                  <a:gd name="T41" fmla="*/ 97 h 1097"/>
                  <a:gd name="T42" fmla="*/ 255 w 1081"/>
                  <a:gd name="T43" fmla="*/ 99 h 1097"/>
                  <a:gd name="T44" fmla="*/ 218 w 1081"/>
                  <a:gd name="T45" fmla="*/ 94 h 1097"/>
                  <a:gd name="T46" fmla="*/ 201 w 1081"/>
                  <a:gd name="T47" fmla="*/ 153 h 1097"/>
                  <a:gd name="T48" fmla="*/ 151 w 1081"/>
                  <a:gd name="T49" fmla="*/ 89 h 1097"/>
                  <a:gd name="T50" fmla="*/ 93 w 1081"/>
                  <a:gd name="T51" fmla="*/ 142 h 1097"/>
                  <a:gd name="T52" fmla="*/ 25 w 1081"/>
                  <a:gd name="T53" fmla="*/ 143 h 1097"/>
                  <a:gd name="T54" fmla="*/ 17 w 1081"/>
                  <a:gd name="T55" fmla="*/ 219 h 1097"/>
                  <a:gd name="T56" fmla="*/ 11 w 1081"/>
                  <a:gd name="T57" fmla="*/ 286 h 1097"/>
                  <a:gd name="T58" fmla="*/ 33 w 1081"/>
                  <a:gd name="T59" fmla="*/ 374 h 1097"/>
                  <a:gd name="T60" fmla="*/ 73 w 1081"/>
                  <a:gd name="T61" fmla="*/ 403 h 1097"/>
                  <a:gd name="T62" fmla="*/ 121 w 1081"/>
                  <a:gd name="T63" fmla="*/ 388 h 1097"/>
                  <a:gd name="T64" fmla="*/ 190 w 1081"/>
                  <a:gd name="T65" fmla="*/ 343 h 1097"/>
                  <a:gd name="T66" fmla="*/ 273 w 1081"/>
                  <a:gd name="T67" fmla="*/ 384 h 1097"/>
                  <a:gd name="T68" fmla="*/ 298 w 1081"/>
                  <a:gd name="T69" fmla="*/ 438 h 1097"/>
                  <a:gd name="T70" fmla="*/ 315 w 1081"/>
                  <a:gd name="T71" fmla="*/ 503 h 1097"/>
                  <a:gd name="T72" fmla="*/ 330 w 1081"/>
                  <a:gd name="T73" fmla="*/ 519 h 1097"/>
                  <a:gd name="T74" fmla="*/ 383 w 1081"/>
                  <a:gd name="T75" fmla="*/ 571 h 1097"/>
                  <a:gd name="T76" fmla="*/ 411 w 1081"/>
                  <a:gd name="T77" fmla="*/ 585 h 1097"/>
                  <a:gd name="T78" fmla="*/ 525 w 1081"/>
                  <a:gd name="T79" fmla="*/ 681 h 1097"/>
                  <a:gd name="T80" fmla="*/ 562 w 1081"/>
                  <a:gd name="T81" fmla="*/ 715 h 1097"/>
                  <a:gd name="T82" fmla="*/ 579 w 1081"/>
                  <a:gd name="T83" fmla="*/ 718 h 1097"/>
                  <a:gd name="T84" fmla="*/ 656 w 1081"/>
                  <a:gd name="T85" fmla="*/ 741 h 1097"/>
                  <a:gd name="T86" fmla="*/ 673 w 1081"/>
                  <a:gd name="T87" fmla="*/ 766 h 1097"/>
                  <a:gd name="T88" fmla="*/ 716 w 1081"/>
                  <a:gd name="T89" fmla="*/ 771 h 1097"/>
                  <a:gd name="T90" fmla="*/ 741 w 1081"/>
                  <a:gd name="T91" fmla="*/ 817 h 1097"/>
                  <a:gd name="T92" fmla="*/ 814 w 1081"/>
                  <a:gd name="T93" fmla="*/ 843 h 1097"/>
                  <a:gd name="T94" fmla="*/ 854 w 1081"/>
                  <a:gd name="T95" fmla="*/ 922 h 1097"/>
                  <a:gd name="T96" fmla="*/ 880 w 1081"/>
                  <a:gd name="T97" fmla="*/ 990 h 1097"/>
                  <a:gd name="T98" fmla="*/ 857 w 1081"/>
                  <a:gd name="T99" fmla="*/ 1040 h 1097"/>
                  <a:gd name="T100" fmla="*/ 846 w 1081"/>
                  <a:gd name="T101" fmla="*/ 1097 h 1097"/>
                  <a:gd name="T102" fmla="*/ 906 w 1081"/>
                  <a:gd name="T103" fmla="*/ 1047 h 1097"/>
                  <a:gd name="T104" fmla="*/ 925 w 1081"/>
                  <a:gd name="T105" fmla="*/ 993 h 1097"/>
                  <a:gd name="T106" fmla="*/ 965 w 1081"/>
                  <a:gd name="T107" fmla="*/ 967 h 1097"/>
                  <a:gd name="T108" fmla="*/ 957 w 1081"/>
                  <a:gd name="T109" fmla="*/ 913 h 1097"/>
                  <a:gd name="T110" fmla="*/ 936 w 1081"/>
                  <a:gd name="T111" fmla="*/ 891 h 1097"/>
                  <a:gd name="T112" fmla="*/ 909 w 1081"/>
                  <a:gd name="T113" fmla="*/ 870 h 1097"/>
                  <a:gd name="T114" fmla="*/ 914 w 1081"/>
                  <a:gd name="T115" fmla="*/ 834 h 1097"/>
                  <a:gd name="T116" fmla="*/ 942 w 1081"/>
                  <a:gd name="T117" fmla="*/ 789 h 1097"/>
                  <a:gd name="T118" fmla="*/ 1033 w 1081"/>
                  <a:gd name="T119" fmla="*/ 826 h 1097"/>
                  <a:gd name="T120" fmla="*/ 1070 w 1081"/>
                  <a:gd name="T121" fmla="*/ 857 h 1097"/>
                  <a:gd name="T122" fmla="*/ 1079 w 1081"/>
                  <a:gd name="T123" fmla="*/ 805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81" h="1097">
                    <a:moveTo>
                      <a:pt x="1059" y="788"/>
                    </a:moveTo>
                    <a:lnTo>
                      <a:pt x="997" y="740"/>
                    </a:lnTo>
                    <a:lnTo>
                      <a:pt x="954" y="731"/>
                    </a:lnTo>
                    <a:lnTo>
                      <a:pt x="899" y="690"/>
                    </a:lnTo>
                    <a:lnTo>
                      <a:pt x="829" y="652"/>
                    </a:lnTo>
                    <a:lnTo>
                      <a:pt x="829" y="644"/>
                    </a:lnTo>
                    <a:lnTo>
                      <a:pt x="846" y="630"/>
                    </a:lnTo>
                    <a:lnTo>
                      <a:pt x="840" y="615"/>
                    </a:lnTo>
                    <a:lnTo>
                      <a:pt x="747" y="616"/>
                    </a:lnTo>
                    <a:lnTo>
                      <a:pt x="720" y="605"/>
                    </a:lnTo>
                    <a:lnTo>
                      <a:pt x="652" y="540"/>
                    </a:lnTo>
                    <a:lnTo>
                      <a:pt x="601" y="440"/>
                    </a:lnTo>
                    <a:lnTo>
                      <a:pt x="582" y="423"/>
                    </a:lnTo>
                    <a:lnTo>
                      <a:pt x="503" y="375"/>
                    </a:lnTo>
                    <a:lnTo>
                      <a:pt x="493" y="357"/>
                    </a:lnTo>
                    <a:lnTo>
                      <a:pt x="489" y="293"/>
                    </a:lnTo>
                    <a:lnTo>
                      <a:pt x="502" y="287"/>
                    </a:lnTo>
                    <a:lnTo>
                      <a:pt x="506" y="272"/>
                    </a:lnTo>
                    <a:lnTo>
                      <a:pt x="494" y="259"/>
                    </a:lnTo>
                    <a:lnTo>
                      <a:pt x="485" y="222"/>
                    </a:lnTo>
                    <a:lnTo>
                      <a:pt x="493" y="222"/>
                    </a:lnTo>
                    <a:lnTo>
                      <a:pt x="519" y="193"/>
                    </a:lnTo>
                    <a:lnTo>
                      <a:pt x="542" y="187"/>
                    </a:lnTo>
                    <a:lnTo>
                      <a:pt x="562" y="173"/>
                    </a:lnTo>
                    <a:lnTo>
                      <a:pt x="574" y="184"/>
                    </a:lnTo>
                    <a:lnTo>
                      <a:pt x="596" y="167"/>
                    </a:lnTo>
                    <a:lnTo>
                      <a:pt x="593" y="140"/>
                    </a:lnTo>
                    <a:lnTo>
                      <a:pt x="571" y="111"/>
                    </a:lnTo>
                    <a:lnTo>
                      <a:pt x="573" y="78"/>
                    </a:lnTo>
                    <a:lnTo>
                      <a:pt x="557" y="60"/>
                    </a:lnTo>
                    <a:lnTo>
                      <a:pt x="502" y="55"/>
                    </a:lnTo>
                    <a:lnTo>
                      <a:pt x="457" y="14"/>
                    </a:lnTo>
                    <a:lnTo>
                      <a:pt x="454" y="0"/>
                    </a:lnTo>
                    <a:lnTo>
                      <a:pt x="439" y="4"/>
                    </a:lnTo>
                    <a:lnTo>
                      <a:pt x="408" y="24"/>
                    </a:lnTo>
                    <a:lnTo>
                      <a:pt x="372" y="20"/>
                    </a:lnTo>
                    <a:lnTo>
                      <a:pt x="355" y="43"/>
                    </a:lnTo>
                    <a:lnTo>
                      <a:pt x="318" y="37"/>
                    </a:lnTo>
                    <a:lnTo>
                      <a:pt x="304" y="45"/>
                    </a:lnTo>
                    <a:lnTo>
                      <a:pt x="317" y="65"/>
                    </a:lnTo>
                    <a:lnTo>
                      <a:pt x="298" y="63"/>
                    </a:lnTo>
                    <a:lnTo>
                      <a:pt x="290" y="97"/>
                    </a:lnTo>
                    <a:lnTo>
                      <a:pt x="272" y="92"/>
                    </a:lnTo>
                    <a:lnTo>
                      <a:pt x="255" y="99"/>
                    </a:lnTo>
                    <a:lnTo>
                      <a:pt x="226" y="83"/>
                    </a:lnTo>
                    <a:lnTo>
                      <a:pt x="218" y="94"/>
                    </a:lnTo>
                    <a:lnTo>
                      <a:pt x="212" y="154"/>
                    </a:lnTo>
                    <a:lnTo>
                      <a:pt x="201" y="153"/>
                    </a:lnTo>
                    <a:lnTo>
                      <a:pt x="164" y="125"/>
                    </a:lnTo>
                    <a:lnTo>
                      <a:pt x="151" y="89"/>
                    </a:lnTo>
                    <a:lnTo>
                      <a:pt x="110" y="106"/>
                    </a:lnTo>
                    <a:lnTo>
                      <a:pt x="93" y="142"/>
                    </a:lnTo>
                    <a:lnTo>
                      <a:pt x="66" y="153"/>
                    </a:lnTo>
                    <a:lnTo>
                      <a:pt x="25" y="143"/>
                    </a:lnTo>
                    <a:lnTo>
                      <a:pt x="16" y="179"/>
                    </a:lnTo>
                    <a:lnTo>
                      <a:pt x="17" y="219"/>
                    </a:lnTo>
                    <a:lnTo>
                      <a:pt x="0" y="247"/>
                    </a:lnTo>
                    <a:lnTo>
                      <a:pt x="11" y="286"/>
                    </a:lnTo>
                    <a:lnTo>
                      <a:pt x="16" y="357"/>
                    </a:lnTo>
                    <a:lnTo>
                      <a:pt x="33" y="374"/>
                    </a:lnTo>
                    <a:lnTo>
                      <a:pt x="65" y="378"/>
                    </a:lnTo>
                    <a:lnTo>
                      <a:pt x="73" y="403"/>
                    </a:lnTo>
                    <a:lnTo>
                      <a:pt x="96" y="401"/>
                    </a:lnTo>
                    <a:lnTo>
                      <a:pt x="121" y="388"/>
                    </a:lnTo>
                    <a:lnTo>
                      <a:pt x="161" y="346"/>
                    </a:lnTo>
                    <a:lnTo>
                      <a:pt x="190" y="343"/>
                    </a:lnTo>
                    <a:lnTo>
                      <a:pt x="258" y="384"/>
                    </a:lnTo>
                    <a:lnTo>
                      <a:pt x="273" y="384"/>
                    </a:lnTo>
                    <a:lnTo>
                      <a:pt x="297" y="403"/>
                    </a:lnTo>
                    <a:lnTo>
                      <a:pt x="298" y="438"/>
                    </a:lnTo>
                    <a:lnTo>
                      <a:pt x="318" y="472"/>
                    </a:lnTo>
                    <a:lnTo>
                      <a:pt x="315" y="503"/>
                    </a:lnTo>
                    <a:lnTo>
                      <a:pt x="317" y="516"/>
                    </a:lnTo>
                    <a:lnTo>
                      <a:pt x="330" y="519"/>
                    </a:lnTo>
                    <a:lnTo>
                      <a:pt x="375" y="544"/>
                    </a:lnTo>
                    <a:lnTo>
                      <a:pt x="383" y="571"/>
                    </a:lnTo>
                    <a:lnTo>
                      <a:pt x="388" y="581"/>
                    </a:lnTo>
                    <a:lnTo>
                      <a:pt x="411" y="585"/>
                    </a:lnTo>
                    <a:lnTo>
                      <a:pt x="471" y="630"/>
                    </a:lnTo>
                    <a:lnTo>
                      <a:pt x="525" y="681"/>
                    </a:lnTo>
                    <a:lnTo>
                      <a:pt x="553" y="697"/>
                    </a:lnTo>
                    <a:lnTo>
                      <a:pt x="562" y="715"/>
                    </a:lnTo>
                    <a:lnTo>
                      <a:pt x="570" y="724"/>
                    </a:lnTo>
                    <a:lnTo>
                      <a:pt x="579" y="718"/>
                    </a:lnTo>
                    <a:lnTo>
                      <a:pt x="622" y="715"/>
                    </a:lnTo>
                    <a:lnTo>
                      <a:pt x="656" y="741"/>
                    </a:lnTo>
                    <a:lnTo>
                      <a:pt x="661" y="763"/>
                    </a:lnTo>
                    <a:lnTo>
                      <a:pt x="673" y="766"/>
                    </a:lnTo>
                    <a:lnTo>
                      <a:pt x="676" y="778"/>
                    </a:lnTo>
                    <a:lnTo>
                      <a:pt x="716" y="771"/>
                    </a:lnTo>
                    <a:lnTo>
                      <a:pt x="740" y="795"/>
                    </a:lnTo>
                    <a:lnTo>
                      <a:pt x="741" y="817"/>
                    </a:lnTo>
                    <a:lnTo>
                      <a:pt x="781" y="845"/>
                    </a:lnTo>
                    <a:lnTo>
                      <a:pt x="814" y="843"/>
                    </a:lnTo>
                    <a:lnTo>
                      <a:pt x="832" y="890"/>
                    </a:lnTo>
                    <a:lnTo>
                      <a:pt x="854" y="922"/>
                    </a:lnTo>
                    <a:lnTo>
                      <a:pt x="862" y="956"/>
                    </a:lnTo>
                    <a:lnTo>
                      <a:pt x="880" y="990"/>
                    </a:lnTo>
                    <a:lnTo>
                      <a:pt x="865" y="1007"/>
                    </a:lnTo>
                    <a:lnTo>
                      <a:pt x="857" y="1040"/>
                    </a:lnTo>
                    <a:lnTo>
                      <a:pt x="835" y="1072"/>
                    </a:lnTo>
                    <a:lnTo>
                      <a:pt x="846" y="1097"/>
                    </a:lnTo>
                    <a:lnTo>
                      <a:pt x="877" y="1089"/>
                    </a:lnTo>
                    <a:lnTo>
                      <a:pt x="906" y="1047"/>
                    </a:lnTo>
                    <a:lnTo>
                      <a:pt x="923" y="1038"/>
                    </a:lnTo>
                    <a:lnTo>
                      <a:pt x="925" y="993"/>
                    </a:lnTo>
                    <a:lnTo>
                      <a:pt x="953" y="970"/>
                    </a:lnTo>
                    <a:lnTo>
                      <a:pt x="965" y="967"/>
                    </a:lnTo>
                    <a:lnTo>
                      <a:pt x="970" y="958"/>
                    </a:lnTo>
                    <a:lnTo>
                      <a:pt x="957" y="913"/>
                    </a:lnTo>
                    <a:lnTo>
                      <a:pt x="940" y="902"/>
                    </a:lnTo>
                    <a:lnTo>
                      <a:pt x="936" y="891"/>
                    </a:lnTo>
                    <a:lnTo>
                      <a:pt x="914" y="882"/>
                    </a:lnTo>
                    <a:lnTo>
                      <a:pt x="909" y="870"/>
                    </a:lnTo>
                    <a:lnTo>
                      <a:pt x="912" y="851"/>
                    </a:lnTo>
                    <a:lnTo>
                      <a:pt x="914" y="834"/>
                    </a:lnTo>
                    <a:lnTo>
                      <a:pt x="923" y="802"/>
                    </a:lnTo>
                    <a:lnTo>
                      <a:pt x="942" y="789"/>
                    </a:lnTo>
                    <a:lnTo>
                      <a:pt x="976" y="805"/>
                    </a:lnTo>
                    <a:lnTo>
                      <a:pt x="1033" y="826"/>
                    </a:lnTo>
                    <a:lnTo>
                      <a:pt x="1047" y="849"/>
                    </a:lnTo>
                    <a:lnTo>
                      <a:pt x="1070" y="857"/>
                    </a:lnTo>
                    <a:lnTo>
                      <a:pt x="1081" y="846"/>
                    </a:lnTo>
                    <a:lnTo>
                      <a:pt x="1079" y="805"/>
                    </a:lnTo>
                    <a:lnTo>
                      <a:pt x="1059" y="788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1" name="Freeform 52">
                <a:extLst>
                  <a:ext uri="{FF2B5EF4-FFF2-40B4-BE49-F238E27FC236}">
                    <a16:creationId xmlns:a16="http://schemas.microsoft.com/office/drawing/2014/main" xmlns="" id="{64F11901-FA0E-448D-AAF3-9E3A987A2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9" y="3694"/>
                <a:ext cx="155" cy="286"/>
              </a:xfrm>
              <a:custGeom>
                <a:avLst/>
                <a:gdLst>
                  <a:gd name="T0" fmla="*/ 99 w 155"/>
                  <a:gd name="T1" fmla="*/ 0 h 286"/>
                  <a:gd name="T2" fmla="*/ 47 w 155"/>
                  <a:gd name="T3" fmla="*/ 47 h 286"/>
                  <a:gd name="T4" fmla="*/ 28 w 155"/>
                  <a:gd name="T5" fmla="*/ 47 h 286"/>
                  <a:gd name="T6" fmla="*/ 11 w 155"/>
                  <a:gd name="T7" fmla="*/ 36 h 286"/>
                  <a:gd name="T8" fmla="*/ 0 w 155"/>
                  <a:gd name="T9" fmla="*/ 36 h 286"/>
                  <a:gd name="T10" fmla="*/ 2 w 155"/>
                  <a:gd name="T11" fmla="*/ 77 h 286"/>
                  <a:gd name="T12" fmla="*/ 11 w 155"/>
                  <a:gd name="T13" fmla="*/ 82 h 286"/>
                  <a:gd name="T14" fmla="*/ 25 w 155"/>
                  <a:gd name="T15" fmla="*/ 121 h 286"/>
                  <a:gd name="T16" fmla="*/ 25 w 155"/>
                  <a:gd name="T17" fmla="*/ 169 h 286"/>
                  <a:gd name="T18" fmla="*/ 33 w 155"/>
                  <a:gd name="T19" fmla="*/ 164 h 286"/>
                  <a:gd name="T20" fmla="*/ 19 w 155"/>
                  <a:gd name="T21" fmla="*/ 220 h 286"/>
                  <a:gd name="T22" fmla="*/ 19 w 155"/>
                  <a:gd name="T23" fmla="*/ 264 h 286"/>
                  <a:gd name="T24" fmla="*/ 30 w 155"/>
                  <a:gd name="T25" fmla="*/ 271 h 286"/>
                  <a:gd name="T26" fmla="*/ 39 w 155"/>
                  <a:gd name="T27" fmla="*/ 286 h 286"/>
                  <a:gd name="T28" fmla="*/ 51 w 155"/>
                  <a:gd name="T29" fmla="*/ 280 h 286"/>
                  <a:gd name="T30" fmla="*/ 74 w 155"/>
                  <a:gd name="T31" fmla="*/ 274 h 286"/>
                  <a:gd name="T32" fmla="*/ 87 w 155"/>
                  <a:gd name="T33" fmla="*/ 247 h 286"/>
                  <a:gd name="T34" fmla="*/ 127 w 155"/>
                  <a:gd name="T35" fmla="*/ 258 h 286"/>
                  <a:gd name="T36" fmla="*/ 138 w 155"/>
                  <a:gd name="T37" fmla="*/ 254 h 286"/>
                  <a:gd name="T38" fmla="*/ 155 w 155"/>
                  <a:gd name="T39" fmla="*/ 152 h 286"/>
                  <a:gd name="T40" fmla="*/ 152 w 155"/>
                  <a:gd name="T41" fmla="*/ 145 h 286"/>
                  <a:gd name="T42" fmla="*/ 147 w 155"/>
                  <a:gd name="T43" fmla="*/ 119 h 286"/>
                  <a:gd name="T44" fmla="*/ 153 w 155"/>
                  <a:gd name="T45" fmla="*/ 110 h 286"/>
                  <a:gd name="T46" fmla="*/ 155 w 155"/>
                  <a:gd name="T47" fmla="*/ 77 h 286"/>
                  <a:gd name="T48" fmla="*/ 131 w 155"/>
                  <a:gd name="T49" fmla="*/ 25 h 286"/>
                  <a:gd name="T50" fmla="*/ 99 w 155"/>
                  <a:gd name="T5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5" h="286">
                    <a:moveTo>
                      <a:pt x="99" y="0"/>
                    </a:moveTo>
                    <a:lnTo>
                      <a:pt x="47" y="47"/>
                    </a:lnTo>
                    <a:lnTo>
                      <a:pt x="28" y="47"/>
                    </a:lnTo>
                    <a:lnTo>
                      <a:pt x="11" y="36"/>
                    </a:lnTo>
                    <a:lnTo>
                      <a:pt x="0" y="36"/>
                    </a:lnTo>
                    <a:lnTo>
                      <a:pt x="2" y="77"/>
                    </a:lnTo>
                    <a:lnTo>
                      <a:pt x="11" y="82"/>
                    </a:lnTo>
                    <a:lnTo>
                      <a:pt x="25" y="121"/>
                    </a:lnTo>
                    <a:lnTo>
                      <a:pt x="25" y="169"/>
                    </a:lnTo>
                    <a:lnTo>
                      <a:pt x="33" y="164"/>
                    </a:lnTo>
                    <a:lnTo>
                      <a:pt x="19" y="220"/>
                    </a:lnTo>
                    <a:lnTo>
                      <a:pt x="19" y="264"/>
                    </a:lnTo>
                    <a:lnTo>
                      <a:pt x="30" y="271"/>
                    </a:lnTo>
                    <a:lnTo>
                      <a:pt x="39" y="286"/>
                    </a:lnTo>
                    <a:lnTo>
                      <a:pt x="51" y="280"/>
                    </a:lnTo>
                    <a:lnTo>
                      <a:pt x="74" y="274"/>
                    </a:lnTo>
                    <a:lnTo>
                      <a:pt x="87" y="247"/>
                    </a:lnTo>
                    <a:lnTo>
                      <a:pt x="127" y="258"/>
                    </a:lnTo>
                    <a:lnTo>
                      <a:pt x="138" y="254"/>
                    </a:lnTo>
                    <a:lnTo>
                      <a:pt x="155" y="152"/>
                    </a:lnTo>
                    <a:lnTo>
                      <a:pt x="152" y="145"/>
                    </a:lnTo>
                    <a:lnTo>
                      <a:pt x="147" y="119"/>
                    </a:lnTo>
                    <a:lnTo>
                      <a:pt x="153" y="110"/>
                    </a:lnTo>
                    <a:lnTo>
                      <a:pt x="155" y="77"/>
                    </a:lnTo>
                    <a:lnTo>
                      <a:pt x="131" y="25"/>
                    </a:lnTo>
                    <a:lnTo>
                      <a:pt x="99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2" name="Freeform 53">
                <a:extLst>
                  <a:ext uri="{FF2B5EF4-FFF2-40B4-BE49-F238E27FC236}">
                    <a16:creationId xmlns:a16="http://schemas.microsoft.com/office/drawing/2014/main" xmlns="" id="{480EBBB2-3B89-4382-8186-1EC591730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9" y="3705"/>
                <a:ext cx="8" cy="14"/>
              </a:xfrm>
              <a:custGeom>
                <a:avLst/>
                <a:gdLst>
                  <a:gd name="T0" fmla="*/ 2 w 8"/>
                  <a:gd name="T1" fmla="*/ 0 h 14"/>
                  <a:gd name="T2" fmla="*/ 0 w 8"/>
                  <a:gd name="T3" fmla="*/ 12 h 14"/>
                  <a:gd name="T4" fmla="*/ 8 w 8"/>
                  <a:gd name="T5" fmla="*/ 14 h 14"/>
                  <a:gd name="T6" fmla="*/ 6 w 8"/>
                  <a:gd name="T7" fmla="*/ 6 h 14"/>
                  <a:gd name="T8" fmla="*/ 2 w 8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2" y="0"/>
                    </a:moveTo>
                    <a:lnTo>
                      <a:pt x="0" y="12"/>
                    </a:lnTo>
                    <a:lnTo>
                      <a:pt x="8" y="14"/>
                    </a:lnTo>
                    <a:lnTo>
                      <a:pt x="6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3" name="Freeform 54">
                <a:extLst>
                  <a:ext uri="{FF2B5EF4-FFF2-40B4-BE49-F238E27FC236}">
                    <a16:creationId xmlns:a16="http://schemas.microsoft.com/office/drawing/2014/main" xmlns="" id="{303D4837-D005-4559-A116-E67F709D1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" y="4040"/>
                <a:ext cx="298" cy="192"/>
              </a:xfrm>
              <a:custGeom>
                <a:avLst/>
                <a:gdLst>
                  <a:gd name="T0" fmla="*/ 261 w 298"/>
                  <a:gd name="T1" fmla="*/ 13 h 192"/>
                  <a:gd name="T2" fmla="*/ 233 w 298"/>
                  <a:gd name="T3" fmla="*/ 10 h 192"/>
                  <a:gd name="T4" fmla="*/ 179 w 298"/>
                  <a:gd name="T5" fmla="*/ 34 h 192"/>
                  <a:gd name="T6" fmla="*/ 145 w 298"/>
                  <a:gd name="T7" fmla="*/ 33 h 192"/>
                  <a:gd name="T8" fmla="*/ 106 w 298"/>
                  <a:gd name="T9" fmla="*/ 42 h 192"/>
                  <a:gd name="T10" fmla="*/ 72 w 298"/>
                  <a:gd name="T11" fmla="*/ 23 h 192"/>
                  <a:gd name="T12" fmla="*/ 57 w 298"/>
                  <a:gd name="T13" fmla="*/ 25 h 192"/>
                  <a:gd name="T14" fmla="*/ 49 w 298"/>
                  <a:gd name="T15" fmla="*/ 37 h 192"/>
                  <a:gd name="T16" fmla="*/ 35 w 298"/>
                  <a:gd name="T17" fmla="*/ 34 h 192"/>
                  <a:gd name="T18" fmla="*/ 23 w 298"/>
                  <a:gd name="T19" fmla="*/ 22 h 192"/>
                  <a:gd name="T20" fmla="*/ 22 w 298"/>
                  <a:gd name="T21" fmla="*/ 28 h 192"/>
                  <a:gd name="T22" fmla="*/ 14 w 298"/>
                  <a:gd name="T23" fmla="*/ 31 h 192"/>
                  <a:gd name="T24" fmla="*/ 0 w 298"/>
                  <a:gd name="T25" fmla="*/ 56 h 192"/>
                  <a:gd name="T26" fmla="*/ 5 w 298"/>
                  <a:gd name="T27" fmla="*/ 77 h 192"/>
                  <a:gd name="T28" fmla="*/ 35 w 298"/>
                  <a:gd name="T29" fmla="*/ 102 h 192"/>
                  <a:gd name="T30" fmla="*/ 66 w 298"/>
                  <a:gd name="T31" fmla="*/ 108 h 192"/>
                  <a:gd name="T32" fmla="*/ 82 w 298"/>
                  <a:gd name="T33" fmla="*/ 121 h 192"/>
                  <a:gd name="T34" fmla="*/ 111 w 298"/>
                  <a:gd name="T35" fmla="*/ 132 h 192"/>
                  <a:gd name="T36" fmla="*/ 151 w 298"/>
                  <a:gd name="T37" fmla="*/ 156 h 192"/>
                  <a:gd name="T38" fmla="*/ 190 w 298"/>
                  <a:gd name="T39" fmla="*/ 159 h 192"/>
                  <a:gd name="T40" fmla="*/ 210 w 298"/>
                  <a:gd name="T41" fmla="*/ 179 h 192"/>
                  <a:gd name="T42" fmla="*/ 267 w 298"/>
                  <a:gd name="T43" fmla="*/ 192 h 192"/>
                  <a:gd name="T44" fmla="*/ 275 w 298"/>
                  <a:gd name="T45" fmla="*/ 187 h 192"/>
                  <a:gd name="T46" fmla="*/ 276 w 298"/>
                  <a:gd name="T47" fmla="*/ 155 h 192"/>
                  <a:gd name="T48" fmla="*/ 289 w 298"/>
                  <a:gd name="T49" fmla="*/ 118 h 192"/>
                  <a:gd name="T50" fmla="*/ 278 w 298"/>
                  <a:gd name="T51" fmla="*/ 105 h 192"/>
                  <a:gd name="T52" fmla="*/ 269 w 298"/>
                  <a:gd name="T53" fmla="*/ 82 h 192"/>
                  <a:gd name="T54" fmla="*/ 289 w 298"/>
                  <a:gd name="T55" fmla="*/ 50 h 192"/>
                  <a:gd name="T56" fmla="*/ 298 w 298"/>
                  <a:gd name="T57" fmla="*/ 6 h 192"/>
                  <a:gd name="T58" fmla="*/ 272 w 298"/>
                  <a:gd name="T59" fmla="*/ 0 h 192"/>
                  <a:gd name="T60" fmla="*/ 261 w 298"/>
                  <a:gd name="T61" fmla="*/ 1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8" h="192">
                    <a:moveTo>
                      <a:pt x="261" y="13"/>
                    </a:moveTo>
                    <a:lnTo>
                      <a:pt x="233" y="10"/>
                    </a:lnTo>
                    <a:lnTo>
                      <a:pt x="179" y="34"/>
                    </a:lnTo>
                    <a:lnTo>
                      <a:pt x="145" y="33"/>
                    </a:lnTo>
                    <a:lnTo>
                      <a:pt x="106" y="42"/>
                    </a:lnTo>
                    <a:lnTo>
                      <a:pt x="72" y="23"/>
                    </a:lnTo>
                    <a:lnTo>
                      <a:pt x="57" y="25"/>
                    </a:lnTo>
                    <a:lnTo>
                      <a:pt x="49" y="37"/>
                    </a:lnTo>
                    <a:lnTo>
                      <a:pt x="35" y="34"/>
                    </a:lnTo>
                    <a:lnTo>
                      <a:pt x="23" y="22"/>
                    </a:lnTo>
                    <a:lnTo>
                      <a:pt x="22" y="28"/>
                    </a:lnTo>
                    <a:lnTo>
                      <a:pt x="14" y="31"/>
                    </a:lnTo>
                    <a:lnTo>
                      <a:pt x="0" y="56"/>
                    </a:lnTo>
                    <a:lnTo>
                      <a:pt x="5" y="77"/>
                    </a:lnTo>
                    <a:lnTo>
                      <a:pt x="35" y="102"/>
                    </a:lnTo>
                    <a:lnTo>
                      <a:pt x="66" y="108"/>
                    </a:lnTo>
                    <a:lnTo>
                      <a:pt x="82" y="121"/>
                    </a:lnTo>
                    <a:lnTo>
                      <a:pt x="111" y="132"/>
                    </a:lnTo>
                    <a:lnTo>
                      <a:pt x="151" y="156"/>
                    </a:lnTo>
                    <a:lnTo>
                      <a:pt x="190" y="159"/>
                    </a:lnTo>
                    <a:lnTo>
                      <a:pt x="210" y="179"/>
                    </a:lnTo>
                    <a:lnTo>
                      <a:pt x="267" y="192"/>
                    </a:lnTo>
                    <a:lnTo>
                      <a:pt x="275" y="187"/>
                    </a:lnTo>
                    <a:lnTo>
                      <a:pt x="276" y="155"/>
                    </a:lnTo>
                    <a:lnTo>
                      <a:pt x="289" y="118"/>
                    </a:lnTo>
                    <a:lnTo>
                      <a:pt x="278" y="105"/>
                    </a:lnTo>
                    <a:lnTo>
                      <a:pt x="269" y="82"/>
                    </a:lnTo>
                    <a:lnTo>
                      <a:pt x="289" y="50"/>
                    </a:lnTo>
                    <a:lnTo>
                      <a:pt x="298" y="6"/>
                    </a:lnTo>
                    <a:lnTo>
                      <a:pt x="272" y="0"/>
                    </a:lnTo>
                    <a:lnTo>
                      <a:pt x="261" y="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4" name="Freeform 55">
                <a:extLst>
                  <a:ext uri="{FF2B5EF4-FFF2-40B4-BE49-F238E27FC236}">
                    <a16:creationId xmlns:a16="http://schemas.microsoft.com/office/drawing/2014/main" xmlns="" id="{B07AAE3B-78C5-42BC-BC26-0A6764E18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" y="1831"/>
                <a:ext cx="368" cy="422"/>
              </a:xfrm>
              <a:custGeom>
                <a:avLst/>
                <a:gdLst>
                  <a:gd name="T0" fmla="*/ 88 w 368"/>
                  <a:gd name="T1" fmla="*/ 157 h 422"/>
                  <a:gd name="T2" fmla="*/ 118 w 368"/>
                  <a:gd name="T3" fmla="*/ 143 h 422"/>
                  <a:gd name="T4" fmla="*/ 102 w 368"/>
                  <a:gd name="T5" fmla="*/ 117 h 422"/>
                  <a:gd name="T6" fmla="*/ 110 w 368"/>
                  <a:gd name="T7" fmla="*/ 74 h 422"/>
                  <a:gd name="T8" fmla="*/ 195 w 368"/>
                  <a:gd name="T9" fmla="*/ 110 h 422"/>
                  <a:gd name="T10" fmla="*/ 232 w 368"/>
                  <a:gd name="T11" fmla="*/ 76 h 422"/>
                  <a:gd name="T12" fmla="*/ 220 w 368"/>
                  <a:gd name="T13" fmla="*/ 51 h 422"/>
                  <a:gd name="T14" fmla="*/ 241 w 368"/>
                  <a:gd name="T15" fmla="*/ 42 h 422"/>
                  <a:gd name="T16" fmla="*/ 251 w 368"/>
                  <a:gd name="T17" fmla="*/ 15 h 422"/>
                  <a:gd name="T18" fmla="*/ 343 w 368"/>
                  <a:gd name="T19" fmla="*/ 0 h 422"/>
                  <a:gd name="T20" fmla="*/ 360 w 368"/>
                  <a:gd name="T21" fmla="*/ 34 h 422"/>
                  <a:gd name="T22" fmla="*/ 289 w 368"/>
                  <a:gd name="T23" fmla="*/ 62 h 422"/>
                  <a:gd name="T24" fmla="*/ 268 w 368"/>
                  <a:gd name="T25" fmla="*/ 116 h 422"/>
                  <a:gd name="T26" fmla="*/ 302 w 368"/>
                  <a:gd name="T27" fmla="*/ 140 h 422"/>
                  <a:gd name="T28" fmla="*/ 332 w 368"/>
                  <a:gd name="T29" fmla="*/ 131 h 422"/>
                  <a:gd name="T30" fmla="*/ 340 w 368"/>
                  <a:gd name="T31" fmla="*/ 162 h 422"/>
                  <a:gd name="T32" fmla="*/ 368 w 368"/>
                  <a:gd name="T33" fmla="*/ 177 h 422"/>
                  <a:gd name="T34" fmla="*/ 363 w 368"/>
                  <a:gd name="T35" fmla="*/ 245 h 422"/>
                  <a:gd name="T36" fmla="*/ 352 w 368"/>
                  <a:gd name="T37" fmla="*/ 315 h 422"/>
                  <a:gd name="T38" fmla="*/ 311 w 368"/>
                  <a:gd name="T39" fmla="*/ 363 h 422"/>
                  <a:gd name="T40" fmla="*/ 303 w 368"/>
                  <a:gd name="T41" fmla="*/ 386 h 422"/>
                  <a:gd name="T42" fmla="*/ 241 w 368"/>
                  <a:gd name="T43" fmla="*/ 385 h 422"/>
                  <a:gd name="T44" fmla="*/ 124 w 368"/>
                  <a:gd name="T45" fmla="*/ 422 h 422"/>
                  <a:gd name="T46" fmla="*/ 36 w 368"/>
                  <a:gd name="T47" fmla="*/ 409 h 422"/>
                  <a:gd name="T48" fmla="*/ 45 w 368"/>
                  <a:gd name="T49" fmla="*/ 392 h 422"/>
                  <a:gd name="T50" fmla="*/ 13 w 368"/>
                  <a:gd name="T51" fmla="*/ 386 h 422"/>
                  <a:gd name="T52" fmla="*/ 24 w 368"/>
                  <a:gd name="T53" fmla="*/ 366 h 422"/>
                  <a:gd name="T54" fmla="*/ 0 w 368"/>
                  <a:gd name="T55" fmla="*/ 363 h 422"/>
                  <a:gd name="T56" fmla="*/ 7 w 368"/>
                  <a:gd name="T57" fmla="*/ 338 h 422"/>
                  <a:gd name="T58" fmla="*/ 48 w 368"/>
                  <a:gd name="T59" fmla="*/ 337 h 422"/>
                  <a:gd name="T60" fmla="*/ 7 w 368"/>
                  <a:gd name="T61" fmla="*/ 310 h 422"/>
                  <a:gd name="T62" fmla="*/ 17 w 368"/>
                  <a:gd name="T63" fmla="*/ 295 h 422"/>
                  <a:gd name="T64" fmla="*/ 121 w 368"/>
                  <a:gd name="T65" fmla="*/ 292 h 422"/>
                  <a:gd name="T66" fmla="*/ 78 w 368"/>
                  <a:gd name="T67" fmla="*/ 281 h 422"/>
                  <a:gd name="T68" fmla="*/ 115 w 368"/>
                  <a:gd name="T69" fmla="*/ 238 h 422"/>
                  <a:gd name="T70" fmla="*/ 139 w 368"/>
                  <a:gd name="T71" fmla="*/ 228 h 422"/>
                  <a:gd name="T72" fmla="*/ 93 w 368"/>
                  <a:gd name="T73" fmla="*/ 199 h 422"/>
                  <a:gd name="T74" fmla="*/ 79 w 368"/>
                  <a:gd name="T75" fmla="*/ 171 h 422"/>
                  <a:gd name="T76" fmla="*/ 88 w 368"/>
                  <a:gd name="T77" fmla="*/ 157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8" h="422">
                    <a:moveTo>
                      <a:pt x="88" y="157"/>
                    </a:moveTo>
                    <a:lnTo>
                      <a:pt x="118" y="143"/>
                    </a:lnTo>
                    <a:lnTo>
                      <a:pt x="102" y="117"/>
                    </a:lnTo>
                    <a:lnTo>
                      <a:pt x="110" y="74"/>
                    </a:lnTo>
                    <a:lnTo>
                      <a:pt x="195" y="110"/>
                    </a:lnTo>
                    <a:lnTo>
                      <a:pt x="232" y="76"/>
                    </a:lnTo>
                    <a:lnTo>
                      <a:pt x="220" y="51"/>
                    </a:lnTo>
                    <a:lnTo>
                      <a:pt x="241" y="42"/>
                    </a:lnTo>
                    <a:lnTo>
                      <a:pt x="251" y="15"/>
                    </a:lnTo>
                    <a:lnTo>
                      <a:pt x="343" y="0"/>
                    </a:lnTo>
                    <a:lnTo>
                      <a:pt x="360" y="34"/>
                    </a:lnTo>
                    <a:lnTo>
                      <a:pt x="289" y="62"/>
                    </a:lnTo>
                    <a:lnTo>
                      <a:pt x="268" y="116"/>
                    </a:lnTo>
                    <a:lnTo>
                      <a:pt x="302" y="140"/>
                    </a:lnTo>
                    <a:lnTo>
                      <a:pt x="332" y="131"/>
                    </a:lnTo>
                    <a:lnTo>
                      <a:pt x="340" y="162"/>
                    </a:lnTo>
                    <a:lnTo>
                      <a:pt x="368" y="177"/>
                    </a:lnTo>
                    <a:lnTo>
                      <a:pt x="363" y="245"/>
                    </a:lnTo>
                    <a:lnTo>
                      <a:pt x="352" y="315"/>
                    </a:lnTo>
                    <a:lnTo>
                      <a:pt x="311" y="363"/>
                    </a:lnTo>
                    <a:lnTo>
                      <a:pt x="303" y="386"/>
                    </a:lnTo>
                    <a:lnTo>
                      <a:pt x="241" y="385"/>
                    </a:lnTo>
                    <a:lnTo>
                      <a:pt x="124" y="422"/>
                    </a:lnTo>
                    <a:lnTo>
                      <a:pt x="36" y="409"/>
                    </a:lnTo>
                    <a:lnTo>
                      <a:pt x="45" y="392"/>
                    </a:lnTo>
                    <a:lnTo>
                      <a:pt x="13" y="386"/>
                    </a:lnTo>
                    <a:lnTo>
                      <a:pt x="24" y="366"/>
                    </a:lnTo>
                    <a:lnTo>
                      <a:pt x="0" y="363"/>
                    </a:lnTo>
                    <a:lnTo>
                      <a:pt x="7" y="338"/>
                    </a:lnTo>
                    <a:lnTo>
                      <a:pt x="48" y="337"/>
                    </a:lnTo>
                    <a:lnTo>
                      <a:pt x="7" y="310"/>
                    </a:lnTo>
                    <a:lnTo>
                      <a:pt x="17" y="295"/>
                    </a:lnTo>
                    <a:lnTo>
                      <a:pt x="121" y="292"/>
                    </a:lnTo>
                    <a:lnTo>
                      <a:pt x="78" y="281"/>
                    </a:lnTo>
                    <a:lnTo>
                      <a:pt x="115" y="238"/>
                    </a:lnTo>
                    <a:lnTo>
                      <a:pt x="139" y="228"/>
                    </a:lnTo>
                    <a:lnTo>
                      <a:pt x="93" y="199"/>
                    </a:lnTo>
                    <a:lnTo>
                      <a:pt x="79" y="171"/>
                    </a:lnTo>
                    <a:lnTo>
                      <a:pt x="88" y="15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5" name="Freeform 56">
                <a:extLst>
                  <a:ext uri="{FF2B5EF4-FFF2-40B4-BE49-F238E27FC236}">
                    <a16:creationId xmlns:a16="http://schemas.microsoft.com/office/drawing/2014/main" xmlns="" id="{ED544FEC-A200-49BE-A5D4-B63099CB4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2" y="2739"/>
                <a:ext cx="534" cy="380"/>
              </a:xfrm>
              <a:custGeom>
                <a:avLst/>
                <a:gdLst>
                  <a:gd name="T0" fmla="*/ 480 w 534"/>
                  <a:gd name="T1" fmla="*/ 13 h 380"/>
                  <a:gd name="T2" fmla="*/ 450 w 534"/>
                  <a:gd name="T3" fmla="*/ 16 h 380"/>
                  <a:gd name="T4" fmla="*/ 423 w 534"/>
                  <a:gd name="T5" fmla="*/ 0 h 380"/>
                  <a:gd name="T6" fmla="*/ 341 w 534"/>
                  <a:gd name="T7" fmla="*/ 14 h 380"/>
                  <a:gd name="T8" fmla="*/ 333 w 534"/>
                  <a:gd name="T9" fmla="*/ 44 h 380"/>
                  <a:gd name="T10" fmla="*/ 291 w 534"/>
                  <a:gd name="T11" fmla="*/ 65 h 380"/>
                  <a:gd name="T12" fmla="*/ 273 w 534"/>
                  <a:gd name="T13" fmla="*/ 57 h 380"/>
                  <a:gd name="T14" fmla="*/ 208 w 534"/>
                  <a:gd name="T15" fmla="*/ 81 h 380"/>
                  <a:gd name="T16" fmla="*/ 211 w 534"/>
                  <a:gd name="T17" fmla="*/ 110 h 380"/>
                  <a:gd name="T18" fmla="*/ 132 w 534"/>
                  <a:gd name="T19" fmla="*/ 133 h 380"/>
                  <a:gd name="T20" fmla="*/ 69 w 534"/>
                  <a:gd name="T21" fmla="*/ 96 h 380"/>
                  <a:gd name="T22" fmla="*/ 58 w 534"/>
                  <a:gd name="T23" fmla="*/ 142 h 380"/>
                  <a:gd name="T24" fmla="*/ 23 w 534"/>
                  <a:gd name="T25" fmla="*/ 141 h 380"/>
                  <a:gd name="T26" fmla="*/ 38 w 534"/>
                  <a:gd name="T27" fmla="*/ 181 h 380"/>
                  <a:gd name="T28" fmla="*/ 24 w 534"/>
                  <a:gd name="T29" fmla="*/ 227 h 380"/>
                  <a:gd name="T30" fmla="*/ 0 w 534"/>
                  <a:gd name="T31" fmla="*/ 243 h 380"/>
                  <a:gd name="T32" fmla="*/ 37 w 534"/>
                  <a:gd name="T33" fmla="*/ 309 h 380"/>
                  <a:gd name="T34" fmla="*/ 98 w 534"/>
                  <a:gd name="T35" fmla="*/ 359 h 380"/>
                  <a:gd name="T36" fmla="*/ 168 w 534"/>
                  <a:gd name="T37" fmla="*/ 366 h 380"/>
                  <a:gd name="T38" fmla="*/ 203 w 534"/>
                  <a:gd name="T39" fmla="*/ 380 h 380"/>
                  <a:gd name="T40" fmla="*/ 288 w 534"/>
                  <a:gd name="T41" fmla="*/ 336 h 380"/>
                  <a:gd name="T42" fmla="*/ 319 w 534"/>
                  <a:gd name="T43" fmla="*/ 326 h 380"/>
                  <a:gd name="T44" fmla="*/ 387 w 534"/>
                  <a:gd name="T45" fmla="*/ 323 h 380"/>
                  <a:gd name="T46" fmla="*/ 413 w 534"/>
                  <a:gd name="T47" fmla="*/ 314 h 380"/>
                  <a:gd name="T48" fmla="*/ 504 w 534"/>
                  <a:gd name="T49" fmla="*/ 95 h 380"/>
                  <a:gd name="T50" fmla="*/ 534 w 534"/>
                  <a:gd name="T51" fmla="*/ 51 h 380"/>
                  <a:gd name="T52" fmla="*/ 480 w 534"/>
                  <a:gd name="T53" fmla="*/ 13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34" h="380">
                    <a:moveTo>
                      <a:pt x="480" y="13"/>
                    </a:moveTo>
                    <a:lnTo>
                      <a:pt x="450" y="16"/>
                    </a:lnTo>
                    <a:lnTo>
                      <a:pt x="423" y="0"/>
                    </a:lnTo>
                    <a:lnTo>
                      <a:pt x="341" y="14"/>
                    </a:lnTo>
                    <a:lnTo>
                      <a:pt x="333" y="44"/>
                    </a:lnTo>
                    <a:lnTo>
                      <a:pt x="291" y="65"/>
                    </a:lnTo>
                    <a:lnTo>
                      <a:pt x="273" y="57"/>
                    </a:lnTo>
                    <a:lnTo>
                      <a:pt x="208" y="81"/>
                    </a:lnTo>
                    <a:lnTo>
                      <a:pt x="211" y="110"/>
                    </a:lnTo>
                    <a:lnTo>
                      <a:pt x="132" y="133"/>
                    </a:lnTo>
                    <a:lnTo>
                      <a:pt x="69" y="96"/>
                    </a:lnTo>
                    <a:lnTo>
                      <a:pt x="58" y="142"/>
                    </a:lnTo>
                    <a:lnTo>
                      <a:pt x="23" y="141"/>
                    </a:lnTo>
                    <a:lnTo>
                      <a:pt x="38" y="181"/>
                    </a:lnTo>
                    <a:lnTo>
                      <a:pt x="24" y="227"/>
                    </a:lnTo>
                    <a:lnTo>
                      <a:pt x="0" y="243"/>
                    </a:lnTo>
                    <a:lnTo>
                      <a:pt x="37" y="309"/>
                    </a:lnTo>
                    <a:lnTo>
                      <a:pt x="98" y="359"/>
                    </a:lnTo>
                    <a:lnTo>
                      <a:pt x="168" y="366"/>
                    </a:lnTo>
                    <a:lnTo>
                      <a:pt x="203" y="380"/>
                    </a:lnTo>
                    <a:lnTo>
                      <a:pt x="288" y="336"/>
                    </a:lnTo>
                    <a:lnTo>
                      <a:pt x="319" y="326"/>
                    </a:lnTo>
                    <a:lnTo>
                      <a:pt x="387" y="323"/>
                    </a:lnTo>
                    <a:lnTo>
                      <a:pt x="413" y="314"/>
                    </a:lnTo>
                    <a:lnTo>
                      <a:pt x="504" y="95"/>
                    </a:lnTo>
                    <a:lnTo>
                      <a:pt x="534" y="51"/>
                    </a:lnTo>
                    <a:lnTo>
                      <a:pt x="480" y="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6" name="Freeform 57">
                <a:extLst>
                  <a:ext uri="{FF2B5EF4-FFF2-40B4-BE49-F238E27FC236}">
                    <a16:creationId xmlns:a16="http://schemas.microsoft.com/office/drawing/2014/main" xmlns="" id="{FC1657EF-5F44-424D-96EE-FE49B3ED3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" y="3754"/>
                <a:ext cx="51" cy="41"/>
              </a:xfrm>
              <a:custGeom>
                <a:avLst/>
                <a:gdLst>
                  <a:gd name="T0" fmla="*/ 0 w 51"/>
                  <a:gd name="T1" fmla="*/ 20 h 41"/>
                  <a:gd name="T2" fmla="*/ 14 w 51"/>
                  <a:gd name="T3" fmla="*/ 36 h 41"/>
                  <a:gd name="T4" fmla="*/ 51 w 51"/>
                  <a:gd name="T5" fmla="*/ 41 h 41"/>
                  <a:gd name="T6" fmla="*/ 47 w 51"/>
                  <a:gd name="T7" fmla="*/ 16 h 41"/>
                  <a:gd name="T8" fmla="*/ 32 w 51"/>
                  <a:gd name="T9" fmla="*/ 0 h 41"/>
                  <a:gd name="T10" fmla="*/ 0 w 51"/>
                  <a:gd name="T11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41">
                    <a:moveTo>
                      <a:pt x="0" y="20"/>
                    </a:moveTo>
                    <a:lnTo>
                      <a:pt x="14" y="36"/>
                    </a:lnTo>
                    <a:lnTo>
                      <a:pt x="51" y="41"/>
                    </a:lnTo>
                    <a:lnTo>
                      <a:pt x="47" y="16"/>
                    </a:lnTo>
                    <a:lnTo>
                      <a:pt x="32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7" name="Freeform 58">
                <a:extLst>
                  <a:ext uri="{FF2B5EF4-FFF2-40B4-BE49-F238E27FC236}">
                    <a16:creationId xmlns:a16="http://schemas.microsoft.com/office/drawing/2014/main" xmlns="" id="{762F8911-9081-4EAF-8798-2C04F003E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3858"/>
                <a:ext cx="34" cy="40"/>
              </a:xfrm>
              <a:custGeom>
                <a:avLst/>
                <a:gdLst>
                  <a:gd name="T0" fmla="*/ 23 w 34"/>
                  <a:gd name="T1" fmla="*/ 0 h 40"/>
                  <a:gd name="T2" fmla="*/ 0 w 34"/>
                  <a:gd name="T3" fmla="*/ 9 h 40"/>
                  <a:gd name="T4" fmla="*/ 9 w 34"/>
                  <a:gd name="T5" fmla="*/ 40 h 40"/>
                  <a:gd name="T6" fmla="*/ 34 w 34"/>
                  <a:gd name="T7" fmla="*/ 31 h 40"/>
                  <a:gd name="T8" fmla="*/ 23 w 34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0">
                    <a:moveTo>
                      <a:pt x="23" y="0"/>
                    </a:moveTo>
                    <a:lnTo>
                      <a:pt x="0" y="9"/>
                    </a:lnTo>
                    <a:lnTo>
                      <a:pt x="9" y="40"/>
                    </a:lnTo>
                    <a:lnTo>
                      <a:pt x="34" y="3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8" name="Freeform 59">
                <a:extLst>
                  <a:ext uri="{FF2B5EF4-FFF2-40B4-BE49-F238E27FC236}">
                    <a16:creationId xmlns:a16="http://schemas.microsoft.com/office/drawing/2014/main" xmlns="" id="{5EA1C3AC-9635-4F83-B7B1-BC85FC2E0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" y="4043"/>
                <a:ext cx="20" cy="19"/>
              </a:xfrm>
              <a:custGeom>
                <a:avLst/>
                <a:gdLst>
                  <a:gd name="T0" fmla="*/ 0 w 20"/>
                  <a:gd name="T1" fmla="*/ 19 h 19"/>
                  <a:gd name="T2" fmla="*/ 10 w 20"/>
                  <a:gd name="T3" fmla="*/ 17 h 19"/>
                  <a:gd name="T4" fmla="*/ 20 w 20"/>
                  <a:gd name="T5" fmla="*/ 0 h 19"/>
                  <a:gd name="T6" fmla="*/ 5 w 20"/>
                  <a:gd name="T7" fmla="*/ 5 h 19"/>
                  <a:gd name="T8" fmla="*/ 0 w 20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9">
                    <a:moveTo>
                      <a:pt x="0" y="19"/>
                    </a:moveTo>
                    <a:lnTo>
                      <a:pt x="10" y="17"/>
                    </a:lnTo>
                    <a:lnTo>
                      <a:pt x="20" y="0"/>
                    </a:lnTo>
                    <a:lnTo>
                      <a:pt x="5" y="5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9" name="Freeform 60">
                <a:extLst>
                  <a:ext uri="{FF2B5EF4-FFF2-40B4-BE49-F238E27FC236}">
                    <a16:creationId xmlns:a16="http://schemas.microsoft.com/office/drawing/2014/main" xmlns="" id="{CFB1E7DA-2CC3-4E8F-BF67-318DABA74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1" y="4062"/>
                <a:ext cx="40" cy="74"/>
              </a:xfrm>
              <a:custGeom>
                <a:avLst/>
                <a:gdLst>
                  <a:gd name="T0" fmla="*/ 3 w 40"/>
                  <a:gd name="T1" fmla="*/ 34 h 74"/>
                  <a:gd name="T2" fmla="*/ 0 w 40"/>
                  <a:gd name="T3" fmla="*/ 63 h 74"/>
                  <a:gd name="T4" fmla="*/ 19 w 40"/>
                  <a:gd name="T5" fmla="*/ 74 h 74"/>
                  <a:gd name="T6" fmla="*/ 40 w 40"/>
                  <a:gd name="T7" fmla="*/ 39 h 74"/>
                  <a:gd name="T8" fmla="*/ 39 w 40"/>
                  <a:gd name="T9" fmla="*/ 0 h 74"/>
                  <a:gd name="T10" fmla="*/ 3 w 40"/>
                  <a:gd name="T11" fmla="*/ 3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74">
                    <a:moveTo>
                      <a:pt x="3" y="34"/>
                    </a:moveTo>
                    <a:lnTo>
                      <a:pt x="0" y="63"/>
                    </a:lnTo>
                    <a:lnTo>
                      <a:pt x="19" y="74"/>
                    </a:lnTo>
                    <a:lnTo>
                      <a:pt x="40" y="39"/>
                    </a:lnTo>
                    <a:lnTo>
                      <a:pt x="39" y="0"/>
                    </a:lnTo>
                    <a:lnTo>
                      <a:pt x="3" y="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0" name="Freeform 61">
                <a:extLst>
                  <a:ext uri="{FF2B5EF4-FFF2-40B4-BE49-F238E27FC236}">
                    <a16:creationId xmlns:a16="http://schemas.microsoft.com/office/drawing/2014/main" xmlns="" id="{023CD012-0D80-4CBB-A047-CBB3C1E20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" y="4167"/>
                <a:ext cx="14" cy="34"/>
              </a:xfrm>
              <a:custGeom>
                <a:avLst/>
                <a:gdLst>
                  <a:gd name="T0" fmla="*/ 2 w 14"/>
                  <a:gd name="T1" fmla="*/ 34 h 34"/>
                  <a:gd name="T2" fmla="*/ 14 w 14"/>
                  <a:gd name="T3" fmla="*/ 32 h 34"/>
                  <a:gd name="T4" fmla="*/ 9 w 14"/>
                  <a:gd name="T5" fmla="*/ 0 h 34"/>
                  <a:gd name="T6" fmla="*/ 0 w 14"/>
                  <a:gd name="T7" fmla="*/ 5 h 34"/>
                  <a:gd name="T8" fmla="*/ 2 w 1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4">
                    <a:moveTo>
                      <a:pt x="2" y="34"/>
                    </a:moveTo>
                    <a:lnTo>
                      <a:pt x="14" y="32"/>
                    </a:lnTo>
                    <a:lnTo>
                      <a:pt x="9" y="0"/>
                    </a:lnTo>
                    <a:lnTo>
                      <a:pt x="0" y="5"/>
                    </a:lnTo>
                    <a:lnTo>
                      <a:pt x="2" y="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1" name="Freeform 62">
                <a:extLst>
                  <a:ext uri="{FF2B5EF4-FFF2-40B4-BE49-F238E27FC236}">
                    <a16:creationId xmlns:a16="http://schemas.microsoft.com/office/drawing/2014/main" xmlns="" id="{2A9A226F-A47E-4665-9118-AE583B0D2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" y="4215"/>
                <a:ext cx="19" cy="8"/>
              </a:xfrm>
              <a:custGeom>
                <a:avLst/>
                <a:gdLst>
                  <a:gd name="T0" fmla="*/ 10 w 19"/>
                  <a:gd name="T1" fmla="*/ 8 h 8"/>
                  <a:gd name="T2" fmla="*/ 19 w 19"/>
                  <a:gd name="T3" fmla="*/ 0 h 8"/>
                  <a:gd name="T4" fmla="*/ 0 w 19"/>
                  <a:gd name="T5" fmla="*/ 6 h 8"/>
                  <a:gd name="T6" fmla="*/ 10 w 19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8">
                    <a:moveTo>
                      <a:pt x="10" y="8"/>
                    </a:moveTo>
                    <a:lnTo>
                      <a:pt x="19" y="0"/>
                    </a:lnTo>
                    <a:lnTo>
                      <a:pt x="0" y="6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2" name="Freeform 63">
                <a:extLst>
                  <a:ext uri="{FF2B5EF4-FFF2-40B4-BE49-F238E27FC236}">
                    <a16:creationId xmlns:a16="http://schemas.microsoft.com/office/drawing/2014/main" xmlns="" id="{87592756-E1BB-453F-AB52-ABD1504BD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9" y="4243"/>
                <a:ext cx="272" cy="77"/>
              </a:xfrm>
              <a:custGeom>
                <a:avLst/>
                <a:gdLst>
                  <a:gd name="T0" fmla="*/ 212 w 272"/>
                  <a:gd name="T1" fmla="*/ 4 h 77"/>
                  <a:gd name="T2" fmla="*/ 113 w 272"/>
                  <a:gd name="T3" fmla="*/ 7 h 77"/>
                  <a:gd name="T4" fmla="*/ 96 w 272"/>
                  <a:gd name="T5" fmla="*/ 21 h 77"/>
                  <a:gd name="T6" fmla="*/ 64 w 272"/>
                  <a:gd name="T7" fmla="*/ 23 h 77"/>
                  <a:gd name="T8" fmla="*/ 45 w 272"/>
                  <a:gd name="T9" fmla="*/ 6 h 77"/>
                  <a:gd name="T10" fmla="*/ 0 w 272"/>
                  <a:gd name="T11" fmla="*/ 7 h 77"/>
                  <a:gd name="T12" fmla="*/ 0 w 272"/>
                  <a:gd name="T13" fmla="*/ 60 h 77"/>
                  <a:gd name="T14" fmla="*/ 111 w 272"/>
                  <a:gd name="T15" fmla="*/ 52 h 77"/>
                  <a:gd name="T16" fmla="*/ 125 w 272"/>
                  <a:gd name="T17" fmla="*/ 77 h 77"/>
                  <a:gd name="T18" fmla="*/ 264 w 272"/>
                  <a:gd name="T19" fmla="*/ 31 h 77"/>
                  <a:gd name="T20" fmla="*/ 272 w 272"/>
                  <a:gd name="T21" fmla="*/ 0 h 77"/>
                  <a:gd name="T22" fmla="*/ 227 w 272"/>
                  <a:gd name="T23" fmla="*/ 24 h 77"/>
                  <a:gd name="T24" fmla="*/ 212 w 272"/>
                  <a:gd name="T25" fmla="*/ 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2" h="77">
                    <a:moveTo>
                      <a:pt x="212" y="4"/>
                    </a:moveTo>
                    <a:lnTo>
                      <a:pt x="113" y="7"/>
                    </a:lnTo>
                    <a:lnTo>
                      <a:pt x="96" y="21"/>
                    </a:lnTo>
                    <a:lnTo>
                      <a:pt x="64" y="23"/>
                    </a:lnTo>
                    <a:lnTo>
                      <a:pt x="45" y="6"/>
                    </a:lnTo>
                    <a:lnTo>
                      <a:pt x="0" y="7"/>
                    </a:lnTo>
                    <a:lnTo>
                      <a:pt x="0" y="60"/>
                    </a:lnTo>
                    <a:lnTo>
                      <a:pt x="111" y="52"/>
                    </a:lnTo>
                    <a:lnTo>
                      <a:pt x="125" y="77"/>
                    </a:lnTo>
                    <a:lnTo>
                      <a:pt x="264" y="31"/>
                    </a:lnTo>
                    <a:lnTo>
                      <a:pt x="272" y="0"/>
                    </a:lnTo>
                    <a:lnTo>
                      <a:pt x="227" y="24"/>
                    </a:lnTo>
                    <a:lnTo>
                      <a:pt x="212" y="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3" name="Freeform 64">
                <a:extLst>
                  <a:ext uri="{FF2B5EF4-FFF2-40B4-BE49-F238E27FC236}">
                    <a16:creationId xmlns:a16="http://schemas.microsoft.com/office/drawing/2014/main" xmlns="" id="{2DF777E9-5F7A-413C-B939-B78C515D5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4042"/>
                <a:ext cx="50" cy="26"/>
              </a:xfrm>
              <a:custGeom>
                <a:avLst/>
                <a:gdLst>
                  <a:gd name="T0" fmla="*/ 50 w 50"/>
                  <a:gd name="T1" fmla="*/ 26 h 26"/>
                  <a:gd name="T2" fmla="*/ 44 w 50"/>
                  <a:gd name="T3" fmla="*/ 0 h 26"/>
                  <a:gd name="T4" fmla="*/ 5 w 50"/>
                  <a:gd name="T5" fmla="*/ 1 h 26"/>
                  <a:gd name="T6" fmla="*/ 0 w 50"/>
                  <a:gd name="T7" fmla="*/ 26 h 26"/>
                  <a:gd name="T8" fmla="*/ 24 w 50"/>
                  <a:gd name="T9" fmla="*/ 21 h 26"/>
                  <a:gd name="T10" fmla="*/ 50 w 50"/>
                  <a:gd name="T1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26">
                    <a:moveTo>
                      <a:pt x="50" y="26"/>
                    </a:moveTo>
                    <a:lnTo>
                      <a:pt x="44" y="0"/>
                    </a:lnTo>
                    <a:lnTo>
                      <a:pt x="5" y="1"/>
                    </a:lnTo>
                    <a:lnTo>
                      <a:pt x="0" y="26"/>
                    </a:lnTo>
                    <a:lnTo>
                      <a:pt x="24" y="21"/>
                    </a:lnTo>
                    <a:lnTo>
                      <a:pt x="50" y="2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4" name="Freeform 65">
                <a:extLst>
                  <a:ext uri="{FF2B5EF4-FFF2-40B4-BE49-F238E27FC236}">
                    <a16:creationId xmlns:a16="http://schemas.microsoft.com/office/drawing/2014/main" xmlns="" id="{F310AD3A-2B65-4356-A61F-44A258AA4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" y="4050"/>
                <a:ext cx="23" cy="26"/>
              </a:xfrm>
              <a:custGeom>
                <a:avLst/>
                <a:gdLst>
                  <a:gd name="T0" fmla="*/ 13 w 23"/>
                  <a:gd name="T1" fmla="*/ 0 h 26"/>
                  <a:gd name="T2" fmla="*/ 0 w 23"/>
                  <a:gd name="T3" fmla="*/ 13 h 26"/>
                  <a:gd name="T4" fmla="*/ 1 w 23"/>
                  <a:gd name="T5" fmla="*/ 26 h 26"/>
                  <a:gd name="T6" fmla="*/ 23 w 23"/>
                  <a:gd name="T7" fmla="*/ 17 h 26"/>
                  <a:gd name="T8" fmla="*/ 13 w 23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6">
                    <a:moveTo>
                      <a:pt x="13" y="0"/>
                    </a:moveTo>
                    <a:lnTo>
                      <a:pt x="0" y="13"/>
                    </a:lnTo>
                    <a:lnTo>
                      <a:pt x="1" y="26"/>
                    </a:lnTo>
                    <a:lnTo>
                      <a:pt x="23" y="17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5" name="Freeform 66">
                <a:extLst>
                  <a:ext uri="{FF2B5EF4-FFF2-40B4-BE49-F238E27FC236}">
                    <a16:creationId xmlns:a16="http://schemas.microsoft.com/office/drawing/2014/main" xmlns="" id="{59E224FA-C0FB-43C7-B928-E5FF3ABBC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2" y="4070"/>
                <a:ext cx="25" cy="32"/>
              </a:xfrm>
              <a:custGeom>
                <a:avLst/>
                <a:gdLst>
                  <a:gd name="T0" fmla="*/ 0 w 25"/>
                  <a:gd name="T1" fmla="*/ 12 h 32"/>
                  <a:gd name="T2" fmla="*/ 7 w 25"/>
                  <a:gd name="T3" fmla="*/ 32 h 32"/>
                  <a:gd name="T4" fmla="*/ 25 w 25"/>
                  <a:gd name="T5" fmla="*/ 20 h 32"/>
                  <a:gd name="T6" fmla="*/ 17 w 25"/>
                  <a:gd name="T7" fmla="*/ 0 h 32"/>
                  <a:gd name="T8" fmla="*/ 0 w 25"/>
                  <a:gd name="T9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2">
                    <a:moveTo>
                      <a:pt x="0" y="12"/>
                    </a:moveTo>
                    <a:lnTo>
                      <a:pt x="7" y="32"/>
                    </a:lnTo>
                    <a:lnTo>
                      <a:pt x="25" y="20"/>
                    </a:lnTo>
                    <a:lnTo>
                      <a:pt x="17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6" name="Freeform 67">
                <a:extLst>
                  <a:ext uri="{FF2B5EF4-FFF2-40B4-BE49-F238E27FC236}">
                    <a16:creationId xmlns:a16="http://schemas.microsoft.com/office/drawing/2014/main" xmlns="" id="{E62AD7AB-4A46-4B4E-B996-C6638B485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" y="4117"/>
                <a:ext cx="21" cy="16"/>
              </a:xfrm>
              <a:custGeom>
                <a:avLst/>
                <a:gdLst>
                  <a:gd name="T0" fmla="*/ 21 w 21"/>
                  <a:gd name="T1" fmla="*/ 4 h 16"/>
                  <a:gd name="T2" fmla="*/ 6 w 21"/>
                  <a:gd name="T3" fmla="*/ 0 h 16"/>
                  <a:gd name="T4" fmla="*/ 0 w 21"/>
                  <a:gd name="T5" fmla="*/ 14 h 16"/>
                  <a:gd name="T6" fmla="*/ 17 w 21"/>
                  <a:gd name="T7" fmla="*/ 16 h 16"/>
                  <a:gd name="T8" fmla="*/ 21 w 21"/>
                  <a:gd name="T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6">
                    <a:moveTo>
                      <a:pt x="21" y="4"/>
                    </a:moveTo>
                    <a:lnTo>
                      <a:pt x="6" y="0"/>
                    </a:lnTo>
                    <a:lnTo>
                      <a:pt x="0" y="14"/>
                    </a:lnTo>
                    <a:lnTo>
                      <a:pt x="17" y="16"/>
                    </a:lnTo>
                    <a:lnTo>
                      <a:pt x="21" y="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7" name="Freeform 68">
                <a:extLst>
                  <a:ext uri="{FF2B5EF4-FFF2-40B4-BE49-F238E27FC236}">
                    <a16:creationId xmlns:a16="http://schemas.microsoft.com/office/drawing/2014/main" xmlns="" id="{CBD017F1-357D-4546-AF1D-0E274CFAA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8" y="4094"/>
                <a:ext cx="20" cy="25"/>
              </a:xfrm>
              <a:custGeom>
                <a:avLst/>
                <a:gdLst>
                  <a:gd name="T0" fmla="*/ 20 w 20"/>
                  <a:gd name="T1" fmla="*/ 11 h 25"/>
                  <a:gd name="T2" fmla="*/ 9 w 20"/>
                  <a:gd name="T3" fmla="*/ 0 h 25"/>
                  <a:gd name="T4" fmla="*/ 0 w 20"/>
                  <a:gd name="T5" fmla="*/ 20 h 25"/>
                  <a:gd name="T6" fmla="*/ 9 w 20"/>
                  <a:gd name="T7" fmla="*/ 25 h 25"/>
                  <a:gd name="T8" fmla="*/ 20 w 20"/>
                  <a:gd name="T9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20" y="11"/>
                    </a:moveTo>
                    <a:lnTo>
                      <a:pt x="9" y="0"/>
                    </a:lnTo>
                    <a:lnTo>
                      <a:pt x="0" y="20"/>
                    </a:lnTo>
                    <a:lnTo>
                      <a:pt x="9" y="25"/>
                    </a:lnTo>
                    <a:lnTo>
                      <a:pt x="20" y="1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8" name="Freeform 69">
                <a:extLst>
                  <a:ext uri="{FF2B5EF4-FFF2-40B4-BE49-F238E27FC236}">
                    <a16:creationId xmlns:a16="http://schemas.microsoft.com/office/drawing/2014/main" xmlns="" id="{60929F67-9CDC-4F39-9D28-D7E8462A0D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9" y="4093"/>
                <a:ext cx="19" cy="20"/>
              </a:xfrm>
              <a:custGeom>
                <a:avLst/>
                <a:gdLst>
                  <a:gd name="T0" fmla="*/ 0 w 19"/>
                  <a:gd name="T1" fmla="*/ 20 h 20"/>
                  <a:gd name="T2" fmla="*/ 14 w 19"/>
                  <a:gd name="T3" fmla="*/ 18 h 20"/>
                  <a:gd name="T4" fmla="*/ 19 w 19"/>
                  <a:gd name="T5" fmla="*/ 1 h 20"/>
                  <a:gd name="T6" fmla="*/ 4 w 19"/>
                  <a:gd name="T7" fmla="*/ 0 h 20"/>
                  <a:gd name="T8" fmla="*/ 0 w 19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0">
                    <a:moveTo>
                      <a:pt x="0" y="20"/>
                    </a:moveTo>
                    <a:lnTo>
                      <a:pt x="14" y="18"/>
                    </a:lnTo>
                    <a:lnTo>
                      <a:pt x="19" y="1"/>
                    </a:lnTo>
                    <a:lnTo>
                      <a:pt x="4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9" name="Freeform 70">
                <a:extLst>
                  <a:ext uri="{FF2B5EF4-FFF2-40B4-BE49-F238E27FC236}">
                    <a16:creationId xmlns:a16="http://schemas.microsoft.com/office/drawing/2014/main" xmlns="" id="{DD8DB211-A59B-4E11-BFA6-40CABB43C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" y="4059"/>
                <a:ext cx="19" cy="18"/>
              </a:xfrm>
              <a:custGeom>
                <a:avLst/>
                <a:gdLst>
                  <a:gd name="T0" fmla="*/ 8 w 19"/>
                  <a:gd name="T1" fmla="*/ 0 h 18"/>
                  <a:gd name="T2" fmla="*/ 0 w 19"/>
                  <a:gd name="T3" fmla="*/ 8 h 18"/>
                  <a:gd name="T4" fmla="*/ 17 w 19"/>
                  <a:gd name="T5" fmla="*/ 18 h 18"/>
                  <a:gd name="T6" fmla="*/ 19 w 19"/>
                  <a:gd name="T7" fmla="*/ 4 h 18"/>
                  <a:gd name="T8" fmla="*/ 8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8" y="0"/>
                    </a:moveTo>
                    <a:lnTo>
                      <a:pt x="0" y="8"/>
                    </a:lnTo>
                    <a:lnTo>
                      <a:pt x="17" y="18"/>
                    </a:lnTo>
                    <a:lnTo>
                      <a:pt x="19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0" name="Freeform 71">
                <a:extLst>
                  <a:ext uri="{FF2B5EF4-FFF2-40B4-BE49-F238E27FC236}">
                    <a16:creationId xmlns:a16="http://schemas.microsoft.com/office/drawing/2014/main" xmlns="" id="{B4340412-E547-4029-B958-C89DE564C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7" y="4019"/>
                <a:ext cx="20" cy="21"/>
              </a:xfrm>
              <a:custGeom>
                <a:avLst/>
                <a:gdLst>
                  <a:gd name="T0" fmla="*/ 0 w 20"/>
                  <a:gd name="T1" fmla="*/ 12 h 21"/>
                  <a:gd name="T2" fmla="*/ 12 w 20"/>
                  <a:gd name="T3" fmla="*/ 21 h 21"/>
                  <a:gd name="T4" fmla="*/ 20 w 20"/>
                  <a:gd name="T5" fmla="*/ 14 h 21"/>
                  <a:gd name="T6" fmla="*/ 8 w 20"/>
                  <a:gd name="T7" fmla="*/ 0 h 21"/>
                  <a:gd name="T8" fmla="*/ 0 w 20"/>
                  <a:gd name="T9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1">
                    <a:moveTo>
                      <a:pt x="0" y="12"/>
                    </a:moveTo>
                    <a:lnTo>
                      <a:pt x="12" y="21"/>
                    </a:lnTo>
                    <a:lnTo>
                      <a:pt x="20" y="14"/>
                    </a:lnTo>
                    <a:lnTo>
                      <a:pt x="8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1" name="Freeform 72">
                <a:extLst>
                  <a:ext uri="{FF2B5EF4-FFF2-40B4-BE49-F238E27FC236}">
                    <a16:creationId xmlns:a16="http://schemas.microsoft.com/office/drawing/2014/main" xmlns="" id="{0AC7324E-94CC-4D07-8594-C802800E0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9" y="3958"/>
                <a:ext cx="27" cy="19"/>
              </a:xfrm>
              <a:custGeom>
                <a:avLst/>
                <a:gdLst>
                  <a:gd name="T0" fmla="*/ 17 w 27"/>
                  <a:gd name="T1" fmla="*/ 0 h 19"/>
                  <a:gd name="T2" fmla="*/ 0 w 27"/>
                  <a:gd name="T3" fmla="*/ 8 h 19"/>
                  <a:gd name="T4" fmla="*/ 5 w 27"/>
                  <a:gd name="T5" fmla="*/ 19 h 19"/>
                  <a:gd name="T6" fmla="*/ 27 w 27"/>
                  <a:gd name="T7" fmla="*/ 11 h 19"/>
                  <a:gd name="T8" fmla="*/ 17 w 27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9">
                    <a:moveTo>
                      <a:pt x="17" y="0"/>
                    </a:moveTo>
                    <a:lnTo>
                      <a:pt x="0" y="8"/>
                    </a:lnTo>
                    <a:lnTo>
                      <a:pt x="5" y="19"/>
                    </a:lnTo>
                    <a:lnTo>
                      <a:pt x="27" y="11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2" name="Freeform 73">
                <a:extLst>
                  <a:ext uri="{FF2B5EF4-FFF2-40B4-BE49-F238E27FC236}">
                    <a16:creationId xmlns:a16="http://schemas.microsoft.com/office/drawing/2014/main" xmlns="" id="{4D8849BD-2A08-44B8-9F32-B3D115E73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" y="3476"/>
                <a:ext cx="560" cy="709"/>
              </a:xfrm>
              <a:custGeom>
                <a:avLst/>
                <a:gdLst>
                  <a:gd name="T0" fmla="*/ 397 w 560"/>
                  <a:gd name="T1" fmla="*/ 519 h 709"/>
                  <a:gd name="T2" fmla="*/ 375 w 560"/>
                  <a:gd name="T3" fmla="*/ 450 h 709"/>
                  <a:gd name="T4" fmla="*/ 249 w 560"/>
                  <a:gd name="T5" fmla="*/ 408 h 709"/>
                  <a:gd name="T6" fmla="*/ 281 w 560"/>
                  <a:gd name="T7" fmla="*/ 391 h 709"/>
                  <a:gd name="T8" fmla="*/ 266 w 560"/>
                  <a:gd name="T9" fmla="*/ 354 h 709"/>
                  <a:gd name="T10" fmla="*/ 309 w 560"/>
                  <a:gd name="T11" fmla="*/ 360 h 709"/>
                  <a:gd name="T12" fmla="*/ 238 w 560"/>
                  <a:gd name="T13" fmla="*/ 271 h 709"/>
                  <a:gd name="T14" fmla="*/ 242 w 560"/>
                  <a:gd name="T15" fmla="*/ 203 h 709"/>
                  <a:gd name="T16" fmla="*/ 272 w 560"/>
                  <a:gd name="T17" fmla="*/ 226 h 709"/>
                  <a:gd name="T18" fmla="*/ 326 w 560"/>
                  <a:gd name="T19" fmla="*/ 265 h 709"/>
                  <a:gd name="T20" fmla="*/ 310 w 560"/>
                  <a:gd name="T21" fmla="*/ 227 h 709"/>
                  <a:gd name="T22" fmla="*/ 352 w 560"/>
                  <a:gd name="T23" fmla="*/ 254 h 709"/>
                  <a:gd name="T24" fmla="*/ 332 w 560"/>
                  <a:gd name="T25" fmla="*/ 221 h 709"/>
                  <a:gd name="T26" fmla="*/ 366 w 560"/>
                  <a:gd name="T27" fmla="*/ 227 h 709"/>
                  <a:gd name="T28" fmla="*/ 380 w 560"/>
                  <a:gd name="T29" fmla="*/ 210 h 709"/>
                  <a:gd name="T30" fmla="*/ 318 w 560"/>
                  <a:gd name="T31" fmla="*/ 158 h 709"/>
                  <a:gd name="T32" fmla="*/ 378 w 560"/>
                  <a:gd name="T33" fmla="*/ 133 h 709"/>
                  <a:gd name="T34" fmla="*/ 426 w 560"/>
                  <a:gd name="T35" fmla="*/ 122 h 709"/>
                  <a:gd name="T36" fmla="*/ 547 w 560"/>
                  <a:gd name="T37" fmla="*/ 102 h 709"/>
                  <a:gd name="T38" fmla="*/ 560 w 560"/>
                  <a:gd name="T39" fmla="*/ 62 h 709"/>
                  <a:gd name="T40" fmla="*/ 539 w 560"/>
                  <a:gd name="T41" fmla="*/ 13 h 709"/>
                  <a:gd name="T42" fmla="*/ 500 w 560"/>
                  <a:gd name="T43" fmla="*/ 39 h 709"/>
                  <a:gd name="T44" fmla="*/ 363 w 560"/>
                  <a:gd name="T45" fmla="*/ 37 h 709"/>
                  <a:gd name="T46" fmla="*/ 296 w 560"/>
                  <a:gd name="T47" fmla="*/ 87 h 709"/>
                  <a:gd name="T48" fmla="*/ 222 w 560"/>
                  <a:gd name="T49" fmla="*/ 130 h 709"/>
                  <a:gd name="T50" fmla="*/ 158 w 560"/>
                  <a:gd name="T51" fmla="*/ 161 h 709"/>
                  <a:gd name="T52" fmla="*/ 68 w 560"/>
                  <a:gd name="T53" fmla="*/ 217 h 709"/>
                  <a:gd name="T54" fmla="*/ 51 w 560"/>
                  <a:gd name="T55" fmla="*/ 265 h 709"/>
                  <a:gd name="T56" fmla="*/ 20 w 560"/>
                  <a:gd name="T57" fmla="*/ 329 h 709"/>
                  <a:gd name="T58" fmla="*/ 15 w 560"/>
                  <a:gd name="T59" fmla="*/ 366 h 709"/>
                  <a:gd name="T60" fmla="*/ 76 w 560"/>
                  <a:gd name="T61" fmla="*/ 438 h 709"/>
                  <a:gd name="T62" fmla="*/ 161 w 560"/>
                  <a:gd name="T63" fmla="*/ 489 h 709"/>
                  <a:gd name="T64" fmla="*/ 213 w 560"/>
                  <a:gd name="T65" fmla="*/ 472 h 709"/>
                  <a:gd name="T66" fmla="*/ 249 w 560"/>
                  <a:gd name="T67" fmla="*/ 479 h 709"/>
                  <a:gd name="T68" fmla="*/ 289 w 560"/>
                  <a:gd name="T69" fmla="*/ 509 h 709"/>
                  <a:gd name="T70" fmla="*/ 131 w 560"/>
                  <a:gd name="T71" fmla="*/ 519 h 709"/>
                  <a:gd name="T72" fmla="*/ 134 w 560"/>
                  <a:gd name="T73" fmla="*/ 569 h 709"/>
                  <a:gd name="T74" fmla="*/ 184 w 560"/>
                  <a:gd name="T75" fmla="*/ 601 h 709"/>
                  <a:gd name="T76" fmla="*/ 204 w 560"/>
                  <a:gd name="T77" fmla="*/ 679 h 709"/>
                  <a:gd name="T78" fmla="*/ 230 w 560"/>
                  <a:gd name="T79" fmla="*/ 669 h 709"/>
                  <a:gd name="T80" fmla="*/ 233 w 560"/>
                  <a:gd name="T81" fmla="*/ 648 h 709"/>
                  <a:gd name="T82" fmla="*/ 273 w 560"/>
                  <a:gd name="T83" fmla="*/ 702 h 709"/>
                  <a:gd name="T84" fmla="*/ 289 w 560"/>
                  <a:gd name="T85" fmla="*/ 658 h 709"/>
                  <a:gd name="T86" fmla="*/ 329 w 560"/>
                  <a:gd name="T87" fmla="*/ 683 h 709"/>
                  <a:gd name="T88" fmla="*/ 340 w 560"/>
                  <a:gd name="T89" fmla="*/ 640 h 709"/>
                  <a:gd name="T90" fmla="*/ 289 w 560"/>
                  <a:gd name="T91" fmla="*/ 577 h 709"/>
                  <a:gd name="T92" fmla="*/ 324 w 560"/>
                  <a:gd name="T93" fmla="*/ 578 h 709"/>
                  <a:gd name="T94" fmla="*/ 355 w 560"/>
                  <a:gd name="T95" fmla="*/ 569 h 709"/>
                  <a:gd name="T96" fmla="*/ 335 w 560"/>
                  <a:gd name="T97" fmla="*/ 506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0" h="709">
                    <a:moveTo>
                      <a:pt x="369" y="515"/>
                    </a:moveTo>
                    <a:lnTo>
                      <a:pt x="397" y="519"/>
                    </a:lnTo>
                    <a:lnTo>
                      <a:pt x="400" y="479"/>
                    </a:lnTo>
                    <a:lnTo>
                      <a:pt x="375" y="450"/>
                    </a:lnTo>
                    <a:lnTo>
                      <a:pt x="278" y="410"/>
                    </a:lnTo>
                    <a:lnTo>
                      <a:pt x="249" y="408"/>
                    </a:lnTo>
                    <a:lnTo>
                      <a:pt x="247" y="397"/>
                    </a:lnTo>
                    <a:lnTo>
                      <a:pt x="281" y="391"/>
                    </a:lnTo>
                    <a:lnTo>
                      <a:pt x="293" y="377"/>
                    </a:lnTo>
                    <a:lnTo>
                      <a:pt x="266" y="354"/>
                    </a:lnTo>
                    <a:lnTo>
                      <a:pt x="276" y="339"/>
                    </a:lnTo>
                    <a:lnTo>
                      <a:pt x="309" y="360"/>
                    </a:lnTo>
                    <a:lnTo>
                      <a:pt x="309" y="339"/>
                    </a:lnTo>
                    <a:lnTo>
                      <a:pt x="238" y="271"/>
                    </a:lnTo>
                    <a:lnTo>
                      <a:pt x="229" y="220"/>
                    </a:lnTo>
                    <a:lnTo>
                      <a:pt x="242" y="203"/>
                    </a:lnTo>
                    <a:lnTo>
                      <a:pt x="249" y="221"/>
                    </a:lnTo>
                    <a:lnTo>
                      <a:pt x="272" y="226"/>
                    </a:lnTo>
                    <a:lnTo>
                      <a:pt x="304" y="261"/>
                    </a:lnTo>
                    <a:lnTo>
                      <a:pt x="326" y="265"/>
                    </a:lnTo>
                    <a:lnTo>
                      <a:pt x="307" y="240"/>
                    </a:lnTo>
                    <a:lnTo>
                      <a:pt x="310" y="227"/>
                    </a:lnTo>
                    <a:lnTo>
                      <a:pt x="332" y="248"/>
                    </a:lnTo>
                    <a:lnTo>
                      <a:pt x="352" y="254"/>
                    </a:lnTo>
                    <a:lnTo>
                      <a:pt x="352" y="238"/>
                    </a:lnTo>
                    <a:lnTo>
                      <a:pt x="332" y="221"/>
                    </a:lnTo>
                    <a:lnTo>
                      <a:pt x="330" y="209"/>
                    </a:lnTo>
                    <a:lnTo>
                      <a:pt x="366" y="227"/>
                    </a:lnTo>
                    <a:lnTo>
                      <a:pt x="380" y="226"/>
                    </a:lnTo>
                    <a:lnTo>
                      <a:pt x="380" y="210"/>
                    </a:lnTo>
                    <a:lnTo>
                      <a:pt x="309" y="170"/>
                    </a:lnTo>
                    <a:lnTo>
                      <a:pt x="318" y="158"/>
                    </a:lnTo>
                    <a:lnTo>
                      <a:pt x="363" y="156"/>
                    </a:lnTo>
                    <a:lnTo>
                      <a:pt x="378" y="133"/>
                    </a:lnTo>
                    <a:lnTo>
                      <a:pt x="406" y="139"/>
                    </a:lnTo>
                    <a:lnTo>
                      <a:pt x="426" y="122"/>
                    </a:lnTo>
                    <a:lnTo>
                      <a:pt x="531" y="127"/>
                    </a:lnTo>
                    <a:lnTo>
                      <a:pt x="547" y="102"/>
                    </a:lnTo>
                    <a:lnTo>
                      <a:pt x="545" y="81"/>
                    </a:lnTo>
                    <a:lnTo>
                      <a:pt x="560" y="62"/>
                    </a:lnTo>
                    <a:lnTo>
                      <a:pt x="557" y="20"/>
                    </a:lnTo>
                    <a:lnTo>
                      <a:pt x="539" y="13"/>
                    </a:lnTo>
                    <a:lnTo>
                      <a:pt x="516" y="0"/>
                    </a:lnTo>
                    <a:lnTo>
                      <a:pt x="500" y="39"/>
                    </a:lnTo>
                    <a:lnTo>
                      <a:pt x="434" y="64"/>
                    </a:lnTo>
                    <a:lnTo>
                      <a:pt x="363" y="37"/>
                    </a:lnTo>
                    <a:lnTo>
                      <a:pt x="343" y="37"/>
                    </a:lnTo>
                    <a:lnTo>
                      <a:pt x="296" y="87"/>
                    </a:lnTo>
                    <a:lnTo>
                      <a:pt x="245" y="102"/>
                    </a:lnTo>
                    <a:lnTo>
                      <a:pt x="222" y="130"/>
                    </a:lnTo>
                    <a:lnTo>
                      <a:pt x="185" y="136"/>
                    </a:lnTo>
                    <a:lnTo>
                      <a:pt x="158" y="161"/>
                    </a:lnTo>
                    <a:lnTo>
                      <a:pt x="63" y="184"/>
                    </a:lnTo>
                    <a:lnTo>
                      <a:pt x="68" y="217"/>
                    </a:lnTo>
                    <a:lnTo>
                      <a:pt x="51" y="231"/>
                    </a:lnTo>
                    <a:lnTo>
                      <a:pt x="51" y="265"/>
                    </a:lnTo>
                    <a:lnTo>
                      <a:pt x="22" y="288"/>
                    </a:lnTo>
                    <a:lnTo>
                      <a:pt x="20" y="329"/>
                    </a:lnTo>
                    <a:lnTo>
                      <a:pt x="0" y="334"/>
                    </a:lnTo>
                    <a:lnTo>
                      <a:pt x="15" y="366"/>
                    </a:lnTo>
                    <a:lnTo>
                      <a:pt x="73" y="417"/>
                    </a:lnTo>
                    <a:lnTo>
                      <a:pt x="76" y="438"/>
                    </a:lnTo>
                    <a:lnTo>
                      <a:pt x="120" y="492"/>
                    </a:lnTo>
                    <a:lnTo>
                      <a:pt x="161" y="489"/>
                    </a:lnTo>
                    <a:lnTo>
                      <a:pt x="179" y="472"/>
                    </a:lnTo>
                    <a:lnTo>
                      <a:pt x="213" y="472"/>
                    </a:lnTo>
                    <a:lnTo>
                      <a:pt x="235" y="465"/>
                    </a:lnTo>
                    <a:lnTo>
                      <a:pt x="249" y="479"/>
                    </a:lnTo>
                    <a:lnTo>
                      <a:pt x="315" y="490"/>
                    </a:lnTo>
                    <a:lnTo>
                      <a:pt x="289" y="509"/>
                    </a:lnTo>
                    <a:lnTo>
                      <a:pt x="188" y="490"/>
                    </a:lnTo>
                    <a:lnTo>
                      <a:pt x="131" y="519"/>
                    </a:lnTo>
                    <a:lnTo>
                      <a:pt x="120" y="543"/>
                    </a:lnTo>
                    <a:lnTo>
                      <a:pt x="134" y="569"/>
                    </a:lnTo>
                    <a:lnTo>
                      <a:pt x="150" y="566"/>
                    </a:lnTo>
                    <a:lnTo>
                      <a:pt x="184" y="601"/>
                    </a:lnTo>
                    <a:lnTo>
                      <a:pt x="184" y="641"/>
                    </a:lnTo>
                    <a:lnTo>
                      <a:pt x="204" y="679"/>
                    </a:lnTo>
                    <a:lnTo>
                      <a:pt x="225" y="688"/>
                    </a:lnTo>
                    <a:lnTo>
                      <a:pt x="230" y="669"/>
                    </a:lnTo>
                    <a:lnTo>
                      <a:pt x="224" y="652"/>
                    </a:lnTo>
                    <a:lnTo>
                      <a:pt x="233" y="648"/>
                    </a:lnTo>
                    <a:lnTo>
                      <a:pt x="256" y="660"/>
                    </a:lnTo>
                    <a:lnTo>
                      <a:pt x="273" y="702"/>
                    </a:lnTo>
                    <a:lnTo>
                      <a:pt x="293" y="709"/>
                    </a:lnTo>
                    <a:lnTo>
                      <a:pt x="289" y="658"/>
                    </a:lnTo>
                    <a:lnTo>
                      <a:pt x="306" y="657"/>
                    </a:lnTo>
                    <a:lnTo>
                      <a:pt x="329" y="683"/>
                    </a:lnTo>
                    <a:lnTo>
                      <a:pt x="352" y="685"/>
                    </a:lnTo>
                    <a:lnTo>
                      <a:pt x="340" y="640"/>
                    </a:lnTo>
                    <a:lnTo>
                      <a:pt x="307" y="586"/>
                    </a:lnTo>
                    <a:lnTo>
                      <a:pt x="289" y="577"/>
                    </a:lnTo>
                    <a:lnTo>
                      <a:pt x="295" y="555"/>
                    </a:lnTo>
                    <a:lnTo>
                      <a:pt x="324" y="578"/>
                    </a:lnTo>
                    <a:lnTo>
                      <a:pt x="340" y="597"/>
                    </a:lnTo>
                    <a:lnTo>
                      <a:pt x="355" y="569"/>
                    </a:lnTo>
                    <a:lnTo>
                      <a:pt x="321" y="518"/>
                    </a:lnTo>
                    <a:lnTo>
                      <a:pt x="335" y="506"/>
                    </a:lnTo>
                    <a:lnTo>
                      <a:pt x="369" y="51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3" name="Freeform 74">
                <a:extLst>
                  <a:ext uri="{FF2B5EF4-FFF2-40B4-BE49-F238E27FC236}">
                    <a16:creationId xmlns:a16="http://schemas.microsoft.com/office/drawing/2014/main" xmlns="" id="{FBFFD1CF-DE57-4B61-92ED-B593D7D5F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3" y="3629"/>
                <a:ext cx="32" cy="23"/>
              </a:xfrm>
              <a:custGeom>
                <a:avLst/>
                <a:gdLst>
                  <a:gd name="T0" fmla="*/ 20 w 32"/>
                  <a:gd name="T1" fmla="*/ 0 h 23"/>
                  <a:gd name="T2" fmla="*/ 0 w 32"/>
                  <a:gd name="T3" fmla="*/ 5 h 23"/>
                  <a:gd name="T4" fmla="*/ 8 w 32"/>
                  <a:gd name="T5" fmla="*/ 22 h 23"/>
                  <a:gd name="T6" fmla="*/ 22 w 32"/>
                  <a:gd name="T7" fmla="*/ 23 h 23"/>
                  <a:gd name="T8" fmla="*/ 32 w 32"/>
                  <a:gd name="T9" fmla="*/ 11 h 23"/>
                  <a:gd name="T10" fmla="*/ 20 w 32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3">
                    <a:moveTo>
                      <a:pt x="20" y="0"/>
                    </a:moveTo>
                    <a:lnTo>
                      <a:pt x="0" y="5"/>
                    </a:lnTo>
                    <a:lnTo>
                      <a:pt x="8" y="22"/>
                    </a:lnTo>
                    <a:lnTo>
                      <a:pt x="22" y="23"/>
                    </a:lnTo>
                    <a:lnTo>
                      <a:pt x="32" y="11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4" name="Freeform 75">
                <a:extLst>
                  <a:ext uri="{FF2B5EF4-FFF2-40B4-BE49-F238E27FC236}">
                    <a16:creationId xmlns:a16="http://schemas.microsoft.com/office/drawing/2014/main" xmlns="" id="{1CD43C0D-B6F9-4369-88DD-681D778BB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9" y="3629"/>
                <a:ext cx="24" cy="22"/>
              </a:xfrm>
              <a:custGeom>
                <a:avLst/>
                <a:gdLst>
                  <a:gd name="T0" fmla="*/ 0 w 24"/>
                  <a:gd name="T1" fmla="*/ 3 h 22"/>
                  <a:gd name="T2" fmla="*/ 0 w 24"/>
                  <a:gd name="T3" fmla="*/ 22 h 22"/>
                  <a:gd name="T4" fmla="*/ 24 w 24"/>
                  <a:gd name="T5" fmla="*/ 10 h 22"/>
                  <a:gd name="T6" fmla="*/ 23 w 24"/>
                  <a:gd name="T7" fmla="*/ 0 h 22"/>
                  <a:gd name="T8" fmla="*/ 0 w 24"/>
                  <a:gd name="T9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0" y="3"/>
                    </a:moveTo>
                    <a:lnTo>
                      <a:pt x="0" y="22"/>
                    </a:lnTo>
                    <a:lnTo>
                      <a:pt x="24" y="10"/>
                    </a:lnTo>
                    <a:lnTo>
                      <a:pt x="23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5" name="Freeform 76">
                <a:extLst>
                  <a:ext uri="{FF2B5EF4-FFF2-40B4-BE49-F238E27FC236}">
                    <a16:creationId xmlns:a16="http://schemas.microsoft.com/office/drawing/2014/main" xmlns="" id="{6C45D86F-5064-4341-9FC8-3D63F056A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" y="3699"/>
                <a:ext cx="31" cy="29"/>
              </a:xfrm>
              <a:custGeom>
                <a:avLst/>
                <a:gdLst>
                  <a:gd name="T0" fmla="*/ 26 w 31"/>
                  <a:gd name="T1" fmla="*/ 0 h 29"/>
                  <a:gd name="T2" fmla="*/ 0 w 31"/>
                  <a:gd name="T3" fmla="*/ 4 h 29"/>
                  <a:gd name="T4" fmla="*/ 6 w 31"/>
                  <a:gd name="T5" fmla="*/ 21 h 29"/>
                  <a:gd name="T6" fmla="*/ 31 w 31"/>
                  <a:gd name="T7" fmla="*/ 29 h 29"/>
                  <a:gd name="T8" fmla="*/ 26 w 3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9">
                    <a:moveTo>
                      <a:pt x="26" y="0"/>
                    </a:moveTo>
                    <a:lnTo>
                      <a:pt x="0" y="4"/>
                    </a:lnTo>
                    <a:lnTo>
                      <a:pt x="6" y="21"/>
                    </a:lnTo>
                    <a:lnTo>
                      <a:pt x="31" y="29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6" name="Freeform 77">
                <a:extLst>
                  <a:ext uri="{FF2B5EF4-FFF2-40B4-BE49-F238E27FC236}">
                    <a16:creationId xmlns:a16="http://schemas.microsoft.com/office/drawing/2014/main" xmlns="" id="{0C7C8D4E-03C8-441E-9A13-AE4A1E5A8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" y="3849"/>
                <a:ext cx="145" cy="112"/>
              </a:xfrm>
              <a:custGeom>
                <a:avLst/>
                <a:gdLst>
                  <a:gd name="T0" fmla="*/ 128 w 145"/>
                  <a:gd name="T1" fmla="*/ 80 h 112"/>
                  <a:gd name="T2" fmla="*/ 99 w 145"/>
                  <a:gd name="T3" fmla="*/ 37 h 112"/>
                  <a:gd name="T4" fmla="*/ 36 w 145"/>
                  <a:gd name="T5" fmla="*/ 15 h 112"/>
                  <a:gd name="T6" fmla="*/ 13 w 145"/>
                  <a:gd name="T7" fmla="*/ 0 h 112"/>
                  <a:gd name="T8" fmla="*/ 0 w 145"/>
                  <a:gd name="T9" fmla="*/ 20 h 112"/>
                  <a:gd name="T10" fmla="*/ 2 w 145"/>
                  <a:gd name="T11" fmla="*/ 31 h 112"/>
                  <a:gd name="T12" fmla="*/ 16 w 145"/>
                  <a:gd name="T13" fmla="*/ 27 h 112"/>
                  <a:gd name="T14" fmla="*/ 71 w 145"/>
                  <a:gd name="T15" fmla="*/ 65 h 112"/>
                  <a:gd name="T16" fmla="*/ 94 w 145"/>
                  <a:gd name="T17" fmla="*/ 85 h 112"/>
                  <a:gd name="T18" fmla="*/ 111 w 145"/>
                  <a:gd name="T19" fmla="*/ 88 h 112"/>
                  <a:gd name="T20" fmla="*/ 144 w 145"/>
                  <a:gd name="T21" fmla="*/ 112 h 112"/>
                  <a:gd name="T22" fmla="*/ 145 w 145"/>
                  <a:gd name="T23" fmla="*/ 83 h 112"/>
                  <a:gd name="T24" fmla="*/ 128 w 145"/>
                  <a:gd name="T25" fmla="*/ 8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5" h="112">
                    <a:moveTo>
                      <a:pt x="128" y="80"/>
                    </a:moveTo>
                    <a:lnTo>
                      <a:pt x="99" y="37"/>
                    </a:lnTo>
                    <a:lnTo>
                      <a:pt x="36" y="15"/>
                    </a:lnTo>
                    <a:lnTo>
                      <a:pt x="13" y="0"/>
                    </a:lnTo>
                    <a:lnTo>
                      <a:pt x="0" y="20"/>
                    </a:lnTo>
                    <a:lnTo>
                      <a:pt x="2" y="31"/>
                    </a:lnTo>
                    <a:lnTo>
                      <a:pt x="16" y="27"/>
                    </a:lnTo>
                    <a:lnTo>
                      <a:pt x="71" y="65"/>
                    </a:lnTo>
                    <a:lnTo>
                      <a:pt x="94" y="85"/>
                    </a:lnTo>
                    <a:lnTo>
                      <a:pt x="111" y="88"/>
                    </a:lnTo>
                    <a:lnTo>
                      <a:pt x="144" y="112"/>
                    </a:lnTo>
                    <a:lnTo>
                      <a:pt x="145" y="83"/>
                    </a:lnTo>
                    <a:lnTo>
                      <a:pt x="128" y="8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7" name="Freeform 78">
                <a:extLst>
                  <a:ext uri="{FF2B5EF4-FFF2-40B4-BE49-F238E27FC236}">
                    <a16:creationId xmlns:a16="http://schemas.microsoft.com/office/drawing/2014/main" xmlns="" id="{353E4F3C-EF42-48B4-9830-02451196B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" y="3821"/>
                <a:ext cx="17" cy="9"/>
              </a:xfrm>
              <a:custGeom>
                <a:avLst/>
                <a:gdLst>
                  <a:gd name="T0" fmla="*/ 10 w 17"/>
                  <a:gd name="T1" fmla="*/ 0 h 9"/>
                  <a:gd name="T2" fmla="*/ 0 w 17"/>
                  <a:gd name="T3" fmla="*/ 1 h 9"/>
                  <a:gd name="T4" fmla="*/ 3 w 17"/>
                  <a:gd name="T5" fmla="*/ 9 h 9"/>
                  <a:gd name="T6" fmla="*/ 17 w 17"/>
                  <a:gd name="T7" fmla="*/ 8 h 9"/>
                  <a:gd name="T8" fmla="*/ 10 w 17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9">
                    <a:moveTo>
                      <a:pt x="10" y="0"/>
                    </a:moveTo>
                    <a:lnTo>
                      <a:pt x="0" y="1"/>
                    </a:lnTo>
                    <a:lnTo>
                      <a:pt x="3" y="9"/>
                    </a:lnTo>
                    <a:lnTo>
                      <a:pt x="17" y="8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8" name="Freeform 79">
                <a:extLst>
                  <a:ext uri="{FF2B5EF4-FFF2-40B4-BE49-F238E27FC236}">
                    <a16:creationId xmlns:a16="http://schemas.microsoft.com/office/drawing/2014/main" xmlns="" id="{D4B41206-C978-4010-9AF7-02DF3DB28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3812"/>
                <a:ext cx="17" cy="15"/>
              </a:xfrm>
              <a:custGeom>
                <a:avLst/>
                <a:gdLst>
                  <a:gd name="T0" fmla="*/ 6 w 17"/>
                  <a:gd name="T1" fmla="*/ 0 h 15"/>
                  <a:gd name="T2" fmla="*/ 0 w 17"/>
                  <a:gd name="T3" fmla="*/ 6 h 15"/>
                  <a:gd name="T4" fmla="*/ 9 w 17"/>
                  <a:gd name="T5" fmla="*/ 15 h 15"/>
                  <a:gd name="T6" fmla="*/ 17 w 17"/>
                  <a:gd name="T7" fmla="*/ 9 h 15"/>
                  <a:gd name="T8" fmla="*/ 6 w 17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5">
                    <a:moveTo>
                      <a:pt x="6" y="0"/>
                    </a:moveTo>
                    <a:lnTo>
                      <a:pt x="0" y="6"/>
                    </a:lnTo>
                    <a:lnTo>
                      <a:pt x="9" y="15"/>
                    </a:lnTo>
                    <a:lnTo>
                      <a:pt x="17" y="9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9" name="Freeform 80">
                <a:extLst>
                  <a:ext uri="{FF2B5EF4-FFF2-40B4-BE49-F238E27FC236}">
                    <a16:creationId xmlns:a16="http://schemas.microsoft.com/office/drawing/2014/main" xmlns="" id="{65C76011-C701-43C0-95FC-23D6C2E04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" y="3790"/>
                <a:ext cx="19" cy="20"/>
              </a:xfrm>
              <a:custGeom>
                <a:avLst/>
                <a:gdLst>
                  <a:gd name="T0" fmla="*/ 8 w 19"/>
                  <a:gd name="T1" fmla="*/ 0 h 20"/>
                  <a:gd name="T2" fmla="*/ 0 w 19"/>
                  <a:gd name="T3" fmla="*/ 12 h 20"/>
                  <a:gd name="T4" fmla="*/ 2 w 19"/>
                  <a:gd name="T5" fmla="*/ 20 h 20"/>
                  <a:gd name="T6" fmla="*/ 19 w 19"/>
                  <a:gd name="T7" fmla="*/ 6 h 20"/>
                  <a:gd name="T8" fmla="*/ 8 w 19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0">
                    <a:moveTo>
                      <a:pt x="8" y="0"/>
                    </a:moveTo>
                    <a:lnTo>
                      <a:pt x="0" y="12"/>
                    </a:lnTo>
                    <a:lnTo>
                      <a:pt x="2" y="20"/>
                    </a:lnTo>
                    <a:lnTo>
                      <a:pt x="19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0" name="Freeform 81">
                <a:extLst>
                  <a:ext uri="{FF2B5EF4-FFF2-40B4-BE49-F238E27FC236}">
                    <a16:creationId xmlns:a16="http://schemas.microsoft.com/office/drawing/2014/main" xmlns="" id="{3686D618-4BBF-4BD6-B3BD-8C7FBFCCE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3954"/>
                <a:ext cx="34" cy="24"/>
              </a:xfrm>
              <a:custGeom>
                <a:avLst/>
                <a:gdLst>
                  <a:gd name="T0" fmla="*/ 0 w 34"/>
                  <a:gd name="T1" fmla="*/ 24 h 24"/>
                  <a:gd name="T2" fmla="*/ 34 w 34"/>
                  <a:gd name="T3" fmla="*/ 14 h 24"/>
                  <a:gd name="T4" fmla="*/ 31 w 34"/>
                  <a:gd name="T5" fmla="*/ 0 h 24"/>
                  <a:gd name="T6" fmla="*/ 5 w 34"/>
                  <a:gd name="T7" fmla="*/ 11 h 24"/>
                  <a:gd name="T8" fmla="*/ 0 w 34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0" y="24"/>
                    </a:moveTo>
                    <a:lnTo>
                      <a:pt x="34" y="14"/>
                    </a:lnTo>
                    <a:lnTo>
                      <a:pt x="31" y="0"/>
                    </a:lnTo>
                    <a:lnTo>
                      <a:pt x="5" y="11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1" name="Freeform 82">
                <a:extLst>
                  <a:ext uri="{FF2B5EF4-FFF2-40B4-BE49-F238E27FC236}">
                    <a16:creationId xmlns:a16="http://schemas.microsoft.com/office/drawing/2014/main" xmlns="" id="{5D532465-EFAD-4E96-BA40-4064F3C3A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" y="4175"/>
                <a:ext cx="19" cy="31"/>
              </a:xfrm>
              <a:custGeom>
                <a:avLst/>
                <a:gdLst>
                  <a:gd name="T0" fmla="*/ 2 w 19"/>
                  <a:gd name="T1" fmla="*/ 29 h 31"/>
                  <a:gd name="T2" fmla="*/ 19 w 19"/>
                  <a:gd name="T3" fmla="*/ 31 h 31"/>
                  <a:gd name="T4" fmla="*/ 17 w 19"/>
                  <a:gd name="T5" fmla="*/ 10 h 31"/>
                  <a:gd name="T6" fmla="*/ 0 w 19"/>
                  <a:gd name="T7" fmla="*/ 0 h 31"/>
                  <a:gd name="T8" fmla="*/ 2 w 19"/>
                  <a:gd name="T9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1">
                    <a:moveTo>
                      <a:pt x="2" y="29"/>
                    </a:moveTo>
                    <a:lnTo>
                      <a:pt x="19" y="31"/>
                    </a:lnTo>
                    <a:lnTo>
                      <a:pt x="17" y="10"/>
                    </a:lnTo>
                    <a:lnTo>
                      <a:pt x="0" y="0"/>
                    </a:lnTo>
                    <a:lnTo>
                      <a:pt x="2" y="2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2" name="Freeform 83">
                <a:extLst>
                  <a:ext uri="{FF2B5EF4-FFF2-40B4-BE49-F238E27FC236}">
                    <a16:creationId xmlns:a16="http://schemas.microsoft.com/office/drawing/2014/main" xmlns="" id="{F2275923-CC2A-46D2-9570-57216E5CC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4020"/>
                <a:ext cx="44" cy="39"/>
              </a:xfrm>
              <a:custGeom>
                <a:avLst/>
                <a:gdLst>
                  <a:gd name="T0" fmla="*/ 0 w 44"/>
                  <a:gd name="T1" fmla="*/ 16 h 39"/>
                  <a:gd name="T2" fmla="*/ 32 w 44"/>
                  <a:gd name="T3" fmla="*/ 39 h 39"/>
                  <a:gd name="T4" fmla="*/ 44 w 44"/>
                  <a:gd name="T5" fmla="*/ 22 h 39"/>
                  <a:gd name="T6" fmla="*/ 3 w 44"/>
                  <a:gd name="T7" fmla="*/ 0 h 39"/>
                  <a:gd name="T8" fmla="*/ 0 w 44"/>
                  <a:gd name="T9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9">
                    <a:moveTo>
                      <a:pt x="0" y="16"/>
                    </a:moveTo>
                    <a:lnTo>
                      <a:pt x="32" y="39"/>
                    </a:lnTo>
                    <a:lnTo>
                      <a:pt x="44" y="22"/>
                    </a:lnTo>
                    <a:lnTo>
                      <a:pt x="3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3" name="Freeform 84">
                <a:extLst>
                  <a:ext uri="{FF2B5EF4-FFF2-40B4-BE49-F238E27FC236}">
                    <a16:creationId xmlns:a16="http://schemas.microsoft.com/office/drawing/2014/main" xmlns="" id="{2E72D039-925E-4F58-90E2-C0E34C0A0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3940"/>
                <a:ext cx="39" cy="52"/>
              </a:xfrm>
              <a:custGeom>
                <a:avLst/>
                <a:gdLst>
                  <a:gd name="T0" fmla="*/ 39 w 39"/>
                  <a:gd name="T1" fmla="*/ 32 h 52"/>
                  <a:gd name="T2" fmla="*/ 33 w 39"/>
                  <a:gd name="T3" fmla="*/ 21 h 52"/>
                  <a:gd name="T4" fmla="*/ 27 w 39"/>
                  <a:gd name="T5" fmla="*/ 0 h 52"/>
                  <a:gd name="T6" fmla="*/ 13 w 39"/>
                  <a:gd name="T7" fmla="*/ 1 h 52"/>
                  <a:gd name="T8" fmla="*/ 14 w 39"/>
                  <a:gd name="T9" fmla="*/ 18 h 52"/>
                  <a:gd name="T10" fmla="*/ 0 w 39"/>
                  <a:gd name="T11" fmla="*/ 38 h 52"/>
                  <a:gd name="T12" fmla="*/ 5 w 39"/>
                  <a:gd name="T13" fmla="*/ 51 h 52"/>
                  <a:gd name="T14" fmla="*/ 30 w 39"/>
                  <a:gd name="T15" fmla="*/ 52 h 52"/>
                  <a:gd name="T16" fmla="*/ 39 w 39"/>
                  <a:gd name="T17" fmla="*/ 3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52">
                    <a:moveTo>
                      <a:pt x="39" y="32"/>
                    </a:moveTo>
                    <a:lnTo>
                      <a:pt x="33" y="21"/>
                    </a:lnTo>
                    <a:lnTo>
                      <a:pt x="27" y="0"/>
                    </a:lnTo>
                    <a:lnTo>
                      <a:pt x="13" y="1"/>
                    </a:lnTo>
                    <a:lnTo>
                      <a:pt x="14" y="18"/>
                    </a:lnTo>
                    <a:lnTo>
                      <a:pt x="0" y="38"/>
                    </a:lnTo>
                    <a:lnTo>
                      <a:pt x="5" y="51"/>
                    </a:lnTo>
                    <a:lnTo>
                      <a:pt x="30" y="52"/>
                    </a:lnTo>
                    <a:lnTo>
                      <a:pt x="39" y="3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4" name="Freeform 85">
                <a:extLst>
                  <a:ext uri="{FF2B5EF4-FFF2-40B4-BE49-F238E27FC236}">
                    <a16:creationId xmlns:a16="http://schemas.microsoft.com/office/drawing/2014/main" xmlns="" id="{96BEDAA3-E2CE-42BC-97B1-C02AC99F1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7" y="3813"/>
                <a:ext cx="37" cy="43"/>
              </a:xfrm>
              <a:custGeom>
                <a:avLst/>
                <a:gdLst>
                  <a:gd name="T0" fmla="*/ 22 w 37"/>
                  <a:gd name="T1" fmla="*/ 3 h 43"/>
                  <a:gd name="T2" fmla="*/ 9 w 37"/>
                  <a:gd name="T3" fmla="*/ 0 h 43"/>
                  <a:gd name="T4" fmla="*/ 0 w 37"/>
                  <a:gd name="T5" fmla="*/ 14 h 43"/>
                  <a:gd name="T6" fmla="*/ 29 w 37"/>
                  <a:gd name="T7" fmla="*/ 43 h 43"/>
                  <a:gd name="T8" fmla="*/ 37 w 37"/>
                  <a:gd name="T9" fmla="*/ 31 h 43"/>
                  <a:gd name="T10" fmla="*/ 25 w 37"/>
                  <a:gd name="T11" fmla="*/ 20 h 43"/>
                  <a:gd name="T12" fmla="*/ 22 w 37"/>
                  <a:gd name="T13" fmla="*/ 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43">
                    <a:moveTo>
                      <a:pt x="22" y="3"/>
                    </a:moveTo>
                    <a:lnTo>
                      <a:pt x="9" y="0"/>
                    </a:lnTo>
                    <a:lnTo>
                      <a:pt x="0" y="14"/>
                    </a:lnTo>
                    <a:lnTo>
                      <a:pt x="29" y="43"/>
                    </a:lnTo>
                    <a:lnTo>
                      <a:pt x="37" y="31"/>
                    </a:lnTo>
                    <a:lnTo>
                      <a:pt x="25" y="20"/>
                    </a:lnTo>
                    <a:lnTo>
                      <a:pt x="22" y="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5" name="Freeform 86">
                <a:extLst>
                  <a:ext uri="{FF2B5EF4-FFF2-40B4-BE49-F238E27FC236}">
                    <a16:creationId xmlns:a16="http://schemas.microsoft.com/office/drawing/2014/main" xmlns="" id="{3B59C29C-3F55-4204-9D1C-ADA34065B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" y="2464"/>
                <a:ext cx="1065" cy="1057"/>
              </a:xfrm>
              <a:custGeom>
                <a:avLst/>
                <a:gdLst>
                  <a:gd name="T0" fmla="*/ 992 w 1065"/>
                  <a:gd name="T1" fmla="*/ 263 h 1057"/>
                  <a:gd name="T2" fmla="*/ 963 w 1065"/>
                  <a:gd name="T3" fmla="*/ 257 h 1057"/>
                  <a:gd name="T4" fmla="*/ 925 w 1065"/>
                  <a:gd name="T5" fmla="*/ 215 h 1057"/>
                  <a:gd name="T6" fmla="*/ 843 w 1065"/>
                  <a:gd name="T7" fmla="*/ 206 h 1057"/>
                  <a:gd name="T8" fmla="*/ 809 w 1065"/>
                  <a:gd name="T9" fmla="*/ 187 h 1057"/>
                  <a:gd name="T10" fmla="*/ 783 w 1065"/>
                  <a:gd name="T11" fmla="*/ 133 h 1057"/>
                  <a:gd name="T12" fmla="*/ 742 w 1065"/>
                  <a:gd name="T13" fmla="*/ 112 h 1057"/>
                  <a:gd name="T14" fmla="*/ 676 w 1065"/>
                  <a:gd name="T15" fmla="*/ 39 h 1057"/>
                  <a:gd name="T16" fmla="*/ 631 w 1065"/>
                  <a:gd name="T17" fmla="*/ 0 h 1057"/>
                  <a:gd name="T18" fmla="*/ 545 w 1065"/>
                  <a:gd name="T19" fmla="*/ 85 h 1057"/>
                  <a:gd name="T20" fmla="*/ 532 w 1065"/>
                  <a:gd name="T21" fmla="*/ 116 h 1057"/>
                  <a:gd name="T22" fmla="*/ 495 w 1065"/>
                  <a:gd name="T23" fmla="*/ 129 h 1057"/>
                  <a:gd name="T24" fmla="*/ 412 w 1065"/>
                  <a:gd name="T25" fmla="*/ 158 h 1057"/>
                  <a:gd name="T26" fmla="*/ 427 w 1065"/>
                  <a:gd name="T27" fmla="*/ 186 h 1057"/>
                  <a:gd name="T28" fmla="*/ 378 w 1065"/>
                  <a:gd name="T29" fmla="*/ 184 h 1057"/>
                  <a:gd name="T30" fmla="*/ 315 w 1065"/>
                  <a:gd name="T31" fmla="*/ 175 h 1057"/>
                  <a:gd name="T32" fmla="*/ 319 w 1065"/>
                  <a:gd name="T33" fmla="*/ 132 h 1057"/>
                  <a:gd name="T34" fmla="*/ 278 w 1065"/>
                  <a:gd name="T35" fmla="*/ 122 h 1057"/>
                  <a:gd name="T36" fmla="*/ 255 w 1065"/>
                  <a:gd name="T37" fmla="*/ 118 h 1057"/>
                  <a:gd name="T38" fmla="*/ 262 w 1065"/>
                  <a:gd name="T39" fmla="*/ 178 h 1057"/>
                  <a:gd name="T40" fmla="*/ 273 w 1065"/>
                  <a:gd name="T41" fmla="*/ 224 h 1057"/>
                  <a:gd name="T42" fmla="*/ 264 w 1065"/>
                  <a:gd name="T43" fmla="*/ 258 h 1057"/>
                  <a:gd name="T44" fmla="*/ 180 w 1065"/>
                  <a:gd name="T45" fmla="*/ 249 h 1057"/>
                  <a:gd name="T46" fmla="*/ 117 w 1065"/>
                  <a:gd name="T47" fmla="*/ 207 h 1057"/>
                  <a:gd name="T48" fmla="*/ 40 w 1065"/>
                  <a:gd name="T49" fmla="*/ 207 h 1057"/>
                  <a:gd name="T50" fmla="*/ 0 w 1065"/>
                  <a:gd name="T51" fmla="*/ 247 h 1057"/>
                  <a:gd name="T52" fmla="*/ 28 w 1065"/>
                  <a:gd name="T53" fmla="*/ 258 h 1057"/>
                  <a:gd name="T54" fmla="*/ 8 w 1065"/>
                  <a:gd name="T55" fmla="*/ 266 h 1057"/>
                  <a:gd name="T56" fmla="*/ 29 w 1065"/>
                  <a:gd name="T57" fmla="*/ 274 h 1057"/>
                  <a:gd name="T58" fmla="*/ 28 w 1065"/>
                  <a:gd name="T59" fmla="*/ 300 h 1057"/>
                  <a:gd name="T60" fmla="*/ 49 w 1065"/>
                  <a:gd name="T61" fmla="*/ 319 h 1057"/>
                  <a:gd name="T62" fmla="*/ 119 w 1065"/>
                  <a:gd name="T63" fmla="*/ 371 h 1057"/>
                  <a:gd name="T64" fmla="*/ 167 w 1065"/>
                  <a:gd name="T65" fmla="*/ 390 h 1057"/>
                  <a:gd name="T66" fmla="*/ 205 w 1065"/>
                  <a:gd name="T67" fmla="*/ 422 h 1057"/>
                  <a:gd name="T68" fmla="*/ 185 w 1065"/>
                  <a:gd name="T69" fmla="*/ 434 h 1057"/>
                  <a:gd name="T70" fmla="*/ 188 w 1065"/>
                  <a:gd name="T71" fmla="*/ 492 h 1057"/>
                  <a:gd name="T72" fmla="*/ 245 w 1065"/>
                  <a:gd name="T73" fmla="*/ 558 h 1057"/>
                  <a:gd name="T74" fmla="*/ 239 w 1065"/>
                  <a:gd name="T75" fmla="*/ 623 h 1057"/>
                  <a:gd name="T76" fmla="*/ 272 w 1065"/>
                  <a:gd name="T77" fmla="*/ 699 h 1057"/>
                  <a:gd name="T78" fmla="*/ 236 w 1065"/>
                  <a:gd name="T79" fmla="*/ 662 h 1057"/>
                  <a:gd name="T80" fmla="*/ 179 w 1065"/>
                  <a:gd name="T81" fmla="*/ 876 h 1057"/>
                  <a:gd name="T82" fmla="*/ 196 w 1065"/>
                  <a:gd name="T83" fmla="*/ 907 h 1057"/>
                  <a:gd name="T84" fmla="*/ 234 w 1065"/>
                  <a:gd name="T85" fmla="*/ 958 h 1057"/>
                  <a:gd name="T86" fmla="*/ 327 w 1065"/>
                  <a:gd name="T87" fmla="*/ 998 h 1057"/>
                  <a:gd name="T88" fmla="*/ 423 w 1065"/>
                  <a:gd name="T89" fmla="*/ 1018 h 1057"/>
                  <a:gd name="T90" fmla="*/ 525 w 1065"/>
                  <a:gd name="T91" fmla="*/ 1057 h 1057"/>
                  <a:gd name="T92" fmla="*/ 576 w 1065"/>
                  <a:gd name="T93" fmla="*/ 1005 h 1057"/>
                  <a:gd name="T94" fmla="*/ 664 w 1065"/>
                  <a:gd name="T95" fmla="*/ 941 h 1057"/>
                  <a:gd name="T96" fmla="*/ 784 w 1065"/>
                  <a:gd name="T97" fmla="*/ 975 h 1057"/>
                  <a:gd name="T98" fmla="*/ 880 w 1065"/>
                  <a:gd name="T99" fmla="*/ 1014 h 1057"/>
                  <a:gd name="T100" fmla="*/ 912 w 1065"/>
                  <a:gd name="T101" fmla="*/ 969 h 1057"/>
                  <a:gd name="T102" fmla="*/ 971 w 1065"/>
                  <a:gd name="T103" fmla="*/ 930 h 1057"/>
                  <a:gd name="T104" fmla="*/ 991 w 1065"/>
                  <a:gd name="T105" fmla="*/ 890 h 1057"/>
                  <a:gd name="T106" fmla="*/ 942 w 1065"/>
                  <a:gd name="T107" fmla="*/ 869 h 1057"/>
                  <a:gd name="T108" fmla="*/ 926 w 1065"/>
                  <a:gd name="T109" fmla="*/ 759 h 1057"/>
                  <a:gd name="T110" fmla="*/ 942 w 1065"/>
                  <a:gd name="T111" fmla="*/ 691 h 1057"/>
                  <a:gd name="T112" fmla="*/ 938 w 1065"/>
                  <a:gd name="T113" fmla="*/ 601 h 1057"/>
                  <a:gd name="T114" fmla="*/ 878 w 1065"/>
                  <a:gd name="T115" fmla="*/ 581 h 1057"/>
                  <a:gd name="T116" fmla="*/ 959 w 1065"/>
                  <a:gd name="T117" fmla="*/ 498 h 1057"/>
                  <a:gd name="T118" fmla="*/ 986 w 1065"/>
                  <a:gd name="T119" fmla="*/ 459 h 1057"/>
                  <a:gd name="T120" fmla="*/ 1008 w 1065"/>
                  <a:gd name="T121" fmla="*/ 405 h 1057"/>
                  <a:gd name="T122" fmla="*/ 1065 w 1065"/>
                  <a:gd name="T123" fmla="*/ 295 h 10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65" h="1057">
                    <a:moveTo>
                      <a:pt x="1019" y="280"/>
                    </a:moveTo>
                    <a:lnTo>
                      <a:pt x="992" y="263"/>
                    </a:lnTo>
                    <a:lnTo>
                      <a:pt x="980" y="268"/>
                    </a:lnTo>
                    <a:lnTo>
                      <a:pt x="963" y="257"/>
                    </a:lnTo>
                    <a:lnTo>
                      <a:pt x="948" y="258"/>
                    </a:lnTo>
                    <a:lnTo>
                      <a:pt x="925" y="215"/>
                    </a:lnTo>
                    <a:lnTo>
                      <a:pt x="871" y="210"/>
                    </a:lnTo>
                    <a:lnTo>
                      <a:pt x="843" y="206"/>
                    </a:lnTo>
                    <a:lnTo>
                      <a:pt x="827" y="190"/>
                    </a:lnTo>
                    <a:lnTo>
                      <a:pt x="809" y="187"/>
                    </a:lnTo>
                    <a:lnTo>
                      <a:pt x="801" y="133"/>
                    </a:lnTo>
                    <a:lnTo>
                      <a:pt x="783" y="133"/>
                    </a:lnTo>
                    <a:lnTo>
                      <a:pt x="755" y="155"/>
                    </a:lnTo>
                    <a:lnTo>
                      <a:pt x="742" y="112"/>
                    </a:lnTo>
                    <a:lnTo>
                      <a:pt x="704" y="84"/>
                    </a:lnTo>
                    <a:lnTo>
                      <a:pt x="676" y="39"/>
                    </a:lnTo>
                    <a:lnTo>
                      <a:pt x="644" y="42"/>
                    </a:lnTo>
                    <a:lnTo>
                      <a:pt x="631" y="0"/>
                    </a:lnTo>
                    <a:lnTo>
                      <a:pt x="559" y="22"/>
                    </a:lnTo>
                    <a:lnTo>
                      <a:pt x="545" y="85"/>
                    </a:lnTo>
                    <a:lnTo>
                      <a:pt x="526" y="104"/>
                    </a:lnTo>
                    <a:lnTo>
                      <a:pt x="532" y="116"/>
                    </a:lnTo>
                    <a:lnTo>
                      <a:pt x="519" y="113"/>
                    </a:lnTo>
                    <a:lnTo>
                      <a:pt x="495" y="129"/>
                    </a:lnTo>
                    <a:lnTo>
                      <a:pt x="455" y="133"/>
                    </a:lnTo>
                    <a:lnTo>
                      <a:pt x="412" y="158"/>
                    </a:lnTo>
                    <a:lnTo>
                      <a:pt x="407" y="178"/>
                    </a:lnTo>
                    <a:lnTo>
                      <a:pt x="427" y="186"/>
                    </a:lnTo>
                    <a:lnTo>
                      <a:pt x="390" y="184"/>
                    </a:lnTo>
                    <a:lnTo>
                      <a:pt x="378" y="184"/>
                    </a:lnTo>
                    <a:lnTo>
                      <a:pt x="341" y="173"/>
                    </a:lnTo>
                    <a:lnTo>
                      <a:pt x="315" y="175"/>
                    </a:lnTo>
                    <a:lnTo>
                      <a:pt x="315" y="144"/>
                    </a:lnTo>
                    <a:lnTo>
                      <a:pt x="319" y="132"/>
                    </a:lnTo>
                    <a:lnTo>
                      <a:pt x="307" y="121"/>
                    </a:lnTo>
                    <a:lnTo>
                      <a:pt x="278" y="122"/>
                    </a:lnTo>
                    <a:lnTo>
                      <a:pt x="264" y="113"/>
                    </a:lnTo>
                    <a:lnTo>
                      <a:pt x="255" y="118"/>
                    </a:lnTo>
                    <a:lnTo>
                      <a:pt x="261" y="141"/>
                    </a:lnTo>
                    <a:lnTo>
                      <a:pt x="262" y="178"/>
                    </a:lnTo>
                    <a:lnTo>
                      <a:pt x="272" y="190"/>
                    </a:lnTo>
                    <a:lnTo>
                      <a:pt x="273" y="224"/>
                    </a:lnTo>
                    <a:lnTo>
                      <a:pt x="264" y="241"/>
                    </a:lnTo>
                    <a:lnTo>
                      <a:pt x="264" y="258"/>
                    </a:lnTo>
                    <a:lnTo>
                      <a:pt x="214" y="240"/>
                    </a:lnTo>
                    <a:lnTo>
                      <a:pt x="180" y="249"/>
                    </a:lnTo>
                    <a:lnTo>
                      <a:pt x="154" y="212"/>
                    </a:lnTo>
                    <a:lnTo>
                      <a:pt x="117" y="207"/>
                    </a:lnTo>
                    <a:lnTo>
                      <a:pt x="106" y="215"/>
                    </a:lnTo>
                    <a:lnTo>
                      <a:pt x="40" y="207"/>
                    </a:lnTo>
                    <a:lnTo>
                      <a:pt x="4" y="224"/>
                    </a:lnTo>
                    <a:lnTo>
                      <a:pt x="0" y="247"/>
                    </a:lnTo>
                    <a:lnTo>
                      <a:pt x="31" y="251"/>
                    </a:lnTo>
                    <a:lnTo>
                      <a:pt x="28" y="258"/>
                    </a:lnTo>
                    <a:lnTo>
                      <a:pt x="6" y="258"/>
                    </a:lnTo>
                    <a:lnTo>
                      <a:pt x="8" y="266"/>
                    </a:lnTo>
                    <a:lnTo>
                      <a:pt x="25" y="269"/>
                    </a:lnTo>
                    <a:lnTo>
                      <a:pt x="29" y="274"/>
                    </a:lnTo>
                    <a:lnTo>
                      <a:pt x="0" y="286"/>
                    </a:lnTo>
                    <a:lnTo>
                      <a:pt x="28" y="300"/>
                    </a:lnTo>
                    <a:lnTo>
                      <a:pt x="26" y="319"/>
                    </a:lnTo>
                    <a:lnTo>
                      <a:pt x="49" y="319"/>
                    </a:lnTo>
                    <a:lnTo>
                      <a:pt x="77" y="334"/>
                    </a:lnTo>
                    <a:lnTo>
                      <a:pt x="119" y="371"/>
                    </a:lnTo>
                    <a:lnTo>
                      <a:pt x="130" y="391"/>
                    </a:lnTo>
                    <a:lnTo>
                      <a:pt x="167" y="390"/>
                    </a:lnTo>
                    <a:lnTo>
                      <a:pt x="163" y="410"/>
                    </a:lnTo>
                    <a:lnTo>
                      <a:pt x="205" y="422"/>
                    </a:lnTo>
                    <a:lnTo>
                      <a:pt x="184" y="424"/>
                    </a:lnTo>
                    <a:lnTo>
                      <a:pt x="185" y="434"/>
                    </a:lnTo>
                    <a:lnTo>
                      <a:pt x="184" y="448"/>
                    </a:lnTo>
                    <a:lnTo>
                      <a:pt x="188" y="492"/>
                    </a:lnTo>
                    <a:lnTo>
                      <a:pt x="211" y="533"/>
                    </a:lnTo>
                    <a:lnTo>
                      <a:pt x="245" y="558"/>
                    </a:lnTo>
                    <a:lnTo>
                      <a:pt x="245" y="609"/>
                    </a:lnTo>
                    <a:lnTo>
                      <a:pt x="239" y="623"/>
                    </a:lnTo>
                    <a:lnTo>
                      <a:pt x="262" y="652"/>
                    </a:lnTo>
                    <a:lnTo>
                      <a:pt x="272" y="699"/>
                    </a:lnTo>
                    <a:lnTo>
                      <a:pt x="253" y="665"/>
                    </a:lnTo>
                    <a:lnTo>
                      <a:pt x="236" y="662"/>
                    </a:lnTo>
                    <a:lnTo>
                      <a:pt x="216" y="793"/>
                    </a:lnTo>
                    <a:lnTo>
                      <a:pt x="179" y="876"/>
                    </a:lnTo>
                    <a:lnTo>
                      <a:pt x="168" y="892"/>
                    </a:lnTo>
                    <a:lnTo>
                      <a:pt x="196" y="907"/>
                    </a:lnTo>
                    <a:lnTo>
                      <a:pt x="202" y="933"/>
                    </a:lnTo>
                    <a:lnTo>
                      <a:pt x="234" y="958"/>
                    </a:lnTo>
                    <a:lnTo>
                      <a:pt x="261" y="984"/>
                    </a:lnTo>
                    <a:lnTo>
                      <a:pt x="327" y="998"/>
                    </a:lnTo>
                    <a:lnTo>
                      <a:pt x="346" y="989"/>
                    </a:lnTo>
                    <a:lnTo>
                      <a:pt x="423" y="1018"/>
                    </a:lnTo>
                    <a:lnTo>
                      <a:pt x="469" y="1051"/>
                    </a:lnTo>
                    <a:lnTo>
                      <a:pt x="525" y="1057"/>
                    </a:lnTo>
                    <a:lnTo>
                      <a:pt x="571" y="1045"/>
                    </a:lnTo>
                    <a:lnTo>
                      <a:pt x="576" y="1005"/>
                    </a:lnTo>
                    <a:lnTo>
                      <a:pt x="591" y="977"/>
                    </a:lnTo>
                    <a:lnTo>
                      <a:pt x="664" y="941"/>
                    </a:lnTo>
                    <a:lnTo>
                      <a:pt x="727" y="969"/>
                    </a:lnTo>
                    <a:lnTo>
                      <a:pt x="784" y="975"/>
                    </a:lnTo>
                    <a:lnTo>
                      <a:pt x="846" y="1009"/>
                    </a:lnTo>
                    <a:lnTo>
                      <a:pt x="880" y="1014"/>
                    </a:lnTo>
                    <a:lnTo>
                      <a:pt x="909" y="986"/>
                    </a:lnTo>
                    <a:lnTo>
                      <a:pt x="912" y="969"/>
                    </a:lnTo>
                    <a:lnTo>
                      <a:pt x="955" y="949"/>
                    </a:lnTo>
                    <a:lnTo>
                      <a:pt x="971" y="930"/>
                    </a:lnTo>
                    <a:lnTo>
                      <a:pt x="999" y="915"/>
                    </a:lnTo>
                    <a:lnTo>
                      <a:pt x="991" y="890"/>
                    </a:lnTo>
                    <a:lnTo>
                      <a:pt x="959" y="886"/>
                    </a:lnTo>
                    <a:lnTo>
                      <a:pt x="942" y="869"/>
                    </a:lnTo>
                    <a:lnTo>
                      <a:pt x="937" y="798"/>
                    </a:lnTo>
                    <a:lnTo>
                      <a:pt x="926" y="759"/>
                    </a:lnTo>
                    <a:lnTo>
                      <a:pt x="943" y="731"/>
                    </a:lnTo>
                    <a:lnTo>
                      <a:pt x="942" y="691"/>
                    </a:lnTo>
                    <a:lnTo>
                      <a:pt x="951" y="655"/>
                    </a:lnTo>
                    <a:lnTo>
                      <a:pt x="938" y="601"/>
                    </a:lnTo>
                    <a:lnTo>
                      <a:pt x="877" y="604"/>
                    </a:lnTo>
                    <a:lnTo>
                      <a:pt x="878" y="581"/>
                    </a:lnTo>
                    <a:lnTo>
                      <a:pt x="923" y="526"/>
                    </a:lnTo>
                    <a:lnTo>
                      <a:pt x="959" y="498"/>
                    </a:lnTo>
                    <a:lnTo>
                      <a:pt x="962" y="481"/>
                    </a:lnTo>
                    <a:lnTo>
                      <a:pt x="986" y="459"/>
                    </a:lnTo>
                    <a:lnTo>
                      <a:pt x="1011" y="458"/>
                    </a:lnTo>
                    <a:lnTo>
                      <a:pt x="1008" y="405"/>
                    </a:lnTo>
                    <a:lnTo>
                      <a:pt x="1025" y="343"/>
                    </a:lnTo>
                    <a:lnTo>
                      <a:pt x="1065" y="295"/>
                    </a:lnTo>
                    <a:lnTo>
                      <a:pt x="1019" y="280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326" name="Freeform 87">
                <a:extLst>
                  <a:ext uri="{FF2B5EF4-FFF2-40B4-BE49-F238E27FC236}">
                    <a16:creationId xmlns:a16="http://schemas.microsoft.com/office/drawing/2014/main" xmlns="" id="{76012102-35F4-4048-8C2B-C97739C5C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9" y="3475"/>
                <a:ext cx="112" cy="196"/>
              </a:xfrm>
              <a:custGeom>
                <a:avLst/>
                <a:gdLst>
                  <a:gd name="T0" fmla="*/ 51 w 112"/>
                  <a:gd name="T1" fmla="*/ 196 h 196"/>
                  <a:gd name="T2" fmla="*/ 26 w 112"/>
                  <a:gd name="T3" fmla="*/ 176 h 196"/>
                  <a:gd name="T4" fmla="*/ 32 w 112"/>
                  <a:gd name="T5" fmla="*/ 168 h 196"/>
                  <a:gd name="T6" fmla="*/ 13 w 112"/>
                  <a:gd name="T7" fmla="*/ 162 h 196"/>
                  <a:gd name="T8" fmla="*/ 17 w 112"/>
                  <a:gd name="T9" fmla="*/ 147 h 196"/>
                  <a:gd name="T10" fmla="*/ 6 w 112"/>
                  <a:gd name="T11" fmla="*/ 137 h 196"/>
                  <a:gd name="T12" fmla="*/ 0 w 112"/>
                  <a:gd name="T13" fmla="*/ 92 h 196"/>
                  <a:gd name="T14" fmla="*/ 17 w 112"/>
                  <a:gd name="T15" fmla="*/ 62 h 196"/>
                  <a:gd name="T16" fmla="*/ 57 w 112"/>
                  <a:gd name="T17" fmla="*/ 40 h 196"/>
                  <a:gd name="T18" fmla="*/ 75 w 112"/>
                  <a:gd name="T19" fmla="*/ 46 h 196"/>
                  <a:gd name="T20" fmla="*/ 80 w 112"/>
                  <a:gd name="T21" fmla="*/ 37 h 196"/>
                  <a:gd name="T22" fmla="*/ 78 w 112"/>
                  <a:gd name="T23" fmla="*/ 18 h 196"/>
                  <a:gd name="T24" fmla="*/ 88 w 112"/>
                  <a:gd name="T25" fmla="*/ 0 h 196"/>
                  <a:gd name="T26" fmla="*/ 98 w 112"/>
                  <a:gd name="T27" fmla="*/ 11 h 196"/>
                  <a:gd name="T28" fmla="*/ 112 w 112"/>
                  <a:gd name="T29" fmla="*/ 102 h 196"/>
                  <a:gd name="T30" fmla="*/ 77 w 112"/>
                  <a:gd name="T31" fmla="*/ 170 h 196"/>
                  <a:gd name="T32" fmla="*/ 75 w 112"/>
                  <a:gd name="T33" fmla="*/ 182 h 196"/>
                  <a:gd name="T34" fmla="*/ 60 w 112"/>
                  <a:gd name="T35" fmla="*/ 196 h 196"/>
                  <a:gd name="T36" fmla="*/ 51 w 112"/>
                  <a:gd name="T37" fmla="*/ 1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196">
                    <a:moveTo>
                      <a:pt x="51" y="196"/>
                    </a:moveTo>
                    <a:lnTo>
                      <a:pt x="26" y="176"/>
                    </a:lnTo>
                    <a:lnTo>
                      <a:pt x="32" y="168"/>
                    </a:lnTo>
                    <a:lnTo>
                      <a:pt x="13" y="162"/>
                    </a:lnTo>
                    <a:lnTo>
                      <a:pt x="17" y="147"/>
                    </a:lnTo>
                    <a:lnTo>
                      <a:pt x="6" y="137"/>
                    </a:lnTo>
                    <a:lnTo>
                      <a:pt x="0" y="92"/>
                    </a:lnTo>
                    <a:lnTo>
                      <a:pt x="17" y="62"/>
                    </a:lnTo>
                    <a:lnTo>
                      <a:pt x="57" y="40"/>
                    </a:lnTo>
                    <a:lnTo>
                      <a:pt x="75" y="46"/>
                    </a:lnTo>
                    <a:lnTo>
                      <a:pt x="80" y="37"/>
                    </a:lnTo>
                    <a:lnTo>
                      <a:pt x="78" y="18"/>
                    </a:lnTo>
                    <a:lnTo>
                      <a:pt x="88" y="0"/>
                    </a:lnTo>
                    <a:lnTo>
                      <a:pt x="98" y="11"/>
                    </a:lnTo>
                    <a:lnTo>
                      <a:pt x="112" y="102"/>
                    </a:lnTo>
                    <a:lnTo>
                      <a:pt x="77" y="170"/>
                    </a:lnTo>
                    <a:lnTo>
                      <a:pt x="75" y="182"/>
                    </a:lnTo>
                    <a:lnTo>
                      <a:pt x="60" y="196"/>
                    </a:lnTo>
                    <a:lnTo>
                      <a:pt x="51" y="19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7" name="Freeform 88">
                <a:extLst>
                  <a:ext uri="{FF2B5EF4-FFF2-40B4-BE49-F238E27FC236}">
                    <a16:creationId xmlns:a16="http://schemas.microsoft.com/office/drawing/2014/main" xmlns="" id="{4ED7F49C-2287-4A40-8E1D-9C23EDE0F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7" y="113"/>
                <a:ext cx="684" cy="1265"/>
              </a:xfrm>
              <a:custGeom>
                <a:avLst/>
                <a:gdLst>
                  <a:gd name="T0" fmla="*/ 668 w 684"/>
                  <a:gd name="T1" fmla="*/ 772 h 1265"/>
                  <a:gd name="T2" fmla="*/ 645 w 684"/>
                  <a:gd name="T3" fmla="*/ 769 h 1265"/>
                  <a:gd name="T4" fmla="*/ 585 w 684"/>
                  <a:gd name="T5" fmla="*/ 704 h 1265"/>
                  <a:gd name="T6" fmla="*/ 594 w 684"/>
                  <a:gd name="T7" fmla="*/ 652 h 1265"/>
                  <a:gd name="T8" fmla="*/ 522 w 684"/>
                  <a:gd name="T9" fmla="*/ 581 h 1265"/>
                  <a:gd name="T10" fmla="*/ 496 w 684"/>
                  <a:gd name="T11" fmla="*/ 474 h 1265"/>
                  <a:gd name="T12" fmla="*/ 431 w 684"/>
                  <a:gd name="T13" fmla="*/ 369 h 1265"/>
                  <a:gd name="T14" fmla="*/ 409 w 684"/>
                  <a:gd name="T15" fmla="*/ 194 h 1265"/>
                  <a:gd name="T16" fmla="*/ 352 w 684"/>
                  <a:gd name="T17" fmla="*/ 168 h 1265"/>
                  <a:gd name="T18" fmla="*/ 344 w 684"/>
                  <a:gd name="T19" fmla="*/ 134 h 1265"/>
                  <a:gd name="T20" fmla="*/ 361 w 684"/>
                  <a:gd name="T21" fmla="*/ 83 h 1265"/>
                  <a:gd name="T22" fmla="*/ 338 w 684"/>
                  <a:gd name="T23" fmla="*/ 28 h 1265"/>
                  <a:gd name="T24" fmla="*/ 276 w 684"/>
                  <a:gd name="T25" fmla="*/ 0 h 1265"/>
                  <a:gd name="T26" fmla="*/ 255 w 684"/>
                  <a:gd name="T27" fmla="*/ 32 h 1265"/>
                  <a:gd name="T28" fmla="*/ 215 w 684"/>
                  <a:gd name="T29" fmla="*/ 75 h 1265"/>
                  <a:gd name="T30" fmla="*/ 218 w 684"/>
                  <a:gd name="T31" fmla="*/ 150 h 1265"/>
                  <a:gd name="T32" fmla="*/ 181 w 684"/>
                  <a:gd name="T33" fmla="*/ 190 h 1265"/>
                  <a:gd name="T34" fmla="*/ 140 w 684"/>
                  <a:gd name="T35" fmla="*/ 176 h 1265"/>
                  <a:gd name="T36" fmla="*/ 122 w 684"/>
                  <a:gd name="T37" fmla="*/ 201 h 1265"/>
                  <a:gd name="T38" fmla="*/ 74 w 684"/>
                  <a:gd name="T39" fmla="*/ 184 h 1265"/>
                  <a:gd name="T40" fmla="*/ 46 w 684"/>
                  <a:gd name="T41" fmla="*/ 142 h 1265"/>
                  <a:gd name="T42" fmla="*/ 8 w 684"/>
                  <a:gd name="T43" fmla="*/ 143 h 1265"/>
                  <a:gd name="T44" fmla="*/ 0 w 684"/>
                  <a:gd name="T45" fmla="*/ 177 h 1265"/>
                  <a:gd name="T46" fmla="*/ 145 w 684"/>
                  <a:gd name="T47" fmla="*/ 259 h 1265"/>
                  <a:gd name="T48" fmla="*/ 201 w 684"/>
                  <a:gd name="T49" fmla="*/ 403 h 1265"/>
                  <a:gd name="T50" fmla="*/ 201 w 684"/>
                  <a:gd name="T51" fmla="*/ 482 h 1265"/>
                  <a:gd name="T52" fmla="*/ 236 w 684"/>
                  <a:gd name="T53" fmla="*/ 534 h 1265"/>
                  <a:gd name="T54" fmla="*/ 295 w 684"/>
                  <a:gd name="T55" fmla="*/ 561 h 1265"/>
                  <a:gd name="T56" fmla="*/ 315 w 684"/>
                  <a:gd name="T57" fmla="*/ 622 h 1265"/>
                  <a:gd name="T58" fmla="*/ 283 w 684"/>
                  <a:gd name="T59" fmla="*/ 642 h 1265"/>
                  <a:gd name="T60" fmla="*/ 238 w 684"/>
                  <a:gd name="T61" fmla="*/ 744 h 1265"/>
                  <a:gd name="T62" fmla="*/ 235 w 684"/>
                  <a:gd name="T63" fmla="*/ 777 h 1265"/>
                  <a:gd name="T64" fmla="*/ 137 w 684"/>
                  <a:gd name="T65" fmla="*/ 897 h 1265"/>
                  <a:gd name="T66" fmla="*/ 128 w 684"/>
                  <a:gd name="T67" fmla="*/ 899 h 1265"/>
                  <a:gd name="T68" fmla="*/ 188 w 684"/>
                  <a:gd name="T69" fmla="*/ 1091 h 1265"/>
                  <a:gd name="T70" fmla="*/ 199 w 684"/>
                  <a:gd name="T71" fmla="*/ 1205 h 1265"/>
                  <a:gd name="T72" fmla="*/ 250 w 684"/>
                  <a:gd name="T73" fmla="*/ 1220 h 1265"/>
                  <a:gd name="T74" fmla="*/ 267 w 684"/>
                  <a:gd name="T75" fmla="*/ 1237 h 1265"/>
                  <a:gd name="T76" fmla="*/ 293 w 684"/>
                  <a:gd name="T77" fmla="*/ 1240 h 1265"/>
                  <a:gd name="T78" fmla="*/ 307 w 684"/>
                  <a:gd name="T79" fmla="*/ 1265 h 1265"/>
                  <a:gd name="T80" fmla="*/ 384 w 684"/>
                  <a:gd name="T81" fmla="*/ 1220 h 1265"/>
                  <a:gd name="T82" fmla="*/ 442 w 684"/>
                  <a:gd name="T83" fmla="*/ 1177 h 1265"/>
                  <a:gd name="T84" fmla="*/ 485 w 684"/>
                  <a:gd name="T85" fmla="*/ 1162 h 1265"/>
                  <a:gd name="T86" fmla="*/ 514 w 684"/>
                  <a:gd name="T87" fmla="*/ 1140 h 1265"/>
                  <a:gd name="T88" fmla="*/ 584 w 684"/>
                  <a:gd name="T89" fmla="*/ 1106 h 1265"/>
                  <a:gd name="T90" fmla="*/ 630 w 684"/>
                  <a:gd name="T91" fmla="*/ 1006 h 1265"/>
                  <a:gd name="T92" fmla="*/ 684 w 684"/>
                  <a:gd name="T93" fmla="*/ 825 h 1265"/>
                  <a:gd name="T94" fmla="*/ 668 w 684"/>
                  <a:gd name="T95" fmla="*/ 772 h 1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84" h="1265">
                    <a:moveTo>
                      <a:pt x="668" y="772"/>
                    </a:moveTo>
                    <a:lnTo>
                      <a:pt x="645" y="769"/>
                    </a:lnTo>
                    <a:lnTo>
                      <a:pt x="585" y="704"/>
                    </a:lnTo>
                    <a:lnTo>
                      <a:pt x="594" y="652"/>
                    </a:lnTo>
                    <a:lnTo>
                      <a:pt x="522" y="581"/>
                    </a:lnTo>
                    <a:lnTo>
                      <a:pt x="496" y="474"/>
                    </a:lnTo>
                    <a:lnTo>
                      <a:pt x="431" y="369"/>
                    </a:lnTo>
                    <a:lnTo>
                      <a:pt x="409" y="194"/>
                    </a:lnTo>
                    <a:lnTo>
                      <a:pt x="352" y="168"/>
                    </a:lnTo>
                    <a:lnTo>
                      <a:pt x="344" y="134"/>
                    </a:lnTo>
                    <a:lnTo>
                      <a:pt x="361" y="83"/>
                    </a:lnTo>
                    <a:lnTo>
                      <a:pt x="338" y="28"/>
                    </a:lnTo>
                    <a:lnTo>
                      <a:pt x="276" y="0"/>
                    </a:lnTo>
                    <a:lnTo>
                      <a:pt x="255" y="32"/>
                    </a:lnTo>
                    <a:lnTo>
                      <a:pt x="215" y="75"/>
                    </a:lnTo>
                    <a:lnTo>
                      <a:pt x="218" y="150"/>
                    </a:lnTo>
                    <a:lnTo>
                      <a:pt x="181" y="190"/>
                    </a:lnTo>
                    <a:lnTo>
                      <a:pt x="140" y="176"/>
                    </a:lnTo>
                    <a:lnTo>
                      <a:pt x="122" y="201"/>
                    </a:lnTo>
                    <a:lnTo>
                      <a:pt x="74" y="184"/>
                    </a:lnTo>
                    <a:lnTo>
                      <a:pt x="46" y="142"/>
                    </a:lnTo>
                    <a:lnTo>
                      <a:pt x="8" y="143"/>
                    </a:lnTo>
                    <a:lnTo>
                      <a:pt x="0" y="177"/>
                    </a:lnTo>
                    <a:lnTo>
                      <a:pt x="145" y="259"/>
                    </a:lnTo>
                    <a:lnTo>
                      <a:pt x="201" y="403"/>
                    </a:lnTo>
                    <a:lnTo>
                      <a:pt x="201" y="482"/>
                    </a:lnTo>
                    <a:lnTo>
                      <a:pt x="236" y="534"/>
                    </a:lnTo>
                    <a:lnTo>
                      <a:pt x="295" y="561"/>
                    </a:lnTo>
                    <a:lnTo>
                      <a:pt x="315" y="622"/>
                    </a:lnTo>
                    <a:lnTo>
                      <a:pt x="283" y="642"/>
                    </a:lnTo>
                    <a:lnTo>
                      <a:pt x="238" y="744"/>
                    </a:lnTo>
                    <a:lnTo>
                      <a:pt x="235" y="777"/>
                    </a:lnTo>
                    <a:lnTo>
                      <a:pt x="137" y="897"/>
                    </a:lnTo>
                    <a:lnTo>
                      <a:pt x="128" y="899"/>
                    </a:lnTo>
                    <a:lnTo>
                      <a:pt x="188" y="1091"/>
                    </a:lnTo>
                    <a:lnTo>
                      <a:pt x="199" y="1205"/>
                    </a:lnTo>
                    <a:lnTo>
                      <a:pt x="250" y="1220"/>
                    </a:lnTo>
                    <a:lnTo>
                      <a:pt x="267" y="1237"/>
                    </a:lnTo>
                    <a:lnTo>
                      <a:pt x="293" y="1240"/>
                    </a:lnTo>
                    <a:lnTo>
                      <a:pt x="307" y="1265"/>
                    </a:lnTo>
                    <a:lnTo>
                      <a:pt x="384" y="1220"/>
                    </a:lnTo>
                    <a:lnTo>
                      <a:pt x="442" y="1177"/>
                    </a:lnTo>
                    <a:lnTo>
                      <a:pt x="485" y="1162"/>
                    </a:lnTo>
                    <a:lnTo>
                      <a:pt x="514" y="1140"/>
                    </a:lnTo>
                    <a:lnTo>
                      <a:pt x="584" y="1106"/>
                    </a:lnTo>
                    <a:lnTo>
                      <a:pt x="630" y="1006"/>
                    </a:lnTo>
                    <a:lnTo>
                      <a:pt x="684" y="825"/>
                    </a:lnTo>
                    <a:lnTo>
                      <a:pt x="668" y="77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8" name="Freeform 89">
                <a:extLst>
                  <a:ext uri="{FF2B5EF4-FFF2-40B4-BE49-F238E27FC236}">
                    <a16:creationId xmlns:a16="http://schemas.microsoft.com/office/drawing/2014/main" xmlns="" id="{1ACF4A9B-DBBF-4640-899F-933442F5F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" y="1339"/>
                <a:ext cx="47" cy="41"/>
              </a:xfrm>
              <a:custGeom>
                <a:avLst/>
                <a:gdLst>
                  <a:gd name="T0" fmla="*/ 0 w 47"/>
                  <a:gd name="T1" fmla="*/ 27 h 41"/>
                  <a:gd name="T2" fmla="*/ 23 w 47"/>
                  <a:gd name="T3" fmla="*/ 41 h 41"/>
                  <a:gd name="T4" fmla="*/ 47 w 47"/>
                  <a:gd name="T5" fmla="*/ 16 h 41"/>
                  <a:gd name="T6" fmla="*/ 7 w 47"/>
                  <a:gd name="T7" fmla="*/ 0 h 41"/>
                  <a:gd name="T8" fmla="*/ 0 w 47"/>
                  <a:gd name="T9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1">
                    <a:moveTo>
                      <a:pt x="0" y="27"/>
                    </a:moveTo>
                    <a:lnTo>
                      <a:pt x="23" y="41"/>
                    </a:lnTo>
                    <a:lnTo>
                      <a:pt x="47" y="16"/>
                    </a:lnTo>
                    <a:lnTo>
                      <a:pt x="7" y="0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9" name="Freeform 90">
                <a:extLst>
                  <a:ext uri="{FF2B5EF4-FFF2-40B4-BE49-F238E27FC236}">
                    <a16:creationId xmlns:a16="http://schemas.microsoft.com/office/drawing/2014/main" xmlns="" id="{BE6E0696-D24B-49C3-8CD3-11E288293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1353"/>
                <a:ext cx="304" cy="255"/>
              </a:xfrm>
              <a:custGeom>
                <a:avLst/>
                <a:gdLst>
                  <a:gd name="T0" fmla="*/ 290 w 304"/>
                  <a:gd name="T1" fmla="*/ 17 h 255"/>
                  <a:gd name="T2" fmla="*/ 278 w 304"/>
                  <a:gd name="T3" fmla="*/ 0 h 255"/>
                  <a:gd name="T4" fmla="*/ 232 w 304"/>
                  <a:gd name="T5" fmla="*/ 14 h 255"/>
                  <a:gd name="T6" fmla="*/ 127 w 304"/>
                  <a:gd name="T7" fmla="*/ 17 h 255"/>
                  <a:gd name="T8" fmla="*/ 54 w 304"/>
                  <a:gd name="T9" fmla="*/ 59 h 255"/>
                  <a:gd name="T10" fmla="*/ 0 w 304"/>
                  <a:gd name="T11" fmla="*/ 121 h 255"/>
                  <a:gd name="T12" fmla="*/ 23 w 304"/>
                  <a:gd name="T13" fmla="*/ 180 h 255"/>
                  <a:gd name="T14" fmla="*/ 68 w 304"/>
                  <a:gd name="T15" fmla="*/ 206 h 255"/>
                  <a:gd name="T16" fmla="*/ 87 w 304"/>
                  <a:gd name="T17" fmla="*/ 187 h 255"/>
                  <a:gd name="T18" fmla="*/ 94 w 304"/>
                  <a:gd name="T19" fmla="*/ 232 h 255"/>
                  <a:gd name="T20" fmla="*/ 142 w 304"/>
                  <a:gd name="T21" fmla="*/ 197 h 255"/>
                  <a:gd name="T22" fmla="*/ 243 w 304"/>
                  <a:gd name="T23" fmla="*/ 255 h 255"/>
                  <a:gd name="T24" fmla="*/ 293 w 304"/>
                  <a:gd name="T25" fmla="*/ 246 h 255"/>
                  <a:gd name="T26" fmla="*/ 304 w 304"/>
                  <a:gd name="T27" fmla="*/ 184 h 255"/>
                  <a:gd name="T28" fmla="*/ 260 w 304"/>
                  <a:gd name="T29" fmla="*/ 79 h 255"/>
                  <a:gd name="T30" fmla="*/ 290 w 304"/>
                  <a:gd name="T31" fmla="*/ 1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4" h="255">
                    <a:moveTo>
                      <a:pt x="290" y="17"/>
                    </a:moveTo>
                    <a:lnTo>
                      <a:pt x="278" y="0"/>
                    </a:lnTo>
                    <a:lnTo>
                      <a:pt x="232" y="14"/>
                    </a:lnTo>
                    <a:lnTo>
                      <a:pt x="127" y="17"/>
                    </a:lnTo>
                    <a:lnTo>
                      <a:pt x="54" y="59"/>
                    </a:lnTo>
                    <a:lnTo>
                      <a:pt x="0" y="121"/>
                    </a:lnTo>
                    <a:lnTo>
                      <a:pt x="23" y="180"/>
                    </a:lnTo>
                    <a:lnTo>
                      <a:pt x="68" y="206"/>
                    </a:lnTo>
                    <a:lnTo>
                      <a:pt x="87" y="187"/>
                    </a:lnTo>
                    <a:lnTo>
                      <a:pt x="94" y="232"/>
                    </a:lnTo>
                    <a:lnTo>
                      <a:pt x="142" y="197"/>
                    </a:lnTo>
                    <a:lnTo>
                      <a:pt x="243" y="255"/>
                    </a:lnTo>
                    <a:lnTo>
                      <a:pt x="293" y="246"/>
                    </a:lnTo>
                    <a:lnTo>
                      <a:pt x="304" y="184"/>
                    </a:lnTo>
                    <a:lnTo>
                      <a:pt x="260" y="79"/>
                    </a:lnTo>
                    <a:lnTo>
                      <a:pt x="290" y="17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0" name="Freeform 91">
                <a:extLst>
                  <a:ext uri="{FF2B5EF4-FFF2-40B4-BE49-F238E27FC236}">
                    <a16:creationId xmlns:a16="http://schemas.microsoft.com/office/drawing/2014/main" xmlns="" id="{EA4BF256-3524-47FB-99D2-419BFB9B3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1514"/>
                <a:ext cx="66" cy="82"/>
              </a:xfrm>
              <a:custGeom>
                <a:avLst/>
                <a:gdLst>
                  <a:gd name="T0" fmla="*/ 6 w 66"/>
                  <a:gd name="T1" fmla="*/ 82 h 82"/>
                  <a:gd name="T2" fmla="*/ 18 w 66"/>
                  <a:gd name="T3" fmla="*/ 80 h 82"/>
                  <a:gd name="T4" fmla="*/ 20 w 66"/>
                  <a:gd name="T5" fmla="*/ 60 h 82"/>
                  <a:gd name="T6" fmla="*/ 43 w 66"/>
                  <a:gd name="T7" fmla="*/ 34 h 82"/>
                  <a:gd name="T8" fmla="*/ 66 w 66"/>
                  <a:gd name="T9" fmla="*/ 28 h 82"/>
                  <a:gd name="T10" fmla="*/ 63 w 66"/>
                  <a:gd name="T11" fmla="*/ 0 h 82"/>
                  <a:gd name="T12" fmla="*/ 0 w 66"/>
                  <a:gd name="T13" fmla="*/ 29 h 82"/>
                  <a:gd name="T14" fmla="*/ 6 w 66"/>
                  <a:gd name="T15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82">
                    <a:moveTo>
                      <a:pt x="6" y="82"/>
                    </a:moveTo>
                    <a:lnTo>
                      <a:pt x="18" y="80"/>
                    </a:lnTo>
                    <a:lnTo>
                      <a:pt x="20" y="60"/>
                    </a:lnTo>
                    <a:lnTo>
                      <a:pt x="43" y="34"/>
                    </a:lnTo>
                    <a:lnTo>
                      <a:pt x="66" y="28"/>
                    </a:lnTo>
                    <a:lnTo>
                      <a:pt x="63" y="0"/>
                    </a:lnTo>
                    <a:lnTo>
                      <a:pt x="0" y="29"/>
                    </a:lnTo>
                    <a:lnTo>
                      <a:pt x="6" y="8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1" name="Freeform 92">
                <a:extLst>
                  <a:ext uri="{FF2B5EF4-FFF2-40B4-BE49-F238E27FC236}">
                    <a16:creationId xmlns:a16="http://schemas.microsoft.com/office/drawing/2014/main" xmlns="" id="{1BF629C6-1A43-4A23-8D2A-F2D24D976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4" y="1469"/>
                <a:ext cx="31" cy="39"/>
              </a:xfrm>
              <a:custGeom>
                <a:avLst/>
                <a:gdLst>
                  <a:gd name="T0" fmla="*/ 31 w 31"/>
                  <a:gd name="T1" fmla="*/ 19 h 39"/>
                  <a:gd name="T2" fmla="*/ 19 w 31"/>
                  <a:gd name="T3" fmla="*/ 0 h 39"/>
                  <a:gd name="T4" fmla="*/ 0 w 31"/>
                  <a:gd name="T5" fmla="*/ 22 h 39"/>
                  <a:gd name="T6" fmla="*/ 20 w 31"/>
                  <a:gd name="T7" fmla="*/ 39 h 39"/>
                  <a:gd name="T8" fmla="*/ 31 w 31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9">
                    <a:moveTo>
                      <a:pt x="31" y="19"/>
                    </a:moveTo>
                    <a:lnTo>
                      <a:pt x="19" y="0"/>
                    </a:lnTo>
                    <a:lnTo>
                      <a:pt x="0" y="22"/>
                    </a:lnTo>
                    <a:lnTo>
                      <a:pt x="20" y="39"/>
                    </a:lnTo>
                    <a:lnTo>
                      <a:pt x="31" y="1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2" name="Freeform 93">
                <a:extLst>
                  <a:ext uri="{FF2B5EF4-FFF2-40B4-BE49-F238E27FC236}">
                    <a16:creationId xmlns:a16="http://schemas.microsoft.com/office/drawing/2014/main" xmlns="" id="{6AF95C84-FB2E-4B54-A44A-F4B69F34E0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" y="3200"/>
                <a:ext cx="1115" cy="968"/>
              </a:xfrm>
              <a:custGeom>
                <a:avLst/>
                <a:gdLst>
                  <a:gd name="T0" fmla="*/ 1095 w 1115"/>
                  <a:gd name="T1" fmla="*/ 309 h 968"/>
                  <a:gd name="T2" fmla="*/ 993 w 1115"/>
                  <a:gd name="T3" fmla="*/ 315 h 968"/>
                  <a:gd name="T4" fmla="*/ 870 w 1115"/>
                  <a:gd name="T5" fmla="*/ 253 h 968"/>
                  <a:gd name="T6" fmla="*/ 785 w 1115"/>
                  <a:gd name="T7" fmla="*/ 248 h 968"/>
                  <a:gd name="T8" fmla="*/ 726 w 1115"/>
                  <a:gd name="T9" fmla="*/ 197 h 968"/>
                  <a:gd name="T10" fmla="*/ 692 w 1115"/>
                  <a:gd name="T11" fmla="*/ 156 h 968"/>
                  <a:gd name="T12" fmla="*/ 572 w 1115"/>
                  <a:gd name="T13" fmla="*/ 122 h 968"/>
                  <a:gd name="T14" fmla="*/ 502 w 1115"/>
                  <a:gd name="T15" fmla="*/ 105 h 968"/>
                  <a:gd name="T16" fmla="*/ 340 w 1115"/>
                  <a:gd name="T17" fmla="*/ 54 h 968"/>
                  <a:gd name="T18" fmla="*/ 190 w 1115"/>
                  <a:gd name="T19" fmla="*/ 18 h 968"/>
                  <a:gd name="T20" fmla="*/ 101 w 1115"/>
                  <a:gd name="T21" fmla="*/ 17 h 968"/>
                  <a:gd name="T22" fmla="*/ 61 w 1115"/>
                  <a:gd name="T23" fmla="*/ 31 h 968"/>
                  <a:gd name="T24" fmla="*/ 0 w 1115"/>
                  <a:gd name="T25" fmla="*/ 74 h 968"/>
                  <a:gd name="T26" fmla="*/ 8 w 1115"/>
                  <a:gd name="T27" fmla="*/ 108 h 968"/>
                  <a:gd name="T28" fmla="*/ 19 w 1115"/>
                  <a:gd name="T29" fmla="*/ 139 h 968"/>
                  <a:gd name="T30" fmla="*/ 16 w 1115"/>
                  <a:gd name="T31" fmla="*/ 164 h 968"/>
                  <a:gd name="T32" fmla="*/ 79 w 1115"/>
                  <a:gd name="T33" fmla="*/ 187 h 968"/>
                  <a:gd name="T34" fmla="*/ 144 w 1115"/>
                  <a:gd name="T35" fmla="*/ 244 h 968"/>
                  <a:gd name="T36" fmla="*/ 223 w 1115"/>
                  <a:gd name="T37" fmla="*/ 250 h 968"/>
                  <a:gd name="T38" fmla="*/ 170 w 1115"/>
                  <a:gd name="T39" fmla="*/ 347 h 968"/>
                  <a:gd name="T40" fmla="*/ 139 w 1115"/>
                  <a:gd name="T41" fmla="*/ 466 h 968"/>
                  <a:gd name="T42" fmla="*/ 70 w 1115"/>
                  <a:gd name="T43" fmla="*/ 505 h 968"/>
                  <a:gd name="T44" fmla="*/ 64 w 1115"/>
                  <a:gd name="T45" fmla="*/ 638 h 968"/>
                  <a:gd name="T46" fmla="*/ 28 w 1115"/>
                  <a:gd name="T47" fmla="*/ 743 h 968"/>
                  <a:gd name="T48" fmla="*/ 68 w 1115"/>
                  <a:gd name="T49" fmla="*/ 802 h 968"/>
                  <a:gd name="T50" fmla="*/ 112 w 1115"/>
                  <a:gd name="T51" fmla="*/ 893 h 968"/>
                  <a:gd name="T52" fmla="*/ 183 w 1115"/>
                  <a:gd name="T53" fmla="*/ 968 h 968"/>
                  <a:gd name="T54" fmla="*/ 237 w 1115"/>
                  <a:gd name="T55" fmla="*/ 936 h 968"/>
                  <a:gd name="T56" fmla="*/ 340 w 1115"/>
                  <a:gd name="T57" fmla="*/ 907 h 968"/>
                  <a:gd name="T58" fmla="*/ 507 w 1115"/>
                  <a:gd name="T59" fmla="*/ 924 h 968"/>
                  <a:gd name="T60" fmla="*/ 547 w 1115"/>
                  <a:gd name="T61" fmla="*/ 941 h 968"/>
                  <a:gd name="T62" fmla="*/ 616 w 1115"/>
                  <a:gd name="T63" fmla="*/ 870 h 968"/>
                  <a:gd name="T64" fmla="*/ 683 w 1115"/>
                  <a:gd name="T65" fmla="*/ 839 h 968"/>
                  <a:gd name="T66" fmla="*/ 785 w 1115"/>
                  <a:gd name="T67" fmla="*/ 738 h 968"/>
                  <a:gd name="T68" fmla="*/ 752 w 1115"/>
                  <a:gd name="T69" fmla="*/ 636 h 968"/>
                  <a:gd name="T70" fmla="*/ 863 w 1115"/>
                  <a:gd name="T71" fmla="*/ 522 h 968"/>
                  <a:gd name="T72" fmla="*/ 939 w 1115"/>
                  <a:gd name="T73" fmla="*/ 459 h 968"/>
                  <a:gd name="T74" fmla="*/ 1038 w 1115"/>
                  <a:gd name="T75" fmla="*/ 423 h 968"/>
                  <a:gd name="T76" fmla="*/ 1110 w 1115"/>
                  <a:gd name="T77" fmla="*/ 381 h 968"/>
                  <a:gd name="T78" fmla="*/ 1115 w 1115"/>
                  <a:gd name="T79" fmla="*/ 343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15" h="968">
                    <a:moveTo>
                      <a:pt x="1115" y="343"/>
                    </a:moveTo>
                    <a:lnTo>
                      <a:pt x="1095" y="309"/>
                    </a:lnTo>
                    <a:lnTo>
                      <a:pt x="1049" y="321"/>
                    </a:lnTo>
                    <a:lnTo>
                      <a:pt x="993" y="315"/>
                    </a:lnTo>
                    <a:lnTo>
                      <a:pt x="947" y="282"/>
                    </a:lnTo>
                    <a:lnTo>
                      <a:pt x="870" y="253"/>
                    </a:lnTo>
                    <a:lnTo>
                      <a:pt x="851" y="262"/>
                    </a:lnTo>
                    <a:lnTo>
                      <a:pt x="785" y="248"/>
                    </a:lnTo>
                    <a:lnTo>
                      <a:pt x="758" y="222"/>
                    </a:lnTo>
                    <a:lnTo>
                      <a:pt x="726" y="197"/>
                    </a:lnTo>
                    <a:lnTo>
                      <a:pt x="720" y="171"/>
                    </a:lnTo>
                    <a:lnTo>
                      <a:pt x="692" y="156"/>
                    </a:lnTo>
                    <a:lnTo>
                      <a:pt x="646" y="165"/>
                    </a:lnTo>
                    <a:lnTo>
                      <a:pt x="572" y="122"/>
                    </a:lnTo>
                    <a:lnTo>
                      <a:pt x="544" y="133"/>
                    </a:lnTo>
                    <a:lnTo>
                      <a:pt x="502" y="105"/>
                    </a:lnTo>
                    <a:lnTo>
                      <a:pt x="474" y="113"/>
                    </a:lnTo>
                    <a:lnTo>
                      <a:pt x="340" y="54"/>
                    </a:lnTo>
                    <a:lnTo>
                      <a:pt x="200" y="37"/>
                    </a:lnTo>
                    <a:lnTo>
                      <a:pt x="190" y="18"/>
                    </a:lnTo>
                    <a:lnTo>
                      <a:pt x="150" y="0"/>
                    </a:lnTo>
                    <a:lnTo>
                      <a:pt x="101" y="17"/>
                    </a:lnTo>
                    <a:lnTo>
                      <a:pt x="99" y="32"/>
                    </a:lnTo>
                    <a:lnTo>
                      <a:pt x="61" y="31"/>
                    </a:lnTo>
                    <a:lnTo>
                      <a:pt x="13" y="40"/>
                    </a:lnTo>
                    <a:lnTo>
                      <a:pt x="0" y="74"/>
                    </a:lnTo>
                    <a:lnTo>
                      <a:pt x="19" y="85"/>
                    </a:lnTo>
                    <a:lnTo>
                      <a:pt x="8" y="108"/>
                    </a:lnTo>
                    <a:lnTo>
                      <a:pt x="30" y="125"/>
                    </a:lnTo>
                    <a:lnTo>
                      <a:pt x="19" y="139"/>
                    </a:lnTo>
                    <a:lnTo>
                      <a:pt x="33" y="150"/>
                    </a:lnTo>
                    <a:lnTo>
                      <a:pt x="16" y="164"/>
                    </a:lnTo>
                    <a:lnTo>
                      <a:pt x="16" y="194"/>
                    </a:lnTo>
                    <a:lnTo>
                      <a:pt x="79" y="187"/>
                    </a:lnTo>
                    <a:lnTo>
                      <a:pt x="87" y="224"/>
                    </a:lnTo>
                    <a:lnTo>
                      <a:pt x="144" y="244"/>
                    </a:lnTo>
                    <a:lnTo>
                      <a:pt x="183" y="235"/>
                    </a:lnTo>
                    <a:lnTo>
                      <a:pt x="223" y="250"/>
                    </a:lnTo>
                    <a:lnTo>
                      <a:pt x="237" y="278"/>
                    </a:lnTo>
                    <a:lnTo>
                      <a:pt x="170" y="347"/>
                    </a:lnTo>
                    <a:lnTo>
                      <a:pt x="166" y="437"/>
                    </a:lnTo>
                    <a:lnTo>
                      <a:pt x="139" y="466"/>
                    </a:lnTo>
                    <a:lnTo>
                      <a:pt x="129" y="503"/>
                    </a:lnTo>
                    <a:lnTo>
                      <a:pt x="70" y="505"/>
                    </a:lnTo>
                    <a:lnTo>
                      <a:pt x="99" y="579"/>
                    </a:lnTo>
                    <a:lnTo>
                      <a:pt x="64" y="638"/>
                    </a:lnTo>
                    <a:lnTo>
                      <a:pt x="82" y="681"/>
                    </a:lnTo>
                    <a:lnTo>
                      <a:pt x="28" y="743"/>
                    </a:lnTo>
                    <a:lnTo>
                      <a:pt x="34" y="786"/>
                    </a:lnTo>
                    <a:lnTo>
                      <a:pt x="68" y="802"/>
                    </a:lnTo>
                    <a:lnTo>
                      <a:pt x="99" y="837"/>
                    </a:lnTo>
                    <a:lnTo>
                      <a:pt x="112" y="893"/>
                    </a:lnTo>
                    <a:lnTo>
                      <a:pt x="144" y="947"/>
                    </a:lnTo>
                    <a:lnTo>
                      <a:pt x="183" y="968"/>
                    </a:lnTo>
                    <a:lnTo>
                      <a:pt x="204" y="962"/>
                    </a:lnTo>
                    <a:lnTo>
                      <a:pt x="237" y="936"/>
                    </a:lnTo>
                    <a:lnTo>
                      <a:pt x="288" y="930"/>
                    </a:lnTo>
                    <a:lnTo>
                      <a:pt x="340" y="907"/>
                    </a:lnTo>
                    <a:lnTo>
                      <a:pt x="476" y="934"/>
                    </a:lnTo>
                    <a:lnTo>
                      <a:pt x="507" y="924"/>
                    </a:lnTo>
                    <a:lnTo>
                      <a:pt x="519" y="944"/>
                    </a:lnTo>
                    <a:lnTo>
                      <a:pt x="547" y="941"/>
                    </a:lnTo>
                    <a:lnTo>
                      <a:pt x="555" y="921"/>
                    </a:lnTo>
                    <a:lnTo>
                      <a:pt x="616" y="870"/>
                    </a:lnTo>
                    <a:lnTo>
                      <a:pt x="689" y="860"/>
                    </a:lnTo>
                    <a:lnTo>
                      <a:pt x="683" y="839"/>
                    </a:lnTo>
                    <a:lnTo>
                      <a:pt x="714" y="774"/>
                    </a:lnTo>
                    <a:lnTo>
                      <a:pt x="785" y="738"/>
                    </a:lnTo>
                    <a:lnTo>
                      <a:pt x="752" y="692"/>
                    </a:lnTo>
                    <a:lnTo>
                      <a:pt x="752" y="636"/>
                    </a:lnTo>
                    <a:lnTo>
                      <a:pt x="833" y="533"/>
                    </a:lnTo>
                    <a:lnTo>
                      <a:pt x="863" y="522"/>
                    </a:lnTo>
                    <a:lnTo>
                      <a:pt x="873" y="490"/>
                    </a:lnTo>
                    <a:lnTo>
                      <a:pt x="939" y="459"/>
                    </a:lnTo>
                    <a:lnTo>
                      <a:pt x="1027" y="440"/>
                    </a:lnTo>
                    <a:lnTo>
                      <a:pt x="1038" y="423"/>
                    </a:lnTo>
                    <a:lnTo>
                      <a:pt x="1073" y="415"/>
                    </a:lnTo>
                    <a:lnTo>
                      <a:pt x="1110" y="381"/>
                    </a:lnTo>
                    <a:lnTo>
                      <a:pt x="1104" y="360"/>
                    </a:lnTo>
                    <a:lnTo>
                      <a:pt x="1115" y="343"/>
                    </a:lnTo>
                    <a:close/>
                  </a:path>
                </a:pathLst>
              </a:custGeom>
              <a:solidFill>
                <a:srgbClr val="FFC300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3" name="Freeform 94">
                <a:extLst>
                  <a:ext uri="{FF2B5EF4-FFF2-40B4-BE49-F238E27FC236}">
                    <a16:creationId xmlns:a16="http://schemas.microsoft.com/office/drawing/2014/main" xmlns="" id="{35CA8F33-9423-442F-A903-74A51922A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8" y="3904"/>
                <a:ext cx="44" cy="45"/>
              </a:xfrm>
              <a:custGeom>
                <a:avLst/>
                <a:gdLst>
                  <a:gd name="T0" fmla="*/ 17 w 44"/>
                  <a:gd name="T1" fmla="*/ 2 h 45"/>
                  <a:gd name="T2" fmla="*/ 0 w 44"/>
                  <a:gd name="T3" fmla="*/ 28 h 45"/>
                  <a:gd name="T4" fmla="*/ 14 w 44"/>
                  <a:gd name="T5" fmla="*/ 45 h 45"/>
                  <a:gd name="T6" fmla="*/ 23 w 44"/>
                  <a:gd name="T7" fmla="*/ 30 h 45"/>
                  <a:gd name="T8" fmla="*/ 44 w 44"/>
                  <a:gd name="T9" fmla="*/ 16 h 45"/>
                  <a:gd name="T10" fmla="*/ 43 w 44"/>
                  <a:gd name="T11" fmla="*/ 0 h 45"/>
                  <a:gd name="T12" fmla="*/ 17 w 44"/>
                  <a:gd name="T13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45">
                    <a:moveTo>
                      <a:pt x="17" y="2"/>
                    </a:moveTo>
                    <a:lnTo>
                      <a:pt x="0" y="28"/>
                    </a:lnTo>
                    <a:lnTo>
                      <a:pt x="14" y="45"/>
                    </a:lnTo>
                    <a:lnTo>
                      <a:pt x="23" y="30"/>
                    </a:lnTo>
                    <a:lnTo>
                      <a:pt x="44" y="16"/>
                    </a:lnTo>
                    <a:lnTo>
                      <a:pt x="43" y="0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4" name="Freeform 95">
                <a:extLst>
                  <a:ext uri="{FF2B5EF4-FFF2-40B4-BE49-F238E27FC236}">
                    <a16:creationId xmlns:a16="http://schemas.microsoft.com/office/drawing/2014/main" xmlns="" id="{0234FC01-F1C2-4A5F-9CE2-7FEF33DE5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0" y="3835"/>
                <a:ext cx="110" cy="69"/>
              </a:xfrm>
              <a:custGeom>
                <a:avLst/>
                <a:gdLst>
                  <a:gd name="T0" fmla="*/ 7 w 110"/>
                  <a:gd name="T1" fmla="*/ 48 h 69"/>
                  <a:gd name="T2" fmla="*/ 0 w 110"/>
                  <a:gd name="T3" fmla="*/ 29 h 69"/>
                  <a:gd name="T4" fmla="*/ 45 w 110"/>
                  <a:gd name="T5" fmla="*/ 0 h 69"/>
                  <a:gd name="T6" fmla="*/ 61 w 110"/>
                  <a:gd name="T7" fmla="*/ 0 h 69"/>
                  <a:gd name="T8" fmla="*/ 68 w 110"/>
                  <a:gd name="T9" fmla="*/ 9 h 69"/>
                  <a:gd name="T10" fmla="*/ 99 w 110"/>
                  <a:gd name="T11" fmla="*/ 11 h 69"/>
                  <a:gd name="T12" fmla="*/ 110 w 110"/>
                  <a:gd name="T13" fmla="*/ 23 h 69"/>
                  <a:gd name="T14" fmla="*/ 59 w 110"/>
                  <a:gd name="T15" fmla="*/ 69 h 69"/>
                  <a:gd name="T16" fmla="*/ 44 w 110"/>
                  <a:gd name="T17" fmla="*/ 54 h 69"/>
                  <a:gd name="T18" fmla="*/ 25 w 110"/>
                  <a:gd name="T19" fmla="*/ 58 h 69"/>
                  <a:gd name="T20" fmla="*/ 17 w 110"/>
                  <a:gd name="T21" fmla="*/ 43 h 69"/>
                  <a:gd name="T22" fmla="*/ 7 w 110"/>
                  <a:gd name="T23" fmla="*/ 4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0" h="69">
                    <a:moveTo>
                      <a:pt x="7" y="48"/>
                    </a:moveTo>
                    <a:lnTo>
                      <a:pt x="0" y="29"/>
                    </a:lnTo>
                    <a:lnTo>
                      <a:pt x="45" y="0"/>
                    </a:lnTo>
                    <a:lnTo>
                      <a:pt x="61" y="0"/>
                    </a:lnTo>
                    <a:lnTo>
                      <a:pt x="68" y="9"/>
                    </a:lnTo>
                    <a:lnTo>
                      <a:pt x="99" y="11"/>
                    </a:lnTo>
                    <a:lnTo>
                      <a:pt x="110" y="23"/>
                    </a:lnTo>
                    <a:lnTo>
                      <a:pt x="59" y="69"/>
                    </a:lnTo>
                    <a:lnTo>
                      <a:pt x="44" y="54"/>
                    </a:lnTo>
                    <a:lnTo>
                      <a:pt x="25" y="58"/>
                    </a:lnTo>
                    <a:lnTo>
                      <a:pt x="17" y="43"/>
                    </a:lnTo>
                    <a:lnTo>
                      <a:pt x="7" y="4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5" name="Freeform 96">
                <a:extLst>
                  <a:ext uri="{FF2B5EF4-FFF2-40B4-BE49-F238E27FC236}">
                    <a16:creationId xmlns:a16="http://schemas.microsoft.com/office/drawing/2014/main" xmlns="" id="{24AEBD90-5A5A-422C-9ADE-DDA5DE98E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3822"/>
                <a:ext cx="49" cy="36"/>
              </a:xfrm>
              <a:custGeom>
                <a:avLst/>
                <a:gdLst>
                  <a:gd name="T0" fmla="*/ 29 w 49"/>
                  <a:gd name="T1" fmla="*/ 0 h 36"/>
                  <a:gd name="T2" fmla="*/ 0 w 49"/>
                  <a:gd name="T3" fmla="*/ 3 h 36"/>
                  <a:gd name="T4" fmla="*/ 0 w 49"/>
                  <a:gd name="T5" fmla="*/ 22 h 36"/>
                  <a:gd name="T6" fmla="*/ 20 w 49"/>
                  <a:gd name="T7" fmla="*/ 22 h 36"/>
                  <a:gd name="T8" fmla="*/ 39 w 49"/>
                  <a:gd name="T9" fmla="*/ 36 h 36"/>
                  <a:gd name="T10" fmla="*/ 49 w 49"/>
                  <a:gd name="T11" fmla="*/ 10 h 36"/>
                  <a:gd name="T12" fmla="*/ 29 w 49"/>
                  <a:gd name="T1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6">
                    <a:moveTo>
                      <a:pt x="29" y="0"/>
                    </a:moveTo>
                    <a:lnTo>
                      <a:pt x="0" y="3"/>
                    </a:lnTo>
                    <a:lnTo>
                      <a:pt x="0" y="22"/>
                    </a:lnTo>
                    <a:lnTo>
                      <a:pt x="20" y="22"/>
                    </a:lnTo>
                    <a:lnTo>
                      <a:pt x="39" y="36"/>
                    </a:lnTo>
                    <a:lnTo>
                      <a:pt x="49" y="1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6" name="Freeform 97">
                <a:extLst>
                  <a:ext uri="{FF2B5EF4-FFF2-40B4-BE49-F238E27FC236}">
                    <a16:creationId xmlns:a16="http://schemas.microsoft.com/office/drawing/2014/main" xmlns="" id="{651462B9-D66A-424A-B959-A6366F6CA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6" y="1981"/>
                <a:ext cx="27" cy="29"/>
              </a:xfrm>
              <a:custGeom>
                <a:avLst/>
                <a:gdLst>
                  <a:gd name="T0" fmla="*/ 3 w 27"/>
                  <a:gd name="T1" fmla="*/ 0 h 29"/>
                  <a:gd name="T2" fmla="*/ 0 w 27"/>
                  <a:gd name="T3" fmla="*/ 3 h 29"/>
                  <a:gd name="T4" fmla="*/ 3 w 27"/>
                  <a:gd name="T5" fmla="*/ 24 h 29"/>
                  <a:gd name="T6" fmla="*/ 24 w 27"/>
                  <a:gd name="T7" fmla="*/ 29 h 29"/>
                  <a:gd name="T8" fmla="*/ 27 w 27"/>
                  <a:gd name="T9" fmla="*/ 26 h 29"/>
                  <a:gd name="T10" fmla="*/ 24 w 27"/>
                  <a:gd name="T11" fmla="*/ 6 h 29"/>
                  <a:gd name="T12" fmla="*/ 3 w 27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9">
                    <a:moveTo>
                      <a:pt x="3" y="0"/>
                    </a:moveTo>
                    <a:lnTo>
                      <a:pt x="0" y="3"/>
                    </a:lnTo>
                    <a:lnTo>
                      <a:pt x="3" y="24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24" y="6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7" name="Freeform 98">
                <a:extLst>
                  <a:ext uri="{FF2B5EF4-FFF2-40B4-BE49-F238E27FC236}">
                    <a16:creationId xmlns:a16="http://schemas.microsoft.com/office/drawing/2014/main" xmlns="" id="{71FE6935-756D-4EFC-8EC9-8AA9DEBBE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" y="1772"/>
                <a:ext cx="185" cy="258"/>
              </a:xfrm>
              <a:custGeom>
                <a:avLst/>
                <a:gdLst>
                  <a:gd name="T0" fmla="*/ 100 w 185"/>
                  <a:gd name="T1" fmla="*/ 212 h 258"/>
                  <a:gd name="T2" fmla="*/ 99 w 185"/>
                  <a:gd name="T3" fmla="*/ 173 h 258"/>
                  <a:gd name="T4" fmla="*/ 124 w 185"/>
                  <a:gd name="T5" fmla="*/ 152 h 258"/>
                  <a:gd name="T6" fmla="*/ 124 w 185"/>
                  <a:gd name="T7" fmla="*/ 133 h 258"/>
                  <a:gd name="T8" fmla="*/ 138 w 185"/>
                  <a:gd name="T9" fmla="*/ 135 h 258"/>
                  <a:gd name="T10" fmla="*/ 142 w 185"/>
                  <a:gd name="T11" fmla="*/ 102 h 258"/>
                  <a:gd name="T12" fmla="*/ 150 w 185"/>
                  <a:gd name="T13" fmla="*/ 91 h 258"/>
                  <a:gd name="T14" fmla="*/ 153 w 185"/>
                  <a:gd name="T15" fmla="*/ 102 h 258"/>
                  <a:gd name="T16" fmla="*/ 176 w 185"/>
                  <a:gd name="T17" fmla="*/ 93 h 258"/>
                  <a:gd name="T18" fmla="*/ 185 w 185"/>
                  <a:gd name="T19" fmla="*/ 76 h 258"/>
                  <a:gd name="T20" fmla="*/ 176 w 185"/>
                  <a:gd name="T21" fmla="*/ 62 h 258"/>
                  <a:gd name="T22" fmla="*/ 148 w 185"/>
                  <a:gd name="T23" fmla="*/ 56 h 258"/>
                  <a:gd name="T24" fmla="*/ 148 w 185"/>
                  <a:gd name="T25" fmla="*/ 46 h 258"/>
                  <a:gd name="T26" fmla="*/ 116 w 185"/>
                  <a:gd name="T27" fmla="*/ 37 h 258"/>
                  <a:gd name="T28" fmla="*/ 147 w 185"/>
                  <a:gd name="T29" fmla="*/ 31 h 258"/>
                  <a:gd name="T30" fmla="*/ 145 w 185"/>
                  <a:gd name="T31" fmla="*/ 14 h 258"/>
                  <a:gd name="T32" fmla="*/ 124 w 185"/>
                  <a:gd name="T33" fmla="*/ 0 h 258"/>
                  <a:gd name="T34" fmla="*/ 91 w 185"/>
                  <a:gd name="T35" fmla="*/ 5 h 258"/>
                  <a:gd name="T36" fmla="*/ 74 w 185"/>
                  <a:gd name="T37" fmla="*/ 14 h 258"/>
                  <a:gd name="T38" fmla="*/ 82 w 185"/>
                  <a:gd name="T39" fmla="*/ 48 h 258"/>
                  <a:gd name="T40" fmla="*/ 68 w 185"/>
                  <a:gd name="T41" fmla="*/ 42 h 258"/>
                  <a:gd name="T42" fmla="*/ 63 w 185"/>
                  <a:gd name="T43" fmla="*/ 23 h 258"/>
                  <a:gd name="T44" fmla="*/ 48 w 185"/>
                  <a:gd name="T45" fmla="*/ 39 h 258"/>
                  <a:gd name="T46" fmla="*/ 40 w 185"/>
                  <a:gd name="T47" fmla="*/ 53 h 258"/>
                  <a:gd name="T48" fmla="*/ 23 w 185"/>
                  <a:gd name="T49" fmla="*/ 51 h 258"/>
                  <a:gd name="T50" fmla="*/ 11 w 185"/>
                  <a:gd name="T51" fmla="*/ 40 h 258"/>
                  <a:gd name="T52" fmla="*/ 5 w 185"/>
                  <a:gd name="T53" fmla="*/ 65 h 258"/>
                  <a:gd name="T54" fmla="*/ 3 w 185"/>
                  <a:gd name="T55" fmla="*/ 104 h 258"/>
                  <a:gd name="T56" fmla="*/ 14 w 185"/>
                  <a:gd name="T57" fmla="*/ 107 h 258"/>
                  <a:gd name="T58" fmla="*/ 16 w 185"/>
                  <a:gd name="T59" fmla="*/ 128 h 258"/>
                  <a:gd name="T60" fmla="*/ 2 w 185"/>
                  <a:gd name="T61" fmla="*/ 124 h 258"/>
                  <a:gd name="T62" fmla="*/ 0 w 185"/>
                  <a:gd name="T63" fmla="*/ 175 h 258"/>
                  <a:gd name="T64" fmla="*/ 12 w 185"/>
                  <a:gd name="T65" fmla="*/ 169 h 258"/>
                  <a:gd name="T66" fmla="*/ 26 w 185"/>
                  <a:gd name="T67" fmla="*/ 184 h 258"/>
                  <a:gd name="T68" fmla="*/ 28 w 185"/>
                  <a:gd name="T69" fmla="*/ 249 h 258"/>
                  <a:gd name="T70" fmla="*/ 51 w 185"/>
                  <a:gd name="T71" fmla="*/ 247 h 258"/>
                  <a:gd name="T72" fmla="*/ 91 w 185"/>
                  <a:gd name="T73" fmla="*/ 258 h 258"/>
                  <a:gd name="T74" fmla="*/ 99 w 185"/>
                  <a:gd name="T75" fmla="*/ 243 h 258"/>
                  <a:gd name="T76" fmla="*/ 91 w 185"/>
                  <a:gd name="T77" fmla="*/ 227 h 258"/>
                  <a:gd name="T78" fmla="*/ 100 w 185"/>
                  <a:gd name="T79" fmla="*/ 212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5" h="258">
                    <a:moveTo>
                      <a:pt x="100" y="212"/>
                    </a:moveTo>
                    <a:lnTo>
                      <a:pt x="99" y="173"/>
                    </a:lnTo>
                    <a:lnTo>
                      <a:pt x="124" y="152"/>
                    </a:lnTo>
                    <a:lnTo>
                      <a:pt x="124" y="133"/>
                    </a:lnTo>
                    <a:lnTo>
                      <a:pt x="138" y="135"/>
                    </a:lnTo>
                    <a:lnTo>
                      <a:pt x="142" y="102"/>
                    </a:lnTo>
                    <a:lnTo>
                      <a:pt x="150" y="91"/>
                    </a:lnTo>
                    <a:lnTo>
                      <a:pt x="153" y="102"/>
                    </a:lnTo>
                    <a:lnTo>
                      <a:pt x="176" y="93"/>
                    </a:lnTo>
                    <a:lnTo>
                      <a:pt x="185" y="76"/>
                    </a:lnTo>
                    <a:lnTo>
                      <a:pt x="176" y="62"/>
                    </a:lnTo>
                    <a:lnTo>
                      <a:pt x="148" y="56"/>
                    </a:lnTo>
                    <a:lnTo>
                      <a:pt x="148" y="46"/>
                    </a:lnTo>
                    <a:lnTo>
                      <a:pt x="116" y="37"/>
                    </a:lnTo>
                    <a:lnTo>
                      <a:pt x="147" y="31"/>
                    </a:lnTo>
                    <a:lnTo>
                      <a:pt x="145" y="14"/>
                    </a:lnTo>
                    <a:lnTo>
                      <a:pt x="124" y="0"/>
                    </a:lnTo>
                    <a:lnTo>
                      <a:pt x="91" y="5"/>
                    </a:lnTo>
                    <a:lnTo>
                      <a:pt x="74" y="14"/>
                    </a:lnTo>
                    <a:lnTo>
                      <a:pt x="82" y="48"/>
                    </a:lnTo>
                    <a:lnTo>
                      <a:pt x="68" y="42"/>
                    </a:lnTo>
                    <a:lnTo>
                      <a:pt x="63" y="23"/>
                    </a:lnTo>
                    <a:lnTo>
                      <a:pt x="48" y="39"/>
                    </a:lnTo>
                    <a:lnTo>
                      <a:pt x="40" y="53"/>
                    </a:lnTo>
                    <a:lnTo>
                      <a:pt x="23" y="51"/>
                    </a:lnTo>
                    <a:lnTo>
                      <a:pt x="11" y="40"/>
                    </a:lnTo>
                    <a:lnTo>
                      <a:pt x="5" y="65"/>
                    </a:lnTo>
                    <a:lnTo>
                      <a:pt x="3" y="104"/>
                    </a:lnTo>
                    <a:lnTo>
                      <a:pt x="14" y="107"/>
                    </a:lnTo>
                    <a:lnTo>
                      <a:pt x="16" y="128"/>
                    </a:lnTo>
                    <a:lnTo>
                      <a:pt x="2" y="124"/>
                    </a:lnTo>
                    <a:lnTo>
                      <a:pt x="0" y="175"/>
                    </a:lnTo>
                    <a:lnTo>
                      <a:pt x="12" y="169"/>
                    </a:lnTo>
                    <a:lnTo>
                      <a:pt x="26" y="184"/>
                    </a:lnTo>
                    <a:lnTo>
                      <a:pt x="28" y="249"/>
                    </a:lnTo>
                    <a:lnTo>
                      <a:pt x="51" y="247"/>
                    </a:lnTo>
                    <a:lnTo>
                      <a:pt x="91" y="258"/>
                    </a:lnTo>
                    <a:lnTo>
                      <a:pt x="99" y="243"/>
                    </a:lnTo>
                    <a:lnTo>
                      <a:pt x="91" y="227"/>
                    </a:lnTo>
                    <a:lnTo>
                      <a:pt x="100" y="21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8" name="Freeform 99">
                <a:extLst>
                  <a:ext uri="{FF2B5EF4-FFF2-40B4-BE49-F238E27FC236}">
                    <a16:creationId xmlns:a16="http://schemas.microsoft.com/office/drawing/2014/main" xmlns="" id="{8A59FD59-D289-4A34-BEAB-732C5552B0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3" y="1696"/>
                <a:ext cx="145" cy="119"/>
              </a:xfrm>
              <a:custGeom>
                <a:avLst/>
                <a:gdLst>
                  <a:gd name="T0" fmla="*/ 17 w 145"/>
                  <a:gd name="T1" fmla="*/ 104 h 119"/>
                  <a:gd name="T2" fmla="*/ 23 w 145"/>
                  <a:gd name="T3" fmla="*/ 109 h 119"/>
                  <a:gd name="T4" fmla="*/ 40 w 145"/>
                  <a:gd name="T5" fmla="*/ 87 h 119"/>
                  <a:gd name="T6" fmla="*/ 27 w 145"/>
                  <a:gd name="T7" fmla="*/ 85 h 119"/>
                  <a:gd name="T8" fmla="*/ 30 w 145"/>
                  <a:gd name="T9" fmla="*/ 79 h 119"/>
                  <a:gd name="T10" fmla="*/ 77 w 145"/>
                  <a:gd name="T11" fmla="*/ 70 h 119"/>
                  <a:gd name="T12" fmla="*/ 105 w 145"/>
                  <a:gd name="T13" fmla="*/ 64 h 119"/>
                  <a:gd name="T14" fmla="*/ 131 w 145"/>
                  <a:gd name="T15" fmla="*/ 76 h 119"/>
                  <a:gd name="T16" fmla="*/ 142 w 145"/>
                  <a:gd name="T17" fmla="*/ 58 h 119"/>
                  <a:gd name="T18" fmla="*/ 143 w 145"/>
                  <a:gd name="T19" fmla="*/ 30 h 119"/>
                  <a:gd name="T20" fmla="*/ 145 w 145"/>
                  <a:gd name="T21" fmla="*/ 0 h 119"/>
                  <a:gd name="T22" fmla="*/ 101 w 145"/>
                  <a:gd name="T23" fmla="*/ 17 h 119"/>
                  <a:gd name="T24" fmla="*/ 77 w 145"/>
                  <a:gd name="T25" fmla="*/ 58 h 119"/>
                  <a:gd name="T26" fmla="*/ 23 w 145"/>
                  <a:gd name="T27" fmla="*/ 62 h 119"/>
                  <a:gd name="T28" fmla="*/ 0 w 145"/>
                  <a:gd name="T29" fmla="*/ 96 h 119"/>
                  <a:gd name="T30" fmla="*/ 13 w 145"/>
                  <a:gd name="T31" fmla="*/ 119 h 119"/>
                  <a:gd name="T32" fmla="*/ 17 w 145"/>
                  <a:gd name="T33" fmla="*/ 10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5" h="119">
                    <a:moveTo>
                      <a:pt x="17" y="104"/>
                    </a:moveTo>
                    <a:lnTo>
                      <a:pt x="23" y="109"/>
                    </a:lnTo>
                    <a:lnTo>
                      <a:pt x="40" y="87"/>
                    </a:lnTo>
                    <a:lnTo>
                      <a:pt x="27" y="85"/>
                    </a:lnTo>
                    <a:lnTo>
                      <a:pt x="30" y="79"/>
                    </a:lnTo>
                    <a:lnTo>
                      <a:pt x="77" y="70"/>
                    </a:lnTo>
                    <a:lnTo>
                      <a:pt x="105" y="64"/>
                    </a:lnTo>
                    <a:lnTo>
                      <a:pt x="131" y="76"/>
                    </a:lnTo>
                    <a:lnTo>
                      <a:pt x="142" y="58"/>
                    </a:lnTo>
                    <a:lnTo>
                      <a:pt x="143" y="30"/>
                    </a:lnTo>
                    <a:lnTo>
                      <a:pt x="145" y="0"/>
                    </a:lnTo>
                    <a:lnTo>
                      <a:pt x="101" y="17"/>
                    </a:lnTo>
                    <a:lnTo>
                      <a:pt x="77" y="58"/>
                    </a:lnTo>
                    <a:lnTo>
                      <a:pt x="23" y="62"/>
                    </a:lnTo>
                    <a:lnTo>
                      <a:pt x="0" y="96"/>
                    </a:lnTo>
                    <a:lnTo>
                      <a:pt x="13" y="119"/>
                    </a:lnTo>
                    <a:lnTo>
                      <a:pt x="17" y="10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9" name="Freeform 100">
                <a:extLst>
                  <a:ext uri="{FF2B5EF4-FFF2-40B4-BE49-F238E27FC236}">
                    <a16:creationId xmlns:a16="http://schemas.microsoft.com/office/drawing/2014/main" xmlns="" id="{E4E5E807-5E67-4869-A029-AF74FE829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8" y="1941"/>
                <a:ext cx="65" cy="64"/>
              </a:xfrm>
              <a:custGeom>
                <a:avLst/>
                <a:gdLst>
                  <a:gd name="T0" fmla="*/ 57 w 65"/>
                  <a:gd name="T1" fmla="*/ 0 h 64"/>
                  <a:gd name="T2" fmla="*/ 40 w 65"/>
                  <a:gd name="T3" fmla="*/ 20 h 64"/>
                  <a:gd name="T4" fmla="*/ 42 w 65"/>
                  <a:gd name="T5" fmla="*/ 1 h 64"/>
                  <a:gd name="T6" fmla="*/ 2 w 65"/>
                  <a:gd name="T7" fmla="*/ 4 h 64"/>
                  <a:gd name="T8" fmla="*/ 0 w 65"/>
                  <a:gd name="T9" fmla="*/ 26 h 64"/>
                  <a:gd name="T10" fmla="*/ 17 w 65"/>
                  <a:gd name="T11" fmla="*/ 58 h 64"/>
                  <a:gd name="T12" fmla="*/ 50 w 65"/>
                  <a:gd name="T13" fmla="*/ 64 h 64"/>
                  <a:gd name="T14" fmla="*/ 65 w 65"/>
                  <a:gd name="T15" fmla="*/ 43 h 64"/>
                  <a:gd name="T16" fmla="*/ 57 w 65"/>
                  <a:gd name="T1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64">
                    <a:moveTo>
                      <a:pt x="57" y="0"/>
                    </a:moveTo>
                    <a:lnTo>
                      <a:pt x="40" y="20"/>
                    </a:lnTo>
                    <a:lnTo>
                      <a:pt x="42" y="1"/>
                    </a:lnTo>
                    <a:lnTo>
                      <a:pt x="2" y="4"/>
                    </a:lnTo>
                    <a:lnTo>
                      <a:pt x="0" y="26"/>
                    </a:lnTo>
                    <a:lnTo>
                      <a:pt x="17" y="58"/>
                    </a:lnTo>
                    <a:lnTo>
                      <a:pt x="50" y="64"/>
                    </a:lnTo>
                    <a:lnTo>
                      <a:pt x="65" y="4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0" name="Freeform 101">
                <a:extLst>
                  <a:ext uri="{FF2B5EF4-FFF2-40B4-BE49-F238E27FC236}">
                    <a16:creationId xmlns:a16="http://schemas.microsoft.com/office/drawing/2014/main" xmlns="" id="{B60252CD-3F27-4886-85F4-DC1C08096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1" y="2018"/>
                <a:ext cx="58" cy="37"/>
              </a:xfrm>
              <a:custGeom>
                <a:avLst/>
                <a:gdLst>
                  <a:gd name="T0" fmla="*/ 38 w 58"/>
                  <a:gd name="T1" fmla="*/ 9 h 37"/>
                  <a:gd name="T2" fmla="*/ 12 w 58"/>
                  <a:gd name="T3" fmla="*/ 0 h 37"/>
                  <a:gd name="T4" fmla="*/ 0 w 58"/>
                  <a:gd name="T5" fmla="*/ 17 h 37"/>
                  <a:gd name="T6" fmla="*/ 34 w 58"/>
                  <a:gd name="T7" fmla="*/ 37 h 37"/>
                  <a:gd name="T8" fmla="*/ 55 w 58"/>
                  <a:gd name="T9" fmla="*/ 32 h 37"/>
                  <a:gd name="T10" fmla="*/ 58 w 58"/>
                  <a:gd name="T11" fmla="*/ 20 h 37"/>
                  <a:gd name="T12" fmla="*/ 49 w 58"/>
                  <a:gd name="T13" fmla="*/ 9 h 37"/>
                  <a:gd name="T14" fmla="*/ 38 w 58"/>
                  <a:gd name="T15" fmla="*/ 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37">
                    <a:moveTo>
                      <a:pt x="38" y="9"/>
                    </a:moveTo>
                    <a:lnTo>
                      <a:pt x="12" y="0"/>
                    </a:lnTo>
                    <a:lnTo>
                      <a:pt x="0" y="17"/>
                    </a:lnTo>
                    <a:lnTo>
                      <a:pt x="34" y="37"/>
                    </a:lnTo>
                    <a:lnTo>
                      <a:pt x="55" y="32"/>
                    </a:lnTo>
                    <a:lnTo>
                      <a:pt x="58" y="20"/>
                    </a:lnTo>
                    <a:lnTo>
                      <a:pt x="49" y="9"/>
                    </a:lnTo>
                    <a:lnTo>
                      <a:pt x="38" y="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1" name="Freeform 102">
                <a:extLst>
                  <a:ext uri="{FF2B5EF4-FFF2-40B4-BE49-F238E27FC236}">
                    <a16:creationId xmlns:a16="http://schemas.microsoft.com/office/drawing/2014/main" xmlns="" id="{DBE9C7FB-DA48-4933-B94B-0FDAD2B01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2008"/>
                <a:ext cx="20" cy="14"/>
              </a:xfrm>
              <a:custGeom>
                <a:avLst/>
                <a:gdLst>
                  <a:gd name="T0" fmla="*/ 1 w 20"/>
                  <a:gd name="T1" fmla="*/ 5 h 14"/>
                  <a:gd name="T2" fmla="*/ 0 w 20"/>
                  <a:gd name="T3" fmla="*/ 14 h 14"/>
                  <a:gd name="T4" fmla="*/ 20 w 20"/>
                  <a:gd name="T5" fmla="*/ 7 h 14"/>
                  <a:gd name="T6" fmla="*/ 17 w 20"/>
                  <a:gd name="T7" fmla="*/ 0 h 14"/>
                  <a:gd name="T8" fmla="*/ 1 w 20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4">
                    <a:moveTo>
                      <a:pt x="1" y="5"/>
                    </a:moveTo>
                    <a:lnTo>
                      <a:pt x="0" y="14"/>
                    </a:lnTo>
                    <a:lnTo>
                      <a:pt x="20" y="7"/>
                    </a:lnTo>
                    <a:lnTo>
                      <a:pt x="17" y="0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2" name="Freeform 103">
                <a:extLst>
                  <a:ext uri="{FF2B5EF4-FFF2-40B4-BE49-F238E27FC236}">
                    <a16:creationId xmlns:a16="http://schemas.microsoft.com/office/drawing/2014/main" xmlns="" id="{2354BED6-169D-4164-9004-5C0A0D162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5" y="1880"/>
                <a:ext cx="109" cy="133"/>
              </a:xfrm>
              <a:custGeom>
                <a:avLst/>
                <a:gdLst>
                  <a:gd name="T0" fmla="*/ 109 w 109"/>
                  <a:gd name="T1" fmla="*/ 62 h 133"/>
                  <a:gd name="T2" fmla="*/ 89 w 109"/>
                  <a:gd name="T3" fmla="*/ 11 h 133"/>
                  <a:gd name="T4" fmla="*/ 69 w 109"/>
                  <a:gd name="T5" fmla="*/ 0 h 133"/>
                  <a:gd name="T6" fmla="*/ 20 w 109"/>
                  <a:gd name="T7" fmla="*/ 19 h 133"/>
                  <a:gd name="T8" fmla="*/ 29 w 109"/>
                  <a:gd name="T9" fmla="*/ 34 h 133"/>
                  <a:gd name="T10" fmla="*/ 0 w 109"/>
                  <a:gd name="T11" fmla="*/ 59 h 133"/>
                  <a:gd name="T12" fmla="*/ 9 w 109"/>
                  <a:gd name="T13" fmla="*/ 104 h 133"/>
                  <a:gd name="T14" fmla="*/ 41 w 109"/>
                  <a:gd name="T15" fmla="*/ 110 h 133"/>
                  <a:gd name="T16" fmla="*/ 43 w 109"/>
                  <a:gd name="T17" fmla="*/ 124 h 133"/>
                  <a:gd name="T18" fmla="*/ 65 w 109"/>
                  <a:gd name="T19" fmla="*/ 133 h 133"/>
                  <a:gd name="T20" fmla="*/ 71 w 109"/>
                  <a:gd name="T21" fmla="*/ 111 h 133"/>
                  <a:gd name="T22" fmla="*/ 89 w 109"/>
                  <a:gd name="T23" fmla="*/ 96 h 133"/>
                  <a:gd name="T24" fmla="*/ 89 w 109"/>
                  <a:gd name="T25" fmla="*/ 85 h 133"/>
                  <a:gd name="T26" fmla="*/ 80 w 109"/>
                  <a:gd name="T27" fmla="*/ 81 h 133"/>
                  <a:gd name="T28" fmla="*/ 83 w 109"/>
                  <a:gd name="T29" fmla="*/ 68 h 133"/>
                  <a:gd name="T30" fmla="*/ 109 w 109"/>
                  <a:gd name="T31" fmla="*/ 62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9" h="133">
                    <a:moveTo>
                      <a:pt x="109" y="62"/>
                    </a:moveTo>
                    <a:lnTo>
                      <a:pt x="89" y="11"/>
                    </a:lnTo>
                    <a:lnTo>
                      <a:pt x="69" y="0"/>
                    </a:lnTo>
                    <a:lnTo>
                      <a:pt x="20" y="19"/>
                    </a:lnTo>
                    <a:lnTo>
                      <a:pt x="29" y="34"/>
                    </a:lnTo>
                    <a:lnTo>
                      <a:pt x="0" y="59"/>
                    </a:lnTo>
                    <a:lnTo>
                      <a:pt x="9" y="104"/>
                    </a:lnTo>
                    <a:lnTo>
                      <a:pt x="41" y="110"/>
                    </a:lnTo>
                    <a:lnTo>
                      <a:pt x="43" y="124"/>
                    </a:lnTo>
                    <a:lnTo>
                      <a:pt x="65" y="133"/>
                    </a:lnTo>
                    <a:lnTo>
                      <a:pt x="71" y="111"/>
                    </a:lnTo>
                    <a:lnTo>
                      <a:pt x="89" y="96"/>
                    </a:lnTo>
                    <a:lnTo>
                      <a:pt x="89" y="85"/>
                    </a:lnTo>
                    <a:lnTo>
                      <a:pt x="80" y="81"/>
                    </a:lnTo>
                    <a:lnTo>
                      <a:pt x="83" y="68"/>
                    </a:lnTo>
                    <a:lnTo>
                      <a:pt x="109" y="6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3" name="Freeform 104">
                <a:extLst>
                  <a:ext uri="{FF2B5EF4-FFF2-40B4-BE49-F238E27FC236}">
                    <a16:creationId xmlns:a16="http://schemas.microsoft.com/office/drawing/2014/main" xmlns="" id="{F8C86C28-EC84-47AB-B3D3-2CA5480201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9" y="1733"/>
                <a:ext cx="27" cy="17"/>
              </a:xfrm>
              <a:custGeom>
                <a:avLst/>
                <a:gdLst>
                  <a:gd name="T0" fmla="*/ 27 w 27"/>
                  <a:gd name="T1" fmla="*/ 2 h 17"/>
                  <a:gd name="T2" fmla="*/ 11 w 27"/>
                  <a:gd name="T3" fmla="*/ 0 h 17"/>
                  <a:gd name="T4" fmla="*/ 0 w 27"/>
                  <a:gd name="T5" fmla="*/ 8 h 17"/>
                  <a:gd name="T6" fmla="*/ 11 w 27"/>
                  <a:gd name="T7" fmla="*/ 17 h 17"/>
                  <a:gd name="T8" fmla="*/ 27 w 27"/>
                  <a:gd name="T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7">
                    <a:moveTo>
                      <a:pt x="27" y="2"/>
                    </a:moveTo>
                    <a:lnTo>
                      <a:pt x="11" y="0"/>
                    </a:lnTo>
                    <a:lnTo>
                      <a:pt x="0" y="8"/>
                    </a:lnTo>
                    <a:lnTo>
                      <a:pt x="11" y="17"/>
                    </a:lnTo>
                    <a:lnTo>
                      <a:pt x="27" y="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4" name="Freeform 105">
                <a:extLst>
                  <a:ext uri="{FF2B5EF4-FFF2-40B4-BE49-F238E27FC236}">
                    <a16:creationId xmlns:a16="http://schemas.microsoft.com/office/drawing/2014/main" xmlns="" id="{4733567E-15B3-42BB-9CE8-EB08D2189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5" y="2016"/>
                <a:ext cx="26" cy="25"/>
              </a:xfrm>
              <a:custGeom>
                <a:avLst/>
                <a:gdLst>
                  <a:gd name="T0" fmla="*/ 14 w 26"/>
                  <a:gd name="T1" fmla="*/ 6 h 25"/>
                  <a:gd name="T2" fmla="*/ 4 w 26"/>
                  <a:gd name="T3" fmla="*/ 0 h 25"/>
                  <a:gd name="T4" fmla="*/ 0 w 26"/>
                  <a:gd name="T5" fmla="*/ 3 h 25"/>
                  <a:gd name="T6" fmla="*/ 12 w 26"/>
                  <a:gd name="T7" fmla="*/ 16 h 25"/>
                  <a:gd name="T8" fmla="*/ 14 w 26"/>
                  <a:gd name="T9" fmla="*/ 25 h 25"/>
                  <a:gd name="T10" fmla="*/ 26 w 26"/>
                  <a:gd name="T11" fmla="*/ 16 h 25"/>
                  <a:gd name="T12" fmla="*/ 25 w 26"/>
                  <a:gd name="T13" fmla="*/ 8 h 25"/>
                  <a:gd name="T14" fmla="*/ 14 w 26"/>
                  <a:gd name="T15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5">
                    <a:moveTo>
                      <a:pt x="14" y="6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12" y="16"/>
                    </a:lnTo>
                    <a:lnTo>
                      <a:pt x="14" y="25"/>
                    </a:lnTo>
                    <a:lnTo>
                      <a:pt x="26" y="16"/>
                    </a:lnTo>
                    <a:lnTo>
                      <a:pt x="25" y="8"/>
                    </a:lnTo>
                    <a:lnTo>
                      <a:pt x="14" y="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5" name="Freeform 106">
                <a:extLst>
                  <a:ext uri="{FF2B5EF4-FFF2-40B4-BE49-F238E27FC236}">
                    <a16:creationId xmlns:a16="http://schemas.microsoft.com/office/drawing/2014/main" xmlns="" id="{E949E3E1-A285-45A9-B89B-6531A891A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2" y="1891"/>
                <a:ext cx="18" cy="29"/>
              </a:xfrm>
              <a:custGeom>
                <a:avLst/>
                <a:gdLst>
                  <a:gd name="T0" fmla="*/ 9 w 18"/>
                  <a:gd name="T1" fmla="*/ 29 h 29"/>
                  <a:gd name="T2" fmla="*/ 13 w 18"/>
                  <a:gd name="T3" fmla="*/ 26 h 29"/>
                  <a:gd name="T4" fmla="*/ 18 w 18"/>
                  <a:gd name="T5" fmla="*/ 12 h 29"/>
                  <a:gd name="T6" fmla="*/ 12 w 18"/>
                  <a:gd name="T7" fmla="*/ 0 h 29"/>
                  <a:gd name="T8" fmla="*/ 0 w 18"/>
                  <a:gd name="T9" fmla="*/ 9 h 29"/>
                  <a:gd name="T10" fmla="*/ 4 w 18"/>
                  <a:gd name="T11" fmla="*/ 17 h 29"/>
                  <a:gd name="T12" fmla="*/ 3 w 18"/>
                  <a:gd name="T13" fmla="*/ 29 h 29"/>
                  <a:gd name="T14" fmla="*/ 9 w 18"/>
                  <a:gd name="T1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9">
                    <a:moveTo>
                      <a:pt x="9" y="29"/>
                    </a:moveTo>
                    <a:lnTo>
                      <a:pt x="13" y="26"/>
                    </a:lnTo>
                    <a:lnTo>
                      <a:pt x="18" y="12"/>
                    </a:lnTo>
                    <a:lnTo>
                      <a:pt x="12" y="0"/>
                    </a:lnTo>
                    <a:lnTo>
                      <a:pt x="0" y="9"/>
                    </a:lnTo>
                    <a:lnTo>
                      <a:pt x="4" y="17"/>
                    </a:lnTo>
                    <a:lnTo>
                      <a:pt x="3" y="29"/>
                    </a:lnTo>
                    <a:lnTo>
                      <a:pt x="9" y="29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6" name="Freeform 107">
                <a:extLst>
                  <a:ext uri="{FF2B5EF4-FFF2-40B4-BE49-F238E27FC236}">
                    <a16:creationId xmlns:a16="http://schemas.microsoft.com/office/drawing/2014/main" xmlns="" id="{C8ED9EC3-2997-4954-A58A-D799C9325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" y="1996"/>
                <a:ext cx="22" cy="22"/>
              </a:xfrm>
              <a:custGeom>
                <a:avLst/>
                <a:gdLst>
                  <a:gd name="T0" fmla="*/ 6 w 22"/>
                  <a:gd name="T1" fmla="*/ 0 h 22"/>
                  <a:gd name="T2" fmla="*/ 2 w 22"/>
                  <a:gd name="T3" fmla="*/ 5 h 22"/>
                  <a:gd name="T4" fmla="*/ 0 w 22"/>
                  <a:gd name="T5" fmla="*/ 8 h 22"/>
                  <a:gd name="T6" fmla="*/ 9 w 22"/>
                  <a:gd name="T7" fmla="*/ 22 h 22"/>
                  <a:gd name="T8" fmla="*/ 17 w 22"/>
                  <a:gd name="T9" fmla="*/ 22 h 22"/>
                  <a:gd name="T10" fmla="*/ 22 w 22"/>
                  <a:gd name="T11" fmla="*/ 19 h 22"/>
                  <a:gd name="T12" fmla="*/ 17 w 22"/>
                  <a:gd name="T13" fmla="*/ 5 h 22"/>
                  <a:gd name="T14" fmla="*/ 6 w 22"/>
                  <a:gd name="T1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22">
                    <a:moveTo>
                      <a:pt x="6" y="0"/>
                    </a:moveTo>
                    <a:lnTo>
                      <a:pt x="2" y="5"/>
                    </a:lnTo>
                    <a:lnTo>
                      <a:pt x="0" y="8"/>
                    </a:lnTo>
                    <a:lnTo>
                      <a:pt x="9" y="22"/>
                    </a:lnTo>
                    <a:lnTo>
                      <a:pt x="17" y="22"/>
                    </a:lnTo>
                    <a:lnTo>
                      <a:pt x="22" y="19"/>
                    </a:lnTo>
                    <a:lnTo>
                      <a:pt x="17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7" name="Freeform 108">
                <a:extLst>
                  <a:ext uri="{FF2B5EF4-FFF2-40B4-BE49-F238E27FC236}">
                    <a16:creationId xmlns:a16="http://schemas.microsoft.com/office/drawing/2014/main" xmlns="" id="{168048F8-AC56-49A1-9556-7C2E4E615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2010"/>
                <a:ext cx="23" cy="22"/>
              </a:xfrm>
              <a:custGeom>
                <a:avLst/>
                <a:gdLst>
                  <a:gd name="T0" fmla="*/ 3 w 23"/>
                  <a:gd name="T1" fmla="*/ 3 h 22"/>
                  <a:gd name="T2" fmla="*/ 0 w 23"/>
                  <a:gd name="T3" fmla="*/ 14 h 22"/>
                  <a:gd name="T4" fmla="*/ 15 w 23"/>
                  <a:gd name="T5" fmla="*/ 22 h 22"/>
                  <a:gd name="T6" fmla="*/ 17 w 23"/>
                  <a:gd name="T7" fmla="*/ 17 h 22"/>
                  <a:gd name="T8" fmla="*/ 20 w 23"/>
                  <a:gd name="T9" fmla="*/ 19 h 22"/>
                  <a:gd name="T10" fmla="*/ 23 w 23"/>
                  <a:gd name="T11" fmla="*/ 12 h 22"/>
                  <a:gd name="T12" fmla="*/ 8 w 23"/>
                  <a:gd name="T13" fmla="*/ 0 h 22"/>
                  <a:gd name="T14" fmla="*/ 3 w 23"/>
                  <a:gd name="T15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22">
                    <a:moveTo>
                      <a:pt x="3" y="3"/>
                    </a:moveTo>
                    <a:lnTo>
                      <a:pt x="0" y="14"/>
                    </a:lnTo>
                    <a:lnTo>
                      <a:pt x="15" y="22"/>
                    </a:lnTo>
                    <a:lnTo>
                      <a:pt x="17" y="17"/>
                    </a:lnTo>
                    <a:lnTo>
                      <a:pt x="20" y="19"/>
                    </a:lnTo>
                    <a:lnTo>
                      <a:pt x="23" y="12"/>
                    </a:lnTo>
                    <a:lnTo>
                      <a:pt x="8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8" name="Freeform 109">
                <a:extLst>
                  <a:ext uri="{FF2B5EF4-FFF2-40B4-BE49-F238E27FC236}">
                    <a16:creationId xmlns:a16="http://schemas.microsoft.com/office/drawing/2014/main" xmlns="" id="{CB5A72DC-6CE6-4501-8D20-2A2A78FB8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7" y="1995"/>
                <a:ext cx="18" cy="40"/>
              </a:xfrm>
              <a:custGeom>
                <a:avLst/>
                <a:gdLst>
                  <a:gd name="T0" fmla="*/ 15 w 18"/>
                  <a:gd name="T1" fmla="*/ 0 h 40"/>
                  <a:gd name="T2" fmla="*/ 11 w 18"/>
                  <a:gd name="T3" fmla="*/ 3 h 40"/>
                  <a:gd name="T4" fmla="*/ 1 w 18"/>
                  <a:gd name="T5" fmla="*/ 24 h 40"/>
                  <a:gd name="T6" fmla="*/ 0 w 18"/>
                  <a:gd name="T7" fmla="*/ 40 h 40"/>
                  <a:gd name="T8" fmla="*/ 6 w 18"/>
                  <a:gd name="T9" fmla="*/ 40 h 40"/>
                  <a:gd name="T10" fmla="*/ 6 w 18"/>
                  <a:gd name="T11" fmla="*/ 37 h 40"/>
                  <a:gd name="T12" fmla="*/ 11 w 18"/>
                  <a:gd name="T13" fmla="*/ 37 h 40"/>
                  <a:gd name="T14" fmla="*/ 12 w 18"/>
                  <a:gd name="T15" fmla="*/ 26 h 40"/>
                  <a:gd name="T16" fmla="*/ 18 w 18"/>
                  <a:gd name="T17" fmla="*/ 12 h 40"/>
                  <a:gd name="T18" fmla="*/ 15 w 18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40">
                    <a:moveTo>
                      <a:pt x="15" y="0"/>
                    </a:moveTo>
                    <a:lnTo>
                      <a:pt x="11" y="3"/>
                    </a:lnTo>
                    <a:lnTo>
                      <a:pt x="1" y="24"/>
                    </a:lnTo>
                    <a:lnTo>
                      <a:pt x="0" y="40"/>
                    </a:lnTo>
                    <a:lnTo>
                      <a:pt x="6" y="40"/>
                    </a:lnTo>
                    <a:lnTo>
                      <a:pt x="6" y="37"/>
                    </a:lnTo>
                    <a:lnTo>
                      <a:pt x="11" y="37"/>
                    </a:lnTo>
                    <a:lnTo>
                      <a:pt x="12" y="26"/>
                    </a:lnTo>
                    <a:lnTo>
                      <a:pt x="18" y="1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9" name="Freeform 110">
                <a:extLst>
                  <a:ext uri="{FF2B5EF4-FFF2-40B4-BE49-F238E27FC236}">
                    <a16:creationId xmlns:a16="http://schemas.microsoft.com/office/drawing/2014/main" xmlns="" id="{690699E2-7EC7-43C8-AAD1-5C4EB347B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3430"/>
                <a:ext cx="24" cy="15"/>
              </a:xfrm>
              <a:custGeom>
                <a:avLst/>
                <a:gdLst>
                  <a:gd name="T0" fmla="*/ 1 w 24"/>
                  <a:gd name="T1" fmla="*/ 0 h 15"/>
                  <a:gd name="T2" fmla="*/ 0 w 24"/>
                  <a:gd name="T3" fmla="*/ 5 h 15"/>
                  <a:gd name="T4" fmla="*/ 24 w 24"/>
                  <a:gd name="T5" fmla="*/ 15 h 15"/>
                  <a:gd name="T6" fmla="*/ 18 w 24"/>
                  <a:gd name="T7" fmla="*/ 8 h 15"/>
                  <a:gd name="T8" fmla="*/ 1 w 24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lnTo>
                      <a:pt x="0" y="5"/>
                    </a:lnTo>
                    <a:lnTo>
                      <a:pt x="24" y="15"/>
                    </a:lnTo>
                    <a:lnTo>
                      <a:pt x="18" y="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0" name="Freeform 111">
                <a:extLst>
                  <a:ext uri="{FF2B5EF4-FFF2-40B4-BE49-F238E27FC236}">
                    <a16:creationId xmlns:a16="http://schemas.microsoft.com/office/drawing/2014/main" xmlns="" id="{8554F27B-4336-4E3D-BD26-F642082AA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2" y="3048"/>
                <a:ext cx="534" cy="475"/>
              </a:xfrm>
              <a:custGeom>
                <a:avLst/>
                <a:gdLst>
                  <a:gd name="T0" fmla="*/ 515 w 534"/>
                  <a:gd name="T1" fmla="*/ 101 h 475"/>
                  <a:gd name="T2" fmla="*/ 526 w 534"/>
                  <a:gd name="T3" fmla="*/ 76 h 475"/>
                  <a:gd name="T4" fmla="*/ 498 w 534"/>
                  <a:gd name="T5" fmla="*/ 27 h 475"/>
                  <a:gd name="T6" fmla="*/ 413 w 534"/>
                  <a:gd name="T7" fmla="*/ 71 h 475"/>
                  <a:gd name="T8" fmla="*/ 378 w 534"/>
                  <a:gd name="T9" fmla="*/ 57 h 475"/>
                  <a:gd name="T10" fmla="*/ 308 w 534"/>
                  <a:gd name="T11" fmla="*/ 50 h 475"/>
                  <a:gd name="T12" fmla="*/ 247 w 534"/>
                  <a:gd name="T13" fmla="*/ 0 h 475"/>
                  <a:gd name="T14" fmla="*/ 153 w 534"/>
                  <a:gd name="T15" fmla="*/ 37 h 475"/>
                  <a:gd name="T16" fmla="*/ 129 w 534"/>
                  <a:gd name="T17" fmla="*/ 84 h 475"/>
                  <a:gd name="T18" fmla="*/ 97 w 534"/>
                  <a:gd name="T19" fmla="*/ 76 h 475"/>
                  <a:gd name="T20" fmla="*/ 0 w 534"/>
                  <a:gd name="T21" fmla="*/ 135 h 475"/>
                  <a:gd name="T22" fmla="*/ 7 w 534"/>
                  <a:gd name="T23" fmla="*/ 176 h 475"/>
                  <a:gd name="T24" fmla="*/ 41 w 534"/>
                  <a:gd name="T25" fmla="*/ 214 h 475"/>
                  <a:gd name="T26" fmla="*/ 57 w 534"/>
                  <a:gd name="T27" fmla="*/ 192 h 475"/>
                  <a:gd name="T28" fmla="*/ 57 w 534"/>
                  <a:gd name="T29" fmla="*/ 176 h 475"/>
                  <a:gd name="T30" fmla="*/ 78 w 534"/>
                  <a:gd name="T31" fmla="*/ 147 h 475"/>
                  <a:gd name="T32" fmla="*/ 105 w 534"/>
                  <a:gd name="T33" fmla="*/ 158 h 475"/>
                  <a:gd name="T34" fmla="*/ 119 w 534"/>
                  <a:gd name="T35" fmla="*/ 184 h 475"/>
                  <a:gd name="T36" fmla="*/ 136 w 534"/>
                  <a:gd name="T37" fmla="*/ 232 h 475"/>
                  <a:gd name="T38" fmla="*/ 159 w 534"/>
                  <a:gd name="T39" fmla="*/ 266 h 475"/>
                  <a:gd name="T40" fmla="*/ 148 w 534"/>
                  <a:gd name="T41" fmla="*/ 274 h 475"/>
                  <a:gd name="T42" fmla="*/ 166 w 534"/>
                  <a:gd name="T43" fmla="*/ 300 h 475"/>
                  <a:gd name="T44" fmla="*/ 210 w 534"/>
                  <a:gd name="T45" fmla="*/ 325 h 475"/>
                  <a:gd name="T46" fmla="*/ 217 w 534"/>
                  <a:gd name="T47" fmla="*/ 336 h 475"/>
                  <a:gd name="T48" fmla="*/ 237 w 534"/>
                  <a:gd name="T49" fmla="*/ 348 h 475"/>
                  <a:gd name="T50" fmla="*/ 254 w 534"/>
                  <a:gd name="T51" fmla="*/ 337 h 475"/>
                  <a:gd name="T52" fmla="*/ 279 w 534"/>
                  <a:gd name="T53" fmla="*/ 348 h 475"/>
                  <a:gd name="T54" fmla="*/ 305 w 534"/>
                  <a:gd name="T55" fmla="*/ 373 h 475"/>
                  <a:gd name="T56" fmla="*/ 316 w 534"/>
                  <a:gd name="T57" fmla="*/ 377 h 475"/>
                  <a:gd name="T58" fmla="*/ 358 w 534"/>
                  <a:gd name="T59" fmla="*/ 410 h 475"/>
                  <a:gd name="T60" fmla="*/ 384 w 534"/>
                  <a:gd name="T61" fmla="*/ 421 h 475"/>
                  <a:gd name="T62" fmla="*/ 475 w 534"/>
                  <a:gd name="T63" fmla="*/ 475 h 475"/>
                  <a:gd name="T64" fmla="*/ 481 w 534"/>
                  <a:gd name="T65" fmla="*/ 455 h 475"/>
                  <a:gd name="T66" fmla="*/ 386 w 534"/>
                  <a:gd name="T67" fmla="*/ 373 h 475"/>
                  <a:gd name="T68" fmla="*/ 299 w 534"/>
                  <a:gd name="T69" fmla="*/ 314 h 475"/>
                  <a:gd name="T70" fmla="*/ 284 w 534"/>
                  <a:gd name="T71" fmla="*/ 277 h 475"/>
                  <a:gd name="T72" fmla="*/ 234 w 534"/>
                  <a:gd name="T73" fmla="*/ 214 h 475"/>
                  <a:gd name="T74" fmla="*/ 247 w 534"/>
                  <a:gd name="T75" fmla="*/ 159 h 475"/>
                  <a:gd name="T76" fmla="*/ 274 w 534"/>
                  <a:gd name="T77" fmla="*/ 158 h 475"/>
                  <a:gd name="T78" fmla="*/ 318 w 534"/>
                  <a:gd name="T79" fmla="*/ 204 h 475"/>
                  <a:gd name="T80" fmla="*/ 345 w 534"/>
                  <a:gd name="T81" fmla="*/ 189 h 475"/>
                  <a:gd name="T82" fmla="*/ 369 w 534"/>
                  <a:gd name="T83" fmla="*/ 203 h 475"/>
                  <a:gd name="T84" fmla="*/ 406 w 534"/>
                  <a:gd name="T85" fmla="*/ 176 h 475"/>
                  <a:gd name="T86" fmla="*/ 461 w 534"/>
                  <a:gd name="T87" fmla="*/ 190 h 475"/>
                  <a:gd name="T88" fmla="*/ 534 w 534"/>
                  <a:gd name="T89" fmla="*/ 170 h 475"/>
                  <a:gd name="T90" fmla="*/ 532 w 534"/>
                  <a:gd name="T91" fmla="*/ 124 h 475"/>
                  <a:gd name="T92" fmla="*/ 515 w 534"/>
                  <a:gd name="T93" fmla="*/ 101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34" h="475">
                    <a:moveTo>
                      <a:pt x="515" y="101"/>
                    </a:moveTo>
                    <a:lnTo>
                      <a:pt x="526" y="76"/>
                    </a:lnTo>
                    <a:lnTo>
                      <a:pt x="498" y="27"/>
                    </a:lnTo>
                    <a:lnTo>
                      <a:pt x="413" y="71"/>
                    </a:lnTo>
                    <a:lnTo>
                      <a:pt x="378" y="57"/>
                    </a:lnTo>
                    <a:lnTo>
                      <a:pt x="308" y="50"/>
                    </a:lnTo>
                    <a:lnTo>
                      <a:pt x="247" y="0"/>
                    </a:lnTo>
                    <a:lnTo>
                      <a:pt x="153" y="37"/>
                    </a:lnTo>
                    <a:lnTo>
                      <a:pt x="129" y="84"/>
                    </a:lnTo>
                    <a:lnTo>
                      <a:pt x="97" y="76"/>
                    </a:lnTo>
                    <a:lnTo>
                      <a:pt x="0" y="135"/>
                    </a:lnTo>
                    <a:lnTo>
                      <a:pt x="7" y="176"/>
                    </a:lnTo>
                    <a:lnTo>
                      <a:pt x="41" y="214"/>
                    </a:lnTo>
                    <a:lnTo>
                      <a:pt x="57" y="192"/>
                    </a:lnTo>
                    <a:lnTo>
                      <a:pt x="57" y="176"/>
                    </a:lnTo>
                    <a:lnTo>
                      <a:pt x="78" y="147"/>
                    </a:lnTo>
                    <a:lnTo>
                      <a:pt x="105" y="158"/>
                    </a:lnTo>
                    <a:lnTo>
                      <a:pt x="119" y="184"/>
                    </a:lnTo>
                    <a:lnTo>
                      <a:pt x="136" y="232"/>
                    </a:lnTo>
                    <a:lnTo>
                      <a:pt x="159" y="266"/>
                    </a:lnTo>
                    <a:lnTo>
                      <a:pt x="148" y="274"/>
                    </a:lnTo>
                    <a:lnTo>
                      <a:pt x="166" y="300"/>
                    </a:lnTo>
                    <a:lnTo>
                      <a:pt x="210" y="325"/>
                    </a:lnTo>
                    <a:lnTo>
                      <a:pt x="217" y="336"/>
                    </a:lnTo>
                    <a:lnTo>
                      <a:pt x="237" y="348"/>
                    </a:lnTo>
                    <a:lnTo>
                      <a:pt x="254" y="337"/>
                    </a:lnTo>
                    <a:lnTo>
                      <a:pt x="279" y="348"/>
                    </a:lnTo>
                    <a:lnTo>
                      <a:pt x="305" y="373"/>
                    </a:lnTo>
                    <a:lnTo>
                      <a:pt x="316" y="377"/>
                    </a:lnTo>
                    <a:lnTo>
                      <a:pt x="358" y="410"/>
                    </a:lnTo>
                    <a:lnTo>
                      <a:pt x="384" y="421"/>
                    </a:lnTo>
                    <a:lnTo>
                      <a:pt x="475" y="475"/>
                    </a:lnTo>
                    <a:lnTo>
                      <a:pt x="481" y="455"/>
                    </a:lnTo>
                    <a:lnTo>
                      <a:pt x="386" y="373"/>
                    </a:lnTo>
                    <a:lnTo>
                      <a:pt x="299" y="314"/>
                    </a:lnTo>
                    <a:lnTo>
                      <a:pt x="284" y="277"/>
                    </a:lnTo>
                    <a:lnTo>
                      <a:pt x="234" y="214"/>
                    </a:lnTo>
                    <a:lnTo>
                      <a:pt x="247" y="159"/>
                    </a:lnTo>
                    <a:lnTo>
                      <a:pt x="274" y="158"/>
                    </a:lnTo>
                    <a:lnTo>
                      <a:pt x="318" y="204"/>
                    </a:lnTo>
                    <a:lnTo>
                      <a:pt x="345" y="189"/>
                    </a:lnTo>
                    <a:lnTo>
                      <a:pt x="369" y="203"/>
                    </a:lnTo>
                    <a:lnTo>
                      <a:pt x="406" y="176"/>
                    </a:lnTo>
                    <a:lnTo>
                      <a:pt x="461" y="190"/>
                    </a:lnTo>
                    <a:lnTo>
                      <a:pt x="534" y="170"/>
                    </a:lnTo>
                    <a:lnTo>
                      <a:pt x="532" y="124"/>
                    </a:lnTo>
                    <a:lnTo>
                      <a:pt x="515" y="10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1" name="Freeform 112">
                <a:extLst>
                  <a:ext uri="{FF2B5EF4-FFF2-40B4-BE49-F238E27FC236}">
                    <a16:creationId xmlns:a16="http://schemas.microsoft.com/office/drawing/2014/main" xmlns="" id="{B49F81A2-262D-44FA-B605-D688B1884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" y="3291"/>
                <a:ext cx="30" cy="28"/>
              </a:xfrm>
              <a:custGeom>
                <a:avLst/>
                <a:gdLst>
                  <a:gd name="T0" fmla="*/ 0 w 30"/>
                  <a:gd name="T1" fmla="*/ 0 h 28"/>
                  <a:gd name="T2" fmla="*/ 22 w 30"/>
                  <a:gd name="T3" fmla="*/ 28 h 28"/>
                  <a:gd name="T4" fmla="*/ 30 w 30"/>
                  <a:gd name="T5" fmla="*/ 20 h 28"/>
                  <a:gd name="T6" fmla="*/ 11 w 30"/>
                  <a:gd name="T7" fmla="*/ 0 h 28"/>
                  <a:gd name="T8" fmla="*/ 0 w 3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8">
                    <a:moveTo>
                      <a:pt x="0" y="0"/>
                    </a:moveTo>
                    <a:lnTo>
                      <a:pt x="22" y="28"/>
                    </a:lnTo>
                    <a:lnTo>
                      <a:pt x="30" y="20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2" name="Freeform 113">
                <a:extLst>
                  <a:ext uri="{FF2B5EF4-FFF2-40B4-BE49-F238E27FC236}">
                    <a16:creationId xmlns:a16="http://schemas.microsoft.com/office/drawing/2014/main" xmlns="" id="{D4B93576-C35A-413A-A6C5-9297CEBCD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" y="3223"/>
                <a:ext cx="28" cy="62"/>
              </a:xfrm>
              <a:custGeom>
                <a:avLst/>
                <a:gdLst>
                  <a:gd name="T0" fmla="*/ 6 w 18"/>
                  <a:gd name="T1" fmla="*/ 0 h 40"/>
                  <a:gd name="T2" fmla="*/ 0 w 18"/>
                  <a:gd name="T3" fmla="*/ 6 h 40"/>
                  <a:gd name="T4" fmla="*/ 5 w 18"/>
                  <a:gd name="T5" fmla="*/ 26 h 40"/>
                  <a:gd name="T6" fmla="*/ 16 w 18"/>
                  <a:gd name="T7" fmla="*/ 36 h 40"/>
                  <a:gd name="T8" fmla="*/ 18 w 18"/>
                  <a:gd name="T9" fmla="*/ 33 h 40"/>
                  <a:gd name="T10" fmla="*/ 11 w 18"/>
                  <a:gd name="T11" fmla="*/ 24 h 40"/>
                  <a:gd name="T12" fmla="*/ 16 w 18"/>
                  <a:gd name="T13" fmla="*/ 20 h 40"/>
                  <a:gd name="T14" fmla="*/ 6 w 18"/>
                  <a:gd name="T1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40">
                    <a:moveTo>
                      <a:pt x="6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14" y="40"/>
                      <a:pt x="16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20"/>
                      <a:pt x="16" y="20"/>
                      <a:pt x="16" y="20"/>
                    </a:cubicBezTo>
                    <a:lnTo>
                      <a:pt x="6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3" name="Freeform 114">
                <a:extLst>
                  <a:ext uri="{FF2B5EF4-FFF2-40B4-BE49-F238E27FC236}">
                    <a16:creationId xmlns:a16="http://schemas.microsoft.com/office/drawing/2014/main" xmlns="" id="{DACD5C1E-2F84-4B3C-A19E-B57811C8A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7" y="3217"/>
                <a:ext cx="11" cy="20"/>
              </a:xfrm>
              <a:custGeom>
                <a:avLst/>
                <a:gdLst>
                  <a:gd name="T0" fmla="*/ 2 w 11"/>
                  <a:gd name="T1" fmla="*/ 11 h 20"/>
                  <a:gd name="T2" fmla="*/ 10 w 11"/>
                  <a:gd name="T3" fmla="*/ 20 h 20"/>
                  <a:gd name="T4" fmla="*/ 11 w 11"/>
                  <a:gd name="T5" fmla="*/ 14 h 20"/>
                  <a:gd name="T6" fmla="*/ 0 w 11"/>
                  <a:gd name="T7" fmla="*/ 0 h 20"/>
                  <a:gd name="T8" fmla="*/ 2 w 11"/>
                  <a:gd name="T9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0">
                    <a:moveTo>
                      <a:pt x="2" y="11"/>
                    </a:moveTo>
                    <a:lnTo>
                      <a:pt x="10" y="20"/>
                    </a:lnTo>
                    <a:lnTo>
                      <a:pt x="11" y="14"/>
                    </a:lnTo>
                    <a:lnTo>
                      <a:pt x="0" y="0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4" name="Freeform 115">
                <a:extLst>
                  <a:ext uri="{FF2B5EF4-FFF2-40B4-BE49-F238E27FC236}">
                    <a16:creationId xmlns:a16="http://schemas.microsoft.com/office/drawing/2014/main" xmlns="" id="{6947751B-36C2-4988-9580-9905B73B1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7" y="3397"/>
                <a:ext cx="28" cy="11"/>
              </a:xfrm>
              <a:custGeom>
                <a:avLst/>
                <a:gdLst>
                  <a:gd name="T0" fmla="*/ 0 w 28"/>
                  <a:gd name="T1" fmla="*/ 4 h 11"/>
                  <a:gd name="T2" fmla="*/ 28 w 28"/>
                  <a:gd name="T3" fmla="*/ 11 h 11"/>
                  <a:gd name="T4" fmla="*/ 28 w 28"/>
                  <a:gd name="T5" fmla="*/ 5 h 11"/>
                  <a:gd name="T6" fmla="*/ 9 w 28"/>
                  <a:gd name="T7" fmla="*/ 0 h 11"/>
                  <a:gd name="T8" fmla="*/ 0 w 2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1">
                    <a:moveTo>
                      <a:pt x="0" y="4"/>
                    </a:moveTo>
                    <a:lnTo>
                      <a:pt x="28" y="11"/>
                    </a:lnTo>
                    <a:lnTo>
                      <a:pt x="28" y="5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5" name="Freeform 116">
                <a:extLst>
                  <a:ext uri="{FF2B5EF4-FFF2-40B4-BE49-F238E27FC236}">
                    <a16:creationId xmlns:a16="http://schemas.microsoft.com/office/drawing/2014/main" xmlns="" id="{7566D8DB-3AC4-4671-AFFB-AC40D4FB9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8" y="3410"/>
                <a:ext cx="19" cy="12"/>
              </a:xfrm>
              <a:custGeom>
                <a:avLst/>
                <a:gdLst>
                  <a:gd name="T0" fmla="*/ 0 w 19"/>
                  <a:gd name="T1" fmla="*/ 1 h 12"/>
                  <a:gd name="T2" fmla="*/ 14 w 19"/>
                  <a:gd name="T3" fmla="*/ 12 h 12"/>
                  <a:gd name="T4" fmla="*/ 19 w 19"/>
                  <a:gd name="T5" fmla="*/ 6 h 12"/>
                  <a:gd name="T6" fmla="*/ 6 w 19"/>
                  <a:gd name="T7" fmla="*/ 0 h 12"/>
                  <a:gd name="T8" fmla="*/ 0 w 1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2">
                    <a:moveTo>
                      <a:pt x="0" y="1"/>
                    </a:moveTo>
                    <a:lnTo>
                      <a:pt x="14" y="12"/>
                    </a:lnTo>
                    <a:lnTo>
                      <a:pt x="19" y="6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6" name="Freeform 117">
                <a:extLst>
                  <a:ext uri="{FF2B5EF4-FFF2-40B4-BE49-F238E27FC236}">
                    <a16:creationId xmlns:a16="http://schemas.microsoft.com/office/drawing/2014/main" xmlns="" id="{C53C27EB-8055-4DEF-B088-B21A3472B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4" y="4019"/>
                <a:ext cx="256" cy="188"/>
              </a:xfrm>
              <a:custGeom>
                <a:avLst/>
                <a:gdLst>
                  <a:gd name="T0" fmla="*/ 9 w 256"/>
                  <a:gd name="T1" fmla="*/ 140 h 188"/>
                  <a:gd name="T2" fmla="*/ 24 w 256"/>
                  <a:gd name="T3" fmla="*/ 163 h 188"/>
                  <a:gd name="T4" fmla="*/ 80 w 256"/>
                  <a:gd name="T5" fmla="*/ 188 h 188"/>
                  <a:gd name="T6" fmla="*/ 163 w 256"/>
                  <a:gd name="T7" fmla="*/ 128 h 188"/>
                  <a:gd name="T8" fmla="*/ 169 w 256"/>
                  <a:gd name="T9" fmla="*/ 109 h 188"/>
                  <a:gd name="T10" fmla="*/ 188 w 256"/>
                  <a:gd name="T11" fmla="*/ 117 h 188"/>
                  <a:gd name="T12" fmla="*/ 214 w 256"/>
                  <a:gd name="T13" fmla="*/ 95 h 188"/>
                  <a:gd name="T14" fmla="*/ 174 w 256"/>
                  <a:gd name="T15" fmla="*/ 77 h 188"/>
                  <a:gd name="T16" fmla="*/ 256 w 256"/>
                  <a:gd name="T17" fmla="*/ 7 h 188"/>
                  <a:gd name="T18" fmla="*/ 253 w 256"/>
                  <a:gd name="T19" fmla="*/ 0 h 188"/>
                  <a:gd name="T20" fmla="*/ 140 w 256"/>
                  <a:gd name="T21" fmla="*/ 58 h 188"/>
                  <a:gd name="T22" fmla="*/ 74 w 256"/>
                  <a:gd name="T23" fmla="*/ 63 h 188"/>
                  <a:gd name="T24" fmla="*/ 66 w 256"/>
                  <a:gd name="T25" fmla="*/ 98 h 188"/>
                  <a:gd name="T26" fmla="*/ 32 w 256"/>
                  <a:gd name="T27" fmla="*/ 106 h 188"/>
                  <a:gd name="T28" fmla="*/ 20 w 256"/>
                  <a:gd name="T29" fmla="*/ 128 h 188"/>
                  <a:gd name="T30" fmla="*/ 0 w 256"/>
                  <a:gd name="T31" fmla="*/ 122 h 188"/>
                  <a:gd name="T32" fmla="*/ 9 w 256"/>
                  <a:gd name="T33" fmla="*/ 14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6" h="188">
                    <a:moveTo>
                      <a:pt x="9" y="140"/>
                    </a:moveTo>
                    <a:lnTo>
                      <a:pt x="24" y="163"/>
                    </a:lnTo>
                    <a:lnTo>
                      <a:pt x="80" y="188"/>
                    </a:lnTo>
                    <a:lnTo>
                      <a:pt x="163" y="128"/>
                    </a:lnTo>
                    <a:lnTo>
                      <a:pt x="169" y="109"/>
                    </a:lnTo>
                    <a:lnTo>
                      <a:pt x="188" y="117"/>
                    </a:lnTo>
                    <a:lnTo>
                      <a:pt x="214" y="95"/>
                    </a:lnTo>
                    <a:lnTo>
                      <a:pt x="174" y="77"/>
                    </a:lnTo>
                    <a:lnTo>
                      <a:pt x="256" y="7"/>
                    </a:lnTo>
                    <a:lnTo>
                      <a:pt x="253" y="0"/>
                    </a:lnTo>
                    <a:lnTo>
                      <a:pt x="140" y="58"/>
                    </a:lnTo>
                    <a:lnTo>
                      <a:pt x="74" y="63"/>
                    </a:lnTo>
                    <a:lnTo>
                      <a:pt x="66" y="98"/>
                    </a:lnTo>
                    <a:lnTo>
                      <a:pt x="32" y="106"/>
                    </a:lnTo>
                    <a:lnTo>
                      <a:pt x="20" y="128"/>
                    </a:lnTo>
                    <a:lnTo>
                      <a:pt x="0" y="122"/>
                    </a:lnTo>
                    <a:lnTo>
                      <a:pt x="9" y="14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7" name="Freeform 118">
                <a:extLst>
                  <a:ext uri="{FF2B5EF4-FFF2-40B4-BE49-F238E27FC236}">
                    <a16:creationId xmlns:a16="http://schemas.microsoft.com/office/drawing/2014/main" xmlns="" id="{5F6ED67F-6085-45D2-877F-264484624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" y="3177"/>
                <a:ext cx="546" cy="401"/>
              </a:xfrm>
              <a:custGeom>
                <a:avLst/>
                <a:gdLst>
                  <a:gd name="T0" fmla="*/ 512 w 546"/>
                  <a:gd name="T1" fmla="*/ 92 h 401"/>
                  <a:gd name="T2" fmla="*/ 540 w 546"/>
                  <a:gd name="T3" fmla="*/ 68 h 401"/>
                  <a:gd name="T4" fmla="*/ 546 w 546"/>
                  <a:gd name="T5" fmla="*/ 34 h 401"/>
                  <a:gd name="T6" fmla="*/ 540 w 546"/>
                  <a:gd name="T7" fmla="*/ 9 h 401"/>
                  <a:gd name="T8" fmla="*/ 475 w 546"/>
                  <a:gd name="T9" fmla="*/ 0 h 401"/>
                  <a:gd name="T10" fmla="*/ 443 w 546"/>
                  <a:gd name="T11" fmla="*/ 3 h 401"/>
                  <a:gd name="T12" fmla="*/ 292 w 546"/>
                  <a:gd name="T13" fmla="*/ 69 h 401"/>
                  <a:gd name="T14" fmla="*/ 255 w 546"/>
                  <a:gd name="T15" fmla="*/ 97 h 401"/>
                  <a:gd name="T16" fmla="*/ 154 w 546"/>
                  <a:gd name="T17" fmla="*/ 108 h 401"/>
                  <a:gd name="T18" fmla="*/ 43 w 546"/>
                  <a:gd name="T19" fmla="*/ 112 h 401"/>
                  <a:gd name="T20" fmla="*/ 38 w 546"/>
                  <a:gd name="T21" fmla="*/ 88 h 401"/>
                  <a:gd name="T22" fmla="*/ 15 w 546"/>
                  <a:gd name="T23" fmla="*/ 83 h 401"/>
                  <a:gd name="T24" fmla="*/ 0 w 546"/>
                  <a:gd name="T25" fmla="*/ 119 h 401"/>
                  <a:gd name="T26" fmla="*/ 8 w 546"/>
                  <a:gd name="T27" fmla="*/ 154 h 401"/>
                  <a:gd name="T28" fmla="*/ 49 w 546"/>
                  <a:gd name="T29" fmla="*/ 183 h 401"/>
                  <a:gd name="T30" fmla="*/ 63 w 546"/>
                  <a:gd name="T31" fmla="*/ 211 h 401"/>
                  <a:gd name="T32" fmla="*/ 38 w 546"/>
                  <a:gd name="T33" fmla="*/ 231 h 401"/>
                  <a:gd name="T34" fmla="*/ 48 w 546"/>
                  <a:gd name="T35" fmla="*/ 321 h 401"/>
                  <a:gd name="T36" fmla="*/ 92 w 546"/>
                  <a:gd name="T37" fmla="*/ 347 h 401"/>
                  <a:gd name="T38" fmla="*/ 114 w 546"/>
                  <a:gd name="T39" fmla="*/ 401 h 401"/>
                  <a:gd name="T40" fmla="*/ 163 w 546"/>
                  <a:gd name="T41" fmla="*/ 386 h 401"/>
                  <a:gd name="T42" fmla="*/ 210 w 546"/>
                  <a:gd name="T43" fmla="*/ 336 h 401"/>
                  <a:gd name="T44" fmla="*/ 230 w 546"/>
                  <a:gd name="T45" fmla="*/ 336 h 401"/>
                  <a:gd name="T46" fmla="*/ 301 w 546"/>
                  <a:gd name="T47" fmla="*/ 363 h 401"/>
                  <a:gd name="T48" fmla="*/ 367 w 546"/>
                  <a:gd name="T49" fmla="*/ 338 h 401"/>
                  <a:gd name="T50" fmla="*/ 383 w 546"/>
                  <a:gd name="T51" fmla="*/ 299 h 401"/>
                  <a:gd name="T52" fmla="*/ 406 w 546"/>
                  <a:gd name="T53" fmla="*/ 312 h 401"/>
                  <a:gd name="T54" fmla="*/ 420 w 546"/>
                  <a:gd name="T55" fmla="*/ 275 h 401"/>
                  <a:gd name="T56" fmla="*/ 471 w 546"/>
                  <a:gd name="T57" fmla="*/ 247 h 401"/>
                  <a:gd name="T58" fmla="*/ 495 w 546"/>
                  <a:gd name="T59" fmla="*/ 262 h 401"/>
                  <a:gd name="T60" fmla="*/ 542 w 546"/>
                  <a:gd name="T61" fmla="*/ 254 h 401"/>
                  <a:gd name="T62" fmla="*/ 523 w 546"/>
                  <a:gd name="T63" fmla="*/ 207 h 401"/>
                  <a:gd name="T64" fmla="*/ 502 w 546"/>
                  <a:gd name="T65" fmla="*/ 191 h 401"/>
                  <a:gd name="T66" fmla="*/ 483 w 546"/>
                  <a:gd name="T67" fmla="*/ 190 h 401"/>
                  <a:gd name="T68" fmla="*/ 515 w 546"/>
                  <a:gd name="T69" fmla="*/ 148 h 401"/>
                  <a:gd name="T70" fmla="*/ 512 w 546"/>
                  <a:gd name="T71" fmla="*/ 92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46" h="401">
                    <a:moveTo>
                      <a:pt x="512" y="92"/>
                    </a:moveTo>
                    <a:lnTo>
                      <a:pt x="540" y="68"/>
                    </a:lnTo>
                    <a:lnTo>
                      <a:pt x="546" y="34"/>
                    </a:lnTo>
                    <a:lnTo>
                      <a:pt x="540" y="9"/>
                    </a:lnTo>
                    <a:lnTo>
                      <a:pt x="475" y="0"/>
                    </a:lnTo>
                    <a:lnTo>
                      <a:pt x="443" y="3"/>
                    </a:lnTo>
                    <a:lnTo>
                      <a:pt x="292" y="69"/>
                    </a:lnTo>
                    <a:lnTo>
                      <a:pt x="255" y="97"/>
                    </a:lnTo>
                    <a:lnTo>
                      <a:pt x="154" y="108"/>
                    </a:lnTo>
                    <a:lnTo>
                      <a:pt x="43" y="112"/>
                    </a:lnTo>
                    <a:lnTo>
                      <a:pt x="38" y="88"/>
                    </a:lnTo>
                    <a:lnTo>
                      <a:pt x="15" y="83"/>
                    </a:lnTo>
                    <a:lnTo>
                      <a:pt x="0" y="119"/>
                    </a:lnTo>
                    <a:lnTo>
                      <a:pt x="8" y="154"/>
                    </a:lnTo>
                    <a:lnTo>
                      <a:pt x="49" y="183"/>
                    </a:lnTo>
                    <a:lnTo>
                      <a:pt x="63" y="211"/>
                    </a:lnTo>
                    <a:lnTo>
                      <a:pt x="38" y="231"/>
                    </a:lnTo>
                    <a:lnTo>
                      <a:pt x="48" y="321"/>
                    </a:lnTo>
                    <a:lnTo>
                      <a:pt x="92" y="347"/>
                    </a:lnTo>
                    <a:lnTo>
                      <a:pt x="114" y="401"/>
                    </a:lnTo>
                    <a:lnTo>
                      <a:pt x="163" y="386"/>
                    </a:lnTo>
                    <a:lnTo>
                      <a:pt x="210" y="336"/>
                    </a:lnTo>
                    <a:lnTo>
                      <a:pt x="230" y="336"/>
                    </a:lnTo>
                    <a:lnTo>
                      <a:pt x="301" y="363"/>
                    </a:lnTo>
                    <a:lnTo>
                      <a:pt x="367" y="338"/>
                    </a:lnTo>
                    <a:lnTo>
                      <a:pt x="383" y="299"/>
                    </a:lnTo>
                    <a:lnTo>
                      <a:pt x="406" y="312"/>
                    </a:lnTo>
                    <a:lnTo>
                      <a:pt x="420" y="275"/>
                    </a:lnTo>
                    <a:lnTo>
                      <a:pt x="471" y="247"/>
                    </a:lnTo>
                    <a:lnTo>
                      <a:pt x="495" y="262"/>
                    </a:lnTo>
                    <a:lnTo>
                      <a:pt x="542" y="254"/>
                    </a:lnTo>
                    <a:lnTo>
                      <a:pt x="523" y="207"/>
                    </a:lnTo>
                    <a:lnTo>
                      <a:pt x="502" y="191"/>
                    </a:lnTo>
                    <a:lnTo>
                      <a:pt x="483" y="190"/>
                    </a:lnTo>
                    <a:lnTo>
                      <a:pt x="515" y="148"/>
                    </a:lnTo>
                    <a:lnTo>
                      <a:pt x="512" y="92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8" name="Freeform 119">
                <a:extLst>
                  <a:ext uri="{FF2B5EF4-FFF2-40B4-BE49-F238E27FC236}">
                    <a16:creationId xmlns:a16="http://schemas.microsoft.com/office/drawing/2014/main" xmlns="" id="{B46E7676-DDC5-468B-A034-03A9988A5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3206"/>
                <a:ext cx="355" cy="297"/>
              </a:xfrm>
              <a:custGeom>
                <a:avLst/>
                <a:gdLst>
                  <a:gd name="T0" fmla="*/ 349 w 355"/>
                  <a:gd name="T1" fmla="*/ 164 h 297"/>
                  <a:gd name="T2" fmla="*/ 318 w 355"/>
                  <a:gd name="T3" fmla="*/ 147 h 297"/>
                  <a:gd name="T4" fmla="*/ 326 w 355"/>
                  <a:gd name="T5" fmla="*/ 37 h 297"/>
                  <a:gd name="T6" fmla="*/ 300 w 355"/>
                  <a:gd name="T7" fmla="*/ 12 h 297"/>
                  <a:gd name="T8" fmla="*/ 227 w 355"/>
                  <a:gd name="T9" fmla="*/ 32 h 297"/>
                  <a:gd name="T10" fmla="*/ 172 w 355"/>
                  <a:gd name="T11" fmla="*/ 18 h 297"/>
                  <a:gd name="T12" fmla="*/ 135 w 355"/>
                  <a:gd name="T13" fmla="*/ 45 h 297"/>
                  <a:gd name="T14" fmla="*/ 111 w 355"/>
                  <a:gd name="T15" fmla="*/ 31 h 297"/>
                  <a:gd name="T16" fmla="*/ 84 w 355"/>
                  <a:gd name="T17" fmla="*/ 46 h 297"/>
                  <a:gd name="T18" fmla="*/ 40 w 355"/>
                  <a:gd name="T19" fmla="*/ 0 h 297"/>
                  <a:gd name="T20" fmla="*/ 13 w 355"/>
                  <a:gd name="T21" fmla="*/ 1 h 297"/>
                  <a:gd name="T22" fmla="*/ 0 w 355"/>
                  <a:gd name="T23" fmla="*/ 56 h 297"/>
                  <a:gd name="T24" fmla="*/ 50 w 355"/>
                  <a:gd name="T25" fmla="*/ 119 h 297"/>
                  <a:gd name="T26" fmla="*/ 65 w 355"/>
                  <a:gd name="T27" fmla="*/ 156 h 297"/>
                  <a:gd name="T28" fmla="*/ 152 w 355"/>
                  <a:gd name="T29" fmla="*/ 215 h 297"/>
                  <a:gd name="T30" fmla="*/ 247 w 355"/>
                  <a:gd name="T31" fmla="*/ 297 h 297"/>
                  <a:gd name="T32" fmla="*/ 286 w 355"/>
                  <a:gd name="T33" fmla="*/ 269 h 297"/>
                  <a:gd name="T34" fmla="*/ 328 w 355"/>
                  <a:gd name="T35" fmla="*/ 193 h 297"/>
                  <a:gd name="T36" fmla="*/ 355 w 355"/>
                  <a:gd name="T37" fmla="*/ 196 h 297"/>
                  <a:gd name="T38" fmla="*/ 349 w 355"/>
                  <a:gd name="T39" fmla="*/ 164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55" h="297">
                    <a:moveTo>
                      <a:pt x="349" y="164"/>
                    </a:moveTo>
                    <a:lnTo>
                      <a:pt x="318" y="147"/>
                    </a:lnTo>
                    <a:lnTo>
                      <a:pt x="326" y="37"/>
                    </a:lnTo>
                    <a:lnTo>
                      <a:pt x="300" y="12"/>
                    </a:lnTo>
                    <a:lnTo>
                      <a:pt x="227" y="32"/>
                    </a:lnTo>
                    <a:lnTo>
                      <a:pt x="172" y="18"/>
                    </a:lnTo>
                    <a:lnTo>
                      <a:pt x="135" y="45"/>
                    </a:lnTo>
                    <a:lnTo>
                      <a:pt x="111" y="31"/>
                    </a:lnTo>
                    <a:lnTo>
                      <a:pt x="84" y="46"/>
                    </a:lnTo>
                    <a:lnTo>
                      <a:pt x="40" y="0"/>
                    </a:lnTo>
                    <a:lnTo>
                      <a:pt x="13" y="1"/>
                    </a:lnTo>
                    <a:lnTo>
                      <a:pt x="0" y="56"/>
                    </a:lnTo>
                    <a:lnTo>
                      <a:pt x="50" y="119"/>
                    </a:lnTo>
                    <a:lnTo>
                      <a:pt x="65" y="156"/>
                    </a:lnTo>
                    <a:lnTo>
                      <a:pt x="152" y="215"/>
                    </a:lnTo>
                    <a:lnTo>
                      <a:pt x="247" y="297"/>
                    </a:lnTo>
                    <a:lnTo>
                      <a:pt x="286" y="269"/>
                    </a:lnTo>
                    <a:lnTo>
                      <a:pt x="328" y="193"/>
                    </a:lnTo>
                    <a:lnTo>
                      <a:pt x="355" y="196"/>
                    </a:lnTo>
                    <a:lnTo>
                      <a:pt x="349" y="16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9" name="Freeform 120">
                <a:extLst>
                  <a:ext uri="{FF2B5EF4-FFF2-40B4-BE49-F238E27FC236}">
                    <a16:creationId xmlns:a16="http://schemas.microsoft.com/office/drawing/2014/main" xmlns="" id="{EE270EE1-7BE7-410A-A3B7-BA8840183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" y="2426"/>
                <a:ext cx="278" cy="247"/>
              </a:xfrm>
              <a:custGeom>
                <a:avLst/>
                <a:gdLst>
                  <a:gd name="T0" fmla="*/ 270 w 278"/>
                  <a:gd name="T1" fmla="*/ 106 h 247"/>
                  <a:gd name="T2" fmla="*/ 233 w 278"/>
                  <a:gd name="T3" fmla="*/ 95 h 247"/>
                  <a:gd name="T4" fmla="*/ 244 w 278"/>
                  <a:gd name="T5" fmla="*/ 52 h 247"/>
                  <a:gd name="T6" fmla="*/ 190 w 278"/>
                  <a:gd name="T7" fmla="*/ 10 h 247"/>
                  <a:gd name="T8" fmla="*/ 161 w 278"/>
                  <a:gd name="T9" fmla="*/ 0 h 247"/>
                  <a:gd name="T10" fmla="*/ 139 w 278"/>
                  <a:gd name="T11" fmla="*/ 12 h 247"/>
                  <a:gd name="T12" fmla="*/ 111 w 278"/>
                  <a:gd name="T13" fmla="*/ 14 h 247"/>
                  <a:gd name="T14" fmla="*/ 76 w 278"/>
                  <a:gd name="T15" fmla="*/ 3 h 247"/>
                  <a:gd name="T16" fmla="*/ 0 w 278"/>
                  <a:gd name="T17" fmla="*/ 38 h 247"/>
                  <a:gd name="T18" fmla="*/ 13 w 278"/>
                  <a:gd name="T19" fmla="*/ 80 h 247"/>
                  <a:gd name="T20" fmla="*/ 45 w 278"/>
                  <a:gd name="T21" fmla="*/ 77 h 247"/>
                  <a:gd name="T22" fmla="*/ 73 w 278"/>
                  <a:gd name="T23" fmla="*/ 122 h 247"/>
                  <a:gd name="T24" fmla="*/ 111 w 278"/>
                  <a:gd name="T25" fmla="*/ 150 h 247"/>
                  <a:gd name="T26" fmla="*/ 124 w 278"/>
                  <a:gd name="T27" fmla="*/ 193 h 247"/>
                  <a:gd name="T28" fmla="*/ 152 w 278"/>
                  <a:gd name="T29" fmla="*/ 171 h 247"/>
                  <a:gd name="T30" fmla="*/ 170 w 278"/>
                  <a:gd name="T31" fmla="*/ 171 h 247"/>
                  <a:gd name="T32" fmla="*/ 178 w 278"/>
                  <a:gd name="T33" fmla="*/ 225 h 247"/>
                  <a:gd name="T34" fmla="*/ 196 w 278"/>
                  <a:gd name="T35" fmla="*/ 228 h 247"/>
                  <a:gd name="T36" fmla="*/ 210 w 278"/>
                  <a:gd name="T37" fmla="*/ 244 h 247"/>
                  <a:gd name="T38" fmla="*/ 240 w 278"/>
                  <a:gd name="T39" fmla="*/ 247 h 247"/>
                  <a:gd name="T40" fmla="*/ 232 w 278"/>
                  <a:gd name="T41" fmla="*/ 213 h 247"/>
                  <a:gd name="T42" fmla="*/ 247 w 278"/>
                  <a:gd name="T43" fmla="*/ 177 h 247"/>
                  <a:gd name="T44" fmla="*/ 266 w 278"/>
                  <a:gd name="T45" fmla="*/ 174 h 247"/>
                  <a:gd name="T46" fmla="*/ 278 w 278"/>
                  <a:gd name="T47" fmla="*/ 156 h 247"/>
                  <a:gd name="T48" fmla="*/ 270 w 278"/>
                  <a:gd name="T49" fmla="*/ 106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8" h="247">
                    <a:moveTo>
                      <a:pt x="270" y="106"/>
                    </a:moveTo>
                    <a:lnTo>
                      <a:pt x="233" y="95"/>
                    </a:lnTo>
                    <a:lnTo>
                      <a:pt x="244" y="52"/>
                    </a:lnTo>
                    <a:lnTo>
                      <a:pt x="190" y="10"/>
                    </a:lnTo>
                    <a:lnTo>
                      <a:pt x="161" y="0"/>
                    </a:lnTo>
                    <a:lnTo>
                      <a:pt x="139" y="12"/>
                    </a:lnTo>
                    <a:lnTo>
                      <a:pt x="111" y="14"/>
                    </a:lnTo>
                    <a:lnTo>
                      <a:pt x="76" y="3"/>
                    </a:lnTo>
                    <a:lnTo>
                      <a:pt x="0" y="38"/>
                    </a:lnTo>
                    <a:lnTo>
                      <a:pt x="13" y="80"/>
                    </a:lnTo>
                    <a:lnTo>
                      <a:pt x="45" y="77"/>
                    </a:lnTo>
                    <a:lnTo>
                      <a:pt x="73" y="122"/>
                    </a:lnTo>
                    <a:lnTo>
                      <a:pt x="111" y="150"/>
                    </a:lnTo>
                    <a:lnTo>
                      <a:pt x="124" y="193"/>
                    </a:lnTo>
                    <a:lnTo>
                      <a:pt x="152" y="171"/>
                    </a:lnTo>
                    <a:lnTo>
                      <a:pt x="170" y="171"/>
                    </a:lnTo>
                    <a:lnTo>
                      <a:pt x="178" y="225"/>
                    </a:lnTo>
                    <a:lnTo>
                      <a:pt x="196" y="228"/>
                    </a:lnTo>
                    <a:lnTo>
                      <a:pt x="210" y="244"/>
                    </a:lnTo>
                    <a:lnTo>
                      <a:pt x="240" y="247"/>
                    </a:lnTo>
                    <a:lnTo>
                      <a:pt x="232" y="213"/>
                    </a:lnTo>
                    <a:lnTo>
                      <a:pt x="247" y="177"/>
                    </a:lnTo>
                    <a:lnTo>
                      <a:pt x="266" y="174"/>
                    </a:lnTo>
                    <a:lnTo>
                      <a:pt x="278" y="156"/>
                    </a:lnTo>
                    <a:lnTo>
                      <a:pt x="270" y="106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360" name="Freeform 121">
                <a:extLst>
                  <a:ext uri="{FF2B5EF4-FFF2-40B4-BE49-F238E27FC236}">
                    <a16:creationId xmlns:a16="http://schemas.microsoft.com/office/drawing/2014/main" xmlns="" id="{8005BEE7-A3A9-40B9-8BF4-997822DA8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6" y="1733"/>
                <a:ext cx="651" cy="609"/>
              </a:xfrm>
              <a:custGeom>
                <a:avLst/>
                <a:gdLst>
                  <a:gd name="T0" fmla="*/ 634 w 651"/>
                  <a:gd name="T1" fmla="*/ 401 h 609"/>
                  <a:gd name="T2" fmla="*/ 582 w 651"/>
                  <a:gd name="T3" fmla="*/ 427 h 609"/>
                  <a:gd name="T4" fmla="*/ 560 w 651"/>
                  <a:gd name="T5" fmla="*/ 513 h 609"/>
                  <a:gd name="T6" fmla="*/ 497 w 651"/>
                  <a:gd name="T7" fmla="*/ 540 h 609"/>
                  <a:gd name="T8" fmla="*/ 470 w 651"/>
                  <a:gd name="T9" fmla="*/ 527 h 609"/>
                  <a:gd name="T10" fmla="*/ 429 w 651"/>
                  <a:gd name="T11" fmla="*/ 544 h 609"/>
                  <a:gd name="T12" fmla="*/ 398 w 651"/>
                  <a:gd name="T13" fmla="*/ 523 h 609"/>
                  <a:gd name="T14" fmla="*/ 389 w 651"/>
                  <a:gd name="T15" fmla="*/ 532 h 609"/>
                  <a:gd name="T16" fmla="*/ 381 w 651"/>
                  <a:gd name="T17" fmla="*/ 546 h 609"/>
                  <a:gd name="T18" fmla="*/ 367 w 651"/>
                  <a:gd name="T19" fmla="*/ 535 h 609"/>
                  <a:gd name="T20" fmla="*/ 219 w 651"/>
                  <a:gd name="T21" fmla="*/ 523 h 609"/>
                  <a:gd name="T22" fmla="*/ 120 w 651"/>
                  <a:gd name="T23" fmla="*/ 544 h 609"/>
                  <a:gd name="T24" fmla="*/ 89 w 651"/>
                  <a:gd name="T25" fmla="*/ 592 h 609"/>
                  <a:gd name="T26" fmla="*/ 54 w 651"/>
                  <a:gd name="T27" fmla="*/ 609 h 609"/>
                  <a:gd name="T28" fmla="*/ 37 w 651"/>
                  <a:gd name="T29" fmla="*/ 575 h 609"/>
                  <a:gd name="T30" fmla="*/ 41 w 651"/>
                  <a:gd name="T31" fmla="*/ 555 h 609"/>
                  <a:gd name="T32" fmla="*/ 26 w 651"/>
                  <a:gd name="T33" fmla="*/ 541 h 609"/>
                  <a:gd name="T34" fmla="*/ 21 w 651"/>
                  <a:gd name="T35" fmla="*/ 500 h 609"/>
                  <a:gd name="T36" fmla="*/ 43 w 651"/>
                  <a:gd name="T37" fmla="*/ 466 h 609"/>
                  <a:gd name="T38" fmla="*/ 26 w 651"/>
                  <a:gd name="T39" fmla="*/ 405 h 609"/>
                  <a:gd name="T40" fmla="*/ 0 w 651"/>
                  <a:gd name="T41" fmla="*/ 376 h 609"/>
                  <a:gd name="T42" fmla="*/ 0 w 651"/>
                  <a:gd name="T43" fmla="*/ 328 h 609"/>
                  <a:gd name="T44" fmla="*/ 60 w 651"/>
                  <a:gd name="T45" fmla="*/ 317 h 609"/>
                  <a:gd name="T46" fmla="*/ 100 w 651"/>
                  <a:gd name="T47" fmla="*/ 277 h 609"/>
                  <a:gd name="T48" fmla="*/ 137 w 651"/>
                  <a:gd name="T49" fmla="*/ 260 h 609"/>
                  <a:gd name="T50" fmla="*/ 115 w 651"/>
                  <a:gd name="T51" fmla="*/ 220 h 609"/>
                  <a:gd name="T52" fmla="*/ 154 w 651"/>
                  <a:gd name="T53" fmla="*/ 147 h 609"/>
                  <a:gd name="T54" fmla="*/ 185 w 651"/>
                  <a:gd name="T55" fmla="*/ 130 h 609"/>
                  <a:gd name="T56" fmla="*/ 168 w 651"/>
                  <a:gd name="T57" fmla="*/ 78 h 609"/>
                  <a:gd name="T58" fmla="*/ 223 w 651"/>
                  <a:gd name="T59" fmla="*/ 51 h 609"/>
                  <a:gd name="T60" fmla="*/ 251 w 651"/>
                  <a:gd name="T61" fmla="*/ 16 h 609"/>
                  <a:gd name="T62" fmla="*/ 402 w 651"/>
                  <a:gd name="T63" fmla="*/ 0 h 609"/>
                  <a:gd name="T64" fmla="*/ 458 w 651"/>
                  <a:gd name="T65" fmla="*/ 30 h 609"/>
                  <a:gd name="T66" fmla="*/ 467 w 651"/>
                  <a:gd name="T67" fmla="*/ 76 h 609"/>
                  <a:gd name="T68" fmla="*/ 582 w 651"/>
                  <a:gd name="T69" fmla="*/ 198 h 609"/>
                  <a:gd name="T70" fmla="*/ 637 w 651"/>
                  <a:gd name="T71" fmla="*/ 204 h 609"/>
                  <a:gd name="T72" fmla="*/ 651 w 651"/>
                  <a:gd name="T73" fmla="*/ 235 h 609"/>
                  <a:gd name="T74" fmla="*/ 616 w 651"/>
                  <a:gd name="T75" fmla="*/ 285 h 609"/>
                  <a:gd name="T76" fmla="*/ 574 w 651"/>
                  <a:gd name="T77" fmla="*/ 286 h 609"/>
                  <a:gd name="T78" fmla="*/ 586 w 651"/>
                  <a:gd name="T79" fmla="*/ 333 h 609"/>
                  <a:gd name="T80" fmla="*/ 634 w 651"/>
                  <a:gd name="T81" fmla="*/ 40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51" h="609">
                    <a:moveTo>
                      <a:pt x="634" y="401"/>
                    </a:moveTo>
                    <a:lnTo>
                      <a:pt x="582" y="427"/>
                    </a:lnTo>
                    <a:lnTo>
                      <a:pt x="560" y="513"/>
                    </a:lnTo>
                    <a:lnTo>
                      <a:pt x="497" y="540"/>
                    </a:lnTo>
                    <a:lnTo>
                      <a:pt x="470" y="527"/>
                    </a:lnTo>
                    <a:lnTo>
                      <a:pt x="429" y="544"/>
                    </a:lnTo>
                    <a:lnTo>
                      <a:pt x="398" y="523"/>
                    </a:lnTo>
                    <a:lnTo>
                      <a:pt x="389" y="532"/>
                    </a:lnTo>
                    <a:lnTo>
                      <a:pt x="381" y="546"/>
                    </a:lnTo>
                    <a:lnTo>
                      <a:pt x="367" y="535"/>
                    </a:lnTo>
                    <a:lnTo>
                      <a:pt x="219" y="523"/>
                    </a:lnTo>
                    <a:lnTo>
                      <a:pt x="120" y="544"/>
                    </a:lnTo>
                    <a:lnTo>
                      <a:pt x="89" y="592"/>
                    </a:lnTo>
                    <a:lnTo>
                      <a:pt x="54" y="609"/>
                    </a:lnTo>
                    <a:lnTo>
                      <a:pt x="37" y="575"/>
                    </a:lnTo>
                    <a:lnTo>
                      <a:pt x="41" y="555"/>
                    </a:lnTo>
                    <a:lnTo>
                      <a:pt x="26" y="541"/>
                    </a:lnTo>
                    <a:lnTo>
                      <a:pt x="21" y="500"/>
                    </a:lnTo>
                    <a:lnTo>
                      <a:pt x="43" y="466"/>
                    </a:lnTo>
                    <a:lnTo>
                      <a:pt x="26" y="405"/>
                    </a:lnTo>
                    <a:lnTo>
                      <a:pt x="0" y="376"/>
                    </a:lnTo>
                    <a:lnTo>
                      <a:pt x="0" y="328"/>
                    </a:lnTo>
                    <a:lnTo>
                      <a:pt x="60" y="317"/>
                    </a:lnTo>
                    <a:lnTo>
                      <a:pt x="100" y="277"/>
                    </a:lnTo>
                    <a:lnTo>
                      <a:pt x="137" y="260"/>
                    </a:lnTo>
                    <a:lnTo>
                      <a:pt x="115" y="220"/>
                    </a:lnTo>
                    <a:lnTo>
                      <a:pt x="154" y="147"/>
                    </a:lnTo>
                    <a:lnTo>
                      <a:pt x="185" y="130"/>
                    </a:lnTo>
                    <a:lnTo>
                      <a:pt x="168" y="78"/>
                    </a:lnTo>
                    <a:lnTo>
                      <a:pt x="223" y="51"/>
                    </a:lnTo>
                    <a:lnTo>
                      <a:pt x="251" y="16"/>
                    </a:lnTo>
                    <a:lnTo>
                      <a:pt x="402" y="0"/>
                    </a:lnTo>
                    <a:lnTo>
                      <a:pt x="458" y="30"/>
                    </a:lnTo>
                    <a:lnTo>
                      <a:pt x="467" y="76"/>
                    </a:lnTo>
                    <a:lnTo>
                      <a:pt x="582" y="198"/>
                    </a:lnTo>
                    <a:lnTo>
                      <a:pt x="637" y="204"/>
                    </a:lnTo>
                    <a:lnTo>
                      <a:pt x="651" y="235"/>
                    </a:lnTo>
                    <a:lnTo>
                      <a:pt x="616" y="285"/>
                    </a:lnTo>
                    <a:lnTo>
                      <a:pt x="574" y="286"/>
                    </a:lnTo>
                    <a:lnTo>
                      <a:pt x="586" y="333"/>
                    </a:lnTo>
                    <a:lnTo>
                      <a:pt x="634" y="40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1" name="Freeform 122">
                <a:extLst>
                  <a:ext uri="{FF2B5EF4-FFF2-40B4-BE49-F238E27FC236}">
                    <a16:creationId xmlns:a16="http://schemas.microsoft.com/office/drawing/2014/main" xmlns="" id="{7959AB5F-6CB3-4E31-BEB7-104B30499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0" y="2727"/>
                <a:ext cx="611" cy="327"/>
              </a:xfrm>
              <a:custGeom>
                <a:avLst/>
                <a:gdLst>
                  <a:gd name="T0" fmla="*/ 611 w 611"/>
                  <a:gd name="T1" fmla="*/ 108 h 327"/>
                  <a:gd name="T2" fmla="*/ 593 w 611"/>
                  <a:gd name="T3" fmla="*/ 43 h 327"/>
                  <a:gd name="T4" fmla="*/ 559 w 611"/>
                  <a:gd name="T5" fmla="*/ 22 h 327"/>
                  <a:gd name="T6" fmla="*/ 528 w 611"/>
                  <a:gd name="T7" fmla="*/ 34 h 327"/>
                  <a:gd name="T8" fmla="*/ 440 w 611"/>
                  <a:gd name="T9" fmla="*/ 0 h 327"/>
                  <a:gd name="T10" fmla="*/ 418 w 611"/>
                  <a:gd name="T11" fmla="*/ 6 h 327"/>
                  <a:gd name="T12" fmla="*/ 418 w 611"/>
                  <a:gd name="T13" fmla="*/ 42 h 327"/>
                  <a:gd name="T14" fmla="*/ 380 w 611"/>
                  <a:gd name="T15" fmla="*/ 62 h 327"/>
                  <a:gd name="T16" fmla="*/ 349 w 611"/>
                  <a:gd name="T17" fmla="*/ 49 h 327"/>
                  <a:gd name="T18" fmla="*/ 336 w 611"/>
                  <a:gd name="T19" fmla="*/ 80 h 327"/>
                  <a:gd name="T20" fmla="*/ 271 w 611"/>
                  <a:gd name="T21" fmla="*/ 120 h 327"/>
                  <a:gd name="T22" fmla="*/ 284 w 611"/>
                  <a:gd name="T23" fmla="*/ 182 h 327"/>
                  <a:gd name="T24" fmla="*/ 271 w 611"/>
                  <a:gd name="T25" fmla="*/ 199 h 327"/>
                  <a:gd name="T26" fmla="*/ 245 w 611"/>
                  <a:gd name="T27" fmla="*/ 178 h 327"/>
                  <a:gd name="T28" fmla="*/ 187 w 611"/>
                  <a:gd name="T29" fmla="*/ 187 h 327"/>
                  <a:gd name="T30" fmla="*/ 162 w 611"/>
                  <a:gd name="T31" fmla="*/ 201 h 327"/>
                  <a:gd name="T32" fmla="*/ 109 w 611"/>
                  <a:gd name="T33" fmla="*/ 207 h 327"/>
                  <a:gd name="T34" fmla="*/ 91 w 611"/>
                  <a:gd name="T35" fmla="*/ 195 h 327"/>
                  <a:gd name="T36" fmla="*/ 71 w 611"/>
                  <a:gd name="T37" fmla="*/ 199 h 327"/>
                  <a:gd name="T38" fmla="*/ 52 w 611"/>
                  <a:gd name="T39" fmla="*/ 209 h 327"/>
                  <a:gd name="T40" fmla="*/ 32 w 611"/>
                  <a:gd name="T41" fmla="*/ 196 h 327"/>
                  <a:gd name="T42" fmla="*/ 7 w 611"/>
                  <a:gd name="T43" fmla="*/ 196 h 327"/>
                  <a:gd name="T44" fmla="*/ 0 w 611"/>
                  <a:gd name="T45" fmla="*/ 222 h 327"/>
                  <a:gd name="T46" fmla="*/ 23 w 611"/>
                  <a:gd name="T47" fmla="*/ 253 h 327"/>
                  <a:gd name="T48" fmla="*/ 15 w 611"/>
                  <a:gd name="T49" fmla="*/ 267 h 327"/>
                  <a:gd name="T50" fmla="*/ 31 w 611"/>
                  <a:gd name="T51" fmla="*/ 275 h 327"/>
                  <a:gd name="T52" fmla="*/ 62 w 611"/>
                  <a:gd name="T53" fmla="*/ 270 h 327"/>
                  <a:gd name="T54" fmla="*/ 63 w 611"/>
                  <a:gd name="T55" fmla="*/ 286 h 327"/>
                  <a:gd name="T56" fmla="*/ 102 w 611"/>
                  <a:gd name="T57" fmla="*/ 292 h 327"/>
                  <a:gd name="T58" fmla="*/ 120 w 611"/>
                  <a:gd name="T59" fmla="*/ 269 h 327"/>
                  <a:gd name="T60" fmla="*/ 156 w 611"/>
                  <a:gd name="T61" fmla="*/ 273 h 327"/>
                  <a:gd name="T62" fmla="*/ 187 w 611"/>
                  <a:gd name="T63" fmla="*/ 253 h 327"/>
                  <a:gd name="T64" fmla="*/ 202 w 611"/>
                  <a:gd name="T65" fmla="*/ 249 h 327"/>
                  <a:gd name="T66" fmla="*/ 205 w 611"/>
                  <a:gd name="T67" fmla="*/ 263 h 327"/>
                  <a:gd name="T68" fmla="*/ 250 w 611"/>
                  <a:gd name="T69" fmla="*/ 304 h 327"/>
                  <a:gd name="T70" fmla="*/ 305 w 611"/>
                  <a:gd name="T71" fmla="*/ 309 h 327"/>
                  <a:gd name="T72" fmla="*/ 321 w 611"/>
                  <a:gd name="T73" fmla="*/ 327 h 327"/>
                  <a:gd name="T74" fmla="*/ 350 w 611"/>
                  <a:gd name="T75" fmla="*/ 312 h 327"/>
                  <a:gd name="T76" fmla="*/ 421 w 611"/>
                  <a:gd name="T77" fmla="*/ 326 h 327"/>
                  <a:gd name="T78" fmla="*/ 457 w 611"/>
                  <a:gd name="T79" fmla="*/ 294 h 327"/>
                  <a:gd name="T80" fmla="*/ 514 w 611"/>
                  <a:gd name="T81" fmla="*/ 294 h 327"/>
                  <a:gd name="T82" fmla="*/ 542 w 611"/>
                  <a:gd name="T83" fmla="*/ 255 h 327"/>
                  <a:gd name="T84" fmla="*/ 566 w 611"/>
                  <a:gd name="T85" fmla="*/ 239 h 327"/>
                  <a:gd name="T86" fmla="*/ 580 w 611"/>
                  <a:gd name="T87" fmla="*/ 193 h 327"/>
                  <a:gd name="T88" fmla="*/ 565 w 611"/>
                  <a:gd name="T89" fmla="*/ 153 h 327"/>
                  <a:gd name="T90" fmla="*/ 600 w 611"/>
                  <a:gd name="T91" fmla="*/ 154 h 327"/>
                  <a:gd name="T92" fmla="*/ 611 w 611"/>
                  <a:gd name="T93" fmla="*/ 108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11" h="327">
                    <a:moveTo>
                      <a:pt x="611" y="108"/>
                    </a:moveTo>
                    <a:lnTo>
                      <a:pt x="593" y="43"/>
                    </a:lnTo>
                    <a:lnTo>
                      <a:pt x="559" y="22"/>
                    </a:lnTo>
                    <a:lnTo>
                      <a:pt x="528" y="34"/>
                    </a:lnTo>
                    <a:lnTo>
                      <a:pt x="440" y="0"/>
                    </a:lnTo>
                    <a:lnTo>
                      <a:pt x="418" y="6"/>
                    </a:lnTo>
                    <a:lnTo>
                      <a:pt x="418" y="42"/>
                    </a:lnTo>
                    <a:lnTo>
                      <a:pt x="380" y="62"/>
                    </a:lnTo>
                    <a:lnTo>
                      <a:pt x="349" y="49"/>
                    </a:lnTo>
                    <a:lnTo>
                      <a:pt x="336" y="80"/>
                    </a:lnTo>
                    <a:lnTo>
                      <a:pt x="271" y="120"/>
                    </a:lnTo>
                    <a:lnTo>
                      <a:pt x="284" y="182"/>
                    </a:lnTo>
                    <a:lnTo>
                      <a:pt x="271" y="199"/>
                    </a:lnTo>
                    <a:lnTo>
                      <a:pt x="245" y="178"/>
                    </a:lnTo>
                    <a:lnTo>
                      <a:pt x="187" y="187"/>
                    </a:lnTo>
                    <a:lnTo>
                      <a:pt x="162" y="201"/>
                    </a:lnTo>
                    <a:lnTo>
                      <a:pt x="109" y="207"/>
                    </a:lnTo>
                    <a:lnTo>
                      <a:pt x="91" y="195"/>
                    </a:lnTo>
                    <a:lnTo>
                      <a:pt x="71" y="199"/>
                    </a:lnTo>
                    <a:lnTo>
                      <a:pt x="52" y="209"/>
                    </a:lnTo>
                    <a:lnTo>
                      <a:pt x="32" y="196"/>
                    </a:lnTo>
                    <a:lnTo>
                      <a:pt x="7" y="196"/>
                    </a:lnTo>
                    <a:lnTo>
                      <a:pt x="0" y="222"/>
                    </a:lnTo>
                    <a:lnTo>
                      <a:pt x="23" y="253"/>
                    </a:lnTo>
                    <a:lnTo>
                      <a:pt x="15" y="267"/>
                    </a:lnTo>
                    <a:lnTo>
                      <a:pt x="31" y="275"/>
                    </a:lnTo>
                    <a:lnTo>
                      <a:pt x="62" y="270"/>
                    </a:lnTo>
                    <a:lnTo>
                      <a:pt x="63" y="286"/>
                    </a:lnTo>
                    <a:lnTo>
                      <a:pt x="102" y="292"/>
                    </a:lnTo>
                    <a:lnTo>
                      <a:pt x="120" y="269"/>
                    </a:lnTo>
                    <a:lnTo>
                      <a:pt x="156" y="273"/>
                    </a:lnTo>
                    <a:lnTo>
                      <a:pt x="187" y="253"/>
                    </a:lnTo>
                    <a:lnTo>
                      <a:pt x="202" y="249"/>
                    </a:lnTo>
                    <a:lnTo>
                      <a:pt x="205" y="263"/>
                    </a:lnTo>
                    <a:lnTo>
                      <a:pt x="250" y="304"/>
                    </a:lnTo>
                    <a:lnTo>
                      <a:pt x="305" y="309"/>
                    </a:lnTo>
                    <a:lnTo>
                      <a:pt x="321" y="327"/>
                    </a:lnTo>
                    <a:lnTo>
                      <a:pt x="350" y="312"/>
                    </a:lnTo>
                    <a:lnTo>
                      <a:pt x="421" y="326"/>
                    </a:lnTo>
                    <a:lnTo>
                      <a:pt x="457" y="294"/>
                    </a:lnTo>
                    <a:lnTo>
                      <a:pt x="514" y="294"/>
                    </a:lnTo>
                    <a:lnTo>
                      <a:pt x="542" y="255"/>
                    </a:lnTo>
                    <a:lnTo>
                      <a:pt x="566" y="239"/>
                    </a:lnTo>
                    <a:lnTo>
                      <a:pt x="580" y="193"/>
                    </a:lnTo>
                    <a:lnTo>
                      <a:pt x="565" y="153"/>
                    </a:lnTo>
                    <a:lnTo>
                      <a:pt x="600" y="154"/>
                    </a:lnTo>
                    <a:lnTo>
                      <a:pt x="611" y="10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2" name="Freeform 123">
                <a:extLst>
                  <a:ext uri="{FF2B5EF4-FFF2-40B4-BE49-F238E27FC236}">
                    <a16:creationId xmlns:a16="http://schemas.microsoft.com/office/drawing/2014/main" xmlns="" id="{5FF3E1CF-21A7-4C9A-80D5-FDE2E7C3D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9" y="3453"/>
                <a:ext cx="36" cy="20"/>
              </a:xfrm>
              <a:custGeom>
                <a:avLst/>
                <a:gdLst>
                  <a:gd name="T0" fmla="*/ 20 w 36"/>
                  <a:gd name="T1" fmla="*/ 20 h 20"/>
                  <a:gd name="T2" fmla="*/ 0 w 36"/>
                  <a:gd name="T3" fmla="*/ 9 h 20"/>
                  <a:gd name="T4" fmla="*/ 19 w 36"/>
                  <a:gd name="T5" fmla="*/ 0 h 20"/>
                  <a:gd name="T6" fmla="*/ 36 w 36"/>
                  <a:gd name="T7" fmla="*/ 6 h 20"/>
                  <a:gd name="T8" fmla="*/ 20 w 3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20" y="20"/>
                    </a:moveTo>
                    <a:lnTo>
                      <a:pt x="0" y="9"/>
                    </a:lnTo>
                    <a:lnTo>
                      <a:pt x="19" y="0"/>
                    </a:lnTo>
                    <a:lnTo>
                      <a:pt x="36" y="6"/>
                    </a:lnTo>
                    <a:lnTo>
                      <a:pt x="20" y="2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3" name="Freeform 124">
                <a:extLst>
                  <a:ext uri="{FF2B5EF4-FFF2-40B4-BE49-F238E27FC236}">
                    <a16:creationId xmlns:a16="http://schemas.microsoft.com/office/drawing/2014/main" xmlns="" id="{EE7776B0-5FB6-4C6A-8588-FBAFAF2F0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9" y="2019"/>
                <a:ext cx="699" cy="917"/>
              </a:xfrm>
              <a:custGeom>
                <a:avLst/>
                <a:gdLst>
                  <a:gd name="T0" fmla="*/ 662 w 699"/>
                  <a:gd name="T1" fmla="*/ 399 h 917"/>
                  <a:gd name="T2" fmla="*/ 650 w 699"/>
                  <a:gd name="T3" fmla="*/ 291 h 917"/>
                  <a:gd name="T4" fmla="*/ 634 w 699"/>
                  <a:gd name="T5" fmla="*/ 218 h 917"/>
                  <a:gd name="T6" fmla="*/ 594 w 699"/>
                  <a:gd name="T7" fmla="*/ 98 h 917"/>
                  <a:gd name="T8" fmla="*/ 563 w 699"/>
                  <a:gd name="T9" fmla="*/ 82 h 917"/>
                  <a:gd name="T10" fmla="*/ 588 w 699"/>
                  <a:gd name="T11" fmla="*/ 67 h 917"/>
                  <a:gd name="T12" fmla="*/ 532 w 699"/>
                  <a:gd name="T13" fmla="*/ 53 h 917"/>
                  <a:gd name="T14" fmla="*/ 492 w 699"/>
                  <a:gd name="T15" fmla="*/ 61 h 917"/>
                  <a:gd name="T16" fmla="*/ 435 w 699"/>
                  <a:gd name="T17" fmla="*/ 96 h 917"/>
                  <a:gd name="T18" fmla="*/ 406 w 699"/>
                  <a:gd name="T19" fmla="*/ 119 h 917"/>
                  <a:gd name="T20" fmla="*/ 376 w 699"/>
                  <a:gd name="T21" fmla="*/ 129 h 917"/>
                  <a:gd name="T22" fmla="*/ 384 w 699"/>
                  <a:gd name="T23" fmla="*/ 76 h 917"/>
                  <a:gd name="T24" fmla="*/ 298 w 699"/>
                  <a:gd name="T25" fmla="*/ 19 h 917"/>
                  <a:gd name="T26" fmla="*/ 279 w 699"/>
                  <a:gd name="T27" fmla="*/ 11 h 917"/>
                  <a:gd name="T28" fmla="*/ 216 w 699"/>
                  <a:gd name="T29" fmla="*/ 2 h 917"/>
                  <a:gd name="T30" fmla="*/ 228 w 699"/>
                  <a:gd name="T31" fmla="*/ 36 h 917"/>
                  <a:gd name="T32" fmla="*/ 217 w 699"/>
                  <a:gd name="T33" fmla="*/ 68 h 917"/>
                  <a:gd name="T34" fmla="*/ 231 w 699"/>
                  <a:gd name="T35" fmla="*/ 96 h 917"/>
                  <a:gd name="T36" fmla="*/ 221 w 699"/>
                  <a:gd name="T37" fmla="*/ 122 h 917"/>
                  <a:gd name="T38" fmla="*/ 248 w 699"/>
                  <a:gd name="T39" fmla="*/ 146 h 917"/>
                  <a:gd name="T40" fmla="*/ 200 w 699"/>
                  <a:gd name="T41" fmla="*/ 138 h 917"/>
                  <a:gd name="T42" fmla="*/ 176 w 699"/>
                  <a:gd name="T43" fmla="*/ 181 h 917"/>
                  <a:gd name="T44" fmla="*/ 102 w 699"/>
                  <a:gd name="T45" fmla="*/ 156 h 917"/>
                  <a:gd name="T46" fmla="*/ 105 w 699"/>
                  <a:gd name="T47" fmla="*/ 207 h 917"/>
                  <a:gd name="T48" fmla="*/ 77 w 699"/>
                  <a:gd name="T49" fmla="*/ 266 h 917"/>
                  <a:gd name="T50" fmla="*/ 86 w 699"/>
                  <a:gd name="T51" fmla="*/ 292 h 917"/>
                  <a:gd name="T52" fmla="*/ 72 w 699"/>
                  <a:gd name="T53" fmla="*/ 339 h 917"/>
                  <a:gd name="T54" fmla="*/ 45 w 699"/>
                  <a:gd name="T55" fmla="*/ 368 h 917"/>
                  <a:gd name="T56" fmla="*/ 12 w 699"/>
                  <a:gd name="T57" fmla="*/ 377 h 917"/>
                  <a:gd name="T58" fmla="*/ 3 w 699"/>
                  <a:gd name="T59" fmla="*/ 475 h 917"/>
                  <a:gd name="T60" fmla="*/ 12 w 699"/>
                  <a:gd name="T61" fmla="*/ 564 h 917"/>
                  <a:gd name="T62" fmla="*/ 11 w 699"/>
                  <a:gd name="T63" fmla="*/ 611 h 917"/>
                  <a:gd name="T64" fmla="*/ 28 w 699"/>
                  <a:gd name="T65" fmla="*/ 660 h 917"/>
                  <a:gd name="T66" fmla="*/ 66 w 699"/>
                  <a:gd name="T67" fmla="*/ 702 h 917"/>
                  <a:gd name="T68" fmla="*/ 95 w 699"/>
                  <a:gd name="T69" fmla="*/ 708 h 917"/>
                  <a:gd name="T70" fmla="*/ 168 w 699"/>
                  <a:gd name="T71" fmla="*/ 740 h 917"/>
                  <a:gd name="T72" fmla="*/ 111 w 699"/>
                  <a:gd name="T73" fmla="*/ 850 h 917"/>
                  <a:gd name="T74" fmla="*/ 182 w 699"/>
                  <a:gd name="T75" fmla="*/ 895 h 917"/>
                  <a:gd name="T76" fmla="*/ 234 w 699"/>
                  <a:gd name="T77" fmla="*/ 884 h 917"/>
                  <a:gd name="T78" fmla="*/ 313 w 699"/>
                  <a:gd name="T79" fmla="*/ 904 h 917"/>
                  <a:gd name="T80" fmla="*/ 352 w 699"/>
                  <a:gd name="T81" fmla="*/ 907 h 917"/>
                  <a:gd name="T82" fmla="*/ 390 w 699"/>
                  <a:gd name="T83" fmla="*/ 915 h 917"/>
                  <a:gd name="T84" fmla="*/ 468 w 699"/>
                  <a:gd name="T85" fmla="*/ 895 h 917"/>
                  <a:gd name="T86" fmla="*/ 552 w 699"/>
                  <a:gd name="T87" fmla="*/ 907 h 917"/>
                  <a:gd name="T88" fmla="*/ 552 w 699"/>
                  <a:gd name="T89" fmla="*/ 828 h 917"/>
                  <a:gd name="T90" fmla="*/ 630 w 699"/>
                  <a:gd name="T91" fmla="*/ 757 h 917"/>
                  <a:gd name="T92" fmla="*/ 542 w 699"/>
                  <a:gd name="T93" fmla="*/ 694 h 917"/>
                  <a:gd name="T94" fmla="*/ 545 w 699"/>
                  <a:gd name="T95" fmla="*/ 536 h 917"/>
                  <a:gd name="T96" fmla="*/ 637 w 699"/>
                  <a:gd name="T97" fmla="*/ 482 h 917"/>
                  <a:gd name="T98" fmla="*/ 684 w 699"/>
                  <a:gd name="T99" fmla="*/ 490 h 917"/>
                  <a:gd name="T100" fmla="*/ 682 w 699"/>
                  <a:gd name="T101" fmla="*/ 428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9" h="917">
                    <a:moveTo>
                      <a:pt x="682" y="428"/>
                    </a:moveTo>
                    <a:lnTo>
                      <a:pt x="662" y="399"/>
                    </a:lnTo>
                    <a:lnTo>
                      <a:pt x="673" y="353"/>
                    </a:lnTo>
                    <a:lnTo>
                      <a:pt x="650" y="291"/>
                    </a:lnTo>
                    <a:lnTo>
                      <a:pt x="619" y="258"/>
                    </a:lnTo>
                    <a:lnTo>
                      <a:pt x="634" y="218"/>
                    </a:lnTo>
                    <a:lnTo>
                      <a:pt x="623" y="129"/>
                    </a:lnTo>
                    <a:lnTo>
                      <a:pt x="594" y="98"/>
                    </a:lnTo>
                    <a:lnTo>
                      <a:pt x="576" y="101"/>
                    </a:lnTo>
                    <a:lnTo>
                      <a:pt x="563" y="82"/>
                    </a:lnTo>
                    <a:lnTo>
                      <a:pt x="579" y="81"/>
                    </a:lnTo>
                    <a:lnTo>
                      <a:pt x="588" y="67"/>
                    </a:lnTo>
                    <a:lnTo>
                      <a:pt x="554" y="39"/>
                    </a:lnTo>
                    <a:lnTo>
                      <a:pt x="532" y="53"/>
                    </a:lnTo>
                    <a:lnTo>
                      <a:pt x="531" y="64"/>
                    </a:lnTo>
                    <a:lnTo>
                      <a:pt x="492" y="61"/>
                    </a:lnTo>
                    <a:lnTo>
                      <a:pt x="463" y="88"/>
                    </a:lnTo>
                    <a:lnTo>
                      <a:pt x="435" y="96"/>
                    </a:lnTo>
                    <a:lnTo>
                      <a:pt x="421" y="121"/>
                    </a:lnTo>
                    <a:lnTo>
                      <a:pt x="406" y="119"/>
                    </a:lnTo>
                    <a:lnTo>
                      <a:pt x="386" y="138"/>
                    </a:lnTo>
                    <a:lnTo>
                      <a:pt x="376" y="129"/>
                    </a:lnTo>
                    <a:lnTo>
                      <a:pt x="387" y="102"/>
                    </a:lnTo>
                    <a:lnTo>
                      <a:pt x="384" y="76"/>
                    </a:lnTo>
                    <a:lnTo>
                      <a:pt x="313" y="70"/>
                    </a:lnTo>
                    <a:lnTo>
                      <a:pt x="298" y="19"/>
                    </a:lnTo>
                    <a:lnTo>
                      <a:pt x="281" y="17"/>
                    </a:lnTo>
                    <a:lnTo>
                      <a:pt x="279" y="11"/>
                    </a:lnTo>
                    <a:lnTo>
                      <a:pt x="239" y="0"/>
                    </a:lnTo>
                    <a:lnTo>
                      <a:pt x="216" y="2"/>
                    </a:lnTo>
                    <a:lnTo>
                      <a:pt x="211" y="27"/>
                    </a:lnTo>
                    <a:lnTo>
                      <a:pt x="228" y="36"/>
                    </a:lnTo>
                    <a:lnTo>
                      <a:pt x="234" y="59"/>
                    </a:lnTo>
                    <a:lnTo>
                      <a:pt x="217" y="68"/>
                    </a:lnTo>
                    <a:lnTo>
                      <a:pt x="216" y="81"/>
                    </a:lnTo>
                    <a:lnTo>
                      <a:pt x="231" y="96"/>
                    </a:lnTo>
                    <a:lnTo>
                      <a:pt x="217" y="107"/>
                    </a:lnTo>
                    <a:lnTo>
                      <a:pt x="221" y="122"/>
                    </a:lnTo>
                    <a:lnTo>
                      <a:pt x="238" y="127"/>
                    </a:lnTo>
                    <a:lnTo>
                      <a:pt x="248" y="146"/>
                    </a:lnTo>
                    <a:lnTo>
                      <a:pt x="228" y="138"/>
                    </a:lnTo>
                    <a:lnTo>
                      <a:pt x="200" y="138"/>
                    </a:lnTo>
                    <a:lnTo>
                      <a:pt x="191" y="187"/>
                    </a:lnTo>
                    <a:lnTo>
                      <a:pt x="176" y="181"/>
                    </a:lnTo>
                    <a:lnTo>
                      <a:pt x="153" y="150"/>
                    </a:lnTo>
                    <a:lnTo>
                      <a:pt x="102" y="156"/>
                    </a:lnTo>
                    <a:lnTo>
                      <a:pt x="91" y="178"/>
                    </a:lnTo>
                    <a:lnTo>
                      <a:pt x="105" y="207"/>
                    </a:lnTo>
                    <a:lnTo>
                      <a:pt x="97" y="258"/>
                    </a:lnTo>
                    <a:lnTo>
                      <a:pt x="77" y="266"/>
                    </a:lnTo>
                    <a:lnTo>
                      <a:pt x="74" y="283"/>
                    </a:lnTo>
                    <a:lnTo>
                      <a:pt x="86" y="292"/>
                    </a:lnTo>
                    <a:lnTo>
                      <a:pt x="86" y="314"/>
                    </a:lnTo>
                    <a:lnTo>
                      <a:pt x="72" y="339"/>
                    </a:lnTo>
                    <a:lnTo>
                      <a:pt x="75" y="357"/>
                    </a:lnTo>
                    <a:lnTo>
                      <a:pt x="45" y="368"/>
                    </a:lnTo>
                    <a:lnTo>
                      <a:pt x="28" y="366"/>
                    </a:lnTo>
                    <a:lnTo>
                      <a:pt x="12" y="377"/>
                    </a:lnTo>
                    <a:lnTo>
                      <a:pt x="18" y="450"/>
                    </a:lnTo>
                    <a:lnTo>
                      <a:pt x="3" y="475"/>
                    </a:lnTo>
                    <a:lnTo>
                      <a:pt x="4" y="513"/>
                    </a:lnTo>
                    <a:lnTo>
                      <a:pt x="12" y="564"/>
                    </a:lnTo>
                    <a:lnTo>
                      <a:pt x="0" y="586"/>
                    </a:lnTo>
                    <a:lnTo>
                      <a:pt x="11" y="611"/>
                    </a:lnTo>
                    <a:lnTo>
                      <a:pt x="37" y="635"/>
                    </a:lnTo>
                    <a:lnTo>
                      <a:pt x="28" y="660"/>
                    </a:lnTo>
                    <a:lnTo>
                      <a:pt x="51" y="703"/>
                    </a:lnTo>
                    <a:lnTo>
                      <a:pt x="66" y="702"/>
                    </a:lnTo>
                    <a:lnTo>
                      <a:pt x="83" y="713"/>
                    </a:lnTo>
                    <a:lnTo>
                      <a:pt x="95" y="708"/>
                    </a:lnTo>
                    <a:lnTo>
                      <a:pt x="122" y="725"/>
                    </a:lnTo>
                    <a:lnTo>
                      <a:pt x="168" y="740"/>
                    </a:lnTo>
                    <a:lnTo>
                      <a:pt x="128" y="788"/>
                    </a:lnTo>
                    <a:lnTo>
                      <a:pt x="111" y="850"/>
                    </a:lnTo>
                    <a:lnTo>
                      <a:pt x="114" y="903"/>
                    </a:lnTo>
                    <a:lnTo>
                      <a:pt x="182" y="895"/>
                    </a:lnTo>
                    <a:lnTo>
                      <a:pt x="187" y="879"/>
                    </a:lnTo>
                    <a:lnTo>
                      <a:pt x="234" y="884"/>
                    </a:lnTo>
                    <a:lnTo>
                      <a:pt x="288" y="904"/>
                    </a:lnTo>
                    <a:lnTo>
                      <a:pt x="313" y="904"/>
                    </a:lnTo>
                    <a:lnTo>
                      <a:pt x="333" y="917"/>
                    </a:lnTo>
                    <a:lnTo>
                      <a:pt x="352" y="907"/>
                    </a:lnTo>
                    <a:lnTo>
                      <a:pt x="372" y="903"/>
                    </a:lnTo>
                    <a:lnTo>
                      <a:pt x="390" y="915"/>
                    </a:lnTo>
                    <a:lnTo>
                      <a:pt x="443" y="909"/>
                    </a:lnTo>
                    <a:lnTo>
                      <a:pt x="468" y="895"/>
                    </a:lnTo>
                    <a:lnTo>
                      <a:pt x="526" y="886"/>
                    </a:lnTo>
                    <a:lnTo>
                      <a:pt x="552" y="907"/>
                    </a:lnTo>
                    <a:lnTo>
                      <a:pt x="565" y="890"/>
                    </a:lnTo>
                    <a:lnTo>
                      <a:pt x="552" y="828"/>
                    </a:lnTo>
                    <a:lnTo>
                      <a:pt x="617" y="788"/>
                    </a:lnTo>
                    <a:lnTo>
                      <a:pt x="630" y="757"/>
                    </a:lnTo>
                    <a:lnTo>
                      <a:pt x="568" y="702"/>
                    </a:lnTo>
                    <a:lnTo>
                      <a:pt x="542" y="694"/>
                    </a:lnTo>
                    <a:lnTo>
                      <a:pt x="488" y="578"/>
                    </a:lnTo>
                    <a:lnTo>
                      <a:pt x="545" y="536"/>
                    </a:lnTo>
                    <a:lnTo>
                      <a:pt x="637" y="509"/>
                    </a:lnTo>
                    <a:lnTo>
                      <a:pt x="637" y="482"/>
                    </a:lnTo>
                    <a:lnTo>
                      <a:pt x="656" y="473"/>
                    </a:lnTo>
                    <a:lnTo>
                      <a:pt x="684" y="490"/>
                    </a:lnTo>
                    <a:lnTo>
                      <a:pt x="699" y="481"/>
                    </a:lnTo>
                    <a:lnTo>
                      <a:pt x="682" y="428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4" name="Freeform 125">
                <a:extLst>
                  <a:ext uri="{FF2B5EF4-FFF2-40B4-BE49-F238E27FC236}">
                    <a16:creationId xmlns:a16="http://schemas.microsoft.com/office/drawing/2014/main" xmlns="" id="{DC088745-3CEB-4281-86D2-C2797C56E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7" y="3479"/>
                <a:ext cx="178" cy="331"/>
              </a:xfrm>
              <a:custGeom>
                <a:avLst/>
                <a:gdLst>
                  <a:gd name="T0" fmla="*/ 155 w 178"/>
                  <a:gd name="T1" fmla="*/ 166 h 331"/>
                  <a:gd name="T2" fmla="*/ 138 w 178"/>
                  <a:gd name="T3" fmla="*/ 158 h 331"/>
                  <a:gd name="T4" fmla="*/ 110 w 178"/>
                  <a:gd name="T5" fmla="*/ 112 h 331"/>
                  <a:gd name="T6" fmla="*/ 112 w 178"/>
                  <a:gd name="T7" fmla="*/ 53 h 331"/>
                  <a:gd name="T8" fmla="*/ 76 w 178"/>
                  <a:gd name="T9" fmla="*/ 17 h 331"/>
                  <a:gd name="T10" fmla="*/ 48 w 178"/>
                  <a:gd name="T11" fmla="*/ 2 h 331"/>
                  <a:gd name="T12" fmla="*/ 33 w 178"/>
                  <a:gd name="T13" fmla="*/ 14 h 331"/>
                  <a:gd name="T14" fmla="*/ 17 w 178"/>
                  <a:gd name="T15" fmla="*/ 0 h 331"/>
                  <a:gd name="T16" fmla="*/ 0 w 178"/>
                  <a:gd name="T17" fmla="*/ 34 h 331"/>
                  <a:gd name="T18" fmla="*/ 2 w 178"/>
                  <a:gd name="T19" fmla="*/ 71 h 331"/>
                  <a:gd name="T20" fmla="*/ 5 w 178"/>
                  <a:gd name="T21" fmla="*/ 88 h 331"/>
                  <a:gd name="T22" fmla="*/ 19 w 178"/>
                  <a:gd name="T23" fmla="*/ 118 h 331"/>
                  <a:gd name="T24" fmla="*/ 10 w 178"/>
                  <a:gd name="T25" fmla="*/ 126 h 331"/>
                  <a:gd name="T26" fmla="*/ 17 w 178"/>
                  <a:gd name="T27" fmla="*/ 161 h 331"/>
                  <a:gd name="T28" fmla="*/ 13 w 178"/>
                  <a:gd name="T29" fmla="*/ 217 h 331"/>
                  <a:gd name="T30" fmla="*/ 14 w 178"/>
                  <a:gd name="T31" fmla="*/ 246 h 331"/>
                  <a:gd name="T32" fmla="*/ 30 w 178"/>
                  <a:gd name="T33" fmla="*/ 263 h 331"/>
                  <a:gd name="T34" fmla="*/ 17 w 178"/>
                  <a:gd name="T35" fmla="*/ 265 h 331"/>
                  <a:gd name="T36" fmla="*/ 110 w 178"/>
                  <a:gd name="T37" fmla="*/ 331 h 331"/>
                  <a:gd name="T38" fmla="*/ 130 w 178"/>
                  <a:gd name="T39" fmla="*/ 326 h 331"/>
                  <a:gd name="T40" fmla="*/ 132 w 178"/>
                  <a:gd name="T41" fmla="*/ 285 h 331"/>
                  <a:gd name="T42" fmla="*/ 161 w 178"/>
                  <a:gd name="T43" fmla="*/ 262 h 331"/>
                  <a:gd name="T44" fmla="*/ 161 w 178"/>
                  <a:gd name="T45" fmla="*/ 228 h 331"/>
                  <a:gd name="T46" fmla="*/ 178 w 178"/>
                  <a:gd name="T47" fmla="*/ 214 h 331"/>
                  <a:gd name="T48" fmla="*/ 173 w 178"/>
                  <a:gd name="T49" fmla="*/ 181 h 331"/>
                  <a:gd name="T50" fmla="*/ 155 w 178"/>
                  <a:gd name="T51" fmla="*/ 166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8" h="331">
                    <a:moveTo>
                      <a:pt x="155" y="166"/>
                    </a:moveTo>
                    <a:lnTo>
                      <a:pt x="138" y="158"/>
                    </a:lnTo>
                    <a:lnTo>
                      <a:pt x="110" y="112"/>
                    </a:lnTo>
                    <a:lnTo>
                      <a:pt x="112" y="53"/>
                    </a:lnTo>
                    <a:lnTo>
                      <a:pt x="76" y="17"/>
                    </a:lnTo>
                    <a:lnTo>
                      <a:pt x="48" y="2"/>
                    </a:lnTo>
                    <a:lnTo>
                      <a:pt x="33" y="14"/>
                    </a:lnTo>
                    <a:lnTo>
                      <a:pt x="17" y="0"/>
                    </a:lnTo>
                    <a:lnTo>
                      <a:pt x="0" y="34"/>
                    </a:lnTo>
                    <a:lnTo>
                      <a:pt x="2" y="71"/>
                    </a:lnTo>
                    <a:lnTo>
                      <a:pt x="5" y="88"/>
                    </a:lnTo>
                    <a:lnTo>
                      <a:pt x="19" y="118"/>
                    </a:lnTo>
                    <a:lnTo>
                      <a:pt x="10" y="126"/>
                    </a:lnTo>
                    <a:lnTo>
                      <a:pt x="17" y="161"/>
                    </a:lnTo>
                    <a:lnTo>
                      <a:pt x="13" y="217"/>
                    </a:lnTo>
                    <a:lnTo>
                      <a:pt x="14" y="246"/>
                    </a:lnTo>
                    <a:lnTo>
                      <a:pt x="30" y="263"/>
                    </a:lnTo>
                    <a:lnTo>
                      <a:pt x="17" y="265"/>
                    </a:lnTo>
                    <a:lnTo>
                      <a:pt x="110" y="331"/>
                    </a:lnTo>
                    <a:lnTo>
                      <a:pt x="130" y="326"/>
                    </a:lnTo>
                    <a:lnTo>
                      <a:pt x="132" y="285"/>
                    </a:lnTo>
                    <a:lnTo>
                      <a:pt x="161" y="262"/>
                    </a:lnTo>
                    <a:lnTo>
                      <a:pt x="161" y="228"/>
                    </a:lnTo>
                    <a:lnTo>
                      <a:pt x="178" y="214"/>
                    </a:lnTo>
                    <a:lnTo>
                      <a:pt x="173" y="181"/>
                    </a:lnTo>
                    <a:lnTo>
                      <a:pt x="155" y="166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5" name="Freeform 126">
                <a:extLst>
                  <a:ext uri="{FF2B5EF4-FFF2-40B4-BE49-F238E27FC236}">
                    <a16:creationId xmlns:a16="http://schemas.microsoft.com/office/drawing/2014/main" xmlns="" id="{F61525A9-8ADD-4A8C-9CBF-2A1647BBF4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1" y="3030"/>
                <a:ext cx="1759" cy="1032"/>
              </a:xfrm>
              <a:custGeom>
                <a:avLst/>
                <a:gdLst>
                  <a:gd name="T0" fmla="*/ 1486 w 1759"/>
                  <a:gd name="T1" fmla="*/ 14 h 1032"/>
                  <a:gd name="T2" fmla="*/ 1315 w 1759"/>
                  <a:gd name="T3" fmla="*/ 41 h 1032"/>
                  <a:gd name="T4" fmla="*/ 1211 w 1759"/>
                  <a:gd name="T5" fmla="*/ 160 h 1032"/>
                  <a:gd name="T6" fmla="*/ 1049 w 1759"/>
                  <a:gd name="T7" fmla="*/ 230 h 1032"/>
                  <a:gd name="T8" fmla="*/ 969 w 1759"/>
                  <a:gd name="T9" fmla="*/ 233 h 1032"/>
                  <a:gd name="T10" fmla="*/ 887 w 1759"/>
                  <a:gd name="T11" fmla="*/ 245 h 1032"/>
                  <a:gd name="T12" fmla="*/ 816 w 1759"/>
                  <a:gd name="T13" fmla="*/ 210 h 1032"/>
                  <a:gd name="T14" fmla="*/ 756 w 1759"/>
                  <a:gd name="T15" fmla="*/ 218 h 1032"/>
                  <a:gd name="T16" fmla="*/ 720 w 1759"/>
                  <a:gd name="T17" fmla="*/ 196 h 1032"/>
                  <a:gd name="T18" fmla="*/ 592 w 1759"/>
                  <a:gd name="T19" fmla="*/ 250 h 1032"/>
                  <a:gd name="T20" fmla="*/ 452 w 1759"/>
                  <a:gd name="T21" fmla="*/ 358 h 1032"/>
                  <a:gd name="T22" fmla="*/ 399 w 1759"/>
                  <a:gd name="T23" fmla="*/ 423 h 1032"/>
                  <a:gd name="T24" fmla="*/ 233 w 1759"/>
                  <a:gd name="T25" fmla="*/ 452 h 1032"/>
                  <a:gd name="T26" fmla="*/ 240 w 1759"/>
                  <a:gd name="T27" fmla="*/ 494 h 1032"/>
                  <a:gd name="T28" fmla="*/ 206 w 1759"/>
                  <a:gd name="T29" fmla="*/ 537 h 1032"/>
                  <a:gd name="T30" fmla="*/ 168 w 1759"/>
                  <a:gd name="T31" fmla="*/ 556 h 1032"/>
                  <a:gd name="T32" fmla="*/ 137 w 1759"/>
                  <a:gd name="T33" fmla="*/ 559 h 1032"/>
                  <a:gd name="T34" fmla="*/ 121 w 1759"/>
                  <a:gd name="T35" fmla="*/ 578 h 1032"/>
                  <a:gd name="T36" fmla="*/ 83 w 1759"/>
                  <a:gd name="T37" fmla="*/ 579 h 1032"/>
                  <a:gd name="T38" fmla="*/ 0 w 1759"/>
                  <a:gd name="T39" fmla="*/ 650 h 1032"/>
                  <a:gd name="T40" fmla="*/ 63 w 1759"/>
                  <a:gd name="T41" fmla="*/ 697 h 1032"/>
                  <a:gd name="T42" fmla="*/ 80 w 1759"/>
                  <a:gd name="T43" fmla="*/ 757 h 1032"/>
                  <a:gd name="T44" fmla="*/ 111 w 1759"/>
                  <a:gd name="T45" fmla="*/ 823 h 1032"/>
                  <a:gd name="T46" fmla="*/ 72 w 1759"/>
                  <a:gd name="T47" fmla="*/ 816 h 1032"/>
                  <a:gd name="T48" fmla="*/ 61 w 1759"/>
                  <a:gd name="T49" fmla="*/ 865 h 1032"/>
                  <a:gd name="T50" fmla="*/ 128 w 1759"/>
                  <a:gd name="T51" fmla="*/ 908 h 1032"/>
                  <a:gd name="T52" fmla="*/ 205 w 1759"/>
                  <a:gd name="T53" fmla="*/ 955 h 1032"/>
                  <a:gd name="T54" fmla="*/ 182 w 1759"/>
                  <a:gd name="T55" fmla="*/ 982 h 1032"/>
                  <a:gd name="T56" fmla="*/ 214 w 1759"/>
                  <a:gd name="T57" fmla="*/ 1010 h 1032"/>
                  <a:gd name="T58" fmla="*/ 302 w 1759"/>
                  <a:gd name="T59" fmla="*/ 990 h 1032"/>
                  <a:gd name="T60" fmla="*/ 379 w 1759"/>
                  <a:gd name="T61" fmla="*/ 1020 h 1032"/>
                  <a:gd name="T62" fmla="*/ 527 w 1759"/>
                  <a:gd name="T63" fmla="*/ 998 h 1032"/>
                  <a:gd name="T64" fmla="*/ 534 w 1759"/>
                  <a:gd name="T65" fmla="*/ 919 h 1032"/>
                  <a:gd name="T66" fmla="*/ 727 w 1759"/>
                  <a:gd name="T67" fmla="*/ 964 h 1032"/>
                  <a:gd name="T68" fmla="*/ 875 w 1759"/>
                  <a:gd name="T69" fmla="*/ 839 h 1032"/>
                  <a:gd name="T70" fmla="*/ 954 w 1759"/>
                  <a:gd name="T71" fmla="*/ 825 h 1032"/>
                  <a:gd name="T72" fmla="*/ 1018 w 1759"/>
                  <a:gd name="T73" fmla="*/ 788 h 1032"/>
                  <a:gd name="T74" fmla="*/ 1023 w 1759"/>
                  <a:gd name="T75" fmla="*/ 884 h 1032"/>
                  <a:gd name="T76" fmla="*/ 1065 w 1759"/>
                  <a:gd name="T77" fmla="*/ 836 h 1032"/>
                  <a:gd name="T78" fmla="*/ 1076 w 1759"/>
                  <a:gd name="T79" fmla="*/ 777 h 1032"/>
                  <a:gd name="T80" fmla="*/ 1133 w 1759"/>
                  <a:gd name="T81" fmla="*/ 743 h 1032"/>
                  <a:gd name="T82" fmla="*/ 1250 w 1759"/>
                  <a:gd name="T83" fmla="*/ 677 h 1032"/>
                  <a:gd name="T84" fmla="*/ 1437 w 1759"/>
                  <a:gd name="T85" fmla="*/ 562 h 1032"/>
                  <a:gd name="T86" fmla="*/ 1560 w 1759"/>
                  <a:gd name="T87" fmla="*/ 500 h 1032"/>
                  <a:gd name="T88" fmla="*/ 1600 w 1759"/>
                  <a:gd name="T89" fmla="*/ 500 h 1032"/>
                  <a:gd name="T90" fmla="*/ 1665 w 1759"/>
                  <a:gd name="T91" fmla="*/ 449 h 1032"/>
                  <a:gd name="T92" fmla="*/ 1746 w 1759"/>
                  <a:gd name="T93" fmla="*/ 423 h 1032"/>
                  <a:gd name="T94" fmla="*/ 1759 w 1759"/>
                  <a:gd name="T95" fmla="*/ 344 h 1032"/>
                  <a:gd name="T96" fmla="*/ 1713 w 1759"/>
                  <a:gd name="T97" fmla="*/ 321 h 1032"/>
                  <a:gd name="T98" fmla="*/ 1667 w 1759"/>
                  <a:gd name="T99" fmla="*/ 256 h 1032"/>
                  <a:gd name="T100" fmla="*/ 1628 w 1759"/>
                  <a:gd name="T101" fmla="*/ 187 h 1032"/>
                  <a:gd name="T102" fmla="*/ 1599 w 1759"/>
                  <a:gd name="T103" fmla="*/ 96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59" h="1032">
                    <a:moveTo>
                      <a:pt x="1556" y="111"/>
                    </a:moveTo>
                    <a:lnTo>
                      <a:pt x="1486" y="14"/>
                    </a:lnTo>
                    <a:lnTo>
                      <a:pt x="1384" y="0"/>
                    </a:lnTo>
                    <a:lnTo>
                      <a:pt x="1315" y="41"/>
                    </a:lnTo>
                    <a:lnTo>
                      <a:pt x="1290" y="100"/>
                    </a:lnTo>
                    <a:lnTo>
                      <a:pt x="1211" y="160"/>
                    </a:lnTo>
                    <a:lnTo>
                      <a:pt x="1170" y="165"/>
                    </a:lnTo>
                    <a:lnTo>
                      <a:pt x="1049" y="230"/>
                    </a:lnTo>
                    <a:lnTo>
                      <a:pt x="1011" y="227"/>
                    </a:lnTo>
                    <a:lnTo>
                      <a:pt x="969" y="233"/>
                    </a:lnTo>
                    <a:lnTo>
                      <a:pt x="898" y="225"/>
                    </a:lnTo>
                    <a:lnTo>
                      <a:pt x="887" y="245"/>
                    </a:lnTo>
                    <a:lnTo>
                      <a:pt x="855" y="238"/>
                    </a:lnTo>
                    <a:lnTo>
                      <a:pt x="816" y="210"/>
                    </a:lnTo>
                    <a:lnTo>
                      <a:pt x="796" y="228"/>
                    </a:lnTo>
                    <a:lnTo>
                      <a:pt x="756" y="218"/>
                    </a:lnTo>
                    <a:lnTo>
                      <a:pt x="747" y="199"/>
                    </a:lnTo>
                    <a:lnTo>
                      <a:pt x="720" y="196"/>
                    </a:lnTo>
                    <a:lnTo>
                      <a:pt x="703" y="216"/>
                    </a:lnTo>
                    <a:lnTo>
                      <a:pt x="592" y="250"/>
                    </a:lnTo>
                    <a:lnTo>
                      <a:pt x="551" y="272"/>
                    </a:lnTo>
                    <a:lnTo>
                      <a:pt x="452" y="358"/>
                    </a:lnTo>
                    <a:lnTo>
                      <a:pt x="429" y="409"/>
                    </a:lnTo>
                    <a:lnTo>
                      <a:pt x="399" y="423"/>
                    </a:lnTo>
                    <a:lnTo>
                      <a:pt x="325" y="425"/>
                    </a:lnTo>
                    <a:lnTo>
                      <a:pt x="233" y="452"/>
                    </a:lnTo>
                    <a:lnTo>
                      <a:pt x="226" y="480"/>
                    </a:lnTo>
                    <a:lnTo>
                      <a:pt x="240" y="494"/>
                    </a:lnTo>
                    <a:lnTo>
                      <a:pt x="267" y="500"/>
                    </a:lnTo>
                    <a:lnTo>
                      <a:pt x="206" y="537"/>
                    </a:lnTo>
                    <a:lnTo>
                      <a:pt x="216" y="550"/>
                    </a:lnTo>
                    <a:lnTo>
                      <a:pt x="168" y="556"/>
                    </a:lnTo>
                    <a:lnTo>
                      <a:pt x="145" y="570"/>
                    </a:lnTo>
                    <a:lnTo>
                      <a:pt x="137" y="559"/>
                    </a:lnTo>
                    <a:lnTo>
                      <a:pt x="114" y="561"/>
                    </a:lnTo>
                    <a:lnTo>
                      <a:pt x="121" y="578"/>
                    </a:lnTo>
                    <a:lnTo>
                      <a:pt x="95" y="588"/>
                    </a:lnTo>
                    <a:lnTo>
                      <a:pt x="83" y="579"/>
                    </a:lnTo>
                    <a:lnTo>
                      <a:pt x="33" y="604"/>
                    </a:lnTo>
                    <a:lnTo>
                      <a:pt x="0" y="650"/>
                    </a:lnTo>
                    <a:lnTo>
                      <a:pt x="0" y="704"/>
                    </a:lnTo>
                    <a:lnTo>
                      <a:pt x="63" y="697"/>
                    </a:lnTo>
                    <a:lnTo>
                      <a:pt x="55" y="731"/>
                    </a:lnTo>
                    <a:lnTo>
                      <a:pt x="80" y="757"/>
                    </a:lnTo>
                    <a:lnTo>
                      <a:pt x="81" y="794"/>
                    </a:lnTo>
                    <a:lnTo>
                      <a:pt x="111" y="823"/>
                    </a:lnTo>
                    <a:lnTo>
                      <a:pt x="83" y="829"/>
                    </a:lnTo>
                    <a:lnTo>
                      <a:pt x="72" y="816"/>
                    </a:lnTo>
                    <a:lnTo>
                      <a:pt x="52" y="814"/>
                    </a:lnTo>
                    <a:lnTo>
                      <a:pt x="61" y="865"/>
                    </a:lnTo>
                    <a:lnTo>
                      <a:pt x="157" y="882"/>
                    </a:lnTo>
                    <a:lnTo>
                      <a:pt x="128" y="908"/>
                    </a:lnTo>
                    <a:lnTo>
                      <a:pt x="165" y="939"/>
                    </a:lnTo>
                    <a:lnTo>
                      <a:pt x="205" y="955"/>
                    </a:lnTo>
                    <a:lnTo>
                      <a:pt x="177" y="964"/>
                    </a:lnTo>
                    <a:lnTo>
                      <a:pt x="182" y="982"/>
                    </a:lnTo>
                    <a:lnTo>
                      <a:pt x="239" y="978"/>
                    </a:lnTo>
                    <a:lnTo>
                      <a:pt x="214" y="1010"/>
                    </a:lnTo>
                    <a:lnTo>
                      <a:pt x="273" y="1013"/>
                    </a:lnTo>
                    <a:lnTo>
                      <a:pt x="302" y="990"/>
                    </a:lnTo>
                    <a:lnTo>
                      <a:pt x="364" y="995"/>
                    </a:lnTo>
                    <a:lnTo>
                      <a:pt x="379" y="1020"/>
                    </a:lnTo>
                    <a:lnTo>
                      <a:pt x="439" y="1032"/>
                    </a:lnTo>
                    <a:lnTo>
                      <a:pt x="527" y="998"/>
                    </a:lnTo>
                    <a:lnTo>
                      <a:pt x="514" y="938"/>
                    </a:lnTo>
                    <a:lnTo>
                      <a:pt x="534" y="919"/>
                    </a:lnTo>
                    <a:lnTo>
                      <a:pt x="631" y="924"/>
                    </a:lnTo>
                    <a:lnTo>
                      <a:pt x="727" y="964"/>
                    </a:lnTo>
                    <a:lnTo>
                      <a:pt x="824" y="925"/>
                    </a:lnTo>
                    <a:lnTo>
                      <a:pt x="875" y="839"/>
                    </a:lnTo>
                    <a:lnTo>
                      <a:pt x="907" y="816"/>
                    </a:lnTo>
                    <a:lnTo>
                      <a:pt x="954" y="825"/>
                    </a:lnTo>
                    <a:lnTo>
                      <a:pt x="988" y="772"/>
                    </a:lnTo>
                    <a:lnTo>
                      <a:pt x="1018" y="788"/>
                    </a:lnTo>
                    <a:lnTo>
                      <a:pt x="998" y="856"/>
                    </a:lnTo>
                    <a:lnTo>
                      <a:pt x="1023" y="884"/>
                    </a:lnTo>
                    <a:lnTo>
                      <a:pt x="1045" y="885"/>
                    </a:lnTo>
                    <a:lnTo>
                      <a:pt x="1065" y="836"/>
                    </a:lnTo>
                    <a:lnTo>
                      <a:pt x="1102" y="806"/>
                    </a:lnTo>
                    <a:lnTo>
                      <a:pt x="1076" y="777"/>
                    </a:lnTo>
                    <a:lnTo>
                      <a:pt x="1088" y="746"/>
                    </a:lnTo>
                    <a:lnTo>
                      <a:pt x="1133" y="743"/>
                    </a:lnTo>
                    <a:lnTo>
                      <a:pt x="1194" y="694"/>
                    </a:lnTo>
                    <a:lnTo>
                      <a:pt x="1250" y="677"/>
                    </a:lnTo>
                    <a:lnTo>
                      <a:pt x="1293" y="687"/>
                    </a:lnTo>
                    <a:lnTo>
                      <a:pt x="1437" y="562"/>
                    </a:lnTo>
                    <a:lnTo>
                      <a:pt x="1497" y="553"/>
                    </a:lnTo>
                    <a:lnTo>
                      <a:pt x="1560" y="500"/>
                    </a:lnTo>
                    <a:lnTo>
                      <a:pt x="1579" y="511"/>
                    </a:lnTo>
                    <a:lnTo>
                      <a:pt x="1600" y="500"/>
                    </a:lnTo>
                    <a:lnTo>
                      <a:pt x="1622" y="462"/>
                    </a:lnTo>
                    <a:lnTo>
                      <a:pt x="1665" y="449"/>
                    </a:lnTo>
                    <a:lnTo>
                      <a:pt x="1716" y="420"/>
                    </a:lnTo>
                    <a:lnTo>
                      <a:pt x="1746" y="423"/>
                    </a:lnTo>
                    <a:lnTo>
                      <a:pt x="1759" y="411"/>
                    </a:lnTo>
                    <a:lnTo>
                      <a:pt x="1759" y="344"/>
                    </a:lnTo>
                    <a:lnTo>
                      <a:pt x="1742" y="327"/>
                    </a:lnTo>
                    <a:lnTo>
                      <a:pt x="1713" y="321"/>
                    </a:lnTo>
                    <a:lnTo>
                      <a:pt x="1698" y="272"/>
                    </a:lnTo>
                    <a:lnTo>
                      <a:pt x="1667" y="256"/>
                    </a:lnTo>
                    <a:lnTo>
                      <a:pt x="1658" y="211"/>
                    </a:lnTo>
                    <a:lnTo>
                      <a:pt x="1628" y="187"/>
                    </a:lnTo>
                    <a:lnTo>
                      <a:pt x="1644" y="126"/>
                    </a:lnTo>
                    <a:lnTo>
                      <a:pt x="1599" y="96"/>
                    </a:lnTo>
                    <a:lnTo>
                      <a:pt x="1556" y="111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6" name="Freeform 127">
                <a:extLst>
                  <a:ext uri="{FF2B5EF4-FFF2-40B4-BE49-F238E27FC236}">
                    <a16:creationId xmlns:a16="http://schemas.microsoft.com/office/drawing/2014/main" xmlns="" id="{5629CF1F-91D0-4FEC-B45E-989DCE86E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8" y="3424"/>
                <a:ext cx="246" cy="238"/>
              </a:xfrm>
              <a:custGeom>
                <a:avLst/>
                <a:gdLst>
                  <a:gd name="T0" fmla="*/ 168 w 246"/>
                  <a:gd name="T1" fmla="*/ 35 h 238"/>
                  <a:gd name="T2" fmla="*/ 144 w 246"/>
                  <a:gd name="T3" fmla="*/ 7 h 238"/>
                  <a:gd name="T4" fmla="*/ 97 w 246"/>
                  <a:gd name="T5" fmla="*/ 15 h 238"/>
                  <a:gd name="T6" fmla="*/ 73 w 246"/>
                  <a:gd name="T7" fmla="*/ 0 h 238"/>
                  <a:gd name="T8" fmla="*/ 22 w 246"/>
                  <a:gd name="T9" fmla="*/ 28 h 238"/>
                  <a:gd name="T10" fmla="*/ 8 w 246"/>
                  <a:gd name="T11" fmla="*/ 65 h 238"/>
                  <a:gd name="T12" fmla="*/ 26 w 246"/>
                  <a:gd name="T13" fmla="*/ 72 h 238"/>
                  <a:gd name="T14" fmla="*/ 29 w 246"/>
                  <a:gd name="T15" fmla="*/ 114 h 238"/>
                  <a:gd name="T16" fmla="*/ 14 w 246"/>
                  <a:gd name="T17" fmla="*/ 133 h 238"/>
                  <a:gd name="T18" fmla="*/ 16 w 246"/>
                  <a:gd name="T19" fmla="*/ 154 h 238"/>
                  <a:gd name="T20" fmla="*/ 0 w 246"/>
                  <a:gd name="T21" fmla="*/ 179 h 238"/>
                  <a:gd name="T22" fmla="*/ 2 w 246"/>
                  <a:gd name="T23" fmla="*/ 182 h 238"/>
                  <a:gd name="T24" fmla="*/ 23 w 246"/>
                  <a:gd name="T25" fmla="*/ 191 h 238"/>
                  <a:gd name="T26" fmla="*/ 43 w 246"/>
                  <a:gd name="T27" fmla="*/ 185 h 238"/>
                  <a:gd name="T28" fmla="*/ 23 w 246"/>
                  <a:gd name="T29" fmla="*/ 208 h 238"/>
                  <a:gd name="T30" fmla="*/ 28 w 246"/>
                  <a:gd name="T31" fmla="*/ 238 h 238"/>
                  <a:gd name="T32" fmla="*/ 59 w 246"/>
                  <a:gd name="T33" fmla="*/ 201 h 238"/>
                  <a:gd name="T34" fmla="*/ 74 w 246"/>
                  <a:gd name="T35" fmla="*/ 173 h 238"/>
                  <a:gd name="T36" fmla="*/ 108 w 246"/>
                  <a:gd name="T37" fmla="*/ 154 h 238"/>
                  <a:gd name="T38" fmla="*/ 121 w 246"/>
                  <a:gd name="T39" fmla="*/ 122 h 238"/>
                  <a:gd name="T40" fmla="*/ 121 w 246"/>
                  <a:gd name="T41" fmla="*/ 119 h 238"/>
                  <a:gd name="T42" fmla="*/ 148 w 246"/>
                  <a:gd name="T43" fmla="*/ 111 h 238"/>
                  <a:gd name="T44" fmla="*/ 161 w 246"/>
                  <a:gd name="T45" fmla="*/ 116 h 238"/>
                  <a:gd name="T46" fmla="*/ 178 w 246"/>
                  <a:gd name="T47" fmla="*/ 100 h 238"/>
                  <a:gd name="T48" fmla="*/ 235 w 246"/>
                  <a:gd name="T49" fmla="*/ 88 h 238"/>
                  <a:gd name="T50" fmla="*/ 246 w 246"/>
                  <a:gd name="T51" fmla="*/ 55 h 238"/>
                  <a:gd name="T52" fmla="*/ 207 w 246"/>
                  <a:gd name="T53" fmla="*/ 54 h 238"/>
                  <a:gd name="T54" fmla="*/ 168 w 246"/>
                  <a:gd name="T55" fmla="*/ 35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46" h="238">
                    <a:moveTo>
                      <a:pt x="168" y="35"/>
                    </a:moveTo>
                    <a:lnTo>
                      <a:pt x="144" y="7"/>
                    </a:lnTo>
                    <a:lnTo>
                      <a:pt x="97" y="15"/>
                    </a:lnTo>
                    <a:lnTo>
                      <a:pt x="73" y="0"/>
                    </a:lnTo>
                    <a:lnTo>
                      <a:pt x="22" y="28"/>
                    </a:lnTo>
                    <a:lnTo>
                      <a:pt x="8" y="65"/>
                    </a:lnTo>
                    <a:lnTo>
                      <a:pt x="26" y="72"/>
                    </a:lnTo>
                    <a:lnTo>
                      <a:pt x="29" y="114"/>
                    </a:lnTo>
                    <a:lnTo>
                      <a:pt x="14" y="133"/>
                    </a:lnTo>
                    <a:lnTo>
                      <a:pt x="16" y="154"/>
                    </a:lnTo>
                    <a:lnTo>
                      <a:pt x="0" y="179"/>
                    </a:lnTo>
                    <a:lnTo>
                      <a:pt x="2" y="182"/>
                    </a:lnTo>
                    <a:lnTo>
                      <a:pt x="23" y="191"/>
                    </a:lnTo>
                    <a:lnTo>
                      <a:pt x="43" y="185"/>
                    </a:lnTo>
                    <a:lnTo>
                      <a:pt x="23" y="208"/>
                    </a:lnTo>
                    <a:lnTo>
                      <a:pt x="28" y="238"/>
                    </a:lnTo>
                    <a:lnTo>
                      <a:pt x="59" y="201"/>
                    </a:lnTo>
                    <a:lnTo>
                      <a:pt x="74" y="173"/>
                    </a:lnTo>
                    <a:lnTo>
                      <a:pt x="108" y="154"/>
                    </a:lnTo>
                    <a:lnTo>
                      <a:pt x="121" y="122"/>
                    </a:lnTo>
                    <a:lnTo>
                      <a:pt x="121" y="119"/>
                    </a:lnTo>
                    <a:lnTo>
                      <a:pt x="148" y="111"/>
                    </a:lnTo>
                    <a:lnTo>
                      <a:pt x="161" y="116"/>
                    </a:lnTo>
                    <a:lnTo>
                      <a:pt x="178" y="100"/>
                    </a:lnTo>
                    <a:lnTo>
                      <a:pt x="235" y="88"/>
                    </a:lnTo>
                    <a:lnTo>
                      <a:pt x="246" y="55"/>
                    </a:lnTo>
                    <a:lnTo>
                      <a:pt x="207" y="54"/>
                    </a:lnTo>
                    <a:lnTo>
                      <a:pt x="168" y="35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7" name="Freeform 128">
                <a:extLst>
                  <a:ext uri="{FF2B5EF4-FFF2-40B4-BE49-F238E27FC236}">
                    <a16:creationId xmlns:a16="http://schemas.microsoft.com/office/drawing/2014/main" xmlns="" id="{1F682EBB-D3D7-4B73-AD07-E68B85211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" y="3656"/>
                <a:ext cx="28" cy="23"/>
              </a:xfrm>
              <a:custGeom>
                <a:avLst/>
                <a:gdLst>
                  <a:gd name="T0" fmla="*/ 0 w 28"/>
                  <a:gd name="T1" fmla="*/ 18 h 23"/>
                  <a:gd name="T2" fmla="*/ 7 w 28"/>
                  <a:gd name="T3" fmla="*/ 23 h 23"/>
                  <a:gd name="T4" fmla="*/ 28 w 28"/>
                  <a:gd name="T5" fmla="*/ 17 h 23"/>
                  <a:gd name="T6" fmla="*/ 24 w 28"/>
                  <a:gd name="T7" fmla="*/ 0 h 23"/>
                  <a:gd name="T8" fmla="*/ 0 w 28"/>
                  <a:gd name="T9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3">
                    <a:moveTo>
                      <a:pt x="0" y="18"/>
                    </a:moveTo>
                    <a:lnTo>
                      <a:pt x="7" y="23"/>
                    </a:lnTo>
                    <a:lnTo>
                      <a:pt x="28" y="17"/>
                    </a:lnTo>
                    <a:lnTo>
                      <a:pt x="24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8" name="Freeform 129">
                <a:extLst>
                  <a:ext uri="{FF2B5EF4-FFF2-40B4-BE49-F238E27FC236}">
                    <a16:creationId xmlns:a16="http://schemas.microsoft.com/office/drawing/2014/main" xmlns="" id="{89E186C3-EFE2-48BC-B574-21016998C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924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19 w 23"/>
                  <a:gd name="T3" fmla="*/ 0 h 24"/>
                  <a:gd name="T4" fmla="*/ 0 w 23"/>
                  <a:gd name="T5" fmla="*/ 8 h 24"/>
                  <a:gd name="T6" fmla="*/ 5 w 23"/>
                  <a:gd name="T7" fmla="*/ 24 h 24"/>
                  <a:gd name="T8" fmla="*/ 23 w 23"/>
                  <a:gd name="T9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19" y="0"/>
                    </a:lnTo>
                    <a:lnTo>
                      <a:pt x="0" y="8"/>
                    </a:lnTo>
                    <a:lnTo>
                      <a:pt x="5" y="24"/>
                    </a:lnTo>
                    <a:lnTo>
                      <a:pt x="23" y="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9" name="Freeform 130">
                <a:extLst>
                  <a:ext uri="{FF2B5EF4-FFF2-40B4-BE49-F238E27FC236}">
                    <a16:creationId xmlns:a16="http://schemas.microsoft.com/office/drawing/2014/main" xmlns="" id="{C2102E6D-C7B8-4201-91F6-9B4E15622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" y="3571"/>
                <a:ext cx="24" cy="13"/>
              </a:xfrm>
              <a:custGeom>
                <a:avLst/>
                <a:gdLst>
                  <a:gd name="T0" fmla="*/ 13 w 24"/>
                  <a:gd name="T1" fmla="*/ 13 h 13"/>
                  <a:gd name="T2" fmla="*/ 22 w 24"/>
                  <a:gd name="T3" fmla="*/ 6 h 13"/>
                  <a:gd name="T4" fmla="*/ 24 w 24"/>
                  <a:gd name="T5" fmla="*/ 0 h 13"/>
                  <a:gd name="T6" fmla="*/ 0 w 24"/>
                  <a:gd name="T7" fmla="*/ 4 h 13"/>
                  <a:gd name="T8" fmla="*/ 13 w 24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3">
                    <a:moveTo>
                      <a:pt x="13" y="13"/>
                    </a:moveTo>
                    <a:lnTo>
                      <a:pt x="22" y="6"/>
                    </a:lnTo>
                    <a:lnTo>
                      <a:pt x="24" y="0"/>
                    </a:lnTo>
                    <a:lnTo>
                      <a:pt x="0" y="4"/>
                    </a:lnTo>
                    <a:lnTo>
                      <a:pt x="13" y="13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0" name="Freeform 131">
                <a:extLst>
                  <a:ext uri="{FF2B5EF4-FFF2-40B4-BE49-F238E27FC236}">
                    <a16:creationId xmlns:a16="http://schemas.microsoft.com/office/drawing/2014/main" xmlns="" id="{9765FC56-87F5-48A8-B360-EC45A5D74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1911"/>
                <a:ext cx="219" cy="133"/>
              </a:xfrm>
              <a:custGeom>
                <a:avLst/>
                <a:gdLst>
                  <a:gd name="T0" fmla="*/ 182 w 219"/>
                  <a:gd name="T1" fmla="*/ 34 h 133"/>
                  <a:gd name="T2" fmla="*/ 116 w 219"/>
                  <a:gd name="T3" fmla="*/ 23 h 133"/>
                  <a:gd name="T4" fmla="*/ 71 w 219"/>
                  <a:gd name="T5" fmla="*/ 0 h 133"/>
                  <a:gd name="T6" fmla="*/ 57 w 219"/>
                  <a:gd name="T7" fmla="*/ 39 h 133"/>
                  <a:gd name="T8" fmla="*/ 26 w 219"/>
                  <a:gd name="T9" fmla="*/ 74 h 133"/>
                  <a:gd name="T10" fmla="*/ 0 w 219"/>
                  <a:gd name="T11" fmla="*/ 77 h 133"/>
                  <a:gd name="T12" fmla="*/ 0 w 219"/>
                  <a:gd name="T13" fmla="*/ 97 h 133"/>
                  <a:gd name="T14" fmla="*/ 16 w 219"/>
                  <a:gd name="T15" fmla="*/ 101 h 133"/>
                  <a:gd name="T16" fmla="*/ 13 w 219"/>
                  <a:gd name="T17" fmla="*/ 121 h 133"/>
                  <a:gd name="T18" fmla="*/ 71 w 219"/>
                  <a:gd name="T19" fmla="*/ 133 h 133"/>
                  <a:gd name="T20" fmla="*/ 199 w 219"/>
                  <a:gd name="T21" fmla="*/ 116 h 133"/>
                  <a:gd name="T22" fmla="*/ 219 w 219"/>
                  <a:gd name="T23" fmla="*/ 104 h 133"/>
                  <a:gd name="T24" fmla="*/ 212 w 219"/>
                  <a:gd name="T25" fmla="*/ 60 h 133"/>
                  <a:gd name="T26" fmla="*/ 182 w 219"/>
                  <a:gd name="T27" fmla="*/ 34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9" h="133">
                    <a:moveTo>
                      <a:pt x="182" y="34"/>
                    </a:moveTo>
                    <a:lnTo>
                      <a:pt x="116" y="23"/>
                    </a:lnTo>
                    <a:lnTo>
                      <a:pt x="71" y="0"/>
                    </a:lnTo>
                    <a:lnTo>
                      <a:pt x="57" y="39"/>
                    </a:lnTo>
                    <a:lnTo>
                      <a:pt x="26" y="74"/>
                    </a:lnTo>
                    <a:lnTo>
                      <a:pt x="0" y="77"/>
                    </a:lnTo>
                    <a:lnTo>
                      <a:pt x="0" y="97"/>
                    </a:lnTo>
                    <a:lnTo>
                      <a:pt x="16" y="101"/>
                    </a:lnTo>
                    <a:lnTo>
                      <a:pt x="13" y="121"/>
                    </a:lnTo>
                    <a:lnTo>
                      <a:pt x="71" y="133"/>
                    </a:lnTo>
                    <a:lnTo>
                      <a:pt x="199" y="116"/>
                    </a:lnTo>
                    <a:lnTo>
                      <a:pt x="219" y="104"/>
                    </a:lnTo>
                    <a:lnTo>
                      <a:pt x="212" y="60"/>
                    </a:lnTo>
                    <a:lnTo>
                      <a:pt x="182" y="34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1" name="Freeform 132">
                <a:extLst>
                  <a:ext uri="{FF2B5EF4-FFF2-40B4-BE49-F238E27FC236}">
                    <a16:creationId xmlns:a16="http://schemas.microsoft.com/office/drawing/2014/main" xmlns="" id="{8F414A41-9EEE-4FB1-B988-A077D52EE1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" y="2948"/>
                <a:ext cx="33" cy="46"/>
              </a:xfrm>
              <a:custGeom>
                <a:avLst/>
                <a:gdLst>
                  <a:gd name="T0" fmla="*/ 10 w 33"/>
                  <a:gd name="T1" fmla="*/ 0 h 46"/>
                  <a:gd name="T2" fmla="*/ 33 w 33"/>
                  <a:gd name="T3" fmla="*/ 32 h 46"/>
                  <a:gd name="T4" fmla="*/ 25 w 33"/>
                  <a:gd name="T5" fmla="*/ 46 h 46"/>
                  <a:gd name="T6" fmla="*/ 0 w 33"/>
                  <a:gd name="T7" fmla="*/ 35 h 46"/>
                  <a:gd name="T8" fmla="*/ 10 w 3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6">
                    <a:moveTo>
                      <a:pt x="10" y="0"/>
                    </a:moveTo>
                    <a:lnTo>
                      <a:pt x="33" y="32"/>
                    </a:lnTo>
                    <a:lnTo>
                      <a:pt x="25" y="46"/>
                    </a:lnTo>
                    <a:lnTo>
                      <a:pt x="0" y="35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383" name="Groupe 382">
              <a:extLst>
                <a:ext uri="{FF2B5EF4-FFF2-40B4-BE49-F238E27FC236}">
                  <a16:creationId xmlns:a16="http://schemas.microsoft.com/office/drawing/2014/main" xmlns="" id="{7F779E64-2DF9-424A-A61E-6EAFA83042F4}"/>
                </a:ext>
              </a:extLst>
            </p:cNvPr>
            <p:cNvGrpSpPr/>
            <p:nvPr/>
          </p:nvGrpSpPr>
          <p:grpSpPr>
            <a:xfrm>
              <a:off x="820881" y="3100917"/>
              <a:ext cx="1012254" cy="696496"/>
              <a:chOff x="773256" y="2996875"/>
              <a:chExt cx="1012254" cy="696496"/>
            </a:xfrm>
          </p:grpSpPr>
          <p:sp>
            <p:nvSpPr>
              <p:cNvPr id="372" name="ZoneTexte 371">
                <a:extLst>
                  <a:ext uri="{FF2B5EF4-FFF2-40B4-BE49-F238E27FC236}">
                    <a16:creationId xmlns:a16="http://schemas.microsoft.com/office/drawing/2014/main" xmlns="" id="{D82F2953-4259-4592-8FFD-89DF7B26FC33}"/>
                  </a:ext>
                </a:extLst>
              </p:cNvPr>
              <p:cNvSpPr txBox="1"/>
              <p:nvPr/>
            </p:nvSpPr>
            <p:spPr>
              <a:xfrm>
                <a:off x="955416" y="3431761"/>
                <a:ext cx="647934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sz="1100" b="1" dirty="0"/>
                  <a:t>France</a:t>
                </a:r>
              </a:p>
            </p:txBody>
          </p:sp>
          <p:sp>
            <p:nvSpPr>
              <p:cNvPr id="373" name="Rectangle : coins arrondis 372">
                <a:extLst>
                  <a:ext uri="{FF2B5EF4-FFF2-40B4-BE49-F238E27FC236}">
                    <a16:creationId xmlns:a16="http://schemas.microsoft.com/office/drawing/2014/main" xmlns="" id="{511A8294-2F6D-451D-A0B2-3E7F45105CFB}"/>
                  </a:ext>
                </a:extLst>
              </p:cNvPr>
              <p:cNvSpPr/>
              <p:nvPr/>
            </p:nvSpPr>
            <p:spPr>
              <a:xfrm>
                <a:off x="773256" y="2996875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82" name="Groupe 381">
              <a:extLst>
                <a:ext uri="{FF2B5EF4-FFF2-40B4-BE49-F238E27FC236}">
                  <a16:creationId xmlns:a16="http://schemas.microsoft.com/office/drawing/2014/main" xmlns="" id="{03F01C30-928A-47DF-98E4-4A8EC6966FEE}"/>
                </a:ext>
              </a:extLst>
            </p:cNvPr>
            <p:cNvGrpSpPr/>
            <p:nvPr/>
          </p:nvGrpSpPr>
          <p:grpSpPr>
            <a:xfrm>
              <a:off x="820881" y="3887510"/>
              <a:ext cx="1012254" cy="696496"/>
              <a:chOff x="773256" y="3887510"/>
              <a:chExt cx="1012254" cy="696496"/>
            </a:xfrm>
          </p:grpSpPr>
          <p:sp>
            <p:nvSpPr>
              <p:cNvPr id="374" name="ZoneTexte 373">
                <a:extLst>
                  <a:ext uri="{FF2B5EF4-FFF2-40B4-BE49-F238E27FC236}">
                    <a16:creationId xmlns:a16="http://schemas.microsoft.com/office/drawing/2014/main" xmlns="" id="{DAEB0536-3470-4604-A956-02615F36623E}"/>
                  </a:ext>
                </a:extLst>
              </p:cNvPr>
              <p:cNvSpPr txBox="1"/>
              <p:nvPr/>
            </p:nvSpPr>
            <p:spPr>
              <a:xfrm>
                <a:off x="994690" y="4322396"/>
                <a:ext cx="56938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/>
                  <a:t>Spain</a:t>
                </a:r>
              </a:p>
            </p:txBody>
          </p:sp>
          <p:sp>
            <p:nvSpPr>
              <p:cNvPr id="375" name="Rectangle : coins arrondis 374">
                <a:extLst>
                  <a:ext uri="{FF2B5EF4-FFF2-40B4-BE49-F238E27FC236}">
                    <a16:creationId xmlns:a16="http://schemas.microsoft.com/office/drawing/2014/main" xmlns="" id="{A16A53C5-C511-48D5-83B4-B754AEAD41A5}"/>
                  </a:ext>
                </a:extLst>
              </p:cNvPr>
              <p:cNvSpPr/>
              <p:nvPr/>
            </p:nvSpPr>
            <p:spPr>
              <a:xfrm>
                <a:off x="773256" y="3887510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84" name="Groupe 383">
              <a:extLst>
                <a:ext uri="{FF2B5EF4-FFF2-40B4-BE49-F238E27FC236}">
                  <a16:creationId xmlns:a16="http://schemas.microsoft.com/office/drawing/2014/main" xmlns="" id="{C1B62333-7A82-4ABD-B0AE-8E0C8914CAC7}"/>
                </a:ext>
              </a:extLst>
            </p:cNvPr>
            <p:cNvGrpSpPr/>
            <p:nvPr/>
          </p:nvGrpSpPr>
          <p:grpSpPr>
            <a:xfrm>
              <a:off x="820881" y="2314324"/>
              <a:ext cx="1012254" cy="696496"/>
              <a:chOff x="773256" y="2061084"/>
              <a:chExt cx="1012254" cy="696496"/>
            </a:xfrm>
          </p:grpSpPr>
          <p:sp>
            <p:nvSpPr>
              <p:cNvPr id="376" name="ZoneTexte 375">
                <a:extLst>
                  <a:ext uri="{FF2B5EF4-FFF2-40B4-BE49-F238E27FC236}">
                    <a16:creationId xmlns:a16="http://schemas.microsoft.com/office/drawing/2014/main" xmlns="" id="{D8E4115D-0A86-4C17-A1ED-1D9C3088CE65}"/>
                  </a:ext>
                </a:extLst>
              </p:cNvPr>
              <p:cNvSpPr txBox="1"/>
              <p:nvPr/>
            </p:nvSpPr>
            <p:spPr>
              <a:xfrm>
                <a:off x="890857" y="2495970"/>
                <a:ext cx="77705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England</a:t>
                </a:r>
                <a:endParaRPr lang="fr-FR" sz="1100" b="1" dirty="0"/>
              </a:p>
            </p:txBody>
          </p:sp>
          <p:sp>
            <p:nvSpPr>
              <p:cNvPr id="377" name="Rectangle : coins arrondis 376">
                <a:extLst>
                  <a:ext uri="{FF2B5EF4-FFF2-40B4-BE49-F238E27FC236}">
                    <a16:creationId xmlns:a16="http://schemas.microsoft.com/office/drawing/2014/main" xmlns="" id="{78D4A3C8-56D3-4990-A2A3-EEEA7A0B6459}"/>
                  </a:ext>
                </a:extLst>
              </p:cNvPr>
              <p:cNvSpPr/>
              <p:nvPr/>
            </p:nvSpPr>
            <p:spPr>
              <a:xfrm>
                <a:off x="773256" y="2061084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85" name="Groupe 384">
              <a:extLst>
                <a:ext uri="{FF2B5EF4-FFF2-40B4-BE49-F238E27FC236}">
                  <a16:creationId xmlns:a16="http://schemas.microsoft.com/office/drawing/2014/main" xmlns="" id="{121F2BE5-DF14-4D7A-A968-299D067CA413}"/>
                </a:ext>
              </a:extLst>
            </p:cNvPr>
            <p:cNvGrpSpPr/>
            <p:nvPr/>
          </p:nvGrpSpPr>
          <p:grpSpPr>
            <a:xfrm>
              <a:off x="804551" y="1527731"/>
              <a:ext cx="1044915" cy="696496"/>
              <a:chOff x="756926" y="1365806"/>
              <a:chExt cx="1044915" cy="696496"/>
            </a:xfrm>
          </p:grpSpPr>
          <p:sp>
            <p:nvSpPr>
              <p:cNvPr id="378" name="ZoneTexte 377">
                <a:extLst>
                  <a:ext uri="{FF2B5EF4-FFF2-40B4-BE49-F238E27FC236}">
                    <a16:creationId xmlns:a16="http://schemas.microsoft.com/office/drawing/2014/main" xmlns="" id="{0C013866-25FA-46C2-A6EE-933062763631}"/>
                  </a:ext>
                </a:extLst>
              </p:cNvPr>
              <p:cNvSpPr txBox="1"/>
              <p:nvPr/>
            </p:nvSpPr>
            <p:spPr>
              <a:xfrm>
                <a:off x="756926" y="1800692"/>
                <a:ext cx="104491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Belgium</a:t>
                </a:r>
                <a:endParaRPr lang="fr-FR" sz="1100" b="1" dirty="0"/>
              </a:p>
            </p:txBody>
          </p:sp>
          <p:sp>
            <p:nvSpPr>
              <p:cNvPr id="379" name="Rectangle : coins arrondis 378">
                <a:extLst>
                  <a:ext uri="{FF2B5EF4-FFF2-40B4-BE49-F238E27FC236}">
                    <a16:creationId xmlns:a16="http://schemas.microsoft.com/office/drawing/2014/main" xmlns="" id="{A30ED598-3CE0-464C-A349-7423649FD8AE}"/>
                  </a:ext>
                </a:extLst>
              </p:cNvPr>
              <p:cNvSpPr/>
              <p:nvPr/>
            </p:nvSpPr>
            <p:spPr>
              <a:xfrm>
                <a:off x="773256" y="1365806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92" name="Groupe 391">
              <a:extLst>
                <a:ext uri="{FF2B5EF4-FFF2-40B4-BE49-F238E27FC236}">
                  <a16:creationId xmlns:a16="http://schemas.microsoft.com/office/drawing/2014/main" xmlns="" id="{929E4FEE-3F28-425F-BC48-F648DB6937F4}"/>
                </a:ext>
              </a:extLst>
            </p:cNvPr>
            <p:cNvGrpSpPr/>
            <p:nvPr/>
          </p:nvGrpSpPr>
          <p:grpSpPr>
            <a:xfrm>
              <a:off x="7235867" y="2314324"/>
              <a:ext cx="1012254" cy="696496"/>
              <a:chOff x="6969167" y="2164427"/>
              <a:chExt cx="1012254" cy="696496"/>
            </a:xfrm>
          </p:grpSpPr>
          <p:sp>
            <p:nvSpPr>
              <p:cNvPr id="380" name="ZoneTexte 379">
                <a:extLst>
                  <a:ext uri="{FF2B5EF4-FFF2-40B4-BE49-F238E27FC236}">
                    <a16:creationId xmlns:a16="http://schemas.microsoft.com/office/drawing/2014/main" xmlns="" id="{FB3FF5FA-FB6F-4813-BA84-9ED0B3FE5883}"/>
                  </a:ext>
                </a:extLst>
              </p:cNvPr>
              <p:cNvSpPr txBox="1"/>
              <p:nvPr/>
            </p:nvSpPr>
            <p:spPr>
              <a:xfrm>
                <a:off x="7014707" y="2599313"/>
                <a:ext cx="92117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/>
                  <a:t>Germany</a:t>
                </a:r>
              </a:p>
            </p:txBody>
          </p:sp>
          <p:sp>
            <p:nvSpPr>
              <p:cNvPr id="381" name="Rectangle : coins arrondis 380">
                <a:extLst>
                  <a:ext uri="{FF2B5EF4-FFF2-40B4-BE49-F238E27FC236}">
                    <a16:creationId xmlns:a16="http://schemas.microsoft.com/office/drawing/2014/main" xmlns="" id="{ED3D33A2-B9CC-4AE1-9D80-75F0C707243D}"/>
                  </a:ext>
                </a:extLst>
              </p:cNvPr>
              <p:cNvSpPr/>
              <p:nvPr/>
            </p:nvSpPr>
            <p:spPr>
              <a:xfrm>
                <a:off x="6969167" y="2164427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86" name="Groupe 385">
              <a:extLst>
                <a:ext uri="{FF2B5EF4-FFF2-40B4-BE49-F238E27FC236}">
                  <a16:creationId xmlns:a16="http://schemas.microsoft.com/office/drawing/2014/main" xmlns="" id="{BFF40635-EA28-43CD-BFFA-DE16FCD0E2B2}"/>
                </a:ext>
              </a:extLst>
            </p:cNvPr>
            <p:cNvGrpSpPr/>
            <p:nvPr/>
          </p:nvGrpSpPr>
          <p:grpSpPr>
            <a:xfrm>
              <a:off x="7219537" y="1527731"/>
              <a:ext cx="1044915" cy="696496"/>
              <a:chOff x="756926" y="1365806"/>
              <a:chExt cx="1044915" cy="696496"/>
            </a:xfrm>
          </p:grpSpPr>
          <p:sp>
            <p:nvSpPr>
              <p:cNvPr id="387" name="ZoneTexte 386">
                <a:extLst>
                  <a:ext uri="{FF2B5EF4-FFF2-40B4-BE49-F238E27FC236}">
                    <a16:creationId xmlns:a16="http://schemas.microsoft.com/office/drawing/2014/main" xmlns="" id="{E17236A6-5429-4BE8-B4FE-126AEBE3FF25}"/>
                  </a:ext>
                </a:extLst>
              </p:cNvPr>
              <p:cNvSpPr txBox="1"/>
              <p:nvPr/>
            </p:nvSpPr>
            <p:spPr>
              <a:xfrm>
                <a:off x="756926" y="1800692"/>
                <a:ext cx="104491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Netherlands</a:t>
                </a:r>
                <a:endParaRPr lang="fr-FR" sz="1100" b="1" dirty="0"/>
              </a:p>
            </p:txBody>
          </p:sp>
          <p:sp>
            <p:nvSpPr>
              <p:cNvPr id="388" name="Rectangle : coins arrondis 387">
                <a:extLst>
                  <a:ext uri="{FF2B5EF4-FFF2-40B4-BE49-F238E27FC236}">
                    <a16:creationId xmlns:a16="http://schemas.microsoft.com/office/drawing/2014/main" xmlns="" id="{06F67082-B82E-4641-9044-B929F3BA9062}"/>
                  </a:ext>
                </a:extLst>
              </p:cNvPr>
              <p:cNvSpPr/>
              <p:nvPr/>
            </p:nvSpPr>
            <p:spPr>
              <a:xfrm>
                <a:off x="773256" y="1365806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91" name="Groupe 390">
              <a:extLst>
                <a:ext uri="{FF2B5EF4-FFF2-40B4-BE49-F238E27FC236}">
                  <a16:creationId xmlns:a16="http://schemas.microsoft.com/office/drawing/2014/main" xmlns="" id="{664650E4-D7BB-43A3-94F2-3BF10AA87CF2}"/>
                </a:ext>
              </a:extLst>
            </p:cNvPr>
            <p:cNvGrpSpPr/>
            <p:nvPr/>
          </p:nvGrpSpPr>
          <p:grpSpPr>
            <a:xfrm>
              <a:off x="7235867" y="3100917"/>
              <a:ext cx="1012254" cy="696496"/>
              <a:chOff x="6969167" y="2888630"/>
              <a:chExt cx="1012254" cy="696496"/>
            </a:xfrm>
          </p:grpSpPr>
          <p:sp>
            <p:nvSpPr>
              <p:cNvPr id="389" name="ZoneTexte 388">
                <a:extLst>
                  <a:ext uri="{FF2B5EF4-FFF2-40B4-BE49-F238E27FC236}">
                    <a16:creationId xmlns:a16="http://schemas.microsoft.com/office/drawing/2014/main" xmlns="" id="{6EE4F862-F5B1-4D17-A4CC-C1CA72E644AC}"/>
                  </a:ext>
                </a:extLst>
              </p:cNvPr>
              <p:cNvSpPr txBox="1"/>
              <p:nvPr/>
            </p:nvSpPr>
            <p:spPr>
              <a:xfrm>
                <a:off x="7014707" y="3323516"/>
                <a:ext cx="92117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Poland</a:t>
                </a:r>
                <a:endParaRPr lang="fr-FR" sz="1100" b="1" dirty="0"/>
              </a:p>
            </p:txBody>
          </p:sp>
          <p:sp>
            <p:nvSpPr>
              <p:cNvPr id="390" name="Rectangle : coins arrondis 389">
                <a:extLst>
                  <a:ext uri="{FF2B5EF4-FFF2-40B4-BE49-F238E27FC236}">
                    <a16:creationId xmlns:a16="http://schemas.microsoft.com/office/drawing/2014/main" xmlns="" id="{E19C81C9-5D22-4D6B-8565-250F0BE65B15}"/>
                  </a:ext>
                </a:extLst>
              </p:cNvPr>
              <p:cNvSpPr/>
              <p:nvPr/>
            </p:nvSpPr>
            <p:spPr>
              <a:xfrm>
                <a:off x="6969167" y="2888630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93" name="Groupe 392">
              <a:extLst>
                <a:ext uri="{FF2B5EF4-FFF2-40B4-BE49-F238E27FC236}">
                  <a16:creationId xmlns:a16="http://schemas.microsoft.com/office/drawing/2014/main" xmlns="" id="{E52A17D4-9E1B-4E89-92A1-16DD6986DCC2}"/>
                </a:ext>
              </a:extLst>
            </p:cNvPr>
            <p:cNvGrpSpPr/>
            <p:nvPr/>
          </p:nvGrpSpPr>
          <p:grpSpPr>
            <a:xfrm>
              <a:off x="6008206" y="1527731"/>
              <a:ext cx="1044915" cy="696496"/>
              <a:chOff x="756926" y="1365806"/>
              <a:chExt cx="1044915" cy="696496"/>
            </a:xfrm>
          </p:grpSpPr>
          <p:sp>
            <p:nvSpPr>
              <p:cNvPr id="394" name="ZoneTexte 393">
                <a:extLst>
                  <a:ext uri="{FF2B5EF4-FFF2-40B4-BE49-F238E27FC236}">
                    <a16:creationId xmlns:a16="http://schemas.microsoft.com/office/drawing/2014/main" xmlns="" id="{A1F310BE-0F11-479A-B83F-FB2C240BE6DC}"/>
                  </a:ext>
                </a:extLst>
              </p:cNvPr>
              <p:cNvSpPr txBox="1"/>
              <p:nvPr/>
            </p:nvSpPr>
            <p:spPr>
              <a:xfrm>
                <a:off x="756926" y="1800692"/>
                <a:ext cx="104491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Norway</a:t>
                </a:r>
                <a:endParaRPr lang="fr-FR" sz="1100" b="1" dirty="0"/>
              </a:p>
            </p:txBody>
          </p:sp>
          <p:sp>
            <p:nvSpPr>
              <p:cNvPr id="395" name="Rectangle : coins arrondis 394">
                <a:extLst>
                  <a:ext uri="{FF2B5EF4-FFF2-40B4-BE49-F238E27FC236}">
                    <a16:creationId xmlns:a16="http://schemas.microsoft.com/office/drawing/2014/main" xmlns="" id="{584B0AD9-6782-49FD-919D-474F9467E93F}"/>
                  </a:ext>
                </a:extLst>
              </p:cNvPr>
              <p:cNvSpPr/>
              <p:nvPr/>
            </p:nvSpPr>
            <p:spPr>
              <a:xfrm>
                <a:off x="773256" y="1365806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  <p:grpSp>
          <p:nvGrpSpPr>
            <p:cNvPr id="396" name="Groupe 395">
              <a:extLst>
                <a:ext uri="{FF2B5EF4-FFF2-40B4-BE49-F238E27FC236}">
                  <a16:creationId xmlns:a16="http://schemas.microsoft.com/office/drawing/2014/main" xmlns="" id="{BA9DFC49-E67C-4345-B859-4C00BE351055}"/>
                </a:ext>
              </a:extLst>
            </p:cNvPr>
            <p:cNvGrpSpPr/>
            <p:nvPr/>
          </p:nvGrpSpPr>
          <p:grpSpPr>
            <a:xfrm>
              <a:off x="7235867" y="3888184"/>
              <a:ext cx="1012254" cy="696496"/>
              <a:chOff x="6969167" y="2888630"/>
              <a:chExt cx="1012254" cy="696496"/>
            </a:xfrm>
          </p:grpSpPr>
          <p:sp>
            <p:nvSpPr>
              <p:cNvPr id="397" name="ZoneTexte 396">
                <a:extLst>
                  <a:ext uri="{FF2B5EF4-FFF2-40B4-BE49-F238E27FC236}">
                    <a16:creationId xmlns:a16="http://schemas.microsoft.com/office/drawing/2014/main" xmlns="" id="{69C453A2-9E6E-443B-ABBA-B409ECADBF6B}"/>
                  </a:ext>
                </a:extLst>
              </p:cNvPr>
              <p:cNvSpPr txBox="1"/>
              <p:nvPr/>
            </p:nvSpPr>
            <p:spPr>
              <a:xfrm>
                <a:off x="7014707" y="3323516"/>
                <a:ext cx="92117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err="1"/>
                  <a:t>Italy</a:t>
                </a:r>
                <a:endParaRPr lang="fr-FR" sz="1100" b="1" dirty="0"/>
              </a:p>
            </p:txBody>
          </p:sp>
          <p:sp>
            <p:nvSpPr>
              <p:cNvPr id="398" name="Rectangle : coins arrondis 397">
                <a:extLst>
                  <a:ext uri="{FF2B5EF4-FFF2-40B4-BE49-F238E27FC236}">
                    <a16:creationId xmlns:a16="http://schemas.microsoft.com/office/drawing/2014/main" xmlns="" id="{4C8CEC60-33CF-41FD-818B-0F91B28BBFEC}"/>
                  </a:ext>
                </a:extLst>
              </p:cNvPr>
              <p:cNvSpPr/>
              <p:nvPr/>
            </p:nvSpPr>
            <p:spPr>
              <a:xfrm>
                <a:off x="6969167" y="2888630"/>
                <a:ext cx="1012254" cy="436871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b="1" dirty="0"/>
                  <a:t>000</a:t>
                </a:r>
              </a:p>
            </p:txBody>
          </p:sp>
        </p:grpSp>
      </p:grpSp>
      <p:pic>
        <p:nvPicPr>
          <p:cNvPr id="401" name="Picture 400">
            <a:extLst>
              <a:ext uri="{FF2B5EF4-FFF2-40B4-BE49-F238E27FC236}">
                <a16:creationId xmlns:a16="http://schemas.microsoft.com/office/drawing/2014/main" xmlns="" id="{94D47DBD-B7EB-47BD-A44C-0850DA37C0C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47" y="2302426"/>
            <a:ext cx="299999" cy="299999"/>
          </a:xfrm>
          <a:prstGeom prst="rect">
            <a:avLst/>
          </a:prstGeom>
          <a:effectLst>
            <a:outerShdw blurRad="101600" dist="38100" dir="8100000" sx="106000" sy="106000" algn="tr" rotWithShape="0">
              <a:prstClr val="black">
                <a:alpha val="12000"/>
              </a:prstClr>
            </a:outerShdw>
          </a:effectLst>
        </p:spPr>
      </p:pic>
      <p:pic>
        <p:nvPicPr>
          <p:cNvPr id="403" name="Picture 402">
            <a:extLst>
              <a:ext uri="{FF2B5EF4-FFF2-40B4-BE49-F238E27FC236}">
                <a16:creationId xmlns:a16="http://schemas.microsoft.com/office/drawing/2014/main" xmlns="" id="{A87C1293-AC8D-421E-BECE-65725A80D92C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666" y="4659849"/>
            <a:ext cx="299999" cy="299999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405" name="Picture 404">
            <a:extLst>
              <a:ext uri="{FF2B5EF4-FFF2-40B4-BE49-F238E27FC236}">
                <a16:creationId xmlns:a16="http://schemas.microsoft.com/office/drawing/2014/main" xmlns="" id="{E0681DCD-CCF8-42D0-95D7-708F73FEA86F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1302" y="2302426"/>
            <a:ext cx="299999" cy="299999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407" name="Picture 406">
            <a:extLst>
              <a:ext uri="{FF2B5EF4-FFF2-40B4-BE49-F238E27FC236}">
                <a16:creationId xmlns:a16="http://schemas.microsoft.com/office/drawing/2014/main" xmlns="" id="{F8A9313C-D315-4F2E-A08F-7F3E8C9BFD7A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666" y="2295889"/>
            <a:ext cx="299999" cy="299999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409" name="Picture 408">
            <a:extLst>
              <a:ext uri="{FF2B5EF4-FFF2-40B4-BE49-F238E27FC236}">
                <a16:creationId xmlns:a16="http://schemas.microsoft.com/office/drawing/2014/main" xmlns="" id="{22FB6830-C20B-48FB-AA2A-A0CDE2215F2C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666" y="3875191"/>
            <a:ext cx="299999" cy="299999"/>
          </a:xfrm>
          <a:prstGeom prst="rect">
            <a:avLst/>
          </a:prstGeom>
          <a:effectLst>
            <a:outerShdw blurRad="88900" dist="38100" dir="27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413" name="Picture 412">
            <a:extLst>
              <a:ext uri="{FF2B5EF4-FFF2-40B4-BE49-F238E27FC236}">
                <a16:creationId xmlns:a16="http://schemas.microsoft.com/office/drawing/2014/main" xmlns="" id="{B56A72B0-D50D-40CB-BA8E-028A004C13AF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47" y="3090533"/>
            <a:ext cx="299999" cy="299999"/>
          </a:xfrm>
          <a:prstGeom prst="rect">
            <a:avLst/>
          </a:prstGeom>
          <a:effectLst>
            <a:outerShdw blurRad="101600" dist="38100" dir="8100000" sx="106000" sy="106000" algn="tr" rotWithShape="0">
              <a:prstClr val="black">
                <a:alpha val="12000"/>
              </a:prstClr>
            </a:outerShdw>
          </a:effectLst>
        </p:spPr>
      </p:pic>
      <p:pic>
        <p:nvPicPr>
          <p:cNvPr id="415" name="Picture 414">
            <a:extLst>
              <a:ext uri="{FF2B5EF4-FFF2-40B4-BE49-F238E27FC236}">
                <a16:creationId xmlns:a16="http://schemas.microsoft.com/office/drawing/2014/main" xmlns="" id="{8AA819AA-1A6C-4304-87C8-94483089F22B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47" y="3875191"/>
            <a:ext cx="299999" cy="299999"/>
          </a:xfrm>
          <a:prstGeom prst="rect">
            <a:avLst/>
          </a:prstGeom>
          <a:effectLst>
            <a:outerShdw blurRad="101600" dist="38100" dir="8100000" sx="106000" sy="106000" algn="tr" rotWithShape="0">
              <a:prstClr val="black">
                <a:alpha val="12000"/>
              </a:prstClr>
            </a:outerShdw>
          </a:effectLst>
        </p:spPr>
      </p:pic>
      <p:pic>
        <p:nvPicPr>
          <p:cNvPr id="419" name="Picture 418">
            <a:extLst>
              <a:ext uri="{FF2B5EF4-FFF2-40B4-BE49-F238E27FC236}">
                <a16:creationId xmlns:a16="http://schemas.microsoft.com/office/drawing/2014/main" xmlns="" id="{41008E2F-DED8-455C-9F82-3FAAC59CC968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48" y="4659850"/>
            <a:ext cx="299999" cy="299999"/>
          </a:xfrm>
          <a:prstGeom prst="rect">
            <a:avLst/>
          </a:prstGeom>
          <a:effectLst>
            <a:outerShdw blurRad="101600" dist="38100" dir="8100000" sx="106000" sy="106000" algn="tr" rotWithShape="0">
              <a:prstClr val="black">
                <a:alpha val="12000"/>
              </a:prstClr>
            </a:outerShdw>
          </a:effectLst>
        </p:spPr>
      </p:pic>
      <p:pic>
        <p:nvPicPr>
          <p:cNvPr id="423" name="Picture 422">
            <a:extLst>
              <a:ext uri="{FF2B5EF4-FFF2-40B4-BE49-F238E27FC236}">
                <a16:creationId xmlns:a16="http://schemas.microsoft.com/office/drawing/2014/main" xmlns="" id="{3F55FC15-A2B6-49A5-8F39-909B8F807F35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666" y="3090533"/>
            <a:ext cx="299999" cy="299999"/>
          </a:xfrm>
          <a:prstGeom prst="rect">
            <a:avLst/>
          </a:prstGeom>
          <a:effectLst>
            <a:outerShdw blurRad="101600" dist="38100" dir="8100000" sx="106000" sy="106000" algn="tr" rotWithShape="0">
              <a:prstClr val="black">
                <a:alpha val="12000"/>
              </a:prstClr>
            </a:outerShdw>
          </a:effectLst>
        </p:spPr>
      </p:pic>
      <p:sp>
        <p:nvSpPr>
          <p:cNvPr id="424" name="Forme libre : forme 423">
            <a:extLst>
              <a:ext uri="{FF2B5EF4-FFF2-40B4-BE49-F238E27FC236}">
                <a16:creationId xmlns:a16="http://schemas.microsoft.com/office/drawing/2014/main" xmlns="" id="{513EBC00-8780-4894-9AE4-72EBC9A4EBEA}"/>
              </a:ext>
            </a:extLst>
          </p:cNvPr>
          <p:cNvSpPr/>
          <p:nvPr/>
        </p:nvSpPr>
        <p:spPr>
          <a:xfrm>
            <a:off x="1943101" y="2590800"/>
            <a:ext cx="1762125" cy="1038226"/>
          </a:xfrm>
          <a:custGeom>
            <a:avLst/>
            <a:gdLst>
              <a:gd name="connsiteX0" fmla="*/ 0 w 1771650"/>
              <a:gd name="connsiteY0" fmla="*/ 0 h 1085850"/>
              <a:gd name="connsiteX1" fmla="*/ 1533525 w 1771650"/>
              <a:gd name="connsiteY1" fmla="*/ 0 h 1085850"/>
              <a:gd name="connsiteX2" fmla="*/ 1771650 w 1771650"/>
              <a:gd name="connsiteY2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71650" h="1085850">
                <a:moveTo>
                  <a:pt x="0" y="0"/>
                </a:moveTo>
                <a:lnTo>
                  <a:pt x="1533525" y="0"/>
                </a:lnTo>
                <a:lnTo>
                  <a:pt x="1771650" y="1085850"/>
                </a:lnTo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26" name="Connecteur droit 425">
            <a:extLst>
              <a:ext uri="{FF2B5EF4-FFF2-40B4-BE49-F238E27FC236}">
                <a16:creationId xmlns:a16="http://schemas.microsoft.com/office/drawing/2014/main" xmlns="" id="{81941B1B-CD90-40A0-A49E-989738D7816C}"/>
              </a:ext>
            </a:extLst>
          </p:cNvPr>
          <p:cNvCxnSpPr>
            <a:cxnSpLocks/>
          </p:cNvCxnSpPr>
          <p:nvPr/>
        </p:nvCxnSpPr>
        <p:spPr>
          <a:xfrm>
            <a:off x="1943100" y="3390900"/>
            <a:ext cx="1310640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5" name="Connecteur droit 434">
            <a:extLst>
              <a:ext uri="{FF2B5EF4-FFF2-40B4-BE49-F238E27FC236}">
                <a16:creationId xmlns:a16="http://schemas.microsoft.com/office/drawing/2014/main" xmlns="" id="{6682F120-AC57-4766-854E-92365A0BCB4C}"/>
              </a:ext>
            </a:extLst>
          </p:cNvPr>
          <p:cNvCxnSpPr>
            <a:cxnSpLocks/>
          </p:cNvCxnSpPr>
          <p:nvPr/>
        </p:nvCxnSpPr>
        <p:spPr>
          <a:xfrm>
            <a:off x="1943100" y="4183289"/>
            <a:ext cx="1257300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3" name="Connecteur droit 442">
            <a:extLst>
              <a:ext uri="{FF2B5EF4-FFF2-40B4-BE49-F238E27FC236}">
                <a16:creationId xmlns:a16="http://schemas.microsoft.com/office/drawing/2014/main" xmlns="" id="{D8487234-C848-495D-97F3-4386B2B6149C}"/>
              </a:ext>
            </a:extLst>
          </p:cNvPr>
          <p:cNvCxnSpPr>
            <a:cxnSpLocks/>
          </p:cNvCxnSpPr>
          <p:nvPr/>
        </p:nvCxnSpPr>
        <p:spPr>
          <a:xfrm>
            <a:off x="1943100" y="4976201"/>
            <a:ext cx="624840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5" name="Connecteur droit 444">
            <a:extLst>
              <a:ext uri="{FF2B5EF4-FFF2-40B4-BE49-F238E27FC236}">
                <a16:creationId xmlns:a16="http://schemas.microsoft.com/office/drawing/2014/main" xmlns="" id="{CEA8B960-C29E-4A9F-88DE-C0F00F57F9ED}"/>
              </a:ext>
            </a:extLst>
          </p:cNvPr>
          <p:cNvCxnSpPr>
            <a:cxnSpLocks/>
          </p:cNvCxnSpPr>
          <p:nvPr/>
        </p:nvCxnSpPr>
        <p:spPr>
          <a:xfrm flipH="1">
            <a:off x="4442460" y="2675673"/>
            <a:ext cx="1519446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9" name="Forme libre : forme 448">
            <a:extLst>
              <a:ext uri="{FF2B5EF4-FFF2-40B4-BE49-F238E27FC236}">
                <a16:creationId xmlns:a16="http://schemas.microsoft.com/office/drawing/2014/main" xmlns="" id="{355B0EB5-837A-4DF9-803F-B1C194B1A3FF}"/>
              </a:ext>
            </a:extLst>
          </p:cNvPr>
          <p:cNvSpPr/>
          <p:nvPr/>
        </p:nvSpPr>
        <p:spPr>
          <a:xfrm>
            <a:off x="3931920" y="2800351"/>
            <a:ext cx="3314700" cy="664683"/>
          </a:xfrm>
          <a:custGeom>
            <a:avLst/>
            <a:gdLst>
              <a:gd name="connsiteX0" fmla="*/ 3314700 w 3314700"/>
              <a:gd name="connsiteY0" fmla="*/ 0 h 685800"/>
              <a:gd name="connsiteX1" fmla="*/ 2918460 w 3314700"/>
              <a:gd name="connsiteY1" fmla="*/ 396240 h 685800"/>
              <a:gd name="connsiteX2" fmla="*/ 152400 w 3314700"/>
              <a:gd name="connsiteY2" fmla="*/ 396240 h 685800"/>
              <a:gd name="connsiteX3" fmla="*/ 0 w 3314700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4700" h="685800">
                <a:moveTo>
                  <a:pt x="3314700" y="0"/>
                </a:moveTo>
                <a:lnTo>
                  <a:pt x="2918460" y="396240"/>
                </a:lnTo>
                <a:lnTo>
                  <a:pt x="152400" y="396240"/>
                </a:lnTo>
                <a:lnTo>
                  <a:pt x="0" y="685800"/>
                </a:lnTo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4" name="Forme libre : forme 453">
            <a:extLst>
              <a:ext uri="{FF2B5EF4-FFF2-40B4-BE49-F238E27FC236}">
                <a16:creationId xmlns:a16="http://schemas.microsoft.com/office/drawing/2014/main" xmlns="" id="{3A857B3C-987B-42A5-B68F-3BF4DBB2867B}"/>
              </a:ext>
            </a:extLst>
          </p:cNvPr>
          <p:cNvSpPr/>
          <p:nvPr/>
        </p:nvSpPr>
        <p:spPr>
          <a:xfrm flipH="1">
            <a:off x="4298864" y="3359150"/>
            <a:ext cx="2838536" cy="69850"/>
          </a:xfrm>
          <a:custGeom>
            <a:avLst/>
            <a:gdLst>
              <a:gd name="connsiteX0" fmla="*/ 0 w 1771650"/>
              <a:gd name="connsiteY0" fmla="*/ 0 h 1085850"/>
              <a:gd name="connsiteX1" fmla="*/ 1533525 w 1771650"/>
              <a:gd name="connsiteY1" fmla="*/ 0 h 1085850"/>
              <a:gd name="connsiteX2" fmla="*/ 1771650 w 1771650"/>
              <a:gd name="connsiteY2" fmla="*/ 1085850 h 1085850"/>
              <a:gd name="connsiteX0" fmla="*/ 0 w 1771650"/>
              <a:gd name="connsiteY0" fmla="*/ 0 h 1085850"/>
              <a:gd name="connsiteX1" fmla="*/ 1678185 w 1771650"/>
              <a:gd name="connsiteY1" fmla="*/ 0 h 1085850"/>
              <a:gd name="connsiteX2" fmla="*/ 1771650 w 1771650"/>
              <a:gd name="connsiteY2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71650" h="1085850">
                <a:moveTo>
                  <a:pt x="0" y="0"/>
                </a:moveTo>
                <a:lnTo>
                  <a:pt x="1678185" y="0"/>
                </a:lnTo>
                <a:lnTo>
                  <a:pt x="1771650" y="1085850"/>
                </a:lnTo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5" name="Forme libre : forme 454">
            <a:extLst>
              <a:ext uri="{FF2B5EF4-FFF2-40B4-BE49-F238E27FC236}">
                <a16:creationId xmlns:a16="http://schemas.microsoft.com/office/drawing/2014/main" xmlns="" id="{5790F631-21B2-430C-9674-B1B7D65C6A10}"/>
              </a:ext>
            </a:extLst>
          </p:cNvPr>
          <p:cNvSpPr/>
          <p:nvPr/>
        </p:nvSpPr>
        <p:spPr>
          <a:xfrm flipH="1" flipV="1">
            <a:off x="5095569" y="3955904"/>
            <a:ext cx="2078250" cy="247221"/>
          </a:xfrm>
          <a:custGeom>
            <a:avLst/>
            <a:gdLst>
              <a:gd name="connsiteX0" fmla="*/ 0 w 1771650"/>
              <a:gd name="connsiteY0" fmla="*/ 0 h 1085850"/>
              <a:gd name="connsiteX1" fmla="*/ 1533525 w 1771650"/>
              <a:gd name="connsiteY1" fmla="*/ 0 h 1085850"/>
              <a:gd name="connsiteX2" fmla="*/ 1771650 w 1771650"/>
              <a:gd name="connsiteY2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71650" h="1085850">
                <a:moveTo>
                  <a:pt x="0" y="0"/>
                </a:moveTo>
                <a:lnTo>
                  <a:pt x="1533525" y="0"/>
                </a:lnTo>
                <a:lnTo>
                  <a:pt x="1771650" y="1085850"/>
                </a:lnTo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6" name="Forme libre : forme 455">
            <a:extLst>
              <a:ext uri="{FF2B5EF4-FFF2-40B4-BE49-F238E27FC236}">
                <a16:creationId xmlns:a16="http://schemas.microsoft.com/office/drawing/2014/main" xmlns="" id="{DEC7000A-C2B8-44E1-9736-D81F5D0ABA10}"/>
              </a:ext>
            </a:extLst>
          </p:cNvPr>
          <p:cNvSpPr/>
          <p:nvPr/>
        </p:nvSpPr>
        <p:spPr>
          <a:xfrm flipH="1" flipV="1">
            <a:off x="4640885" y="4731077"/>
            <a:ext cx="2532935" cy="247221"/>
          </a:xfrm>
          <a:custGeom>
            <a:avLst/>
            <a:gdLst>
              <a:gd name="connsiteX0" fmla="*/ 0 w 1771650"/>
              <a:gd name="connsiteY0" fmla="*/ 0 h 1085850"/>
              <a:gd name="connsiteX1" fmla="*/ 1533525 w 1771650"/>
              <a:gd name="connsiteY1" fmla="*/ 0 h 1085850"/>
              <a:gd name="connsiteX2" fmla="*/ 1771650 w 1771650"/>
              <a:gd name="connsiteY2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71650" h="1085850">
                <a:moveTo>
                  <a:pt x="0" y="0"/>
                </a:moveTo>
                <a:lnTo>
                  <a:pt x="1533525" y="0"/>
                </a:lnTo>
                <a:lnTo>
                  <a:pt x="1771650" y="1085850"/>
                </a:lnTo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859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xmlns="" id="{E3660D18-763F-41A2-87C7-71732068C6ED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8" r="5628"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3636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BD8F6872-F376-476F-AA0B-5DDBBE634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all" dirty="0"/>
              <a:t>World MAP</a:t>
            </a:r>
            <a:endParaRPr lang="fr-BE" cap="all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xmlns="" id="{79E95D64-085C-48A8-AA5F-5693CC72EA1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 noProof="0"/>
              <a:t>02/02/2018</a:t>
            </a:r>
            <a:endParaRPr lang="en-US" noProof="0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xmlns="" id="{19829CB5-CFF2-4DA8-A087-F5E53105E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noProof="0"/>
              <a:t>GEM Week - How GEM drives energy transition for its clients?</a:t>
            </a:r>
            <a:endParaRPr lang="en-US" noProof="0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xmlns="" id="{6BA7278A-D9DA-48F5-A7D4-46F22D656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US" noProof="0" smtClean="0"/>
              <a:pPr/>
              <a:t>30</a:t>
            </a:fld>
            <a:endParaRPr lang="en-US" noProof="0" dirty="0"/>
          </a:p>
        </p:txBody>
      </p:sp>
      <p:grpSp>
        <p:nvGrpSpPr>
          <p:cNvPr id="181" name="Groupe 180">
            <a:extLst>
              <a:ext uri="{FF2B5EF4-FFF2-40B4-BE49-F238E27FC236}">
                <a16:creationId xmlns:a16="http://schemas.microsoft.com/office/drawing/2014/main" xmlns="" id="{EDE854D4-D4DD-4349-BD43-294E5B1640DB}"/>
              </a:ext>
            </a:extLst>
          </p:cNvPr>
          <p:cNvGrpSpPr/>
          <p:nvPr/>
        </p:nvGrpSpPr>
        <p:grpSpPr>
          <a:xfrm>
            <a:off x="759529" y="1602153"/>
            <a:ext cx="7624942" cy="4530498"/>
            <a:chOff x="1763688" y="1295160"/>
            <a:chExt cx="5538117" cy="3290573"/>
          </a:xfrm>
        </p:grpSpPr>
        <p:grpSp>
          <p:nvGrpSpPr>
            <p:cNvPr id="182" name="Group 4">
              <a:extLst>
                <a:ext uri="{FF2B5EF4-FFF2-40B4-BE49-F238E27FC236}">
                  <a16:creationId xmlns:a16="http://schemas.microsoft.com/office/drawing/2014/main" xmlns="" id="{881A112C-0A1C-4EF5-BF7A-8AC9D1788C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63688" y="1295160"/>
              <a:ext cx="5538117" cy="3290573"/>
              <a:chOff x="154" y="0"/>
              <a:chExt cx="5453" cy="3240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192" name="Group 205">
                <a:extLst>
                  <a:ext uri="{FF2B5EF4-FFF2-40B4-BE49-F238E27FC236}">
                    <a16:creationId xmlns:a16="http://schemas.microsoft.com/office/drawing/2014/main" xmlns="" id="{CC582F82-082F-4DA3-BC46-081A1DD9122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15" y="57"/>
                <a:ext cx="2792" cy="2355"/>
                <a:chOff x="2815" y="57"/>
                <a:chExt cx="2792" cy="2355"/>
              </a:xfrm>
              <a:grpFill/>
            </p:grpSpPr>
            <p:sp>
              <p:nvSpPr>
                <p:cNvPr id="516" name="Freeform 5">
                  <a:extLst>
                    <a:ext uri="{FF2B5EF4-FFF2-40B4-BE49-F238E27FC236}">
                      <a16:creationId xmlns:a16="http://schemas.microsoft.com/office/drawing/2014/main" xmlns="" id="{36CF0469-044C-4ABF-80BF-B8D74EA12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2266"/>
                  <a:ext cx="4" cy="7"/>
                </a:xfrm>
                <a:custGeom>
                  <a:avLst/>
                  <a:gdLst>
                    <a:gd name="T0" fmla="*/ 0 w 4"/>
                    <a:gd name="T1" fmla="*/ 7 h 7"/>
                    <a:gd name="T2" fmla="*/ 0 w 4"/>
                    <a:gd name="T3" fmla="*/ 4 h 7"/>
                    <a:gd name="T4" fmla="*/ 0 w 4"/>
                    <a:gd name="T5" fmla="*/ 0 h 7"/>
                    <a:gd name="T6" fmla="*/ 1 w 4"/>
                    <a:gd name="T7" fmla="*/ 0 h 7"/>
                    <a:gd name="T8" fmla="*/ 4 w 4"/>
                    <a:gd name="T9" fmla="*/ 2 h 7"/>
                    <a:gd name="T10" fmla="*/ 1 w 4"/>
                    <a:gd name="T11" fmla="*/ 7 h 7"/>
                    <a:gd name="T12" fmla="*/ 0 w 4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1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7" name="Freeform 6">
                  <a:extLst>
                    <a:ext uri="{FF2B5EF4-FFF2-40B4-BE49-F238E27FC236}">
                      <a16:creationId xmlns:a16="http://schemas.microsoft.com/office/drawing/2014/main" xmlns="" id="{5F868C10-CDEE-4F43-AE98-B04B033BBB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39" y="2243"/>
                  <a:ext cx="24" cy="18"/>
                </a:xfrm>
                <a:custGeom>
                  <a:avLst/>
                  <a:gdLst>
                    <a:gd name="T0" fmla="*/ 4 w 24"/>
                    <a:gd name="T1" fmla="*/ 10 h 18"/>
                    <a:gd name="T2" fmla="*/ 6 w 24"/>
                    <a:gd name="T3" fmla="*/ 9 h 18"/>
                    <a:gd name="T4" fmla="*/ 4 w 24"/>
                    <a:gd name="T5" fmla="*/ 5 h 18"/>
                    <a:gd name="T6" fmla="*/ 6 w 24"/>
                    <a:gd name="T7" fmla="*/ 4 h 18"/>
                    <a:gd name="T8" fmla="*/ 4 w 24"/>
                    <a:gd name="T9" fmla="*/ 0 h 18"/>
                    <a:gd name="T10" fmla="*/ 3 w 24"/>
                    <a:gd name="T11" fmla="*/ 0 h 18"/>
                    <a:gd name="T12" fmla="*/ 0 w 24"/>
                    <a:gd name="T13" fmla="*/ 4 h 18"/>
                    <a:gd name="T14" fmla="*/ 1 w 24"/>
                    <a:gd name="T15" fmla="*/ 7 h 18"/>
                    <a:gd name="T16" fmla="*/ 1 w 24"/>
                    <a:gd name="T17" fmla="*/ 10 h 18"/>
                    <a:gd name="T18" fmla="*/ 3 w 24"/>
                    <a:gd name="T19" fmla="*/ 10 h 18"/>
                    <a:gd name="T20" fmla="*/ 4 w 24"/>
                    <a:gd name="T21" fmla="*/ 10 h 18"/>
                    <a:gd name="T22" fmla="*/ 4 w 24"/>
                    <a:gd name="T23" fmla="*/ 10 h 18"/>
                    <a:gd name="T24" fmla="*/ 6 w 24"/>
                    <a:gd name="T25" fmla="*/ 17 h 18"/>
                    <a:gd name="T26" fmla="*/ 8 w 24"/>
                    <a:gd name="T27" fmla="*/ 17 h 18"/>
                    <a:gd name="T28" fmla="*/ 9 w 24"/>
                    <a:gd name="T29" fmla="*/ 18 h 18"/>
                    <a:gd name="T30" fmla="*/ 6 w 24"/>
                    <a:gd name="T31" fmla="*/ 18 h 18"/>
                    <a:gd name="T32" fmla="*/ 6 w 24"/>
                    <a:gd name="T33" fmla="*/ 18 h 18"/>
                    <a:gd name="T34" fmla="*/ 6 w 24"/>
                    <a:gd name="T35" fmla="*/ 17 h 18"/>
                    <a:gd name="T36" fmla="*/ 6 w 24"/>
                    <a:gd name="T37" fmla="*/ 17 h 18"/>
                    <a:gd name="T38" fmla="*/ 22 w 24"/>
                    <a:gd name="T39" fmla="*/ 18 h 18"/>
                    <a:gd name="T40" fmla="*/ 24 w 24"/>
                    <a:gd name="T41" fmla="*/ 17 h 18"/>
                    <a:gd name="T42" fmla="*/ 22 w 24"/>
                    <a:gd name="T43" fmla="*/ 13 h 18"/>
                    <a:gd name="T44" fmla="*/ 21 w 24"/>
                    <a:gd name="T45" fmla="*/ 15 h 18"/>
                    <a:gd name="T46" fmla="*/ 19 w 24"/>
                    <a:gd name="T47" fmla="*/ 15 h 18"/>
                    <a:gd name="T48" fmla="*/ 21 w 24"/>
                    <a:gd name="T49" fmla="*/ 17 h 18"/>
                    <a:gd name="T50" fmla="*/ 22 w 24"/>
                    <a:gd name="T51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4" h="18">
                      <a:moveTo>
                        <a:pt x="4" y="10"/>
                      </a:moveTo>
                      <a:lnTo>
                        <a:pt x="6" y="9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close/>
                      <a:moveTo>
                        <a:pt x="6" y="17"/>
                      </a:moveTo>
                      <a:lnTo>
                        <a:pt x="8" y="17"/>
                      </a:lnTo>
                      <a:lnTo>
                        <a:pt x="9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7"/>
                      </a:lnTo>
                      <a:lnTo>
                        <a:pt x="6" y="17"/>
                      </a:lnTo>
                      <a:close/>
                      <a:moveTo>
                        <a:pt x="22" y="18"/>
                      </a:moveTo>
                      <a:lnTo>
                        <a:pt x="24" y="17"/>
                      </a:lnTo>
                      <a:lnTo>
                        <a:pt x="22" y="13"/>
                      </a:lnTo>
                      <a:lnTo>
                        <a:pt x="21" y="15"/>
                      </a:lnTo>
                      <a:lnTo>
                        <a:pt x="19" y="15"/>
                      </a:lnTo>
                      <a:lnTo>
                        <a:pt x="21" y="17"/>
                      </a:lnTo>
                      <a:lnTo>
                        <a:pt x="22" y="1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8" name="Freeform 7">
                  <a:extLst>
                    <a:ext uri="{FF2B5EF4-FFF2-40B4-BE49-F238E27FC236}">
                      <a16:creationId xmlns:a16="http://schemas.microsoft.com/office/drawing/2014/main" xmlns="" id="{95FEB414-C0B0-4578-A4FB-8B4897802A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91" y="2136"/>
                  <a:ext cx="150" cy="83"/>
                </a:xfrm>
                <a:custGeom>
                  <a:avLst/>
                  <a:gdLst>
                    <a:gd name="T0" fmla="*/ 147 w 150"/>
                    <a:gd name="T1" fmla="*/ 3 h 83"/>
                    <a:gd name="T2" fmla="*/ 150 w 150"/>
                    <a:gd name="T3" fmla="*/ 3 h 83"/>
                    <a:gd name="T4" fmla="*/ 150 w 150"/>
                    <a:gd name="T5" fmla="*/ 0 h 83"/>
                    <a:gd name="T6" fmla="*/ 147 w 150"/>
                    <a:gd name="T7" fmla="*/ 0 h 83"/>
                    <a:gd name="T8" fmla="*/ 145 w 150"/>
                    <a:gd name="T9" fmla="*/ 1 h 83"/>
                    <a:gd name="T10" fmla="*/ 147 w 150"/>
                    <a:gd name="T11" fmla="*/ 3 h 83"/>
                    <a:gd name="T12" fmla="*/ 147 w 150"/>
                    <a:gd name="T13" fmla="*/ 3 h 83"/>
                    <a:gd name="T14" fmla="*/ 3 w 150"/>
                    <a:gd name="T15" fmla="*/ 81 h 83"/>
                    <a:gd name="T16" fmla="*/ 5 w 150"/>
                    <a:gd name="T17" fmla="*/ 81 h 83"/>
                    <a:gd name="T18" fmla="*/ 5 w 150"/>
                    <a:gd name="T19" fmla="*/ 83 h 83"/>
                    <a:gd name="T20" fmla="*/ 3 w 150"/>
                    <a:gd name="T21" fmla="*/ 81 h 83"/>
                    <a:gd name="T22" fmla="*/ 3 w 150"/>
                    <a:gd name="T23" fmla="*/ 81 h 83"/>
                    <a:gd name="T24" fmla="*/ 0 w 150"/>
                    <a:gd name="T25" fmla="*/ 76 h 83"/>
                    <a:gd name="T26" fmla="*/ 1 w 150"/>
                    <a:gd name="T27" fmla="*/ 75 h 83"/>
                    <a:gd name="T28" fmla="*/ 3 w 150"/>
                    <a:gd name="T29" fmla="*/ 75 h 83"/>
                    <a:gd name="T30" fmla="*/ 5 w 150"/>
                    <a:gd name="T31" fmla="*/ 75 h 83"/>
                    <a:gd name="T32" fmla="*/ 5 w 150"/>
                    <a:gd name="T33" fmla="*/ 76 h 83"/>
                    <a:gd name="T34" fmla="*/ 1 w 150"/>
                    <a:gd name="T35" fmla="*/ 76 h 83"/>
                    <a:gd name="T36" fmla="*/ 0 w 150"/>
                    <a:gd name="T37" fmla="*/ 76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0" h="83">
                      <a:moveTo>
                        <a:pt x="147" y="3"/>
                      </a:moveTo>
                      <a:lnTo>
                        <a:pt x="150" y="3"/>
                      </a:lnTo>
                      <a:lnTo>
                        <a:pt x="150" y="0"/>
                      </a:lnTo>
                      <a:lnTo>
                        <a:pt x="147" y="0"/>
                      </a:lnTo>
                      <a:lnTo>
                        <a:pt x="145" y="1"/>
                      </a:lnTo>
                      <a:lnTo>
                        <a:pt x="147" y="3"/>
                      </a:lnTo>
                      <a:lnTo>
                        <a:pt x="147" y="3"/>
                      </a:lnTo>
                      <a:close/>
                      <a:moveTo>
                        <a:pt x="3" y="81"/>
                      </a:moveTo>
                      <a:lnTo>
                        <a:pt x="5" y="81"/>
                      </a:lnTo>
                      <a:lnTo>
                        <a:pt x="5" y="83"/>
                      </a:lnTo>
                      <a:lnTo>
                        <a:pt x="3" y="81"/>
                      </a:lnTo>
                      <a:lnTo>
                        <a:pt x="3" y="81"/>
                      </a:lnTo>
                      <a:close/>
                      <a:moveTo>
                        <a:pt x="0" y="76"/>
                      </a:moveTo>
                      <a:lnTo>
                        <a:pt x="1" y="75"/>
                      </a:lnTo>
                      <a:lnTo>
                        <a:pt x="3" y="75"/>
                      </a:lnTo>
                      <a:lnTo>
                        <a:pt x="5" y="75"/>
                      </a:lnTo>
                      <a:lnTo>
                        <a:pt x="5" y="76"/>
                      </a:lnTo>
                      <a:lnTo>
                        <a:pt x="1" y="76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9" name="Freeform 8">
                  <a:extLst>
                    <a:ext uri="{FF2B5EF4-FFF2-40B4-BE49-F238E27FC236}">
                      <a16:creationId xmlns:a16="http://schemas.microsoft.com/office/drawing/2014/main" xmlns="" id="{3EE56607-D3D9-4C3A-AA19-BC0542DEB7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19" y="1832"/>
                  <a:ext cx="34" cy="117"/>
                </a:xfrm>
                <a:custGeom>
                  <a:avLst/>
                  <a:gdLst>
                    <a:gd name="T0" fmla="*/ 8 w 21"/>
                    <a:gd name="T1" fmla="*/ 11 h 72"/>
                    <a:gd name="T2" fmla="*/ 7 w 21"/>
                    <a:gd name="T3" fmla="*/ 8 h 72"/>
                    <a:gd name="T4" fmla="*/ 9 w 21"/>
                    <a:gd name="T5" fmla="*/ 3 h 72"/>
                    <a:gd name="T6" fmla="*/ 9 w 21"/>
                    <a:gd name="T7" fmla="*/ 1 h 72"/>
                    <a:gd name="T8" fmla="*/ 6 w 21"/>
                    <a:gd name="T9" fmla="*/ 2 h 72"/>
                    <a:gd name="T10" fmla="*/ 6 w 21"/>
                    <a:gd name="T11" fmla="*/ 7 h 72"/>
                    <a:gd name="T12" fmla="*/ 5 w 21"/>
                    <a:gd name="T13" fmla="*/ 12 h 72"/>
                    <a:gd name="T14" fmla="*/ 5 w 21"/>
                    <a:gd name="T15" fmla="*/ 25 h 72"/>
                    <a:gd name="T16" fmla="*/ 6 w 21"/>
                    <a:gd name="T17" fmla="*/ 20 h 72"/>
                    <a:gd name="T18" fmla="*/ 6 w 21"/>
                    <a:gd name="T19" fmla="*/ 16 h 72"/>
                    <a:gd name="T20" fmla="*/ 7 w 21"/>
                    <a:gd name="T21" fmla="*/ 14 h 72"/>
                    <a:gd name="T22" fmla="*/ 5 w 21"/>
                    <a:gd name="T23" fmla="*/ 18 h 72"/>
                    <a:gd name="T24" fmla="*/ 5 w 21"/>
                    <a:gd name="T25" fmla="*/ 22 h 72"/>
                    <a:gd name="T26" fmla="*/ 5 w 21"/>
                    <a:gd name="T27" fmla="*/ 25 h 72"/>
                    <a:gd name="T28" fmla="*/ 2 w 21"/>
                    <a:gd name="T29" fmla="*/ 23 h 72"/>
                    <a:gd name="T30" fmla="*/ 0 w 21"/>
                    <a:gd name="T31" fmla="*/ 23 h 72"/>
                    <a:gd name="T32" fmla="*/ 5 w 21"/>
                    <a:gd name="T33" fmla="*/ 34 h 72"/>
                    <a:gd name="T34" fmla="*/ 6 w 21"/>
                    <a:gd name="T35" fmla="*/ 29 h 72"/>
                    <a:gd name="T36" fmla="*/ 3 w 21"/>
                    <a:gd name="T37" fmla="*/ 32 h 72"/>
                    <a:gd name="T38" fmla="*/ 9 w 21"/>
                    <a:gd name="T39" fmla="*/ 46 h 72"/>
                    <a:gd name="T40" fmla="*/ 8 w 21"/>
                    <a:gd name="T41" fmla="*/ 47 h 72"/>
                    <a:gd name="T42" fmla="*/ 11 w 21"/>
                    <a:gd name="T43" fmla="*/ 54 h 72"/>
                    <a:gd name="T44" fmla="*/ 14 w 21"/>
                    <a:gd name="T45" fmla="*/ 57 h 72"/>
                    <a:gd name="T46" fmla="*/ 11 w 21"/>
                    <a:gd name="T47" fmla="*/ 54 h 72"/>
                    <a:gd name="T48" fmla="*/ 16 w 21"/>
                    <a:gd name="T49" fmla="*/ 57 h 72"/>
                    <a:gd name="T50" fmla="*/ 17 w 21"/>
                    <a:gd name="T51" fmla="*/ 57 h 72"/>
                    <a:gd name="T52" fmla="*/ 17 w 21"/>
                    <a:gd name="T53" fmla="*/ 55 h 72"/>
                    <a:gd name="T54" fmla="*/ 15 w 21"/>
                    <a:gd name="T55" fmla="*/ 61 h 72"/>
                    <a:gd name="T56" fmla="*/ 15 w 21"/>
                    <a:gd name="T57" fmla="*/ 58 h 72"/>
                    <a:gd name="T58" fmla="*/ 14 w 21"/>
                    <a:gd name="T59" fmla="*/ 60 h 72"/>
                    <a:gd name="T60" fmla="*/ 19 w 21"/>
                    <a:gd name="T61" fmla="*/ 63 h 72"/>
                    <a:gd name="T62" fmla="*/ 17 w 21"/>
                    <a:gd name="T63" fmla="*/ 65 h 72"/>
                    <a:gd name="T64" fmla="*/ 19 w 21"/>
                    <a:gd name="T65" fmla="*/ 66 h 72"/>
                    <a:gd name="T66" fmla="*/ 18 w 21"/>
                    <a:gd name="T67" fmla="*/ 69 h 72"/>
                    <a:gd name="T68" fmla="*/ 20 w 21"/>
                    <a:gd name="T69" fmla="*/ 72 h 72"/>
                    <a:gd name="T70" fmla="*/ 20 w 21"/>
                    <a:gd name="T71" fmla="*/ 69 h 72"/>
                    <a:gd name="T72" fmla="*/ 19 w 21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1" h="72">
                      <a:moveTo>
                        <a:pt x="6" y="13"/>
                      </a:move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6" y="13"/>
                        <a:pt x="6" y="13"/>
                        <a:pt x="6" y="13"/>
                      </a:cubicBezTo>
                      <a:close/>
                      <a:moveTo>
                        <a:pt x="5" y="25"/>
                      </a:move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7" y="14"/>
                        <a:pt x="7" y="14"/>
                        <a:pt x="7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5" y="22"/>
                        <a:pt x="5" y="22"/>
                        <a:pt x="5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5" y="25"/>
                        <a:pt x="5" y="25"/>
                        <a:pt x="5" y="25"/>
                      </a:cubicBezTo>
                      <a:close/>
                      <a:moveTo>
                        <a:pt x="0" y="23"/>
                      </a:move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3"/>
                        <a:pt x="0" y="23"/>
                        <a:pt x="0" y="23"/>
                      </a:cubicBezTo>
                      <a:close/>
                      <a:moveTo>
                        <a:pt x="3" y="34"/>
                      </a:move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6" y="29"/>
                        <a:pt x="6" y="29"/>
                        <a:pt x="6" y="29"/>
                      </a:cubicBezTo>
                      <a:cubicBezTo>
                        <a:pt x="4" y="30"/>
                        <a:pt x="4" y="30"/>
                        <a:pt x="4" y="30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3" y="32"/>
                        <a:pt x="3" y="34"/>
                        <a:pt x="3" y="34"/>
                      </a:cubicBezTo>
                      <a:close/>
                      <a:moveTo>
                        <a:pt x="9" y="46"/>
                      </a:moveTo>
                      <a:cubicBezTo>
                        <a:pt x="7" y="46"/>
                        <a:pt x="7" y="46"/>
                        <a:pt x="7" y="46"/>
                      </a:cubicBezTo>
                      <a:cubicBezTo>
                        <a:pt x="8" y="47"/>
                        <a:pt x="8" y="47"/>
                        <a:pt x="8" y="47"/>
                      </a:cubicBezTo>
                      <a:cubicBezTo>
                        <a:pt x="9" y="46"/>
                        <a:pt x="9" y="46"/>
                        <a:pt x="9" y="46"/>
                      </a:cubicBezTo>
                      <a:close/>
                      <a:moveTo>
                        <a:pt x="11" y="54"/>
                      </a:move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5"/>
                        <a:pt x="11" y="54"/>
                        <a:pt x="11" y="54"/>
                      </a:cubicBezTo>
                      <a:close/>
                      <a:moveTo>
                        <a:pt x="17" y="55"/>
                      </a:moveTo>
                      <a:cubicBezTo>
                        <a:pt x="16" y="57"/>
                        <a:pt x="16" y="57"/>
                        <a:pt x="16" y="57"/>
                      </a:cubicBezTo>
                      <a:cubicBezTo>
                        <a:pt x="17" y="58"/>
                        <a:pt x="17" y="58"/>
                        <a:pt x="17" y="58"/>
                      </a:cubicBezTo>
                      <a:cubicBezTo>
                        <a:pt x="17" y="57"/>
                        <a:pt x="17" y="57"/>
                        <a:pt x="17" y="57"/>
                      </a:cubicBezTo>
                      <a:cubicBezTo>
                        <a:pt x="17" y="56"/>
                        <a:pt x="17" y="56"/>
                        <a:pt x="17" y="56"/>
                      </a:cubicBezTo>
                      <a:cubicBezTo>
                        <a:pt x="17" y="55"/>
                        <a:pt x="17" y="55"/>
                        <a:pt x="17" y="55"/>
                      </a:cubicBezTo>
                      <a:close/>
                      <a:moveTo>
                        <a:pt x="14" y="60"/>
                      </a:moveTo>
                      <a:cubicBezTo>
                        <a:pt x="15" y="61"/>
                        <a:pt x="15" y="61"/>
                        <a:pt x="15" y="61"/>
                      </a:cubicBezTo>
                      <a:cubicBezTo>
                        <a:pt x="16" y="60"/>
                        <a:pt x="16" y="60"/>
                        <a:pt x="16" y="60"/>
                      </a:cubicBezTo>
                      <a:cubicBezTo>
                        <a:pt x="15" y="58"/>
                        <a:pt x="15" y="58"/>
                        <a:pt x="15" y="58"/>
                      </a:cubicBezTo>
                      <a:cubicBezTo>
                        <a:pt x="14" y="59"/>
                        <a:pt x="14" y="59"/>
                        <a:pt x="14" y="59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lose/>
                      <a:moveTo>
                        <a:pt x="18" y="65"/>
                      </a:moveTo>
                      <a:cubicBezTo>
                        <a:pt x="19" y="63"/>
                        <a:pt x="19" y="63"/>
                        <a:pt x="19" y="63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7" y="65"/>
                        <a:pt x="17" y="65"/>
                        <a:pt x="17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lose/>
                      <a:moveTo>
                        <a:pt x="19" y="66"/>
                      </a:moveTo>
                      <a:cubicBezTo>
                        <a:pt x="18" y="67"/>
                        <a:pt x="18" y="67"/>
                        <a:pt x="18" y="67"/>
                      </a:cubicBezTo>
                      <a:cubicBezTo>
                        <a:pt x="18" y="69"/>
                        <a:pt x="18" y="69"/>
                        <a:pt x="18" y="69"/>
                      </a:cubicBezTo>
                      <a:cubicBezTo>
                        <a:pt x="18" y="69"/>
                        <a:pt x="19" y="69"/>
                        <a:pt x="19" y="70"/>
                      </a:cubicBezTo>
                      <a:cubicBezTo>
                        <a:pt x="19" y="70"/>
                        <a:pt x="20" y="72"/>
                        <a:pt x="20" y="72"/>
                      </a:cubicBezTo>
                      <a:cubicBezTo>
                        <a:pt x="21" y="70"/>
                        <a:pt x="21" y="70"/>
                        <a:pt x="21" y="70"/>
                      </a:cubicBezTo>
                      <a:cubicBezTo>
                        <a:pt x="20" y="69"/>
                        <a:pt x="20" y="69"/>
                        <a:pt x="20" y="69"/>
                      </a:cubicBezTo>
                      <a:cubicBezTo>
                        <a:pt x="20" y="67"/>
                        <a:pt x="20" y="67"/>
                        <a:pt x="20" y="67"/>
                      </a:cubicBezTo>
                      <a:lnTo>
                        <a:pt x="19" y="6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0" name="Freeform 9">
                  <a:extLst>
                    <a:ext uri="{FF2B5EF4-FFF2-40B4-BE49-F238E27FC236}">
                      <a16:creationId xmlns:a16="http://schemas.microsoft.com/office/drawing/2014/main" xmlns="" id="{98471675-C8C8-4095-AD23-B3F1ACD6A2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49" y="1797"/>
                  <a:ext cx="18" cy="38"/>
                </a:xfrm>
                <a:custGeom>
                  <a:avLst/>
                  <a:gdLst>
                    <a:gd name="T0" fmla="*/ 18 w 18"/>
                    <a:gd name="T1" fmla="*/ 0 h 38"/>
                    <a:gd name="T2" fmla="*/ 15 w 18"/>
                    <a:gd name="T3" fmla="*/ 2 h 38"/>
                    <a:gd name="T4" fmla="*/ 16 w 18"/>
                    <a:gd name="T5" fmla="*/ 7 h 38"/>
                    <a:gd name="T6" fmla="*/ 16 w 18"/>
                    <a:gd name="T7" fmla="*/ 4 h 38"/>
                    <a:gd name="T8" fmla="*/ 18 w 18"/>
                    <a:gd name="T9" fmla="*/ 2 h 38"/>
                    <a:gd name="T10" fmla="*/ 18 w 18"/>
                    <a:gd name="T11" fmla="*/ 0 h 38"/>
                    <a:gd name="T12" fmla="*/ 18 w 18"/>
                    <a:gd name="T13" fmla="*/ 0 h 38"/>
                    <a:gd name="T14" fmla="*/ 8 w 18"/>
                    <a:gd name="T15" fmla="*/ 22 h 38"/>
                    <a:gd name="T16" fmla="*/ 11 w 18"/>
                    <a:gd name="T17" fmla="*/ 20 h 38"/>
                    <a:gd name="T18" fmla="*/ 13 w 18"/>
                    <a:gd name="T19" fmla="*/ 23 h 38"/>
                    <a:gd name="T20" fmla="*/ 11 w 18"/>
                    <a:gd name="T21" fmla="*/ 23 h 38"/>
                    <a:gd name="T22" fmla="*/ 8 w 18"/>
                    <a:gd name="T23" fmla="*/ 22 h 38"/>
                    <a:gd name="T24" fmla="*/ 8 w 18"/>
                    <a:gd name="T25" fmla="*/ 22 h 38"/>
                    <a:gd name="T26" fmla="*/ 0 w 18"/>
                    <a:gd name="T27" fmla="*/ 35 h 38"/>
                    <a:gd name="T28" fmla="*/ 1 w 18"/>
                    <a:gd name="T29" fmla="*/ 33 h 38"/>
                    <a:gd name="T30" fmla="*/ 5 w 18"/>
                    <a:gd name="T31" fmla="*/ 31 h 38"/>
                    <a:gd name="T32" fmla="*/ 6 w 18"/>
                    <a:gd name="T33" fmla="*/ 33 h 38"/>
                    <a:gd name="T34" fmla="*/ 3 w 18"/>
                    <a:gd name="T35" fmla="*/ 38 h 38"/>
                    <a:gd name="T36" fmla="*/ 0 w 18"/>
                    <a:gd name="T37" fmla="*/ 38 h 38"/>
                    <a:gd name="T38" fmla="*/ 0 w 18"/>
                    <a:gd name="T39" fmla="*/ 36 h 38"/>
                    <a:gd name="T40" fmla="*/ 0 w 18"/>
                    <a:gd name="T41" fmla="*/ 3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8" h="38">
                      <a:moveTo>
                        <a:pt x="18" y="0"/>
                      </a:moveTo>
                      <a:lnTo>
                        <a:pt x="15" y="2"/>
                      </a:lnTo>
                      <a:lnTo>
                        <a:pt x="16" y="7"/>
                      </a:lnTo>
                      <a:lnTo>
                        <a:pt x="16" y="4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8" y="0"/>
                      </a:lnTo>
                      <a:close/>
                      <a:moveTo>
                        <a:pt x="8" y="22"/>
                      </a:moveTo>
                      <a:lnTo>
                        <a:pt x="11" y="20"/>
                      </a:lnTo>
                      <a:lnTo>
                        <a:pt x="13" y="23"/>
                      </a:lnTo>
                      <a:lnTo>
                        <a:pt x="11" y="23"/>
                      </a:lnTo>
                      <a:lnTo>
                        <a:pt x="8" y="22"/>
                      </a:lnTo>
                      <a:lnTo>
                        <a:pt x="8" y="22"/>
                      </a:lnTo>
                      <a:close/>
                      <a:moveTo>
                        <a:pt x="0" y="35"/>
                      </a:moveTo>
                      <a:lnTo>
                        <a:pt x="1" y="33"/>
                      </a:lnTo>
                      <a:lnTo>
                        <a:pt x="5" y="31"/>
                      </a:lnTo>
                      <a:lnTo>
                        <a:pt x="6" y="33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0" y="36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1" name="Freeform 10">
                  <a:extLst>
                    <a:ext uri="{FF2B5EF4-FFF2-40B4-BE49-F238E27FC236}">
                      <a16:creationId xmlns:a16="http://schemas.microsoft.com/office/drawing/2014/main" xmlns="" id="{E6B311EA-3F26-41FB-BFB2-B0FC39CF0C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196"/>
                  <a:ext cx="2084" cy="1145"/>
                </a:xfrm>
                <a:custGeom>
                  <a:avLst/>
                  <a:gdLst>
                    <a:gd name="T0" fmla="*/ 1004 w 1276"/>
                    <a:gd name="T1" fmla="*/ 569 h 701"/>
                    <a:gd name="T2" fmla="*/ 962 w 1276"/>
                    <a:gd name="T3" fmla="*/ 540 h 701"/>
                    <a:gd name="T4" fmla="*/ 906 w 1276"/>
                    <a:gd name="T5" fmla="*/ 492 h 701"/>
                    <a:gd name="T6" fmla="*/ 844 w 1276"/>
                    <a:gd name="T7" fmla="*/ 493 h 701"/>
                    <a:gd name="T8" fmla="*/ 797 w 1276"/>
                    <a:gd name="T9" fmla="*/ 548 h 701"/>
                    <a:gd name="T10" fmla="*/ 667 w 1276"/>
                    <a:gd name="T11" fmla="*/ 527 h 701"/>
                    <a:gd name="T12" fmla="*/ 591 w 1276"/>
                    <a:gd name="T13" fmla="*/ 558 h 701"/>
                    <a:gd name="T14" fmla="*/ 499 w 1276"/>
                    <a:gd name="T15" fmla="*/ 554 h 701"/>
                    <a:gd name="T16" fmla="*/ 399 w 1276"/>
                    <a:gd name="T17" fmla="*/ 502 h 701"/>
                    <a:gd name="T18" fmla="*/ 321 w 1276"/>
                    <a:gd name="T19" fmla="*/ 536 h 701"/>
                    <a:gd name="T20" fmla="*/ 269 w 1276"/>
                    <a:gd name="T21" fmla="*/ 575 h 701"/>
                    <a:gd name="T22" fmla="*/ 219 w 1276"/>
                    <a:gd name="T23" fmla="*/ 626 h 701"/>
                    <a:gd name="T24" fmla="*/ 231 w 1276"/>
                    <a:gd name="T25" fmla="*/ 690 h 701"/>
                    <a:gd name="T26" fmla="*/ 116 w 1276"/>
                    <a:gd name="T27" fmla="*/ 653 h 701"/>
                    <a:gd name="T28" fmla="*/ 107 w 1276"/>
                    <a:gd name="T29" fmla="*/ 585 h 701"/>
                    <a:gd name="T30" fmla="*/ 18 w 1276"/>
                    <a:gd name="T31" fmla="*/ 494 h 701"/>
                    <a:gd name="T32" fmla="*/ 22 w 1276"/>
                    <a:gd name="T33" fmla="*/ 372 h 701"/>
                    <a:gd name="T34" fmla="*/ 30 w 1276"/>
                    <a:gd name="T35" fmla="*/ 285 h 701"/>
                    <a:gd name="T36" fmla="*/ 96 w 1276"/>
                    <a:gd name="T37" fmla="*/ 315 h 701"/>
                    <a:gd name="T38" fmla="*/ 46 w 1276"/>
                    <a:gd name="T39" fmla="*/ 342 h 701"/>
                    <a:gd name="T40" fmla="*/ 75 w 1276"/>
                    <a:gd name="T41" fmla="*/ 362 h 701"/>
                    <a:gd name="T42" fmla="*/ 124 w 1276"/>
                    <a:gd name="T43" fmla="*/ 298 h 701"/>
                    <a:gd name="T44" fmla="*/ 190 w 1276"/>
                    <a:gd name="T45" fmla="*/ 288 h 701"/>
                    <a:gd name="T46" fmla="*/ 239 w 1276"/>
                    <a:gd name="T47" fmla="*/ 283 h 701"/>
                    <a:gd name="T48" fmla="*/ 315 w 1276"/>
                    <a:gd name="T49" fmla="*/ 269 h 701"/>
                    <a:gd name="T50" fmla="*/ 307 w 1276"/>
                    <a:gd name="T51" fmla="*/ 184 h 701"/>
                    <a:gd name="T52" fmla="*/ 346 w 1276"/>
                    <a:gd name="T53" fmla="*/ 310 h 701"/>
                    <a:gd name="T54" fmla="*/ 393 w 1276"/>
                    <a:gd name="T55" fmla="*/ 284 h 701"/>
                    <a:gd name="T56" fmla="*/ 330 w 1276"/>
                    <a:gd name="T57" fmla="*/ 183 h 701"/>
                    <a:gd name="T58" fmla="*/ 369 w 1276"/>
                    <a:gd name="T59" fmla="*/ 186 h 701"/>
                    <a:gd name="T60" fmla="*/ 410 w 1276"/>
                    <a:gd name="T61" fmla="*/ 224 h 701"/>
                    <a:gd name="T62" fmla="*/ 402 w 1276"/>
                    <a:gd name="T63" fmla="*/ 133 h 701"/>
                    <a:gd name="T64" fmla="*/ 411 w 1276"/>
                    <a:gd name="T65" fmla="*/ 84 h 701"/>
                    <a:gd name="T66" fmla="*/ 454 w 1276"/>
                    <a:gd name="T67" fmla="*/ 54 h 701"/>
                    <a:gd name="T68" fmla="*/ 481 w 1276"/>
                    <a:gd name="T69" fmla="*/ 18 h 701"/>
                    <a:gd name="T70" fmla="*/ 549 w 1276"/>
                    <a:gd name="T71" fmla="*/ 24 h 701"/>
                    <a:gd name="T72" fmla="*/ 554 w 1276"/>
                    <a:gd name="T73" fmla="*/ 97 h 701"/>
                    <a:gd name="T74" fmla="*/ 581 w 1276"/>
                    <a:gd name="T75" fmla="*/ 94 h 701"/>
                    <a:gd name="T76" fmla="*/ 664 w 1276"/>
                    <a:gd name="T77" fmla="*/ 70 h 701"/>
                    <a:gd name="T78" fmla="*/ 720 w 1276"/>
                    <a:gd name="T79" fmla="*/ 87 h 701"/>
                    <a:gd name="T80" fmla="*/ 780 w 1276"/>
                    <a:gd name="T81" fmla="*/ 98 h 701"/>
                    <a:gd name="T82" fmla="*/ 807 w 1276"/>
                    <a:gd name="T83" fmla="*/ 51 h 701"/>
                    <a:gd name="T84" fmla="*/ 876 w 1276"/>
                    <a:gd name="T85" fmla="*/ 49 h 701"/>
                    <a:gd name="T86" fmla="*/ 997 w 1276"/>
                    <a:gd name="T87" fmla="*/ 72 h 701"/>
                    <a:gd name="T88" fmla="*/ 1087 w 1276"/>
                    <a:gd name="T89" fmla="*/ 63 h 701"/>
                    <a:gd name="T90" fmla="*/ 1150 w 1276"/>
                    <a:gd name="T91" fmla="*/ 29 h 701"/>
                    <a:gd name="T92" fmla="*/ 1231 w 1276"/>
                    <a:gd name="T93" fmla="*/ 54 h 701"/>
                    <a:gd name="T94" fmla="*/ 1264 w 1276"/>
                    <a:gd name="T95" fmla="*/ 51 h 701"/>
                    <a:gd name="T96" fmla="*/ 1255 w 1276"/>
                    <a:gd name="T97" fmla="*/ 95 h 701"/>
                    <a:gd name="T98" fmla="*/ 1228 w 1276"/>
                    <a:gd name="T99" fmla="*/ 122 h 701"/>
                    <a:gd name="T100" fmla="*/ 1239 w 1276"/>
                    <a:gd name="T101" fmla="*/ 165 h 701"/>
                    <a:gd name="T102" fmla="*/ 1222 w 1276"/>
                    <a:gd name="T103" fmla="*/ 233 h 701"/>
                    <a:gd name="T104" fmla="*/ 1164 w 1276"/>
                    <a:gd name="T105" fmla="*/ 283 h 701"/>
                    <a:gd name="T106" fmla="*/ 1201 w 1276"/>
                    <a:gd name="T107" fmla="*/ 361 h 701"/>
                    <a:gd name="T108" fmla="*/ 1191 w 1276"/>
                    <a:gd name="T109" fmla="*/ 450 h 701"/>
                    <a:gd name="T110" fmla="*/ 1142 w 1276"/>
                    <a:gd name="T111" fmla="*/ 305 h 701"/>
                    <a:gd name="T112" fmla="*/ 1130 w 1276"/>
                    <a:gd name="T113" fmla="*/ 232 h 701"/>
                    <a:gd name="T114" fmla="*/ 1108 w 1276"/>
                    <a:gd name="T115" fmla="*/ 256 h 701"/>
                    <a:gd name="T116" fmla="*/ 1084 w 1276"/>
                    <a:gd name="T117" fmla="*/ 321 h 701"/>
                    <a:gd name="T118" fmla="*/ 1021 w 1276"/>
                    <a:gd name="T119" fmla="*/ 331 h 701"/>
                    <a:gd name="T120" fmla="*/ 972 w 1276"/>
                    <a:gd name="T121" fmla="*/ 439 h 701"/>
                    <a:gd name="T122" fmla="*/ 1035 w 1276"/>
                    <a:gd name="T123" fmla="*/ 466 h 701"/>
                    <a:gd name="T124" fmla="*/ 1034 w 1276"/>
                    <a:gd name="T125" fmla="*/ 597 h 7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76" h="701">
                      <a:moveTo>
                        <a:pt x="990" y="637"/>
                      </a:moveTo>
                      <a:cubicBezTo>
                        <a:pt x="990" y="637"/>
                        <a:pt x="990" y="637"/>
                        <a:pt x="990" y="637"/>
                      </a:cubicBezTo>
                      <a:cubicBezTo>
                        <a:pt x="988" y="635"/>
                        <a:pt x="988" y="635"/>
                        <a:pt x="988" y="635"/>
                      </a:cubicBezTo>
                      <a:cubicBezTo>
                        <a:pt x="988" y="635"/>
                        <a:pt x="988" y="635"/>
                        <a:pt x="988" y="635"/>
                      </a:cubicBezTo>
                      <a:cubicBezTo>
                        <a:pt x="989" y="634"/>
                        <a:pt x="989" y="634"/>
                        <a:pt x="989" y="634"/>
                      </a:cubicBezTo>
                      <a:cubicBezTo>
                        <a:pt x="989" y="633"/>
                        <a:pt x="989" y="633"/>
                        <a:pt x="989" y="633"/>
                      </a:cubicBezTo>
                      <a:cubicBezTo>
                        <a:pt x="988" y="633"/>
                        <a:pt x="988" y="633"/>
                        <a:pt x="988" y="633"/>
                      </a:cubicBezTo>
                      <a:cubicBezTo>
                        <a:pt x="988" y="631"/>
                        <a:pt x="988" y="631"/>
                        <a:pt x="988" y="631"/>
                      </a:cubicBezTo>
                      <a:cubicBezTo>
                        <a:pt x="988" y="630"/>
                        <a:pt x="988" y="630"/>
                        <a:pt x="988" y="630"/>
                      </a:cubicBezTo>
                      <a:cubicBezTo>
                        <a:pt x="989" y="630"/>
                        <a:pt x="989" y="630"/>
                        <a:pt x="989" y="630"/>
                      </a:cubicBezTo>
                      <a:cubicBezTo>
                        <a:pt x="991" y="630"/>
                        <a:pt x="991" y="630"/>
                        <a:pt x="991" y="630"/>
                      </a:cubicBezTo>
                      <a:cubicBezTo>
                        <a:pt x="992" y="630"/>
                        <a:pt x="992" y="630"/>
                        <a:pt x="992" y="630"/>
                      </a:cubicBezTo>
                      <a:cubicBezTo>
                        <a:pt x="992" y="628"/>
                        <a:pt x="992" y="628"/>
                        <a:pt x="992" y="628"/>
                      </a:cubicBezTo>
                      <a:cubicBezTo>
                        <a:pt x="991" y="627"/>
                        <a:pt x="991" y="627"/>
                        <a:pt x="991" y="627"/>
                      </a:cubicBezTo>
                      <a:cubicBezTo>
                        <a:pt x="992" y="626"/>
                        <a:pt x="992" y="626"/>
                        <a:pt x="992" y="626"/>
                      </a:cubicBezTo>
                      <a:cubicBezTo>
                        <a:pt x="992" y="625"/>
                        <a:pt x="992" y="625"/>
                        <a:pt x="992" y="625"/>
                      </a:cubicBezTo>
                      <a:cubicBezTo>
                        <a:pt x="992" y="623"/>
                        <a:pt x="992" y="623"/>
                        <a:pt x="992" y="623"/>
                      </a:cubicBezTo>
                      <a:cubicBezTo>
                        <a:pt x="992" y="621"/>
                        <a:pt x="992" y="621"/>
                        <a:pt x="992" y="621"/>
                      </a:cubicBezTo>
                      <a:cubicBezTo>
                        <a:pt x="991" y="620"/>
                        <a:pt x="991" y="620"/>
                        <a:pt x="991" y="620"/>
                      </a:cubicBezTo>
                      <a:cubicBezTo>
                        <a:pt x="991" y="617"/>
                        <a:pt x="991" y="617"/>
                        <a:pt x="991" y="617"/>
                      </a:cubicBezTo>
                      <a:cubicBezTo>
                        <a:pt x="990" y="615"/>
                        <a:pt x="990" y="615"/>
                        <a:pt x="990" y="615"/>
                      </a:cubicBezTo>
                      <a:cubicBezTo>
                        <a:pt x="990" y="613"/>
                        <a:pt x="990" y="613"/>
                        <a:pt x="990" y="613"/>
                      </a:cubicBezTo>
                      <a:cubicBezTo>
                        <a:pt x="990" y="611"/>
                        <a:pt x="990" y="611"/>
                        <a:pt x="990" y="611"/>
                      </a:cubicBezTo>
                      <a:cubicBezTo>
                        <a:pt x="989" y="609"/>
                        <a:pt x="989" y="609"/>
                        <a:pt x="989" y="609"/>
                      </a:cubicBezTo>
                      <a:cubicBezTo>
                        <a:pt x="988" y="608"/>
                        <a:pt x="988" y="608"/>
                        <a:pt x="988" y="608"/>
                      </a:cubicBezTo>
                      <a:cubicBezTo>
                        <a:pt x="988" y="607"/>
                        <a:pt x="988" y="607"/>
                        <a:pt x="988" y="607"/>
                      </a:cubicBezTo>
                      <a:cubicBezTo>
                        <a:pt x="986" y="603"/>
                        <a:pt x="986" y="603"/>
                        <a:pt x="986" y="603"/>
                      </a:cubicBezTo>
                      <a:cubicBezTo>
                        <a:pt x="985" y="601"/>
                        <a:pt x="985" y="601"/>
                        <a:pt x="985" y="601"/>
                      </a:cubicBezTo>
                      <a:cubicBezTo>
                        <a:pt x="985" y="600"/>
                        <a:pt x="985" y="600"/>
                        <a:pt x="985" y="600"/>
                      </a:cubicBezTo>
                      <a:cubicBezTo>
                        <a:pt x="987" y="600"/>
                        <a:pt x="987" y="600"/>
                        <a:pt x="987" y="600"/>
                      </a:cubicBezTo>
                      <a:cubicBezTo>
                        <a:pt x="988" y="600"/>
                        <a:pt x="988" y="600"/>
                        <a:pt x="988" y="600"/>
                      </a:cubicBezTo>
                      <a:cubicBezTo>
                        <a:pt x="989" y="598"/>
                        <a:pt x="989" y="598"/>
                        <a:pt x="989" y="598"/>
                      </a:cubicBezTo>
                      <a:cubicBezTo>
                        <a:pt x="989" y="597"/>
                        <a:pt x="989" y="597"/>
                        <a:pt x="989" y="597"/>
                      </a:cubicBezTo>
                      <a:cubicBezTo>
                        <a:pt x="991" y="594"/>
                        <a:pt x="991" y="594"/>
                        <a:pt x="991" y="594"/>
                      </a:cubicBezTo>
                      <a:cubicBezTo>
                        <a:pt x="992" y="594"/>
                        <a:pt x="992" y="594"/>
                        <a:pt x="992" y="594"/>
                      </a:cubicBezTo>
                      <a:cubicBezTo>
                        <a:pt x="993" y="594"/>
                        <a:pt x="993" y="594"/>
                        <a:pt x="993" y="594"/>
                      </a:cubicBezTo>
                      <a:cubicBezTo>
                        <a:pt x="994" y="595"/>
                        <a:pt x="994" y="595"/>
                        <a:pt x="994" y="595"/>
                      </a:cubicBezTo>
                      <a:cubicBezTo>
                        <a:pt x="1001" y="596"/>
                        <a:pt x="1001" y="596"/>
                        <a:pt x="1001" y="596"/>
                      </a:cubicBezTo>
                      <a:cubicBezTo>
                        <a:pt x="1001" y="596"/>
                        <a:pt x="1001" y="596"/>
                        <a:pt x="1001" y="596"/>
                      </a:cubicBezTo>
                      <a:cubicBezTo>
                        <a:pt x="1003" y="596"/>
                        <a:pt x="1003" y="596"/>
                        <a:pt x="1003" y="596"/>
                      </a:cubicBezTo>
                      <a:cubicBezTo>
                        <a:pt x="1003" y="595"/>
                        <a:pt x="1003" y="595"/>
                        <a:pt x="1003" y="595"/>
                      </a:cubicBezTo>
                      <a:cubicBezTo>
                        <a:pt x="1003" y="594"/>
                        <a:pt x="1003" y="594"/>
                        <a:pt x="1003" y="594"/>
                      </a:cubicBezTo>
                      <a:cubicBezTo>
                        <a:pt x="1003" y="593"/>
                        <a:pt x="1003" y="593"/>
                        <a:pt x="1003" y="593"/>
                      </a:cubicBezTo>
                      <a:cubicBezTo>
                        <a:pt x="1002" y="592"/>
                        <a:pt x="1002" y="592"/>
                        <a:pt x="1002" y="592"/>
                      </a:cubicBezTo>
                      <a:cubicBezTo>
                        <a:pt x="1003" y="591"/>
                        <a:pt x="1003" y="591"/>
                        <a:pt x="1003" y="591"/>
                      </a:cubicBezTo>
                      <a:cubicBezTo>
                        <a:pt x="1002" y="590"/>
                        <a:pt x="1002" y="590"/>
                        <a:pt x="1002" y="590"/>
                      </a:cubicBezTo>
                      <a:cubicBezTo>
                        <a:pt x="1002" y="589"/>
                        <a:pt x="1002" y="589"/>
                        <a:pt x="1002" y="589"/>
                      </a:cubicBezTo>
                      <a:cubicBezTo>
                        <a:pt x="1003" y="587"/>
                        <a:pt x="1003" y="587"/>
                        <a:pt x="1003" y="587"/>
                      </a:cubicBezTo>
                      <a:cubicBezTo>
                        <a:pt x="1004" y="586"/>
                        <a:pt x="1004" y="586"/>
                        <a:pt x="1004" y="586"/>
                      </a:cubicBezTo>
                      <a:cubicBezTo>
                        <a:pt x="1003" y="585"/>
                        <a:pt x="1003" y="585"/>
                        <a:pt x="1003" y="585"/>
                      </a:cubicBezTo>
                      <a:cubicBezTo>
                        <a:pt x="1003" y="584"/>
                        <a:pt x="1003" y="584"/>
                        <a:pt x="1003" y="584"/>
                      </a:cubicBezTo>
                      <a:cubicBezTo>
                        <a:pt x="1003" y="583"/>
                        <a:pt x="1003" y="583"/>
                        <a:pt x="1003" y="583"/>
                      </a:cubicBezTo>
                      <a:cubicBezTo>
                        <a:pt x="1004" y="582"/>
                        <a:pt x="1004" y="582"/>
                        <a:pt x="1004" y="582"/>
                      </a:cubicBezTo>
                      <a:cubicBezTo>
                        <a:pt x="1004" y="581"/>
                        <a:pt x="1004" y="581"/>
                        <a:pt x="1004" y="581"/>
                      </a:cubicBezTo>
                      <a:cubicBezTo>
                        <a:pt x="1004" y="580"/>
                        <a:pt x="1004" y="580"/>
                        <a:pt x="1004" y="580"/>
                      </a:cubicBezTo>
                      <a:cubicBezTo>
                        <a:pt x="1003" y="579"/>
                        <a:pt x="1003" y="579"/>
                        <a:pt x="1003" y="579"/>
                      </a:cubicBezTo>
                      <a:cubicBezTo>
                        <a:pt x="1004" y="578"/>
                        <a:pt x="1004" y="578"/>
                        <a:pt x="1004" y="578"/>
                      </a:cubicBezTo>
                      <a:cubicBezTo>
                        <a:pt x="1005" y="577"/>
                        <a:pt x="1005" y="577"/>
                        <a:pt x="1005" y="577"/>
                      </a:cubicBezTo>
                      <a:cubicBezTo>
                        <a:pt x="1005" y="576"/>
                        <a:pt x="1005" y="576"/>
                        <a:pt x="1005" y="576"/>
                      </a:cubicBezTo>
                      <a:cubicBezTo>
                        <a:pt x="1004" y="575"/>
                        <a:pt x="1004" y="575"/>
                        <a:pt x="1004" y="575"/>
                      </a:cubicBezTo>
                      <a:cubicBezTo>
                        <a:pt x="1003" y="573"/>
                        <a:pt x="1003" y="573"/>
                        <a:pt x="1003" y="573"/>
                      </a:cubicBezTo>
                      <a:cubicBezTo>
                        <a:pt x="1003" y="571"/>
                        <a:pt x="1003" y="571"/>
                        <a:pt x="1003" y="571"/>
                      </a:cubicBezTo>
                      <a:cubicBezTo>
                        <a:pt x="1004" y="571"/>
                        <a:pt x="1004" y="571"/>
                        <a:pt x="1004" y="571"/>
                      </a:cubicBezTo>
                      <a:cubicBezTo>
                        <a:pt x="1004" y="570"/>
                        <a:pt x="1004" y="570"/>
                        <a:pt x="1004" y="570"/>
                      </a:cubicBezTo>
                      <a:cubicBezTo>
                        <a:pt x="1004" y="570"/>
                        <a:pt x="1004" y="570"/>
                        <a:pt x="1004" y="570"/>
                      </a:cubicBezTo>
                      <a:cubicBezTo>
                        <a:pt x="1004" y="569"/>
                        <a:pt x="1004" y="569"/>
                        <a:pt x="1004" y="569"/>
                      </a:cubicBezTo>
                      <a:cubicBezTo>
                        <a:pt x="1004" y="568"/>
                        <a:pt x="1004" y="568"/>
                        <a:pt x="1004" y="568"/>
                      </a:cubicBezTo>
                      <a:cubicBezTo>
                        <a:pt x="1003" y="567"/>
                        <a:pt x="1003" y="567"/>
                        <a:pt x="1003" y="567"/>
                      </a:cubicBezTo>
                      <a:cubicBezTo>
                        <a:pt x="1002" y="566"/>
                        <a:pt x="1002" y="566"/>
                        <a:pt x="1002" y="566"/>
                      </a:cubicBezTo>
                      <a:cubicBezTo>
                        <a:pt x="1003" y="565"/>
                        <a:pt x="1003" y="565"/>
                        <a:pt x="1003" y="565"/>
                      </a:cubicBezTo>
                      <a:cubicBezTo>
                        <a:pt x="1003" y="563"/>
                        <a:pt x="1003" y="563"/>
                        <a:pt x="1003" y="563"/>
                      </a:cubicBezTo>
                      <a:cubicBezTo>
                        <a:pt x="1003" y="563"/>
                        <a:pt x="1003" y="563"/>
                        <a:pt x="1003" y="563"/>
                      </a:cubicBezTo>
                      <a:cubicBezTo>
                        <a:pt x="1002" y="562"/>
                        <a:pt x="1002" y="562"/>
                        <a:pt x="1002" y="562"/>
                      </a:cubicBezTo>
                      <a:cubicBezTo>
                        <a:pt x="1002" y="561"/>
                        <a:pt x="1002" y="561"/>
                        <a:pt x="1002" y="561"/>
                      </a:cubicBezTo>
                      <a:cubicBezTo>
                        <a:pt x="1003" y="559"/>
                        <a:pt x="1003" y="559"/>
                        <a:pt x="1003" y="559"/>
                      </a:cubicBezTo>
                      <a:cubicBezTo>
                        <a:pt x="1005" y="559"/>
                        <a:pt x="1005" y="559"/>
                        <a:pt x="1005" y="559"/>
                      </a:cubicBezTo>
                      <a:cubicBezTo>
                        <a:pt x="1005" y="558"/>
                        <a:pt x="1005" y="558"/>
                        <a:pt x="1005" y="558"/>
                      </a:cubicBezTo>
                      <a:cubicBezTo>
                        <a:pt x="1005" y="556"/>
                        <a:pt x="1005" y="556"/>
                        <a:pt x="1005" y="556"/>
                      </a:cubicBezTo>
                      <a:cubicBezTo>
                        <a:pt x="1005" y="554"/>
                        <a:pt x="1005" y="554"/>
                        <a:pt x="1005" y="554"/>
                      </a:cubicBezTo>
                      <a:cubicBezTo>
                        <a:pt x="1004" y="553"/>
                        <a:pt x="1004" y="553"/>
                        <a:pt x="1004" y="553"/>
                      </a:cubicBezTo>
                      <a:cubicBezTo>
                        <a:pt x="1003" y="552"/>
                        <a:pt x="1003" y="552"/>
                        <a:pt x="1003" y="552"/>
                      </a:cubicBezTo>
                      <a:cubicBezTo>
                        <a:pt x="1003" y="551"/>
                        <a:pt x="1003" y="551"/>
                        <a:pt x="1003" y="551"/>
                      </a:cubicBezTo>
                      <a:cubicBezTo>
                        <a:pt x="1002" y="549"/>
                        <a:pt x="1002" y="549"/>
                        <a:pt x="1002" y="549"/>
                      </a:cubicBezTo>
                      <a:cubicBezTo>
                        <a:pt x="1001" y="548"/>
                        <a:pt x="1001" y="548"/>
                        <a:pt x="1001" y="548"/>
                      </a:cubicBezTo>
                      <a:cubicBezTo>
                        <a:pt x="1002" y="547"/>
                        <a:pt x="1002" y="547"/>
                        <a:pt x="1002" y="547"/>
                      </a:cubicBezTo>
                      <a:cubicBezTo>
                        <a:pt x="1001" y="545"/>
                        <a:pt x="1001" y="545"/>
                        <a:pt x="1001" y="545"/>
                      </a:cubicBezTo>
                      <a:cubicBezTo>
                        <a:pt x="1001" y="544"/>
                        <a:pt x="1001" y="544"/>
                        <a:pt x="1001" y="544"/>
                      </a:cubicBezTo>
                      <a:cubicBezTo>
                        <a:pt x="999" y="544"/>
                        <a:pt x="999" y="544"/>
                        <a:pt x="999" y="544"/>
                      </a:cubicBezTo>
                      <a:cubicBezTo>
                        <a:pt x="998" y="544"/>
                        <a:pt x="998" y="544"/>
                        <a:pt x="998" y="544"/>
                      </a:cubicBezTo>
                      <a:cubicBezTo>
                        <a:pt x="996" y="543"/>
                        <a:pt x="996" y="543"/>
                        <a:pt x="996" y="543"/>
                      </a:cubicBezTo>
                      <a:cubicBezTo>
                        <a:pt x="995" y="544"/>
                        <a:pt x="995" y="544"/>
                        <a:pt x="995" y="544"/>
                      </a:cubicBezTo>
                      <a:cubicBezTo>
                        <a:pt x="994" y="544"/>
                        <a:pt x="994" y="544"/>
                        <a:pt x="994" y="544"/>
                      </a:cubicBezTo>
                      <a:cubicBezTo>
                        <a:pt x="992" y="545"/>
                        <a:pt x="992" y="545"/>
                        <a:pt x="992" y="545"/>
                      </a:cubicBezTo>
                      <a:cubicBezTo>
                        <a:pt x="992" y="546"/>
                        <a:pt x="992" y="546"/>
                        <a:pt x="992" y="546"/>
                      </a:cubicBezTo>
                      <a:cubicBezTo>
                        <a:pt x="991" y="547"/>
                        <a:pt x="991" y="547"/>
                        <a:pt x="991" y="547"/>
                      </a:cubicBezTo>
                      <a:cubicBezTo>
                        <a:pt x="990" y="547"/>
                        <a:pt x="990" y="547"/>
                        <a:pt x="990" y="547"/>
                      </a:cubicBezTo>
                      <a:cubicBezTo>
                        <a:pt x="990" y="549"/>
                        <a:pt x="990" y="549"/>
                        <a:pt x="990" y="549"/>
                      </a:cubicBezTo>
                      <a:cubicBezTo>
                        <a:pt x="988" y="549"/>
                        <a:pt x="988" y="549"/>
                        <a:pt x="988" y="549"/>
                      </a:cubicBezTo>
                      <a:cubicBezTo>
                        <a:pt x="987" y="549"/>
                        <a:pt x="987" y="549"/>
                        <a:pt x="987" y="549"/>
                      </a:cubicBezTo>
                      <a:cubicBezTo>
                        <a:pt x="986" y="551"/>
                        <a:pt x="986" y="551"/>
                        <a:pt x="986" y="551"/>
                      </a:cubicBezTo>
                      <a:cubicBezTo>
                        <a:pt x="986" y="552"/>
                        <a:pt x="986" y="552"/>
                        <a:pt x="986" y="552"/>
                      </a:cubicBezTo>
                      <a:cubicBezTo>
                        <a:pt x="985" y="553"/>
                        <a:pt x="985" y="553"/>
                        <a:pt x="985" y="553"/>
                      </a:cubicBezTo>
                      <a:cubicBezTo>
                        <a:pt x="984" y="555"/>
                        <a:pt x="984" y="555"/>
                        <a:pt x="984" y="555"/>
                      </a:cubicBezTo>
                      <a:cubicBezTo>
                        <a:pt x="984" y="556"/>
                        <a:pt x="984" y="556"/>
                        <a:pt x="984" y="556"/>
                      </a:cubicBezTo>
                      <a:cubicBezTo>
                        <a:pt x="983" y="556"/>
                        <a:pt x="983" y="556"/>
                        <a:pt x="983" y="556"/>
                      </a:cubicBezTo>
                      <a:cubicBezTo>
                        <a:pt x="982" y="557"/>
                        <a:pt x="982" y="557"/>
                        <a:pt x="982" y="557"/>
                      </a:cubicBezTo>
                      <a:cubicBezTo>
                        <a:pt x="979" y="558"/>
                        <a:pt x="979" y="558"/>
                        <a:pt x="979" y="558"/>
                      </a:cubicBezTo>
                      <a:cubicBezTo>
                        <a:pt x="978" y="558"/>
                        <a:pt x="978" y="558"/>
                        <a:pt x="978" y="558"/>
                      </a:cubicBezTo>
                      <a:cubicBezTo>
                        <a:pt x="977" y="558"/>
                        <a:pt x="977" y="558"/>
                        <a:pt x="977" y="558"/>
                      </a:cubicBezTo>
                      <a:cubicBezTo>
                        <a:pt x="976" y="559"/>
                        <a:pt x="976" y="559"/>
                        <a:pt x="976" y="559"/>
                      </a:cubicBezTo>
                      <a:cubicBezTo>
                        <a:pt x="975" y="559"/>
                        <a:pt x="975" y="559"/>
                        <a:pt x="975" y="559"/>
                      </a:cubicBezTo>
                      <a:cubicBezTo>
                        <a:pt x="975" y="558"/>
                        <a:pt x="975" y="558"/>
                        <a:pt x="975" y="558"/>
                      </a:cubicBezTo>
                      <a:cubicBezTo>
                        <a:pt x="974" y="557"/>
                        <a:pt x="974" y="557"/>
                        <a:pt x="974" y="557"/>
                      </a:cubicBezTo>
                      <a:cubicBezTo>
                        <a:pt x="972" y="557"/>
                        <a:pt x="972" y="557"/>
                        <a:pt x="972" y="557"/>
                      </a:cubicBezTo>
                      <a:cubicBezTo>
                        <a:pt x="971" y="558"/>
                        <a:pt x="971" y="558"/>
                        <a:pt x="971" y="558"/>
                      </a:cubicBezTo>
                      <a:cubicBezTo>
                        <a:pt x="970" y="558"/>
                        <a:pt x="970" y="558"/>
                        <a:pt x="970" y="558"/>
                      </a:cubicBezTo>
                      <a:cubicBezTo>
                        <a:pt x="969" y="557"/>
                        <a:pt x="969" y="557"/>
                        <a:pt x="969" y="557"/>
                      </a:cubicBezTo>
                      <a:cubicBezTo>
                        <a:pt x="968" y="555"/>
                        <a:pt x="968" y="555"/>
                        <a:pt x="968" y="555"/>
                      </a:cubicBezTo>
                      <a:cubicBezTo>
                        <a:pt x="967" y="554"/>
                        <a:pt x="967" y="554"/>
                        <a:pt x="967" y="554"/>
                      </a:cubicBezTo>
                      <a:cubicBezTo>
                        <a:pt x="965" y="552"/>
                        <a:pt x="965" y="552"/>
                        <a:pt x="965" y="552"/>
                      </a:cubicBezTo>
                      <a:cubicBezTo>
                        <a:pt x="965" y="551"/>
                        <a:pt x="965" y="551"/>
                        <a:pt x="965" y="551"/>
                      </a:cubicBezTo>
                      <a:cubicBezTo>
                        <a:pt x="965" y="550"/>
                        <a:pt x="965" y="550"/>
                        <a:pt x="965" y="550"/>
                      </a:cubicBezTo>
                      <a:cubicBezTo>
                        <a:pt x="966" y="548"/>
                        <a:pt x="966" y="548"/>
                        <a:pt x="966" y="548"/>
                      </a:cubicBezTo>
                      <a:cubicBezTo>
                        <a:pt x="965" y="547"/>
                        <a:pt x="965" y="547"/>
                        <a:pt x="965" y="547"/>
                      </a:cubicBezTo>
                      <a:cubicBezTo>
                        <a:pt x="965" y="545"/>
                        <a:pt x="965" y="545"/>
                        <a:pt x="965" y="545"/>
                      </a:cubicBezTo>
                      <a:cubicBezTo>
                        <a:pt x="963" y="545"/>
                        <a:pt x="963" y="545"/>
                        <a:pt x="963" y="545"/>
                      </a:cubicBezTo>
                      <a:cubicBezTo>
                        <a:pt x="963" y="544"/>
                        <a:pt x="963" y="544"/>
                        <a:pt x="963" y="544"/>
                      </a:cubicBezTo>
                      <a:cubicBezTo>
                        <a:pt x="963" y="542"/>
                        <a:pt x="963" y="542"/>
                        <a:pt x="963" y="542"/>
                      </a:cubicBezTo>
                      <a:cubicBezTo>
                        <a:pt x="964" y="541"/>
                        <a:pt x="964" y="541"/>
                        <a:pt x="964" y="541"/>
                      </a:cubicBezTo>
                      <a:cubicBezTo>
                        <a:pt x="964" y="540"/>
                        <a:pt x="964" y="540"/>
                        <a:pt x="964" y="540"/>
                      </a:cubicBezTo>
                      <a:cubicBezTo>
                        <a:pt x="963" y="540"/>
                        <a:pt x="963" y="540"/>
                        <a:pt x="963" y="540"/>
                      </a:cubicBezTo>
                      <a:cubicBezTo>
                        <a:pt x="962" y="540"/>
                        <a:pt x="962" y="540"/>
                        <a:pt x="962" y="540"/>
                      </a:cubicBezTo>
                      <a:cubicBezTo>
                        <a:pt x="961" y="540"/>
                        <a:pt x="961" y="540"/>
                        <a:pt x="961" y="540"/>
                      </a:cubicBezTo>
                      <a:cubicBezTo>
                        <a:pt x="960" y="541"/>
                        <a:pt x="960" y="541"/>
                        <a:pt x="960" y="541"/>
                      </a:cubicBezTo>
                      <a:cubicBezTo>
                        <a:pt x="959" y="541"/>
                        <a:pt x="959" y="541"/>
                        <a:pt x="959" y="541"/>
                      </a:cubicBezTo>
                      <a:cubicBezTo>
                        <a:pt x="958" y="541"/>
                        <a:pt x="958" y="541"/>
                        <a:pt x="958" y="541"/>
                      </a:cubicBezTo>
                      <a:cubicBezTo>
                        <a:pt x="957" y="540"/>
                        <a:pt x="957" y="540"/>
                        <a:pt x="957" y="540"/>
                      </a:cubicBezTo>
                      <a:cubicBezTo>
                        <a:pt x="956" y="540"/>
                        <a:pt x="956" y="540"/>
                        <a:pt x="956" y="540"/>
                      </a:cubicBezTo>
                      <a:cubicBezTo>
                        <a:pt x="955" y="539"/>
                        <a:pt x="955" y="539"/>
                        <a:pt x="955" y="539"/>
                      </a:cubicBezTo>
                      <a:cubicBezTo>
                        <a:pt x="953" y="538"/>
                        <a:pt x="953" y="538"/>
                        <a:pt x="953" y="538"/>
                      </a:cubicBezTo>
                      <a:cubicBezTo>
                        <a:pt x="953" y="537"/>
                        <a:pt x="953" y="537"/>
                        <a:pt x="953" y="537"/>
                      </a:cubicBezTo>
                      <a:cubicBezTo>
                        <a:pt x="952" y="536"/>
                        <a:pt x="952" y="536"/>
                        <a:pt x="952" y="536"/>
                      </a:cubicBezTo>
                      <a:cubicBezTo>
                        <a:pt x="952" y="536"/>
                        <a:pt x="952" y="536"/>
                        <a:pt x="952" y="536"/>
                      </a:cubicBezTo>
                      <a:cubicBezTo>
                        <a:pt x="951" y="536"/>
                        <a:pt x="951" y="536"/>
                        <a:pt x="951" y="536"/>
                      </a:cubicBezTo>
                      <a:cubicBezTo>
                        <a:pt x="950" y="535"/>
                        <a:pt x="950" y="535"/>
                        <a:pt x="950" y="535"/>
                      </a:cubicBezTo>
                      <a:cubicBezTo>
                        <a:pt x="949" y="535"/>
                        <a:pt x="949" y="535"/>
                        <a:pt x="949" y="535"/>
                      </a:cubicBezTo>
                      <a:cubicBezTo>
                        <a:pt x="948" y="533"/>
                        <a:pt x="948" y="533"/>
                        <a:pt x="948" y="533"/>
                      </a:cubicBezTo>
                      <a:cubicBezTo>
                        <a:pt x="948" y="532"/>
                        <a:pt x="948" y="532"/>
                        <a:pt x="948" y="532"/>
                      </a:cubicBezTo>
                      <a:cubicBezTo>
                        <a:pt x="947" y="532"/>
                        <a:pt x="947" y="532"/>
                        <a:pt x="947" y="532"/>
                      </a:cubicBezTo>
                      <a:cubicBezTo>
                        <a:pt x="946" y="532"/>
                        <a:pt x="946" y="532"/>
                        <a:pt x="946" y="532"/>
                      </a:cubicBezTo>
                      <a:cubicBezTo>
                        <a:pt x="946" y="533"/>
                        <a:pt x="946" y="533"/>
                        <a:pt x="946" y="533"/>
                      </a:cubicBezTo>
                      <a:cubicBezTo>
                        <a:pt x="945" y="533"/>
                        <a:pt x="945" y="533"/>
                        <a:pt x="945" y="533"/>
                      </a:cubicBezTo>
                      <a:cubicBezTo>
                        <a:pt x="944" y="533"/>
                        <a:pt x="944" y="533"/>
                        <a:pt x="944" y="533"/>
                      </a:cubicBezTo>
                      <a:cubicBezTo>
                        <a:pt x="944" y="534"/>
                        <a:pt x="944" y="534"/>
                        <a:pt x="944" y="534"/>
                      </a:cubicBezTo>
                      <a:cubicBezTo>
                        <a:pt x="942" y="533"/>
                        <a:pt x="942" y="533"/>
                        <a:pt x="942" y="533"/>
                      </a:cubicBezTo>
                      <a:cubicBezTo>
                        <a:pt x="942" y="532"/>
                        <a:pt x="942" y="532"/>
                        <a:pt x="942" y="532"/>
                      </a:cubicBezTo>
                      <a:cubicBezTo>
                        <a:pt x="941" y="532"/>
                        <a:pt x="941" y="532"/>
                        <a:pt x="941" y="532"/>
                      </a:cubicBezTo>
                      <a:cubicBezTo>
                        <a:pt x="939" y="531"/>
                        <a:pt x="939" y="531"/>
                        <a:pt x="939" y="531"/>
                      </a:cubicBezTo>
                      <a:cubicBezTo>
                        <a:pt x="938" y="531"/>
                        <a:pt x="938" y="531"/>
                        <a:pt x="938" y="531"/>
                      </a:cubicBezTo>
                      <a:cubicBezTo>
                        <a:pt x="939" y="530"/>
                        <a:pt x="939" y="530"/>
                        <a:pt x="939" y="530"/>
                      </a:cubicBezTo>
                      <a:cubicBezTo>
                        <a:pt x="939" y="530"/>
                        <a:pt x="939" y="530"/>
                        <a:pt x="939" y="530"/>
                      </a:cubicBezTo>
                      <a:cubicBezTo>
                        <a:pt x="937" y="530"/>
                        <a:pt x="937" y="530"/>
                        <a:pt x="937" y="530"/>
                      </a:cubicBezTo>
                      <a:cubicBezTo>
                        <a:pt x="936" y="530"/>
                        <a:pt x="936" y="530"/>
                        <a:pt x="936" y="530"/>
                      </a:cubicBezTo>
                      <a:cubicBezTo>
                        <a:pt x="934" y="530"/>
                        <a:pt x="934" y="530"/>
                        <a:pt x="934" y="530"/>
                      </a:cubicBezTo>
                      <a:cubicBezTo>
                        <a:pt x="934" y="531"/>
                        <a:pt x="934" y="531"/>
                        <a:pt x="934" y="531"/>
                      </a:cubicBezTo>
                      <a:cubicBezTo>
                        <a:pt x="933" y="530"/>
                        <a:pt x="933" y="530"/>
                        <a:pt x="933" y="530"/>
                      </a:cubicBezTo>
                      <a:cubicBezTo>
                        <a:pt x="932" y="530"/>
                        <a:pt x="932" y="530"/>
                        <a:pt x="932" y="530"/>
                      </a:cubicBezTo>
                      <a:cubicBezTo>
                        <a:pt x="930" y="530"/>
                        <a:pt x="930" y="530"/>
                        <a:pt x="930" y="530"/>
                      </a:cubicBezTo>
                      <a:cubicBezTo>
                        <a:pt x="930" y="529"/>
                        <a:pt x="930" y="529"/>
                        <a:pt x="930" y="529"/>
                      </a:cubicBezTo>
                      <a:cubicBezTo>
                        <a:pt x="928" y="528"/>
                        <a:pt x="928" y="528"/>
                        <a:pt x="928" y="528"/>
                      </a:cubicBezTo>
                      <a:cubicBezTo>
                        <a:pt x="926" y="526"/>
                        <a:pt x="926" y="526"/>
                        <a:pt x="926" y="526"/>
                      </a:cubicBezTo>
                      <a:cubicBezTo>
                        <a:pt x="925" y="524"/>
                        <a:pt x="925" y="524"/>
                        <a:pt x="925" y="524"/>
                      </a:cubicBezTo>
                      <a:cubicBezTo>
                        <a:pt x="925" y="523"/>
                        <a:pt x="925" y="523"/>
                        <a:pt x="925" y="523"/>
                      </a:cubicBezTo>
                      <a:cubicBezTo>
                        <a:pt x="925" y="521"/>
                        <a:pt x="925" y="521"/>
                        <a:pt x="925" y="521"/>
                      </a:cubicBezTo>
                      <a:cubicBezTo>
                        <a:pt x="924" y="521"/>
                        <a:pt x="924" y="521"/>
                        <a:pt x="924" y="521"/>
                      </a:cubicBezTo>
                      <a:cubicBezTo>
                        <a:pt x="923" y="520"/>
                        <a:pt x="923" y="520"/>
                        <a:pt x="923" y="520"/>
                      </a:cubicBezTo>
                      <a:cubicBezTo>
                        <a:pt x="922" y="518"/>
                        <a:pt x="922" y="518"/>
                        <a:pt x="922" y="518"/>
                      </a:cubicBezTo>
                      <a:cubicBezTo>
                        <a:pt x="922" y="517"/>
                        <a:pt x="922" y="517"/>
                        <a:pt x="922" y="517"/>
                      </a:cubicBezTo>
                      <a:cubicBezTo>
                        <a:pt x="921" y="515"/>
                        <a:pt x="921" y="515"/>
                        <a:pt x="921" y="515"/>
                      </a:cubicBezTo>
                      <a:cubicBezTo>
                        <a:pt x="921" y="514"/>
                        <a:pt x="921" y="514"/>
                        <a:pt x="921" y="514"/>
                      </a:cubicBezTo>
                      <a:cubicBezTo>
                        <a:pt x="917" y="511"/>
                        <a:pt x="917" y="511"/>
                        <a:pt x="917" y="511"/>
                      </a:cubicBezTo>
                      <a:cubicBezTo>
                        <a:pt x="915" y="509"/>
                        <a:pt x="915" y="509"/>
                        <a:pt x="915" y="509"/>
                      </a:cubicBezTo>
                      <a:cubicBezTo>
                        <a:pt x="915" y="508"/>
                        <a:pt x="915" y="508"/>
                        <a:pt x="915" y="508"/>
                      </a:cubicBezTo>
                      <a:cubicBezTo>
                        <a:pt x="914" y="506"/>
                        <a:pt x="914" y="506"/>
                        <a:pt x="914" y="506"/>
                      </a:cubicBezTo>
                      <a:cubicBezTo>
                        <a:pt x="913" y="506"/>
                        <a:pt x="913" y="506"/>
                        <a:pt x="913" y="506"/>
                      </a:cubicBezTo>
                      <a:cubicBezTo>
                        <a:pt x="913" y="506"/>
                        <a:pt x="913" y="506"/>
                        <a:pt x="913" y="506"/>
                      </a:cubicBezTo>
                      <a:cubicBezTo>
                        <a:pt x="913" y="505"/>
                        <a:pt x="913" y="505"/>
                        <a:pt x="913" y="505"/>
                      </a:cubicBezTo>
                      <a:cubicBezTo>
                        <a:pt x="913" y="504"/>
                        <a:pt x="913" y="504"/>
                        <a:pt x="913" y="504"/>
                      </a:cubicBezTo>
                      <a:cubicBezTo>
                        <a:pt x="912" y="503"/>
                        <a:pt x="912" y="503"/>
                        <a:pt x="912" y="503"/>
                      </a:cubicBezTo>
                      <a:cubicBezTo>
                        <a:pt x="911" y="502"/>
                        <a:pt x="911" y="502"/>
                        <a:pt x="911" y="502"/>
                      </a:cubicBezTo>
                      <a:cubicBezTo>
                        <a:pt x="910" y="501"/>
                        <a:pt x="910" y="501"/>
                        <a:pt x="910" y="501"/>
                      </a:cubicBezTo>
                      <a:cubicBezTo>
                        <a:pt x="910" y="500"/>
                        <a:pt x="910" y="500"/>
                        <a:pt x="910" y="500"/>
                      </a:cubicBezTo>
                      <a:cubicBezTo>
                        <a:pt x="909" y="498"/>
                        <a:pt x="909" y="498"/>
                        <a:pt x="909" y="498"/>
                      </a:cubicBezTo>
                      <a:cubicBezTo>
                        <a:pt x="908" y="497"/>
                        <a:pt x="908" y="497"/>
                        <a:pt x="908" y="497"/>
                      </a:cubicBezTo>
                      <a:cubicBezTo>
                        <a:pt x="906" y="495"/>
                        <a:pt x="906" y="495"/>
                        <a:pt x="906" y="495"/>
                      </a:cubicBezTo>
                      <a:cubicBezTo>
                        <a:pt x="905" y="494"/>
                        <a:pt x="905" y="494"/>
                        <a:pt x="905" y="494"/>
                      </a:cubicBezTo>
                      <a:cubicBezTo>
                        <a:pt x="906" y="493"/>
                        <a:pt x="906" y="493"/>
                        <a:pt x="906" y="493"/>
                      </a:cubicBezTo>
                      <a:cubicBezTo>
                        <a:pt x="906" y="492"/>
                        <a:pt x="906" y="492"/>
                        <a:pt x="906" y="492"/>
                      </a:cubicBezTo>
                      <a:cubicBezTo>
                        <a:pt x="903" y="491"/>
                        <a:pt x="903" y="491"/>
                        <a:pt x="903" y="491"/>
                      </a:cubicBezTo>
                      <a:cubicBezTo>
                        <a:pt x="903" y="491"/>
                        <a:pt x="903" y="491"/>
                        <a:pt x="903" y="491"/>
                      </a:cubicBezTo>
                      <a:cubicBezTo>
                        <a:pt x="903" y="490"/>
                        <a:pt x="903" y="490"/>
                        <a:pt x="903" y="490"/>
                      </a:cubicBezTo>
                      <a:cubicBezTo>
                        <a:pt x="902" y="489"/>
                        <a:pt x="902" y="489"/>
                        <a:pt x="902" y="489"/>
                      </a:cubicBezTo>
                      <a:cubicBezTo>
                        <a:pt x="902" y="487"/>
                        <a:pt x="902" y="487"/>
                        <a:pt x="902" y="487"/>
                      </a:cubicBezTo>
                      <a:cubicBezTo>
                        <a:pt x="902" y="486"/>
                        <a:pt x="902" y="486"/>
                        <a:pt x="902" y="486"/>
                      </a:cubicBezTo>
                      <a:cubicBezTo>
                        <a:pt x="901" y="486"/>
                        <a:pt x="901" y="486"/>
                        <a:pt x="901" y="486"/>
                      </a:cubicBezTo>
                      <a:cubicBezTo>
                        <a:pt x="901" y="485"/>
                        <a:pt x="901" y="485"/>
                        <a:pt x="901" y="485"/>
                      </a:cubicBezTo>
                      <a:cubicBezTo>
                        <a:pt x="900" y="484"/>
                        <a:pt x="900" y="484"/>
                        <a:pt x="900" y="484"/>
                      </a:cubicBezTo>
                      <a:cubicBezTo>
                        <a:pt x="899" y="484"/>
                        <a:pt x="899" y="484"/>
                        <a:pt x="899" y="484"/>
                      </a:cubicBezTo>
                      <a:cubicBezTo>
                        <a:pt x="897" y="484"/>
                        <a:pt x="897" y="484"/>
                        <a:pt x="897" y="484"/>
                      </a:cubicBezTo>
                      <a:cubicBezTo>
                        <a:pt x="897" y="483"/>
                        <a:pt x="897" y="483"/>
                        <a:pt x="897" y="483"/>
                      </a:cubicBezTo>
                      <a:cubicBezTo>
                        <a:pt x="898" y="482"/>
                        <a:pt x="898" y="482"/>
                        <a:pt x="898" y="482"/>
                      </a:cubicBezTo>
                      <a:cubicBezTo>
                        <a:pt x="897" y="481"/>
                        <a:pt x="897" y="481"/>
                        <a:pt x="897" y="481"/>
                      </a:cubicBezTo>
                      <a:cubicBezTo>
                        <a:pt x="896" y="481"/>
                        <a:pt x="896" y="481"/>
                        <a:pt x="896" y="481"/>
                      </a:cubicBezTo>
                      <a:cubicBezTo>
                        <a:pt x="895" y="482"/>
                        <a:pt x="895" y="482"/>
                        <a:pt x="895" y="482"/>
                      </a:cubicBezTo>
                      <a:cubicBezTo>
                        <a:pt x="894" y="481"/>
                        <a:pt x="894" y="481"/>
                        <a:pt x="894" y="481"/>
                      </a:cubicBezTo>
                      <a:cubicBezTo>
                        <a:pt x="893" y="481"/>
                        <a:pt x="893" y="481"/>
                        <a:pt x="893" y="481"/>
                      </a:cubicBezTo>
                      <a:cubicBezTo>
                        <a:pt x="893" y="480"/>
                        <a:pt x="893" y="480"/>
                        <a:pt x="893" y="480"/>
                      </a:cubicBezTo>
                      <a:cubicBezTo>
                        <a:pt x="893" y="479"/>
                        <a:pt x="893" y="479"/>
                        <a:pt x="893" y="479"/>
                      </a:cubicBezTo>
                      <a:cubicBezTo>
                        <a:pt x="893" y="478"/>
                        <a:pt x="893" y="478"/>
                        <a:pt x="893" y="478"/>
                      </a:cubicBezTo>
                      <a:cubicBezTo>
                        <a:pt x="891" y="477"/>
                        <a:pt x="891" y="477"/>
                        <a:pt x="891" y="477"/>
                      </a:cubicBezTo>
                      <a:cubicBezTo>
                        <a:pt x="890" y="477"/>
                        <a:pt x="890" y="477"/>
                        <a:pt x="890" y="477"/>
                      </a:cubicBezTo>
                      <a:cubicBezTo>
                        <a:pt x="889" y="476"/>
                        <a:pt x="889" y="476"/>
                        <a:pt x="889" y="476"/>
                      </a:cubicBezTo>
                      <a:cubicBezTo>
                        <a:pt x="889" y="477"/>
                        <a:pt x="889" y="477"/>
                        <a:pt x="889" y="477"/>
                      </a:cubicBezTo>
                      <a:cubicBezTo>
                        <a:pt x="887" y="477"/>
                        <a:pt x="887" y="477"/>
                        <a:pt x="887" y="477"/>
                      </a:cubicBezTo>
                      <a:cubicBezTo>
                        <a:pt x="887" y="476"/>
                        <a:pt x="887" y="476"/>
                        <a:pt x="887" y="476"/>
                      </a:cubicBezTo>
                      <a:cubicBezTo>
                        <a:pt x="886" y="477"/>
                        <a:pt x="886" y="477"/>
                        <a:pt x="886" y="477"/>
                      </a:cubicBezTo>
                      <a:cubicBezTo>
                        <a:pt x="886" y="478"/>
                        <a:pt x="886" y="478"/>
                        <a:pt x="886" y="478"/>
                      </a:cubicBezTo>
                      <a:cubicBezTo>
                        <a:pt x="885" y="478"/>
                        <a:pt x="885" y="478"/>
                        <a:pt x="885" y="478"/>
                      </a:cubicBezTo>
                      <a:cubicBezTo>
                        <a:pt x="883" y="478"/>
                        <a:pt x="883" y="478"/>
                        <a:pt x="883" y="478"/>
                      </a:cubicBezTo>
                      <a:cubicBezTo>
                        <a:pt x="883" y="477"/>
                        <a:pt x="883" y="477"/>
                        <a:pt x="883" y="477"/>
                      </a:cubicBezTo>
                      <a:cubicBezTo>
                        <a:pt x="881" y="477"/>
                        <a:pt x="881" y="477"/>
                        <a:pt x="881" y="477"/>
                      </a:cubicBezTo>
                      <a:cubicBezTo>
                        <a:pt x="879" y="477"/>
                        <a:pt x="879" y="477"/>
                        <a:pt x="879" y="477"/>
                      </a:cubicBezTo>
                      <a:cubicBezTo>
                        <a:pt x="879" y="477"/>
                        <a:pt x="879" y="477"/>
                        <a:pt x="879" y="477"/>
                      </a:cubicBezTo>
                      <a:cubicBezTo>
                        <a:pt x="878" y="475"/>
                        <a:pt x="878" y="475"/>
                        <a:pt x="878" y="475"/>
                      </a:cubicBezTo>
                      <a:cubicBezTo>
                        <a:pt x="874" y="475"/>
                        <a:pt x="874" y="475"/>
                        <a:pt x="874" y="475"/>
                      </a:cubicBezTo>
                      <a:cubicBezTo>
                        <a:pt x="873" y="474"/>
                        <a:pt x="873" y="474"/>
                        <a:pt x="873" y="474"/>
                      </a:cubicBezTo>
                      <a:cubicBezTo>
                        <a:pt x="872" y="474"/>
                        <a:pt x="872" y="474"/>
                        <a:pt x="872" y="474"/>
                      </a:cubicBezTo>
                      <a:cubicBezTo>
                        <a:pt x="870" y="474"/>
                        <a:pt x="870" y="474"/>
                        <a:pt x="870" y="474"/>
                      </a:cubicBezTo>
                      <a:cubicBezTo>
                        <a:pt x="870" y="474"/>
                        <a:pt x="870" y="474"/>
                        <a:pt x="870" y="474"/>
                      </a:cubicBezTo>
                      <a:cubicBezTo>
                        <a:pt x="867" y="474"/>
                        <a:pt x="867" y="474"/>
                        <a:pt x="867" y="474"/>
                      </a:cubicBezTo>
                      <a:cubicBezTo>
                        <a:pt x="867" y="476"/>
                        <a:pt x="867" y="476"/>
                        <a:pt x="867" y="476"/>
                      </a:cubicBezTo>
                      <a:cubicBezTo>
                        <a:pt x="866" y="476"/>
                        <a:pt x="866" y="476"/>
                        <a:pt x="866" y="476"/>
                      </a:cubicBezTo>
                      <a:cubicBezTo>
                        <a:pt x="865" y="477"/>
                        <a:pt x="865" y="477"/>
                        <a:pt x="865" y="477"/>
                      </a:cubicBezTo>
                      <a:cubicBezTo>
                        <a:pt x="863" y="477"/>
                        <a:pt x="863" y="477"/>
                        <a:pt x="863" y="477"/>
                      </a:cubicBezTo>
                      <a:cubicBezTo>
                        <a:pt x="862" y="477"/>
                        <a:pt x="862" y="477"/>
                        <a:pt x="862" y="477"/>
                      </a:cubicBezTo>
                      <a:cubicBezTo>
                        <a:pt x="860" y="476"/>
                        <a:pt x="860" y="476"/>
                        <a:pt x="860" y="476"/>
                      </a:cubicBezTo>
                      <a:cubicBezTo>
                        <a:pt x="859" y="478"/>
                        <a:pt x="859" y="478"/>
                        <a:pt x="859" y="478"/>
                      </a:cubicBezTo>
                      <a:cubicBezTo>
                        <a:pt x="857" y="478"/>
                        <a:pt x="857" y="478"/>
                        <a:pt x="857" y="478"/>
                      </a:cubicBezTo>
                      <a:cubicBezTo>
                        <a:pt x="856" y="479"/>
                        <a:pt x="856" y="479"/>
                        <a:pt x="856" y="479"/>
                      </a:cubicBezTo>
                      <a:cubicBezTo>
                        <a:pt x="855" y="480"/>
                        <a:pt x="855" y="480"/>
                        <a:pt x="855" y="480"/>
                      </a:cubicBezTo>
                      <a:cubicBezTo>
                        <a:pt x="853" y="480"/>
                        <a:pt x="853" y="480"/>
                        <a:pt x="853" y="480"/>
                      </a:cubicBezTo>
                      <a:cubicBezTo>
                        <a:pt x="853" y="480"/>
                        <a:pt x="853" y="480"/>
                        <a:pt x="853" y="480"/>
                      </a:cubicBezTo>
                      <a:cubicBezTo>
                        <a:pt x="852" y="480"/>
                        <a:pt x="852" y="480"/>
                        <a:pt x="852" y="480"/>
                      </a:cubicBezTo>
                      <a:cubicBezTo>
                        <a:pt x="851" y="481"/>
                        <a:pt x="851" y="481"/>
                        <a:pt x="851" y="481"/>
                      </a:cubicBezTo>
                      <a:cubicBezTo>
                        <a:pt x="848" y="481"/>
                        <a:pt x="848" y="481"/>
                        <a:pt x="848" y="481"/>
                      </a:cubicBezTo>
                      <a:cubicBezTo>
                        <a:pt x="847" y="482"/>
                        <a:pt x="847" y="482"/>
                        <a:pt x="847" y="482"/>
                      </a:cubicBezTo>
                      <a:cubicBezTo>
                        <a:pt x="847" y="483"/>
                        <a:pt x="847" y="483"/>
                        <a:pt x="847" y="483"/>
                      </a:cubicBezTo>
                      <a:cubicBezTo>
                        <a:pt x="846" y="485"/>
                        <a:pt x="846" y="485"/>
                        <a:pt x="846" y="485"/>
                      </a:cubicBezTo>
                      <a:cubicBezTo>
                        <a:pt x="845" y="487"/>
                        <a:pt x="845" y="487"/>
                        <a:pt x="845" y="487"/>
                      </a:cubicBezTo>
                      <a:cubicBezTo>
                        <a:pt x="844" y="488"/>
                        <a:pt x="844" y="488"/>
                        <a:pt x="844" y="488"/>
                      </a:cubicBezTo>
                      <a:cubicBezTo>
                        <a:pt x="844" y="489"/>
                        <a:pt x="844" y="489"/>
                        <a:pt x="844" y="489"/>
                      </a:cubicBezTo>
                      <a:cubicBezTo>
                        <a:pt x="844" y="489"/>
                        <a:pt x="844" y="489"/>
                        <a:pt x="844" y="489"/>
                      </a:cubicBezTo>
                      <a:cubicBezTo>
                        <a:pt x="844" y="492"/>
                        <a:pt x="844" y="492"/>
                        <a:pt x="844" y="492"/>
                      </a:cubicBezTo>
                      <a:cubicBezTo>
                        <a:pt x="844" y="493"/>
                        <a:pt x="844" y="493"/>
                        <a:pt x="844" y="493"/>
                      </a:cubicBezTo>
                      <a:cubicBezTo>
                        <a:pt x="845" y="493"/>
                        <a:pt x="845" y="493"/>
                        <a:pt x="845" y="493"/>
                      </a:cubicBezTo>
                      <a:cubicBezTo>
                        <a:pt x="847" y="491"/>
                        <a:pt x="847" y="491"/>
                        <a:pt x="847" y="491"/>
                      </a:cubicBezTo>
                      <a:cubicBezTo>
                        <a:pt x="849" y="491"/>
                        <a:pt x="849" y="491"/>
                        <a:pt x="849" y="491"/>
                      </a:cubicBezTo>
                      <a:cubicBezTo>
                        <a:pt x="850" y="491"/>
                        <a:pt x="850" y="491"/>
                        <a:pt x="850" y="491"/>
                      </a:cubicBezTo>
                      <a:cubicBezTo>
                        <a:pt x="851" y="493"/>
                        <a:pt x="851" y="493"/>
                        <a:pt x="851" y="493"/>
                      </a:cubicBezTo>
                      <a:cubicBezTo>
                        <a:pt x="852" y="495"/>
                        <a:pt x="852" y="495"/>
                        <a:pt x="852" y="495"/>
                      </a:cubicBezTo>
                      <a:cubicBezTo>
                        <a:pt x="853" y="496"/>
                        <a:pt x="853" y="496"/>
                        <a:pt x="853" y="496"/>
                      </a:cubicBezTo>
                      <a:cubicBezTo>
                        <a:pt x="853" y="498"/>
                        <a:pt x="853" y="498"/>
                        <a:pt x="853" y="498"/>
                      </a:cubicBezTo>
                      <a:cubicBezTo>
                        <a:pt x="854" y="499"/>
                        <a:pt x="854" y="499"/>
                        <a:pt x="854" y="499"/>
                      </a:cubicBezTo>
                      <a:cubicBezTo>
                        <a:pt x="854" y="501"/>
                        <a:pt x="854" y="501"/>
                        <a:pt x="854" y="501"/>
                      </a:cubicBezTo>
                      <a:cubicBezTo>
                        <a:pt x="853" y="502"/>
                        <a:pt x="853" y="502"/>
                        <a:pt x="853" y="502"/>
                      </a:cubicBezTo>
                      <a:cubicBezTo>
                        <a:pt x="851" y="504"/>
                        <a:pt x="851" y="504"/>
                        <a:pt x="851" y="504"/>
                      </a:cubicBezTo>
                      <a:cubicBezTo>
                        <a:pt x="851" y="507"/>
                        <a:pt x="851" y="507"/>
                        <a:pt x="851" y="507"/>
                      </a:cubicBezTo>
                      <a:cubicBezTo>
                        <a:pt x="850" y="508"/>
                        <a:pt x="850" y="508"/>
                        <a:pt x="850" y="508"/>
                      </a:cubicBezTo>
                      <a:cubicBezTo>
                        <a:pt x="849" y="510"/>
                        <a:pt x="849" y="510"/>
                        <a:pt x="849" y="510"/>
                      </a:cubicBezTo>
                      <a:cubicBezTo>
                        <a:pt x="848" y="511"/>
                        <a:pt x="848" y="511"/>
                        <a:pt x="848" y="511"/>
                      </a:cubicBezTo>
                      <a:cubicBezTo>
                        <a:pt x="849" y="513"/>
                        <a:pt x="849" y="513"/>
                        <a:pt x="849" y="513"/>
                      </a:cubicBezTo>
                      <a:cubicBezTo>
                        <a:pt x="849" y="514"/>
                        <a:pt x="849" y="514"/>
                        <a:pt x="849" y="514"/>
                      </a:cubicBezTo>
                      <a:cubicBezTo>
                        <a:pt x="849" y="516"/>
                        <a:pt x="849" y="516"/>
                        <a:pt x="849" y="516"/>
                      </a:cubicBezTo>
                      <a:cubicBezTo>
                        <a:pt x="850" y="517"/>
                        <a:pt x="850" y="517"/>
                        <a:pt x="850" y="517"/>
                      </a:cubicBezTo>
                      <a:cubicBezTo>
                        <a:pt x="850" y="519"/>
                        <a:pt x="850" y="519"/>
                        <a:pt x="850" y="519"/>
                      </a:cubicBezTo>
                      <a:cubicBezTo>
                        <a:pt x="849" y="520"/>
                        <a:pt x="849" y="520"/>
                        <a:pt x="849" y="520"/>
                      </a:cubicBezTo>
                      <a:cubicBezTo>
                        <a:pt x="849" y="521"/>
                        <a:pt x="849" y="521"/>
                        <a:pt x="849" y="521"/>
                      </a:cubicBezTo>
                      <a:cubicBezTo>
                        <a:pt x="849" y="523"/>
                        <a:pt x="849" y="523"/>
                        <a:pt x="849" y="523"/>
                      </a:cubicBezTo>
                      <a:cubicBezTo>
                        <a:pt x="850" y="526"/>
                        <a:pt x="850" y="526"/>
                        <a:pt x="850" y="526"/>
                      </a:cubicBezTo>
                      <a:cubicBezTo>
                        <a:pt x="849" y="526"/>
                        <a:pt x="849" y="526"/>
                        <a:pt x="849" y="526"/>
                      </a:cubicBezTo>
                      <a:cubicBezTo>
                        <a:pt x="849" y="529"/>
                        <a:pt x="849" y="529"/>
                        <a:pt x="849" y="529"/>
                      </a:cubicBezTo>
                      <a:cubicBezTo>
                        <a:pt x="850" y="529"/>
                        <a:pt x="850" y="529"/>
                        <a:pt x="850" y="529"/>
                      </a:cubicBezTo>
                      <a:cubicBezTo>
                        <a:pt x="851" y="530"/>
                        <a:pt x="851" y="530"/>
                        <a:pt x="851" y="530"/>
                      </a:cubicBezTo>
                      <a:cubicBezTo>
                        <a:pt x="852" y="529"/>
                        <a:pt x="852" y="529"/>
                        <a:pt x="852" y="529"/>
                      </a:cubicBezTo>
                      <a:cubicBezTo>
                        <a:pt x="852" y="530"/>
                        <a:pt x="852" y="530"/>
                        <a:pt x="852" y="530"/>
                      </a:cubicBezTo>
                      <a:cubicBezTo>
                        <a:pt x="853" y="532"/>
                        <a:pt x="853" y="532"/>
                        <a:pt x="853" y="532"/>
                      </a:cubicBezTo>
                      <a:cubicBezTo>
                        <a:pt x="852" y="534"/>
                        <a:pt x="852" y="534"/>
                        <a:pt x="852" y="534"/>
                      </a:cubicBezTo>
                      <a:cubicBezTo>
                        <a:pt x="851" y="535"/>
                        <a:pt x="851" y="535"/>
                        <a:pt x="851" y="535"/>
                      </a:cubicBezTo>
                      <a:cubicBezTo>
                        <a:pt x="847" y="536"/>
                        <a:pt x="847" y="536"/>
                        <a:pt x="847" y="536"/>
                      </a:cubicBezTo>
                      <a:cubicBezTo>
                        <a:pt x="845" y="537"/>
                        <a:pt x="845" y="537"/>
                        <a:pt x="845" y="537"/>
                      </a:cubicBezTo>
                      <a:cubicBezTo>
                        <a:pt x="840" y="542"/>
                        <a:pt x="840" y="542"/>
                        <a:pt x="840" y="542"/>
                      </a:cubicBezTo>
                      <a:cubicBezTo>
                        <a:pt x="839" y="542"/>
                        <a:pt x="839" y="542"/>
                        <a:pt x="839" y="542"/>
                      </a:cubicBezTo>
                      <a:cubicBezTo>
                        <a:pt x="838" y="541"/>
                        <a:pt x="838" y="541"/>
                        <a:pt x="838" y="541"/>
                      </a:cubicBezTo>
                      <a:cubicBezTo>
                        <a:pt x="835" y="540"/>
                        <a:pt x="835" y="540"/>
                        <a:pt x="835" y="540"/>
                      </a:cubicBezTo>
                      <a:cubicBezTo>
                        <a:pt x="833" y="541"/>
                        <a:pt x="833" y="541"/>
                        <a:pt x="833" y="541"/>
                      </a:cubicBezTo>
                      <a:cubicBezTo>
                        <a:pt x="833" y="540"/>
                        <a:pt x="833" y="540"/>
                        <a:pt x="833" y="540"/>
                      </a:cubicBezTo>
                      <a:cubicBezTo>
                        <a:pt x="832" y="540"/>
                        <a:pt x="832" y="540"/>
                        <a:pt x="832" y="540"/>
                      </a:cubicBezTo>
                      <a:cubicBezTo>
                        <a:pt x="831" y="540"/>
                        <a:pt x="831" y="540"/>
                        <a:pt x="831" y="540"/>
                      </a:cubicBezTo>
                      <a:cubicBezTo>
                        <a:pt x="830" y="539"/>
                        <a:pt x="830" y="539"/>
                        <a:pt x="830" y="539"/>
                      </a:cubicBezTo>
                      <a:cubicBezTo>
                        <a:pt x="826" y="538"/>
                        <a:pt x="826" y="538"/>
                        <a:pt x="826" y="538"/>
                      </a:cubicBezTo>
                      <a:cubicBezTo>
                        <a:pt x="823" y="539"/>
                        <a:pt x="823" y="539"/>
                        <a:pt x="823" y="539"/>
                      </a:cubicBezTo>
                      <a:cubicBezTo>
                        <a:pt x="823" y="540"/>
                        <a:pt x="823" y="540"/>
                        <a:pt x="823" y="540"/>
                      </a:cubicBezTo>
                      <a:cubicBezTo>
                        <a:pt x="821" y="541"/>
                        <a:pt x="821" y="541"/>
                        <a:pt x="821" y="541"/>
                      </a:cubicBezTo>
                      <a:cubicBezTo>
                        <a:pt x="819" y="541"/>
                        <a:pt x="819" y="541"/>
                        <a:pt x="819" y="541"/>
                      </a:cubicBezTo>
                      <a:cubicBezTo>
                        <a:pt x="818" y="540"/>
                        <a:pt x="818" y="540"/>
                        <a:pt x="818" y="540"/>
                      </a:cubicBezTo>
                      <a:cubicBezTo>
                        <a:pt x="816" y="541"/>
                        <a:pt x="816" y="541"/>
                        <a:pt x="816" y="541"/>
                      </a:cubicBezTo>
                      <a:cubicBezTo>
                        <a:pt x="815" y="541"/>
                        <a:pt x="815" y="541"/>
                        <a:pt x="815" y="541"/>
                      </a:cubicBezTo>
                      <a:cubicBezTo>
                        <a:pt x="813" y="539"/>
                        <a:pt x="813" y="539"/>
                        <a:pt x="813" y="539"/>
                      </a:cubicBezTo>
                      <a:cubicBezTo>
                        <a:pt x="811" y="538"/>
                        <a:pt x="811" y="538"/>
                        <a:pt x="811" y="538"/>
                      </a:cubicBezTo>
                      <a:cubicBezTo>
                        <a:pt x="809" y="537"/>
                        <a:pt x="809" y="537"/>
                        <a:pt x="809" y="537"/>
                      </a:cubicBezTo>
                      <a:cubicBezTo>
                        <a:pt x="807" y="538"/>
                        <a:pt x="807" y="538"/>
                        <a:pt x="807" y="538"/>
                      </a:cubicBezTo>
                      <a:cubicBezTo>
                        <a:pt x="806" y="538"/>
                        <a:pt x="806" y="538"/>
                        <a:pt x="806" y="538"/>
                      </a:cubicBezTo>
                      <a:cubicBezTo>
                        <a:pt x="804" y="538"/>
                        <a:pt x="804" y="538"/>
                        <a:pt x="804" y="538"/>
                      </a:cubicBezTo>
                      <a:cubicBezTo>
                        <a:pt x="803" y="539"/>
                        <a:pt x="803" y="539"/>
                        <a:pt x="803" y="539"/>
                      </a:cubicBezTo>
                      <a:cubicBezTo>
                        <a:pt x="802" y="541"/>
                        <a:pt x="802" y="541"/>
                        <a:pt x="802" y="541"/>
                      </a:cubicBezTo>
                      <a:cubicBezTo>
                        <a:pt x="801" y="542"/>
                        <a:pt x="801" y="542"/>
                        <a:pt x="801" y="542"/>
                      </a:cubicBezTo>
                      <a:cubicBezTo>
                        <a:pt x="799" y="543"/>
                        <a:pt x="799" y="543"/>
                        <a:pt x="799" y="543"/>
                      </a:cubicBezTo>
                      <a:cubicBezTo>
                        <a:pt x="797" y="545"/>
                        <a:pt x="797" y="545"/>
                        <a:pt x="797" y="545"/>
                      </a:cubicBezTo>
                      <a:cubicBezTo>
                        <a:pt x="797" y="546"/>
                        <a:pt x="797" y="546"/>
                        <a:pt x="797" y="546"/>
                      </a:cubicBezTo>
                      <a:cubicBezTo>
                        <a:pt x="797" y="548"/>
                        <a:pt x="797" y="548"/>
                        <a:pt x="797" y="548"/>
                      </a:cubicBezTo>
                      <a:cubicBezTo>
                        <a:pt x="795" y="550"/>
                        <a:pt x="795" y="550"/>
                        <a:pt x="795" y="550"/>
                      </a:cubicBezTo>
                      <a:cubicBezTo>
                        <a:pt x="790" y="550"/>
                        <a:pt x="790" y="550"/>
                        <a:pt x="790" y="550"/>
                      </a:cubicBezTo>
                      <a:cubicBezTo>
                        <a:pt x="789" y="550"/>
                        <a:pt x="789" y="550"/>
                        <a:pt x="789" y="550"/>
                      </a:cubicBezTo>
                      <a:cubicBezTo>
                        <a:pt x="787" y="552"/>
                        <a:pt x="787" y="552"/>
                        <a:pt x="787" y="552"/>
                      </a:cubicBezTo>
                      <a:cubicBezTo>
                        <a:pt x="785" y="552"/>
                        <a:pt x="785" y="552"/>
                        <a:pt x="785" y="552"/>
                      </a:cubicBezTo>
                      <a:cubicBezTo>
                        <a:pt x="781" y="554"/>
                        <a:pt x="781" y="554"/>
                        <a:pt x="781" y="554"/>
                      </a:cubicBezTo>
                      <a:cubicBezTo>
                        <a:pt x="780" y="556"/>
                        <a:pt x="780" y="556"/>
                        <a:pt x="780" y="556"/>
                      </a:cubicBezTo>
                      <a:cubicBezTo>
                        <a:pt x="779" y="557"/>
                        <a:pt x="779" y="557"/>
                        <a:pt x="779" y="557"/>
                      </a:cubicBezTo>
                      <a:cubicBezTo>
                        <a:pt x="777" y="556"/>
                        <a:pt x="777" y="556"/>
                        <a:pt x="777" y="556"/>
                      </a:cubicBezTo>
                      <a:cubicBezTo>
                        <a:pt x="775" y="556"/>
                        <a:pt x="775" y="556"/>
                        <a:pt x="775" y="556"/>
                      </a:cubicBezTo>
                      <a:cubicBezTo>
                        <a:pt x="774" y="556"/>
                        <a:pt x="774" y="556"/>
                        <a:pt x="774" y="556"/>
                      </a:cubicBezTo>
                      <a:cubicBezTo>
                        <a:pt x="771" y="557"/>
                        <a:pt x="771" y="557"/>
                        <a:pt x="771" y="557"/>
                      </a:cubicBezTo>
                      <a:cubicBezTo>
                        <a:pt x="766" y="557"/>
                        <a:pt x="766" y="557"/>
                        <a:pt x="766" y="557"/>
                      </a:cubicBezTo>
                      <a:cubicBezTo>
                        <a:pt x="762" y="556"/>
                        <a:pt x="762" y="556"/>
                        <a:pt x="762" y="556"/>
                      </a:cubicBezTo>
                      <a:cubicBezTo>
                        <a:pt x="757" y="556"/>
                        <a:pt x="757" y="556"/>
                        <a:pt x="757" y="556"/>
                      </a:cubicBezTo>
                      <a:cubicBezTo>
                        <a:pt x="756" y="556"/>
                        <a:pt x="756" y="556"/>
                        <a:pt x="756" y="556"/>
                      </a:cubicBezTo>
                      <a:cubicBezTo>
                        <a:pt x="754" y="554"/>
                        <a:pt x="754" y="554"/>
                        <a:pt x="754" y="554"/>
                      </a:cubicBezTo>
                      <a:cubicBezTo>
                        <a:pt x="753" y="554"/>
                        <a:pt x="753" y="554"/>
                        <a:pt x="753" y="554"/>
                      </a:cubicBezTo>
                      <a:cubicBezTo>
                        <a:pt x="752" y="553"/>
                        <a:pt x="752" y="553"/>
                        <a:pt x="752" y="553"/>
                      </a:cubicBezTo>
                      <a:cubicBezTo>
                        <a:pt x="750" y="552"/>
                        <a:pt x="750" y="552"/>
                        <a:pt x="750" y="552"/>
                      </a:cubicBezTo>
                      <a:cubicBezTo>
                        <a:pt x="749" y="549"/>
                        <a:pt x="749" y="549"/>
                        <a:pt x="749" y="549"/>
                      </a:cubicBezTo>
                      <a:cubicBezTo>
                        <a:pt x="748" y="548"/>
                        <a:pt x="748" y="548"/>
                        <a:pt x="748" y="548"/>
                      </a:cubicBezTo>
                      <a:cubicBezTo>
                        <a:pt x="746" y="548"/>
                        <a:pt x="746" y="548"/>
                        <a:pt x="746" y="548"/>
                      </a:cubicBezTo>
                      <a:cubicBezTo>
                        <a:pt x="743" y="548"/>
                        <a:pt x="743" y="548"/>
                        <a:pt x="743" y="548"/>
                      </a:cubicBezTo>
                      <a:cubicBezTo>
                        <a:pt x="740" y="547"/>
                        <a:pt x="740" y="547"/>
                        <a:pt x="740" y="547"/>
                      </a:cubicBezTo>
                      <a:cubicBezTo>
                        <a:pt x="738" y="544"/>
                        <a:pt x="738" y="544"/>
                        <a:pt x="738" y="544"/>
                      </a:cubicBezTo>
                      <a:cubicBezTo>
                        <a:pt x="734" y="544"/>
                        <a:pt x="734" y="544"/>
                        <a:pt x="734" y="544"/>
                      </a:cubicBezTo>
                      <a:cubicBezTo>
                        <a:pt x="731" y="544"/>
                        <a:pt x="731" y="544"/>
                        <a:pt x="731" y="544"/>
                      </a:cubicBezTo>
                      <a:cubicBezTo>
                        <a:pt x="729" y="543"/>
                        <a:pt x="729" y="543"/>
                        <a:pt x="729" y="543"/>
                      </a:cubicBezTo>
                      <a:cubicBezTo>
                        <a:pt x="726" y="543"/>
                        <a:pt x="726" y="543"/>
                        <a:pt x="726" y="543"/>
                      </a:cubicBezTo>
                      <a:cubicBezTo>
                        <a:pt x="724" y="544"/>
                        <a:pt x="724" y="544"/>
                        <a:pt x="724" y="544"/>
                      </a:cubicBezTo>
                      <a:cubicBezTo>
                        <a:pt x="722" y="545"/>
                        <a:pt x="722" y="545"/>
                        <a:pt x="722" y="545"/>
                      </a:cubicBezTo>
                      <a:cubicBezTo>
                        <a:pt x="718" y="545"/>
                        <a:pt x="718" y="545"/>
                        <a:pt x="718" y="545"/>
                      </a:cubicBezTo>
                      <a:cubicBezTo>
                        <a:pt x="715" y="546"/>
                        <a:pt x="715" y="546"/>
                        <a:pt x="715" y="546"/>
                      </a:cubicBezTo>
                      <a:cubicBezTo>
                        <a:pt x="714" y="548"/>
                        <a:pt x="714" y="548"/>
                        <a:pt x="714" y="548"/>
                      </a:cubicBezTo>
                      <a:cubicBezTo>
                        <a:pt x="712" y="548"/>
                        <a:pt x="712" y="548"/>
                        <a:pt x="712" y="548"/>
                      </a:cubicBezTo>
                      <a:cubicBezTo>
                        <a:pt x="711" y="548"/>
                        <a:pt x="711" y="548"/>
                        <a:pt x="711" y="548"/>
                      </a:cubicBezTo>
                      <a:cubicBezTo>
                        <a:pt x="710" y="548"/>
                        <a:pt x="710" y="548"/>
                        <a:pt x="710" y="548"/>
                      </a:cubicBezTo>
                      <a:cubicBezTo>
                        <a:pt x="708" y="549"/>
                        <a:pt x="708" y="549"/>
                        <a:pt x="708" y="549"/>
                      </a:cubicBezTo>
                      <a:cubicBezTo>
                        <a:pt x="705" y="548"/>
                        <a:pt x="705" y="548"/>
                        <a:pt x="705" y="548"/>
                      </a:cubicBezTo>
                      <a:cubicBezTo>
                        <a:pt x="705" y="549"/>
                        <a:pt x="705" y="549"/>
                        <a:pt x="705" y="549"/>
                      </a:cubicBezTo>
                      <a:cubicBezTo>
                        <a:pt x="703" y="549"/>
                        <a:pt x="703" y="549"/>
                        <a:pt x="703" y="549"/>
                      </a:cubicBezTo>
                      <a:cubicBezTo>
                        <a:pt x="700" y="547"/>
                        <a:pt x="700" y="547"/>
                        <a:pt x="700" y="547"/>
                      </a:cubicBezTo>
                      <a:cubicBezTo>
                        <a:pt x="698" y="547"/>
                        <a:pt x="698" y="547"/>
                        <a:pt x="698" y="547"/>
                      </a:cubicBezTo>
                      <a:cubicBezTo>
                        <a:pt x="697" y="546"/>
                        <a:pt x="697" y="546"/>
                        <a:pt x="697" y="546"/>
                      </a:cubicBezTo>
                      <a:cubicBezTo>
                        <a:pt x="695" y="544"/>
                        <a:pt x="695" y="544"/>
                        <a:pt x="695" y="544"/>
                      </a:cubicBezTo>
                      <a:cubicBezTo>
                        <a:pt x="694" y="544"/>
                        <a:pt x="694" y="544"/>
                        <a:pt x="694" y="544"/>
                      </a:cubicBezTo>
                      <a:cubicBezTo>
                        <a:pt x="693" y="543"/>
                        <a:pt x="693" y="543"/>
                        <a:pt x="693" y="543"/>
                      </a:cubicBezTo>
                      <a:cubicBezTo>
                        <a:pt x="693" y="541"/>
                        <a:pt x="693" y="541"/>
                        <a:pt x="693" y="541"/>
                      </a:cubicBezTo>
                      <a:cubicBezTo>
                        <a:pt x="692" y="539"/>
                        <a:pt x="692" y="539"/>
                        <a:pt x="692" y="539"/>
                      </a:cubicBezTo>
                      <a:cubicBezTo>
                        <a:pt x="691" y="538"/>
                        <a:pt x="691" y="538"/>
                        <a:pt x="691" y="538"/>
                      </a:cubicBezTo>
                      <a:cubicBezTo>
                        <a:pt x="691" y="536"/>
                        <a:pt x="691" y="536"/>
                        <a:pt x="691" y="536"/>
                      </a:cubicBezTo>
                      <a:cubicBezTo>
                        <a:pt x="690" y="535"/>
                        <a:pt x="690" y="535"/>
                        <a:pt x="690" y="535"/>
                      </a:cubicBezTo>
                      <a:cubicBezTo>
                        <a:pt x="690" y="534"/>
                        <a:pt x="690" y="534"/>
                        <a:pt x="690" y="534"/>
                      </a:cubicBezTo>
                      <a:cubicBezTo>
                        <a:pt x="689" y="532"/>
                        <a:pt x="689" y="532"/>
                        <a:pt x="689" y="532"/>
                      </a:cubicBezTo>
                      <a:cubicBezTo>
                        <a:pt x="688" y="531"/>
                        <a:pt x="688" y="531"/>
                        <a:pt x="688" y="531"/>
                      </a:cubicBezTo>
                      <a:cubicBezTo>
                        <a:pt x="684" y="532"/>
                        <a:pt x="684" y="532"/>
                        <a:pt x="684" y="532"/>
                      </a:cubicBezTo>
                      <a:cubicBezTo>
                        <a:pt x="682" y="531"/>
                        <a:pt x="682" y="531"/>
                        <a:pt x="682" y="531"/>
                      </a:cubicBezTo>
                      <a:cubicBezTo>
                        <a:pt x="680" y="531"/>
                        <a:pt x="680" y="531"/>
                        <a:pt x="680" y="531"/>
                      </a:cubicBezTo>
                      <a:cubicBezTo>
                        <a:pt x="678" y="530"/>
                        <a:pt x="678" y="530"/>
                        <a:pt x="678" y="530"/>
                      </a:cubicBezTo>
                      <a:cubicBezTo>
                        <a:pt x="677" y="529"/>
                        <a:pt x="677" y="529"/>
                        <a:pt x="677" y="529"/>
                      </a:cubicBezTo>
                      <a:cubicBezTo>
                        <a:pt x="676" y="529"/>
                        <a:pt x="676" y="529"/>
                        <a:pt x="676" y="529"/>
                      </a:cubicBezTo>
                      <a:cubicBezTo>
                        <a:pt x="672" y="529"/>
                        <a:pt x="672" y="529"/>
                        <a:pt x="672" y="529"/>
                      </a:cubicBezTo>
                      <a:cubicBezTo>
                        <a:pt x="670" y="528"/>
                        <a:pt x="670" y="528"/>
                        <a:pt x="670" y="528"/>
                      </a:cubicBezTo>
                      <a:cubicBezTo>
                        <a:pt x="668" y="528"/>
                        <a:pt x="668" y="528"/>
                        <a:pt x="668" y="528"/>
                      </a:cubicBezTo>
                      <a:cubicBezTo>
                        <a:pt x="667" y="527"/>
                        <a:pt x="667" y="527"/>
                        <a:pt x="667" y="527"/>
                      </a:cubicBezTo>
                      <a:cubicBezTo>
                        <a:pt x="665" y="526"/>
                        <a:pt x="665" y="526"/>
                        <a:pt x="665" y="526"/>
                      </a:cubicBezTo>
                      <a:cubicBezTo>
                        <a:pt x="662" y="525"/>
                        <a:pt x="662" y="525"/>
                        <a:pt x="662" y="525"/>
                      </a:cubicBezTo>
                      <a:cubicBezTo>
                        <a:pt x="661" y="524"/>
                        <a:pt x="661" y="524"/>
                        <a:pt x="661" y="524"/>
                      </a:cubicBezTo>
                      <a:cubicBezTo>
                        <a:pt x="659" y="524"/>
                        <a:pt x="659" y="524"/>
                        <a:pt x="659" y="524"/>
                      </a:cubicBezTo>
                      <a:cubicBezTo>
                        <a:pt x="658" y="525"/>
                        <a:pt x="658" y="525"/>
                        <a:pt x="658" y="525"/>
                      </a:cubicBezTo>
                      <a:cubicBezTo>
                        <a:pt x="657" y="527"/>
                        <a:pt x="657" y="527"/>
                        <a:pt x="657" y="527"/>
                      </a:cubicBezTo>
                      <a:cubicBezTo>
                        <a:pt x="658" y="528"/>
                        <a:pt x="658" y="528"/>
                        <a:pt x="658" y="528"/>
                      </a:cubicBezTo>
                      <a:cubicBezTo>
                        <a:pt x="657" y="530"/>
                        <a:pt x="657" y="530"/>
                        <a:pt x="657" y="530"/>
                      </a:cubicBezTo>
                      <a:cubicBezTo>
                        <a:pt x="656" y="530"/>
                        <a:pt x="656" y="530"/>
                        <a:pt x="656" y="530"/>
                      </a:cubicBezTo>
                      <a:cubicBezTo>
                        <a:pt x="655" y="530"/>
                        <a:pt x="655" y="530"/>
                        <a:pt x="655" y="530"/>
                      </a:cubicBezTo>
                      <a:cubicBezTo>
                        <a:pt x="654" y="532"/>
                        <a:pt x="654" y="532"/>
                        <a:pt x="654" y="532"/>
                      </a:cubicBezTo>
                      <a:cubicBezTo>
                        <a:pt x="654" y="533"/>
                        <a:pt x="654" y="533"/>
                        <a:pt x="654" y="533"/>
                      </a:cubicBezTo>
                      <a:cubicBezTo>
                        <a:pt x="652" y="536"/>
                        <a:pt x="652" y="536"/>
                        <a:pt x="652" y="536"/>
                      </a:cubicBezTo>
                      <a:cubicBezTo>
                        <a:pt x="652" y="540"/>
                        <a:pt x="652" y="540"/>
                        <a:pt x="652" y="540"/>
                      </a:cubicBezTo>
                      <a:cubicBezTo>
                        <a:pt x="652" y="543"/>
                        <a:pt x="652" y="543"/>
                        <a:pt x="652" y="543"/>
                      </a:cubicBezTo>
                      <a:cubicBezTo>
                        <a:pt x="655" y="544"/>
                        <a:pt x="655" y="544"/>
                        <a:pt x="655" y="544"/>
                      </a:cubicBezTo>
                      <a:cubicBezTo>
                        <a:pt x="656" y="545"/>
                        <a:pt x="656" y="545"/>
                        <a:pt x="656" y="545"/>
                      </a:cubicBezTo>
                      <a:cubicBezTo>
                        <a:pt x="658" y="546"/>
                        <a:pt x="658" y="546"/>
                        <a:pt x="658" y="546"/>
                      </a:cubicBezTo>
                      <a:cubicBezTo>
                        <a:pt x="658" y="547"/>
                        <a:pt x="658" y="547"/>
                        <a:pt x="658" y="547"/>
                      </a:cubicBezTo>
                      <a:cubicBezTo>
                        <a:pt x="658" y="550"/>
                        <a:pt x="658" y="550"/>
                        <a:pt x="658" y="550"/>
                      </a:cubicBezTo>
                      <a:cubicBezTo>
                        <a:pt x="658" y="553"/>
                        <a:pt x="658" y="553"/>
                        <a:pt x="658" y="553"/>
                      </a:cubicBezTo>
                      <a:cubicBezTo>
                        <a:pt x="660" y="554"/>
                        <a:pt x="660" y="554"/>
                        <a:pt x="660" y="554"/>
                      </a:cubicBezTo>
                      <a:cubicBezTo>
                        <a:pt x="661" y="556"/>
                        <a:pt x="661" y="556"/>
                        <a:pt x="661" y="556"/>
                      </a:cubicBezTo>
                      <a:cubicBezTo>
                        <a:pt x="659" y="559"/>
                        <a:pt x="659" y="559"/>
                        <a:pt x="659" y="559"/>
                      </a:cubicBezTo>
                      <a:cubicBezTo>
                        <a:pt x="656" y="559"/>
                        <a:pt x="656" y="559"/>
                        <a:pt x="656" y="559"/>
                      </a:cubicBezTo>
                      <a:cubicBezTo>
                        <a:pt x="654" y="559"/>
                        <a:pt x="654" y="559"/>
                        <a:pt x="654" y="559"/>
                      </a:cubicBezTo>
                      <a:cubicBezTo>
                        <a:pt x="653" y="559"/>
                        <a:pt x="653" y="559"/>
                        <a:pt x="653" y="559"/>
                      </a:cubicBezTo>
                      <a:cubicBezTo>
                        <a:pt x="652" y="559"/>
                        <a:pt x="652" y="559"/>
                        <a:pt x="652" y="559"/>
                      </a:cubicBezTo>
                      <a:cubicBezTo>
                        <a:pt x="650" y="559"/>
                        <a:pt x="650" y="559"/>
                        <a:pt x="650" y="559"/>
                      </a:cubicBezTo>
                      <a:cubicBezTo>
                        <a:pt x="646" y="559"/>
                        <a:pt x="646" y="559"/>
                        <a:pt x="646" y="559"/>
                      </a:cubicBezTo>
                      <a:cubicBezTo>
                        <a:pt x="644" y="559"/>
                        <a:pt x="644" y="559"/>
                        <a:pt x="644" y="559"/>
                      </a:cubicBezTo>
                      <a:cubicBezTo>
                        <a:pt x="643" y="558"/>
                        <a:pt x="643" y="558"/>
                        <a:pt x="643" y="558"/>
                      </a:cubicBezTo>
                      <a:cubicBezTo>
                        <a:pt x="641" y="557"/>
                        <a:pt x="641" y="557"/>
                        <a:pt x="641" y="557"/>
                      </a:cubicBezTo>
                      <a:cubicBezTo>
                        <a:pt x="639" y="558"/>
                        <a:pt x="639" y="558"/>
                        <a:pt x="639" y="558"/>
                      </a:cubicBezTo>
                      <a:cubicBezTo>
                        <a:pt x="637" y="559"/>
                        <a:pt x="637" y="559"/>
                        <a:pt x="637" y="559"/>
                      </a:cubicBezTo>
                      <a:cubicBezTo>
                        <a:pt x="635" y="560"/>
                        <a:pt x="635" y="560"/>
                        <a:pt x="635" y="560"/>
                      </a:cubicBezTo>
                      <a:cubicBezTo>
                        <a:pt x="634" y="561"/>
                        <a:pt x="634" y="561"/>
                        <a:pt x="634" y="561"/>
                      </a:cubicBezTo>
                      <a:cubicBezTo>
                        <a:pt x="631" y="559"/>
                        <a:pt x="631" y="559"/>
                        <a:pt x="631" y="559"/>
                      </a:cubicBezTo>
                      <a:cubicBezTo>
                        <a:pt x="629" y="558"/>
                        <a:pt x="629" y="558"/>
                        <a:pt x="629" y="558"/>
                      </a:cubicBezTo>
                      <a:cubicBezTo>
                        <a:pt x="624" y="555"/>
                        <a:pt x="624" y="555"/>
                        <a:pt x="624" y="555"/>
                      </a:cubicBezTo>
                      <a:cubicBezTo>
                        <a:pt x="623" y="553"/>
                        <a:pt x="623" y="553"/>
                        <a:pt x="623" y="553"/>
                      </a:cubicBezTo>
                      <a:cubicBezTo>
                        <a:pt x="623" y="552"/>
                        <a:pt x="623" y="552"/>
                        <a:pt x="623" y="552"/>
                      </a:cubicBezTo>
                      <a:cubicBezTo>
                        <a:pt x="623" y="550"/>
                        <a:pt x="623" y="550"/>
                        <a:pt x="623" y="550"/>
                      </a:cubicBezTo>
                      <a:cubicBezTo>
                        <a:pt x="619" y="550"/>
                        <a:pt x="619" y="550"/>
                        <a:pt x="619" y="550"/>
                      </a:cubicBezTo>
                      <a:cubicBezTo>
                        <a:pt x="618" y="551"/>
                        <a:pt x="618" y="551"/>
                        <a:pt x="618" y="551"/>
                      </a:cubicBezTo>
                      <a:cubicBezTo>
                        <a:pt x="616" y="551"/>
                        <a:pt x="616" y="551"/>
                        <a:pt x="616" y="551"/>
                      </a:cubicBezTo>
                      <a:cubicBezTo>
                        <a:pt x="615" y="552"/>
                        <a:pt x="615" y="552"/>
                        <a:pt x="615" y="552"/>
                      </a:cubicBezTo>
                      <a:cubicBezTo>
                        <a:pt x="613" y="552"/>
                        <a:pt x="613" y="552"/>
                        <a:pt x="613" y="552"/>
                      </a:cubicBezTo>
                      <a:cubicBezTo>
                        <a:pt x="612" y="551"/>
                        <a:pt x="612" y="551"/>
                        <a:pt x="612" y="551"/>
                      </a:cubicBezTo>
                      <a:cubicBezTo>
                        <a:pt x="612" y="549"/>
                        <a:pt x="612" y="549"/>
                        <a:pt x="612" y="549"/>
                      </a:cubicBezTo>
                      <a:cubicBezTo>
                        <a:pt x="611" y="548"/>
                        <a:pt x="611" y="548"/>
                        <a:pt x="611" y="548"/>
                      </a:cubicBezTo>
                      <a:cubicBezTo>
                        <a:pt x="610" y="548"/>
                        <a:pt x="610" y="548"/>
                        <a:pt x="610" y="548"/>
                      </a:cubicBezTo>
                      <a:cubicBezTo>
                        <a:pt x="609" y="549"/>
                        <a:pt x="609" y="549"/>
                        <a:pt x="609" y="549"/>
                      </a:cubicBezTo>
                      <a:cubicBezTo>
                        <a:pt x="606" y="549"/>
                        <a:pt x="606" y="549"/>
                        <a:pt x="606" y="549"/>
                      </a:cubicBezTo>
                      <a:cubicBezTo>
                        <a:pt x="605" y="549"/>
                        <a:pt x="605" y="549"/>
                        <a:pt x="605" y="549"/>
                      </a:cubicBezTo>
                      <a:cubicBezTo>
                        <a:pt x="603" y="549"/>
                        <a:pt x="603" y="549"/>
                        <a:pt x="603" y="549"/>
                      </a:cubicBezTo>
                      <a:cubicBezTo>
                        <a:pt x="600" y="550"/>
                        <a:pt x="600" y="550"/>
                        <a:pt x="600" y="550"/>
                      </a:cubicBezTo>
                      <a:cubicBezTo>
                        <a:pt x="598" y="550"/>
                        <a:pt x="598" y="550"/>
                        <a:pt x="598" y="550"/>
                      </a:cubicBezTo>
                      <a:cubicBezTo>
                        <a:pt x="597" y="553"/>
                        <a:pt x="597" y="553"/>
                        <a:pt x="597" y="553"/>
                      </a:cubicBezTo>
                      <a:cubicBezTo>
                        <a:pt x="596" y="553"/>
                        <a:pt x="596" y="553"/>
                        <a:pt x="596" y="553"/>
                      </a:cubicBezTo>
                      <a:cubicBezTo>
                        <a:pt x="593" y="553"/>
                        <a:pt x="593" y="553"/>
                        <a:pt x="593" y="553"/>
                      </a:cubicBezTo>
                      <a:cubicBezTo>
                        <a:pt x="592" y="553"/>
                        <a:pt x="592" y="553"/>
                        <a:pt x="592" y="553"/>
                      </a:cubicBezTo>
                      <a:cubicBezTo>
                        <a:pt x="592" y="555"/>
                        <a:pt x="592" y="555"/>
                        <a:pt x="592" y="555"/>
                      </a:cubicBezTo>
                      <a:cubicBezTo>
                        <a:pt x="593" y="556"/>
                        <a:pt x="593" y="556"/>
                        <a:pt x="593" y="556"/>
                      </a:cubicBezTo>
                      <a:cubicBezTo>
                        <a:pt x="592" y="556"/>
                        <a:pt x="592" y="556"/>
                        <a:pt x="592" y="556"/>
                      </a:cubicBezTo>
                      <a:cubicBezTo>
                        <a:pt x="591" y="558"/>
                        <a:pt x="591" y="558"/>
                        <a:pt x="591" y="558"/>
                      </a:cubicBezTo>
                      <a:cubicBezTo>
                        <a:pt x="589" y="559"/>
                        <a:pt x="589" y="559"/>
                        <a:pt x="589" y="559"/>
                      </a:cubicBezTo>
                      <a:cubicBezTo>
                        <a:pt x="588" y="560"/>
                        <a:pt x="588" y="560"/>
                        <a:pt x="588" y="560"/>
                      </a:cubicBezTo>
                      <a:cubicBezTo>
                        <a:pt x="588" y="562"/>
                        <a:pt x="588" y="562"/>
                        <a:pt x="588" y="562"/>
                      </a:cubicBezTo>
                      <a:cubicBezTo>
                        <a:pt x="585" y="563"/>
                        <a:pt x="585" y="563"/>
                        <a:pt x="585" y="563"/>
                      </a:cubicBezTo>
                      <a:cubicBezTo>
                        <a:pt x="584" y="565"/>
                        <a:pt x="584" y="565"/>
                        <a:pt x="584" y="565"/>
                      </a:cubicBezTo>
                      <a:cubicBezTo>
                        <a:pt x="584" y="567"/>
                        <a:pt x="584" y="567"/>
                        <a:pt x="584" y="567"/>
                      </a:cubicBezTo>
                      <a:cubicBezTo>
                        <a:pt x="581" y="568"/>
                        <a:pt x="581" y="568"/>
                        <a:pt x="581" y="568"/>
                      </a:cubicBezTo>
                      <a:cubicBezTo>
                        <a:pt x="579" y="570"/>
                        <a:pt x="579" y="570"/>
                        <a:pt x="579" y="570"/>
                      </a:cubicBezTo>
                      <a:cubicBezTo>
                        <a:pt x="579" y="571"/>
                        <a:pt x="579" y="571"/>
                        <a:pt x="579" y="571"/>
                      </a:cubicBezTo>
                      <a:cubicBezTo>
                        <a:pt x="574" y="571"/>
                        <a:pt x="574" y="571"/>
                        <a:pt x="574" y="571"/>
                      </a:cubicBezTo>
                      <a:cubicBezTo>
                        <a:pt x="573" y="572"/>
                        <a:pt x="573" y="572"/>
                        <a:pt x="573" y="572"/>
                      </a:cubicBezTo>
                      <a:cubicBezTo>
                        <a:pt x="571" y="575"/>
                        <a:pt x="571" y="575"/>
                        <a:pt x="571" y="575"/>
                      </a:cubicBezTo>
                      <a:cubicBezTo>
                        <a:pt x="571" y="575"/>
                        <a:pt x="571" y="575"/>
                        <a:pt x="571" y="575"/>
                      </a:cubicBezTo>
                      <a:cubicBezTo>
                        <a:pt x="570" y="575"/>
                        <a:pt x="570" y="575"/>
                        <a:pt x="570" y="575"/>
                      </a:cubicBezTo>
                      <a:cubicBezTo>
                        <a:pt x="568" y="575"/>
                        <a:pt x="568" y="575"/>
                        <a:pt x="568" y="575"/>
                      </a:cubicBezTo>
                      <a:cubicBezTo>
                        <a:pt x="567" y="575"/>
                        <a:pt x="567" y="575"/>
                        <a:pt x="567" y="575"/>
                      </a:cubicBezTo>
                      <a:cubicBezTo>
                        <a:pt x="567" y="574"/>
                        <a:pt x="567" y="574"/>
                        <a:pt x="567" y="574"/>
                      </a:cubicBezTo>
                      <a:cubicBezTo>
                        <a:pt x="564" y="573"/>
                        <a:pt x="564" y="573"/>
                        <a:pt x="564" y="573"/>
                      </a:cubicBezTo>
                      <a:cubicBezTo>
                        <a:pt x="562" y="571"/>
                        <a:pt x="562" y="571"/>
                        <a:pt x="562" y="571"/>
                      </a:cubicBezTo>
                      <a:cubicBezTo>
                        <a:pt x="560" y="571"/>
                        <a:pt x="560" y="571"/>
                        <a:pt x="560" y="571"/>
                      </a:cubicBezTo>
                      <a:cubicBezTo>
                        <a:pt x="560" y="569"/>
                        <a:pt x="560" y="569"/>
                        <a:pt x="560" y="569"/>
                      </a:cubicBezTo>
                      <a:cubicBezTo>
                        <a:pt x="561" y="567"/>
                        <a:pt x="561" y="567"/>
                        <a:pt x="561" y="567"/>
                      </a:cubicBezTo>
                      <a:cubicBezTo>
                        <a:pt x="559" y="566"/>
                        <a:pt x="559" y="566"/>
                        <a:pt x="559" y="566"/>
                      </a:cubicBezTo>
                      <a:cubicBezTo>
                        <a:pt x="558" y="567"/>
                        <a:pt x="558" y="567"/>
                        <a:pt x="558" y="567"/>
                      </a:cubicBezTo>
                      <a:cubicBezTo>
                        <a:pt x="557" y="569"/>
                        <a:pt x="557" y="569"/>
                        <a:pt x="557" y="569"/>
                      </a:cubicBezTo>
                      <a:cubicBezTo>
                        <a:pt x="555" y="570"/>
                        <a:pt x="555" y="570"/>
                        <a:pt x="555" y="570"/>
                      </a:cubicBezTo>
                      <a:cubicBezTo>
                        <a:pt x="550" y="570"/>
                        <a:pt x="550" y="570"/>
                        <a:pt x="550" y="570"/>
                      </a:cubicBezTo>
                      <a:cubicBezTo>
                        <a:pt x="548" y="571"/>
                        <a:pt x="548" y="571"/>
                        <a:pt x="548" y="571"/>
                      </a:cubicBezTo>
                      <a:cubicBezTo>
                        <a:pt x="548" y="572"/>
                        <a:pt x="548" y="572"/>
                        <a:pt x="548" y="572"/>
                      </a:cubicBezTo>
                      <a:cubicBezTo>
                        <a:pt x="546" y="571"/>
                        <a:pt x="546" y="571"/>
                        <a:pt x="546" y="571"/>
                      </a:cubicBezTo>
                      <a:cubicBezTo>
                        <a:pt x="545" y="570"/>
                        <a:pt x="545" y="570"/>
                        <a:pt x="545" y="570"/>
                      </a:cubicBezTo>
                      <a:cubicBezTo>
                        <a:pt x="544" y="570"/>
                        <a:pt x="544" y="570"/>
                        <a:pt x="544" y="570"/>
                      </a:cubicBezTo>
                      <a:cubicBezTo>
                        <a:pt x="543" y="570"/>
                        <a:pt x="543" y="570"/>
                        <a:pt x="543" y="570"/>
                      </a:cubicBezTo>
                      <a:cubicBezTo>
                        <a:pt x="542" y="569"/>
                        <a:pt x="542" y="569"/>
                        <a:pt x="542" y="569"/>
                      </a:cubicBezTo>
                      <a:cubicBezTo>
                        <a:pt x="542" y="568"/>
                        <a:pt x="542" y="568"/>
                        <a:pt x="542" y="568"/>
                      </a:cubicBezTo>
                      <a:cubicBezTo>
                        <a:pt x="542" y="566"/>
                        <a:pt x="542" y="566"/>
                        <a:pt x="542" y="566"/>
                      </a:cubicBezTo>
                      <a:cubicBezTo>
                        <a:pt x="542" y="565"/>
                        <a:pt x="542" y="565"/>
                        <a:pt x="542" y="565"/>
                      </a:cubicBezTo>
                      <a:cubicBezTo>
                        <a:pt x="542" y="564"/>
                        <a:pt x="542" y="564"/>
                        <a:pt x="542" y="564"/>
                      </a:cubicBezTo>
                      <a:cubicBezTo>
                        <a:pt x="541" y="563"/>
                        <a:pt x="541" y="563"/>
                        <a:pt x="541" y="563"/>
                      </a:cubicBezTo>
                      <a:cubicBezTo>
                        <a:pt x="540" y="563"/>
                        <a:pt x="540" y="563"/>
                        <a:pt x="540" y="563"/>
                      </a:cubicBezTo>
                      <a:cubicBezTo>
                        <a:pt x="538" y="562"/>
                        <a:pt x="538" y="562"/>
                        <a:pt x="538" y="562"/>
                      </a:cubicBezTo>
                      <a:cubicBezTo>
                        <a:pt x="536" y="561"/>
                        <a:pt x="536" y="561"/>
                        <a:pt x="536" y="561"/>
                      </a:cubicBezTo>
                      <a:cubicBezTo>
                        <a:pt x="535" y="561"/>
                        <a:pt x="535" y="561"/>
                        <a:pt x="535" y="561"/>
                      </a:cubicBezTo>
                      <a:cubicBezTo>
                        <a:pt x="534" y="559"/>
                        <a:pt x="534" y="559"/>
                        <a:pt x="534" y="559"/>
                      </a:cubicBezTo>
                      <a:cubicBezTo>
                        <a:pt x="532" y="556"/>
                        <a:pt x="532" y="556"/>
                        <a:pt x="532" y="556"/>
                      </a:cubicBezTo>
                      <a:cubicBezTo>
                        <a:pt x="529" y="554"/>
                        <a:pt x="529" y="554"/>
                        <a:pt x="529" y="554"/>
                      </a:cubicBezTo>
                      <a:cubicBezTo>
                        <a:pt x="526" y="553"/>
                        <a:pt x="526" y="553"/>
                        <a:pt x="526" y="553"/>
                      </a:cubicBezTo>
                      <a:cubicBezTo>
                        <a:pt x="523" y="553"/>
                        <a:pt x="523" y="553"/>
                        <a:pt x="523" y="553"/>
                      </a:cubicBezTo>
                      <a:cubicBezTo>
                        <a:pt x="520" y="553"/>
                        <a:pt x="520" y="553"/>
                        <a:pt x="520" y="553"/>
                      </a:cubicBezTo>
                      <a:cubicBezTo>
                        <a:pt x="519" y="554"/>
                        <a:pt x="519" y="554"/>
                        <a:pt x="519" y="554"/>
                      </a:cubicBezTo>
                      <a:cubicBezTo>
                        <a:pt x="520" y="556"/>
                        <a:pt x="520" y="556"/>
                        <a:pt x="520" y="556"/>
                      </a:cubicBezTo>
                      <a:cubicBezTo>
                        <a:pt x="519" y="556"/>
                        <a:pt x="519" y="556"/>
                        <a:pt x="519" y="556"/>
                      </a:cubicBezTo>
                      <a:cubicBezTo>
                        <a:pt x="517" y="557"/>
                        <a:pt x="517" y="557"/>
                        <a:pt x="517" y="557"/>
                      </a:cubicBezTo>
                      <a:cubicBezTo>
                        <a:pt x="516" y="557"/>
                        <a:pt x="516" y="557"/>
                        <a:pt x="516" y="557"/>
                      </a:cubicBezTo>
                      <a:cubicBezTo>
                        <a:pt x="514" y="558"/>
                        <a:pt x="514" y="558"/>
                        <a:pt x="514" y="558"/>
                      </a:cubicBezTo>
                      <a:cubicBezTo>
                        <a:pt x="511" y="556"/>
                        <a:pt x="511" y="556"/>
                        <a:pt x="511" y="556"/>
                      </a:cubicBezTo>
                      <a:cubicBezTo>
                        <a:pt x="510" y="557"/>
                        <a:pt x="510" y="557"/>
                        <a:pt x="510" y="557"/>
                      </a:cubicBezTo>
                      <a:cubicBezTo>
                        <a:pt x="508" y="558"/>
                        <a:pt x="508" y="558"/>
                        <a:pt x="508" y="558"/>
                      </a:cubicBezTo>
                      <a:cubicBezTo>
                        <a:pt x="507" y="558"/>
                        <a:pt x="507" y="558"/>
                        <a:pt x="507" y="558"/>
                      </a:cubicBezTo>
                      <a:cubicBezTo>
                        <a:pt x="505" y="556"/>
                        <a:pt x="505" y="556"/>
                        <a:pt x="505" y="556"/>
                      </a:cubicBezTo>
                      <a:cubicBezTo>
                        <a:pt x="503" y="555"/>
                        <a:pt x="503" y="555"/>
                        <a:pt x="503" y="555"/>
                      </a:cubicBezTo>
                      <a:cubicBezTo>
                        <a:pt x="503" y="554"/>
                        <a:pt x="503" y="554"/>
                        <a:pt x="503" y="554"/>
                      </a:cubicBezTo>
                      <a:cubicBezTo>
                        <a:pt x="503" y="553"/>
                        <a:pt x="503" y="553"/>
                        <a:pt x="503" y="553"/>
                      </a:cubicBezTo>
                      <a:cubicBezTo>
                        <a:pt x="500" y="551"/>
                        <a:pt x="500" y="551"/>
                        <a:pt x="500" y="551"/>
                      </a:cubicBezTo>
                      <a:cubicBezTo>
                        <a:pt x="499" y="552"/>
                        <a:pt x="499" y="552"/>
                        <a:pt x="499" y="552"/>
                      </a:cubicBezTo>
                      <a:cubicBezTo>
                        <a:pt x="499" y="554"/>
                        <a:pt x="499" y="554"/>
                        <a:pt x="499" y="554"/>
                      </a:cubicBezTo>
                      <a:cubicBezTo>
                        <a:pt x="499" y="555"/>
                        <a:pt x="499" y="555"/>
                        <a:pt x="499" y="555"/>
                      </a:cubicBezTo>
                      <a:cubicBezTo>
                        <a:pt x="499" y="556"/>
                        <a:pt x="499" y="556"/>
                        <a:pt x="499" y="556"/>
                      </a:cubicBezTo>
                      <a:cubicBezTo>
                        <a:pt x="497" y="557"/>
                        <a:pt x="497" y="557"/>
                        <a:pt x="497" y="557"/>
                      </a:cubicBezTo>
                      <a:cubicBezTo>
                        <a:pt x="495" y="557"/>
                        <a:pt x="495" y="557"/>
                        <a:pt x="495" y="557"/>
                      </a:cubicBezTo>
                      <a:cubicBezTo>
                        <a:pt x="471" y="527"/>
                        <a:pt x="471" y="527"/>
                        <a:pt x="471" y="527"/>
                      </a:cubicBezTo>
                      <a:cubicBezTo>
                        <a:pt x="454" y="514"/>
                        <a:pt x="454" y="514"/>
                        <a:pt x="454" y="514"/>
                      </a:cubicBezTo>
                      <a:cubicBezTo>
                        <a:pt x="453" y="512"/>
                        <a:pt x="453" y="512"/>
                        <a:pt x="453" y="512"/>
                      </a:cubicBezTo>
                      <a:cubicBezTo>
                        <a:pt x="455" y="512"/>
                        <a:pt x="455" y="512"/>
                        <a:pt x="455" y="512"/>
                      </a:cubicBezTo>
                      <a:cubicBezTo>
                        <a:pt x="456" y="510"/>
                        <a:pt x="456" y="510"/>
                        <a:pt x="456" y="510"/>
                      </a:cubicBezTo>
                      <a:cubicBezTo>
                        <a:pt x="456" y="508"/>
                        <a:pt x="456" y="508"/>
                        <a:pt x="456" y="508"/>
                      </a:cubicBezTo>
                      <a:cubicBezTo>
                        <a:pt x="455" y="507"/>
                        <a:pt x="455" y="507"/>
                        <a:pt x="455" y="507"/>
                      </a:cubicBezTo>
                      <a:cubicBezTo>
                        <a:pt x="453" y="508"/>
                        <a:pt x="453" y="508"/>
                        <a:pt x="453" y="508"/>
                      </a:cubicBezTo>
                      <a:cubicBezTo>
                        <a:pt x="451" y="509"/>
                        <a:pt x="451" y="509"/>
                        <a:pt x="451" y="509"/>
                      </a:cubicBezTo>
                      <a:cubicBezTo>
                        <a:pt x="449" y="510"/>
                        <a:pt x="449" y="510"/>
                        <a:pt x="449" y="510"/>
                      </a:cubicBezTo>
                      <a:cubicBezTo>
                        <a:pt x="448" y="511"/>
                        <a:pt x="448" y="511"/>
                        <a:pt x="448" y="511"/>
                      </a:cubicBezTo>
                      <a:cubicBezTo>
                        <a:pt x="445" y="513"/>
                        <a:pt x="445" y="513"/>
                        <a:pt x="445" y="513"/>
                      </a:cubicBezTo>
                      <a:cubicBezTo>
                        <a:pt x="445" y="515"/>
                        <a:pt x="445" y="515"/>
                        <a:pt x="445" y="515"/>
                      </a:cubicBezTo>
                      <a:cubicBezTo>
                        <a:pt x="444" y="516"/>
                        <a:pt x="444" y="516"/>
                        <a:pt x="444" y="516"/>
                      </a:cubicBezTo>
                      <a:cubicBezTo>
                        <a:pt x="443" y="518"/>
                        <a:pt x="443" y="518"/>
                        <a:pt x="443" y="518"/>
                      </a:cubicBezTo>
                      <a:cubicBezTo>
                        <a:pt x="441" y="519"/>
                        <a:pt x="441" y="519"/>
                        <a:pt x="441" y="519"/>
                      </a:cubicBezTo>
                      <a:cubicBezTo>
                        <a:pt x="438" y="519"/>
                        <a:pt x="438" y="519"/>
                        <a:pt x="438" y="519"/>
                      </a:cubicBezTo>
                      <a:cubicBezTo>
                        <a:pt x="437" y="520"/>
                        <a:pt x="437" y="520"/>
                        <a:pt x="437" y="520"/>
                      </a:cubicBezTo>
                      <a:cubicBezTo>
                        <a:pt x="437" y="522"/>
                        <a:pt x="437" y="522"/>
                        <a:pt x="437" y="522"/>
                      </a:cubicBezTo>
                      <a:cubicBezTo>
                        <a:pt x="436" y="523"/>
                        <a:pt x="436" y="523"/>
                        <a:pt x="436" y="523"/>
                      </a:cubicBezTo>
                      <a:cubicBezTo>
                        <a:pt x="435" y="522"/>
                        <a:pt x="435" y="522"/>
                        <a:pt x="435" y="522"/>
                      </a:cubicBezTo>
                      <a:cubicBezTo>
                        <a:pt x="431" y="521"/>
                        <a:pt x="431" y="521"/>
                        <a:pt x="431" y="521"/>
                      </a:cubicBezTo>
                      <a:cubicBezTo>
                        <a:pt x="429" y="522"/>
                        <a:pt x="429" y="522"/>
                        <a:pt x="429" y="522"/>
                      </a:cubicBezTo>
                      <a:cubicBezTo>
                        <a:pt x="428" y="523"/>
                        <a:pt x="428" y="523"/>
                        <a:pt x="428" y="523"/>
                      </a:cubicBezTo>
                      <a:cubicBezTo>
                        <a:pt x="426" y="523"/>
                        <a:pt x="426" y="523"/>
                        <a:pt x="426" y="523"/>
                      </a:cubicBezTo>
                      <a:cubicBezTo>
                        <a:pt x="425" y="522"/>
                        <a:pt x="425" y="522"/>
                        <a:pt x="425" y="522"/>
                      </a:cubicBezTo>
                      <a:cubicBezTo>
                        <a:pt x="425" y="519"/>
                        <a:pt x="425" y="519"/>
                        <a:pt x="425" y="519"/>
                      </a:cubicBezTo>
                      <a:cubicBezTo>
                        <a:pt x="426" y="518"/>
                        <a:pt x="426" y="518"/>
                        <a:pt x="426" y="518"/>
                      </a:cubicBezTo>
                      <a:cubicBezTo>
                        <a:pt x="427" y="516"/>
                        <a:pt x="427" y="516"/>
                        <a:pt x="427" y="516"/>
                      </a:cubicBezTo>
                      <a:cubicBezTo>
                        <a:pt x="426" y="516"/>
                        <a:pt x="426" y="516"/>
                        <a:pt x="426" y="516"/>
                      </a:cubicBezTo>
                      <a:cubicBezTo>
                        <a:pt x="424" y="517"/>
                        <a:pt x="424" y="517"/>
                        <a:pt x="424" y="517"/>
                      </a:cubicBezTo>
                      <a:cubicBezTo>
                        <a:pt x="423" y="517"/>
                        <a:pt x="423" y="517"/>
                        <a:pt x="423" y="517"/>
                      </a:cubicBezTo>
                      <a:cubicBezTo>
                        <a:pt x="420" y="515"/>
                        <a:pt x="420" y="515"/>
                        <a:pt x="420" y="515"/>
                      </a:cubicBezTo>
                      <a:cubicBezTo>
                        <a:pt x="417" y="515"/>
                        <a:pt x="417" y="515"/>
                        <a:pt x="417" y="515"/>
                      </a:cubicBezTo>
                      <a:cubicBezTo>
                        <a:pt x="418" y="517"/>
                        <a:pt x="418" y="517"/>
                        <a:pt x="418" y="517"/>
                      </a:cubicBezTo>
                      <a:cubicBezTo>
                        <a:pt x="419" y="517"/>
                        <a:pt x="419" y="517"/>
                        <a:pt x="419" y="517"/>
                      </a:cubicBezTo>
                      <a:cubicBezTo>
                        <a:pt x="418" y="519"/>
                        <a:pt x="418" y="519"/>
                        <a:pt x="418" y="519"/>
                      </a:cubicBezTo>
                      <a:cubicBezTo>
                        <a:pt x="417" y="519"/>
                        <a:pt x="417" y="519"/>
                        <a:pt x="417" y="519"/>
                      </a:cubicBezTo>
                      <a:cubicBezTo>
                        <a:pt x="415" y="516"/>
                        <a:pt x="415" y="516"/>
                        <a:pt x="415" y="516"/>
                      </a:cubicBezTo>
                      <a:cubicBezTo>
                        <a:pt x="415" y="513"/>
                        <a:pt x="415" y="513"/>
                        <a:pt x="415" y="513"/>
                      </a:cubicBezTo>
                      <a:cubicBezTo>
                        <a:pt x="412" y="511"/>
                        <a:pt x="412" y="511"/>
                        <a:pt x="412" y="511"/>
                      </a:cubicBezTo>
                      <a:cubicBezTo>
                        <a:pt x="411" y="511"/>
                        <a:pt x="411" y="511"/>
                        <a:pt x="411" y="511"/>
                      </a:cubicBezTo>
                      <a:cubicBezTo>
                        <a:pt x="412" y="513"/>
                        <a:pt x="412" y="513"/>
                        <a:pt x="412" y="513"/>
                      </a:cubicBezTo>
                      <a:cubicBezTo>
                        <a:pt x="411" y="515"/>
                        <a:pt x="411" y="515"/>
                        <a:pt x="411" y="515"/>
                      </a:cubicBezTo>
                      <a:cubicBezTo>
                        <a:pt x="410" y="515"/>
                        <a:pt x="410" y="515"/>
                        <a:pt x="410" y="515"/>
                      </a:cubicBezTo>
                      <a:cubicBezTo>
                        <a:pt x="410" y="513"/>
                        <a:pt x="410" y="513"/>
                        <a:pt x="410" y="513"/>
                      </a:cubicBezTo>
                      <a:cubicBezTo>
                        <a:pt x="408" y="513"/>
                        <a:pt x="408" y="513"/>
                        <a:pt x="408" y="513"/>
                      </a:cubicBezTo>
                      <a:cubicBezTo>
                        <a:pt x="408" y="515"/>
                        <a:pt x="408" y="515"/>
                        <a:pt x="408" y="515"/>
                      </a:cubicBezTo>
                      <a:cubicBezTo>
                        <a:pt x="407" y="515"/>
                        <a:pt x="407" y="515"/>
                        <a:pt x="407" y="515"/>
                      </a:cubicBezTo>
                      <a:cubicBezTo>
                        <a:pt x="405" y="514"/>
                        <a:pt x="405" y="514"/>
                        <a:pt x="405" y="514"/>
                      </a:cubicBezTo>
                      <a:cubicBezTo>
                        <a:pt x="403" y="515"/>
                        <a:pt x="403" y="515"/>
                        <a:pt x="403" y="515"/>
                      </a:cubicBezTo>
                      <a:cubicBezTo>
                        <a:pt x="402" y="515"/>
                        <a:pt x="402" y="515"/>
                        <a:pt x="402" y="515"/>
                      </a:cubicBezTo>
                      <a:cubicBezTo>
                        <a:pt x="401" y="513"/>
                        <a:pt x="401" y="513"/>
                        <a:pt x="401" y="513"/>
                      </a:cubicBezTo>
                      <a:cubicBezTo>
                        <a:pt x="403" y="512"/>
                        <a:pt x="403" y="512"/>
                        <a:pt x="403" y="512"/>
                      </a:cubicBezTo>
                      <a:cubicBezTo>
                        <a:pt x="403" y="512"/>
                        <a:pt x="403" y="512"/>
                        <a:pt x="403" y="512"/>
                      </a:cubicBezTo>
                      <a:cubicBezTo>
                        <a:pt x="402" y="510"/>
                        <a:pt x="402" y="510"/>
                        <a:pt x="402" y="510"/>
                      </a:cubicBezTo>
                      <a:cubicBezTo>
                        <a:pt x="403" y="508"/>
                        <a:pt x="403" y="508"/>
                        <a:pt x="403" y="508"/>
                      </a:cubicBezTo>
                      <a:cubicBezTo>
                        <a:pt x="403" y="507"/>
                        <a:pt x="403" y="507"/>
                        <a:pt x="403" y="507"/>
                      </a:cubicBezTo>
                      <a:cubicBezTo>
                        <a:pt x="401" y="506"/>
                        <a:pt x="401" y="506"/>
                        <a:pt x="401" y="506"/>
                      </a:cubicBezTo>
                      <a:cubicBezTo>
                        <a:pt x="400" y="504"/>
                        <a:pt x="400" y="504"/>
                        <a:pt x="400" y="504"/>
                      </a:cubicBezTo>
                      <a:cubicBezTo>
                        <a:pt x="399" y="502"/>
                        <a:pt x="399" y="502"/>
                        <a:pt x="399" y="502"/>
                      </a:cubicBezTo>
                      <a:cubicBezTo>
                        <a:pt x="399" y="502"/>
                        <a:pt x="399" y="502"/>
                        <a:pt x="399" y="502"/>
                      </a:cubicBezTo>
                      <a:cubicBezTo>
                        <a:pt x="398" y="499"/>
                        <a:pt x="398" y="499"/>
                        <a:pt x="398" y="499"/>
                      </a:cubicBezTo>
                      <a:cubicBezTo>
                        <a:pt x="396" y="499"/>
                        <a:pt x="396" y="499"/>
                        <a:pt x="396" y="499"/>
                      </a:cubicBezTo>
                      <a:cubicBezTo>
                        <a:pt x="394" y="500"/>
                        <a:pt x="394" y="500"/>
                        <a:pt x="394" y="500"/>
                      </a:cubicBezTo>
                      <a:cubicBezTo>
                        <a:pt x="391" y="500"/>
                        <a:pt x="391" y="500"/>
                        <a:pt x="391" y="500"/>
                      </a:cubicBezTo>
                      <a:cubicBezTo>
                        <a:pt x="389" y="498"/>
                        <a:pt x="389" y="498"/>
                        <a:pt x="389" y="498"/>
                      </a:cubicBezTo>
                      <a:cubicBezTo>
                        <a:pt x="386" y="499"/>
                        <a:pt x="386" y="499"/>
                        <a:pt x="386" y="499"/>
                      </a:cubicBezTo>
                      <a:cubicBezTo>
                        <a:pt x="384" y="498"/>
                        <a:pt x="384" y="498"/>
                        <a:pt x="384" y="498"/>
                      </a:cubicBezTo>
                      <a:cubicBezTo>
                        <a:pt x="383" y="498"/>
                        <a:pt x="383" y="498"/>
                        <a:pt x="383" y="498"/>
                      </a:cubicBezTo>
                      <a:cubicBezTo>
                        <a:pt x="381" y="498"/>
                        <a:pt x="381" y="498"/>
                        <a:pt x="381" y="498"/>
                      </a:cubicBezTo>
                      <a:cubicBezTo>
                        <a:pt x="380" y="499"/>
                        <a:pt x="380" y="499"/>
                        <a:pt x="380" y="499"/>
                      </a:cubicBezTo>
                      <a:cubicBezTo>
                        <a:pt x="379" y="501"/>
                        <a:pt x="379" y="501"/>
                        <a:pt x="379" y="501"/>
                      </a:cubicBezTo>
                      <a:cubicBezTo>
                        <a:pt x="377" y="501"/>
                        <a:pt x="377" y="501"/>
                        <a:pt x="377" y="501"/>
                      </a:cubicBezTo>
                      <a:cubicBezTo>
                        <a:pt x="376" y="502"/>
                        <a:pt x="376" y="502"/>
                        <a:pt x="376" y="502"/>
                      </a:cubicBezTo>
                      <a:cubicBezTo>
                        <a:pt x="376" y="503"/>
                        <a:pt x="376" y="503"/>
                        <a:pt x="376" y="503"/>
                      </a:cubicBezTo>
                      <a:cubicBezTo>
                        <a:pt x="376" y="505"/>
                        <a:pt x="376" y="505"/>
                        <a:pt x="376" y="505"/>
                      </a:cubicBezTo>
                      <a:cubicBezTo>
                        <a:pt x="374" y="505"/>
                        <a:pt x="374" y="505"/>
                        <a:pt x="374" y="505"/>
                      </a:cubicBezTo>
                      <a:cubicBezTo>
                        <a:pt x="373" y="505"/>
                        <a:pt x="373" y="505"/>
                        <a:pt x="373" y="505"/>
                      </a:cubicBezTo>
                      <a:cubicBezTo>
                        <a:pt x="371" y="507"/>
                        <a:pt x="371" y="507"/>
                        <a:pt x="371" y="507"/>
                      </a:cubicBezTo>
                      <a:cubicBezTo>
                        <a:pt x="369" y="507"/>
                        <a:pt x="369" y="507"/>
                        <a:pt x="369" y="507"/>
                      </a:cubicBezTo>
                      <a:cubicBezTo>
                        <a:pt x="368" y="508"/>
                        <a:pt x="368" y="508"/>
                        <a:pt x="368" y="508"/>
                      </a:cubicBezTo>
                      <a:cubicBezTo>
                        <a:pt x="367" y="508"/>
                        <a:pt x="367" y="508"/>
                        <a:pt x="367" y="508"/>
                      </a:cubicBezTo>
                      <a:cubicBezTo>
                        <a:pt x="363" y="511"/>
                        <a:pt x="363" y="511"/>
                        <a:pt x="363" y="511"/>
                      </a:cubicBezTo>
                      <a:cubicBezTo>
                        <a:pt x="361" y="511"/>
                        <a:pt x="361" y="511"/>
                        <a:pt x="361" y="511"/>
                      </a:cubicBezTo>
                      <a:cubicBezTo>
                        <a:pt x="359" y="512"/>
                        <a:pt x="359" y="512"/>
                        <a:pt x="359" y="512"/>
                      </a:cubicBezTo>
                      <a:cubicBezTo>
                        <a:pt x="358" y="512"/>
                        <a:pt x="358" y="512"/>
                        <a:pt x="358" y="512"/>
                      </a:cubicBezTo>
                      <a:cubicBezTo>
                        <a:pt x="357" y="511"/>
                        <a:pt x="357" y="511"/>
                        <a:pt x="357" y="511"/>
                      </a:cubicBezTo>
                      <a:cubicBezTo>
                        <a:pt x="355" y="512"/>
                        <a:pt x="355" y="512"/>
                        <a:pt x="355" y="512"/>
                      </a:cubicBezTo>
                      <a:cubicBezTo>
                        <a:pt x="355" y="513"/>
                        <a:pt x="355" y="513"/>
                        <a:pt x="355" y="513"/>
                      </a:cubicBezTo>
                      <a:cubicBezTo>
                        <a:pt x="353" y="513"/>
                        <a:pt x="353" y="513"/>
                        <a:pt x="353" y="513"/>
                      </a:cubicBezTo>
                      <a:cubicBezTo>
                        <a:pt x="352" y="514"/>
                        <a:pt x="352" y="514"/>
                        <a:pt x="352" y="514"/>
                      </a:cubicBezTo>
                      <a:cubicBezTo>
                        <a:pt x="352" y="516"/>
                        <a:pt x="352" y="516"/>
                        <a:pt x="352" y="516"/>
                      </a:cubicBezTo>
                      <a:cubicBezTo>
                        <a:pt x="351" y="517"/>
                        <a:pt x="351" y="517"/>
                        <a:pt x="351" y="517"/>
                      </a:cubicBezTo>
                      <a:cubicBezTo>
                        <a:pt x="350" y="517"/>
                        <a:pt x="350" y="517"/>
                        <a:pt x="350" y="517"/>
                      </a:cubicBezTo>
                      <a:cubicBezTo>
                        <a:pt x="349" y="517"/>
                        <a:pt x="349" y="517"/>
                        <a:pt x="349" y="517"/>
                      </a:cubicBezTo>
                      <a:cubicBezTo>
                        <a:pt x="347" y="518"/>
                        <a:pt x="347" y="518"/>
                        <a:pt x="347" y="518"/>
                      </a:cubicBezTo>
                      <a:cubicBezTo>
                        <a:pt x="345" y="518"/>
                        <a:pt x="345" y="518"/>
                        <a:pt x="345" y="518"/>
                      </a:cubicBezTo>
                      <a:cubicBezTo>
                        <a:pt x="342" y="520"/>
                        <a:pt x="342" y="520"/>
                        <a:pt x="342" y="520"/>
                      </a:cubicBezTo>
                      <a:cubicBezTo>
                        <a:pt x="342" y="520"/>
                        <a:pt x="342" y="520"/>
                        <a:pt x="342" y="520"/>
                      </a:cubicBezTo>
                      <a:cubicBezTo>
                        <a:pt x="339" y="521"/>
                        <a:pt x="339" y="521"/>
                        <a:pt x="339" y="521"/>
                      </a:cubicBezTo>
                      <a:cubicBezTo>
                        <a:pt x="337" y="522"/>
                        <a:pt x="337" y="522"/>
                        <a:pt x="337" y="522"/>
                      </a:cubicBezTo>
                      <a:cubicBezTo>
                        <a:pt x="334" y="522"/>
                        <a:pt x="334" y="522"/>
                        <a:pt x="334" y="522"/>
                      </a:cubicBezTo>
                      <a:cubicBezTo>
                        <a:pt x="331" y="523"/>
                        <a:pt x="331" y="523"/>
                        <a:pt x="331" y="523"/>
                      </a:cubicBezTo>
                      <a:cubicBezTo>
                        <a:pt x="331" y="525"/>
                        <a:pt x="331" y="525"/>
                        <a:pt x="331" y="525"/>
                      </a:cubicBezTo>
                      <a:cubicBezTo>
                        <a:pt x="330" y="526"/>
                        <a:pt x="330" y="526"/>
                        <a:pt x="330" y="526"/>
                      </a:cubicBezTo>
                      <a:cubicBezTo>
                        <a:pt x="329" y="524"/>
                        <a:pt x="329" y="524"/>
                        <a:pt x="329" y="524"/>
                      </a:cubicBezTo>
                      <a:cubicBezTo>
                        <a:pt x="327" y="524"/>
                        <a:pt x="327" y="524"/>
                        <a:pt x="327" y="524"/>
                      </a:cubicBezTo>
                      <a:cubicBezTo>
                        <a:pt x="325" y="525"/>
                        <a:pt x="325" y="525"/>
                        <a:pt x="325" y="525"/>
                      </a:cubicBezTo>
                      <a:cubicBezTo>
                        <a:pt x="325" y="526"/>
                        <a:pt x="325" y="526"/>
                        <a:pt x="325" y="526"/>
                      </a:cubicBezTo>
                      <a:cubicBezTo>
                        <a:pt x="325" y="527"/>
                        <a:pt x="325" y="527"/>
                        <a:pt x="325" y="527"/>
                      </a:cubicBezTo>
                      <a:cubicBezTo>
                        <a:pt x="323" y="526"/>
                        <a:pt x="323" y="526"/>
                        <a:pt x="323" y="526"/>
                      </a:cubicBezTo>
                      <a:cubicBezTo>
                        <a:pt x="321" y="526"/>
                        <a:pt x="321" y="526"/>
                        <a:pt x="321" y="526"/>
                      </a:cubicBezTo>
                      <a:cubicBezTo>
                        <a:pt x="320" y="525"/>
                        <a:pt x="320" y="525"/>
                        <a:pt x="320" y="525"/>
                      </a:cubicBezTo>
                      <a:cubicBezTo>
                        <a:pt x="319" y="525"/>
                        <a:pt x="319" y="525"/>
                        <a:pt x="319" y="525"/>
                      </a:cubicBezTo>
                      <a:cubicBezTo>
                        <a:pt x="318" y="526"/>
                        <a:pt x="318" y="526"/>
                        <a:pt x="318" y="526"/>
                      </a:cubicBezTo>
                      <a:cubicBezTo>
                        <a:pt x="315" y="526"/>
                        <a:pt x="315" y="526"/>
                        <a:pt x="315" y="526"/>
                      </a:cubicBezTo>
                      <a:cubicBezTo>
                        <a:pt x="315" y="527"/>
                        <a:pt x="315" y="527"/>
                        <a:pt x="315" y="527"/>
                      </a:cubicBezTo>
                      <a:cubicBezTo>
                        <a:pt x="316" y="529"/>
                        <a:pt x="316" y="529"/>
                        <a:pt x="316" y="529"/>
                      </a:cubicBezTo>
                      <a:cubicBezTo>
                        <a:pt x="315" y="530"/>
                        <a:pt x="315" y="530"/>
                        <a:pt x="315" y="530"/>
                      </a:cubicBezTo>
                      <a:cubicBezTo>
                        <a:pt x="317" y="531"/>
                        <a:pt x="317" y="531"/>
                        <a:pt x="317" y="531"/>
                      </a:cubicBezTo>
                      <a:cubicBezTo>
                        <a:pt x="319" y="531"/>
                        <a:pt x="319" y="531"/>
                        <a:pt x="319" y="531"/>
                      </a:cubicBezTo>
                      <a:cubicBezTo>
                        <a:pt x="320" y="533"/>
                        <a:pt x="320" y="533"/>
                        <a:pt x="320" y="533"/>
                      </a:cubicBezTo>
                      <a:cubicBezTo>
                        <a:pt x="317" y="533"/>
                        <a:pt x="317" y="533"/>
                        <a:pt x="317" y="533"/>
                      </a:cubicBezTo>
                      <a:cubicBezTo>
                        <a:pt x="316" y="534"/>
                        <a:pt x="316" y="534"/>
                        <a:pt x="316" y="534"/>
                      </a:cubicBezTo>
                      <a:cubicBezTo>
                        <a:pt x="317" y="535"/>
                        <a:pt x="317" y="535"/>
                        <a:pt x="317" y="535"/>
                      </a:cubicBezTo>
                      <a:cubicBezTo>
                        <a:pt x="319" y="535"/>
                        <a:pt x="319" y="535"/>
                        <a:pt x="319" y="535"/>
                      </a:cubicBezTo>
                      <a:cubicBezTo>
                        <a:pt x="321" y="536"/>
                        <a:pt x="321" y="536"/>
                        <a:pt x="321" y="536"/>
                      </a:cubicBezTo>
                      <a:cubicBezTo>
                        <a:pt x="322" y="535"/>
                        <a:pt x="322" y="535"/>
                        <a:pt x="322" y="535"/>
                      </a:cubicBezTo>
                      <a:cubicBezTo>
                        <a:pt x="324" y="535"/>
                        <a:pt x="324" y="535"/>
                        <a:pt x="324" y="535"/>
                      </a:cubicBezTo>
                      <a:cubicBezTo>
                        <a:pt x="325" y="536"/>
                        <a:pt x="325" y="536"/>
                        <a:pt x="325" y="536"/>
                      </a:cubicBezTo>
                      <a:cubicBezTo>
                        <a:pt x="327" y="537"/>
                        <a:pt x="327" y="537"/>
                        <a:pt x="327" y="537"/>
                      </a:cubicBezTo>
                      <a:cubicBezTo>
                        <a:pt x="327" y="539"/>
                        <a:pt x="327" y="539"/>
                        <a:pt x="327" y="539"/>
                      </a:cubicBezTo>
                      <a:cubicBezTo>
                        <a:pt x="326" y="540"/>
                        <a:pt x="326" y="540"/>
                        <a:pt x="326" y="540"/>
                      </a:cubicBezTo>
                      <a:cubicBezTo>
                        <a:pt x="324" y="539"/>
                        <a:pt x="324" y="539"/>
                        <a:pt x="324" y="539"/>
                      </a:cubicBezTo>
                      <a:cubicBezTo>
                        <a:pt x="320" y="540"/>
                        <a:pt x="320" y="540"/>
                        <a:pt x="320" y="540"/>
                      </a:cubicBezTo>
                      <a:cubicBezTo>
                        <a:pt x="318" y="542"/>
                        <a:pt x="318" y="542"/>
                        <a:pt x="318" y="542"/>
                      </a:cubicBezTo>
                      <a:cubicBezTo>
                        <a:pt x="316" y="545"/>
                        <a:pt x="316" y="545"/>
                        <a:pt x="316" y="545"/>
                      </a:cubicBezTo>
                      <a:cubicBezTo>
                        <a:pt x="316" y="547"/>
                        <a:pt x="316" y="547"/>
                        <a:pt x="316" y="547"/>
                      </a:cubicBezTo>
                      <a:cubicBezTo>
                        <a:pt x="318" y="547"/>
                        <a:pt x="318" y="547"/>
                        <a:pt x="318" y="547"/>
                      </a:cubicBezTo>
                      <a:cubicBezTo>
                        <a:pt x="318" y="549"/>
                        <a:pt x="318" y="549"/>
                        <a:pt x="318" y="549"/>
                      </a:cubicBezTo>
                      <a:cubicBezTo>
                        <a:pt x="317" y="551"/>
                        <a:pt x="317" y="551"/>
                        <a:pt x="317" y="551"/>
                      </a:cubicBezTo>
                      <a:cubicBezTo>
                        <a:pt x="316" y="553"/>
                        <a:pt x="316" y="553"/>
                        <a:pt x="316" y="553"/>
                      </a:cubicBezTo>
                      <a:cubicBezTo>
                        <a:pt x="314" y="554"/>
                        <a:pt x="314" y="554"/>
                        <a:pt x="314" y="554"/>
                      </a:cubicBezTo>
                      <a:cubicBezTo>
                        <a:pt x="314" y="555"/>
                        <a:pt x="314" y="555"/>
                        <a:pt x="314" y="555"/>
                      </a:cubicBezTo>
                      <a:cubicBezTo>
                        <a:pt x="315" y="556"/>
                        <a:pt x="315" y="556"/>
                        <a:pt x="315" y="556"/>
                      </a:cubicBezTo>
                      <a:cubicBezTo>
                        <a:pt x="315" y="557"/>
                        <a:pt x="315" y="557"/>
                        <a:pt x="315" y="557"/>
                      </a:cubicBezTo>
                      <a:cubicBezTo>
                        <a:pt x="317" y="557"/>
                        <a:pt x="317" y="557"/>
                        <a:pt x="317" y="557"/>
                      </a:cubicBezTo>
                      <a:cubicBezTo>
                        <a:pt x="319" y="558"/>
                        <a:pt x="319" y="558"/>
                        <a:pt x="319" y="558"/>
                      </a:cubicBezTo>
                      <a:cubicBezTo>
                        <a:pt x="321" y="559"/>
                        <a:pt x="321" y="559"/>
                        <a:pt x="321" y="559"/>
                      </a:cubicBezTo>
                      <a:cubicBezTo>
                        <a:pt x="321" y="560"/>
                        <a:pt x="321" y="560"/>
                        <a:pt x="321" y="560"/>
                      </a:cubicBezTo>
                      <a:cubicBezTo>
                        <a:pt x="323" y="561"/>
                        <a:pt x="323" y="561"/>
                        <a:pt x="323" y="561"/>
                      </a:cubicBezTo>
                      <a:cubicBezTo>
                        <a:pt x="326" y="561"/>
                        <a:pt x="326" y="561"/>
                        <a:pt x="326" y="561"/>
                      </a:cubicBezTo>
                      <a:cubicBezTo>
                        <a:pt x="327" y="562"/>
                        <a:pt x="327" y="562"/>
                        <a:pt x="327" y="562"/>
                      </a:cubicBezTo>
                      <a:cubicBezTo>
                        <a:pt x="327" y="570"/>
                        <a:pt x="327" y="570"/>
                        <a:pt x="327" y="570"/>
                      </a:cubicBezTo>
                      <a:cubicBezTo>
                        <a:pt x="326" y="572"/>
                        <a:pt x="326" y="572"/>
                        <a:pt x="326" y="572"/>
                      </a:cubicBezTo>
                      <a:cubicBezTo>
                        <a:pt x="323" y="573"/>
                        <a:pt x="323" y="573"/>
                        <a:pt x="323" y="573"/>
                      </a:cubicBezTo>
                      <a:cubicBezTo>
                        <a:pt x="320" y="572"/>
                        <a:pt x="320" y="572"/>
                        <a:pt x="320" y="572"/>
                      </a:cubicBezTo>
                      <a:cubicBezTo>
                        <a:pt x="317" y="571"/>
                        <a:pt x="317" y="571"/>
                        <a:pt x="317" y="571"/>
                      </a:cubicBezTo>
                      <a:cubicBezTo>
                        <a:pt x="316" y="572"/>
                        <a:pt x="316" y="572"/>
                        <a:pt x="316" y="572"/>
                      </a:cubicBezTo>
                      <a:cubicBezTo>
                        <a:pt x="316" y="573"/>
                        <a:pt x="316" y="573"/>
                        <a:pt x="316" y="573"/>
                      </a:cubicBezTo>
                      <a:cubicBezTo>
                        <a:pt x="315" y="576"/>
                        <a:pt x="315" y="576"/>
                        <a:pt x="315" y="576"/>
                      </a:cubicBezTo>
                      <a:cubicBezTo>
                        <a:pt x="313" y="576"/>
                        <a:pt x="313" y="576"/>
                        <a:pt x="313" y="576"/>
                      </a:cubicBezTo>
                      <a:cubicBezTo>
                        <a:pt x="310" y="574"/>
                        <a:pt x="310" y="574"/>
                        <a:pt x="310" y="574"/>
                      </a:cubicBezTo>
                      <a:cubicBezTo>
                        <a:pt x="307" y="574"/>
                        <a:pt x="307" y="574"/>
                        <a:pt x="307" y="574"/>
                      </a:cubicBezTo>
                      <a:cubicBezTo>
                        <a:pt x="305" y="573"/>
                        <a:pt x="305" y="573"/>
                        <a:pt x="305" y="573"/>
                      </a:cubicBezTo>
                      <a:cubicBezTo>
                        <a:pt x="304" y="574"/>
                        <a:pt x="304" y="574"/>
                        <a:pt x="304" y="574"/>
                      </a:cubicBezTo>
                      <a:cubicBezTo>
                        <a:pt x="303" y="573"/>
                        <a:pt x="303" y="573"/>
                        <a:pt x="303" y="573"/>
                      </a:cubicBezTo>
                      <a:cubicBezTo>
                        <a:pt x="301" y="571"/>
                        <a:pt x="301" y="571"/>
                        <a:pt x="301" y="571"/>
                      </a:cubicBezTo>
                      <a:cubicBezTo>
                        <a:pt x="302" y="570"/>
                        <a:pt x="302" y="570"/>
                        <a:pt x="302" y="570"/>
                      </a:cubicBezTo>
                      <a:cubicBezTo>
                        <a:pt x="303" y="569"/>
                        <a:pt x="303" y="569"/>
                        <a:pt x="303" y="569"/>
                      </a:cubicBezTo>
                      <a:cubicBezTo>
                        <a:pt x="302" y="568"/>
                        <a:pt x="302" y="568"/>
                        <a:pt x="302" y="568"/>
                      </a:cubicBezTo>
                      <a:cubicBezTo>
                        <a:pt x="299" y="567"/>
                        <a:pt x="299" y="567"/>
                        <a:pt x="299" y="567"/>
                      </a:cubicBezTo>
                      <a:cubicBezTo>
                        <a:pt x="298" y="568"/>
                        <a:pt x="298" y="568"/>
                        <a:pt x="298" y="568"/>
                      </a:cubicBezTo>
                      <a:cubicBezTo>
                        <a:pt x="296" y="568"/>
                        <a:pt x="296" y="568"/>
                        <a:pt x="296" y="568"/>
                      </a:cubicBezTo>
                      <a:cubicBezTo>
                        <a:pt x="295" y="569"/>
                        <a:pt x="295" y="569"/>
                        <a:pt x="295" y="569"/>
                      </a:cubicBezTo>
                      <a:cubicBezTo>
                        <a:pt x="295" y="571"/>
                        <a:pt x="295" y="571"/>
                        <a:pt x="295" y="571"/>
                      </a:cubicBezTo>
                      <a:cubicBezTo>
                        <a:pt x="292" y="571"/>
                        <a:pt x="292" y="571"/>
                        <a:pt x="292" y="571"/>
                      </a:cubicBezTo>
                      <a:cubicBezTo>
                        <a:pt x="292" y="570"/>
                        <a:pt x="292" y="570"/>
                        <a:pt x="292" y="570"/>
                      </a:cubicBezTo>
                      <a:cubicBezTo>
                        <a:pt x="289" y="568"/>
                        <a:pt x="289" y="568"/>
                        <a:pt x="289" y="568"/>
                      </a:cubicBezTo>
                      <a:cubicBezTo>
                        <a:pt x="287" y="568"/>
                        <a:pt x="287" y="568"/>
                        <a:pt x="287" y="568"/>
                      </a:cubicBezTo>
                      <a:cubicBezTo>
                        <a:pt x="286" y="570"/>
                        <a:pt x="286" y="570"/>
                        <a:pt x="286" y="570"/>
                      </a:cubicBezTo>
                      <a:cubicBezTo>
                        <a:pt x="285" y="568"/>
                        <a:pt x="285" y="568"/>
                        <a:pt x="285" y="568"/>
                      </a:cubicBezTo>
                      <a:cubicBezTo>
                        <a:pt x="283" y="569"/>
                        <a:pt x="283" y="569"/>
                        <a:pt x="283" y="569"/>
                      </a:cubicBezTo>
                      <a:cubicBezTo>
                        <a:pt x="283" y="570"/>
                        <a:pt x="283" y="570"/>
                        <a:pt x="283" y="570"/>
                      </a:cubicBezTo>
                      <a:cubicBezTo>
                        <a:pt x="281" y="571"/>
                        <a:pt x="281" y="571"/>
                        <a:pt x="281" y="571"/>
                      </a:cubicBezTo>
                      <a:cubicBezTo>
                        <a:pt x="281" y="574"/>
                        <a:pt x="281" y="574"/>
                        <a:pt x="281" y="574"/>
                      </a:cubicBezTo>
                      <a:cubicBezTo>
                        <a:pt x="278" y="576"/>
                        <a:pt x="278" y="576"/>
                        <a:pt x="278" y="576"/>
                      </a:cubicBezTo>
                      <a:cubicBezTo>
                        <a:pt x="277" y="576"/>
                        <a:pt x="277" y="576"/>
                        <a:pt x="277" y="576"/>
                      </a:cubicBezTo>
                      <a:cubicBezTo>
                        <a:pt x="276" y="574"/>
                        <a:pt x="276" y="574"/>
                        <a:pt x="276" y="574"/>
                      </a:cubicBezTo>
                      <a:cubicBezTo>
                        <a:pt x="272" y="573"/>
                        <a:pt x="272" y="573"/>
                        <a:pt x="272" y="573"/>
                      </a:cubicBezTo>
                      <a:cubicBezTo>
                        <a:pt x="271" y="571"/>
                        <a:pt x="271" y="571"/>
                        <a:pt x="271" y="571"/>
                      </a:cubicBezTo>
                      <a:cubicBezTo>
                        <a:pt x="269" y="572"/>
                        <a:pt x="269" y="572"/>
                        <a:pt x="269" y="572"/>
                      </a:cubicBezTo>
                      <a:cubicBezTo>
                        <a:pt x="269" y="575"/>
                        <a:pt x="269" y="575"/>
                        <a:pt x="269" y="575"/>
                      </a:cubicBezTo>
                      <a:cubicBezTo>
                        <a:pt x="268" y="577"/>
                        <a:pt x="268" y="577"/>
                        <a:pt x="268" y="577"/>
                      </a:cubicBezTo>
                      <a:cubicBezTo>
                        <a:pt x="267" y="576"/>
                        <a:pt x="267" y="576"/>
                        <a:pt x="267" y="576"/>
                      </a:cubicBezTo>
                      <a:cubicBezTo>
                        <a:pt x="266" y="574"/>
                        <a:pt x="266" y="574"/>
                        <a:pt x="266" y="574"/>
                      </a:cubicBezTo>
                      <a:cubicBezTo>
                        <a:pt x="266" y="573"/>
                        <a:pt x="266" y="573"/>
                        <a:pt x="266" y="573"/>
                      </a:cubicBezTo>
                      <a:cubicBezTo>
                        <a:pt x="264" y="573"/>
                        <a:pt x="264" y="573"/>
                        <a:pt x="264" y="573"/>
                      </a:cubicBezTo>
                      <a:cubicBezTo>
                        <a:pt x="261" y="571"/>
                        <a:pt x="261" y="571"/>
                        <a:pt x="261" y="571"/>
                      </a:cubicBezTo>
                      <a:cubicBezTo>
                        <a:pt x="260" y="569"/>
                        <a:pt x="260" y="569"/>
                        <a:pt x="260" y="569"/>
                      </a:cubicBezTo>
                      <a:cubicBezTo>
                        <a:pt x="258" y="569"/>
                        <a:pt x="258" y="569"/>
                        <a:pt x="258" y="569"/>
                      </a:cubicBezTo>
                      <a:cubicBezTo>
                        <a:pt x="256" y="566"/>
                        <a:pt x="256" y="566"/>
                        <a:pt x="256" y="566"/>
                      </a:cubicBezTo>
                      <a:cubicBezTo>
                        <a:pt x="255" y="566"/>
                        <a:pt x="255" y="566"/>
                        <a:pt x="255" y="566"/>
                      </a:cubicBezTo>
                      <a:cubicBezTo>
                        <a:pt x="254" y="564"/>
                        <a:pt x="254" y="564"/>
                        <a:pt x="254" y="564"/>
                      </a:cubicBezTo>
                      <a:cubicBezTo>
                        <a:pt x="252" y="564"/>
                        <a:pt x="252" y="564"/>
                        <a:pt x="252" y="564"/>
                      </a:cubicBezTo>
                      <a:cubicBezTo>
                        <a:pt x="249" y="565"/>
                        <a:pt x="249" y="565"/>
                        <a:pt x="249" y="565"/>
                      </a:cubicBezTo>
                      <a:cubicBezTo>
                        <a:pt x="247" y="564"/>
                        <a:pt x="247" y="564"/>
                        <a:pt x="247" y="564"/>
                      </a:cubicBezTo>
                      <a:cubicBezTo>
                        <a:pt x="245" y="561"/>
                        <a:pt x="245" y="561"/>
                        <a:pt x="245" y="561"/>
                      </a:cubicBezTo>
                      <a:cubicBezTo>
                        <a:pt x="244" y="561"/>
                        <a:pt x="244" y="561"/>
                        <a:pt x="244" y="561"/>
                      </a:cubicBezTo>
                      <a:cubicBezTo>
                        <a:pt x="242" y="563"/>
                        <a:pt x="242" y="563"/>
                        <a:pt x="242" y="563"/>
                      </a:cubicBezTo>
                      <a:cubicBezTo>
                        <a:pt x="240" y="563"/>
                        <a:pt x="240" y="563"/>
                        <a:pt x="240" y="563"/>
                      </a:cubicBezTo>
                      <a:cubicBezTo>
                        <a:pt x="240" y="564"/>
                        <a:pt x="240" y="564"/>
                        <a:pt x="240" y="564"/>
                      </a:cubicBezTo>
                      <a:cubicBezTo>
                        <a:pt x="238" y="566"/>
                        <a:pt x="238" y="566"/>
                        <a:pt x="238" y="566"/>
                      </a:cubicBezTo>
                      <a:cubicBezTo>
                        <a:pt x="238" y="564"/>
                        <a:pt x="238" y="564"/>
                        <a:pt x="238" y="564"/>
                      </a:cubicBezTo>
                      <a:cubicBezTo>
                        <a:pt x="237" y="565"/>
                        <a:pt x="237" y="565"/>
                        <a:pt x="237" y="565"/>
                      </a:cubicBezTo>
                      <a:cubicBezTo>
                        <a:pt x="236" y="566"/>
                        <a:pt x="236" y="566"/>
                        <a:pt x="236" y="566"/>
                      </a:cubicBezTo>
                      <a:cubicBezTo>
                        <a:pt x="235" y="567"/>
                        <a:pt x="235" y="567"/>
                        <a:pt x="235" y="567"/>
                      </a:cubicBezTo>
                      <a:cubicBezTo>
                        <a:pt x="234" y="566"/>
                        <a:pt x="234" y="566"/>
                        <a:pt x="234" y="566"/>
                      </a:cubicBezTo>
                      <a:cubicBezTo>
                        <a:pt x="235" y="565"/>
                        <a:pt x="235" y="565"/>
                        <a:pt x="235" y="565"/>
                      </a:cubicBezTo>
                      <a:cubicBezTo>
                        <a:pt x="235" y="563"/>
                        <a:pt x="235" y="563"/>
                        <a:pt x="235" y="563"/>
                      </a:cubicBezTo>
                      <a:cubicBezTo>
                        <a:pt x="233" y="562"/>
                        <a:pt x="233" y="562"/>
                        <a:pt x="233" y="562"/>
                      </a:cubicBezTo>
                      <a:cubicBezTo>
                        <a:pt x="230" y="561"/>
                        <a:pt x="230" y="561"/>
                        <a:pt x="230" y="561"/>
                      </a:cubicBezTo>
                      <a:cubicBezTo>
                        <a:pt x="230" y="562"/>
                        <a:pt x="230" y="562"/>
                        <a:pt x="230" y="562"/>
                      </a:cubicBezTo>
                      <a:cubicBezTo>
                        <a:pt x="230" y="564"/>
                        <a:pt x="230" y="564"/>
                        <a:pt x="230" y="564"/>
                      </a:cubicBezTo>
                      <a:cubicBezTo>
                        <a:pt x="230" y="566"/>
                        <a:pt x="230" y="566"/>
                        <a:pt x="230" y="566"/>
                      </a:cubicBezTo>
                      <a:cubicBezTo>
                        <a:pt x="228" y="565"/>
                        <a:pt x="228" y="565"/>
                        <a:pt x="228" y="565"/>
                      </a:cubicBezTo>
                      <a:cubicBezTo>
                        <a:pt x="226" y="566"/>
                        <a:pt x="226" y="566"/>
                        <a:pt x="226" y="566"/>
                      </a:cubicBezTo>
                      <a:cubicBezTo>
                        <a:pt x="225" y="569"/>
                        <a:pt x="225" y="569"/>
                        <a:pt x="225" y="569"/>
                      </a:cubicBezTo>
                      <a:cubicBezTo>
                        <a:pt x="224" y="569"/>
                        <a:pt x="224" y="569"/>
                        <a:pt x="224" y="569"/>
                      </a:cubicBezTo>
                      <a:cubicBezTo>
                        <a:pt x="221" y="571"/>
                        <a:pt x="221" y="571"/>
                        <a:pt x="221" y="571"/>
                      </a:cubicBezTo>
                      <a:cubicBezTo>
                        <a:pt x="221" y="573"/>
                        <a:pt x="221" y="573"/>
                        <a:pt x="221" y="573"/>
                      </a:cubicBezTo>
                      <a:cubicBezTo>
                        <a:pt x="222" y="575"/>
                        <a:pt x="222" y="575"/>
                        <a:pt x="222" y="575"/>
                      </a:cubicBezTo>
                      <a:cubicBezTo>
                        <a:pt x="222" y="577"/>
                        <a:pt x="222" y="577"/>
                        <a:pt x="222" y="577"/>
                      </a:cubicBezTo>
                      <a:cubicBezTo>
                        <a:pt x="219" y="577"/>
                        <a:pt x="219" y="577"/>
                        <a:pt x="219" y="577"/>
                      </a:cubicBezTo>
                      <a:cubicBezTo>
                        <a:pt x="216" y="577"/>
                        <a:pt x="216" y="577"/>
                        <a:pt x="216" y="577"/>
                      </a:cubicBezTo>
                      <a:cubicBezTo>
                        <a:pt x="218" y="585"/>
                        <a:pt x="218" y="585"/>
                        <a:pt x="218" y="585"/>
                      </a:cubicBezTo>
                      <a:cubicBezTo>
                        <a:pt x="217" y="586"/>
                        <a:pt x="217" y="586"/>
                        <a:pt x="217" y="586"/>
                      </a:cubicBezTo>
                      <a:cubicBezTo>
                        <a:pt x="217" y="589"/>
                        <a:pt x="217" y="589"/>
                        <a:pt x="217" y="589"/>
                      </a:cubicBezTo>
                      <a:cubicBezTo>
                        <a:pt x="214" y="590"/>
                        <a:pt x="214" y="590"/>
                        <a:pt x="214" y="590"/>
                      </a:cubicBezTo>
                      <a:cubicBezTo>
                        <a:pt x="211" y="588"/>
                        <a:pt x="211" y="588"/>
                        <a:pt x="211" y="588"/>
                      </a:cubicBezTo>
                      <a:cubicBezTo>
                        <a:pt x="211" y="586"/>
                        <a:pt x="211" y="586"/>
                        <a:pt x="211" y="586"/>
                      </a:cubicBezTo>
                      <a:cubicBezTo>
                        <a:pt x="205" y="581"/>
                        <a:pt x="205" y="581"/>
                        <a:pt x="205" y="581"/>
                      </a:cubicBezTo>
                      <a:cubicBezTo>
                        <a:pt x="204" y="583"/>
                        <a:pt x="204" y="583"/>
                        <a:pt x="204" y="583"/>
                      </a:cubicBezTo>
                      <a:cubicBezTo>
                        <a:pt x="204" y="586"/>
                        <a:pt x="204" y="586"/>
                        <a:pt x="204" y="586"/>
                      </a:cubicBezTo>
                      <a:cubicBezTo>
                        <a:pt x="202" y="589"/>
                        <a:pt x="202" y="589"/>
                        <a:pt x="202" y="589"/>
                      </a:cubicBezTo>
                      <a:cubicBezTo>
                        <a:pt x="200" y="590"/>
                        <a:pt x="200" y="590"/>
                        <a:pt x="200" y="590"/>
                      </a:cubicBezTo>
                      <a:cubicBezTo>
                        <a:pt x="200" y="595"/>
                        <a:pt x="200" y="595"/>
                        <a:pt x="200" y="595"/>
                      </a:cubicBezTo>
                      <a:cubicBezTo>
                        <a:pt x="202" y="596"/>
                        <a:pt x="202" y="596"/>
                        <a:pt x="202" y="596"/>
                      </a:cubicBezTo>
                      <a:cubicBezTo>
                        <a:pt x="201" y="602"/>
                        <a:pt x="201" y="602"/>
                        <a:pt x="201" y="602"/>
                      </a:cubicBezTo>
                      <a:cubicBezTo>
                        <a:pt x="199" y="606"/>
                        <a:pt x="199" y="606"/>
                        <a:pt x="199" y="606"/>
                      </a:cubicBezTo>
                      <a:cubicBezTo>
                        <a:pt x="203" y="607"/>
                        <a:pt x="203" y="607"/>
                        <a:pt x="203" y="607"/>
                      </a:cubicBezTo>
                      <a:cubicBezTo>
                        <a:pt x="205" y="610"/>
                        <a:pt x="205" y="610"/>
                        <a:pt x="205" y="610"/>
                      </a:cubicBezTo>
                      <a:cubicBezTo>
                        <a:pt x="204" y="612"/>
                        <a:pt x="204" y="612"/>
                        <a:pt x="204" y="612"/>
                      </a:cubicBezTo>
                      <a:cubicBezTo>
                        <a:pt x="207" y="614"/>
                        <a:pt x="207" y="614"/>
                        <a:pt x="207" y="614"/>
                      </a:cubicBezTo>
                      <a:cubicBezTo>
                        <a:pt x="208" y="613"/>
                        <a:pt x="208" y="613"/>
                        <a:pt x="208" y="613"/>
                      </a:cubicBezTo>
                      <a:cubicBezTo>
                        <a:pt x="214" y="615"/>
                        <a:pt x="214" y="615"/>
                        <a:pt x="214" y="615"/>
                      </a:cubicBezTo>
                      <a:cubicBezTo>
                        <a:pt x="219" y="619"/>
                        <a:pt x="219" y="619"/>
                        <a:pt x="219" y="619"/>
                      </a:cubicBezTo>
                      <a:cubicBezTo>
                        <a:pt x="223" y="626"/>
                        <a:pt x="223" y="626"/>
                        <a:pt x="223" y="626"/>
                      </a:cubicBezTo>
                      <a:cubicBezTo>
                        <a:pt x="219" y="626"/>
                        <a:pt x="219" y="626"/>
                        <a:pt x="219" y="626"/>
                      </a:cubicBezTo>
                      <a:cubicBezTo>
                        <a:pt x="219" y="627"/>
                        <a:pt x="219" y="627"/>
                        <a:pt x="219" y="627"/>
                      </a:cubicBezTo>
                      <a:cubicBezTo>
                        <a:pt x="223" y="630"/>
                        <a:pt x="223" y="630"/>
                        <a:pt x="223" y="630"/>
                      </a:cubicBezTo>
                      <a:cubicBezTo>
                        <a:pt x="225" y="629"/>
                        <a:pt x="225" y="629"/>
                        <a:pt x="225" y="629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1"/>
                        <a:pt x="227" y="631"/>
                        <a:pt x="227" y="631"/>
                      </a:cubicBezTo>
                      <a:cubicBezTo>
                        <a:pt x="227" y="632"/>
                        <a:pt x="227" y="632"/>
                        <a:pt x="227" y="632"/>
                      </a:cubicBezTo>
                      <a:cubicBezTo>
                        <a:pt x="226" y="632"/>
                        <a:pt x="226" y="632"/>
                        <a:pt x="226" y="632"/>
                      </a:cubicBezTo>
                      <a:cubicBezTo>
                        <a:pt x="226" y="633"/>
                        <a:pt x="226" y="633"/>
                        <a:pt x="226" y="633"/>
                      </a:cubicBezTo>
                      <a:cubicBezTo>
                        <a:pt x="227" y="634"/>
                        <a:pt x="227" y="634"/>
                        <a:pt x="227" y="634"/>
                      </a:cubicBezTo>
                      <a:cubicBezTo>
                        <a:pt x="225" y="634"/>
                        <a:pt x="225" y="634"/>
                        <a:pt x="225" y="634"/>
                      </a:cubicBezTo>
                      <a:cubicBezTo>
                        <a:pt x="226" y="635"/>
                        <a:pt x="226" y="635"/>
                        <a:pt x="226" y="635"/>
                      </a:cubicBezTo>
                      <a:cubicBezTo>
                        <a:pt x="226" y="636"/>
                        <a:pt x="226" y="636"/>
                        <a:pt x="226" y="636"/>
                      </a:cubicBezTo>
                      <a:cubicBezTo>
                        <a:pt x="225" y="636"/>
                        <a:pt x="225" y="636"/>
                        <a:pt x="225" y="636"/>
                      </a:cubicBezTo>
                      <a:cubicBezTo>
                        <a:pt x="224" y="636"/>
                        <a:pt x="224" y="636"/>
                        <a:pt x="224" y="636"/>
                      </a:cubicBezTo>
                      <a:cubicBezTo>
                        <a:pt x="222" y="636"/>
                        <a:pt x="222" y="636"/>
                        <a:pt x="222" y="636"/>
                      </a:cubicBezTo>
                      <a:cubicBezTo>
                        <a:pt x="221" y="636"/>
                        <a:pt x="221" y="636"/>
                        <a:pt x="221" y="636"/>
                      </a:cubicBezTo>
                      <a:cubicBezTo>
                        <a:pt x="224" y="637"/>
                        <a:pt x="224" y="637"/>
                        <a:pt x="224" y="637"/>
                      </a:cubicBezTo>
                      <a:cubicBezTo>
                        <a:pt x="224" y="639"/>
                        <a:pt x="224" y="639"/>
                        <a:pt x="224" y="639"/>
                      </a:cubicBezTo>
                      <a:cubicBezTo>
                        <a:pt x="224" y="639"/>
                        <a:pt x="224" y="639"/>
                        <a:pt x="224" y="639"/>
                      </a:cubicBezTo>
                      <a:cubicBezTo>
                        <a:pt x="223" y="638"/>
                        <a:pt x="223" y="638"/>
                        <a:pt x="223" y="638"/>
                      </a:cubicBezTo>
                      <a:cubicBezTo>
                        <a:pt x="223" y="638"/>
                        <a:pt x="221" y="639"/>
                        <a:pt x="221" y="639"/>
                      </a:cubicBezTo>
                      <a:cubicBezTo>
                        <a:pt x="221" y="639"/>
                        <a:pt x="220" y="638"/>
                        <a:pt x="220" y="638"/>
                      </a:cubicBezTo>
                      <a:cubicBezTo>
                        <a:pt x="219" y="638"/>
                        <a:pt x="219" y="638"/>
                        <a:pt x="219" y="638"/>
                      </a:cubicBezTo>
                      <a:cubicBezTo>
                        <a:pt x="221" y="639"/>
                        <a:pt x="221" y="639"/>
                        <a:pt x="221" y="639"/>
                      </a:cubicBezTo>
                      <a:cubicBezTo>
                        <a:pt x="221" y="640"/>
                        <a:pt x="221" y="640"/>
                        <a:pt x="221" y="640"/>
                      </a:cubicBezTo>
                      <a:cubicBezTo>
                        <a:pt x="220" y="641"/>
                        <a:pt x="220" y="641"/>
                        <a:pt x="220" y="641"/>
                      </a:cubicBezTo>
                      <a:cubicBezTo>
                        <a:pt x="218" y="641"/>
                        <a:pt x="218" y="641"/>
                        <a:pt x="218" y="641"/>
                      </a:cubicBezTo>
                      <a:cubicBezTo>
                        <a:pt x="218" y="641"/>
                        <a:pt x="218" y="641"/>
                        <a:pt x="218" y="641"/>
                      </a:cubicBezTo>
                      <a:cubicBezTo>
                        <a:pt x="217" y="641"/>
                        <a:pt x="217" y="641"/>
                        <a:pt x="217" y="641"/>
                      </a:cubicBezTo>
                      <a:cubicBezTo>
                        <a:pt x="216" y="642"/>
                        <a:pt x="216" y="642"/>
                        <a:pt x="216" y="642"/>
                      </a:cubicBezTo>
                      <a:cubicBezTo>
                        <a:pt x="216" y="642"/>
                        <a:pt x="216" y="642"/>
                        <a:pt x="216" y="642"/>
                      </a:cubicBezTo>
                      <a:cubicBezTo>
                        <a:pt x="215" y="641"/>
                        <a:pt x="215" y="641"/>
                        <a:pt x="215" y="641"/>
                      </a:cubicBezTo>
                      <a:cubicBezTo>
                        <a:pt x="214" y="641"/>
                        <a:pt x="214" y="641"/>
                        <a:pt x="214" y="641"/>
                      </a:cubicBezTo>
                      <a:cubicBezTo>
                        <a:pt x="214" y="642"/>
                        <a:pt x="214" y="642"/>
                        <a:pt x="214" y="642"/>
                      </a:cubicBezTo>
                      <a:cubicBezTo>
                        <a:pt x="213" y="644"/>
                        <a:pt x="213" y="644"/>
                        <a:pt x="213" y="644"/>
                      </a:cubicBezTo>
                      <a:cubicBezTo>
                        <a:pt x="212" y="646"/>
                        <a:pt x="212" y="646"/>
                        <a:pt x="212" y="646"/>
                      </a:cubicBezTo>
                      <a:cubicBezTo>
                        <a:pt x="211" y="647"/>
                        <a:pt x="211" y="647"/>
                        <a:pt x="211" y="647"/>
                      </a:cubicBezTo>
                      <a:cubicBezTo>
                        <a:pt x="211" y="649"/>
                        <a:pt x="211" y="649"/>
                        <a:pt x="211" y="649"/>
                      </a:cubicBezTo>
                      <a:cubicBezTo>
                        <a:pt x="210" y="650"/>
                        <a:pt x="210" y="650"/>
                        <a:pt x="210" y="650"/>
                      </a:cubicBezTo>
                      <a:cubicBezTo>
                        <a:pt x="210" y="654"/>
                        <a:pt x="210" y="654"/>
                        <a:pt x="210" y="654"/>
                      </a:cubicBezTo>
                      <a:cubicBezTo>
                        <a:pt x="209" y="655"/>
                        <a:pt x="209" y="655"/>
                        <a:pt x="209" y="655"/>
                      </a:cubicBezTo>
                      <a:cubicBezTo>
                        <a:pt x="208" y="657"/>
                        <a:pt x="208" y="657"/>
                        <a:pt x="208" y="657"/>
                      </a:cubicBezTo>
                      <a:cubicBezTo>
                        <a:pt x="209" y="660"/>
                        <a:pt x="209" y="660"/>
                        <a:pt x="209" y="660"/>
                      </a:cubicBezTo>
                      <a:cubicBezTo>
                        <a:pt x="211" y="660"/>
                        <a:pt x="211" y="660"/>
                        <a:pt x="211" y="660"/>
                      </a:cubicBezTo>
                      <a:cubicBezTo>
                        <a:pt x="212" y="660"/>
                        <a:pt x="212" y="660"/>
                        <a:pt x="212" y="660"/>
                      </a:cubicBezTo>
                      <a:cubicBezTo>
                        <a:pt x="213" y="662"/>
                        <a:pt x="213" y="662"/>
                        <a:pt x="213" y="662"/>
                      </a:cubicBezTo>
                      <a:cubicBezTo>
                        <a:pt x="215" y="662"/>
                        <a:pt x="215" y="662"/>
                        <a:pt x="215" y="662"/>
                      </a:cubicBezTo>
                      <a:cubicBezTo>
                        <a:pt x="215" y="665"/>
                        <a:pt x="215" y="665"/>
                        <a:pt x="215" y="665"/>
                      </a:cubicBezTo>
                      <a:cubicBezTo>
                        <a:pt x="217" y="667"/>
                        <a:pt x="217" y="667"/>
                        <a:pt x="217" y="667"/>
                      </a:cubicBezTo>
                      <a:cubicBezTo>
                        <a:pt x="218" y="666"/>
                        <a:pt x="218" y="666"/>
                        <a:pt x="218" y="666"/>
                      </a:cubicBezTo>
                      <a:cubicBezTo>
                        <a:pt x="219" y="666"/>
                        <a:pt x="219" y="666"/>
                        <a:pt x="219" y="666"/>
                      </a:cubicBezTo>
                      <a:cubicBezTo>
                        <a:pt x="218" y="667"/>
                        <a:pt x="218" y="667"/>
                        <a:pt x="218" y="667"/>
                      </a:cubicBezTo>
                      <a:cubicBezTo>
                        <a:pt x="218" y="669"/>
                        <a:pt x="218" y="669"/>
                        <a:pt x="218" y="669"/>
                      </a:cubicBezTo>
                      <a:cubicBezTo>
                        <a:pt x="217" y="669"/>
                        <a:pt x="217" y="669"/>
                        <a:pt x="217" y="669"/>
                      </a:cubicBezTo>
                      <a:cubicBezTo>
                        <a:pt x="217" y="671"/>
                        <a:pt x="217" y="671"/>
                        <a:pt x="217" y="671"/>
                      </a:cubicBezTo>
                      <a:cubicBezTo>
                        <a:pt x="218" y="671"/>
                        <a:pt x="218" y="671"/>
                        <a:pt x="218" y="671"/>
                      </a:cubicBezTo>
                      <a:cubicBezTo>
                        <a:pt x="218" y="672"/>
                        <a:pt x="218" y="672"/>
                        <a:pt x="218" y="672"/>
                      </a:cubicBezTo>
                      <a:cubicBezTo>
                        <a:pt x="219" y="673"/>
                        <a:pt x="219" y="673"/>
                        <a:pt x="219" y="673"/>
                      </a:cubicBezTo>
                      <a:cubicBezTo>
                        <a:pt x="219" y="676"/>
                        <a:pt x="219" y="676"/>
                        <a:pt x="219" y="676"/>
                      </a:cubicBezTo>
                      <a:cubicBezTo>
                        <a:pt x="221" y="678"/>
                        <a:pt x="221" y="678"/>
                        <a:pt x="221" y="678"/>
                      </a:cubicBezTo>
                      <a:cubicBezTo>
                        <a:pt x="221" y="680"/>
                        <a:pt x="221" y="680"/>
                        <a:pt x="221" y="680"/>
                      </a:cubicBezTo>
                      <a:cubicBezTo>
                        <a:pt x="225" y="685"/>
                        <a:pt x="225" y="685"/>
                        <a:pt x="225" y="685"/>
                      </a:cubicBezTo>
                      <a:cubicBezTo>
                        <a:pt x="230" y="689"/>
                        <a:pt x="230" y="689"/>
                        <a:pt x="230" y="689"/>
                      </a:cubicBezTo>
                      <a:cubicBezTo>
                        <a:pt x="231" y="690"/>
                        <a:pt x="231" y="690"/>
                        <a:pt x="231" y="690"/>
                      </a:cubicBezTo>
                      <a:cubicBezTo>
                        <a:pt x="231" y="690"/>
                        <a:pt x="231" y="690"/>
                        <a:pt x="231" y="690"/>
                      </a:cubicBezTo>
                      <a:cubicBezTo>
                        <a:pt x="228" y="694"/>
                        <a:pt x="228" y="694"/>
                        <a:pt x="228" y="694"/>
                      </a:cubicBezTo>
                      <a:cubicBezTo>
                        <a:pt x="225" y="696"/>
                        <a:pt x="225" y="696"/>
                        <a:pt x="225" y="696"/>
                      </a:cubicBezTo>
                      <a:cubicBezTo>
                        <a:pt x="224" y="697"/>
                        <a:pt x="224" y="697"/>
                        <a:pt x="224" y="697"/>
                      </a:cubicBezTo>
                      <a:cubicBezTo>
                        <a:pt x="219" y="697"/>
                        <a:pt x="219" y="697"/>
                        <a:pt x="219" y="697"/>
                      </a:cubicBezTo>
                      <a:cubicBezTo>
                        <a:pt x="218" y="695"/>
                        <a:pt x="218" y="695"/>
                        <a:pt x="218" y="695"/>
                      </a:cubicBezTo>
                      <a:cubicBezTo>
                        <a:pt x="214" y="691"/>
                        <a:pt x="214" y="691"/>
                        <a:pt x="214" y="691"/>
                      </a:cubicBezTo>
                      <a:cubicBezTo>
                        <a:pt x="211" y="691"/>
                        <a:pt x="211" y="691"/>
                        <a:pt x="211" y="691"/>
                      </a:cubicBezTo>
                      <a:cubicBezTo>
                        <a:pt x="210" y="694"/>
                        <a:pt x="210" y="694"/>
                        <a:pt x="210" y="694"/>
                      </a:cubicBezTo>
                      <a:cubicBezTo>
                        <a:pt x="212" y="696"/>
                        <a:pt x="212" y="696"/>
                        <a:pt x="212" y="696"/>
                      </a:cubicBezTo>
                      <a:cubicBezTo>
                        <a:pt x="214" y="698"/>
                        <a:pt x="214" y="698"/>
                        <a:pt x="214" y="698"/>
                      </a:cubicBezTo>
                      <a:cubicBezTo>
                        <a:pt x="213" y="701"/>
                        <a:pt x="213" y="701"/>
                        <a:pt x="213" y="701"/>
                      </a:cubicBezTo>
                      <a:cubicBezTo>
                        <a:pt x="210" y="699"/>
                        <a:pt x="210" y="699"/>
                        <a:pt x="210" y="699"/>
                      </a:cubicBezTo>
                      <a:cubicBezTo>
                        <a:pt x="206" y="699"/>
                        <a:pt x="206" y="699"/>
                        <a:pt x="206" y="699"/>
                      </a:cubicBezTo>
                      <a:cubicBezTo>
                        <a:pt x="201" y="696"/>
                        <a:pt x="201" y="696"/>
                        <a:pt x="201" y="696"/>
                      </a:cubicBezTo>
                      <a:cubicBezTo>
                        <a:pt x="197" y="698"/>
                        <a:pt x="197" y="698"/>
                        <a:pt x="197" y="698"/>
                      </a:cubicBezTo>
                      <a:cubicBezTo>
                        <a:pt x="197" y="699"/>
                        <a:pt x="197" y="699"/>
                        <a:pt x="197" y="699"/>
                      </a:cubicBezTo>
                      <a:cubicBezTo>
                        <a:pt x="199" y="701"/>
                        <a:pt x="199" y="701"/>
                        <a:pt x="199" y="701"/>
                      </a:cubicBezTo>
                      <a:cubicBezTo>
                        <a:pt x="196" y="699"/>
                        <a:pt x="196" y="699"/>
                        <a:pt x="196" y="699"/>
                      </a:cubicBezTo>
                      <a:cubicBezTo>
                        <a:pt x="191" y="699"/>
                        <a:pt x="191" y="699"/>
                        <a:pt x="191" y="699"/>
                      </a:cubicBezTo>
                      <a:cubicBezTo>
                        <a:pt x="190" y="699"/>
                        <a:pt x="190" y="699"/>
                        <a:pt x="190" y="699"/>
                      </a:cubicBezTo>
                      <a:cubicBezTo>
                        <a:pt x="185" y="700"/>
                        <a:pt x="185" y="700"/>
                        <a:pt x="185" y="700"/>
                      </a:cubicBezTo>
                      <a:cubicBezTo>
                        <a:pt x="182" y="701"/>
                        <a:pt x="182" y="701"/>
                        <a:pt x="182" y="701"/>
                      </a:cubicBezTo>
                      <a:cubicBezTo>
                        <a:pt x="182" y="700"/>
                        <a:pt x="182" y="700"/>
                        <a:pt x="182" y="700"/>
                      </a:cubicBezTo>
                      <a:cubicBezTo>
                        <a:pt x="180" y="700"/>
                        <a:pt x="180" y="700"/>
                        <a:pt x="180" y="700"/>
                      </a:cubicBezTo>
                      <a:cubicBezTo>
                        <a:pt x="176" y="697"/>
                        <a:pt x="176" y="697"/>
                        <a:pt x="176" y="697"/>
                      </a:cubicBezTo>
                      <a:cubicBezTo>
                        <a:pt x="175" y="696"/>
                        <a:pt x="175" y="696"/>
                        <a:pt x="175" y="696"/>
                      </a:cubicBezTo>
                      <a:cubicBezTo>
                        <a:pt x="173" y="697"/>
                        <a:pt x="173" y="697"/>
                        <a:pt x="173" y="697"/>
                      </a:cubicBezTo>
                      <a:cubicBezTo>
                        <a:pt x="172" y="698"/>
                        <a:pt x="172" y="698"/>
                        <a:pt x="172" y="698"/>
                      </a:cubicBezTo>
                      <a:cubicBezTo>
                        <a:pt x="170" y="697"/>
                        <a:pt x="170" y="697"/>
                        <a:pt x="170" y="697"/>
                      </a:cubicBezTo>
                      <a:cubicBezTo>
                        <a:pt x="169" y="698"/>
                        <a:pt x="169" y="698"/>
                        <a:pt x="169" y="698"/>
                      </a:cubicBezTo>
                      <a:cubicBezTo>
                        <a:pt x="168" y="697"/>
                        <a:pt x="168" y="697"/>
                        <a:pt x="168" y="697"/>
                      </a:cubicBezTo>
                      <a:cubicBezTo>
                        <a:pt x="167" y="696"/>
                        <a:pt x="167" y="696"/>
                        <a:pt x="167" y="696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3"/>
                        <a:pt x="166" y="693"/>
                        <a:pt x="166" y="693"/>
                      </a:cubicBezTo>
                      <a:cubicBezTo>
                        <a:pt x="167" y="692"/>
                        <a:pt x="167" y="692"/>
                        <a:pt x="167" y="692"/>
                      </a:cubicBezTo>
                      <a:cubicBezTo>
                        <a:pt x="165" y="689"/>
                        <a:pt x="165" y="689"/>
                        <a:pt x="165" y="689"/>
                      </a:cubicBezTo>
                      <a:cubicBezTo>
                        <a:pt x="164" y="685"/>
                        <a:pt x="164" y="685"/>
                        <a:pt x="164" y="685"/>
                      </a:cubicBezTo>
                      <a:cubicBezTo>
                        <a:pt x="163" y="683"/>
                        <a:pt x="163" y="683"/>
                        <a:pt x="163" y="683"/>
                      </a:cubicBezTo>
                      <a:cubicBezTo>
                        <a:pt x="161" y="680"/>
                        <a:pt x="161" y="680"/>
                        <a:pt x="161" y="680"/>
                      </a:cubicBezTo>
                      <a:cubicBezTo>
                        <a:pt x="159" y="680"/>
                        <a:pt x="159" y="680"/>
                        <a:pt x="159" y="680"/>
                      </a:cubicBezTo>
                      <a:cubicBezTo>
                        <a:pt x="159" y="679"/>
                        <a:pt x="159" y="679"/>
                        <a:pt x="159" y="679"/>
                      </a:cubicBezTo>
                      <a:cubicBezTo>
                        <a:pt x="156" y="676"/>
                        <a:pt x="156" y="676"/>
                        <a:pt x="156" y="676"/>
                      </a:cubicBezTo>
                      <a:cubicBezTo>
                        <a:pt x="155" y="677"/>
                        <a:pt x="155" y="677"/>
                        <a:pt x="155" y="677"/>
                      </a:cubicBezTo>
                      <a:cubicBezTo>
                        <a:pt x="154" y="677"/>
                        <a:pt x="154" y="677"/>
                        <a:pt x="154" y="677"/>
                      </a:cubicBezTo>
                      <a:cubicBezTo>
                        <a:pt x="152" y="676"/>
                        <a:pt x="152" y="676"/>
                        <a:pt x="152" y="676"/>
                      </a:cubicBezTo>
                      <a:cubicBezTo>
                        <a:pt x="151" y="674"/>
                        <a:pt x="151" y="674"/>
                        <a:pt x="151" y="674"/>
                      </a:cubicBezTo>
                      <a:cubicBezTo>
                        <a:pt x="150" y="674"/>
                        <a:pt x="150" y="674"/>
                        <a:pt x="150" y="674"/>
                      </a:cubicBezTo>
                      <a:cubicBezTo>
                        <a:pt x="148" y="673"/>
                        <a:pt x="148" y="673"/>
                        <a:pt x="148" y="673"/>
                      </a:cubicBezTo>
                      <a:cubicBezTo>
                        <a:pt x="147" y="672"/>
                        <a:pt x="147" y="672"/>
                        <a:pt x="147" y="672"/>
                      </a:cubicBezTo>
                      <a:cubicBezTo>
                        <a:pt x="146" y="672"/>
                        <a:pt x="146" y="672"/>
                        <a:pt x="146" y="672"/>
                      </a:cubicBezTo>
                      <a:cubicBezTo>
                        <a:pt x="144" y="670"/>
                        <a:pt x="144" y="670"/>
                        <a:pt x="144" y="670"/>
                      </a:cubicBezTo>
                      <a:cubicBezTo>
                        <a:pt x="144" y="669"/>
                        <a:pt x="144" y="669"/>
                        <a:pt x="144" y="669"/>
                      </a:cubicBezTo>
                      <a:cubicBezTo>
                        <a:pt x="142" y="669"/>
                        <a:pt x="142" y="669"/>
                        <a:pt x="142" y="669"/>
                      </a:cubicBezTo>
                      <a:cubicBezTo>
                        <a:pt x="141" y="666"/>
                        <a:pt x="141" y="666"/>
                        <a:pt x="141" y="666"/>
                      </a:cubicBezTo>
                      <a:cubicBezTo>
                        <a:pt x="134" y="662"/>
                        <a:pt x="134" y="662"/>
                        <a:pt x="134" y="662"/>
                      </a:cubicBezTo>
                      <a:cubicBezTo>
                        <a:pt x="132" y="661"/>
                        <a:pt x="132" y="661"/>
                        <a:pt x="132" y="661"/>
                      </a:cubicBezTo>
                      <a:cubicBezTo>
                        <a:pt x="128" y="659"/>
                        <a:pt x="128" y="659"/>
                        <a:pt x="128" y="659"/>
                      </a:cubicBezTo>
                      <a:cubicBezTo>
                        <a:pt x="124" y="659"/>
                        <a:pt x="124" y="659"/>
                        <a:pt x="124" y="659"/>
                      </a:cubicBezTo>
                      <a:cubicBezTo>
                        <a:pt x="122" y="657"/>
                        <a:pt x="122" y="657"/>
                        <a:pt x="122" y="657"/>
                      </a:cubicBezTo>
                      <a:cubicBezTo>
                        <a:pt x="122" y="655"/>
                        <a:pt x="122" y="655"/>
                        <a:pt x="122" y="655"/>
                      </a:cubicBezTo>
                      <a:cubicBezTo>
                        <a:pt x="120" y="653"/>
                        <a:pt x="120" y="653"/>
                        <a:pt x="120" y="653"/>
                      </a:cubicBezTo>
                      <a:cubicBezTo>
                        <a:pt x="118" y="653"/>
                        <a:pt x="118" y="653"/>
                        <a:pt x="118" y="653"/>
                      </a:cubicBezTo>
                      <a:cubicBezTo>
                        <a:pt x="116" y="653"/>
                        <a:pt x="116" y="653"/>
                        <a:pt x="116" y="653"/>
                      </a:cubicBezTo>
                      <a:cubicBezTo>
                        <a:pt x="118" y="652"/>
                        <a:pt x="118" y="652"/>
                        <a:pt x="118" y="652"/>
                      </a:cubicBezTo>
                      <a:cubicBezTo>
                        <a:pt x="119" y="651"/>
                        <a:pt x="119" y="651"/>
                        <a:pt x="119" y="651"/>
                      </a:cubicBezTo>
                      <a:cubicBezTo>
                        <a:pt x="118" y="649"/>
                        <a:pt x="118" y="649"/>
                        <a:pt x="118" y="649"/>
                      </a:cubicBezTo>
                      <a:cubicBezTo>
                        <a:pt x="118" y="649"/>
                        <a:pt x="118" y="649"/>
                        <a:pt x="118" y="649"/>
                      </a:cubicBezTo>
                      <a:cubicBezTo>
                        <a:pt x="120" y="649"/>
                        <a:pt x="120" y="649"/>
                        <a:pt x="120" y="649"/>
                      </a:cubicBezTo>
                      <a:cubicBezTo>
                        <a:pt x="122" y="650"/>
                        <a:pt x="122" y="650"/>
                        <a:pt x="122" y="650"/>
                      </a:cubicBezTo>
                      <a:cubicBezTo>
                        <a:pt x="122" y="650"/>
                        <a:pt x="122" y="650"/>
                        <a:pt x="122" y="650"/>
                      </a:cubicBezTo>
                      <a:cubicBezTo>
                        <a:pt x="124" y="650"/>
                        <a:pt x="124" y="650"/>
                        <a:pt x="124" y="650"/>
                      </a:cubicBezTo>
                      <a:cubicBezTo>
                        <a:pt x="125" y="647"/>
                        <a:pt x="125" y="647"/>
                        <a:pt x="125" y="647"/>
                      </a:cubicBezTo>
                      <a:cubicBezTo>
                        <a:pt x="124" y="647"/>
                        <a:pt x="124" y="647"/>
                        <a:pt x="124" y="647"/>
                      </a:cubicBezTo>
                      <a:cubicBezTo>
                        <a:pt x="124" y="645"/>
                        <a:pt x="124" y="645"/>
                        <a:pt x="124" y="645"/>
                      </a:cubicBezTo>
                      <a:cubicBezTo>
                        <a:pt x="126" y="643"/>
                        <a:pt x="126" y="643"/>
                        <a:pt x="126" y="643"/>
                      </a:cubicBezTo>
                      <a:cubicBezTo>
                        <a:pt x="126" y="642"/>
                        <a:pt x="126" y="642"/>
                        <a:pt x="126" y="642"/>
                      </a:cubicBezTo>
                      <a:cubicBezTo>
                        <a:pt x="127" y="641"/>
                        <a:pt x="127" y="641"/>
                        <a:pt x="127" y="641"/>
                      </a:cubicBezTo>
                      <a:cubicBezTo>
                        <a:pt x="128" y="641"/>
                        <a:pt x="128" y="641"/>
                        <a:pt x="128" y="641"/>
                      </a:cubicBezTo>
                      <a:cubicBezTo>
                        <a:pt x="129" y="640"/>
                        <a:pt x="129" y="640"/>
                        <a:pt x="129" y="640"/>
                      </a:cubicBezTo>
                      <a:cubicBezTo>
                        <a:pt x="130" y="640"/>
                        <a:pt x="130" y="640"/>
                        <a:pt x="130" y="640"/>
                      </a:cubicBezTo>
                      <a:cubicBezTo>
                        <a:pt x="130" y="639"/>
                        <a:pt x="130" y="639"/>
                        <a:pt x="130" y="639"/>
                      </a:cubicBezTo>
                      <a:cubicBezTo>
                        <a:pt x="128" y="638"/>
                        <a:pt x="128" y="638"/>
                        <a:pt x="128" y="638"/>
                      </a:cubicBezTo>
                      <a:cubicBezTo>
                        <a:pt x="128" y="637"/>
                        <a:pt x="128" y="637"/>
                        <a:pt x="128" y="637"/>
                      </a:cubicBezTo>
                      <a:cubicBezTo>
                        <a:pt x="127" y="638"/>
                        <a:pt x="127" y="638"/>
                        <a:pt x="127" y="638"/>
                      </a:cubicBezTo>
                      <a:cubicBezTo>
                        <a:pt x="125" y="637"/>
                        <a:pt x="125" y="637"/>
                        <a:pt x="125" y="637"/>
                      </a:cubicBezTo>
                      <a:cubicBezTo>
                        <a:pt x="124" y="634"/>
                        <a:pt x="124" y="634"/>
                        <a:pt x="124" y="634"/>
                      </a:cubicBezTo>
                      <a:cubicBezTo>
                        <a:pt x="127" y="633"/>
                        <a:pt x="127" y="633"/>
                        <a:pt x="127" y="633"/>
                      </a:cubicBezTo>
                      <a:cubicBezTo>
                        <a:pt x="129" y="634"/>
                        <a:pt x="129" y="634"/>
                        <a:pt x="129" y="634"/>
                      </a:cubicBezTo>
                      <a:cubicBezTo>
                        <a:pt x="131" y="632"/>
                        <a:pt x="131" y="632"/>
                        <a:pt x="131" y="632"/>
                      </a:cubicBezTo>
                      <a:cubicBezTo>
                        <a:pt x="129" y="632"/>
                        <a:pt x="129" y="632"/>
                        <a:pt x="129" y="632"/>
                      </a:cubicBezTo>
                      <a:cubicBezTo>
                        <a:pt x="129" y="632"/>
                        <a:pt x="129" y="632"/>
                        <a:pt x="129" y="632"/>
                      </a:cubicBezTo>
                      <a:cubicBezTo>
                        <a:pt x="131" y="630"/>
                        <a:pt x="131" y="630"/>
                        <a:pt x="131" y="630"/>
                      </a:cubicBezTo>
                      <a:cubicBezTo>
                        <a:pt x="136" y="627"/>
                        <a:pt x="136" y="627"/>
                        <a:pt x="136" y="627"/>
                      </a:cubicBezTo>
                      <a:cubicBezTo>
                        <a:pt x="136" y="626"/>
                        <a:pt x="136" y="626"/>
                        <a:pt x="136" y="626"/>
                      </a:cubicBezTo>
                      <a:cubicBezTo>
                        <a:pt x="136" y="625"/>
                        <a:pt x="136" y="625"/>
                        <a:pt x="136" y="625"/>
                      </a:cubicBezTo>
                      <a:cubicBezTo>
                        <a:pt x="133" y="625"/>
                        <a:pt x="133" y="625"/>
                        <a:pt x="133" y="625"/>
                      </a:cubicBezTo>
                      <a:cubicBezTo>
                        <a:pt x="131" y="627"/>
                        <a:pt x="131" y="627"/>
                        <a:pt x="131" y="627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2"/>
                        <a:pt x="129" y="622"/>
                        <a:pt x="129" y="622"/>
                      </a:cubicBezTo>
                      <a:cubicBezTo>
                        <a:pt x="130" y="621"/>
                        <a:pt x="130" y="621"/>
                        <a:pt x="130" y="621"/>
                      </a:cubicBezTo>
                      <a:cubicBezTo>
                        <a:pt x="132" y="618"/>
                        <a:pt x="132" y="618"/>
                        <a:pt x="132" y="618"/>
                      </a:cubicBezTo>
                      <a:cubicBezTo>
                        <a:pt x="137" y="617"/>
                        <a:pt x="137" y="617"/>
                        <a:pt x="137" y="617"/>
                      </a:cubicBezTo>
                      <a:cubicBezTo>
                        <a:pt x="139" y="616"/>
                        <a:pt x="139" y="616"/>
                        <a:pt x="139" y="616"/>
                      </a:cubicBezTo>
                      <a:cubicBezTo>
                        <a:pt x="139" y="614"/>
                        <a:pt x="139" y="614"/>
                        <a:pt x="139" y="614"/>
                      </a:cubicBezTo>
                      <a:cubicBezTo>
                        <a:pt x="140" y="610"/>
                        <a:pt x="140" y="610"/>
                        <a:pt x="140" y="610"/>
                      </a:cubicBezTo>
                      <a:cubicBezTo>
                        <a:pt x="139" y="607"/>
                        <a:pt x="139" y="607"/>
                        <a:pt x="139" y="607"/>
                      </a:cubicBezTo>
                      <a:cubicBezTo>
                        <a:pt x="136" y="605"/>
                        <a:pt x="136" y="605"/>
                        <a:pt x="136" y="605"/>
                      </a:cubicBezTo>
                      <a:cubicBezTo>
                        <a:pt x="137" y="601"/>
                        <a:pt x="137" y="601"/>
                        <a:pt x="137" y="601"/>
                      </a:cubicBezTo>
                      <a:cubicBezTo>
                        <a:pt x="139" y="600"/>
                        <a:pt x="139" y="600"/>
                        <a:pt x="139" y="600"/>
                      </a:cubicBezTo>
                      <a:cubicBezTo>
                        <a:pt x="141" y="598"/>
                        <a:pt x="141" y="598"/>
                        <a:pt x="141" y="598"/>
                      </a:cubicBezTo>
                      <a:cubicBezTo>
                        <a:pt x="141" y="596"/>
                        <a:pt x="141" y="596"/>
                        <a:pt x="141" y="596"/>
                      </a:cubicBezTo>
                      <a:cubicBezTo>
                        <a:pt x="139" y="595"/>
                        <a:pt x="139" y="595"/>
                        <a:pt x="139" y="595"/>
                      </a:cubicBezTo>
                      <a:cubicBezTo>
                        <a:pt x="139" y="593"/>
                        <a:pt x="139" y="593"/>
                        <a:pt x="139" y="593"/>
                      </a:cubicBezTo>
                      <a:cubicBezTo>
                        <a:pt x="137" y="594"/>
                        <a:pt x="137" y="594"/>
                        <a:pt x="137" y="594"/>
                      </a:cubicBezTo>
                      <a:cubicBezTo>
                        <a:pt x="134" y="593"/>
                        <a:pt x="134" y="593"/>
                        <a:pt x="134" y="593"/>
                      </a:cubicBezTo>
                      <a:cubicBezTo>
                        <a:pt x="132" y="592"/>
                        <a:pt x="132" y="592"/>
                        <a:pt x="132" y="592"/>
                      </a:cubicBezTo>
                      <a:cubicBezTo>
                        <a:pt x="130" y="592"/>
                        <a:pt x="130" y="592"/>
                        <a:pt x="130" y="592"/>
                      </a:cubicBezTo>
                      <a:cubicBezTo>
                        <a:pt x="128" y="591"/>
                        <a:pt x="128" y="591"/>
                        <a:pt x="128" y="591"/>
                      </a:cubicBezTo>
                      <a:cubicBezTo>
                        <a:pt x="125" y="591"/>
                        <a:pt x="125" y="591"/>
                        <a:pt x="125" y="591"/>
                      </a:cubicBezTo>
                      <a:cubicBezTo>
                        <a:pt x="122" y="590"/>
                        <a:pt x="122" y="590"/>
                        <a:pt x="122" y="590"/>
                      </a:cubicBezTo>
                      <a:cubicBezTo>
                        <a:pt x="120" y="592"/>
                        <a:pt x="120" y="592"/>
                        <a:pt x="120" y="592"/>
                      </a:cubicBezTo>
                      <a:cubicBezTo>
                        <a:pt x="119" y="590"/>
                        <a:pt x="119" y="590"/>
                        <a:pt x="119" y="590"/>
                      </a:cubicBezTo>
                      <a:cubicBezTo>
                        <a:pt x="116" y="588"/>
                        <a:pt x="116" y="588"/>
                        <a:pt x="116" y="588"/>
                      </a:cubicBezTo>
                      <a:cubicBezTo>
                        <a:pt x="114" y="583"/>
                        <a:pt x="114" y="583"/>
                        <a:pt x="114" y="583"/>
                      </a:cubicBezTo>
                      <a:cubicBezTo>
                        <a:pt x="113" y="583"/>
                        <a:pt x="113" y="583"/>
                        <a:pt x="113" y="583"/>
                      </a:cubicBezTo>
                      <a:cubicBezTo>
                        <a:pt x="109" y="586"/>
                        <a:pt x="109" y="586"/>
                        <a:pt x="109" y="586"/>
                      </a:cubicBezTo>
                      <a:cubicBezTo>
                        <a:pt x="107" y="585"/>
                        <a:pt x="107" y="585"/>
                        <a:pt x="107" y="585"/>
                      </a:cubicBezTo>
                      <a:cubicBezTo>
                        <a:pt x="105" y="586"/>
                        <a:pt x="105" y="586"/>
                        <a:pt x="105" y="586"/>
                      </a:cubicBezTo>
                      <a:cubicBezTo>
                        <a:pt x="102" y="584"/>
                        <a:pt x="102" y="584"/>
                        <a:pt x="102" y="584"/>
                      </a:cubicBezTo>
                      <a:cubicBezTo>
                        <a:pt x="101" y="586"/>
                        <a:pt x="101" y="586"/>
                        <a:pt x="101" y="586"/>
                      </a:cubicBezTo>
                      <a:cubicBezTo>
                        <a:pt x="96" y="582"/>
                        <a:pt x="96" y="582"/>
                        <a:pt x="96" y="582"/>
                      </a:cubicBezTo>
                      <a:cubicBezTo>
                        <a:pt x="95" y="579"/>
                        <a:pt x="95" y="579"/>
                        <a:pt x="95" y="579"/>
                      </a:cubicBezTo>
                      <a:cubicBezTo>
                        <a:pt x="95" y="576"/>
                        <a:pt x="95" y="576"/>
                        <a:pt x="95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cubicBezTo>
                        <a:pt x="93" y="574"/>
                        <a:pt x="93" y="574"/>
                        <a:pt x="93" y="574"/>
                      </a:cubicBezTo>
                      <a:cubicBezTo>
                        <a:pt x="91" y="572"/>
                        <a:pt x="91" y="572"/>
                        <a:pt x="91" y="572"/>
                      </a:cubicBezTo>
                      <a:cubicBezTo>
                        <a:pt x="86" y="573"/>
                        <a:pt x="86" y="573"/>
                        <a:pt x="86" y="573"/>
                      </a:cubicBezTo>
                      <a:cubicBezTo>
                        <a:pt x="83" y="569"/>
                        <a:pt x="83" y="569"/>
                        <a:pt x="83" y="569"/>
                      </a:cubicBezTo>
                      <a:cubicBezTo>
                        <a:pt x="84" y="567"/>
                        <a:pt x="84" y="567"/>
                        <a:pt x="84" y="567"/>
                      </a:cubicBezTo>
                      <a:cubicBezTo>
                        <a:pt x="82" y="565"/>
                        <a:pt x="82" y="565"/>
                        <a:pt x="82" y="565"/>
                      </a:cubicBezTo>
                      <a:cubicBezTo>
                        <a:pt x="81" y="561"/>
                        <a:pt x="81" y="561"/>
                        <a:pt x="81" y="561"/>
                      </a:cubicBezTo>
                      <a:cubicBezTo>
                        <a:pt x="79" y="561"/>
                        <a:pt x="79" y="561"/>
                        <a:pt x="79" y="561"/>
                      </a:cubicBezTo>
                      <a:cubicBezTo>
                        <a:pt x="76" y="562"/>
                        <a:pt x="76" y="562"/>
                        <a:pt x="76" y="562"/>
                      </a:cubicBezTo>
                      <a:cubicBezTo>
                        <a:pt x="71" y="562"/>
                        <a:pt x="71" y="562"/>
                        <a:pt x="71" y="562"/>
                      </a:cubicBezTo>
                      <a:cubicBezTo>
                        <a:pt x="66" y="560"/>
                        <a:pt x="66" y="560"/>
                        <a:pt x="66" y="560"/>
                      </a:cubicBezTo>
                      <a:cubicBezTo>
                        <a:pt x="65" y="562"/>
                        <a:pt x="65" y="562"/>
                        <a:pt x="65" y="562"/>
                      </a:cubicBezTo>
                      <a:cubicBezTo>
                        <a:pt x="65" y="564"/>
                        <a:pt x="65" y="564"/>
                        <a:pt x="65" y="564"/>
                      </a:cubicBezTo>
                      <a:cubicBezTo>
                        <a:pt x="63" y="564"/>
                        <a:pt x="63" y="564"/>
                        <a:pt x="63" y="564"/>
                      </a:cubicBezTo>
                      <a:cubicBezTo>
                        <a:pt x="61" y="564"/>
                        <a:pt x="61" y="564"/>
                        <a:pt x="61" y="564"/>
                      </a:cubicBezTo>
                      <a:cubicBezTo>
                        <a:pt x="61" y="561"/>
                        <a:pt x="61" y="561"/>
                        <a:pt x="61" y="561"/>
                      </a:cubicBezTo>
                      <a:cubicBezTo>
                        <a:pt x="59" y="559"/>
                        <a:pt x="59" y="559"/>
                        <a:pt x="59" y="559"/>
                      </a:cubicBezTo>
                      <a:cubicBezTo>
                        <a:pt x="59" y="556"/>
                        <a:pt x="59" y="556"/>
                        <a:pt x="59" y="556"/>
                      </a:cubicBezTo>
                      <a:cubicBezTo>
                        <a:pt x="57" y="553"/>
                        <a:pt x="57" y="553"/>
                        <a:pt x="57" y="553"/>
                      </a:cubicBezTo>
                      <a:cubicBezTo>
                        <a:pt x="57" y="551"/>
                        <a:pt x="57" y="551"/>
                        <a:pt x="57" y="551"/>
                      </a:cubicBezTo>
                      <a:cubicBezTo>
                        <a:pt x="58" y="549"/>
                        <a:pt x="58" y="549"/>
                        <a:pt x="58" y="549"/>
                      </a:cubicBezTo>
                      <a:cubicBezTo>
                        <a:pt x="60" y="551"/>
                        <a:pt x="60" y="551"/>
                        <a:pt x="60" y="551"/>
                      </a:cubicBezTo>
                      <a:cubicBezTo>
                        <a:pt x="65" y="550"/>
                        <a:pt x="65" y="550"/>
                        <a:pt x="65" y="550"/>
                      </a:cubicBezTo>
                      <a:cubicBezTo>
                        <a:pt x="67" y="547"/>
                        <a:pt x="67" y="547"/>
                        <a:pt x="67" y="547"/>
                      </a:cubicBezTo>
                      <a:cubicBezTo>
                        <a:pt x="68" y="546"/>
                        <a:pt x="68" y="546"/>
                        <a:pt x="68" y="546"/>
                      </a:cubicBezTo>
                      <a:cubicBezTo>
                        <a:pt x="66" y="544"/>
                        <a:pt x="66" y="544"/>
                        <a:pt x="66" y="544"/>
                      </a:cubicBezTo>
                      <a:cubicBezTo>
                        <a:pt x="65" y="542"/>
                        <a:pt x="65" y="542"/>
                        <a:pt x="65" y="542"/>
                      </a:cubicBezTo>
                      <a:cubicBezTo>
                        <a:pt x="62" y="539"/>
                        <a:pt x="62" y="539"/>
                        <a:pt x="62" y="539"/>
                      </a:cubicBezTo>
                      <a:cubicBezTo>
                        <a:pt x="59" y="538"/>
                        <a:pt x="59" y="538"/>
                        <a:pt x="59" y="538"/>
                      </a:cubicBezTo>
                      <a:cubicBezTo>
                        <a:pt x="58" y="535"/>
                        <a:pt x="58" y="535"/>
                        <a:pt x="58" y="535"/>
                      </a:cubicBezTo>
                      <a:cubicBezTo>
                        <a:pt x="56" y="534"/>
                        <a:pt x="56" y="534"/>
                        <a:pt x="56" y="534"/>
                      </a:cubicBezTo>
                      <a:cubicBezTo>
                        <a:pt x="53" y="530"/>
                        <a:pt x="53" y="530"/>
                        <a:pt x="53" y="530"/>
                      </a:cubicBezTo>
                      <a:cubicBezTo>
                        <a:pt x="52" y="527"/>
                        <a:pt x="52" y="527"/>
                        <a:pt x="52" y="527"/>
                      </a:cubicBezTo>
                      <a:cubicBezTo>
                        <a:pt x="50" y="525"/>
                        <a:pt x="50" y="525"/>
                        <a:pt x="50" y="525"/>
                      </a:cubicBezTo>
                      <a:cubicBezTo>
                        <a:pt x="50" y="522"/>
                        <a:pt x="50" y="522"/>
                        <a:pt x="50" y="522"/>
                      </a:cubicBezTo>
                      <a:cubicBezTo>
                        <a:pt x="48" y="520"/>
                        <a:pt x="48" y="520"/>
                        <a:pt x="48" y="520"/>
                      </a:cubicBezTo>
                      <a:cubicBezTo>
                        <a:pt x="49" y="517"/>
                        <a:pt x="49" y="517"/>
                        <a:pt x="49" y="517"/>
                      </a:cubicBezTo>
                      <a:cubicBezTo>
                        <a:pt x="48" y="515"/>
                        <a:pt x="48" y="515"/>
                        <a:pt x="48" y="515"/>
                      </a:cubicBezTo>
                      <a:cubicBezTo>
                        <a:pt x="44" y="513"/>
                        <a:pt x="44" y="513"/>
                        <a:pt x="44" y="513"/>
                      </a:cubicBezTo>
                      <a:cubicBezTo>
                        <a:pt x="43" y="513"/>
                        <a:pt x="43" y="513"/>
                        <a:pt x="43" y="513"/>
                      </a:cubicBezTo>
                      <a:cubicBezTo>
                        <a:pt x="42" y="512"/>
                        <a:pt x="42" y="512"/>
                        <a:pt x="42" y="512"/>
                      </a:cubicBezTo>
                      <a:cubicBezTo>
                        <a:pt x="39" y="513"/>
                        <a:pt x="39" y="513"/>
                        <a:pt x="39" y="513"/>
                      </a:cubicBezTo>
                      <a:cubicBezTo>
                        <a:pt x="36" y="515"/>
                        <a:pt x="36" y="515"/>
                        <a:pt x="36" y="515"/>
                      </a:cubicBezTo>
                      <a:cubicBezTo>
                        <a:pt x="35" y="512"/>
                        <a:pt x="35" y="512"/>
                        <a:pt x="35" y="512"/>
                      </a:cubicBezTo>
                      <a:cubicBezTo>
                        <a:pt x="32" y="511"/>
                        <a:pt x="32" y="511"/>
                        <a:pt x="32" y="511"/>
                      </a:cubicBezTo>
                      <a:cubicBezTo>
                        <a:pt x="30" y="512"/>
                        <a:pt x="30" y="512"/>
                        <a:pt x="30" y="512"/>
                      </a:cubicBezTo>
                      <a:cubicBezTo>
                        <a:pt x="28" y="509"/>
                        <a:pt x="28" y="509"/>
                        <a:pt x="28" y="509"/>
                      </a:cubicBezTo>
                      <a:cubicBezTo>
                        <a:pt x="26" y="511"/>
                        <a:pt x="26" y="511"/>
                        <a:pt x="26" y="511"/>
                      </a:cubicBezTo>
                      <a:cubicBezTo>
                        <a:pt x="24" y="509"/>
                        <a:pt x="24" y="509"/>
                        <a:pt x="24" y="509"/>
                      </a:cubicBezTo>
                      <a:cubicBezTo>
                        <a:pt x="24" y="510"/>
                        <a:pt x="24" y="510"/>
                        <a:pt x="24" y="510"/>
                      </a:cubicBezTo>
                      <a:cubicBezTo>
                        <a:pt x="23" y="507"/>
                        <a:pt x="23" y="507"/>
                        <a:pt x="23" y="507"/>
                      </a:cubicBezTo>
                      <a:cubicBezTo>
                        <a:pt x="22" y="505"/>
                        <a:pt x="22" y="505"/>
                        <a:pt x="22" y="505"/>
                      </a:cubicBezTo>
                      <a:cubicBezTo>
                        <a:pt x="21" y="502"/>
                        <a:pt x="21" y="502"/>
                        <a:pt x="21" y="502"/>
                      </a:cubicBezTo>
                      <a:cubicBezTo>
                        <a:pt x="20" y="501"/>
                        <a:pt x="20" y="501"/>
                        <a:pt x="20" y="501"/>
                      </a:cubicBezTo>
                      <a:cubicBezTo>
                        <a:pt x="19" y="499"/>
                        <a:pt x="19" y="499"/>
                        <a:pt x="19" y="499"/>
                      </a:cubicBezTo>
                      <a:cubicBezTo>
                        <a:pt x="19" y="497"/>
                        <a:pt x="19" y="497"/>
                        <a:pt x="19" y="497"/>
                      </a:cubicBezTo>
                      <a:cubicBezTo>
                        <a:pt x="19" y="496"/>
                        <a:pt x="19" y="496"/>
                        <a:pt x="19" y="496"/>
                      </a:cubicBezTo>
                      <a:cubicBezTo>
                        <a:pt x="18" y="495"/>
                        <a:pt x="18" y="495"/>
                        <a:pt x="18" y="495"/>
                      </a:cubicBezTo>
                      <a:cubicBezTo>
                        <a:pt x="18" y="494"/>
                        <a:pt x="18" y="494"/>
                        <a:pt x="18" y="494"/>
                      </a:cubicBezTo>
                      <a:cubicBezTo>
                        <a:pt x="18" y="492"/>
                        <a:pt x="18" y="492"/>
                        <a:pt x="18" y="492"/>
                      </a:cubicBezTo>
                      <a:cubicBezTo>
                        <a:pt x="16" y="492"/>
                        <a:pt x="16" y="492"/>
                        <a:pt x="16" y="492"/>
                      </a:cubicBezTo>
                      <a:cubicBezTo>
                        <a:pt x="18" y="490"/>
                        <a:pt x="18" y="490"/>
                        <a:pt x="18" y="490"/>
                      </a:cubicBezTo>
                      <a:cubicBezTo>
                        <a:pt x="17" y="488"/>
                        <a:pt x="17" y="488"/>
                        <a:pt x="17" y="488"/>
                      </a:cubicBezTo>
                      <a:cubicBezTo>
                        <a:pt x="19" y="487"/>
                        <a:pt x="19" y="487"/>
                        <a:pt x="19" y="487"/>
                      </a:cubicBezTo>
                      <a:cubicBezTo>
                        <a:pt x="19" y="485"/>
                        <a:pt x="19" y="485"/>
                        <a:pt x="19" y="485"/>
                      </a:cubicBezTo>
                      <a:cubicBezTo>
                        <a:pt x="14" y="476"/>
                        <a:pt x="14" y="476"/>
                        <a:pt x="14" y="476"/>
                      </a:cubicBezTo>
                      <a:cubicBezTo>
                        <a:pt x="15" y="469"/>
                        <a:pt x="15" y="469"/>
                        <a:pt x="15" y="469"/>
                      </a:cubicBezTo>
                      <a:cubicBezTo>
                        <a:pt x="16" y="468"/>
                        <a:pt x="16" y="468"/>
                        <a:pt x="16" y="468"/>
                      </a:cubicBezTo>
                      <a:cubicBezTo>
                        <a:pt x="17" y="465"/>
                        <a:pt x="17" y="465"/>
                        <a:pt x="17" y="465"/>
                      </a:cubicBezTo>
                      <a:cubicBezTo>
                        <a:pt x="18" y="463"/>
                        <a:pt x="18" y="463"/>
                        <a:pt x="18" y="463"/>
                      </a:cubicBezTo>
                      <a:cubicBezTo>
                        <a:pt x="19" y="463"/>
                        <a:pt x="19" y="463"/>
                        <a:pt x="19" y="463"/>
                      </a:cubicBezTo>
                      <a:cubicBezTo>
                        <a:pt x="18" y="462"/>
                        <a:pt x="18" y="462"/>
                        <a:pt x="18" y="462"/>
                      </a:cubicBezTo>
                      <a:cubicBezTo>
                        <a:pt x="18" y="461"/>
                        <a:pt x="18" y="461"/>
                        <a:pt x="18" y="461"/>
                      </a:cubicBezTo>
                      <a:cubicBezTo>
                        <a:pt x="18" y="461"/>
                        <a:pt x="18" y="461"/>
                        <a:pt x="18" y="461"/>
                      </a:cubicBezTo>
                      <a:cubicBezTo>
                        <a:pt x="18" y="459"/>
                        <a:pt x="18" y="459"/>
                        <a:pt x="18" y="459"/>
                      </a:cubicBezTo>
                      <a:cubicBezTo>
                        <a:pt x="17" y="457"/>
                        <a:pt x="17" y="457"/>
                        <a:pt x="17" y="457"/>
                      </a:cubicBezTo>
                      <a:cubicBezTo>
                        <a:pt x="17" y="456"/>
                        <a:pt x="17" y="456"/>
                        <a:pt x="17" y="456"/>
                      </a:cubicBezTo>
                      <a:cubicBezTo>
                        <a:pt x="18" y="456"/>
                        <a:pt x="18" y="456"/>
                        <a:pt x="18" y="456"/>
                      </a:cubicBezTo>
                      <a:cubicBezTo>
                        <a:pt x="19" y="457"/>
                        <a:pt x="19" y="457"/>
                        <a:pt x="19" y="457"/>
                      </a:cubicBezTo>
                      <a:cubicBezTo>
                        <a:pt x="21" y="457"/>
                        <a:pt x="21" y="457"/>
                        <a:pt x="21" y="457"/>
                      </a:cubicBezTo>
                      <a:cubicBezTo>
                        <a:pt x="21" y="455"/>
                        <a:pt x="21" y="455"/>
                        <a:pt x="21" y="455"/>
                      </a:cubicBezTo>
                      <a:cubicBezTo>
                        <a:pt x="22" y="454"/>
                        <a:pt x="22" y="454"/>
                        <a:pt x="22" y="454"/>
                      </a:cubicBezTo>
                      <a:cubicBezTo>
                        <a:pt x="24" y="455"/>
                        <a:pt x="24" y="455"/>
                        <a:pt x="24" y="455"/>
                      </a:cubicBezTo>
                      <a:cubicBezTo>
                        <a:pt x="26" y="453"/>
                        <a:pt x="26" y="453"/>
                        <a:pt x="26" y="453"/>
                      </a:cubicBezTo>
                      <a:cubicBezTo>
                        <a:pt x="26" y="451"/>
                        <a:pt x="26" y="451"/>
                        <a:pt x="26" y="451"/>
                      </a:cubicBezTo>
                      <a:cubicBezTo>
                        <a:pt x="28" y="451"/>
                        <a:pt x="28" y="451"/>
                        <a:pt x="28" y="451"/>
                      </a:cubicBezTo>
                      <a:cubicBezTo>
                        <a:pt x="30" y="452"/>
                        <a:pt x="30" y="452"/>
                        <a:pt x="30" y="452"/>
                      </a:cubicBezTo>
                      <a:cubicBezTo>
                        <a:pt x="32" y="450"/>
                        <a:pt x="32" y="450"/>
                        <a:pt x="32" y="450"/>
                      </a:cubicBezTo>
                      <a:cubicBezTo>
                        <a:pt x="30" y="448"/>
                        <a:pt x="30" y="448"/>
                        <a:pt x="30" y="448"/>
                      </a:cubicBezTo>
                      <a:cubicBezTo>
                        <a:pt x="28" y="448"/>
                        <a:pt x="28" y="448"/>
                        <a:pt x="28" y="448"/>
                      </a:cubicBezTo>
                      <a:cubicBezTo>
                        <a:pt x="28" y="448"/>
                        <a:pt x="28" y="448"/>
                        <a:pt x="28" y="448"/>
                      </a:cubicBezTo>
                      <a:cubicBezTo>
                        <a:pt x="25" y="448"/>
                        <a:pt x="25" y="448"/>
                        <a:pt x="25" y="448"/>
                      </a:cubicBezTo>
                      <a:cubicBezTo>
                        <a:pt x="24" y="447"/>
                        <a:pt x="24" y="447"/>
                        <a:pt x="24" y="447"/>
                      </a:cubicBezTo>
                      <a:cubicBezTo>
                        <a:pt x="22" y="446"/>
                        <a:pt x="22" y="446"/>
                        <a:pt x="22" y="446"/>
                      </a:cubicBezTo>
                      <a:cubicBezTo>
                        <a:pt x="20" y="444"/>
                        <a:pt x="20" y="444"/>
                        <a:pt x="20" y="444"/>
                      </a:cubicBezTo>
                      <a:cubicBezTo>
                        <a:pt x="20" y="443"/>
                        <a:pt x="20" y="443"/>
                        <a:pt x="20" y="443"/>
                      </a:cubicBezTo>
                      <a:cubicBezTo>
                        <a:pt x="22" y="444"/>
                        <a:pt x="22" y="444"/>
                        <a:pt x="22" y="444"/>
                      </a:cubicBezTo>
                      <a:cubicBezTo>
                        <a:pt x="22" y="443"/>
                        <a:pt x="22" y="443"/>
                        <a:pt x="22" y="443"/>
                      </a:cubicBezTo>
                      <a:cubicBezTo>
                        <a:pt x="21" y="441"/>
                        <a:pt x="21" y="441"/>
                        <a:pt x="21" y="441"/>
                      </a:cubicBezTo>
                      <a:cubicBezTo>
                        <a:pt x="23" y="440"/>
                        <a:pt x="23" y="440"/>
                        <a:pt x="23" y="440"/>
                      </a:cubicBezTo>
                      <a:cubicBezTo>
                        <a:pt x="21" y="441"/>
                        <a:pt x="21" y="441"/>
                        <a:pt x="21" y="441"/>
                      </a:cubicBezTo>
                      <a:cubicBezTo>
                        <a:pt x="21" y="441"/>
                        <a:pt x="18" y="442"/>
                        <a:pt x="18" y="442"/>
                      </a:cubicBezTo>
                      <a:cubicBezTo>
                        <a:pt x="18" y="442"/>
                        <a:pt x="18" y="442"/>
                        <a:pt x="17" y="443"/>
                      </a:cubicBezTo>
                      <a:cubicBezTo>
                        <a:pt x="17" y="443"/>
                        <a:pt x="17" y="443"/>
                        <a:pt x="17" y="443"/>
                      </a:cubicBezTo>
                      <a:cubicBezTo>
                        <a:pt x="17" y="440"/>
                        <a:pt x="17" y="440"/>
                        <a:pt x="17" y="440"/>
                      </a:cubicBezTo>
                      <a:cubicBezTo>
                        <a:pt x="22" y="435"/>
                        <a:pt x="22" y="435"/>
                        <a:pt x="22" y="435"/>
                      </a:cubicBezTo>
                      <a:cubicBezTo>
                        <a:pt x="24" y="434"/>
                        <a:pt x="24" y="434"/>
                        <a:pt x="24" y="434"/>
                      </a:cubicBezTo>
                      <a:cubicBezTo>
                        <a:pt x="26" y="430"/>
                        <a:pt x="26" y="430"/>
                        <a:pt x="26" y="430"/>
                      </a:cubicBezTo>
                      <a:cubicBezTo>
                        <a:pt x="29" y="425"/>
                        <a:pt x="29" y="425"/>
                        <a:pt x="29" y="425"/>
                      </a:cubicBezTo>
                      <a:cubicBezTo>
                        <a:pt x="31" y="421"/>
                        <a:pt x="31" y="421"/>
                        <a:pt x="31" y="421"/>
                      </a:cubicBezTo>
                      <a:cubicBezTo>
                        <a:pt x="35" y="414"/>
                        <a:pt x="35" y="414"/>
                        <a:pt x="35" y="414"/>
                      </a:cubicBezTo>
                      <a:cubicBezTo>
                        <a:pt x="38" y="407"/>
                        <a:pt x="38" y="407"/>
                        <a:pt x="38" y="407"/>
                      </a:cubicBezTo>
                      <a:cubicBezTo>
                        <a:pt x="37" y="404"/>
                        <a:pt x="37" y="404"/>
                        <a:pt x="37" y="404"/>
                      </a:cubicBezTo>
                      <a:cubicBezTo>
                        <a:pt x="33" y="399"/>
                        <a:pt x="33" y="399"/>
                        <a:pt x="33" y="399"/>
                      </a:cubicBezTo>
                      <a:cubicBezTo>
                        <a:pt x="31" y="398"/>
                        <a:pt x="31" y="398"/>
                        <a:pt x="31" y="398"/>
                      </a:cubicBezTo>
                      <a:cubicBezTo>
                        <a:pt x="26" y="392"/>
                        <a:pt x="26" y="392"/>
                        <a:pt x="26" y="392"/>
                      </a:cubicBezTo>
                      <a:cubicBezTo>
                        <a:pt x="27" y="389"/>
                        <a:pt x="27" y="389"/>
                        <a:pt x="27" y="389"/>
                      </a:cubicBezTo>
                      <a:cubicBezTo>
                        <a:pt x="29" y="386"/>
                        <a:pt x="29" y="386"/>
                        <a:pt x="29" y="386"/>
                      </a:cubicBezTo>
                      <a:cubicBezTo>
                        <a:pt x="28" y="383"/>
                        <a:pt x="28" y="383"/>
                        <a:pt x="28" y="383"/>
                      </a:cubicBezTo>
                      <a:cubicBezTo>
                        <a:pt x="26" y="381"/>
                        <a:pt x="26" y="381"/>
                        <a:pt x="26" y="381"/>
                      </a:cubicBezTo>
                      <a:cubicBezTo>
                        <a:pt x="24" y="379"/>
                        <a:pt x="24" y="379"/>
                        <a:pt x="24" y="379"/>
                      </a:cubicBezTo>
                      <a:cubicBezTo>
                        <a:pt x="24" y="375"/>
                        <a:pt x="24" y="375"/>
                        <a:pt x="24" y="375"/>
                      </a:cubicBezTo>
                      <a:cubicBezTo>
                        <a:pt x="25" y="374"/>
                        <a:pt x="25" y="374"/>
                        <a:pt x="25" y="374"/>
                      </a:cubicBezTo>
                      <a:cubicBezTo>
                        <a:pt x="24" y="372"/>
                        <a:pt x="24" y="372"/>
                        <a:pt x="24" y="372"/>
                      </a:cubicBezTo>
                      <a:cubicBezTo>
                        <a:pt x="22" y="372"/>
                        <a:pt x="22" y="372"/>
                        <a:pt x="22" y="372"/>
                      </a:cubicBezTo>
                      <a:cubicBezTo>
                        <a:pt x="21" y="370"/>
                        <a:pt x="21" y="370"/>
                        <a:pt x="21" y="370"/>
                      </a:cubicBezTo>
                      <a:cubicBezTo>
                        <a:pt x="21" y="367"/>
                        <a:pt x="21" y="367"/>
                        <a:pt x="21" y="367"/>
                      </a:cubicBezTo>
                      <a:cubicBezTo>
                        <a:pt x="22" y="365"/>
                        <a:pt x="22" y="365"/>
                        <a:pt x="22" y="365"/>
                      </a:cubicBezTo>
                      <a:cubicBezTo>
                        <a:pt x="20" y="365"/>
                        <a:pt x="20" y="365"/>
                        <a:pt x="20" y="365"/>
                      </a:cubicBezTo>
                      <a:cubicBezTo>
                        <a:pt x="20" y="363"/>
                        <a:pt x="20" y="363"/>
                        <a:pt x="20" y="363"/>
                      </a:cubicBezTo>
                      <a:cubicBezTo>
                        <a:pt x="20" y="357"/>
                        <a:pt x="20" y="357"/>
                        <a:pt x="20" y="357"/>
                      </a:cubicBezTo>
                      <a:cubicBezTo>
                        <a:pt x="22" y="356"/>
                        <a:pt x="22" y="356"/>
                        <a:pt x="22" y="356"/>
                      </a:cubicBezTo>
                      <a:cubicBezTo>
                        <a:pt x="18" y="346"/>
                        <a:pt x="18" y="346"/>
                        <a:pt x="18" y="346"/>
                      </a:cubicBezTo>
                      <a:cubicBezTo>
                        <a:pt x="14" y="338"/>
                        <a:pt x="14" y="338"/>
                        <a:pt x="14" y="338"/>
                      </a:cubicBezTo>
                      <a:cubicBezTo>
                        <a:pt x="13" y="336"/>
                        <a:pt x="13" y="336"/>
                        <a:pt x="13" y="336"/>
                      </a:cubicBezTo>
                      <a:cubicBezTo>
                        <a:pt x="11" y="333"/>
                        <a:pt x="11" y="333"/>
                        <a:pt x="11" y="333"/>
                      </a:cubicBezTo>
                      <a:cubicBezTo>
                        <a:pt x="12" y="328"/>
                        <a:pt x="12" y="328"/>
                        <a:pt x="12" y="328"/>
                      </a:cubicBezTo>
                      <a:cubicBezTo>
                        <a:pt x="14" y="325"/>
                        <a:pt x="14" y="325"/>
                        <a:pt x="14" y="325"/>
                      </a:cubicBezTo>
                      <a:cubicBezTo>
                        <a:pt x="15" y="322"/>
                        <a:pt x="15" y="322"/>
                        <a:pt x="15" y="322"/>
                      </a:cubicBezTo>
                      <a:cubicBezTo>
                        <a:pt x="14" y="321"/>
                        <a:pt x="14" y="321"/>
                        <a:pt x="14" y="321"/>
                      </a:cubicBezTo>
                      <a:cubicBezTo>
                        <a:pt x="10" y="318"/>
                        <a:pt x="10" y="318"/>
                        <a:pt x="10" y="318"/>
                      </a:cubicBezTo>
                      <a:cubicBezTo>
                        <a:pt x="9" y="316"/>
                        <a:pt x="9" y="316"/>
                        <a:pt x="9" y="316"/>
                      </a:cubicBezTo>
                      <a:cubicBezTo>
                        <a:pt x="7" y="314"/>
                        <a:pt x="7" y="314"/>
                        <a:pt x="7" y="314"/>
                      </a:cubicBezTo>
                      <a:cubicBezTo>
                        <a:pt x="5" y="313"/>
                        <a:pt x="5" y="313"/>
                        <a:pt x="5" y="313"/>
                      </a:cubicBezTo>
                      <a:cubicBezTo>
                        <a:pt x="3" y="312"/>
                        <a:pt x="3" y="312"/>
                        <a:pt x="3" y="312"/>
                      </a:cubicBezTo>
                      <a:cubicBezTo>
                        <a:pt x="2" y="308"/>
                        <a:pt x="2" y="308"/>
                        <a:pt x="2" y="308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1" y="303"/>
                        <a:pt x="1" y="303"/>
                        <a:pt x="1" y="303"/>
                      </a:cubicBezTo>
                      <a:cubicBezTo>
                        <a:pt x="2" y="300"/>
                        <a:pt x="2" y="300"/>
                        <a:pt x="2" y="300"/>
                      </a:cubicBezTo>
                      <a:cubicBezTo>
                        <a:pt x="0" y="300"/>
                        <a:pt x="0" y="300"/>
                        <a:pt x="0" y="300"/>
                      </a:cubicBezTo>
                      <a:cubicBezTo>
                        <a:pt x="2" y="299"/>
                        <a:pt x="2" y="299"/>
                        <a:pt x="2" y="299"/>
                      </a:cubicBezTo>
                      <a:cubicBezTo>
                        <a:pt x="4" y="298"/>
                        <a:pt x="4" y="298"/>
                        <a:pt x="4" y="298"/>
                      </a:cubicBezTo>
                      <a:cubicBezTo>
                        <a:pt x="4" y="297"/>
                        <a:pt x="4" y="297"/>
                        <a:pt x="4" y="297"/>
                      </a:cubicBezTo>
                      <a:cubicBezTo>
                        <a:pt x="5" y="297"/>
                        <a:pt x="5" y="297"/>
                        <a:pt x="5" y="297"/>
                      </a:cubicBezTo>
                      <a:cubicBezTo>
                        <a:pt x="5" y="294"/>
                        <a:pt x="5" y="294"/>
                        <a:pt x="5" y="294"/>
                      </a:cubicBezTo>
                      <a:cubicBezTo>
                        <a:pt x="8" y="291"/>
                        <a:pt x="8" y="291"/>
                        <a:pt x="8" y="291"/>
                      </a:cubicBezTo>
                      <a:cubicBezTo>
                        <a:pt x="10" y="291"/>
                        <a:pt x="10" y="291"/>
                        <a:pt x="10" y="291"/>
                      </a:cubicBezTo>
                      <a:cubicBezTo>
                        <a:pt x="12" y="289"/>
                        <a:pt x="12" y="289"/>
                        <a:pt x="12" y="289"/>
                      </a:cubicBezTo>
                      <a:cubicBezTo>
                        <a:pt x="12" y="286"/>
                        <a:pt x="12" y="286"/>
                        <a:pt x="12" y="286"/>
                      </a:cubicBezTo>
                      <a:cubicBezTo>
                        <a:pt x="13" y="286"/>
                        <a:pt x="13" y="286"/>
                        <a:pt x="13" y="286"/>
                      </a:cubicBezTo>
                      <a:cubicBezTo>
                        <a:pt x="15" y="287"/>
                        <a:pt x="15" y="287"/>
                        <a:pt x="15" y="287"/>
                      </a:cubicBezTo>
                      <a:cubicBezTo>
                        <a:pt x="16" y="285"/>
                        <a:pt x="16" y="285"/>
                        <a:pt x="16" y="285"/>
                      </a:cubicBezTo>
                      <a:cubicBezTo>
                        <a:pt x="16" y="283"/>
                        <a:pt x="16" y="283"/>
                        <a:pt x="16" y="283"/>
                      </a:cubicBezTo>
                      <a:cubicBezTo>
                        <a:pt x="16" y="283"/>
                        <a:pt x="16" y="283"/>
                        <a:pt x="16" y="283"/>
                      </a:cubicBezTo>
                      <a:cubicBezTo>
                        <a:pt x="18" y="283"/>
                        <a:pt x="18" y="283"/>
                        <a:pt x="18" y="283"/>
                      </a:cubicBezTo>
                      <a:cubicBezTo>
                        <a:pt x="19" y="284"/>
                        <a:pt x="19" y="284"/>
                        <a:pt x="19" y="284"/>
                      </a:cubicBezTo>
                      <a:cubicBezTo>
                        <a:pt x="19" y="286"/>
                        <a:pt x="19" y="286"/>
                        <a:pt x="19" y="286"/>
                      </a:cubicBezTo>
                      <a:cubicBezTo>
                        <a:pt x="20" y="287"/>
                        <a:pt x="20" y="287"/>
                        <a:pt x="20" y="287"/>
                      </a:cubicBezTo>
                      <a:cubicBezTo>
                        <a:pt x="20" y="285"/>
                        <a:pt x="20" y="285"/>
                        <a:pt x="20" y="285"/>
                      </a:cubicBezTo>
                      <a:cubicBezTo>
                        <a:pt x="21" y="283"/>
                        <a:pt x="21" y="283"/>
                        <a:pt x="21" y="283"/>
                      </a:cubicBezTo>
                      <a:cubicBezTo>
                        <a:pt x="22" y="284"/>
                        <a:pt x="22" y="284"/>
                        <a:pt x="22" y="284"/>
                      </a:cubicBezTo>
                      <a:cubicBezTo>
                        <a:pt x="23" y="283"/>
                        <a:pt x="23" y="283"/>
                        <a:pt x="23" y="283"/>
                      </a:cubicBezTo>
                      <a:cubicBezTo>
                        <a:pt x="21" y="282"/>
                        <a:pt x="21" y="282"/>
                        <a:pt x="21" y="282"/>
                      </a:cubicBezTo>
                      <a:cubicBezTo>
                        <a:pt x="21" y="281"/>
                        <a:pt x="21" y="281"/>
                        <a:pt x="21" y="281"/>
                      </a:cubicBezTo>
                      <a:cubicBezTo>
                        <a:pt x="23" y="281"/>
                        <a:pt x="23" y="281"/>
                        <a:pt x="23" y="281"/>
                      </a:cubicBezTo>
                      <a:cubicBezTo>
                        <a:pt x="24" y="281"/>
                        <a:pt x="24" y="281"/>
                        <a:pt x="24" y="281"/>
                      </a:cubicBezTo>
                      <a:cubicBezTo>
                        <a:pt x="24" y="280"/>
                        <a:pt x="24" y="280"/>
                        <a:pt x="24" y="280"/>
                      </a:cubicBezTo>
                      <a:cubicBezTo>
                        <a:pt x="23" y="280"/>
                        <a:pt x="23" y="280"/>
                        <a:pt x="23" y="280"/>
                      </a:cubicBezTo>
                      <a:cubicBezTo>
                        <a:pt x="23" y="279"/>
                        <a:pt x="23" y="279"/>
                        <a:pt x="23" y="279"/>
                      </a:cubicBezTo>
                      <a:cubicBezTo>
                        <a:pt x="23" y="279"/>
                        <a:pt x="23" y="279"/>
                        <a:pt x="23" y="279"/>
                      </a:cubicBezTo>
                      <a:cubicBezTo>
                        <a:pt x="25" y="279"/>
                        <a:pt x="25" y="279"/>
                        <a:pt x="25" y="279"/>
                      </a:cubicBezTo>
                      <a:cubicBezTo>
                        <a:pt x="27" y="280"/>
                        <a:pt x="27" y="280"/>
                        <a:pt x="27" y="280"/>
                      </a:cubicBezTo>
                      <a:cubicBezTo>
                        <a:pt x="28" y="281"/>
                        <a:pt x="28" y="281"/>
                        <a:pt x="28" y="281"/>
                      </a:cubicBezTo>
                      <a:cubicBezTo>
                        <a:pt x="29" y="282"/>
                        <a:pt x="29" y="282"/>
                        <a:pt x="29" y="282"/>
                      </a:cubicBezTo>
                      <a:cubicBezTo>
                        <a:pt x="29" y="281"/>
                        <a:pt x="29" y="281"/>
                        <a:pt x="29" y="281"/>
                      </a:cubicBezTo>
                      <a:cubicBezTo>
                        <a:pt x="31" y="282"/>
                        <a:pt x="31" y="282"/>
                        <a:pt x="31" y="282"/>
                      </a:cubicBezTo>
                      <a:cubicBezTo>
                        <a:pt x="31" y="283"/>
                        <a:pt x="31" y="283"/>
                        <a:pt x="31" y="283"/>
                      </a:cubicBezTo>
                      <a:cubicBezTo>
                        <a:pt x="33" y="283"/>
                        <a:pt x="33" y="283"/>
                        <a:pt x="33" y="283"/>
                      </a:cubicBezTo>
                      <a:cubicBezTo>
                        <a:pt x="33" y="284"/>
                        <a:pt x="33" y="284"/>
                        <a:pt x="33" y="284"/>
                      </a:cubicBezTo>
                      <a:cubicBezTo>
                        <a:pt x="31" y="286"/>
                        <a:pt x="31" y="286"/>
                        <a:pt x="31" y="286"/>
                      </a:cubicBezTo>
                      <a:cubicBezTo>
                        <a:pt x="30" y="285"/>
                        <a:pt x="30" y="285"/>
                        <a:pt x="30" y="285"/>
                      </a:cubicBezTo>
                      <a:cubicBezTo>
                        <a:pt x="27" y="285"/>
                        <a:pt x="27" y="285"/>
                        <a:pt x="27" y="285"/>
                      </a:cubicBezTo>
                      <a:cubicBezTo>
                        <a:pt x="26" y="284"/>
                        <a:pt x="26" y="284"/>
                        <a:pt x="26" y="284"/>
                      </a:cubicBezTo>
                      <a:cubicBezTo>
                        <a:pt x="26" y="283"/>
                        <a:pt x="26" y="283"/>
                        <a:pt x="26" y="283"/>
                      </a:cubicBezTo>
                      <a:cubicBezTo>
                        <a:pt x="25" y="284"/>
                        <a:pt x="25" y="284"/>
                        <a:pt x="25" y="284"/>
                      </a:cubicBezTo>
                      <a:cubicBezTo>
                        <a:pt x="25" y="286"/>
                        <a:pt x="25" y="286"/>
                        <a:pt x="25" y="286"/>
                      </a:cubicBezTo>
                      <a:cubicBezTo>
                        <a:pt x="25" y="288"/>
                        <a:pt x="25" y="288"/>
                        <a:pt x="25" y="288"/>
                      </a:cubicBezTo>
                      <a:cubicBezTo>
                        <a:pt x="27" y="287"/>
                        <a:pt x="27" y="287"/>
                        <a:pt x="27" y="287"/>
                      </a:cubicBezTo>
                      <a:cubicBezTo>
                        <a:pt x="27" y="287"/>
                        <a:pt x="27" y="287"/>
                        <a:pt x="27" y="287"/>
                      </a:cubicBezTo>
                      <a:cubicBezTo>
                        <a:pt x="28" y="289"/>
                        <a:pt x="28" y="289"/>
                        <a:pt x="28" y="289"/>
                      </a:cubicBezTo>
                      <a:cubicBezTo>
                        <a:pt x="29" y="288"/>
                        <a:pt x="29" y="288"/>
                        <a:pt x="29" y="288"/>
                      </a:cubicBezTo>
                      <a:cubicBezTo>
                        <a:pt x="31" y="288"/>
                        <a:pt x="31" y="288"/>
                        <a:pt x="31" y="288"/>
                      </a:cubicBezTo>
                      <a:cubicBezTo>
                        <a:pt x="31" y="290"/>
                        <a:pt x="31" y="290"/>
                        <a:pt x="31" y="290"/>
                      </a:cubicBezTo>
                      <a:cubicBezTo>
                        <a:pt x="32" y="289"/>
                        <a:pt x="32" y="289"/>
                        <a:pt x="32" y="289"/>
                      </a:cubicBezTo>
                      <a:cubicBezTo>
                        <a:pt x="33" y="288"/>
                        <a:pt x="33" y="288"/>
                        <a:pt x="33" y="288"/>
                      </a:cubicBezTo>
                      <a:cubicBezTo>
                        <a:pt x="33" y="289"/>
                        <a:pt x="33" y="289"/>
                        <a:pt x="33" y="289"/>
                      </a:cubicBezTo>
                      <a:cubicBezTo>
                        <a:pt x="33" y="290"/>
                        <a:pt x="33" y="290"/>
                        <a:pt x="33" y="290"/>
                      </a:cubicBezTo>
                      <a:cubicBezTo>
                        <a:pt x="33" y="291"/>
                        <a:pt x="33" y="291"/>
                        <a:pt x="33" y="291"/>
                      </a:cubicBezTo>
                      <a:cubicBezTo>
                        <a:pt x="34" y="289"/>
                        <a:pt x="34" y="289"/>
                        <a:pt x="34" y="289"/>
                      </a:cubicBezTo>
                      <a:cubicBezTo>
                        <a:pt x="35" y="288"/>
                        <a:pt x="35" y="288"/>
                        <a:pt x="35" y="288"/>
                      </a:cubicBezTo>
                      <a:cubicBezTo>
                        <a:pt x="36" y="288"/>
                        <a:pt x="36" y="288"/>
                        <a:pt x="36" y="288"/>
                      </a:cubicBezTo>
                      <a:cubicBezTo>
                        <a:pt x="36" y="289"/>
                        <a:pt x="36" y="289"/>
                        <a:pt x="36" y="289"/>
                      </a:cubicBezTo>
                      <a:cubicBezTo>
                        <a:pt x="35" y="290"/>
                        <a:pt x="35" y="290"/>
                        <a:pt x="35" y="290"/>
                      </a:cubicBezTo>
                      <a:cubicBezTo>
                        <a:pt x="37" y="290"/>
                        <a:pt x="37" y="290"/>
                        <a:pt x="37" y="290"/>
                      </a:cubicBezTo>
                      <a:cubicBezTo>
                        <a:pt x="37" y="291"/>
                        <a:pt x="37" y="291"/>
                        <a:pt x="37" y="291"/>
                      </a:cubicBezTo>
                      <a:cubicBezTo>
                        <a:pt x="36" y="292"/>
                        <a:pt x="36" y="292"/>
                        <a:pt x="36" y="292"/>
                      </a:cubicBezTo>
                      <a:cubicBezTo>
                        <a:pt x="35" y="294"/>
                        <a:pt x="35" y="294"/>
                        <a:pt x="35" y="294"/>
                      </a:cubicBezTo>
                      <a:cubicBezTo>
                        <a:pt x="37" y="293"/>
                        <a:pt x="37" y="293"/>
                        <a:pt x="37" y="293"/>
                      </a:cubicBezTo>
                      <a:cubicBezTo>
                        <a:pt x="38" y="291"/>
                        <a:pt x="38" y="291"/>
                        <a:pt x="38" y="291"/>
                      </a:cubicBezTo>
                      <a:cubicBezTo>
                        <a:pt x="38" y="290"/>
                        <a:pt x="38" y="290"/>
                        <a:pt x="38" y="290"/>
                      </a:cubicBezTo>
                      <a:cubicBezTo>
                        <a:pt x="39" y="289"/>
                        <a:pt x="39" y="289"/>
                        <a:pt x="39" y="289"/>
                      </a:cubicBezTo>
                      <a:cubicBezTo>
                        <a:pt x="41" y="289"/>
                        <a:pt x="41" y="289"/>
                        <a:pt x="41" y="289"/>
                      </a:cubicBezTo>
                      <a:cubicBezTo>
                        <a:pt x="42" y="290"/>
                        <a:pt x="42" y="290"/>
                        <a:pt x="42" y="290"/>
                      </a:cubicBezTo>
                      <a:cubicBezTo>
                        <a:pt x="42" y="289"/>
                        <a:pt x="42" y="289"/>
                        <a:pt x="42" y="289"/>
                      </a:cubicBezTo>
                      <a:cubicBezTo>
                        <a:pt x="41" y="287"/>
                        <a:pt x="41" y="287"/>
                        <a:pt x="41" y="287"/>
                      </a:cubicBezTo>
                      <a:cubicBezTo>
                        <a:pt x="41" y="287"/>
                        <a:pt x="41" y="287"/>
                        <a:pt x="41" y="287"/>
                      </a:cubicBezTo>
                      <a:cubicBezTo>
                        <a:pt x="43" y="288"/>
                        <a:pt x="43" y="288"/>
                        <a:pt x="43" y="288"/>
                      </a:cubicBezTo>
                      <a:cubicBezTo>
                        <a:pt x="44" y="289"/>
                        <a:pt x="44" y="289"/>
                        <a:pt x="44" y="289"/>
                      </a:cubicBezTo>
                      <a:cubicBezTo>
                        <a:pt x="47" y="290"/>
                        <a:pt x="47" y="290"/>
                        <a:pt x="47" y="290"/>
                      </a:cubicBezTo>
                      <a:cubicBezTo>
                        <a:pt x="49" y="290"/>
                        <a:pt x="49" y="290"/>
                        <a:pt x="49" y="290"/>
                      </a:cubicBezTo>
                      <a:cubicBezTo>
                        <a:pt x="51" y="289"/>
                        <a:pt x="51" y="289"/>
                        <a:pt x="51" y="289"/>
                      </a:cubicBezTo>
                      <a:cubicBezTo>
                        <a:pt x="50" y="289"/>
                        <a:pt x="50" y="289"/>
                        <a:pt x="50" y="289"/>
                      </a:cubicBezTo>
                      <a:cubicBezTo>
                        <a:pt x="53" y="289"/>
                        <a:pt x="53" y="289"/>
                        <a:pt x="53" y="289"/>
                      </a:cubicBezTo>
                      <a:cubicBezTo>
                        <a:pt x="55" y="290"/>
                        <a:pt x="55" y="290"/>
                        <a:pt x="55" y="290"/>
                      </a:cubicBezTo>
                      <a:cubicBezTo>
                        <a:pt x="55" y="289"/>
                        <a:pt x="55" y="289"/>
                        <a:pt x="55" y="289"/>
                      </a:cubicBezTo>
                      <a:cubicBezTo>
                        <a:pt x="57" y="290"/>
                        <a:pt x="57" y="290"/>
                        <a:pt x="57" y="290"/>
                      </a:cubicBezTo>
                      <a:cubicBezTo>
                        <a:pt x="67" y="296"/>
                        <a:pt x="67" y="296"/>
                        <a:pt x="67" y="296"/>
                      </a:cubicBezTo>
                      <a:cubicBezTo>
                        <a:pt x="74" y="300"/>
                        <a:pt x="74" y="300"/>
                        <a:pt x="74" y="300"/>
                      </a:cubicBezTo>
                      <a:cubicBezTo>
                        <a:pt x="75" y="302"/>
                        <a:pt x="75" y="302"/>
                        <a:pt x="75" y="302"/>
                      </a:cubicBezTo>
                      <a:cubicBezTo>
                        <a:pt x="77" y="303"/>
                        <a:pt x="77" y="303"/>
                        <a:pt x="77" y="303"/>
                      </a:cubicBezTo>
                      <a:cubicBezTo>
                        <a:pt x="79" y="306"/>
                        <a:pt x="79" y="306"/>
                        <a:pt x="79" y="306"/>
                      </a:cubicBezTo>
                      <a:cubicBezTo>
                        <a:pt x="81" y="306"/>
                        <a:pt x="81" y="306"/>
                        <a:pt x="81" y="306"/>
                      </a:cubicBezTo>
                      <a:cubicBezTo>
                        <a:pt x="80" y="305"/>
                        <a:pt x="80" y="305"/>
                        <a:pt x="80" y="305"/>
                      </a:cubicBezTo>
                      <a:cubicBezTo>
                        <a:pt x="80" y="304"/>
                        <a:pt x="80" y="304"/>
                        <a:pt x="80" y="304"/>
                      </a:cubicBezTo>
                      <a:cubicBezTo>
                        <a:pt x="81" y="304"/>
                        <a:pt x="81" y="304"/>
                        <a:pt x="81" y="304"/>
                      </a:cubicBezTo>
                      <a:cubicBezTo>
                        <a:pt x="84" y="307"/>
                        <a:pt x="84" y="307"/>
                        <a:pt x="84" y="307"/>
                      </a:cubicBezTo>
                      <a:cubicBezTo>
                        <a:pt x="86" y="307"/>
                        <a:pt x="86" y="307"/>
                        <a:pt x="86" y="307"/>
                      </a:cubicBezTo>
                      <a:cubicBezTo>
                        <a:pt x="88" y="309"/>
                        <a:pt x="88" y="309"/>
                        <a:pt x="88" y="309"/>
                      </a:cubicBezTo>
                      <a:cubicBezTo>
                        <a:pt x="89" y="309"/>
                        <a:pt x="89" y="309"/>
                        <a:pt x="89" y="309"/>
                      </a:cubicBezTo>
                      <a:cubicBezTo>
                        <a:pt x="88" y="307"/>
                        <a:pt x="88" y="307"/>
                        <a:pt x="88" y="307"/>
                      </a:cubicBezTo>
                      <a:cubicBezTo>
                        <a:pt x="88" y="306"/>
                        <a:pt x="88" y="306"/>
                        <a:pt x="88" y="306"/>
                      </a:cubicBezTo>
                      <a:cubicBezTo>
                        <a:pt x="89" y="306"/>
                        <a:pt x="89" y="306"/>
                        <a:pt x="89" y="306"/>
                      </a:cubicBezTo>
                      <a:cubicBezTo>
                        <a:pt x="91" y="308"/>
                        <a:pt x="91" y="308"/>
                        <a:pt x="91" y="308"/>
                      </a:cubicBezTo>
                      <a:cubicBezTo>
                        <a:pt x="90" y="310"/>
                        <a:pt x="90" y="310"/>
                        <a:pt x="90" y="310"/>
                      </a:cubicBezTo>
                      <a:cubicBezTo>
                        <a:pt x="94" y="312"/>
                        <a:pt x="94" y="312"/>
                        <a:pt x="94" y="312"/>
                      </a:cubicBezTo>
                      <a:cubicBezTo>
                        <a:pt x="94" y="314"/>
                        <a:pt x="94" y="314"/>
                        <a:pt x="94" y="314"/>
                      </a:cubicBezTo>
                      <a:cubicBezTo>
                        <a:pt x="96" y="315"/>
                        <a:pt x="96" y="315"/>
                        <a:pt x="96" y="315"/>
                      </a:cubicBezTo>
                      <a:cubicBezTo>
                        <a:pt x="97" y="314"/>
                        <a:pt x="97" y="314"/>
                        <a:pt x="97" y="314"/>
                      </a:cubicBezTo>
                      <a:cubicBezTo>
                        <a:pt x="98" y="314"/>
                        <a:pt x="98" y="314"/>
                        <a:pt x="98" y="314"/>
                      </a:cubicBezTo>
                      <a:cubicBezTo>
                        <a:pt x="100" y="316"/>
                        <a:pt x="100" y="316"/>
                        <a:pt x="100" y="316"/>
                      </a:cubicBezTo>
                      <a:cubicBezTo>
                        <a:pt x="101" y="319"/>
                        <a:pt x="101" y="319"/>
                        <a:pt x="101" y="319"/>
                      </a:cubicBezTo>
                      <a:cubicBezTo>
                        <a:pt x="102" y="320"/>
                        <a:pt x="102" y="320"/>
                        <a:pt x="102" y="320"/>
                      </a:cubicBezTo>
                      <a:cubicBezTo>
                        <a:pt x="104" y="322"/>
                        <a:pt x="104" y="322"/>
                        <a:pt x="104" y="322"/>
                      </a:cubicBezTo>
                      <a:cubicBezTo>
                        <a:pt x="105" y="322"/>
                        <a:pt x="105" y="322"/>
                        <a:pt x="105" y="322"/>
                      </a:cubicBezTo>
                      <a:cubicBezTo>
                        <a:pt x="105" y="323"/>
                        <a:pt x="105" y="323"/>
                        <a:pt x="105" y="323"/>
                      </a:cubicBezTo>
                      <a:cubicBezTo>
                        <a:pt x="105" y="325"/>
                        <a:pt x="105" y="325"/>
                        <a:pt x="105" y="325"/>
                      </a:cubicBezTo>
                      <a:cubicBezTo>
                        <a:pt x="105" y="327"/>
                        <a:pt x="105" y="327"/>
                        <a:pt x="105" y="327"/>
                      </a:cubicBezTo>
                      <a:cubicBezTo>
                        <a:pt x="105" y="330"/>
                        <a:pt x="105" y="330"/>
                        <a:pt x="105" y="330"/>
                      </a:cubicBezTo>
                      <a:cubicBezTo>
                        <a:pt x="104" y="332"/>
                        <a:pt x="104" y="332"/>
                        <a:pt x="104" y="332"/>
                      </a:cubicBezTo>
                      <a:cubicBezTo>
                        <a:pt x="104" y="333"/>
                        <a:pt x="104" y="333"/>
                        <a:pt x="104" y="333"/>
                      </a:cubicBezTo>
                      <a:cubicBezTo>
                        <a:pt x="102" y="336"/>
                        <a:pt x="102" y="336"/>
                        <a:pt x="102" y="336"/>
                      </a:cubicBezTo>
                      <a:cubicBezTo>
                        <a:pt x="102" y="337"/>
                        <a:pt x="102" y="337"/>
                        <a:pt x="102" y="337"/>
                      </a:cubicBezTo>
                      <a:cubicBezTo>
                        <a:pt x="98" y="342"/>
                        <a:pt x="98" y="342"/>
                        <a:pt x="98" y="342"/>
                      </a:cubicBezTo>
                      <a:cubicBezTo>
                        <a:pt x="96" y="344"/>
                        <a:pt x="96" y="344"/>
                        <a:pt x="96" y="344"/>
                      </a:cubicBezTo>
                      <a:cubicBezTo>
                        <a:pt x="92" y="344"/>
                        <a:pt x="92" y="344"/>
                        <a:pt x="92" y="344"/>
                      </a:cubicBezTo>
                      <a:cubicBezTo>
                        <a:pt x="91" y="345"/>
                        <a:pt x="91" y="345"/>
                        <a:pt x="91" y="345"/>
                      </a:cubicBezTo>
                      <a:cubicBezTo>
                        <a:pt x="88" y="345"/>
                        <a:pt x="88" y="345"/>
                        <a:pt x="88" y="345"/>
                      </a:cubicBezTo>
                      <a:cubicBezTo>
                        <a:pt x="88" y="346"/>
                        <a:pt x="88" y="346"/>
                        <a:pt x="88" y="346"/>
                      </a:cubicBezTo>
                      <a:cubicBezTo>
                        <a:pt x="83" y="347"/>
                        <a:pt x="83" y="347"/>
                        <a:pt x="83" y="347"/>
                      </a:cubicBezTo>
                      <a:cubicBezTo>
                        <a:pt x="78" y="346"/>
                        <a:pt x="78" y="346"/>
                        <a:pt x="78" y="346"/>
                      </a:cubicBezTo>
                      <a:cubicBezTo>
                        <a:pt x="74" y="346"/>
                        <a:pt x="74" y="346"/>
                        <a:pt x="74" y="346"/>
                      </a:cubicBezTo>
                      <a:cubicBezTo>
                        <a:pt x="72" y="344"/>
                        <a:pt x="72" y="344"/>
                        <a:pt x="72" y="344"/>
                      </a:cubicBezTo>
                      <a:cubicBezTo>
                        <a:pt x="71" y="345"/>
                        <a:pt x="71" y="345"/>
                        <a:pt x="71" y="345"/>
                      </a:cubicBezTo>
                      <a:cubicBezTo>
                        <a:pt x="69" y="344"/>
                        <a:pt x="69" y="344"/>
                        <a:pt x="69" y="344"/>
                      </a:cubicBezTo>
                      <a:cubicBezTo>
                        <a:pt x="66" y="344"/>
                        <a:pt x="66" y="344"/>
                        <a:pt x="66" y="344"/>
                      </a:cubicBezTo>
                      <a:cubicBezTo>
                        <a:pt x="66" y="343"/>
                        <a:pt x="66" y="343"/>
                        <a:pt x="66" y="343"/>
                      </a:cubicBezTo>
                      <a:cubicBezTo>
                        <a:pt x="64" y="343"/>
                        <a:pt x="64" y="343"/>
                        <a:pt x="64" y="343"/>
                      </a:cubicBezTo>
                      <a:cubicBezTo>
                        <a:pt x="63" y="344"/>
                        <a:pt x="63" y="344"/>
                        <a:pt x="63" y="344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cubicBezTo>
                        <a:pt x="61" y="340"/>
                        <a:pt x="61" y="340"/>
                        <a:pt x="61" y="340"/>
                      </a:cubicBezTo>
                      <a:cubicBezTo>
                        <a:pt x="59" y="341"/>
                        <a:pt x="59" y="341"/>
                        <a:pt x="59" y="341"/>
                      </a:cubicBezTo>
                      <a:cubicBezTo>
                        <a:pt x="57" y="340"/>
                        <a:pt x="57" y="340"/>
                        <a:pt x="57" y="340"/>
                      </a:cubicBezTo>
                      <a:cubicBezTo>
                        <a:pt x="58" y="340"/>
                        <a:pt x="58" y="340"/>
                        <a:pt x="58" y="340"/>
                      </a:cubicBezTo>
                      <a:cubicBezTo>
                        <a:pt x="55" y="340"/>
                        <a:pt x="55" y="340"/>
                        <a:pt x="55" y="340"/>
                      </a:cubicBezTo>
                      <a:cubicBezTo>
                        <a:pt x="54" y="341"/>
                        <a:pt x="54" y="341"/>
                        <a:pt x="54" y="341"/>
                      </a:cubicBezTo>
                      <a:cubicBezTo>
                        <a:pt x="52" y="341"/>
                        <a:pt x="52" y="341"/>
                        <a:pt x="52" y="341"/>
                      </a:cubicBezTo>
                      <a:cubicBezTo>
                        <a:pt x="52" y="340"/>
                        <a:pt x="52" y="340"/>
                        <a:pt x="52" y="340"/>
                      </a:cubicBezTo>
                      <a:cubicBezTo>
                        <a:pt x="51" y="339"/>
                        <a:pt x="51" y="339"/>
                        <a:pt x="51" y="339"/>
                      </a:cubicBezTo>
                      <a:cubicBezTo>
                        <a:pt x="52" y="338"/>
                        <a:pt x="52" y="338"/>
                        <a:pt x="52" y="338"/>
                      </a:cubicBezTo>
                      <a:cubicBezTo>
                        <a:pt x="51" y="337"/>
                        <a:pt x="51" y="337"/>
                        <a:pt x="51" y="337"/>
                      </a:cubicBezTo>
                      <a:cubicBezTo>
                        <a:pt x="51" y="338"/>
                        <a:pt x="51" y="338"/>
                        <a:pt x="51" y="338"/>
                      </a:cubicBezTo>
                      <a:cubicBezTo>
                        <a:pt x="48" y="338"/>
                        <a:pt x="48" y="338"/>
                        <a:pt x="48" y="338"/>
                      </a:cubicBezTo>
                      <a:cubicBezTo>
                        <a:pt x="46" y="336"/>
                        <a:pt x="46" y="336"/>
                        <a:pt x="46" y="336"/>
                      </a:cubicBezTo>
                      <a:cubicBezTo>
                        <a:pt x="45" y="337"/>
                        <a:pt x="45" y="337"/>
                        <a:pt x="45" y="337"/>
                      </a:cubicBezTo>
                      <a:cubicBezTo>
                        <a:pt x="44" y="337"/>
                        <a:pt x="44" y="337"/>
                        <a:pt x="44" y="337"/>
                      </a:cubicBezTo>
                      <a:cubicBezTo>
                        <a:pt x="40" y="333"/>
                        <a:pt x="40" y="333"/>
                        <a:pt x="40" y="333"/>
                      </a:cubicBezTo>
                      <a:cubicBezTo>
                        <a:pt x="39" y="331"/>
                        <a:pt x="39" y="331"/>
                        <a:pt x="39" y="331"/>
                      </a:cubicBezTo>
                      <a:cubicBezTo>
                        <a:pt x="37" y="331"/>
                        <a:pt x="37" y="331"/>
                        <a:pt x="37" y="331"/>
                      </a:cubicBezTo>
                      <a:cubicBezTo>
                        <a:pt x="36" y="331"/>
                        <a:pt x="36" y="331"/>
                        <a:pt x="36" y="331"/>
                      </a:cubicBezTo>
                      <a:cubicBezTo>
                        <a:pt x="35" y="331"/>
                        <a:pt x="35" y="331"/>
                        <a:pt x="35" y="331"/>
                      </a:cubicBezTo>
                      <a:cubicBezTo>
                        <a:pt x="34" y="331"/>
                        <a:pt x="34" y="331"/>
                        <a:pt x="34" y="331"/>
                      </a:cubicBezTo>
                      <a:cubicBezTo>
                        <a:pt x="36" y="333"/>
                        <a:pt x="36" y="333"/>
                        <a:pt x="36" y="333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9" y="337"/>
                        <a:pt x="39" y="337"/>
                        <a:pt x="39" y="337"/>
                      </a:cubicBezTo>
                      <a:cubicBezTo>
                        <a:pt x="40" y="338"/>
                        <a:pt x="40" y="338"/>
                        <a:pt x="40" y="338"/>
                      </a:cubicBezTo>
                      <a:cubicBezTo>
                        <a:pt x="42" y="339"/>
                        <a:pt x="42" y="339"/>
                        <a:pt x="42" y="339"/>
                      </a:cubicBezTo>
                      <a:cubicBezTo>
                        <a:pt x="43" y="340"/>
                        <a:pt x="43" y="340"/>
                        <a:pt x="43" y="340"/>
                      </a:cubicBezTo>
                      <a:cubicBezTo>
                        <a:pt x="41" y="341"/>
                        <a:pt x="41" y="341"/>
                        <a:pt x="41" y="341"/>
                      </a:cubicBezTo>
                      <a:cubicBezTo>
                        <a:pt x="40" y="342"/>
                        <a:pt x="40" y="342"/>
                        <a:pt x="40" y="342"/>
                      </a:cubicBezTo>
                      <a:cubicBezTo>
                        <a:pt x="41" y="343"/>
                        <a:pt x="41" y="343"/>
                        <a:pt x="41" y="343"/>
                      </a:cubicBezTo>
                      <a:cubicBezTo>
                        <a:pt x="44" y="342"/>
                        <a:pt x="44" y="342"/>
                        <a:pt x="44" y="342"/>
                      </a:cubicBezTo>
                      <a:cubicBezTo>
                        <a:pt x="45" y="341"/>
                        <a:pt x="45" y="341"/>
                        <a:pt x="45" y="341"/>
                      </a:cubicBezTo>
                      <a:cubicBezTo>
                        <a:pt x="46" y="342"/>
                        <a:pt x="46" y="342"/>
                        <a:pt x="46" y="342"/>
                      </a:cubicBezTo>
                      <a:cubicBezTo>
                        <a:pt x="45" y="342"/>
                        <a:pt x="45" y="342"/>
                        <a:pt x="45" y="342"/>
                      </a:cubicBezTo>
                      <a:cubicBezTo>
                        <a:pt x="45" y="343"/>
                        <a:pt x="45" y="343"/>
                        <a:pt x="45" y="343"/>
                      </a:cubicBezTo>
                      <a:cubicBezTo>
                        <a:pt x="47" y="343"/>
                        <a:pt x="47" y="343"/>
                        <a:pt x="47" y="343"/>
                      </a:cubicBezTo>
                      <a:cubicBezTo>
                        <a:pt x="47" y="345"/>
                        <a:pt x="47" y="345"/>
                        <a:pt x="47" y="345"/>
                      </a:cubicBezTo>
                      <a:cubicBezTo>
                        <a:pt x="45" y="345"/>
                        <a:pt x="45" y="345"/>
                        <a:pt x="45" y="345"/>
                      </a:cubicBezTo>
                      <a:cubicBezTo>
                        <a:pt x="44" y="346"/>
                        <a:pt x="44" y="346"/>
                        <a:pt x="44" y="346"/>
                      </a:cubicBezTo>
                      <a:cubicBezTo>
                        <a:pt x="46" y="346"/>
                        <a:pt x="46" y="346"/>
                        <a:pt x="46" y="346"/>
                      </a:cubicBezTo>
                      <a:cubicBezTo>
                        <a:pt x="47" y="346"/>
                        <a:pt x="47" y="346"/>
                        <a:pt x="47" y="346"/>
                      </a:cubicBezTo>
                      <a:cubicBezTo>
                        <a:pt x="49" y="346"/>
                        <a:pt x="49" y="346"/>
                        <a:pt x="49" y="346"/>
                      </a:cubicBezTo>
                      <a:cubicBezTo>
                        <a:pt x="50" y="347"/>
                        <a:pt x="50" y="347"/>
                        <a:pt x="50" y="347"/>
                      </a:cubicBezTo>
                      <a:cubicBezTo>
                        <a:pt x="51" y="346"/>
                        <a:pt x="51" y="346"/>
                        <a:pt x="51" y="346"/>
                      </a:cubicBezTo>
                      <a:cubicBezTo>
                        <a:pt x="55" y="348"/>
                        <a:pt x="55" y="348"/>
                        <a:pt x="55" y="348"/>
                      </a:cubicBezTo>
                      <a:cubicBezTo>
                        <a:pt x="57" y="351"/>
                        <a:pt x="57" y="351"/>
                        <a:pt x="57" y="351"/>
                      </a:cubicBezTo>
                      <a:cubicBezTo>
                        <a:pt x="58" y="351"/>
                        <a:pt x="58" y="351"/>
                        <a:pt x="58" y="351"/>
                      </a:cubicBezTo>
                      <a:cubicBezTo>
                        <a:pt x="58" y="352"/>
                        <a:pt x="58" y="352"/>
                        <a:pt x="58" y="352"/>
                      </a:cubicBezTo>
                      <a:cubicBezTo>
                        <a:pt x="57" y="354"/>
                        <a:pt x="57" y="354"/>
                        <a:pt x="57" y="354"/>
                      </a:cubicBezTo>
                      <a:cubicBezTo>
                        <a:pt x="58" y="354"/>
                        <a:pt x="58" y="354"/>
                        <a:pt x="58" y="35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cubicBezTo>
                        <a:pt x="58" y="359"/>
                        <a:pt x="58" y="359"/>
                        <a:pt x="58" y="359"/>
                      </a:cubicBezTo>
                      <a:cubicBezTo>
                        <a:pt x="56" y="360"/>
                        <a:pt x="56" y="360"/>
                        <a:pt x="56" y="360"/>
                      </a:cubicBezTo>
                      <a:cubicBezTo>
                        <a:pt x="56" y="361"/>
                        <a:pt x="56" y="361"/>
                        <a:pt x="56" y="361"/>
                      </a:cubicBezTo>
                      <a:cubicBezTo>
                        <a:pt x="58" y="362"/>
                        <a:pt x="58" y="362"/>
                        <a:pt x="58" y="362"/>
                      </a:cubicBezTo>
                      <a:cubicBezTo>
                        <a:pt x="58" y="364"/>
                        <a:pt x="58" y="364"/>
                        <a:pt x="58" y="364"/>
                      </a:cubicBezTo>
                      <a:cubicBezTo>
                        <a:pt x="60" y="367"/>
                        <a:pt x="60" y="367"/>
                        <a:pt x="60" y="367"/>
                      </a:cubicBezTo>
                      <a:cubicBezTo>
                        <a:pt x="60" y="368"/>
                        <a:pt x="60" y="368"/>
                        <a:pt x="60" y="368"/>
                      </a:cubicBezTo>
                      <a:cubicBezTo>
                        <a:pt x="62" y="370"/>
                        <a:pt x="62" y="370"/>
                        <a:pt x="62" y="370"/>
                      </a:cubicBezTo>
                      <a:cubicBezTo>
                        <a:pt x="62" y="371"/>
                        <a:pt x="62" y="371"/>
                        <a:pt x="62" y="371"/>
                      </a:cubicBezTo>
                      <a:cubicBezTo>
                        <a:pt x="63" y="374"/>
                        <a:pt x="63" y="374"/>
                        <a:pt x="63" y="374"/>
                      </a:cubicBezTo>
                      <a:cubicBezTo>
                        <a:pt x="62" y="375"/>
                        <a:pt x="62" y="375"/>
                        <a:pt x="62" y="375"/>
                      </a:cubicBezTo>
                      <a:cubicBezTo>
                        <a:pt x="63" y="376"/>
                        <a:pt x="63" y="376"/>
                        <a:pt x="63" y="376"/>
                      </a:cubicBezTo>
                      <a:cubicBezTo>
                        <a:pt x="64" y="378"/>
                        <a:pt x="64" y="378"/>
                        <a:pt x="64" y="378"/>
                      </a:cubicBezTo>
                      <a:cubicBezTo>
                        <a:pt x="67" y="379"/>
                        <a:pt x="67" y="379"/>
                        <a:pt x="67" y="379"/>
                      </a:cubicBezTo>
                      <a:cubicBezTo>
                        <a:pt x="69" y="378"/>
                        <a:pt x="69" y="378"/>
                        <a:pt x="69" y="378"/>
                      </a:cubicBezTo>
                      <a:cubicBezTo>
                        <a:pt x="70" y="378"/>
                        <a:pt x="70" y="378"/>
                        <a:pt x="70" y="378"/>
                      </a:cubicBezTo>
                      <a:cubicBezTo>
                        <a:pt x="71" y="380"/>
                        <a:pt x="71" y="380"/>
                        <a:pt x="71" y="380"/>
                      </a:cubicBezTo>
                      <a:cubicBezTo>
                        <a:pt x="73" y="381"/>
                        <a:pt x="73" y="381"/>
                        <a:pt x="73" y="381"/>
                      </a:cubicBezTo>
                      <a:cubicBezTo>
                        <a:pt x="73" y="383"/>
                        <a:pt x="73" y="383"/>
                        <a:pt x="73" y="383"/>
                      </a:cubicBezTo>
                      <a:cubicBezTo>
                        <a:pt x="74" y="384"/>
                        <a:pt x="74" y="384"/>
                        <a:pt x="74" y="384"/>
                      </a:cubicBezTo>
                      <a:cubicBezTo>
                        <a:pt x="77" y="384"/>
                        <a:pt x="77" y="384"/>
                        <a:pt x="77" y="384"/>
                      </a:cubicBezTo>
                      <a:cubicBezTo>
                        <a:pt x="78" y="385"/>
                        <a:pt x="78" y="385"/>
                        <a:pt x="78" y="385"/>
                      </a:cubicBezTo>
                      <a:cubicBezTo>
                        <a:pt x="81" y="385"/>
                        <a:pt x="81" y="385"/>
                        <a:pt x="81" y="385"/>
                      </a:cubicBezTo>
                      <a:cubicBezTo>
                        <a:pt x="83" y="387"/>
                        <a:pt x="83" y="387"/>
                        <a:pt x="83" y="387"/>
                      </a:cubicBezTo>
                      <a:cubicBezTo>
                        <a:pt x="84" y="387"/>
                        <a:pt x="84" y="387"/>
                        <a:pt x="84" y="387"/>
                      </a:cubicBezTo>
                      <a:cubicBezTo>
                        <a:pt x="86" y="385"/>
                        <a:pt x="86" y="385"/>
                        <a:pt x="86" y="385"/>
                      </a:cubicBezTo>
                      <a:cubicBezTo>
                        <a:pt x="88" y="385"/>
                        <a:pt x="88" y="385"/>
                        <a:pt x="88" y="385"/>
                      </a:cubicBezTo>
                      <a:cubicBezTo>
                        <a:pt x="89" y="384"/>
                        <a:pt x="89" y="384"/>
                        <a:pt x="89" y="384"/>
                      </a:cubicBezTo>
                      <a:cubicBezTo>
                        <a:pt x="89" y="381"/>
                        <a:pt x="89" y="381"/>
                        <a:pt x="89" y="381"/>
                      </a:cubicBezTo>
                      <a:cubicBezTo>
                        <a:pt x="87" y="380"/>
                        <a:pt x="87" y="380"/>
                        <a:pt x="87" y="380"/>
                      </a:cubicBezTo>
                      <a:cubicBezTo>
                        <a:pt x="88" y="379"/>
                        <a:pt x="88" y="379"/>
                        <a:pt x="88" y="379"/>
                      </a:cubicBezTo>
                      <a:cubicBezTo>
                        <a:pt x="88" y="378"/>
                        <a:pt x="88" y="378"/>
                        <a:pt x="88" y="378"/>
                      </a:cubicBezTo>
                      <a:cubicBezTo>
                        <a:pt x="86" y="377"/>
                        <a:pt x="86" y="377"/>
                        <a:pt x="86" y="377"/>
                      </a:cubicBezTo>
                      <a:cubicBezTo>
                        <a:pt x="86" y="375"/>
                        <a:pt x="86" y="375"/>
                        <a:pt x="86" y="375"/>
                      </a:cubicBezTo>
                      <a:cubicBezTo>
                        <a:pt x="84" y="377"/>
                        <a:pt x="84" y="377"/>
                        <a:pt x="84" y="377"/>
                      </a:cubicBezTo>
                      <a:cubicBezTo>
                        <a:pt x="83" y="377"/>
                        <a:pt x="83" y="377"/>
                        <a:pt x="83" y="377"/>
                      </a:cubicBezTo>
                      <a:cubicBezTo>
                        <a:pt x="81" y="377"/>
                        <a:pt x="81" y="377"/>
                        <a:pt x="81" y="377"/>
                      </a:cubicBezTo>
                      <a:cubicBezTo>
                        <a:pt x="79" y="376"/>
                        <a:pt x="79" y="376"/>
                        <a:pt x="79" y="376"/>
                      </a:cubicBezTo>
                      <a:cubicBezTo>
                        <a:pt x="77" y="374"/>
                        <a:pt x="77" y="374"/>
                        <a:pt x="77" y="374"/>
                      </a:cubicBezTo>
                      <a:cubicBezTo>
                        <a:pt x="75" y="373"/>
                        <a:pt x="75" y="373"/>
                        <a:pt x="75" y="373"/>
                      </a:cubicBezTo>
                      <a:cubicBezTo>
                        <a:pt x="74" y="370"/>
                        <a:pt x="74" y="370"/>
                        <a:pt x="74" y="370"/>
                      </a:cubicBezTo>
                      <a:cubicBezTo>
                        <a:pt x="73" y="368"/>
                        <a:pt x="73" y="368"/>
                        <a:pt x="73" y="368"/>
                      </a:cubicBezTo>
                      <a:cubicBezTo>
                        <a:pt x="75" y="368"/>
                        <a:pt x="75" y="368"/>
                        <a:pt x="75" y="368"/>
                      </a:cubicBezTo>
                      <a:cubicBezTo>
                        <a:pt x="76" y="367"/>
                        <a:pt x="76" y="367"/>
                        <a:pt x="76" y="367"/>
                      </a:cubicBezTo>
                      <a:cubicBezTo>
                        <a:pt x="75" y="365"/>
                        <a:pt x="75" y="365"/>
                        <a:pt x="75" y="365"/>
                      </a:cubicBezTo>
                      <a:cubicBezTo>
                        <a:pt x="76" y="364"/>
                        <a:pt x="76" y="364"/>
                        <a:pt x="76" y="364"/>
                      </a:cubicBezTo>
                      <a:cubicBezTo>
                        <a:pt x="75" y="363"/>
                        <a:pt x="75" y="363"/>
                        <a:pt x="75" y="363"/>
                      </a:cubicBezTo>
                      <a:cubicBezTo>
                        <a:pt x="75" y="362"/>
                        <a:pt x="75" y="362"/>
                        <a:pt x="75" y="362"/>
                      </a:cubicBezTo>
                      <a:cubicBezTo>
                        <a:pt x="78" y="362"/>
                        <a:pt x="78" y="362"/>
                        <a:pt x="78" y="362"/>
                      </a:cubicBezTo>
                      <a:cubicBezTo>
                        <a:pt x="80" y="363"/>
                        <a:pt x="80" y="363"/>
                        <a:pt x="80" y="363"/>
                      </a:cubicBezTo>
                      <a:cubicBezTo>
                        <a:pt x="83" y="364"/>
                        <a:pt x="83" y="364"/>
                        <a:pt x="83" y="364"/>
                      </a:cubicBezTo>
                      <a:cubicBezTo>
                        <a:pt x="84" y="366"/>
                        <a:pt x="84" y="366"/>
                        <a:pt x="84" y="366"/>
                      </a:cubicBezTo>
                      <a:cubicBezTo>
                        <a:pt x="86" y="367"/>
                        <a:pt x="86" y="367"/>
                        <a:pt x="86" y="367"/>
                      </a:cubicBezTo>
                      <a:cubicBezTo>
                        <a:pt x="89" y="368"/>
                        <a:pt x="89" y="368"/>
                        <a:pt x="89" y="368"/>
                      </a:cubicBezTo>
                      <a:cubicBezTo>
                        <a:pt x="90" y="369"/>
                        <a:pt x="90" y="369"/>
                        <a:pt x="90" y="369"/>
                      </a:cubicBezTo>
                      <a:cubicBezTo>
                        <a:pt x="92" y="369"/>
                        <a:pt x="92" y="369"/>
                        <a:pt x="92" y="369"/>
                      </a:cubicBezTo>
                      <a:cubicBezTo>
                        <a:pt x="98" y="372"/>
                        <a:pt x="98" y="372"/>
                        <a:pt x="98" y="372"/>
                      </a:cubicBezTo>
                      <a:cubicBezTo>
                        <a:pt x="100" y="375"/>
                        <a:pt x="100" y="375"/>
                        <a:pt x="100" y="375"/>
                      </a:cubicBezTo>
                      <a:cubicBezTo>
                        <a:pt x="101" y="373"/>
                        <a:pt x="101" y="373"/>
                        <a:pt x="101" y="373"/>
                      </a:cubicBezTo>
                      <a:cubicBezTo>
                        <a:pt x="103" y="371"/>
                        <a:pt x="103" y="371"/>
                        <a:pt x="103" y="371"/>
                      </a:cubicBezTo>
                      <a:cubicBezTo>
                        <a:pt x="103" y="369"/>
                        <a:pt x="103" y="369"/>
                        <a:pt x="103" y="369"/>
                      </a:cubicBezTo>
                      <a:cubicBezTo>
                        <a:pt x="105" y="369"/>
                        <a:pt x="105" y="369"/>
                        <a:pt x="105" y="369"/>
                      </a:cubicBezTo>
                      <a:cubicBezTo>
                        <a:pt x="106" y="368"/>
                        <a:pt x="106" y="368"/>
                        <a:pt x="106" y="368"/>
                      </a:cubicBezTo>
                      <a:cubicBezTo>
                        <a:pt x="103" y="364"/>
                        <a:pt x="103" y="364"/>
                        <a:pt x="103" y="364"/>
                      </a:cubicBezTo>
                      <a:cubicBezTo>
                        <a:pt x="99" y="359"/>
                        <a:pt x="99" y="359"/>
                        <a:pt x="99" y="359"/>
                      </a:cubicBezTo>
                      <a:cubicBezTo>
                        <a:pt x="98" y="356"/>
                        <a:pt x="98" y="356"/>
                        <a:pt x="98" y="356"/>
                      </a:cubicBezTo>
                      <a:cubicBezTo>
                        <a:pt x="98" y="355"/>
                        <a:pt x="98" y="355"/>
                        <a:pt x="98" y="355"/>
                      </a:cubicBezTo>
                      <a:cubicBezTo>
                        <a:pt x="101" y="352"/>
                        <a:pt x="101" y="352"/>
                        <a:pt x="101" y="352"/>
                      </a:cubicBezTo>
                      <a:cubicBezTo>
                        <a:pt x="103" y="349"/>
                        <a:pt x="103" y="349"/>
                        <a:pt x="103" y="349"/>
                      </a:cubicBezTo>
                      <a:cubicBezTo>
                        <a:pt x="104" y="347"/>
                        <a:pt x="104" y="347"/>
                        <a:pt x="104" y="347"/>
                      </a:cubicBezTo>
                      <a:cubicBezTo>
                        <a:pt x="105" y="345"/>
                        <a:pt x="105" y="345"/>
                        <a:pt x="105" y="345"/>
                      </a:cubicBezTo>
                      <a:cubicBezTo>
                        <a:pt x="108" y="345"/>
                        <a:pt x="108" y="345"/>
                        <a:pt x="108" y="345"/>
                      </a:cubicBezTo>
                      <a:cubicBezTo>
                        <a:pt x="111" y="342"/>
                        <a:pt x="111" y="342"/>
                        <a:pt x="111" y="342"/>
                      </a:cubicBezTo>
                      <a:cubicBezTo>
                        <a:pt x="113" y="337"/>
                        <a:pt x="113" y="337"/>
                        <a:pt x="113" y="337"/>
                      </a:cubicBezTo>
                      <a:cubicBezTo>
                        <a:pt x="114" y="336"/>
                        <a:pt x="114" y="336"/>
                        <a:pt x="114" y="336"/>
                      </a:cubicBezTo>
                      <a:cubicBezTo>
                        <a:pt x="117" y="337"/>
                        <a:pt x="117" y="337"/>
                        <a:pt x="117" y="337"/>
                      </a:cubicBezTo>
                      <a:cubicBezTo>
                        <a:pt x="119" y="338"/>
                        <a:pt x="119" y="338"/>
                        <a:pt x="119" y="338"/>
                      </a:cubicBezTo>
                      <a:cubicBezTo>
                        <a:pt x="121" y="338"/>
                        <a:pt x="121" y="338"/>
                        <a:pt x="121" y="338"/>
                      </a:cubicBezTo>
                      <a:cubicBezTo>
                        <a:pt x="124" y="338"/>
                        <a:pt x="124" y="338"/>
                        <a:pt x="124" y="338"/>
                      </a:cubicBezTo>
                      <a:cubicBezTo>
                        <a:pt x="125" y="340"/>
                        <a:pt x="125" y="340"/>
                        <a:pt x="125" y="340"/>
                      </a:cubicBezTo>
                      <a:cubicBezTo>
                        <a:pt x="125" y="342"/>
                        <a:pt x="125" y="342"/>
                        <a:pt x="125" y="342"/>
                      </a:cubicBezTo>
                      <a:cubicBezTo>
                        <a:pt x="128" y="340"/>
                        <a:pt x="128" y="340"/>
                        <a:pt x="128" y="340"/>
                      </a:cubicBezTo>
                      <a:cubicBezTo>
                        <a:pt x="130" y="341"/>
                        <a:pt x="130" y="341"/>
                        <a:pt x="130" y="341"/>
                      </a:cubicBezTo>
                      <a:cubicBezTo>
                        <a:pt x="131" y="344"/>
                        <a:pt x="131" y="344"/>
                        <a:pt x="131" y="344"/>
                      </a:cubicBezTo>
                      <a:cubicBezTo>
                        <a:pt x="132" y="345"/>
                        <a:pt x="132" y="345"/>
                        <a:pt x="132" y="345"/>
                      </a:cubicBezTo>
                      <a:cubicBezTo>
                        <a:pt x="132" y="341"/>
                        <a:pt x="132" y="341"/>
                        <a:pt x="132" y="341"/>
                      </a:cubicBezTo>
                      <a:cubicBezTo>
                        <a:pt x="130" y="339"/>
                        <a:pt x="130" y="339"/>
                        <a:pt x="130" y="339"/>
                      </a:cubicBezTo>
                      <a:cubicBezTo>
                        <a:pt x="131" y="338"/>
                        <a:pt x="131" y="338"/>
                        <a:pt x="131" y="338"/>
                      </a:cubicBezTo>
                      <a:cubicBezTo>
                        <a:pt x="131" y="333"/>
                        <a:pt x="131" y="333"/>
                        <a:pt x="131" y="333"/>
                      </a:cubicBezTo>
                      <a:cubicBezTo>
                        <a:pt x="132" y="332"/>
                        <a:pt x="132" y="332"/>
                        <a:pt x="132" y="332"/>
                      </a:cubicBezTo>
                      <a:cubicBezTo>
                        <a:pt x="131" y="331"/>
                        <a:pt x="131" y="331"/>
                        <a:pt x="131" y="331"/>
                      </a:cubicBezTo>
                      <a:cubicBezTo>
                        <a:pt x="131" y="330"/>
                        <a:pt x="131" y="330"/>
                        <a:pt x="131" y="330"/>
                      </a:cubicBezTo>
                      <a:cubicBezTo>
                        <a:pt x="131" y="329"/>
                        <a:pt x="131" y="329"/>
                        <a:pt x="131" y="329"/>
                      </a:cubicBezTo>
                      <a:cubicBezTo>
                        <a:pt x="131" y="328"/>
                        <a:pt x="131" y="328"/>
                        <a:pt x="131" y="328"/>
                      </a:cubicBezTo>
                      <a:cubicBezTo>
                        <a:pt x="131" y="327"/>
                        <a:pt x="131" y="327"/>
                        <a:pt x="131" y="327"/>
                      </a:cubicBezTo>
                      <a:cubicBezTo>
                        <a:pt x="130" y="325"/>
                        <a:pt x="130" y="325"/>
                        <a:pt x="130" y="325"/>
                      </a:cubicBezTo>
                      <a:cubicBezTo>
                        <a:pt x="128" y="324"/>
                        <a:pt x="128" y="324"/>
                        <a:pt x="128" y="324"/>
                      </a:cubicBezTo>
                      <a:cubicBezTo>
                        <a:pt x="125" y="324"/>
                        <a:pt x="125" y="324"/>
                        <a:pt x="125" y="324"/>
                      </a:cubicBezTo>
                      <a:cubicBezTo>
                        <a:pt x="124" y="321"/>
                        <a:pt x="124" y="321"/>
                        <a:pt x="124" y="321"/>
                      </a:cubicBezTo>
                      <a:cubicBezTo>
                        <a:pt x="125" y="319"/>
                        <a:pt x="125" y="319"/>
                        <a:pt x="125" y="319"/>
                      </a:cubicBezTo>
                      <a:cubicBezTo>
                        <a:pt x="125" y="314"/>
                        <a:pt x="125" y="314"/>
                        <a:pt x="125" y="314"/>
                      </a:cubicBezTo>
                      <a:cubicBezTo>
                        <a:pt x="125" y="314"/>
                        <a:pt x="125" y="314"/>
                        <a:pt x="125" y="314"/>
                      </a:cubicBezTo>
                      <a:cubicBezTo>
                        <a:pt x="125" y="312"/>
                        <a:pt x="125" y="312"/>
                        <a:pt x="125" y="312"/>
                      </a:cubicBezTo>
                      <a:cubicBezTo>
                        <a:pt x="125" y="311"/>
                        <a:pt x="125" y="311"/>
                        <a:pt x="125" y="311"/>
                      </a:cubicBezTo>
                      <a:cubicBezTo>
                        <a:pt x="126" y="310"/>
                        <a:pt x="126" y="310"/>
                        <a:pt x="126" y="310"/>
                      </a:cubicBezTo>
                      <a:cubicBezTo>
                        <a:pt x="125" y="309"/>
                        <a:pt x="125" y="309"/>
                        <a:pt x="125" y="309"/>
                      </a:cubicBezTo>
                      <a:cubicBezTo>
                        <a:pt x="125" y="306"/>
                        <a:pt x="125" y="306"/>
                        <a:pt x="125" y="306"/>
                      </a:cubicBezTo>
                      <a:cubicBezTo>
                        <a:pt x="123" y="302"/>
                        <a:pt x="123" y="302"/>
                        <a:pt x="123" y="302"/>
                      </a:cubicBezTo>
                      <a:cubicBezTo>
                        <a:pt x="121" y="300"/>
                        <a:pt x="121" y="300"/>
                        <a:pt x="121" y="300"/>
                      </a:cubicBezTo>
                      <a:cubicBezTo>
                        <a:pt x="116" y="296"/>
                        <a:pt x="116" y="296"/>
                        <a:pt x="116" y="296"/>
                      </a:cubicBezTo>
                      <a:cubicBezTo>
                        <a:pt x="116" y="295"/>
                        <a:pt x="116" y="295"/>
                        <a:pt x="116" y="295"/>
                      </a:cubicBezTo>
                      <a:cubicBezTo>
                        <a:pt x="118" y="295"/>
                        <a:pt x="118" y="295"/>
                        <a:pt x="118" y="295"/>
                      </a:cubicBezTo>
                      <a:cubicBezTo>
                        <a:pt x="122" y="298"/>
                        <a:pt x="122" y="298"/>
                        <a:pt x="122" y="298"/>
                      </a:cubicBezTo>
                      <a:cubicBezTo>
                        <a:pt x="124" y="298"/>
                        <a:pt x="124" y="298"/>
                        <a:pt x="124" y="298"/>
                      </a:cubicBezTo>
                      <a:cubicBezTo>
                        <a:pt x="126" y="297"/>
                        <a:pt x="126" y="297"/>
                        <a:pt x="126" y="297"/>
                      </a:cubicBezTo>
                      <a:cubicBezTo>
                        <a:pt x="129" y="297"/>
                        <a:pt x="129" y="297"/>
                        <a:pt x="129" y="297"/>
                      </a:cubicBezTo>
                      <a:cubicBezTo>
                        <a:pt x="135" y="297"/>
                        <a:pt x="135" y="297"/>
                        <a:pt x="135" y="297"/>
                      </a:cubicBezTo>
                      <a:cubicBezTo>
                        <a:pt x="137" y="299"/>
                        <a:pt x="137" y="299"/>
                        <a:pt x="137" y="299"/>
                      </a:cubicBezTo>
                      <a:cubicBezTo>
                        <a:pt x="137" y="300"/>
                        <a:pt x="137" y="300"/>
                        <a:pt x="137" y="300"/>
                      </a:cubicBezTo>
                      <a:cubicBezTo>
                        <a:pt x="139" y="303"/>
                        <a:pt x="139" y="303"/>
                        <a:pt x="139" y="303"/>
                      </a:cubicBezTo>
                      <a:cubicBezTo>
                        <a:pt x="141" y="303"/>
                        <a:pt x="141" y="303"/>
                        <a:pt x="141" y="303"/>
                      </a:cubicBezTo>
                      <a:cubicBezTo>
                        <a:pt x="141" y="305"/>
                        <a:pt x="141" y="305"/>
                        <a:pt x="141" y="305"/>
                      </a:cubicBezTo>
                      <a:cubicBezTo>
                        <a:pt x="144" y="308"/>
                        <a:pt x="144" y="308"/>
                        <a:pt x="144" y="308"/>
                      </a:cubicBezTo>
                      <a:cubicBezTo>
                        <a:pt x="144" y="310"/>
                        <a:pt x="144" y="310"/>
                        <a:pt x="144" y="310"/>
                      </a:cubicBezTo>
                      <a:cubicBezTo>
                        <a:pt x="140" y="310"/>
                        <a:pt x="140" y="310"/>
                        <a:pt x="140" y="310"/>
                      </a:cubicBezTo>
                      <a:cubicBezTo>
                        <a:pt x="140" y="311"/>
                        <a:pt x="140" y="311"/>
                        <a:pt x="140" y="311"/>
                      </a:cubicBezTo>
                      <a:cubicBezTo>
                        <a:pt x="137" y="311"/>
                        <a:pt x="137" y="311"/>
                        <a:pt x="137" y="311"/>
                      </a:cubicBezTo>
                      <a:cubicBezTo>
                        <a:pt x="136" y="312"/>
                        <a:pt x="136" y="312"/>
                        <a:pt x="136" y="312"/>
                      </a:cubicBezTo>
                      <a:cubicBezTo>
                        <a:pt x="136" y="313"/>
                        <a:pt x="136" y="313"/>
                        <a:pt x="136" y="313"/>
                      </a:cubicBezTo>
                      <a:cubicBezTo>
                        <a:pt x="135" y="315"/>
                        <a:pt x="135" y="315"/>
                        <a:pt x="135" y="315"/>
                      </a:cubicBezTo>
                      <a:cubicBezTo>
                        <a:pt x="134" y="314"/>
                        <a:pt x="134" y="314"/>
                        <a:pt x="134" y="314"/>
                      </a:cubicBezTo>
                      <a:cubicBezTo>
                        <a:pt x="134" y="315"/>
                        <a:pt x="134" y="315"/>
                        <a:pt x="134" y="315"/>
                      </a:cubicBezTo>
                      <a:cubicBezTo>
                        <a:pt x="133" y="318"/>
                        <a:pt x="133" y="318"/>
                        <a:pt x="133" y="318"/>
                      </a:cubicBezTo>
                      <a:cubicBezTo>
                        <a:pt x="135" y="319"/>
                        <a:pt x="135" y="319"/>
                        <a:pt x="135" y="319"/>
                      </a:cubicBezTo>
                      <a:cubicBezTo>
                        <a:pt x="139" y="322"/>
                        <a:pt x="139" y="322"/>
                        <a:pt x="139" y="322"/>
                      </a:cubicBezTo>
                      <a:cubicBezTo>
                        <a:pt x="143" y="328"/>
                        <a:pt x="143" y="328"/>
                        <a:pt x="143" y="328"/>
                      </a:cubicBezTo>
                      <a:cubicBezTo>
                        <a:pt x="144" y="328"/>
                        <a:pt x="144" y="328"/>
                        <a:pt x="144" y="328"/>
                      </a:cubicBezTo>
                      <a:cubicBezTo>
                        <a:pt x="147" y="326"/>
                        <a:pt x="147" y="326"/>
                        <a:pt x="147" y="326"/>
                      </a:cubicBezTo>
                      <a:cubicBezTo>
                        <a:pt x="148" y="328"/>
                        <a:pt x="148" y="328"/>
                        <a:pt x="148" y="328"/>
                      </a:cubicBezTo>
                      <a:cubicBezTo>
                        <a:pt x="149" y="327"/>
                        <a:pt x="149" y="327"/>
                        <a:pt x="149" y="327"/>
                      </a:cubicBezTo>
                      <a:cubicBezTo>
                        <a:pt x="151" y="327"/>
                        <a:pt x="151" y="327"/>
                        <a:pt x="151" y="327"/>
                      </a:cubicBezTo>
                      <a:cubicBezTo>
                        <a:pt x="152" y="326"/>
                        <a:pt x="152" y="326"/>
                        <a:pt x="152" y="326"/>
                      </a:cubicBezTo>
                      <a:cubicBezTo>
                        <a:pt x="155" y="324"/>
                        <a:pt x="155" y="324"/>
                        <a:pt x="155" y="324"/>
                      </a:cubicBezTo>
                      <a:cubicBezTo>
                        <a:pt x="156" y="322"/>
                        <a:pt x="156" y="322"/>
                        <a:pt x="156" y="322"/>
                      </a:cubicBezTo>
                      <a:cubicBezTo>
                        <a:pt x="155" y="319"/>
                        <a:pt x="155" y="319"/>
                        <a:pt x="155" y="319"/>
                      </a:cubicBezTo>
                      <a:cubicBezTo>
                        <a:pt x="156" y="317"/>
                        <a:pt x="156" y="317"/>
                        <a:pt x="156" y="317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5" y="313"/>
                        <a:pt x="155" y="313"/>
                        <a:pt x="155" y="313"/>
                      </a:cubicBezTo>
                      <a:cubicBezTo>
                        <a:pt x="156" y="312"/>
                        <a:pt x="156" y="312"/>
                        <a:pt x="156" y="312"/>
                      </a:cubicBezTo>
                      <a:cubicBezTo>
                        <a:pt x="161" y="312"/>
                        <a:pt x="161" y="312"/>
                        <a:pt x="161" y="312"/>
                      </a:cubicBezTo>
                      <a:cubicBezTo>
                        <a:pt x="162" y="310"/>
                        <a:pt x="162" y="310"/>
                        <a:pt x="162" y="310"/>
                      </a:cubicBezTo>
                      <a:cubicBezTo>
                        <a:pt x="165" y="312"/>
                        <a:pt x="165" y="312"/>
                        <a:pt x="165" y="312"/>
                      </a:cubicBezTo>
                      <a:cubicBezTo>
                        <a:pt x="164" y="310"/>
                        <a:pt x="164" y="310"/>
                        <a:pt x="164" y="310"/>
                      </a:cubicBezTo>
                      <a:cubicBezTo>
                        <a:pt x="162" y="308"/>
                        <a:pt x="162" y="308"/>
                        <a:pt x="162" y="308"/>
                      </a:cubicBezTo>
                      <a:cubicBezTo>
                        <a:pt x="161" y="306"/>
                        <a:pt x="161" y="306"/>
                        <a:pt x="161" y="306"/>
                      </a:cubicBezTo>
                      <a:cubicBezTo>
                        <a:pt x="162" y="306"/>
                        <a:pt x="162" y="306"/>
                        <a:pt x="162" y="306"/>
                      </a:cubicBezTo>
                      <a:cubicBezTo>
                        <a:pt x="163" y="308"/>
                        <a:pt x="163" y="308"/>
                        <a:pt x="163" y="308"/>
                      </a:cubicBezTo>
                      <a:cubicBezTo>
                        <a:pt x="165" y="307"/>
                        <a:pt x="165" y="307"/>
                        <a:pt x="165" y="307"/>
                      </a:cubicBezTo>
                      <a:cubicBezTo>
                        <a:pt x="169" y="302"/>
                        <a:pt x="169" y="302"/>
                        <a:pt x="169" y="302"/>
                      </a:cubicBezTo>
                      <a:cubicBezTo>
                        <a:pt x="170" y="302"/>
                        <a:pt x="170" y="302"/>
                        <a:pt x="170" y="302"/>
                      </a:cubicBezTo>
                      <a:cubicBezTo>
                        <a:pt x="174" y="297"/>
                        <a:pt x="174" y="297"/>
                        <a:pt x="174" y="297"/>
                      </a:cubicBezTo>
                      <a:cubicBezTo>
                        <a:pt x="174" y="296"/>
                        <a:pt x="174" y="296"/>
                        <a:pt x="174" y="296"/>
                      </a:cubicBezTo>
                      <a:cubicBezTo>
                        <a:pt x="175" y="295"/>
                        <a:pt x="175" y="295"/>
                        <a:pt x="175" y="295"/>
                      </a:cubicBezTo>
                      <a:cubicBezTo>
                        <a:pt x="177" y="296"/>
                        <a:pt x="177" y="296"/>
                        <a:pt x="177" y="296"/>
                      </a:cubicBezTo>
                      <a:cubicBezTo>
                        <a:pt x="179" y="294"/>
                        <a:pt x="179" y="294"/>
                        <a:pt x="179" y="294"/>
                      </a:cubicBezTo>
                      <a:cubicBezTo>
                        <a:pt x="180" y="293"/>
                        <a:pt x="180" y="293"/>
                        <a:pt x="180" y="293"/>
                      </a:cubicBezTo>
                      <a:cubicBezTo>
                        <a:pt x="184" y="292"/>
                        <a:pt x="184" y="292"/>
                        <a:pt x="184" y="292"/>
                      </a:cubicBezTo>
                      <a:cubicBezTo>
                        <a:pt x="184" y="293"/>
                        <a:pt x="184" y="293"/>
                        <a:pt x="184" y="293"/>
                      </a:cubicBezTo>
                      <a:cubicBezTo>
                        <a:pt x="185" y="294"/>
                        <a:pt x="185" y="294"/>
                        <a:pt x="185" y="294"/>
                      </a:cubicBezTo>
                      <a:cubicBezTo>
                        <a:pt x="185" y="295"/>
                        <a:pt x="185" y="295"/>
                        <a:pt x="185" y="295"/>
                      </a:cubicBezTo>
                      <a:cubicBezTo>
                        <a:pt x="184" y="296"/>
                        <a:pt x="184" y="296"/>
                        <a:pt x="184" y="296"/>
                      </a:cubicBezTo>
                      <a:cubicBezTo>
                        <a:pt x="185" y="297"/>
                        <a:pt x="185" y="297"/>
                        <a:pt x="185" y="297"/>
                      </a:cubicBezTo>
                      <a:cubicBezTo>
                        <a:pt x="188" y="295"/>
                        <a:pt x="188" y="295"/>
                        <a:pt x="188" y="295"/>
                      </a:cubicBezTo>
                      <a:cubicBezTo>
                        <a:pt x="188" y="293"/>
                        <a:pt x="188" y="293"/>
                        <a:pt x="188" y="293"/>
                      </a:cubicBezTo>
                      <a:cubicBezTo>
                        <a:pt x="187" y="293"/>
                        <a:pt x="187" y="293"/>
                        <a:pt x="187" y="293"/>
                      </a:cubicBezTo>
                      <a:cubicBezTo>
                        <a:pt x="185" y="291"/>
                        <a:pt x="185" y="291"/>
                        <a:pt x="185" y="291"/>
                      </a:cubicBezTo>
                      <a:cubicBezTo>
                        <a:pt x="185" y="290"/>
                        <a:pt x="185" y="290"/>
                        <a:pt x="185" y="290"/>
                      </a:cubicBezTo>
                      <a:cubicBezTo>
                        <a:pt x="189" y="287"/>
                        <a:pt x="189" y="287"/>
                        <a:pt x="189" y="287"/>
                      </a:cubicBezTo>
                      <a:cubicBezTo>
                        <a:pt x="189" y="287"/>
                        <a:pt x="189" y="287"/>
                        <a:pt x="189" y="287"/>
                      </a:cubicBezTo>
                      <a:cubicBezTo>
                        <a:pt x="190" y="288"/>
                        <a:pt x="190" y="288"/>
                        <a:pt x="190" y="288"/>
                      </a:cubicBezTo>
                      <a:cubicBezTo>
                        <a:pt x="189" y="288"/>
                        <a:pt x="189" y="288"/>
                        <a:pt x="189" y="288"/>
                      </a:cubicBezTo>
                      <a:cubicBezTo>
                        <a:pt x="188" y="289"/>
                        <a:pt x="188" y="289"/>
                        <a:pt x="188" y="289"/>
                      </a:cubicBezTo>
                      <a:cubicBezTo>
                        <a:pt x="190" y="291"/>
                        <a:pt x="190" y="291"/>
                        <a:pt x="190" y="291"/>
                      </a:cubicBezTo>
                      <a:cubicBezTo>
                        <a:pt x="191" y="291"/>
                        <a:pt x="191" y="291"/>
                        <a:pt x="191" y="291"/>
                      </a:cubicBezTo>
                      <a:cubicBezTo>
                        <a:pt x="192" y="290"/>
                        <a:pt x="192" y="290"/>
                        <a:pt x="192" y="290"/>
                      </a:cubicBezTo>
                      <a:cubicBezTo>
                        <a:pt x="192" y="288"/>
                        <a:pt x="192" y="288"/>
                        <a:pt x="192" y="288"/>
                      </a:cubicBezTo>
                      <a:cubicBezTo>
                        <a:pt x="191" y="287"/>
                        <a:pt x="191" y="287"/>
                        <a:pt x="191" y="287"/>
                      </a:cubicBezTo>
                      <a:cubicBezTo>
                        <a:pt x="190" y="286"/>
                        <a:pt x="190" y="286"/>
                        <a:pt x="190" y="286"/>
                      </a:cubicBezTo>
                      <a:cubicBezTo>
                        <a:pt x="192" y="284"/>
                        <a:pt x="192" y="284"/>
                        <a:pt x="192" y="284"/>
                      </a:cubicBezTo>
                      <a:cubicBezTo>
                        <a:pt x="197" y="282"/>
                        <a:pt x="197" y="282"/>
                        <a:pt x="197" y="282"/>
                      </a:cubicBezTo>
                      <a:cubicBezTo>
                        <a:pt x="200" y="282"/>
                        <a:pt x="200" y="282"/>
                        <a:pt x="200" y="282"/>
                      </a:cubicBezTo>
                      <a:cubicBezTo>
                        <a:pt x="201" y="282"/>
                        <a:pt x="201" y="282"/>
                        <a:pt x="201" y="282"/>
                      </a:cubicBezTo>
                      <a:cubicBezTo>
                        <a:pt x="199" y="283"/>
                        <a:pt x="199" y="283"/>
                        <a:pt x="199" y="283"/>
                      </a:cubicBezTo>
                      <a:cubicBezTo>
                        <a:pt x="197" y="284"/>
                        <a:pt x="197" y="284"/>
                        <a:pt x="197" y="284"/>
                      </a:cubicBezTo>
                      <a:cubicBezTo>
                        <a:pt x="194" y="285"/>
                        <a:pt x="194" y="285"/>
                        <a:pt x="194" y="285"/>
                      </a:cubicBezTo>
                      <a:cubicBezTo>
                        <a:pt x="194" y="286"/>
                        <a:pt x="194" y="286"/>
                        <a:pt x="194" y="286"/>
                      </a:cubicBezTo>
                      <a:cubicBezTo>
                        <a:pt x="196" y="286"/>
                        <a:pt x="196" y="286"/>
                        <a:pt x="196" y="286"/>
                      </a:cubicBezTo>
                      <a:cubicBezTo>
                        <a:pt x="197" y="286"/>
                        <a:pt x="197" y="286"/>
                        <a:pt x="197" y="286"/>
                      </a:cubicBezTo>
                      <a:cubicBezTo>
                        <a:pt x="199" y="288"/>
                        <a:pt x="199" y="288"/>
                        <a:pt x="199" y="288"/>
                      </a:cubicBezTo>
                      <a:cubicBezTo>
                        <a:pt x="198" y="289"/>
                        <a:pt x="198" y="289"/>
                        <a:pt x="198" y="289"/>
                      </a:cubicBezTo>
                      <a:cubicBezTo>
                        <a:pt x="197" y="289"/>
                        <a:pt x="197" y="289"/>
                        <a:pt x="197" y="289"/>
                      </a:cubicBezTo>
                      <a:cubicBezTo>
                        <a:pt x="199" y="292"/>
                        <a:pt x="199" y="292"/>
                        <a:pt x="199" y="292"/>
                      </a:cubicBezTo>
                      <a:cubicBezTo>
                        <a:pt x="198" y="293"/>
                        <a:pt x="198" y="293"/>
                        <a:pt x="198" y="293"/>
                      </a:cubicBezTo>
                      <a:cubicBezTo>
                        <a:pt x="196" y="293"/>
                        <a:pt x="196" y="293"/>
                        <a:pt x="196" y="293"/>
                      </a:cubicBezTo>
                      <a:cubicBezTo>
                        <a:pt x="194" y="295"/>
                        <a:pt x="194" y="295"/>
                        <a:pt x="194" y="295"/>
                      </a:cubicBezTo>
                      <a:cubicBezTo>
                        <a:pt x="194" y="297"/>
                        <a:pt x="194" y="297"/>
                        <a:pt x="194" y="297"/>
                      </a:cubicBezTo>
                      <a:cubicBezTo>
                        <a:pt x="196" y="297"/>
                        <a:pt x="196" y="297"/>
                        <a:pt x="196" y="297"/>
                      </a:cubicBezTo>
                      <a:cubicBezTo>
                        <a:pt x="197" y="297"/>
                        <a:pt x="197" y="297"/>
                        <a:pt x="197" y="297"/>
                      </a:cubicBezTo>
                      <a:cubicBezTo>
                        <a:pt x="199" y="297"/>
                        <a:pt x="199" y="297"/>
                        <a:pt x="199" y="297"/>
                      </a:cubicBezTo>
                      <a:cubicBezTo>
                        <a:pt x="200" y="296"/>
                        <a:pt x="200" y="296"/>
                        <a:pt x="200" y="296"/>
                      </a:cubicBezTo>
                      <a:cubicBezTo>
                        <a:pt x="202" y="296"/>
                        <a:pt x="202" y="296"/>
                        <a:pt x="202" y="296"/>
                      </a:cubicBezTo>
                      <a:cubicBezTo>
                        <a:pt x="202" y="299"/>
                        <a:pt x="202" y="299"/>
                        <a:pt x="202" y="299"/>
                      </a:cubicBezTo>
                      <a:cubicBezTo>
                        <a:pt x="203" y="296"/>
                        <a:pt x="203" y="296"/>
                        <a:pt x="203" y="296"/>
                      </a:cubicBezTo>
                      <a:cubicBezTo>
                        <a:pt x="205" y="294"/>
                        <a:pt x="205" y="294"/>
                        <a:pt x="205" y="294"/>
                      </a:cubicBezTo>
                      <a:cubicBezTo>
                        <a:pt x="206" y="294"/>
                        <a:pt x="206" y="294"/>
                        <a:pt x="206" y="294"/>
                      </a:cubicBezTo>
                      <a:cubicBezTo>
                        <a:pt x="207" y="295"/>
                        <a:pt x="207" y="295"/>
                        <a:pt x="207" y="295"/>
                      </a:cubicBezTo>
                      <a:cubicBezTo>
                        <a:pt x="208" y="296"/>
                        <a:pt x="208" y="296"/>
                        <a:pt x="208" y="296"/>
                      </a:cubicBezTo>
                      <a:cubicBezTo>
                        <a:pt x="209" y="296"/>
                        <a:pt x="209" y="296"/>
                        <a:pt x="209" y="296"/>
                      </a:cubicBezTo>
                      <a:cubicBezTo>
                        <a:pt x="208" y="294"/>
                        <a:pt x="208" y="294"/>
                        <a:pt x="208" y="294"/>
                      </a:cubicBezTo>
                      <a:cubicBezTo>
                        <a:pt x="209" y="293"/>
                        <a:pt x="209" y="293"/>
                        <a:pt x="209" y="293"/>
                      </a:cubicBezTo>
                      <a:cubicBezTo>
                        <a:pt x="208" y="292"/>
                        <a:pt x="208" y="292"/>
                        <a:pt x="208" y="292"/>
                      </a:cubicBezTo>
                      <a:cubicBezTo>
                        <a:pt x="208" y="291"/>
                        <a:pt x="208" y="291"/>
                        <a:pt x="208" y="291"/>
                      </a:cubicBezTo>
                      <a:cubicBezTo>
                        <a:pt x="209" y="289"/>
                        <a:pt x="209" y="289"/>
                        <a:pt x="209" y="289"/>
                      </a:cubicBezTo>
                      <a:cubicBezTo>
                        <a:pt x="211" y="289"/>
                        <a:pt x="211" y="289"/>
                        <a:pt x="211" y="289"/>
                      </a:cubicBezTo>
                      <a:cubicBezTo>
                        <a:pt x="212" y="288"/>
                        <a:pt x="212" y="288"/>
                        <a:pt x="212" y="288"/>
                      </a:cubicBezTo>
                      <a:cubicBezTo>
                        <a:pt x="214" y="286"/>
                        <a:pt x="214" y="286"/>
                        <a:pt x="214" y="286"/>
                      </a:cubicBezTo>
                      <a:cubicBezTo>
                        <a:pt x="215" y="287"/>
                        <a:pt x="215" y="287"/>
                        <a:pt x="215" y="287"/>
                      </a:cubicBezTo>
                      <a:cubicBezTo>
                        <a:pt x="217" y="287"/>
                        <a:pt x="217" y="287"/>
                        <a:pt x="217" y="287"/>
                      </a:cubicBezTo>
                      <a:cubicBezTo>
                        <a:pt x="218" y="287"/>
                        <a:pt x="218" y="287"/>
                        <a:pt x="218" y="287"/>
                      </a:cubicBezTo>
                      <a:cubicBezTo>
                        <a:pt x="219" y="287"/>
                        <a:pt x="219" y="287"/>
                        <a:pt x="219" y="287"/>
                      </a:cubicBezTo>
                      <a:cubicBezTo>
                        <a:pt x="223" y="287"/>
                        <a:pt x="223" y="287"/>
                        <a:pt x="223" y="287"/>
                      </a:cubicBezTo>
                      <a:cubicBezTo>
                        <a:pt x="225" y="286"/>
                        <a:pt x="225" y="286"/>
                        <a:pt x="225" y="286"/>
                      </a:cubicBezTo>
                      <a:cubicBezTo>
                        <a:pt x="225" y="285"/>
                        <a:pt x="225" y="285"/>
                        <a:pt x="225" y="285"/>
                      </a:cubicBezTo>
                      <a:cubicBezTo>
                        <a:pt x="226" y="284"/>
                        <a:pt x="226" y="284"/>
                        <a:pt x="226" y="284"/>
                      </a:cubicBezTo>
                      <a:cubicBezTo>
                        <a:pt x="228" y="284"/>
                        <a:pt x="228" y="284"/>
                        <a:pt x="228" y="284"/>
                      </a:cubicBezTo>
                      <a:cubicBezTo>
                        <a:pt x="228" y="283"/>
                        <a:pt x="228" y="283"/>
                        <a:pt x="228" y="283"/>
                      </a:cubicBezTo>
                      <a:cubicBezTo>
                        <a:pt x="230" y="281"/>
                        <a:pt x="230" y="281"/>
                        <a:pt x="230" y="281"/>
                      </a:cubicBezTo>
                      <a:cubicBezTo>
                        <a:pt x="232" y="281"/>
                        <a:pt x="232" y="281"/>
                        <a:pt x="232" y="281"/>
                      </a:cubicBezTo>
                      <a:cubicBezTo>
                        <a:pt x="234" y="278"/>
                        <a:pt x="234" y="278"/>
                        <a:pt x="234" y="278"/>
                      </a:cubicBezTo>
                      <a:cubicBezTo>
                        <a:pt x="235" y="278"/>
                        <a:pt x="235" y="278"/>
                        <a:pt x="235" y="278"/>
                      </a:cubicBezTo>
                      <a:cubicBezTo>
                        <a:pt x="237" y="277"/>
                        <a:pt x="237" y="277"/>
                        <a:pt x="237" y="277"/>
                      </a:cubicBezTo>
                      <a:cubicBezTo>
                        <a:pt x="237" y="278"/>
                        <a:pt x="237" y="278"/>
                        <a:pt x="237" y="278"/>
                      </a:cubicBezTo>
                      <a:cubicBezTo>
                        <a:pt x="235" y="280"/>
                        <a:pt x="235" y="280"/>
                        <a:pt x="235" y="280"/>
                      </a:cubicBezTo>
                      <a:cubicBezTo>
                        <a:pt x="237" y="280"/>
                        <a:pt x="237" y="280"/>
                        <a:pt x="237" y="280"/>
                      </a:cubicBezTo>
                      <a:cubicBezTo>
                        <a:pt x="239" y="282"/>
                        <a:pt x="239" y="282"/>
                        <a:pt x="239" y="282"/>
                      </a:cubicBezTo>
                      <a:cubicBezTo>
                        <a:pt x="239" y="283"/>
                        <a:pt x="239" y="283"/>
                        <a:pt x="239" y="283"/>
                      </a:cubicBezTo>
                      <a:cubicBezTo>
                        <a:pt x="237" y="285"/>
                        <a:pt x="237" y="285"/>
                        <a:pt x="237" y="285"/>
                      </a:cubicBezTo>
                      <a:cubicBezTo>
                        <a:pt x="238" y="287"/>
                        <a:pt x="238" y="287"/>
                        <a:pt x="238" y="287"/>
                      </a:cubicBezTo>
                      <a:cubicBezTo>
                        <a:pt x="238" y="288"/>
                        <a:pt x="238" y="288"/>
                        <a:pt x="238" y="288"/>
                      </a:cubicBezTo>
                      <a:cubicBezTo>
                        <a:pt x="239" y="290"/>
                        <a:pt x="239" y="290"/>
                        <a:pt x="239" y="290"/>
                      </a:cubicBezTo>
                      <a:cubicBezTo>
                        <a:pt x="244" y="290"/>
                        <a:pt x="244" y="290"/>
                        <a:pt x="244" y="290"/>
                      </a:cubicBezTo>
                      <a:cubicBezTo>
                        <a:pt x="245" y="289"/>
                        <a:pt x="245" y="289"/>
                        <a:pt x="245" y="289"/>
                      </a:cubicBezTo>
                      <a:cubicBezTo>
                        <a:pt x="245" y="288"/>
                        <a:pt x="245" y="288"/>
                        <a:pt x="245" y="288"/>
                      </a:cubicBezTo>
                      <a:cubicBezTo>
                        <a:pt x="244" y="287"/>
                        <a:pt x="244" y="287"/>
                        <a:pt x="244" y="287"/>
                      </a:cubicBezTo>
                      <a:cubicBezTo>
                        <a:pt x="242" y="284"/>
                        <a:pt x="242" y="284"/>
                        <a:pt x="242" y="284"/>
                      </a:cubicBezTo>
                      <a:cubicBezTo>
                        <a:pt x="242" y="283"/>
                        <a:pt x="242" y="283"/>
                        <a:pt x="242" y="283"/>
                      </a:cubicBezTo>
                      <a:cubicBezTo>
                        <a:pt x="244" y="282"/>
                        <a:pt x="244" y="282"/>
                        <a:pt x="244" y="282"/>
                      </a:cubicBezTo>
                      <a:cubicBezTo>
                        <a:pt x="246" y="283"/>
                        <a:pt x="246" y="283"/>
                        <a:pt x="246" y="283"/>
                      </a:cubicBezTo>
                      <a:cubicBezTo>
                        <a:pt x="248" y="282"/>
                        <a:pt x="248" y="282"/>
                        <a:pt x="248" y="282"/>
                      </a:cubicBezTo>
                      <a:cubicBezTo>
                        <a:pt x="249" y="279"/>
                        <a:pt x="249" y="279"/>
                        <a:pt x="249" y="279"/>
                      </a:cubicBezTo>
                      <a:cubicBezTo>
                        <a:pt x="250" y="279"/>
                        <a:pt x="250" y="279"/>
                        <a:pt x="250" y="279"/>
                      </a:cubicBezTo>
                      <a:cubicBezTo>
                        <a:pt x="251" y="279"/>
                        <a:pt x="251" y="279"/>
                        <a:pt x="251" y="279"/>
                      </a:cubicBezTo>
                      <a:cubicBezTo>
                        <a:pt x="254" y="280"/>
                        <a:pt x="254" y="280"/>
                        <a:pt x="254" y="280"/>
                      </a:cubicBezTo>
                      <a:cubicBezTo>
                        <a:pt x="251" y="277"/>
                        <a:pt x="251" y="277"/>
                        <a:pt x="251" y="277"/>
                      </a:cubicBezTo>
                      <a:cubicBezTo>
                        <a:pt x="249" y="276"/>
                        <a:pt x="249" y="276"/>
                        <a:pt x="249" y="276"/>
                      </a:cubicBezTo>
                      <a:cubicBezTo>
                        <a:pt x="249" y="275"/>
                        <a:pt x="249" y="275"/>
                        <a:pt x="249" y="275"/>
                      </a:cubicBezTo>
                      <a:cubicBezTo>
                        <a:pt x="247" y="271"/>
                        <a:pt x="247" y="271"/>
                        <a:pt x="247" y="271"/>
                      </a:cubicBezTo>
                      <a:cubicBezTo>
                        <a:pt x="246" y="271"/>
                        <a:pt x="246" y="271"/>
                        <a:pt x="246" y="271"/>
                      </a:cubicBezTo>
                      <a:cubicBezTo>
                        <a:pt x="246" y="273"/>
                        <a:pt x="246" y="273"/>
                        <a:pt x="246" y="273"/>
                      </a:cubicBezTo>
                      <a:cubicBezTo>
                        <a:pt x="245" y="271"/>
                        <a:pt x="245" y="271"/>
                        <a:pt x="245" y="271"/>
                      </a:cubicBezTo>
                      <a:cubicBezTo>
                        <a:pt x="244" y="268"/>
                        <a:pt x="244" y="268"/>
                        <a:pt x="244" y="268"/>
                      </a:cubicBezTo>
                      <a:cubicBezTo>
                        <a:pt x="242" y="267"/>
                        <a:pt x="242" y="267"/>
                        <a:pt x="242" y="267"/>
                      </a:cubicBezTo>
                      <a:cubicBezTo>
                        <a:pt x="241" y="265"/>
                        <a:pt x="241" y="265"/>
                        <a:pt x="241" y="265"/>
                      </a:cubicBezTo>
                      <a:cubicBezTo>
                        <a:pt x="241" y="264"/>
                        <a:pt x="241" y="264"/>
                        <a:pt x="241" y="264"/>
                      </a:cubicBezTo>
                      <a:cubicBezTo>
                        <a:pt x="243" y="263"/>
                        <a:pt x="243" y="263"/>
                        <a:pt x="243" y="263"/>
                      </a:cubicBezTo>
                      <a:cubicBezTo>
                        <a:pt x="243" y="261"/>
                        <a:pt x="243" y="261"/>
                        <a:pt x="243" y="261"/>
                      </a:cubicBezTo>
                      <a:cubicBezTo>
                        <a:pt x="242" y="259"/>
                        <a:pt x="242" y="259"/>
                        <a:pt x="242" y="259"/>
                      </a:cubicBezTo>
                      <a:cubicBezTo>
                        <a:pt x="243" y="258"/>
                        <a:pt x="243" y="258"/>
                        <a:pt x="243" y="258"/>
                      </a:cubicBezTo>
                      <a:cubicBezTo>
                        <a:pt x="245" y="259"/>
                        <a:pt x="245" y="259"/>
                        <a:pt x="245" y="259"/>
                      </a:cubicBezTo>
                      <a:cubicBezTo>
                        <a:pt x="246" y="258"/>
                        <a:pt x="246" y="258"/>
                        <a:pt x="246" y="258"/>
                      </a:cubicBezTo>
                      <a:cubicBezTo>
                        <a:pt x="247" y="259"/>
                        <a:pt x="247" y="259"/>
                        <a:pt x="247" y="259"/>
                      </a:cubicBezTo>
                      <a:cubicBezTo>
                        <a:pt x="249" y="259"/>
                        <a:pt x="249" y="259"/>
                        <a:pt x="249" y="259"/>
                      </a:cubicBezTo>
                      <a:cubicBezTo>
                        <a:pt x="251" y="260"/>
                        <a:pt x="251" y="260"/>
                        <a:pt x="251" y="260"/>
                      </a:cubicBezTo>
                      <a:cubicBezTo>
                        <a:pt x="258" y="259"/>
                        <a:pt x="258" y="259"/>
                        <a:pt x="258" y="259"/>
                      </a:cubicBezTo>
                      <a:cubicBezTo>
                        <a:pt x="268" y="259"/>
                        <a:pt x="268" y="259"/>
                        <a:pt x="268" y="259"/>
                      </a:cubicBezTo>
                      <a:cubicBezTo>
                        <a:pt x="270" y="261"/>
                        <a:pt x="270" y="261"/>
                        <a:pt x="270" y="261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7" y="265"/>
                        <a:pt x="277" y="265"/>
                        <a:pt x="277" y="265"/>
                      </a:cubicBezTo>
                      <a:cubicBezTo>
                        <a:pt x="276" y="266"/>
                        <a:pt x="276" y="266"/>
                        <a:pt x="276" y="266"/>
                      </a:cubicBezTo>
                      <a:cubicBezTo>
                        <a:pt x="277" y="268"/>
                        <a:pt x="277" y="268"/>
                        <a:pt x="277" y="268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282" y="265"/>
                        <a:pt x="282" y="265"/>
                        <a:pt x="282" y="265"/>
                      </a:cubicBezTo>
                      <a:cubicBezTo>
                        <a:pt x="284" y="267"/>
                        <a:pt x="284" y="267"/>
                        <a:pt x="284" y="267"/>
                      </a:cubicBezTo>
                      <a:cubicBezTo>
                        <a:pt x="285" y="267"/>
                        <a:pt x="285" y="267"/>
                        <a:pt x="285" y="267"/>
                      </a:cubicBezTo>
                      <a:cubicBezTo>
                        <a:pt x="285" y="269"/>
                        <a:pt x="285" y="269"/>
                        <a:pt x="285" y="269"/>
                      </a:cubicBezTo>
                      <a:cubicBezTo>
                        <a:pt x="289" y="269"/>
                        <a:pt x="289" y="269"/>
                        <a:pt x="289" y="269"/>
                      </a:cubicBezTo>
                      <a:cubicBezTo>
                        <a:pt x="294" y="272"/>
                        <a:pt x="294" y="272"/>
                        <a:pt x="294" y="272"/>
                      </a:cubicBezTo>
                      <a:cubicBezTo>
                        <a:pt x="299" y="273"/>
                        <a:pt x="299" y="273"/>
                        <a:pt x="299" y="273"/>
                      </a:cubicBezTo>
                      <a:cubicBezTo>
                        <a:pt x="301" y="275"/>
                        <a:pt x="301" y="275"/>
                        <a:pt x="301" y="275"/>
                      </a:cubicBezTo>
                      <a:cubicBezTo>
                        <a:pt x="302" y="277"/>
                        <a:pt x="302" y="277"/>
                        <a:pt x="302" y="277"/>
                      </a:cubicBezTo>
                      <a:cubicBezTo>
                        <a:pt x="305" y="278"/>
                        <a:pt x="305" y="278"/>
                        <a:pt x="305" y="278"/>
                      </a:cubicBezTo>
                      <a:cubicBezTo>
                        <a:pt x="308" y="280"/>
                        <a:pt x="308" y="280"/>
                        <a:pt x="308" y="280"/>
                      </a:cubicBezTo>
                      <a:cubicBezTo>
                        <a:pt x="310" y="284"/>
                        <a:pt x="310" y="284"/>
                        <a:pt x="310" y="284"/>
                      </a:cubicBezTo>
                      <a:cubicBezTo>
                        <a:pt x="312" y="285"/>
                        <a:pt x="312" y="285"/>
                        <a:pt x="312" y="285"/>
                      </a:cubicBezTo>
                      <a:cubicBezTo>
                        <a:pt x="313" y="283"/>
                        <a:pt x="313" y="283"/>
                        <a:pt x="313" y="283"/>
                      </a:cubicBezTo>
                      <a:cubicBezTo>
                        <a:pt x="312" y="281"/>
                        <a:pt x="312" y="281"/>
                        <a:pt x="312" y="281"/>
                      </a:cubicBezTo>
                      <a:cubicBezTo>
                        <a:pt x="313" y="281"/>
                        <a:pt x="313" y="281"/>
                        <a:pt x="313" y="281"/>
                      </a:cubicBezTo>
                      <a:cubicBezTo>
                        <a:pt x="314" y="280"/>
                        <a:pt x="314" y="280"/>
                        <a:pt x="314" y="280"/>
                      </a:cubicBezTo>
                      <a:cubicBezTo>
                        <a:pt x="312" y="278"/>
                        <a:pt x="312" y="278"/>
                        <a:pt x="312" y="278"/>
                      </a:cubicBezTo>
                      <a:cubicBezTo>
                        <a:pt x="313" y="276"/>
                        <a:pt x="313" y="276"/>
                        <a:pt x="313" y="276"/>
                      </a:cubicBezTo>
                      <a:cubicBezTo>
                        <a:pt x="313" y="271"/>
                        <a:pt x="313" y="271"/>
                        <a:pt x="313" y="271"/>
                      </a:cubicBezTo>
                      <a:cubicBezTo>
                        <a:pt x="315" y="269"/>
                        <a:pt x="315" y="269"/>
                        <a:pt x="315" y="269"/>
                      </a:cubicBezTo>
                      <a:cubicBezTo>
                        <a:pt x="313" y="270"/>
                        <a:pt x="313" y="270"/>
                        <a:pt x="313" y="270"/>
                      </a:cubicBezTo>
                      <a:cubicBezTo>
                        <a:pt x="313" y="269"/>
                        <a:pt x="313" y="269"/>
                        <a:pt x="313" y="269"/>
                      </a:cubicBezTo>
                      <a:cubicBezTo>
                        <a:pt x="311" y="269"/>
                        <a:pt x="311" y="269"/>
                        <a:pt x="311" y="269"/>
                      </a:cubicBezTo>
                      <a:cubicBezTo>
                        <a:pt x="309" y="270"/>
                        <a:pt x="309" y="270"/>
                        <a:pt x="309" y="270"/>
                      </a:cubicBezTo>
                      <a:cubicBezTo>
                        <a:pt x="307" y="269"/>
                        <a:pt x="307" y="269"/>
                        <a:pt x="307" y="269"/>
                      </a:cubicBezTo>
                      <a:cubicBezTo>
                        <a:pt x="303" y="264"/>
                        <a:pt x="303" y="264"/>
                        <a:pt x="303" y="264"/>
                      </a:cubicBezTo>
                      <a:cubicBezTo>
                        <a:pt x="302" y="264"/>
                        <a:pt x="302" y="264"/>
                        <a:pt x="302" y="264"/>
                      </a:cubicBezTo>
                      <a:cubicBezTo>
                        <a:pt x="301" y="262"/>
                        <a:pt x="301" y="262"/>
                        <a:pt x="301" y="262"/>
                      </a:cubicBezTo>
                      <a:cubicBezTo>
                        <a:pt x="301" y="259"/>
                        <a:pt x="301" y="259"/>
                        <a:pt x="301" y="259"/>
                      </a:cubicBezTo>
                      <a:cubicBezTo>
                        <a:pt x="300" y="258"/>
                        <a:pt x="300" y="258"/>
                        <a:pt x="300" y="258"/>
                      </a:cubicBezTo>
                      <a:cubicBezTo>
                        <a:pt x="298" y="260"/>
                        <a:pt x="298" y="260"/>
                        <a:pt x="298" y="260"/>
                      </a:cubicBezTo>
                      <a:cubicBezTo>
                        <a:pt x="296" y="259"/>
                        <a:pt x="296" y="259"/>
                        <a:pt x="296" y="259"/>
                      </a:cubicBezTo>
                      <a:cubicBezTo>
                        <a:pt x="294" y="259"/>
                        <a:pt x="294" y="259"/>
                        <a:pt x="294" y="259"/>
                      </a:cubicBezTo>
                      <a:cubicBezTo>
                        <a:pt x="292" y="258"/>
                        <a:pt x="292" y="258"/>
                        <a:pt x="292" y="258"/>
                      </a:cubicBezTo>
                      <a:cubicBezTo>
                        <a:pt x="291" y="259"/>
                        <a:pt x="291" y="259"/>
                        <a:pt x="291" y="259"/>
                      </a:cubicBezTo>
                      <a:cubicBezTo>
                        <a:pt x="290" y="256"/>
                        <a:pt x="290" y="256"/>
                        <a:pt x="290" y="256"/>
                      </a:cubicBezTo>
                      <a:cubicBezTo>
                        <a:pt x="289" y="255"/>
                        <a:pt x="289" y="255"/>
                        <a:pt x="289" y="255"/>
                      </a:cubicBezTo>
                      <a:cubicBezTo>
                        <a:pt x="287" y="250"/>
                        <a:pt x="287" y="250"/>
                        <a:pt x="287" y="250"/>
                      </a:cubicBezTo>
                      <a:cubicBezTo>
                        <a:pt x="287" y="249"/>
                        <a:pt x="287" y="249"/>
                        <a:pt x="287" y="249"/>
                      </a:cubicBezTo>
                      <a:cubicBezTo>
                        <a:pt x="288" y="250"/>
                        <a:pt x="288" y="250"/>
                        <a:pt x="288" y="250"/>
                      </a:cubicBezTo>
                      <a:cubicBezTo>
                        <a:pt x="290" y="248"/>
                        <a:pt x="290" y="248"/>
                        <a:pt x="290" y="248"/>
                      </a:cubicBezTo>
                      <a:cubicBezTo>
                        <a:pt x="290" y="246"/>
                        <a:pt x="290" y="246"/>
                        <a:pt x="290" y="246"/>
                      </a:cubicBezTo>
                      <a:cubicBezTo>
                        <a:pt x="287" y="244"/>
                        <a:pt x="287" y="244"/>
                        <a:pt x="287" y="244"/>
                      </a:cubicBezTo>
                      <a:cubicBezTo>
                        <a:pt x="287" y="241"/>
                        <a:pt x="287" y="241"/>
                        <a:pt x="287" y="241"/>
                      </a:cubicBezTo>
                      <a:cubicBezTo>
                        <a:pt x="288" y="240"/>
                        <a:pt x="288" y="240"/>
                        <a:pt x="288" y="240"/>
                      </a:cubicBezTo>
                      <a:cubicBezTo>
                        <a:pt x="290" y="240"/>
                        <a:pt x="290" y="240"/>
                        <a:pt x="290" y="240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6" y="238"/>
                        <a:pt x="286" y="238"/>
                        <a:pt x="286" y="238"/>
                      </a:cubicBezTo>
                      <a:cubicBezTo>
                        <a:pt x="284" y="235"/>
                        <a:pt x="284" y="235"/>
                        <a:pt x="284" y="235"/>
                      </a:cubicBezTo>
                      <a:cubicBezTo>
                        <a:pt x="283" y="233"/>
                        <a:pt x="283" y="233"/>
                        <a:pt x="283" y="233"/>
                      </a:cubicBezTo>
                      <a:cubicBezTo>
                        <a:pt x="282" y="234"/>
                        <a:pt x="282" y="234"/>
                        <a:pt x="282" y="234"/>
                      </a:cubicBezTo>
                      <a:cubicBezTo>
                        <a:pt x="279" y="232"/>
                        <a:pt x="279" y="232"/>
                        <a:pt x="279" y="232"/>
                      </a:cubicBezTo>
                      <a:cubicBezTo>
                        <a:pt x="280" y="229"/>
                        <a:pt x="280" y="229"/>
                        <a:pt x="280" y="229"/>
                      </a:cubicBezTo>
                      <a:cubicBezTo>
                        <a:pt x="281" y="227"/>
                        <a:pt x="281" y="227"/>
                        <a:pt x="281" y="227"/>
                      </a:cubicBezTo>
                      <a:cubicBezTo>
                        <a:pt x="280" y="225"/>
                        <a:pt x="280" y="225"/>
                        <a:pt x="280" y="225"/>
                      </a:cubicBezTo>
                      <a:cubicBezTo>
                        <a:pt x="279" y="223"/>
                        <a:pt x="279" y="223"/>
                        <a:pt x="279" y="223"/>
                      </a:cubicBezTo>
                      <a:cubicBezTo>
                        <a:pt x="280" y="222"/>
                        <a:pt x="280" y="222"/>
                        <a:pt x="280" y="222"/>
                      </a:cubicBezTo>
                      <a:cubicBezTo>
                        <a:pt x="284" y="217"/>
                        <a:pt x="284" y="217"/>
                        <a:pt x="284" y="217"/>
                      </a:cubicBezTo>
                      <a:cubicBezTo>
                        <a:pt x="286" y="215"/>
                        <a:pt x="286" y="215"/>
                        <a:pt x="286" y="215"/>
                      </a:cubicBezTo>
                      <a:cubicBezTo>
                        <a:pt x="287" y="214"/>
                        <a:pt x="287" y="214"/>
                        <a:pt x="287" y="214"/>
                      </a:cubicBezTo>
                      <a:cubicBezTo>
                        <a:pt x="286" y="212"/>
                        <a:pt x="286" y="212"/>
                        <a:pt x="286" y="212"/>
                      </a:cubicBezTo>
                      <a:cubicBezTo>
                        <a:pt x="285" y="210"/>
                        <a:pt x="285" y="210"/>
                        <a:pt x="285" y="210"/>
                      </a:cubicBezTo>
                      <a:cubicBezTo>
                        <a:pt x="287" y="207"/>
                        <a:pt x="287" y="207"/>
                        <a:pt x="287" y="207"/>
                      </a:cubicBezTo>
                      <a:cubicBezTo>
                        <a:pt x="285" y="205"/>
                        <a:pt x="285" y="205"/>
                        <a:pt x="285" y="205"/>
                      </a:cubicBezTo>
                      <a:cubicBezTo>
                        <a:pt x="285" y="202"/>
                        <a:pt x="285" y="202"/>
                        <a:pt x="285" y="202"/>
                      </a:cubicBezTo>
                      <a:cubicBezTo>
                        <a:pt x="286" y="201"/>
                        <a:pt x="286" y="201"/>
                        <a:pt x="286" y="201"/>
                      </a:cubicBezTo>
                      <a:cubicBezTo>
                        <a:pt x="285" y="199"/>
                        <a:pt x="285" y="199"/>
                        <a:pt x="285" y="199"/>
                      </a:cubicBezTo>
                      <a:cubicBezTo>
                        <a:pt x="285" y="197"/>
                        <a:pt x="285" y="197"/>
                        <a:pt x="285" y="197"/>
                      </a:cubicBezTo>
                      <a:cubicBezTo>
                        <a:pt x="284" y="196"/>
                        <a:pt x="284" y="196"/>
                        <a:pt x="284" y="196"/>
                      </a:cubicBezTo>
                      <a:cubicBezTo>
                        <a:pt x="285" y="192"/>
                        <a:pt x="285" y="192"/>
                        <a:pt x="285" y="192"/>
                      </a:cubicBezTo>
                      <a:cubicBezTo>
                        <a:pt x="286" y="191"/>
                        <a:pt x="286" y="191"/>
                        <a:pt x="286" y="191"/>
                      </a:cubicBezTo>
                      <a:cubicBezTo>
                        <a:pt x="284" y="189"/>
                        <a:pt x="284" y="189"/>
                        <a:pt x="284" y="189"/>
                      </a:cubicBezTo>
                      <a:cubicBezTo>
                        <a:pt x="285" y="186"/>
                        <a:pt x="285" y="186"/>
                        <a:pt x="285" y="186"/>
                      </a:cubicBezTo>
                      <a:cubicBezTo>
                        <a:pt x="284" y="181"/>
                        <a:pt x="284" y="181"/>
                        <a:pt x="284" y="181"/>
                      </a:cubicBezTo>
                      <a:cubicBezTo>
                        <a:pt x="286" y="181"/>
                        <a:pt x="286" y="181"/>
                        <a:pt x="286" y="181"/>
                      </a:cubicBezTo>
                      <a:cubicBezTo>
                        <a:pt x="287" y="182"/>
                        <a:pt x="287" y="182"/>
                        <a:pt x="287" y="182"/>
                      </a:cubicBezTo>
                      <a:cubicBezTo>
                        <a:pt x="287" y="183"/>
                        <a:pt x="287" y="183"/>
                        <a:pt x="287" y="183"/>
                      </a:cubicBezTo>
                      <a:cubicBezTo>
                        <a:pt x="287" y="184"/>
                        <a:pt x="287" y="184"/>
                        <a:pt x="287" y="184"/>
                      </a:cubicBezTo>
                      <a:cubicBezTo>
                        <a:pt x="290" y="183"/>
                        <a:pt x="290" y="183"/>
                        <a:pt x="290" y="183"/>
                      </a:cubicBezTo>
                      <a:cubicBezTo>
                        <a:pt x="292" y="182"/>
                        <a:pt x="292" y="182"/>
                        <a:pt x="292" y="182"/>
                      </a:cubicBezTo>
                      <a:cubicBezTo>
                        <a:pt x="295" y="181"/>
                        <a:pt x="295" y="181"/>
                        <a:pt x="295" y="181"/>
                      </a:cubicBezTo>
                      <a:cubicBezTo>
                        <a:pt x="296" y="181"/>
                        <a:pt x="296" y="181"/>
                        <a:pt x="296" y="181"/>
                      </a:cubicBezTo>
                      <a:cubicBezTo>
                        <a:pt x="298" y="182"/>
                        <a:pt x="298" y="182"/>
                        <a:pt x="298" y="182"/>
                      </a:cubicBezTo>
                      <a:cubicBezTo>
                        <a:pt x="299" y="181"/>
                        <a:pt x="299" y="181"/>
                        <a:pt x="299" y="181"/>
                      </a:cubicBezTo>
                      <a:cubicBezTo>
                        <a:pt x="302" y="181"/>
                        <a:pt x="302" y="181"/>
                        <a:pt x="302" y="181"/>
                      </a:cubicBezTo>
                      <a:cubicBezTo>
                        <a:pt x="307" y="184"/>
                        <a:pt x="307" y="184"/>
                        <a:pt x="307" y="184"/>
                      </a:cubicBezTo>
                      <a:cubicBezTo>
                        <a:pt x="310" y="184"/>
                        <a:pt x="310" y="184"/>
                        <a:pt x="310" y="184"/>
                      </a:cubicBezTo>
                      <a:cubicBezTo>
                        <a:pt x="312" y="184"/>
                        <a:pt x="312" y="184"/>
                        <a:pt x="312" y="184"/>
                      </a:cubicBezTo>
                      <a:cubicBezTo>
                        <a:pt x="313" y="186"/>
                        <a:pt x="313" y="186"/>
                        <a:pt x="313" y="186"/>
                      </a:cubicBezTo>
                      <a:cubicBezTo>
                        <a:pt x="311" y="187"/>
                        <a:pt x="311" y="187"/>
                        <a:pt x="311" y="187"/>
                      </a:cubicBezTo>
                      <a:cubicBezTo>
                        <a:pt x="312" y="189"/>
                        <a:pt x="312" y="189"/>
                        <a:pt x="312" y="189"/>
                      </a:cubicBezTo>
                      <a:cubicBezTo>
                        <a:pt x="312" y="191"/>
                        <a:pt x="312" y="191"/>
                        <a:pt x="312" y="191"/>
                      </a:cubicBezTo>
                      <a:cubicBezTo>
                        <a:pt x="313" y="192"/>
                        <a:pt x="313" y="192"/>
                        <a:pt x="313" y="192"/>
                      </a:cubicBezTo>
                      <a:cubicBezTo>
                        <a:pt x="314" y="196"/>
                        <a:pt x="314" y="196"/>
                        <a:pt x="314" y="196"/>
                      </a:cubicBezTo>
                      <a:cubicBezTo>
                        <a:pt x="315" y="199"/>
                        <a:pt x="315" y="199"/>
                        <a:pt x="315" y="199"/>
                      </a:cubicBezTo>
                      <a:cubicBezTo>
                        <a:pt x="314" y="204"/>
                        <a:pt x="314" y="204"/>
                        <a:pt x="314" y="204"/>
                      </a:cubicBezTo>
                      <a:cubicBezTo>
                        <a:pt x="315" y="206"/>
                        <a:pt x="315" y="206"/>
                        <a:pt x="315" y="206"/>
                      </a:cubicBezTo>
                      <a:cubicBezTo>
                        <a:pt x="314" y="207"/>
                        <a:pt x="314" y="207"/>
                        <a:pt x="314" y="207"/>
                      </a:cubicBezTo>
                      <a:cubicBezTo>
                        <a:pt x="315" y="209"/>
                        <a:pt x="315" y="209"/>
                        <a:pt x="315" y="209"/>
                      </a:cubicBezTo>
                      <a:cubicBezTo>
                        <a:pt x="315" y="211"/>
                        <a:pt x="315" y="211"/>
                        <a:pt x="315" y="211"/>
                      </a:cubicBezTo>
                      <a:cubicBezTo>
                        <a:pt x="314" y="211"/>
                        <a:pt x="314" y="211"/>
                        <a:pt x="314" y="211"/>
                      </a:cubicBezTo>
                      <a:cubicBezTo>
                        <a:pt x="314" y="214"/>
                        <a:pt x="314" y="214"/>
                        <a:pt x="314" y="214"/>
                      </a:cubicBezTo>
                      <a:cubicBezTo>
                        <a:pt x="316" y="216"/>
                        <a:pt x="316" y="216"/>
                        <a:pt x="316" y="216"/>
                      </a:cubicBezTo>
                      <a:cubicBezTo>
                        <a:pt x="318" y="218"/>
                        <a:pt x="318" y="218"/>
                        <a:pt x="318" y="218"/>
                      </a:cubicBezTo>
                      <a:cubicBezTo>
                        <a:pt x="320" y="219"/>
                        <a:pt x="320" y="219"/>
                        <a:pt x="320" y="219"/>
                      </a:cubicBezTo>
                      <a:cubicBezTo>
                        <a:pt x="320" y="219"/>
                        <a:pt x="320" y="219"/>
                        <a:pt x="320" y="219"/>
                      </a:cubicBezTo>
                      <a:cubicBezTo>
                        <a:pt x="322" y="219"/>
                        <a:pt x="322" y="219"/>
                        <a:pt x="322" y="219"/>
                      </a:cubicBezTo>
                      <a:cubicBezTo>
                        <a:pt x="323" y="220"/>
                        <a:pt x="323" y="220"/>
                        <a:pt x="323" y="220"/>
                      </a:cubicBezTo>
                      <a:cubicBezTo>
                        <a:pt x="323" y="223"/>
                        <a:pt x="323" y="223"/>
                        <a:pt x="323" y="223"/>
                      </a:cubicBezTo>
                      <a:cubicBezTo>
                        <a:pt x="326" y="225"/>
                        <a:pt x="326" y="225"/>
                        <a:pt x="326" y="225"/>
                      </a:cubicBezTo>
                      <a:cubicBezTo>
                        <a:pt x="327" y="227"/>
                        <a:pt x="327" y="227"/>
                        <a:pt x="327" y="227"/>
                      </a:cubicBezTo>
                      <a:cubicBezTo>
                        <a:pt x="328" y="233"/>
                        <a:pt x="328" y="233"/>
                        <a:pt x="328" y="233"/>
                      </a:cubicBezTo>
                      <a:cubicBezTo>
                        <a:pt x="329" y="235"/>
                        <a:pt x="329" y="235"/>
                        <a:pt x="329" y="235"/>
                      </a:cubicBezTo>
                      <a:cubicBezTo>
                        <a:pt x="329" y="236"/>
                        <a:pt x="329" y="236"/>
                        <a:pt x="329" y="236"/>
                      </a:cubicBezTo>
                      <a:cubicBezTo>
                        <a:pt x="329" y="238"/>
                        <a:pt x="329" y="238"/>
                        <a:pt x="329" y="238"/>
                      </a:cubicBezTo>
                      <a:cubicBezTo>
                        <a:pt x="331" y="240"/>
                        <a:pt x="331" y="240"/>
                        <a:pt x="331" y="240"/>
                      </a:cubicBezTo>
                      <a:cubicBezTo>
                        <a:pt x="331" y="243"/>
                        <a:pt x="331" y="243"/>
                        <a:pt x="331" y="243"/>
                      </a:cubicBezTo>
                      <a:cubicBezTo>
                        <a:pt x="334" y="247"/>
                        <a:pt x="334" y="247"/>
                        <a:pt x="334" y="247"/>
                      </a:cubicBezTo>
                      <a:cubicBezTo>
                        <a:pt x="333" y="250"/>
                        <a:pt x="333" y="250"/>
                        <a:pt x="333" y="250"/>
                      </a:cubicBezTo>
                      <a:cubicBezTo>
                        <a:pt x="334" y="252"/>
                        <a:pt x="334" y="252"/>
                        <a:pt x="334" y="252"/>
                      </a:cubicBezTo>
                      <a:cubicBezTo>
                        <a:pt x="336" y="254"/>
                        <a:pt x="336" y="254"/>
                        <a:pt x="336" y="254"/>
                      </a:cubicBezTo>
                      <a:cubicBezTo>
                        <a:pt x="335" y="255"/>
                        <a:pt x="335" y="255"/>
                        <a:pt x="335" y="255"/>
                      </a:cubicBezTo>
                      <a:cubicBezTo>
                        <a:pt x="336" y="256"/>
                        <a:pt x="336" y="256"/>
                        <a:pt x="336" y="256"/>
                      </a:cubicBezTo>
                      <a:cubicBezTo>
                        <a:pt x="337" y="261"/>
                        <a:pt x="337" y="261"/>
                        <a:pt x="337" y="261"/>
                      </a:cubicBezTo>
                      <a:cubicBezTo>
                        <a:pt x="341" y="266"/>
                        <a:pt x="341" y="266"/>
                        <a:pt x="341" y="266"/>
                      </a:cubicBezTo>
                      <a:cubicBezTo>
                        <a:pt x="344" y="267"/>
                        <a:pt x="344" y="267"/>
                        <a:pt x="344" y="267"/>
                      </a:cubicBezTo>
                      <a:cubicBezTo>
                        <a:pt x="345" y="268"/>
                        <a:pt x="345" y="268"/>
                        <a:pt x="345" y="268"/>
                      </a:cubicBezTo>
                      <a:cubicBezTo>
                        <a:pt x="347" y="269"/>
                        <a:pt x="347" y="269"/>
                        <a:pt x="347" y="269"/>
                      </a:cubicBezTo>
                      <a:cubicBezTo>
                        <a:pt x="350" y="272"/>
                        <a:pt x="350" y="272"/>
                        <a:pt x="350" y="272"/>
                      </a:cubicBezTo>
                      <a:cubicBezTo>
                        <a:pt x="350" y="273"/>
                        <a:pt x="350" y="273"/>
                        <a:pt x="350" y="273"/>
                      </a:cubicBezTo>
                      <a:cubicBezTo>
                        <a:pt x="349" y="273"/>
                        <a:pt x="349" y="273"/>
                        <a:pt x="349" y="273"/>
                      </a:cubicBezTo>
                      <a:cubicBezTo>
                        <a:pt x="349" y="275"/>
                        <a:pt x="349" y="275"/>
                        <a:pt x="349" y="275"/>
                      </a:cubicBezTo>
                      <a:cubicBezTo>
                        <a:pt x="348" y="278"/>
                        <a:pt x="348" y="278"/>
                        <a:pt x="348" y="278"/>
                      </a:cubicBezTo>
                      <a:cubicBezTo>
                        <a:pt x="349" y="281"/>
                        <a:pt x="349" y="281"/>
                        <a:pt x="349" y="281"/>
                      </a:cubicBezTo>
                      <a:cubicBezTo>
                        <a:pt x="352" y="284"/>
                        <a:pt x="352" y="284"/>
                        <a:pt x="352" y="284"/>
                      </a:cubicBezTo>
                      <a:cubicBezTo>
                        <a:pt x="352" y="287"/>
                        <a:pt x="352" y="287"/>
                        <a:pt x="352" y="287"/>
                      </a:cubicBezTo>
                      <a:cubicBezTo>
                        <a:pt x="350" y="288"/>
                        <a:pt x="350" y="288"/>
                        <a:pt x="350" y="288"/>
                      </a:cubicBezTo>
                      <a:cubicBezTo>
                        <a:pt x="350" y="289"/>
                        <a:pt x="350" y="289"/>
                        <a:pt x="350" y="289"/>
                      </a:cubicBezTo>
                      <a:cubicBezTo>
                        <a:pt x="349" y="291"/>
                        <a:pt x="349" y="291"/>
                        <a:pt x="349" y="291"/>
                      </a:cubicBezTo>
                      <a:cubicBezTo>
                        <a:pt x="350" y="292"/>
                        <a:pt x="350" y="292"/>
                        <a:pt x="350" y="292"/>
                      </a:cubicBezTo>
                      <a:cubicBezTo>
                        <a:pt x="350" y="296"/>
                        <a:pt x="350" y="296"/>
                        <a:pt x="350" y="296"/>
                      </a:cubicBezTo>
                      <a:cubicBezTo>
                        <a:pt x="348" y="297"/>
                        <a:pt x="348" y="297"/>
                        <a:pt x="348" y="297"/>
                      </a:cubicBezTo>
                      <a:cubicBezTo>
                        <a:pt x="348" y="298"/>
                        <a:pt x="348" y="298"/>
                        <a:pt x="348" y="298"/>
                      </a:cubicBezTo>
                      <a:cubicBezTo>
                        <a:pt x="349" y="298"/>
                        <a:pt x="349" y="298"/>
                        <a:pt x="349" y="298"/>
                      </a:cubicBezTo>
                      <a:cubicBezTo>
                        <a:pt x="350" y="299"/>
                        <a:pt x="350" y="299"/>
                        <a:pt x="350" y="299"/>
                      </a:cubicBezTo>
                      <a:cubicBezTo>
                        <a:pt x="347" y="300"/>
                        <a:pt x="347" y="300"/>
                        <a:pt x="347" y="300"/>
                      </a:cubicBezTo>
                      <a:cubicBezTo>
                        <a:pt x="347" y="304"/>
                        <a:pt x="347" y="304"/>
                        <a:pt x="347" y="304"/>
                      </a:cubicBezTo>
                      <a:cubicBezTo>
                        <a:pt x="346" y="306"/>
                        <a:pt x="346" y="306"/>
                        <a:pt x="346" y="306"/>
                      </a:cubicBezTo>
                      <a:cubicBezTo>
                        <a:pt x="344" y="304"/>
                        <a:pt x="344" y="304"/>
                        <a:pt x="344" y="304"/>
                      </a:cubicBezTo>
                      <a:cubicBezTo>
                        <a:pt x="344" y="306"/>
                        <a:pt x="344" y="306"/>
                        <a:pt x="344" y="306"/>
                      </a:cubicBezTo>
                      <a:cubicBezTo>
                        <a:pt x="346" y="308"/>
                        <a:pt x="346" y="308"/>
                        <a:pt x="346" y="308"/>
                      </a:cubicBezTo>
                      <a:cubicBezTo>
                        <a:pt x="346" y="310"/>
                        <a:pt x="346" y="310"/>
                        <a:pt x="346" y="310"/>
                      </a:cubicBezTo>
                      <a:cubicBezTo>
                        <a:pt x="344" y="311"/>
                        <a:pt x="344" y="311"/>
                        <a:pt x="344" y="311"/>
                      </a:cubicBezTo>
                      <a:cubicBezTo>
                        <a:pt x="343" y="312"/>
                        <a:pt x="343" y="312"/>
                        <a:pt x="343" y="312"/>
                      </a:cubicBezTo>
                      <a:cubicBezTo>
                        <a:pt x="339" y="313"/>
                        <a:pt x="339" y="313"/>
                        <a:pt x="339" y="313"/>
                      </a:cubicBezTo>
                      <a:cubicBezTo>
                        <a:pt x="337" y="311"/>
                        <a:pt x="337" y="311"/>
                        <a:pt x="337" y="311"/>
                      </a:cubicBezTo>
                      <a:cubicBezTo>
                        <a:pt x="340" y="309"/>
                        <a:pt x="340" y="309"/>
                        <a:pt x="340" y="309"/>
                      </a:cubicBezTo>
                      <a:cubicBezTo>
                        <a:pt x="340" y="308"/>
                        <a:pt x="340" y="308"/>
                        <a:pt x="340" y="308"/>
                      </a:cubicBezTo>
                      <a:cubicBezTo>
                        <a:pt x="338" y="308"/>
                        <a:pt x="338" y="308"/>
                        <a:pt x="338" y="308"/>
                      </a:cubicBezTo>
                      <a:cubicBezTo>
                        <a:pt x="338" y="309"/>
                        <a:pt x="338" y="309"/>
                        <a:pt x="338" y="309"/>
                      </a:cubicBezTo>
                      <a:cubicBezTo>
                        <a:pt x="336" y="309"/>
                        <a:pt x="336" y="309"/>
                        <a:pt x="336" y="309"/>
                      </a:cubicBezTo>
                      <a:cubicBezTo>
                        <a:pt x="332" y="307"/>
                        <a:pt x="332" y="307"/>
                        <a:pt x="332" y="307"/>
                      </a:cubicBezTo>
                      <a:cubicBezTo>
                        <a:pt x="331" y="308"/>
                        <a:pt x="331" y="308"/>
                        <a:pt x="331" y="308"/>
                      </a:cubicBezTo>
                      <a:cubicBezTo>
                        <a:pt x="325" y="309"/>
                        <a:pt x="325" y="309"/>
                        <a:pt x="325" y="309"/>
                      </a:cubicBezTo>
                      <a:cubicBezTo>
                        <a:pt x="323" y="309"/>
                        <a:pt x="323" y="309"/>
                        <a:pt x="323" y="309"/>
                      </a:cubicBezTo>
                      <a:cubicBezTo>
                        <a:pt x="321" y="312"/>
                        <a:pt x="321" y="312"/>
                        <a:pt x="321" y="312"/>
                      </a:cubicBezTo>
                      <a:cubicBezTo>
                        <a:pt x="323" y="312"/>
                        <a:pt x="323" y="312"/>
                        <a:pt x="323" y="312"/>
                      </a:cubicBezTo>
                      <a:cubicBezTo>
                        <a:pt x="323" y="313"/>
                        <a:pt x="323" y="313"/>
                        <a:pt x="323" y="313"/>
                      </a:cubicBezTo>
                      <a:cubicBezTo>
                        <a:pt x="324" y="311"/>
                        <a:pt x="324" y="311"/>
                        <a:pt x="324" y="311"/>
                      </a:cubicBezTo>
                      <a:cubicBezTo>
                        <a:pt x="327" y="310"/>
                        <a:pt x="327" y="310"/>
                        <a:pt x="327" y="310"/>
                      </a:cubicBezTo>
                      <a:cubicBezTo>
                        <a:pt x="328" y="312"/>
                        <a:pt x="328" y="312"/>
                        <a:pt x="328" y="312"/>
                      </a:cubicBezTo>
                      <a:cubicBezTo>
                        <a:pt x="331" y="315"/>
                        <a:pt x="331" y="315"/>
                        <a:pt x="331" y="315"/>
                      </a:cubicBezTo>
                      <a:cubicBezTo>
                        <a:pt x="338" y="316"/>
                        <a:pt x="338" y="316"/>
                        <a:pt x="338" y="316"/>
                      </a:cubicBezTo>
                      <a:cubicBezTo>
                        <a:pt x="341" y="317"/>
                        <a:pt x="341" y="317"/>
                        <a:pt x="341" y="317"/>
                      </a:cubicBezTo>
                      <a:cubicBezTo>
                        <a:pt x="345" y="316"/>
                        <a:pt x="345" y="316"/>
                        <a:pt x="345" y="316"/>
                      </a:cubicBezTo>
                      <a:cubicBezTo>
                        <a:pt x="348" y="316"/>
                        <a:pt x="348" y="316"/>
                        <a:pt x="348" y="316"/>
                      </a:cubicBezTo>
                      <a:cubicBezTo>
                        <a:pt x="349" y="317"/>
                        <a:pt x="349" y="317"/>
                        <a:pt x="349" y="317"/>
                      </a:cubicBezTo>
                      <a:cubicBezTo>
                        <a:pt x="352" y="318"/>
                        <a:pt x="352" y="318"/>
                        <a:pt x="352" y="318"/>
                      </a:cubicBezTo>
                      <a:cubicBezTo>
                        <a:pt x="355" y="316"/>
                        <a:pt x="355" y="316"/>
                        <a:pt x="355" y="316"/>
                      </a:cubicBezTo>
                      <a:cubicBezTo>
                        <a:pt x="355" y="314"/>
                        <a:pt x="355" y="314"/>
                        <a:pt x="355" y="314"/>
                      </a:cubicBezTo>
                      <a:cubicBezTo>
                        <a:pt x="354" y="313"/>
                        <a:pt x="354" y="313"/>
                        <a:pt x="354" y="313"/>
                      </a:cubicBezTo>
                      <a:cubicBezTo>
                        <a:pt x="354" y="310"/>
                        <a:pt x="354" y="310"/>
                        <a:pt x="354" y="310"/>
                      </a:cubicBezTo>
                      <a:cubicBezTo>
                        <a:pt x="355" y="309"/>
                        <a:pt x="355" y="309"/>
                        <a:pt x="355" y="309"/>
                      </a:cubicBezTo>
                      <a:cubicBezTo>
                        <a:pt x="357" y="308"/>
                        <a:pt x="357" y="308"/>
                        <a:pt x="357" y="308"/>
                      </a:cubicBezTo>
                      <a:cubicBezTo>
                        <a:pt x="357" y="306"/>
                        <a:pt x="357" y="306"/>
                        <a:pt x="357" y="306"/>
                      </a:cubicBezTo>
                      <a:cubicBezTo>
                        <a:pt x="360" y="304"/>
                        <a:pt x="360" y="304"/>
                        <a:pt x="360" y="304"/>
                      </a:cubicBezTo>
                      <a:cubicBezTo>
                        <a:pt x="360" y="302"/>
                        <a:pt x="360" y="302"/>
                        <a:pt x="360" y="302"/>
                      </a:cubicBezTo>
                      <a:cubicBezTo>
                        <a:pt x="362" y="297"/>
                        <a:pt x="362" y="297"/>
                        <a:pt x="362" y="297"/>
                      </a:cubicBezTo>
                      <a:cubicBezTo>
                        <a:pt x="360" y="294"/>
                        <a:pt x="360" y="294"/>
                        <a:pt x="360" y="294"/>
                      </a:cubicBezTo>
                      <a:cubicBezTo>
                        <a:pt x="361" y="291"/>
                        <a:pt x="361" y="291"/>
                        <a:pt x="361" y="291"/>
                      </a:cubicBezTo>
                      <a:cubicBezTo>
                        <a:pt x="364" y="286"/>
                        <a:pt x="364" y="286"/>
                        <a:pt x="364" y="286"/>
                      </a:cubicBezTo>
                      <a:cubicBezTo>
                        <a:pt x="364" y="284"/>
                        <a:pt x="364" y="284"/>
                        <a:pt x="364" y="284"/>
                      </a:cubicBezTo>
                      <a:cubicBezTo>
                        <a:pt x="361" y="276"/>
                        <a:pt x="361" y="276"/>
                        <a:pt x="361" y="276"/>
                      </a:cubicBezTo>
                      <a:cubicBezTo>
                        <a:pt x="357" y="274"/>
                        <a:pt x="357" y="274"/>
                        <a:pt x="357" y="274"/>
                      </a:cubicBezTo>
                      <a:cubicBezTo>
                        <a:pt x="356" y="272"/>
                        <a:pt x="356" y="272"/>
                        <a:pt x="356" y="272"/>
                      </a:cubicBezTo>
                      <a:cubicBezTo>
                        <a:pt x="356" y="267"/>
                        <a:pt x="356" y="267"/>
                        <a:pt x="356" y="267"/>
                      </a:cubicBezTo>
                      <a:cubicBezTo>
                        <a:pt x="359" y="264"/>
                        <a:pt x="359" y="264"/>
                        <a:pt x="359" y="264"/>
                      </a:cubicBezTo>
                      <a:cubicBezTo>
                        <a:pt x="360" y="262"/>
                        <a:pt x="360" y="262"/>
                        <a:pt x="360" y="262"/>
                      </a:cubicBezTo>
                      <a:cubicBezTo>
                        <a:pt x="363" y="262"/>
                        <a:pt x="363" y="262"/>
                        <a:pt x="363" y="262"/>
                      </a:cubicBezTo>
                      <a:cubicBezTo>
                        <a:pt x="367" y="258"/>
                        <a:pt x="367" y="258"/>
                        <a:pt x="367" y="258"/>
                      </a:cubicBezTo>
                      <a:cubicBezTo>
                        <a:pt x="369" y="258"/>
                        <a:pt x="369" y="258"/>
                        <a:pt x="369" y="258"/>
                      </a:cubicBezTo>
                      <a:cubicBezTo>
                        <a:pt x="372" y="261"/>
                        <a:pt x="372" y="261"/>
                        <a:pt x="372" y="261"/>
                      </a:cubicBezTo>
                      <a:cubicBezTo>
                        <a:pt x="372" y="263"/>
                        <a:pt x="372" y="263"/>
                        <a:pt x="372" y="263"/>
                      </a:cubicBezTo>
                      <a:cubicBezTo>
                        <a:pt x="375" y="265"/>
                        <a:pt x="375" y="265"/>
                        <a:pt x="375" y="265"/>
                      </a:cubicBezTo>
                      <a:cubicBezTo>
                        <a:pt x="376" y="266"/>
                        <a:pt x="376" y="266"/>
                        <a:pt x="376" y="266"/>
                      </a:cubicBezTo>
                      <a:cubicBezTo>
                        <a:pt x="377" y="266"/>
                        <a:pt x="377" y="266"/>
                        <a:pt x="377" y="266"/>
                      </a:cubicBezTo>
                      <a:cubicBezTo>
                        <a:pt x="380" y="269"/>
                        <a:pt x="380" y="269"/>
                        <a:pt x="380" y="269"/>
                      </a:cubicBezTo>
                      <a:cubicBezTo>
                        <a:pt x="379" y="272"/>
                        <a:pt x="379" y="272"/>
                        <a:pt x="379" y="272"/>
                      </a:cubicBezTo>
                      <a:cubicBezTo>
                        <a:pt x="381" y="273"/>
                        <a:pt x="381" y="273"/>
                        <a:pt x="381" y="273"/>
                      </a:cubicBezTo>
                      <a:cubicBezTo>
                        <a:pt x="381" y="275"/>
                        <a:pt x="381" y="275"/>
                        <a:pt x="381" y="275"/>
                      </a:cubicBezTo>
                      <a:cubicBezTo>
                        <a:pt x="383" y="278"/>
                        <a:pt x="383" y="278"/>
                        <a:pt x="383" y="278"/>
                      </a:cubicBezTo>
                      <a:cubicBezTo>
                        <a:pt x="384" y="280"/>
                        <a:pt x="384" y="280"/>
                        <a:pt x="384" y="280"/>
                      </a:cubicBezTo>
                      <a:cubicBezTo>
                        <a:pt x="383" y="281"/>
                        <a:pt x="383" y="281"/>
                        <a:pt x="383" y="281"/>
                      </a:cubicBezTo>
                      <a:cubicBezTo>
                        <a:pt x="384" y="283"/>
                        <a:pt x="384" y="283"/>
                        <a:pt x="384" y="283"/>
                      </a:cubicBezTo>
                      <a:cubicBezTo>
                        <a:pt x="386" y="283"/>
                        <a:pt x="386" y="283"/>
                        <a:pt x="386" y="283"/>
                      </a:cubicBezTo>
                      <a:cubicBezTo>
                        <a:pt x="389" y="285"/>
                        <a:pt x="389" y="285"/>
                        <a:pt x="389" y="285"/>
                      </a:cubicBezTo>
                      <a:cubicBezTo>
                        <a:pt x="392" y="285"/>
                        <a:pt x="392" y="285"/>
                        <a:pt x="392" y="285"/>
                      </a:cubicBezTo>
                      <a:cubicBezTo>
                        <a:pt x="393" y="284"/>
                        <a:pt x="393" y="284"/>
                        <a:pt x="393" y="284"/>
                      </a:cubicBezTo>
                      <a:cubicBezTo>
                        <a:pt x="396" y="284"/>
                        <a:pt x="396" y="284"/>
                        <a:pt x="396" y="284"/>
                      </a:cubicBezTo>
                      <a:cubicBezTo>
                        <a:pt x="397" y="283"/>
                        <a:pt x="397" y="283"/>
                        <a:pt x="397" y="283"/>
                      </a:cubicBezTo>
                      <a:cubicBezTo>
                        <a:pt x="398" y="282"/>
                        <a:pt x="398" y="282"/>
                        <a:pt x="398" y="282"/>
                      </a:cubicBezTo>
                      <a:cubicBezTo>
                        <a:pt x="397" y="281"/>
                        <a:pt x="397" y="281"/>
                        <a:pt x="397" y="281"/>
                      </a:cubicBezTo>
                      <a:cubicBezTo>
                        <a:pt x="395" y="282"/>
                        <a:pt x="395" y="282"/>
                        <a:pt x="395" y="282"/>
                      </a:cubicBezTo>
                      <a:cubicBezTo>
                        <a:pt x="394" y="280"/>
                        <a:pt x="394" y="280"/>
                        <a:pt x="394" y="280"/>
                      </a:cubicBezTo>
                      <a:cubicBezTo>
                        <a:pt x="393" y="283"/>
                        <a:pt x="393" y="283"/>
                        <a:pt x="393" y="283"/>
                      </a:cubicBezTo>
                      <a:cubicBezTo>
                        <a:pt x="390" y="283"/>
                        <a:pt x="390" y="283"/>
                        <a:pt x="390" y="283"/>
                      </a:cubicBezTo>
                      <a:cubicBezTo>
                        <a:pt x="389" y="281"/>
                        <a:pt x="389" y="281"/>
                        <a:pt x="389" y="281"/>
                      </a:cubicBezTo>
                      <a:cubicBezTo>
                        <a:pt x="386" y="281"/>
                        <a:pt x="386" y="281"/>
                        <a:pt x="386" y="281"/>
                      </a:cubicBezTo>
                      <a:cubicBezTo>
                        <a:pt x="385" y="279"/>
                        <a:pt x="385" y="279"/>
                        <a:pt x="385" y="279"/>
                      </a:cubicBezTo>
                      <a:cubicBezTo>
                        <a:pt x="386" y="278"/>
                        <a:pt x="386" y="278"/>
                        <a:pt x="386" y="278"/>
                      </a:cubicBezTo>
                      <a:cubicBezTo>
                        <a:pt x="385" y="277"/>
                        <a:pt x="385" y="277"/>
                        <a:pt x="385" y="277"/>
                      </a:cubicBezTo>
                      <a:cubicBezTo>
                        <a:pt x="383" y="274"/>
                        <a:pt x="383" y="274"/>
                        <a:pt x="383" y="274"/>
                      </a:cubicBezTo>
                      <a:cubicBezTo>
                        <a:pt x="384" y="271"/>
                        <a:pt x="384" y="271"/>
                        <a:pt x="384" y="271"/>
                      </a:cubicBezTo>
                      <a:cubicBezTo>
                        <a:pt x="385" y="270"/>
                        <a:pt x="385" y="270"/>
                        <a:pt x="385" y="270"/>
                      </a:cubicBezTo>
                      <a:cubicBezTo>
                        <a:pt x="387" y="269"/>
                        <a:pt x="387" y="269"/>
                        <a:pt x="387" y="269"/>
                      </a:cubicBezTo>
                      <a:cubicBezTo>
                        <a:pt x="386" y="268"/>
                        <a:pt x="386" y="268"/>
                        <a:pt x="386" y="268"/>
                      </a:cubicBezTo>
                      <a:cubicBezTo>
                        <a:pt x="385" y="266"/>
                        <a:pt x="385" y="266"/>
                        <a:pt x="385" y="266"/>
                      </a:cubicBezTo>
                      <a:cubicBezTo>
                        <a:pt x="385" y="266"/>
                        <a:pt x="385" y="266"/>
                        <a:pt x="385" y="266"/>
                      </a:cubicBezTo>
                      <a:cubicBezTo>
                        <a:pt x="384" y="264"/>
                        <a:pt x="384" y="264"/>
                        <a:pt x="384" y="264"/>
                      </a:cubicBezTo>
                      <a:cubicBezTo>
                        <a:pt x="381" y="263"/>
                        <a:pt x="381" y="263"/>
                        <a:pt x="381" y="263"/>
                      </a:cubicBezTo>
                      <a:cubicBezTo>
                        <a:pt x="381" y="261"/>
                        <a:pt x="381" y="261"/>
                        <a:pt x="381" y="261"/>
                      </a:cubicBezTo>
                      <a:cubicBezTo>
                        <a:pt x="379" y="258"/>
                        <a:pt x="379" y="258"/>
                        <a:pt x="379" y="258"/>
                      </a:cubicBezTo>
                      <a:cubicBezTo>
                        <a:pt x="375" y="258"/>
                        <a:pt x="375" y="258"/>
                        <a:pt x="375" y="258"/>
                      </a:cubicBezTo>
                      <a:cubicBezTo>
                        <a:pt x="371" y="256"/>
                        <a:pt x="371" y="256"/>
                        <a:pt x="371" y="256"/>
                      </a:cubicBezTo>
                      <a:cubicBezTo>
                        <a:pt x="370" y="254"/>
                        <a:pt x="370" y="254"/>
                        <a:pt x="370" y="254"/>
                      </a:cubicBezTo>
                      <a:cubicBezTo>
                        <a:pt x="368" y="255"/>
                        <a:pt x="368" y="255"/>
                        <a:pt x="368" y="255"/>
                      </a:cubicBezTo>
                      <a:cubicBezTo>
                        <a:pt x="364" y="253"/>
                        <a:pt x="364" y="253"/>
                        <a:pt x="364" y="253"/>
                      </a:cubicBezTo>
                      <a:cubicBezTo>
                        <a:pt x="362" y="253"/>
                        <a:pt x="362" y="253"/>
                        <a:pt x="362" y="253"/>
                      </a:cubicBezTo>
                      <a:cubicBezTo>
                        <a:pt x="360" y="252"/>
                        <a:pt x="360" y="252"/>
                        <a:pt x="360" y="252"/>
                      </a:cubicBezTo>
                      <a:cubicBezTo>
                        <a:pt x="358" y="255"/>
                        <a:pt x="358" y="255"/>
                        <a:pt x="358" y="255"/>
                      </a:cubicBezTo>
                      <a:cubicBezTo>
                        <a:pt x="357" y="258"/>
                        <a:pt x="357" y="258"/>
                        <a:pt x="357" y="258"/>
                      </a:cubicBezTo>
                      <a:cubicBezTo>
                        <a:pt x="356" y="259"/>
                        <a:pt x="356" y="259"/>
                        <a:pt x="356" y="259"/>
                      </a:cubicBezTo>
                      <a:cubicBezTo>
                        <a:pt x="352" y="258"/>
                        <a:pt x="352" y="258"/>
                        <a:pt x="352" y="258"/>
                      </a:cubicBezTo>
                      <a:cubicBezTo>
                        <a:pt x="349" y="259"/>
                        <a:pt x="349" y="259"/>
                        <a:pt x="349" y="259"/>
                      </a:cubicBezTo>
                      <a:cubicBezTo>
                        <a:pt x="347" y="259"/>
                        <a:pt x="347" y="259"/>
                        <a:pt x="347" y="259"/>
                      </a:cubicBezTo>
                      <a:cubicBezTo>
                        <a:pt x="346" y="257"/>
                        <a:pt x="346" y="257"/>
                        <a:pt x="346" y="257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6" y="253"/>
                        <a:pt x="346" y="253"/>
                        <a:pt x="346" y="253"/>
                      </a:cubicBezTo>
                      <a:cubicBezTo>
                        <a:pt x="342" y="249"/>
                        <a:pt x="342" y="249"/>
                        <a:pt x="342" y="249"/>
                      </a:cubicBezTo>
                      <a:cubicBezTo>
                        <a:pt x="341" y="246"/>
                        <a:pt x="341" y="246"/>
                        <a:pt x="341" y="246"/>
                      </a:cubicBezTo>
                      <a:cubicBezTo>
                        <a:pt x="341" y="242"/>
                        <a:pt x="341" y="242"/>
                        <a:pt x="341" y="242"/>
                      </a:cubicBezTo>
                      <a:cubicBezTo>
                        <a:pt x="339" y="238"/>
                        <a:pt x="339" y="238"/>
                        <a:pt x="339" y="238"/>
                      </a:cubicBezTo>
                      <a:cubicBezTo>
                        <a:pt x="339" y="236"/>
                        <a:pt x="339" y="236"/>
                        <a:pt x="339" y="236"/>
                      </a:cubicBezTo>
                      <a:cubicBezTo>
                        <a:pt x="340" y="230"/>
                        <a:pt x="340" y="230"/>
                        <a:pt x="340" y="230"/>
                      </a:cubicBezTo>
                      <a:cubicBezTo>
                        <a:pt x="338" y="226"/>
                        <a:pt x="338" y="226"/>
                        <a:pt x="338" y="226"/>
                      </a:cubicBezTo>
                      <a:cubicBezTo>
                        <a:pt x="336" y="223"/>
                        <a:pt x="336" y="223"/>
                        <a:pt x="336" y="223"/>
                      </a:cubicBezTo>
                      <a:cubicBezTo>
                        <a:pt x="334" y="223"/>
                        <a:pt x="334" y="223"/>
                        <a:pt x="334" y="223"/>
                      </a:cubicBezTo>
                      <a:cubicBezTo>
                        <a:pt x="333" y="220"/>
                        <a:pt x="333" y="220"/>
                        <a:pt x="333" y="220"/>
                      </a:cubicBezTo>
                      <a:cubicBezTo>
                        <a:pt x="328" y="217"/>
                        <a:pt x="328" y="217"/>
                        <a:pt x="328" y="217"/>
                      </a:cubicBezTo>
                      <a:cubicBezTo>
                        <a:pt x="325" y="214"/>
                        <a:pt x="325" y="214"/>
                        <a:pt x="325" y="214"/>
                      </a:cubicBezTo>
                      <a:cubicBezTo>
                        <a:pt x="324" y="212"/>
                        <a:pt x="324" y="212"/>
                        <a:pt x="324" y="212"/>
                      </a:cubicBezTo>
                      <a:cubicBezTo>
                        <a:pt x="326" y="208"/>
                        <a:pt x="326" y="208"/>
                        <a:pt x="326" y="208"/>
                      </a:cubicBezTo>
                      <a:cubicBezTo>
                        <a:pt x="325" y="205"/>
                        <a:pt x="325" y="205"/>
                        <a:pt x="325" y="205"/>
                      </a:cubicBezTo>
                      <a:cubicBezTo>
                        <a:pt x="324" y="204"/>
                        <a:pt x="324" y="204"/>
                        <a:pt x="324" y="204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26" y="200"/>
                        <a:pt x="326" y="200"/>
                        <a:pt x="326" y="200"/>
                      </a:cubicBezTo>
                      <a:cubicBezTo>
                        <a:pt x="329" y="197"/>
                        <a:pt x="329" y="197"/>
                        <a:pt x="329" y="197"/>
                      </a:cubicBezTo>
                      <a:cubicBezTo>
                        <a:pt x="330" y="192"/>
                        <a:pt x="330" y="192"/>
                        <a:pt x="330" y="192"/>
                      </a:cubicBezTo>
                      <a:cubicBezTo>
                        <a:pt x="329" y="187"/>
                        <a:pt x="329" y="187"/>
                        <a:pt x="329" y="187"/>
                      </a:cubicBezTo>
                      <a:cubicBezTo>
                        <a:pt x="325" y="179"/>
                        <a:pt x="325" y="179"/>
                        <a:pt x="325" y="179"/>
                      </a:cubicBezTo>
                      <a:cubicBezTo>
                        <a:pt x="326" y="178"/>
                        <a:pt x="326" y="178"/>
                        <a:pt x="326" y="178"/>
                      </a:cubicBezTo>
                      <a:cubicBezTo>
                        <a:pt x="329" y="180"/>
                        <a:pt x="329" y="180"/>
                        <a:pt x="329" y="180"/>
                      </a:cubicBezTo>
                      <a:cubicBezTo>
                        <a:pt x="329" y="183"/>
                        <a:pt x="329" y="183"/>
                        <a:pt x="329" y="183"/>
                      </a:cubicBezTo>
                      <a:cubicBezTo>
                        <a:pt x="330" y="183"/>
                        <a:pt x="330" y="183"/>
                        <a:pt x="330" y="183"/>
                      </a:cubicBezTo>
                      <a:cubicBezTo>
                        <a:pt x="331" y="184"/>
                        <a:pt x="331" y="184"/>
                        <a:pt x="331" y="184"/>
                      </a:cubicBezTo>
                      <a:cubicBezTo>
                        <a:pt x="331" y="187"/>
                        <a:pt x="331" y="187"/>
                        <a:pt x="331" y="187"/>
                      </a:cubicBezTo>
                      <a:cubicBezTo>
                        <a:pt x="334" y="190"/>
                        <a:pt x="334" y="190"/>
                        <a:pt x="334" y="190"/>
                      </a:cubicBezTo>
                      <a:cubicBezTo>
                        <a:pt x="333" y="194"/>
                        <a:pt x="333" y="194"/>
                        <a:pt x="333" y="194"/>
                      </a:cubicBezTo>
                      <a:cubicBezTo>
                        <a:pt x="335" y="197"/>
                        <a:pt x="335" y="197"/>
                        <a:pt x="335" y="197"/>
                      </a:cubicBezTo>
                      <a:cubicBezTo>
                        <a:pt x="334" y="199"/>
                        <a:pt x="334" y="199"/>
                        <a:pt x="334" y="199"/>
                      </a:cubicBezTo>
                      <a:cubicBezTo>
                        <a:pt x="335" y="201"/>
                        <a:pt x="335" y="201"/>
                        <a:pt x="335" y="201"/>
                      </a:cubicBezTo>
                      <a:cubicBezTo>
                        <a:pt x="338" y="204"/>
                        <a:pt x="338" y="204"/>
                        <a:pt x="338" y="204"/>
                      </a:cubicBezTo>
                      <a:cubicBezTo>
                        <a:pt x="338" y="205"/>
                        <a:pt x="338" y="205"/>
                        <a:pt x="338" y="205"/>
                      </a:cubicBezTo>
                      <a:cubicBezTo>
                        <a:pt x="340" y="207"/>
                        <a:pt x="340" y="207"/>
                        <a:pt x="340" y="207"/>
                      </a:cubicBezTo>
                      <a:cubicBezTo>
                        <a:pt x="340" y="208"/>
                        <a:pt x="340" y="208"/>
                        <a:pt x="340" y="208"/>
                      </a:cubicBezTo>
                      <a:cubicBezTo>
                        <a:pt x="338" y="210"/>
                        <a:pt x="338" y="210"/>
                        <a:pt x="338" y="210"/>
                      </a:cubicBezTo>
                      <a:cubicBezTo>
                        <a:pt x="339" y="211"/>
                        <a:pt x="339" y="211"/>
                        <a:pt x="339" y="211"/>
                      </a:cubicBezTo>
                      <a:cubicBezTo>
                        <a:pt x="341" y="211"/>
                        <a:pt x="341" y="211"/>
                        <a:pt x="341" y="211"/>
                      </a:cubicBezTo>
                      <a:cubicBezTo>
                        <a:pt x="344" y="212"/>
                        <a:pt x="344" y="212"/>
                        <a:pt x="344" y="212"/>
                      </a:cubicBezTo>
                      <a:cubicBezTo>
                        <a:pt x="348" y="212"/>
                        <a:pt x="348" y="212"/>
                        <a:pt x="348" y="212"/>
                      </a:cubicBezTo>
                      <a:cubicBezTo>
                        <a:pt x="349" y="212"/>
                        <a:pt x="349" y="212"/>
                        <a:pt x="349" y="212"/>
                      </a:cubicBezTo>
                      <a:cubicBezTo>
                        <a:pt x="351" y="213"/>
                        <a:pt x="351" y="213"/>
                        <a:pt x="351" y="213"/>
                      </a:cubicBezTo>
                      <a:cubicBezTo>
                        <a:pt x="352" y="214"/>
                        <a:pt x="352" y="214"/>
                        <a:pt x="352" y="214"/>
                      </a:cubicBezTo>
                      <a:cubicBezTo>
                        <a:pt x="354" y="212"/>
                        <a:pt x="354" y="212"/>
                        <a:pt x="354" y="212"/>
                      </a:cubicBezTo>
                      <a:cubicBezTo>
                        <a:pt x="356" y="212"/>
                        <a:pt x="356" y="212"/>
                        <a:pt x="356" y="212"/>
                      </a:cubicBezTo>
                      <a:cubicBezTo>
                        <a:pt x="358" y="211"/>
                        <a:pt x="358" y="211"/>
                        <a:pt x="358" y="211"/>
                      </a:cubicBezTo>
                      <a:cubicBezTo>
                        <a:pt x="359" y="211"/>
                        <a:pt x="359" y="211"/>
                        <a:pt x="359" y="211"/>
                      </a:cubicBezTo>
                      <a:cubicBezTo>
                        <a:pt x="362" y="214"/>
                        <a:pt x="362" y="214"/>
                        <a:pt x="362" y="214"/>
                      </a:cubicBezTo>
                      <a:cubicBezTo>
                        <a:pt x="364" y="215"/>
                        <a:pt x="364" y="215"/>
                        <a:pt x="364" y="215"/>
                      </a:cubicBezTo>
                      <a:cubicBezTo>
                        <a:pt x="366" y="216"/>
                        <a:pt x="366" y="216"/>
                        <a:pt x="366" y="216"/>
                      </a:cubicBezTo>
                      <a:cubicBezTo>
                        <a:pt x="370" y="215"/>
                        <a:pt x="370" y="215"/>
                        <a:pt x="370" y="215"/>
                      </a:cubicBezTo>
                      <a:cubicBezTo>
                        <a:pt x="372" y="214"/>
                        <a:pt x="372" y="214"/>
                        <a:pt x="372" y="214"/>
                      </a:cubicBezTo>
                      <a:cubicBezTo>
                        <a:pt x="370" y="215"/>
                        <a:pt x="370" y="215"/>
                        <a:pt x="370" y="215"/>
                      </a:cubicBezTo>
                      <a:cubicBezTo>
                        <a:pt x="366" y="214"/>
                        <a:pt x="366" y="214"/>
                        <a:pt x="366" y="214"/>
                      </a:cubicBezTo>
                      <a:cubicBezTo>
                        <a:pt x="366" y="212"/>
                        <a:pt x="366" y="212"/>
                        <a:pt x="366" y="212"/>
                      </a:cubicBezTo>
                      <a:cubicBezTo>
                        <a:pt x="364" y="212"/>
                        <a:pt x="364" y="212"/>
                        <a:pt x="364" y="212"/>
                      </a:cubicBezTo>
                      <a:cubicBezTo>
                        <a:pt x="363" y="209"/>
                        <a:pt x="363" y="209"/>
                        <a:pt x="363" y="209"/>
                      </a:cubicBezTo>
                      <a:cubicBezTo>
                        <a:pt x="360" y="209"/>
                        <a:pt x="360" y="209"/>
                        <a:pt x="360" y="209"/>
                      </a:cubicBezTo>
                      <a:cubicBezTo>
                        <a:pt x="360" y="208"/>
                        <a:pt x="360" y="208"/>
                        <a:pt x="360" y="208"/>
                      </a:cubicBezTo>
                      <a:cubicBezTo>
                        <a:pt x="359" y="207"/>
                        <a:pt x="359" y="207"/>
                        <a:pt x="359" y="207"/>
                      </a:cubicBezTo>
                      <a:cubicBezTo>
                        <a:pt x="357" y="209"/>
                        <a:pt x="357" y="209"/>
                        <a:pt x="357" y="209"/>
                      </a:cubicBezTo>
                      <a:cubicBezTo>
                        <a:pt x="353" y="208"/>
                        <a:pt x="353" y="208"/>
                        <a:pt x="353" y="208"/>
                      </a:cubicBezTo>
                      <a:cubicBezTo>
                        <a:pt x="351" y="207"/>
                        <a:pt x="351" y="207"/>
                        <a:pt x="351" y="207"/>
                      </a:cubicBezTo>
                      <a:cubicBezTo>
                        <a:pt x="348" y="207"/>
                        <a:pt x="348" y="207"/>
                        <a:pt x="348" y="207"/>
                      </a:cubicBezTo>
                      <a:cubicBezTo>
                        <a:pt x="344" y="204"/>
                        <a:pt x="344" y="204"/>
                        <a:pt x="344" y="204"/>
                      </a:cubicBezTo>
                      <a:cubicBezTo>
                        <a:pt x="344" y="201"/>
                        <a:pt x="344" y="201"/>
                        <a:pt x="344" y="201"/>
                      </a:cubicBezTo>
                      <a:cubicBezTo>
                        <a:pt x="342" y="201"/>
                        <a:pt x="342" y="201"/>
                        <a:pt x="342" y="201"/>
                      </a:cubicBezTo>
                      <a:cubicBezTo>
                        <a:pt x="339" y="197"/>
                        <a:pt x="339" y="197"/>
                        <a:pt x="339" y="197"/>
                      </a:cubicBezTo>
                      <a:cubicBezTo>
                        <a:pt x="341" y="196"/>
                        <a:pt x="341" y="196"/>
                        <a:pt x="341" y="196"/>
                      </a:cubicBezTo>
                      <a:cubicBezTo>
                        <a:pt x="342" y="195"/>
                        <a:pt x="342" y="195"/>
                        <a:pt x="342" y="195"/>
                      </a:cubicBezTo>
                      <a:cubicBezTo>
                        <a:pt x="344" y="193"/>
                        <a:pt x="344" y="193"/>
                        <a:pt x="344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49" y="196"/>
                        <a:pt x="349" y="196"/>
                        <a:pt x="349" y="196"/>
                      </a:cubicBezTo>
                      <a:cubicBezTo>
                        <a:pt x="353" y="198"/>
                        <a:pt x="353" y="198"/>
                        <a:pt x="353" y="198"/>
                      </a:cubicBezTo>
                      <a:cubicBezTo>
                        <a:pt x="356" y="197"/>
                        <a:pt x="356" y="197"/>
                        <a:pt x="356" y="197"/>
                      </a:cubicBezTo>
                      <a:cubicBezTo>
                        <a:pt x="358" y="193"/>
                        <a:pt x="358" y="193"/>
                        <a:pt x="358" y="193"/>
                      </a:cubicBezTo>
                      <a:cubicBezTo>
                        <a:pt x="356" y="190"/>
                        <a:pt x="356" y="190"/>
                        <a:pt x="356" y="190"/>
                      </a:cubicBezTo>
                      <a:cubicBezTo>
                        <a:pt x="352" y="189"/>
                        <a:pt x="352" y="189"/>
                        <a:pt x="352" y="189"/>
                      </a:cubicBezTo>
                      <a:cubicBezTo>
                        <a:pt x="349" y="191"/>
                        <a:pt x="349" y="191"/>
                        <a:pt x="349" y="191"/>
                      </a:cubicBezTo>
                      <a:cubicBezTo>
                        <a:pt x="348" y="190"/>
                        <a:pt x="348" y="190"/>
                        <a:pt x="348" y="190"/>
                      </a:cubicBezTo>
                      <a:cubicBezTo>
                        <a:pt x="348" y="188"/>
                        <a:pt x="348" y="188"/>
                        <a:pt x="348" y="188"/>
                      </a:cubicBezTo>
                      <a:cubicBezTo>
                        <a:pt x="349" y="189"/>
                        <a:pt x="349" y="189"/>
                        <a:pt x="349" y="189"/>
                      </a:cubicBezTo>
                      <a:cubicBezTo>
                        <a:pt x="351" y="188"/>
                        <a:pt x="351" y="188"/>
                        <a:pt x="351" y="188"/>
                      </a:cubicBezTo>
                      <a:cubicBezTo>
                        <a:pt x="351" y="186"/>
                        <a:pt x="351" y="186"/>
                        <a:pt x="351" y="186"/>
                      </a:cubicBezTo>
                      <a:cubicBezTo>
                        <a:pt x="353" y="182"/>
                        <a:pt x="353" y="182"/>
                        <a:pt x="353" y="182"/>
                      </a:cubicBezTo>
                      <a:cubicBezTo>
                        <a:pt x="355" y="181"/>
                        <a:pt x="355" y="181"/>
                        <a:pt x="355" y="181"/>
                      </a:cubicBezTo>
                      <a:cubicBezTo>
                        <a:pt x="357" y="182"/>
                        <a:pt x="357" y="182"/>
                        <a:pt x="357" y="182"/>
                      </a:cubicBezTo>
                      <a:cubicBezTo>
                        <a:pt x="364" y="182"/>
                        <a:pt x="364" y="182"/>
                        <a:pt x="364" y="182"/>
                      </a:cubicBezTo>
                      <a:cubicBezTo>
                        <a:pt x="366" y="184"/>
                        <a:pt x="366" y="184"/>
                        <a:pt x="366" y="184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cubicBezTo>
                        <a:pt x="374" y="187"/>
                        <a:pt x="374" y="187"/>
                        <a:pt x="374" y="187"/>
                      </a:cubicBezTo>
                      <a:cubicBezTo>
                        <a:pt x="375" y="188"/>
                        <a:pt x="375" y="188"/>
                        <a:pt x="375" y="188"/>
                      </a:cubicBezTo>
                      <a:cubicBezTo>
                        <a:pt x="377" y="190"/>
                        <a:pt x="377" y="190"/>
                        <a:pt x="377" y="190"/>
                      </a:cubicBezTo>
                      <a:cubicBezTo>
                        <a:pt x="381" y="194"/>
                        <a:pt x="381" y="194"/>
                        <a:pt x="381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9" y="193"/>
                        <a:pt x="389" y="193"/>
                        <a:pt x="389" y="193"/>
                      </a:cubicBezTo>
                      <a:cubicBezTo>
                        <a:pt x="393" y="191"/>
                        <a:pt x="393" y="191"/>
                        <a:pt x="393" y="191"/>
                      </a:cubicBezTo>
                      <a:cubicBezTo>
                        <a:pt x="394" y="192"/>
                        <a:pt x="394" y="192"/>
                        <a:pt x="394" y="192"/>
                      </a:cubicBezTo>
                      <a:cubicBezTo>
                        <a:pt x="395" y="192"/>
                        <a:pt x="395" y="192"/>
                        <a:pt x="395" y="192"/>
                      </a:cubicBezTo>
                      <a:cubicBezTo>
                        <a:pt x="398" y="192"/>
                        <a:pt x="398" y="192"/>
                        <a:pt x="398" y="192"/>
                      </a:cubicBezTo>
                      <a:cubicBezTo>
                        <a:pt x="397" y="196"/>
                        <a:pt x="397" y="196"/>
                        <a:pt x="397" y="196"/>
                      </a:cubicBezTo>
                      <a:cubicBezTo>
                        <a:pt x="397" y="198"/>
                        <a:pt x="397" y="198"/>
                        <a:pt x="397" y="198"/>
                      </a:cubicBezTo>
                      <a:cubicBezTo>
                        <a:pt x="397" y="199"/>
                        <a:pt x="397" y="199"/>
                        <a:pt x="397" y="199"/>
                      </a:cubicBezTo>
                      <a:cubicBezTo>
                        <a:pt x="394" y="201"/>
                        <a:pt x="394" y="201"/>
                        <a:pt x="394" y="201"/>
                      </a:cubicBezTo>
                      <a:cubicBezTo>
                        <a:pt x="394" y="204"/>
                        <a:pt x="394" y="204"/>
                        <a:pt x="394" y="204"/>
                      </a:cubicBezTo>
                      <a:cubicBezTo>
                        <a:pt x="396" y="206"/>
                        <a:pt x="396" y="206"/>
                        <a:pt x="396" y="206"/>
                      </a:cubicBezTo>
                      <a:cubicBezTo>
                        <a:pt x="396" y="209"/>
                        <a:pt x="396" y="209"/>
                        <a:pt x="396" y="209"/>
                      </a:cubicBezTo>
                      <a:cubicBezTo>
                        <a:pt x="399" y="212"/>
                        <a:pt x="399" y="212"/>
                        <a:pt x="399" y="212"/>
                      </a:cubicBezTo>
                      <a:cubicBezTo>
                        <a:pt x="399" y="214"/>
                        <a:pt x="399" y="214"/>
                        <a:pt x="399" y="214"/>
                      </a:cubicBezTo>
                      <a:cubicBezTo>
                        <a:pt x="398" y="216"/>
                        <a:pt x="398" y="216"/>
                        <a:pt x="398" y="216"/>
                      </a:cubicBezTo>
                      <a:cubicBezTo>
                        <a:pt x="399" y="222"/>
                        <a:pt x="399" y="222"/>
                        <a:pt x="399" y="222"/>
                      </a:cubicBezTo>
                      <a:cubicBezTo>
                        <a:pt x="400" y="222"/>
                        <a:pt x="400" y="222"/>
                        <a:pt x="400" y="222"/>
                      </a:cubicBezTo>
                      <a:cubicBezTo>
                        <a:pt x="400" y="220"/>
                        <a:pt x="400" y="220"/>
                        <a:pt x="400" y="220"/>
                      </a:cubicBezTo>
                      <a:cubicBezTo>
                        <a:pt x="400" y="218"/>
                        <a:pt x="400" y="218"/>
                        <a:pt x="400" y="218"/>
                      </a:cubicBezTo>
                      <a:cubicBezTo>
                        <a:pt x="401" y="217"/>
                        <a:pt x="401" y="217"/>
                        <a:pt x="401" y="217"/>
                      </a:cubicBezTo>
                      <a:cubicBezTo>
                        <a:pt x="401" y="214"/>
                        <a:pt x="401" y="214"/>
                        <a:pt x="401" y="214"/>
                      </a:cubicBezTo>
                      <a:cubicBezTo>
                        <a:pt x="402" y="214"/>
                        <a:pt x="402" y="214"/>
                        <a:pt x="402" y="214"/>
                      </a:cubicBezTo>
                      <a:cubicBezTo>
                        <a:pt x="403" y="211"/>
                        <a:pt x="403" y="211"/>
                        <a:pt x="403" y="211"/>
                      </a:cubicBezTo>
                      <a:cubicBezTo>
                        <a:pt x="405" y="212"/>
                        <a:pt x="405" y="212"/>
                        <a:pt x="405" y="212"/>
                      </a:cubicBezTo>
                      <a:cubicBezTo>
                        <a:pt x="406" y="215"/>
                        <a:pt x="406" y="215"/>
                        <a:pt x="406" y="215"/>
                      </a:cubicBezTo>
                      <a:cubicBezTo>
                        <a:pt x="406" y="220"/>
                        <a:pt x="406" y="220"/>
                        <a:pt x="406" y="220"/>
                      </a:cubicBezTo>
                      <a:cubicBezTo>
                        <a:pt x="407" y="221"/>
                        <a:pt x="407" y="221"/>
                        <a:pt x="407" y="221"/>
                      </a:cubicBezTo>
                      <a:cubicBezTo>
                        <a:pt x="406" y="222"/>
                        <a:pt x="406" y="222"/>
                        <a:pt x="406" y="222"/>
                      </a:cubicBezTo>
                      <a:cubicBezTo>
                        <a:pt x="406" y="225"/>
                        <a:pt x="406" y="225"/>
                        <a:pt x="406" y="225"/>
                      </a:cubicBezTo>
                      <a:cubicBezTo>
                        <a:pt x="405" y="225"/>
                        <a:pt x="405" y="225"/>
                        <a:pt x="405" y="225"/>
                      </a:cubicBezTo>
                      <a:cubicBezTo>
                        <a:pt x="408" y="228"/>
                        <a:pt x="408" y="228"/>
                        <a:pt x="408" y="228"/>
                      </a:cubicBezTo>
                      <a:cubicBezTo>
                        <a:pt x="411" y="227"/>
                        <a:pt x="411" y="227"/>
                        <a:pt x="411" y="227"/>
                      </a:cubicBezTo>
                      <a:cubicBezTo>
                        <a:pt x="414" y="228"/>
                        <a:pt x="414" y="228"/>
                        <a:pt x="414" y="228"/>
                      </a:cubicBezTo>
                      <a:cubicBezTo>
                        <a:pt x="416" y="231"/>
                        <a:pt x="416" y="231"/>
                        <a:pt x="416" y="231"/>
                      </a:cubicBezTo>
                      <a:cubicBezTo>
                        <a:pt x="416" y="233"/>
                        <a:pt x="416" y="233"/>
                        <a:pt x="416" y="233"/>
                      </a:cubicBezTo>
                      <a:cubicBezTo>
                        <a:pt x="418" y="235"/>
                        <a:pt x="418" y="235"/>
                        <a:pt x="418" y="235"/>
                      </a:cubicBezTo>
                      <a:cubicBezTo>
                        <a:pt x="422" y="235"/>
                        <a:pt x="422" y="235"/>
                        <a:pt x="422" y="235"/>
                      </a:cubicBezTo>
                      <a:cubicBezTo>
                        <a:pt x="426" y="239"/>
                        <a:pt x="426" y="239"/>
                        <a:pt x="426" y="239"/>
                      </a:cubicBezTo>
                      <a:cubicBezTo>
                        <a:pt x="426" y="237"/>
                        <a:pt x="426" y="237"/>
                        <a:pt x="426" y="237"/>
                      </a:cubicBezTo>
                      <a:cubicBezTo>
                        <a:pt x="426" y="235"/>
                        <a:pt x="426" y="235"/>
                        <a:pt x="426" y="235"/>
                      </a:cubicBezTo>
                      <a:cubicBezTo>
                        <a:pt x="429" y="231"/>
                        <a:pt x="429" y="231"/>
                        <a:pt x="429" y="231"/>
                      </a:cubicBezTo>
                      <a:cubicBezTo>
                        <a:pt x="431" y="231"/>
                        <a:pt x="431" y="231"/>
                        <a:pt x="431" y="231"/>
                      </a:cubicBezTo>
                      <a:cubicBezTo>
                        <a:pt x="435" y="235"/>
                        <a:pt x="435" y="235"/>
                        <a:pt x="435" y="235"/>
                      </a:cubicBezTo>
                      <a:cubicBezTo>
                        <a:pt x="438" y="235"/>
                        <a:pt x="438" y="235"/>
                        <a:pt x="438" y="235"/>
                      </a:cubicBezTo>
                      <a:cubicBezTo>
                        <a:pt x="439" y="237"/>
                        <a:pt x="439" y="237"/>
                        <a:pt x="439" y="237"/>
                      </a:cubicBezTo>
                      <a:cubicBezTo>
                        <a:pt x="440" y="240"/>
                        <a:pt x="440" y="240"/>
                        <a:pt x="440" y="240"/>
                      </a:cubicBezTo>
                      <a:cubicBezTo>
                        <a:pt x="440" y="236"/>
                        <a:pt x="440" y="236"/>
                        <a:pt x="440" y="236"/>
                      </a:cubicBezTo>
                      <a:cubicBezTo>
                        <a:pt x="439" y="234"/>
                        <a:pt x="439" y="234"/>
                        <a:pt x="439" y="234"/>
                      </a:cubicBezTo>
                      <a:cubicBezTo>
                        <a:pt x="437" y="234"/>
                        <a:pt x="437" y="234"/>
                        <a:pt x="437" y="234"/>
                      </a:cubicBezTo>
                      <a:cubicBezTo>
                        <a:pt x="434" y="233"/>
                        <a:pt x="434" y="233"/>
                        <a:pt x="434" y="233"/>
                      </a:cubicBezTo>
                      <a:cubicBezTo>
                        <a:pt x="431" y="230"/>
                        <a:pt x="431" y="230"/>
                        <a:pt x="431" y="230"/>
                      </a:cubicBezTo>
                      <a:cubicBezTo>
                        <a:pt x="427" y="231"/>
                        <a:pt x="427" y="231"/>
                        <a:pt x="427" y="231"/>
                      </a:cubicBezTo>
                      <a:cubicBezTo>
                        <a:pt x="424" y="233"/>
                        <a:pt x="424" y="233"/>
                        <a:pt x="424" y="233"/>
                      </a:cubicBezTo>
                      <a:cubicBezTo>
                        <a:pt x="423" y="233"/>
                        <a:pt x="423" y="233"/>
                        <a:pt x="423" y="233"/>
                      </a:cubicBezTo>
                      <a:cubicBezTo>
                        <a:pt x="422" y="233"/>
                        <a:pt x="422" y="233"/>
                        <a:pt x="422" y="233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15" y="228"/>
                        <a:pt x="415" y="228"/>
                        <a:pt x="415" y="228"/>
                      </a:cubicBezTo>
                      <a:cubicBezTo>
                        <a:pt x="414" y="226"/>
                        <a:pt x="414" y="226"/>
                        <a:pt x="414" y="226"/>
                      </a:cubicBezTo>
                      <a:cubicBezTo>
                        <a:pt x="410" y="226"/>
                        <a:pt x="410" y="226"/>
                        <a:pt x="410" y="226"/>
                      </a:cubicBezTo>
                      <a:cubicBezTo>
                        <a:pt x="408" y="223"/>
                        <a:pt x="408" y="223"/>
                        <a:pt x="408" y="223"/>
                      </a:cubicBezTo>
                      <a:cubicBezTo>
                        <a:pt x="410" y="224"/>
                        <a:pt x="410" y="224"/>
                        <a:pt x="410" y="224"/>
                      </a:cubicBezTo>
                      <a:cubicBezTo>
                        <a:pt x="411" y="224"/>
                        <a:pt x="411" y="224"/>
                        <a:pt x="411" y="224"/>
                      </a:cubicBezTo>
                      <a:cubicBezTo>
                        <a:pt x="413" y="219"/>
                        <a:pt x="413" y="219"/>
                        <a:pt x="413" y="219"/>
                      </a:cubicBezTo>
                      <a:cubicBezTo>
                        <a:pt x="413" y="217"/>
                        <a:pt x="413" y="217"/>
                        <a:pt x="413" y="217"/>
                      </a:cubicBezTo>
                      <a:cubicBezTo>
                        <a:pt x="410" y="215"/>
                        <a:pt x="410" y="215"/>
                        <a:pt x="410" y="215"/>
                      </a:cubicBezTo>
                      <a:cubicBezTo>
                        <a:pt x="409" y="210"/>
                        <a:pt x="409" y="210"/>
                        <a:pt x="409" y="210"/>
                      </a:cubicBezTo>
                      <a:cubicBezTo>
                        <a:pt x="406" y="206"/>
                        <a:pt x="406" y="206"/>
                        <a:pt x="406" y="206"/>
                      </a:cubicBezTo>
                      <a:cubicBezTo>
                        <a:pt x="404" y="204"/>
                        <a:pt x="404" y="204"/>
                        <a:pt x="404" y="204"/>
                      </a:cubicBezTo>
                      <a:cubicBezTo>
                        <a:pt x="402" y="202"/>
                        <a:pt x="402" y="202"/>
                        <a:pt x="402" y="202"/>
                      </a:cubicBezTo>
                      <a:cubicBezTo>
                        <a:pt x="402" y="199"/>
                        <a:pt x="402" y="199"/>
                        <a:pt x="402" y="199"/>
                      </a:cubicBezTo>
                      <a:cubicBezTo>
                        <a:pt x="402" y="197"/>
                        <a:pt x="402" y="197"/>
                        <a:pt x="402" y="197"/>
                      </a:cubicBezTo>
                      <a:cubicBezTo>
                        <a:pt x="401" y="192"/>
                        <a:pt x="401" y="192"/>
                        <a:pt x="401" y="192"/>
                      </a:cubicBezTo>
                      <a:cubicBezTo>
                        <a:pt x="399" y="190"/>
                        <a:pt x="399" y="190"/>
                        <a:pt x="399" y="190"/>
                      </a:cubicBezTo>
                      <a:cubicBezTo>
                        <a:pt x="398" y="190"/>
                        <a:pt x="398" y="190"/>
                        <a:pt x="398" y="190"/>
                      </a:cubicBezTo>
                      <a:cubicBezTo>
                        <a:pt x="394" y="188"/>
                        <a:pt x="394" y="188"/>
                        <a:pt x="394" y="188"/>
                      </a:cubicBezTo>
                      <a:cubicBezTo>
                        <a:pt x="389" y="187"/>
                        <a:pt x="389" y="187"/>
                        <a:pt x="389" y="187"/>
                      </a:cubicBezTo>
                      <a:cubicBezTo>
                        <a:pt x="388" y="185"/>
                        <a:pt x="388" y="185"/>
                        <a:pt x="388" y="185"/>
                      </a:cubicBezTo>
                      <a:cubicBezTo>
                        <a:pt x="385" y="183"/>
                        <a:pt x="385" y="183"/>
                        <a:pt x="385" y="183"/>
                      </a:cubicBezTo>
                      <a:cubicBezTo>
                        <a:pt x="385" y="181"/>
                        <a:pt x="385" y="181"/>
                        <a:pt x="385" y="181"/>
                      </a:cubicBezTo>
                      <a:cubicBezTo>
                        <a:pt x="384" y="179"/>
                        <a:pt x="384" y="179"/>
                        <a:pt x="384" y="179"/>
                      </a:cubicBezTo>
                      <a:cubicBezTo>
                        <a:pt x="384" y="177"/>
                        <a:pt x="384" y="177"/>
                        <a:pt x="384" y="177"/>
                      </a:cubicBezTo>
                      <a:cubicBezTo>
                        <a:pt x="382" y="179"/>
                        <a:pt x="382" y="179"/>
                        <a:pt x="382" y="179"/>
                      </a:cubicBezTo>
                      <a:cubicBezTo>
                        <a:pt x="375" y="179"/>
                        <a:pt x="375" y="179"/>
                        <a:pt x="375" y="179"/>
                      </a:cubicBezTo>
                      <a:cubicBezTo>
                        <a:pt x="373" y="179"/>
                        <a:pt x="373" y="179"/>
                        <a:pt x="373" y="179"/>
                      </a:cubicBezTo>
                      <a:cubicBezTo>
                        <a:pt x="370" y="177"/>
                        <a:pt x="370" y="177"/>
                        <a:pt x="370" y="177"/>
                      </a:cubicBezTo>
                      <a:cubicBezTo>
                        <a:pt x="370" y="174"/>
                        <a:pt x="370" y="174"/>
                        <a:pt x="370" y="174"/>
                      </a:cubicBezTo>
                      <a:cubicBezTo>
                        <a:pt x="369" y="174"/>
                        <a:pt x="369" y="174"/>
                        <a:pt x="369" y="174"/>
                      </a:cubicBezTo>
                      <a:cubicBezTo>
                        <a:pt x="368" y="173"/>
                        <a:pt x="368" y="173"/>
                        <a:pt x="368" y="173"/>
                      </a:cubicBezTo>
                      <a:cubicBezTo>
                        <a:pt x="368" y="169"/>
                        <a:pt x="368" y="169"/>
                        <a:pt x="368" y="169"/>
                      </a:cubicBezTo>
                      <a:cubicBezTo>
                        <a:pt x="366" y="165"/>
                        <a:pt x="366" y="165"/>
                        <a:pt x="366" y="165"/>
                      </a:cubicBezTo>
                      <a:cubicBezTo>
                        <a:pt x="362" y="163"/>
                        <a:pt x="362" y="163"/>
                        <a:pt x="362" y="163"/>
                      </a:cubicBezTo>
                      <a:cubicBezTo>
                        <a:pt x="363" y="161"/>
                        <a:pt x="363" y="161"/>
                        <a:pt x="363" y="161"/>
                      </a:cubicBezTo>
                      <a:cubicBezTo>
                        <a:pt x="363" y="160"/>
                        <a:pt x="363" y="160"/>
                        <a:pt x="363" y="160"/>
                      </a:cubicBezTo>
                      <a:cubicBezTo>
                        <a:pt x="361" y="160"/>
                        <a:pt x="361" y="160"/>
                        <a:pt x="361" y="160"/>
                      </a:cubicBezTo>
                      <a:cubicBezTo>
                        <a:pt x="360" y="159"/>
                        <a:pt x="360" y="159"/>
                        <a:pt x="360" y="159"/>
                      </a:cubicBezTo>
                      <a:cubicBezTo>
                        <a:pt x="360" y="156"/>
                        <a:pt x="360" y="156"/>
                        <a:pt x="360" y="156"/>
                      </a:cubicBezTo>
                      <a:cubicBezTo>
                        <a:pt x="360" y="154"/>
                        <a:pt x="360" y="154"/>
                        <a:pt x="360" y="154"/>
                      </a:cubicBezTo>
                      <a:cubicBezTo>
                        <a:pt x="358" y="153"/>
                        <a:pt x="358" y="153"/>
                        <a:pt x="358" y="153"/>
                      </a:cubicBezTo>
                      <a:cubicBezTo>
                        <a:pt x="360" y="151"/>
                        <a:pt x="360" y="151"/>
                        <a:pt x="360" y="151"/>
                      </a:cubicBezTo>
                      <a:cubicBezTo>
                        <a:pt x="362" y="151"/>
                        <a:pt x="362" y="151"/>
                        <a:pt x="362" y="151"/>
                      </a:cubicBezTo>
                      <a:cubicBezTo>
                        <a:pt x="365" y="149"/>
                        <a:pt x="365" y="149"/>
                        <a:pt x="365" y="149"/>
                      </a:cubicBezTo>
                      <a:cubicBezTo>
                        <a:pt x="367" y="149"/>
                        <a:pt x="367" y="149"/>
                        <a:pt x="367" y="149"/>
                      </a:cubicBezTo>
                      <a:cubicBezTo>
                        <a:pt x="372" y="148"/>
                        <a:pt x="372" y="148"/>
                        <a:pt x="372" y="148"/>
                      </a:cubicBezTo>
                      <a:cubicBezTo>
                        <a:pt x="380" y="145"/>
                        <a:pt x="380" y="145"/>
                        <a:pt x="380" y="145"/>
                      </a:cubicBezTo>
                      <a:cubicBezTo>
                        <a:pt x="383" y="142"/>
                        <a:pt x="383" y="142"/>
                        <a:pt x="383" y="142"/>
                      </a:cubicBezTo>
                      <a:cubicBezTo>
                        <a:pt x="385" y="142"/>
                        <a:pt x="385" y="142"/>
                        <a:pt x="385" y="142"/>
                      </a:cubicBezTo>
                      <a:cubicBezTo>
                        <a:pt x="387" y="143"/>
                        <a:pt x="387" y="143"/>
                        <a:pt x="387" y="143"/>
                      </a:cubicBezTo>
                      <a:cubicBezTo>
                        <a:pt x="389" y="142"/>
                        <a:pt x="389" y="142"/>
                        <a:pt x="389" y="142"/>
                      </a:cubicBezTo>
                      <a:cubicBezTo>
                        <a:pt x="390" y="139"/>
                        <a:pt x="390" y="139"/>
                        <a:pt x="390" y="139"/>
                      </a:cubicBezTo>
                      <a:cubicBezTo>
                        <a:pt x="394" y="138"/>
                        <a:pt x="394" y="138"/>
                        <a:pt x="394" y="138"/>
                      </a:cubicBezTo>
                      <a:cubicBezTo>
                        <a:pt x="400" y="135"/>
                        <a:pt x="400" y="135"/>
                        <a:pt x="400" y="135"/>
                      </a:cubicBezTo>
                      <a:cubicBezTo>
                        <a:pt x="401" y="136"/>
                        <a:pt x="401" y="136"/>
                        <a:pt x="401" y="136"/>
                      </a:cubicBezTo>
                      <a:cubicBezTo>
                        <a:pt x="400" y="138"/>
                        <a:pt x="400" y="138"/>
                        <a:pt x="400" y="138"/>
                      </a:cubicBezTo>
                      <a:cubicBezTo>
                        <a:pt x="400" y="139"/>
                        <a:pt x="400" y="139"/>
                        <a:pt x="400" y="139"/>
                      </a:cubicBezTo>
                      <a:cubicBezTo>
                        <a:pt x="399" y="140"/>
                        <a:pt x="399" y="140"/>
                        <a:pt x="399" y="140"/>
                      </a:cubicBezTo>
                      <a:cubicBezTo>
                        <a:pt x="397" y="144"/>
                        <a:pt x="397" y="144"/>
                        <a:pt x="397" y="144"/>
                      </a:cubicBezTo>
                      <a:cubicBezTo>
                        <a:pt x="397" y="147"/>
                        <a:pt x="397" y="147"/>
                        <a:pt x="397" y="147"/>
                      </a:cubicBezTo>
                      <a:cubicBezTo>
                        <a:pt x="401" y="150"/>
                        <a:pt x="401" y="150"/>
                        <a:pt x="401" y="150"/>
                      </a:cubicBezTo>
                      <a:cubicBezTo>
                        <a:pt x="405" y="150"/>
                        <a:pt x="405" y="150"/>
                        <a:pt x="405" y="150"/>
                      </a:cubicBezTo>
                      <a:cubicBezTo>
                        <a:pt x="403" y="149"/>
                        <a:pt x="403" y="149"/>
                        <a:pt x="403" y="149"/>
                      </a:cubicBezTo>
                      <a:cubicBezTo>
                        <a:pt x="399" y="145"/>
                        <a:pt x="399" y="145"/>
                        <a:pt x="399" y="145"/>
                      </a:cubicBezTo>
                      <a:cubicBezTo>
                        <a:pt x="399" y="144"/>
                        <a:pt x="399" y="144"/>
                        <a:pt x="399" y="144"/>
                      </a:cubicBezTo>
                      <a:cubicBezTo>
                        <a:pt x="401" y="142"/>
                        <a:pt x="401" y="142"/>
                        <a:pt x="401" y="142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06" y="136"/>
                        <a:pt x="406" y="136"/>
                        <a:pt x="406" y="136"/>
                      </a:cubicBezTo>
                      <a:cubicBezTo>
                        <a:pt x="404" y="133"/>
                        <a:pt x="404" y="133"/>
                        <a:pt x="404" y="133"/>
                      </a:cubicBezTo>
                      <a:cubicBezTo>
                        <a:pt x="402" y="133"/>
                        <a:pt x="402" y="133"/>
                        <a:pt x="402" y="133"/>
                      </a:cubicBezTo>
                      <a:cubicBezTo>
                        <a:pt x="399" y="131"/>
                        <a:pt x="399" y="131"/>
                        <a:pt x="399" y="131"/>
                      </a:cubicBezTo>
                      <a:cubicBezTo>
                        <a:pt x="400" y="129"/>
                        <a:pt x="400" y="129"/>
                        <a:pt x="400" y="129"/>
                      </a:cubicBezTo>
                      <a:cubicBezTo>
                        <a:pt x="397" y="129"/>
                        <a:pt x="397" y="129"/>
                        <a:pt x="397" y="129"/>
                      </a:cubicBezTo>
                      <a:cubicBezTo>
                        <a:pt x="396" y="130"/>
                        <a:pt x="396" y="130"/>
                        <a:pt x="396" y="130"/>
                      </a:cubicBezTo>
                      <a:cubicBezTo>
                        <a:pt x="395" y="129"/>
                        <a:pt x="395" y="129"/>
                        <a:pt x="395" y="129"/>
                      </a:cubicBezTo>
                      <a:cubicBezTo>
                        <a:pt x="394" y="127"/>
                        <a:pt x="394" y="127"/>
                        <a:pt x="394" y="127"/>
                      </a:cubicBezTo>
                      <a:cubicBezTo>
                        <a:pt x="391" y="127"/>
                        <a:pt x="391" y="127"/>
                        <a:pt x="391" y="127"/>
                      </a:cubicBezTo>
                      <a:cubicBezTo>
                        <a:pt x="389" y="128"/>
                        <a:pt x="389" y="128"/>
                        <a:pt x="389" y="128"/>
                      </a:cubicBezTo>
                      <a:cubicBezTo>
                        <a:pt x="387" y="125"/>
                        <a:pt x="387" y="125"/>
                        <a:pt x="387" y="125"/>
                      </a:cubicBezTo>
                      <a:cubicBezTo>
                        <a:pt x="388" y="124"/>
                        <a:pt x="388" y="124"/>
                        <a:pt x="388" y="124"/>
                      </a:cubicBezTo>
                      <a:cubicBezTo>
                        <a:pt x="388" y="123"/>
                        <a:pt x="388" y="123"/>
                        <a:pt x="388" y="123"/>
                      </a:cubicBezTo>
                      <a:cubicBezTo>
                        <a:pt x="389" y="122"/>
                        <a:pt x="389" y="122"/>
                        <a:pt x="389" y="122"/>
                      </a:cubicBezTo>
                      <a:cubicBezTo>
                        <a:pt x="391" y="124"/>
                        <a:pt x="391" y="124"/>
                        <a:pt x="391" y="124"/>
                      </a:cubicBezTo>
                      <a:cubicBezTo>
                        <a:pt x="393" y="124"/>
                        <a:pt x="393" y="124"/>
                        <a:pt x="393" y="124"/>
                      </a:cubicBezTo>
                      <a:cubicBezTo>
                        <a:pt x="395" y="123"/>
                        <a:pt x="395" y="123"/>
                        <a:pt x="395" y="123"/>
                      </a:cubicBezTo>
                      <a:cubicBezTo>
                        <a:pt x="395" y="121"/>
                        <a:pt x="395" y="121"/>
                        <a:pt x="395" y="121"/>
                      </a:cubicBezTo>
                      <a:cubicBezTo>
                        <a:pt x="394" y="122"/>
                        <a:pt x="394" y="122"/>
                        <a:pt x="394" y="122"/>
                      </a:cubicBezTo>
                      <a:cubicBezTo>
                        <a:pt x="392" y="122"/>
                        <a:pt x="392" y="122"/>
                        <a:pt x="392" y="122"/>
                      </a:cubicBezTo>
                      <a:cubicBezTo>
                        <a:pt x="390" y="121"/>
                        <a:pt x="390" y="121"/>
                        <a:pt x="390" y="121"/>
                      </a:cubicBezTo>
                      <a:cubicBezTo>
                        <a:pt x="389" y="119"/>
                        <a:pt x="389" y="119"/>
                        <a:pt x="389" y="119"/>
                      </a:cubicBezTo>
                      <a:cubicBezTo>
                        <a:pt x="387" y="119"/>
                        <a:pt x="387" y="119"/>
                        <a:pt x="387" y="119"/>
                      </a:cubicBezTo>
                      <a:cubicBezTo>
                        <a:pt x="384" y="118"/>
                        <a:pt x="384" y="118"/>
                        <a:pt x="384" y="118"/>
                      </a:cubicBezTo>
                      <a:cubicBezTo>
                        <a:pt x="382" y="119"/>
                        <a:pt x="382" y="119"/>
                        <a:pt x="382" y="119"/>
                      </a:cubicBezTo>
                      <a:cubicBezTo>
                        <a:pt x="381" y="117"/>
                        <a:pt x="381" y="117"/>
                        <a:pt x="381" y="117"/>
                      </a:cubicBezTo>
                      <a:cubicBezTo>
                        <a:pt x="382" y="115"/>
                        <a:pt x="382" y="115"/>
                        <a:pt x="382" y="115"/>
                      </a:cubicBezTo>
                      <a:cubicBezTo>
                        <a:pt x="382" y="114"/>
                        <a:pt x="382" y="114"/>
                        <a:pt x="382" y="114"/>
                      </a:cubicBezTo>
                      <a:cubicBezTo>
                        <a:pt x="381" y="112"/>
                        <a:pt x="381" y="112"/>
                        <a:pt x="381" y="112"/>
                      </a:cubicBezTo>
                      <a:cubicBezTo>
                        <a:pt x="381" y="112"/>
                        <a:pt x="381" y="112"/>
                        <a:pt x="381" y="112"/>
                      </a:cubicBezTo>
                      <a:cubicBezTo>
                        <a:pt x="383" y="112"/>
                        <a:pt x="383" y="112"/>
                        <a:pt x="383" y="112"/>
                      </a:cubicBezTo>
                      <a:cubicBezTo>
                        <a:pt x="385" y="115"/>
                        <a:pt x="385" y="115"/>
                        <a:pt x="385" y="115"/>
                      </a:cubicBezTo>
                      <a:cubicBezTo>
                        <a:pt x="386" y="114"/>
                        <a:pt x="386" y="114"/>
                        <a:pt x="386" y="114"/>
                      </a:cubicBezTo>
                      <a:cubicBezTo>
                        <a:pt x="389" y="117"/>
                        <a:pt x="389" y="117"/>
                        <a:pt x="389" y="117"/>
                      </a:cubicBezTo>
                      <a:cubicBezTo>
                        <a:pt x="389" y="116"/>
                        <a:pt x="389" y="116"/>
                        <a:pt x="389" y="116"/>
                      </a:cubicBezTo>
                      <a:cubicBezTo>
                        <a:pt x="388" y="114"/>
                        <a:pt x="388" y="114"/>
                        <a:pt x="388" y="114"/>
                      </a:cubicBezTo>
                      <a:cubicBezTo>
                        <a:pt x="390" y="113"/>
                        <a:pt x="390" y="113"/>
                        <a:pt x="390" y="113"/>
                      </a:cubicBezTo>
                      <a:cubicBezTo>
                        <a:pt x="391" y="109"/>
                        <a:pt x="391" y="109"/>
                        <a:pt x="391" y="109"/>
                      </a:cubicBezTo>
                      <a:cubicBezTo>
                        <a:pt x="389" y="108"/>
                        <a:pt x="389" y="108"/>
                        <a:pt x="389" y="108"/>
                      </a:cubicBezTo>
                      <a:cubicBezTo>
                        <a:pt x="390" y="107"/>
                        <a:pt x="390" y="107"/>
                        <a:pt x="390" y="107"/>
                      </a:cubicBezTo>
                      <a:cubicBezTo>
                        <a:pt x="392" y="107"/>
                        <a:pt x="392" y="107"/>
                        <a:pt x="392" y="107"/>
                      </a:cubicBezTo>
                      <a:cubicBezTo>
                        <a:pt x="393" y="106"/>
                        <a:pt x="393" y="106"/>
                        <a:pt x="393" y="106"/>
                      </a:cubicBezTo>
                      <a:cubicBezTo>
                        <a:pt x="388" y="105"/>
                        <a:pt x="388" y="105"/>
                        <a:pt x="388" y="105"/>
                      </a:cubicBezTo>
                      <a:cubicBezTo>
                        <a:pt x="387" y="106"/>
                        <a:pt x="387" y="106"/>
                        <a:pt x="387" y="106"/>
                      </a:cubicBezTo>
                      <a:cubicBezTo>
                        <a:pt x="386" y="106"/>
                        <a:pt x="386" y="106"/>
                        <a:pt x="386" y="106"/>
                      </a:cubicBezTo>
                      <a:cubicBezTo>
                        <a:pt x="386" y="104"/>
                        <a:pt x="386" y="104"/>
                        <a:pt x="386" y="104"/>
                      </a:cubicBezTo>
                      <a:cubicBezTo>
                        <a:pt x="388" y="102"/>
                        <a:pt x="388" y="102"/>
                        <a:pt x="388" y="102"/>
                      </a:cubicBezTo>
                      <a:cubicBezTo>
                        <a:pt x="391" y="102"/>
                        <a:pt x="391" y="102"/>
                        <a:pt x="391" y="102"/>
                      </a:cubicBezTo>
                      <a:cubicBezTo>
                        <a:pt x="393" y="101"/>
                        <a:pt x="393" y="101"/>
                        <a:pt x="393" y="101"/>
                      </a:cubicBezTo>
                      <a:cubicBezTo>
                        <a:pt x="393" y="100"/>
                        <a:pt x="393" y="100"/>
                        <a:pt x="393" y="100"/>
                      </a:cubicBezTo>
                      <a:cubicBezTo>
                        <a:pt x="395" y="97"/>
                        <a:pt x="395" y="97"/>
                        <a:pt x="395" y="97"/>
                      </a:cubicBezTo>
                      <a:cubicBezTo>
                        <a:pt x="395" y="96"/>
                        <a:pt x="395" y="96"/>
                        <a:pt x="395" y="96"/>
                      </a:cubicBezTo>
                      <a:cubicBezTo>
                        <a:pt x="395" y="95"/>
                        <a:pt x="395" y="95"/>
                        <a:pt x="395" y="95"/>
                      </a:cubicBezTo>
                      <a:cubicBezTo>
                        <a:pt x="395" y="94"/>
                        <a:pt x="395" y="94"/>
                        <a:pt x="395" y="94"/>
                      </a:cubicBezTo>
                      <a:cubicBezTo>
                        <a:pt x="397" y="91"/>
                        <a:pt x="397" y="91"/>
                        <a:pt x="397" y="91"/>
                      </a:cubicBezTo>
                      <a:cubicBezTo>
                        <a:pt x="398" y="91"/>
                        <a:pt x="398" y="91"/>
                        <a:pt x="398" y="91"/>
                      </a:cubicBezTo>
                      <a:cubicBezTo>
                        <a:pt x="399" y="93"/>
                        <a:pt x="399" y="93"/>
                        <a:pt x="399" y="93"/>
                      </a:cubicBezTo>
                      <a:cubicBezTo>
                        <a:pt x="400" y="92"/>
                        <a:pt x="400" y="92"/>
                        <a:pt x="400" y="92"/>
                      </a:cubicBezTo>
                      <a:cubicBezTo>
                        <a:pt x="400" y="90"/>
                        <a:pt x="400" y="90"/>
                        <a:pt x="400" y="90"/>
                      </a:cubicBezTo>
                      <a:cubicBezTo>
                        <a:pt x="401" y="90"/>
                        <a:pt x="401" y="90"/>
                        <a:pt x="401" y="90"/>
                      </a:cubicBezTo>
                      <a:cubicBezTo>
                        <a:pt x="400" y="88"/>
                        <a:pt x="400" y="88"/>
                        <a:pt x="400" y="88"/>
                      </a:cubicBezTo>
                      <a:cubicBezTo>
                        <a:pt x="401" y="87"/>
                        <a:pt x="401" y="87"/>
                        <a:pt x="401" y="87"/>
                      </a:cubicBezTo>
                      <a:cubicBezTo>
                        <a:pt x="403" y="86"/>
                        <a:pt x="403" y="86"/>
                        <a:pt x="403" y="86"/>
                      </a:cubicBezTo>
                      <a:cubicBezTo>
                        <a:pt x="404" y="86"/>
                        <a:pt x="404" y="86"/>
                        <a:pt x="404" y="86"/>
                      </a:cubicBezTo>
                      <a:cubicBezTo>
                        <a:pt x="405" y="84"/>
                        <a:pt x="405" y="84"/>
                        <a:pt x="405" y="84"/>
                      </a:cubicBezTo>
                      <a:cubicBezTo>
                        <a:pt x="406" y="84"/>
                        <a:pt x="406" y="84"/>
                        <a:pt x="406" y="84"/>
                      </a:cubicBezTo>
                      <a:cubicBezTo>
                        <a:pt x="407" y="85"/>
                        <a:pt x="407" y="85"/>
                        <a:pt x="407" y="85"/>
                      </a:cubicBezTo>
                      <a:cubicBezTo>
                        <a:pt x="411" y="84"/>
                        <a:pt x="411" y="84"/>
                        <a:pt x="411" y="84"/>
                      </a:cubicBezTo>
                      <a:cubicBezTo>
                        <a:pt x="410" y="83"/>
                        <a:pt x="410" y="83"/>
                        <a:pt x="410" y="83"/>
                      </a:cubicBezTo>
                      <a:cubicBezTo>
                        <a:pt x="410" y="81"/>
                        <a:pt x="410" y="81"/>
                        <a:pt x="410" y="81"/>
                      </a:cubicBezTo>
                      <a:cubicBezTo>
                        <a:pt x="415" y="80"/>
                        <a:pt x="415" y="80"/>
                        <a:pt x="415" y="80"/>
                      </a:cubicBezTo>
                      <a:cubicBezTo>
                        <a:pt x="417" y="79"/>
                        <a:pt x="417" y="79"/>
                        <a:pt x="417" y="79"/>
                      </a:cubicBezTo>
                      <a:cubicBezTo>
                        <a:pt x="418" y="77"/>
                        <a:pt x="418" y="77"/>
                        <a:pt x="418" y="77"/>
                      </a:cubicBezTo>
                      <a:cubicBezTo>
                        <a:pt x="423" y="75"/>
                        <a:pt x="423" y="75"/>
                        <a:pt x="423" y="75"/>
                      </a:cubicBezTo>
                      <a:cubicBezTo>
                        <a:pt x="424" y="73"/>
                        <a:pt x="424" y="73"/>
                        <a:pt x="424" y="73"/>
                      </a:cubicBezTo>
                      <a:cubicBezTo>
                        <a:pt x="423" y="72"/>
                        <a:pt x="423" y="72"/>
                        <a:pt x="423" y="72"/>
                      </a:cubicBezTo>
                      <a:cubicBezTo>
                        <a:pt x="419" y="74"/>
                        <a:pt x="419" y="74"/>
                        <a:pt x="419" y="74"/>
                      </a:cubicBezTo>
                      <a:cubicBezTo>
                        <a:pt x="418" y="73"/>
                        <a:pt x="418" y="73"/>
                        <a:pt x="418" y="73"/>
                      </a:cubicBezTo>
                      <a:cubicBezTo>
                        <a:pt x="416" y="76"/>
                        <a:pt x="416" y="76"/>
                        <a:pt x="416" y="76"/>
                      </a:cubicBezTo>
                      <a:cubicBezTo>
                        <a:pt x="415" y="74"/>
                        <a:pt x="415" y="74"/>
                        <a:pt x="415" y="74"/>
                      </a:cubicBezTo>
                      <a:cubicBezTo>
                        <a:pt x="415" y="70"/>
                        <a:pt x="415" y="70"/>
                        <a:pt x="415" y="70"/>
                      </a:cubicBezTo>
                      <a:cubicBezTo>
                        <a:pt x="416" y="69"/>
                        <a:pt x="416" y="69"/>
                        <a:pt x="416" y="69"/>
                      </a:cubicBezTo>
                      <a:cubicBezTo>
                        <a:pt x="417" y="68"/>
                        <a:pt x="417" y="68"/>
                        <a:pt x="417" y="68"/>
                      </a:cubicBezTo>
                      <a:cubicBezTo>
                        <a:pt x="418" y="68"/>
                        <a:pt x="418" y="68"/>
                        <a:pt x="418" y="68"/>
                      </a:cubicBezTo>
                      <a:cubicBezTo>
                        <a:pt x="418" y="69"/>
                        <a:pt x="418" y="69"/>
                        <a:pt x="418" y="69"/>
                      </a:cubicBezTo>
                      <a:cubicBezTo>
                        <a:pt x="418" y="69"/>
                        <a:pt x="418" y="69"/>
                        <a:pt x="418" y="69"/>
                      </a:cubicBezTo>
                      <a:cubicBezTo>
                        <a:pt x="420" y="68"/>
                        <a:pt x="420" y="68"/>
                        <a:pt x="420" y="68"/>
                      </a:cubicBezTo>
                      <a:cubicBezTo>
                        <a:pt x="418" y="66"/>
                        <a:pt x="418" y="66"/>
                        <a:pt x="418" y="66"/>
                      </a:cubicBezTo>
                      <a:cubicBezTo>
                        <a:pt x="420" y="65"/>
                        <a:pt x="420" y="65"/>
                        <a:pt x="420" y="65"/>
                      </a:cubicBezTo>
                      <a:cubicBezTo>
                        <a:pt x="422" y="66"/>
                        <a:pt x="422" y="66"/>
                        <a:pt x="422" y="66"/>
                      </a:cubicBezTo>
                      <a:cubicBezTo>
                        <a:pt x="424" y="67"/>
                        <a:pt x="424" y="67"/>
                        <a:pt x="424" y="67"/>
                      </a:cubicBezTo>
                      <a:cubicBezTo>
                        <a:pt x="426" y="65"/>
                        <a:pt x="426" y="65"/>
                        <a:pt x="426" y="65"/>
                      </a:cubicBezTo>
                      <a:cubicBezTo>
                        <a:pt x="428" y="65"/>
                        <a:pt x="428" y="65"/>
                        <a:pt x="428" y="65"/>
                      </a:cubicBezTo>
                      <a:cubicBezTo>
                        <a:pt x="433" y="63"/>
                        <a:pt x="433" y="63"/>
                        <a:pt x="433" y="63"/>
                      </a:cubicBezTo>
                      <a:cubicBezTo>
                        <a:pt x="436" y="64"/>
                        <a:pt x="436" y="64"/>
                        <a:pt x="436" y="64"/>
                      </a:cubicBezTo>
                      <a:cubicBezTo>
                        <a:pt x="436" y="65"/>
                        <a:pt x="436" y="65"/>
                        <a:pt x="436" y="65"/>
                      </a:cubicBezTo>
                      <a:cubicBezTo>
                        <a:pt x="434" y="70"/>
                        <a:pt x="434" y="70"/>
                        <a:pt x="434" y="70"/>
                      </a:cubicBezTo>
                      <a:cubicBezTo>
                        <a:pt x="434" y="71"/>
                        <a:pt x="434" y="71"/>
                        <a:pt x="434" y="71"/>
                      </a:cubicBezTo>
                      <a:cubicBezTo>
                        <a:pt x="436" y="73"/>
                        <a:pt x="436" y="73"/>
                        <a:pt x="436" y="73"/>
                      </a:cubicBezTo>
                      <a:cubicBezTo>
                        <a:pt x="437" y="70"/>
                        <a:pt x="437" y="70"/>
                        <a:pt x="437" y="70"/>
                      </a:cubicBezTo>
                      <a:cubicBezTo>
                        <a:pt x="439" y="67"/>
                        <a:pt x="439" y="67"/>
                        <a:pt x="439" y="67"/>
                      </a:cubicBezTo>
                      <a:cubicBezTo>
                        <a:pt x="438" y="65"/>
                        <a:pt x="438" y="65"/>
                        <a:pt x="438" y="65"/>
                      </a:cubicBezTo>
                      <a:cubicBezTo>
                        <a:pt x="439" y="64"/>
                        <a:pt x="439" y="64"/>
                        <a:pt x="439" y="64"/>
                      </a:cubicBezTo>
                      <a:cubicBezTo>
                        <a:pt x="440" y="66"/>
                        <a:pt x="440" y="66"/>
                        <a:pt x="440" y="66"/>
                      </a:cubicBezTo>
                      <a:cubicBezTo>
                        <a:pt x="441" y="69"/>
                        <a:pt x="441" y="69"/>
                        <a:pt x="441" y="69"/>
                      </a:cubicBezTo>
                      <a:cubicBezTo>
                        <a:pt x="442" y="69"/>
                        <a:pt x="442" y="69"/>
                        <a:pt x="442" y="69"/>
                      </a:cubicBezTo>
                      <a:cubicBezTo>
                        <a:pt x="443" y="67"/>
                        <a:pt x="443" y="67"/>
                        <a:pt x="443" y="67"/>
                      </a:cubicBezTo>
                      <a:cubicBezTo>
                        <a:pt x="442" y="65"/>
                        <a:pt x="442" y="65"/>
                        <a:pt x="442" y="65"/>
                      </a:cubicBezTo>
                      <a:cubicBezTo>
                        <a:pt x="444" y="64"/>
                        <a:pt x="444" y="64"/>
                        <a:pt x="444" y="64"/>
                      </a:cubicBezTo>
                      <a:cubicBezTo>
                        <a:pt x="445" y="64"/>
                        <a:pt x="445" y="64"/>
                        <a:pt x="445" y="64"/>
                      </a:cubicBezTo>
                      <a:cubicBezTo>
                        <a:pt x="445" y="66"/>
                        <a:pt x="445" y="66"/>
                        <a:pt x="445" y="66"/>
                      </a:cubicBezTo>
                      <a:cubicBezTo>
                        <a:pt x="448" y="64"/>
                        <a:pt x="448" y="64"/>
                        <a:pt x="448" y="64"/>
                      </a:cubicBezTo>
                      <a:cubicBezTo>
                        <a:pt x="448" y="63"/>
                        <a:pt x="448" y="63"/>
                        <a:pt x="448" y="63"/>
                      </a:cubicBezTo>
                      <a:cubicBezTo>
                        <a:pt x="447" y="61"/>
                        <a:pt x="447" y="61"/>
                        <a:pt x="447" y="61"/>
                      </a:cubicBezTo>
                      <a:cubicBezTo>
                        <a:pt x="449" y="61"/>
                        <a:pt x="449" y="61"/>
                        <a:pt x="449" y="61"/>
                      </a:cubicBezTo>
                      <a:cubicBezTo>
                        <a:pt x="450" y="60"/>
                        <a:pt x="450" y="60"/>
                        <a:pt x="450" y="60"/>
                      </a:cubicBezTo>
                      <a:cubicBezTo>
                        <a:pt x="448" y="59"/>
                        <a:pt x="448" y="59"/>
                        <a:pt x="448" y="59"/>
                      </a:cubicBezTo>
                      <a:cubicBezTo>
                        <a:pt x="450" y="57"/>
                        <a:pt x="450" y="57"/>
                        <a:pt x="450" y="57"/>
                      </a:cubicBezTo>
                      <a:cubicBezTo>
                        <a:pt x="453" y="57"/>
                        <a:pt x="453" y="57"/>
                        <a:pt x="453" y="57"/>
                      </a:cubicBezTo>
                      <a:cubicBezTo>
                        <a:pt x="455" y="56"/>
                        <a:pt x="455" y="56"/>
                        <a:pt x="455" y="56"/>
                      </a:cubicBezTo>
                      <a:cubicBezTo>
                        <a:pt x="456" y="56"/>
                        <a:pt x="456" y="56"/>
                        <a:pt x="456" y="56"/>
                      </a:cubicBezTo>
                      <a:cubicBezTo>
                        <a:pt x="456" y="57"/>
                        <a:pt x="456" y="57"/>
                        <a:pt x="456" y="57"/>
                      </a:cubicBezTo>
                      <a:cubicBezTo>
                        <a:pt x="456" y="58"/>
                        <a:pt x="456" y="58"/>
                        <a:pt x="456" y="58"/>
                      </a:cubicBezTo>
                      <a:cubicBezTo>
                        <a:pt x="459" y="58"/>
                        <a:pt x="459" y="58"/>
                        <a:pt x="459" y="58"/>
                      </a:cubicBezTo>
                      <a:cubicBezTo>
                        <a:pt x="459" y="61"/>
                        <a:pt x="459" y="61"/>
                        <a:pt x="459" y="61"/>
                      </a:cubicBezTo>
                      <a:cubicBezTo>
                        <a:pt x="461" y="62"/>
                        <a:pt x="461" y="62"/>
                        <a:pt x="461" y="62"/>
                      </a:cubicBezTo>
                      <a:cubicBezTo>
                        <a:pt x="459" y="67"/>
                        <a:pt x="459" y="67"/>
                        <a:pt x="459" y="67"/>
                      </a:cubicBezTo>
                      <a:cubicBezTo>
                        <a:pt x="462" y="65"/>
                        <a:pt x="462" y="65"/>
                        <a:pt x="462" y="65"/>
                      </a:cubicBezTo>
                      <a:cubicBezTo>
                        <a:pt x="464" y="61"/>
                        <a:pt x="464" y="61"/>
                        <a:pt x="464" y="61"/>
                      </a:cubicBezTo>
                      <a:cubicBezTo>
                        <a:pt x="461" y="57"/>
                        <a:pt x="461" y="57"/>
                        <a:pt x="461" y="57"/>
                      </a:cubicBezTo>
                      <a:cubicBezTo>
                        <a:pt x="459" y="56"/>
                        <a:pt x="459" y="56"/>
                        <a:pt x="459" y="56"/>
                      </a:cubicBezTo>
                      <a:cubicBezTo>
                        <a:pt x="457" y="53"/>
                        <a:pt x="457" y="53"/>
                        <a:pt x="457" y="53"/>
                      </a:cubicBezTo>
                      <a:cubicBezTo>
                        <a:pt x="455" y="54"/>
                        <a:pt x="455" y="54"/>
                        <a:pt x="455" y="54"/>
                      </a:cubicBezTo>
                      <a:cubicBezTo>
                        <a:pt x="454" y="54"/>
                        <a:pt x="454" y="54"/>
                        <a:pt x="454" y="54"/>
                      </a:cubicBezTo>
                      <a:cubicBezTo>
                        <a:pt x="452" y="54"/>
                        <a:pt x="452" y="54"/>
                        <a:pt x="452" y="54"/>
                      </a:cubicBezTo>
                      <a:cubicBezTo>
                        <a:pt x="451" y="52"/>
                        <a:pt x="451" y="52"/>
                        <a:pt x="451" y="52"/>
                      </a:cubicBezTo>
                      <a:cubicBezTo>
                        <a:pt x="449" y="52"/>
                        <a:pt x="449" y="52"/>
                        <a:pt x="449" y="52"/>
                      </a:cubicBezTo>
                      <a:cubicBezTo>
                        <a:pt x="449" y="51"/>
                        <a:pt x="449" y="51"/>
                        <a:pt x="449" y="51"/>
                      </a:cubicBezTo>
                      <a:cubicBezTo>
                        <a:pt x="450" y="49"/>
                        <a:pt x="450" y="49"/>
                        <a:pt x="450" y="49"/>
                      </a:cubicBezTo>
                      <a:cubicBezTo>
                        <a:pt x="454" y="49"/>
                        <a:pt x="454" y="49"/>
                        <a:pt x="454" y="49"/>
                      </a:cubicBezTo>
                      <a:cubicBezTo>
                        <a:pt x="455" y="48"/>
                        <a:pt x="455" y="48"/>
                        <a:pt x="455" y="48"/>
                      </a:cubicBezTo>
                      <a:cubicBezTo>
                        <a:pt x="457" y="48"/>
                        <a:pt x="457" y="48"/>
                        <a:pt x="457" y="48"/>
                      </a:cubicBezTo>
                      <a:cubicBezTo>
                        <a:pt x="459" y="48"/>
                        <a:pt x="459" y="48"/>
                        <a:pt x="459" y="48"/>
                      </a:cubicBezTo>
                      <a:cubicBezTo>
                        <a:pt x="461" y="48"/>
                        <a:pt x="461" y="48"/>
                        <a:pt x="461" y="48"/>
                      </a:cubicBezTo>
                      <a:cubicBezTo>
                        <a:pt x="462" y="48"/>
                        <a:pt x="462" y="48"/>
                        <a:pt x="462" y="48"/>
                      </a:cubicBezTo>
                      <a:cubicBezTo>
                        <a:pt x="467" y="47"/>
                        <a:pt x="467" y="47"/>
                        <a:pt x="467" y="47"/>
                      </a:cubicBezTo>
                      <a:cubicBezTo>
                        <a:pt x="469" y="48"/>
                        <a:pt x="469" y="48"/>
                        <a:pt x="469" y="48"/>
                      </a:cubicBezTo>
                      <a:cubicBezTo>
                        <a:pt x="471" y="48"/>
                        <a:pt x="471" y="48"/>
                        <a:pt x="471" y="48"/>
                      </a:cubicBezTo>
                      <a:cubicBezTo>
                        <a:pt x="472" y="48"/>
                        <a:pt x="472" y="48"/>
                        <a:pt x="472" y="48"/>
                      </a:cubicBezTo>
                      <a:cubicBezTo>
                        <a:pt x="474" y="47"/>
                        <a:pt x="474" y="47"/>
                        <a:pt x="474" y="47"/>
                      </a:cubicBezTo>
                      <a:cubicBezTo>
                        <a:pt x="473" y="45"/>
                        <a:pt x="473" y="45"/>
                        <a:pt x="473" y="45"/>
                      </a:cubicBezTo>
                      <a:cubicBezTo>
                        <a:pt x="470" y="45"/>
                        <a:pt x="470" y="45"/>
                        <a:pt x="470" y="45"/>
                      </a:cubicBezTo>
                      <a:cubicBezTo>
                        <a:pt x="467" y="44"/>
                        <a:pt x="467" y="44"/>
                        <a:pt x="467" y="44"/>
                      </a:cubicBezTo>
                      <a:cubicBezTo>
                        <a:pt x="465" y="45"/>
                        <a:pt x="465" y="45"/>
                        <a:pt x="465" y="45"/>
                      </a:cubicBezTo>
                      <a:cubicBezTo>
                        <a:pt x="461" y="45"/>
                        <a:pt x="461" y="45"/>
                        <a:pt x="461" y="45"/>
                      </a:cubicBezTo>
                      <a:cubicBezTo>
                        <a:pt x="461" y="43"/>
                        <a:pt x="461" y="43"/>
                        <a:pt x="461" y="43"/>
                      </a:cubicBezTo>
                      <a:cubicBezTo>
                        <a:pt x="460" y="41"/>
                        <a:pt x="460" y="41"/>
                        <a:pt x="460" y="41"/>
                      </a:cubicBezTo>
                      <a:cubicBezTo>
                        <a:pt x="463" y="39"/>
                        <a:pt x="463" y="39"/>
                        <a:pt x="463" y="39"/>
                      </a:cubicBezTo>
                      <a:cubicBezTo>
                        <a:pt x="460" y="38"/>
                        <a:pt x="460" y="38"/>
                        <a:pt x="460" y="38"/>
                      </a:cubicBezTo>
                      <a:cubicBezTo>
                        <a:pt x="458" y="35"/>
                        <a:pt x="458" y="35"/>
                        <a:pt x="458" y="35"/>
                      </a:cubicBezTo>
                      <a:cubicBezTo>
                        <a:pt x="456" y="36"/>
                        <a:pt x="456" y="36"/>
                        <a:pt x="456" y="36"/>
                      </a:cubicBezTo>
                      <a:cubicBezTo>
                        <a:pt x="454" y="33"/>
                        <a:pt x="454" y="33"/>
                        <a:pt x="454" y="33"/>
                      </a:cubicBezTo>
                      <a:cubicBezTo>
                        <a:pt x="454" y="31"/>
                        <a:pt x="454" y="31"/>
                        <a:pt x="454" y="31"/>
                      </a:cubicBezTo>
                      <a:cubicBezTo>
                        <a:pt x="456" y="31"/>
                        <a:pt x="456" y="31"/>
                        <a:pt x="456" y="31"/>
                      </a:cubicBezTo>
                      <a:cubicBezTo>
                        <a:pt x="456" y="28"/>
                        <a:pt x="456" y="28"/>
                        <a:pt x="456" y="28"/>
                      </a:cubicBezTo>
                      <a:cubicBezTo>
                        <a:pt x="454" y="26"/>
                        <a:pt x="454" y="26"/>
                        <a:pt x="454" y="26"/>
                      </a:cubicBezTo>
                      <a:cubicBezTo>
                        <a:pt x="454" y="17"/>
                        <a:pt x="454" y="17"/>
                        <a:pt x="454" y="17"/>
                      </a:cubicBezTo>
                      <a:cubicBezTo>
                        <a:pt x="456" y="15"/>
                        <a:pt x="456" y="15"/>
                        <a:pt x="456" y="15"/>
                      </a:cubicBezTo>
                      <a:cubicBezTo>
                        <a:pt x="455" y="12"/>
                        <a:pt x="455" y="12"/>
                        <a:pt x="455" y="12"/>
                      </a:cubicBezTo>
                      <a:cubicBezTo>
                        <a:pt x="456" y="9"/>
                        <a:pt x="456" y="9"/>
                        <a:pt x="456" y="9"/>
                      </a:cubicBezTo>
                      <a:cubicBezTo>
                        <a:pt x="457" y="7"/>
                        <a:pt x="457" y="7"/>
                        <a:pt x="457" y="7"/>
                      </a:cubicBezTo>
                      <a:cubicBezTo>
                        <a:pt x="456" y="5"/>
                        <a:pt x="456" y="5"/>
                        <a:pt x="456" y="5"/>
                      </a:cubicBezTo>
                      <a:cubicBezTo>
                        <a:pt x="458" y="5"/>
                        <a:pt x="458" y="5"/>
                        <a:pt x="458" y="5"/>
                      </a:cubicBezTo>
                      <a:cubicBezTo>
                        <a:pt x="458" y="3"/>
                        <a:pt x="458" y="3"/>
                        <a:pt x="458" y="3"/>
                      </a:cubicBezTo>
                      <a:cubicBezTo>
                        <a:pt x="461" y="0"/>
                        <a:pt x="461" y="0"/>
                        <a:pt x="461" y="0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5" y="3"/>
                        <a:pt x="465" y="3"/>
                        <a:pt x="465" y="3"/>
                      </a:cubicBezTo>
                      <a:cubicBezTo>
                        <a:pt x="467" y="1"/>
                        <a:pt x="467" y="1"/>
                        <a:pt x="467" y="1"/>
                      </a:cubicBezTo>
                      <a:cubicBezTo>
                        <a:pt x="468" y="1"/>
                        <a:pt x="468" y="1"/>
                        <a:pt x="468" y="1"/>
                      </a:cubicBezTo>
                      <a:cubicBezTo>
                        <a:pt x="469" y="4"/>
                        <a:pt x="469" y="4"/>
                        <a:pt x="469" y="4"/>
                      </a:cubicBezTo>
                      <a:cubicBezTo>
                        <a:pt x="472" y="5"/>
                        <a:pt x="472" y="5"/>
                        <a:pt x="472" y="5"/>
                      </a:cubicBezTo>
                      <a:cubicBezTo>
                        <a:pt x="475" y="2"/>
                        <a:pt x="475" y="2"/>
                        <a:pt x="475" y="2"/>
                      </a:cubicBezTo>
                      <a:cubicBezTo>
                        <a:pt x="475" y="3"/>
                        <a:pt x="475" y="3"/>
                        <a:pt x="475" y="3"/>
                      </a:cubicBezTo>
                      <a:cubicBezTo>
                        <a:pt x="476" y="6"/>
                        <a:pt x="476" y="6"/>
                        <a:pt x="476" y="6"/>
                      </a:cubicBezTo>
                      <a:cubicBezTo>
                        <a:pt x="476" y="6"/>
                        <a:pt x="476" y="6"/>
                        <a:pt x="476" y="6"/>
                      </a:cubicBezTo>
                      <a:cubicBezTo>
                        <a:pt x="479" y="7"/>
                        <a:pt x="479" y="7"/>
                        <a:pt x="479" y="7"/>
                      </a:cubicBezTo>
                      <a:cubicBezTo>
                        <a:pt x="479" y="8"/>
                        <a:pt x="479" y="8"/>
                        <a:pt x="479" y="8"/>
                      </a:cubicBezTo>
                      <a:cubicBezTo>
                        <a:pt x="478" y="9"/>
                        <a:pt x="478" y="9"/>
                        <a:pt x="478" y="9"/>
                      </a:cubicBezTo>
                      <a:cubicBezTo>
                        <a:pt x="478" y="10"/>
                        <a:pt x="478" y="10"/>
                        <a:pt x="478" y="10"/>
                      </a:cubicBezTo>
                      <a:cubicBezTo>
                        <a:pt x="477" y="12"/>
                        <a:pt x="477" y="12"/>
                        <a:pt x="477" y="12"/>
                      </a:cubicBezTo>
                      <a:cubicBezTo>
                        <a:pt x="477" y="14"/>
                        <a:pt x="477" y="14"/>
                        <a:pt x="477" y="14"/>
                      </a:cubicBezTo>
                      <a:cubicBezTo>
                        <a:pt x="475" y="17"/>
                        <a:pt x="475" y="17"/>
                        <a:pt x="475" y="17"/>
                      </a:cubicBezTo>
                      <a:cubicBezTo>
                        <a:pt x="473" y="18"/>
                        <a:pt x="473" y="18"/>
                        <a:pt x="473" y="18"/>
                      </a:cubicBezTo>
                      <a:cubicBezTo>
                        <a:pt x="471" y="20"/>
                        <a:pt x="471" y="20"/>
                        <a:pt x="471" y="20"/>
                      </a:cubicBezTo>
                      <a:cubicBezTo>
                        <a:pt x="473" y="21"/>
                        <a:pt x="473" y="21"/>
                        <a:pt x="473" y="21"/>
                      </a:cubicBezTo>
                      <a:cubicBezTo>
                        <a:pt x="477" y="19"/>
                        <a:pt x="477" y="19"/>
                        <a:pt x="477" y="19"/>
                      </a:cubicBezTo>
                      <a:cubicBezTo>
                        <a:pt x="481" y="14"/>
                        <a:pt x="481" y="14"/>
                        <a:pt x="481" y="14"/>
                      </a:cubicBezTo>
                      <a:cubicBezTo>
                        <a:pt x="482" y="14"/>
                        <a:pt x="482" y="14"/>
                        <a:pt x="482" y="14"/>
                      </a:cubicBezTo>
                      <a:cubicBezTo>
                        <a:pt x="482" y="16"/>
                        <a:pt x="482" y="16"/>
                        <a:pt x="482" y="16"/>
                      </a:cubicBezTo>
                      <a:cubicBezTo>
                        <a:pt x="481" y="18"/>
                        <a:pt x="481" y="18"/>
                        <a:pt x="481" y="18"/>
                      </a:cubicBezTo>
                      <a:cubicBezTo>
                        <a:pt x="481" y="19"/>
                        <a:pt x="481" y="19"/>
                        <a:pt x="481" y="19"/>
                      </a:cubicBezTo>
                      <a:cubicBezTo>
                        <a:pt x="483" y="19"/>
                        <a:pt x="483" y="19"/>
                        <a:pt x="483" y="19"/>
                      </a:cubicBezTo>
                      <a:cubicBezTo>
                        <a:pt x="484" y="17"/>
                        <a:pt x="484" y="17"/>
                        <a:pt x="484" y="17"/>
                      </a:cubicBezTo>
                      <a:cubicBezTo>
                        <a:pt x="486" y="16"/>
                        <a:pt x="486" y="16"/>
                        <a:pt x="486" y="16"/>
                      </a:cubicBezTo>
                      <a:cubicBezTo>
                        <a:pt x="487" y="17"/>
                        <a:pt x="487" y="17"/>
                        <a:pt x="487" y="17"/>
                      </a:cubicBezTo>
                      <a:cubicBezTo>
                        <a:pt x="490" y="16"/>
                        <a:pt x="490" y="16"/>
                        <a:pt x="490" y="16"/>
                      </a:cubicBezTo>
                      <a:cubicBezTo>
                        <a:pt x="490" y="14"/>
                        <a:pt x="490" y="14"/>
                        <a:pt x="490" y="14"/>
                      </a:cubicBezTo>
                      <a:cubicBezTo>
                        <a:pt x="491" y="14"/>
                        <a:pt x="491" y="14"/>
                        <a:pt x="491" y="14"/>
                      </a:cubicBezTo>
                      <a:cubicBezTo>
                        <a:pt x="492" y="15"/>
                        <a:pt x="492" y="15"/>
                        <a:pt x="492" y="15"/>
                      </a:cubicBezTo>
                      <a:cubicBezTo>
                        <a:pt x="494" y="14"/>
                        <a:pt x="494" y="14"/>
                        <a:pt x="494" y="14"/>
                      </a:cubicBezTo>
                      <a:cubicBezTo>
                        <a:pt x="497" y="17"/>
                        <a:pt x="497" y="17"/>
                        <a:pt x="497" y="17"/>
                      </a:cubicBezTo>
                      <a:cubicBezTo>
                        <a:pt x="497" y="18"/>
                        <a:pt x="497" y="18"/>
                        <a:pt x="497" y="18"/>
                      </a:cubicBezTo>
                      <a:cubicBezTo>
                        <a:pt x="498" y="21"/>
                        <a:pt x="498" y="21"/>
                        <a:pt x="498" y="21"/>
                      </a:cubicBezTo>
                      <a:cubicBezTo>
                        <a:pt x="497" y="23"/>
                        <a:pt x="497" y="23"/>
                        <a:pt x="497" y="23"/>
                      </a:cubicBezTo>
                      <a:cubicBezTo>
                        <a:pt x="497" y="25"/>
                        <a:pt x="497" y="25"/>
                        <a:pt x="497" y="25"/>
                      </a:cubicBezTo>
                      <a:cubicBezTo>
                        <a:pt x="496" y="27"/>
                        <a:pt x="496" y="27"/>
                        <a:pt x="496" y="27"/>
                      </a:cubicBezTo>
                      <a:cubicBezTo>
                        <a:pt x="498" y="31"/>
                        <a:pt x="498" y="31"/>
                        <a:pt x="498" y="31"/>
                      </a:cubicBezTo>
                      <a:cubicBezTo>
                        <a:pt x="498" y="34"/>
                        <a:pt x="498" y="34"/>
                        <a:pt x="498" y="34"/>
                      </a:cubicBezTo>
                      <a:cubicBezTo>
                        <a:pt x="496" y="34"/>
                        <a:pt x="496" y="34"/>
                        <a:pt x="496" y="34"/>
                      </a:cubicBezTo>
                      <a:cubicBezTo>
                        <a:pt x="495" y="36"/>
                        <a:pt x="495" y="36"/>
                        <a:pt x="495" y="36"/>
                      </a:cubicBezTo>
                      <a:cubicBezTo>
                        <a:pt x="496" y="36"/>
                        <a:pt x="496" y="36"/>
                        <a:pt x="496" y="36"/>
                      </a:cubicBezTo>
                      <a:cubicBezTo>
                        <a:pt x="500" y="35"/>
                        <a:pt x="500" y="35"/>
                        <a:pt x="500" y="35"/>
                      </a:cubicBezTo>
                      <a:cubicBezTo>
                        <a:pt x="502" y="33"/>
                        <a:pt x="502" y="33"/>
                        <a:pt x="502" y="33"/>
                      </a:cubicBezTo>
                      <a:cubicBezTo>
                        <a:pt x="505" y="32"/>
                        <a:pt x="505" y="32"/>
                        <a:pt x="505" y="32"/>
                      </a:cubicBezTo>
                      <a:cubicBezTo>
                        <a:pt x="506" y="30"/>
                        <a:pt x="506" y="30"/>
                        <a:pt x="506" y="30"/>
                      </a:cubicBezTo>
                      <a:cubicBezTo>
                        <a:pt x="506" y="26"/>
                        <a:pt x="506" y="26"/>
                        <a:pt x="506" y="26"/>
                      </a:cubicBezTo>
                      <a:cubicBezTo>
                        <a:pt x="505" y="23"/>
                        <a:pt x="505" y="23"/>
                        <a:pt x="505" y="23"/>
                      </a:cubicBezTo>
                      <a:cubicBezTo>
                        <a:pt x="504" y="24"/>
                        <a:pt x="504" y="24"/>
                        <a:pt x="504" y="24"/>
                      </a:cubicBezTo>
                      <a:cubicBezTo>
                        <a:pt x="502" y="23"/>
                        <a:pt x="502" y="23"/>
                        <a:pt x="502" y="23"/>
                      </a:cubicBezTo>
                      <a:cubicBezTo>
                        <a:pt x="502" y="21"/>
                        <a:pt x="502" y="21"/>
                        <a:pt x="502" y="21"/>
                      </a:cubicBezTo>
                      <a:cubicBezTo>
                        <a:pt x="503" y="20"/>
                        <a:pt x="503" y="20"/>
                        <a:pt x="503" y="20"/>
                      </a:cubicBezTo>
                      <a:cubicBezTo>
                        <a:pt x="504" y="20"/>
                        <a:pt x="504" y="20"/>
                        <a:pt x="504" y="20"/>
                      </a:cubicBezTo>
                      <a:cubicBezTo>
                        <a:pt x="505" y="21"/>
                        <a:pt x="505" y="21"/>
                        <a:pt x="505" y="21"/>
                      </a:cubicBezTo>
                      <a:cubicBezTo>
                        <a:pt x="507" y="21"/>
                        <a:pt x="507" y="21"/>
                        <a:pt x="507" y="21"/>
                      </a:cubicBezTo>
                      <a:cubicBezTo>
                        <a:pt x="510" y="20"/>
                        <a:pt x="510" y="20"/>
                        <a:pt x="510" y="20"/>
                      </a:cubicBezTo>
                      <a:cubicBezTo>
                        <a:pt x="512" y="17"/>
                        <a:pt x="512" y="17"/>
                        <a:pt x="512" y="17"/>
                      </a:cubicBezTo>
                      <a:cubicBezTo>
                        <a:pt x="514" y="17"/>
                        <a:pt x="514" y="17"/>
                        <a:pt x="514" y="17"/>
                      </a:cubicBezTo>
                      <a:cubicBezTo>
                        <a:pt x="516" y="17"/>
                        <a:pt x="516" y="17"/>
                        <a:pt x="516" y="17"/>
                      </a:cubicBezTo>
                      <a:cubicBezTo>
                        <a:pt x="517" y="15"/>
                        <a:pt x="517" y="15"/>
                        <a:pt x="517" y="15"/>
                      </a:cubicBezTo>
                      <a:cubicBezTo>
                        <a:pt x="519" y="14"/>
                        <a:pt x="519" y="14"/>
                        <a:pt x="519" y="14"/>
                      </a:cubicBezTo>
                      <a:cubicBezTo>
                        <a:pt x="520" y="14"/>
                        <a:pt x="520" y="14"/>
                        <a:pt x="520" y="14"/>
                      </a:cubicBezTo>
                      <a:cubicBezTo>
                        <a:pt x="521" y="13"/>
                        <a:pt x="521" y="13"/>
                        <a:pt x="521" y="13"/>
                      </a:cubicBezTo>
                      <a:cubicBezTo>
                        <a:pt x="523" y="12"/>
                        <a:pt x="523" y="12"/>
                        <a:pt x="523" y="12"/>
                      </a:cubicBezTo>
                      <a:cubicBezTo>
                        <a:pt x="524" y="13"/>
                        <a:pt x="524" y="13"/>
                        <a:pt x="524" y="13"/>
                      </a:cubicBezTo>
                      <a:cubicBezTo>
                        <a:pt x="526" y="13"/>
                        <a:pt x="526" y="13"/>
                        <a:pt x="526" y="13"/>
                      </a:cubicBezTo>
                      <a:cubicBezTo>
                        <a:pt x="526" y="14"/>
                        <a:pt x="526" y="14"/>
                        <a:pt x="526" y="14"/>
                      </a:cubicBezTo>
                      <a:cubicBezTo>
                        <a:pt x="526" y="15"/>
                        <a:pt x="526" y="15"/>
                        <a:pt x="526" y="15"/>
                      </a:cubicBezTo>
                      <a:cubicBezTo>
                        <a:pt x="526" y="16"/>
                        <a:pt x="526" y="16"/>
                        <a:pt x="526" y="16"/>
                      </a:cubicBezTo>
                      <a:cubicBezTo>
                        <a:pt x="530" y="16"/>
                        <a:pt x="530" y="16"/>
                        <a:pt x="530" y="16"/>
                      </a:cubicBezTo>
                      <a:cubicBezTo>
                        <a:pt x="531" y="17"/>
                        <a:pt x="531" y="17"/>
                        <a:pt x="531" y="17"/>
                      </a:cubicBezTo>
                      <a:cubicBezTo>
                        <a:pt x="533" y="17"/>
                        <a:pt x="533" y="17"/>
                        <a:pt x="533" y="17"/>
                      </a:cubicBezTo>
                      <a:cubicBezTo>
                        <a:pt x="540" y="22"/>
                        <a:pt x="540" y="22"/>
                        <a:pt x="540" y="22"/>
                      </a:cubicBezTo>
                      <a:cubicBezTo>
                        <a:pt x="542" y="22"/>
                        <a:pt x="542" y="22"/>
                        <a:pt x="542" y="22"/>
                      </a:cubicBezTo>
                      <a:cubicBezTo>
                        <a:pt x="543" y="24"/>
                        <a:pt x="543" y="24"/>
                        <a:pt x="543" y="24"/>
                      </a:cubicBezTo>
                      <a:cubicBezTo>
                        <a:pt x="542" y="26"/>
                        <a:pt x="542" y="26"/>
                        <a:pt x="542" y="26"/>
                      </a:cubicBezTo>
                      <a:cubicBezTo>
                        <a:pt x="546" y="30"/>
                        <a:pt x="546" y="30"/>
                        <a:pt x="546" y="30"/>
                      </a:cubicBezTo>
                      <a:cubicBezTo>
                        <a:pt x="547" y="29"/>
                        <a:pt x="547" y="29"/>
                        <a:pt x="547" y="29"/>
                      </a:cubicBezTo>
                      <a:cubicBezTo>
                        <a:pt x="547" y="28"/>
                        <a:pt x="547" y="28"/>
                        <a:pt x="547" y="28"/>
                      </a:cubicBezTo>
                      <a:cubicBezTo>
                        <a:pt x="548" y="27"/>
                        <a:pt x="548" y="27"/>
                        <a:pt x="548" y="27"/>
                      </a:cubicBezTo>
                      <a:cubicBezTo>
                        <a:pt x="548" y="26"/>
                        <a:pt x="548" y="26"/>
                        <a:pt x="548" y="26"/>
                      </a:cubicBezTo>
                      <a:cubicBezTo>
                        <a:pt x="547" y="25"/>
                        <a:pt x="547" y="25"/>
                        <a:pt x="547" y="25"/>
                      </a:cubicBezTo>
                      <a:cubicBezTo>
                        <a:pt x="545" y="25"/>
                        <a:pt x="545" y="25"/>
                        <a:pt x="545" y="25"/>
                      </a:cubicBezTo>
                      <a:cubicBezTo>
                        <a:pt x="545" y="23"/>
                        <a:pt x="545" y="23"/>
                        <a:pt x="545" y="23"/>
                      </a:cubicBezTo>
                      <a:cubicBezTo>
                        <a:pt x="547" y="22"/>
                        <a:pt x="547" y="22"/>
                        <a:pt x="547" y="22"/>
                      </a:cubicBezTo>
                      <a:cubicBezTo>
                        <a:pt x="548" y="22"/>
                        <a:pt x="548" y="22"/>
                        <a:pt x="548" y="22"/>
                      </a:cubicBezTo>
                      <a:cubicBezTo>
                        <a:pt x="549" y="24"/>
                        <a:pt x="549" y="24"/>
                        <a:pt x="549" y="24"/>
                      </a:cubicBezTo>
                      <a:cubicBezTo>
                        <a:pt x="550" y="25"/>
                        <a:pt x="550" y="25"/>
                        <a:pt x="550" y="25"/>
                      </a:cubicBezTo>
                      <a:cubicBezTo>
                        <a:pt x="550" y="27"/>
                        <a:pt x="550" y="27"/>
                        <a:pt x="550" y="27"/>
                      </a:cubicBezTo>
                      <a:cubicBezTo>
                        <a:pt x="553" y="29"/>
                        <a:pt x="553" y="29"/>
                        <a:pt x="553" y="29"/>
                      </a:cubicBezTo>
                      <a:cubicBezTo>
                        <a:pt x="554" y="31"/>
                        <a:pt x="554" y="31"/>
                        <a:pt x="554" y="31"/>
                      </a:cubicBezTo>
                      <a:cubicBezTo>
                        <a:pt x="555" y="32"/>
                        <a:pt x="555" y="32"/>
                        <a:pt x="555" y="32"/>
                      </a:cubicBezTo>
                      <a:cubicBezTo>
                        <a:pt x="556" y="31"/>
                        <a:pt x="556" y="31"/>
                        <a:pt x="556" y="31"/>
                      </a:cubicBezTo>
                      <a:cubicBezTo>
                        <a:pt x="557" y="31"/>
                        <a:pt x="557" y="31"/>
                        <a:pt x="557" y="31"/>
                      </a:cubicBezTo>
                      <a:cubicBezTo>
                        <a:pt x="558" y="32"/>
                        <a:pt x="558" y="32"/>
                        <a:pt x="558" y="32"/>
                      </a:cubicBezTo>
                      <a:cubicBezTo>
                        <a:pt x="559" y="34"/>
                        <a:pt x="559" y="34"/>
                        <a:pt x="559" y="34"/>
                      </a:cubicBezTo>
                      <a:cubicBezTo>
                        <a:pt x="560" y="36"/>
                        <a:pt x="560" y="36"/>
                        <a:pt x="560" y="36"/>
                      </a:cubicBezTo>
                      <a:cubicBezTo>
                        <a:pt x="561" y="38"/>
                        <a:pt x="561" y="38"/>
                        <a:pt x="561" y="38"/>
                      </a:cubicBezTo>
                      <a:cubicBezTo>
                        <a:pt x="561" y="39"/>
                        <a:pt x="561" y="39"/>
                        <a:pt x="561" y="39"/>
                      </a:cubicBezTo>
                      <a:cubicBezTo>
                        <a:pt x="560" y="39"/>
                        <a:pt x="560" y="39"/>
                        <a:pt x="560" y="39"/>
                      </a:cubicBezTo>
                      <a:cubicBezTo>
                        <a:pt x="560" y="38"/>
                        <a:pt x="560" y="38"/>
                        <a:pt x="560" y="38"/>
                      </a:cubicBezTo>
                      <a:cubicBezTo>
                        <a:pt x="559" y="37"/>
                        <a:pt x="559" y="37"/>
                        <a:pt x="559" y="37"/>
                      </a:cubicBezTo>
                      <a:cubicBezTo>
                        <a:pt x="558" y="37"/>
                        <a:pt x="558" y="37"/>
                        <a:pt x="558" y="37"/>
                      </a:cubicBezTo>
                      <a:cubicBezTo>
                        <a:pt x="557" y="38"/>
                        <a:pt x="557" y="38"/>
                        <a:pt x="557" y="38"/>
                      </a:cubicBezTo>
                      <a:cubicBezTo>
                        <a:pt x="556" y="37"/>
                        <a:pt x="556" y="37"/>
                        <a:pt x="556" y="37"/>
                      </a:cubicBezTo>
                      <a:cubicBezTo>
                        <a:pt x="553" y="35"/>
                        <a:pt x="553" y="35"/>
                        <a:pt x="553" y="35"/>
                      </a:cubicBezTo>
                      <a:cubicBezTo>
                        <a:pt x="550" y="35"/>
                        <a:pt x="550" y="35"/>
                        <a:pt x="550" y="35"/>
                      </a:cubicBezTo>
                      <a:cubicBezTo>
                        <a:pt x="550" y="36"/>
                        <a:pt x="550" y="36"/>
                        <a:pt x="550" y="36"/>
                      </a:cubicBezTo>
                      <a:cubicBezTo>
                        <a:pt x="551" y="38"/>
                        <a:pt x="551" y="38"/>
                        <a:pt x="551" y="38"/>
                      </a:cubicBezTo>
                      <a:cubicBezTo>
                        <a:pt x="553" y="38"/>
                        <a:pt x="553" y="38"/>
                        <a:pt x="553" y="38"/>
                      </a:cubicBezTo>
                      <a:cubicBezTo>
                        <a:pt x="554" y="39"/>
                        <a:pt x="554" y="39"/>
                        <a:pt x="554" y="39"/>
                      </a:cubicBezTo>
                      <a:cubicBezTo>
                        <a:pt x="554" y="39"/>
                        <a:pt x="554" y="39"/>
                        <a:pt x="554" y="39"/>
                      </a:cubicBezTo>
                      <a:cubicBezTo>
                        <a:pt x="555" y="42"/>
                        <a:pt x="555" y="42"/>
                        <a:pt x="555" y="42"/>
                      </a:cubicBezTo>
                      <a:cubicBezTo>
                        <a:pt x="556" y="42"/>
                        <a:pt x="556" y="42"/>
                        <a:pt x="556" y="42"/>
                      </a:cubicBezTo>
                      <a:cubicBezTo>
                        <a:pt x="557" y="42"/>
                        <a:pt x="557" y="42"/>
                        <a:pt x="557" y="42"/>
                      </a:cubicBezTo>
                      <a:cubicBezTo>
                        <a:pt x="558" y="39"/>
                        <a:pt x="558" y="39"/>
                        <a:pt x="558" y="39"/>
                      </a:cubicBezTo>
                      <a:cubicBezTo>
                        <a:pt x="559" y="39"/>
                        <a:pt x="559" y="39"/>
                        <a:pt x="559" y="39"/>
                      </a:cubicBezTo>
                      <a:cubicBezTo>
                        <a:pt x="560" y="41"/>
                        <a:pt x="560" y="41"/>
                        <a:pt x="560" y="41"/>
                      </a:cubicBezTo>
                      <a:cubicBezTo>
                        <a:pt x="561" y="42"/>
                        <a:pt x="561" y="42"/>
                        <a:pt x="561" y="42"/>
                      </a:cubicBezTo>
                      <a:cubicBezTo>
                        <a:pt x="562" y="41"/>
                        <a:pt x="562" y="41"/>
                        <a:pt x="562" y="41"/>
                      </a:cubicBezTo>
                      <a:cubicBezTo>
                        <a:pt x="563" y="42"/>
                        <a:pt x="563" y="42"/>
                        <a:pt x="563" y="42"/>
                      </a:cubicBezTo>
                      <a:cubicBezTo>
                        <a:pt x="563" y="43"/>
                        <a:pt x="563" y="43"/>
                        <a:pt x="563" y="43"/>
                      </a:cubicBezTo>
                      <a:cubicBezTo>
                        <a:pt x="563" y="44"/>
                        <a:pt x="563" y="44"/>
                        <a:pt x="563" y="44"/>
                      </a:cubicBezTo>
                      <a:cubicBezTo>
                        <a:pt x="565" y="47"/>
                        <a:pt x="565" y="47"/>
                        <a:pt x="565" y="47"/>
                      </a:cubicBezTo>
                      <a:cubicBezTo>
                        <a:pt x="565" y="50"/>
                        <a:pt x="565" y="50"/>
                        <a:pt x="565" y="50"/>
                      </a:cubicBezTo>
                      <a:cubicBezTo>
                        <a:pt x="565" y="54"/>
                        <a:pt x="565" y="54"/>
                        <a:pt x="565" y="54"/>
                      </a:cubicBezTo>
                      <a:cubicBezTo>
                        <a:pt x="564" y="57"/>
                        <a:pt x="564" y="57"/>
                        <a:pt x="564" y="57"/>
                      </a:cubicBezTo>
                      <a:cubicBezTo>
                        <a:pt x="563" y="58"/>
                        <a:pt x="563" y="58"/>
                        <a:pt x="563" y="58"/>
                      </a:cubicBezTo>
                      <a:cubicBezTo>
                        <a:pt x="562" y="59"/>
                        <a:pt x="562" y="59"/>
                        <a:pt x="562" y="59"/>
                      </a:cubicBezTo>
                      <a:cubicBezTo>
                        <a:pt x="563" y="61"/>
                        <a:pt x="563" y="61"/>
                        <a:pt x="563" y="61"/>
                      </a:cubicBezTo>
                      <a:cubicBezTo>
                        <a:pt x="561" y="64"/>
                        <a:pt x="561" y="64"/>
                        <a:pt x="561" y="64"/>
                      </a:cubicBezTo>
                      <a:cubicBezTo>
                        <a:pt x="561" y="65"/>
                        <a:pt x="561" y="65"/>
                        <a:pt x="561" y="65"/>
                      </a:cubicBezTo>
                      <a:cubicBezTo>
                        <a:pt x="563" y="66"/>
                        <a:pt x="563" y="66"/>
                        <a:pt x="563" y="66"/>
                      </a:cubicBezTo>
                      <a:cubicBezTo>
                        <a:pt x="563" y="68"/>
                        <a:pt x="563" y="68"/>
                        <a:pt x="563" y="68"/>
                      </a:cubicBezTo>
                      <a:cubicBezTo>
                        <a:pt x="560" y="69"/>
                        <a:pt x="560" y="69"/>
                        <a:pt x="560" y="69"/>
                      </a:cubicBezTo>
                      <a:cubicBezTo>
                        <a:pt x="560" y="71"/>
                        <a:pt x="560" y="71"/>
                        <a:pt x="560" y="71"/>
                      </a:cubicBezTo>
                      <a:cubicBezTo>
                        <a:pt x="560" y="72"/>
                        <a:pt x="560" y="72"/>
                        <a:pt x="560" y="72"/>
                      </a:cubicBezTo>
                      <a:cubicBezTo>
                        <a:pt x="559" y="75"/>
                        <a:pt x="559" y="75"/>
                        <a:pt x="559" y="75"/>
                      </a:cubicBezTo>
                      <a:cubicBezTo>
                        <a:pt x="557" y="76"/>
                        <a:pt x="557" y="76"/>
                        <a:pt x="557" y="76"/>
                      </a:cubicBezTo>
                      <a:cubicBezTo>
                        <a:pt x="558" y="77"/>
                        <a:pt x="558" y="77"/>
                        <a:pt x="558" y="77"/>
                      </a:cubicBezTo>
                      <a:cubicBezTo>
                        <a:pt x="557" y="79"/>
                        <a:pt x="557" y="79"/>
                        <a:pt x="557" y="79"/>
                      </a:cubicBezTo>
                      <a:cubicBezTo>
                        <a:pt x="555" y="80"/>
                        <a:pt x="555" y="80"/>
                        <a:pt x="555" y="80"/>
                      </a:cubicBezTo>
                      <a:cubicBezTo>
                        <a:pt x="553" y="82"/>
                        <a:pt x="553" y="82"/>
                        <a:pt x="553" y="82"/>
                      </a:cubicBezTo>
                      <a:cubicBezTo>
                        <a:pt x="551" y="82"/>
                        <a:pt x="551" y="82"/>
                        <a:pt x="551" y="82"/>
                      </a:cubicBezTo>
                      <a:cubicBezTo>
                        <a:pt x="553" y="83"/>
                        <a:pt x="553" y="83"/>
                        <a:pt x="553" y="83"/>
                      </a:cubicBezTo>
                      <a:cubicBezTo>
                        <a:pt x="555" y="83"/>
                        <a:pt x="555" y="83"/>
                        <a:pt x="555" y="83"/>
                      </a:cubicBezTo>
                      <a:cubicBezTo>
                        <a:pt x="556" y="81"/>
                        <a:pt x="556" y="81"/>
                        <a:pt x="556" y="81"/>
                      </a:cubicBezTo>
                      <a:cubicBezTo>
                        <a:pt x="556" y="81"/>
                        <a:pt x="556" y="81"/>
                        <a:pt x="556" y="81"/>
                      </a:cubicBezTo>
                      <a:cubicBezTo>
                        <a:pt x="557" y="84"/>
                        <a:pt x="557" y="84"/>
                        <a:pt x="557" y="84"/>
                      </a:cubicBezTo>
                      <a:cubicBezTo>
                        <a:pt x="556" y="88"/>
                        <a:pt x="556" y="88"/>
                        <a:pt x="556" y="88"/>
                      </a:cubicBezTo>
                      <a:cubicBezTo>
                        <a:pt x="554" y="90"/>
                        <a:pt x="554" y="90"/>
                        <a:pt x="554" y="90"/>
                      </a:cubicBezTo>
                      <a:cubicBezTo>
                        <a:pt x="553" y="95"/>
                        <a:pt x="553" y="95"/>
                        <a:pt x="553" y="95"/>
                      </a:cubicBezTo>
                      <a:cubicBezTo>
                        <a:pt x="554" y="97"/>
                        <a:pt x="554" y="97"/>
                        <a:pt x="554" y="97"/>
                      </a:cubicBezTo>
                      <a:cubicBezTo>
                        <a:pt x="555" y="98"/>
                        <a:pt x="555" y="98"/>
                        <a:pt x="555" y="98"/>
                      </a:cubicBezTo>
                      <a:cubicBezTo>
                        <a:pt x="553" y="103"/>
                        <a:pt x="553" y="103"/>
                        <a:pt x="553" y="103"/>
                      </a:cubicBezTo>
                      <a:cubicBezTo>
                        <a:pt x="550" y="104"/>
                        <a:pt x="550" y="104"/>
                        <a:pt x="550" y="104"/>
                      </a:cubicBezTo>
                      <a:cubicBezTo>
                        <a:pt x="550" y="103"/>
                        <a:pt x="550" y="103"/>
                        <a:pt x="550" y="103"/>
                      </a:cubicBezTo>
                      <a:cubicBezTo>
                        <a:pt x="548" y="103"/>
                        <a:pt x="548" y="103"/>
                        <a:pt x="548" y="103"/>
                      </a:cubicBezTo>
                      <a:cubicBezTo>
                        <a:pt x="548" y="105"/>
                        <a:pt x="548" y="105"/>
                        <a:pt x="548" y="105"/>
                      </a:cubicBezTo>
                      <a:cubicBezTo>
                        <a:pt x="548" y="106"/>
                        <a:pt x="548" y="106"/>
                        <a:pt x="548" y="106"/>
                      </a:cubicBezTo>
                      <a:cubicBezTo>
                        <a:pt x="549" y="110"/>
                        <a:pt x="549" y="110"/>
                        <a:pt x="549" y="110"/>
                      </a:cubicBezTo>
                      <a:cubicBezTo>
                        <a:pt x="548" y="111"/>
                        <a:pt x="548" y="111"/>
                        <a:pt x="548" y="111"/>
                      </a:cubicBezTo>
                      <a:cubicBezTo>
                        <a:pt x="547" y="113"/>
                        <a:pt x="547" y="113"/>
                        <a:pt x="547" y="113"/>
                      </a:cubicBezTo>
                      <a:cubicBezTo>
                        <a:pt x="546" y="115"/>
                        <a:pt x="546" y="115"/>
                        <a:pt x="546" y="115"/>
                      </a:cubicBezTo>
                      <a:cubicBezTo>
                        <a:pt x="547" y="118"/>
                        <a:pt x="547" y="118"/>
                        <a:pt x="547" y="118"/>
                      </a:cubicBezTo>
                      <a:cubicBezTo>
                        <a:pt x="547" y="120"/>
                        <a:pt x="547" y="120"/>
                        <a:pt x="547" y="120"/>
                      </a:cubicBezTo>
                      <a:cubicBezTo>
                        <a:pt x="546" y="122"/>
                        <a:pt x="546" y="122"/>
                        <a:pt x="546" y="122"/>
                      </a:cubicBezTo>
                      <a:cubicBezTo>
                        <a:pt x="546" y="123"/>
                        <a:pt x="546" y="123"/>
                        <a:pt x="546" y="123"/>
                      </a:cubicBezTo>
                      <a:cubicBezTo>
                        <a:pt x="547" y="124"/>
                        <a:pt x="547" y="124"/>
                        <a:pt x="547" y="124"/>
                      </a:cubicBezTo>
                      <a:cubicBezTo>
                        <a:pt x="546" y="129"/>
                        <a:pt x="546" y="129"/>
                        <a:pt x="546" y="129"/>
                      </a:cubicBezTo>
                      <a:cubicBezTo>
                        <a:pt x="545" y="131"/>
                        <a:pt x="545" y="131"/>
                        <a:pt x="545" y="131"/>
                      </a:cubicBezTo>
                      <a:cubicBezTo>
                        <a:pt x="544" y="132"/>
                        <a:pt x="544" y="132"/>
                        <a:pt x="544" y="132"/>
                      </a:cubicBezTo>
                      <a:cubicBezTo>
                        <a:pt x="545" y="131"/>
                        <a:pt x="545" y="131"/>
                        <a:pt x="545" y="131"/>
                      </a:cubicBezTo>
                      <a:cubicBezTo>
                        <a:pt x="547" y="131"/>
                        <a:pt x="547" y="131"/>
                        <a:pt x="547" y="131"/>
                      </a:cubicBezTo>
                      <a:cubicBezTo>
                        <a:pt x="548" y="129"/>
                        <a:pt x="548" y="129"/>
                        <a:pt x="548" y="129"/>
                      </a:cubicBezTo>
                      <a:cubicBezTo>
                        <a:pt x="549" y="127"/>
                        <a:pt x="549" y="127"/>
                        <a:pt x="549" y="127"/>
                      </a:cubicBezTo>
                      <a:cubicBezTo>
                        <a:pt x="549" y="126"/>
                        <a:pt x="549" y="126"/>
                        <a:pt x="549" y="126"/>
                      </a:cubicBezTo>
                      <a:cubicBezTo>
                        <a:pt x="550" y="125"/>
                        <a:pt x="550" y="125"/>
                        <a:pt x="550" y="125"/>
                      </a:cubicBezTo>
                      <a:cubicBezTo>
                        <a:pt x="552" y="125"/>
                        <a:pt x="552" y="125"/>
                        <a:pt x="552" y="125"/>
                      </a:cubicBezTo>
                      <a:cubicBezTo>
                        <a:pt x="553" y="125"/>
                        <a:pt x="553" y="125"/>
                        <a:pt x="553" y="125"/>
                      </a:cubicBezTo>
                      <a:cubicBezTo>
                        <a:pt x="552" y="124"/>
                        <a:pt x="552" y="124"/>
                        <a:pt x="552" y="124"/>
                      </a:cubicBezTo>
                      <a:cubicBezTo>
                        <a:pt x="549" y="121"/>
                        <a:pt x="549" y="121"/>
                        <a:pt x="549" y="121"/>
                      </a:cubicBezTo>
                      <a:cubicBezTo>
                        <a:pt x="548" y="118"/>
                        <a:pt x="548" y="118"/>
                        <a:pt x="548" y="118"/>
                      </a:cubicBezTo>
                      <a:cubicBezTo>
                        <a:pt x="549" y="116"/>
                        <a:pt x="549" y="116"/>
                        <a:pt x="549" y="116"/>
                      </a:cubicBezTo>
                      <a:cubicBezTo>
                        <a:pt x="552" y="116"/>
                        <a:pt x="552" y="116"/>
                        <a:pt x="552" y="116"/>
                      </a:cubicBezTo>
                      <a:cubicBezTo>
                        <a:pt x="556" y="115"/>
                        <a:pt x="556" y="115"/>
                        <a:pt x="556" y="115"/>
                      </a:cubicBezTo>
                      <a:cubicBezTo>
                        <a:pt x="559" y="113"/>
                        <a:pt x="559" y="113"/>
                        <a:pt x="559" y="113"/>
                      </a:cubicBezTo>
                      <a:cubicBezTo>
                        <a:pt x="560" y="113"/>
                        <a:pt x="560" y="113"/>
                        <a:pt x="560" y="113"/>
                      </a:cubicBezTo>
                      <a:cubicBezTo>
                        <a:pt x="561" y="112"/>
                        <a:pt x="561" y="112"/>
                        <a:pt x="561" y="112"/>
                      </a:cubicBezTo>
                      <a:cubicBezTo>
                        <a:pt x="560" y="110"/>
                        <a:pt x="560" y="110"/>
                        <a:pt x="560" y="110"/>
                      </a:cubicBezTo>
                      <a:cubicBezTo>
                        <a:pt x="563" y="108"/>
                        <a:pt x="563" y="108"/>
                        <a:pt x="563" y="108"/>
                      </a:cubicBezTo>
                      <a:cubicBezTo>
                        <a:pt x="564" y="105"/>
                        <a:pt x="564" y="105"/>
                        <a:pt x="564" y="105"/>
                      </a:cubicBezTo>
                      <a:cubicBezTo>
                        <a:pt x="563" y="103"/>
                        <a:pt x="563" y="103"/>
                        <a:pt x="563" y="103"/>
                      </a:cubicBezTo>
                      <a:cubicBezTo>
                        <a:pt x="563" y="102"/>
                        <a:pt x="563" y="102"/>
                        <a:pt x="563" y="102"/>
                      </a:cubicBezTo>
                      <a:cubicBezTo>
                        <a:pt x="565" y="104"/>
                        <a:pt x="565" y="104"/>
                        <a:pt x="565" y="104"/>
                      </a:cubicBezTo>
                      <a:cubicBezTo>
                        <a:pt x="568" y="103"/>
                        <a:pt x="568" y="103"/>
                        <a:pt x="568" y="103"/>
                      </a:cubicBezTo>
                      <a:cubicBezTo>
                        <a:pt x="569" y="101"/>
                        <a:pt x="569" y="101"/>
                        <a:pt x="569" y="101"/>
                      </a:cubicBezTo>
                      <a:cubicBezTo>
                        <a:pt x="568" y="99"/>
                        <a:pt x="568" y="99"/>
                        <a:pt x="568" y="99"/>
                      </a:cubicBezTo>
                      <a:cubicBezTo>
                        <a:pt x="571" y="96"/>
                        <a:pt x="571" y="96"/>
                        <a:pt x="571" y="96"/>
                      </a:cubicBezTo>
                      <a:cubicBezTo>
                        <a:pt x="572" y="94"/>
                        <a:pt x="572" y="94"/>
                        <a:pt x="572" y="94"/>
                      </a:cubicBezTo>
                      <a:cubicBezTo>
                        <a:pt x="571" y="93"/>
                        <a:pt x="571" y="93"/>
                        <a:pt x="571" y="93"/>
                      </a:cubicBezTo>
                      <a:cubicBezTo>
                        <a:pt x="567" y="95"/>
                        <a:pt x="567" y="95"/>
                        <a:pt x="567" y="95"/>
                      </a:cubicBezTo>
                      <a:cubicBezTo>
                        <a:pt x="567" y="96"/>
                        <a:pt x="567" y="96"/>
                        <a:pt x="567" y="96"/>
                      </a:cubicBezTo>
                      <a:cubicBezTo>
                        <a:pt x="564" y="98"/>
                        <a:pt x="564" y="98"/>
                        <a:pt x="564" y="98"/>
                      </a:cubicBezTo>
                      <a:cubicBezTo>
                        <a:pt x="562" y="97"/>
                        <a:pt x="562" y="97"/>
                        <a:pt x="562" y="97"/>
                      </a:cubicBezTo>
                      <a:cubicBezTo>
                        <a:pt x="561" y="95"/>
                        <a:pt x="561" y="95"/>
                        <a:pt x="561" y="95"/>
                      </a:cubicBezTo>
                      <a:cubicBezTo>
                        <a:pt x="562" y="93"/>
                        <a:pt x="562" y="93"/>
                        <a:pt x="562" y="93"/>
                      </a:cubicBezTo>
                      <a:cubicBezTo>
                        <a:pt x="562" y="89"/>
                        <a:pt x="562" y="89"/>
                        <a:pt x="562" y="89"/>
                      </a:cubicBezTo>
                      <a:cubicBezTo>
                        <a:pt x="564" y="88"/>
                        <a:pt x="564" y="88"/>
                        <a:pt x="564" y="88"/>
                      </a:cubicBezTo>
                      <a:cubicBezTo>
                        <a:pt x="566" y="87"/>
                        <a:pt x="566" y="87"/>
                        <a:pt x="566" y="87"/>
                      </a:cubicBezTo>
                      <a:cubicBezTo>
                        <a:pt x="570" y="90"/>
                        <a:pt x="570" y="90"/>
                        <a:pt x="570" y="90"/>
                      </a:cubicBezTo>
                      <a:cubicBezTo>
                        <a:pt x="571" y="88"/>
                        <a:pt x="571" y="88"/>
                        <a:pt x="571" y="88"/>
                      </a:cubicBezTo>
                      <a:cubicBezTo>
                        <a:pt x="571" y="86"/>
                        <a:pt x="571" y="86"/>
                        <a:pt x="571" y="86"/>
                      </a:cubicBezTo>
                      <a:cubicBezTo>
                        <a:pt x="573" y="85"/>
                        <a:pt x="573" y="85"/>
                        <a:pt x="573" y="85"/>
                      </a:cubicBezTo>
                      <a:cubicBezTo>
                        <a:pt x="574" y="86"/>
                        <a:pt x="574" y="86"/>
                        <a:pt x="574" y="86"/>
                      </a:cubicBezTo>
                      <a:cubicBezTo>
                        <a:pt x="573" y="88"/>
                        <a:pt x="573" y="88"/>
                        <a:pt x="573" y="88"/>
                      </a:cubicBezTo>
                      <a:cubicBezTo>
                        <a:pt x="573" y="90"/>
                        <a:pt x="573" y="90"/>
                        <a:pt x="573" y="90"/>
                      </a:cubicBezTo>
                      <a:cubicBezTo>
                        <a:pt x="578" y="94"/>
                        <a:pt x="578" y="94"/>
                        <a:pt x="578" y="94"/>
                      </a:cubicBezTo>
                      <a:cubicBezTo>
                        <a:pt x="581" y="94"/>
                        <a:pt x="581" y="94"/>
                        <a:pt x="581" y="94"/>
                      </a:cubicBezTo>
                      <a:cubicBezTo>
                        <a:pt x="582" y="93"/>
                        <a:pt x="582" y="93"/>
                        <a:pt x="582" y="93"/>
                      </a:cubicBezTo>
                      <a:cubicBezTo>
                        <a:pt x="586" y="93"/>
                        <a:pt x="586" y="93"/>
                        <a:pt x="586" y="93"/>
                      </a:cubicBezTo>
                      <a:cubicBezTo>
                        <a:pt x="587" y="91"/>
                        <a:pt x="587" y="91"/>
                        <a:pt x="587" y="91"/>
                      </a:cubicBezTo>
                      <a:cubicBezTo>
                        <a:pt x="587" y="89"/>
                        <a:pt x="587" y="89"/>
                        <a:pt x="587" y="89"/>
                      </a:cubicBezTo>
                      <a:cubicBezTo>
                        <a:pt x="584" y="85"/>
                        <a:pt x="584" y="85"/>
                        <a:pt x="584" y="85"/>
                      </a:cubicBezTo>
                      <a:cubicBezTo>
                        <a:pt x="584" y="84"/>
                        <a:pt x="584" y="84"/>
                        <a:pt x="584" y="84"/>
                      </a:cubicBezTo>
                      <a:cubicBezTo>
                        <a:pt x="585" y="84"/>
                        <a:pt x="585" y="84"/>
                        <a:pt x="585" y="84"/>
                      </a:cubicBezTo>
                      <a:cubicBezTo>
                        <a:pt x="589" y="88"/>
                        <a:pt x="589" y="88"/>
                        <a:pt x="589" y="88"/>
                      </a:cubicBezTo>
                      <a:cubicBezTo>
                        <a:pt x="590" y="88"/>
                        <a:pt x="590" y="88"/>
                        <a:pt x="590" y="88"/>
                      </a:cubicBezTo>
                      <a:cubicBezTo>
                        <a:pt x="592" y="90"/>
                        <a:pt x="592" y="90"/>
                        <a:pt x="592" y="90"/>
                      </a:cubicBezTo>
                      <a:cubicBezTo>
                        <a:pt x="592" y="92"/>
                        <a:pt x="592" y="92"/>
                        <a:pt x="592" y="92"/>
                      </a:cubicBezTo>
                      <a:cubicBezTo>
                        <a:pt x="592" y="93"/>
                        <a:pt x="592" y="93"/>
                        <a:pt x="592" y="93"/>
                      </a:cubicBezTo>
                      <a:cubicBezTo>
                        <a:pt x="595" y="95"/>
                        <a:pt x="595" y="95"/>
                        <a:pt x="595" y="95"/>
                      </a:cubicBezTo>
                      <a:cubicBezTo>
                        <a:pt x="595" y="99"/>
                        <a:pt x="595" y="99"/>
                        <a:pt x="595" y="99"/>
                      </a:cubicBezTo>
                      <a:cubicBezTo>
                        <a:pt x="596" y="99"/>
                        <a:pt x="596" y="99"/>
                        <a:pt x="596" y="99"/>
                      </a:cubicBezTo>
                      <a:cubicBezTo>
                        <a:pt x="595" y="98"/>
                        <a:pt x="595" y="98"/>
                        <a:pt x="595" y="98"/>
                      </a:cubicBezTo>
                      <a:cubicBezTo>
                        <a:pt x="597" y="96"/>
                        <a:pt x="597" y="96"/>
                        <a:pt x="597" y="96"/>
                      </a:cubicBezTo>
                      <a:cubicBezTo>
                        <a:pt x="598" y="96"/>
                        <a:pt x="598" y="96"/>
                        <a:pt x="598" y="96"/>
                      </a:cubicBezTo>
                      <a:cubicBezTo>
                        <a:pt x="599" y="95"/>
                        <a:pt x="599" y="95"/>
                        <a:pt x="599" y="95"/>
                      </a:cubicBezTo>
                      <a:cubicBezTo>
                        <a:pt x="598" y="94"/>
                        <a:pt x="598" y="94"/>
                        <a:pt x="598" y="94"/>
                      </a:cubicBezTo>
                      <a:cubicBezTo>
                        <a:pt x="597" y="95"/>
                        <a:pt x="597" y="95"/>
                        <a:pt x="597" y="95"/>
                      </a:cubicBezTo>
                      <a:cubicBezTo>
                        <a:pt x="595" y="94"/>
                        <a:pt x="595" y="94"/>
                        <a:pt x="595" y="94"/>
                      </a:cubicBezTo>
                      <a:cubicBezTo>
                        <a:pt x="594" y="92"/>
                        <a:pt x="594" y="92"/>
                        <a:pt x="594" y="92"/>
                      </a:cubicBezTo>
                      <a:cubicBezTo>
                        <a:pt x="597" y="90"/>
                        <a:pt x="597" y="90"/>
                        <a:pt x="597" y="90"/>
                      </a:cubicBezTo>
                      <a:cubicBezTo>
                        <a:pt x="599" y="88"/>
                        <a:pt x="599" y="88"/>
                        <a:pt x="599" y="88"/>
                      </a:cubicBezTo>
                      <a:cubicBezTo>
                        <a:pt x="600" y="87"/>
                        <a:pt x="600" y="87"/>
                        <a:pt x="600" y="87"/>
                      </a:cubicBezTo>
                      <a:cubicBezTo>
                        <a:pt x="601" y="87"/>
                        <a:pt x="601" y="87"/>
                        <a:pt x="601" y="87"/>
                      </a:cubicBezTo>
                      <a:cubicBezTo>
                        <a:pt x="602" y="86"/>
                        <a:pt x="602" y="86"/>
                        <a:pt x="602" y="86"/>
                      </a:cubicBezTo>
                      <a:cubicBezTo>
                        <a:pt x="606" y="85"/>
                        <a:pt x="606" y="85"/>
                        <a:pt x="606" y="85"/>
                      </a:cubicBezTo>
                      <a:cubicBezTo>
                        <a:pt x="612" y="83"/>
                        <a:pt x="612" y="83"/>
                        <a:pt x="612" y="83"/>
                      </a:cubicBezTo>
                      <a:cubicBezTo>
                        <a:pt x="620" y="83"/>
                        <a:pt x="620" y="83"/>
                        <a:pt x="620" y="83"/>
                      </a:cubicBezTo>
                      <a:cubicBezTo>
                        <a:pt x="626" y="80"/>
                        <a:pt x="626" y="80"/>
                        <a:pt x="626" y="80"/>
                      </a:cubicBezTo>
                      <a:cubicBezTo>
                        <a:pt x="629" y="80"/>
                        <a:pt x="629" y="80"/>
                        <a:pt x="629" y="80"/>
                      </a:cubicBezTo>
                      <a:cubicBezTo>
                        <a:pt x="631" y="81"/>
                        <a:pt x="631" y="81"/>
                        <a:pt x="631" y="81"/>
                      </a:cubicBezTo>
                      <a:cubicBezTo>
                        <a:pt x="631" y="83"/>
                        <a:pt x="631" y="83"/>
                        <a:pt x="631" y="83"/>
                      </a:cubicBezTo>
                      <a:cubicBezTo>
                        <a:pt x="631" y="83"/>
                        <a:pt x="631" y="83"/>
                        <a:pt x="631" y="83"/>
                      </a:cubicBezTo>
                      <a:cubicBezTo>
                        <a:pt x="629" y="85"/>
                        <a:pt x="629" y="85"/>
                        <a:pt x="629" y="85"/>
                      </a:cubicBezTo>
                      <a:cubicBezTo>
                        <a:pt x="630" y="89"/>
                        <a:pt x="630" y="89"/>
                        <a:pt x="630" y="89"/>
                      </a:cubicBezTo>
                      <a:cubicBezTo>
                        <a:pt x="633" y="91"/>
                        <a:pt x="633" y="91"/>
                        <a:pt x="633" y="91"/>
                      </a:cubicBezTo>
                      <a:cubicBezTo>
                        <a:pt x="642" y="92"/>
                        <a:pt x="642" y="92"/>
                        <a:pt x="642" y="92"/>
                      </a:cubicBezTo>
                      <a:cubicBezTo>
                        <a:pt x="643" y="92"/>
                        <a:pt x="643" y="92"/>
                        <a:pt x="643" y="92"/>
                      </a:cubicBezTo>
                      <a:cubicBezTo>
                        <a:pt x="644" y="92"/>
                        <a:pt x="644" y="92"/>
                        <a:pt x="644" y="92"/>
                      </a:cubicBezTo>
                      <a:cubicBezTo>
                        <a:pt x="647" y="92"/>
                        <a:pt x="647" y="92"/>
                        <a:pt x="647" y="92"/>
                      </a:cubicBezTo>
                      <a:cubicBezTo>
                        <a:pt x="649" y="93"/>
                        <a:pt x="649" y="93"/>
                        <a:pt x="649" y="93"/>
                      </a:cubicBezTo>
                      <a:cubicBezTo>
                        <a:pt x="655" y="92"/>
                        <a:pt x="655" y="92"/>
                        <a:pt x="655" y="92"/>
                      </a:cubicBezTo>
                      <a:cubicBezTo>
                        <a:pt x="660" y="89"/>
                        <a:pt x="660" y="89"/>
                        <a:pt x="660" y="89"/>
                      </a:cubicBezTo>
                      <a:cubicBezTo>
                        <a:pt x="661" y="90"/>
                        <a:pt x="661" y="90"/>
                        <a:pt x="661" y="90"/>
                      </a:cubicBezTo>
                      <a:cubicBezTo>
                        <a:pt x="663" y="90"/>
                        <a:pt x="663" y="90"/>
                        <a:pt x="663" y="90"/>
                      </a:cubicBezTo>
                      <a:cubicBezTo>
                        <a:pt x="664" y="88"/>
                        <a:pt x="664" y="88"/>
                        <a:pt x="664" y="88"/>
                      </a:cubicBezTo>
                      <a:cubicBezTo>
                        <a:pt x="663" y="86"/>
                        <a:pt x="663" y="86"/>
                        <a:pt x="663" y="86"/>
                      </a:cubicBezTo>
                      <a:cubicBezTo>
                        <a:pt x="665" y="86"/>
                        <a:pt x="665" y="86"/>
                        <a:pt x="665" y="86"/>
                      </a:cubicBezTo>
                      <a:cubicBezTo>
                        <a:pt x="667" y="86"/>
                        <a:pt x="667" y="86"/>
                        <a:pt x="667" y="86"/>
                      </a:cubicBezTo>
                      <a:cubicBezTo>
                        <a:pt x="670" y="86"/>
                        <a:pt x="670" y="86"/>
                        <a:pt x="670" y="86"/>
                      </a:cubicBezTo>
                      <a:cubicBezTo>
                        <a:pt x="670" y="87"/>
                        <a:pt x="670" y="87"/>
                        <a:pt x="670" y="87"/>
                      </a:cubicBezTo>
                      <a:cubicBezTo>
                        <a:pt x="671" y="87"/>
                        <a:pt x="671" y="87"/>
                        <a:pt x="671" y="87"/>
                      </a:cubicBezTo>
                      <a:cubicBezTo>
                        <a:pt x="672" y="85"/>
                        <a:pt x="672" y="85"/>
                        <a:pt x="672" y="85"/>
                      </a:cubicBezTo>
                      <a:cubicBezTo>
                        <a:pt x="672" y="84"/>
                        <a:pt x="672" y="84"/>
                        <a:pt x="672" y="84"/>
                      </a:cubicBezTo>
                      <a:cubicBezTo>
                        <a:pt x="670" y="82"/>
                        <a:pt x="670" y="82"/>
                        <a:pt x="670" y="82"/>
                      </a:cubicBezTo>
                      <a:cubicBezTo>
                        <a:pt x="670" y="80"/>
                        <a:pt x="670" y="80"/>
                        <a:pt x="670" y="80"/>
                      </a:cubicBezTo>
                      <a:cubicBezTo>
                        <a:pt x="669" y="79"/>
                        <a:pt x="669" y="79"/>
                        <a:pt x="669" y="79"/>
                      </a:cubicBezTo>
                      <a:cubicBezTo>
                        <a:pt x="667" y="79"/>
                        <a:pt x="667" y="79"/>
                        <a:pt x="667" y="79"/>
                      </a:cubicBezTo>
                      <a:cubicBezTo>
                        <a:pt x="667" y="76"/>
                        <a:pt x="667" y="76"/>
                        <a:pt x="667" y="76"/>
                      </a:cubicBezTo>
                      <a:cubicBezTo>
                        <a:pt x="666" y="76"/>
                        <a:pt x="666" y="76"/>
                        <a:pt x="666" y="76"/>
                      </a:cubicBezTo>
                      <a:cubicBezTo>
                        <a:pt x="665" y="74"/>
                        <a:pt x="665" y="74"/>
                        <a:pt x="665" y="74"/>
                      </a:cubicBezTo>
                      <a:cubicBezTo>
                        <a:pt x="664" y="72"/>
                        <a:pt x="664" y="72"/>
                        <a:pt x="664" y="72"/>
                      </a:cubicBezTo>
                      <a:cubicBezTo>
                        <a:pt x="664" y="70"/>
                        <a:pt x="664" y="70"/>
                        <a:pt x="664" y="70"/>
                      </a:cubicBezTo>
                      <a:cubicBezTo>
                        <a:pt x="665" y="68"/>
                        <a:pt x="665" y="68"/>
                        <a:pt x="665" y="68"/>
                      </a:cubicBezTo>
                      <a:cubicBezTo>
                        <a:pt x="665" y="69"/>
                        <a:pt x="665" y="69"/>
                        <a:pt x="665" y="69"/>
                      </a:cubicBezTo>
                      <a:cubicBezTo>
                        <a:pt x="666" y="69"/>
                        <a:pt x="666" y="69"/>
                        <a:pt x="666" y="69"/>
                      </a:cubicBezTo>
                      <a:cubicBezTo>
                        <a:pt x="668" y="68"/>
                        <a:pt x="668" y="68"/>
                        <a:pt x="668" y="68"/>
                      </a:cubicBezTo>
                      <a:cubicBezTo>
                        <a:pt x="668" y="67"/>
                        <a:pt x="668" y="67"/>
                        <a:pt x="668" y="67"/>
                      </a:cubicBezTo>
                      <a:cubicBezTo>
                        <a:pt x="667" y="65"/>
                        <a:pt x="667" y="65"/>
                        <a:pt x="667" y="65"/>
                      </a:cubicBezTo>
                      <a:cubicBezTo>
                        <a:pt x="669" y="65"/>
                        <a:pt x="669" y="65"/>
                        <a:pt x="669" y="65"/>
                      </a:cubicBezTo>
                      <a:cubicBezTo>
                        <a:pt x="671" y="67"/>
                        <a:pt x="671" y="67"/>
                        <a:pt x="671" y="67"/>
                      </a:cubicBezTo>
                      <a:cubicBezTo>
                        <a:pt x="672" y="66"/>
                        <a:pt x="672" y="66"/>
                        <a:pt x="672" y="66"/>
                      </a:cubicBezTo>
                      <a:cubicBezTo>
                        <a:pt x="673" y="64"/>
                        <a:pt x="673" y="64"/>
                        <a:pt x="673" y="64"/>
                      </a:cubicBezTo>
                      <a:cubicBezTo>
                        <a:pt x="674" y="65"/>
                        <a:pt x="674" y="65"/>
                        <a:pt x="674" y="65"/>
                      </a:cubicBezTo>
                      <a:cubicBezTo>
                        <a:pt x="676" y="65"/>
                        <a:pt x="676" y="65"/>
                        <a:pt x="676" y="65"/>
                      </a:cubicBezTo>
                      <a:cubicBezTo>
                        <a:pt x="678" y="65"/>
                        <a:pt x="678" y="65"/>
                        <a:pt x="678" y="65"/>
                      </a:cubicBezTo>
                      <a:cubicBezTo>
                        <a:pt x="678" y="64"/>
                        <a:pt x="678" y="64"/>
                        <a:pt x="678" y="64"/>
                      </a:cubicBezTo>
                      <a:cubicBezTo>
                        <a:pt x="680" y="66"/>
                        <a:pt x="680" y="66"/>
                        <a:pt x="680" y="66"/>
                      </a:cubicBezTo>
                      <a:cubicBezTo>
                        <a:pt x="682" y="66"/>
                        <a:pt x="682" y="66"/>
                        <a:pt x="682" y="66"/>
                      </a:cubicBezTo>
                      <a:cubicBezTo>
                        <a:pt x="683" y="68"/>
                        <a:pt x="683" y="68"/>
                        <a:pt x="683" y="68"/>
                      </a:cubicBezTo>
                      <a:cubicBezTo>
                        <a:pt x="684" y="67"/>
                        <a:pt x="684" y="67"/>
                        <a:pt x="684" y="67"/>
                      </a:cubicBezTo>
                      <a:cubicBezTo>
                        <a:pt x="684" y="65"/>
                        <a:pt x="684" y="65"/>
                        <a:pt x="684" y="65"/>
                      </a:cubicBezTo>
                      <a:cubicBezTo>
                        <a:pt x="686" y="65"/>
                        <a:pt x="686" y="65"/>
                        <a:pt x="686" y="65"/>
                      </a:cubicBezTo>
                      <a:cubicBezTo>
                        <a:pt x="687" y="67"/>
                        <a:pt x="687" y="67"/>
                        <a:pt x="687" y="67"/>
                      </a:cubicBezTo>
                      <a:cubicBezTo>
                        <a:pt x="685" y="68"/>
                        <a:pt x="685" y="68"/>
                        <a:pt x="685" y="68"/>
                      </a:cubicBezTo>
                      <a:cubicBezTo>
                        <a:pt x="685" y="70"/>
                        <a:pt x="685" y="70"/>
                        <a:pt x="685" y="70"/>
                      </a:cubicBezTo>
                      <a:cubicBezTo>
                        <a:pt x="685" y="71"/>
                        <a:pt x="685" y="71"/>
                        <a:pt x="685" y="71"/>
                      </a:cubicBezTo>
                      <a:cubicBezTo>
                        <a:pt x="687" y="70"/>
                        <a:pt x="687" y="70"/>
                        <a:pt x="687" y="70"/>
                      </a:cubicBezTo>
                      <a:cubicBezTo>
                        <a:pt x="688" y="70"/>
                        <a:pt x="688" y="70"/>
                        <a:pt x="688" y="70"/>
                      </a:cubicBezTo>
                      <a:cubicBezTo>
                        <a:pt x="688" y="69"/>
                        <a:pt x="688" y="69"/>
                        <a:pt x="688" y="69"/>
                      </a:cubicBezTo>
                      <a:cubicBezTo>
                        <a:pt x="689" y="68"/>
                        <a:pt x="689" y="68"/>
                        <a:pt x="689" y="68"/>
                      </a:cubicBezTo>
                      <a:cubicBezTo>
                        <a:pt x="690" y="69"/>
                        <a:pt x="690" y="69"/>
                        <a:pt x="690" y="69"/>
                      </a:cubicBezTo>
                      <a:cubicBezTo>
                        <a:pt x="689" y="67"/>
                        <a:pt x="689" y="67"/>
                        <a:pt x="689" y="67"/>
                      </a:cubicBezTo>
                      <a:cubicBezTo>
                        <a:pt x="688" y="66"/>
                        <a:pt x="688" y="66"/>
                        <a:pt x="688" y="66"/>
                      </a:cubicBezTo>
                      <a:cubicBezTo>
                        <a:pt x="689" y="65"/>
                        <a:pt x="689" y="65"/>
                        <a:pt x="689" y="65"/>
                      </a:cubicBezTo>
                      <a:cubicBezTo>
                        <a:pt x="691" y="65"/>
                        <a:pt x="691" y="65"/>
                        <a:pt x="691" y="65"/>
                      </a:cubicBezTo>
                      <a:cubicBezTo>
                        <a:pt x="693" y="64"/>
                        <a:pt x="693" y="64"/>
                        <a:pt x="693" y="64"/>
                      </a:cubicBezTo>
                      <a:cubicBezTo>
                        <a:pt x="694" y="65"/>
                        <a:pt x="694" y="65"/>
                        <a:pt x="694" y="65"/>
                      </a:cubicBezTo>
                      <a:cubicBezTo>
                        <a:pt x="696" y="64"/>
                        <a:pt x="696" y="64"/>
                        <a:pt x="696" y="64"/>
                      </a:cubicBezTo>
                      <a:cubicBezTo>
                        <a:pt x="698" y="64"/>
                        <a:pt x="698" y="64"/>
                        <a:pt x="698" y="64"/>
                      </a:cubicBezTo>
                      <a:cubicBezTo>
                        <a:pt x="698" y="66"/>
                        <a:pt x="698" y="66"/>
                        <a:pt x="698" y="66"/>
                      </a:cubicBezTo>
                      <a:cubicBezTo>
                        <a:pt x="699" y="68"/>
                        <a:pt x="699" y="68"/>
                        <a:pt x="699" y="68"/>
                      </a:cubicBezTo>
                      <a:cubicBezTo>
                        <a:pt x="699" y="67"/>
                        <a:pt x="699" y="67"/>
                        <a:pt x="699" y="67"/>
                      </a:cubicBezTo>
                      <a:cubicBezTo>
                        <a:pt x="700" y="67"/>
                        <a:pt x="700" y="67"/>
                        <a:pt x="700" y="67"/>
                      </a:cubicBezTo>
                      <a:cubicBezTo>
                        <a:pt x="702" y="65"/>
                        <a:pt x="702" y="65"/>
                        <a:pt x="702" y="65"/>
                      </a:cubicBezTo>
                      <a:cubicBezTo>
                        <a:pt x="703" y="68"/>
                        <a:pt x="703" y="68"/>
                        <a:pt x="703" y="68"/>
                      </a:cubicBezTo>
                      <a:cubicBezTo>
                        <a:pt x="704" y="68"/>
                        <a:pt x="704" y="68"/>
                        <a:pt x="704" y="68"/>
                      </a:cubicBezTo>
                      <a:cubicBezTo>
                        <a:pt x="706" y="67"/>
                        <a:pt x="706" y="67"/>
                        <a:pt x="706" y="67"/>
                      </a:cubicBezTo>
                      <a:cubicBezTo>
                        <a:pt x="707" y="68"/>
                        <a:pt x="707" y="68"/>
                        <a:pt x="707" y="68"/>
                      </a:cubicBezTo>
                      <a:cubicBezTo>
                        <a:pt x="708" y="72"/>
                        <a:pt x="708" y="72"/>
                        <a:pt x="708" y="72"/>
                      </a:cubicBezTo>
                      <a:cubicBezTo>
                        <a:pt x="709" y="70"/>
                        <a:pt x="709" y="70"/>
                        <a:pt x="709" y="70"/>
                      </a:cubicBezTo>
                      <a:cubicBezTo>
                        <a:pt x="710" y="69"/>
                        <a:pt x="710" y="69"/>
                        <a:pt x="710" y="69"/>
                      </a:cubicBezTo>
                      <a:cubicBezTo>
                        <a:pt x="711" y="70"/>
                        <a:pt x="711" y="70"/>
                        <a:pt x="711" y="70"/>
                      </a:cubicBezTo>
                      <a:cubicBezTo>
                        <a:pt x="710" y="72"/>
                        <a:pt x="710" y="72"/>
                        <a:pt x="710" y="72"/>
                      </a:cubicBezTo>
                      <a:cubicBezTo>
                        <a:pt x="712" y="74"/>
                        <a:pt x="712" y="74"/>
                        <a:pt x="712" y="74"/>
                      </a:cubicBezTo>
                      <a:cubicBezTo>
                        <a:pt x="712" y="74"/>
                        <a:pt x="712" y="74"/>
                        <a:pt x="712" y="74"/>
                      </a:cubicBezTo>
                      <a:cubicBezTo>
                        <a:pt x="714" y="74"/>
                        <a:pt x="714" y="74"/>
                        <a:pt x="714" y="74"/>
                      </a:cubicBezTo>
                      <a:cubicBezTo>
                        <a:pt x="715" y="76"/>
                        <a:pt x="715" y="76"/>
                        <a:pt x="715" y="76"/>
                      </a:cubicBezTo>
                      <a:cubicBezTo>
                        <a:pt x="715" y="76"/>
                        <a:pt x="715" y="76"/>
                        <a:pt x="715" y="76"/>
                      </a:cubicBezTo>
                      <a:cubicBezTo>
                        <a:pt x="716" y="75"/>
                        <a:pt x="716" y="75"/>
                        <a:pt x="716" y="75"/>
                      </a:cubicBezTo>
                      <a:cubicBezTo>
                        <a:pt x="717" y="77"/>
                        <a:pt x="717" y="77"/>
                        <a:pt x="717" y="77"/>
                      </a:cubicBezTo>
                      <a:cubicBezTo>
                        <a:pt x="715" y="79"/>
                        <a:pt x="715" y="79"/>
                        <a:pt x="715" y="79"/>
                      </a:cubicBezTo>
                      <a:cubicBezTo>
                        <a:pt x="716" y="81"/>
                        <a:pt x="716" y="81"/>
                        <a:pt x="716" y="81"/>
                      </a:cubicBezTo>
                      <a:cubicBezTo>
                        <a:pt x="718" y="79"/>
                        <a:pt x="718" y="79"/>
                        <a:pt x="718" y="79"/>
                      </a:cubicBezTo>
                      <a:cubicBezTo>
                        <a:pt x="720" y="79"/>
                        <a:pt x="720" y="79"/>
                        <a:pt x="720" y="79"/>
                      </a:cubicBezTo>
                      <a:cubicBezTo>
                        <a:pt x="720" y="80"/>
                        <a:pt x="720" y="80"/>
                        <a:pt x="720" y="80"/>
                      </a:cubicBezTo>
                      <a:cubicBezTo>
                        <a:pt x="717" y="84"/>
                        <a:pt x="717" y="84"/>
                        <a:pt x="717" y="84"/>
                      </a:cubicBezTo>
                      <a:cubicBezTo>
                        <a:pt x="717" y="86"/>
                        <a:pt x="717" y="86"/>
                        <a:pt x="717" y="86"/>
                      </a:cubicBezTo>
                      <a:cubicBezTo>
                        <a:pt x="720" y="87"/>
                        <a:pt x="720" y="87"/>
                        <a:pt x="720" y="87"/>
                      </a:cubicBezTo>
                      <a:cubicBezTo>
                        <a:pt x="721" y="86"/>
                        <a:pt x="721" y="86"/>
                        <a:pt x="721" y="86"/>
                      </a:cubicBezTo>
                      <a:cubicBezTo>
                        <a:pt x="722" y="85"/>
                        <a:pt x="722" y="85"/>
                        <a:pt x="722" y="85"/>
                      </a:cubicBezTo>
                      <a:cubicBezTo>
                        <a:pt x="723" y="86"/>
                        <a:pt x="723" y="86"/>
                        <a:pt x="723" y="86"/>
                      </a:cubicBezTo>
                      <a:cubicBezTo>
                        <a:pt x="724" y="87"/>
                        <a:pt x="724" y="87"/>
                        <a:pt x="724" y="87"/>
                      </a:cubicBezTo>
                      <a:cubicBezTo>
                        <a:pt x="725" y="86"/>
                        <a:pt x="725" y="86"/>
                        <a:pt x="725" y="86"/>
                      </a:cubicBezTo>
                      <a:cubicBezTo>
                        <a:pt x="727" y="89"/>
                        <a:pt x="727" y="89"/>
                        <a:pt x="727" y="89"/>
                      </a:cubicBezTo>
                      <a:cubicBezTo>
                        <a:pt x="726" y="92"/>
                        <a:pt x="726" y="92"/>
                        <a:pt x="726" y="92"/>
                      </a:cubicBezTo>
                      <a:cubicBezTo>
                        <a:pt x="728" y="91"/>
                        <a:pt x="728" y="91"/>
                        <a:pt x="728" y="91"/>
                      </a:cubicBezTo>
                      <a:cubicBezTo>
                        <a:pt x="729" y="93"/>
                        <a:pt x="729" y="93"/>
                        <a:pt x="729" y="93"/>
                      </a:cubicBezTo>
                      <a:cubicBezTo>
                        <a:pt x="730" y="92"/>
                        <a:pt x="730" y="92"/>
                        <a:pt x="730" y="92"/>
                      </a:cubicBezTo>
                      <a:cubicBezTo>
                        <a:pt x="730" y="94"/>
                        <a:pt x="730" y="94"/>
                        <a:pt x="730" y="94"/>
                      </a:cubicBezTo>
                      <a:cubicBezTo>
                        <a:pt x="729" y="97"/>
                        <a:pt x="729" y="97"/>
                        <a:pt x="729" y="97"/>
                      </a:cubicBezTo>
                      <a:cubicBezTo>
                        <a:pt x="727" y="98"/>
                        <a:pt x="727" y="98"/>
                        <a:pt x="727" y="98"/>
                      </a:cubicBezTo>
                      <a:cubicBezTo>
                        <a:pt x="725" y="96"/>
                        <a:pt x="725" y="96"/>
                        <a:pt x="725" y="96"/>
                      </a:cubicBezTo>
                      <a:cubicBezTo>
                        <a:pt x="721" y="95"/>
                        <a:pt x="721" y="95"/>
                        <a:pt x="721" y="95"/>
                      </a:cubicBezTo>
                      <a:cubicBezTo>
                        <a:pt x="717" y="95"/>
                        <a:pt x="717" y="95"/>
                        <a:pt x="717" y="95"/>
                      </a:cubicBezTo>
                      <a:cubicBezTo>
                        <a:pt x="719" y="96"/>
                        <a:pt x="719" y="96"/>
                        <a:pt x="719" y="96"/>
                      </a:cubicBezTo>
                      <a:cubicBezTo>
                        <a:pt x="719" y="99"/>
                        <a:pt x="719" y="99"/>
                        <a:pt x="719" y="99"/>
                      </a:cubicBezTo>
                      <a:cubicBezTo>
                        <a:pt x="723" y="99"/>
                        <a:pt x="723" y="99"/>
                        <a:pt x="723" y="99"/>
                      </a:cubicBezTo>
                      <a:cubicBezTo>
                        <a:pt x="724" y="101"/>
                        <a:pt x="724" y="101"/>
                        <a:pt x="724" y="101"/>
                      </a:cubicBezTo>
                      <a:cubicBezTo>
                        <a:pt x="727" y="103"/>
                        <a:pt x="727" y="103"/>
                        <a:pt x="727" y="103"/>
                      </a:cubicBezTo>
                      <a:cubicBezTo>
                        <a:pt x="731" y="104"/>
                        <a:pt x="731" y="104"/>
                        <a:pt x="731" y="104"/>
                      </a:cubicBezTo>
                      <a:cubicBezTo>
                        <a:pt x="733" y="103"/>
                        <a:pt x="733" y="103"/>
                        <a:pt x="733" y="103"/>
                      </a:cubicBezTo>
                      <a:cubicBezTo>
                        <a:pt x="733" y="101"/>
                        <a:pt x="733" y="101"/>
                        <a:pt x="733" y="101"/>
                      </a:cubicBezTo>
                      <a:cubicBezTo>
                        <a:pt x="732" y="99"/>
                        <a:pt x="732" y="99"/>
                        <a:pt x="732" y="99"/>
                      </a:cubicBezTo>
                      <a:cubicBezTo>
                        <a:pt x="731" y="98"/>
                        <a:pt x="731" y="98"/>
                        <a:pt x="731" y="98"/>
                      </a:cubicBezTo>
                      <a:cubicBezTo>
                        <a:pt x="732" y="98"/>
                        <a:pt x="732" y="98"/>
                        <a:pt x="732" y="98"/>
                      </a:cubicBezTo>
                      <a:cubicBezTo>
                        <a:pt x="734" y="100"/>
                        <a:pt x="734" y="100"/>
                        <a:pt x="734" y="100"/>
                      </a:cubicBezTo>
                      <a:cubicBezTo>
                        <a:pt x="736" y="101"/>
                        <a:pt x="736" y="101"/>
                        <a:pt x="736" y="101"/>
                      </a:cubicBezTo>
                      <a:cubicBezTo>
                        <a:pt x="737" y="102"/>
                        <a:pt x="737" y="102"/>
                        <a:pt x="737" y="102"/>
                      </a:cubicBezTo>
                      <a:cubicBezTo>
                        <a:pt x="736" y="102"/>
                        <a:pt x="736" y="102"/>
                        <a:pt x="736" y="102"/>
                      </a:cubicBezTo>
                      <a:cubicBezTo>
                        <a:pt x="732" y="105"/>
                        <a:pt x="732" y="105"/>
                        <a:pt x="732" y="105"/>
                      </a:cubicBezTo>
                      <a:cubicBezTo>
                        <a:pt x="733" y="107"/>
                        <a:pt x="733" y="107"/>
                        <a:pt x="733" y="107"/>
                      </a:cubicBezTo>
                      <a:cubicBezTo>
                        <a:pt x="734" y="107"/>
                        <a:pt x="734" y="107"/>
                        <a:pt x="734" y="107"/>
                      </a:cubicBezTo>
                      <a:cubicBezTo>
                        <a:pt x="736" y="106"/>
                        <a:pt x="736" y="106"/>
                        <a:pt x="736" y="106"/>
                      </a:cubicBezTo>
                      <a:cubicBezTo>
                        <a:pt x="737" y="106"/>
                        <a:pt x="737" y="106"/>
                        <a:pt x="737" y="106"/>
                      </a:cubicBezTo>
                      <a:cubicBezTo>
                        <a:pt x="743" y="112"/>
                        <a:pt x="743" y="112"/>
                        <a:pt x="743" y="112"/>
                      </a:cubicBezTo>
                      <a:cubicBezTo>
                        <a:pt x="745" y="112"/>
                        <a:pt x="745" y="112"/>
                        <a:pt x="745" y="112"/>
                      </a:cubicBezTo>
                      <a:cubicBezTo>
                        <a:pt x="747" y="115"/>
                        <a:pt x="747" y="115"/>
                        <a:pt x="747" y="115"/>
                      </a:cubicBezTo>
                      <a:cubicBezTo>
                        <a:pt x="751" y="116"/>
                        <a:pt x="751" y="116"/>
                        <a:pt x="751" y="116"/>
                      </a:cubicBezTo>
                      <a:cubicBezTo>
                        <a:pt x="754" y="119"/>
                        <a:pt x="754" y="119"/>
                        <a:pt x="754" y="119"/>
                      </a:cubicBezTo>
                      <a:cubicBezTo>
                        <a:pt x="757" y="119"/>
                        <a:pt x="757" y="119"/>
                        <a:pt x="757" y="119"/>
                      </a:cubicBezTo>
                      <a:cubicBezTo>
                        <a:pt x="758" y="118"/>
                        <a:pt x="758" y="118"/>
                        <a:pt x="758" y="118"/>
                      </a:cubicBezTo>
                      <a:cubicBezTo>
                        <a:pt x="757" y="117"/>
                        <a:pt x="757" y="117"/>
                        <a:pt x="757" y="117"/>
                      </a:cubicBezTo>
                      <a:cubicBezTo>
                        <a:pt x="758" y="116"/>
                        <a:pt x="758" y="116"/>
                        <a:pt x="758" y="116"/>
                      </a:cubicBezTo>
                      <a:cubicBezTo>
                        <a:pt x="760" y="118"/>
                        <a:pt x="760" y="118"/>
                        <a:pt x="760" y="118"/>
                      </a:cubicBezTo>
                      <a:cubicBezTo>
                        <a:pt x="760" y="119"/>
                        <a:pt x="760" y="119"/>
                        <a:pt x="760" y="119"/>
                      </a:cubicBezTo>
                      <a:cubicBezTo>
                        <a:pt x="761" y="121"/>
                        <a:pt x="761" y="121"/>
                        <a:pt x="761" y="121"/>
                      </a:cubicBezTo>
                      <a:cubicBezTo>
                        <a:pt x="762" y="121"/>
                        <a:pt x="762" y="121"/>
                        <a:pt x="762" y="121"/>
                      </a:cubicBezTo>
                      <a:cubicBezTo>
                        <a:pt x="763" y="119"/>
                        <a:pt x="763" y="119"/>
                        <a:pt x="763" y="119"/>
                      </a:cubicBezTo>
                      <a:cubicBezTo>
                        <a:pt x="761" y="108"/>
                        <a:pt x="761" y="108"/>
                        <a:pt x="761" y="108"/>
                      </a:cubicBezTo>
                      <a:cubicBezTo>
                        <a:pt x="759" y="104"/>
                        <a:pt x="759" y="104"/>
                        <a:pt x="759" y="104"/>
                      </a:cubicBezTo>
                      <a:cubicBezTo>
                        <a:pt x="756" y="98"/>
                        <a:pt x="756" y="98"/>
                        <a:pt x="756" y="98"/>
                      </a:cubicBezTo>
                      <a:cubicBezTo>
                        <a:pt x="756" y="93"/>
                        <a:pt x="756" y="93"/>
                        <a:pt x="756" y="93"/>
                      </a:cubicBezTo>
                      <a:cubicBezTo>
                        <a:pt x="754" y="89"/>
                        <a:pt x="754" y="89"/>
                        <a:pt x="754" y="89"/>
                      </a:cubicBezTo>
                      <a:cubicBezTo>
                        <a:pt x="754" y="88"/>
                        <a:pt x="754" y="88"/>
                        <a:pt x="754" y="88"/>
                      </a:cubicBezTo>
                      <a:cubicBezTo>
                        <a:pt x="756" y="89"/>
                        <a:pt x="756" y="89"/>
                        <a:pt x="756" y="89"/>
                      </a:cubicBezTo>
                      <a:cubicBezTo>
                        <a:pt x="757" y="91"/>
                        <a:pt x="757" y="91"/>
                        <a:pt x="757" y="91"/>
                      </a:cubicBezTo>
                      <a:cubicBezTo>
                        <a:pt x="759" y="93"/>
                        <a:pt x="759" y="93"/>
                        <a:pt x="759" y="93"/>
                      </a:cubicBezTo>
                      <a:cubicBezTo>
                        <a:pt x="761" y="94"/>
                        <a:pt x="761" y="94"/>
                        <a:pt x="761" y="94"/>
                      </a:cubicBezTo>
                      <a:cubicBezTo>
                        <a:pt x="763" y="96"/>
                        <a:pt x="763" y="96"/>
                        <a:pt x="763" y="96"/>
                      </a:cubicBezTo>
                      <a:cubicBezTo>
                        <a:pt x="767" y="97"/>
                        <a:pt x="767" y="97"/>
                        <a:pt x="767" y="97"/>
                      </a:cubicBezTo>
                      <a:cubicBezTo>
                        <a:pt x="775" y="96"/>
                        <a:pt x="775" y="96"/>
                        <a:pt x="775" y="96"/>
                      </a:cubicBezTo>
                      <a:cubicBezTo>
                        <a:pt x="776" y="97"/>
                        <a:pt x="776" y="97"/>
                        <a:pt x="776" y="97"/>
                      </a:cubicBezTo>
                      <a:cubicBezTo>
                        <a:pt x="778" y="96"/>
                        <a:pt x="778" y="96"/>
                        <a:pt x="778" y="96"/>
                      </a:cubicBezTo>
                      <a:cubicBezTo>
                        <a:pt x="780" y="98"/>
                        <a:pt x="780" y="98"/>
                        <a:pt x="780" y="98"/>
                      </a:cubicBezTo>
                      <a:cubicBezTo>
                        <a:pt x="780" y="97"/>
                        <a:pt x="780" y="97"/>
                        <a:pt x="780" y="97"/>
                      </a:cubicBezTo>
                      <a:cubicBezTo>
                        <a:pt x="779" y="95"/>
                        <a:pt x="779" y="95"/>
                        <a:pt x="779" y="95"/>
                      </a:cubicBezTo>
                      <a:cubicBezTo>
                        <a:pt x="779" y="93"/>
                        <a:pt x="779" y="93"/>
                        <a:pt x="779" y="93"/>
                      </a:cubicBezTo>
                      <a:cubicBezTo>
                        <a:pt x="778" y="92"/>
                        <a:pt x="778" y="92"/>
                        <a:pt x="778" y="92"/>
                      </a:cubicBezTo>
                      <a:cubicBezTo>
                        <a:pt x="778" y="91"/>
                        <a:pt x="778" y="91"/>
                        <a:pt x="778" y="91"/>
                      </a:cubicBezTo>
                      <a:cubicBezTo>
                        <a:pt x="779" y="89"/>
                        <a:pt x="779" y="89"/>
                        <a:pt x="779" y="89"/>
                      </a:cubicBezTo>
                      <a:cubicBezTo>
                        <a:pt x="785" y="86"/>
                        <a:pt x="785" y="86"/>
                        <a:pt x="785" y="86"/>
                      </a:cubicBezTo>
                      <a:cubicBezTo>
                        <a:pt x="786" y="87"/>
                        <a:pt x="786" y="87"/>
                        <a:pt x="786" y="87"/>
                      </a:cubicBezTo>
                      <a:cubicBezTo>
                        <a:pt x="788" y="87"/>
                        <a:pt x="788" y="87"/>
                        <a:pt x="788" y="87"/>
                      </a:cubicBezTo>
                      <a:cubicBezTo>
                        <a:pt x="790" y="88"/>
                        <a:pt x="790" y="88"/>
                        <a:pt x="790" y="88"/>
                      </a:cubicBezTo>
                      <a:cubicBezTo>
                        <a:pt x="793" y="88"/>
                        <a:pt x="793" y="88"/>
                        <a:pt x="793" y="88"/>
                      </a:cubicBezTo>
                      <a:cubicBezTo>
                        <a:pt x="795" y="90"/>
                        <a:pt x="795" y="90"/>
                        <a:pt x="795" y="90"/>
                      </a:cubicBezTo>
                      <a:cubicBezTo>
                        <a:pt x="797" y="91"/>
                        <a:pt x="797" y="91"/>
                        <a:pt x="797" y="91"/>
                      </a:cubicBezTo>
                      <a:cubicBezTo>
                        <a:pt x="799" y="93"/>
                        <a:pt x="799" y="93"/>
                        <a:pt x="799" y="93"/>
                      </a:cubicBezTo>
                      <a:cubicBezTo>
                        <a:pt x="802" y="93"/>
                        <a:pt x="802" y="93"/>
                        <a:pt x="802" y="93"/>
                      </a:cubicBezTo>
                      <a:cubicBezTo>
                        <a:pt x="803" y="95"/>
                        <a:pt x="803" y="95"/>
                        <a:pt x="803" y="95"/>
                      </a:cubicBezTo>
                      <a:cubicBezTo>
                        <a:pt x="807" y="95"/>
                        <a:pt x="807" y="95"/>
                        <a:pt x="807" y="95"/>
                      </a:cubicBezTo>
                      <a:cubicBezTo>
                        <a:pt x="805" y="93"/>
                        <a:pt x="805" y="93"/>
                        <a:pt x="805" y="93"/>
                      </a:cubicBezTo>
                      <a:cubicBezTo>
                        <a:pt x="804" y="92"/>
                        <a:pt x="804" y="92"/>
                        <a:pt x="804" y="92"/>
                      </a:cubicBezTo>
                      <a:cubicBezTo>
                        <a:pt x="807" y="93"/>
                        <a:pt x="807" y="93"/>
                        <a:pt x="807" y="93"/>
                      </a:cubicBezTo>
                      <a:cubicBezTo>
                        <a:pt x="809" y="92"/>
                        <a:pt x="809" y="92"/>
                        <a:pt x="809" y="92"/>
                      </a:cubicBezTo>
                      <a:cubicBezTo>
                        <a:pt x="807" y="91"/>
                        <a:pt x="807" y="91"/>
                        <a:pt x="807" y="91"/>
                      </a:cubicBezTo>
                      <a:cubicBezTo>
                        <a:pt x="808" y="89"/>
                        <a:pt x="808" y="89"/>
                        <a:pt x="808" y="89"/>
                      </a:cubicBezTo>
                      <a:cubicBezTo>
                        <a:pt x="807" y="88"/>
                        <a:pt x="807" y="88"/>
                        <a:pt x="807" y="88"/>
                      </a:cubicBezTo>
                      <a:cubicBezTo>
                        <a:pt x="804" y="89"/>
                        <a:pt x="804" y="89"/>
                        <a:pt x="804" y="89"/>
                      </a:cubicBezTo>
                      <a:cubicBezTo>
                        <a:pt x="802" y="88"/>
                        <a:pt x="802" y="88"/>
                        <a:pt x="802" y="88"/>
                      </a:cubicBezTo>
                      <a:cubicBezTo>
                        <a:pt x="802" y="85"/>
                        <a:pt x="802" y="85"/>
                        <a:pt x="802" y="85"/>
                      </a:cubicBezTo>
                      <a:cubicBezTo>
                        <a:pt x="801" y="83"/>
                        <a:pt x="801" y="83"/>
                        <a:pt x="801" y="83"/>
                      </a:cubicBezTo>
                      <a:cubicBezTo>
                        <a:pt x="802" y="82"/>
                        <a:pt x="802" y="82"/>
                        <a:pt x="802" y="82"/>
                      </a:cubicBezTo>
                      <a:cubicBezTo>
                        <a:pt x="803" y="83"/>
                        <a:pt x="803" y="83"/>
                        <a:pt x="803" y="83"/>
                      </a:cubicBezTo>
                      <a:cubicBezTo>
                        <a:pt x="805" y="82"/>
                        <a:pt x="805" y="82"/>
                        <a:pt x="805" y="82"/>
                      </a:cubicBezTo>
                      <a:cubicBezTo>
                        <a:pt x="804" y="80"/>
                        <a:pt x="804" y="80"/>
                        <a:pt x="804" y="80"/>
                      </a:cubicBezTo>
                      <a:cubicBezTo>
                        <a:pt x="805" y="80"/>
                        <a:pt x="805" y="80"/>
                        <a:pt x="805" y="80"/>
                      </a:cubicBezTo>
                      <a:cubicBezTo>
                        <a:pt x="808" y="82"/>
                        <a:pt x="808" y="82"/>
                        <a:pt x="808" y="82"/>
                      </a:cubicBezTo>
                      <a:cubicBezTo>
                        <a:pt x="809" y="84"/>
                        <a:pt x="809" y="84"/>
                        <a:pt x="809" y="84"/>
                      </a:cubicBezTo>
                      <a:cubicBezTo>
                        <a:pt x="810" y="84"/>
                        <a:pt x="810" y="84"/>
                        <a:pt x="810" y="84"/>
                      </a:cubicBezTo>
                      <a:cubicBezTo>
                        <a:pt x="811" y="85"/>
                        <a:pt x="811" y="85"/>
                        <a:pt x="811" y="85"/>
                      </a:cubicBezTo>
                      <a:cubicBezTo>
                        <a:pt x="812" y="84"/>
                        <a:pt x="812" y="84"/>
                        <a:pt x="812" y="84"/>
                      </a:cubicBezTo>
                      <a:cubicBezTo>
                        <a:pt x="812" y="82"/>
                        <a:pt x="812" y="82"/>
                        <a:pt x="812" y="82"/>
                      </a:cubicBezTo>
                      <a:cubicBezTo>
                        <a:pt x="814" y="81"/>
                        <a:pt x="814" y="81"/>
                        <a:pt x="814" y="81"/>
                      </a:cubicBezTo>
                      <a:cubicBezTo>
                        <a:pt x="815" y="82"/>
                        <a:pt x="815" y="82"/>
                        <a:pt x="815" y="82"/>
                      </a:cubicBezTo>
                      <a:cubicBezTo>
                        <a:pt x="816" y="80"/>
                        <a:pt x="816" y="80"/>
                        <a:pt x="816" y="80"/>
                      </a:cubicBezTo>
                      <a:cubicBezTo>
                        <a:pt x="813" y="77"/>
                        <a:pt x="813" y="77"/>
                        <a:pt x="813" y="77"/>
                      </a:cubicBezTo>
                      <a:cubicBezTo>
                        <a:pt x="810" y="76"/>
                        <a:pt x="810" y="76"/>
                        <a:pt x="810" y="76"/>
                      </a:cubicBezTo>
                      <a:cubicBezTo>
                        <a:pt x="808" y="74"/>
                        <a:pt x="808" y="74"/>
                        <a:pt x="808" y="74"/>
                      </a:cubicBezTo>
                      <a:cubicBezTo>
                        <a:pt x="809" y="72"/>
                        <a:pt x="809" y="72"/>
                        <a:pt x="809" y="72"/>
                      </a:cubicBezTo>
                      <a:cubicBezTo>
                        <a:pt x="808" y="70"/>
                        <a:pt x="808" y="70"/>
                        <a:pt x="808" y="70"/>
                      </a:cubicBezTo>
                      <a:cubicBezTo>
                        <a:pt x="805" y="71"/>
                        <a:pt x="805" y="71"/>
                        <a:pt x="805" y="71"/>
                      </a:cubicBezTo>
                      <a:cubicBezTo>
                        <a:pt x="803" y="70"/>
                        <a:pt x="803" y="70"/>
                        <a:pt x="803" y="70"/>
                      </a:cubicBezTo>
                      <a:cubicBezTo>
                        <a:pt x="806" y="69"/>
                        <a:pt x="806" y="69"/>
                        <a:pt x="806" y="69"/>
                      </a:cubicBezTo>
                      <a:cubicBezTo>
                        <a:pt x="805" y="67"/>
                        <a:pt x="805" y="67"/>
                        <a:pt x="805" y="67"/>
                      </a:cubicBezTo>
                      <a:cubicBezTo>
                        <a:pt x="805" y="67"/>
                        <a:pt x="805" y="67"/>
                        <a:pt x="805" y="67"/>
                      </a:cubicBezTo>
                      <a:cubicBezTo>
                        <a:pt x="804" y="64"/>
                        <a:pt x="804" y="64"/>
                        <a:pt x="804" y="64"/>
                      </a:cubicBezTo>
                      <a:cubicBezTo>
                        <a:pt x="807" y="64"/>
                        <a:pt x="807" y="64"/>
                        <a:pt x="807" y="64"/>
                      </a:cubicBezTo>
                      <a:cubicBezTo>
                        <a:pt x="808" y="61"/>
                        <a:pt x="808" y="61"/>
                        <a:pt x="808" y="61"/>
                      </a:cubicBezTo>
                      <a:cubicBezTo>
                        <a:pt x="804" y="62"/>
                        <a:pt x="804" y="62"/>
                        <a:pt x="804" y="62"/>
                      </a:cubicBezTo>
                      <a:cubicBezTo>
                        <a:pt x="802" y="64"/>
                        <a:pt x="802" y="64"/>
                        <a:pt x="802" y="64"/>
                      </a:cubicBezTo>
                      <a:cubicBezTo>
                        <a:pt x="802" y="66"/>
                        <a:pt x="802" y="66"/>
                        <a:pt x="802" y="66"/>
                      </a:cubicBezTo>
                      <a:cubicBezTo>
                        <a:pt x="798" y="65"/>
                        <a:pt x="798" y="65"/>
                        <a:pt x="798" y="65"/>
                      </a:cubicBezTo>
                      <a:cubicBezTo>
                        <a:pt x="796" y="61"/>
                        <a:pt x="796" y="61"/>
                        <a:pt x="796" y="61"/>
                      </a:cubicBezTo>
                      <a:cubicBezTo>
                        <a:pt x="797" y="59"/>
                        <a:pt x="797" y="59"/>
                        <a:pt x="797" y="59"/>
                      </a:cubicBezTo>
                      <a:cubicBezTo>
                        <a:pt x="798" y="57"/>
                        <a:pt x="798" y="57"/>
                        <a:pt x="798" y="57"/>
                      </a:cubicBezTo>
                      <a:cubicBezTo>
                        <a:pt x="801" y="55"/>
                        <a:pt x="801" y="55"/>
                        <a:pt x="801" y="55"/>
                      </a:cubicBezTo>
                      <a:cubicBezTo>
                        <a:pt x="803" y="56"/>
                        <a:pt x="803" y="56"/>
                        <a:pt x="803" y="56"/>
                      </a:cubicBezTo>
                      <a:cubicBezTo>
                        <a:pt x="807" y="52"/>
                        <a:pt x="807" y="52"/>
                        <a:pt x="807" y="52"/>
                      </a:cubicBezTo>
                      <a:cubicBezTo>
                        <a:pt x="807" y="51"/>
                        <a:pt x="807" y="51"/>
                        <a:pt x="807" y="51"/>
                      </a:cubicBezTo>
                      <a:cubicBezTo>
                        <a:pt x="805" y="49"/>
                        <a:pt x="805" y="49"/>
                        <a:pt x="805" y="49"/>
                      </a:cubicBezTo>
                      <a:cubicBezTo>
                        <a:pt x="803" y="49"/>
                        <a:pt x="803" y="49"/>
                        <a:pt x="803" y="49"/>
                      </a:cubicBezTo>
                      <a:cubicBezTo>
                        <a:pt x="801" y="48"/>
                        <a:pt x="801" y="48"/>
                        <a:pt x="801" y="48"/>
                      </a:cubicBezTo>
                      <a:cubicBezTo>
                        <a:pt x="798" y="48"/>
                        <a:pt x="798" y="48"/>
                        <a:pt x="798" y="48"/>
                      </a:cubicBezTo>
                      <a:cubicBezTo>
                        <a:pt x="796" y="46"/>
                        <a:pt x="796" y="46"/>
                        <a:pt x="796" y="46"/>
                      </a:cubicBezTo>
                      <a:cubicBezTo>
                        <a:pt x="799" y="44"/>
                        <a:pt x="799" y="44"/>
                        <a:pt x="799" y="44"/>
                      </a:cubicBezTo>
                      <a:cubicBezTo>
                        <a:pt x="802" y="44"/>
                        <a:pt x="802" y="44"/>
                        <a:pt x="802" y="44"/>
                      </a:cubicBezTo>
                      <a:cubicBezTo>
                        <a:pt x="807" y="46"/>
                        <a:pt x="807" y="46"/>
                        <a:pt x="807" y="46"/>
                      </a:cubicBezTo>
                      <a:cubicBezTo>
                        <a:pt x="811" y="45"/>
                        <a:pt x="811" y="45"/>
                        <a:pt x="811" y="45"/>
                      </a:cubicBezTo>
                      <a:cubicBezTo>
                        <a:pt x="817" y="45"/>
                        <a:pt x="817" y="45"/>
                        <a:pt x="817" y="45"/>
                      </a:cubicBezTo>
                      <a:cubicBezTo>
                        <a:pt x="828" y="44"/>
                        <a:pt x="828" y="44"/>
                        <a:pt x="828" y="44"/>
                      </a:cubicBezTo>
                      <a:cubicBezTo>
                        <a:pt x="830" y="43"/>
                        <a:pt x="830" y="43"/>
                        <a:pt x="830" y="43"/>
                      </a:cubicBezTo>
                      <a:cubicBezTo>
                        <a:pt x="839" y="43"/>
                        <a:pt x="839" y="43"/>
                        <a:pt x="839" y="43"/>
                      </a:cubicBezTo>
                      <a:cubicBezTo>
                        <a:pt x="842" y="43"/>
                        <a:pt x="842" y="43"/>
                        <a:pt x="842" y="43"/>
                      </a:cubicBezTo>
                      <a:cubicBezTo>
                        <a:pt x="845" y="43"/>
                        <a:pt x="845" y="43"/>
                        <a:pt x="845" y="43"/>
                      </a:cubicBezTo>
                      <a:cubicBezTo>
                        <a:pt x="850" y="43"/>
                        <a:pt x="850" y="43"/>
                        <a:pt x="850" y="43"/>
                      </a:cubicBezTo>
                      <a:cubicBezTo>
                        <a:pt x="847" y="44"/>
                        <a:pt x="847" y="44"/>
                        <a:pt x="847" y="44"/>
                      </a:cubicBezTo>
                      <a:cubicBezTo>
                        <a:pt x="841" y="47"/>
                        <a:pt x="841" y="47"/>
                        <a:pt x="841" y="47"/>
                      </a:cubicBezTo>
                      <a:cubicBezTo>
                        <a:pt x="839" y="45"/>
                        <a:pt x="839" y="45"/>
                        <a:pt x="839" y="45"/>
                      </a:cubicBezTo>
                      <a:cubicBezTo>
                        <a:pt x="838" y="46"/>
                        <a:pt x="838" y="46"/>
                        <a:pt x="838" y="46"/>
                      </a:cubicBezTo>
                      <a:cubicBezTo>
                        <a:pt x="836" y="45"/>
                        <a:pt x="836" y="45"/>
                        <a:pt x="836" y="45"/>
                      </a:cubicBezTo>
                      <a:cubicBezTo>
                        <a:pt x="834" y="49"/>
                        <a:pt x="834" y="49"/>
                        <a:pt x="834" y="49"/>
                      </a:cubicBezTo>
                      <a:cubicBezTo>
                        <a:pt x="836" y="51"/>
                        <a:pt x="836" y="51"/>
                        <a:pt x="836" y="51"/>
                      </a:cubicBezTo>
                      <a:cubicBezTo>
                        <a:pt x="835" y="52"/>
                        <a:pt x="835" y="52"/>
                        <a:pt x="835" y="52"/>
                      </a:cubicBezTo>
                      <a:cubicBezTo>
                        <a:pt x="834" y="54"/>
                        <a:pt x="834" y="54"/>
                        <a:pt x="834" y="54"/>
                      </a:cubicBezTo>
                      <a:cubicBezTo>
                        <a:pt x="836" y="55"/>
                        <a:pt x="836" y="55"/>
                        <a:pt x="836" y="55"/>
                      </a:cubicBezTo>
                      <a:cubicBezTo>
                        <a:pt x="839" y="53"/>
                        <a:pt x="839" y="53"/>
                        <a:pt x="839" y="53"/>
                      </a:cubicBezTo>
                      <a:cubicBezTo>
                        <a:pt x="839" y="51"/>
                        <a:pt x="839" y="51"/>
                        <a:pt x="839" y="51"/>
                      </a:cubicBezTo>
                      <a:cubicBezTo>
                        <a:pt x="844" y="47"/>
                        <a:pt x="844" y="47"/>
                        <a:pt x="844" y="47"/>
                      </a:cubicBezTo>
                      <a:cubicBezTo>
                        <a:pt x="851" y="44"/>
                        <a:pt x="851" y="44"/>
                        <a:pt x="851" y="44"/>
                      </a:cubicBezTo>
                      <a:cubicBezTo>
                        <a:pt x="852" y="48"/>
                        <a:pt x="852" y="48"/>
                        <a:pt x="852" y="48"/>
                      </a:cubicBezTo>
                      <a:cubicBezTo>
                        <a:pt x="852" y="53"/>
                        <a:pt x="852" y="53"/>
                        <a:pt x="852" y="53"/>
                      </a:cubicBezTo>
                      <a:cubicBezTo>
                        <a:pt x="851" y="54"/>
                        <a:pt x="851" y="54"/>
                        <a:pt x="851" y="54"/>
                      </a:cubicBezTo>
                      <a:cubicBezTo>
                        <a:pt x="850" y="51"/>
                        <a:pt x="850" y="51"/>
                        <a:pt x="850" y="51"/>
                      </a:cubicBezTo>
                      <a:cubicBezTo>
                        <a:pt x="848" y="49"/>
                        <a:pt x="848" y="49"/>
                        <a:pt x="848" y="49"/>
                      </a:cubicBezTo>
                      <a:cubicBezTo>
                        <a:pt x="848" y="47"/>
                        <a:pt x="848" y="47"/>
                        <a:pt x="848" y="47"/>
                      </a:cubicBezTo>
                      <a:cubicBezTo>
                        <a:pt x="846" y="49"/>
                        <a:pt x="846" y="49"/>
                        <a:pt x="846" y="49"/>
                      </a:cubicBezTo>
                      <a:cubicBezTo>
                        <a:pt x="845" y="48"/>
                        <a:pt x="845" y="48"/>
                        <a:pt x="845" y="48"/>
                      </a:cubicBezTo>
                      <a:cubicBezTo>
                        <a:pt x="846" y="52"/>
                        <a:pt x="846" y="52"/>
                        <a:pt x="846" y="52"/>
                      </a:cubicBezTo>
                      <a:cubicBezTo>
                        <a:pt x="848" y="53"/>
                        <a:pt x="848" y="53"/>
                        <a:pt x="848" y="53"/>
                      </a:cubicBezTo>
                      <a:cubicBezTo>
                        <a:pt x="849" y="57"/>
                        <a:pt x="849" y="57"/>
                        <a:pt x="849" y="57"/>
                      </a:cubicBezTo>
                      <a:cubicBezTo>
                        <a:pt x="848" y="60"/>
                        <a:pt x="848" y="60"/>
                        <a:pt x="848" y="60"/>
                      </a:cubicBezTo>
                      <a:cubicBezTo>
                        <a:pt x="846" y="59"/>
                        <a:pt x="846" y="59"/>
                        <a:pt x="846" y="59"/>
                      </a:cubicBezTo>
                      <a:cubicBezTo>
                        <a:pt x="845" y="60"/>
                        <a:pt x="845" y="60"/>
                        <a:pt x="845" y="60"/>
                      </a:cubicBezTo>
                      <a:cubicBezTo>
                        <a:pt x="847" y="62"/>
                        <a:pt x="847" y="62"/>
                        <a:pt x="847" y="62"/>
                      </a:cubicBezTo>
                      <a:cubicBezTo>
                        <a:pt x="847" y="63"/>
                        <a:pt x="847" y="63"/>
                        <a:pt x="847" y="63"/>
                      </a:cubicBezTo>
                      <a:cubicBezTo>
                        <a:pt x="848" y="64"/>
                        <a:pt x="848" y="64"/>
                        <a:pt x="848" y="64"/>
                      </a:cubicBezTo>
                      <a:cubicBezTo>
                        <a:pt x="849" y="64"/>
                        <a:pt x="849" y="64"/>
                        <a:pt x="849" y="64"/>
                      </a:cubicBezTo>
                      <a:cubicBezTo>
                        <a:pt x="852" y="62"/>
                        <a:pt x="852" y="62"/>
                        <a:pt x="852" y="62"/>
                      </a:cubicBezTo>
                      <a:cubicBezTo>
                        <a:pt x="852" y="60"/>
                        <a:pt x="852" y="60"/>
                        <a:pt x="852" y="60"/>
                      </a:cubicBezTo>
                      <a:cubicBezTo>
                        <a:pt x="854" y="57"/>
                        <a:pt x="854" y="57"/>
                        <a:pt x="854" y="57"/>
                      </a:cubicBezTo>
                      <a:cubicBezTo>
                        <a:pt x="853" y="55"/>
                        <a:pt x="853" y="55"/>
                        <a:pt x="853" y="55"/>
                      </a:cubicBezTo>
                      <a:cubicBezTo>
                        <a:pt x="853" y="52"/>
                        <a:pt x="853" y="52"/>
                        <a:pt x="853" y="52"/>
                      </a:cubicBezTo>
                      <a:cubicBezTo>
                        <a:pt x="853" y="42"/>
                        <a:pt x="853" y="42"/>
                        <a:pt x="853" y="42"/>
                      </a:cubicBezTo>
                      <a:cubicBezTo>
                        <a:pt x="856" y="39"/>
                        <a:pt x="856" y="39"/>
                        <a:pt x="856" y="39"/>
                      </a:cubicBezTo>
                      <a:cubicBezTo>
                        <a:pt x="861" y="38"/>
                        <a:pt x="861" y="38"/>
                        <a:pt x="861" y="38"/>
                      </a:cubicBezTo>
                      <a:cubicBezTo>
                        <a:pt x="867" y="37"/>
                        <a:pt x="867" y="37"/>
                        <a:pt x="867" y="37"/>
                      </a:cubicBezTo>
                      <a:cubicBezTo>
                        <a:pt x="872" y="37"/>
                        <a:pt x="872" y="37"/>
                        <a:pt x="872" y="37"/>
                      </a:cubicBezTo>
                      <a:cubicBezTo>
                        <a:pt x="878" y="40"/>
                        <a:pt x="878" y="40"/>
                        <a:pt x="878" y="40"/>
                      </a:cubicBezTo>
                      <a:cubicBezTo>
                        <a:pt x="882" y="44"/>
                        <a:pt x="882" y="44"/>
                        <a:pt x="882" y="44"/>
                      </a:cubicBezTo>
                      <a:cubicBezTo>
                        <a:pt x="881" y="46"/>
                        <a:pt x="881" y="46"/>
                        <a:pt x="881" y="46"/>
                      </a:cubicBezTo>
                      <a:cubicBezTo>
                        <a:pt x="880" y="48"/>
                        <a:pt x="880" y="48"/>
                        <a:pt x="880" y="48"/>
                      </a:cubicBezTo>
                      <a:cubicBezTo>
                        <a:pt x="876" y="45"/>
                        <a:pt x="876" y="45"/>
                        <a:pt x="876" y="45"/>
                      </a:cubicBezTo>
                      <a:cubicBezTo>
                        <a:pt x="876" y="45"/>
                        <a:pt x="876" y="45"/>
                        <a:pt x="876" y="45"/>
                      </a:cubicBezTo>
                      <a:cubicBezTo>
                        <a:pt x="876" y="47"/>
                        <a:pt x="876" y="47"/>
                        <a:pt x="876" y="47"/>
                      </a:cubicBezTo>
                      <a:cubicBezTo>
                        <a:pt x="876" y="49"/>
                        <a:pt x="876" y="49"/>
                        <a:pt x="876" y="49"/>
                      </a:cubicBezTo>
                      <a:cubicBezTo>
                        <a:pt x="877" y="51"/>
                        <a:pt x="877" y="51"/>
                        <a:pt x="877" y="51"/>
                      </a:cubicBezTo>
                      <a:cubicBezTo>
                        <a:pt x="875" y="53"/>
                        <a:pt x="875" y="53"/>
                        <a:pt x="875" y="53"/>
                      </a:cubicBezTo>
                      <a:cubicBezTo>
                        <a:pt x="876" y="53"/>
                        <a:pt x="876" y="53"/>
                        <a:pt x="876" y="53"/>
                      </a:cubicBezTo>
                      <a:cubicBezTo>
                        <a:pt x="879" y="52"/>
                        <a:pt x="879" y="52"/>
                        <a:pt x="879" y="52"/>
                      </a:cubicBezTo>
                      <a:cubicBezTo>
                        <a:pt x="882" y="52"/>
                        <a:pt x="882" y="52"/>
                        <a:pt x="882" y="52"/>
                      </a:cubicBezTo>
                      <a:cubicBezTo>
                        <a:pt x="884" y="50"/>
                        <a:pt x="884" y="50"/>
                        <a:pt x="884" y="50"/>
                      </a:cubicBezTo>
                      <a:cubicBezTo>
                        <a:pt x="885" y="53"/>
                        <a:pt x="885" y="53"/>
                        <a:pt x="885" y="53"/>
                      </a:cubicBezTo>
                      <a:cubicBezTo>
                        <a:pt x="886" y="55"/>
                        <a:pt x="886" y="55"/>
                        <a:pt x="886" y="55"/>
                      </a:cubicBezTo>
                      <a:cubicBezTo>
                        <a:pt x="886" y="57"/>
                        <a:pt x="886" y="57"/>
                        <a:pt x="886" y="57"/>
                      </a:cubicBezTo>
                      <a:cubicBezTo>
                        <a:pt x="887" y="58"/>
                        <a:pt x="887" y="58"/>
                        <a:pt x="887" y="58"/>
                      </a:cubicBezTo>
                      <a:cubicBezTo>
                        <a:pt x="889" y="56"/>
                        <a:pt x="889" y="56"/>
                        <a:pt x="889" y="56"/>
                      </a:cubicBezTo>
                      <a:cubicBezTo>
                        <a:pt x="888" y="55"/>
                        <a:pt x="888" y="55"/>
                        <a:pt x="888" y="55"/>
                      </a:cubicBezTo>
                      <a:cubicBezTo>
                        <a:pt x="891" y="53"/>
                        <a:pt x="891" y="53"/>
                        <a:pt x="891" y="53"/>
                      </a:cubicBezTo>
                      <a:cubicBezTo>
                        <a:pt x="893" y="54"/>
                        <a:pt x="893" y="54"/>
                        <a:pt x="893" y="54"/>
                      </a:cubicBezTo>
                      <a:cubicBezTo>
                        <a:pt x="894" y="56"/>
                        <a:pt x="894" y="56"/>
                        <a:pt x="894" y="56"/>
                      </a:cubicBezTo>
                      <a:cubicBezTo>
                        <a:pt x="893" y="58"/>
                        <a:pt x="893" y="58"/>
                        <a:pt x="893" y="58"/>
                      </a:cubicBezTo>
                      <a:cubicBezTo>
                        <a:pt x="892" y="60"/>
                        <a:pt x="892" y="60"/>
                        <a:pt x="892" y="60"/>
                      </a:cubicBezTo>
                      <a:cubicBezTo>
                        <a:pt x="893" y="61"/>
                        <a:pt x="893" y="61"/>
                        <a:pt x="893" y="61"/>
                      </a:cubicBezTo>
                      <a:cubicBezTo>
                        <a:pt x="894" y="61"/>
                        <a:pt x="894" y="61"/>
                        <a:pt x="894" y="61"/>
                      </a:cubicBezTo>
                      <a:cubicBezTo>
                        <a:pt x="895" y="58"/>
                        <a:pt x="895" y="58"/>
                        <a:pt x="895" y="58"/>
                      </a:cubicBezTo>
                      <a:cubicBezTo>
                        <a:pt x="896" y="58"/>
                        <a:pt x="896" y="58"/>
                        <a:pt x="896" y="58"/>
                      </a:cubicBezTo>
                      <a:cubicBezTo>
                        <a:pt x="897" y="59"/>
                        <a:pt x="897" y="59"/>
                        <a:pt x="897" y="59"/>
                      </a:cubicBezTo>
                      <a:cubicBezTo>
                        <a:pt x="897" y="57"/>
                        <a:pt x="897" y="57"/>
                        <a:pt x="897" y="57"/>
                      </a:cubicBezTo>
                      <a:cubicBezTo>
                        <a:pt x="899" y="53"/>
                        <a:pt x="899" y="53"/>
                        <a:pt x="899" y="53"/>
                      </a:cubicBezTo>
                      <a:cubicBezTo>
                        <a:pt x="900" y="52"/>
                        <a:pt x="900" y="52"/>
                        <a:pt x="900" y="52"/>
                      </a:cubicBezTo>
                      <a:cubicBezTo>
                        <a:pt x="901" y="53"/>
                        <a:pt x="901" y="53"/>
                        <a:pt x="901" y="53"/>
                      </a:cubicBezTo>
                      <a:cubicBezTo>
                        <a:pt x="906" y="56"/>
                        <a:pt x="906" y="56"/>
                        <a:pt x="906" y="56"/>
                      </a:cubicBezTo>
                      <a:cubicBezTo>
                        <a:pt x="910" y="57"/>
                        <a:pt x="910" y="57"/>
                        <a:pt x="910" y="57"/>
                      </a:cubicBezTo>
                      <a:cubicBezTo>
                        <a:pt x="913" y="61"/>
                        <a:pt x="913" y="61"/>
                        <a:pt x="913" y="61"/>
                      </a:cubicBezTo>
                      <a:cubicBezTo>
                        <a:pt x="913" y="62"/>
                        <a:pt x="913" y="62"/>
                        <a:pt x="913" y="62"/>
                      </a:cubicBezTo>
                      <a:cubicBezTo>
                        <a:pt x="910" y="64"/>
                        <a:pt x="910" y="64"/>
                        <a:pt x="910" y="64"/>
                      </a:cubicBezTo>
                      <a:cubicBezTo>
                        <a:pt x="907" y="67"/>
                        <a:pt x="907" y="67"/>
                        <a:pt x="907" y="67"/>
                      </a:cubicBezTo>
                      <a:cubicBezTo>
                        <a:pt x="910" y="65"/>
                        <a:pt x="910" y="65"/>
                        <a:pt x="910" y="65"/>
                      </a:cubicBezTo>
                      <a:cubicBezTo>
                        <a:pt x="914" y="64"/>
                        <a:pt x="914" y="64"/>
                        <a:pt x="914" y="64"/>
                      </a:cubicBezTo>
                      <a:cubicBezTo>
                        <a:pt x="917" y="65"/>
                        <a:pt x="917" y="65"/>
                        <a:pt x="917" y="65"/>
                      </a:cubicBezTo>
                      <a:cubicBezTo>
                        <a:pt x="920" y="64"/>
                        <a:pt x="920" y="64"/>
                        <a:pt x="920" y="64"/>
                      </a:cubicBezTo>
                      <a:cubicBezTo>
                        <a:pt x="923" y="62"/>
                        <a:pt x="923" y="62"/>
                        <a:pt x="923" y="62"/>
                      </a:cubicBezTo>
                      <a:cubicBezTo>
                        <a:pt x="925" y="61"/>
                        <a:pt x="925" y="61"/>
                        <a:pt x="925" y="61"/>
                      </a:cubicBezTo>
                      <a:cubicBezTo>
                        <a:pt x="929" y="58"/>
                        <a:pt x="929" y="58"/>
                        <a:pt x="929" y="58"/>
                      </a:cubicBezTo>
                      <a:cubicBezTo>
                        <a:pt x="931" y="57"/>
                        <a:pt x="931" y="57"/>
                        <a:pt x="931" y="57"/>
                      </a:cubicBezTo>
                      <a:cubicBezTo>
                        <a:pt x="934" y="54"/>
                        <a:pt x="934" y="54"/>
                        <a:pt x="934" y="54"/>
                      </a:cubicBezTo>
                      <a:cubicBezTo>
                        <a:pt x="936" y="53"/>
                        <a:pt x="936" y="53"/>
                        <a:pt x="936" y="53"/>
                      </a:cubicBezTo>
                      <a:cubicBezTo>
                        <a:pt x="944" y="49"/>
                        <a:pt x="944" y="49"/>
                        <a:pt x="944" y="49"/>
                      </a:cubicBezTo>
                      <a:cubicBezTo>
                        <a:pt x="947" y="48"/>
                        <a:pt x="947" y="48"/>
                        <a:pt x="947" y="48"/>
                      </a:cubicBezTo>
                      <a:cubicBezTo>
                        <a:pt x="949" y="49"/>
                        <a:pt x="949" y="49"/>
                        <a:pt x="949" y="49"/>
                      </a:cubicBezTo>
                      <a:cubicBezTo>
                        <a:pt x="950" y="48"/>
                        <a:pt x="950" y="48"/>
                        <a:pt x="950" y="48"/>
                      </a:cubicBezTo>
                      <a:cubicBezTo>
                        <a:pt x="954" y="45"/>
                        <a:pt x="954" y="45"/>
                        <a:pt x="954" y="45"/>
                      </a:cubicBezTo>
                      <a:cubicBezTo>
                        <a:pt x="956" y="45"/>
                        <a:pt x="956" y="45"/>
                        <a:pt x="956" y="45"/>
                      </a:cubicBezTo>
                      <a:cubicBezTo>
                        <a:pt x="961" y="45"/>
                        <a:pt x="961" y="45"/>
                        <a:pt x="961" y="45"/>
                      </a:cubicBezTo>
                      <a:cubicBezTo>
                        <a:pt x="970" y="48"/>
                        <a:pt x="970" y="48"/>
                        <a:pt x="970" y="48"/>
                      </a:cubicBezTo>
                      <a:cubicBezTo>
                        <a:pt x="975" y="52"/>
                        <a:pt x="975" y="52"/>
                        <a:pt x="975" y="52"/>
                      </a:cubicBezTo>
                      <a:cubicBezTo>
                        <a:pt x="979" y="54"/>
                        <a:pt x="979" y="54"/>
                        <a:pt x="979" y="54"/>
                      </a:cubicBezTo>
                      <a:cubicBezTo>
                        <a:pt x="982" y="59"/>
                        <a:pt x="982" y="59"/>
                        <a:pt x="982" y="59"/>
                      </a:cubicBezTo>
                      <a:cubicBezTo>
                        <a:pt x="984" y="62"/>
                        <a:pt x="984" y="62"/>
                        <a:pt x="984" y="62"/>
                      </a:cubicBezTo>
                      <a:cubicBezTo>
                        <a:pt x="984" y="64"/>
                        <a:pt x="984" y="64"/>
                        <a:pt x="984" y="64"/>
                      </a:cubicBezTo>
                      <a:cubicBezTo>
                        <a:pt x="985" y="65"/>
                        <a:pt x="985" y="65"/>
                        <a:pt x="985" y="65"/>
                      </a:cubicBezTo>
                      <a:cubicBezTo>
                        <a:pt x="985" y="68"/>
                        <a:pt x="985" y="68"/>
                        <a:pt x="985" y="68"/>
                      </a:cubicBezTo>
                      <a:cubicBezTo>
                        <a:pt x="987" y="72"/>
                        <a:pt x="987" y="72"/>
                        <a:pt x="987" y="72"/>
                      </a:cubicBezTo>
                      <a:cubicBezTo>
                        <a:pt x="987" y="74"/>
                        <a:pt x="987" y="74"/>
                        <a:pt x="987" y="74"/>
                      </a:cubicBezTo>
                      <a:cubicBezTo>
                        <a:pt x="986" y="76"/>
                        <a:pt x="986" y="76"/>
                        <a:pt x="986" y="76"/>
                      </a:cubicBezTo>
                      <a:cubicBezTo>
                        <a:pt x="988" y="75"/>
                        <a:pt x="988" y="75"/>
                        <a:pt x="988" y="75"/>
                      </a:cubicBezTo>
                      <a:cubicBezTo>
                        <a:pt x="990" y="72"/>
                        <a:pt x="990" y="72"/>
                        <a:pt x="990" y="72"/>
                      </a:cubicBezTo>
                      <a:cubicBezTo>
                        <a:pt x="993" y="72"/>
                        <a:pt x="993" y="72"/>
                        <a:pt x="993" y="72"/>
                      </a:cubicBezTo>
                      <a:cubicBezTo>
                        <a:pt x="994" y="74"/>
                        <a:pt x="994" y="74"/>
                        <a:pt x="994" y="74"/>
                      </a:cubicBezTo>
                      <a:cubicBezTo>
                        <a:pt x="994" y="72"/>
                        <a:pt x="994" y="72"/>
                        <a:pt x="994" y="72"/>
                      </a:cubicBezTo>
                      <a:cubicBezTo>
                        <a:pt x="997" y="72"/>
                        <a:pt x="997" y="72"/>
                        <a:pt x="997" y="72"/>
                      </a:cubicBezTo>
                      <a:cubicBezTo>
                        <a:pt x="999" y="73"/>
                        <a:pt x="999" y="73"/>
                        <a:pt x="999" y="73"/>
                      </a:cubicBezTo>
                      <a:cubicBezTo>
                        <a:pt x="1000" y="76"/>
                        <a:pt x="1000" y="76"/>
                        <a:pt x="1000" y="76"/>
                      </a:cubicBezTo>
                      <a:cubicBezTo>
                        <a:pt x="1000" y="74"/>
                        <a:pt x="1000" y="74"/>
                        <a:pt x="1000" y="74"/>
                      </a:cubicBezTo>
                      <a:cubicBezTo>
                        <a:pt x="999" y="71"/>
                        <a:pt x="999" y="71"/>
                        <a:pt x="999" y="71"/>
                      </a:cubicBezTo>
                      <a:cubicBezTo>
                        <a:pt x="1001" y="70"/>
                        <a:pt x="1001" y="70"/>
                        <a:pt x="1001" y="70"/>
                      </a:cubicBezTo>
                      <a:cubicBezTo>
                        <a:pt x="1003" y="73"/>
                        <a:pt x="1003" y="73"/>
                        <a:pt x="1003" y="73"/>
                      </a:cubicBezTo>
                      <a:cubicBezTo>
                        <a:pt x="1006" y="76"/>
                        <a:pt x="1006" y="76"/>
                        <a:pt x="1006" y="76"/>
                      </a:cubicBezTo>
                      <a:cubicBezTo>
                        <a:pt x="1006" y="80"/>
                        <a:pt x="1006" y="80"/>
                        <a:pt x="1006" y="80"/>
                      </a:cubicBezTo>
                      <a:cubicBezTo>
                        <a:pt x="1008" y="80"/>
                        <a:pt x="1008" y="80"/>
                        <a:pt x="1008" y="80"/>
                      </a:cubicBezTo>
                      <a:cubicBezTo>
                        <a:pt x="1011" y="83"/>
                        <a:pt x="1011" y="83"/>
                        <a:pt x="1011" y="83"/>
                      </a:cubicBezTo>
                      <a:cubicBezTo>
                        <a:pt x="1011" y="82"/>
                        <a:pt x="1011" y="82"/>
                        <a:pt x="1011" y="82"/>
                      </a:cubicBezTo>
                      <a:cubicBezTo>
                        <a:pt x="1010" y="79"/>
                        <a:pt x="1010" y="79"/>
                        <a:pt x="1010" y="79"/>
                      </a:cubicBezTo>
                      <a:cubicBezTo>
                        <a:pt x="1008" y="78"/>
                        <a:pt x="1008" y="78"/>
                        <a:pt x="1008" y="78"/>
                      </a:cubicBezTo>
                      <a:cubicBezTo>
                        <a:pt x="1008" y="76"/>
                        <a:pt x="1008" y="76"/>
                        <a:pt x="1008" y="76"/>
                      </a:cubicBezTo>
                      <a:cubicBezTo>
                        <a:pt x="1010" y="78"/>
                        <a:pt x="1010" y="78"/>
                        <a:pt x="1010" y="78"/>
                      </a:cubicBezTo>
                      <a:cubicBezTo>
                        <a:pt x="1011" y="77"/>
                        <a:pt x="1011" y="77"/>
                        <a:pt x="1011" y="77"/>
                      </a:cubicBezTo>
                      <a:cubicBezTo>
                        <a:pt x="1013" y="79"/>
                        <a:pt x="1013" y="79"/>
                        <a:pt x="1013" y="79"/>
                      </a:cubicBezTo>
                      <a:cubicBezTo>
                        <a:pt x="1016" y="83"/>
                        <a:pt x="1016" y="83"/>
                        <a:pt x="1016" y="83"/>
                      </a:cubicBezTo>
                      <a:cubicBezTo>
                        <a:pt x="1015" y="80"/>
                        <a:pt x="1015" y="80"/>
                        <a:pt x="1015" y="80"/>
                      </a:cubicBezTo>
                      <a:cubicBezTo>
                        <a:pt x="1012" y="75"/>
                        <a:pt x="1012" y="75"/>
                        <a:pt x="1012" y="75"/>
                      </a:cubicBezTo>
                      <a:cubicBezTo>
                        <a:pt x="1012" y="70"/>
                        <a:pt x="1012" y="70"/>
                        <a:pt x="1012" y="70"/>
                      </a:cubicBezTo>
                      <a:cubicBezTo>
                        <a:pt x="1012" y="67"/>
                        <a:pt x="1012" y="67"/>
                        <a:pt x="1012" y="67"/>
                      </a:cubicBezTo>
                      <a:cubicBezTo>
                        <a:pt x="1014" y="64"/>
                        <a:pt x="1014" y="64"/>
                        <a:pt x="1014" y="64"/>
                      </a:cubicBezTo>
                      <a:cubicBezTo>
                        <a:pt x="1018" y="63"/>
                        <a:pt x="1018" y="63"/>
                        <a:pt x="1018" y="63"/>
                      </a:cubicBezTo>
                      <a:cubicBezTo>
                        <a:pt x="1020" y="62"/>
                        <a:pt x="1020" y="62"/>
                        <a:pt x="1020" y="62"/>
                      </a:cubicBezTo>
                      <a:cubicBezTo>
                        <a:pt x="1023" y="61"/>
                        <a:pt x="1023" y="61"/>
                        <a:pt x="1023" y="61"/>
                      </a:cubicBezTo>
                      <a:cubicBezTo>
                        <a:pt x="1023" y="59"/>
                        <a:pt x="1023" y="59"/>
                        <a:pt x="1023" y="59"/>
                      </a:cubicBezTo>
                      <a:cubicBezTo>
                        <a:pt x="1024" y="58"/>
                        <a:pt x="1024" y="58"/>
                        <a:pt x="1024" y="58"/>
                      </a:cubicBezTo>
                      <a:cubicBezTo>
                        <a:pt x="1025" y="58"/>
                        <a:pt x="1025" y="58"/>
                        <a:pt x="1025" y="58"/>
                      </a:cubicBezTo>
                      <a:cubicBezTo>
                        <a:pt x="1027" y="60"/>
                        <a:pt x="1027" y="60"/>
                        <a:pt x="1027" y="60"/>
                      </a:cubicBezTo>
                      <a:cubicBezTo>
                        <a:pt x="1029" y="61"/>
                        <a:pt x="1029" y="61"/>
                        <a:pt x="1029" y="61"/>
                      </a:cubicBezTo>
                      <a:cubicBezTo>
                        <a:pt x="1031" y="60"/>
                        <a:pt x="1031" y="60"/>
                        <a:pt x="1031" y="60"/>
                      </a:cubicBezTo>
                      <a:cubicBezTo>
                        <a:pt x="1034" y="58"/>
                        <a:pt x="1034" y="58"/>
                        <a:pt x="1034" y="58"/>
                      </a:cubicBezTo>
                      <a:cubicBezTo>
                        <a:pt x="1035" y="59"/>
                        <a:pt x="1035" y="59"/>
                        <a:pt x="1035" y="59"/>
                      </a:cubicBezTo>
                      <a:cubicBezTo>
                        <a:pt x="1039" y="57"/>
                        <a:pt x="1039" y="57"/>
                        <a:pt x="1039" y="57"/>
                      </a:cubicBezTo>
                      <a:cubicBezTo>
                        <a:pt x="1043" y="58"/>
                        <a:pt x="1043" y="58"/>
                        <a:pt x="1043" y="58"/>
                      </a:cubicBezTo>
                      <a:cubicBezTo>
                        <a:pt x="1045" y="56"/>
                        <a:pt x="1045" y="56"/>
                        <a:pt x="1045" y="56"/>
                      </a:cubicBezTo>
                      <a:cubicBezTo>
                        <a:pt x="1046" y="56"/>
                        <a:pt x="1046" y="56"/>
                        <a:pt x="1046" y="56"/>
                      </a:cubicBezTo>
                      <a:cubicBezTo>
                        <a:pt x="1046" y="58"/>
                        <a:pt x="1046" y="58"/>
                        <a:pt x="1046" y="58"/>
                      </a:cubicBezTo>
                      <a:cubicBezTo>
                        <a:pt x="1047" y="59"/>
                        <a:pt x="1047" y="59"/>
                        <a:pt x="1047" y="59"/>
                      </a:cubicBezTo>
                      <a:cubicBezTo>
                        <a:pt x="1048" y="57"/>
                        <a:pt x="1048" y="57"/>
                        <a:pt x="1048" y="57"/>
                      </a:cubicBezTo>
                      <a:cubicBezTo>
                        <a:pt x="1050" y="54"/>
                        <a:pt x="1050" y="54"/>
                        <a:pt x="1050" y="54"/>
                      </a:cubicBezTo>
                      <a:cubicBezTo>
                        <a:pt x="1050" y="52"/>
                        <a:pt x="1050" y="52"/>
                        <a:pt x="1050" y="52"/>
                      </a:cubicBezTo>
                      <a:cubicBezTo>
                        <a:pt x="1050" y="49"/>
                        <a:pt x="1050" y="49"/>
                        <a:pt x="1050" y="49"/>
                      </a:cubicBezTo>
                      <a:cubicBezTo>
                        <a:pt x="1050" y="47"/>
                        <a:pt x="1050" y="47"/>
                        <a:pt x="1050" y="47"/>
                      </a:cubicBezTo>
                      <a:cubicBezTo>
                        <a:pt x="1051" y="46"/>
                        <a:pt x="1051" y="46"/>
                        <a:pt x="1051" y="46"/>
                      </a:cubicBezTo>
                      <a:cubicBezTo>
                        <a:pt x="1054" y="47"/>
                        <a:pt x="1054" y="47"/>
                        <a:pt x="1054" y="47"/>
                      </a:cubicBezTo>
                      <a:cubicBezTo>
                        <a:pt x="1055" y="49"/>
                        <a:pt x="1055" y="49"/>
                        <a:pt x="1055" y="49"/>
                      </a:cubicBezTo>
                      <a:cubicBezTo>
                        <a:pt x="1056" y="51"/>
                        <a:pt x="1056" y="51"/>
                        <a:pt x="1056" y="51"/>
                      </a:cubicBezTo>
                      <a:cubicBezTo>
                        <a:pt x="1058" y="51"/>
                        <a:pt x="1058" y="51"/>
                        <a:pt x="1058" y="51"/>
                      </a:cubicBezTo>
                      <a:cubicBezTo>
                        <a:pt x="1060" y="52"/>
                        <a:pt x="1060" y="52"/>
                        <a:pt x="1060" y="52"/>
                      </a:cubicBezTo>
                      <a:cubicBezTo>
                        <a:pt x="1060" y="55"/>
                        <a:pt x="1060" y="55"/>
                        <a:pt x="1060" y="55"/>
                      </a:cubicBezTo>
                      <a:cubicBezTo>
                        <a:pt x="1063" y="58"/>
                        <a:pt x="1063" y="58"/>
                        <a:pt x="1063" y="58"/>
                      </a:cubicBezTo>
                      <a:cubicBezTo>
                        <a:pt x="1064" y="59"/>
                        <a:pt x="1064" y="59"/>
                        <a:pt x="1064" y="59"/>
                      </a:cubicBezTo>
                      <a:cubicBezTo>
                        <a:pt x="1067" y="58"/>
                        <a:pt x="1067" y="58"/>
                        <a:pt x="1067" y="58"/>
                      </a:cubicBezTo>
                      <a:cubicBezTo>
                        <a:pt x="1072" y="59"/>
                        <a:pt x="1072" y="59"/>
                        <a:pt x="1072" y="59"/>
                      </a:cubicBezTo>
                      <a:cubicBezTo>
                        <a:pt x="1072" y="59"/>
                        <a:pt x="1072" y="59"/>
                        <a:pt x="1072" y="59"/>
                      </a:cubicBezTo>
                      <a:cubicBezTo>
                        <a:pt x="1074" y="59"/>
                        <a:pt x="1074" y="59"/>
                        <a:pt x="1074" y="59"/>
                      </a:cubicBezTo>
                      <a:cubicBezTo>
                        <a:pt x="1077" y="63"/>
                        <a:pt x="1077" y="63"/>
                        <a:pt x="1077" y="63"/>
                      </a:cubicBezTo>
                      <a:cubicBezTo>
                        <a:pt x="1077" y="66"/>
                        <a:pt x="1077" y="66"/>
                        <a:pt x="1077" y="66"/>
                      </a:cubicBezTo>
                      <a:cubicBezTo>
                        <a:pt x="1078" y="67"/>
                        <a:pt x="1078" y="67"/>
                        <a:pt x="1078" y="67"/>
                      </a:cubicBezTo>
                      <a:cubicBezTo>
                        <a:pt x="1081" y="67"/>
                        <a:pt x="1081" y="67"/>
                        <a:pt x="1081" y="67"/>
                      </a:cubicBezTo>
                      <a:cubicBezTo>
                        <a:pt x="1083" y="66"/>
                        <a:pt x="1083" y="66"/>
                        <a:pt x="1083" y="66"/>
                      </a:cubicBezTo>
                      <a:cubicBezTo>
                        <a:pt x="1085" y="66"/>
                        <a:pt x="1085" y="66"/>
                        <a:pt x="1085" y="66"/>
                      </a:cubicBezTo>
                      <a:cubicBezTo>
                        <a:pt x="1085" y="64"/>
                        <a:pt x="1085" y="64"/>
                        <a:pt x="1085" y="64"/>
                      </a:cubicBezTo>
                      <a:cubicBezTo>
                        <a:pt x="1087" y="63"/>
                        <a:pt x="1087" y="63"/>
                        <a:pt x="1087" y="63"/>
                      </a:cubicBezTo>
                      <a:cubicBezTo>
                        <a:pt x="1089" y="63"/>
                        <a:pt x="1089" y="63"/>
                        <a:pt x="1089" y="63"/>
                      </a:cubicBezTo>
                      <a:cubicBezTo>
                        <a:pt x="1089" y="62"/>
                        <a:pt x="1089" y="62"/>
                        <a:pt x="1089" y="62"/>
                      </a:cubicBezTo>
                      <a:cubicBezTo>
                        <a:pt x="1088" y="61"/>
                        <a:pt x="1088" y="61"/>
                        <a:pt x="1088" y="61"/>
                      </a:cubicBezTo>
                      <a:cubicBezTo>
                        <a:pt x="1089" y="60"/>
                        <a:pt x="1089" y="60"/>
                        <a:pt x="1089" y="60"/>
                      </a:cubicBezTo>
                      <a:cubicBezTo>
                        <a:pt x="1088" y="59"/>
                        <a:pt x="1088" y="59"/>
                        <a:pt x="1088" y="59"/>
                      </a:cubicBezTo>
                      <a:cubicBezTo>
                        <a:pt x="1089" y="57"/>
                        <a:pt x="1089" y="57"/>
                        <a:pt x="1089" y="57"/>
                      </a:cubicBezTo>
                      <a:cubicBezTo>
                        <a:pt x="1087" y="55"/>
                        <a:pt x="1087" y="55"/>
                        <a:pt x="1087" y="55"/>
                      </a:cubicBezTo>
                      <a:cubicBezTo>
                        <a:pt x="1084" y="54"/>
                        <a:pt x="1084" y="54"/>
                        <a:pt x="1084" y="54"/>
                      </a:cubicBezTo>
                      <a:cubicBezTo>
                        <a:pt x="1083" y="51"/>
                        <a:pt x="1083" y="51"/>
                        <a:pt x="1083" y="51"/>
                      </a:cubicBezTo>
                      <a:cubicBezTo>
                        <a:pt x="1080" y="47"/>
                        <a:pt x="1080" y="47"/>
                        <a:pt x="1080" y="47"/>
                      </a:cubicBezTo>
                      <a:cubicBezTo>
                        <a:pt x="1078" y="47"/>
                        <a:pt x="1078" y="47"/>
                        <a:pt x="1078" y="47"/>
                      </a:cubicBezTo>
                      <a:cubicBezTo>
                        <a:pt x="1077" y="45"/>
                        <a:pt x="1077" y="45"/>
                        <a:pt x="1077" y="45"/>
                      </a:cubicBezTo>
                      <a:cubicBezTo>
                        <a:pt x="1074" y="44"/>
                        <a:pt x="1074" y="44"/>
                        <a:pt x="1074" y="44"/>
                      </a:cubicBezTo>
                      <a:cubicBezTo>
                        <a:pt x="1072" y="45"/>
                        <a:pt x="1072" y="45"/>
                        <a:pt x="1072" y="45"/>
                      </a:cubicBezTo>
                      <a:cubicBezTo>
                        <a:pt x="1071" y="45"/>
                        <a:pt x="1071" y="45"/>
                        <a:pt x="1071" y="45"/>
                      </a:cubicBezTo>
                      <a:cubicBezTo>
                        <a:pt x="1071" y="42"/>
                        <a:pt x="1071" y="42"/>
                        <a:pt x="1071" y="42"/>
                      </a:cubicBezTo>
                      <a:cubicBezTo>
                        <a:pt x="1072" y="41"/>
                        <a:pt x="1072" y="41"/>
                        <a:pt x="1072" y="41"/>
                      </a:cubicBezTo>
                      <a:cubicBezTo>
                        <a:pt x="1070" y="38"/>
                        <a:pt x="1070" y="38"/>
                        <a:pt x="1070" y="38"/>
                      </a:cubicBezTo>
                      <a:cubicBezTo>
                        <a:pt x="1070" y="36"/>
                        <a:pt x="1070" y="36"/>
                        <a:pt x="1070" y="36"/>
                      </a:cubicBezTo>
                      <a:cubicBezTo>
                        <a:pt x="1069" y="35"/>
                        <a:pt x="1069" y="35"/>
                        <a:pt x="1069" y="35"/>
                      </a:cubicBezTo>
                      <a:cubicBezTo>
                        <a:pt x="1067" y="32"/>
                        <a:pt x="1067" y="32"/>
                        <a:pt x="1067" y="32"/>
                      </a:cubicBezTo>
                      <a:cubicBezTo>
                        <a:pt x="1065" y="30"/>
                        <a:pt x="1065" y="30"/>
                        <a:pt x="1065" y="30"/>
                      </a:cubicBezTo>
                      <a:cubicBezTo>
                        <a:pt x="1065" y="30"/>
                        <a:pt x="1065" y="30"/>
                        <a:pt x="1065" y="30"/>
                      </a:cubicBezTo>
                      <a:cubicBezTo>
                        <a:pt x="1069" y="29"/>
                        <a:pt x="1069" y="29"/>
                        <a:pt x="1069" y="29"/>
                      </a:cubicBezTo>
                      <a:cubicBezTo>
                        <a:pt x="1071" y="30"/>
                        <a:pt x="1071" y="30"/>
                        <a:pt x="1071" y="30"/>
                      </a:cubicBezTo>
                      <a:cubicBezTo>
                        <a:pt x="1076" y="29"/>
                        <a:pt x="1076" y="29"/>
                        <a:pt x="1076" y="29"/>
                      </a:cubicBezTo>
                      <a:cubicBezTo>
                        <a:pt x="1080" y="29"/>
                        <a:pt x="1080" y="29"/>
                        <a:pt x="1080" y="29"/>
                      </a:cubicBezTo>
                      <a:cubicBezTo>
                        <a:pt x="1081" y="28"/>
                        <a:pt x="1081" y="28"/>
                        <a:pt x="1081" y="28"/>
                      </a:cubicBezTo>
                      <a:cubicBezTo>
                        <a:pt x="1083" y="27"/>
                        <a:pt x="1083" y="27"/>
                        <a:pt x="1083" y="27"/>
                      </a:cubicBezTo>
                      <a:cubicBezTo>
                        <a:pt x="1085" y="29"/>
                        <a:pt x="1085" y="29"/>
                        <a:pt x="1085" y="29"/>
                      </a:cubicBezTo>
                      <a:cubicBezTo>
                        <a:pt x="1087" y="28"/>
                        <a:pt x="1087" y="28"/>
                        <a:pt x="1087" y="28"/>
                      </a:cubicBezTo>
                      <a:cubicBezTo>
                        <a:pt x="1088" y="28"/>
                        <a:pt x="1088" y="28"/>
                        <a:pt x="1088" y="28"/>
                      </a:cubicBezTo>
                      <a:cubicBezTo>
                        <a:pt x="1088" y="26"/>
                        <a:pt x="1088" y="26"/>
                        <a:pt x="1088" y="26"/>
                      </a:cubicBezTo>
                      <a:cubicBezTo>
                        <a:pt x="1091" y="26"/>
                        <a:pt x="1091" y="26"/>
                        <a:pt x="1091" y="26"/>
                      </a:cubicBezTo>
                      <a:cubicBezTo>
                        <a:pt x="1092" y="27"/>
                        <a:pt x="1092" y="27"/>
                        <a:pt x="1092" y="27"/>
                      </a:cubicBezTo>
                      <a:cubicBezTo>
                        <a:pt x="1092" y="27"/>
                        <a:pt x="1092" y="27"/>
                        <a:pt x="1092" y="27"/>
                      </a:cubicBezTo>
                      <a:cubicBezTo>
                        <a:pt x="1094" y="25"/>
                        <a:pt x="1094" y="25"/>
                        <a:pt x="1094" y="25"/>
                      </a:cubicBezTo>
                      <a:cubicBezTo>
                        <a:pt x="1095" y="26"/>
                        <a:pt x="1095" y="26"/>
                        <a:pt x="1095" y="26"/>
                      </a:cubicBezTo>
                      <a:cubicBezTo>
                        <a:pt x="1096" y="24"/>
                        <a:pt x="1096" y="24"/>
                        <a:pt x="1096" y="24"/>
                      </a:cubicBezTo>
                      <a:cubicBezTo>
                        <a:pt x="1103" y="22"/>
                        <a:pt x="1103" y="22"/>
                        <a:pt x="1103" y="22"/>
                      </a:cubicBezTo>
                      <a:cubicBezTo>
                        <a:pt x="1104" y="23"/>
                        <a:pt x="1104" y="23"/>
                        <a:pt x="1104" y="23"/>
                      </a:cubicBezTo>
                      <a:cubicBezTo>
                        <a:pt x="1105" y="22"/>
                        <a:pt x="1105" y="22"/>
                        <a:pt x="1105" y="22"/>
                      </a:cubicBezTo>
                      <a:cubicBezTo>
                        <a:pt x="1106" y="20"/>
                        <a:pt x="1106" y="20"/>
                        <a:pt x="1106" y="20"/>
                      </a:cubicBezTo>
                      <a:cubicBezTo>
                        <a:pt x="1107" y="21"/>
                        <a:pt x="1107" y="21"/>
                        <a:pt x="1107" y="21"/>
                      </a:cubicBezTo>
                      <a:cubicBezTo>
                        <a:pt x="1109" y="20"/>
                        <a:pt x="1109" y="20"/>
                        <a:pt x="1109" y="20"/>
                      </a:cubicBezTo>
                      <a:cubicBezTo>
                        <a:pt x="1111" y="20"/>
                        <a:pt x="1111" y="20"/>
                        <a:pt x="1111" y="20"/>
                      </a:cubicBezTo>
                      <a:cubicBezTo>
                        <a:pt x="1112" y="22"/>
                        <a:pt x="1112" y="22"/>
                        <a:pt x="1112" y="22"/>
                      </a:cubicBezTo>
                      <a:cubicBezTo>
                        <a:pt x="1116" y="22"/>
                        <a:pt x="1116" y="22"/>
                        <a:pt x="1116" y="22"/>
                      </a:cubicBezTo>
                      <a:cubicBezTo>
                        <a:pt x="1118" y="21"/>
                        <a:pt x="1118" y="21"/>
                        <a:pt x="1118" y="21"/>
                      </a:cubicBezTo>
                      <a:cubicBezTo>
                        <a:pt x="1119" y="22"/>
                        <a:pt x="1119" y="22"/>
                        <a:pt x="1119" y="22"/>
                      </a:cubicBezTo>
                      <a:cubicBezTo>
                        <a:pt x="1120" y="23"/>
                        <a:pt x="1120" y="23"/>
                        <a:pt x="1120" y="23"/>
                      </a:cubicBezTo>
                      <a:cubicBezTo>
                        <a:pt x="1121" y="21"/>
                        <a:pt x="1121" y="21"/>
                        <a:pt x="1121" y="21"/>
                      </a:cubicBezTo>
                      <a:cubicBezTo>
                        <a:pt x="1124" y="21"/>
                        <a:pt x="1124" y="21"/>
                        <a:pt x="1124" y="21"/>
                      </a:cubicBezTo>
                      <a:cubicBezTo>
                        <a:pt x="1130" y="23"/>
                        <a:pt x="1130" y="23"/>
                        <a:pt x="1130" y="23"/>
                      </a:cubicBezTo>
                      <a:cubicBezTo>
                        <a:pt x="1133" y="24"/>
                        <a:pt x="1133" y="24"/>
                        <a:pt x="1133" y="24"/>
                      </a:cubicBezTo>
                      <a:cubicBezTo>
                        <a:pt x="1134" y="24"/>
                        <a:pt x="1134" y="24"/>
                        <a:pt x="1134" y="24"/>
                      </a:cubicBezTo>
                      <a:cubicBezTo>
                        <a:pt x="1133" y="23"/>
                        <a:pt x="1133" y="23"/>
                        <a:pt x="1133" y="23"/>
                      </a:cubicBezTo>
                      <a:cubicBezTo>
                        <a:pt x="1135" y="22"/>
                        <a:pt x="1135" y="22"/>
                        <a:pt x="1135" y="22"/>
                      </a:cubicBezTo>
                      <a:cubicBezTo>
                        <a:pt x="1137" y="24"/>
                        <a:pt x="1137" y="24"/>
                        <a:pt x="1137" y="24"/>
                      </a:cubicBezTo>
                      <a:cubicBezTo>
                        <a:pt x="1136" y="25"/>
                        <a:pt x="1136" y="25"/>
                        <a:pt x="1136" y="25"/>
                      </a:cubicBezTo>
                      <a:cubicBezTo>
                        <a:pt x="1137" y="25"/>
                        <a:pt x="1137" y="25"/>
                        <a:pt x="1137" y="25"/>
                      </a:cubicBezTo>
                      <a:cubicBezTo>
                        <a:pt x="1140" y="25"/>
                        <a:pt x="1140" y="25"/>
                        <a:pt x="1140" y="25"/>
                      </a:cubicBezTo>
                      <a:cubicBezTo>
                        <a:pt x="1146" y="25"/>
                        <a:pt x="1146" y="25"/>
                        <a:pt x="1146" y="25"/>
                      </a:cubicBezTo>
                      <a:cubicBezTo>
                        <a:pt x="1152" y="29"/>
                        <a:pt x="1152" y="29"/>
                        <a:pt x="1152" y="29"/>
                      </a:cubicBezTo>
                      <a:cubicBezTo>
                        <a:pt x="1152" y="30"/>
                        <a:pt x="1152" y="30"/>
                        <a:pt x="1152" y="30"/>
                      </a:cubicBezTo>
                      <a:cubicBezTo>
                        <a:pt x="1150" y="29"/>
                        <a:pt x="1150" y="29"/>
                        <a:pt x="1150" y="29"/>
                      </a:cubicBezTo>
                      <a:cubicBezTo>
                        <a:pt x="1146" y="28"/>
                        <a:pt x="1146" y="28"/>
                        <a:pt x="1146" y="28"/>
                      </a:cubicBezTo>
                      <a:cubicBezTo>
                        <a:pt x="1146" y="29"/>
                        <a:pt x="1146" y="29"/>
                        <a:pt x="1146" y="29"/>
                      </a:cubicBezTo>
                      <a:cubicBezTo>
                        <a:pt x="1152" y="31"/>
                        <a:pt x="1152" y="31"/>
                        <a:pt x="1152" y="31"/>
                      </a:cubicBezTo>
                      <a:cubicBezTo>
                        <a:pt x="1155" y="31"/>
                        <a:pt x="1155" y="31"/>
                        <a:pt x="1155" y="31"/>
                      </a:cubicBezTo>
                      <a:cubicBezTo>
                        <a:pt x="1156" y="29"/>
                        <a:pt x="1156" y="29"/>
                        <a:pt x="1156" y="29"/>
                      </a:cubicBezTo>
                      <a:cubicBezTo>
                        <a:pt x="1158" y="29"/>
                        <a:pt x="1158" y="29"/>
                        <a:pt x="1158" y="29"/>
                      </a:cubicBezTo>
                      <a:cubicBezTo>
                        <a:pt x="1161" y="29"/>
                        <a:pt x="1161" y="29"/>
                        <a:pt x="1161" y="29"/>
                      </a:cubicBezTo>
                      <a:cubicBezTo>
                        <a:pt x="1160" y="28"/>
                        <a:pt x="1160" y="28"/>
                        <a:pt x="1160" y="28"/>
                      </a:cubicBezTo>
                      <a:cubicBezTo>
                        <a:pt x="1162" y="27"/>
                        <a:pt x="1162" y="27"/>
                        <a:pt x="1162" y="27"/>
                      </a:cubicBezTo>
                      <a:cubicBezTo>
                        <a:pt x="1163" y="28"/>
                        <a:pt x="1163" y="28"/>
                        <a:pt x="1163" y="28"/>
                      </a:cubicBezTo>
                      <a:cubicBezTo>
                        <a:pt x="1165" y="29"/>
                        <a:pt x="1165" y="29"/>
                        <a:pt x="1165" y="29"/>
                      </a:cubicBezTo>
                      <a:cubicBezTo>
                        <a:pt x="1166" y="30"/>
                        <a:pt x="1166" y="30"/>
                        <a:pt x="1166" y="30"/>
                      </a:cubicBezTo>
                      <a:cubicBezTo>
                        <a:pt x="1166" y="29"/>
                        <a:pt x="1166" y="29"/>
                        <a:pt x="1166" y="29"/>
                      </a:cubicBezTo>
                      <a:cubicBezTo>
                        <a:pt x="1167" y="28"/>
                        <a:pt x="1167" y="28"/>
                        <a:pt x="1167" y="28"/>
                      </a:cubicBezTo>
                      <a:cubicBezTo>
                        <a:pt x="1169" y="29"/>
                        <a:pt x="1169" y="29"/>
                        <a:pt x="1169" y="29"/>
                      </a:cubicBezTo>
                      <a:cubicBezTo>
                        <a:pt x="1169" y="30"/>
                        <a:pt x="1169" y="30"/>
                        <a:pt x="1169" y="30"/>
                      </a:cubicBezTo>
                      <a:cubicBezTo>
                        <a:pt x="1173" y="31"/>
                        <a:pt x="1173" y="31"/>
                        <a:pt x="1173" y="31"/>
                      </a:cubicBezTo>
                      <a:cubicBezTo>
                        <a:pt x="1175" y="30"/>
                        <a:pt x="1175" y="30"/>
                        <a:pt x="1175" y="30"/>
                      </a:cubicBezTo>
                      <a:cubicBezTo>
                        <a:pt x="1183" y="32"/>
                        <a:pt x="1183" y="32"/>
                        <a:pt x="1183" y="32"/>
                      </a:cubicBezTo>
                      <a:cubicBezTo>
                        <a:pt x="1182" y="30"/>
                        <a:pt x="1182" y="30"/>
                        <a:pt x="1182" y="30"/>
                      </a:cubicBezTo>
                      <a:cubicBezTo>
                        <a:pt x="1185" y="30"/>
                        <a:pt x="1185" y="30"/>
                        <a:pt x="1185" y="30"/>
                      </a:cubicBezTo>
                      <a:cubicBezTo>
                        <a:pt x="1186" y="32"/>
                        <a:pt x="1186" y="32"/>
                        <a:pt x="1186" y="32"/>
                      </a:cubicBezTo>
                      <a:cubicBezTo>
                        <a:pt x="1187" y="33"/>
                        <a:pt x="1187" y="33"/>
                        <a:pt x="1187" y="33"/>
                      </a:cubicBezTo>
                      <a:cubicBezTo>
                        <a:pt x="1187" y="31"/>
                        <a:pt x="1187" y="31"/>
                        <a:pt x="1187" y="31"/>
                      </a:cubicBezTo>
                      <a:cubicBezTo>
                        <a:pt x="1188" y="30"/>
                        <a:pt x="1188" y="30"/>
                        <a:pt x="1188" y="30"/>
                      </a:cubicBezTo>
                      <a:cubicBezTo>
                        <a:pt x="1191" y="31"/>
                        <a:pt x="1191" y="31"/>
                        <a:pt x="1191" y="31"/>
                      </a:cubicBezTo>
                      <a:cubicBezTo>
                        <a:pt x="1190" y="32"/>
                        <a:pt x="1190" y="32"/>
                        <a:pt x="1190" y="32"/>
                      </a:cubicBezTo>
                      <a:cubicBezTo>
                        <a:pt x="1192" y="34"/>
                        <a:pt x="1192" y="34"/>
                        <a:pt x="1192" y="34"/>
                      </a:cubicBezTo>
                      <a:cubicBezTo>
                        <a:pt x="1195" y="33"/>
                        <a:pt x="1195" y="33"/>
                        <a:pt x="1195" y="33"/>
                      </a:cubicBezTo>
                      <a:cubicBezTo>
                        <a:pt x="1195" y="32"/>
                        <a:pt x="1195" y="32"/>
                        <a:pt x="1195" y="32"/>
                      </a:cubicBezTo>
                      <a:cubicBezTo>
                        <a:pt x="1194" y="31"/>
                        <a:pt x="1194" y="31"/>
                        <a:pt x="1194" y="31"/>
                      </a:cubicBezTo>
                      <a:cubicBezTo>
                        <a:pt x="1197" y="32"/>
                        <a:pt x="1197" y="32"/>
                        <a:pt x="1197" y="32"/>
                      </a:cubicBezTo>
                      <a:cubicBezTo>
                        <a:pt x="1198" y="32"/>
                        <a:pt x="1198" y="32"/>
                        <a:pt x="1198" y="32"/>
                      </a:cubicBezTo>
                      <a:cubicBezTo>
                        <a:pt x="1197" y="34"/>
                        <a:pt x="1197" y="34"/>
                        <a:pt x="1197" y="34"/>
                      </a:cubicBezTo>
                      <a:cubicBezTo>
                        <a:pt x="1199" y="36"/>
                        <a:pt x="1199" y="36"/>
                        <a:pt x="1199" y="36"/>
                      </a:cubicBezTo>
                      <a:cubicBezTo>
                        <a:pt x="1202" y="37"/>
                        <a:pt x="1202" y="37"/>
                        <a:pt x="1202" y="37"/>
                      </a:cubicBezTo>
                      <a:cubicBezTo>
                        <a:pt x="1205" y="36"/>
                        <a:pt x="1205" y="36"/>
                        <a:pt x="1205" y="36"/>
                      </a:cubicBezTo>
                      <a:cubicBezTo>
                        <a:pt x="1201" y="35"/>
                        <a:pt x="1201" y="35"/>
                        <a:pt x="1201" y="35"/>
                      </a:cubicBezTo>
                      <a:cubicBezTo>
                        <a:pt x="1200" y="34"/>
                        <a:pt x="1200" y="34"/>
                        <a:pt x="1200" y="34"/>
                      </a:cubicBezTo>
                      <a:cubicBezTo>
                        <a:pt x="1199" y="32"/>
                        <a:pt x="1199" y="32"/>
                        <a:pt x="1199" y="32"/>
                      </a:cubicBezTo>
                      <a:cubicBezTo>
                        <a:pt x="1201" y="32"/>
                        <a:pt x="1201" y="32"/>
                        <a:pt x="1201" y="32"/>
                      </a:cubicBezTo>
                      <a:cubicBezTo>
                        <a:pt x="1203" y="32"/>
                        <a:pt x="1203" y="32"/>
                        <a:pt x="1203" y="32"/>
                      </a:cubicBezTo>
                      <a:cubicBezTo>
                        <a:pt x="1207" y="34"/>
                        <a:pt x="1207" y="34"/>
                        <a:pt x="1207" y="34"/>
                      </a:cubicBezTo>
                      <a:cubicBezTo>
                        <a:pt x="1208" y="36"/>
                        <a:pt x="1208" y="36"/>
                        <a:pt x="1208" y="36"/>
                      </a:cubicBezTo>
                      <a:cubicBezTo>
                        <a:pt x="1209" y="37"/>
                        <a:pt x="1209" y="37"/>
                        <a:pt x="1209" y="37"/>
                      </a:cubicBezTo>
                      <a:cubicBezTo>
                        <a:pt x="1210" y="35"/>
                        <a:pt x="1210" y="35"/>
                        <a:pt x="1210" y="35"/>
                      </a:cubicBezTo>
                      <a:cubicBezTo>
                        <a:pt x="1209" y="35"/>
                        <a:pt x="1209" y="35"/>
                        <a:pt x="1209" y="35"/>
                      </a:cubicBezTo>
                      <a:cubicBezTo>
                        <a:pt x="1211" y="35"/>
                        <a:pt x="1211" y="35"/>
                        <a:pt x="1211" y="35"/>
                      </a:cubicBezTo>
                      <a:cubicBezTo>
                        <a:pt x="1212" y="36"/>
                        <a:pt x="1212" y="36"/>
                        <a:pt x="1212" y="36"/>
                      </a:cubicBezTo>
                      <a:cubicBezTo>
                        <a:pt x="1212" y="37"/>
                        <a:pt x="1212" y="37"/>
                        <a:pt x="1212" y="37"/>
                      </a:cubicBezTo>
                      <a:cubicBezTo>
                        <a:pt x="1214" y="39"/>
                        <a:pt x="1214" y="39"/>
                        <a:pt x="1214" y="39"/>
                      </a:cubicBezTo>
                      <a:cubicBezTo>
                        <a:pt x="1217" y="45"/>
                        <a:pt x="1217" y="45"/>
                        <a:pt x="1217" y="45"/>
                      </a:cubicBezTo>
                      <a:cubicBezTo>
                        <a:pt x="1220" y="46"/>
                        <a:pt x="1220" y="46"/>
                        <a:pt x="1220" y="46"/>
                      </a:cubicBezTo>
                      <a:cubicBezTo>
                        <a:pt x="1221" y="48"/>
                        <a:pt x="1221" y="48"/>
                        <a:pt x="1221" y="48"/>
                      </a:cubicBezTo>
                      <a:cubicBezTo>
                        <a:pt x="1222" y="50"/>
                        <a:pt x="1222" y="50"/>
                        <a:pt x="1222" y="50"/>
                      </a:cubicBezTo>
                      <a:cubicBezTo>
                        <a:pt x="1223" y="52"/>
                        <a:pt x="1223" y="52"/>
                        <a:pt x="1223" y="52"/>
                      </a:cubicBezTo>
                      <a:cubicBezTo>
                        <a:pt x="1223" y="53"/>
                        <a:pt x="1223" y="53"/>
                        <a:pt x="1223" y="53"/>
                      </a:cubicBezTo>
                      <a:cubicBezTo>
                        <a:pt x="1223" y="55"/>
                        <a:pt x="1223" y="55"/>
                        <a:pt x="1223" y="55"/>
                      </a:cubicBezTo>
                      <a:cubicBezTo>
                        <a:pt x="1225" y="56"/>
                        <a:pt x="1225" y="56"/>
                        <a:pt x="1225" y="56"/>
                      </a:cubicBezTo>
                      <a:cubicBezTo>
                        <a:pt x="1227" y="54"/>
                        <a:pt x="1227" y="54"/>
                        <a:pt x="1227" y="54"/>
                      </a:cubicBezTo>
                      <a:cubicBezTo>
                        <a:pt x="1229" y="54"/>
                        <a:pt x="1229" y="54"/>
                        <a:pt x="1229" y="54"/>
                      </a:cubicBezTo>
                      <a:cubicBezTo>
                        <a:pt x="1231" y="57"/>
                        <a:pt x="1231" y="57"/>
                        <a:pt x="1231" y="57"/>
                      </a:cubicBezTo>
                      <a:cubicBezTo>
                        <a:pt x="1232" y="57"/>
                        <a:pt x="1232" y="57"/>
                        <a:pt x="1232" y="57"/>
                      </a:cubicBezTo>
                      <a:cubicBezTo>
                        <a:pt x="1233" y="57"/>
                        <a:pt x="1233" y="57"/>
                        <a:pt x="1233" y="57"/>
                      </a:cubicBezTo>
                      <a:cubicBezTo>
                        <a:pt x="1232" y="56"/>
                        <a:pt x="1232" y="56"/>
                        <a:pt x="1232" y="56"/>
                      </a:cubicBezTo>
                      <a:cubicBezTo>
                        <a:pt x="1231" y="54"/>
                        <a:pt x="1231" y="54"/>
                        <a:pt x="1231" y="54"/>
                      </a:cubicBezTo>
                      <a:cubicBezTo>
                        <a:pt x="1232" y="53"/>
                        <a:pt x="1232" y="53"/>
                        <a:pt x="1232" y="53"/>
                      </a:cubicBezTo>
                      <a:cubicBezTo>
                        <a:pt x="1234" y="53"/>
                        <a:pt x="1234" y="53"/>
                        <a:pt x="1234" y="53"/>
                      </a:cubicBezTo>
                      <a:cubicBezTo>
                        <a:pt x="1235" y="56"/>
                        <a:pt x="1235" y="56"/>
                        <a:pt x="1235" y="56"/>
                      </a:cubicBezTo>
                      <a:cubicBezTo>
                        <a:pt x="1236" y="58"/>
                        <a:pt x="1236" y="58"/>
                        <a:pt x="1236" y="58"/>
                      </a:cubicBezTo>
                      <a:cubicBezTo>
                        <a:pt x="1236" y="57"/>
                        <a:pt x="1236" y="57"/>
                        <a:pt x="1236" y="57"/>
                      </a:cubicBezTo>
                      <a:cubicBezTo>
                        <a:pt x="1235" y="54"/>
                        <a:pt x="1235" y="54"/>
                        <a:pt x="1235" y="54"/>
                      </a:cubicBezTo>
                      <a:cubicBezTo>
                        <a:pt x="1235" y="52"/>
                        <a:pt x="1235" y="52"/>
                        <a:pt x="1235" y="52"/>
                      </a:cubicBezTo>
                      <a:cubicBezTo>
                        <a:pt x="1234" y="50"/>
                        <a:pt x="1234" y="50"/>
                        <a:pt x="1234" y="50"/>
                      </a:cubicBezTo>
                      <a:cubicBezTo>
                        <a:pt x="1231" y="51"/>
                        <a:pt x="1231" y="51"/>
                        <a:pt x="1231" y="51"/>
                      </a:cubicBezTo>
                      <a:cubicBezTo>
                        <a:pt x="1229" y="52"/>
                        <a:pt x="1229" y="52"/>
                        <a:pt x="1229" y="52"/>
                      </a:cubicBezTo>
                      <a:cubicBezTo>
                        <a:pt x="1228" y="50"/>
                        <a:pt x="1228" y="50"/>
                        <a:pt x="1228" y="50"/>
                      </a:cubicBezTo>
                      <a:cubicBezTo>
                        <a:pt x="1229" y="49"/>
                        <a:pt x="1229" y="49"/>
                        <a:pt x="1229" y="49"/>
                      </a:cubicBezTo>
                      <a:cubicBezTo>
                        <a:pt x="1229" y="46"/>
                        <a:pt x="1229" y="46"/>
                        <a:pt x="1229" y="46"/>
                      </a:cubicBezTo>
                      <a:cubicBezTo>
                        <a:pt x="1225" y="44"/>
                        <a:pt x="1225" y="44"/>
                        <a:pt x="1225" y="44"/>
                      </a:cubicBezTo>
                      <a:cubicBezTo>
                        <a:pt x="1224" y="42"/>
                        <a:pt x="1224" y="42"/>
                        <a:pt x="1224" y="42"/>
                      </a:cubicBezTo>
                      <a:cubicBezTo>
                        <a:pt x="1223" y="40"/>
                        <a:pt x="1223" y="40"/>
                        <a:pt x="1223" y="40"/>
                      </a:cubicBezTo>
                      <a:cubicBezTo>
                        <a:pt x="1221" y="40"/>
                        <a:pt x="1221" y="40"/>
                        <a:pt x="1221" y="40"/>
                      </a:cubicBezTo>
                      <a:cubicBezTo>
                        <a:pt x="1219" y="42"/>
                        <a:pt x="1219" y="42"/>
                        <a:pt x="1219" y="42"/>
                      </a:cubicBezTo>
                      <a:cubicBezTo>
                        <a:pt x="1219" y="41"/>
                        <a:pt x="1219" y="41"/>
                        <a:pt x="1219" y="41"/>
                      </a:cubicBezTo>
                      <a:cubicBezTo>
                        <a:pt x="1221" y="40"/>
                        <a:pt x="1221" y="40"/>
                        <a:pt x="1221" y="40"/>
                      </a:cubicBezTo>
                      <a:cubicBezTo>
                        <a:pt x="1222" y="37"/>
                        <a:pt x="1222" y="37"/>
                        <a:pt x="1222" y="37"/>
                      </a:cubicBezTo>
                      <a:cubicBezTo>
                        <a:pt x="1224" y="33"/>
                        <a:pt x="1224" y="33"/>
                        <a:pt x="1224" y="33"/>
                      </a:cubicBezTo>
                      <a:cubicBezTo>
                        <a:pt x="1226" y="33"/>
                        <a:pt x="1226" y="33"/>
                        <a:pt x="1226" y="33"/>
                      </a:cubicBezTo>
                      <a:cubicBezTo>
                        <a:pt x="1226" y="34"/>
                        <a:pt x="1226" y="34"/>
                        <a:pt x="1226" y="34"/>
                      </a:cubicBezTo>
                      <a:cubicBezTo>
                        <a:pt x="1227" y="38"/>
                        <a:pt x="1227" y="38"/>
                        <a:pt x="1227" y="38"/>
                      </a:cubicBezTo>
                      <a:cubicBezTo>
                        <a:pt x="1229" y="38"/>
                        <a:pt x="1229" y="38"/>
                        <a:pt x="1229" y="38"/>
                      </a:cubicBezTo>
                      <a:cubicBezTo>
                        <a:pt x="1229" y="37"/>
                        <a:pt x="1229" y="37"/>
                        <a:pt x="1229" y="37"/>
                      </a:cubicBezTo>
                      <a:cubicBezTo>
                        <a:pt x="1228" y="36"/>
                        <a:pt x="1228" y="36"/>
                        <a:pt x="1228" y="36"/>
                      </a:cubicBezTo>
                      <a:cubicBezTo>
                        <a:pt x="1227" y="34"/>
                        <a:pt x="1227" y="34"/>
                        <a:pt x="1227" y="34"/>
                      </a:cubicBezTo>
                      <a:cubicBezTo>
                        <a:pt x="1228" y="34"/>
                        <a:pt x="1228" y="34"/>
                        <a:pt x="1228" y="34"/>
                      </a:cubicBezTo>
                      <a:cubicBezTo>
                        <a:pt x="1230" y="32"/>
                        <a:pt x="1230" y="32"/>
                        <a:pt x="1230" y="32"/>
                      </a:cubicBezTo>
                      <a:cubicBezTo>
                        <a:pt x="1231" y="31"/>
                        <a:pt x="1231" y="31"/>
                        <a:pt x="1231" y="31"/>
                      </a:cubicBezTo>
                      <a:cubicBezTo>
                        <a:pt x="1229" y="31"/>
                        <a:pt x="1229" y="31"/>
                        <a:pt x="1229" y="31"/>
                      </a:cubicBezTo>
                      <a:cubicBezTo>
                        <a:pt x="1230" y="30"/>
                        <a:pt x="1230" y="30"/>
                        <a:pt x="1230" y="30"/>
                      </a:cubicBezTo>
                      <a:cubicBezTo>
                        <a:pt x="1231" y="30"/>
                        <a:pt x="1231" y="30"/>
                        <a:pt x="1231" y="30"/>
                      </a:cubicBezTo>
                      <a:cubicBezTo>
                        <a:pt x="1232" y="29"/>
                        <a:pt x="1232" y="29"/>
                        <a:pt x="1232" y="29"/>
                      </a:cubicBezTo>
                      <a:cubicBezTo>
                        <a:pt x="1234" y="26"/>
                        <a:pt x="1234" y="26"/>
                        <a:pt x="1234" y="26"/>
                      </a:cubicBezTo>
                      <a:cubicBezTo>
                        <a:pt x="1236" y="27"/>
                        <a:pt x="1236" y="27"/>
                        <a:pt x="1236" y="27"/>
                      </a:cubicBezTo>
                      <a:cubicBezTo>
                        <a:pt x="1237" y="28"/>
                        <a:pt x="1237" y="28"/>
                        <a:pt x="1237" y="28"/>
                      </a:cubicBezTo>
                      <a:cubicBezTo>
                        <a:pt x="1238" y="27"/>
                        <a:pt x="1238" y="27"/>
                        <a:pt x="1238" y="27"/>
                      </a:cubicBezTo>
                      <a:cubicBezTo>
                        <a:pt x="1239" y="28"/>
                        <a:pt x="1239" y="28"/>
                        <a:pt x="1239" y="28"/>
                      </a:cubicBezTo>
                      <a:cubicBezTo>
                        <a:pt x="1240" y="29"/>
                        <a:pt x="1240" y="29"/>
                        <a:pt x="1240" y="29"/>
                      </a:cubicBezTo>
                      <a:cubicBezTo>
                        <a:pt x="1241" y="30"/>
                        <a:pt x="1241" y="30"/>
                        <a:pt x="1241" y="30"/>
                      </a:cubicBezTo>
                      <a:cubicBezTo>
                        <a:pt x="1244" y="31"/>
                        <a:pt x="1244" y="31"/>
                        <a:pt x="1244" y="31"/>
                      </a:cubicBezTo>
                      <a:cubicBezTo>
                        <a:pt x="1245" y="30"/>
                        <a:pt x="1245" y="30"/>
                        <a:pt x="1245" y="30"/>
                      </a:cubicBezTo>
                      <a:cubicBezTo>
                        <a:pt x="1251" y="31"/>
                        <a:pt x="1251" y="31"/>
                        <a:pt x="1251" y="31"/>
                      </a:cubicBezTo>
                      <a:cubicBezTo>
                        <a:pt x="1251" y="33"/>
                        <a:pt x="1251" y="33"/>
                        <a:pt x="1251" y="33"/>
                      </a:cubicBezTo>
                      <a:cubicBezTo>
                        <a:pt x="1251" y="34"/>
                        <a:pt x="1251" y="34"/>
                        <a:pt x="1251" y="34"/>
                      </a:cubicBezTo>
                      <a:cubicBezTo>
                        <a:pt x="1253" y="34"/>
                        <a:pt x="1253" y="34"/>
                        <a:pt x="1253" y="34"/>
                      </a:cubicBezTo>
                      <a:cubicBezTo>
                        <a:pt x="1253" y="32"/>
                        <a:pt x="1253" y="32"/>
                        <a:pt x="1253" y="32"/>
                      </a:cubicBezTo>
                      <a:cubicBezTo>
                        <a:pt x="1254" y="33"/>
                        <a:pt x="1254" y="33"/>
                        <a:pt x="1254" y="33"/>
                      </a:cubicBezTo>
                      <a:cubicBezTo>
                        <a:pt x="1254" y="35"/>
                        <a:pt x="1254" y="35"/>
                        <a:pt x="1254" y="35"/>
                      </a:cubicBezTo>
                      <a:cubicBezTo>
                        <a:pt x="1256" y="34"/>
                        <a:pt x="1256" y="34"/>
                        <a:pt x="1256" y="34"/>
                      </a:cubicBezTo>
                      <a:cubicBezTo>
                        <a:pt x="1258" y="32"/>
                        <a:pt x="1258" y="32"/>
                        <a:pt x="1258" y="32"/>
                      </a:cubicBezTo>
                      <a:cubicBezTo>
                        <a:pt x="1260" y="32"/>
                        <a:pt x="1260" y="32"/>
                        <a:pt x="1260" y="32"/>
                      </a:cubicBezTo>
                      <a:cubicBezTo>
                        <a:pt x="1260" y="34"/>
                        <a:pt x="1260" y="34"/>
                        <a:pt x="1260" y="34"/>
                      </a:cubicBezTo>
                      <a:cubicBezTo>
                        <a:pt x="1259" y="35"/>
                        <a:pt x="1259" y="35"/>
                        <a:pt x="1259" y="35"/>
                      </a:cubicBezTo>
                      <a:cubicBezTo>
                        <a:pt x="1258" y="36"/>
                        <a:pt x="1258" y="36"/>
                        <a:pt x="1258" y="36"/>
                      </a:cubicBezTo>
                      <a:cubicBezTo>
                        <a:pt x="1260" y="42"/>
                        <a:pt x="1260" y="42"/>
                        <a:pt x="1260" y="42"/>
                      </a:cubicBezTo>
                      <a:cubicBezTo>
                        <a:pt x="1259" y="44"/>
                        <a:pt x="1259" y="44"/>
                        <a:pt x="1259" y="44"/>
                      </a:cubicBezTo>
                      <a:cubicBezTo>
                        <a:pt x="1259" y="46"/>
                        <a:pt x="1259" y="46"/>
                        <a:pt x="1259" y="46"/>
                      </a:cubicBezTo>
                      <a:cubicBezTo>
                        <a:pt x="1261" y="45"/>
                        <a:pt x="1261" y="45"/>
                        <a:pt x="1261" y="45"/>
                      </a:cubicBezTo>
                      <a:cubicBezTo>
                        <a:pt x="1262" y="47"/>
                        <a:pt x="1262" y="47"/>
                        <a:pt x="1262" y="47"/>
                      </a:cubicBezTo>
                      <a:cubicBezTo>
                        <a:pt x="1265" y="48"/>
                        <a:pt x="1265" y="48"/>
                        <a:pt x="1265" y="48"/>
                      </a:cubicBezTo>
                      <a:cubicBezTo>
                        <a:pt x="1265" y="50"/>
                        <a:pt x="1265" y="50"/>
                        <a:pt x="1265" y="50"/>
                      </a:cubicBezTo>
                      <a:cubicBezTo>
                        <a:pt x="1264" y="51"/>
                        <a:pt x="1264" y="51"/>
                        <a:pt x="1264" y="51"/>
                      </a:cubicBezTo>
                      <a:cubicBezTo>
                        <a:pt x="1261" y="51"/>
                        <a:pt x="1261" y="51"/>
                        <a:pt x="1261" y="51"/>
                      </a:cubicBezTo>
                      <a:cubicBezTo>
                        <a:pt x="1258" y="52"/>
                        <a:pt x="1258" y="52"/>
                        <a:pt x="1258" y="52"/>
                      </a:cubicBezTo>
                      <a:cubicBezTo>
                        <a:pt x="1262" y="53"/>
                        <a:pt x="1262" y="53"/>
                        <a:pt x="1262" y="53"/>
                      </a:cubicBezTo>
                      <a:cubicBezTo>
                        <a:pt x="1263" y="55"/>
                        <a:pt x="1263" y="55"/>
                        <a:pt x="1263" y="55"/>
                      </a:cubicBezTo>
                      <a:cubicBezTo>
                        <a:pt x="1263" y="56"/>
                        <a:pt x="1263" y="56"/>
                        <a:pt x="1263" y="56"/>
                      </a:cubicBezTo>
                      <a:cubicBezTo>
                        <a:pt x="1261" y="57"/>
                        <a:pt x="1261" y="57"/>
                        <a:pt x="1261" y="57"/>
                      </a:cubicBezTo>
                      <a:cubicBezTo>
                        <a:pt x="1259" y="60"/>
                        <a:pt x="1259" y="60"/>
                        <a:pt x="1259" y="60"/>
                      </a:cubicBezTo>
                      <a:cubicBezTo>
                        <a:pt x="1258" y="59"/>
                        <a:pt x="1258" y="59"/>
                        <a:pt x="1258" y="59"/>
                      </a:cubicBezTo>
                      <a:cubicBezTo>
                        <a:pt x="1256" y="61"/>
                        <a:pt x="1256" y="61"/>
                        <a:pt x="1256" y="61"/>
                      </a:cubicBezTo>
                      <a:cubicBezTo>
                        <a:pt x="1253" y="61"/>
                        <a:pt x="1253" y="61"/>
                        <a:pt x="1253" y="61"/>
                      </a:cubicBezTo>
                      <a:cubicBezTo>
                        <a:pt x="1251" y="63"/>
                        <a:pt x="1251" y="63"/>
                        <a:pt x="1251" y="63"/>
                      </a:cubicBezTo>
                      <a:cubicBezTo>
                        <a:pt x="1254" y="62"/>
                        <a:pt x="1254" y="62"/>
                        <a:pt x="1254" y="62"/>
                      </a:cubicBezTo>
                      <a:cubicBezTo>
                        <a:pt x="1256" y="63"/>
                        <a:pt x="1256" y="63"/>
                        <a:pt x="1256" y="63"/>
                      </a:cubicBezTo>
                      <a:cubicBezTo>
                        <a:pt x="1256" y="65"/>
                        <a:pt x="1256" y="65"/>
                        <a:pt x="1256" y="65"/>
                      </a:cubicBezTo>
                      <a:cubicBezTo>
                        <a:pt x="1258" y="63"/>
                        <a:pt x="1258" y="63"/>
                        <a:pt x="1258" y="63"/>
                      </a:cubicBezTo>
                      <a:cubicBezTo>
                        <a:pt x="1259" y="63"/>
                        <a:pt x="1259" y="63"/>
                        <a:pt x="1259" y="63"/>
                      </a:cubicBezTo>
                      <a:cubicBezTo>
                        <a:pt x="1259" y="65"/>
                        <a:pt x="1259" y="65"/>
                        <a:pt x="1259" y="65"/>
                      </a:cubicBezTo>
                      <a:cubicBezTo>
                        <a:pt x="1261" y="67"/>
                        <a:pt x="1261" y="67"/>
                        <a:pt x="1261" y="67"/>
                      </a:cubicBezTo>
                      <a:cubicBezTo>
                        <a:pt x="1259" y="68"/>
                        <a:pt x="1259" y="68"/>
                        <a:pt x="1259" y="68"/>
                      </a:cubicBezTo>
                      <a:cubicBezTo>
                        <a:pt x="1259" y="72"/>
                        <a:pt x="1259" y="72"/>
                        <a:pt x="1259" y="72"/>
                      </a:cubicBezTo>
                      <a:cubicBezTo>
                        <a:pt x="1261" y="69"/>
                        <a:pt x="1261" y="69"/>
                        <a:pt x="1261" y="69"/>
                      </a:cubicBezTo>
                      <a:cubicBezTo>
                        <a:pt x="1264" y="69"/>
                        <a:pt x="1264" y="69"/>
                        <a:pt x="1264" y="69"/>
                      </a:cubicBezTo>
                      <a:cubicBezTo>
                        <a:pt x="1266" y="71"/>
                        <a:pt x="1266" y="71"/>
                        <a:pt x="1266" y="71"/>
                      </a:cubicBezTo>
                      <a:cubicBezTo>
                        <a:pt x="1266" y="73"/>
                        <a:pt x="1266" y="73"/>
                        <a:pt x="1266" y="73"/>
                      </a:cubicBezTo>
                      <a:cubicBezTo>
                        <a:pt x="1267" y="75"/>
                        <a:pt x="1267" y="75"/>
                        <a:pt x="1267" y="75"/>
                      </a:cubicBezTo>
                      <a:cubicBezTo>
                        <a:pt x="1265" y="77"/>
                        <a:pt x="1265" y="77"/>
                        <a:pt x="1265" y="77"/>
                      </a:cubicBezTo>
                      <a:cubicBezTo>
                        <a:pt x="1266" y="77"/>
                        <a:pt x="1266" y="77"/>
                        <a:pt x="1266" y="77"/>
                      </a:cubicBezTo>
                      <a:cubicBezTo>
                        <a:pt x="1267" y="80"/>
                        <a:pt x="1267" y="80"/>
                        <a:pt x="1267" y="80"/>
                      </a:cubicBezTo>
                      <a:cubicBezTo>
                        <a:pt x="1265" y="81"/>
                        <a:pt x="1265" y="81"/>
                        <a:pt x="1265" y="81"/>
                      </a:cubicBezTo>
                      <a:cubicBezTo>
                        <a:pt x="1264" y="83"/>
                        <a:pt x="1264" y="83"/>
                        <a:pt x="1264" y="83"/>
                      </a:cubicBezTo>
                      <a:cubicBezTo>
                        <a:pt x="1265" y="84"/>
                        <a:pt x="1265" y="84"/>
                        <a:pt x="1265" y="84"/>
                      </a:cubicBezTo>
                      <a:cubicBezTo>
                        <a:pt x="1265" y="82"/>
                        <a:pt x="1265" y="82"/>
                        <a:pt x="1265" y="82"/>
                      </a:cubicBezTo>
                      <a:cubicBezTo>
                        <a:pt x="1267" y="82"/>
                        <a:pt x="1267" y="82"/>
                        <a:pt x="1267" y="82"/>
                      </a:cubicBezTo>
                      <a:cubicBezTo>
                        <a:pt x="1268" y="83"/>
                        <a:pt x="1268" y="83"/>
                        <a:pt x="1268" y="83"/>
                      </a:cubicBezTo>
                      <a:cubicBezTo>
                        <a:pt x="1268" y="86"/>
                        <a:pt x="1268" y="86"/>
                        <a:pt x="1268" y="86"/>
                      </a:cubicBezTo>
                      <a:cubicBezTo>
                        <a:pt x="1270" y="85"/>
                        <a:pt x="1270" y="85"/>
                        <a:pt x="1270" y="85"/>
                      </a:cubicBezTo>
                      <a:cubicBezTo>
                        <a:pt x="1271" y="87"/>
                        <a:pt x="1271" y="87"/>
                        <a:pt x="1271" y="87"/>
                      </a:cubicBezTo>
                      <a:cubicBezTo>
                        <a:pt x="1271" y="85"/>
                        <a:pt x="1271" y="85"/>
                        <a:pt x="1271" y="85"/>
                      </a:cubicBezTo>
                      <a:cubicBezTo>
                        <a:pt x="1272" y="84"/>
                        <a:pt x="1272" y="84"/>
                        <a:pt x="1272" y="84"/>
                      </a:cubicBezTo>
                      <a:cubicBezTo>
                        <a:pt x="1274" y="85"/>
                        <a:pt x="1274" y="85"/>
                        <a:pt x="1274" y="85"/>
                      </a:cubicBezTo>
                      <a:cubicBezTo>
                        <a:pt x="1276" y="85"/>
                        <a:pt x="1276" y="85"/>
                        <a:pt x="1276" y="85"/>
                      </a:cubicBezTo>
                      <a:cubicBezTo>
                        <a:pt x="1276" y="88"/>
                        <a:pt x="1276" y="88"/>
                        <a:pt x="1276" y="88"/>
                      </a:cubicBezTo>
                      <a:cubicBezTo>
                        <a:pt x="1274" y="88"/>
                        <a:pt x="1274" y="88"/>
                        <a:pt x="1274" y="88"/>
                      </a:cubicBezTo>
                      <a:cubicBezTo>
                        <a:pt x="1272" y="87"/>
                        <a:pt x="1272" y="87"/>
                        <a:pt x="1272" y="87"/>
                      </a:cubicBezTo>
                      <a:cubicBezTo>
                        <a:pt x="1271" y="89"/>
                        <a:pt x="1271" y="89"/>
                        <a:pt x="1271" y="89"/>
                      </a:cubicBezTo>
                      <a:cubicBezTo>
                        <a:pt x="1273" y="90"/>
                        <a:pt x="1273" y="90"/>
                        <a:pt x="1273" y="90"/>
                      </a:cubicBezTo>
                      <a:cubicBezTo>
                        <a:pt x="1275" y="90"/>
                        <a:pt x="1275" y="90"/>
                        <a:pt x="1275" y="90"/>
                      </a:cubicBezTo>
                      <a:cubicBezTo>
                        <a:pt x="1276" y="93"/>
                        <a:pt x="1276" y="93"/>
                        <a:pt x="1276" y="93"/>
                      </a:cubicBezTo>
                      <a:cubicBezTo>
                        <a:pt x="1276" y="94"/>
                        <a:pt x="1276" y="94"/>
                        <a:pt x="1276" y="94"/>
                      </a:cubicBezTo>
                      <a:cubicBezTo>
                        <a:pt x="1273" y="95"/>
                        <a:pt x="1273" y="95"/>
                        <a:pt x="1273" y="95"/>
                      </a:cubicBezTo>
                      <a:cubicBezTo>
                        <a:pt x="1271" y="92"/>
                        <a:pt x="1271" y="92"/>
                        <a:pt x="1271" y="92"/>
                      </a:cubicBezTo>
                      <a:cubicBezTo>
                        <a:pt x="1271" y="92"/>
                        <a:pt x="1271" y="92"/>
                        <a:pt x="1271" y="92"/>
                      </a:cubicBezTo>
                      <a:cubicBezTo>
                        <a:pt x="1272" y="95"/>
                        <a:pt x="1272" y="95"/>
                        <a:pt x="1272" y="95"/>
                      </a:cubicBezTo>
                      <a:cubicBezTo>
                        <a:pt x="1270" y="97"/>
                        <a:pt x="1270" y="97"/>
                        <a:pt x="1270" y="97"/>
                      </a:cubicBezTo>
                      <a:cubicBezTo>
                        <a:pt x="1269" y="96"/>
                        <a:pt x="1269" y="96"/>
                        <a:pt x="1269" y="96"/>
                      </a:cubicBezTo>
                      <a:cubicBezTo>
                        <a:pt x="1269" y="96"/>
                        <a:pt x="1269" y="96"/>
                        <a:pt x="1269" y="96"/>
                      </a:cubicBezTo>
                      <a:cubicBezTo>
                        <a:pt x="1267" y="96"/>
                        <a:pt x="1267" y="96"/>
                        <a:pt x="1267" y="96"/>
                      </a:cubicBezTo>
                      <a:cubicBezTo>
                        <a:pt x="1266" y="95"/>
                        <a:pt x="1266" y="95"/>
                        <a:pt x="1266" y="95"/>
                      </a:cubicBezTo>
                      <a:cubicBezTo>
                        <a:pt x="1261" y="95"/>
                        <a:pt x="1261" y="95"/>
                        <a:pt x="1261" y="95"/>
                      </a:cubicBezTo>
                      <a:cubicBezTo>
                        <a:pt x="1260" y="96"/>
                        <a:pt x="1260" y="96"/>
                        <a:pt x="1260" y="96"/>
                      </a:cubicBezTo>
                      <a:cubicBezTo>
                        <a:pt x="1258" y="96"/>
                        <a:pt x="1258" y="96"/>
                        <a:pt x="1258" y="96"/>
                      </a:cubicBezTo>
                      <a:cubicBezTo>
                        <a:pt x="1258" y="94"/>
                        <a:pt x="1258" y="94"/>
                        <a:pt x="1258" y="94"/>
                      </a:cubicBezTo>
                      <a:cubicBezTo>
                        <a:pt x="1258" y="93"/>
                        <a:pt x="1258" y="93"/>
                        <a:pt x="1258" y="93"/>
                      </a:cubicBezTo>
                      <a:cubicBezTo>
                        <a:pt x="1256" y="93"/>
                        <a:pt x="1256" y="93"/>
                        <a:pt x="1256" y="93"/>
                      </a:cubicBezTo>
                      <a:cubicBezTo>
                        <a:pt x="1257" y="95"/>
                        <a:pt x="1257" y="95"/>
                        <a:pt x="1257" y="95"/>
                      </a:cubicBezTo>
                      <a:cubicBezTo>
                        <a:pt x="1255" y="95"/>
                        <a:pt x="1255" y="95"/>
                        <a:pt x="1255" y="95"/>
                      </a:cubicBezTo>
                      <a:cubicBezTo>
                        <a:pt x="1255" y="96"/>
                        <a:pt x="1255" y="96"/>
                        <a:pt x="1255" y="96"/>
                      </a:cubicBezTo>
                      <a:cubicBezTo>
                        <a:pt x="1256" y="97"/>
                        <a:pt x="1256" y="97"/>
                        <a:pt x="1256" y="97"/>
                      </a:cubicBezTo>
                      <a:cubicBezTo>
                        <a:pt x="1254" y="99"/>
                        <a:pt x="1254" y="99"/>
                        <a:pt x="1254" y="99"/>
                      </a:cubicBezTo>
                      <a:cubicBezTo>
                        <a:pt x="1254" y="99"/>
                        <a:pt x="1254" y="99"/>
                        <a:pt x="1254" y="99"/>
                      </a:cubicBezTo>
                      <a:cubicBezTo>
                        <a:pt x="1254" y="98"/>
                        <a:pt x="1254" y="98"/>
                        <a:pt x="1254" y="98"/>
                      </a:cubicBezTo>
                      <a:cubicBezTo>
                        <a:pt x="1253" y="98"/>
                        <a:pt x="1253" y="98"/>
                        <a:pt x="1253" y="98"/>
                      </a:cubicBezTo>
                      <a:cubicBezTo>
                        <a:pt x="1249" y="99"/>
                        <a:pt x="1249" y="99"/>
                        <a:pt x="1249" y="99"/>
                      </a:cubicBezTo>
                      <a:cubicBezTo>
                        <a:pt x="1248" y="98"/>
                        <a:pt x="1248" y="98"/>
                        <a:pt x="1248" y="98"/>
                      </a:cubicBezTo>
                      <a:cubicBezTo>
                        <a:pt x="1248" y="97"/>
                        <a:pt x="1248" y="97"/>
                        <a:pt x="1248" y="97"/>
                      </a:cubicBezTo>
                      <a:cubicBezTo>
                        <a:pt x="1247" y="95"/>
                        <a:pt x="1247" y="95"/>
                        <a:pt x="1247" y="95"/>
                      </a:cubicBezTo>
                      <a:cubicBezTo>
                        <a:pt x="1247" y="94"/>
                        <a:pt x="1247" y="94"/>
                        <a:pt x="1247" y="94"/>
                      </a:cubicBezTo>
                      <a:cubicBezTo>
                        <a:pt x="1242" y="91"/>
                        <a:pt x="1242" y="91"/>
                        <a:pt x="1242" y="91"/>
                      </a:cubicBezTo>
                      <a:cubicBezTo>
                        <a:pt x="1241" y="90"/>
                        <a:pt x="1241" y="90"/>
                        <a:pt x="1241" y="90"/>
                      </a:cubicBezTo>
                      <a:cubicBezTo>
                        <a:pt x="1242" y="89"/>
                        <a:pt x="1242" y="89"/>
                        <a:pt x="1242" y="89"/>
                      </a:cubicBezTo>
                      <a:cubicBezTo>
                        <a:pt x="1239" y="88"/>
                        <a:pt x="1239" y="88"/>
                        <a:pt x="1239" y="88"/>
                      </a:cubicBezTo>
                      <a:cubicBezTo>
                        <a:pt x="1238" y="90"/>
                        <a:pt x="1238" y="90"/>
                        <a:pt x="1238" y="90"/>
                      </a:cubicBezTo>
                      <a:cubicBezTo>
                        <a:pt x="1235" y="91"/>
                        <a:pt x="1235" y="91"/>
                        <a:pt x="1235" y="91"/>
                      </a:cubicBezTo>
                      <a:cubicBezTo>
                        <a:pt x="1233" y="93"/>
                        <a:pt x="1233" y="93"/>
                        <a:pt x="1233" y="93"/>
                      </a:cubicBezTo>
                      <a:cubicBezTo>
                        <a:pt x="1232" y="93"/>
                        <a:pt x="1232" y="93"/>
                        <a:pt x="1232" y="93"/>
                      </a:cubicBezTo>
                      <a:cubicBezTo>
                        <a:pt x="1232" y="90"/>
                        <a:pt x="1232" y="90"/>
                        <a:pt x="1232" y="90"/>
                      </a:cubicBezTo>
                      <a:cubicBezTo>
                        <a:pt x="1231" y="88"/>
                        <a:pt x="1231" y="88"/>
                        <a:pt x="1231" y="88"/>
                      </a:cubicBezTo>
                      <a:cubicBezTo>
                        <a:pt x="1231" y="90"/>
                        <a:pt x="1231" y="90"/>
                        <a:pt x="1231" y="90"/>
                      </a:cubicBezTo>
                      <a:cubicBezTo>
                        <a:pt x="1231" y="94"/>
                        <a:pt x="1231" y="94"/>
                        <a:pt x="1231" y="94"/>
                      </a:cubicBezTo>
                      <a:cubicBezTo>
                        <a:pt x="1232" y="96"/>
                        <a:pt x="1232" y="96"/>
                        <a:pt x="1232" y="96"/>
                      </a:cubicBezTo>
                      <a:cubicBezTo>
                        <a:pt x="1231" y="99"/>
                        <a:pt x="1231" y="99"/>
                        <a:pt x="1231" y="99"/>
                      </a:cubicBezTo>
                      <a:cubicBezTo>
                        <a:pt x="1228" y="104"/>
                        <a:pt x="1228" y="104"/>
                        <a:pt x="1228" y="104"/>
                      </a:cubicBezTo>
                      <a:cubicBezTo>
                        <a:pt x="1226" y="104"/>
                        <a:pt x="1226" y="104"/>
                        <a:pt x="1226" y="104"/>
                      </a:cubicBezTo>
                      <a:cubicBezTo>
                        <a:pt x="1226" y="100"/>
                        <a:pt x="1226" y="100"/>
                        <a:pt x="1226" y="100"/>
                      </a:cubicBezTo>
                      <a:cubicBezTo>
                        <a:pt x="1224" y="99"/>
                        <a:pt x="1224" y="99"/>
                        <a:pt x="1224" y="99"/>
                      </a:cubicBezTo>
                      <a:cubicBezTo>
                        <a:pt x="1222" y="101"/>
                        <a:pt x="1222" y="101"/>
                        <a:pt x="1222" y="101"/>
                      </a:cubicBezTo>
                      <a:cubicBezTo>
                        <a:pt x="1217" y="97"/>
                        <a:pt x="1217" y="97"/>
                        <a:pt x="1217" y="97"/>
                      </a:cubicBezTo>
                      <a:cubicBezTo>
                        <a:pt x="1217" y="95"/>
                        <a:pt x="1217" y="95"/>
                        <a:pt x="1217" y="95"/>
                      </a:cubicBezTo>
                      <a:cubicBezTo>
                        <a:pt x="1217" y="90"/>
                        <a:pt x="1217" y="90"/>
                        <a:pt x="1217" y="90"/>
                      </a:cubicBezTo>
                      <a:cubicBezTo>
                        <a:pt x="1215" y="90"/>
                        <a:pt x="1215" y="90"/>
                        <a:pt x="1215" y="90"/>
                      </a:cubicBezTo>
                      <a:cubicBezTo>
                        <a:pt x="1214" y="88"/>
                        <a:pt x="1214" y="88"/>
                        <a:pt x="1214" y="88"/>
                      </a:cubicBezTo>
                      <a:cubicBezTo>
                        <a:pt x="1213" y="87"/>
                        <a:pt x="1213" y="87"/>
                        <a:pt x="1213" y="87"/>
                      </a:cubicBezTo>
                      <a:cubicBezTo>
                        <a:pt x="1212" y="88"/>
                        <a:pt x="1212" y="88"/>
                        <a:pt x="1212" y="88"/>
                      </a:cubicBezTo>
                      <a:cubicBezTo>
                        <a:pt x="1213" y="90"/>
                        <a:pt x="1213" y="90"/>
                        <a:pt x="1213" y="90"/>
                      </a:cubicBezTo>
                      <a:cubicBezTo>
                        <a:pt x="1213" y="91"/>
                        <a:pt x="1213" y="91"/>
                        <a:pt x="1213" y="91"/>
                      </a:cubicBezTo>
                      <a:cubicBezTo>
                        <a:pt x="1214" y="93"/>
                        <a:pt x="1214" y="93"/>
                        <a:pt x="1214" y="93"/>
                      </a:cubicBezTo>
                      <a:cubicBezTo>
                        <a:pt x="1213" y="94"/>
                        <a:pt x="1213" y="94"/>
                        <a:pt x="1213" y="94"/>
                      </a:cubicBezTo>
                      <a:cubicBezTo>
                        <a:pt x="1210" y="92"/>
                        <a:pt x="1210" y="92"/>
                        <a:pt x="1210" y="92"/>
                      </a:cubicBezTo>
                      <a:cubicBezTo>
                        <a:pt x="1208" y="90"/>
                        <a:pt x="1208" y="90"/>
                        <a:pt x="1208" y="90"/>
                      </a:cubicBezTo>
                      <a:cubicBezTo>
                        <a:pt x="1208" y="90"/>
                        <a:pt x="1208" y="90"/>
                        <a:pt x="1208" y="90"/>
                      </a:cubicBezTo>
                      <a:cubicBezTo>
                        <a:pt x="1209" y="93"/>
                        <a:pt x="1209" y="93"/>
                        <a:pt x="1209" y="93"/>
                      </a:cubicBezTo>
                      <a:cubicBezTo>
                        <a:pt x="1208" y="93"/>
                        <a:pt x="1208" y="93"/>
                        <a:pt x="1208" y="93"/>
                      </a:cubicBezTo>
                      <a:cubicBezTo>
                        <a:pt x="1209" y="94"/>
                        <a:pt x="1209" y="94"/>
                        <a:pt x="1209" y="94"/>
                      </a:cubicBezTo>
                      <a:cubicBezTo>
                        <a:pt x="1211" y="94"/>
                        <a:pt x="1211" y="94"/>
                        <a:pt x="1211" y="94"/>
                      </a:cubicBezTo>
                      <a:cubicBezTo>
                        <a:pt x="1212" y="96"/>
                        <a:pt x="1212" y="96"/>
                        <a:pt x="1212" y="96"/>
                      </a:cubicBezTo>
                      <a:cubicBezTo>
                        <a:pt x="1211" y="98"/>
                        <a:pt x="1211" y="98"/>
                        <a:pt x="1211" y="98"/>
                      </a:cubicBezTo>
                      <a:cubicBezTo>
                        <a:pt x="1209" y="98"/>
                        <a:pt x="1209" y="98"/>
                        <a:pt x="1209" y="98"/>
                      </a:cubicBezTo>
                      <a:cubicBezTo>
                        <a:pt x="1208" y="99"/>
                        <a:pt x="1208" y="99"/>
                        <a:pt x="1208" y="99"/>
                      </a:cubicBezTo>
                      <a:cubicBezTo>
                        <a:pt x="1210" y="100"/>
                        <a:pt x="1210" y="100"/>
                        <a:pt x="1210" y="100"/>
                      </a:cubicBezTo>
                      <a:cubicBezTo>
                        <a:pt x="1215" y="107"/>
                        <a:pt x="1215" y="107"/>
                        <a:pt x="1215" y="107"/>
                      </a:cubicBezTo>
                      <a:cubicBezTo>
                        <a:pt x="1219" y="108"/>
                        <a:pt x="1219" y="108"/>
                        <a:pt x="1219" y="108"/>
                      </a:cubicBezTo>
                      <a:cubicBezTo>
                        <a:pt x="1221" y="107"/>
                        <a:pt x="1221" y="107"/>
                        <a:pt x="1221" y="107"/>
                      </a:cubicBezTo>
                      <a:cubicBezTo>
                        <a:pt x="1223" y="108"/>
                        <a:pt x="1223" y="108"/>
                        <a:pt x="1223" y="108"/>
                      </a:cubicBezTo>
                      <a:cubicBezTo>
                        <a:pt x="1224" y="111"/>
                        <a:pt x="1224" y="111"/>
                        <a:pt x="1224" y="111"/>
                      </a:cubicBezTo>
                      <a:cubicBezTo>
                        <a:pt x="1224" y="111"/>
                        <a:pt x="1224" y="111"/>
                        <a:pt x="1224" y="111"/>
                      </a:cubicBezTo>
                      <a:cubicBezTo>
                        <a:pt x="1222" y="108"/>
                        <a:pt x="1222" y="108"/>
                        <a:pt x="1222" y="108"/>
                      </a:cubicBezTo>
                      <a:cubicBezTo>
                        <a:pt x="1221" y="108"/>
                        <a:pt x="1221" y="108"/>
                        <a:pt x="1221" y="108"/>
                      </a:cubicBezTo>
                      <a:cubicBezTo>
                        <a:pt x="1222" y="111"/>
                        <a:pt x="1222" y="111"/>
                        <a:pt x="1222" y="111"/>
                      </a:cubicBezTo>
                      <a:cubicBezTo>
                        <a:pt x="1225" y="114"/>
                        <a:pt x="1225" y="114"/>
                        <a:pt x="1225" y="114"/>
                      </a:cubicBezTo>
                      <a:cubicBezTo>
                        <a:pt x="1226" y="116"/>
                        <a:pt x="1226" y="116"/>
                        <a:pt x="1226" y="116"/>
                      </a:cubicBezTo>
                      <a:cubicBezTo>
                        <a:pt x="1228" y="118"/>
                        <a:pt x="1228" y="118"/>
                        <a:pt x="1228" y="118"/>
                      </a:cubicBezTo>
                      <a:cubicBezTo>
                        <a:pt x="1228" y="122"/>
                        <a:pt x="1228" y="122"/>
                        <a:pt x="1228" y="122"/>
                      </a:cubicBezTo>
                      <a:cubicBezTo>
                        <a:pt x="1226" y="129"/>
                        <a:pt x="1226" y="129"/>
                        <a:pt x="1226" y="129"/>
                      </a:cubicBezTo>
                      <a:cubicBezTo>
                        <a:pt x="1227" y="133"/>
                        <a:pt x="1227" y="133"/>
                        <a:pt x="1227" y="133"/>
                      </a:cubicBezTo>
                      <a:cubicBezTo>
                        <a:pt x="1227" y="135"/>
                        <a:pt x="1227" y="135"/>
                        <a:pt x="1227" y="135"/>
                      </a:cubicBezTo>
                      <a:cubicBezTo>
                        <a:pt x="1228" y="137"/>
                        <a:pt x="1228" y="137"/>
                        <a:pt x="1228" y="137"/>
                      </a:cubicBezTo>
                      <a:cubicBezTo>
                        <a:pt x="1225" y="141"/>
                        <a:pt x="1225" y="141"/>
                        <a:pt x="1225" y="141"/>
                      </a:cubicBezTo>
                      <a:cubicBezTo>
                        <a:pt x="1225" y="143"/>
                        <a:pt x="1225" y="143"/>
                        <a:pt x="1225" y="143"/>
                      </a:cubicBezTo>
                      <a:cubicBezTo>
                        <a:pt x="1224" y="144"/>
                        <a:pt x="1224" y="144"/>
                        <a:pt x="1224" y="144"/>
                      </a:cubicBezTo>
                      <a:cubicBezTo>
                        <a:pt x="1224" y="142"/>
                        <a:pt x="1224" y="142"/>
                        <a:pt x="1224" y="142"/>
                      </a:cubicBezTo>
                      <a:cubicBezTo>
                        <a:pt x="1224" y="142"/>
                        <a:pt x="1224" y="142"/>
                        <a:pt x="1224" y="142"/>
                      </a:cubicBezTo>
                      <a:cubicBezTo>
                        <a:pt x="1219" y="145"/>
                        <a:pt x="1219" y="145"/>
                        <a:pt x="1219" y="145"/>
                      </a:cubicBezTo>
                      <a:cubicBezTo>
                        <a:pt x="1218" y="144"/>
                        <a:pt x="1218" y="144"/>
                        <a:pt x="1218" y="144"/>
                      </a:cubicBezTo>
                      <a:cubicBezTo>
                        <a:pt x="1216" y="145"/>
                        <a:pt x="1216" y="145"/>
                        <a:pt x="1216" y="145"/>
                      </a:cubicBezTo>
                      <a:cubicBezTo>
                        <a:pt x="1214" y="145"/>
                        <a:pt x="1214" y="145"/>
                        <a:pt x="1214" y="145"/>
                      </a:cubicBezTo>
                      <a:cubicBezTo>
                        <a:pt x="1213" y="143"/>
                        <a:pt x="1213" y="143"/>
                        <a:pt x="1213" y="143"/>
                      </a:cubicBezTo>
                      <a:cubicBezTo>
                        <a:pt x="1211" y="143"/>
                        <a:pt x="1211" y="143"/>
                        <a:pt x="1211" y="143"/>
                      </a:cubicBezTo>
                      <a:cubicBezTo>
                        <a:pt x="1209" y="140"/>
                        <a:pt x="1209" y="140"/>
                        <a:pt x="1209" y="140"/>
                      </a:cubicBezTo>
                      <a:cubicBezTo>
                        <a:pt x="1206" y="138"/>
                        <a:pt x="1206" y="138"/>
                        <a:pt x="1206" y="138"/>
                      </a:cubicBezTo>
                      <a:cubicBezTo>
                        <a:pt x="1204" y="138"/>
                        <a:pt x="1204" y="138"/>
                        <a:pt x="1204" y="138"/>
                      </a:cubicBezTo>
                      <a:cubicBezTo>
                        <a:pt x="1202" y="137"/>
                        <a:pt x="1202" y="137"/>
                        <a:pt x="1202" y="137"/>
                      </a:cubicBezTo>
                      <a:cubicBezTo>
                        <a:pt x="1201" y="137"/>
                        <a:pt x="1201" y="137"/>
                        <a:pt x="1201" y="137"/>
                      </a:cubicBezTo>
                      <a:cubicBezTo>
                        <a:pt x="1199" y="140"/>
                        <a:pt x="1199" y="140"/>
                        <a:pt x="1199" y="140"/>
                      </a:cubicBezTo>
                      <a:cubicBezTo>
                        <a:pt x="1197" y="139"/>
                        <a:pt x="1197" y="139"/>
                        <a:pt x="1197" y="139"/>
                      </a:cubicBezTo>
                      <a:cubicBezTo>
                        <a:pt x="1199" y="140"/>
                        <a:pt x="1199" y="140"/>
                        <a:pt x="1199" y="140"/>
                      </a:cubicBezTo>
                      <a:cubicBezTo>
                        <a:pt x="1202" y="141"/>
                        <a:pt x="1202" y="141"/>
                        <a:pt x="1202" y="141"/>
                      </a:cubicBezTo>
                      <a:cubicBezTo>
                        <a:pt x="1203" y="139"/>
                        <a:pt x="1203" y="139"/>
                        <a:pt x="1203" y="139"/>
                      </a:cubicBezTo>
                      <a:cubicBezTo>
                        <a:pt x="1208" y="141"/>
                        <a:pt x="1208" y="141"/>
                        <a:pt x="1208" y="141"/>
                      </a:cubicBezTo>
                      <a:cubicBezTo>
                        <a:pt x="1209" y="143"/>
                        <a:pt x="1209" y="143"/>
                        <a:pt x="1209" y="143"/>
                      </a:cubicBezTo>
                      <a:cubicBezTo>
                        <a:pt x="1206" y="144"/>
                        <a:pt x="1206" y="144"/>
                        <a:pt x="1206" y="144"/>
                      </a:cubicBezTo>
                      <a:cubicBezTo>
                        <a:pt x="1205" y="143"/>
                        <a:pt x="1205" y="143"/>
                        <a:pt x="1205" y="143"/>
                      </a:cubicBezTo>
                      <a:cubicBezTo>
                        <a:pt x="1202" y="143"/>
                        <a:pt x="1202" y="143"/>
                        <a:pt x="1202" y="143"/>
                      </a:cubicBezTo>
                      <a:cubicBezTo>
                        <a:pt x="1202" y="145"/>
                        <a:pt x="1202" y="145"/>
                        <a:pt x="1202" y="145"/>
                      </a:cubicBezTo>
                      <a:cubicBezTo>
                        <a:pt x="1201" y="143"/>
                        <a:pt x="1201" y="143"/>
                        <a:pt x="1201" y="143"/>
                      </a:cubicBezTo>
                      <a:cubicBezTo>
                        <a:pt x="1199" y="143"/>
                        <a:pt x="1199" y="143"/>
                        <a:pt x="1199" y="143"/>
                      </a:cubicBezTo>
                      <a:cubicBezTo>
                        <a:pt x="1200" y="143"/>
                        <a:pt x="1200" y="143"/>
                        <a:pt x="1200" y="143"/>
                      </a:cubicBezTo>
                      <a:cubicBezTo>
                        <a:pt x="1201" y="146"/>
                        <a:pt x="1201" y="146"/>
                        <a:pt x="1201" y="146"/>
                      </a:cubicBezTo>
                      <a:cubicBezTo>
                        <a:pt x="1204" y="148"/>
                        <a:pt x="1204" y="148"/>
                        <a:pt x="1204" y="148"/>
                      </a:cubicBezTo>
                      <a:cubicBezTo>
                        <a:pt x="1203" y="151"/>
                        <a:pt x="1203" y="151"/>
                        <a:pt x="1203" y="151"/>
                      </a:cubicBezTo>
                      <a:cubicBezTo>
                        <a:pt x="1204" y="154"/>
                        <a:pt x="1204" y="154"/>
                        <a:pt x="1204" y="154"/>
                      </a:cubicBezTo>
                      <a:cubicBezTo>
                        <a:pt x="1206" y="155"/>
                        <a:pt x="1206" y="155"/>
                        <a:pt x="1206" y="155"/>
                      </a:cubicBezTo>
                      <a:cubicBezTo>
                        <a:pt x="1205" y="154"/>
                        <a:pt x="1205" y="154"/>
                        <a:pt x="1205" y="154"/>
                      </a:cubicBezTo>
                      <a:cubicBezTo>
                        <a:pt x="1205" y="150"/>
                        <a:pt x="1205" y="150"/>
                        <a:pt x="1205" y="150"/>
                      </a:cubicBezTo>
                      <a:cubicBezTo>
                        <a:pt x="1206" y="149"/>
                        <a:pt x="1206" y="149"/>
                        <a:pt x="1206" y="149"/>
                      </a:cubicBezTo>
                      <a:cubicBezTo>
                        <a:pt x="1208" y="149"/>
                        <a:pt x="1208" y="149"/>
                        <a:pt x="1208" y="149"/>
                      </a:cubicBezTo>
                      <a:cubicBezTo>
                        <a:pt x="1208" y="148"/>
                        <a:pt x="1208" y="148"/>
                        <a:pt x="1208" y="148"/>
                      </a:cubicBezTo>
                      <a:cubicBezTo>
                        <a:pt x="1211" y="145"/>
                        <a:pt x="1211" y="145"/>
                        <a:pt x="1211" y="145"/>
                      </a:cubicBezTo>
                      <a:cubicBezTo>
                        <a:pt x="1213" y="145"/>
                        <a:pt x="1213" y="145"/>
                        <a:pt x="1213" y="145"/>
                      </a:cubicBezTo>
                      <a:cubicBezTo>
                        <a:pt x="1214" y="146"/>
                        <a:pt x="1214" y="146"/>
                        <a:pt x="1214" y="146"/>
                      </a:cubicBezTo>
                      <a:cubicBezTo>
                        <a:pt x="1214" y="147"/>
                        <a:pt x="1214" y="147"/>
                        <a:pt x="1214" y="147"/>
                      </a:cubicBezTo>
                      <a:cubicBezTo>
                        <a:pt x="1216" y="151"/>
                        <a:pt x="1216" y="151"/>
                        <a:pt x="1216" y="151"/>
                      </a:cubicBezTo>
                      <a:cubicBezTo>
                        <a:pt x="1219" y="152"/>
                        <a:pt x="1219" y="152"/>
                        <a:pt x="1219" y="152"/>
                      </a:cubicBezTo>
                      <a:cubicBezTo>
                        <a:pt x="1221" y="154"/>
                        <a:pt x="1221" y="154"/>
                        <a:pt x="1221" y="154"/>
                      </a:cubicBezTo>
                      <a:cubicBezTo>
                        <a:pt x="1224" y="154"/>
                        <a:pt x="1224" y="154"/>
                        <a:pt x="1224" y="154"/>
                      </a:cubicBezTo>
                      <a:cubicBezTo>
                        <a:pt x="1224" y="152"/>
                        <a:pt x="1224" y="152"/>
                        <a:pt x="1224" y="152"/>
                      </a:cubicBezTo>
                      <a:cubicBezTo>
                        <a:pt x="1224" y="151"/>
                        <a:pt x="1224" y="151"/>
                        <a:pt x="1224" y="151"/>
                      </a:cubicBezTo>
                      <a:cubicBezTo>
                        <a:pt x="1225" y="151"/>
                        <a:pt x="1225" y="151"/>
                        <a:pt x="1225" y="151"/>
                      </a:cubicBezTo>
                      <a:cubicBezTo>
                        <a:pt x="1230" y="155"/>
                        <a:pt x="1230" y="155"/>
                        <a:pt x="1230" y="155"/>
                      </a:cubicBezTo>
                      <a:cubicBezTo>
                        <a:pt x="1231" y="157"/>
                        <a:pt x="1231" y="157"/>
                        <a:pt x="1231" y="157"/>
                      </a:cubicBezTo>
                      <a:cubicBezTo>
                        <a:pt x="1229" y="156"/>
                        <a:pt x="1229" y="156"/>
                        <a:pt x="1229" y="156"/>
                      </a:cubicBezTo>
                      <a:cubicBezTo>
                        <a:pt x="1229" y="158"/>
                        <a:pt x="1229" y="158"/>
                        <a:pt x="1229" y="158"/>
                      </a:cubicBezTo>
                      <a:cubicBezTo>
                        <a:pt x="1232" y="162"/>
                        <a:pt x="1232" y="162"/>
                        <a:pt x="1232" y="162"/>
                      </a:cubicBezTo>
                      <a:cubicBezTo>
                        <a:pt x="1233" y="162"/>
                        <a:pt x="1233" y="162"/>
                        <a:pt x="1233" y="162"/>
                      </a:cubicBezTo>
                      <a:cubicBezTo>
                        <a:pt x="1233" y="161"/>
                        <a:pt x="1233" y="161"/>
                        <a:pt x="1233" y="161"/>
                      </a:cubicBezTo>
                      <a:cubicBezTo>
                        <a:pt x="1234" y="158"/>
                        <a:pt x="1234" y="158"/>
                        <a:pt x="1234" y="158"/>
                      </a:cubicBezTo>
                      <a:cubicBezTo>
                        <a:pt x="1236" y="160"/>
                        <a:pt x="1236" y="160"/>
                        <a:pt x="1236" y="160"/>
                      </a:cubicBezTo>
                      <a:cubicBezTo>
                        <a:pt x="1240" y="166"/>
                        <a:pt x="1240" y="166"/>
                        <a:pt x="1240" y="166"/>
                      </a:cubicBezTo>
                      <a:cubicBezTo>
                        <a:pt x="1239" y="165"/>
                        <a:pt x="1239" y="165"/>
                        <a:pt x="1239" y="165"/>
                      </a:cubicBezTo>
                      <a:cubicBezTo>
                        <a:pt x="1238" y="165"/>
                        <a:pt x="1238" y="165"/>
                        <a:pt x="1238" y="165"/>
                      </a:cubicBezTo>
                      <a:cubicBezTo>
                        <a:pt x="1237" y="166"/>
                        <a:pt x="1237" y="166"/>
                        <a:pt x="1237" y="166"/>
                      </a:cubicBezTo>
                      <a:cubicBezTo>
                        <a:pt x="1239" y="168"/>
                        <a:pt x="1239" y="168"/>
                        <a:pt x="1239" y="168"/>
                      </a:cubicBezTo>
                      <a:cubicBezTo>
                        <a:pt x="1237" y="169"/>
                        <a:pt x="1237" y="169"/>
                        <a:pt x="1237" y="169"/>
                      </a:cubicBezTo>
                      <a:cubicBezTo>
                        <a:pt x="1236" y="171"/>
                        <a:pt x="1236" y="171"/>
                        <a:pt x="1236" y="171"/>
                      </a:cubicBezTo>
                      <a:cubicBezTo>
                        <a:pt x="1237" y="173"/>
                        <a:pt x="1237" y="173"/>
                        <a:pt x="1237" y="173"/>
                      </a:cubicBezTo>
                      <a:cubicBezTo>
                        <a:pt x="1239" y="172"/>
                        <a:pt x="1239" y="172"/>
                        <a:pt x="1239" y="172"/>
                      </a:cubicBezTo>
                      <a:cubicBezTo>
                        <a:pt x="1239" y="170"/>
                        <a:pt x="1239" y="170"/>
                        <a:pt x="1239" y="170"/>
                      </a:cubicBezTo>
                      <a:cubicBezTo>
                        <a:pt x="1240" y="169"/>
                        <a:pt x="1240" y="169"/>
                        <a:pt x="1240" y="169"/>
                      </a:cubicBezTo>
                      <a:cubicBezTo>
                        <a:pt x="1242" y="170"/>
                        <a:pt x="1242" y="170"/>
                        <a:pt x="1242" y="170"/>
                      </a:cubicBezTo>
                      <a:cubicBezTo>
                        <a:pt x="1242" y="168"/>
                        <a:pt x="1242" y="168"/>
                        <a:pt x="1242" y="168"/>
                      </a:cubicBezTo>
                      <a:cubicBezTo>
                        <a:pt x="1244" y="171"/>
                        <a:pt x="1244" y="171"/>
                        <a:pt x="1244" y="171"/>
                      </a:cubicBezTo>
                      <a:cubicBezTo>
                        <a:pt x="1248" y="174"/>
                        <a:pt x="1248" y="174"/>
                        <a:pt x="1248" y="174"/>
                      </a:cubicBezTo>
                      <a:cubicBezTo>
                        <a:pt x="1252" y="175"/>
                        <a:pt x="1252" y="175"/>
                        <a:pt x="1252" y="175"/>
                      </a:cubicBezTo>
                      <a:cubicBezTo>
                        <a:pt x="1255" y="177"/>
                        <a:pt x="1255" y="177"/>
                        <a:pt x="1255" y="177"/>
                      </a:cubicBezTo>
                      <a:cubicBezTo>
                        <a:pt x="1254" y="178"/>
                        <a:pt x="1254" y="178"/>
                        <a:pt x="1254" y="178"/>
                      </a:cubicBezTo>
                      <a:cubicBezTo>
                        <a:pt x="1256" y="182"/>
                        <a:pt x="1256" y="182"/>
                        <a:pt x="1256" y="182"/>
                      </a:cubicBezTo>
                      <a:cubicBezTo>
                        <a:pt x="1258" y="183"/>
                        <a:pt x="1258" y="183"/>
                        <a:pt x="1258" y="183"/>
                      </a:cubicBezTo>
                      <a:cubicBezTo>
                        <a:pt x="1261" y="187"/>
                        <a:pt x="1261" y="187"/>
                        <a:pt x="1261" y="187"/>
                      </a:cubicBezTo>
                      <a:cubicBezTo>
                        <a:pt x="1261" y="193"/>
                        <a:pt x="1261" y="193"/>
                        <a:pt x="1261" y="193"/>
                      </a:cubicBezTo>
                      <a:cubicBezTo>
                        <a:pt x="1260" y="193"/>
                        <a:pt x="1260" y="193"/>
                        <a:pt x="1260" y="193"/>
                      </a:cubicBezTo>
                      <a:cubicBezTo>
                        <a:pt x="1260" y="194"/>
                        <a:pt x="1260" y="194"/>
                        <a:pt x="1260" y="194"/>
                      </a:cubicBezTo>
                      <a:cubicBezTo>
                        <a:pt x="1262" y="195"/>
                        <a:pt x="1262" y="195"/>
                        <a:pt x="1262" y="195"/>
                      </a:cubicBezTo>
                      <a:cubicBezTo>
                        <a:pt x="1263" y="198"/>
                        <a:pt x="1263" y="198"/>
                        <a:pt x="1263" y="198"/>
                      </a:cubicBezTo>
                      <a:cubicBezTo>
                        <a:pt x="1262" y="198"/>
                        <a:pt x="1262" y="198"/>
                        <a:pt x="1262" y="198"/>
                      </a:cubicBezTo>
                      <a:cubicBezTo>
                        <a:pt x="1260" y="197"/>
                        <a:pt x="1260" y="197"/>
                        <a:pt x="1260" y="197"/>
                      </a:cubicBezTo>
                      <a:cubicBezTo>
                        <a:pt x="1253" y="197"/>
                        <a:pt x="1253" y="197"/>
                        <a:pt x="1253" y="197"/>
                      </a:cubicBezTo>
                      <a:cubicBezTo>
                        <a:pt x="1251" y="196"/>
                        <a:pt x="1251" y="196"/>
                        <a:pt x="1251" y="196"/>
                      </a:cubicBezTo>
                      <a:cubicBezTo>
                        <a:pt x="1250" y="197"/>
                        <a:pt x="1250" y="197"/>
                        <a:pt x="1250" y="197"/>
                      </a:cubicBezTo>
                      <a:cubicBezTo>
                        <a:pt x="1248" y="196"/>
                        <a:pt x="1248" y="196"/>
                        <a:pt x="1248" y="196"/>
                      </a:cubicBezTo>
                      <a:cubicBezTo>
                        <a:pt x="1248" y="194"/>
                        <a:pt x="1248" y="194"/>
                        <a:pt x="1248" y="194"/>
                      </a:cubicBezTo>
                      <a:cubicBezTo>
                        <a:pt x="1247" y="194"/>
                        <a:pt x="1247" y="194"/>
                        <a:pt x="1247" y="194"/>
                      </a:cubicBezTo>
                      <a:cubicBezTo>
                        <a:pt x="1246" y="194"/>
                        <a:pt x="1246" y="194"/>
                        <a:pt x="1246" y="194"/>
                      </a:cubicBezTo>
                      <a:cubicBezTo>
                        <a:pt x="1247" y="196"/>
                        <a:pt x="1247" y="196"/>
                        <a:pt x="1247" y="196"/>
                      </a:cubicBezTo>
                      <a:cubicBezTo>
                        <a:pt x="1244" y="198"/>
                        <a:pt x="1244" y="198"/>
                        <a:pt x="1244" y="198"/>
                      </a:cubicBezTo>
                      <a:cubicBezTo>
                        <a:pt x="1241" y="198"/>
                        <a:pt x="1241" y="198"/>
                        <a:pt x="1241" y="198"/>
                      </a:cubicBezTo>
                      <a:cubicBezTo>
                        <a:pt x="1241" y="199"/>
                        <a:pt x="1241" y="199"/>
                        <a:pt x="1241" y="199"/>
                      </a:cubicBezTo>
                      <a:cubicBezTo>
                        <a:pt x="1242" y="199"/>
                        <a:pt x="1242" y="199"/>
                        <a:pt x="1242" y="199"/>
                      </a:cubicBezTo>
                      <a:cubicBezTo>
                        <a:pt x="1239" y="203"/>
                        <a:pt x="1239" y="203"/>
                        <a:pt x="1239" y="203"/>
                      </a:cubicBezTo>
                      <a:cubicBezTo>
                        <a:pt x="1237" y="203"/>
                        <a:pt x="1237" y="203"/>
                        <a:pt x="1237" y="203"/>
                      </a:cubicBezTo>
                      <a:cubicBezTo>
                        <a:pt x="1237" y="204"/>
                        <a:pt x="1237" y="204"/>
                        <a:pt x="1237" y="204"/>
                      </a:cubicBezTo>
                      <a:cubicBezTo>
                        <a:pt x="1238" y="205"/>
                        <a:pt x="1238" y="205"/>
                        <a:pt x="1238" y="205"/>
                      </a:cubicBezTo>
                      <a:cubicBezTo>
                        <a:pt x="1235" y="209"/>
                        <a:pt x="1235" y="209"/>
                        <a:pt x="1235" y="209"/>
                      </a:cubicBezTo>
                      <a:cubicBezTo>
                        <a:pt x="1234" y="210"/>
                        <a:pt x="1234" y="210"/>
                        <a:pt x="1234" y="210"/>
                      </a:cubicBezTo>
                      <a:cubicBezTo>
                        <a:pt x="1234" y="209"/>
                        <a:pt x="1234" y="209"/>
                        <a:pt x="1234" y="209"/>
                      </a:cubicBezTo>
                      <a:cubicBezTo>
                        <a:pt x="1232" y="209"/>
                        <a:pt x="1232" y="209"/>
                        <a:pt x="1232" y="209"/>
                      </a:cubicBezTo>
                      <a:cubicBezTo>
                        <a:pt x="1232" y="212"/>
                        <a:pt x="1232" y="212"/>
                        <a:pt x="1232" y="212"/>
                      </a:cubicBezTo>
                      <a:cubicBezTo>
                        <a:pt x="1233" y="215"/>
                        <a:pt x="1233" y="215"/>
                        <a:pt x="1233" y="215"/>
                      </a:cubicBezTo>
                      <a:cubicBezTo>
                        <a:pt x="1232" y="217"/>
                        <a:pt x="1232" y="217"/>
                        <a:pt x="1232" y="217"/>
                      </a:cubicBezTo>
                      <a:cubicBezTo>
                        <a:pt x="1230" y="216"/>
                        <a:pt x="1230" y="216"/>
                        <a:pt x="1230" y="216"/>
                      </a:cubicBezTo>
                      <a:cubicBezTo>
                        <a:pt x="1230" y="218"/>
                        <a:pt x="1230" y="218"/>
                        <a:pt x="1230" y="218"/>
                      </a:cubicBezTo>
                      <a:cubicBezTo>
                        <a:pt x="1231" y="219"/>
                        <a:pt x="1231" y="219"/>
                        <a:pt x="1231" y="219"/>
                      </a:cubicBezTo>
                      <a:cubicBezTo>
                        <a:pt x="1229" y="221"/>
                        <a:pt x="1229" y="221"/>
                        <a:pt x="1229" y="221"/>
                      </a:cubicBezTo>
                      <a:cubicBezTo>
                        <a:pt x="1227" y="222"/>
                        <a:pt x="1227" y="222"/>
                        <a:pt x="1227" y="222"/>
                      </a:cubicBezTo>
                      <a:cubicBezTo>
                        <a:pt x="1228" y="223"/>
                        <a:pt x="1228" y="223"/>
                        <a:pt x="1228" y="223"/>
                      </a:cubicBezTo>
                      <a:cubicBezTo>
                        <a:pt x="1228" y="224"/>
                        <a:pt x="1228" y="224"/>
                        <a:pt x="1228" y="224"/>
                      </a:cubicBezTo>
                      <a:cubicBezTo>
                        <a:pt x="1227" y="226"/>
                        <a:pt x="1227" y="226"/>
                        <a:pt x="1227" y="226"/>
                      </a:cubicBezTo>
                      <a:cubicBezTo>
                        <a:pt x="1226" y="225"/>
                        <a:pt x="1226" y="225"/>
                        <a:pt x="1226" y="225"/>
                      </a:cubicBezTo>
                      <a:cubicBezTo>
                        <a:pt x="1224" y="226"/>
                        <a:pt x="1224" y="226"/>
                        <a:pt x="1224" y="226"/>
                      </a:cubicBezTo>
                      <a:cubicBezTo>
                        <a:pt x="1225" y="227"/>
                        <a:pt x="1225" y="227"/>
                        <a:pt x="1225" y="227"/>
                      </a:cubicBezTo>
                      <a:cubicBezTo>
                        <a:pt x="1226" y="229"/>
                        <a:pt x="1226" y="229"/>
                        <a:pt x="1226" y="229"/>
                      </a:cubicBezTo>
                      <a:cubicBezTo>
                        <a:pt x="1224" y="230"/>
                        <a:pt x="1224" y="230"/>
                        <a:pt x="1224" y="230"/>
                      </a:cubicBezTo>
                      <a:cubicBezTo>
                        <a:pt x="1225" y="232"/>
                        <a:pt x="1225" y="232"/>
                        <a:pt x="1225" y="232"/>
                      </a:cubicBezTo>
                      <a:cubicBezTo>
                        <a:pt x="1224" y="233"/>
                        <a:pt x="1224" y="233"/>
                        <a:pt x="1224" y="233"/>
                      </a:cubicBezTo>
                      <a:cubicBezTo>
                        <a:pt x="1223" y="234"/>
                        <a:pt x="1223" y="234"/>
                        <a:pt x="1223" y="234"/>
                      </a:cubicBezTo>
                      <a:cubicBezTo>
                        <a:pt x="1222" y="233"/>
                        <a:pt x="1222" y="233"/>
                        <a:pt x="1222" y="233"/>
                      </a:cubicBezTo>
                      <a:cubicBezTo>
                        <a:pt x="1221" y="233"/>
                        <a:pt x="1221" y="233"/>
                        <a:pt x="1221" y="233"/>
                      </a:cubicBezTo>
                      <a:cubicBezTo>
                        <a:pt x="1222" y="235"/>
                        <a:pt x="1222" y="235"/>
                        <a:pt x="1222" y="235"/>
                      </a:cubicBezTo>
                      <a:cubicBezTo>
                        <a:pt x="1224" y="236"/>
                        <a:pt x="1224" y="236"/>
                        <a:pt x="1224" y="236"/>
                      </a:cubicBezTo>
                      <a:cubicBezTo>
                        <a:pt x="1223" y="238"/>
                        <a:pt x="1223" y="238"/>
                        <a:pt x="1223" y="238"/>
                      </a:cubicBezTo>
                      <a:cubicBezTo>
                        <a:pt x="1221" y="238"/>
                        <a:pt x="1221" y="238"/>
                        <a:pt x="1221" y="238"/>
                      </a:cubicBezTo>
                      <a:cubicBezTo>
                        <a:pt x="1221" y="239"/>
                        <a:pt x="1221" y="239"/>
                        <a:pt x="1221" y="239"/>
                      </a:cubicBezTo>
                      <a:cubicBezTo>
                        <a:pt x="1222" y="240"/>
                        <a:pt x="1222" y="240"/>
                        <a:pt x="1222" y="240"/>
                      </a:cubicBezTo>
                      <a:cubicBezTo>
                        <a:pt x="1223" y="243"/>
                        <a:pt x="1223" y="243"/>
                        <a:pt x="1223" y="243"/>
                      </a:cubicBezTo>
                      <a:cubicBezTo>
                        <a:pt x="1222" y="244"/>
                        <a:pt x="1222" y="244"/>
                        <a:pt x="1222" y="244"/>
                      </a:cubicBezTo>
                      <a:cubicBezTo>
                        <a:pt x="1223" y="246"/>
                        <a:pt x="1223" y="246"/>
                        <a:pt x="1223" y="246"/>
                      </a:cubicBezTo>
                      <a:cubicBezTo>
                        <a:pt x="1221" y="249"/>
                        <a:pt x="1221" y="249"/>
                        <a:pt x="1221" y="249"/>
                      </a:cubicBezTo>
                      <a:cubicBezTo>
                        <a:pt x="1221" y="250"/>
                        <a:pt x="1221" y="250"/>
                        <a:pt x="1221" y="250"/>
                      </a:cubicBezTo>
                      <a:cubicBezTo>
                        <a:pt x="1220" y="254"/>
                        <a:pt x="1220" y="254"/>
                        <a:pt x="1220" y="254"/>
                      </a:cubicBezTo>
                      <a:cubicBezTo>
                        <a:pt x="1219" y="258"/>
                        <a:pt x="1219" y="258"/>
                        <a:pt x="1219" y="258"/>
                      </a:cubicBezTo>
                      <a:cubicBezTo>
                        <a:pt x="1218" y="260"/>
                        <a:pt x="1218" y="260"/>
                        <a:pt x="1218" y="260"/>
                      </a:cubicBezTo>
                      <a:cubicBezTo>
                        <a:pt x="1218" y="262"/>
                        <a:pt x="1218" y="262"/>
                        <a:pt x="1218" y="262"/>
                      </a:cubicBezTo>
                      <a:cubicBezTo>
                        <a:pt x="1219" y="262"/>
                        <a:pt x="1219" y="262"/>
                        <a:pt x="1219" y="262"/>
                      </a:cubicBezTo>
                      <a:cubicBezTo>
                        <a:pt x="1220" y="263"/>
                        <a:pt x="1220" y="263"/>
                        <a:pt x="1220" y="263"/>
                      </a:cubicBezTo>
                      <a:cubicBezTo>
                        <a:pt x="1219" y="265"/>
                        <a:pt x="1219" y="265"/>
                        <a:pt x="1219" y="265"/>
                      </a:cubicBezTo>
                      <a:cubicBezTo>
                        <a:pt x="1222" y="268"/>
                        <a:pt x="1222" y="268"/>
                        <a:pt x="1222" y="268"/>
                      </a:cubicBezTo>
                      <a:cubicBezTo>
                        <a:pt x="1222" y="270"/>
                        <a:pt x="1222" y="270"/>
                        <a:pt x="1222" y="270"/>
                      </a:cubicBezTo>
                      <a:cubicBezTo>
                        <a:pt x="1221" y="270"/>
                        <a:pt x="1221" y="270"/>
                        <a:pt x="1221" y="270"/>
                      </a:cubicBezTo>
                      <a:cubicBezTo>
                        <a:pt x="1218" y="270"/>
                        <a:pt x="1218" y="270"/>
                        <a:pt x="1218" y="270"/>
                      </a:cubicBezTo>
                      <a:cubicBezTo>
                        <a:pt x="1217" y="268"/>
                        <a:pt x="1217" y="268"/>
                        <a:pt x="1217" y="268"/>
                      </a:cubicBezTo>
                      <a:cubicBezTo>
                        <a:pt x="1216" y="269"/>
                        <a:pt x="1216" y="269"/>
                        <a:pt x="1216" y="269"/>
                      </a:cubicBezTo>
                      <a:cubicBezTo>
                        <a:pt x="1213" y="266"/>
                        <a:pt x="1213" y="266"/>
                        <a:pt x="1213" y="266"/>
                      </a:cubicBezTo>
                      <a:cubicBezTo>
                        <a:pt x="1214" y="265"/>
                        <a:pt x="1214" y="265"/>
                        <a:pt x="1214" y="265"/>
                      </a:cubicBezTo>
                      <a:cubicBezTo>
                        <a:pt x="1213" y="265"/>
                        <a:pt x="1213" y="265"/>
                        <a:pt x="1213" y="265"/>
                      </a:cubicBezTo>
                      <a:cubicBezTo>
                        <a:pt x="1211" y="265"/>
                        <a:pt x="1211" y="265"/>
                        <a:pt x="1211" y="265"/>
                      </a:cubicBezTo>
                      <a:cubicBezTo>
                        <a:pt x="1210" y="265"/>
                        <a:pt x="1210" y="265"/>
                        <a:pt x="1210" y="265"/>
                      </a:cubicBezTo>
                      <a:cubicBezTo>
                        <a:pt x="1209" y="263"/>
                        <a:pt x="1209" y="263"/>
                        <a:pt x="1209" y="263"/>
                      </a:cubicBezTo>
                      <a:cubicBezTo>
                        <a:pt x="1204" y="260"/>
                        <a:pt x="1204" y="260"/>
                        <a:pt x="1204" y="260"/>
                      </a:cubicBezTo>
                      <a:cubicBezTo>
                        <a:pt x="1201" y="260"/>
                        <a:pt x="1201" y="260"/>
                        <a:pt x="1201" y="260"/>
                      </a:cubicBezTo>
                      <a:cubicBezTo>
                        <a:pt x="1198" y="262"/>
                        <a:pt x="1198" y="262"/>
                        <a:pt x="1198" y="262"/>
                      </a:cubicBezTo>
                      <a:cubicBezTo>
                        <a:pt x="1197" y="261"/>
                        <a:pt x="1197" y="261"/>
                        <a:pt x="1197" y="261"/>
                      </a:cubicBezTo>
                      <a:cubicBezTo>
                        <a:pt x="1195" y="262"/>
                        <a:pt x="1195" y="262"/>
                        <a:pt x="1195" y="262"/>
                      </a:cubicBezTo>
                      <a:cubicBezTo>
                        <a:pt x="1193" y="264"/>
                        <a:pt x="1193" y="264"/>
                        <a:pt x="1193" y="264"/>
                      </a:cubicBezTo>
                      <a:cubicBezTo>
                        <a:pt x="1191" y="264"/>
                        <a:pt x="1191" y="264"/>
                        <a:pt x="1191" y="264"/>
                      </a:cubicBezTo>
                      <a:cubicBezTo>
                        <a:pt x="1190" y="268"/>
                        <a:pt x="1190" y="268"/>
                        <a:pt x="1190" y="268"/>
                      </a:cubicBezTo>
                      <a:cubicBezTo>
                        <a:pt x="1189" y="269"/>
                        <a:pt x="1189" y="269"/>
                        <a:pt x="1189" y="269"/>
                      </a:cubicBezTo>
                      <a:cubicBezTo>
                        <a:pt x="1187" y="268"/>
                        <a:pt x="1187" y="268"/>
                        <a:pt x="1187" y="268"/>
                      </a:cubicBezTo>
                      <a:cubicBezTo>
                        <a:pt x="1188" y="271"/>
                        <a:pt x="1188" y="271"/>
                        <a:pt x="1188" y="271"/>
                      </a:cubicBezTo>
                      <a:cubicBezTo>
                        <a:pt x="1187" y="273"/>
                        <a:pt x="1187" y="273"/>
                        <a:pt x="1187" y="273"/>
                      </a:cubicBezTo>
                      <a:cubicBezTo>
                        <a:pt x="1188" y="275"/>
                        <a:pt x="1188" y="275"/>
                        <a:pt x="1188" y="275"/>
                      </a:cubicBezTo>
                      <a:cubicBezTo>
                        <a:pt x="1187" y="277"/>
                        <a:pt x="1187" y="277"/>
                        <a:pt x="1187" y="277"/>
                      </a:cubicBezTo>
                      <a:cubicBezTo>
                        <a:pt x="1186" y="282"/>
                        <a:pt x="1186" y="282"/>
                        <a:pt x="1186" y="282"/>
                      </a:cubicBezTo>
                      <a:cubicBezTo>
                        <a:pt x="1186" y="283"/>
                        <a:pt x="1186" y="283"/>
                        <a:pt x="1186" y="283"/>
                      </a:cubicBezTo>
                      <a:cubicBezTo>
                        <a:pt x="1184" y="281"/>
                        <a:pt x="1184" y="281"/>
                        <a:pt x="1184" y="281"/>
                      </a:cubicBezTo>
                      <a:cubicBezTo>
                        <a:pt x="1182" y="275"/>
                        <a:pt x="1182" y="275"/>
                        <a:pt x="1182" y="275"/>
                      </a:cubicBezTo>
                      <a:cubicBezTo>
                        <a:pt x="1182" y="272"/>
                        <a:pt x="1182" y="272"/>
                        <a:pt x="1182" y="272"/>
                      </a:cubicBezTo>
                      <a:cubicBezTo>
                        <a:pt x="1180" y="271"/>
                        <a:pt x="1180" y="271"/>
                        <a:pt x="1180" y="271"/>
                      </a:cubicBezTo>
                      <a:cubicBezTo>
                        <a:pt x="1179" y="270"/>
                        <a:pt x="1179" y="270"/>
                        <a:pt x="1179" y="270"/>
                      </a:cubicBezTo>
                      <a:cubicBezTo>
                        <a:pt x="1178" y="272"/>
                        <a:pt x="1178" y="272"/>
                        <a:pt x="1178" y="272"/>
                      </a:cubicBezTo>
                      <a:cubicBezTo>
                        <a:pt x="1176" y="276"/>
                        <a:pt x="1176" y="276"/>
                        <a:pt x="1176" y="276"/>
                      </a:cubicBezTo>
                      <a:cubicBezTo>
                        <a:pt x="1174" y="277"/>
                        <a:pt x="1174" y="277"/>
                        <a:pt x="1174" y="277"/>
                      </a:cubicBezTo>
                      <a:cubicBezTo>
                        <a:pt x="1174" y="279"/>
                        <a:pt x="1174" y="279"/>
                        <a:pt x="1174" y="279"/>
                      </a:cubicBezTo>
                      <a:cubicBezTo>
                        <a:pt x="1176" y="280"/>
                        <a:pt x="1176" y="280"/>
                        <a:pt x="1176" y="280"/>
                      </a:cubicBezTo>
                      <a:cubicBezTo>
                        <a:pt x="1174" y="284"/>
                        <a:pt x="1174" y="284"/>
                        <a:pt x="1174" y="284"/>
                      </a:cubicBezTo>
                      <a:cubicBezTo>
                        <a:pt x="1173" y="282"/>
                        <a:pt x="1173" y="282"/>
                        <a:pt x="1173" y="282"/>
                      </a:cubicBezTo>
                      <a:cubicBezTo>
                        <a:pt x="1172" y="282"/>
                        <a:pt x="1172" y="282"/>
                        <a:pt x="1172" y="282"/>
                      </a:cubicBezTo>
                      <a:cubicBezTo>
                        <a:pt x="1171" y="280"/>
                        <a:pt x="1171" y="280"/>
                        <a:pt x="1171" y="280"/>
                      </a:cubicBezTo>
                      <a:cubicBezTo>
                        <a:pt x="1169" y="281"/>
                        <a:pt x="1169" y="281"/>
                        <a:pt x="1169" y="281"/>
                      </a:cubicBezTo>
                      <a:cubicBezTo>
                        <a:pt x="1168" y="284"/>
                        <a:pt x="1168" y="284"/>
                        <a:pt x="1168" y="284"/>
                      </a:cubicBezTo>
                      <a:cubicBezTo>
                        <a:pt x="1167" y="284"/>
                        <a:pt x="1167" y="284"/>
                        <a:pt x="1167" y="284"/>
                      </a:cubicBezTo>
                      <a:cubicBezTo>
                        <a:pt x="1165" y="283"/>
                        <a:pt x="1165" y="283"/>
                        <a:pt x="1165" y="283"/>
                      </a:cubicBezTo>
                      <a:cubicBezTo>
                        <a:pt x="1164" y="283"/>
                        <a:pt x="1164" y="283"/>
                        <a:pt x="1164" y="283"/>
                      </a:cubicBezTo>
                      <a:cubicBezTo>
                        <a:pt x="1164" y="284"/>
                        <a:pt x="1164" y="284"/>
                        <a:pt x="1164" y="284"/>
                      </a:cubicBezTo>
                      <a:cubicBezTo>
                        <a:pt x="1165" y="286"/>
                        <a:pt x="1165" y="286"/>
                        <a:pt x="1165" y="286"/>
                      </a:cubicBezTo>
                      <a:cubicBezTo>
                        <a:pt x="1164" y="287"/>
                        <a:pt x="1164" y="287"/>
                        <a:pt x="1164" y="287"/>
                      </a:cubicBezTo>
                      <a:cubicBezTo>
                        <a:pt x="1163" y="288"/>
                        <a:pt x="1163" y="288"/>
                        <a:pt x="1163" y="288"/>
                      </a:cubicBezTo>
                      <a:cubicBezTo>
                        <a:pt x="1163" y="290"/>
                        <a:pt x="1163" y="290"/>
                        <a:pt x="1163" y="290"/>
                      </a:cubicBezTo>
                      <a:cubicBezTo>
                        <a:pt x="1165" y="292"/>
                        <a:pt x="1165" y="292"/>
                        <a:pt x="1165" y="292"/>
                      </a:cubicBezTo>
                      <a:cubicBezTo>
                        <a:pt x="1165" y="295"/>
                        <a:pt x="1165" y="295"/>
                        <a:pt x="1165" y="295"/>
                      </a:cubicBezTo>
                      <a:cubicBezTo>
                        <a:pt x="1164" y="295"/>
                        <a:pt x="1164" y="295"/>
                        <a:pt x="1164" y="295"/>
                      </a:cubicBezTo>
                      <a:cubicBezTo>
                        <a:pt x="1165" y="296"/>
                        <a:pt x="1165" y="296"/>
                        <a:pt x="1165" y="296"/>
                      </a:cubicBezTo>
                      <a:cubicBezTo>
                        <a:pt x="1167" y="297"/>
                        <a:pt x="1167" y="297"/>
                        <a:pt x="1167" y="297"/>
                      </a:cubicBezTo>
                      <a:cubicBezTo>
                        <a:pt x="1168" y="298"/>
                        <a:pt x="1168" y="298"/>
                        <a:pt x="1168" y="298"/>
                      </a:cubicBezTo>
                      <a:cubicBezTo>
                        <a:pt x="1169" y="300"/>
                        <a:pt x="1169" y="300"/>
                        <a:pt x="1169" y="300"/>
                      </a:cubicBezTo>
                      <a:cubicBezTo>
                        <a:pt x="1168" y="300"/>
                        <a:pt x="1168" y="300"/>
                        <a:pt x="1168" y="300"/>
                      </a:cubicBezTo>
                      <a:cubicBezTo>
                        <a:pt x="1167" y="301"/>
                        <a:pt x="1167" y="301"/>
                        <a:pt x="1167" y="301"/>
                      </a:cubicBezTo>
                      <a:cubicBezTo>
                        <a:pt x="1169" y="302"/>
                        <a:pt x="1169" y="302"/>
                        <a:pt x="1169" y="302"/>
                      </a:cubicBezTo>
                      <a:cubicBezTo>
                        <a:pt x="1170" y="304"/>
                        <a:pt x="1170" y="304"/>
                        <a:pt x="1170" y="304"/>
                      </a:cubicBezTo>
                      <a:cubicBezTo>
                        <a:pt x="1170" y="305"/>
                        <a:pt x="1170" y="305"/>
                        <a:pt x="1170" y="305"/>
                      </a:cubicBezTo>
                      <a:cubicBezTo>
                        <a:pt x="1168" y="303"/>
                        <a:pt x="1168" y="303"/>
                        <a:pt x="1168" y="303"/>
                      </a:cubicBezTo>
                      <a:cubicBezTo>
                        <a:pt x="1167" y="304"/>
                        <a:pt x="1167" y="304"/>
                        <a:pt x="1167" y="304"/>
                      </a:cubicBezTo>
                      <a:cubicBezTo>
                        <a:pt x="1167" y="305"/>
                        <a:pt x="1167" y="305"/>
                        <a:pt x="1167" y="305"/>
                      </a:cubicBezTo>
                      <a:cubicBezTo>
                        <a:pt x="1169" y="307"/>
                        <a:pt x="1169" y="307"/>
                        <a:pt x="1169" y="307"/>
                      </a:cubicBezTo>
                      <a:cubicBezTo>
                        <a:pt x="1170" y="306"/>
                        <a:pt x="1170" y="306"/>
                        <a:pt x="1170" y="306"/>
                      </a:cubicBezTo>
                      <a:cubicBezTo>
                        <a:pt x="1170" y="308"/>
                        <a:pt x="1170" y="308"/>
                        <a:pt x="1170" y="308"/>
                      </a:cubicBezTo>
                      <a:cubicBezTo>
                        <a:pt x="1169" y="310"/>
                        <a:pt x="1169" y="310"/>
                        <a:pt x="1169" y="310"/>
                      </a:cubicBezTo>
                      <a:cubicBezTo>
                        <a:pt x="1169" y="312"/>
                        <a:pt x="1169" y="312"/>
                        <a:pt x="1169" y="312"/>
                      </a:cubicBezTo>
                      <a:cubicBezTo>
                        <a:pt x="1168" y="314"/>
                        <a:pt x="1168" y="314"/>
                        <a:pt x="1168" y="314"/>
                      </a:cubicBezTo>
                      <a:cubicBezTo>
                        <a:pt x="1169" y="317"/>
                        <a:pt x="1169" y="317"/>
                        <a:pt x="1169" y="317"/>
                      </a:cubicBezTo>
                      <a:cubicBezTo>
                        <a:pt x="1169" y="318"/>
                        <a:pt x="1169" y="318"/>
                        <a:pt x="1169" y="318"/>
                      </a:cubicBezTo>
                      <a:cubicBezTo>
                        <a:pt x="1170" y="320"/>
                        <a:pt x="1170" y="320"/>
                        <a:pt x="1170" y="320"/>
                      </a:cubicBezTo>
                      <a:cubicBezTo>
                        <a:pt x="1169" y="321"/>
                        <a:pt x="1169" y="321"/>
                        <a:pt x="1169" y="321"/>
                      </a:cubicBezTo>
                      <a:cubicBezTo>
                        <a:pt x="1169" y="323"/>
                        <a:pt x="1169" y="323"/>
                        <a:pt x="1169" y="323"/>
                      </a:cubicBezTo>
                      <a:cubicBezTo>
                        <a:pt x="1171" y="327"/>
                        <a:pt x="1171" y="327"/>
                        <a:pt x="1171" y="327"/>
                      </a:cubicBezTo>
                      <a:cubicBezTo>
                        <a:pt x="1170" y="328"/>
                        <a:pt x="1170" y="328"/>
                        <a:pt x="1170" y="328"/>
                      </a:cubicBezTo>
                      <a:cubicBezTo>
                        <a:pt x="1172" y="329"/>
                        <a:pt x="1172" y="329"/>
                        <a:pt x="1172" y="329"/>
                      </a:cubicBezTo>
                      <a:cubicBezTo>
                        <a:pt x="1174" y="331"/>
                        <a:pt x="1174" y="331"/>
                        <a:pt x="1174" y="331"/>
                      </a:cubicBezTo>
                      <a:cubicBezTo>
                        <a:pt x="1176" y="334"/>
                        <a:pt x="1176" y="334"/>
                        <a:pt x="1176" y="334"/>
                      </a:cubicBezTo>
                      <a:cubicBezTo>
                        <a:pt x="1178" y="335"/>
                        <a:pt x="1178" y="335"/>
                        <a:pt x="1178" y="335"/>
                      </a:cubicBezTo>
                      <a:cubicBezTo>
                        <a:pt x="1179" y="335"/>
                        <a:pt x="1179" y="335"/>
                        <a:pt x="1179" y="335"/>
                      </a:cubicBezTo>
                      <a:cubicBezTo>
                        <a:pt x="1180" y="333"/>
                        <a:pt x="1180" y="333"/>
                        <a:pt x="1180" y="333"/>
                      </a:cubicBezTo>
                      <a:cubicBezTo>
                        <a:pt x="1177" y="330"/>
                        <a:pt x="1177" y="330"/>
                        <a:pt x="1177" y="330"/>
                      </a:cubicBezTo>
                      <a:cubicBezTo>
                        <a:pt x="1177" y="329"/>
                        <a:pt x="1177" y="329"/>
                        <a:pt x="1177" y="329"/>
                      </a:cubicBezTo>
                      <a:cubicBezTo>
                        <a:pt x="1178" y="328"/>
                        <a:pt x="1178" y="328"/>
                        <a:pt x="1178" y="328"/>
                      </a:cubicBezTo>
                      <a:cubicBezTo>
                        <a:pt x="1180" y="328"/>
                        <a:pt x="1180" y="328"/>
                        <a:pt x="1180" y="328"/>
                      </a:cubicBezTo>
                      <a:cubicBezTo>
                        <a:pt x="1184" y="330"/>
                        <a:pt x="1184" y="330"/>
                        <a:pt x="1184" y="330"/>
                      </a:cubicBezTo>
                      <a:cubicBezTo>
                        <a:pt x="1185" y="330"/>
                        <a:pt x="1185" y="330"/>
                        <a:pt x="1185" y="330"/>
                      </a:cubicBezTo>
                      <a:cubicBezTo>
                        <a:pt x="1187" y="331"/>
                        <a:pt x="1187" y="331"/>
                        <a:pt x="1187" y="331"/>
                      </a:cubicBezTo>
                      <a:cubicBezTo>
                        <a:pt x="1187" y="332"/>
                        <a:pt x="1187" y="332"/>
                        <a:pt x="1187" y="332"/>
                      </a:cubicBezTo>
                      <a:cubicBezTo>
                        <a:pt x="1186" y="334"/>
                        <a:pt x="1186" y="334"/>
                        <a:pt x="1186" y="334"/>
                      </a:cubicBezTo>
                      <a:cubicBezTo>
                        <a:pt x="1188" y="335"/>
                        <a:pt x="1188" y="335"/>
                        <a:pt x="1188" y="335"/>
                      </a:cubicBezTo>
                      <a:cubicBezTo>
                        <a:pt x="1186" y="337"/>
                        <a:pt x="1186" y="337"/>
                        <a:pt x="1186" y="337"/>
                      </a:cubicBezTo>
                      <a:cubicBezTo>
                        <a:pt x="1187" y="339"/>
                        <a:pt x="1187" y="339"/>
                        <a:pt x="1187" y="339"/>
                      </a:cubicBezTo>
                      <a:cubicBezTo>
                        <a:pt x="1186" y="339"/>
                        <a:pt x="1186" y="339"/>
                        <a:pt x="1186" y="339"/>
                      </a:cubicBezTo>
                      <a:cubicBezTo>
                        <a:pt x="1185" y="341"/>
                        <a:pt x="1185" y="341"/>
                        <a:pt x="1185" y="341"/>
                      </a:cubicBezTo>
                      <a:cubicBezTo>
                        <a:pt x="1187" y="345"/>
                        <a:pt x="1187" y="345"/>
                        <a:pt x="1187" y="345"/>
                      </a:cubicBezTo>
                      <a:cubicBezTo>
                        <a:pt x="1188" y="347"/>
                        <a:pt x="1188" y="347"/>
                        <a:pt x="1188" y="347"/>
                      </a:cubicBezTo>
                      <a:cubicBezTo>
                        <a:pt x="1188" y="350"/>
                        <a:pt x="1188" y="350"/>
                        <a:pt x="1188" y="350"/>
                      </a:cubicBezTo>
                      <a:cubicBezTo>
                        <a:pt x="1190" y="352"/>
                        <a:pt x="1190" y="352"/>
                        <a:pt x="1190" y="352"/>
                      </a:cubicBezTo>
                      <a:cubicBezTo>
                        <a:pt x="1191" y="351"/>
                        <a:pt x="1191" y="351"/>
                        <a:pt x="1191" y="351"/>
                      </a:cubicBezTo>
                      <a:cubicBezTo>
                        <a:pt x="1191" y="350"/>
                        <a:pt x="1191" y="350"/>
                        <a:pt x="1191" y="350"/>
                      </a:cubicBezTo>
                      <a:cubicBezTo>
                        <a:pt x="1192" y="349"/>
                        <a:pt x="1192" y="349"/>
                        <a:pt x="1192" y="349"/>
                      </a:cubicBezTo>
                      <a:cubicBezTo>
                        <a:pt x="1193" y="348"/>
                        <a:pt x="1193" y="348"/>
                        <a:pt x="1193" y="348"/>
                      </a:cubicBezTo>
                      <a:cubicBezTo>
                        <a:pt x="1193" y="348"/>
                        <a:pt x="1193" y="348"/>
                        <a:pt x="1193" y="348"/>
                      </a:cubicBezTo>
                      <a:cubicBezTo>
                        <a:pt x="1196" y="350"/>
                        <a:pt x="1196" y="350"/>
                        <a:pt x="1196" y="350"/>
                      </a:cubicBezTo>
                      <a:cubicBezTo>
                        <a:pt x="1195" y="354"/>
                        <a:pt x="1195" y="354"/>
                        <a:pt x="1195" y="354"/>
                      </a:cubicBezTo>
                      <a:cubicBezTo>
                        <a:pt x="1200" y="358"/>
                        <a:pt x="1200" y="358"/>
                        <a:pt x="1200" y="358"/>
                      </a:cubicBezTo>
                      <a:cubicBezTo>
                        <a:pt x="1201" y="361"/>
                        <a:pt x="1201" y="361"/>
                        <a:pt x="1201" y="361"/>
                      </a:cubicBezTo>
                      <a:cubicBezTo>
                        <a:pt x="1200" y="362"/>
                        <a:pt x="1200" y="362"/>
                        <a:pt x="1200" y="362"/>
                      </a:cubicBezTo>
                      <a:cubicBezTo>
                        <a:pt x="1200" y="365"/>
                        <a:pt x="1200" y="365"/>
                        <a:pt x="1200" y="365"/>
                      </a:cubicBezTo>
                      <a:cubicBezTo>
                        <a:pt x="1199" y="366"/>
                        <a:pt x="1199" y="366"/>
                        <a:pt x="1199" y="366"/>
                      </a:cubicBezTo>
                      <a:cubicBezTo>
                        <a:pt x="1196" y="364"/>
                        <a:pt x="1196" y="364"/>
                        <a:pt x="1196" y="364"/>
                      </a:cubicBezTo>
                      <a:cubicBezTo>
                        <a:pt x="1194" y="363"/>
                        <a:pt x="1194" y="363"/>
                        <a:pt x="1194" y="363"/>
                      </a:cubicBezTo>
                      <a:cubicBezTo>
                        <a:pt x="1193" y="360"/>
                        <a:pt x="1193" y="360"/>
                        <a:pt x="1193" y="360"/>
                      </a:cubicBezTo>
                      <a:cubicBezTo>
                        <a:pt x="1194" y="358"/>
                        <a:pt x="1194" y="358"/>
                        <a:pt x="1194" y="358"/>
                      </a:cubicBezTo>
                      <a:cubicBezTo>
                        <a:pt x="1194" y="355"/>
                        <a:pt x="1194" y="355"/>
                        <a:pt x="1194" y="355"/>
                      </a:cubicBezTo>
                      <a:cubicBezTo>
                        <a:pt x="1194" y="353"/>
                        <a:pt x="1194" y="353"/>
                        <a:pt x="1194" y="353"/>
                      </a:cubicBezTo>
                      <a:cubicBezTo>
                        <a:pt x="1193" y="355"/>
                        <a:pt x="1193" y="355"/>
                        <a:pt x="1193" y="355"/>
                      </a:cubicBezTo>
                      <a:cubicBezTo>
                        <a:pt x="1193" y="355"/>
                        <a:pt x="1193" y="355"/>
                        <a:pt x="1193" y="355"/>
                      </a:cubicBezTo>
                      <a:cubicBezTo>
                        <a:pt x="1193" y="357"/>
                        <a:pt x="1193" y="357"/>
                        <a:pt x="1193" y="357"/>
                      </a:cubicBezTo>
                      <a:cubicBezTo>
                        <a:pt x="1191" y="357"/>
                        <a:pt x="1191" y="357"/>
                        <a:pt x="1191" y="357"/>
                      </a:cubicBezTo>
                      <a:cubicBezTo>
                        <a:pt x="1190" y="360"/>
                        <a:pt x="1190" y="360"/>
                        <a:pt x="1190" y="360"/>
                      </a:cubicBezTo>
                      <a:cubicBezTo>
                        <a:pt x="1190" y="361"/>
                        <a:pt x="1190" y="361"/>
                        <a:pt x="1190" y="361"/>
                      </a:cubicBezTo>
                      <a:cubicBezTo>
                        <a:pt x="1192" y="361"/>
                        <a:pt x="1192" y="361"/>
                        <a:pt x="1192" y="361"/>
                      </a:cubicBezTo>
                      <a:cubicBezTo>
                        <a:pt x="1192" y="363"/>
                        <a:pt x="1192" y="363"/>
                        <a:pt x="1192" y="363"/>
                      </a:cubicBezTo>
                      <a:cubicBezTo>
                        <a:pt x="1191" y="365"/>
                        <a:pt x="1191" y="365"/>
                        <a:pt x="1191" y="365"/>
                      </a:cubicBezTo>
                      <a:cubicBezTo>
                        <a:pt x="1192" y="368"/>
                        <a:pt x="1192" y="368"/>
                        <a:pt x="1192" y="368"/>
                      </a:cubicBezTo>
                      <a:cubicBezTo>
                        <a:pt x="1191" y="369"/>
                        <a:pt x="1191" y="369"/>
                        <a:pt x="1191" y="369"/>
                      </a:cubicBezTo>
                      <a:cubicBezTo>
                        <a:pt x="1192" y="376"/>
                        <a:pt x="1192" y="376"/>
                        <a:pt x="1192" y="376"/>
                      </a:cubicBezTo>
                      <a:cubicBezTo>
                        <a:pt x="1193" y="377"/>
                        <a:pt x="1193" y="377"/>
                        <a:pt x="1193" y="377"/>
                      </a:cubicBezTo>
                      <a:cubicBezTo>
                        <a:pt x="1193" y="379"/>
                        <a:pt x="1193" y="379"/>
                        <a:pt x="1193" y="379"/>
                      </a:cubicBezTo>
                      <a:cubicBezTo>
                        <a:pt x="1198" y="387"/>
                        <a:pt x="1198" y="387"/>
                        <a:pt x="1198" y="387"/>
                      </a:cubicBezTo>
                      <a:cubicBezTo>
                        <a:pt x="1199" y="387"/>
                        <a:pt x="1199" y="387"/>
                        <a:pt x="1199" y="387"/>
                      </a:cubicBezTo>
                      <a:cubicBezTo>
                        <a:pt x="1203" y="391"/>
                        <a:pt x="1203" y="391"/>
                        <a:pt x="1203" y="391"/>
                      </a:cubicBezTo>
                      <a:cubicBezTo>
                        <a:pt x="1205" y="393"/>
                        <a:pt x="1205" y="393"/>
                        <a:pt x="1205" y="393"/>
                      </a:cubicBezTo>
                      <a:cubicBezTo>
                        <a:pt x="1203" y="394"/>
                        <a:pt x="1203" y="394"/>
                        <a:pt x="1203" y="394"/>
                      </a:cubicBezTo>
                      <a:cubicBezTo>
                        <a:pt x="1204" y="397"/>
                        <a:pt x="1204" y="397"/>
                        <a:pt x="1204" y="397"/>
                      </a:cubicBezTo>
                      <a:cubicBezTo>
                        <a:pt x="1198" y="399"/>
                        <a:pt x="1198" y="399"/>
                        <a:pt x="1198" y="399"/>
                      </a:cubicBezTo>
                      <a:cubicBezTo>
                        <a:pt x="1198" y="398"/>
                        <a:pt x="1198" y="398"/>
                        <a:pt x="1198" y="398"/>
                      </a:cubicBezTo>
                      <a:cubicBezTo>
                        <a:pt x="1194" y="400"/>
                        <a:pt x="1194" y="400"/>
                        <a:pt x="1194" y="400"/>
                      </a:cubicBezTo>
                      <a:cubicBezTo>
                        <a:pt x="1193" y="400"/>
                        <a:pt x="1193" y="400"/>
                        <a:pt x="1193" y="400"/>
                      </a:cubicBezTo>
                      <a:cubicBezTo>
                        <a:pt x="1194" y="401"/>
                        <a:pt x="1194" y="401"/>
                        <a:pt x="1194" y="401"/>
                      </a:cubicBezTo>
                      <a:cubicBezTo>
                        <a:pt x="1192" y="404"/>
                        <a:pt x="1192" y="404"/>
                        <a:pt x="1192" y="404"/>
                      </a:cubicBezTo>
                      <a:cubicBezTo>
                        <a:pt x="1192" y="407"/>
                        <a:pt x="1192" y="407"/>
                        <a:pt x="1192" y="407"/>
                      </a:cubicBezTo>
                      <a:cubicBezTo>
                        <a:pt x="1190" y="408"/>
                        <a:pt x="1190" y="408"/>
                        <a:pt x="1190" y="408"/>
                      </a:cubicBezTo>
                      <a:cubicBezTo>
                        <a:pt x="1192" y="410"/>
                        <a:pt x="1192" y="410"/>
                        <a:pt x="1192" y="410"/>
                      </a:cubicBezTo>
                      <a:cubicBezTo>
                        <a:pt x="1191" y="415"/>
                        <a:pt x="1191" y="415"/>
                        <a:pt x="1191" y="415"/>
                      </a:cubicBezTo>
                      <a:cubicBezTo>
                        <a:pt x="1193" y="421"/>
                        <a:pt x="1193" y="421"/>
                        <a:pt x="1193" y="421"/>
                      </a:cubicBezTo>
                      <a:cubicBezTo>
                        <a:pt x="1195" y="422"/>
                        <a:pt x="1195" y="422"/>
                        <a:pt x="1195" y="422"/>
                      </a:cubicBezTo>
                      <a:cubicBezTo>
                        <a:pt x="1195" y="425"/>
                        <a:pt x="1195" y="425"/>
                        <a:pt x="1195" y="425"/>
                      </a:cubicBezTo>
                      <a:cubicBezTo>
                        <a:pt x="1198" y="426"/>
                        <a:pt x="1198" y="426"/>
                        <a:pt x="1198" y="426"/>
                      </a:cubicBezTo>
                      <a:cubicBezTo>
                        <a:pt x="1199" y="428"/>
                        <a:pt x="1199" y="428"/>
                        <a:pt x="1199" y="428"/>
                      </a:cubicBezTo>
                      <a:cubicBezTo>
                        <a:pt x="1197" y="428"/>
                        <a:pt x="1197" y="428"/>
                        <a:pt x="1197" y="428"/>
                      </a:cubicBezTo>
                      <a:cubicBezTo>
                        <a:pt x="1196" y="427"/>
                        <a:pt x="1196" y="427"/>
                        <a:pt x="1196" y="427"/>
                      </a:cubicBezTo>
                      <a:cubicBezTo>
                        <a:pt x="1195" y="428"/>
                        <a:pt x="1195" y="428"/>
                        <a:pt x="1195" y="428"/>
                      </a:cubicBezTo>
                      <a:cubicBezTo>
                        <a:pt x="1193" y="430"/>
                        <a:pt x="1193" y="430"/>
                        <a:pt x="1193" y="430"/>
                      </a:cubicBezTo>
                      <a:cubicBezTo>
                        <a:pt x="1192" y="430"/>
                        <a:pt x="1192" y="430"/>
                        <a:pt x="1192" y="430"/>
                      </a:cubicBezTo>
                      <a:cubicBezTo>
                        <a:pt x="1189" y="432"/>
                        <a:pt x="1189" y="432"/>
                        <a:pt x="1189" y="432"/>
                      </a:cubicBezTo>
                      <a:cubicBezTo>
                        <a:pt x="1187" y="431"/>
                        <a:pt x="1187" y="431"/>
                        <a:pt x="1187" y="431"/>
                      </a:cubicBezTo>
                      <a:cubicBezTo>
                        <a:pt x="1186" y="433"/>
                        <a:pt x="1186" y="433"/>
                        <a:pt x="1186" y="433"/>
                      </a:cubicBezTo>
                      <a:cubicBezTo>
                        <a:pt x="1187" y="434"/>
                        <a:pt x="1187" y="434"/>
                        <a:pt x="1187" y="434"/>
                      </a:cubicBezTo>
                      <a:cubicBezTo>
                        <a:pt x="1189" y="433"/>
                        <a:pt x="1189" y="433"/>
                        <a:pt x="1189" y="433"/>
                      </a:cubicBezTo>
                      <a:cubicBezTo>
                        <a:pt x="1188" y="436"/>
                        <a:pt x="1188" y="436"/>
                        <a:pt x="1188" y="436"/>
                      </a:cubicBezTo>
                      <a:cubicBezTo>
                        <a:pt x="1188" y="437"/>
                        <a:pt x="1188" y="437"/>
                        <a:pt x="1188" y="437"/>
                      </a:cubicBezTo>
                      <a:cubicBezTo>
                        <a:pt x="1190" y="439"/>
                        <a:pt x="1190" y="439"/>
                        <a:pt x="1190" y="439"/>
                      </a:cubicBezTo>
                      <a:cubicBezTo>
                        <a:pt x="1189" y="440"/>
                        <a:pt x="1189" y="440"/>
                        <a:pt x="1189" y="440"/>
                      </a:cubicBezTo>
                      <a:cubicBezTo>
                        <a:pt x="1188" y="439"/>
                        <a:pt x="1188" y="439"/>
                        <a:pt x="1188" y="439"/>
                      </a:cubicBezTo>
                      <a:cubicBezTo>
                        <a:pt x="1189" y="442"/>
                        <a:pt x="1189" y="442"/>
                        <a:pt x="1189" y="442"/>
                      </a:cubicBezTo>
                      <a:cubicBezTo>
                        <a:pt x="1189" y="444"/>
                        <a:pt x="1189" y="444"/>
                        <a:pt x="1189" y="444"/>
                      </a:cubicBezTo>
                      <a:cubicBezTo>
                        <a:pt x="1190" y="444"/>
                        <a:pt x="1190" y="444"/>
                        <a:pt x="1190" y="444"/>
                      </a:cubicBezTo>
                      <a:cubicBezTo>
                        <a:pt x="1191" y="444"/>
                        <a:pt x="1191" y="444"/>
                        <a:pt x="1191" y="444"/>
                      </a:cubicBezTo>
                      <a:cubicBezTo>
                        <a:pt x="1193" y="445"/>
                        <a:pt x="1193" y="445"/>
                        <a:pt x="1193" y="445"/>
                      </a:cubicBezTo>
                      <a:cubicBezTo>
                        <a:pt x="1191" y="447"/>
                        <a:pt x="1191" y="447"/>
                        <a:pt x="1191" y="447"/>
                      </a:cubicBezTo>
                      <a:cubicBezTo>
                        <a:pt x="1191" y="450"/>
                        <a:pt x="1191" y="450"/>
                        <a:pt x="1191" y="450"/>
                      </a:cubicBezTo>
                      <a:cubicBezTo>
                        <a:pt x="1192" y="452"/>
                        <a:pt x="1192" y="452"/>
                        <a:pt x="1192" y="452"/>
                      </a:cubicBezTo>
                      <a:cubicBezTo>
                        <a:pt x="1191" y="456"/>
                        <a:pt x="1191" y="456"/>
                        <a:pt x="1191" y="456"/>
                      </a:cubicBezTo>
                      <a:cubicBezTo>
                        <a:pt x="1191" y="458"/>
                        <a:pt x="1191" y="458"/>
                        <a:pt x="1191" y="458"/>
                      </a:cubicBezTo>
                      <a:cubicBezTo>
                        <a:pt x="1191" y="458"/>
                        <a:pt x="1191" y="458"/>
                        <a:pt x="1191" y="458"/>
                      </a:cubicBezTo>
                      <a:cubicBezTo>
                        <a:pt x="1191" y="460"/>
                        <a:pt x="1191" y="460"/>
                        <a:pt x="1191" y="460"/>
                      </a:cubicBezTo>
                      <a:cubicBezTo>
                        <a:pt x="1188" y="462"/>
                        <a:pt x="1188" y="462"/>
                        <a:pt x="1188" y="462"/>
                      </a:cubicBezTo>
                      <a:cubicBezTo>
                        <a:pt x="1188" y="464"/>
                        <a:pt x="1188" y="464"/>
                        <a:pt x="1188" y="464"/>
                      </a:cubicBezTo>
                      <a:cubicBezTo>
                        <a:pt x="1187" y="465"/>
                        <a:pt x="1187" y="465"/>
                        <a:pt x="1187" y="465"/>
                      </a:cubicBezTo>
                      <a:cubicBezTo>
                        <a:pt x="1186" y="469"/>
                        <a:pt x="1186" y="469"/>
                        <a:pt x="1186" y="469"/>
                      </a:cubicBezTo>
                      <a:cubicBezTo>
                        <a:pt x="1184" y="474"/>
                        <a:pt x="1184" y="474"/>
                        <a:pt x="1184" y="474"/>
                      </a:cubicBezTo>
                      <a:cubicBezTo>
                        <a:pt x="1185" y="472"/>
                        <a:pt x="1185" y="472"/>
                        <a:pt x="1185" y="472"/>
                      </a:cubicBezTo>
                      <a:cubicBezTo>
                        <a:pt x="1184" y="470"/>
                        <a:pt x="1184" y="470"/>
                        <a:pt x="1184" y="470"/>
                      </a:cubicBezTo>
                      <a:cubicBezTo>
                        <a:pt x="1184" y="468"/>
                        <a:pt x="1184" y="468"/>
                        <a:pt x="1184" y="468"/>
                      </a:cubicBezTo>
                      <a:cubicBezTo>
                        <a:pt x="1184" y="467"/>
                        <a:pt x="1184" y="467"/>
                        <a:pt x="1184" y="467"/>
                      </a:cubicBezTo>
                      <a:cubicBezTo>
                        <a:pt x="1180" y="466"/>
                        <a:pt x="1180" y="466"/>
                        <a:pt x="1180" y="466"/>
                      </a:cubicBezTo>
                      <a:cubicBezTo>
                        <a:pt x="1178" y="463"/>
                        <a:pt x="1178" y="463"/>
                        <a:pt x="1178" y="463"/>
                      </a:cubicBezTo>
                      <a:cubicBezTo>
                        <a:pt x="1177" y="460"/>
                        <a:pt x="1177" y="460"/>
                        <a:pt x="1177" y="460"/>
                      </a:cubicBezTo>
                      <a:cubicBezTo>
                        <a:pt x="1174" y="451"/>
                        <a:pt x="1174" y="451"/>
                        <a:pt x="1174" y="451"/>
                      </a:cubicBezTo>
                      <a:cubicBezTo>
                        <a:pt x="1171" y="447"/>
                        <a:pt x="1171" y="447"/>
                        <a:pt x="1171" y="447"/>
                      </a:cubicBezTo>
                      <a:cubicBezTo>
                        <a:pt x="1173" y="447"/>
                        <a:pt x="1173" y="447"/>
                        <a:pt x="1173" y="447"/>
                      </a:cubicBezTo>
                      <a:cubicBezTo>
                        <a:pt x="1174" y="446"/>
                        <a:pt x="1174" y="446"/>
                        <a:pt x="1174" y="446"/>
                      </a:cubicBezTo>
                      <a:cubicBezTo>
                        <a:pt x="1175" y="445"/>
                        <a:pt x="1175" y="445"/>
                        <a:pt x="1175" y="445"/>
                      </a:cubicBezTo>
                      <a:cubicBezTo>
                        <a:pt x="1173" y="445"/>
                        <a:pt x="1173" y="445"/>
                        <a:pt x="1173" y="445"/>
                      </a:cubicBezTo>
                      <a:cubicBezTo>
                        <a:pt x="1171" y="445"/>
                        <a:pt x="1171" y="445"/>
                        <a:pt x="1171" y="445"/>
                      </a:cubicBezTo>
                      <a:cubicBezTo>
                        <a:pt x="1167" y="444"/>
                        <a:pt x="1167" y="444"/>
                        <a:pt x="1167" y="444"/>
                      </a:cubicBezTo>
                      <a:cubicBezTo>
                        <a:pt x="1160" y="430"/>
                        <a:pt x="1160" y="430"/>
                        <a:pt x="1160" y="430"/>
                      </a:cubicBezTo>
                      <a:cubicBezTo>
                        <a:pt x="1153" y="422"/>
                        <a:pt x="1153" y="422"/>
                        <a:pt x="1153" y="422"/>
                      </a:cubicBezTo>
                      <a:cubicBezTo>
                        <a:pt x="1153" y="419"/>
                        <a:pt x="1153" y="419"/>
                        <a:pt x="1153" y="419"/>
                      </a:cubicBezTo>
                      <a:cubicBezTo>
                        <a:pt x="1151" y="416"/>
                        <a:pt x="1151" y="416"/>
                        <a:pt x="1151" y="416"/>
                      </a:cubicBezTo>
                      <a:cubicBezTo>
                        <a:pt x="1145" y="407"/>
                        <a:pt x="1145" y="407"/>
                        <a:pt x="1145" y="407"/>
                      </a:cubicBezTo>
                      <a:cubicBezTo>
                        <a:pt x="1140" y="397"/>
                        <a:pt x="1140" y="397"/>
                        <a:pt x="1140" y="397"/>
                      </a:cubicBezTo>
                      <a:cubicBezTo>
                        <a:pt x="1136" y="387"/>
                        <a:pt x="1136" y="387"/>
                        <a:pt x="1136" y="387"/>
                      </a:cubicBezTo>
                      <a:cubicBezTo>
                        <a:pt x="1136" y="383"/>
                        <a:pt x="1136" y="383"/>
                        <a:pt x="1136" y="383"/>
                      </a:cubicBezTo>
                      <a:cubicBezTo>
                        <a:pt x="1133" y="379"/>
                        <a:pt x="1133" y="379"/>
                        <a:pt x="1133" y="379"/>
                      </a:cubicBezTo>
                      <a:cubicBezTo>
                        <a:pt x="1132" y="372"/>
                        <a:pt x="1132" y="372"/>
                        <a:pt x="1132" y="372"/>
                      </a:cubicBezTo>
                      <a:cubicBezTo>
                        <a:pt x="1131" y="369"/>
                        <a:pt x="1131" y="369"/>
                        <a:pt x="1131" y="369"/>
                      </a:cubicBezTo>
                      <a:cubicBezTo>
                        <a:pt x="1131" y="364"/>
                        <a:pt x="1131" y="364"/>
                        <a:pt x="1131" y="364"/>
                      </a:cubicBezTo>
                      <a:cubicBezTo>
                        <a:pt x="1133" y="362"/>
                        <a:pt x="1133" y="362"/>
                        <a:pt x="1133" y="362"/>
                      </a:cubicBezTo>
                      <a:cubicBezTo>
                        <a:pt x="1134" y="358"/>
                        <a:pt x="1134" y="358"/>
                        <a:pt x="1134" y="358"/>
                      </a:cubicBezTo>
                      <a:cubicBezTo>
                        <a:pt x="1135" y="358"/>
                        <a:pt x="1135" y="358"/>
                        <a:pt x="1135" y="358"/>
                      </a:cubicBezTo>
                      <a:cubicBezTo>
                        <a:pt x="1134" y="356"/>
                        <a:pt x="1134" y="356"/>
                        <a:pt x="1134" y="356"/>
                      </a:cubicBezTo>
                      <a:cubicBezTo>
                        <a:pt x="1135" y="355"/>
                        <a:pt x="1135" y="355"/>
                        <a:pt x="1135" y="355"/>
                      </a:cubicBezTo>
                      <a:cubicBezTo>
                        <a:pt x="1135" y="350"/>
                        <a:pt x="1135" y="350"/>
                        <a:pt x="1135" y="350"/>
                      </a:cubicBezTo>
                      <a:cubicBezTo>
                        <a:pt x="1132" y="345"/>
                        <a:pt x="1132" y="345"/>
                        <a:pt x="1132" y="345"/>
                      </a:cubicBezTo>
                      <a:cubicBezTo>
                        <a:pt x="1129" y="345"/>
                        <a:pt x="1129" y="345"/>
                        <a:pt x="1129" y="345"/>
                      </a:cubicBezTo>
                      <a:cubicBezTo>
                        <a:pt x="1129" y="344"/>
                        <a:pt x="1129" y="344"/>
                        <a:pt x="1129" y="344"/>
                      </a:cubicBezTo>
                      <a:cubicBezTo>
                        <a:pt x="1131" y="342"/>
                        <a:pt x="1131" y="342"/>
                        <a:pt x="1131" y="342"/>
                      </a:cubicBezTo>
                      <a:cubicBezTo>
                        <a:pt x="1135" y="344"/>
                        <a:pt x="1135" y="344"/>
                        <a:pt x="1135" y="344"/>
                      </a:cubicBezTo>
                      <a:cubicBezTo>
                        <a:pt x="1137" y="342"/>
                        <a:pt x="1137" y="342"/>
                        <a:pt x="1137" y="342"/>
                      </a:cubicBezTo>
                      <a:cubicBezTo>
                        <a:pt x="1136" y="340"/>
                        <a:pt x="1136" y="340"/>
                        <a:pt x="1136" y="340"/>
                      </a:cubicBezTo>
                      <a:cubicBezTo>
                        <a:pt x="1136" y="336"/>
                        <a:pt x="1136" y="336"/>
                        <a:pt x="1136" y="336"/>
                      </a:cubicBezTo>
                      <a:cubicBezTo>
                        <a:pt x="1140" y="336"/>
                        <a:pt x="1140" y="336"/>
                        <a:pt x="1140" y="336"/>
                      </a:cubicBezTo>
                      <a:cubicBezTo>
                        <a:pt x="1141" y="336"/>
                        <a:pt x="1141" y="336"/>
                        <a:pt x="1141" y="336"/>
                      </a:cubicBezTo>
                      <a:cubicBezTo>
                        <a:pt x="1140" y="334"/>
                        <a:pt x="1140" y="334"/>
                        <a:pt x="1140" y="334"/>
                      </a:cubicBezTo>
                      <a:cubicBezTo>
                        <a:pt x="1143" y="328"/>
                        <a:pt x="1143" y="328"/>
                        <a:pt x="1143" y="328"/>
                      </a:cubicBezTo>
                      <a:cubicBezTo>
                        <a:pt x="1141" y="324"/>
                        <a:pt x="1141" y="324"/>
                        <a:pt x="1141" y="324"/>
                      </a:cubicBezTo>
                      <a:cubicBezTo>
                        <a:pt x="1142" y="320"/>
                        <a:pt x="1142" y="320"/>
                        <a:pt x="1142" y="320"/>
                      </a:cubicBezTo>
                      <a:cubicBezTo>
                        <a:pt x="1140" y="318"/>
                        <a:pt x="1140" y="318"/>
                        <a:pt x="1140" y="318"/>
                      </a:cubicBezTo>
                      <a:cubicBezTo>
                        <a:pt x="1142" y="316"/>
                        <a:pt x="1142" y="316"/>
                        <a:pt x="1142" y="316"/>
                      </a:cubicBezTo>
                      <a:cubicBezTo>
                        <a:pt x="1142" y="314"/>
                        <a:pt x="1142" y="314"/>
                        <a:pt x="1142" y="314"/>
                      </a:cubicBezTo>
                      <a:cubicBezTo>
                        <a:pt x="1141" y="313"/>
                        <a:pt x="1141" y="313"/>
                        <a:pt x="1141" y="313"/>
                      </a:cubicBezTo>
                      <a:cubicBezTo>
                        <a:pt x="1142" y="310"/>
                        <a:pt x="1142" y="310"/>
                        <a:pt x="1142" y="310"/>
                      </a:cubicBezTo>
                      <a:cubicBezTo>
                        <a:pt x="1143" y="310"/>
                        <a:pt x="1143" y="310"/>
                        <a:pt x="1143" y="310"/>
                      </a:cubicBezTo>
                      <a:cubicBezTo>
                        <a:pt x="1142" y="308"/>
                        <a:pt x="1142" y="308"/>
                        <a:pt x="1142" y="308"/>
                      </a:cubicBezTo>
                      <a:cubicBezTo>
                        <a:pt x="1141" y="306"/>
                        <a:pt x="1141" y="306"/>
                        <a:pt x="1141" y="306"/>
                      </a:cubicBezTo>
                      <a:cubicBezTo>
                        <a:pt x="1142" y="305"/>
                        <a:pt x="1142" y="305"/>
                        <a:pt x="1142" y="305"/>
                      </a:cubicBezTo>
                      <a:cubicBezTo>
                        <a:pt x="1142" y="302"/>
                        <a:pt x="1142" y="302"/>
                        <a:pt x="1142" y="302"/>
                      </a:cubicBezTo>
                      <a:cubicBezTo>
                        <a:pt x="1142" y="301"/>
                        <a:pt x="1142" y="301"/>
                        <a:pt x="1142" y="301"/>
                      </a:cubicBezTo>
                      <a:cubicBezTo>
                        <a:pt x="1142" y="299"/>
                        <a:pt x="1142" y="299"/>
                        <a:pt x="1142" y="299"/>
                      </a:cubicBezTo>
                      <a:cubicBezTo>
                        <a:pt x="1144" y="298"/>
                        <a:pt x="1144" y="298"/>
                        <a:pt x="1144" y="298"/>
                      </a:cubicBezTo>
                      <a:cubicBezTo>
                        <a:pt x="1145" y="297"/>
                        <a:pt x="1145" y="297"/>
                        <a:pt x="1145" y="297"/>
                      </a:cubicBezTo>
                      <a:cubicBezTo>
                        <a:pt x="1144" y="293"/>
                        <a:pt x="1144" y="293"/>
                        <a:pt x="1144" y="293"/>
                      </a:cubicBezTo>
                      <a:cubicBezTo>
                        <a:pt x="1145" y="289"/>
                        <a:pt x="1145" y="289"/>
                        <a:pt x="1145" y="289"/>
                      </a:cubicBezTo>
                      <a:cubicBezTo>
                        <a:pt x="1144" y="288"/>
                        <a:pt x="1144" y="288"/>
                        <a:pt x="1144" y="288"/>
                      </a:cubicBezTo>
                      <a:cubicBezTo>
                        <a:pt x="1144" y="287"/>
                        <a:pt x="1144" y="287"/>
                        <a:pt x="1144" y="287"/>
                      </a:cubicBezTo>
                      <a:cubicBezTo>
                        <a:pt x="1145" y="284"/>
                        <a:pt x="1145" y="284"/>
                        <a:pt x="1145" y="284"/>
                      </a:cubicBezTo>
                      <a:cubicBezTo>
                        <a:pt x="1145" y="281"/>
                        <a:pt x="1145" y="281"/>
                        <a:pt x="1145" y="281"/>
                      </a:cubicBezTo>
                      <a:cubicBezTo>
                        <a:pt x="1144" y="282"/>
                        <a:pt x="1144" y="282"/>
                        <a:pt x="1144" y="282"/>
                      </a:cubicBezTo>
                      <a:cubicBezTo>
                        <a:pt x="1143" y="279"/>
                        <a:pt x="1143" y="279"/>
                        <a:pt x="1143" y="279"/>
                      </a:cubicBezTo>
                      <a:cubicBezTo>
                        <a:pt x="1144" y="278"/>
                        <a:pt x="1144" y="278"/>
                        <a:pt x="1144" y="278"/>
                      </a:cubicBezTo>
                      <a:cubicBezTo>
                        <a:pt x="1144" y="276"/>
                        <a:pt x="1144" y="276"/>
                        <a:pt x="1144" y="276"/>
                      </a:cubicBezTo>
                      <a:cubicBezTo>
                        <a:pt x="1146" y="275"/>
                        <a:pt x="1146" y="275"/>
                        <a:pt x="1146" y="275"/>
                      </a:cubicBezTo>
                      <a:cubicBezTo>
                        <a:pt x="1146" y="274"/>
                        <a:pt x="1146" y="274"/>
                        <a:pt x="1146" y="274"/>
                      </a:cubicBezTo>
                      <a:cubicBezTo>
                        <a:pt x="1149" y="273"/>
                        <a:pt x="1149" y="273"/>
                        <a:pt x="1149" y="273"/>
                      </a:cubicBezTo>
                      <a:cubicBezTo>
                        <a:pt x="1149" y="271"/>
                        <a:pt x="1149" y="271"/>
                        <a:pt x="1149" y="271"/>
                      </a:cubicBezTo>
                      <a:cubicBezTo>
                        <a:pt x="1151" y="269"/>
                        <a:pt x="1151" y="269"/>
                        <a:pt x="1151" y="269"/>
                      </a:cubicBezTo>
                      <a:cubicBezTo>
                        <a:pt x="1152" y="269"/>
                        <a:pt x="1152" y="269"/>
                        <a:pt x="1152" y="269"/>
                      </a:cubicBezTo>
                      <a:cubicBezTo>
                        <a:pt x="1154" y="267"/>
                        <a:pt x="1154" y="267"/>
                        <a:pt x="1154" y="267"/>
                      </a:cubicBezTo>
                      <a:cubicBezTo>
                        <a:pt x="1155" y="267"/>
                        <a:pt x="1155" y="267"/>
                        <a:pt x="1155" y="267"/>
                      </a:cubicBezTo>
                      <a:cubicBezTo>
                        <a:pt x="1155" y="266"/>
                        <a:pt x="1155" y="266"/>
                        <a:pt x="1155" y="266"/>
                      </a:cubicBezTo>
                      <a:cubicBezTo>
                        <a:pt x="1155" y="265"/>
                        <a:pt x="1155" y="265"/>
                        <a:pt x="1155" y="265"/>
                      </a:cubicBezTo>
                      <a:cubicBezTo>
                        <a:pt x="1153" y="265"/>
                        <a:pt x="1153" y="265"/>
                        <a:pt x="1153" y="265"/>
                      </a:cubicBezTo>
                      <a:cubicBezTo>
                        <a:pt x="1152" y="266"/>
                        <a:pt x="1152" y="266"/>
                        <a:pt x="1152" y="266"/>
                      </a:cubicBezTo>
                      <a:cubicBezTo>
                        <a:pt x="1150" y="265"/>
                        <a:pt x="1150" y="265"/>
                        <a:pt x="1150" y="265"/>
                      </a:cubicBezTo>
                      <a:cubicBezTo>
                        <a:pt x="1150" y="261"/>
                        <a:pt x="1150" y="261"/>
                        <a:pt x="1150" y="261"/>
                      </a:cubicBezTo>
                      <a:cubicBezTo>
                        <a:pt x="1151" y="258"/>
                        <a:pt x="1151" y="258"/>
                        <a:pt x="1151" y="258"/>
                      </a:cubicBezTo>
                      <a:cubicBezTo>
                        <a:pt x="1151" y="257"/>
                        <a:pt x="1151" y="257"/>
                        <a:pt x="1151" y="257"/>
                      </a:cubicBezTo>
                      <a:cubicBezTo>
                        <a:pt x="1150" y="255"/>
                        <a:pt x="1150" y="255"/>
                        <a:pt x="1150" y="255"/>
                      </a:cubicBezTo>
                      <a:cubicBezTo>
                        <a:pt x="1149" y="255"/>
                        <a:pt x="1149" y="255"/>
                        <a:pt x="1149" y="255"/>
                      </a:cubicBezTo>
                      <a:cubicBezTo>
                        <a:pt x="1148" y="256"/>
                        <a:pt x="1148" y="256"/>
                        <a:pt x="1148" y="256"/>
                      </a:cubicBezTo>
                      <a:cubicBezTo>
                        <a:pt x="1147" y="256"/>
                        <a:pt x="1147" y="256"/>
                        <a:pt x="1147" y="256"/>
                      </a:cubicBezTo>
                      <a:cubicBezTo>
                        <a:pt x="1147" y="251"/>
                        <a:pt x="1147" y="251"/>
                        <a:pt x="1147" y="251"/>
                      </a:cubicBezTo>
                      <a:cubicBezTo>
                        <a:pt x="1148" y="250"/>
                        <a:pt x="1148" y="250"/>
                        <a:pt x="1148" y="250"/>
                      </a:cubicBezTo>
                      <a:cubicBezTo>
                        <a:pt x="1148" y="249"/>
                        <a:pt x="1148" y="249"/>
                        <a:pt x="1148" y="249"/>
                      </a:cubicBezTo>
                      <a:cubicBezTo>
                        <a:pt x="1147" y="247"/>
                        <a:pt x="1147" y="247"/>
                        <a:pt x="1147" y="247"/>
                      </a:cubicBezTo>
                      <a:cubicBezTo>
                        <a:pt x="1145" y="246"/>
                        <a:pt x="1145" y="246"/>
                        <a:pt x="1145" y="246"/>
                      </a:cubicBezTo>
                      <a:cubicBezTo>
                        <a:pt x="1146" y="245"/>
                        <a:pt x="1146" y="245"/>
                        <a:pt x="1146" y="245"/>
                      </a:cubicBezTo>
                      <a:cubicBezTo>
                        <a:pt x="1146" y="245"/>
                        <a:pt x="1146" y="245"/>
                        <a:pt x="1146" y="245"/>
                      </a:cubicBezTo>
                      <a:cubicBezTo>
                        <a:pt x="1145" y="244"/>
                        <a:pt x="1145" y="244"/>
                        <a:pt x="1145" y="244"/>
                      </a:cubicBezTo>
                      <a:cubicBezTo>
                        <a:pt x="1143" y="241"/>
                        <a:pt x="1143" y="241"/>
                        <a:pt x="1143" y="241"/>
                      </a:cubicBezTo>
                      <a:cubicBezTo>
                        <a:pt x="1143" y="240"/>
                        <a:pt x="1143" y="240"/>
                        <a:pt x="1143" y="240"/>
                      </a:cubicBezTo>
                      <a:cubicBezTo>
                        <a:pt x="1142" y="238"/>
                        <a:pt x="1142" y="238"/>
                        <a:pt x="1142" y="238"/>
                      </a:cubicBezTo>
                      <a:cubicBezTo>
                        <a:pt x="1142" y="236"/>
                        <a:pt x="1142" y="236"/>
                        <a:pt x="1142" y="236"/>
                      </a:cubicBezTo>
                      <a:cubicBezTo>
                        <a:pt x="1141" y="234"/>
                        <a:pt x="1141" y="234"/>
                        <a:pt x="1141" y="234"/>
                      </a:cubicBezTo>
                      <a:cubicBezTo>
                        <a:pt x="1141" y="232"/>
                        <a:pt x="1141" y="232"/>
                        <a:pt x="1141" y="232"/>
                      </a:cubicBezTo>
                      <a:cubicBezTo>
                        <a:pt x="1143" y="230"/>
                        <a:pt x="1143" y="230"/>
                        <a:pt x="1143" y="230"/>
                      </a:cubicBezTo>
                      <a:cubicBezTo>
                        <a:pt x="1146" y="230"/>
                        <a:pt x="1146" y="230"/>
                        <a:pt x="1146" y="230"/>
                      </a:cubicBezTo>
                      <a:cubicBezTo>
                        <a:pt x="1148" y="229"/>
                        <a:pt x="1148" y="229"/>
                        <a:pt x="1148" y="229"/>
                      </a:cubicBezTo>
                      <a:cubicBezTo>
                        <a:pt x="1146" y="228"/>
                        <a:pt x="1146" y="228"/>
                        <a:pt x="1146" y="228"/>
                      </a:cubicBezTo>
                      <a:cubicBezTo>
                        <a:pt x="1149" y="227"/>
                        <a:pt x="1149" y="227"/>
                        <a:pt x="1149" y="227"/>
                      </a:cubicBezTo>
                      <a:cubicBezTo>
                        <a:pt x="1148" y="227"/>
                        <a:pt x="1148" y="227"/>
                        <a:pt x="1148" y="227"/>
                      </a:cubicBezTo>
                      <a:cubicBezTo>
                        <a:pt x="1146" y="227"/>
                        <a:pt x="1146" y="227"/>
                        <a:pt x="1146" y="227"/>
                      </a:cubicBezTo>
                      <a:cubicBezTo>
                        <a:pt x="1145" y="227"/>
                        <a:pt x="1145" y="227"/>
                        <a:pt x="1145" y="227"/>
                      </a:cubicBezTo>
                      <a:cubicBezTo>
                        <a:pt x="1142" y="227"/>
                        <a:pt x="1142" y="227"/>
                        <a:pt x="1142" y="227"/>
                      </a:cubicBezTo>
                      <a:cubicBezTo>
                        <a:pt x="1139" y="224"/>
                        <a:pt x="1139" y="224"/>
                        <a:pt x="1139" y="224"/>
                      </a:cubicBezTo>
                      <a:cubicBezTo>
                        <a:pt x="1138" y="225"/>
                        <a:pt x="1138" y="225"/>
                        <a:pt x="1138" y="225"/>
                      </a:cubicBezTo>
                      <a:cubicBezTo>
                        <a:pt x="1136" y="225"/>
                        <a:pt x="1136" y="225"/>
                        <a:pt x="1136" y="225"/>
                      </a:cubicBezTo>
                      <a:cubicBezTo>
                        <a:pt x="1134" y="227"/>
                        <a:pt x="1134" y="227"/>
                        <a:pt x="1134" y="227"/>
                      </a:cubicBezTo>
                      <a:cubicBezTo>
                        <a:pt x="1132" y="227"/>
                        <a:pt x="1132" y="227"/>
                        <a:pt x="1132" y="227"/>
                      </a:cubicBezTo>
                      <a:cubicBezTo>
                        <a:pt x="1130" y="230"/>
                        <a:pt x="1130" y="230"/>
                        <a:pt x="1130" y="230"/>
                      </a:cubicBezTo>
                      <a:cubicBezTo>
                        <a:pt x="1131" y="231"/>
                        <a:pt x="1131" y="231"/>
                        <a:pt x="1131" y="231"/>
                      </a:cubicBezTo>
                      <a:cubicBezTo>
                        <a:pt x="1130" y="232"/>
                        <a:pt x="1130" y="232"/>
                        <a:pt x="1130" y="232"/>
                      </a:cubicBezTo>
                      <a:cubicBezTo>
                        <a:pt x="1132" y="234"/>
                        <a:pt x="1132" y="234"/>
                        <a:pt x="1132" y="234"/>
                      </a:cubicBezTo>
                      <a:cubicBezTo>
                        <a:pt x="1133" y="236"/>
                        <a:pt x="1133" y="236"/>
                        <a:pt x="1133" y="236"/>
                      </a:cubicBezTo>
                      <a:cubicBezTo>
                        <a:pt x="1132" y="237"/>
                        <a:pt x="1132" y="237"/>
                        <a:pt x="1132" y="237"/>
                      </a:cubicBezTo>
                      <a:cubicBezTo>
                        <a:pt x="1133" y="240"/>
                        <a:pt x="1133" y="240"/>
                        <a:pt x="1133" y="240"/>
                      </a:cubicBezTo>
                      <a:cubicBezTo>
                        <a:pt x="1135" y="241"/>
                        <a:pt x="1135" y="241"/>
                        <a:pt x="1135" y="241"/>
                      </a:cubicBezTo>
                      <a:cubicBezTo>
                        <a:pt x="1135" y="242"/>
                        <a:pt x="1135" y="242"/>
                        <a:pt x="1135" y="242"/>
                      </a:cubicBezTo>
                      <a:cubicBezTo>
                        <a:pt x="1136" y="243"/>
                        <a:pt x="1136" y="243"/>
                        <a:pt x="1136" y="243"/>
                      </a:cubicBezTo>
                      <a:cubicBezTo>
                        <a:pt x="1137" y="247"/>
                        <a:pt x="1137" y="247"/>
                        <a:pt x="1137" y="247"/>
                      </a:cubicBezTo>
                      <a:cubicBezTo>
                        <a:pt x="1140" y="249"/>
                        <a:pt x="1140" y="249"/>
                        <a:pt x="1140" y="249"/>
                      </a:cubicBezTo>
                      <a:cubicBezTo>
                        <a:pt x="1139" y="251"/>
                        <a:pt x="1139" y="251"/>
                        <a:pt x="1139" y="251"/>
                      </a:cubicBezTo>
                      <a:cubicBezTo>
                        <a:pt x="1141" y="252"/>
                        <a:pt x="1141" y="252"/>
                        <a:pt x="1141" y="252"/>
                      </a:cubicBezTo>
                      <a:cubicBezTo>
                        <a:pt x="1140" y="253"/>
                        <a:pt x="1140" y="253"/>
                        <a:pt x="1140" y="253"/>
                      </a:cubicBezTo>
                      <a:cubicBezTo>
                        <a:pt x="1138" y="252"/>
                        <a:pt x="1138" y="252"/>
                        <a:pt x="1138" y="252"/>
                      </a:cubicBezTo>
                      <a:cubicBezTo>
                        <a:pt x="1138" y="250"/>
                        <a:pt x="1138" y="250"/>
                        <a:pt x="1138" y="250"/>
                      </a:cubicBezTo>
                      <a:cubicBezTo>
                        <a:pt x="1135" y="251"/>
                        <a:pt x="1135" y="251"/>
                        <a:pt x="1135" y="251"/>
                      </a:cubicBezTo>
                      <a:cubicBezTo>
                        <a:pt x="1134" y="252"/>
                        <a:pt x="1134" y="252"/>
                        <a:pt x="1134" y="252"/>
                      </a:cubicBezTo>
                      <a:cubicBezTo>
                        <a:pt x="1133" y="255"/>
                        <a:pt x="1133" y="255"/>
                        <a:pt x="1133" y="255"/>
                      </a:cubicBezTo>
                      <a:cubicBezTo>
                        <a:pt x="1134" y="256"/>
                        <a:pt x="1134" y="256"/>
                        <a:pt x="1134" y="256"/>
                      </a:cubicBezTo>
                      <a:cubicBezTo>
                        <a:pt x="1133" y="259"/>
                        <a:pt x="1133" y="259"/>
                        <a:pt x="1133" y="259"/>
                      </a:cubicBezTo>
                      <a:cubicBezTo>
                        <a:pt x="1133" y="260"/>
                        <a:pt x="1133" y="260"/>
                        <a:pt x="1133" y="260"/>
                      </a:cubicBezTo>
                      <a:cubicBezTo>
                        <a:pt x="1132" y="261"/>
                        <a:pt x="1132" y="261"/>
                        <a:pt x="1132" y="261"/>
                      </a:cubicBezTo>
                      <a:cubicBezTo>
                        <a:pt x="1133" y="261"/>
                        <a:pt x="1133" y="261"/>
                        <a:pt x="1133" y="261"/>
                      </a:cubicBezTo>
                      <a:cubicBezTo>
                        <a:pt x="1133" y="263"/>
                        <a:pt x="1133" y="263"/>
                        <a:pt x="1133" y="263"/>
                      </a:cubicBezTo>
                      <a:cubicBezTo>
                        <a:pt x="1131" y="264"/>
                        <a:pt x="1131" y="264"/>
                        <a:pt x="1131" y="264"/>
                      </a:cubicBezTo>
                      <a:cubicBezTo>
                        <a:pt x="1133" y="265"/>
                        <a:pt x="1133" y="265"/>
                        <a:pt x="1133" y="265"/>
                      </a:cubicBezTo>
                      <a:cubicBezTo>
                        <a:pt x="1132" y="267"/>
                        <a:pt x="1132" y="267"/>
                        <a:pt x="1132" y="267"/>
                      </a:cubicBezTo>
                      <a:cubicBezTo>
                        <a:pt x="1131" y="272"/>
                        <a:pt x="1131" y="272"/>
                        <a:pt x="1131" y="272"/>
                      </a:cubicBezTo>
                      <a:cubicBezTo>
                        <a:pt x="1131" y="273"/>
                        <a:pt x="1131" y="273"/>
                        <a:pt x="1131" y="273"/>
                      </a:cubicBezTo>
                      <a:cubicBezTo>
                        <a:pt x="1131" y="274"/>
                        <a:pt x="1131" y="274"/>
                        <a:pt x="1131" y="274"/>
                      </a:cubicBezTo>
                      <a:cubicBezTo>
                        <a:pt x="1129" y="275"/>
                        <a:pt x="1129" y="275"/>
                        <a:pt x="1129" y="275"/>
                      </a:cubicBezTo>
                      <a:cubicBezTo>
                        <a:pt x="1128" y="278"/>
                        <a:pt x="1128" y="278"/>
                        <a:pt x="1128" y="278"/>
                      </a:cubicBezTo>
                      <a:cubicBezTo>
                        <a:pt x="1127" y="276"/>
                        <a:pt x="1127" y="276"/>
                        <a:pt x="1127" y="276"/>
                      </a:cubicBezTo>
                      <a:cubicBezTo>
                        <a:pt x="1126" y="274"/>
                        <a:pt x="1126" y="274"/>
                        <a:pt x="1126" y="274"/>
                      </a:cubicBezTo>
                      <a:cubicBezTo>
                        <a:pt x="1127" y="271"/>
                        <a:pt x="1127" y="271"/>
                        <a:pt x="1127" y="271"/>
                      </a:cubicBezTo>
                      <a:cubicBezTo>
                        <a:pt x="1127" y="270"/>
                        <a:pt x="1127" y="270"/>
                        <a:pt x="1127" y="270"/>
                      </a:cubicBezTo>
                      <a:cubicBezTo>
                        <a:pt x="1125" y="270"/>
                        <a:pt x="1125" y="270"/>
                        <a:pt x="1125" y="270"/>
                      </a:cubicBezTo>
                      <a:cubicBezTo>
                        <a:pt x="1123" y="272"/>
                        <a:pt x="1123" y="272"/>
                        <a:pt x="1123" y="272"/>
                      </a:cubicBezTo>
                      <a:cubicBezTo>
                        <a:pt x="1123" y="273"/>
                        <a:pt x="1123" y="273"/>
                        <a:pt x="1123" y="273"/>
                      </a:cubicBezTo>
                      <a:cubicBezTo>
                        <a:pt x="1122" y="274"/>
                        <a:pt x="1122" y="274"/>
                        <a:pt x="1122" y="274"/>
                      </a:cubicBezTo>
                      <a:cubicBezTo>
                        <a:pt x="1122" y="271"/>
                        <a:pt x="1122" y="271"/>
                        <a:pt x="1122" y="271"/>
                      </a:cubicBezTo>
                      <a:cubicBezTo>
                        <a:pt x="1120" y="270"/>
                        <a:pt x="1120" y="270"/>
                        <a:pt x="1120" y="270"/>
                      </a:cubicBezTo>
                      <a:cubicBezTo>
                        <a:pt x="1120" y="269"/>
                        <a:pt x="1120" y="269"/>
                        <a:pt x="1120" y="269"/>
                      </a:cubicBezTo>
                      <a:cubicBezTo>
                        <a:pt x="1118" y="270"/>
                        <a:pt x="1118" y="270"/>
                        <a:pt x="1118" y="270"/>
                      </a:cubicBezTo>
                      <a:cubicBezTo>
                        <a:pt x="1117" y="269"/>
                        <a:pt x="1117" y="269"/>
                        <a:pt x="1117" y="269"/>
                      </a:cubicBezTo>
                      <a:cubicBezTo>
                        <a:pt x="1118" y="269"/>
                        <a:pt x="1118" y="269"/>
                        <a:pt x="1118" y="269"/>
                      </a:cubicBezTo>
                      <a:cubicBezTo>
                        <a:pt x="1119" y="267"/>
                        <a:pt x="1119" y="267"/>
                        <a:pt x="1119" y="267"/>
                      </a:cubicBezTo>
                      <a:cubicBezTo>
                        <a:pt x="1118" y="266"/>
                        <a:pt x="1118" y="266"/>
                        <a:pt x="1118" y="266"/>
                      </a:cubicBezTo>
                      <a:cubicBezTo>
                        <a:pt x="1118" y="265"/>
                        <a:pt x="1118" y="265"/>
                        <a:pt x="1118" y="265"/>
                      </a:cubicBezTo>
                      <a:cubicBezTo>
                        <a:pt x="1119" y="265"/>
                        <a:pt x="1119" y="265"/>
                        <a:pt x="1119" y="265"/>
                      </a:cubicBezTo>
                      <a:cubicBezTo>
                        <a:pt x="1118" y="263"/>
                        <a:pt x="1118" y="263"/>
                        <a:pt x="1118" y="263"/>
                      </a:cubicBezTo>
                      <a:cubicBezTo>
                        <a:pt x="1117" y="262"/>
                        <a:pt x="1117" y="262"/>
                        <a:pt x="1117" y="262"/>
                      </a:cubicBezTo>
                      <a:cubicBezTo>
                        <a:pt x="1118" y="261"/>
                        <a:pt x="1118" y="261"/>
                        <a:pt x="1118" y="261"/>
                      </a:cubicBezTo>
                      <a:cubicBezTo>
                        <a:pt x="1118" y="259"/>
                        <a:pt x="1118" y="259"/>
                        <a:pt x="1118" y="259"/>
                      </a:cubicBezTo>
                      <a:cubicBezTo>
                        <a:pt x="1117" y="258"/>
                        <a:pt x="1117" y="258"/>
                        <a:pt x="1117" y="258"/>
                      </a:cubicBezTo>
                      <a:cubicBezTo>
                        <a:pt x="1118" y="257"/>
                        <a:pt x="1118" y="257"/>
                        <a:pt x="1118" y="257"/>
                      </a:cubicBezTo>
                      <a:cubicBezTo>
                        <a:pt x="1117" y="255"/>
                        <a:pt x="1117" y="255"/>
                        <a:pt x="1117" y="255"/>
                      </a:cubicBezTo>
                      <a:cubicBezTo>
                        <a:pt x="1115" y="253"/>
                        <a:pt x="1115" y="253"/>
                        <a:pt x="1115" y="253"/>
                      </a:cubicBezTo>
                      <a:cubicBezTo>
                        <a:pt x="1115" y="252"/>
                        <a:pt x="1115" y="252"/>
                        <a:pt x="1115" y="252"/>
                      </a:cubicBezTo>
                      <a:cubicBezTo>
                        <a:pt x="1114" y="252"/>
                        <a:pt x="1114" y="252"/>
                        <a:pt x="1114" y="252"/>
                      </a:cubicBezTo>
                      <a:cubicBezTo>
                        <a:pt x="1114" y="254"/>
                        <a:pt x="1114" y="254"/>
                        <a:pt x="1114" y="254"/>
                      </a:cubicBezTo>
                      <a:cubicBezTo>
                        <a:pt x="1112" y="254"/>
                        <a:pt x="1112" y="254"/>
                        <a:pt x="1112" y="254"/>
                      </a:cubicBezTo>
                      <a:cubicBezTo>
                        <a:pt x="1113" y="257"/>
                        <a:pt x="1113" y="257"/>
                        <a:pt x="1113" y="257"/>
                      </a:cubicBezTo>
                      <a:cubicBezTo>
                        <a:pt x="1111" y="259"/>
                        <a:pt x="1111" y="259"/>
                        <a:pt x="1111" y="259"/>
                      </a:cubicBezTo>
                      <a:cubicBezTo>
                        <a:pt x="1110" y="259"/>
                        <a:pt x="1110" y="259"/>
                        <a:pt x="1110" y="259"/>
                      </a:cubicBezTo>
                      <a:cubicBezTo>
                        <a:pt x="1109" y="257"/>
                        <a:pt x="1109" y="257"/>
                        <a:pt x="1109" y="257"/>
                      </a:cubicBezTo>
                      <a:cubicBezTo>
                        <a:pt x="1108" y="256"/>
                        <a:pt x="1108" y="256"/>
                        <a:pt x="1108" y="256"/>
                      </a:cubicBezTo>
                      <a:cubicBezTo>
                        <a:pt x="1107" y="257"/>
                        <a:pt x="1107" y="257"/>
                        <a:pt x="1107" y="257"/>
                      </a:cubicBezTo>
                      <a:cubicBezTo>
                        <a:pt x="1107" y="255"/>
                        <a:pt x="1107" y="255"/>
                        <a:pt x="1107" y="255"/>
                      </a:cubicBezTo>
                      <a:cubicBezTo>
                        <a:pt x="1105" y="255"/>
                        <a:pt x="1105" y="255"/>
                        <a:pt x="1105" y="255"/>
                      </a:cubicBezTo>
                      <a:cubicBezTo>
                        <a:pt x="1104" y="256"/>
                        <a:pt x="1104" y="256"/>
                        <a:pt x="1104" y="256"/>
                      </a:cubicBezTo>
                      <a:cubicBezTo>
                        <a:pt x="1103" y="256"/>
                        <a:pt x="1103" y="256"/>
                        <a:pt x="1103" y="256"/>
                      </a:cubicBezTo>
                      <a:cubicBezTo>
                        <a:pt x="1103" y="258"/>
                        <a:pt x="1103" y="258"/>
                        <a:pt x="1103" y="258"/>
                      </a:cubicBezTo>
                      <a:cubicBezTo>
                        <a:pt x="1101" y="258"/>
                        <a:pt x="1101" y="258"/>
                        <a:pt x="1101" y="258"/>
                      </a:cubicBezTo>
                      <a:cubicBezTo>
                        <a:pt x="1101" y="259"/>
                        <a:pt x="1101" y="259"/>
                        <a:pt x="1101" y="259"/>
                      </a:cubicBezTo>
                      <a:cubicBezTo>
                        <a:pt x="1098" y="259"/>
                        <a:pt x="1098" y="259"/>
                        <a:pt x="1098" y="259"/>
                      </a:cubicBezTo>
                      <a:cubicBezTo>
                        <a:pt x="1097" y="261"/>
                        <a:pt x="1097" y="261"/>
                        <a:pt x="1097" y="261"/>
                      </a:cubicBezTo>
                      <a:cubicBezTo>
                        <a:pt x="1095" y="260"/>
                        <a:pt x="1095" y="260"/>
                        <a:pt x="1095" y="260"/>
                      </a:cubicBezTo>
                      <a:cubicBezTo>
                        <a:pt x="1094" y="261"/>
                        <a:pt x="1094" y="261"/>
                        <a:pt x="1094" y="261"/>
                      </a:cubicBezTo>
                      <a:cubicBezTo>
                        <a:pt x="1092" y="261"/>
                        <a:pt x="1092" y="261"/>
                        <a:pt x="1092" y="261"/>
                      </a:cubicBezTo>
                      <a:cubicBezTo>
                        <a:pt x="1090" y="264"/>
                        <a:pt x="1090" y="264"/>
                        <a:pt x="1090" y="264"/>
                      </a:cubicBezTo>
                      <a:cubicBezTo>
                        <a:pt x="1088" y="265"/>
                        <a:pt x="1088" y="265"/>
                        <a:pt x="1088" y="265"/>
                      </a:cubicBezTo>
                      <a:cubicBezTo>
                        <a:pt x="1089" y="268"/>
                        <a:pt x="1089" y="268"/>
                        <a:pt x="1089" y="268"/>
                      </a:cubicBezTo>
                      <a:cubicBezTo>
                        <a:pt x="1087" y="269"/>
                        <a:pt x="1087" y="269"/>
                        <a:pt x="1087" y="269"/>
                      </a:cubicBezTo>
                      <a:cubicBezTo>
                        <a:pt x="1087" y="270"/>
                        <a:pt x="1087" y="270"/>
                        <a:pt x="1087" y="270"/>
                      </a:cubicBezTo>
                      <a:cubicBezTo>
                        <a:pt x="1088" y="271"/>
                        <a:pt x="1088" y="271"/>
                        <a:pt x="1088" y="271"/>
                      </a:cubicBezTo>
                      <a:cubicBezTo>
                        <a:pt x="1089" y="274"/>
                        <a:pt x="1089" y="274"/>
                        <a:pt x="1089" y="274"/>
                      </a:cubicBezTo>
                      <a:cubicBezTo>
                        <a:pt x="1091" y="276"/>
                        <a:pt x="1091" y="276"/>
                        <a:pt x="1091" y="276"/>
                      </a:cubicBezTo>
                      <a:cubicBezTo>
                        <a:pt x="1089" y="278"/>
                        <a:pt x="1089" y="278"/>
                        <a:pt x="1089" y="278"/>
                      </a:cubicBezTo>
                      <a:cubicBezTo>
                        <a:pt x="1088" y="285"/>
                        <a:pt x="1088" y="285"/>
                        <a:pt x="1088" y="285"/>
                      </a:cubicBezTo>
                      <a:cubicBezTo>
                        <a:pt x="1090" y="287"/>
                        <a:pt x="1090" y="287"/>
                        <a:pt x="1090" y="287"/>
                      </a:cubicBezTo>
                      <a:cubicBezTo>
                        <a:pt x="1088" y="288"/>
                        <a:pt x="1088" y="288"/>
                        <a:pt x="1088" y="288"/>
                      </a:cubicBezTo>
                      <a:cubicBezTo>
                        <a:pt x="1089" y="289"/>
                        <a:pt x="1089" y="289"/>
                        <a:pt x="1089" y="289"/>
                      </a:cubicBezTo>
                      <a:cubicBezTo>
                        <a:pt x="1089" y="291"/>
                        <a:pt x="1089" y="291"/>
                        <a:pt x="1089" y="291"/>
                      </a:cubicBezTo>
                      <a:cubicBezTo>
                        <a:pt x="1087" y="293"/>
                        <a:pt x="1087" y="293"/>
                        <a:pt x="1087" y="293"/>
                      </a:cubicBezTo>
                      <a:cubicBezTo>
                        <a:pt x="1087" y="296"/>
                        <a:pt x="1087" y="296"/>
                        <a:pt x="1087" y="296"/>
                      </a:cubicBezTo>
                      <a:cubicBezTo>
                        <a:pt x="1086" y="298"/>
                        <a:pt x="1086" y="298"/>
                        <a:pt x="1086" y="298"/>
                      </a:cubicBezTo>
                      <a:cubicBezTo>
                        <a:pt x="1085" y="300"/>
                        <a:pt x="1085" y="300"/>
                        <a:pt x="1085" y="300"/>
                      </a:cubicBezTo>
                      <a:cubicBezTo>
                        <a:pt x="1085" y="303"/>
                        <a:pt x="1085" y="303"/>
                        <a:pt x="1085" y="303"/>
                      </a:cubicBezTo>
                      <a:cubicBezTo>
                        <a:pt x="1086" y="306"/>
                        <a:pt x="1086" y="306"/>
                        <a:pt x="1086" y="306"/>
                      </a:cubicBezTo>
                      <a:cubicBezTo>
                        <a:pt x="1085" y="307"/>
                        <a:pt x="1085" y="307"/>
                        <a:pt x="1085" y="307"/>
                      </a:cubicBezTo>
                      <a:cubicBezTo>
                        <a:pt x="1087" y="311"/>
                        <a:pt x="1087" y="311"/>
                        <a:pt x="1087" y="311"/>
                      </a:cubicBezTo>
                      <a:cubicBezTo>
                        <a:pt x="1086" y="311"/>
                        <a:pt x="1086" y="311"/>
                        <a:pt x="1086" y="311"/>
                      </a:cubicBezTo>
                      <a:cubicBezTo>
                        <a:pt x="1086" y="313"/>
                        <a:pt x="1086" y="313"/>
                        <a:pt x="1086" y="313"/>
                      </a:cubicBezTo>
                      <a:cubicBezTo>
                        <a:pt x="1088" y="314"/>
                        <a:pt x="1088" y="314"/>
                        <a:pt x="1088" y="314"/>
                      </a:cubicBezTo>
                      <a:cubicBezTo>
                        <a:pt x="1088" y="313"/>
                        <a:pt x="1088" y="313"/>
                        <a:pt x="1088" y="313"/>
                      </a:cubicBezTo>
                      <a:cubicBezTo>
                        <a:pt x="1090" y="313"/>
                        <a:pt x="1090" y="313"/>
                        <a:pt x="1090" y="313"/>
                      </a:cubicBezTo>
                      <a:cubicBezTo>
                        <a:pt x="1090" y="312"/>
                        <a:pt x="1090" y="312"/>
                        <a:pt x="1090" y="312"/>
                      </a:cubicBezTo>
                      <a:cubicBezTo>
                        <a:pt x="1090" y="312"/>
                        <a:pt x="1090" y="312"/>
                        <a:pt x="1090" y="312"/>
                      </a:cubicBezTo>
                      <a:cubicBezTo>
                        <a:pt x="1092" y="313"/>
                        <a:pt x="1092" y="313"/>
                        <a:pt x="1092" y="313"/>
                      </a:cubicBezTo>
                      <a:cubicBezTo>
                        <a:pt x="1093" y="313"/>
                        <a:pt x="1093" y="313"/>
                        <a:pt x="1093" y="313"/>
                      </a:cubicBezTo>
                      <a:cubicBezTo>
                        <a:pt x="1093" y="312"/>
                        <a:pt x="1093" y="312"/>
                        <a:pt x="1093" y="312"/>
                      </a:cubicBezTo>
                      <a:cubicBezTo>
                        <a:pt x="1093" y="311"/>
                        <a:pt x="1093" y="311"/>
                        <a:pt x="1093" y="311"/>
                      </a:cubicBezTo>
                      <a:cubicBezTo>
                        <a:pt x="1094" y="312"/>
                        <a:pt x="1094" y="312"/>
                        <a:pt x="1094" y="312"/>
                      </a:cubicBezTo>
                      <a:cubicBezTo>
                        <a:pt x="1096" y="313"/>
                        <a:pt x="1096" y="313"/>
                        <a:pt x="1096" y="313"/>
                      </a:cubicBezTo>
                      <a:cubicBezTo>
                        <a:pt x="1097" y="314"/>
                        <a:pt x="1097" y="314"/>
                        <a:pt x="1097" y="314"/>
                      </a:cubicBezTo>
                      <a:cubicBezTo>
                        <a:pt x="1096" y="315"/>
                        <a:pt x="1096" y="315"/>
                        <a:pt x="1096" y="315"/>
                      </a:cubicBezTo>
                      <a:cubicBezTo>
                        <a:pt x="1098" y="317"/>
                        <a:pt x="1098" y="317"/>
                        <a:pt x="1098" y="317"/>
                      </a:cubicBezTo>
                      <a:cubicBezTo>
                        <a:pt x="1097" y="318"/>
                        <a:pt x="1097" y="318"/>
                        <a:pt x="1097" y="318"/>
                      </a:cubicBezTo>
                      <a:cubicBezTo>
                        <a:pt x="1096" y="317"/>
                        <a:pt x="1096" y="317"/>
                        <a:pt x="1096" y="317"/>
                      </a:cubicBezTo>
                      <a:cubicBezTo>
                        <a:pt x="1095" y="318"/>
                        <a:pt x="1095" y="318"/>
                        <a:pt x="1095" y="318"/>
                      </a:cubicBezTo>
                      <a:cubicBezTo>
                        <a:pt x="1094" y="318"/>
                        <a:pt x="1094" y="318"/>
                        <a:pt x="1094" y="318"/>
                      </a:cubicBezTo>
                      <a:cubicBezTo>
                        <a:pt x="1092" y="319"/>
                        <a:pt x="1092" y="319"/>
                        <a:pt x="1092" y="319"/>
                      </a:cubicBezTo>
                      <a:cubicBezTo>
                        <a:pt x="1092" y="319"/>
                        <a:pt x="1092" y="319"/>
                        <a:pt x="1092" y="319"/>
                      </a:cubicBezTo>
                      <a:cubicBezTo>
                        <a:pt x="1093" y="320"/>
                        <a:pt x="1093" y="320"/>
                        <a:pt x="1093" y="320"/>
                      </a:cubicBezTo>
                      <a:cubicBezTo>
                        <a:pt x="1091" y="323"/>
                        <a:pt x="1091" y="323"/>
                        <a:pt x="1091" y="323"/>
                      </a:cubicBezTo>
                      <a:cubicBezTo>
                        <a:pt x="1089" y="322"/>
                        <a:pt x="1089" y="322"/>
                        <a:pt x="1089" y="322"/>
                      </a:cubicBezTo>
                      <a:cubicBezTo>
                        <a:pt x="1089" y="321"/>
                        <a:pt x="1089" y="321"/>
                        <a:pt x="1089" y="321"/>
                      </a:cubicBezTo>
                      <a:cubicBezTo>
                        <a:pt x="1088" y="320"/>
                        <a:pt x="1088" y="320"/>
                        <a:pt x="1088" y="320"/>
                      </a:cubicBezTo>
                      <a:cubicBezTo>
                        <a:pt x="1087" y="321"/>
                        <a:pt x="1087" y="321"/>
                        <a:pt x="1087" y="321"/>
                      </a:cubicBezTo>
                      <a:cubicBezTo>
                        <a:pt x="1085" y="320"/>
                        <a:pt x="1085" y="320"/>
                        <a:pt x="1085" y="320"/>
                      </a:cubicBezTo>
                      <a:cubicBezTo>
                        <a:pt x="1084" y="320"/>
                        <a:pt x="1084" y="320"/>
                        <a:pt x="1084" y="320"/>
                      </a:cubicBezTo>
                      <a:cubicBezTo>
                        <a:pt x="1084" y="321"/>
                        <a:pt x="1084" y="321"/>
                        <a:pt x="1084" y="321"/>
                      </a:cubicBezTo>
                      <a:cubicBezTo>
                        <a:pt x="1084" y="323"/>
                        <a:pt x="1084" y="323"/>
                        <a:pt x="1084" y="323"/>
                      </a:cubicBezTo>
                      <a:cubicBezTo>
                        <a:pt x="1084" y="323"/>
                        <a:pt x="1084" y="323"/>
                        <a:pt x="1084" y="323"/>
                      </a:cubicBezTo>
                      <a:cubicBezTo>
                        <a:pt x="1083" y="325"/>
                        <a:pt x="1083" y="325"/>
                        <a:pt x="1083" y="325"/>
                      </a:cubicBezTo>
                      <a:cubicBezTo>
                        <a:pt x="1082" y="325"/>
                        <a:pt x="1082" y="325"/>
                        <a:pt x="1082" y="325"/>
                      </a:cubicBezTo>
                      <a:cubicBezTo>
                        <a:pt x="1082" y="326"/>
                        <a:pt x="1082" y="326"/>
                        <a:pt x="1082" y="326"/>
                      </a:cubicBezTo>
                      <a:cubicBezTo>
                        <a:pt x="1082" y="328"/>
                        <a:pt x="1082" y="328"/>
                        <a:pt x="1082" y="328"/>
                      </a:cubicBezTo>
                      <a:cubicBezTo>
                        <a:pt x="1080" y="327"/>
                        <a:pt x="1080" y="327"/>
                        <a:pt x="1080" y="327"/>
                      </a:cubicBezTo>
                      <a:cubicBezTo>
                        <a:pt x="1078" y="325"/>
                        <a:pt x="1078" y="325"/>
                        <a:pt x="1078" y="325"/>
                      </a:cubicBezTo>
                      <a:cubicBezTo>
                        <a:pt x="1077" y="325"/>
                        <a:pt x="1077" y="325"/>
                        <a:pt x="1077" y="325"/>
                      </a:cubicBezTo>
                      <a:cubicBezTo>
                        <a:pt x="1078" y="327"/>
                        <a:pt x="1078" y="327"/>
                        <a:pt x="1078" y="327"/>
                      </a:cubicBezTo>
                      <a:cubicBezTo>
                        <a:pt x="1076" y="328"/>
                        <a:pt x="1076" y="328"/>
                        <a:pt x="1076" y="328"/>
                      </a:cubicBezTo>
                      <a:cubicBezTo>
                        <a:pt x="1077" y="329"/>
                        <a:pt x="1077" y="329"/>
                        <a:pt x="1077" y="329"/>
                      </a:cubicBezTo>
                      <a:cubicBezTo>
                        <a:pt x="1075" y="330"/>
                        <a:pt x="1075" y="330"/>
                        <a:pt x="1075" y="330"/>
                      </a:cubicBezTo>
                      <a:cubicBezTo>
                        <a:pt x="1072" y="331"/>
                        <a:pt x="1072" y="331"/>
                        <a:pt x="1072" y="331"/>
                      </a:cubicBezTo>
                      <a:cubicBezTo>
                        <a:pt x="1072" y="332"/>
                        <a:pt x="1072" y="332"/>
                        <a:pt x="1072" y="332"/>
                      </a:cubicBezTo>
                      <a:cubicBezTo>
                        <a:pt x="1069" y="329"/>
                        <a:pt x="1069" y="329"/>
                        <a:pt x="1069" y="329"/>
                      </a:cubicBezTo>
                      <a:cubicBezTo>
                        <a:pt x="1067" y="329"/>
                        <a:pt x="1067" y="329"/>
                        <a:pt x="1067" y="329"/>
                      </a:cubicBezTo>
                      <a:cubicBezTo>
                        <a:pt x="1067" y="328"/>
                        <a:pt x="1067" y="328"/>
                        <a:pt x="1067" y="328"/>
                      </a:cubicBezTo>
                      <a:cubicBezTo>
                        <a:pt x="1067" y="327"/>
                        <a:pt x="1067" y="327"/>
                        <a:pt x="1067" y="327"/>
                      </a:cubicBezTo>
                      <a:cubicBezTo>
                        <a:pt x="1069" y="327"/>
                        <a:pt x="1069" y="327"/>
                        <a:pt x="1069" y="327"/>
                      </a:cubicBezTo>
                      <a:cubicBezTo>
                        <a:pt x="1069" y="325"/>
                        <a:pt x="1069" y="325"/>
                        <a:pt x="1069" y="325"/>
                      </a:cubicBezTo>
                      <a:cubicBezTo>
                        <a:pt x="1069" y="324"/>
                        <a:pt x="1069" y="324"/>
                        <a:pt x="1069" y="324"/>
                      </a:cubicBezTo>
                      <a:cubicBezTo>
                        <a:pt x="1072" y="324"/>
                        <a:pt x="1072" y="324"/>
                        <a:pt x="1072" y="324"/>
                      </a:cubicBezTo>
                      <a:cubicBezTo>
                        <a:pt x="1076" y="322"/>
                        <a:pt x="1076" y="322"/>
                        <a:pt x="1076" y="322"/>
                      </a:cubicBezTo>
                      <a:cubicBezTo>
                        <a:pt x="1075" y="320"/>
                        <a:pt x="1075" y="320"/>
                        <a:pt x="1075" y="320"/>
                      </a:cubicBezTo>
                      <a:cubicBezTo>
                        <a:pt x="1074" y="320"/>
                        <a:pt x="1074" y="320"/>
                        <a:pt x="1074" y="320"/>
                      </a:cubicBezTo>
                      <a:cubicBezTo>
                        <a:pt x="1072" y="322"/>
                        <a:pt x="1072" y="322"/>
                        <a:pt x="1072" y="322"/>
                      </a:cubicBezTo>
                      <a:cubicBezTo>
                        <a:pt x="1070" y="321"/>
                        <a:pt x="1070" y="321"/>
                        <a:pt x="1070" y="321"/>
                      </a:cubicBezTo>
                      <a:cubicBezTo>
                        <a:pt x="1069" y="320"/>
                        <a:pt x="1069" y="320"/>
                        <a:pt x="1069" y="320"/>
                      </a:cubicBezTo>
                      <a:cubicBezTo>
                        <a:pt x="1068" y="319"/>
                        <a:pt x="1068" y="319"/>
                        <a:pt x="1068" y="319"/>
                      </a:cubicBezTo>
                      <a:cubicBezTo>
                        <a:pt x="1066" y="319"/>
                        <a:pt x="1066" y="319"/>
                        <a:pt x="1066" y="319"/>
                      </a:cubicBezTo>
                      <a:cubicBezTo>
                        <a:pt x="1063" y="318"/>
                        <a:pt x="1063" y="318"/>
                        <a:pt x="1063" y="318"/>
                      </a:cubicBezTo>
                      <a:cubicBezTo>
                        <a:pt x="1060" y="318"/>
                        <a:pt x="1060" y="318"/>
                        <a:pt x="1060" y="318"/>
                      </a:cubicBezTo>
                      <a:cubicBezTo>
                        <a:pt x="1061" y="320"/>
                        <a:pt x="1061" y="320"/>
                        <a:pt x="1061" y="320"/>
                      </a:cubicBezTo>
                      <a:cubicBezTo>
                        <a:pt x="1060" y="320"/>
                        <a:pt x="1060" y="320"/>
                        <a:pt x="1060" y="320"/>
                      </a:cubicBezTo>
                      <a:cubicBezTo>
                        <a:pt x="1059" y="319"/>
                        <a:pt x="1059" y="319"/>
                        <a:pt x="1059" y="319"/>
                      </a:cubicBezTo>
                      <a:cubicBezTo>
                        <a:pt x="1059" y="318"/>
                        <a:pt x="1059" y="318"/>
                        <a:pt x="1059" y="318"/>
                      </a:cubicBezTo>
                      <a:cubicBezTo>
                        <a:pt x="1056" y="318"/>
                        <a:pt x="1056" y="318"/>
                        <a:pt x="1056" y="318"/>
                      </a:cubicBezTo>
                      <a:cubicBezTo>
                        <a:pt x="1053" y="318"/>
                        <a:pt x="1053" y="318"/>
                        <a:pt x="1053" y="318"/>
                      </a:cubicBezTo>
                      <a:cubicBezTo>
                        <a:pt x="1051" y="318"/>
                        <a:pt x="1051" y="318"/>
                        <a:pt x="1051" y="318"/>
                      </a:cubicBezTo>
                      <a:cubicBezTo>
                        <a:pt x="1050" y="317"/>
                        <a:pt x="1050" y="317"/>
                        <a:pt x="1050" y="317"/>
                      </a:cubicBezTo>
                      <a:cubicBezTo>
                        <a:pt x="1047" y="317"/>
                        <a:pt x="1047" y="317"/>
                        <a:pt x="1047" y="317"/>
                      </a:cubicBezTo>
                      <a:cubicBezTo>
                        <a:pt x="1044" y="320"/>
                        <a:pt x="1044" y="320"/>
                        <a:pt x="1044" y="320"/>
                      </a:cubicBezTo>
                      <a:cubicBezTo>
                        <a:pt x="1043" y="320"/>
                        <a:pt x="1043" y="320"/>
                        <a:pt x="1043" y="320"/>
                      </a:cubicBezTo>
                      <a:cubicBezTo>
                        <a:pt x="1043" y="322"/>
                        <a:pt x="1043" y="322"/>
                        <a:pt x="1043" y="322"/>
                      </a:cubicBezTo>
                      <a:cubicBezTo>
                        <a:pt x="1046" y="323"/>
                        <a:pt x="1046" y="323"/>
                        <a:pt x="1046" y="323"/>
                      </a:cubicBezTo>
                      <a:cubicBezTo>
                        <a:pt x="1043" y="324"/>
                        <a:pt x="1043" y="324"/>
                        <a:pt x="1043" y="324"/>
                      </a:cubicBezTo>
                      <a:cubicBezTo>
                        <a:pt x="1042" y="323"/>
                        <a:pt x="1042" y="323"/>
                        <a:pt x="1042" y="323"/>
                      </a:cubicBezTo>
                      <a:cubicBezTo>
                        <a:pt x="1041" y="325"/>
                        <a:pt x="1041" y="325"/>
                        <a:pt x="1041" y="325"/>
                      </a:cubicBezTo>
                      <a:cubicBezTo>
                        <a:pt x="1043" y="327"/>
                        <a:pt x="1043" y="327"/>
                        <a:pt x="1043" y="327"/>
                      </a:cubicBezTo>
                      <a:cubicBezTo>
                        <a:pt x="1044" y="326"/>
                        <a:pt x="1044" y="326"/>
                        <a:pt x="1044" y="326"/>
                      </a:cubicBezTo>
                      <a:cubicBezTo>
                        <a:pt x="1045" y="327"/>
                        <a:pt x="1045" y="327"/>
                        <a:pt x="1045" y="327"/>
                      </a:cubicBezTo>
                      <a:cubicBezTo>
                        <a:pt x="1045" y="328"/>
                        <a:pt x="1045" y="328"/>
                        <a:pt x="1045" y="328"/>
                      </a:cubicBezTo>
                      <a:cubicBezTo>
                        <a:pt x="1041" y="330"/>
                        <a:pt x="1041" y="330"/>
                        <a:pt x="1041" y="330"/>
                      </a:cubicBezTo>
                      <a:cubicBezTo>
                        <a:pt x="1040" y="328"/>
                        <a:pt x="1040" y="328"/>
                        <a:pt x="1040" y="328"/>
                      </a:cubicBezTo>
                      <a:cubicBezTo>
                        <a:pt x="1037" y="328"/>
                        <a:pt x="1037" y="328"/>
                        <a:pt x="1037" y="328"/>
                      </a:cubicBezTo>
                      <a:cubicBezTo>
                        <a:pt x="1036" y="329"/>
                        <a:pt x="1036" y="329"/>
                        <a:pt x="1036" y="329"/>
                      </a:cubicBezTo>
                      <a:cubicBezTo>
                        <a:pt x="1036" y="330"/>
                        <a:pt x="1036" y="330"/>
                        <a:pt x="1036" y="330"/>
                      </a:cubicBezTo>
                      <a:cubicBezTo>
                        <a:pt x="1035" y="330"/>
                        <a:pt x="1035" y="330"/>
                        <a:pt x="1035" y="330"/>
                      </a:cubicBezTo>
                      <a:cubicBezTo>
                        <a:pt x="1034" y="331"/>
                        <a:pt x="1034" y="331"/>
                        <a:pt x="1034" y="331"/>
                      </a:cubicBezTo>
                      <a:cubicBezTo>
                        <a:pt x="1033" y="331"/>
                        <a:pt x="1033" y="331"/>
                        <a:pt x="1033" y="331"/>
                      </a:cubicBezTo>
                      <a:cubicBezTo>
                        <a:pt x="1032" y="330"/>
                        <a:pt x="1032" y="330"/>
                        <a:pt x="1032" y="330"/>
                      </a:cubicBezTo>
                      <a:cubicBezTo>
                        <a:pt x="1028" y="330"/>
                        <a:pt x="1028" y="330"/>
                        <a:pt x="1028" y="330"/>
                      </a:cubicBezTo>
                      <a:cubicBezTo>
                        <a:pt x="1027" y="331"/>
                        <a:pt x="1027" y="331"/>
                        <a:pt x="1027" y="331"/>
                      </a:cubicBezTo>
                      <a:cubicBezTo>
                        <a:pt x="1023" y="330"/>
                        <a:pt x="1023" y="330"/>
                        <a:pt x="1023" y="330"/>
                      </a:cubicBezTo>
                      <a:cubicBezTo>
                        <a:pt x="1021" y="331"/>
                        <a:pt x="1021" y="331"/>
                        <a:pt x="1021" y="331"/>
                      </a:cubicBezTo>
                      <a:cubicBezTo>
                        <a:pt x="1021" y="332"/>
                        <a:pt x="1021" y="332"/>
                        <a:pt x="1021" y="332"/>
                      </a:cubicBezTo>
                      <a:cubicBezTo>
                        <a:pt x="1023" y="334"/>
                        <a:pt x="1023" y="334"/>
                        <a:pt x="1023" y="334"/>
                      </a:cubicBezTo>
                      <a:cubicBezTo>
                        <a:pt x="1022" y="336"/>
                        <a:pt x="1022" y="336"/>
                        <a:pt x="1022" y="336"/>
                      </a:cubicBezTo>
                      <a:cubicBezTo>
                        <a:pt x="1021" y="338"/>
                        <a:pt x="1021" y="338"/>
                        <a:pt x="1021" y="338"/>
                      </a:cubicBezTo>
                      <a:cubicBezTo>
                        <a:pt x="1019" y="336"/>
                        <a:pt x="1019" y="336"/>
                        <a:pt x="1019" y="336"/>
                      </a:cubicBezTo>
                      <a:cubicBezTo>
                        <a:pt x="1018" y="335"/>
                        <a:pt x="1018" y="335"/>
                        <a:pt x="1018" y="335"/>
                      </a:cubicBezTo>
                      <a:cubicBezTo>
                        <a:pt x="1019" y="333"/>
                        <a:pt x="1019" y="333"/>
                        <a:pt x="1019" y="333"/>
                      </a:cubicBezTo>
                      <a:cubicBezTo>
                        <a:pt x="1017" y="332"/>
                        <a:pt x="1017" y="332"/>
                        <a:pt x="1017" y="332"/>
                      </a:cubicBezTo>
                      <a:cubicBezTo>
                        <a:pt x="1016" y="334"/>
                        <a:pt x="1016" y="334"/>
                        <a:pt x="1016" y="334"/>
                      </a:cubicBezTo>
                      <a:cubicBezTo>
                        <a:pt x="1014" y="334"/>
                        <a:pt x="1014" y="334"/>
                        <a:pt x="1014" y="334"/>
                      </a:cubicBezTo>
                      <a:cubicBezTo>
                        <a:pt x="1013" y="334"/>
                        <a:pt x="1013" y="334"/>
                        <a:pt x="1013" y="334"/>
                      </a:cubicBezTo>
                      <a:cubicBezTo>
                        <a:pt x="1011" y="335"/>
                        <a:pt x="1011" y="335"/>
                        <a:pt x="1011" y="335"/>
                      </a:cubicBezTo>
                      <a:cubicBezTo>
                        <a:pt x="1009" y="335"/>
                        <a:pt x="1009" y="335"/>
                        <a:pt x="1009" y="335"/>
                      </a:cubicBezTo>
                      <a:cubicBezTo>
                        <a:pt x="1006" y="337"/>
                        <a:pt x="1006" y="337"/>
                        <a:pt x="1006" y="337"/>
                      </a:cubicBezTo>
                      <a:cubicBezTo>
                        <a:pt x="1003" y="337"/>
                        <a:pt x="1003" y="337"/>
                        <a:pt x="1003" y="337"/>
                      </a:cubicBezTo>
                      <a:cubicBezTo>
                        <a:pt x="1000" y="340"/>
                        <a:pt x="1000" y="340"/>
                        <a:pt x="1000" y="340"/>
                      </a:cubicBezTo>
                      <a:cubicBezTo>
                        <a:pt x="998" y="340"/>
                        <a:pt x="998" y="340"/>
                        <a:pt x="998" y="340"/>
                      </a:cubicBezTo>
                      <a:cubicBezTo>
                        <a:pt x="996" y="339"/>
                        <a:pt x="996" y="339"/>
                        <a:pt x="996" y="339"/>
                      </a:cubicBezTo>
                      <a:cubicBezTo>
                        <a:pt x="995" y="339"/>
                        <a:pt x="995" y="339"/>
                        <a:pt x="995" y="339"/>
                      </a:cubicBezTo>
                      <a:cubicBezTo>
                        <a:pt x="995" y="341"/>
                        <a:pt x="995" y="341"/>
                        <a:pt x="995" y="341"/>
                      </a:cubicBezTo>
                      <a:cubicBezTo>
                        <a:pt x="991" y="344"/>
                        <a:pt x="991" y="344"/>
                        <a:pt x="991" y="344"/>
                      </a:cubicBezTo>
                      <a:cubicBezTo>
                        <a:pt x="990" y="346"/>
                        <a:pt x="990" y="346"/>
                        <a:pt x="990" y="346"/>
                      </a:cubicBezTo>
                      <a:cubicBezTo>
                        <a:pt x="989" y="347"/>
                        <a:pt x="989" y="347"/>
                        <a:pt x="989" y="347"/>
                      </a:cubicBezTo>
                      <a:cubicBezTo>
                        <a:pt x="988" y="350"/>
                        <a:pt x="988" y="350"/>
                        <a:pt x="988" y="350"/>
                      </a:cubicBezTo>
                      <a:cubicBezTo>
                        <a:pt x="991" y="354"/>
                        <a:pt x="991" y="354"/>
                        <a:pt x="991" y="354"/>
                      </a:cubicBezTo>
                      <a:cubicBezTo>
                        <a:pt x="990" y="357"/>
                        <a:pt x="990" y="357"/>
                        <a:pt x="990" y="357"/>
                      </a:cubicBezTo>
                      <a:cubicBezTo>
                        <a:pt x="987" y="361"/>
                        <a:pt x="987" y="361"/>
                        <a:pt x="987" y="361"/>
                      </a:cubicBezTo>
                      <a:cubicBezTo>
                        <a:pt x="986" y="364"/>
                        <a:pt x="986" y="364"/>
                        <a:pt x="986" y="364"/>
                      </a:cubicBezTo>
                      <a:cubicBezTo>
                        <a:pt x="986" y="366"/>
                        <a:pt x="986" y="366"/>
                        <a:pt x="986" y="366"/>
                      </a:cubicBezTo>
                      <a:cubicBezTo>
                        <a:pt x="986" y="370"/>
                        <a:pt x="986" y="370"/>
                        <a:pt x="986" y="370"/>
                      </a:cubicBezTo>
                      <a:cubicBezTo>
                        <a:pt x="987" y="372"/>
                        <a:pt x="987" y="372"/>
                        <a:pt x="987" y="372"/>
                      </a:cubicBezTo>
                      <a:cubicBezTo>
                        <a:pt x="987" y="374"/>
                        <a:pt x="987" y="374"/>
                        <a:pt x="987" y="374"/>
                      </a:cubicBezTo>
                      <a:cubicBezTo>
                        <a:pt x="986" y="374"/>
                        <a:pt x="986" y="374"/>
                        <a:pt x="986" y="374"/>
                      </a:cubicBezTo>
                      <a:cubicBezTo>
                        <a:pt x="985" y="375"/>
                        <a:pt x="985" y="375"/>
                        <a:pt x="985" y="375"/>
                      </a:cubicBezTo>
                      <a:cubicBezTo>
                        <a:pt x="985" y="377"/>
                        <a:pt x="985" y="377"/>
                        <a:pt x="985" y="377"/>
                      </a:cubicBezTo>
                      <a:cubicBezTo>
                        <a:pt x="984" y="378"/>
                        <a:pt x="984" y="378"/>
                        <a:pt x="984" y="378"/>
                      </a:cubicBezTo>
                      <a:cubicBezTo>
                        <a:pt x="985" y="381"/>
                        <a:pt x="985" y="381"/>
                        <a:pt x="985" y="381"/>
                      </a:cubicBezTo>
                      <a:cubicBezTo>
                        <a:pt x="983" y="382"/>
                        <a:pt x="983" y="382"/>
                        <a:pt x="983" y="382"/>
                      </a:cubicBezTo>
                      <a:cubicBezTo>
                        <a:pt x="983" y="385"/>
                        <a:pt x="983" y="385"/>
                        <a:pt x="983" y="385"/>
                      </a:cubicBezTo>
                      <a:cubicBezTo>
                        <a:pt x="980" y="388"/>
                        <a:pt x="980" y="388"/>
                        <a:pt x="980" y="388"/>
                      </a:cubicBezTo>
                      <a:cubicBezTo>
                        <a:pt x="981" y="390"/>
                        <a:pt x="981" y="390"/>
                        <a:pt x="981" y="390"/>
                      </a:cubicBezTo>
                      <a:cubicBezTo>
                        <a:pt x="979" y="391"/>
                        <a:pt x="979" y="391"/>
                        <a:pt x="979" y="391"/>
                      </a:cubicBezTo>
                      <a:cubicBezTo>
                        <a:pt x="979" y="395"/>
                        <a:pt x="979" y="395"/>
                        <a:pt x="979" y="395"/>
                      </a:cubicBezTo>
                      <a:cubicBezTo>
                        <a:pt x="978" y="395"/>
                        <a:pt x="978" y="395"/>
                        <a:pt x="978" y="395"/>
                      </a:cubicBezTo>
                      <a:cubicBezTo>
                        <a:pt x="977" y="400"/>
                        <a:pt x="977" y="400"/>
                        <a:pt x="977" y="400"/>
                      </a:cubicBezTo>
                      <a:cubicBezTo>
                        <a:pt x="977" y="403"/>
                        <a:pt x="977" y="403"/>
                        <a:pt x="977" y="403"/>
                      </a:cubicBezTo>
                      <a:cubicBezTo>
                        <a:pt x="976" y="404"/>
                        <a:pt x="976" y="404"/>
                        <a:pt x="976" y="404"/>
                      </a:cubicBezTo>
                      <a:cubicBezTo>
                        <a:pt x="977" y="407"/>
                        <a:pt x="977" y="407"/>
                        <a:pt x="977" y="407"/>
                      </a:cubicBezTo>
                      <a:cubicBezTo>
                        <a:pt x="976" y="409"/>
                        <a:pt x="976" y="409"/>
                        <a:pt x="976" y="409"/>
                      </a:cubicBezTo>
                      <a:cubicBezTo>
                        <a:pt x="975" y="411"/>
                        <a:pt x="975" y="411"/>
                        <a:pt x="975" y="411"/>
                      </a:cubicBezTo>
                      <a:cubicBezTo>
                        <a:pt x="974" y="414"/>
                        <a:pt x="974" y="414"/>
                        <a:pt x="974" y="414"/>
                      </a:cubicBezTo>
                      <a:cubicBezTo>
                        <a:pt x="974" y="415"/>
                        <a:pt x="974" y="415"/>
                        <a:pt x="974" y="415"/>
                      </a:cubicBezTo>
                      <a:cubicBezTo>
                        <a:pt x="973" y="416"/>
                        <a:pt x="973" y="416"/>
                        <a:pt x="973" y="416"/>
                      </a:cubicBezTo>
                      <a:cubicBezTo>
                        <a:pt x="973" y="418"/>
                        <a:pt x="973" y="418"/>
                        <a:pt x="973" y="418"/>
                      </a:cubicBezTo>
                      <a:cubicBezTo>
                        <a:pt x="970" y="421"/>
                        <a:pt x="970" y="421"/>
                        <a:pt x="970" y="421"/>
                      </a:cubicBezTo>
                      <a:cubicBezTo>
                        <a:pt x="970" y="424"/>
                        <a:pt x="970" y="424"/>
                        <a:pt x="970" y="424"/>
                      </a:cubicBezTo>
                      <a:cubicBezTo>
                        <a:pt x="967" y="426"/>
                        <a:pt x="967" y="426"/>
                        <a:pt x="967" y="426"/>
                      </a:cubicBezTo>
                      <a:cubicBezTo>
                        <a:pt x="967" y="428"/>
                        <a:pt x="967" y="428"/>
                        <a:pt x="967" y="428"/>
                      </a:cubicBezTo>
                      <a:cubicBezTo>
                        <a:pt x="965" y="431"/>
                        <a:pt x="965" y="431"/>
                        <a:pt x="965" y="431"/>
                      </a:cubicBezTo>
                      <a:cubicBezTo>
                        <a:pt x="965" y="433"/>
                        <a:pt x="965" y="433"/>
                        <a:pt x="965" y="433"/>
                      </a:cubicBezTo>
                      <a:cubicBezTo>
                        <a:pt x="964" y="435"/>
                        <a:pt x="964" y="435"/>
                        <a:pt x="964" y="435"/>
                      </a:cubicBezTo>
                      <a:cubicBezTo>
                        <a:pt x="965" y="437"/>
                        <a:pt x="965" y="437"/>
                        <a:pt x="965" y="437"/>
                      </a:cubicBezTo>
                      <a:cubicBezTo>
                        <a:pt x="966" y="438"/>
                        <a:pt x="966" y="438"/>
                        <a:pt x="966" y="438"/>
                      </a:cubicBezTo>
                      <a:cubicBezTo>
                        <a:pt x="968" y="437"/>
                        <a:pt x="968" y="437"/>
                        <a:pt x="968" y="437"/>
                      </a:cubicBezTo>
                      <a:cubicBezTo>
                        <a:pt x="970" y="439"/>
                        <a:pt x="970" y="439"/>
                        <a:pt x="970" y="439"/>
                      </a:cubicBezTo>
                      <a:cubicBezTo>
                        <a:pt x="972" y="439"/>
                        <a:pt x="972" y="439"/>
                        <a:pt x="972" y="439"/>
                      </a:cubicBezTo>
                      <a:cubicBezTo>
                        <a:pt x="974" y="437"/>
                        <a:pt x="974" y="437"/>
                        <a:pt x="974" y="437"/>
                      </a:cubicBezTo>
                      <a:cubicBezTo>
                        <a:pt x="976" y="436"/>
                        <a:pt x="976" y="436"/>
                        <a:pt x="976" y="436"/>
                      </a:cubicBezTo>
                      <a:cubicBezTo>
                        <a:pt x="977" y="435"/>
                        <a:pt x="977" y="435"/>
                        <a:pt x="977" y="435"/>
                      </a:cubicBezTo>
                      <a:cubicBezTo>
                        <a:pt x="978" y="435"/>
                        <a:pt x="978" y="435"/>
                        <a:pt x="978" y="435"/>
                      </a:cubicBezTo>
                      <a:cubicBezTo>
                        <a:pt x="980" y="435"/>
                        <a:pt x="980" y="435"/>
                        <a:pt x="980" y="435"/>
                      </a:cubicBezTo>
                      <a:cubicBezTo>
                        <a:pt x="980" y="440"/>
                        <a:pt x="980" y="440"/>
                        <a:pt x="980" y="440"/>
                      </a:cubicBezTo>
                      <a:cubicBezTo>
                        <a:pt x="982" y="443"/>
                        <a:pt x="982" y="443"/>
                        <a:pt x="982" y="443"/>
                      </a:cubicBezTo>
                      <a:cubicBezTo>
                        <a:pt x="983" y="446"/>
                        <a:pt x="983" y="446"/>
                        <a:pt x="983" y="446"/>
                      </a:cubicBezTo>
                      <a:cubicBezTo>
                        <a:pt x="983" y="449"/>
                        <a:pt x="983" y="449"/>
                        <a:pt x="983" y="449"/>
                      </a:cubicBezTo>
                      <a:cubicBezTo>
                        <a:pt x="985" y="451"/>
                        <a:pt x="985" y="451"/>
                        <a:pt x="985" y="451"/>
                      </a:cubicBezTo>
                      <a:cubicBezTo>
                        <a:pt x="987" y="449"/>
                        <a:pt x="987" y="449"/>
                        <a:pt x="987" y="449"/>
                      </a:cubicBezTo>
                      <a:cubicBezTo>
                        <a:pt x="987" y="449"/>
                        <a:pt x="987" y="449"/>
                        <a:pt x="987" y="449"/>
                      </a:cubicBezTo>
                      <a:cubicBezTo>
                        <a:pt x="988" y="448"/>
                        <a:pt x="988" y="448"/>
                        <a:pt x="988" y="448"/>
                      </a:cubicBezTo>
                      <a:cubicBezTo>
                        <a:pt x="989" y="447"/>
                        <a:pt x="989" y="447"/>
                        <a:pt x="989" y="447"/>
                      </a:cubicBezTo>
                      <a:cubicBezTo>
                        <a:pt x="991" y="446"/>
                        <a:pt x="991" y="446"/>
                        <a:pt x="991" y="446"/>
                      </a:cubicBezTo>
                      <a:cubicBezTo>
                        <a:pt x="991" y="447"/>
                        <a:pt x="991" y="447"/>
                        <a:pt x="991" y="447"/>
                      </a:cubicBezTo>
                      <a:cubicBezTo>
                        <a:pt x="992" y="446"/>
                        <a:pt x="992" y="446"/>
                        <a:pt x="992" y="446"/>
                      </a:cubicBezTo>
                      <a:cubicBezTo>
                        <a:pt x="995" y="446"/>
                        <a:pt x="995" y="446"/>
                        <a:pt x="995" y="446"/>
                      </a:cubicBezTo>
                      <a:cubicBezTo>
                        <a:pt x="994" y="447"/>
                        <a:pt x="994" y="447"/>
                        <a:pt x="994" y="447"/>
                      </a:cubicBezTo>
                      <a:cubicBezTo>
                        <a:pt x="993" y="449"/>
                        <a:pt x="993" y="449"/>
                        <a:pt x="993" y="449"/>
                      </a:cubicBezTo>
                      <a:cubicBezTo>
                        <a:pt x="993" y="451"/>
                        <a:pt x="993" y="451"/>
                        <a:pt x="993" y="451"/>
                      </a:cubicBezTo>
                      <a:cubicBezTo>
                        <a:pt x="992" y="451"/>
                        <a:pt x="992" y="451"/>
                        <a:pt x="992" y="451"/>
                      </a:cubicBezTo>
                      <a:cubicBezTo>
                        <a:pt x="990" y="453"/>
                        <a:pt x="990" y="453"/>
                        <a:pt x="990" y="453"/>
                      </a:cubicBezTo>
                      <a:cubicBezTo>
                        <a:pt x="991" y="454"/>
                        <a:pt x="991" y="454"/>
                        <a:pt x="991" y="454"/>
                      </a:cubicBezTo>
                      <a:cubicBezTo>
                        <a:pt x="995" y="453"/>
                        <a:pt x="995" y="453"/>
                        <a:pt x="995" y="453"/>
                      </a:cubicBezTo>
                      <a:cubicBezTo>
                        <a:pt x="998" y="452"/>
                        <a:pt x="998" y="452"/>
                        <a:pt x="998" y="452"/>
                      </a:cubicBezTo>
                      <a:cubicBezTo>
                        <a:pt x="998" y="449"/>
                        <a:pt x="998" y="449"/>
                        <a:pt x="998" y="449"/>
                      </a:cubicBezTo>
                      <a:cubicBezTo>
                        <a:pt x="998" y="447"/>
                        <a:pt x="998" y="447"/>
                        <a:pt x="998" y="447"/>
                      </a:cubicBezTo>
                      <a:cubicBezTo>
                        <a:pt x="999" y="445"/>
                        <a:pt x="999" y="445"/>
                        <a:pt x="999" y="445"/>
                      </a:cubicBezTo>
                      <a:cubicBezTo>
                        <a:pt x="1000" y="448"/>
                        <a:pt x="1000" y="448"/>
                        <a:pt x="1000" y="448"/>
                      </a:cubicBezTo>
                      <a:cubicBezTo>
                        <a:pt x="1000" y="451"/>
                        <a:pt x="1000" y="451"/>
                        <a:pt x="1000" y="451"/>
                      </a:cubicBezTo>
                      <a:cubicBezTo>
                        <a:pt x="1000" y="453"/>
                        <a:pt x="1000" y="453"/>
                        <a:pt x="1000" y="453"/>
                      </a:cubicBezTo>
                      <a:cubicBezTo>
                        <a:pt x="1001" y="452"/>
                        <a:pt x="1001" y="452"/>
                        <a:pt x="1001" y="452"/>
                      </a:cubicBezTo>
                      <a:cubicBezTo>
                        <a:pt x="1002" y="449"/>
                        <a:pt x="1002" y="449"/>
                        <a:pt x="1002" y="449"/>
                      </a:cubicBezTo>
                      <a:cubicBezTo>
                        <a:pt x="1001" y="446"/>
                        <a:pt x="1001" y="446"/>
                        <a:pt x="1001" y="446"/>
                      </a:cubicBezTo>
                      <a:cubicBezTo>
                        <a:pt x="1001" y="444"/>
                        <a:pt x="1001" y="444"/>
                        <a:pt x="1001" y="444"/>
                      </a:cubicBezTo>
                      <a:cubicBezTo>
                        <a:pt x="1000" y="443"/>
                        <a:pt x="1000" y="443"/>
                        <a:pt x="1000" y="443"/>
                      </a:cubicBezTo>
                      <a:cubicBezTo>
                        <a:pt x="999" y="439"/>
                        <a:pt x="999" y="439"/>
                        <a:pt x="999" y="439"/>
                      </a:cubicBezTo>
                      <a:cubicBezTo>
                        <a:pt x="1001" y="439"/>
                        <a:pt x="1001" y="439"/>
                        <a:pt x="1001" y="439"/>
                      </a:cubicBezTo>
                      <a:cubicBezTo>
                        <a:pt x="1003" y="440"/>
                        <a:pt x="1003" y="440"/>
                        <a:pt x="1003" y="440"/>
                      </a:cubicBezTo>
                      <a:cubicBezTo>
                        <a:pt x="1002" y="441"/>
                        <a:pt x="1002" y="441"/>
                        <a:pt x="1002" y="441"/>
                      </a:cubicBezTo>
                      <a:cubicBezTo>
                        <a:pt x="1003" y="442"/>
                        <a:pt x="1003" y="442"/>
                        <a:pt x="1003" y="442"/>
                      </a:cubicBezTo>
                      <a:cubicBezTo>
                        <a:pt x="1004" y="442"/>
                        <a:pt x="1004" y="442"/>
                        <a:pt x="1004" y="442"/>
                      </a:cubicBezTo>
                      <a:cubicBezTo>
                        <a:pt x="1005" y="441"/>
                        <a:pt x="1005" y="441"/>
                        <a:pt x="1005" y="441"/>
                      </a:cubicBezTo>
                      <a:cubicBezTo>
                        <a:pt x="1007" y="441"/>
                        <a:pt x="1007" y="441"/>
                        <a:pt x="1007" y="441"/>
                      </a:cubicBezTo>
                      <a:cubicBezTo>
                        <a:pt x="1009" y="439"/>
                        <a:pt x="1009" y="439"/>
                        <a:pt x="1009" y="439"/>
                      </a:cubicBezTo>
                      <a:cubicBezTo>
                        <a:pt x="1011" y="441"/>
                        <a:pt x="1011" y="441"/>
                        <a:pt x="1011" y="441"/>
                      </a:cubicBezTo>
                      <a:cubicBezTo>
                        <a:pt x="1014" y="441"/>
                        <a:pt x="1014" y="441"/>
                        <a:pt x="1014" y="441"/>
                      </a:cubicBezTo>
                      <a:cubicBezTo>
                        <a:pt x="1015" y="442"/>
                        <a:pt x="1015" y="442"/>
                        <a:pt x="1015" y="442"/>
                      </a:cubicBezTo>
                      <a:cubicBezTo>
                        <a:pt x="1016" y="445"/>
                        <a:pt x="1016" y="445"/>
                        <a:pt x="1016" y="445"/>
                      </a:cubicBezTo>
                      <a:cubicBezTo>
                        <a:pt x="1017" y="445"/>
                        <a:pt x="1017" y="445"/>
                        <a:pt x="1017" y="445"/>
                      </a:cubicBezTo>
                      <a:cubicBezTo>
                        <a:pt x="1020" y="446"/>
                        <a:pt x="1020" y="446"/>
                        <a:pt x="1020" y="446"/>
                      </a:cubicBezTo>
                      <a:cubicBezTo>
                        <a:pt x="1021" y="447"/>
                        <a:pt x="1021" y="447"/>
                        <a:pt x="1021" y="447"/>
                      </a:cubicBezTo>
                      <a:cubicBezTo>
                        <a:pt x="1025" y="449"/>
                        <a:pt x="1025" y="449"/>
                        <a:pt x="1025" y="449"/>
                      </a:cubicBezTo>
                      <a:cubicBezTo>
                        <a:pt x="1026" y="450"/>
                        <a:pt x="1026" y="450"/>
                        <a:pt x="1026" y="450"/>
                      </a:cubicBezTo>
                      <a:cubicBezTo>
                        <a:pt x="1027" y="450"/>
                        <a:pt x="1027" y="450"/>
                        <a:pt x="1027" y="450"/>
                      </a:cubicBezTo>
                      <a:cubicBezTo>
                        <a:pt x="1029" y="452"/>
                        <a:pt x="1029" y="452"/>
                        <a:pt x="1029" y="452"/>
                      </a:cubicBezTo>
                      <a:cubicBezTo>
                        <a:pt x="1030" y="452"/>
                        <a:pt x="1030" y="452"/>
                        <a:pt x="1030" y="452"/>
                      </a:cubicBezTo>
                      <a:cubicBezTo>
                        <a:pt x="1031" y="455"/>
                        <a:pt x="1031" y="455"/>
                        <a:pt x="1031" y="455"/>
                      </a:cubicBezTo>
                      <a:cubicBezTo>
                        <a:pt x="1030" y="457"/>
                        <a:pt x="1030" y="457"/>
                        <a:pt x="1030" y="457"/>
                      </a:cubicBezTo>
                      <a:cubicBezTo>
                        <a:pt x="1030" y="458"/>
                        <a:pt x="1030" y="458"/>
                        <a:pt x="1030" y="458"/>
                      </a:cubicBezTo>
                      <a:cubicBezTo>
                        <a:pt x="1029" y="459"/>
                        <a:pt x="1029" y="459"/>
                        <a:pt x="1029" y="459"/>
                      </a:cubicBezTo>
                      <a:cubicBezTo>
                        <a:pt x="1031" y="461"/>
                        <a:pt x="1031" y="461"/>
                        <a:pt x="1031" y="461"/>
                      </a:cubicBezTo>
                      <a:cubicBezTo>
                        <a:pt x="1032" y="461"/>
                        <a:pt x="1032" y="461"/>
                        <a:pt x="1032" y="461"/>
                      </a:cubicBezTo>
                      <a:cubicBezTo>
                        <a:pt x="1035" y="464"/>
                        <a:pt x="1035" y="464"/>
                        <a:pt x="1035" y="464"/>
                      </a:cubicBezTo>
                      <a:cubicBezTo>
                        <a:pt x="1035" y="466"/>
                        <a:pt x="1035" y="466"/>
                        <a:pt x="1035" y="466"/>
                      </a:cubicBezTo>
                      <a:cubicBezTo>
                        <a:pt x="1034" y="468"/>
                        <a:pt x="1034" y="468"/>
                        <a:pt x="1034" y="468"/>
                      </a:cubicBezTo>
                      <a:cubicBezTo>
                        <a:pt x="1034" y="470"/>
                        <a:pt x="1034" y="470"/>
                        <a:pt x="1034" y="470"/>
                      </a:cubicBezTo>
                      <a:cubicBezTo>
                        <a:pt x="1036" y="472"/>
                        <a:pt x="1036" y="472"/>
                        <a:pt x="1036" y="472"/>
                      </a:cubicBezTo>
                      <a:cubicBezTo>
                        <a:pt x="1037" y="472"/>
                        <a:pt x="1037" y="472"/>
                        <a:pt x="1037" y="472"/>
                      </a:cubicBezTo>
                      <a:cubicBezTo>
                        <a:pt x="1038" y="471"/>
                        <a:pt x="1038" y="471"/>
                        <a:pt x="1038" y="471"/>
                      </a:cubicBezTo>
                      <a:cubicBezTo>
                        <a:pt x="1039" y="473"/>
                        <a:pt x="1039" y="473"/>
                        <a:pt x="1039" y="473"/>
                      </a:cubicBezTo>
                      <a:cubicBezTo>
                        <a:pt x="1038" y="474"/>
                        <a:pt x="1038" y="474"/>
                        <a:pt x="1038" y="474"/>
                      </a:cubicBezTo>
                      <a:cubicBezTo>
                        <a:pt x="1038" y="476"/>
                        <a:pt x="1038" y="476"/>
                        <a:pt x="1038" y="476"/>
                      </a:cubicBezTo>
                      <a:cubicBezTo>
                        <a:pt x="1040" y="478"/>
                        <a:pt x="1040" y="478"/>
                        <a:pt x="1040" y="478"/>
                      </a:cubicBezTo>
                      <a:cubicBezTo>
                        <a:pt x="1039" y="479"/>
                        <a:pt x="1039" y="479"/>
                        <a:pt x="1039" y="479"/>
                      </a:cubicBezTo>
                      <a:cubicBezTo>
                        <a:pt x="1038" y="480"/>
                        <a:pt x="1038" y="480"/>
                        <a:pt x="1038" y="480"/>
                      </a:cubicBezTo>
                      <a:cubicBezTo>
                        <a:pt x="1039" y="482"/>
                        <a:pt x="1039" y="482"/>
                        <a:pt x="1039" y="482"/>
                      </a:cubicBezTo>
                      <a:cubicBezTo>
                        <a:pt x="1038" y="484"/>
                        <a:pt x="1038" y="484"/>
                        <a:pt x="1038" y="484"/>
                      </a:cubicBezTo>
                      <a:cubicBezTo>
                        <a:pt x="1039" y="484"/>
                        <a:pt x="1039" y="484"/>
                        <a:pt x="1039" y="484"/>
                      </a:cubicBezTo>
                      <a:cubicBezTo>
                        <a:pt x="1039" y="486"/>
                        <a:pt x="1039" y="486"/>
                        <a:pt x="1039" y="486"/>
                      </a:cubicBezTo>
                      <a:cubicBezTo>
                        <a:pt x="1038" y="487"/>
                        <a:pt x="1038" y="487"/>
                        <a:pt x="1038" y="487"/>
                      </a:cubicBezTo>
                      <a:cubicBezTo>
                        <a:pt x="1039" y="487"/>
                        <a:pt x="1039" y="487"/>
                        <a:pt x="1039" y="487"/>
                      </a:cubicBezTo>
                      <a:cubicBezTo>
                        <a:pt x="1038" y="489"/>
                        <a:pt x="1038" y="489"/>
                        <a:pt x="1038" y="489"/>
                      </a:cubicBezTo>
                      <a:cubicBezTo>
                        <a:pt x="1040" y="494"/>
                        <a:pt x="1040" y="494"/>
                        <a:pt x="1040" y="494"/>
                      </a:cubicBezTo>
                      <a:cubicBezTo>
                        <a:pt x="1039" y="495"/>
                        <a:pt x="1039" y="495"/>
                        <a:pt x="1039" y="495"/>
                      </a:cubicBezTo>
                      <a:cubicBezTo>
                        <a:pt x="1040" y="499"/>
                        <a:pt x="1040" y="499"/>
                        <a:pt x="1040" y="499"/>
                      </a:cubicBezTo>
                      <a:cubicBezTo>
                        <a:pt x="1040" y="500"/>
                        <a:pt x="1040" y="500"/>
                        <a:pt x="1040" y="500"/>
                      </a:cubicBezTo>
                      <a:cubicBezTo>
                        <a:pt x="1040" y="502"/>
                        <a:pt x="1040" y="502"/>
                        <a:pt x="1040" y="502"/>
                      </a:cubicBezTo>
                      <a:cubicBezTo>
                        <a:pt x="1042" y="508"/>
                        <a:pt x="1042" y="508"/>
                        <a:pt x="1042" y="508"/>
                      </a:cubicBezTo>
                      <a:cubicBezTo>
                        <a:pt x="1043" y="508"/>
                        <a:pt x="1043" y="508"/>
                        <a:pt x="1043" y="508"/>
                      </a:cubicBezTo>
                      <a:cubicBezTo>
                        <a:pt x="1045" y="507"/>
                        <a:pt x="1045" y="507"/>
                        <a:pt x="1045" y="507"/>
                      </a:cubicBezTo>
                      <a:cubicBezTo>
                        <a:pt x="1045" y="508"/>
                        <a:pt x="1045" y="508"/>
                        <a:pt x="1045" y="508"/>
                      </a:cubicBezTo>
                      <a:cubicBezTo>
                        <a:pt x="1044" y="511"/>
                        <a:pt x="1044" y="511"/>
                        <a:pt x="1044" y="511"/>
                      </a:cubicBezTo>
                      <a:cubicBezTo>
                        <a:pt x="1043" y="512"/>
                        <a:pt x="1043" y="512"/>
                        <a:pt x="1043" y="512"/>
                      </a:cubicBezTo>
                      <a:cubicBezTo>
                        <a:pt x="1044" y="513"/>
                        <a:pt x="1044" y="513"/>
                        <a:pt x="1044" y="513"/>
                      </a:cubicBezTo>
                      <a:cubicBezTo>
                        <a:pt x="1045" y="513"/>
                        <a:pt x="1045" y="513"/>
                        <a:pt x="1045" y="513"/>
                      </a:cubicBezTo>
                      <a:cubicBezTo>
                        <a:pt x="1048" y="516"/>
                        <a:pt x="1048" y="516"/>
                        <a:pt x="1048" y="516"/>
                      </a:cubicBezTo>
                      <a:cubicBezTo>
                        <a:pt x="1047" y="520"/>
                        <a:pt x="1047" y="520"/>
                        <a:pt x="1047" y="520"/>
                      </a:cubicBezTo>
                      <a:cubicBezTo>
                        <a:pt x="1048" y="521"/>
                        <a:pt x="1048" y="521"/>
                        <a:pt x="1048" y="521"/>
                      </a:cubicBezTo>
                      <a:cubicBezTo>
                        <a:pt x="1048" y="523"/>
                        <a:pt x="1048" y="523"/>
                        <a:pt x="1048" y="523"/>
                      </a:cubicBezTo>
                      <a:cubicBezTo>
                        <a:pt x="1048" y="527"/>
                        <a:pt x="1048" y="527"/>
                        <a:pt x="1048" y="527"/>
                      </a:cubicBezTo>
                      <a:cubicBezTo>
                        <a:pt x="1050" y="527"/>
                        <a:pt x="1050" y="527"/>
                        <a:pt x="1050" y="527"/>
                      </a:cubicBezTo>
                      <a:cubicBezTo>
                        <a:pt x="1050" y="530"/>
                        <a:pt x="1050" y="530"/>
                        <a:pt x="1050" y="530"/>
                      </a:cubicBezTo>
                      <a:cubicBezTo>
                        <a:pt x="1049" y="530"/>
                        <a:pt x="1049" y="530"/>
                        <a:pt x="1049" y="530"/>
                      </a:cubicBezTo>
                      <a:cubicBezTo>
                        <a:pt x="1049" y="533"/>
                        <a:pt x="1049" y="533"/>
                        <a:pt x="1049" y="533"/>
                      </a:cubicBezTo>
                      <a:cubicBezTo>
                        <a:pt x="1050" y="535"/>
                        <a:pt x="1050" y="535"/>
                        <a:pt x="1050" y="535"/>
                      </a:cubicBezTo>
                      <a:cubicBezTo>
                        <a:pt x="1050" y="538"/>
                        <a:pt x="1050" y="538"/>
                        <a:pt x="1050" y="538"/>
                      </a:cubicBezTo>
                      <a:cubicBezTo>
                        <a:pt x="1048" y="541"/>
                        <a:pt x="1048" y="541"/>
                        <a:pt x="1048" y="541"/>
                      </a:cubicBezTo>
                      <a:cubicBezTo>
                        <a:pt x="1047" y="544"/>
                        <a:pt x="1047" y="544"/>
                        <a:pt x="1047" y="544"/>
                      </a:cubicBezTo>
                      <a:cubicBezTo>
                        <a:pt x="1046" y="547"/>
                        <a:pt x="1046" y="547"/>
                        <a:pt x="1046" y="547"/>
                      </a:cubicBezTo>
                      <a:cubicBezTo>
                        <a:pt x="1047" y="550"/>
                        <a:pt x="1047" y="550"/>
                        <a:pt x="1047" y="550"/>
                      </a:cubicBezTo>
                      <a:cubicBezTo>
                        <a:pt x="1047" y="550"/>
                        <a:pt x="1047" y="550"/>
                        <a:pt x="1047" y="550"/>
                      </a:cubicBezTo>
                      <a:cubicBezTo>
                        <a:pt x="1047" y="553"/>
                        <a:pt x="1047" y="553"/>
                        <a:pt x="1047" y="553"/>
                      </a:cubicBezTo>
                      <a:cubicBezTo>
                        <a:pt x="1045" y="555"/>
                        <a:pt x="1045" y="555"/>
                        <a:pt x="1045" y="555"/>
                      </a:cubicBezTo>
                      <a:cubicBezTo>
                        <a:pt x="1045" y="558"/>
                        <a:pt x="1045" y="558"/>
                        <a:pt x="1045" y="558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45" y="563"/>
                        <a:pt x="1045" y="563"/>
                        <a:pt x="1045" y="563"/>
                      </a:cubicBezTo>
                      <a:cubicBezTo>
                        <a:pt x="1043" y="565"/>
                        <a:pt x="1043" y="565"/>
                        <a:pt x="1043" y="565"/>
                      </a:cubicBezTo>
                      <a:cubicBezTo>
                        <a:pt x="1044" y="569"/>
                        <a:pt x="1044" y="569"/>
                        <a:pt x="1044" y="569"/>
                      </a:cubicBezTo>
                      <a:cubicBezTo>
                        <a:pt x="1042" y="571"/>
                        <a:pt x="1042" y="571"/>
                        <a:pt x="1042" y="571"/>
                      </a:cubicBezTo>
                      <a:cubicBezTo>
                        <a:pt x="1043" y="574"/>
                        <a:pt x="1043" y="574"/>
                        <a:pt x="1043" y="574"/>
                      </a:cubicBezTo>
                      <a:cubicBezTo>
                        <a:pt x="1043" y="574"/>
                        <a:pt x="1043" y="574"/>
                        <a:pt x="1043" y="574"/>
                      </a:cubicBezTo>
                      <a:cubicBezTo>
                        <a:pt x="1043" y="576"/>
                        <a:pt x="1043" y="576"/>
                        <a:pt x="1043" y="576"/>
                      </a:cubicBezTo>
                      <a:cubicBezTo>
                        <a:pt x="1041" y="579"/>
                        <a:pt x="1041" y="579"/>
                        <a:pt x="1041" y="579"/>
                      </a:cubicBezTo>
                      <a:cubicBezTo>
                        <a:pt x="1041" y="581"/>
                        <a:pt x="1041" y="581"/>
                        <a:pt x="1041" y="581"/>
                      </a:cubicBezTo>
                      <a:cubicBezTo>
                        <a:pt x="1039" y="583"/>
                        <a:pt x="1039" y="583"/>
                        <a:pt x="1039" y="583"/>
                      </a:cubicBezTo>
                      <a:cubicBezTo>
                        <a:pt x="1038" y="585"/>
                        <a:pt x="1038" y="585"/>
                        <a:pt x="1038" y="585"/>
                      </a:cubicBezTo>
                      <a:cubicBezTo>
                        <a:pt x="1036" y="588"/>
                        <a:pt x="1036" y="588"/>
                        <a:pt x="1036" y="588"/>
                      </a:cubicBezTo>
                      <a:cubicBezTo>
                        <a:pt x="1035" y="596"/>
                        <a:pt x="1035" y="596"/>
                        <a:pt x="1035" y="596"/>
                      </a:cubicBezTo>
                      <a:cubicBezTo>
                        <a:pt x="1034" y="597"/>
                        <a:pt x="1034" y="597"/>
                        <a:pt x="1034" y="597"/>
                      </a:cubicBezTo>
                      <a:cubicBezTo>
                        <a:pt x="1033" y="599"/>
                        <a:pt x="1033" y="599"/>
                        <a:pt x="1033" y="599"/>
                      </a:cubicBezTo>
                      <a:cubicBezTo>
                        <a:pt x="1034" y="600"/>
                        <a:pt x="1034" y="600"/>
                        <a:pt x="1034" y="600"/>
                      </a:cubicBezTo>
                      <a:cubicBezTo>
                        <a:pt x="1034" y="601"/>
                        <a:pt x="1034" y="601"/>
                        <a:pt x="1034" y="601"/>
                      </a:cubicBezTo>
                      <a:cubicBezTo>
                        <a:pt x="1031" y="603"/>
                        <a:pt x="1031" y="603"/>
                        <a:pt x="1031" y="603"/>
                      </a:cubicBezTo>
                      <a:cubicBezTo>
                        <a:pt x="1031" y="605"/>
                        <a:pt x="1031" y="605"/>
                        <a:pt x="1031" y="605"/>
                      </a:cubicBezTo>
                      <a:cubicBezTo>
                        <a:pt x="1029" y="606"/>
                        <a:pt x="1029" y="606"/>
                        <a:pt x="1029" y="606"/>
                      </a:cubicBezTo>
                      <a:cubicBezTo>
                        <a:pt x="1029" y="609"/>
                        <a:pt x="1029" y="609"/>
                        <a:pt x="1029" y="609"/>
                      </a:cubicBezTo>
                      <a:cubicBezTo>
                        <a:pt x="1028" y="609"/>
                        <a:pt x="1028" y="609"/>
                        <a:pt x="1028" y="609"/>
                      </a:cubicBezTo>
                      <a:cubicBezTo>
                        <a:pt x="1029" y="611"/>
                        <a:pt x="1029" y="611"/>
                        <a:pt x="1029" y="611"/>
                      </a:cubicBezTo>
                      <a:cubicBezTo>
                        <a:pt x="1027" y="614"/>
                        <a:pt x="1027" y="614"/>
                        <a:pt x="1027" y="614"/>
                      </a:cubicBezTo>
                      <a:cubicBezTo>
                        <a:pt x="1027" y="614"/>
                        <a:pt x="1027" y="614"/>
                        <a:pt x="1027" y="614"/>
                      </a:cubicBezTo>
                      <a:cubicBezTo>
                        <a:pt x="1025" y="613"/>
                        <a:pt x="1025" y="613"/>
                        <a:pt x="1025" y="613"/>
                      </a:cubicBezTo>
                      <a:cubicBezTo>
                        <a:pt x="1026" y="615"/>
                        <a:pt x="1026" y="615"/>
                        <a:pt x="1026" y="615"/>
                      </a:cubicBezTo>
                      <a:cubicBezTo>
                        <a:pt x="1026" y="618"/>
                        <a:pt x="1026" y="618"/>
                        <a:pt x="1026" y="618"/>
                      </a:cubicBezTo>
                      <a:cubicBezTo>
                        <a:pt x="1024" y="619"/>
                        <a:pt x="1024" y="619"/>
                        <a:pt x="1024" y="619"/>
                      </a:cubicBezTo>
                      <a:cubicBezTo>
                        <a:pt x="1024" y="620"/>
                        <a:pt x="1024" y="620"/>
                        <a:pt x="1024" y="620"/>
                      </a:cubicBezTo>
                      <a:cubicBezTo>
                        <a:pt x="1021" y="624"/>
                        <a:pt x="1021" y="624"/>
                        <a:pt x="1021" y="624"/>
                      </a:cubicBezTo>
                      <a:cubicBezTo>
                        <a:pt x="1020" y="626"/>
                        <a:pt x="1020" y="626"/>
                        <a:pt x="1020" y="626"/>
                      </a:cubicBezTo>
                      <a:cubicBezTo>
                        <a:pt x="1018" y="626"/>
                        <a:pt x="1018" y="626"/>
                        <a:pt x="1018" y="626"/>
                      </a:cubicBezTo>
                      <a:cubicBezTo>
                        <a:pt x="1018" y="628"/>
                        <a:pt x="1018" y="628"/>
                        <a:pt x="1018" y="628"/>
                      </a:cubicBezTo>
                      <a:cubicBezTo>
                        <a:pt x="1015" y="628"/>
                        <a:pt x="1015" y="628"/>
                        <a:pt x="1015" y="628"/>
                      </a:cubicBezTo>
                      <a:cubicBezTo>
                        <a:pt x="1013" y="630"/>
                        <a:pt x="1013" y="630"/>
                        <a:pt x="1013" y="630"/>
                      </a:cubicBezTo>
                      <a:cubicBezTo>
                        <a:pt x="1012" y="629"/>
                        <a:pt x="1012" y="629"/>
                        <a:pt x="1012" y="629"/>
                      </a:cubicBezTo>
                      <a:cubicBezTo>
                        <a:pt x="1011" y="630"/>
                        <a:pt x="1011" y="630"/>
                        <a:pt x="1011" y="630"/>
                      </a:cubicBezTo>
                      <a:cubicBezTo>
                        <a:pt x="1008" y="628"/>
                        <a:pt x="1008" y="628"/>
                        <a:pt x="1008" y="628"/>
                      </a:cubicBezTo>
                      <a:cubicBezTo>
                        <a:pt x="1005" y="628"/>
                        <a:pt x="1005" y="628"/>
                        <a:pt x="1005" y="628"/>
                      </a:cubicBezTo>
                      <a:cubicBezTo>
                        <a:pt x="1005" y="624"/>
                        <a:pt x="1005" y="624"/>
                        <a:pt x="1005" y="624"/>
                      </a:cubicBezTo>
                      <a:cubicBezTo>
                        <a:pt x="1004" y="623"/>
                        <a:pt x="1004" y="623"/>
                        <a:pt x="1004" y="623"/>
                      </a:cubicBezTo>
                      <a:cubicBezTo>
                        <a:pt x="1001" y="624"/>
                        <a:pt x="1001" y="624"/>
                        <a:pt x="1001" y="624"/>
                      </a:cubicBezTo>
                      <a:cubicBezTo>
                        <a:pt x="999" y="623"/>
                        <a:pt x="999" y="623"/>
                        <a:pt x="999" y="623"/>
                      </a:cubicBezTo>
                      <a:cubicBezTo>
                        <a:pt x="999" y="624"/>
                        <a:pt x="999" y="624"/>
                        <a:pt x="999" y="624"/>
                      </a:cubicBezTo>
                      <a:cubicBezTo>
                        <a:pt x="999" y="626"/>
                        <a:pt x="999" y="626"/>
                        <a:pt x="999" y="626"/>
                      </a:cubicBezTo>
                      <a:cubicBezTo>
                        <a:pt x="997" y="627"/>
                        <a:pt x="997" y="627"/>
                        <a:pt x="997" y="627"/>
                      </a:cubicBezTo>
                      <a:cubicBezTo>
                        <a:pt x="997" y="631"/>
                        <a:pt x="997" y="631"/>
                        <a:pt x="997" y="631"/>
                      </a:cubicBezTo>
                      <a:cubicBezTo>
                        <a:pt x="995" y="631"/>
                        <a:pt x="995" y="631"/>
                        <a:pt x="995" y="631"/>
                      </a:cubicBezTo>
                      <a:cubicBezTo>
                        <a:pt x="995" y="635"/>
                        <a:pt x="995" y="635"/>
                        <a:pt x="995" y="635"/>
                      </a:cubicBezTo>
                      <a:cubicBezTo>
                        <a:pt x="994" y="634"/>
                        <a:pt x="994" y="634"/>
                        <a:pt x="994" y="634"/>
                      </a:cubicBezTo>
                      <a:cubicBezTo>
                        <a:pt x="991" y="634"/>
                        <a:pt x="991" y="634"/>
                        <a:pt x="991" y="634"/>
                      </a:cubicBezTo>
                      <a:cubicBezTo>
                        <a:pt x="991" y="637"/>
                        <a:pt x="991" y="637"/>
                        <a:pt x="991" y="637"/>
                      </a:cubicBezTo>
                      <a:cubicBezTo>
                        <a:pt x="990" y="637"/>
                        <a:pt x="990" y="637"/>
                        <a:pt x="990" y="637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2" name="Freeform 11">
                  <a:extLst>
                    <a:ext uri="{FF2B5EF4-FFF2-40B4-BE49-F238E27FC236}">
                      <a16:creationId xmlns:a16="http://schemas.microsoft.com/office/drawing/2014/main" xmlns="" id="{C4A22023-2B6E-4578-B20B-CB855CA32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0" y="1245"/>
                  <a:ext cx="21" cy="5"/>
                </a:xfrm>
                <a:custGeom>
                  <a:avLst/>
                  <a:gdLst>
                    <a:gd name="T0" fmla="*/ 21 w 21"/>
                    <a:gd name="T1" fmla="*/ 3 h 5"/>
                    <a:gd name="T2" fmla="*/ 18 w 21"/>
                    <a:gd name="T3" fmla="*/ 0 h 5"/>
                    <a:gd name="T4" fmla="*/ 0 w 21"/>
                    <a:gd name="T5" fmla="*/ 5 h 5"/>
                    <a:gd name="T6" fmla="*/ 21 w 21"/>
                    <a:gd name="T7" fmla="*/ 3 h 5"/>
                    <a:gd name="T8" fmla="*/ 21 w 21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5">
                      <a:moveTo>
                        <a:pt x="21" y="3"/>
                      </a:moveTo>
                      <a:lnTo>
                        <a:pt x="18" y="0"/>
                      </a:lnTo>
                      <a:lnTo>
                        <a:pt x="0" y="5"/>
                      </a:lnTo>
                      <a:lnTo>
                        <a:pt x="21" y="3"/>
                      </a:lnTo>
                      <a:lnTo>
                        <a:pt x="2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3" name="Freeform 12">
                  <a:extLst>
                    <a:ext uri="{FF2B5EF4-FFF2-40B4-BE49-F238E27FC236}">
                      <a16:creationId xmlns:a16="http://schemas.microsoft.com/office/drawing/2014/main" xmlns="" id="{6EAE6A7A-5F82-47F8-B79E-6A6C8F9F27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" y="1176"/>
                  <a:ext cx="5" cy="4"/>
                </a:xfrm>
                <a:custGeom>
                  <a:avLst/>
                  <a:gdLst>
                    <a:gd name="T0" fmla="*/ 0 w 5"/>
                    <a:gd name="T1" fmla="*/ 4 h 4"/>
                    <a:gd name="T2" fmla="*/ 2 w 5"/>
                    <a:gd name="T3" fmla="*/ 4 h 4"/>
                    <a:gd name="T4" fmla="*/ 4 w 5"/>
                    <a:gd name="T5" fmla="*/ 2 h 4"/>
                    <a:gd name="T6" fmla="*/ 5 w 5"/>
                    <a:gd name="T7" fmla="*/ 0 h 4"/>
                    <a:gd name="T8" fmla="*/ 2 w 5"/>
                    <a:gd name="T9" fmla="*/ 0 h 4"/>
                    <a:gd name="T10" fmla="*/ 0 w 5"/>
                    <a:gd name="T11" fmla="*/ 4 h 4"/>
                    <a:gd name="T12" fmla="*/ 0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4" name="Freeform 13">
                  <a:extLst>
                    <a:ext uri="{FF2B5EF4-FFF2-40B4-BE49-F238E27FC236}">
                      <a16:creationId xmlns:a16="http://schemas.microsoft.com/office/drawing/2014/main" xmlns="" id="{783A5290-16D3-4B1F-AF61-EB303E40A5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9" y="193"/>
                  <a:ext cx="40" cy="31"/>
                </a:xfrm>
                <a:custGeom>
                  <a:avLst/>
                  <a:gdLst>
                    <a:gd name="T0" fmla="*/ 23 w 40"/>
                    <a:gd name="T1" fmla="*/ 29 h 31"/>
                    <a:gd name="T2" fmla="*/ 21 w 40"/>
                    <a:gd name="T3" fmla="*/ 26 h 31"/>
                    <a:gd name="T4" fmla="*/ 19 w 40"/>
                    <a:gd name="T5" fmla="*/ 21 h 31"/>
                    <a:gd name="T6" fmla="*/ 18 w 40"/>
                    <a:gd name="T7" fmla="*/ 18 h 31"/>
                    <a:gd name="T8" fmla="*/ 16 w 40"/>
                    <a:gd name="T9" fmla="*/ 18 h 31"/>
                    <a:gd name="T10" fmla="*/ 14 w 40"/>
                    <a:gd name="T11" fmla="*/ 15 h 31"/>
                    <a:gd name="T12" fmla="*/ 18 w 40"/>
                    <a:gd name="T13" fmla="*/ 11 h 31"/>
                    <a:gd name="T14" fmla="*/ 21 w 40"/>
                    <a:gd name="T15" fmla="*/ 8 h 31"/>
                    <a:gd name="T16" fmla="*/ 26 w 40"/>
                    <a:gd name="T17" fmla="*/ 8 h 31"/>
                    <a:gd name="T18" fmla="*/ 27 w 40"/>
                    <a:gd name="T19" fmla="*/ 6 h 31"/>
                    <a:gd name="T20" fmla="*/ 29 w 40"/>
                    <a:gd name="T21" fmla="*/ 6 h 31"/>
                    <a:gd name="T22" fmla="*/ 31 w 40"/>
                    <a:gd name="T23" fmla="*/ 10 h 31"/>
                    <a:gd name="T24" fmla="*/ 34 w 40"/>
                    <a:gd name="T25" fmla="*/ 11 h 31"/>
                    <a:gd name="T26" fmla="*/ 37 w 40"/>
                    <a:gd name="T27" fmla="*/ 11 h 31"/>
                    <a:gd name="T28" fmla="*/ 39 w 40"/>
                    <a:gd name="T29" fmla="*/ 10 h 31"/>
                    <a:gd name="T30" fmla="*/ 40 w 40"/>
                    <a:gd name="T31" fmla="*/ 10 h 31"/>
                    <a:gd name="T32" fmla="*/ 39 w 40"/>
                    <a:gd name="T33" fmla="*/ 6 h 31"/>
                    <a:gd name="T34" fmla="*/ 34 w 40"/>
                    <a:gd name="T35" fmla="*/ 6 h 31"/>
                    <a:gd name="T36" fmla="*/ 26 w 40"/>
                    <a:gd name="T37" fmla="*/ 1 h 31"/>
                    <a:gd name="T38" fmla="*/ 19 w 40"/>
                    <a:gd name="T39" fmla="*/ 0 h 31"/>
                    <a:gd name="T40" fmla="*/ 14 w 40"/>
                    <a:gd name="T41" fmla="*/ 0 h 31"/>
                    <a:gd name="T42" fmla="*/ 9 w 40"/>
                    <a:gd name="T43" fmla="*/ 6 h 31"/>
                    <a:gd name="T44" fmla="*/ 6 w 40"/>
                    <a:gd name="T45" fmla="*/ 10 h 31"/>
                    <a:gd name="T46" fmla="*/ 3 w 40"/>
                    <a:gd name="T47" fmla="*/ 11 h 31"/>
                    <a:gd name="T48" fmla="*/ 0 w 40"/>
                    <a:gd name="T49" fmla="*/ 15 h 31"/>
                    <a:gd name="T50" fmla="*/ 0 w 40"/>
                    <a:gd name="T51" fmla="*/ 23 h 31"/>
                    <a:gd name="T52" fmla="*/ 1 w 40"/>
                    <a:gd name="T53" fmla="*/ 24 h 31"/>
                    <a:gd name="T54" fmla="*/ 6 w 40"/>
                    <a:gd name="T55" fmla="*/ 23 h 31"/>
                    <a:gd name="T56" fmla="*/ 9 w 40"/>
                    <a:gd name="T57" fmla="*/ 24 h 31"/>
                    <a:gd name="T58" fmla="*/ 9 w 40"/>
                    <a:gd name="T59" fmla="*/ 28 h 31"/>
                    <a:gd name="T60" fmla="*/ 13 w 40"/>
                    <a:gd name="T61" fmla="*/ 28 h 31"/>
                    <a:gd name="T62" fmla="*/ 13 w 40"/>
                    <a:gd name="T63" fmla="*/ 26 h 31"/>
                    <a:gd name="T64" fmla="*/ 13 w 40"/>
                    <a:gd name="T65" fmla="*/ 24 h 31"/>
                    <a:gd name="T66" fmla="*/ 16 w 40"/>
                    <a:gd name="T67" fmla="*/ 23 h 31"/>
                    <a:gd name="T68" fmla="*/ 18 w 40"/>
                    <a:gd name="T69" fmla="*/ 24 h 31"/>
                    <a:gd name="T70" fmla="*/ 19 w 40"/>
                    <a:gd name="T71" fmla="*/ 29 h 31"/>
                    <a:gd name="T72" fmla="*/ 21 w 40"/>
                    <a:gd name="T73" fmla="*/ 31 h 31"/>
                    <a:gd name="T74" fmla="*/ 23 w 40"/>
                    <a:gd name="T75" fmla="*/ 29 h 31"/>
                    <a:gd name="T76" fmla="*/ 23 w 40"/>
                    <a:gd name="T77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0" h="31">
                      <a:moveTo>
                        <a:pt x="23" y="29"/>
                      </a:moveTo>
                      <a:lnTo>
                        <a:pt x="21" y="26"/>
                      </a:lnTo>
                      <a:lnTo>
                        <a:pt x="19" y="21"/>
                      </a:lnTo>
                      <a:lnTo>
                        <a:pt x="18" y="18"/>
                      </a:lnTo>
                      <a:lnTo>
                        <a:pt x="16" y="18"/>
                      </a:lnTo>
                      <a:lnTo>
                        <a:pt x="14" y="15"/>
                      </a:lnTo>
                      <a:lnTo>
                        <a:pt x="18" y="11"/>
                      </a:lnTo>
                      <a:lnTo>
                        <a:pt x="21" y="8"/>
                      </a:lnTo>
                      <a:lnTo>
                        <a:pt x="26" y="8"/>
                      </a:lnTo>
                      <a:lnTo>
                        <a:pt x="27" y="6"/>
                      </a:lnTo>
                      <a:lnTo>
                        <a:pt x="29" y="6"/>
                      </a:lnTo>
                      <a:lnTo>
                        <a:pt x="31" y="10"/>
                      </a:lnTo>
                      <a:lnTo>
                        <a:pt x="34" y="11"/>
                      </a:lnTo>
                      <a:lnTo>
                        <a:pt x="37" y="11"/>
                      </a:lnTo>
                      <a:lnTo>
                        <a:pt x="39" y="10"/>
                      </a:lnTo>
                      <a:lnTo>
                        <a:pt x="40" y="10"/>
                      </a:lnTo>
                      <a:lnTo>
                        <a:pt x="39" y="6"/>
                      </a:lnTo>
                      <a:lnTo>
                        <a:pt x="34" y="6"/>
                      </a:lnTo>
                      <a:lnTo>
                        <a:pt x="26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9" y="6"/>
                      </a:lnTo>
                      <a:lnTo>
                        <a:pt x="6" y="10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6" y="23"/>
                      </a:lnTo>
                      <a:lnTo>
                        <a:pt x="9" y="24"/>
                      </a:lnTo>
                      <a:lnTo>
                        <a:pt x="9" y="28"/>
                      </a:lnTo>
                      <a:lnTo>
                        <a:pt x="13" y="28"/>
                      </a:lnTo>
                      <a:lnTo>
                        <a:pt x="13" y="26"/>
                      </a:lnTo>
                      <a:lnTo>
                        <a:pt x="13" y="24"/>
                      </a:lnTo>
                      <a:lnTo>
                        <a:pt x="16" y="23"/>
                      </a:lnTo>
                      <a:lnTo>
                        <a:pt x="18" y="24"/>
                      </a:lnTo>
                      <a:lnTo>
                        <a:pt x="19" y="29"/>
                      </a:lnTo>
                      <a:lnTo>
                        <a:pt x="21" y="31"/>
                      </a:lnTo>
                      <a:lnTo>
                        <a:pt x="23" y="29"/>
                      </a:lnTo>
                      <a:lnTo>
                        <a:pt x="23" y="2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5" name="Freeform 14">
                  <a:extLst>
                    <a:ext uri="{FF2B5EF4-FFF2-40B4-BE49-F238E27FC236}">
                      <a16:creationId xmlns:a16="http://schemas.microsoft.com/office/drawing/2014/main" xmlns="" id="{DE4599B6-F091-4492-8F4B-17C36A902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6" y="168"/>
                  <a:ext cx="7" cy="7"/>
                </a:xfrm>
                <a:custGeom>
                  <a:avLst/>
                  <a:gdLst>
                    <a:gd name="T0" fmla="*/ 0 w 4"/>
                    <a:gd name="T1" fmla="*/ 4 h 4"/>
                    <a:gd name="T2" fmla="*/ 0 w 4"/>
                    <a:gd name="T3" fmla="*/ 1 h 4"/>
                    <a:gd name="T4" fmla="*/ 2 w 4"/>
                    <a:gd name="T5" fmla="*/ 0 h 4"/>
                    <a:gd name="T6" fmla="*/ 2 w 4"/>
                    <a:gd name="T7" fmla="*/ 0 h 4"/>
                    <a:gd name="T8" fmla="*/ 3 w 4"/>
                    <a:gd name="T9" fmla="*/ 2 h 4"/>
                    <a:gd name="T10" fmla="*/ 4 w 4"/>
                    <a:gd name="T11" fmla="*/ 3 h 4"/>
                    <a:gd name="T12" fmla="*/ 3 w 4"/>
                    <a:gd name="T13" fmla="*/ 4 h 4"/>
                    <a:gd name="T14" fmla="*/ 1 w 4"/>
                    <a:gd name="T15" fmla="*/ 4 h 4"/>
                    <a:gd name="T16" fmla="*/ 0 w 4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0" y="4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4"/>
                        <a:pt x="0" y="4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6" name="Freeform 15">
                  <a:extLst>
                    <a:ext uri="{FF2B5EF4-FFF2-40B4-BE49-F238E27FC236}">
                      <a16:creationId xmlns:a16="http://schemas.microsoft.com/office/drawing/2014/main" xmlns="" id="{C277AAB9-6E36-41E4-A589-B4F71A5D8F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3" y="181"/>
                  <a:ext cx="43" cy="58"/>
                </a:xfrm>
                <a:custGeom>
                  <a:avLst/>
                  <a:gdLst>
                    <a:gd name="T0" fmla="*/ 18 w 43"/>
                    <a:gd name="T1" fmla="*/ 58 h 58"/>
                    <a:gd name="T2" fmla="*/ 21 w 43"/>
                    <a:gd name="T3" fmla="*/ 54 h 58"/>
                    <a:gd name="T4" fmla="*/ 21 w 43"/>
                    <a:gd name="T5" fmla="*/ 49 h 58"/>
                    <a:gd name="T6" fmla="*/ 25 w 43"/>
                    <a:gd name="T7" fmla="*/ 49 h 58"/>
                    <a:gd name="T8" fmla="*/ 25 w 43"/>
                    <a:gd name="T9" fmla="*/ 41 h 58"/>
                    <a:gd name="T10" fmla="*/ 23 w 43"/>
                    <a:gd name="T11" fmla="*/ 38 h 58"/>
                    <a:gd name="T12" fmla="*/ 28 w 43"/>
                    <a:gd name="T13" fmla="*/ 36 h 58"/>
                    <a:gd name="T14" fmla="*/ 34 w 43"/>
                    <a:gd name="T15" fmla="*/ 35 h 58"/>
                    <a:gd name="T16" fmla="*/ 33 w 43"/>
                    <a:gd name="T17" fmla="*/ 31 h 58"/>
                    <a:gd name="T18" fmla="*/ 30 w 43"/>
                    <a:gd name="T19" fmla="*/ 30 h 58"/>
                    <a:gd name="T20" fmla="*/ 30 w 43"/>
                    <a:gd name="T21" fmla="*/ 25 h 58"/>
                    <a:gd name="T22" fmla="*/ 33 w 43"/>
                    <a:gd name="T23" fmla="*/ 25 h 58"/>
                    <a:gd name="T24" fmla="*/ 34 w 43"/>
                    <a:gd name="T25" fmla="*/ 27 h 58"/>
                    <a:gd name="T26" fmla="*/ 39 w 43"/>
                    <a:gd name="T27" fmla="*/ 22 h 58"/>
                    <a:gd name="T28" fmla="*/ 43 w 43"/>
                    <a:gd name="T29" fmla="*/ 20 h 58"/>
                    <a:gd name="T30" fmla="*/ 41 w 43"/>
                    <a:gd name="T31" fmla="*/ 15 h 58"/>
                    <a:gd name="T32" fmla="*/ 36 w 43"/>
                    <a:gd name="T33" fmla="*/ 10 h 58"/>
                    <a:gd name="T34" fmla="*/ 31 w 43"/>
                    <a:gd name="T35" fmla="*/ 12 h 58"/>
                    <a:gd name="T36" fmla="*/ 28 w 43"/>
                    <a:gd name="T37" fmla="*/ 15 h 58"/>
                    <a:gd name="T38" fmla="*/ 28 w 43"/>
                    <a:gd name="T39" fmla="*/ 10 h 58"/>
                    <a:gd name="T40" fmla="*/ 33 w 43"/>
                    <a:gd name="T41" fmla="*/ 5 h 58"/>
                    <a:gd name="T42" fmla="*/ 31 w 43"/>
                    <a:gd name="T43" fmla="*/ 0 h 58"/>
                    <a:gd name="T44" fmla="*/ 26 w 43"/>
                    <a:gd name="T45" fmla="*/ 9 h 58"/>
                    <a:gd name="T46" fmla="*/ 25 w 43"/>
                    <a:gd name="T47" fmla="*/ 7 h 58"/>
                    <a:gd name="T48" fmla="*/ 25 w 43"/>
                    <a:gd name="T49" fmla="*/ 2 h 58"/>
                    <a:gd name="T50" fmla="*/ 23 w 43"/>
                    <a:gd name="T51" fmla="*/ 7 h 58"/>
                    <a:gd name="T52" fmla="*/ 20 w 43"/>
                    <a:gd name="T53" fmla="*/ 12 h 58"/>
                    <a:gd name="T54" fmla="*/ 23 w 43"/>
                    <a:gd name="T55" fmla="*/ 12 h 58"/>
                    <a:gd name="T56" fmla="*/ 25 w 43"/>
                    <a:gd name="T57" fmla="*/ 15 h 58"/>
                    <a:gd name="T58" fmla="*/ 20 w 43"/>
                    <a:gd name="T59" fmla="*/ 18 h 58"/>
                    <a:gd name="T60" fmla="*/ 20 w 43"/>
                    <a:gd name="T61" fmla="*/ 23 h 58"/>
                    <a:gd name="T62" fmla="*/ 15 w 43"/>
                    <a:gd name="T63" fmla="*/ 28 h 58"/>
                    <a:gd name="T64" fmla="*/ 10 w 43"/>
                    <a:gd name="T65" fmla="*/ 28 h 58"/>
                    <a:gd name="T66" fmla="*/ 3 w 43"/>
                    <a:gd name="T67" fmla="*/ 27 h 58"/>
                    <a:gd name="T68" fmla="*/ 0 w 43"/>
                    <a:gd name="T69" fmla="*/ 27 h 58"/>
                    <a:gd name="T70" fmla="*/ 0 w 43"/>
                    <a:gd name="T71" fmla="*/ 30 h 58"/>
                    <a:gd name="T72" fmla="*/ 2 w 43"/>
                    <a:gd name="T73" fmla="*/ 33 h 58"/>
                    <a:gd name="T74" fmla="*/ 7 w 43"/>
                    <a:gd name="T75" fmla="*/ 33 h 58"/>
                    <a:gd name="T76" fmla="*/ 10 w 43"/>
                    <a:gd name="T77" fmla="*/ 36 h 58"/>
                    <a:gd name="T78" fmla="*/ 10 w 43"/>
                    <a:gd name="T79" fmla="*/ 40 h 58"/>
                    <a:gd name="T80" fmla="*/ 3 w 43"/>
                    <a:gd name="T81" fmla="*/ 41 h 58"/>
                    <a:gd name="T82" fmla="*/ 5 w 43"/>
                    <a:gd name="T83" fmla="*/ 51 h 58"/>
                    <a:gd name="T84" fmla="*/ 5 w 43"/>
                    <a:gd name="T85" fmla="*/ 56 h 58"/>
                    <a:gd name="T86" fmla="*/ 10 w 43"/>
                    <a:gd name="T87" fmla="*/ 54 h 58"/>
                    <a:gd name="T88" fmla="*/ 12 w 43"/>
                    <a:gd name="T89" fmla="*/ 49 h 58"/>
                    <a:gd name="T90" fmla="*/ 16 w 43"/>
                    <a:gd name="T91" fmla="*/ 51 h 58"/>
                    <a:gd name="T92" fmla="*/ 16 w 43"/>
                    <a:gd name="T9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3" h="58">
                      <a:moveTo>
                        <a:pt x="16" y="58"/>
                      </a:moveTo>
                      <a:lnTo>
                        <a:pt x="18" y="58"/>
                      </a:lnTo>
                      <a:lnTo>
                        <a:pt x="20" y="56"/>
                      </a:lnTo>
                      <a:lnTo>
                        <a:pt x="21" y="54"/>
                      </a:lnTo>
                      <a:lnTo>
                        <a:pt x="21" y="51"/>
                      </a:lnTo>
                      <a:lnTo>
                        <a:pt x="21" y="49"/>
                      </a:lnTo>
                      <a:lnTo>
                        <a:pt x="23" y="51"/>
                      </a:lnTo>
                      <a:lnTo>
                        <a:pt x="25" y="49"/>
                      </a:lnTo>
                      <a:lnTo>
                        <a:pt x="26" y="46"/>
                      </a:lnTo>
                      <a:lnTo>
                        <a:pt x="25" y="41"/>
                      </a:lnTo>
                      <a:lnTo>
                        <a:pt x="23" y="38"/>
                      </a:lnTo>
                      <a:lnTo>
                        <a:pt x="23" y="38"/>
                      </a:lnTo>
                      <a:lnTo>
                        <a:pt x="26" y="36"/>
                      </a:lnTo>
                      <a:lnTo>
                        <a:pt x="28" y="36"/>
                      </a:lnTo>
                      <a:lnTo>
                        <a:pt x="33" y="35"/>
                      </a:lnTo>
                      <a:lnTo>
                        <a:pt x="34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0" y="30"/>
                      </a:lnTo>
                      <a:lnTo>
                        <a:pt x="30" y="28"/>
                      </a:lnTo>
                      <a:lnTo>
                        <a:pt x="30" y="25"/>
                      </a:lnTo>
                      <a:lnTo>
                        <a:pt x="31" y="25"/>
                      </a:lnTo>
                      <a:lnTo>
                        <a:pt x="33" y="25"/>
                      </a:lnTo>
                      <a:lnTo>
                        <a:pt x="33" y="25"/>
                      </a:lnTo>
                      <a:lnTo>
                        <a:pt x="34" y="27"/>
                      </a:lnTo>
                      <a:lnTo>
                        <a:pt x="36" y="25"/>
                      </a:lnTo>
                      <a:lnTo>
                        <a:pt x="39" y="22"/>
                      </a:lnTo>
                      <a:lnTo>
                        <a:pt x="43" y="20"/>
                      </a:lnTo>
                      <a:lnTo>
                        <a:pt x="43" y="20"/>
                      </a:lnTo>
                      <a:lnTo>
                        <a:pt x="41" y="17"/>
                      </a:lnTo>
                      <a:lnTo>
                        <a:pt x="41" y="15"/>
                      </a:lnTo>
                      <a:lnTo>
                        <a:pt x="38" y="12"/>
                      </a:lnTo>
                      <a:lnTo>
                        <a:pt x="36" y="10"/>
                      </a:lnTo>
                      <a:lnTo>
                        <a:pt x="34" y="10"/>
                      </a:lnTo>
                      <a:lnTo>
                        <a:pt x="31" y="12"/>
                      </a:lnTo>
                      <a:lnTo>
                        <a:pt x="30" y="15"/>
                      </a:lnTo>
                      <a:lnTo>
                        <a:pt x="28" y="15"/>
                      </a:lnTo>
                      <a:lnTo>
                        <a:pt x="28" y="13"/>
                      </a:lnTo>
                      <a:lnTo>
                        <a:pt x="28" y="10"/>
                      </a:lnTo>
                      <a:lnTo>
                        <a:pt x="31" y="9"/>
                      </a:lnTo>
                      <a:lnTo>
                        <a:pt x="33" y="5"/>
                      </a:lnTo>
                      <a:lnTo>
                        <a:pt x="33" y="0"/>
                      </a:lnTo>
                      <a:lnTo>
                        <a:pt x="31" y="0"/>
                      </a:lnTo>
                      <a:lnTo>
                        <a:pt x="28" y="4"/>
                      </a:lnTo>
                      <a:lnTo>
                        <a:pt x="26" y="9"/>
                      </a:lnTo>
                      <a:lnTo>
                        <a:pt x="26" y="9"/>
                      </a:lnTo>
                      <a:lnTo>
                        <a:pt x="25" y="7"/>
                      </a:lnTo>
                      <a:lnTo>
                        <a:pt x="26" y="4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3" y="7"/>
                      </a:lnTo>
                      <a:lnTo>
                        <a:pt x="20" y="9"/>
                      </a:lnTo>
                      <a:lnTo>
                        <a:pt x="20" y="12"/>
                      </a:lnTo>
                      <a:lnTo>
                        <a:pt x="21" y="12"/>
                      </a:lnTo>
                      <a:lnTo>
                        <a:pt x="23" y="12"/>
                      </a:lnTo>
                      <a:lnTo>
                        <a:pt x="25" y="12"/>
                      </a:lnTo>
                      <a:lnTo>
                        <a:pt x="25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1" y="22"/>
                      </a:lnTo>
                      <a:lnTo>
                        <a:pt x="20" y="23"/>
                      </a:lnTo>
                      <a:lnTo>
                        <a:pt x="16" y="23"/>
                      </a:lnTo>
                      <a:lnTo>
                        <a:pt x="15" y="28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7" y="28"/>
                      </a:lnTo>
                      <a:lnTo>
                        <a:pt x="3" y="27"/>
                      </a:lnTo>
                      <a:lnTo>
                        <a:pt x="2" y="25"/>
                      </a:lnTo>
                      <a:lnTo>
                        <a:pt x="0" y="27"/>
                      </a:lnTo>
                      <a:lnTo>
                        <a:pt x="0" y="28"/>
                      </a:lnTo>
                      <a:lnTo>
                        <a:pt x="0" y="30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5" y="31"/>
                      </a:lnTo>
                      <a:lnTo>
                        <a:pt x="7" y="33"/>
                      </a:lnTo>
                      <a:lnTo>
                        <a:pt x="7" y="36"/>
                      </a:lnTo>
                      <a:lnTo>
                        <a:pt x="10" y="36"/>
                      </a:lnTo>
                      <a:lnTo>
                        <a:pt x="12" y="38"/>
                      </a:lnTo>
                      <a:lnTo>
                        <a:pt x="10" y="40"/>
                      </a:lnTo>
                      <a:lnTo>
                        <a:pt x="5" y="40"/>
                      </a:lnTo>
                      <a:lnTo>
                        <a:pt x="3" y="41"/>
                      </a:lnTo>
                      <a:lnTo>
                        <a:pt x="3" y="49"/>
                      </a:lnTo>
                      <a:lnTo>
                        <a:pt x="5" y="51"/>
                      </a:lnTo>
                      <a:lnTo>
                        <a:pt x="5" y="54"/>
                      </a:lnTo>
                      <a:lnTo>
                        <a:pt x="5" y="56"/>
                      </a:lnTo>
                      <a:lnTo>
                        <a:pt x="8" y="54"/>
                      </a:lnTo>
                      <a:lnTo>
                        <a:pt x="10" y="54"/>
                      </a:lnTo>
                      <a:lnTo>
                        <a:pt x="12" y="53"/>
                      </a:lnTo>
                      <a:lnTo>
                        <a:pt x="12" y="49"/>
                      </a:lnTo>
                      <a:lnTo>
                        <a:pt x="13" y="49"/>
                      </a:lnTo>
                      <a:lnTo>
                        <a:pt x="16" y="51"/>
                      </a:lnTo>
                      <a:lnTo>
                        <a:pt x="16" y="58"/>
                      </a:lnTo>
                      <a:lnTo>
                        <a:pt x="16" y="5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7" name="Freeform 16">
                  <a:extLst>
                    <a:ext uri="{FF2B5EF4-FFF2-40B4-BE49-F238E27FC236}">
                      <a16:creationId xmlns:a16="http://schemas.microsoft.com/office/drawing/2014/main" xmlns="" id="{F56C8CB1-77A4-4837-89A3-3C7280D094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4" y="222"/>
                  <a:ext cx="8" cy="10"/>
                </a:xfrm>
                <a:custGeom>
                  <a:avLst/>
                  <a:gdLst>
                    <a:gd name="T0" fmla="*/ 7 w 8"/>
                    <a:gd name="T1" fmla="*/ 10 h 10"/>
                    <a:gd name="T2" fmla="*/ 7 w 8"/>
                    <a:gd name="T3" fmla="*/ 8 h 10"/>
                    <a:gd name="T4" fmla="*/ 8 w 8"/>
                    <a:gd name="T5" fmla="*/ 5 h 10"/>
                    <a:gd name="T6" fmla="*/ 8 w 8"/>
                    <a:gd name="T7" fmla="*/ 2 h 10"/>
                    <a:gd name="T8" fmla="*/ 5 w 8"/>
                    <a:gd name="T9" fmla="*/ 2 h 10"/>
                    <a:gd name="T10" fmla="*/ 2 w 8"/>
                    <a:gd name="T11" fmla="*/ 0 h 10"/>
                    <a:gd name="T12" fmla="*/ 2 w 8"/>
                    <a:gd name="T13" fmla="*/ 4 h 10"/>
                    <a:gd name="T14" fmla="*/ 0 w 8"/>
                    <a:gd name="T15" fmla="*/ 5 h 10"/>
                    <a:gd name="T16" fmla="*/ 2 w 8"/>
                    <a:gd name="T17" fmla="*/ 8 h 10"/>
                    <a:gd name="T18" fmla="*/ 7 w 8"/>
                    <a:gd name="T19" fmla="*/ 10 h 10"/>
                    <a:gd name="T20" fmla="*/ 7 w 8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10">
                      <a:moveTo>
                        <a:pt x="7" y="10"/>
                      </a:moveTo>
                      <a:lnTo>
                        <a:pt x="7" y="8"/>
                      </a:lnTo>
                      <a:lnTo>
                        <a:pt x="8" y="5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7" y="10"/>
                      </a:lnTo>
                      <a:lnTo>
                        <a:pt x="7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8" name="Freeform 17">
                  <a:extLst>
                    <a:ext uri="{FF2B5EF4-FFF2-40B4-BE49-F238E27FC236}">
                      <a16:creationId xmlns:a16="http://schemas.microsoft.com/office/drawing/2014/main" xmlns="" id="{1D0B33A9-6542-4E85-9906-2620C1819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1" y="226"/>
                  <a:ext cx="14" cy="16"/>
                </a:xfrm>
                <a:custGeom>
                  <a:avLst/>
                  <a:gdLst>
                    <a:gd name="T0" fmla="*/ 2 w 9"/>
                    <a:gd name="T1" fmla="*/ 10 h 10"/>
                    <a:gd name="T2" fmla="*/ 4 w 9"/>
                    <a:gd name="T3" fmla="*/ 9 h 10"/>
                    <a:gd name="T4" fmla="*/ 6 w 9"/>
                    <a:gd name="T5" fmla="*/ 9 h 10"/>
                    <a:gd name="T6" fmla="*/ 8 w 9"/>
                    <a:gd name="T7" fmla="*/ 9 h 10"/>
                    <a:gd name="T8" fmla="*/ 9 w 9"/>
                    <a:gd name="T9" fmla="*/ 7 h 10"/>
                    <a:gd name="T10" fmla="*/ 9 w 9"/>
                    <a:gd name="T11" fmla="*/ 6 h 10"/>
                    <a:gd name="T12" fmla="*/ 7 w 9"/>
                    <a:gd name="T13" fmla="*/ 6 h 10"/>
                    <a:gd name="T14" fmla="*/ 6 w 9"/>
                    <a:gd name="T15" fmla="*/ 4 h 10"/>
                    <a:gd name="T16" fmla="*/ 4 w 9"/>
                    <a:gd name="T17" fmla="*/ 0 h 10"/>
                    <a:gd name="T18" fmla="*/ 4 w 9"/>
                    <a:gd name="T19" fmla="*/ 1 h 10"/>
                    <a:gd name="T20" fmla="*/ 4 w 9"/>
                    <a:gd name="T21" fmla="*/ 5 h 10"/>
                    <a:gd name="T22" fmla="*/ 3 w 9"/>
                    <a:gd name="T23" fmla="*/ 6 h 10"/>
                    <a:gd name="T24" fmla="*/ 1 w 9"/>
                    <a:gd name="T25" fmla="*/ 6 h 10"/>
                    <a:gd name="T26" fmla="*/ 0 w 9"/>
                    <a:gd name="T27" fmla="*/ 6 h 10"/>
                    <a:gd name="T28" fmla="*/ 2 w 9"/>
                    <a:gd name="T29" fmla="*/ 8 h 10"/>
                    <a:gd name="T30" fmla="*/ 2 w 9"/>
                    <a:gd name="T3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3" y="10"/>
                        <a:pt x="4" y="9"/>
                        <a:pt x="4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9" name="Freeform 18">
                  <a:extLst>
                    <a:ext uri="{FF2B5EF4-FFF2-40B4-BE49-F238E27FC236}">
                      <a16:creationId xmlns:a16="http://schemas.microsoft.com/office/drawing/2014/main" xmlns="" id="{7C12E52A-2C50-4B60-9517-5426D6C2E5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2" y="116"/>
                  <a:ext cx="11" cy="11"/>
                </a:xfrm>
                <a:custGeom>
                  <a:avLst/>
                  <a:gdLst>
                    <a:gd name="T0" fmla="*/ 2 w 7"/>
                    <a:gd name="T1" fmla="*/ 7 h 7"/>
                    <a:gd name="T2" fmla="*/ 4 w 7"/>
                    <a:gd name="T3" fmla="*/ 5 h 7"/>
                    <a:gd name="T4" fmla="*/ 6 w 7"/>
                    <a:gd name="T5" fmla="*/ 5 h 7"/>
                    <a:gd name="T6" fmla="*/ 7 w 7"/>
                    <a:gd name="T7" fmla="*/ 4 h 7"/>
                    <a:gd name="T8" fmla="*/ 7 w 7"/>
                    <a:gd name="T9" fmla="*/ 4 h 7"/>
                    <a:gd name="T10" fmla="*/ 7 w 7"/>
                    <a:gd name="T11" fmla="*/ 3 h 7"/>
                    <a:gd name="T12" fmla="*/ 6 w 7"/>
                    <a:gd name="T13" fmla="*/ 0 h 7"/>
                    <a:gd name="T14" fmla="*/ 5 w 7"/>
                    <a:gd name="T15" fmla="*/ 0 h 7"/>
                    <a:gd name="T16" fmla="*/ 4 w 7"/>
                    <a:gd name="T17" fmla="*/ 0 h 7"/>
                    <a:gd name="T18" fmla="*/ 1 w 7"/>
                    <a:gd name="T19" fmla="*/ 1 h 7"/>
                    <a:gd name="T20" fmla="*/ 0 w 7"/>
                    <a:gd name="T21" fmla="*/ 2 h 7"/>
                    <a:gd name="T22" fmla="*/ 0 w 7"/>
                    <a:gd name="T23" fmla="*/ 3 h 7"/>
                    <a:gd name="T24" fmla="*/ 1 w 7"/>
                    <a:gd name="T25" fmla="*/ 4 h 7"/>
                    <a:gd name="T26" fmla="*/ 1 w 7"/>
                    <a:gd name="T27" fmla="*/ 5 h 7"/>
                    <a:gd name="T28" fmla="*/ 2 w 7"/>
                    <a:gd name="T2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2" y="7"/>
                        <a:pt x="2" y="7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0" name="Freeform 19">
                  <a:extLst>
                    <a:ext uri="{FF2B5EF4-FFF2-40B4-BE49-F238E27FC236}">
                      <a16:creationId xmlns:a16="http://schemas.microsoft.com/office/drawing/2014/main" xmlns="" id="{7CEDA166-AB65-4EB1-A471-9D971DE3DB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8" y="129"/>
                  <a:ext cx="2" cy="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0 w 2"/>
                    <a:gd name="T9" fmla="*/ 3 h 3"/>
                    <a:gd name="T10" fmla="*/ 0 w 2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1" name="Freeform 20">
                  <a:extLst>
                    <a:ext uri="{FF2B5EF4-FFF2-40B4-BE49-F238E27FC236}">
                      <a16:creationId xmlns:a16="http://schemas.microsoft.com/office/drawing/2014/main" xmlns="" id="{0CE706E4-293F-4C2B-A788-3E9AE49C90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8" y="134"/>
                  <a:ext cx="15" cy="10"/>
                </a:xfrm>
                <a:custGeom>
                  <a:avLst/>
                  <a:gdLst>
                    <a:gd name="T0" fmla="*/ 12 w 15"/>
                    <a:gd name="T1" fmla="*/ 8 h 10"/>
                    <a:gd name="T2" fmla="*/ 13 w 15"/>
                    <a:gd name="T3" fmla="*/ 7 h 10"/>
                    <a:gd name="T4" fmla="*/ 15 w 15"/>
                    <a:gd name="T5" fmla="*/ 5 h 10"/>
                    <a:gd name="T6" fmla="*/ 15 w 15"/>
                    <a:gd name="T7" fmla="*/ 3 h 10"/>
                    <a:gd name="T8" fmla="*/ 13 w 15"/>
                    <a:gd name="T9" fmla="*/ 2 h 10"/>
                    <a:gd name="T10" fmla="*/ 13 w 15"/>
                    <a:gd name="T11" fmla="*/ 3 h 10"/>
                    <a:gd name="T12" fmla="*/ 10 w 15"/>
                    <a:gd name="T13" fmla="*/ 3 h 10"/>
                    <a:gd name="T14" fmla="*/ 8 w 15"/>
                    <a:gd name="T15" fmla="*/ 2 h 10"/>
                    <a:gd name="T16" fmla="*/ 5 w 15"/>
                    <a:gd name="T17" fmla="*/ 0 h 10"/>
                    <a:gd name="T18" fmla="*/ 4 w 15"/>
                    <a:gd name="T19" fmla="*/ 2 h 10"/>
                    <a:gd name="T20" fmla="*/ 0 w 15"/>
                    <a:gd name="T21" fmla="*/ 5 h 10"/>
                    <a:gd name="T22" fmla="*/ 0 w 15"/>
                    <a:gd name="T23" fmla="*/ 7 h 10"/>
                    <a:gd name="T24" fmla="*/ 0 w 15"/>
                    <a:gd name="T25" fmla="*/ 8 h 10"/>
                    <a:gd name="T26" fmla="*/ 4 w 15"/>
                    <a:gd name="T27" fmla="*/ 10 h 10"/>
                    <a:gd name="T28" fmla="*/ 7 w 15"/>
                    <a:gd name="T29" fmla="*/ 8 h 10"/>
                    <a:gd name="T30" fmla="*/ 8 w 15"/>
                    <a:gd name="T31" fmla="*/ 10 h 10"/>
                    <a:gd name="T32" fmla="*/ 10 w 15"/>
                    <a:gd name="T33" fmla="*/ 10 h 10"/>
                    <a:gd name="T34" fmla="*/ 12 w 15"/>
                    <a:gd name="T35" fmla="*/ 8 h 10"/>
                    <a:gd name="T36" fmla="*/ 12 w 15"/>
                    <a:gd name="T37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10">
                      <a:moveTo>
                        <a:pt x="12" y="8"/>
                      </a:moveTo>
                      <a:lnTo>
                        <a:pt x="13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13" y="3"/>
                      </a:lnTo>
                      <a:lnTo>
                        <a:pt x="10" y="3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4" y="10"/>
                      </a:lnTo>
                      <a:lnTo>
                        <a:pt x="7" y="8"/>
                      </a:lnTo>
                      <a:lnTo>
                        <a:pt x="8" y="10"/>
                      </a:lnTo>
                      <a:lnTo>
                        <a:pt x="10" y="10"/>
                      </a:lnTo>
                      <a:lnTo>
                        <a:pt x="12" y="8"/>
                      </a:lnTo>
                      <a:lnTo>
                        <a:pt x="12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2" name="Freeform 21">
                  <a:extLst>
                    <a:ext uri="{FF2B5EF4-FFF2-40B4-BE49-F238E27FC236}">
                      <a16:creationId xmlns:a16="http://schemas.microsoft.com/office/drawing/2014/main" xmlns="" id="{3AAC19AA-398E-4D08-80F4-C26E5A5C23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6" y="137"/>
                  <a:ext cx="7" cy="7"/>
                </a:xfrm>
                <a:custGeom>
                  <a:avLst/>
                  <a:gdLst>
                    <a:gd name="T0" fmla="*/ 0 w 7"/>
                    <a:gd name="T1" fmla="*/ 7 h 7"/>
                    <a:gd name="T2" fmla="*/ 0 w 7"/>
                    <a:gd name="T3" fmla="*/ 2 h 7"/>
                    <a:gd name="T4" fmla="*/ 2 w 7"/>
                    <a:gd name="T5" fmla="*/ 0 h 7"/>
                    <a:gd name="T6" fmla="*/ 4 w 7"/>
                    <a:gd name="T7" fmla="*/ 0 h 7"/>
                    <a:gd name="T8" fmla="*/ 5 w 7"/>
                    <a:gd name="T9" fmla="*/ 2 h 7"/>
                    <a:gd name="T10" fmla="*/ 7 w 7"/>
                    <a:gd name="T11" fmla="*/ 4 h 7"/>
                    <a:gd name="T12" fmla="*/ 5 w 7"/>
                    <a:gd name="T13" fmla="*/ 5 h 7"/>
                    <a:gd name="T14" fmla="*/ 4 w 7"/>
                    <a:gd name="T15" fmla="*/ 7 h 7"/>
                    <a:gd name="T16" fmla="*/ 0 w 7"/>
                    <a:gd name="T17" fmla="*/ 7 h 7"/>
                    <a:gd name="T18" fmla="*/ 0 w 7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0" y="7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3" name="Freeform 22">
                  <a:extLst>
                    <a:ext uri="{FF2B5EF4-FFF2-40B4-BE49-F238E27FC236}">
                      <a16:creationId xmlns:a16="http://schemas.microsoft.com/office/drawing/2014/main" xmlns="" id="{55FCC55E-5A91-4009-8955-BF29627328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2" y="145"/>
                  <a:ext cx="19" cy="18"/>
                </a:xfrm>
                <a:custGeom>
                  <a:avLst/>
                  <a:gdLst>
                    <a:gd name="T0" fmla="*/ 8 w 12"/>
                    <a:gd name="T1" fmla="*/ 9 h 11"/>
                    <a:gd name="T2" fmla="*/ 10 w 12"/>
                    <a:gd name="T3" fmla="*/ 6 h 11"/>
                    <a:gd name="T4" fmla="*/ 11 w 12"/>
                    <a:gd name="T5" fmla="*/ 3 h 11"/>
                    <a:gd name="T6" fmla="*/ 12 w 12"/>
                    <a:gd name="T7" fmla="*/ 2 h 11"/>
                    <a:gd name="T8" fmla="*/ 12 w 12"/>
                    <a:gd name="T9" fmla="*/ 1 h 11"/>
                    <a:gd name="T10" fmla="*/ 11 w 12"/>
                    <a:gd name="T11" fmla="*/ 0 h 11"/>
                    <a:gd name="T12" fmla="*/ 9 w 12"/>
                    <a:gd name="T13" fmla="*/ 2 h 11"/>
                    <a:gd name="T14" fmla="*/ 7 w 12"/>
                    <a:gd name="T15" fmla="*/ 1 h 11"/>
                    <a:gd name="T16" fmla="*/ 4 w 12"/>
                    <a:gd name="T17" fmla="*/ 1 h 11"/>
                    <a:gd name="T18" fmla="*/ 4 w 12"/>
                    <a:gd name="T19" fmla="*/ 2 h 11"/>
                    <a:gd name="T20" fmla="*/ 3 w 12"/>
                    <a:gd name="T21" fmla="*/ 4 h 11"/>
                    <a:gd name="T22" fmla="*/ 4 w 12"/>
                    <a:gd name="T23" fmla="*/ 4 h 11"/>
                    <a:gd name="T24" fmla="*/ 5 w 12"/>
                    <a:gd name="T25" fmla="*/ 4 h 11"/>
                    <a:gd name="T26" fmla="*/ 6 w 12"/>
                    <a:gd name="T27" fmla="*/ 6 h 11"/>
                    <a:gd name="T28" fmla="*/ 6 w 12"/>
                    <a:gd name="T29" fmla="*/ 7 h 11"/>
                    <a:gd name="T30" fmla="*/ 4 w 12"/>
                    <a:gd name="T31" fmla="*/ 8 h 11"/>
                    <a:gd name="T32" fmla="*/ 1 w 12"/>
                    <a:gd name="T33" fmla="*/ 9 h 11"/>
                    <a:gd name="T34" fmla="*/ 0 w 12"/>
                    <a:gd name="T35" fmla="*/ 10 h 11"/>
                    <a:gd name="T36" fmla="*/ 1 w 12"/>
                    <a:gd name="T37" fmla="*/ 11 h 11"/>
                    <a:gd name="T38" fmla="*/ 3 w 12"/>
                    <a:gd name="T39" fmla="*/ 11 h 11"/>
                    <a:gd name="T40" fmla="*/ 5 w 12"/>
                    <a:gd name="T41" fmla="*/ 10 h 11"/>
                    <a:gd name="T42" fmla="*/ 8 w 12"/>
                    <a:gd name="T43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" h="11">
                      <a:moveTo>
                        <a:pt x="8" y="9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9" y="2"/>
                        <a:pt x="9" y="2"/>
                        <a:pt x="9" y="2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5" y="10"/>
                        <a:pt x="7" y="9"/>
                        <a:pt x="8" y="9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4" name="Freeform 23">
                  <a:extLst>
                    <a:ext uri="{FF2B5EF4-FFF2-40B4-BE49-F238E27FC236}">
                      <a16:creationId xmlns:a16="http://schemas.microsoft.com/office/drawing/2014/main" xmlns="" id="{D7A58734-FB5B-4BAF-B0E5-17CA2F0DE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6" y="154"/>
                  <a:ext cx="9" cy="8"/>
                </a:xfrm>
                <a:custGeom>
                  <a:avLst/>
                  <a:gdLst>
                    <a:gd name="T0" fmla="*/ 7 w 9"/>
                    <a:gd name="T1" fmla="*/ 6 h 8"/>
                    <a:gd name="T2" fmla="*/ 4 w 9"/>
                    <a:gd name="T3" fmla="*/ 6 h 8"/>
                    <a:gd name="T4" fmla="*/ 2 w 9"/>
                    <a:gd name="T5" fmla="*/ 8 h 8"/>
                    <a:gd name="T6" fmla="*/ 0 w 9"/>
                    <a:gd name="T7" fmla="*/ 6 h 8"/>
                    <a:gd name="T8" fmla="*/ 2 w 9"/>
                    <a:gd name="T9" fmla="*/ 3 h 8"/>
                    <a:gd name="T10" fmla="*/ 5 w 9"/>
                    <a:gd name="T11" fmla="*/ 1 h 8"/>
                    <a:gd name="T12" fmla="*/ 5 w 9"/>
                    <a:gd name="T13" fmla="*/ 0 h 8"/>
                    <a:gd name="T14" fmla="*/ 9 w 9"/>
                    <a:gd name="T15" fmla="*/ 3 h 8"/>
                    <a:gd name="T16" fmla="*/ 7 w 9"/>
                    <a:gd name="T17" fmla="*/ 5 h 8"/>
                    <a:gd name="T18" fmla="*/ 7 w 9"/>
                    <a:gd name="T19" fmla="*/ 6 h 8"/>
                    <a:gd name="T20" fmla="*/ 7 w 9"/>
                    <a:gd name="T21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8">
                      <a:moveTo>
                        <a:pt x="7" y="6"/>
                      </a:move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5" name="Freeform 24">
                  <a:extLst>
                    <a:ext uri="{FF2B5EF4-FFF2-40B4-BE49-F238E27FC236}">
                      <a16:creationId xmlns:a16="http://schemas.microsoft.com/office/drawing/2014/main" xmlns="" id="{F532D937-6396-467D-B681-2EC2A729A5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6" y="159"/>
                  <a:ext cx="10" cy="8"/>
                </a:xfrm>
                <a:custGeom>
                  <a:avLst/>
                  <a:gdLst>
                    <a:gd name="T0" fmla="*/ 7 w 10"/>
                    <a:gd name="T1" fmla="*/ 8 h 8"/>
                    <a:gd name="T2" fmla="*/ 2 w 10"/>
                    <a:gd name="T3" fmla="*/ 4 h 8"/>
                    <a:gd name="T4" fmla="*/ 0 w 10"/>
                    <a:gd name="T5" fmla="*/ 1 h 8"/>
                    <a:gd name="T6" fmla="*/ 2 w 10"/>
                    <a:gd name="T7" fmla="*/ 0 h 8"/>
                    <a:gd name="T8" fmla="*/ 4 w 10"/>
                    <a:gd name="T9" fmla="*/ 0 h 8"/>
                    <a:gd name="T10" fmla="*/ 4 w 10"/>
                    <a:gd name="T11" fmla="*/ 1 h 8"/>
                    <a:gd name="T12" fmla="*/ 7 w 10"/>
                    <a:gd name="T13" fmla="*/ 1 h 8"/>
                    <a:gd name="T14" fmla="*/ 10 w 10"/>
                    <a:gd name="T15" fmla="*/ 4 h 8"/>
                    <a:gd name="T16" fmla="*/ 10 w 10"/>
                    <a:gd name="T17" fmla="*/ 6 h 8"/>
                    <a:gd name="T18" fmla="*/ 7 w 10"/>
                    <a:gd name="T19" fmla="*/ 8 h 8"/>
                    <a:gd name="T20" fmla="*/ 7 w 10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8">
                      <a:moveTo>
                        <a:pt x="7" y="8"/>
                      </a:move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7" y="1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7" y="8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6" name="Freeform 25">
                  <a:extLst>
                    <a:ext uri="{FF2B5EF4-FFF2-40B4-BE49-F238E27FC236}">
                      <a16:creationId xmlns:a16="http://schemas.microsoft.com/office/drawing/2014/main" xmlns="" id="{858C7FF0-8232-4FA0-9338-AA01B06CC7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0" y="163"/>
                  <a:ext cx="21" cy="13"/>
                </a:xfrm>
                <a:custGeom>
                  <a:avLst/>
                  <a:gdLst>
                    <a:gd name="T0" fmla="*/ 18 w 21"/>
                    <a:gd name="T1" fmla="*/ 13 h 13"/>
                    <a:gd name="T2" fmla="*/ 16 w 21"/>
                    <a:gd name="T3" fmla="*/ 10 h 13"/>
                    <a:gd name="T4" fmla="*/ 10 w 21"/>
                    <a:gd name="T5" fmla="*/ 5 h 13"/>
                    <a:gd name="T6" fmla="*/ 5 w 21"/>
                    <a:gd name="T7" fmla="*/ 4 h 13"/>
                    <a:gd name="T8" fmla="*/ 2 w 21"/>
                    <a:gd name="T9" fmla="*/ 4 h 13"/>
                    <a:gd name="T10" fmla="*/ 0 w 21"/>
                    <a:gd name="T11" fmla="*/ 2 h 13"/>
                    <a:gd name="T12" fmla="*/ 0 w 21"/>
                    <a:gd name="T13" fmla="*/ 0 h 13"/>
                    <a:gd name="T14" fmla="*/ 3 w 21"/>
                    <a:gd name="T15" fmla="*/ 0 h 13"/>
                    <a:gd name="T16" fmla="*/ 8 w 21"/>
                    <a:gd name="T17" fmla="*/ 0 h 13"/>
                    <a:gd name="T18" fmla="*/ 13 w 21"/>
                    <a:gd name="T19" fmla="*/ 2 h 13"/>
                    <a:gd name="T20" fmla="*/ 18 w 21"/>
                    <a:gd name="T21" fmla="*/ 7 h 13"/>
                    <a:gd name="T22" fmla="*/ 20 w 21"/>
                    <a:gd name="T23" fmla="*/ 7 h 13"/>
                    <a:gd name="T24" fmla="*/ 21 w 21"/>
                    <a:gd name="T25" fmla="*/ 5 h 13"/>
                    <a:gd name="T26" fmla="*/ 21 w 21"/>
                    <a:gd name="T27" fmla="*/ 5 h 13"/>
                    <a:gd name="T28" fmla="*/ 21 w 21"/>
                    <a:gd name="T29" fmla="*/ 9 h 13"/>
                    <a:gd name="T30" fmla="*/ 20 w 21"/>
                    <a:gd name="T31" fmla="*/ 12 h 13"/>
                    <a:gd name="T32" fmla="*/ 18 w 21"/>
                    <a:gd name="T33" fmla="*/ 13 h 13"/>
                    <a:gd name="T34" fmla="*/ 18 w 21"/>
                    <a:gd name="T35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1" h="13">
                      <a:moveTo>
                        <a:pt x="18" y="13"/>
                      </a:moveTo>
                      <a:lnTo>
                        <a:pt x="16" y="10"/>
                      </a:lnTo>
                      <a:lnTo>
                        <a:pt x="10" y="5"/>
                      </a:lnTo>
                      <a:lnTo>
                        <a:pt x="5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8" y="0"/>
                      </a:lnTo>
                      <a:lnTo>
                        <a:pt x="13" y="2"/>
                      </a:lnTo>
                      <a:lnTo>
                        <a:pt x="18" y="7"/>
                      </a:lnTo>
                      <a:lnTo>
                        <a:pt x="20" y="7"/>
                      </a:lnTo>
                      <a:lnTo>
                        <a:pt x="21" y="5"/>
                      </a:lnTo>
                      <a:lnTo>
                        <a:pt x="21" y="5"/>
                      </a:lnTo>
                      <a:lnTo>
                        <a:pt x="21" y="9"/>
                      </a:lnTo>
                      <a:lnTo>
                        <a:pt x="20" y="12"/>
                      </a:lnTo>
                      <a:lnTo>
                        <a:pt x="18" y="13"/>
                      </a:lnTo>
                      <a:lnTo>
                        <a:pt x="18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7" name="Freeform 26">
                  <a:extLst>
                    <a:ext uri="{FF2B5EF4-FFF2-40B4-BE49-F238E27FC236}">
                      <a16:creationId xmlns:a16="http://schemas.microsoft.com/office/drawing/2014/main" xmlns="" id="{5C2ABFFD-38F0-4938-97E8-8A0E940FB8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" y="168"/>
                  <a:ext cx="36" cy="18"/>
                </a:xfrm>
                <a:custGeom>
                  <a:avLst/>
                  <a:gdLst>
                    <a:gd name="T0" fmla="*/ 35 w 36"/>
                    <a:gd name="T1" fmla="*/ 17 h 18"/>
                    <a:gd name="T2" fmla="*/ 36 w 36"/>
                    <a:gd name="T3" fmla="*/ 12 h 18"/>
                    <a:gd name="T4" fmla="*/ 35 w 36"/>
                    <a:gd name="T5" fmla="*/ 8 h 18"/>
                    <a:gd name="T6" fmla="*/ 31 w 36"/>
                    <a:gd name="T7" fmla="*/ 8 h 18"/>
                    <a:gd name="T8" fmla="*/ 26 w 36"/>
                    <a:gd name="T9" fmla="*/ 7 h 18"/>
                    <a:gd name="T10" fmla="*/ 21 w 36"/>
                    <a:gd name="T11" fmla="*/ 4 h 18"/>
                    <a:gd name="T12" fmla="*/ 20 w 36"/>
                    <a:gd name="T13" fmla="*/ 4 h 18"/>
                    <a:gd name="T14" fmla="*/ 18 w 36"/>
                    <a:gd name="T15" fmla="*/ 2 h 18"/>
                    <a:gd name="T16" fmla="*/ 13 w 36"/>
                    <a:gd name="T17" fmla="*/ 2 h 18"/>
                    <a:gd name="T18" fmla="*/ 12 w 36"/>
                    <a:gd name="T19" fmla="*/ 0 h 18"/>
                    <a:gd name="T20" fmla="*/ 3 w 36"/>
                    <a:gd name="T21" fmla="*/ 0 h 18"/>
                    <a:gd name="T22" fmla="*/ 0 w 36"/>
                    <a:gd name="T23" fmla="*/ 2 h 18"/>
                    <a:gd name="T24" fmla="*/ 0 w 36"/>
                    <a:gd name="T25" fmla="*/ 5 h 18"/>
                    <a:gd name="T26" fmla="*/ 0 w 36"/>
                    <a:gd name="T27" fmla="*/ 5 h 18"/>
                    <a:gd name="T28" fmla="*/ 3 w 36"/>
                    <a:gd name="T29" fmla="*/ 7 h 18"/>
                    <a:gd name="T30" fmla="*/ 7 w 36"/>
                    <a:gd name="T31" fmla="*/ 8 h 18"/>
                    <a:gd name="T32" fmla="*/ 8 w 36"/>
                    <a:gd name="T33" fmla="*/ 7 h 18"/>
                    <a:gd name="T34" fmla="*/ 10 w 36"/>
                    <a:gd name="T35" fmla="*/ 7 h 18"/>
                    <a:gd name="T36" fmla="*/ 13 w 36"/>
                    <a:gd name="T37" fmla="*/ 8 h 18"/>
                    <a:gd name="T38" fmla="*/ 13 w 36"/>
                    <a:gd name="T39" fmla="*/ 12 h 18"/>
                    <a:gd name="T40" fmla="*/ 17 w 36"/>
                    <a:gd name="T41" fmla="*/ 12 h 18"/>
                    <a:gd name="T42" fmla="*/ 18 w 36"/>
                    <a:gd name="T43" fmla="*/ 12 h 18"/>
                    <a:gd name="T44" fmla="*/ 20 w 36"/>
                    <a:gd name="T45" fmla="*/ 15 h 18"/>
                    <a:gd name="T46" fmla="*/ 23 w 36"/>
                    <a:gd name="T47" fmla="*/ 15 h 18"/>
                    <a:gd name="T48" fmla="*/ 26 w 36"/>
                    <a:gd name="T49" fmla="*/ 15 h 18"/>
                    <a:gd name="T50" fmla="*/ 31 w 36"/>
                    <a:gd name="T51" fmla="*/ 17 h 18"/>
                    <a:gd name="T52" fmla="*/ 35 w 36"/>
                    <a:gd name="T53" fmla="*/ 18 h 18"/>
                    <a:gd name="T54" fmla="*/ 35 w 36"/>
                    <a:gd name="T55" fmla="*/ 17 h 18"/>
                    <a:gd name="T56" fmla="*/ 35 w 36"/>
                    <a:gd name="T57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6" h="18">
                      <a:moveTo>
                        <a:pt x="35" y="17"/>
                      </a:moveTo>
                      <a:lnTo>
                        <a:pt x="36" y="12"/>
                      </a:lnTo>
                      <a:lnTo>
                        <a:pt x="35" y="8"/>
                      </a:lnTo>
                      <a:lnTo>
                        <a:pt x="31" y="8"/>
                      </a:lnTo>
                      <a:lnTo>
                        <a:pt x="26" y="7"/>
                      </a:lnTo>
                      <a:lnTo>
                        <a:pt x="21" y="4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7" y="8"/>
                      </a:lnTo>
                      <a:lnTo>
                        <a:pt x="8" y="7"/>
                      </a:lnTo>
                      <a:lnTo>
                        <a:pt x="10" y="7"/>
                      </a:lnTo>
                      <a:lnTo>
                        <a:pt x="13" y="8"/>
                      </a:lnTo>
                      <a:lnTo>
                        <a:pt x="13" y="12"/>
                      </a:lnTo>
                      <a:lnTo>
                        <a:pt x="17" y="12"/>
                      </a:lnTo>
                      <a:lnTo>
                        <a:pt x="18" y="12"/>
                      </a:lnTo>
                      <a:lnTo>
                        <a:pt x="20" y="15"/>
                      </a:lnTo>
                      <a:lnTo>
                        <a:pt x="23" y="15"/>
                      </a:lnTo>
                      <a:lnTo>
                        <a:pt x="26" y="15"/>
                      </a:lnTo>
                      <a:lnTo>
                        <a:pt x="31" y="17"/>
                      </a:lnTo>
                      <a:lnTo>
                        <a:pt x="35" y="18"/>
                      </a:lnTo>
                      <a:lnTo>
                        <a:pt x="35" y="17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8" name="Freeform 27">
                  <a:extLst>
                    <a:ext uri="{FF2B5EF4-FFF2-40B4-BE49-F238E27FC236}">
                      <a16:creationId xmlns:a16="http://schemas.microsoft.com/office/drawing/2014/main" xmlns="" id="{85C72707-8B82-4808-AA8A-780BBFCC25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7" y="181"/>
                  <a:ext cx="18" cy="10"/>
                </a:xfrm>
                <a:custGeom>
                  <a:avLst/>
                  <a:gdLst>
                    <a:gd name="T0" fmla="*/ 6 w 11"/>
                    <a:gd name="T1" fmla="*/ 5 h 6"/>
                    <a:gd name="T2" fmla="*/ 5 w 11"/>
                    <a:gd name="T3" fmla="*/ 5 h 6"/>
                    <a:gd name="T4" fmla="*/ 4 w 11"/>
                    <a:gd name="T5" fmla="*/ 4 h 6"/>
                    <a:gd name="T6" fmla="*/ 2 w 11"/>
                    <a:gd name="T7" fmla="*/ 4 h 6"/>
                    <a:gd name="T8" fmla="*/ 1 w 11"/>
                    <a:gd name="T9" fmla="*/ 3 h 6"/>
                    <a:gd name="T10" fmla="*/ 0 w 11"/>
                    <a:gd name="T11" fmla="*/ 2 h 6"/>
                    <a:gd name="T12" fmla="*/ 2 w 11"/>
                    <a:gd name="T13" fmla="*/ 1 h 6"/>
                    <a:gd name="T14" fmla="*/ 4 w 11"/>
                    <a:gd name="T15" fmla="*/ 0 h 6"/>
                    <a:gd name="T16" fmla="*/ 6 w 11"/>
                    <a:gd name="T17" fmla="*/ 1 h 6"/>
                    <a:gd name="T18" fmla="*/ 7 w 11"/>
                    <a:gd name="T19" fmla="*/ 0 h 6"/>
                    <a:gd name="T20" fmla="*/ 8 w 11"/>
                    <a:gd name="T21" fmla="*/ 2 h 6"/>
                    <a:gd name="T22" fmla="*/ 9 w 11"/>
                    <a:gd name="T23" fmla="*/ 2 h 6"/>
                    <a:gd name="T24" fmla="*/ 9 w 11"/>
                    <a:gd name="T25" fmla="*/ 1 h 6"/>
                    <a:gd name="T26" fmla="*/ 10 w 11"/>
                    <a:gd name="T27" fmla="*/ 2 h 6"/>
                    <a:gd name="T28" fmla="*/ 11 w 11"/>
                    <a:gd name="T29" fmla="*/ 3 h 6"/>
                    <a:gd name="T30" fmla="*/ 10 w 11"/>
                    <a:gd name="T31" fmla="*/ 4 h 6"/>
                    <a:gd name="T32" fmla="*/ 6 w 11"/>
                    <a:gd name="T3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6">
                      <a:moveTo>
                        <a:pt x="6" y="5"/>
                      </a:moveTo>
                      <a:cubicBezTo>
                        <a:pt x="6" y="6"/>
                        <a:pt x="5" y="5"/>
                        <a:pt x="5" y="5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9" y="2"/>
                        <a:pt x="9" y="2"/>
                        <a:pt x="9" y="2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9" name="Freeform 28">
                  <a:extLst>
                    <a:ext uri="{FF2B5EF4-FFF2-40B4-BE49-F238E27FC236}">
                      <a16:creationId xmlns:a16="http://schemas.microsoft.com/office/drawing/2014/main" xmlns="" id="{0A93F3F8-73FC-4EFC-B46F-F98C5AABF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" y="199"/>
                  <a:ext cx="5" cy="10"/>
                </a:xfrm>
                <a:custGeom>
                  <a:avLst/>
                  <a:gdLst>
                    <a:gd name="T0" fmla="*/ 5 w 5"/>
                    <a:gd name="T1" fmla="*/ 9 h 10"/>
                    <a:gd name="T2" fmla="*/ 3 w 5"/>
                    <a:gd name="T3" fmla="*/ 5 h 10"/>
                    <a:gd name="T4" fmla="*/ 3 w 5"/>
                    <a:gd name="T5" fmla="*/ 2 h 10"/>
                    <a:gd name="T6" fmla="*/ 2 w 5"/>
                    <a:gd name="T7" fmla="*/ 0 h 10"/>
                    <a:gd name="T8" fmla="*/ 0 w 5"/>
                    <a:gd name="T9" fmla="*/ 5 h 10"/>
                    <a:gd name="T10" fmla="*/ 0 w 5"/>
                    <a:gd name="T11" fmla="*/ 7 h 10"/>
                    <a:gd name="T12" fmla="*/ 2 w 5"/>
                    <a:gd name="T13" fmla="*/ 9 h 10"/>
                    <a:gd name="T14" fmla="*/ 3 w 5"/>
                    <a:gd name="T15" fmla="*/ 10 h 10"/>
                    <a:gd name="T16" fmla="*/ 5 w 5"/>
                    <a:gd name="T17" fmla="*/ 9 h 10"/>
                    <a:gd name="T18" fmla="*/ 5 w 5"/>
                    <a:gd name="T1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10">
                      <a:moveTo>
                        <a:pt x="5" y="9"/>
                      </a:moveTo>
                      <a:lnTo>
                        <a:pt x="3" y="5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0" name="Freeform 29">
                  <a:extLst>
                    <a:ext uri="{FF2B5EF4-FFF2-40B4-BE49-F238E27FC236}">
                      <a16:creationId xmlns:a16="http://schemas.microsoft.com/office/drawing/2014/main" xmlns="" id="{87C05AE4-2317-4F71-ADCA-5BDD932A7E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0" y="199"/>
                  <a:ext cx="5" cy="9"/>
                </a:xfrm>
                <a:custGeom>
                  <a:avLst/>
                  <a:gdLst>
                    <a:gd name="T0" fmla="*/ 3 w 5"/>
                    <a:gd name="T1" fmla="*/ 7 h 9"/>
                    <a:gd name="T2" fmla="*/ 5 w 5"/>
                    <a:gd name="T3" fmla="*/ 9 h 9"/>
                    <a:gd name="T4" fmla="*/ 5 w 5"/>
                    <a:gd name="T5" fmla="*/ 5 h 9"/>
                    <a:gd name="T6" fmla="*/ 5 w 5"/>
                    <a:gd name="T7" fmla="*/ 4 h 9"/>
                    <a:gd name="T8" fmla="*/ 2 w 5"/>
                    <a:gd name="T9" fmla="*/ 0 h 9"/>
                    <a:gd name="T10" fmla="*/ 0 w 5"/>
                    <a:gd name="T11" fmla="*/ 0 h 9"/>
                    <a:gd name="T12" fmla="*/ 0 w 5"/>
                    <a:gd name="T13" fmla="*/ 4 h 9"/>
                    <a:gd name="T14" fmla="*/ 3 w 5"/>
                    <a:gd name="T15" fmla="*/ 7 h 9"/>
                    <a:gd name="T16" fmla="*/ 3 w 5"/>
                    <a:gd name="T17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9">
                      <a:moveTo>
                        <a:pt x="3" y="7"/>
                      </a:moveTo>
                      <a:lnTo>
                        <a:pt x="5" y="9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7"/>
                      </a:lnTo>
                      <a:lnTo>
                        <a:pt x="3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1" name="Freeform 30">
                  <a:extLst>
                    <a:ext uri="{FF2B5EF4-FFF2-40B4-BE49-F238E27FC236}">
                      <a16:creationId xmlns:a16="http://schemas.microsoft.com/office/drawing/2014/main" xmlns="" id="{D63F79DE-8E51-471E-9BB8-123CAED8DD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199"/>
                  <a:ext cx="6" cy="5"/>
                </a:xfrm>
                <a:custGeom>
                  <a:avLst/>
                  <a:gdLst>
                    <a:gd name="T0" fmla="*/ 2 w 4"/>
                    <a:gd name="T1" fmla="*/ 2 h 3"/>
                    <a:gd name="T2" fmla="*/ 4 w 4"/>
                    <a:gd name="T3" fmla="*/ 3 h 3"/>
                    <a:gd name="T4" fmla="*/ 4 w 4"/>
                    <a:gd name="T5" fmla="*/ 2 h 3"/>
                    <a:gd name="T6" fmla="*/ 3 w 4"/>
                    <a:gd name="T7" fmla="*/ 0 h 3"/>
                    <a:gd name="T8" fmla="*/ 1 w 4"/>
                    <a:gd name="T9" fmla="*/ 0 h 3"/>
                    <a:gd name="T10" fmla="*/ 0 w 4"/>
                    <a:gd name="T11" fmla="*/ 1 h 3"/>
                    <a:gd name="T12" fmla="*/ 2 w 4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2" y="2"/>
                      </a:moveTo>
                      <a:cubicBezTo>
                        <a:pt x="2" y="2"/>
                        <a:pt x="4" y="3"/>
                        <a:pt x="4" y="3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2"/>
                        <a:pt x="2" y="2"/>
                        <a:pt x="2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2" name="Freeform 31">
                  <a:extLst>
                    <a:ext uri="{FF2B5EF4-FFF2-40B4-BE49-F238E27FC236}">
                      <a16:creationId xmlns:a16="http://schemas.microsoft.com/office/drawing/2014/main" xmlns="" id="{64E09372-A2D0-4344-B211-73BE1DE7E0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204"/>
                  <a:ext cx="5" cy="7"/>
                </a:xfrm>
                <a:custGeom>
                  <a:avLst/>
                  <a:gdLst>
                    <a:gd name="T0" fmla="*/ 1 w 5"/>
                    <a:gd name="T1" fmla="*/ 7 h 7"/>
                    <a:gd name="T2" fmla="*/ 3 w 5"/>
                    <a:gd name="T3" fmla="*/ 7 h 7"/>
                    <a:gd name="T4" fmla="*/ 5 w 5"/>
                    <a:gd name="T5" fmla="*/ 4 h 7"/>
                    <a:gd name="T6" fmla="*/ 3 w 5"/>
                    <a:gd name="T7" fmla="*/ 2 h 7"/>
                    <a:gd name="T8" fmla="*/ 1 w 5"/>
                    <a:gd name="T9" fmla="*/ 0 h 7"/>
                    <a:gd name="T10" fmla="*/ 1 w 5"/>
                    <a:gd name="T11" fmla="*/ 2 h 7"/>
                    <a:gd name="T12" fmla="*/ 1 w 5"/>
                    <a:gd name="T13" fmla="*/ 4 h 7"/>
                    <a:gd name="T14" fmla="*/ 0 w 5"/>
                    <a:gd name="T15" fmla="*/ 5 h 7"/>
                    <a:gd name="T16" fmla="*/ 1 w 5"/>
                    <a:gd name="T17" fmla="*/ 7 h 7"/>
                    <a:gd name="T18" fmla="*/ 1 w 5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3" name="Freeform 32">
                  <a:extLst>
                    <a:ext uri="{FF2B5EF4-FFF2-40B4-BE49-F238E27FC236}">
                      <a16:creationId xmlns:a16="http://schemas.microsoft.com/office/drawing/2014/main" xmlns="" id="{B07B5E52-8A7E-498E-A54F-06C1DF7B3C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4" y="214"/>
                  <a:ext cx="11" cy="12"/>
                </a:xfrm>
                <a:custGeom>
                  <a:avLst/>
                  <a:gdLst>
                    <a:gd name="T0" fmla="*/ 11 w 11"/>
                    <a:gd name="T1" fmla="*/ 5 h 12"/>
                    <a:gd name="T2" fmla="*/ 9 w 11"/>
                    <a:gd name="T3" fmla="*/ 3 h 12"/>
                    <a:gd name="T4" fmla="*/ 8 w 11"/>
                    <a:gd name="T5" fmla="*/ 3 h 12"/>
                    <a:gd name="T6" fmla="*/ 4 w 11"/>
                    <a:gd name="T7" fmla="*/ 0 h 12"/>
                    <a:gd name="T8" fmla="*/ 3 w 11"/>
                    <a:gd name="T9" fmla="*/ 0 h 12"/>
                    <a:gd name="T10" fmla="*/ 1 w 11"/>
                    <a:gd name="T11" fmla="*/ 2 h 12"/>
                    <a:gd name="T12" fmla="*/ 3 w 11"/>
                    <a:gd name="T13" fmla="*/ 5 h 12"/>
                    <a:gd name="T14" fmla="*/ 3 w 11"/>
                    <a:gd name="T15" fmla="*/ 7 h 12"/>
                    <a:gd name="T16" fmla="*/ 0 w 11"/>
                    <a:gd name="T17" fmla="*/ 8 h 12"/>
                    <a:gd name="T18" fmla="*/ 1 w 11"/>
                    <a:gd name="T19" fmla="*/ 10 h 12"/>
                    <a:gd name="T20" fmla="*/ 6 w 11"/>
                    <a:gd name="T21" fmla="*/ 12 h 12"/>
                    <a:gd name="T22" fmla="*/ 9 w 11"/>
                    <a:gd name="T23" fmla="*/ 10 h 12"/>
                    <a:gd name="T24" fmla="*/ 11 w 11"/>
                    <a:gd name="T25" fmla="*/ 5 h 12"/>
                    <a:gd name="T26" fmla="*/ 11 w 11"/>
                    <a:gd name="T2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11" y="5"/>
                      </a:move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0" y="8"/>
                      </a:lnTo>
                      <a:lnTo>
                        <a:pt x="1" y="10"/>
                      </a:lnTo>
                      <a:lnTo>
                        <a:pt x="6" y="12"/>
                      </a:lnTo>
                      <a:lnTo>
                        <a:pt x="9" y="10"/>
                      </a:lnTo>
                      <a:lnTo>
                        <a:pt x="11" y="5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4" name="Freeform 33">
                  <a:extLst>
                    <a:ext uri="{FF2B5EF4-FFF2-40B4-BE49-F238E27FC236}">
                      <a16:creationId xmlns:a16="http://schemas.microsoft.com/office/drawing/2014/main" xmlns="" id="{65A5C27C-8CE9-41A5-A1DE-E7ED3F317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214"/>
                  <a:ext cx="3" cy="7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3 h 7"/>
                    <a:gd name="T4" fmla="*/ 1 w 3"/>
                    <a:gd name="T5" fmla="*/ 5 h 7"/>
                    <a:gd name="T6" fmla="*/ 3 w 3"/>
                    <a:gd name="T7" fmla="*/ 7 h 7"/>
                    <a:gd name="T8" fmla="*/ 3 w 3"/>
                    <a:gd name="T9" fmla="*/ 3 h 7"/>
                    <a:gd name="T10" fmla="*/ 1 w 3"/>
                    <a:gd name="T11" fmla="*/ 2 h 7"/>
                    <a:gd name="T12" fmla="*/ 0 w 3"/>
                    <a:gd name="T13" fmla="*/ 0 h 7"/>
                    <a:gd name="T14" fmla="*/ 0 w 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7"/>
                      </a:lnTo>
                      <a:lnTo>
                        <a:pt x="3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5" name="Freeform 34">
                  <a:extLst>
                    <a:ext uri="{FF2B5EF4-FFF2-40B4-BE49-F238E27FC236}">
                      <a16:creationId xmlns:a16="http://schemas.microsoft.com/office/drawing/2014/main" xmlns="" id="{FB47615B-729C-48EC-A45C-5697D8E7F4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70"/>
                  <a:ext cx="6" cy="10"/>
                </a:xfrm>
                <a:custGeom>
                  <a:avLst/>
                  <a:gdLst>
                    <a:gd name="T0" fmla="*/ 0 w 6"/>
                    <a:gd name="T1" fmla="*/ 8 h 10"/>
                    <a:gd name="T2" fmla="*/ 0 w 6"/>
                    <a:gd name="T3" fmla="*/ 6 h 10"/>
                    <a:gd name="T4" fmla="*/ 1 w 6"/>
                    <a:gd name="T5" fmla="*/ 5 h 10"/>
                    <a:gd name="T6" fmla="*/ 1 w 6"/>
                    <a:gd name="T7" fmla="*/ 2 h 10"/>
                    <a:gd name="T8" fmla="*/ 3 w 6"/>
                    <a:gd name="T9" fmla="*/ 0 h 10"/>
                    <a:gd name="T10" fmla="*/ 5 w 6"/>
                    <a:gd name="T11" fmla="*/ 0 h 10"/>
                    <a:gd name="T12" fmla="*/ 6 w 6"/>
                    <a:gd name="T13" fmla="*/ 3 h 10"/>
                    <a:gd name="T14" fmla="*/ 6 w 6"/>
                    <a:gd name="T15" fmla="*/ 5 h 10"/>
                    <a:gd name="T16" fmla="*/ 5 w 6"/>
                    <a:gd name="T17" fmla="*/ 5 h 10"/>
                    <a:gd name="T18" fmla="*/ 5 w 6"/>
                    <a:gd name="T19" fmla="*/ 8 h 10"/>
                    <a:gd name="T20" fmla="*/ 3 w 6"/>
                    <a:gd name="T21" fmla="*/ 10 h 10"/>
                    <a:gd name="T22" fmla="*/ 0 w 6"/>
                    <a:gd name="T23" fmla="*/ 10 h 10"/>
                    <a:gd name="T24" fmla="*/ 0 w 6"/>
                    <a:gd name="T25" fmla="*/ 8 h 10"/>
                    <a:gd name="T26" fmla="*/ 0 w 6"/>
                    <a:gd name="T27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0">
                      <a:moveTo>
                        <a:pt x="0" y="8"/>
                      </a:move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5" y="8"/>
                      </a:lnTo>
                      <a:lnTo>
                        <a:pt x="3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6" name="Freeform 35">
                  <a:extLst>
                    <a:ext uri="{FF2B5EF4-FFF2-40B4-BE49-F238E27FC236}">
                      <a16:creationId xmlns:a16="http://schemas.microsoft.com/office/drawing/2014/main" xmlns="" id="{CE0C01FC-CD25-4BB8-8C37-0EBC116E81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" y="209"/>
                  <a:ext cx="8" cy="7"/>
                </a:xfrm>
                <a:custGeom>
                  <a:avLst/>
                  <a:gdLst>
                    <a:gd name="T0" fmla="*/ 0 w 8"/>
                    <a:gd name="T1" fmla="*/ 3 h 7"/>
                    <a:gd name="T2" fmla="*/ 2 w 8"/>
                    <a:gd name="T3" fmla="*/ 7 h 7"/>
                    <a:gd name="T4" fmla="*/ 5 w 8"/>
                    <a:gd name="T5" fmla="*/ 7 h 7"/>
                    <a:gd name="T6" fmla="*/ 7 w 8"/>
                    <a:gd name="T7" fmla="*/ 7 h 7"/>
                    <a:gd name="T8" fmla="*/ 8 w 8"/>
                    <a:gd name="T9" fmla="*/ 5 h 7"/>
                    <a:gd name="T10" fmla="*/ 7 w 8"/>
                    <a:gd name="T11" fmla="*/ 2 h 7"/>
                    <a:gd name="T12" fmla="*/ 7 w 8"/>
                    <a:gd name="T13" fmla="*/ 0 h 7"/>
                    <a:gd name="T14" fmla="*/ 5 w 8"/>
                    <a:gd name="T15" fmla="*/ 2 h 7"/>
                    <a:gd name="T16" fmla="*/ 3 w 8"/>
                    <a:gd name="T17" fmla="*/ 3 h 7"/>
                    <a:gd name="T18" fmla="*/ 0 w 8"/>
                    <a:gd name="T19" fmla="*/ 3 h 7"/>
                    <a:gd name="T20" fmla="*/ 0 w 8"/>
                    <a:gd name="T21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0" y="3"/>
                      </a:move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8" y="5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7" name="Freeform 36">
                  <a:extLst>
                    <a:ext uri="{FF2B5EF4-FFF2-40B4-BE49-F238E27FC236}">
                      <a16:creationId xmlns:a16="http://schemas.microsoft.com/office/drawing/2014/main" xmlns="" id="{9AA62560-2D1C-487C-98D8-9D6F95431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5" y="203"/>
                  <a:ext cx="3" cy="5"/>
                </a:xfrm>
                <a:custGeom>
                  <a:avLst/>
                  <a:gdLst>
                    <a:gd name="T0" fmla="*/ 0 w 3"/>
                    <a:gd name="T1" fmla="*/ 5 h 5"/>
                    <a:gd name="T2" fmla="*/ 1 w 3"/>
                    <a:gd name="T3" fmla="*/ 5 h 5"/>
                    <a:gd name="T4" fmla="*/ 3 w 3"/>
                    <a:gd name="T5" fmla="*/ 3 h 5"/>
                    <a:gd name="T6" fmla="*/ 3 w 3"/>
                    <a:gd name="T7" fmla="*/ 0 h 5"/>
                    <a:gd name="T8" fmla="*/ 1 w 3"/>
                    <a:gd name="T9" fmla="*/ 1 h 5"/>
                    <a:gd name="T10" fmla="*/ 0 w 3"/>
                    <a:gd name="T11" fmla="*/ 5 h 5"/>
                    <a:gd name="T12" fmla="*/ 0 w 3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5">
                      <a:moveTo>
                        <a:pt x="0" y="5"/>
                      </a:move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8" name="Freeform 37">
                  <a:extLst>
                    <a:ext uri="{FF2B5EF4-FFF2-40B4-BE49-F238E27FC236}">
                      <a16:creationId xmlns:a16="http://schemas.microsoft.com/office/drawing/2014/main" xmlns="" id="{5EC1CB9D-E86B-4F22-B5E4-CA87E53C64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0" y="203"/>
                  <a:ext cx="5" cy="3"/>
                </a:xfrm>
                <a:custGeom>
                  <a:avLst/>
                  <a:gdLst>
                    <a:gd name="T0" fmla="*/ 0 w 5"/>
                    <a:gd name="T1" fmla="*/ 1 h 3"/>
                    <a:gd name="T2" fmla="*/ 0 w 5"/>
                    <a:gd name="T3" fmla="*/ 3 h 3"/>
                    <a:gd name="T4" fmla="*/ 1 w 5"/>
                    <a:gd name="T5" fmla="*/ 3 h 3"/>
                    <a:gd name="T6" fmla="*/ 5 w 5"/>
                    <a:gd name="T7" fmla="*/ 3 h 3"/>
                    <a:gd name="T8" fmla="*/ 5 w 5"/>
                    <a:gd name="T9" fmla="*/ 1 h 3"/>
                    <a:gd name="T10" fmla="*/ 5 w 5"/>
                    <a:gd name="T11" fmla="*/ 0 h 3"/>
                    <a:gd name="T12" fmla="*/ 1 w 5"/>
                    <a:gd name="T13" fmla="*/ 0 h 3"/>
                    <a:gd name="T14" fmla="*/ 1 w 5"/>
                    <a:gd name="T15" fmla="*/ 1 h 3"/>
                    <a:gd name="T16" fmla="*/ 0 w 5"/>
                    <a:gd name="T17" fmla="*/ 1 h 3"/>
                    <a:gd name="T18" fmla="*/ 0 w 5"/>
                    <a:gd name="T1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5" y="3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9" name="Freeform 38">
                  <a:extLst>
                    <a:ext uri="{FF2B5EF4-FFF2-40B4-BE49-F238E27FC236}">
                      <a16:creationId xmlns:a16="http://schemas.microsoft.com/office/drawing/2014/main" xmlns="" id="{517079E5-34BD-446C-9D39-1FD6E6C9AF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5" y="185"/>
                  <a:ext cx="13" cy="9"/>
                </a:xfrm>
                <a:custGeom>
                  <a:avLst/>
                  <a:gdLst>
                    <a:gd name="T0" fmla="*/ 5 w 13"/>
                    <a:gd name="T1" fmla="*/ 6 h 9"/>
                    <a:gd name="T2" fmla="*/ 3 w 13"/>
                    <a:gd name="T3" fmla="*/ 9 h 9"/>
                    <a:gd name="T4" fmla="*/ 1 w 13"/>
                    <a:gd name="T5" fmla="*/ 9 h 9"/>
                    <a:gd name="T6" fmla="*/ 0 w 13"/>
                    <a:gd name="T7" fmla="*/ 8 h 9"/>
                    <a:gd name="T8" fmla="*/ 0 w 13"/>
                    <a:gd name="T9" fmla="*/ 5 h 9"/>
                    <a:gd name="T10" fmla="*/ 1 w 13"/>
                    <a:gd name="T11" fmla="*/ 1 h 9"/>
                    <a:gd name="T12" fmla="*/ 6 w 13"/>
                    <a:gd name="T13" fmla="*/ 0 h 9"/>
                    <a:gd name="T14" fmla="*/ 8 w 13"/>
                    <a:gd name="T15" fmla="*/ 1 h 9"/>
                    <a:gd name="T16" fmla="*/ 10 w 13"/>
                    <a:gd name="T17" fmla="*/ 3 h 9"/>
                    <a:gd name="T18" fmla="*/ 13 w 13"/>
                    <a:gd name="T19" fmla="*/ 3 h 9"/>
                    <a:gd name="T20" fmla="*/ 13 w 13"/>
                    <a:gd name="T21" fmla="*/ 6 h 9"/>
                    <a:gd name="T22" fmla="*/ 11 w 13"/>
                    <a:gd name="T23" fmla="*/ 8 h 9"/>
                    <a:gd name="T24" fmla="*/ 8 w 13"/>
                    <a:gd name="T25" fmla="*/ 8 h 9"/>
                    <a:gd name="T26" fmla="*/ 5 w 13"/>
                    <a:gd name="T27" fmla="*/ 6 h 9"/>
                    <a:gd name="T28" fmla="*/ 5 w 13"/>
                    <a:gd name="T29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9">
                      <a:moveTo>
                        <a:pt x="5" y="6"/>
                      </a:moveTo>
                      <a:lnTo>
                        <a:pt x="3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1" y="1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3"/>
                      </a:lnTo>
                      <a:lnTo>
                        <a:pt x="13" y="6"/>
                      </a:lnTo>
                      <a:lnTo>
                        <a:pt x="11" y="8"/>
                      </a:lnTo>
                      <a:lnTo>
                        <a:pt x="8" y="8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0" name="Freeform 39">
                  <a:extLst>
                    <a:ext uri="{FF2B5EF4-FFF2-40B4-BE49-F238E27FC236}">
                      <a16:creationId xmlns:a16="http://schemas.microsoft.com/office/drawing/2014/main" xmlns="" id="{613D876B-0248-49B9-A914-126808C2F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88"/>
                  <a:ext cx="6" cy="5"/>
                </a:xfrm>
                <a:custGeom>
                  <a:avLst/>
                  <a:gdLst>
                    <a:gd name="T0" fmla="*/ 0 w 6"/>
                    <a:gd name="T1" fmla="*/ 2 h 5"/>
                    <a:gd name="T2" fmla="*/ 1 w 6"/>
                    <a:gd name="T3" fmla="*/ 5 h 5"/>
                    <a:gd name="T4" fmla="*/ 3 w 6"/>
                    <a:gd name="T5" fmla="*/ 5 h 5"/>
                    <a:gd name="T6" fmla="*/ 6 w 6"/>
                    <a:gd name="T7" fmla="*/ 3 h 5"/>
                    <a:gd name="T8" fmla="*/ 6 w 6"/>
                    <a:gd name="T9" fmla="*/ 2 h 5"/>
                    <a:gd name="T10" fmla="*/ 5 w 6"/>
                    <a:gd name="T11" fmla="*/ 0 h 5"/>
                    <a:gd name="T12" fmla="*/ 3 w 6"/>
                    <a:gd name="T13" fmla="*/ 0 h 5"/>
                    <a:gd name="T14" fmla="*/ 1 w 6"/>
                    <a:gd name="T15" fmla="*/ 2 h 5"/>
                    <a:gd name="T16" fmla="*/ 0 w 6"/>
                    <a:gd name="T17" fmla="*/ 2 h 5"/>
                    <a:gd name="T18" fmla="*/ 0 w 6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0" y="2"/>
                      </a:move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1" name="Freeform 40">
                  <a:extLst>
                    <a:ext uri="{FF2B5EF4-FFF2-40B4-BE49-F238E27FC236}">
                      <a16:creationId xmlns:a16="http://schemas.microsoft.com/office/drawing/2014/main" xmlns="" id="{714ECB5A-250D-4FDD-AA50-9ABA8169D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3" y="204"/>
                  <a:ext cx="16" cy="18"/>
                </a:xfrm>
                <a:custGeom>
                  <a:avLst/>
                  <a:gdLst>
                    <a:gd name="T0" fmla="*/ 16 w 16"/>
                    <a:gd name="T1" fmla="*/ 17 h 18"/>
                    <a:gd name="T2" fmla="*/ 16 w 16"/>
                    <a:gd name="T3" fmla="*/ 15 h 18"/>
                    <a:gd name="T4" fmla="*/ 15 w 16"/>
                    <a:gd name="T5" fmla="*/ 12 h 18"/>
                    <a:gd name="T6" fmla="*/ 15 w 16"/>
                    <a:gd name="T7" fmla="*/ 8 h 18"/>
                    <a:gd name="T8" fmla="*/ 15 w 16"/>
                    <a:gd name="T9" fmla="*/ 5 h 18"/>
                    <a:gd name="T10" fmla="*/ 13 w 16"/>
                    <a:gd name="T11" fmla="*/ 2 h 18"/>
                    <a:gd name="T12" fmla="*/ 10 w 16"/>
                    <a:gd name="T13" fmla="*/ 0 h 18"/>
                    <a:gd name="T14" fmla="*/ 8 w 16"/>
                    <a:gd name="T15" fmla="*/ 2 h 18"/>
                    <a:gd name="T16" fmla="*/ 5 w 16"/>
                    <a:gd name="T17" fmla="*/ 2 h 18"/>
                    <a:gd name="T18" fmla="*/ 2 w 16"/>
                    <a:gd name="T19" fmla="*/ 4 h 18"/>
                    <a:gd name="T20" fmla="*/ 0 w 16"/>
                    <a:gd name="T21" fmla="*/ 7 h 18"/>
                    <a:gd name="T22" fmla="*/ 3 w 16"/>
                    <a:gd name="T23" fmla="*/ 10 h 18"/>
                    <a:gd name="T24" fmla="*/ 3 w 16"/>
                    <a:gd name="T25" fmla="*/ 17 h 18"/>
                    <a:gd name="T26" fmla="*/ 7 w 16"/>
                    <a:gd name="T27" fmla="*/ 18 h 18"/>
                    <a:gd name="T28" fmla="*/ 8 w 16"/>
                    <a:gd name="T29" fmla="*/ 18 h 18"/>
                    <a:gd name="T30" fmla="*/ 13 w 16"/>
                    <a:gd name="T31" fmla="*/ 17 h 18"/>
                    <a:gd name="T32" fmla="*/ 16 w 16"/>
                    <a:gd name="T33" fmla="*/ 17 h 18"/>
                    <a:gd name="T34" fmla="*/ 16 w 16"/>
                    <a:gd name="T35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" h="18">
                      <a:moveTo>
                        <a:pt x="16" y="17"/>
                      </a:moveTo>
                      <a:lnTo>
                        <a:pt x="16" y="15"/>
                      </a:lnTo>
                      <a:lnTo>
                        <a:pt x="15" y="12"/>
                      </a:lnTo>
                      <a:lnTo>
                        <a:pt x="15" y="8"/>
                      </a:lnTo>
                      <a:lnTo>
                        <a:pt x="15" y="5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3" y="10"/>
                      </a:lnTo>
                      <a:lnTo>
                        <a:pt x="3" y="17"/>
                      </a:lnTo>
                      <a:lnTo>
                        <a:pt x="7" y="18"/>
                      </a:lnTo>
                      <a:lnTo>
                        <a:pt x="8" y="18"/>
                      </a:lnTo>
                      <a:lnTo>
                        <a:pt x="13" y="17"/>
                      </a:lnTo>
                      <a:lnTo>
                        <a:pt x="16" y="17"/>
                      </a:lnTo>
                      <a:lnTo>
                        <a:pt x="16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2" name="Freeform 41">
                  <a:extLst>
                    <a:ext uri="{FF2B5EF4-FFF2-40B4-BE49-F238E27FC236}">
                      <a16:creationId xmlns:a16="http://schemas.microsoft.com/office/drawing/2014/main" xmlns="" id="{B80E5CBC-32E4-4F3B-839E-5030713C88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6" y="196"/>
                  <a:ext cx="20" cy="23"/>
                </a:xfrm>
                <a:custGeom>
                  <a:avLst/>
                  <a:gdLst>
                    <a:gd name="T0" fmla="*/ 11 w 20"/>
                    <a:gd name="T1" fmla="*/ 23 h 23"/>
                    <a:gd name="T2" fmla="*/ 11 w 20"/>
                    <a:gd name="T3" fmla="*/ 21 h 23"/>
                    <a:gd name="T4" fmla="*/ 10 w 20"/>
                    <a:gd name="T5" fmla="*/ 18 h 23"/>
                    <a:gd name="T6" fmla="*/ 10 w 20"/>
                    <a:gd name="T7" fmla="*/ 16 h 23"/>
                    <a:gd name="T8" fmla="*/ 11 w 20"/>
                    <a:gd name="T9" fmla="*/ 16 h 23"/>
                    <a:gd name="T10" fmla="*/ 13 w 20"/>
                    <a:gd name="T11" fmla="*/ 13 h 23"/>
                    <a:gd name="T12" fmla="*/ 13 w 20"/>
                    <a:gd name="T13" fmla="*/ 10 h 23"/>
                    <a:gd name="T14" fmla="*/ 18 w 20"/>
                    <a:gd name="T15" fmla="*/ 8 h 23"/>
                    <a:gd name="T16" fmla="*/ 20 w 20"/>
                    <a:gd name="T17" fmla="*/ 8 h 23"/>
                    <a:gd name="T18" fmla="*/ 20 w 20"/>
                    <a:gd name="T19" fmla="*/ 7 h 23"/>
                    <a:gd name="T20" fmla="*/ 18 w 20"/>
                    <a:gd name="T21" fmla="*/ 5 h 23"/>
                    <a:gd name="T22" fmla="*/ 15 w 20"/>
                    <a:gd name="T23" fmla="*/ 7 h 23"/>
                    <a:gd name="T24" fmla="*/ 10 w 20"/>
                    <a:gd name="T25" fmla="*/ 3 h 23"/>
                    <a:gd name="T26" fmla="*/ 7 w 20"/>
                    <a:gd name="T27" fmla="*/ 0 h 23"/>
                    <a:gd name="T28" fmla="*/ 3 w 20"/>
                    <a:gd name="T29" fmla="*/ 0 h 23"/>
                    <a:gd name="T30" fmla="*/ 2 w 20"/>
                    <a:gd name="T31" fmla="*/ 2 h 23"/>
                    <a:gd name="T32" fmla="*/ 0 w 20"/>
                    <a:gd name="T33" fmla="*/ 2 h 23"/>
                    <a:gd name="T34" fmla="*/ 0 w 20"/>
                    <a:gd name="T35" fmla="*/ 3 h 23"/>
                    <a:gd name="T36" fmla="*/ 3 w 20"/>
                    <a:gd name="T37" fmla="*/ 12 h 23"/>
                    <a:gd name="T38" fmla="*/ 3 w 20"/>
                    <a:gd name="T39" fmla="*/ 15 h 23"/>
                    <a:gd name="T40" fmla="*/ 5 w 20"/>
                    <a:gd name="T41" fmla="*/ 21 h 23"/>
                    <a:gd name="T42" fmla="*/ 8 w 20"/>
                    <a:gd name="T43" fmla="*/ 23 h 23"/>
                    <a:gd name="T44" fmla="*/ 11 w 20"/>
                    <a:gd name="T45" fmla="*/ 23 h 23"/>
                    <a:gd name="T46" fmla="*/ 11 w 20"/>
                    <a:gd name="T47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0" h="23">
                      <a:moveTo>
                        <a:pt x="11" y="23"/>
                      </a:moveTo>
                      <a:lnTo>
                        <a:pt x="11" y="21"/>
                      </a:lnTo>
                      <a:lnTo>
                        <a:pt x="10" y="18"/>
                      </a:lnTo>
                      <a:lnTo>
                        <a:pt x="10" y="16"/>
                      </a:lnTo>
                      <a:lnTo>
                        <a:pt x="11" y="16"/>
                      </a:lnTo>
                      <a:lnTo>
                        <a:pt x="13" y="13"/>
                      </a:lnTo>
                      <a:lnTo>
                        <a:pt x="13" y="10"/>
                      </a:lnTo>
                      <a:lnTo>
                        <a:pt x="18" y="8"/>
                      </a:lnTo>
                      <a:lnTo>
                        <a:pt x="20" y="8"/>
                      </a:lnTo>
                      <a:lnTo>
                        <a:pt x="20" y="7"/>
                      </a:lnTo>
                      <a:lnTo>
                        <a:pt x="18" y="5"/>
                      </a:lnTo>
                      <a:lnTo>
                        <a:pt x="15" y="7"/>
                      </a:lnTo>
                      <a:lnTo>
                        <a:pt x="10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5" y="21"/>
                      </a:lnTo>
                      <a:lnTo>
                        <a:pt x="8" y="23"/>
                      </a:lnTo>
                      <a:lnTo>
                        <a:pt x="11" y="23"/>
                      </a:lnTo>
                      <a:lnTo>
                        <a:pt x="11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3" name="Freeform 42">
                  <a:extLst>
                    <a:ext uri="{FF2B5EF4-FFF2-40B4-BE49-F238E27FC236}">
                      <a16:creationId xmlns:a16="http://schemas.microsoft.com/office/drawing/2014/main" xmlns="" id="{C4F45C1E-C3E9-420F-8330-A0C9FA64C6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7" y="214"/>
                  <a:ext cx="13" cy="12"/>
                </a:xfrm>
                <a:custGeom>
                  <a:avLst/>
                  <a:gdLst>
                    <a:gd name="T0" fmla="*/ 0 w 13"/>
                    <a:gd name="T1" fmla="*/ 5 h 12"/>
                    <a:gd name="T2" fmla="*/ 0 w 13"/>
                    <a:gd name="T3" fmla="*/ 7 h 12"/>
                    <a:gd name="T4" fmla="*/ 4 w 13"/>
                    <a:gd name="T5" fmla="*/ 8 h 12"/>
                    <a:gd name="T6" fmla="*/ 7 w 13"/>
                    <a:gd name="T7" fmla="*/ 12 h 12"/>
                    <a:gd name="T8" fmla="*/ 10 w 13"/>
                    <a:gd name="T9" fmla="*/ 12 h 12"/>
                    <a:gd name="T10" fmla="*/ 13 w 13"/>
                    <a:gd name="T11" fmla="*/ 7 h 12"/>
                    <a:gd name="T12" fmla="*/ 12 w 13"/>
                    <a:gd name="T13" fmla="*/ 2 h 12"/>
                    <a:gd name="T14" fmla="*/ 8 w 13"/>
                    <a:gd name="T15" fmla="*/ 0 h 12"/>
                    <a:gd name="T16" fmla="*/ 5 w 13"/>
                    <a:gd name="T17" fmla="*/ 2 h 12"/>
                    <a:gd name="T18" fmla="*/ 0 w 13"/>
                    <a:gd name="T19" fmla="*/ 5 h 12"/>
                    <a:gd name="T20" fmla="*/ 0 w 13"/>
                    <a:gd name="T21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12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4" y="8"/>
                      </a:lnTo>
                      <a:lnTo>
                        <a:pt x="7" y="12"/>
                      </a:lnTo>
                      <a:lnTo>
                        <a:pt x="10" y="12"/>
                      </a:lnTo>
                      <a:lnTo>
                        <a:pt x="13" y="7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5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4" name="Freeform 43">
                  <a:extLst>
                    <a:ext uri="{FF2B5EF4-FFF2-40B4-BE49-F238E27FC236}">
                      <a16:creationId xmlns:a16="http://schemas.microsoft.com/office/drawing/2014/main" xmlns="" id="{CB01FECD-6EB0-4EB3-9201-2B97E6809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6" y="226"/>
                  <a:ext cx="6" cy="3"/>
                </a:xfrm>
                <a:custGeom>
                  <a:avLst/>
                  <a:gdLst>
                    <a:gd name="T0" fmla="*/ 1 w 6"/>
                    <a:gd name="T1" fmla="*/ 0 h 3"/>
                    <a:gd name="T2" fmla="*/ 0 w 6"/>
                    <a:gd name="T3" fmla="*/ 1 h 3"/>
                    <a:gd name="T4" fmla="*/ 3 w 6"/>
                    <a:gd name="T5" fmla="*/ 3 h 3"/>
                    <a:gd name="T6" fmla="*/ 5 w 6"/>
                    <a:gd name="T7" fmla="*/ 3 h 3"/>
                    <a:gd name="T8" fmla="*/ 6 w 6"/>
                    <a:gd name="T9" fmla="*/ 3 h 3"/>
                    <a:gd name="T10" fmla="*/ 3 w 6"/>
                    <a:gd name="T11" fmla="*/ 0 h 3"/>
                    <a:gd name="T12" fmla="*/ 1 w 6"/>
                    <a:gd name="T13" fmla="*/ 0 h 3"/>
                    <a:gd name="T14" fmla="*/ 1 w 6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5" name="Freeform 44">
                  <a:extLst>
                    <a:ext uri="{FF2B5EF4-FFF2-40B4-BE49-F238E27FC236}">
                      <a16:creationId xmlns:a16="http://schemas.microsoft.com/office/drawing/2014/main" xmlns="" id="{0E24FFD4-F0A5-4FF8-8A8D-1860F3517A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7" y="118"/>
                  <a:ext cx="12" cy="6"/>
                </a:xfrm>
                <a:custGeom>
                  <a:avLst/>
                  <a:gdLst>
                    <a:gd name="T0" fmla="*/ 0 w 12"/>
                    <a:gd name="T1" fmla="*/ 3 h 6"/>
                    <a:gd name="T2" fmla="*/ 2 w 12"/>
                    <a:gd name="T3" fmla="*/ 3 h 6"/>
                    <a:gd name="T4" fmla="*/ 4 w 12"/>
                    <a:gd name="T5" fmla="*/ 3 h 6"/>
                    <a:gd name="T6" fmla="*/ 7 w 12"/>
                    <a:gd name="T7" fmla="*/ 0 h 6"/>
                    <a:gd name="T8" fmla="*/ 8 w 12"/>
                    <a:gd name="T9" fmla="*/ 0 h 6"/>
                    <a:gd name="T10" fmla="*/ 10 w 12"/>
                    <a:gd name="T11" fmla="*/ 1 h 6"/>
                    <a:gd name="T12" fmla="*/ 12 w 12"/>
                    <a:gd name="T13" fmla="*/ 1 h 6"/>
                    <a:gd name="T14" fmla="*/ 12 w 12"/>
                    <a:gd name="T15" fmla="*/ 3 h 6"/>
                    <a:gd name="T16" fmla="*/ 10 w 12"/>
                    <a:gd name="T17" fmla="*/ 6 h 6"/>
                    <a:gd name="T18" fmla="*/ 8 w 12"/>
                    <a:gd name="T19" fmla="*/ 6 h 6"/>
                    <a:gd name="T20" fmla="*/ 5 w 12"/>
                    <a:gd name="T21" fmla="*/ 5 h 6"/>
                    <a:gd name="T22" fmla="*/ 0 w 12"/>
                    <a:gd name="T23" fmla="*/ 5 h 6"/>
                    <a:gd name="T24" fmla="*/ 0 w 12"/>
                    <a:gd name="T25" fmla="*/ 3 h 6"/>
                    <a:gd name="T26" fmla="*/ 0 w 12"/>
                    <a:gd name="T2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6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2" y="3"/>
                      </a:lnTo>
                      <a:lnTo>
                        <a:pt x="10" y="6"/>
                      </a:lnTo>
                      <a:lnTo>
                        <a:pt x="8" y="6"/>
                      </a:lnTo>
                      <a:lnTo>
                        <a:pt x="5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6" name="Freeform 45">
                  <a:extLst>
                    <a:ext uri="{FF2B5EF4-FFF2-40B4-BE49-F238E27FC236}">
                      <a16:creationId xmlns:a16="http://schemas.microsoft.com/office/drawing/2014/main" xmlns="" id="{A2CB1470-FBDE-47C1-87BC-7B609DF5A4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1" y="155"/>
                  <a:ext cx="16" cy="13"/>
                </a:xfrm>
                <a:custGeom>
                  <a:avLst/>
                  <a:gdLst>
                    <a:gd name="T0" fmla="*/ 13 w 16"/>
                    <a:gd name="T1" fmla="*/ 12 h 13"/>
                    <a:gd name="T2" fmla="*/ 14 w 16"/>
                    <a:gd name="T3" fmla="*/ 8 h 13"/>
                    <a:gd name="T4" fmla="*/ 16 w 16"/>
                    <a:gd name="T5" fmla="*/ 7 h 13"/>
                    <a:gd name="T6" fmla="*/ 16 w 16"/>
                    <a:gd name="T7" fmla="*/ 5 h 13"/>
                    <a:gd name="T8" fmla="*/ 13 w 16"/>
                    <a:gd name="T9" fmla="*/ 4 h 13"/>
                    <a:gd name="T10" fmla="*/ 11 w 16"/>
                    <a:gd name="T11" fmla="*/ 0 h 13"/>
                    <a:gd name="T12" fmla="*/ 10 w 16"/>
                    <a:gd name="T13" fmla="*/ 0 h 13"/>
                    <a:gd name="T14" fmla="*/ 5 w 16"/>
                    <a:gd name="T15" fmla="*/ 2 h 13"/>
                    <a:gd name="T16" fmla="*/ 1 w 16"/>
                    <a:gd name="T17" fmla="*/ 5 h 13"/>
                    <a:gd name="T18" fmla="*/ 0 w 16"/>
                    <a:gd name="T19" fmla="*/ 7 h 13"/>
                    <a:gd name="T20" fmla="*/ 0 w 16"/>
                    <a:gd name="T21" fmla="*/ 8 h 13"/>
                    <a:gd name="T22" fmla="*/ 5 w 16"/>
                    <a:gd name="T23" fmla="*/ 12 h 13"/>
                    <a:gd name="T24" fmla="*/ 8 w 16"/>
                    <a:gd name="T25" fmla="*/ 13 h 13"/>
                    <a:gd name="T26" fmla="*/ 13 w 16"/>
                    <a:gd name="T27" fmla="*/ 12 h 13"/>
                    <a:gd name="T28" fmla="*/ 13 w 16"/>
                    <a:gd name="T29" fmla="*/ 1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3">
                      <a:moveTo>
                        <a:pt x="13" y="12"/>
                      </a:moveTo>
                      <a:lnTo>
                        <a:pt x="14" y="8"/>
                      </a:lnTo>
                      <a:lnTo>
                        <a:pt x="16" y="7"/>
                      </a:lnTo>
                      <a:lnTo>
                        <a:pt x="16" y="5"/>
                      </a:lnTo>
                      <a:lnTo>
                        <a:pt x="13" y="4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5" y="12"/>
                      </a:lnTo>
                      <a:lnTo>
                        <a:pt x="8" y="13"/>
                      </a:lnTo>
                      <a:lnTo>
                        <a:pt x="13" y="12"/>
                      </a:lnTo>
                      <a:lnTo>
                        <a:pt x="13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7" name="Freeform 46">
                  <a:extLst>
                    <a:ext uri="{FF2B5EF4-FFF2-40B4-BE49-F238E27FC236}">
                      <a16:creationId xmlns:a16="http://schemas.microsoft.com/office/drawing/2014/main" xmlns="" id="{9EEBCE96-0883-4890-BA04-1DB4DC1286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2" y="162"/>
                  <a:ext cx="27" cy="36"/>
                </a:xfrm>
                <a:custGeom>
                  <a:avLst/>
                  <a:gdLst>
                    <a:gd name="T0" fmla="*/ 18 w 27"/>
                    <a:gd name="T1" fmla="*/ 0 h 36"/>
                    <a:gd name="T2" fmla="*/ 18 w 27"/>
                    <a:gd name="T3" fmla="*/ 1 h 36"/>
                    <a:gd name="T4" fmla="*/ 18 w 27"/>
                    <a:gd name="T5" fmla="*/ 5 h 36"/>
                    <a:gd name="T6" fmla="*/ 15 w 27"/>
                    <a:gd name="T7" fmla="*/ 8 h 36"/>
                    <a:gd name="T8" fmla="*/ 13 w 27"/>
                    <a:gd name="T9" fmla="*/ 6 h 36"/>
                    <a:gd name="T10" fmla="*/ 12 w 27"/>
                    <a:gd name="T11" fmla="*/ 6 h 36"/>
                    <a:gd name="T12" fmla="*/ 7 w 27"/>
                    <a:gd name="T13" fmla="*/ 11 h 36"/>
                    <a:gd name="T14" fmla="*/ 5 w 27"/>
                    <a:gd name="T15" fmla="*/ 11 h 36"/>
                    <a:gd name="T16" fmla="*/ 2 w 27"/>
                    <a:gd name="T17" fmla="*/ 10 h 36"/>
                    <a:gd name="T18" fmla="*/ 0 w 27"/>
                    <a:gd name="T19" fmla="*/ 10 h 36"/>
                    <a:gd name="T20" fmla="*/ 0 w 27"/>
                    <a:gd name="T21" fmla="*/ 13 h 36"/>
                    <a:gd name="T22" fmla="*/ 2 w 27"/>
                    <a:gd name="T23" fmla="*/ 16 h 36"/>
                    <a:gd name="T24" fmla="*/ 2 w 27"/>
                    <a:gd name="T25" fmla="*/ 26 h 36"/>
                    <a:gd name="T26" fmla="*/ 4 w 27"/>
                    <a:gd name="T27" fmla="*/ 31 h 36"/>
                    <a:gd name="T28" fmla="*/ 7 w 27"/>
                    <a:gd name="T29" fmla="*/ 36 h 36"/>
                    <a:gd name="T30" fmla="*/ 10 w 27"/>
                    <a:gd name="T31" fmla="*/ 36 h 36"/>
                    <a:gd name="T32" fmla="*/ 15 w 27"/>
                    <a:gd name="T33" fmla="*/ 34 h 36"/>
                    <a:gd name="T34" fmla="*/ 20 w 27"/>
                    <a:gd name="T35" fmla="*/ 32 h 36"/>
                    <a:gd name="T36" fmla="*/ 22 w 27"/>
                    <a:gd name="T37" fmla="*/ 31 h 36"/>
                    <a:gd name="T38" fmla="*/ 27 w 27"/>
                    <a:gd name="T39" fmla="*/ 31 h 36"/>
                    <a:gd name="T40" fmla="*/ 27 w 27"/>
                    <a:gd name="T41" fmla="*/ 28 h 36"/>
                    <a:gd name="T42" fmla="*/ 25 w 27"/>
                    <a:gd name="T43" fmla="*/ 26 h 36"/>
                    <a:gd name="T44" fmla="*/ 22 w 27"/>
                    <a:gd name="T45" fmla="*/ 23 h 36"/>
                    <a:gd name="T46" fmla="*/ 18 w 27"/>
                    <a:gd name="T47" fmla="*/ 21 h 36"/>
                    <a:gd name="T48" fmla="*/ 17 w 27"/>
                    <a:gd name="T49" fmla="*/ 16 h 36"/>
                    <a:gd name="T50" fmla="*/ 17 w 27"/>
                    <a:gd name="T51" fmla="*/ 14 h 36"/>
                    <a:gd name="T52" fmla="*/ 20 w 27"/>
                    <a:gd name="T53" fmla="*/ 13 h 36"/>
                    <a:gd name="T54" fmla="*/ 23 w 27"/>
                    <a:gd name="T55" fmla="*/ 13 h 36"/>
                    <a:gd name="T56" fmla="*/ 27 w 27"/>
                    <a:gd name="T57" fmla="*/ 11 h 36"/>
                    <a:gd name="T58" fmla="*/ 27 w 27"/>
                    <a:gd name="T59" fmla="*/ 10 h 36"/>
                    <a:gd name="T60" fmla="*/ 23 w 27"/>
                    <a:gd name="T61" fmla="*/ 5 h 36"/>
                    <a:gd name="T62" fmla="*/ 20 w 27"/>
                    <a:gd name="T63" fmla="*/ 3 h 36"/>
                    <a:gd name="T64" fmla="*/ 18 w 27"/>
                    <a:gd name="T65" fmla="*/ 0 h 36"/>
                    <a:gd name="T66" fmla="*/ 18 w 27"/>
                    <a:gd name="T67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7" h="36">
                      <a:moveTo>
                        <a:pt x="18" y="0"/>
                      </a:moveTo>
                      <a:lnTo>
                        <a:pt x="18" y="1"/>
                      </a:lnTo>
                      <a:lnTo>
                        <a:pt x="18" y="5"/>
                      </a:lnTo>
                      <a:lnTo>
                        <a:pt x="15" y="8"/>
                      </a:lnTo>
                      <a:lnTo>
                        <a:pt x="13" y="6"/>
                      </a:lnTo>
                      <a:lnTo>
                        <a:pt x="12" y="6"/>
                      </a:lnTo>
                      <a:lnTo>
                        <a:pt x="7" y="11"/>
                      </a:lnTo>
                      <a:lnTo>
                        <a:pt x="5" y="11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2" y="16"/>
                      </a:lnTo>
                      <a:lnTo>
                        <a:pt x="2" y="26"/>
                      </a:lnTo>
                      <a:lnTo>
                        <a:pt x="4" y="31"/>
                      </a:lnTo>
                      <a:lnTo>
                        <a:pt x="7" y="36"/>
                      </a:lnTo>
                      <a:lnTo>
                        <a:pt x="10" y="36"/>
                      </a:lnTo>
                      <a:lnTo>
                        <a:pt x="15" y="34"/>
                      </a:lnTo>
                      <a:lnTo>
                        <a:pt x="20" y="32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27" y="28"/>
                      </a:lnTo>
                      <a:lnTo>
                        <a:pt x="25" y="26"/>
                      </a:lnTo>
                      <a:lnTo>
                        <a:pt x="22" y="23"/>
                      </a:lnTo>
                      <a:lnTo>
                        <a:pt x="18" y="21"/>
                      </a:lnTo>
                      <a:lnTo>
                        <a:pt x="17" y="16"/>
                      </a:lnTo>
                      <a:lnTo>
                        <a:pt x="17" y="14"/>
                      </a:lnTo>
                      <a:lnTo>
                        <a:pt x="20" y="13"/>
                      </a:lnTo>
                      <a:lnTo>
                        <a:pt x="23" y="13"/>
                      </a:lnTo>
                      <a:lnTo>
                        <a:pt x="27" y="11"/>
                      </a:lnTo>
                      <a:lnTo>
                        <a:pt x="27" y="10"/>
                      </a:lnTo>
                      <a:lnTo>
                        <a:pt x="23" y="5"/>
                      </a:lnTo>
                      <a:lnTo>
                        <a:pt x="20" y="3"/>
                      </a:lnTo>
                      <a:lnTo>
                        <a:pt x="18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8" name="Freeform 47">
                  <a:extLst>
                    <a:ext uri="{FF2B5EF4-FFF2-40B4-BE49-F238E27FC236}">
                      <a16:creationId xmlns:a16="http://schemas.microsoft.com/office/drawing/2014/main" xmlns="" id="{A355F308-C345-4A2A-A048-84B11E46A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4" y="131"/>
                  <a:ext cx="24" cy="37"/>
                </a:xfrm>
                <a:custGeom>
                  <a:avLst/>
                  <a:gdLst>
                    <a:gd name="T0" fmla="*/ 11 w 24"/>
                    <a:gd name="T1" fmla="*/ 37 h 37"/>
                    <a:gd name="T2" fmla="*/ 9 w 24"/>
                    <a:gd name="T3" fmla="*/ 36 h 37"/>
                    <a:gd name="T4" fmla="*/ 9 w 24"/>
                    <a:gd name="T5" fmla="*/ 32 h 37"/>
                    <a:gd name="T6" fmla="*/ 6 w 24"/>
                    <a:gd name="T7" fmla="*/ 31 h 37"/>
                    <a:gd name="T8" fmla="*/ 3 w 24"/>
                    <a:gd name="T9" fmla="*/ 31 h 37"/>
                    <a:gd name="T10" fmla="*/ 1 w 24"/>
                    <a:gd name="T11" fmla="*/ 28 h 37"/>
                    <a:gd name="T12" fmla="*/ 1 w 24"/>
                    <a:gd name="T13" fmla="*/ 26 h 37"/>
                    <a:gd name="T14" fmla="*/ 3 w 24"/>
                    <a:gd name="T15" fmla="*/ 23 h 37"/>
                    <a:gd name="T16" fmla="*/ 0 w 24"/>
                    <a:gd name="T17" fmla="*/ 19 h 37"/>
                    <a:gd name="T18" fmla="*/ 0 w 24"/>
                    <a:gd name="T19" fmla="*/ 14 h 37"/>
                    <a:gd name="T20" fmla="*/ 1 w 24"/>
                    <a:gd name="T21" fmla="*/ 11 h 37"/>
                    <a:gd name="T22" fmla="*/ 3 w 24"/>
                    <a:gd name="T23" fmla="*/ 10 h 37"/>
                    <a:gd name="T24" fmla="*/ 6 w 24"/>
                    <a:gd name="T25" fmla="*/ 5 h 37"/>
                    <a:gd name="T26" fmla="*/ 6 w 24"/>
                    <a:gd name="T27" fmla="*/ 3 h 37"/>
                    <a:gd name="T28" fmla="*/ 8 w 24"/>
                    <a:gd name="T29" fmla="*/ 1 h 37"/>
                    <a:gd name="T30" fmla="*/ 9 w 24"/>
                    <a:gd name="T31" fmla="*/ 0 h 37"/>
                    <a:gd name="T32" fmla="*/ 11 w 24"/>
                    <a:gd name="T33" fmla="*/ 1 h 37"/>
                    <a:gd name="T34" fmla="*/ 14 w 24"/>
                    <a:gd name="T35" fmla="*/ 3 h 37"/>
                    <a:gd name="T36" fmla="*/ 16 w 24"/>
                    <a:gd name="T37" fmla="*/ 6 h 37"/>
                    <a:gd name="T38" fmla="*/ 16 w 24"/>
                    <a:gd name="T39" fmla="*/ 11 h 37"/>
                    <a:gd name="T40" fmla="*/ 16 w 24"/>
                    <a:gd name="T41" fmla="*/ 13 h 37"/>
                    <a:gd name="T42" fmla="*/ 19 w 24"/>
                    <a:gd name="T43" fmla="*/ 14 h 37"/>
                    <a:gd name="T44" fmla="*/ 22 w 24"/>
                    <a:gd name="T45" fmla="*/ 18 h 37"/>
                    <a:gd name="T46" fmla="*/ 24 w 24"/>
                    <a:gd name="T47" fmla="*/ 18 h 37"/>
                    <a:gd name="T48" fmla="*/ 24 w 24"/>
                    <a:gd name="T49" fmla="*/ 19 h 37"/>
                    <a:gd name="T50" fmla="*/ 19 w 24"/>
                    <a:gd name="T51" fmla="*/ 23 h 37"/>
                    <a:gd name="T52" fmla="*/ 14 w 24"/>
                    <a:gd name="T53" fmla="*/ 24 h 37"/>
                    <a:gd name="T54" fmla="*/ 14 w 24"/>
                    <a:gd name="T55" fmla="*/ 26 h 37"/>
                    <a:gd name="T56" fmla="*/ 14 w 24"/>
                    <a:gd name="T57" fmla="*/ 29 h 37"/>
                    <a:gd name="T58" fmla="*/ 14 w 24"/>
                    <a:gd name="T59" fmla="*/ 34 h 37"/>
                    <a:gd name="T60" fmla="*/ 11 w 24"/>
                    <a:gd name="T61" fmla="*/ 37 h 37"/>
                    <a:gd name="T62" fmla="*/ 11 w 24"/>
                    <a:gd name="T63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" h="37">
                      <a:moveTo>
                        <a:pt x="11" y="37"/>
                      </a:moveTo>
                      <a:lnTo>
                        <a:pt x="9" y="36"/>
                      </a:lnTo>
                      <a:lnTo>
                        <a:pt x="9" y="32"/>
                      </a:lnTo>
                      <a:lnTo>
                        <a:pt x="6" y="31"/>
                      </a:lnTo>
                      <a:lnTo>
                        <a:pt x="3" y="31"/>
                      </a:lnTo>
                      <a:lnTo>
                        <a:pt x="1" y="28"/>
                      </a:lnTo>
                      <a:lnTo>
                        <a:pt x="1" y="26"/>
                      </a:lnTo>
                      <a:lnTo>
                        <a:pt x="3" y="23"/>
                      </a:lnTo>
                      <a:lnTo>
                        <a:pt x="0" y="19"/>
                      </a:lnTo>
                      <a:lnTo>
                        <a:pt x="0" y="14"/>
                      </a:lnTo>
                      <a:lnTo>
                        <a:pt x="1" y="11"/>
                      </a:lnTo>
                      <a:lnTo>
                        <a:pt x="3" y="10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4" y="3"/>
                      </a:lnTo>
                      <a:lnTo>
                        <a:pt x="16" y="6"/>
                      </a:lnTo>
                      <a:lnTo>
                        <a:pt x="16" y="11"/>
                      </a:lnTo>
                      <a:lnTo>
                        <a:pt x="16" y="13"/>
                      </a:lnTo>
                      <a:lnTo>
                        <a:pt x="19" y="14"/>
                      </a:lnTo>
                      <a:lnTo>
                        <a:pt x="22" y="18"/>
                      </a:lnTo>
                      <a:lnTo>
                        <a:pt x="24" y="18"/>
                      </a:lnTo>
                      <a:lnTo>
                        <a:pt x="24" y="19"/>
                      </a:lnTo>
                      <a:lnTo>
                        <a:pt x="19" y="23"/>
                      </a:lnTo>
                      <a:lnTo>
                        <a:pt x="14" y="24"/>
                      </a:lnTo>
                      <a:lnTo>
                        <a:pt x="14" y="26"/>
                      </a:lnTo>
                      <a:lnTo>
                        <a:pt x="14" y="29"/>
                      </a:lnTo>
                      <a:lnTo>
                        <a:pt x="14" y="34"/>
                      </a:lnTo>
                      <a:lnTo>
                        <a:pt x="11" y="37"/>
                      </a:lnTo>
                      <a:lnTo>
                        <a:pt x="11" y="3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9" name="Freeform 48">
                  <a:extLst>
                    <a:ext uri="{FF2B5EF4-FFF2-40B4-BE49-F238E27FC236}">
                      <a16:creationId xmlns:a16="http://schemas.microsoft.com/office/drawing/2014/main" xmlns="" id="{179C5D94-8B02-4A0B-8451-B6D22ACF5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2" y="255"/>
                  <a:ext cx="2" cy="5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2 h 5"/>
                    <a:gd name="T6" fmla="*/ 0 w 2"/>
                    <a:gd name="T7" fmla="*/ 0 h 5"/>
                    <a:gd name="T8" fmla="*/ 0 w 2"/>
                    <a:gd name="T9" fmla="*/ 2 h 5"/>
                    <a:gd name="T10" fmla="*/ 0 w 2"/>
                    <a:gd name="T11" fmla="*/ 5 h 5"/>
                    <a:gd name="T12" fmla="*/ 0 w 2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0" name="Freeform 49">
                  <a:extLst>
                    <a:ext uri="{FF2B5EF4-FFF2-40B4-BE49-F238E27FC236}">
                      <a16:creationId xmlns:a16="http://schemas.microsoft.com/office/drawing/2014/main" xmlns="" id="{D449D35A-2A3D-4E09-AFF2-951988D0F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9" y="253"/>
                  <a:ext cx="5" cy="4"/>
                </a:xfrm>
                <a:custGeom>
                  <a:avLst/>
                  <a:gdLst>
                    <a:gd name="T0" fmla="*/ 2 w 5"/>
                    <a:gd name="T1" fmla="*/ 4 h 4"/>
                    <a:gd name="T2" fmla="*/ 3 w 5"/>
                    <a:gd name="T3" fmla="*/ 4 h 4"/>
                    <a:gd name="T4" fmla="*/ 5 w 5"/>
                    <a:gd name="T5" fmla="*/ 2 h 4"/>
                    <a:gd name="T6" fmla="*/ 0 w 5"/>
                    <a:gd name="T7" fmla="*/ 0 h 4"/>
                    <a:gd name="T8" fmla="*/ 0 w 5"/>
                    <a:gd name="T9" fmla="*/ 2 h 4"/>
                    <a:gd name="T10" fmla="*/ 2 w 5"/>
                    <a:gd name="T11" fmla="*/ 4 h 4"/>
                    <a:gd name="T12" fmla="*/ 2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1" name="Freeform 50">
                  <a:extLst>
                    <a:ext uri="{FF2B5EF4-FFF2-40B4-BE49-F238E27FC236}">
                      <a16:creationId xmlns:a16="http://schemas.microsoft.com/office/drawing/2014/main" xmlns="" id="{F813D70A-C382-45B4-8AED-4DF1DBACFA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6" y="257"/>
                  <a:ext cx="5" cy="4"/>
                </a:xfrm>
                <a:custGeom>
                  <a:avLst/>
                  <a:gdLst>
                    <a:gd name="T0" fmla="*/ 3 w 5"/>
                    <a:gd name="T1" fmla="*/ 4 h 4"/>
                    <a:gd name="T2" fmla="*/ 3 w 5"/>
                    <a:gd name="T3" fmla="*/ 4 h 4"/>
                    <a:gd name="T4" fmla="*/ 5 w 5"/>
                    <a:gd name="T5" fmla="*/ 3 h 4"/>
                    <a:gd name="T6" fmla="*/ 5 w 5"/>
                    <a:gd name="T7" fmla="*/ 0 h 4"/>
                    <a:gd name="T8" fmla="*/ 2 w 5"/>
                    <a:gd name="T9" fmla="*/ 0 h 4"/>
                    <a:gd name="T10" fmla="*/ 0 w 5"/>
                    <a:gd name="T11" fmla="*/ 1 h 4"/>
                    <a:gd name="T12" fmla="*/ 3 w 5"/>
                    <a:gd name="T13" fmla="*/ 4 h 4"/>
                    <a:gd name="T14" fmla="*/ 3 w 5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2" name="Freeform 51">
                  <a:extLst>
                    <a:ext uri="{FF2B5EF4-FFF2-40B4-BE49-F238E27FC236}">
                      <a16:creationId xmlns:a16="http://schemas.microsoft.com/office/drawing/2014/main" xmlns="" id="{5AA07450-AF31-4CF8-9849-76797A2CA3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2" y="603"/>
                  <a:ext cx="3" cy="5"/>
                </a:xfrm>
                <a:custGeom>
                  <a:avLst/>
                  <a:gdLst>
                    <a:gd name="T0" fmla="*/ 2 w 3"/>
                    <a:gd name="T1" fmla="*/ 2 h 5"/>
                    <a:gd name="T2" fmla="*/ 0 w 3"/>
                    <a:gd name="T3" fmla="*/ 2 h 5"/>
                    <a:gd name="T4" fmla="*/ 2 w 3"/>
                    <a:gd name="T5" fmla="*/ 5 h 5"/>
                    <a:gd name="T6" fmla="*/ 3 w 3"/>
                    <a:gd name="T7" fmla="*/ 3 h 5"/>
                    <a:gd name="T8" fmla="*/ 3 w 3"/>
                    <a:gd name="T9" fmla="*/ 2 h 5"/>
                    <a:gd name="T10" fmla="*/ 2 w 3"/>
                    <a:gd name="T11" fmla="*/ 0 h 5"/>
                    <a:gd name="T12" fmla="*/ 2 w 3"/>
                    <a:gd name="T13" fmla="*/ 2 h 5"/>
                    <a:gd name="T14" fmla="*/ 2 w 3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3" name="Freeform 52">
                  <a:extLst>
                    <a:ext uri="{FF2B5EF4-FFF2-40B4-BE49-F238E27FC236}">
                      <a16:creationId xmlns:a16="http://schemas.microsoft.com/office/drawing/2014/main" xmlns="" id="{2F9EB40A-B311-471E-82B6-623004E034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9" y="596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3 w 5"/>
                    <a:gd name="T3" fmla="*/ 5 h 5"/>
                    <a:gd name="T4" fmla="*/ 5 w 5"/>
                    <a:gd name="T5" fmla="*/ 5 h 5"/>
                    <a:gd name="T6" fmla="*/ 5 w 5"/>
                    <a:gd name="T7" fmla="*/ 4 h 5"/>
                    <a:gd name="T8" fmla="*/ 3 w 5"/>
                    <a:gd name="T9" fmla="*/ 0 h 5"/>
                    <a:gd name="T10" fmla="*/ 0 w 5"/>
                    <a:gd name="T11" fmla="*/ 0 h 5"/>
                    <a:gd name="T12" fmla="*/ 0 w 5"/>
                    <a:gd name="T13" fmla="*/ 2 h 5"/>
                    <a:gd name="T14" fmla="*/ 0 w 5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4" name="Freeform 53">
                  <a:extLst>
                    <a:ext uri="{FF2B5EF4-FFF2-40B4-BE49-F238E27FC236}">
                      <a16:creationId xmlns:a16="http://schemas.microsoft.com/office/drawing/2014/main" xmlns="" id="{DDC810F0-1072-4F4D-B460-166B2ACA8A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3" y="394"/>
                  <a:ext cx="8" cy="8"/>
                </a:xfrm>
                <a:custGeom>
                  <a:avLst/>
                  <a:gdLst>
                    <a:gd name="T0" fmla="*/ 1 w 8"/>
                    <a:gd name="T1" fmla="*/ 8 h 8"/>
                    <a:gd name="T2" fmla="*/ 1 w 8"/>
                    <a:gd name="T3" fmla="*/ 8 h 8"/>
                    <a:gd name="T4" fmla="*/ 3 w 8"/>
                    <a:gd name="T5" fmla="*/ 6 h 8"/>
                    <a:gd name="T6" fmla="*/ 8 w 8"/>
                    <a:gd name="T7" fmla="*/ 3 h 8"/>
                    <a:gd name="T8" fmla="*/ 8 w 8"/>
                    <a:gd name="T9" fmla="*/ 0 h 8"/>
                    <a:gd name="T10" fmla="*/ 6 w 8"/>
                    <a:gd name="T11" fmla="*/ 0 h 8"/>
                    <a:gd name="T12" fmla="*/ 3 w 8"/>
                    <a:gd name="T13" fmla="*/ 3 h 8"/>
                    <a:gd name="T14" fmla="*/ 1 w 8"/>
                    <a:gd name="T15" fmla="*/ 3 h 8"/>
                    <a:gd name="T16" fmla="*/ 0 w 8"/>
                    <a:gd name="T17" fmla="*/ 6 h 8"/>
                    <a:gd name="T18" fmla="*/ 1 w 8"/>
                    <a:gd name="T19" fmla="*/ 8 h 8"/>
                    <a:gd name="T20" fmla="*/ 1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1" y="8"/>
                      </a:move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8" y="3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1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5" name="Freeform 54">
                  <a:extLst>
                    <a:ext uri="{FF2B5EF4-FFF2-40B4-BE49-F238E27FC236}">
                      <a16:creationId xmlns:a16="http://schemas.microsoft.com/office/drawing/2014/main" xmlns="" id="{8AEB0C17-A811-42A7-ABC6-2F71CDF02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5" y="333"/>
                  <a:ext cx="134" cy="172"/>
                </a:xfrm>
                <a:custGeom>
                  <a:avLst/>
                  <a:gdLst>
                    <a:gd name="T0" fmla="*/ 16 w 82"/>
                    <a:gd name="T1" fmla="*/ 103 h 105"/>
                    <a:gd name="T2" fmla="*/ 19 w 82"/>
                    <a:gd name="T3" fmla="*/ 102 h 105"/>
                    <a:gd name="T4" fmla="*/ 26 w 82"/>
                    <a:gd name="T5" fmla="*/ 104 h 105"/>
                    <a:gd name="T6" fmla="*/ 30 w 82"/>
                    <a:gd name="T7" fmla="*/ 95 h 105"/>
                    <a:gd name="T8" fmla="*/ 24 w 82"/>
                    <a:gd name="T9" fmla="*/ 90 h 105"/>
                    <a:gd name="T10" fmla="*/ 29 w 82"/>
                    <a:gd name="T11" fmla="*/ 92 h 105"/>
                    <a:gd name="T12" fmla="*/ 26 w 82"/>
                    <a:gd name="T13" fmla="*/ 83 h 105"/>
                    <a:gd name="T14" fmla="*/ 32 w 82"/>
                    <a:gd name="T15" fmla="*/ 86 h 105"/>
                    <a:gd name="T16" fmla="*/ 32 w 82"/>
                    <a:gd name="T17" fmla="*/ 80 h 105"/>
                    <a:gd name="T18" fmla="*/ 32 w 82"/>
                    <a:gd name="T19" fmla="*/ 75 h 105"/>
                    <a:gd name="T20" fmla="*/ 32 w 82"/>
                    <a:gd name="T21" fmla="*/ 69 h 105"/>
                    <a:gd name="T22" fmla="*/ 37 w 82"/>
                    <a:gd name="T23" fmla="*/ 69 h 105"/>
                    <a:gd name="T24" fmla="*/ 41 w 82"/>
                    <a:gd name="T25" fmla="*/ 65 h 105"/>
                    <a:gd name="T26" fmla="*/ 42 w 82"/>
                    <a:gd name="T27" fmla="*/ 60 h 105"/>
                    <a:gd name="T28" fmla="*/ 47 w 82"/>
                    <a:gd name="T29" fmla="*/ 54 h 105"/>
                    <a:gd name="T30" fmla="*/ 53 w 82"/>
                    <a:gd name="T31" fmla="*/ 44 h 105"/>
                    <a:gd name="T32" fmla="*/ 67 w 82"/>
                    <a:gd name="T33" fmla="*/ 30 h 105"/>
                    <a:gd name="T34" fmla="*/ 78 w 82"/>
                    <a:gd name="T35" fmla="*/ 22 h 105"/>
                    <a:gd name="T36" fmla="*/ 82 w 82"/>
                    <a:gd name="T37" fmla="*/ 18 h 105"/>
                    <a:gd name="T38" fmla="*/ 80 w 82"/>
                    <a:gd name="T39" fmla="*/ 11 h 105"/>
                    <a:gd name="T40" fmla="*/ 78 w 82"/>
                    <a:gd name="T41" fmla="*/ 4 h 105"/>
                    <a:gd name="T42" fmla="*/ 72 w 82"/>
                    <a:gd name="T43" fmla="*/ 1 h 105"/>
                    <a:gd name="T44" fmla="*/ 65 w 82"/>
                    <a:gd name="T45" fmla="*/ 3 h 105"/>
                    <a:gd name="T46" fmla="*/ 60 w 82"/>
                    <a:gd name="T47" fmla="*/ 9 h 105"/>
                    <a:gd name="T48" fmla="*/ 58 w 82"/>
                    <a:gd name="T49" fmla="*/ 14 h 105"/>
                    <a:gd name="T50" fmla="*/ 52 w 82"/>
                    <a:gd name="T51" fmla="*/ 21 h 105"/>
                    <a:gd name="T52" fmla="*/ 45 w 82"/>
                    <a:gd name="T53" fmla="*/ 25 h 105"/>
                    <a:gd name="T54" fmla="*/ 41 w 82"/>
                    <a:gd name="T55" fmla="*/ 26 h 105"/>
                    <a:gd name="T56" fmla="*/ 37 w 82"/>
                    <a:gd name="T57" fmla="*/ 26 h 105"/>
                    <a:gd name="T58" fmla="*/ 31 w 82"/>
                    <a:gd name="T59" fmla="*/ 31 h 105"/>
                    <a:gd name="T60" fmla="*/ 29 w 82"/>
                    <a:gd name="T61" fmla="*/ 35 h 105"/>
                    <a:gd name="T62" fmla="*/ 27 w 82"/>
                    <a:gd name="T63" fmla="*/ 33 h 105"/>
                    <a:gd name="T64" fmla="*/ 25 w 82"/>
                    <a:gd name="T65" fmla="*/ 39 h 105"/>
                    <a:gd name="T66" fmla="*/ 19 w 82"/>
                    <a:gd name="T67" fmla="*/ 43 h 105"/>
                    <a:gd name="T68" fmla="*/ 16 w 82"/>
                    <a:gd name="T69" fmla="*/ 48 h 105"/>
                    <a:gd name="T70" fmla="*/ 17 w 82"/>
                    <a:gd name="T71" fmla="*/ 53 h 105"/>
                    <a:gd name="T72" fmla="*/ 15 w 82"/>
                    <a:gd name="T73" fmla="*/ 57 h 105"/>
                    <a:gd name="T74" fmla="*/ 9 w 82"/>
                    <a:gd name="T75" fmla="*/ 62 h 105"/>
                    <a:gd name="T76" fmla="*/ 4 w 82"/>
                    <a:gd name="T77" fmla="*/ 60 h 105"/>
                    <a:gd name="T78" fmla="*/ 7 w 82"/>
                    <a:gd name="T79" fmla="*/ 66 h 105"/>
                    <a:gd name="T80" fmla="*/ 9 w 82"/>
                    <a:gd name="T81" fmla="*/ 70 h 105"/>
                    <a:gd name="T82" fmla="*/ 14 w 82"/>
                    <a:gd name="T83" fmla="*/ 70 h 105"/>
                    <a:gd name="T84" fmla="*/ 8 w 82"/>
                    <a:gd name="T85" fmla="*/ 73 h 105"/>
                    <a:gd name="T86" fmla="*/ 12 w 82"/>
                    <a:gd name="T87" fmla="*/ 76 h 105"/>
                    <a:gd name="T88" fmla="*/ 7 w 82"/>
                    <a:gd name="T89" fmla="*/ 80 h 105"/>
                    <a:gd name="T90" fmla="*/ 11 w 82"/>
                    <a:gd name="T91" fmla="*/ 82 h 105"/>
                    <a:gd name="T92" fmla="*/ 11 w 82"/>
                    <a:gd name="T93" fmla="*/ 84 h 105"/>
                    <a:gd name="T94" fmla="*/ 14 w 82"/>
                    <a:gd name="T95" fmla="*/ 87 h 105"/>
                    <a:gd name="T96" fmla="*/ 6 w 82"/>
                    <a:gd name="T97" fmla="*/ 86 h 105"/>
                    <a:gd name="T98" fmla="*/ 5 w 82"/>
                    <a:gd name="T99" fmla="*/ 91 h 105"/>
                    <a:gd name="T100" fmla="*/ 2 w 82"/>
                    <a:gd name="T101" fmla="*/ 95 h 105"/>
                    <a:gd name="T102" fmla="*/ 4 w 82"/>
                    <a:gd name="T103" fmla="*/ 100 h 105"/>
                    <a:gd name="T104" fmla="*/ 11 w 82"/>
                    <a:gd name="T105" fmla="*/ 95 h 105"/>
                    <a:gd name="T106" fmla="*/ 12 w 82"/>
                    <a:gd name="T107" fmla="*/ 96 h 105"/>
                    <a:gd name="T108" fmla="*/ 6 w 82"/>
                    <a:gd name="T109" fmla="*/ 102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2" h="105">
                      <a:moveTo>
                        <a:pt x="6" y="105"/>
                      </a:move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14" y="103"/>
                        <a:pt x="14" y="103"/>
                        <a:pt x="14" y="103"/>
                      </a:cubicBezTo>
                      <a:cubicBezTo>
                        <a:pt x="16" y="103"/>
                        <a:pt x="16" y="103"/>
                        <a:pt x="16" y="103"/>
                      </a:cubicBezTo>
                      <a:cubicBezTo>
                        <a:pt x="17" y="104"/>
                        <a:pt x="17" y="104"/>
                        <a:pt x="17" y="104"/>
                      </a:cubicBezTo>
                      <a:cubicBezTo>
                        <a:pt x="19" y="105"/>
                        <a:pt x="19" y="105"/>
                        <a:pt x="19" y="105"/>
                      </a:cubicBezTo>
                      <a:cubicBezTo>
                        <a:pt x="20" y="104"/>
                        <a:pt x="20" y="104"/>
                        <a:pt x="20" y="104"/>
                      </a:cubicBezTo>
                      <a:cubicBezTo>
                        <a:pt x="19" y="103"/>
                        <a:pt x="19" y="103"/>
                        <a:pt x="19" y="103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0" y="102"/>
                        <a:pt x="20" y="102"/>
                        <a:pt x="20" y="102"/>
                      </a:cubicBezTo>
                      <a:cubicBezTo>
                        <a:pt x="21" y="104"/>
                        <a:pt x="21" y="104"/>
                        <a:pt x="21" y="104"/>
                      </a:cubicBezTo>
                      <a:cubicBezTo>
                        <a:pt x="23" y="105"/>
                        <a:pt x="23" y="105"/>
                        <a:pt x="23" y="105"/>
                      </a:cubicBezTo>
                      <a:cubicBezTo>
                        <a:pt x="26" y="105"/>
                        <a:pt x="26" y="105"/>
                        <a:pt x="26" y="105"/>
                      </a:cubicBezTo>
                      <a:cubicBezTo>
                        <a:pt x="26" y="104"/>
                        <a:pt x="26" y="104"/>
                        <a:pt x="26" y="104"/>
                      </a:cubicBezTo>
                      <a:cubicBezTo>
                        <a:pt x="28" y="103"/>
                        <a:pt x="28" y="103"/>
                        <a:pt x="28" y="103"/>
                      </a:cubicBezTo>
                      <a:cubicBezTo>
                        <a:pt x="29" y="101"/>
                        <a:pt x="29" y="101"/>
                        <a:pt x="29" y="101"/>
                      </a:cubicBezTo>
                      <a:cubicBezTo>
                        <a:pt x="28" y="99"/>
                        <a:pt x="28" y="99"/>
                        <a:pt x="28" y="99"/>
                      </a:cubicBezTo>
                      <a:cubicBezTo>
                        <a:pt x="30" y="97"/>
                        <a:pt x="30" y="97"/>
                        <a:pt x="30" y="97"/>
                      </a:cubicBezTo>
                      <a:cubicBezTo>
                        <a:pt x="30" y="95"/>
                        <a:pt x="30" y="95"/>
                        <a:pt x="30" y="95"/>
                      </a:cubicBezTo>
                      <a:cubicBezTo>
                        <a:pt x="29" y="94"/>
                        <a:pt x="29" y="94"/>
                        <a:pt x="29" y="94"/>
                      </a:cubicBezTo>
                      <a:cubicBezTo>
                        <a:pt x="28" y="91"/>
                        <a:pt x="28" y="91"/>
                        <a:pt x="28" y="91"/>
                      </a:cubicBezTo>
                      <a:cubicBezTo>
                        <a:pt x="26" y="91"/>
                        <a:pt x="26" y="91"/>
                        <a:pt x="26" y="91"/>
                      </a:cubicBezTo>
                      <a:cubicBezTo>
                        <a:pt x="24" y="91"/>
                        <a:pt x="24" y="91"/>
                        <a:pt x="24" y="91"/>
                      </a:cubicBezTo>
                      <a:cubicBezTo>
                        <a:pt x="24" y="90"/>
                        <a:pt x="24" y="90"/>
                        <a:pt x="24" y="90"/>
                      </a:cubicBezTo>
                      <a:cubicBezTo>
                        <a:pt x="25" y="89"/>
                        <a:pt x="25" y="89"/>
                        <a:pt x="25" y="89"/>
                      </a:cubicBezTo>
                      <a:cubicBezTo>
                        <a:pt x="26" y="90"/>
                        <a:pt x="26" y="90"/>
                        <a:pt x="26" y="90"/>
                      </a:cubicBezTo>
                      <a:cubicBezTo>
                        <a:pt x="28" y="89"/>
                        <a:pt x="28" y="89"/>
                        <a:pt x="28" y="89"/>
                      </a:cubicBezTo>
                      <a:cubicBezTo>
                        <a:pt x="29" y="91"/>
                        <a:pt x="29" y="91"/>
                        <a:pt x="29" y="91"/>
                      </a:cubicBezTo>
                      <a:cubicBezTo>
                        <a:pt x="29" y="92"/>
                        <a:pt x="29" y="92"/>
                        <a:pt x="29" y="92"/>
                      </a:cubicBezTo>
                      <a:cubicBezTo>
                        <a:pt x="30" y="93"/>
                        <a:pt x="30" y="93"/>
                        <a:pt x="30" y="93"/>
                      </a:cubicBezTo>
                      <a:cubicBezTo>
                        <a:pt x="31" y="91"/>
                        <a:pt x="31" y="91"/>
                        <a:pt x="31" y="91"/>
                      </a:cubicBezTo>
                      <a:cubicBezTo>
                        <a:pt x="30" y="88"/>
                        <a:pt x="30" y="88"/>
                        <a:pt x="30" y="88"/>
                      </a:cubicBezTo>
                      <a:cubicBezTo>
                        <a:pt x="28" y="86"/>
                        <a:pt x="28" y="86"/>
                        <a:pt x="28" y="86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2"/>
                        <a:pt x="26" y="82"/>
                        <a:pt x="26" y="82"/>
                      </a:cubicBezTo>
                      <a:cubicBezTo>
                        <a:pt x="28" y="83"/>
                        <a:pt x="28" y="83"/>
                        <a:pt x="28" y="83"/>
                      </a:cubicBezTo>
                      <a:cubicBezTo>
                        <a:pt x="28" y="85"/>
                        <a:pt x="28" y="85"/>
                        <a:pt x="28" y="85"/>
                      </a:cubicBezTo>
                      <a:cubicBezTo>
                        <a:pt x="30" y="86"/>
                        <a:pt x="30" y="86"/>
                        <a:pt x="30" y="86"/>
                      </a:cubicBezTo>
                      <a:cubicBezTo>
                        <a:pt x="32" y="86"/>
                        <a:pt x="32" y="86"/>
                        <a:pt x="32" y="86"/>
                      </a:cubicBezTo>
                      <a:cubicBezTo>
                        <a:pt x="32" y="85"/>
                        <a:pt x="32" y="85"/>
                        <a:pt x="32" y="85"/>
                      </a:cubicBezTo>
                      <a:cubicBezTo>
                        <a:pt x="32" y="84"/>
                        <a:pt x="32" y="84"/>
                        <a:pt x="32" y="84"/>
                      </a:cubicBezTo>
                      <a:cubicBezTo>
                        <a:pt x="31" y="83"/>
                        <a:pt x="31" y="83"/>
                        <a:pt x="31" y="83"/>
                      </a:cubicBezTo>
                      <a:cubicBezTo>
                        <a:pt x="31" y="82"/>
                        <a:pt x="31" y="82"/>
                        <a:pt x="31" y="82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1" y="76"/>
                        <a:pt x="31" y="76"/>
                        <a:pt x="31" y="76"/>
                      </a:cubicBezTo>
                      <a:cubicBezTo>
                        <a:pt x="29" y="73"/>
                        <a:pt x="29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33" y="74"/>
                        <a:pt x="33" y="74"/>
                        <a:pt x="33" y="74"/>
                      </a:cubicBezTo>
                      <a:cubicBezTo>
                        <a:pt x="34" y="72"/>
                        <a:pt x="34" y="72"/>
                        <a:pt x="34" y="72"/>
                      </a:cubicBezTo>
                      <a:cubicBezTo>
                        <a:pt x="33" y="72"/>
                        <a:pt x="33" y="72"/>
                        <a:pt x="33" y="72"/>
                      </a:cubicBezTo>
                      <a:cubicBezTo>
                        <a:pt x="32" y="71"/>
                        <a:pt x="32" y="71"/>
                        <a:pt x="32" y="71"/>
                      </a:cubicBezTo>
                      <a:cubicBezTo>
                        <a:pt x="32" y="69"/>
                        <a:pt x="32" y="69"/>
                        <a:pt x="32" y="69"/>
                      </a:cubicBezTo>
                      <a:cubicBezTo>
                        <a:pt x="33" y="69"/>
                        <a:pt x="33" y="69"/>
                        <a:pt x="33" y="69"/>
                      </a:cubicBezTo>
                      <a:cubicBezTo>
                        <a:pt x="35" y="70"/>
                        <a:pt x="35" y="70"/>
                        <a:pt x="35" y="70"/>
                      </a:cubicBezTo>
                      <a:cubicBezTo>
                        <a:pt x="37" y="71"/>
                        <a:pt x="37" y="71"/>
                        <a:pt x="37" y="71"/>
                      </a:cubicBezTo>
                      <a:cubicBezTo>
                        <a:pt x="38" y="70"/>
                        <a:pt x="38" y="70"/>
                        <a:pt x="38" y="70"/>
                      </a:cubicBezTo>
                      <a:cubicBezTo>
                        <a:pt x="37" y="69"/>
                        <a:pt x="37" y="69"/>
                        <a:pt x="37" y="69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39" y="68"/>
                        <a:pt x="39" y="68"/>
                        <a:pt x="39" y="68"/>
                      </a:cubicBezTo>
                      <a:cubicBezTo>
                        <a:pt x="41" y="67"/>
                        <a:pt x="41" y="67"/>
                        <a:pt x="41" y="67"/>
                      </a:cubicBezTo>
                      <a:cubicBezTo>
                        <a:pt x="41" y="65"/>
                        <a:pt x="41" y="65"/>
                        <a:pt x="41" y="65"/>
                      </a:cubicBez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43" y="62"/>
                        <a:pt x="43" y="62"/>
                        <a:pt x="43" y="62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2" y="60"/>
                        <a:pt x="42" y="60"/>
                        <a:pt x="42" y="60"/>
                      </a:cubicBezTo>
                      <a:cubicBezTo>
                        <a:pt x="41" y="58"/>
                        <a:pt x="41" y="58"/>
                        <a:pt x="41" y="58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3" y="58"/>
                        <a:pt x="43" y="58"/>
                        <a:pt x="43" y="58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47" y="54"/>
                        <a:pt x="47" y="54"/>
                        <a:pt x="47" y="54"/>
                      </a:cubicBezTo>
                      <a:cubicBezTo>
                        <a:pt x="48" y="52"/>
                        <a:pt x="48" y="52"/>
                        <a:pt x="48" y="52"/>
                      </a:cubicBezTo>
                      <a:cubicBezTo>
                        <a:pt x="49" y="51"/>
                        <a:pt x="49" y="51"/>
                        <a:pt x="49" y="51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0"/>
                        <a:pt x="54" y="40"/>
                        <a:pt x="54" y="40"/>
                      </a:cubicBezTo>
                      <a:cubicBezTo>
                        <a:pt x="56" y="40"/>
                        <a:pt x="56" y="40"/>
                        <a:pt x="56" y="40"/>
                      </a:cubicBezTo>
                      <a:cubicBezTo>
                        <a:pt x="60" y="37"/>
                        <a:pt x="60" y="37"/>
                        <a:pt x="60" y="37"/>
                      </a:cubicBezTo>
                      <a:cubicBezTo>
                        <a:pt x="63" y="33"/>
                        <a:pt x="63" y="33"/>
                        <a:pt x="63" y="33"/>
                      </a:cubicBezTo>
                      <a:cubicBezTo>
                        <a:pt x="67" y="30"/>
                        <a:pt x="67" y="30"/>
                        <a:pt x="67" y="30"/>
                      </a:cubicBezTo>
                      <a:cubicBezTo>
                        <a:pt x="68" y="30"/>
                        <a:pt x="68" y="30"/>
                        <a:pt x="68" y="30"/>
                      </a:cubicBezTo>
                      <a:cubicBezTo>
                        <a:pt x="70" y="28"/>
                        <a:pt x="70" y="28"/>
                        <a:pt x="70" y="28"/>
                      </a:cubicBezTo>
                      <a:cubicBezTo>
                        <a:pt x="73" y="27"/>
                        <a:pt x="73" y="27"/>
                        <a:pt x="73" y="27"/>
                      </a:cubicBezTo>
                      <a:cubicBezTo>
                        <a:pt x="75" y="25"/>
                        <a:pt x="75" y="25"/>
                        <a:pt x="75" y="25"/>
                      </a:cubicBezTo>
                      <a:cubicBezTo>
                        <a:pt x="78" y="22"/>
                        <a:pt x="78" y="22"/>
                        <a:pt x="78" y="22"/>
                      </a:cubicBezTo>
                      <a:cubicBezTo>
                        <a:pt x="79" y="21"/>
                        <a:pt x="79" y="21"/>
                        <a:pt x="79" y="21"/>
                      </a:cubicBezTo>
                      <a:cubicBezTo>
                        <a:pt x="80" y="21"/>
                        <a:pt x="80" y="21"/>
                        <a:pt x="80" y="21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2" y="19"/>
                        <a:pt x="82" y="19"/>
                        <a:pt x="82" y="19"/>
                      </a:cubicBezTo>
                      <a:cubicBezTo>
                        <a:pt x="82" y="18"/>
                        <a:pt x="82" y="18"/>
                        <a:pt x="82" y="18"/>
                      </a:cubicBezTo>
                      <a:cubicBezTo>
                        <a:pt x="82" y="16"/>
                        <a:pt x="82" y="16"/>
                        <a:pt x="82" y="16"/>
                      </a:cubicBezTo>
                      <a:cubicBezTo>
                        <a:pt x="82" y="15"/>
                        <a:pt x="82" y="15"/>
                        <a:pt x="82" y="15"/>
                      </a:cubicBezTo>
                      <a:cubicBezTo>
                        <a:pt x="82" y="12"/>
                        <a:pt x="82" y="12"/>
                        <a:pt x="82" y="12"/>
                      </a:cubicBezTo>
                      <a:cubicBezTo>
                        <a:pt x="82" y="11"/>
                        <a:pt x="82" y="11"/>
                        <a:pt x="82" y="11"/>
                      </a:cubicBezTo>
                      <a:cubicBezTo>
                        <a:pt x="80" y="11"/>
                        <a:pt x="80" y="11"/>
                        <a:pt x="80" y="11"/>
                      </a:cubicBezTo>
                      <a:cubicBezTo>
                        <a:pt x="80" y="9"/>
                        <a:pt x="80" y="9"/>
                        <a:pt x="80" y="9"/>
                      </a:cubicBezTo>
                      <a:cubicBezTo>
                        <a:pt x="81" y="6"/>
                        <a:pt x="81" y="6"/>
                        <a:pt x="81" y="6"/>
                      </a:cubicBezTo>
                      <a:cubicBezTo>
                        <a:pt x="80" y="5"/>
                        <a:pt x="80" y="5"/>
                        <a:pt x="80" y="5"/>
                      </a:cubicBezTo>
                      <a:cubicBezTo>
                        <a:pt x="79" y="5"/>
                        <a:pt x="79" y="5"/>
                        <a:pt x="79" y="5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6" y="4"/>
                        <a:pt x="76" y="4"/>
                        <a:pt x="76" y="4"/>
                      </a:cubicBezTo>
                      <a:cubicBezTo>
                        <a:pt x="75" y="2"/>
                        <a:pt x="75" y="2"/>
                        <a:pt x="75" y="2"/>
                      </a:cubicBezTo>
                      <a:cubicBezTo>
                        <a:pt x="75" y="1"/>
                        <a:pt x="75" y="1"/>
                        <a:pt x="75" y="1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2" y="1"/>
                        <a:pt x="72" y="1"/>
                        <a:pt x="72" y="1"/>
                      </a:cubicBezTo>
                      <a:cubicBezTo>
                        <a:pt x="71" y="2"/>
                        <a:pt x="71" y="2"/>
                        <a:pt x="71" y="2"/>
                      </a:cubicBezTo>
                      <a:cubicBezTo>
                        <a:pt x="70" y="2"/>
                        <a:pt x="70" y="2"/>
                        <a:pt x="70" y="2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67" y="1"/>
                        <a:pt x="67" y="1"/>
                        <a:pt x="67" y="1"/>
                      </a:cubicBezTo>
                      <a:cubicBezTo>
                        <a:pt x="65" y="3"/>
                        <a:pt x="65" y="3"/>
                        <a:pt x="65" y="3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63" y="6"/>
                        <a:pt x="63" y="6"/>
                        <a:pt x="63" y="6"/>
                      </a:cubicBezTo>
                      <a:cubicBezTo>
                        <a:pt x="62" y="6"/>
                        <a:pt x="62" y="6"/>
                        <a:pt x="62" y="6"/>
                      </a:cubicBezTo>
                      <a:cubicBezTo>
                        <a:pt x="60" y="7"/>
                        <a:pt x="60" y="7"/>
                        <a:pt x="60" y="7"/>
                      </a:cubicBezTo>
                      <a:cubicBezTo>
                        <a:pt x="60" y="9"/>
                        <a:pt x="60" y="9"/>
                        <a:pt x="60" y="9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60" y="13"/>
                        <a:pt x="60" y="13"/>
                        <a:pt x="60" y="13"/>
                      </a:cubicBezTo>
                      <a:cubicBezTo>
                        <a:pt x="60" y="14"/>
                        <a:pt x="60" y="14"/>
                        <a:pt x="60" y="14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7" y="15"/>
                        <a:pt x="57" y="15"/>
                        <a:pt x="57" y="15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5" y="19"/>
                        <a:pt x="55" y="19"/>
                        <a:pt x="55" y="19"/>
                      </a:cubicBezTo>
                      <a:cubicBezTo>
                        <a:pt x="52" y="21"/>
                        <a:pt x="52" y="21"/>
                        <a:pt x="52" y="21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8" y="22"/>
                        <a:pt x="48" y="22"/>
                        <a:pt x="48" y="22"/>
                      </a:cubicBezTo>
                      <a:cubicBezTo>
                        <a:pt x="47" y="23"/>
                        <a:pt x="47" y="23"/>
                        <a:pt x="47" y="23"/>
                      </a:cubicBezTo>
                      <a:cubicBezTo>
                        <a:pt x="45" y="25"/>
                        <a:pt x="45" y="25"/>
                        <a:pt x="45" y="25"/>
                      </a:cubicBezTo>
                      <a:cubicBezTo>
                        <a:pt x="44" y="26"/>
                        <a:pt x="44" y="26"/>
                        <a:pt x="44" y="26"/>
                      </a:cubicBezTo>
                      <a:cubicBezTo>
                        <a:pt x="43" y="26"/>
                        <a:pt x="43" y="26"/>
                        <a:pt x="43" y="26"/>
                      </a:cubicBezTo>
                      <a:cubicBezTo>
                        <a:pt x="42" y="24"/>
                        <a:pt x="42" y="24"/>
                        <a:pt x="42" y="24"/>
                      </a:cubicBezTo>
                      <a:cubicBezTo>
                        <a:pt x="42" y="24"/>
                        <a:pt x="42" y="24"/>
                        <a:pt x="42" y="24"/>
                      </a:cubicBezTo>
                      <a:cubicBezTo>
                        <a:pt x="41" y="26"/>
                        <a:pt x="41" y="26"/>
                        <a:pt x="41" y="26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40" y="25"/>
                        <a:pt x="40" y="25"/>
                        <a:pt x="40" y="25"/>
                      </a:cubicBezTo>
                      <a:cubicBezTo>
                        <a:pt x="37" y="26"/>
                        <a:pt x="37" y="26"/>
                        <a:pt x="37" y="26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32" y="33"/>
                        <a:pt x="32" y="33"/>
                        <a:pt x="32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3"/>
                        <a:pt x="30" y="33"/>
                        <a:pt x="30" y="33"/>
                      </a:cubicBezTo>
                      <a:cubicBezTo>
                        <a:pt x="30" y="31"/>
                        <a:pt x="30" y="31"/>
                        <a:pt x="30" y="31"/>
                      </a:cubicBezTo>
                      <a:cubicBezTo>
                        <a:pt x="29" y="31"/>
                        <a:pt x="29" y="31"/>
                        <a:pt x="29" y="31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6" y="34"/>
                        <a:pt x="26" y="34"/>
                        <a:pt x="26" y="34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27" y="37"/>
                        <a:pt x="27" y="37"/>
                        <a:pt x="27" y="37"/>
                      </a:cubicBezTo>
                      <a:cubicBezTo>
                        <a:pt x="26" y="37"/>
                        <a:pt x="26" y="37"/>
                        <a:pt x="26" y="37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3" y="39"/>
                        <a:pt x="23" y="39"/>
                        <a:pt x="23" y="39"/>
                      </a:cubicBezTo>
                      <a:cubicBezTo>
                        <a:pt x="22" y="40"/>
                        <a:pt x="22" y="40"/>
                        <a:pt x="22" y="40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20" y="42"/>
                        <a:pt x="20" y="42"/>
                        <a:pt x="20" y="42"/>
                      </a:cubicBezTo>
                      <a:cubicBezTo>
                        <a:pt x="19" y="43"/>
                        <a:pt x="19" y="43"/>
                        <a:pt x="19" y="43"/>
                      </a:cubicBezTo>
                      <a:cubicBezTo>
                        <a:pt x="18" y="46"/>
                        <a:pt x="18" y="46"/>
                        <a:pt x="18" y="46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6" y="48"/>
                        <a:pt x="16" y="48"/>
                        <a:pt x="16" y="48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7" y="53"/>
                        <a:pt x="17" y="53"/>
                        <a:pt x="17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18" y="56"/>
                        <a:pt x="18" y="56"/>
                        <a:pt x="18" y="56"/>
                      </a:cubicBezTo>
                      <a:cubicBezTo>
                        <a:pt x="16" y="57"/>
                        <a:pt x="16" y="57"/>
                        <a:pt x="16" y="57"/>
                      </a:cubicBezTo>
                      <a:cubicBezTo>
                        <a:pt x="15" y="57"/>
                        <a:pt x="15" y="57"/>
                        <a:pt x="15" y="57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0" y="59"/>
                        <a:pt x="10" y="59"/>
                        <a:pt x="10" y="59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9" y="62"/>
                        <a:pt x="9" y="62"/>
                        <a:pt x="9" y="62"/>
                      </a:cubicBezTo>
                      <a:cubicBezTo>
                        <a:pt x="8" y="63"/>
                        <a:pt x="8" y="63"/>
                        <a:pt x="8" y="63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5" y="60"/>
                        <a:pt x="5" y="60"/>
                        <a:pt x="5" y="60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7" y="70"/>
                        <a:pt x="7" y="70"/>
                        <a:pt x="7" y="70"/>
                      </a:cubicBezTo>
                      <a:cubicBezTo>
                        <a:pt x="7" y="70"/>
                        <a:pt x="7" y="70"/>
                        <a:pt x="7" y="70"/>
                      </a:cubicBezTo>
                      <a:cubicBezTo>
                        <a:pt x="8" y="71"/>
                        <a:pt x="8" y="71"/>
                        <a:pt x="8" y="71"/>
                      </a:cubicBezTo>
                      <a:cubicBezTo>
                        <a:pt x="9" y="70"/>
                        <a:pt x="9" y="70"/>
                        <a:pt x="9" y="70"/>
                      </a:cubicBezTo>
                      <a:cubicBezTo>
                        <a:pt x="10" y="70"/>
                        <a:pt x="10" y="70"/>
                        <a:pt x="10" y="70"/>
                      </a:cubicBezTo>
                      <a:cubicBezTo>
                        <a:pt x="11" y="71"/>
                        <a:pt x="11" y="71"/>
                        <a:pt x="11" y="71"/>
                      </a:cubicBezTo>
                      <a:cubicBezTo>
                        <a:pt x="13" y="71"/>
                        <a:pt x="13" y="71"/>
                        <a:pt x="13" y="71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12" y="72"/>
                        <a:pt x="12" y="72"/>
                        <a:pt x="12" y="72"/>
                      </a:cubicBezTo>
                      <a:cubicBezTo>
                        <a:pt x="10" y="72"/>
                        <a:pt x="10" y="72"/>
                        <a:pt x="10" y="72"/>
                      </a:cubicBezTo>
                      <a:cubicBezTo>
                        <a:pt x="9" y="73"/>
                        <a:pt x="9" y="73"/>
                        <a:pt x="9" y="73"/>
                      </a:cubicBezTo>
                      <a:cubicBezTo>
                        <a:pt x="8" y="73"/>
                        <a:pt x="8" y="73"/>
                        <a:pt x="8" y="73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11" y="77"/>
                        <a:pt x="11" y="77"/>
                        <a:pt x="11" y="77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2" y="77"/>
                        <a:pt x="12" y="77"/>
                        <a:pt x="12" y="77"/>
                      </a:cubicBezTo>
                      <a:cubicBezTo>
                        <a:pt x="12" y="78"/>
                        <a:pt x="12" y="78"/>
                        <a:pt x="12" y="78"/>
                      </a:cubicBezTo>
                      <a:cubicBezTo>
                        <a:pt x="10" y="79"/>
                        <a:pt x="10" y="79"/>
                        <a:pt x="10" y="79"/>
                      </a:cubicBezTo>
                      <a:cubicBezTo>
                        <a:pt x="8" y="79"/>
                        <a:pt x="8" y="79"/>
                        <a:pt x="8" y="79"/>
                      </a:cubicBezTo>
                      <a:cubicBezTo>
                        <a:pt x="7" y="80"/>
                        <a:pt x="7" y="80"/>
                        <a:pt x="7" y="80"/>
                      </a:cubicBezTo>
                      <a:cubicBezTo>
                        <a:pt x="6" y="81"/>
                        <a:pt x="6" y="81"/>
                        <a:pt x="6" y="81"/>
                      </a:cubicBezTo>
                      <a:cubicBezTo>
                        <a:pt x="7" y="81"/>
                        <a:pt x="7" y="81"/>
                        <a:pt x="7" y="81"/>
                      </a:cubicBezTo>
                      <a:cubicBezTo>
                        <a:pt x="9" y="81"/>
                        <a:pt x="9" y="81"/>
                        <a:pt x="9" y="81"/>
                      </a:cubicBezTo>
                      <a:cubicBezTo>
                        <a:pt x="11" y="81"/>
                        <a:pt x="11" y="81"/>
                        <a:pt x="11" y="81"/>
                      </a:cubicBezTo>
                      <a:cubicBezTo>
                        <a:pt x="11" y="82"/>
                        <a:pt x="11" y="82"/>
                        <a:pt x="11" y="82"/>
                      </a:cubicBezTo>
                      <a:cubicBezTo>
                        <a:pt x="10" y="82"/>
                        <a:pt x="10" y="82"/>
                        <a:pt x="10" y="82"/>
                      </a:cubicBezTo>
                      <a:cubicBezTo>
                        <a:pt x="8" y="83"/>
                        <a:pt x="8" y="83"/>
                        <a:pt x="8" y="83"/>
                      </a:cubicBezTo>
                      <a:cubicBezTo>
                        <a:pt x="8" y="84"/>
                        <a:pt x="8" y="84"/>
                        <a:pt x="8" y="84"/>
                      </a:cubicBezTo>
                      <a:cubicBezTo>
                        <a:pt x="8" y="84"/>
                        <a:pt x="8" y="84"/>
                        <a:pt x="8" y="84"/>
                      </a:cubicBezTo>
                      <a:cubicBezTo>
                        <a:pt x="11" y="84"/>
                        <a:pt x="11" y="84"/>
                        <a:pt x="11" y="84"/>
                      </a:cubicBezTo>
                      <a:cubicBezTo>
                        <a:pt x="14" y="86"/>
                        <a:pt x="14" y="86"/>
                        <a:pt x="14" y="86"/>
                      </a:cubicBezTo>
                      <a:cubicBezTo>
                        <a:pt x="15" y="87"/>
                        <a:pt x="15" y="87"/>
                        <a:pt x="15" y="87"/>
                      </a:cubicBezTo>
                      <a:cubicBezTo>
                        <a:pt x="15" y="87"/>
                        <a:pt x="15" y="87"/>
                        <a:pt x="15" y="87"/>
                      </a:cubicBezTo>
                      <a:cubicBezTo>
                        <a:pt x="15" y="89"/>
                        <a:pt x="15" y="89"/>
                        <a:pt x="15" y="89"/>
                      </a:cubicBezTo>
                      <a:cubicBezTo>
                        <a:pt x="14" y="87"/>
                        <a:pt x="14" y="87"/>
                        <a:pt x="14" y="87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0" y="86"/>
                        <a:pt x="10" y="86"/>
                        <a:pt x="10" y="86"/>
                      </a:cubicBezTo>
                      <a:cubicBezTo>
                        <a:pt x="9" y="85"/>
                        <a:pt x="9" y="85"/>
                        <a:pt x="9" y="85"/>
                      </a:cubicBezTo>
                      <a:cubicBezTo>
                        <a:pt x="7" y="85"/>
                        <a:pt x="7" y="85"/>
                        <a:pt x="7" y="85"/>
                      </a:cubicBezTo>
                      <a:cubicBezTo>
                        <a:pt x="6" y="86"/>
                        <a:pt x="6" y="86"/>
                        <a:pt x="6" y="86"/>
                      </a:cubicBezTo>
                      <a:cubicBezTo>
                        <a:pt x="6" y="88"/>
                        <a:pt x="6" y="88"/>
                        <a:pt x="6" y="88"/>
                      </a:cubicBezTo>
                      <a:cubicBezTo>
                        <a:pt x="5" y="88"/>
                        <a:pt x="5" y="88"/>
                        <a:pt x="5" y="88"/>
                      </a:cubicBezTo>
                      <a:cubicBezTo>
                        <a:pt x="5" y="89"/>
                        <a:pt x="5" y="89"/>
                        <a:pt x="5" y="89"/>
                      </a:cubicBezTo>
                      <a:cubicBezTo>
                        <a:pt x="6" y="90"/>
                        <a:pt x="6" y="90"/>
                        <a:pt x="6" y="90"/>
                      </a:cubicBezTo>
                      <a:cubicBezTo>
                        <a:pt x="5" y="91"/>
                        <a:pt x="5" y="91"/>
                        <a:pt x="5" y="91"/>
                      </a:cubicBezTo>
                      <a:cubicBezTo>
                        <a:pt x="4" y="91"/>
                        <a:pt x="4" y="91"/>
                        <a:pt x="4" y="91"/>
                      </a:cubicBezTo>
                      <a:cubicBezTo>
                        <a:pt x="4" y="91"/>
                        <a:pt x="4" y="91"/>
                        <a:pt x="4" y="91"/>
                      </a:cubicBezTo>
                      <a:cubicBezTo>
                        <a:pt x="3" y="93"/>
                        <a:pt x="3" y="93"/>
                        <a:pt x="3" y="93"/>
                      </a:cubicBezTo>
                      <a:cubicBezTo>
                        <a:pt x="2" y="94"/>
                        <a:pt x="2" y="94"/>
                        <a:pt x="2" y="94"/>
                      </a:cubicBezTo>
                      <a:cubicBezTo>
                        <a:pt x="2" y="95"/>
                        <a:pt x="2" y="95"/>
                        <a:pt x="2" y="95"/>
                      </a:cubicBezTo>
                      <a:cubicBezTo>
                        <a:pt x="2" y="96"/>
                        <a:pt x="2" y="96"/>
                        <a:pt x="2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97"/>
                        <a:pt x="0" y="97"/>
                        <a:pt x="0" y="97"/>
                      </a:cubicBezTo>
                      <a:cubicBezTo>
                        <a:pt x="2" y="99"/>
                        <a:pt x="2" y="99"/>
                        <a:pt x="2" y="99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99"/>
                        <a:pt x="5" y="99"/>
                        <a:pt x="5" y="99"/>
                      </a:cubicBezTo>
                      <a:cubicBezTo>
                        <a:pt x="5" y="98"/>
                        <a:pt x="5" y="98"/>
                        <a:pt x="5" y="98"/>
                      </a:cubicBezTo>
                      <a:cubicBezTo>
                        <a:pt x="6" y="97"/>
                        <a:pt x="6" y="97"/>
                        <a:pt x="6" y="97"/>
                      </a:cubicBezTo>
                      <a:cubicBezTo>
                        <a:pt x="9" y="95"/>
                        <a:pt x="9" y="95"/>
                        <a:pt x="9" y="95"/>
                      </a:cubicBezTo>
                      <a:cubicBezTo>
                        <a:pt x="11" y="95"/>
                        <a:pt x="11" y="95"/>
                        <a:pt x="11" y="95"/>
                      </a:cubicBezTo>
                      <a:cubicBezTo>
                        <a:pt x="13" y="95"/>
                        <a:pt x="13" y="95"/>
                        <a:pt x="13" y="95"/>
                      </a:cubicBezTo>
                      <a:cubicBezTo>
                        <a:pt x="14" y="96"/>
                        <a:pt x="14" y="96"/>
                        <a:pt x="14" y="96"/>
                      </a:cubicBezTo>
                      <a:cubicBezTo>
                        <a:pt x="14" y="97"/>
                        <a:pt x="14" y="97"/>
                        <a:pt x="14" y="97"/>
                      </a:cubicBezTo>
                      <a:cubicBezTo>
                        <a:pt x="13" y="97"/>
                        <a:pt x="13" y="97"/>
                        <a:pt x="13" y="97"/>
                      </a:cubicBezTo>
                      <a:cubicBezTo>
                        <a:pt x="12" y="96"/>
                        <a:pt x="12" y="96"/>
                        <a:pt x="12" y="96"/>
                      </a:cubicBezTo>
                      <a:cubicBezTo>
                        <a:pt x="11" y="96"/>
                        <a:pt x="11" y="96"/>
                        <a:pt x="11" y="96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7" y="99"/>
                        <a:pt x="7" y="99"/>
                        <a:pt x="7" y="99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6" y="104"/>
                        <a:pt x="6" y="105"/>
                        <a:pt x="6" y="10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6" name="Freeform 55">
                  <a:extLst>
                    <a:ext uri="{FF2B5EF4-FFF2-40B4-BE49-F238E27FC236}">
                      <a16:creationId xmlns:a16="http://schemas.microsoft.com/office/drawing/2014/main" xmlns="" id="{FF741B17-4032-4B02-9E35-C02C050C03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6" y="580"/>
                  <a:ext cx="15" cy="13"/>
                </a:xfrm>
                <a:custGeom>
                  <a:avLst/>
                  <a:gdLst>
                    <a:gd name="T0" fmla="*/ 13 w 15"/>
                    <a:gd name="T1" fmla="*/ 13 h 13"/>
                    <a:gd name="T2" fmla="*/ 13 w 15"/>
                    <a:gd name="T3" fmla="*/ 13 h 13"/>
                    <a:gd name="T4" fmla="*/ 15 w 15"/>
                    <a:gd name="T5" fmla="*/ 12 h 13"/>
                    <a:gd name="T6" fmla="*/ 13 w 15"/>
                    <a:gd name="T7" fmla="*/ 10 h 13"/>
                    <a:gd name="T8" fmla="*/ 15 w 15"/>
                    <a:gd name="T9" fmla="*/ 7 h 13"/>
                    <a:gd name="T10" fmla="*/ 13 w 15"/>
                    <a:gd name="T11" fmla="*/ 5 h 13"/>
                    <a:gd name="T12" fmla="*/ 10 w 15"/>
                    <a:gd name="T13" fmla="*/ 3 h 13"/>
                    <a:gd name="T14" fmla="*/ 8 w 15"/>
                    <a:gd name="T15" fmla="*/ 2 h 13"/>
                    <a:gd name="T16" fmla="*/ 7 w 15"/>
                    <a:gd name="T17" fmla="*/ 0 h 13"/>
                    <a:gd name="T18" fmla="*/ 4 w 15"/>
                    <a:gd name="T19" fmla="*/ 0 h 13"/>
                    <a:gd name="T20" fmla="*/ 0 w 15"/>
                    <a:gd name="T21" fmla="*/ 3 h 13"/>
                    <a:gd name="T22" fmla="*/ 2 w 15"/>
                    <a:gd name="T23" fmla="*/ 5 h 13"/>
                    <a:gd name="T24" fmla="*/ 4 w 15"/>
                    <a:gd name="T25" fmla="*/ 5 h 13"/>
                    <a:gd name="T26" fmla="*/ 5 w 15"/>
                    <a:gd name="T27" fmla="*/ 5 h 13"/>
                    <a:gd name="T28" fmla="*/ 7 w 15"/>
                    <a:gd name="T29" fmla="*/ 7 h 13"/>
                    <a:gd name="T30" fmla="*/ 8 w 15"/>
                    <a:gd name="T31" fmla="*/ 8 h 13"/>
                    <a:gd name="T32" fmla="*/ 10 w 15"/>
                    <a:gd name="T33" fmla="*/ 10 h 13"/>
                    <a:gd name="T34" fmla="*/ 13 w 15"/>
                    <a:gd name="T35" fmla="*/ 13 h 13"/>
                    <a:gd name="T36" fmla="*/ 13 w 15"/>
                    <a:gd name="T3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13">
                      <a:moveTo>
                        <a:pt x="13" y="13"/>
                      </a:moveTo>
                      <a:lnTo>
                        <a:pt x="13" y="13"/>
                      </a:lnTo>
                      <a:lnTo>
                        <a:pt x="15" y="12"/>
                      </a:lnTo>
                      <a:lnTo>
                        <a:pt x="13" y="10"/>
                      </a:lnTo>
                      <a:lnTo>
                        <a:pt x="15" y="7"/>
                      </a:lnTo>
                      <a:lnTo>
                        <a:pt x="13" y="5"/>
                      </a:lnTo>
                      <a:lnTo>
                        <a:pt x="10" y="3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7" y="7"/>
                      </a:lnTo>
                      <a:lnTo>
                        <a:pt x="8" y="8"/>
                      </a:lnTo>
                      <a:lnTo>
                        <a:pt x="10" y="10"/>
                      </a:lnTo>
                      <a:lnTo>
                        <a:pt x="13" y="13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7" name="Freeform 56">
                  <a:extLst>
                    <a:ext uri="{FF2B5EF4-FFF2-40B4-BE49-F238E27FC236}">
                      <a16:creationId xmlns:a16="http://schemas.microsoft.com/office/drawing/2014/main" xmlns="" id="{2A3BBB57-7EA6-49B2-A544-F1C2C7241B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0" y="503"/>
                  <a:ext cx="85" cy="103"/>
                </a:xfrm>
                <a:custGeom>
                  <a:avLst/>
                  <a:gdLst>
                    <a:gd name="T0" fmla="*/ 80 w 85"/>
                    <a:gd name="T1" fmla="*/ 89 h 103"/>
                    <a:gd name="T2" fmla="*/ 72 w 85"/>
                    <a:gd name="T3" fmla="*/ 84 h 103"/>
                    <a:gd name="T4" fmla="*/ 62 w 85"/>
                    <a:gd name="T5" fmla="*/ 75 h 103"/>
                    <a:gd name="T6" fmla="*/ 51 w 85"/>
                    <a:gd name="T7" fmla="*/ 54 h 103"/>
                    <a:gd name="T8" fmla="*/ 44 w 85"/>
                    <a:gd name="T9" fmla="*/ 38 h 103"/>
                    <a:gd name="T10" fmla="*/ 44 w 85"/>
                    <a:gd name="T11" fmla="*/ 23 h 103"/>
                    <a:gd name="T12" fmla="*/ 39 w 85"/>
                    <a:gd name="T13" fmla="*/ 22 h 103"/>
                    <a:gd name="T14" fmla="*/ 42 w 85"/>
                    <a:gd name="T15" fmla="*/ 20 h 103"/>
                    <a:gd name="T16" fmla="*/ 46 w 85"/>
                    <a:gd name="T17" fmla="*/ 8 h 103"/>
                    <a:gd name="T18" fmla="*/ 41 w 85"/>
                    <a:gd name="T19" fmla="*/ 8 h 103"/>
                    <a:gd name="T20" fmla="*/ 44 w 85"/>
                    <a:gd name="T21" fmla="*/ 4 h 103"/>
                    <a:gd name="T22" fmla="*/ 28 w 85"/>
                    <a:gd name="T23" fmla="*/ 0 h 103"/>
                    <a:gd name="T24" fmla="*/ 15 w 85"/>
                    <a:gd name="T25" fmla="*/ 4 h 103"/>
                    <a:gd name="T26" fmla="*/ 8 w 85"/>
                    <a:gd name="T27" fmla="*/ 12 h 103"/>
                    <a:gd name="T28" fmla="*/ 11 w 85"/>
                    <a:gd name="T29" fmla="*/ 18 h 103"/>
                    <a:gd name="T30" fmla="*/ 8 w 85"/>
                    <a:gd name="T31" fmla="*/ 22 h 103"/>
                    <a:gd name="T32" fmla="*/ 2 w 85"/>
                    <a:gd name="T33" fmla="*/ 30 h 103"/>
                    <a:gd name="T34" fmla="*/ 10 w 85"/>
                    <a:gd name="T35" fmla="*/ 28 h 103"/>
                    <a:gd name="T36" fmla="*/ 8 w 85"/>
                    <a:gd name="T37" fmla="*/ 36 h 103"/>
                    <a:gd name="T38" fmla="*/ 13 w 85"/>
                    <a:gd name="T39" fmla="*/ 33 h 103"/>
                    <a:gd name="T40" fmla="*/ 11 w 85"/>
                    <a:gd name="T41" fmla="*/ 38 h 103"/>
                    <a:gd name="T42" fmla="*/ 15 w 85"/>
                    <a:gd name="T43" fmla="*/ 43 h 103"/>
                    <a:gd name="T44" fmla="*/ 10 w 85"/>
                    <a:gd name="T45" fmla="*/ 46 h 103"/>
                    <a:gd name="T46" fmla="*/ 10 w 85"/>
                    <a:gd name="T47" fmla="*/ 49 h 103"/>
                    <a:gd name="T48" fmla="*/ 2 w 85"/>
                    <a:gd name="T49" fmla="*/ 49 h 103"/>
                    <a:gd name="T50" fmla="*/ 0 w 85"/>
                    <a:gd name="T51" fmla="*/ 61 h 103"/>
                    <a:gd name="T52" fmla="*/ 5 w 85"/>
                    <a:gd name="T53" fmla="*/ 71 h 103"/>
                    <a:gd name="T54" fmla="*/ 11 w 85"/>
                    <a:gd name="T55" fmla="*/ 77 h 103"/>
                    <a:gd name="T56" fmla="*/ 18 w 85"/>
                    <a:gd name="T57" fmla="*/ 72 h 103"/>
                    <a:gd name="T58" fmla="*/ 20 w 85"/>
                    <a:gd name="T59" fmla="*/ 61 h 103"/>
                    <a:gd name="T60" fmla="*/ 20 w 85"/>
                    <a:gd name="T61" fmla="*/ 69 h 103"/>
                    <a:gd name="T62" fmla="*/ 24 w 85"/>
                    <a:gd name="T63" fmla="*/ 72 h 103"/>
                    <a:gd name="T64" fmla="*/ 28 w 85"/>
                    <a:gd name="T65" fmla="*/ 69 h 103"/>
                    <a:gd name="T66" fmla="*/ 31 w 85"/>
                    <a:gd name="T67" fmla="*/ 79 h 103"/>
                    <a:gd name="T68" fmla="*/ 39 w 85"/>
                    <a:gd name="T69" fmla="*/ 79 h 103"/>
                    <a:gd name="T70" fmla="*/ 38 w 85"/>
                    <a:gd name="T71" fmla="*/ 80 h 103"/>
                    <a:gd name="T72" fmla="*/ 34 w 85"/>
                    <a:gd name="T73" fmla="*/ 85 h 103"/>
                    <a:gd name="T74" fmla="*/ 36 w 85"/>
                    <a:gd name="T75" fmla="*/ 92 h 103"/>
                    <a:gd name="T76" fmla="*/ 36 w 85"/>
                    <a:gd name="T77" fmla="*/ 93 h 103"/>
                    <a:gd name="T78" fmla="*/ 46 w 85"/>
                    <a:gd name="T79" fmla="*/ 95 h 103"/>
                    <a:gd name="T80" fmla="*/ 52 w 85"/>
                    <a:gd name="T81" fmla="*/ 95 h 103"/>
                    <a:gd name="T82" fmla="*/ 57 w 85"/>
                    <a:gd name="T83" fmla="*/ 103 h 103"/>
                    <a:gd name="T84" fmla="*/ 60 w 85"/>
                    <a:gd name="T85" fmla="*/ 97 h 103"/>
                    <a:gd name="T86" fmla="*/ 55 w 85"/>
                    <a:gd name="T87" fmla="*/ 93 h 103"/>
                    <a:gd name="T88" fmla="*/ 62 w 85"/>
                    <a:gd name="T89" fmla="*/ 98 h 103"/>
                    <a:gd name="T90" fmla="*/ 65 w 85"/>
                    <a:gd name="T91" fmla="*/ 98 h 103"/>
                    <a:gd name="T92" fmla="*/ 72 w 85"/>
                    <a:gd name="T93" fmla="*/ 102 h 103"/>
                    <a:gd name="T94" fmla="*/ 72 w 85"/>
                    <a:gd name="T95" fmla="*/ 98 h 103"/>
                    <a:gd name="T96" fmla="*/ 77 w 85"/>
                    <a:gd name="T97" fmla="*/ 98 h 103"/>
                    <a:gd name="T98" fmla="*/ 80 w 85"/>
                    <a:gd name="T99" fmla="*/ 102 h 103"/>
                    <a:gd name="T100" fmla="*/ 83 w 85"/>
                    <a:gd name="T101" fmla="*/ 100 h 103"/>
                    <a:gd name="T102" fmla="*/ 78 w 85"/>
                    <a:gd name="T103" fmla="*/ 97 h 103"/>
                    <a:gd name="T104" fmla="*/ 83 w 85"/>
                    <a:gd name="T105" fmla="*/ 97 h 103"/>
                    <a:gd name="T106" fmla="*/ 85 w 85"/>
                    <a:gd name="T107" fmla="*/ 9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5" h="103">
                      <a:moveTo>
                        <a:pt x="85" y="90"/>
                      </a:moveTo>
                      <a:lnTo>
                        <a:pt x="82" y="87"/>
                      </a:lnTo>
                      <a:lnTo>
                        <a:pt x="80" y="89"/>
                      </a:lnTo>
                      <a:lnTo>
                        <a:pt x="78" y="87"/>
                      </a:lnTo>
                      <a:lnTo>
                        <a:pt x="75" y="84"/>
                      </a:lnTo>
                      <a:lnTo>
                        <a:pt x="72" y="84"/>
                      </a:lnTo>
                      <a:lnTo>
                        <a:pt x="67" y="79"/>
                      </a:lnTo>
                      <a:lnTo>
                        <a:pt x="65" y="75"/>
                      </a:lnTo>
                      <a:lnTo>
                        <a:pt x="62" y="75"/>
                      </a:lnTo>
                      <a:lnTo>
                        <a:pt x="57" y="69"/>
                      </a:lnTo>
                      <a:lnTo>
                        <a:pt x="52" y="62"/>
                      </a:lnTo>
                      <a:lnTo>
                        <a:pt x="51" y="54"/>
                      </a:lnTo>
                      <a:lnTo>
                        <a:pt x="47" y="49"/>
                      </a:lnTo>
                      <a:lnTo>
                        <a:pt x="47" y="41"/>
                      </a:lnTo>
                      <a:lnTo>
                        <a:pt x="44" y="38"/>
                      </a:lnTo>
                      <a:lnTo>
                        <a:pt x="44" y="28"/>
                      </a:lnTo>
                      <a:lnTo>
                        <a:pt x="42" y="26"/>
                      </a:lnTo>
                      <a:lnTo>
                        <a:pt x="44" y="23"/>
                      </a:lnTo>
                      <a:lnTo>
                        <a:pt x="44" y="22"/>
                      </a:lnTo>
                      <a:lnTo>
                        <a:pt x="41" y="20"/>
                      </a:lnTo>
                      <a:lnTo>
                        <a:pt x="39" y="22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42" y="20"/>
                      </a:lnTo>
                      <a:lnTo>
                        <a:pt x="46" y="18"/>
                      </a:lnTo>
                      <a:lnTo>
                        <a:pt x="46" y="12"/>
                      </a:lnTo>
                      <a:lnTo>
                        <a:pt x="46" y="8"/>
                      </a:lnTo>
                      <a:lnTo>
                        <a:pt x="42" y="8"/>
                      </a:lnTo>
                      <a:lnTo>
                        <a:pt x="39" y="10"/>
                      </a:lnTo>
                      <a:lnTo>
                        <a:pt x="41" y="8"/>
                      </a:lnTo>
                      <a:lnTo>
                        <a:pt x="46" y="7"/>
                      </a:lnTo>
                      <a:lnTo>
                        <a:pt x="46" y="5"/>
                      </a:lnTo>
                      <a:lnTo>
                        <a:pt x="44" y="4"/>
                      </a:lnTo>
                      <a:lnTo>
                        <a:pt x="39" y="4"/>
                      </a:lnTo>
                      <a:lnTo>
                        <a:pt x="31" y="2"/>
                      </a:lnTo>
                      <a:lnTo>
                        <a:pt x="28" y="0"/>
                      </a:lnTo>
                      <a:lnTo>
                        <a:pt x="26" y="0"/>
                      </a:lnTo>
                      <a:lnTo>
                        <a:pt x="20" y="4"/>
                      </a:lnTo>
                      <a:lnTo>
                        <a:pt x="15" y="4"/>
                      </a:lnTo>
                      <a:lnTo>
                        <a:pt x="13" y="5"/>
                      </a:lnTo>
                      <a:lnTo>
                        <a:pt x="8" y="8"/>
                      </a:lnTo>
                      <a:lnTo>
                        <a:pt x="8" y="12"/>
                      </a:lnTo>
                      <a:lnTo>
                        <a:pt x="6" y="15"/>
                      </a:lnTo>
                      <a:lnTo>
                        <a:pt x="8" y="18"/>
                      </a:lnTo>
                      <a:lnTo>
                        <a:pt x="11" y="18"/>
                      </a:lnTo>
                      <a:lnTo>
                        <a:pt x="11" y="20"/>
                      </a:lnTo>
                      <a:lnTo>
                        <a:pt x="11" y="22"/>
                      </a:lnTo>
                      <a:lnTo>
                        <a:pt x="8" y="22"/>
                      </a:lnTo>
                      <a:lnTo>
                        <a:pt x="5" y="22"/>
                      </a:lnTo>
                      <a:lnTo>
                        <a:pt x="3" y="26"/>
                      </a:lnTo>
                      <a:lnTo>
                        <a:pt x="2" y="30"/>
                      </a:lnTo>
                      <a:lnTo>
                        <a:pt x="3" y="31"/>
                      </a:lnTo>
                      <a:lnTo>
                        <a:pt x="6" y="31"/>
                      </a:lnTo>
                      <a:lnTo>
                        <a:pt x="10" y="28"/>
                      </a:lnTo>
                      <a:lnTo>
                        <a:pt x="11" y="30"/>
                      </a:lnTo>
                      <a:lnTo>
                        <a:pt x="8" y="33"/>
                      </a:lnTo>
                      <a:lnTo>
                        <a:pt x="8" y="36"/>
                      </a:lnTo>
                      <a:lnTo>
                        <a:pt x="10" y="36"/>
                      </a:lnTo>
                      <a:lnTo>
                        <a:pt x="11" y="33"/>
                      </a:lnTo>
                      <a:lnTo>
                        <a:pt x="13" y="33"/>
                      </a:lnTo>
                      <a:lnTo>
                        <a:pt x="15" y="33"/>
                      </a:lnTo>
                      <a:lnTo>
                        <a:pt x="11" y="36"/>
                      </a:lnTo>
                      <a:lnTo>
                        <a:pt x="11" y="38"/>
                      </a:lnTo>
                      <a:lnTo>
                        <a:pt x="13" y="41"/>
                      </a:lnTo>
                      <a:lnTo>
                        <a:pt x="16" y="41"/>
                      </a:lnTo>
                      <a:lnTo>
                        <a:pt x="15" y="43"/>
                      </a:lnTo>
                      <a:lnTo>
                        <a:pt x="13" y="43"/>
                      </a:lnTo>
                      <a:lnTo>
                        <a:pt x="10" y="44"/>
                      </a:lnTo>
                      <a:lnTo>
                        <a:pt x="10" y="46"/>
                      </a:lnTo>
                      <a:lnTo>
                        <a:pt x="11" y="49"/>
                      </a:lnTo>
                      <a:lnTo>
                        <a:pt x="11" y="51"/>
                      </a:lnTo>
                      <a:lnTo>
                        <a:pt x="10" y="49"/>
                      </a:lnTo>
                      <a:lnTo>
                        <a:pt x="6" y="51"/>
                      </a:lnTo>
                      <a:lnTo>
                        <a:pt x="5" y="49"/>
                      </a:lnTo>
                      <a:lnTo>
                        <a:pt x="2" y="49"/>
                      </a:lnTo>
                      <a:lnTo>
                        <a:pt x="0" y="53"/>
                      </a:lnTo>
                      <a:lnTo>
                        <a:pt x="0" y="56"/>
                      </a:lnTo>
                      <a:lnTo>
                        <a:pt x="0" y="61"/>
                      </a:lnTo>
                      <a:lnTo>
                        <a:pt x="0" y="64"/>
                      </a:lnTo>
                      <a:lnTo>
                        <a:pt x="0" y="67"/>
                      </a:lnTo>
                      <a:lnTo>
                        <a:pt x="5" y="71"/>
                      </a:lnTo>
                      <a:lnTo>
                        <a:pt x="5" y="72"/>
                      </a:lnTo>
                      <a:lnTo>
                        <a:pt x="10" y="75"/>
                      </a:lnTo>
                      <a:lnTo>
                        <a:pt x="11" y="77"/>
                      </a:lnTo>
                      <a:lnTo>
                        <a:pt x="13" y="77"/>
                      </a:lnTo>
                      <a:lnTo>
                        <a:pt x="16" y="75"/>
                      </a:lnTo>
                      <a:lnTo>
                        <a:pt x="18" y="72"/>
                      </a:lnTo>
                      <a:lnTo>
                        <a:pt x="18" y="67"/>
                      </a:lnTo>
                      <a:lnTo>
                        <a:pt x="18" y="64"/>
                      </a:lnTo>
                      <a:lnTo>
                        <a:pt x="20" y="61"/>
                      </a:lnTo>
                      <a:lnTo>
                        <a:pt x="18" y="66"/>
                      </a:lnTo>
                      <a:lnTo>
                        <a:pt x="18" y="67"/>
                      </a:lnTo>
                      <a:lnTo>
                        <a:pt x="20" y="69"/>
                      </a:lnTo>
                      <a:lnTo>
                        <a:pt x="21" y="74"/>
                      </a:lnTo>
                      <a:lnTo>
                        <a:pt x="23" y="74"/>
                      </a:lnTo>
                      <a:lnTo>
                        <a:pt x="24" y="72"/>
                      </a:lnTo>
                      <a:lnTo>
                        <a:pt x="24" y="71"/>
                      </a:lnTo>
                      <a:lnTo>
                        <a:pt x="26" y="67"/>
                      </a:lnTo>
                      <a:lnTo>
                        <a:pt x="28" y="69"/>
                      </a:lnTo>
                      <a:lnTo>
                        <a:pt x="28" y="71"/>
                      </a:lnTo>
                      <a:lnTo>
                        <a:pt x="28" y="74"/>
                      </a:lnTo>
                      <a:lnTo>
                        <a:pt x="31" y="79"/>
                      </a:lnTo>
                      <a:lnTo>
                        <a:pt x="34" y="80"/>
                      </a:lnTo>
                      <a:lnTo>
                        <a:pt x="36" y="80"/>
                      </a:lnTo>
                      <a:lnTo>
                        <a:pt x="39" y="79"/>
                      </a:lnTo>
                      <a:lnTo>
                        <a:pt x="41" y="79"/>
                      </a:lnTo>
                      <a:lnTo>
                        <a:pt x="39" y="80"/>
                      </a:lnTo>
                      <a:lnTo>
                        <a:pt x="38" y="80"/>
                      </a:lnTo>
                      <a:lnTo>
                        <a:pt x="36" y="82"/>
                      </a:lnTo>
                      <a:lnTo>
                        <a:pt x="34" y="84"/>
                      </a:lnTo>
                      <a:lnTo>
                        <a:pt x="34" y="85"/>
                      </a:lnTo>
                      <a:lnTo>
                        <a:pt x="36" y="89"/>
                      </a:lnTo>
                      <a:lnTo>
                        <a:pt x="38" y="90"/>
                      </a:lnTo>
                      <a:lnTo>
                        <a:pt x="36" y="92"/>
                      </a:lnTo>
                      <a:lnTo>
                        <a:pt x="33" y="90"/>
                      </a:lnTo>
                      <a:lnTo>
                        <a:pt x="33" y="92"/>
                      </a:lnTo>
                      <a:lnTo>
                        <a:pt x="36" y="93"/>
                      </a:lnTo>
                      <a:lnTo>
                        <a:pt x="39" y="95"/>
                      </a:lnTo>
                      <a:lnTo>
                        <a:pt x="42" y="97"/>
                      </a:lnTo>
                      <a:lnTo>
                        <a:pt x="46" y="95"/>
                      </a:lnTo>
                      <a:lnTo>
                        <a:pt x="51" y="97"/>
                      </a:lnTo>
                      <a:lnTo>
                        <a:pt x="51" y="93"/>
                      </a:lnTo>
                      <a:lnTo>
                        <a:pt x="52" y="95"/>
                      </a:lnTo>
                      <a:lnTo>
                        <a:pt x="52" y="97"/>
                      </a:lnTo>
                      <a:lnTo>
                        <a:pt x="54" y="102"/>
                      </a:lnTo>
                      <a:lnTo>
                        <a:pt x="57" y="103"/>
                      </a:lnTo>
                      <a:lnTo>
                        <a:pt x="59" y="103"/>
                      </a:lnTo>
                      <a:lnTo>
                        <a:pt x="60" y="100"/>
                      </a:lnTo>
                      <a:lnTo>
                        <a:pt x="60" y="97"/>
                      </a:lnTo>
                      <a:lnTo>
                        <a:pt x="55" y="95"/>
                      </a:lnTo>
                      <a:lnTo>
                        <a:pt x="54" y="93"/>
                      </a:lnTo>
                      <a:lnTo>
                        <a:pt x="55" y="93"/>
                      </a:lnTo>
                      <a:lnTo>
                        <a:pt x="59" y="93"/>
                      </a:lnTo>
                      <a:lnTo>
                        <a:pt x="62" y="95"/>
                      </a:lnTo>
                      <a:lnTo>
                        <a:pt x="62" y="98"/>
                      </a:lnTo>
                      <a:lnTo>
                        <a:pt x="64" y="102"/>
                      </a:lnTo>
                      <a:lnTo>
                        <a:pt x="65" y="102"/>
                      </a:lnTo>
                      <a:lnTo>
                        <a:pt x="65" y="98"/>
                      </a:lnTo>
                      <a:lnTo>
                        <a:pt x="67" y="98"/>
                      </a:lnTo>
                      <a:lnTo>
                        <a:pt x="69" y="100"/>
                      </a:lnTo>
                      <a:lnTo>
                        <a:pt x="72" y="102"/>
                      </a:lnTo>
                      <a:lnTo>
                        <a:pt x="75" y="102"/>
                      </a:lnTo>
                      <a:lnTo>
                        <a:pt x="75" y="100"/>
                      </a:lnTo>
                      <a:lnTo>
                        <a:pt x="72" y="98"/>
                      </a:lnTo>
                      <a:lnTo>
                        <a:pt x="72" y="97"/>
                      </a:lnTo>
                      <a:lnTo>
                        <a:pt x="73" y="97"/>
                      </a:lnTo>
                      <a:lnTo>
                        <a:pt x="77" y="98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80" y="102"/>
                      </a:lnTo>
                      <a:lnTo>
                        <a:pt x="82" y="103"/>
                      </a:lnTo>
                      <a:lnTo>
                        <a:pt x="83" y="103"/>
                      </a:lnTo>
                      <a:lnTo>
                        <a:pt x="83" y="100"/>
                      </a:lnTo>
                      <a:lnTo>
                        <a:pt x="82" y="98"/>
                      </a:lnTo>
                      <a:lnTo>
                        <a:pt x="80" y="98"/>
                      </a:lnTo>
                      <a:lnTo>
                        <a:pt x="78" y="97"/>
                      </a:lnTo>
                      <a:lnTo>
                        <a:pt x="80" y="95"/>
                      </a:lnTo>
                      <a:lnTo>
                        <a:pt x="82" y="97"/>
                      </a:lnTo>
                      <a:lnTo>
                        <a:pt x="83" y="97"/>
                      </a:lnTo>
                      <a:lnTo>
                        <a:pt x="85" y="93"/>
                      </a:lnTo>
                      <a:lnTo>
                        <a:pt x="85" y="92"/>
                      </a:lnTo>
                      <a:lnTo>
                        <a:pt x="85" y="90"/>
                      </a:lnTo>
                      <a:lnTo>
                        <a:pt x="85" y="9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8" name="Freeform 57">
                  <a:extLst>
                    <a:ext uri="{FF2B5EF4-FFF2-40B4-BE49-F238E27FC236}">
                      <a16:creationId xmlns:a16="http://schemas.microsoft.com/office/drawing/2014/main" xmlns="" id="{77ADDE5F-16B6-439E-BB60-5D565AA4A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3" y="789"/>
                  <a:ext cx="5" cy="7"/>
                </a:xfrm>
                <a:custGeom>
                  <a:avLst/>
                  <a:gdLst>
                    <a:gd name="T0" fmla="*/ 5 w 5"/>
                    <a:gd name="T1" fmla="*/ 7 h 7"/>
                    <a:gd name="T2" fmla="*/ 3 w 5"/>
                    <a:gd name="T3" fmla="*/ 3 h 7"/>
                    <a:gd name="T4" fmla="*/ 5 w 5"/>
                    <a:gd name="T5" fmla="*/ 2 h 7"/>
                    <a:gd name="T6" fmla="*/ 3 w 5"/>
                    <a:gd name="T7" fmla="*/ 0 h 7"/>
                    <a:gd name="T8" fmla="*/ 2 w 5"/>
                    <a:gd name="T9" fmla="*/ 0 h 7"/>
                    <a:gd name="T10" fmla="*/ 0 w 5"/>
                    <a:gd name="T11" fmla="*/ 2 h 7"/>
                    <a:gd name="T12" fmla="*/ 0 w 5"/>
                    <a:gd name="T13" fmla="*/ 3 h 7"/>
                    <a:gd name="T14" fmla="*/ 2 w 5"/>
                    <a:gd name="T15" fmla="*/ 7 h 7"/>
                    <a:gd name="T16" fmla="*/ 3 w 5"/>
                    <a:gd name="T17" fmla="*/ 7 h 7"/>
                    <a:gd name="T18" fmla="*/ 5 w 5"/>
                    <a:gd name="T19" fmla="*/ 7 h 7"/>
                    <a:gd name="T20" fmla="*/ 5 w 5"/>
                    <a:gd name="T21" fmla="*/ 7 h 7"/>
                    <a:gd name="T22" fmla="*/ 5 w 5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9" name="Freeform 58">
                  <a:extLst>
                    <a:ext uri="{FF2B5EF4-FFF2-40B4-BE49-F238E27FC236}">
                      <a16:creationId xmlns:a16="http://schemas.microsoft.com/office/drawing/2014/main" xmlns="" id="{24D695CD-4716-4082-A06A-4A069F087F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8" y="737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5 h 5"/>
                    <a:gd name="T4" fmla="*/ 3 w 3"/>
                    <a:gd name="T5" fmla="*/ 3 h 5"/>
                    <a:gd name="T6" fmla="*/ 2 w 3"/>
                    <a:gd name="T7" fmla="*/ 0 h 5"/>
                    <a:gd name="T8" fmla="*/ 0 w 3"/>
                    <a:gd name="T9" fmla="*/ 2 h 5"/>
                    <a:gd name="T10" fmla="*/ 0 w 3"/>
                    <a:gd name="T11" fmla="*/ 3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0" name="Freeform 59">
                  <a:extLst>
                    <a:ext uri="{FF2B5EF4-FFF2-40B4-BE49-F238E27FC236}">
                      <a16:creationId xmlns:a16="http://schemas.microsoft.com/office/drawing/2014/main" xmlns="" id="{640D54C8-7C1B-4E76-A2AC-0BEAEDDAFB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4" y="647"/>
                  <a:ext cx="24" cy="26"/>
                </a:xfrm>
                <a:custGeom>
                  <a:avLst/>
                  <a:gdLst>
                    <a:gd name="T0" fmla="*/ 9 w 24"/>
                    <a:gd name="T1" fmla="*/ 25 h 26"/>
                    <a:gd name="T2" fmla="*/ 13 w 24"/>
                    <a:gd name="T3" fmla="*/ 25 h 26"/>
                    <a:gd name="T4" fmla="*/ 18 w 24"/>
                    <a:gd name="T5" fmla="*/ 21 h 26"/>
                    <a:gd name="T6" fmla="*/ 19 w 24"/>
                    <a:gd name="T7" fmla="*/ 16 h 26"/>
                    <a:gd name="T8" fmla="*/ 19 w 24"/>
                    <a:gd name="T9" fmla="*/ 12 h 26"/>
                    <a:gd name="T10" fmla="*/ 21 w 24"/>
                    <a:gd name="T11" fmla="*/ 10 h 26"/>
                    <a:gd name="T12" fmla="*/ 22 w 24"/>
                    <a:gd name="T13" fmla="*/ 12 h 26"/>
                    <a:gd name="T14" fmla="*/ 22 w 24"/>
                    <a:gd name="T15" fmla="*/ 16 h 26"/>
                    <a:gd name="T16" fmla="*/ 24 w 24"/>
                    <a:gd name="T17" fmla="*/ 13 h 26"/>
                    <a:gd name="T18" fmla="*/ 24 w 24"/>
                    <a:gd name="T19" fmla="*/ 8 h 26"/>
                    <a:gd name="T20" fmla="*/ 21 w 24"/>
                    <a:gd name="T21" fmla="*/ 5 h 26"/>
                    <a:gd name="T22" fmla="*/ 9 w 24"/>
                    <a:gd name="T23" fmla="*/ 0 h 26"/>
                    <a:gd name="T24" fmla="*/ 5 w 24"/>
                    <a:gd name="T25" fmla="*/ 0 h 26"/>
                    <a:gd name="T26" fmla="*/ 1 w 24"/>
                    <a:gd name="T27" fmla="*/ 2 h 26"/>
                    <a:gd name="T28" fmla="*/ 0 w 24"/>
                    <a:gd name="T29" fmla="*/ 8 h 26"/>
                    <a:gd name="T30" fmla="*/ 0 w 24"/>
                    <a:gd name="T31" fmla="*/ 16 h 26"/>
                    <a:gd name="T32" fmla="*/ 1 w 24"/>
                    <a:gd name="T33" fmla="*/ 20 h 26"/>
                    <a:gd name="T34" fmla="*/ 1 w 24"/>
                    <a:gd name="T35" fmla="*/ 25 h 26"/>
                    <a:gd name="T36" fmla="*/ 3 w 24"/>
                    <a:gd name="T37" fmla="*/ 23 h 26"/>
                    <a:gd name="T38" fmla="*/ 6 w 24"/>
                    <a:gd name="T39" fmla="*/ 25 h 26"/>
                    <a:gd name="T40" fmla="*/ 5 w 24"/>
                    <a:gd name="T41" fmla="*/ 26 h 26"/>
                    <a:gd name="T42" fmla="*/ 6 w 24"/>
                    <a:gd name="T43" fmla="*/ 26 h 26"/>
                    <a:gd name="T44" fmla="*/ 9 w 24"/>
                    <a:gd name="T45" fmla="*/ 25 h 26"/>
                    <a:gd name="T46" fmla="*/ 9 w 24"/>
                    <a:gd name="T47" fmla="*/ 25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4" h="26">
                      <a:moveTo>
                        <a:pt x="9" y="25"/>
                      </a:moveTo>
                      <a:lnTo>
                        <a:pt x="13" y="25"/>
                      </a:lnTo>
                      <a:lnTo>
                        <a:pt x="18" y="21"/>
                      </a:lnTo>
                      <a:lnTo>
                        <a:pt x="19" y="16"/>
                      </a:lnTo>
                      <a:lnTo>
                        <a:pt x="19" y="12"/>
                      </a:lnTo>
                      <a:lnTo>
                        <a:pt x="21" y="10"/>
                      </a:lnTo>
                      <a:lnTo>
                        <a:pt x="22" y="12"/>
                      </a:lnTo>
                      <a:lnTo>
                        <a:pt x="22" y="16"/>
                      </a:lnTo>
                      <a:lnTo>
                        <a:pt x="24" y="13"/>
                      </a:lnTo>
                      <a:lnTo>
                        <a:pt x="24" y="8"/>
                      </a:lnTo>
                      <a:lnTo>
                        <a:pt x="21" y="5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1" y="2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1" y="25"/>
                      </a:lnTo>
                      <a:lnTo>
                        <a:pt x="3" y="23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6" y="26"/>
                      </a:lnTo>
                      <a:lnTo>
                        <a:pt x="9" y="25"/>
                      </a:lnTo>
                      <a:lnTo>
                        <a:pt x="9" y="2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1" name="Freeform 60">
                  <a:extLst>
                    <a:ext uri="{FF2B5EF4-FFF2-40B4-BE49-F238E27FC236}">
                      <a16:creationId xmlns:a16="http://schemas.microsoft.com/office/drawing/2014/main" xmlns="" id="{97C49806-884C-4E7B-8A54-A2653AA81B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1" y="675"/>
                  <a:ext cx="8" cy="3"/>
                </a:xfrm>
                <a:custGeom>
                  <a:avLst/>
                  <a:gdLst>
                    <a:gd name="T0" fmla="*/ 0 w 8"/>
                    <a:gd name="T1" fmla="*/ 3 h 3"/>
                    <a:gd name="T2" fmla="*/ 2 w 8"/>
                    <a:gd name="T3" fmla="*/ 3 h 3"/>
                    <a:gd name="T4" fmla="*/ 2 w 8"/>
                    <a:gd name="T5" fmla="*/ 1 h 3"/>
                    <a:gd name="T6" fmla="*/ 7 w 8"/>
                    <a:gd name="T7" fmla="*/ 1 h 3"/>
                    <a:gd name="T8" fmla="*/ 8 w 8"/>
                    <a:gd name="T9" fmla="*/ 0 h 3"/>
                    <a:gd name="T10" fmla="*/ 3 w 8"/>
                    <a:gd name="T11" fmla="*/ 0 h 3"/>
                    <a:gd name="T12" fmla="*/ 0 w 8"/>
                    <a:gd name="T13" fmla="*/ 1 h 3"/>
                    <a:gd name="T14" fmla="*/ 0 w 8"/>
                    <a:gd name="T15" fmla="*/ 3 h 3"/>
                    <a:gd name="T16" fmla="*/ 0 w 8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2" name="Freeform 61">
                  <a:extLst>
                    <a:ext uri="{FF2B5EF4-FFF2-40B4-BE49-F238E27FC236}">
                      <a16:creationId xmlns:a16="http://schemas.microsoft.com/office/drawing/2014/main" xmlns="" id="{D888A083-CC07-4045-B015-557B5892FE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7" y="673"/>
                  <a:ext cx="3" cy="5"/>
                </a:xfrm>
                <a:custGeom>
                  <a:avLst/>
                  <a:gdLst>
                    <a:gd name="T0" fmla="*/ 0 w 3"/>
                    <a:gd name="T1" fmla="*/ 3 h 5"/>
                    <a:gd name="T2" fmla="*/ 2 w 3"/>
                    <a:gd name="T3" fmla="*/ 5 h 5"/>
                    <a:gd name="T4" fmla="*/ 3 w 3"/>
                    <a:gd name="T5" fmla="*/ 2 h 5"/>
                    <a:gd name="T6" fmla="*/ 3 w 3"/>
                    <a:gd name="T7" fmla="*/ 0 h 5"/>
                    <a:gd name="T8" fmla="*/ 2 w 3"/>
                    <a:gd name="T9" fmla="*/ 0 h 5"/>
                    <a:gd name="T10" fmla="*/ 0 w 3"/>
                    <a:gd name="T11" fmla="*/ 2 h 5"/>
                    <a:gd name="T12" fmla="*/ 0 w 3"/>
                    <a:gd name="T13" fmla="*/ 3 h 5"/>
                    <a:gd name="T14" fmla="*/ 0 w 3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0" y="3"/>
                      </a:moveTo>
                      <a:lnTo>
                        <a:pt x="2" y="5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3" name="Freeform 62">
                  <a:extLst>
                    <a:ext uri="{FF2B5EF4-FFF2-40B4-BE49-F238E27FC236}">
                      <a16:creationId xmlns:a16="http://schemas.microsoft.com/office/drawing/2014/main" xmlns="" id="{9E27D40F-8508-45E8-91F2-E5272E4B30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0" y="675"/>
                  <a:ext cx="5" cy="3"/>
                </a:xfrm>
                <a:custGeom>
                  <a:avLst/>
                  <a:gdLst>
                    <a:gd name="T0" fmla="*/ 0 w 5"/>
                    <a:gd name="T1" fmla="*/ 1 h 3"/>
                    <a:gd name="T2" fmla="*/ 4 w 5"/>
                    <a:gd name="T3" fmla="*/ 3 h 3"/>
                    <a:gd name="T4" fmla="*/ 5 w 5"/>
                    <a:gd name="T5" fmla="*/ 1 h 3"/>
                    <a:gd name="T6" fmla="*/ 4 w 5"/>
                    <a:gd name="T7" fmla="*/ 0 h 3"/>
                    <a:gd name="T8" fmla="*/ 2 w 5"/>
                    <a:gd name="T9" fmla="*/ 0 h 3"/>
                    <a:gd name="T10" fmla="*/ 0 w 5"/>
                    <a:gd name="T11" fmla="*/ 1 h 3"/>
                    <a:gd name="T12" fmla="*/ 0 w 5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4" name="Freeform 63">
                  <a:extLst>
                    <a:ext uri="{FF2B5EF4-FFF2-40B4-BE49-F238E27FC236}">
                      <a16:creationId xmlns:a16="http://schemas.microsoft.com/office/drawing/2014/main" xmlns="" id="{295F646D-1520-4C63-8590-FB9CCE760D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657"/>
                  <a:ext cx="8" cy="5"/>
                </a:xfrm>
                <a:custGeom>
                  <a:avLst/>
                  <a:gdLst>
                    <a:gd name="T0" fmla="*/ 0 w 8"/>
                    <a:gd name="T1" fmla="*/ 3 h 5"/>
                    <a:gd name="T2" fmla="*/ 0 w 8"/>
                    <a:gd name="T3" fmla="*/ 5 h 5"/>
                    <a:gd name="T4" fmla="*/ 1 w 8"/>
                    <a:gd name="T5" fmla="*/ 3 h 5"/>
                    <a:gd name="T6" fmla="*/ 6 w 8"/>
                    <a:gd name="T7" fmla="*/ 2 h 5"/>
                    <a:gd name="T8" fmla="*/ 8 w 8"/>
                    <a:gd name="T9" fmla="*/ 0 h 5"/>
                    <a:gd name="T10" fmla="*/ 4 w 8"/>
                    <a:gd name="T11" fmla="*/ 0 h 5"/>
                    <a:gd name="T12" fmla="*/ 1 w 8"/>
                    <a:gd name="T13" fmla="*/ 2 h 5"/>
                    <a:gd name="T14" fmla="*/ 0 w 8"/>
                    <a:gd name="T15" fmla="*/ 3 h 5"/>
                    <a:gd name="T16" fmla="*/ 0 w 8"/>
                    <a:gd name="T1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5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5" name="Freeform 64">
                  <a:extLst>
                    <a:ext uri="{FF2B5EF4-FFF2-40B4-BE49-F238E27FC236}">
                      <a16:creationId xmlns:a16="http://schemas.microsoft.com/office/drawing/2014/main" xmlns="" id="{675FDF49-2CEC-4BDC-854E-7ACF0BBAEC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3" y="657"/>
                  <a:ext cx="5" cy="3"/>
                </a:xfrm>
                <a:custGeom>
                  <a:avLst/>
                  <a:gdLst>
                    <a:gd name="T0" fmla="*/ 0 w 5"/>
                    <a:gd name="T1" fmla="*/ 0 h 3"/>
                    <a:gd name="T2" fmla="*/ 2 w 5"/>
                    <a:gd name="T3" fmla="*/ 3 h 3"/>
                    <a:gd name="T4" fmla="*/ 4 w 5"/>
                    <a:gd name="T5" fmla="*/ 3 h 3"/>
                    <a:gd name="T6" fmla="*/ 5 w 5"/>
                    <a:gd name="T7" fmla="*/ 2 h 3"/>
                    <a:gd name="T8" fmla="*/ 2 w 5"/>
                    <a:gd name="T9" fmla="*/ 0 h 3"/>
                    <a:gd name="T10" fmla="*/ 0 w 5"/>
                    <a:gd name="T11" fmla="*/ 0 h 3"/>
                    <a:gd name="T12" fmla="*/ 0 w 5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6" name="Freeform 65">
                  <a:extLst>
                    <a:ext uri="{FF2B5EF4-FFF2-40B4-BE49-F238E27FC236}">
                      <a16:creationId xmlns:a16="http://schemas.microsoft.com/office/drawing/2014/main" xmlns="" id="{9D0FD850-1F98-4FD1-BEA0-60CA6F7AD7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3" y="655"/>
                  <a:ext cx="7" cy="5"/>
                </a:xfrm>
                <a:custGeom>
                  <a:avLst/>
                  <a:gdLst>
                    <a:gd name="T0" fmla="*/ 0 w 7"/>
                    <a:gd name="T1" fmla="*/ 2 h 5"/>
                    <a:gd name="T2" fmla="*/ 4 w 7"/>
                    <a:gd name="T3" fmla="*/ 2 h 5"/>
                    <a:gd name="T4" fmla="*/ 5 w 7"/>
                    <a:gd name="T5" fmla="*/ 4 h 5"/>
                    <a:gd name="T6" fmla="*/ 7 w 7"/>
                    <a:gd name="T7" fmla="*/ 5 h 5"/>
                    <a:gd name="T8" fmla="*/ 7 w 7"/>
                    <a:gd name="T9" fmla="*/ 2 h 5"/>
                    <a:gd name="T10" fmla="*/ 4 w 7"/>
                    <a:gd name="T11" fmla="*/ 0 h 5"/>
                    <a:gd name="T12" fmla="*/ 0 w 7"/>
                    <a:gd name="T13" fmla="*/ 2 h 5"/>
                    <a:gd name="T14" fmla="*/ 0 w 7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5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7" name="Freeform 66">
                  <a:extLst>
                    <a:ext uri="{FF2B5EF4-FFF2-40B4-BE49-F238E27FC236}">
                      <a16:creationId xmlns:a16="http://schemas.microsoft.com/office/drawing/2014/main" xmlns="" id="{FAF3F2B9-D4AE-4D1C-BAC3-4959100694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9" y="655"/>
                  <a:ext cx="4" cy="4"/>
                </a:xfrm>
                <a:custGeom>
                  <a:avLst/>
                  <a:gdLst>
                    <a:gd name="T0" fmla="*/ 0 w 4"/>
                    <a:gd name="T1" fmla="*/ 2 h 4"/>
                    <a:gd name="T2" fmla="*/ 1 w 4"/>
                    <a:gd name="T3" fmla="*/ 4 h 4"/>
                    <a:gd name="T4" fmla="*/ 3 w 4"/>
                    <a:gd name="T5" fmla="*/ 4 h 4"/>
                    <a:gd name="T6" fmla="*/ 4 w 4"/>
                    <a:gd name="T7" fmla="*/ 2 h 4"/>
                    <a:gd name="T8" fmla="*/ 3 w 4"/>
                    <a:gd name="T9" fmla="*/ 0 h 4"/>
                    <a:gd name="T10" fmla="*/ 0 w 4"/>
                    <a:gd name="T11" fmla="*/ 2 h 4"/>
                    <a:gd name="T12" fmla="*/ 0 w 4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8" name="Freeform 67">
                  <a:extLst>
                    <a:ext uri="{FF2B5EF4-FFF2-40B4-BE49-F238E27FC236}">
                      <a16:creationId xmlns:a16="http://schemas.microsoft.com/office/drawing/2014/main" xmlns="" id="{43A09D44-C1FD-4B9D-94F2-9C2786AE47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8" y="552"/>
                  <a:ext cx="2" cy="5"/>
                </a:xfrm>
                <a:custGeom>
                  <a:avLst/>
                  <a:gdLst>
                    <a:gd name="T0" fmla="*/ 0 w 2"/>
                    <a:gd name="T1" fmla="*/ 0 h 5"/>
                    <a:gd name="T2" fmla="*/ 0 w 2"/>
                    <a:gd name="T3" fmla="*/ 4 h 5"/>
                    <a:gd name="T4" fmla="*/ 0 w 2"/>
                    <a:gd name="T5" fmla="*/ 5 h 5"/>
                    <a:gd name="T6" fmla="*/ 2 w 2"/>
                    <a:gd name="T7" fmla="*/ 2 h 5"/>
                    <a:gd name="T8" fmla="*/ 0 w 2"/>
                    <a:gd name="T9" fmla="*/ 0 h 5"/>
                    <a:gd name="T10" fmla="*/ 0 w 2"/>
                    <a:gd name="T11" fmla="*/ 0 h 5"/>
                    <a:gd name="T12" fmla="*/ 0 w 2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9" name="Freeform 68">
                  <a:extLst>
                    <a:ext uri="{FF2B5EF4-FFF2-40B4-BE49-F238E27FC236}">
                      <a16:creationId xmlns:a16="http://schemas.microsoft.com/office/drawing/2014/main" xmlns="" id="{F0B2D6D9-FA8C-4AE0-A42B-CBDD66A7E1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2" y="542"/>
                  <a:ext cx="3" cy="15"/>
                </a:xfrm>
                <a:custGeom>
                  <a:avLst/>
                  <a:gdLst>
                    <a:gd name="T0" fmla="*/ 0 w 3"/>
                    <a:gd name="T1" fmla="*/ 0 h 15"/>
                    <a:gd name="T2" fmla="*/ 0 w 3"/>
                    <a:gd name="T3" fmla="*/ 5 h 15"/>
                    <a:gd name="T4" fmla="*/ 1 w 3"/>
                    <a:gd name="T5" fmla="*/ 9 h 15"/>
                    <a:gd name="T6" fmla="*/ 0 w 3"/>
                    <a:gd name="T7" fmla="*/ 15 h 15"/>
                    <a:gd name="T8" fmla="*/ 1 w 3"/>
                    <a:gd name="T9" fmla="*/ 15 h 15"/>
                    <a:gd name="T10" fmla="*/ 3 w 3"/>
                    <a:gd name="T11" fmla="*/ 14 h 15"/>
                    <a:gd name="T12" fmla="*/ 3 w 3"/>
                    <a:gd name="T13" fmla="*/ 4 h 15"/>
                    <a:gd name="T14" fmla="*/ 0 w 3"/>
                    <a:gd name="T15" fmla="*/ 0 h 15"/>
                    <a:gd name="T16" fmla="*/ 0 w 3"/>
                    <a:gd name="T17" fmla="*/ 0 h 15"/>
                    <a:gd name="T18" fmla="*/ 0 w 3"/>
                    <a:gd name="T1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5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1" y="9"/>
                      </a:lnTo>
                      <a:lnTo>
                        <a:pt x="0" y="15"/>
                      </a:lnTo>
                      <a:lnTo>
                        <a:pt x="1" y="15"/>
                      </a:lnTo>
                      <a:lnTo>
                        <a:pt x="3" y="14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0" name="Freeform 69">
                  <a:extLst>
                    <a:ext uri="{FF2B5EF4-FFF2-40B4-BE49-F238E27FC236}">
                      <a16:creationId xmlns:a16="http://schemas.microsoft.com/office/drawing/2014/main" xmlns="" id="{A8C4EC88-F848-4026-A82D-7C9A384915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7" y="536"/>
                  <a:ext cx="3" cy="5"/>
                </a:xfrm>
                <a:custGeom>
                  <a:avLst/>
                  <a:gdLst>
                    <a:gd name="T0" fmla="*/ 0 w 3"/>
                    <a:gd name="T1" fmla="*/ 0 h 5"/>
                    <a:gd name="T2" fmla="*/ 1 w 3"/>
                    <a:gd name="T3" fmla="*/ 3 h 5"/>
                    <a:gd name="T4" fmla="*/ 3 w 3"/>
                    <a:gd name="T5" fmla="*/ 5 h 5"/>
                    <a:gd name="T6" fmla="*/ 3 w 3"/>
                    <a:gd name="T7" fmla="*/ 2 h 5"/>
                    <a:gd name="T8" fmla="*/ 1 w 3"/>
                    <a:gd name="T9" fmla="*/ 0 h 5"/>
                    <a:gd name="T10" fmla="*/ 0 w 3"/>
                    <a:gd name="T11" fmla="*/ 0 h 5"/>
                    <a:gd name="T12" fmla="*/ 0 w 3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5">
                      <a:moveTo>
                        <a:pt x="0" y="0"/>
                      </a:moveTo>
                      <a:lnTo>
                        <a:pt x="1" y="3"/>
                      </a:lnTo>
                      <a:lnTo>
                        <a:pt x="3" y="5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1" name="Freeform 70">
                  <a:extLst>
                    <a:ext uri="{FF2B5EF4-FFF2-40B4-BE49-F238E27FC236}">
                      <a16:creationId xmlns:a16="http://schemas.microsoft.com/office/drawing/2014/main" xmlns="" id="{54059432-F88F-4AA7-B96B-C7E98DA081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" y="629"/>
                  <a:ext cx="2" cy="5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2 h 5"/>
                    <a:gd name="T6" fmla="*/ 0 w 2"/>
                    <a:gd name="T7" fmla="*/ 0 h 5"/>
                    <a:gd name="T8" fmla="*/ 0 w 2"/>
                    <a:gd name="T9" fmla="*/ 5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2" name="Freeform 71">
                  <a:extLst>
                    <a:ext uri="{FF2B5EF4-FFF2-40B4-BE49-F238E27FC236}">
                      <a16:creationId xmlns:a16="http://schemas.microsoft.com/office/drawing/2014/main" xmlns="" id="{5C1F59C5-DBEE-4D95-977C-78E8DBDBB2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4" y="644"/>
                  <a:ext cx="2" cy="3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0 w 1"/>
                    <a:gd name="T5" fmla="*/ 0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cubicBezTo>
                        <a:pt x="0" y="2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3" name="Freeform 72">
                  <a:extLst>
                    <a:ext uri="{FF2B5EF4-FFF2-40B4-BE49-F238E27FC236}">
                      <a16:creationId xmlns:a16="http://schemas.microsoft.com/office/drawing/2014/main" xmlns="" id="{11025FB3-A4C7-47C4-9FFB-098ACC1D55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3" y="634"/>
                  <a:ext cx="9" cy="8"/>
                </a:xfrm>
                <a:custGeom>
                  <a:avLst/>
                  <a:gdLst>
                    <a:gd name="T0" fmla="*/ 9 w 9"/>
                    <a:gd name="T1" fmla="*/ 8 h 8"/>
                    <a:gd name="T2" fmla="*/ 8 w 9"/>
                    <a:gd name="T3" fmla="*/ 5 h 8"/>
                    <a:gd name="T4" fmla="*/ 3 w 9"/>
                    <a:gd name="T5" fmla="*/ 2 h 8"/>
                    <a:gd name="T6" fmla="*/ 1 w 9"/>
                    <a:gd name="T7" fmla="*/ 0 h 8"/>
                    <a:gd name="T8" fmla="*/ 0 w 9"/>
                    <a:gd name="T9" fmla="*/ 2 h 8"/>
                    <a:gd name="T10" fmla="*/ 3 w 9"/>
                    <a:gd name="T11" fmla="*/ 3 h 8"/>
                    <a:gd name="T12" fmla="*/ 9 w 9"/>
                    <a:gd name="T13" fmla="*/ 8 h 8"/>
                    <a:gd name="T14" fmla="*/ 9 w 9"/>
                    <a:gd name="T1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8">
                      <a:moveTo>
                        <a:pt x="9" y="8"/>
                      </a:moveTo>
                      <a:lnTo>
                        <a:pt x="8" y="5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3"/>
                      </a:lnTo>
                      <a:lnTo>
                        <a:pt x="9" y="8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4" name="Freeform 73">
                  <a:extLst>
                    <a:ext uri="{FF2B5EF4-FFF2-40B4-BE49-F238E27FC236}">
                      <a16:creationId xmlns:a16="http://schemas.microsoft.com/office/drawing/2014/main" xmlns="" id="{8D7B7183-FC81-4755-BC02-C3ECCFF5C2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598"/>
                  <a:ext cx="31" cy="29"/>
                </a:xfrm>
                <a:custGeom>
                  <a:avLst/>
                  <a:gdLst>
                    <a:gd name="T0" fmla="*/ 29 w 31"/>
                    <a:gd name="T1" fmla="*/ 28 h 29"/>
                    <a:gd name="T2" fmla="*/ 31 w 31"/>
                    <a:gd name="T3" fmla="*/ 25 h 29"/>
                    <a:gd name="T4" fmla="*/ 31 w 31"/>
                    <a:gd name="T5" fmla="*/ 20 h 29"/>
                    <a:gd name="T6" fmla="*/ 24 w 31"/>
                    <a:gd name="T7" fmla="*/ 16 h 29"/>
                    <a:gd name="T8" fmla="*/ 21 w 31"/>
                    <a:gd name="T9" fmla="*/ 11 h 29"/>
                    <a:gd name="T10" fmla="*/ 18 w 31"/>
                    <a:gd name="T11" fmla="*/ 11 h 29"/>
                    <a:gd name="T12" fmla="*/ 14 w 31"/>
                    <a:gd name="T13" fmla="*/ 8 h 29"/>
                    <a:gd name="T14" fmla="*/ 11 w 31"/>
                    <a:gd name="T15" fmla="*/ 7 h 29"/>
                    <a:gd name="T16" fmla="*/ 9 w 31"/>
                    <a:gd name="T17" fmla="*/ 3 h 29"/>
                    <a:gd name="T18" fmla="*/ 6 w 31"/>
                    <a:gd name="T19" fmla="*/ 2 h 29"/>
                    <a:gd name="T20" fmla="*/ 4 w 31"/>
                    <a:gd name="T21" fmla="*/ 0 h 29"/>
                    <a:gd name="T22" fmla="*/ 3 w 31"/>
                    <a:gd name="T23" fmla="*/ 2 h 29"/>
                    <a:gd name="T24" fmla="*/ 3 w 31"/>
                    <a:gd name="T25" fmla="*/ 3 h 29"/>
                    <a:gd name="T26" fmla="*/ 0 w 31"/>
                    <a:gd name="T27" fmla="*/ 7 h 29"/>
                    <a:gd name="T28" fmla="*/ 3 w 31"/>
                    <a:gd name="T29" fmla="*/ 8 h 29"/>
                    <a:gd name="T30" fmla="*/ 4 w 31"/>
                    <a:gd name="T31" fmla="*/ 8 h 29"/>
                    <a:gd name="T32" fmla="*/ 4 w 31"/>
                    <a:gd name="T33" fmla="*/ 10 h 29"/>
                    <a:gd name="T34" fmla="*/ 3 w 31"/>
                    <a:gd name="T35" fmla="*/ 11 h 29"/>
                    <a:gd name="T36" fmla="*/ 0 w 31"/>
                    <a:gd name="T37" fmla="*/ 10 h 29"/>
                    <a:gd name="T38" fmla="*/ 0 w 31"/>
                    <a:gd name="T39" fmla="*/ 10 h 29"/>
                    <a:gd name="T40" fmla="*/ 0 w 31"/>
                    <a:gd name="T41" fmla="*/ 11 h 29"/>
                    <a:gd name="T42" fmla="*/ 6 w 31"/>
                    <a:gd name="T43" fmla="*/ 18 h 29"/>
                    <a:gd name="T44" fmla="*/ 9 w 31"/>
                    <a:gd name="T45" fmla="*/ 20 h 29"/>
                    <a:gd name="T46" fmla="*/ 11 w 31"/>
                    <a:gd name="T47" fmla="*/ 23 h 29"/>
                    <a:gd name="T48" fmla="*/ 13 w 31"/>
                    <a:gd name="T49" fmla="*/ 23 h 29"/>
                    <a:gd name="T50" fmla="*/ 13 w 31"/>
                    <a:gd name="T51" fmla="*/ 20 h 29"/>
                    <a:gd name="T52" fmla="*/ 14 w 31"/>
                    <a:gd name="T53" fmla="*/ 21 h 29"/>
                    <a:gd name="T54" fmla="*/ 18 w 31"/>
                    <a:gd name="T55" fmla="*/ 20 h 29"/>
                    <a:gd name="T56" fmla="*/ 19 w 31"/>
                    <a:gd name="T57" fmla="*/ 21 h 29"/>
                    <a:gd name="T58" fmla="*/ 19 w 31"/>
                    <a:gd name="T59" fmla="*/ 26 h 29"/>
                    <a:gd name="T60" fmla="*/ 19 w 31"/>
                    <a:gd name="T61" fmla="*/ 26 h 29"/>
                    <a:gd name="T62" fmla="*/ 21 w 31"/>
                    <a:gd name="T63" fmla="*/ 29 h 29"/>
                    <a:gd name="T64" fmla="*/ 24 w 31"/>
                    <a:gd name="T65" fmla="*/ 29 h 29"/>
                    <a:gd name="T66" fmla="*/ 26 w 31"/>
                    <a:gd name="T67" fmla="*/ 28 h 29"/>
                    <a:gd name="T68" fmla="*/ 29 w 31"/>
                    <a:gd name="T69" fmla="*/ 28 h 29"/>
                    <a:gd name="T70" fmla="*/ 29 w 31"/>
                    <a:gd name="T71" fmla="*/ 28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1" h="29">
                      <a:moveTo>
                        <a:pt x="29" y="28"/>
                      </a:moveTo>
                      <a:lnTo>
                        <a:pt x="31" y="25"/>
                      </a:lnTo>
                      <a:lnTo>
                        <a:pt x="31" y="20"/>
                      </a:lnTo>
                      <a:lnTo>
                        <a:pt x="24" y="16"/>
                      </a:lnTo>
                      <a:lnTo>
                        <a:pt x="21" y="11"/>
                      </a:lnTo>
                      <a:lnTo>
                        <a:pt x="18" y="11"/>
                      </a:lnTo>
                      <a:lnTo>
                        <a:pt x="14" y="8"/>
                      </a:lnTo>
                      <a:lnTo>
                        <a:pt x="11" y="7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3" y="11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6" y="18"/>
                      </a:lnTo>
                      <a:lnTo>
                        <a:pt x="9" y="20"/>
                      </a:lnTo>
                      <a:lnTo>
                        <a:pt x="11" y="23"/>
                      </a:lnTo>
                      <a:lnTo>
                        <a:pt x="13" y="23"/>
                      </a:lnTo>
                      <a:lnTo>
                        <a:pt x="13" y="20"/>
                      </a:lnTo>
                      <a:lnTo>
                        <a:pt x="14" y="21"/>
                      </a:lnTo>
                      <a:lnTo>
                        <a:pt x="18" y="20"/>
                      </a:lnTo>
                      <a:lnTo>
                        <a:pt x="19" y="21"/>
                      </a:lnTo>
                      <a:lnTo>
                        <a:pt x="19" y="26"/>
                      </a:lnTo>
                      <a:lnTo>
                        <a:pt x="19" y="26"/>
                      </a:lnTo>
                      <a:lnTo>
                        <a:pt x="21" y="29"/>
                      </a:lnTo>
                      <a:lnTo>
                        <a:pt x="24" y="29"/>
                      </a:lnTo>
                      <a:lnTo>
                        <a:pt x="26" y="28"/>
                      </a:lnTo>
                      <a:lnTo>
                        <a:pt x="29" y="28"/>
                      </a:lnTo>
                      <a:lnTo>
                        <a:pt x="29" y="2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5" name="Freeform 74">
                  <a:extLst>
                    <a:ext uri="{FF2B5EF4-FFF2-40B4-BE49-F238E27FC236}">
                      <a16:creationId xmlns:a16="http://schemas.microsoft.com/office/drawing/2014/main" xmlns="" id="{ABA23074-FDA7-4DCB-82E6-4621D04D10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" y="466"/>
                  <a:ext cx="21" cy="23"/>
                </a:xfrm>
                <a:custGeom>
                  <a:avLst/>
                  <a:gdLst>
                    <a:gd name="T0" fmla="*/ 5 w 21"/>
                    <a:gd name="T1" fmla="*/ 23 h 23"/>
                    <a:gd name="T2" fmla="*/ 5 w 21"/>
                    <a:gd name="T3" fmla="*/ 23 h 23"/>
                    <a:gd name="T4" fmla="*/ 5 w 21"/>
                    <a:gd name="T5" fmla="*/ 21 h 23"/>
                    <a:gd name="T6" fmla="*/ 5 w 21"/>
                    <a:gd name="T7" fmla="*/ 19 h 23"/>
                    <a:gd name="T8" fmla="*/ 6 w 21"/>
                    <a:gd name="T9" fmla="*/ 19 h 23"/>
                    <a:gd name="T10" fmla="*/ 8 w 21"/>
                    <a:gd name="T11" fmla="*/ 23 h 23"/>
                    <a:gd name="T12" fmla="*/ 10 w 21"/>
                    <a:gd name="T13" fmla="*/ 21 h 23"/>
                    <a:gd name="T14" fmla="*/ 11 w 21"/>
                    <a:gd name="T15" fmla="*/ 23 h 23"/>
                    <a:gd name="T16" fmla="*/ 13 w 21"/>
                    <a:gd name="T17" fmla="*/ 21 h 23"/>
                    <a:gd name="T18" fmla="*/ 15 w 21"/>
                    <a:gd name="T19" fmla="*/ 19 h 23"/>
                    <a:gd name="T20" fmla="*/ 18 w 21"/>
                    <a:gd name="T21" fmla="*/ 16 h 23"/>
                    <a:gd name="T22" fmla="*/ 21 w 21"/>
                    <a:gd name="T23" fmla="*/ 14 h 23"/>
                    <a:gd name="T24" fmla="*/ 21 w 21"/>
                    <a:gd name="T25" fmla="*/ 13 h 23"/>
                    <a:gd name="T26" fmla="*/ 19 w 21"/>
                    <a:gd name="T27" fmla="*/ 10 h 23"/>
                    <a:gd name="T28" fmla="*/ 15 w 21"/>
                    <a:gd name="T29" fmla="*/ 8 h 23"/>
                    <a:gd name="T30" fmla="*/ 15 w 21"/>
                    <a:gd name="T31" fmla="*/ 5 h 23"/>
                    <a:gd name="T32" fmla="*/ 11 w 21"/>
                    <a:gd name="T33" fmla="*/ 1 h 23"/>
                    <a:gd name="T34" fmla="*/ 10 w 21"/>
                    <a:gd name="T35" fmla="*/ 0 h 23"/>
                    <a:gd name="T36" fmla="*/ 8 w 21"/>
                    <a:gd name="T37" fmla="*/ 1 h 23"/>
                    <a:gd name="T38" fmla="*/ 5 w 21"/>
                    <a:gd name="T39" fmla="*/ 5 h 23"/>
                    <a:gd name="T40" fmla="*/ 1 w 21"/>
                    <a:gd name="T41" fmla="*/ 5 h 23"/>
                    <a:gd name="T42" fmla="*/ 0 w 21"/>
                    <a:gd name="T43" fmla="*/ 8 h 23"/>
                    <a:gd name="T44" fmla="*/ 0 w 21"/>
                    <a:gd name="T45" fmla="*/ 10 h 23"/>
                    <a:gd name="T46" fmla="*/ 1 w 21"/>
                    <a:gd name="T47" fmla="*/ 13 h 23"/>
                    <a:gd name="T48" fmla="*/ 1 w 21"/>
                    <a:gd name="T49" fmla="*/ 16 h 23"/>
                    <a:gd name="T50" fmla="*/ 1 w 21"/>
                    <a:gd name="T51" fmla="*/ 21 h 23"/>
                    <a:gd name="T52" fmla="*/ 5 w 21"/>
                    <a:gd name="T53" fmla="*/ 23 h 23"/>
                    <a:gd name="T54" fmla="*/ 5 w 21"/>
                    <a:gd name="T55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" h="23">
                      <a:moveTo>
                        <a:pt x="5" y="23"/>
                      </a:moveTo>
                      <a:lnTo>
                        <a:pt x="5" y="23"/>
                      </a:lnTo>
                      <a:lnTo>
                        <a:pt x="5" y="21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8" y="23"/>
                      </a:lnTo>
                      <a:lnTo>
                        <a:pt x="10" y="21"/>
                      </a:lnTo>
                      <a:lnTo>
                        <a:pt x="11" y="23"/>
                      </a:lnTo>
                      <a:lnTo>
                        <a:pt x="13" y="21"/>
                      </a:lnTo>
                      <a:lnTo>
                        <a:pt x="15" y="19"/>
                      </a:lnTo>
                      <a:lnTo>
                        <a:pt x="18" y="16"/>
                      </a:lnTo>
                      <a:lnTo>
                        <a:pt x="21" y="14"/>
                      </a:lnTo>
                      <a:lnTo>
                        <a:pt x="21" y="13"/>
                      </a:lnTo>
                      <a:lnTo>
                        <a:pt x="19" y="10"/>
                      </a:lnTo>
                      <a:lnTo>
                        <a:pt x="15" y="8"/>
                      </a:lnTo>
                      <a:lnTo>
                        <a:pt x="15" y="5"/>
                      </a:lnTo>
                      <a:lnTo>
                        <a:pt x="11" y="1"/>
                      </a:lnTo>
                      <a:lnTo>
                        <a:pt x="10" y="0"/>
                      </a:lnTo>
                      <a:lnTo>
                        <a:pt x="8" y="1"/>
                      </a:lnTo>
                      <a:lnTo>
                        <a:pt x="5" y="5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6"/>
                      </a:lnTo>
                      <a:lnTo>
                        <a:pt x="1" y="21"/>
                      </a:lnTo>
                      <a:lnTo>
                        <a:pt x="5" y="23"/>
                      </a:lnTo>
                      <a:lnTo>
                        <a:pt x="5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6" name="Freeform 75">
                  <a:extLst>
                    <a:ext uri="{FF2B5EF4-FFF2-40B4-BE49-F238E27FC236}">
                      <a16:creationId xmlns:a16="http://schemas.microsoft.com/office/drawing/2014/main" xmlns="" id="{16457846-7BB1-427B-AA5A-E6C74E58F9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4" y="621"/>
                  <a:ext cx="5" cy="6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3 h 4"/>
                    <a:gd name="T4" fmla="*/ 2 w 3"/>
                    <a:gd name="T5" fmla="*/ 4 h 4"/>
                    <a:gd name="T6" fmla="*/ 3 w 3"/>
                    <a:gd name="T7" fmla="*/ 2 h 4"/>
                    <a:gd name="T8" fmla="*/ 3 w 3"/>
                    <a:gd name="T9" fmla="*/ 1 h 4"/>
                    <a:gd name="T10" fmla="*/ 2 w 3"/>
                    <a:gd name="T11" fmla="*/ 0 h 4"/>
                    <a:gd name="T12" fmla="*/ 1 w 3"/>
                    <a:gd name="T13" fmla="*/ 1 h 4"/>
                    <a:gd name="T14" fmla="*/ 1 w 3"/>
                    <a:gd name="T15" fmla="*/ 2 h 4"/>
                    <a:gd name="T16" fmla="*/ 0 w 3"/>
                    <a:gd name="T1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cubicBezTo>
                        <a:pt x="0" y="2"/>
                        <a:pt x="1" y="3"/>
                        <a:pt x="1" y="3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7" name="Freeform 76">
                  <a:extLst>
                    <a:ext uri="{FF2B5EF4-FFF2-40B4-BE49-F238E27FC236}">
                      <a16:creationId xmlns:a16="http://schemas.microsoft.com/office/drawing/2014/main" xmlns="" id="{953D1A3C-A3E4-4706-B623-AAD4AD0118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4" y="701"/>
                  <a:ext cx="10" cy="7"/>
                </a:xfrm>
                <a:custGeom>
                  <a:avLst/>
                  <a:gdLst>
                    <a:gd name="T0" fmla="*/ 0 w 10"/>
                    <a:gd name="T1" fmla="*/ 0 h 7"/>
                    <a:gd name="T2" fmla="*/ 0 w 10"/>
                    <a:gd name="T3" fmla="*/ 2 h 7"/>
                    <a:gd name="T4" fmla="*/ 2 w 10"/>
                    <a:gd name="T5" fmla="*/ 3 h 7"/>
                    <a:gd name="T6" fmla="*/ 2 w 10"/>
                    <a:gd name="T7" fmla="*/ 5 h 7"/>
                    <a:gd name="T8" fmla="*/ 5 w 10"/>
                    <a:gd name="T9" fmla="*/ 7 h 7"/>
                    <a:gd name="T10" fmla="*/ 8 w 10"/>
                    <a:gd name="T11" fmla="*/ 7 h 7"/>
                    <a:gd name="T12" fmla="*/ 10 w 10"/>
                    <a:gd name="T13" fmla="*/ 5 h 7"/>
                    <a:gd name="T14" fmla="*/ 8 w 10"/>
                    <a:gd name="T15" fmla="*/ 2 h 7"/>
                    <a:gd name="T16" fmla="*/ 7 w 10"/>
                    <a:gd name="T17" fmla="*/ 2 h 7"/>
                    <a:gd name="T18" fmla="*/ 4 w 10"/>
                    <a:gd name="T19" fmla="*/ 2 h 7"/>
                    <a:gd name="T20" fmla="*/ 2 w 10"/>
                    <a:gd name="T21" fmla="*/ 0 h 7"/>
                    <a:gd name="T22" fmla="*/ 0 w 10"/>
                    <a:gd name="T23" fmla="*/ 0 h 7"/>
                    <a:gd name="T24" fmla="*/ 0 w 10"/>
                    <a:gd name="T2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" h="7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0" y="5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8" name="Freeform 77">
                  <a:extLst>
                    <a:ext uri="{FF2B5EF4-FFF2-40B4-BE49-F238E27FC236}">
                      <a16:creationId xmlns:a16="http://schemas.microsoft.com/office/drawing/2014/main" xmlns="" id="{4E661241-2D67-43D5-8B4C-B064F2B0E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" y="476"/>
                  <a:ext cx="8" cy="11"/>
                </a:xfrm>
                <a:custGeom>
                  <a:avLst/>
                  <a:gdLst>
                    <a:gd name="T0" fmla="*/ 8 w 8"/>
                    <a:gd name="T1" fmla="*/ 11 h 11"/>
                    <a:gd name="T2" fmla="*/ 8 w 8"/>
                    <a:gd name="T3" fmla="*/ 8 h 11"/>
                    <a:gd name="T4" fmla="*/ 6 w 8"/>
                    <a:gd name="T5" fmla="*/ 6 h 11"/>
                    <a:gd name="T6" fmla="*/ 6 w 8"/>
                    <a:gd name="T7" fmla="*/ 4 h 11"/>
                    <a:gd name="T8" fmla="*/ 8 w 8"/>
                    <a:gd name="T9" fmla="*/ 3 h 11"/>
                    <a:gd name="T10" fmla="*/ 6 w 8"/>
                    <a:gd name="T11" fmla="*/ 0 h 11"/>
                    <a:gd name="T12" fmla="*/ 3 w 8"/>
                    <a:gd name="T13" fmla="*/ 0 h 11"/>
                    <a:gd name="T14" fmla="*/ 1 w 8"/>
                    <a:gd name="T15" fmla="*/ 1 h 11"/>
                    <a:gd name="T16" fmla="*/ 0 w 8"/>
                    <a:gd name="T17" fmla="*/ 6 h 11"/>
                    <a:gd name="T18" fmla="*/ 1 w 8"/>
                    <a:gd name="T19" fmla="*/ 8 h 11"/>
                    <a:gd name="T20" fmla="*/ 5 w 8"/>
                    <a:gd name="T21" fmla="*/ 9 h 11"/>
                    <a:gd name="T22" fmla="*/ 6 w 8"/>
                    <a:gd name="T23" fmla="*/ 11 h 11"/>
                    <a:gd name="T24" fmla="*/ 8 w 8"/>
                    <a:gd name="T25" fmla="*/ 11 h 11"/>
                    <a:gd name="T26" fmla="*/ 8 w 8"/>
                    <a:gd name="T27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11">
                      <a:moveTo>
                        <a:pt x="8" y="11"/>
                      </a:moveTo>
                      <a:lnTo>
                        <a:pt x="8" y="8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5" y="9"/>
                      </a:lnTo>
                      <a:lnTo>
                        <a:pt x="6" y="11"/>
                      </a:lnTo>
                      <a:lnTo>
                        <a:pt x="8" y="11"/>
                      </a:lnTo>
                      <a:lnTo>
                        <a:pt x="8" y="1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9" name="Freeform 78">
                  <a:extLst>
                    <a:ext uri="{FF2B5EF4-FFF2-40B4-BE49-F238E27FC236}">
                      <a16:creationId xmlns:a16="http://schemas.microsoft.com/office/drawing/2014/main" xmlns="" id="{1914E8DC-AA5B-40F6-B96F-86BA5AD09B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8" y="454"/>
                  <a:ext cx="8" cy="10"/>
                </a:xfrm>
                <a:custGeom>
                  <a:avLst/>
                  <a:gdLst>
                    <a:gd name="T0" fmla="*/ 0 w 8"/>
                    <a:gd name="T1" fmla="*/ 10 h 10"/>
                    <a:gd name="T2" fmla="*/ 3 w 8"/>
                    <a:gd name="T3" fmla="*/ 7 h 10"/>
                    <a:gd name="T4" fmla="*/ 5 w 8"/>
                    <a:gd name="T5" fmla="*/ 7 h 10"/>
                    <a:gd name="T6" fmla="*/ 7 w 8"/>
                    <a:gd name="T7" fmla="*/ 5 h 10"/>
                    <a:gd name="T8" fmla="*/ 7 w 8"/>
                    <a:gd name="T9" fmla="*/ 4 h 10"/>
                    <a:gd name="T10" fmla="*/ 7 w 8"/>
                    <a:gd name="T11" fmla="*/ 2 h 10"/>
                    <a:gd name="T12" fmla="*/ 8 w 8"/>
                    <a:gd name="T13" fmla="*/ 0 h 10"/>
                    <a:gd name="T14" fmla="*/ 8 w 8"/>
                    <a:gd name="T15" fmla="*/ 0 h 10"/>
                    <a:gd name="T16" fmla="*/ 5 w 8"/>
                    <a:gd name="T17" fmla="*/ 0 h 10"/>
                    <a:gd name="T18" fmla="*/ 2 w 8"/>
                    <a:gd name="T19" fmla="*/ 4 h 10"/>
                    <a:gd name="T20" fmla="*/ 0 w 8"/>
                    <a:gd name="T21" fmla="*/ 7 h 10"/>
                    <a:gd name="T22" fmla="*/ 0 w 8"/>
                    <a:gd name="T23" fmla="*/ 10 h 10"/>
                    <a:gd name="T24" fmla="*/ 0 w 8"/>
                    <a:gd name="T2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" h="10">
                      <a:moveTo>
                        <a:pt x="0" y="10"/>
                      </a:move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0" name="Freeform 79">
                  <a:extLst>
                    <a:ext uri="{FF2B5EF4-FFF2-40B4-BE49-F238E27FC236}">
                      <a16:creationId xmlns:a16="http://schemas.microsoft.com/office/drawing/2014/main" xmlns="" id="{F6075B31-FF3C-4EC1-A1F8-662BF1116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1" y="466"/>
                  <a:ext cx="10" cy="5"/>
                </a:xfrm>
                <a:custGeom>
                  <a:avLst/>
                  <a:gdLst>
                    <a:gd name="T0" fmla="*/ 0 w 10"/>
                    <a:gd name="T1" fmla="*/ 1 h 5"/>
                    <a:gd name="T2" fmla="*/ 3 w 10"/>
                    <a:gd name="T3" fmla="*/ 5 h 5"/>
                    <a:gd name="T4" fmla="*/ 8 w 10"/>
                    <a:gd name="T5" fmla="*/ 5 h 5"/>
                    <a:gd name="T6" fmla="*/ 10 w 10"/>
                    <a:gd name="T7" fmla="*/ 5 h 5"/>
                    <a:gd name="T8" fmla="*/ 10 w 10"/>
                    <a:gd name="T9" fmla="*/ 3 h 5"/>
                    <a:gd name="T10" fmla="*/ 5 w 10"/>
                    <a:gd name="T11" fmla="*/ 1 h 5"/>
                    <a:gd name="T12" fmla="*/ 2 w 10"/>
                    <a:gd name="T13" fmla="*/ 0 h 5"/>
                    <a:gd name="T14" fmla="*/ 0 w 10"/>
                    <a:gd name="T15" fmla="*/ 1 h 5"/>
                    <a:gd name="T16" fmla="*/ 0 w 10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5">
                      <a:moveTo>
                        <a:pt x="0" y="1"/>
                      </a:moveTo>
                      <a:lnTo>
                        <a:pt x="3" y="5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10" y="3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1" name="Freeform 80">
                  <a:extLst>
                    <a:ext uri="{FF2B5EF4-FFF2-40B4-BE49-F238E27FC236}">
                      <a16:creationId xmlns:a16="http://schemas.microsoft.com/office/drawing/2014/main" xmlns="" id="{4221BB73-C60F-42BA-B4D1-D4C8F763D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7" y="487"/>
                  <a:ext cx="17" cy="16"/>
                </a:xfrm>
                <a:custGeom>
                  <a:avLst/>
                  <a:gdLst>
                    <a:gd name="T0" fmla="*/ 5 w 17"/>
                    <a:gd name="T1" fmla="*/ 3 h 16"/>
                    <a:gd name="T2" fmla="*/ 5 w 17"/>
                    <a:gd name="T3" fmla="*/ 6 h 16"/>
                    <a:gd name="T4" fmla="*/ 3 w 17"/>
                    <a:gd name="T5" fmla="*/ 10 h 16"/>
                    <a:gd name="T6" fmla="*/ 2 w 17"/>
                    <a:gd name="T7" fmla="*/ 11 h 16"/>
                    <a:gd name="T8" fmla="*/ 0 w 17"/>
                    <a:gd name="T9" fmla="*/ 13 h 16"/>
                    <a:gd name="T10" fmla="*/ 2 w 17"/>
                    <a:gd name="T11" fmla="*/ 16 h 16"/>
                    <a:gd name="T12" fmla="*/ 3 w 17"/>
                    <a:gd name="T13" fmla="*/ 15 h 16"/>
                    <a:gd name="T14" fmla="*/ 7 w 17"/>
                    <a:gd name="T15" fmla="*/ 13 h 16"/>
                    <a:gd name="T16" fmla="*/ 10 w 17"/>
                    <a:gd name="T17" fmla="*/ 11 h 16"/>
                    <a:gd name="T18" fmla="*/ 12 w 17"/>
                    <a:gd name="T19" fmla="*/ 8 h 16"/>
                    <a:gd name="T20" fmla="*/ 13 w 17"/>
                    <a:gd name="T21" fmla="*/ 6 h 16"/>
                    <a:gd name="T22" fmla="*/ 17 w 17"/>
                    <a:gd name="T23" fmla="*/ 3 h 16"/>
                    <a:gd name="T24" fmla="*/ 17 w 17"/>
                    <a:gd name="T25" fmla="*/ 0 h 16"/>
                    <a:gd name="T26" fmla="*/ 15 w 17"/>
                    <a:gd name="T27" fmla="*/ 0 h 16"/>
                    <a:gd name="T28" fmla="*/ 12 w 17"/>
                    <a:gd name="T29" fmla="*/ 0 h 16"/>
                    <a:gd name="T30" fmla="*/ 7 w 17"/>
                    <a:gd name="T31" fmla="*/ 0 h 16"/>
                    <a:gd name="T32" fmla="*/ 5 w 17"/>
                    <a:gd name="T33" fmla="*/ 3 h 16"/>
                    <a:gd name="T34" fmla="*/ 5 w 17"/>
                    <a:gd name="T35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" h="16">
                      <a:moveTo>
                        <a:pt x="5" y="3"/>
                      </a:moveTo>
                      <a:lnTo>
                        <a:pt x="5" y="6"/>
                      </a:lnTo>
                      <a:lnTo>
                        <a:pt x="3" y="10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2" y="16"/>
                      </a:lnTo>
                      <a:lnTo>
                        <a:pt x="3" y="15"/>
                      </a:lnTo>
                      <a:lnTo>
                        <a:pt x="7" y="13"/>
                      </a:lnTo>
                      <a:lnTo>
                        <a:pt x="10" y="11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7" y="3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2" name="Freeform 81">
                  <a:extLst>
                    <a:ext uri="{FF2B5EF4-FFF2-40B4-BE49-F238E27FC236}">
                      <a16:creationId xmlns:a16="http://schemas.microsoft.com/office/drawing/2014/main" xmlns="" id="{E4335EA0-3465-4FB8-994F-C78D3C61D8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9" y="461"/>
                  <a:ext cx="13" cy="19"/>
                </a:xfrm>
                <a:custGeom>
                  <a:avLst/>
                  <a:gdLst>
                    <a:gd name="T0" fmla="*/ 5 w 13"/>
                    <a:gd name="T1" fmla="*/ 0 h 19"/>
                    <a:gd name="T2" fmla="*/ 1 w 13"/>
                    <a:gd name="T3" fmla="*/ 3 h 19"/>
                    <a:gd name="T4" fmla="*/ 1 w 13"/>
                    <a:gd name="T5" fmla="*/ 8 h 19"/>
                    <a:gd name="T6" fmla="*/ 0 w 13"/>
                    <a:gd name="T7" fmla="*/ 13 h 19"/>
                    <a:gd name="T8" fmla="*/ 0 w 13"/>
                    <a:gd name="T9" fmla="*/ 15 h 19"/>
                    <a:gd name="T10" fmla="*/ 3 w 13"/>
                    <a:gd name="T11" fmla="*/ 16 h 19"/>
                    <a:gd name="T12" fmla="*/ 5 w 13"/>
                    <a:gd name="T13" fmla="*/ 18 h 19"/>
                    <a:gd name="T14" fmla="*/ 8 w 13"/>
                    <a:gd name="T15" fmla="*/ 18 h 19"/>
                    <a:gd name="T16" fmla="*/ 9 w 13"/>
                    <a:gd name="T17" fmla="*/ 19 h 19"/>
                    <a:gd name="T18" fmla="*/ 13 w 13"/>
                    <a:gd name="T19" fmla="*/ 18 h 19"/>
                    <a:gd name="T20" fmla="*/ 13 w 13"/>
                    <a:gd name="T21" fmla="*/ 16 h 19"/>
                    <a:gd name="T22" fmla="*/ 11 w 13"/>
                    <a:gd name="T23" fmla="*/ 11 h 19"/>
                    <a:gd name="T24" fmla="*/ 9 w 13"/>
                    <a:gd name="T25" fmla="*/ 6 h 19"/>
                    <a:gd name="T26" fmla="*/ 6 w 13"/>
                    <a:gd name="T27" fmla="*/ 3 h 19"/>
                    <a:gd name="T28" fmla="*/ 5 w 13"/>
                    <a:gd name="T29" fmla="*/ 0 h 19"/>
                    <a:gd name="T30" fmla="*/ 5 w 13"/>
                    <a:gd name="T31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9">
                      <a:moveTo>
                        <a:pt x="5" y="0"/>
                      </a:moveTo>
                      <a:lnTo>
                        <a:pt x="1" y="3"/>
                      </a:lnTo>
                      <a:lnTo>
                        <a:pt x="1" y="8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3" y="16"/>
                      </a:lnTo>
                      <a:lnTo>
                        <a:pt x="5" y="18"/>
                      </a:lnTo>
                      <a:lnTo>
                        <a:pt x="8" y="18"/>
                      </a:lnTo>
                      <a:lnTo>
                        <a:pt x="9" y="19"/>
                      </a:lnTo>
                      <a:lnTo>
                        <a:pt x="13" y="18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9" y="6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3" name="Freeform 82">
                  <a:extLst>
                    <a:ext uri="{FF2B5EF4-FFF2-40B4-BE49-F238E27FC236}">
                      <a16:creationId xmlns:a16="http://schemas.microsoft.com/office/drawing/2014/main" xmlns="" id="{EC88D30A-DE09-4EAA-B8DD-C35D663C98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4" y="400"/>
                  <a:ext cx="8" cy="9"/>
                </a:xfrm>
                <a:custGeom>
                  <a:avLst/>
                  <a:gdLst>
                    <a:gd name="T0" fmla="*/ 8 w 8"/>
                    <a:gd name="T1" fmla="*/ 7 h 9"/>
                    <a:gd name="T2" fmla="*/ 7 w 8"/>
                    <a:gd name="T3" fmla="*/ 4 h 9"/>
                    <a:gd name="T4" fmla="*/ 7 w 8"/>
                    <a:gd name="T5" fmla="*/ 2 h 9"/>
                    <a:gd name="T6" fmla="*/ 5 w 8"/>
                    <a:gd name="T7" fmla="*/ 0 h 9"/>
                    <a:gd name="T8" fmla="*/ 2 w 8"/>
                    <a:gd name="T9" fmla="*/ 2 h 9"/>
                    <a:gd name="T10" fmla="*/ 0 w 8"/>
                    <a:gd name="T11" fmla="*/ 4 h 9"/>
                    <a:gd name="T12" fmla="*/ 2 w 8"/>
                    <a:gd name="T13" fmla="*/ 4 h 9"/>
                    <a:gd name="T14" fmla="*/ 3 w 8"/>
                    <a:gd name="T15" fmla="*/ 7 h 9"/>
                    <a:gd name="T16" fmla="*/ 5 w 8"/>
                    <a:gd name="T17" fmla="*/ 9 h 9"/>
                    <a:gd name="T18" fmla="*/ 8 w 8"/>
                    <a:gd name="T19" fmla="*/ 7 h 9"/>
                    <a:gd name="T20" fmla="*/ 8 w 8"/>
                    <a:gd name="T21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9">
                      <a:moveTo>
                        <a:pt x="8" y="7"/>
                      </a:move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3" y="7"/>
                      </a:lnTo>
                      <a:lnTo>
                        <a:pt x="5" y="9"/>
                      </a:lnTo>
                      <a:lnTo>
                        <a:pt x="8" y="7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4" name="Freeform 83">
                  <a:extLst>
                    <a:ext uri="{FF2B5EF4-FFF2-40B4-BE49-F238E27FC236}">
                      <a16:creationId xmlns:a16="http://schemas.microsoft.com/office/drawing/2014/main" xmlns="" id="{DB421A32-C88D-45C6-99AE-CC9C07738A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9" y="358"/>
                  <a:ext cx="8" cy="18"/>
                </a:xfrm>
                <a:custGeom>
                  <a:avLst/>
                  <a:gdLst>
                    <a:gd name="T0" fmla="*/ 1 w 8"/>
                    <a:gd name="T1" fmla="*/ 8 h 18"/>
                    <a:gd name="T2" fmla="*/ 1 w 8"/>
                    <a:gd name="T3" fmla="*/ 8 h 18"/>
                    <a:gd name="T4" fmla="*/ 0 w 8"/>
                    <a:gd name="T5" fmla="*/ 6 h 18"/>
                    <a:gd name="T6" fmla="*/ 0 w 8"/>
                    <a:gd name="T7" fmla="*/ 13 h 18"/>
                    <a:gd name="T8" fmla="*/ 1 w 8"/>
                    <a:gd name="T9" fmla="*/ 13 h 18"/>
                    <a:gd name="T10" fmla="*/ 3 w 8"/>
                    <a:gd name="T11" fmla="*/ 11 h 18"/>
                    <a:gd name="T12" fmla="*/ 5 w 8"/>
                    <a:gd name="T13" fmla="*/ 13 h 18"/>
                    <a:gd name="T14" fmla="*/ 5 w 8"/>
                    <a:gd name="T15" fmla="*/ 16 h 18"/>
                    <a:gd name="T16" fmla="*/ 6 w 8"/>
                    <a:gd name="T17" fmla="*/ 18 h 18"/>
                    <a:gd name="T18" fmla="*/ 6 w 8"/>
                    <a:gd name="T19" fmla="*/ 15 h 18"/>
                    <a:gd name="T20" fmla="*/ 6 w 8"/>
                    <a:gd name="T21" fmla="*/ 11 h 18"/>
                    <a:gd name="T22" fmla="*/ 8 w 8"/>
                    <a:gd name="T23" fmla="*/ 10 h 18"/>
                    <a:gd name="T24" fmla="*/ 8 w 8"/>
                    <a:gd name="T25" fmla="*/ 8 h 18"/>
                    <a:gd name="T26" fmla="*/ 6 w 8"/>
                    <a:gd name="T27" fmla="*/ 5 h 18"/>
                    <a:gd name="T28" fmla="*/ 6 w 8"/>
                    <a:gd name="T29" fmla="*/ 3 h 18"/>
                    <a:gd name="T30" fmla="*/ 5 w 8"/>
                    <a:gd name="T31" fmla="*/ 0 h 18"/>
                    <a:gd name="T32" fmla="*/ 3 w 8"/>
                    <a:gd name="T33" fmla="*/ 1 h 18"/>
                    <a:gd name="T34" fmla="*/ 1 w 8"/>
                    <a:gd name="T35" fmla="*/ 1 h 18"/>
                    <a:gd name="T36" fmla="*/ 0 w 8"/>
                    <a:gd name="T37" fmla="*/ 3 h 18"/>
                    <a:gd name="T38" fmla="*/ 3 w 8"/>
                    <a:gd name="T39" fmla="*/ 6 h 18"/>
                    <a:gd name="T40" fmla="*/ 1 w 8"/>
                    <a:gd name="T41" fmla="*/ 8 h 18"/>
                    <a:gd name="T42" fmla="*/ 1 w 8"/>
                    <a:gd name="T43" fmla="*/ 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" h="18">
                      <a:moveTo>
                        <a:pt x="1" y="8"/>
                      </a:moveTo>
                      <a:lnTo>
                        <a:pt x="1" y="8"/>
                      </a:ln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1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5" y="16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6" y="11"/>
                      </a:lnTo>
                      <a:lnTo>
                        <a:pt x="8" y="10"/>
                      </a:lnTo>
                      <a:lnTo>
                        <a:pt x="8" y="8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1" y="8"/>
                      </a:lnTo>
                      <a:lnTo>
                        <a:pt x="1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5" name="Freeform 84">
                  <a:extLst>
                    <a:ext uri="{FF2B5EF4-FFF2-40B4-BE49-F238E27FC236}">
                      <a16:creationId xmlns:a16="http://schemas.microsoft.com/office/drawing/2014/main" xmlns="" id="{7077B77C-2996-47C4-90DB-9D70CE5D8C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7" y="343"/>
                  <a:ext cx="9" cy="5"/>
                </a:xfrm>
                <a:custGeom>
                  <a:avLst/>
                  <a:gdLst>
                    <a:gd name="T0" fmla="*/ 9 w 9"/>
                    <a:gd name="T1" fmla="*/ 3 h 5"/>
                    <a:gd name="T2" fmla="*/ 5 w 9"/>
                    <a:gd name="T3" fmla="*/ 3 h 5"/>
                    <a:gd name="T4" fmla="*/ 4 w 9"/>
                    <a:gd name="T5" fmla="*/ 2 h 5"/>
                    <a:gd name="T6" fmla="*/ 2 w 9"/>
                    <a:gd name="T7" fmla="*/ 0 h 5"/>
                    <a:gd name="T8" fmla="*/ 0 w 9"/>
                    <a:gd name="T9" fmla="*/ 2 h 5"/>
                    <a:gd name="T10" fmla="*/ 2 w 9"/>
                    <a:gd name="T11" fmla="*/ 3 h 5"/>
                    <a:gd name="T12" fmla="*/ 5 w 9"/>
                    <a:gd name="T13" fmla="*/ 5 h 5"/>
                    <a:gd name="T14" fmla="*/ 9 w 9"/>
                    <a:gd name="T15" fmla="*/ 5 h 5"/>
                    <a:gd name="T16" fmla="*/ 9 w 9"/>
                    <a:gd name="T17" fmla="*/ 3 h 5"/>
                    <a:gd name="T18" fmla="*/ 9 w 9"/>
                    <a:gd name="T1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9" y="3"/>
                      </a:moveTo>
                      <a:lnTo>
                        <a:pt x="5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5" y="5"/>
                      </a:lnTo>
                      <a:lnTo>
                        <a:pt x="9" y="5"/>
                      </a:lnTo>
                      <a:lnTo>
                        <a:pt x="9" y="3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6" name="Freeform 85">
                  <a:extLst>
                    <a:ext uri="{FF2B5EF4-FFF2-40B4-BE49-F238E27FC236}">
                      <a16:creationId xmlns:a16="http://schemas.microsoft.com/office/drawing/2014/main" xmlns="" id="{5D18DCF3-AFEE-42B2-A615-7F6E5EAC0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7" y="340"/>
                  <a:ext cx="10" cy="5"/>
                </a:xfrm>
                <a:custGeom>
                  <a:avLst/>
                  <a:gdLst>
                    <a:gd name="T0" fmla="*/ 0 w 6"/>
                    <a:gd name="T1" fmla="*/ 2 h 3"/>
                    <a:gd name="T2" fmla="*/ 1 w 6"/>
                    <a:gd name="T3" fmla="*/ 3 h 3"/>
                    <a:gd name="T4" fmla="*/ 3 w 6"/>
                    <a:gd name="T5" fmla="*/ 2 h 3"/>
                    <a:gd name="T6" fmla="*/ 4 w 6"/>
                    <a:gd name="T7" fmla="*/ 3 h 3"/>
                    <a:gd name="T8" fmla="*/ 6 w 6"/>
                    <a:gd name="T9" fmla="*/ 2 h 3"/>
                    <a:gd name="T10" fmla="*/ 6 w 6"/>
                    <a:gd name="T11" fmla="*/ 1 h 3"/>
                    <a:gd name="T12" fmla="*/ 3 w 6"/>
                    <a:gd name="T13" fmla="*/ 1 h 3"/>
                    <a:gd name="T14" fmla="*/ 2 w 6"/>
                    <a:gd name="T15" fmla="*/ 0 h 3"/>
                    <a:gd name="T16" fmla="*/ 1 w 6"/>
                    <a:gd name="T17" fmla="*/ 0 h 3"/>
                    <a:gd name="T18" fmla="*/ 0 w 6"/>
                    <a:gd name="T1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cubicBezTo>
                        <a:pt x="0" y="2"/>
                        <a:pt x="1" y="3"/>
                        <a:pt x="1" y="3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7" name="Freeform 86">
                  <a:extLst>
                    <a:ext uri="{FF2B5EF4-FFF2-40B4-BE49-F238E27FC236}">
                      <a16:creationId xmlns:a16="http://schemas.microsoft.com/office/drawing/2014/main" xmlns="" id="{8C158AFB-1B12-4013-A70F-6176F98978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" y="417"/>
                  <a:ext cx="7" cy="5"/>
                </a:xfrm>
                <a:custGeom>
                  <a:avLst/>
                  <a:gdLst>
                    <a:gd name="T0" fmla="*/ 5 w 7"/>
                    <a:gd name="T1" fmla="*/ 5 h 5"/>
                    <a:gd name="T2" fmla="*/ 7 w 7"/>
                    <a:gd name="T3" fmla="*/ 1 h 5"/>
                    <a:gd name="T4" fmla="*/ 5 w 7"/>
                    <a:gd name="T5" fmla="*/ 0 h 5"/>
                    <a:gd name="T6" fmla="*/ 3 w 7"/>
                    <a:gd name="T7" fmla="*/ 0 h 5"/>
                    <a:gd name="T8" fmla="*/ 0 w 7"/>
                    <a:gd name="T9" fmla="*/ 1 h 5"/>
                    <a:gd name="T10" fmla="*/ 2 w 7"/>
                    <a:gd name="T11" fmla="*/ 5 h 5"/>
                    <a:gd name="T12" fmla="*/ 5 w 7"/>
                    <a:gd name="T13" fmla="*/ 5 h 5"/>
                    <a:gd name="T14" fmla="*/ 5 w 7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5">
                      <a:moveTo>
                        <a:pt x="5" y="5"/>
                      </a:move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8" name="Freeform 87">
                  <a:extLst>
                    <a:ext uri="{FF2B5EF4-FFF2-40B4-BE49-F238E27FC236}">
                      <a16:creationId xmlns:a16="http://schemas.microsoft.com/office/drawing/2014/main" xmlns="" id="{2172A2FD-FB44-47C4-B0A6-5F4AAF48D7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8" y="415"/>
                  <a:ext cx="7" cy="3"/>
                </a:xfrm>
                <a:custGeom>
                  <a:avLst/>
                  <a:gdLst>
                    <a:gd name="T0" fmla="*/ 3 w 7"/>
                    <a:gd name="T1" fmla="*/ 3 h 3"/>
                    <a:gd name="T2" fmla="*/ 7 w 7"/>
                    <a:gd name="T3" fmla="*/ 2 h 3"/>
                    <a:gd name="T4" fmla="*/ 7 w 7"/>
                    <a:gd name="T5" fmla="*/ 0 h 3"/>
                    <a:gd name="T6" fmla="*/ 3 w 7"/>
                    <a:gd name="T7" fmla="*/ 0 h 3"/>
                    <a:gd name="T8" fmla="*/ 2 w 7"/>
                    <a:gd name="T9" fmla="*/ 0 h 3"/>
                    <a:gd name="T10" fmla="*/ 0 w 7"/>
                    <a:gd name="T11" fmla="*/ 2 h 3"/>
                    <a:gd name="T12" fmla="*/ 0 w 7"/>
                    <a:gd name="T13" fmla="*/ 3 h 3"/>
                    <a:gd name="T14" fmla="*/ 3 w 7"/>
                    <a:gd name="T15" fmla="*/ 3 h 3"/>
                    <a:gd name="T16" fmla="*/ 3 w 7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3" y="3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9" name="Freeform 88">
                  <a:extLst>
                    <a:ext uri="{FF2B5EF4-FFF2-40B4-BE49-F238E27FC236}">
                      <a16:creationId xmlns:a16="http://schemas.microsoft.com/office/drawing/2014/main" xmlns="" id="{CAD2E7FD-C6C9-4555-80BD-E3C27352B3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1" y="418"/>
                  <a:ext cx="7" cy="4"/>
                </a:xfrm>
                <a:custGeom>
                  <a:avLst/>
                  <a:gdLst>
                    <a:gd name="T0" fmla="*/ 5 w 7"/>
                    <a:gd name="T1" fmla="*/ 4 h 4"/>
                    <a:gd name="T2" fmla="*/ 7 w 7"/>
                    <a:gd name="T3" fmla="*/ 2 h 4"/>
                    <a:gd name="T4" fmla="*/ 3 w 7"/>
                    <a:gd name="T5" fmla="*/ 0 h 4"/>
                    <a:gd name="T6" fmla="*/ 0 w 7"/>
                    <a:gd name="T7" fmla="*/ 2 h 4"/>
                    <a:gd name="T8" fmla="*/ 0 w 7"/>
                    <a:gd name="T9" fmla="*/ 4 h 4"/>
                    <a:gd name="T10" fmla="*/ 5 w 7"/>
                    <a:gd name="T11" fmla="*/ 4 h 4"/>
                    <a:gd name="T12" fmla="*/ 5 w 7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4">
                      <a:moveTo>
                        <a:pt x="5" y="4"/>
                      </a:move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0" name="Freeform 89">
                  <a:extLst>
                    <a:ext uri="{FF2B5EF4-FFF2-40B4-BE49-F238E27FC236}">
                      <a16:creationId xmlns:a16="http://schemas.microsoft.com/office/drawing/2014/main" xmlns="" id="{70D37243-21ED-43D8-A4E6-AC18EC2C24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9" y="413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1 w 5"/>
                    <a:gd name="T3" fmla="*/ 5 h 5"/>
                    <a:gd name="T4" fmla="*/ 3 w 5"/>
                    <a:gd name="T5" fmla="*/ 5 h 5"/>
                    <a:gd name="T6" fmla="*/ 5 w 5"/>
                    <a:gd name="T7" fmla="*/ 4 h 5"/>
                    <a:gd name="T8" fmla="*/ 1 w 5"/>
                    <a:gd name="T9" fmla="*/ 2 h 5"/>
                    <a:gd name="T10" fmla="*/ 0 w 5"/>
                    <a:gd name="T11" fmla="*/ 0 h 5"/>
                    <a:gd name="T12" fmla="*/ 0 w 5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0" y="0"/>
                      </a:move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1" name="Freeform 90">
                  <a:extLst>
                    <a:ext uri="{FF2B5EF4-FFF2-40B4-BE49-F238E27FC236}">
                      <a16:creationId xmlns:a16="http://schemas.microsoft.com/office/drawing/2014/main" xmlns="" id="{103425C4-77FE-4800-AA5F-8076F3B32B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6" y="409"/>
                  <a:ext cx="5" cy="3"/>
                </a:xfrm>
                <a:custGeom>
                  <a:avLst/>
                  <a:gdLst>
                    <a:gd name="T0" fmla="*/ 0 w 5"/>
                    <a:gd name="T1" fmla="*/ 3 h 3"/>
                    <a:gd name="T2" fmla="*/ 3 w 5"/>
                    <a:gd name="T3" fmla="*/ 3 h 3"/>
                    <a:gd name="T4" fmla="*/ 5 w 5"/>
                    <a:gd name="T5" fmla="*/ 0 h 3"/>
                    <a:gd name="T6" fmla="*/ 1 w 5"/>
                    <a:gd name="T7" fmla="*/ 0 h 3"/>
                    <a:gd name="T8" fmla="*/ 0 w 5"/>
                    <a:gd name="T9" fmla="*/ 0 h 3"/>
                    <a:gd name="T10" fmla="*/ 0 w 5"/>
                    <a:gd name="T11" fmla="*/ 1 h 3"/>
                    <a:gd name="T12" fmla="*/ 0 w 5"/>
                    <a:gd name="T13" fmla="*/ 3 h 3"/>
                    <a:gd name="T14" fmla="*/ 0 w 5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2" name="Freeform 91">
                  <a:extLst>
                    <a:ext uri="{FF2B5EF4-FFF2-40B4-BE49-F238E27FC236}">
                      <a16:creationId xmlns:a16="http://schemas.microsoft.com/office/drawing/2014/main" xmlns="" id="{EA0573E0-1282-4051-B24D-43D0F9DA03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9" y="395"/>
                  <a:ext cx="7" cy="7"/>
                </a:xfrm>
                <a:custGeom>
                  <a:avLst/>
                  <a:gdLst>
                    <a:gd name="T0" fmla="*/ 5 w 7"/>
                    <a:gd name="T1" fmla="*/ 2 h 7"/>
                    <a:gd name="T2" fmla="*/ 7 w 7"/>
                    <a:gd name="T3" fmla="*/ 0 h 7"/>
                    <a:gd name="T4" fmla="*/ 4 w 7"/>
                    <a:gd name="T5" fmla="*/ 0 h 7"/>
                    <a:gd name="T6" fmla="*/ 0 w 7"/>
                    <a:gd name="T7" fmla="*/ 4 h 7"/>
                    <a:gd name="T8" fmla="*/ 0 w 7"/>
                    <a:gd name="T9" fmla="*/ 5 h 7"/>
                    <a:gd name="T10" fmla="*/ 4 w 7"/>
                    <a:gd name="T11" fmla="*/ 7 h 7"/>
                    <a:gd name="T12" fmla="*/ 4 w 7"/>
                    <a:gd name="T13" fmla="*/ 5 h 7"/>
                    <a:gd name="T14" fmla="*/ 4 w 7"/>
                    <a:gd name="T15" fmla="*/ 5 h 7"/>
                    <a:gd name="T16" fmla="*/ 4 w 7"/>
                    <a:gd name="T17" fmla="*/ 4 h 7"/>
                    <a:gd name="T18" fmla="*/ 5 w 7"/>
                    <a:gd name="T19" fmla="*/ 2 h 7"/>
                    <a:gd name="T20" fmla="*/ 5 w 7"/>
                    <a:gd name="T21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5" y="2"/>
                      </a:move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3" name="Freeform 92">
                  <a:extLst>
                    <a:ext uri="{FF2B5EF4-FFF2-40B4-BE49-F238E27FC236}">
                      <a16:creationId xmlns:a16="http://schemas.microsoft.com/office/drawing/2014/main" xmlns="" id="{1269104C-66CF-4E06-B4EC-C940745681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9" y="394"/>
                  <a:ext cx="5" cy="3"/>
                </a:xfrm>
                <a:custGeom>
                  <a:avLst/>
                  <a:gdLst>
                    <a:gd name="T0" fmla="*/ 5 w 5"/>
                    <a:gd name="T1" fmla="*/ 1 h 3"/>
                    <a:gd name="T2" fmla="*/ 4 w 5"/>
                    <a:gd name="T3" fmla="*/ 0 h 3"/>
                    <a:gd name="T4" fmla="*/ 0 w 5"/>
                    <a:gd name="T5" fmla="*/ 0 h 3"/>
                    <a:gd name="T6" fmla="*/ 0 w 5"/>
                    <a:gd name="T7" fmla="*/ 1 h 3"/>
                    <a:gd name="T8" fmla="*/ 0 w 5"/>
                    <a:gd name="T9" fmla="*/ 3 h 3"/>
                    <a:gd name="T10" fmla="*/ 2 w 5"/>
                    <a:gd name="T11" fmla="*/ 3 h 3"/>
                    <a:gd name="T12" fmla="*/ 4 w 5"/>
                    <a:gd name="T13" fmla="*/ 3 h 3"/>
                    <a:gd name="T14" fmla="*/ 5 w 5"/>
                    <a:gd name="T15" fmla="*/ 1 h 3"/>
                    <a:gd name="T16" fmla="*/ 5 w 5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3">
                      <a:moveTo>
                        <a:pt x="5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4" name="Freeform 93">
                  <a:extLst>
                    <a:ext uri="{FF2B5EF4-FFF2-40B4-BE49-F238E27FC236}">
                      <a16:creationId xmlns:a16="http://schemas.microsoft.com/office/drawing/2014/main" xmlns="" id="{36FD0AB8-4AC1-42FB-9FB7-E743A0EF6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4" y="391"/>
                  <a:ext cx="7" cy="6"/>
                </a:xfrm>
                <a:custGeom>
                  <a:avLst/>
                  <a:gdLst>
                    <a:gd name="T0" fmla="*/ 0 w 7"/>
                    <a:gd name="T1" fmla="*/ 6 h 6"/>
                    <a:gd name="T2" fmla="*/ 2 w 7"/>
                    <a:gd name="T3" fmla="*/ 6 h 6"/>
                    <a:gd name="T4" fmla="*/ 3 w 7"/>
                    <a:gd name="T5" fmla="*/ 6 h 6"/>
                    <a:gd name="T6" fmla="*/ 5 w 7"/>
                    <a:gd name="T7" fmla="*/ 4 h 6"/>
                    <a:gd name="T8" fmla="*/ 7 w 7"/>
                    <a:gd name="T9" fmla="*/ 1 h 6"/>
                    <a:gd name="T10" fmla="*/ 5 w 7"/>
                    <a:gd name="T11" fmla="*/ 0 h 6"/>
                    <a:gd name="T12" fmla="*/ 2 w 7"/>
                    <a:gd name="T13" fmla="*/ 0 h 6"/>
                    <a:gd name="T14" fmla="*/ 2 w 7"/>
                    <a:gd name="T15" fmla="*/ 3 h 6"/>
                    <a:gd name="T16" fmla="*/ 2 w 7"/>
                    <a:gd name="T17" fmla="*/ 4 h 6"/>
                    <a:gd name="T18" fmla="*/ 0 w 7"/>
                    <a:gd name="T19" fmla="*/ 6 h 6"/>
                    <a:gd name="T20" fmla="*/ 0 w 7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0" y="6"/>
                      </a:move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5" name="Freeform 94">
                  <a:extLst>
                    <a:ext uri="{FF2B5EF4-FFF2-40B4-BE49-F238E27FC236}">
                      <a16:creationId xmlns:a16="http://schemas.microsoft.com/office/drawing/2014/main" xmlns="" id="{97CAB818-EF60-40AA-8641-7AEBF3A02D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9" y="382"/>
                  <a:ext cx="9" cy="5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2 h 5"/>
                    <a:gd name="T4" fmla="*/ 9 w 9"/>
                    <a:gd name="T5" fmla="*/ 0 h 5"/>
                    <a:gd name="T6" fmla="*/ 5 w 9"/>
                    <a:gd name="T7" fmla="*/ 0 h 5"/>
                    <a:gd name="T8" fmla="*/ 4 w 9"/>
                    <a:gd name="T9" fmla="*/ 2 h 5"/>
                    <a:gd name="T10" fmla="*/ 0 w 9"/>
                    <a:gd name="T11" fmla="*/ 2 h 5"/>
                    <a:gd name="T12" fmla="*/ 0 w 9"/>
                    <a:gd name="T13" fmla="*/ 4 h 5"/>
                    <a:gd name="T14" fmla="*/ 5 w 9"/>
                    <a:gd name="T15" fmla="*/ 4 h 5"/>
                    <a:gd name="T16" fmla="*/ 7 w 9"/>
                    <a:gd name="T17" fmla="*/ 5 h 5"/>
                    <a:gd name="T18" fmla="*/ 7 w 9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6" name="Freeform 95">
                  <a:extLst>
                    <a:ext uri="{FF2B5EF4-FFF2-40B4-BE49-F238E27FC236}">
                      <a16:creationId xmlns:a16="http://schemas.microsoft.com/office/drawing/2014/main" xmlns="" id="{640F35D9-1D90-409D-87EE-64CD00BB4C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1" y="371"/>
                  <a:ext cx="11" cy="8"/>
                </a:xfrm>
                <a:custGeom>
                  <a:avLst/>
                  <a:gdLst>
                    <a:gd name="T0" fmla="*/ 10 w 11"/>
                    <a:gd name="T1" fmla="*/ 8 h 8"/>
                    <a:gd name="T2" fmla="*/ 11 w 11"/>
                    <a:gd name="T3" fmla="*/ 8 h 8"/>
                    <a:gd name="T4" fmla="*/ 10 w 11"/>
                    <a:gd name="T5" fmla="*/ 6 h 8"/>
                    <a:gd name="T6" fmla="*/ 10 w 11"/>
                    <a:gd name="T7" fmla="*/ 5 h 8"/>
                    <a:gd name="T8" fmla="*/ 11 w 11"/>
                    <a:gd name="T9" fmla="*/ 5 h 8"/>
                    <a:gd name="T10" fmla="*/ 11 w 11"/>
                    <a:gd name="T11" fmla="*/ 3 h 8"/>
                    <a:gd name="T12" fmla="*/ 10 w 11"/>
                    <a:gd name="T13" fmla="*/ 2 h 8"/>
                    <a:gd name="T14" fmla="*/ 6 w 11"/>
                    <a:gd name="T15" fmla="*/ 0 h 8"/>
                    <a:gd name="T16" fmla="*/ 5 w 11"/>
                    <a:gd name="T17" fmla="*/ 2 h 8"/>
                    <a:gd name="T18" fmla="*/ 5 w 11"/>
                    <a:gd name="T19" fmla="*/ 3 h 8"/>
                    <a:gd name="T20" fmla="*/ 3 w 11"/>
                    <a:gd name="T21" fmla="*/ 3 h 8"/>
                    <a:gd name="T22" fmla="*/ 2 w 11"/>
                    <a:gd name="T23" fmla="*/ 3 h 8"/>
                    <a:gd name="T24" fmla="*/ 0 w 11"/>
                    <a:gd name="T25" fmla="*/ 3 h 8"/>
                    <a:gd name="T26" fmla="*/ 2 w 11"/>
                    <a:gd name="T27" fmla="*/ 6 h 8"/>
                    <a:gd name="T28" fmla="*/ 3 w 11"/>
                    <a:gd name="T29" fmla="*/ 6 h 8"/>
                    <a:gd name="T30" fmla="*/ 6 w 11"/>
                    <a:gd name="T31" fmla="*/ 6 h 8"/>
                    <a:gd name="T32" fmla="*/ 10 w 11"/>
                    <a:gd name="T33" fmla="*/ 8 h 8"/>
                    <a:gd name="T34" fmla="*/ 10 w 11"/>
                    <a:gd name="T3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8">
                      <a:moveTo>
                        <a:pt x="10" y="8"/>
                      </a:moveTo>
                      <a:lnTo>
                        <a:pt x="11" y="8"/>
                      </a:lnTo>
                      <a:lnTo>
                        <a:pt x="10" y="6"/>
                      </a:lnTo>
                      <a:lnTo>
                        <a:pt x="10" y="5"/>
                      </a:lnTo>
                      <a:lnTo>
                        <a:pt x="11" y="5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6" y="6"/>
                      </a:lnTo>
                      <a:lnTo>
                        <a:pt x="10" y="8"/>
                      </a:lnTo>
                      <a:lnTo>
                        <a:pt x="10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7" name="Freeform 96">
                  <a:extLst>
                    <a:ext uri="{FF2B5EF4-FFF2-40B4-BE49-F238E27FC236}">
                      <a16:creationId xmlns:a16="http://schemas.microsoft.com/office/drawing/2014/main" xmlns="" id="{AD33E1D7-5189-449E-BB35-B3C7FFC8B9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6" y="237"/>
                  <a:ext cx="5" cy="3"/>
                </a:xfrm>
                <a:custGeom>
                  <a:avLst/>
                  <a:gdLst>
                    <a:gd name="T0" fmla="*/ 3 w 5"/>
                    <a:gd name="T1" fmla="*/ 3 h 3"/>
                    <a:gd name="T2" fmla="*/ 5 w 5"/>
                    <a:gd name="T3" fmla="*/ 3 h 3"/>
                    <a:gd name="T4" fmla="*/ 5 w 5"/>
                    <a:gd name="T5" fmla="*/ 2 h 3"/>
                    <a:gd name="T6" fmla="*/ 2 w 5"/>
                    <a:gd name="T7" fmla="*/ 0 h 3"/>
                    <a:gd name="T8" fmla="*/ 0 w 5"/>
                    <a:gd name="T9" fmla="*/ 2 h 3"/>
                    <a:gd name="T10" fmla="*/ 3 w 5"/>
                    <a:gd name="T11" fmla="*/ 3 h 3"/>
                    <a:gd name="T12" fmla="*/ 3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3" y="3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8" name="Freeform 97">
                  <a:extLst>
                    <a:ext uri="{FF2B5EF4-FFF2-40B4-BE49-F238E27FC236}">
                      <a16:creationId xmlns:a16="http://schemas.microsoft.com/office/drawing/2014/main" xmlns="" id="{083C9CDF-5EFC-40EA-A5CE-25BE9EACF2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1" y="261"/>
                  <a:ext cx="7" cy="10"/>
                </a:xfrm>
                <a:custGeom>
                  <a:avLst/>
                  <a:gdLst>
                    <a:gd name="T0" fmla="*/ 0 w 7"/>
                    <a:gd name="T1" fmla="*/ 9 h 10"/>
                    <a:gd name="T2" fmla="*/ 0 w 7"/>
                    <a:gd name="T3" fmla="*/ 10 h 10"/>
                    <a:gd name="T4" fmla="*/ 2 w 7"/>
                    <a:gd name="T5" fmla="*/ 10 h 10"/>
                    <a:gd name="T6" fmla="*/ 5 w 7"/>
                    <a:gd name="T7" fmla="*/ 9 h 10"/>
                    <a:gd name="T8" fmla="*/ 7 w 7"/>
                    <a:gd name="T9" fmla="*/ 7 h 10"/>
                    <a:gd name="T10" fmla="*/ 5 w 7"/>
                    <a:gd name="T11" fmla="*/ 2 h 10"/>
                    <a:gd name="T12" fmla="*/ 4 w 7"/>
                    <a:gd name="T13" fmla="*/ 0 h 10"/>
                    <a:gd name="T14" fmla="*/ 2 w 7"/>
                    <a:gd name="T15" fmla="*/ 0 h 10"/>
                    <a:gd name="T16" fmla="*/ 0 w 7"/>
                    <a:gd name="T17" fmla="*/ 2 h 10"/>
                    <a:gd name="T18" fmla="*/ 0 w 7"/>
                    <a:gd name="T19" fmla="*/ 5 h 10"/>
                    <a:gd name="T20" fmla="*/ 0 w 7"/>
                    <a:gd name="T21" fmla="*/ 9 h 10"/>
                    <a:gd name="T22" fmla="*/ 0 w 7"/>
                    <a:gd name="T23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10">
                      <a:moveTo>
                        <a:pt x="0" y="9"/>
                      </a:move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9" name="Freeform 98">
                  <a:extLst>
                    <a:ext uri="{FF2B5EF4-FFF2-40B4-BE49-F238E27FC236}">
                      <a16:creationId xmlns:a16="http://schemas.microsoft.com/office/drawing/2014/main" xmlns="" id="{FE832C9B-9DB7-433E-9144-56F38E7C81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2" y="248"/>
                  <a:ext cx="14" cy="15"/>
                </a:xfrm>
                <a:custGeom>
                  <a:avLst/>
                  <a:gdLst>
                    <a:gd name="T0" fmla="*/ 0 w 14"/>
                    <a:gd name="T1" fmla="*/ 15 h 15"/>
                    <a:gd name="T2" fmla="*/ 1 w 14"/>
                    <a:gd name="T3" fmla="*/ 15 h 15"/>
                    <a:gd name="T4" fmla="*/ 4 w 14"/>
                    <a:gd name="T5" fmla="*/ 13 h 15"/>
                    <a:gd name="T6" fmla="*/ 6 w 14"/>
                    <a:gd name="T7" fmla="*/ 12 h 15"/>
                    <a:gd name="T8" fmla="*/ 8 w 14"/>
                    <a:gd name="T9" fmla="*/ 12 h 15"/>
                    <a:gd name="T10" fmla="*/ 8 w 14"/>
                    <a:gd name="T11" fmla="*/ 13 h 15"/>
                    <a:gd name="T12" fmla="*/ 6 w 14"/>
                    <a:gd name="T13" fmla="*/ 15 h 15"/>
                    <a:gd name="T14" fmla="*/ 9 w 14"/>
                    <a:gd name="T15" fmla="*/ 12 h 15"/>
                    <a:gd name="T16" fmla="*/ 13 w 14"/>
                    <a:gd name="T17" fmla="*/ 9 h 15"/>
                    <a:gd name="T18" fmla="*/ 13 w 14"/>
                    <a:gd name="T19" fmla="*/ 7 h 15"/>
                    <a:gd name="T20" fmla="*/ 14 w 14"/>
                    <a:gd name="T21" fmla="*/ 5 h 15"/>
                    <a:gd name="T22" fmla="*/ 14 w 14"/>
                    <a:gd name="T23" fmla="*/ 2 h 15"/>
                    <a:gd name="T24" fmla="*/ 13 w 14"/>
                    <a:gd name="T25" fmla="*/ 0 h 15"/>
                    <a:gd name="T26" fmla="*/ 11 w 14"/>
                    <a:gd name="T27" fmla="*/ 0 h 15"/>
                    <a:gd name="T28" fmla="*/ 11 w 14"/>
                    <a:gd name="T29" fmla="*/ 2 h 15"/>
                    <a:gd name="T30" fmla="*/ 8 w 14"/>
                    <a:gd name="T31" fmla="*/ 5 h 15"/>
                    <a:gd name="T32" fmla="*/ 4 w 14"/>
                    <a:gd name="T33" fmla="*/ 7 h 15"/>
                    <a:gd name="T34" fmla="*/ 1 w 14"/>
                    <a:gd name="T35" fmla="*/ 12 h 15"/>
                    <a:gd name="T36" fmla="*/ 0 w 14"/>
                    <a:gd name="T37" fmla="*/ 15 h 15"/>
                    <a:gd name="T38" fmla="*/ 0 w 14"/>
                    <a:gd name="T3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15">
                      <a:moveTo>
                        <a:pt x="0" y="15"/>
                      </a:moveTo>
                      <a:lnTo>
                        <a:pt x="1" y="15"/>
                      </a:lnTo>
                      <a:lnTo>
                        <a:pt x="4" y="13"/>
                      </a:lnTo>
                      <a:lnTo>
                        <a:pt x="6" y="12"/>
                      </a:lnTo>
                      <a:lnTo>
                        <a:pt x="8" y="12"/>
                      </a:lnTo>
                      <a:lnTo>
                        <a:pt x="8" y="13"/>
                      </a:lnTo>
                      <a:lnTo>
                        <a:pt x="6" y="15"/>
                      </a:lnTo>
                      <a:lnTo>
                        <a:pt x="9" y="12"/>
                      </a:lnTo>
                      <a:lnTo>
                        <a:pt x="13" y="9"/>
                      </a:lnTo>
                      <a:lnTo>
                        <a:pt x="13" y="7"/>
                      </a:lnTo>
                      <a:lnTo>
                        <a:pt x="14" y="5"/>
                      </a:lnTo>
                      <a:lnTo>
                        <a:pt x="14" y="2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1" y="2"/>
                      </a:lnTo>
                      <a:lnTo>
                        <a:pt x="8" y="5"/>
                      </a:lnTo>
                      <a:lnTo>
                        <a:pt x="4" y="7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0" name="Freeform 99">
                  <a:extLst>
                    <a:ext uri="{FF2B5EF4-FFF2-40B4-BE49-F238E27FC236}">
                      <a16:creationId xmlns:a16="http://schemas.microsoft.com/office/drawing/2014/main" xmlns="" id="{561FC5A6-6079-4D1F-93BD-25A912E18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1" y="261"/>
                  <a:ext cx="6" cy="4"/>
                </a:xfrm>
                <a:custGeom>
                  <a:avLst/>
                  <a:gdLst>
                    <a:gd name="T0" fmla="*/ 2 w 6"/>
                    <a:gd name="T1" fmla="*/ 4 h 4"/>
                    <a:gd name="T2" fmla="*/ 5 w 6"/>
                    <a:gd name="T3" fmla="*/ 4 h 4"/>
                    <a:gd name="T4" fmla="*/ 6 w 6"/>
                    <a:gd name="T5" fmla="*/ 2 h 4"/>
                    <a:gd name="T6" fmla="*/ 5 w 6"/>
                    <a:gd name="T7" fmla="*/ 0 h 4"/>
                    <a:gd name="T8" fmla="*/ 2 w 6"/>
                    <a:gd name="T9" fmla="*/ 2 h 4"/>
                    <a:gd name="T10" fmla="*/ 0 w 6"/>
                    <a:gd name="T11" fmla="*/ 4 h 4"/>
                    <a:gd name="T12" fmla="*/ 2 w 6"/>
                    <a:gd name="T13" fmla="*/ 4 h 4"/>
                    <a:gd name="T14" fmla="*/ 2 w 6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2" y="4"/>
                      </a:moveTo>
                      <a:lnTo>
                        <a:pt x="5" y="4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1" name="Freeform 100">
                  <a:extLst>
                    <a:ext uri="{FF2B5EF4-FFF2-40B4-BE49-F238E27FC236}">
                      <a16:creationId xmlns:a16="http://schemas.microsoft.com/office/drawing/2014/main" xmlns="" id="{827CF2E4-0284-41B8-8377-321D44A1A0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6" y="266"/>
                  <a:ext cx="5" cy="7"/>
                </a:xfrm>
                <a:custGeom>
                  <a:avLst/>
                  <a:gdLst>
                    <a:gd name="T0" fmla="*/ 1 w 5"/>
                    <a:gd name="T1" fmla="*/ 7 h 7"/>
                    <a:gd name="T2" fmla="*/ 3 w 5"/>
                    <a:gd name="T3" fmla="*/ 7 h 7"/>
                    <a:gd name="T4" fmla="*/ 5 w 5"/>
                    <a:gd name="T5" fmla="*/ 5 h 7"/>
                    <a:gd name="T6" fmla="*/ 5 w 5"/>
                    <a:gd name="T7" fmla="*/ 4 h 7"/>
                    <a:gd name="T8" fmla="*/ 1 w 5"/>
                    <a:gd name="T9" fmla="*/ 4 h 7"/>
                    <a:gd name="T10" fmla="*/ 0 w 5"/>
                    <a:gd name="T11" fmla="*/ 0 h 7"/>
                    <a:gd name="T12" fmla="*/ 0 w 5"/>
                    <a:gd name="T13" fmla="*/ 0 h 7"/>
                    <a:gd name="T14" fmla="*/ 0 w 5"/>
                    <a:gd name="T15" fmla="*/ 2 h 7"/>
                    <a:gd name="T16" fmla="*/ 1 w 5"/>
                    <a:gd name="T17" fmla="*/ 4 h 7"/>
                    <a:gd name="T18" fmla="*/ 1 w 5"/>
                    <a:gd name="T19" fmla="*/ 7 h 7"/>
                    <a:gd name="T20" fmla="*/ 1 w 5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1" y="7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2" name="Freeform 101">
                  <a:extLst>
                    <a:ext uri="{FF2B5EF4-FFF2-40B4-BE49-F238E27FC236}">
                      <a16:creationId xmlns:a16="http://schemas.microsoft.com/office/drawing/2014/main" xmlns="" id="{2F888082-1ACE-4313-8CBF-BD5454C56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6" y="276"/>
                  <a:ext cx="7" cy="5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3 h 5"/>
                    <a:gd name="T4" fmla="*/ 7 w 7"/>
                    <a:gd name="T5" fmla="*/ 2 h 5"/>
                    <a:gd name="T6" fmla="*/ 5 w 7"/>
                    <a:gd name="T7" fmla="*/ 0 h 5"/>
                    <a:gd name="T8" fmla="*/ 4 w 7"/>
                    <a:gd name="T9" fmla="*/ 2 h 5"/>
                    <a:gd name="T10" fmla="*/ 0 w 7"/>
                    <a:gd name="T11" fmla="*/ 3 h 5"/>
                    <a:gd name="T12" fmla="*/ 0 w 7"/>
                    <a:gd name="T13" fmla="*/ 5 h 5"/>
                    <a:gd name="T14" fmla="*/ 4 w 7"/>
                    <a:gd name="T15" fmla="*/ 5 h 5"/>
                    <a:gd name="T16" fmla="*/ 4 w 7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3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3" name="Freeform 102">
                  <a:extLst>
                    <a:ext uri="{FF2B5EF4-FFF2-40B4-BE49-F238E27FC236}">
                      <a16:creationId xmlns:a16="http://schemas.microsoft.com/office/drawing/2014/main" xmlns="" id="{29CBF019-31B7-465F-B4F7-4514E8D8B9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9" y="273"/>
                  <a:ext cx="9" cy="8"/>
                </a:xfrm>
                <a:custGeom>
                  <a:avLst/>
                  <a:gdLst>
                    <a:gd name="T0" fmla="*/ 7 w 9"/>
                    <a:gd name="T1" fmla="*/ 8 h 8"/>
                    <a:gd name="T2" fmla="*/ 9 w 9"/>
                    <a:gd name="T3" fmla="*/ 6 h 8"/>
                    <a:gd name="T4" fmla="*/ 9 w 9"/>
                    <a:gd name="T5" fmla="*/ 3 h 8"/>
                    <a:gd name="T6" fmla="*/ 7 w 9"/>
                    <a:gd name="T7" fmla="*/ 3 h 8"/>
                    <a:gd name="T8" fmla="*/ 7 w 9"/>
                    <a:gd name="T9" fmla="*/ 0 h 8"/>
                    <a:gd name="T10" fmla="*/ 5 w 9"/>
                    <a:gd name="T11" fmla="*/ 0 h 8"/>
                    <a:gd name="T12" fmla="*/ 4 w 9"/>
                    <a:gd name="T13" fmla="*/ 0 h 8"/>
                    <a:gd name="T14" fmla="*/ 4 w 9"/>
                    <a:gd name="T15" fmla="*/ 3 h 8"/>
                    <a:gd name="T16" fmla="*/ 0 w 9"/>
                    <a:gd name="T17" fmla="*/ 5 h 8"/>
                    <a:gd name="T18" fmla="*/ 0 w 9"/>
                    <a:gd name="T19" fmla="*/ 6 h 8"/>
                    <a:gd name="T20" fmla="*/ 2 w 9"/>
                    <a:gd name="T21" fmla="*/ 6 h 8"/>
                    <a:gd name="T22" fmla="*/ 5 w 9"/>
                    <a:gd name="T23" fmla="*/ 3 h 8"/>
                    <a:gd name="T24" fmla="*/ 5 w 9"/>
                    <a:gd name="T25" fmla="*/ 5 h 8"/>
                    <a:gd name="T26" fmla="*/ 7 w 9"/>
                    <a:gd name="T27" fmla="*/ 8 h 8"/>
                    <a:gd name="T28" fmla="*/ 7 w 9"/>
                    <a:gd name="T2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8">
                      <a:moveTo>
                        <a:pt x="7" y="8"/>
                      </a:moveTo>
                      <a:lnTo>
                        <a:pt x="9" y="6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4" name="Freeform 103">
                  <a:extLst>
                    <a:ext uri="{FF2B5EF4-FFF2-40B4-BE49-F238E27FC236}">
                      <a16:creationId xmlns:a16="http://schemas.microsoft.com/office/drawing/2014/main" xmlns="" id="{7013C5BA-F3C3-41C9-9AC8-AD93217B82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6" y="289"/>
                  <a:ext cx="16" cy="8"/>
                </a:xfrm>
                <a:custGeom>
                  <a:avLst/>
                  <a:gdLst>
                    <a:gd name="T0" fmla="*/ 2 w 16"/>
                    <a:gd name="T1" fmla="*/ 8 h 8"/>
                    <a:gd name="T2" fmla="*/ 3 w 16"/>
                    <a:gd name="T3" fmla="*/ 7 h 8"/>
                    <a:gd name="T4" fmla="*/ 5 w 16"/>
                    <a:gd name="T5" fmla="*/ 8 h 8"/>
                    <a:gd name="T6" fmla="*/ 8 w 16"/>
                    <a:gd name="T7" fmla="*/ 8 h 8"/>
                    <a:gd name="T8" fmla="*/ 10 w 16"/>
                    <a:gd name="T9" fmla="*/ 8 h 8"/>
                    <a:gd name="T10" fmla="*/ 13 w 16"/>
                    <a:gd name="T11" fmla="*/ 8 h 8"/>
                    <a:gd name="T12" fmla="*/ 15 w 16"/>
                    <a:gd name="T13" fmla="*/ 8 h 8"/>
                    <a:gd name="T14" fmla="*/ 16 w 16"/>
                    <a:gd name="T15" fmla="*/ 7 h 8"/>
                    <a:gd name="T16" fmla="*/ 16 w 16"/>
                    <a:gd name="T17" fmla="*/ 5 h 8"/>
                    <a:gd name="T18" fmla="*/ 16 w 16"/>
                    <a:gd name="T19" fmla="*/ 5 h 8"/>
                    <a:gd name="T20" fmla="*/ 16 w 16"/>
                    <a:gd name="T21" fmla="*/ 4 h 8"/>
                    <a:gd name="T22" fmla="*/ 15 w 16"/>
                    <a:gd name="T23" fmla="*/ 0 h 8"/>
                    <a:gd name="T24" fmla="*/ 13 w 16"/>
                    <a:gd name="T25" fmla="*/ 0 h 8"/>
                    <a:gd name="T26" fmla="*/ 11 w 16"/>
                    <a:gd name="T27" fmla="*/ 2 h 8"/>
                    <a:gd name="T28" fmla="*/ 11 w 16"/>
                    <a:gd name="T29" fmla="*/ 4 h 8"/>
                    <a:gd name="T30" fmla="*/ 10 w 16"/>
                    <a:gd name="T31" fmla="*/ 4 h 8"/>
                    <a:gd name="T32" fmla="*/ 8 w 16"/>
                    <a:gd name="T33" fmla="*/ 4 h 8"/>
                    <a:gd name="T34" fmla="*/ 8 w 16"/>
                    <a:gd name="T35" fmla="*/ 2 h 8"/>
                    <a:gd name="T36" fmla="*/ 7 w 16"/>
                    <a:gd name="T37" fmla="*/ 2 h 8"/>
                    <a:gd name="T38" fmla="*/ 5 w 16"/>
                    <a:gd name="T39" fmla="*/ 4 h 8"/>
                    <a:gd name="T40" fmla="*/ 3 w 16"/>
                    <a:gd name="T41" fmla="*/ 5 h 8"/>
                    <a:gd name="T42" fmla="*/ 2 w 16"/>
                    <a:gd name="T43" fmla="*/ 5 h 8"/>
                    <a:gd name="T44" fmla="*/ 0 w 16"/>
                    <a:gd name="T45" fmla="*/ 7 h 8"/>
                    <a:gd name="T46" fmla="*/ 2 w 16"/>
                    <a:gd name="T47" fmla="*/ 8 h 8"/>
                    <a:gd name="T48" fmla="*/ 2 w 16"/>
                    <a:gd name="T4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6" h="8">
                      <a:moveTo>
                        <a:pt x="2" y="8"/>
                      </a:move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3" y="8"/>
                      </a:lnTo>
                      <a:lnTo>
                        <a:pt x="15" y="8"/>
                      </a:lnTo>
                      <a:lnTo>
                        <a:pt x="16" y="7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5" name="Freeform 104">
                  <a:extLst>
                    <a:ext uri="{FF2B5EF4-FFF2-40B4-BE49-F238E27FC236}">
                      <a16:creationId xmlns:a16="http://schemas.microsoft.com/office/drawing/2014/main" xmlns="" id="{934BE376-D7B7-4465-B795-20AE88F730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2" y="198"/>
                  <a:ext cx="13" cy="6"/>
                </a:xfrm>
                <a:custGeom>
                  <a:avLst/>
                  <a:gdLst>
                    <a:gd name="T0" fmla="*/ 1 w 13"/>
                    <a:gd name="T1" fmla="*/ 3 h 6"/>
                    <a:gd name="T2" fmla="*/ 5 w 13"/>
                    <a:gd name="T3" fmla="*/ 5 h 6"/>
                    <a:gd name="T4" fmla="*/ 6 w 13"/>
                    <a:gd name="T5" fmla="*/ 6 h 6"/>
                    <a:gd name="T6" fmla="*/ 8 w 13"/>
                    <a:gd name="T7" fmla="*/ 6 h 6"/>
                    <a:gd name="T8" fmla="*/ 13 w 13"/>
                    <a:gd name="T9" fmla="*/ 3 h 6"/>
                    <a:gd name="T10" fmla="*/ 13 w 13"/>
                    <a:gd name="T11" fmla="*/ 1 h 6"/>
                    <a:gd name="T12" fmla="*/ 11 w 13"/>
                    <a:gd name="T13" fmla="*/ 1 h 6"/>
                    <a:gd name="T14" fmla="*/ 6 w 13"/>
                    <a:gd name="T15" fmla="*/ 3 h 6"/>
                    <a:gd name="T16" fmla="*/ 5 w 13"/>
                    <a:gd name="T17" fmla="*/ 1 h 6"/>
                    <a:gd name="T18" fmla="*/ 3 w 13"/>
                    <a:gd name="T19" fmla="*/ 0 h 6"/>
                    <a:gd name="T20" fmla="*/ 1 w 13"/>
                    <a:gd name="T21" fmla="*/ 1 h 6"/>
                    <a:gd name="T22" fmla="*/ 0 w 13"/>
                    <a:gd name="T23" fmla="*/ 3 h 6"/>
                    <a:gd name="T24" fmla="*/ 1 w 13"/>
                    <a:gd name="T25" fmla="*/ 3 h 6"/>
                    <a:gd name="T26" fmla="*/ 1 w 13"/>
                    <a:gd name="T2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6">
                      <a:moveTo>
                        <a:pt x="1" y="3"/>
                      </a:moveTo>
                      <a:lnTo>
                        <a:pt x="5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3" y="3"/>
                      </a:lnTo>
                      <a:lnTo>
                        <a:pt x="13" y="1"/>
                      </a:lnTo>
                      <a:lnTo>
                        <a:pt x="11" y="1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6" name="Freeform 105">
                  <a:extLst>
                    <a:ext uri="{FF2B5EF4-FFF2-40B4-BE49-F238E27FC236}">
                      <a16:creationId xmlns:a16="http://schemas.microsoft.com/office/drawing/2014/main" xmlns="" id="{0E68C5EB-4555-4D95-9EA3-A5E0DE2E0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4" y="124"/>
                  <a:ext cx="16" cy="8"/>
                </a:xfrm>
                <a:custGeom>
                  <a:avLst/>
                  <a:gdLst>
                    <a:gd name="T0" fmla="*/ 1 w 10"/>
                    <a:gd name="T1" fmla="*/ 5 h 5"/>
                    <a:gd name="T2" fmla="*/ 0 w 10"/>
                    <a:gd name="T3" fmla="*/ 4 h 5"/>
                    <a:gd name="T4" fmla="*/ 0 w 10"/>
                    <a:gd name="T5" fmla="*/ 3 h 5"/>
                    <a:gd name="T6" fmla="*/ 3 w 10"/>
                    <a:gd name="T7" fmla="*/ 1 h 5"/>
                    <a:gd name="T8" fmla="*/ 6 w 10"/>
                    <a:gd name="T9" fmla="*/ 0 h 5"/>
                    <a:gd name="T10" fmla="*/ 9 w 10"/>
                    <a:gd name="T11" fmla="*/ 1 h 5"/>
                    <a:gd name="T12" fmla="*/ 10 w 10"/>
                    <a:gd name="T13" fmla="*/ 3 h 5"/>
                    <a:gd name="T14" fmla="*/ 9 w 10"/>
                    <a:gd name="T15" fmla="*/ 5 h 5"/>
                    <a:gd name="T16" fmla="*/ 6 w 10"/>
                    <a:gd name="T17" fmla="*/ 5 h 5"/>
                    <a:gd name="T18" fmla="*/ 3 w 10"/>
                    <a:gd name="T19" fmla="*/ 5 h 5"/>
                    <a:gd name="T20" fmla="*/ 1 w 10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5">
                      <a:moveTo>
                        <a:pt x="1" y="5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1" y="5"/>
                        <a:pt x="1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7" name="Freeform 106">
                  <a:extLst>
                    <a:ext uri="{FF2B5EF4-FFF2-40B4-BE49-F238E27FC236}">
                      <a16:creationId xmlns:a16="http://schemas.microsoft.com/office/drawing/2014/main" xmlns="" id="{2A497A7A-280F-4516-895E-A61C4F069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3" y="74"/>
                  <a:ext cx="13" cy="9"/>
                </a:xfrm>
                <a:custGeom>
                  <a:avLst/>
                  <a:gdLst>
                    <a:gd name="T0" fmla="*/ 0 w 13"/>
                    <a:gd name="T1" fmla="*/ 6 h 9"/>
                    <a:gd name="T2" fmla="*/ 4 w 13"/>
                    <a:gd name="T3" fmla="*/ 3 h 9"/>
                    <a:gd name="T4" fmla="*/ 5 w 13"/>
                    <a:gd name="T5" fmla="*/ 1 h 9"/>
                    <a:gd name="T6" fmla="*/ 10 w 13"/>
                    <a:gd name="T7" fmla="*/ 0 h 9"/>
                    <a:gd name="T8" fmla="*/ 13 w 13"/>
                    <a:gd name="T9" fmla="*/ 1 h 9"/>
                    <a:gd name="T10" fmla="*/ 13 w 13"/>
                    <a:gd name="T11" fmla="*/ 3 h 9"/>
                    <a:gd name="T12" fmla="*/ 12 w 13"/>
                    <a:gd name="T13" fmla="*/ 6 h 9"/>
                    <a:gd name="T14" fmla="*/ 10 w 13"/>
                    <a:gd name="T15" fmla="*/ 8 h 9"/>
                    <a:gd name="T16" fmla="*/ 5 w 13"/>
                    <a:gd name="T17" fmla="*/ 9 h 9"/>
                    <a:gd name="T18" fmla="*/ 2 w 13"/>
                    <a:gd name="T19" fmla="*/ 8 h 9"/>
                    <a:gd name="T20" fmla="*/ 0 w 13"/>
                    <a:gd name="T21" fmla="*/ 6 h 9"/>
                    <a:gd name="T22" fmla="*/ 0 w 13"/>
                    <a:gd name="T23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9">
                      <a:moveTo>
                        <a:pt x="0" y="6"/>
                      </a:move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3" y="3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5" y="9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8" name="Freeform 107">
                  <a:extLst>
                    <a:ext uri="{FF2B5EF4-FFF2-40B4-BE49-F238E27FC236}">
                      <a16:creationId xmlns:a16="http://schemas.microsoft.com/office/drawing/2014/main" xmlns="" id="{2D1CA662-14CF-4C59-86BF-4C792659F6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9" y="57"/>
                  <a:ext cx="59" cy="70"/>
                </a:xfrm>
                <a:custGeom>
                  <a:avLst/>
                  <a:gdLst>
                    <a:gd name="T0" fmla="*/ 36 w 59"/>
                    <a:gd name="T1" fmla="*/ 69 h 70"/>
                    <a:gd name="T2" fmla="*/ 41 w 59"/>
                    <a:gd name="T3" fmla="*/ 66 h 70"/>
                    <a:gd name="T4" fmla="*/ 43 w 59"/>
                    <a:gd name="T5" fmla="*/ 62 h 70"/>
                    <a:gd name="T6" fmla="*/ 43 w 59"/>
                    <a:gd name="T7" fmla="*/ 59 h 70"/>
                    <a:gd name="T8" fmla="*/ 48 w 59"/>
                    <a:gd name="T9" fmla="*/ 56 h 70"/>
                    <a:gd name="T10" fmla="*/ 54 w 59"/>
                    <a:gd name="T11" fmla="*/ 51 h 70"/>
                    <a:gd name="T12" fmla="*/ 57 w 59"/>
                    <a:gd name="T13" fmla="*/ 49 h 70"/>
                    <a:gd name="T14" fmla="*/ 59 w 59"/>
                    <a:gd name="T15" fmla="*/ 46 h 70"/>
                    <a:gd name="T16" fmla="*/ 59 w 59"/>
                    <a:gd name="T17" fmla="*/ 43 h 70"/>
                    <a:gd name="T18" fmla="*/ 54 w 59"/>
                    <a:gd name="T19" fmla="*/ 39 h 70"/>
                    <a:gd name="T20" fmla="*/ 49 w 59"/>
                    <a:gd name="T21" fmla="*/ 35 h 70"/>
                    <a:gd name="T22" fmla="*/ 46 w 59"/>
                    <a:gd name="T23" fmla="*/ 30 h 70"/>
                    <a:gd name="T24" fmla="*/ 46 w 59"/>
                    <a:gd name="T25" fmla="*/ 26 h 70"/>
                    <a:gd name="T26" fmla="*/ 48 w 59"/>
                    <a:gd name="T27" fmla="*/ 23 h 70"/>
                    <a:gd name="T28" fmla="*/ 48 w 59"/>
                    <a:gd name="T29" fmla="*/ 20 h 70"/>
                    <a:gd name="T30" fmla="*/ 46 w 59"/>
                    <a:gd name="T31" fmla="*/ 20 h 70"/>
                    <a:gd name="T32" fmla="*/ 38 w 59"/>
                    <a:gd name="T33" fmla="*/ 20 h 70"/>
                    <a:gd name="T34" fmla="*/ 33 w 59"/>
                    <a:gd name="T35" fmla="*/ 18 h 70"/>
                    <a:gd name="T36" fmla="*/ 28 w 59"/>
                    <a:gd name="T37" fmla="*/ 15 h 70"/>
                    <a:gd name="T38" fmla="*/ 21 w 59"/>
                    <a:gd name="T39" fmla="*/ 7 h 70"/>
                    <a:gd name="T40" fmla="*/ 17 w 59"/>
                    <a:gd name="T41" fmla="*/ 3 h 70"/>
                    <a:gd name="T42" fmla="*/ 12 w 59"/>
                    <a:gd name="T43" fmla="*/ 0 h 70"/>
                    <a:gd name="T44" fmla="*/ 10 w 59"/>
                    <a:gd name="T45" fmla="*/ 0 h 70"/>
                    <a:gd name="T46" fmla="*/ 8 w 59"/>
                    <a:gd name="T47" fmla="*/ 2 h 70"/>
                    <a:gd name="T48" fmla="*/ 8 w 59"/>
                    <a:gd name="T49" fmla="*/ 3 h 70"/>
                    <a:gd name="T50" fmla="*/ 8 w 59"/>
                    <a:gd name="T51" fmla="*/ 7 h 70"/>
                    <a:gd name="T52" fmla="*/ 8 w 59"/>
                    <a:gd name="T53" fmla="*/ 10 h 70"/>
                    <a:gd name="T54" fmla="*/ 7 w 59"/>
                    <a:gd name="T55" fmla="*/ 15 h 70"/>
                    <a:gd name="T56" fmla="*/ 3 w 59"/>
                    <a:gd name="T57" fmla="*/ 20 h 70"/>
                    <a:gd name="T58" fmla="*/ 0 w 59"/>
                    <a:gd name="T59" fmla="*/ 23 h 70"/>
                    <a:gd name="T60" fmla="*/ 0 w 59"/>
                    <a:gd name="T61" fmla="*/ 26 h 70"/>
                    <a:gd name="T62" fmla="*/ 0 w 59"/>
                    <a:gd name="T63" fmla="*/ 39 h 70"/>
                    <a:gd name="T64" fmla="*/ 2 w 59"/>
                    <a:gd name="T65" fmla="*/ 43 h 70"/>
                    <a:gd name="T66" fmla="*/ 5 w 59"/>
                    <a:gd name="T67" fmla="*/ 44 h 70"/>
                    <a:gd name="T68" fmla="*/ 5 w 59"/>
                    <a:gd name="T69" fmla="*/ 48 h 70"/>
                    <a:gd name="T70" fmla="*/ 5 w 59"/>
                    <a:gd name="T71" fmla="*/ 57 h 70"/>
                    <a:gd name="T72" fmla="*/ 3 w 59"/>
                    <a:gd name="T73" fmla="*/ 61 h 70"/>
                    <a:gd name="T74" fmla="*/ 2 w 59"/>
                    <a:gd name="T75" fmla="*/ 64 h 70"/>
                    <a:gd name="T76" fmla="*/ 3 w 59"/>
                    <a:gd name="T77" fmla="*/ 66 h 70"/>
                    <a:gd name="T78" fmla="*/ 3 w 59"/>
                    <a:gd name="T79" fmla="*/ 66 h 70"/>
                    <a:gd name="T80" fmla="*/ 7 w 59"/>
                    <a:gd name="T81" fmla="*/ 62 h 70"/>
                    <a:gd name="T82" fmla="*/ 10 w 59"/>
                    <a:gd name="T83" fmla="*/ 61 h 70"/>
                    <a:gd name="T84" fmla="*/ 12 w 59"/>
                    <a:gd name="T85" fmla="*/ 61 h 70"/>
                    <a:gd name="T86" fmla="*/ 13 w 59"/>
                    <a:gd name="T87" fmla="*/ 64 h 70"/>
                    <a:gd name="T88" fmla="*/ 17 w 59"/>
                    <a:gd name="T89" fmla="*/ 67 h 70"/>
                    <a:gd name="T90" fmla="*/ 20 w 59"/>
                    <a:gd name="T91" fmla="*/ 67 h 70"/>
                    <a:gd name="T92" fmla="*/ 21 w 59"/>
                    <a:gd name="T93" fmla="*/ 66 h 70"/>
                    <a:gd name="T94" fmla="*/ 23 w 59"/>
                    <a:gd name="T95" fmla="*/ 67 h 70"/>
                    <a:gd name="T96" fmla="*/ 28 w 59"/>
                    <a:gd name="T97" fmla="*/ 69 h 70"/>
                    <a:gd name="T98" fmla="*/ 31 w 59"/>
                    <a:gd name="T99" fmla="*/ 70 h 70"/>
                    <a:gd name="T100" fmla="*/ 36 w 59"/>
                    <a:gd name="T101" fmla="*/ 69 h 70"/>
                    <a:gd name="T102" fmla="*/ 36 w 59"/>
                    <a:gd name="T103" fmla="*/ 6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9" h="70">
                      <a:moveTo>
                        <a:pt x="36" y="69"/>
                      </a:moveTo>
                      <a:lnTo>
                        <a:pt x="41" y="66"/>
                      </a:lnTo>
                      <a:lnTo>
                        <a:pt x="43" y="62"/>
                      </a:lnTo>
                      <a:lnTo>
                        <a:pt x="43" y="59"/>
                      </a:lnTo>
                      <a:lnTo>
                        <a:pt x="48" y="56"/>
                      </a:lnTo>
                      <a:lnTo>
                        <a:pt x="54" y="51"/>
                      </a:lnTo>
                      <a:lnTo>
                        <a:pt x="57" y="49"/>
                      </a:lnTo>
                      <a:lnTo>
                        <a:pt x="59" y="46"/>
                      </a:lnTo>
                      <a:lnTo>
                        <a:pt x="59" y="43"/>
                      </a:lnTo>
                      <a:lnTo>
                        <a:pt x="54" y="39"/>
                      </a:lnTo>
                      <a:lnTo>
                        <a:pt x="49" y="35"/>
                      </a:lnTo>
                      <a:lnTo>
                        <a:pt x="46" y="30"/>
                      </a:lnTo>
                      <a:lnTo>
                        <a:pt x="46" y="26"/>
                      </a:lnTo>
                      <a:lnTo>
                        <a:pt x="48" y="23"/>
                      </a:lnTo>
                      <a:lnTo>
                        <a:pt x="48" y="20"/>
                      </a:lnTo>
                      <a:lnTo>
                        <a:pt x="46" y="20"/>
                      </a:lnTo>
                      <a:lnTo>
                        <a:pt x="38" y="20"/>
                      </a:lnTo>
                      <a:lnTo>
                        <a:pt x="33" y="18"/>
                      </a:lnTo>
                      <a:lnTo>
                        <a:pt x="28" y="15"/>
                      </a:lnTo>
                      <a:lnTo>
                        <a:pt x="21" y="7"/>
                      </a:lnTo>
                      <a:lnTo>
                        <a:pt x="17" y="3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8" y="7"/>
                      </a:lnTo>
                      <a:lnTo>
                        <a:pt x="8" y="10"/>
                      </a:lnTo>
                      <a:lnTo>
                        <a:pt x="7" y="15"/>
                      </a:lnTo>
                      <a:lnTo>
                        <a:pt x="3" y="20"/>
                      </a:lnTo>
                      <a:lnTo>
                        <a:pt x="0" y="23"/>
                      </a:lnTo>
                      <a:lnTo>
                        <a:pt x="0" y="26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5" y="44"/>
                      </a:lnTo>
                      <a:lnTo>
                        <a:pt x="5" y="48"/>
                      </a:lnTo>
                      <a:lnTo>
                        <a:pt x="5" y="57"/>
                      </a:lnTo>
                      <a:lnTo>
                        <a:pt x="3" y="61"/>
                      </a:lnTo>
                      <a:lnTo>
                        <a:pt x="2" y="64"/>
                      </a:lnTo>
                      <a:lnTo>
                        <a:pt x="3" y="66"/>
                      </a:lnTo>
                      <a:lnTo>
                        <a:pt x="3" y="66"/>
                      </a:lnTo>
                      <a:lnTo>
                        <a:pt x="7" y="62"/>
                      </a:lnTo>
                      <a:lnTo>
                        <a:pt x="10" y="61"/>
                      </a:lnTo>
                      <a:lnTo>
                        <a:pt x="12" y="61"/>
                      </a:lnTo>
                      <a:lnTo>
                        <a:pt x="13" y="64"/>
                      </a:lnTo>
                      <a:lnTo>
                        <a:pt x="17" y="67"/>
                      </a:lnTo>
                      <a:lnTo>
                        <a:pt x="20" y="67"/>
                      </a:lnTo>
                      <a:lnTo>
                        <a:pt x="21" y="66"/>
                      </a:lnTo>
                      <a:lnTo>
                        <a:pt x="23" y="67"/>
                      </a:lnTo>
                      <a:lnTo>
                        <a:pt x="28" y="69"/>
                      </a:lnTo>
                      <a:lnTo>
                        <a:pt x="31" y="70"/>
                      </a:lnTo>
                      <a:lnTo>
                        <a:pt x="36" y="69"/>
                      </a:lnTo>
                      <a:lnTo>
                        <a:pt x="36" y="6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9" name="Freeform 108">
                  <a:extLst>
                    <a:ext uri="{FF2B5EF4-FFF2-40B4-BE49-F238E27FC236}">
                      <a16:creationId xmlns:a16="http://schemas.microsoft.com/office/drawing/2014/main" xmlns="" id="{202919BE-0783-4E22-8AFA-B856AC62F0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6" y="129"/>
                  <a:ext cx="32" cy="23"/>
                </a:xfrm>
                <a:custGeom>
                  <a:avLst/>
                  <a:gdLst>
                    <a:gd name="T0" fmla="*/ 14 w 32"/>
                    <a:gd name="T1" fmla="*/ 20 h 23"/>
                    <a:gd name="T2" fmla="*/ 14 w 32"/>
                    <a:gd name="T3" fmla="*/ 21 h 23"/>
                    <a:gd name="T4" fmla="*/ 18 w 32"/>
                    <a:gd name="T5" fmla="*/ 23 h 23"/>
                    <a:gd name="T6" fmla="*/ 21 w 32"/>
                    <a:gd name="T7" fmla="*/ 23 h 23"/>
                    <a:gd name="T8" fmla="*/ 24 w 32"/>
                    <a:gd name="T9" fmla="*/ 21 h 23"/>
                    <a:gd name="T10" fmla="*/ 28 w 32"/>
                    <a:gd name="T11" fmla="*/ 18 h 23"/>
                    <a:gd name="T12" fmla="*/ 29 w 32"/>
                    <a:gd name="T13" fmla="*/ 16 h 23"/>
                    <a:gd name="T14" fmla="*/ 31 w 32"/>
                    <a:gd name="T15" fmla="*/ 12 h 23"/>
                    <a:gd name="T16" fmla="*/ 32 w 32"/>
                    <a:gd name="T17" fmla="*/ 7 h 23"/>
                    <a:gd name="T18" fmla="*/ 32 w 32"/>
                    <a:gd name="T19" fmla="*/ 5 h 23"/>
                    <a:gd name="T20" fmla="*/ 24 w 32"/>
                    <a:gd name="T21" fmla="*/ 2 h 23"/>
                    <a:gd name="T22" fmla="*/ 19 w 32"/>
                    <a:gd name="T23" fmla="*/ 0 h 23"/>
                    <a:gd name="T24" fmla="*/ 14 w 32"/>
                    <a:gd name="T25" fmla="*/ 2 h 23"/>
                    <a:gd name="T26" fmla="*/ 11 w 32"/>
                    <a:gd name="T27" fmla="*/ 3 h 23"/>
                    <a:gd name="T28" fmla="*/ 10 w 32"/>
                    <a:gd name="T29" fmla="*/ 2 h 23"/>
                    <a:gd name="T30" fmla="*/ 6 w 32"/>
                    <a:gd name="T31" fmla="*/ 2 h 23"/>
                    <a:gd name="T32" fmla="*/ 5 w 32"/>
                    <a:gd name="T33" fmla="*/ 3 h 23"/>
                    <a:gd name="T34" fmla="*/ 0 w 32"/>
                    <a:gd name="T35" fmla="*/ 3 h 23"/>
                    <a:gd name="T36" fmla="*/ 0 w 32"/>
                    <a:gd name="T37" fmla="*/ 5 h 23"/>
                    <a:gd name="T38" fmla="*/ 1 w 32"/>
                    <a:gd name="T39" fmla="*/ 7 h 23"/>
                    <a:gd name="T40" fmla="*/ 5 w 32"/>
                    <a:gd name="T41" fmla="*/ 8 h 23"/>
                    <a:gd name="T42" fmla="*/ 6 w 32"/>
                    <a:gd name="T43" fmla="*/ 10 h 23"/>
                    <a:gd name="T44" fmla="*/ 10 w 32"/>
                    <a:gd name="T45" fmla="*/ 12 h 23"/>
                    <a:gd name="T46" fmla="*/ 11 w 32"/>
                    <a:gd name="T47" fmla="*/ 15 h 23"/>
                    <a:gd name="T48" fmla="*/ 16 w 32"/>
                    <a:gd name="T49" fmla="*/ 16 h 23"/>
                    <a:gd name="T50" fmla="*/ 21 w 32"/>
                    <a:gd name="T51" fmla="*/ 16 h 23"/>
                    <a:gd name="T52" fmla="*/ 23 w 32"/>
                    <a:gd name="T53" fmla="*/ 18 h 23"/>
                    <a:gd name="T54" fmla="*/ 23 w 32"/>
                    <a:gd name="T55" fmla="*/ 18 h 23"/>
                    <a:gd name="T56" fmla="*/ 18 w 32"/>
                    <a:gd name="T57" fmla="*/ 20 h 23"/>
                    <a:gd name="T58" fmla="*/ 14 w 32"/>
                    <a:gd name="T59" fmla="*/ 20 h 23"/>
                    <a:gd name="T60" fmla="*/ 14 w 32"/>
                    <a:gd name="T61" fmla="*/ 2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2" h="23">
                      <a:moveTo>
                        <a:pt x="14" y="20"/>
                      </a:moveTo>
                      <a:lnTo>
                        <a:pt x="14" y="21"/>
                      </a:lnTo>
                      <a:lnTo>
                        <a:pt x="18" y="23"/>
                      </a:lnTo>
                      <a:lnTo>
                        <a:pt x="21" y="23"/>
                      </a:lnTo>
                      <a:lnTo>
                        <a:pt x="24" y="21"/>
                      </a:lnTo>
                      <a:lnTo>
                        <a:pt x="28" y="18"/>
                      </a:lnTo>
                      <a:lnTo>
                        <a:pt x="29" y="16"/>
                      </a:lnTo>
                      <a:lnTo>
                        <a:pt x="31" y="12"/>
                      </a:lnTo>
                      <a:lnTo>
                        <a:pt x="32" y="7"/>
                      </a:lnTo>
                      <a:lnTo>
                        <a:pt x="32" y="5"/>
                      </a:lnTo>
                      <a:lnTo>
                        <a:pt x="24" y="2"/>
                      </a:lnTo>
                      <a:lnTo>
                        <a:pt x="19" y="0"/>
                      </a:lnTo>
                      <a:lnTo>
                        <a:pt x="14" y="2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5" y="8"/>
                      </a:lnTo>
                      <a:lnTo>
                        <a:pt x="6" y="10"/>
                      </a:lnTo>
                      <a:lnTo>
                        <a:pt x="10" y="12"/>
                      </a:lnTo>
                      <a:lnTo>
                        <a:pt x="11" y="15"/>
                      </a:lnTo>
                      <a:lnTo>
                        <a:pt x="16" y="16"/>
                      </a:lnTo>
                      <a:lnTo>
                        <a:pt x="21" y="16"/>
                      </a:lnTo>
                      <a:lnTo>
                        <a:pt x="23" y="18"/>
                      </a:lnTo>
                      <a:lnTo>
                        <a:pt x="23" y="18"/>
                      </a:lnTo>
                      <a:lnTo>
                        <a:pt x="18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0" name="Freeform 109">
                  <a:extLst>
                    <a:ext uri="{FF2B5EF4-FFF2-40B4-BE49-F238E27FC236}">
                      <a16:creationId xmlns:a16="http://schemas.microsoft.com/office/drawing/2014/main" xmlns="" id="{1E3D80FF-E784-4CC9-9F24-ED7E8C488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0" y="105"/>
                  <a:ext cx="87" cy="68"/>
                </a:xfrm>
                <a:custGeom>
                  <a:avLst/>
                  <a:gdLst>
                    <a:gd name="T0" fmla="*/ 87 w 87"/>
                    <a:gd name="T1" fmla="*/ 57 h 68"/>
                    <a:gd name="T2" fmla="*/ 78 w 87"/>
                    <a:gd name="T3" fmla="*/ 63 h 68"/>
                    <a:gd name="T4" fmla="*/ 72 w 87"/>
                    <a:gd name="T5" fmla="*/ 68 h 68"/>
                    <a:gd name="T6" fmla="*/ 65 w 87"/>
                    <a:gd name="T7" fmla="*/ 67 h 68"/>
                    <a:gd name="T8" fmla="*/ 60 w 87"/>
                    <a:gd name="T9" fmla="*/ 65 h 68"/>
                    <a:gd name="T10" fmla="*/ 56 w 87"/>
                    <a:gd name="T11" fmla="*/ 65 h 68"/>
                    <a:gd name="T12" fmla="*/ 44 w 87"/>
                    <a:gd name="T13" fmla="*/ 62 h 68"/>
                    <a:gd name="T14" fmla="*/ 38 w 87"/>
                    <a:gd name="T15" fmla="*/ 62 h 68"/>
                    <a:gd name="T16" fmla="*/ 31 w 87"/>
                    <a:gd name="T17" fmla="*/ 63 h 68"/>
                    <a:gd name="T18" fmla="*/ 23 w 87"/>
                    <a:gd name="T19" fmla="*/ 60 h 68"/>
                    <a:gd name="T20" fmla="*/ 20 w 87"/>
                    <a:gd name="T21" fmla="*/ 52 h 68"/>
                    <a:gd name="T22" fmla="*/ 15 w 87"/>
                    <a:gd name="T23" fmla="*/ 49 h 68"/>
                    <a:gd name="T24" fmla="*/ 10 w 87"/>
                    <a:gd name="T25" fmla="*/ 47 h 68"/>
                    <a:gd name="T26" fmla="*/ 7 w 87"/>
                    <a:gd name="T27" fmla="*/ 49 h 68"/>
                    <a:gd name="T28" fmla="*/ 5 w 87"/>
                    <a:gd name="T29" fmla="*/ 50 h 68"/>
                    <a:gd name="T30" fmla="*/ 0 w 87"/>
                    <a:gd name="T31" fmla="*/ 47 h 68"/>
                    <a:gd name="T32" fmla="*/ 5 w 87"/>
                    <a:gd name="T33" fmla="*/ 44 h 68"/>
                    <a:gd name="T34" fmla="*/ 5 w 87"/>
                    <a:gd name="T35" fmla="*/ 37 h 68"/>
                    <a:gd name="T36" fmla="*/ 8 w 87"/>
                    <a:gd name="T37" fmla="*/ 31 h 68"/>
                    <a:gd name="T38" fmla="*/ 5 w 87"/>
                    <a:gd name="T39" fmla="*/ 27 h 68"/>
                    <a:gd name="T40" fmla="*/ 2 w 87"/>
                    <a:gd name="T41" fmla="*/ 24 h 68"/>
                    <a:gd name="T42" fmla="*/ 7 w 87"/>
                    <a:gd name="T43" fmla="*/ 16 h 68"/>
                    <a:gd name="T44" fmla="*/ 11 w 87"/>
                    <a:gd name="T45" fmla="*/ 13 h 68"/>
                    <a:gd name="T46" fmla="*/ 16 w 87"/>
                    <a:gd name="T47" fmla="*/ 8 h 68"/>
                    <a:gd name="T48" fmla="*/ 23 w 87"/>
                    <a:gd name="T49" fmla="*/ 1 h 68"/>
                    <a:gd name="T50" fmla="*/ 29 w 87"/>
                    <a:gd name="T51" fmla="*/ 1 h 68"/>
                    <a:gd name="T52" fmla="*/ 39 w 87"/>
                    <a:gd name="T53" fmla="*/ 11 h 68"/>
                    <a:gd name="T54" fmla="*/ 39 w 87"/>
                    <a:gd name="T55" fmla="*/ 19 h 68"/>
                    <a:gd name="T56" fmla="*/ 39 w 87"/>
                    <a:gd name="T57" fmla="*/ 24 h 68"/>
                    <a:gd name="T58" fmla="*/ 39 w 87"/>
                    <a:gd name="T59" fmla="*/ 29 h 68"/>
                    <a:gd name="T60" fmla="*/ 43 w 87"/>
                    <a:gd name="T61" fmla="*/ 22 h 68"/>
                    <a:gd name="T62" fmla="*/ 43 w 87"/>
                    <a:gd name="T63" fmla="*/ 16 h 68"/>
                    <a:gd name="T64" fmla="*/ 44 w 87"/>
                    <a:gd name="T65" fmla="*/ 13 h 68"/>
                    <a:gd name="T66" fmla="*/ 39 w 87"/>
                    <a:gd name="T67" fmla="*/ 5 h 68"/>
                    <a:gd name="T68" fmla="*/ 46 w 87"/>
                    <a:gd name="T69" fmla="*/ 1 h 68"/>
                    <a:gd name="T70" fmla="*/ 60 w 87"/>
                    <a:gd name="T71" fmla="*/ 11 h 68"/>
                    <a:gd name="T72" fmla="*/ 64 w 87"/>
                    <a:gd name="T73" fmla="*/ 13 h 68"/>
                    <a:gd name="T74" fmla="*/ 67 w 87"/>
                    <a:gd name="T75" fmla="*/ 18 h 68"/>
                    <a:gd name="T76" fmla="*/ 69 w 87"/>
                    <a:gd name="T77" fmla="*/ 27 h 68"/>
                    <a:gd name="T78" fmla="*/ 75 w 87"/>
                    <a:gd name="T79" fmla="*/ 37 h 68"/>
                    <a:gd name="T80" fmla="*/ 74 w 87"/>
                    <a:gd name="T81" fmla="*/ 39 h 68"/>
                    <a:gd name="T82" fmla="*/ 69 w 87"/>
                    <a:gd name="T83" fmla="*/ 37 h 68"/>
                    <a:gd name="T84" fmla="*/ 74 w 87"/>
                    <a:gd name="T85" fmla="*/ 44 h 68"/>
                    <a:gd name="T86" fmla="*/ 80 w 87"/>
                    <a:gd name="T87" fmla="*/ 49 h 68"/>
                    <a:gd name="T88" fmla="*/ 87 w 87"/>
                    <a:gd name="T89" fmla="*/ 5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7" h="68">
                      <a:moveTo>
                        <a:pt x="87" y="54"/>
                      </a:moveTo>
                      <a:lnTo>
                        <a:pt x="87" y="57"/>
                      </a:lnTo>
                      <a:lnTo>
                        <a:pt x="83" y="62"/>
                      </a:lnTo>
                      <a:lnTo>
                        <a:pt x="78" y="63"/>
                      </a:lnTo>
                      <a:lnTo>
                        <a:pt x="75" y="67"/>
                      </a:lnTo>
                      <a:lnTo>
                        <a:pt x="72" y="68"/>
                      </a:lnTo>
                      <a:lnTo>
                        <a:pt x="69" y="68"/>
                      </a:lnTo>
                      <a:lnTo>
                        <a:pt x="65" y="67"/>
                      </a:lnTo>
                      <a:lnTo>
                        <a:pt x="64" y="65"/>
                      </a:lnTo>
                      <a:lnTo>
                        <a:pt x="60" y="65"/>
                      </a:lnTo>
                      <a:lnTo>
                        <a:pt x="59" y="63"/>
                      </a:lnTo>
                      <a:lnTo>
                        <a:pt x="56" y="65"/>
                      </a:lnTo>
                      <a:lnTo>
                        <a:pt x="47" y="65"/>
                      </a:lnTo>
                      <a:lnTo>
                        <a:pt x="44" y="62"/>
                      </a:lnTo>
                      <a:lnTo>
                        <a:pt x="43" y="60"/>
                      </a:lnTo>
                      <a:lnTo>
                        <a:pt x="38" y="62"/>
                      </a:lnTo>
                      <a:lnTo>
                        <a:pt x="34" y="63"/>
                      </a:lnTo>
                      <a:lnTo>
                        <a:pt x="31" y="63"/>
                      </a:lnTo>
                      <a:lnTo>
                        <a:pt x="28" y="60"/>
                      </a:lnTo>
                      <a:lnTo>
                        <a:pt x="23" y="60"/>
                      </a:lnTo>
                      <a:lnTo>
                        <a:pt x="21" y="58"/>
                      </a:lnTo>
                      <a:lnTo>
                        <a:pt x="20" y="52"/>
                      </a:lnTo>
                      <a:lnTo>
                        <a:pt x="16" y="49"/>
                      </a:lnTo>
                      <a:lnTo>
                        <a:pt x="15" y="49"/>
                      </a:lnTo>
                      <a:lnTo>
                        <a:pt x="11" y="50"/>
                      </a:lnTo>
                      <a:lnTo>
                        <a:pt x="10" y="47"/>
                      </a:lnTo>
                      <a:lnTo>
                        <a:pt x="7" y="47"/>
                      </a:lnTo>
                      <a:lnTo>
                        <a:pt x="7" y="49"/>
                      </a:lnTo>
                      <a:lnTo>
                        <a:pt x="7" y="50"/>
                      </a:lnTo>
                      <a:lnTo>
                        <a:pt x="5" y="50"/>
                      </a:lnTo>
                      <a:lnTo>
                        <a:pt x="3" y="50"/>
                      </a:lnTo>
                      <a:lnTo>
                        <a:pt x="0" y="47"/>
                      </a:lnTo>
                      <a:lnTo>
                        <a:pt x="2" y="45"/>
                      </a:lnTo>
                      <a:lnTo>
                        <a:pt x="5" y="44"/>
                      </a:lnTo>
                      <a:lnTo>
                        <a:pt x="5" y="42"/>
                      </a:lnTo>
                      <a:lnTo>
                        <a:pt x="5" y="37"/>
                      </a:lnTo>
                      <a:lnTo>
                        <a:pt x="5" y="34"/>
                      </a:lnTo>
                      <a:lnTo>
                        <a:pt x="8" y="31"/>
                      </a:lnTo>
                      <a:lnTo>
                        <a:pt x="8" y="27"/>
                      </a:lnTo>
                      <a:lnTo>
                        <a:pt x="5" y="27"/>
                      </a:lnTo>
                      <a:lnTo>
                        <a:pt x="2" y="26"/>
                      </a:lnTo>
                      <a:lnTo>
                        <a:pt x="2" y="24"/>
                      </a:lnTo>
                      <a:lnTo>
                        <a:pt x="3" y="19"/>
                      </a:lnTo>
                      <a:lnTo>
                        <a:pt x="7" y="16"/>
                      </a:lnTo>
                      <a:lnTo>
                        <a:pt x="10" y="14"/>
                      </a:lnTo>
                      <a:lnTo>
                        <a:pt x="11" y="13"/>
                      </a:lnTo>
                      <a:lnTo>
                        <a:pt x="11" y="9"/>
                      </a:lnTo>
                      <a:lnTo>
                        <a:pt x="16" y="8"/>
                      </a:lnTo>
                      <a:lnTo>
                        <a:pt x="21" y="5"/>
                      </a:lnTo>
                      <a:lnTo>
                        <a:pt x="23" y="1"/>
                      </a:lnTo>
                      <a:lnTo>
                        <a:pt x="25" y="0"/>
                      </a:lnTo>
                      <a:lnTo>
                        <a:pt x="29" y="1"/>
                      </a:lnTo>
                      <a:lnTo>
                        <a:pt x="34" y="5"/>
                      </a:lnTo>
                      <a:lnTo>
                        <a:pt x="39" y="11"/>
                      </a:lnTo>
                      <a:lnTo>
                        <a:pt x="41" y="14"/>
                      </a:lnTo>
                      <a:lnTo>
                        <a:pt x="39" y="19"/>
                      </a:lnTo>
                      <a:lnTo>
                        <a:pt x="41" y="21"/>
                      </a:lnTo>
                      <a:lnTo>
                        <a:pt x="39" y="24"/>
                      </a:lnTo>
                      <a:lnTo>
                        <a:pt x="38" y="26"/>
                      </a:lnTo>
                      <a:lnTo>
                        <a:pt x="39" y="29"/>
                      </a:lnTo>
                      <a:lnTo>
                        <a:pt x="41" y="27"/>
                      </a:lnTo>
                      <a:lnTo>
                        <a:pt x="43" y="22"/>
                      </a:lnTo>
                      <a:lnTo>
                        <a:pt x="43" y="19"/>
                      </a:lnTo>
                      <a:lnTo>
                        <a:pt x="43" y="16"/>
                      </a:lnTo>
                      <a:lnTo>
                        <a:pt x="44" y="14"/>
                      </a:lnTo>
                      <a:lnTo>
                        <a:pt x="44" y="13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3"/>
                      </a:lnTo>
                      <a:lnTo>
                        <a:pt x="46" y="1"/>
                      </a:lnTo>
                      <a:lnTo>
                        <a:pt x="51" y="3"/>
                      </a:lnTo>
                      <a:lnTo>
                        <a:pt x="60" y="11"/>
                      </a:lnTo>
                      <a:lnTo>
                        <a:pt x="62" y="11"/>
                      </a:lnTo>
                      <a:lnTo>
                        <a:pt x="64" y="13"/>
                      </a:lnTo>
                      <a:lnTo>
                        <a:pt x="64" y="16"/>
                      </a:lnTo>
                      <a:lnTo>
                        <a:pt x="67" y="18"/>
                      </a:lnTo>
                      <a:lnTo>
                        <a:pt x="69" y="22"/>
                      </a:lnTo>
                      <a:lnTo>
                        <a:pt x="69" y="27"/>
                      </a:lnTo>
                      <a:lnTo>
                        <a:pt x="72" y="32"/>
                      </a:lnTo>
                      <a:lnTo>
                        <a:pt x="75" y="37"/>
                      </a:lnTo>
                      <a:lnTo>
                        <a:pt x="75" y="39"/>
                      </a:lnTo>
                      <a:lnTo>
                        <a:pt x="74" y="39"/>
                      </a:lnTo>
                      <a:lnTo>
                        <a:pt x="70" y="37"/>
                      </a:lnTo>
                      <a:lnTo>
                        <a:pt x="69" y="37"/>
                      </a:lnTo>
                      <a:lnTo>
                        <a:pt x="69" y="40"/>
                      </a:lnTo>
                      <a:lnTo>
                        <a:pt x="74" y="44"/>
                      </a:lnTo>
                      <a:lnTo>
                        <a:pt x="77" y="44"/>
                      </a:lnTo>
                      <a:lnTo>
                        <a:pt x="80" y="49"/>
                      </a:lnTo>
                      <a:lnTo>
                        <a:pt x="83" y="49"/>
                      </a:lnTo>
                      <a:lnTo>
                        <a:pt x="87" y="54"/>
                      </a:lnTo>
                      <a:lnTo>
                        <a:pt x="87" y="5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1" name="Freeform 110">
                  <a:extLst>
                    <a:ext uri="{FF2B5EF4-FFF2-40B4-BE49-F238E27FC236}">
                      <a16:creationId xmlns:a16="http://schemas.microsoft.com/office/drawing/2014/main" xmlns="" id="{BC87B89E-C1A0-4548-9BFA-6AFDF2899E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5" y="57"/>
                  <a:ext cx="8" cy="12"/>
                </a:xfrm>
                <a:custGeom>
                  <a:avLst/>
                  <a:gdLst>
                    <a:gd name="T0" fmla="*/ 0 w 8"/>
                    <a:gd name="T1" fmla="*/ 12 h 12"/>
                    <a:gd name="T2" fmla="*/ 1 w 8"/>
                    <a:gd name="T3" fmla="*/ 5 h 12"/>
                    <a:gd name="T4" fmla="*/ 6 w 8"/>
                    <a:gd name="T5" fmla="*/ 0 h 12"/>
                    <a:gd name="T6" fmla="*/ 8 w 8"/>
                    <a:gd name="T7" fmla="*/ 2 h 12"/>
                    <a:gd name="T8" fmla="*/ 8 w 8"/>
                    <a:gd name="T9" fmla="*/ 3 h 12"/>
                    <a:gd name="T10" fmla="*/ 8 w 8"/>
                    <a:gd name="T11" fmla="*/ 5 h 12"/>
                    <a:gd name="T12" fmla="*/ 6 w 8"/>
                    <a:gd name="T13" fmla="*/ 7 h 12"/>
                    <a:gd name="T14" fmla="*/ 5 w 8"/>
                    <a:gd name="T15" fmla="*/ 10 h 12"/>
                    <a:gd name="T16" fmla="*/ 0 w 8"/>
                    <a:gd name="T17" fmla="*/ 12 h 12"/>
                    <a:gd name="T18" fmla="*/ 0 w 8"/>
                    <a:gd name="T1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12">
                      <a:moveTo>
                        <a:pt x="0" y="12"/>
                      </a:moveTo>
                      <a:lnTo>
                        <a:pt x="1" y="5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6" y="7"/>
                      </a:lnTo>
                      <a:lnTo>
                        <a:pt x="5" y="10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2" name="Freeform 111">
                  <a:extLst>
                    <a:ext uri="{FF2B5EF4-FFF2-40B4-BE49-F238E27FC236}">
                      <a16:creationId xmlns:a16="http://schemas.microsoft.com/office/drawing/2014/main" xmlns="" id="{B5CC263A-3049-4E33-83A8-E9139E3B84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9" y="123"/>
                  <a:ext cx="60" cy="24"/>
                </a:xfrm>
                <a:custGeom>
                  <a:avLst/>
                  <a:gdLst>
                    <a:gd name="T0" fmla="*/ 0 w 60"/>
                    <a:gd name="T1" fmla="*/ 1 h 24"/>
                    <a:gd name="T2" fmla="*/ 2 w 60"/>
                    <a:gd name="T3" fmla="*/ 6 h 24"/>
                    <a:gd name="T4" fmla="*/ 7 w 60"/>
                    <a:gd name="T5" fmla="*/ 14 h 24"/>
                    <a:gd name="T6" fmla="*/ 8 w 60"/>
                    <a:gd name="T7" fmla="*/ 18 h 24"/>
                    <a:gd name="T8" fmla="*/ 20 w 60"/>
                    <a:gd name="T9" fmla="*/ 21 h 24"/>
                    <a:gd name="T10" fmla="*/ 28 w 60"/>
                    <a:gd name="T11" fmla="*/ 21 h 24"/>
                    <a:gd name="T12" fmla="*/ 33 w 60"/>
                    <a:gd name="T13" fmla="*/ 24 h 24"/>
                    <a:gd name="T14" fmla="*/ 39 w 60"/>
                    <a:gd name="T15" fmla="*/ 24 h 24"/>
                    <a:gd name="T16" fmla="*/ 43 w 60"/>
                    <a:gd name="T17" fmla="*/ 22 h 24"/>
                    <a:gd name="T18" fmla="*/ 47 w 60"/>
                    <a:gd name="T19" fmla="*/ 24 h 24"/>
                    <a:gd name="T20" fmla="*/ 51 w 60"/>
                    <a:gd name="T21" fmla="*/ 24 h 24"/>
                    <a:gd name="T22" fmla="*/ 57 w 60"/>
                    <a:gd name="T23" fmla="*/ 19 h 24"/>
                    <a:gd name="T24" fmla="*/ 57 w 60"/>
                    <a:gd name="T25" fmla="*/ 16 h 24"/>
                    <a:gd name="T26" fmla="*/ 60 w 60"/>
                    <a:gd name="T27" fmla="*/ 11 h 24"/>
                    <a:gd name="T28" fmla="*/ 59 w 60"/>
                    <a:gd name="T29" fmla="*/ 8 h 24"/>
                    <a:gd name="T30" fmla="*/ 56 w 60"/>
                    <a:gd name="T31" fmla="*/ 6 h 24"/>
                    <a:gd name="T32" fmla="*/ 54 w 60"/>
                    <a:gd name="T33" fmla="*/ 6 h 24"/>
                    <a:gd name="T34" fmla="*/ 52 w 60"/>
                    <a:gd name="T35" fmla="*/ 4 h 24"/>
                    <a:gd name="T36" fmla="*/ 54 w 60"/>
                    <a:gd name="T37" fmla="*/ 3 h 24"/>
                    <a:gd name="T38" fmla="*/ 52 w 60"/>
                    <a:gd name="T39" fmla="*/ 0 h 24"/>
                    <a:gd name="T40" fmla="*/ 49 w 60"/>
                    <a:gd name="T41" fmla="*/ 1 h 24"/>
                    <a:gd name="T42" fmla="*/ 44 w 60"/>
                    <a:gd name="T43" fmla="*/ 1 h 24"/>
                    <a:gd name="T44" fmla="*/ 36 w 60"/>
                    <a:gd name="T45" fmla="*/ 3 h 24"/>
                    <a:gd name="T46" fmla="*/ 33 w 60"/>
                    <a:gd name="T47" fmla="*/ 6 h 24"/>
                    <a:gd name="T48" fmla="*/ 29 w 60"/>
                    <a:gd name="T49" fmla="*/ 6 h 24"/>
                    <a:gd name="T50" fmla="*/ 28 w 60"/>
                    <a:gd name="T51" fmla="*/ 4 h 24"/>
                    <a:gd name="T52" fmla="*/ 26 w 60"/>
                    <a:gd name="T53" fmla="*/ 1 h 24"/>
                    <a:gd name="T54" fmla="*/ 25 w 60"/>
                    <a:gd name="T55" fmla="*/ 1 h 24"/>
                    <a:gd name="T56" fmla="*/ 21 w 60"/>
                    <a:gd name="T57" fmla="*/ 3 h 24"/>
                    <a:gd name="T58" fmla="*/ 16 w 60"/>
                    <a:gd name="T59" fmla="*/ 3 h 24"/>
                    <a:gd name="T60" fmla="*/ 13 w 60"/>
                    <a:gd name="T61" fmla="*/ 1 h 24"/>
                    <a:gd name="T62" fmla="*/ 13 w 60"/>
                    <a:gd name="T63" fmla="*/ 4 h 24"/>
                    <a:gd name="T64" fmla="*/ 11 w 60"/>
                    <a:gd name="T65" fmla="*/ 6 h 24"/>
                    <a:gd name="T66" fmla="*/ 5 w 60"/>
                    <a:gd name="T67" fmla="*/ 6 h 24"/>
                    <a:gd name="T68" fmla="*/ 3 w 60"/>
                    <a:gd name="T69" fmla="*/ 3 h 24"/>
                    <a:gd name="T70" fmla="*/ 3 w 60"/>
                    <a:gd name="T71" fmla="*/ 1 h 24"/>
                    <a:gd name="T72" fmla="*/ 0 w 60"/>
                    <a:gd name="T73" fmla="*/ 1 h 24"/>
                    <a:gd name="T74" fmla="*/ 0 w 60"/>
                    <a:gd name="T75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60" h="24">
                      <a:moveTo>
                        <a:pt x="0" y="1"/>
                      </a:moveTo>
                      <a:lnTo>
                        <a:pt x="2" y="6"/>
                      </a:lnTo>
                      <a:lnTo>
                        <a:pt x="7" y="14"/>
                      </a:lnTo>
                      <a:lnTo>
                        <a:pt x="8" y="18"/>
                      </a:lnTo>
                      <a:lnTo>
                        <a:pt x="20" y="21"/>
                      </a:lnTo>
                      <a:lnTo>
                        <a:pt x="28" y="21"/>
                      </a:lnTo>
                      <a:lnTo>
                        <a:pt x="33" y="24"/>
                      </a:lnTo>
                      <a:lnTo>
                        <a:pt x="39" y="24"/>
                      </a:lnTo>
                      <a:lnTo>
                        <a:pt x="43" y="22"/>
                      </a:lnTo>
                      <a:lnTo>
                        <a:pt x="47" y="24"/>
                      </a:lnTo>
                      <a:lnTo>
                        <a:pt x="51" y="24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60" y="11"/>
                      </a:lnTo>
                      <a:lnTo>
                        <a:pt x="59" y="8"/>
                      </a:lnTo>
                      <a:lnTo>
                        <a:pt x="56" y="6"/>
                      </a:lnTo>
                      <a:lnTo>
                        <a:pt x="54" y="6"/>
                      </a:lnTo>
                      <a:lnTo>
                        <a:pt x="52" y="4"/>
                      </a:lnTo>
                      <a:lnTo>
                        <a:pt x="54" y="3"/>
                      </a:lnTo>
                      <a:lnTo>
                        <a:pt x="52" y="0"/>
                      </a:lnTo>
                      <a:lnTo>
                        <a:pt x="49" y="1"/>
                      </a:lnTo>
                      <a:lnTo>
                        <a:pt x="44" y="1"/>
                      </a:lnTo>
                      <a:lnTo>
                        <a:pt x="36" y="3"/>
                      </a:lnTo>
                      <a:lnTo>
                        <a:pt x="33" y="6"/>
                      </a:lnTo>
                      <a:lnTo>
                        <a:pt x="29" y="6"/>
                      </a:lnTo>
                      <a:lnTo>
                        <a:pt x="28" y="4"/>
                      </a:lnTo>
                      <a:lnTo>
                        <a:pt x="26" y="1"/>
                      </a:lnTo>
                      <a:lnTo>
                        <a:pt x="25" y="1"/>
                      </a:lnTo>
                      <a:lnTo>
                        <a:pt x="21" y="3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13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3" name="Freeform 112">
                  <a:extLst>
                    <a:ext uri="{FF2B5EF4-FFF2-40B4-BE49-F238E27FC236}">
                      <a16:creationId xmlns:a16="http://schemas.microsoft.com/office/drawing/2014/main" xmlns="" id="{BBE8595D-7E80-4854-B3E3-121A478127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9" y="157"/>
                  <a:ext cx="19" cy="28"/>
                </a:xfrm>
                <a:custGeom>
                  <a:avLst/>
                  <a:gdLst>
                    <a:gd name="T0" fmla="*/ 19 w 19"/>
                    <a:gd name="T1" fmla="*/ 23 h 28"/>
                    <a:gd name="T2" fmla="*/ 16 w 19"/>
                    <a:gd name="T3" fmla="*/ 15 h 28"/>
                    <a:gd name="T4" fmla="*/ 14 w 19"/>
                    <a:gd name="T5" fmla="*/ 10 h 28"/>
                    <a:gd name="T6" fmla="*/ 11 w 19"/>
                    <a:gd name="T7" fmla="*/ 8 h 28"/>
                    <a:gd name="T8" fmla="*/ 6 w 19"/>
                    <a:gd name="T9" fmla="*/ 8 h 28"/>
                    <a:gd name="T10" fmla="*/ 3 w 19"/>
                    <a:gd name="T11" fmla="*/ 3 h 28"/>
                    <a:gd name="T12" fmla="*/ 1 w 19"/>
                    <a:gd name="T13" fmla="*/ 2 h 28"/>
                    <a:gd name="T14" fmla="*/ 0 w 19"/>
                    <a:gd name="T15" fmla="*/ 0 h 28"/>
                    <a:gd name="T16" fmla="*/ 0 w 19"/>
                    <a:gd name="T17" fmla="*/ 3 h 28"/>
                    <a:gd name="T18" fmla="*/ 3 w 19"/>
                    <a:gd name="T19" fmla="*/ 8 h 28"/>
                    <a:gd name="T20" fmla="*/ 6 w 19"/>
                    <a:gd name="T21" fmla="*/ 13 h 28"/>
                    <a:gd name="T22" fmla="*/ 11 w 19"/>
                    <a:gd name="T23" fmla="*/ 19 h 28"/>
                    <a:gd name="T24" fmla="*/ 14 w 19"/>
                    <a:gd name="T25" fmla="*/ 26 h 28"/>
                    <a:gd name="T26" fmla="*/ 18 w 19"/>
                    <a:gd name="T27" fmla="*/ 28 h 28"/>
                    <a:gd name="T28" fmla="*/ 19 w 19"/>
                    <a:gd name="T29" fmla="*/ 26 h 28"/>
                    <a:gd name="T30" fmla="*/ 19 w 19"/>
                    <a:gd name="T31" fmla="*/ 23 h 28"/>
                    <a:gd name="T32" fmla="*/ 19 w 19"/>
                    <a:gd name="T33" fmla="*/ 23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28">
                      <a:moveTo>
                        <a:pt x="19" y="23"/>
                      </a:moveTo>
                      <a:lnTo>
                        <a:pt x="16" y="15"/>
                      </a:lnTo>
                      <a:lnTo>
                        <a:pt x="14" y="10"/>
                      </a:lnTo>
                      <a:lnTo>
                        <a:pt x="11" y="8"/>
                      </a:lnTo>
                      <a:lnTo>
                        <a:pt x="6" y="8"/>
                      </a:lnTo>
                      <a:lnTo>
                        <a:pt x="3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1" y="19"/>
                      </a:lnTo>
                      <a:lnTo>
                        <a:pt x="14" y="26"/>
                      </a:lnTo>
                      <a:lnTo>
                        <a:pt x="18" y="28"/>
                      </a:lnTo>
                      <a:lnTo>
                        <a:pt x="19" y="26"/>
                      </a:lnTo>
                      <a:lnTo>
                        <a:pt x="19" y="23"/>
                      </a:lnTo>
                      <a:lnTo>
                        <a:pt x="19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4" name="Freeform 113">
                  <a:extLst>
                    <a:ext uri="{FF2B5EF4-FFF2-40B4-BE49-F238E27FC236}">
                      <a16:creationId xmlns:a16="http://schemas.microsoft.com/office/drawing/2014/main" xmlns="" id="{0E2A6905-3B40-43D0-9F8F-90D6AEDFA2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5" y="119"/>
                  <a:ext cx="103" cy="80"/>
                </a:xfrm>
                <a:custGeom>
                  <a:avLst/>
                  <a:gdLst>
                    <a:gd name="T0" fmla="*/ 60 w 103"/>
                    <a:gd name="T1" fmla="*/ 66 h 80"/>
                    <a:gd name="T2" fmla="*/ 62 w 103"/>
                    <a:gd name="T3" fmla="*/ 62 h 80"/>
                    <a:gd name="T4" fmla="*/ 69 w 103"/>
                    <a:gd name="T5" fmla="*/ 69 h 80"/>
                    <a:gd name="T6" fmla="*/ 73 w 103"/>
                    <a:gd name="T7" fmla="*/ 66 h 80"/>
                    <a:gd name="T8" fmla="*/ 85 w 103"/>
                    <a:gd name="T9" fmla="*/ 53 h 80"/>
                    <a:gd name="T10" fmla="*/ 88 w 103"/>
                    <a:gd name="T11" fmla="*/ 54 h 80"/>
                    <a:gd name="T12" fmla="*/ 96 w 103"/>
                    <a:gd name="T13" fmla="*/ 54 h 80"/>
                    <a:gd name="T14" fmla="*/ 103 w 103"/>
                    <a:gd name="T15" fmla="*/ 46 h 80"/>
                    <a:gd name="T16" fmla="*/ 93 w 103"/>
                    <a:gd name="T17" fmla="*/ 48 h 80"/>
                    <a:gd name="T18" fmla="*/ 82 w 103"/>
                    <a:gd name="T19" fmla="*/ 41 h 80"/>
                    <a:gd name="T20" fmla="*/ 72 w 103"/>
                    <a:gd name="T21" fmla="*/ 35 h 80"/>
                    <a:gd name="T22" fmla="*/ 69 w 103"/>
                    <a:gd name="T23" fmla="*/ 25 h 80"/>
                    <a:gd name="T24" fmla="*/ 62 w 103"/>
                    <a:gd name="T25" fmla="*/ 17 h 80"/>
                    <a:gd name="T26" fmla="*/ 62 w 103"/>
                    <a:gd name="T27" fmla="*/ 12 h 80"/>
                    <a:gd name="T28" fmla="*/ 64 w 103"/>
                    <a:gd name="T29" fmla="*/ 8 h 80"/>
                    <a:gd name="T30" fmla="*/ 54 w 103"/>
                    <a:gd name="T31" fmla="*/ 5 h 80"/>
                    <a:gd name="T32" fmla="*/ 44 w 103"/>
                    <a:gd name="T33" fmla="*/ 2 h 80"/>
                    <a:gd name="T34" fmla="*/ 46 w 103"/>
                    <a:gd name="T35" fmla="*/ 5 h 80"/>
                    <a:gd name="T36" fmla="*/ 46 w 103"/>
                    <a:gd name="T37" fmla="*/ 8 h 80"/>
                    <a:gd name="T38" fmla="*/ 39 w 103"/>
                    <a:gd name="T39" fmla="*/ 10 h 80"/>
                    <a:gd name="T40" fmla="*/ 44 w 103"/>
                    <a:gd name="T41" fmla="*/ 22 h 80"/>
                    <a:gd name="T42" fmla="*/ 47 w 103"/>
                    <a:gd name="T43" fmla="*/ 30 h 80"/>
                    <a:gd name="T44" fmla="*/ 39 w 103"/>
                    <a:gd name="T45" fmla="*/ 22 h 80"/>
                    <a:gd name="T46" fmla="*/ 33 w 103"/>
                    <a:gd name="T47" fmla="*/ 22 h 80"/>
                    <a:gd name="T48" fmla="*/ 28 w 103"/>
                    <a:gd name="T49" fmla="*/ 17 h 80"/>
                    <a:gd name="T50" fmla="*/ 20 w 103"/>
                    <a:gd name="T51" fmla="*/ 10 h 80"/>
                    <a:gd name="T52" fmla="*/ 11 w 103"/>
                    <a:gd name="T53" fmla="*/ 7 h 80"/>
                    <a:gd name="T54" fmla="*/ 6 w 103"/>
                    <a:gd name="T55" fmla="*/ 15 h 80"/>
                    <a:gd name="T56" fmla="*/ 5 w 103"/>
                    <a:gd name="T57" fmla="*/ 23 h 80"/>
                    <a:gd name="T58" fmla="*/ 5 w 103"/>
                    <a:gd name="T59" fmla="*/ 35 h 80"/>
                    <a:gd name="T60" fmla="*/ 8 w 103"/>
                    <a:gd name="T61" fmla="*/ 38 h 80"/>
                    <a:gd name="T62" fmla="*/ 8 w 103"/>
                    <a:gd name="T63" fmla="*/ 41 h 80"/>
                    <a:gd name="T64" fmla="*/ 11 w 103"/>
                    <a:gd name="T65" fmla="*/ 49 h 80"/>
                    <a:gd name="T66" fmla="*/ 16 w 103"/>
                    <a:gd name="T67" fmla="*/ 53 h 80"/>
                    <a:gd name="T68" fmla="*/ 21 w 103"/>
                    <a:gd name="T69" fmla="*/ 54 h 80"/>
                    <a:gd name="T70" fmla="*/ 20 w 103"/>
                    <a:gd name="T71" fmla="*/ 56 h 80"/>
                    <a:gd name="T72" fmla="*/ 16 w 103"/>
                    <a:gd name="T73" fmla="*/ 61 h 80"/>
                    <a:gd name="T74" fmla="*/ 36 w 103"/>
                    <a:gd name="T75" fmla="*/ 69 h 80"/>
                    <a:gd name="T76" fmla="*/ 42 w 103"/>
                    <a:gd name="T77" fmla="*/ 77 h 80"/>
                    <a:gd name="T78" fmla="*/ 54 w 103"/>
                    <a:gd name="T79" fmla="*/ 77 h 80"/>
                    <a:gd name="T80" fmla="*/ 65 w 103"/>
                    <a:gd name="T81" fmla="*/ 79 h 80"/>
                    <a:gd name="T82" fmla="*/ 64 w 103"/>
                    <a:gd name="T83" fmla="*/ 7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03" h="80">
                      <a:moveTo>
                        <a:pt x="64" y="67"/>
                      </a:moveTo>
                      <a:lnTo>
                        <a:pt x="62" y="67"/>
                      </a:lnTo>
                      <a:lnTo>
                        <a:pt x="60" y="66"/>
                      </a:lnTo>
                      <a:lnTo>
                        <a:pt x="60" y="64"/>
                      </a:lnTo>
                      <a:lnTo>
                        <a:pt x="60" y="62"/>
                      </a:lnTo>
                      <a:lnTo>
                        <a:pt x="62" y="62"/>
                      </a:lnTo>
                      <a:lnTo>
                        <a:pt x="64" y="66"/>
                      </a:lnTo>
                      <a:lnTo>
                        <a:pt x="67" y="66"/>
                      </a:lnTo>
                      <a:lnTo>
                        <a:pt x="69" y="69"/>
                      </a:lnTo>
                      <a:lnTo>
                        <a:pt x="69" y="71"/>
                      </a:lnTo>
                      <a:lnTo>
                        <a:pt x="70" y="69"/>
                      </a:lnTo>
                      <a:lnTo>
                        <a:pt x="73" y="66"/>
                      </a:lnTo>
                      <a:lnTo>
                        <a:pt x="77" y="59"/>
                      </a:lnTo>
                      <a:lnTo>
                        <a:pt x="82" y="54"/>
                      </a:lnTo>
                      <a:lnTo>
                        <a:pt x="85" y="53"/>
                      </a:lnTo>
                      <a:lnTo>
                        <a:pt x="88" y="51"/>
                      </a:lnTo>
                      <a:lnTo>
                        <a:pt x="90" y="51"/>
                      </a:lnTo>
                      <a:lnTo>
                        <a:pt x="88" y="54"/>
                      </a:lnTo>
                      <a:lnTo>
                        <a:pt x="91" y="54"/>
                      </a:lnTo>
                      <a:lnTo>
                        <a:pt x="93" y="56"/>
                      </a:lnTo>
                      <a:lnTo>
                        <a:pt x="96" y="54"/>
                      </a:lnTo>
                      <a:lnTo>
                        <a:pt x="96" y="51"/>
                      </a:lnTo>
                      <a:lnTo>
                        <a:pt x="101" y="49"/>
                      </a:lnTo>
                      <a:lnTo>
                        <a:pt x="103" y="46"/>
                      </a:lnTo>
                      <a:lnTo>
                        <a:pt x="103" y="44"/>
                      </a:lnTo>
                      <a:lnTo>
                        <a:pt x="98" y="46"/>
                      </a:lnTo>
                      <a:lnTo>
                        <a:pt x="93" y="48"/>
                      </a:lnTo>
                      <a:lnTo>
                        <a:pt x="90" y="44"/>
                      </a:lnTo>
                      <a:lnTo>
                        <a:pt x="83" y="43"/>
                      </a:lnTo>
                      <a:lnTo>
                        <a:pt x="82" y="41"/>
                      </a:lnTo>
                      <a:lnTo>
                        <a:pt x="78" y="41"/>
                      </a:lnTo>
                      <a:lnTo>
                        <a:pt x="77" y="40"/>
                      </a:lnTo>
                      <a:lnTo>
                        <a:pt x="72" y="35"/>
                      </a:lnTo>
                      <a:lnTo>
                        <a:pt x="70" y="33"/>
                      </a:lnTo>
                      <a:lnTo>
                        <a:pt x="69" y="28"/>
                      </a:lnTo>
                      <a:lnTo>
                        <a:pt x="69" y="25"/>
                      </a:lnTo>
                      <a:lnTo>
                        <a:pt x="65" y="22"/>
                      </a:lnTo>
                      <a:lnTo>
                        <a:pt x="65" y="18"/>
                      </a:lnTo>
                      <a:lnTo>
                        <a:pt x="62" y="17"/>
                      </a:lnTo>
                      <a:lnTo>
                        <a:pt x="62" y="15"/>
                      </a:lnTo>
                      <a:lnTo>
                        <a:pt x="64" y="15"/>
                      </a:lnTo>
                      <a:lnTo>
                        <a:pt x="62" y="12"/>
                      </a:lnTo>
                      <a:lnTo>
                        <a:pt x="64" y="12"/>
                      </a:lnTo>
                      <a:lnTo>
                        <a:pt x="65" y="10"/>
                      </a:lnTo>
                      <a:lnTo>
                        <a:pt x="64" y="8"/>
                      </a:lnTo>
                      <a:lnTo>
                        <a:pt x="64" y="7"/>
                      </a:lnTo>
                      <a:lnTo>
                        <a:pt x="60" y="5"/>
                      </a:lnTo>
                      <a:lnTo>
                        <a:pt x="54" y="5"/>
                      </a:lnTo>
                      <a:lnTo>
                        <a:pt x="51" y="4"/>
                      </a:lnTo>
                      <a:lnTo>
                        <a:pt x="47" y="2"/>
                      </a:lnTo>
                      <a:lnTo>
                        <a:pt x="44" y="2"/>
                      </a:lnTo>
                      <a:lnTo>
                        <a:pt x="41" y="0"/>
                      </a:lnTo>
                      <a:lnTo>
                        <a:pt x="41" y="2"/>
                      </a:lnTo>
                      <a:lnTo>
                        <a:pt x="46" y="5"/>
                      </a:lnTo>
                      <a:lnTo>
                        <a:pt x="47" y="7"/>
                      </a:lnTo>
                      <a:lnTo>
                        <a:pt x="49" y="8"/>
                      </a:lnTo>
                      <a:lnTo>
                        <a:pt x="46" y="8"/>
                      </a:lnTo>
                      <a:lnTo>
                        <a:pt x="44" y="7"/>
                      </a:lnTo>
                      <a:lnTo>
                        <a:pt x="41" y="7"/>
                      </a:lnTo>
                      <a:lnTo>
                        <a:pt x="39" y="10"/>
                      </a:lnTo>
                      <a:lnTo>
                        <a:pt x="41" y="13"/>
                      </a:lnTo>
                      <a:lnTo>
                        <a:pt x="42" y="17"/>
                      </a:lnTo>
                      <a:lnTo>
                        <a:pt x="44" y="22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47" y="30"/>
                      </a:lnTo>
                      <a:lnTo>
                        <a:pt x="44" y="30"/>
                      </a:lnTo>
                      <a:lnTo>
                        <a:pt x="41" y="26"/>
                      </a:lnTo>
                      <a:lnTo>
                        <a:pt x="39" y="22"/>
                      </a:lnTo>
                      <a:lnTo>
                        <a:pt x="36" y="20"/>
                      </a:lnTo>
                      <a:lnTo>
                        <a:pt x="34" y="22"/>
                      </a:lnTo>
                      <a:lnTo>
                        <a:pt x="33" y="22"/>
                      </a:lnTo>
                      <a:lnTo>
                        <a:pt x="31" y="22"/>
                      </a:lnTo>
                      <a:lnTo>
                        <a:pt x="28" y="20"/>
                      </a:lnTo>
                      <a:lnTo>
                        <a:pt x="28" y="17"/>
                      </a:lnTo>
                      <a:lnTo>
                        <a:pt x="26" y="15"/>
                      </a:lnTo>
                      <a:lnTo>
                        <a:pt x="23" y="13"/>
                      </a:lnTo>
                      <a:lnTo>
                        <a:pt x="20" y="10"/>
                      </a:lnTo>
                      <a:lnTo>
                        <a:pt x="15" y="10"/>
                      </a:lnTo>
                      <a:lnTo>
                        <a:pt x="13" y="8"/>
                      </a:lnTo>
                      <a:lnTo>
                        <a:pt x="11" y="7"/>
                      </a:lnTo>
                      <a:lnTo>
                        <a:pt x="8" y="8"/>
                      </a:lnTo>
                      <a:lnTo>
                        <a:pt x="6" y="10"/>
                      </a:lnTo>
                      <a:lnTo>
                        <a:pt x="6" y="15"/>
                      </a:lnTo>
                      <a:lnTo>
                        <a:pt x="5" y="15"/>
                      </a:lnTo>
                      <a:lnTo>
                        <a:pt x="5" y="20"/>
                      </a:lnTo>
                      <a:lnTo>
                        <a:pt x="5" y="23"/>
                      </a:lnTo>
                      <a:lnTo>
                        <a:pt x="2" y="26"/>
                      </a:lnTo>
                      <a:lnTo>
                        <a:pt x="0" y="28"/>
                      </a:lnTo>
                      <a:lnTo>
                        <a:pt x="5" y="35"/>
                      </a:lnTo>
                      <a:lnTo>
                        <a:pt x="6" y="35"/>
                      </a:lnTo>
                      <a:lnTo>
                        <a:pt x="8" y="36"/>
                      </a:lnTo>
                      <a:lnTo>
                        <a:pt x="8" y="38"/>
                      </a:lnTo>
                      <a:lnTo>
                        <a:pt x="5" y="38"/>
                      </a:lnTo>
                      <a:lnTo>
                        <a:pt x="6" y="41"/>
                      </a:lnTo>
                      <a:lnTo>
                        <a:pt x="8" y="41"/>
                      </a:lnTo>
                      <a:lnTo>
                        <a:pt x="10" y="44"/>
                      </a:lnTo>
                      <a:lnTo>
                        <a:pt x="10" y="46"/>
                      </a:lnTo>
                      <a:lnTo>
                        <a:pt x="11" y="49"/>
                      </a:lnTo>
                      <a:lnTo>
                        <a:pt x="15" y="49"/>
                      </a:lnTo>
                      <a:lnTo>
                        <a:pt x="16" y="51"/>
                      </a:lnTo>
                      <a:lnTo>
                        <a:pt x="16" y="53"/>
                      </a:lnTo>
                      <a:lnTo>
                        <a:pt x="16" y="54"/>
                      </a:lnTo>
                      <a:lnTo>
                        <a:pt x="18" y="54"/>
                      </a:lnTo>
                      <a:lnTo>
                        <a:pt x="21" y="54"/>
                      </a:lnTo>
                      <a:lnTo>
                        <a:pt x="21" y="56"/>
                      </a:lnTo>
                      <a:lnTo>
                        <a:pt x="20" y="57"/>
                      </a:lnTo>
                      <a:lnTo>
                        <a:pt x="20" y="56"/>
                      </a:lnTo>
                      <a:lnTo>
                        <a:pt x="16" y="56"/>
                      </a:lnTo>
                      <a:lnTo>
                        <a:pt x="16" y="59"/>
                      </a:lnTo>
                      <a:lnTo>
                        <a:pt x="16" y="61"/>
                      </a:lnTo>
                      <a:lnTo>
                        <a:pt x="26" y="67"/>
                      </a:lnTo>
                      <a:lnTo>
                        <a:pt x="31" y="71"/>
                      </a:lnTo>
                      <a:lnTo>
                        <a:pt x="36" y="69"/>
                      </a:lnTo>
                      <a:lnTo>
                        <a:pt x="39" y="72"/>
                      </a:lnTo>
                      <a:lnTo>
                        <a:pt x="41" y="74"/>
                      </a:lnTo>
                      <a:lnTo>
                        <a:pt x="42" y="77"/>
                      </a:lnTo>
                      <a:lnTo>
                        <a:pt x="46" y="80"/>
                      </a:lnTo>
                      <a:lnTo>
                        <a:pt x="49" y="79"/>
                      </a:lnTo>
                      <a:lnTo>
                        <a:pt x="54" y="77"/>
                      </a:lnTo>
                      <a:lnTo>
                        <a:pt x="59" y="79"/>
                      </a:lnTo>
                      <a:lnTo>
                        <a:pt x="62" y="80"/>
                      </a:lnTo>
                      <a:lnTo>
                        <a:pt x="65" y="79"/>
                      </a:lnTo>
                      <a:lnTo>
                        <a:pt x="65" y="77"/>
                      </a:lnTo>
                      <a:lnTo>
                        <a:pt x="65" y="74"/>
                      </a:lnTo>
                      <a:lnTo>
                        <a:pt x="64" y="71"/>
                      </a:lnTo>
                      <a:lnTo>
                        <a:pt x="64" y="67"/>
                      </a:lnTo>
                      <a:lnTo>
                        <a:pt x="64" y="6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5" name="Freeform 114">
                  <a:extLst>
                    <a:ext uri="{FF2B5EF4-FFF2-40B4-BE49-F238E27FC236}">
                      <a16:creationId xmlns:a16="http://schemas.microsoft.com/office/drawing/2014/main" xmlns="" id="{BCAA76C4-BD1D-433C-872E-1C80801B82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0" y="123"/>
                  <a:ext cx="46" cy="39"/>
                </a:xfrm>
                <a:custGeom>
                  <a:avLst/>
                  <a:gdLst>
                    <a:gd name="T0" fmla="*/ 0 w 46"/>
                    <a:gd name="T1" fmla="*/ 0 h 39"/>
                    <a:gd name="T2" fmla="*/ 5 w 46"/>
                    <a:gd name="T3" fmla="*/ 0 h 39"/>
                    <a:gd name="T4" fmla="*/ 10 w 46"/>
                    <a:gd name="T5" fmla="*/ 0 h 39"/>
                    <a:gd name="T6" fmla="*/ 13 w 46"/>
                    <a:gd name="T7" fmla="*/ 1 h 39"/>
                    <a:gd name="T8" fmla="*/ 21 w 46"/>
                    <a:gd name="T9" fmla="*/ 4 h 39"/>
                    <a:gd name="T10" fmla="*/ 25 w 46"/>
                    <a:gd name="T11" fmla="*/ 4 h 39"/>
                    <a:gd name="T12" fmla="*/ 28 w 46"/>
                    <a:gd name="T13" fmla="*/ 4 h 39"/>
                    <a:gd name="T14" fmla="*/ 35 w 46"/>
                    <a:gd name="T15" fmla="*/ 4 h 39"/>
                    <a:gd name="T16" fmla="*/ 43 w 46"/>
                    <a:gd name="T17" fmla="*/ 8 h 39"/>
                    <a:gd name="T18" fmla="*/ 43 w 46"/>
                    <a:gd name="T19" fmla="*/ 9 h 39"/>
                    <a:gd name="T20" fmla="*/ 39 w 46"/>
                    <a:gd name="T21" fmla="*/ 9 h 39"/>
                    <a:gd name="T22" fmla="*/ 38 w 46"/>
                    <a:gd name="T23" fmla="*/ 13 h 39"/>
                    <a:gd name="T24" fmla="*/ 38 w 46"/>
                    <a:gd name="T25" fmla="*/ 16 h 39"/>
                    <a:gd name="T26" fmla="*/ 41 w 46"/>
                    <a:gd name="T27" fmla="*/ 19 h 39"/>
                    <a:gd name="T28" fmla="*/ 44 w 46"/>
                    <a:gd name="T29" fmla="*/ 21 h 39"/>
                    <a:gd name="T30" fmla="*/ 44 w 46"/>
                    <a:gd name="T31" fmla="*/ 24 h 39"/>
                    <a:gd name="T32" fmla="*/ 46 w 46"/>
                    <a:gd name="T33" fmla="*/ 27 h 39"/>
                    <a:gd name="T34" fmla="*/ 44 w 46"/>
                    <a:gd name="T35" fmla="*/ 29 h 39"/>
                    <a:gd name="T36" fmla="*/ 43 w 46"/>
                    <a:gd name="T37" fmla="*/ 34 h 39"/>
                    <a:gd name="T38" fmla="*/ 41 w 46"/>
                    <a:gd name="T39" fmla="*/ 37 h 39"/>
                    <a:gd name="T40" fmla="*/ 39 w 46"/>
                    <a:gd name="T41" fmla="*/ 39 h 39"/>
                    <a:gd name="T42" fmla="*/ 36 w 46"/>
                    <a:gd name="T43" fmla="*/ 37 h 39"/>
                    <a:gd name="T44" fmla="*/ 35 w 46"/>
                    <a:gd name="T45" fmla="*/ 37 h 39"/>
                    <a:gd name="T46" fmla="*/ 31 w 46"/>
                    <a:gd name="T47" fmla="*/ 39 h 39"/>
                    <a:gd name="T48" fmla="*/ 28 w 46"/>
                    <a:gd name="T49" fmla="*/ 39 h 39"/>
                    <a:gd name="T50" fmla="*/ 21 w 46"/>
                    <a:gd name="T51" fmla="*/ 36 h 39"/>
                    <a:gd name="T52" fmla="*/ 17 w 46"/>
                    <a:gd name="T53" fmla="*/ 32 h 39"/>
                    <a:gd name="T54" fmla="*/ 10 w 46"/>
                    <a:gd name="T55" fmla="*/ 26 h 39"/>
                    <a:gd name="T56" fmla="*/ 8 w 46"/>
                    <a:gd name="T57" fmla="*/ 22 h 39"/>
                    <a:gd name="T58" fmla="*/ 10 w 46"/>
                    <a:gd name="T59" fmla="*/ 19 h 39"/>
                    <a:gd name="T60" fmla="*/ 10 w 46"/>
                    <a:gd name="T61" fmla="*/ 16 h 39"/>
                    <a:gd name="T62" fmla="*/ 12 w 46"/>
                    <a:gd name="T63" fmla="*/ 14 h 39"/>
                    <a:gd name="T64" fmla="*/ 10 w 46"/>
                    <a:gd name="T65" fmla="*/ 11 h 39"/>
                    <a:gd name="T66" fmla="*/ 7 w 46"/>
                    <a:gd name="T67" fmla="*/ 11 h 39"/>
                    <a:gd name="T68" fmla="*/ 7 w 46"/>
                    <a:gd name="T69" fmla="*/ 8 h 39"/>
                    <a:gd name="T70" fmla="*/ 5 w 46"/>
                    <a:gd name="T71" fmla="*/ 6 h 39"/>
                    <a:gd name="T72" fmla="*/ 4 w 46"/>
                    <a:gd name="T73" fmla="*/ 3 h 39"/>
                    <a:gd name="T74" fmla="*/ 0 w 46"/>
                    <a:gd name="T75" fmla="*/ 0 h 39"/>
                    <a:gd name="T76" fmla="*/ 0 w 46"/>
                    <a:gd name="T7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6" h="39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1" y="4"/>
                      </a:lnTo>
                      <a:lnTo>
                        <a:pt x="25" y="4"/>
                      </a:lnTo>
                      <a:lnTo>
                        <a:pt x="28" y="4"/>
                      </a:lnTo>
                      <a:lnTo>
                        <a:pt x="35" y="4"/>
                      </a:lnTo>
                      <a:lnTo>
                        <a:pt x="43" y="8"/>
                      </a:lnTo>
                      <a:lnTo>
                        <a:pt x="43" y="9"/>
                      </a:lnTo>
                      <a:lnTo>
                        <a:pt x="39" y="9"/>
                      </a:lnTo>
                      <a:lnTo>
                        <a:pt x="38" y="13"/>
                      </a:lnTo>
                      <a:lnTo>
                        <a:pt x="38" y="16"/>
                      </a:lnTo>
                      <a:lnTo>
                        <a:pt x="41" y="19"/>
                      </a:lnTo>
                      <a:lnTo>
                        <a:pt x="44" y="21"/>
                      </a:lnTo>
                      <a:lnTo>
                        <a:pt x="44" y="24"/>
                      </a:lnTo>
                      <a:lnTo>
                        <a:pt x="46" y="27"/>
                      </a:lnTo>
                      <a:lnTo>
                        <a:pt x="44" y="29"/>
                      </a:lnTo>
                      <a:lnTo>
                        <a:pt x="43" y="34"/>
                      </a:lnTo>
                      <a:lnTo>
                        <a:pt x="41" y="37"/>
                      </a:lnTo>
                      <a:lnTo>
                        <a:pt x="39" y="39"/>
                      </a:lnTo>
                      <a:lnTo>
                        <a:pt x="36" y="37"/>
                      </a:lnTo>
                      <a:lnTo>
                        <a:pt x="35" y="37"/>
                      </a:lnTo>
                      <a:lnTo>
                        <a:pt x="31" y="39"/>
                      </a:lnTo>
                      <a:lnTo>
                        <a:pt x="28" y="39"/>
                      </a:lnTo>
                      <a:lnTo>
                        <a:pt x="21" y="36"/>
                      </a:lnTo>
                      <a:lnTo>
                        <a:pt x="17" y="32"/>
                      </a:lnTo>
                      <a:lnTo>
                        <a:pt x="10" y="26"/>
                      </a:lnTo>
                      <a:lnTo>
                        <a:pt x="8" y="22"/>
                      </a:lnTo>
                      <a:lnTo>
                        <a:pt x="10" y="19"/>
                      </a:lnTo>
                      <a:lnTo>
                        <a:pt x="10" y="16"/>
                      </a:lnTo>
                      <a:lnTo>
                        <a:pt x="12" y="14"/>
                      </a:lnTo>
                      <a:lnTo>
                        <a:pt x="10" y="11"/>
                      </a:lnTo>
                      <a:lnTo>
                        <a:pt x="7" y="11"/>
                      </a:lnTo>
                      <a:lnTo>
                        <a:pt x="7" y="8"/>
                      </a:ln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6" name="Freeform 115">
                  <a:extLst>
                    <a:ext uri="{FF2B5EF4-FFF2-40B4-BE49-F238E27FC236}">
                      <a16:creationId xmlns:a16="http://schemas.microsoft.com/office/drawing/2014/main" xmlns="" id="{490724C6-86E3-41B4-8C4B-86D23CC317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5" y="126"/>
                  <a:ext cx="62" cy="82"/>
                </a:xfrm>
                <a:custGeom>
                  <a:avLst/>
                  <a:gdLst>
                    <a:gd name="T0" fmla="*/ 15 w 38"/>
                    <a:gd name="T1" fmla="*/ 49 h 50"/>
                    <a:gd name="T2" fmla="*/ 18 w 38"/>
                    <a:gd name="T3" fmla="*/ 43 h 50"/>
                    <a:gd name="T4" fmla="*/ 19 w 38"/>
                    <a:gd name="T5" fmla="*/ 41 h 50"/>
                    <a:gd name="T6" fmla="*/ 24 w 38"/>
                    <a:gd name="T7" fmla="*/ 37 h 50"/>
                    <a:gd name="T8" fmla="*/ 27 w 38"/>
                    <a:gd name="T9" fmla="*/ 37 h 50"/>
                    <a:gd name="T10" fmla="*/ 29 w 38"/>
                    <a:gd name="T11" fmla="*/ 35 h 50"/>
                    <a:gd name="T12" fmla="*/ 32 w 38"/>
                    <a:gd name="T13" fmla="*/ 33 h 50"/>
                    <a:gd name="T14" fmla="*/ 35 w 38"/>
                    <a:gd name="T15" fmla="*/ 29 h 50"/>
                    <a:gd name="T16" fmla="*/ 38 w 38"/>
                    <a:gd name="T17" fmla="*/ 24 h 50"/>
                    <a:gd name="T18" fmla="*/ 35 w 38"/>
                    <a:gd name="T19" fmla="*/ 19 h 50"/>
                    <a:gd name="T20" fmla="*/ 34 w 38"/>
                    <a:gd name="T21" fmla="*/ 15 h 50"/>
                    <a:gd name="T22" fmla="*/ 29 w 38"/>
                    <a:gd name="T23" fmla="*/ 12 h 50"/>
                    <a:gd name="T24" fmla="*/ 27 w 38"/>
                    <a:gd name="T25" fmla="*/ 12 h 50"/>
                    <a:gd name="T26" fmla="*/ 22 w 38"/>
                    <a:gd name="T27" fmla="*/ 9 h 50"/>
                    <a:gd name="T28" fmla="*/ 21 w 38"/>
                    <a:gd name="T29" fmla="*/ 9 h 50"/>
                    <a:gd name="T30" fmla="*/ 19 w 38"/>
                    <a:gd name="T31" fmla="*/ 7 h 50"/>
                    <a:gd name="T32" fmla="*/ 16 w 38"/>
                    <a:gd name="T33" fmla="*/ 6 h 50"/>
                    <a:gd name="T34" fmla="*/ 15 w 38"/>
                    <a:gd name="T35" fmla="*/ 7 h 50"/>
                    <a:gd name="T36" fmla="*/ 12 w 38"/>
                    <a:gd name="T37" fmla="*/ 4 h 50"/>
                    <a:gd name="T38" fmla="*/ 13 w 38"/>
                    <a:gd name="T39" fmla="*/ 7 h 50"/>
                    <a:gd name="T40" fmla="*/ 12 w 38"/>
                    <a:gd name="T41" fmla="*/ 9 h 50"/>
                    <a:gd name="T42" fmla="*/ 11 w 38"/>
                    <a:gd name="T43" fmla="*/ 11 h 50"/>
                    <a:gd name="T44" fmla="*/ 10 w 38"/>
                    <a:gd name="T45" fmla="*/ 3 h 50"/>
                    <a:gd name="T46" fmla="*/ 6 w 38"/>
                    <a:gd name="T47" fmla="*/ 2 h 50"/>
                    <a:gd name="T48" fmla="*/ 2 w 38"/>
                    <a:gd name="T49" fmla="*/ 0 h 50"/>
                    <a:gd name="T50" fmla="*/ 2 w 38"/>
                    <a:gd name="T51" fmla="*/ 4 h 50"/>
                    <a:gd name="T52" fmla="*/ 5 w 38"/>
                    <a:gd name="T53" fmla="*/ 7 h 50"/>
                    <a:gd name="T54" fmla="*/ 3 w 38"/>
                    <a:gd name="T55" fmla="*/ 8 h 50"/>
                    <a:gd name="T56" fmla="*/ 0 w 38"/>
                    <a:gd name="T57" fmla="*/ 5 h 50"/>
                    <a:gd name="T58" fmla="*/ 0 w 38"/>
                    <a:gd name="T59" fmla="*/ 7 h 50"/>
                    <a:gd name="T60" fmla="*/ 0 w 38"/>
                    <a:gd name="T61" fmla="*/ 9 h 50"/>
                    <a:gd name="T62" fmla="*/ 1 w 38"/>
                    <a:gd name="T63" fmla="*/ 12 h 50"/>
                    <a:gd name="T64" fmla="*/ 3 w 38"/>
                    <a:gd name="T65" fmla="*/ 14 h 50"/>
                    <a:gd name="T66" fmla="*/ 5 w 38"/>
                    <a:gd name="T67" fmla="*/ 20 h 50"/>
                    <a:gd name="T68" fmla="*/ 8 w 38"/>
                    <a:gd name="T69" fmla="*/ 22 h 50"/>
                    <a:gd name="T70" fmla="*/ 5 w 38"/>
                    <a:gd name="T71" fmla="*/ 23 h 50"/>
                    <a:gd name="T72" fmla="*/ 6 w 38"/>
                    <a:gd name="T73" fmla="*/ 30 h 50"/>
                    <a:gd name="T74" fmla="*/ 7 w 38"/>
                    <a:gd name="T75" fmla="*/ 35 h 50"/>
                    <a:gd name="T76" fmla="*/ 8 w 38"/>
                    <a:gd name="T77" fmla="*/ 38 h 50"/>
                    <a:gd name="T78" fmla="*/ 8 w 38"/>
                    <a:gd name="T79" fmla="*/ 42 h 50"/>
                    <a:gd name="T80" fmla="*/ 11 w 38"/>
                    <a:gd name="T81" fmla="*/ 47 h 50"/>
                    <a:gd name="T82" fmla="*/ 12 w 38"/>
                    <a:gd name="T83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8" h="50">
                      <a:moveTo>
                        <a:pt x="12" y="50"/>
                      </a:moveTo>
                      <a:cubicBezTo>
                        <a:pt x="12" y="50"/>
                        <a:pt x="15" y="49"/>
                        <a:pt x="15" y="49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ubicBezTo>
                        <a:pt x="18" y="43"/>
                        <a:pt x="18" y="43"/>
                        <a:pt x="18" y="43"/>
                      </a:cubicBezTo>
                      <a:cubicBezTo>
                        <a:pt x="20" y="42"/>
                        <a:pt x="20" y="42"/>
                        <a:pt x="20" y="42"/>
                      </a:cubicBezTo>
                      <a:cubicBezTo>
                        <a:pt x="19" y="41"/>
                        <a:pt x="19" y="41"/>
                        <a:pt x="19" y="41"/>
                      </a:cubicBez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24" y="37"/>
                        <a:pt x="24" y="37"/>
                        <a:pt x="24" y="37"/>
                      </a:cubicBezTo>
                      <a:cubicBezTo>
                        <a:pt x="25" y="36"/>
                        <a:pt x="25" y="36"/>
                        <a:pt x="25" y="36"/>
                      </a:cubicBezTo>
                      <a:cubicBezTo>
                        <a:pt x="27" y="37"/>
                        <a:pt x="27" y="37"/>
                        <a:pt x="27" y="37"/>
                      </a:cubicBezTo>
                      <a:cubicBezTo>
                        <a:pt x="28" y="37"/>
                        <a:pt x="28" y="37"/>
                        <a:pt x="28" y="37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30" y="34"/>
                        <a:pt x="30" y="34"/>
                        <a:pt x="30" y="34"/>
                      </a:cubicBezTo>
                      <a:cubicBezTo>
                        <a:pt x="32" y="33"/>
                        <a:pt x="32" y="33"/>
                        <a:pt x="32" y="33"/>
                      </a:cubicBezTo>
                      <a:cubicBezTo>
                        <a:pt x="35" y="30"/>
                        <a:pt x="35" y="30"/>
                        <a:pt x="35" y="30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8" y="24"/>
                        <a:pt x="38" y="24"/>
                        <a:pt x="38" y="24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15"/>
                        <a:pt x="34" y="15"/>
                        <a:pt x="34" y="15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29" y="12"/>
                        <a:pt x="29" y="12"/>
                        <a:pt x="29" y="12"/>
                      </a:cubicBezTo>
                      <a:cubicBezTo>
                        <a:pt x="28" y="13"/>
                        <a:pt x="28" y="13"/>
                        <a:pt x="28" y="13"/>
                      </a:cubicBezTo>
                      <a:cubicBezTo>
                        <a:pt x="27" y="12"/>
                        <a:pt x="27" y="12"/>
                        <a:pt x="27" y="12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7" y="6"/>
                        <a:pt x="17" y="6"/>
                        <a:pt x="17" y="6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6" y="30"/>
                        <a:pt x="6" y="30"/>
                        <a:pt x="6" y="30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7" y="35"/>
                        <a:pt x="7" y="35"/>
                        <a:pt x="7" y="35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7" y="39"/>
                        <a:pt x="7" y="39"/>
                        <a:pt x="7" y="39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11" y="47"/>
                        <a:pt x="11" y="47"/>
                        <a:pt x="11" y="47"/>
                      </a:cubicBezTo>
                      <a:cubicBezTo>
                        <a:pt x="11" y="49"/>
                        <a:pt x="11" y="49"/>
                        <a:pt x="11" y="49"/>
                      </a:cubicBezTo>
                      <a:cubicBezTo>
                        <a:pt x="12" y="50"/>
                        <a:pt x="12" y="50"/>
                        <a:pt x="12" y="50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7" name="Freeform 116">
                  <a:extLst>
                    <a:ext uri="{FF2B5EF4-FFF2-40B4-BE49-F238E27FC236}">
                      <a16:creationId xmlns:a16="http://schemas.microsoft.com/office/drawing/2014/main" xmlns="" id="{689B40DB-6FB0-466B-8731-6B2292D788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3" y="162"/>
                  <a:ext cx="7" cy="10"/>
                </a:xfrm>
                <a:custGeom>
                  <a:avLst/>
                  <a:gdLst>
                    <a:gd name="T0" fmla="*/ 3 w 7"/>
                    <a:gd name="T1" fmla="*/ 10 h 10"/>
                    <a:gd name="T2" fmla="*/ 5 w 7"/>
                    <a:gd name="T3" fmla="*/ 6 h 10"/>
                    <a:gd name="T4" fmla="*/ 5 w 7"/>
                    <a:gd name="T5" fmla="*/ 5 h 10"/>
                    <a:gd name="T6" fmla="*/ 5 w 7"/>
                    <a:gd name="T7" fmla="*/ 5 h 10"/>
                    <a:gd name="T8" fmla="*/ 5 w 7"/>
                    <a:gd name="T9" fmla="*/ 3 h 10"/>
                    <a:gd name="T10" fmla="*/ 7 w 7"/>
                    <a:gd name="T11" fmla="*/ 1 h 10"/>
                    <a:gd name="T12" fmla="*/ 7 w 7"/>
                    <a:gd name="T13" fmla="*/ 0 h 10"/>
                    <a:gd name="T14" fmla="*/ 3 w 7"/>
                    <a:gd name="T15" fmla="*/ 1 h 10"/>
                    <a:gd name="T16" fmla="*/ 2 w 7"/>
                    <a:gd name="T17" fmla="*/ 3 h 10"/>
                    <a:gd name="T18" fmla="*/ 2 w 7"/>
                    <a:gd name="T19" fmla="*/ 5 h 10"/>
                    <a:gd name="T20" fmla="*/ 0 w 7"/>
                    <a:gd name="T21" fmla="*/ 6 h 10"/>
                    <a:gd name="T22" fmla="*/ 0 w 7"/>
                    <a:gd name="T23" fmla="*/ 8 h 10"/>
                    <a:gd name="T24" fmla="*/ 2 w 7"/>
                    <a:gd name="T25" fmla="*/ 10 h 10"/>
                    <a:gd name="T26" fmla="*/ 3 w 7"/>
                    <a:gd name="T27" fmla="*/ 10 h 10"/>
                    <a:gd name="T28" fmla="*/ 3 w 7"/>
                    <a:gd name="T2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10">
                      <a:moveTo>
                        <a:pt x="3" y="10"/>
                      </a:move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3" y="10"/>
                      </a:lnTo>
                      <a:lnTo>
                        <a:pt x="3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8" name="Freeform 117">
                  <a:extLst>
                    <a:ext uri="{FF2B5EF4-FFF2-40B4-BE49-F238E27FC236}">
                      <a16:creationId xmlns:a16="http://schemas.microsoft.com/office/drawing/2014/main" xmlns="" id="{BE0C6DE1-F315-4555-88F6-87762A0C29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0" y="165"/>
                  <a:ext cx="14" cy="8"/>
                </a:xfrm>
                <a:custGeom>
                  <a:avLst/>
                  <a:gdLst>
                    <a:gd name="T0" fmla="*/ 0 w 14"/>
                    <a:gd name="T1" fmla="*/ 7 h 8"/>
                    <a:gd name="T2" fmla="*/ 1 w 14"/>
                    <a:gd name="T3" fmla="*/ 5 h 8"/>
                    <a:gd name="T4" fmla="*/ 6 w 14"/>
                    <a:gd name="T5" fmla="*/ 5 h 8"/>
                    <a:gd name="T6" fmla="*/ 8 w 14"/>
                    <a:gd name="T7" fmla="*/ 2 h 8"/>
                    <a:gd name="T8" fmla="*/ 9 w 14"/>
                    <a:gd name="T9" fmla="*/ 2 h 8"/>
                    <a:gd name="T10" fmla="*/ 11 w 14"/>
                    <a:gd name="T11" fmla="*/ 0 h 8"/>
                    <a:gd name="T12" fmla="*/ 13 w 14"/>
                    <a:gd name="T13" fmla="*/ 2 h 8"/>
                    <a:gd name="T14" fmla="*/ 14 w 14"/>
                    <a:gd name="T15" fmla="*/ 5 h 8"/>
                    <a:gd name="T16" fmla="*/ 13 w 14"/>
                    <a:gd name="T17" fmla="*/ 8 h 8"/>
                    <a:gd name="T18" fmla="*/ 11 w 14"/>
                    <a:gd name="T19" fmla="*/ 7 h 8"/>
                    <a:gd name="T20" fmla="*/ 9 w 14"/>
                    <a:gd name="T21" fmla="*/ 8 h 8"/>
                    <a:gd name="T22" fmla="*/ 5 w 14"/>
                    <a:gd name="T23" fmla="*/ 8 h 8"/>
                    <a:gd name="T24" fmla="*/ 0 w 14"/>
                    <a:gd name="T25" fmla="*/ 8 h 8"/>
                    <a:gd name="T26" fmla="*/ 0 w 14"/>
                    <a:gd name="T27" fmla="*/ 7 h 8"/>
                    <a:gd name="T28" fmla="*/ 0 w 14"/>
                    <a:gd name="T29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8">
                      <a:moveTo>
                        <a:pt x="0" y="7"/>
                      </a:moveTo>
                      <a:lnTo>
                        <a:pt x="1" y="5"/>
                      </a:lnTo>
                      <a:lnTo>
                        <a:pt x="6" y="5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0"/>
                      </a:lnTo>
                      <a:lnTo>
                        <a:pt x="13" y="2"/>
                      </a:lnTo>
                      <a:lnTo>
                        <a:pt x="14" y="5"/>
                      </a:lnTo>
                      <a:lnTo>
                        <a:pt x="13" y="8"/>
                      </a:lnTo>
                      <a:lnTo>
                        <a:pt x="11" y="7"/>
                      </a:lnTo>
                      <a:lnTo>
                        <a:pt x="9" y="8"/>
                      </a:lnTo>
                      <a:lnTo>
                        <a:pt x="5" y="8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9" name="Freeform 118">
                  <a:extLst>
                    <a:ext uri="{FF2B5EF4-FFF2-40B4-BE49-F238E27FC236}">
                      <a16:creationId xmlns:a16="http://schemas.microsoft.com/office/drawing/2014/main" xmlns="" id="{8A42A65B-6D85-44FE-8C18-B109DD3504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2" y="201"/>
                  <a:ext cx="7" cy="10"/>
                </a:xfrm>
                <a:custGeom>
                  <a:avLst/>
                  <a:gdLst>
                    <a:gd name="T0" fmla="*/ 0 w 7"/>
                    <a:gd name="T1" fmla="*/ 2 h 10"/>
                    <a:gd name="T2" fmla="*/ 0 w 7"/>
                    <a:gd name="T3" fmla="*/ 3 h 10"/>
                    <a:gd name="T4" fmla="*/ 4 w 7"/>
                    <a:gd name="T5" fmla="*/ 8 h 10"/>
                    <a:gd name="T6" fmla="*/ 2 w 7"/>
                    <a:gd name="T7" fmla="*/ 8 h 10"/>
                    <a:gd name="T8" fmla="*/ 2 w 7"/>
                    <a:gd name="T9" fmla="*/ 10 h 10"/>
                    <a:gd name="T10" fmla="*/ 5 w 7"/>
                    <a:gd name="T11" fmla="*/ 10 h 10"/>
                    <a:gd name="T12" fmla="*/ 7 w 7"/>
                    <a:gd name="T13" fmla="*/ 5 h 10"/>
                    <a:gd name="T14" fmla="*/ 5 w 7"/>
                    <a:gd name="T15" fmla="*/ 2 h 10"/>
                    <a:gd name="T16" fmla="*/ 2 w 7"/>
                    <a:gd name="T17" fmla="*/ 0 h 10"/>
                    <a:gd name="T18" fmla="*/ 0 w 7"/>
                    <a:gd name="T19" fmla="*/ 2 h 10"/>
                    <a:gd name="T20" fmla="*/ 0 w 7"/>
                    <a:gd name="T21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10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5" y="10"/>
                      </a:lnTo>
                      <a:lnTo>
                        <a:pt x="7" y="5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0" name="Freeform 119">
                  <a:extLst>
                    <a:ext uri="{FF2B5EF4-FFF2-40B4-BE49-F238E27FC236}">
                      <a16:creationId xmlns:a16="http://schemas.microsoft.com/office/drawing/2014/main" xmlns="" id="{A01E2B8D-0B95-4B57-A22D-6ECC20B3C5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3" y="293"/>
                  <a:ext cx="5" cy="8"/>
                </a:xfrm>
                <a:custGeom>
                  <a:avLst/>
                  <a:gdLst>
                    <a:gd name="T0" fmla="*/ 3 w 5"/>
                    <a:gd name="T1" fmla="*/ 8 h 8"/>
                    <a:gd name="T2" fmla="*/ 5 w 5"/>
                    <a:gd name="T3" fmla="*/ 6 h 8"/>
                    <a:gd name="T4" fmla="*/ 5 w 5"/>
                    <a:gd name="T5" fmla="*/ 3 h 8"/>
                    <a:gd name="T6" fmla="*/ 5 w 5"/>
                    <a:gd name="T7" fmla="*/ 0 h 8"/>
                    <a:gd name="T8" fmla="*/ 2 w 5"/>
                    <a:gd name="T9" fmla="*/ 1 h 8"/>
                    <a:gd name="T10" fmla="*/ 0 w 5"/>
                    <a:gd name="T11" fmla="*/ 3 h 8"/>
                    <a:gd name="T12" fmla="*/ 0 w 5"/>
                    <a:gd name="T13" fmla="*/ 6 h 8"/>
                    <a:gd name="T14" fmla="*/ 2 w 5"/>
                    <a:gd name="T15" fmla="*/ 6 h 8"/>
                    <a:gd name="T16" fmla="*/ 3 w 5"/>
                    <a:gd name="T17" fmla="*/ 8 h 8"/>
                    <a:gd name="T18" fmla="*/ 3 w 5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8">
                      <a:moveTo>
                        <a:pt x="3" y="8"/>
                      </a:move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3" y="8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1" name="Freeform 120">
                  <a:extLst>
                    <a:ext uri="{FF2B5EF4-FFF2-40B4-BE49-F238E27FC236}">
                      <a16:creationId xmlns:a16="http://schemas.microsoft.com/office/drawing/2014/main" xmlns="" id="{D84CABA8-8D55-44B0-BA71-587A636206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6" y="338"/>
                  <a:ext cx="8" cy="7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4 w 5"/>
                    <a:gd name="T5" fmla="*/ 3 h 4"/>
                    <a:gd name="T6" fmla="*/ 5 w 5"/>
                    <a:gd name="T7" fmla="*/ 4 h 4"/>
                    <a:gd name="T8" fmla="*/ 5 w 5"/>
                    <a:gd name="T9" fmla="*/ 3 h 4"/>
                    <a:gd name="T10" fmla="*/ 4 w 5"/>
                    <a:gd name="T11" fmla="*/ 2 h 4"/>
                    <a:gd name="T12" fmla="*/ 2 w 5"/>
                    <a:gd name="T13" fmla="*/ 0 h 4"/>
                    <a:gd name="T14" fmla="*/ 0 w 5"/>
                    <a:gd name="T15" fmla="*/ 0 h 4"/>
                    <a:gd name="T16" fmla="*/ 0 w 5"/>
                    <a:gd name="T17" fmla="*/ 1 h 4"/>
                    <a:gd name="T18" fmla="*/ 0 w 5"/>
                    <a:gd name="T19" fmla="*/ 2 h 4"/>
                    <a:gd name="T20" fmla="*/ 1 w 5"/>
                    <a:gd name="T21" fmla="*/ 3 h 4"/>
                    <a:gd name="T22" fmla="*/ 1 w 5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1" y="4"/>
                        <a:pt x="1" y="4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2" name="Freeform 121">
                  <a:extLst>
                    <a:ext uri="{FF2B5EF4-FFF2-40B4-BE49-F238E27FC236}">
                      <a16:creationId xmlns:a16="http://schemas.microsoft.com/office/drawing/2014/main" xmlns="" id="{7FF89692-D32C-4F0E-BC6E-6F506BDB52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3" y="304"/>
                  <a:ext cx="25" cy="23"/>
                </a:xfrm>
                <a:custGeom>
                  <a:avLst/>
                  <a:gdLst>
                    <a:gd name="T0" fmla="*/ 15 w 25"/>
                    <a:gd name="T1" fmla="*/ 21 h 23"/>
                    <a:gd name="T2" fmla="*/ 18 w 25"/>
                    <a:gd name="T3" fmla="*/ 21 h 23"/>
                    <a:gd name="T4" fmla="*/ 20 w 25"/>
                    <a:gd name="T5" fmla="*/ 23 h 23"/>
                    <a:gd name="T6" fmla="*/ 21 w 25"/>
                    <a:gd name="T7" fmla="*/ 21 h 23"/>
                    <a:gd name="T8" fmla="*/ 23 w 25"/>
                    <a:gd name="T9" fmla="*/ 20 h 23"/>
                    <a:gd name="T10" fmla="*/ 25 w 25"/>
                    <a:gd name="T11" fmla="*/ 18 h 23"/>
                    <a:gd name="T12" fmla="*/ 25 w 25"/>
                    <a:gd name="T13" fmla="*/ 16 h 23"/>
                    <a:gd name="T14" fmla="*/ 23 w 25"/>
                    <a:gd name="T15" fmla="*/ 13 h 23"/>
                    <a:gd name="T16" fmla="*/ 23 w 25"/>
                    <a:gd name="T17" fmla="*/ 8 h 23"/>
                    <a:gd name="T18" fmla="*/ 20 w 25"/>
                    <a:gd name="T19" fmla="*/ 6 h 23"/>
                    <a:gd name="T20" fmla="*/ 18 w 25"/>
                    <a:gd name="T21" fmla="*/ 3 h 23"/>
                    <a:gd name="T22" fmla="*/ 18 w 25"/>
                    <a:gd name="T23" fmla="*/ 0 h 23"/>
                    <a:gd name="T24" fmla="*/ 16 w 25"/>
                    <a:gd name="T25" fmla="*/ 0 h 23"/>
                    <a:gd name="T26" fmla="*/ 10 w 25"/>
                    <a:gd name="T27" fmla="*/ 2 h 23"/>
                    <a:gd name="T28" fmla="*/ 5 w 25"/>
                    <a:gd name="T29" fmla="*/ 5 h 23"/>
                    <a:gd name="T30" fmla="*/ 2 w 25"/>
                    <a:gd name="T31" fmla="*/ 5 h 23"/>
                    <a:gd name="T32" fmla="*/ 2 w 25"/>
                    <a:gd name="T33" fmla="*/ 6 h 23"/>
                    <a:gd name="T34" fmla="*/ 2 w 25"/>
                    <a:gd name="T35" fmla="*/ 10 h 23"/>
                    <a:gd name="T36" fmla="*/ 5 w 25"/>
                    <a:gd name="T37" fmla="*/ 11 h 23"/>
                    <a:gd name="T38" fmla="*/ 5 w 25"/>
                    <a:gd name="T39" fmla="*/ 15 h 23"/>
                    <a:gd name="T40" fmla="*/ 3 w 25"/>
                    <a:gd name="T41" fmla="*/ 16 h 23"/>
                    <a:gd name="T42" fmla="*/ 2 w 25"/>
                    <a:gd name="T43" fmla="*/ 16 h 23"/>
                    <a:gd name="T44" fmla="*/ 0 w 25"/>
                    <a:gd name="T45" fmla="*/ 16 h 23"/>
                    <a:gd name="T46" fmla="*/ 2 w 25"/>
                    <a:gd name="T47" fmla="*/ 20 h 23"/>
                    <a:gd name="T48" fmla="*/ 7 w 25"/>
                    <a:gd name="T49" fmla="*/ 20 h 23"/>
                    <a:gd name="T50" fmla="*/ 15 w 25"/>
                    <a:gd name="T51" fmla="*/ 21 h 23"/>
                    <a:gd name="T52" fmla="*/ 15 w 25"/>
                    <a:gd name="T53" fmla="*/ 2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5" h="23">
                      <a:moveTo>
                        <a:pt x="15" y="21"/>
                      </a:moveTo>
                      <a:lnTo>
                        <a:pt x="18" y="21"/>
                      </a:lnTo>
                      <a:lnTo>
                        <a:pt x="20" y="23"/>
                      </a:lnTo>
                      <a:lnTo>
                        <a:pt x="21" y="21"/>
                      </a:lnTo>
                      <a:lnTo>
                        <a:pt x="23" y="20"/>
                      </a:lnTo>
                      <a:lnTo>
                        <a:pt x="25" y="18"/>
                      </a:lnTo>
                      <a:lnTo>
                        <a:pt x="25" y="16"/>
                      </a:lnTo>
                      <a:lnTo>
                        <a:pt x="23" y="13"/>
                      </a:lnTo>
                      <a:lnTo>
                        <a:pt x="23" y="8"/>
                      </a:lnTo>
                      <a:lnTo>
                        <a:pt x="20" y="6"/>
                      </a:lnTo>
                      <a:lnTo>
                        <a:pt x="18" y="3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0" y="2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" y="10"/>
                      </a:lnTo>
                      <a:lnTo>
                        <a:pt x="5" y="11"/>
                      </a:lnTo>
                      <a:lnTo>
                        <a:pt x="5" y="15"/>
                      </a:lnTo>
                      <a:lnTo>
                        <a:pt x="3" y="16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2" y="20"/>
                      </a:lnTo>
                      <a:lnTo>
                        <a:pt x="7" y="20"/>
                      </a:lnTo>
                      <a:lnTo>
                        <a:pt x="15" y="21"/>
                      </a:lnTo>
                      <a:lnTo>
                        <a:pt x="15" y="2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3" name="Freeform 122">
                  <a:extLst>
                    <a:ext uri="{FF2B5EF4-FFF2-40B4-BE49-F238E27FC236}">
                      <a16:creationId xmlns:a16="http://schemas.microsoft.com/office/drawing/2014/main" xmlns="" id="{31F4CECC-3323-4FE1-BD79-05AF2194D0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8" y="206"/>
                  <a:ext cx="15" cy="21"/>
                </a:xfrm>
                <a:custGeom>
                  <a:avLst/>
                  <a:gdLst>
                    <a:gd name="T0" fmla="*/ 11 w 15"/>
                    <a:gd name="T1" fmla="*/ 21 h 21"/>
                    <a:gd name="T2" fmla="*/ 13 w 15"/>
                    <a:gd name="T3" fmla="*/ 20 h 21"/>
                    <a:gd name="T4" fmla="*/ 11 w 15"/>
                    <a:gd name="T5" fmla="*/ 18 h 21"/>
                    <a:gd name="T6" fmla="*/ 13 w 15"/>
                    <a:gd name="T7" fmla="*/ 15 h 21"/>
                    <a:gd name="T8" fmla="*/ 15 w 15"/>
                    <a:gd name="T9" fmla="*/ 13 h 21"/>
                    <a:gd name="T10" fmla="*/ 15 w 15"/>
                    <a:gd name="T11" fmla="*/ 10 h 21"/>
                    <a:gd name="T12" fmla="*/ 10 w 15"/>
                    <a:gd name="T13" fmla="*/ 5 h 21"/>
                    <a:gd name="T14" fmla="*/ 8 w 15"/>
                    <a:gd name="T15" fmla="*/ 2 h 21"/>
                    <a:gd name="T16" fmla="*/ 7 w 15"/>
                    <a:gd name="T17" fmla="*/ 0 h 21"/>
                    <a:gd name="T18" fmla="*/ 3 w 15"/>
                    <a:gd name="T19" fmla="*/ 2 h 21"/>
                    <a:gd name="T20" fmla="*/ 0 w 15"/>
                    <a:gd name="T21" fmla="*/ 5 h 21"/>
                    <a:gd name="T22" fmla="*/ 0 w 15"/>
                    <a:gd name="T23" fmla="*/ 8 h 21"/>
                    <a:gd name="T24" fmla="*/ 2 w 15"/>
                    <a:gd name="T25" fmla="*/ 11 h 21"/>
                    <a:gd name="T26" fmla="*/ 2 w 15"/>
                    <a:gd name="T27" fmla="*/ 13 h 21"/>
                    <a:gd name="T28" fmla="*/ 3 w 15"/>
                    <a:gd name="T29" fmla="*/ 15 h 21"/>
                    <a:gd name="T30" fmla="*/ 5 w 15"/>
                    <a:gd name="T31" fmla="*/ 15 h 21"/>
                    <a:gd name="T32" fmla="*/ 8 w 15"/>
                    <a:gd name="T33" fmla="*/ 20 h 21"/>
                    <a:gd name="T34" fmla="*/ 11 w 15"/>
                    <a:gd name="T35" fmla="*/ 21 h 21"/>
                    <a:gd name="T36" fmla="*/ 11 w 15"/>
                    <a:gd name="T3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21">
                      <a:moveTo>
                        <a:pt x="11" y="21"/>
                      </a:moveTo>
                      <a:lnTo>
                        <a:pt x="13" y="20"/>
                      </a:lnTo>
                      <a:lnTo>
                        <a:pt x="11" y="18"/>
                      </a:lnTo>
                      <a:lnTo>
                        <a:pt x="13" y="15"/>
                      </a:lnTo>
                      <a:lnTo>
                        <a:pt x="15" y="13"/>
                      </a:lnTo>
                      <a:lnTo>
                        <a:pt x="15" y="10"/>
                      </a:lnTo>
                      <a:lnTo>
                        <a:pt x="10" y="5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3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8" y="20"/>
                      </a:lnTo>
                      <a:lnTo>
                        <a:pt x="11" y="21"/>
                      </a:lnTo>
                      <a:lnTo>
                        <a:pt x="11" y="2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4" name="Freeform 123">
                  <a:extLst>
                    <a:ext uri="{FF2B5EF4-FFF2-40B4-BE49-F238E27FC236}">
                      <a16:creationId xmlns:a16="http://schemas.microsoft.com/office/drawing/2014/main" xmlns="" id="{006E070C-BA94-455E-9158-FF6E57A1F8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6" y="219"/>
                  <a:ext cx="49" cy="33"/>
                </a:xfrm>
                <a:custGeom>
                  <a:avLst/>
                  <a:gdLst>
                    <a:gd name="T0" fmla="*/ 3 w 49"/>
                    <a:gd name="T1" fmla="*/ 33 h 33"/>
                    <a:gd name="T2" fmla="*/ 5 w 49"/>
                    <a:gd name="T3" fmla="*/ 31 h 33"/>
                    <a:gd name="T4" fmla="*/ 7 w 49"/>
                    <a:gd name="T5" fmla="*/ 28 h 33"/>
                    <a:gd name="T6" fmla="*/ 11 w 49"/>
                    <a:gd name="T7" fmla="*/ 24 h 33"/>
                    <a:gd name="T8" fmla="*/ 16 w 49"/>
                    <a:gd name="T9" fmla="*/ 24 h 33"/>
                    <a:gd name="T10" fmla="*/ 23 w 49"/>
                    <a:gd name="T11" fmla="*/ 24 h 33"/>
                    <a:gd name="T12" fmla="*/ 28 w 49"/>
                    <a:gd name="T13" fmla="*/ 24 h 33"/>
                    <a:gd name="T14" fmla="*/ 34 w 49"/>
                    <a:gd name="T15" fmla="*/ 24 h 33"/>
                    <a:gd name="T16" fmla="*/ 38 w 49"/>
                    <a:gd name="T17" fmla="*/ 23 h 33"/>
                    <a:gd name="T18" fmla="*/ 42 w 49"/>
                    <a:gd name="T19" fmla="*/ 21 h 33"/>
                    <a:gd name="T20" fmla="*/ 46 w 49"/>
                    <a:gd name="T21" fmla="*/ 23 h 33"/>
                    <a:gd name="T22" fmla="*/ 49 w 49"/>
                    <a:gd name="T23" fmla="*/ 20 h 33"/>
                    <a:gd name="T24" fmla="*/ 46 w 49"/>
                    <a:gd name="T25" fmla="*/ 18 h 33"/>
                    <a:gd name="T26" fmla="*/ 44 w 49"/>
                    <a:gd name="T27" fmla="*/ 15 h 33"/>
                    <a:gd name="T28" fmla="*/ 41 w 49"/>
                    <a:gd name="T29" fmla="*/ 10 h 33"/>
                    <a:gd name="T30" fmla="*/ 34 w 49"/>
                    <a:gd name="T31" fmla="*/ 5 h 33"/>
                    <a:gd name="T32" fmla="*/ 29 w 49"/>
                    <a:gd name="T33" fmla="*/ 5 h 33"/>
                    <a:gd name="T34" fmla="*/ 26 w 49"/>
                    <a:gd name="T35" fmla="*/ 3 h 33"/>
                    <a:gd name="T36" fmla="*/ 23 w 49"/>
                    <a:gd name="T37" fmla="*/ 0 h 33"/>
                    <a:gd name="T38" fmla="*/ 20 w 49"/>
                    <a:gd name="T39" fmla="*/ 0 h 33"/>
                    <a:gd name="T40" fmla="*/ 18 w 49"/>
                    <a:gd name="T41" fmla="*/ 2 h 33"/>
                    <a:gd name="T42" fmla="*/ 13 w 49"/>
                    <a:gd name="T43" fmla="*/ 0 h 33"/>
                    <a:gd name="T44" fmla="*/ 11 w 49"/>
                    <a:gd name="T45" fmla="*/ 0 h 33"/>
                    <a:gd name="T46" fmla="*/ 8 w 49"/>
                    <a:gd name="T47" fmla="*/ 3 h 33"/>
                    <a:gd name="T48" fmla="*/ 5 w 49"/>
                    <a:gd name="T49" fmla="*/ 8 h 33"/>
                    <a:gd name="T50" fmla="*/ 7 w 49"/>
                    <a:gd name="T51" fmla="*/ 11 h 33"/>
                    <a:gd name="T52" fmla="*/ 7 w 49"/>
                    <a:gd name="T53" fmla="*/ 18 h 33"/>
                    <a:gd name="T54" fmla="*/ 3 w 49"/>
                    <a:gd name="T55" fmla="*/ 26 h 33"/>
                    <a:gd name="T56" fmla="*/ 0 w 49"/>
                    <a:gd name="T57" fmla="*/ 29 h 33"/>
                    <a:gd name="T58" fmla="*/ 0 w 49"/>
                    <a:gd name="T59" fmla="*/ 31 h 33"/>
                    <a:gd name="T60" fmla="*/ 3 w 49"/>
                    <a:gd name="T61" fmla="*/ 33 h 33"/>
                    <a:gd name="T62" fmla="*/ 3 w 49"/>
                    <a:gd name="T6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9" h="33">
                      <a:moveTo>
                        <a:pt x="3" y="33"/>
                      </a:moveTo>
                      <a:lnTo>
                        <a:pt x="5" y="31"/>
                      </a:lnTo>
                      <a:lnTo>
                        <a:pt x="7" y="28"/>
                      </a:lnTo>
                      <a:lnTo>
                        <a:pt x="11" y="24"/>
                      </a:lnTo>
                      <a:lnTo>
                        <a:pt x="16" y="24"/>
                      </a:lnTo>
                      <a:lnTo>
                        <a:pt x="23" y="24"/>
                      </a:lnTo>
                      <a:lnTo>
                        <a:pt x="28" y="24"/>
                      </a:lnTo>
                      <a:lnTo>
                        <a:pt x="34" y="24"/>
                      </a:lnTo>
                      <a:lnTo>
                        <a:pt x="38" y="23"/>
                      </a:lnTo>
                      <a:lnTo>
                        <a:pt x="42" y="21"/>
                      </a:lnTo>
                      <a:lnTo>
                        <a:pt x="46" y="23"/>
                      </a:lnTo>
                      <a:lnTo>
                        <a:pt x="49" y="20"/>
                      </a:lnTo>
                      <a:lnTo>
                        <a:pt x="46" y="18"/>
                      </a:lnTo>
                      <a:lnTo>
                        <a:pt x="44" y="15"/>
                      </a:lnTo>
                      <a:lnTo>
                        <a:pt x="41" y="10"/>
                      </a:lnTo>
                      <a:lnTo>
                        <a:pt x="34" y="5"/>
                      </a:lnTo>
                      <a:lnTo>
                        <a:pt x="29" y="5"/>
                      </a:lnTo>
                      <a:lnTo>
                        <a:pt x="26" y="3"/>
                      </a:lnTo>
                      <a:lnTo>
                        <a:pt x="23" y="0"/>
                      </a:lnTo>
                      <a:lnTo>
                        <a:pt x="20" y="0"/>
                      </a:lnTo>
                      <a:lnTo>
                        <a:pt x="18" y="2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8" y="3"/>
                      </a:lnTo>
                      <a:lnTo>
                        <a:pt x="5" y="8"/>
                      </a:lnTo>
                      <a:lnTo>
                        <a:pt x="7" y="11"/>
                      </a:lnTo>
                      <a:lnTo>
                        <a:pt x="7" y="18"/>
                      </a:lnTo>
                      <a:lnTo>
                        <a:pt x="3" y="26"/>
                      </a:lnTo>
                      <a:lnTo>
                        <a:pt x="0" y="29"/>
                      </a:lnTo>
                      <a:lnTo>
                        <a:pt x="0" y="31"/>
                      </a:lnTo>
                      <a:lnTo>
                        <a:pt x="3" y="33"/>
                      </a:lnTo>
                      <a:lnTo>
                        <a:pt x="3" y="3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5" name="Freeform 124">
                  <a:extLst>
                    <a:ext uri="{FF2B5EF4-FFF2-40B4-BE49-F238E27FC236}">
                      <a16:creationId xmlns:a16="http://schemas.microsoft.com/office/drawing/2014/main" xmlns="" id="{174F049C-EBB4-44B0-AEBB-317B8841BA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2" y="234"/>
                  <a:ext cx="20" cy="13"/>
                </a:xfrm>
                <a:custGeom>
                  <a:avLst/>
                  <a:gdLst>
                    <a:gd name="T0" fmla="*/ 0 w 20"/>
                    <a:gd name="T1" fmla="*/ 1 h 13"/>
                    <a:gd name="T2" fmla="*/ 2 w 20"/>
                    <a:gd name="T3" fmla="*/ 5 h 13"/>
                    <a:gd name="T4" fmla="*/ 4 w 20"/>
                    <a:gd name="T5" fmla="*/ 6 h 13"/>
                    <a:gd name="T6" fmla="*/ 7 w 20"/>
                    <a:gd name="T7" fmla="*/ 6 h 13"/>
                    <a:gd name="T8" fmla="*/ 10 w 20"/>
                    <a:gd name="T9" fmla="*/ 8 h 13"/>
                    <a:gd name="T10" fmla="*/ 14 w 20"/>
                    <a:gd name="T11" fmla="*/ 9 h 13"/>
                    <a:gd name="T12" fmla="*/ 17 w 20"/>
                    <a:gd name="T13" fmla="*/ 11 h 13"/>
                    <a:gd name="T14" fmla="*/ 18 w 20"/>
                    <a:gd name="T15" fmla="*/ 13 h 13"/>
                    <a:gd name="T16" fmla="*/ 20 w 20"/>
                    <a:gd name="T17" fmla="*/ 9 h 13"/>
                    <a:gd name="T18" fmla="*/ 15 w 20"/>
                    <a:gd name="T19" fmla="*/ 5 h 13"/>
                    <a:gd name="T20" fmla="*/ 12 w 20"/>
                    <a:gd name="T21" fmla="*/ 5 h 13"/>
                    <a:gd name="T22" fmla="*/ 9 w 20"/>
                    <a:gd name="T23" fmla="*/ 5 h 13"/>
                    <a:gd name="T24" fmla="*/ 4 w 20"/>
                    <a:gd name="T25" fmla="*/ 1 h 13"/>
                    <a:gd name="T26" fmla="*/ 2 w 20"/>
                    <a:gd name="T27" fmla="*/ 0 h 13"/>
                    <a:gd name="T28" fmla="*/ 0 w 20"/>
                    <a:gd name="T29" fmla="*/ 1 h 13"/>
                    <a:gd name="T30" fmla="*/ 0 w 20"/>
                    <a:gd name="T31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" h="13">
                      <a:moveTo>
                        <a:pt x="0" y="1"/>
                      </a:move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7" y="6"/>
                      </a:lnTo>
                      <a:lnTo>
                        <a:pt x="10" y="8"/>
                      </a:lnTo>
                      <a:lnTo>
                        <a:pt x="14" y="9"/>
                      </a:lnTo>
                      <a:lnTo>
                        <a:pt x="17" y="11"/>
                      </a:lnTo>
                      <a:lnTo>
                        <a:pt x="18" y="13"/>
                      </a:lnTo>
                      <a:lnTo>
                        <a:pt x="20" y="9"/>
                      </a:lnTo>
                      <a:lnTo>
                        <a:pt x="15" y="5"/>
                      </a:lnTo>
                      <a:lnTo>
                        <a:pt x="12" y="5"/>
                      </a:lnTo>
                      <a:lnTo>
                        <a:pt x="9" y="5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6" name="Freeform 125">
                  <a:extLst>
                    <a:ext uri="{FF2B5EF4-FFF2-40B4-BE49-F238E27FC236}">
                      <a16:creationId xmlns:a16="http://schemas.microsoft.com/office/drawing/2014/main" xmlns="" id="{D388F8DF-AC17-4B9E-BD26-D031D3C9BB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" y="332"/>
                  <a:ext cx="11" cy="10"/>
                </a:xfrm>
                <a:custGeom>
                  <a:avLst/>
                  <a:gdLst>
                    <a:gd name="T0" fmla="*/ 0 w 7"/>
                    <a:gd name="T1" fmla="*/ 3 h 6"/>
                    <a:gd name="T2" fmla="*/ 2 w 7"/>
                    <a:gd name="T3" fmla="*/ 6 h 6"/>
                    <a:gd name="T4" fmla="*/ 3 w 7"/>
                    <a:gd name="T5" fmla="*/ 6 h 6"/>
                    <a:gd name="T6" fmla="*/ 3 w 7"/>
                    <a:gd name="T7" fmla="*/ 5 h 6"/>
                    <a:gd name="T8" fmla="*/ 6 w 7"/>
                    <a:gd name="T9" fmla="*/ 4 h 6"/>
                    <a:gd name="T10" fmla="*/ 7 w 7"/>
                    <a:gd name="T11" fmla="*/ 4 h 6"/>
                    <a:gd name="T12" fmla="*/ 6 w 7"/>
                    <a:gd name="T13" fmla="*/ 2 h 6"/>
                    <a:gd name="T14" fmla="*/ 5 w 7"/>
                    <a:gd name="T15" fmla="*/ 0 h 6"/>
                    <a:gd name="T16" fmla="*/ 4 w 7"/>
                    <a:gd name="T17" fmla="*/ 0 h 6"/>
                    <a:gd name="T18" fmla="*/ 4 w 7"/>
                    <a:gd name="T19" fmla="*/ 2 h 6"/>
                    <a:gd name="T20" fmla="*/ 2 w 7"/>
                    <a:gd name="T21" fmla="*/ 3 h 6"/>
                    <a:gd name="T22" fmla="*/ 0 w 7"/>
                    <a:gd name="T2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6">
                      <a:moveTo>
                        <a:pt x="0" y="3"/>
                      </a:move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3"/>
                        <a:pt x="0" y="4"/>
                        <a:pt x="0" y="3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7" name="Freeform 126">
                  <a:extLst>
                    <a:ext uri="{FF2B5EF4-FFF2-40B4-BE49-F238E27FC236}">
                      <a16:creationId xmlns:a16="http://schemas.microsoft.com/office/drawing/2014/main" xmlns="" id="{71967717-5F53-49BF-A1E6-DD86B5114B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5" y="304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5 h 5"/>
                    <a:gd name="T4" fmla="*/ 3 w 3"/>
                    <a:gd name="T5" fmla="*/ 3 h 5"/>
                    <a:gd name="T6" fmla="*/ 3 w 3"/>
                    <a:gd name="T7" fmla="*/ 0 h 5"/>
                    <a:gd name="T8" fmla="*/ 2 w 3"/>
                    <a:gd name="T9" fmla="*/ 0 h 5"/>
                    <a:gd name="T10" fmla="*/ 0 w 3"/>
                    <a:gd name="T11" fmla="*/ 2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8" name="Freeform 127">
                  <a:extLst>
                    <a:ext uri="{FF2B5EF4-FFF2-40B4-BE49-F238E27FC236}">
                      <a16:creationId xmlns:a16="http://schemas.microsoft.com/office/drawing/2014/main" xmlns="" id="{5A8DB464-71A5-4858-9D0B-716424C096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2" y="307"/>
                  <a:ext cx="5" cy="5"/>
                </a:xfrm>
                <a:custGeom>
                  <a:avLst/>
                  <a:gdLst>
                    <a:gd name="T0" fmla="*/ 3 w 5"/>
                    <a:gd name="T1" fmla="*/ 5 h 5"/>
                    <a:gd name="T2" fmla="*/ 5 w 5"/>
                    <a:gd name="T3" fmla="*/ 5 h 5"/>
                    <a:gd name="T4" fmla="*/ 5 w 5"/>
                    <a:gd name="T5" fmla="*/ 3 h 5"/>
                    <a:gd name="T6" fmla="*/ 3 w 5"/>
                    <a:gd name="T7" fmla="*/ 0 h 5"/>
                    <a:gd name="T8" fmla="*/ 1 w 5"/>
                    <a:gd name="T9" fmla="*/ 0 h 5"/>
                    <a:gd name="T10" fmla="*/ 0 w 5"/>
                    <a:gd name="T11" fmla="*/ 2 h 5"/>
                    <a:gd name="T12" fmla="*/ 3 w 5"/>
                    <a:gd name="T13" fmla="*/ 5 h 5"/>
                    <a:gd name="T14" fmla="*/ 3 w 5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39" name="Freeform 128">
                  <a:extLst>
                    <a:ext uri="{FF2B5EF4-FFF2-40B4-BE49-F238E27FC236}">
                      <a16:creationId xmlns:a16="http://schemas.microsoft.com/office/drawing/2014/main" xmlns="" id="{74976DA4-F8A0-423F-9247-ED710FBB43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2" y="312"/>
                  <a:ext cx="5" cy="8"/>
                </a:xfrm>
                <a:custGeom>
                  <a:avLst/>
                  <a:gdLst>
                    <a:gd name="T0" fmla="*/ 0 w 5"/>
                    <a:gd name="T1" fmla="*/ 2 h 8"/>
                    <a:gd name="T2" fmla="*/ 3 w 5"/>
                    <a:gd name="T3" fmla="*/ 5 h 8"/>
                    <a:gd name="T4" fmla="*/ 5 w 5"/>
                    <a:gd name="T5" fmla="*/ 8 h 8"/>
                    <a:gd name="T6" fmla="*/ 5 w 5"/>
                    <a:gd name="T7" fmla="*/ 7 h 8"/>
                    <a:gd name="T8" fmla="*/ 5 w 5"/>
                    <a:gd name="T9" fmla="*/ 2 h 8"/>
                    <a:gd name="T10" fmla="*/ 1 w 5"/>
                    <a:gd name="T11" fmla="*/ 0 h 8"/>
                    <a:gd name="T12" fmla="*/ 0 w 5"/>
                    <a:gd name="T13" fmla="*/ 0 h 8"/>
                    <a:gd name="T14" fmla="*/ 0 w 5"/>
                    <a:gd name="T15" fmla="*/ 2 h 8"/>
                    <a:gd name="T16" fmla="*/ 0 w 5"/>
                    <a:gd name="T17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8">
                      <a:moveTo>
                        <a:pt x="0" y="2"/>
                      </a:moveTo>
                      <a:lnTo>
                        <a:pt x="3" y="5"/>
                      </a:lnTo>
                      <a:lnTo>
                        <a:pt x="5" y="8"/>
                      </a:lnTo>
                      <a:lnTo>
                        <a:pt x="5" y="7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0" name="Freeform 129">
                  <a:extLst>
                    <a:ext uri="{FF2B5EF4-FFF2-40B4-BE49-F238E27FC236}">
                      <a16:creationId xmlns:a16="http://schemas.microsoft.com/office/drawing/2014/main" xmlns="" id="{0DB2A87B-D711-489F-AD93-7073B7E0E7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3" y="310"/>
                  <a:ext cx="7" cy="7"/>
                </a:xfrm>
                <a:custGeom>
                  <a:avLst/>
                  <a:gdLst>
                    <a:gd name="T0" fmla="*/ 0 w 7"/>
                    <a:gd name="T1" fmla="*/ 2 h 7"/>
                    <a:gd name="T2" fmla="*/ 2 w 7"/>
                    <a:gd name="T3" fmla="*/ 5 h 7"/>
                    <a:gd name="T4" fmla="*/ 5 w 7"/>
                    <a:gd name="T5" fmla="*/ 7 h 7"/>
                    <a:gd name="T6" fmla="*/ 5 w 7"/>
                    <a:gd name="T7" fmla="*/ 4 h 7"/>
                    <a:gd name="T8" fmla="*/ 7 w 7"/>
                    <a:gd name="T9" fmla="*/ 4 h 7"/>
                    <a:gd name="T10" fmla="*/ 5 w 7"/>
                    <a:gd name="T11" fmla="*/ 0 h 7"/>
                    <a:gd name="T12" fmla="*/ 4 w 7"/>
                    <a:gd name="T13" fmla="*/ 0 h 7"/>
                    <a:gd name="T14" fmla="*/ 4 w 7"/>
                    <a:gd name="T15" fmla="*/ 0 h 7"/>
                    <a:gd name="T16" fmla="*/ 0 w 7"/>
                    <a:gd name="T17" fmla="*/ 2 h 7"/>
                    <a:gd name="T18" fmla="*/ 0 w 7"/>
                    <a:gd name="T1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0" y="2"/>
                      </a:moveTo>
                      <a:lnTo>
                        <a:pt x="2" y="5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1" name="Freeform 130">
                  <a:extLst>
                    <a:ext uri="{FF2B5EF4-FFF2-40B4-BE49-F238E27FC236}">
                      <a16:creationId xmlns:a16="http://schemas.microsoft.com/office/drawing/2014/main" xmlns="" id="{A8CD1025-CF5F-4D2C-A91D-04F3B99C76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0" y="258"/>
                  <a:ext cx="21" cy="18"/>
                </a:xfrm>
                <a:custGeom>
                  <a:avLst/>
                  <a:gdLst>
                    <a:gd name="T0" fmla="*/ 12 w 21"/>
                    <a:gd name="T1" fmla="*/ 17 h 18"/>
                    <a:gd name="T2" fmla="*/ 15 w 21"/>
                    <a:gd name="T3" fmla="*/ 18 h 18"/>
                    <a:gd name="T4" fmla="*/ 20 w 21"/>
                    <a:gd name="T5" fmla="*/ 17 h 18"/>
                    <a:gd name="T6" fmla="*/ 21 w 21"/>
                    <a:gd name="T7" fmla="*/ 15 h 18"/>
                    <a:gd name="T8" fmla="*/ 20 w 21"/>
                    <a:gd name="T9" fmla="*/ 10 h 18"/>
                    <a:gd name="T10" fmla="*/ 18 w 21"/>
                    <a:gd name="T11" fmla="*/ 8 h 18"/>
                    <a:gd name="T12" fmla="*/ 18 w 21"/>
                    <a:gd name="T13" fmla="*/ 7 h 18"/>
                    <a:gd name="T14" fmla="*/ 18 w 21"/>
                    <a:gd name="T15" fmla="*/ 3 h 18"/>
                    <a:gd name="T16" fmla="*/ 15 w 21"/>
                    <a:gd name="T17" fmla="*/ 2 h 18"/>
                    <a:gd name="T18" fmla="*/ 13 w 21"/>
                    <a:gd name="T19" fmla="*/ 2 h 18"/>
                    <a:gd name="T20" fmla="*/ 12 w 21"/>
                    <a:gd name="T21" fmla="*/ 2 h 18"/>
                    <a:gd name="T22" fmla="*/ 8 w 21"/>
                    <a:gd name="T23" fmla="*/ 0 h 18"/>
                    <a:gd name="T24" fmla="*/ 5 w 21"/>
                    <a:gd name="T25" fmla="*/ 0 h 18"/>
                    <a:gd name="T26" fmla="*/ 5 w 21"/>
                    <a:gd name="T27" fmla="*/ 2 h 18"/>
                    <a:gd name="T28" fmla="*/ 2 w 21"/>
                    <a:gd name="T29" fmla="*/ 2 h 18"/>
                    <a:gd name="T30" fmla="*/ 3 w 21"/>
                    <a:gd name="T31" fmla="*/ 3 h 18"/>
                    <a:gd name="T32" fmla="*/ 0 w 21"/>
                    <a:gd name="T33" fmla="*/ 3 h 18"/>
                    <a:gd name="T34" fmla="*/ 0 w 21"/>
                    <a:gd name="T35" fmla="*/ 7 h 18"/>
                    <a:gd name="T36" fmla="*/ 0 w 21"/>
                    <a:gd name="T37" fmla="*/ 12 h 18"/>
                    <a:gd name="T38" fmla="*/ 2 w 21"/>
                    <a:gd name="T39" fmla="*/ 13 h 18"/>
                    <a:gd name="T40" fmla="*/ 3 w 21"/>
                    <a:gd name="T41" fmla="*/ 13 h 18"/>
                    <a:gd name="T42" fmla="*/ 8 w 21"/>
                    <a:gd name="T43" fmla="*/ 13 h 18"/>
                    <a:gd name="T44" fmla="*/ 12 w 21"/>
                    <a:gd name="T45" fmla="*/ 17 h 18"/>
                    <a:gd name="T46" fmla="*/ 12 w 21"/>
                    <a:gd name="T47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1" h="18">
                      <a:moveTo>
                        <a:pt x="12" y="17"/>
                      </a:moveTo>
                      <a:lnTo>
                        <a:pt x="15" y="18"/>
                      </a:lnTo>
                      <a:lnTo>
                        <a:pt x="20" y="17"/>
                      </a:lnTo>
                      <a:lnTo>
                        <a:pt x="21" y="15"/>
                      </a:lnTo>
                      <a:lnTo>
                        <a:pt x="20" y="10"/>
                      </a:lnTo>
                      <a:lnTo>
                        <a:pt x="18" y="8"/>
                      </a:lnTo>
                      <a:lnTo>
                        <a:pt x="18" y="7"/>
                      </a:lnTo>
                      <a:lnTo>
                        <a:pt x="18" y="3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2" y="13"/>
                      </a:lnTo>
                      <a:lnTo>
                        <a:pt x="3" y="13"/>
                      </a:lnTo>
                      <a:lnTo>
                        <a:pt x="8" y="13"/>
                      </a:lnTo>
                      <a:lnTo>
                        <a:pt x="12" y="17"/>
                      </a:lnTo>
                      <a:lnTo>
                        <a:pt x="12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2" name="Freeform 131">
                  <a:extLst>
                    <a:ext uri="{FF2B5EF4-FFF2-40B4-BE49-F238E27FC236}">
                      <a16:creationId xmlns:a16="http://schemas.microsoft.com/office/drawing/2014/main" xmlns="" id="{443B8D99-CE8C-4B4B-ABD4-0720268893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0" y="263"/>
                  <a:ext cx="5" cy="3"/>
                </a:xfrm>
                <a:custGeom>
                  <a:avLst/>
                  <a:gdLst>
                    <a:gd name="T0" fmla="*/ 1 w 5"/>
                    <a:gd name="T1" fmla="*/ 3 h 3"/>
                    <a:gd name="T2" fmla="*/ 3 w 5"/>
                    <a:gd name="T3" fmla="*/ 2 h 3"/>
                    <a:gd name="T4" fmla="*/ 5 w 5"/>
                    <a:gd name="T5" fmla="*/ 0 h 3"/>
                    <a:gd name="T6" fmla="*/ 1 w 5"/>
                    <a:gd name="T7" fmla="*/ 0 h 3"/>
                    <a:gd name="T8" fmla="*/ 0 w 5"/>
                    <a:gd name="T9" fmla="*/ 2 h 3"/>
                    <a:gd name="T10" fmla="*/ 1 w 5"/>
                    <a:gd name="T11" fmla="*/ 3 h 3"/>
                    <a:gd name="T12" fmla="*/ 1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1" y="3"/>
                      </a:move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3" name="Freeform 132">
                  <a:extLst>
                    <a:ext uri="{FF2B5EF4-FFF2-40B4-BE49-F238E27FC236}">
                      <a16:creationId xmlns:a16="http://schemas.microsoft.com/office/drawing/2014/main" xmlns="" id="{6AB31119-35CC-4512-84B1-47CFB4103A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9" y="900"/>
                  <a:ext cx="103" cy="234"/>
                </a:xfrm>
                <a:custGeom>
                  <a:avLst/>
                  <a:gdLst>
                    <a:gd name="T0" fmla="*/ 85 w 103"/>
                    <a:gd name="T1" fmla="*/ 227 h 234"/>
                    <a:gd name="T2" fmla="*/ 83 w 103"/>
                    <a:gd name="T3" fmla="*/ 216 h 234"/>
                    <a:gd name="T4" fmla="*/ 87 w 103"/>
                    <a:gd name="T5" fmla="*/ 216 h 234"/>
                    <a:gd name="T6" fmla="*/ 95 w 103"/>
                    <a:gd name="T7" fmla="*/ 216 h 234"/>
                    <a:gd name="T8" fmla="*/ 98 w 103"/>
                    <a:gd name="T9" fmla="*/ 218 h 234"/>
                    <a:gd name="T10" fmla="*/ 101 w 103"/>
                    <a:gd name="T11" fmla="*/ 227 h 234"/>
                    <a:gd name="T12" fmla="*/ 103 w 103"/>
                    <a:gd name="T13" fmla="*/ 224 h 234"/>
                    <a:gd name="T14" fmla="*/ 100 w 103"/>
                    <a:gd name="T15" fmla="*/ 214 h 234"/>
                    <a:gd name="T16" fmla="*/ 95 w 103"/>
                    <a:gd name="T17" fmla="*/ 209 h 234"/>
                    <a:gd name="T18" fmla="*/ 88 w 103"/>
                    <a:gd name="T19" fmla="*/ 201 h 234"/>
                    <a:gd name="T20" fmla="*/ 80 w 103"/>
                    <a:gd name="T21" fmla="*/ 193 h 234"/>
                    <a:gd name="T22" fmla="*/ 74 w 103"/>
                    <a:gd name="T23" fmla="*/ 182 h 234"/>
                    <a:gd name="T24" fmla="*/ 72 w 103"/>
                    <a:gd name="T25" fmla="*/ 165 h 234"/>
                    <a:gd name="T26" fmla="*/ 70 w 103"/>
                    <a:gd name="T27" fmla="*/ 154 h 234"/>
                    <a:gd name="T28" fmla="*/ 70 w 103"/>
                    <a:gd name="T29" fmla="*/ 144 h 234"/>
                    <a:gd name="T30" fmla="*/ 74 w 103"/>
                    <a:gd name="T31" fmla="*/ 142 h 234"/>
                    <a:gd name="T32" fmla="*/ 85 w 103"/>
                    <a:gd name="T33" fmla="*/ 146 h 234"/>
                    <a:gd name="T34" fmla="*/ 93 w 103"/>
                    <a:gd name="T35" fmla="*/ 152 h 234"/>
                    <a:gd name="T36" fmla="*/ 97 w 103"/>
                    <a:gd name="T37" fmla="*/ 154 h 234"/>
                    <a:gd name="T38" fmla="*/ 87 w 103"/>
                    <a:gd name="T39" fmla="*/ 142 h 234"/>
                    <a:gd name="T40" fmla="*/ 82 w 103"/>
                    <a:gd name="T41" fmla="*/ 134 h 234"/>
                    <a:gd name="T42" fmla="*/ 75 w 103"/>
                    <a:gd name="T43" fmla="*/ 124 h 234"/>
                    <a:gd name="T44" fmla="*/ 66 w 103"/>
                    <a:gd name="T45" fmla="*/ 107 h 234"/>
                    <a:gd name="T46" fmla="*/ 56 w 103"/>
                    <a:gd name="T47" fmla="*/ 90 h 234"/>
                    <a:gd name="T48" fmla="*/ 52 w 103"/>
                    <a:gd name="T49" fmla="*/ 82 h 234"/>
                    <a:gd name="T50" fmla="*/ 48 w 103"/>
                    <a:gd name="T51" fmla="*/ 82 h 234"/>
                    <a:gd name="T52" fmla="*/ 48 w 103"/>
                    <a:gd name="T53" fmla="*/ 75 h 234"/>
                    <a:gd name="T54" fmla="*/ 39 w 103"/>
                    <a:gd name="T55" fmla="*/ 66 h 234"/>
                    <a:gd name="T56" fmla="*/ 38 w 103"/>
                    <a:gd name="T57" fmla="*/ 58 h 234"/>
                    <a:gd name="T58" fmla="*/ 38 w 103"/>
                    <a:gd name="T59" fmla="*/ 48 h 234"/>
                    <a:gd name="T60" fmla="*/ 30 w 103"/>
                    <a:gd name="T61" fmla="*/ 40 h 234"/>
                    <a:gd name="T62" fmla="*/ 28 w 103"/>
                    <a:gd name="T63" fmla="*/ 35 h 234"/>
                    <a:gd name="T64" fmla="*/ 36 w 103"/>
                    <a:gd name="T65" fmla="*/ 41 h 234"/>
                    <a:gd name="T66" fmla="*/ 26 w 103"/>
                    <a:gd name="T67" fmla="*/ 28 h 234"/>
                    <a:gd name="T68" fmla="*/ 18 w 103"/>
                    <a:gd name="T69" fmla="*/ 20 h 234"/>
                    <a:gd name="T70" fmla="*/ 15 w 103"/>
                    <a:gd name="T71" fmla="*/ 8 h 234"/>
                    <a:gd name="T72" fmla="*/ 7 w 103"/>
                    <a:gd name="T73" fmla="*/ 0 h 234"/>
                    <a:gd name="T74" fmla="*/ 7 w 103"/>
                    <a:gd name="T75" fmla="*/ 7 h 234"/>
                    <a:gd name="T76" fmla="*/ 0 w 103"/>
                    <a:gd name="T77" fmla="*/ 5 h 234"/>
                    <a:gd name="T78" fmla="*/ 12 w 103"/>
                    <a:gd name="T79" fmla="*/ 15 h 234"/>
                    <a:gd name="T80" fmla="*/ 13 w 103"/>
                    <a:gd name="T81" fmla="*/ 18 h 234"/>
                    <a:gd name="T82" fmla="*/ 12 w 103"/>
                    <a:gd name="T83" fmla="*/ 22 h 234"/>
                    <a:gd name="T84" fmla="*/ 15 w 103"/>
                    <a:gd name="T85" fmla="*/ 28 h 234"/>
                    <a:gd name="T86" fmla="*/ 8 w 103"/>
                    <a:gd name="T87" fmla="*/ 26 h 234"/>
                    <a:gd name="T88" fmla="*/ 7 w 103"/>
                    <a:gd name="T89" fmla="*/ 36 h 234"/>
                    <a:gd name="T90" fmla="*/ 13 w 103"/>
                    <a:gd name="T91" fmla="*/ 49 h 234"/>
                    <a:gd name="T92" fmla="*/ 17 w 103"/>
                    <a:gd name="T93" fmla="*/ 62 h 234"/>
                    <a:gd name="T94" fmla="*/ 25 w 103"/>
                    <a:gd name="T95" fmla="*/ 77 h 234"/>
                    <a:gd name="T96" fmla="*/ 31 w 103"/>
                    <a:gd name="T97" fmla="*/ 87 h 234"/>
                    <a:gd name="T98" fmla="*/ 38 w 103"/>
                    <a:gd name="T99" fmla="*/ 98 h 234"/>
                    <a:gd name="T100" fmla="*/ 39 w 103"/>
                    <a:gd name="T101" fmla="*/ 111 h 234"/>
                    <a:gd name="T102" fmla="*/ 44 w 103"/>
                    <a:gd name="T103" fmla="*/ 116 h 234"/>
                    <a:gd name="T104" fmla="*/ 49 w 103"/>
                    <a:gd name="T105" fmla="*/ 129 h 234"/>
                    <a:gd name="T106" fmla="*/ 52 w 103"/>
                    <a:gd name="T107" fmla="*/ 141 h 234"/>
                    <a:gd name="T108" fmla="*/ 56 w 103"/>
                    <a:gd name="T109" fmla="*/ 156 h 234"/>
                    <a:gd name="T110" fmla="*/ 59 w 103"/>
                    <a:gd name="T111" fmla="*/ 165 h 234"/>
                    <a:gd name="T112" fmla="*/ 67 w 103"/>
                    <a:gd name="T113" fmla="*/ 180 h 234"/>
                    <a:gd name="T114" fmla="*/ 69 w 103"/>
                    <a:gd name="T115" fmla="*/ 198 h 234"/>
                    <a:gd name="T116" fmla="*/ 75 w 103"/>
                    <a:gd name="T117" fmla="*/ 209 h 234"/>
                    <a:gd name="T118" fmla="*/ 75 w 103"/>
                    <a:gd name="T119" fmla="*/ 224 h 234"/>
                    <a:gd name="T120" fmla="*/ 85 w 103"/>
                    <a:gd name="T121" fmla="*/ 234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3" h="234">
                      <a:moveTo>
                        <a:pt x="85" y="234"/>
                      </a:moveTo>
                      <a:lnTo>
                        <a:pt x="83" y="231"/>
                      </a:lnTo>
                      <a:lnTo>
                        <a:pt x="85" y="227"/>
                      </a:lnTo>
                      <a:lnTo>
                        <a:pt x="83" y="224"/>
                      </a:lnTo>
                      <a:lnTo>
                        <a:pt x="82" y="221"/>
                      </a:lnTo>
                      <a:lnTo>
                        <a:pt x="83" y="216"/>
                      </a:lnTo>
                      <a:lnTo>
                        <a:pt x="85" y="213"/>
                      </a:lnTo>
                      <a:lnTo>
                        <a:pt x="87" y="214"/>
                      </a:lnTo>
                      <a:lnTo>
                        <a:pt x="87" y="216"/>
                      </a:lnTo>
                      <a:lnTo>
                        <a:pt x="88" y="218"/>
                      </a:lnTo>
                      <a:lnTo>
                        <a:pt x="95" y="216"/>
                      </a:lnTo>
                      <a:lnTo>
                        <a:pt x="95" y="216"/>
                      </a:lnTo>
                      <a:lnTo>
                        <a:pt x="97" y="214"/>
                      </a:lnTo>
                      <a:lnTo>
                        <a:pt x="98" y="216"/>
                      </a:lnTo>
                      <a:lnTo>
                        <a:pt x="98" y="218"/>
                      </a:lnTo>
                      <a:lnTo>
                        <a:pt x="98" y="221"/>
                      </a:lnTo>
                      <a:lnTo>
                        <a:pt x="101" y="224"/>
                      </a:lnTo>
                      <a:lnTo>
                        <a:pt x="101" y="227"/>
                      </a:lnTo>
                      <a:lnTo>
                        <a:pt x="103" y="229"/>
                      </a:lnTo>
                      <a:lnTo>
                        <a:pt x="103" y="226"/>
                      </a:lnTo>
                      <a:lnTo>
                        <a:pt x="103" y="224"/>
                      </a:lnTo>
                      <a:lnTo>
                        <a:pt x="103" y="221"/>
                      </a:lnTo>
                      <a:lnTo>
                        <a:pt x="103" y="218"/>
                      </a:lnTo>
                      <a:lnTo>
                        <a:pt x="100" y="214"/>
                      </a:lnTo>
                      <a:lnTo>
                        <a:pt x="100" y="211"/>
                      </a:lnTo>
                      <a:lnTo>
                        <a:pt x="98" y="208"/>
                      </a:lnTo>
                      <a:lnTo>
                        <a:pt x="95" y="209"/>
                      </a:lnTo>
                      <a:lnTo>
                        <a:pt x="93" y="209"/>
                      </a:lnTo>
                      <a:lnTo>
                        <a:pt x="90" y="206"/>
                      </a:lnTo>
                      <a:lnTo>
                        <a:pt x="88" y="201"/>
                      </a:lnTo>
                      <a:lnTo>
                        <a:pt x="87" y="198"/>
                      </a:lnTo>
                      <a:lnTo>
                        <a:pt x="83" y="195"/>
                      </a:lnTo>
                      <a:lnTo>
                        <a:pt x="80" y="193"/>
                      </a:lnTo>
                      <a:lnTo>
                        <a:pt x="79" y="191"/>
                      </a:lnTo>
                      <a:lnTo>
                        <a:pt x="77" y="185"/>
                      </a:lnTo>
                      <a:lnTo>
                        <a:pt x="74" y="182"/>
                      </a:lnTo>
                      <a:lnTo>
                        <a:pt x="74" y="177"/>
                      </a:lnTo>
                      <a:lnTo>
                        <a:pt x="74" y="172"/>
                      </a:lnTo>
                      <a:lnTo>
                        <a:pt x="72" y="165"/>
                      </a:lnTo>
                      <a:lnTo>
                        <a:pt x="70" y="162"/>
                      </a:lnTo>
                      <a:lnTo>
                        <a:pt x="72" y="157"/>
                      </a:lnTo>
                      <a:lnTo>
                        <a:pt x="70" y="154"/>
                      </a:lnTo>
                      <a:lnTo>
                        <a:pt x="69" y="149"/>
                      </a:lnTo>
                      <a:lnTo>
                        <a:pt x="70" y="147"/>
                      </a:lnTo>
                      <a:lnTo>
                        <a:pt x="70" y="144"/>
                      </a:lnTo>
                      <a:lnTo>
                        <a:pt x="70" y="142"/>
                      </a:lnTo>
                      <a:lnTo>
                        <a:pt x="72" y="142"/>
                      </a:lnTo>
                      <a:lnTo>
                        <a:pt x="74" y="142"/>
                      </a:lnTo>
                      <a:lnTo>
                        <a:pt x="77" y="142"/>
                      </a:lnTo>
                      <a:lnTo>
                        <a:pt x="82" y="142"/>
                      </a:lnTo>
                      <a:lnTo>
                        <a:pt x="85" y="146"/>
                      </a:lnTo>
                      <a:lnTo>
                        <a:pt x="87" y="149"/>
                      </a:lnTo>
                      <a:lnTo>
                        <a:pt x="90" y="151"/>
                      </a:lnTo>
                      <a:lnTo>
                        <a:pt x="93" y="152"/>
                      </a:lnTo>
                      <a:lnTo>
                        <a:pt x="97" y="157"/>
                      </a:lnTo>
                      <a:lnTo>
                        <a:pt x="98" y="159"/>
                      </a:lnTo>
                      <a:lnTo>
                        <a:pt x="97" y="154"/>
                      </a:lnTo>
                      <a:lnTo>
                        <a:pt x="93" y="151"/>
                      </a:lnTo>
                      <a:lnTo>
                        <a:pt x="88" y="147"/>
                      </a:lnTo>
                      <a:lnTo>
                        <a:pt x="87" y="142"/>
                      </a:lnTo>
                      <a:lnTo>
                        <a:pt x="83" y="138"/>
                      </a:lnTo>
                      <a:lnTo>
                        <a:pt x="83" y="136"/>
                      </a:lnTo>
                      <a:lnTo>
                        <a:pt x="82" y="134"/>
                      </a:lnTo>
                      <a:lnTo>
                        <a:pt x="79" y="129"/>
                      </a:lnTo>
                      <a:lnTo>
                        <a:pt x="77" y="124"/>
                      </a:lnTo>
                      <a:lnTo>
                        <a:pt x="75" y="124"/>
                      </a:lnTo>
                      <a:lnTo>
                        <a:pt x="75" y="121"/>
                      </a:lnTo>
                      <a:lnTo>
                        <a:pt x="70" y="115"/>
                      </a:lnTo>
                      <a:lnTo>
                        <a:pt x="66" y="107"/>
                      </a:lnTo>
                      <a:lnTo>
                        <a:pt x="64" y="103"/>
                      </a:lnTo>
                      <a:lnTo>
                        <a:pt x="59" y="95"/>
                      </a:lnTo>
                      <a:lnTo>
                        <a:pt x="56" y="90"/>
                      </a:lnTo>
                      <a:lnTo>
                        <a:pt x="54" y="89"/>
                      </a:lnTo>
                      <a:lnTo>
                        <a:pt x="54" y="85"/>
                      </a:lnTo>
                      <a:lnTo>
                        <a:pt x="52" y="82"/>
                      </a:lnTo>
                      <a:lnTo>
                        <a:pt x="49" y="80"/>
                      </a:lnTo>
                      <a:lnTo>
                        <a:pt x="49" y="82"/>
                      </a:lnTo>
                      <a:lnTo>
                        <a:pt x="48" y="82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8" y="75"/>
                      </a:lnTo>
                      <a:lnTo>
                        <a:pt x="44" y="74"/>
                      </a:lnTo>
                      <a:lnTo>
                        <a:pt x="41" y="71"/>
                      </a:lnTo>
                      <a:lnTo>
                        <a:pt x="39" y="66"/>
                      </a:lnTo>
                      <a:lnTo>
                        <a:pt x="38" y="64"/>
                      </a:lnTo>
                      <a:lnTo>
                        <a:pt x="38" y="61"/>
                      </a:lnTo>
                      <a:lnTo>
                        <a:pt x="38" y="58"/>
                      </a:lnTo>
                      <a:lnTo>
                        <a:pt x="39" y="58"/>
                      </a:lnTo>
                      <a:lnTo>
                        <a:pt x="38" y="54"/>
                      </a:lnTo>
                      <a:lnTo>
                        <a:pt x="38" y="48"/>
                      </a:lnTo>
                      <a:lnTo>
                        <a:pt x="36" y="44"/>
                      </a:lnTo>
                      <a:lnTo>
                        <a:pt x="33" y="43"/>
                      </a:lnTo>
                      <a:lnTo>
                        <a:pt x="30" y="40"/>
                      </a:lnTo>
                      <a:lnTo>
                        <a:pt x="30" y="38"/>
                      </a:lnTo>
                      <a:lnTo>
                        <a:pt x="28" y="36"/>
                      </a:lnTo>
                      <a:lnTo>
                        <a:pt x="28" y="35"/>
                      </a:lnTo>
                      <a:lnTo>
                        <a:pt x="30" y="33"/>
                      </a:lnTo>
                      <a:lnTo>
                        <a:pt x="33" y="36"/>
                      </a:lnTo>
                      <a:lnTo>
                        <a:pt x="36" y="41"/>
                      </a:lnTo>
                      <a:lnTo>
                        <a:pt x="34" y="38"/>
                      </a:lnTo>
                      <a:lnTo>
                        <a:pt x="31" y="31"/>
                      </a:lnTo>
                      <a:lnTo>
                        <a:pt x="26" y="28"/>
                      </a:lnTo>
                      <a:lnTo>
                        <a:pt x="25" y="28"/>
                      </a:lnTo>
                      <a:lnTo>
                        <a:pt x="25" y="25"/>
                      </a:lnTo>
                      <a:lnTo>
                        <a:pt x="18" y="20"/>
                      </a:lnTo>
                      <a:lnTo>
                        <a:pt x="17" y="17"/>
                      </a:lnTo>
                      <a:lnTo>
                        <a:pt x="17" y="10"/>
                      </a:lnTo>
                      <a:lnTo>
                        <a:pt x="15" y="8"/>
                      </a:lnTo>
                      <a:lnTo>
                        <a:pt x="10" y="7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3" y="10"/>
                      </a:lnTo>
                      <a:lnTo>
                        <a:pt x="10" y="13"/>
                      </a:lnTo>
                      <a:lnTo>
                        <a:pt x="12" y="15"/>
                      </a:lnTo>
                      <a:lnTo>
                        <a:pt x="10" y="20"/>
                      </a:lnTo>
                      <a:lnTo>
                        <a:pt x="12" y="18"/>
                      </a:lnTo>
                      <a:lnTo>
                        <a:pt x="13" y="18"/>
                      </a:lnTo>
                      <a:lnTo>
                        <a:pt x="15" y="20"/>
                      </a:lnTo>
                      <a:lnTo>
                        <a:pt x="13" y="22"/>
                      </a:lnTo>
                      <a:lnTo>
                        <a:pt x="12" y="22"/>
                      </a:lnTo>
                      <a:lnTo>
                        <a:pt x="12" y="25"/>
                      </a:lnTo>
                      <a:lnTo>
                        <a:pt x="13" y="25"/>
                      </a:lnTo>
                      <a:lnTo>
                        <a:pt x="15" y="28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8" y="26"/>
                      </a:lnTo>
                      <a:lnTo>
                        <a:pt x="7" y="28"/>
                      </a:lnTo>
                      <a:lnTo>
                        <a:pt x="3" y="33"/>
                      </a:lnTo>
                      <a:lnTo>
                        <a:pt x="7" y="36"/>
                      </a:lnTo>
                      <a:lnTo>
                        <a:pt x="8" y="40"/>
                      </a:lnTo>
                      <a:lnTo>
                        <a:pt x="12" y="43"/>
                      </a:lnTo>
                      <a:lnTo>
                        <a:pt x="13" y="49"/>
                      </a:lnTo>
                      <a:lnTo>
                        <a:pt x="15" y="56"/>
                      </a:lnTo>
                      <a:lnTo>
                        <a:pt x="15" y="58"/>
                      </a:lnTo>
                      <a:lnTo>
                        <a:pt x="17" y="62"/>
                      </a:lnTo>
                      <a:lnTo>
                        <a:pt x="18" y="71"/>
                      </a:lnTo>
                      <a:lnTo>
                        <a:pt x="21" y="75"/>
                      </a:lnTo>
                      <a:lnTo>
                        <a:pt x="25" y="77"/>
                      </a:lnTo>
                      <a:lnTo>
                        <a:pt x="25" y="79"/>
                      </a:lnTo>
                      <a:lnTo>
                        <a:pt x="23" y="79"/>
                      </a:lnTo>
                      <a:lnTo>
                        <a:pt x="31" y="87"/>
                      </a:lnTo>
                      <a:lnTo>
                        <a:pt x="33" y="89"/>
                      </a:lnTo>
                      <a:lnTo>
                        <a:pt x="36" y="93"/>
                      </a:lnTo>
                      <a:lnTo>
                        <a:pt x="38" y="98"/>
                      </a:lnTo>
                      <a:lnTo>
                        <a:pt x="38" y="103"/>
                      </a:lnTo>
                      <a:lnTo>
                        <a:pt x="39" y="108"/>
                      </a:lnTo>
                      <a:lnTo>
                        <a:pt x="39" y="111"/>
                      </a:lnTo>
                      <a:lnTo>
                        <a:pt x="43" y="113"/>
                      </a:lnTo>
                      <a:lnTo>
                        <a:pt x="46" y="116"/>
                      </a:lnTo>
                      <a:lnTo>
                        <a:pt x="44" y="116"/>
                      </a:lnTo>
                      <a:lnTo>
                        <a:pt x="46" y="120"/>
                      </a:lnTo>
                      <a:lnTo>
                        <a:pt x="49" y="124"/>
                      </a:lnTo>
                      <a:lnTo>
                        <a:pt x="49" y="129"/>
                      </a:lnTo>
                      <a:lnTo>
                        <a:pt x="51" y="133"/>
                      </a:lnTo>
                      <a:lnTo>
                        <a:pt x="51" y="139"/>
                      </a:lnTo>
                      <a:lnTo>
                        <a:pt x="52" y="141"/>
                      </a:lnTo>
                      <a:lnTo>
                        <a:pt x="52" y="144"/>
                      </a:lnTo>
                      <a:lnTo>
                        <a:pt x="52" y="149"/>
                      </a:lnTo>
                      <a:lnTo>
                        <a:pt x="56" y="156"/>
                      </a:lnTo>
                      <a:lnTo>
                        <a:pt x="54" y="159"/>
                      </a:lnTo>
                      <a:lnTo>
                        <a:pt x="56" y="162"/>
                      </a:lnTo>
                      <a:lnTo>
                        <a:pt x="59" y="165"/>
                      </a:lnTo>
                      <a:lnTo>
                        <a:pt x="64" y="174"/>
                      </a:lnTo>
                      <a:lnTo>
                        <a:pt x="64" y="177"/>
                      </a:lnTo>
                      <a:lnTo>
                        <a:pt x="67" y="180"/>
                      </a:lnTo>
                      <a:lnTo>
                        <a:pt x="66" y="187"/>
                      </a:lnTo>
                      <a:lnTo>
                        <a:pt x="67" y="193"/>
                      </a:lnTo>
                      <a:lnTo>
                        <a:pt x="69" y="198"/>
                      </a:lnTo>
                      <a:lnTo>
                        <a:pt x="70" y="201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4" y="214"/>
                      </a:lnTo>
                      <a:lnTo>
                        <a:pt x="74" y="221"/>
                      </a:lnTo>
                      <a:lnTo>
                        <a:pt x="75" y="224"/>
                      </a:lnTo>
                      <a:lnTo>
                        <a:pt x="79" y="227"/>
                      </a:lnTo>
                      <a:lnTo>
                        <a:pt x="80" y="232"/>
                      </a:lnTo>
                      <a:lnTo>
                        <a:pt x="85" y="234"/>
                      </a:lnTo>
                      <a:lnTo>
                        <a:pt x="85" y="23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4" name="Freeform 133">
                  <a:extLst>
                    <a:ext uri="{FF2B5EF4-FFF2-40B4-BE49-F238E27FC236}">
                      <a16:creationId xmlns:a16="http://schemas.microsoft.com/office/drawing/2014/main" xmlns="" id="{528B8129-2E66-4270-9F54-7EBB048200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9" y="892"/>
                  <a:ext cx="15" cy="15"/>
                </a:xfrm>
                <a:custGeom>
                  <a:avLst/>
                  <a:gdLst>
                    <a:gd name="T0" fmla="*/ 3 w 15"/>
                    <a:gd name="T1" fmla="*/ 13 h 15"/>
                    <a:gd name="T2" fmla="*/ 3 w 15"/>
                    <a:gd name="T3" fmla="*/ 13 h 15"/>
                    <a:gd name="T4" fmla="*/ 5 w 15"/>
                    <a:gd name="T5" fmla="*/ 12 h 15"/>
                    <a:gd name="T6" fmla="*/ 5 w 15"/>
                    <a:gd name="T7" fmla="*/ 10 h 15"/>
                    <a:gd name="T8" fmla="*/ 7 w 15"/>
                    <a:gd name="T9" fmla="*/ 12 h 15"/>
                    <a:gd name="T10" fmla="*/ 8 w 15"/>
                    <a:gd name="T11" fmla="*/ 13 h 15"/>
                    <a:gd name="T12" fmla="*/ 12 w 15"/>
                    <a:gd name="T13" fmla="*/ 15 h 15"/>
                    <a:gd name="T14" fmla="*/ 13 w 15"/>
                    <a:gd name="T15" fmla="*/ 12 h 15"/>
                    <a:gd name="T16" fmla="*/ 13 w 15"/>
                    <a:gd name="T17" fmla="*/ 10 h 15"/>
                    <a:gd name="T18" fmla="*/ 13 w 15"/>
                    <a:gd name="T19" fmla="*/ 8 h 15"/>
                    <a:gd name="T20" fmla="*/ 13 w 15"/>
                    <a:gd name="T21" fmla="*/ 7 h 15"/>
                    <a:gd name="T22" fmla="*/ 15 w 15"/>
                    <a:gd name="T23" fmla="*/ 5 h 15"/>
                    <a:gd name="T24" fmla="*/ 15 w 15"/>
                    <a:gd name="T25" fmla="*/ 3 h 15"/>
                    <a:gd name="T26" fmla="*/ 13 w 15"/>
                    <a:gd name="T27" fmla="*/ 3 h 15"/>
                    <a:gd name="T28" fmla="*/ 12 w 15"/>
                    <a:gd name="T29" fmla="*/ 5 h 15"/>
                    <a:gd name="T30" fmla="*/ 10 w 15"/>
                    <a:gd name="T31" fmla="*/ 7 h 15"/>
                    <a:gd name="T32" fmla="*/ 10 w 15"/>
                    <a:gd name="T33" fmla="*/ 5 h 15"/>
                    <a:gd name="T34" fmla="*/ 12 w 15"/>
                    <a:gd name="T35" fmla="*/ 3 h 15"/>
                    <a:gd name="T36" fmla="*/ 12 w 15"/>
                    <a:gd name="T37" fmla="*/ 2 h 15"/>
                    <a:gd name="T38" fmla="*/ 10 w 15"/>
                    <a:gd name="T39" fmla="*/ 2 h 15"/>
                    <a:gd name="T40" fmla="*/ 7 w 15"/>
                    <a:gd name="T41" fmla="*/ 2 h 15"/>
                    <a:gd name="T42" fmla="*/ 5 w 15"/>
                    <a:gd name="T43" fmla="*/ 0 h 15"/>
                    <a:gd name="T44" fmla="*/ 3 w 15"/>
                    <a:gd name="T45" fmla="*/ 2 h 15"/>
                    <a:gd name="T46" fmla="*/ 2 w 15"/>
                    <a:gd name="T47" fmla="*/ 5 h 15"/>
                    <a:gd name="T48" fmla="*/ 0 w 15"/>
                    <a:gd name="T49" fmla="*/ 7 h 15"/>
                    <a:gd name="T50" fmla="*/ 0 w 15"/>
                    <a:gd name="T51" fmla="*/ 10 h 15"/>
                    <a:gd name="T52" fmla="*/ 3 w 15"/>
                    <a:gd name="T53" fmla="*/ 13 h 15"/>
                    <a:gd name="T54" fmla="*/ 3 w 15"/>
                    <a:gd name="T55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5" h="15"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5" y="12"/>
                      </a:lnTo>
                      <a:lnTo>
                        <a:pt x="5" y="10"/>
                      </a:lnTo>
                      <a:lnTo>
                        <a:pt x="7" y="12"/>
                      </a:lnTo>
                      <a:lnTo>
                        <a:pt x="8" y="13"/>
                      </a:lnTo>
                      <a:lnTo>
                        <a:pt x="12" y="15"/>
                      </a:lnTo>
                      <a:lnTo>
                        <a:pt x="13" y="12"/>
                      </a:lnTo>
                      <a:lnTo>
                        <a:pt x="13" y="10"/>
                      </a:lnTo>
                      <a:lnTo>
                        <a:pt x="13" y="8"/>
                      </a:lnTo>
                      <a:lnTo>
                        <a:pt x="13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3"/>
                      </a:lnTo>
                      <a:lnTo>
                        <a:pt x="12" y="5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3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3" y="13"/>
                      </a:lnTo>
                      <a:lnTo>
                        <a:pt x="3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5" name="Freeform 134">
                  <a:extLst>
                    <a:ext uri="{FF2B5EF4-FFF2-40B4-BE49-F238E27FC236}">
                      <a16:creationId xmlns:a16="http://schemas.microsoft.com/office/drawing/2014/main" xmlns="" id="{8F2063EC-0209-45A4-8260-6D6CF86EEC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1" y="895"/>
                  <a:ext cx="7" cy="9"/>
                </a:xfrm>
                <a:custGeom>
                  <a:avLst/>
                  <a:gdLst>
                    <a:gd name="T0" fmla="*/ 0 w 7"/>
                    <a:gd name="T1" fmla="*/ 9 h 9"/>
                    <a:gd name="T2" fmla="*/ 2 w 7"/>
                    <a:gd name="T3" fmla="*/ 7 h 9"/>
                    <a:gd name="T4" fmla="*/ 2 w 7"/>
                    <a:gd name="T5" fmla="*/ 7 h 9"/>
                    <a:gd name="T6" fmla="*/ 3 w 7"/>
                    <a:gd name="T7" fmla="*/ 5 h 9"/>
                    <a:gd name="T8" fmla="*/ 5 w 7"/>
                    <a:gd name="T9" fmla="*/ 7 h 9"/>
                    <a:gd name="T10" fmla="*/ 5 w 7"/>
                    <a:gd name="T11" fmla="*/ 7 h 9"/>
                    <a:gd name="T12" fmla="*/ 5 w 7"/>
                    <a:gd name="T13" fmla="*/ 4 h 9"/>
                    <a:gd name="T14" fmla="*/ 7 w 7"/>
                    <a:gd name="T15" fmla="*/ 2 h 9"/>
                    <a:gd name="T16" fmla="*/ 5 w 7"/>
                    <a:gd name="T17" fmla="*/ 0 h 9"/>
                    <a:gd name="T18" fmla="*/ 5 w 7"/>
                    <a:gd name="T19" fmla="*/ 0 h 9"/>
                    <a:gd name="T20" fmla="*/ 3 w 7"/>
                    <a:gd name="T21" fmla="*/ 2 h 9"/>
                    <a:gd name="T22" fmla="*/ 0 w 7"/>
                    <a:gd name="T23" fmla="*/ 4 h 9"/>
                    <a:gd name="T24" fmla="*/ 0 w 7"/>
                    <a:gd name="T25" fmla="*/ 5 h 9"/>
                    <a:gd name="T26" fmla="*/ 0 w 7"/>
                    <a:gd name="T27" fmla="*/ 9 h 9"/>
                    <a:gd name="T28" fmla="*/ 0 w 7"/>
                    <a:gd name="T2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9">
                      <a:moveTo>
                        <a:pt x="0" y="9"/>
                      </a:move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3" y="5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6" name="Freeform 135">
                  <a:extLst>
                    <a:ext uri="{FF2B5EF4-FFF2-40B4-BE49-F238E27FC236}">
                      <a16:creationId xmlns:a16="http://schemas.microsoft.com/office/drawing/2014/main" xmlns="" id="{325D2CCA-2B64-40E9-AFDA-8FA6387020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4" y="910"/>
                  <a:ext cx="1" cy="5"/>
                </a:xfrm>
                <a:custGeom>
                  <a:avLst/>
                  <a:gdLst>
                    <a:gd name="T0" fmla="*/ 0 w 1"/>
                    <a:gd name="T1" fmla="*/ 3 h 5"/>
                    <a:gd name="T2" fmla="*/ 0 w 1"/>
                    <a:gd name="T3" fmla="*/ 5 h 5"/>
                    <a:gd name="T4" fmla="*/ 1 w 1"/>
                    <a:gd name="T5" fmla="*/ 3 h 5"/>
                    <a:gd name="T6" fmla="*/ 1 w 1"/>
                    <a:gd name="T7" fmla="*/ 2 h 5"/>
                    <a:gd name="T8" fmla="*/ 0 w 1"/>
                    <a:gd name="T9" fmla="*/ 0 h 5"/>
                    <a:gd name="T10" fmla="*/ 0 w 1"/>
                    <a:gd name="T11" fmla="*/ 0 h 5"/>
                    <a:gd name="T12" fmla="*/ 0 w 1"/>
                    <a:gd name="T13" fmla="*/ 2 h 5"/>
                    <a:gd name="T14" fmla="*/ 0 w 1"/>
                    <a:gd name="T15" fmla="*/ 3 h 5"/>
                    <a:gd name="T16" fmla="*/ 0 w 1"/>
                    <a:gd name="T1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5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7" name="Freeform 136">
                  <a:extLst>
                    <a:ext uri="{FF2B5EF4-FFF2-40B4-BE49-F238E27FC236}">
                      <a16:creationId xmlns:a16="http://schemas.microsoft.com/office/drawing/2014/main" xmlns="" id="{E32D5C78-77F1-4005-B343-23814D5808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1" y="910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2 h 3"/>
                    <a:gd name="T4" fmla="*/ 0 w 1"/>
                    <a:gd name="T5" fmla="*/ 3 h 3"/>
                    <a:gd name="T6" fmla="*/ 1 w 1"/>
                    <a:gd name="T7" fmla="*/ 2 h 3"/>
                    <a:gd name="T8" fmla="*/ 1 w 1"/>
                    <a:gd name="T9" fmla="*/ 0 h 3"/>
                    <a:gd name="T10" fmla="*/ 0 w 1"/>
                    <a:gd name="T11" fmla="*/ 0 h 3"/>
                    <a:gd name="T12" fmla="*/ 0 w 1"/>
                    <a:gd name="T13" fmla="*/ 0 h 3"/>
                    <a:gd name="T14" fmla="*/ 0 w 1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8" name="Freeform 137">
                  <a:extLst>
                    <a:ext uri="{FF2B5EF4-FFF2-40B4-BE49-F238E27FC236}">
                      <a16:creationId xmlns:a16="http://schemas.microsoft.com/office/drawing/2014/main" xmlns="" id="{8266CD0C-1299-4A41-A18F-0DEAFEC4B1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7" y="917"/>
                  <a:ext cx="8" cy="8"/>
                </a:xfrm>
                <a:custGeom>
                  <a:avLst/>
                  <a:gdLst>
                    <a:gd name="T0" fmla="*/ 4 w 8"/>
                    <a:gd name="T1" fmla="*/ 8 h 8"/>
                    <a:gd name="T2" fmla="*/ 5 w 8"/>
                    <a:gd name="T3" fmla="*/ 5 h 8"/>
                    <a:gd name="T4" fmla="*/ 7 w 8"/>
                    <a:gd name="T5" fmla="*/ 5 h 8"/>
                    <a:gd name="T6" fmla="*/ 8 w 8"/>
                    <a:gd name="T7" fmla="*/ 1 h 8"/>
                    <a:gd name="T8" fmla="*/ 7 w 8"/>
                    <a:gd name="T9" fmla="*/ 1 h 8"/>
                    <a:gd name="T10" fmla="*/ 8 w 8"/>
                    <a:gd name="T11" fmla="*/ 0 h 8"/>
                    <a:gd name="T12" fmla="*/ 4 w 8"/>
                    <a:gd name="T13" fmla="*/ 0 h 8"/>
                    <a:gd name="T14" fmla="*/ 0 w 8"/>
                    <a:gd name="T15" fmla="*/ 5 h 8"/>
                    <a:gd name="T16" fmla="*/ 2 w 8"/>
                    <a:gd name="T17" fmla="*/ 6 h 8"/>
                    <a:gd name="T18" fmla="*/ 4 w 8"/>
                    <a:gd name="T19" fmla="*/ 8 h 8"/>
                    <a:gd name="T20" fmla="*/ 4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4" y="8"/>
                      </a:moveTo>
                      <a:lnTo>
                        <a:pt x="5" y="5"/>
                      </a:lnTo>
                      <a:lnTo>
                        <a:pt x="7" y="5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49" name="Freeform 138">
                  <a:extLst>
                    <a:ext uri="{FF2B5EF4-FFF2-40B4-BE49-F238E27FC236}">
                      <a16:creationId xmlns:a16="http://schemas.microsoft.com/office/drawing/2014/main" xmlns="" id="{0D62C53F-DEF4-4C96-BB01-476E580AF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1" y="730"/>
                  <a:ext cx="5" cy="5"/>
                </a:xfrm>
                <a:custGeom>
                  <a:avLst/>
                  <a:gdLst>
                    <a:gd name="T0" fmla="*/ 0 w 5"/>
                    <a:gd name="T1" fmla="*/ 5 h 5"/>
                    <a:gd name="T2" fmla="*/ 2 w 5"/>
                    <a:gd name="T3" fmla="*/ 5 h 5"/>
                    <a:gd name="T4" fmla="*/ 4 w 5"/>
                    <a:gd name="T5" fmla="*/ 2 h 5"/>
                    <a:gd name="T6" fmla="*/ 5 w 5"/>
                    <a:gd name="T7" fmla="*/ 0 h 5"/>
                    <a:gd name="T8" fmla="*/ 2 w 5"/>
                    <a:gd name="T9" fmla="*/ 0 h 5"/>
                    <a:gd name="T10" fmla="*/ 0 w 5"/>
                    <a:gd name="T11" fmla="*/ 4 h 5"/>
                    <a:gd name="T12" fmla="*/ 0 w 5"/>
                    <a:gd name="T13" fmla="*/ 5 h 5"/>
                    <a:gd name="T14" fmla="*/ 0 w 5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0" y="5"/>
                      </a:move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0" name="Freeform 139">
                  <a:extLst>
                    <a:ext uri="{FF2B5EF4-FFF2-40B4-BE49-F238E27FC236}">
                      <a16:creationId xmlns:a16="http://schemas.microsoft.com/office/drawing/2014/main" xmlns="" id="{DC6DFCE0-5997-4E04-AC5F-4E899285B5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683"/>
                  <a:ext cx="18" cy="33"/>
                </a:xfrm>
                <a:custGeom>
                  <a:avLst/>
                  <a:gdLst>
                    <a:gd name="T0" fmla="*/ 10 w 18"/>
                    <a:gd name="T1" fmla="*/ 33 h 33"/>
                    <a:gd name="T2" fmla="*/ 10 w 18"/>
                    <a:gd name="T3" fmla="*/ 33 h 33"/>
                    <a:gd name="T4" fmla="*/ 10 w 18"/>
                    <a:gd name="T5" fmla="*/ 29 h 33"/>
                    <a:gd name="T6" fmla="*/ 8 w 18"/>
                    <a:gd name="T7" fmla="*/ 26 h 33"/>
                    <a:gd name="T8" fmla="*/ 10 w 18"/>
                    <a:gd name="T9" fmla="*/ 25 h 33"/>
                    <a:gd name="T10" fmla="*/ 10 w 18"/>
                    <a:gd name="T11" fmla="*/ 23 h 33"/>
                    <a:gd name="T12" fmla="*/ 11 w 18"/>
                    <a:gd name="T13" fmla="*/ 18 h 33"/>
                    <a:gd name="T14" fmla="*/ 13 w 18"/>
                    <a:gd name="T15" fmla="*/ 16 h 33"/>
                    <a:gd name="T16" fmla="*/ 18 w 18"/>
                    <a:gd name="T17" fmla="*/ 13 h 33"/>
                    <a:gd name="T18" fmla="*/ 18 w 18"/>
                    <a:gd name="T19" fmla="*/ 11 h 33"/>
                    <a:gd name="T20" fmla="*/ 18 w 18"/>
                    <a:gd name="T21" fmla="*/ 8 h 33"/>
                    <a:gd name="T22" fmla="*/ 16 w 18"/>
                    <a:gd name="T23" fmla="*/ 5 h 33"/>
                    <a:gd name="T24" fmla="*/ 13 w 18"/>
                    <a:gd name="T25" fmla="*/ 0 h 33"/>
                    <a:gd name="T26" fmla="*/ 11 w 18"/>
                    <a:gd name="T27" fmla="*/ 0 h 33"/>
                    <a:gd name="T28" fmla="*/ 10 w 18"/>
                    <a:gd name="T29" fmla="*/ 2 h 33"/>
                    <a:gd name="T30" fmla="*/ 8 w 18"/>
                    <a:gd name="T31" fmla="*/ 3 h 33"/>
                    <a:gd name="T32" fmla="*/ 8 w 18"/>
                    <a:gd name="T33" fmla="*/ 3 h 33"/>
                    <a:gd name="T34" fmla="*/ 3 w 18"/>
                    <a:gd name="T35" fmla="*/ 8 h 33"/>
                    <a:gd name="T36" fmla="*/ 2 w 18"/>
                    <a:gd name="T37" fmla="*/ 10 h 33"/>
                    <a:gd name="T38" fmla="*/ 0 w 18"/>
                    <a:gd name="T39" fmla="*/ 11 h 33"/>
                    <a:gd name="T40" fmla="*/ 2 w 18"/>
                    <a:gd name="T41" fmla="*/ 11 h 33"/>
                    <a:gd name="T42" fmla="*/ 5 w 18"/>
                    <a:gd name="T43" fmla="*/ 11 h 33"/>
                    <a:gd name="T44" fmla="*/ 5 w 18"/>
                    <a:gd name="T45" fmla="*/ 11 h 33"/>
                    <a:gd name="T46" fmla="*/ 5 w 18"/>
                    <a:gd name="T47" fmla="*/ 15 h 33"/>
                    <a:gd name="T48" fmla="*/ 5 w 18"/>
                    <a:gd name="T49" fmla="*/ 20 h 33"/>
                    <a:gd name="T50" fmla="*/ 7 w 18"/>
                    <a:gd name="T51" fmla="*/ 21 h 33"/>
                    <a:gd name="T52" fmla="*/ 7 w 18"/>
                    <a:gd name="T53" fmla="*/ 26 h 33"/>
                    <a:gd name="T54" fmla="*/ 7 w 18"/>
                    <a:gd name="T55" fmla="*/ 28 h 33"/>
                    <a:gd name="T56" fmla="*/ 7 w 18"/>
                    <a:gd name="T57" fmla="*/ 29 h 33"/>
                    <a:gd name="T58" fmla="*/ 10 w 18"/>
                    <a:gd name="T59" fmla="*/ 33 h 33"/>
                    <a:gd name="T60" fmla="*/ 10 w 18"/>
                    <a:gd name="T61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8" h="33">
                      <a:moveTo>
                        <a:pt x="10" y="33"/>
                      </a:moveTo>
                      <a:lnTo>
                        <a:pt x="10" y="33"/>
                      </a:lnTo>
                      <a:lnTo>
                        <a:pt x="10" y="29"/>
                      </a:lnTo>
                      <a:lnTo>
                        <a:pt x="8" y="26"/>
                      </a:lnTo>
                      <a:lnTo>
                        <a:pt x="10" y="25"/>
                      </a:lnTo>
                      <a:lnTo>
                        <a:pt x="10" y="23"/>
                      </a:lnTo>
                      <a:lnTo>
                        <a:pt x="11" y="18"/>
                      </a:lnTo>
                      <a:lnTo>
                        <a:pt x="13" y="16"/>
                      </a:lnTo>
                      <a:lnTo>
                        <a:pt x="18" y="13"/>
                      </a:lnTo>
                      <a:lnTo>
                        <a:pt x="18" y="11"/>
                      </a:lnTo>
                      <a:lnTo>
                        <a:pt x="18" y="8"/>
                      </a:lnTo>
                      <a:lnTo>
                        <a:pt x="16" y="5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0" y="2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3" y="8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2" y="11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5" y="15"/>
                      </a:lnTo>
                      <a:lnTo>
                        <a:pt x="5" y="20"/>
                      </a:lnTo>
                      <a:lnTo>
                        <a:pt x="7" y="21"/>
                      </a:lnTo>
                      <a:lnTo>
                        <a:pt x="7" y="26"/>
                      </a:lnTo>
                      <a:lnTo>
                        <a:pt x="7" y="28"/>
                      </a:lnTo>
                      <a:lnTo>
                        <a:pt x="7" y="29"/>
                      </a:lnTo>
                      <a:lnTo>
                        <a:pt x="10" y="33"/>
                      </a:lnTo>
                      <a:lnTo>
                        <a:pt x="10" y="3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1" name="Freeform 140">
                  <a:extLst>
                    <a:ext uri="{FF2B5EF4-FFF2-40B4-BE49-F238E27FC236}">
                      <a16:creationId xmlns:a16="http://schemas.microsoft.com/office/drawing/2014/main" xmlns="" id="{4EF86BCC-9213-4C36-B58F-E58E87044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8" y="817"/>
                  <a:ext cx="20" cy="10"/>
                </a:xfrm>
                <a:custGeom>
                  <a:avLst/>
                  <a:gdLst>
                    <a:gd name="T0" fmla="*/ 0 w 20"/>
                    <a:gd name="T1" fmla="*/ 0 h 10"/>
                    <a:gd name="T2" fmla="*/ 2 w 20"/>
                    <a:gd name="T3" fmla="*/ 3 h 10"/>
                    <a:gd name="T4" fmla="*/ 5 w 20"/>
                    <a:gd name="T5" fmla="*/ 3 h 10"/>
                    <a:gd name="T6" fmla="*/ 9 w 20"/>
                    <a:gd name="T7" fmla="*/ 7 h 10"/>
                    <a:gd name="T8" fmla="*/ 14 w 20"/>
                    <a:gd name="T9" fmla="*/ 8 h 10"/>
                    <a:gd name="T10" fmla="*/ 15 w 20"/>
                    <a:gd name="T11" fmla="*/ 10 h 10"/>
                    <a:gd name="T12" fmla="*/ 20 w 20"/>
                    <a:gd name="T13" fmla="*/ 8 h 10"/>
                    <a:gd name="T14" fmla="*/ 18 w 20"/>
                    <a:gd name="T15" fmla="*/ 7 h 10"/>
                    <a:gd name="T16" fmla="*/ 14 w 20"/>
                    <a:gd name="T17" fmla="*/ 5 h 10"/>
                    <a:gd name="T18" fmla="*/ 12 w 20"/>
                    <a:gd name="T19" fmla="*/ 3 h 10"/>
                    <a:gd name="T20" fmla="*/ 9 w 20"/>
                    <a:gd name="T21" fmla="*/ 3 h 10"/>
                    <a:gd name="T22" fmla="*/ 7 w 20"/>
                    <a:gd name="T23" fmla="*/ 0 h 10"/>
                    <a:gd name="T24" fmla="*/ 2 w 20"/>
                    <a:gd name="T25" fmla="*/ 0 h 10"/>
                    <a:gd name="T26" fmla="*/ 0 w 20"/>
                    <a:gd name="T27" fmla="*/ 0 h 10"/>
                    <a:gd name="T28" fmla="*/ 0 w 20"/>
                    <a:gd name="T29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" h="10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5" y="3"/>
                      </a:lnTo>
                      <a:lnTo>
                        <a:pt x="9" y="7"/>
                      </a:lnTo>
                      <a:lnTo>
                        <a:pt x="14" y="8"/>
                      </a:lnTo>
                      <a:lnTo>
                        <a:pt x="15" y="10"/>
                      </a:lnTo>
                      <a:lnTo>
                        <a:pt x="20" y="8"/>
                      </a:lnTo>
                      <a:lnTo>
                        <a:pt x="18" y="7"/>
                      </a:lnTo>
                      <a:lnTo>
                        <a:pt x="14" y="5"/>
                      </a:lnTo>
                      <a:lnTo>
                        <a:pt x="12" y="3"/>
                      </a:lnTo>
                      <a:lnTo>
                        <a:pt x="9" y="3"/>
                      </a:lnTo>
                      <a:lnTo>
                        <a:pt x="7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2" name="Freeform 141">
                  <a:extLst>
                    <a:ext uri="{FF2B5EF4-FFF2-40B4-BE49-F238E27FC236}">
                      <a16:creationId xmlns:a16="http://schemas.microsoft.com/office/drawing/2014/main" xmlns="" id="{A9169FA1-EE04-4E20-B3C4-C2510C8E89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6" y="804"/>
                  <a:ext cx="24" cy="20"/>
                </a:xfrm>
                <a:custGeom>
                  <a:avLst/>
                  <a:gdLst>
                    <a:gd name="T0" fmla="*/ 0 w 24"/>
                    <a:gd name="T1" fmla="*/ 5 h 20"/>
                    <a:gd name="T2" fmla="*/ 3 w 24"/>
                    <a:gd name="T3" fmla="*/ 6 h 20"/>
                    <a:gd name="T4" fmla="*/ 5 w 24"/>
                    <a:gd name="T5" fmla="*/ 6 h 20"/>
                    <a:gd name="T6" fmla="*/ 6 w 24"/>
                    <a:gd name="T7" fmla="*/ 8 h 20"/>
                    <a:gd name="T8" fmla="*/ 6 w 24"/>
                    <a:gd name="T9" fmla="*/ 10 h 20"/>
                    <a:gd name="T10" fmla="*/ 10 w 24"/>
                    <a:gd name="T11" fmla="*/ 13 h 20"/>
                    <a:gd name="T12" fmla="*/ 13 w 24"/>
                    <a:gd name="T13" fmla="*/ 15 h 20"/>
                    <a:gd name="T14" fmla="*/ 15 w 24"/>
                    <a:gd name="T15" fmla="*/ 16 h 20"/>
                    <a:gd name="T16" fmla="*/ 16 w 24"/>
                    <a:gd name="T17" fmla="*/ 18 h 20"/>
                    <a:gd name="T18" fmla="*/ 18 w 24"/>
                    <a:gd name="T19" fmla="*/ 16 h 20"/>
                    <a:gd name="T20" fmla="*/ 21 w 24"/>
                    <a:gd name="T21" fmla="*/ 20 h 20"/>
                    <a:gd name="T22" fmla="*/ 24 w 24"/>
                    <a:gd name="T23" fmla="*/ 20 h 20"/>
                    <a:gd name="T24" fmla="*/ 24 w 24"/>
                    <a:gd name="T25" fmla="*/ 20 h 20"/>
                    <a:gd name="T26" fmla="*/ 23 w 24"/>
                    <a:gd name="T27" fmla="*/ 15 h 20"/>
                    <a:gd name="T28" fmla="*/ 19 w 24"/>
                    <a:gd name="T29" fmla="*/ 15 h 20"/>
                    <a:gd name="T30" fmla="*/ 15 w 24"/>
                    <a:gd name="T31" fmla="*/ 11 h 20"/>
                    <a:gd name="T32" fmla="*/ 15 w 24"/>
                    <a:gd name="T33" fmla="*/ 8 h 20"/>
                    <a:gd name="T34" fmla="*/ 11 w 24"/>
                    <a:gd name="T35" fmla="*/ 8 h 20"/>
                    <a:gd name="T36" fmla="*/ 8 w 24"/>
                    <a:gd name="T37" fmla="*/ 3 h 20"/>
                    <a:gd name="T38" fmla="*/ 8 w 24"/>
                    <a:gd name="T39" fmla="*/ 2 h 20"/>
                    <a:gd name="T40" fmla="*/ 10 w 24"/>
                    <a:gd name="T41" fmla="*/ 0 h 20"/>
                    <a:gd name="T42" fmla="*/ 6 w 24"/>
                    <a:gd name="T43" fmla="*/ 0 h 20"/>
                    <a:gd name="T44" fmla="*/ 5 w 24"/>
                    <a:gd name="T45" fmla="*/ 2 h 20"/>
                    <a:gd name="T46" fmla="*/ 3 w 24"/>
                    <a:gd name="T47" fmla="*/ 2 h 20"/>
                    <a:gd name="T48" fmla="*/ 0 w 24"/>
                    <a:gd name="T49" fmla="*/ 3 h 20"/>
                    <a:gd name="T50" fmla="*/ 0 w 24"/>
                    <a:gd name="T51" fmla="*/ 5 h 20"/>
                    <a:gd name="T52" fmla="*/ 0 w 24"/>
                    <a:gd name="T53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4" h="20">
                      <a:moveTo>
                        <a:pt x="0" y="5"/>
                      </a:move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10" y="13"/>
                      </a:lnTo>
                      <a:lnTo>
                        <a:pt x="13" y="15"/>
                      </a:lnTo>
                      <a:lnTo>
                        <a:pt x="15" y="16"/>
                      </a:lnTo>
                      <a:lnTo>
                        <a:pt x="16" y="18"/>
                      </a:lnTo>
                      <a:lnTo>
                        <a:pt x="18" y="16"/>
                      </a:lnTo>
                      <a:lnTo>
                        <a:pt x="21" y="20"/>
                      </a:lnTo>
                      <a:lnTo>
                        <a:pt x="24" y="20"/>
                      </a:lnTo>
                      <a:lnTo>
                        <a:pt x="24" y="20"/>
                      </a:lnTo>
                      <a:lnTo>
                        <a:pt x="23" y="15"/>
                      </a:lnTo>
                      <a:lnTo>
                        <a:pt x="19" y="15"/>
                      </a:lnTo>
                      <a:lnTo>
                        <a:pt x="15" y="11"/>
                      </a:lnTo>
                      <a:lnTo>
                        <a:pt x="15" y="8"/>
                      </a:lnTo>
                      <a:lnTo>
                        <a:pt x="11" y="8"/>
                      </a:lnTo>
                      <a:lnTo>
                        <a:pt x="8" y="3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3" name="Freeform 142">
                  <a:extLst>
                    <a:ext uri="{FF2B5EF4-FFF2-40B4-BE49-F238E27FC236}">
                      <a16:creationId xmlns:a16="http://schemas.microsoft.com/office/drawing/2014/main" xmlns="" id="{6C29C12E-CAB1-4D2F-A919-AFFC899B73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6" y="971"/>
                  <a:ext cx="5" cy="6"/>
                </a:xfrm>
                <a:custGeom>
                  <a:avLst/>
                  <a:gdLst>
                    <a:gd name="T0" fmla="*/ 3 w 5"/>
                    <a:gd name="T1" fmla="*/ 6 h 6"/>
                    <a:gd name="T2" fmla="*/ 3 w 5"/>
                    <a:gd name="T3" fmla="*/ 6 h 6"/>
                    <a:gd name="T4" fmla="*/ 5 w 5"/>
                    <a:gd name="T5" fmla="*/ 4 h 6"/>
                    <a:gd name="T6" fmla="*/ 5 w 5"/>
                    <a:gd name="T7" fmla="*/ 1 h 6"/>
                    <a:gd name="T8" fmla="*/ 3 w 5"/>
                    <a:gd name="T9" fmla="*/ 0 h 6"/>
                    <a:gd name="T10" fmla="*/ 0 w 5"/>
                    <a:gd name="T11" fmla="*/ 1 h 6"/>
                    <a:gd name="T12" fmla="*/ 0 w 5"/>
                    <a:gd name="T13" fmla="*/ 3 h 6"/>
                    <a:gd name="T14" fmla="*/ 3 w 5"/>
                    <a:gd name="T15" fmla="*/ 6 h 6"/>
                    <a:gd name="T16" fmla="*/ 3 w 5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6">
                      <a:moveTo>
                        <a:pt x="3" y="6"/>
                      </a:move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4" name="Freeform 143">
                  <a:extLst>
                    <a:ext uri="{FF2B5EF4-FFF2-40B4-BE49-F238E27FC236}">
                      <a16:creationId xmlns:a16="http://schemas.microsoft.com/office/drawing/2014/main" xmlns="" id="{BE750BF3-3321-403F-AE09-130152380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971"/>
                  <a:ext cx="5" cy="4"/>
                </a:xfrm>
                <a:custGeom>
                  <a:avLst/>
                  <a:gdLst>
                    <a:gd name="T0" fmla="*/ 0 w 5"/>
                    <a:gd name="T1" fmla="*/ 1 h 4"/>
                    <a:gd name="T2" fmla="*/ 0 w 5"/>
                    <a:gd name="T3" fmla="*/ 4 h 4"/>
                    <a:gd name="T4" fmla="*/ 2 w 5"/>
                    <a:gd name="T5" fmla="*/ 4 h 4"/>
                    <a:gd name="T6" fmla="*/ 5 w 5"/>
                    <a:gd name="T7" fmla="*/ 4 h 4"/>
                    <a:gd name="T8" fmla="*/ 5 w 5"/>
                    <a:gd name="T9" fmla="*/ 3 h 4"/>
                    <a:gd name="T10" fmla="*/ 3 w 5"/>
                    <a:gd name="T11" fmla="*/ 0 h 4"/>
                    <a:gd name="T12" fmla="*/ 0 w 5"/>
                    <a:gd name="T13" fmla="*/ 1 h 4"/>
                    <a:gd name="T14" fmla="*/ 0 w 5"/>
                    <a:gd name="T1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0" y="1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5" name="Freeform 144">
                  <a:extLst>
                    <a:ext uri="{FF2B5EF4-FFF2-40B4-BE49-F238E27FC236}">
                      <a16:creationId xmlns:a16="http://schemas.microsoft.com/office/drawing/2014/main" xmlns="" id="{EE9CD849-7971-4B4A-83E5-1127E8539F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974"/>
                  <a:ext cx="13" cy="26"/>
                </a:xfrm>
                <a:custGeom>
                  <a:avLst/>
                  <a:gdLst>
                    <a:gd name="T0" fmla="*/ 5 w 13"/>
                    <a:gd name="T1" fmla="*/ 26 h 26"/>
                    <a:gd name="T2" fmla="*/ 5 w 13"/>
                    <a:gd name="T3" fmla="*/ 26 h 26"/>
                    <a:gd name="T4" fmla="*/ 7 w 13"/>
                    <a:gd name="T5" fmla="*/ 21 h 26"/>
                    <a:gd name="T6" fmla="*/ 7 w 13"/>
                    <a:gd name="T7" fmla="*/ 19 h 26"/>
                    <a:gd name="T8" fmla="*/ 8 w 13"/>
                    <a:gd name="T9" fmla="*/ 18 h 26"/>
                    <a:gd name="T10" fmla="*/ 10 w 13"/>
                    <a:gd name="T11" fmla="*/ 15 h 26"/>
                    <a:gd name="T12" fmla="*/ 10 w 13"/>
                    <a:gd name="T13" fmla="*/ 11 h 26"/>
                    <a:gd name="T14" fmla="*/ 11 w 13"/>
                    <a:gd name="T15" fmla="*/ 10 h 26"/>
                    <a:gd name="T16" fmla="*/ 13 w 13"/>
                    <a:gd name="T17" fmla="*/ 8 h 26"/>
                    <a:gd name="T18" fmla="*/ 11 w 13"/>
                    <a:gd name="T19" fmla="*/ 5 h 26"/>
                    <a:gd name="T20" fmla="*/ 7 w 13"/>
                    <a:gd name="T21" fmla="*/ 0 h 26"/>
                    <a:gd name="T22" fmla="*/ 7 w 13"/>
                    <a:gd name="T23" fmla="*/ 3 h 26"/>
                    <a:gd name="T24" fmla="*/ 7 w 13"/>
                    <a:gd name="T25" fmla="*/ 8 h 26"/>
                    <a:gd name="T26" fmla="*/ 7 w 13"/>
                    <a:gd name="T27" fmla="*/ 11 h 26"/>
                    <a:gd name="T28" fmla="*/ 3 w 13"/>
                    <a:gd name="T29" fmla="*/ 13 h 26"/>
                    <a:gd name="T30" fmla="*/ 2 w 13"/>
                    <a:gd name="T31" fmla="*/ 16 h 26"/>
                    <a:gd name="T32" fmla="*/ 0 w 13"/>
                    <a:gd name="T33" fmla="*/ 16 h 26"/>
                    <a:gd name="T34" fmla="*/ 0 w 13"/>
                    <a:gd name="T35" fmla="*/ 16 h 26"/>
                    <a:gd name="T36" fmla="*/ 2 w 13"/>
                    <a:gd name="T37" fmla="*/ 19 h 26"/>
                    <a:gd name="T38" fmla="*/ 2 w 13"/>
                    <a:gd name="T39" fmla="*/ 21 h 26"/>
                    <a:gd name="T40" fmla="*/ 0 w 13"/>
                    <a:gd name="T41" fmla="*/ 23 h 26"/>
                    <a:gd name="T42" fmla="*/ 0 w 13"/>
                    <a:gd name="T43" fmla="*/ 24 h 26"/>
                    <a:gd name="T44" fmla="*/ 3 w 13"/>
                    <a:gd name="T45" fmla="*/ 24 h 26"/>
                    <a:gd name="T46" fmla="*/ 5 w 13"/>
                    <a:gd name="T47" fmla="*/ 26 h 26"/>
                    <a:gd name="T48" fmla="*/ 5 w 13"/>
                    <a:gd name="T4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" h="26">
                      <a:moveTo>
                        <a:pt x="5" y="26"/>
                      </a:moveTo>
                      <a:lnTo>
                        <a:pt x="5" y="26"/>
                      </a:lnTo>
                      <a:lnTo>
                        <a:pt x="7" y="21"/>
                      </a:lnTo>
                      <a:lnTo>
                        <a:pt x="7" y="19"/>
                      </a:lnTo>
                      <a:lnTo>
                        <a:pt x="8" y="18"/>
                      </a:lnTo>
                      <a:lnTo>
                        <a:pt x="10" y="15"/>
                      </a:lnTo>
                      <a:lnTo>
                        <a:pt x="10" y="11"/>
                      </a:lnTo>
                      <a:lnTo>
                        <a:pt x="11" y="10"/>
                      </a:lnTo>
                      <a:lnTo>
                        <a:pt x="13" y="8"/>
                      </a:lnTo>
                      <a:lnTo>
                        <a:pt x="11" y="5"/>
                      </a:lnTo>
                      <a:lnTo>
                        <a:pt x="7" y="0"/>
                      </a:lnTo>
                      <a:lnTo>
                        <a:pt x="7" y="3"/>
                      </a:lnTo>
                      <a:lnTo>
                        <a:pt x="7" y="8"/>
                      </a:lnTo>
                      <a:lnTo>
                        <a:pt x="7" y="11"/>
                      </a:lnTo>
                      <a:lnTo>
                        <a:pt x="3" y="13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0" y="23"/>
                      </a:lnTo>
                      <a:lnTo>
                        <a:pt x="0" y="24"/>
                      </a:lnTo>
                      <a:lnTo>
                        <a:pt x="3" y="24"/>
                      </a:lnTo>
                      <a:lnTo>
                        <a:pt x="5" y="26"/>
                      </a:lnTo>
                      <a:lnTo>
                        <a:pt x="5" y="2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6" name="Freeform 145">
                  <a:extLst>
                    <a:ext uri="{FF2B5EF4-FFF2-40B4-BE49-F238E27FC236}">
                      <a16:creationId xmlns:a16="http://schemas.microsoft.com/office/drawing/2014/main" xmlns="" id="{F0DE304B-E3E6-42F2-A981-4354318D8B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1011"/>
                  <a:ext cx="3" cy="9"/>
                </a:xfrm>
                <a:custGeom>
                  <a:avLst/>
                  <a:gdLst>
                    <a:gd name="T0" fmla="*/ 1 w 2"/>
                    <a:gd name="T1" fmla="*/ 5 h 5"/>
                    <a:gd name="T2" fmla="*/ 2 w 2"/>
                    <a:gd name="T3" fmla="*/ 4 h 5"/>
                    <a:gd name="T4" fmla="*/ 1 w 2"/>
                    <a:gd name="T5" fmla="*/ 2 h 5"/>
                    <a:gd name="T6" fmla="*/ 1 w 2"/>
                    <a:gd name="T7" fmla="*/ 0 h 5"/>
                    <a:gd name="T8" fmla="*/ 0 w 2"/>
                    <a:gd name="T9" fmla="*/ 0 h 5"/>
                    <a:gd name="T10" fmla="*/ 0 w 2"/>
                    <a:gd name="T11" fmla="*/ 1 h 5"/>
                    <a:gd name="T12" fmla="*/ 0 w 2"/>
                    <a:gd name="T13" fmla="*/ 3 h 5"/>
                    <a:gd name="T14" fmla="*/ 1 w 2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5">
                      <a:moveTo>
                        <a:pt x="1" y="5"/>
                      </a:moveTo>
                      <a:cubicBezTo>
                        <a:pt x="1" y="5"/>
                        <a:pt x="2" y="4"/>
                        <a:pt x="2" y="4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5"/>
                        <a:pt x="1" y="5"/>
                        <a:pt x="1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7" name="Freeform 146">
                  <a:extLst>
                    <a:ext uri="{FF2B5EF4-FFF2-40B4-BE49-F238E27FC236}">
                      <a16:creationId xmlns:a16="http://schemas.microsoft.com/office/drawing/2014/main" xmlns="" id="{EB18118D-B710-4231-9745-714D02ED1E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1021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3 h 5"/>
                    <a:gd name="T4" fmla="*/ 3 w 3"/>
                    <a:gd name="T5" fmla="*/ 2 h 5"/>
                    <a:gd name="T6" fmla="*/ 2 w 3"/>
                    <a:gd name="T7" fmla="*/ 0 h 5"/>
                    <a:gd name="T8" fmla="*/ 0 w 3"/>
                    <a:gd name="T9" fmla="*/ 2 h 5"/>
                    <a:gd name="T10" fmla="*/ 0 w 3"/>
                    <a:gd name="T11" fmla="*/ 3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8" name="Freeform 147">
                  <a:extLst>
                    <a:ext uri="{FF2B5EF4-FFF2-40B4-BE49-F238E27FC236}">
                      <a16:creationId xmlns:a16="http://schemas.microsoft.com/office/drawing/2014/main" xmlns="" id="{375D2A63-D45F-433E-BC1C-BE8D326C26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1028"/>
                  <a:ext cx="2" cy="1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2 w 2"/>
                    <a:gd name="T5" fmla="*/ 1 h 1"/>
                    <a:gd name="T6" fmla="*/ 0 w 2"/>
                    <a:gd name="T7" fmla="*/ 0 h 1"/>
                    <a:gd name="T8" fmla="*/ 0 w 2"/>
                    <a:gd name="T9" fmla="*/ 1 h 1"/>
                    <a:gd name="T10" fmla="*/ 2 w 2"/>
                    <a:gd name="T11" fmla="*/ 1 h 1"/>
                    <a:gd name="T12" fmla="*/ 2 w 2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59" name="Freeform 148">
                  <a:extLst>
                    <a:ext uri="{FF2B5EF4-FFF2-40B4-BE49-F238E27FC236}">
                      <a16:creationId xmlns:a16="http://schemas.microsoft.com/office/drawing/2014/main" xmlns="" id="{EE074064-896B-477E-BA17-DE3FC94F3D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4" y="1031"/>
                  <a:ext cx="4" cy="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7 h 7"/>
                    <a:gd name="T4" fmla="*/ 4 w 4"/>
                    <a:gd name="T5" fmla="*/ 5 h 7"/>
                    <a:gd name="T6" fmla="*/ 4 w 4"/>
                    <a:gd name="T7" fmla="*/ 2 h 7"/>
                    <a:gd name="T8" fmla="*/ 2 w 4"/>
                    <a:gd name="T9" fmla="*/ 0 h 7"/>
                    <a:gd name="T10" fmla="*/ 2 w 4"/>
                    <a:gd name="T11" fmla="*/ 3 h 7"/>
                    <a:gd name="T12" fmla="*/ 0 w 4"/>
                    <a:gd name="T13" fmla="*/ 7 h 7"/>
                    <a:gd name="T14" fmla="*/ 0 w 4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0" name="Freeform 149">
                  <a:extLst>
                    <a:ext uri="{FF2B5EF4-FFF2-40B4-BE49-F238E27FC236}">
                      <a16:creationId xmlns:a16="http://schemas.microsoft.com/office/drawing/2014/main" xmlns="" id="{99413014-10F3-48B9-8537-7B146970B1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56"/>
                  <a:ext cx="2" cy="1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2 w 2"/>
                    <a:gd name="T5" fmla="*/ 0 h 1"/>
                    <a:gd name="T6" fmla="*/ 0 w 2"/>
                    <a:gd name="T7" fmla="*/ 0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1" name="Freeform 150">
                  <a:extLst>
                    <a:ext uri="{FF2B5EF4-FFF2-40B4-BE49-F238E27FC236}">
                      <a16:creationId xmlns:a16="http://schemas.microsoft.com/office/drawing/2014/main" xmlns="" id="{E84CF453-7C16-418D-94EA-32072F9EFE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65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2 w 2"/>
                    <a:gd name="T3" fmla="*/ 2 h 4"/>
                    <a:gd name="T4" fmla="*/ 0 w 2"/>
                    <a:gd name="T5" fmla="*/ 0 h 4"/>
                    <a:gd name="T6" fmla="*/ 0 w 2"/>
                    <a:gd name="T7" fmla="*/ 2 h 4"/>
                    <a:gd name="T8" fmla="*/ 0 w 2"/>
                    <a:gd name="T9" fmla="*/ 4 h 4"/>
                    <a:gd name="T10" fmla="*/ 0 w 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2" name="Freeform 151">
                  <a:extLst>
                    <a:ext uri="{FF2B5EF4-FFF2-40B4-BE49-F238E27FC236}">
                      <a16:creationId xmlns:a16="http://schemas.microsoft.com/office/drawing/2014/main" xmlns="" id="{E755E423-282E-452B-9C81-17B473A341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72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3" name="Freeform 152">
                  <a:extLst>
                    <a:ext uri="{FF2B5EF4-FFF2-40B4-BE49-F238E27FC236}">
                      <a16:creationId xmlns:a16="http://schemas.microsoft.com/office/drawing/2014/main" xmlns="" id="{BE61EF2A-8F51-4EF0-A38C-FF85A9D78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6" y="1077"/>
                  <a:ext cx="2" cy="1"/>
                </a:xfrm>
                <a:custGeom>
                  <a:avLst/>
                  <a:gdLst>
                    <a:gd name="T0" fmla="*/ 0 w 2"/>
                    <a:gd name="T1" fmla="*/ 0 h 1"/>
                    <a:gd name="T2" fmla="*/ 0 w 2"/>
                    <a:gd name="T3" fmla="*/ 1 h 1"/>
                    <a:gd name="T4" fmla="*/ 2 w 2"/>
                    <a:gd name="T5" fmla="*/ 1 h 1"/>
                    <a:gd name="T6" fmla="*/ 2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4" name="Freeform 153">
                  <a:extLst>
                    <a:ext uri="{FF2B5EF4-FFF2-40B4-BE49-F238E27FC236}">
                      <a16:creationId xmlns:a16="http://schemas.microsoft.com/office/drawing/2014/main" xmlns="" id="{DFD64D53-FA83-4940-8259-F9ECD6530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3" y="1083"/>
                  <a:ext cx="2" cy="7"/>
                </a:xfrm>
                <a:custGeom>
                  <a:avLst/>
                  <a:gdLst>
                    <a:gd name="T0" fmla="*/ 0 w 2"/>
                    <a:gd name="T1" fmla="*/ 7 h 7"/>
                    <a:gd name="T2" fmla="*/ 2 w 2"/>
                    <a:gd name="T3" fmla="*/ 5 h 7"/>
                    <a:gd name="T4" fmla="*/ 2 w 2"/>
                    <a:gd name="T5" fmla="*/ 0 h 7"/>
                    <a:gd name="T6" fmla="*/ 2 w 2"/>
                    <a:gd name="T7" fmla="*/ 0 h 7"/>
                    <a:gd name="T8" fmla="*/ 0 w 2"/>
                    <a:gd name="T9" fmla="*/ 4 h 7"/>
                    <a:gd name="T10" fmla="*/ 0 w 2"/>
                    <a:gd name="T11" fmla="*/ 7 h 7"/>
                    <a:gd name="T12" fmla="*/ 0 w 2"/>
                    <a:gd name="T13" fmla="*/ 7 h 7"/>
                    <a:gd name="T14" fmla="*/ 0 w 2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7">
                      <a:moveTo>
                        <a:pt x="0" y="7"/>
                      </a:move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5" name="Freeform 154">
                  <a:extLst>
                    <a:ext uri="{FF2B5EF4-FFF2-40B4-BE49-F238E27FC236}">
                      <a16:creationId xmlns:a16="http://schemas.microsoft.com/office/drawing/2014/main" xmlns="" id="{A50807B7-AF82-4020-AECF-921EFB96A4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7" y="1108"/>
                  <a:ext cx="13" cy="19"/>
                </a:xfrm>
                <a:custGeom>
                  <a:avLst/>
                  <a:gdLst>
                    <a:gd name="T0" fmla="*/ 0 w 13"/>
                    <a:gd name="T1" fmla="*/ 19 h 19"/>
                    <a:gd name="T2" fmla="*/ 1 w 13"/>
                    <a:gd name="T3" fmla="*/ 19 h 19"/>
                    <a:gd name="T4" fmla="*/ 5 w 13"/>
                    <a:gd name="T5" fmla="*/ 16 h 19"/>
                    <a:gd name="T6" fmla="*/ 6 w 13"/>
                    <a:gd name="T7" fmla="*/ 13 h 19"/>
                    <a:gd name="T8" fmla="*/ 8 w 13"/>
                    <a:gd name="T9" fmla="*/ 11 h 19"/>
                    <a:gd name="T10" fmla="*/ 8 w 13"/>
                    <a:gd name="T11" fmla="*/ 8 h 19"/>
                    <a:gd name="T12" fmla="*/ 10 w 13"/>
                    <a:gd name="T13" fmla="*/ 5 h 19"/>
                    <a:gd name="T14" fmla="*/ 13 w 13"/>
                    <a:gd name="T15" fmla="*/ 0 h 19"/>
                    <a:gd name="T16" fmla="*/ 11 w 13"/>
                    <a:gd name="T17" fmla="*/ 1 h 19"/>
                    <a:gd name="T18" fmla="*/ 8 w 13"/>
                    <a:gd name="T19" fmla="*/ 1 h 19"/>
                    <a:gd name="T20" fmla="*/ 6 w 13"/>
                    <a:gd name="T21" fmla="*/ 5 h 19"/>
                    <a:gd name="T22" fmla="*/ 5 w 13"/>
                    <a:gd name="T23" fmla="*/ 6 h 19"/>
                    <a:gd name="T24" fmla="*/ 5 w 13"/>
                    <a:gd name="T25" fmla="*/ 8 h 19"/>
                    <a:gd name="T26" fmla="*/ 3 w 13"/>
                    <a:gd name="T27" fmla="*/ 10 h 19"/>
                    <a:gd name="T28" fmla="*/ 3 w 13"/>
                    <a:gd name="T29" fmla="*/ 11 h 19"/>
                    <a:gd name="T30" fmla="*/ 0 w 13"/>
                    <a:gd name="T31" fmla="*/ 15 h 19"/>
                    <a:gd name="T32" fmla="*/ 0 w 13"/>
                    <a:gd name="T33" fmla="*/ 19 h 19"/>
                    <a:gd name="T34" fmla="*/ 0 w 13"/>
                    <a:gd name="T3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" h="19">
                      <a:moveTo>
                        <a:pt x="0" y="19"/>
                      </a:move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6" y="13"/>
                      </a:lnTo>
                      <a:lnTo>
                        <a:pt x="8" y="11"/>
                      </a:lnTo>
                      <a:lnTo>
                        <a:pt x="8" y="8"/>
                      </a:lnTo>
                      <a:lnTo>
                        <a:pt x="10" y="5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1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5" y="8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6" name="Freeform 155">
                  <a:extLst>
                    <a:ext uri="{FF2B5EF4-FFF2-40B4-BE49-F238E27FC236}">
                      <a16:creationId xmlns:a16="http://schemas.microsoft.com/office/drawing/2014/main" xmlns="" id="{2E98571B-F888-4F59-A401-9EB47F253E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6" y="1131"/>
                  <a:ext cx="23" cy="32"/>
                </a:xfrm>
                <a:custGeom>
                  <a:avLst/>
                  <a:gdLst>
                    <a:gd name="T0" fmla="*/ 0 w 23"/>
                    <a:gd name="T1" fmla="*/ 32 h 32"/>
                    <a:gd name="T2" fmla="*/ 1 w 23"/>
                    <a:gd name="T3" fmla="*/ 31 h 32"/>
                    <a:gd name="T4" fmla="*/ 3 w 23"/>
                    <a:gd name="T5" fmla="*/ 27 h 32"/>
                    <a:gd name="T6" fmla="*/ 5 w 23"/>
                    <a:gd name="T7" fmla="*/ 26 h 32"/>
                    <a:gd name="T8" fmla="*/ 5 w 23"/>
                    <a:gd name="T9" fmla="*/ 21 h 32"/>
                    <a:gd name="T10" fmla="*/ 6 w 23"/>
                    <a:gd name="T11" fmla="*/ 21 h 32"/>
                    <a:gd name="T12" fmla="*/ 6 w 23"/>
                    <a:gd name="T13" fmla="*/ 19 h 32"/>
                    <a:gd name="T14" fmla="*/ 8 w 23"/>
                    <a:gd name="T15" fmla="*/ 18 h 32"/>
                    <a:gd name="T16" fmla="*/ 10 w 23"/>
                    <a:gd name="T17" fmla="*/ 18 h 32"/>
                    <a:gd name="T18" fmla="*/ 11 w 23"/>
                    <a:gd name="T19" fmla="*/ 16 h 32"/>
                    <a:gd name="T20" fmla="*/ 14 w 23"/>
                    <a:gd name="T21" fmla="*/ 11 h 32"/>
                    <a:gd name="T22" fmla="*/ 18 w 23"/>
                    <a:gd name="T23" fmla="*/ 8 h 32"/>
                    <a:gd name="T24" fmla="*/ 21 w 23"/>
                    <a:gd name="T25" fmla="*/ 6 h 32"/>
                    <a:gd name="T26" fmla="*/ 23 w 23"/>
                    <a:gd name="T27" fmla="*/ 5 h 32"/>
                    <a:gd name="T28" fmla="*/ 23 w 23"/>
                    <a:gd name="T29" fmla="*/ 1 h 32"/>
                    <a:gd name="T30" fmla="*/ 23 w 23"/>
                    <a:gd name="T31" fmla="*/ 0 h 32"/>
                    <a:gd name="T32" fmla="*/ 19 w 23"/>
                    <a:gd name="T33" fmla="*/ 0 h 32"/>
                    <a:gd name="T34" fmla="*/ 16 w 23"/>
                    <a:gd name="T35" fmla="*/ 3 h 32"/>
                    <a:gd name="T36" fmla="*/ 16 w 23"/>
                    <a:gd name="T37" fmla="*/ 6 h 32"/>
                    <a:gd name="T38" fmla="*/ 14 w 23"/>
                    <a:gd name="T39" fmla="*/ 6 h 32"/>
                    <a:gd name="T40" fmla="*/ 11 w 23"/>
                    <a:gd name="T41" fmla="*/ 8 h 32"/>
                    <a:gd name="T42" fmla="*/ 10 w 23"/>
                    <a:gd name="T43" fmla="*/ 8 h 32"/>
                    <a:gd name="T44" fmla="*/ 10 w 23"/>
                    <a:gd name="T45" fmla="*/ 5 h 32"/>
                    <a:gd name="T46" fmla="*/ 8 w 23"/>
                    <a:gd name="T47" fmla="*/ 5 h 32"/>
                    <a:gd name="T48" fmla="*/ 6 w 23"/>
                    <a:gd name="T49" fmla="*/ 8 h 32"/>
                    <a:gd name="T50" fmla="*/ 8 w 23"/>
                    <a:gd name="T51" fmla="*/ 10 h 32"/>
                    <a:gd name="T52" fmla="*/ 6 w 23"/>
                    <a:gd name="T53" fmla="*/ 11 h 32"/>
                    <a:gd name="T54" fmla="*/ 5 w 23"/>
                    <a:gd name="T55" fmla="*/ 14 h 32"/>
                    <a:gd name="T56" fmla="*/ 3 w 23"/>
                    <a:gd name="T57" fmla="*/ 14 h 32"/>
                    <a:gd name="T58" fmla="*/ 3 w 23"/>
                    <a:gd name="T59" fmla="*/ 16 h 32"/>
                    <a:gd name="T60" fmla="*/ 3 w 23"/>
                    <a:gd name="T61" fmla="*/ 19 h 32"/>
                    <a:gd name="T62" fmla="*/ 0 w 23"/>
                    <a:gd name="T63" fmla="*/ 21 h 32"/>
                    <a:gd name="T64" fmla="*/ 0 w 23"/>
                    <a:gd name="T65" fmla="*/ 23 h 32"/>
                    <a:gd name="T66" fmla="*/ 1 w 23"/>
                    <a:gd name="T67" fmla="*/ 24 h 32"/>
                    <a:gd name="T68" fmla="*/ 0 w 23"/>
                    <a:gd name="T69" fmla="*/ 26 h 32"/>
                    <a:gd name="T70" fmla="*/ 0 w 23"/>
                    <a:gd name="T71" fmla="*/ 29 h 32"/>
                    <a:gd name="T72" fmla="*/ 0 w 23"/>
                    <a:gd name="T73" fmla="*/ 32 h 32"/>
                    <a:gd name="T74" fmla="*/ 0 w 23"/>
                    <a:gd name="T7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" h="32">
                      <a:moveTo>
                        <a:pt x="0" y="32"/>
                      </a:moveTo>
                      <a:lnTo>
                        <a:pt x="1" y="31"/>
                      </a:lnTo>
                      <a:lnTo>
                        <a:pt x="3" y="27"/>
                      </a:lnTo>
                      <a:lnTo>
                        <a:pt x="5" y="26"/>
                      </a:lnTo>
                      <a:lnTo>
                        <a:pt x="5" y="21"/>
                      </a:lnTo>
                      <a:lnTo>
                        <a:pt x="6" y="21"/>
                      </a:lnTo>
                      <a:lnTo>
                        <a:pt x="6" y="19"/>
                      </a:lnTo>
                      <a:lnTo>
                        <a:pt x="8" y="18"/>
                      </a:lnTo>
                      <a:lnTo>
                        <a:pt x="10" y="18"/>
                      </a:lnTo>
                      <a:lnTo>
                        <a:pt x="11" y="16"/>
                      </a:lnTo>
                      <a:lnTo>
                        <a:pt x="14" y="11"/>
                      </a:lnTo>
                      <a:lnTo>
                        <a:pt x="18" y="8"/>
                      </a:lnTo>
                      <a:lnTo>
                        <a:pt x="21" y="6"/>
                      </a:lnTo>
                      <a:lnTo>
                        <a:pt x="23" y="5"/>
                      </a:lnTo>
                      <a:lnTo>
                        <a:pt x="23" y="1"/>
                      </a:lnTo>
                      <a:lnTo>
                        <a:pt x="23" y="0"/>
                      </a:lnTo>
                      <a:lnTo>
                        <a:pt x="19" y="0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1" y="8"/>
                      </a:lnTo>
                      <a:lnTo>
                        <a:pt x="10" y="8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6" y="8"/>
                      </a:lnTo>
                      <a:lnTo>
                        <a:pt x="8" y="10"/>
                      </a:lnTo>
                      <a:lnTo>
                        <a:pt x="6" y="11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3" y="16"/>
                      </a:lnTo>
                      <a:lnTo>
                        <a:pt x="3" y="19"/>
                      </a:lnTo>
                      <a:lnTo>
                        <a:pt x="0" y="21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0" y="26"/>
                      </a:lnTo>
                      <a:lnTo>
                        <a:pt x="0" y="29"/>
                      </a:lnTo>
                      <a:lnTo>
                        <a:pt x="0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7" name="Freeform 156">
                  <a:extLst>
                    <a:ext uri="{FF2B5EF4-FFF2-40B4-BE49-F238E27FC236}">
                      <a16:creationId xmlns:a16="http://schemas.microsoft.com/office/drawing/2014/main" xmlns="" id="{9D7AF5B5-4FD5-482B-AEB1-129813D28F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9" y="1163"/>
                  <a:ext cx="12" cy="22"/>
                </a:xfrm>
                <a:custGeom>
                  <a:avLst/>
                  <a:gdLst>
                    <a:gd name="T0" fmla="*/ 2 w 7"/>
                    <a:gd name="T1" fmla="*/ 13 h 13"/>
                    <a:gd name="T2" fmla="*/ 3 w 7"/>
                    <a:gd name="T3" fmla="*/ 10 h 13"/>
                    <a:gd name="T4" fmla="*/ 3 w 7"/>
                    <a:gd name="T5" fmla="*/ 5 h 13"/>
                    <a:gd name="T6" fmla="*/ 4 w 7"/>
                    <a:gd name="T7" fmla="*/ 5 h 13"/>
                    <a:gd name="T8" fmla="*/ 7 w 7"/>
                    <a:gd name="T9" fmla="*/ 3 h 13"/>
                    <a:gd name="T10" fmla="*/ 7 w 7"/>
                    <a:gd name="T11" fmla="*/ 1 h 13"/>
                    <a:gd name="T12" fmla="*/ 6 w 7"/>
                    <a:gd name="T13" fmla="*/ 1 h 13"/>
                    <a:gd name="T14" fmla="*/ 5 w 7"/>
                    <a:gd name="T15" fmla="*/ 1 h 13"/>
                    <a:gd name="T16" fmla="*/ 4 w 7"/>
                    <a:gd name="T17" fmla="*/ 1 h 13"/>
                    <a:gd name="T18" fmla="*/ 3 w 7"/>
                    <a:gd name="T19" fmla="*/ 0 h 13"/>
                    <a:gd name="T20" fmla="*/ 2 w 7"/>
                    <a:gd name="T21" fmla="*/ 0 h 13"/>
                    <a:gd name="T22" fmla="*/ 2 w 7"/>
                    <a:gd name="T23" fmla="*/ 3 h 13"/>
                    <a:gd name="T24" fmla="*/ 2 w 7"/>
                    <a:gd name="T25" fmla="*/ 5 h 13"/>
                    <a:gd name="T26" fmla="*/ 1 w 7"/>
                    <a:gd name="T27" fmla="*/ 8 h 13"/>
                    <a:gd name="T28" fmla="*/ 0 w 7"/>
                    <a:gd name="T29" fmla="*/ 10 h 13"/>
                    <a:gd name="T30" fmla="*/ 1 w 7"/>
                    <a:gd name="T31" fmla="*/ 11 h 13"/>
                    <a:gd name="T32" fmla="*/ 2 w 7"/>
                    <a:gd name="T3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" h="13">
                      <a:moveTo>
                        <a:pt x="2" y="13"/>
                      </a:moveTo>
                      <a:cubicBezTo>
                        <a:pt x="2" y="13"/>
                        <a:pt x="3" y="10"/>
                        <a:pt x="3" y="10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2" y="13"/>
                        <a:pt x="2" y="13"/>
                        <a:pt x="2" y="13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8" name="Freeform 157">
                  <a:extLst>
                    <a:ext uri="{FF2B5EF4-FFF2-40B4-BE49-F238E27FC236}">
                      <a16:creationId xmlns:a16="http://schemas.microsoft.com/office/drawing/2014/main" xmlns="" id="{4BC97391-56B2-4D76-BDB9-3723135DDD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8" y="925"/>
                  <a:ext cx="5" cy="5"/>
                </a:xfrm>
                <a:custGeom>
                  <a:avLst/>
                  <a:gdLst>
                    <a:gd name="T0" fmla="*/ 1 w 3"/>
                    <a:gd name="T1" fmla="*/ 0 h 3"/>
                    <a:gd name="T2" fmla="*/ 0 w 3"/>
                    <a:gd name="T3" fmla="*/ 2 h 3"/>
                    <a:gd name="T4" fmla="*/ 2 w 3"/>
                    <a:gd name="T5" fmla="*/ 3 h 3"/>
                    <a:gd name="T6" fmla="*/ 3 w 3"/>
                    <a:gd name="T7" fmla="*/ 2 h 3"/>
                    <a:gd name="T8" fmla="*/ 1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cubicBezTo>
                        <a:pt x="1" y="0"/>
                        <a:pt x="0" y="2"/>
                        <a:pt x="0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3" y="2"/>
                        <a:pt x="3" y="2"/>
                        <a:pt x="3" y="2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69" name="Freeform 158">
                  <a:extLst>
                    <a:ext uri="{FF2B5EF4-FFF2-40B4-BE49-F238E27FC236}">
                      <a16:creationId xmlns:a16="http://schemas.microsoft.com/office/drawing/2014/main" xmlns="" id="{CC8EE371-3E19-41B2-B889-6EA82F2B08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7" y="229"/>
                  <a:ext cx="224" cy="281"/>
                </a:xfrm>
                <a:custGeom>
                  <a:avLst/>
                  <a:gdLst>
                    <a:gd name="T0" fmla="*/ 130 w 137"/>
                    <a:gd name="T1" fmla="*/ 15 h 172"/>
                    <a:gd name="T2" fmla="*/ 56 w 137"/>
                    <a:gd name="T3" fmla="*/ 1 h 172"/>
                    <a:gd name="T4" fmla="*/ 45 w 137"/>
                    <a:gd name="T5" fmla="*/ 17 h 172"/>
                    <a:gd name="T6" fmla="*/ 60 w 137"/>
                    <a:gd name="T7" fmla="*/ 31 h 172"/>
                    <a:gd name="T8" fmla="*/ 61 w 137"/>
                    <a:gd name="T9" fmla="*/ 33 h 172"/>
                    <a:gd name="T10" fmla="*/ 55 w 137"/>
                    <a:gd name="T11" fmla="*/ 36 h 172"/>
                    <a:gd name="T12" fmla="*/ 72 w 137"/>
                    <a:gd name="T13" fmla="*/ 42 h 172"/>
                    <a:gd name="T14" fmla="*/ 85 w 137"/>
                    <a:gd name="T15" fmla="*/ 43 h 172"/>
                    <a:gd name="T16" fmla="*/ 98 w 137"/>
                    <a:gd name="T17" fmla="*/ 31 h 172"/>
                    <a:gd name="T18" fmla="*/ 96 w 137"/>
                    <a:gd name="T19" fmla="*/ 16 h 172"/>
                    <a:gd name="T20" fmla="*/ 83 w 137"/>
                    <a:gd name="T21" fmla="*/ 12 h 172"/>
                    <a:gd name="T22" fmla="*/ 76 w 137"/>
                    <a:gd name="T23" fmla="*/ 17 h 172"/>
                    <a:gd name="T24" fmla="*/ 71 w 137"/>
                    <a:gd name="T25" fmla="*/ 9 h 172"/>
                    <a:gd name="T26" fmla="*/ 71 w 137"/>
                    <a:gd name="T27" fmla="*/ 24 h 172"/>
                    <a:gd name="T28" fmla="*/ 61 w 137"/>
                    <a:gd name="T29" fmla="*/ 18 h 172"/>
                    <a:gd name="T30" fmla="*/ 53 w 137"/>
                    <a:gd name="T31" fmla="*/ 7 h 172"/>
                    <a:gd name="T32" fmla="*/ 52 w 137"/>
                    <a:gd name="T33" fmla="*/ 20 h 172"/>
                    <a:gd name="T34" fmla="*/ 46 w 137"/>
                    <a:gd name="T35" fmla="*/ 24 h 172"/>
                    <a:gd name="T36" fmla="*/ 110 w 137"/>
                    <a:gd name="T37" fmla="*/ 55 h 172"/>
                    <a:gd name="T38" fmla="*/ 114 w 137"/>
                    <a:gd name="T39" fmla="*/ 53 h 172"/>
                    <a:gd name="T40" fmla="*/ 105 w 137"/>
                    <a:gd name="T41" fmla="*/ 59 h 172"/>
                    <a:gd name="T42" fmla="*/ 85 w 137"/>
                    <a:gd name="T43" fmla="*/ 74 h 172"/>
                    <a:gd name="T44" fmla="*/ 94 w 137"/>
                    <a:gd name="T45" fmla="*/ 84 h 172"/>
                    <a:gd name="T46" fmla="*/ 83 w 137"/>
                    <a:gd name="T47" fmla="*/ 96 h 172"/>
                    <a:gd name="T48" fmla="*/ 71 w 137"/>
                    <a:gd name="T49" fmla="*/ 96 h 172"/>
                    <a:gd name="T50" fmla="*/ 70 w 137"/>
                    <a:gd name="T51" fmla="*/ 79 h 172"/>
                    <a:gd name="T52" fmla="*/ 63 w 137"/>
                    <a:gd name="T53" fmla="*/ 67 h 172"/>
                    <a:gd name="T54" fmla="*/ 75 w 137"/>
                    <a:gd name="T55" fmla="*/ 72 h 172"/>
                    <a:gd name="T56" fmla="*/ 70 w 137"/>
                    <a:gd name="T57" fmla="*/ 63 h 172"/>
                    <a:gd name="T58" fmla="*/ 6 w 137"/>
                    <a:gd name="T59" fmla="*/ 70 h 172"/>
                    <a:gd name="T60" fmla="*/ 6 w 137"/>
                    <a:gd name="T61" fmla="*/ 67 h 172"/>
                    <a:gd name="T62" fmla="*/ 45 w 137"/>
                    <a:gd name="T63" fmla="*/ 120 h 172"/>
                    <a:gd name="T64" fmla="*/ 41 w 137"/>
                    <a:gd name="T65" fmla="*/ 109 h 172"/>
                    <a:gd name="T66" fmla="*/ 31 w 137"/>
                    <a:gd name="T67" fmla="*/ 104 h 172"/>
                    <a:gd name="T68" fmla="*/ 25 w 137"/>
                    <a:gd name="T69" fmla="*/ 96 h 172"/>
                    <a:gd name="T70" fmla="*/ 35 w 137"/>
                    <a:gd name="T71" fmla="*/ 93 h 172"/>
                    <a:gd name="T72" fmla="*/ 40 w 137"/>
                    <a:gd name="T73" fmla="*/ 87 h 172"/>
                    <a:gd name="T74" fmla="*/ 36 w 137"/>
                    <a:gd name="T75" fmla="*/ 84 h 172"/>
                    <a:gd name="T76" fmla="*/ 23 w 137"/>
                    <a:gd name="T77" fmla="*/ 85 h 172"/>
                    <a:gd name="T78" fmla="*/ 30 w 137"/>
                    <a:gd name="T79" fmla="*/ 77 h 172"/>
                    <a:gd name="T80" fmla="*/ 41 w 137"/>
                    <a:gd name="T81" fmla="*/ 69 h 172"/>
                    <a:gd name="T82" fmla="*/ 33 w 137"/>
                    <a:gd name="T83" fmla="*/ 70 h 172"/>
                    <a:gd name="T84" fmla="*/ 30 w 137"/>
                    <a:gd name="T85" fmla="*/ 64 h 172"/>
                    <a:gd name="T86" fmla="*/ 28 w 137"/>
                    <a:gd name="T87" fmla="*/ 72 h 172"/>
                    <a:gd name="T88" fmla="*/ 14 w 137"/>
                    <a:gd name="T89" fmla="*/ 71 h 172"/>
                    <a:gd name="T90" fmla="*/ 9 w 137"/>
                    <a:gd name="T91" fmla="*/ 63 h 172"/>
                    <a:gd name="T92" fmla="*/ 9 w 137"/>
                    <a:gd name="T93" fmla="*/ 59 h 172"/>
                    <a:gd name="T94" fmla="*/ 8 w 137"/>
                    <a:gd name="T95" fmla="*/ 47 h 172"/>
                    <a:gd name="T96" fmla="*/ 0 w 137"/>
                    <a:gd name="T97" fmla="*/ 41 h 172"/>
                    <a:gd name="T98" fmla="*/ 9 w 137"/>
                    <a:gd name="T99" fmla="*/ 36 h 172"/>
                    <a:gd name="T100" fmla="*/ 19 w 137"/>
                    <a:gd name="T101" fmla="*/ 34 h 172"/>
                    <a:gd name="T102" fmla="*/ 18 w 137"/>
                    <a:gd name="T103" fmla="*/ 38 h 172"/>
                    <a:gd name="T104" fmla="*/ 22 w 137"/>
                    <a:gd name="T105" fmla="*/ 48 h 172"/>
                    <a:gd name="T106" fmla="*/ 29 w 137"/>
                    <a:gd name="T107" fmla="*/ 42 h 172"/>
                    <a:gd name="T108" fmla="*/ 36 w 137"/>
                    <a:gd name="T109" fmla="*/ 56 h 172"/>
                    <a:gd name="T110" fmla="*/ 32 w 137"/>
                    <a:gd name="T111" fmla="*/ 29 h 172"/>
                    <a:gd name="T112" fmla="*/ 44 w 137"/>
                    <a:gd name="T113" fmla="*/ 33 h 172"/>
                    <a:gd name="T114" fmla="*/ 49 w 137"/>
                    <a:gd name="T115" fmla="*/ 37 h 172"/>
                    <a:gd name="T116" fmla="*/ 69 w 137"/>
                    <a:gd name="T117" fmla="*/ 57 h 172"/>
                    <a:gd name="T118" fmla="*/ 59 w 137"/>
                    <a:gd name="T119" fmla="*/ 66 h 172"/>
                    <a:gd name="T120" fmla="*/ 55 w 137"/>
                    <a:gd name="T121" fmla="*/ 85 h 172"/>
                    <a:gd name="T122" fmla="*/ 50 w 137"/>
                    <a:gd name="T123" fmla="*/ 101 h 172"/>
                    <a:gd name="T124" fmla="*/ 68 w 137"/>
                    <a:gd name="T125" fmla="*/ 17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7" h="172">
                      <a:moveTo>
                        <a:pt x="127" y="15"/>
                      </a:moveTo>
                      <a:cubicBezTo>
                        <a:pt x="127" y="14"/>
                        <a:pt x="128" y="13"/>
                        <a:pt x="128" y="13"/>
                      </a:cubicBezTo>
                      <a:cubicBezTo>
                        <a:pt x="130" y="13"/>
                        <a:pt x="130" y="13"/>
                        <a:pt x="130" y="13"/>
                      </a:cubicBezTo>
                      <a:cubicBezTo>
                        <a:pt x="131" y="12"/>
                        <a:pt x="131" y="12"/>
                        <a:pt x="131" y="12"/>
                      </a:cubicBezTo>
                      <a:cubicBezTo>
                        <a:pt x="133" y="10"/>
                        <a:pt x="133" y="10"/>
                        <a:pt x="133" y="10"/>
                      </a:cubicBezTo>
                      <a:cubicBezTo>
                        <a:pt x="135" y="9"/>
                        <a:pt x="135" y="9"/>
                        <a:pt x="135" y="9"/>
                      </a:cubicBezTo>
                      <a:cubicBezTo>
                        <a:pt x="137" y="9"/>
                        <a:pt x="137" y="9"/>
                        <a:pt x="137" y="9"/>
                      </a:cubicBezTo>
                      <a:cubicBezTo>
                        <a:pt x="137" y="9"/>
                        <a:pt x="137" y="9"/>
                        <a:pt x="137" y="9"/>
                      </a:cubicBezTo>
                      <a:cubicBezTo>
                        <a:pt x="137" y="10"/>
                        <a:pt x="137" y="10"/>
                        <a:pt x="137" y="10"/>
                      </a:cubicBezTo>
                      <a:cubicBezTo>
                        <a:pt x="134" y="12"/>
                        <a:pt x="134" y="12"/>
                        <a:pt x="134" y="12"/>
                      </a:cubicBezTo>
                      <a:cubicBezTo>
                        <a:pt x="133" y="13"/>
                        <a:pt x="133" y="13"/>
                        <a:pt x="133" y="13"/>
                      </a:cubicBezTo>
                      <a:cubicBezTo>
                        <a:pt x="130" y="15"/>
                        <a:pt x="130" y="15"/>
                        <a:pt x="130" y="15"/>
                      </a:cubicBezTo>
                      <a:cubicBezTo>
                        <a:pt x="128" y="16"/>
                        <a:pt x="128" y="16"/>
                        <a:pt x="128" y="16"/>
                      </a:cubicBezTo>
                      <a:cubicBezTo>
                        <a:pt x="127" y="15"/>
                        <a:pt x="127" y="15"/>
                        <a:pt x="127" y="15"/>
                      </a:cubicBezTo>
                      <a:cubicBezTo>
                        <a:pt x="127" y="15"/>
                        <a:pt x="127" y="15"/>
                        <a:pt x="127" y="15"/>
                      </a:cubicBezTo>
                      <a:close/>
                      <a:moveTo>
                        <a:pt x="103" y="16"/>
                      </a:move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5" y="18"/>
                        <a:pt x="105" y="18"/>
                        <a:pt x="105" y="18"/>
                      </a:cubicBezTo>
                      <a:cubicBezTo>
                        <a:pt x="105" y="17"/>
                        <a:pt x="105" y="17"/>
                        <a:pt x="105" y="17"/>
                      </a:cubicBezTo>
                      <a:cubicBezTo>
                        <a:pt x="105" y="16"/>
                        <a:pt x="105" y="16"/>
                        <a:pt x="105" y="16"/>
                      </a:cubicBezTo>
                      <a:cubicBezTo>
                        <a:pt x="104" y="15"/>
                        <a:pt x="104" y="15"/>
                        <a:pt x="104" y="15"/>
                      </a:cubicBezTo>
                      <a:cubicBezTo>
                        <a:pt x="103" y="15"/>
                        <a:pt x="103" y="15"/>
                        <a:pt x="103" y="15"/>
                      </a:cubicBezTo>
                      <a:cubicBezTo>
                        <a:pt x="103" y="16"/>
                        <a:pt x="103" y="16"/>
                        <a:pt x="103" y="16"/>
                      </a:cubicBezTo>
                      <a:close/>
                      <a:moveTo>
                        <a:pt x="56" y="1"/>
                      </a:moveTo>
                      <a:cubicBezTo>
                        <a:pt x="59" y="4"/>
                        <a:pt x="59" y="4"/>
                        <a:pt x="59" y="4"/>
                      </a:cubicBezTo>
                      <a:cubicBezTo>
                        <a:pt x="61" y="4"/>
                        <a:pt x="61" y="4"/>
                        <a:pt x="61" y="4"/>
                      </a:cubicBezTo>
                      <a:cubicBezTo>
                        <a:pt x="61" y="3"/>
                        <a:pt x="61" y="3"/>
                        <a:pt x="61" y="3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61" y="1"/>
                        <a:pt x="61" y="1"/>
                        <a:pt x="61" y="1"/>
                      </a:cubicBezTo>
                      <a:cubicBezTo>
                        <a:pt x="59" y="2"/>
                        <a:pt x="59" y="2"/>
                        <a:pt x="59" y="2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6" y="1"/>
                        <a:pt x="56" y="1"/>
                        <a:pt x="56" y="1"/>
                      </a:cubicBezTo>
                      <a:close/>
                      <a:moveTo>
                        <a:pt x="47" y="18"/>
                      </a:moveTo>
                      <a:cubicBezTo>
                        <a:pt x="45" y="17"/>
                        <a:pt x="45" y="17"/>
                        <a:pt x="45" y="17"/>
                      </a:cubicBezTo>
                      <a:cubicBezTo>
                        <a:pt x="45" y="16"/>
                        <a:pt x="45" y="16"/>
                        <a:pt x="45" y="16"/>
                      </a:cubicBezTo>
                      <a:cubicBezTo>
                        <a:pt x="45" y="15"/>
                        <a:pt x="45" y="15"/>
                        <a:pt x="45" y="15"/>
                      </a:cubicBez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8" y="18"/>
                        <a:pt x="48" y="18"/>
                        <a:pt x="48" y="18"/>
                      </a:cubicBezTo>
                      <a:cubicBezTo>
                        <a:pt x="47" y="18"/>
                        <a:pt x="47" y="18"/>
                        <a:pt x="47" y="18"/>
                      </a:cubicBezTo>
                      <a:close/>
                      <a:moveTo>
                        <a:pt x="56" y="33"/>
                      </a:moveTo>
                      <a:cubicBezTo>
                        <a:pt x="56" y="33"/>
                        <a:pt x="57" y="33"/>
                        <a:pt x="57" y="33"/>
                      </a:cubicBezTo>
                      <a:cubicBezTo>
                        <a:pt x="59" y="32"/>
                        <a:pt x="59" y="32"/>
                        <a:pt x="59" y="32"/>
                      </a:cubicBezTo>
                      <a:cubicBezTo>
                        <a:pt x="60" y="31"/>
                        <a:pt x="60" y="31"/>
                        <a:pt x="60" y="31"/>
                      </a:cubicBezTo>
                      <a:cubicBezTo>
                        <a:pt x="63" y="31"/>
                        <a:pt x="63" y="31"/>
                        <a:pt x="63" y="31"/>
                      </a:cubicBezTo>
                      <a:cubicBezTo>
                        <a:pt x="66" y="31"/>
                        <a:pt x="66" y="31"/>
                        <a:pt x="66" y="31"/>
                      </a:cubicBezTo>
                      <a:cubicBezTo>
                        <a:pt x="67" y="30"/>
                        <a:pt x="67" y="30"/>
                        <a:pt x="67" y="30"/>
                      </a:cubicBezTo>
                      <a:cubicBezTo>
                        <a:pt x="69" y="30"/>
                        <a:pt x="69" y="30"/>
                        <a:pt x="69" y="30"/>
                      </a:cubicBezTo>
                      <a:cubicBezTo>
                        <a:pt x="69" y="30"/>
                        <a:pt x="69" y="30"/>
                        <a:pt x="69" y="30"/>
                      </a:cubicBezTo>
                      <a:cubicBezTo>
                        <a:pt x="69" y="31"/>
                        <a:pt x="69" y="31"/>
                        <a:pt x="69" y="31"/>
                      </a:cubicBezTo>
                      <a:cubicBezTo>
                        <a:pt x="69" y="32"/>
                        <a:pt x="69" y="32"/>
                        <a:pt x="69" y="32"/>
                      </a:cubicBezTo>
                      <a:cubicBezTo>
                        <a:pt x="68" y="33"/>
                        <a:pt x="68" y="33"/>
                        <a:pt x="68" y="33"/>
                      </a:cubicBezTo>
                      <a:cubicBezTo>
                        <a:pt x="67" y="34"/>
                        <a:pt x="67" y="34"/>
                        <a:pt x="67" y="34"/>
                      </a:cubicBezTo>
                      <a:cubicBezTo>
                        <a:pt x="65" y="33"/>
                        <a:pt x="65" y="33"/>
                        <a:pt x="65" y="33"/>
                      </a:cubicBezTo>
                      <a:cubicBezTo>
                        <a:pt x="63" y="33"/>
                        <a:pt x="63" y="33"/>
                        <a:pt x="63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4"/>
                        <a:pt x="61" y="34"/>
                        <a:pt x="61" y="34"/>
                      </a:cubicBezTo>
                      <a:cubicBezTo>
                        <a:pt x="61" y="34"/>
                        <a:pt x="61" y="34"/>
                        <a:pt x="61" y="34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37"/>
                        <a:pt x="65" y="37"/>
                        <a:pt x="65" y="37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2" y="36"/>
                        <a:pt x="62" y="36"/>
                        <a:pt x="62" y="36"/>
                      </a:cubicBezTo>
                      <a:cubicBezTo>
                        <a:pt x="62" y="37"/>
                        <a:pt x="62" y="37"/>
                        <a:pt x="62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59" y="35"/>
                        <a:pt x="59" y="35"/>
                        <a:pt x="59" y="35"/>
                      </a:cubicBezTo>
                      <a:cubicBezTo>
                        <a:pt x="57" y="35"/>
                        <a:pt x="57" y="35"/>
                        <a:pt x="57" y="35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7"/>
                        <a:pt x="55" y="37"/>
                        <a:pt x="55" y="37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61" y="41"/>
                        <a:pt x="61" y="41"/>
                        <a:pt x="61" y="41"/>
                      </a:cubicBezTo>
                      <a:cubicBezTo>
                        <a:pt x="62" y="40"/>
                        <a:pt x="62" y="40"/>
                        <a:pt x="62" y="40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4" y="42"/>
                        <a:pt x="64" y="42"/>
                        <a:pt x="64" y="42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5" y="44"/>
                        <a:pt x="65" y="44"/>
                        <a:pt x="65" y="44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70" y="43"/>
                        <a:pt x="70" y="43"/>
                        <a:pt x="70" y="43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4" y="42"/>
                        <a:pt x="74" y="42"/>
                        <a:pt x="74" y="42"/>
                      </a:cubicBezTo>
                      <a:cubicBezTo>
                        <a:pt x="77" y="42"/>
                        <a:pt x="77" y="42"/>
                        <a:pt x="77" y="42"/>
                      </a:cubicBezTo>
                      <a:cubicBezTo>
                        <a:pt x="77" y="43"/>
                        <a:pt x="77" y="43"/>
                        <a:pt x="77" y="43"/>
                      </a:cubicBezTo>
                      <a:cubicBezTo>
                        <a:pt x="77" y="44"/>
                        <a:pt x="77" y="44"/>
                        <a:pt x="77" y="44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9" y="48"/>
                        <a:pt x="79" y="48"/>
                        <a:pt x="79" y="48"/>
                      </a:cubicBezTo>
                      <a:cubicBezTo>
                        <a:pt x="81" y="48"/>
                        <a:pt x="81" y="48"/>
                        <a:pt x="81" y="48"/>
                      </a:cubicBezTo>
                      <a:cubicBezTo>
                        <a:pt x="84" y="47"/>
                        <a:pt x="84" y="47"/>
                        <a:pt x="84" y="47"/>
                      </a:cubicBezTo>
                      <a:cubicBezTo>
                        <a:pt x="85" y="46"/>
                        <a:pt x="85" y="46"/>
                        <a:pt x="85" y="46"/>
                      </a:cubicBezTo>
                      <a:cubicBezTo>
                        <a:pt x="84" y="45"/>
                        <a:pt x="84" y="45"/>
                        <a:pt x="84" y="45"/>
                      </a:cubicBezTo>
                      <a:cubicBezTo>
                        <a:pt x="84" y="44"/>
                        <a:pt x="84" y="44"/>
                        <a:pt x="84" y="44"/>
                      </a:cubicBezTo>
                      <a:cubicBezTo>
                        <a:pt x="85" y="43"/>
                        <a:pt x="85" y="43"/>
                        <a:pt x="85" y="43"/>
                      </a:cubicBezTo>
                      <a:cubicBezTo>
                        <a:pt x="87" y="41"/>
                        <a:pt x="87" y="41"/>
                        <a:pt x="87" y="41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42"/>
                        <a:pt x="89" y="42"/>
                        <a:pt x="89" y="42"/>
                      </a:cubicBezTo>
                      <a:cubicBezTo>
                        <a:pt x="91" y="43"/>
                        <a:pt x="91" y="43"/>
                        <a:pt x="91" y="43"/>
                      </a:cubicBezTo>
                      <a:cubicBezTo>
                        <a:pt x="93" y="43"/>
                        <a:pt x="93" y="43"/>
                        <a:pt x="93" y="43"/>
                      </a:cubicBezTo>
                      <a:cubicBezTo>
                        <a:pt x="95" y="41"/>
                        <a:pt x="95" y="41"/>
                        <a:pt x="95" y="41"/>
                      </a:cubicBezTo>
                      <a:cubicBezTo>
                        <a:pt x="95" y="40"/>
                        <a:pt x="95" y="40"/>
                        <a:pt x="95" y="40"/>
                      </a:cubicBezTo>
                      <a:cubicBezTo>
                        <a:pt x="95" y="38"/>
                        <a:pt x="95" y="38"/>
                        <a:pt x="95" y="38"/>
                      </a:cubicBezTo>
                      <a:cubicBezTo>
                        <a:pt x="94" y="36"/>
                        <a:pt x="94" y="36"/>
                        <a:pt x="94" y="36"/>
                      </a:cubicBezTo>
                      <a:cubicBezTo>
                        <a:pt x="95" y="35"/>
                        <a:pt x="95" y="35"/>
                        <a:pt x="95" y="35"/>
                      </a:cubicBezTo>
                      <a:cubicBezTo>
                        <a:pt x="97" y="34"/>
                        <a:pt x="97" y="34"/>
                        <a:pt x="97" y="34"/>
                      </a:cubicBezTo>
                      <a:cubicBezTo>
                        <a:pt x="98" y="31"/>
                        <a:pt x="98" y="31"/>
                        <a:pt x="98" y="31"/>
                      </a:cubicBezTo>
                      <a:cubicBezTo>
                        <a:pt x="99" y="29"/>
                        <a:pt x="99" y="29"/>
                        <a:pt x="99" y="29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102" y="25"/>
                        <a:pt x="102" y="25"/>
                        <a:pt x="102" y="25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101" y="22"/>
                        <a:pt x="101" y="22"/>
                        <a:pt x="101" y="22"/>
                      </a:cubicBezTo>
                      <a:cubicBezTo>
                        <a:pt x="101" y="21"/>
                        <a:pt x="101" y="21"/>
                        <a:pt x="101" y="21"/>
                      </a:cubicBezTo>
                      <a:cubicBezTo>
                        <a:pt x="101" y="20"/>
                        <a:pt x="101" y="20"/>
                        <a:pt x="101" y="20"/>
                      </a:cubicBezTo>
                      <a:cubicBezTo>
                        <a:pt x="102" y="18"/>
                        <a:pt x="102" y="18"/>
                        <a:pt x="102" y="18"/>
                      </a:cubicBezTo>
                      <a:cubicBezTo>
                        <a:pt x="101" y="18"/>
                        <a:pt x="101" y="18"/>
                        <a:pt x="101" y="18"/>
                      </a:cubicBezTo>
                      <a:cubicBezTo>
                        <a:pt x="98" y="18"/>
                        <a:pt x="98" y="18"/>
                        <a:pt x="98" y="18"/>
                      </a:cubicBezTo>
                      <a:cubicBezTo>
                        <a:pt x="97" y="16"/>
                        <a:pt x="97" y="16"/>
                        <a:pt x="97" y="16"/>
                      </a:cubicBezTo>
                      <a:cubicBezTo>
                        <a:pt x="96" y="16"/>
                        <a:pt x="96" y="16"/>
                        <a:pt x="96" y="16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91" y="16"/>
                        <a:pt x="91" y="16"/>
                        <a:pt x="91" y="16"/>
                      </a:cubicBezTo>
                      <a:cubicBezTo>
                        <a:pt x="89" y="15"/>
                        <a:pt x="89" y="15"/>
                        <a:pt x="89" y="15"/>
                      </a:cubicBezTo>
                      <a:cubicBezTo>
                        <a:pt x="88" y="15"/>
                        <a:pt x="88" y="15"/>
                        <a:pt x="88" y="15"/>
                      </a:cubicBezTo>
                      <a:cubicBezTo>
                        <a:pt x="86" y="15"/>
                        <a:pt x="86" y="15"/>
                        <a:pt x="86" y="15"/>
                      </a:cubicBezTo>
                      <a:cubicBezTo>
                        <a:pt x="86" y="14"/>
                        <a:pt x="86" y="14"/>
                        <a:pt x="86" y="14"/>
                      </a:cubicBezTo>
                      <a:cubicBezTo>
                        <a:pt x="85" y="13"/>
                        <a:pt x="85" y="13"/>
                        <a:pt x="85" y="13"/>
                      </a:cubicBezTo>
                      <a:cubicBezTo>
                        <a:pt x="84" y="14"/>
                        <a:pt x="84" y="14"/>
                        <a:pt x="84" y="14"/>
                      </a:cubicBezTo>
                      <a:cubicBezTo>
                        <a:pt x="84" y="13"/>
                        <a:pt x="84" y="13"/>
                        <a:pt x="84" y="13"/>
                      </a:cubicBezTo>
                      <a:cubicBezTo>
                        <a:pt x="84" y="12"/>
                        <a:pt x="84" y="12"/>
                        <a:pt x="84" y="12"/>
                      </a:cubicBezTo>
                      <a:cubicBezTo>
                        <a:pt x="84" y="11"/>
                        <a:pt x="84" y="11"/>
                        <a:pt x="84" y="11"/>
                      </a:cubicBezTo>
                      <a:cubicBezTo>
                        <a:pt x="83" y="12"/>
                        <a:pt x="83" y="12"/>
                        <a:pt x="83" y="12"/>
                      </a:cubicBezTo>
                      <a:cubicBezTo>
                        <a:pt x="82" y="13"/>
                        <a:pt x="82" y="13"/>
                        <a:pt x="82" y="13"/>
                      </a:cubicBezTo>
                      <a:cubicBezTo>
                        <a:pt x="81" y="14"/>
                        <a:pt x="81" y="14"/>
                        <a:pt x="81" y="14"/>
                      </a:cubicBezTo>
                      <a:cubicBezTo>
                        <a:pt x="81" y="12"/>
                        <a:pt x="81" y="12"/>
                        <a:pt x="81" y="12"/>
                      </a:cubicBezTo>
                      <a:cubicBezTo>
                        <a:pt x="80" y="11"/>
                        <a:pt x="80" y="11"/>
                        <a:pt x="80" y="11"/>
                      </a:cubicBezTo>
                      <a:cubicBezTo>
                        <a:pt x="80" y="12"/>
                        <a:pt x="80" y="12"/>
                        <a:pt x="80" y="12"/>
                      </a:cubicBezTo>
                      <a:cubicBezTo>
                        <a:pt x="80" y="13"/>
                        <a:pt x="80" y="13"/>
                        <a:pt x="80" y="13"/>
                      </a:cubicBezTo>
                      <a:cubicBezTo>
                        <a:pt x="80" y="14"/>
                        <a:pt x="80" y="14"/>
                        <a:pt x="80" y="14"/>
                      </a:cubicBezTo>
                      <a:cubicBezTo>
                        <a:pt x="78" y="15"/>
                        <a:pt x="78" y="15"/>
                        <a:pt x="78" y="15"/>
                      </a:cubicBezTo>
                      <a:cubicBezTo>
                        <a:pt x="78" y="17"/>
                        <a:pt x="78" y="17"/>
                        <a:pt x="78" y="17"/>
                      </a:cubicBezTo>
                      <a:cubicBezTo>
                        <a:pt x="78" y="18"/>
                        <a:pt x="78" y="18"/>
                        <a:pt x="78" y="18"/>
                      </a:cubicBezTo>
                      <a:cubicBezTo>
                        <a:pt x="77" y="18"/>
                        <a:pt x="77" y="18"/>
                        <a:pt x="77" y="18"/>
                      </a:cubicBezTo>
                      <a:cubicBezTo>
                        <a:pt x="76" y="17"/>
                        <a:pt x="76" y="17"/>
                        <a:pt x="76" y="17"/>
                      </a:cubicBezTo>
                      <a:cubicBezTo>
                        <a:pt x="76" y="16"/>
                        <a:pt x="76" y="16"/>
                        <a:pt x="76" y="16"/>
                      </a:cubicBezTo>
                      <a:cubicBezTo>
                        <a:pt x="76" y="18"/>
                        <a:pt x="76" y="18"/>
                        <a:pt x="76" y="18"/>
                      </a:cubicBezTo>
                      <a:cubicBezTo>
                        <a:pt x="75" y="19"/>
                        <a:pt x="75" y="19"/>
                        <a:pt x="75" y="19"/>
                      </a:cubicBezTo>
                      <a:cubicBezTo>
                        <a:pt x="75" y="18"/>
                        <a:pt x="75" y="18"/>
                        <a:pt x="75" y="18"/>
                      </a:cubicBezTo>
                      <a:cubicBezTo>
                        <a:pt x="75" y="16"/>
                        <a:pt x="75" y="16"/>
                        <a:pt x="75" y="16"/>
                      </a:cubicBezTo>
                      <a:cubicBezTo>
                        <a:pt x="75" y="14"/>
                        <a:pt x="75" y="14"/>
                        <a:pt x="75" y="14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3" y="9"/>
                        <a:pt x="73" y="9"/>
                        <a:pt x="73" y="9"/>
                      </a:cubicBezTo>
                      <a:cubicBezTo>
                        <a:pt x="72" y="7"/>
                        <a:pt x="72" y="7"/>
                        <a:pt x="72" y="7"/>
                      </a:cubicBezTo>
                      <a:cubicBezTo>
                        <a:pt x="71" y="7"/>
                        <a:pt x="71" y="7"/>
                        <a:pt x="71" y="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2" y="10"/>
                        <a:pt x="72" y="10"/>
                        <a:pt x="72" y="10"/>
                      </a:cubicBezTo>
                      <a:cubicBezTo>
                        <a:pt x="72" y="11"/>
                        <a:pt x="72" y="11"/>
                        <a:pt x="72" y="11"/>
                      </a:cubicBezTo>
                      <a:cubicBezTo>
                        <a:pt x="71" y="11"/>
                        <a:pt x="71" y="11"/>
                        <a:pt x="71" y="11"/>
                      </a:cubicBezTo>
                      <a:cubicBezTo>
                        <a:pt x="70" y="10"/>
                        <a:pt x="70" y="10"/>
                        <a:pt x="70" y="10"/>
                      </a:cubicBezTo>
                      <a:cubicBezTo>
                        <a:pt x="69" y="10"/>
                        <a:pt x="69" y="10"/>
                        <a:pt x="69" y="10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1" y="14"/>
                        <a:pt x="71" y="14"/>
                        <a:pt x="71" y="14"/>
                      </a:cubicBezTo>
                      <a:cubicBezTo>
                        <a:pt x="71" y="16"/>
                        <a:pt x="71" y="16"/>
                        <a:pt x="71" y="16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2" y="22"/>
                        <a:pt x="72" y="22"/>
                        <a:pt x="72" y="22"/>
                      </a:cubicBezTo>
                      <a:cubicBezTo>
                        <a:pt x="71" y="24"/>
                        <a:pt x="71" y="24"/>
                        <a:pt x="71" y="24"/>
                      </a:cubicBezTo>
                      <a:cubicBezTo>
                        <a:pt x="70" y="24"/>
                        <a:pt x="70" y="24"/>
                        <a:pt x="70" y="24"/>
                      </a:cubicBezTo>
                      <a:cubicBezTo>
                        <a:pt x="70" y="22"/>
                        <a:pt x="70" y="22"/>
                        <a:pt x="70" y="22"/>
                      </a:cubicBezTo>
                      <a:cubicBezTo>
                        <a:pt x="68" y="21"/>
                        <a:pt x="68" y="21"/>
                        <a:pt x="68" y="21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6" y="18"/>
                        <a:pt x="66" y="18"/>
                        <a:pt x="66" y="18"/>
                      </a:cubicBezTo>
                      <a:cubicBezTo>
                        <a:pt x="67" y="17"/>
                        <a:pt x="67" y="17"/>
                        <a:pt x="67" y="17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66" y="15"/>
                        <a:pt x="66" y="15"/>
                        <a:pt x="66" y="15"/>
                      </a:cubicBezTo>
                      <a:cubicBezTo>
                        <a:pt x="64" y="16"/>
                        <a:pt x="64" y="16"/>
                        <a:pt x="64" y="16"/>
                      </a:cubicBezTo>
                      <a:cubicBezTo>
                        <a:pt x="63" y="16"/>
                        <a:pt x="63" y="16"/>
                        <a:pt x="63" y="16"/>
                      </a:cubicBezTo>
                      <a:cubicBezTo>
                        <a:pt x="63" y="17"/>
                        <a:pt x="63" y="17"/>
                        <a:pt x="63" y="17"/>
                      </a:cubicBezTo>
                      <a:cubicBezTo>
                        <a:pt x="61" y="18"/>
                        <a:pt x="61" y="18"/>
                        <a:pt x="61" y="18"/>
                      </a:cubicBezTo>
                      <a:cubicBezTo>
                        <a:pt x="60" y="17"/>
                        <a:pt x="60" y="17"/>
                        <a:pt x="60" y="17"/>
                      </a:cubicBezTo>
                      <a:cubicBezTo>
                        <a:pt x="60" y="16"/>
                        <a:pt x="60" y="16"/>
                        <a:pt x="60" y="16"/>
                      </a:cubicBezTo>
                      <a:cubicBezTo>
                        <a:pt x="60" y="16"/>
                        <a:pt x="60" y="16"/>
                        <a:pt x="6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7" y="12"/>
                        <a:pt x="57" y="12"/>
                        <a:pt x="57" y="12"/>
                      </a:cubicBezTo>
                      <a:cubicBezTo>
                        <a:pt x="56" y="12"/>
                        <a:pt x="56" y="12"/>
                        <a:pt x="56" y="12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cubicBezTo>
                        <a:pt x="54" y="9"/>
                        <a:pt x="54" y="9"/>
                        <a:pt x="54" y="9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3" y="7"/>
                        <a:pt x="53" y="7"/>
                        <a:pt x="53" y="7"/>
                      </a:cubicBezTo>
                      <a:cubicBezTo>
                        <a:pt x="52" y="9"/>
                        <a:pt x="52" y="9"/>
                        <a:pt x="52" y="9"/>
                      </a:cubicBezTo>
                      <a:cubicBezTo>
                        <a:pt x="52" y="11"/>
                        <a:pt x="52" y="11"/>
                        <a:pt x="52" y="11"/>
                      </a:cubicBezTo>
                      <a:cubicBezTo>
                        <a:pt x="52" y="13"/>
                        <a:pt x="52" y="13"/>
                        <a:pt x="52" y="13"/>
                      </a:cubicBezTo>
                      <a:cubicBezTo>
                        <a:pt x="53" y="15"/>
                        <a:pt x="53" y="15"/>
                        <a:pt x="53" y="15"/>
                      </a:cubicBezTo>
                      <a:cubicBezTo>
                        <a:pt x="54" y="18"/>
                        <a:pt x="54" y="18"/>
                        <a:pt x="54" y="18"/>
                      </a:cubicBezTo>
                      <a:cubicBezTo>
                        <a:pt x="53" y="19"/>
                        <a:pt x="53" y="19"/>
                        <a:pt x="53" y="19"/>
                      </a:cubicBezTo>
                      <a:cubicBezTo>
                        <a:pt x="52" y="17"/>
                        <a:pt x="52" y="17"/>
                        <a:pt x="52" y="17"/>
                      </a:cubicBezTo>
                      <a:cubicBezTo>
                        <a:pt x="51" y="16"/>
                        <a:pt x="51" y="16"/>
                        <a:pt x="51" y="16"/>
                      </a:cubicBezTo>
                      <a:cubicBezTo>
                        <a:pt x="50" y="15"/>
                        <a:pt x="50" y="15"/>
                        <a:pt x="50" y="15"/>
                      </a:cubicBezTo>
                      <a:cubicBezTo>
                        <a:pt x="50" y="17"/>
                        <a:pt x="50" y="17"/>
                        <a:pt x="50" y="17"/>
                      </a:cubicBezTo>
                      <a:cubicBezTo>
                        <a:pt x="51" y="19"/>
                        <a:pt x="51" y="19"/>
                        <a:pt x="51" y="19"/>
                      </a:cubicBezTo>
                      <a:cubicBezTo>
                        <a:pt x="52" y="20"/>
                        <a:pt x="52" y="20"/>
                        <a:pt x="52" y="20"/>
                      </a:cubicBezTo>
                      <a:cubicBezTo>
                        <a:pt x="52" y="22"/>
                        <a:pt x="52" y="22"/>
                        <a:pt x="52" y="22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0" y="23"/>
                        <a:pt x="50" y="23"/>
                        <a:pt x="50" y="23"/>
                      </a:cubicBezTo>
                      <a:cubicBezTo>
                        <a:pt x="50" y="20"/>
                        <a:pt x="50" y="20"/>
                        <a:pt x="50" y="20"/>
                      </a:cubicBez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46" y="20"/>
                        <a:pt x="46" y="20"/>
                        <a:pt x="46" y="20"/>
                      </a:cubicBezTo>
                      <a:cubicBezTo>
                        <a:pt x="44" y="19"/>
                        <a:pt x="44" y="19"/>
                        <a:pt x="44" y="19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4" y="22"/>
                        <a:pt x="44" y="22"/>
                        <a:pt x="44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4"/>
                        <a:pt x="46" y="24"/>
                        <a:pt x="46" y="24"/>
                      </a:cubicBezTo>
                      <a:cubicBezTo>
                        <a:pt x="46" y="25"/>
                        <a:pt x="46" y="25"/>
                        <a:pt x="46" y="25"/>
                      </a:cubicBezTo>
                      <a:cubicBezTo>
                        <a:pt x="48" y="25"/>
                        <a:pt x="48" y="25"/>
                        <a:pt x="48" y="25"/>
                      </a:cubicBezTo>
                      <a:cubicBezTo>
                        <a:pt x="48" y="25"/>
                        <a:pt x="48" y="25"/>
                        <a:pt x="48" y="25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8" y="31"/>
                        <a:pt x="48" y="31"/>
                        <a:pt x="48" y="31"/>
                      </a:cubicBezTo>
                      <a:cubicBezTo>
                        <a:pt x="49" y="32"/>
                        <a:pt x="49" y="32"/>
                        <a:pt x="49" y="32"/>
                      </a:cubicBezTo>
                      <a:cubicBezTo>
                        <a:pt x="51" y="33"/>
                        <a:pt x="51" y="33"/>
                        <a:pt x="51" y="33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lose/>
                      <a:moveTo>
                        <a:pt x="110" y="55"/>
                      </a:moveTo>
                      <a:cubicBezTo>
                        <a:pt x="112" y="53"/>
                        <a:pt x="112" y="53"/>
                        <a:pt x="112" y="53"/>
                      </a:cubicBezTo>
                      <a:cubicBezTo>
                        <a:pt x="114" y="51"/>
                        <a:pt x="114" y="51"/>
                        <a:pt x="114" y="51"/>
                      </a:cubicBezTo>
                      <a:cubicBezTo>
                        <a:pt x="115" y="51"/>
                        <a:pt x="115" y="51"/>
                        <a:pt x="115" y="51"/>
                      </a:cubicBezTo>
                      <a:cubicBezTo>
                        <a:pt x="116" y="50"/>
                        <a:pt x="116" y="50"/>
                        <a:pt x="116" y="50"/>
                      </a:cubicBezTo>
                      <a:cubicBezTo>
                        <a:pt x="117" y="51"/>
                        <a:pt x="117" y="51"/>
                        <a:pt x="117" y="51"/>
                      </a:cubicBezTo>
                      <a:cubicBezTo>
                        <a:pt x="119" y="52"/>
                        <a:pt x="119" y="52"/>
                        <a:pt x="119" y="52"/>
                      </a:cubicBezTo>
                      <a:cubicBezTo>
                        <a:pt x="121" y="52"/>
                        <a:pt x="121" y="52"/>
                        <a:pt x="121" y="52"/>
                      </a:cubicBezTo>
                      <a:cubicBezTo>
                        <a:pt x="120" y="53"/>
                        <a:pt x="120" y="53"/>
                        <a:pt x="120" y="53"/>
                      </a:cubicBezTo>
                      <a:cubicBezTo>
                        <a:pt x="118" y="54"/>
                        <a:pt x="118" y="54"/>
                        <a:pt x="118" y="54"/>
                      </a:cubicBezTo>
                      <a:cubicBezTo>
                        <a:pt x="116" y="53"/>
                        <a:pt x="116" y="53"/>
                        <a:pt x="116" y="53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4" y="53"/>
                        <a:pt x="114" y="53"/>
                        <a:pt x="114" y="53"/>
                      </a:cubicBezTo>
                      <a:cubicBezTo>
                        <a:pt x="113" y="53"/>
                        <a:pt x="113" y="53"/>
                        <a:pt x="113" y="53"/>
                      </a:cubicBezTo>
                      <a:cubicBezTo>
                        <a:pt x="111" y="56"/>
                        <a:pt x="111" y="56"/>
                        <a:pt x="111" y="56"/>
                      </a:cubicBezTo>
                      <a:cubicBezTo>
                        <a:pt x="110" y="55"/>
                        <a:pt x="110" y="55"/>
                        <a:pt x="110" y="55"/>
                      </a:cubicBezTo>
                      <a:close/>
                      <a:moveTo>
                        <a:pt x="103" y="62"/>
                      </a:moveTo>
                      <a:cubicBezTo>
                        <a:pt x="103" y="60"/>
                        <a:pt x="103" y="60"/>
                        <a:pt x="103" y="60"/>
                      </a:cubicBezTo>
                      <a:cubicBezTo>
                        <a:pt x="102" y="59"/>
                        <a:pt x="102" y="59"/>
                        <a:pt x="102" y="59"/>
                      </a:cubicBezTo>
                      <a:cubicBezTo>
                        <a:pt x="102" y="57"/>
                        <a:pt x="102" y="57"/>
                        <a:pt x="102" y="57"/>
                      </a:cubicBezTo>
                      <a:cubicBezTo>
                        <a:pt x="103" y="57"/>
                        <a:pt x="103" y="57"/>
                        <a:pt x="103" y="57"/>
                      </a:cubicBezTo>
                      <a:cubicBezTo>
                        <a:pt x="103" y="56"/>
                        <a:pt x="103" y="56"/>
                        <a:pt x="103" y="56"/>
                      </a:cubicBezTo>
                      <a:cubicBezTo>
                        <a:pt x="104" y="56"/>
                        <a:pt x="104" y="56"/>
                        <a:pt x="104" y="56"/>
                      </a:cubicBezTo>
                      <a:cubicBezTo>
                        <a:pt x="104" y="58"/>
                        <a:pt x="104" y="58"/>
                        <a:pt x="104" y="58"/>
                      </a:cubicBezTo>
                      <a:cubicBezTo>
                        <a:pt x="105" y="59"/>
                        <a:pt x="105" y="59"/>
                        <a:pt x="105" y="59"/>
                      </a:cubicBezTo>
                      <a:cubicBezTo>
                        <a:pt x="105" y="60"/>
                        <a:pt x="105" y="60"/>
                        <a:pt x="105" y="60"/>
                      </a:cubicBezTo>
                      <a:cubicBezTo>
                        <a:pt x="104" y="62"/>
                        <a:pt x="104" y="62"/>
                        <a:pt x="104" y="62"/>
                      </a:cubicBezTo>
                      <a:cubicBezTo>
                        <a:pt x="103" y="62"/>
                        <a:pt x="103" y="62"/>
                        <a:pt x="103" y="62"/>
                      </a:cubicBezTo>
                      <a:close/>
                      <a:moveTo>
                        <a:pt x="69" y="78"/>
                      </a:moveTo>
                      <a:cubicBezTo>
                        <a:pt x="70" y="76"/>
                        <a:pt x="70" y="76"/>
                        <a:pt x="70" y="76"/>
                      </a:cubicBezTo>
                      <a:cubicBezTo>
                        <a:pt x="71" y="75"/>
                        <a:pt x="71" y="75"/>
                        <a:pt x="71" y="75"/>
                      </a:cubicBezTo>
                      <a:cubicBezTo>
                        <a:pt x="75" y="74"/>
                        <a:pt x="75" y="74"/>
                        <a:pt x="75" y="74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80" y="72"/>
                        <a:pt x="80" y="72"/>
                        <a:pt x="80" y="72"/>
                      </a:cubicBezTo>
                      <a:cubicBezTo>
                        <a:pt x="82" y="70"/>
                        <a:pt x="82" y="70"/>
                        <a:pt x="82" y="70"/>
                      </a:cubicBezTo>
                      <a:cubicBezTo>
                        <a:pt x="83" y="72"/>
                        <a:pt x="83" y="72"/>
                        <a:pt x="83" y="72"/>
                      </a:cubicBezTo>
                      <a:cubicBezTo>
                        <a:pt x="85" y="74"/>
                        <a:pt x="85" y="74"/>
                        <a:pt x="85" y="74"/>
                      </a:cubicBezTo>
                      <a:cubicBezTo>
                        <a:pt x="84" y="75"/>
                        <a:pt x="84" y="75"/>
                        <a:pt x="84" y="75"/>
                      </a:cubicBezTo>
                      <a:cubicBezTo>
                        <a:pt x="83" y="76"/>
                        <a:pt x="83" y="76"/>
                        <a:pt x="83" y="76"/>
                      </a:cubicBezTo>
                      <a:cubicBezTo>
                        <a:pt x="82" y="77"/>
                        <a:pt x="82" y="77"/>
                        <a:pt x="82" y="77"/>
                      </a:cubicBezTo>
                      <a:cubicBezTo>
                        <a:pt x="83" y="79"/>
                        <a:pt x="83" y="79"/>
                        <a:pt x="83" y="79"/>
                      </a:cubicBezTo>
                      <a:cubicBezTo>
                        <a:pt x="85" y="82"/>
                        <a:pt x="85" y="82"/>
                        <a:pt x="85" y="82"/>
                      </a:cubicBezTo>
                      <a:cubicBezTo>
                        <a:pt x="87" y="83"/>
                        <a:pt x="87" y="83"/>
                        <a:pt x="87" y="83"/>
                      </a:cubicBezTo>
                      <a:cubicBezTo>
                        <a:pt x="89" y="82"/>
                        <a:pt x="89" y="82"/>
                        <a:pt x="89" y="82"/>
                      </a:cubicBezTo>
                      <a:cubicBezTo>
                        <a:pt x="91" y="81"/>
                        <a:pt x="91" y="81"/>
                        <a:pt x="91" y="81"/>
                      </a:cubicBezTo>
                      <a:cubicBezTo>
                        <a:pt x="92" y="82"/>
                        <a:pt x="92" y="82"/>
                        <a:pt x="92" y="82"/>
                      </a:cubicBezTo>
                      <a:cubicBezTo>
                        <a:pt x="93" y="83"/>
                        <a:pt x="93" y="83"/>
                        <a:pt x="93" y="83"/>
                      </a:cubicBezTo>
                      <a:cubicBezTo>
                        <a:pt x="95" y="83"/>
                        <a:pt x="95" y="83"/>
                        <a:pt x="95" y="83"/>
                      </a:cubicBezTo>
                      <a:cubicBezTo>
                        <a:pt x="94" y="84"/>
                        <a:pt x="94" y="84"/>
                        <a:pt x="94" y="84"/>
                      </a:cubicBezTo>
                      <a:cubicBezTo>
                        <a:pt x="92" y="85"/>
                        <a:pt x="92" y="85"/>
                        <a:pt x="92" y="85"/>
                      </a:cubicBezTo>
                      <a:cubicBezTo>
                        <a:pt x="90" y="88"/>
                        <a:pt x="90" y="88"/>
                        <a:pt x="90" y="88"/>
                      </a:cubicBezTo>
                      <a:cubicBezTo>
                        <a:pt x="90" y="90"/>
                        <a:pt x="90" y="90"/>
                        <a:pt x="90" y="90"/>
                      </a:cubicBezTo>
                      <a:cubicBezTo>
                        <a:pt x="89" y="94"/>
                        <a:pt x="89" y="94"/>
                        <a:pt x="89" y="94"/>
                      </a:cubicBezTo>
                      <a:cubicBezTo>
                        <a:pt x="87" y="94"/>
                        <a:pt x="87" y="94"/>
                        <a:pt x="87" y="94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5" y="97"/>
                        <a:pt x="85" y="97"/>
                        <a:pt x="85" y="97"/>
                      </a:cubicBezTo>
                      <a:cubicBezTo>
                        <a:pt x="85" y="98"/>
                        <a:pt x="85" y="98"/>
                        <a:pt x="85" y="98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2" y="99"/>
                        <a:pt x="82" y="99"/>
                        <a:pt x="82" y="99"/>
                      </a:cubicBezTo>
                      <a:cubicBezTo>
                        <a:pt x="81" y="98"/>
                        <a:pt x="81" y="98"/>
                        <a:pt x="81" y="98"/>
                      </a:cubicBezTo>
                      <a:cubicBezTo>
                        <a:pt x="83" y="96"/>
                        <a:pt x="83" y="96"/>
                        <a:pt x="83" y="96"/>
                      </a:cubicBezTo>
                      <a:cubicBezTo>
                        <a:pt x="82" y="94"/>
                        <a:pt x="82" y="94"/>
                        <a:pt x="82" y="94"/>
                      </a:cubicBezTo>
                      <a:cubicBezTo>
                        <a:pt x="83" y="91"/>
                        <a:pt x="83" y="91"/>
                        <a:pt x="83" y="91"/>
                      </a:cubicBezTo>
                      <a:cubicBezTo>
                        <a:pt x="83" y="89"/>
                        <a:pt x="83" y="89"/>
                        <a:pt x="83" y="89"/>
                      </a:cubicBezTo>
                      <a:cubicBezTo>
                        <a:pt x="82" y="90"/>
                        <a:pt x="82" y="90"/>
                        <a:pt x="82" y="90"/>
                      </a:cubicBezTo>
                      <a:cubicBezTo>
                        <a:pt x="81" y="89"/>
                        <a:pt x="81" y="89"/>
                        <a:pt x="81" y="89"/>
                      </a:cubicBezTo>
                      <a:cubicBezTo>
                        <a:pt x="80" y="90"/>
                        <a:pt x="80" y="90"/>
                        <a:pt x="80" y="90"/>
                      </a:cubicBezTo>
                      <a:cubicBezTo>
                        <a:pt x="79" y="92"/>
                        <a:pt x="79" y="92"/>
                        <a:pt x="79" y="92"/>
                      </a:cubicBezTo>
                      <a:cubicBezTo>
                        <a:pt x="77" y="94"/>
                        <a:pt x="77" y="94"/>
                        <a:pt x="77" y="94"/>
                      </a:cubicBezTo>
                      <a:cubicBezTo>
                        <a:pt x="76" y="93"/>
                        <a:pt x="76" y="93"/>
                        <a:pt x="76" y="93"/>
                      </a:cubicBezTo>
                      <a:cubicBezTo>
                        <a:pt x="74" y="95"/>
                        <a:pt x="74" y="95"/>
                        <a:pt x="74" y="95"/>
                      </a:cubicBezTo>
                      <a:cubicBezTo>
                        <a:pt x="72" y="95"/>
                        <a:pt x="72" y="95"/>
                        <a:pt x="72" y="95"/>
                      </a:cubicBezTo>
                      <a:cubicBezTo>
                        <a:pt x="71" y="96"/>
                        <a:pt x="71" y="96"/>
                        <a:pt x="71" y="96"/>
                      </a:cubicBezTo>
                      <a:cubicBezTo>
                        <a:pt x="70" y="96"/>
                        <a:pt x="70" y="96"/>
                        <a:pt x="70" y="96"/>
                      </a:cubicBezTo>
                      <a:cubicBezTo>
                        <a:pt x="70" y="95"/>
                        <a:pt x="70" y="95"/>
                        <a:pt x="70" y="95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0" y="92"/>
                        <a:pt x="70" y="92"/>
                        <a:pt x="70" y="92"/>
                      </a:cubicBezTo>
                      <a:cubicBezTo>
                        <a:pt x="72" y="91"/>
                        <a:pt x="72" y="91"/>
                        <a:pt x="72" y="91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73" y="85"/>
                        <a:pt x="73" y="85"/>
                        <a:pt x="73" y="85"/>
                      </a:cubicBezTo>
                      <a:cubicBezTo>
                        <a:pt x="73" y="83"/>
                        <a:pt x="73" y="83"/>
                        <a:pt x="73" y="83"/>
                      </a:cubicBezTo>
                      <a:cubicBezTo>
                        <a:pt x="74" y="82"/>
                        <a:pt x="74" y="82"/>
                        <a:pt x="74" y="82"/>
                      </a:cubicBezTo>
                      <a:cubicBezTo>
                        <a:pt x="74" y="81"/>
                        <a:pt x="74" y="81"/>
                        <a:pt x="74" y="81"/>
                      </a:cubicBezTo>
                      <a:cubicBezTo>
                        <a:pt x="72" y="81"/>
                        <a:pt x="72" y="81"/>
                        <a:pt x="72" y="81"/>
                      </a:cubicBezTo>
                      <a:cubicBezTo>
                        <a:pt x="70" y="79"/>
                        <a:pt x="70" y="79"/>
                        <a:pt x="70" y="79"/>
                      </a:cubicBezTo>
                      <a:cubicBezTo>
                        <a:pt x="69" y="78"/>
                        <a:pt x="69" y="78"/>
                        <a:pt x="69" y="78"/>
                      </a:cubicBezTo>
                      <a:close/>
                      <a:moveTo>
                        <a:pt x="60" y="50"/>
                      </a:moveTo>
                      <a:cubicBezTo>
                        <a:pt x="60" y="52"/>
                        <a:pt x="60" y="52"/>
                        <a:pt x="60" y="52"/>
                      </a:cubicBezTo>
                      <a:cubicBezTo>
                        <a:pt x="61" y="53"/>
                        <a:pt x="61" y="53"/>
                        <a:pt x="61" y="53"/>
                      </a:cubicBezTo>
                      <a:cubicBezTo>
                        <a:pt x="63" y="53"/>
                        <a:pt x="63" y="53"/>
                        <a:pt x="63" y="53"/>
                      </a:cubicBezTo>
                      <a:cubicBezTo>
                        <a:pt x="65" y="53"/>
                        <a:pt x="65" y="53"/>
                        <a:pt x="65" y="53"/>
                      </a:cubicBezTo>
                      <a:cubicBezTo>
                        <a:pt x="65" y="51"/>
                        <a:pt x="65" y="51"/>
                        <a:pt x="65" y="51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0" y="50"/>
                        <a:pt x="60" y="50"/>
                        <a:pt x="60" y="50"/>
                      </a:cubicBezTo>
                      <a:close/>
                      <a:moveTo>
                        <a:pt x="63" y="67"/>
                      </a:move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7" y="68"/>
                        <a:pt x="67" y="68"/>
                        <a:pt x="67" y="68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8" y="71"/>
                        <a:pt x="68" y="71"/>
                        <a:pt x="68" y="71"/>
                      </a:cubicBezTo>
                      <a:cubicBezTo>
                        <a:pt x="68" y="72"/>
                        <a:pt x="68" y="72"/>
                        <a:pt x="68" y="72"/>
                      </a:cubicBezTo>
                      <a:cubicBezTo>
                        <a:pt x="69" y="73"/>
                        <a:pt x="69" y="73"/>
                        <a:pt x="69" y="73"/>
                      </a:cubicBezTo>
                      <a:cubicBezTo>
                        <a:pt x="68" y="74"/>
                        <a:pt x="68" y="74"/>
                        <a:pt x="68" y="74"/>
                      </a:cubicBezTo>
                      <a:cubicBezTo>
                        <a:pt x="69" y="74"/>
                        <a:pt x="69" y="74"/>
                        <a:pt x="69" y="74"/>
                      </a:cubicBezTo>
                      <a:cubicBezTo>
                        <a:pt x="70" y="74"/>
                        <a:pt x="70" y="74"/>
                        <a:pt x="70" y="74"/>
                      </a:cubicBezTo>
                      <a:cubicBezTo>
                        <a:pt x="71" y="73"/>
                        <a:pt x="71" y="73"/>
                        <a:pt x="71" y="73"/>
                      </a:cubicBezTo>
                      <a:cubicBezTo>
                        <a:pt x="74" y="72"/>
                        <a:pt x="74" y="72"/>
                        <a:pt x="74" y="72"/>
                      </a:cubicBezTo>
                      <a:cubicBezTo>
                        <a:pt x="75" y="72"/>
                        <a:pt x="75" y="72"/>
                        <a:pt x="75" y="72"/>
                      </a:cubicBezTo>
                      <a:cubicBezTo>
                        <a:pt x="76" y="71"/>
                        <a:pt x="76" y="71"/>
                        <a:pt x="76" y="71"/>
                      </a:cubicBezTo>
                      <a:cubicBezTo>
                        <a:pt x="76" y="70"/>
                        <a:pt x="76" y="70"/>
                        <a:pt x="76" y="70"/>
                      </a:cubicBezTo>
                      <a:cubicBezTo>
                        <a:pt x="76" y="67"/>
                        <a:pt x="76" y="67"/>
                        <a:pt x="76" y="67"/>
                      </a:cubicBezTo>
                      <a:cubicBezTo>
                        <a:pt x="77" y="66"/>
                        <a:pt x="77" y="66"/>
                        <a:pt x="77" y="66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7" y="63"/>
                        <a:pt x="77" y="63"/>
                        <a:pt x="77" y="63"/>
                      </a:cubicBezTo>
                      <a:cubicBezTo>
                        <a:pt x="76" y="63"/>
                        <a:pt x="76" y="63"/>
                        <a:pt x="76" y="63"/>
                      </a:cubicBezTo>
                      <a:cubicBezTo>
                        <a:pt x="75" y="62"/>
                        <a:pt x="75" y="62"/>
                        <a:pt x="75" y="62"/>
                      </a:cubicBezTo>
                      <a:cubicBezTo>
                        <a:pt x="74" y="62"/>
                        <a:pt x="74" y="62"/>
                        <a:pt x="74" y="62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1" y="64"/>
                        <a:pt x="71" y="64"/>
                        <a:pt x="71" y="64"/>
                      </a:cubicBezTo>
                      <a:cubicBezTo>
                        <a:pt x="70" y="63"/>
                        <a:pt x="70" y="63"/>
                        <a:pt x="70" y="63"/>
                      </a:cubicBezTo>
                      <a:cubicBezTo>
                        <a:pt x="70" y="62"/>
                        <a:pt x="70" y="62"/>
                        <a:pt x="70" y="62"/>
                      </a:cubicBezTo>
                      <a:cubicBezTo>
                        <a:pt x="68" y="63"/>
                        <a:pt x="68" y="63"/>
                        <a:pt x="68" y="63"/>
                      </a:cubicBezTo>
                      <a:cubicBezTo>
                        <a:pt x="68" y="65"/>
                        <a:pt x="68" y="65"/>
                        <a:pt x="68" y="65"/>
                      </a:cubicBezTo>
                      <a:cubicBezTo>
                        <a:pt x="67" y="65"/>
                        <a:pt x="67" y="65"/>
                        <a:pt x="67" y="65"/>
                      </a:cubicBezTo>
                      <a:cubicBezTo>
                        <a:pt x="66" y="65"/>
                        <a:pt x="66" y="65"/>
                        <a:pt x="66" y="65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lose/>
                      <a:moveTo>
                        <a:pt x="10" y="76"/>
                      </a:moveTo>
                      <a:cubicBezTo>
                        <a:pt x="9" y="74"/>
                        <a:pt x="9" y="74"/>
                        <a:pt x="9" y="74"/>
                      </a:cubicBezTo>
                      <a:cubicBezTo>
                        <a:pt x="8" y="73"/>
                        <a:pt x="8" y="73"/>
                        <a:pt x="8" y="73"/>
                      </a:cubicBezTo>
                      <a:cubicBezTo>
                        <a:pt x="7" y="72"/>
                        <a:pt x="7" y="72"/>
                        <a:pt x="7" y="72"/>
                      </a:cubicBezTo>
                      <a:cubicBezTo>
                        <a:pt x="6" y="70"/>
                        <a:pt x="6" y="70"/>
                        <a:pt x="6" y="70"/>
                      </a:cubicBezTo>
                      <a:cubicBezTo>
                        <a:pt x="4" y="70"/>
                        <a:pt x="4" y="70"/>
                        <a:pt x="4" y="70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3" y="65"/>
                        <a:pt x="3" y="65"/>
                        <a:pt x="3" y="65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1" y="62"/>
                        <a:pt x="1" y="62"/>
                        <a:pt x="1" y="62"/>
                      </a:cubicBezTo>
                      <a:cubicBezTo>
                        <a:pt x="1" y="59"/>
                        <a:pt x="1" y="59"/>
                        <a:pt x="1" y="59"/>
                      </a:cubicBezTo>
                      <a:cubicBezTo>
                        <a:pt x="2" y="58"/>
                        <a:pt x="2" y="58"/>
                        <a:pt x="2" y="58"/>
                      </a:cubicBezTo>
                      <a:cubicBezTo>
                        <a:pt x="3" y="59"/>
                        <a:pt x="3" y="59"/>
                        <a:pt x="3" y="59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6" y="67"/>
                        <a:pt x="6" y="67"/>
                        <a:pt x="6" y="67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8" y="68"/>
                        <a:pt x="8" y="68"/>
                        <a:pt x="8" y="68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9" y="69"/>
                        <a:pt x="9" y="69"/>
                        <a:pt x="9" y="69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1" y="73"/>
                        <a:pt x="11" y="73"/>
                        <a:pt x="11" y="73"/>
                      </a:cubicBezTo>
                      <a:cubicBezTo>
                        <a:pt x="11" y="75"/>
                        <a:pt x="11" y="75"/>
                        <a:pt x="11" y="75"/>
                      </a:cubicBezTo>
                      <a:cubicBezTo>
                        <a:pt x="11" y="76"/>
                        <a:pt x="11" y="76"/>
                        <a:pt x="11" y="76"/>
                      </a:cubicBezTo>
                      <a:cubicBezTo>
                        <a:pt x="10" y="77"/>
                        <a:pt x="10" y="77"/>
                        <a:pt x="10" y="77"/>
                      </a:cubicBezTo>
                      <a:cubicBezTo>
                        <a:pt x="10" y="77"/>
                        <a:pt x="10" y="76"/>
                        <a:pt x="10" y="76"/>
                      </a:cubicBezTo>
                      <a:close/>
                      <a:moveTo>
                        <a:pt x="46" y="121"/>
                      </a:moveTo>
                      <a:cubicBezTo>
                        <a:pt x="45" y="120"/>
                        <a:pt x="45" y="120"/>
                        <a:pt x="45" y="120"/>
                      </a:cubicBezTo>
                      <a:cubicBezTo>
                        <a:pt x="44" y="120"/>
                        <a:pt x="44" y="120"/>
                        <a:pt x="44" y="120"/>
                      </a:cubicBezTo>
                      <a:cubicBezTo>
                        <a:pt x="44" y="121"/>
                        <a:pt x="44" y="121"/>
                        <a:pt x="44" y="121"/>
                      </a:cubicBezTo>
                      <a:cubicBezTo>
                        <a:pt x="43" y="121"/>
                        <a:pt x="43" y="121"/>
                        <a:pt x="43" y="121"/>
                      </a:cubicBezTo>
                      <a:cubicBezTo>
                        <a:pt x="43" y="120"/>
                        <a:pt x="43" y="120"/>
                        <a:pt x="43" y="120"/>
                      </a:cubicBezTo>
                      <a:cubicBezTo>
                        <a:pt x="43" y="117"/>
                        <a:pt x="43" y="117"/>
                        <a:pt x="43" y="117"/>
                      </a:cubicBezTo>
                      <a:cubicBezTo>
                        <a:pt x="42" y="116"/>
                        <a:pt x="42" y="116"/>
                        <a:pt x="42" y="116"/>
                      </a:cubicBezTo>
                      <a:cubicBezTo>
                        <a:pt x="41" y="116"/>
                        <a:pt x="41" y="116"/>
                        <a:pt x="41" y="116"/>
                      </a:cubicBezTo>
                      <a:cubicBezTo>
                        <a:pt x="38" y="113"/>
                        <a:pt x="38" y="113"/>
                        <a:pt x="38" y="113"/>
                      </a:cubicBezTo>
                      <a:cubicBezTo>
                        <a:pt x="38" y="112"/>
                        <a:pt x="38" y="112"/>
                        <a:pt x="38" y="112"/>
                      </a:cubicBezTo>
                      <a:cubicBezTo>
                        <a:pt x="40" y="110"/>
                        <a:pt x="40" y="110"/>
                        <a:pt x="40" y="110"/>
                      </a:cubicBezTo>
                      <a:cubicBezTo>
                        <a:pt x="41" y="110"/>
                        <a:pt x="41" y="110"/>
                        <a:pt x="41" y="110"/>
                      </a:cubicBezTo>
                      <a:cubicBezTo>
                        <a:pt x="41" y="109"/>
                        <a:pt x="41" y="109"/>
                        <a:pt x="41" y="109"/>
                      </a:cubicBezTo>
                      <a:cubicBezTo>
                        <a:pt x="42" y="108"/>
                        <a:pt x="42" y="108"/>
                        <a:pt x="42" y="108"/>
                      </a:cubicBezTo>
                      <a:cubicBezTo>
                        <a:pt x="41" y="108"/>
                        <a:pt x="41" y="108"/>
                        <a:pt x="41" y="108"/>
                      </a:cubicBezTo>
                      <a:cubicBezTo>
                        <a:pt x="40" y="108"/>
                        <a:pt x="40" y="108"/>
                        <a:pt x="40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ubicBezTo>
                        <a:pt x="38" y="107"/>
                        <a:pt x="38" y="107"/>
                        <a:pt x="38" y="107"/>
                      </a:cubicBezTo>
                      <a:cubicBezTo>
                        <a:pt x="38" y="109"/>
                        <a:pt x="38" y="109"/>
                        <a:pt x="38" y="109"/>
                      </a:cubicBezTo>
                      <a:cubicBezTo>
                        <a:pt x="36" y="109"/>
                        <a:pt x="36" y="109"/>
                        <a:pt x="36" y="109"/>
                      </a:cubicBezTo>
                      <a:cubicBezTo>
                        <a:pt x="34" y="108"/>
                        <a:pt x="34" y="108"/>
                        <a:pt x="34" y="108"/>
                      </a:cubicBezTo>
                      <a:cubicBezTo>
                        <a:pt x="34" y="106"/>
                        <a:pt x="34" y="106"/>
                        <a:pt x="34" y="106"/>
                      </a:cubicBezTo>
                      <a:cubicBezTo>
                        <a:pt x="33" y="106"/>
                        <a:pt x="33" y="106"/>
                        <a:pt x="33" y="106"/>
                      </a:cubicBezTo>
                      <a:cubicBezTo>
                        <a:pt x="32" y="105"/>
                        <a:pt x="32" y="105"/>
                        <a:pt x="32" y="105"/>
                      </a:cubicBezTo>
                      <a:cubicBezTo>
                        <a:pt x="31" y="104"/>
                        <a:pt x="31" y="104"/>
                        <a:pt x="31" y="104"/>
                      </a:cubicBezTo>
                      <a:cubicBezTo>
                        <a:pt x="30" y="104"/>
                        <a:pt x="30" y="104"/>
                        <a:pt x="30" y="104"/>
                      </a:cubicBezTo>
                      <a:cubicBezTo>
                        <a:pt x="29" y="103"/>
                        <a:pt x="29" y="103"/>
                        <a:pt x="29" y="103"/>
                      </a:cubicBezTo>
                      <a:cubicBezTo>
                        <a:pt x="29" y="102"/>
                        <a:pt x="29" y="102"/>
                        <a:pt x="29" y="102"/>
                      </a:cubicBezTo>
                      <a:cubicBezTo>
                        <a:pt x="28" y="101"/>
                        <a:pt x="28" y="101"/>
                        <a:pt x="28" y="10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7" y="99"/>
                        <a:pt x="27" y="99"/>
                        <a:pt x="27" y="99"/>
                      </a:cubicBezTo>
                      <a:cubicBezTo>
                        <a:pt x="26" y="98"/>
                        <a:pt x="26" y="98"/>
                        <a:pt x="26" y="98"/>
                      </a:cubicBezTo>
                      <a:cubicBezTo>
                        <a:pt x="25" y="98"/>
                        <a:pt x="25" y="98"/>
                        <a:pt x="25" y="98"/>
                      </a:cubicBezTo>
                      <a:cubicBezTo>
                        <a:pt x="25" y="97"/>
                        <a:pt x="25" y="97"/>
                        <a:pt x="25" y="97"/>
                      </a:cubicBezTo>
                      <a:cubicBezTo>
                        <a:pt x="25" y="97"/>
                        <a:pt x="25" y="97"/>
                        <a:pt x="25" y="97"/>
                      </a:cubicBezTo>
                      <a:cubicBezTo>
                        <a:pt x="25" y="96"/>
                        <a:pt x="25" y="96"/>
                        <a:pt x="25" y="96"/>
                      </a:cubicBezTo>
                      <a:cubicBezTo>
                        <a:pt x="25" y="95"/>
                        <a:pt x="25" y="95"/>
                        <a:pt x="25" y="95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7" y="91"/>
                        <a:pt x="27" y="91"/>
                        <a:pt x="27" y="91"/>
                      </a:cubicBezTo>
                      <a:cubicBezTo>
                        <a:pt x="28" y="91"/>
                        <a:pt x="28" y="91"/>
                        <a:pt x="28" y="91"/>
                      </a:cubicBezTo>
                      <a:cubicBezTo>
                        <a:pt x="29" y="93"/>
                        <a:pt x="29" y="93"/>
                        <a:pt x="29" y="93"/>
                      </a:cubicBezTo>
                      <a:cubicBezTo>
                        <a:pt x="30" y="94"/>
                        <a:pt x="30" y="94"/>
                        <a:pt x="30" y="94"/>
                      </a:cubicBezTo>
                      <a:cubicBezTo>
                        <a:pt x="30" y="94"/>
                        <a:pt x="30" y="94"/>
                        <a:pt x="30" y="94"/>
                      </a:cubicBezTo>
                      <a:cubicBezTo>
                        <a:pt x="31" y="93"/>
                        <a:pt x="31" y="93"/>
                        <a:pt x="31" y="93"/>
                      </a:cubicBezTo>
                      <a:cubicBezTo>
                        <a:pt x="32" y="93"/>
                        <a:pt x="32" y="93"/>
                        <a:pt x="32" y="93"/>
                      </a:cubicBezTo>
                      <a:cubicBezTo>
                        <a:pt x="33" y="94"/>
                        <a:pt x="33" y="94"/>
                        <a:pt x="33" y="94"/>
                      </a:cubicBezTo>
                      <a:cubicBezTo>
                        <a:pt x="35" y="93"/>
                        <a:pt x="35" y="93"/>
                        <a:pt x="35" y="93"/>
                      </a:cubicBezTo>
                      <a:cubicBezTo>
                        <a:pt x="38" y="93"/>
                        <a:pt x="38" y="93"/>
                        <a:pt x="38" y="93"/>
                      </a:cubicBezTo>
                      <a:cubicBezTo>
                        <a:pt x="38" y="92"/>
                        <a:pt x="38" y="92"/>
                        <a:pt x="38" y="92"/>
                      </a:cubicBezTo>
                      <a:cubicBezTo>
                        <a:pt x="36" y="91"/>
                        <a:pt x="36" y="91"/>
                        <a:pt x="36" y="91"/>
                      </a:cubicBezTo>
                      <a:cubicBezTo>
                        <a:pt x="35" y="91"/>
                        <a:pt x="35" y="91"/>
                        <a:pt x="35" y="91"/>
                      </a:cubicBezTo>
                      <a:cubicBezTo>
                        <a:pt x="32" y="91"/>
                        <a:pt x="32" y="91"/>
                        <a:pt x="32" y="91"/>
                      </a:cubicBez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30" y="89"/>
                        <a:pt x="30" y="89"/>
                        <a:pt x="30" y="89"/>
                      </a:cubicBezTo>
                      <a:cubicBezTo>
                        <a:pt x="32" y="89"/>
                        <a:pt x="32" y="89"/>
                        <a:pt x="32" y="89"/>
                      </a:cubicBezTo>
                      <a:cubicBezTo>
                        <a:pt x="33" y="89"/>
                        <a:pt x="33" y="89"/>
                        <a:pt x="33" y="89"/>
                      </a:cubicBezTo>
                      <a:cubicBezTo>
                        <a:pt x="36" y="87"/>
                        <a:pt x="36" y="87"/>
                        <a:pt x="36" y="87"/>
                      </a:cubicBezTo>
                      <a:cubicBezTo>
                        <a:pt x="38" y="86"/>
                        <a:pt x="38" y="86"/>
                        <a:pt x="38" y="86"/>
                      </a:cubicBezTo>
                      <a:cubicBezTo>
                        <a:pt x="40" y="87"/>
                        <a:pt x="40" y="87"/>
                        <a:pt x="40" y="87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3" y="86"/>
                        <a:pt x="43" y="86"/>
                        <a:pt x="43" y="86"/>
                      </a:cubicBezTo>
                      <a:cubicBezTo>
                        <a:pt x="43" y="85"/>
                        <a:pt x="43" y="85"/>
                        <a:pt x="43" y="85"/>
                      </a:cubicBezTo>
                      <a:cubicBezTo>
                        <a:pt x="44" y="84"/>
                        <a:pt x="44" y="84"/>
                        <a:pt x="44" y="84"/>
                      </a:cubicBezTo>
                      <a:cubicBezTo>
                        <a:pt x="44" y="83"/>
                        <a:pt x="44" y="83"/>
                        <a:pt x="44" y="83"/>
                      </a:cubicBezTo>
                      <a:cubicBezTo>
                        <a:pt x="43" y="83"/>
                        <a:pt x="43" y="83"/>
                        <a:pt x="43" y="83"/>
                      </a:cubicBezTo>
                      <a:cubicBezTo>
                        <a:pt x="42" y="84"/>
                        <a:pt x="42" y="84"/>
                        <a:pt x="42" y="84"/>
                      </a:cubicBezTo>
                      <a:cubicBezTo>
                        <a:pt x="41" y="85"/>
                        <a:pt x="41" y="85"/>
                        <a:pt x="41" y="85"/>
                      </a:cubicBezTo>
                      <a:cubicBezTo>
                        <a:pt x="37" y="85"/>
                        <a:pt x="37" y="85"/>
                        <a:pt x="37" y="85"/>
                      </a:cubicBezTo>
                      <a:cubicBezTo>
                        <a:pt x="36" y="85"/>
                        <a:pt x="36" y="85"/>
                        <a:pt x="36" y="85"/>
                      </a:cubicBezTo>
                      <a:cubicBezTo>
                        <a:pt x="36" y="84"/>
                        <a:pt x="36" y="84"/>
                        <a:pt x="36" y="84"/>
                      </a:cubicBezTo>
                      <a:cubicBezTo>
                        <a:pt x="34" y="84"/>
                        <a:pt x="34" y="84"/>
                        <a:pt x="34" y="84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2" y="87"/>
                        <a:pt x="32" y="87"/>
                        <a:pt x="32" y="87"/>
                      </a:cubicBezTo>
                      <a:cubicBezTo>
                        <a:pt x="30" y="87"/>
                        <a:pt x="30" y="87"/>
                        <a:pt x="30" y="87"/>
                      </a:cubicBez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26" y="88"/>
                        <a:pt x="26" y="88"/>
                        <a:pt x="26" y="88"/>
                      </a:cubicBezTo>
                      <a:cubicBezTo>
                        <a:pt x="25" y="88"/>
                        <a:pt x="25" y="88"/>
                        <a:pt x="25" y="88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3" y="85"/>
                        <a:pt x="23" y="85"/>
                        <a:pt x="23" y="85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22" y="82"/>
                        <a:pt x="22" y="82"/>
                        <a:pt x="22" y="82"/>
                      </a:cubicBezTo>
                      <a:cubicBezTo>
                        <a:pt x="22" y="81"/>
                        <a:pt x="22" y="81"/>
                        <a:pt x="22" y="81"/>
                      </a:cubicBezTo>
                      <a:cubicBezTo>
                        <a:pt x="23" y="80"/>
                        <a:pt x="23" y="80"/>
                        <a:pt x="23" y="80"/>
                      </a:cubicBezTo>
                      <a:cubicBezTo>
                        <a:pt x="25" y="79"/>
                        <a:pt x="25" y="79"/>
                        <a:pt x="25" y="79"/>
                      </a:cubicBezTo>
                      <a:cubicBezTo>
                        <a:pt x="25" y="80"/>
                        <a:pt x="25" y="80"/>
                        <a:pt x="25" y="80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ubicBezTo>
                        <a:pt x="28" y="79"/>
                        <a:pt x="28" y="79"/>
                        <a:pt x="28" y="79"/>
                      </a:cubicBezTo>
                      <a:cubicBezTo>
                        <a:pt x="29" y="79"/>
                        <a:pt x="29" y="79"/>
                        <a:pt x="29" y="79"/>
                      </a:cubicBezTo>
                      <a:cubicBezTo>
                        <a:pt x="30" y="77"/>
                        <a:pt x="30" y="77"/>
                        <a:pt x="30" y="77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4" y="74"/>
                        <a:pt x="34" y="74"/>
                        <a:pt x="34" y="74"/>
                      </a:cubicBezTo>
                      <a:cubicBezTo>
                        <a:pt x="34" y="73"/>
                        <a:pt x="34" y="73"/>
                        <a:pt x="34" y="73"/>
                      </a:cubicBezTo>
                      <a:cubicBezTo>
                        <a:pt x="37" y="72"/>
                        <a:pt x="37" y="72"/>
                        <a:pt x="37" y="72"/>
                      </a:cubicBezTo>
                      <a:cubicBezTo>
                        <a:pt x="40" y="71"/>
                        <a:pt x="40" y="71"/>
                        <a:pt x="40" y="71"/>
                      </a:cubicBezTo>
                      <a:cubicBezTo>
                        <a:pt x="41" y="70"/>
                        <a:pt x="41" y="70"/>
                        <a:pt x="41" y="70"/>
                      </a:cubicBezTo>
                      <a:cubicBezTo>
                        <a:pt x="43" y="69"/>
                        <a:pt x="43" y="69"/>
                        <a:pt x="43" y="69"/>
                      </a:cubicBezTo>
                      <a:cubicBezTo>
                        <a:pt x="44" y="68"/>
                        <a:pt x="44" y="68"/>
                        <a:pt x="44" y="68"/>
                      </a:cubicBezTo>
                      <a:cubicBezTo>
                        <a:pt x="44" y="68"/>
                        <a:pt x="44" y="68"/>
                        <a:pt x="44" y="68"/>
                      </a:cubicBezTo>
                      <a:cubicBezTo>
                        <a:pt x="43" y="68"/>
                        <a:pt x="43" y="68"/>
                        <a:pt x="43" y="68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0" y="69"/>
                        <a:pt x="40" y="69"/>
                        <a:pt x="40" y="69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39" y="67"/>
                        <a:pt x="39" y="67"/>
                        <a:pt x="39" y="67"/>
                      </a:cubicBezTo>
                      <a:cubicBezTo>
                        <a:pt x="39" y="65"/>
                        <a:pt x="39" y="65"/>
                        <a:pt x="39" y="65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39" y="62"/>
                        <a:pt x="39" y="62"/>
                        <a:pt x="39" y="62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7" y="65"/>
                        <a:pt x="37" y="65"/>
                        <a:pt x="37" y="65"/>
                      </a:cubicBez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4" y="69"/>
                        <a:pt x="34" y="69"/>
                        <a:pt x="34" y="69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2" y="69"/>
                        <a:pt x="32" y="69"/>
                        <a:pt x="32" y="69"/>
                      </a:cubicBezTo>
                      <a:cubicBezTo>
                        <a:pt x="31" y="67"/>
                        <a:pt x="31" y="67"/>
                        <a:pt x="31" y="67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3" y="63"/>
                        <a:pt x="33" y="63"/>
                        <a:pt x="33" y="63"/>
                      </a:cubicBezTo>
                      <a:cubicBezTo>
                        <a:pt x="32" y="62"/>
                        <a:pt x="32" y="62"/>
                        <a:pt x="32" y="62"/>
                      </a:cubicBezTo>
                      <a:cubicBezTo>
                        <a:pt x="32" y="60"/>
                        <a:pt x="32" y="60"/>
                        <a:pt x="32" y="60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0" y="60"/>
                        <a:pt x="30" y="60"/>
                        <a:pt x="30" y="60"/>
                      </a:cubicBezTo>
                      <a:cubicBezTo>
                        <a:pt x="30" y="63"/>
                        <a:pt x="30" y="63"/>
                        <a:pt x="30" y="63"/>
                      </a:cubicBezTo>
                      <a:cubicBezTo>
                        <a:pt x="30" y="64"/>
                        <a:pt x="30" y="64"/>
                        <a:pt x="30" y="64"/>
                      </a:cubicBezTo>
                      <a:cubicBezTo>
                        <a:pt x="29" y="66"/>
                        <a:pt x="29" y="66"/>
                        <a:pt x="29" y="66"/>
                      </a:cubicBezTo>
                      <a:cubicBezTo>
                        <a:pt x="29" y="65"/>
                        <a:pt x="29" y="65"/>
                        <a:pt x="29" y="65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6" y="67"/>
                        <a:pt x="26" y="67"/>
                        <a:pt x="26" y="67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71"/>
                        <a:pt x="28" y="71"/>
                        <a:pt x="28" y="71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5" y="74"/>
                        <a:pt x="25" y="74"/>
                        <a:pt x="25" y="74"/>
                      </a:cubicBezTo>
                      <a:cubicBezTo>
                        <a:pt x="25" y="76"/>
                        <a:pt x="25" y="76"/>
                        <a:pt x="25" y="76"/>
                      </a:cubicBezTo>
                      <a:cubicBezTo>
                        <a:pt x="24" y="77"/>
                        <a:pt x="24" y="77"/>
                        <a:pt x="24" y="77"/>
                      </a:cubicBezTo>
                      <a:cubicBezTo>
                        <a:pt x="20" y="77"/>
                        <a:pt x="20" y="77"/>
                        <a:pt x="20" y="77"/>
                      </a:cubicBezTo>
                      <a:cubicBezTo>
                        <a:pt x="18" y="77"/>
                        <a:pt x="18" y="77"/>
                        <a:pt x="18" y="77"/>
                      </a:cubicBezTo>
                      <a:cubicBezTo>
                        <a:pt x="18" y="76"/>
                        <a:pt x="18" y="76"/>
                        <a:pt x="18" y="76"/>
                      </a:cubicBezTo>
                      <a:cubicBezTo>
                        <a:pt x="19" y="75"/>
                        <a:pt x="19" y="75"/>
                        <a:pt x="19" y="75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16" y="71"/>
                        <a:pt x="16" y="71"/>
                        <a:pt x="16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5" y="68"/>
                        <a:pt x="15" y="68"/>
                        <a:pt x="15" y="68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14" y="66"/>
                        <a:pt x="14" y="66"/>
                        <a:pt x="14" y="66"/>
                      </a:cubicBezTo>
                      <a:cubicBezTo>
                        <a:pt x="13" y="66"/>
                        <a:pt x="13" y="66"/>
                        <a:pt x="13" y="66"/>
                      </a:cubicBez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0" y="64"/>
                        <a:pt x="10" y="64"/>
                        <a:pt x="10" y="64"/>
                      </a:cubicBezTo>
                      <a:cubicBezTo>
                        <a:pt x="9" y="63"/>
                        <a:pt x="9" y="63"/>
                        <a:pt x="9" y="63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61"/>
                        <a:pt x="8" y="61"/>
                        <a:pt x="8" y="61"/>
                      </a:cubicBezTo>
                      <a:cubicBezTo>
                        <a:pt x="8" y="60"/>
                        <a:pt x="8" y="60"/>
                        <a:pt x="8" y="60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8" y="57"/>
                        <a:pt x="8" y="57"/>
                        <a:pt x="8" y="57"/>
                      </a:cubicBezTo>
                      <a:cubicBezTo>
                        <a:pt x="9" y="58"/>
                        <a:pt x="9" y="58"/>
                        <a:pt x="9" y="5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8" y="55"/>
                        <a:pt x="8" y="55"/>
                        <a:pt x="8" y="55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7" y="52"/>
                        <a:pt x="7" y="52"/>
                        <a:pt x="7" y="52"/>
                      </a:cubicBezTo>
                      <a:cubicBezTo>
                        <a:pt x="7" y="51"/>
                        <a:pt x="7" y="51"/>
                        <a:pt x="7" y="51"/>
                      </a:cubicBezTo>
                      <a:cubicBezTo>
                        <a:pt x="8" y="49"/>
                        <a:pt x="8" y="49"/>
                        <a:pt x="8" y="49"/>
                      </a:cubicBezTo>
                      <a:cubicBezTo>
                        <a:pt x="9" y="47"/>
                        <a:pt x="9" y="47"/>
                        <a:pt x="9" y="47"/>
                      </a:cubicBezTo>
                      <a:cubicBezTo>
                        <a:pt x="8" y="47"/>
                        <a:pt x="8" y="47"/>
                        <a:pt x="8" y="47"/>
                      </a:cubicBezTo>
                      <a:cubicBezTo>
                        <a:pt x="7" y="47"/>
                        <a:pt x="7" y="47"/>
                        <a:pt x="7" y="47"/>
                      </a:cubicBezTo>
                      <a:cubicBezTo>
                        <a:pt x="6" y="46"/>
                        <a:pt x="6" y="46"/>
                        <a:pt x="6" y="46"/>
                      </a:cubicBezTo>
                      <a:cubicBezTo>
                        <a:pt x="5" y="46"/>
                        <a:pt x="5" y="46"/>
                        <a:pt x="5" y="46"/>
                      </a:cubicBezTo>
                      <a:cubicBezTo>
                        <a:pt x="5" y="48"/>
                        <a:pt x="5" y="48"/>
                        <a:pt x="5" y="48"/>
                      </a:cubicBez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4" y="51"/>
                        <a:pt x="4" y="51"/>
                        <a:pt x="4" y="51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6" y="33"/>
                        <a:pt x="6" y="33"/>
                        <a:pt x="6" y="33"/>
                      </a:cubicBezTo>
                      <a:cubicBezTo>
                        <a:pt x="7" y="35"/>
                        <a:pt x="7" y="35"/>
                        <a:pt x="7" y="35"/>
                      </a:cubicBezTo>
                      <a:cubicBezTo>
                        <a:pt x="7" y="37"/>
                        <a:pt x="7" y="37"/>
                        <a:pt x="7" y="37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7" y="32"/>
                        <a:pt x="7" y="32"/>
                        <a:pt x="7" y="32"/>
                      </a:cubicBezTo>
                      <a:cubicBezTo>
                        <a:pt x="8" y="31"/>
                        <a:pt x="8" y="31"/>
                        <a:pt x="8" y="31"/>
                      </a:cubicBezTo>
                      <a:cubicBezTo>
                        <a:pt x="9" y="32"/>
                        <a:pt x="9" y="32"/>
                        <a:pt x="9" y="32"/>
                      </a:cubicBezTo>
                      <a:cubicBezTo>
                        <a:pt x="10" y="33"/>
                        <a:pt x="10" y="33"/>
                        <a:pt x="10" y="33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0" y="33"/>
                        <a:pt x="20" y="33"/>
                        <a:pt x="20" y="33"/>
                      </a:cubicBezTo>
                      <a:cubicBezTo>
                        <a:pt x="19" y="34"/>
                        <a:pt x="19" y="34"/>
                        <a:pt x="19" y="34"/>
                      </a:cubicBezTo>
                      <a:cubicBezTo>
                        <a:pt x="18" y="36"/>
                        <a:pt x="18" y="36"/>
                        <a:pt x="18" y="36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6" y="35"/>
                        <a:pt x="16" y="35"/>
                        <a:pt x="16" y="35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3" y="40"/>
                        <a:pt x="13" y="40"/>
                        <a:pt x="13" y="40"/>
                      </a:cubicBezTo>
                      <a:cubicBezTo>
                        <a:pt x="15" y="39"/>
                        <a:pt x="15" y="39"/>
                        <a:pt x="15" y="39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6" y="40"/>
                        <a:pt x="16" y="40"/>
                        <a:pt x="16" y="40"/>
                      </a:cubicBezTo>
                      <a:cubicBezTo>
                        <a:pt x="16" y="41"/>
                        <a:pt x="16" y="41"/>
                        <a:pt x="16" y="41"/>
                      </a:cubicBezTo>
                      <a:cubicBezTo>
                        <a:pt x="17" y="42"/>
                        <a:pt x="17" y="42"/>
                        <a:pt x="17" y="42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9" y="42"/>
                        <a:pt x="19" y="42"/>
                        <a:pt x="19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4"/>
                        <a:pt x="20" y="44"/>
                        <a:pt x="20" y="44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1"/>
                        <a:pt x="20" y="41"/>
                        <a:pt x="20" y="41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5" y="33"/>
                        <a:pt x="25" y="33"/>
                        <a:pt x="25" y="33"/>
                      </a:cubicBezTo>
                      <a:cubicBezTo>
                        <a:pt x="26" y="35"/>
                        <a:pt x="26" y="35"/>
                        <a:pt x="26" y="35"/>
                      </a:cubicBezTo>
                      <a:cubicBezTo>
                        <a:pt x="28" y="37"/>
                        <a:pt x="28" y="37"/>
                        <a:pt x="28" y="37"/>
                      </a:cubicBezTo>
                      <a:cubicBezTo>
                        <a:pt x="29" y="38"/>
                        <a:pt x="29" y="38"/>
                        <a:pt x="29" y="38"/>
                      </a:cubicBezTo>
                      <a:cubicBezTo>
                        <a:pt x="29" y="42"/>
                        <a:pt x="29" y="42"/>
                        <a:pt x="29" y="42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7"/>
                        <a:pt x="30" y="47"/>
                        <a:pt x="30" y="47"/>
                      </a:cubicBezTo>
                      <a:cubicBezTo>
                        <a:pt x="30" y="48"/>
                        <a:pt x="30" y="48"/>
                        <a:pt x="30" y="48"/>
                      </a:cubicBezTo>
                      <a:cubicBezTo>
                        <a:pt x="28" y="50"/>
                        <a:pt x="28" y="50"/>
                        <a:pt x="28" y="50"/>
                      </a:cubicBezTo>
                      <a:cubicBezTo>
                        <a:pt x="28" y="51"/>
                        <a:pt x="28" y="51"/>
                        <a:pt x="28" y="51"/>
                      </a:cubicBezTo>
                      <a:cubicBezTo>
                        <a:pt x="29" y="51"/>
                        <a:pt x="29" y="51"/>
                        <a:pt x="29" y="51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0"/>
                        <a:pt x="31" y="50"/>
                        <a:pt x="31" y="50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6"/>
                        <a:pt x="35" y="56"/>
                        <a:pt x="35" y="56"/>
                      </a:cubicBezTo>
                      <a:cubicBezTo>
                        <a:pt x="36" y="56"/>
                        <a:pt x="36" y="56"/>
                        <a:pt x="36" y="56"/>
                      </a:cubicBezTo>
                      <a:cubicBezTo>
                        <a:pt x="36" y="54"/>
                        <a:pt x="36" y="54"/>
                        <a:pt x="36" y="54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3" y="48"/>
                        <a:pt x="33" y="48"/>
                        <a:pt x="33" y="48"/>
                      </a:cubicBezTo>
                      <a:cubicBezTo>
                        <a:pt x="32" y="45"/>
                        <a:pt x="32" y="45"/>
                        <a:pt x="32" y="45"/>
                      </a:cubicBezTo>
                      <a:cubicBezTo>
                        <a:pt x="32" y="43"/>
                        <a:pt x="32" y="43"/>
                        <a:pt x="32" y="43"/>
                      </a:cubicBezTo>
                      <a:cubicBezTo>
                        <a:pt x="32" y="37"/>
                        <a:pt x="32" y="37"/>
                        <a:pt x="32" y="37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29"/>
                        <a:pt x="32" y="29"/>
                        <a:pt x="32" y="29"/>
                      </a:cubicBezTo>
                      <a:cubicBezTo>
                        <a:pt x="32" y="26"/>
                        <a:pt x="32" y="26"/>
                        <a:pt x="32" y="26"/>
                      </a:cubicBez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4" y="24"/>
                        <a:pt x="34" y="24"/>
                        <a:pt x="34" y="24"/>
                      </a:cubicBezTo>
                      <a:cubicBezTo>
                        <a:pt x="35" y="24"/>
                        <a:pt x="35" y="24"/>
                        <a:pt x="35" y="2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8" y="30"/>
                        <a:pt x="38" y="30"/>
                        <a:pt x="38" y="30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41" y="28"/>
                        <a:pt x="41" y="28"/>
                        <a:pt x="41" y="28"/>
                      </a:cubicBez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4" y="36"/>
                        <a:pt x="44" y="36"/>
                        <a:pt x="44" y="36"/>
                      </a:cubicBezTo>
                      <a:cubicBezTo>
                        <a:pt x="43" y="37"/>
                        <a:pt x="43" y="37"/>
                        <a:pt x="43" y="37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44"/>
                        <a:pt x="43" y="44"/>
                        <a:pt x="43" y="44"/>
                      </a:cubicBezTo>
                      <a:cubicBezTo>
                        <a:pt x="44" y="45"/>
                        <a:pt x="44" y="45"/>
                        <a:pt x="44" y="45"/>
                      </a:cubicBezTo>
                      <a:cubicBezTo>
                        <a:pt x="45" y="43"/>
                        <a:pt x="45" y="43"/>
                        <a:pt x="45" y="43"/>
                      </a:cubicBezTo>
                      <a:cubicBezTo>
                        <a:pt x="45" y="41"/>
                        <a:pt x="45" y="41"/>
                        <a:pt x="45" y="41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6" y="35"/>
                        <a:pt x="46" y="35"/>
                        <a:pt x="46" y="35"/>
                      </a:cubicBezTo>
                      <a:cubicBezTo>
                        <a:pt x="49" y="37"/>
                        <a:pt x="49" y="37"/>
                        <a:pt x="49" y="37"/>
                      </a:cubicBezTo>
                      <a:cubicBezTo>
                        <a:pt x="50" y="40"/>
                        <a:pt x="50" y="40"/>
                        <a:pt x="50" y="40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8" y="51"/>
                        <a:pt x="58" y="51"/>
                        <a:pt x="58" y="51"/>
                      </a:cubicBezTo>
                      <a:cubicBezTo>
                        <a:pt x="59" y="52"/>
                        <a:pt x="59" y="52"/>
                        <a:pt x="59" y="52"/>
                      </a:cubicBezTo>
                      <a:cubicBezTo>
                        <a:pt x="62" y="55"/>
                        <a:pt x="62" y="55"/>
                        <a:pt x="62" y="55"/>
                      </a:cubicBezTo>
                      <a:cubicBezTo>
                        <a:pt x="64" y="56"/>
                        <a:pt x="64" y="56"/>
                        <a:pt x="64" y="56"/>
                      </a:cubicBezTo>
                      <a:cubicBezTo>
                        <a:pt x="68" y="57"/>
                        <a:pt x="68" y="57"/>
                        <a:pt x="68" y="57"/>
                      </a:cubicBezTo>
                      <a:cubicBezTo>
                        <a:pt x="69" y="57"/>
                        <a:pt x="69" y="57"/>
                        <a:pt x="69" y="57"/>
                      </a:cubicBezTo>
                      <a:cubicBezTo>
                        <a:pt x="69" y="59"/>
                        <a:pt x="69" y="59"/>
                        <a:pt x="69" y="59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6" y="60"/>
                        <a:pt x="66" y="60"/>
                        <a:pt x="66" y="60"/>
                      </a:cubicBezTo>
                      <a:cubicBezTo>
                        <a:pt x="65" y="61"/>
                        <a:pt x="65" y="61"/>
                        <a:pt x="65" y="61"/>
                      </a:cubicBezTo>
                      <a:cubicBezTo>
                        <a:pt x="63" y="61"/>
                        <a:pt x="63" y="61"/>
                        <a:pt x="63" y="61"/>
                      </a:cubicBezTo>
                      <a:cubicBezTo>
                        <a:pt x="61" y="63"/>
                        <a:pt x="61" y="63"/>
                        <a:pt x="61" y="63"/>
                      </a:cubicBezTo>
                      <a:cubicBezTo>
                        <a:pt x="59" y="63"/>
                        <a:pt x="59" y="63"/>
                        <a:pt x="59" y="63"/>
                      </a:cubicBezTo>
                      <a:cubicBezTo>
                        <a:pt x="58" y="64"/>
                        <a:pt x="58" y="64"/>
                        <a:pt x="58" y="64"/>
                      </a:cubicBezTo>
                      <a:cubicBezTo>
                        <a:pt x="59" y="65"/>
                        <a:pt x="59" y="65"/>
                        <a:pt x="59" y="65"/>
                      </a:cubicBezTo>
                      <a:cubicBezTo>
                        <a:pt x="59" y="66"/>
                        <a:pt x="59" y="66"/>
                        <a:pt x="59" y="66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69"/>
                        <a:pt x="57" y="69"/>
                        <a:pt x="57" y="69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7" y="75"/>
                        <a:pt x="57" y="75"/>
                        <a:pt x="57" y="75"/>
                      </a:cubicBezTo>
                      <a:cubicBezTo>
                        <a:pt x="57" y="76"/>
                        <a:pt x="57" y="76"/>
                        <a:pt x="57" y="76"/>
                      </a:cubicBezTo>
                      <a:cubicBezTo>
                        <a:pt x="57" y="79"/>
                        <a:pt x="57" y="79"/>
                        <a:pt x="57" y="79"/>
                      </a:cubicBezTo>
                      <a:cubicBezTo>
                        <a:pt x="57" y="80"/>
                        <a:pt x="57" y="80"/>
                        <a:pt x="57" y="80"/>
                      </a:cubicBezTo>
                      <a:cubicBezTo>
                        <a:pt x="56" y="81"/>
                        <a:pt x="56" y="81"/>
                        <a:pt x="56" y="81"/>
                      </a:cubicBezTo>
                      <a:cubicBezTo>
                        <a:pt x="55" y="80"/>
                        <a:pt x="55" y="80"/>
                        <a:pt x="55" y="80"/>
                      </a:cubicBezTo>
                      <a:cubicBezTo>
                        <a:pt x="54" y="81"/>
                        <a:pt x="54" y="81"/>
                        <a:pt x="54" y="81"/>
                      </a:cubicBezTo>
                      <a:cubicBezTo>
                        <a:pt x="54" y="83"/>
                        <a:pt x="54" y="83"/>
                        <a:pt x="54" y="83"/>
                      </a:cubicBezTo>
                      <a:cubicBezTo>
                        <a:pt x="55" y="85"/>
                        <a:pt x="55" y="85"/>
                        <a:pt x="55" y="85"/>
                      </a:cubicBezTo>
                      <a:cubicBezTo>
                        <a:pt x="55" y="87"/>
                        <a:pt x="55" y="87"/>
                        <a:pt x="55" y="87"/>
                      </a:cubicBezTo>
                      <a:cubicBezTo>
                        <a:pt x="55" y="90"/>
                        <a:pt x="55" y="90"/>
                        <a:pt x="55" y="90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2" y="94"/>
                        <a:pt x="52" y="94"/>
                        <a:pt x="52" y="94"/>
                      </a:cubicBezTo>
                      <a:cubicBezTo>
                        <a:pt x="50" y="95"/>
                        <a:pt x="50" y="95"/>
                        <a:pt x="50" y="95"/>
                      </a:cubicBezTo>
                      <a:cubicBezTo>
                        <a:pt x="52" y="96"/>
                        <a:pt x="52" y="96"/>
                        <a:pt x="52" y="96"/>
                      </a:cubicBezTo>
                      <a:cubicBezTo>
                        <a:pt x="52" y="97"/>
                        <a:pt x="52" y="97"/>
                        <a:pt x="52" y="97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101"/>
                        <a:pt x="50" y="101"/>
                        <a:pt x="50" y="101"/>
                      </a:cubicBezTo>
                      <a:cubicBezTo>
                        <a:pt x="50" y="107"/>
                        <a:pt x="50" y="107"/>
                        <a:pt x="50" y="107"/>
                      </a:cubicBezTo>
                      <a:cubicBezTo>
                        <a:pt x="49" y="109"/>
                        <a:pt x="49" y="109"/>
                        <a:pt x="49" y="109"/>
                      </a:cubicBezTo>
                      <a:cubicBezTo>
                        <a:pt x="48" y="110"/>
                        <a:pt x="48" y="110"/>
                        <a:pt x="48" y="110"/>
                      </a:cubicBezTo>
                      <a:cubicBezTo>
                        <a:pt x="48" y="113"/>
                        <a:pt x="48" y="113"/>
                        <a:pt x="48" y="113"/>
                      </a:cubicBezTo>
                      <a:cubicBezTo>
                        <a:pt x="49" y="115"/>
                        <a:pt x="49" y="115"/>
                        <a:pt x="49" y="115"/>
                      </a:cubicBezTo>
                      <a:cubicBezTo>
                        <a:pt x="49" y="116"/>
                        <a:pt x="49" y="116"/>
                        <a:pt x="49" y="116"/>
                      </a:cubicBezTo>
                      <a:cubicBezTo>
                        <a:pt x="49" y="117"/>
                        <a:pt x="49" y="117"/>
                        <a:pt x="49" y="117"/>
                      </a:cubicBezTo>
                      <a:cubicBezTo>
                        <a:pt x="49" y="119"/>
                        <a:pt x="49" y="119"/>
                        <a:pt x="49" y="119"/>
                      </a:cubicBezTo>
                      <a:cubicBezTo>
                        <a:pt x="47" y="121"/>
                        <a:pt x="47" y="121"/>
                        <a:pt x="47" y="121"/>
                      </a:cubicBezTo>
                      <a:cubicBezTo>
                        <a:pt x="46" y="121"/>
                        <a:pt x="46" y="121"/>
                        <a:pt x="46" y="121"/>
                      </a:cubicBezTo>
                      <a:close/>
                      <a:moveTo>
                        <a:pt x="68" y="172"/>
                      </a:moveTo>
                      <a:cubicBezTo>
                        <a:pt x="68" y="170"/>
                        <a:pt x="68" y="170"/>
                        <a:pt x="68" y="170"/>
                      </a:cubicBezTo>
                      <a:cubicBezTo>
                        <a:pt x="69" y="168"/>
                        <a:pt x="69" y="168"/>
                        <a:pt x="69" y="168"/>
                      </a:cubicBezTo>
                      <a:cubicBezTo>
                        <a:pt x="67" y="166"/>
                        <a:pt x="67" y="166"/>
                        <a:pt x="67" y="166"/>
                      </a:cubicBezTo>
                      <a:cubicBezTo>
                        <a:pt x="66" y="166"/>
                        <a:pt x="66" y="166"/>
                        <a:pt x="66" y="166"/>
                      </a:cubicBezTo>
                      <a:cubicBezTo>
                        <a:pt x="65" y="167"/>
                        <a:pt x="65" y="167"/>
                        <a:pt x="65" y="167"/>
                      </a:cubicBezTo>
                      <a:cubicBezTo>
                        <a:pt x="66" y="169"/>
                        <a:pt x="66" y="169"/>
                        <a:pt x="66" y="169"/>
                      </a:cubicBezTo>
                      <a:cubicBezTo>
                        <a:pt x="67" y="170"/>
                        <a:pt x="67" y="170"/>
                        <a:pt x="67" y="170"/>
                      </a:cubicBezTo>
                      <a:cubicBezTo>
                        <a:pt x="67" y="171"/>
                        <a:pt x="67" y="171"/>
                        <a:pt x="67" y="171"/>
                      </a:cubicBezTo>
                      <a:lnTo>
                        <a:pt x="68" y="17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0" name="Freeform 159">
                  <a:extLst>
                    <a:ext uri="{FF2B5EF4-FFF2-40B4-BE49-F238E27FC236}">
                      <a16:creationId xmlns:a16="http://schemas.microsoft.com/office/drawing/2014/main" xmlns="" id="{32FF555D-B765-42FE-94B6-B2BF058EA4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01" y="1145"/>
                  <a:ext cx="250" cy="492"/>
                </a:xfrm>
                <a:custGeom>
                  <a:avLst/>
                  <a:gdLst>
                    <a:gd name="T0" fmla="*/ 103 w 250"/>
                    <a:gd name="T1" fmla="*/ 237 h 492"/>
                    <a:gd name="T2" fmla="*/ 8 w 250"/>
                    <a:gd name="T3" fmla="*/ 487 h 492"/>
                    <a:gd name="T4" fmla="*/ 54 w 250"/>
                    <a:gd name="T5" fmla="*/ 448 h 492"/>
                    <a:gd name="T6" fmla="*/ 54 w 250"/>
                    <a:gd name="T7" fmla="*/ 448 h 492"/>
                    <a:gd name="T8" fmla="*/ 70 w 250"/>
                    <a:gd name="T9" fmla="*/ 409 h 492"/>
                    <a:gd name="T10" fmla="*/ 75 w 250"/>
                    <a:gd name="T11" fmla="*/ 411 h 492"/>
                    <a:gd name="T12" fmla="*/ 173 w 250"/>
                    <a:gd name="T13" fmla="*/ 103 h 492"/>
                    <a:gd name="T14" fmla="*/ 165 w 250"/>
                    <a:gd name="T15" fmla="*/ 71 h 492"/>
                    <a:gd name="T16" fmla="*/ 178 w 250"/>
                    <a:gd name="T17" fmla="*/ 59 h 492"/>
                    <a:gd name="T18" fmla="*/ 178 w 250"/>
                    <a:gd name="T19" fmla="*/ 36 h 492"/>
                    <a:gd name="T20" fmla="*/ 175 w 250"/>
                    <a:gd name="T21" fmla="*/ 0 h 492"/>
                    <a:gd name="T22" fmla="*/ 217 w 250"/>
                    <a:gd name="T23" fmla="*/ 35 h 492"/>
                    <a:gd name="T24" fmla="*/ 235 w 250"/>
                    <a:gd name="T25" fmla="*/ 38 h 492"/>
                    <a:gd name="T26" fmla="*/ 245 w 250"/>
                    <a:gd name="T27" fmla="*/ 51 h 492"/>
                    <a:gd name="T28" fmla="*/ 219 w 250"/>
                    <a:gd name="T29" fmla="*/ 72 h 492"/>
                    <a:gd name="T30" fmla="*/ 193 w 250"/>
                    <a:gd name="T31" fmla="*/ 72 h 492"/>
                    <a:gd name="T32" fmla="*/ 180 w 250"/>
                    <a:gd name="T33" fmla="*/ 84 h 492"/>
                    <a:gd name="T34" fmla="*/ 176 w 250"/>
                    <a:gd name="T35" fmla="*/ 105 h 492"/>
                    <a:gd name="T36" fmla="*/ 173 w 250"/>
                    <a:gd name="T37" fmla="*/ 187 h 492"/>
                    <a:gd name="T38" fmla="*/ 54 w 250"/>
                    <a:gd name="T39" fmla="*/ 304 h 492"/>
                    <a:gd name="T40" fmla="*/ 51 w 250"/>
                    <a:gd name="T41" fmla="*/ 311 h 492"/>
                    <a:gd name="T42" fmla="*/ 47 w 250"/>
                    <a:gd name="T43" fmla="*/ 317 h 492"/>
                    <a:gd name="T44" fmla="*/ 70 w 250"/>
                    <a:gd name="T45" fmla="*/ 326 h 492"/>
                    <a:gd name="T46" fmla="*/ 67 w 250"/>
                    <a:gd name="T47" fmla="*/ 316 h 492"/>
                    <a:gd name="T48" fmla="*/ 124 w 250"/>
                    <a:gd name="T49" fmla="*/ 275 h 492"/>
                    <a:gd name="T50" fmla="*/ 116 w 250"/>
                    <a:gd name="T51" fmla="*/ 306 h 492"/>
                    <a:gd name="T52" fmla="*/ 137 w 250"/>
                    <a:gd name="T53" fmla="*/ 285 h 492"/>
                    <a:gd name="T54" fmla="*/ 111 w 250"/>
                    <a:gd name="T55" fmla="*/ 286 h 492"/>
                    <a:gd name="T56" fmla="*/ 109 w 250"/>
                    <a:gd name="T57" fmla="*/ 306 h 492"/>
                    <a:gd name="T58" fmla="*/ 91 w 250"/>
                    <a:gd name="T59" fmla="*/ 360 h 492"/>
                    <a:gd name="T60" fmla="*/ 90 w 250"/>
                    <a:gd name="T61" fmla="*/ 340 h 492"/>
                    <a:gd name="T62" fmla="*/ 96 w 250"/>
                    <a:gd name="T63" fmla="*/ 306 h 492"/>
                    <a:gd name="T64" fmla="*/ 85 w 250"/>
                    <a:gd name="T65" fmla="*/ 295 h 492"/>
                    <a:gd name="T66" fmla="*/ 98 w 250"/>
                    <a:gd name="T67" fmla="*/ 277 h 492"/>
                    <a:gd name="T68" fmla="*/ 126 w 250"/>
                    <a:gd name="T69" fmla="*/ 268 h 492"/>
                    <a:gd name="T70" fmla="*/ 140 w 250"/>
                    <a:gd name="T71" fmla="*/ 283 h 492"/>
                    <a:gd name="T72" fmla="*/ 163 w 250"/>
                    <a:gd name="T73" fmla="*/ 275 h 492"/>
                    <a:gd name="T74" fmla="*/ 165 w 250"/>
                    <a:gd name="T75" fmla="*/ 263 h 492"/>
                    <a:gd name="T76" fmla="*/ 176 w 250"/>
                    <a:gd name="T77" fmla="*/ 263 h 492"/>
                    <a:gd name="T78" fmla="*/ 199 w 250"/>
                    <a:gd name="T79" fmla="*/ 260 h 492"/>
                    <a:gd name="T80" fmla="*/ 207 w 250"/>
                    <a:gd name="T81" fmla="*/ 247 h 492"/>
                    <a:gd name="T82" fmla="*/ 217 w 250"/>
                    <a:gd name="T83" fmla="*/ 231 h 492"/>
                    <a:gd name="T84" fmla="*/ 219 w 250"/>
                    <a:gd name="T85" fmla="*/ 177 h 492"/>
                    <a:gd name="T86" fmla="*/ 217 w 250"/>
                    <a:gd name="T87" fmla="*/ 149 h 492"/>
                    <a:gd name="T88" fmla="*/ 196 w 250"/>
                    <a:gd name="T89" fmla="*/ 102 h 492"/>
                    <a:gd name="T90" fmla="*/ 194 w 250"/>
                    <a:gd name="T91" fmla="*/ 110 h 492"/>
                    <a:gd name="T92" fmla="*/ 180 w 250"/>
                    <a:gd name="T93" fmla="*/ 110 h 492"/>
                    <a:gd name="T94" fmla="*/ 176 w 250"/>
                    <a:gd name="T95" fmla="*/ 139 h 492"/>
                    <a:gd name="T96" fmla="*/ 178 w 250"/>
                    <a:gd name="T97" fmla="*/ 193 h 492"/>
                    <a:gd name="T98" fmla="*/ 155 w 250"/>
                    <a:gd name="T99" fmla="*/ 205 h 492"/>
                    <a:gd name="T100" fmla="*/ 145 w 250"/>
                    <a:gd name="T101" fmla="*/ 229 h 492"/>
                    <a:gd name="T102" fmla="*/ 137 w 250"/>
                    <a:gd name="T103" fmla="*/ 247 h 492"/>
                    <a:gd name="T104" fmla="*/ 106 w 250"/>
                    <a:gd name="T105" fmla="*/ 249 h 492"/>
                    <a:gd name="T106" fmla="*/ 75 w 250"/>
                    <a:gd name="T107" fmla="*/ 278 h 492"/>
                    <a:gd name="T108" fmla="*/ 59 w 250"/>
                    <a:gd name="T109" fmla="*/ 303 h 492"/>
                    <a:gd name="T110" fmla="*/ 62 w 250"/>
                    <a:gd name="T111" fmla="*/ 316 h 492"/>
                    <a:gd name="T112" fmla="*/ 67 w 250"/>
                    <a:gd name="T113" fmla="*/ 308 h 492"/>
                    <a:gd name="T114" fmla="*/ 75 w 250"/>
                    <a:gd name="T115" fmla="*/ 337 h 492"/>
                    <a:gd name="T116" fmla="*/ 85 w 250"/>
                    <a:gd name="T117" fmla="*/ 335 h 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50" h="492">
                      <a:moveTo>
                        <a:pt x="100" y="237"/>
                      </a:moveTo>
                      <a:lnTo>
                        <a:pt x="101" y="237"/>
                      </a:lnTo>
                      <a:lnTo>
                        <a:pt x="100" y="239"/>
                      </a:lnTo>
                      <a:lnTo>
                        <a:pt x="98" y="239"/>
                      </a:lnTo>
                      <a:lnTo>
                        <a:pt x="100" y="237"/>
                      </a:lnTo>
                      <a:lnTo>
                        <a:pt x="100" y="237"/>
                      </a:lnTo>
                      <a:close/>
                      <a:moveTo>
                        <a:pt x="101" y="237"/>
                      </a:moveTo>
                      <a:lnTo>
                        <a:pt x="101" y="236"/>
                      </a:lnTo>
                      <a:lnTo>
                        <a:pt x="103" y="234"/>
                      </a:lnTo>
                      <a:lnTo>
                        <a:pt x="105" y="232"/>
                      </a:lnTo>
                      <a:lnTo>
                        <a:pt x="105" y="236"/>
                      </a:lnTo>
                      <a:lnTo>
                        <a:pt x="103" y="237"/>
                      </a:lnTo>
                      <a:lnTo>
                        <a:pt x="101" y="237"/>
                      </a:lnTo>
                      <a:lnTo>
                        <a:pt x="101" y="237"/>
                      </a:lnTo>
                      <a:close/>
                      <a:moveTo>
                        <a:pt x="3" y="491"/>
                      </a:moveTo>
                      <a:lnTo>
                        <a:pt x="2" y="489"/>
                      </a:lnTo>
                      <a:lnTo>
                        <a:pt x="0" y="489"/>
                      </a:lnTo>
                      <a:lnTo>
                        <a:pt x="0" y="492"/>
                      </a:lnTo>
                      <a:lnTo>
                        <a:pt x="2" y="492"/>
                      </a:lnTo>
                      <a:lnTo>
                        <a:pt x="3" y="491"/>
                      </a:lnTo>
                      <a:lnTo>
                        <a:pt x="3" y="491"/>
                      </a:lnTo>
                      <a:close/>
                      <a:moveTo>
                        <a:pt x="5" y="489"/>
                      </a:moveTo>
                      <a:lnTo>
                        <a:pt x="7" y="487"/>
                      </a:lnTo>
                      <a:lnTo>
                        <a:pt x="8" y="487"/>
                      </a:lnTo>
                      <a:lnTo>
                        <a:pt x="7" y="491"/>
                      </a:lnTo>
                      <a:lnTo>
                        <a:pt x="5" y="491"/>
                      </a:lnTo>
                      <a:lnTo>
                        <a:pt x="5" y="489"/>
                      </a:lnTo>
                      <a:lnTo>
                        <a:pt x="5" y="489"/>
                      </a:lnTo>
                      <a:close/>
                      <a:moveTo>
                        <a:pt x="20" y="478"/>
                      </a:moveTo>
                      <a:lnTo>
                        <a:pt x="20" y="481"/>
                      </a:lnTo>
                      <a:lnTo>
                        <a:pt x="21" y="482"/>
                      </a:lnTo>
                      <a:lnTo>
                        <a:pt x="23" y="482"/>
                      </a:lnTo>
                      <a:lnTo>
                        <a:pt x="23" y="479"/>
                      </a:lnTo>
                      <a:lnTo>
                        <a:pt x="20" y="478"/>
                      </a:lnTo>
                      <a:lnTo>
                        <a:pt x="20" y="478"/>
                      </a:lnTo>
                      <a:close/>
                      <a:moveTo>
                        <a:pt x="54" y="448"/>
                      </a:moveTo>
                      <a:lnTo>
                        <a:pt x="52" y="445"/>
                      </a:lnTo>
                      <a:lnTo>
                        <a:pt x="56" y="443"/>
                      </a:lnTo>
                      <a:lnTo>
                        <a:pt x="56" y="442"/>
                      </a:lnTo>
                      <a:lnTo>
                        <a:pt x="56" y="440"/>
                      </a:lnTo>
                      <a:lnTo>
                        <a:pt x="59" y="438"/>
                      </a:lnTo>
                      <a:lnTo>
                        <a:pt x="60" y="435"/>
                      </a:lnTo>
                      <a:lnTo>
                        <a:pt x="60" y="438"/>
                      </a:lnTo>
                      <a:lnTo>
                        <a:pt x="60" y="440"/>
                      </a:lnTo>
                      <a:lnTo>
                        <a:pt x="59" y="443"/>
                      </a:lnTo>
                      <a:lnTo>
                        <a:pt x="56" y="445"/>
                      </a:lnTo>
                      <a:lnTo>
                        <a:pt x="56" y="448"/>
                      </a:lnTo>
                      <a:lnTo>
                        <a:pt x="54" y="448"/>
                      </a:lnTo>
                      <a:lnTo>
                        <a:pt x="54" y="448"/>
                      </a:lnTo>
                      <a:close/>
                      <a:moveTo>
                        <a:pt x="69" y="415"/>
                      </a:moveTo>
                      <a:lnTo>
                        <a:pt x="70" y="417"/>
                      </a:lnTo>
                      <a:lnTo>
                        <a:pt x="70" y="420"/>
                      </a:lnTo>
                      <a:lnTo>
                        <a:pt x="70" y="422"/>
                      </a:lnTo>
                      <a:lnTo>
                        <a:pt x="67" y="419"/>
                      </a:lnTo>
                      <a:lnTo>
                        <a:pt x="67" y="417"/>
                      </a:lnTo>
                      <a:lnTo>
                        <a:pt x="69" y="415"/>
                      </a:lnTo>
                      <a:lnTo>
                        <a:pt x="69" y="415"/>
                      </a:lnTo>
                      <a:close/>
                      <a:moveTo>
                        <a:pt x="75" y="411"/>
                      </a:moveTo>
                      <a:lnTo>
                        <a:pt x="73" y="409"/>
                      </a:lnTo>
                      <a:lnTo>
                        <a:pt x="70" y="409"/>
                      </a:lnTo>
                      <a:lnTo>
                        <a:pt x="70" y="409"/>
                      </a:lnTo>
                      <a:lnTo>
                        <a:pt x="72" y="406"/>
                      </a:lnTo>
                      <a:lnTo>
                        <a:pt x="73" y="404"/>
                      </a:lnTo>
                      <a:lnTo>
                        <a:pt x="75" y="404"/>
                      </a:lnTo>
                      <a:lnTo>
                        <a:pt x="75" y="404"/>
                      </a:lnTo>
                      <a:lnTo>
                        <a:pt x="77" y="404"/>
                      </a:lnTo>
                      <a:lnTo>
                        <a:pt x="78" y="402"/>
                      </a:lnTo>
                      <a:lnTo>
                        <a:pt x="80" y="402"/>
                      </a:lnTo>
                      <a:lnTo>
                        <a:pt x="78" y="406"/>
                      </a:lnTo>
                      <a:lnTo>
                        <a:pt x="75" y="407"/>
                      </a:lnTo>
                      <a:lnTo>
                        <a:pt x="75" y="409"/>
                      </a:lnTo>
                      <a:lnTo>
                        <a:pt x="75" y="411"/>
                      </a:lnTo>
                      <a:lnTo>
                        <a:pt x="75" y="411"/>
                      </a:lnTo>
                      <a:close/>
                      <a:moveTo>
                        <a:pt x="157" y="89"/>
                      </a:moveTo>
                      <a:lnTo>
                        <a:pt x="155" y="87"/>
                      </a:lnTo>
                      <a:lnTo>
                        <a:pt x="155" y="85"/>
                      </a:lnTo>
                      <a:lnTo>
                        <a:pt x="158" y="82"/>
                      </a:lnTo>
                      <a:lnTo>
                        <a:pt x="160" y="82"/>
                      </a:lnTo>
                      <a:lnTo>
                        <a:pt x="158" y="85"/>
                      </a:lnTo>
                      <a:lnTo>
                        <a:pt x="158" y="87"/>
                      </a:lnTo>
                      <a:lnTo>
                        <a:pt x="157" y="89"/>
                      </a:lnTo>
                      <a:lnTo>
                        <a:pt x="157" y="89"/>
                      </a:lnTo>
                      <a:close/>
                      <a:moveTo>
                        <a:pt x="176" y="105"/>
                      </a:moveTo>
                      <a:lnTo>
                        <a:pt x="173" y="103"/>
                      </a:lnTo>
                      <a:lnTo>
                        <a:pt x="171" y="100"/>
                      </a:lnTo>
                      <a:lnTo>
                        <a:pt x="173" y="100"/>
                      </a:lnTo>
                      <a:lnTo>
                        <a:pt x="171" y="94"/>
                      </a:lnTo>
                      <a:lnTo>
                        <a:pt x="170" y="89"/>
                      </a:lnTo>
                      <a:lnTo>
                        <a:pt x="168" y="85"/>
                      </a:lnTo>
                      <a:lnTo>
                        <a:pt x="165" y="84"/>
                      </a:lnTo>
                      <a:lnTo>
                        <a:pt x="163" y="84"/>
                      </a:lnTo>
                      <a:lnTo>
                        <a:pt x="163" y="82"/>
                      </a:lnTo>
                      <a:lnTo>
                        <a:pt x="163" y="77"/>
                      </a:lnTo>
                      <a:lnTo>
                        <a:pt x="162" y="74"/>
                      </a:lnTo>
                      <a:lnTo>
                        <a:pt x="163" y="72"/>
                      </a:lnTo>
                      <a:lnTo>
                        <a:pt x="165" y="71"/>
                      </a:lnTo>
                      <a:lnTo>
                        <a:pt x="165" y="69"/>
                      </a:lnTo>
                      <a:lnTo>
                        <a:pt x="168" y="69"/>
                      </a:lnTo>
                      <a:lnTo>
                        <a:pt x="170" y="66"/>
                      </a:lnTo>
                      <a:lnTo>
                        <a:pt x="170" y="64"/>
                      </a:lnTo>
                      <a:lnTo>
                        <a:pt x="170" y="62"/>
                      </a:lnTo>
                      <a:lnTo>
                        <a:pt x="167" y="61"/>
                      </a:lnTo>
                      <a:lnTo>
                        <a:pt x="165" y="59"/>
                      </a:lnTo>
                      <a:lnTo>
                        <a:pt x="165" y="59"/>
                      </a:lnTo>
                      <a:lnTo>
                        <a:pt x="167" y="56"/>
                      </a:lnTo>
                      <a:lnTo>
                        <a:pt x="168" y="56"/>
                      </a:lnTo>
                      <a:lnTo>
                        <a:pt x="173" y="59"/>
                      </a:lnTo>
                      <a:lnTo>
                        <a:pt x="178" y="59"/>
                      </a:lnTo>
                      <a:lnTo>
                        <a:pt x="180" y="58"/>
                      </a:lnTo>
                      <a:lnTo>
                        <a:pt x="180" y="56"/>
                      </a:lnTo>
                      <a:lnTo>
                        <a:pt x="181" y="54"/>
                      </a:lnTo>
                      <a:lnTo>
                        <a:pt x="180" y="53"/>
                      </a:lnTo>
                      <a:lnTo>
                        <a:pt x="180" y="51"/>
                      </a:lnTo>
                      <a:lnTo>
                        <a:pt x="178" y="49"/>
                      </a:lnTo>
                      <a:lnTo>
                        <a:pt x="176" y="46"/>
                      </a:lnTo>
                      <a:lnTo>
                        <a:pt x="176" y="45"/>
                      </a:lnTo>
                      <a:lnTo>
                        <a:pt x="178" y="41"/>
                      </a:lnTo>
                      <a:lnTo>
                        <a:pt x="180" y="41"/>
                      </a:lnTo>
                      <a:lnTo>
                        <a:pt x="180" y="40"/>
                      </a:lnTo>
                      <a:lnTo>
                        <a:pt x="178" y="36"/>
                      </a:lnTo>
                      <a:lnTo>
                        <a:pt x="176" y="31"/>
                      </a:lnTo>
                      <a:lnTo>
                        <a:pt x="178" y="30"/>
                      </a:lnTo>
                      <a:lnTo>
                        <a:pt x="178" y="23"/>
                      </a:lnTo>
                      <a:lnTo>
                        <a:pt x="176" y="20"/>
                      </a:lnTo>
                      <a:lnTo>
                        <a:pt x="170" y="10"/>
                      </a:lnTo>
                      <a:lnTo>
                        <a:pt x="170" y="7"/>
                      </a:lnTo>
                      <a:lnTo>
                        <a:pt x="168" y="5"/>
                      </a:lnTo>
                      <a:lnTo>
                        <a:pt x="170" y="4"/>
                      </a:lnTo>
                      <a:lnTo>
                        <a:pt x="170" y="4"/>
                      </a:lnTo>
                      <a:lnTo>
                        <a:pt x="171" y="2"/>
                      </a:lnTo>
                      <a:lnTo>
                        <a:pt x="171" y="0"/>
                      </a:lnTo>
                      <a:lnTo>
                        <a:pt x="175" y="0"/>
                      </a:lnTo>
                      <a:lnTo>
                        <a:pt x="176" y="4"/>
                      </a:lnTo>
                      <a:lnTo>
                        <a:pt x="181" y="7"/>
                      </a:lnTo>
                      <a:lnTo>
                        <a:pt x="186" y="9"/>
                      </a:lnTo>
                      <a:lnTo>
                        <a:pt x="188" y="12"/>
                      </a:lnTo>
                      <a:lnTo>
                        <a:pt x="196" y="20"/>
                      </a:lnTo>
                      <a:lnTo>
                        <a:pt x="199" y="23"/>
                      </a:lnTo>
                      <a:lnTo>
                        <a:pt x="201" y="25"/>
                      </a:lnTo>
                      <a:lnTo>
                        <a:pt x="204" y="25"/>
                      </a:lnTo>
                      <a:lnTo>
                        <a:pt x="206" y="28"/>
                      </a:lnTo>
                      <a:lnTo>
                        <a:pt x="211" y="31"/>
                      </a:lnTo>
                      <a:lnTo>
                        <a:pt x="216" y="31"/>
                      </a:lnTo>
                      <a:lnTo>
                        <a:pt x="217" y="35"/>
                      </a:lnTo>
                      <a:lnTo>
                        <a:pt x="220" y="35"/>
                      </a:lnTo>
                      <a:lnTo>
                        <a:pt x="222" y="35"/>
                      </a:lnTo>
                      <a:lnTo>
                        <a:pt x="225" y="35"/>
                      </a:lnTo>
                      <a:lnTo>
                        <a:pt x="230" y="31"/>
                      </a:lnTo>
                      <a:lnTo>
                        <a:pt x="234" y="27"/>
                      </a:lnTo>
                      <a:lnTo>
                        <a:pt x="234" y="25"/>
                      </a:lnTo>
                      <a:lnTo>
                        <a:pt x="235" y="23"/>
                      </a:lnTo>
                      <a:lnTo>
                        <a:pt x="235" y="25"/>
                      </a:lnTo>
                      <a:lnTo>
                        <a:pt x="235" y="28"/>
                      </a:lnTo>
                      <a:lnTo>
                        <a:pt x="234" y="33"/>
                      </a:lnTo>
                      <a:lnTo>
                        <a:pt x="234" y="36"/>
                      </a:lnTo>
                      <a:lnTo>
                        <a:pt x="235" y="38"/>
                      </a:lnTo>
                      <a:lnTo>
                        <a:pt x="238" y="41"/>
                      </a:lnTo>
                      <a:lnTo>
                        <a:pt x="242" y="45"/>
                      </a:lnTo>
                      <a:lnTo>
                        <a:pt x="242" y="46"/>
                      </a:lnTo>
                      <a:lnTo>
                        <a:pt x="242" y="48"/>
                      </a:lnTo>
                      <a:lnTo>
                        <a:pt x="243" y="48"/>
                      </a:lnTo>
                      <a:lnTo>
                        <a:pt x="245" y="46"/>
                      </a:lnTo>
                      <a:lnTo>
                        <a:pt x="247" y="43"/>
                      </a:lnTo>
                      <a:lnTo>
                        <a:pt x="250" y="43"/>
                      </a:lnTo>
                      <a:lnTo>
                        <a:pt x="248" y="46"/>
                      </a:lnTo>
                      <a:lnTo>
                        <a:pt x="247" y="46"/>
                      </a:lnTo>
                      <a:lnTo>
                        <a:pt x="247" y="49"/>
                      </a:lnTo>
                      <a:lnTo>
                        <a:pt x="245" y="51"/>
                      </a:lnTo>
                      <a:lnTo>
                        <a:pt x="242" y="53"/>
                      </a:lnTo>
                      <a:lnTo>
                        <a:pt x="242" y="54"/>
                      </a:lnTo>
                      <a:lnTo>
                        <a:pt x="240" y="56"/>
                      </a:lnTo>
                      <a:lnTo>
                        <a:pt x="238" y="56"/>
                      </a:lnTo>
                      <a:lnTo>
                        <a:pt x="237" y="56"/>
                      </a:lnTo>
                      <a:lnTo>
                        <a:pt x="235" y="58"/>
                      </a:lnTo>
                      <a:lnTo>
                        <a:pt x="235" y="59"/>
                      </a:lnTo>
                      <a:lnTo>
                        <a:pt x="230" y="59"/>
                      </a:lnTo>
                      <a:lnTo>
                        <a:pt x="227" y="58"/>
                      </a:lnTo>
                      <a:lnTo>
                        <a:pt x="225" y="59"/>
                      </a:lnTo>
                      <a:lnTo>
                        <a:pt x="220" y="66"/>
                      </a:lnTo>
                      <a:lnTo>
                        <a:pt x="219" y="72"/>
                      </a:lnTo>
                      <a:lnTo>
                        <a:pt x="219" y="77"/>
                      </a:lnTo>
                      <a:lnTo>
                        <a:pt x="219" y="80"/>
                      </a:lnTo>
                      <a:lnTo>
                        <a:pt x="219" y="84"/>
                      </a:lnTo>
                      <a:lnTo>
                        <a:pt x="219" y="85"/>
                      </a:lnTo>
                      <a:lnTo>
                        <a:pt x="217" y="85"/>
                      </a:lnTo>
                      <a:lnTo>
                        <a:pt x="216" y="82"/>
                      </a:lnTo>
                      <a:lnTo>
                        <a:pt x="211" y="80"/>
                      </a:lnTo>
                      <a:lnTo>
                        <a:pt x="206" y="79"/>
                      </a:lnTo>
                      <a:lnTo>
                        <a:pt x="201" y="76"/>
                      </a:lnTo>
                      <a:lnTo>
                        <a:pt x="198" y="72"/>
                      </a:lnTo>
                      <a:lnTo>
                        <a:pt x="196" y="72"/>
                      </a:lnTo>
                      <a:lnTo>
                        <a:pt x="193" y="72"/>
                      </a:lnTo>
                      <a:lnTo>
                        <a:pt x="191" y="71"/>
                      </a:lnTo>
                      <a:lnTo>
                        <a:pt x="189" y="71"/>
                      </a:lnTo>
                      <a:lnTo>
                        <a:pt x="185" y="72"/>
                      </a:lnTo>
                      <a:lnTo>
                        <a:pt x="181" y="79"/>
                      </a:lnTo>
                      <a:lnTo>
                        <a:pt x="180" y="77"/>
                      </a:lnTo>
                      <a:lnTo>
                        <a:pt x="176" y="74"/>
                      </a:lnTo>
                      <a:lnTo>
                        <a:pt x="173" y="74"/>
                      </a:lnTo>
                      <a:lnTo>
                        <a:pt x="171" y="77"/>
                      </a:lnTo>
                      <a:lnTo>
                        <a:pt x="171" y="80"/>
                      </a:lnTo>
                      <a:lnTo>
                        <a:pt x="173" y="82"/>
                      </a:lnTo>
                      <a:lnTo>
                        <a:pt x="176" y="84"/>
                      </a:lnTo>
                      <a:lnTo>
                        <a:pt x="180" y="84"/>
                      </a:lnTo>
                      <a:lnTo>
                        <a:pt x="183" y="87"/>
                      </a:lnTo>
                      <a:lnTo>
                        <a:pt x="186" y="89"/>
                      </a:lnTo>
                      <a:lnTo>
                        <a:pt x="191" y="89"/>
                      </a:lnTo>
                      <a:lnTo>
                        <a:pt x="191" y="90"/>
                      </a:lnTo>
                      <a:lnTo>
                        <a:pt x="189" y="94"/>
                      </a:lnTo>
                      <a:lnTo>
                        <a:pt x="188" y="97"/>
                      </a:lnTo>
                      <a:lnTo>
                        <a:pt x="186" y="95"/>
                      </a:lnTo>
                      <a:lnTo>
                        <a:pt x="181" y="94"/>
                      </a:lnTo>
                      <a:lnTo>
                        <a:pt x="180" y="95"/>
                      </a:lnTo>
                      <a:lnTo>
                        <a:pt x="181" y="98"/>
                      </a:lnTo>
                      <a:lnTo>
                        <a:pt x="180" y="100"/>
                      </a:lnTo>
                      <a:lnTo>
                        <a:pt x="176" y="105"/>
                      </a:lnTo>
                      <a:lnTo>
                        <a:pt x="176" y="105"/>
                      </a:lnTo>
                      <a:close/>
                      <a:moveTo>
                        <a:pt x="171" y="195"/>
                      </a:moveTo>
                      <a:lnTo>
                        <a:pt x="171" y="192"/>
                      </a:lnTo>
                      <a:lnTo>
                        <a:pt x="171" y="190"/>
                      </a:lnTo>
                      <a:lnTo>
                        <a:pt x="171" y="188"/>
                      </a:lnTo>
                      <a:lnTo>
                        <a:pt x="170" y="190"/>
                      </a:lnTo>
                      <a:lnTo>
                        <a:pt x="168" y="188"/>
                      </a:lnTo>
                      <a:lnTo>
                        <a:pt x="170" y="182"/>
                      </a:lnTo>
                      <a:lnTo>
                        <a:pt x="171" y="182"/>
                      </a:lnTo>
                      <a:lnTo>
                        <a:pt x="171" y="183"/>
                      </a:lnTo>
                      <a:lnTo>
                        <a:pt x="171" y="187"/>
                      </a:lnTo>
                      <a:lnTo>
                        <a:pt x="173" y="187"/>
                      </a:lnTo>
                      <a:lnTo>
                        <a:pt x="175" y="188"/>
                      </a:lnTo>
                      <a:lnTo>
                        <a:pt x="173" y="192"/>
                      </a:lnTo>
                      <a:lnTo>
                        <a:pt x="171" y="193"/>
                      </a:lnTo>
                      <a:lnTo>
                        <a:pt x="171" y="195"/>
                      </a:lnTo>
                      <a:lnTo>
                        <a:pt x="171" y="195"/>
                      </a:lnTo>
                      <a:close/>
                      <a:moveTo>
                        <a:pt x="54" y="304"/>
                      </a:moveTo>
                      <a:lnTo>
                        <a:pt x="56" y="304"/>
                      </a:lnTo>
                      <a:lnTo>
                        <a:pt x="57" y="304"/>
                      </a:lnTo>
                      <a:lnTo>
                        <a:pt x="56" y="303"/>
                      </a:lnTo>
                      <a:lnTo>
                        <a:pt x="54" y="303"/>
                      </a:lnTo>
                      <a:lnTo>
                        <a:pt x="54" y="304"/>
                      </a:lnTo>
                      <a:lnTo>
                        <a:pt x="54" y="304"/>
                      </a:lnTo>
                      <a:close/>
                      <a:moveTo>
                        <a:pt x="54" y="306"/>
                      </a:moveTo>
                      <a:lnTo>
                        <a:pt x="54" y="308"/>
                      </a:lnTo>
                      <a:lnTo>
                        <a:pt x="54" y="306"/>
                      </a:lnTo>
                      <a:lnTo>
                        <a:pt x="54" y="306"/>
                      </a:lnTo>
                      <a:lnTo>
                        <a:pt x="54" y="306"/>
                      </a:lnTo>
                      <a:close/>
                      <a:moveTo>
                        <a:pt x="52" y="308"/>
                      </a:moveTo>
                      <a:lnTo>
                        <a:pt x="52" y="309"/>
                      </a:lnTo>
                      <a:lnTo>
                        <a:pt x="54" y="308"/>
                      </a:lnTo>
                      <a:lnTo>
                        <a:pt x="52" y="308"/>
                      </a:lnTo>
                      <a:lnTo>
                        <a:pt x="52" y="308"/>
                      </a:lnTo>
                      <a:close/>
                      <a:moveTo>
                        <a:pt x="49" y="309"/>
                      </a:moveTo>
                      <a:lnTo>
                        <a:pt x="51" y="311"/>
                      </a:lnTo>
                      <a:lnTo>
                        <a:pt x="52" y="309"/>
                      </a:lnTo>
                      <a:lnTo>
                        <a:pt x="49" y="309"/>
                      </a:lnTo>
                      <a:lnTo>
                        <a:pt x="49" y="309"/>
                      </a:lnTo>
                      <a:close/>
                      <a:moveTo>
                        <a:pt x="47" y="317"/>
                      </a:moveTo>
                      <a:lnTo>
                        <a:pt x="46" y="314"/>
                      </a:lnTo>
                      <a:lnTo>
                        <a:pt x="46" y="312"/>
                      </a:lnTo>
                      <a:lnTo>
                        <a:pt x="47" y="311"/>
                      </a:lnTo>
                      <a:lnTo>
                        <a:pt x="49" y="312"/>
                      </a:lnTo>
                      <a:lnTo>
                        <a:pt x="51" y="314"/>
                      </a:lnTo>
                      <a:lnTo>
                        <a:pt x="51" y="316"/>
                      </a:lnTo>
                      <a:lnTo>
                        <a:pt x="49" y="317"/>
                      </a:lnTo>
                      <a:lnTo>
                        <a:pt x="47" y="317"/>
                      </a:lnTo>
                      <a:lnTo>
                        <a:pt x="47" y="317"/>
                      </a:lnTo>
                      <a:close/>
                      <a:moveTo>
                        <a:pt x="72" y="319"/>
                      </a:moveTo>
                      <a:lnTo>
                        <a:pt x="72" y="317"/>
                      </a:lnTo>
                      <a:lnTo>
                        <a:pt x="72" y="317"/>
                      </a:lnTo>
                      <a:lnTo>
                        <a:pt x="73" y="317"/>
                      </a:lnTo>
                      <a:lnTo>
                        <a:pt x="73" y="319"/>
                      </a:lnTo>
                      <a:lnTo>
                        <a:pt x="72" y="319"/>
                      </a:lnTo>
                      <a:lnTo>
                        <a:pt x="72" y="319"/>
                      </a:lnTo>
                      <a:close/>
                      <a:moveTo>
                        <a:pt x="69" y="324"/>
                      </a:moveTo>
                      <a:lnTo>
                        <a:pt x="70" y="324"/>
                      </a:lnTo>
                      <a:lnTo>
                        <a:pt x="70" y="324"/>
                      </a:lnTo>
                      <a:lnTo>
                        <a:pt x="70" y="326"/>
                      </a:lnTo>
                      <a:lnTo>
                        <a:pt x="69" y="324"/>
                      </a:lnTo>
                      <a:lnTo>
                        <a:pt x="69" y="324"/>
                      </a:lnTo>
                      <a:close/>
                      <a:moveTo>
                        <a:pt x="67" y="316"/>
                      </a:moveTo>
                      <a:lnTo>
                        <a:pt x="67" y="317"/>
                      </a:lnTo>
                      <a:lnTo>
                        <a:pt x="67" y="321"/>
                      </a:lnTo>
                      <a:lnTo>
                        <a:pt x="69" y="322"/>
                      </a:lnTo>
                      <a:lnTo>
                        <a:pt x="69" y="324"/>
                      </a:lnTo>
                      <a:lnTo>
                        <a:pt x="70" y="321"/>
                      </a:lnTo>
                      <a:lnTo>
                        <a:pt x="69" y="317"/>
                      </a:lnTo>
                      <a:lnTo>
                        <a:pt x="69" y="316"/>
                      </a:lnTo>
                      <a:lnTo>
                        <a:pt x="67" y="316"/>
                      </a:lnTo>
                      <a:lnTo>
                        <a:pt x="67" y="316"/>
                      </a:lnTo>
                      <a:close/>
                      <a:moveTo>
                        <a:pt x="136" y="277"/>
                      </a:moveTo>
                      <a:lnTo>
                        <a:pt x="134" y="273"/>
                      </a:lnTo>
                      <a:lnTo>
                        <a:pt x="134" y="272"/>
                      </a:lnTo>
                      <a:lnTo>
                        <a:pt x="136" y="270"/>
                      </a:lnTo>
                      <a:lnTo>
                        <a:pt x="137" y="270"/>
                      </a:lnTo>
                      <a:lnTo>
                        <a:pt x="137" y="272"/>
                      </a:lnTo>
                      <a:lnTo>
                        <a:pt x="137" y="273"/>
                      </a:lnTo>
                      <a:lnTo>
                        <a:pt x="137" y="275"/>
                      </a:lnTo>
                      <a:lnTo>
                        <a:pt x="137" y="277"/>
                      </a:lnTo>
                      <a:lnTo>
                        <a:pt x="136" y="277"/>
                      </a:lnTo>
                      <a:lnTo>
                        <a:pt x="136" y="277"/>
                      </a:lnTo>
                      <a:close/>
                      <a:moveTo>
                        <a:pt x="124" y="275"/>
                      </a:moveTo>
                      <a:lnTo>
                        <a:pt x="127" y="272"/>
                      </a:lnTo>
                      <a:lnTo>
                        <a:pt x="129" y="272"/>
                      </a:lnTo>
                      <a:lnTo>
                        <a:pt x="129" y="273"/>
                      </a:lnTo>
                      <a:lnTo>
                        <a:pt x="127" y="275"/>
                      </a:lnTo>
                      <a:lnTo>
                        <a:pt x="124" y="275"/>
                      </a:lnTo>
                      <a:lnTo>
                        <a:pt x="124" y="275"/>
                      </a:lnTo>
                      <a:close/>
                      <a:moveTo>
                        <a:pt x="109" y="308"/>
                      </a:moveTo>
                      <a:lnTo>
                        <a:pt x="111" y="309"/>
                      </a:lnTo>
                      <a:lnTo>
                        <a:pt x="113" y="308"/>
                      </a:lnTo>
                      <a:lnTo>
                        <a:pt x="114" y="308"/>
                      </a:lnTo>
                      <a:lnTo>
                        <a:pt x="116" y="308"/>
                      </a:lnTo>
                      <a:lnTo>
                        <a:pt x="116" y="306"/>
                      </a:lnTo>
                      <a:lnTo>
                        <a:pt x="113" y="303"/>
                      </a:lnTo>
                      <a:lnTo>
                        <a:pt x="114" y="299"/>
                      </a:lnTo>
                      <a:lnTo>
                        <a:pt x="116" y="296"/>
                      </a:lnTo>
                      <a:lnTo>
                        <a:pt x="119" y="293"/>
                      </a:lnTo>
                      <a:lnTo>
                        <a:pt x="121" y="291"/>
                      </a:lnTo>
                      <a:lnTo>
                        <a:pt x="124" y="291"/>
                      </a:lnTo>
                      <a:lnTo>
                        <a:pt x="127" y="295"/>
                      </a:lnTo>
                      <a:lnTo>
                        <a:pt x="129" y="296"/>
                      </a:lnTo>
                      <a:lnTo>
                        <a:pt x="131" y="296"/>
                      </a:lnTo>
                      <a:lnTo>
                        <a:pt x="132" y="290"/>
                      </a:lnTo>
                      <a:lnTo>
                        <a:pt x="136" y="286"/>
                      </a:lnTo>
                      <a:lnTo>
                        <a:pt x="137" y="285"/>
                      </a:lnTo>
                      <a:lnTo>
                        <a:pt x="136" y="283"/>
                      </a:lnTo>
                      <a:lnTo>
                        <a:pt x="136" y="281"/>
                      </a:lnTo>
                      <a:lnTo>
                        <a:pt x="131" y="278"/>
                      </a:lnTo>
                      <a:lnTo>
                        <a:pt x="129" y="278"/>
                      </a:lnTo>
                      <a:lnTo>
                        <a:pt x="127" y="277"/>
                      </a:lnTo>
                      <a:lnTo>
                        <a:pt x="122" y="277"/>
                      </a:lnTo>
                      <a:lnTo>
                        <a:pt x="119" y="280"/>
                      </a:lnTo>
                      <a:lnTo>
                        <a:pt x="119" y="281"/>
                      </a:lnTo>
                      <a:lnTo>
                        <a:pt x="118" y="285"/>
                      </a:lnTo>
                      <a:lnTo>
                        <a:pt x="114" y="285"/>
                      </a:lnTo>
                      <a:lnTo>
                        <a:pt x="113" y="286"/>
                      </a:lnTo>
                      <a:lnTo>
                        <a:pt x="111" y="286"/>
                      </a:lnTo>
                      <a:lnTo>
                        <a:pt x="109" y="281"/>
                      </a:lnTo>
                      <a:lnTo>
                        <a:pt x="108" y="281"/>
                      </a:lnTo>
                      <a:lnTo>
                        <a:pt x="103" y="286"/>
                      </a:lnTo>
                      <a:lnTo>
                        <a:pt x="103" y="290"/>
                      </a:lnTo>
                      <a:lnTo>
                        <a:pt x="100" y="291"/>
                      </a:lnTo>
                      <a:lnTo>
                        <a:pt x="100" y="295"/>
                      </a:lnTo>
                      <a:lnTo>
                        <a:pt x="105" y="296"/>
                      </a:lnTo>
                      <a:lnTo>
                        <a:pt x="105" y="299"/>
                      </a:lnTo>
                      <a:lnTo>
                        <a:pt x="105" y="301"/>
                      </a:lnTo>
                      <a:lnTo>
                        <a:pt x="105" y="303"/>
                      </a:lnTo>
                      <a:lnTo>
                        <a:pt x="106" y="306"/>
                      </a:lnTo>
                      <a:lnTo>
                        <a:pt x="109" y="306"/>
                      </a:lnTo>
                      <a:lnTo>
                        <a:pt x="109" y="308"/>
                      </a:lnTo>
                      <a:lnTo>
                        <a:pt x="109" y="308"/>
                      </a:lnTo>
                      <a:close/>
                      <a:moveTo>
                        <a:pt x="90" y="363"/>
                      </a:moveTo>
                      <a:lnTo>
                        <a:pt x="87" y="360"/>
                      </a:lnTo>
                      <a:lnTo>
                        <a:pt x="85" y="362"/>
                      </a:lnTo>
                      <a:lnTo>
                        <a:pt x="85" y="363"/>
                      </a:lnTo>
                      <a:lnTo>
                        <a:pt x="87" y="366"/>
                      </a:lnTo>
                      <a:lnTo>
                        <a:pt x="90" y="366"/>
                      </a:lnTo>
                      <a:lnTo>
                        <a:pt x="90" y="365"/>
                      </a:lnTo>
                      <a:lnTo>
                        <a:pt x="90" y="363"/>
                      </a:lnTo>
                      <a:lnTo>
                        <a:pt x="90" y="363"/>
                      </a:lnTo>
                      <a:close/>
                      <a:moveTo>
                        <a:pt x="91" y="360"/>
                      </a:moveTo>
                      <a:lnTo>
                        <a:pt x="91" y="355"/>
                      </a:lnTo>
                      <a:lnTo>
                        <a:pt x="91" y="352"/>
                      </a:lnTo>
                      <a:lnTo>
                        <a:pt x="93" y="353"/>
                      </a:lnTo>
                      <a:lnTo>
                        <a:pt x="93" y="357"/>
                      </a:lnTo>
                      <a:lnTo>
                        <a:pt x="93" y="358"/>
                      </a:lnTo>
                      <a:lnTo>
                        <a:pt x="91" y="360"/>
                      </a:lnTo>
                      <a:lnTo>
                        <a:pt x="91" y="360"/>
                      </a:lnTo>
                      <a:close/>
                      <a:moveTo>
                        <a:pt x="87" y="350"/>
                      </a:moveTo>
                      <a:lnTo>
                        <a:pt x="90" y="348"/>
                      </a:lnTo>
                      <a:lnTo>
                        <a:pt x="93" y="344"/>
                      </a:lnTo>
                      <a:lnTo>
                        <a:pt x="90" y="342"/>
                      </a:lnTo>
                      <a:lnTo>
                        <a:pt x="90" y="340"/>
                      </a:lnTo>
                      <a:lnTo>
                        <a:pt x="91" y="339"/>
                      </a:lnTo>
                      <a:lnTo>
                        <a:pt x="93" y="340"/>
                      </a:lnTo>
                      <a:lnTo>
                        <a:pt x="95" y="340"/>
                      </a:lnTo>
                      <a:lnTo>
                        <a:pt x="95" y="337"/>
                      </a:lnTo>
                      <a:lnTo>
                        <a:pt x="95" y="332"/>
                      </a:lnTo>
                      <a:lnTo>
                        <a:pt x="95" y="329"/>
                      </a:lnTo>
                      <a:lnTo>
                        <a:pt x="95" y="321"/>
                      </a:lnTo>
                      <a:lnTo>
                        <a:pt x="95" y="316"/>
                      </a:lnTo>
                      <a:lnTo>
                        <a:pt x="96" y="312"/>
                      </a:lnTo>
                      <a:lnTo>
                        <a:pt x="100" y="309"/>
                      </a:lnTo>
                      <a:lnTo>
                        <a:pt x="98" y="308"/>
                      </a:lnTo>
                      <a:lnTo>
                        <a:pt x="96" y="306"/>
                      </a:lnTo>
                      <a:lnTo>
                        <a:pt x="96" y="304"/>
                      </a:lnTo>
                      <a:lnTo>
                        <a:pt x="95" y="303"/>
                      </a:lnTo>
                      <a:lnTo>
                        <a:pt x="95" y="301"/>
                      </a:lnTo>
                      <a:lnTo>
                        <a:pt x="90" y="301"/>
                      </a:lnTo>
                      <a:lnTo>
                        <a:pt x="90" y="299"/>
                      </a:lnTo>
                      <a:lnTo>
                        <a:pt x="91" y="298"/>
                      </a:lnTo>
                      <a:lnTo>
                        <a:pt x="93" y="296"/>
                      </a:lnTo>
                      <a:lnTo>
                        <a:pt x="91" y="293"/>
                      </a:lnTo>
                      <a:lnTo>
                        <a:pt x="90" y="291"/>
                      </a:lnTo>
                      <a:lnTo>
                        <a:pt x="87" y="291"/>
                      </a:lnTo>
                      <a:lnTo>
                        <a:pt x="87" y="293"/>
                      </a:lnTo>
                      <a:lnTo>
                        <a:pt x="85" y="295"/>
                      </a:lnTo>
                      <a:lnTo>
                        <a:pt x="83" y="295"/>
                      </a:lnTo>
                      <a:lnTo>
                        <a:pt x="80" y="290"/>
                      </a:lnTo>
                      <a:lnTo>
                        <a:pt x="80" y="288"/>
                      </a:lnTo>
                      <a:lnTo>
                        <a:pt x="85" y="285"/>
                      </a:lnTo>
                      <a:lnTo>
                        <a:pt x="90" y="285"/>
                      </a:lnTo>
                      <a:lnTo>
                        <a:pt x="95" y="286"/>
                      </a:lnTo>
                      <a:lnTo>
                        <a:pt x="96" y="286"/>
                      </a:lnTo>
                      <a:lnTo>
                        <a:pt x="96" y="286"/>
                      </a:lnTo>
                      <a:lnTo>
                        <a:pt x="96" y="283"/>
                      </a:lnTo>
                      <a:lnTo>
                        <a:pt x="96" y="280"/>
                      </a:lnTo>
                      <a:lnTo>
                        <a:pt x="96" y="278"/>
                      </a:lnTo>
                      <a:lnTo>
                        <a:pt x="98" y="277"/>
                      </a:lnTo>
                      <a:lnTo>
                        <a:pt x="100" y="277"/>
                      </a:lnTo>
                      <a:lnTo>
                        <a:pt x="101" y="278"/>
                      </a:lnTo>
                      <a:lnTo>
                        <a:pt x="103" y="278"/>
                      </a:lnTo>
                      <a:lnTo>
                        <a:pt x="106" y="277"/>
                      </a:lnTo>
                      <a:lnTo>
                        <a:pt x="111" y="275"/>
                      </a:lnTo>
                      <a:lnTo>
                        <a:pt x="116" y="273"/>
                      </a:lnTo>
                      <a:lnTo>
                        <a:pt x="119" y="273"/>
                      </a:lnTo>
                      <a:lnTo>
                        <a:pt x="121" y="275"/>
                      </a:lnTo>
                      <a:lnTo>
                        <a:pt x="122" y="273"/>
                      </a:lnTo>
                      <a:lnTo>
                        <a:pt x="122" y="273"/>
                      </a:lnTo>
                      <a:lnTo>
                        <a:pt x="126" y="270"/>
                      </a:lnTo>
                      <a:lnTo>
                        <a:pt x="126" y="268"/>
                      </a:lnTo>
                      <a:lnTo>
                        <a:pt x="129" y="265"/>
                      </a:lnTo>
                      <a:lnTo>
                        <a:pt x="134" y="265"/>
                      </a:lnTo>
                      <a:lnTo>
                        <a:pt x="139" y="265"/>
                      </a:lnTo>
                      <a:lnTo>
                        <a:pt x="140" y="265"/>
                      </a:lnTo>
                      <a:lnTo>
                        <a:pt x="142" y="265"/>
                      </a:lnTo>
                      <a:lnTo>
                        <a:pt x="142" y="268"/>
                      </a:lnTo>
                      <a:lnTo>
                        <a:pt x="140" y="272"/>
                      </a:lnTo>
                      <a:lnTo>
                        <a:pt x="139" y="275"/>
                      </a:lnTo>
                      <a:lnTo>
                        <a:pt x="140" y="275"/>
                      </a:lnTo>
                      <a:lnTo>
                        <a:pt x="140" y="278"/>
                      </a:lnTo>
                      <a:lnTo>
                        <a:pt x="140" y="281"/>
                      </a:lnTo>
                      <a:lnTo>
                        <a:pt x="140" y="283"/>
                      </a:lnTo>
                      <a:lnTo>
                        <a:pt x="142" y="286"/>
                      </a:lnTo>
                      <a:lnTo>
                        <a:pt x="145" y="288"/>
                      </a:lnTo>
                      <a:lnTo>
                        <a:pt x="149" y="291"/>
                      </a:lnTo>
                      <a:lnTo>
                        <a:pt x="152" y="293"/>
                      </a:lnTo>
                      <a:lnTo>
                        <a:pt x="154" y="291"/>
                      </a:lnTo>
                      <a:lnTo>
                        <a:pt x="157" y="286"/>
                      </a:lnTo>
                      <a:lnTo>
                        <a:pt x="157" y="283"/>
                      </a:lnTo>
                      <a:lnTo>
                        <a:pt x="158" y="283"/>
                      </a:lnTo>
                      <a:lnTo>
                        <a:pt x="160" y="281"/>
                      </a:lnTo>
                      <a:lnTo>
                        <a:pt x="158" y="278"/>
                      </a:lnTo>
                      <a:lnTo>
                        <a:pt x="162" y="275"/>
                      </a:lnTo>
                      <a:lnTo>
                        <a:pt x="163" y="275"/>
                      </a:lnTo>
                      <a:lnTo>
                        <a:pt x="167" y="275"/>
                      </a:lnTo>
                      <a:lnTo>
                        <a:pt x="167" y="273"/>
                      </a:lnTo>
                      <a:lnTo>
                        <a:pt x="167" y="272"/>
                      </a:lnTo>
                      <a:lnTo>
                        <a:pt x="165" y="268"/>
                      </a:lnTo>
                      <a:lnTo>
                        <a:pt x="160" y="265"/>
                      </a:lnTo>
                      <a:lnTo>
                        <a:pt x="158" y="263"/>
                      </a:lnTo>
                      <a:lnTo>
                        <a:pt x="160" y="260"/>
                      </a:lnTo>
                      <a:lnTo>
                        <a:pt x="162" y="259"/>
                      </a:lnTo>
                      <a:lnTo>
                        <a:pt x="163" y="257"/>
                      </a:lnTo>
                      <a:lnTo>
                        <a:pt x="163" y="259"/>
                      </a:lnTo>
                      <a:lnTo>
                        <a:pt x="163" y="262"/>
                      </a:lnTo>
                      <a:lnTo>
                        <a:pt x="165" y="263"/>
                      </a:lnTo>
                      <a:lnTo>
                        <a:pt x="165" y="262"/>
                      </a:lnTo>
                      <a:lnTo>
                        <a:pt x="167" y="262"/>
                      </a:lnTo>
                      <a:lnTo>
                        <a:pt x="168" y="262"/>
                      </a:lnTo>
                      <a:lnTo>
                        <a:pt x="170" y="263"/>
                      </a:lnTo>
                      <a:lnTo>
                        <a:pt x="171" y="263"/>
                      </a:lnTo>
                      <a:lnTo>
                        <a:pt x="173" y="263"/>
                      </a:lnTo>
                      <a:lnTo>
                        <a:pt x="171" y="265"/>
                      </a:lnTo>
                      <a:lnTo>
                        <a:pt x="170" y="265"/>
                      </a:lnTo>
                      <a:lnTo>
                        <a:pt x="168" y="267"/>
                      </a:lnTo>
                      <a:lnTo>
                        <a:pt x="170" y="267"/>
                      </a:lnTo>
                      <a:lnTo>
                        <a:pt x="173" y="265"/>
                      </a:lnTo>
                      <a:lnTo>
                        <a:pt x="176" y="263"/>
                      </a:lnTo>
                      <a:lnTo>
                        <a:pt x="185" y="265"/>
                      </a:lnTo>
                      <a:lnTo>
                        <a:pt x="188" y="263"/>
                      </a:lnTo>
                      <a:lnTo>
                        <a:pt x="188" y="263"/>
                      </a:lnTo>
                      <a:lnTo>
                        <a:pt x="186" y="260"/>
                      </a:lnTo>
                      <a:lnTo>
                        <a:pt x="188" y="255"/>
                      </a:lnTo>
                      <a:lnTo>
                        <a:pt x="191" y="254"/>
                      </a:lnTo>
                      <a:lnTo>
                        <a:pt x="193" y="255"/>
                      </a:lnTo>
                      <a:lnTo>
                        <a:pt x="194" y="259"/>
                      </a:lnTo>
                      <a:lnTo>
                        <a:pt x="193" y="260"/>
                      </a:lnTo>
                      <a:lnTo>
                        <a:pt x="194" y="263"/>
                      </a:lnTo>
                      <a:lnTo>
                        <a:pt x="196" y="263"/>
                      </a:lnTo>
                      <a:lnTo>
                        <a:pt x="199" y="260"/>
                      </a:lnTo>
                      <a:lnTo>
                        <a:pt x="198" y="254"/>
                      </a:lnTo>
                      <a:lnTo>
                        <a:pt x="198" y="250"/>
                      </a:lnTo>
                      <a:lnTo>
                        <a:pt x="202" y="247"/>
                      </a:lnTo>
                      <a:lnTo>
                        <a:pt x="204" y="247"/>
                      </a:lnTo>
                      <a:lnTo>
                        <a:pt x="204" y="245"/>
                      </a:lnTo>
                      <a:lnTo>
                        <a:pt x="204" y="244"/>
                      </a:lnTo>
                      <a:lnTo>
                        <a:pt x="204" y="241"/>
                      </a:lnTo>
                      <a:lnTo>
                        <a:pt x="206" y="239"/>
                      </a:lnTo>
                      <a:lnTo>
                        <a:pt x="209" y="239"/>
                      </a:lnTo>
                      <a:lnTo>
                        <a:pt x="209" y="241"/>
                      </a:lnTo>
                      <a:lnTo>
                        <a:pt x="209" y="244"/>
                      </a:lnTo>
                      <a:lnTo>
                        <a:pt x="207" y="247"/>
                      </a:lnTo>
                      <a:lnTo>
                        <a:pt x="209" y="257"/>
                      </a:lnTo>
                      <a:lnTo>
                        <a:pt x="209" y="257"/>
                      </a:lnTo>
                      <a:lnTo>
                        <a:pt x="212" y="257"/>
                      </a:lnTo>
                      <a:lnTo>
                        <a:pt x="214" y="254"/>
                      </a:lnTo>
                      <a:lnTo>
                        <a:pt x="216" y="254"/>
                      </a:lnTo>
                      <a:lnTo>
                        <a:pt x="219" y="250"/>
                      </a:lnTo>
                      <a:lnTo>
                        <a:pt x="220" y="245"/>
                      </a:lnTo>
                      <a:lnTo>
                        <a:pt x="219" y="242"/>
                      </a:lnTo>
                      <a:lnTo>
                        <a:pt x="222" y="239"/>
                      </a:lnTo>
                      <a:lnTo>
                        <a:pt x="222" y="237"/>
                      </a:lnTo>
                      <a:lnTo>
                        <a:pt x="220" y="236"/>
                      </a:lnTo>
                      <a:lnTo>
                        <a:pt x="217" y="231"/>
                      </a:lnTo>
                      <a:lnTo>
                        <a:pt x="216" y="228"/>
                      </a:lnTo>
                      <a:lnTo>
                        <a:pt x="214" y="219"/>
                      </a:lnTo>
                      <a:lnTo>
                        <a:pt x="216" y="210"/>
                      </a:lnTo>
                      <a:lnTo>
                        <a:pt x="216" y="205"/>
                      </a:lnTo>
                      <a:lnTo>
                        <a:pt x="214" y="193"/>
                      </a:lnTo>
                      <a:lnTo>
                        <a:pt x="209" y="187"/>
                      </a:lnTo>
                      <a:lnTo>
                        <a:pt x="209" y="183"/>
                      </a:lnTo>
                      <a:lnTo>
                        <a:pt x="211" y="179"/>
                      </a:lnTo>
                      <a:lnTo>
                        <a:pt x="216" y="175"/>
                      </a:lnTo>
                      <a:lnTo>
                        <a:pt x="217" y="175"/>
                      </a:lnTo>
                      <a:lnTo>
                        <a:pt x="219" y="177"/>
                      </a:lnTo>
                      <a:lnTo>
                        <a:pt x="219" y="177"/>
                      </a:lnTo>
                      <a:lnTo>
                        <a:pt x="219" y="172"/>
                      </a:lnTo>
                      <a:lnTo>
                        <a:pt x="219" y="170"/>
                      </a:lnTo>
                      <a:lnTo>
                        <a:pt x="217" y="169"/>
                      </a:lnTo>
                      <a:lnTo>
                        <a:pt x="216" y="165"/>
                      </a:lnTo>
                      <a:lnTo>
                        <a:pt x="217" y="164"/>
                      </a:lnTo>
                      <a:lnTo>
                        <a:pt x="216" y="162"/>
                      </a:lnTo>
                      <a:lnTo>
                        <a:pt x="217" y="159"/>
                      </a:lnTo>
                      <a:lnTo>
                        <a:pt x="217" y="159"/>
                      </a:lnTo>
                      <a:lnTo>
                        <a:pt x="217" y="156"/>
                      </a:lnTo>
                      <a:lnTo>
                        <a:pt x="217" y="154"/>
                      </a:lnTo>
                      <a:lnTo>
                        <a:pt x="217" y="151"/>
                      </a:lnTo>
                      <a:lnTo>
                        <a:pt x="217" y="149"/>
                      </a:lnTo>
                      <a:lnTo>
                        <a:pt x="216" y="146"/>
                      </a:lnTo>
                      <a:lnTo>
                        <a:pt x="216" y="141"/>
                      </a:lnTo>
                      <a:lnTo>
                        <a:pt x="212" y="134"/>
                      </a:lnTo>
                      <a:lnTo>
                        <a:pt x="211" y="134"/>
                      </a:lnTo>
                      <a:lnTo>
                        <a:pt x="209" y="134"/>
                      </a:lnTo>
                      <a:lnTo>
                        <a:pt x="209" y="128"/>
                      </a:lnTo>
                      <a:lnTo>
                        <a:pt x="206" y="125"/>
                      </a:lnTo>
                      <a:lnTo>
                        <a:pt x="199" y="116"/>
                      </a:lnTo>
                      <a:lnTo>
                        <a:pt x="198" y="113"/>
                      </a:lnTo>
                      <a:lnTo>
                        <a:pt x="196" y="108"/>
                      </a:lnTo>
                      <a:lnTo>
                        <a:pt x="196" y="103"/>
                      </a:lnTo>
                      <a:lnTo>
                        <a:pt x="196" y="102"/>
                      </a:lnTo>
                      <a:lnTo>
                        <a:pt x="194" y="103"/>
                      </a:lnTo>
                      <a:lnTo>
                        <a:pt x="193" y="103"/>
                      </a:lnTo>
                      <a:lnTo>
                        <a:pt x="193" y="103"/>
                      </a:lnTo>
                      <a:lnTo>
                        <a:pt x="189" y="102"/>
                      </a:lnTo>
                      <a:lnTo>
                        <a:pt x="188" y="102"/>
                      </a:lnTo>
                      <a:lnTo>
                        <a:pt x="188" y="102"/>
                      </a:lnTo>
                      <a:lnTo>
                        <a:pt x="186" y="107"/>
                      </a:lnTo>
                      <a:lnTo>
                        <a:pt x="186" y="108"/>
                      </a:lnTo>
                      <a:lnTo>
                        <a:pt x="188" y="110"/>
                      </a:lnTo>
                      <a:lnTo>
                        <a:pt x="189" y="110"/>
                      </a:lnTo>
                      <a:lnTo>
                        <a:pt x="193" y="107"/>
                      </a:lnTo>
                      <a:lnTo>
                        <a:pt x="194" y="110"/>
                      </a:lnTo>
                      <a:lnTo>
                        <a:pt x="193" y="113"/>
                      </a:lnTo>
                      <a:lnTo>
                        <a:pt x="191" y="115"/>
                      </a:lnTo>
                      <a:lnTo>
                        <a:pt x="189" y="113"/>
                      </a:lnTo>
                      <a:lnTo>
                        <a:pt x="189" y="113"/>
                      </a:lnTo>
                      <a:lnTo>
                        <a:pt x="189" y="116"/>
                      </a:lnTo>
                      <a:lnTo>
                        <a:pt x="188" y="118"/>
                      </a:lnTo>
                      <a:lnTo>
                        <a:pt x="186" y="118"/>
                      </a:lnTo>
                      <a:lnTo>
                        <a:pt x="186" y="115"/>
                      </a:lnTo>
                      <a:lnTo>
                        <a:pt x="185" y="112"/>
                      </a:lnTo>
                      <a:lnTo>
                        <a:pt x="185" y="110"/>
                      </a:lnTo>
                      <a:lnTo>
                        <a:pt x="181" y="110"/>
                      </a:lnTo>
                      <a:lnTo>
                        <a:pt x="180" y="110"/>
                      </a:lnTo>
                      <a:lnTo>
                        <a:pt x="180" y="112"/>
                      </a:lnTo>
                      <a:lnTo>
                        <a:pt x="181" y="116"/>
                      </a:lnTo>
                      <a:lnTo>
                        <a:pt x="181" y="120"/>
                      </a:lnTo>
                      <a:lnTo>
                        <a:pt x="180" y="121"/>
                      </a:lnTo>
                      <a:lnTo>
                        <a:pt x="178" y="123"/>
                      </a:lnTo>
                      <a:lnTo>
                        <a:pt x="178" y="125"/>
                      </a:lnTo>
                      <a:lnTo>
                        <a:pt x="181" y="129"/>
                      </a:lnTo>
                      <a:lnTo>
                        <a:pt x="183" y="131"/>
                      </a:lnTo>
                      <a:lnTo>
                        <a:pt x="181" y="136"/>
                      </a:lnTo>
                      <a:lnTo>
                        <a:pt x="180" y="138"/>
                      </a:lnTo>
                      <a:lnTo>
                        <a:pt x="176" y="138"/>
                      </a:lnTo>
                      <a:lnTo>
                        <a:pt x="176" y="139"/>
                      </a:lnTo>
                      <a:lnTo>
                        <a:pt x="178" y="143"/>
                      </a:lnTo>
                      <a:lnTo>
                        <a:pt x="181" y="141"/>
                      </a:lnTo>
                      <a:lnTo>
                        <a:pt x="183" y="139"/>
                      </a:lnTo>
                      <a:lnTo>
                        <a:pt x="186" y="146"/>
                      </a:lnTo>
                      <a:lnTo>
                        <a:pt x="188" y="154"/>
                      </a:lnTo>
                      <a:lnTo>
                        <a:pt x="186" y="159"/>
                      </a:lnTo>
                      <a:lnTo>
                        <a:pt x="186" y="165"/>
                      </a:lnTo>
                      <a:lnTo>
                        <a:pt x="185" y="177"/>
                      </a:lnTo>
                      <a:lnTo>
                        <a:pt x="185" y="182"/>
                      </a:lnTo>
                      <a:lnTo>
                        <a:pt x="183" y="187"/>
                      </a:lnTo>
                      <a:lnTo>
                        <a:pt x="180" y="188"/>
                      </a:lnTo>
                      <a:lnTo>
                        <a:pt x="178" y="193"/>
                      </a:lnTo>
                      <a:lnTo>
                        <a:pt x="178" y="198"/>
                      </a:lnTo>
                      <a:lnTo>
                        <a:pt x="176" y="201"/>
                      </a:lnTo>
                      <a:lnTo>
                        <a:pt x="176" y="205"/>
                      </a:lnTo>
                      <a:lnTo>
                        <a:pt x="171" y="208"/>
                      </a:lnTo>
                      <a:lnTo>
                        <a:pt x="165" y="213"/>
                      </a:lnTo>
                      <a:lnTo>
                        <a:pt x="162" y="214"/>
                      </a:lnTo>
                      <a:lnTo>
                        <a:pt x="160" y="218"/>
                      </a:lnTo>
                      <a:lnTo>
                        <a:pt x="157" y="214"/>
                      </a:lnTo>
                      <a:lnTo>
                        <a:pt x="152" y="210"/>
                      </a:lnTo>
                      <a:lnTo>
                        <a:pt x="152" y="208"/>
                      </a:lnTo>
                      <a:lnTo>
                        <a:pt x="154" y="208"/>
                      </a:lnTo>
                      <a:lnTo>
                        <a:pt x="155" y="205"/>
                      </a:lnTo>
                      <a:lnTo>
                        <a:pt x="155" y="203"/>
                      </a:lnTo>
                      <a:lnTo>
                        <a:pt x="157" y="201"/>
                      </a:lnTo>
                      <a:lnTo>
                        <a:pt x="157" y="200"/>
                      </a:lnTo>
                      <a:lnTo>
                        <a:pt x="154" y="201"/>
                      </a:lnTo>
                      <a:lnTo>
                        <a:pt x="150" y="203"/>
                      </a:lnTo>
                      <a:lnTo>
                        <a:pt x="147" y="205"/>
                      </a:lnTo>
                      <a:lnTo>
                        <a:pt x="147" y="208"/>
                      </a:lnTo>
                      <a:lnTo>
                        <a:pt x="149" y="211"/>
                      </a:lnTo>
                      <a:lnTo>
                        <a:pt x="150" y="219"/>
                      </a:lnTo>
                      <a:lnTo>
                        <a:pt x="149" y="223"/>
                      </a:lnTo>
                      <a:lnTo>
                        <a:pt x="145" y="228"/>
                      </a:lnTo>
                      <a:lnTo>
                        <a:pt x="145" y="229"/>
                      </a:lnTo>
                      <a:lnTo>
                        <a:pt x="144" y="231"/>
                      </a:lnTo>
                      <a:lnTo>
                        <a:pt x="144" y="236"/>
                      </a:lnTo>
                      <a:lnTo>
                        <a:pt x="145" y="237"/>
                      </a:lnTo>
                      <a:lnTo>
                        <a:pt x="145" y="241"/>
                      </a:lnTo>
                      <a:lnTo>
                        <a:pt x="144" y="241"/>
                      </a:lnTo>
                      <a:lnTo>
                        <a:pt x="145" y="242"/>
                      </a:lnTo>
                      <a:lnTo>
                        <a:pt x="144" y="244"/>
                      </a:lnTo>
                      <a:lnTo>
                        <a:pt x="142" y="244"/>
                      </a:lnTo>
                      <a:lnTo>
                        <a:pt x="144" y="245"/>
                      </a:lnTo>
                      <a:lnTo>
                        <a:pt x="140" y="247"/>
                      </a:lnTo>
                      <a:lnTo>
                        <a:pt x="139" y="245"/>
                      </a:lnTo>
                      <a:lnTo>
                        <a:pt x="137" y="247"/>
                      </a:lnTo>
                      <a:lnTo>
                        <a:pt x="136" y="247"/>
                      </a:lnTo>
                      <a:lnTo>
                        <a:pt x="136" y="244"/>
                      </a:lnTo>
                      <a:lnTo>
                        <a:pt x="134" y="242"/>
                      </a:lnTo>
                      <a:lnTo>
                        <a:pt x="132" y="244"/>
                      </a:lnTo>
                      <a:lnTo>
                        <a:pt x="131" y="244"/>
                      </a:lnTo>
                      <a:lnTo>
                        <a:pt x="129" y="244"/>
                      </a:lnTo>
                      <a:lnTo>
                        <a:pt x="122" y="245"/>
                      </a:lnTo>
                      <a:lnTo>
                        <a:pt x="119" y="247"/>
                      </a:lnTo>
                      <a:lnTo>
                        <a:pt x="116" y="249"/>
                      </a:lnTo>
                      <a:lnTo>
                        <a:pt x="111" y="249"/>
                      </a:lnTo>
                      <a:lnTo>
                        <a:pt x="108" y="250"/>
                      </a:lnTo>
                      <a:lnTo>
                        <a:pt x="106" y="249"/>
                      </a:lnTo>
                      <a:lnTo>
                        <a:pt x="103" y="250"/>
                      </a:lnTo>
                      <a:lnTo>
                        <a:pt x="96" y="254"/>
                      </a:lnTo>
                      <a:lnTo>
                        <a:pt x="96" y="259"/>
                      </a:lnTo>
                      <a:lnTo>
                        <a:pt x="93" y="260"/>
                      </a:lnTo>
                      <a:lnTo>
                        <a:pt x="93" y="262"/>
                      </a:lnTo>
                      <a:lnTo>
                        <a:pt x="88" y="267"/>
                      </a:lnTo>
                      <a:lnTo>
                        <a:pt x="87" y="268"/>
                      </a:lnTo>
                      <a:lnTo>
                        <a:pt x="83" y="272"/>
                      </a:lnTo>
                      <a:lnTo>
                        <a:pt x="83" y="273"/>
                      </a:lnTo>
                      <a:lnTo>
                        <a:pt x="80" y="275"/>
                      </a:lnTo>
                      <a:lnTo>
                        <a:pt x="77" y="277"/>
                      </a:lnTo>
                      <a:lnTo>
                        <a:pt x="75" y="278"/>
                      </a:lnTo>
                      <a:lnTo>
                        <a:pt x="77" y="283"/>
                      </a:lnTo>
                      <a:lnTo>
                        <a:pt x="78" y="285"/>
                      </a:lnTo>
                      <a:lnTo>
                        <a:pt x="78" y="286"/>
                      </a:lnTo>
                      <a:lnTo>
                        <a:pt x="77" y="288"/>
                      </a:lnTo>
                      <a:lnTo>
                        <a:pt x="75" y="288"/>
                      </a:lnTo>
                      <a:lnTo>
                        <a:pt x="72" y="291"/>
                      </a:lnTo>
                      <a:lnTo>
                        <a:pt x="70" y="293"/>
                      </a:lnTo>
                      <a:lnTo>
                        <a:pt x="69" y="295"/>
                      </a:lnTo>
                      <a:lnTo>
                        <a:pt x="65" y="298"/>
                      </a:lnTo>
                      <a:lnTo>
                        <a:pt x="64" y="301"/>
                      </a:lnTo>
                      <a:lnTo>
                        <a:pt x="62" y="301"/>
                      </a:lnTo>
                      <a:lnTo>
                        <a:pt x="59" y="303"/>
                      </a:lnTo>
                      <a:lnTo>
                        <a:pt x="60" y="303"/>
                      </a:lnTo>
                      <a:lnTo>
                        <a:pt x="62" y="303"/>
                      </a:lnTo>
                      <a:lnTo>
                        <a:pt x="62" y="304"/>
                      </a:lnTo>
                      <a:lnTo>
                        <a:pt x="64" y="309"/>
                      </a:lnTo>
                      <a:lnTo>
                        <a:pt x="64" y="309"/>
                      </a:lnTo>
                      <a:lnTo>
                        <a:pt x="62" y="308"/>
                      </a:lnTo>
                      <a:lnTo>
                        <a:pt x="62" y="306"/>
                      </a:lnTo>
                      <a:lnTo>
                        <a:pt x="60" y="308"/>
                      </a:lnTo>
                      <a:lnTo>
                        <a:pt x="62" y="311"/>
                      </a:lnTo>
                      <a:lnTo>
                        <a:pt x="64" y="312"/>
                      </a:lnTo>
                      <a:lnTo>
                        <a:pt x="64" y="314"/>
                      </a:lnTo>
                      <a:lnTo>
                        <a:pt x="62" y="316"/>
                      </a:lnTo>
                      <a:lnTo>
                        <a:pt x="64" y="314"/>
                      </a:lnTo>
                      <a:lnTo>
                        <a:pt x="65" y="312"/>
                      </a:lnTo>
                      <a:lnTo>
                        <a:pt x="67" y="312"/>
                      </a:lnTo>
                      <a:lnTo>
                        <a:pt x="69" y="312"/>
                      </a:lnTo>
                      <a:lnTo>
                        <a:pt x="69" y="314"/>
                      </a:lnTo>
                      <a:lnTo>
                        <a:pt x="69" y="314"/>
                      </a:lnTo>
                      <a:lnTo>
                        <a:pt x="72" y="314"/>
                      </a:lnTo>
                      <a:lnTo>
                        <a:pt x="72" y="311"/>
                      </a:lnTo>
                      <a:lnTo>
                        <a:pt x="70" y="309"/>
                      </a:lnTo>
                      <a:lnTo>
                        <a:pt x="67" y="309"/>
                      </a:lnTo>
                      <a:lnTo>
                        <a:pt x="67" y="309"/>
                      </a:lnTo>
                      <a:lnTo>
                        <a:pt x="67" y="308"/>
                      </a:lnTo>
                      <a:lnTo>
                        <a:pt x="67" y="304"/>
                      </a:lnTo>
                      <a:lnTo>
                        <a:pt x="69" y="303"/>
                      </a:lnTo>
                      <a:lnTo>
                        <a:pt x="70" y="304"/>
                      </a:lnTo>
                      <a:lnTo>
                        <a:pt x="73" y="309"/>
                      </a:lnTo>
                      <a:lnTo>
                        <a:pt x="73" y="312"/>
                      </a:lnTo>
                      <a:lnTo>
                        <a:pt x="75" y="314"/>
                      </a:lnTo>
                      <a:lnTo>
                        <a:pt x="75" y="319"/>
                      </a:lnTo>
                      <a:lnTo>
                        <a:pt x="73" y="326"/>
                      </a:lnTo>
                      <a:lnTo>
                        <a:pt x="70" y="326"/>
                      </a:lnTo>
                      <a:lnTo>
                        <a:pt x="72" y="327"/>
                      </a:lnTo>
                      <a:lnTo>
                        <a:pt x="73" y="330"/>
                      </a:lnTo>
                      <a:lnTo>
                        <a:pt x="75" y="337"/>
                      </a:lnTo>
                      <a:lnTo>
                        <a:pt x="77" y="340"/>
                      </a:lnTo>
                      <a:lnTo>
                        <a:pt x="77" y="344"/>
                      </a:lnTo>
                      <a:lnTo>
                        <a:pt x="77" y="345"/>
                      </a:lnTo>
                      <a:lnTo>
                        <a:pt x="78" y="347"/>
                      </a:lnTo>
                      <a:lnTo>
                        <a:pt x="80" y="347"/>
                      </a:lnTo>
                      <a:lnTo>
                        <a:pt x="83" y="348"/>
                      </a:lnTo>
                      <a:lnTo>
                        <a:pt x="83" y="347"/>
                      </a:lnTo>
                      <a:lnTo>
                        <a:pt x="83" y="345"/>
                      </a:lnTo>
                      <a:lnTo>
                        <a:pt x="82" y="342"/>
                      </a:lnTo>
                      <a:lnTo>
                        <a:pt x="82" y="335"/>
                      </a:lnTo>
                      <a:lnTo>
                        <a:pt x="83" y="334"/>
                      </a:lnTo>
                      <a:lnTo>
                        <a:pt x="85" y="335"/>
                      </a:lnTo>
                      <a:lnTo>
                        <a:pt x="83" y="337"/>
                      </a:lnTo>
                      <a:lnTo>
                        <a:pt x="83" y="339"/>
                      </a:lnTo>
                      <a:lnTo>
                        <a:pt x="87" y="342"/>
                      </a:lnTo>
                      <a:lnTo>
                        <a:pt x="87" y="345"/>
                      </a:lnTo>
                      <a:lnTo>
                        <a:pt x="87" y="348"/>
                      </a:lnTo>
                      <a:lnTo>
                        <a:pt x="87" y="35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1" name="Freeform 160">
                  <a:extLst>
                    <a:ext uri="{FF2B5EF4-FFF2-40B4-BE49-F238E27FC236}">
                      <a16:creationId xmlns:a16="http://schemas.microsoft.com/office/drawing/2014/main" xmlns="" id="{4E7925D3-A833-47F8-98DC-32B786A883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81" y="1332"/>
                  <a:ext cx="72" cy="117"/>
                </a:xfrm>
                <a:custGeom>
                  <a:avLst/>
                  <a:gdLst>
                    <a:gd name="T0" fmla="*/ 44 w 72"/>
                    <a:gd name="T1" fmla="*/ 83 h 117"/>
                    <a:gd name="T2" fmla="*/ 44 w 72"/>
                    <a:gd name="T3" fmla="*/ 85 h 117"/>
                    <a:gd name="T4" fmla="*/ 44 w 72"/>
                    <a:gd name="T5" fmla="*/ 83 h 117"/>
                    <a:gd name="T6" fmla="*/ 20 w 72"/>
                    <a:gd name="T7" fmla="*/ 93 h 117"/>
                    <a:gd name="T8" fmla="*/ 22 w 72"/>
                    <a:gd name="T9" fmla="*/ 93 h 117"/>
                    <a:gd name="T10" fmla="*/ 23 w 72"/>
                    <a:gd name="T11" fmla="*/ 91 h 117"/>
                    <a:gd name="T12" fmla="*/ 23 w 72"/>
                    <a:gd name="T13" fmla="*/ 94 h 117"/>
                    <a:gd name="T14" fmla="*/ 22 w 72"/>
                    <a:gd name="T15" fmla="*/ 96 h 117"/>
                    <a:gd name="T16" fmla="*/ 54 w 72"/>
                    <a:gd name="T17" fmla="*/ 80 h 117"/>
                    <a:gd name="T18" fmla="*/ 56 w 72"/>
                    <a:gd name="T19" fmla="*/ 85 h 117"/>
                    <a:gd name="T20" fmla="*/ 59 w 72"/>
                    <a:gd name="T21" fmla="*/ 81 h 117"/>
                    <a:gd name="T22" fmla="*/ 58 w 72"/>
                    <a:gd name="T23" fmla="*/ 78 h 117"/>
                    <a:gd name="T24" fmla="*/ 67 w 72"/>
                    <a:gd name="T25" fmla="*/ 99 h 117"/>
                    <a:gd name="T26" fmla="*/ 69 w 72"/>
                    <a:gd name="T27" fmla="*/ 96 h 117"/>
                    <a:gd name="T28" fmla="*/ 71 w 72"/>
                    <a:gd name="T29" fmla="*/ 98 h 117"/>
                    <a:gd name="T30" fmla="*/ 67 w 72"/>
                    <a:gd name="T31" fmla="*/ 99 h 117"/>
                    <a:gd name="T32" fmla="*/ 71 w 72"/>
                    <a:gd name="T33" fmla="*/ 93 h 117"/>
                    <a:gd name="T34" fmla="*/ 69 w 72"/>
                    <a:gd name="T35" fmla="*/ 91 h 117"/>
                    <a:gd name="T36" fmla="*/ 69 w 72"/>
                    <a:gd name="T37" fmla="*/ 86 h 117"/>
                    <a:gd name="T38" fmla="*/ 72 w 72"/>
                    <a:gd name="T39" fmla="*/ 88 h 117"/>
                    <a:gd name="T40" fmla="*/ 71 w 72"/>
                    <a:gd name="T41" fmla="*/ 93 h 117"/>
                    <a:gd name="T42" fmla="*/ 25 w 72"/>
                    <a:gd name="T43" fmla="*/ 117 h 117"/>
                    <a:gd name="T44" fmla="*/ 27 w 72"/>
                    <a:gd name="T45" fmla="*/ 112 h 117"/>
                    <a:gd name="T46" fmla="*/ 36 w 72"/>
                    <a:gd name="T47" fmla="*/ 111 h 117"/>
                    <a:gd name="T48" fmla="*/ 35 w 72"/>
                    <a:gd name="T49" fmla="*/ 116 h 117"/>
                    <a:gd name="T50" fmla="*/ 25 w 72"/>
                    <a:gd name="T51" fmla="*/ 117 h 117"/>
                    <a:gd name="T52" fmla="*/ 0 w 72"/>
                    <a:gd name="T53" fmla="*/ 19 h 117"/>
                    <a:gd name="T54" fmla="*/ 4 w 72"/>
                    <a:gd name="T55" fmla="*/ 18 h 117"/>
                    <a:gd name="T56" fmla="*/ 5 w 72"/>
                    <a:gd name="T57" fmla="*/ 19 h 117"/>
                    <a:gd name="T58" fmla="*/ 15 w 72"/>
                    <a:gd name="T59" fmla="*/ 31 h 117"/>
                    <a:gd name="T60" fmla="*/ 17 w 72"/>
                    <a:gd name="T61" fmla="*/ 34 h 117"/>
                    <a:gd name="T62" fmla="*/ 20 w 72"/>
                    <a:gd name="T63" fmla="*/ 39 h 117"/>
                    <a:gd name="T64" fmla="*/ 13 w 72"/>
                    <a:gd name="T65" fmla="*/ 36 h 117"/>
                    <a:gd name="T66" fmla="*/ 10 w 72"/>
                    <a:gd name="T67" fmla="*/ 39 h 117"/>
                    <a:gd name="T68" fmla="*/ 15 w 72"/>
                    <a:gd name="T69" fmla="*/ 45 h 117"/>
                    <a:gd name="T70" fmla="*/ 18 w 72"/>
                    <a:gd name="T71" fmla="*/ 49 h 117"/>
                    <a:gd name="T72" fmla="*/ 20 w 72"/>
                    <a:gd name="T73" fmla="*/ 57 h 117"/>
                    <a:gd name="T74" fmla="*/ 23 w 72"/>
                    <a:gd name="T75" fmla="*/ 62 h 117"/>
                    <a:gd name="T76" fmla="*/ 18 w 72"/>
                    <a:gd name="T77" fmla="*/ 67 h 117"/>
                    <a:gd name="T78" fmla="*/ 20 w 72"/>
                    <a:gd name="T79" fmla="*/ 72 h 117"/>
                    <a:gd name="T80" fmla="*/ 18 w 72"/>
                    <a:gd name="T81" fmla="*/ 75 h 117"/>
                    <a:gd name="T82" fmla="*/ 18 w 72"/>
                    <a:gd name="T83" fmla="*/ 78 h 117"/>
                    <a:gd name="T84" fmla="*/ 25 w 72"/>
                    <a:gd name="T85" fmla="*/ 86 h 117"/>
                    <a:gd name="T86" fmla="*/ 27 w 72"/>
                    <a:gd name="T87" fmla="*/ 91 h 117"/>
                    <a:gd name="T88" fmla="*/ 28 w 72"/>
                    <a:gd name="T89" fmla="*/ 93 h 117"/>
                    <a:gd name="T90" fmla="*/ 30 w 72"/>
                    <a:gd name="T91" fmla="*/ 90 h 117"/>
                    <a:gd name="T92" fmla="*/ 40 w 72"/>
                    <a:gd name="T93" fmla="*/ 81 h 117"/>
                    <a:gd name="T94" fmla="*/ 43 w 72"/>
                    <a:gd name="T95" fmla="*/ 81 h 117"/>
                    <a:gd name="T96" fmla="*/ 46 w 72"/>
                    <a:gd name="T97" fmla="*/ 80 h 117"/>
                    <a:gd name="T98" fmla="*/ 51 w 72"/>
                    <a:gd name="T99" fmla="*/ 81 h 117"/>
                    <a:gd name="T100" fmla="*/ 54 w 72"/>
                    <a:gd name="T101" fmla="*/ 81 h 117"/>
                    <a:gd name="T102" fmla="*/ 56 w 72"/>
                    <a:gd name="T103" fmla="*/ 76 h 117"/>
                    <a:gd name="T104" fmla="*/ 64 w 72"/>
                    <a:gd name="T105" fmla="*/ 72 h 117"/>
                    <a:gd name="T106" fmla="*/ 66 w 72"/>
                    <a:gd name="T107" fmla="*/ 68 h 117"/>
                    <a:gd name="T108" fmla="*/ 64 w 72"/>
                    <a:gd name="T109" fmla="*/ 55 h 117"/>
                    <a:gd name="T110" fmla="*/ 62 w 72"/>
                    <a:gd name="T111" fmla="*/ 54 h 117"/>
                    <a:gd name="T112" fmla="*/ 58 w 72"/>
                    <a:gd name="T113" fmla="*/ 39 h 117"/>
                    <a:gd name="T114" fmla="*/ 48 w 72"/>
                    <a:gd name="T115" fmla="*/ 19 h 117"/>
                    <a:gd name="T116" fmla="*/ 35 w 72"/>
                    <a:gd name="T117" fmla="*/ 0 h 117"/>
                    <a:gd name="T118" fmla="*/ 17 w 72"/>
                    <a:gd name="T119" fmla="*/ 5 h 117"/>
                    <a:gd name="T120" fmla="*/ 5 w 72"/>
                    <a:gd name="T121" fmla="*/ 11 h 117"/>
                    <a:gd name="T122" fmla="*/ 0 w 72"/>
                    <a:gd name="T123" fmla="*/ 19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" h="117">
                      <a:moveTo>
                        <a:pt x="44" y="83"/>
                      </a:moveTo>
                      <a:lnTo>
                        <a:pt x="44" y="83"/>
                      </a:lnTo>
                      <a:lnTo>
                        <a:pt x="46" y="85"/>
                      </a:lnTo>
                      <a:lnTo>
                        <a:pt x="44" y="85"/>
                      </a:lnTo>
                      <a:lnTo>
                        <a:pt x="44" y="83"/>
                      </a:lnTo>
                      <a:lnTo>
                        <a:pt x="44" y="83"/>
                      </a:lnTo>
                      <a:close/>
                      <a:moveTo>
                        <a:pt x="22" y="96"/>
                      </a:moveTo>
                      <a:lnTo>
                        <a:pt x="20" y="93"/>
                      </a:lnTo>
                      <a:lnTo>
                        <a:pt x="20" y="93"/>
                      </a:lnTo>
                      <a:lnTo>
                        <a:pt x="22" y="93"/>
                      </a:lnTo>
                      <a:lnTo>
                        <a:pt x="23" y="90"/>
                      </a:lnTo>
                      <a:lnTo>
                        <a:pt x="23" y="91"/>
                      </a:lnTo>
                      <a:lnTo>
                        <a:pt x="23" y="94"/>
                      </a:lnTo>
                      <a:lnTo>
                        <a:pt x="23" y="94"/>
                      </a:lnTo>
                      <a:lnTo>
                        <a:pt x="22" y="96"/>
                      </a:lnTo>
                      <a:lnTo>
                        <a:pt x="22" y="96"/>
                      </a:lnTo>
                      <a:close/>
                      <a:moveTo>
                        <a:pt x="58" y="78"/>
                      </a:moveTo>
                      <a:lnTo>
                        <a:pt x="54" y="80"/>
                      </a:lnTo>
                      <a:lnTo>
                        <a:pt x="56" y="81"/>
                      </a:lnTo>
                      <a:lnTo>
                        <a:pt x="56" y="85"/>
                      </a:lnTo>
                      <a:lnTo>
                        <a:pt x="58" y="83"/>
                      </a:lnTo>
                      <a:lnTo>
                        <a:pt x="59" y="81"/>
                      </a:lnTo>
                      <a:lnTo>
                        <a:pt x="59" y="80"/>
                      </a:lnTo>
                      <a:lnTo>
                        <a:pt x="58" y="78"/>
                      </a:lnTo>
                      <a:lnTo>
                        <a:pt x="58" y="78"/>
                      </a:lnTo>
                      <a:close/>
                      <a:moveTo>
                        <a:pt x="67" y="99"/>
                      </a:moveTo>
                      <a:lnTo>
                        <a:pt x="67" y="98"/>
                      </a:lnTo>
                      <a:lnTo>
                        <a:pt x="69" y="96"/>
                      </a:lnTo>
                      <a:lnTo>
                        <a:pt x="71" y="96"/>
                      </a:lnTo>
                      <a:lnTo>
                        <a:pt x="71" y="98"/>
                      </a:lnTo>
                      <a:lnTo>
                        <a:pt x="69" y="99"/>
                      </a:lnTo>
                      <a:lnTo>
                        <a:pt x="67" y="99"/>
                      </a:lnTo>
                      <a:lnTo>
                        <a:pt x="67" y="99"/>
                      </a:lnTo>
                      <a:close/>
                      <a:moveTo>
                        <a:pt x="71" y="93"/>
                      </a:moveTo>
                      <a:lnTo>
                        <a:pt x="69" y="94"/>
                      </a:lnTo>
                      <a:lnTo>
                        <a:pt x="69" y="91"/>
                      </a:lnTo>
                      <a:lnTo>
                        <a:pt x="69" y="90"/>
                      </a:lnTo>
                      <a:lnTo>
                        <a:pt x="69" y="86"/>
                      </a:lnTo>
                      <a:lnTo>
                        <a:pt x="71" y="86"/>
                      </a:lnTo>
                      <a:lnTo>
                        <a:pt x="72" y="88"/>
                      </a:lnTo>
                      <a:lnTo>
                        <a:pt x="72" y="90"/>
                      </a:lnTo>
                      <a:lnTo>
                        <a:pt x="71" y="93"/>
                      </a:lnTo>
                      <a:lnTo>
                        <a:pt x="71" y="93"/>
                      </a:lnTo>
                      <a:close/>
                      <a:moveTo>
                        <a:pt x="25" y="117"/>
                      </a:moveTo>
                      <a:lnTo>
                        <a:pt x="25" y="114"/>
                      </a:lnTo>
                      <a:lnTo>
                        <a:pt x="27" y="112"/>
                      </a:lnTo>
                      <a:lnTo>
                        <a:pt x="33" y="109"/>
                      </a:lnTo>
                      <a:lnTo>
                        <a:pt x="36" y="111"/>
                      </a:lnTo>
                      <a:lnTo>
                        <a:pt x="36" y="112"/>
                      </a:lnTo>
                      <a:lnTo>
                        <a:pt x="35" y="116"/>
                      </a:lnTo>
                      <a:lnTo>
                        <a:pt x="28" y="117"/>
                      </a:lnTo>
                      <a:lnTo>
                        <a:pt x="25" y="117"/>
                      </a:lnTo>
                      <a:lnTo>
                        <a:pt x="25" y="117"/>
                      </a:lnTo>
                      <a:close/>
                      <a:moveTo>
                        <a:pt x="0" y="19"/>
                      </a:moveTo>
                      <a:lnTo>
                        <a:pt x="0" y="21"/>
                      </a:lnTo>
                      <a:lnTo>
                        <a:pt x="4" y="18"/>
                      </a:lnTo>
                      <a:lnTo>
                        <a:pt x="9" y="19"/>
                      </a:lnTo>
                      <a:lnTo>
                        <a:pt x="5" y="19"/>
                      </a:lnTo>
                      <a:lnTo>
                        <a:pt x="12" y="26"/>
                      </a:lnTo>
                      <a:lnTo>
                        <a:pt x="15" y="31"/>
                      </a:lnTo>
                      <a:lnTo>
                        <a:pt x="18" y="32"/>
                      </a:lnTo>
                      <a:lnTo>
                        <a:pt x="17" y="34"/>
                      </a:lnTo>
                      <a:lnTo>
                        <a:pt x="18" y="37"/>
                      </a:lnTo>
                      <a:lnTo>
                        <a:pt x="20" y="39"/>
                      </a:lnTo>
                      <a:lnTo>
                        <a:pt x="15" y="37"/>
                      </a:lnTo>
                      <a:lnTo>
                        <a:pt x="13" y="36"/>
                      </a:lnTo>
                      <a:lnTo>
                        <a:pt x="13" y="39"/>
                      </a:lnTo>
                      <a:lnTo>
                        <a:pt x="10" y="39"/>
                      </a:lnTo>
                      <a:lnTo>
                        <a:pt x="7" y="42"/>
                      </a:lnTo>
                      <a:lnTo>
                        <a:pt x="15" y="45"/>
                      </a:lnTo>
                      <a:lnTo>
                        <a:pt x="17" y="45"/>
                      </a:lnTo>
                      <a:lnTo>
                        <a:pt x="18" y="49"/>
                      </a:lnTo>
                      <a:lnTo>
                        <a:pt x="18" y="55"/>
                      </a:lnTo>
                      <a:lnTo>
                        <a:pt x="20" y="57"/>
                      </a:lnTo>
                      <a:lnTo>
                        <a:pt x="22" y="55"/>
                      </a:lnTo>
                      <a:lnTo>
                        <a:pt x="23" y="62"/>
                      </a:lnTo>
                      <a:lnTo>
                        <a:pt x="18" y="65"/>
                      </a:lnTo>
                      <a:lnTo>
                        <a:pt x="18" y="67"/>
                      </a:lnTo>
                      <a:lnTo>
                        <a:pt x="20" y="68"/>
                      </a:lnTo>
                      <a:lnTo>
                        <a:pt x="20" y="72"/>
                      </a:lnTo>
                      <a:lnTo>
                        <a:pt x="18" y="73"/>
                      </a:lnTo>
                      <a:lnTo>
                        <a:pt x="18" y="75"/>
                      </a:lnTo>
                      <a:lnTo>
                        <a:pt x="20" y="78"/>
                      </a:lnTo>
                      <a:lnTo>
                        <a:pt x="18" y="78"/>
                      </a:lnTo>
                      <a:lnTo>
                        <a:pt x="22" y="86"/>
                      </a:lnTo>
                      <a:lnTo>
                        <a:pt x="25" y="86"/>
                      </a:lnTo>
                      <a:lnTo>
                        <a:pt x="25" y="90"/>
                      </a:lnTo>
                      <a:lnTo>
                        <a:pt x="27" y="91"/>
                      </a:lnTo>
                      <a:lnTo>
                        <a:pt x="27" y="94"/>
                      </a:lnTo>
                      <a:lnTo>
                        <a:pt x="28" y="93"/>
                      </a:lnTo>
                      <a:lnTo>
                        <a:pt x="28" y="88"/>
                      </a:lnTo>
                      <a:lnTo>
                        <a:pt x="30" y="90"/>
                      </a:lnTo>
                      <a:lnTo>
                        <a:pt x="33" y="86"/>
                      </a:lnTo>
                      <a:lnTo>
                        <a:pt x="40" y="81"/>
                      </a:lnTo>
                      <a:lnTo>
                        <a:pt x="43" y="80"/>
                      </a:lnTo>
                      <a:lnTo>
                        <a:pt x="43" y="81"/>
                      </a:lnTo>
                      <a:lnTo>
                        <a:pt x="44" y="80"/>
                      </a:lnTo>
                      <a:lnTo>
                        <a:pt x="46" y="80"/>
                      </a:lnTo>
                      <a:lnTo>
                        <a:pt x="48" y="83"/>
                      </a:lnTo>
                      <a:lnTo>
                        <a:pt x="51" y="81"/>
                      </a:lnTo>
                      <a:lnTo>
                        <a:pt x="53" y="83"/>
                      </a:lnTo>
                      <a:lnTo>
                        <a:pt x="54" y="81"/>
                      </a:lnTo>
                      <a:lnTo>
                        <a:pt x="53" y="80"/>
                      </a:lnTo>
                      <a:lnTo>
                        <a:pt x="56" y="76"/>
                      </a:lnTo>
                      <a:lnTo>
                        <a:pt x="61" y="76"/>
                      </a:lnTo>
                      <a:lnTo>
                        <a:pt x="64" y="72"/>
                      </a:lnTo>
                      <a:lnTo>
                        <a:pt x="64" y="70"/>
                      </a:lnTo>
                      <a:lnTo>
                        <a:pt x="66" y="68"/>
                      </a:lnTo>
                      <a:lnTo>
                        <a:pt x="66" y="55"/>
                      </a:lnTo>
                      <a:lnTo>
                        <a:pt x="64" y="55"/>
                      </a:lnTo>
                      <a:lnTo>
                        <a:pt x="62" y="57"/>
                      </a:lnTo>
                      <a:lnTo>
                        <a:pt x="62" y="54"/>
                      </a:lnTo>
                      <a:lnTo>
                        <a:pt x="61" y="42"/>
                      </a:lnTo>
                      <a:lnTo>
                        <a:pt x="58" y="39"/>
                      </a:lnTo>
                      <a:lnTo>
                        <a:pt x="58" y="32"/>
                      </a:lnTo>
                      <a:lnTo>
                        <a:pt x="48" y="19"/>
                      </a:lnTo>
                      <a:lnTo>
                        <a:pt x="40" y="11"/>
                      </a:lnTo>
                      <a:lnTo>
                        <a:pt x="35" y="0"/>
                      </a:lnTo>
                      <a:lnTo>
                        <a:pt x="28" y="5"/>
                      </a:lnTo>
                      <a:lnTo>
                        <a:pt x="17" y="5"/>
                      </a:lnTo>
                      <a:lnTo>
                        <a:pt x="12" y="9"/>
                      </a:lnTo>
                      <a:lnTo>
                        <a:pt x="5" y="11"/>
                      </a:lnTo>
                      <a:lnTo>
                        <a:pt x="0" y="16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2" name="Freeform 161">
                  <a:extLst>
                    <a:ext uri="{FF2B5EF4-FFF2-40B4-BE49-F238E27FC236}">
                      <a16:creationId xmlns:a16="http://schemas.microsoft.com/office/drawing/2014/main" xmlns="" id="{DFFBC287-8BED-483F-B358-8822B024FB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9" y="1224"/>
                  <a:ext cx="75" cy="132"/>
                </a:xfrm>
                <a:custGeom>
                  <a:avLst/>
                  <a:gdLst>
                    <a:gd name="T0" fmla="*/ 0 w 75"/>
                    <a:gd name="T1" fmla="*/ 73 h 132"/>
                    <a:gd name="T2" fmla="*/ 6 w 75"/>
                    <a:gd name="T3" fmla="*/ 65 h 132"/>
                    <a:gd name="T4" fmla="*/ 10 w 75"/>
                    <a:gd name="T5" fmla="*/ 60 h 132"/>
                    <a:gd name="T6" fmla="*/ 16 w 75"/>
                    <a:gd name="T7" fmla="*/ 54 h 132"/>
                    <a:gd name="T8" fmla="*/ 19 w 75"/>
                    <a:gd name="T9" fmla="*/ 42 h 132"/>
                    <a:gd name="T10" fmla="*/ 19 w 75"/>
                    <a:gd name="T11" fmla="*/ 36 h 132"/>
                    <a:gd name="T12" fmla="*/ 26 w 75"/>
                    <a:gd name="T13" fmla="*/ 37 h 132"/>
                    <a:gd name="T14" fmla="*/ 31 w 75"/>
                    <a:gd name="T15" fmla="*/ 41 h 132"/>
                    <a:gd name="T16" fmla="*/ 36 w 75"/>
                    <a:gd name="T17" fmla="*/ 41 h 132"/>
                    <a:gd name="T18" fmla="*/ 47 w 75"/>
                    <a:gd name="T19" fmla="*/ 41 h 132"/>
                    <a:gd name="T20" fmla="*/ 49 w 75"/>
                    <a:gd name="T21" fmla="*/ 34 h 132"/>
                    <a:gd name="T22" fmla="*/ 42 w 75"/>
                    <a:gd name="T23" fmla="*/ 28 h 132"/>
                    <a:gd name="T24" fmla="*/ 49 w 75"/>
                    <a:gd name="T25" fmla="*/ 26 h 132"/>
                    <a:gd name="T26" fmla="*/ 54 w 75"/>
                    <a:gd name="T27" fmla="*/ 16 h 132"/>
                    <a:gd name="T28" fmla="*/ 60 w 75"/>
                    <a:gd name="T29" fmla="*/ 13 h 132"/>
                    <a:gd name="T30" fmla="*/ 60 w 75"/>
                    <a:gd name="T31" fmla="*/ 8 h 132"/>
                    <a:gd name="T32" fmla="*/ 60 w 75"/>
                    <a:gd name="T33" fmla="*/ 1 h 132"/>
                    <a:gd name="T34" fmla="*/ 65 w 75"/>
                    <a:gd name="T35" fmla="*/ 1 h 132"/>
                    <a:gd name="T36" fmla="*/ 67 w 75"/>
                    <a:gd name="T37" fmla="*/ 6 h 132"/>
                    <a:gd name="T38" fmla="*/ 75 w 75"/>
                    <a:gd name="T39" fmla="*/ 13 h 132"/>
                    <a:gd name="T40" fmla="*/ 70 w 75"/>
                    <a:gd name="T41" fmla="*/ 19 h 132"/>
                    <a:gd name="T42" fmla="*/ 67 w 75"/>
                    <a:gd name="T43" fmla="*/ 23 h 132"/>
                    <a:gd name="T44" fmla="*/ 65 w 75"/>
                    <a:gd name="T45" fmla="*/ 36 h 132"/>
                    <a:gd name="T46" fmla="*/ 68 w 75"/>
                    <a:gd name="T47" fmla="*/ 47 h 132"/>
                    <a:gd name="T48" fmla="*/ 70 w 75"/>
                    <a:gd name="T49" fmla="*/ 52 h 132"/>
                    <a:gd name="T50" fmla="*/ 67 w 75"/>
                    <a:gd name="T51" fmla="*/ 57 h 132"/>
                    <a:gd name="T52" fmla="*/ 60 w 75"/>
                    <a:gd name="T53" fmla="*/ 68 h 132"/>
                    <a:gd name="T54" fmla="*/ 57 w 75"/>
                    <a:gd name="T55" fmla="*/ 72 h 132"/>
                    <a:gd name="T56" fmla="*/ 50 w 75"/>
                    <a:gd name="T57" fmla="*/ 73 h 132"/>
                    <a:gd name="T58" fmla="*/ 45 w 75"/>
                    <a:gd name="T59" fmla="*/ 80 h 132"/>
                    <a:gd name="T60" fmla="*/ 45 w 75"/>
                    <a:gd name="T61" fmla="*/ 88 h 132"/>
                    <a:gd name="T62" fmla="*/ 45 w 75"/>
                    <a:gd name="T63" fmla="*/ 93 h 132"/>
                    <a:gd name="T64" fmla="*/ 54 w 75"/>
                    <a:gd name="T65" fmla="*/ 98 h 132"/>
                    <a:gd name="T66" fmla="*/ 67 w 75"/>
                    <a:gd name="T67" fmla="*/ 108 h 132"/>
                    <a:gd name="T68" fmla="*/ 49 w 75"/>
                    <a:gd name="T69" fmla="*/ 113 h 132"/>
                    <a:gd name="T70" fmla="*/ 37 w 75"/>
                    <a:gd name="T71" fmla="*/ 119 h 132"/>
                    <a:gd name="T72" fmla="*/ 32 w 75"/>
                    <a:gd name="T73" fmla="*/ 127 h 132"/>
                    <a:gd name="T74" fmla="*/ 26 w 75"/>
                    <a:gd name="T75" fmla="*/ 126 h 132"/>
                    <a:gd name="T76" fmla="*/ 24 w 75"/>
                    <a:gd name="T77" fmla="*/ 131 h 132"/>
                    <a:gd name="T78" fmla="*/ 19 w 75"/>
                    <a:gd name="T79" fmla="*/ 132 h 132"/>
                    <a:gd name="T80" fmla="*/ 21 w 75"/>
                    <a:gd name="T81" fmla="*/ 126 h 132"/>
                    <a:gd name="T82" fmla="*/ 14 w 75"/>
                    <a:gd name="T83" fmla="*/ 126 h 132"/>
                    <a:gd name="T84" fmla="*/ 14 w 75"/>
                    <a:gd name="T85" fmla="*/ 122 h 132"/>
                    <a:gd name="T86" fmla="*/ 16 w 75"/>
                    <a:gd name="T87" fmla="*/ 111 h 132"/>
                    <a:gd name="T88" fmla="*/ 24 w 75"/>
                    <a:gd name="T89" fmla="*/ 108 h 132"/>
                    <a:gd name="T90" fmla="*/ 14 w 75"/>
                    <a:gd name="T91" fmla="*/ 109 h 132"/>
                    <a:gd name="T92" fmla="*/ 14 w 75"/>
                    <a:gd name="T93" fmla="*/ 100 h 132"/>
                    <a:gd name="T94" fmla="*/ 16 w 75"/>
                    <a:gd name="T95" fmla="*/ 90 h 132"/>
                    <a:gd name="T96" fmla="*/ 19 w 75"/>
                    <a:gd name="T97" fmla="*/ 86 h 132"/>
                    <a:gd name="T98" fmla="*/ 14 w 75"/>
                    <a:gd name="T99" fmla="*/ 88 h 132"/>
                    <a:gd name="T100" fmla="*/ 8 w 75"/>
                    <a:gd name="T101" fmla="*/ 88 h 132"/>
                    <a:gd name="T102" fmla="*/ 5 w 75"/>
                    <a:gd name="T103" fmla="*/ 88 h 132"/>
                    <a:gd name="T104" fmla="*/ 1 w 75"/>
                    <a:gd name="T105" fmla="*/ 83 h 132"/>
                    <a:gd name="T106" fmla="*/ 0 w 75"/>
                    <a:gd name="T107" fmla="*/ 83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75" h="132">
                      <a:moveTo>
                        <a:pt x="0" y="83"/>
                      </a:moveTo>
                      <a:lnTo>
                        <a:pt x="0" y="73"/>
                      </a:lnTo>
                      <a:lnTo>
                        <a:pt x="5" y="70"/>
                      </a:lnTo>
                      <a:lnTo>
                        <a:pt x="6" y="65"/>
                      </a:lnTo>
                      <a:lnTo>
                        <a:pt x="6" y="64"/>
                      </a:lnTo>
                      <a:lnTo>
                        <a:pt x="10" y="60"/>
                      </a:lnTo>
                      <a:lnTo>
                        <a:pt x="13" y="55"/>
                      </a:lnTo>
                      <a:lnTo>
                        <a:pt x="16" y="54"/>
                      </a:lnTo>
                      <a:lnTo>
                        <a:pt x="18" y="46"/>
                      </a:lnTo>
                      <a:lnTo>
                        <a:pt x="19" y="42"/>
                      </a:lnTo>
                      <a:lnTo>
                        <a:pt x="19" y="41"/>
                      </a:lnTo>
                      <a:lnTo>
                        <a:pt x="19" y="36"/>
                      </a:lnTo>
                      <a:lnTo>
                        <a:pt x="23" y="33"/>
                      </a:lnTo>
                      <a:lnTo>
                        <a:pt x="26" y="37"/>
                      </a:lnTo>
                      <a:lnTo>
                        <a:pt x="27" y="37"/>
                      </a:lnTo>
                      <a:lnTo>
                        <a:pt x="31" y="41"/>
                      </a:lnTo>
                      <a:lnTo>
                        <a:pt x="32" y="39"/>
                      </a:lnTo>
                      <a:lnTo>
                        <a:pt x="36" y="41"/>
                      </a:lnTo>
                      <a:lnTo>
                        <a:pt x="42" y="39"/>
                      </a:lnTo>
                      <a:lnTo>
                        <a:pt x="47" y="41"/>
                      </a:lnTo>
                      <a:lnTo>
                        <a:pt x="49" y="36"/>
                      </a:lnTo>
                      <a:lnTo>
                        <a:pt x="49" y="34"/>
                      </a:lnTo>
                      <a:lnTo>
                        <a:pt x="45" y="31"/>
                      </a:lnTo>
                      <a:lnTo>
                        <a:pt x="42" y="28"/>
                      </a:lnTo>
                      <a:lnTo>
                        <a:pt x="44" y="26"/>
                      </a:lnTo>
                      <a:lnTo>
                        <a:pt x="49" y="26"/>
                      </a:lnTo>
                      <a:lnTo>
                        <a:pt x="54" y="21"/>
                      </a:lnTo>
                      <a:lnTo>
                        <a:pt x="54" y="16"/>
                      </a:lnTo>
                      <a:lnTo>
                        <a:pt x="57" y="13"/>
                      </a:lnTo>
                      <a:lnTo>
                        <a:pt x="60" y="13"/>
                      </a:lnTo>
                      <a:lnTo>
                        <a:pt x="62" y="10"/>
                      </a:lnTo>
                      <a:lnTo>
                        <a:pt x="60" y="8"/>
                      </a:lnTo>
                      <a:lnTo>
                        <a:pt x="60" y="5"/>
                      </a:lnTo>
                      <a:lnTo>
                        <a:pt x="60" y="1"/>
                      </a:lnTo>
                      <a:lnTo>
                        <a:pt x="62" y="0"/>
                      </a:lnTo>
                      <a:lnTo>
                        <a:pt x="65" y="1"/>
                      </a:lnTo>
                      <a:lnTo>
                        <a:pt x="65" y="5"/>
                      </a:lnTo>
                      <a:lnTo>
                        <a:pt x="67" y="6"/>
                      </a:lnTo>
                      <a:lnTo>
                        <a:pt x="72" y="8"/>
                      </a:lnTo>
                      <a:lnTo>
                        <a:pt x="75" y="13"/>
                      </a:lnTo>
                      <a:lnTo>
                        <a:pt x="75" y="13"/>
                      </a:lnTo>
                      <a:lnTo>
                        <a:pt x="70" y="19"/>
                      </a:lnTo>
                      <a:lnTo>
                        <a:pt x="67" y="19"/>
                      </a:lnTo>
                      <a:lnTo>
                        <a:pt x="67" y="23"/>
                      </a:lnTo>
                      <a:lnTo>
                        <a:pt x="65" y="31"/>
                      </a:lnTo>
                      <a:lnTo>
                        <a:pt x="65" y="36"/>
                      </a:lnTo>
                      <a:lnTo>
                        <a:pt x="68" y="37"/>
                      </a:lnTo>
                      <a:lnTo>
                        <a:pt x="68" y="47"/>
                      </a:lnTo>
                      <a:lnTo>
                        <a:pt x="72" y="49"/>
                      </a:lnTo>
                      <a:lnTo>
                        <a:pt x="70" y="52"/>
                      </a:lnTo>
                      <a:lnTo>
                        <a:pt x="65" y="55"/>
                      </a:lnTo>
                      <a:lnTo>
                        <a:pt x="67" y="57"/>
                      </a:lnTo>
                      <a:lnTo>
                        <a:pt x="59" y="65"/>
                      </a:lnTo>
                      <a:lnTo>
                        <a:pt x="60" y="68"/>
                      </a:lnTo>
                      <a:lnTo>
                        <a:pt x="57" y="70"/>
                      </a:lnTo>
                      <a:lnTo>
                        <a:pt x="57" y="72"/>
                      </a:lnTo>
                      <a:lnTo>
                        <a:pt x="54" y="72"/>
                      </a:lnTo>
                      <a:lnTo>
                        <a:pt x="50" y="73"/>
                      </a:lnTo>
                      <a:lnTo>
                        <a:pt x="49" y="77"/>
                      </a:lnTo>
                      <a:lnTo>
                        <a:pt x="45" y="80"/>
                      </a:lnTo>
                      <a:lnTo>
                        <a:pt x="45" y="83"/>
                      </a:lnTo>
                      <a:lnTo>
                        <a:pt x="45" y="88"/>
                      </a:lnTo>
                      <a:lnTo>
                        <a:pt x="44" y="90"/>
                      </a:lnTo>
                      <a:lnTo>
                        <a:pt x="45" y="93"/>
                      </a:lnTo>
                      <a:lnTo>
                        <a:pt x="50" y="95"/>
                      </a:lnTo>
                      <a:lnTo>
                        <a:pt x="54" y="98"/>
                      </a:lnTo>
                      <a:lnTo>
                        <a:pt x="65" y="104"/>
                      </a:lnTo>
                      <a:lnTo>
                        <a:pt x="67" y="108"/>
                      </a:lnTo>
                      <a:lnTo>
                        <a:pt x="60" y="113"/>
                      </a:lnTo>
                      <a:lnTo>
                        <a:pt x="49" y="113"/>
                      </a:lnTo>
                      <a:lnTo>
                        <a:pt x="44" y="117"/>
                      </a:lnTo>
                      <a:lnTo>
                        <a:pt x="37" y="119"/>
                      </a:lnTo>
                      <a:lnTo>
                        <a:pt x="32" y="124"/>
                      </a:lnTo>
                      <a:lnTo>
                        <a:pt x="32" y="127"/>
                      </a:lnTo>
                      <a:lnTo>
                        <a:pt x="29" y="124"/>
                      </a:lnTo>
                      <a:lnTo>
                        <a:pt x="26" y="126"/>
                      </a:lnTo>
                      <a:lnTo>
                        <a:pt x="27" y="127"/>
                      </a:lnTo>
                      <a:lnTo>
                        <a:pt x="24" y="131"/>
                      </a:lnTo>
                      <a:lnTo>
                        <a:pt x="23" y="129"/>
                      </a:lnTo>
                      <a:lnTo>
                        <a:pt x="19" y="132"/>
                      </a:lnTo>
                      <a:lnTo>
                        <a:pt x="18" y="131"/>
                      </a:lnTo>
                      <a:lnTo>
                        <a:pt x="21" y="126"/>
                      </a:lnTo>
                      <a:lnTo>
                        <a:pt x="18" y="124"/>
                      </a:lnTo>
                      <a:lnTo>
                        <a:pt x="14" y="126"/>
                      </a:lnTo>
                      <a:lnTo>
                        <a:pt x="13" y="126"/>
                      </a:lnTo>
                      <a:lnTo>
                        <a:pt x="14" y="122"/>
                      </a:lnTo>
                      <a:lnTo>
                        <a:pt x="14" y="116"/>
                      </a:lnTo>
                      <a:lnTo>
                        <a:pt x="16" y="111"/>
                      </a:lnTo>
                      <a:lnTo>
                        <a:pt x="21" y="111"/>
                      </a:lnTo>
                      <a:lnTo>
                        <a:pt x="24" y="108"/>
                      </a:lnTo>
                      <a:lnTo>
                        <a:pt x="21" y="109"/>
                      </a:lnTo>
                      <a:lnTo>
                        <a:pt x="14" y="109"/>
                      </a:lnTo>
                      <a:lnTo>
                        <a:pt x="14" y="108"/>
                      </a:lnTo>
                      <a:lnTo>
                        <a:pt x="14" y="100"/>
                      </a:lnTo>
                      <a:lnTo>
                        <a:pt x="18" y="93"/>
                      </a:lnTo>
                      <a:lnTo>
                        <a:pt x="16" y="90"/>
                      </a:lnTo>
                      <a:lnTo>
                        <a:pt x="18" y="90"/>
                      </a:lnTo>
                      <a:lnTo>
                        <a:pt x="19" y="86"/>
                      </a:lnTo>
                      <a:lnTo>
                        <a:pt x="16" y="86"/>
                      </a:lnTo>
                      <a:lnTo>
                        <a:pt x="14" y="88"/>
                      </a:lnTo>
                      <a:lnTo>
                        <a:pt x="10" y="90"/>
                      </a:lnTo>
                      <a:lnTo>
                        <a:pt x="8" y="88"/>
                      </a:lnTo>
                      <a:lnTo>
                        <a:pt x="5" y="85"/>
                      </a:lnTo>
                      <a:lnTo>
                        <a:pt x="5" y="88"/>
                      </a:lnTo>
                      <a:lnTo>
                        <a:pt x="3" y="90"/>
                      </a:lnTo>
                      <a:lnTo>
                        <a:pt x="1" y="83"/>
                      </a:lnTo>
                      <a:lnTo>
                        <a:pt x="0" y="85"/>
                      </a:lnTo>
                      <a:lnTo>
                        <a:pt x="0" y="8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3" name="Freeform 162">
                  <a:extLst>
                    <a:ext uri="{FF2B5EF4-FFF2-40B4-BE49-F238E27FC236}">
                      <a16:creationId xmlns:a16="http://schemas.microsoft.com/office/drawing/2014/main" xmlns="" id="{6E1B7F85-1D8E-41CF-9C45-115460FD1E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0" y="1052"/>
                  <a:ext cx="488" cy="236"/>
                </a:xfrm>
                <a:custGeom>
                  <a:avLst/>
                  <a:gdLst>
                    <a:gd name="T0" fmla="*/ 16 w 488"/>
                    <a:gd name="T1" fmla="*/ 72 h 236"/>
                    <a:gd name="T2" fmla="*/ 29 w 488"/>
                    <a:gd name="T3" fmla="*/ 57 h 236"/>
                    <a:gd name="T4" fmla="*/ 35 w 488"/>
                    <a:gd name="T5" fmla="*/ 48 h 236"/>
                    <a:gd name="T6" fmla="*/ 55 w 488"/>
                    <a:gd name="T7" fmla="*/ 41 h 236"/>
                    <a:gd name="T8" fmla="*/ 67 w 488"/>
                    <a:gd name="T9" fmla="*/ 44 h 236"/>
                    <a:gd name="T10" fmla="*/ 84 w 488"/>
                    <a:gd name="T11" fmla="*/ 43 h 236"/>
                    <a:gd name="T12" fmla="*/ 102 w 488"/>
                    <a:gd name="T13" fmla="*/ 61 h 236"/>
                    <a:gd name="T14" fmla="*/ 119 w 488"/>
                    <a:gd name="T15" fmla="*/ 57 h 236"/>
                    <a:gd name="T16" fmla="*/ 138 w 488"/>
                    <a:gd name="T17" fmla="*/ 57 h 236"/>
                    <a:gd name="T18" fmla="*/ 142 w 488"/>
                    <a:gd name="T19" fmla="*/ 38 h 236"/>
                    <a:gd name="T20" fmla="*/ 132 w 488"/>
                    <a:gd name="T21" fmla="*/ 20 h 236"/>
                    <a:gd name="T22" fmla="*/ 142 w 488"/>
                    <a:gd name="T23" fmla="*/ 7 h 236"/>
                    <a:gd name="T24" fmla="*/ 153 w 488"/>
                    <a:gd name="T25" fmla="*/ 4 h 236"/>
                    <a:gd name="T26" fmla="*/ 173 w 488"/>
                    <a:gd name="T27" fmla="*/ 8 h 236"/>
                    <a:gd name="T28" fmla="*/ 192 w 488"/>
                    <a:gd name="T29" fmla="*/ 13 h 236"/>
                    <a:gd name="T30" fmla="*/ 199 w 488"/>
                    <a:gd name="T31" fmla="*/ 28 h 236"/>
                    <a:gd name="T32" fmla="*/ 210 w 488"/>
                    <a:gd name="T33" fmla="*/ 38 h 236"/>
                    <a:gd name="T34" fmla="*/ 228 w 488"/>
                    <a:gd name="T35" fmla="*/ 39 h 236"/>
                    <a:gd name="T36" fmla="*/ 249 w 488"/>
                    <a:gd name="T37" fmla="*/ 33 h 236"/>
                    <a:gd name="T38" fmla="*/ 276 w 488"/>
                    <a:gd name="T39" fmla="*/ 38 h 236"/>
                    <a:gd name="T40" fmla="*/ 295 w 488"/>
                    <a:gd name="T41" fmla="*/ 48 h 236"/>
                    <a:gd name="T42" fmla="*/ 318 w 488"/>
                    <a:gd name="T43" fmla="*/ 54 h 236"/>
                    <a:gd name="T44" fmla="*/ 341 w 488"/>
                    <a:gd name="T45" fmla="*/ 53 h 236"/>
                    <a:gd name="T46" fmla="*/ 365 w 488"/>
                    <a:gd name="T47" fmla="*/ 43 h 236"/>
                    <a:gd name="T48" fmla="*/ 377 w 488"/>
                    <a:gd name="T49" fmla="*/ 28 h 236"/>
                    <a:gd name="T50" fmla="*/ 392 w 488"/>
                    <a:gd name="T51" fmla="*/ 23 h 236"/>
                    <a:gd name="T52" fmla="*/ 408 w 488"/>
                    <a:gd name="T53" fmla="*/ 28 h 236"/>
                    <a:gd name="T54" fmla="*/ 421 w 488"/>
                    <a:gd name="T55" fmla="*/ 53 h 236"/>
                    <a:gd name="T56" fmla="*/ 427 w 488"/>
                    <a:gd name="T57" fmla="*/ 82 h 236"/>
                    <a:gd name="T58" fmla="*/ 454 w 488"/>
                    <a:gd name="T59" fmla="*/ 72 h 236"/>
                    <a:gd name="T60" fmla="*/ 476 w 488"/>
                    <a:gd name="T61" fmla="*/ 79 h 236"/>
                    <a:gd name="T62" fmla="*/ 486 w 488"/>
                    <a:gd name="T63" fmla="*/ 98 h 236"/>
                    <a:gd name="T64" fmla="*/ 476 w 488"/>
                    <a:gd name="T65" fmla="*/ 103 h 236"/>
                    <a:gd name="T66" fmla="*/ 457 w 488"/>
                    <a:gd name="T67" fmla="*/ 108 h 236"/>
                    <a:gd name="T68" fmla="*/ 449 w 488"/>
                    <a:gd name="T69" fmla="*/ 115 h 236"/>
                    <a:gd name="T70" fmla="*/ 434 w 488"/>
                    <a:gd name="T71" fmla="*/ 136 h 236"/>
                    <a:gd name="T72" fmla="*/ 414 w 488"/>
                    <a:gd name="T73" fmla="*/ 147 h 236"/>
                    <a:gd name="T74" fmla="*/ 398 w 488"/>
                    <a:gd name="T75" fmla="*/ 149 h 236"/>
                    <a:gd name="T76" fmla="*/ 378 w 488"/>
                    <a:gd name="T77" fmla="*/ 160 h 236"/>
                    <a:gd name="T78" fmla="*/ 390 w 488"/>
                    <a:gd name="T79" fmla="*/ 180 h 236"/>
                    <a:gd name="T80" fmla="*/ 367 w 488"/>
                    <a:gd name="T81" fmla="*/ 205 h 236"/>
                    <a:gd name="T82" fmla="*/ 339 w 488"/>
                    <a:gd name="T83" fmla="*/ 214 h 236"/>
                    <a:gd name="T84" fmla="*/ 300 w 488"/>
                    <a:gd name="T85" fmla="*/ 236 h 236"/>
                    <a:gd name="T86" fmla="*/ 279 w 488"/>
                    <a:gd name="T87" fmla="*/ 232 h 236"/>
                    <a:gd name="T88" fmla="*/ 240 w 488"/>
                    <a:gd name="T89" fmla="*/ 216 h 236"/>
                    <a:gd name="T90" fmla="*/ 207 w 488"/>
                    <a:gd name="T91" fmla="*/ 219 h 236"/>
                    <a:gd name="T92" fmla="*/ 161 w 488"/>
                    <a:gd name="T93" fmla="*/ 219 h 236"/>
                    <a:gd name="T94" fmla="*/ 145 w 488"/>
                    <a:gd name="T95" fmla="*/ 195 h 236"/>
                    <a:gd name="T96" fmla="*/ 137 w 488"/>
                    <a:gd name="T97" fmla="*/ 185 h 236"/>
                    <a:gd name="T98" fmla="*/ 119 w 488"/>
                    <a:gd name="T99" fmla="*/ 178 h 236"/>
                    <a:gd name="T100" fmla="*/ 96 w 488"/>
                    <a:gd name="T101" fmla="*/ 170 h 236"/>
                    <a:gd name="T102" fmla="*/ 62 w 488"/>
                    <a:gd name="T103" fmla="*/ 160 h 236"/>
                    <a:gd name="T104" fmla="*/ 63 w 488"/>
                    <a:gd name="T105" fmla="*/ 147 h 236"/>
                    <a:gd name="T106" fmla="*/ 58 w 488"/>
                    <a:gd name="T107" fmla="*/ 131 h 236"/>
                    <a:gd name="T108" fmla="*/ 50 w 488"/>
                    <a:gd name="T109" fmla="*/ 116 h 236"/>
                    <a:gd name="T110" fmla="*/ 37 w 488"/>
                    <a:gd name="T111" fmla="*/ 111 h 236"/>
                    <a:gd name="T112" fmla="*/ 24 w 488"/>
                    <a:gd name="T113" fmla="*/ 110 h 236"/>
                    <a:gd name="T114" fmla="*/ 18 w 488"/>
                    <a:gd name="T115" fmla="*/ 106 h 236"/>
                    <a:gd name="T116" fmla="*/ 4 w 488"/>
                    <a:gd name="T117" fmla="*/ 95 h 236"/>
                    <a:gd name="T118" fmla="*/ 1 w 488"/>
                    <a:gd name="T119" fmla="*/ 90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88" h="236">
                      <a:moveTo>
                        <a:pt x="0" y="84"/>
                      </a:moveTo>
                      <a:lnTo>
                        <a:pt x="3" y="79"/>
                      </a:lnTo>
                      <a:lnTo>
                        <a:pt x="4" y="77"/>
                      </a:lnTo>
                      <a:lnTo>
                        <a:pt x="13" y="77"/>
                      </a:lnTo>
                      <a:lnTo>
                        <a:pt x="13" y="75"/>
                      </a:lnTo>
                      <a:lnTo>
                        <a:pt x="16" y="72"/>
                      </a:lnTo>
                      <a:lnTo>
                        <a:pt x="21" y="71"/>
                      </a:lnTo>
                      <a:lnTo>
                        <a:pt x="21" y="67"/>
                      </a:lnTo>
                      <a:lnTo>
                        <a:pt x="22" y="64"/>
                      </a:lnTo>
                      <a:lnTo>
                        <a:pt x="27" y="62"/>
                      </a:lnTo>
                      <a:lnTo>
                        <a:pt x="27" y="59"/>
                      </a:lnTo>
                      <a:lnTo>
                        <a:pt x="29" y="57"/>
                      </a:lnTo>
                      <a:lnTo>
                        <a:pt x="32" y="56"/>
                      </a:lnTo>
                      <a:lnTo>
                        <a:pt x="34" y="53"/>
                      </a:lnTo>
                      <a:lnTo>
                        <a:pt x="35" y="53"/>
                      </a:lnTo>
                      <a:lnTo>
                        <a:pt x="34" y="51"/>
                      </a:lnTo>
                      <a:lnTo>
                        <a:pt x="34" y="48"/>
                      </a:lnTo>
                      <a:lnTo>
                        <a:pt x="35" y="48"/>
                      </a:lnTo>
                      <a:lnTo>
                        <a:pt x="40" y="48"/>
                      </a:lnTo>
                      <a:lnTo>
                        <a:pt x="42" y="48"/>
                      </a:lnTo>
                      <a:lnTo>
                        <a:pt x="44" y="43"/>
                      </a:lnTo>
                      <a:lnTo>
                        <a:pt x="47" y="43"/>
                      </a:lnTo>
                      <a:lnTo>
                        <a:pt x="52" y="41"/>
                      </a:lnTo>
                      <a:lnTo>
                        <a:pt x="55" y="41"/>
                      </a:lnTo>
                      <a:lnTo>
                        <a:pt x="57" y="41"/>
                      </a:lnTo>
                      <a:lnTo>
                        <a:pt x="62" y="41"/>
                      </a:lnTo>
                      <a:lnTo>
                        <a:pt x="63" y="39"/>
                      </a:lnTo>
                      <a:lnTo>
                        <a:pt x="65" y="39"/>
                      </a:lnTo>
                      <a:lnTo>
                        <a:pt x="67" y="41"/>
                      </a:lnTo>
                      <a:lnTo>
                        <a:pt x="67" y="44"/>
                      </a:lnTo>
                      <a:lnTo>
                        <a:pt x="68" y="46"/>
                      </a:lnTo>
                      <a:lnTo>
                        <a:pt x="71" y="46"/>
                      </a:lnTo>
                      <a:lnTo>
                        <a:pt x="73" y="44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4" y="43"/>
                      </a:lnTo>
                      <a:lnTo>
                        <a:pt x="84" y="46"/>
                      </a:lnTo>
                      <a:lnTo>
                        <a:pt x="84" y="48"/>
                      </a:lnTo>
                      <a:lnTo>
                        <a:pt x="86" y="51"/>
                      </a:lnTo>
                      <a:lnTo>
                        <a:pt x="94" y="56"/>
                      </a:lnTo>
                      <a:lnTo>
                        <a:pt x="98" y="57"/>
                      </a:lnTo>
                      <a:lnTo>
                        <a:pt x="102" y="61"/>
                      </a:lnTo>
                      <a:lnTo>
                        <a:pt x="104" y="59"/>
                      </a:lnTo>
                      <a:lnTo>
                        <a:pt x="107" y="57"/>
                      </a:lnTo>
                      <a:lnTo>
                        <a:pt x="111" y="56"/>
                      </a:lnTo>
                      <a:lnTo>
                        <a:pt x="114" y="54"/>
                      </a:lnTo>
                      <a:lnTo>
                        <a:pt x="117" y="56"/>
                      </a:lnTo>
                      <a:lnTo>
                        <a:pt x="119" y="57"/>
                      </a:lnTo>
                      <a:lnTo>
                        <a:pt x="122" y="57"/>
                      </a:lnTo>
                      <a:lnTo>
                        <a:pt x="129" y="57"/>
                      </a:lnTo>
                      <a:lnTo>
                        <a:pt x="132" y="57"/>
                      </a:lnTo>
                      <a:lnTo>
                        <a:pt x="133" y="57"/>
                      </a:lnTo>
                      <a:lnTo>
                        <a:pt x="135" y="57"/>
                      </a:lnTo>
                      <a:lnTo>
                        <a:pt x="138" y="57"/>
                      </a:lnTo>
                      <a:lnTo>
                        <a:pt x="143" y="57"/>
                      </a:lnTo>
                      <a:lnTo>
                        <a:pt x="147" y="53"/>
                      </a:lnTo>
                      <a:lnTo>
                        <a:pt x="145" y="49"/>
                      </a:lnTo>
                      <a:lnTo>
                        <a:pt x="142" y="48"/>
                      </a:lnTo>
                      <a:lnTo>
                        <a:pt x="142" y="43"/>
                      </a:lnTo>
                      <a:lnTo>
                        <a:pt x="142" y="38"/>
                      </a:lnTo>
                      <a:lnTo>
                        <a:pt x="142" y="36"/>
                      </a:lnTo>
                      <a:lnTo>
                        <a:pt x="138" y="35"/>
                      </a:lnTo>
                      <a:lnTo>
                        <a:pt x="137" y="33"/>
                      </a:lnTo>
                      <a:lnTo>
                        <a:pt x="132" y="31"/>
                      </a:lnTo>
                      <a:lnTo>
                        <a:pt x="132" y="26"/>
                      </a:lnTo>
                      <a:lnTo>
                        <a:pt x="132" y="20"/>
                      </a:lnTo>
                      <a:lnTo>
                        <a:pt x="135" y="15"/>
                      </a:lnTo>
                      <a:lnTo>
                        <a:pt x="135" y="13"/>
                      </a:lnTo>
                      <a:lnTo>
                        <a:pt x="137" y="10"/>
                      </a:lnTo>
                      <a:lnTo>
                        <a:pt x="138" y="10"/>
                      </a:lnTo>
                      <a:lnTo>
                        <a:pt x="140" y="10"/>
                      </a:lnTo>
                      <a:lnTo>
                        <a:pt x="142" y="7"/>
                      </a:lnTo>
                      <a:lnTo>
                        <a:pt x="140" y="5"/>
                      </a:lnTo>
                      <a:lnTo>
                        <a:pt x="142" y="2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8" y="2"/>
                      </a:lnTo>
                      <a:lnTo>
                        <a:pt x="153" y="4"/>
                      </a:lnTo>
                      <a:lnTo>
                        <a:pt x="156" y="5"/>
                      </a:lnTo>
                      <a:lnTo>
                        <a:pt x="158" y="7"/>
                      </a:lnTo>
                      <a:lnTo>
                        <a:pt x="161" y="7"/>
                      </a:lnTo>
                      <a:lnTo>
                        <a:pt x="164" y="8"/>
                      </a:lnTo>
                      <a:lnTo>
                        <a:pt x="171" y="8"/>
                      </a:lnTo>
                      <a:lnTo>
                        <a:pt x="173" y="8"/>
                      </a:lnTo>
                      <a:lnTo>
                        <a:pt x="174" y="10"/>
                      </a:lnTo>
                      <a:lnTo>
                        <a:pt x="178" y="12"/>
                      </a:lnTo>
                      <a:lnTo>
                        <a:pt x="181" y="12"/>
                      </a:lnTo>
                      <a:lnTo>
                        <a:pt x="184" y="13"/>
                      </a:lnTo>
                      <a:lnTo>
                        <a:pt x="191" y="12"/>
                      </a:lnTo>
                      <a:lnTo>
                        <a:pt x="192" y="13"/>
                      </a:lnTo>
                      <a:lnTo>
                        <a:pt x="194" y="17"/>
                      </a:lnTo>
                      <a:lnTo>
                        <a:pt x="194" y="18"/>
                      </a:lnTo>
                      <a:lnTo>
                        <a:pt x="196" y="20"/>
                      </a:lnTo>
                      <a:lnTo>
                        <a:pt x="196" y="23"/>
                      </a:lnTo>
                      <a:lnTo>
                        <a:pt x="197" y="25"/>
                      </a:lnTo>
                      <a:lnTo>
                        <a:pt x="199" y="28"/>
                      </a:lnTo>
                      <a:lnTo>
                        <a:pt x="199" y="31"/>
                      </a:lnTo>
                      <a:lnTo>
                        <a:pt x="200" y="33"/>
                      </a:lnTo>
                      <a:lnTo>
                        <a:pt x="202" y="33"/>
                      </a:lnTo>
                      <a:lnTo>
                        <a:pt x="205" y="36"/>
                      </a:lnTo>
                      <a:lnTo>
                        <a:pt x="207" y="38"/>
                      </a:lnTo>
                      <a:lnTo>
                        <a:pt x="210" y="38"/>
                      </a:lnTo>
                      <a:lnTo>
                        <a:pt x="215" y="41"/>
                      </a:lnTo>
                      <a:lnTo>
                        <a:pt x="218" y="41"/>
                      </a:lnTo>
                      <a:lnTo>
                        <a:pt x="218" y="39"/>
                      </a:lnTo>
                      <a:lnTo>
                        <a:pt x="223" y="41"/>
                      </a:lnTo>
                      <a:lnTo>
                        <a:pt x="227" y="39"/>
                      </a:lnTo>
                      <a:lnTo>
                        <a:pt x="228" y="39"/>
                      </a:lnTo>
                      <a:lnTo>
                        <a:pt x="230" y="39"/>
                      </a:lnTo>
                      <a:lnTo>
                        <a:pt x="233" y="39"/>
                      </a:lnTo>
                      <a:lnTo>
                        <a:pt x="235" y="36"/>
                      </a:lnTo>
                      <a:lnTo>
                        <a:pt x="240" y="35"/>
                      </a:lnTo>
                      <a:lnTo>
                        <a:pt x="246" y="35"/>
                      </a:lnTo>
                      <a:lnTo>
                        <a:pt x="249" y="33"/>
                      </a:lnTo>
                      <a:lnTo>
                        <a:pt x="253" y="31"/>
                      </a:lnTo>
                      <a:lnTo>
                        <a:pt x="258" y="31"/>
                      </a:lnTo>
                      <a:lnTo>
                        <a:pt x="261" y="33"/>
                      </a:lnTo>
                      <a:lnTo>
                        <a:pt x="266" y="33"/>
                      </a:lnTo>
                      <a:lnTo>
                        <a:pt x="272" y="33"/>
                      </a:lnTo>
                      <a:lnTo>
                        <a:pt x="276" y="38"/>
                      </a:lnTo>
                      <a:lnTo>
                        <a:pt x="280" y="39"/>
                      </a:lnTo>
                      <a:lnTo>
                        <a:pt x="285" y="39"/>
                      </a:lnTo>
                      <a:lnTo>
                        <a:pt x="289" y="39"/>
                      </a:lnTo>
                      <a:lnTo>
                        <a:pt x="290" y="41"/>
                      </a:lnTo>
                      <a:lnTo>
                        <a:pt x="292" y="46"/>
                      </a:lnTo>
                      <a:lnTo>
                        <a:pt x="295" y="48"/>
                      </a:lnTo>
                      <a:lnTo>
                        <a:pt x="297" y="49"/>
                      </a:lnTo>
                      <a:lnTo>
                        <a:pt x="298" y="49"/>
                      </a:lnTo>
                      <a:lnTo>
                        <a:pt x="302" y="53"/>
                      </a:lnTo>
                      <a:lnTo>
                        <a:pt x="303" y="53"/>
                      </a:lnTo>
                      <a:lnTo>
                        <a:pt x="311" y="53"/>
                      </a:lnTo>
                      <a:lnTo>
                        <a:pt x="318" y="54"/>
                      </a:lnTo>
                      <a:lnTo>
                        <a:pt x="326" y="54"/>
                      </a:lnTo>
                      <a:lnTo>
                        <a:pt x="331" y="53"/>
                      </a:lnTo>
                      <a:lnTo>
                        <a:pt x="333" y="53"/>
                      </a:lnTo>
                      <a:lnTo>
                        <a:pt x="336" y="53"/>
                      </a:lnTo>
                      <a:lnTo>
                        <a:pt x="339" y="54"/>
                      </a:lnTo>
                      <a:lnTo>
                        <a:pt x="341" y="53"/>
                      </a:lnTo>
                      <a:lnTo>
                        <a:pt x="343" y="49"/>
                      </a:lnTo>
                      <a:lnTo>
                        <a:pt x="349" y="46"/>
                      </a:lnTo>
                      <a:lnTo>
                        <a:pt x="352" y="46"/>
                      </a:lnTo>
                      <a:lnTo>
                        <a:pt x="356" y="43"/>
                      </a:lnTo>
                      <a:lnTo>
                        <a:pt x="357" y="43"/>
                      </a:lnTo>
                      <a:lnTo>
                        <a:pt x="365" y="43"/>
                      </a:lnTo>
                      <a:lnTo>
                        <a:pt x="369" y="39"/>
                      </a:lnTo>
                      <a:lnTo>
                        <a:pt x="369" y="36"/>
                      </a:lnTo>
                      <a:lnTo>
                        <a:pt x="369" y="35"/>
                      </a:lnTo>
                      <a:lnTo>
                        <a:pt x="372" y="31"/>
                      </a:lnTo>
                      <a:lnTo>
                        <a:pt x="375" y="30"/>
                      </a:lnTo>
                      <a:lnTo>
                        <a:pt x="377" y="28"/>
                      </a:lnTo>
                      <a:lnTo>
                        <a:pt x="378" y="25"/>
                      </a:lnTo>
                      <a:lnTo>
                        <a:pt x="380" y="23"/>
                      </a:lnTo>
                      <a:lnTo>
                        <a:pt x="383" y="23"/>
                      </a:lnTo>
                      <a:lnTo>
                        <a:pt x="385" y="23"/>
                      </a:lnTo>
                      <a:lnTo>
                        <a:pt x="388" y="22"/>
                      </a:lnTo>
                      <a:lnTo>
                        <a:pt x="392" y="23"/>
                      </a:lnTo>
                      <a:lnTo>
                        <a:pt x="395" y="25"/>
                      </a:lnTo>
                      <a:lnTo>
                        <a:pt x="398" y="28"/>
                      </a:lnTo>
                      <a:lnTo>
                        <a:pt x="400" y="28"/>
                      </a:lnTo>
                      <a:lnTo>
                        <a:pt x="403" y="26"/>
                      </a:lnTo>
                      <a:lnTo>
                        <a:pt x="405" y="28"/>
                      </a:lnTo>
                      <a:lnTo>
                        <a:pt x="408" y="28"/>
                      </a:lnTo>
                      <a:lnTo>
                        <a:pt x="411" y="26"/>
                      </a:lnTo>
                      <a:lnTo>
                        <a:pt x="411" y="25"/>
                      </a:lnTo>
                      <a:lnTo>
                        <a:pt x="416" y="23"/>
                      </a:lnTo>
                      <a:lnTo>
                        <a:pt x="423" y="25"/>
                      </a:lnTo>
                      <a:lnTo>
                        <a:pt x="424" y="26"/>
                      </a:lnTo>
                      <a:lnTo>
                        <a:pt x="421" y="53"/>
                      </a:lnTo>
                      <a:lnTo>
                        <a:pt x="421" y="57"/>
                      </a:lnTo>
                      <a:lnTo>
                        <a:pt x="419" y="62"/>
                      </a:lnTo>
                      <a:lnTo>
                        <a:pt x="419" y="66"/>
                      </a:lnTo>
                      <a:lnTo>
                        <a:pt x="418" y="72"/>
                      </a:lnTo>
                      <a:lnTo>
                        <a:pt x="421" y="77"/>
                      </a:lnTo>
                      <a:lnTo>
                        <a:pt x="427" y="82"/>
                      </a:lnTo>
                      <a:lnTo>
                        <a:pt x="432" y="77"/>
                      </a:lnTo>
                      <a:lnTo>
                        <a:pt x="439" y="77"/>
                      </a:lnTo>
                      <a:lnTo>
                        <a:pt x="447" y="79"/>
                      </a:lnTo>
                      <a:lnTo>
                        <a:pt x="449" y="82"/>
                      </a:lnTo>
                      <a:lnTo>
                        <a:pt x="454" y="75"/>
                      </a:lnTo>
                      <a:lnTo>
                        <a:pt x="454" y="72"/>
                      </a:lnTo>
                      <a:lnTo>
                        <a:pt x="454" y="69"/>
                      </a:lnTo>
                      <a:lnTo>
                        <a:pt x="457" y="67"/>
                      </a:lnTo>
                      <a:lnTo>
                        <a:pt x="458" y="67"/>
                      </a:lnTo>
                      <a:lnTo>
                        <a:pt x="467" y="69"/>
                      </a:lnTo>
                      <a:lnTo>
                        <a:pt x="470" y="74"/>
                      </a:lnTo>
                      <a:lnTo>
                        <a:pt x="476" y="79"/>
                      </a:lnTo>
                      <a:lnTo>
                        <a:pt x="480" y="85"/>
                      </a:lnTo>
                      <a:lnTo>
                        <a:pt x="486" y="89"/>
                      </a:lnTo>
                      <a:lnTo>
                        <a:pt x="486" y="92"/>
                      </a:lnTo>
                      <a:lnTo>
                        <a:pt x="488" y="93"/>
                      </a:lnTo>
                      <a:lnTo>
                        <a:pt x="488" y="97"/>
                      </a:lnTo>
                      <a:lnTo>
                        <a:pt x="486" y="98"/>
                      </a:lnTo>
                      <a:lnTo>
                        <a:pt x="486" y="102"/>
                      </a:lnTo>
                      <a:lnTo>
                        <a:pt x="485" y="103"/>
                      </a:lnTo>
                      <a:lnTo>
                        <a:pt x="483" y="102"/>
                      </a:lnTo>
                      <a:lnTo>
                        <a:pt x="481" y="102"/>
                      </a:lnTo>
                      <a:lnTo>
                        <a:pt x="478" y="102"/>
                      </a:lnTo>
                      <a:lnTo>
                        <a:pt x="476" y="103"/>
                      </a:lnTo>
                      <a:lnTo>
                        <a:pt x="472" y="100"/>
                      </a:lnTo>
                      <a:lnTo>
                        <a:pt x="468" y="102"/>
                      </a:lnTo>
                      <a:lnTo>
                        <a:pt x="467" y="105"/>
                      </a:lnTo>
                      <a:lnTo>
                        <a:pt x="462" y="108"/>
                      </a:lnTo>
                      <a:lnTo>
                        <a:pt x="458" y="110"/>
                      </a:lnTo>
                      <a:lnTo>
                        <a:pt x="457" y="108"/>
                      </a:lnTo>
                      <a:lnTo>
                        <a:pt x="455" y="108"/>
                      </a:lnTo>
                      <a:lnTo>
                        <a:pt x="455" y="111"/>
                      </a:lnTo>
                      <a:lnTo>
                        <a:pt x="454" y="113"/>
                      </a:lnTo>
                      <a:lnTo>
                        <a:pt x="452" y="113"/>
                      </a:lnTo>
                      <a:lnTo>
                        <a:pt x="450" y="113"/>
                      </a:lnTo>
                      <a:lnTo>
                        <a:pt x="449" y="115"/>
                      </a:lnTo>
                      <a:lnTo>
                        <a:pt x="445" y="120"/>
                      </a:lnTo>
                      <a:lnTo>
                        <a:pt x="445" y="124"/>
                      </a:lnTo>
                      <a:lnTo>
                        <a:pt x="445" y="128"/>
                      </a:lnTo>
                      <a:lnTo>
                        <a:pt x="444" y="129"/>
                      </a:lnTo>
                      <a:lnTo>
                        <a:pt x="441" y="131"/>
                      </a:lnTo>
                      <a:lnTo>
                        <a:pt x="434" y="136"/>
                      </a:lnTo>
                      <a:lnTo>
                        <a:pt x="429" y="136"/>
                      </a:lnTo>
                      <a:lnTo>
                        <a:pt x="426" y="134"/>
                      </a:lnTo>
                      <a:lnTo>
                        <a:pt x="424" y="136"/>
                      </a:lnTo>
                      <a:lnTo>
                        <a:pt x="421" y="142"/>
                      </a:lnTo>
                      <a:lnTo>
                        <a:pt x="418" y="146"/>
                      </a:lnTo>
                      <a:lnTo>
                        <a:pt x="414" y="147"/>
                      </a:lnTo>
                      <a:lnTo>
                        <a:pt x="413" y="151"/>
                      </a:lnTo>
                      <a:lnTo>
                        <a:pt x="411" y="152"/>
                      </a:lnTo>
                      <a:lnTo>
                        <a:pt x="409" y="152"/>
                      </a:lnTo>
                      <a:lnTo>
                        <a:pt x="406" y="151"/>
                      </a:lnTo>
                      <a:lnTo>
                        <a:pt x="403" y="151"/>
                      </a:lnTo>
                      <a:lnTo>
                        <a:pt x="398" y="149"/>
                      </a:lnTo>
                      <a:lnTo>
                        <a:pt x="393" y="146"/>
                      </a:lnTo>
                      <a:lnTo>
                        <a:pt x="390" y="146"/>
                      </a:lnTo>
                      <a:lnTo>
                        <a:pt x="383" y="147"/>
                      </a:lnTo>
                      <a:lnTo>
                        <a:pt x="380" y="151"/>
                      </a:lnTo>
                      <a:lnTo>
                        <a:pt x="378" y="154"/>
                      </a:lnTo>
                      <a:lnTo>
                        <a:pt x="378" y="160"/>
                      </a:lnTo>
                      <a:lnTo>
                        <a:pt x="378" y="164"/>
                      </a:lnTo>
                      <a:lnTo>
                        <a:pt x="378" y="165"/>
                      </a:lnTo>
                      <a:lnTo>
                        <a:pt x="385" y="170"/>
                      </a:lnTo>
                      <a:lnTo>
                        <a:pt x="392" y="175"/>
                      </a:lnTo>
                      <a:lnTo>
                        <a:pt x="392" y="177"/>
                      </a:lnTo>
                      <a:lnTo>
                        <a:pt x="390" y="180"/>
                      </a:lnTo>
                      <a:lnTo>
                        <a:pt x="388" y="183"/>
                      </a:lnTo>
                      <a:lnTo>
                        <a:pt x="380" y="191"/>
                      </a:lnTo>
                      <a:lnTo>
                        <a:pt x="377" y="198"/>
                      </a:lnTo>
                      <a:lnTo>
                        <a:pt x="375" y="203"/>
                      </a:lnTo>
                      <a:lnTo>
                        <a:pt x="372" y="203"/>
                      </a:lnTo>
                      <a:lnTo>
                        <a:pt x="367" y="205"/>
                      </a:lnTo>
                      <a:lnTo>
                        <a:pt x="364" y="205"/>
                      </a:lnTo>
                      <a:lnTo>
                        <a:pt x="359" y="208"/>
                      </a:lnTo>
                      <a:lnTo>
                        <a:pt x="354" y="211"/>
                      </a:lnTo>
                      <a:lnTo>
                        <a:pt x="351" y="211"/>
                      </a:lnTo>
                      <a:lnTo>
                        <a:pt x="344" y="213"/>
                      </a:lnTo>
                      <a:lnTo>
                        <a:pt x="339" y="214"/>
                      </a:lnTo>
                      <a:lnTo>
                        <a:pt x="334" y="216"/>
                      </a:lnTo>
                      <a:lnTo>
                        <a:pt x="323" y="219"/>
                      </a:lnTo>
                      <a:lnTo>
                        <a:pt x="313" y="222"/>
                      </a:lnTo>
                      <a:lnTo>
                        <a:pt x="310" y="227"/>
                      </a:lnTo>
                      <a:lnTo>
                        <a:pt x="303" y="232"/>
                      </a:lnTo>
                      <a:lnTo>
                        <a:pt x="300" y="236"/>
                      </a:lnTo>
                      <a:lnTo>
                        <a:pt x="295" y="236"/>
                      </a:lnTo>
                      <a:lnTo>
                        <a:pt x="292" y="234"/>
                      </a:lnTo>
                      <a:lnTo>
                        <a:pt x="292" y="232"/>
                      </a:lnTo>
                      <a:lnTo>
                        <a:pt x="290" y="231"/>
                      </a:lnTo>
                      <a:lnTo>
                        <a:pt x="284" y="232"/>
                      </a:lnTo>
                      <a:lnTo>
                        <a:pt x="279" y="232"/>
                      </a:lnTo>
                      <a:lnTo>
                        <a:pt x="272" y="229"/>
                      </a:lnTo>
                      <a:lnTo>
                        <a:pt x="269" y="229"/>
                      </a:lnTo>
                      <a:lnTo>
                        <a:pt x="258" y="226"/>
                      </a:lnTo>
                      <a:lnTo>
                        <a:pt x="248" y="221"/>
                      </a:lnTo>
                      <a:lnTo>
                        <a:pt x="243" y="216"/>
                      </a:lnTo>
                      <a:lnTo>
                        <a:pt x="240" y="216"/>
                      </a:lnTo>
                      <a:lnTo>
                        <a:pt x="228" y="214"/>
                      </a:lnTo>
                      <a:lnTo>
                        <a:pt x="218" y="214"/>
                      </a:lnTo>
                      <a:lnTo>
                        <a:pt x="215" y="214"/>
                      </a:lnTo>
                      <a:lnTo>
                        <a:pt x="213" y="214"/>
                      </a:lnTo>
                      <a:lnTo>
                        <a:pt x="213" y="218"/>
                      </a:lnTo>
                      <a:lnTo>
                        <a:pt x="207" y="219"/>
                      </a:lnTo>
                      <a:lnTo>
                        <a:pt x="200" y="219"/>
                      </a:lnTo>
                      <a:lnTo>
                        <a:pt x="187" y="219"/>
                      </a:lnTo>
                      <a:lnTo>
                        <a:pt x="178" y="219"/>
                      </a:lnTo>
                      <a:lnTo>
                        <a:pt x="169" y="219"/>
                      </a:lnTo>
                      <a:lnTo>
                        <a:pt x="164" y="219"/>
                      </a:lnTo>
                      <a:lnTo>
                        <a:pt x="161" y="219"/>
                      </a:lnTo>
                      <a:lnTo>
                        <a:pt x="158" y="219"/>
                      </a:lnTo>
                      <a:lnTo>
                        <a:pt x="155" y="211"/>
                      </a:lnTo>
                      <a:lnTo>
                        <a:pt x="153" y="208"/>
                      </a:lnTo>
                      <a:lnTo>
                        <a:pt x="150" y="203"/>
                      </a:lnTo>
                      <a:lnTo>
                        <a:pt x="147" y="200"/>
                      </a:lnTo>
                      <a:lnTo>
                        <a:pt x="145" y="195"/>
                      </a:lnTo>
                      <a:lnTo>
                        <a:pt x="145" y="193"/>
                      </a:lnTo>
                      <a:lnTo>
                        <a:pt x="143" y="190"/>
                      </a:lnTo>
                      <a:lnTo>
                        <a:pt x="140" y="190"/>
                      </a:lnTo>
                      <a:lnTo>
                        <a:pt x="138" y="190"/>
                      </a:lnTo>
                      <a:lnTo>
                        <a:pt x="138" y="188"/>
                      </a:lnTo>
                      <a:lnTo>
                        <a:pt x="137" y="185"/>
                      </a:lnTo>
                      <a:lnTo>
                        <a:pt x="137" y="185"/>
                      </a:lnTo>
                      <a:lnTo>
                        <a:pt x="135" y="185"/>
                      </a:lnTo>
                      <a:lnTo>
                        <a:pt x="130" y="185"/>
                      </a:lnTo>
                      <a:lnTo>
                        <a:pt x="127" y="182"/>
                      </a:lnTo>
                      <a:lnTo>
                        <a:pt x="120" y="178"/>
                      </a:lnTo>
                      <a:lnTo>
                        <a:pt x="119" y="178"/>
                      </a:lnTo>
                      <a:lnTo>
                        <a:pt x="117" y="178"/>
                      </a:lnTo>
                      <a:lnTo>
                        <a:pt x="116" y="177"/>
                      </a:lnTo>
                      <a:lnTo>
                        <a:pt x="114" y="175"/>
                      </a:lnTo>
                      <a:lnTo>
                        <a:pt x="109" y="172"/>
                      </a:lnTo>
                      <a:lnTo>
                        <a:pt x="98" y="170"/>
                      </a:lnTo>
                      <a:lnTo>
                        <a:pt x="96" y="170"/>
                      </a:lnTo>
                      <a:lnTo>
                        <a:pt x="96" y="172"/>
                      </a:lnTo>
                      <a:lnTo>
                        <a:pt x="91" y="172"/>
                      </a:lnTo>
                      <a:lnTo>
                        <a:pt x="84" y="172"/>
                      </a:lnTo>
                      <a:lnTo>
                        <a:pt x="68" y="169"/>
                      </a:lnTo>
                      <a:lnTo>
                        <a:pt x="65" y="167"/>
                      </a:lnTo>
                      <a:lnTo>
                        <a:pt x="62" y="160"/>
                      </a:lnTo>
                      <a:lnTo>
                        <a:pt x="62" y="159"/>
                      </a:lnTo>
                      <a:lnTo>
                        <a:pt x="62" y="155"/>
                      </a:lnTo>
                      <a:lnTo>
                        <a:pt x="62" y="154"/>
                      </a:lnTo>
                      <a:lnTo>
                        <a:pt x="65" y="152"/>
                      </a:lnTo>
                      <a:lnTo>
                        <a:pt x="65" y="149"/>
                      </a:lnTo>
                      <a:lnTo>
                        <a:pt x="63" y="147"/>
                      </a:lnTo>
                      <a:lnTo>
                        <a:pt x="63" y="144"/>
                      </a:lnTo>
                      <a:lnTo>
                        <a:pt x="63" y="141"/>
                      </a:lnTo>
                      <a:lnTo>
                        <a:pt x="63" y="138"/>
                      </a:lnTo>
                      <a:lnTo>
                        <a:pt x="62" y="136"/>
                      </a:lnTo>
                      <a:lnTo>
                        <a:pt x="60" y="133"/>
                      </a:lnTo>
                      <a:lnTo>
                        <a:pt x="58" y="131"/>
                      </a:lnTo>
                      <a:lnTo>
                        <a:pt x="55" y="129"/>
                      </a:lnTo>
                      <a:lnTo>
                        <a:pt x="53" y="126"/>
                      </a:lnTo>
                      <a:lnTo>
                        <a:pt x="52" y="124"/>
                      </a:lnTo>
                      <a:lnTo>
                        <a:pt x="52" y="121"/>
                      </a:lnTo>
                      <a:lnTo>
                        <a:pt x="52" y="118"/>
                      </a:lnTo>
                      <a:lnTo>
                        <a:pt x="50" y="116"/>
                      </a:lnTo>
                      <a:lnTo>
                        <a:pt x="47" y="113"/>
                      </a:lnTo>
                      <a:lnTo>
                        <a:pt x="45" y="113"/>
                      </a:lnTo>
                      <a:lnTo>
                        <a:pt x="44" y="111"/>
                      </a:lnTo>
                      <a:lnTo>
                        <a:pt x="40" y="110"/>
                      </a:lnTo>
                      <a:lnTo>
                        <a:pt x="39" y="110"/>
                      </a:lnTo>
                      <a:lnTo>
                        <a:pt x="37" y="111"/>
                      </a:lnTo>
                      <a:lnTo>
                        <a:pt x="35" y="113"/>
                      </a:lnTo>
                      <a:lnTo>
                        <a:pt x="34" y="111"/>
                      </a:lnTo>
                      <a:lnTo>
                        <a:pt x="31" y="110"/>
                      </a:lnTo>
                      <a:lnTo>
                        <a:pt x="31" y="108"/>
                      </a:lnTo>
                      <a:lnTo>
                        <a:pt x="27" y="108"/>
                      </a:lnTo>
                      <a:lnTo>
                        <a:pt x="24" y="110"/>
                      </a:lnTo>
                      <a:lnTo>
                        <a:pt x="22" y="110"/>
                      </a:lnTo>
                      <a:lnTo>
                        <a:pt x="22" y="113"/>
                      </a:lnTo>
                      <a:lnTo>
                        <a:pt x="21" y="113"/>
                      </a:lnTo>
                      <a:lnTo>
                        <a:pt x="18" y="110"/>
                      </a:lnTo>
                      <a:lnTo>
                        <a:pt x="18" y="108"/>
                      </a:lnTo>
                      <a:lnTo>
                        <a:pt x="18" y="106"/>
                      </a:lnTo>
                      <a:lnTo>
                        <a:pt x="14" y="105"/>
                      </a:lnTo>
                      <a:lnTo>
                        <a:pt x="11" y="102"/>
                      </a:lnTo>
                      <a:lnTo>
                        <a:pt x="9" y="100"/>
                      </a:lnTo>
                      <a:lnTo>
                        <a:pt x="8" y="98"/>
                      </a:lnTo>
                      <a:lnTo>
                        <a:pt x="6" y="97"/>
                      </a:lnTo>
                      <a:lnTo>
                        <a:pt x="4" y="95"/>
                      </a:lnTo>
                      <a:lnTo>
                        <a:pt x="4" y="93"/>
                      </a:lnTo>
                      <a:lnTo>
                        <a:pt x="4" y="92"/>
                      </a:lnTo>
                      <a:lnTo>
                        <a:pt x="3" y="92"/>
                      </a:lnTo>
                      <a:lnTo>
                        <a:pt x="3" y="92"/>
                      </a:lnTo>
                      <a:lnTo>
                        <a:pt x="3" y="93"/>
                      </a:lnTo>
                      <a:lnTo>
                        <a:pt x="1" y="90"/>
                      </a:lnTo>
                      <a:lnTo>
                        <a:pt x="0" y="90"/>
                      </a:lnTo>
                      <a:lnTo>
                        <a:pt x="0" y="85"/>
                      </a:lnTo>
                      <a:lnTo>
                        <a:pt x="0" y="8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4" name="Freeform 163">
                  <a:extLst>
                    <a:ext uri="{FF2B5EF4-FFF2-40B4-BE49-F238E27FC236}">
                      <a16:creationId xmlns:a16="http://schemas.microsoft.com/office/drawing/2014/main" xmlns="" id="{4497F70F-E4F7-41DD-B215-70FB35968E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2" y="1010"/>
                  <a:ext cx="601" cy="322"/>
                </a:xfrm>
                <a:custGeom>
                  <a:avLst/>
                  <a:gdLst>
                    <a:gd name="T0" fmla="*/ 15 w 601"/>
                    <a:gd name="T1" fmla="*/ 188 h 322"/>
                    <a:gd name="T2" fmla="*/ 2 w 601"/>
                    <a:gd name="T3" fmla="*/ 150 h 322"/>
                    <a:gd name="T4" fmla="*/ 29 w 601"/>
                    <a:gd name="T5" fmla="*/ 144 h 322"/>
                    <a:gd name="T6" fmla="*/ 42 w 601"/>
                    <a:gd name="T7" fmla="*/ 116 h 322"/>
                    <a:gd name="T8" fmla="*/ 59 w 601"/>
                    <a:gd name="T9" fmla="*/ 109 h 322"/>
                    <a:gd name="T10" fmla="*/ 70 w 601"/>
                    <a:gd name="T11" fmla="*/ 106 h 322"/>
                    <a:gd name="T12" fmla="*/ 96 w 601"/>
                    <a:gd name="T13" fmla="*/ 116 h 322"/>
                    <a:gd name="T14" fmla="*/ 114 w 601"/>
                    <a:gd name="T15" fmla="*/ 121 h 322"/>
                    <a:gd name="T16" fmla="*/ 137 w 601"/>
                    <a:gd name="T17" fmla="*/ 116 h 322"/>
                    <a:gd name="T18" fmla="*/ 158 w 601"/>
                    <a:gd name="T19" fmla="*/ 114 h 322"/>
                    <a:gd name="T20" fmla="*/ 173 w 601"/>
                    <a:gd name="T21" fmla="*/ 122 h 322"/>
                    <a:gd name="T22" fmla="*/ 203 w 601"/>
                    <a:gd name="T23" fmla="*/ 122 h 322"/>
                    <a:gd name="T24" fmla="*/ 193 w 601"/>
                    <a:gd name="T25" fmla="*/ 96 h 322"/>
                    <a:gd name="T26" fmla="*/ 191 w 601"/>
                    <a:gd name="T27" fmla="*/ 80 h 322"/>
                    <a:gd name="T28" fmla="*/ 204 w 601"/>
                    <a:gd name="T29" fmla="*/ 60 h 322"/>
                    <a:gd name="T30" fmla="*/ 193 w 601"/>
                    <a:gd name="T31" fmla="*/ 54 h 322"/>
                    <a:gd name="T32" fmla="*/ 203 w 601"/>
                    <a:gd name="T33" fmla="*/ 46 h 322"/>
                    <a:gd name="T34" fmla="*/ 220 w 601"/>
                    <a:gd name="T35" fmla="*/ 39 h 322"/>
                    <a:gd name="T36" fmla="*/ 248 w 601"/>
                    <a:gd name="T37" fmla="*/ 31 h 322"/>
                    <a:gd name="T38" fmla="*/ 265 w 601"/>
                    <a:gd name="T39" fmla="*/ 21 h 322"/>
                    <a:gd name="T40" fmla="*/ 289 w 601"/>
                    <a:gd name="T41" fmla="*/ 8 h 322"/>
                    <a:gd name="T42" fmla="*/ 310 w 601"/>
                    <a:gd name="T43" fmla="*/ 0 h 322"/>
                    <a:gd name="T44" fmla="*/ 333 w 601"/>
                    <a:gd name="T45" fmla="*/ 14 h 322"/>
                    <a:gd name="T46" fmla="*/ 340 w 601"/>
                    <a:gd name="T47" fmla="*/ 28 h 322"/>
                    <a:gd name="T48" fmla="*/ 353 w 601"/>
                    <a:gd name="T49" fmla="*/ 24 h 322"/>
                    <a:gd name="T50" fmla="*/ 367 w 601"/>
                    <a:gd name="T51" fmla="*/ 31 h 322"/>
                    <a:gd name="T52" fmla="*/ 379 w 601"/>
                    <a:gd name="T53" fmla="*/ 37 h 322"/>
                    <a:gd name="T54" fmla="*/ 402 w 601"/>
                    <a:gd name="T55" fmla="*/ 28 h 322"/>
                    <a:gd name="T56" fmla="*/ 418 w 601"/>
                    <a:gd name="T57" fmla="*/ 23 h 322"/>
                    <a:gd name="T58" fmla="*/ 490 w 601"/>
                    <a:gd name="T59" fmla="*/ 88 h 322"/>
                    <a:gd name="T60" fmla="*/ 510 w 601"/>
                    <a:gd name="T61" fmla="*/ 95 h 322"/>
                    <a:gd name="T62" fmla="*/ 534 w 601"/>
                    <a:gd name="T63" fmla="*/ 90 h 322"/>
                    <a:gd name="T64" fmla="*/ 560 w 601"/>
                    <a:gd name="T65" fmla="*/ 108 h 322"/>
                    <a:gd name="T66" fmla="*/ 570 w 601"/>
                    <a:gd name="T67" fmla="*/ 121 h 322"/>
                    <a:gd name="T68" fmla="*/ 590 w 601"/>
                    <a:gd name="T69" fmla="*/ 119 h 322"/>
                    <a:gd name="T70" fmla="*/ 593 w 601"/>
                    <a:gd name="T71" fmla="*/ 139 h 322"/>
                    <a:gd name="T72" fmla="*/ 585 w 601"/>
                    <a:gd name="T73" fmla="*/ 175 h 322"/>
                    <a:gd name="T74" fmla="*/ 555 w 601"/>
                    <a:gd name="T75" fmla="*/ 176 h 322"/>
                    <a:gd name="T76" fmla="*/ 545 w 601"/>
                    <a:gd name="T77" fmla="*/ 212 h 322"/>
                    <a:gd name="T78" fmla="*/ 534 w 601"/>
                    <a:gd name="T79" fmla="*/ 220 h 322"/>
                    <a:gd name="T80" fmla="*/ 519 w 601"/>
                    <a:gd name="T81" fmla="*/ 230 h 322"/>
                    <a:gd name="T82" fmla="*/ 528 w 601"/>
                    <a:gd name="T83" fmla="*/ 256 h 322"/>
                    <a:gd name="T84" fmla="*/ 528 w 601"/>
                    <a:gd name="T85" fmla="*/ 281 h 322"/>
                    <a:gd name="T86" fmla="*/ 470 w 601"/>
                    <a:gd name="T87" fmla="*/ 273 h 322"/>
                    <a:gd name="T88" fmla="*/ 433 w 601"/>
                    <a:gd name="T89" fmla="*/ 271 h 322"/>
                    <a:gd name="T90" fmla="*/ 399 w 601"/>
                    <a:gd name="T91" fmla="*/ 282 h 322"/>
                    <a:gd name="T92" fmla="*/ 379 w 601"/>
                    <a:gd name="T93" fmla="*/ 296 h 322"/>
                    <a:gd name="T94" fmla="*/ 340 w 601"/>
                    <a:gd name="T95" fmla="*/ 317 h 322"/>
                    <a:gd name="T96" fmla="*/ 268 w 601"/>
                    <a:gd name="T97" fmla="*/ 263 h 322"/>
                    <a:gd name="T98" fmla="*/ 149 w 601"/>
                    <a:gd name="T99" fmla="*/ 310 h 322"/>
                    <a:gd name="T100" fmla="*/ 111 w 601"/>
                    <a:gd name="T101" fmla="*/ 296 h 322"/>
                    <a:gd name="T102" fmla="*/ 95 w 601"/>
                    <a:gd name="T103" fmla="*/ 289 h 322"/>
                    <a:gd name="T104" fmla="*/ 82 w 601"/>
                    <a:gd name="T105" fmla="*/ 271 h 322"/>
                    <a:gd name="T106" fmla="*/ 70 w 601"/>
                    <a:gd name="T107" fmla="*/ 258 h 322"/>
                    <a:gd name="T108" fmla="*/ 88 w 601"/>
                    <a:gd name="T109" fmla="*/ 256 h 322"/>
                    <a:gd name="T110" fmla="*/ 80 w 601"/>
                    <a:gd name="T111" fmla="*/ 242 h 322"/>
                    <a:gd name="T112" fmla="*/ 101 w 601"/>
                    <a:gd name="T113" fmla="*/ 238 h 322"/>
                    <a:gd name="T114" fmla="*/ 106 w 601"/>
                    <a:gd name="T115" fmla="*/ 229 h 322"/>
                    <a:gd name="T116" fmla="*/ 105 w 601"/>
                    <a:gd name="T117" fmla="*/ 211 h 322"/>
                    <a:gd name="T118" fmla="*/ 90 w 601"/>
                    <a:gd name="T119" fmla="*/ 207 h 322"/>
                    <a:gd name="T120" fmla="*/ 80 w 601"/>
                    <a:gd name="T121" fmla="*/ 204 h 322"/>
                    <a:gd name="T122" fmla="*/ 65 w 601"/>
                    <a:gd name="T123" fmla="*/ 207 h 322"/>
                    <a:gd name="T124" fmla="*/ 52 w 601"/>
                    <a:gd name="T125" fmla="*/ 215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01" h="322">
                      <a:moveTo>
                        <a:pt x="46" y="215"/>
                      </a:moveTo>
                      <a:lnTo>
                        <a:pt x="42" y="214"/>
                      </a:lnTo>
                      <a:lnTo>
                        <a:pt x="39" y="215"/>
                      </a:lnTo>
                      <a:lnTo>
                        <a:pt x="33" y="211"/>
                      </a:lnTo>
                      <a:lnTo>
                        <a:pt x="33" y="209"/>
                      </a:lnTo>
                      <a:lnTo>
                        <a:pt x="39" y="209"/>
                      </a:lnTo>
                      <a:lnTo>
                        <a:pt x="33" y="197"/>
                      </a:lnTo>
                      <a:lnTo>
                        <a:pt x="25" y="191"/>
                      </a:lnTo>
                      <a:lnTo>
                        <a:pt x="15" y="188"/>
                      </a:lnTo>
                      <a:lnTo>
                        <a:pt x="13" y="189"/>
                      </a:lnTo>
                      <a:lnTo>
                        <a:pt x="8" y="186"/>
                      </a:lnTo>
                      <a:lnTo>
                        <a:pt x="10" y="183"/>
                      </a:lnTo>
                      <a:lnTo>
                        <a:pt x="7" y="178"/>
                      </a:lnTo>
                      <a:lnTo>
                        <a:pt x="0" y="176"/>
                      </a:lnTo>
                      <a:lnTo>
                        <a:pt x="3" y="170"/>
                      </a:lnTo>
                      <a:lnTo>
                        <a:pt x="5" y="160"/>
                      </a:lnTo>
                      <a:lnTo>
                        <a:pt x="2" y="158"/>
                      </a:lnTo>
                      <a:lnTo>
                        <a:pt x="2" y="150"/>
                      </a:lnTo>
                      <a:lnTo>
                        <a:pt x="5" y="148"/>
                      </a:lnTo>
                      <a:lnTo>
                        <a:pt x="8" y="144"/>
                      </a:lnTo>
                      <a:lnTo>
                        <a:pt x="8" y="139"/>
                      </a:lnTo>
                      <a:lnTo>
                        <a:pt x="10" y="135"/>
                      </a:lnTo>
                      <a:lnTo>
                        <a:pt x="20" y="144"/>
                      </a:lnTo>
                      <a:lnTo>
                        <a:pt x="20" y="147"/>
                      </a:lnTo>
                      <a:lnTo>
                        <a:pt x="25" y="150"/>
                      </a:lnTo>
                      <a:lnTo>
                        <a:pt x="29" y="148"/>
                      </a:lnTo>
                      <a:lnTo>
                        <a:pt x="29" y="144"/>
                      </a:lnTo>
                      <a:lnTo>
                        <a:pt x="31" y="142"/>
                      </a:lnTo>
                      <a:lnTo>
                        <a:pt x="28" y="129"/>
                      </a:lnTo>
                      <a:lnTo>
                        <a:pt x="33" y="129"/>
                      </a:lnTo>
                      <a:lnTo>
                        <a:pt x="38" y="129"/>
                      </a:lnTo>
                      <a:lnTo>
                        <a:pt x="38" y="126"/>
                      </a:lnTo>
                      <a:lnTo>
                        <a:pt x="36" y="122"/>
                      </a:lnTo>
                      <a:lnTo>
                        <a:pt x="36" y="119"/>
                      </a:lnTo>
                      <a:lnTo>
                        <a:pt x="41" y="116"/>
                      </a:lnTo>
                      <a:lnTo>
                        <a:pt x="42" y="116"/>
                      </a:lnTo>
                      <a:lnTo>
                        <a:pt x="44" y="111"/>
                      </a:lnTo>
                      <a:lnTo>
                        <a:pt x="47" y="109"/>
                      </a:lnTo>
                      <a:lnTo>
                        <a:pt x="51" y="111"/>
                      </a:lnTo>
                      <a:lnTo>
                        <a:pt x="51" y="108"/>
                      </a:lnTo>
                      <a:lnTo>
                        <a:pt x="51" y="104"/>
                      </a:lnTo>
                      <a:lnTo>
                        <a:pt x="51" y="103"/>
                      </a:lnTo>
                      <a:lnTo>
                        <a:pt x="56" y="104"/>
                      </a:lnTo>
                      <a:lnTo>
                        <a:pt x="59" y="106"/>
                      </a:lnTo>
                      <a:lnTo>
                        <a:pt x="59" y="109"/>
                      </a:lnTo>
                      <a:lnTo>
                        <a:pt x="57" y="111"/>
                      </a:lnTo>
                      <a:lnTo>
                        <a:pt x="59" y="113"/>
                      </a:lnTo>
                      <a:lnTo>
                        <a:pt x="60" y="111"/>
                      </a:lnTo>
                      <a:lnTo>
                        <a:pt x="62" y="109"/>
                      </a:lnTo>
                      <a:lnTo>
                        <a:pt x="64" y="108"/>
                      </a:lnTo>
                      <a:lnTo>
                        <a:pt x="64" y="111"/>
                      </a:lnTo>
                      <a:lnTo>
                        <a:pt x="67" y="108"/>
                      </a:lnTo>
                      <a:lnTo>
                        <a:pt x="67" y="106"/>
                      </a:lnTo>
                      <a:lnTo>
                        <a:pt x="70" y="106"/>
                      </a:lnTo>
                      <a:lnTo>
                        <a:pt x="73" y="103"/>
                      </a:lnTo>
                      <a:lnTo>
                        <a:pt x="75" y="103"/>
                      </a:lnTo>
                      <a:lnTo>
                        <a:pt x="78" y="108"/>
                      </a:lnTo>
                      <a:lnTo>
                        <a:pt x="82" y="109"/>
                      </a:lnTo>
                      <a:lnTo>
                        <a:pt x="87" y="108"/>
                      </a:lnTo>
                      <a:lnTo>
                        <a:pt x="90" y="108"/>
                      </a:lnTo>
                      <a:lnTo>
                        <a:pt x="91" y="111"/>
                      </a:lnTo>
                      <a:lnTo>
                        <a:pt x="93" y="111"/>
                      </a:lnTo>
                      <a:lnTo>
                        <a:pt x="96" y="116"/>
                      </a:lnTo>
                      <a:lnTo>
                        <a:pt x="100" y="116"/>
                      </a:lnTo>
                      <a:lnTo>
                        <a:pt x="101" y="119"/>
                      </a:lnTo>
                      <a:lnTo>
                        <a:pt x="106" y="122"/>
                      </a:lnTo>
                      <a:lnTo>
                        <a:pt x="109" y="122"/>
                      </a:lnTo>
                      <a:lnTo>
                        <a:pt x="109" y="124"/>
                      </a:lnTo>
                      <a:lnTo>
                        <a:pt x="111" y="127"/>
                      </a:lnTo>
                      <a:lnTo>
                        <a:pt x="113" y="129"/>
                      </a:lnTo>
                      <a:lnTo>
                        <a:pt x="114" y="126"/>
                      </a:lnTo>
                      <a:lnTo>
                        <a:pt x="114" y="121"/>
                      </a:lnTo>
                      <a:lnTo>
                        <a:pt x="118" y="119"/>
                      </a:lnTo>
                      <a:lnTo>
                        <a:pt x="119" y="122"/>
                      </a:lnTo>
                      <a:lnTo>
                        <a:pt x="126" y="124"/>
                      </a:lnTo>
                      <a:lnTo>
                        <a:pt x="127" y="127"/>
                      </a:lnTo>
                      <a:lnTo>
                        <a:pt x="129" y="127"/>
                      </a:lnTo>
                      <a:lnTo>
                        <a:pt x="134" y="124"/>
                      </a:lnTo>
                      <a:lnTo>
                        <a:pt x="134" y="119"/>
                      </a:lnTo>
                      <a:lnTo>
                        <a:pt x="137" y="117"/>
                      </a:lnTo>
                      <a:lnTo>
                        <a:pt x="137" y="116"/>
                      </a:lnTo>
                      <a:lnTo>
                        <a:pt x="140" y="114"/>
                      </a:lnTo>
                      <a:lnTo>
                        <a:pt x="142" y="117"/>
                      </a:lnTo>
                      <a:lnTo>
                        <a:pt x="144" y="114"/>
                      </a:lnTo>
                      <a:lnTo>
                        <a:pt x="147" y="114"/>
                      </a:lnTo>
                      <a:lnTo>
                        <a:pt x="152" y="117"/>
                      </a:lnTo>
                      <a:lnTo>
                        <a:pt x="152" y="119"/>
                      </a:lnTo>
                      <a:lnTo>
                        <a:pt x="157" y="119"/>
                      </a:lnTo>
                      <a:lnTo>
                        <a:pt x="157" y="116"/>
                      </a:lnTo>
                      <a:lnTo>
                        <a:pt x="158" y="114"/>
                      </a:lnTo>
                      <a:lnTo>
                        <a:pt x="162" y="114"/>
                      </a:lnTo>
                      <a:lnTo>
                        <a:pt x="163" y="113"/>
                      </a:lnTo>
                      <a:lnTo>
                        <a:pt x="168" y="114"/>
                      </a:lnTo>
                      <a:lnTo>
                        <a:pt x="170" y="116"/>
                      </a:lnTo>
                      <a:lnTo>
                        <a:pt x="168" y="117"/>
                      </a:lnTo>
                      <a:lnTo>
                        <a:pt x="167" y="119"/>
                      </a:lnTo>
                      <a:lnTo>
                        <a:pt x="170" y="122"/>
                      </a:lnTo>
                      <a:lnTo>
                        <a:pt x="171" y="124"/>
                      </a:lnTo>
                      <a:lnTo>
                        <a:pt x="173" y="122"/>
                      </a:lnTo>
                      <a:lnTo>
                        <a:pt x="176" y="124"/>
                      </a:lnTo>
                      <a:lnTo>
                        <a:pt x="181" y="124"/>
                      </a:lnTo>
                      <a:lnTo>
                        <a:pt x="186" y="127"/>
                      </a:lnTo>
                      <a:lnTo>
                        <a:pt x="189" y="127"/>
                      </a:lnTo>
                      <a:lnTo>
                        <a:pt x="191" y="122"/>
                      </a:lnTo>
                      <a:lnTo>
                        <a:pt x="191" y="121"/>
                      </a:lnTo>
                      <a:lnTo>
                        <a:pt x="193" y="119"/>
                      </a:lnTo>
                      <a:lnTo>
                        <a:pt x="198" y="121"/>
                      </a:lnTo>
                      <a:lnTo>
                        <a:pt x="203" y="122"/>
                      </a:lnTo>
                      <a:lnTo>
                        <a:pt x="207" y="121"/>
                      </a:lnTo>
                      <a:lnTo>
                        <a:pt x="209" y="117"/>
                      </a:lnTo>
                      <a:lnTo>
                        <a:pt x="209" y="104"/>
                      </a:lnTo>
                      <a:lnTo>
                        <a:pt x="207" y="103"/>
                      </a:lnTo>
                      <a:lnTo>
                        <a:pt x="203" y="103"/>
                      </a:lnTo>
                      <a:lnTo>
                        <a:pt x="199" y="101"/>
                      </a:lnTo>
                      <a:lnTo>
                        <a:pt x="199" y="99"/>
                      </a:lnTo>
                      <a:lnTo>
                        <a:pt x="196" y="98"/>
                      </a:lnTo>
                      <a:lnTo>
                        <a:pt x="193" y="96"/>
                      </a:lnTo>
                      <a:lnTo>
                        <a:pt x="189" y="96"/>
                      </a:lnTo>
                      <a:lnTo>
                        <a:pt x="189" y="95"/>
                      </a:lnTo>
                      <a:lnTo>
                        <a:pt x="188" y="93"/>
                      </a:lnTo>
                      <a:lnTo>
                        <a:pt x="188" y="91"/>
                      </a:lnTo>
                      <a:lnTo>
                        <a:pt x="191" y="90"/>
                      </a:lnTo>
                      <a:lnTo>
                        <a:pt x="193" y="86"/>
                      </a:lnTo>
                      <a:lnTo>
                        <a:pt x="194" y="83"/>
                      </a:lnTo>
                      <a:lnTo>
                        <a:pt x="194" y="80"/>
                      </a:lnTo>
                      <a:lnTo>
                        <a:pt x="191" y="80"/>
                      </a:lnTo>
                      <a:lnTo>
                        <a:pt x="191" y="77"/>
                      </a:lnTo>
                      <a:lnTo>
                        <a:pt x="194" y="72"/>
                      </a:lnTo>
                      <a:lnTo>
                        <a:pt x="198" y="68"/>
                      </a:lnTo>
                      <a:lnTo>
                        <a:pt x="204" y="67"/>
                      </a:lnTo>
                      <a:lnTo>
                        <a:pt x="207" y="68"/>
                      </a:lnTo>
                      <a:lnTo>
                        <a:pt x="209" y="67"/>
                      </a:lnTo>
                      <a:lnTo>
                        <a:pt x="209" y="64"/>
                      </a:lnTo>
                      <a:lnTo>
                        <a:pt x="206" y="62"/>
                      </a:lnTo>
                      <a:lnTo>
                        <a:pt x="204" y="60"/>
                      </a:lnTo>
                      <a:lnTo>
                        <a:pt x="201" y="60"/>
                      </a:lnTo>
                      <a:lnTo>
                        <a:pt x="199" y="62"/>
                      </a:lnTo>
                      <a:lnTo>
                        <a:pt x="196" y="60"/>
                      </a:lnTo>
                      <a:lnTo>
                        <a:pt x="193" y="60"/>
                      </a:lnTo>
                      <a:lnTo>
                        <a:pt x="191" y="59"/>
                      </a:lnTo>
                      <a:lnTo>
                        <a:pt x="193" y="57"/>
                      </a:lnTo>
                      <a:lnTo>
                        <a:pt x="198" y="57"/>
                      </a:lnTo>
                      <a:lnTo>
                        <a:pt x="196" y="54"/>
                      </a:lnTo>
                      <a:lnTo>
                        <a:pt x="193" y="54"/>
                      </a:lnTo>
                      <a:lnTo>
                        <a:pt x="189" y="52"/>
                      </a:lnTo>
                      <a:lnTo>
                        <a:pt x="191" y="50"/>
                      </a:lnTo>
                      <a:lnTo>
                        <a:pt x="189" y="47"/>
                      </a:lnTo>
                      <a:lnTo>
                        <a:pt x="189" y="46"/>
                      </a:lnTo>
                      <a:lnTo>
                        <a:pt x="194" y="46"/>
                      </a:lnTo>
                      <a:lnTo>
                        <a:pt x="196" y="44"/>
                      </a:lnTo>
                      <a:lnTo>
                        <a:pt x="198" y="44"/>
                      </a:lnTo>
                      <a:lnTo>
                        <a:pt x="199" y="46"/>
                      </a:lnTo>
                      <a:lnTo>
                        <a:pt x="203" y="46"/>
                      </a:lnTo>
                      <a:lnTo>
                        <a:pt x="206" y="47"/>
                      </a:lnTo>
                      <a:lnTo>
                        <a:pt x="206" y="46"/>
                      </a:lnTo>
                      <a:lnTo>
                        <a:pt x="206" y="44"/>
                      </a:lnTo>
                      <a:lnTo>
                        <a:pt x="209" y="42"/>
                      </a:lnTo>
                      <a:lnTo>
                        <a:pt x="212" y="42"/>
                      </a:lnTo>
                      <a:lnTo>
                        <a:pt x="214" y="46"/>
                      </a:lnTo>
                      <a:lnTo>
                        <a:pt x="216" y="44"/>
                      </a:lnTo>
                      <a:lnTo>
                        <a:pt x="216" y="41"/>
                      </a:lnTo>
                      <a:lnTo>
                        <a:pt x="220" y="39"/>
                      </a:lnTo>
                      <a:lnTo>
                        <a:pt x="225" y="39"/>
                      </a:lnTo>
                      <a:lnTo>
                        <a:pt x="229" y="37"/>
                      </a:lnTo>
                      <a:lnTo>
                        <a:pt x="234" y="36"/>
                      </a:lnTo>
                      <a:lnTo>
                        <a:pt x="234" y="36"/>
                      </a:lnTo>
                      <a:lnTo>
                        <a:pt x="238" y="32"/>
                      </a:lnTo>
                      <a:lnTo>
                        <a:pt x="242" y="32"/>
                      </a:lnTo>
                      <a:lnTo>
                        <a:pt x="245" y="31"/>
                      </a:lnTo>
                      <a:lnTo>
                        <a:pt x="247" y="31"/>
                      </a:lnTo>
                      <a:lnTo>
                        <a:pt x="248" y="31"/>
                      </a:lnTo>
                      <a:lnTo>
                        <a:pt x="250" y="29"/>
                      </a:lnTo>
                      <a:lnTo>
                        <a:pt x="250" y="26"/>
                      </a:lnTo>
                      <a:lnTo>
                        <a:pt x="252" y="24"/>
                      </a:lnTo>
                      <a:lnTo>
                        <a:pt x="255" y="24"/>
                      </a:lnTo>
                      <a:lnTo>
                        <a:pt x="255" y="23"/>
                      </a:lnTo>
                      <a:lnTo>
                        <a:pt x="258" y="21"/>
                      </a:lnTo>
                      <a:lnTo>
                        <a:pt x="260" y="23"/>
                      </a:lnTo>
                      <a:lnTo>
                        <a:pt x="261" y="23"/>
                      </a:lnTo>
                      <a:lnTo>
                        <a:pt x="265" y="21"/>
                      </a:lnTo>
                      <a:lnTo>
                        <a:pt x="268" y="21"/>
                      </a:lnTo>
                      <a:lnTo>
                        <a:pt x="274" y="16"/>
                      </a:lnTo>
                      <a:lnTo>
                        <a:pt x="276" y="16"/>
                      </a:lnTo>
                      <a:lnTo>
                        <a:pt x="278" y="14"/>
                      </a:lnTo>
                      <a:lnTo>
                        <a:pt x="281" y="14"/>
                      </a:lnTo>
                      <a:lnTo>
                        <a:pt x="284" y="11"/>
                      </a:lnTo>
                      <a:lnTo>
                        <a:pt x="286" y="11"/>
                      </a:lnTo>
                      <a:lnTo>
                        <a:pt x="289" y="11"/>
                      </a:lnTo>
                      <a:lnTo>
                        <a:pt x="289" y="8"/>
                      </a:lnTo>
                      <a:lnTo>
                        <a:pt x="289" y="6"/>
                      </a:lnTo>
                      <a:lnTo>
                        <a:pt x="291" y="5"/>
                      </a:lnTo>
                      <a:lnTo>
                        <a:pt x="294" y="5"/>
                      </a:lnTo>
                      <a:lnTo>
                        <a:pt x="296" y="1"/>
                      </a:lnTo>
                      <a:lnTo>
                        <a:pt x="297" y="0"/>
                      </a:lnTo>
                      <a:lnTo>
                        <a:pt x="301" y="0"/>
                      </a:lnTo>
                      <a:lnTo>
                        <a:pt x="302" y="0"/>
                      </a:lnTo>
                      <a:lnTo>
                        <a:pt x="305" y="1"/>
                      </a:lnTo>
                      <a:lnTo>
                        <a:pt x="310" y="0"/>
                      </a:lnTo>
                      <a:lnTo>
                        <a:pt x="314" y="3"/>
                      </a:lnTo>
                      <a:lnTo>
                        <a:pt x="318" y="3"/>
                      </a:lnTo>
                      <a:lnTo>
                        <a:pt x="322" y="1"/>
                      </a:lnTo>
                      <a:lnTo>
                        <a:pt x="325" y="1"/>
                      </a:lnTo>
                      <a:lnTo>
                        <a:pt x="327" y="6"/>
                      </a:lnTo>
                      <a:lnTo>
                        <a:pt x="327" y="6"/>
                      </a:lnTo>
                      <a:lnTo>
                        <a:pt x="328" y="10"/>
                      </a:lnTo>
                      <a:lnTo>
                        <a:pt x="330" y="13"/>
                      </a:lnTo>
                      <a:lnTo>
                        <a:pt x="333" y="14"/>
                      </a:lnTo>
                      <a:lnTo>
                        <a:pt x="333" y="16"/>
                      </a:lnTo>
                      <a:lnTo>
                        <a:pt x="332" y="19"/>
                      </a:lnTo>
                      <a:lnTo>
                        <a:pt x="333" y="23"/>
                      </a:lnTo>
                      <a:lnTo>
                        <a:pt x="333" y="23"/>
                      </a:lnTo>
                      <a:lnTo>
                        <a:pt x="330" y="24"/>
                      </a:lnTo>
                      <a:lnTo>
                        <a:pt x="332" y="28"/>
                      </a:lnTo>
                      <a:lnTo>
                        <a:pt x="333" y="28"/>
                      </a:lnTo>
                      <a:lnTo>
                        <a:pt x="336" y="26"/>
                      </a:lnTo>
                      <a:lnTo>
                        <a:pt x="340" y="28"/>
                      </a:lnTo>
                      <a:lnTo>
                        <a:pt x="341" y="28"/>
                      </a:lnTo>
                      <a:lnTo>
                        <a:pt x="341" y="24"/>
                      </a:lnTo>
                      <a:lnTo>
                        <a:pt x="345" y="24"/>
                      </a:lnTo>
                      <a:lnTo>
                        <a:pt x="345" y="28"/>
                      </a:lnTo>
                      <a:lnTo>
                        <a:pt x="346" y="28"/>
                      </a:lnTo>
                      <a:lnTo>
                        <a:pt x="348" y="24"/>
                      </a:lnTo>
                      <a:lnTo>
                        <a:pt x="346" y="21"/>
                      </a:lnTo>
                      <a:lnTo>
                        <a:pt x="348" y="21"/>
                      </a:lnTo>
                      <a:lnTo>
                        <a:pt x="353" y="24"/>
                      </a:lnTo>
                      <a:lnTo>
                        <a:pt x="353" y="29"/>
                      </a:lnTo>
                      <a:lnTo>
                        <a:pt x="356" y="34"/>
                      </a:lnTo>
                      <a:lnTo>
                        <a:pt x="358" y="34"/>
                      </a:lnTo>
                      <a:lnTo>
                        <a:pt x="359" y="31"/>
                      </a:lnTo>
                      <a:lnTo>
                        <a:pt x="358" y="31"/>
                      </a:lnTo>
                      <a:lnTo>
                        <a:pt x="356" y="28"/>
                      </a:lnTo>
                      <a:lnTo>
                        <a:pt x="361" y="28"/>
                      </a:lnTo>
                      <a:lnTo>
                        <a:pt x="366" y="31"/>
                      </a:lnTo>
                      <a:lnTo>
                        <a:pt x="367" y="31"/>
                      </a:lnTo>
                      <a:lnTo>
                        <a:pt x="371" y="29"/>
                      </a:lnTo>
                      <a:lnTo>
                        <a:pt x="372" y="29"/>
                      </a:lnTo>
                      <a:lnTo>
                        <a:pt x="371" y="32"/>
                      </a:lnTo>
                      <a:lnTo>
                        <a:pt x="369" y="34"/>
                      </a:lnTo>
                      <a:lnTo>
                        <a:pt x="369" y="39"/>
                      </a:lnTo>
                      <a:lnTo>
                        <a:pt x="371" y="41"/>
                      </a:lnTo>
                      <a:lnTo>
                        <a:pt x="374" y="41"/>
                      </a:lnTo>
                      <a:lnTo>
                        <a:pt x="376" y="39"/>
                      </a:lnTo>
                      <a:lnTo>
                        <a:pt x="379" y="37"/>
                      </a:lnTo>
                      <a:lnTo>
                        <a:pt x="385" y="39"/>
                      </a:lnTo>
                      <a:lnTo>
                        <a:pt x="387" y="41"/>
                      </a:lnTo>
                      <a:lnTo>
                        <a:pt x="389" y="39"/>
                      </a:lnTo>
                      <a:lnTo>
                        <a:pt x="389" y="36"/>
                      </a:lnTo>
                      <a:lnTo>
                        <a:pt x="390" y="34"/>
                      </a:lnTo>
                      <a:lnTo>
                        <a:pt x="395" y="34"/>
                      </a:lnTo>
                      <a:lnTo>
                        <a:pt x="399" y="32"/>
                      </a:lnTo>
                      <a:lnTo>
                        <a:pt x="400" y="29"/>
                      </a:lnTo>
                      <a:lnTo>
                        <a:pt x="402" y="28"/>
                      </a:lnTo>
                      <a:lnTo>
                        <a:pt x="402" y="24"/>
                      </a:lnTo>
                      <a:lnTo>
                        <a:pt x="407" y="21"/>
                      </a:lnTo>
                      <a:lnTo>
                        <a:pt x="408" y="19"/>
                      </a:lnTo>
                      <a:lnTo>
                        <a:pt x="412" y="18"/>
                      </a:lnTo>
                      <a:lnTo>
                        <a:pt x="415" y="16"/>
                      </a:lnTo>
                      <a:lnTo>
                        <a:pt x="418" y="14"/>
                      </a:lnTo>
                      <a:lnTo>
                        <a:pt x="420" y="16"/>
                      </a:lnTo>
                      <a:lnTo>
                        <a:pt x="420" y="19"/>
                      </a:lnTo>
                      <a:lnTo>
                        <a:pt x="418" y="23"/>
                      </a:lnTo>
                      <a:lnTo>
                        <a:pt x="415" y="23"/>
                      </a:lnTo>
                      <a:lnTo>
                        <a:pt x="416" y="26"/>
                      </a:lnTo>
                      <a:lnTo>
                        <a:pt x="444" y="47"/>
                      </a:lnTo>
                      <a:lnTo>
                        <a:pt x="483" y="96"/>
                      </a:lnTo>
                      <a:lnTo>
                        <a:pt x="487" y="96"/>
                      </a:lnTo>
                      <a:lnTo>
                        <a:pt x="490" y="95"/>
                      </a:lnTo>
                      <a:lnTo>
                        <a:pt x="490" y="93"/>
                      </a:lnTo>
                      <a:lnTo>
                        <a:pt x="490" y="91"/>
                      </a:lnTo>
                      <a:lnTo>
                        <a:pt x="490" y="88"/>
                      </a:lnTo>
                      <a:lnTo>
                        <a:pt x="492" y="86"/>
                      </a:lnTo>
                      <a:lnTo>
                        <a:pt x="496" y="90"/>
                      </a:lnTo>
                      <a:lnTo>
                        <a:pt x="496" y="91"/>
                      </a:lnTo>
                      <a:lnTo>
                        <a:pt x="496" y="93"/>
                      </a:lnTo>
                      <a:lnTo>
                        <a:pt x="500" y="95"/>
                      </a:lnTo>
                      <a:lnTo>
                        <a:pt x="503" y="98"/>
                      </a:lnTo>
                      <a:lnTo>
                        <a:pt x="505" y="98"/>
                      </a:lnTo>
                      <a:lnTo>
                        <a:pt x="508" y="96"/>
                      </a:lnTo>
                      <a:lnTo>
                        <a:pt x="510" y="95"/>
                      </a:lnTo>
                      <a:lnTo>
                        <a:pt x="514" y="98"/>
                      </a:lnTo>
                      <a:lnTo>
                        <a:pt x="518" y="96"/>
                      </a:lnTo>
                      <a:lnTo>
                        <a:pt x="519" y="96"/>
                      </a:lnTo>
                      <a:lnTo>
                        <a:pt x="523" y="95"/>
                      </a:lnTo>
                      <a:lnTo>
                        <a:pt x="524" y="95"/>
                      </a:lnTo>
                      <a:lnTo>
                        <a:pt x="523" y="91"/>
                      </a:lnTo>
                      <a:lnTo>
                        <a:pt x="524" y="90"/>
                      </a:lnTo>
                      <a:lnTo>
                        <a:pt x="529" y="90"/>
                      </a:lnTo>
                      <a:lnTo>
                        <a:pt x="534" y="90"/>
                      </a:lnTo>
                      <a:lnTo>
                        <a:pt x="539" y="91"/>
                      </a:lnTo>
                      <a:lnTo>
                        <a:pt x="544" y="95"/>
                      </a:lnTo>
                      <a:lnTo>
                        <a:pt x="547" y="99"/>
                      </a:lnTo>
                      <a:lnTo>
                        <a:pt x="549" y="103"/>
                      </a:lnTo>
                      <a:lnTo>
                        <a:pt x="550" y="103"/>
                      </a:lnTo>
                      <a:lnTo>
                        <a:pt x="554" y="104"/>
                      </a:lnTo>
                      <a:lnTo>
                        <a:pt x="557" y="106"/>
                      </a:lnTo>
                      <a:lnTo>
                        <a:pt x="559" y="106"/>
                      </a:lnTo>
                      <a:lnTo>
                        <a:pt x="560" y="108"/>
                      </a:lnTo>
                      <a:lnTo>
                        <a:pt x="560" y="109"/>
                      </a:lnTo>
                      <a:lnTo>
                        <a:pt x="560" y="111"/>
                      </a:lnTo>
                      <a:lnTo>
                        <a:pt x="560" y="114"/>
                      </a:lnTo>
                      <a:lnTo>
                        <a:pt x="560" y="116"/>
                      </a:lnTo>
                      <a:lnTo>
                        <a:pt x="562" y="117"/>
                      </a:lnTo>
                      <a:lnTo>
                        <a:pt x="563" y="117"/>
                      </a:lnTo>
                      <a:lnTo>
                        <a:pt x="565" y="117"/>
                      </a:lnTo>
                      <a:lnTo>
                        <a:pt x="567" y="119"/>
                      </a:lnTo>
                      <a:lnTo>
                        <a:pt x="570" y="121"/>
                      </a:lnTo>
                      <a:lnTo>
                        <a:pt x="570" y="119"/>
                      </a:lnTo>
                      <a:lnTo>
                        <a:pt x="573" y="117"/>
                      </a:lnTo>
                      <a:lnTo>
                        <a:pt x="581" y="117"/>
                      </a:lnTo>
                      <a:lnTo>
                        <a:pt x="585" y="116"/>
                      </a:lnTo>
                      <a:lnTo>
                        <a:pt x="586" y="113"/>
                      </a:lnTo>
                      <a:lnTo>
                        <a:pt x="588" y="111"/>
                      </a:lnTo>
                      <a:lnTo>
                        <a:pt x="591" y="113"/>
                      </a:lnTo>
                      <a:lnTo>
                        <a:pt x="590" y="116"/>
                      </a:lnTo>
                      <a:lnTo>
                        <a:pt x="590" y="119"/>
                      </a:lnTo>
                      <a:lnTo>
                        <a:pt x="593" y="119"/>
                      </a:lnTo>
                      <a:lnTo>
                        <a:pt x="596" y="122"/>
                      </a:lnTo>
                      <a:lnTo>
                        <a:pt x="601" y="124"/>
                      </a:lnTo>
                      <a:lnTo>
                        <a:pt x="601" y="126"/>
                      </a:lnTo>
                      <a:lnTo>
                        <a:pt x="599" y="129"/>
                      </a:lnTo>
                      <a:lnTo>
                        <a:pt x="596" y="131"/>
                      </a:lnTo>
                      <a:lnTo>
                        <a:pt x="593" y="135"/>
                      </a:lnTo>
                      <a:lnTo>
                        <a:pt x="591" y="137"/>
                      </a:lnTo>
                      <a:lnTo>
                        <a:pt x="593" y="139"/>
                      </a:lnTo>
                      <a:lnTo>
                        <a:pt x="591" y="142"/>
                      </a:lnTo>
                      <a:lnTo>
                        <a:pt x="586" y="144"/>
                      </a:lnTo>
                      <a:lnTo>
                        <a:pt x="583" y="147"/>
                      </a:lnTo>
                      <a:lnTo>
                        <a:pt x="583" y="150"/>
                      </a:lnTo>
                      <a:lnTo>
                        <a:pt x="583" y="157"/>
                      </a:lnTo>
                      <a:lnTo>
                        <a:pt x="586" y="163"/>
                      </a:lnTo>
                      <a:lnTo>
                        <a:pt x="590" y="168"/>
                      </a:lnTo>
                      <a:lnTo>
                        <a:pt x="588" y="170"/>
                      </a:lnTo>
                      <a:lnTo>
                        <a:pt x="585" y="175"/>
                      </a:lnTo>
                      <a:lnTo>
                        <a:pt x="581" y="176"/>
                      </a:lnTo>
                      <a:lnTo>
                        <a:pt x="578" y="180"/>
                      </a:lnTo>
                      <a:lnTo>
                        <a:pt x="577" y="180"/>
                      </a:lnTo>
                      <a:lnTo>
                        <a:pt x="575" y="180"/>
                      </a:lnTo>
                      <a:lnTo>
                        <a:pt x="573" y="178"/>
                      </a:lnTo>
                      <a:lnTo>
                        <a:pt x="572" y="178"/>
                      </a:lnTo>
                      <a:lnTo>
                        <a:pt x="565" y="178"/>
                      </a:lnTo>
                      <a:lnTo>
                        <a:pt x="560" y="178"/>
                      </a:lnTo>
                      <a:lnTo>
                        <a:pt x="555" y="176"/>
                      </a:lnTo>
                      <a:lnTo>
                        <a:pt x="550" y="176"/>
                      </a:lnTo>
                      <a:lnTo>
                        <a:pt x="549" y="176"/>
                      </a:lnTo>
                      <a:lnTo>
                        <a:pt x="547" y="183"/>
                      </a:lnTo>
                      <a:lnTo>
                        <a:pt x="547" y="188"/>
                      </a:lnTo>
                      <a:lnTo>
                        <a:pt x="545" y="191"/>
                      </a:lnTo>
                      <a:lnTo>
                        <a:pt x="545" y="201"/>
                      </a:lnTo>
                      <a:lnTo>
                        <a:pt x="545" y="207"/>
                      </a:lnTo>
                      <a:lnTo>
                        <a:pt x="544" y="211"/>
                      </a:lnTo>
                      <a:lnTo>
                        <a:pt x="545" y="212"/>
                      </a:lnTo>
                      <a:lnTo>
                        <a:pt x="549" y="214"/>
                      </a:lnTo>
                      <a:lnTo>
                        <a:pt x="549" y="217"/>
                      </a:lnTo>
                      <a:lnTo>
                        <a:pt x="547" y="219"/>
                      </a:lnTo>
                      <a:lnTo>
                        <a:pt x="545" y="219"/>
                      </a:lnTo>
                      <a:lnTo>
                        <a:pt x="544" y="220"/>
                      </a:lnTo>
                      <a:lnTo>
                        <a:pt x="541" y="220"/>
                      </a:lnTo>
                      <a:lnTo>
                        <a:pt x="539" y="219"/>
                      </a:lnTo>
                      <a:lnTo>
                        <a:pt x="537" y="220"/>
                      </a:lnTo>
                      <a:lnTo>
                        <a:pt x="534" y="220"/>
                      </a:lnTo>
                      <a:lnTo>
                        <a:pt x="526" y="222"/>
                      </a:lnTo>
                      <a:lnTo>
                        <a:pt x="521" y="224"/>
                      </a:lnTo>
                      <a:lnTo>
                        <a:pt x="519" y="224"/>
                      </a:lnTo>
                      <a:lnTo>
                        <a:pt x="518" y="224"/>
                      </a:lnTo>
                      <a:lnTo>
                        <a:pt x="514" y="224"/>
                      </a:lnTo>
                      <a:lnTo>
                        <a:pt x="513" y="227"/>
                      </a:lnTo>
                      <a:lnTo>
                        <a:pt x="513" y="229"/>
                      </a:lnTo>
                      <a:lnTo>
                        <a:pt x="514" y="232"/>
                      </a:lnTo>
                      <a:lnTo>
                        <a:pt x="519" y="230"/>
                      </a:lnTo>
                      <a:lnTo>
                        <a:pt x="523" y="232"/>
                      </a:lnTo>
                      <a:lnTo>
                        <a:pt x="523" y="233"/>
                      </a:lnTo>
                      <a:lnTo>
                        <a:pt x="521" y="235"/>
                      </a:lnTo>
                      <a:lnTo>
                        <a:pt x="523" y="240"/>
                      </a:lnTo>
                      <a:lnTo>
                        <a:pt x="523" y="243"/>
                      </a:lnTo>
                      <a:lnTo>
                        <a:pt x="524" y="245"/>
                      </a:lnTo>
                      <a:lnTo>
                        <a:pt x="524" y="248"/>
                      </a:lnTo>
                      <a:lnTo>
                        <a:pt x="528" y="253"/>
                      </a:lnTo>
                      <a:lnTo>
                        <a:pt x="528" y="256"/>
                      </a:lnTo>
                      <a:lnTo>
                        <a:pt x="531" y="258"/>
                      </a:lnTo>
                      <a:lnTo>
                        <a:pt x="532" y="264"/>
                      </a:lnTo>
                      <a:lnTo>
                        <a:pt x="531" y="266"/>
                      </a:lnTo>
                      <a:lnTo>
                        <a:pt x="529" y="269"/>
                      </a:lnTo>
                      <a:lnTo>
                        <a:pt x="532" y="273"/>
                      </a:lnTo>
                      <a:lnTo>
                        <a:pt x="531" y="273"/>
                      </a:lnTo>
                      <a:lnTo>
                        <a:pt x="531" y="276"/>
                      </a:lnTo>
                      <a:lnTo>
                        <a:pt x="528" y="278"/>
                      </a:lnTo>
                      <a:lnTo>
                        <a:pt x="528" y="281"/>
                      </a:lnTo>
                      <a:lnTo>
                        <a:pt x="524" y="282"/>
                      </a:lnTo>
                      <a:lnTo>
                        <a:pt x="518" y="281"/>
                      </a:lnTo>
                      <a:lnTo>
                        <a:pt x="511" y="273"/>
                      </a:lnTo>
                      <a:lnTo>
                        <a:pt x="508" y="274"/>
                      </a:lnTo>
                      <a:lnTo>
                        <a:pt x="501" y="271"/>
                      </a:lnTo>
                      <a:lnTo>
                        <a:pt x="492" y="271"/>
                      </a:lnTo>
                      <a:lnTo>
                        <a:pt x="487" y="273"/>
                      </a:lnTo>
                      <a:lnTo>
                        <a:pt x="479" y="271"/>
                      </a:lnTo>
                      <a:lnTo>
                        <a:pt x="470" y="273"/>
                      </a:lnTo>
                      <a:lnTo>
                        <a:pt x="467" y="273"/>
                      </a:lnTo>
                      <a:lnTo>
                        <a:pt x="464" y="271"/>
                      </a:lnTo>
                      <a:lnTo>
                        <a:pt x="461" y="274"/>
                      </a:lnTo>
                      <a:lnTo>
                        <a:pt x="457" y="276"/>
                      </a:lnTo>
                      <a:lnTo>
                        <a:pt x="449" y="274"/>
                      </a:lnTo>
                      <a:lnTo>
                        <a:pt x="443" y="273"/>
                      </a:lnTo>
                      <a:lnTo>
                        <a:pt x="439" y="271"/>
                      </a:lnTo>
                      <a:lnTo>
                        <a:pt x="434" y="271"/>
                      </a:lnTo>
                      <a:lnTo>
                        <a:pt x="433" y="271"/>
                      </a:lnTo>
                      <a:lnTo>
                        <a:pt x="430" y="271"/>
                      </a:lnTo>
                      <a:lnTo>
                        <a:pt x="426" y="271"/>
                      </a:lnTo>
                      <a:lnTo>
                        <a:pt x="425" y="271"/>
                      </a:lnTo>
                      <a:lnTo>
                        <a:pt x="425" y="276"/>
                      </a:lnTo>
                      <a:lnTo>
                        <a:pt x="426" y="279"/>
                      </a:lnTo>
                      <a:lnTo>
                        <a:pt x="426" y="282"/>
                      </a:lnTo>
                      <a:lnTo>
                        <a:pt x="421" y="284"/>
                      </a:lnTo>
                      <a:lnTo>
                        <a:pt x="412" y="284"/>
                      </a:lnTo>
                      <a:lnTo>
                        <a:pt x="399" y="282"/>
                      </a:lnTo>
                      <a:lnTo>
                        <a:pt x="397" y="281"/>
                      </a:lnTo>
                      <a:lnTo>
                        <a:pt x="392" y="281"/>
                      </a:lnTo>
                      <a:lnTo>
                        <a:pt x="389" y="284"/>
                      </a:lnTo>
                      <a:lnTo>
                        <a:pt x="389" y="286"/>
                      </a:lnTo>
                      <a:lnTo>
                        <a:pt x="385" y="289"/>
                      </a:lnTo>
                      <a:lnTo>
                        <a:pt x="385" y="289"/>
                      </a:lnTo>
                      <a:lnTo>
                        <a:pt x="384" y="289"/>
                      </a:lnTo>
                      <a:lnTo>
                        <a:pt x="381" y="294"/>
                      </a:lnTo>
                      <a:lnTo>
                        <a:pt x="379" y="296"/>
                      </a:lnTo>
                      <a:lnTo>
                        <a:pt x="372" y="302"/>
                      </a:lnTo>
                      <a:lnTo>
                        <a:pt x="371" y="307"/>
                      </a:lnTo>
                      <a:lnTo>
                        <a:pt x="369" y="309"/>
                      </a:lnTo>
                      <a:lnTo>
                        <a:pt x="366" y="315"/>
                      </a:lnTo>
                      <a:lnTo>
                        <a:pt x="359" y="322"/>
                      </a:lnTo>
                      <a:lnTo>
                        <a:pt x="358" y="320"/>
                      </a:lnTo>
                      <a:lnTo>
                        <a:pt x="350" y="317"/>
                      </a:lnTo>
                      <a:lnTo>
                        <a:pt x="345" y="315"/>
                      </a:lnTo>
                      <a:lnTo>
                        <a:pt x="340" y="317"/>
                      </a:lnTo>
                      <a:lnTo>
                        <a:pt x="333" y="320"/>
                      </a:lnTo>
                      <a:lnTo>
                        <a:pt x="330" y="320"/>
                      </a:lnTo>
                      <a:lnTo>
                        <a:pt x="323" y="302"/>
                      </a:lnTo>
                      <a:lnTo>
                        <a:pt x="312" y="300"/>
                      </a:lnTo>
                      <a:lnTo>
                        <a:pt x="312" y="278"/>
                      </a:lnTo>
                      <a:lnTo>
                        <a:pt x="305" y="279"/>
                      </a:lnTo>
                      <a:lnTo>
                        <a:pt x="302" y="269"/>
                      </a:lnTo>
                      <a:lnTo>
                        <a:pt x="294" y="263"/>
                      </a:lnTo>
                      <a:lnTo>
                        <a:pt x="268" y="263"/>
                      </a:lnTo>
                      <a:lnTo>
                        <a:pt x="245" y="266"/>
                      </a:lnTo>
                      <a:lnTo>
                        <a:pt x="230" y="258"/>
                      </a:lnTo>
                      <a:lnTo>
                        <a:pt x="220" y="253"/>
                      </a:lnTo>
                      <a:lnTo>
                        <a:pt x="196" y="235"/>
                      </a:lnTo>
                      <a:lnTo>
                        <a:pt x="155" y="243"/>
                      </a:lnTo>
                      <a:lnTo>
                        <a:pt x="167" y="320"/>
                      </a:lnTo>
                      <a:lnTo>
                        <a:pt x="165" y="322"/>
                      </a:lnTo>
                      <a:lnTo>
                        <a:pt x="158" y="322"/>
                      </a:lnTo>
                      <a:lnTo>
                        <a:pt x="149" y="310"/>
                      </a:lnTo>
                      <a:lnTo>
                        <a:pt x="137" y="304"/>
                      </a:lnTo>
                      <a:lnTo>
                        <a:pt x="127" y="302"/>
                      </a:lnTo>
                      <a:lnTo>
                        <a:pt x="119" y="305"/>
                      </a:lnTo>
                      <a:lnTo>
                        <a:pt x="109" y="314"/>
                      </a:lnTo>
                      <a:lnTo>
                        <a:pt x="109" y="310"/>
                      </a:lnTo>
                      <a:lnTo>
                        <a:pt x="108" y="305"/>
                      </a:lnTo>
                      <a:lnTo>
                        <a:pt x="109" y="302"/>
                      </a:lnTo>
                      <a:lnTo>
                        <a:pt x="111" y="297"/>
                      </a:lnTo>
                      <a:lnTo>
                        <a:pt x="111" y="296"/>
                      </a:lnTo>
                      <a:lnTo>
                        <a:pt x="111" y="294"/>
                      </a:lnTo>
                      <a:lnTo>
                        <a:pt x="109" y="294"/>
                      </a:lnTo>
                      <a:lnTo>
                        <a:pt x="106" y="294"/>
                      </a:lnTo>
                      <a:lnTo>
                        <a:pt x="103" y="292"/>
                      </a:lnTo>
                      <a:lnTo>
                        <a:pt x="101" y="292"/>
                      </a:lnTo>
                      <a:lnTo>
                        <a:pt x="98" y="292"/>
                      </a:lnTo>
                      <a:lnTo>
                        <a:pt x="96" y="292"/>
                      </a:lnTo>
                      <a:lnTo>
                        <a:pt x="96" y="289"/>
                      </a:lnTo>
                      <a:lnTo>
                        <a:pt x="95" y="289"/>
                      </a:lnTo>
                      <a:lnTo>
                        <a:pt x="93" y="286"/>
                      </a:lnTo>
                      <a:lnTo>
                        <a:pt x="91" y="284"/>
                      </a:lnTo>
                      <a:lnTo>
                        <a:pt x="91" y="286"/>
                      </a:lnTo>
                      <a:lnTo>
                        <a:pt x="88" y="286"/>
                      </a:lnTo>
                      <a:lnTo>
                        <a:pt x="87" y="286"/>
                      </a:lnTo>
                      <a:lnTo>
                        <a:pt x="87" y="282"/>
                      </a:lnTo>
                      <a:lnTo>
                        <a:pt x="87" y="279"/>
                      </a:lnTo>
                      <a:lnTo>
                        <a:pt x="82" y="274"/>
                      </a:lnTo>
                      <a:lnTo>
                        <a:pt x="82" y="271"/>
                      </a:lnTo>
                      <a:lnTo>
                        <a:pt x="80" y="271"/>
                      </a:lnTo>
                      <a:lnTo>
                        <a:pt x="78" y="268"/>
                      </a:lnTo>
                      <a:lnTo>
                        <a:pt x="77" y="266"/>
                      </a:lnTo>
                      <a:lnTo>
                        <a:pt x="75" y="264"/>
                      </a:lnTo>
                      <a:lnTo>
                        <a:pt x="73" y="263"/>
                      </a:lnTo>
                      <a:lnTo>
                        <a:pt x="70" y="263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70" y="258"/>
                      </a:lnTo>
                      <a:lnTo>
                        <a:pt x="72" y="258"/>
                      </a:lnTo>
                      <a:lnTo>
                        <a:pt x="77" y="258"/>
                      </a:lnTo>
                      <a:lnTo>
                        <a:pt x="78" y="258"/>
                      </a:lnTo>
                      <a:lnTo>
                        <a:pt x="80" y="258"/>
                      </a:lnTo>
                      <a:lnTo>
                        <a:pt x="82" y="260"/>
                      </a:lnTo>
                      <a:lnTo>
                        <a:pt x="83" y="258"/>
                      </a:lnTo>
                      <a:lnTo>
                        <a:pt x="83" y="256"/>
                      </a:lnTo>
                      <a:lnTo>
                        <a:pt x="87" y="258"/>
                      </a:lnTo>
                      <a:lnTo>
                        <a:pt x="88" y="256"/>
                      </a:lnTo>
                      <a:lnTo>
                        <a:pt x="87" y="255"/>
                      </a:lnTo>
                      <a:lnTo>
                        <a:pt x="83" y="256"/>
                      </a:lnTo>
                      <a:lnTo>
                        <a:pt x="83" y="255"/>
                      </a:lnTo>
                      <a:lnTo>
                        <a:pt x="83" y="253"/>
                      </a:lnTo>
                      <a:lnTo>
                        <a:pt x="80" y="248"/>
                      </a:lnTo>
                      <a:lnTo>
                        <a:pt x="80" y="247"/>
                      </a:lnTo>
                      <a:lnTo>
                        <a:pt x="80" y="247"/>
                      </a:lnTo>
                      <a:lnTo>
                        <a:pt x="82" y="243"/>
                      </a:lnTo>
                      <a:lnTo>
                        <a:pt x="80" y="242"/>
                      </a:lnTo>
                      <a:lnTo>
                        <a:pt x="82" y="240"/>
                      </a:lnTo>
                      <a:lnTo>
                        <a:pt x="85" y="238"/>
                      </a:lnTo>
                      <a:lnTo>
                        <a:pt x="88" y="238"/>
                      </a:lnTo>
                      <a:lnTo>
                        <a:pt x="91" y="240"/>
                      </a:lnTo>
                      <a:lnTo>
                        <a:pt x="95" y="238"/>
                      </a:lnTo>
                      <a:lnTo>
                        <a:pt x="96" y="238"/>
                      </a:lnTo>
                      <a:lnTo>
                        <a:pt x="98" y="240"/>
                      </a:lnTo>
                      <a:lnTo>
                        <a:pt x="100" y="238"/>
                      </a:lnTo>
                      <a:lnTo>
                        <a:pt x="101" y="238"/>
                      </a:lnTo>
                      <a:lnTo>
                        <a:pt x="105" y="242"/>
                      </a:lnTo>
                      <a:lnTo>
                        <a:pt x="106" y="242"/>
                      </a:lnTo>
                      <a:lnTo>
                        <a:pt x="109" y="240"/>
                      </a:lnTo>
                      <a:lnTo>
                        <a:pt x="111" y="238"/>
                      </a:lnTo>
                      <a:lnTo>
                        <a:pt x="108" y="237"/>
                      </a:lnTo>
                      <a:lnTo>
                        <a:pt x="105" y="237"/>
                      </a:lnTo>
                      <a:lnTo>
                        <a:pt x="103" y="232"/>
                      </a:lnTo>
                      <a:lnTo>
                        <a:pt x="103" y="229"/>
                      </a:lnTo>
                      <a:lnTo>
                        <a:pt x="106" y="229"/>
                      </a:lnTo>
                      <a:lnTo>
                        <a:pt x="106" y="227"/>
                      </a:lnTo>
                      <a:lnTo>
                        <a:pt x="106" y="225"/>
                      </a:lnTo>
                      <a:lnTo>
                        <a:pt x="105" y="224"/>
                      </a:lnTo>
                      <a:lnTo>
                        <a:pt x="105" y="222"/>
                      </a:lnTo>
                      <a:lnTo>
                        <a:pt x="106" y="219"/>
                      </a:lnTo>
                      <a:lnTo>
                        <a:pt x="106" y="217"/>
                      </a:lnTo>
                      <a:lnTo>
                        <a:pt x="105" y="214"/>
                      </a:lnTo>
                      <a:lnTo>
                        <a:pt x="103" y="212"/>
                      </a:lnTo>
                      <a:lnTo>
                        <a:pt x="105" y="211"/>
                      </a:lnTo>
                      <a:lnTo>
                        <a:pt x="105" y="209"/>
                      </a:lnTo>
                      <a:lnTo>
                        <a:pt x="103" y="209"/>
                      </a:lnTo>
                      <a:lnTo>
                        <a:pt x="101" y="207"/>
                      </a:lnTo>
                      <a:lnTo>
                        <a:pt x="101" y="206"/>
                      </a:lnTo>
                      <a:lnTo>
                        <a:pt x="95" y="206"/>
                      </a:lnTo>
                      <a:lnTo>
                        <a:pt x="93" y="204"/>
                      </a:lnTo>
                      <a:lnTo>
                        <a:pt x="91" y="206"/>
                      </a:lnTo>
                      <a:lnTo>
                        <a:pt x="91" y="206"/>
                      </a:lnTo>
                      <a:lnTo>
                        <a:pt x="90" y="207"/>
                      </a:lnTo>
                      <a:lnTo>
                        <a:pt x="88" y="209"/>
                      </a:lnTo>
                      <a:lnTo>
                        <a:pt x="87" y="209"/>
                      </a:lnTo>
                      <a:lnTo>
                        <a:pt x="85" y="209"/>
                      </a:lnTo>
                      <a:lnTo>
                        <a:pt x="85" y="207"/>
                      </a:lnTo>
                      <a:lnTo>
                        <a:pt x="83" y="207"/>
                      </a:lnTo>
                      <a:lnTo>
                        <a:pt x="82" y="209"/>
                      </a:lnTo>
                      <a:lnTo>
                        <a:pt x="80" y="207"/>
                      </a:lnTo>
                      <a:lnTo>
                        <a:pt x="80" y="204"/>
                      </a:lnTo>
                      <a:lnTo>
                        <a:pt x="80" y="204"/>
                      </a:lnTo>
                      <a:lnTo>
                        <a:pt x="78" y="204"/>
                      </a:lnTo>
                      <a:lnTo>
                        <a:pt x="77" y="204"/>
                      </a:lnTo>
                      <a:lnTo>
                        <a:pt x="75" y="204"/>
                      </a:lnTo>
                      <a:lnTo>
                        <a:pt x="72" y="204"/>
                      </a:lnTo>
                      <a:lnTo>
                        <a:pt x="69" y="206"/>
                      </a:lnTo>
                      <a:lnTo>
                        <a:pt x="69" y="209"/>
                      </a:lnTo>
                      <a:lnTo>
                        <a:pt x="67" y="209"/>
                      </a:lnTo>
                      <a:lnTo>
                        <a:pt x="67" y="207"/>
                      </a:lnTo>
                      <a:lnTo>
                        <a:pt x="65" y="207"/>
                      </a:lnTo>
                      <a:lnTo>
                        <a:pt x="64" y="211"/>
                      </a:lnTo>
                      <a:lnTo>
                        <a:pt x="60" y="211"/>
                      </a:lnTo>
                      <a:lnTo>
                        <a:pt x="60" y="212"/>
                      </a:lnTo>
                      <a:lnTo>
                        <a:pt x="57" y="214"/>
                      </a:lnTo>
                      <a:lnTo>
                        <a:pt x="56" y="214"/>
                      </a:lnTo>
                      <a:lnTo>
                        <a:pt x="56" y="215"/>
                      </a:lnTo>
                      <a:lnTo>
                        <a:pt x="54" y="217"/>
                      </a:lnTo>
                      <a:lnTo>
                        <a:pt x="52" y="215"/>
                      </a:lnTo>
                      <a:lnTo>
                        <a:pt x="52" y="215"/>
                      </a:lnTo>
                      <a:lnTo>
                        <a:pt x="51" y="217"/>
                      </a:lnTo>
                      <a:lnTo>
                        <a:pt x="49" y="217"/>
                      </a:lnTo>
                      <a:lnTo>
                        <a:pt x="47" y="215"/>
                      </a:lnTo>
                      <a:lnTo>
                        <a:pt x="46" y="2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5" name="Freeform 164">
                  <a:extLst>
                    <a:ext uri="{FF2B5EF4-FFF2-40B4-BE49-F238E27FC236}">
                      <a16:creationId xmlns:a16="http://schemas.microsoft.com/office/drawing/2014/main" xmlns="" id="{AA2B505F-DE92-4D36-98D2-5F93A6696B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7" y="1245"/>
                  <a:ext cx="255" cy="163"/>
                </a:xfrm>
                <a:custGeom>
                  <a:avLst/>
                  <a:gdLst>
                    <a:gd name="T0" fmla="*/ 203 w 255"/>
                    <a:gd name="T1" fmla="*/ 152 h 163"/>
                    <a:gd name="T2" fmla="*/ 208 w 255"/>
                    <a:gd name="T3" fmla="*/ 142 h 163"/>
                    <a:gd name="T4" fmla="*/ 203 w 255"/>
                    <a:gd name="T5" fmla="*/ 137 h 163"/>
                    <a:gd name="T6" fmla="*/ 203 w 255"/>
                    <a:gd name="T7" fmla="*/ 129 h 163"/>
                    <a:gd name="T8" fmla="*/ 198 w 255"/>
                    <a:gd name="T9" fmla="*/ 126 h 163"/>
                    <a:gd name="T10" fmla="*/ 191 w 255"/>
                    <a:gd name="T11" fmla="*/ 121 h 163"/>
                    <a:gd name="T12" fmla="*/ 195 w 255"/>
                    <a:gd name="T13" fmla="*/ 113 h 163"/>
                    <a:gd name="T14" fmla="*/ 204 w 255"/>
                    <a:gd name="T15" fmla="*/ 113 h 163"/>
                    <a:gd name="T16" fmla="*/ 211 w 255"/>
                    <a:gd name="T17" fmla="*/ 108 h 163"/>
                    <a:gd name="T18" fmla="*/ 208 w 255"/>
                    <a:gd name="T19" fmla="*/ 103 h 163"/>
                    <a:gd name="T20" fmla="*/ 221 w 255"/>
                    <a:gd name="T21" fmla="*/ 100 h 163"/>
                    <a:gd name="T22" fmla="*/ 216 w 255"/>
                    <a:gd name="T23" fmla="*/ 95 h 163"/>
                    <a:gd name="T24" fmla="*/ 219 w 255"/>
                    <a:gd name="T25" fmla="*/ 88 h 163"/>
                    <a:gd name="T26" fmla="*/ 227 w 255"/>
                    <a:gd name="T27" fmla="*/ 85 h 163"/>
                    <a:gd name="T28" fmla="*/ 235 w 255"/>
                    <a:gd name="T29" fmla="*/ 83 h 163"/>
                    <a:gd name="T30" fmla="*/ 245 w 255"/>
                    <a:gd name="T31" fmla="*/ 85 h 163"/>
                    <a:gd name="T32" fmla="*/ 255 w 255"/>
                    <a:gd name="T33" fmla="*/ 80 h 163"/>
                    <a:gd name="T34" fmla="*/ 245 w 255"/>
                    <a:gd name="T35" fmla="*/ 70 h 163"/>
                    <a:gd name="T36" fmla="*/ 244 w 255"/>
                    <a:gd name="T37" fmla="*/ 75 h 163"/>
                    <a:gd name="T38" fmla="*/ 239 w 255"/>
                    <a:gd name="T39" fmla="*/ 77 h 163"/>
                    <a:gd name="T40" fmla="*/ 227 w 255"/>
                    <a:gd name="T41" fmla="*/ 72 h 163"/>
                    <a:gd name="T42" fmla="*/ 227 w 255"/>
                    <a:gd name="T43" fmla="*/ 65 h 163"/>
                    <a:gd name="T44" fmla="*/ 232 w 255"/>
                    <a:gd name="T45" fmla="*/ 56 h 163"/>
                    <a:gd name="T46" fmla="*/ 226 w 255"/>
                    <a:gd name="T47" fmla="*/ 59 h 163"/>
                    <a:gd name="T48" fmla="*/ 217 w 255"/>
                    <a:gd name="T49" fmla="*/ 67 h 163"/>
                    <a:gd name="T50" fmla="*/ 214 w 255"/>
                    <a:gd name="T51" fmla="*/ 74 h 163"/>
                    <a:gd name="T52" fmla="*/ 204 w 255"/>
                    <a:gd name="T53" fmla="*/ 87 h 163"/>
                    <a:gd name="T54" fmla="*/ 195 w 255"/>
                    <a:gd name="T55" fmla="*/ 82 h 163"/>
                    <a:gd name="T56" fmla="*/ 185 w 255"/>
                    <a:gd name="T57" fmla="*/ 82 h 163"/>
                    <a:gd name="T58" fmla="*/ 175 w 255"/>
                    <a:gd name="T59" fmla="*/ 85 h 163"/>
                    <a:gd name="T60" fmla="*/ 157 w 255"/>
                    <a:gd name="T61" fmla="*/ 65 h 163"/>
                    <a:gd name="T62" fmla="*/ 150 w 255"/>
                    <a:gd name="T63" fmla="*/ 44 h 163"/>
                    <a:gd name="T64" fmla="*/ 139 w 255"/>
                    <a:gd name="T65" fmla="*/ 28 h 163"/>
                    <a:gd name="T66" fmla="*/ 90 w 255"/>
                    <a:gd name="T67" fmla="*/ 31 h 163"/>
                    <a:gd name="T68" fmla="*/ 65 w 255"/>
                    <a:gd name="T69" fmla="*/ 18 h 163"/>
                    <a:gd name="T70" fmla="*/ 0 w 255"/>
                    <a:gd name="T71" fmla="*/ 8 h 163"/>
                    <a:gd name="T72" fmla="*/ 20 w 255"/>
                    <a:gd name="T73" fmla="*/ 85 h 163"/>
                    <a:gd name="T74" fmla="*/ 28 w 255"/>
                    <a:gd name="T75" fmla="*/ 82 h 163"/>
                    <a:gd name="T76" fmla="*/ 23 w 255"/>
                    <a:gd name="T77" fmla="*/ 74 h 163"/>
                    <a:gd name="T78" fmla="*/ 31 w 255"/>
                    <a:gd name="T79" fmla="*/ 67 h 163"/>
                    <a:gd name="T80" fmla="*/ 38 w 255"/>
                    <a:gd name="T81" fmla="*/ 61 h 163"/>
                    <a:gd name="T82" fmla="*/ 44 w 255"/>
                    <a:gd name="T83" fmla="*/ 61 h 163"/>
                    <a:gd name="T84" fmla="*/ 49 w 255"/>
                    <a:gd name="T85" fmla="*/ 57 h 163"/>
                    <a:gd name="T86" fmla="*/ 69 w 255"/>
                    <a:gd name="T87" fmla="*/ 69 h 163"/>
                    <a:gd name="T88" fmla="*/ 82 w 255"/>
                    <a:gd name="T89" fmla="*/ 79 h 163"/>
                    <a:gd name="T90" fmla="*/ 93 w 255"/>
                    <a:gd name="T91" fmla="*/ 82 h 163"/>
                    <a:gd name="T92" fmla="*/ 103 w 255"/>
                    <a:gd name="T93" fmla="*/ 88 h 163"/>
                    <a:gd name="T94" fmla="*/ 110 w 255"/>
                    <a:gd name="T95" fmla="*/ 100 h 163"/>
                    <a:gd name="T96" fmla="*/ 114 w 255"/>
                    <a:gd name="T97" fmla="*/ 111 h 163"/>
                    <a:gd name="T98" fmla="*/ 129 w 255"/>
                    <a:gd name="T99" fmla="*/ 119 h 163"/>
                    <a:gd name="T100" fmla="*/ 152 w 255"/>
                    <a:gd name="T101" fmla="*/ 134 h 163"/>
                    <a:gd name="T102" fmla="*/ 172 w 255"/>
                    <a:gd name="T103" fmla="*/ 142 h 163"/>
                    <a:gd name="T104" fmla="*/ 175 w 255"/>
                    <a:gd name="T105" fmla="*/ 144 h 163"/>
                    <a:gd name="T106" fmla="*/ 181 w 255"/>
                    <a:gd name="T107" fmla="*/ 152 h 163"/>
                    <a:gd name="T108" fmla="*/ 186 w 255"/>
                    <a:gd name="T109" fmla="*/ 159 h 163"/>
                    <a:gd name="T110" fmla="*/ 191 w 255"/>
                    <a:gd name="T111" fmla="*/ 163 h 163"/>
                    <a:gd name="T112" fmla="*/ 196 w 255"/>
                    <a:gd name="T113" fmla="*/ 160 h 163"/>
                    <a:gd name="T114" fmla="*/ 201 w 255"/>
                    <a:gd name="T115" fmla="*/ 162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5" h="163">
                      <a:moveTo>
                        <a:pt x="201" y="162"/>
                      </a:moveTo>
                      <a:lnTo>
                        <a:pt x="203" y="152"/>
                      </a:lnTo>
                      <a:lnTo>
                        <a:pt x="206" y="144"/>
                      </a:lnTo>
                      <a:lnTo>
                        <a:pt x="208" y="142"/>
                      </a:lnTo>
                      <a:lnTo>
                        <a:pt x="206" y="137"/>
                      </a:lnTo>
                      <a:lnTo>
                        <a:pt x="203" y="137"/>
                      </a:lnTo>
                      <a:lnTo>
                        <a:pt x="201" y="132"/>
                      </a:lnTo>
                      <a:lnTo>
                        <a:pt x="203" y="129"/>
                      </a:lnTo>
                      <a:lnTo>
                        <a:pt x="203" y="126"/>
                      </a:lnTo>
                      <a:lnTo>
                        <a:pt x="198" y="126"/>
                      </a:lnTo>
                      <a:lnTo>
                        <a:pt x="195" y="128"/>
                      </a:lnTo>
                      <a:lnTo>
                        <a:pt x="191" y="121"/>
                      </a:lnTo>
                      <a:lnTo>
                        <a:pt x="191" y="116"/>
                      </a:lnTo>
                      <a:lnTo>
                        <a:pt x="195" y="113"/>
                      </a:lnTo>
                      <a:lnTo>
                        <a:pt x="201" y="114"/>
                      </a:lnTo>
                      <a:lnTo>
                        <a:pt x="204" y="113"/>
                      </a:lnTo>
                      <a:lnTo>
                        <a:pt x="204" y="110"/>
                      </a:lnTo>
                      <a:lnTo>
                        <a:pt x="211" y="108"/>
                      </a:lnTo>
                      <a:lnTo>
                        <a:pt x="209" y="105"/>
                      </a:lnTo>
                      <a:lnTo>
                        <a:pt x="208" y="103"/>
                      </a:lnTo>
                      <a:lnTo>
                        <a:pt x="214" y="101"/>
                      </a:lnTo>
                      <a:lnTo>
                        <a:pt x="221" y="100"/>
                      </a:lnTo>
                      <a:lnTo>
                        <a:pt x="221" y="96"/>
                      </a:lnTo>
                      <a:lnTo>
                        <a:pt x="216" y="95"/>
                      </a:lnTo>
                      <a:lnTo>
                        <a:pt x="216" y="90"/>
                      </a:lnTo>
                      <a:lnTo>
                        <a:pt x="219" y="88"/>
                      </a:lnTo>
                      <a:lnTo>
                        <a:pt x="224" y="85"/>
                      </a:lnTo>
                      <a:lnTo>
                        <a:pt x="227" y="85"/>
                      </a:lnTo>
                      <a:lnTo>
                        <a:pt x="232" y="80"/>
                      </a:lnTo>
                      <a:lnTo>
                        <a:pt x="235" y="83"/>
                      </a:lnTo>
                      <a:lnTo>
                        <a:pt x="237" y="87"/>
                      </a:lnTo>
                      <a:lnTo>
                        <a:pt x="245" y="85"/>
                      </a:lnTo>
                      <a:lnTo>
                        <a:pt x="250" y="85"/>
                      </a:lnTo>
                      <a:lnTo>
                        <a:pt x="255" y="80"/>
                      </a:lnTo>
                      <a:lnTo>
                        <a:pt x="253" y="77"/>
                      </a:lnTo>
                      <a:lnTo>
                        <a:pt x="245" y="70"/>
                      </a:lnTo>
                      <a:lnTo>
                        <a:pt x="244" y="70"/>
                      </a:lnTo>
                      <a:lnTo>
                        <a:pt x="244" y="75"/>
                      </a:lnTo>
                      <a:lnTo>
                        <a:pt x="240" y="79"/>
                      </a:lnTo>
                      <a:lnTo>
                        <a:pt x="239" y="77"/>
                      </a:lnTo>
                      <a:lnTo>
                        <a:pt x="235" y="74"/>
                      </a:lnTo>
                      <a:lnTo>
                        <a:pt x="227" y="72"/>
                      </a:lnTo>
                      <a:lnTo>
                        <a:pt x="226" y="70"/>
                      </a:lnTo>
                      <a:lnTo>
                        <a:pt x="227" y="65"/>
                      </a:lnTo>
                      <a:lnTo>
                        <a:pt x="232" y="59"/>
                      </a:lnTo>
                      <a:lnTo>
                        <a:pt x="232" y="56"/>
                      </a:lnTo>
                      <a:lnTo>
                        <a:pt x="229" y="54"/>
                      </a:lnTo>
                      <a:lnTo>
                        <a:pt x="226" y="59"/>
                      </a:lnTo>
                      <a:lnTo>
                        <a:pt x="224" y="61"/>
                      </a:lnTo>
                      <a:lnTo>
                        <a:pt x="217" y="67"/>
                      </a:lnTo>
                      <a:lnTo>
                        <a:pt x="216" y="72"/>
                      </a:lnTo>
                      <a:lnTo>
                        <a:pt x="214" y="74"/>
                      </a:lnTo>
                      <a:lnTo>
                        <a:pt x="211" y="80"/>
                      </a:lnTo>
                      <a:lnTo>
                        <a:pt x="204" y="87"/>
                      </a:lnTo>
                      <a:lnTo>
                        <a:pt x="203" y="85"/>
                      </a:lnTo>
                      <a:lnTo>
                        <a:pt x="195" y="82"/>
                      </a:lnTo>
                      <a:lnTo>
                        <a:pt x="190" y="80"/>
                      </a:lnTo>
                      <a:lnTo>
                        <a:pt x="185" y="82"/>
                      </a:lnTo>
                      <a:lnTo>
                        <a:pt x="178" y="85"/>
                      </a:lnTo>
                      <a:lnTo>
                        <a:pt x="175" y="85"/>
                      </a:lnTo>
                      <a:lnTo>
                        <a:pt x="168" y="67"/>
                      </a:lnTo>
                      <a:lnTo>
                        <a:pt x="157" y="65"/>
                      </a:lnTo>
                      <a:lnTo>
                        <a:pt x="157" y="43"/>
                      </a:lnTo>
                      <a:lnTo>
                        <a:pt x="150" y="44"/>
                      </a:lnTo>
                      <a:lnTo>
                        <a:pt x="147" y="34"/>
                      </a:lnTo>
                      <a:lnTo>
                        <a:pt x="139" y="28"/>
                      </a:lnTo>
                      <a:lnTo>
                        <a:pt x="113" y="28"/>
                      </a:lnTo>
                      <a:lnTo>
                        <a:pt x="90" y="31"/>
                      </a:lnTo>
                      <a:lnTo>
                        <a:pt x="75" y="23"/>
                      </a:lnTo>
                      <a:lnTo>
                        <a:pt x="65" y="18"/>
                      </a:lnTo>
                      <a:lnTo>
                        <a:pt x="41" y="0"/>
                      </a:lnTo>
                      <a:lnTo>
                        <a:pt x="0" y="8"/>
                      </a:lnTo>
                      <a:lnTo>
                        <a:pt x="12" y="85"/>
                      </a:lnTo>
                      <a:lnTo>
                        <a:pt x="20" y="85"/>
                      </a:lnTo>
                      <a:lnTo>
                        <a:pt x="26" y="87"/>
                      </a:lnTo>
                      <a:lnTo>
                        <a:pt x="28" y="82"/>
                      </a:lnTo>
                      <a:lnTo>
                        <a:pt x="25" y="80"/>
                      </a:lnTo>
                      <a:lnTo>
                        <a:pt x="23" y="74"/>
                      </a:lnTo>
                      <a:lnTo>
                        <a:pt x="28" y="67"/>
                      </a:lnTo>
                      <a:lnTo>
                        <a:pt x="31" y="67"/>
                      </a:lnTo>
                      <a:lnTo>
                        <a:pt x="34" y="62"/>
                      </a:lnTo>
                      <a:lnTo>
                        <a:pt x="38" y="61"/>
                      </a:lnTo>
                      <a:lnTo>
                        <a:pt x="43" y="62"/>
                      </a:lnTo>
                      <a:lnTo>
                        <a:pt x="44" y="61"/>
                      </a:lnTo>
                      <a:lnTo>
                        <a:pt x="41" y="57"/>
                      </a:lnTo>
                      <a:lnTo>
                        <a:pt x="49" y="57"/>
                      </a:lnTo>
                      <a:lnTo>
                        <a:pt x="59" y="64"/>
                      </a:lnTo>
                      <a:lnTo>
                        <a:pt x="69" y="69"/>
                      </a:lnTo>
                      <a:lnTo>
                        <a:pt x="69" y="72"/>
                      </a:lnTo>
                      <a:lnTo>
                        <a:pt x="82" y="79"/>
                      </a:lnTo>
                      <a:lnTo>
                        <a:pt x="90" y="83"/>
                      </a:lnTo>
                      <a:lnTo>
                        <a:pt x="93" y="82"/>
                      </a:lnTo>
                      <a:lnTo>
                        <a:pt x="97" y="83"/>
                      </a:lnTo>
                      <a:lnTo>
                        <a:pt x="103" y="88"/>
                      </a:lnTo>
                      <a:lnTo>
                        <a:pt x="106" y="98"/>
                      </a:lnTo>
                      <a:lnTo>
                        <a:pt x="110" y="100"/>
                      </a:lnTo>
                      <a:lnTo>
                        <a:pt x="110" y="105"/>
                      </a:lnTo>
                      <a:lnTo>
                        <a:pt x="114" y="111"/>
                      </a:lnTo>
                      <a:lnTo>
                        <a:pt x="119" y="113"/>
                      </a:lnTo>
                      <a:lnTo>
                        <a:pt x="129" y="119"/>
                      </a:lnTo>
                      <a:lnTo>
                        <a:pt x="141" y="128"/>
                      </a:lnTo>
                      <a:lnTo>
                        <a:pt x="152" y="134"/>
                      </a:lnTo>
                      <a:lnTo>
                        <a:pt x="163" y="141"/>
                      </a:lnTo>
                      <a:lnTo>
                        <a:pt x="172" y="142"/>
                      </a:lnTo>
                      <a:lnTo>
                        <a:pt x="173" y="144"/>
                      </a:lnTo>
                      <a:lnTo>
                        <a:pt x="175" y="144"/>
                      </a:lnTo>
                      <a:lnTo>
                        <a:pt x="181" y="149"/>
                      </a:lnTo>
                      <a:lnTo>
                        <a:pt x="181" y="152"/>
                      </a:lnTo>
                      <a:lnTo>
                        <a:pt x="181" y="160"/>
                      </a:lnTo>
                      <a:lnTo>
                        <a:pt x="186" y="159"/>
                      </a:lnTo>
                      <a:lnTo>
                        <a:pt x="190" y="160"/>
                      </a:lnTo>
                      <a:lnTo>
                        <a:pt x="191" y="163"/>
                      </a:lnTo>
                      <a:lnTo>
                        <a:pt x="195" y="163"/>
                      </a:lnTo>
                      <a:lnTo>
                        <a:pt x="196" y="160"/>
                      </a:lnTo>
                      <a:lnTo>
                        <a:pt x="199" y="160"/>
                      </a:lnTo>
                      <a:lnTo>
                        <a:pt x="201" y="16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6" name="Freeform 165">
                  <a:extLst>
                    <a:ext uri="{FF2B5EF4-FFF2-40B4-BE49-F238E27FC236}">
                      <a16:creationId xmlns:a16="http://schemas.microsoft.com/office/drawing/2014/main" xmlns="" id="{3508DBF6-BEF8-46BC-9EF9-74671EFDA3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1" y="1302"/>
                  <a:ext cx="227" cy="147"/>
                </a:xfrm>
                <a:custGeom>
                  <a:avLst/>
                  <a:gdLst>
                    <a:gd name="T0" fmla="*/ 227 w 227"/>
                    <a:gd name="T1" fmla="*/ 92 h 147"/>
                    <a:gd name="T2" fmla="*/ 218 w 227"/>
                    <a:gd name="T3" fmla="*/ 85 h 147"/>
                    <a:gd name="T4" fmla="*/ 187 w 227"/>
                    <a:gd name="T5" fmla="*/ 71 h 147"/>
                    <a:gd name="T6" fmla="*/ 160 w 227"/>
                    <a:gd name="T7" fmla="*/ 54 h 147"/>
                    <a:gd name="T8" fmla="*/ 152 w 227"/>
                    <a:gd name="T9" fmla="*/ 41 h 147"/>
                    <a:gd name="T10" fmla="*/ 139 w 227"/>
                    <a:gd name="T11" fmla="*/ 25 h 147"/>
                    <a:gd name="T12" fmla="*/ 115 w 227"/>
                    <a:gd name="T13" fmla="*/ 15 h 147"/>
                    <a:gd name="T14" fmla="*/ 95 w 227"/>
                    <a:gd name="T15" fmla="*/ 0 h 147"/>
                    <a:gd name="T16" fmla="*/ 89 w 227"/>
                    <a:gd name="T17" fmla="*/ 5 h 147"/>
                    <a:gd name="T18" fmla="*/ 77 w 227"/>
                    <a:gd name="T19" fmla="*/ 10 h 147"/>
                    <a:gd name="T20" fmla="*/ 71 w 227"/>
                    <a:gd name="T21" fmla="*/ 23 h 147"/>
                    <a:gd name="T22" fmla="*/ 66 w 227"/>
                    <a:gd name="T23" fmla="*/ 28 h 147"/>
                    <a:gd name="T24" fmla="*/ 40 w 227"/>
                    <a:gd name="T25" fmla="*/ 18 h 147"/>
                    <a:gd name="T26" fmla="*/ 10 w 227"/>
                    <a:gd name="T27" fmla="*/ 13 h 147"/>
                    <a:gd name="T28" fmla="*/ 2 w 227"/>
                    <a:gd name="T29" fmla="*/ 26 h 147"/>
                    <a:gd name="T30" fmla="*/ 7 w 227"/>
                    <a:gd name="T31" fmla="*/ 33 h 147"/>
                    <a:gd name="T32" fmla="*/ 9 w 227"/>
                    <a:gd name="T33" fmla="*/ 46 h 147"/>
                    <a:gd name="T34" fmla="*/ 12 w 227"/>
                    <a:gd name="T35" fmla="*/ 59 h 147"/>
                    <a:gd name="T36" fmla="*/ 15 w 227"/>
                    <a:gd name="T37" fmla="*/ 61 h 147"/>
                    <a:gd name="T38" fmla="*/ 23 w 227"/>
                    <a:gd name="T39" fmla="*/ 59 h 147"/>
                    <a:gd name="T40" fmla="*/ 23 w 227"/>
                    <a:gd name="T41" fmla="*/ 67 h 147"/>
                    <a:gd name="T42" fmla="*/ 27 w 227"/>
                    <a:gd name="T43" fmla="*/ 71 h 147"/>
                    <a:gd name="T44" fmla="*/ 22 w 227"/>
                    <a:gd name="T45" fmla="*/ 69 h 147"/>
                    <a:gd name="T46" fmla="*/ 20 w 227"/>
                    <a:gd name="T47" fmla="*/ 77 h 147"/>
                    <a:gd name="T48" fmla="*/ 23 w 227"/>
                    <a:gd name="T49" fmla="*/ 74 h 147"/>
                    <a:gd name="T50" fmla="*/ 31 w 227"/>
                    <a:gd name="T51" fmla="*/ 79 h 147"/>
                    <a:gd name="T52" fmla="*/ 33 w 227"/>
                    <a:gd name="T53" fmla="*/ 90 h 147"/>
                    <a:gd name="T54" fmla="*/ 36 w 227"/>
                    <a:gd name="T55" fmla="*/ 111 h 147"/>
                    <a:gd name="T56" fmla="*/ 49 w 227"/>
                    <a:gd name="T57" fmla="*/ 105 h 147"/>
                    <a:gd name="T58" fmla="*/ 61 w 227"/>
                    <a:gd name="T59" fmla="*/ 97 h 147"/>
                    <a:gd name="T60" fmla="*/ 74 w 227"/>
                    <a:gd name="T61" fmla="*/ 92 h 147"/>
                    <a:gd name="T62" fmla="*/ 84 w 227"/>
                    <a:gd name="T63" fmla="*/ 92 h 147"/>
                    <a:gd name="T64" fmla="*/ 103 w 227"/>
                    <a:gd name="T65" fmla="*/ 105 h 147"/>
                    <a:gd name="T66" fmla="*/ 115 w 227"/>
                    <a:gd name="T67" fmla="*/ 105 h 147"/>
                    <a:gd name="T68" fmla="*/ 121 w 227"/>
                    <a:gd name="T69" fmla="*/ 111 h 147"/>
                    <a:gd name="T70" fmla="*/ 136 w 227"/>
                    <a:gd name="T71" fmla="*/ 121 h 147"/>
                    <a:gd name="T72" fmla="*/ 151 w 227"/>
                    <a:gd name="T73" fmla="*/ 128 h 147"/>
                    <a:gd name="T74" fmla="*/ 151 w 227"/>
                    <a:gd name="T75" fmla="*/ 138 h 147"/>
                    <a:gd name="T76" fmla="*/ 157 w 227"/>
                    <a:gd name="T77" fmla="*/ 141 h 147"/>
                    <a:gd name="T78" fmla="*/ 164 w 227"/>
                    <a:gd name="T79" fmla="*/ 141 h 147"/>
                    <a:gd name="T80" fmla="*/ 170 w 227"/>
                    <a:gd name="T81" fmla="*/ 146 h 147"/>
                    <a:gd name="T82" fmla="*/ 178 w 227"/>
                    <a:gd name="T83" fmla="*/ 144 h 147"/>
                    <a:gd name="T84" fmla="*/ 183 w 227"/>
                    <a:gd name="T85" fmla="*/ 138 h 147"/>
                    <a:gd name="T86" fmla="*/ 193 w 227"/>
                    <a:gd name="T87" fmla="*/ 131 h 147"/>
                    <a:gd name="T88" fmla="*/ 200 w 227"/>
                    <a:gd name="T89" fmla="*/ 128 h 147"/>
                    <a:gd name="T90" fmla="*/ 205 w 227"/>
                    <a:gd name="T91" fmla="*/ 115 h 147"/>
                    <a:gd name="T92" fmla="*/ 203 w 227"/>
                    <a:gd name="T93" fmla="*/ 108 h 147"/>
                    <a:gd name="T94" fmla="*/ 209 w 227"/>
                    <a:gd name="T95" fmla="*/ 105 h 147"/>
                    <a:gd name="T96" fmla="*/ 219 w 227"/>
                    <a:gd name="T97" fmla="*/ 100 h 147"/>
                    <a:gd name="T98" fmla="*/ 227 w 227"/>
                    <a:gd name="T99" fmla="*/ 103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27" h="147">
                      <a:moveTo>
                        <a:pt x="227" y="103"/>
                      </a:moveTo>
                      <a:lnTo>
                        <a:pt x="227" y="95"/>
                      </a:lnTo>
                      <a:lnTo>
                        <a:pt x="227" y="92"/>
                      </a:lnTo>
                      <a:lnTo>
                        <a:pt x="221" y="87"/>
                      </a:lnTo>
                      <a:lnTo>
                        <a:pt x="219" y="87"/>
                      </a:lnTo>
                      <a:lnTo>
                        <a:pt x="218" y="85"/>
                      </a:lnTo>
                      <a:lnTo>
                        <a:pt x="209" y="84"/>
                      </a:lnTo>
                      <a:lnTo>
                        <a:pt x="198" y="77"/>
                      </a:lnTo>
                      <a:lnTo>
                        <a:pt x="187" y="71"/>
                      </a:lnTo>
                      <a:lnTo>
                        <a:pt x="175" y="62"/>
                      </a:lnTo>
                      <a:lnTo>
                        <a:pt x="165" y="56"/>
                      </a:lnTo>
                      <a:lnTo>
                        <a:pt x="160" y="54"/>
                      </a:lnTo>
                      <a:lnTo>
                        <a:pt x="156" y="48"/>
                      </a:lnTo>
                      <a:lnTo>
                        <a:pt x="156" y="43"/>
                      </a:lnTo>
                      <a:lnTo>
                        <a:pt x="152" y="41"/>
                      </a:lnTo>
                      <a:lnTo>
                        <a:pt x="149" y="31"/>
                      </a:lnTo>
                      <a:lnTo>
                        <a:pt x="143" y="26"/>
                      </a:lnTo>
                      <a:lnTo>
                        <a:pt x="139" y="25"/>
                      </a:lnTo>
                      <a:lnTo>
                        <a:pt x="136" y="26"/>
                      </a:lnTo>
                      <a:lnTo>
                        <a:pt x="128" y="22"/>
                      </a:lnTo>
                      <a:lnTo>
                        <a:pt x="115" y="15"/>
                      </a:lnTo>
                      <a:lnTo>
                        <a:pt x="115" y="12"/>
                      </a:lnTo>
                      <a:lnTo>
                        <a:pt x="105" y="7"/>
                      </a:lnTo>
                      <a:lnTo>
                        <a:pt x="95" y="0"/>
                      </a:lnTo>
                      <a:lnTo>
                        <a:pt x="87" y="0"/>
                      </a:lnTo>
                      <a:lnTo>
                        <a:pt x="90" y="4"/>
                      </a:lnTo>
                      <a:lnTo>
                        <a:pt x="89" y="5"/>
                      </a:lnTo>
                      <a:lnTo>
                        <a:pt x="84" y="4"/>
                      </a:lnTo>
                      <a:lnTo>
                        <a:pt x="80" y="5"/>
                      </a:lnTo>
                      <a:lnTo>
                        <a:pt x="77" y="10"/>
                      </a:lnTo>
                      <a:lnTo>
                        <a:pt x="74" y="10"/>
                      </a:lnTo>
                      <a:lnTo>
                        <a:pt x="69" y="17"/>
                      </a:lnTo>
                      <a:lnTo>
                        <a:pt x="71" y="23"/>
                      </a:lnTo>
                      <a:lnTo>
                        <a:pt x="74" y="25"/>
                      </a:lnTo>
                      <a:lnTo>
                        <a:pt x="72" y="30"/>
                      </a:lnTo>
                      <a:lnTo>
                        <a:pt x="66" y="28"/>
                      </a:lnTo>
                      <a:lnTo>
                        <a:pt x="56" y="30"/>
                      </a:lnTo>
                      <a:lnTo>
                        <a:pt x="49" y="30"/>
                      </a:lnTo>
                      <a:lnTo>
                        <a:pt x="40" y="18"/>
                      </a:lnTo>
                      <a:lnTo>
                        <a:pt x="28" y="12"/>
                      </a:lnTo>
                      <a:lnTo>
                        <a:pt x="18" y="10"/>
                      </a:lnTo>
                      <a:lnTo>
                        <a:pt x="10" y="13"/>
                      </a:lnTo>
                      <a:lnTo>
                        <a:pt x="0" y="22"/>
                      </a:lnTo>
                      <a:lnTo>
                        <a:pt x="0" y="23"/>
                      </a:lnTo>
                      <a:lnTo>
                        <a:pt x="2" y="26"/>
                      </a:lnTo>
                      <a:lnTo>
                        <a:pt x="4" y="28"/>
                      </a:lnTo>
                      <a:lnTo>
                        <a:pt x="7" y="30"/>
                      </a:lnTo>
                      <a:lnTo>
                        <a:pt x="7" y="33"/>
                      </a:lnTo>
                      <a:lnTo>
                        <a:pt x="10" y="38"/>
                      </a:lnTo>
                      <a:lnTo>
                        <a:pt x="10" y="43"/>
                      </a:lnTo>
                      <a:lnTo>
                        <a:pt x="9" y="46"/>
                      </a:lnTo>
                      <a:lnTo>
                        <a:pt x="9" y="54"/>
                      </a:lnTo>
                      <a:lnTo>
                        <a:pt x="10" y="57"/>
                      </a:lnTo>
                      <a:lnTo>
                        <a:pt x="12" y="59"/>
                      </a:lnTo>
                      <a:lnTo>
                        <a:pt x="17" y="64"/>
                      </a:lnTo>
                      <a:lnTo>
                        <a:pt x="17" y="62"/>
                      </a:lnTo>
                      <a:lnTo>
                        <a:pt x="15" y="61"/>
                      </a:lnTo>
                      <a:lnTo>
                        <a:pt x="15" y="59"/>
                      </a:lnTo>
                      <a:lnTo>
                        <a:pt x="20" y="61"/>
                      </a:lnTo>
                      <a:lnTo>
                        <a:pt x="23" y="59"/>
                      </a:lnTo>
                      <a:lnTo>
                        <a:pt x="23" y="61"/>
                      </a:lnTo>
                      <a:lnTo>
                        <a:pt x="23" y="64"/>
                      </a:lnTo>
                      <a:lnTo>
                        <a:pt x="23" y="67"/>
                      </a:lnTo>
                      <a:lnTo>
                        <a:pt x="27" y="66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69"/>
                      </a:lnTo>
                      <a:lnTo>
                        <a:pt x="23" y="69"/>
                      </a:lnTo>
                      <a:lnTo>
                        <a:pt x="22" y="69"/>
                      </a:lnTo>
                      <a:lnTo>
                        <a:pt x="18" y="71"/>
                      </a:lnTo>
                      <a:lnTo>
                        <a:pt x="18" y="74"/>
                      </a:lnTo>
                      <a:lnTo>
                        <a:pt x="20" y="77"/>
                      </a:lnTo>
                      <a:lnTo>
                        <a:pt x="20" y="72"/>
                      </a:lnTo>
                      <a:lnTo>
                        <a:pt x="22" y="72"/>
                      </a:lnTo>
                      <a:lnTo>
                        <a:pt x="23" y="74"/>
                      </a:lnTo>
                      <a:lnTo>
                        <a:pt x="25" y="74"/>
                      </a:lnTo>
                      <a:lnTo>
                        <a:pt x="27" y="77"/>
                      </a:lnTo>
                      <a:lnTo>
                        <a:pt x="31" y="79"/>
                      </a:lnTo>
                      <a:lnTo>
                        <a:pt x="33" y="82"/>
                      </a:lnTo>
                      <a:lnTo>
                        <a:pt x="31" y="87"/>
                      </a:lnTo>
                      <a:lnTo>
                        <a:pt x="33" y="90"/>
                      </a:lnTo>
                      <a:lnTo>
                        <a:pt x="33" y="98"/>
                      </a:lnTo>
                      <a:lnTo>
                        <a:pt x="35" y="103"/>
                      </a:lnTo>
                      <a:lnTo>
                        <a:pt x="36" y="111"/>
                      </a:lnTo>
                      <a:lnTo>
                        <a:pt x="40" y="110"/>
                      </a:lnTo>
                      <a:lnTo>
                        <a:pt x="48" y="110"/>
                      </a:lnTo>
                      <a:lnTo>
                        <a:pt x="49" y="105"/>
                      </a:lnTo>
                      <a:lnTo>
                        <a:pt x="51" y="102"/>
                      </a:lnTo>
                      <a:lnTo>
                        <a:pt x="54" y="102"/>
                      </a:lnTo>
                      <a:lnTo>
                        <a:pt x="61" y="97"/>
                      </a:lnTo>
                      <a:lnTo>
                        <a:pt x="67" y="95"/>
                      </a:lnTo>
                      <a:lnTo>
                        <a:pt x="74" y="97"/>
                      </a:lnTo>
                      <a:lnTo>
                        <a:pt x="74" y="92"/>
                      </a:lnTo>
                      <a:lnTo>
                        <a:pt x="77" y="92"/>
                      </a:lnTo>
                      <a:lnTo>
                        <a:pt x="80" y="93"/>
                      </a:lnTo>
                      <a:lnTo>
                        <a:pt x="84" y="92"/>
                      </a:lnTo>
                      <a:lnTo>
                        <a:pt x="90" y="97"/>
                      </a:lnTo>
                      <a:lnTo>
                        <a:pt x="95" y="98"/>
                      </a:lnTo>
                      <a:lnTo>
                        <a:pt x="103" y="105"/>
                      </a:lnTo>
                      <a:lnTo>
                        <a:pt x="107" y="105"/>
                      </a:lnTo>
                      <a:lnTo>
                        <a:pt x="108" y="103"/>
                      </a:lnTo>
                      <a:lnTo>
                        <a:pt x="115" y="105"/>
                      </a:lnTo>
                      <a:lnTo>
                        <a:pt x="118" y="106"/>
                      </a:lnTo>
                      <a:lnTo>
                        <a:pt x="120" y="111"/>
                      </a:lnTo>
                      <a:lnTo>
                        <a:pt x="121" y="111"/>
                      </a:lnTo>
                      <a:lnTo>
                        <a:pt x="125" y="111"/>
                      </a:lnTo>
                      <a:lnTo>
                        <a:pt x="131" y="113"/>
                      </a:lnTo>
                      <a:lnTo>
                        <a:pt x="136" y="121"/>
                      </a:lnTo>
                      <a:lnTo>
                        <a:pt x="144" y="123"/>
                      </a:lnTo>
                      <a:lnTo>
                        <a:pt x="147" y="124"/>
                      </a:lnTo>
                      <a:lnTo>
                        <a:pt x="151" y="128"/>
                      </a:lnTo>
                      <a:lnTo>
                        <a:pt x="149" y="131"/>
                      </a:lnTo>
                      <a:lnTo>
                        <a:pt x="151" y="134"/>
                      </a:lnTo>
                      <a:lnTo>
                        <a:pt x="151" y="138"/>
                      </a:lnTo>
                      <a:lnTo>
                        <a:pt x="152" y="139"/>
                      </a:lnTo>
                      <a:lnTo>
                        <a:pt x="152" y="139"/>
                      </a:lnTo>
                      <a:lnTo>
                        <a:pt x="157" y="141"/>
                      </a:lnTo>
                      <a:lnTo>
                        <a:pt x="159" y="142"/>
                      </a:lnTo>
                      <a:lnTo>
                        <a:pt x="162" y="142"/>
                      </a:lnTo>
                      <a:lnTo>
                        <a:pt x="164" y="141"/>
                      </a:lnTo>
                      <a:lnTo>
                        <a:pt x="167" y="141"/>
                      </a:lnTo>
                      <a:lnTo>
                        <a:pt x="170" y="142"/>
                      </a:lnTo>
                      <a:lnTo>
                        <a:pt x="170" y="146"/>
                      </a:lnTo>
                      <a:lnTo>
                        <a:pt x="172" y="147"/>
                      </a:lnTo>
                      <a:lnTo>
                        <a:pt x="174" y="144"/>
                      </a:lnTo>
                      <a:lnTo>
                        <a:pt x="178" y="144"/>
                      </a:lnTo>
                      <a:lnTo>
                        <a:pt x="180" y="141"/>
                      </a:lnTo>
                      <a:lnTo>
                        <a:pt x="182" y="139"/>
                      </a:lnTo>
                      <a:lnTo>
                        <a:pt x="183" y="138"/>
                      </a:lnTo>
                      <a:lnTo>
                        <a:pt x="182" y="136"/>
                      </a:lnTo>
                      <a:lnTo>
                        <a:pt x="187" y="133"/>
                      </a:lnTo>
                      <a:lnTo>
                        <a:pt x="193" y="131"/>
                      </a:lnTo>
                      <a:lnTo>
                        <a:pt x="195" y="129"/>
                      </a:lnTo>
                      <a:lnTo>
                        <a:pt x="196" y="128"/>
                      </a:lnTo>
                      <a:lnTo>
                        <a:pt x="200" y="128"/>
                      </a:lnTo>
                      <a:lnTo>
                        <a:pt x="200" y="123"/>
                      </a:lnTo>
                      <a:lnTo>
                        <a:pt x="200" y="118"/>
                      </a:lnTo>
                      <a:lnTo>
                        <a:pt x="205" y="115"/>
                      </a:lnTo>
                      <a:lnTo>
                        <a:pt x="205" y="111"/>
                      </a:lnTo>
                      <a:lnTo>
                        <a:pt x="203" y="110"/>
                      </a:lnTo>
                      <a:lnTo>
                        <a:pt x="203" y="108"/>
                      </a:lnTo>
                      <a:lnTo>
                        <a:pt x="205" y="108"/>
                      </a:lnTo>
                      <a:lnTo>
                        <a:pt x="206" y="106"/>
                      </a:lnTo>
                      <a:lnTo>
                        <a:pt x="209" y="105"/>
                      </a:lnTo>
                      <a:lnTo>
                        <a:pt x="211" y="105"/>
                      </a:lnTo>
                      <a:lnTo>
                        <a:pt x="216" y="102"/>
                      </a:lnTo>
                      <a:lnTo>
                        <a:pt x="219" y="100"/>
                      </a:lnTo>
                      <a:lnTo>
                        <a:pt x="223" y="102"/>
                      </a:lnTo>
                      <a:lnTo>
                        <a:pt x="226" y="102"/>
                      </a:lnTo>
                      <a:lnTo>
                        <a:pt x="227" y="103"/>
                      </a:lnTo>
                      <a:lnTo>
                        <a:pt x="227" y="10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7" name="Freeform 166">
                  <a:extLst>
                    <a:ext uri="{FF2B5EF4-FFF2-40B4-BE49-F238E27FC236}">
                      <a16:creationId xmlns:a16="http://schemas.microsoft.com/office/drawing/2014/main" xmlns="" id="{80416B09-5B62-4A91-B767-D1BDC5AB53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60" y="2346"/>
                  <a:ext cx="47" cy="41"/>
                </a:xfrm>
                <a:custGeom>
                  <a:avLst/>
                  <a:gdLst>
                    <a:gd name="T0" fmla="*/ 21 w 47"/>
                    <a:gd name="T1" fmla="*/ 13 h 41"/>
                    <a:gd name="T2" fmla="*/ 23 w 47"/>
                    <a:gd name="T3" fmla="*/ 8 h 41"/>
                    <a:gd name="T4" fmla="*/ 28 w 47"/>
                    <a:gd name="T5" fmla="*/ 8 h 41"/>
                    <a:gd name="T6" fmla="*/ 31 w 47"/>
                    <a:gd name="T7" fmla="*/ 7 h 41"/>
                    <a:gd name="T8" fmla="*/ 34 w 47"/>
                    <a:gd name="T9" fmla="*/ 8 h 41"/>
                    <a:gd name="T10" fmla="*/ 39 w 47"/>
                    <a:gd name="T11" fmla="*/ 4 h 41"/>
                    <a:gd name="T12" fmla="*/ 41 w 47"/>
                    <a:gd name="T13" fmla="*/ 4 h 41"/>
                    <a:gd name="T14" fmla="*/ 46 w 47"/>
                    <a:gd name="T15" fmla="*/ 0 h 41"/>
                    <a:gd name="T16" fmla="*/ 47 w 47"/>
                    <a:gd name="T17" fmla="*/ 2 h 41"/>
                    <a:gd name="T18" fmla="*/ 44 w 47"/>
                    <a:gd name="T19" fmla="*/ 5 h 41"/>
                    <a:gd name="T20" fmla="*/ 44 w 47"/>
                    <a:gd name="T21" fmla="*/ 8 h 41"/>
                    <a:gd name="T22" fmla="*/ 39 w 47"/>
                    <a:gd name="T23" fmla="*/ 12 h 41"/>
                    <a:gd name="T24" fmla="*/ 42 w 47"/>
                    <a:gd name="T25" fmla="*/ 13 h 41"/>
                    <a:gd name="T26" fmla="*/ 44 w 47"/>
                    <a:gd name="T27" fmla="*/ 10 h 41"/>
                    <a:gd name="T28" fmla="*/ 46 w 47"/>
                    <a:gd name="T29" fmla="*/ 12 h 41"/>
                    <a:gd name="T30" fmla="*/ 44 w 47"/>
                    <a:gd name="T31" fmla="*/ 15 h 41"/>
                    <a:gd name="T32" fmla="*/ 36 w 47"/>
                    <a:gd name="T33" fmla="*/ 17 h 41"/>
                    <a:gd name="T34" fmla="*/ 34 w 47"/>
                    <a:gd name="T35" fmla="*/ 13 h 41"/>
                    <a:gd name="T36" fmla="*/ 31 w 47"/>
                    <a:gd name="T37" fmla="*/ 13 h 41"/>
                    <a:gd name="T38" fmla="*/ 31 w 47"/>
                    <a:gd name="T39" fmla="*/ 15 h 41"/>
                    <a:gd name="T40" fmla="*/ 26 w 47"/>
                    <a:gd name="T41" fmla="*/ 15 h 41"/>
                    <a:gd name="T42" fmla="*/ 25 w 47"/>
                    <a:gd name="T43" fmla="*/ 18 h 41"/>
                    <a:gd name="T44" fmla="*/ 21 w 47"/>
                    <a:gd name="T45" fmla="*/ 13 h 41"/>
                    <a:gd name="T46" fmla="*/ 21 w 47"/>
                    <a:gd name="T47" fmla="*/ 13 h 41"/>
                    <a:gd name="T48" fmla="*/ 3 w 47"/>
                    <a:gd name="T49" fmla="*/ 30 h 41"/>
                    <a:gd name="T50" fmla="*/ 8 w 47"/>
                    <a:gd name="T51" fmla="*/ 25 h 41"/>
                    <a:gd name="T52" fmla="*/ 15 w 47"/>
                    <a:gd name="T53" fmla="*/ 23 h 41"/>
                    <a:gd name="T54" fmla="*/ 21 w 47"/>
                    <a:gd name="T55" fmla="*/ 28 h 41"/>
                    <a:gd name="T56" fmla="*/ 23 w 47"/>
                    <a:gd name="T57" fmla="*/ 38 h 41"/>
                    <a:gd name="T58" fmla="*/ 18 w 47"/>
                    <a:gd name="T59" fmla="*/ 41 h 41"/>
                    <a:gd name="T60" fmla="*/ 15 w 47"/>
                    <a:gd name="T61" fmla="*/ 40 h 41"/>
                    <a:gd name="T62" fmla="*/ 11 w 47"/>
                    <a:gd name="T63" fmla="*/ 41 h 41"/>
                    <a:gd name="T64" fmla="*/ 5 w 47"/>
                    <a:gd name="T65" fmla="*/ 41 h 41"/>
                    <a:gd name="T66" fmla="*/ 0 w 47"/>
                    <a:gd name="T67" fmla="*/ 38 h 41"/>
                    <a:gd name="T68" fmla="*/ 0 w 47"/>
                    <a:gd name="T69" fmla="*/ 33 h 41"/>
                    <a:gd name="T70" fmla="*/ 3 w 47"/>
                    <a:gd name="T71" fmla="*/ 33 h 41"/>
                    <a:gd name="T72" fmla="*/ 3 w 47"/>
                    <a:gd name="T73" fmla="*/ 3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7" h="41">
                      <a:moveTo>
                        <a:pt x="21" y="13"/>
                      </a:moveTo>
                      <a:lnTo>
                        <a:pt x="23" y="8"/>
                      </a:lnTo>
                      <a:lnTo>
                        <a:pt x="28" y="8"/>
                      </a:lnTo>
                      <a:lnTo>
                        <a:pt x="31" y="7"/>
                      </a:lnTo>
                      <a:lnTo>
                        <a:pt x="34" y="8"/>
                      </a:lnTo>
                      <a:lnTo>
                        <a:pt x="39" y="4"/>
                      </a:lnTo>
                      <a:lnTo>
                        <a:pt x="41" y="4"/>
                      </a:lnTo>
                      <a:lnTo>
                        <a:pt x="46" y="0"/>
                      </a:lnTo>
                      <a:lnTo>
                        <a:pt x="47" y="2"/>
                      </a:lnTo>
                      <a:lnTo>
                        <a:pt x="44" y="5"/>
                      </a:lnTo>
                      <a:lnTo>
                        <a:pt x="44" y="8"/>
                      </a:lnTo>
                      <a:lnTo>
                        <a:pt x="39" y="12"/>
                      </a:lnTo>
                      <a:lnTo>
                        <a:pt x="42" y="13"/>
                      </a:lnTo>
                      <a:lnTo>
                        <a:pt x="44" y="10"/>
                      </a:lnTo>
                      <a:lnTo>
                        <a:pt x="46" y="12"/>
                      </a:lnTo>
                      <a:lnTo>
                        <a:pt x="44" y="15"/>
                      </a:lnTo>
                      <a:lnTo>
                        <a:pt x="36" y="17"/>
                      </a:lnTo>
                      <a:lnTo>
                        <a:pt x="34" y="13"/>
                      </a:lnTo>
                      <a:lnTo>
                        <a:pt x="31" y="13"/>
                      </a:lnTo>
                      <a:lnTo>
                        <a:pt x="31" y="15"/>
                      </a:lnTo>
                      <a:lnTo>
                        <a:pt x="26" y="15"/>
                      </a:lnTo>
                      <a:lnTo>
                        <a:pt x="25" y="18"/>
                      </a:lnTo>
                      <a:lnTo>
                        <a:pt x="21" y="13"/>
                      </a:lnTo>
                      <a:lnTo>
                        <a:pt x="21" y="13"/>
                      </a:lnTo>
                      <a:close/>
                      <a:moveTo>
                        <a:pt x="3" y="30"/>
                      </a:moveTo>
                      <a:lnTo>
                        <a:pt x="8" y="25"/>
                      </a:lnTo>
                      <a:lnTo>
                        <a:pt x="15" y="23"/>
                      </a:lnTo>
                      <a:lnTo>
                        <a:pt x="21" y="28"/>
                      </a:lnTo>
                      <a:lnTo>
                        <a:pt x="23" y="38"/>
                      </a:lnTo>
                      <a:lnTo>
                        <a:pt x="18" y="41"/>
                      </a:lnTo>
                      <a:lnTo>
                        <a:pt x="15" y="40"/>
                      </a:lnTo>
                      <a:lnTo>
                        <a:pt x="11" y="41"/>
                      </a:lnTo>
                      <a:lnTo>
                        <a:pt x="5" y="41"/>
                      </a:lnTo>
                      <a:lnTo>
                        <a:pt x="0" y="38"/>
                      </a:lnTo>
                      <a:lnTo>
                        <a:pt x="0" y="33"/>
                      </a:lnTo>
                      <a:lnTo>
                        <a:pt x="3" y="33"/>
                      </a:lnTo>
                      <a:lnTo>
                        <a:pt x="3" y="3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8" name="Freeform 167">
                  <a:extLst>
                    <a:ext uri="{FF2B5EF4-FFF2-40B4-BE49-F238E27FC236}">
                      <a16:creationId xmlns:a16="http://schemas.microsoft.com/office/drawing/2014/main" xmlns="" id="{EEB70393-FD3A-49A1-B6E3-4DA2CE6AFA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5" y="2315"/>
                  <a:ext cx="36" cy="97"/>
                </a:xfrm>
                <a:custGeom>
                  <a:avLst/>
                  <a:gdLst>
                    <a:gd name="T0" fmla="*/ 22 w 22"/>
                    <a:gd name="T1" fmla="*/ 58 h 59"/>
                    <a:gd name="T2" fmla="*/ 21 w 22"/>
                    <a:gd name="T3" fmla="*/ 57 h 59"/>
                    <a:gd name="T4" fmla="*/ 20 w 22"/>
                    <a:gd name="T5" fmla="*/ 47 h 59"/>
                    <a:gd name="T6" fmla="*/ 21 w 22"/>
                    <a:gd name="T7" fmla="*/ 51 h 59"/>
                    <a:gd name="T8" fmla="*/ 19 w 22"/>
                    <a:gd name="T9" fmla="*/ 47 h 59"/>
                    <a:gd name="T10" fmla="*/ 13 w 22"/>
                    <a:gd name="T11" fmla="*/ 35 h 59"/>
                    <a:gd name="T12" fmla="*/ 17 w 22"/>
                    <a:gd name="T13" fmla="*/ 35 h 59"/>
                    <a:gd name="T14" fmla="*/ 15 w 22"/>
                    <a:gd name="T15" fmla="*/ 38 h 59"/>
                    <a:gd name="T16" fmla="*/ 13 w 22"/>
                    <a:gd name="T17" fmla="*/ 35 h 59"/>
                    <a:gd name="T18" fmla="*/ 17 w 22"/>
                    <a:gd name="T19" fmla="*/ 6 h 59"/>
                    <a:gd name="T20" fmla="*/ 16 w 22"/>
                    <a:gd name="T21" fmla="*/ 6 h 59"/>
                    <a:gd name="T22" fmla="*/ 11 w 22"/>
                    <a:gd name="T23" fmla="*/ 9 h 59"/>
                    <a:gd name="T24" fmla="*/ 14 w 22"/>
                    <a:gd name="T25" fmla="*/ 8 h 59"/>
                    <a:gd name="T26" fmla="*/ 12 w 22"/>
                    <a:gd name="T27" fmla="*/ 8 h 59"/>
                    <a:gd name="T28" fmla="*/ 16 w 22"/>
                    <a:gd name="T29" fmla="*/ 11 h 59"/>
                    <a:gd name="T30" fmla="*/ 16 w 22"/>
                    <a:gd name="T31" fmla="*/ 14 h 59"/>
                    <a:gd name="T32" fmla="*/ 16 w 22"/>
                    <a:gd name="T33" fmla="*/ 15 h 59"/>
                    <a:gd name="T34" fmla="*/ 16 w 22"/>
                    <a:gd name="T35" fmla="*/ 11 h 59"/>
                    <a:gd name="T36" fmla="*/ 15 w 22"/>
                    <a:gd name="T37" fmla="*/ 24 h 59"/>
                    <a:gd name="T38" fmla="*/ 17 w 22"/>
                    <a:gd name="T39" fmla="*/ 26 h 59"/>
                    <a:gd name="T40" fmla="*/ 14 w 22"/>
                    <a:gd name="T41" fmla="*/ 26 h 59"/>
                    <a:gd name="T42" fmla="*/ 15 w 22"/>
                    <a:gd name="T43" fmla="*/ 18 h 59"/>
                    <a:gd name="T44" fmla="*/ 16 w 22"/>
                    <a:gd name="T45" fmla="*/ 20 h 59"/>
                    <a:gd name="T46" fmla="*/ 15 w 22"/>
                    <a:gd name="T47" fmla="*/ 21 h 59"/>
                    <a:gd name="T48" fmla="*/ 13 w 22"/>
                    <a:gd name="T49" fmla="*/ 22 h 59"/>
                    <a:gd name="T50" fmla="*/ 12 w 22"/>
                    <a:gd name="T51" fmla="*/ 20 h 59"/>
                    <a:gd name="T52" fmla="*/ 7 w 22"/>
                    <a:gd name="T53" fmla="*/ 15 h 59"/>
                    <a:gd name="T54" fmla="*/ 9 w 22"/>
                    <a:gd name="T55" fmla="*/ 18 h 59"/>
                    <a:gd name="T56" fmla="*/ 11 w 22"/>
                    <a:gd name="T57" fmla="*/ 22 h 59"/>
                    <a:gd name="T58" fmla="*/ 7 w 22"/>
                    <a:gd name="T59" fmla="*/ 24 h 59"/>
                    <a:gd name="T60" fmla="*/ 7 w 22"/>
                    <a:gd name="T61" fmla="*/ 20 h 59"/>
                    <a:gd name="T62" fmla="*/ 7 w 22"/>
                    <a:gd name="T63" fmla="*/ 17 h 59"/>
                    <a:gd name="T64" fmla="*/ 5 w 22"/>
                    <a:gd name="T65" fmla="*/ 16 h 59"/>
                    <a:gd name="T66" fmla="*/ 1 w 22"/>
                    <a:gd name="T67" fmla="*/ 1 h 59"/>
                    <a:gd name="T68" fmla="*/ 1 w 22"/>
                    <a:gd name="T69" fmla="*/ 7 h 59"/>
                    <a:gd name="T70" fmla="*/ 2 w 22"/>
                    <a:gd name="T71" fmla="*/ 12 h 59"/>
                    <a:gd name="T72" fmla="*/ 4 w 22"/>
                    <a:gd name="T73" fmla="*/ 11 h 59"/>
                    <a:gd name="T74" fmla="*/ 7 w 22"/>
                    <a:gd name="T75" fmla="*/ 10 h 59"/>
                    <a:gd name="T76" fmla="*/ 6 w 22"/>
                    <a:gd name="T77" fmla="*/ 7 h 59"/>
                    <a:gd name="T78" fmla="*/ 5 w 22"/>
                    <a:gd name="T79" fmla="*/ 3 h 59"/>
                    <a:gd name="T80" fmla="*/ 5 w 22"/>
                    <a:gd name="T81" fmla="*/ 6 h 59"/>
                    <a:gd name="T82" fmla="*/ 2 w 22"/>
                    <a:gd name="T83" fmla="*/ 6 h 59"/>
                    <a:gd name="T84" fmla="*/ 1 w 22"/>
                    <a:gd name="T85" fmla="*/ 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2" h="59">
                      <a:moveTo>
                        <a:pt x="21" y="56"/>
                      </a:moveTo>
                      <a:cubicBezTo>
                        <a:pt x="22" y="58"/>
                        <a:pt x="22" y="58"/>
                        <a:pt x="22" y="58"/>
                      </a:cubicBezTo>
                      <a:cubicBezTo>
                        <a:pt x="22" y="59"/>
                        <a:pt x="22" y="59"/>
                        <a:pt x="22" y="59"/>
                      </a:cubicBezTo>
                      <a:cubicBezTo>
                        <a:pt x="21" y="57"/>
                        <a:pt x="21" y="57"/>
                        <a:pt x="21" y="57"/>
                      </a:cubicBezTo>
                      <a:cubicBezTo>
                        <a:pt x="21" y="56"/>
                        <a:pt x="21" y="56"/>
                        <a:pt x="21" y="56"/>
                      </a:cubicBezTo>
                      <a:close/>
                      <a:moveTo>
                        <a:pt x="20" y="47"/>
                      </a:move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0" y="50"/>
                        <a:pt x="20" y="50"/>
                        <a:pt x="20" y="50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20" y="47"/>
                        <a:pt x="20" y="47"/>
                        <a:pt x="20" y="47"/>
                      </a:cubicBezTo>
                      <a:close/>
                      <a:moveTo>
                        <a:pt x="13" y="35"/>
                      </a:moveTo>
                      <a:cubicBezTo>
                        <a:pt x="16" y="34"/>
                        <a:pt x="16" y="34"/>
                        <a:pt x="16" y="34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5" y="38"/>
                        <a:pt x="15" y="38"/>
                        <a:pt x="15" y="38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5"/>
                        <a:pt x="13" y="35"/>
                        <a:pt x="13" y="35"/>
                      </a:cubicBezTo>
                      <a:close/>
                      <a:moveTo>
                        <a:pt x="16" y="3"/>
                      </a:moveTo>
                      <a:cubicBezTo>
                        <a:pt x="17" y="6"/>
                        <a:pt x="17" y="6"/>
                        <a:pt x="17" y="6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3"/>
                        <a:pt x="16" y="3"/>
                        <a:pt x="16" y="3"/>
                      </a:cubicBezTo>
                      <a:close/>
                      <a:moveTo>
                        <a:pt x="11" y="9"/>
                      </a:move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9"/>
                        <a:pt x="11" y="9"/>
                      </a:cubicBezTo>
                      <a:close/>
                      <a:moveTo>
                        <a:pt x="16" y="11"/>
                      </a:move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6" y="14"/>
                        <a:pt x="16" y="14"/>
                        <a:pt x="16" y="14"/>
                      </a:cubicBezTo>
                      <a:cubicBezTo>
                        <a:pt x="17" y="15"/>
                        <a:pt x="17" y="15"/>
                        <a:pt x="17" y="15"/>
                      </a:cubicBez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6" y="11"/>
                        <a:pt x="16" y="11"/>
                      </a:cubicBezTo>
                      <a:close/>
                      <a:moveTo>
                        <a:pt x="14" y="26"/>
                      </a:move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15" y="26"/>
                        <a:pt x="15" y="26"/>
                        <a:pt x="15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lose/>
                      <a:moveTo>
                        <a:pt x="12" y="20"/>
                      </a:move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5" y="21"/>
                        <a:pt x="15" y="21"/>
                        <a:pt x="15" y="2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close/>
                      <a:moveTo>
                        <a:pt x="6" y="15"/>
                      </a:move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9" y="23"/>
                        <a:pt x="9" y="23"/>
                        <a:pt x="9" y="23"/>
                      </a:cubicBezTo>
                      <a:cubicBezTo>
                        <a:pt x="7" y="24"/>
                        <a:pt x="7" y="24"/>
                        <a:pt x="7" y="24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7" y="20"/>
                        <a:pt x="7" y="20"/>
                        <a:pt x="7" y="20"/>
                      </a:cubicBezTo>
                      <a:cubicBezTo>
                        <a:pt x="8" y="18"/>
                        <a:pt x="8" y="18"/>
                        <a:pt x="8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close/>
                      <a:moveTo>
                        <a:pt x="1" y="1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6"/>
                        <a:pt x="5" y="6"/>
                        <a:pt x="5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1" y="0"/>
                        <a:pt x="1" y="1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79" name="Freeform 168">
                  <a:extLst>
                    <a:ext uri="{FF2B5EF4-FFF2-40B4-BE49-F238E27FC236}">
                      <a16:creationId xmlns:a16="http://schemas.microsoft.com/office/drawing/2014/main" xmlns="" id="{FDB07DEC-A9BF-4285-8AB2-256E890959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40" y="2167"/>
                  <a:ext cx="153" cy="94"/>
                </a:xfrm>
                <a:custGeom>
                  <a:avLst/>
                  <a:gdLst>
                    <a:gd name="T0" fmla="*/ 94 w 94"/>
                    <a:gd name="T1" fmla="*/ 47 h 58"/>
                    <a:gd name="T2" fmla="*/ 91 w 94"/>
                    <a:gd name="T3" fmla="*/ 49 h 58"/>
                    <a:gd name="T4" fmla="*/ 38 w 94"/>
                    <a:gd name="T5" fmla="*/ 55 h 58"/>
                    <a:gd name="T6" fmla="*/ 40 w 94"/>
                    <a:gd name="T7" fmla="*/ 58 h 58"/>
                    <a:gd name="T8" fmla="*/ 36 w 94"/>
                    <a:gd name="T9" fmla="*/ 57 h 58"/>
                    <a:gd name="T10" fmla="*/ 51 w 94"/>
                    <a:gd name="T11" fmla="*/ 43 h 58"/>
                    <a:gd name="T12" fmla="*/ 58 w 94"/>
                    <a:gd name="T13" fmla="*/ 47 h 58"/>
                    <a:gd name="T14" fmla="*/ 56 w 94"/>
                    <a:gd name="T15" fmla="*/ 49 h 58"/>
                    <a:gd name="T16" fmla="*/ 50 w 94"/>
                    <a:gd name="T17" fmla="*/ 44 h 58"/>
                    <a:gd name="T18" fmla="*/ 37 w 94"/>
                    <a:gd name="T19" fmla="*/ 33 h 58"/>
                    <a:gd name="T20" fmla="*/ 43 w 94"/>
                    <a:gd name="T21" fmla="*/ 36 h 58"/>
                    <a:gd name="T22" fmla="*/ 44 w 94"/>
                    <a:gd name="T23" fmla="*/ 39 h 58"/>
                    <a:gd name="T24" fmla="*/ 39 w 94"/>
                    <a:gd name="T25" fmla="*/ 37 h 58"/>
                    <a:gd name="T26" fmla="*/ 34 w 94"/>
                    <a:gd name="T27" fmla="*/ 32 h 58"/>
                    <a:gd name="T28" fmla="*/ 40 w 94"/>
                    <a:gd name="T29" fmla="*/ 28 h 58"/>
                    <a:gd name="T30" fmla="*/ 42 w 94"/>
                    <a:gd name="T31" fmla="*/ 29 h 58"/>
                    <a:gd name="T32" fmla="*/ 44 w 94"/>
                    <a:gd name="T33" fmla="*/ 24 h 58"/>
                    <a:gd name="T34" fmla="*/ 46 w 94"/>
                    <a:gd name="T35" fmla="*/ 30 h 58"/>
                    <a:gd name="T36" fmla="*/ 51 w 94"/>
                    <a:gd name="T37" fmla="*/ 35 h 58"/>
                    <a:gd name="T38" fmla="*/ 51 w 94"/>
                    <a:gd name="T39" fmla="*/ 32 h 58"/>
                    <a:gd name="T40" fmla="*/ 46 w 94"/>
                    <a:gd name="T41" fmla="*/ 26 h 58"/>
                    <a:gd name="T42" fmla="*/ 43 w 94"/>
                    <a:gd name="T43" fmla="*/ 22 h 58"/>
                    <a:gd name="T44" fmla="*/ 29 w 94"/>
                    <a:gd name="T45" fmla="*/ 16 h 58"/>
                    <a:gd name="T46" fmla="*/ 35 w 94"/>
                    <a:gd name="T47" fmla="*/ 22 h 58"/>
                    <a:gd name="T48" fmla="*/ 33 w 94"/>
                    <a:gd name="T49" fmla="*/ 23 h 58"/>
                    <a:gd name="T50" fmla="*/ 30 w 94"/>
                    <a:gd name="T51" fmla="*/ 20 h 58"/>
                    <a:gd name="T52" fmla="*/ 17 w 94"/>
                    <a:gd name="T53" fmla="*/ 24 h 58"/>
                    <a:gd name="T54" fmla="*/ 18 w 94"/>
                    <a:gd name="T55" fmla="*/ 26 h 58"/>
                    <a:gd name="T56" fmla="*/ 11 w 94"/>
                    <a:gd name="T57" fmla="*/ 24 h 58"/>
                    <a:gd name="T58" fmla="*/ 13 w 94"/>
                    <a:gd name="T59" fmla="*/ 24 h 58"/>
                    <a:gd name="T60" fmla="*/ 13 w 94"/>
                    <a:gd name="T61" fmla="*/ 21 h 58"/>
                    <a:gd name="T62" fmla="*/ 16 w 94"/>
                    <a:gd name="T63" fmla="*/ 23 h 58"/>
                    <a:gd name="T64" fmla="*/ 16 w 94"/>
                    <a:gd name="T65" fmla="*/ 20 h 58"/>
                    <a:gd name="T66" fmla="*/ 13 w 94"/>
                    <a:gd name="T67" fmla="*/ 17 h 58"/>
                    <a:gd name="T68" fmla="*/ 9 w 94"/>
                    <a:gd name="T69" fmla="*/ 17 h 58"/>
                    <a:gd name="T70" fmla="*/ 11 w 94"/>
                    <a:gd name="T71" fmla="*/ 18 h 58"/>
                    <a:gd name="T72" fmla="*/ 9 w 94"/>
                    <a:gd name="T73" fmla="*/ 17 h 58"/>
                    <a:gd name="T74" fmla="*/ 7 w 94"/>
                    <a:gd name="T75" fmla="*/ 17 h 58"/>
                    <a:gd name="T76" fmla="*/ 5 w 94"/>
                    <a:gd name="T77" fmla="*/ 15 h 58"/>
                    <a:gd name="T78" fmla="*/ 3 w 94"/>
                    <a:gd name="T79" fmla="*/ 2 h 58"/>
                    <a:gd name="T80" fmla="*/ 5 w 94"/>
                    <a:gd name="T81" fmla="*/ 3 h 58"/>
                    <a:gd name="T82" fmla="*/ 9 w 94"/>
                    <a:gd name="T83" fmla="*/ 9 h 58"/>
                    <a:gd name="T84" fmla="*/ 15 w 94"/>
                    <a:gd name="T85" fmla="*/ 11 h 58"/>
                    <a:gd name="T86" fmla="*/ 11 w 94"/>
                    <a:gd name="T87" fmla="*/ 8 h 58"/>
                    <a:gd name="T88" fmla="*/ 6 w 94"/>
                    <a:gd name="T89" fmla="*/ 5 h 58"/>
                    <a:gd name="T90" fmla="*/ 1 w 94"/>
                    <a:gd name="T91" fmla="*/ 5 h 58"/>
                    <a:gd name="T92" fmla="*/ 1 w 94"/>
                    <a:gd name="T93" fmla="*/ 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4" h="58">
                      <a:moveTo>
                        <a:pt x="91" y="48"/>
                      </a:moveTo>
                      <a:cubicBezTo>
                        <a:pt x="92" y="47"/>
                        <a:pt x="92" y="47"/>
                        <a:pt x="92" y="47"/>
                      </a:cubicBezTo>
                      <a:cubicBezTo>
                        <a:pt x="94" y="47"/>
                        <a:pt x="94" y="47"/>
                        <a:pt x="94" y="47"/>
                      </a:cubicBezTo>
                      <a:cubicBezTo>
                        <a:pt x="94" y="48"/>
                        <a:pt x="94" y="48"/>
                        <a:pt x="94" y="48"/>
                      </a:cubicBezTo>
                      <a:cubicBezTo>
                        <a:pt x="93" y="50"/>
                        <a:pt x="93" y="50"/>
                        <a:pt x="93" y="50"/>
                      </a:cubicBezTo>
                      <a:cubicBezTo>
                        <a:pt x="91" y="49"/>
                        <a:pt x="91" y="49"/>
                        <a:pt x="91" y="49"/>
                      </a:cubicBezTo>
                      <a:cubicBezTo>
                        <a:pt x="91" y="48"/>
                        <a:pt x="91" y="48"/>
                        <a:pt x="91" y="48"/>
                      </a:cubicBezTo>
                      <a:close/>
                      <a:moveTo>
                        <a:pt x="36" y="55"/>
                      </a:move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41" y="57"/>
                        <a:pt x="41" y="57"/>
                        <a:pt x="41" y="57"/>
                      </a:cubicBez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8"/>
                        <a:pt x="37" y="58"/>
                        <a:pt x="37" y="58"/>
                      </a:cubicBezTo>
                      <a:cubicBezTo>
                        <a:pt x="36" y="57"/>
                        <a:pt x="36" y="57"/>
                        <a:pt x="36" y="57"/>
                      </a:cubicBezTo>
                      <a:cubicBezTo>
                        <a:pt x="36" y="55"/>
                        <a:pt x="36" y="55"/>
                        <a:pt x="36" y="55"/>
                      </a:cubicBezTo>
                      <a:close/>
                      <a:moveTo>
                        <a:pt x="49" y="42"/>
                      </a:moveTo>
                      <a:cubicBezTo>
                        <a:pt x="51" y="43"/>
                        <a:pt x="51" y="43"/>
                        <a:pt x="51" y="43"/>
                      </a:cubicBez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7" y="45"/>
                        <a:pt x="57" y="45"/>
                        <a:pt x="57" y="45"/>
                      </a:cubicBezTo>
                      <a:cubicBezTo>
                        <a:pt x="58" y="47"/>
                        <a:pt x="58" y="47"/>
                        <a:pt x="58" y="47"/>
                      </a:cubicBezTo>
                      <a:cubicBezTo>
                        <a:pt x="58" y="48"/>
                        <a:pt x="58" y="48"/>
                        <a:pt x="58" y="48"/>
                      </a:cubicBezTo>
                      <a:cubicBezTo>
                        <a:pt x="58" y="49"/>
                        <a:pt x="58" y="49"/>
                        <a:pt x="58" y="49"/>
                      </a:cubicBezTo>
                      <a:cubicBezTo>
                        <a:pt x="56" y="49"/>
                        <a:pt x="56" y="49"/>
                        <a:pt x="56" y="49"/>
                      </a:cubicBezTo>
                      <a:cubicBezTo>
                        <a:pt x="53" y="48"/>
                        <a:pt x="53" y="48"/>
                        <a:pt x="53" y="48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lose/>
                      <a:moveTo>
                        <a:pt x="35" y="31"/>
                      </a:move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4" y="39"/>
                        <a:pt x="44" y="39"/>
                        <a:pt x="44" y="39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41" y="37"/>
                        <a:pt x="41" y="37"/>
                        <a:pt x="41" y="37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1"/>
                        <a:pt x="35" y="31"/>
                        <a:pt x="35" y="31"/>
                      </a:cubicBezTo>
                      <a:close/>
                      <a:moveTo>
                        <a:pt x="42" y="29"/>
                      </a:moveTo>
                      <a:cubicBezTo>
                        <a:pt x="40" y="28"/>
                        <a:pt x="40" y="28"/>
                        <a:pt x="40" y="2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30"/>
                        <a:pt x="42" y="30"/>
                        <a:pt x="42" y="30"/>
                      </a:cubicBezTo>
                      <a:cubicBezTo>
                        <a:pt x="42" y="29"/>
                        <a:pt x="42" y="29"/>
                        <a:pt x="42" y="29"/>
                      </a:cubicBezTo>
                      <a:close/>
                      <a:moveTo>
                        <a:pt x="43" y="22"/>
                      </a:moveTo>
                      <a:cubicBezTo>
                        <a:pt x="43" y="23"/>
                        <a:pt x="43" y="23"/>
                        <a:pt x="43" y="23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6"/>
                        <a:pt x="45" y="26"/>
                        <a:pt x="45" y="26"/>
                      </a:cubicBezTo>
                      <a:cubicBezTo>
                        <a:pt x="46" y="30"/>
                        <a:pt x="46" y="30"/>
                        <a:pt x="46" y="30"/>
                      </a:cubicBezTo>
                      <a:cubicBezTo>
                        <a:pt x="49" y="33"/>
                        <a:pt x="49" y="33"/>
                        <a:pt x="49" y="33"/>
                      </a:cubicBezTo>
                      <a:cubicBezTo>
                        <a:pt x="51" y="33"/>
                        <a:pt x="51" y="33"/>
                        <a:pt x="51" y="33"/>
                      </a:cubicBezTo>
                      <a:cubicBezTo>
                        <a:pt x="51" y="35"/>
                        <a:pt x="51" y="35"/>
                        <a:pt x="51" y="35"/>
                      </a:cubicBezTo>
                      <a:cubicBezTo>
                        <a:pt x="53" y="36"/>
                        <a:pt x="53" y="36"/>
                        <a:pt x="53" y="36"/>
                      </a:cubicBezTo>
                      <a:cubicBezTo>
                        <a:pt x="53" y="34"/>
                        <a:pt x="53" y="34"/>
                        <a:pt x="53" y="34"/>
                      </a:cubicBezTo>
                      <a:cubicBezTo>
                        <a:pt x="51" y="32"/>
                        <a:pt x="51" y="32"/>
                        <a:pt x="51" y="32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47" y="24"/>
                        <a:pt x="47" y="24"/>
                        <a:pt x="47" y="24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3" y="22"/>
                        <a:pt x="43" y="22"/>
                        <a:pt x="43" y="22"/>
                      </a:cubicBezTo>
                      <a:close/>
                      <a:moveTo>
                        <a:pt x="23" y="13"/>
                      </a:move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32" y="17"/>
                        <a:pt x="32" y="17"/>
                        <a:pt x="32" y="17"/>
                      </a:cubicBezTo>
                      <a:cubicBezTo>
                        <a:pt x="36" y="21"/>
                        <a:pt x="36" y="21"/>
                        <a:pt x="36" y="21"/>
                      </a:cubicBezTo>
                      <a:cubicBezTo>
                        <a:pt x="35" y="22"/>
                        <a:pt x="35" y="22"/>
                        <a:pt x="35" y="22"/>
                      </a:cubicBezTo>
                      <a:cubicBezTo>
                        <a:pt x="36" y="23"/>
                        <a:pt x="36" y="23"/>
                        <a:pt x="36" y="23"/>
                      </a:cubicBezTo>
                      <a:cubicBezTo>
                        <a:pt x="34" y="22"/>
                        <a:pt x="34" y="22"/>
                        <a:pt x="34" y="22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2" y="21"/>
                        <a:pt x="32" y="21"/>
                        <a:pt x="32" y="21"/>
                      </a:cubicBezTo>
                      <a:cubicBezTo>
                        <a:pt x="30" y="20"/>
                        <a:pt x="30" y="20"/>
                        <a:pt x="30" y="20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cubicBezTo>
                        <a:pt x="25" y="15"/>
                        <a:pt x="23" y="13"/>
                        <a:pt x="23" y="13"/>
                      </a:cubicBezTo>
                      <a:close/>
                      <a:moveTo>
                        <a:pt x="17" y="24"/>
                      </a:move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lose/>
                      <a:moveTo>
                        <a:pt x="11" y="24"/>
                      </a:move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3" y="24"/>
                        <a:pt x="13" y="24"/>
                        <a:pt x="13" y="24"/>
                      </a:cubicBezTo>
                      <a:cubicBezTo>
                        <a:pt x="11" y="24"/>
                        <a:pt x="11" y="24"/>
                        <a:pt x="11" y="24"/>
                      </a:cubicBezTo>
                      <a:close/>
                      <a:moveTo>
                        <a:pt x="12" y="21"/>
                      </a:move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5" y="19"/>
                        <a:pt x="15" y="19"/>
                        <a:pt x="15" y="19"/>
                      </a:cubicBez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lose/>
                      <a:moveTo>
                        <a:pt x="9" y="17"/>
                      </a:move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9" y="18"/>
                        <a:pt x="9" y="17"/>
                        <a:pt x="9" y="17"/>
                      </a:cubicBezTo>
                      <a:close/>
                      <a:moveTo>
                        <a:pt x="5" y="14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5" y="14"/>
                        <a:pt x="5" y="14"/>
                      </a:cubicBezTo>
                      <a:close/>
                      <a:moveTo>
                        <a:pt x="5" y="0"/>
                      </a:move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close/>
                      <a:moveTo>
                        <a:pt x="5" y="3"/>
                      </a:move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cubicBezTo>
                        <a:pt x="15" y="11"/>
                        <a:pt x="15" y="11"/>
                        <a:pt x="15" y="11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5" y="3"/>
                        <a:pt x="5" y="3"/>
                        <a:pt x="5" y="3"/>
                      </a:cubicBezTo>
                      <a:close/>
                      <a:moveTo>
                        <a:pt x="1" y="5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7"/>
                        <a:pt x="2" y="7"/>
                        <a:pt x="2" y="7"/>
                      </a:cubicBez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0" name="Freeform 169">
                  <a:extLst>
                    <a:ext uri="{FF2B5EF4-FFF2-40B4-BE49-F238E27FC236}">
                      <a16:creationId xmlns:a16="http://schemas.microsoft.com/office/drawing/2014/main" xmlns="" id="{1274FAA8-7633-4033-92B0-A3E1EEAA6D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8" y="2082"/>
                  <a:ext cx="240" cy="178"/>
                </a:xfrm>
                <a:custGeom>
                  <a:avLst/>
                  <a:gdLst>
                    <a:gd name="T0" fmla="*/ 118 w 147"/>
                    <a:gd name="T1" fmla="*/ 106 h 109"/>
                    <a:gd name="T2" fmla="*/ 118 w 147"/>
                    <a:gd name="T3" fmla="*/ 106 h 109"/>
                    <a:gd name="T4" fmla="*/ 63 w 147"/>
                    <a:gd name="T5" fmla="*/ 10 h 109"/>
                    <a:gd name="T6" fmla="*/ 140 w 147"/>
                    <a:gd name="T7" fmla="*/ 48 h 109"/>
                    <a:gd name="T8" fmla="*/ 142 w 147"/>
                    <a:gd name="T9" fmla="*/ 57 h 109"/>
                    <a:gd name="T10" fmla="*/ 136 w 147"/>
                    <a:gd name="T11" fmla="*/ 44 h 109"/>
                    <a:gd name="T12" fmla="*/ 131 w 147"/>
                    <a:gd name="T13" fmla="*/ 35 h 109"/>
                    <a:gd name="T14" fmla="*/ 103 w 147"/>
                    <a:gd name="T15" fmla="*/ 17 h 109"/>
                    <a:gd name="T16" fmla="*/ 119 w 147"/>
                    <a:gd name="T17" fmla="*/ 31 h 109"/>
                    <a:gd name="T18" fmla="*/ 116 w 147"/>
                    <a:gd name="T19" fmla="*/ 27 h 109"/>
                    <a:gd name="T20" fmla="*/ 87 w 147"/>
                    <a:gd name="T21" fmla="*/ 0 h 109"/>
                    <a:gd name="T22" fmla="*/ 94 w 147"/>
                    <a:gd name="T23" fmla="*/ 16 h 109"/>
                    <a:gd name="T24" fmla="*/ 90 w 147"/>
                    <a:gd name="T25" fmla="*/ 37 h 109"/>
                    <a:gd name="T26" fmla="*/ 81 w 147"/>
                    <a:gd name="T27" fmla="*/ 51 h 109"/>
                    <a:gd name="T28" fmla="*/ 99 w 147"/>
                    <a:gd name="T29" fmla="*/ 53 h 109"/>
                    <a:gd name="T30" fmla="*/ 110 w 147"/>
                    <a:gd name="T31" fmla="*/ 44 h 109"/>
                    <a:gd name="T32" fmla="*/ 112 w 147"/>
                    <a:gd name="T33" fmla="*/ 30 h 109"/>
                    <a:gd name="T34" fmla="*/ 106 w 147"/>
                    <a:gd name="T35" fmla="*/ 39 h 109"/>
                    <a:gd name="T36" fmla="*/ 94 w 147"/>
                    <a:gd name="T37" fmla="*/ 44 h 109"/>
                    <a:gd name="T38" fmla="*/ 87 w 147"/>
                    <a:gd name="T39" fmla="*/ 44 h 109"/>
                    <a:gd name="T40" fmla="*/ 67 w 147"/>
                    <a:gd name="T41" fmla="*/ 45 h 109"/>
                    <a:gd name="T42" fmla="*/ 61 w 147"/>
                    <a:gd name="T43" fmla="*/ 43 h 109"/>
                    <a:gd name="T44" fmla="*/ 52 w 147"/>
                    <a:gd name="T45" fmla="*/ 36 h 109"/>
                    <a:gd name="T46" fmla="*/ 114 w 147"/>
                    <a:gd name="T47" fmla="*/ 80 h 109"/>
                    <a:gd name="T48" fmla="*/ 100 w 147"/>
                    <a:gd name="T49" fmla="*/ 77 h 109"/>
                    <a:gd name="T50" fmla="*/ 98 w 147"/>
                    <a:gd name="T51" fmla="*/ 91 h 109"/>
                    <a:gd name="T52" fmla="*/ 97 w 147"/>
                    <a:gd name="T53" fmla="*/ 91 h 109"/>
                    <a:gd name="T54" fmla="*/ 96 w 147"/>
                    <a:gd name="T55" fmla="*/ 88 h 109"/>
                    <a:gd name="T56" fmla="*/ 94 w 147"/>
                    <a:gd name="T57" fmla="*/ 85 h 109"/>
                    <a:gd name="T58" fmla="*/ 91 w 147"/>
                    <a:gd name="T59" fmla="*/ 84 h 109"/>
                    <a:gd name="T60" fmla="*/ 37 w 147"/>
                    <a:gd name="T61" fmla="*/ 67 h 109"/>
                    <a:gd name="T62" fmla="*/ 36 w 147"/>
                    <a:gd name="T63" fmla="*/ 68 h 109"/>
                    <a:gd name="T64" fmla="*/ 31 w 147"/>
                    <a:gd name="T65" fmla="*/ 69 h 109"/>
                    <a:gd name="T66" fmla="*/ 26 w 147"/>
                    <a:gd name="T67" fmla="*/ 77 h 109"/>
                    <a:gd name="T68" fmla="*/ 23 w 147"/>
                    <a:gd name="T69" fmla="*/ 76 h 109"/>
                    <a:gd name="T70" fmla="*/ 26 w 147"/>
                    <a:gd name="T71" fmla="*/ 72 h 109"/>
                    <a:gd name="T72" fmla="*/ 3 w 147"/>
                    <a:gd name="T73" fmla="*/ 15 h 109"/>
                    <a:gd name="T74" fmla="*/ 6 w 147"/>
                    <a:gd name="T75" fmla="*/ 82 h 109"/>
                    <a:gd name="T76" fmla="*/ 22 w 147"/>
                    <a:gd name="T77" fmla="*/ 82 h 109"/>
                    <a:gd name="T78" fmla="*/ 13 w 147"/>
                    <a:gd name="T79" fmla="*/ 73 h 109"/>
                    <a:gd name="T80" fmla="*/ 8 w 147"/>
                    <a:gd name="T81" fmla="*/ 66 h 109"/>
                    <a:gd name="T82" fmla="*/ 17 w 147"/>
                    <a:gd name="T83" fmla="*/ 74 h 109"/>
                    <a:gd name="T84" fmla="*/ 23 w 147"/>
                    <a:gd name="T85" fmla="*/ 70 h 109"/>
                    <a:gd name="T86" fmla="*/ 27 w 147"/>
                    <a:gd name="T87" fmla="*/ 69 h 109"/>
                    <a:gd name="T88" fmla="*/ 30 w 147"/>
                    <a:gd name="T89" fmla="*/ 67 h 109"/>
                    <a:gd name="T90" fmla="*/ 33 w 147"/>
                    <a:gd name="T91" fmla="*/ 65 h 109"/>
                    <a:gd name="T92" fmla="*/ 41 w 147"/>
                    <a:gd name="T93" fmla="*/ 66 h 109"/>
                    <a:gd name="T94" fmla="*/ 53 w 147"/>
                    <a:gd name="T95" fmla="*/ 77 h 109"/>
                    <a:gd name="T96" fmla="*/ 65 w 147"/>
                    <a:gd name="T97" fmla="*/ 92 h 109"/>
                    <a:gd name="T98" fmla="*/ 81 w 147"/>
                    <a:gd name="T99" fmla="*/ 94 h 109"/>
                    <a:gd name="T100" fmla="*/ 91 w 147"/>
                    <a:gd name="T101" fmla="*/ 99 h 109"/>
                    <a:gd name="T102" fmla="*/ 96 w 147"/>
                    <a:gd name="T103" fmla="*/ 94 h 109"/>
                    <a:gd name="T104" fmla="*/ 87 w 147"/>
                    <a:gd name="T105" fmla="*/ 87 h 109"/>
                    <a:gd name="T106" fmla="*/ 79 w 147"/>
                    <a:gd name="T107" fmla="*/ 81 h 109"/>
                    <a:gd name="T108" fmla="*/ 70 w 147"/>
                    <a:gd name="T109" fmla="*/ 71 h 109"/>
                    <a:gd name="T110" fmla="*/ 59 w 147"/>
                    <a:gd name="T111" fmla="*/ 59 h 109"/>
                    <a:gd name="T112" fmla="*/ 62 w 147"/>
                    <a:gd name="T113" fmla="*/ 50 h 109"/>
                    <a:gd name="T114" fmla="*/ 49 w 147"/>
                    <a:gd name="T115" fmla="*/ 38 h 109"/>
                    <a:gd name="T116" fmla="*/ 37 w 147"/>
                    <a:gd name="T117" fmla="*/ 29 h 109"/>
                    <a:gd name="T118" fmla="*/ 19 w 147"/>
                    <a:gd name="T119" fmla="*/ 22 h 109"/>
                    <a:gd name="T120" fmla="*/ 4 w 147"/>
                    <a:gd name="T121" fmla="*/ 1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7" h="109">
                      <a:moveTo>
                        <a:pt x="126" y="106"/>
                      </a:moveTo>
                      <a:cubicBezTo>
                        <a:pt x="127" y="105"/>
                        <a:pt x="127" y="105"/>
                        <a:pt x="127" y="105"/>
                      </a:cubicBezTo>
                      <a:cubicBezTo>
                        <a:pt x="129" y="105"/>
                        <a:pt x="129" y="105"/>
                        <a:pt x="129" y="105"/>
                      </a:cubicBezTo>
                      <a:cubicBezTo>
                        <a:pt x="129" y="106"/>
                        <a:pt x="129" y="106"/>
                        <a:pt x="129" y="106"/>
                      </a:cubicBezTo>
                      <a:cubicBezTo>
                        <a:pt x="127" y="107"/>
                        <a:pt x="127" y="107"/>
                        <a:pt x="127" y="107"/>
                      </a:cubicBezTo>
                      <a:cubicBezTo>
                        <a:pt x="126" y="106"/>
                        <a:pt x="126" y="106"/>
                        <a:pt x="126" y="106"/>
                      </a:cubicBezTo>
                      <a:cubicBezTo>
                        <a:pt x="126" y="106"/>
                        <a:pt x="126" y="106"/>
                        <a:pt x="126" y="106"/>
                      </a:cubicBezTo>
                      <a:close/>
                      <a:moveTo>
                        <a:pt x="118" y="106"/>
                      </a:moveTo>
                      <a:cubicBezTo>
                        <a:pt x="121" y="109"/>
                        <a:pt x="121" y="109"/>
                        <a:pt x="121" y="109"/>
                      </a:cubicBezTo>
                      <a:cubicBezTo>
                        <a:pt x="122" y="109"/>
                        <a:pt x="122" y="109"/>
                        <a:pt x="122" y="109"/>
                      </a:cubicBezTo>
                      <a:cubicBezTo>
                        <a:pt x="123" y="109"/>
                        <a:pt x="123" y="109"/>
                        <a:pt x="123" y="109"/>
                      </a:cubicBezTo>
                      <a:cubicBezTo>
                        <a:pt x="123" y="109"/>
                        <a:pt x="123" y="109"/>
                        <a:pt x="123" y="109"/>
                      </a:cubicBezTo>
                      <a:cubicBezTo>
                        <a:pt x="123" y="107"/>
                        <a:pt x="123" y="107"/>
                        <a:pt x="123" y="107"/>
                      </a:cubicBezTo>
                      <a:cubicBezTo>
                        <a:pt x="121" y="108"/>
                        <a:pt x="121" y="108"/>
                        <a:pt x="121" y="108"/>
                      </a:cubicBezTo>
                      <a:cubicBezTo>
                        <a:pt x="119" y="106"/>
                        <a:pt x="119" y="106"/>
                        <a:pt x="119" y="106"/>
                      </a:cubicBezTo>
                      <a:cubicBezTo>
                        <a:pt x="118" y="106"/>
                        <a:pt x="118" y="106"/>
                        <a:pt x="118" y="106"/>
                      </a:cubicBezTo>
                      <a:close/>
                      <a:moveTo>
                        <a:pt x="57" y="8"/>
                      </a:moveTo>
                      <a:cubicBezTo>
                        <a:pt x="58" y="8"/>
                        <a:pt x="58" y="8"/>
                        <a:pt x="58" y="8"/>
                      </a:cubicBezTo>
                      <a:cubicBezTo>
                        <a:pt x="59" y="8"/>
                        <a:pt x="59" y="8"/>
                        <a:pt x="59" y="8"/>
                      </a:cubicBezTo>
                      <a:cubicBezTo>
                        <a:pt x="61" y="7"/>
                        <a:pt x="61" y="7"/>
                        <a:pt x="61" y="7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4" y="8"/>
                        <a:pt x="64" y="8"/>
                        <a:pt x="64" y="8"/>
                      </a:cubicBezTo>
                      <a:cubicBezTo>
                        <a:pt x="65" y="9"/>
                        <a:pt x="65" y="9"/>
                        <a:pt x="65" y="9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60" y="11"/>
                        <a:pt x="60" y="11"/>
                        <a:pt x="60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8" y="10"/>
                        <a:pt x="58" y="10"/>
                        <a:pt x="58" y="10"/>
                      </a:cubicBezTo>
                      <a:cubicBezTo>
                        <a:pt x="58" y="10"/>
                        <a:pt x="57" y="8"/>
                        <a:pt x="57" y="8"/>
                      </a:cubicBezTo>
                      <a:close/>
                      <a:moveTo>
                        <a:pt x="136" y="44"/>
                      </a:moveTo>
                      <a:cubicBezTo>
                        <a:pt x="138" y="43"/>
                        <a:pt x="138" y="43"/>
                        <a:pt x="138" y="43"/>
                      </a:cubicBezTo>
                      <a:cubicBezTo>
                        <a:pt x="139" y="45"/>
                        <a:pt x="139" y="45"/>
                        <a:pt x="139" y="45"/>
                      </a:cubicBezTo>
                      <a:cubicBezTo>
                        <a:pt x="140" y="48"/>
                        <a:pt x="140" y="48"/>
                        <a:pt x="140" y="48"/>
                      </a:cubicBezTo>
                      <a:cubicBezTo>
                        <a:pt x="142" y="49"/>
                        <a:pt x="142" y="49"/>
                        <a:pt x="142" y="49"/>
                      </a:cubicBezTo>
                      <a:cubicBezTo>
                        <a:pt x="145" y="51"/>
                        <a:pt x="145" y="51"/>
                        <a:pt x="145" y="51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7" y="56"/>
                        <a:pt x="147" y="56"/>
                        <a:pt x="147" y="56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8"/>
                        <a:pt x="145" y="58"/>
                        <a:pt x="145" y="58"/>
                      </a:cubicBezTo>
                      <a:cubicBezTo>
                        <a:pt x="143" y="58"/>
                        <a:pt x="143" y="58"/>
                        <a:pt x="143" y="58"/>
                      </a:cubicBezTo>
                      <a:cubicBezTo>
                        <a:pt x="142" y="57"/>
                        <a:pt x="142" y="57"/>
                        <a:pt x="142" y="57"/>
                      </a:cubicBezTo>
                      <a:cubicBezTo>
                        <a:pt x="140" y="57"/>
                        <a:pt x="140" y="57"/>
                        <a:pt x="140" y="57"/>
                      </a:cubicBezTo>
                      <a:cubicBezTo>
                        <a:pt x="139" y="56"/>
                        <a:pt x="139" y="56"/>
                        <a:pt x="139" y="56"/>
                      </a:cubicBezTo>
                      <a:cubicBezTo>
                        <a:pt x="140" y="55"/>
                        <a:pt x="140" y="55"/>
                        <a:pt x="140" y="55"/>
                      </a:cubicBezTo>
                      <a:cubicBezTo>
                        <a:pt x="138" y="51"/>
                        <a:pt x="138" y="51"/>
                        <a:pt x="138" y="51"/>
                      </a:cubicBezTo>
                      <a:cubicBezTo>
                        <a:pt x="136" y="50"/>
                        <a:pt x="136" y="50"/>
                        <a:pt x="136" y="50"/>
                      </a:cubicBezTo>
                      <a:cubicBezTo>
                        <a:pt x="136" y="47"/>
                        <a:pt x="136" y="47"/>
                        <a:pt x="136" y="47"/>
                      </a:cubicBezTo>
                      <a:cubicBezTo>
                        <a:pt x="136" y="45"/>
                        <a:pt x="136" y="45"/>
                        <a:pt x="136" y="45"/>
                      </a:cubicBezTo>
                      <a:cubicBezTo>
                        <a:pt x="136" y="44"/>
                        <a:pt x="136" y="44"/>
                        <a:pt x="136" y="44"/>
                      </a:cubicBezTo>
                      <a:close/>
                      <a:moveTo>
                        <a:pt x="134" y="39"/>
                      </a:moveTo>
                      <a:cubicBezTo>
                        <a:pt x="133" y="40"/>
                        <a:pt x="133" y="40"/>
                        <a:pt x="133" y="40"/>
                      </a:cubicBezTo>
                      <a:cubicBezTo>
                        <a:pt x="134" y="41"/>
                        <a:pt x="134" y="41"/>
                        <a:pt x="134" y="41"/>
                      </a:cubicBezTo>
                      <a:cubicBezTo>
                        <a:pt x="134" y="43"/>
                        <a:pt x="134" y="43"/>
                        <a:pt x="134" y="43"/>
                      </a:cubicBezTo>
                      <a:cubicBezTo>
                        <a:pt x="136" y="41"/>
                        <a:pt x="136" y="41"/>
                        <a:pt x="136" y="41"/>
                      </a:cubicBezTo>
                      <a:cubicBezTo>
                        <a:pt x="135" y="39"/>
                        <a:pt x="135" y="39"/>
                        <a:pt x="135" y="39"/>
                      </a:cubicBezTo>
                      <a:cubicBezTo>
                        <a:pt x="134" y="39"/>
                        <a:pt x="134" y="39"/>
                        <a:pt x="134" y="39"/>
                      </a:cubicBezTo>
                      <a:close/>
                      <a:moveTo>
                        <a:pt x="131" y="35"/>
                      </a:moveTo>
                      <a:cubicBezTo>
                        <a:pt x="132" y="34"/>
                        <a:pt x="132" y="34"/>
                        <a:pt x="132" y="34"/>
                      </a:cubicBezTo>
                      <a:cubicBezTo>
                        <a:pt x="132" y="33"/>
                        <a:pt x="132" y="33"/>
                        <a:pt x="132" y="33"/>
                      </a:cubicBezTo>
                      <a:cubicBezTo>
                        <a:pt x="134" y="34"/>
                        <a:pt x="134" y="34"/>
                        <a:pt x="134" y="34"/>
                      </a:cubicBezTo>
                      <a:cubicBezTo>
                        <a:pt x="133" y="36"/>
                        <a:pt x="133" y="36"/>
                        <a:pt x="133" y="36"/>
                      </a:cubicBezTo>
                      <a:cubicBezTo>
                        <a:pt x="131" y="36"/>
                        <a:pt x="131" y="36"/>
                        <a:pt x="131" y="36"/>
                      </a:cubicBezTo>
                      <a:cubicBezTo>
                        <a:pt x="131" y="35"/>
                        <a:pt x="131" y="35"/>
                        <a:pt x="131" y="35"/>
                      </a:cubicBezTo>
                      <a:close/>
                      <a:moveTo>
                        <a:pt x="98" y="14"/>
                      </a:moveTo>
                      <a:cubicBezTo>
                        <a:pt x="103" y="17"/>
                        <a:pt x="103" y="17"/>
                        <a:pt x="103" y="17"/>
                      </a:cubicBezTo>
                      <a:cubicBezTo>
                        <a:pt x="106" y="18"/>
                        <a:pt x="106" y="18"/>
                        <a:pt x="106" y="18"/>
                      </a:cubicBezTo>
                      <a:cubicBezTo>
                        <a:pt x="109" y="21"/>
                        <a:pt x="109" y="21"/>
                        <a:pt x="109" y="21"/>
                      </a:cubicBezTo>
                      <a:cubicBezTo>
                        <a:pt x="112" y="21"/>
                        <a:pt x="112" y="21"/>
                        <a:pt x="112" y="21"/>
                      </a:cubicBezTo>
                      <a:cubicBezTo>
                        <a:pt x="113" y="23"/>
                        <a:pt x="113" y="23"/>
                        <a:pt x="113" y="23"/>
                      </a:cubicBezTo>
                      <a:cubicBezTo>
                        <a:pt x="116" y="24"/>
                        <a:pt x="116" y="24"/>
                        <a:pt x="116" y="24"/>
                      </a:cubicBezTo>
                      <a:cubicBezTo>
                        <a:pt x="117" y="27"/>
                        <a:pt x="117" y="27"/>
                        <a:pt x="117" y="27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119" y="31"/>
                        <a:pt x="119" y="31"/>
                        <a:pt x="119" y="31"/>
                      </a:cubicBezTo>
                      <a:cubicBezTo>
                        <a:pt x="120" y="32"/>
                        <a:pt x="120" y="32"/>
                        <a:pt x="120" y="32"/>
                      </a:cubicBezTo>
                      <a:cubicBezTo>
                        <a:pt x="120" y="33"/>
                        <a:pt x="120" y="33"/>
                        <a:pt x="120" y="33"/>
                      </a:cubicBezTo>
                      <a:cubicBezTo>
                        <a:pt x="120" y="35"/>
                        <a:pt x="120" y="35"/>
                        <a:pt x="120" y="35"/>
                      </a:cubicBezTo>
                      <a:cubicBezTo>
                        <a:pt x="119" y="38"/>
                        <a:pt x="119" y="38"/>
                        <a:pt x="119" y="38"/>
                      </a:cubicBezTo>
                      <a:cubicBezTo>
                        <a:pt x="117" y="36"/>
                        <a:pt x="117" y="36"/>
                        <a:pt x="117" y="36"/>
                      </a:cubicBezTo>
                      <a:cubicBezTo>
                        <a:pt x="116" y="33"/>
                        <a:pt x="116" y="33"/>
                        <a:pt x="116" y="33"/>
                      </a:cubicBezTo>
                      <a:cubicBezTo>
                        <a:pt x="117" y="32"/>
                        <a:pt x="117" y="32"/>
                        <a:pt x="117" y="32"/>
                      </a:cubicBezTo>
                      <a:cubicBezTo>
                        <a:pt x="116" y="27"/>
                        <a:pt x="116" y="27"/>
                        <a:pt x="116" y="27"/>
                      </a:cubicBezTo>
                      <a:cubicBezTo>
                        <a:pt x="112" y="23"/>
                        <a:pt x="112" y="23"/>
                        <a:pt x="112" y="23"/>
                      </a:cubicBezTo>
                      <a:cubicBezTo>
                        <a:pt x="110" y="23"/>
                        <a:pt x="110" y="23"/>
                        <a:pt x="110" y="23"/>
                      </a:cubicBezTo>
                      <a:cubicBezTo>
                        <a:pt x="106" y="21"/>
                        <a:pt x="106" y="21"/>
                        <a:pt x="106" y="21"/>
                      </a:cubicBezTo>
                      <a:cubicBezTo>
                        <a:pt x="100" y="17"/>
                        <a:pt x="100" y="17"/>
                        <a:pt x="100" y="17"/>
                      </a:cubicBezTo>
                      <a:cubicBezTo>
                        <a:pt x="99" y="16"/>
                        <a:pt x="99" y="16"/>
                        <a:pt x="99" y="16"/>
                      </a:cubicBezTo>
                      <a:cubicBezTo>
                        <a:pt x="98" y="14"/>
                        <a:pt x="98" y="14"/>
                        <a:pt x="98" y="14"/>
                      </a:cubicBezTo>
                      <a:close/>
                      <a:moveTo>
                        <a:pt x="85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3"/>
                        <a:pt x="88" y="3"/>
                        <a:pt x="88" y="3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5" y="0"/>
                        <a:pt x="85" y="0"/>
                        <a:pt x="85" y="0"/>
                      </a:cubicBezTo>
                      <a:close/>
                      <a:moveTo>
                        <a:pt x="91" y="14"/>
                      </a:moveTo>
                      <a:cubicBezTo>
                        <a:pt x="93" y="13"/>
                        <a:pt x="93" y="13"/>
                        <a:pt x="93" y="13"/>
                      </a:cubicBezTo>
                      <a:cubicBezTo>
                        <a:pt x="94" y="14"/>
                        <a:pt x="94" y="14"/>
                        <a:pt x="94" y="14"/>
                      </a:cubicBezTo>
                      <a:cubicBezTo>
                        <a:pt x="94" y="16"/>
                        <a:pt x="94" y="16"/>
                        <a:pt x="94" y="16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91" y="16"/>
                        <a:pt x="91" y="16"/>
                        <a:pt x="91" y="16"/>
                      </a:cubicBezTo>
                      <a:cubicBezTo>
                        <a:pt x="91" y="14"/>
                        <a:pt x="91" y="14"/>
                        <a:pt x="91" y="14"/>
                      </a:cubicBezTo>
                      <a:close/>
                      <a:moveTo>
                        <a:pt x="90" y="38"/>
                      </a:moveTo>
                      <a:cubicBezTo>
                        <a:pt x="92" y="40"/>
                        <a:pt x="92" y="40"/>
                        <a:pt x="92" y="40"/>
                      </a:cubicBezTo>
                      <a:cubicBezTo>
                        <a:pt x="93" y="39"/>
                        <a:pt x="93" y="39"/>
                        <a:pt x="93" y="39"/>
                      </a:cubicBezTo>
                      <a:cubicBezTo>
                        <a:pt x="91" y="37"/>
                        <a:pt x="91" y="37"/>
                        <a:pt x="91" y="37"/>
                      </a:cubicBezTo>
                      <a:cubicBezTo>
                        <a:pt x="90" y="37"/>
                        <a:pt x="90" y="37"/>
                        <a:pt x="90" y="37"/>
                      </a:cubicBezTo>
                      <a:cubicBezTo>
                        <a:pt x="90" y="38"/>
                        <a:pt x="90" y="38"/>
                        <a:pt x="90" y="38"/>
                      </a:cubicBezTo>
                      <a:close/>
                      <a:moveTo>
                        <a:pt x="74" y="43"/>
                      </a:moveTo>
                      <a:cubicBezTo>
                        <a:pt x="73" y="46"/>
                        <a:pt x="73" y="46"/>
                        <a:pt x="73" y="46"/>
                      </a:cubicBezTo>
                      <a:cubicBezTo>
                        <a:pt x="74" y="48"/>
                        <a:pt x="74" y="48"/>
                        <a:pt x="74" y="48"/>
                      </a:cubicBezTo>
                      <a:cubicBezTo>
                        <a:pt x="76" y="48"/>
                        <a:pt x="76" y="48"/>
                        <a:pt x="76" y="48"/>
                      </a:cubicBezTo>
                      <a:cubicBezTo>
                        <a:pt x="79" y="51"/>
                        <a:pt x="79" y="51"/>
                        <a:pt x="79" y="51"/>
                      </a:cubicBezTo>
                      <a:cubicBezTo>
                        <a:pt x="80" y="52"/>
                        <a:pt x="80" y="52"/>
                        <a:pt x="80" y="52"/>
                      </a:cubicBezTo>
                      <a:cubicBezTo>
                        <a:pt x="81" y="51"/>
                        <a:pt x="81" y="51"/>
                        <a:pt x="81" y="51"/>
                      </a:cubicBezTo>
                      <a:cubicBezTo>
                        <a:pt x="84" y="51"/>
                        <a:pt x="84" y="51"/>
                        <a:pt x="84" y="51"/>
                      </a:cubicBezTo>
                      <a:cubicBezTo>
                        <a:pt x="85" y="53"/>
                        <a:pt x="85" y="53"/>
                        <a:pt x="85" y="53"/>
                      </a:cubicBezTo>
                      <a:cubicBezTo>
                        <a:pt x="88" y="53"/>
                        <a:pt x="88" y="53"/>
                        <a:pt x="88" y="53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93" y="52"/>
                        <a:pt x="93" y="52"/>
                        <a:pt x="93" y="52"/>
                      </a:cubicBezTo>
                      <a:cubicBezTo>
                        <a:pt x="95" y="53"/>
                        <a:pt x="95" y="53"/>
                        <a:pt x="95" y="53"/>
                      </a:cubicBezTo>
                      <a:cubicBezTo>
                        <a:pt x="96" y="52"/>
                        <a:pt x="96" y="52"/>
                        <a:pt x="96" y="52"/>
                      </a:cubicBezTo>
                      <a:cubicBezTo>
                        <a:pt x="99" y="53"/>
                        <a:pt x="99" y="53"/>
                        <a:pt x="99" y="53"/>
                      </a:cubicBezTo>
                      <a:cubicBezTo>
                        <a:pt x="99" y="52"/>
                        <a:pt x="99" y="52"/>
                        <a:pt x="99" y="52"/>
                      </a:cubicBezTo>
                      <a:cubicBezTo>
                        <a:pt x="99" y="50"/>
                        <a:pt x="99" y="50"/>
                        <a:pt x="99" y="50"/>
                      </a:cubicBezTo>
                      <a:cubicBezTo>
                        <a:pt x="102" y="50"/>
                        <a:pt x="102" y="50"/>
                        <a:pt x="102" y="50"/>
                      </a:cubicBezTo>
                      <a:cubicBezTo>
                        <a:pt x="105" y="46"/>
                        <a:pt x="105" y="46"/>
                        <a:pt x="105" y="46"/>
                      </a:cubicBezTo>
                      <a:cubicBezTo>
                        <a:pt x="105" y="44"/>
                        <a:pt x="105" y="44"/>
                        <a:pt x="105" y="44"/>
                      </a:cubicBezTo>
                      <a:cubicBezTo>
                        <a:pt x="107" y="44"/>
                        <a:pt x="107" y="44"/>
                        <a:pt x="107" y="44"/>
                      </a:cubicBezTo>
                      <a:cubicBezTo>
                        <a:pt x="108" y="45"/>
                        <a:pt x="108" y="45"/>
                        <a:pt x="108" y="45"/>
                      </a:cubicBezTo>
                      <a:cubicBezTo>
                        <a:pt x="110" y="44"/>
                        <a:pt x="110" y="44"/>
                        <a:pt x="110" y="44"/>
                      </a:cubicBezTo>
                      <a:cubicBezTo>
                        <a:pt x="111" y="43"/>
                        <a:pt x="111" y="43"/>
                        <a:pt x="111" y="43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9" y="39"/>
                        <a:pt x="109" y="39"/>
                        <a:pt x="109" y="39"/>
                      </a:cubicBezTo>
                      <a:cubicBezTo>
                        <a:pt x="111" y="38"/>
                        <a:pt x="111" y="38"/>
                        <a:pt x="111" y="38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114" y="37"/>
                        <a:pt x="114" y="37"/>
                        <a:pt x="114" y="37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2" y="30"/>
                        <a:pt x="112" y="30"/>
                        <a:pt x="112" y="30"/>
                      </a:cubicBezTo>
                      <a:cubicBezTo>
                        <a:pt x="110" y="31"/>
                        <a:pt x="110" y="31"/>
                        <a:pt x="110" y="31"/>
                      </a:cubicBezTo>
                      <a:cubicBezTo>
                        <a:pt x="110" y="32"/>
                        <a:pt x="110" y="32"/>
                        <a:pt x="110" y="32"/>
                      </a:cubicBezTo>
                      <a:cubicBezTo>
                        <a:pt x="109" y="31"/>
                        <a:pt x="109" y="31"/>
                        <a:pt x="109" y="31"/>
                      </a:cubicBezTo>
                      <a:cubicBezTo>
                        <a:pt x="106" y="31"/>
                        <a:pt x="106" y="31"/>
                        <a:pt x="106" y="31"/>
                      </a:cubicBezTo>
                      <a:cubicBezTo>
                        <a:pt x="105" y="33"/>
                        <a:pt x="105" y="33"/>
                        <a:pt x="105" y="33"/>
                      </a:cubicBezTo>
                      <a:cubicBezTo>
                        <a:pt x="106" y="37"/>
                        <a:pt x="106" y="37"/>
                        <a:pt x="106" y="37"/>
                      </a:cubicBezTo>
                      <a:cubicBezTo>
                        <a:pt x="107" y="38"/>
                        <a:pt x="107" y="38"/>
                        <a:pt x="107" y="38"/>
                      </a:cubicBezTo>
                      <a:cubicBezTo>
                        <a:pt x="106" y="39"/>
                        <a:pt x="106" y="39"/>
                        <a:pt x="106" y="39"/>
                      </a:cubicBezTo>
                      <a:cubicBezTo>
                        <a:pt x="104" y="39"/>
                        <a:pt x="104" y="39"/>
                        <a:pt x="104" y="39"/>
                      </a:cubicBezTo>
                      <a:cubicBezTo>
                        <a:pt x="100" y="42"/>
                        <a:pt x="100" y="42"/>
                        <a:pt x="100" y="42"/>
                      </a:cubicBezTo>
                      <a:cubicBezTo>
                        <a:pt x="100" y="44"/>
                        <a:pt x="100" y="44"/>
                        <a:pt x="100" y="44"/>
                      </a:cubicBezTo>
                      <a:cubicBezTo>
                        <a:pt x="98" y="45"/>
                        <a:pt x="98" y="45"/>
                        <a:pt x="98" y="45"/>
                      </a:cubicBezTo>
                      <a:cubicBezTo>
                        <a:pt x="97" y="44"/>
                        <a:pt x="97" y="44"/>
                        <a:pt x="97" y="44"/>
                      </a:cubicBezTo>
                      <a:cubicBezTo>
                        <a:pt x="96" y="45"/>
                        <a:pt x="96" y="45"/>
                        <a:pt x="96" y="45"/>
                      </a:cubicBezTo>
                      <a:cubicBezTo>
                        <a:pt x="95" y="44"/>
                        <a:pt x="95" y="44"/>
                        <a:pt x="95" y="44"/>
                      </a:cubicBezTo>
                      <a:cubicBezTo>
                        <a:pt x="94" y="44"/>
                        <a:pt x="94" y="44"/>
                        <a:pt x="94" y="44"/>
                      </a:cubicBezTo>
                      <a:cubicBezTo>
                        <a:pt x="92" y="45"/>
                        <a:pt x="92" y="45"/>
                        <a:pt x="92" y="45"/>
                      </a:cubicBezTo>
                      <a:cubicBezTo>
                        <a:pt x="91" y="45"/>
                        <a:pt x="91" y="45"/>
                        <a:pt x="91" y="45"/>
                      </a:cubicBezTo>
                      <a:cubicBezTo>
                        <a:pt x="90" y="43"/>
                        <a:pt x="90" y="43"/>
                        <a:pt x="90" y="43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cubicBezTo>
                        <a:pt x="89" y="40"/>
                        <a:pt x="89" y="40"/>
                        <a:pt x="89" y="40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43"/>
                        <a:pt x="89" y="43"/>
                        <a:pt x="89" y="43"/>
                      </a:cubicBezTo>
                      <a:cubicBezTo>
                        <a:pt x="87" y="44"/>
                        <a:pt x="87" y="44"/>
                        <a:pt x="87" y="44"/>
                      </a:cubicBezTo>
                      <a:cubicBezTo>
                        <a:pt x="85" y="43"/>
                        <a:pt x="85" y="43"/>
                        <a:pt x="85" y="43"/>
                      </a:cubicBezTo>
                      <a:cubicBezTo>
                        <a:pt x="83" y="44"/>
                        <a:pt x="83" y="44"/>
                        <a:pt x="83" y="44"/>
                      </a:cubicBezTo>
                      <a:cubicBezTo>
                        <a:pt x="81" y="44"/>
                        <a:pt x="81" y="44"/>
                        <a:pt x="81" y="44"/>
                      </a:cubicBezTo>
                      <a:cubicBezTo>
                        <a:pt x="80" y="44"/>
                        <a:pt x="80" y="44"/>
                        <a:pt x="80" y="44"/>
                      </a:cubicBezTo>
                      <a:cubicBezTo>
                        <a:pt x="78" y="44"/>
                        <a:pt x="78" y="44"/>
                        <a:pt x="78" y="44"/>
                      </a:cubicBezTo>
                      <a:cubicBezTo>
                        <a:pt x="76" y="44"/>
                        <a:pt x="76" y="44"/>
                        <a:pt x="76" y="44"/>
                      </a:cubicBezTo>
                      <a:cubicBezTo>
                        <a:pt x="74" y="43"/>
                        <a:pt x="74" y="43"/>
                        <a:pt x="74" y="43"/>
                      </a:cubicBezTo>
                      <a:close/>
                      <a:moveTo>
                        <a:pt x="67" y="45"/>
                      </a:moveTo>
                      <a:cubicBezTo>
                        <a:pt x="68" y="44"/>
                        <a:pt x="68" y="44"/>
                        <a:pt x="68" y="44"/>
                      </a:cubicBezTo>
                      <a:cubicBezTo>
                        <a:pt x="70" y="45"/>
                        <a:pt x="70" y="45"/>
                        <a:pt x="70" y="45"/>
                      </a:cubicBezTo>
                      <a:cubicBezTo>
                        <a:pt x="70" y="47"/>
                        <a:pt x="70" y="47"/>
                        <a:pt x="70" y="47"/>
                      </a:cubicBezTo>
                      <a:cubicBezTo>
                        <a:pt x="70" y="48"/>
                        <a:pt x="70" y="48"/>
                        <a:pt x="70" y="48"/>
                      </a:cubicBezTo>
                      <a:cubicBezTo>
                        <a:pt x="68" y="47"/>
                        <a:pt x="68" y="47"/>
                        <a:pt x="68" y="47"/>
                      </a:cubicBezTo>
                      <a:cubicBezTo>
                        <a:pt x="67" y="45"/>
                        <a:pt x="67" y="45"/>
                        <a:pt x="67" y="45"/>
                      </a:cubicBezTo>
                      <a:close/>
                      <a:moveTo>
                        <a:pt x="62" y="41"/>
                      </a:moveTo>
                      <a:cubicBezTo>
                        <a:pt x="61" y="43"/>
                        <a:pt x="61" y="43"/>
                        <a:pt x="61" y="43"/>
                      </a:cubicBezTo>
                      <a:cubicBezTo>
                        <a:pt x="62" y="44"/>
                        <a:pt x="62" y="44"/>
                        <a:pt x="62" y="44"/>
                      </a:cubicBezTo>
                      <a:cubicBezTo>
                        <a:pt x="63" y="44"/>
                        <a:pt x="63" y="44"/>
                        <a:pt x="63" y="44"/>
                      </a:cubicBezTo>
                      <a:cubicBezTo>
                        <a:pt x="63" y="42"/>
                        <a:pt x="63" y="42"/>
                        <a:pt x="63" y="42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lose/>
                      <a:moveTo>
                        <a:pt x="52" y="35"/>
                      </a:moveTo>
                      <a:cubicBezTo>
                        <a:pt x="50" y="36"/>
                        <a:pt x="50" y="36"/>
                        <a:pt x="50" y="36"/>
                      </a:cubicBezTo>
                      <a:cubicBezTo>
                        <a:pt x="51" y="37"/>
                        <a:pt x="51" y="37"/>
                        <a:pt x="51" y="37"/>
                      </a:cubicBezTo>
                      <a:cubicBezTo>
                        <a:pt x="52" y="36"/>
                        <a:pt x="52" y="36"/>
                        <a:pt x="52" y="36"/>
                      </a:cubicBezTo>
                      <a:cubicBezTo>
                        <a:pt x="52" y="35"/>
                        <a:pt x="52" y="35"/>
                        <a:pt x="52" y="35"/>
                      </a:cubicBezTo>
                      <a:close/>
                      <a:moveTo>
                        <a:pt x="114" y="80"/>
                      </a:moveTo>
                      <a:cubicBezTo>
                        <a:pt x="113" y="82"/>
                        <a:pt x="113" y="82"/>
                        <a:pt x="113" y="82"/>
                      </a:cubicBezTo>
                      <a:cubicBezTo>
                        <a:pt x="114" y="83"/>
                        <a:pt x="114" y="83"/>
                        <a:pt x="114" y="83"/>
                      </a:cubicBezTo>
                      <a:cubicBezTo>
                        <a:pt x="114" y="82"/>
                        <a:pt x="114" y="82"/>
                        <a:pt x="114" y="82"/>
                      </a:cubicBezTo>
                      <a:cubicBezTo>
                        <a:pt x="116" y="84"/>
                        <a:pt x="116" y="84"/>
                        <a:pt x="116" y="84"/>
                      </a:cubicBezTo>
                      <a:cubicBezTo>
                        <a:pt x="116" y="83"/>
                        <a:pt x="116" y="83"/>
                        <a:pt x="116" y="83"/>
                      </a:cubicBezTo>
                      <a:cubicBezTo>
                        <a:pt x="114" y="80"/>
                        <a:pt x="114" y="80"/>
                        <a:pt x="114" y="80"/>
                      </a:cubicBezTo>
                      <a:close/>
                      <a:moveTo>
                        <a:pt x="99" y="74"/>
                      </a:moveTo>
                      <a:cubicBezTo>
                        <a:pt x="99" y="75"/>
                        <a:pt x="99" y="75"/>
                        <a:pt x="99" y="75"/>
                      </a:cubicBezTo>
                      <a:cubicBezTo>
                        <a:pt x="99" y="76"/>
                        <a:pt x="99" y="76"/>
                        <a:pt x="99" y="76"/>
                      </a:cubicBezTo>
                      <a:cubicBezTo>
                        <a:pt x="100" y="76"/>
                        <a:pt x="100" y="76"/>
                        <a:pt x="100" y="76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7"/>
                        <a:pt x="100" y="77"/>
                        <a:pt x="100" y="77"/>
                      </a:cubicBezTo>
                      <a:cubicBezTo>
                        <a:pt x="100" y="74"/>
                        <a:pt x="100" y="74"/>
                        <a:pt x="100" y="74"/>
                      </a:cubicBezTo>
                      <a:cubicBezTo>
                        <a:pt x="99" y="74"/>
                        <a:pt x="99" y="74"/>
                        <a:pt x="99" y="74"/>
                      </a:cubicBezTo>
                      <a:close/>
                      <a:moveTo>
                        <a:pt x="95" y="89"/>
                      </a:moveTo>
                      <a:cubicBezTo>
                        <a:pt x="96" y="89"/>
                        <a:pt x="96" y="89"/>
                        <a:pt x="96" y="89"/>
                      </a:cubicBezTo>
                      <a:cubicBezTo>
                        <a:pt x="97" y="90"/>
                        <a:pt x="97" y="90"/>
                        <a:pt x="97" y="90"/>
                      </a:cubicBezTo>
                      <a:cubicBezTo>
                        <a:pt x="97" y="90"/>
                        <a:pt x="97" y="90"/>
                        <a:pt x="97" y="90"/>
                      </a:cubicBezTo>
                      <a:cubicBezTo>
                        <a:pt x="98" y="90"/>
                        <a:pt x="98" y="90"/>
                        <a:pt x="98" y="90"/>
                      </a:cubicBezTo>
                      <a:cubicBezTo>
                        <a:pt x="98" y="91"/>
                        <a:pt x="98" y="91"/>
                        <a:pt x="98" y="91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1" y="91"/>
                        <a:pt x="101" y="91"/>
                        <a:pt x="101" y="91"/>
                      </a:cubicBezTo>
                      <a:cubicBezTo>
                        <a:pt x="100" y="92"/>
                        <a:pt x="100" y="92"/>
                        <a:pt x="100" y="92"/>
                      </a:cubicBezTo>
                      <a:cubicBezTo>
                        <a:pt x="99" y="92"/>
                        <a:pt x="99" y="92"/>
                        <a:pt x="99" y="92"/>
                      </a:cubicBezTo>
                      <a:cubicBezTo>
                        <a:pt x="98" y="93"/>
                        <a:pt x="98" y="93"/>
                        <a:pt x="98" y="93"/>
                      </a:cubicBezTo>
                      <a:cubicBezTo>
                        <a:pt x="97" y="92"/>
                        <a:pt x="97" y="92"/>
                        <a:pt x="97" y="92"/>
                      </a:cubicBezTo>
                      <a:cubicBezTo>
                        <a:pt x="97" y="91"/>
                        <a:pt x="97" y="91"/>
                        <a:pt x="97" y="91"/>
                      </a:cubicBezTo>
                      <a:cubicBezTo>
                        <a:pt x="97" y="91"/>
                        <a:pt x="97" y="91"/>
                        <a:pt x="97" y="91"/>
                      </a:cubicBezTo>
                      <a:cubicBezTo>
                        <a:pt x="96" y="89"/>
                        <a:pt x="96" y="89"/>
                        <a:pt x="96" y="89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lose/>
                      <a:moveTo>
                        <a:pt x="93" y="85"/>
                      </a:moveTo>
                      <a:cubicBezTo>
                        <a:pt x="94" y="87"/>
                        <a:pt x="94" y="87"/>
                        <a:pt x="94" y="87"/>
                      </a:cubicBezTo>
                      <a:cubicBezTo>
                        <a:pt x="95" y="88"/>
                        <a:pt x="95" y="88"/>
                        <a:pt x="95" y="88"/>
                      </a:cubicBezTo>
                      <a:cubicBezTo>
                        <a:pt x="96" y="88"/>
                        <a:pt x="96" y="88"/>
                        <a:pt x="96" y="88"/>
                      </a:cubicBezTo>
                      <a:cubicBezTo>
                        <a:pt x="96" y="88"/>
                        <a:pt x="96" y="88"/>
                        <a:pt x="96" y="88"/>
                      </a:cubicBezTo>
                      <a:cubicBezTo>
                        <a:pt x="97" y="87"/>
                        <a:pt x="97" y="87"/>
                        <a:pt x="97" y="87"/>
                      </a:cubicBezTo>
                      <a:cubicBezTo>
                        <a:pt x="96" y="87"/>
                        <a:pt x="96" y="87"/>
                        <a:pt x="96" y="87"/>
                      </a:cubicBezTo>
                      <a:cubicBezTo>
                        <a:pt x="96" y="87"/>
                        <a:pt x="96" y="87"/>
                        <a:pt x="96" y="87"/>
                      </a:cubicBezTo>
                      <a:cubicBezTo>
                        <a:pt x="96" y="86"/>
                        <a:pt x="96" y="86"/>
                        <a:pt x="96" y="86"/>
                      </a:cubicBezTo>
                      <a:cubicBezTo>
                        <a:pt x="96" y="85"/>
                        <a:pt x="96" y="85"/>
                        <a:pt x="96" y="85"/>
                      </a:cubicBezTo>
                      <a:cubicBezTo>
                        <a:pt x="95" y="85"/>
                        <a:pt x="95" y="85"/>
                        <a:pt x="95" y="85"/>
                      </a:cubicBezTo>
                      <a:cubicBezTo>
                        <a:pt x="94" y="85"/>
                        <a:pt x="94" y="85"/>
                        <a:pt x="94" y="85"/>
                      </a:cubicBezTo>
                      <a:cubicBezTo>
                        <a:pt x="93" y="85"/>
                        <a:pt x="93" y="85"/>
                        <a:pt x="93" y="85"/>
                      </a:cubicBezTo>
                      <a:close/>
                      <a:moveTo>
                        <a:pt x="89" y="84"/>
                      </a:moveTo>
                      <a:cubicBezTo>
                        <a:pt x="90" y="85"/>
                        <a:pt x="90" y="85"/>
                        <a:pt x="90" y="85"/>
                      </a:cubicBezTo>
                      <a:cubicBezTo>
                        <a:pt x="91" y="85"/>
                        <a:pt x="91" y="85"/>
                        <a:pt x="91" y="85"/>
                      </a:cubicBezTo>
                      <a:cubicBezTo>
                        <a:pt x="91" y="86"/>
                        <a:pt x="91" y="86"/>
                        <a:pt x="91" y="86"/>
                      </a:cubicBezTo>
                      <a:cubicBezTo>
                        <a:pt x="92" y="87"/>
                        <a:pt x="92" y="87"/>
                        <a:pt x="92" y="87"/>
                      </a:cubicBezTo>
                      <a:cubicBezTo>
                        <a:pt x="92" y="85"/>
                        <a:pt x="92" y="85"/>
                        <a:pt x="92" y="85"/>
                      </a:cubicBezTo>
                      <a:cubicBezTo>
                        <a:pt x="91" y="84"/>
                        <a:pt x="91" y="84"/>
                        <a:pt x="91" y="84"/>
                      </a:cubicBezTo>
                      <a:cubicBezTo>
                        <a:pt x="90" y="83"/>
                        <a:pt x="90" y="83"/>
                        <a:pt x="90" y="83"/>
                      </a:cubicBezTo>
                      <a:cubicBezTo>
                        <a:pt x="89" y="84"/>
                        <a:pt x="89" y="84"/>
                        <a:pt x="89" y="84"/>
                      </a:cubicBezTo>
                      <a:close/>
                      <a:moveTo>
                        <a:pt x="41" y="67"/>
                      </a:moveTo>
                      <a:cubicBezTo>
                        <a:pt x="40" y="68"/>
                        <a:pt x="40" y="68"/>
                        <a:pt x="40" y="68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1" y="69"/>
                        <a:pt x="41" y="67"/>
                        <a:pt x="41" y="67"/>
                      </a:cubicBezTo>
                      <a:close/>
                      <a:moveTo>
                        <a:pt x="37" y="68"/>
                      </a:move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lose/>
                      <a:moveTo>
                        <a:pt x="34" y="67"/>
                      </a:moveTo>
                      <a:cubicBezTo>
                        <a:pt x="34" y="68"/>
                        <a:pt x="34" y="68"/>
                        <a:pt x="34" y="68"/>
                      </a:cubicBezTo>
                      <a:cubicBezTo>
                        <a:pt x="35" y="68"/>
                        <a:pt x="35" y="68"/>
                        <a:pt x="35" y="68"/>
                      </a:cubicBezTo>
                      <a:cubicBezTo>
                        <a:pt x="35" y="68"/>
                        <a:pt x="35" y="68"/>
                        <a:pt x="35" y="68"/>
                      </a:cubicBezTo>
                      <a:cubicBezTo>
                        <a:pt x="34" y="67"/>
                        <a:pt x="34" y="67"/>
                        <a:pt x="34" y="67"/>
                      </a:cubicBezTo>
                      <a:close/>
                      <a:moveTo>
                        <a:pt x="36" y="68"/>
                      </a:moveTo>
                      <a:cubicBezTo>
                        <a:pt x="35" y="66"/>
                        <a:pt x="35" y="66"/>
                        <a:pt x="35" y="66"/>
                      </a:cubicBezTo>
                      <a:cubicBezTo>
                        <a:pt x="35" y="65"/>
                        <a:pt x="35" y="65"/>
                        <a:pt x="35" y="65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36" y="68"/>
                        <a:pt x="36" y="68"/>
                        <a:pt x="36" y="68"/>
                      </a:cubicBezTo>
                      <a:close/>
                      <a:moveTo>
                        <a:pt x="29" y="68"/>
                      </a:moveTo>
                      <a:cubicBezTo>
                        <a:pt x="30" y="69"/>
                        <a:pt x="30" y="69"/>
                        <a:pt x="30" y="69"/>
                      </a:cubicBezTo>
                      <a:cubicBezTo>
                        <a:pt x="31" y="69"/>
                        <a:pt x="31" y="69"/>
                        <a:pt x="31" y="69"/>
                      </a:cubicBezTo>
                      <a:cubicBezTo>
                        <a:pt x="30" y="68"/>
                        <a:pt x="30" y="68"/>
                        <a:pt x="30" y="68"/>
                      </a:cubicBezTo>
                      <a:cubicBezTo>
                        <a:pt x="29" y="68"/>
                        <a:pt x="29" y="68"/>
                        <a:pt x="29" y="68"/>
                      </a:cubicBezTo>
                      <a:close/>
                      <a:moveTo>
                        <a:pt x="26" y="75"/>
                      </a:moveTo>
                      <a:cubicBezTo>
                        <a:pt x="27" y="74"/>
                        <a:pt x="27" y="74"/>
                        <a:pt x="27" y="74"/>
                      </a:cubicBezTo>
                      <a:cubicBezTo>
                        <a:pt x="29" y="74"/>
                        <a:pt x="29" y="74"/>
                        <a:pt x="29" y="74"/>
                      </a:cubicBezTo>
                      <a:cubicBezTo>
                        <a:pt x="28" y="75"/>
                        <a:pt x="28" y="75"/>
                        <a:pt x="28" y="75"/>
                      </a:cubicBezTo>
                      <a:cubicBezTo>
                        <a:pt x="28" y="75"/>
                        <a:pt x="26" y="75"/>
                        <a:pt x="26" y="75"/>
                      </a:cubicBezTo>
                      <a:close/>
                      <a:moveTo>
                        <a:pt x="26" y="77"/>
                      </a:moveTo>
                      <a:cubicBezTo>
                        <a:pt x="27" y="77"/>
                        <a:pt x="27" y="77"/>
                        <a:pt x="27" y="77"/>
                      </a:cubicBezTo>
                      <a:cubicBezTo>
                        <a:pt x="26" y="76"/>
                        <a:pt x="26" y="76"/>
                        <a:pt x="26" y="76"/>
                      </a:cubicBezTo>
                      <a:cubicBezTo>
                        <a:pt x="26" y="77"/>
                        <a:pt x="26" y="77"/>
                        <a:pt x="26" y="77"/>
                      </a:cubicBezTo>
                      <a:close/>
                      <a:moveTo>
                        <a:pt x="24" y="76"/>
                      </a:moveTo>
                      <a:cubicBezTo>
                        <a:pt x="25" y="76"/>
                        <a:pt x="25" y="76"/>
                        <a:pt x="25" y="76"/>
                      </a:cubicBezTo>
                      <a:cubicBezTo>
                        <a:pt x="25" y="75"/>
                        <a:pt x="25" y="75"/>
                        <a:pt x="25" y="75"/>
                      </a:cubicBezTo>
                      <a:cubicBezTo>
                        <a:pt x="24" y="76"/>
                        <a:pt x="24" y="76"/>
                        <a:pt x="24" y="76"/>
                      </a:cubicBezTo>
                      <a:close/>
                      <a:moveTo>
                        <a:pt x="23" y="76"/>
                      </a:moveTo>
                      <a:cubicBezTo>
                        <a:pt x="23" y="76"/>
                        <a:pt x="26" y="78"/>
                        <a:pt x="26" y="78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23" y="76"/>
                        <a:pt x="23" y="76"/>
                        <a:pt x="23" y="76"/>
                      </a:cubicBezTo>
                      <a:close/>
                      <a:moveTo>
                        <a:pt x="26" y="72"/>
                      </a:move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lose/>
                      <a:moveTo>
                        <a:pt x="28" y="71"/>
                      </a:moveTo>
                      <a:cubicBezTo>
                        <a:pt x="27" y="70"/>
                        <a:pt x="27" y="70"/>
                        <a:pt x="27" y="70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29" y="71"/>
                        <a:pt x="29" y="71"/>
                        <a:pt x="29" y="71"/>
                      </a:cubicBezTo>
                      <a:cubicBezTo>
                        <a:pt x="29" y="71"/>
                        <a:pt x="28" y="71"/>
                        <a:pt x="28" y="71"/>
                      </a:cubicBezTo>
                      <a:close/>
                      <a:moveTo>
                        <a:pt x="3" y="15"/>
                      </a:move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7"/>
                        <a:pt x="1" y="57"/>
                        <a:pt x="1" y="57"/>
                      </a:cubicBez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4" y="82"/>
                        <a:pt x="4" y="82"/>
                        <a:pt x="4" y="82"/>
                      </a:cubicBezTo>
                      <a:cubicBezTo>
                        <a:pt x="5" y="83"/>
                        <a:pt x="5" y="83"/>
                        <a:pt x="5" y="83"/>
                      </a:cubicBezTo>
                      <a:cubicBezTo>
                        <a:pt x="6" y="82"/>
                        <a:pt x="6" y="82"/>
                        <a:pt x="6" y="82"/>
                      </a:cubicBezTo>
                      <a:cubicBezTo>
                        <a:pt x="12" y="82"/>
                        <a:pt x="12" y="82"/>
                        <a:pt x="12" y="82"/>
                      </a:cubicBezTo>
                      <a:cubicBezTo>
                        <a:pt x="13" y="82"/>
                        <a:pt x="13" y="82"/>
                        <a:pt x="13" y="82"/>
                      </a:cubicBezTo>
                      <a:cubicBezTo>
                        <a:pt x="13" y="83"/>
                        <a:pt x="13" y="83"/>
                        <a:pt x="13" y="83"/>
                      </a:cubicBezTo>
                      <a:cubicBezTo>
                        <a:pt x="15" y="84"/>
                        <a:pt x="15" y="84"/>
                        <a:pt x="15" y="84"/>
                      </a:cubicBezTo>
                      <a:cubicBezTo>
                        <a:pt x="16" y="85"/>
                        <a:pt x="16" y="85"/>
                        <a:pt x="16" y="85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22" y="82"/>
                        <a:pt x="22" y="82"/>
                        <a:pt x="22" y="82"/>
                      </a:cubicBezTo>
                      <a:cubicBezTo>
                        <a:pt x="23" y="82"/>
                        <a:pt x="23" y="82"/>
                        <a:pt x="23" y="82"/>
                      </a:cubicBezTo>
                      <a:cubicBezTo>
                        <a:pt x="24" y="81"/>
                        <a:pt x="24" y="81"/>
                        <a:pt x="24" y="81"/>
                      </a:cubicBezTo>
                      <a:cubicBezTo>
                        <a:pt x="23" y="79"/>
                        <a:pt x="23" y="79"/>
                        <a:pt x="23" y="79"/>
                      </a:cubicBezTo>
                      <a:cubicBezTo>
                        <a:pt x="21" y="77"/>
                        <a:pt x="21" y="77"/>
                        <a:pt x="21" y="77"/>
                      </a:cubicBezTo>
                      <a:cubicBezTo>
                        <a:pt x="18" y="75"/>
                        <a:pt x="18" y="75"/>
                        <a:pt x="18" y="75"/>
                      </a:cubicBezTo>
                      <a:cubicBezTo>
                        <a:pt x="16" y="75"/>
                        <a:pt x="16" y="75"/>
                        <a:pt x="16" y="75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3" y="73"/>
                        <a:pt x="13" y="73"/>
                        <a:pt x="13" y="73"/>
                      </a:cubicBezTo>
                      <a:cubicBezTo>
                        <a:pt x="13" y="74"/>
                        <a:pt x="13" y="74"/>
                        <a:pt x="13" y="74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1" y="70"/>
                        <a:pt x="11" y="70"/>
                        <a:pt x="11" y="70"/>
                      </a:cubicBezTo>
                      <a:cubicBezTo>
                        <a:pt x="10" y="68"/>
                        <a:pt x="10" y="68"/>
                        <a:pt x="10" y="68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8" y="66"/>
                        <a:pt x="8" y="66"/>
                        <a:pt x="8" y="66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9" y="67"/>
                        <a:pt x="9" y="67"/>
                        <a:pt x="9" y="67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2" y="70"/>
                        <a:pt x="12" y="70"/>
                        <a:pt x="12" y="70"/>
                      </a:cubicBezTo>
                      <a:cubicBezTo>
                        <a:pt x="12" y="72"/>
                        <a:pt x="12" y="72"/>
                        <a:pt x="12" y="72"/>
                      </a:cubicBezTo>
                      <a:cubicBezTo>
                        <a:pt x="13" y="73"/>
                        <a:pt x="13" y="73"/>
                        <a:pt x="13" y="73"/>
                      </a:cubicBezTo>
                      <a:cubicBezTo>
                        <a:pt x="15" y="73"/>
                        <a:pt x="15" y="73"/>
                        <a:pt x="15" y="73"/>
                      </a:cubicBezTo>
                      <a:cubicBezTo>
                        <a:pt x="17" y="74"/>
                        <a:pt x="17" y="74"/>
                        <a:pt x="17" y="74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20" y="74"/>
                        <a:pt x="20" y="74"/>
                        <a:pt x="20" y="74"/>
                      </a:cubicBezTo>
                      <a:cubicBezTo>
                        <a:pt x="23" y="74"/>
                        <a:pt x="23" y="74"/>
                        <a:pt x="23" y="74"/>
                      </a:cubicBezTo>
                      <a:cubicBezTo>
                        <a:pt x="24" y="74"/>
                        <a:pt x="24" y="74"/>
                        <a:pt x="24" y="74"/>
                      </a:cubicBezTo>
                      <a:cubicBezTo>
                        <a:pt x="26" y="73"/>
                        <a:pt x="26" y="73"/>
                        <a:pt x="26" y="73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4" y="72"/>
                        <a:pt x="24" y="72"/>
                        <a:pt x="24" y="72"/>
                      </a:cubicBezTo>
                      <a:cubicBezTo>
                        <a:pt x="23" y="70"/>
                        <a:pt x="23" y="70"/>
                        <a:pt x="23" y="70"/>
                      </a:cubicBezTo>
                      <a:cubicBezTo>
                        <a:pt x="22" y="70"/>
                        <a:pt x="22" y="70"/>
                        <a:pt x="22" y="70"/>
                      </a:cubicBezTo>
                      <a:cubicBezTo>
                        <a:pt x="21" y="69"/>
                        <a:pt x="21" y="69"/>
                        <a:pt x="21" y="69"/>
                      </a:cubicBezTo>
                      <a:cubicBezTo>
                        <a:pt x="23" y="70"/>
                        <a:pt x="23" y="70"/>
                        <a:pt x="23" y="70"/>
                      </a:cubicBezTo>
                      <a:cubicBezTo>
                        <a:pt x="24" y="69"/>
                        <a:pt x="24" y="69"/>
                        <a:pt x="24" y="69"/>
                      </a:cubicBezTo>
                      <a:cubicBezTo>
                        <a:pt x="26" y="71"/>
                        <a:pt x="26" y="71"/>
                        <a:pt x="26" y="71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27" y="70"/>
                        <a:pt x="27" y="70"/>
                        <a:pt x="27" y="70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8" y="67"/>
                        <a:pt x="28" y="67"/>
                        <a:pt x="28" y="67"/>
                      </a:cubicBezTo>
                      <a:cubicBezTo>
                        <a:pt x="28" y="66"/>
                        <a:pt x="28" y="66"/>
                        <a:pt x="28" y="66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8" y="64"/>
                        <a:pt x="28" y="64"/>
                        <a:pt x="28" y="64"/>
                      </a:cubicBezTo>
                      <a:cubicBezTo>
                        <a:pt x="29" y="66"/>
                        <a:pt x="29" y="66"/>
                        <a:pt x="29" y="66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32" y="68"/>
                        <a:pt x="32" y="68"/>
                        <a:pt x="32" y="68"/>
                      </a:cubicBezTo>
                      <a:cubicBezTo>
                        <a:pt x="32" y="67"/>
                        <a:pt x="32" y="67"/>
                        <a:pt x="32" y="67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4" y="66"/>
                        <a:pt x="34" y="66"/>
                        <a:pt x="34" y="66"/>
                      </a:cubicBezTo>
                      <a:cubicBezTo>
                        <a:pt x="33" y="65"/>
                        <a:pt x="33" y="65"/>
                        <a:pt x="33" y="65"/>
                      </a:cubicBezTo>
                      <a:cubicBezTo>
                        <a:pt x="34" y="63"/>
                        <a:pt x="34" y="63"/>
                        <a:pt x="34" y="63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7" y="65"/>
                        <a:pt x="37" y="65"/>
                        <a:pt x="37" y="65"/>
                      </a:cubicBezTo>
                      <a:cubicBezTo>
                        <a:pt x="37" y="66"/>
                        <a:pt x="37" y="66"/>
                        <a:pt x="37" y="66"/>
                      </a:cubicBezTo>
                      <a:cubicBezTo>
                        <a:pt x="39" y="67"/>
                        <a:pt x="39" y="67"/>
                        <a:pt x="39" y="67"/>
                      </a:cubicBezTo>
                      <a:cubicBezTo>
                        <a:pt x="40" y="67"/>
                        <a:pt x="40" y="67"/>
                        <a:pt x="40" y="67"/>
                      </a:cubicBezTo>
                      <a:cubicBezTo>
                        <a:pt x="40" y="67"/>
                        <a:pt x="40" y="67"/>
                        <a:pt x="40" y="67"/>
                      </a:cubicBezTo>
                      <a:cubicBezTo>
                        <a:pt x="41" y="66"/>
                        <a:pt x="41" y="66"/>
                        <a:pt x="41" y="66"/>
                      </a:cubicBezTo>
                      <a:cubicBezTo>
                        <a:pt x="41" y="67"/>
                        <a:pt x="41" y="67"/>
                        <a:pt x="41" y="67"/>
                      </a:cubicBezTo>
                      <a:cubicBezTo>
                        <a:pt x="41" y="68"/>
                        <a:pt x="41" y="68"/>
                        <a:pt x="41" y="68"/>
                      </a:cubicBezTo>
                      <a:cubicBezTo>
                        <a:pt x="42" y="69"/>
                        <a:pt x="42" y="69"/>
                        <a:pt x="42" y="69"/>
                      </a:cubicBezTo>
                      <a:cubicBezTo>
                        <a:pt x="43" y="70"/>
                        <a:pt x="43" y="70"/>
                        <a:pt x="43" y="70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50" y="72"/>
                        <a:pt x="50" y="72"/>
                        <a:pt x="50" y="72"/>
                      </a:cubicBezTo>
                      <a:cubicBezTo>
                        <a:pt x="52" y="74"/>
                        <a:pt x="52" y="74"/>
                        <a:pt x="52" y="74"/>
                      </a:cubicBezTo>
                      <a:cubicBezTo>
                        <a:pt x="53" y="77"/>
                        <a:pt x="53" y="77"/>
                        <a:pt x="53" y="77"/>
                      </a:cubicBezTo>
                      <a:cubicBezTo>
                        <a:pt x="55" y="80"/>
                        <a:pt x="55" y="80"/>
                        <a:pt x="55" y="80"/>
                      </a:cubicBezTo>
                      <a:cubicBezTo>
                        <a:pt x="56" y="81"/>
                        <a:pt x="56" y="81"/>
                        <a:pt x="56" y="81"/>
                      </a:cubicBezTo>
                      <a:cubicBezTo>
                        <a:pt x="57" y="82"/>
                        <a:pt x="57" y="82"/>
                        <a:pt x="57" y="82"/>
                      </a:cubicBezTo>
                      <a:cubicBezTo>
                        <a:pt x="58" y="83"/>
                        <a:pt x="58" y="83"/>
                        <a:pt x="58" y="83"/>
                      </a:cubicBezTo>
                      <a:cubicBezTo>
                        <a:pt x="59" y="85"/>
                        <a:pt x="59" y="85"/>
                        <a:pt x="59" y="85"/>
                      </a:cubicBezTo>
                      <a:cubicBezTo>
                        <a:pt x="63" y="89"/>
                        <a:pt x="63" y="89"/>
                        <a:pt x="63" y="89"/>
                      </a:cubicBezTo>
                      <a:cubicBezTo>
                        <a:pt x="63" y="91"/>
                        <a:pt x="63" y="91"/>
                        <a:pt x="63" y="91"/>
                      </a:cubicBezTo>
                      <a:cubicBezTo>
                        <a:pt x="65" y="92"/>
                        <a:pt x="65" y="92"/>
                        <a:pt x="65" y="92"/>
                      </a:cubicBezTo>
                      <a:cubicBezTo>
                        <a:pt x="68" y="93"/>
                        <a:pt x="68" y="93"/>
                        <a:pt x="68" y="93"/>
                      </a:cubicBezTo>
                      <a:cubicBezTo>
                        <a:pt x="69" y="93"/>
                        <a:pt x="69" y="93"/>
                        <a:pt x="69" y="93"/>
                      </a:cubicBezTo>
                      <a:cubicBezTo>
                        <a:pt x="70" y="93"/>
                        <a:pt x="70" y="93"/>
                        <a:pt x="70" y="93"/>
                      </a:cubicBezTo>
                      <a:cubicBezTo>
                        <a:pt x="71" y="93"/>
                        <a:pt x="71" y="93"/>
                        <a:pt x="71" y="93"/>
                      </a:cubicBezTo>
                      <a:cubicBezTo>
                        <a:pt x="74" y="93"/>
                        <a:pt x="74" y="93"/>
                        <a:pt x="74" y="93"/>
                      </a:cubicBezTo>
                      <a:cubicBezTo>
                        <a:pt x="76" y="94"/>
                        <a:pt x="76" y="94"/>
                        <a:pt x="76" y="94"/>
                      </a:cubicBezTo>
                      <a:cubicBezTo>
                        <a:pt x="78" y="93"/>
                        <a:pt x="78" y="93"/>
                        <a:pt x="78" y="93"/>
                      </a:cubicBezTo>
                      <a:cubicBezTo>
                        <a:pt x="81" y="94"/>
                        <a:pt x="81" y="94"/>
                        <a:pt x="81" y="94"/>
                      </a:cubicBezTo>
                      <a:cubicBezTo>
                        <a:pt x="82" y="95"/>
                        <a:pt x="82" y="95"/>
                        <a:pt x="82" y="95"/>
                      </a:cubicBezTo>
                      <a:cubicBezTo>
                        <a:pt x="85" y="94"/>
                        <a:pt x="85" y="94"/>
                        <a:pt x="85" y="94"/>
                      </a:cubicBezTo>
                      <a:cubicBezTo>
                        <a:pt x="86" y="96"/>
                        <a:pt x="86" y="96"/>
                        <a:pt x="86" y="96"/>
                      </a:cubicBezTo>
                      <a:cubicBezTo>
                        <a:pt x="88" y="96"/>
                        <a:pt x="88" y="96"/>
                        <a:pt x="88" y="96"/>
                      </a:cubicBezTo>
                      <a:cubicBezTo>
                        <a:pt x="88" y="96"/>
                        <a:pt x="88" y="96"/>
                        <a:pt x="88" y="96"/>
                      </a:cubicBezTo>
                      <a:cubicBezTo>
                        <a:pt x="87" y="97"/>
                        <a:pt x="87" y="97"/>
                        <a:pt x="87" y="97"/>
                      </a:cubicBezTo>
                      <a:cubicBezTo>
                        <a:pt x="89" y="98"/>
                        <a:pt x="89" y="98"/>
                        <a:pt x="89" y="98"/>
                      </a:cubicBezTo>
                      <a:cubicBezTo>
                        <a:pt x="91" y="99"/>
                        <a:pt x="91" y="99"/>
                        <a:pt x="91" y="99"/>
                      </a:cubicBezTo>
                      <a:cubicBezTo>
                        <a:pt x="93" y="98"/>
                        <a:pt x="93" y="98"/>
                        <a:pt x="93" y="98"/>
                      </a:cubicBezTo>
                      <a:cubicBezTo>
                        <a:pt x="94" y="97"/>
                        <a:pt x="94" y="97"/>
                        <a:pt x="94" y="97"/>
                      </a:cubicBezTo>
                      <a:cubicBezTo>
                        <a:pt x="91" y="96"/>
                        <a:pt x="91" y="96"/>
                        <a:pt x="91" y="96"/>
                      </a:cubicBezTo>
                      <a:cubicBezTo>
                        <a:pt x="91" y="96"/>
                        <a:pt x="91" y="96"/>
                        <a:pt x="91" y="96"/>
                      </a:cubicBezTo>
                      <a:cubicBezTo>
                        <a:pt x="91" y="95"/>
                        <a:pt x="91" y="95"/>
                        <a:pt x="91" y="95"/>
                      </a:cubicBezTo>
                      <a:cubicBezTo>
                        <a:pt x="92" y="94"/>
                        <a:pt x="92" y="94"/>
                        <a:pt x="92" y="94"/>
                      </a:cubicBezTo>
                      <a:cubicBezTo>
                        <a:pt x="94" y="95"/>
                        <a:pt x="94" y="95"/>
                        <a:pt x="94" y="95"/>
                      </a:cubicBezTo>
                      <a:cubicBezTo>
                        <a:pt x="96" y="94"/>
                        <a:pt x="96" y="94"/>
                        <a:pt x="96" y="94"/>
                      </a:cubicBezTo>
                      <a:cubicBezTo>
                        <a:pt x="92" y="93"/>
                        <a:pt x="92" y="93"/>
                        <a:pt x="92" y="93"/>
                      </a:cubicBezTo>
                      <a:cubicBezTo>
                        <a:pt x="88" y="92"/>
                        <a:pt x="88" y="92"/>
                        <a:pt x="88" y="92"/>
                      </a:cubicBezTo>
                      <a:cubicBezTo>
                        <a:pt x="85" y="91"/>
                        <a:pt x="85" y="91"/>
                        <a:pt x="85" y="91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6" y="89"/>
                        <a:pt x="86" y="89"/>
                        <a:pt x="86" y="89"/>
                      </a:cubicBezTo>
                      <a:cubicBezTo>
                        <a:pt x="88" y="89"/>
                        <a:pt x="88" y="89"/>
                        <a:pt x="88" y="89"/>
                      </a:cubicBezTo>
                      <a:cubicBezTo>
                        <a:pt x="89" y="88"/>
                        <a:pt x="89" y="88"/>
                        <a:pt x="89" y="88"/>
                      </a:cubicBezTo>
                      <a:cubicBezTo>
                        <a:pt x="87" y="87"/>
                        <a:pt x="87" y="87"/>
                        <a:pt x="87" y="87"/>
                      </a:cubicBezTo>
                      <a:cubicBezTo>
                        <a:pt x="84" y="87"/>
                        <a:pt x="84" y="87"/>
                        <a:pt x="84" y="87"/>
                      </a:cubicBezTo>
                      <a:cubicBezTo>
                        <a:pt x="81" y="87"/>
                        <a:pt x="81" y="87"/>
                        <a:pt x="81" y="87"/>
                      </a:cubicBezTo>
                      <a:cubicBezTo>
                        <a:pt x="80" y="86"/>
                        <a:pt x="80" y="86"/>
                        <a:pt x="80" y="86"/>
                      </a:cubicBezTo>
                      <a:cubicBezTo>
                        <a:pt x="80" y="84"/>
                        <a:pt x="80" y="84"/>
                        <a:pt x="80" y="84"/>
                      </a:cubicBezTo>
                      <a:cubicBezTo>
                        <a:pt x="81" y="83"/>
                        <a:pt x="81" y="83"/>
                        <a:pt x="81" y="83"/>
                      </a:cubicBezTo>
                      <a:cubicBezTo>
                        <a:pt x="81" y="82"/>
                        <a:pt x="81" y="82"/>
                        <a:pt x="81" y="82"/>
                      </a:cubicBezTo>
                      <a:cubicBezTo>
                        <a:pt x="80" y="81"/>
                        <a:pt x="80" y="81"/>
                        <a:pt x="80" y="81"/>
                      </a:cubicBezTo>
                      <a:cubicBezTo>
                        <a:pt x="79" y="81"/>
                        <a:pt x="79" y="81"/>
                        <a:pt x="79" y="81"/>
                      </a:cubicBezTo>
                      <a:cubicBezTo>
                        <a:pt x="78" y="81"/>
                        <a:pt x="78" y="81"/>
                        <a:pt x="78" y="81"/>
                      </a:cubicBezTo>
                      <a:cubicBezTo>
                        <a:pt x="77" y="81"/>
                        <a:pt x="77" y="81"/>
                        <a:pt x="77" y="81"/>
                      </a:cubicBezTo>
                      <a:cubicBezTo>
                        <a:pt x="76" y="81"/>
                        <a:pt x="76" y="81"/>
                        <a:pt x="76" y="81"/>
                      </a:cubicBezTo>
                      <a:cubicBezTo>
                        <a:pt x="74" y="79"/>
                        <a:pt x="74" y="79"/>
                        <a:pt x="74" y="79"/>
                      </a:cubicBezTo>
                      <a:cubicBezTo>
                        <a:pt x="74" y="76"/>
                        <a:pt x="74" y="76"/>
                        <a:pt x="74" y="76"/>
                      </a:cubicBezTo>
                      <a:cubicBezTo>
                        <a:pt x="72" y="76"/>
                        <a:pt x="72" y="76"/>
                        <a:pt x="72" y="76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69" y="69"/>
                        <a:pt x="69" y="69"/>
                        <a:pt x="69" y="69"/>
                      </a:cubicBezTo>
                      <a:cubicBezTo>
                        <a:pt x="67" y="69"/>
                        <a:pt x="67" y="69"/>
                        <a:pt x="67" y="69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2" y="62"/>
                        <a:pt x="62" y="62"/>
                        <a:pt x="62" y="62"/>
                      </a:cubicBezTo>
                      <a:cubicBezTo>
                        <a:pt x="60" y="61"/>
                        <a:pt x="60" y="61"/>
                        <a:pt x="60" y="61"/>
                      </a:cubicBezTo>
                      <a:cubicBezTo>
                        <a:pt x="59" y="59"/>
                        <a:pt x="59" y="59"/>
                        <a:pt x="59" y="59"/>
                      </a:cubicBezTo>
                      <a:cubicBezTo>
                        <a:pt x="60" y="58"/>
                        <a:pt x="60" y="58"/>
                        <a:pt x="60" y="58"/>
                      </a:cubicBezTo>
                      <a:cubicBezTo>
                        <a:pt x="64" y="58"/>
                        <a:pt x="64" y="58"/>
                        <a:pt x="64" y="58"/>
                      </a:cubicBezTo>
                      <a:cubicBezTo>
                        <a:pt x="67" y="56"/>
                        <a:pt x="67" y="56"/>
                        <a:pt x="67" y="56"/>
                      </a:cubicBezTo>
                      <a:cubicBezTo>
                        <a:pt x="68" y="55"/>
                        <a:pt x="68" y="55"/>
                        <a:pt x="68" y="55"/>
                      </a:cubicBezTo>
                      <a:cubicBezTo>
                        <a:pt x="68" y="53"/>
                        <a:pt x="68" y="53"/>
                        <a:pt x="68" y="53"/>
                      </a:cubicBezTo>
                      <a:cubicBezTo>
                        <a:pt x="65" y="50"/>
                        <a:pt x="65" y="50"/>
                        <a:pt x="65" y="50"/>
                      </a:cubicBezTo>
                      <a:cubicBezTo>
                        <a:pt x="63" y="49"/>
                        <a:pt x="63" y="49"/>
                        <a:pt x="63" y="49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5" y="45"/>
                        <a:pt x="55" y="45"/>
                        <a:pt x="55" y="45"/>
                      </a:cubicBezTo>
                      <a:cubicBezTo>
                        <a:pt x="53" y="46"/>
                        <a:pt x="53" y="46"/>
                        <a:pt x="53" y="46"/>
                      </a:cubicBezTo>
                      <a:cubicBezTo>
                        <a:pt x="48" y="44"/>
                        <a:pt x="48" y="44"/>
                        <a:pt x="48" y="44"/>
                      </a:cubicBezTo>
                      <a:cubicBezTo>
                        <a:pt x="48" y="43"/>
                        <a:pt x="48" y="43"/>
                        <a:pt x="48" y="43"/>
                      </a:cubicBezTo>
                      <a:cubicBezTo>
                        <a:pt x="49" y="40"/>
                        <a:pt x="49" y="40"/>
                        <a:pt x="49" y="40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48" y="37"/>
                        <a:pt x="48" y="37"/>
                        <a:pt x="48" y="37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0" y="31"/>
                        <a:pt x="40" y="31"/>
                        <a:pt x="40" y="31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6" y="28"/>
                        <a:pt x="36" y="28"/>
                        <a:pt x="36" y="28"/>
                      </a:cubicBezTo>
                      <a:cubicBezTo>
                        <a:pt x="36" y="28"/>
                        <a:pt x="36" y="28"/>
                        <a:pt x="36" y="28"/>
                      </a:cubicBez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0" y="25"/>
                        <a:pt x="30" y="25"/>
                        <a:pt x="30" y="25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4" y="22"/>
                        <a:pt x="24" y="22"/>
                        <a:pt x="24" y="22"/>
                      </a:cubicBezTo>
                      <a:cubicBezTo>
                        <a:pt x="19" y="22"/>
                        <a:pt x="19" y="22"/>
                        <a:pt x="19" y="22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20"/>
                        <a:pt x="14" y="20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3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1" name="Freeform 170">
                  <a:extLst>
                    <a:ext uri="{FF2B5EF4-FFF2-40B4-BE49-F238E27FC236}">
                      <a16:creationId xmlns:a16="http://schemas.microsoft.com/office/drawing/2014/main" xmlns="" id="{46715481-5A47-49B4-843E-50BD1E9CD8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14" y="1725"/>
                  <a:ext cx="159" cy="242"/>
                </a:xfrm>
                <a:custGeom>
                  <a:avLst/>
                  <a:gdLst>
                    <a:gd name="T0" fmla="*/ 37 w 97"/>
                    <a:gd name="T1" fmla="*/ 2 h 148"/>
                    <a:gd name="T2" fmla="*/ 49 w 97"/>
                    <a:gd name="T3" fmla="*/ 58 h 148"/>
                    <a:gd name="T4" fmla="*/ 62 w 97"/>
                    <a:gd name="T5" fmla="*/ 60 h 148"/>
                    <a:gd name="T6" fmla="*/ 68 w 97"/>
                    <a:gd name="T7" fmla="*/ 70 h 148"/>
                    <a:gd name="T8" fmla="*/ 66 w 97"/>
                    <a:gd name="T9" fmla="*/ 71 h 148"/>
                    <a:gd name="T10" fmla="*/ 52 w 97"/>
                    <a:gd name="T11" fmla="*/ 61 h 148"/>
                    <a:gd name="T12" fmla="*/ 41 w 97"/>
                    <a:gd name="T13" fmla="*/ 64 h 148"/>
                    <a:gd name="T14" fmla="*/ 34 w 97"/>
                    <a:gd name="T15" fmla="*/ 55 h 148"/>
                    <a:gd name="T16" fmla="*/ 27 w 97"/>
                    <a:gd name="T17" fmla="*/ 50 h 148"/>
                    <a:gd name="T18" fmla="*/ 26 w 97"/>
                    <a:gd name="T19" fmla="*/ 36 h 148"/>
                    <a:gd name="T20" fmla="*/ 36 w 97"/>
                    <a:gd name="T21" fmla="*/ 10 h 148"/>
                    <a:gd name="T22" fmla="*/ 44 w 97"/>
                    <a:gd name="T23" fmla="*/ 18 h 148"/>
                    <a:gd name="T24" fmla="*/ 45 w 97"/>
                    <a:gd name="T25" fmla="*/ 36 h 148"/>
                    <a:gd name="T26" fmla="*/ 46 w 97"/>
                    <a:gd name="T27" fmla="*/ 56 h 148"/>
                    <a:gd name="T28" fmla="*/ 48 w 97"/>
                    <a:gd name="T29" fmla="*/ 48 h 148"/>
                    <a:gd name="T30" fmla="*/ 32 w 97"/>
                    <a:gd name="T31" fmla="*/ 66 h 148"/>
                    <a:gd name="T32" fmla="*/ 43 w 97"/>
                    <a:gd name="T33" fmla="*/ 75 h 148"/>
                    <a:gd name="T34" fmla="*/ 68 w 97"/>
                    <a:gd name="T35" fmla="*/ 59 h 148"/>
                    <a:gd name="T36" fmla="*/ 48 w 97"/>
                    <a:gd name="T37" fmla="*/ 67 h 148"/>
                    <a:gd name="T38" fmla="*/ 50 w 97"/>
                    <a:gd name="T39" fmla="*/ 77 h 148"/>
                    <a:gd name="T40" fmla="*/ 58 w 97"/>
                    <a:gd name="T41" fmla="*/ 68 h 148"/>
                    <a:gd name="T42" fmla="*/ 64 w 97"/>
                    <a:gd name="T43" fmla="*/ 74 h 148"/>
                    <a:gd name="T44" fmla="*/ 62 w 97"/>
                    <a:gd name="T45" fmla="*/ 75 h 148"/>
                    <a:gd name="T46" fmla="*/ 50 w 97"/>
                    <a:gd name="T47" fmla="*/ 97 h 148"/>
                    <a:gd name="T48" fmla="*/ 53 w 97"/>
                    <a:gd name="T49" fmla="*/ 84 h 148"/>
                    <a:gd name="T50" fmla="*/ 59 w 97"/>
                    <a:gd name="T51" fmla="*/ 90 h 148"/>
                    <a:gd name="T52" fmla="*/ 56 w 97"/>
                    <a:gd name="T53" fmla="*/ 96 h 148"/>
                    <a:gd name="T54" fmla="*/ 69 w 97"/>
                    <a:gd name="T55" fmla="*/ 96 h 148"/>
                    <a:gd name="T56" fmla="*/ 64 w 97"/>
                    <a:gd name="T57" fmla="*/ 107 h 148"/>
                    <a:gd name="T58" fmla="*/ 58 w 97"/>
                    <a:gd name="T59" fmla="*/ 97 h 148"/>
                    <a:gd name="T60" fmla="*/ 63 w 97"/>
                    <a:gd name="T61" fmla="*/ 110 h 148"/>
                    <a:gd name="T62" fmla="*/ 74 w 97"/>
                    <a:gd name="T63" fmla="*/ 100 h 148"/>
                    <a:gd name="T64" fmla="*/ 82 w 97"/>
                    <a:gd name="T65" fmla="*/ 102 h 148"/>
                    <a:gd name="T66" fmla="*/ 74 w 97"/>
                    <a:gd name="T67" fmla="*/ 86 h 148"/>
                    <a:gd name="T68" fmla="*/ 86 w 97"/>
                    <a:gd name="T69" fmla="*/ 90 h 148"/>
                    <a:gd name="T70" fmla="*/ 78 w 97"/>
                    <a:gd name="T71" fmla="*/ 74 h 148"/>
                    <a:gd name="T72" fmla="*/ 78 w 97"/>
                    <a:gd name="T73" fmla="*/ 84 h 148"/>
                    <a:gd name="T74" fmla="*/ 73 w 97"/>
                    <a:gd name="T75" fmla="*/ 89 h 148"/>
                    <a:gd name="T76" fmla="*/ 82 w 97"/>
                    <a:gd name="T77" fmla="*/ 99 h 148"/>
                    <a:gd name="T78" fmla="*/ 87 w 97"/>
                    <a:gd name="T79" fmla="*/ 93 h 148"/>
                    <a:gd name="T80" fmla="*/ 86 w 97"/>
                    <a:gd name="T81" fmla="*/ 97 h 148"/>
                    <a:gd name="T82" fmla="*/ 89 w 97"/>
                    <a:gd name="T83" fmla="*/ 105 h 148"/>
                    <a:gd name="T84" fmla="*/ 52 w 97"/>
                    <a:gd name="T85" fmla="*/ 127 h 148"/>
                    <a:gd name="T86" fmla="*/ 66 w 97"/>
                    <a:gd name="T87" fmla="*/ 115 h 148"/>
                    <a:gd name="T88" fmla="*/ 78 w 97"/>
                    <a:gd name="T89" fmla="*/ 116 h 148"/>
                    <a:gd name="T90" fmla="*/ 83 w 97"/>
                    <a:gd name="T91" fmla="*/ 104 h 148"/>
                    <a:gd name="T92" fmla="*/ 91 w 97"/>
                    <a:gd name="T93" fmla="*/ 116 h 148"/>
                    <a:gd name="T94" fmla="*/ 96 w 97"/>
                    <a:gd name="T95" fmla="*/ 134 h 148"/>
                    <a:gd name="T96" fmla="*/ 92 w 97"/>
                    <a:gd name="T97" fmla="*/ 135 h 148"/>
                    <a:gd name="T98" fmla="*/ 86 w 97"/>
                    <a:gd name="T99" fmla="*/ 147 h 148"/>
                    <a:gd name="T100" fmla="*/ 75 w 97"/>
                    <a:gd name="T101" fmla="*/ 144 h 148"/>
                    <a:gd name="T102" fmla="*/ 72 w 97"/>
                    <a:gd name="T103" fmla="*/ 131 h 148"/>
                    <a:gd name="T104" fmla="*/ 63 w 97"/>
                    <a:gd name="T105" fmla="*/ 129 h 148"/>
                    <a:gd name="T106" fmla="*/ 57 w 97"/>
                    <a:gd name="T107" fmla="*/ 126 h 148"/>
                    <a:gd name="T108" fmla="*/ 53 w 97"/>
                    <a:gd name="T109" fmla="*/ 137 h 148"/>
                    <a:gd name="T110" fmla="*/ 31 w 97"/>
                    <a:gd name="T111" fmla="*/ 80 h 148"/>
                    <a:gd name="T112" fmla="*/ 26 w 97"/>
                    <a:gd name="T113" fmla="*/ 81 h 148"/>
                    <a:gd name="T114" fmla="*/ 5 w 97"/>
                    <a:gd name="T115" fmla="*/ 117 h 148"/>
                    <a:gd name="T116" fmla="*/ 21 w 97"/>
                    <a:gd name="T117" fmla="*/ 102 h 148"/>
                    <a:gd name="T118" fmla="*/ 22 w 97"/>
                    <a:gd name="T119" fmla="*/ 94 h 148"/>
                    <a:gd name="T120" fmla="*/ 9 w 97"/>
                    <a:gd name="T121" fmla="*/ 110 h 148"/>
                    <a:gd name="T122" fmla="*/ 4 w 97"/>
                    <a:gd name="T123" fmla="*/ 12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7" h="148">
                      <a:moveTo>
                        <a:pt x="35" y="7"/>
                      </a:move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5" y="7"/>
                        <a:pt x="35" y="7"/>
                        <a:pt x="35" y="7"/>
                      </a:cubicBezTo>
                      <a:close/>
                      <a:moveTo>
                        <a:pt x="34" y="2"/>
                      </a:moveTo>
                      <a:cubicBezTo>
                        <a:pt x="35" y="4"/>
                        <a:pt x="35" y="4"/>
                        <a:pt x="35" y="4"/>
                      </a:cubicBezTo>
                      <a:cubicBezTo>
                        <a:pt x="33" y="4"/>
                        <a:pt x="33" y="4"/>
                        <a:pt x="33" y="4"/>
                      </a:cubicBezTo>
                      <a:cubicBezTo>
                        <a:pt x="34" y="2"/>
                        <a:pt x="34" y="2"/>
                        <a:pt x="34" y="2"/>
                      </a:cubicBezTo>
                      <a:close/>
                      <a:moveTo>
                        <a:pt x="38" y="0"/>
                      </a:move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2"/>
                        <a:pt x="37" y="2"/>
                        <a:pt x="37" y="2"/>
                      </a:cubicBezTo>
                      <a:cubicBezTo>
                        <a:pt x="38" y="0"/>
                        <a:pt x="38" y="0"/>
                        <a:pt x="38" y="0"/>
                      </a:cubicBezTo>
                      <a:close/>
                      <a:moveTo>
                        <a:pt x="42" y="4"/>
                      </a:moveTo>
                      <a:cubicBezTo>
                        <a:pt x="41" y="6"/>
                        <a:pt x="41" y="6"/>
                        <a:pt x="41" y="6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3" y="5"/>
                        <a:pt x="43" y="5"/>
                        <a:pt x="43" y="5"/>
                      </a:cubicBezTo>
                      <a:cubicBezTo>
                        <a:pt x="43" y="5"/>
                        <a:pt x="42" y="4"/>
                        <a:pt x="42" y="4"/>
                      </a:cubicBezTo>
                      <a:close/>
                      <a:moveTo>
                        <a:pt x="43" y="55"/>
                      </a:moveTo>
                      <a:cubicBezTo>
                        <a:pt x="44" y="56"/>
                        <a:pt x="44" y="56"/>
                        <a:pt x="44" y="56"/>
                      </a:cubicBezTo>
                      <a:cubicBezTo>
                        <a:pt x="45" y="58"/>
                        <a:pt x="45" y="58"/>
                        <a:pt x="45" y="58"/>
                      </a:cubicBezTo>
                      <a:cubicBezTo>
                        <a:pt x="47" y="59"/>
                        <a:pt x="47" y="59"/>
                        <a:pt x="47" y="59"/>
                      </a:cubicBezTo>
                      <a:cubicBezTo>
                        <a:pt x="49" y="58"/>
                        <a:pt x="49" y="58"/>
                        <a:pt x="49" y="58"/>
                      </a:cubicBezTo>
                      <a:cubicBezTo>
                        <a:pt x="49" y="57"/>
                        <a:pt x="49" y="57"/>
                        <a:pt x="49" y="57"/>
                      </a:cubicBezTo>
                      <a:cubicBezTo>
                        <a:pt x="52" y="55"/>
                        <a:pt x="52" y="55"/>
                        <a:pt x="52" y="55"/>
                      </a:cubicBezTo>
                      <a:cubicBezTo>
                        <a:pt x="54" y="54"/>
                        <a:pt x="54" y="54"/>
                        <a:pt x="54" y="54"/>
                      </a:cubicBezTo>
                      <a:cubicBezTo>
                        <a:pt x="57" y="56"/>
                        <a:pt x="57" y="56"/>
                        <a:pt x="57" y="56"/>
                      </a:cubicBezTo>
                      <a:cubicBezTo>
                        <a:pt x="58" y="59"/>
                        <a:pt x="58" y="59"/>
                        <a:pt x="58" y="5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58" y="62"/>
                        <a:pt x="58" y="62"/>
                        <a:pt x="58" y="62"/>
                      </a:cubicBezTo>
                      <a:cubicBezTo>
                        <a:pt x="60" y="61"/>
                        <a:pt x="60" y="61"/>
                        <a:pt x="60" y="61"/>
                      </a:cubicBezTo>
                      <a:cubicBezTo>
                        <a:pt x="60" y="59"/>
                        <a:pt x="60" y="59"/>
                        <a:pt x="60" y="59"/>
                      </a:cubicBezTo>
                      <a:cubicBezTo>
                        <a:pt x="60" y="58"/>
                        <a:pt x="60" y="58"/>
                        <a:pt x="60" y="58"/>
                      </a:cubicBezTo>
                      <a:cubicBezTo>
                        <a:pt x="62" y="60"/>
                        <a:pt x="62" y="60"/>
                        <a:pt x="62" y="6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4" y="62"/>
                        <a:pt x="64" y="62"/>
                        <a:pt x="64" y="62"/>
                      </a:cubicBezTo>
                      <a:cubicBezTo>
                        <a:pt x="63" y="62"/>
                        <a:pt x="63" y="62"/>
                        <a:pt x="63" y="62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4" y="69"/>
                        <a:pt x="64" y="69"/>
                        <a:pt x="64" y="69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9" y="70"/>
                        <a:pt x="69" y="70"/>
                        <a:pt x="69" y="70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69" y="72"/>
                        <a:pt x="69" y="72"/>
                        <a:pt x="69" y="72"/>
                      </a:cubicBezTo>
                      <a:cubicBezTo>
                        <a:pt x="70" y="73"/>
                        <a:pt x="70" y="73"/>
                        <a:pt x="70" y="73"/>
                      </a:cubicBezTo>
                      <a:cubicBezTo>
                        <a:pt x="69" y="76"/>
                        <a:pt x="69" y="76"/>
                        <a:pt x="69" y="76"/>
                      </a:cubicBez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66" y="73"/>
                        <a:pt x="66" y="73"/>
                        <a:pt x="66" y="73"/>
                      </a:cubicBezTo>
                      <a:cubicBezTo>
                        <a:pt x="67" y="72"/>
                        <a:pt x="67" y="72"/>
                        <a:pt x="67" y="72"/>
                      </a:cubicBezTo>
                      <a:cubicBezTo>
                        <a:pt x="67" y="71"/>
                        <a:pt x="67" y="71"/>
                        <a:pt x="67" y="71"/>
                      </a:cubicBezTo>
                      <a:cubicBezTo>
                        <a:pt x="66" y="71"/>
                        <a:pt x="66" y="71"/>
                        <a:pt x="66" y="71"/>
                      </a:cubicBezTo>
                      <a:cubicBezTo>
                        <a:pt x="66" y="71"/>
                        <a:pt x="66" y="71"/>
                        <a:pt x="66" y="71"/>
                      </a:cubicBezTo>
                      <a:cubicBezTo>
                        <a:pt x="64" y="72"/>
                        <a:pt x="64" y="72"/>
                        <a:pt x="64" y="72"/>
                      </a:cubicBezTo>
                      <a:cubicBezTo>
                        <a:pt x="62" y="69"/>
                        <a:pt x="62" y="69"/>
                        <a:pt x="62" y="69"/>
                      </a:cubicBezTo>
                      <a:cubicBezTo>
                        <a:pt x="60" y="69"/>
                        <a:pt x="60" y="69"/>
                        <a:pt x="60" y="69"/>
                      </a:cubicBezTo>
                      <a:cubicBezTo>
                        <a:pt x="60" y="67"/>
                        <a:pt x="60" y="67"/>
                        <a:pt x="60" y="67"/>
                      </a:cubicBezTo>
                      <a:cubicBezTo>
                        <a:pt x="60" y="65"/>
                        <a:pt x="60" y="65"/>
                        <a:pt x="60" y="65"/>
                      </a:cubicBezTo>
                      <a:cubicBezTo>
                        <a:pt x="57" y="64"/>
                        <a:pt x="57" y="64"/>
                        <a:pt x="57" y="64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54" y="61"/>
                        <a:pt x="54" y="61"/>
                        <a:pt x="54" y="61"/>
                      </a:cubicBezTo>
                      <a:cubicBezTo>
                        <a:pt x="53" y="60"/>
                        <a:pt x="53" y="60"/>
                        <a:pt x="53" y="60"/>
                      </a:cubicBezTo>
                      <a:cubicBezTo>
                        <a:pt x="52" y="60"/>
                        <a:pt x="52" y="60"/>
                        <a:pt x="52" y="60"/>
                      </a:cubicBezTo>
                      <a:cubicBezTo>
                        <a:pt x="52" y="61"/>
                        <a:pt x="52" y="61"/>
                        <a:pt x="52" y="61"/>
                      </a:cubicBezTo>
                      <a:cubicBezTo>
                        <a:pt x="54" y="64"/>
                        <a:pt x="54" y="64"/>
                        <a:pt x="54" y="64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4" y="68"/>
                        <a:pt x="54" y="68"/>
                        <a:pt x="54" y="68"/>
                      </a:cubicBezTo>
                      <a:cubicBezTo>
                        <a:pt x="52" y="64"/>
                        <a:pt x="52" y="64"/>
                        <a:pt x="52" y="64"/>
                      </a:cubicBezTo>
                      <a:cubicBezTo>
                        <a:pt x="50" y="63"/>
                        <a:pt x="50" y="63"/>
                        <a:pt x="50" y="63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45" y="60"/>
                        <a:pt x="45" y="60"/>
                        <a:pt x="45" y="60"/>
                      </a:cubicBezTo>
                      <a:cubicBezTo>
                        <a:pt x="43" y="60"/>
                        <a:pt x="43" y="60"/>
                        <a:pt x="43" y="60"/>
                      </a:cubicBezTo>
                      <a:cubicBezTo>
                        <a:pt x="42" y="61"/>
                        <a:pt x="42" y="61"/>
                        <a:pt x="42" y="61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1" y="64"/>
                        <a:pt x="41" y="64"/>
                        <a:pt x="41" y="64"/>
                      </a:cubicBezTo>
                      <a:cubicBezTo>
                        <a:pt x="38" y="61"/>
                        <a:pt x="38" y="61"/>
                        <a:pt x="38" y="61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6" y="60"/>
                        <a:pt x="36" y="60"/>
                        <a:pt x="36" y="60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4" y="62"/>
                        <a:pt x="34" y="62"/>
                        <a:pt x="34" y="62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33" y="57"/>
                        <a:pt x="33" y="57"/>
                        <a:pt x="33" y="57"/>
                      </a:cubicBezTo>
                      <a:cubicBezTo>
                        <a:pt x="33" y="56"/>
                        <a:pt x="33" y="56"/>
                        <a:pt x="33" y="56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6" y="52"/>
                        <a:pt x="36" y="52"/>
                        <a:pt x="36" y="52"/>
                      </a:cubicBezTo>
                      <a:cubicBezTo>
                        <a:pt x="34" y="51"/>
                        <a:pt x="34" y="51"/>
                        <a:pt x="34" y="51"/>
                      </a:cubicBezTo>
                      <a:cubicBezTo>
                        <a:pt x="32" y="51"/>
                        <a:pt x="32" y="51"/>
                        <a:pt x="32" y="51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33" y="53"/>
                        <a:pt x="33" y="53"/>
                        <a:pt x="33" y="53"/>
                      </a:cubicBezTo>
                      <a:cubicBezTo>
                        <a:pt x="32" y="55"/>
                        <a:pt x="32" y="55"/>
                        <a:pt x="32" y="55"/>
                      </a:cubicBezTo>
                      <a:cubicBezTo>
                        <a:pt x="31" y="55"/>
                        <a:pt x="31" y="55"/>
                        <a:pt x="31" y="55"/>
                      </a:cubicBezTo>
                      <a:cubicBezTo>
                        <a:pt x="29" y="52"/>
                        <a:pt x="29" y="52"/>
                        <a:pt x="29" y="52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8" y="50"/>
                        <a:pt x="28" y="50"/>
                        <a:pt x="28" y="50"/>
                      </a:cubicBezTo>
                      <a:cubicBezTo>
                        <a:pt x="27" y="50"/>
                        <a:pt x="27" y="50"/>
                        <a:pt x="27" y="50"/>
                      </a:cubicBezTo>
                      <a:cubicBezTo>
                        <a:pt x="26" y="50"/>
                        <a:pt x="26" y="50"/>
                        <a:pt x="26" y="50"/>
                      </a:cubicBezTo>
                      <a:cubicBezTo>
                        <a:pt x="26" y="46"/>
                        <a:pt x="26" y="46"/>
                        <a:pt x="26" y="46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3" y="38"/>
                        <a:pt x="23" y="38"/>
                        <a:pt x="23" y="38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6" y="30"/>
                        <a:pt x="26" y="30"/>
                        <a:pt x="26" y="30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8" y="23"/>
                        <a:pt x="28" y="23"/>
                        <a:pt x="28" y="23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7" y="17"/>
                        <a:pt x="27" y="17"/>
                        <a:pt x="27" y="17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8" y="12"/>
                        <a:pt x="38" y="12"/>
                        <a:pt x="38" y="12"/>
                      </a:cubicBezTo>
                      <a:cubicBezTo>
                        <a:pt x="39" y="13"/>
                        <a:pt x="39" y="13"/>
                        <a:pt x="39" y="13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42" y="12"/>
                        <a:pt x="42" y="12"/>
                        <a:pt x="42" y="12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44" y="10"/>
                        <a:pt x="44" y="10"/>
                        <a:pt x="44" y="10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46" y="11"/>
                        <a:pt x="46" y="11"/>
                        <a:pt x="46" y="11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44" y="18"/>
                        <a:pt x="44" y="18"/>
                        <a:pt x="44" y="18"/>
                      </a:cubicBezTo>
                      <a:cubicBezTo>
                        <a:pt x="46" y="21"/>
                        <a:pt x="46" y="21"/>
                        <a:pt x="46" y="21"/>
                      </a:cubicBezTo>
                      <a:cubicBezTo>
                        <a:pt x="47" y="21"/>
                        <a:pt x="47" y="21"/>
                        <a:pt x="47" y="21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49" y="25"/>
                        <a:pt x="49" y="25"/>
                        <a:pt x="49" y="25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7" y="35"/>
                        <a:pt x="47" y="35"/>
                        <a:pt x="47" y="35"/>
                      </a:cubicBezTo>
                      <a:cubicBezTo>
                        <a:pt x="46" y="38"/>
                        <a:pt x="46" y="38"/>
                        <a:pt x="46" y="38"/>
                      </a:cubicBezTo>
                      <a:cubicBezTo>
                        <a:pt x="46" y="37"/>
                        <a:pt x="46" y="37"/>
                        <a:pt x="46" y="37"/>
                      </a:cubicBezTo>
                      <a:cubicBezTo>
                        <a:pt x="46" y="35"/>
                        <a:pt x="46" y="35"/>
                        <a:pt x="46" y="35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41" y="41"/>
                        <a:pt x="41" y="41"/>
                        <a:pt x="41" y="41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1" y="44"/>
                      </a:cubicBezTo>
                      <a:cubicBezTo>
                        <a:pt x="40" y="47"/>
                        <a:pt x="40" y="47"/>
                        <a:pt x="40" y="47"/>
                      </a:cubicBez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42" y="50"/>
                        <a:pt x="42" y="50"/>
                        <a:pt x="42" y="50"/>
                      </a:cubicBezTo>
                      <a:cubicBezTo>
                        <a:pt x="43" y="52"/>
                        <a:pt x="43" y="52"/>
                        <a:pt x="43" y="52"/>
                      </a:cubicBezTo>
                      <a:cubicBezTo>
                        <a:pt x="43" y="53"/>
                        <a:pt x="43" y="53"/>
                        <a:pt x="43" y="53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lose/>
                      <a:moveTo>
                        <a:pt x="46" y="56"/>
                      </a:moveTo>
                      <a:cubicBezTo>
                        <a:pt x="47" y="57"/>
                        <a:pt x="47" y="57"/>
                        <a:pt x="47" y="57"/>
                      </a:cubicBezTo>
                      <a:cubicBezTo>
                        <a:pt x="48" y="58"/>
                        <a:pt x="48" y="58"/>
                        <a:pt x="48" y="58"/>
                      </a:cubicBezTo>
                      <a:cubicBezTo>
                        <a:pt x="48" y="56"/>
                        <a:pt x="48" y="56"/>
                        <a:pt x="48" y="56"/>
                      </a:cubicBezTo>
                      <a:cubicBezTo>
                        <a:pt x="46" y="56"/>
                        <a:pt x="46" y="56"/>
                        <a:pt x="46" y="56"/>
                      </a:cubicBezTo>
                      <a:close/>
                      <a:moveTo>
                        <a:pt x="45" y="48"/>
                      </a:moveTo>
                      <a:cubicBezTo>
                        <a:pt x="46" y="51"/>
                        <a:pt x="46" y="51"/>
                        <a:pt x="46" y="51"/>
                      </a:cubicBezTo>
                      <a:cubicBezTo>
                        <a:pt x="45" y="52"/>
                        <a:pt x="45" y="52"/>
                        <a:pt x="45" y="52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cubicBezTo>
                        <a:pt x="47" y="47"/>
                        <a:pt x="47" y="47"/>
                        <a:pt x="47" y="47"/>
                      </a:cubicBezTo>
                      <a:cubicBezTo>
                        <a:pt x="45" y="48"/>
                        <a:pt x="45" y="48"/>
                        <a:pt x="45" y="48"/>
                      </a:cubicBezTo>
                      <a:close/>
                      <a:moveTo>
                        <a:pt x="27" y="61"/>
                      </a:moveTo>
                      <a:cubicBezTo>
                        <a:pt x="28" y="62"/>
                        <a:pt x="28" y="62"/>
                        <a:pt x="28" y="62"/>
                      </a:cubicBezTo>
                      <a:cubicBezTo>
                        <a:pt x="30" y="63"/>
                        <a:pt x="30" y="63"/>
                        <a:pt x="30" y="63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lose/>
                      <a:moveTo>
                        <a:pt x="31" y="65"/>
                      </a:moveTo>
                      <a:cubicBezTo>
                        <a:pt x="31" y="66"/>
                        <a:pt x="31" y="66"/>
                        <a:pt x="31" y="66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4" y="69"/>
                        <a:pt x="34" y="69"/>
                        <a:pt x="34" y="69"/>
                      </a:cubicBezTo>
                      <a:cubicBezTo>
                        <a:pt x="36" y="70"/>
                        <a:pt x="36" y="70"/>
                        <a:pt x="36" y="70"/>
                      </a:cubicBezTo>
                      <a:cubicBezTo>
                        <a:pt x="36" y="73"/>
                        <a:pt x="36" y="73"/>
                        <a:pt x="36" y="73"/>
                      </a:cubicBezTo>
                      <a:cubicBezTo>
                        <a:pt x="37" y="74"/>
                        <a:pt x="37" y="74"/>
                        <a:pt x="37" y="74"/>
                      </a:cubicBezTo>
                      <a:cubicBezTo>
                        <a:pt x="37" y="76"/>
                        <a:pt x="37" y="76"/>
                        <a:pt x="37" y="76"/>
                      </a:cubicBezTo>
                      <a:cubicBezTo>
                        <a:pt x="39" y="78"/>
                        <a:pt x="39" y="78"/>
                        <a:pt x="39" y="78"/>
                      </a:cubicBezTo>
                      <a:cubicBezTo>
                        <a:pt x="41" y="79"/>
                        <a:pt x="41" y="79"/>
                        <a:pt x="41" y="79"/>
                      </a:cubicBezTo>
                      <a:cubicBezTo>
                        <a:pt x="42" y="77"/>
                        <a:pt x="42" y="77"/>
                        <a:pt x="42" y="77"/>
                      </a:cubicBezTo>
                      <a:cubicBezTo>
                        <a:pt x="42" y="76"/>
                        <a:pt x="42" y="76"/>
                        <a:pt x="42" y="76"/>
                      </a:cubicBezTo>
                      <a:cubicBezTo>
                        <a:pt x="43" y="75"/>
                        <a:pt x="43" y="75"/>
                        <a:pt x="43" y="75"/>
                      </a:cubicBezTo>
                      <a:cubicBezTo>
                        <a:pt x="43" y="73"/>
                        <a:pt x="43" y="73"/>
                        <a:pt x="43" y="73"/>
                      </a:cubicBezTo>
                      <a:cubicBezTo>
                        <a:pt x="42" y="72"/>
                        <a:pt x="42" y="72"/>
                        <a:pt x="42" y="72"/>
                      </a:cubicBezTo>
                      <a:cubicBezTo>
                        <a:pt x="43" y="70"/>
                        <a:pt x="43" y="70"/>
                        <a:pt x="43" y="70"/>
                      </a:cubicBezTo>
                      <a:cubicBezTo>
                        <a:pt x="43" y="69"/>
                        <a:pt x="43" y="69"/>
                        <a:pt x="43" y="69"/>
                      </a:cubicBezTo>
                      <a:cubicBezTo>
                        <a:pt x="41" y="68"/>
                        <a:pt x="41" y="68"/>
                        <a:pt x="41" y="68"/>
                      </a:cubicBezTo>
                      <a:cubicBezTo>
                        <a:pt x="37" y="64"/>
                        <a:pt x="37" y="64"/>
                        <a:pt x="37" y="64"/>
                      </a:cubicBezTo>
                      <a:cubicBezTo>
                        <a:pt x="35" y="65"/>
                        <a:pt x="35" y="65"/>
                        <a:pt x="35" y="65"/>
                      </a:cubicBezTo>
                      <a:cubicBezTo>
                        <a:pt x="32" y="64"/>
                        <a:pt x="32" y="64"/>
                        <a:pt x="32" y="64"/>
                      </a:cubicBezTo>
                      <a:cubicBezTo>
                        <a:pt x="31" y="65"/>
                        <a:pt x="31" y="65"/>
                        <a:pt x="31" y="65"/>
                      </a:cubicBezTo>
                      <a:close/>
                      <a:moveTo>
                        <a:pt x="69" y="58"/>
                      </a:moveTo>
                      <a:cubicBezTo>
                        <a:pt x="68" y="59"/>
                        <a:pt x="68" y="59"/>
                        <a:pt x="68" y="59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7" y="63"/>
                        <a:pt x="67" y="63"/>
                        <a:pt x="67" y="63"/>
                      </a:cubicBezTo>
                      <a:cubicBezTo>
                        <a:pt x="68" y="64"/>
                        <a:pt x="68" y="64"/>
                        <a:pt x="68" y="64"/>
                      </a:cubicBezTo>
                      <a:cubicBezTo>
                        <a:pt x="71" y="64"/>
                        <a:pt x="71" y="64"/>
                        <a:pt x="71" y="64"/>
                      </a:cubicBezTo>
                      <a:cubicBezTo>
                        <a:pt x="71" y="61"/>
                        <a:pt x="71" y="61"/>
                        <a:pt x="71" y="61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69" y="58"/>
                        <a:pt x="69" y="58"/>
                        <a:pt x="69" y="58"/>
                      </a:cubicBezTo>
                      <a:close/>
                      <a:moveTo>
                        <a:pt x="46" y="66"/>
                      </a:move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7"/>
                        <a:pt x="48" y="67"/>
                        <a:pt x="48" y="67"/>
                      </a:cubicBezTo>
                      <a:cubicBezTo>
                        <a:pt x="49" y="66"/>
                        <a:pt x="49" y="66"/>
                        <a:pt x="49" y="66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46" y="63"/>
                        <a:pt x="46" y="63"/>
                        <a:pt x="46" y="63"/>
                      </a:cubicBezTo>
                      <a:cubicBezTo>
                        <a:pt x="45" y="65"/>
                        <a:pt x="45" y="65"/>
                        <a:pt x="45" y="65"/>
                      </a:cubicBezTo>
                      <a:cubicBezTo>
                        <a:pt x="46" y="66"/>
                        <a:pt x="46" y="66"/>
                        <a:pt x="46" y="66"/>
                      </a:cubicBezTo>
                      <a:close/>
                      <a:moveTo>
                        <a:pt x="49" y="74"/>
                      </a:move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8" y="77"/>
                        <a:pt x="48" y="77"/>
                        <a:pt x="48" y="77"/>
                      </a:cubicBezTo>
                      <a:cubicBezTo>
                        <a:pt x="49" y="80"/>
                        <a:pt x="49" y="80"/>
                        <a:pt x="49" y="80"/>
                      </a:cubicBezTo>
                      <a:cubicBezTo>
                        <a:pt x="50" y="79"/>
                        <a:pt x="50" y="79"/>
                        <a:pt x="50" y="79"/>
                      </a:cubicBezTo>
                      <a:cubicBezTo>
                        <a:pt x="50" y="77"/>
                        <a:pt x="50" y="77"/>
                        <a:pt x="50" y="77"/>
                      </a:cubicBezTo>
                      <a:cubicBezTo>
                        <a:pt x="50" y="75"/>
                        <a:pt x="50" y="75"/>
                        <a:pt x="50" y="75"/>
                      </a:cubicBezTo>
                      <a:cubicBezTo>
                        <a:pt x="50" y="73"/>
                        <a:pt x="50" y="73"/>
                        <a:pt x="50" y="73"/>
                      </a:cubicBezTo>
                      <a:cubicBezTo>
                        <a:pt x="49" y="74"/>
                        <a:pt x="49" y="74"/>
                        <a:pt x="49" y="74"/>
                      </a:cubicBezTo>
                      <a:close/>
                      <a:moveTo>
                        <a:pt x="54" y="75"/>
                      </a:move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3" y="77"/>
                        <a:pt x="53" y="77"/>
                      </a:cubicBezTo>
                      <a:cubicBezTo>
                        <a:pt x="55" y="77"/>
                        <a:pt x="55" y="77"/>
                        <a:pt x="55" y="77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4" y="75"/>
                        <a:pt x="54" y="75"/>
                        <a:pt x="54" y="75"/>
                      </a:cubicBezTo>
                      <a:close/>
                      <a:moveTo>
                        <a:pt x="60" y="70"/>
                      </a:moveTo>
                      <a:cubicBezTo>
                        <a:pt x="58" y="68"/>
                        <a:pt x="58" y="68"/>
                        <a:pt x="58" y="68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70"/>
                        <a:pt x="57" y="70"/>
                        <a:pt x="57" y="70"/>
                      </a:cubicBezTo>
                      <a:cubicBezTo>
                        <a:pt x="60" y="72"/>
                        <a:pt x="60" y="72"/>
                        <a:pt x="60" y="72"/>
                      </a:cubicBezTo>
                      <a:cubicBezTo>
                        <a:pt x="60" y="71"/>
                        <a:pt x="60" y="71"/>
                        <a:pt x="60" y="71"/>
                      </a:cubicBezTo>
                      <a:cubicBezTo>
                        <a:pt x="60" y="70"/>
                        <a:pt x="60" y="70"/>
                        <a:pt x="60" y="70"/>
                      </a:cubicBezTo>
                      <a:close/>
                      <a:moveTo>
                        <a:pt x="64" y="74"/>
                      </a:moveTo>
                      <a:cubicBezTo>
                        <a:pt x="64" y="75"/>
                        <a:pt x="64" y="75"/>
                        <a:pt x="64" y="75"/>
                      </a:cubicBezTo>
                      <a:cubicBezTo>
                        <a:pt x="66" y="77"/>
                        <a:pt x="66" y="77"/>
                        <a:pt x="66" y="77"/>
                      </a:cubicBezTo>
                      <a:cubicBezTo>
                        <a:pt x="67" y="77"/>
                        <a:pt x="67" y="77"/>
                        <a:pt x="67" y="77"/>
                      </a:cubicBezTo>
                      <a:cubicBezTo>
                        <a:pt x="65" y="74"/>
                        <a:pt x="65" y="74"/>
                        <a:pt x="65" y="74"/>
                      </a:cubicBezTo>
                      <a:cubicBezTo>
                        <a:pt x="64" y="74"/>
                        <a:pt x="64" y="74"/>
                        <a:pt x="64" y="74"/>
                      </a:cubicBezTo>
                      <a:close/>
                      <a:moveTo>
                        <a:pt x="60" y="81"/>
                      </a:moveTo>
                      <a:cubicBezTo>
                        <a:pt x="62" y="79"/>
                        <a:pt x="62" y="79"/>
                        <a:pt x="62" y="79"/>
                      </a:cubicBezTo>
                      <a:cubicBezTo>
                        <a:pt x="64" y="78"/>
                        <a:pt x="64" y="78"/>
                        <a:pt x="64" y="78"/>
                      </a:cubicBezTo>
                      <a:cubicBezTo>
                        <a:pt x="66" y="81"/>
                        <a:pt x="66" y="81"/>
                        <a:pt x="66" y="81"/>
                      </a:cubicBezTo>
                      <a:cubicBezTo>
                        <a:pt x="68" y="82"/>
                        <a:pt x="68" y="82"/>
                        <a:pt x="68" y="82"/>
                      </a:cubicBezTo>
                      <a:cubicBezTo>
                        <a:pt x="69" y="82"/>
                        <a:pt x="69" y="82"/>
                        <a:pt x="69" y="82"/>
                      </a:cubicBezTo>
                      <a:cubicBezTo>
                        <a:pt x="69" y="81"/>
                        <a:pt x="69" y="81"/>
                        <a:pt x="69" y="81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5" y="77"/>
                        <a:pt x="65" y="77"/>
                        <a:pt x="65" y="77"/>
                      </a:cubicBezTo>
                      <a:cubicBezTo>
                        <a:pt x="64" y="77"/>
                        <a:pt x="64" y="77"/>
                        <a:pt x="64" y="77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1" y="76"/>
                        <a:pt x="61" y="76"/>
                        <a:pt x="61" y="76"/>
                      </a:cubicBezTo>
                      <a:cubicBezTo>
                        <a:pt x="61" y="78"/>
                        <a:pt x="61" y="78"/>
                        <a:pt x="61" y="78"/>
                      </a:cubicBezTo>
                      <a:cubicBezTo>
                        <a:pt x="60" y="79"/>
                        <a:pt x="60" y="79"/>
                        <a:pt x="60" y="79"/>
                      </a:cubicBezTo>
                      <a:cubicBezTo>
                        <a:pt x="60" y="80"/>
                        <a:pt x="60" y="80"/>
                        <a:pt x="60" y="80"/>
                      </a:cubicBezTo>
                      <a:cubicBezTo>
                        <a:pt x="60" y="81"/>
                        <a:pt x="60" y="81"/>
                        <a:pt x="60" y="81"/>
                      </a:cubicBezTo>
                      <a:close/>
                      <a:moveTo>
                        <a:pt x="51" y="96"/>
                      </a:move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0" y="97"/>
                        <a:pt x="50" y="97"/>
                        <a:pt x="50" y="97"/>
                      </a:cubicBezTo>
                      <a:cubicBezTo>
                        <a:pt x="49" y="93"/>
                        <a:pt x="49" y="93"/>
                        <a:pt x="49" y="93"/>
                      </a:cubicBezTo>
                      <a:cubicBezTo>
                        <a:pt x="49" y="91"/>
                        <a:pt x="49" y="91"/>
                        <a:pt x="49" y="91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6"/>
                        <a:pt x="50" y="86"/>
                        <a:pt x="50" y="86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49" y="84"/>
                        <a:pt x="49" y="84"/>
                        <a:pt x="49" y="84"/>
                      </a:cubicBezTo>
                      <a:cubicBezTo>
                        <a:pt x="47" y="83"/>
                        <a:pt x="47" y="83"/>
                        <a:pt x="47" y="83"/>
                      </a:cubicBezTo>
                      <a:cubicBezTo>
                        <a:pt x="47" y="82"/>
                        <a:pt x="47" y="82"/>
                        <a:pt x="47" y="82"/>
                      </a:cubicBezTo>
                      <a:cubicBezTo>
                        <a:pt x="49" y="81"/>
                        <a:pt x="49" y="81"/>
                        <a:pt x="49" y="81"/>
                      </a:cubicBezTo>
                      <a:cubicBezTo>
                        <a:pt x="51" y="83"/>
                        <a:pt x="51" y="83"/>
                        <a:pt x="51" y="83"/>
                      </a:cubicBezTo>
                      <a:cubicBezTo>
                        <a:pt x="53" y="84"/>
                        <a:pt x="53" y="84"/>
                        <a:pt x="53" y="84"/>
                      </a:cubicBezTo>
                      <a:cubicBezTo>
                        <a:pt x="52" y="84"/>
                        <a:pt x="52" y="84"/>
                        <a:pt x="52" y="84"/>
                      </a:cubicBezTo>
                      <a:cubicBezTo>
                        <a:pt x="53" y="85"/>
                        <a:pt x="53" y="85"/>
                        <a:pt x="53" y="85"/>
                      </a:cubicBezTo>
                      <a:cubicBezTo>
                        <a:pt x="55" y="84"/>
                        <a:pt x="55" y="84"/>
                        <a:pt x="55" y="84"/>
                      </a:cubicBezTo>
                      <a:cubicBezTo>
                        <a:pt x="57" y="85"/>
                        <a:pt x="57" y="85"/>
                        <a:pt x="57" y="85"/>
                      </a:cubicBezTo>
                      <a:cubicBezTo>
                        <a:pt x="58" y="87"/>
                        <a:pt x="58" y="87"/>
                        <a:pt x="58" y="87"/>
                      </a:cubicBezTo>
                      <a:cubicBezTo>
                        <a:pt x="59" y="85"/>
                        <a:pt x="59" y="85"/>
                        <a:pt x="59" y="85"/>
                      </a:cubicBezTo>
                      <a:cubicBezTo>
                        <a:pt x="60" y="84"/>
                        <a:pt x="60" y="84"/>
                        <a:pt x="60" y="84"/>
                      </a:cubicBezTo>
                      <a:cubicBezTo>
                        <a:pt x="61" y="86"/>
                        <a:pt x="61" y="86"/>
                        <a:pt x="61" y="86"/>
                      </a:cubicBezTo>
                      <a:cubicBezTo>
                        <a:pt x="61" y="87"/>
                        <a:pt x="61" y="87"/>
                        <a:pt x="61" y="87"/>
                      </a:cubicBezTo>
                      <a:cubicBezTo>
                        <a:pt x="60" y="88"/>
                        <a:pt x="60" y="88"/>
                        <a:pt x="60" y="88"/>
                      </a:cubicBezTo>
                      <a:cubicBezTo>
                        <a:pt x="59" y="90"/>
                        <a:pt x="59" y="90"/>
                        <a:pt x="59" y="90"/>
                      </a:cubicBezTo>
                      <a:cubicBezTo>
                        <a:pt x="56" y="92"/>
                        <a:pt x="56" y="92"/>
                        <a:pt x="56" y="92"/>
                      </a:cubicBezTo>
                      <a:cubicBezTo>
                        <a:pt x="56" y="94"/>
                        <a:pt x="56" y="94"/>
                        <a:pt x="56" y="94"/>
                      </a:cubicBezTo>
                      <a:cubicBezTo>
                        <a:pt x="55" y="94"/>
                        <a:pt x="55" y="94"/>
                        <a:pt x="55" y="94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3" y="94"/>
                        <a:pt x="53" y="94"/>
                        <a:pt x="53" y="94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lose/>
                      <a:moveTo>
                        <a:pt x="56" y="94"/>
                      </a:moveTo>
                      <a:cubicBezTo>
                        <a:pt x="54" y="95"/>
                        <a:pt x="54" y="95"/>
                        <a:pt x="54" y="95"/>
                      </a:cubicBezTo>
                      <a:cubicBezTo>
                        <a:pt x="54" y="97"/>
                        <a:pt x="54" y="97"/>
                        <a:pt x="54" y="97"/>
                      </a:cubicBezTo>
                      <a:cubicBezTo>
                        <a:pt x="55" y="98"/>
                        <a:pt x="55" y="98"/>
                        <a:pt x="55" y="98"/>
                      </a:cubicBezTo>
                      <a:cubicBezTo>
                        <a:pt x="56" y="96"/>
                        <a:pt x="56" y="96"/>
                        <a:pt x="56" y="96"/>
                      </a:cubicBezTo>
                      <a:cubicBezTo>
                        <a:pt x="57" y="95"/>
                        <a:pt x="57" y="95"/>
                        <a:pt x="57" y="95"/>
                      </a:cubicBezTo>
                      <a:cubicBezTo>
                        <a:pt x="56" y="94"/>
                        <a:pt x="56" y="94"/>
                        <a:pt x="56" y="94"/>
                      </a:cubicBezTo>
                      <a:close/>
                      <a:moveTo>
                        <a:pt x="72" y="94"/>
                      </a:moveTo>
                      <a:cubicBezTo>
                        <a:pt x="72" y="96"/>
                        <a:pt x="72" y="96"/>
                        <a:pt x="72" y="96"/>
                      </a:cubicBezTo>
                      <a:cubicBezTo>
                        <a:pt x="72" y="95"/>
                        <a:pt x="72" y="95"/>
                        <a:pt x="72" y="95"/>
                      </a:cubicBezTo>
                      <a:cubicBezTo>
                        <a:pt x="72" y="94"/>
                        <a:pt x="72" y="94"/>
                        <a:pt x="72" y="94"/>
                      </a:cubicBezTo>
                      <a:close/>
                      <a:moveTo>
                        <a:pt x="64" y="107"/>
                      </a:moveTo>
                      <a:cubicBezTo>
                        <a:pt x="65" y="105"/>
                        <a:pt x="65" y="105"/>
                        <a:pt x="65" y="105"/>
                      </a:cubicBezTo>
                      <a:cubicBezTo>
                        <a:pt x="66" y="101"/>
                        <a:pt x="66" y="101"/>
                        <a:pt x="66" y="101"/>
                      </a:cubicBezTo>
                      <a:cubicBezTo>
                        <a:pt x="69" y="98"/>
                        <a:pt x="69" y="98"/>
                        <a:pt x="69" y="98"/>
                      </a:cubicBezTo>
                      <a:cubicBezTo>
                        <a:pt x="69" y="96"/>
                        <a:pt x="69" y="96"/>
                        <a:pt x="69" y="96"/>
                      </a:cubicBezTo>
                      <a:cubicBezTo>
                        <a:pt x="69" y="94"/>
                        <a:pt x="69" y="94"/>
                        <a:pt x="69" y="94"/>
                      </a:cubicBezTo>
                      <a:cubicBezTo>
                        <a:pt x="69" y="93"/>
                        <a:pt x="69" y="93"/>
                        <a:pt x="69" y="93"/>
                      </a:cubicBezTo>
                      <a:cubicBezTo>
                        <a:pt x="69" y="89"/>
                        <a:pt x="69" y="89"/>
                        <a:pt x="69" y="89"/>
                      </a:cubicBezTo>
                      <a:cubicBezTo>
                        <a:pt x="68" y="90"/>
                        <a:pt x="68" y="90"/>
                        <a:pt x="68" y="90"/>
                      </a:cubicBezTo>
                      <a:cubicBezTo>
                        <a:pt x="68" y="93"/>
                        <a:pt x="68" y="93"/>
                        <a:pt x="68" y="93"/>
                      </a:cubicBezTo>
                      <a:cubicBezTo>
                        <a:pt x="66" y="96"/>
                        <a:pt x="66" y="96"/>
                        <a:pt x="66" y="96"/>
                      </a:cubicBezTo>
                      <a:cubicBezTo>
                        <a:pt x="66" y="99"/>
                        <a:pt x="66" y="99"/>
                        <a:pt x="66" y="99"/>
                      </a:cubicBezTo>
                      <a:cubicBezTo>
                        <a:pt x="65" y="101"/>
                        <a:pt x="65" y="101"/>
                        <a:pt x="65" y="101"/>
                      </a:cubicBezTo>
                      <a:cubicBezTo>
                        <a:pt x="63" y="103"/>
                        <a:pt x="63" y="103"/>
                        <a:pt x="63" y="103"/>
                      </a:cubicBezTo>
                      <a:cubicBezTo>
                        <a:pt x="63" y="105"/>
                        <a:pt x="63" y="105"/>
                        <a:pt x="63" y="105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lose/>
                      <a:moveTo>
                        <a:pt x="62" y="106"/>
                      </a:moveTo>
                      <a:cubicBezTo>
                        <a:pt x="61" y="102"/>
                        <a:pt x="61" y="102"/>
                        <a:pt x="61" y="102"/>
                      </a:cubicBezTo>
                      <a:cubicBezTo>
                        <a:pt x="63" y="97"/>
                        <a:pt x="63" y="97"/>
                        <a:pt x="63" y="97"/>
                      </a:cubicBezTo>
                      <a:cubicBezTo>
                        <a:pt x="64" y="95"/>
                        <a:pt x="64" y="95"/>
                        <a:pt x="64" y="95"/>
                      </a:cubicBezTo>
                      <a:cubicBezTo>
                        <a:pt x="64" y="93"/>
                        <a:pt x="64" y="93"/>
                        <a:pt x="64" y="93"/>
                      </a:cubicBezTo>
                      <a:cubicBezTo>
                        <a:pt x="63" y="92"/>
                        <a:pt x="63" y="92"/>
                        <a:pt x="63" y="92"/>
                      </a:cubicBezTo>
                      <a:cubicBezTo>
                        <a:pt x="62" y="92"/>
                        <a:pt x="62" y="92"/>
                        <a:pt x="62" y="92"/>
                      </a:cubicBezTo>
                      <a:cubicBezTo>
                        <a:pt x="61" y="92"/>
                        <a:pt x="61" y="92"/>
                        <a:pt x="61" y="92"/>
                      </a:cubicBezTo>
                      <a:cubicBezTo>
                        <a:pt x="59" y="93"/>
                        <a:pt x="59" y="93"/>
                        <a:pt x="59" y="93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8" y="97"/>
                        <a:pt x="58" y="97"/>
                        <a:pt x="58" y="97"/>
                      </a:cubicBezTo>
                      <a:cubicBezTo>
                        <a:pt x="59" y="99"/>
                        <a:pt x="59" y="99"/>
                        <a:pt x="59" y="99"/>
                      </a:cubicBezTo>
                      <a:cubicBezTo>
                        <a:pt x="57" y="101"/>
                        <a:pt x="57" y="101"/>
                        <a:pt x="57" y="101"/>
                      </a:cubicBezTo>
                      <a:cubicBezTo>
                        <a:pt x="54" y="102"/>
                        <a:pt x="54" y="102"/>
                        <a:pt x="54" y="102"/>
                      </a:cubicBezTo>
                      <a:cubicBezTo>
                        <a:pt x="54" y="103"/>
                        <a:pt x="54" y="103"/>
                        <a:pt x="54" y="103"/>
                      </a:cubicBezTo>
                      <a:cubicBezTo>
                        <a:pt x="54" y="107"/>
                        <a:pt x="54" y="107"/>
                        <a:pt x="54" y="107"/>
                      </a:cubicBezTo>
                      <a:cubicBezTo>
                        <a:pt x="55" y="107"/>
                        <a:pt x="55" y="107"/>
                        <a:pt x="55" y="107"/>
                      </a:cubicBezTo>
                      <a:cubicBezTo>
                        <a:pt x="58" y="108"/>
                        <a:pt x="58" y="108"/>
                        <a:pt x="58" y="108"/>
                      </a:cubicBezTo>
                      <a:cubicBezTo>
                        <a:pt x="60" y="108"/>
                        <a:pt x="60" y="108"/>
                        <a:pt x="60" y="108"/>
                      </a:cubicBezTo>
                      <a:cubicBezTo>
                        <a:pt x="60" y="111"/>
                        <a:pt x="60" y="111"/>
                        <a:pt x="60" y="111"/>
                      </a:cubicBezTo>
                      <a:cubicBezTo>
                        <a:pt x="61" y="111"/>
                        <a:pt x="61" y="111"/>
                        <a:pt x="61" y="111"/>
                      </a:cubicBezTo>
                      <a:cubicBezTo>
                        <a:pt x="63" y="110"/>
                        <a:pt x="63" y="110"/>
                        <a:pt x="63" y="110"/>
                      </a:cubicBezTo>
                      <a:cubicBezTo>
                        <a:pt x="63" y="109"/>
                        <a:pt x="63" y="109"/>
                        <a:pt x="63" y="109"/>
                      </a:cubicBezTo>
                      <a:cubicBezTo>
                        <a:pt x="62" y="106"/>
                        <a:pt x="62" y="106"/>
                        <a:pt x="62" y="106"/>
                      </a:cubicBezTo>
                      <a:close/>
                      <a:moveTo>
                        <a:pt x="67" y="109"/>
                      </a:moveTo>
                      <a:cubicBezTo>
                        <a:pt x="67" y="110"/>
                        <a:pt x="67" y="110"/>
                        <a:pt x="67" y="110"/>
                      </a:cubicBezTo>
                      <a:cubicBezTo>
                        <a:pt x="67" y="111"/>
                        <a:pt x="67" y="111"/>
                        <a:pt x="67" y="111"/>
                      </a:cubicBezTo>
                      <a:cubicBezTo>
                        <a:pt x="65" y="112"/>
                        <a:pt x="65" y="112"/>
                        <a:pt x="65" y="112"/>
                      </a:cubicBezTo>
                      <a:cubicBezTo>
                        <a:pt x="64" y="111"/>
                        <a:pt x="64" y="111"/>
                        <a:pt x="64" y="111"/>
                      </a:cubicBezTo>
                      <a:cubicBezTo>
                        <a:pt x="65" y="109"/>
                        <a:pt x="65" y="109"/>
                        <a:pt x="65" y="109"/>
                      </a:cubicBezTo>
                      <a:cubicBezTo>
                        <a:pt x="67" y="109"/>
                        <a:pt x="67" y="109"/>
                        <a:pt x="67" y="109"/>
                      </a:cubicBezTo>
                      <a:close/>
                      <a:moveTo>
                        <a:pt x="73" y="100"/>
                      </a:moveTo>
                      <a:cubicBezTo>
                        <a:pt x="74" y="100"/>
                        <a:pt x="74" y="100"/>
                        <a:pt x="74" y="100"/>
                      </a:cubicBezTo>
                      <a:cubicBezTo>
                        <a:pt x="75" y="101"/>
                        <a:pt x="75" y="101"/>
                        <a:pt x="75" y="101"/>
                      </a:cubicBezTo>
                      <a:cubicBezTo>
                        <a:pt x="75" y="103"/>
                        <a:pt x="75" y="103"/>
                        <a:pt x="75" y="103"/>
                      </a:cubicBezTo>
                      <a:cubicBezTo>
                        <a:pt x="74" y="104"/>
                        <a:pt x="74" y="104"/>
                        <a:pt x="74" y="104"/>
                      </a:cubicBezTo>
                      <a:cubicBezTo>
                        <a:pt x="71" y="106"/>
                        <a:pt x="71" y="106"/>
                        <a:pt x="71" y="106"/>
                      </a:cubicBezTo>
                      <a:cubicBezTo>
                        <a:pt x="69" y="106"/>
                        <a:pt x="69" y="106"/>
                        <a:pt x="69" y="106"/>
                      </a:cubicBezTo>
                      <a:cubicBezTo>
                        <a:pt x="69" y="105"/>
                        <a:pt x="69" y="105"/>
                        <a:pt x="69" y="105"/>
                      </a:cubicBezTo>
                      <a:cubicBezTo>
                        <a:pt x="68" y="104"/>
                        <a:pt x="68" y="104"/>
                        <a:pt x="68" y="104"/>
                      </a:cubicBezTo>
                      <a:cubicBezTo>
                        <a:pt x="69" y="102"/>
                        <a:pt x="69" y="102"/>
                        <a:pt x="69" y="102"/>
                      </a:cubicBezTo>
                      <a:cubicBezTo>
                        <a:pt x="73" y="100"/>
                        <a:pt x="73" y="100"/>
                        <a:pt x="73" y="100"/>
                      </a:cubicBezTo>
                      <a:close/>
                      <a:moveTo>
                        <a:pt x="81" y="100"/>
                      </a:moveTo>
                      <a:cubicBezTo>
                        <a:pt x="82" y="102"/>
                        <a:pt x="82" y="102"/>
                        <a:pt x="82" y="102"/>
                      </a:cubicBezTo>
                      <a:cubicBezTo>
                        <a:pt x="82" y="104"/>
                        <a:pt x="82" y="104"/>
                        <a:pt x="82" y="104"/>
                      </a:cubicBezTo>
                      <a:cubicBezTo>
                        <a:pt x="81" y="102"/>
                        <a:pt x="81" y="102"/>
                        <a:pt x="81" y="102"/>
                      </a:cubicBezTo>
                      <a:cubicBezTo>
                        <a:pt x="81" y="100"/>
                        <a:pt x="81" y="100"/>
                        <a:pt x="81" y="100"/>
                      </a:cubicBezTo>
                      <a:close/>
                      <a:moveTo>
                        <a:pt x="76" y="108"/>
                      </a:moveTo>
                      <a:cubicBezTo>
                        <a:pt x="78" y="110"/>
                        <a:pt x="78" y="110"/>
                        <a:pt x="78" y="110"/>
                      </a:cubicBezTo>
                      <a:cubicBezTo>
                        <a:pt x="77" y="111"/>
                        <a:pt x="77" y="111"/>
                        <a:pt x="77" y="111"/>
                      </a:cubicBezTo>
                      <a:cubicBezTo>
                        <a:pt x="76" y="110"/>
                        <a:pt x="76" y="110"/>
                        <a:pt x="76" y="110"/>
                      </a:cubicBezTo>
                      <a:cubicBezTo>
                        <a:pt x="76" y="109"/>
                        <a:pt x="76" y="109"/>
                        <a:pt x="76" y="109"/>
                      </a:cubicBezTo>
                      <a:cubicBezTo>
                        <a:pt x="76" y="108"/>
                        <a:pt x="76" y="108"/>
                        <a:pt x="76" y="108"/>
                      </a:cubicBezTo>
                      <a:close/>
                      <a:moveTo>
                        <a:pt x="75" y="85"/>
                      </a:moveTo>
                      <a:cubicBezTo>
                        <a:pt x="74" y="86"/>
                        <a:pt x="74" y="86"/>
                        <a:pt x="74" y="86"/>
                      </a:cubicBezTo>
                      <a:cubicBezTo>
                        <a:pt x="73" y="87"/>
                        <a:pt x="73" y="87"/>
                        <a:pt x="73" y="87"/>
                      </a:cubicBezTo>
                      <a:cubicBezTo>
                        <a:pt x="71" y="86"/>
                        <a:pt x="71" y="86"/>
                        <a:pt x="71" y="86"/>
                      </a:cubicBezTo>
                      <a:cubicBezTo>
                        <a:pt x="72" y="85"/>
                        <a:pt x="72" y="85"/>
                        <a:pt x="72" y="85"/>
                      </a:cubicBezTo>
                      <a:cubicBezTo>
                        <a:pt x="75" y="85"/>
                        <a:pt x="75" y="85"/>
                        <a:pt x="75" y="85"/>
                      </a:cubicBezTo>
                      <a:close/>
                      <a:moveTo>
                        <a:pt x="79" y="87"/>
                      </a:moveTo>
                      <a:cubicBezTo>
                        <a:pt x="80" y="88"/>
                        <a:pt x="80" y="88"/>
                        <a:pt x="80" y="88"/>
                      </a:cubicBezTo>
                      <a:cubicBezTo>
                        <a:pt x="81" y="90"/>
                        <a:pt x="81" y="90"/>
                        <a:pt x="81" y="90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5" y="90"/>
                        <a:pt x="85" y="90"/>
                        <a:pt x="85" y="90"/>
                      </a:cubicBezTo>
                      <a:cubicBezTo>
                        <a:pt x="86" y="90"/>
                        <a:pt x="86" y="90"/>
                        <a:pt x="86" y="90"/>
                      </a:cubicBezTo>
                      <a:cubicBezTo>
                        <a:pt x="85" y="89"/>
                        <a:pt x="85" y="89"/>
                        <a:pt x="85" y="89"/>
                      </a:cubicBezTo>
                      <a:cubicBezTo>
                        <a:pt x="84" y="87"/>
                        <a:pt x="84" y="87"/>
                        <a:pt x="84" y="87"/>
                      </a:cubicBezTo>
                      <a:cubicBezTo>
                        <a:pt x="83" y="86"/>
                        <a:pt x="83" y="86"/>
                        <a:pt x="83" y="86"/>
                      </a:cubicBezTo>
                      <a:cubicBezTo>
                        <a:pt x="83" y="83"/>
                        <a:pt x="83" y="83"/>
                        <a:pt x="83" y="83"/>
                      </a:cubicBezTo>
                      <a:cubicBezTo>
                        <a:pt x="83" y="80"/>
                        <a:pt x="83" y="80"/>
                        <a:pt x="83" y="80"/>
                      </a:cubicBezTo>
                      <a:cubicBezTo>
                        <a:pt x="83" y="79"/>
                        <a:pt x="83" y="79"/>
                        <a:pt x="83" y="79"/>
                      </a:cubicBezTo>
                      <a:cubicBezTo>
                        <a:pt x="82" y="78"/>
                        <a:pt x="82" y="78"/>
                        <a:pt x="82" y="78"/>
                      </a:cubicBezTo>
                      <a:cubicBezTo>
                        <a:pt x="81" y="76"/>
                        <a:pt x="81" y="76"/>
                        <a:pt x="81" y="76"/>
                      </a:cubicBezTo>
                      <a:cubicBezTo>
                        <a:pt x="80" y="74"/>
                        <a:pt x="80" y="74"/>
                        <a:pt x="80" y="74"/>
                      </a:cubicBezTo>
                      <a:cubicBezTo>
                        <a:pt x="79" y="74"/>
                        <a:pt x="79" y="74"/>
                        <a:pt x="79" y="74"/>
                      </a:cubicBezTo>
                      <a:cubicBezTo>
                        <a:pt x="78" y="74"/>
                        <a:pt x="78" y="74"/>
                        <a:pt x="78" y="74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6" y="74"/>
                        <a:pt x="76" y="74"/>
                        <a:pt x="76" y="74"/>
                      </a:cubicBezTo>
                      <a:cubicBezTo>
                        <a:pt x="75" y="75"/>
                        <a:pt x="75" y="75"/>
                        <a:pt x="75" y="75"/>
                      </a:cubicBezTo>
                      <a:cubicBezTo>
                        <a:pt x="73" y="75"/>
                        <a:pt x="73" y="75"/>
                        <a:pt x="73" y="75"/>
                      </a:cubicBezTo>
                      <a:cubicBezTo>
                        <a:pt x="72" y="75"/>
                        <a:pt x="72" y="75"/>
                        <a:pt x="72" y="75"/>
                      </a:cubicBezTo>
                      <a:cubicBezTo>
                        <a:pt x="71" y="74"/>
                        <a:pt x="71" y="74"/>
                        <a:pt x="71" y="74"/>
                      </a:cubicBezTo>
                      <a:cubicBezTo>
                        <a:pt x="71" y="76"/>
                        <a:pt x="71" y="76"/>
                        <a:pt x="71" y="76"/>
                      </a:cubicBezTo>
                      <a:cubicBezTo>
                        <a:pt x="73" y="79"/>
                        <a:pt x="73" y="79"/>
                        <a:pt x="73" y="79"/>
                      </a:cubicBezTo>
                      <a:cubicBezTo>
                        <a:pt x="75" y="81"/>
                        <a:pt x="75" y="81"/>
                        <a:pt x="75" y="81"/>
                      </a:cubicBezTo>
                      <a:cubicBezTo>
                        <a:pt x="77" y="83"/>
                        <a:pt x="77" y="83"/>
                        <a:pt x="77" y="83"/>
                      </a:cubicBezTo>
                      <a:cubicBezTo>
                        <a:pt x="78" y="84"/>
                        <a:pt x="78" y="84"/>
                        <a:pt x="78" y="84"/>
                      </a:cubicBezTo>
                      <a:cubicBezTo>
                        <a:pt x="78" y="85"/>
                        <a:pt x="78" y="85"/>
                        <a:pt x="78" y="85"/>
                      </a:cubicBezTo>
                      <a:cubicBezTo>
                        <a:pt x="77" y="86"/>
                        <a:pt x="77" y="86"/>
                        <a:pt x="77" y="86"/>
                      </a:cubicBezTo>
                      <a:cubicBezTo>
                        <a:pt x="77" y="87"/>
                        <a:pt x="77" y="87"/>
                        <a:pt x="77" y="87"/>
                      </a:cubicBezTo>
                      <a:cubicBezTo>
                        <a:pt x="78" y="86"/>
                        <a:pt x="78" y="86"/>
                        <a:pt x="78" y="86"/>
                      </a:cubicBezTo>
                      <a:cubicBezTo>
                        <a:pt x="78" y="87"/>
                        <a:pt x="78" y="87"/>
                        <a:pt x="78" y="87"/>
                      </a:cubicBezTo>
                      <a:cubicBezTo>
                        <a:pt x="79" y="87"/>
                        <a:pt x="79" y="87"/>
                        <a:pt x="79" y="87"/>
                      </a:cubicBezTo>
                      <a:close/>
                      <a:moveTo>
                        <a:pt x="77" y="88"/>
                      </a:moveTo>
                      <a:cubicBezTo>
                        <a:pt x="75" y="88"/>
                        <a:pt x="75" y="88"/>
                        <a:pt x="75" y="88"/>
                      </a:cubicBezTo>
                      <a:cubicBezTo>
                        <a:pt x="73" y="88"/>
                        <a:pt x="73" y="88"/>
                        <a:pt x="73" y="88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73" y="89"/>
                        <a:pt x="73" y="89"/>
                        <a:pt x="73" y="89"/>
                      </a:cubicBezTo>
                      <a:cubicBezTo>
                        <a:pt x="73" y="91"/>
                        <a:pt x="73" y="91"/>
                        <a:pt x="73" y="91"/>
                      </a:cubicBezTo>
                      <a:cubicBezTo>
                        <a:pt x="74" y="93"/>
                        <a:pt x="74" y="93"/>
                        <a:pt x="74" y="93"/>
                      </a:cubicBezTo>
                      <a:cubicBezTo>
                        <a:pt x="75" y="92"/>
                        <a:pt x="75" y="92"/>
                        <a:pt x="75" y="92"/>
                      </a:cubicBezTo>
                      <a:cubicBezTo>
                        <a:pt x="76" y="93"/>
                        <a:pt x="76" y="93"/>
                        <a:pt x="76" y="93"/>
                      </a:cubicBezTo>
                      <a:cubicBezTo>
                        <a:pt x="76" y="95"/>
                        <a:pt x="76" y="95"/>
                        <a:pt x="76" y="95"/>
                      </a:cubicBezTo>
                      <a:cubicBezTo>
                        <a:pt x="77" y="97"/>
                        <a:pt x="77" y="97"/>
                        <a:pt x="77" y="97"/>
                      </a:cubicBezTo>
                      <a:cubicBezTo>
                        <a:pt x="77" y="100"/>
                        <a:pt x="77" y="100"/>
                        <a:pt x="77" y="100"/>
                      </a:cubicBezTo>
                      <a:cubicBezTo>
                        <a:pt x="79" y="101"/>
                        <a:pt x="79" y="101"/>
                        <a:pt x="79" y="101"/>
                      </a:cubicBezTo>
                      <a:cubicBezTo>
                        <a:pt x="79" y="98"/>
                        <a:pt x="79" y="98"/>
                        <a:pt x="79" y="98"/>
                      </a:cubicBezTo>
                      <a:cubicBezTo>
                        <a:pt x="80" y="100"/>
                        <a:pt x="80" y="100"/>
                        <a:pt x="80" y="100"/>
                      </a:cubicBezTo>
                      <a:cubicBezTo>
                        <a:pt x="82" y="99"/>
                        <a:pt x="82" y="99"/>
                        <a:pt x="82" y="99"/>
                      </a:cubicBezTo>
                      <a:cubicBezTo>
                        <a:pt x="82" y="98"/>
                        <a:pt x="82" y="98"/>
                        <a:pt x="82" y="98"/>
                      </a:cubicBezTo>
                      <a:cubicBezTo>
                        <a:pt x="80" y="95"/>
                        <a:pt x="80" y="95"/>
                        <a:pt x="80" y="95"/>
                      </a:cubicBezTo>
                      <a:cubicBezTo>
                        <a:pt x="79" y="94"/>
                        <a:pt x="79" y="94"/>
                        <a:pt x="79" y="94"/>
                      </a:cubicBezTo>
                      <a:cubicBezTo>
                        <a:pt x="78" y="91"/>
                        <a:pt x="78" y="91"/>
                        <a:pt x="78" y="91"/>
                      </a:cubicBezTo>
                      <a:cubicBezTo>
                        <a:pt x="77" y="88"/>
                        <a:pt x="77" y="88"/>
                        <a:pt x="77" y="88"/>
                      </a:cubicBezTo>
                      <a:cubicBezTo>
                        <a:pt x="77" y="88"/>
                        <a:pt x="77" y="88"/>
                        <a:pt x="77" y="88"/>
                      </a:cubicBezTo>
                      <a:close/>
                      <a:moveTo>
                        <a:pt x="87" y="93"/>
                      </a:move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86" y="92"/>
                        <a:pt x="86" y="92"/>
                        <a:pt x="86" y="92"/>
                      </a:cubicBezTo>
                      <a:cubicBezTo>
                        <a:pt x="87" y="93"/>
                        <a:pt x="87" y="93"/>
                        <a:pt x="87" y="93"/>
                      </a:cubicBezTo>
                      <a:close/>
                      <a:moveTo>
                        <a:pt x="87" y="94"/>
                      </a:moveTo>
                      <a:cubicBezTo>
                        <a:pt x="86" y="94"/>
                        <a:pt x="86" y="94"/>
                        <a:pt x="86" y="94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7" y="94"/>
                        <a:pt x="87" y="94"/>
                        <a:pt x="87" y="94"/>
                      </a:cubicBezTo>
                      <a:close/>
                      <a:moveTo>
                        <a:pt x="86" y="104"/>
                      </a:moveTo>
                      <a:cubicBezTo>
                        <a:pt x="87" y="102"/>
                        <a:pt x="87" y="102"/>
                        <a:pt x="87" y="102"/>
                      </a:cubicBezTo>
                      <a:cubicBezTo>
                        <a:pt x="86" y="100"/>
                        <a:pt x="86" y="100"/>
                        <a:pt x="86" y="100"/>
                      </a:cubicBezTo>
                      <a:cubicBezTo>
                        <a:pt x="86" y="98"/>
                        <a:pt x="86" y="98"/>
                        <a:pt x="86" y="98"/>
                      </a:cubicBezTo>
                      <a:cubicBezTo>
                        <a:pt x="86" y="98"/>
                        <a:pt x="86" y="98"/>
                        <a:pt x="86" y="98"/>
                      </a:cubicBezTo>
                      <a:cubicBezTo>
                        <a:pt x="86" y="97"/>
                        <a:pt x="86" y="97"/>
                        <a:pt x="86" y="97"/>
                      </a:cubicBezTo>
                      <a:cubicBezTo>
                        <a:pt x="85" y="97"/>
                        <a:pt x="85" y="97"/>
                        <a:pt x="85" y="97"/>
                      </a:cubicBezTo>
                      <a:cubicBezTo>
                        <a:pt x="85" y="99"/>
                        <a:pt x="85" y="99"/>
                        <a:pt x="85" y="99"/>
                      </a:cubicBezTo>
                      <a:cubicBezTo>
                        <a:pt x="86" y="102"/>
                        <a:pt x="86" y="102"/>
                        <a:pt x="86" y="102"/>
                      </a:cubicBezTo>
                      <a:cubicBezTo>
                        <a:pt x="85" y="103"/>
                        <a:pt x="85" y="103"/>
                        <a:pt x="85" y="103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lose/>
                      <a:moveTo>
                        <a:pt x="89" y="105"/>
                      </a:moveTo>
                      <a:cubicBezTo>
                        <a:pt x="88" y="106"/>
                        <a:pt x="88" y="106"/>
                        <a:pt x="88" y="106"/>
                      </a:cubicBezTo>
                      <a:cubicBezTo>
                        <a:pt x="89" y="107"/>
                        <a:pt x="89" y="107"/>
                        <a:pt x="89" y="107"/>
                      </a:cubicBezTo>
                      <a:cubicBezTo>
                        <a:pt x="90" y="105"/>
                        <a:pt x="90" y="105"/>
                        <a:pt x="90" y="105"/>
                      </a:cubicBezTo>
                      <a:cubicBezTo>
                        <a:pt x="89" y="105"/>
                        <a:pt x="89" y="105"/>
                        <a:pt x="89" y="105"/>
                      </a:cubicBezTo>
                      <a:close/>
                      <a:moveTo>
                        <a:pt x="90" y="100"/>
                      </a:moveTo>
                      <a:cubicBezTo>
                        <a:pt x="90" y="102"/>
                        <a:pt x="90" y="102"/>
                        <a:pt x="90" y="102"/>
                      </a:cubicBezTo>
                      <a:cubicBezTo>
                        <a:pt x="89" y="103"/>
                        <a:pt x="89" y="103"/>
                        <a:pt x="89" y="103"/>
                      </a:cubicBezTo>
                      <a:cubicBezTo>
                        <a:pt x="90" y="104"/>
                        <a:pt x="90" y="104"/>
                        <a:pt x="90" y="104"/>
                      </a:cubicBezTo>
                      <a:cubicBezTo>
                        <a:pt x="92" y="104"/>
                        <a:pt x="92" y="104"/>
                        <a:pt x="92" y="104"/>
                      </a:cubicBezTo>
                      <a:cubicBezTo>
                        <a:pt x="91" y="102"/>
                        <a:pt x="91" y="102"/>
                        <a:pt x="91" y="102"/>
                      </a:cubicBezTo>
                      <a:cubicBezTo>
                        <a:pt x="90" y="100"/>
                        <a:pt x="90" y="100"/>
                        <a:pt x="90" y="100"/>
                      </a:cubicBezTo>
                      <a:close/>
                      <a:moveTo>
                        <a:pt x="52" y="135"/>
                      </a:moveTo>
                      <a:cubicBezTo>
                        <a:pt x="50" y="133"/>
                        <a:pt x="50" y="133"/>
                        <a:pt x="50" y="133"/>
                      </a:cubicBezTo>
                      <a:cubicBezTo>
                        <a:pt x="52" y="130"/>
                        <a:pt x="52" y="130"/>
                        <a:pt x="52" y="130"/>
                      </a:cubicBezTo>
                      <a:cubicBezTo>
                        <a:pt x="52" y="127"/>
                        <a:pt x="52" y="127"/>
                        <a:pt x="52" y="127"/>
                      </a:cubicBezTo>
                      <a:cubicBezTo>
                        <a:pt x="51" y="126"/>
                        <a:pt x="51" y="126"/>
                        <a:pt x="51" y="126"/>
                      </a:cubicBezTo>
                      <a:cubicBezTo>
                        <a:pt x="53" y="124"/>
                        <a:pt x="53" y="124"/>
                        <a:pt x="53" y="124"/>
                      </a:cubicBezTo>
                      <a:cubicBezTo>
                        <a:pt x="55" y="123"/>
                        <a:pt x="55" y="123"/>
                        <a:pt x="55" y="123"/>
                      </a:cubicBezTo>
                      <a:cubicBezTo>
                        <a:pt x="56" y="122"/>
                        <a:pt x="56" y="122"/>
                        <a:pt x="56" y="122"/>
                      </a:cubicBezTo>
                      <a:cubicBezTo>
                        <a:pt x="58" y="122"/>
                        <a:pt x="58" y="122"/>
                        <a:pt x="58" y="122"/>
                      </a:cubicBezTo>
                      <a:cubicBezTo>
                        <a:pt x="61" y="122"/>
                        <a:pt x="61" y="122"/>
                        <a:pt x="61" y="122"/>
                      </a:cubicBezTo>
                      <a:cubicBezTo>
                        <a:pt x="60" y="120"/>
                        <a:pt x="60" y="120"/>
                        <a:pt x="60" y="120"/>
                      </a:cubicBezTo>
                      <a:cubicBezTo>
                        <a:pt x="61" y="118"/>
                        <a:pt x="61" y="118"/>
                        <a:pt x="61" y="118"/>
                      </a:cubicBezTo>
                      <a:cubicBezTo>
                        <a:pt x="63" y="117"/>
                        <a:pt x="63" y="117"/>
                        <a:pt x="63" y="117"/>
                      </a:cubicBezTo>
                      <a:cubicBezTo>
                        <a:pt x="64" y="115"/>
                        <a:pt x="64" y="115"/>
                        <a:pt x="64" y="115"/>
                      </a:cubicBezTo>
                      <a:cubicBezTo>
                        <a:pt x="66" y="115"/>
                        <a:pt x="66" y="115"/>
                        <a:pt x="66" y="115"/>
                      </a:cubicBezTo>
                      <a:cubicBezTo>
                        <a:pt x="69" y="118"/>
                        <a:pt x="69" y="118"/>
                        <a:pt x="69" y="118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67" y="124"/>
                        <a:pt x="67" y="124"/>
                        <a:pt x="67" y="124"/>
                      </a:cubicBezTo>
                      <a:cubicBezTo>
                        <a:pt x="68" y="122"/>
                        <a:pt x="68" y="122"/>
                        <a:pt x="68" y="122"/>
                      </a:cubicBezTo>
                      <a:cubicBezTo>
                        <a:pt x="70" y="122"/>
                        <a:pt x="70" y="122"/>
                        <a:pt x="70" y="122"/>
                      </a:cubicBezTo>
                      <a:cubicBezTo>
                        <a:pt x="72" y="121"/>
                        <a:pt x="72" y="121"/>
                        <a:pt x="72" y="121"/>
                      </a:cubicBezTo>
                      <a:cubicBezTo>
                        <a:pt x="74" y="117"/>
                        <a:pt x="74" y="117"/>
                        <a:pt x="74" y="117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7" y="119"/>
                        <a:pt x="77" y="119"/>
                        <a:pt x="77" y="119"/>
                      </a:cubicBezTo>
                      <a:cubicBezTo>
                        <a:pt x="78" y="118"/>
                        <a:pt x="78" y="118"/>
                        <a:pt x="78" y="118"/>
                      </a:cubicBezTo>
                      <a:cubicBezTo>
                        <a:pt x="78" y="116"/>
                        <a:pt x="78" y="116"/>
                        <a:pt x="78" y="116"/>
                      </a:cubicBezTo>
                      <a:cubicBezTo>
                        <a:pt x="77" y="116"/>
                        <a:pt x="77" y="116"/>
                        <a:pt x="77" y="116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80" y="113"/>
                        <a:pt x="80" y="113"/>
                        <a:pt x="80" y="113"/>
                      </a:cubicBezTo>
                      <a:cubicBezTo>
                        <a:pt x="81" y="114"/>
                        <a:pt x="81" y="114"/>
                        <a:pt x="81" y="114"/>
                      </a:cubicBezTo>
                      <a:cubicBezTo>
                        <a:pt x="82" y="113"/>
                        <a:pt x="82" y="113"/>
                        <a:pt x="82" y="113"/>
                      </a:cubicBezTo>
                      <a:cubicBezTo>
                        <a:pt x="82" y="110"/>
                        <a:pt x="82" y="110"/>
                        <a:pt x="82" y="110"/>
                      </a:cubicBezTo>
                      <a:cubicBezTo>
                        <a:pt x="83" y="110"/>
                        <a:pt x="83" y="110"/>
                        <a:pt x="83" y="110"/>
                      </a:cubicBezTo>
                      <a:cubicBezTo>
                        <a:pt x="84" y="112"/>
                        <a:pt x="84" y="112"/>
                        <a:pt x="84" y="112"/>
                      </a:cubicBezTo>
                      <a:cubicBezTo>
                        <a:pt x="84" y="110"/>
                        <a:pt x="84" y="110"/>
                        <a:pt x="84" y="110"/>
                      </a:cubicBezTo>
                      <a:cubicBezTo>
                        <a:pt x="83" y="106"/>
                        <a:pt x="83" y="106"/>
                        <a:pt x="83" y="106"/>
                      </a:cubicBezTo>
                      <a:cubicBezTo>
                        <a:pt x="83" y="104"/>
                        <a:pt x="83" y="104"/>
                        <a:pt x="83" y="104"/>
                      </a:cubicBezTo>
                      <a:cubicBezTo>
                        <a:pt x="85" y="105"/>
                        <a:pt x="85" y="105"/>
                        <a:pt x="85" y="105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ubicBezTo>
                        <a:pt x="86" y="106"/>
                        <a:pt x="86" y="106"/>
                        <a:pt x="86" y="106"/>
                      </a:cubicBezTo>
                      <a:cubicBezTo>
                        <a:pt x="89" y="108"/>
                        <a:pt x="89" y="108"/>
                        <a:pt x="89" y="108"/>
                      </a:cubicBezTo>
                      <a:cubicBezTo>
                        <a:pt x="90" y="110"/>
                        <a:pt x="90" y="110"/>
                        <a:pt x="90" y="110"/>
                      </a:cubicBezTo>
                      <a:cubicBezTo>
                        <a:pt x="92" y="109"/>
                        <a:pt x="92" y="109"/>
                        <a:pt x="92" y="109"/>
                      </a:cubicBezTo>
                      <a:cubicBezTo>
                        <a:pt x="92" y="111"/>
                        <a:pt x="92" y="111"/>
                        <a:pt x="92" y="111"/>
                      </a:cubicBezTo>
                      <a:cubicBezTo>
                        <a:pt x="93" y="113"/>
                        <a:pt x="93" y="113"/>
                        <a:pt x="93" y="113"/>
                      </a:cubicBezTo>
                      <a:cubicBezTo>
                        <a:pt x="93" y="115"/>
                        <a:pt x="93" y="115"/>
                        <a:pt x="93" y="115"/>
                      </a:cubicBezTo>
                      <a:cubicBezTo>
                        <a:pt x="92" y="115"/>
                        <a:pt x="92" y="115"/>
                        <a:pt x="92" y="115"/>
                      </a:cubicBezTo>
                      <a:cubicBezTo>
                        <a:pt x="91" y="116"/>
                        <a:pt x="91" y="116"/>
                        <a:pt x="91" y="116"/>
                      </a:cubicBezTo>
                      <a:cubicBezTo>
                        <a:pt x="93" y="117"/>
                        <a:pt x="93" y="117"/>
                        <a:pt x="93" y="117"/>
                      </a:cubicBezTo>
                      <a:cubicBezTo>
                        <a:pt x="93" y="118"/>
                        <a:pt x="93" y="118"/>
                        <a:pt x="93" y="118"/>
                      </a:cubicBezTo>
                      <a:cubicBezTo>
                        <a:pt x="93" y="119"/>
                        <a:pt x="93" y="119"/>
                        <a:pt x="93" y="119"/>
                      </a:cubicBezTo>
                      <a:cubicBezTo>
                        <a:pt x="93" y="121"/>
                        <a:pt x="93" y="121"/>
                        <a:pt x="93" y="121"/>
                      </a:cubicBezTo>
                      <a:cubicBezTo>
                        <a:pt x="94" y="120"/>
                        <a:pt x="94" y="120"/>
                        <a:pt x="94" y="120"/>
                      </a:cubicBezTo>
                      <a:cubicBezTo>
                        <a:pt x="94" y="122"/>
                        <a:pt x="94" y="122"/>
                        <a:pt x="94" y="122"/>
                      </a:cubicBezTo>
                      <a:cubicBezTo>
                        <a:pt x="94" y="124"/>
                        <a:pt x="94" y="124"/>
                        <a:pt x="94" y="124"/>
                      </a:cubicBezTo>
                      <a:cubicBezTo>
                        <a:pt x="95" y="126"/>
                        <a:pt x="95" y="126"/>
                        <a:pt x="95" y="126"/>
                      </a:cubicBezTo>
                      <a:cubicBezTo>
                        <a:pt x="96" y="128"/>
                        <a:pt x="96" y="128"/>
                        <a:pt x="96" y="128"/>
                      </a:cubicBezTo>
                      <a:cubicBezTo>
                        <a:pt x="97" y="131"/>
                        <a:pt x="97" y="131"/>
                        <a:pt x="97" y="131"/>
                      </a:cubicBezTo>
                      <a:cubicBezTo>
                        <a:pt x="96" y="134"/>
                        <a:pt x="96" y="134"/>
                        <a:pt x="96" y="134"/>
                      </a:cubicBezTo>
                      <a:cubicBezTo>
                        <a:pt x="95" y="134"/>
                        <a:pt x="95" y="134"/>
                        <a:pt x="95" y="134"/>
                      </a:cubicBezTo>
                      <a:cubicBezTo>
                        <a:pt x="95" y="135"/>
                        <a:pt x="95" y="135"/>
                        <a:pt x="95" y="135"/>
                      </a:cubicBezTo>
                      <a:cubicBezTo>
                        <a:pt x="94" y="134"/>
                        <a:pt x="94" y="134"/>
                        <a:pt x="94" y="134"/>
                      </a:cubicBezTo>
                      <a:cubicBezTo>
                        <a:pt x="93" y="134"/>
                        <a:pt x="93" y="134"/>
                        <a:pt x="93" y="134"/>
                      </a:cubicBezTo>
                      <a:cubicBezTo>
                        <a:pt x="93" y="135"/>
                        <a:pt x="93" y="135"/>
                        <a:pt x="93" y="135"/>
                      </a:cubicBezTo>
                      <a:cubicBezTo>
                        <a:pt x="94" y="138"/>
                        <a:pt x="94" y="138"/>
                        <a:pt x="94" y="138"/>
                      </a:cubicBezTo>
                      <a:cubicBezTo>
                        <a:pt x="93" y="140"/>
                        <a:pt x="93" y="140"/>
                        <a:pt x="93" y="140"/>
                      </a:cubicBezTo>
                      <a:cubicBezTo>
                        <a:pt x="93" y="141"/>
                        <a:pt x="93" y="141"/>
                        <a:pt x="93" y="141"/>
                      </a:cubicBezTo>
                      <a:cubicBezTo>
                        <a:pt x="93" y="140"/>
                        <a:pt x="93" y="140"/>
                        <a:pt x="93" y="140"/>
                      </a:cubicBezTo>
                      <a:cubicBezTo>
                        <a:pt x="92" y="137"/>
                        <a:pt x="92" y="137"/>
                        <a:pt x="92" y="137"/>
                      </a:cubicBezTo>
                      <a:cubicBezTo>
                        <a:pt x="92" y="135"/>
                        <a:pt x="92" y="135"/>
                        <a:pt x="92" y="135"/>
                      </a:cubicBezTo>
                      <a:cubicBezTo>
                        <a:pt x="91" y="134"/>
                        <a:pt x="91" y="134"/>
                        <a:pt x="91" y="134"/>
                      </a:cubicBezTo>
                      <a:cubicBezTo>
                        <a:pt x="90" y="132"/>
                        <a:pt x="90" y="132"/>
                        <a:pt x="90" y="132"/>
                      </a:cubicBezTo>
                      <a:cubicBezTo>
                        <a:pt x="89" y="130"/>
                        <a:pt x="89" y="130"/>
                        <a:pt x="89" y="130"/>
                      </a:cubicBezTo>
                      <a:cubicBezTo>
                        <a:pt x="88" y="131"/>
                        <a:pt x="88" y="131"/>
                        <a:pt x="88" y="131"/>
                      </a:cubicBezTo>
                      <a:cubicBezTo>
                        <a:pt x="85" y="135"/>
                        <a:pt x="85" y="135"/>
                        <a:pt x="85" y="135"/>
                      </a:cubicBezTo>
                      <a:cubicBezTo>
                        <a:pt x="85" y="137"/>
                        <a:pt x="85" y="137"/>
                        <a:pt x="85" y="137"/>
                      </a:cubicBezTo>
                      <a:cubicBezTo>
                        <a:pt x="87" y="138"/>
                        <a:pt x="87" y="138"/>
                        <a:pt x="87" y="138"/>
                      </a:cubicBezTo>
                      <a:cubicBezTo>
                        <a:pt x="88" y="140"/>
                        <a:pt x="88" y="140"/>
                        <a:pt x="88" y="140"/>
                      </a:cubicBezTo>
                      <a:cubicBezTo>
                        <a:pt x="89" y="142"/>
                        <a:pt x="89" y="142"/>
                        <a:pt x="89" y="142"/>
                      </a:cubicBezTo>
                      <a:cubicBezTo>
                        <a:pt x="89" y="144"/>
                        <a:pt x="89" y="144"/>
                        <a:pt x="89" y="144"/>
                      </a:cubicBezTo>
                      <a:cubicBezTo>
                        <a:pt x="86" y="147"/>
                        <a:pt x="86" y="147"/>
                        <a:pt x="86" y="147"/>
                      </a:cubicBezTo>
                      <a:cubicBezTo>
                        <a:pt x="85" y="148"/>
                        <a:pt x="85" y="148"/>
                        <a:pt x="85" y="148"/>
                      </a:cubicBezTo>
                      <a:cubicBezTo>
                        <a:pt x="84" y="147"/>
                        <a:pt x="84" y="147"/>
                        <a:pt x="84" y="147"/>
                      </a:cubicBezTo>
                      <a:cubicBezTo>
                        <a:pt x="83" y="146"/>
                        <a:pt x="83" y="146"/>
                        <a:pt x="83" y="146"/>
                      </a:cubicBezTo>
                      <a:cubicBezTo>
                        <a:pt x="84" y="144"/>
                        <a:pt x="84" y="144"/>
                        <a:pt x="84" y="144"/>
                      </a:cubicBezTo>
                      <a:cubicBezTo>
                        <a:pt x="83" y="144"/>
                        <a:pt x="83" y="144"/>
                        <a:pt x="83" y="144"/>
                      </a:cubicBezTo>
                      <a:cubicBezTo>
                        <a:pt x="82" y="144"/>
                        <a:pt x="82" y="144"/>
                        <a:pt x="82" y="144"/>
                      </a:cubicBezTo>
                      <a:cubicBezTo>
                        <a:pt x="82" y="145"/>
                        <a:pt x="82" y="145"/>
                        <a:pt x="82" y="145"/>
                      </a:cubicBezTo>
                      <a:cubicBezTo>
                        <a:pt x="81" y="146"/>
                        <a:pt x="81" y="146"/>
                        <a:pt x="81" y="146"/>
                      </a:cubicBezTo>
                      <a:cubicBezTo>
                        <a:pt x="79" y="146"/>
                        <a:pt x="79" y="146"/>
                        <a:pt x="79" y="146"/>
                      </a:cubicBezTo>
                      <a:cubicBezTo>
                        <a:pt x="77" y="144"/>
                        <a:pt x="77" y="144"/>
                        <a:pt x="77" y="144"/>
                      </a:cubicBezTo>
                      <a:cubicBezTo>
                        <a:pt x="75" y="144"/>
                        <a:pt x="75" y="144"/>
                        <a:pt x="75" y="144"/>
                      </a:cubicBezTo>
                      <a:cubicBezTo>
                        <a:pt x="73" y="142"/>
                        <a:pt x="73" y="142"/>
                        <a:pt x="73" y="142"/>
                      </a:cubicBezTo>
                      <a:cubicBezTo>
                        <a:pt x="73" y="140"/>
                        <a:pt x="73" y="140"/>
                        <a:pt x="73" y="140"/>
                      </a:cubicBezTo>
                      <a:cubicBezTo>
                        <a:pt x="71" y="138"/>
                        <a:pt x="71" y="138"/>
                        <a:pt x="71" y="138"/>
                      </a:cubicBezTo>
                      <a:cubicBezTo>
                        <a:pt x="72" y="137"/>
                        <a:pt x="72" y="137"/>
                        <a:pt x="72" y="137"/>
                      </a:cubicBezTo>
                      <a:cubicBezTo>
                        <a:pt x="71" y="135"/>
                        <a:pt x="71" y="135"/>
                        <a:pt x="71" y="135"/>
                      </a:cubicBezTo>
                      <a:cubicBezTo>
                        <a:pt x="71" y="134"/>
                        <a:pt x="71" y="134"/>
                        <a:pt x="71" y="134"/>
                      </a:cubicBezTo>
                      <a:cubicBezTo>
                        <a:pt x="71" y="133"/>
                        <a:pt x="71" y="133"/>
                        <a:pt x="71" y="133"/>
                      </a:cubicBezTo>
                      <a:cubicBezTo>
                        <a:pt x="71" y="132"/>
                        <a:pt x="71" y="132"/>
                        <a:pt x="71" y="132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74" y="132"/>
                        <a:pt x="74" y="132"/>
                        <a:pt x="74" y="132"/>
                      </a:cubicBezTo>
                      <a:cubicBezTo>
                        <a:pt x="72" y="131"/>
                        <a:pt x="72" y="131"/>
                        <a:pt x="72" y="131"/>
                      </a:cubicBezTo>
                      <a:cubicBezTo>
                        <a:pt x="72" y="129"/>
                        <a:pt x="72" y="129"/>
                        <a:pt x="72" y="129"/>
                      </a:cubicBezTo>
                      <a:cubicBezTo>
                        <a:pt x="70" y="128"/>
                        <a:pt x="70" y="128"/>
                        <a:pt x="70" y="128"/>
                      </a:cubicBezTo>
                      <a:cubicBezTo>
                        <a:pt x="68" y="127"/>
                        <a:pt x="68" y="127"/>
                        <a:pt x="68" y="127"/>
                      </a:cubicBezTo>
                      <a:cubicBezTo>
                        <a:pt x="67" y="126"/>
                        <a:pt x="67" y="126"/>
                        <a:pt x="67" y="126"/>
                      </a:cubicBezTo>
                      <a:cubicBezTo>
                        <a:pt x="66" y="126"/>
                        <a:pt x="66" y="126"/>
                        <a:pt x="66" y="126"/>
                      </a:cubicBezTo>
                      <a:cubicBezTo>
                        <a:pt x="65" y="127"/>
                        <a:pt x="65" y="127"/>
                        <a:pt x="65" y="127"/>
                      </a:cubicBezTo>
                      <a:cubicBezTo>
                        <a:pt x="65" y="127"/>
                        <a:pt x="65" y="127"/>
                        <a:pt x="65" y="127"/>
                      </a:cubicBez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30"/>
                        <a:pt x="66" y="130"/>
                        <a:pt x="66" y="130"/>
                      </a:cubicBezTo>
                      <a:cubicBezTo>
                        <a:pt x="65" y="130"/>
                        <a:pt x="65" y="130"/>
                        <a:pt x="65" y="130"/>
                      </a:cubicBezTo>
                      <a:cubicBezTo>
                        <a:pt x="63" y="129"/>
                        <a:pt x="63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63" y="127"/>
                        <a:pt x="63" y="127"/>
                        <a:pt x="63" y="127"/>
                      </a:cubicBezTo>
                      <a:cubicBezTo>
                        <a:pt x="62" y="127"/>
                        <a:pt x="62" y="127"/>
                        <a:pt x="62" y="127"/>
                      </a:cubicBezTo>
                      <a:cubicBezTo>
                        <a:pt x="61" y="128"/>
                        <a:pt x="61" y="128"/>
                        <a:pt x="61" y="128"/>
                      </a:cubicBezTo>
                      <a:cubicBezTo>
                        <a:pt x="61" y="129"/>
                        <a:pt x="61" y="129"/>
                        <a:pt x="61" y="129"/>
                      </a:cubicBezTo>
                      <a:cubicBezTo>
                        <a:pt x="60" y="129"/>
                        <a:pt x="60" y="129"/>
                        <a:pt x="60" y="129"/>
                      </a:cubicBezTo>
                      <a:cubicBezTo>
                        <a:pt x="59" y="129"/>
                        <a:pt x="59" y="129"/>
                        <a:pt x="59" y="129"/>
                      </a:cubicBezTo>
                      <a:cubicBezTo>
                        <a:pt x="59" y="129"/>
                        <a:pt x="59" y="129"/>
                        <a:pt x="59" y="129"/>
                      </a:cubicBezTo>
                      <a:cubicBezTo>
                        <a:pt x="59" y="127"/>
                        <a:pt x="59" y="127"/>
                        <a:pt x="59" y="127"/>
                      </a:cubicBezTo>
                      <a:cubicBezTo>
                        <a:pt x="58" y="126"/>
                        <a:pt x="58" y="126"/>
                        <a:pt x="58" y="126"/>
                      </a:cubicBezTo>
                      <a:cubicBezTo>
                        <a:pt x="57" y="126"/>
                        <a:pt x="57" y="126"/>
                        <a:pt x="57" y="126"/>
                      </a:cubicBezTo>
                      <a:cubicBezTo>
                        <a:pt x="56" y="128"/>
                        <a:pt x="56" y="128"/>
                        <a:pt x="56" y="128"/>
                      </a:cubicBezTo>
                      <a:cubicBezTo>
                        <a:pt x="54" y="129"/>
                        <a:pt x="54" y="129"/>
                        <a:pt x="54" y="129"/>
                      </a:cubicBezTo>
                      <a:cubicBezTo>
                        <a:pt x="53" y="134"/>
                        <a:pt x="53" y="134"/>
                        <a:pt x="53" y="134"/>
                      </a:cubicBezTo>
                      <a:cubicBezTo>
                        <a:pt x="52" y="135"/>
                        <a:pt x="52" y="135"/>
                        <a:pt x="52" y="135"/>
                      </a:cubicBezTo>
                      <a:close/>
                      <a:moveTo>
                        <a:pt x="49" y="137"/>
                      </a:moveTo>
                      <a:cubicBezTo>
                        <a:pt x="49" y="138"/>
                        <a:pt x="49" y="138"/>
                        <a:pt x="49" y="138"/>
                      </a:cubicBezTo>
                      <a:cubicBezTo>
                        <a:pt x="50" y="140"/>
                        <a:pt x="50" y="140"/>
                        <a:pt x="50" y="140"/>
                      </a:cubicBezTo>
                      <a:cubicBezTo>
                        <a:pt x="52" y="141"/>
                        <a:pt x="52" y="141"/>
                        <a:pt x="52" y="141"/>
                      </a:cubicBezTo>
                      <a:cubicBezTo>
                        <a:pt x="54" y="138"/>
                        <a:pt x="54" y="138"/>
                        <a:pt x="54" y="138"/>
                      </a:cubicBezTo>
                      <a:cubicBezTo>
                        <a:pt x="54" y="138"/>
                        <a:pt x="54" y="138"/>
                        <a:pt x="54" y="138"/>
                      </a:cubicBezTo>
                      <a:cubicBezTo>
                        <a:pt x="53" y="137"/>
                        <a:pt x="53" y="137"/>
                        <a:pt x="53" y="137"/>
                      </a:cubicBezTo>
                      <a:cubicBezTo>
                        <a:pt x="52" y="136"/>
                        <a:pt x="52" y="136"/>
                        <a:pt x="52" y="136"/>
                      </a:cubicBezTo>
                      <a:cubicBezTo>
                        <a:pt x="51" y="137"/>
                        <a:pt x="51" y="137"/>
                        <a:pt x="51" y="137"/>
                      </a:cubicBezTo>
                      <a:cubicBezTo>
                        <a:pt x="49" y="137"/>
                        <a:pt x="49" y="137"/>
                        <a:pt x="49" y="137"/>
                      </a:cubicBezTo>
                      <a:close/>
                      <a:moveTo>
                        <a:pt x="27" y="80"/>
                      </a:moveTo>
                      <a:cubicBezTo>
                        <a:pt x="26" y="79"/>
                        <a:pt x="26" y="79"/>
                        <a:pt x="26" y="79"/>
                      </a:cubicBezTo>
                      <a:cubicBezTo>
                        <a:pt x="26" y="78"/>
                        <a:pt x="26" y="78"/>
                        <a:pt x="26" y="78"/>
                      </a:cubicBezTo>
                      <a:cubicBezTo>
                        <a:pt x="26" y="77"/>
                        <a:pt x="26" y="77"/>
                        <a:pt x="26" y="77"/>
                      </a:cubicBezTo>
                      <a:cubicBezTo>
                        <a:pt x="28" y="77"/>
                        <a:pt x="28" y="77"/>
                        <a:pt x="28" y="77"/>
                      </a:cubicBezTo>
                      <a:cubicBezTo>
                        <a:pt x="29" y="79"/>
                        <a:pt x="29" y="79"/>
                        <a:pt x="29" y="79"/>
                      </a:cubicBezTo>
                      <a:cubicBezTo>
                        <a:pt x="31" y="79"/>
                        <a:pt x="31" y="79"/>
                        <a:pt x="31" y="79"/>
                      </a:cubicBezTo>
                      <a:cubicBezTo>
                        <a:pt x="31" y="80"/>
                        <a:pt x="31" y="80"/>
                        <a:pt x="31" y="80"/>
                      </a:cubicBezTo>
                      <a:cubicBezTo>
                        <a:pt x="30" y="81"/>
                        <a:pt x="30" y="81"/>
                        <a:pt x="30" y="81"/>
                      </a:cubicBezTo>
                      <a:cubicBezTo>
                        <a:pt x="29" y="80"/>
                        <a:pt x="29" y="80"/>
                        <a:pt x="29" y="80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lose/>
                      <a:moveTo>
                        <a:pt x="26" y="81"/>
                      </a:moveTo>
                      <a:cubicBezTo>
                        <a:pt x="28" y="82"/>
                        <a:pt x="28" y="82"/>
                        <a:pt x="28" y="82"/>
                      </a:cubicBezTo>
                      <a:cubicBezTo>
                        <a:pt x="29" y="83"/>
                        <a:pt x="29" y="83"/>
                        <a:pt x="29" y="83"/>
                      </a:cubicBezTo>
                      <a:cubicBezTo>
                        <a:pt x="28" y="84"/>
                        <a:pt x="28" y="84"/>
                        <a:pt x="28" y="84"/>
                      </a:cubicBezTo>
                      <a:cubicBezTo>
                        <a:pt x="27" y="85"/>
                        <a:pt x="27" y="85"/>
                        <a:pt x="27" y="85"/>
                      </a:cubicBezTo>
                      <a:cubicBezTo>
                        <a:pt x="26" y="85"/>
                        <a:pt x="26" y="85"/>
                        <a:pt x="26" y="85"/>
                      </a:cubicBezTo>
                      <a:cubicBezTo>
                        <a:pt x="26" y="82"/>
                        <a:pt x="26" y="82"/>
                        <a:pt x="26" y="82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lose/>
                      <a:moveTo>
                        <a:pt x="27" y="96"/>
                      </a:moveTo>
                      <a:cubicBezTo>
                        <a:pt x="28" y="96"/>
                        <a:pt x="28" y="96"/>
                        <a:pt x="28" y="96"/>
                      </a:cubicBezTo>
                      <a:cubicBezTo>
                        <a:pt x="28" y="95"/>
                        <a:pt x="28" y="95"/>
                        <a:pt x="28" y="95"/>
                      </a:cubicBezTo>
                      <a:cubicBezTo>
                        <a:pt x="29" y="96"/>
                        <a:pt x="29" y="96"/>
                        <a:pt x="29" y="96"/>
                      </a:cubicBezTo>
                      <a:cubicBezTo>
                        <a:pt x="30" y="96"/>
                        <a:pt x="30" y="96"/>
                        <a:pt x="30" y="96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28" y="98"/>
                        <a:pt x="28" y="98"/>
                        <a:pt x="28" y="98"/>
                      </a:cubicBezTo>
                      <a:cubicBezTo>
                        <a:pt x="27" y="97"/>
                        <a:pt x="27" y="97"/>
                        <a:pt x="27" y="97"/>
                      </a:cubicBezTo>
                      <a:cubicBezTo>
                        <a:pt x="27" y="96"/>
                        <a:pt x="27" y="96"/>
                        <a:pt x="27" y="96"/>
                      </a:cubicBezTo>
                      <a:close/>
                      <a:moveTo>
                        <a:pt x="4" y="118"/>
                      </a:moveTo>
                      <a:cubicBezTo>
                        <a:pt x="5" y="117"/>
                        <a:pt x="5" y="117"/>
                        <a:pt x="5" y="117"/>
                      </a:cubicBezTo>
                      <a:cubicBezTo>
                        <a:pt x="7" y="116"/>
                        <a:pt x="7" y="116"/>
                        <a:pt x="7" y="116"/>
                      </a:cubicBezTo>
                      <a:cubicBezTo>
                        <a:pt x="8" y="115"/>
                        <a:pt x="8" y="115"/>
                        <a:pt x="8" y="115"/>
                      </a:cubicBezTo>
                      <a:cubicBezTo>
                        <a:pt x="10" y="114"/>
                        <a:pt x="10" y="114"/>
                        <a:pt x="10" y="114"/>
                      </a:cubicBezTo>
                      <a:cubicBezTo>
                        <a:pt x="12" y="111"/>
                        <a:pt x="12" y="111"/>
                        <a:pt x="12" y="111"/>
                      </a:cubicBezTo>
                      <a:cubicBezTo>
                        <a:pt x="14" y="110"/>
                        <a:pt x="14" y="110"/>
                        <a:pt x="14" y="110"/>
                      </a:cubicBezTo>
                      <a:cubicBezTo>
                        <a:pt x="16" y="109"/>
                        <a:pt x="16" y="109"/>
                        <a:pt x="16" y="109"/>
                      </a:cubicBezTo>
                      <a:cubicBezTo>
                        <a:pt x="16" y="108"/>
                        <a:pt x="16" y="108"/>
                        <a:pt x="16" y="108"/>
                      </a:cubicBezTo>
                      <a:cubicBezTo>
                        <a:pt x="17" y="106"/>
                        <a:pt x="17" y="106"/>
                        <a:pt x="17" y="106"/>
                      </a:cubicBezTo>
                      <a:cubicBezTo>
                        <a:pt x="17" y="103"/>
                        <a:pt x="17" y="103"/>
                        <a:pt x="17" y="103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1" y="102"/>
                        <a:pt x="21" y="102"/>
                        <a:pt x="21" y="102"/>
                      </a:cubicBezTo>
                      <a:cubicBezTo>
                        <a:pt x="22" y="100"/>
                        <a:pt x="22" y="100"/>
                        <a:pt x="22" y="100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25" y="98"/>
                        <a:pt x="25" y="98"/>
                        <a:pt x="25" y="98"/>
                      </a:cubicBezTo>
                      <a:cubicBezTo>
                        <a:pt x="26" y="96"/>
                        <a:pt x="26" y="96"/>
                        <a:pt x="26" y="96"/>
                      </a:cubicBezTo>
                      <a:cubicBezTo>
                        <a:pt x="25" y="94"/>
                        <a:pt x="25" y="94"/>
                        <a:pt x="25" y="94"/>
                      </a:cubicBezTo>
                      <a:cubicBezTo>
                        <a:pt x="23" y="92"/>
                        <a:pt x="23" y="92"/>
                        <a:pt x="23" y="92"/>
                      </a:cubicBezTo>
                      <a:cubicBezTo>
                        <a:pt x="24" y="90"/>
                        <a:pt x="24" y="90"/>
                        <a:pt x="24" y="90"/>
                      </a:cubicBezTo>
                      <a:cubicBezTo>
                        <a:pt x="23" y="87"/>
                        <a:pt x="23" y="87"/>
                        <a:pt x="23" y="87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2" y="91"/>
                        <a:pt x="22" y="91"/>
                        <a:pt x="22" y="91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22" y="95"/>
                        <a:pt x="22" y="95"/>
                        <a:pt x="22" y="95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20" y="98"/>
                        <a:pt x="20" y="98"/>
                        <a:pt x="20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17" y="100"/>
                        <a:pt x="17" y="100"/>
                        <a:pt x="17" y="100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15" y="103"/>
                        <a:pt x="15" y="103"/>
                        <a:pt x="15" y="103"/>
                      </a:cubicBezTo>
                      <a:cubicBezTo>
                        <a:pt x="13" y="107"/>
                        <a:pt x="13" y="107"/>
                        <a:pt x="13" y="107"/>
                      </a:cubicBezTo>
                      <a:cubicBezTo>
                        <a:pt x="11" y="110"/>
                        <a:pt x="11" y="110"/>
                        <a:pt x="11" y="110"/>
                      </a:cubicBezTo>
                      <a:cubicBezTo>
                        <a:pt x="9" y="110"/>
                        <a:pt x="9" y="110"/>
                        <a:pt x="9" y="110"/>
                      </a:cubicBezTo>
                      <a:cubicBezTo>
                        <a:pt x="8" y="112"/>
                        <a:pt x="8" y="112"/>
                        <a:pt x="8" y="112"/>
                      </a:cubicBezTo>
                      <a:cubicBezTo>
                        <a:pt x="7" y="113"/>
                        <a:pt x="7" y="113"/>
                        <a:pt x="7" y="113"/>
                      </a:cubicBez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3" y="118"/>
                        <a:pt x="3" y="118"/>
                        <a:pt x="3" y="118"/>
                      </a:cubicBezTo>
                      <a:cubicBezTo>
                        <a:pt x="4" y="118"/>
                        <a:pt x="4" y="118"/>
                        <a:pt x="4" y="118"/>
                      </a:cubicBezTo>
                      <a:close/>
                      <a:moveTo>
                        <a:pt x="4" y="119"/>
                      </a:moveTo>
                      <a:cubicBezTo>
                        <a:pt x="3" y="120"/>
                        <a:pt x="3" y="120"/>
                        <a:pt x="3" y="120"/>
                      </a:cubicBezTo>
                      <a:cubicBezTo>
                        <a:pt x="4" y="120"/>
                        <a:pt x="4" y="120"/>
                        <a:pt x="4" y="120"/>
                      </a:cubicBezTo>
                      <a:cubicBezTo>
                        <a:pt x="4" y="119"/>
                        <a:pt x="4" y="119"/>
                        <a:pt x="4" y="119"/>
                      </a:cubicBezTo>
                      <a:close/>
                      <a:moveTo>
                        <a:pt x="5" y="120"/>
                      </a:moveTo>
                      <a:cubicBezTo>
                        <a:pt x="4" y="120"/>
                        <a:pt x="4" y="120"/>
                        <a:pt x="4" y="120"/>
                      </a:cubicBezTo>
                      <a:cubicBezTo>
                        <a:pt x="5" y="121"/>
                        <a:pt x="5" y="121"/>
                        <a:pt x="5" y="121"/>
                      </a:cubicBezTo>
                      <a:cubicBezTo>
                        <a:pt x="5" y="120"/>
                        <a:pt x="5" y="120"/>
                        <a:pt x="5" y="120"/>
                      </a:cubicBezTo>
                      <a:close/>
                      <a:moveTo>
                        <a:pt x="2" y="122"/>
                      </a:moveTo>
                      <a:cubicBezTo>
                        <a:pt x="0" y="123"/>
                        <a:pt x="0" y="123"/>
                        <a:pt x="0" y="123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2" y="126"/>
                        <a:pt x="2" y="126"/>
                        <a:pt x="2" y="126"/>
                      </a:cubicBezTo>
                      <a:cubicBezTo>
                        <a:pt x="2" y="123"/>
                        <a:pt x="2" y="123"/>
                        <a:pt x="2" y="123"/>
                      </a:cubicBezTo>
                      <a:cubicBezTo>
                        <a:pt x="3" y="122"/>
                        <a:pt x="3" y="122"/>
                        <a:pt x="3" y="122"/>
                      </a:cubicBezTo>
                      <a:lnTo>
                        <a:pt x="2" y="12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2" name="Freeform 171">
                  <a:extLst>
                    <a:ext uri="{FF2B5EF4-FFF2-40B4-BE49-F238E27FC236}">
                      <a16:creationId xmlns:a16="http://schemas.microsoft.com/office/drawing/2014/main" xmlns="" id="{4E4172F8-8EB3-4BD6-A767-828DF16949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3" y="1953"/>
                  <a:ext cx="730" cy="294"/>
                </a:xfrm>
                <a:custGeom>
                  <a:avLst/>
                  <a:gdLst>
                    <a:gd name="T0" fmla="*/ 426 w 447"/>
                    <a:gd name="T1" fmla="*/ 142 h 180"/>
                    <a:gd name="T2" fmla="*/ 404 w 447"/>
                    <a:gd name="T3" fmla="*/ 117 h 180"/>
                    <a:gd name="T4" fmla="*/ 370 w 447"/>
                    <a:gd name="T5" fmla="*/ 110 h 180"/>
                    <a:gd name="T6" fmla="*/ 368 w 447"/>
                    <a:gd name="T7" fmla="*/ 91 h 180"/>
                    <a:gd name="T8" fmla="*/ 381 w 447"/>
                    <a:gd name="T9" fmla="*/ 81 h 180"/>
                    <a:gd name="T10" fmla="*/ 409 w 447"/>
                    <a:gd name="T11" fmla="*/ 88 h 180"/>
                    <a:gd name="T12" fmla="*/ 346 w 447"/>
                    <a:gd name="T13" fmla="*/ 69 h 180"/>
                    <a:gd name="T14" fmla="*/ 294 w 447"/>
                    <a:gd name="T15" fmla="*/ 32 h 180"/>
                    <a:gd name="T16" fmla="*/ 319 w 447"/>
                    <a:gd name="T17" fmla="*/ 73 h 180"/>
                    <a:gd name="T18" fmla="*/ 327 w 447"/>
                    <a:gd name="T19" fmla="*/ 51 h 180"/>
                    <a:gd name="T20" fmla="*/ 316 w 447"/>
                    <a:gd name="T21" fmla="*/ 76 h 180"/>
                    <a:gd name="T22" fmla="*/ 324 w 447"/>
                    <a:gd name="T23" fmla="*/ 105 h 180"/>
                    <a:gd name="T24" fmla="*/ 342 w 447"/>
                    <a:gd name="T25" fmla="*/ 105 h 180"/>
                    <a:gd name="T26" fmla="*/ 300 w 447"/>
                    <a:gd name="T27" fmla="*/ 106 h 180"/>
                    <a:gd name="T28" fmla="*/ 296 w 447"/>
                    <a:gd name="T29" fmla="*/ 88 h 180"/>
                    <a:gd name="T30" fmla="*/ 270 w 447"/>
                    <a:gd name="T31" fmla="*/ 120 h 180"/>
                    <a:gd name="T32" fmla="*/ 271 w 447"/>
                    <a:gd name="T33" fmla="*/ 88 h 180"/>
                    <a:gd name="T34" fmla="*/ 259 w 447"/>
                    <a:gd name="T35" fmla="*/ 73 h 180"/>
                    <a:gd name="T36" fmla="*/ 286 w 447"/>
                    <a:gd name="T37" fmla="*/ 55 h 180"/>
                    <a:gd name="T38" fmla="*/ 239 w 447"/>
                    <a:gd name="T39" fmla="*/ 76 h 180"/>
                    <a:gd name="T40" fmla="*/ 237 w 447"/>
                    <a:gd name="T41" fmla="*/ 125 h 180"/>
                    <a:gd name="T42" fmla="*/ 255 w 447"/>
                    <a:gd name="T43" fmla="*/ 111 h 180"/>
                    <a:gd name="T44" fmla="*/ 264 w 447"/>
                    <a:gd name="T45" fmla="*/ 101 h 180"/>
                    <a:gd name="T46" fmla="*/ 264 w 447"/>
                    <a:gd name="T47" fmla="*/ 76 h 180"/>
                    <a:gd name="T48" fmla="*/ 234 w 447"/>
                    <a:gd name="T49" fmla="*/ 18 h 180"/>
                    <a:gd name="T50" fmla="*/ 205 w 447"/>
                    <a:gd name="T51" fmla="*/ 106 h 180"/>
                    <a:gd name="T52" fmla="*/ 140 w 447"/>
                    <a:gd name="T53" fmla="*/ 82 h 180"/>
                    <a:gd name="T54" fmla="*/ 201 w 447"/>
                    <a:gd name="T55" fmla="*/ 25 h 180"/>
                    <a:gd name="T56" fmla="*/ 225 w 447"/>
                    <a:gd name="T57" fmla="*/ 54 h 180"/>
                    <a:gd name="T58" fmla="*/ 204 w 447"/>
                    <a:gd name="T59" fmla="*/ 88 h 180"/>
                    <a:gd name="T60" fmla="*/ 181 w 447"/>
                    <a:gd name="T61" fmla="*/ 103 h 180"/>
                    <a:gd name="T62" fmla="*/ 147 w 447"/>
                    <a:gd name="T63" fmla="*/ 96 h 180"/>
                    <a:gd name="T64" fmla="*/ 386 w 447"/>
                    <a:gd name="T65" fmla="*/ 77 h 180"/>
                    <a:gd name="T66" fmla="*/ 396 w 447"/>
                    <a:gd name="T67" fmla="*/ 74 h 180"/>
                    <a:gd name="T68" fmla="*/ 382 w 447"/>
                    <a:gd name="T69" fmla="*/ 136 h 180"/>
                    <a:gd name="T70" fmla="*/ 379 w 447"/>
                    <a:gd name="T71" fmla="*/ 126 h 180"/>
                    <a:gd name="T72" fmla="*/ 347 w 447"/>
                    <a:gd name="T73" fmla="*/ 144 h 180"/>
                    <a:gd name="T74" fmla="*/ 339 w 447"/>
                    <a:gd name="T75" fmla="*/ 132 h 180"/>
                    <a:gd name="T76" fmla="*/ 310 w 447"/>
                    <a:gd name="T77" fmla="*/ 145 h 180"/>
                    <a:gd name="T78" fmla="*/ 283 w 447"/>
                    <a:gd name="T79" fmla="*/ 164 h 180"/>
                    <a:gd name="T80" fmla="*/ 256 w 447"/>
                    <a:gd name="T81" fmla="*/ 175 h 180"/>
                    <a:gd name="T82" fmla="*/ 196 w 447"/>
                    <a:gd name="T83" fmla="*/ 138 h 180"/>
                    <a:gd name="T84" fmla="*/ 288 w 447"/>
                    <a:gd name="T85" fmla="*/ 152 h 180"/>
                    <a:gd name="T86" fmla="*/ 237 w 447"/>
                    <a:gd name="T87" fmla="*/ 155 h 180"/>
                    <a:gd name="T88" fmla="*/ 243 w 447"/>
                    <a:gd name="T89" fmla="*/ 158 h 180"/>
                    <a:gd name="T90" fmla="*/ 229 w 447"/>
                    <a:gd name="T91" fmla="*/ 159 h 180"/>
                    <a:gd name="T92" fmla="*/ 205 w 447"/>
                    <a:gd name="T93" fmla="*/ 159 h 180"/>
                    <a:gd name="T94" fmla="*/ 423 w 447"/>
                    <a:gd name="T95" fmla="*/ 151 h 180"/>
                    <a:gd name="T96" fmla="*/ 179 w 447"/>
                    <a:gd name="T97" fmla="*/ 139 h 180"/>
                    <a:gd name="T98" fmla="*/ 149 w 447"/>
                    <a:gd name="T99" fmla="*/ 138 h 180"/>
                    <a:gd name="T100" fmla="*/ 178 w 447"/>
                    <a:gd name="T101" fmla="*/ 155 h 180"/>
                    <a:gd name="T102" fmla="*/ 108 w 447"/>
                    <a:gd name="T103" fmla="*/ 140 h 180"/>
                    <a:gd name="T104" fmla="*/ 104 w 447"/>
                    <a:gd name="T105" fmla="*/ 35 h 180"/>
                    <a:gd name="T106" fmla="*/ 123 w 447"/>
                    <a:gd name="T107" fmla="*/ 101 h 180"/>
                    <a:gd name="T108" fmla="*/ 107 w 447"/>
                    <a:gd name="T109" fmla="*/ 86 h 180"/>
                    <a:gd name="T110" fmla="*/ 69 w 447"/>
                    <a:gd name="T111" fmla="*/ 52 h 180"/>
                    <a:gd name="T112" fmla="*/ 33 w 447"/>
                    <a:gd name="T113" fmla="*/ 80 h 180"/>
                    <a:gd name="T114" fmla="*/ 20 w 447"/>
                    <a:gd name="T115" fmla="*/ 54 h 180"/>
                    <a:gd name="T116" fmla="*/ 36 w 447"/>
                    <a:gd name="T117" fmla="*/ 50 h 180"/>
                    <a:gd name="T118" fmla="*/ 92 w 447"/>
                    <a:gd name="T119" fmla="*/ 128 h 180"/>
                    <a:gd name="T120" fmla="*/ 93 w 447"/>
                    <a:gd name="T121" fmla="*/ 86 h 180"/>
                    <a:gd name="T122" fmla="*/ 65 w 447"/>
                    <a:gd name="T123" fmla="*/ 51 h 180"/>
                    <a:gd name="T124" fmla="*/ 11 w 447"/>
                    <a:gd name="T125" fmla="*/ 13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47" h="180">
                      <a:moveTo>
                        <a:pt x="447" y="94"/>
                      </a:moveTo>
                      <a:cubicBezTo>
                        <a:pt x="445" y="132"/>
                        <a:pt x="445" y="132"/>
                        <a:pt x="445" y="132"/>
                      </a:cubicBezTo>
                      <a:cubicBezTo>
                        <a:pt x="445" y="134"/>
                        <a:pt x="445" y="134"/>
                        <a:pt x="445" y="134"/>
                      </a:cubicBezTo>
                      <a:cubicBezTo>
                        <a:pt x="445" y="136"/>
                        <a:pt x="445" y="136"/>
                        <a:pt x="445" y="136"/>
                      </a:cubicBezTo>
                      <a:cubicBezTo>
                        <a:pt x="445" y="137"/>
                        <a:pt x="445" y="137"/>
                        <a:pt x="445" y="137"/>
                      </a:cubicBezTo>
                      <a:cubicBezTo>
                        <a:pt x="444" y="161"/>
                        <a:pt x="444" y="161"/>
                        <a:pt x="444" y="161"/>
                      </a:cubicBezTo>
                      <a:cubicBezTo>
                        <a:pt x="444" y="161"/>
                        <a:pt x="444" y="161"/>
                        <a:pt x="444" y="161"/>
                      </a:cubicBezTo>
                      <a:cubicBezTo>
                        <a:pt x="441" y="160"/>
                        <a:pt x="441" y="160"/>
                        <a:pt x="441" y="160"/>
                      </a:cubicBezTo>
                      <a:cubicBezTo>
                        <a:pt x="439" y="157"/>
                        <a:pt x="439" y="157"/>
                        <a:pt x="439" y="157"/>
                      </a:cubicBezTo>
                      <a:cubicBezTo>
                        <a:pt x="438" y="156"/>
                        <a:pt x="438" y="156"/>
                        <a:pt x="438" y="156"/>
                      </a:cubicBezTo>
                      <a:cubicBezTo>
                        <a:pt x="438" y="155"/>
                        <a:pt x="438" y="155"/>
                        <a:pt x="438" y="155"/>
                      </a:cubicBezTo>
                      <a:cubicBezTo>
                        <a:pt x="436" y="153"/>
                        <a:pt x="436" y="153"/>
                        <a:pt x="436" y="153"/>
                      </a:cubicBezTo>
                      <a:cubicBezTo>
                        <a:pt x="435" y="153"/>
                        <a:pt x="435" y="153"/>
                        <a:pt x="435" y="153"/>
                      </a:cubicBezTo>
                      <a:cubicBezTo>
                        <a:pt x="435" y="151"/>
                        <a:pt x="435" y="151"/>
                        <a:pt x="435" y="151"/>
                      </a:cubicBezTo>
                      <a:cubicBezTo>
                        <a:pt x="436" y="150"/>
                        <a:pt x="436" y="150"/>
                        <a:pt x="436" y="150"/>
                      </a:cubicBezTo>
                      <a:cubicBezTo>
                        <a:pt x="436" y="147"/>
                        <a:pt x="436" y="147"/>
                        <a:pt x="436" y="147"/>
                      </a:cubicBezTo>
                      <a:cubicBezTo>
                        <a:pt x="435" y="150"/>
                        <a:pt x="435" y="150"/>
                        <a:pt x="435" y="150"/>
                      </a:cubicBezTo>
                      <a:cubicBezTo>
                        <a:pt x="434" y="150"/>
                        <a:pt x="434" y="150"/>
                        <a:pt x="434" y="150"/>
                      </a:cubicBezTo>
                      <a:cubicBezTo>
                        <a:pt x="431" y="150"/>
                        <a:pt x="431" y="150"/>
                        <a:pt x="431" y="150"/>
                      </a:cubicBezTo>
                      <a:cubicBezTo>
                        <a:pt x="429" y="151"/>
                        <a:pt x="429" y="151"/>
                        <a:pt x="429" y="151"/>
                      </a:cubicBezTo>
                      <a:cubicBezTo>
                        <a:pt x="428" y="151"/>
                        <a:pt x="428" y="151"/>
                        <a:pt x="428" y="151"/>
                      </a:cubicBezTo>
                      <a:cubicBezTo>
                        <a:pt x="427" y="150"/>
                        <a:pt x="427" y="150"/>
                        <a:pt x="427" y="150"/>
                      </a:cubicBezTo>
                      <a:cubicBezTo>
                        <a:pt x="425" y="151"/>
                        <a:pt x="425" y="151"/>
                        <a:pt x="425" y="151"/>
                      </a:cubicBezTo>
                      <a:cubicBezTo>
                        <a:pt x="424" y="150"/>
                        <a:pt x="424" y="150"/>
                        <a:pt x="424" y="150"/>
                      </a:cubicBezTo>
                      <a:cubicBezTo>
                        <a:pt x="425" y="149"/>
                        <a:pt x="425" y="149"/>
                        <a:pt x="425" y="149"/>
                      </a:cubicBezTo>
                      <a:cubicBezTo>
                        <a:pt x="425" y="148"/>
                        <a:pt x="425" y="148"/>
                        <a:pt x="425" y="148"/>
                      </a:cubicBezTo>
                      <a:cubicBezTo>
                        <a:pt x="425" y="147"/>
                        <a:pt x="425" y="147"/>
                        <a:pt x="425" y="147"/>
                      </a:cubicBezTo>
                      <a:cubicBezTo>
                        <a:pt x="426" y="146"/>
                        <a:pt x="426" y="146"/>
                        <a:pt x="426" y="146"/>
                      </a:cubicBezTo>
                      <a:cubicBezTo>
                        <a:pt x="426" y="144"/>
                        <a:pt x="426" y="144"/>
                        <a:pt x="426" y="144"/>
                      </a:cubicBezTo>
                      <a:cubicBezTo>
                        <a:pt x="425" y="143"/>
                        <a:pt x="425" y="143"/>
                        <a:pt x="425" y="143"/>
                      </a:cubicBezTo>
                      <a:cubicBezTo>
                        <a:pt x="424" y="142"/>
                        <a:pt x="424" y="142"/>
                        <a:pt x="424" y="142"/>
                      </a:cubicBezTo>
                      <a:cubicBezTo>
                        <a:pt x="425" y="141"/>
                        <a:pt x="425" y="141"/>
                        <a:pt x="425" y="141"/>
                      </a:cubicBezTo>
                      <a:cubicBezTo>
                        <a:pt x="426" y="142"/>
                        <a:pt x="426" y="142"/>
                        <a:pt x="426" y="142"/>
                      </a:cubicBezTo>
                      <a:cubicBezTo>
                        <a:pt x="428" y="141"/>
                        <a:pt x="428" y="141"/>
                        <a:pt x="428" y="141"/>
                      </a:cubicBezTo>
                      <a:cubicBezTo>
                        <a:pt x="429" y="141"/>
                        <a:pt x="429" y="141"/>
                        <a:pt x="429" y="141"/>
                      </a:cubicBezTo>
                      <a:cubicBezTo>
                        <a:pt x="427" y="140"/>
                        <a:pt x="427" y="140"/>
                        <a:pt x="427" y="140"/>
                      </a:cubicBezTo>
                      <a:cubicBezTo>
                        <a:pt x="425" y="141"/>
                        <a:pt x="425" y="141"/>
                        <a:pt x="425" y="141"/>
                      </a:cubicBezTo>
                      <a:cubicBezTo>
                        <a:pt x="424" y="140"/>
                        <a:pt x="424" y="140"/>
                        <a:pt x="424" y="140"/>
                      </a:cubicBezTo>
                      <a:cubicBezTo>
                        <a:pt x="422" y="139"/>
                        <a:pt x="422" y="139"/>
                        <a:pt x="422" y="139"/>
                      </a:cubicBezTo>
                      <a:cubicBezTo>
                        <a:pt x="422" y="137"/>
                        <a:pt x="422" y="137"/>
                        <a:pt x="422" y="137"/>
                      </a:cubicBezTo>
                      <a:cubicBezTo>
                        <a:pt x="423" y="137"/>
                        <a:pt x="423" y="137"/>
                        <a:pt x="423" y="137"/>
                      </a:cubicBezTo>
                      <a:cubicBezTo>
                        <a:pt x="425" y="137"/>
                        <a:pt x="425" y="137"/>
                        <a:pt x="425" y="137"/>
                      </a:cubicBezTo>
                      <a:cubicBezTo>
                        <a:pt x="424" y="136"/>
                        <a:pt x="424" y="136"/>
                        <a:pt x="424" y="136"/>
                      </a:cubicBezTo>
                      <a:cubicBezTo>
                        <a:pt x="422" y="135"/>
                        <a:pt x="422" y="135"/>
                        <a:pt x="422" y="135"/>
                      </a:cubicBezTo>
                      <a:cubicBezTo>
                        <a:pt x="420" y="133"/>
                        <a:pt x="420" y="133"/>
                        <a:pt x="420" y="133"/>
                      </a:cubicBezTo>
                      <a:cubicBezTo>
                        <a:pt x="419" y="132"/>
                        <a:pt x="419" y="132"/>
                        <a:pt x="419" y="132"/>
                      </a:cubicBezTo>
                      <a:cubicBezTo>
                        <a:pt x="420" y="130"/>
                        <a:pt x="420" y="130"/>
                        <a:pt x="420" y="130"/>
                      </a:cubicBezTo>
                      <a:cubicBezTo>
                        <a:pt x="418" y="128"/>
                        <a:pt x="418" y="128"/>
                        <a:pt x="418" y="128"/>
                      </a:cubicBezTo>
                      <a:cubicBezTo>
                        <a:pt x="418" y="127"/>
                        <a:pt x="418" y="127"/>
                        <a:pt x="418" y="127"/>
                      </a:cubicBezTo>
                      <a:cubicBezTo>
                        <a:pt x="420" y="125"/>
                        <a:pt x="420" y="125"/>
                        <a:pt x="420" y="125"/>
                      </a:cubicBezTo>
                      <a:cubicBezTo>
                        <a:pt x="418" y="125"/>
                        <a:pt x="418" y="125"/>
                        <a:pt x="418" y="125"/>
                      </a:cubicBezTo>
                      <a:cubicBezTo>
                        <a:pt x="417" y="125"/>
                        <a:pt x="417" y="125"/>
                        <a:pt x="417" y="125"/>
                      </a:cubicBezTo>
                      <a:cubicBezTo>
                        <a:pt x="417" y="124"/>
                        <a:pt x="417" y="124"/>
                        <a:pt x="417" y="124"/>
                      </a:cubicBezTo>
                      <a:cubicBezTo>
                        <a:pt x="416" y="123"/>
                        <a:pt x="416" y="123"/>
                        <a:pt x="416" y="123"/>
                      </a:cubicBezTo>
                      <a:cubicBezTo>
                        <a:pt x="418" y="122"/>
                        <a:pt x="418" y="122"/>
                        <a:pt x="418" y="122"/>
                      </a:cubicBezTo>
                      <a:cubicBezTo>
                        <a:pt x="415" y="122"/>
                        <a:pt x="415" y="122"/>
                        <a:pt x="415" y="122"/>
                      </a:cubicBezTo>
                      <a:cubicBezTo>
                        <a:pt x="415" y="121"/>
                        <a:pt x="415" y="121"/>
                        <a:pt x="415" y="121"/>
                      </a:cubicBezTo>
                      <a:cubicBezTo>
                        <a:pt x="414" y="122"/>
                        <a:pt x="414" y="122"/>
                        <a:pt x="414" y="122"/>
                      </a:cubicBezTo>
                      <a:cubicBezTo>
                        <a:pt x="413" y="121"/>
                        <a:pt x="413" y="121"/>
                        <a:pt x="413" y="121"/>
                      </a:cubicBezTo>
                      <a:cubicBezTo>
                        <a:pt x="415" y="119"/>
                        <a:pt x="415" y="119"/>
                        <a:pt x="415" y="119"/>
                      </a:cubicBezTo>
                      <a:cubicBezTo>
                        <a:pt x="413" y="120"/>
                        <a:pt x="413" y="120"/>
                        <a:pt x="413" y="120"/>
                      </a:cubicBezTo>
                      <a:cubicBezTo>
                        <a:pt x="412" y="120"/>
                        <a:pt x="412" y="120"/>
                        <a:pt x="412" y="120"/>
                      </a:cubicBezTo>
                      <a:cubicBezTo>
                        <a:pt x="409" y="119"/>
                        <a:pt x="409" y="119"/>
                        <a:pt x="409" y="119"/>
                      </a:cubicBezTo>
                      <a:cubicBezTo>
                        <a:pt x="408" y="117"/>
                        <a:pt x="408" y="117"/>
                        <a:pt x="408" y="117"/>
                      </a:cubicBezTo>
                      <a:cubicBezTo>
                        <a:pt x="406" y="116"/>
                        <a:pt x="406" y="116"/>
                        <a:pt x="406" y="116"/>
                      </a:cubicBezTo>
                      <a:cubicBezTo>
                        <a:pt x="404" y="117"/>
                        <a:pt x="404" y="117"/>
                        <a:pt x="404" y="117"/>
                      </a:cubicBezTo>
                      <a:cubicBezTo>
                        <a:pt x="398" y="115"/>
                        <a:pt x="398" y="115"/>
                        <a:pt x="398" y="115"/>
                      </a:cubicBezTo>
                      <a:cubicBezTo>
                        <a:pt x="392" y="113"/>
                        <a:pt x="392" y="113"/>
                        <a:pt x="392" y="113"/>
                      </a:cubicBezTo>
                      <a:cubicBezTo>
                        <a:pt x="389" y="113"/>
                        <a:pt x="389" y="113"/>
                        <a:pt x="389" y="113"/>
                      </a:cubicBezTo>
                      <a:cubicBezTo>
                        <a:pt x="387" y="112"/>
                        <a:pt x="387" y="112"/>
                        <a:pt x="387" y="112"/>
                      </a:cubicBezTo>
                      <a:cubicBezTo>
                        <a:pt x="387" y="111"/>
                        <a:pt x="387" y="111"/>
                        <a:pt x="387" y="111"/>
                      </a:cubicBezTo>
                      <a:cubicBezTo>
                        <a:pt x="386" y="110"/>
                        <a:pt x="386" y="110"/>
                        <a:pt x="386" y="110"/>
                      </a:cubicBezTo>
                      <a:cubicBezTo>
                        <a:pt x="384" y="110"/>
                        <a:pt x="384" y="110"/>
                        <a:pt x="384" y="110"/>
                      </a:cubicBezTo>
                      <a:cubicBezTo>
                        <a:pt x="384" y="108"/>
                        <a:pt x="384" y="108"/>
                        <a:pt x="384" y="108"/>
                      </a:cubicBezTo>
                      <a:cubicBezTo>
                        <a:pt x="386" y="108"/>
                        <a:pt x="386" y="108"/>
                        <a:pt x="386" y="108"/>
                      </a:cubicBezTo>
                      <a:cubicBezTo>
                        <a:pt x="387" y="108"/>
                        <a:pt x="387" y="108"/>
                        <a:pt x="387" y="108"/>
                      </a:cubicBezTo>
                      <a:cubicBezTo>
                        <a:pt x="386" y="108"/>
                        <a:pt x="386" y="108"/>
                        <a:pt x="386" y="108"/>
                      </a:cubicBezTo>
                      <a:cubicBezTo>
                        <a:pt x="385" y="108"/>
                        <a:pt x="385" y="108"/>
                        <a:pt x="385" y="108"/>
                      </a:cubicBezTo>
                      <a:cubicBezTo>
                        <a:pt x="383" y="108"/>
                        <a:pt x="383" y="108"/>
                        <a:pt x="383" y="108"/>
                      </a:cubicBezTo>
                      <a:cubicBezTo>
                        <a:pt x="382" y="108"/>
                        <a:pt x="382" y="108"/>
                        <a:pt x="382" y="108"/>
                      </a:cubicBezTo>
                      <a:cubicBezTo>
                        <a:pt x="381" y="107"/>
                        <a:pt x="381" y="107"/>
                        <a:pt x="381" y="107"/>
                      </a:cubicBezTo>
                      <a:cubicBezTo>
                        <a:pt x="381" y="107"/>
                        <a:pt x="381" y="107"/>
                        <a:pt x="381" y="107"/>
                      </a:cubicBezTo>
                      <a:cubicBezTo>
                        <a:pt x="380" y="108"/>
                        <a:pt x="380" y="108"/>
                        <a:pt x="380" y="108"/>
                      </a:cubicBezTo>
                      <a:cubicBezTo>
                        <a:pt x="380" y="106"/>
                        <a:pt x="380" y="106"/>
                        <a:pt x="380" y="106"/>
                      </a:cubicBezTo>
                      <a:cubicBezTo>
                        <a:pt x="379" y="105"/>
                        <a:pt x="379" y="105"/>
                        <a:pt x="379" y="105"/>
                      </a:cubicBezTo>
                      <a:cubicBezTo>
                        <a:pt x="378" y="106"/>
                        <a:pt x="378" y="106"/>
                        <a:pt x="378" y="106"/>
                      </a:cubicBezTo>
                      <a:cubicBezTo>
                        <a:pt x="378" y="106"/>
                        <a:pt x="378" y="106"/>
                        <a:pt x="378" y="106"/>
                      </a:cubicBezTo>
                      <a:cubicBezTo>
                        <a:pt x="377" y="105"/>
                        <a:pt x="377" y="105"/>
                        <a:pt x="377" y="105"/>
                      </a:cubicBezTo>
                      <a:cubicBezTo>
                        <a:pt x="376" y="103"/>
                        <a:pt x="376" y="103"/>
                        <a:pt x="376" y="103"/>
                      </a:cubicBezTo>
                      <a:cubicBezTo>
                        <a:pt x="375" y="101"/>
                        <a:pt x="375" y="101"/>
                        <a:pt x="375" y="101"/>
                      </a:cubicBezTo>
                      <a:cubicBezTo>
                        <a:pt x="376" y="99"/>
                        <a:pt x="376" y="99"/>
                        <a:pt x="376" y="99"/>
                      </a:cubicBezTo>
                      <a:cubicBezTo>
                        <a:pt x="376" y="97"/>
                        <a:pt x="376" y="97"/>
                        <a:pt x="376" y="97"/>
                      </a:cubicBezTo>
                      <a:cubicBezTo>
                        <a:pt x="375" y="99"/>
                        <a:pt x="375" y="99"/>
                        <a:pt x="375" y="99"/>
                      </a:cubicBezTo>
                      <a:cubicBezTo>
                        <a:pt x="375" y="101"/>
                        <a:pt x="375" y="101"/>
                        <a:pt x="375" y="101"/>
                      </a:cubicBezTo>
                      <a:cubicBezTo>
                        <a:pt x="374" y="102"/>
                        <a:pt x="374" y="102"/>
                        <a:pt x="374" y="102"/>
                      </a:cubicBezTo>
                      <a:cubicBezTo>
                        <a:pt x="373" y="103"/>
                        <a:pt x="373" y="103"/>
                        <a:pt x="373" y="103"/>
                      </a:cubicBezTo>
                      <a:cubicBezTo>
                        <a:pt x="372" y="105"/>
                        <a:pt x="372" y="105"/>
                        <a:pt x="372" y="105"/>
                      </a:cubicBezTo>
                      <a:cubicBezTo>
                        <a:pt x="372" y="107"/>
                        <a:pt x="372" y="107"/>
                        <a:pt x="372" y="107"/>
                      </a:cubicBezTo>
                      <a:cubicBezTo>
                        <a:pt x="370" y="110"/>
                        <a:pt x="370" y="110"/>
                        <a:pt x="370" y="110"/>
                      </a:cubicBezTo>
                      <a:cubicBezTo>
                        <a:pt x="368" y="110"/>
                        <a:pt x="368" y="110"/>
                        <a:pt x="368" y="110"/>
                      </a:cubicBezTo>
                      <a:cubicBezTo>
                        <a:pt x="367" y="109"/>
                        <a:pt x="367" y="109"/>
                        <a:pt x="367" y="109"/>
                      </a:cubicBezTo>
                      <a:cubicBezTo>
                        <a:pt x="365" y="106"/>
                        <a:pt x="365" y="106"/>
                        <a:pt x="365" y="106"/>
                      </a:cubicBezTo>
                      <a:cubicBezTo>
                        <a:pt x="365" y="105"/>
                        <a:pt x="365" y="105"/>
                        <a:pt x="365" y="105"/>
                      </a:cubicBezTo>
                      <a:cubicBezTo>
                        <a:pt x="366" y="104"/>
                        <a:pt x="366" y="104"/>
                        <a:pt x="366" y="104"/>
                      </a:cubicBezTo>
                      <a:cubicBezTo>
                        <a:pt x="366" y="103"/>
                        <a:pt x="366" y="103"/>
                        <a:pt x="366" y="103"/>
                      </a:cubicBezTo>
                      <a:cubicBezTo>
                        <a:pt x="366" y="102"/>
                        <a:pt x="366" y="102"/>
                        <a:pt x="366" y="102"/>
                      </a:cubicBezTo>
                      <a:cubicBezTo>
                        <a:pt x="365" y="102"/>
                        <a:pt x="365" y="102"/>
                        <a:pt x="365" y="102"/>
                      </a:cubicBezTo>
                      <a:cubicBezTo>
                        <a:pt x="364" y="101"/>
                        <a:pt x="364" y="101"/>
                        <a:pt x="364" y="101"/>
                      </a:cubicBezTo>
                      <a:cubicBezTo>
                        <a:pt x="363" y="99"/>
                        <a:pt x="363" y="99"/>
                        <a:pt x="363" y="99"/>
                      </a:cubicBezTo>
                      <a:cubicBezTo>
                        <a:pt x="361" y="98"/>
                        <a:pt x="361" y="98"/>
                        <a:pt x="361" y="98"/>
                      </a:cubicBezTo>
                      <a:cubicBezTo>
                        <a:pt x="359" y="98"/>
                        <a:pt x="359" y="98"/>
                        <a:pt x="359" y="98"/>
                      </a:cubicBezTo>
                      <a:cubicBezTo>
                        <a:pt x="358" y="97"/>
                        <a:pt x="358" y="97"/>
                        <a:pt x="358" y="97"/>
                      </a:cubicBezTo>
                      <a:cubicBezTo>
                        <a:pt x="360" y="95"/>
                        <a:pt x="360" y="95"/>
                        <a:pt x="360" y="95"/>
                      </a:cubicBezTo>
                      <a:cubicBezTo>
                        <a:pt x="362" y="95"/>
                        <a:pt x="362" y="95"/>
                        <a:pt x="362" y="95"/>
                      </a:cubicBezTo>
                      <a:cubicBezTo>
                        <a:pt x="363" y="96"/>
                        <a:pt x="363" y="96"/>
                        <a:pt x="363" y="96"/>
                      </a:cubicBezTo>
                      <a:cubicBezTo>
                        <a:pt x="365" y="96"/>
                        <a:pt x="365" y="96"/>
                        <a:pt x="365" y="96"/>
                      </a:cubicBezTo>
                      <a:cubicBezTo>
                        <a:pt x="366" y="97"/>
                        <a:pt x="366" y="97"/>
                        <a:pt x="366" y="97"/>
                      </a:cubicBezTo>
                      <a:cubicBezTo>
                        <a:pt x="368" y="96"/>
                        <a:pt x="368" y="96"/>
                        <a:pt x="368" y="96"/>
                      </a:cubicBezTo>
                      <a:cubicBezTo>
                        <a:pt x="369" y="93"/>
                        <a:pt x="369" y="93"/>
                        <a:pt x="369" y="93"/>
                      </a:cubicBezTo>
                      <a:cubicBezTo>
                        <a:pt x="370" y="93"/>
                        <a:pt x="370" y="93"/>
                        <a:pt x="370" y="93"/>
                      </a:cubicBezTo>
                      <a:cubicBezTo>
                        <a:pt x="373" y="94"/>
                        <a:pt x="373" y="94"/>
                        <a:pt x="373" y="94"/>
                      </a:cubicBezTo>
                      <a:cubicBezTo>
                        <a:pt x="374" y="96"/>
                        <a:pt x="374" y="96"/>
                        <a:pt x="374" y="96"/>
                      </a:cubicBezTo>
                      <a:cubicBezTo>
                        <a:pt x="375" y="94"/>
                        <a:pt x="375" y="94"/>
                        <a:pt x="375" y="94"/>
                      </a:cubicBezTo>
                      <a:cubicBezTo>
                        <a:pt x="376" y="93"/>
                        <a:pt x="376" y="93"/>
                        <a:pt x="376" y="93"/>
                      </a:cubicBezTo>
                      <a:cubicBezTo>
                        <a:pt x="377" y="93"/>
                        <a:pt x="377" y="93"/>
                        <a:pt x="377" y="93"/>
                      </a:cubicBezTo>
                      <a:cubicBezTo>
                        <a:pt x="377" y="91"/>
                        <a:pt x="377" y="91"/>
                        <a:pt x="377" y="91"/>
                      </a:cubicBezTo>
                      <a:cubicBezTo>
                        <a:pt x="377" y="90"/>
                        <a:pt x="377" y="90"/>
                        <a:pt x="377" y="90"/>
                      </a:cubicBezTo>
                      <a:cubicBezTo>
                        <a:pt x="372" y="89"/>
                        <a:pt x="372" y="89"/>
                        <a:pt x="372" y="89"/>
                      </a:cubicBezTo>
                      <a:cubicBezTo>
                        <a:pt x="373" y="90"/>
                        <a:pt x="373" y="90"/>
                        <a:pt x="373" y="90"/>
                      </a:cubicBezTo>
                      <a:cubicBezTo>
                        <a:pt x="372" y="90"/>
                        <a:pt x="372" y="90"/>
                        <a:pt x="372" y="90"/>
                      </a:cubicBezTo>
                      <a:cubicBezTo>
                        <a:pt x="371" y="90"/>
                        <a:pt x="371" y="90"/>
                        <a:pt x="371" y="90"/>
                      </a:cubicBezTo>
                      <a:cubicBezTo>
                        <a:pt x="368" y="91"/>
                        <a:pt x="368" y="91"/>
                        <a:pt x="368" y="91"/>
                      </a:cubicBezTo>
                      <a:cubicBezTo>
                        <a:pt x="366" y="90"/>
                        <a:pt x="366" y="90"/>
                        <a:pt x="366" y="90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4" y="90"/>
                        <a:pt x="364" y="90"/>
                        <a:pt x="364" y="90"/>
                      </a:cubicBezTo>
                      <a:cubicBezTo>
                        <a:pt x="362" y="91"/>
                        <a:pt x="362" y="91"/>
                        <a:pt x="362" y="91"/>
                      </a:cubicBezTo>
                      <a:cubicBezTo>
                        <a:pt x="361" y="90"/>
                        <a:pt x="361" y="90"/>
                        <a:pt x="361" y="90"/>
                      </a:cubicBezTo>
                      <a:cubicBezTo>
                        <a:pt x="358" y="89"/>
                        <a:pt x="358" y="89"/>
                        <a:pt x="358" y="89"/>
                      </a:cubicBezTo>
                      <a:cubicBezTo>
                        <a:pt x="358" y="86"/>
                        <a:pt x="358" y="86"/>
                        <a:pt x="358" y="86"/>
                      </a:cubicBezTo>
                      <a:cubicBezTo>
                        <a:pt x="358" y="86"/>
                        <a:pt x="358" y="86"/>
                        <a:pt x="358" y="86"/>
                      </a:cubicBezTo>
                      <a:cubicBezTo>
                        <a:pt x="357" y="84"/>
                        <a:pt x="357" y="84"/>
                        <a:pt x="357" y="84"/>
                      </a:cubicBezTo>
                      <a:cubicBezTo>
                        <a:pt x="355" y="82"/>
                        <a:pt x="355" y="82"/>
                        <a:pt x="355" y="82"/>
                      </a:cubicBezTo>
                      <a:cubicBezTo>
                        <a:pt x="354" y="81"/>
                        <a:pt x="354" y="81"/>
                        <a:pt x="354" y="81"/>
                      </a:cubicBezTo>
                      <a:cubicBezTo>
                        <a:pt x="353" y="82"/>
                        <a:pt x="353" y="82"/>
                        <a:pt x="353" y="82"/>
                      </a:cubicBezTo>
                      <a:cubicBezTo>
                        <a:pt x="351" y="83"/>
                        <a:pt x="351" y="83"/>
                        <a:pt x="351" y="83"/>
                      </a:cubicBezTo>
                      <a:cubicBezTo>
                        <a:pt x="349" y="82"/>
                        <a:pt x="349" y="82"/>
                        <a:pt x="349" y="82"/>
                      </a:cubicBezTo>
                      <a:cubicBezTo>
                        <a:pt x="350" y="81"/>
                        <a:pt x="350" y="81"/>
                        <a:pt x="350" y="81"/>
                      </a:cubicBezTo>
                      <a:cubicBezTo>
                        <a:pt x="352" y="80"/>
                        <a:pt x="352" y="80"/>
                        <a:pt x="352" y="80"/>
                      </a:cubicBezTo>
                      <a:cubicBezTo>
                        <a:pt x="352" y="78"/>
                        <a:pt x="352" y="78"/>
                        <a:pt x="352" y="78"/>
                      </a:cubicBezTo>
                      <a:cubicBezTo>
                        <a:pt x="351" y="77"/>
                        <a:pt x="351" y="77"/>
                        <a:pt x="351" y="77"/>
                      </a:cubicBezTo>
                      <a:cubicBezTo>
                        <a:pt x="353" y="76"/>
                        <a:pt x="353" y="76"/>
                        <a:pt x="353" y="76"/>
                      </a:cubicBezTo>
                      <a:cubicBezTo>
                        <a:pt x="355" y="76"/>
                        <a:pt x="355" y="76"/>
                        <a:pt x="355" y="76"/>
                      </a:cubicBezTo>
                      <a:cubicBezTo>
                        <a:pt x="357" y="74"/>
                        <a:pt x="357" y="74"/>
                        <a:pt x="357" y="74"/>
                      </a:cubicBezTo>
                      <a:cubicBezTo>
                        <a:pt x="358" y="74"/>
                        <a:pt x="358" y="74"/>
                        <a:pt x="358" y="74"/>
                      </a:cubicBezTo>
                      <a:cubicBezTo>
                        <a:pt x="361" y="72"/>
                        <a:pt x="361" y="72"/>
                        <a:pt x="361" y="72"/>
                      </a:cubicBezTo>
                      <a:cubicBezTo>
                        <a:pt x="362" y="71"/>
                        <a:pt x="362" y="71"/>
                        <a:pt x="362" y="71"/>
                      </a:cubicBezTo>
                      <a:cubicBezTo>
                        <a:pt x="365" y="71"/>
                        <a:pt x="365" y="71"/>
                        <a:pt x="365" y="71"/>
                      </a:cubicBezTo>
                      <a:cubicBezTo>
                        <a:pt x="370" y="73"/>
                        <a:pt x="370" y="73"/>
                        <a:pt x="370" y="73"/>
                      </a:cubicBezTo>
                      <a:cubicBezTo>
                        <a:pt x="373" y="75"/>
                        <a:pt x="373" y="75"/>
                        <a:pt x="373" y="75"/>
                      </a:cubicBezTo>
                      <a:cubicBezTo>
                        <a:pt x="376" y="75"/>
                        <a:pt x="376" y="75"/>
                        <a:pt x="376" y="75"/>
                      </a:cubicBezTo>
                      <a:cubicBezTo>
                        <a:pt x="379" y="75"/>
                        <a:pt x="379" y="75"/>
                        <a:pt x="379" y="75"/>
                      </a:cubicBezTo>
                      <a:cubicBezTo>
                        <a:pt x="380" y="76"/>
                        <a:pt x="380" y="76"/>
                        <a:pt x="380" y="76"/>
                      </a:cubicBezTo>
                      <a:cubicBezTo>
                        <a:pt x="379" y="77"/>
                        <a:pt x="379" y="77"/>
                        <a:pt x="379" y="77"/>
                      </a:cubicBezTo>
                      <a:cubicBezTo>
                        <a:pt x="379" y="79"/>
                        <a:pt x="379" y="79"/>
                        <a:pt x="379" y="79"/>
                      </a:cubicBezTo>
                      <a:cubicBezTo>
                        <a:pt x="381" y="81"/>
                        <a:pt x="381" y="81"/>
                        <a:pt x="381" y="81"/>
                      </a:cubicBezTo>
                      <a:cubicBezTo>
                        <a:pt x="382" y="82"/>
                        <a:pt x="382" y="82"/>
                        <a:pt x="382" y="82"/>
                      </a:cubicBezTo>
                      <a:cubicBezTo>
                        <a:pt x="380" y="84"/>
                        <a:pt x="380" y="84"/>
                        <a:pt x="380" y="84"/>
                      </a:cubicBezTo>
                      <a:cubicBezTo>
                        <a:pt x="379" y="86"/>
                        <a:pt x="379" y="86"/>
                        <a:pt x="379" y="86"/>
                      </a:cubicBezTo>
                      <a:cubicBezTo>
                        <a:pt x="380" y="89"/>
                        <a:pt x="380" y="89"/>
                        <a:pt x="380" y="89"/>
                      </a:cubicBezTo>
                      <a:cubicBezTo>
                        <a:pt x="380" y="93"/>
                        <a:pt x="380" y="93"/>
                        <a:pt x="380" y="93"/>
                      </a:cubicBezTo>
                      <a:cubicBezTo>
                        <a:pt x="381" y="95"/>
                        <a:pt x="381" y="95"/>
                        <a:pt x="381" y="95"/>
                      </a:cubicBezTo>
                      <a:cubicBezTo>
                        <a:pt x="382" y="97"/>
                        <a:pt x="382" y="97"/>
                        <a:pt x="382" y="97"/>
                      </a:cubicBezTo>
                      <a:cubicBezTo>
                        <a:pt x="383" y="97"/>
                        <a:pt x="383" y="97"/>
                        <a:pt x="383" y="97"/>
                      </a:cubicBezTo>
                      <a:cubicBezTo>
                        <a:pt x="383" y="94"/>
                        <a:pt x="383" y="94"/>
                        <a:pt x="383" y="94"/>
                      </a:cubicBezTo>
                      <a:cubicBezTo>
                        <a:pt x="384" y="93"/>
                        <a:pt x="384" y="93"/>
                        <a:pt x="384" y="93"/>
                      </a:cubicBezTo>
                      <a:cubicBezTo>
                        <a:pt x="385" y="94"/>
                        <a:pt x="385" y="94"/>
                        <a:pt x="385" y="94"/>
                      </a:cubicBezTo>
                      <a:cubicBezTo>
                        <a:pt x="385" y="96"/>
                        <a:pt x="385" y="96"/>
                        <a:pt x="385" y="96"/>
                      </a:cubicBezTo>
                      <a:cubicBezTo>
                        <a:pt x="386" y="98"/>
                        <a:pt x="386" y="98"/>
                        <a:pt x="386" y="98"/>
                      </a:cubicBezTo>
                      <a:cubicBezTo>
                        <a:pt x="386" y="98"/>
                        <a:pt x="386" y="98"/>
                        <a:pt x="386" y="98"/>
                      </a:cubicBezTo>
                      <a:cubicBezTo>
                        <a:pt x="387" y="99"/>
                        <a:pt x="387" y="99"/>
                        <a:pt x="387" y="99"/>
                      </a:cubicBezTo>
                      <a:cubicBezTo>
                        <a:pt x="389" y="101"/>
                        <a:pt x="389" y="101"/>
                        <a:pt x="389" y="101"/>
                      </a:cubicBezTo>
                      <a:cubicBezTo>
                        <a:pt x="390" y="102"/>
                        <a:pt x="390" y="102"/>
                        <a:pt x="390" y="102"/>
                      </a:cubicBezTo>
                      <a:cubicBezTo>
                        <a:pt x="392" y="102"/>
                        <a:pt x="392" y="102"/>
                        <a:pt x="392" y="102"/>
                      </a:cubicBezTo>
                      <a:cubicBezTo>
                        <a:pt x="394" y="102"/>
                        <a:pt x="394" y="102"/>
                        <a:pt x="394" y="102"/>
                      </a:cubicBezTo>
                      <a:cubicBezTo>
                        <a:pt x="394" y="100"/>
                        <a:pt x="394" y="100"/>
                        <a:pt x="394" y="100"/>
                      </a:cubicBezTo>
                      <a:cubicBezTo>
                        <a:pt x="395" y="99"/>
                        <a:pt x="395" y="99"/>
                        <a:pt x="395" y="99"/>
                      </a:cubicBezTo>
                      <a:cubicBezTo>
                        <a:pt x="396" y="99"/>
                        <a:pt x="396" y="99"/>
                        <a:pt x="396" y="99"/>
                      </a:cubicBezTo>
                      <a:cubicBezTo>
                        <a:pt x="396" y="96"/>
                        <a:pt x="396" y="96"/>
                        <a:pt x="396" y="96"/>
                      </a:cubicBezTo>
                      <a:cubicBezTo>
                        <a:pt x="397" y="94"/>
                        <a:pt x="397" y="94"/>
                        <a:pt x="397" y="94"/>
                      </a:cubicBezTo>
                      <a:cubicBezTo>
                        <a:pt x="399" y="94"/>
                        <a:pt x="399" y="94"/>
                        <a:pt x="399" y="94"/>
                      </a:cubicBezTo>
                      <a:cubicBezTo>
                        <a:pt x="401" y="93"/>
                        <a:pt x="401" y="93"/>
                        <a:pt x="401" y="93"/>
                      </a:cubicBezTo>
                      <a:cubicBezTo>
                        <a:pt x="401" y="91"/>
                        <a:pt x="401" y="91"/>
                        <a:pt x="401" y="91"/>
                      </a:cubicBezTo>
                      <a:cubicBezTo>
                        <a:pt x="402" y="90"/>
                        <a:pt x="402" y="90"/>
                        <a:pt x="402" y="90"/>
                      </a:cubicBezTo>
                      <a:cubicBezTo>
                        <a:pt x="403" y="90"/>
                        <a:pt x="403" y="90"/>
                        <a:pt x="403" y="90"/>
                      </a:cubicBezTo>
                      <a:cubicBezTo>
                        <a:pt x="404" y="90"/>
                        <a:pt x="404" y="90"/>
                        <a:pt x="404" y="90"/>
                      </a:cubicBezTo>
                      <a:cubicBezTo>
                        <a:pt x="406" y="89"/>
                        <a:pt x="406" y="89"/>
                        <a:pt x="406" y="89"/>
                      </a:cubicBezTo>
                      <a:cubicBezTo>
                        <a:pt x="409" y="89"/>
                        <a:pt x="409" y="89"/>
                        <a:pt x="409" y="89"/>
                      </a:cubicBezTo>
                      <a:cubicBezTo>
                        <a:pt x="409" y="88"/>
                        <a:pt x="409" y="88"/>
                        <a:pt x="409" y="88"/>
                      </a:cubicBezTo>
                      <a:cubicBezTo>
                        <a:pt x="408" y="86"/>
                        <a:pt x="408" y="86"/>
                        <a:pt x="408" y="86"/>
                      </a:cubicBezTo>
                      <a:cubicBezTo>
                        <a:pt x="409" y="85"/>
                        <a:pt x="409" y="85"/>
                        <a:pt x="409" y="85"/>
                      </a:cubicBezTo>
                      <a:cubicBezTo>
                        <a:pt x="413" y="82"/>
                        <a:pt x="413" y="82"/>
                        <a:pt x="413" y="82"/>
                      </a:cubicBezTo>
                      <a:cubicBezTo>
                        <a:pt x="416" y="82"/>
                        <a:pt x="416" y="82"/>
                        <a:pt x="416" y="82"/>
                      </a:cubicBezTo>
                      <a:cubicBezTo>
                        <a:pt x="417" y="84"/>
                        <a:pt x="417" y="84"/>
                        <a:pt x="417" y="84"/>
                      </a:cubicBezTo>
                      <a:cubicBezTo>
                        <a:pt x="420" y="85"/>
                        <a:pt x="420" y="85"/>
                        <a:pt x="420" y="85"/>
                      </a:cubicBezTo>
                      <a:cubicBezTo>
                        <a:pt x="424" y="86"/>
                        <a:pt x="424" y="86"/>
                        <a:pt x="424" y="86"/>
                      </a:cubicBezTo>
                      <a:cubicBezTo>
                        <a:pt x="425" y="88"/>
                        <a:pt x="425" y="88"/>
                        <a:pt x="425" y="88"/>
                      </a:cubicBezTo>
                      <a:cubicBezTo>
                        <a:pt x="427" y="88"/>
                        <a:pt x="427" y="88"/>
                        <a:pt x="427" y="88"/>
                      </a:cubicBezTo>
                      <a:cubicBezTo>
                        <a:pt x="430" y="88"/>
                        <a:pt x="430" y="88"/>
                        <a:pt x="430" y="88"/>
                      </a:cubicBezTo>
                      <a:cubicBezTo>
                        <a:pt x="435" y="91"/>
                        <a:pt x="435" y="91"/>
                        <a:pt x="435" y="91"/>
                      </a:cubicBezTo>
                      <a:cubicBezTo>
                        <a:pt x="437" y="91"/>
                        <a:pt x="437" y="91"/>
                        <a:pt x="437" y="91"/>
                      </a:cubicBezTo>
                      <a:cubicBezTo>
                        <a:pt x="438" y="91"/>
                        <a:pt x="438" y="91"/>
                        <a:pt x="438" y="91"/>
                      </a:cubicBezTo>
                      <a:cubicBezTo>
                        <a:pt x="441" y="92"/>
                        <a:pt x="441" y="92"/>
                        <a:pt x="441" y="92"/>
                      </a:cubicBezTo>
                      <a:cubicBezTo>
                        <a:pt x="442" y="91"/>
                        <a:pt x="442" y="91"/>
                        <a:pt x="442" y="91"/>
                      </a:cubicBezTo>
                      <a:cubicBezTo>
                        <a:pt x="444" y="93"/>
                        <a:pt x="444" y="93"/>
                        <a:pt x="444" y="93"/>
                      </a:cubicBezTo>
                      <a:cubicBezTo>
                        <a:pt x="444" y="93"/>
                        <a:pt x="444" y="93"/>
                        <a:pt x="444" y="93"/>
                      </a:cubicBezTo>
                      <a:cubicBezTo>
                        <a:pt x="444" y="94"/>
                        <a:pt x="444" y="94"/>
                        <a:pt x="444" y="94"/>
                      </a:cubicBezTo>
                      <a:cubicBezTo>
                        <a:pt x="445" y="95"/>
                        <a:pt x="445" y="95"/>
                        <a:pt x="445" y="95"/>
                      </a:cubicBezTo>
                      <a:cubicBezTo>
                        <a:pt x="446" y="94"/>
                        <a:pt x="446" y="94"/>
                        <a:pt x="446" y="94"/>
                      </a:cubicBezTo>
                      <a:cubicBezTo>
                        <a:pt x="447" y="94"/>
                        <a:pt x="447" y="94"/>
                        <a:pt x="447" y="94"/>
                      </a:cubicBezTo>
                      <a:close/>
                      <a:moveTo>
                        <a:pt x="331" y="67"/>
                      </a:moveTo>
                      <a:cubicBezTo>
                        <a:pt x="335" y="69"/>
                        <a:pt x="335" y="69"/>
                        <a:pt x="335" y="69"/>
                      </a:cubicBezTo>
                      <a:cubicBezTo>
                        <a:pt x="335" y="70"/>
                        <a:pt x="335" y="70"/>
                        <a:pt x="335" y="70"/>
                      </a:cubicBezTo>
                      <a:cubicBezTo>
                        <a:pt x="333" y="68"/>
                        <a:pt x="333" y="68"/>
                        <a:pt x="333" y="68"/>
                      </a:cubicBezTo>
                      <a:cubicBezTo>
                        <a:pt x="331" y="67"/>
                        <a:pt x="331" y="67"/>
                        <a:pt x="331" y="67"/>
                      </a:cubicBezTo>
                      <a:close/>
                      <a:moveTo>
                        <a:pt x="351" y="71"/>
                      </a:moveTo>
                      <a:cubicBezTo>
                        <a:pt x="352" y="71"/>
                        <a:pt x="352" y="71"/>
                        <a:pt x="352" y="71"/>
                      </a:cubicBezTo>
                      <a:cubicBezTo>
                        <a:pt x="353" y="71"/>
                        <a:pt x="353" y="71"/>
                        <a:pt x="353" y="71"/>
                      </a:cubicBezTo>
                      <a:cubicBezTo>
                        <a:pt x="353" y="69"/>
                        <a:pt x="353" y="69"/>
                        <a:pt x="353" y="69"/>
                      </a:cubicBezTo>
                      <a:cubicBezTo>
                        <a:pt x="351" y="68"/>
                        <a:pt x="351" y="68"/>
                        <a:pt x="351" y="68"/>
                      </a:cubicBezTo>
                      <a:cubicBezTo>
                        <a:pt x="347" y="68"/>
                        <a:pt x="347" y="68"/>
                        <a:pt x="347" y="68"/>
                      </a:cubicBezTo>
                      <a:cubicBezTo>
                        <a:pt x="346" y="69"/>
                        <a:pt x="346" y="69"/>
                        <a:pt x="346" y="69"/>
                      </a:cubicBezTo>
                      <a:cubicBezTo>
                        <a:pt x="344" y="69"/>
                        <a:pt x="344" y="69"/>
                        <a:pt x="344" y="69"/>
                      </a:cubicBezTo>
                      <a:cubicBezTo>
                        <a:pt x="343" y="70"/>
                        <a:pt x="343" y="70"/>
                        <a:pt x="343" y="70"/>
                      </a:cubicBezTo>
                      <a:cubicBezTo>
                        <a:pt x="344" y="70"/>
                        <a:pt x="344" y="70"/>
                        <a:pt x="344" y="70"/>
                      </a:cubicBezTo>
                      <a:cubicBezTo>
                        <a:pt x="343" y="71"/>
                        <a:pt x="343" y="71"/>
                        <a:pt x="343" y="71"/>
                      </a:cubicBezTo>
                      <a:cubicBezTo>
                        <a:pt x="346" y="71"/>
                        <a:pt x="346" y="71"/>
                        <a:pt x="346" y="71"/>
                      </a:cubicBezTo>
                      <a:cubicBezTo>
                        <a:pt x="347" y="72"/>
                        <a:pt x="347" y="72"/>
                        <a:pt x="347" y="72"/>
                      </a:cubicBezTo>
                      <a:cubicBezTo>
                        <a:pt x="349" y="72"/>
                        <a:pt x="349" y="72"/>
                        <a:pt x="349" y="72"/>
                      </a:cubicBezTo>
                      <a:cubicBezTo>
                        <a:pt x="349" y="71"/>
                        <a:pt x="349" y="71"/>
                        <a:pt x="349" y="71"/>
                      </a:cubicBezTo>
                      <a:cubicBezTo>
                        <a:pt x="347" y="70"/>
                        <a:pt x="347" y="70"/>
                        <a:pt x="347" y="70"/>
                      </a:cubicBezTo>
                      <a:cubicBezTo>
                        <a:pt x="347" y="70"/>
                        <a:pt x="347" y="70"/>
                        <a:pt x="347" y="70"/>
                      </a:cubicBezTo>
                      <a:cubicBezTo>
                        <a:pt x="348" y="69"/>
                        <a:pt x="348" y="69"/>
                        <a:pt x="348" y="69"/>
                      </a:cubicBezTo>
                      <a:cubicBezTo>
                        <a:pt x="351" y="71"/>
                        <a:pt x="351" y="71"/>
                        <a:pt x="351" y="71"/>
                      </a:cubicBezTo>
                      <a:close/>
                      <a:moveTo>
                        <a:pt x="347" y="77"/>
                      </a:moveTo>
                      <a:cubicBezTo>
                        <a:pt x="345" y="76"/>
                        <a:pt x="345" y="76"/>
                        <a:pt x="345" y="76"/>
                      </a:cubicBezTo>
                      <a:cubicBezTo>
                        <a:pt x="344" y="76"/>
                        <a:pt x="344" y="76"/>
                        <a:pt x="344" y="76"/>
                      </a:cubicBezTo>
                      <a:cubicBezTo>
                        <a:pt x="345" y="77"/>
                        <a:pt x="345" y="77"/>
                        <a:pt x="345" y="77"/>
                      </a:cubicBezTo>
                      <a:cubicBezTo>
                        <a:pt x="347" y="77"/>
                        <a:pt x="347" y="77"/>
                        <a:pt x="347" y="77"/>
                      </a:cubicBezTo>
                      <a:close/>
                      <a:moveTo>
                        <a:pt x="349" y="75"/>
                      </a:moveTo>
                      <a:cubicBezTo>
                        <a:pt x="348" y="77"/>
                        <a:pt x="348" y="77"/>
                        <a:pt x="348" y="77"/>
                      </a:cubicBezTo>
                      <a:cubicBezTo>
                        <a:pt x="347" y="76"/>
                        <a:pt x="347" y="76"/>
                        <a:pt x="347" y="76"/>
                      </a:cubicBezTo>
                      <a:cubicBezTo>
                        <a:pt x="349" y="75"/>
                        <a:pt x="349" y="75"/>
                        <a:pt x="349" y="75"/>
                      </a:cubicBezTo>
                      <a:close/>
                      <a:moveTo>
                        <a:pt x="348" y="77"/>
                      </a:moveTo>
                      <a:cubicBezTo>
                        <a:pt x="346" y="78"/>
                        <a:pt x="346" y="78"/>
                        <a:pt x="346" y="78"/>
                      </a:cubicBezTo>
                      <a:cubicBezTo>
                        <a:pt x="347" y="81"/>
                        <a:pt x="347" y="81"/>
                        <a:pt x="347" y="81"/>
                      </a:cubicBezTo>
                      <a:cubicBezTo>
                        <a:pt x="349" y="81"/>
                        <a:pt x="349" y="81"/>
                        <a:pt x="349" y="81"/>
                      </a:cubicBezTo>
                      <a:cubicBezTo>
                        <a:pt x="349" y="81"/>
                        <a:pt x="349" y="81"/>
                        <a:pt x="349" y="81"/>
                      </a:cubicBezTo>
                      <a:cubicBezTo>
                        <a:pt x="350" y="77"/>
                        <a:pt x="350" y="77"/>
                        <a:pt x="350" y="77"/>
                      </a:cubicBezTo>
                      <a:cubicBezTo>
                        <a:pt x="348" y="77"/>
                        <a:pt x="348" y="77"/>
                        <a:pt x="348" y="77"/>
                      </a:cubicBezTo>
                      <a:close/>
                      <a:moveTo>
                        <a:pt x="294" y="29"/>
                      </a:moveTo>
                      <a:cubicBezTo>
                        <a:pt x="296" y="31"/>
                        <a:pt x="296" y="31"/>
                        <a:pt x="296" y="31"/>
                      </a:cubicBezTo>
                      <a:cubicBezTo>
                        <a:pt x="297" y="33"/>
                        <a:pt x="297" y="33"/>
                        <a:pt x="297" y="33"/>
                      </a:cubicBezTo>
                      <a:cubicBezTo>
                        <a:pt x="296" y="34"/>
                        <a:pt x="296" y="34"/>
                        <a:pt x="296" y="34"/>
                      </a:cubicBezTo>
                      <a:cubicBezTo>
                        <a:pt x="294" y="32"/>
                        <a:pt x="294" y="32"/>
                        <a:pt x="294" y="32"/>
                      </a:cubicBezTo>
                      <a:cubicBezTo>
                        <a:pt x="294" y="30"/>
                        <a:pt x="294" y="30"/>
                        <a:pt x="294" y="30"/>
                      </a:cubicBezTo>
                      <a:cubicBezTo>
                        <a:pt x="294" y="29"/>
                        <a:pt x="294" y="29"/>
                        <a:pt x="294" y="29"/>
                      </a:cubicBezTo>
                      <a:close/>
                      <a:moveTo>
                        <a:pt x="306" y="21"/>
                      </a:moveTo>
                      <a:cubicBezTo>
                        <a:pt x="307" y="24"/>
                        <a:pt x="307" y="24"/>
                        <a:pt x="307" y="24"/>
                      </a:cubicBezTo>
                      <a:cubicBezTo>
                        <a:pt x="307" y="26"/>
                        <a:pt x="307" y="26"/>
                        <a:pt x="307" y="26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09" y="23"/>
                        <a:pt x="309" y="23"/>
                        <a:pt x="309" y="23"/>
                      </a:cubicBezTo>
                      <a:cubicBezTo>
                        <a:pt x="308" y="22"/>
                        <a:pt x="308" y="22"/>
                        <a:pt x="308" y="22"/>
                      </a:cubicBezTo>
                      <a:cubicBezTo>
                        <a:pt x="307" y="21"/>
                        <a:pt x="307" y="21"/>
                        <a:pt x="307" y="21"/>
                      </a:cubicBezTo>
                      <a:cubicBezTo>
                        <a:pt x="306" y="21"/>
                        <a:pt x="306" y="21"/>
                        <a:pt x="306" y="21"/>
                      </a:cubicBezTo>
                      <a:close/>
                      <a:moveTo>
                        <a:pt x="306" y="26"/>
                      </a:moveTo>
                      <a:cubicBezTo>
                        <a:pt x="307" y="26"/>
                        <a:pt x="307" y="26"/>
                        <a:pt x="307" y="26"/>
                      </a:cubicBezTo>
                      <a:cubicBezTo>
                        <a:pt x="308" y="28"/>
                        <a:pt x="308" y="28"/>
                        <a:pt x="308" y="28"/>
                      </a:cubicBezTo>
                      <a:cubicBezTo>
                        <a:pt x="307" y="28"/>
                        <a:pt x="307" y="28"/>
                        <a:pt x="307" y="28"/>
                      </a:cubicBezTo>
                      <a:cubicBezTo>
                        <a:pt x="307" y="28"/>
                        <a:pt x="306" y="26"/>
                        <a:pt x="306" y="26"/>
                      </a:cubicBezTo>
                      <a:close/>
                      <a:moveTo>
                        <a:pt x="322" y="45"/>
                      </a:moveTo>
                      <a:cubicBezTo>
                        <a:pt x="322" y="48"/>
                        <a:pt x="322" y="48"/>
                        <a:pt x="322" y="48"/>
                      </a:cubicBezTo>
                      <a:cubicBezTo>
                        <a:pt x="323" y="47"/>
                        <a:pt x="323" y="47"/>
                        <a:pt x="323" y="47"/>
                      </a:cubicBezTo>
                      <a:cubicBezTo>
                        <a:pt x="325" y="47"/>
                        <a:pt x="325" y="47"/>
                        <a:pt x="325" y="47"/>
                      </a:cubicBezTo>
                      <a:cubicBezTo>
                        <a:pt x="326" y="45"/>
                        <a:pt x="326" y="45"/>
                        <a:pt x="326" y="45"/>
                      </a:cubicBezTo>
                      <a:cubicBezTo>
                        <a:pt x="326" y="44"/>
                        <a:pt x="326" y="44"/>
                        <a:pt x="326" y="44"/>
                      </a:cubicBezTo>
                      <a:cubicBezTo>
                        <a:pt x="324" y="43"/>
                        <a:pt x="324" y="43"/>
                        <a:pt x="324" y="43"/>
                      </a:cubicBezTo>
                      <a:cubicBezTo>
                        <a:pt x="323" y="44"/>
                        <a:pt x="323" y="44"/>
                        <a:pt x="323" y="44"/>
                      </a:cubicBezTo>
                      <a:cubicBezTo>
                        <a:pt x="322" y="45"/>
                        <a:pt x="322" y="45"/>
                        <a:pt x="322" y="45"/>
                      </a:cubicBezTo>
                      <a:close/>
                      <a:moveTo>
                        <a:pt x="320" y="71"/>
                      </a:moveTo>
                      <a:cubicBezTo>
                        <a:pt x="321" y="74"/>
                        <a:pt x="321" y="74"/>
                        <a:pt x="321" y="74"/>
                      </a:cubicBezTo>
                      <a:cubicBezTo>
                        <a:pt x="323" y="76"/>
                        <a:pt x="323" y="76"/>
                        <a:pt x="323" y="76"/>
                      </a:cubicBezTo>
                      <a:cubicBezTo>
                        <a:pt x="324" y="77"/>
                        <a:pt x="324" y="77"/>
                        <a:pt x="324" y="77"/>
                      </a:cubicBezTo>
                      <a:cubicBezTo>
                        <a:pt x="323" y="77"/>
                        <a:pt x="323" y="77"/>
                        <a:pt x="323" y="77"/>
                      </a:cubicBezTo>
                      <a:cubicBezTo>
                        <a:pt x="323" y="79"/>
                        <a:pt x="323" y="79"/>
                        <a:pt x="323" y="79"/>
                      </a:cubicBezTo>
                      <a:cubicBezTo>
                        <a:pt x="322" y="77"/>
                        <a:pt x="322" y="77"/>
                        <a:pt x="322" y="77"/>
                      </a:cubicBezTo>
                      <a:cubicBezTo>
                        <a:pt x="321" y="76"/>
                        <a:pt x="321" y="76"/>
                        <a:pt x="321" y="76"/>
                      </a:cubicBezTo>
                      <a:cubicBezTo>
                        <a:pt x="319" y="73"/>
                        <a:pt x="319" y="73"/>
                        <a:pt x="319" y="73"/>
                      </a:cubicBezTo>
                      <a:cubicBezTo>
                        <a:pt x="317" y="72"/>
                        <a:pt x="317" y="72"/>
                        <a:pt x="317" y="72"/>
                      </a:cubicBezTo>
                      <a:cubicBezTo>
                        <a:pt x="316" y="70"/>
                        <a:pt x="316" y="70"/>
                        <a:pt x="316" y="70"/>
                      </a:cubicBezTo>
                      <a:cubicBezTo>
                        <a:pt x="317" y="67"/>
                        <a:pt x="317" y="67"/>
                        <a:pt x="317" y="67"/>
                      </a:cubicBezTo>
                      <a:cubicBezTo>
                        <a:pt x="316" y="66"/>
                        <a:pt x="316" y="66"/>
                        <a:pt x="316" y="66"/>
                      </a:cubicBezTo>
                      <a:cubicBezTo>
                        <a:pt x="317" y="65"/>
                        <a:pt x="317" y="65"/>
                        <a:pt x="317" y="65"/>
                      </a:cubicBezTo>
                      <a:cubicBezTo>
                        <a:pt x="315" y="64"/>
                        <a:pt x="315" y="64"/>
                        <a:pt x="315" y="64"/>
                      </a:cubicBezTo>
                      <a:cubicBezTo>
                        <a:pt x="315" y="62"/>
                        <a:pt x="315" y="62"/>
                        <a:pt x="315" y="62"/>
                      </a:cubicBezTo>
                      <a:cubicBezTo>
                        <a:pt x="316" y="60"/>
                        <a:pt x="316" y="60"/>
                        <a:pt x="316" y="60"/>
                      </a:cubicBezTo>
                      <a:cubicBezTo>
                        <a:pt x="315" y="58"/>
                        <a:pt x="315" y="58"/>
                        <a:pt x="315" y="58"/>
                      </a:cubicBezTo>
                      <a:cubicBezTo>
                        <a:pt x="314" y="57"/>
                        <a:pt x="314" y="57"/>
                        <a:pt x="314" y="57"/>
                      </a:cubicBezTo>
                      <a:cubicBezTo>
                        <a:pt x="314" y="54"/>
                        <a:pt x="314" y="54"/>
                        <a:pt x="314" y="54"/>
                      </a:cubicBezTo>
                      <a:cubicBezTo>
                        <a:pt x="316" y="53"/>
                        <a:pt x="316" y="53"/>
                        <a:pt x="316" y="53"/>
                      </a:cubicBezTo>
                      <a:cubicBezTo>
                        <a:pt x="315" y="51"/>
                        <a:pt x="315" y="51"/>
                        <a:pt x="315" y="51"/>
                      </a:cubicBezTo>
                      <a:cubicBezTo>
                        <a:pt x="316" y="48"/>
                        <a:pt x="316" y="48"/>
                        <a:pt x="316" y="48"/>
                      </a:cubicBezTo>
                      <a:cubicBezTo>
                        <a:pt x="319" y="45"/>
                        <a:pt x="319" y="45"/>
                        <a:pt x="319" y="45"/>
                      </a:cubicBezTo>
                      <a:cubicBezTo>
                        <a:pt x="320" y="45"/>
                        <a:pt x="320" y="45"/>
                        <a:pt x="320" y="45"/>
                      </a:cubicBezTo>
                      <a:cubicBezTo>
                        <a:pt x="320" y="46"/>
                        <a:pt x="320" y="46"/>
                        <a:pt x="320" y="46"/>
                      </a:cubicBezTo>
                      <a:cubicBezTo>
                        <a:pt x="318" y="48"/>
                        <a:pt x="318" y="48"/>
                        <a:pt x="318" y="48"/>
                      </a:cubicBezTo>
                      <a:cubicBezTo>
                        <a:pt x="319" y="49"/>
                        <a:pt x="319" y="49"/>
                        <a:pt x="319" y="49"/>
                      </a:cubicBezTo>
                      <a:cubicBezTo>
                        <a:pt x="320" y="50"/>
                        <a:pt x="320" y="50"/>
                        <a:pt x="320" y="50"/>
                      </a:cubicBezTo>
                      <a:cubicBezTo>
                        <a:pt x="320" y="53"/>
                        <a:pt x="320" y="53"/>
                        <a:pt x="320" y="53"/>
                      </a:cubicBezTo>
                      <a:cubicBezTo>
                        <a:pt x="320" y="55"/>
                        <a:pt x="320" y="55"/>
                        <a:pt x="320" y="55"/>
                      </a:cubicBezTo>
                      <a:cubicBezTo>
                        <a:pt x="318" y="56"/>
                        <a:pt x="318" y="56"/>
                        <a:pt x="318" y="56"/>
                      </a:cubicBezTo>
                      <a:cubicBezTo>
                        <a:pt x="317" y="57"/>
                        <a:pt x="317" y="57"/>
                        <a:pt x="317" y="57"/>
                      </a:cubicBezTo>
                      <a:cubicBezTo>
                        <a:pt x="317" y="59"/>
                        <a:pt x="317" y="59"/>
                        <a:pt x="317" y="59"/>
                      </a:cubicBezTo>
                      <a:cubicBezTo>
                        <a:pt x="319" y="58"/>
                        <a:pt x="319" y="58"/>
                        <a:pt x="319" y="58"/>
                      </a:cubicBezTo>
                      <a:cubicBezTo>
                        <a:pt x="319" y="57"/>
                        <a:pt x="319" y="57"/>
                        <a:pt x="319" y="57"/>
                      </a:cubicBezTo>
                      <a:cubicBezTo>
                        <a:pt x="321" y="56"/>
                        <a:pt x="321" y="56"/>
                        <a:pt x="321" y="56"/>
                      </a:cubicBezTo>
                      <a:cubicBezTo>
                        <a:pt x="322" y="55"/>
                        <a:pt x="322" y="55"/>
                        <a:pt x="322" y="55"/>
                      </a:cubicBezTo>
                      <a:cubicBezTo>
                        <a:pt x="321" y="55"/>
                        <a:pt x="321" y="55"/>
                        <a:pt x="321" y="55"/>
                      </a:cubicBezTo>
                      <a:cubicBezTo>
                        <a:pt x="321" y="54"/>
                        <a:pt x="321" y="54"/>
                        <a:pt x="321" y="54"/>
                      </a:cubicBezTo>
                      <a:cubicBezTo>
                        <a:pt x="324" y="52"/>
                        <a:pt x="324" y="52"/>
                        <a:pt x="324" y="52"/>
                      </a:cubicBezTo>
                      <a:cubicBezTo>
                        <a:pt x="327" y="51"/>
                        <a:pt x="327" y="51"/>
                        <a:pt x="327" y="51"/>
                      </a:cubicBezTo>
                      <a:cubicBezTo>
                        <a:pt x="328" y="52"/>
                        <a:pt x="328" y="52"/>
                        <a:pt x="328" y="52"/>
                      </a:cubicBezTo>
                      <a:cubicBezTo>
                        <a:pt x="328" y="54"/>
                        <a:pt x="328" y="54"/>
                        <a:pt x="328" y="54"/>
                      </a:cubicBezTo>
                      <a:cubicBezTo>
                        <a:pt x="327" y="57"/>
                        <a:pt x="327" y="57"/>
                        <a:pt x="327" y="57"/>
                      </a:cubicBezTo>
                      <a:cubicBezTo>
                        <a:pt x="323" y="58"/>
                        <a:pt x="323" y="58"/>
                        <a:pt x="323" y="58"/>
                      </a:cubicBezTo>
                      <a:cubicBezTo>
                        <a:pt x="322" y="60"/>
                        <a:pt x="322" y="60"/>
                        <a:pt x="322" y="60"/>
                      </a:cubicBezTo>
                      <a:cubicBezTo>
                        <a:pt x="323" y="61"/>
                        <a:pt x="323" y="61"/>
                        <a:pt x="323" y="61"/>
                      </a:cubicBezTo>
                      <a:cubicBezTo>
                        <a:pt x="324" y="61"/>
                        <a:pt x="324" y="61"/>
                        <a:pt x="324" y="61"/>
                      </a:cubicBezTo>
                      <a:cubicBezTo>
                        <a:pt x="326" y="63"/>
                        <a:pt x="326" y="63"/>
                        <a:pt x="326" y="63"/>
                      </a:cubicBezTo>
                      <a:cubicBezTo>
                        <a:pt x="327" y="65"/>
                        <a:pt x="327" y="65"/>
                        <a:pt x="327" y="65"/>
                      </a:cubicBezTo>
                      <a:cubicBezTo>
                        <a:pt x="328" y="65"/>
                        <a:pt x="328" y="65"/>
                        <a:pt x="328" y="65"/>
                      </a:cubicBezTo>
                      <a:cubicBezTo>
                        <a:pt x="326" y="65"/>
                        <a:pt x="326" y="65"/>
                        <a:pt x="326" y="65"/>
                      </a:cubicBezTo>
                      <a:cubicBezTo>
                        <a:pt x="325" y="64"/>
                        <a:pt x="325" y="64"/>
                        <a:pt x="325" y="64"/>
                      </a:cubicBezTo>
                      <a:cubicBezTo>
                        <a:pt x="322" y="64"/>
                        <a:pt x="322" y="64"/>
                        <a:pt x="322" y="64"/>
                      </a:cubicBezTo>
                      <a:cubicBezTo>
                        <a:pt x="320" y="64"/>
                        <a:pt x="320" y="64"/>
                        <a:pt x="320" y="64"/>
                      </a:cubicBezTo>
                      <a:cubicBezTo>
                        <a:pt x="318" y="64"/>
                        <a:pt x="318" y="64"/>
                        <a:pt x="318" y="64"/>
                      </a:cubicBezTo>
                      <a:cubicBezTo>
                        <a:pt x="318" y="68"/>
                        <a:pt x="318" y="68"/>
                        <a:pt x="318" y="68"/>
                      </a:cubicBezTo>
                      <a:cubicBezTo>
                        <a:pt x="320" y="71"/>
                        <a:pt x="320" y="71"/>
                        <a:pt x="320" y="71"/>
                      </a:cubicBezTo>
                      <a:close/>
                      <a:moveTo>
                        <a:pt x="312" y="75"/>
                      </a:moveTo>
                      <a:cubicBezTo>
                        <a:pt x="313" y="77"/>
                        <a:pt x="313" y="77"/>
                        <a:pt x="313" y="77"/>
                      </a:cubicBezTo>
                      <a:cubicBezTo>
                        <a:pt x="311" y="76"/>
                        <a:pt x="311" y="76"/>
                        <a:pt x="311" y="76"/>
                      </a:cubicBezTo>
                      <a:cubicBezTo>
                        <a:pt x="312" y="75"/>
                        <a:pt x="312" y="75"/>
                        <a:pt x="312" y="75"/>
                      </a:cubicBezTo>
                      <a:cubicBezTo>
                        <a:pt x="312" y="75"/>
                        <a:pt x="312" y="75"/>
                        <a:pt x="312" y="75"/>
                      </a:cubicBezTo>
                      <a:close/>
                      <a:moveTo>
                        <a:pt x="312" y="72"/>
                      </a:moveTo>
                      <a:cubicBezTo>
                        <a:pt x="311" y="71"/>
                        <a:pt x="311" y="71"/>
                        <a:pt x="311" y="71"/>
                      </a:cubicBezTo>
                      <a:cubicBezTo>
                        <a:pt x="310" y="73"/>
                        <a:pt x="310" y="73"/>
                        <a:pt x="310" y="73"/>
                      </a:cubicBezTo>
                      <a:cubicBezTo>
                        <a:pt x="312" y="74"/>
                        <a:pt x="312" y="74"/>
                        <a:pt x="312" y="74"/>
                      </a:cubicBezTo>
                      <a:cubicBezTo>
                        <a:pt x="312" y="73"/>
                        <a:pt x="312" y="73"/>
                        <a:pt x="312" y="73"/>
                      </a:cubicBezTo>
                      <a:cubicBezTo>
                        <a:pt x="312" y="72"/>
                        <a:pt x="312" y="72"/>
                        <a:pt x="312" y="72"/>
                      </a:cubicBezTo>
                      <a:close/>
                      <a:moveTo>
                        <a:pt x="314" y="73"/>
                      </a:moveTo>
                      <a:cubicBezTo>
                        <a:pt x="313" y="73"/>
                        <a:pt x="313" y="73"/>
                        <a:pt x="313" y="73"/>
                      </a:cubicBezTo>
                      <a:cubicBezTo>
                        <a:pt x="313" y="74"/>
                        <a:pt x="313" y="74"/>
                        <a:pt x="313" y="74"/>
                      </a:cubicBezTo>
                      <a:cubicBezTo>
                        <a:pt x="314" y="76"/>
                        <a:pt x="314" y="76"/>
                        <a:pt x="314" y="76"/>
                      </a:cubicBezTo>
                      <a:cubicBezTo>
                        <a:pt x="316" y="76"/>
                        <a:pt x="316" y="76"/>
                        <a:pt x="316" y="76"/>
                      </a:cubicBezTo>
                      <a:cubicBezTo>
                        <a:pt x="317" y="77"/>
                        <a:pt x="317" y="77"/>
                        <a:pt x="317" y="77"/>
                      </a:cubicBezTo>
                      <a:cubicBezTo>
                        <a:pt x="318" y="76"/>
                        <a:pt x="318" y="76"/>
                        <a:pt x="318" y="76"/>
                      </a:cubicBezTo>
                      <a:cubicBezTo>
                        <a:pt x="317" y="75"/>
                        <a:pt x="317" y="75"/>
                        <a:pt x="317" y="75"/>
                      </a:cubicBezTo>
                      <a:cubicBezTo>
                        <a:pt x="316" y="75"/>
                        <a:pt x="316" y="75"/>
                        <a:pt x="316" y="75"/>
                      </a:cubicBezTo>
                      <a:cubicBezTo>
                        <a:pt x="316" y="73"/>
                        <a:pt x="316" y="73"/>
                        <a:pt x="316" y="73"/>
                      </a:cubicBezTo>
                      <a:cubicBezTo>
                        <a:pt x="315" y="72"/>
                        <a:pt x="315" y="72"/>
                        <a:pt x="315" y="72"/>
                      </a:cubicBezTo>
                      <a:cubicBezTo>
                        <a:pt x="314" y="73"/>
                        <a:pt x="314" y="73"/>
                        <a:pt x="314" y="73"/>
                      </a:cubicBezTo>
                      <a:close/>
                      <a:moveTo>
                        <a:pt x="313" y="84"/>
                      </a:moveTo>
                      <a:cubicBezTo>
                        <a:pt x="316" y="82"/>
                        <a:pt x="316" y="82"/>
                        <a:pt x="316" y="82"/>
                      </a:cubicBezTo>
                      <a:cubicBezTo>
                        <a:pt x="318" y="82"/>
                        <a:pt x="318" y="82"/>
                        <a:pt x="318" y="82"/>
                      </a:cubicBezTo>
                      <a:cubicBezTo>
                        <a:pt x="321" y="85"/>
                        <a:pt x="321" y="85"/>
                        <a:pt x="321" y="85"/>
                      </a:cubicBezTo>
                      <a:cubicBezTo>
                        <a:pt x="320" y="86"/>
                        <a:pt x="320" y="86"/>
                        <a:pt x="320" y="86"/>
                      </a:cubicBezTo>
                      <a:cubicBezTo>
                        <a:pt x="319" y="86"/>
                        <a:pt x="319" y="86"/>
                        <a:pt x="319" y="86"/>
                      </a:cubicBezTo>
                      <a:cubicBezTo>
                        <a:pt x="317" y="86"/>
                        <a:pt x="317" y="86"/>
                        <a:pt x="317" y="86"/>
                      </a:cubicBezTo>
                      <a:cubicBezTo>
                        <a:pt x="316" y="86"/>
                        <a:pt x="316" y="86"/>
                        <a:pt x="316" y="86"/>
                      </a:cubicBezTo>
                      <a:cubicBezTo>
                        <a:pt x="315" y="85"/>
                        <a:pt x="315" y="85"/>
                        <a:pt x="315" y="85"/>
                      </a:cubicBezTo>
                      <a:cubicBezTo>
                        <a:pt x="313" y="84"/>
                        <a:pt x="313" y="84"/>
                        <a:pt x="313" y="84"/>
                      </a:cubicBezTo>
                      <a:close/>
                      <a:moveTo>
                        <a:pt x="341" y="85"/>
                      </a:moveTo>
                      <a:cubicBezTo>
                        <a:pt x="338" y="86"/>
                        <a:pt x="338" y="86"/>
                        <a:pt x="338" y="86"/>
                      </a:cubicBezTo>
                      <a:cubicBezTo>
                        <a:pt x="337" y="87"/>
                        <a:pt x="337" y="87"/>
                        <a:pt x="337" y="87"/>
                      </a:cubicBezTo>
                      <a:cubicBezTo>
                        <a:pt x="337" y="88"/>
                        <a:pt x="337" y="88"/>
                        <a:pt x="337" y="88"/>
                      </a:cubicBezTo>
                      <a:cubicBezTo>
                        <a:pt x="340" y="89"/>
                        <a:pt x="340" y="89"/>
                        <a:pt x="340" y="89"/>
                      </a:cubicBezTo>
                      <a:cubicBezTo>
                        <a:pt x="343" y="88"/>
                        <a:pt x="343" y="88"/>
                        <a:pt x="343" y="88"/>
                      </a:cubicBezTo>
                      <a:cubicBezTo>
                        <a:pt x="342" y="87"/>
                        <a:pt x="342" y="87"/>
                        <a:pt x="342" y="87"/>
                      </a:cubicBezTo>
                      <a:cubicBezTo>
                        <a:pt x="342" y="86"/>
                        <a:pt x="342" y="86"/>
                        <a:pt x="342" y="86"/>
                      </a:cubicBezTo>
                      <a:cubicBezTo>
                        <a:pt x="341" y="85"/>
                        <a:pt x="341" y="85"/>
                        <a:pt x="341" y="85"/>
                      </a:cubicBezTo>
                      <a:close/>
                      <a:moveTo>
                        <a:pt x="325" y="104"/>
                      </a:moveTo>
                      <a:cubicBezTo>
                        <a:pt x="326" y="104"/>
                        <a:pt x="326" y="104"/>
                        <a:pt x="326" y="104"/>
                      </a:cubicBezTo>
                      <a:cubicBezTo>
                        <a:pt x="326" y="105"/>
                        <a:pt x="326" y="105"/>
                        <a:pt x="326" y="105"/>
                      </a:cubicBezTo>
                      <a:cubicBezTo>
                        <a:pt x="325" y="105"/>
                        <a:pt x="325" y="105"/>
                        <a:pt x="325" y="105"/>
                      </a:cubicBezTo>
                      <a:cubicBezTo>
                        <a:pt x="325" y="104"/>
                        <a:pt x="325" y="104"/>
                        <a:pt x="325" y="104"/>
                      </a:cubicBezTo>
                      <a:close/>
                      <a:moveTo>
                        <a:pt x="323" y="105"/>
                      </a:moveTo>
                      <a:cubicBezTo>
                        <a:pt x="324" y="105"/>
                        <a:pt x="324" y="105"/>
                        <a:pt x="324" y="105"/>
                      </a:cubicBezTo>
                      <a:cubicBezTo>
                        <a:pt x="324" y="105"/>
                        <a:pt x="324" y="105"/>
                        <a:pt x="324" y="105"/>
                      </a:cubicBezTo>
                      <a:cubicBezTo>
                        <a:pt x="323" y="105"/>
                        <a:pt x="323" y="105"/>
                        <a:pt x="323" y="105"/>
                      </a:cubicBezTo>
                      <a:cubicBezTo>
                        <a:pt x="323" y="105"/>
                        <a:pt x="323" y="105"/>
                        <a:pt x="323" y="105"/>
                      </a:cubicBezTo>
                      <a:close/>
                      <a:moveTo>
                        <a:pt x="318" y="106"/>
                      </a:moveTo>
                      <a:cubicBezTo>
                        <a:pt x="320" y="105"/>
                        <a:pt x="320" y="105"/>
                        <a:pt x="320" y="105"/>
                      </a:cubicBezTo>
                      <a:cubicBezTo>
                        <a:pt x="321" y="104"/>
                        <a:pt x="321" y="104"/>
                        <a:pt x="321" y="104"/>
                      </a:cubicBezTo>
                      <a:cubicBezTo>
                        <a:pt x="322" y="105"/>
                        <a:pt x="322" y="105"/>
                        <a:pt x="322" y="105"/>
                      </a:cubicBezTo>
                      <a:cubicBezTo>
                        <a:pt x="321" y="107"/>
                        <a:pt x="321" y="107"/>
                        <a:pt x="321" y="107"/>
                      </a:cubicBezTo>
                      <a:cubicBezTo>
                        <a:pt x="321" y="106"/>
                        <a:pt x="321" y="106"/>
                        <a:pt x="321" y="106"/>
                      </a:cubicBezTo>
                      <a:cubicBezTo>
                        <a:pt x="319" y="107"/>
                        <a:pt x="319" y="107"/>
                        <a:pt x="319" y="107"/>
                      </a:cubicBezTo>
                      <a:cubicBezTo>
                        <a:pt x="318" y="106"/>
                        <a:pt x="318" y="106"/>
                        <a:pt x="318" y="106"/>
                      </a:cubicBezTo>
                      <a:close/>
                      <a:moveTo>
                        <a:pt x="317" y="99"/>
                      </a:moveTo>
                      <a:cubicBezTo>
                        <a:pt x="316" y="101"/>
                        <a:pt x="316" y="101"/>
                        <a:pt x="316" y="101"/>
                      </a:cubicBezTo>
                      <a:cubicBezTo>
                        <a:pt x="317" y="101"/>
                        <a:pt x="317" y="101"/>
                        <a:pt x="317" y="101"/>
                      </a:cubicBezTo>
                      <a:cubicBezTo>
                        <a:pt x="317" y="99"/>
                        <a:pt x="317" y="99"/>
                        <a:pt x="317" y="99"/>
                      </a:cubicBezTo>
                      <a:close/>
                      <a:moveTo>
                        <a:pt x="319" y="97"/>
                      </a:moveTo>
                      <a:cubicBezTo>
                        <a:pt x="318" y="98"/>
                        <a:pt x="318" y="98"/>
                        <a:pt x="318" y="98"/>
                      </a:cubicBezTo>
                      <a:cubicBezTo>
                        <a:pt x="318" y="98"/>
                        <a:pt x="318" y="98"/>
                        <a:pt x="318" y="98"/>
                      </a:cubicBezTo>
                      <a:cubicBezTo>
                        <a:pt x="319" y="98"/>
                        <a:pt x="319" y="98"/>
                        <a:pt x="319" y="98"/>
                      </a:cubicBezTo>
                      <a:cubicBezTo>
                        <a:pt x="319" y="97"/>
                        <a:pt x="319" y="97"/>
                        <a:pt x="319" y="97"/>
                      </a:cubicBezTo>
                      <a:close/>
                      <a:moveTo>
                        <a:pt x="320" y="103"/>
                      </a:moveTo>
                      <a:cubicBezTo>
                        <a:pt x="322" y="100"/>
                        <a:pt x="322" y="100"/>
                        <a:pt x="322" y="100"/>
                      </a:cubicBezTo>
                      <a:cubicBezTo>
                        <a:pt x="323" y="102"/>
                        <a:pt x="323" y="102"/>
                        <a:pt x="323" y="102"/>
                      </a:cubicBezTo>
                      <a:cubicBezTo>
                        <a:pt x="324" y="103"/>
                        <a:pt x="324" y="103"/>
                        <a:pt x="324" y="103"/>
                      </a:cubicBezTo>
                      <a:cubicBezTo>
                        <a:pt x="326" y="103"/>
                        <a:pt x="326" y="103"/>
                        <a:pt x="326" y="103"/>
                      </a:cubicBezTo>
                      <a:cubicBezTo>
                        <a:pt x="327" y="101"/>
                        <a:pt x="327" y="101"/>
                        <a:pt x="327" y="101"/>
                      </a:cubicBezTo>
                      <a:cubicBezTo>
                        <a:pt x="329" y="101"/>
                        <a:pt x="329" y="101"/>
                        <a:pt x="329" y="101"/>
                      </a:cubicBezTo>
                      <a:cubicBezTo>
                        <a:pt x="330" y="103"/>
                        <a:pt x="330" y="103"/>
                        <a:pt x="330" y="103"/>
                      </a:cubicBezTo>
                      <a:cubicBezTo>
                        <a:pt x="334" y="103"/>
                        <a:pt x="334" y="103"/>
                        <a:pt x="334" y="103"/>
                      </a:cubicBezTo>
                      <a:cubicBezTo>
                        <a:pt x="335" y="102"/>
                        <a:pt x="335" y="102"/>
                        <a:pt x="335" y="102"/>
                      </a:cubicBezTo>
                      <a:cubicBezTo>
                        <a:pt x="337" y="102"/>
                        <a:pt x="337" y="102"/>
                        <a:pt x="337" y="102"/>
                      </a:cubicBezTo>
                      <a:cubicBezTo>
                        <a:pt x="340" y="104"/>
                        <a:pt x="340" y="104"/>
                        <a:pt x="340" y="104"/>
                      </a:cubicBezTo>
                      <a:cubicBezTo>
                        <a:pt x="342" y="105"/>
                        <a:pt x="342" y="105"/>
                        <a:pt x="342" y="105"/>
                      </a:cubicBezTo>
                      <a:cubicBezTo>
                        <a:pt x="344" y="107"/>
                        <a:pt x="344" y="107"/>
                        <a:pt x="344" y="107"/>
                      </a:cubicBezTo>
                      <a:cubicBezTo>
                        <a:pt x="346" y="107"/>
                        <a:pt x="346" y="107"/>
                        <a:pt x="346" y="107"/>
                      </a:cubicBezTo>
                      <a:cubicBezTo>
                        <a:pt x="347" y="105"/>
                        <a:pt x="347" y="105"/>
                        <a:pt x="347" y="105"/>
                      </a:cubicBezTo>
                      <a:cubicBezTo>
                        <a:pt x="346" y="102"/>
                        <a:pt x="346" y="102"/>
                        <a:pt x="346" y="102"/>
                      </a:cubicBezTo>
                      <a:cubicBezTo>
                        <a:pt x="341" y="99"/>
                        <a:pt x="341" y="99"/>
                        <a:pt x="341" y="99"/>
                      </a:cubicBezTo>
                      <a:cubicBezTo>
                        <a:pt x="337" y="98"/>
                        <a:pt x="337" y="98"/>
                        <a:pt x="337" y="98"/>
                      </a:cubicBezTo>
                      <a:cubicBezTo>
                        <a:pt x="335" y="96"/>
                        <a:pt x="335" y="96"/>
                        <a:pt x="335" y="96"/>
                      </a:cubicBezTo>
                      <a:cubicBezTo>
                        <a:pt x="333" y="96"/>
                        <a:pt x="333" y="96"/>
                        <a:pt x="333" y="96"/>
                      </a:cubicBezTo>
                      <a:cubicBezTo>
                        <a:pt x="332" y="98"/>
                        <a:pt x="332" y="98"/>
                        <a:pt x="332" y="98"/>
                      </a:cubicBezTo>
                      <a:cubicBezTo>
                        <a:pt x="330" y="98"/>
                        <a:pt x="330" y="98"/>
                        <a:pt x="330" y="98"/>
                      </a:cubicBezTo>
                      <a:cubicBezTo>
                        <a:pt x="328" y="97"/>
                        <a:pt x="328" y="97"/>
                        <a:pt x="328" y="97"/>
                      </a:cubicBezTo>
                      <a:cubicBezTo>
                        <a:pt x="325" y="97"/>
                        <a:pt x="325" y="97"/>
                        <a:pt x="325" y="97"/>
                      </a:cubicBezTo>
                      <a:cubicBezTo>
                        <a:pt x="321" y="97"/>
                        <a:pt x="321" y="97"/>
                        <a:pt x="321" y="97"/>
                      </a:cubicBezTo>
                      <a:cubicBezTo>
                        <a:pt x="321" y="98"/>
                        <a:pt x="321" y="98"/>
                        <a:pt x="321" y="98"/>
                      </a:cubicBezTo>
                      <a:cubicBezTo>
                        <a:pt x="320" y="99"/>
                        <a:pt x="320" y="99"/>
                        <a:pt x="320" y="99"/>
                      </a:cubicBezTo>
                      <a:cubicBezTo>
                        <a:pt x="319" y="100"/>
                        <a:pt x="319" y="100"/>
                        <a:pt x="319" y="100"/>
                      </a:cubicBezTo>
                      <a:cubicBezTo>
                        <a:pt x="318" y="102"/>
                        <a:pt x="318" y="102"/>
                        <a:pt x="318" y="102"/>
                      </a:cubicBezTo>
                      <a:cubicBezTo>
                        <a:pt x="319" y="103"/>
                        <a:pt x="319" y="103"/>
                        <a:pt x="319" y="103"/>
                      </a:cubicBezTo>
                      <a:cubicBezTo>
                        <a:pt x="320" y="103"/>
                        <a:pt x="320" y="103"/>
                        <a:pt x="320" y="103"/>
                      </a:cubicBezTo>
                      <a:close/>
                      <a:moveTo>
                        <a:pt x="301" y="100"/>
                      </a:moveTo>
                      <a:cubicBezTo>
                        <a:pt x="302" y="101"/>
                        <a:pt x="302" y="101"/>
                        <a:pt x="302" y="101"/>
                      </a:cubicBezTo>
                      <a:cubicBezTo>
                        <a:pt x="304" y="99"/>
                        <a:pt x="304" y="99"/>
                        <a:pt x="304" y="99"/>
                      </a:cubicBezTo>
                      <a:cubicBezTo>
                        <a:pt x="308" y="99"/>
                        <a:pt x="308" y="99"/>
                        <a:pt x="308" y="99"/>
                      </a:cubicBezTo>
                      <a:cubicBezTo>
                        <a:pt x="310" y="101"/>
                        <a:pt x="310" y="101"/>
                        <a:pt x="310" y="101"/>
                      </a:cubicBezTo>
                      <a:cubicBezTo>
                        <a:pt x="311" y="102"/>
                        <a:pt x="311" y="102"/>
                        <a:pt x="311" y="102"/>
                      </a:cubicBezTo>
                      <a:cubicBezTo>
                        <a:pt x="312" y="104"/>
                        <a:pt x="312" y="104"/>
                        <a:pt x="312" y="104"/>
                      </a:cubicBezTo>
                      <a:cubicBezTo>
                        <a:pt x="312" y="105"/>
                        <a:pt x="312" y="105"/>
                        <a:pt x="312" y="105"/>
                      </a:cubicBezTo>
                      <a:cubicBezTo>
                        <a:pt x="310" y="105"/>
                        <a:pt x="310" y="105"/>
                        <a:pt x="310" y="105"/>
                      </a:cubicBezTo>
                      <a:cubicBezTo>
                        <a:pt x="309" y="107"/>
                        <a:pt x="309" y="107"/>
                        <a:pt x="309" y="107"/>
                      </a:cubicBezTo>
                      <a:cubicBezTo>
                        <a:pt x="306" y="107"/>
                        <a:pt x="306" y="107"/>
                        <a:pt x="306" y="107"/>
                      </a:cubicBezTo>
                      <a:cubicBezTo>
                        <a:pt x="304" y="107"/>
                        <a:pt x="304" y="107"/>
                        <a:pt x="304" y="107"/>
                      </a:cubicBezTo>
                      <a:cubicBezTo>
                        <a:pt x="303" y="106"/>
                        <a:pt x="303" y="106"/>
                        <a:pt x="303" y="106"/>
                      </a:cubicBezTo>
                      <a:cubicBezTo>
                        <a:pt x="300" y="106"/>
                        <a:pt x="300" y="106"/>
                        <a:pt x="300" y="106"/>
                      </a:cubicBezTo>
                      <a:cubicBezTo>
                        <a:pt x="299" y="104"/>
                        <a:pt x="299" y="104"/>
                        <a:pt x="299" y="104"/>
                      </a:cubicBezTo>
                      <a:cubicBezTo>
                        <a:pt x="299" y="101"/>
                        <a:pt x="299" y="101"/>
                        <a:pt x="299" y="101"/>
                      </a:cubicBezTo>
                      <a:cubicBezTo>
                        <a:pt x="301" y="100"/>
                        <a:pt x="301" y="100"/>
                        <a:pt x="301" y="100"/>
                      </a:cubicBezTo>
                      <a:close/>
                      <a:moveTo>
                        <a:pt x="247" y="141"/>
                      </a:moveTo>
                      <a:cubicBezTo>
                        <a:pt x="246" y="140"/>
                        <a:pt x="246" y="140"/>
                        <a:pt x="246" y="140"/>
                      </a:cubicBezTo>
                      <a:cubicBezTo>
                        <a:pt x="245" y="141"/>
                        <a:pt x="245" y="141"/>
                        <a:pt x="245" y="141"/>
                      </a:cubicBezTo>
                      <a:cubicBezTo>
                        <a:pt x="246" y="142"/>
                        <a:pt x="246" y="142"/>
                        <a:pt x="246" y="142"/>
                      </a:cubicBezTo>
                      <a:cubicBezTo>
                        <a:pt x="247" y="141"/>
                        <a:pt x="247" y="141"/>
                        <a:pt x="247" y="141"/>
                      </a:cubicBezTo>
                      <a:close/>
                      <a:moveTo>
                        <a:pt x="245" y="127"/>
                      </a:moveTo>
                      <a:cubicBezTo>
                        <a:pt x="247" y="130"/>
                        <a:pt x="247" y="130"/>
                        <a:pt x="247" y="130"/>
                      </a:cubicBezTo>
                      <a:cubicBezTo>
                        <a:pt x="246" y="132"/>
                        <a:pt x="246" y="132"/>
                        <a:pt x="246" y="132"/>
                      </a:cubicBezTo>
                      <a:cubicBezTo>
                        <a:pt x="245" y="134"/>
                        <a:pt x="245" y="134"/>
                        <a:pt x="245" y="134"/>
                      </a:cubicBezTo>
                      <a:cubicBezTo>
                        <a:pt x="245" y="132"/>
                        <a:pt x="245" y="132"/>
                        <a:pt x="245" y="132"/>
                      </a:cubicBezTo>
                      <a:cubicBezTo>
                        <a:pt x="244" y="131"/>
                        <a:pt x="244" y="131"/>
                        <a:pt x="244" y="131"/>
                      </a:cubicBezTo>
                      <a:cubicBezTo>
                        <a:pt x="245" y="129"/>
                        <a:pt x="245" y="129"/>
                        <a:pt x="245" y="129"/>
                      </a:cubicBezTo>
                      <a:cubicBezTo>
                        <a:pt x="245" y="128"/>
                        <a:pt x="245" y="128"/>
                        <a:pt x="245" y="128"/>
                      </a:cubicBezTo>
                      <a:cubicBezTo>
                        <a:pt x="245" y="127"/>
                        <a:pt x="245" y="127"/>
                        <a:pt x="245" y="127"/>
                      </a:cubicBezTo>
                      <a:close/>
                      <a:moveTo>
                        <a:pt x="299" y="89"/>
                      </a:moveTo>
                      <a:cubicBezTo>
                        <a:pt x="299" y="90"/>
                        <a:pt x="299" y="90"/>
                        <a:pt x="299" y="90"/>
                      </a:cubicBezTo>
                      <a:cubicBezTo>
                        <a:pt x="300" y="92"/>
                        <a:pt x="300" y="92"/>
                        <a:pt x="300" y="92"/>
                      </a:cubicBezTo>
                      <a:cubicBezTo>
                        <a:pt x="300" y="93"/>
                        <a:pt x="300" y="93"/>
                        <a:pt x="300" y="93"/>
                      </a:cubicBezTo>
                      <a:cubicBezTo>
                        <a:pt x="299" y="93"/>
                        <a:pt x="299" y="93"/>
                        <a:pt x="299" y="93"/>
                      </a:cubicBezTo>
                      <a:cubicBezTo>
                        <a:pt x="299" y="91"/>
                        <a:pt x="299" y="91"/>
                        <a:pt x="299" y="91"/>
                      </a:cubicBezTo>
                      <a:cubicBezTo>
                        <a:pt x="298" y="89"/>
                        <a:pt x="298" y="89"/>
                        <a:pt x="298" y="89"/>
                      </a:cubicBezTo>
                      <a:cubicBezTo>
                        <a:pt x="299" y="89"/>
                        <a:pt x="299" y="89"/>
                        <a:pt x="299" y="89"/>
                      </a:cubicBezTo>
                      <a:close/>
                      <a:moveTo>
                        <a:pt x="294" y="86"/>
                      </a:moveTo>
                      <a:cubicBezTo>
                        <a:pt x="295" y="86"/>
                        <a:pt x="295" y="86"/>
                        <a:pt x="295" y="86"/>
                      </a:cubicBezTo>
                      <a:cubicBezTo>
                        <a:pt x="296" y="86"/>
                        <a:pt x="296" y="86"/>
                        <a:pt x="296" y="86"/>
                      </a:cubicBezTo>
                      <a:cubicBezTo>
                        <a:pt x="297" y="86"/>
                        <a:pt x="297" y="86"/>
                        <a:pt x="297" y="86"/>
                      </a:cubicBezTo>
                      <a:cubicBezTo>
                        <a:pt x="301" y="86"/>
                        <a:pt x="301" y="86"/>
                        <a:pt x="301" y="86"/>
                      </a:cubicBezTo>
                      <a:cubicBezTo>
                        <a:pt x="303" y="87"/>
                        <a:pt x="303" y="87"/>
                        <a:pt x="303" y="87"/>
                      </a:cubicBezTo>
                      <a:cubicBezTo>
                        <a:pt x="301" y="87"/>
                        <a:pt x="301" y="87"/>
                        <a:pt x="301" y="87"/>
                      </a:cubicBezTo>
                      <a:cubicBezTo>
                        <a:pt x="296" y="88"/>
                        <a:pt x="296" y="88"/>
                        <a:pt x="296" y="88"/>
                      </a:cubicBezTo>
                      <a:cubicBezTo>
                        <a:pt x="294" y="88"/>
                        <a:pt x="294" y="88"/>
                        <a:pt x="294" y="88"/>
                      </a:cubicBezTo>
                      <a:cubicBezTo>
                        <a:pt x="294" y="87"/>
                        <a:pt x="294" y="87"/>
                        <a:pt x="294" y="87"/>
                      </a:cubicBezTo>
                      <a:cubicBezTo>
                        <a:pt x="294" y="86"/>
                        <a:pt x="294" y="86"/>
                        <a:pt x="294" y="86"/>
                      </a:cubicBezTo>
                      <a:close/>
                      <a:moveTo>
                        <a:pt x="284" y="86"/>
                      </a:moveTo>
                      <a:cubicBezTo>
                        <a:pt x="285" y="85"/>
                        <a:pt x="285" y="85"/>
                        <a:pt x="285" y="85"/>
                      </a:cubicBezTo>
                      <a:cubicBezTo>
                        <a:pt x="286" y="85"/>
                        <a:pt x="286" y="85"/>
                        <a:pt x="286" y="85"/>
                      </a:cubicBezTo>
                      <a:cubicBezTo>
                        <a:pt x="287" y="85"/>
                        <a:pt x="287" y="85"/>
                        <a:pt x="287" y="85"/>
                      </a:cubicBezTo>
                      <a:cubicBezTo>
                        <a:pt x="289" y="85"/>
                        <a:pt x="289" y="85"/>
                        <a:pt x="289" y="85"/>
                      </a:cubicBezTo>
                      <a:cubicBezTo>
                        <a:pt x="290" y="86"/>
                        <a:pt x="290" y="86"/>
                        <a:pt x="290" y="86"/>
                      </a:cubicBezTo>
                      <a:cubicBezTo>
                        <a:pt x="292" y="85"/>
                        <a:pt x="292" y="85"/>
                        <a:pt x="292" y="85"/>
                      </a:cubicBezTo>
                      <a:cubicBezTo>
                        <a:pt x="293" y="86"/>
                        <a:pt x="293" y="86"/>
                        <a:pt x="293" y="86"/>
                      </a:cubicBezTo>
                      <a:cubicBezTo>
                        <a:pt x="293" y="87"/>
                        <a:pt x="293" y="87"/>
                        <a:pt x="293" y="87"/>
                      </a:cubicBezTo>
                      <a:cubicBezTo>
                        <a:pt x="291" y="87"/>
                        <a:pt x="291" y="87"/>
                        <a:pt x="291" y="87"/>
                      </a:cubicBezTo>
                      <a:cubicBezTo>
                        <a:pt x="290" y="88"/>
                        <a:pt x="290" y="88"/>
                        <a:pt x="290" y="88"/>
                      </a:cubicBezTo>
                      <a:cubicBezTo>
                        <a:pt x="288" y="88"/>
                        <a:pt x="288" y="88"/>
                        <a:pt x="288" y="88"/>
                      </a:cubicBezTo>
                      <a:cubicBezTo>
                        <a:pt x="286" y="89"/>
                        <a:pt x="286" y="89"/>
                        <a:pt x="286" y="89"/>
                      </a:cubicBezTo>
                      <a:cubicBezTo>
                        <a:pt x="284" y="89"/>
                        <a:pt x="284" y="89"/>
                        <a:pt x="284" y="89"/>
                      </a:cubicBezTo>
                      <a:cubicBezTo>
                        <a:pt x="284" y="87"/>
                        <a:pt x="284" y="87"/>
                        <a:pt x="284" y="87"/>
                      </a:cubicBezTo>
                      <a:cubicBezTo>
                        <a:pt x="284" y="86"/>
                        <a:pt x="284" y="86"/>
                        <a:pt x="284" y="86"/>
                      </a:cubicBezTo>
                      <a:close/>
                      <a:moveTo>
                        <a:pt x="267" y="123"/>
                      </a:moveTo>
                      <a:cubicBezTo>
                        <a:pt x="269" y="120"/>
                        <a:pt x="269" y="120"/>
                        <a:pt x="269" y="120"/>
                      </a:cubicBezTo>
                      <a:cubicBezTo>
                        <a:pt x="269" y="117"/>
                        <a:pt x="269" y="117"/>
                        <a:pt x="269" y="117"/>
                      </a:cubicBezTo>
                      <a:cubicBezTo>
                        <a:pt x="270" y="114"/>
                        <a:pt x="270" y="114"/>
                        <a:pt x="270" y="114"/>
                      </a:cubicBezTo>
                      <a:cubicBezTo>
                        <a:pt x="270" y="113"/>
                        <a:pt x="270" y="113"/>
                        <a:pt x="270" y="113"/>
                      </a:cubicBezTo>
                      <a:cubicBezTo>
                        <a:pt x="272" y="113"/>
                        <a:pt x="272" y="113"/>
                        <a:pt x="272" y="113"/>
                      </a:cubicBezTo>
                      <a:cubicBezTo>
                        <a:pt x="272" y="115"/>
                        <a:pt x="272" y="115"/>
                        <a:pt x="272" y="115"/>
                      </a:cubicBezTo>
                      <a:cubicBezTo>
                        <a:pt x="272" y="116"/>
                        <a:pt x="272" y="116"/>
                        <a:pt x="272" y="116"/>
                      </a:cubicBezTo>
                      <a:cubicBezTo>
                        <a:pt x="272" y="117"/>
                        <a:pt x="272" y="117"/>
                        <a:pt x="272" y="117"/>
                      </a:cubicBezTo>
                      <a:cubicBezTo>
                        <a:pt x="272" y="116"/>
                        <a:pt x="272" y="116"/>
                        <a:pt x="272" y="116"/>
                      </a:cubicBezTo>
                      <a:cubicBezTo>
                        <a:pt x="271" y="117"/>
                        <a:pt x="271" y="117"/>
                        <a:pt x="271" y="117"/>
                      </a:cubicBezTo>
                      <a:cubicBezTo>
                        <a:pt x="270" y="118"/>
                        <a:pt x="270" y="118"/>
                        <a:pt x="270" y="118"/>
                      </a:cubicBezTo>
                      <a:cubicBezTo>
                        <a:pt x="270" y="119"/>
                        <a:pt x="270" y="119"/>
                        <a:pt x="270" y="119"/>
                      </a:cubicBezTo>
                      <a:cubicBezTo>
                        <a:pt x="270" y="120"/>
                        <a:pt x="270" y="120"/>
                        <a:pt x="270" y="120"/>
                      </a:cubicBezTo>
                      <a:cubicBezTo>
                        <a:pt x="272" y="121"/>
                        <a:pt x="272" y="121"/>
                        <a:pt x="272" y="121"/>
                      </a:cubicBezTo>
                      <a:cubicBezTo>
                        <a:pt x="272" y="121"/>
                        <a:pt x="272" y="121"/>
                        <a:pt x="272" y="121"/>
                      </a:cubicBezTo>
                      <a:cubicBezTo>
                        <a:pt x="271" y="122"/>
                        <a:pt x="271" y="122"/>
                        <a:pt x="271" y="122"/>
                      </a:cubicBezTo>
                      <a:cubicBezTo>
                        <a:pt x="270" y="123"/>
                        <a:pt x="270" y="123"/>
                        <a:pt x="270" y="123"/>
                      </a:cubicBezTo>
                      <a:cubicBezTo>
                        <a:pt x="269" y="125"/>
                        <a:pt x="269" y="125"/>
                        <a:pt x="269" y="125"/>
                      </a:cubicBezTo>
                      <a:cubicBezTo>
                        <a:pt x="268" y="125"/>
                        <a:pt x="268" y="125"/>
                        <a:pt x="268" y="125"/>
                      </a:cubicBezTo>
                      <a:cubicBezTo>
                        <a:pt x="267" y="125"/>
                        <a:pt x="267" y="125"/>
                        <a:pt x="267" y="125"/>
                      </a:cubicBezTo>
                      <a:cubicBezTo>
                        <a:pt x="267" y="123"/>
                        <a:pt x="267" y="123"/>
                        <a:pt x="267" y="123"/>
                      </a:cubicBezTo>
                      <a:close/>
                      <a:moveTo>
                        <a:pt x="262" y="121"/>
                      </a:moveTo>
                      <a:cubicBezTo>
                        <a:pt x="262" y="121"/>
                        <a:pt x="262" y="122"/>
                        <a:pt x="262" y="122"/>
                      </a:cubicBezTo>
                      <a:cubicBezTo>
                        <a:pt x="263" y="123"/>
                        <a:pt x="263" y="123"/>
                        <a:pt x="263" y="123"/>
                      </a:cubicBezTo>
                      <a:cubicBezTo>
                        <a:pt x="265" y="122"/>
                        <a:pt x="265" y="122"/>
                        <a:pt x="265" y="122"/>
                      </a:cubicBezTo>
                      <a:cubicBezTo>
                        <a:pt x="265" y="122"/>
                        <a:pt x="265" y="122"/>
                        <a:pt x="265" y="122"/>
                      </a:cubicBezTo>
                      <a:cubicBezTo>
                        <a:pt x="266" y="121"/>
                        <a:pt x="266" y="121"/>
                        <a:pt x="266" y="121"/>
                      </a:cubicBezTo>
                      <a:cubicBezTo>
                        <a:pt x="266" y="120"/>
                        <a:pt x="266" y="120"/>
                        <a:pt x="266" y="120"/>
                      </a:cubicBezTo>
                      <a:cubicBezTo>
                        <a:pt x="267" y="118"/>
                        <a:pt x="267" y="118"/>
                        <a:pt x="267" y="118"/>
                      </a:cubicBezTo>
                      <a:cubicBezTo>
                        <a:pt x="267" y="117"/>
                        <a:pt x="267" y="117"/>
                        <a:pt x="267" y="117"/>
                      </a:cubicBezTo>
                      <a:cubicBezTo>
                        <a:pt x="267" y="116"/>
                        <a:pt x="267" y="116"/>
                        <a:pt x="267" y="116"/>
                      </a:cubicBezTo>
                      <a:cubicBezTo>
                        <a:pt x="265" y="117"/>
                        <a:pt x="265" y="117"/>
                        <a:pt x="265" y="117"/>
                      </a:cubicBezTo>
                      <a:cubicBezTo>
                        <a:pt x="264" y="118"/>
                        <a:pt x="264" y="118"/>
                        <a:pt x="264" y="118"/>
                      </a:cubicBezTo>
                      <a:cubicBezTo>
                        <a:pt x="264" y="119"/>
                        <a:pt x="264" y="119"/>
                        <a:pt x="264" y="119"/>
                      </a:cubicBezTo>
                      <a:cubicBezTo>
                        <a:pt x="262" y="121"/>
                        <a:pt x="262" y="121"/>
                        <a:pt x="262" y="121"/>
                      </a:cubicBezTo>
                      <a:close/>
                      <a:moveTo>
                        <a:pt x="258" y="120"/>
                      </a:moveTo>
                      <a:cubicBezTo>
                        <a:pt x="258" y="121"/>
                        <a:pt x="258" y="121"/>
                        <a:pt x="258" y="121"/>
                      </a:cubicBezTo>
                      <a:cubicBezTo>
                        <a:pt x="258" y="121"/>
                        <a:pt x="258" y="121"/>
                        <a:pt x="258" y="121"/>
                      </a:cubicBezTo>
                      <a:cubicBezTo>
                        <a:pt x="258" y="124"/>
                        <a:pt x="258" y="124"/>
                        <a:pt x="258" y="124"/>
                      </a:cubicBezTo>
                      <a:cubicBezTo>
                        <a:pt x="259" y="124"/>
                        <a:pt x="259" y="124"/>
                        <a:pt x="259" y="124"/>
                      </a:cubicBezTo>
                      <a:cubicBezTo>
                        <a:pt x="260" y="123"/>
                        <a:pt x="260" y="123"/>
                        <a:pt x="260" y="123"/>
                      </a:cubicBezTo>
                      <a:cubicBezTo>
                        <a:pt x="260" y="121"/>
                        <a:pt x="260" y="121"/>
                        <a:pt x="260" y="121"/>
                      </a:cubicBezTo>
                      <a:cubicBezTo>
                        <a:pt x="259" y="119"/>
                        <a:pt x="259" y="119"/>
                        <a:pt x="259" y="119"/>
                      </a:cubicBezTo>
                      <a:cubicBezTo>
                        <a:pt x="259" y="119"/>
                        <a:pt x="258" y="120"/>
                        <a:pt x="258" y="120"/>
                      </a:cubicBezTo>
                      <a:close/>
                      <a:moveTo>
                        <a:pt x="272" y="87"/>
                      </a:moveTo>
                      <a:cubicBezTo>
                        <a:pt x="271" y="88"/>
                        <a:pt x="271" y="88"/>
                        <a:pt x="271" y="88"/>
                      </a:cubicBezTo>
                      <a:cubicBezTo>
                        <a:pt x="272" y="88"/>
                        <a:pt x="272" y="88"/>
                        <a:pt x="272" y="88"/>
                      </a:cubicBezTo>
                      <a:cubicBezTo>
                        <a:pt x="272" y="88"/>
                        <a:pt x="272" y="87"/>
                        <a:pt x="272" y="87"/>
                      </a:cubicBezTo>
                      <a:close/>
                      <a:moveTo>
                        <a:pt x="274" y="86"/>
                      </a:moveTo>
                      <a:cubicBezTo>
                        <a:pt x="274" y="87"/>
                        <a:pt x="274" y="87"/>
                        <a:pt x="274" y="87"/>
                      </a:cubicBezTo>
                      <a:cubicBezTo>
                        <a:pt x="275" y="87"/>
                        <a:pt x="275" y="87"/>
                        <a:pt x="275" y="87"/>
                      </a:cubicBezTo>
                      <a:cubicBezTo>
                        <a:pt x="274" y="86"/>
                        <a:pt x="274" y="86"/>
                        <a:pt x="274" y="86"/>
                      </a:cubicBezTo>
                      <a:close/>
                      <a:moveTo>
                        <a:pt x="277" y="84"/>
                      </a:moveTo>
                      <a:cubicBezTo>
                        <a:pt x="276" y="85"/>
                        <a:pt x="276" y="85"/>
                        <a:pt x="276" y="85"/>
                      </a:cubicBezTo>
                      <a:cubicBezTo>
                        <a:pt x="277" y="85"/>
                        <a:pt x="277" y="85"/>
                        <a:pt x="277" y="85"/>
                      </a:cubicBezTo>
                      <a:cubicBezTo>
                        <a:pt x="277" y="84"/>
                        <a:pt x="277" y="84"/>
                        <a:pt x="277" y="84"/>
                      </a:cubicBezTo>
                      <a:close/>
                      <a:moveTo>
                        <a:pt x="269" y="82"/>
                      </a:moveTo>
                      <a:cubicBezTo>
                        <a:pt x="271" y="80"/>
                        <a:pt x="271" y="80"/>
                        <a:pt x="271" y="80"/>
                      </a:cubicBezTo>
                      <a:cubicBezTo>
                        <a:pt x="274" y="81"/>
                        <a:pt x="274" y="81"/>
                        <a:pt x="274" y="81"/>
                      </a:cubicBezTo>
                      <a:cubicBezTo>
                        <a:pt x="274" y="81"/>
                        <a:pt x="274" y="81"/>
                        <a:pt x="274" y="81"/>
                      </a:cubicBezTo>
                      <a:cubicBezTo>
                        <a:pt x="273" y="83"/>
                        <a:pt x="273" y="83"/>
                        <a:pt x="273" y="83"/>
                      </a:cubicBezTo>
                      <a:cubicBezTo>
                        <a:pt x="275" y="82"/>
                        <a:pt x="275" y="82"/>
                        <a:pt x="275" y="82"/>
                      </a:cubicBezTo>
                      <a:cubicBezTo>
                        <a:pt x="275" y="81"/>
                        <a:pt x="275" y="81"/>
                        <a:pt x="275" y="81"/>
                      </a:cubicBezTo>
                      <a:cubicBezTo>
                        <a:pt x="277" y="82"/>
                        <a:pt x="277" y="82"/>
                        <a:pt x="277" y="82"/>
                      </a:cubicBezTo>
                      <a:cubicBezTo>
                        <a:pt x="276" y="84"/>
                        <a:pt x="276" y="84"/>
                        <a:pt x="276" y="84"/>
                      </a:cubicBezTo>
                      <a:cubicBezTo>
                        <a:pt x="275" y="84"/>
                        <a:pt x="275" y="84"/>
                        <a:pt x="275" y="84"/>
                      </a:cubicBezTo>
                      <a:cubicBezTo>
                        <a:pt x="274" y="83"/>
                        <a:pt x="274" y="83"/>
                        <a:pt x="274" y="83"/>
                      </a:cubicBezTo>
                      <a:cubicBezTo>
                        <a:pt x="273" y="85"/>
                        <a:pt x="273" y="85"/>
                        <a:pt x="273" y="85"/>
                      </a:cubicBezTo>
                      <a:cubicBezTo>
                        <a:pt x="272" y="83"/>
                        <a:pt x="272" y="83"/>
                        <a:pt x="272" y="83"/>
                      </a:cubicBezTo>
                      <a:cubicBezTo>
                        <a:pt x="270" y="85"/>
                        <a:pt x="270" y="85"/>
                        <a:pt x="270" y="85"/>
                      </a:cubicBezTo>
                      <a:cubicBezTo>
                        <a:pt x="269" y="83"/>
                        <a:pt x="269" y="83"/>
                        <a:pt x="269" y="83"/>
                      </a:cubicBezTo>
                      <a:cubicBezTo>
                        <a:pt x="269" y="82"/>
                        <a:pt x="269" y="82"/>
                        <a:pt x="269" y="82"/>
                      </a:cubicBezTo>
                      <a:close/>
                      <a:moveTo>
                        <a:pt x="259" y="72"/>
                      </a:moveTo>
                      <a:cubicBezTo>
                        <a:pt x="260" y="73"/>
                        <a:pt x="260" y="73"/>
                        <a:pt x="260" y="73"/>
                      </a:cubicBezTo>
                      <a:cubicBezTo>
                        <a:pt x="260" y="71"/>
                        <a:pt x="260" y="71"/>
                        <a:pt x="260" y="71"/>
                      </a:cubicBezTo>
                      <a:cubicBezTo>
                        <a:pt x="260" y="71"/>
                        <a:pt x="259" y="72"/>
                        <a:pt x="259" y="72"/>
                      </a:cubicBezTo>
                      <a:close/>
                      <a:moveTo>
                        <a:pt x="257" y="72"/>
                      </a:moveTo>
                      <a:cubicBezTo>
                        <a:pt x="258" y="72"/>
                        <a:pt x="258" y="72"/>
                        <a:pt x="258" y="72"/>
                      </a:cubicBezTo>
                      <a:cubicBezTo>
                        <a:pt x="259" y="73"/>
                        <a:pt x="259" y="73"/>
                        <a:pt x="259" y="73"/>
                      </a:cubicBezTo>
                      <a:cubicBezTo>
                        <a:pt x="258" y="73"/>
                        <a:pt x="258" y="73"/>
                        <a:pt x="258" y="73"/>
                      </a:cubicBezTo>
                      <a:cubicBezTo>
                        <a:pt x="257" y="72"/>
                        <a:pt x="257" y="72"/>
                        <a:pt x="257" y="72"/>
                      </a:cubicBezTo>
                      <a:close/>
                      <a:moveTo>
                        <a:pt x="245" y="64"/>
                      </a:moveTo>
                      <a:cubicBezTo>
                        <a:pt x="247" y="63"/>
                        <a:pt x="247" y="63"/>
                        <a:pt x="247" y="63"/>
                      </a:cubicBezTo>
                      <a:cubicBezTo>
                        <a:pt x="250" y="64"/>
                        <a:pt x="250" y="64"/>
                        <a:pt x="250" y="64"/>
                      </a:cubicBezTo>
                      <a:cubicBezTo>
                        <a:pt x="253" y="64"/>
                        <a:pt x="253" y="64"/>
                        <a:pt x="253" y="64"/>
                      </a:cubicBezTo>
                      <a:cubicBezTo>
                        <a:pt x="257" y="62"/>
                        <a:pt x="257" y="62"/>
                        <a:pt x="257" y="62"/>
                      </a:cubicBezTo>
                      <a:cubicBezTo>
                        <a:pt x="259" y="63"/>
                        <a:pt x="259" y="63"/>
                        <a:pt x="259" y="63"/>
                      </a:cubicBezTo>
                      <a:cubicBezTo>
                        <a:pt x="260" y="64"/>
                        <a:pt x="260" y="64"/>
                        <a:pt x="260" y="64"/>
                      </a:cubicBezTo>
                      <a:cubicBezTo>
                        <a:pt x="262" y="64"/>
                        <a:pt x="262" y="64"/>
                        <a:pt x="262" y="64"/>
                      </a:cubicBezTo>
                      <a:cubicBezTo>
                        <a:pt x="263" y="63"/>
                        <a:pt x="263" y="63"/>
                        <a:pt x="263" y="63"/>
                      </a:cubicBezTo>
                      <a:cubicBezTo>
                        <a:pt x="267" y="64"/>
                        <a:pt x="267" y="64"/>
                        <a:pt x="267" y="64"/>
                      </a:cubicBezTo>
                      <a:cubicBezTo>
                        <a:pt x="269" y="64"/>
                        <a:pt x="269" y="64"/>
                        <a:pt x="269" y="64"/>
                      </a:cubicBezTo>
                      <a:cubicBezTo>
                        <a:pt x="270" y="63"/>
                        <a:pt x="270" y="63"/>
                        <a:pt x="270" y="63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273" y="64"/>
                        <a:pt x="273" y="64"/>
                        <a:pt x="273" y="64"/>
                      </a:cubicBezTo>
                      <a:cubicBezTo>
                        <a:pt x="274" y="65"/>
                        <a:pt x="274" y="65"/>
                        <a:pt x="274" y="65"/>
                      </a:cubicBezTo>
                      <a:cubicBezTo>
                        <a:pt x="276" y="66"/>
                        <a:pt x="276" y="66"/>
                        <a:pt x="276" y="66"/>
                      </a:cubicBezTo>
                      <a:cubicBezTo>
                        <a:pt x="283" y="64"/>
                        <a:pt x="283" y="64"/>
                        <a:pt x="283" y="64"/>
                      </a:cubicBezTo>
                      <a:cubicBezTo>
                        <a:pt x="286" y="62"/>
                        <a:pt x="286" y="62"/>
                        <a:pt x="286" y="62"/>
                      </a:cubicBezTo>
                      <a:cubicBezTo>
                        <a:pt x="287" y="60"/>
                        <a:pt x="287" y="60"/>
                        <a:pt x="287" y="60"/>
                      </a:cubicBezTo>
                      <a:cubicBezTo>
                        <a:pt x="288" y="60"/>
                        <a:pt x="288" y="60"/>
                        <a:pt x="288" y="60"/>
                      </a:cubicBezTo>
                      <a:cubicBezTo>
                        <a:pt x="289" y="59"/>
                        <a:pt x="289" y="59"/>
                        <a:pt x="289" y="59"/>
                      </a:cubicBezTo>
                      <a:cubicBezTo>
                        <a:pt x="291" y="58"/>
                        <a:pt x="291" y="58"/>
                        <a:pt x="291" y="58"/>
                      </a:cubicBezTo>
                      <a:cubicBezTo>
                        <a:pt x="291" y="56"/>
                        <a:pt x="291" y="56"/>
                        <a:pt x="291" y="56"/>
                      </a:cubicBezTo>
                      <a:cubicBezTo>
                        <a:pt x="292" y="55"/>
                        <a:pt x="292" y="55"/>
                        <a:pt x="292" y="55"/>
                      </a:cubicBezTo>
                      <a:cubicBezTo>
                        <a:pt x="293" y="54"/>
                        <a:pt x="293" y="54"/>
                        <a:pt x="293" y="54"/>
                      </a:cubicBezTo>
                      <a:cubicBezTo>
                        <a:pt x="292" y="53"/>
                        <a:pt x="292" y="53"/>
                        <a:pt x="292" y="53"/>
                      </a:cubicBezTo>
                      <a:cubicBezTo>
                        <a:pt x="292" y="52"/>
                        <a:pt x="292" y="52"/>
                        <a:pt x="292" y="52"/>
                      </a:cubicBezTo>
                      <a:cubicBezTo>
                        <a:pt x="289" y="51"/>
                        <a:pt x="289" y="51"/>
                        <a:pt x="289" y="51"/>
                      </a:cubicBezTo>
                      <a:cubicBezTo>
                        <a:pt x="287" y="52"/>
                        <a:pt x="287" y="52"/>
                        <a:pt x="287" y="52"/>
                      </a:cubicBezTo>
                      <a:cubicBezTo>
                        <a:pt x="287" y="54"/>
                        <a:pt x="287" y="54"/>
                        <a:pt x="287" y="54"/>
                      </a:cubicBezTo>
                      <a:cubicBezTo>
                        <a:pt x="286" y="55"/>
                        <a:pt x="286" y="55"/>
                        <a:pt x="286" y="55"/>
                      </a:cubicBezTo>
                      <a:cubicBezTo>
                        <a:pt x="285" y="56"/>
                        <a:pt x="285" y="56"/>
                        <a:pt x="285" y="56"/>
                      </a:cubicBezTo>
                      <a:cubicBezTo>
                        <a:pt x="283" y="57"/>
                        <a:pt x="283" y="57"/>
                        <a:pt x="283" y="57"/>
                      </a:cubicBezTo>
                      <a:cubicBezTo>
                        <a:pt x="282" y="58"/>
                        <a:pt x="282" y="58"/>
                        <a:pt x="282" y="58"/>
                      </a:cubicBezTo>
                      <a:cubicBezTo>
                        <a:pt x="281" y="59"/>
                        <a:pt x="281" y="59"/>
                        <a:pt x="281" y="59"/>
                      </a:cubicBezTo>
                      <a:cubicBezTo>
                        <a:pt x="279" y="60"/>
                        <a:pt x="279" y="60"/>
                        <a:pt x="279" y="60"/>
                      </a:cubicBezTo>
                      <a:cubicBezTo>
                        <a:pt x="274" y="59"/>
                        <a:pt x="274" y="59"/>
                        <a:pt x="274" y="59"/>
                      </a:cubicBezTo>
                      <a:cubicBezTo>
                        <a:pt x="270" y="58"/>
                        <a:pt x="270" y="58"/>
                        <a:pt x="270" y="58"/>
                      </a:cubicBezTo>
                      <a:cubicBezTo>
                        <a:pt x="269" y="59"/>
                        <a:pt x="269" y="59"/>
                        <a:pt x="269" y="59"/>
                      </a:cubicBezTo>
                      <a:cubicBezTo>
                        <a:pt x="268" y="60"/>
                        <a:pt x="268" y="60"/>
                        <a:pt x="268" y="60"/>
                      </a:cubicBezTo>
                      <a:cubicBezTo>
                        <a:pt x="267" y="58"/>
                        <a:pt x="267" y="58"/>
                        <a:pt x="267" y="58"/>
                      </a:cubicBezTo>
                      <a:cubicBezTo>
                        <a:pt x="265" y="58"/>
                        <a:pt x="265" y="58"/>
                        <a:pt x="265" y="58"/>
                      </a:cubicBezTo>
                      <a:cubicBezTo>
                        <a:pt x="263" y="58"/>
                        <a:pt x="263" y="58"/>
                        <a:pt x="263" y="58"/>
                      </a:cubicBezTo>
                      <a:cubicBezTo>
                        <a:pt x="262" y="57"/>
                        <a:pt x="262" y="57"/>
                        <a:pt x="262" y="57"/>
                      </a:cubicBezTo>
                      <a:cubicBezTo>
                        <a:pt x="259" y="57"/>
                        <a:pt x="259" y="57"/>
                        <a:pt x="259" y="57"/>
                      </a:cubicBezTo>
                      <a:cubicBezTo>
                        <a:pt x="258" y="58"/>
                        <a:pt x="258" y="58"/>
                        <a:pt x="258" y="58"/>
                      </a:cubicBezTo>
                      <a:cubicBezTo>
                        <a:pt x="256" y="57"/>
                        <a:pt x="256" y="57"/>
                        <a:pt x="256" y="57"/>
                      </a:cubicBezTo>
                      <a:cubicBezTo>
                        <a:pt x="254" y="55"/>
                        <a:pt x="254" y="55"/>
                        <a:pt x="254" y="55"/>
                      </a:cubicBezTo>
                      <a:cubicBezTo>
                        <a:pt x="252" y="54"/>
                        <a:pt x="252" y="54"/>
                        <a:pt x="252" y="54"/>
                      </a:cubicBezTo>
                      <a:cubicBezTo>
                        <a:pt x="250" y="55"/>
                        <a:pt x="250" y="55"/>
                        <a:pt x="250" y="55"/>
                      </a:cubicBezTo>
                      <a:cubicBezTo>
                        <a:pt x="250" y="57"/>
                        <a:pt x="250" y="57"/>
                        <a:pt x="250" y="57"/>
                      </a:cubicBezTo>
                      <a:cubicBezTo>
                        <a:pt x="248" y="58"/>
                        <a:pt x="248" y="58"/>
                        <a:pt x="248" y="58"/>
                      </a:cubicBezTo>
                      <a:cubicBezTo>
                        <a:pt x="248" y="60"/>
                        <a:pt x="248" y="60"/>
                        <a:pt x="248" y="60"/>
                      </a:cubicBezTo>
                      <a:cubicBezTo>
                        <a:pt x="246" y="61"/>
                        <a:pt x="246" y="61"/>
                        <a:pt x="246" y="61"/>
                      </a:cubicBezTo>
                      <a:cubicBezTo>
                        <a:pt x="244" y="60"/>
                        <a:pt x="244" y="60"/>
                        <a:pt x="244" y="60"/>
                      </a:cubicBezTo>
                      <a:cubicBezTo>
                        <a:pt x="241" y="60"/>
                        <a:pt x="241" y="60"/>
                        <a:pt x="241" y="60"/>
                      </a:cubicBezTo>
                      <a:cubicBezTo>
                        <a:pt x="241" y="61"/>
                        <a:pt x="241" y="61"/>
                        <a:pt x="241" y="61"/>
                      </a:cubicBezTo>
                      <a:cubicBezTo>
                        <a:pt x="241" y="62"/>
                        <a:pt x="241" y="62"/>
                        <a:pt x="241" y="62"/>
                      </a:cubicBezTo>
                      <a:cubicBezTo>
                        <a:pt x="238" y="65"/>
                        <a:pt x="238" y="65"/>
                        <a:pt x="238" y="65"/>
                      </a:cubicBezTo>
                      <a:cubicBezTo>
                        <a:pt x="238" y="67"/>
                        <a:pt x="238" y="67"/>
                        <a:pt x="238" y="67"/>
                      </a:cubicBezTo>
                      <a:cubicBezTo>
                        <a:pt x="239" y="69"/>
                        <a:pt x="239" y="69"/>
                        <a:pt x="239" y="69"/>
                      </a:cubicBezTo>
                      <a:cubicBezTo>
                        <a:pt x="239" y="72"/>
                        <a:pt x="239" y="72"/>
                        <a:pt x="239" y="72"/>
                      </a:cubicBezTo>
                      <a:cubicBezTo>
                        <a:pt x="238" y="73"/>
                        <a:pt x="238" y="73"/>
                        <a:pt x="238" y="73"/>
                      </a:cubicBezTo>
                      <a:cubicBezTo>
                        <a:pt x="239" y="76"/>
                        <a:pt x="239" y="76"/>
                        <a:pt x="239" y="76"/>
                      </a:cubicBezTo>
                      <a:cubicBezTo>
                        <a:pt x="239" y="78"/>
                        <a:pt x="239" y="78"/>
                        <a:pt x="239" y="78"/>
                      </a:cubicBezTo>
                      <a:cubicBezTo>
                        <a:pt x="239" y="77"/>
                        <a:pt x="239" y="77"/>
                        <a:pt x="239" y="77"/>
                      </a:cubicBezTo>
                      <a:cubicBezTo>
                        <a:pt x="238" y="75"/>
                        <a:pt x="238" y="75"/>
                        <a:pt x="238" y="75"/>
                      </a:cubicBezTo>
                      <a:cubicBezTo>
                        <a:pt x="237" y="76"/>
                        <a:pt x="237" y="76"/>
                        <a:pt x="237" y="76"/>
                      </a:cubicBezTo>
                      <a:cubicBezTo>
                        <a:pt x="236" y="77"/>
                        <a:pt x="236" y="77"/>
                        <a:pt x="236" y="77"/>
                      </a:cubicBezTo>
                      <a:cubicBezTo>
                        <a:pt x="234" y="78"/>
                        <a:pt x="234" y="78"/>
                        <a:pt x="234" y="78"/>
                      </a:cubicBezTo>
                      <a:cubicBezTo>
                        <a:pt x="234" y="80"/>
                        <a:pt x="234" y="80"/>
                        <a:pt x="234" y="80"/>
                      </a:cubicBezTo>
                      <a:cubicBezTo>
                        <a:pt x="234" y="82"/>
                        <a:pt x="234" y="82"/>
                        <a:pt x="234" y="82"/>
                      </a:cubicBezTo>
                      <a:cubicBezTo>
                        <a:pt x="233" y="84"/>
                        <a:pt x="233" y="84"/>
                        <a:pt x="233" y="84"/>
                      </a:cubicBezTo>
                      <a:cubicBezTo>
                        <a:pt x="234" y="88"/>
                        <a:pt x="234" y="88"/>
                        <a:pt x="234" y="88"/>
                      </a:cubicBezTo>
                      <a:cubicBezTo>
                        <a:pt x="233" y="89"/>
                        <a:pt x="233" y="89"/>
                        <a:pt x="233" y="89"/>
                      </a:cubicBezTo>
                      <a:cubicBezTo>
                        <a:pt x="233" y="90"/>
                        <a:pt x="233" y="90"/>
                        <a:pt x="233" y="90"/>
                      </a:cubicBezTo>
                      <a:cubicBezTo>
                        <a:pt x="232" y="91"/>
                        <a:pt x="232" y="91"/>
                        <a:pt x="232" y="91"/>
                      </a:cubicBezTo>
                      <a:cubicBezTo>
                        <a:pt x="232" y="93"/>
                        <a:pt x="232" y="93"/>
                        <a:pt x="232" y="93"/>
                      </a:cubicBezTo>
                      <a:cubicBezTo>
                        <a:pt x="230" y="95"/>
                        <a:pt x="230" y="95"/>
                        <a:pt x="230" y="95"/>
                      </a:cubicBezTo>
                      <a:cubicBezTo>
                        <a:pt x="229" y="98"/>
                        <a:pt x="229" y="98"/>
                        <a:pt x="229" y="98"/>
                      </a:cubicBezTo>
                      <a:cubicBezTo>
                        <a:pt x="229" y="99"/>
                        <a:pt x="229" y="99"/>
                        <a:pt x="229" y="99"/>
                      </a:cubicBezTo>
                      <a:cubicBezTo>
                        <a:pt x="228" y="100"/>
                        <a:pt x="228" y="100"/>
                        <a:pt x="228" y="100"/>
                      </a:cubicBezTo>
                      <a:cubicBezTo>
                        <a:pt x="230" y="103"/>
                        <a:pt x="230" y="103"/>
                        <a:pt x="230" y="103"/>
                      </a:cubicBezTo>
                      <a:cubicBezTo>
                        <a:pt x="231" y="105"/>
                        <a:pt x="231" y="105"/>
                        <a:pt x="231" y="105"/>
                      </a:cubicBezTo>
                      <a:cubicBezTo>
                        <a:pt x="231" y="104"/>
                        <a:pt x="231" y="104"/>
                        <a:pt x="231" y="104"/>
                      </a:cubicBezTo>
                      <a:cubicBezTo>
                        <a:pt x="233" y="104"/>
                        <a:pt x="233" y="104"/>
                        <a:pt x="233" y="104"/>
                      </a:cubicBezTo>
                      <a:cubicBezTo>
                        <a:pt x="234" y="104"/>
                        <a:pt x="234" y="104"/>
                        <a:pt x="234" y="104"/>
                      </a:cubicBezTo>
                      <a:cubicBezTo>
                        <a:pt x="235" y="104"/>
                        <a:pt x="235" y="104"/>
                        <a:pt x="235" y="104"/>
                      </a:cubicBezTo>
                      <a:cubicBezTo>
                        <a:pt x="235" y="106"/>
                        <a:pt x="235" y="106"/>
                        <a:pt x="235" y="106"/>
                      </a:cubicBezTo>
                      <a:cubicBezTo>
                        <a:pt x="237" y="111"/>
                        <a:pt x="237" y="111"/>
                        <a:pt x="237" y="111"/>
                      </a:cubicBezTo>
                      <a:cubicBezTo>
                        <a:pt x="236" y="112"/>
                        <a:pt x="236" y="112"/>
                        <a:pt x="236" y="112"/>
                      </a:cubicBezTo>
                      <a:cubicBezTo>
                        <a:pt x="236" y="115"/>
                        <a:pt x="236" y="115"/>
                        <a:pt x="236" y="115"/>
                      </a:cubicBezTo>
                      <a:cubicBezTo>
                        <a:pt x="234" y="117"/>
                        <a:pt x="234" y="117"/>
                        <a:pt x="234" y="117"/>
                      </a:cubicBezTo>
                      <a:cubicBezTo>
                        <a:pt x="234" y="121"/>
                        <a:pt x="234" y="121"/>
                        <a:pt x="234" y="121"/>
                      </a:cubicBezTo>
                      <a:cubicBezTo>
                        <a:pt x="235" y="124"/>
                        <a:pt x="235" y="124"/>
                        <a:pt x="235" y="124"/>
                      </a:cubicBezTo>
                      <a:cubicBezTo>
                        <a:pt x="236" y="124"/>
                        <a:pt x="236" y="124"/>
                        <a:pt x="236" y="124"/>
                      </a:cubicBezTo>
                      <a:cubicBezTo>
                        <a:pt x="237" y="125"/>
                        <a:pt x="237" y="125"/>
                        <a:pt x="237" y="125"/>
                      </a:cubicBezTo>
                      <a:cubicBezTo>
                        <a:pt x="239" y="125"/>
                        <a:pt x="239" y="125"/>
                        <a:pt x="239" y="125"/>
                      </a:cubicBezTo>
                      <a:cubicBezTo>
                        <a:pt x="240" y="124"/>
                        <a:pt x="240" y="124"/>
                        <a:pt x="240" y="124"/>
                      </a:cubicBezTo>
                      <a:cubicBezTo>
                        <a:pt x="242" y="125"/>
                        <a:pt x="242" y="125"/>
                        <a:pt x="242" y="125"/>
                      </a:cubicBezTo>
                      <a:cubicBezTo>
                        <a:pt x="243" y="124"/>
                        <a:pt x="243" y="124"/>
                        <a:pt x="243" y="124"/>
                      </a:cubicBezTo>
                      <a:cubicBezTo>
                        <a:pt x="244" y="125"/>
                        <a:pt x="244" y="125"/>
                        <a:pt x="244" y="125"/>
                      </a:cubicBezTo>
                      <a:cubicBezTo>
                        <a:pt x="245" y="124"/>
                        <a:pt x="245" y="124"/>
                        <a:pt x="245" y="124"/>
                      </a:cubicBezTo>
                      <a:cubicBezTo>
                        <a:pt x="245" y="122"/>
                        <a:pt x="245" y="122"/>
                        <a:pt x="245" y="122"/>
                      </a:cubicBezTo>
                      <a:cubicBezTo>
                        <a:pt x="243" y="121"/>
                        <a:pt x="243" y="121"/>
                        <a:pt x="243" y="121"/>
                      </a:cubicBezTo>
                      <a:cubicBezTo>
                        <a:pt x="243" y="118"/>
                        <a:pt x="243" y="118"/>
                        <a:pt x="243" y="118"/>
                      </a:cubicBezTo>
                      <a:cubicBezTo>
                        <a:pt x="244" y="116"/>
                        <a:pt x="244" y="116"/>
                        <a:pt x="244" y="116"/>
                      </a:cubicBezTo>
                      <a:cubicBezTo>
                        <a:pt x="244" y="113"/>
                        <a:pt x="244" y="113"/>
                        <a:pt x="244" y="113"/>
                      </a:cubicBezTo>
                      <a:cubicBezTo>
                        <a:pt x="244" y="110"/>
                        <a:pt x="244" y="110"/>
                        <a:pt x="244" y="110"/>
                      </a:cubicBezTo>
                      <a:cubicBezTo>
                        <a:pt x="243" y="109"/>
                        <a:pt x="243" y="109"/>
                        <a:pt x="243" y="109"/>
                      </a:cubicBezTo>
                      <a:cubicBezTo>
                        <a:pt x="245" y="106"/>
                        <a:pt x="245" y="106"/>
                        <a:pt x="245" y="106"/>
                      </a:cubicBezTo>
                      <a:cubicBezTo>
                        <a:pt x="246" y="104"/>
                        <a:pt x="246" y="104"/>
                        <a:pt x="246" y="104"/>
                      </a:cubicBezTo>
                      <a:cubicBezTo>
                        <a:pt x="245" y="101"/>
                        <a:pt x="245" y="101"/>
                        <a:pt x="245" y="101"/>
                      </a:cubicBezTo>
                      <a:cubicBezTo>
                        <a:pt x="244" y="100"/>
                        <a:pt x="244" y="100"/>
                        <a:pt x="244" y="100"/>
                      </a:cubicBezTo>
                      <a:cubicBezTo>
                        <a:pt x="244" y="99"/>
                        <a:pt x="244" y="99"/>
                        <a:pt x="244" y="99"/>
                      </a:cubicBezTo>
                      <a:cubicBezTo>
                        <a:pt x="246" y="97"/>
                        <a:pt x="246" y="97"/>
                        <a:pt x="246" y="97"/>
                      </a:cubicBezTo>
                      <a:cubicBezTo>
                        <a:pt x="247" y="96"/>
                        <a:pt x="247" y="96"/>
                        <a:pt x="247" y="96"/>
                      </a:cubicBezTo>
                      <a:cubicBezTo>
                        <a:pt x="249" y="96"/>
                        <a:pt x="249" y="96"/>
                        <a:pt x="249" y="96"/>
                      </a:cubicBezTo>
                      <a:cubicBezTo>
                        <a:pt x="251" y="96"/>
                        <a:pt x="251" y="96"/>
                        <a:pt x="251" y="96"/>
                      </a:cubicBezTo>
                      <a:cubicBezTo>
                        <a:pt x="251" y="97"/>
                        <a:pt x="251" y="97"/>
                        <a:pt x="251" y="97"/>
                      </a:cubicBezTo>
                      <a:cubicBezTo>
                        <a:pt x="252" y="99"/>
                        <a:pt x="252" y="99"/>
                        <a:pt x="252" y="99"/>
                      </a:cubicBezTo>
                      <a:cubicBezTo>
                        <a:pt x="252" y="101"/>
                        <a:pt x="252" y="101"/>
                        <a:pt x="252" y="101"/>
                      </a:cubicBezTo>
                      <a:cubicBezTo>
                        <a:pt x="250" y="103"/>
                        <a:pt x="250" y="103"/>
                        <a:pt x="250" y="103"/>
                      </a:cubicBezTo>
                      <a:cubicBezTo>
                        <a:pt x="250" y="104"/>
                        <a:pt x="250" y="104"/>
                        <a:pt x="250" y="104"/>
                      </a:cubicBezTo>
                      <a:cubicBezTo>
                        <a:pt x="251" y="106"/>
                        <a:pt x="251" y="106"/>
                        <a:pt x="251" y="106"/>
                      </a:cubicBezTo>
                      <a:cubicBezTo>
                        <a:pt x="252" y="107"/>
                        <a:pt x="252" y="107"/>
                        <a:pt x="252" y="107"/>
                      </a:cubicBezTo>
                      <a:cubicBezTo>
                        <a:pt x="253" y="108"/>
                        <a:pt x="253" y="108"/>
                        <a:pt x="253" y="108"/>
                      </a:cubicBezTo>
                      <a:cubicBezTo>
                        <a:pt x="255" y="109"/>
                        <a:pt x="255" y="109"/>
                        <a:pt x="255" y="109"/>
                      </a:cubicBezTo>
                      <a:cubicBezTo>
                        <a:pt x="256" y="111"/>
                        <a:pt x="256" y="111"/>
                        <a:pt x="256" y="111"/>
                      </a:cubicBezTo>
                      <a:cubicBezTo>
                        <a:pt x="255" y="111"/>
                        <a:pt x="255" y="111"/>
                        <a:pt x="255" y="111"/>
                      </a:cubicBezTo>
                      <a:cubicBezTo>
                        <a:pt x="254" y="115"/>
                        <a:pt x="254" y="115"/>
                        <a:pt x="254" y="115"/>
                      </a:cubicBezTo>
                      <a:cubicBezTo>
                        <a:pt x="255" y="117"/>
                        <a:pt x="255" y="117"/>
                        <a:pt x="255" y="117"/>
                      </a:cubicBezTo>
                      <a:cubicBezTo>
                        <a:pt x="257" y="117"/>
                        <a:pt x="257" y="117"/>
                        <a:pt x="257" y="117"/>
                      </a:cubicBezTo>
                      <a:cubicBezTo>
                        <a:pt x="258" y="117"/>
                        <a:pt x="258" y="117"/>
                        <a:pt x="258" y="117"/>
                      </a:cubicBezTo>
                      <a:cubicBezTo>
                        <a:pt x="260" y="118"/>
                        <a:pt x="260" y="118"/>
                        <a:pt x="260" y="118"/>
                      </a:cubicBezTo>
                      <a:cubicBezTo>
                        <a:pt x="261" y="118"/>
                        <a:pt x="261" y="118"/>
                        <a:pt x="261" y="118"/>
                      </a:cubicBezTo>
                      <a:cubicBezTo>
                        <a:pt x="261" y="117"/>
                        <a:pt x="261" y="117"/>
                        <a:pt x="261" y="117"/>
                      </a:cubicBezTo>
                      <a:cubicBezTo>
                        <a:pt x="261" y="115"/>
                        <a:pt x="261" y="115"/>
                        <a:pt x="261" y="115"/>
                      </a:cubicBezTo>
                      <a:cubicBezTo>
                        <a:pt x="262" y="114"/>
                        <a:pt x="262" y="114"/>
                        <a:pt x="262" y="114"/>
                      </a:cubicBezTo>
                      <a:cubicBezTo>
                        <a:pt x="264" y="113"/>
                        <a:pt x="264" y="113"/>
                        <a:pt x="264" y="113"/>
                      </a:cubicBezTo>
                      <a:cubicBezTo>
                        <a:pt x="266" y="112"/>
                        <a:pt x="266" y="112"/>
                        <a:pt x="266" y="112"/>
                      </a:cubicBezTo>
                      <a:cubicBezTo>
                        <a:pt x="269" y="112"/>
                        <a:pt x="269" y="112"/>
                        <a:pt x="269" y="112"/>
                      </a:cubicBezTo>
                      <a:cubicBezTo>
                        <a:pt x="270" y="111"/>
                        <a:pt x="270" y="111"/>
                        <a:pt x="270" y="111"/>
                      </a:cubicBezTo>
                      <a:cubicBezTo>
                        <a:pt x="271" y="112"/>
                        <a:pt x="271" y="112"/>
                        <a:pt x="271" y="112"/>
                      </a:cubicBezTo>
                      <a:cubicBezTo>
                        <a:pt x="272" y="112"/>
                        <a:pt x="272" y="112"/>
                        <a:pt x="272" y="112"/>
                      </a:cubicBezTo>
                      <a:cubicBezTo>
                        <a:pt x="273" y="110"/>
                        <a:pt x="273" y="110"/>
                        <a:pt x="273" y="110"/>
                      </a:cubicBezTo>
                      <a:cubicBezTo>
                        <a:pt x="273" y="109"/>
                        <a:pt x="273" y="109"/>
                        <a:pt x="273" y="109"/>
                      </a:cubicBezTo>
                      <a:cubicBezTo>
                        <a:pt x="270" y="109"/>
                        <a:pt x="270" y="109"/>
                        <a:pt x="270" y="109"/>
                      </a:cubicBezTo>
                      <a:cubicBezTo>
                        <a:pt x="270" y="109"/>
                        <a:pt x="270" y="109"/>
                        <a:pt x="270" y="109"/>
                      </a:cubicBezTo>
                      <a:cubicBezTo>
                        <a:pt x="269" y="109"/>
                        <a:pt x="269" y="109"/>
                        <a:pt x="269" y="109"/>
                      </a:cubicBezTo>
                      <a:cubicBezTo>
                        <a:pt x="267" y="109"/>
                        <a:pt x="267" y="109"/>
                        <a:pt x="267" y="109"/>
                      </a:cubicBezTo>
                      <a:cubicBezTo>
                        <a:pt x="267" y="108"/>
                        <a:pt x="267" y="108"/>
                        <a:pt x="267" y="108"/>
                      </a:cubicBezTo>
                      <a:cubicBezTo>
                        <a:pt x="266" y="108"/>
                        <a:pt x="266" y="108"/>
                        <a:pt x="266" y="108"/>
                      </a:cubicBezTo>
                      <a:cubicBezTo>
                        <a:pt x="266" y="107"/>
                        <a:pt x="266" y="107"/>
                        <a:pt x="266" y="107"/>
                      </a:cubicBezTo>
                      <a:cubicBezTo>
                        <a:pt x="265" y="107"/>
                        <a:pt x="265" y="107"/>
                        <a:pt x="265" y="107"/>
                      </a:cubicBezTo>
                      <a:cubicBezTo>
                        <a:pt x="264" y="107"/>
                        <a:pt x="264" y="107"/>
                        <a:pt x="264" y="107"/>
                      </a:cubicBezTo>
                      <a:cubicBezTo>
                        <a:pt x="264" y="106"/>
                        <a:pt x="264" y="106"/>
                        <a:pt x="264" y="106"/>
                      </a:cubicBezTo>
                      <a:cubicBezTo>
                        <a:pt x="263" y="106"/>
                        <a:pt x="263" y="106"/>
                        <a:pt x="263" y="106"/>
                      </a:cubicBezTo>
                      <a:cubicBezTo>
                        <a:pt x="262" y="104"/>
                        <a:pt x="262" y="104"/>
                        <a:pt x="262" y="104"/>
                      </a:cubicBezTo>
                      <a:cubicBezTo>
                        <a:pt x="263" y="103"/>
                        <a:pt x="263" y="103"/>
                        <a:pt x="263" y="103"/>
                      </a:cubicBezTo>
                      <a:cubicBezTo>
                        <a:pt x="264" y="102"/>
                        <a:pt x="264" y="102"/>
                        <a:pt x="264" y="102"/>
                      </a:cubicBezTo>
                      <a:cubicBezTo>
                        <a:pt x="264" y="103"/>
                        <a:pt x="264" y="103"/>
                        <a:pt x="264" y="103"/>
                      </a:cubicBezTo>
                      <a:cubicBezTo>
                        <a:pt x="264" y="101"/>
                        <a:pt x="264" y="101"/>
                        <a:pt x="264" y="101"/>
                      </a:cubicBezTo>
                      <a:cubicBezTo>
                        <a:pt x="265" y="101"/>
                        <a:pt x="265" y="101"/>
                        <a:pt x="265" y="101"/>
                      </a:cubicBezTo>
                      <a:cubicBezTo>
                        <a:pt x="265" y="100"/>
                        <a:pt x="265" y="100"/>
                        <a:pt x="265" y="100"/>
                      </a:cubicBezTo>
                      <a:cubicBezTo>
                        <a:pt x="264" y="99"/>
                        <a:pt x="264" y="99"/>
                        <a:pt x="264" y="99"/>
                      </a:cubicBezTo>
                      <a:cubicBezTo>
                        <a:pt x="263" y="99"/>
                        <a:pt x="263" y="99"/>
                        <a:pt x="263" y="99"/>
                      </a:cubicBezTo>
                      <a:cubicBezTo>
                        <a:pt x="263" y="98"/>
                        <a:pt x="263" y="98"/>
                        <a:pt x="263" y="98"/>
                      </a:cubicBezTo>
                      <a:cubicBezTo>
                        <a:pt x="263" y="97"/>
                        <a:pt x="263" y="97"/>
                        <a:pt x="263" y="97"/>
                      </a:cubicBezTo>
                      <a:cubicBezTo>
                        <a:pt x="261" y="96"/>
                        <a:pt x="261" y="96"/>
                        <a:pt x="261" y="96"/>
                      </a:cubicBezTo>
                      <a:cubicBezTo>
                        <a:pt x="260" y="96"/>
                        <a:pt x="260" y="96"/>
                        <a:pt x="260" y="96"/>
                      </a:cubicBezTo>
                      <a:cubicBezTo>
                        <a:pt x="260" y="94"/>
                        <a:pt x="260" y="94"/>
                        <a:pt x="260" y="94"/>
                      </a:cubicBezTo>
                      <a:cubicBezTo>
                        <a:pt x="257" y="91"/>
                        <a:pt x="257" y="91"/>
                        <a:pt x="257" y="91"/>
                      </a:cubicBezTo>
                      <a:cubicBezTo>
                        <a:pt x="256" y="90"/>
                        <a:pt x="256" y="90"/>
                        <a:pt x="256" y="90"/>
                      </a:cubicBezTo>
                      <a:cubicBezTo>
                        <a:pt x="255" y="88"/>
                        <a:pt x="255" y="88"/>
                        <a:pt x="255" y="88"/>
                      </a:cubicBezTo>
                      <a:cubicBezTo>
                        <a:pt x="255" y="87"/>
                        <a:pt x="255" y="87"/>
                        <a:pt x="255" y="87"/>
                      </a:cubicBezTo>
                      <a:cubicBezTo>
                        <a:pt x="256" y="87"/>
                        <a:pt x="256" y="87"/>
                        <a:pt x="256" y="87"/>
                      </a:cubicBezTo>
                      <a:cubicBezTo>
                        <a:pt x="256" y="88"/>
                        <a:pt x="256" y="88"/>
                        <a:pt x="256" y="88"/>
                      </a:cubicBezTo>
                      <a:cubicBezTo>
                        <a:pt x="258" y="88"/>
                        <a:pt x="258" y="88"/>
                        <a:pt x="258" y="88"/>
                      </a:cubicBezTo>
                      <a:cubicBezTo>
                        <a:pt x="259" y="87"/>
                        <a:pt x="259" y="87"/>
                        <a:pt x="259" y="87"/>
                      </a:cubicBezTo>
                      <a:cubicBezTo>
                        <a:pt x="260" y="86"/>
                        <a:pt x="260" y="86"/>
                        <a:pt x="260" y="86"/>
                      </a:cubicBezTo>
                      <a:cubicBezTo>
                        <a:pt x="264" y="84"/>
                        <a:pt x="264" y="84"/>
                        <a:pt x="264" y="84"/>
                      </a:cubicBezTo>
                      <a:cubicBezTo>
                        <a:pt x="266" y="82"/>
                        <a:pt x="266" y="82"/>
                        <a:pt x="266" y="82"/>
                      </a:cubicBezTo>
                      <a:cubicBezTo>
                        <a:pt x="268" y="80"/>
                        <a:pt x="268" y="80"/>
                        <a:pt x="268" y="80"/>
                      </a:cubicBezTo>
                      <a:cubicBezTo>
                        <a:pt x="269" y="79"/>
                        <a:pt x="269" y="79"/>
                        <a:pt x="269" y="79"/>
                      </a:cubicBezTo>
                      <a:cubicBezTo>
                        <a:pt x="270" y="78"/>
                        <a:pt x="270" y="78"/>
                        <a:pt x="270" y="78"/>
                      </a:cubicBezTo>
                      <a:cubicBezTo>
                        <a:pt x="272" y="77"/>
                        <a:pt x="272" y="77"/>
                        <a:pt x="272" y="77"/>
                      </a:cubicBezTo>
                      <a:cubicBezTo>
                        <a:pt x="274" y="78"/>
                        <a:pt x="274" y="78"/>
                        <a:pt x="274" y="78"/>
                      </a:cubicBezTo>
                      <a:cubicBezTo>
                        <a:pt x="275" y="78"/>
                        <a:pt x="275" y="78"/>
                        <a:pt x="275" y="78"/>
                      </a:cubicBezTo>
                      <a:cubicBezTo>
                        <a:pt x="276" y="76"/>
                        <a:pt x="276" y="76"/>
                        <a:pt x="276" y="76"/>
                      </a:cubicBezTo>
                      <a:cubicBezTo>
                        <a:pt x="276" y="74"/>
                        <a:pt x="276" y="74"/>
                        <a:pt x="276" y="74"/>
                      </a:cubicBezTo>
                      <a:cubicBezTo>
                        <a:pt x="274" y="73"/>
                        <a:pt x="274" y="73"/>
                        <a:pt x="274" y="73"/>
                      </a:cubicBezTo>
                      <a:cubicBezTo>
                        <a:pt x="270" y="74"/>
                        <a:pt x="270" y="74"/>
                        <a:pt x="270" y="74"/>
                      </a:cubicBezTo>
                      <a:cubicBezTo>
                        <a:pt x="268" y="75"/>
                        <a:pt x="268" y="75"/>
                        <a:pt x="268" y="75"/>
                      </a:cubicBezTo>
                      <a:cubicBezTo>
                        <a:pt x="265" y="75"/>
                        <a:pt x="265" y="75"/>
                        <a:pt x="265" y="75"/>
                      </a:cubicBezTo>
                      <a:cubicBezTo>
                        <a:pt x="264" y="76"/>
                        <a:pt x="264" y="76"/>
                        <a:pt x="264" y="76"/>
                      </a:cubicBezTo>
                      <a:cubicBezTo>
                        <a:pt x="262" y="77"/>
                        <a:pt x="262" y="77"/>
                        <a:pt x="262" y="77"/>
                      </a:cubicBezTo>
                      <a:cubicBezTo>
                        <a:pt x="260" y="77"/>
                        <a:pt x="260" y="77"/>
                        <a:pt x="260" y="77"/>
                      </a:cubicBezTo>
                      <a:cubicBezTo>
                        <a:pt x="259" y="78"/>
                        <a:pt x="259" y="78"/>
                        <a:pt x="259" y="78"/>
                      </a:cubicBezTo>
                      <a:cubicBezTo>
                        <a:pt x="257" y="77"/>
                        <a:pt x="257" y="77"/>
                        <a:pt x="257" y="77"/>
                      </a:cubicBezTo>
                      <a:cubicBezTo>
                        <a:pt x="255" y="76"/>
                        <a:pt x="255" y="76"/>
                        <a:pt x="255" y="76"/>
                      </a:cubicBezTo>
                      <a:cubicBezTo>
                        <a:pt x="254" y="79"/>
                        <a:pt x="254" y="79"/>
                        <a:pt x="254" y="79"/>
                      </a:cubicBezTo>
                      <a:cubicBezTo>
                        <a:pt x="252" y="82"/>
                        <a:pt x="252" y="82"/>
                        <a:pt x="252" y="82"/>
                      </a:cubicBezTo>
                      <a:cubicBezTo>
                        <a:pt x="250" y="83"/>
                        <a:pt x="250" y="83"/>
                        <a:pt x="250" y="83"/>
                      </a:cubicBezTo>
                      <a:cubicBezTo>
                        <a:pt x="248" y="83"/>
                        <a:pt x="248" y="83"/>
                        <a:pt x="248" y="83"/>
                      </a:cubicBezTo>
                      <a:cubicBezTo>
                        <a:pt x="248" y="82"/>
                        <a:pt x="248" y="82"/>
                        <a:pt x="248" y="82"/>
                      </a:cubicBezTo>
                      <a:cubicBezTo>
                        <a:pt x="245" y="79"/>
                        <a:pt x="245" y="79"/>
                        <a:pt x="245" y="79"/>
                      </a:cubicBezTo>
                      <a:cubicBezTo>
                        <a:pt x="243" y="77"/>
                        <a:pt x="243" y="77"/>
                        <a:pt x="243" y="77"/>
                      </a:cubicBezTo>
                      <a:cubicBezTo>
                        <a:pt x="241" y="73"/>
                        <a:pt x="241" y="73"/>
                        <a:pt x="241" y="73"/>
                      </a:cubicBezTo>
                      <a:cubicBezTo>
                        <a:pt x="242" y="69"/>
                        <a:pt x="242" y="69"/>
                        <a:pt x="242" y="69"/>
                      </a:cubicBezTo>
                      <a:cubicBezTo>
                        <a:pt x="243" y="65"/>
                        <a:pt x="243" y="65"/>
                        <a:pt x="243" y="65"/>
                      </a:cubicBezTo>
                      <a:cubicBezTo>
                        <a:pt x="245" y="64"/>
                        <a:pt x="245" y="64"/>
                        <a:pt x="245" y="64"/>
                      </a:cubicBezTo>
                      <a:close/>
                      <a:moveTo>
                        <a:pt x="247" y="0"/>
                      </a:moveTo>
                      <a:cubicBezTo>
                        <a:pt x="246" y="1"/>
                        <a:pt x="246" y="1"/>
                        <a:pt x="246" y="1"/>
                      </a:cubicBezTo>
                      <a:cubicBezTo>
                        <a:pt x="247" y="2"/>
                        <a:pt x="247" y="2"/>
                        <a:pt x="247" y="2"/>
                      </a:cubicBezTo>
                      <a:cubicBezTo>
                        <a:pt x="247" y="1"/>
                        <a:pt x="247" y="1"/>
                        <a:pt x="247" y="1"/>
                      </a:cubicBezTo>
                      <a:cubicBezTo>
                        <a:pt x="247" y="0"/>
                        <a:pt x="247" y="0"/>
                        <a:pt x="247" y="0"/>
                      </a:cubicBezTo>
                      <a:close/>
                      <a:moveTo>
                        <a:pt x="249" y="6"/>
                      </a:moveTo>
                      <a:cubicBezTo>
                        <a:pt x="251" y="6"/>
                        <a:pt x="251" y="6"/>
                        <a:pt x="251" y="6"/>
                      </a:cubicBezTo>
                      <a:cubicBezTo>
                        <a:pt x="252" y="6"/>
                        <a:pt x="252" y="6"/>
                        <a:pt x="252" y="6"/>
                      </a:cubicBezTo>
                      <a:cubicBezTo>
                        <a:pt x="253" y="6"/>
                        <a:pt x="253" y="6"/>
                        <a:pt x="253" y="6"/>
                      </a:cubicBezTo>
                      <a:cubicBezTo>
                        <a:pt x="254" y="6"/>
                        <a:pt x="254" y="6"/>
                        <a:pt x="254" y="6"/>
                      </a:cubicBezTo>
                      <a:cubicBezTo>
                        <a:pt x="254" y="5"/>
                        <a:pt x="254" y="5"/>
                        <a:pt x="254" y="5"/>
                      </a:cubicBezTo>
                      <a:cubicBezTo>
                        <a:pt x="252" y="4"/>
                        <a:pt x="252" y="4"/>
                        <a:pt x="252" y="4"/>
                      </a:cubicBezTo>
                      <a:cubicBezTo>
                        <a:pt x="250" y="5"/>
                        <a:pt x="250" y="5"/>
                        <a:pt x="250" y="5"/>
                      </a:cubicBezTo>
                      <a:cubicBezTo>
                        <a:pt x="249" y="6"/>
                        <a:pt x="249" y="6"/>
                        <a:pt x="249" y="6"/>
                      </a:cubicBezTo>
                      <a:cubicBezTo>
                        <a:pt x="249" y="6"/>
                        <a:pt x="249" y="6"/>
                        <a:pt x="249" y="6"/>
                      </a:cubicBezTo>
                      <a:close/>
                      <a:moveTo>
                        <a:pt x="235" y="16"/>
                      </a:moveTo>
                      <a:cubicBezTo>
                        <a:pt x="234" y="18"/>
                        <a:pt x="234" y="18"/>
                        <a:pt x="234" y="18"/>
                      </a:cubicBezTo>
                      <a:cubicBezTo>
                        <a:pt x="235" y="19"/>
                        <a:pt x="235" y="19"/>
                        <a:pt x="235" y="19"/>
                      </a:cubicBezTo>
                      <a:cubicBezTo>
                        <a:pt x="235" y="18"/>
                        <a:pt x="235" y="18"/>
                        <a:pt x="235" y="18"/>
                      </a:cubicBezTo>
                      <a:cubicBezTo>
                        <a:pt x="235" y="16"/>
                        <a:pt x="235" y="16"/>
                        <a:pt x="235" y="16"/>
                      </a:cubicBezTo>
                      <a:close/>
                      <a:moveTo>
                        <a:pt x="238" y="14"/>
                      </a:moveTo>
                      <a:cubicBezTo>
                        <a:pt x="241" y="12"/>
                        <a:pt x="241" y="12"/>
                        <a:pt x="241" y="12"/>
                      </a:cubicBezTo>
                      <a:cubicBezTo>
                        <a:pt x="243" y="11"/>
                        <a:pt x="243" y="11"/>
                        <a:pt x="243" y="11"/>
                      </a:cubicBezTo>
                      <a:cubicBezTo>
                        <a:pt x="243" y="13"/>
                        <a:pt x="243" y="13"/>
                        <a:pt x="243" y="13"/>
                      </a:cubicBezTo>
                      <a:cubicBezTo>
                        <a:pt x="241" y="15"/>
                        <a:pt x="241" y="15"/>
                        <a:pt x="241" y="15"/>
                      </a:cubicBezTo>
                      <a:cubicBezTo>
                        <a:pt x="239" y="15"/>
                        <a:pt x="239" y="15"/>
                        <a:pt x="239" y="15"/>
                      </a:cubicBezTo>
                      <a:cubicBezTo>
                        <a:pt x="238" y="14"/>
                        <a:pt x="238" y="14"/>
                        <a:pt x="238" y="14"/>
                      </a:cubicBezTo>
                      <a:close/>
                      <a:moveTo>
                        <a:pt x="218" y="25"/>
                      </a:moveTo>
                      <a:cubicBezTo>
                        <a:pt x="219" y="26"/>
                        <a:pt x="219" y="26"/>
                        <a:pt x="219" y="26"/>
                      </a:cubicBezTo>
                      <a:cubicBezTo>
                        <a:pt x="218" y="26"/>
                        <a:pt x="218" y="26"/>
                        <a:pt x="218" y="26"/>
                      </a:cubicBezTo>
                      <a:cubicBezTo>
                        <a:pt x="218" y="25"/>
                        <a:pt x="218" y="25"/>
                        <a:pt x="218" y="25"/>
                      </a:cubicBezTo>
                      <a:close/>
                      <a:moveTo>
                        <a:pt x="218" y="24"/>
                      </a:moveTo>
                      <a:cubicBezTo>
                        <a:pt x="218" y="25"/>
                        <a:pt x="218" y="25"/>
                        <a:pt x="218" y="25"/>
                      </a:cubicBezTo>
                      <a:cubicBezTo>
                        <a:pt x="219" y="25"/>
                        <a:pt x="219" y="25"/>
                        <a:pt x="219" y="25"/>
                      </a:cubicBezTo>
                      <a:cubicBezTo>
                        <a:pt x="220" y="26"/>
                        <a:pt x="220" y="26"/>
                        <a:pt x="220" y="26"/>
                      </a:cubicBezTo>
                      <a:cubicBezTo>
                        <a:pt x="220" y="25"/>
                        <a:pt x="220" y="25"/>
                        <a:pt x="220" y="25"/>
                      </a:cubicBezTo>
                      <a:cubicBezTo>
                        <a:pt x="218" y="24"/>
                        <a:pt x="218" y="24"/>
                        <a:pt x="218" y="24"/>
                      </a:cubicBezTo>
                      <a:close/>
                      <a:moveTo>
                        <a:pt x="219" y="30"/>
                      </a:moveTo>
                      <a:cubicBezTo>
                        <a:pt x="217" y="30"/>
                        <a:pt x="217" y="30"/>
                        <a:pt x="217" y="30"/>
                      </a:cubicBezTo>
                      <a:cubicBezTo>
                        <a:pt x="219" y="31"/>
                        <a:pt x="219" y="31"/>
                        <a:pt x="219" y="31"/>
                      </a:cubicBezTo>
                      <a:cubicBezTo>
                        <a:pt x="219" y="30"/>
                        <a:pt x="219" y="30"/>
                        <a:pt x="219" y="30"/>
                      </a:cubicBezTo>
                      <a:close/>
                      <a:moveTo>
                        <a:pt x="217" y="32"/>
                      </a:moveTo>
                      <a:cubicBezTo>
                        <a:pt x="218" y="32"/>
                        <a:pt x="218" y="32"/>
                        <a:pt x="218" y="32"/>
                      </a:cubicBezTo>
                      <a:cubicBezTo>
                        <a:pt x="218" y="34"/>
                        <a:pt x="218" y="34"/>
                        <a:pt x="218" y="34"/>
                      </a:cubicBezTo>
                      <a:cubicBezTo>
                        <a:pt x="217" y="34"/>
                        <a:pt x="217" y="34"/>
                        <a:pt x="217" y="34"/>
                      </a:cubicBezTo>
                      <a:cubicBezTo>
                        <a:pt x="217" y="32"/>
                        <a:pt x="217" y="32"/>
                        <a:pt x="217" y="32"/>
                      </a:cubicBezTo>
                      <a:close/>
                      <a:moveTo>
                        <a:pt x="205" y="103"/>
                      </a:moveTo>
                      <a:cubicBezTo>
                        <a:pt x="206" y="104"/>
                        <a:pt x="206" y="104"/>
                        <a:pt x="206" y="104"/>
                      </a:cubicBezTo>
                      <a:cubicBezTo>
                        <a:pt x="205" y="106"/>
                        <a:pt x="205" y="106"/>
                        <a:pt x="205" y="106"/>
                      </a:cubicBezTo>
                      <a:cubicBezTo>
                        <a:pt x="205" y="106"/>
                        <a:pt x="205" y="106"/>
                        <a:pt x="205" y="106"/>
                      </a:cubicBezTo>
                      <a:cubicBezTo>
                        <a:pt x="205" y="104"/>
                        <a:pt x="205" y="104"/>
                        <a:pt x="205" y="104"/>
                      </a:cubicBezTo>
                      <a:cubicBezTo>
                        <a:pt x="205" y="103"/>
                        <a:pt x="205" y="103"/>
                        <a:pt x="205" y="103"/>
                      </a:cubicBezTo>
                      <a:close/>
                      <a:moveTo>
                        <a:pt x="204" y="103"/>
                      </a:moveTo>
                      <a:cubicBezTo>
                        <a:pt x="204" y="107"/>
                        <a:pt x="204" y="107"/>
                        <a:pt x="204" y="107"/>
                      </a:cubicBezTo>
                      <a:cubicBezTo>
                        <a:pt x="204" y="109"/>
                        <a:pt x="204" y="109"/>
                        <a:pt x="204" y="109"/>
                      </a:cubicBezTo>
                      <a:cubicBezTo>
                        <a:pt x="202" y="110"/>
                        <a:pt x="202" y="110"/>
                        <a:pt x="202" y="110"/>
                      </a:cubicBezTo>
                      <a:cubicBezTo>
                        <a:pt x="202" y="109"/>
                        <a:pt x="202" y="109"/>
                        <a:pt x="202" y="109"/>
                      </a:cubicBezTo>
                      <a:cubicBezTo>
                        <a:pt x="202" y="106"/>
                        <a:pt x="202" y="106"/>
                        <a:pt x="202" y="106"/>
                      </a:cubicBezTo>
                      <a:cubicBezTo>
                        <a:pt x="203" y="103"/>
                        <a:pt x="203" y="103"/>
                        <a:pt x="203" y="103"/>
                      </a:cubicBezTo>
                      <a:cubicBezTo>
                        <a:pt x="204" y="102"/>
                        <a:pt x="204" y="102"/>
                        <a:pt x="204" y="102"/>
                      </a:cubicBezTo>
                      <a:cubicBezTo>
                        <a:pt x="204" y="103"/>
                        <a:pt x="204" y="103"/>
                        <a:pt x="204" y="103"/>
                      </a:cubicBezTo>
                      <a:close/>
                      <a:moveTo>
                        <a:pt x="137" y="72"/>
                      </a:moveTo>
                      <a:cubicBezTo>
                        <a:pt x="140" y="73"/>
                        <a:pt x="140" y="73"/>
                        <a:pt x="140" y="73"/>
                      </a:cubicBezTo>
                      <a:cubicBezTo>
                        <a:pt x="140" y="73"/>
                        <a:pt x="140" y="73"/>
                        <a:pt x="140" y="73"/>
                      </a:cubicBezTo>
                      <a:cubicBezTo>
                        <a:pt x="139" y="74"/>
                        <a:pt x="139" y="74"/>
                        <a:pt x="139" y="74"/>
                      </a:cubicBezTo>
                      <a:cubicBezTo>
                        <a:pt x="137" y="73"/>
                        <a:pt x="137" y="73"/>
                        <a:pt x="137" y="73"/>
                      </a:cubicBezTo>
                      <a:cubicBezTo>
                        <a:pt x="137" y="72"/>
                        <a:pt x="137" y="72"/>
                        <a:pt x="137" y="72"/>
                      </a:cubicBezTo>
                      <a:cubicBezTo>
                        <a:pt x="137" y="72"/>
                        <a:pt x="137" y="72"/>
                        <a:pt x="137" y="72"/>
                      </a:cubicBezTo>
                      <a:close/>
                      <a:moveTo>
                        <a:pt x="138" y="76"/>
                      </a:moveTo>
                      <a:cubicBezTo>
                        <a:pt x="141" y="77"/>
                        <a:pt x="141" y="77"/>
                        <a:pt x="141" y="77"/>
                      </a:cubicBezTo>
                      <a:cubicBezTo>
                        <a:pt x="142" y="78"/>
                        <a:pt x="142" y="78"/>
                        <a:pt x="142" y="78"/>
                      </a:cubicBezTo>
                      <a:cubicBezTo>
                        <a:pt x="142" y="78"/>
                        <a:pt x="142" y="78"/>
                        <a:pt x="142" y="78"/>
                      </a:cubicBezTo>
                      <a:cubicBezTo>
                        <a:pt x="143" y="79"/>
                        <a:pt x="143" y="79"/>
                        <a:pt x="143" y="79"/>
                      </a:cubicBezTo>
                      <a:cubicBezTo>
                        <a:pt x="140" y="79"/>
                        <a:pt x="140" y="79"/>
                        <a:pt x="140" y="79"/>
                      </a:cubicBezTo>
                      <a:cubicBezTo>
                        <a:pt x="139" y="79"/>
                        <a:pt x="139" y="79"/>
                        <a:pt x="139" y="79"/>
                      </a:cubicBezTo>
                      <a:cubicBezTo>
                        <a:pt x="138" y="77"/>
                        <a:pt x="138" y="77"/>
                        <a:pt x="138" y="77"/>
                      </a:cubicBezTo>
                      <a:cubicBezTo>
                        <a:pt x="138" y="76"/>
                        <a:pt x="138" y="76"/>
                        <a:pt x="138" y="76"/>
                      </a:cubicBezTo>
                      <a:close/>
                      <a:moveTo>
                        <a:pt x="140" y="79"/>
                      </a:moveTo>
                      <a:cubicBezTo>
                        <a:pt x="143" y="79"/>
                        <a:pt x="143" y="79"/>
                        <a:pt x="143" y="79"/>
                      </a:cubicBezTo>
                      <a:cubicBezTo>
                        <a:pt x="144" y="80"/>
                        <a:pt x="144" y="80"/>
                        <a:pt x="144" y="80"/>
                      </a:cubicBezTo>
                      <a:cubicBezTo>
                        <a:pt x="142" y="82"/>
                        <a:pt x="142" y="82"/>
                        <a:pt x="142" y="82"/>
                      </a:cubicBezTo>
                      <a:cubicBezTo>
                        <a:pt x="141" y="83"/>
                        <a:pt x="141" y="83"/>
                        <a:pt x="141" y="83"/>
                      </a:cubicBezTo>
                      <a:cubicBezTo>
                        <a:pt x="140" y="82"/>
                        <a:pt x="140" y="82"/>
                        <a:pt x="140" y="82"/>
                      </a:cubicBezTo>
                      <a:cubicBezTo>
                        <a:pt x="140" y="80"/>
                        <a:pt x="140" y="80"/>
                        <a:pt x="140" y="80"/>
                      </a:cubicBezTo>
                      <a:cubicBezTo>
                        <a:pt x="140" y="80"/>
                        <a:pt x="140" y="79"/>
                        <a:pt x="140" y="79"/>
                      </a:cubicBezTo>
                      <a:close/>
                      <a:moveTo>
                        <a:pt x="136" y="56"/>
                      </a:moveTo>
                      <a:cubicBezTo>
                        <a:pt x="137" y="53"/>
                        <a:pt x="137" y="53"/>
                        <a:pt x="137" y="53"/>
                      </a:cubicBezTo>
                      <a:cubicBezTo>
                        <a:pt x="139" y="50"/>
                        <a:pt x="139" y="50"/>
                        <a:pt x="139" y="50"/>
                      </a:cubicBezTo>
                      <a:cubicBezTo>
                        <a:pt x="140" y="48"/>
                        <a:pt x="140" y="48"/>
                        <a:pt x="140" y="48"/>
                      </a:cubicBezTo>
                      <a:cubicBezTo>
                        <a:pt x="142" y="48"/>
                        <a:pt x="142" y="48"/>
                        <a:pt x="142" y="48"/>
                      </a:cubicBezTo>
                      <a:cubicBezTo>
                        <a:pt x="144" y="51"/>
                        <a:pt x="144" y="51"/>
                        <a:pt x="144" y="51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9" y="57"/>
                        <a:pt x="149" y="57"/>
                        <a:pt x="149" y="57"/>
                      </a:cubicBezTo>
                      <a:cubicBezTo>
                        <a:pt x="150" y="58"/>
                        <a:pt x="150" y="58"/>
                        <a:pt x="150" y="58"/>
                      </a:cubicBezTo>
                      <a:cubicBezTo>
                        <a:pt x="152" y="58"/>
                        <a:pt x="152" y="58"/>
                        <a:pt x="152" y="58"/>
                      </a:cubicBezTo>
                      <a:cubicBezTo>
                        <a:pt x="154" y="58"/>
                        <a:pt x="154" y="58"/>
                        <a:pt x="154" y="58"/>
                      </a:cubicBezTo>
                      <a:cubicBezTo>
                        <a:pt x="155" y="56"/>
                        <a:pt x="155" y="56"/>
                        <a:pt x="155" y="56"/>
                      </a:cubicBezTo>
                      <a:cubicBezTo>
                        <a:pt x="157" y="57"/>
                        <a:pt x="157" y="57"/>
                        <a:pt x="157" y="57"/>
                      </a:cubicBezTo>
                      <a:cubicBezTo>
                        <a:pt x="159" y="56"/>
                        <a:pt x="159" y="56"/>
                        <a:pt x="159" y="56"/>
                      </a:cubicBezTo>
                      <a:cubicBezTo>
                        <a:pt x="164" y="56"/>
                        <a:pt x="164" y="56"/>
                        <a:pt x="164" y="56"/>
                      </a:cubicBezTo>
                      <a:cubicBezTo>
                        <a:pt x="169" y="54"/>
                        <a:pt x="169" y="54"/>
                        <a:pt x="169" y="54"/>
                      </a:cubicBezTo>
                      <a:cubicBezTo>
                        <a:pt x="171" y="53"/>
                        <a:pt x="171" y="53"/>
                        <a:pt x="171" y="53"/>
                      </a:cubicBezTo>
                      <a:cubicBezTo>
                        <a:pt x="175" y="53"/>
                        <a:pt x="175" y="53"/>
                        <a:pt x="175" y="53"/>
                      </a:cubicBezTo>
                      <a:cubicBezTo>
                        <a:pt x="178" y="54"/>
                        <a:pt x="178" y="54"/>
                        <a:pt x="178" y="54"/>
                      </a:cubicBezTo>
                      <a:cubicBezTo>
                        <a:pt x="179" y="55"/>
                        <a:pt x="179" y="55"/>
                        <a:pt x="179" y="55"/>
                      </a:cubicBezTo>
                      <a:cubicBezTo>
                        <a:pt x="181" y="55"/>
                        <a:pt x="181" y="55"/>
                        <a:pt x="181" y="55"/>
                      </a:cubicBezTo>
                      <a:cubicBezTo>
                        <a:pt x="185" y="53"/>
                        <a:pt x="185" y="53"/>
                        <a:pt x="185" y="53"/>
                      </a:cubicBezTo>
                      <a:cubicBezTo>
                        <a:pt x="189" y="52"/>
                        <a:pt x="189" y="52"/>
                        <a:pt x="189" y="52"/>
                      </a:cubicBezTo>
                      <a:cubicBezTo>
                        <a:pt x="189" y="51"/>
                        <a:pt x="189" y="51"/>
                        <a:pt x="189" y="51"/>
                      </a:cubicBezTo>
                      <a:cubicBezTo>
                        <a:pt x="193" y="45"/>
                        <a:pt x="193" y="45"/>
                        <a:pt x="193" y="45"/>
                      </a:cubicBezTo>
                      <a:cubicBezTo>
                        <a:pt x="195" y="40"/>
                        <a:pt x="195" y="40"/>
                        <a:pt x="195" y="40"/>
                      </a:cubicBezTo>
                      <a:cubicBezTo>
                        <a:pt x="197" y="36"/>
                        <a:pt x="197" y="36"/>
                        <a:pt x="197" y="36"/>
                      </a:cubicBezTo>
                      <a:cubicBezTo>
                        <a:pt x="200" y="28"/>
                        <a:pt x="200" y="28"/>
                        <a:pt x="200" y="28"/>
                      </a:cubicBezTo>
                      <a:cubicBezTo>
                        <a:pt x="200" y="27"/>
                        <a:pt x="200" y="27"/>
                        <a:pt x="200" y="27"/>
                      </a:cubicBezTo>
                      <a:cubicBezTo>
                        <a:pt x="201" y="25"/>
                        <a:pt x="201" y="25"/>
                        <a:pt x="201" y="25"/>
                      </a:cubicBezTo>
                      <a:cubicBezTo>
                        <a:pt x="200" y="24"/>
                        <a:pt x="200" y="24"/>
                        <a:pt x="200" y="24"/>
                      </a:cubicBezTo>
                      <a:cubicBezTo>
                        <a:pt x="202" y="21"/>
                        <a:pt x="202" y="21"/>
                        <a:pt x="202" y="21"/>
                      </a:cubicBezTo>
                      <a:cubicBezTo>
                        <a:pt x="204" y="22"/>
                        <a:pt x="204" y="22"/>
                        <a:pt x="204" y="22"/>
                      </a:cubicBezTo>
                      <a:cubicBezTo>
                        <a:pt x="207" y="22"/>
                        <a:pt x="207" y="22"/>
                        <a:pt x="207" y="22"/>
                      </a:cubicBezTo>
                      <a:cubicBezTo>
                        <a:pt x="211" y="22"/>
                        <a:pt x="211" y="22"/>
                        <a:pt x="211" y="22"/>
                      </a:cubicBezTo>
                      <a:cubicBezTo>
                        <a:pt x="212" y="23"/>
                        <a:pt x="212" y="23"/>
                        <a:pt x="212" y="23"/>
                      </a:cubicBezTo>
                      <a:cubicBezTo>
                        <a:pt x="215" y="22"/>
                        <a:pt x="215" y="22"/>
                        <a:pt x="215" y="22"/>
                      </a:cubicBezTo>
                      <a:cubicBezTo>
                        <a:pt x="217" y="23"/>
                        <a:pt x="217" y="23"/>
                        <a:pt x="217" y="23"/>
                      </a:cubicBezTo>
                      <a:cubicBezTo>
                        <a:pt x="217" y="24"/>
                        <a:pt x="217" y="24"/>
                        <a:pt x="217" y="24"/>
                      </a:cubicBezTo>
                      <a:cubicBezTo>
                        <a:pt x="216" y="24"/>
                        <a:pt x="216" y="24"/>
                        <a:pt x="216" y="24"/>
                      </a:cubicBezTo>
                      <a:cubicBezTo>
                        <a:pt x="216" y="25"/>
                        <a:pt x="216" y="25"/>
                        <a:pt x="216" y="25"/>
                      </a:cubicBezTo>
                      <a:cubicBezTo>
                        <a:pt x="216" y="26"/>
                        <a:pt x="216" y="26"/>
                        <a:pt x="216" y="26"/>
                      </a:cubicBezTo>
                      <a:cubicBezTo>
                        <a:pt x="218" y="27"/>
                        <a:pt x="218" y="27"/>
                        <a:pt x="218" y="27"/>
                      </a:cubicBezTo>
                      <a:cubicBezTo>
                        <a:pt x="220" y="29"/>
                        <a:pt x="220" y="29"/>
                        <a:pt x="220" y="29"/>
                      </a:cubicBezTo>
                      <a:cubicBezTo>
                        <a:pt x="217" y="29"/>
                        <a:pt x="217" y="29"/>
                        <a:pt x="217" y="29"/>
                      </a:cubicBezTo>
                      <a:cubicBezTo>
                        <a:pt x="215" y="29"/>
                        <a:pt x="215" y="29"/>
                        <a:pt x="215" y="29"/>
                      </a:cubicBezTo>
                      <a:cubicBezTo>
                        <a:pt x="214" y="30"/>
                        <a:pt x="214" y="30"/>
                        <a:pt x="214" y="30"/>
                      </a:cubicBezTo>
                      <a:cubicBezTo>
                        <a:pt x="216" y="32"/>
                        <a:pt x="216" y="32"/>
                        <a:pt x="216" y="32"/>
                      </a:cubicBezTo>
                      <a:cubicBezTo>
                        <a:pt x="217" y="32"/>
                        <a:pt x="217" y="32"/>
                        <a:pt x="217" y="32"/>
                      </a:cubicBezTo>
                      <a:cubicBezTo>
                        <a:pt x="217" y="33"/>
                        <a:pt x="217" y="33"/>
                        <a:pt x="217" y="33"/>
                      </a:cubicBezTo>
                      <a:cubicBezTo>
                        <a:pt x="216" y="33"/>
                        <a:pt x="216" y="33"/>
                        <a:pt x="216" y="33"/>
                      </a:cubicBezTo>
                      <a:cubicBezTo>
                        <a:pt x="215" y="35"/>
                        <a:pt x="215" y="35"/>
                        <a:pt x="215" y="35"/>
                      </a:cubicBezTo>
                      <a:cubicBezTo>
                        <a:pt x="217" y="36"/>
                        <a:pt x="217" y="36"/>
                        <a:pt x="217" y="36"/>
                      </a:cubicBezTo>
                      <a:cubicBezTo>
                        <a:pt x="218" y="38"/>
                        <a:pt x="218" y="38"/>
                        <a:pt x="218" y="38"/>
                      </a:cubicBezTo>
                      <a:cubicBezTo>
                        <a:pt x="221" y="42"/>
                        <a:pt x="221" y="42"/>
                        <a:pt x="221" y="42"/>
                      </a:cubicBezTo>
                      <a:cubicBezTo>
                        <a:pt x="222" y="43"/>
                        <a:pt x="222" y="43"/>
                        <a:pt x="222" y="43"/>
                      </a:cubicBezTo>
                      <a:cubicBezTo>
                        <a:pt x="221" y="45"/>
                        <a:pt x="221" y="45"/>
                        <a:pt x="221" y="45"/>
                      </a:cubicBezTo>
                      <a:cubicBezTo>
                        <a:pt x="219" y="45"/>
                        <a:pt x="219" y="45"/>
                        <a:pt x="219" y="45"/>
                      </a:cubicBezTo>
                      <a:cubicBezTo>
                        <a:pt x="218" y="47"/>
                        <a:pt x="218" y="47"/>
                        <a:pt x="218" y="47"/>
                      </a:cubicBezTo>
                      <a:cubicBezTo>
                        <a:pt x="219" y="47"/>
                        <a:pt x="219" y="47"/>
                        <a:pt x="219" y="47"/>
                      </a:cubicBezTo>
                      <a:cubicBezTo>
                        <a:pt x="220" y="49"/>
                        <a:pt x="220" y="49"/>
                        <a:pt x="220" y="49"/>
                      </a:cubicBezTo>
                      <a:cubicBezTo>
                        <a:pt x="221" y="50"/>
                        <a:pt x="221" y="50"/>
                        <a:pt x="221" y="50"/>
                      </a:cubicBezTo>
                      <a:cubicBezTo>
                        <a:pt x="225" y="54"/>
                        <a:pt x="225" y="54"/>
                        <a:pt x="225" y="54"/>
                      </a:cubicBezTo>
                      <a:cubicBezTo>
                        <a:pt x="227" y="54"/>
                        <a:pt x="227" y="54"/>
                        <a:pt x="227" y="54"/>
                      </a:cubicBezTo>
                      <a:cubicBezTo>
                        <a:pt x="228" y="56"/>
                        <a:pt x="228" y="56"/>
                        <a:pt x="228" y="56"/>
                      </a:cubicBezTo>
                      <a:cubicBezTo>
                        <a:pt x="229" y="57"/>
                        <a:pt x="229" y="57"/>
                        <a:pt x="229" y="57"/>
                      </a:cubicBezTo>
                      <a:cubicBezTo>
                        <a:pt x="230" y="57"/>
                        <a:pt x="230" y="57"/>
                        <a:pt x="230" y="57"/>
                      </a:cubicBezTo>
                      <a:cubicBezTo>
                        <a:pt x="230" y="59"/>
                        <a:pt x="230" y="59"/>
                        <a:pt x="230" y="59"/>
                      </a:cubicBezTo>
                      <a:cubicBezTo>
                        <a:pt x="229" y="60"/>
                        <a:pt x="229" y="60"/>
                        <a:pt x="229" y="60"/>
                      </a:cubicBezTo>
                      <a:cubicBezTo>
                        <a:pt x="227" y="59"/>
                        <a:pt x="227" y="59"/>
                        <a:pt x="227" y="59"/>
                      </a:cubicBezTo>
                      <a:cubicBezTo>
                        <a:pt x="226" y="60"/>
                        <a:pt x="226" y="60"/>
                        <a:pt x="226" y="60"/>
                      </a:cubicBezTo>
                      <a:cubicBezTo>
                        <a:pt x="224" y="60"/>
                        <a:pt x="224" y="60"/>
                        <a:pt x="224" y="60"/>
                      </a:cubicBezTo>
                      <a:cubicBezTo>
                        <a:pt x="221" y="57"/>
                        <a:pt x="221" y="57"/>
                        <a:pt x="221" y="57"/>
                      </a:cubicBezTo>
                      <a:cubicBezTo>
                        <a:pt x="221" y="59"/>
                        <a:pt x="221" y="59"/>
                        <a:pt x="221" y="59"/>
                      </a:cubicBezTo>
                      <a:cubicBezTo>
                        <a:pt x="221" y="60"/>
                        <a:pt x="221" y="60"/>
                        <a:pt x="221" y="60"/>
                      </a:cubicBezTo>
                      <a:cubicBezTo>
                        <a:pt x="220" y="59"/>
                        <a:pt x="220" y="59"/>
                        <a:pt x="220" y="59"/>
                      </a:cubicBezTo>
                      <a:cubicBezTo>
                        <a:pt x="218" y="61"/>
                        <a:pt x="218" y="61"/>
                        <a:pt x="218" y="61"/>
                      </a:cubicBezTo>
                      <a:cubicBezTo>
                        <a:pt x="218" y="63"/>
                        <a:pt x="218" y="63"/>
                        <a:pt x="218" y="63"/>
                      </a:cubicBezTo>
                      <a:cubicBezTo>
                        <a:pt x="217" y="64"/>
                        <a:pt x="217" y="64"/>
                        <a:pt x="217" y="64"/>
                      </a:cubicBezTo>
                      <a:cubicBezTo>
                        <a:pt x="217" y="68"/>
                        <a:pt x="217" y="68"/>
                        <a:pt x="217" y="68"/>
                      </a:cubicBezTo>
                      <a:cubicBezTo>
                        <a:pt x="216" y="69"/>
                        <a:pt x="216" y="69"/>
                        <a:pt x="216" y="69"/>
                      </a:cubicBezTo>
                      <a:cubicBezTo>
                        <a:pt x="215" y="72"/>
                        <a:pt x="215" y="72"/>
                        <a:pt x="215" y="72"/>
                      </a:cubicBezTo>
                      <a:cubicBezTo>
                        <a:pt x="212" y="74"/>
                        <a:pt x="212" y="74"/>
                        <a:pt x="212" y="74"/>
                      </a:cubicBezTo>
                      <a:cubicBezTo>
                        <a:pt x="213" y="77"/>
                        <a:pt x="213" y="77"/>
                        <a:pt x="213" y="77"/>
                      </a:cubicBezTo>
                      <a:cubicBezTo>
                        <a:pt x="212" y="79"/>
                        <a:pt x="212" y="79"/>
                        <a:pt x="212" y="79"/>
                      </a:cubicBezTo>
                      <a:cubicBezTo>
                        <a:pt x="211" y="81"/>
                        <a:pt x="211" y="81"/>
                        <a:pt x="211" y="81"/>
                      </a:cubicBezTo>
                      <a:cubicBezTo>
                        <a:pt x="210" y="79"/>
                        <a:pt x="210" y="79"/>
                        <a:pt x="210" y="79"/>
                      </a:cubicBezTo>
                      <a:cubicBezTo>
                        <a:pt x="209" y="78"/>
                        <a:pt x="209" y="78"/>
                        <a:pt x="209" y="78"/>
                      </a:cubicBezTo>
                      <a:cubicBezTo>
                        <a:pt x="209" y="79"/>
                        <a:pt x="209" y="79"/>
                        <a:pt x="209" y="79"/>
                      </a:cubicBezTo>
                      <a:cubicBezTo>
                        <a:pt x="209" y="82"/>
                        <a:pt x="209" y="82"/>
                        <a:pt x="209" y="82"/>
                      </a:cubicBezTo>
                      <a:cubicBezTo>
                        <a:pt x="207" y="84"/>
                        <a:pt x="207" y="84"/>
                        <a:pt x="207" y="84"/>
                      </a:cubicBezTo>
                      <a:cubicBezTo>
                        <a:pt x="207" y="85"/>
                        <a:pt x="207" y="85"/>
                        <a:pt x="207" y="85"/>
                      </a:cubicBezTo>
                      <a:cubicBezTo>
                        <a:pt x="206" y="86"/>
                        <a:pt x="206" y="86"/>
                        <a:pt x="206" y="86"/>
                      </a:cubicBezTo>
                      <a:cubicBezTo>
                        <a:pt x="204" y="86"/>
                        <a:pt x="204" y="86"/>
                        <a:pt x="204" y="86"/>
                      </a:cubicBezTo>
                      <a:cubicBezTo>
                        <a:pt x="204" y="87"/>
                        <a:pt x="204" y="87"/>
                        <a:pt x="204" y="87"/>
                      </a:cubicBezTo>
                      <a:cubicBezTo>
                        <a:pt x="204" y="88"/>
                        <a:pt x="204" y="88"/>
                        <a:pt x="204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90"/>
                        <a:pt x="206" y="90"/>
                        <a:pt x="206" y="90"/>
                      </a:cubicBezTo>
                      <a:cubicBezTo>
                        <a:pt x="205" y="91"/>
                        <a:pt x="205" y="91"/>
                        <a:pt x="205" y="91"/>
                      </a:cubicBezTo>
                      <a:cubicBezTo>
                        <a:pt x="206" y="91"/>
                        <a:pt x="206" y="91"/>
                        <a:pt x="206" y="91"/>
                      </a:cubicBezTo>
                      <a:cubicBezTo>
                        <a:pt x="207" y="91"/>
                        <a:pt x="207" y="91"/>
                        <a:pt x="207" y="91"/>
                      </a:cubicBezTo>
                      <a:cubicBezTo>
                        <a:pt x="207" y="92"/>
                        <a:pt x="207" y="92"/>
                        <a:pt x="207" y="92"/>
                      </a:cubicBezTo>
                      <a:cubicBezTo>
                        <a:pt x="206" y="94"/>
                        <a:pt x="206" y="94"/>
                        <a:pt x="206" y="94"/>
                      </a:cubicBezTo>
                      <a:cubicBezTo>
                        <a:pt x="205" y="93"/>
                        <a:pt x="205" y="93"/>
                        <a:pt x="205" y="93"/>
                      </a:cubicBezTo>
                      <a:cubicBezTo>
                        <a:pt x="205" y="93"/>
                        <a:pt x="205" y="93"/>
                        <a:pt x="205" y="93"/>
                      </a:cubicBezTo>
                      <a:cubicBezTo>
                        <a:pt x="204" y="94"/>
                        <a:pt x="204" y="94"/>
                        <a:pt x="204" y="94"/>
                      </a:cubicBezTo>
                      <a:cubicBezTo>
                        <a:pt x="205" y="95"/>
                        <a:pt x="205" y="95"/>
                        <a:pt x="205" y="95"/>
                      </a:cubicBezTo>
                      <a:cubicBezTo>
                        <a:pt x="206" y="95"/>
                        <a:pt x="206" y="95"/>
                        <a:pt x="206" y="95"/>
                      </a:cubicBezTo>
                      <a:cubicBezTo>
                        <a:pt x="204" y="98"/>
                        <a:pt x="204" y="98"/>
                        <a:pt x="204" y="98"/>
                      </a:cubicBezTo>
                      <a:cubicBezTo>
                        <a:pt x="203" y="98"/>
                        <a:pt x="203" y="98"/>
                        <a:pt x="203" y="98"/>
                      </a:cubicBezTo>
                      <a:cubicBezTo>
                        <a:pt x="203" y="98"/>
                        <a:pt x="203" y="98"/>
                        <a:pt x="203" y="98"/>
                      </a:cubicBezTo>
                      <a:cubicBezTo>
                        <a:pt x="202" y="100"/>
                        <a:pt x="202" y="100"/>
                        <a:pt x="202" y="100"/>
                      </a:cubicBezTo>
                      <a:cubicBezTo>
                        <a:pt x="202" y="101"/>
                        <a:pt x="202" y="101"/>
                        <a:pt x="202" y="101"/>
                      </a:cubicBezTo>
                      <a:cubicBezTo>
                        <a:pt x="200" y="105"/>
                        <a:pt x="200" y="105"/>
                        <a:pt x="200" y="105"/>
                      </a:cubicBezTo>
                      <a:cubicBezTo>
                        <a:pt x="197" y="107"/>
                        <a:pt x="197" y="107"/>
                        <a:pt x="197" y="107"/>
                      </a:cubicBezTo>
                      <a:cubicBezTo>
                        <a:pt x="194" y="108"/>
                        <a:pt x="194" y="108"/>
                        <a:pt x="194" y="108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9" y="110"/>
                        <a:pt x="189" y="110"/>
                        <a:pt x="189" y="110"/>
                      </a:cubicBezTo>
                      <a:cubicBezTo>
                        <a:pt x="188" y="107"/>
                        <a:pt x="188" y="107"/>
                        <a:pt x="188" y="107"/>
                      </a:cubicBezTo>
                      <a:cubicBezTo>
                        <a:pt x="188" y="106"/>
                        <a:pt x="188" y="106"/>
                        <a:pt x="188" y="106"/>
                      </a:cubicBezTo>
                      <a:cubicBezTo>
                        <a:pt x="187" y="104"/>
                        <a:pt x="187" y="104"/>
                        <a:pt x="187" y="104"/>
                      </a:cubicBezTo>
                      <a:cubicBezTo>
                        <a:pt x="187" y="104"/>
                        <a:pt x="187" y="104"/>
                        <a:pt x="187" y="104"/>
                      </a:cubicBezTo>
                      <a:cubicBezTo>
                        <a:pt x="186" y="104"/>
                        <a:pt x="186" y="104"/>
                        <a:pt x="186" y="104"/>
                      </a:cubicBezTo>
                      <a:cubicBezTo>
                        <a:pt x="185" y="103"/>
                        <a:pt x="185" y="103"/>
                        <a:pt x="185" y="103"/>
                      </a:cubicBezTo>
                      <a:cubicBezTo>
                        <a:pt x="184" y="103"/>
                        <a:pt x="184" y="103"/>
                        <a:pt x="184" y="103"/>
                      </a:cubicBezTo>
                      <a:cubicBezTo>
                        <a:pt x="183" y="103"/>
                        <a:pt x="183" y="103"/>
                        <a:pt x="183" y="103"/>
                      </a:cubicBezTo>
                      <a:cubicBezTo>
                        <a:pt x="182" y="101"/>
                        <a:pt x="182" y="101"/>
                        <a:pt x="182" y="101"/>
                      </a:cubicBezTo>
                      <a:cubicBezTo>
                        <a:pt x="181" y="103"/>
                        <a:pt x="181" y="103"/>
                        <a:pt x="181" y="103"/>
                      </a:cubicBezTo>
                      <a:cubicBezTo>
                        <a:pt x="182" y="104"/>
                        <a:pt x="182" y="104"/>
                        <a:pt x="182" y="104"/>
                      </a:cubicBezTo>
                      <a:cubicBezTo>
                        <a:pt x="180" y="104"/>
                        <a:pt x="180" y="104"/>
                        <a:pt x="180" y="104"/>
                      </a:cubicBezTo>
                      <a:cubicBezTo>
                        <a:pt x="179" y="103"/>
                        <a:pt x="179" y="103"/>
                        <a:pt x="179" y="103"/>
                      </a:cubicBezTo>
                      <a:cubicBezTo>
                        <a:pt x="179" y="101"/>
                        <a:pt x="179" y="101"/>
                        <a:pt x="179" y="101"/>
                      </a:cubicBezTo>
                      <a:cubicBezTo>
                        <a:pt x="178" y="100"/>
                        <a:pt x="178" y="100"/>
                        <a:pt x="178" y="100"/>
                      </a:cubicBezTo>
                      <a:cubicBezTo>
                        <a:pt x="177" y="101"/>
                        <a:pt x="177" y="101"/>
                        <a:pt x="177" y="101"/>
                      </a:cubicBezTo>
                      <a:cubicBezTo>
                        <a:pt x="175" y="100"/>
                        <a:pt x="175" y="100"/>
                        <a:pt x="175" y="100"/>
                      </a:cubicBezTo>
                      <a:cubicBezTo>
                        <a:pt x="174" y="100"/>
                        <a:pt x="174" y="100"/>
                        <a:pt x="174" y="100"/>
                      </a:cubicBezTo>
                      <a:cubicBezTo>
                        <a:pt x="173" y="102"/>
                        <a:pt x="173" y="102"/>
                        <a:pt x="173" y="102"/>
                      </a:cubicBezTo>
                      <a:cubicBezTo>
                        <a:pt x="170" y="102"/>
                        <a:pt x="170" y="102"/>
                        <a:pt x="170" y="102"/>
                      </a:cubicBezTo>
                      <a:cubicBezTo>
                        <a:pt x="170" y="103"/>
                        <a:pt x="170" y="103"/>
                        <a:pt x="170" y="103"/>
                      </a:cubicBezTo>
                      <a:cubicBezTo>
                        <a:pt x="169" y="103"/>
                        <a:pt x="169" y="103"/>
                        <a:pt x="169" y="103"/>
                      </a:cubicBezTo>
                      <a:cubicBezTo>
                        <a:pt x="168" y="102"/>
                        <a:pt x="168" y="102"/>
                        <a:pt x="168" y="102"/>
                      </a:cubicBezTo>
                      <a:cubicBezTo>
                        <a:pt x="166" y="103"/>
                        <a:pt x="166" y="103"/>
                        <a:pt x="166" y="103"/>
                      </a:cubicBezTo>
                      <a:cubicBezTo>
                        <a:pt x="164" y="105"/>
                        <a:pt x="164" y="105"/>
                        <a:pt x="164" y="105"/>
                      </a:cubicBezTo>
                      <a:cubicBezTo>
                        <a:pt x="163" y="105"/>
                        <a:pt x="163" y="105"/>
                        <a:pt x="163" y="105"/>
                      </a:cubicBezTo>
                      <a:cubicBezTo>
                        <a:pt x="163" y="104"/>
                        <a:pt x="163" y="104"/>
                        <a:pt x="163" y="104"/>
                      </a:cubicBezTo>
                      <a:cubicBezTo>
                        <a:pt x="163" y="100"/>
                        <a:pt x="163" y="100"/>
                        <a:pt x="163" y="100"/>
                      </a:cubicBezTo>
                      <a:cubicBezTo>
                        <a:pt x="162" y="98"/>
                        <a:pt x="162" y="98"/>
                        <a:pt x="162" y="98"/>
                      </a:cubicBezTo>
                      <a:cubicBezTo>
                        <a:pt x="162" y="96"/>
                        <a:pt x="162" y="96"/>
                        <a:pt x="162" y="96"/>
                      </a:cubicBezTo>
                      <a:cubicBezTo>
                        <a:pt x="162" y="95"/>
                        <a:pt x="162" y="95"/>
                        <a:pt x="162" y="95"/>
                      </a:cubicBezTo>
                      <a:cubicBezTo>
                        <a:pt x="162" y="96"/>
                        <a:pt x="162" y="96"/>
                        <a:pt x="162" y="96"/>
                      </a:cubicBezTo>
                      <a:cubicBezTo>
                        <a:pt x="161" y="98"/>
                        <a:pt x="161" y="98"/>
                        <a:pt x="161" y="98"/>
                      </a:cubicBezTo>
                      <a:cubicBezTo>
                        <a:pt x="160" y="99"/>
                        <a:pt x="160" y="99"/>
                        <a:pt x="160" y="99"/>
                      </a:cubicBezTo>
                      <a:cubicBezTo>
                        <a:pt x="159" y="98"/>
                        <a:pt x="159" y="98"/>
                        <a:pt x="159" y="98"/>
                      </a:cubicBezTo>
                      <a:cubicBezTo>
                        <a:pt x="157" y="99"/>
                        <a:pt x="157" y="99"/>
                        <a:pt x="157" y="99"/>
                      </a:cubicBezTo>
                      <a:cubicBezTo>
                        <a:pt x="154" y="99"/>
                        <a:pt x="154" y="99"/>
                        <a:pt x="154" y="99"/>
                      </a:cubicBezTo>
                      <a:cubicBezTo>
                        <a:pt x="153" y="99"/>
                        <a:pt x="153" y="99"/>
                        <a:pt x="153" y="99"/>
                      </a:cubicBezTo>
                      <a:cubicBezTo>
                        <a:pt x="151" y="99"/>
                        <a:pt x="151" y="99"/>
                        <a:pt x="151" y="99"/>
                      </a:cubicBezTo>
                      <a:cubicBezTo>
                        <a:pt x="150" y="97"/>
                        <a:pt x="150" y="97"/>
                        <a:pt x="150" y="97"/>
                      </a:cubicBezTo>
                      <a:cubicBezTo>
                        <a:pt x="149" y="99"/>
                        <a:pt x="149" y="99"/>
                        <a:pt x="149" y="99"/>
                      </a:cubicBezTo>
                      <a:cubicBezTo>
                        <a:pt x="148" y="99"/>
                        <a:pt x="148" y="99"/>
                        <a:pt x="148" y="99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47" y="94"/>
                        <a:pt x="147" y="94"/>
                        <a:pt x="147" y="94"/>
                      </a:cubicBezTo>
                      <a:cubicBezTo>
                        <a:pt x="146" y="89"/>
                        <a:pt x="146" y="89"/>
                        <a:pt x="146" y="89"/>
                      </a:cubicBezTo>
                      <a:cubicBezTo>
                        <a:pt x="144" y="88"/>
                        <a:pt x="144" y="88"/>
                        <a:pt x="144" y="88"/>
                      </a:cubicBezTo>
                      <a:cubicBezTo>
                        <a:pt x="144" y="87"/>
                        <a:pt x="144" y="87"/>
                        <a:pt x="144" y="87"/>
                      </a:cubicBezTo>
                      <a:cubicBezTo>
                        <a:pt x="145" y="85"/>
                        <a:pt x="145" y="85"/>
                        <a:pt x="145" y="85"/>
                      </a:cubicBezTo>
                      <a:cubicBezTo>
                        <a:pt x="146" y="83"/>
                        <a:pt x="146" y="83"/>
                        <a:pt x="146" y="83"/>
                      </a:cubicBezTo>
                      <a:cubicBezTo>
                        <a:pt x="146" y="82"/>
                        <a:pt x="146" y="82"/>
                        <a:pt x="146" y="82"/>
                      </a:cubicBezTo>
                      <a:cubicBezTo>
                        <a:pt x="145" y="80"/>
                        <a:pt x="145" y="80"/>
                        <a:pt x="145" y="80"/>
                      </a:cubicBezTo>
                      <a:cubicBezTo>
                        <a:pt x="142" y="77"/>
                        <a:pt x="142" y="77"/>
                        <a:pt x="142" y="77"/>
                      </a:cubicBezTo>
                      <a:cubicBezTo>
                        <a:pt x="140" y="76"/>
                        <a:pt x="140" y="76"/>
                        <a:pt x="140" y="76"/>
                      </a:cubicBezTo>
                      <a:cubicBezTo>
                        <a:pt x="138" y="75"/>
                        <a:pt x="138" y="75"/>
                        <a:pt x="138" y="75"/>
                      </a:cubicBezTo>
                      <a:cubicBezTo>
                        <a:pt x="138" y="74"/>
                        <a:pt x="138" y="74"/>
                        <a:pt x="138" y="74"/>
                      </a:cubicBezTo>
                      <a:cubicBezTo>
                        <a:pt x="139" y="74"/>
                        <a:pt x="139" y="74"/>
                        <a:pt x="139" y="74"/>
                      </a:cubicBezTo>
                      <a:cubicBezTo>
                        <a:pt x="141" y="73"/>
                        <a:pt x="141" y="73"/>
                        <a:pt x="141" y="73"/>
                      </a:cubicBezTo>
                      <a:cubicBezTo>
                        <a:pt x="144" y="72"/>
                        <a:pt x="144" y="72"/>
                        <a:pt x="144" y="72"/>
                      </a:cubicBezTo>
                      <a:cubicBezTo>
                        <a:pt x="147" y="70"/>
                        <a:pt x="147" y="70"/>
                        <a:pt x="147" y="70"/>
                      </a:cubicBezTo>
                      <a:cubicBezTo>
                        <a:pt x="148" y="70"/>
                        <a:pt x="148" y="70"/>
                        <a:pt x="148" y="70"/>
                      </a:cubicBezTo>
                      <a:cubicBezTo>
                        <a:pt x="147" y="70"/>
                        <a:pt x="147" y="70"/>
                        <a:pt x="147" y="70"/>
                      </a:cubicBezTo>
                      <a:cubicBezTo>
                        <a:pt x="144" y="71"/>
                        <a:pt x="144" y="71"/>
                        <a:pt x="144" y="71"/>
                      </a:cubicBezTo>
                      <a:cubicBezTo>
                        <a:pt x="141" y="72"/>
                        <a:pt x="141" y="72"/>
                        <a:pt x="141" y="72"/>
                      </a:cubicBezTo>
                      <a:cubicBezTo>
                        <a:pt x="140" y="72"/>
                        <a:pt x="140" y="72"/>
                        <a:pt x="140" y="72"/>
                      </a:cubicBezTo>
                      <a:cubicBezTo>
                        <a:pt x="138" y="72"/>
                        <a:pt x="138" y="72"/>
                        <a:pt x="138" y="72"/>
                      </a:cubicBezTo>
                      <a:cubicBezTo>
                        <a:pt x="137" y="69"/>
                        <a:pt x="137" y="69"/>
                        <a:pt x="137" y="69"/>
                      </a:cubicBezTo>
                      <a:cubicBezTo>
                        <a:pt x="137" y="69"/>
                        <a:pt x="137" y="69"/>
                        <a:pt x="137" y="69"/>
                      </a:cubicBezTo>
                      <a:cubicBezTo>
                        <a:pt x="138" y="69"/>
                        <a:pt x="138" y="69"/>
                        <a:pt x="138" y="69"/>
                      </a:cubicBezTo>
                      <a:cubicBezTo>
                        <a:pt x="138" y="68"/>
                        <a:pt x="138" y="68"/>
                        <a:pt x="138" y="68"/>
                      </a:cubicBezTo>
                      <a:cubicBezTo>
                        <a:pt x="135" y="64"/>
                        <a:pt x="135" y="64"/>
                        <a:pt x="135" y="64"/>
                      </a:cubicBezTo>
                      <a:cubicBezTo>
                        <a:pt x="134" y="60"/>
                        <a:pt x="134" y="60"/>
                        <a:pt x="134" y="60"/>
                      </a:cubicBezTo>
                      <a:cubicBezTo>
                        <a:pt x="136" y="60"/>
                        <a:pt x="136" y="60"/>
                        <a:pt x="136" y="60"/>
                      </a:cubicBezTo>
                      <a:cubicBezTo>
                        <a:pt x="136" y="58"/>
                        <a:pt x="136" y="58"/>
                        <a:pt x="136" y="58"/>
                      </a:cubicBezTo>
                      <a:cubicBezTo>
                        <a:pt x="135" y="57"/>
                        <a:pt x="135" y="57"/>
                        <a:pt x="135" y="57"/>
                      </a:cubicBezTo>
                      <a:cubicBezTo>
                        <a:pt x="136" y="56"/>
                        <a:pt x="136" y="56"/>
                        <a:pt x="136" y="56"/>
                      </a:cubicBezTo>
                      <a:close/>
                      <a:moveTo>
                        <a:pt x="386" y="77"/>
                      </a:moveTo>
                      <a:cubicBezTo>
                        <a:pt x="385" y="77"/>
                        <a:pt x="385" y="77"/>
                        <a:pt x="385" y="77"/>
                      </a:cubicBezTo>
                      <a:cubicBezTo>
                        <a:pt x="386" y="79"/>
                        <a:pt x="386" y="79"/>
                        <a:pt x="386" y="79"/>
                      </a:cubicBezTo>
                      <a:cubicBezTo>
                        <a:pt x="388" y="78"/>
                        <a:pt x="388" y="78"/>
                        <a:pt x="388" y="78"/>
                      </a:cubicBezTo>
                      <a:cubicBezTo>
                        <a:pt x="386" y="77"/>
                        <a:pt x="386" y="77"/>
                        <a:pt x="386" y="77"/>
                      </a:cubicBezTo>
                      <a:close/>
                      <a:moveTo>
                        <a:pt x="391" y="83"/>
                      </a:moveTo>
                      <a:cubicBezTo>
                        <a:pt x="388" y="83"/>
                        <a:pt x="388" y="83"/>
                        <a:pt x="388" y="83"/>
                      </a:cubicBezTo>
                      <a:cubicBezTo>
                        <a:pt x="389" y="84"/>
                        <a:pt x="389" y="84"/>
                        <a:pt x="389" y="84"/>
                      </a:cubicBezTo>
                      <a:cubicBezTo>
                        <a:pt x="391" y="83"/>
                        <a:pt x="391" y="83"/>
                        <a:pt x="391" y="83"/>
                      </a:cubicBezTo>
                      <a:close/>
                      <a:moveTo>
                        <a:pt x="392" y="84"/>
                      </a:moveTo>
                      <a:cubicBezTo>
                        <a:pt x="392" y="84"/>
                        <a:pt x="393" y="85"/>
                        <a:pt x="393" y="85"/>
                      </a:cubicBezTo>
                      <a:cubicBezTo>
                        <a:pt x="396" y="86"/>
                        <a:pt x="396" y="86"/>
                        <a:pt x="396" y="86"/>
                      </a:cubicBezTo>
                      <a:cubicBezTo>
                        <a:pt x="400" y="87"/>
                        <a:pt x="400" y="87"/>
                        <a:pt x="400" y="87"/>
                      </a:cubicBezTo>
                      <a:cubicBezTo>
                        <a:pt x="404" y="86"/>
                        <a:pt x="404" y="86"/>
                        <a:pt x="404" y="86"/>
                      </a:cubicBezTo>
                      <a:cubicBezTo>
                        <a:pt x="405" y="85"/>
                        <a:pt x="405" y="85"/>
                        <a:pt x="405" y="85"/>
                      </a:cubicBezTo>
                      <a:cubicBezTo>
                        <a:pt x="402" y="85"/>
                        <a:pt x="402" y="85"/>
                        <a:pt x="402" y="85"/>
                      </a:cubicBezTo>
                      <a:cubicBezTo>
                        <a:pt x="400" y="85"/>
                        <a:pt x="400" y="85"/>
                        <a:pt x="400" y="85"/>
                      </a:cubicBezTo>
                      <a:cubicBezTo>
                        <a:pt x="398" y="84"/>
                        <a:pt x="398" y="84"/>
                        <a:pt x="398" y="84"/>
                      </a:cubicBezTo>
                      <a:cubicBezTo>
                        <a:pt x="396" y="85"/>
                        <a:pt x="396" y="85"/>
                        <a:pt x="396" y="85"/>
                      </a:cubicBezTo>
                      <a:cubicBezTo>
                        <a:pt x="392" y="84"/>
                        <a:pt x="392" y="84"/>
                        <a:pt x="392" y="84"/>
                      </a:cubicBezTo>
                      <a:close/>
                      <a:moveTo>
                        <a:pt x="392" y="74"/>
                      </a:moveTo>
                      <a:cubicBezTo>
                        <a:pt x="394" y="76"/>
                        <a:pt x="394" y="76"/>
                        <a:pt x="394" y="76"/>
                      </a:cubicBezTo>
                      <a:cubicBezTo>
                        <a:pt x="394" y="75"/>
                        <a:pt x="394" y="75"/>
                        <a:pt x="394" y="75"/>
                      </a:cubicBezTo>
                      <a:cubicBezTo>
                        <a:pt x="395" y="75"/>
                        <a:pt x="395" y="75"/>
                        <a:pt x="395" y="75"/>
                      </a:cubicBezTo>
                      <a:cubicBezTo>
                        <a:pt x="396" y="77"/>
                        <a:pt x="396" y="77"/>
                        <a:pt x="396" y="77"/>
                      </a:cubicBezTo>
                      <a:cubicBezTo>
                        <a:pt x="396" y="79"/>
                        <a:pt x="396" y="79"/>
                        <a:pt x="396" y="79"/>
                      </a:cubicBezTo>
                      <a:cubicBezTo>
                        <a:pt x="397" y="79"/>
                        <a:pt x="397" y="79"/>
                        <a:pt x="397" y="79"/>
                      </a:cubicBezTo>
                      <a:cubicBezTo>
                        <a:pt x="398" y="79"/>
                        <a:pt x="398" y="79"/>
                        <a:pt x="398" y="79"/>
                      </a:cubicBezTo>
                      <a:cubicBezTo>
                        <a:pt x="399" y="79"/>
                        <a:pt x="399" y="79"/>
                        <a:pt x="399" y="79"/>
                      </a:cubicBezTo>
                      <a:cubicBezTo>
                        <a:pt x="401" y="79"/>
                        <a:pt x="401" y="79"/>
                        <a:pt x="401" y="79"/>
                      </a:cubicBezTo>
                      <a:cubicBezTo>
                        <a:pt x="400" y="78"/>
                        <a:pt x="400" y="78"/>
                        <a:pt x="400" y="78"/>
                      </a:cubicBezTo>
                      <a:cubicBezTo>
                        <a:pt x="399" y="77"/>
                        <a:pt x="399" y="77"/>
                        <a:pt x="399" y="77"/>
                      </a:cubicBezTo>
                      <a:cubicBezTo>
                        <a:pt x="398" y="75"/>
                        <a:pt x="398" y="75"/>
                        <a:pt x="398" y="75"/>
                      </a:cubicBezTo>
                      <a:cubicBezTo>
                        <a:pt x="396" y="74"/>
                        <a:pt x="396" y="74"/>
                        <a:pt x="396" y="74"/>
                      </a:cubicBezTo>
                      <a:cubicBezTo>
                        <a:pt x="394" y="74"/>
                        <a:pt x="394" y="74"/>
                        <a:pt x="394" y="74"/>
                      </a:cubicBezTo>
                      <a:cubicBezTo>
                        <a:pt x="392" y="74"/>
                        <a:pt x="392" y="74"/>
                        <a:pt x="392" y="74"/>
                      </a:cubicBezTo>
                      <a:cubicBezTo>
                        <a:pt x="392" y="74"/>
                        <a:pt x="392" y="74"/>
                        <a:pt x="392" y="74"/>
                      </a:cubicBezTo>
                      <a:close/>
                      <a:moveTo>
                        <a:pt x="364" y="124"/>
                      </a:moveTo>
                      <a:cubicBezTo>
                        <a:pt x="364" y="126"/>
                        <a:pt x="364" y="126"/>
                        <a:pt x="364" y="126"/>
                      </a:cubicBezTo>
                      <a:cubicBezTo>
                        <a:pt x="365" y="127"/>
                        <a:pt x="365" y="127"/>
                        <a:pt x="365" y="127"/>
                      </a:cubicBezTo>
                      <a:cubicBezTo>
                        <a:pt x="365" y="128"/>
                        <a:pt x="365" y="128"/>
                        <a:pt x="365" y="128"/>
                      </a:cubicBezTo>
                      <a:cubicBezTo>
                        <a:pt x="365" y="126"/>
                        <a:pt x="365" y="126"/>
                        <a:pt x="365" y="126"/>
                      </a:cubicBezTo>
                      <a:cubicBezTo>
                        <a:pt x="364" y="124"/>
                        <a:pt x="364" y="124"/>
                        <a:pt x="364" y="124"/>
                      </a:cubicBezTo>
                      <a:close/>
                      <a:moveTo>
                        <a:pt x="369" y="122"/>
                      </a:moveTo>
                      <a:cubicBezTo>
                        <a:pt x="367" y="123"/>
                        <a:pt x="367" y="123"/>
                        <a:pt x="367" y="123"/>
                      </a:cubicBezTo>
                      <a:cubicBezTo>
                        <a:pt x="366" y="127"/>
                        <a:pt x="366" y="127"/>
                        <a:pt x="366" y="127"/>
                      </a:cubicBezTo>
                      <a:cubicBezTo>
                        <a:pt x="366" y="128"/>
                        <a:pt x="366" y="128"/>
                        <a:pt x="366" y="128"/>
                      </a:cubicBezTo>
                      <a:cubicBezTo>
                        <a:pt x="367" y="128"/>
                        <a:pt x="367" y="128"/>
                        <a:pt x="367" y="128"/>
                      </a:cubicBezTo>
                      <a:cubicBezTo>
                        <a:pt x="368" y="124"/>
                        <a:pt x="368" y="124"/>
                        <a:pt x="368" y="124"/>
                      </a:cubicBezTo>
                      <a:cubicBezTo>
                        <a:pt x="369" y="122"/>
                        <a:pt x="369" y="122"/>
                        <a:pt x="369" y="122"/>
                      </a:cubicBezTo>
                      <a:close/>
                      <a:moveTo>
                        <a:pt x="384" y="135"/>
                      </a:move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4" y="137"/>
                        <a:pt x="384" y="137"/>
                        <a:pt x="384" y="137"/>
                      </a:cubicBezTo>
                      <a:cubicBezTo>
                        <a:pt x="385" y="136"/>
                        <a:pt x="385" y="136"/>
                        <a:pt x="385" y="136"/>
                      </a:cubicBezTo>
                      <a:cubicBezTo>
                        <a:pt x="384" y="135"/>
                        <a:pt x="384" y="135"/>
                        <a:pt x="384" y="135"/>
                      </a:cubicBezTo>
                      <a:close/>
                      <a:moveTo>
                        <a:pt x="379" y="132"/>
                      </a:moveTo>
                      <a:cubicBezTo>
                        <a:pt x="378" y="131"/>
                        <a:pt x="378" y="131"/>
                        <a:pt x="378" y="131"/>
                      </a:cubicBezTo>
                      <a:cubicBezTo>
                        <a:pt x="378" y="132"/>
                        <a:pt x="378" y="132"/>
                        <a:pt x="378" y="132"/>
                      </a:cubicBezTo>
                      <a:cubicBezTo>
                        <a:pt x="378" y="134"/>
                        <a:pt x="378" y="134"/>
                        <a:pt x="378" y="134"/>
                      </a:cubicBezTo>
                      <a:cubicBezTo>
                        <a:pt x="379" y="135"/>
                        <a:pt x="379" y="135"/>
                        <a:pt x="379" y="135"/>
                      </a:cubicBezTo>
                      <a:cubicBezTo>
                        <a:pt x="379" y="136"/>
                        <a:pt x="379" y="136"/>
                        <a:pt x="379" y="136"/>
                      </a:cubicBezTo>
                      <a:cubicBezTo>
                        <a:pt x="379" y="135"/>
                        <a:pt x="379" y="135"/>
                        <a:pt x="379" y="135"/>
                      </a:cubicBezTo>
                      <a:cubicBezTo>
                        <a:pt x="378" y="135"/>
                        <a:pt x="378" y="135"/>
                        <a:pt x="378" y="135"/>
                      </a:cubicBezTo>
                      <a:cubicBezTo>
                        <a:pt x="378" y="137"/>
                        <a:pt x="378" y="137"/>
                        <a:pt x="378" y="137"/>
                      </a:cubicBezTo>
                      <a:cubicBezTo>
                        <a:pt x="379" y="138"/>
                        <a:pt x="379" y="138"/>
                        <a:pt x="379" y="138"/>
                      </a:cubicBezTo>
                      <a:cubicBezTo>
                        <a:pt x="380" y="138"/>
                        <a:pt x="380" y="138"/>
                        <a:pt x="380" y="138"/>
                      </a:cubicBezTo>
                      <a:cubicBezTo>
                        <a:pt x="382" y="136"/>
                        <a:pt x="382" y="136"/>
                        <a:pt x="382" y="136"/>
                      </a:cubicBezTo>
                      <a:cubicBezTo>
                        <a:pt x="382" y="135"/>
                        <a:pt x="382" y="135"/>
                        <a:pt x="382" y="135"/>
                      </a:cubicBezTo>
                      <a:cubicBezTo>
                        <a:pt x="381" y="135"/>
                        <a:pt x="381" y="135"/>
                        <a:pt x="381" y="135"/>
                      </a:cubicBezTo>
                      <a:cubicBezTo>
                        <a:pt x="380" y="133"/>
                        <a:pt x="380" y="133"/>
                        <a:pt x="380" y="133"/>
                      </a:cubicBezTo>
                      <a:cubicBezTo>
                        <a:pt x="379" y="132"/>
                        <a:pt x="379" y="132"/>
                        <a:pt x="379" y="132"/>
                      </a:cubicBezTo>
                      <a:close/>
                      <a:moveTo>
                        <a:pt x="382" y="132"/>
                      </a:moveTo>
                      <a:cubicBezTo>
                        <a:pt x="382" y="132"/>
                        <a:pt x="382" y="133"/>
                        <a:pt x="382" y="133"/>
                      </a:cubicBezTo>
                      <a:cubicBezTo>
                        <a:pt x="382" y="134"/>
                        <a:pt x="382" y="134"/>
                        <a:pt x="382" y="134"/>
                      </a:cubicBezTo>
                      <a:cubicBezTo>
                        <a:pt x="382" y="134"/>
                        <a:pt x="382" y="134"/>
                        <a:pt x="382" y="134"/>
                      </a:cubicBezTo>
                      <a:cubicBezTo>
                        <a:pt x="383" y="134"/>
                        <a:pt x="383" y="134"/>
                        <a:pt x="383" y="134"/>
                      </a:cubicBezTo>
                      <a:cubicBezTo>
                        <a:pt x="383" y="133"/>
                        <a:pt x="383" y="133"/>
                        <a:pt x="383" y="133"/>
                      </a:cubicBezTo>
                      <a:cubicBezTo>
                        <a:pt x="382" y="132"/>
                        <a:pt x="382" y="132"/>
                        <a:pt x="382" y="132"/>
                      </a:cubicBezTo>
                      <a:close/>
                      <a:moveTo>
                        <a:pt x="380" y="129"/>
                      </a:moveTo>
                      <a:cubicBezTo>
                        <a:pt x="378" y="129"/>
                        <a:pt x="378" y="129"/>
                        <a:pt x="378" y="129"/>
                      </a:cubicBezTo>
                      <a:cubicBezTo>
                        <a:pt x="378" y="130"/>
                        <a:pt x="378" y="130"/>
                        <a:pt x="378" y="130"/>
                      </a:cubicBezTo>
                      <a:cubicBezTo>
                        <a:pt x="380" y="132"/>
                        <a:pt x="380" y="132"/>
                        <a:pt x="380" y="132"/>
                      </a:cubicBezTo>
                      <a:cubicBezTo>
                        <a:pt x="381" y="132"/>
                        <a:pt x="381" y="132"/>
                        <a:pt x="381" y="132"/>
                      </a:cubicBezTo>
                      <a:cubicBezTo>
                        <a:pt x="381" y="132"/>
                        <a:pt x="381" y="132"/>
                        <a:pt x="381" y="132"/>
                      </a:cubicBezTo>
                      <a:cubicBezTo>
                        <a:pt x="380" y="131"/>
                        <a:pt x="380" y="131"/>
                        <a:pt x="380" y="131"/>
                      </a:cubicBezTo>
                      <a:cubicBezTo>
                        <a:pt x="380" y="129"/>
                        <a:pt x="380" y="129"/>
                        <a:pt x="380" y="129"/>
                      </a:cubicBezTo>
                      <a:close/>
                      <a:moveTo>
                        <a:pt x="383" y="128"/>
                      </a:moveTo>
                      <a:cubicBezTo>
                        <a:pt x="381" y="129"/>
                        <a:pt x="381" y="129"/>
                        <a:pt x="381" y="129"/>
                      </a:cubicBezTo>
                      <a:cubicBezTo>
                        <a:pt x="380" y="130"/>
                        <a:pt x="380" y="130"/>
                        <a:pt x="380" y="130"/>
                      </a:cubicBezTo>
                      <a:cubicBezTo>
                        <a:pt x="380" y="130"/>
                        <a:pt x="380" y="130"/>
                        <a:pt x="380" y="130"/>
                      </a:cubicBezTo>
                      <a:cubicBezTo>
                        <a:pt x="382" y="132"/>
                        <a:pt x="382" y="132"/>
                        <a:pt x="382" y="132"/>
                      </a:cubicBezTo>
                      <a:cubicBezTo>
                        <a:pt x="383" y="132"/>
                        <a:pt x="383" y="132"/>
                        <a:pt x="383" y="132"/>
                      </a:cubicBezTo>
                      <a:cubicBezTo>
                        <a:pt x="384" y="131"/>
                        <a:pt x="384" y="131"/>
                        <a:pt x="384" y="131"/>
                      </a:cubicBezTo>
                      <a:cubicBezTo>
                        <a:pt x="384" y="130"/>
                        <a:pt x="384" y="130"/>
                        <a:pt x="384" y="130"/>
                      </a:cubicBezTo>
                      <a:cubicBezTo>
                        <a:pt x="384" y="130"/>
                        <a:pt x="384" y="130"/>
                        <a:pt x="384" y="130"/>
                      </a:cubicBezTo>
                      <a:cubicBezTo>
                        <a:pt x="384" y="129"/>
                        <a:pt x="384" y="129"/>
                        <a:pt x="384" y="129"/>
                      </a:cubicBezTo>
                      <a:cubicBezTo>
                        <a:pt x="384" y="128"/>
                        <a:pt x="384" y="128"/>
                        <a:pt x="384" y="128"/>
                      </a:cubicBezTo>
                      <a:cubicBezTo>
                        <a:pt x="383" y="128"/>
                        <a:pt x="383" y="128"/>
                        <a:pt x="383" y="128"/>
                      </a:cubicBezTo>
                      <a:close/>
                      <a:moveTo>
                        <a:pt x="379" y="126"/>
                      </a:moveTo>
                      <a:cubicBezTo>
                        <a:pt x="379" y="126"/>
                        <a:pt x="379" y="126"/>
                        <a:pt x="379" y="126"/>
                      </a:cubicBezTo>
                      <a:cubicBezTo>
                        <a:pt x="379" y="127"/>
                        <a:pt x="379" y="127"/>
                        <a:pt x="379" y="127"/>
                      </a:cubicBezTo>
                      <a:cubicBezTo>
                        <a:pt x="379" y="126"/>
                        <a:pt x="379" y="126"/>
                        <a:pt x="379" y="126"/>
                      </a:cubicBezTo>
                      <a:cubicBezTo>
                        <a:pt x="379" y="126"/>
                        <a:pt x="379" y="126"/>
                        <a:pt x="379" y="126"/>
                      </a:cubicBezTo>
                      <a:close/>
                      <a:moveTo>
                        <a:pt x="382" y="123"/>
                      </a:moveTo>
                      <a:cubicBezTo>
                        <a:pt x="383" y="124"/>
                        <a:pt x="383" y="124"/>
                        <a:pt x="383" y="124"/>
                      </a:cubicBezTo>
                      <a:cubicBezTo>
                        <a:pt x="384" y="124"/>
                        <a:pt x="384" y="124"/>
                        <a:pt x="384" y="124"/>
                      </a:cubicBezTo>
                      <a:cubicBezTo>
                        <a:pt x="383" y="123"/>
                        <a:pt x="383" y="123"/>
                        <a:pt x="383" y="123"/>
                      </a:cubicBezTo>
                      <a:cubicBezTo>
                        <a:pt x="382" y="123"/>
                        <a:pt x="382" y="123"/>
                        <a:pt x="382" y="123"/>
                      </a:cubicBezTo>
                      <a:close/>
                      <a:moveTo>
                        <a:pt x="382" y="124"/>
                      </a:moveTo>
                      <a:cubicBezTo>
                        <a:pt x="381" y="123"/>
                        <a:pt x="381" y="123"/>
                        <a:pt x="381" y="123"/>
                      </a:cubicBezTo>
                      <a:cubicBezTo>
                        <a:pt x="380" y="125"/>
                        <a:pt x="380" y="125"/>
                        <a:pt x="380" y="125"/>
                      </a:cubicBezTo>
                      <a:cubicBezTo>
                        <a:pt x="379" y="125"/>
                        <a:pt x="379" y="125"/>
                        <a:pt x="379" y="125"/>
                      </a:cubicBezTo>
                      <a:cubicBezTo>
                        <a:pt x="380" y="126"/>
                        <a:pt x="380" y="126"/>
                        <a:pt x="380" y="126"/>
                      </a:cubicBezTo>
                      <a:cubicBezTo>
                        <a:pt x="381" y="126"/>
                        <a:pt x="381" y="126"/>
                        <a:pt x="381" y="126"/>
                      </a:cubicBezTo>
                      <a:cubicBezTo>
                        <a:pt x="381" y="126"/>
                        <a:pt x="381" y="126"/>
                        <a:pt x="381" y="126"/>
                      </a:cubicBezTo>
                      <a:cubicBezTo>
                        <a:pt x="380" y="127"/>
                        <a:pt x="380" y="127"/>
                        <a:pt x="380" y="127"/>
                      </a:cubicBezTo>
                      <a:cubicBezTo>
                        <a:pt x="380" y="128"/>
                        <a:pt x="380" y="128"/>
                        <a:pt x="380" y="128"/>
                      </a:cubicBezTo>
                      <a:cubicBezTo>
                        <a:pt x="381" y="128"/>
                        <a:pt x="381" y="128"/>
                        <a:pt x="381" y="128"/>
                      </a:cubicBezTo>
                      <a:cubicBezTo>
                        <a:pt x="382" y="127"/>
                        <a:pt x="382" y="127"/>
                        <a:pt x="382" y="127"/>
                      </a:cubicBezTo>
                      <a:cubicBezTo>
                        <a:pt x="384" y="127"/>
                        <a:pt x="384" y="127"/>
                        <a:pt x="384" y="127"/>
                      </a:cubicBezTo>
                      <a:cubicBezTo>
                        <a:pt x="384" y="126"/>
                        <a:pt x="384" y="126"/>
                        <a:pt x="384" y="126"/>
                      </a:cubicBezTo>
                      <a:cubicBezTo>
                        <a:pt x="384" y="125"/>
                        <a:pt x="384" y="125"/>
                        <a:pt x="384" y="125"/>
                      </a:cubicBezTo>
                      <a:cubicBezTo>
                        <a:pt x="383" y="125"/>
                        <a:pt x="383" y="125"/>
                        <a:pt x="383" y="125"/>
                      </a:cubicBezTo>
                      <a:cubicBezTo>
                        <a:pt x="382" y="124"/>
                        <a:pt x="382" y="124"/>
                        <a:pt x="382" y="124"/>
                      </a:cubicBezTo>
                      <a:close/>
                      <a:moveTo>
                        <a:pt x="357" y="139"/>
                      </a:moveTo>
                      <a:cubicBezTo>
                        <a:pt x="358" y="138"/>
                        <a:pt x="358" y="138"/>
                        <a:pt x="358" y="138"/>
                      </a:cubicBezTo>
                      <a:cubicBezTo>
                        <a:pt x="358" y="138"/>
                        <a:pt x="358" y="138"/>
                        <a:pt x="358" y="138"/>
                      </a:cubicBezTo>
                      <a:cubicBezTo>
                        <a:pt x="357" y="139"/>
                        <a:pt x="357" y="139"/>
                        <a:pt x="357" y="139"/>
                      </a:cubicBezTo>
                      <a:close/>
                      <a:moveTo>
                        <a:pt x="355" y="140"/>
                      </a:moveTo>
                      <a:cubicBezTo>
                        <a:pt x="357" y="141"/>
                        <a:pt x="357" y="141"/>
                        <a:pt x="357" y="141"/>
                      </a:cubicBezTo>
                      <a:cubicBezTo>
                        <a:pt x="357" y="140"/>
                        <a:pt x="357" y="140"/>
                        <a:pt x="357" y="140"/>
                      </a:cubicBezTo>
                      <a:cubicBezTo>
                        <a:pt x="355" y="140"/>
                        <a:pt x="355" y="140"/>
                        <a:pt x="355" y="140"/>
                      </a:cubicBezTo>
                      <a:close/>
                      <a:moveTo>
                        <a:pt x="347" y="144"/>
                      </a:moveTo>
                      <a:cubicBezTo>
                        <a:pt x="346" y="145"/>
                        <a:pt x="346" y="145"/>
                        <a:pt x="346" y="145"/>
                      </a:cubicBezTo>
                      <a:cubicBezTo>
                        <a:pt x="346" y="145"/>
                        <a:pt x="346" y="145"/>
                        <a:pt x="346" y="145"/>
                      </a:cubicBezTo>
                      <a:cubicBezTo>
                        <a:pt x="346" y="145"/>
                        <a:pt x="347" y="144"/>
                        <a:pt x="347" y="144"/>
                      </a:cubicBezTo>
                      <a:close/>
                      <a:moveTo>
                        <a:pt x="349" y="143"/>
                      </a:moveTo>
                      <a:cubicBezTo>
                        <a:pt x="347" y="143"/>
                        <a:pt x="347" y="143"/>
                        <a:pt x="347" y="143"/>
                      </a:cubicBezTo>
                      <a:cubicBezTo>
                        <a:pt x="348" y="144"/>
                        <a:pt x="348" y="144"/>
                        <a:pt x="348" y="144"/>
                      </a:cubicBezTo>
                      <a:cubicBezTo>
                        <a:pt x="349" y="144"/>
                        <a:pt x="349" y="144"/>
                        <a:pt x="349" y="144"/>
                      </a:cubicBezTo>
                      <a:cubicBezTo>
                        <a:pt x="349" y="143"/>
                        <a:pt x="349" y="143"/>
                        <a:pt x="349" y="143"/>
                      </a:cubicBezTo>
                      <a:close/>
                      <a:moveTo>
                        <a:pt x="349" y="150"/>
                      </a:moveTo>
                      <a:cubicBezTo>
                        <a:pt x="348" y="150"/>
                        <a:pt x="348" y="150"/>
                        <a:pt x="348" y="150"/>
                      </a:cubicBezTo>
                      <a:cubicBezTo>
                        <a:pt x="346" y="151"/>
                        <a:pt x="346" y="151"/>
                        <a:pt x="346" y="151"/>
                      </a:cubicBezTo>
                      <a:cubicBezTo>
                        <a:pt x="346" y="152"/>
                        <a:pt x="346" y="152"/>
                        <a:pt x="346" y="152"/>
                      </a:cubicBezTo>
                      <a:cubicBezTo>
                        <a:pt x="348" y="152"/>
                        <a:pt x="348" y="152"/>
                        <a:pt x="348" y="152"/>
                      </a:cubicBezTo>
                      <a:cubicBezTo>
                        <a:pt x="349" y="151"/>
                        <a:pt x="349" y="151"/>
                        <a:pt x="349" y="151"/>
                      </a:cubicBezTo>
                      <a:cubicBezTo>
                        <a:pt x="349" y="150"/>
                        <a:pt x="349" y="150"/>
                        <a:pt x="349" y="150"/>
                      </a:cubicBezTo>
                      <a:close/>
                      <a:moveTo>
                        <a:pt x="352" y="142"/>
                      </a:moveTo>
                      <a:cubicBezTo>
                        <a:pt x="350" y="145"/>
                        <a:pt x="350" y="145"/>
                        <a:pt x="350" y="145"/>
                      </a:cubicBezTo>
                      <a:cubicBezTo>
                        <a:pt x="350" y="145"/>
                        <a:pt x="350" y="145"/>
                        <a:pt x="350" y="145"/>
                      </a:cubicBezTo>
                      <a:cubicBezTo>
                        <a:pt x="350" y="146"/>
                        <a:pt x="350" y="146"/>
                        <a:pt x="350" y="146"/>
                      </a:cubicBezTo>
                      <a:cubicBezTo>
                        <a:pt x="349" y="147"/>
                        <a:pt x="349" y="147"/>
                        <a:pt x="349" y="147"/>
                      </a:cubicBezTo>
                      <a:cubicBezTo>
                        <a:pt x="349" y="149"/>
                        <a:pt x="349" y="149"/>
                        <a:pt x="349" y="149"/>
                      </a:cubicBezTo>
                      <a:cubicBezTo>
                        <a:pt x="350" y="150"/>
                        <a:pt x="350" y="150"/>
                        <a:pt x="350" y="150"/>
                      </a:cubicBezTo>
                      <a:cubicBezTo>
                        <a:pt x="352" y="149"/>
                        <a:pt x="352" y="149"/>
                        <a:pt x="352" y="149"/>
                      </a:cubicBezTo>
                      <a:cubicBezTo>
                        <a:pt x="354" y="147"/>
                        <a:pt x="354" y="147"/>
                        <a:pt x="354" y="147"/>
                      </a:cubicBezTo>
                      <a:cubicBezTo>
                        <a:pt x="354" y="144"/>
                        <a:pt x="354" y="144"/>
                        <a:pt x="354" y="144"/>
                      </a:cubicBezTo>
                      <a:cubicBezTo>
                        <a:pt x="354" y="143"/>
                        <a:pt x="354" y="143"/>
                        <a:pt x="354" y="143"/>
                      </a:cubicBezTo>
                      <a:cubicBezTo>
                        <a:pt x="355" y="142"/>
                        <a:pt x="355" y="142"/>
                        <a:pt x="355" y="142"/>
                      </a:cubicBezTo>
                      <a:cubicBezTo>
                        <a:pt x="354" y="141"/>
                        <a:pt x="354" y="141"/>
                        <a:pt x="354" y="141"/>
                      </a:cubicBezTo>
                      <a:cubicBezTo>
                        <a:pt x="353" y="141"/>
                        <a:pt x="353" y="141"/>
                        <a:pt x="353" y="141"/>
                      </a:cubicBezTo>
                      <a:cubicBezTo>
                        <a:pt x="352" y="141"/>
                        <a:pt x="352" y="141"/>
                        <a:pt x="352" y="141"/>
                      </a:cubicBezTo>
                      <a:cubicBezTo>
                        <a:pt x="352" y="142"/>
                        <a:pt x="352" y="142"/>
                        <a:pt x="352" y="142"/>
                      </a:cubicBezTo>
                      <a:close/>
                      <a:moveTo>
                        <a:pt x="338" y="132"/>
                      </a:moveTo>
                      <a:cubicBezTo>
                        <a:pt x="339" y="132"/>
                        <a:pt x="339" y="132"/>
                        <a:pt x="339" y="132"/>
                      </a:cubicBezTo>
                      <a:cubicBezTo>
                        <a:pt x="338" y="131"/>
                        <a:pt x="338" y="131"/>
                        <a:pt x="338" y="131"/>
                      </a:cubicBezTo>
                      <a:cubicBezTo>
                        <a:pt x="338" y="132"/>
                        <a:pt x="338" y="132"/>
                        <a:pt x="338" y="132"/>
                      </a:cubicBezTo>
                      <a:close/>
                      <a:moveTo>
                        <a:pt x="333" y="135"/>
                      </a:moveTo>
                      <a:cubicBezTo>
                        <a:pt x="332" y="136"/>
                        <a:pt x="332" y="136"/>
                        <a:pt x="332" y="136"/>
                      </a:cubicBezTo>
                      <a:cubicBezTo>
                        <a:pt x="334" y="136"/>
                        <a:pt x="334" y="136"/>
                        <a:pt x="334" y="136"/>
                      </a:cubicBezTo>
                      <a:cubicBezTo>
                        <a:pt x="333" y="135"/>
                        <a:pt x="333" y="135"/>
                        <a:pt x="333" y="135"/>
                      </a:cubicBezTo>
                      <a:close/>
                      <a:moveTo>
                        <a:pt x="337" y="150"/>
                      </a:moveTo>
                      <a:cubicBezTo>
                        <a:pt x="335" y="151"/>
                        <a:pt x="335" y="151"/>
                        <a:pt x="335" y="151"/>
                      </a:cubicBezTo>
                      <a:cubicBezTo>
                        <a:pt x="336" y="151"/>
                        <a:pt x="336" y="151"/>
                        <a:pt x="336" y="151"/>
                      </a:cubicBezTo>
                      <a:cubicBezTo>
                        <a:pt x="337" y="150"/>
                        <a:pt x="337" y="150"/>
                        <a:pt x="337" y="150"/>
                      </a:cubicBezTo>
                      <a:close/>
                      <a:moveTo>
                        <a:pt x="334" y="147"/>
                      </a:moveTo>
                      <a:cubicBezTo>
                        <a:pt x="335" y="147"/>
                        <a:pt x="335" y="147"/>
                        <a:pt x="335" y="147"/>
                      </a:cubicBezTo>
                      <a:cubicBezTo>
                        <a:pt x="336" y="148"/>
                        <a:pt x="336" y="148"/>
                        <a:pt x="336" y="148"/>
                      </a:cubicBezTo>
                      <a:cubicBezTo>
                        <a:pt x="336" y="149"/>
                        <a:pt x="336" y="149"/>
                        <a:pt x="336" y="149"/>
                      </a:cubicBezTo>
                      <a:cubicBezTo>
                        <a:pt x="335" y="150"/>
                        <a:pt x="335" y="150"/>
                        <a:pt x="335" y="150"/>
                      </a:cubicBezTo>
                      <a:cubicBezTo>
                        <a:pt x="334" y="149"/>
                        <a:pt x="334" y="149"/>
                        <a:pt x="334" y="149"/>
                      </a:cubicBezTo>
                      <a:cubicBezTo>
                        <a:pt x="334" y="147"/>
                        <a:pt x="334" y="147"/>
                        <a:pt x="334" y="147"/>
                      </a:cubicBezTo>
                      <a:close/>
                      <a:moveTo>
                        <a:pt x="323" y="141"/>
                      </a:moveTo>
                      <a:cubicBezTo>
                        <a:pt x="324" y="140"/>
                        <a:pt x="324" y="140"/>
                        <a:pt x="324" y="140"/>
                      </a:cubicBezTo>
                      <a:cubicBezTo>
                        <a:pt x="325" y="141"/>
                        <a:pt x="325" y="141"/>
                        <a:pt x="325" y="141"/>
                      </a:cubicBezTo>
                      <a:cubicBezTo>
                        <a:pt x="324" y="141"/>
                        <a:pt x="324" y="141"/>
                        <a:pt x="324" y="141"/>
                      </a:cubicBezTo>
                      <a:cubicBezTo>
                        <a:pt x="323" y="141"/>
                        <a:pt x="323" y="141"/>
                        <a:pt x="323" y="141"/>
                      </a:cubicBezTo>
                      <a:cubicBezTo>
                        <a:pt x="323" y="141"/>
                        <a:pt x="323" y="141"/>
                        <a:pt x="323" y="141"/>
                      </a:cubicBezTo>
                      <a:close/>
                      <a:moveTo>
                        <a:pt x="325" y="152"/>
                      </a:moveTo>
                      <a:cubicBezTo>
                        <a:pt x="327" y="152"/>
                        <a:pt x="327" y="152"/>
                        <a:pt x="327" y="152"/>
                      </a:cubicBezTo>
                      <a:cubicBezTo>
                        <a:pt x="328" y="153"/>
                        <a:pt x="328" y="153"/>
                        <a:pt x="328" y="153"/>
                      </a:cubicBezTo>
                      <a:cubicBezTo>
                        <a:pt x="326" y="153"/>
                        <a:pt x="326" y="153"/>
                        <a:pt x="326" y="153"/>
                      </a:cubicBezTo>
                      <a:cubicBezTo>
                        <a:pt x="325" y="152"/>
                        <a:pt x="325" y="152"/>
                        <a:pt x="325" y="152"/>
                      </a:cubicBezTo>
                      <a:close/>
                      <a:moveTo>
                        <a:pt x="310" y="145"/>
                      </a:moveTo>
                      <a:cubicBezTo>
                        <a:pt x="312" y="144"/>
                        <a:pt x="312" y="144"/>
                        <a:pt x="312" y="144"/>
                      </a:cubicBezTo>
                      <a:cubicBezTo>
                        <a:pt x="311" y="144"/>
                        <a:pt x="311" y="144"/>
                        <a:pt x="311" y="144"/>
                      </a:cubicBezTo>
                      <a:cubicBezTo>
                        <a:pt x="310" y="144"/>
                        <a:pt x="310" y="144"/>
                        <a:pt x="310" y="144"/>
                      </a:cubicBezTo>
                      <a:cubicBezTo>
                        <a:pt x="310" y="145"/>
                        <a:pt x="310" y="145"/>
                        <a:pt x="310" y="145"/>
                      </a:cubicBezTo>
                      <a:close/>
                      <a:moveTo>
                        <a:pt x="316" y="151"/>
                      </a:moveTo>
                      <a:cubicBezTo>
                        <a:pt x="318" y="151"/>
                        <a:pt x="318" y="151"/>
                        <a:pt x="318" y="151"/>
                      </a:cubicBezTo>
                      <a:cubicBezTo>
                        <a:pt x="320" y="151"/>
                        <a:pt x="320" y="151"/>
                        <a:pt x="320" y="151"/>
                      </a:cubicBezTo>
                      <a:cubicBezTo>
                        <a:pt x="320" y="152"/>
                        <a:pt x="320" y="152"/>
                        <a:pt x="320" y="152"/>
                      </a:cubicBezTo>
                      <a:cubicBezTo>
                        <a:pt x="318" y="153"/>
                        <a:pt x="318" y="153"/>
                        <a:pt x="318" y="153"/>
                      </a:cubicBezTo>
                      <a:cubicBezTo>
                        <a:pt x="316" y="152"/>
                        <a:pt x="316" y="152"/>
                        <a:pt x="316" y="152"/>
                      </a:cubicBezTo>
                      <a:cubicBezTo>
                        <a:pt x="316" y="151"/>
                        <a:pt x="316" y="151"/>
                        <a:pt x="316" y="151"/>
                      </a:cubicBezTo>
                      <a:close/>
                      <a:moveTo>
                        <a:pt x="313" y="152"/>
                      </a:moveTo>
                      <a:cubicBezTo>
                        <a:pt x="314" y="152"/>
                        <a:pt x="314" y="152"/>
                        <a:pt x="314" y="152"/>
                      </a:cubicBezTo>
                      <a:cubicBezTo>
                        <a:pt x="314" y="153"/>
                        <a:pt x="314" y="153"/>
                        <a:pt x="314" y="153"/>
                      </a:cubicBezTo>
                      <a:cubicBezTo>
                        <a:pt x="313" y="152"/>
                        <a:pt x="313" y="152"/>
                        <a:pt x="313" y="152"/>
                      </a:cubicBezTo>
                      <a:close/>
                      <a:moveTo>
                        <a:pt x="308" y="151"/>
                      </a:moveTo>
                      <a:cubicBezTo>
                        <a:pt x="310" y="151"/>
                        <a:pt x="310" y="151"/>
                        <a:pt x="310" y="151"/>
                      </a:cubicBezTo>
                      <a:cubicBezTo>
                        <a:pt x="311" y="151"/>
                        <a:pt x="311" y="151"/>
                        <a:pt x="311" y="151"/>
                      </a:cubicBezTo>
                      <a:cubicBezTo>
                        <a:pt x="309" y="152"/>
                        <a:pt x="309" y="152"/>
                        <a:pt x="309" y="152"/>
                      </a:cubicBezTo>
                      <a:cubicBezTo>
                        <a:pt x="308" y="151"/>
                        <a:pt x="308" y="151"/>
                        <a:pt x="308" y="151"/>
                      </a:cubicBezTo>
                      <a:close/>
                      <a:moveTo>
                        <a:pt x="272" y="172"/>
                      </a:moveTo>
                      <a:cubicBezTo>
                        <a:pt x="272" y="174"/>
                        <a:pt x="272" y="174"/>
                        <a:pt x="272" y="174"/>
                      </a:cubicBezTo>
                      <a:cubicBezTo>
                        <a:pt x="273" y="175"/>
                        <a:pt x="273" y="175"/>
                        <a:pt x="273" y="175"/>
                      </a:cubicBezTo>
                      <a:cubicBezTo>
                        <a:pt x="276" y="175"/>
                        <a:pt x="276" y="175"/>
                        <a:pt x="276" y="175"/>
                      </a:cubicBezTo>
                      <a:cubicBezTo>
                        <a:pt x="279" y="173"/>
                        <a:pt x="279" y="173"/>
                        <a:pt x="279" y="173"/>
                      </a:cubicBezTo>
                      <a:cubicBezTo>
                        <a:pt x="280" y="172"/>
                        <a:pt x="280" y="172"/>
                        <a:pt x="280" y="172"/>
                      </a:cubicBezTo>
                      <a:cubicBezTo>
                        <a:pt x="282" y="173"/>
                        <a:pt x="282" y="173"/>
                        <a:pt x="282" y="173"/>
                      </a:cubicBezTo>
                      <a:cubicBezTo>
                        <a:pt x="284" y="171"/>
                        <a:pt x="284" y="171"/>
                        <a:pt x="284" y="171"/>
                      </a:cubicBezTo>
                      <a:cubicBezTo>
                        <a:pt x="285" y="169"/>
                        <a:pt x="285" y="169"/>
                        <a:pt x="285" y="169"/>
                      </a:cubicBezTo>
                      <a:cubicBezTo>
                        <a:pt x="289" y="167"/>
                        <a:pt x="289" y="167"/>
                        <a:pt x="289" y="167"/>
                      </a:cubicBezTo>
                      <a:cubicBezTo>
                        <a:pt x="289" y="165"/>
                        <a:pt x="289" y="165"/>
                        <a:pt x="289" y="165"/>
                      </a:cubicBezTo>
                      <a:cubicBezTo>
                        <a:pt x="290" y="165"/>
                        <a:pt x="290" y="165"/>
                        <a:pt x="290" y="165"/>
                      </a:cubicBezTo>
                      <a:cubicBezTo>
                        <a:pt x="288" y="163"/>
                        <a:pt x="288" y="163"/>
                        <a:pt x="288" y="163"/>
                      </a:cubicBezTo>
                      <a:cubicBezTo>
                        <a:pt x="286" y="160"/>
                        <a:pt x="286" y="160"/>
                        <a:pt x="286" y="160"/>
                      </a:cubicBezTo>
                      <a:cubicBezTo>
                        <a:pt x="285" y="161"/>
                        <a:pt x="285" y="161"/>
                        <a:pt x="285" y="161"/>
                      </a:cubicBezTo>
                      <a:cubicBezTo>
                        <a:pt x="284" y="161"/>
                        <a:pt x="284" y="161"/>
                        <a:pt x="284" y="161"/>
                      </a:cubicBezTo>
                      <a:cubicBezTo>
                        <a:pt x="283" y="164"/>
                        <a:pt x="283" y="164"/>
                        <a:pt x="283" y="164"/>
                      </a:cubicBezTo>
                      <a:cubicBezTo>
                        <a:pt x="282" y="164"/>
                        <a:pt x="282" y="164"/>
                        <a:pt x="282" y="164"/>
                      </a:cubicBezTo>
                      <a:cubicBezTo>
                        <a:pt x="280" y="165"/>
                        <a:pt x="280" y="165"/>
                        <a:pt x="280" y="165"/>
                      </a:cubicBezTo>
                      <a:cubicBezTo>
                        <a:pt x="278" y="163"/>
                        <a:pt x="278" y="163"/>
                        <a:pt x="278" y="163"/>
                      </a:cubicBezTo>
                      <a:cubicBezTo>
                        <a:pt x="278" y="164"/>
                        <a:pt x="278" y="164"/>
                        <a:pt x="278" y="164"/>
                      </a:cubicBezTo>
                      <a:cubicBezTo>
                        <a:pt x="276" y="165"/>
                        <a:pt x="276" y="165"/>
                        <a:pt x="276" y="165"/>
                      </a:cubicBezTo>
                      <a:cubicBezTo>
                        <a:pt x="275" y="167"/>
                        <a:pt x="275" y="167"/>
                        <a:pt x="275" y="167"/>
                      </a:cubicBezTo>
                      <a:cubicBezTo>
                        <a:pt x="273" y="170"/>
                        <a:pt x="273" y="170"/>
                        <a:pt x="273" y="170"/>
                      </a:cubicBezTo>
                      <a:cubicBezTo>
                        <a:pt x="273" y="171"/>
                        <a:pt x="273" y="171"/>
                        <a:pt x="273" y="171"/>
                      </a:cubicBezTo>
                      <a:cubicBezTo>
                        <a:pt x="274" y="172"/>
                        <a:pt x="274" y="172"/>
                        <a:pt x="274" y="172"/>
                      </a:cubicBezTo>
                      <a:cubicBezTo>
                        <a:pt x="274" y="173"/>
                        <a:pt x="274" y="173"/>
                        <a:pt x="274" y="173"/>
                      </a:cubicBezTo>
                      <a:cubicBezTo>
                        <a:pt x="273" y="173"/>
                        <a:pt x="273" y="173"/>
                        <a:pt x="273" y="173"/>
                      </a:cubicBezTo>
                      <a:cubicBezTo>
                        <a:pt x="272" y="172"/>
                        <a:pt x="272" y="172"/>
                        <a:pt x="272" y="172"/>
                      </a:cubicBezTo>
                      <a:close/>
                      <a:moveTo>
                        <a:pt x="270" y="174"/>
                      </a:moveTo>
                      <a:cubicBezTo>
                        <a:pt x="271" y="172"/>
                        <a:pt x="271" y="172"/>
                        <a:pt x="271" y="172"/>
                      </a:cubicBezTo>
                      <a:cubicBezTo>
                        <a:pt x="270" y="172"/>
                        <a:pt x="270" y="172"/>
                        <a:pt x="270" y="172"/>
                      </a:cubicBezTo>
                      <a:cubicBezTo>
                        <a:pt x="269" y="174"/>
                        <a:pt x="269" y="174"/>
                        <a:pt x="269" y="174"/>
                      </a:cubicBezTo>
                      <a:cubicBezTo>
                        <a:pt x="270" y="174"/>
                        <a:pt x="270" y="174"/>
                        <a:pt x="270" y="174"/>
                      </a:cubicBezTo>
                      <a:close/>
                      <a:moveTo>
                        <a:pt x="271" y="176"/>
                      </a:moveTo>
                      <a:cubicBezTo>
                        <a:pt x="269" y="177"/>
                        <a:pt x="269" y="177"/>
                        <a:pt x="269" y="177"/>
                      </a:cubicBezTo>
                      <a:cubicBezTo>
                        <a:pt x="269" y="177"/>
                        <a:pt x="269" y="177"/>
                        <a:pt x="269" y="177"/>
                      </a:cubicBezTo>
                      <a:cubicBezTo>
                        <a:pt x="266" y="178"/>
                        <a:pt x="266" y="178"/>
                        <a:pt x="266" y="178"/>
                      </a:cubicBezTo>
                      <a:cubicBezTo>
                        <a:pt x="265" y="180"/>
                        <a:pt x="265" y="180"/>
                        <a:pt x="265" y="180"/>
                      </a:cubicBezTo>
                      <a:cubicBezTo>
                        <a:pt x="266" y="180"/>
                        <a:pt x="266" y="180"/>
                        <a:pt x="266" y="180"/>
                      </a:cubicBezTo>
                      <a:cubicBezTo>
                        <a:pt x="270" y="178"/>
                        <a:pt x="270" y="178"/>
                        <a:pt x="270" y="178"/>
                      </a:cubicBezTo>
                      <a:cubicBezTo>
                        <a:pt x="271" y="177"/>
                        <a:pt x="271" y="177"/>
                        <a:pt x="271" y="177"/>
                      </a:cubicBezTo>
                      <a:cubicBezTo>
                        <a:pt x="271" y="176"/>
                        <a:pt x="271" y="176"/>
                        <a:pt x="271" y="176"/>
                      </a:cubicBezTo>
                      <a:close/>
                      <a:moveTo>
                        <a:pt x="256" y="175"/>
                      </a:moveTo>
                      <a:cubicBezTo>
                        <a:pt x="257" y="176"/>
                        <a:pt x="257" y="176"/>
                        <a:pt x="257" y="176"/>
                      </a:cubicBezTo>
                      <a:cubicBezTo>
                        <a:pt x="257" y="177"/>
                        <a:pt x="257" y="177"/>
                        <a:pt x="257" y="177"/>
                      </a:cubicBezTo>
                      <a:cubicBezTo>
                        <a:pt x="256" y="178"/>
                        <a:pt x="256" y="178"/>
                        <a:pt x="256" y="178"/>
                      </a:cubicBezTo>
                      <a:cubicBezTo>
                        <a:pt x="254" y="177"/>
                        <a:pt x="254" y="177"/>
                        <a:pt x="254" y="177"/>
                      </a:cubicBezTo>
                      <a:cubicBezTo>
                        <a:pt x="255" y="176"/>
                        <a:pt x="255" y="176"/>
                        <a:pt x="255" y="176"/>
                      </a:cubicBezTo>
                      <a:cubicBezTo>
                        <a:pt x="256" y="175"/>
                        <a:pt x="256" y="175"/>
                        <a:pt x="256" y="175"/>
                      </a:cubicBezTo>
                      <a:close/>
                      <a:moveTo>
                        <a:pt x="228" y="165"/>
                      </a:moveTo>
                      <a:cubicBezTo>
                        <a:pt x="232" y="162"/>
                        <a:pt x="232" y="162"/>
                        <a:pt x="232" y="162"/>
                      </a:cubicBezTo>
                      <a:cubicBezTo>
                        <a:pt x="235" y="165"/>
                        <a:pt x="235" y="165"/>
                        <a:pt x="235" y="165"/>
                      </a:cubicBezTo>
                      <a:cubicBezTo>
                        <a:pt x="237" y="165"/>
                        <a:pt x="237" y="165"/>
                        <a:pt x="237" y="165"/>
                      </a:cubicBezTo>
                      <a:cubicBezTo>
                        <a:pt x="238" y="164"/>
                        <a:pt x="238" y="164"/>
                        <a:pt x="238" y="164"/>
                      </a:cubicBezTo>
                      <a:cubicBezTo>
                        <a:pt x="241" y="165"/>
                        <a:pt x="241" y="165"/>
                        <a:pt x="241" y="165"/>
                      </a:cubicBezTo>
                      <a:cubicBezTo>
                        <a:pt x="241" y="166"/>
                        <a:pt x="241" y="166"/>
                        <a:pt x="241" y="166"/>
                      </a:cubicBezTo>
                      <a:cubicBezTo>
                        <a:pt x="243" y="166"/>
                        <a:pt x="243" y="166"/>
                        <a:pt x="243" y="166"/>
                      </a:cubicBezTo>
                      <a:cubicBezTo>
                        <a:pt x="245" y="169"/>
                        <a:pt x="245" y="169"/>
                        <a:pt x="245" y="169"/>
                      </a:cubicBezTo>
                      <a:cubicBezTo>
                        <a:pt x="246" y="171"/>
                        <a:pt x="246" y="171"/>
                        <a:pt x="246" y="171"/>
                      </a:cubicBezTo>
                      <a:cubicBezTo>
                        <a:pt x="247" y="172"/>
                        <a:pt x="247" y="172"/>
                        <a:pt x="247" y="172"/>
                      </a:cubicBezTo>
                      <a:cubicBezTo>
                        <a:pt x="244" y="173"/>
                        <a:pt x="244" y="173"/>
                        <a:pt x="244" y="173"/>
                      </a:cubicBezTo>
                      <a:cubicBezTo>
                        <a:pt x="241" y="173"/>
                        <a:pt x="241" y="173"/>
                        <a:pt x="241" y="173"/>
                      </a:cubicBezTo>
                      <a:cubicBezTo>
                        <a:pt x="239" y="172"/>
                        <a:pt x="239" y="172"/>
                        <a:pt x="239" y="172"/>
                      </a:cubicBezTo>
                      <a:cubicBezTo>
                        <a:pt x="238" y="170"/>
                        <a:pt x="238" y="170"/>
                        <a:pt x="238" y="170"/>
                      </a:cubicBezTo>
                      <a:cubicBezTo>
                        <a:pt x="236" y="170"/>
                        <a:pt x="236" y="170"/>
                        <a:pt x="236" y="170"/>
                      </a:cubicBezTo>
                      <a:cubicBezTo>
                        <a:pt x="234" y="168"/>
                        <a:pt x="234" y="168"/>
                        <a:pt x="234" y="168"/>
                      </a:cubicBezTo>
                      <a:cubicBezTo>
                        <a:pt x="232" y="168"/>
                        <a:pt x="232" y="168"/>
                        <a:pt x="232" y="168"/>
                      </a:cubicBezTo>
                      <a:cubicBezTo>
                        <a:pt x="230" y="168"/>
                        <a:pt x="230" y="168"/>
                        <a:pt x="230" y="168"/>
                      </a:cubicBezTo>
                      <a:cubicBezTo>
                        <a:pt x="228" y="166"/>
                        <a:pt x="228" y="166"/>
                        <a:pt x="228" y="166"/>
                      </a:cubicBezTo>
                      <a:cubicBezTo>
                        <a:pt x="228" y="165"/>
                        <a:pt x="228" y="165"/>
                        <a:pt x="228" y="165"/>
                      </a:cubicBezTo>
                      <a:close/>
                      <a:moveTo>
                        <a:pt x="198" y="142"/>
                      </a:moveTo>
                      <a:cubicBezTo>
                        <a:pt x="200" y="142"/>
                        <a:pt x="200" y="142"/>
                        <a:pt x="200" y="142"/>
                      </a:cubicBezTo>
                      <a:cubicBezTo>
                        <a:pt x="200" y="142"/>
                        <a:pt x="200" y="142"/>
                        <a:pt x="200" y="142"/>
                      </a:cubicBezTo>
                      <a:cubicBezTo>
                        <a:pt x="200" y="143"/>
                        <a:pt x="200" y="143"/>
                        <a:pt x="200" y="143"/>
                      </a:cubicBezTo>
                      <a:cubicBezTo>
                        <a:pt x="199" y="142"/>
                        <a:pt x="199" y="142"/>
                        <a:pt x="199" y="142"/>
                      </a:cubicBezTo>
                      <a:cubicBezTo>
                        <a:pt x="198" y="142"/>
                        <a:pt x="198" y="142"/>
                        <a:pt x="198" y="142"/>
                      </a:cubicBezTo>
                      <a:close/>
                      <a:moveTo>
                        <a:pt x="193" y="139"/>
                      </a:move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39"/>
                        <a:pt x="195" y="139"/>
                        <a:pt x="195" y="139"/>
                      </a:cubicBezTo>
                      <a:cubicBezTo>
                        <a:pt x="196" y="139"/>
                        <a:pt x="196" y="139"/>
                        <a:pt x="196" y="139"/>
                      </a:cubicBezTo>
                      <a:cubicBezTo>
                        <a:pt x="197" y="139"/>
                        <a:pt x="197" y="139"/>
                        <a:pt x="197" y="139"/>
                      </a:cubicBezTo>
                      <a:cubicBezTo>
                        <a:pt x="196" y="138"/>
                        <a:pt x="196" y="138"/>
                        <a:pt x="196" y="138"/>
                      </a:cubicBezTo>
                      <a:cubicBezTo>
                        <a:pt x="195" y="138"/>
                        <a:pt x="195" y="138"/>
                        <a:pt x="195" y="138"/>
                      </a:cubicBezTo>
                      <a:cubicBezTo>
                        <a:pt x="193" y="138"/>
                        <a:pt x="193" y="138"/>
                        <a:pt x="193" y="138"/>
                      </a:cubicBezTo>
                      <a:cubicBezTo>
                        <a:pt x="193" y="138"/>
                        <a:pt x="193" y="138"/>
                        <a:pt x="193" y="138"/>
                      </a:cubicBezTo>
                      <a:cubicBezTo>
                        <a:pt x="193" y="139"/>
                        <a:pt x="193" y="139"/>
                        <a:pt x="193" y="139"/>
                      </a:cubicBezTo>
                      <a:close/>
                      <a:moveTo>
                        <a:pt x="297" y="149"/>
                      </a:moveTo>
                      <a:cubicBezTo>
                        <a:pt x="299" y="148"/>
                        <a:pt x="299" y="148"/>
                        <a:pt x="299" y="148"/>
                      </a:cubicBezTo>
                      <a:cubicBezTo>
                        <a:pt x="302" y="148"/>
                        <a:pt x="302" y="148"/>
                        <a:pt x="302" y="148"/>
                      </a:cubicBezTo>
                      <a:cubicBezTo>
                        <a:pt x="303" y="149"/>
                        <a:pt x="303" y="149"/>
                        <a:pt x="303" y="149"/>
                      </a:cubicBezTo>
                      <a:cubicBezTo>
                        <a:pt x="303" y="148"/>
                        <a:pt x="303" y="148"/>
                        <a:pt x="303" y="148"/>
                      </a:cubicBezTo>
                      <a:cubicBezTo>
                        <a:pt x="305" y="147"/>
                        <a:pt x="305" y="147"/>
                        <a:pt x="305" y="147"/>
                      </a:cubicBezTo>
                      <a:cubicBezTo>
                        <a:pt x="306" y="147"/>
                        <a:pt x="306" y="147"/>
                        <a:pt x="306" y="147"/>
                      </a:cubicBezTo>
                      <a:cubicBezTo>
                        <a:pt x="306" y="145"/>
                        <a:pt x="306" y="145"/>
                        <a:pt x="306" y="145"/>
                      </a:cubicBezTo>
                      <a:cubicBezTo>
                        <a:pt x="304" y="145"/>
                        <a:pt x="304" y="145"/>
                        <a:pt x="304" y="145"/>
                      </a:cubicBezTo>
                      <a:cubicBezTo>
                        <a:pt x="303" y="146"/>
                        <a:pt x="303" y="146"/>
                        <a:pt x="303" y="146"/>
                      </a:cubicBezTo>
                      <a:cubicBezTo>
                        <a:pt x="300" y="146"/>
                        <a:pt x="300" y="146"/>
                        <a:pt x="300" y="146"/>
                      </a:cubicBezTo>
                      <a:cubicBezTo>
                        <a:pt x="299" y="145"/>
                        <a:pt x="299" y="145"/>
                        <a:pt x="299" y="145"/>
                      </a:cubicBezTo>
                      <a:cubicBezTo>
                        <a:pt x="297" y="146"/>
                        <a:pt x="297" y="146"/>
                        <a:pt x="297" y="146"/>
                      </a:cubicBezTo>
                      <a:cubicBezTo>
                        <a:pt x="296" y="148"/>
                        <a:pt x="296" y="148"/>
                        <a:pt x="296" y="148"/>
                      </a:cubicBezTo>
                      <a:cubicBezTo>
                        <a:pt x="297" y="149"/>
                        <a:pt x="297" y="149"/>
                        <a:pt x="297" y="149"/>
                      </a:cubicBezTo>
                      <a:close/>
                      <a:moveTo>
                        <a:pt x="294" y="152"/>
                      </a:moveTo>
                      <a:cubicBezTo>
                        <a:pt x="293" y="153"/>
                        <a:pt x="293" y="153"/>
                        <a:pt x="293" y="153"/>
                      </a:cubicBezTo>
                      <a:cubicBezTo>
                        <a:pt x="293" y="153"/>
                        <a:pt x="293" y="153"/>
                        <a:pt x="293" y="153"/>
                      </a:cubicBezTo>
                      <a:cubicBezTo>
                        <a:pt x="294" y="152"/>
                        <a:pt x="294" y="152"/>
                        <a:pt x="294" y="152"/>
                      </a:cubicBezTo>
                      <a:cubicBezTo>
                        <a:pt x="294" y="152"/>
                        <a:pt x="294" y="152"/>
                        <a:pt x="294" y="152"/>
                      </a:cubicBezTo>
                      <a:close/>
                      <a:moveTo>
                        <a:pt x="285" y="152"/>
                      </a:moveTo>
                      <a:cubicBezTo>
                        <a:pt x="283" y="152"/>
                        <a:pt x="283" y="152"/>
                        <a:pt x="283" y="152"/>
                      </a:cubicBezTo>
                      <a:cubicBezTo>
                        <a:pt x="284" y="153"/>
                        <a:pt x="284" y="153"/>
                        <a:pt x="284" y="153"/>
                      </a:cubicBezTo>
                      <a:cubicBezTo>
                        <a:pt x="283" y="154"/>
                        <a:pt x="283" y="154"/>
                        <a:pt x="283" y="154"/>
                      </a:cubicBezTo>
                      <a:cubicBezTo>
                        <a:pt x="283" y="154"/>
                        <a:pt x="283" y="154"/>
                        <a:pt x="283" y="154"/>
                      </a:cubicBezTo>
                      <a:cubicBezTo>
                        <a:pt x="285" y="155"/>
                        <a:pt x="285" y="155"/>
                        <a:pt x="285" y="155"/>
                      </a:cubicBezTo>
                      <a:cubicBezTo>
                        <a:pt x="288" y="154"/>
                        <a:pt x="288" y="154"/>
                        <a:pt x="288" y="154"/>
                      </a:cubicBezTo>
                      <a:cubicBezTo>
                        <a:pt x="289" y="152"/>
                        <a:pt x="289" y="152"/>
                        <a:pt x="289" y="152"/>
                      </a:cubicBezTo>
                      <a:cubicBezTo>
                        <a:pt x="288" y="152"/>
                        <a:pt x="288" y="152"/>
                        <a:pt x="288" y="152"/>
                      </a:cubicBezTo>
                      <a:cubicBezTo>
                        <a:pt x="286" y="152"/>
                        <a:pt x="286" y="152"/>
                        <a:pt x="286" y="152"/>
                      </a:cubicBezTo>
                      <a:cubicBezTo>
                        <a:pt x="285" y="152"/>
                        <a:pt x="285" y="152"/>
                        <a:pt x="285" y="152"/>
                      </a:cubicBezTo>
                      <a:close/>
                      <a:moveTo>
                        <a:pt x="278" y="155"/>
                      </a:moveTo>
                      <a:cubicBezTo>
                        <a:pt x="279" y="155"/>
                        <a:pt x="279" y="155"/>
                        <a:pt x="279" y="155"/>
                      </a:cubicBezTo>
                      <a:cubicBezTo>
                        <a:pt x="280" y="156"/>
                        <a:pt x="280" y="156"/>
                        <a:pt x="280" y="156"/>
                      </a:cubicBezTo>
                      <a:cubicBezTo>
                        <a:pt x="281" y="154"/>
                        <a:pt x="281" y="154"/>
                        <a:pt x="281" y="154"/>
                      </a:cubicBezTo>
                      <a:cubicBezTo>
                        <a:pt x="281" y="153"/>
                        <a:pt x="281" y="153"/>
                        <a:pt x="281" y="153"/>
                      </a:cubicBezTo>
                      <a:cubicBezTo>
                        <a:pt x="280" y="154"/>
                        <a:pt x="280" y="154"/>
                        <a:pt x="280" y="154"/>
                      </a:cubicBezTo>
                      <a:cubicBezTo>
                        <a:pt x="279" y="154"/>
                        <a:pt x="279" y="154"/>
                        <a:pt x="279" y="154"/>
                      </a:cubicBezTo>
                      <a:cubicBezTo>
                        <a:pt x="278" y="155"/>
                        <a:pt x="278" y="155"/>
                        <a:pt x="278" y="155"/>
                      </a:cubicBezTo>
                      <a:close/>
                      <a:moveTo>
                        <a:pt x="272" y="156"/>
                      </a:moveTo>
                      <a:cubicBezTo>
                        <a:pt x="274" y="154"/>
                        <a:pt x="274" y="154"/>
                        <a:pt x="274" y="154"/>
                      </a:cubicBezTo>
                      <a:cubicBezTo>
                        <a:pt x="273" y="153"/>
                        <a:pt x="273" y="153"/>
                        <a:pt x="273" y="153"/>
                      </a:cubicBezTo>
                      <a:cubicBezTo>
                        <a:pt x="274" y="153"/>
                        <a:pt x="274" y="153"/>
                        <a:pt x="274" y="153"/>
                      </a:cubicBezTo>
                      <a:cubicBezTo>
                        <a:pt x="275" y="153"/>
                        <a:pt x="275" y="153"/>
                        <a:pt x="275" y="153"/>
                      </a:cubicBezTo>
                      <a:cubicBezTo>
                        <a:pt x="277" y="152"/>
                        <a:pt x="277" y="152"/>
                        <a:pt x="277" y="152"/>
                      </a:cubicBezTo>
                      <a:cubicBezTo>
                        <a:pt x="278" y="153"/>
                        <a:pt x="278" y="153"/>
                        <a:pt x="278" y="153"/>
                      </a:cubicBezTo>
                      <a:cubicBezTo>
                        <a:pt x="276" y="155"/>
                        <a:pt x="276" y="155"/>
                        <a:pt x="276" y="155"/>
                      </a:cubicBezTo>
                      <a:cubicBezTo>
                        <a:pt x="275" y="156"/>
                        <a:pt x="275" y="156"/>
                        <a:pt x="275" y="156"/>
                      </a:cubicBezTo>
                      <a:cubicBezTo>
                        <a:pt x="273" y="156"/>
                        <a:pt x="273" y="156"/>
                        <a:pt x="273" y="156"/>
                      </a:cubicBezTo>
                      <a:cubicBezTo>
                        <a:pt x="272" y="156"/>
                        <a:pt x="272" y="156"/>
                        <a:pt x="272" y="156"/>
                      </a:cubicBezTo>
                      <a:close/>
                      <a:moveTo>
                        <a:pt x="270" y="155"/>
                      </a:moveTo>
                      <a:cubicBezTo>
                        <a:pt x="268" y="156"/>
                        <a:pt x="268" y="156"/>
                        <a:pt x="268" y="156"/>
                      </a:cubicBezTo>
                      <a:cubicBezTo>
                        <a:pt x="267" y="157"/>
                        <a:pt x="267" y="157"/>
                        <a:pt x="267" y="157"/>
                      </a:cubicBezTo>
                      <a:cubicBezTo>
                        <a:pt x="269" y="156"/>
                        <a:pt x="269" y="156"/>
                        <a:pt x="269" y="156"/>
                      </a:cubicBezTo>
                      <a:cubicBezTo>
                        <a:pt x="270" y="155"/>
                        <a:pt x="270" y="155"/>
                        <a:pt x="270" y="155"/>
                      </a:cubicBezTo>
                      <a:close/>
                      <a:moveTo>
                        <a:pt x="271" y="152"/>
                      </a:moveTo>
                      <a:cubicBezTo>
                        <a:pt x="270" y="153"/>
                        <a:pt x="270" y="153"/>
                        <a:pt x="270" y="153"/>
                      </a:cubicBezTo>
                      <a:cubicBezTo>
                        <a:pt x="271" y="154"/>
                        <a:pt x="271" y="154"/>
                        <a:pt x="271" y="154"/>
                      </a:cubicBezTo>
                      <a:cubicBezTo>
                        <a:pt x="271" y="153"/>
                        <a:pt x="271" y="153"/>
                        <a:pt x="271" y="153"/>
                      </a:cubicBezTo>
                      <a:cubicBezTo>
                        <a:pt x="271" y="152"/>
                        <a:pt x="271" y="152"/>
                        <a:pt x="271" y="152"/>
                      </a:cubicBezTo>
                      <a:close/>
                      <a:moveTo>
                        <a:pt x="237" y="156"/>
                      </a:moveTo>
                      <a:cubicBezTo>
                        <a:pt x="237" y="156"/>
                        <a:pt x="237" y="155"/>
                        <a:pt x="237" y="155"/>
                      </a:cubicBezTo>
                      <a:cubicBezTo>
                        <a:pt x="240" y="153"/>
                        <a:pt x="240" y="153"/>
                        <a:pt x="240" y="153"/>
                      </a:cubicBezTo>
                      <a:cubicBezTo>
                        <a:pt x="245" y="152"/>
                        <a:pt x="245" y="152"/>
                        <a:pt x="245" y="152"/>
                      </a:cubicBezTo>
                      <a:cubicBezTo>
                        <a:pt x="247" y="153"/>
                        <a:pt x="247" y="153"/>
                        <a:pt x="247" y="153"/>
                      </a:cubicBezTo>
                      <a:cubicBezTo>
                        <a:pt x="249" y="153"/>
                        <a:pt x="249" y="153"/>
                        <a:pt x="249" y="153"/>
                      </a:cubicBezTo>
                      <a:cubicBezTo>
                        <a:pt x="251" y="153"/>
                        <a:pt x="251" y="153"/>
                        <a:pt x="251" y="153"/>
                      </a:cubicBezTo>
                      <a:cubicBezTo>
                        <a:pt x="254" y="155"/>
                        <a:pt x="254" y="155"/>
                        <a:pt x="254" y="155"/>
                      </a:cubicBezTo>
                      <a:cubicBezTo>
                        <a:pt x="256" y="154"/>
                        <a:pt x="256" y="154"/>
                        <a:pt x="256" y="154"/>
                      </a:cubicBezTo>
                      <a:cubicBezTo>
                        <a:pt x="259" y="154"/>
                        <a:pt x="259" y="154"/>
                        <a:pt x="259" y="154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262" y="155"/>
                        <a:pt x="262" y="155"/>
                        <a:pt x="262" y="155"/>
                      </a:cubicBezTo>
                      <a:cubicBezTo>
                        <a:pt x="263" y="154"/>
                        <a:pt x="263" y="154"/>
                        <a:pt x="263" y="154"/>
                      </a:cubicBezTo>
                      <a:cubicBezTo>
                        <a:pt x="265" y="153"/>
                        <a:pt x="265" y="153"/>
                        <a:pt x="265" y="153"/>
                      </a:cubicBezTo>
                      <a:cubicBezTo>
                        <a:pt x="266" y="152"/>
                        <a:pt x="266" y="152"/>
                        <a:pt x="266" y="152"/>
                      </a:cubicBezTo>
                      <a:cubicBezTo>
                        <a:pt x="265" y="151"/>
                        <a:pt x="265" y="151"/>
                        <a:pt x="265" y="151"/>
                      </a:cubicBezTo>
                      <a:cubicBezTo>
                        <a:pt x="267" y="150"/>
                        <a:pt x="267" y="150"/>
                        <a:pt x="267" y="150"/>
                      </a:cubicBezTo>
                      <a:cubicBezTo>
                        <a:pt x="269" y="151"/>
                        <a:pt x="269" y="151"/>
                        <a:pt x="269" y="151"/>
                      </a:cubicBezTo>
                      <a:cubicBezTo>
                        <a:pt x="269" y="153"/>
                        <a:pt x="269" y="153"/>
                        <a:pt x="269" y="153"/>
                      </a:cubicBezTo>
                      <a:cubicBezTo>
                        <a:pt x="268" y="154"/>
                        <a:pt x="268" y="154"/>
                        <a:pt x="268" y="154"/>
                      </a:cubicBezTo>
                      <a:cubicBezTo>
                        <a:pt x="267" y="155"/>
                        <a:pt x="267" y="155"/>
                        <a:pt x="267" y="155"/>
                      </a:cubicBezTo>
                      <a:cubicBezTo>
                        <a:pt x="266" y="157"/>
                        <a:pt x="266" y="157"/>
                        <a:pt x="266" y="157"/>
                      </a:cubicBezTo>
                      <a:cubicBezTo>
                        <a:pt x="263" y="157"/>
                        <a:pt x="263" y="157"/>
                        <a:pt x="263" y="157"/>
                      </a:cubicBezTo>
                      <a:cubicBezTo>
                        <a:pt x="263" y="158"/>
                        <a:pt x="263" y="158"/>
                        <a:pt x="263" y="158"/>
                      </a:cubicBezTo>
                      <a:cubicBezTo>
                        <a:pt x="261" y="157"/>
                        <a:pt x="261" y="157"/>
                        <a:pt x="261" y="157"/>
                      </a:cubicBezTo>
                      <a:cubicBezTo>
                        <a:pt x="258" y="157"/>
                        <a:pt x="258" y="157"/>
                        <a:pt x="258" y="157"/>
                      </a:cubicBezTo>
                      <a:cubicBezTo>
                        <a:pt x="256" y="159"/>
                        <a:pt x="256" y="159"/>
                        <a:pt x="256" y="159"/>
                      </a:cubicBezTo>
                      <a:cubicBezTo>
                        <a:pt x="252" y="158"/>
                        <a:pt x="252" y="158"/>
                        <a:pt x="252" y="158"/>
                      </a:cubicBezTo>
                      <a:cubicBezTo>
                        <a:pt x="250" y="159"/>
                        <a:pt x="250" y="159"/>
                        <a:pt x="250" y="159"/>
                      </a:cubicBezTo>
                      <a:cubicBezTo>
                        <a:pt x="250" y="160"/>
                        <a:pt x="250" y="160"/>
                        <a:pt x="250" y="160"/>
                      </a:cubicBezTo>
                      <a:cubicBezTo>
                        <a:pt x="249" y="159"/>
                        <a:pt x="249" y="159"/>
                        <a:pt x="249" y="159"/>
                      </a:cubicBezTo>
                      <a:cubicBezTo>
                        <a:pt x="247" y="159"/>
                        <a:pt x="247" y="159"/>
                        <a:pt x="247" y="159"/>
                      </a:cubicBezTo>
                      <a:cubicBezTo>
                        <a:pt x="246" y="160"/>
                        <a:pt x="246" y="160"/>
                        <a:pt x="246" y="160"/>
                      </a:cubicBezTo>
                      <a:cubicBezTo>
                        <a:pt x="245" y="159"/>
                        <a:pt x="245" y="159"/>
                        <a:pt x="245" y="159"/>
                      </a:cubicBezTo>
                      <a:cubicBezTo>
                        <a:pt x="243" y="158"/>
                        <a:pt x="243" y="158"/>
                        <a:pt x="243" y="158"/>
                      </a:cubicBezTo>
                      <a:cubicBezTo>
                        <a:pt x="242" y="159"/>
                        <a:pt x="242" y="159"/>
                        <a:pt x="242" y="159"/>
                      </a:cubicBezTo>
                      <a:cubicBezTo>
                        <a:pt x="240" y="158"/>
                        <a:pt x="240" y="158"/>
                        <a:pt x="240" y="158"/>
                      </a:cubicBezTo>
                      <a:cubicBezTo>
                        <a:pt x="239" y="158"/>
                        <a:pt x="239" y="158"/>
                        <a:pt x="239" y="158"/>
                      </a:cubicBezTo>
                      <a:cubicBezTo>
                        <a:pt x="237" y="158"/>
                        <a:pt x="237" y="158"/>
                        <a:pt x="237" y="158"/>
                      </a:cubicBezTo>
                      <a:cubicBezTo>
                        <a:pt x="237" y="156"/>
                        <a:pt x="237" y="156"/>
                        <a:pt x="237" y="156"/>
                      </a:cubicBezTo>
                      <a:close/>
                      <a:moveTo>
                        <a:pt x="235" y="156"/>
                      </a:moveTo>
                      <a:cubicBezTo>
                        <a:pt x="235" y="158"/>
                        <a:pt x="235" y="158"/>
                        <a:pt x="235" y="158"/>
                      </a:cubicBezTo>
                      <a:cubicBezTo>
                        <a:pt x="236" y="158"/>
                        <a:pt x="236" y="158"/>
                        <a:pt x="236" y="158"/>
                      </a:cubicBezTo>
                      <a:cubicBezTo>
                        <a:pt x="236" y="157"/>
                        <a:pt x="236" y="157"/>
                        <a:pt x="236" y="157"/>
                      </a:cubicBezTo>
                      <a:cubicBezTo>
                        <a:pt x="235" y="156"/>
                        <a:pt x="235" y="156"/>
                        <a:pt x="235" y="156"/>
                      </a:cubicBezTo>
                      <a:close/>
                      <a:moveTo>
                        <a:pt x="235" y="155"/>
                      </a:moveTo>
                      <a:cubicBezTo>
                        <a:pt x="233" y="155"/>
                        <a:pt x="233" y="155"/>
                        <a:pt x="233" y="155"/>
                      </a:cubicBezTo>
                      <a:cubicBezTo>
                        <a:pt x="232" y="157"/>
                        <a:pt x="232" y="157"/>
                        <a:pt x="232" y="157"/>
                      </a:cubicBezTo>
                      <a:cubicBezTo>
                        <a:pt x="233" y="158"/>
                        <a:pt x="233" y="158"/>
                        <a:pt x="233" y="158"/>
                      </a:cubicBezTo>
                      <a:cubicBezTo>
                        <a:pt x="234" y="156"/>
                        <a:pt x="234" y="156"/>
                        <a:pt x="234" y="156"/>
                      </a:cubicBezTo>
                      <a:cubicBezTo>
                        <a:pt x="235" y="155"/>
                        <a:pt x="235" y="155"/>
                        <a:pt x="235" y="155"/>
                      </a:cubicBezTo>
                      <a:close/>
                      <a:moveTo>
                        <a:pt x="207" y="156"/>
                      </a:moveTo>
                      <a:cubicBezTo>
                        <a:pt x="207" y="158"/>
                        <a:pt x="207" y="158"/>
                        <a:pt x="207" y="158"/>
                      </a:cubicBezTo>
                      <a:cubicBezTo>
                        <a:pt x="207" y="158"/>
                        <a:pt x="207" y="158"/>
                        <a:pt x="207" y="158"/>
                      </a:cubicBezTo>
                      <a:cubicBezTo>
                        <a:pt x="207" y="159"/>
                        <a:pt x="207" y="159"/>
                        <a:pt x="207" y="159"/>
                      </a:cubicBezTo>
                      <a:cubicBezTo>
                        <a:pt x="208" y="160"/>
                        <a:pt x="208" y="160"/>
                        <a:pt x="208" y="160"/>
                      </a:cubicBezTo>
                      <a:cubicBezTo>
                        <a:pt x="209" y="161"/>
                        <a:pt x="209" y="161"/>
                        <a:pt x="209" y="161"/>
                      </a:cubicBezTo>
                      <a:cubicBezTo>
                        <a:pt x="212" y="161"/>
                        <a:pt x="212" y="161"/>
                        <a:pt x="212" y="161"/>
                      </a:cubicBezTo>
                      <a:cubicBezTo>
                        <a:pt x="213" y="161"/>
                        <a:pt x="213" y="161"/>
                        <a:pt x="213" y="161"/>
                      </a:cubicBezTo>
                      <a:cubicBezTo>
                        <a:pt x="215" y="160"/>
                        <a:pt x="215" y="160"/>
                        <a:pt x="215" y="160"/>
                      </a:cubicBezTo>
                      <a:cubicBezTo>
                        <a:pt x="216" y="159"/>
                        <a:pt x="216" y="159"/>
                        <a:pt x="216" y="159"/>
                      </a:cubicBezTo>
                      <a:cubicBezTo>
                        <a:pt x="218" y="160"/>
                        <a:pt x="218" y="160"/>
                        <a:pt x="218" y="160"/>
                      </a:cubicBezTo>
                      <a:cubicBezTo>
                        <a:pt x="220" y="159"/>
                        <a:pt x="220" y="159"/>
                        <a:pt x="220" y="159"/>
                      </a:cubicBezTo>
                      <a:cubicBezTo>
                        <a:pt x="222" y="159"/>
                        <a:pt x="222" y="159"/>
                        <a:pt x="222" y="159"/>
                      </a:cubicBezTo>
                      <a:cubicBezTo>
                        <a:pt x="224" y="157"/>
                        <a:pt x="224" y="157"/>
                        <a:pt x="224" y="157"/>
                      </a:cubicBezTo>
                      <a:cubicBezTo>
                        <a:pt x="225" y="159"/>
                        <a:pt x="225" y="159"/>
                        <a:pt x="225" y="159"/>
                      </a:cubicBezTo>
                      <a:cubicBezTo>
                        <a:pt x="226" y="159"/>
                        <a:pt x="226" y="159"/>
                        <a:pt x="226" y="159"/>
                      </a:cubicBezTo>
                      <a:cubicBezTo>
                        <a:pt x="229" y="159"/>
                        <a:pt x="229" y="159"/>
                        <a:pt x="229" y="159"/>
                      </a:cubicBezTo>
                      <a:cubicBezTo>
                        <a:pt x="228" y="158"/>
                        <a:pt x="228" y="158"/>
                        <a:pt x="228" y="158"/>
                      </a:cubicBezTo>
                      <a:cubicBezTo>
                        <a:pt x="230" y="158"/>
                        <a:pt x="230" y="158"/>
                        <a:pt x="230" y="158"/>
                      </a:cubicBezTo>
                      <a:cubicBezTo>
                        <a:pt x="231" y="156"/>
                        <a:pt x="231" y="156"/>
                        <a:pt x="231" y="156"/>
                      </a:cubicBezTo>
                      <a:cubicBezTo>
                        <a:pt x="230" y="157"/>
                        <a:pt x="230" y="157"/>
                        <a:pt x="230" y="157"/>
                      </a:cubicBezTo>
                      <a:cubicBezTo>
                        <a:pt x="229" y="155"/>
                        <a:pt x="229" y="155"/>
                        <a:pt x="229" y="155"/>
                      </a:cubicBezTo>
                      <a:cubicBezTo>
                        <a:pt x="230" y="153"/>
                        <a:pt x="230" y="153"/>
                        <a:pt x="230" y="153"/>
                      </a:cubicBezTo>
                      <a:cubicBezTo>
                        <a:pt x="228" y="153"/>
                        <a:pt x="228" y="153"/>
                        <a:pt x="228" y="153"/>
                      </a:cubicBezTo>
                      <a:cubicBezTo>
                        <a:pt x="228" y="154"/>
                        <a:pt x="228" y="154"/>
                        <a:pt x="228" y="154"/>
                      </a:cubicBezTo>
                      <a:cubicBezTo>
                        <a:pt x="227" y="155"/>
                        <a:pt x="227" y="155"/>
                        <a:pt x="227" y="155"/>
                      </a:cubicBezTo>
                      <a:cubicBezTo>
                        <a:pt x="227" y="153"/>
                        <a:pt x="227" y="153"/>
                        <a:pt x="227" y="153"/>
                      </a:cubicBezTo>
                      <a:cubicBezTo>
                        <a:pt x="225" y="152"/>
                        <a:pt x="225" y="152"/>
                        <a:pt x="225" y="152"/>
                      </a:cubicBezTo>
                      <a:cubicBezTo>
                        <a:pt x="223" y="153"/>
                        <a:pt x="223" y="153"/>
                        <a:pt x="223" y="153"/>
                      </a:cubicBezTo>
                      <a:cubicBezTo>
                        <a:pt x="221" y="151"/>
                        <a:pt x="221" y="151"/>
                        <a:pt x="221" y="151"/>
                      </a:cubicBezTo>
                      <a:cubicBezTo>
                        <a:pt x="219" y="151"/>
                        <a:pt x="219" y="151"/>
                        <a:pt x="219" y="151"/>
                      </a:cubicBezTo>
                      <a:cubicBezTo>
                        <a:pt x="217" y="152"/>
                        <a:pt x="217" y="152"/>
                        <a:pt x="217" y="152"/>
                      </a:cubicBezTo>
                      <a:cubicBezTo>
                        <a:pt x="217" y="153"/>
                        <a:pt x="217" y="153"/>
                        <a:pt x="217" y="153"/>
                      </a:cubicBezTo>
                      <a:cubicBezTo>
                        <a:pt x="221" y="155"/>
                        <a:pt x="221" y="155"/>
                        <a:pt x="221" y="155"/>
                      </a:cubicBezTo>
                      <a:cubicBezTo>
                        <a:pt x="223" y="156"/>
                        <a:pt x="223" y="156"/>
                        <a:pt x="223" y="156"/>
                      </a:cubicBezTo>
                      <a:cubicBezTo>
                        <a:pt x="220" y="157"/>
                        <a:pt x="220" y="157"/>
                        <a:pt x="220" y="157"/>
                      </a:cubicBezTo>
                      <a:cubicBezTo>
                        <a:pt x="218" y="157"/>
                        <a:pt x="218" y="157"/>
                        <a:pt x="218" y="157"/>
                      </a:cubicBezTo>
                      <a:cubicBezTo>
                        <a:pt x="216" y="156"/>
                        <a:pt x="216" y="156"/>
                        <a:pt x="216" y="156"/>
                      </a:cubicBezTo>
                      <a:cubicBezTo>
                        <a:pt x="216" y="154"/>
                        <a:pt x="216" y="154"/>
                        <a:pt x="216" y="154"/>
                      </a:cubicBezTo>
                      <a:cubicBezTo>
                        <a:pt x="214" y="154"/>
                        <a:pt x="214" y="154"/>
                        <a:pt x="214" y="154"/>
                      </a:cubicBezTo>
                      <a:cubicBezTo>
                        <a:pt x="213" y="154"/>
                        <a:pt x="213" y="154"/>
                        <a:pt x="213" y="154"/>
                      </a:cubicBezTo>
                      <a:cubicBezTo>
                        <a:pt x="211" y="154"/>
                        <a:pt x="211" y="154"/>
                        <a:pt x="211" y="154"/>
                      </a:cubicBezTo>
                      <a:cubicBezTo>
                        <a:pt x="208" y="155"/>
                        <a:pt x="208" y="155"/>
                        <a:pt x="208" y="155"/>
                      </a:cubicBezTo>
                      <a:cubicBezTo>
                        <a:pt x="208" y="155"/>
                        <a:pt x="207" y="156"/>
                        <a:pt x="207" y="156"/>
                      </a:cubicBezTo>
                      <a:close/>
                      <a:moveTo>
                        <a:pt x="201" y="154"/>
                      </a:moveTo>
                      <a:cubicBezTo>
                        <a:pt x="203" y="153"/>
                        <a:pt x="203" y="153"/>
                        <a:pt x="203" y="153"/>
                      </a:cubicBezTo>
                      <a:cubicBezTo>
                        <a:pt x="206" y="154"/>
                        <a:pt x="206" y="154"/>
                        <a:pt x="206" y="154"/>
                      </a:cubicBezTo>
                      <a:cubicBezTo>
                        <a:pt x="206" y="156"/>
                        <a:pt x="206" y="156"/>
                        <a:pt x="206" y="156"/>
                      </a:cubicBezTo>
                      <a:cubicBezTo>
                        <a:pt x="205" y="157"/>
                        <a:pt x="205" y="157"/>
                        <a:pt x="205" y="157"/>
                      </a:cubicBezTo>
                      <a:cubicBezTo>
                        <a:pt x="205" y="159"/>
                        <a:pt x="205" y="159"/>
                        <a:pt x="205" y="159"/>
                      </a:cubicBezTo>
                      <a:cubicBezTo>
                        <a:pt x="204" y="158"/>
                        <a:pt x="204" y="158"/>
                        <a:pt x="204" y="158"/>
                      </a:cubicBezTo>
                      <a:cubicBezTo>
                        <a:pt x="202" y="159"/>
                        <a:pt x="202" y="159"/>
                        <a:pt x="202" y="159"/>
                      </a:cubicBezTo>
                      <a:cubicBezTo>
                        <a:pt x="199" y="158"/>
                        <a:pt x="199" y="158"/>
                        <a:pt x="199" y="158"/>
                      </a:cubicBezTo>
                      <a:cubicBezTo>
                        <a:pt x="198" y="157"/>
                        <a:pt x="198" y="157"/>
                        <a:pt x="198" y="157"/>
                      </a:cubicBezTo>
                      <a:cubicBezTo>
                        <a:pt x="199" y="157"/>
                        <a:pt x="199" y="157"/>
                        <a:pt x="199" y="157"/>
                      </a:cubicBezTo>
                      <a:cubicBezTo>
                        <a:pt x="201" y="157"/>
                        <a:pt x="201" y="157"/>
                        <a:pt x="201" y="157"/>
                      </a:cubicBezTo>
                      <a:cubicBezTo>
                        <a:pt x="201" y="154"/>
                        <a:pt x="201" y="154"/>
                        <a:pt x="201" y="154"/>
                      </a:cubicBezTo>
                      <a:close/>
                      <a:moveTo>
                        <a:pt x="195" y="157"/>
                      </a:moveTo>
                      <a:cubicBezTo>
                        <a:pt x="196" y="156"/>
                        <a:pt x="196" y="156"/>
                        <a:pt x="196" y="156"/>
                      </a:cubicBezTo>
                      <a:cubicBezTo>
                        <a:pt x="197" y="157"/>
                        <a:pt x="197" y="157"/>
                        <a:pt x="197" y="157"/>
                      </a:cubicBezTo>
                      <a:cubicBezTo>
                        <a:pt x="196" y="158"/>
                        <a:pt x="196" y="158"/>
                        <a:pt x="196" y="158"/>
                      </a:cubicBezTo>
                      <a:cubicBezTo>
                        <a:pt x="195" y="157"/>
                        <a:pt x="195" y="157"/>
                        <a:pt x="195" y="157"/>
                      </a:cubicBezTo>
                      <a:close/>
                      <a:moveTo>
                        <a:pt x="186" y="151"/>
                      </a:moveTo>
                      <a:cubicBezTo>
                        <a:pt x="186" y="153"/>
                        <a:pt x="186" y="153"/>
                        <a:pt x="186" y="153"/>
                      </a:cubicBezTo>
                      <a:cubicBezTo>
                        <a:pt x="187" y="154"/>
                        <a:pt x="187" y="154"/>
                        <a:pt x="187" y="154"/>
                      </a:cubicBezTo>
                      <a:cubicBezTo>
                        <a:pt x="189" y="154"/>
                        <a:pt x="189" y="154"/>
                        <a:pt x="189" y="154"/>
                      </a:cubicBezTo>
                      <a:cubicBezTo>
                        <a:pt x="192" y="156"/>
                        <a:pt x="192" y="156"/>
                        <a:pt x="192" y="156"/>
                      </a:cubicBezTo>
                      <a:cubicBezTo>
                        <a:pt x="192" y="157"/>
                        <a:pt x="192" y="157"/>
                        <a:pt x="192" y="157"/>
                      </a:cubicBezTo>
                      <a:cubicBezTo>
                        <a:pt x="193" y="156"/>
                        <a:pt x="193" y="156"/>
                        <a:pt x="193" y="156"/>
                      </a:cubicBezTo>
                      <a:cubicBezTo>
                        <a:pt x="195" y="155"/>
                        <a:pt x="195" y="155"/>
                        <a:pt x="195" y="155"/>
                      </a:cubicBezTo>
                      <a:cubicBezTo>
                        <a:pt x="195" y="155"/>
                        <a:pt x="195" y="155"/>
                        <a:pt x="195" y="155"/>
                      </a:cubicBezTo>
                      <a:cubicBezTo>
                        <a:pt x="197" y="154"/>
                        <a:pt x="197" y="154"/>
                        <a:pt x="197" y="154"/>
                      </a:cubicBezTo>
                      <a:cubicBezTo>
                        <a:pt x="197" y="153"/>
                        <a:pt x="197" y="153"/>
                        <a:pt x="197" y="153"/>
                      </a:cubicBezTo>
                      <a:cubicBezTo>
                        <a:pt x="195" y="151"/>
                        <a:pt x="195" y="151"/>
                        <a:pt x="195" y="151"/>
                      </a:cubicBezTo>
                      <a:cubicBezTo>
                        <a:pt x="193" y="150"/>
                        <a:pt x="193" y="150"/>
                        <a:pt x="193" y="150"/>
                      </a:cubicBezTo>
                      <a:cubicBezTo>
                        <a:pt x="190" y="151"/>
                        <a:pt x="190" y="151"/>
                        <a:pt x="190" y="151"/>
                      </a:cubicBezTo>
                      <a:cubicBezTo>
                        <a:pt x="188" y="150"/>
                        <a:pt x="188" y="150"/>
                        <a:pt x="188" y="150"/>
                      </a:cubicBezTo>
                      <a:cubicBezTo>
                        <a:pt x="186" y="151"/>
                        <a:pt x="186" y="151"/>
                        <a:pt x="186" y="151"/>
                      </a:cubicBezTo>
                      <a:close/>
                      <a:moveTo>
                        <a:pt x="421" y="153"/>
                      </a:moveTo>
                      <a:cubicBezTo>
                        <a:pt x="422" y="153"/>
                        <a:pt x="422" y="153"/>
                        <a:pt x="422" y="153"/>
                      </a:cubicBezTo>
                      <a:cubicBezTo>
                        <a:pt x="424" y="153"/>
                        <a:pt x="424" y="153"/>
                        <a:pt x="424" y="153"/>
                      </a:cubicBezTo>
                      <a:cubicBezTo>
                        <a:pt x="424" y="153"/>
                        <a:pt x="424" y="153"/>
                        <a:pt x="424" y="153"/>
                      </a:cubicBezTo>
                      <a:cubicBezTo>
                        <a:pt x="423" y="151"/>
                        <a:pt x="423" y="151"/>
                        <a:pt x="423" y="151"/>
                      </a:cubicBezTo>
                      <a:cubicBezTo>
                        <a:pt x="423" y="150"/>
                        <a:pt x="423" y="150"/>
                        <a:pt x="423" y="150"/>
                      </a:cubicBezTo>
                      <a:cubicBezTo>
                        <a:pt x="422" y="151"/>
                        <a:pt x="422" y="151"/>
                        <a:pt x="422" y="151"/>
                      </a:cubicBezTo>
                      <a:cubicBezTo>
                        <a:pt x="421" y="153"/>
                        <a:pt x="421" y="153"/>
                        <a:pt x="421" y="153"/>
                      </a:cubicBezTo>
                      <a:close/>
                      <a:moveTo>
                        <a:pt x="411" y="153"/>
                      </a:moveTo>
                      <a:cubicBezTo>
                        <a:pt x="411" y="153"/>
                        <a:pt x="415" y="153"/>
                        <a:pt x="415" y="153"/>
                      </a:cubicBezTo>
                      <a:cubicBezTo>
                        <a:pt x="416" y="152"/>
                        <a:pt x="416" y="152"/>
                        <a:pt x="416" y="152"/>
                      </a:cubicBezTo>
                      <a:cubicBezTo>
                        <a:pt x="419" y="153"/>
                        <a:pt x="419" y="153"/>
                        <a:pt x="419" y="153"/>
                      </a:cubicBezTo>
                      <a:cubicBezTo>
                        <a:pt x="420" y="152"/>
                        <a:pt x="420" y="152"/>
                        <a:pt x="420" y="152"/>
                      </a:cubicBezTo>
                      <a:cubicBezTo>
                        <a:pt x="422" y="150"/>
                        <a:pt x="422" y="150"/>
                        <a:pt x="422" y="150"/>
                      </a:cubicBezTo>
                      <a:cubicBezTo>
                        <a:pt x="423" y="150"/>
                        <a:pt x="423" y="150"/>
                        <a:pt x="423" y="150"/>
                      </a:cubicBezTo>
                      <a:cubicBezTo>
                        <a:pt x="424" y="149"/>
                        <a:pt x="424" y="149"/>
                        <a:pt x="424" y="149"/>
                      </a:cubicBezTo>
                      <a:cubicBezTo>
                        <a:pt x="424" y="148"/>
                        <a:pt x="424" y="148"/>
                        <a:pt x="424" y="148"/>
                      </a:cubicBezTo>
                      <a:cubicBezTo>
                        <a:pt x="424" y="147"/>
                        <a:pt x="424" y="147"/>
                        <a:pt x="424" y="147"/>
                      </a:cubicBezTo>
                      <a:cubicBezTo>
                        <a:pt x="425" y="146"/>
                        <a:pt x="425" y="146"/>
                        <a:pt x="425" y="146"/>
                      </a:cubicBezTo>
                      <a:cubicBezTo>
                        <a:pt x="425" y="145"/>
                        <a:pt x="425" y="145"/>
                        <a:pt x="425" y="145"/>
                      </a:cubicBezTo>
                      <a:cubicBezTo>
                        <a:pt x="424" y="144"/>
                        <a:pt x="424" y="144"/>
                        <a:pt x="424" y="144"/>
                      </a:cubicBezTo>
                      <a:cubicBezTo>
                        <a:pt x="423" y="143"/>
                        <a:pt x="423" y="143"/>
                        <a:pt x="423" y="143"/>
                      </a:cubicBezTo>
                      <a:cubicBezTo>
                        <a:pt x="419" y="143"/>
                        <a:pt x="419" y="143"/>
                        <a:pt x="419" y="143"/>
                      </a:cubicBezTo>
                      <a:cubicBezTo>
                        <a:pt x="417" y="144"/>
                        <a:pt x="417" y="144"/>
                        <a:pt x="417" y="144"/>
                      </a:cubicBezTo>
                      <a:cubicBezTo>
                        <a:pt x="416" y="147"/>
                        <a:pt x="416" y="147"/>
                        <a:pt x="416" y="147"/>
                      </a:cubicBezTo>
                      <a:cubicBezTo>
                        <a:pt x="415" y="149"/>
                        <a:pt x="415" y="149"/>
                        <a:pt x="415" y="149"/>
                      </a:cubicBezTo>
                      <a:cubicBezTo>
                        <a:pt x="411" y="153"/>
                        <a:pt x="411" y="153"/>
                        <a:pt x="411" y="153"/>
                      </a:cubicBezTo>
                      <a:close/>
                      <a:moveTo>
                        <a:pt x="171" y="138"/>
                      </a:moveTo>
                      <a:cubicBezTo>
                        <a:pt x="170" y="140"/>
                        <a:pt x="170" y="140"/>
                        <a:pt x="170" y="140"/>
                      </a:cubicBezTo>
                      <a:cubicBezTo>
                        <a:pt x="172" y="142"/>
                        <a:pt x="172" y="142"/>
                        <a:pt x="172" y="142"/>
                      </a:cubicBezTo>
                      <a:cubicBezTo>
                        <a:pt x="173" y="142"/>
                        <a:pt x="173" y="142"/>
                        <a:pt x="173" y="142"/>
                      </a:cubicBezTo>
                      <a:cubicBezTo>
                        <a:pt x="174" y="141"/>
                        <a:pt x="174" y="141"/>
                        <a:pt x="174" y="141"/>
                      </a:cubicBezTo>
                      <a:cubicBezTo>
                        <a:pt x="178" y="142"/>
                        <a:pt x="178" y="142"/>
                        <a:pt x="178" y="142"/>
                      </a:cubicBezTo>
                      <a:cubicBezTo>
                        <a:pt x="179" y="141"/>
                        <a:pt x="179" y="141"/>
                        <a:pt x="179" y="141"/>
                      </a:cubicBezTo>
                      <a:cubicBezTo>
                        <a:pt x="181" y="141"/>
                        <a:pt x="181" y="141"/>
                        <a:pt x="181" y="141"/>
                      </a:cubicBezTo>
                      <a:cubicBezTo>
                        <a:pt x="182" y="139"/>
                        <a:pt x="182" y="139"/>
                        <a:pt x="182" y="139"/>
                      </a:cubicBezTo>
                      <a:cubicBezTo>
                        <a:pt x="181" y="139"/>
                        <a:pt x="181" y="139"/>
                        <a:pt x="181" y="139"/>
                      </a:cubicBezTo>
                      <a:cubicBezTo>
                        <a:pt x="179" y="139"/>
                        <a:pt x="179" y="139"/>
                        <a:pt x="179" y="139"/>
                      </a:cubicBezTo>
                      <a:cubicBezTo>
                        <a:pt x="177" y="139"/>
                        <a:pt x="177" y="139"/>
                        <a:pt x="177" y="139"/>
                      </a:cubicBezTo>
                      <a:cubicBezTo>
                        <a:pt x="172" y="139"/>
                        <a:pt x="172" y="139"/>
                        <a:pt x="172" y="139"/>
                      </a:cubicBezTo>
                      <a:cubicBezTo>
                        <a:pt x="171" y="138"/>
                        <a:pt x="171" y="138"/>
                        <a:pt x="171" y="138"/>
                      </a:cubicBezTo>
                      <a:close/>
                      <a:moveTo>
                        <a:pt x="98" y="135"/>
                      </a:moveTo>
                      <a:cubicBezTo>
                        <a:pt x="98" y="136"/>
                        <a:pt x="98" y="136"/>
                        <a:pt x="98" y="136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ubicBezTo>
                        <a:pt x="99" y="135"/>
                        <a:pt x="99" y="135"/>
                        <a:pt x="99" y="135"/>
                      </a:cubicBezTo>
                      <a:cubicBezTo>
                        <a:pt x="98" y="135"/>
                        <a:pt x="98" y="135"/>
                        <a:pt x="98" y="135"/>
                      </a:cubicBezTo>
                      <a:close/>
                      <a:moveTo>
                        <a:pt x="99" y="136"/>
                      </a:moveTo>
                      <a:cubicBezTo>
                        <a:pt x="100" y="137"/>
                        <a:pt x="100" y="137"/>
                        <a:pt x="100" y="137"/>
                      </a:cubicBezTo>
                      <a:cubicBezTo>
                        <a:pt x="102" y="136"/>
                        <a:pt x="102" y="136"/>
                        <a:pt x="102" y="136"/>
                      </a:cubicBezTo>
                      <a:cubicBezTo>
                        <a:pt x="102" y="134"/>
                        <a:pt x="102" y="134"/>
                        <a:pt x="102" y="134"/>
                      </a:cubicBezTo>
                      <a:cubicBezTo>
                        <a:pt x="104" y="134"/>
                        <a:pt x="104" y="134"/>
                        <a:pt x="104" y="134"/>
                      </a:cubicBezTo>
                      <a:cubicBezTo>
                        <a:pt x="105" y="132"/>
                        <a:pt x="105" y="132"/>
                        <a:pt x="105" y="132"/>
                      </a:cubicBezTo>
                      <a:cubicBezTo>
                        <a:pt x="105" y="130"/>
                        <a:pt x="105" y="130"/>
                        <a:pt x="105" y="130"/>
                      </a:cubicBezTo>
                      <a:cubicBezTo>
                        <a:pt x="107" y="128"/>
                        <a:pt x="107" y="128"/>
                        <a:pt x="107" y="128"/>
                      </a:cubicBezTo>
                      <a:cubicBezTo>
                        <a:pt x="108" y="128"/>
                        <a:pt x="108" y="128"/>
                        <a:pt x="108" y="128"/>
                      </a:cubicBezTo>
                      <a:cubicBezTo>
                        <a:pt x="110" y="128"/>
                        <a:pt x="110" y="128"/>
                        <a:pt x="110" y="128"/>
                      </a:cubicBezTo>
                      <a:cubicBezTo>
                        <a:pt x="113" y="129"/>
                        <a:pt x="113" y="129"/>
                        <a:pt x="113" y="129"/>
                      </a:cubicBezTo>
                      <a:cubicBezTo>
                        <a:pt x="114" y="130"/>
                        <a:pt x="114" y="130"/>
                        <a:pt x="114" y="130"/>
                      </a:cubicBezTo>
                      <a:cubicBezTo>
                        <a:pt x="115" y="129"/>
                        <a:pt x="115" y="129"/>
                        <a:pt x="115" y="129"/>
                      </a:cubicBezTo>
                      <a:cubicBezTo>
                        <a:pt x="116" y="128"/>
                        <a:pt x="116" y="128"/>
                        <a:pt x="116" y="128"/>
                      </a:cubicBezTo>
                      <a:cubicBezTo>
                        <a:pt x="119" y="129"/>
                        <a:pt x="119" y="129"/>
                        <a:pt x="119" y="129"/>
                      </a:cubicBezTo>
                      <a:cubicBezTo>
                        <a:pt x="121" y="130"/>
                        <a:pt x="121" y="130"/>
                        <a:pt x="121" y="130"/>
                      </a:cubicBezTo>
                      <a:cubicBezTo>
                        <a:pt x="124" y="131"/>
                        <a:pt x="124" y="131"/>
                        <a:pt x="124" y="131"/>
                      </a:cubicBezTo>
                      <a:cubicBezTo>
                        <a:pt x="129" y="131"/>
                        <a:pt x="129" y="131"/>
                        <a:pt x="129" y="131"/>
                      </a:cubicBezTo>
                      <a:cubicBezTo>
                        <a:pt x="130" y="134"/>
                        <a:pt x="130" y="134"/>
                        <a:pt x="130" y="134"/>
                      </a:cubicBezTo>
                      <a:cubicBezTo>
                        <a:pt x="129" y="135"/>
                        <a:pt x="129" y="135"/>
                        <a:pt x="129" y="135"/>
                      </a:cubicBezTo>
                      <a:cubicBezTo>
                        <a:pt x="130" y="136"/>
                        <a:pt x="130" y="136"/>
                        <a:pt x="130" y="136"/>
                      </a:cubicBezTo>
                      <a:cubicBezTo>
                        <a:pt x="133" y="138"/>
                        <a:pt x="133" y="138"/>
                        <a:pt x="133" y="138"/>
                      </a:cubicBezTo>
                      <a:cubicBezTo>
                        <a:pt x="139" y="138"/>
                        <a:pt x="139" y="138"/>
                        <a:pt x="139" y="138"/>
                      </a:cubicBezTo>
                      <a:cubicBezTo>
                        <a:pt x="144" y="139"/>
                        <a:pt x="144" y="139"/>
                        <a:pt x="144" y="139"/>
                      </a:cubicBezTo>
                      <a:cubicBezTo>
                        <a:pt x="149" y="138"/>
                        <a:pt x="149" y="138"/>
                        <a:pt x="149" y="138"/>
                      </a:cubicBezTo>
                      <a:cubicBezTo>
                        <a:pt x="150" y="136"/>
                        <a:pt x="150" y="136"/>
                        <a:pt x="150" y="136"/>
                      </a:cubicBezTo>
                      <a:cubicBezTo>
                        <a:pt x="151" y="132"/>
                        <a:pt x="151" y="132"/>
                        <a:pt x="151" y="132"/>
                      </a:cubicBezTo>
                      <a:cubicBezTo>
                        <a:pt x="152" y="132"/>
                        <a:pt x="152" y="132"/>
                        <a:pt x="152" y="132"/>
                      </a:cubicBezTo>
                      <a:cubicBezTo>
                        <a:pt x="155" y="135"/>
                        <a:pt x="155" y="135"/>
                        <a:pt x="155" y="135"/>
                      </a:cubicBezTo>
                      <a:cubicBezTo>
                        <a:pt x="156" y="135"/>
                        <a:pt x="156" y="135"/>
                        <a:pt x="156" y="135"/>
                      </a:cubicBezTo>
                      <a:cubicBezTo>
                        <a:pt x="158" y="134"/>
                        <a:pt x="158" y="134"/>
                        <a:pt x="158" y="134"/>
                      </a:cubicBezTo>
                      <a:cubicBezTo>
                        <a:pt x="159" y="135"/>
                        <a:pt x="159" y="135"/>
                        <a:pt x="159" y="135"/>
                      </a:cubicBezTo>
                      <a:cubicBezTo>
                        <a:pt x="161" y="137"/>
                        <a:pt x="161" y="137"/>
                        <a:pt x="161" y="137"/>
                      </a:cubicBezTo>
                      <a:cubicBezTo>
                        <a:pt x="163" y="137"/>
                        <a:pt x="163" y="137"/>
                        <a:pt x="163" y="137"/>
                      </a:cubicBezTo>
                      <a:cubicBezTo>
                        <a:pt x="164" y="138"/>
                        <a:pt x="164" y="138"/>
                        <a:pt x="164" y="138"/>
                      </a:cubicBezTo>
                      <a:cubicBezTo>
                        <a:pt x="166" y="138"/>
                        <a:pt x="166" y="138"/>
                        <a:pt x="166" y="138"/>
                      </a:cubicBezTo>
                      <a:cubicBezTo>
                        <a:pt x="168" y="138"/>
                        <a:pt x="168" y="138"/>
                        <a:pt x="168" y="138"/>
                      </a:cubicBezTo>
                      <a:cubicBezTo>
                        <a:pt x="168" y="141"/>
                        <a:pt x="168" y="141"/>
                        <a:pt x="168" y="141"/>
                      </a:cubicBezTo>
                      <a:cubicBezTo>
                        <a:pt x="170" y="143"/>
                        <a:pt x="170" y="143"/>
                        <a:pt x="170" y="143"/>
                      </a:cubicBezTo>
                      <a:cubicBezTo>
                        <a:pt x="170" y="145"/>
                        <a:pt x="170" y="145"/>
                        <a:pt x="170" y="145"/>
                      </a:cubicBezTo>
                      <a:cubicBezTo>
                        <a:pt x="172" y="146"/>
                        <a:pt x="172" y="146"/>
                        <a:pt x="172" y="146"/>
                      </a:cubicBezTo>
                      <a:cubicBezTo>
                        <a:pt x="174" y="147"/>
                        <a:pt x="174" y="147"/>
                        <a:pt x="174" y="147"/>
                      </a:cubicBezTo>
                      <a:cubicBezTo>
                        <a:pt x="176" y="146"/>
                        <a:pt x="176" y="146"/>
                        <a:pt x="176" y="146"/>
                      </a:cubicBezTo>
                      <a:cubicBezTo>
                        <a:pt x="178" y="147"/>
                        <a:pt x="178" y="147"/>
                        <a:pt x="178" y="147"/>
                      </a:cubicBezTo>
                      <a:cubicBezTo>
                        <a:pt x="179" y="147"/>
                        <a:pt x="179" y="147"/>
                        <a:pt x="179" y="147"/>
                      </a:cubicBezTo>
                      <a:cubicBezTo>
                        <a:pt x="180" y="146"/>
                        <a:pt x="180" y="146"/>
                        <a:pt x="180" y="146"/>
                      </a:cubicBezTo>
                      <a:cubicBezTo>
                        <a:pt x="182" y="146"/>
                        <a:pt x="182" y="146"/>
                        <a:pt x="182" y="146"/>
                      </a:cubicBezTo>
                      <a:cubicBezTo>
                        <a:pt x="182" y="147"/>
                        <a:pt x="182" y="147"/>
                        <a:pt x="182" y="147"/>
                      </a:cubicBezTo>
                      <a:cubicBezTo>
                        <a:pt x="184" y="147"/>
                        <a:pt x="184" y="147"/>
                        <a:pt x="184" y="147"/>
                      </a:cubicBezTo>
                      <a:cubicBezTo>
                        <a:pt x="185" y="148"/>
                        <a:pt x="185" y="148"/>
                        <a:pt x="185" y="148"/>
                      </a:cubicBezTo>
                      <a:cubicBezTo>
                        <a:pt x="185" y="153"/>
                        <a:pt x="185" y="153"/>
                        <a:pt x="185" y="153"/>
                      </a:cubicBezTo>
                      <a:cubicBezTo>
                        <a:pt x="184" y="154"/>
                        <a:pt x="184" y="154"/>
                        <a:pt x="184" y="154"/>
                      </a:cubicBezTo>
                      <a:cubicBezTo>
                        <a:pt x="185" y="155"/>
                        <a:pt x="185" y="155"/>
                        <a:pt x="185" y="155"/>
                      </a:cubicBezTo>
                      <a:cubicBezTo>
                        <a:pt x="185" y="158"/>
                        <a:pt x="185" y="158"/>
                        <a:pt x="185" y="158"/>
                      </a:cubicBezTo>
                      <a:cubicBezTo>
                        <a:pt x="184" y="158"/>
                        <a:pt x="184" y="158"/>
                        <a:pt x="184" y="158"/>
                      </a:cubicBezTo>
                      <a:cubicBezTo>
                        <a:pt x="183" y="157"/>
                        <a:pt x="183" y="157"/>
                        <a:pt x="183" y="157"/>
                      </a:cubicBezTo>
                      <a:cubicBezTo>
                        <a:pt x="180" y="157"/>
                        <a:pt x="180" y="157"/>
                        <a:pt x="180" y="157"/>
                      </a:cubicBezTo>
                      <a:cubicBezTo>
                        <a:pt x="178" y="155"/>
                        <a:pt x="178" y="155"/>
                        <a:pt x="178" y="155"/>
                      </a:cubicBezTo>
                      <a:cubicBezTo>
                        <a:pt x="176" y="154"/>
                        <a:pt x="176" y="154"/>
                        <a:pt x="176" y="154"/>
                      </a:cubicBezTo>
                      <a:cubicBezTo>
                        <a:pt x="174" y="152"/>
                        <a:pt x="174" y="152"/>
                        <a:pt x="174" y="152"/>
                      </a:cubicBezTo>
                      <a:cubicBezTo>
                        <a:pt x="173" y="152"/>
                        <a:pt x="173" y="152"/>
                        <a:pt x="173" y="152"/>
                      </a:cubicBezTo>
                      <a:cubicBezTo>
                        <a:pt x="170" y="154"/>
                        <a:pt x="170" y="154"/>
                        <a:pt x="170" y="154"/>
                      </a:cubicBezTo>
                      <a:cubicBezTo>
                        <a:pt x="167" y="154"/>
                        <a:pt x="167" y="154"/>
                        <a:pt x="167" y="154"/>
                      </a:cubicBezTo>
                      <a:cubicBezTo>
                        <a:pt x="165" y="152"/>
                        <a:pt x="165" y="152"/>
                        <a:pt x="165" y="152"/>
                      </a:cubicBezTo>
                      <a:cubicBezTo>
                        <a:pt x="162" y="152"/>
                        <a:pt x="162" y="152"/>
                        <a:pt x="162" y="152"/>
                      </a:cubicBezTo>
                      <a:cubicBezTo>
                        <a:pt x="160" y="154"/>
                        <a:pt x="160" y="154"/>
                        <a:pt x="160" y="154"/>
                      </a:cubicBezTo>
                      <a:cubicBezTo>
                        <a:pt x="157" y="152"/>
                        <a:pt x="157" y="152"/>
                        <a:pt x="157" y="152"/>
                      </a:cubicBezTo>
                      <a:cubicBezTo>
                        <a:pt x="154" y="152"/>
                        <a:pt x="154" y="152"/>
                        <a:pt x="154" y="152"/>
                      </a:cubicBezTo>
                      <a:cubicBezTo>
                        <a:pt x="152" y="153"/>
                        <a:pt x="152" y="153"/>
                        <a:pt x="152" y="153"/>
                      </a:cubicBezTo>
                      <a:cubicBezTo>
                        <a:pt x="147" y="151"/>
                        <a:pt x="147" y="151"/>
                        <a:pt x="147" y="151"/>
                      </a:cubicBezTo>
                      <a:cubicBezTo>
                        <a:pt x="142" y="148"/>
                        <a:pt x="142" y="148"/>
                        <a:pt x="142" y="148"/>
                      </a:cubicBezTo>
                      <a:cubicBezTo>
                        <a:pt x="139" y="148"/>
                        <a:pt x="139" y="148"/>
                        <a:pt x="139" y="148"/>
                      </a:cubicBezTo>
                      <a:cubicBezTo>
                        <a:pt x="137" y="146"/>
                        <a:pt x="137" y="146"/>
                        <a:pt x="137" y="146"/>
                      </a:cubicBezTo>
                      <a:cubicBezTo>
                        <a:pt x="135" y="146"/>
                        <a:pt x="135" y="146"/>
                        <a:pt x="135" y="146"/>
                      </a:cubicBezTo>
                      <a:cubicBezTo>
                        <a:pt x="134" y="148"/>
                        <a:pt x="134" y="148"/>
                        <a:pt x="134" y="148"/>
                      </a:cubicBezTo>
                      <a:cubicBezTo>
                        <a:pt x="132" y="147"/>
                        <a:pt x="132" y="147"/>
                        <a:pt x="132" y="147"/>
                      </a:cubicBezTo>
                      <a:cubicBezTo>
                        <a:pt x="131" y="146"/>
                        <a:pt x="131" y="146"/>
                        <a:pt x="131" y="146"/>
                      </a:cubicBez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128" y="148"/>
                        <a:pt x="128" y="148"/>
                        <a:pt x="128" y="148"/>
                      </a:cubicBezTo>
                      <a:cubicBezTo>
                        <a:pt x="123" y="147"/>
                        <a:pt x="123" y="147"/>
                        <a:pt x="123" y="147"/>
                      </a:cubicBezTo>
                      <a:cubicBezTo>
                        <a:pt x="120" y="144"/>
                        <a:pt x="120" y="144"/>
                        <a:pt x="120" y="144"/>
                      </a:cubicBezTo>
                      <a:cubicBezTo>
                        <a:pt x="117" y="144"/>
                        <a:pt x="117" y="144"/>
                        <a:pt x="117" y="144"/>
                      </a:cubicBezTo>
                      <a:cubicBezTo>
                        <a:pt x="116" y="144"/>
                        <a:pt x="116" y="144"/>
                        <a:pt x="116" y="144"/>
                      </a:cubicBezTo>
                      <a:cubicBezTo>
                        <a:pt x="114" y="145"/>
                        <a:pt x="114" y="145"/>
                        <a:pt x="114" y="145"/>
                      </a:cubicBezTo>
                      <a:cubicBezTo>
                        <a:pt x="112" y="144"/>
                        <a:pt x="112" y="144"/>
                        <a:pt x="112" y="144"/>
                      </a:cubicBezTo>
                      <a:cubicBezTo>
                        <a:pt x="110" y="143"/>
                        <a:pt x="110" y="143"/>
                        <a:pt x="110" y="143"/>
                      </a:cubicBezTo>
                      <a:cubicBezTo>
                        <a:pt x="109" y="142"/>
                        <a:pt x="109" y="142"/>
                        <a:pt x="109" y="142"/>
                      </a:cubicBezTo>
                      <a:cubicBezTo>
                        <a:pt x="110" y="140"/>
                        <a:pt x="110" y="140"/>
                        <a:pt x="110" y="140"/>
                      </a:cubicBezTo>
                      <a:cubicBezTo>
                        <a:pt x="111" y="139"/>
                        <a:pt x="111" y="139"/>
                        <a:pt x="111" y="139"/>
                      </a:cubicBezTo>
                      <a:cubicBezTo>
                        <a:pt x="109" y="139"/>
                        <a:pt x="109" y="139"/>
                        <a:pt x="109" y="139"/>
                      </a:cubicBezTo>
                      <a:cubicBezTo>
                        <a:pt x="108" y="140"/>
                        <a:pt x="108" y="140"/>
                        <a:pt x="108" y="140"/>
                      </a:cubicBezTo>
                      <a:cubicBezTo>
                        <a:pt x="107" y="139"/>
                        <a:pt x="107" y="139"/>
                        <a:pt x="107" y="139"/>
                      </a:cubicBezTo>
                      <a:cubicBezTo>
                        <a:pt x="106" y="137"/>
                        <a:pt x="106" y="137"/>
                        <a:pt x="106" y="137"/>
                      </a:cubicBezTo>
                      <a:cubicBezTo>
                        <a:pt x="104" y="138"/>
                        <a:pt x="104" y="138"/>
                        <a:pt x="104" y="138"/>
                      </a:cubicBezTo>
                      <a:cubicBezTo>
                        <a:pt x="100" y="138"/>
                        <a:pt x="100" y="138"/>
                        <a:pt x="100" y="138"/>
                      </a:cubicBezTo>
                      <a:cubicBezTo>
                        <a:pt x="99" y="137"/>
                        <a:pt x="99" y="137"/>
                        <a:pt x="99" y="137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lose/>
                      <a:moveTo>
                        <a:pt x="125" y="25"/>
                      </a:moveTo>
                      <a:cubicBezTo>
                        <a:pt x="127" y="27"/>
                        <a:pt x="127" y="27"/>
                        <a:pt x="127" y="27"/>
                      </a:cubicBezTo>
                      <a:cubicBezTo>
                        <a:pt x="128" y="27"/>
                        <a:pt x="128" y="27"/>
                        <a:pt x="128" y="27"/>
                      </a:cubicBezTo>
                      <a:cubicBezTo>
                        <a:pt x="127" y="28"/>
                        <a:pt x="127" y="28"/>
                        <a:pt x="127" y="28"/>
                      </a:cubicBezTo>
                      <a:cubicBezTo>
                        <a:pt x="129" y="28"/>
                        <a:pt x="129" y="28"/>
                        <a:pt x="129" y="28"/>
                      </a:cubicBezTo>
                      <a:cubicBezTo>
                        <a:pt x="129" y="25"/>
                        <a:pt x="129" y="25"/>
                        <a:pt x="129" y="25"/>
                      </a:cubicBezTo>
                      <a:cubicBezTo>
                        <a:pt x="127" y="22"/>
                        <a:pt x="127" y="22"/>
                        <a:pt x="127" y="22"/>
                      </a:cubicBezTo>
                      <a:cubicBezTo>
                        <a:pt x="126" y="23"/>
                        <a:pt x="126" y="23"/>
                        <a:pt x="126" y="23"/>
                      </a:cubicBezTo>
                      <a:cubicBezTo>
                        <a:pt x="125" y="25"/>
                        <a:pt x="125" y="25"/>
                        <a:pt x="125" y="25"/>
                      </a:cubicBezTo>
                      <a:close/>
                      <a:moveTo>
                        <a:pt x="108" y="37"/>
                      </a:moveTo>
                      <a:cubicBezTo>
                        <a:pt x="108" y="38"/>
                        <a:pt x="108" y="38"/>
                        <a:pt x="108" y="38"/>
                      </a:cubicBezTo>
                      <a:cubicBezTo>
                        <a:pt x="109" y="38"/>
                        <a:pt x="109" y="38"/>
                        <a:pt x="109" y="38"/>
                      </a:cubicBezTo>
                      <a:cubicBezTo>
                        <a:pt x="108" y="37"/>
                        <a:pt x="108" y="37"/>
                        <a:pt x="108" y="37"/>
                      </a:cubicBezTo>
                      <a:close/>
                      <a:moveTo>
                        <a:pt x="108" y="33"/>
                      </a:moveTo>
                      <a:cubicBezTo>
                        <a:pt x="109" y="31"/>
                        <a:pt x="109" y="31"/>
                        <a:pt x="109" y="31"/>
                      </a:cubicBezTo>
                      <a:cubicBezTo>
                        <a:pt x="108" y="31"/>
                        <a:pt x="108" y="31"/>
                        <a:pt x="108" y="31"/>
                      </a:cubicBezTo>
                      <a:cubicBezTo>
                        <a:pt x="108" y="33"/>
                        <a:pt x="108" y="33"/>
                        <a:pt x="108" y="33"/>
                      </a:cubicBezTo>
                      <a:close/>
                      <a:moveTo>
                        <a:pt x="109" y="34"/>
                      </a:moveTo>
                      <a:cubicBezTo>
                        <a:pt x="108" y="35"/>
                        <a:pt x="108" y="35"/>
                        <a:pt x="108" y="35"/>
                      </a:cubicBezTo>
                      <a:cubicBezTo>
                        <a:pt x="109" y="35"/>
                        <a:pt x="109" y="35"/>
                        <a:pt x="109" y="35"/>
                      </a:cubicBezTo>
                      <a:cubicBezTo>
                        <a:pt x="109" y="34"/>
                        <a:pt x="109" y="34"/>
                        <a:pt x="109" y="34"/>
                      </a:cubicBezTo>
                      <a:close/>
                      <a:moveTo>
                        <a:pt x="103" y="35"/>
                      </a:moveTo>
                      <a:cubicBezTo>
                        <a:pt x="102" y="37"/>
                        <a:pt x="102" y="37"/>
                        <a:pt x="102" y="37"/>
                      </a:cubicBezTo>
                      <a:cubicBezTo>
                        <a:pt x="103" y="38"/>
                        <a:pt x="103" y="38"/>
                        <a:pt x="103" y="38"/>
                      </a:cubicBezTo>
                      <a:cubicBezTo>
                        <a:pt x="105" y="36"/>
                        <a:pt x="105" y="36"/>
                        <a:pt x="105" y="36"/>
                      </a:cubicBezTo>
                      <a:cubicBezTo>
                        <a:pt x="104" y="35"/>
                        <a:pt x="104" y="35"/>
                        <a:pt x="104" y="35"/>
                      </a:cubicBezTo>
                      <a:cubicBezTo>
                        <a:pt x="103" y="35"/>
                        <a:pt x="103" y="35"/>
                        <a:pt x="103" y="35"/>
                      </a:cubicBezTo>
                      <a:close/>
                      <a:moveTo>
                        <a:pt x="86" y="57"/>
                      </a:move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9" y="56"/>
                        <a:pt x="89" y="56"/>
                        <a:pt x="89" y="56"/>
                      </a:cubicBezTo>
                      <a:cubicBezTo>
                        <a:pt x="89" y="55"/>
                        <a:pt x="89" y="55"/>
                        <a:pt x="89" y="55"/>
                      </a:cubicBezTo>
                      <a:cubicBezTo>
                        <a:pt x="86" y="57"/>
                        <a:pt x="86" y="57"/>
                        <a:pt x="86" y="57"/>
                      </a:cubicBezTo>
                      <a:close/>
                      <a:moveTo>
                        <a:pt x="91" y="55"/>
                      </a:moveTo>
                      <a:cubicBezTo>
                        <a:pt x="90" y="57"/>
                        <a:pt x="90" y="57"/>
                        <a:pt x="90" y="57"/>
                      </a:cubicBezTo>
                      <a:cubicBezTo>
                        <a:pt x="92" y="58"/>
                        <a:pt x="92" y="58"/>
                        <a:pt x="92" y="58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4" y="60"/>
                        <a:pt x="94" y="60"/>
                        <a:pt x="94" y="60"/>
                      </a:cubicBezTo>
                      <a:cubicBezTo>
                        <a:pt x="94" y="57"/>
                        <a:pt x="94" y="57"/>
                        <a:pt x="94" y="57"/>
                      </a:cubicBezTo>
                      <a:cubicBezTo>
                        <a:pt x="93" y="56"/>
                        <a:pt x="93" y="56"/>
                        <a:pt x="93" y="56"/>
                      </a:cubicBezTo>
                      <a:cubicBezTo>
                        <a:pt x="94" y="54"/>
                        <a:pt x="94" y="54"/>
                        <a:pt x="94" y="54"/>
                      </a:cubicBezTo>
                      <a:cubicBezTo>
                        <a:pt x="93" y="55"/>
                        <a:pt x="93" y="55"/>
                        <a:pt x="93" y="55"/>
                      </a:cubicBezTo>
                      <a:cubicBezTo>
                        <a:pt x="92" y="55"/>
                        <a:pt x="92" y="55"/>
                        <a:pt x="92" y="55"/>
                      </a:cubicBezTo>
                      <a:cubicBezTo>
                        <a:pt x="91" y="55"/>
                        <a:pt x="91" y="55"/>
                        <a:pt x="91" y="55"/>
                      </a:cubicBezTo>
                      <a:close/>
                      <a:moveTo>
                        <a:pt x="134" y="85"/>
                      </a:moveTo>
                      <a:cubicBezTo>
                        <a:pt x="134" y="86"/>
                        <a:pt x="134" y="86"/>
                        <a:pt x="134" y="86"/>
                      </a:cubicBezTo>
                      <a:cubicBezTo>
                        <a:pt x="135" y="87"/>
                        <a:pt x="135" y="87"/>
                        <a:pt x="135" y="87"/>
                      </a:cubicBezTo>
                      <a:cubicBezTo>
                        <a:pt x="136" y="86"/>
                        <a:pt x="136" y="86"/>
                        <a:pt x="136" y="86"/>
                      </a:cubicBezTo>
                      <a:cubicBezTo>
                        <a:pt x="135" y="85"/>
                        <a:pt x="135" y="85"/>
                        <a:pt x="135" y="85"/>
                      </a:cubicBezTo>
                      <a:cubicBezTo>
                        <a:pt x="134" y="85"/>
                        <a:pt x="134" y="85"/>
                        <a:pt x="134" y="85"/>
                      </a:cubicBezTo>
                      <a:close/>
                      <a:moveTo>
                        <a:pt x="121" y="94"/>
                      </a:moveTo>
                      <a:cubicBezTo>
                        <a:pt x="122" y="96"/>
                        <a:pt x="122" y="96"/>
                        <a:pt x="122" y="96"/>
                      </a:cubicBezTo>
                      <a:cubicBezTo>
                        <a:pt x="122" y="97"/>
                        <a:pt x="122" y="97"/>
                        <a:pt x="122" y="97"/>
                      </a:cubicBezTo>
                      <a:cubicBezTo>
                        <a:pt x="120" y="97"/>
                        <a:pt x="120" y="97"/>
                        <a:pt x="120" y="97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0" y="98"/>
                        <a:pt x="120" y="98"/>
                        <a:pt x="120" y="98"/>
                      </a:cubicBezTo>
                      <a:cubicBezTo>
                        <a:pt x="120" y="98"/>
                        <a:pt x="120" y="98"/>
                        <a:pt x="120" y="98"/>
                      </a:cubicBezTo>
                      <a:cubicBezTo>
                        <a:pt x="122" y="97"/>
                        <a:pt x="122" y="97"/>
                        <a:pt x="122" y="97"/>
                      </a:cubicBezTo>
                      <a:cubicBezTo>
                        <a:pt x="122" y="100"/>
                        <a:pt x="122" y="100"/>
                        <a:pt x="122" y="100"/>
                      </a:cubicBezTo>
                      <a:cubicBezTo>
                        <a:pt x="123" y="101"/>
                        <a:pt x="123" y="101"/>
                        <a:pt x="123" y="101"/>
                      </a:cubicBezTo>
                      <a:cubicBezTo>
                        <a:pt x="125" y="99"/>
                        <a:pt x="125" y="99"/>
                        <a:pt x="125" y="99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7" y="101"/>
                        <a:pt x="127" y="101"/>
                        <a:pt x="127" y="101"/>
                      </a:cubicBezTo>
                      <a:cubicBezTo>
                        <a:pt x="128" y="99"/>
                        <a:pt x="128" y="99"/>
                        <a:pt x="128" y="99"/>
                      </a:cubicBezTo>
                      <a:cubicBezTo>
                        <a:pt x="129" y="99"/>
                        <a:pt x="129" y="99"/>
                        <a:pt x="129" y="99"/>
                      </a:cubicBezTo>
                      <a:cubicBezTo>
                        <a:pt x="128" y="97"/>
                        <a:pt x="128" y="97"/>
                        <a:pt x="128" y="97"/>
                      </a:cubicBezTo>
                      <a:cubicBezTo>
                        <a:pt x="125" y="94"/>
                        <a:pt x="125" y="94"/>
                        <a:pt x="125" y="94"/>
                      </a:cubicBezTo>
                      <a:cubicBezTo>
                        <a:pt x="122" y="94"/>
                        <a:pt x="122" y="94"/>
                        <a:pt x="122" y="94"/>
                      </a:cubicBezTo>
                      <a:cubicBezTo>
                        <a:pt x="121" y="94"/>
                        <a:pt x="121" y="94"/>
                        <a:pt x="121" y="94"/>
                      </a:cubicBezTo>
                      <a:close/>
                      <a:moveTo>
                        <a:pt x="115" y="98"/>
                      </a:moveTo>
                      <a:cubicBezTo>
                        <a:pt x="114" y="100"/>
                        <a:pt x="114" y="100"/>
                        <a:pt x="114" y="100"/>
                      </a:cubicBez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15" y="98"/>
                        <a:pt x="115" y="98"/>
                        <a:pt x="115" y="98"/>
                      </a:cubicBezTo>
                      <a:close/>
                      <a:moveTo>
                        <a:pt x="101" y="85"/>
                      </a:moveTo>
                      <a:cubicBezTo>
                        <a:pt x="101" y="87"/>
                        <a:pt x="101" y="87"/>
                        <a:pt x="101" y="87"/>
                      </a:cubicBezTo>
                      <a:cubicBezTo>
                        <a:pt x="99" y="88"/>
                        <a:pt x="99" y="88"/>
                        <a:pt x="99" y="88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4" y="90"/>
                        <a:pt x="104" y="90"/>
                        <a:pt x="104" y="90"/>
                      </a:cubicBezTo>
                      <a:cubicBezTo>
                        <a:pt x="105" y="91"/>
                        <a:pt x="105" y="91"/>
                        <a:pt x="105" y="91"/>
                      </a:cubicBezTo>
                      <a:cubicBezTo>
                        <a:pt x="105" y="93"/>
                        <a:pt x="105" y="93"/>
                        <a:pt x="105" y="93"/>
                      </a:cubicBezTo>
                      <a:cubicBezTo>
                        <a:pt x="106" y="94"/>
                        <a:pt x="106" y="94"/>
                        <a:pt x="106" y="94"/>
                      </a:cubicBezTo>
                      <a:cubicBezTo>
                        <a:pt x="106" y="96"/>
                        <a:pt x="106" y="96"/>
                        <a:pt x="106" y="96"/>
                      </a:cubicBezTo>
                      <a:cubicBezTo>
                        <a:pt x="109" y="98"/>
                        <a:pt x="109" y="98"/>
                        <a:pt x="109" y="98"/>
                      </a:cubicBezTo>
                      <a:cubicBezTo>
                        <a:pt x="110" y="98"/>
                        <a:pt x="110" y="98"/>
                        <a:pt x="110" y="98"/>
                      </a:cubicBezTo>
                      <a:cubicBezTo>
                        <a:pt x="111" y="100"/>
                        <a:pt x="111" y="100"/>
                        <a:pt x="111" y="100"/>
                      </a:cubicBezTo>
                      <a:cubicBezTo>
                        <a:pt x="112" y="100"/>
                        <a:pt x="112" y="100"/>
                        <a:pt x="112" y="100"/>
                      </a:cubicBezTo>
                      <a:cubicBezTo>
                        <a:pt x="113" y="99"/>
                        <a:pt x="113" y="99"/>
                        <a:pt x="113" y="99"/>
                      </a:cubicBezTo>
                      <a:cubicBezTo>
                        <a:pt x="112" y="97"/>
                        <a:pt x="112" y="97"/>
                        <a:pt x="112" y="97"/>
                      </a:cubicBezTo>
                      <a:cubicBezTo>
                        <a:pt x="113" y="94"/>
                        <a:pt x="113" y="94"/>
                        <a:pt x="113" y="94"/>
                      </a:cubicBezTo>
                      <a:cubicBezTo>
                        <a:pt x="110" y="94"/>
                        <a:pt x="110" y="94"/>
                        <a:pt x="110" y="94"/>
                      </a:cubicBezTo>
                      <a:cubicBezTo>
                        <a:pt x="108" y="91"/>
                        <a:pt x="108" y="91"/>
                        <a:pt x="108" y="91"/>
                      </a:cubicBezTo>
                      <a:cubicBezTo>
                        <a:pt x="107" y="87"/>
                        <a:pt x="107" y="87"/>
                        <a:pt x="107" y="87"/>
                      </a:cubicBezTo>
                      <a:cubicBezTo>
                        <a:pt x="107" y="86"/>
                        <a:pt x="107" y="86"/>
                        <a:pt x="107" y="86"/>
                      </a:cubicBezTo>
                      <a:cubicBezTo>
                        <a:pt x="106" y="85"/>
                        <a:pt x="106" y="85"/>
                        <a:pt x="106" y="85"/>
                      </a:cubicBezTo>
                      <a:cubicBezTo>
                        <a:pt x="105" y="84"/>
                        <a:pt x="105" y="84"/>
                        <a:pt x="105" y="84"/>
                      </a:cubicBezTo>
                      <a:cubicBezTo>
                        <a:pt x="104" y="84"/>
                        <a:pt x="104" y="84"/>
                        <a:pt x="104" y="84"/>
                      </a:cubicBezTo>
                      <a:cubicBezTo>
                        <a:pt x="104" y="86"/>
                        <a:pt x="104" y="86"/>
                        <a:pt x="104" y="86"/>
                      </a:cubicBezTo>
                      <a:cubicBezTo>
                        <a:pt x="105" y="87"/>
                        <a:pt x="105" y="87"/>
                        <a:pt x="105" y="87"/>
                      </a:cubicBezTo>
                      <a:cubicBezTo>
                        <a:pt x="103" y="86"/>
                        <a:pt x="103" y="86"/>
                        <a:pt x="103" y="86"/>
                      </a:cubicBezTo>
                      <a:cubicBezTo>
                        <a:pt x="101" y="85"/>
                        <a:pt x="101" y="85"/>
                        <a:pt x="101" y="85"/>
                      </a:cubicBezTo>
                      <a:cubicBezTo>
                        <a:pt x="101" y="85"/>
                        <a:pt x="101" y="85"/>
                        <a:pt x="101" y="85"/>
                      </a:cubicBezTo>
                      <a:close/>
                      <a:moveTo>
                        <a:pt x="91" y="73"/>
                      </a:moveTo>
                      <a:cubicBezTo>
                        <a:pt x="91" y="74"/>
                        <a:pt x="91" y="74"/>
                        <a:pt x="91" y="74"/>
                      </a:cubicBezTo>
                      <a:cubicBezTo>
                        <a:pt x="92" y="76"/>
                        <a:pt x="92" y="76"/>
                        <a:pt x="92" y="76"/>
                      </a:cubicBezTo>
                      <a:cubicBezTo>
                        <a:pt x="94" y="75"/>
                        <a:pt x="94" y="75"/>
                        <a:pt x="94" y="75"/>
                      </a:cubicBezTo>
                      <a:cubicBezTo>
                        <a:pt x="93" y="73"/>
                        <a:pt x="93" y="73"/>
                        <a:pt x="93" y="73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lose/>
                      <a:moveTo>
                        <a:pt x="93" y="69"/>
                      </a:moveTo>
                      <a:cubicBezTo>
                        <a:pt x="92" y="71"/>
                        <a:pt x="92" y="71"/>
                        <a:pt x="92" y="71"/>
                      </a:cubicBezTo>
                      <a:cubicBezTo>
                        <a:pt x="93" y="72"/>
                        <a:pt x="93" y="72"/>
                        <a:pt x="93" y="72"/>
                      </a:cubicBezTo>
                      <a:cubicBezTo>
                        <a:pt x="95" y="71"/>
                        <a:pt x="95" y="71"/>
                        <a:pt x="95" y="71"/>
                      </a:cubicBezTo>
                      <a:cubicBezTo>
                        <a:pt x="97" y="73"/>
                        <a:pt x="97" y="73"/>
                        <a:pt x="97" y="73"/>
                      </a:cubicBezTo>
                      <a:cubicBezTo>
                        <a:pt x="98" y="72"/>
                        <a:pt x="98" y="72"/>
                        <a:pt x="98" y="72"/>
                      </a:cubicBezTo>
                      <a:cubicBezTo>
                        <a:pt x="95" y="69"/>
                        <a:pt x="95" y="69"/>
                        <a:pt x="95" y="69"/>
                      </a:cubicBezTo>
                      <a:cubicBezTo>
                        <a:pt x="93" y="69"/>
                        <a:pt x="93" y="69"/>
                        <a:pt x="93" y="69"/>
                      </a:cubicBezTo>
                      <a:close/>
                      <a:moveTo>
                        <a:pt x="74" y="56"/>
                      </a:moveTo>
                      <a:cubicBezTo>
                        <a:pt x="72" y="58"/>
                        <a:pt x="72" y="58"/>
                        <a:pt x="72" y="58"/>
                      </a:cubicBezTo>
                      <a:cubicBezTo>
                        <a:pt x="73" y="60"/>
                        <a:pt x="73" y="60"/>
                        <a:pt x="73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8" y="61"/>
                        <a:pt x="78" y="61"/>
                        <a:pt x="78" y="61"/>
                      </a:cubicBezTo>
                      <a:cubicBezTo>
                        <a:pt x="79" y="61"/>
                        <a:pt x="79" y="61"/>
                        <a:pt x="79" y="61"/>
                      </a:cubicBezTo>
                      <a:cubicBezTo>
                        <a:pt x="78" y="58"/>
                        <a:pt x="78" y="58"/>
                        <a:pt x="78" y="58"/>
                      </a:cubicBezTo>
                      <a:cubicBezTo>
                        <a:pt x="76" y="56"/>
                        <a:pt x="76" y="56"/>
                        <a:pt x="76" y="56"/>
                      </a:cubicBezTo>
                      <a:cubicBezTo>
                        <a:pt x="74" y="56"/>
                        <a:pt x="74" y="56"/>
                        <a:pt x="74" y="56"/>
                      </a:cubicBezTo>
                      <a:close/>
                      <a:moveTo>
                        <a:pt x="68" y="52"/>
                      </a:moveTo>
                      <a:cubicBezTo>
                        <a:pt x="69" y="52"/>
                        <a:pt x="69" y="52"/>
                        <a:pt x="69" y="52"/>
                      </a:cubicBezTo>
                      <a:cubicBezTo>
                        <a:pt x="72" y="53"/>
                        <a:pt x="72" y="53"/>
                        <a:pt x="72" y="53"/>
                      </a:cubicBezTo>
                      <a:cubicBezTo>
                        <a:pt x="73" y="55"/>
                        <a:pt x="73" y="55"/>
                        <a:pt x="73" y="55"/>
                      </a:cubicBezTo>
                      <a:cubicBezTo>
                        <a:pt x="72" y="57"/>
                        <a:pt x="72" y="57"/>
                        <a:pt x="72" y="57"/>
                      </a:cubicBezTo>
                      <a:cubicBezTo>
                        <a:pt x="71" y="56"/>
                        <a:pt x="71" y="56"/>
                        <a:pt x="71" y="56"/>
                      </a:cubicBezTo>
                      <a:cubicBezTo>
                        <a:pt x="68" y="52"/>
                        <a:pt x="68" y="52"/>
                        <a:pt x="68" y="52"/>
                      </a:cubicBezTo>
                      <a:close/>
                      <a:moveTo>
                        <a:pt x="62" y="48"/>
                      </a:moveTo>
                      <a:cubicBezTo>
                        <a:pt x="63" y="51"/>
                        <a:pt x="63" y="51"/>
                        <a:pt x="63" y="51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4" y="46"/>
                        <a:pt x="64" y="46"/>
                        <a:pt x="64" y="46"/>
                      </a:cubicBezTo>
                      <a:cubicBezTo>
                        <a:pt x="63" y="47"/>
                        <a:pt x="63" y="47"/>
                        <a:pt x="63" y="47"/>
                      </a:cubicBezTo>
                      <a:cubicBezTo>
                        <a:pt x="62" y="48"/>
                        <a:pt x="62" y="48"/>
                        <a:pt x="62" y="48"/>
                      </a:cubicBezTo>
                      <a:close/>
                      <a:moveTo>
                        <a:pt x="68" y="122"/>
                      </a:moveTo>
                      <a:cubicBezTo>
                        <a:pt x="71" y="124"/>
                        <a:pt x="71" y="124"/>
                        <a:pt x="71" y="124"/>
                      </a:cubicBezTo>
                      <a:cubicBezTo>
                        <a:pt x="71" y="122"/>
                        <a:pt x="71" y="122"/>
                        <a:pt x="71" y="122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68" y="122"/>
                        <a:pt x="68" y="122"/>
                        <a:pt x="68" y="122"/>
                      </a:cubicBezTo>
                      <a:close/>
                      <a:moveTo>
                        <a:pt x="50" y="97"/>
                      </a:moveTo>
                      <a:cubicBezTo>
                        <a:pt x="49" y="99"/>
                        <a:pt x="49" y="99"/>
                        <a:pt x="49" y="99"/>
                      </a:cubicBezTo>
                      <a:cubicBezTo>
                        <a:pt x="53" y="102"/>
                        <a:pt x="53" y="102"/>
                        <a:pt x="53" y="102"/>
                      </a:cubicBezTo>
                      <a:cubicBezTo>
                        <a:pt x="52" y="100"/>
                        <a:pt x="52" y="100"/>
                        <a:pt x="52" y="100"/>
                      </a:cubicBezTo>
                      <a:cubicBezTo>
                        <a:pt x="52" y="98"/>
                        <a:pt x="52" y="98"/>
                        <a:pt x="52" y="98"/>
                      </a:cubicBezTo>
                      <a:cubicBezTo>
                        <a:pt x="50" y="97"/>
                        <a:pt x="50" y="97"/>
                        <a:pt x="50" y="97"/>
                      </a:cubicBezTo>
                      <a:close/>
                      <a:moveTo>
                        <a:pt x="47" y="95"/>
                      </a:moveTo>
                      <a:cubicBezTo>
                        <a:pt x="49" y="96"/>
                        <a:pt x="49" y="96"/>
                        <a:pt x="49" y="96"/>
                      </a:cubicBezTo>
                      <a:cubicBezTo>
                        <a:pt x="48" y="97"/>
                        <a:pt x="48" y="97"/>
                        <a:pt x="48" y="97"/>
                      </a:cubicBezTo>
                      <a:cubicBezTo>
                        <a:pt x="47" y="95"/>
                        <a:pt x="47" y="95"/>
                        <a:pt x="47" y="95"/>
                      </a:cubicBezTo>
                      <a:close/>
                      <a:moveTo>
                        <a:pt x="44" y="89"/>
                      </a:moveTo>
                      <a:cubicBezTo>
                        <a:pt x="43" y="90"/>
                        <a:pt x="43" y="90"/>
                        <a:pt x="43" y="90"/>
                      </a:cubicBezTo>
                      <a:cubicBezTo>
                        <a:pt x="44" y="91"/>
                        <a:pt x="44" y="91"/>
                        <a:pt x="44" y="91"/>
                      </a:cubicBezTo>
                      <a:cubicBezTo>
                        <a:pt x="46" y="92"/>
                        <a:pt x="46" y="92"/>
                        <a:pt x="46" y="92"/>
                      </a:cubicBezTo>
                      <a:cubicBezTo>
                        <a:pt x="44" y="89"/>
                        <a:pt x="44" y="89"/>
                        <a:pt x="44" y="89"/>
                      </a:cubicBezTo>
                      <a:close/>
                      <a:moveTo>
                        <a:pt x="33" y="80"/>
                      </a:moveTo>
                      <a:cubicBezTo>
                        <a:pt x="33" y="81"/>
                        <a:pt x="33" y="81"/>
                        <a:pt x="33" y="81"/>
                      </a:cubicBezTo>
                      <a:cubicBezTo>
                        <a:pt x="35" y="82"/>
                        <a:pt x="35" y="82"/>
                        <a:pt x="35" y="82"/>
                      </a:cubicBezTo>
                      <a:cubicBezTo>
                        <a:pt x="38" y="86"/>
                        <a:pt x="38" y="86"/>
                        <a:pt x="38" y="86"/>
                      </a:cubicBezTo>
                      <a:cubicBezTo>
                        <a:pt x="40" y="87"/>
                        <a:pt x="40" y="87"/>
                        <a:pt x="40" y="87"/>
                      </a:cubicBezTo>
                      <a:cubicBezTo>
                        <a:pt x="40" y="83"/>
                        <a:pt x="40" y="83"/>
                        <a:pt x="40" y="83"/>
                      </a:cubicBezTo>
                      <a:cubicBezTo>
                        <a:pt x="38" y="79"/>
                        <a:pt x="38" y="79"/>
                        <a:pt x="38" y="79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33" y="80"/>
                        <a:pt x="33" y="80"/>
                        <a:pt x="33" y="80"/>
                      </a:cubicBezTo>
                      <a:close/>
                      <a:moveTo>
                        <a:pt x="32" y="72"/>
                      </a:moveTo>
                      <a:cubicBezTo>
                        <a:pt x="31" y="74"/>
                        <a:pt x="31" y="74"/>
                        <a:pt x="31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4" y="74"/>
                        <a:pt x="34" y="74"/>
                        <a:pt x="34" y="74"/>
                      </a:cubicBezTo>
                      <a:cubicBezTo>
                        <a:pt x="34" y="73"/>
                        <a:pt x="34" y="73"/>
                        <a:pt x="34" y="73"/>
                      </a:cubicBezTo>
                      <a:cubicBezTo>
                        <a:pt x="32" y="72"/>
                        <a:pt x="32" y="72"/>
                        <a:pt x="32" y="72"/>
                      </a:cubicBezTo>
                      <a:close/>
                      <a:moveTo>
                        <a:pt x="33" y="67"/>
                      </a:move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ubicBezTo>
                        <a:pt x="37" y="66"/>
                        <a:pt x="37" y="66"/>
                        <a:pt x="37" y="66"/>
                      </a:cubicBezTo>
                      <a:cubicBezTo>
                        <a:pt x="34" y="66"/>
                        <a:pt x="34" y="66"/>
                        <a:pt x="34" y="66"/>
                      </a:cubicBezTo>
                      <a:cubicBezTo>
                        <a:pt x="33" y="67"/>
                        <a:pt x="33" y="67"/>
                        <a:pt x="33" y="67"/>
                      </a:cubicBezTo>
                      <a:close/>
                      <a:moveTo>
                        <a:pt x="20" y="54"/>
                      </a:moveTo>
                      <a:cubicBezTo>
                        <a:pt x="21" y="54"/>
                        <a:pt x="21" y="54"/>
                        <a:pt x="21" y="54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4" y="53"/>
                        <a:pt x="24" y="53"/>
                        <a:pt x="24" y="53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7" y="58"/>
                        <a:pt x="27" y="58"/>
                        <a:pt x="27" y="58"/>
                      </a:cubicBezTo>
                      <a:cubicBezTo>
                        <a:pt x="27" y="59"/>
                        <a:pt x="27" y="59"/>
                        <a:pt x="27" y="59"/>
                      </a:cubicBez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5" y="62"/>
                        <a:pt x="25" y="62"/>
                        <a:pt x="25" y="62"/>
                      </a:cubicBezTo>
                      <a:cubicBezTo>
                        <a:pt x="24" y="58"/>
                        <a:pt x="24" y="58"/>
                        <a:pt x="24" y="58"/>
                      </a:cubicBezTo>
                      <a:cubicBezTo>
                        <a:pt x="22" y="58"/>
                        <a:pt x="22" y="58"/>
                        <a:pt x="22" y="58"/>
                      </a:cubicBezTo>
                      <a:cubicBezTo>
                        <a:pt x="22" y="56"/>
                        <a:pt x="22" y="56"/>
                        <a:pt x="22" y="56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lose/>
                      <a:moveTo>
                        <a:pt x="19" y="46"/>
                      </a:move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6"/>
                        <a:pt x="21" y="46"/>
                        <a:pt x="21" y="46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lose/>
                      <a:moveTo>
                        <a:pt x="6" y="37"/>
                      </a:move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5" y="39"/>
                        <a:pt x="5" y="39"/>
                        <a:pt x="5" y="39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9" y="40"/>
                        <a:pt x="9" y="40"/>
                        <a:pt x="9" y="40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6" y="37"/>
                        <a:pt x="6" y="37"/>
                        <a:pt x="6" y="37"/>
                      </a:cubicBezTo>
                      <a:close/>
                      <a:moveTo>
                        <a:pt x="1" y="10"/>
                      </a:move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10" y="24"/>
                        <a:pt x="10" y="24"/>
                        <a:pt x="10" y="24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9" y="30"/>
                        <a:pt x="19" y="30"/>
                        <a:pt x="19" y="30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7" y="43"/>
                        <a:pt x="27" y="43"/>
                        <a:pt x="27" y="43"/>
                      </a:cubicBezTo>
                      <a:cubicBezTo>
                        <a:pt x="28" y="45"/>
                        <a:pt x="28" y="45"/>
                        <a:pt x="28" y="45"/>
                      </a:cubicBezTo>
                      <a:cubicBezTo>
                        <a:pt x="29" y="46"/>
                        <a:pt x="29" y="46"/>
                        <a:pt x="29" y="46"/>
                      </a:cubicBezTo>
                      <a:cubicBezTo>
                        <a:pt x="31" y="46"/>
                        <a:pt x="31" y="46"/>
                        <a:pt x="31" y="46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0"/>
                        <a:pt x="36" y="50"/>
                        <a:pt x="36" y="50"/>
                      </a:cubicBezTo>
                      <a:cubicBezTo>
                        <a:pt x="36" y="51"/>
                        <a:pt x="36" y="51"/>
                        <a:pt x="36" y="51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37" y="54"/>
                        <a:pt x="37" y="54"/>
                        <a:pt x="37" y="54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41" y="65"/>
                        <a:pt x="41" y="65"/>
                        <a:pt x="41" y="65"/>
                      </a:cubicBezTo>
                      <a:cubicBezTo>
                        <a:pt x="43" y="66"/>
                        <a:pt x="43" y="66"/>
                        <a:pt x="43" y="66"/>
                      </a:cubicBezTo>
                      <a:cubicBezTo>
                        <a:pt x="46" y="68"/>
                        <a:pt x="46" y="68"/>
                        <a:pt x="46" y="68"/>
                      </a:cubicBezTo>
                      <a:cubicBezTo>
                        <a:pt x="46" y="70"/>
                        <a:pt x="46" y="70"/>
                        <a:pt x="46" y="70"/>
                      </a:cubicBezTo>
                      <a:cubicBezTo>
                        <a:pt x="48" y="74"/>
                        <a:pt x="48" y="74"/>
                        <a:pt x="48" y="74"/>
                      </a:cubicBezTo>
                      <a:cubicBezTo>
                        <a:pt x="51" y="76"/>
                        <a:pt x="51" y="76"/>
                        <a:pt x="51" y="76"/>
                      </a:cubicBezTo>
                      <a:cubicBezTo>
                        <a:pt x="51" y="81"/>
                        <a:pt x="51" y="81"/>
                        <a:pt x="51" y="81"/>
                      </a:cubicBezTo>
                      <a:cubicBezTo>
                        <a:pt x="55" y="88"/>
                        <a:pt x="55" y="88"/>
                        <a:pt x="55" y="88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5" y="93"/>
                        <a:pt x="55" y="93"/>
                        <a:pt x="55" y="93"/>
                      </a:cubicBezTo>
                      <a:cubicBezTo>
                        <a:pt x="59" y="96"/>
                        <a:pt x="59" y="96"/>
                        <a:pt x="59" y="96"/>
                      </a:cubicBezTo>
                      <a:cubicBezTo>
                        <a:pt x="62" y="100"/>
                        <a:pt x="62" y="100"/>
                        <a:pt x="62" y="100"/>
                      </a:cubicBezTo>
                      <a:cubicBezTo>
                        <a:pt x="63" y="102"/>
                        <a:pt x="63" y="102"/>
                        <a:pt x="63" y="102"/>
                      </a:cubicBezTo>
                      <a:cubicBezTo>
                        <a:pt x="66" y="103"/>
                        <a:pt x="66" y="103"/>
                        <a:pt x="66" y="103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9" y="106"/>
                        <a:pt x="69" y="106"/>
                        <a:pt x="69" y="106"/>
                      </a:cubicBezTo>
                      <a:cubicBezTo>
                        <a:pt x="70" y="109"/>
                        <a:pt x="70" y="109"/>
                        <a:pt x="70" y="109"/>
                      </a:cubicBezTo>
                      <a:cubicBezTo>
                        <a:pt x="72" y="110"/>
                        <a:pt x="72" y="110"/>
                        <a:pt x="72" y="110"/>
                      </a:cubicBezTo>
                      <a:cubicBezTo>
                        <a:pt x="74" y="113"/>
                        <a:pt x="74" y="113"/>
                        <a:pt x="74" y="113"/>
                      </a:cubicBezTo>
                      <a:cubicBezTo>
                        <a:pt x="79" y="116"/>
                        <a:pt x="79" y="116"/>
                        <a:pt x="79" y="116"/>
                      </a:cubicBezTo>
                      <a:cubicBezTo>
                        <a:pt x="80" y="118"/>
                        <a:pt x="80" y="118"/>
                        <a:pt x="80" y="118"/>
                      </a:cubicBezTo>
                      <a:cubicBezTo>
                        <a:pt x="82" y="119"/>
                        <a:pt x="82" y="119"/>
                        <a:pt x="82" y="119"/>
                      </a:cubicBezTo>
                      <a:cubicBezTo>
                        <a:pt x="88" y="124"/>
                        <a:pt x="88" y="124"/>
                        <a:pt x="88" y="124"/>
                      </a:cubicBezTo>
                      <a:cubicBezTo>
                        <a:pt x="89" y="126"/>
                        <a:pt x="89" y="126"/>
                        <a:pt x="89" y="126"/>
                      </a:cubicBezTo>
                      <a:cubicBezTo>
                        <a:pt x="90" y="126"/>
                        <a:pt x="90" y="126"/>
                        <a:pt x="90" y="126"/>
                      </a:cubicBezTo>
                      <a:cubicBezTo>
                        <a:pt x="91" y="129"/>
                        <a:pt x="91" y="129"/>
                        <a:pt x="91" y="129"/>
                      </a:cubicBezTo>
                      <a:cubicBezTo>
                        <a:pt x="92" y="128"/>
                        <a:pt x="92" y="128"/>
                        <a:pt x="92" y="128"/>
                      </a:cubicBezTo>
                      <a:cubicBezTo>
                        <a:pt x="92" y="126"/>
                        <a:pt x="92" y="126"/>
                        <a:pt x="92" y="126"/>
                      </a:cubicBezTo>
                      <a:cubicBezTo>
                        <a:pt x="91" y="125"/>
                        <a:pt x="91" y="125"/>
                        <a:pt x="91" y="125"/>
                      </a:cubicBezTo>
                      <a:cubicBezTo>
                        <a:pt x="91" y="124"/>
                        <a:pt x="91" y="124"/>
                        <a:pt x="91" y="124"/>
                      </a:cubicBezTo>
                      <a:cubicBezTo>
                        <a:pt x="93" y="124"/>
                        <a:pt x="93" y="124"/>
                        <a:pt x="93" y="124"/>
                      </a:cubicBezTo>
                      <a:cubicBezTo>
                        <a:pt x="97" y="128"/>
                        <a:pt x="97" y="128"/>
                        <a:pt x="97" y="128"/>
                      </a:cubicBezTo>
                      <a:cubicBezTo>
                        <a:pt x="98" y="127"/>
                        <a:pt x="98" y="127"/>
                        <a:pt x="98" y="127"/>
                      </a:cubicBezTo>
                      <a:cubicBezTo>
                        <a:pt x="98" y="124"/>
                        <a:pt x="98" y="124"/>
                        <a:pt x="98" y="124"/>
                      </a:cubicBezTo>
                      <a:cubicBezTo>
                        <a:pt x="98" y="123"/>
                        <a:pt x="98" y="123"/>
                        <a:pt x="98" y="123"/>
                      </a:cubicBezTo>
                      <a:cubicBezTo>
                        <a:pt x="100" y="123"/>
                        <a:pt x="100" y="123"/>
                        <a:pt x="100" y="123"/>
                      </a:cubicBezTo>
                      <a:cubicBezTo>
                        <a:pt x="102" y="126"/>
                        <a:pt x="102" y="126"/>
                        <a:pt x="102" y="126"/>
                      </a:cubicBezTo>
                      <a:cubicBezTo>
                        <a:pt x="103" y="127"/>
                        <a:pt x="103" y="127"/>
                        <a:pt x="103" y="127"/>
                      </a:cubicBezTo>
                      <a:cubicBezTo>
                        <a:pt x="104" y="125"/>
                        <a:pt x="104" y="125"/>
                        <a:pt x="104" y="125"/>
                      </a:cubicBezTo>
                      <a:cubicBezTo>
                        <a:pt x="104" y="121"/>
                        <a:pt x="104" y="121"/>
                        <a:pt x="104" y="121"/>
                      </a:cubicBezTo>
                      <a:cubicBezTo>
                        <a:pt x="105" y="116"/>
                        <a:pt x="105" y="116"/>
                        <a:pt x="105" y="116"/>
                      </a:cubicBezTo>
                      <a:cubicBezTo>
                        <a:pt x="104" y="112"/>
                        <a:pt x="104" y="112"/>
                        <a:pt x="104" y="112"/>
                      </a:cubicBezTo>
                      <a:cubicBezTo>
                        <a:pt x="106" y="108"/>
                        <a:pt x="106" y="108"/>
                        <a:pt x="106" y="108"/>
                      </a:cubicBezTo>
                      <a:cubicBezTo>
                        <a:pt x="105" y="106"/>
                        <a:pt x="105" y="106"/>
                        <a:pt x="105" y="106"/>
                      </a:cubicBezTo>
                      <a:cubicBezTo>
                        <a:pt x="105" y="103"/>
                        <a:pt x="105" y="103"/>
                        <a:pt x="105" y="103"/>
                      </a:cubicBezTo>
                      <a:cubicBezTo>
                        <a:pt x="107" y="103"/>
                        <a:pt x="107" y="103"/>
                        <a:pt x="107" y="103"/>
                      </a:cubicBezTo>
                      <a:cubicBezTo>
                        <a:pt x="107" y="101"/>
                        <a:pt x="107" y="101"/>
                        <a:pt x="107" y="101"/>
                      </a:cubicBezTo>
                      <a:cubicBezTo>
                        <a:pt x="107" y="99"/>
                        <a:pt x="107" y="99"/>
                        <a:pt x="107" y="99"/>
                      </a:cubicBezTo>
                      <a:cubicBezTo>
                        <a:pt x="106" y="99"/>
                        <a:pt x="106" y="99"/>
                        <a:pt x="106" y="99"/>
                      </a:cubicBezTo>
                      <a:cubicBezTo>
                        <a:pt x="104" y="97"/>
                        <a:pt x="104" y="97"/>
                        <a:pt x="104" y="97"/>
                      </a:cubicBezTo>
                      <a:cubicBezTo>
                        <a:pt x="103" y="95"/>
                        <a:pt x="103" y="95"/>
                        <a:pt x="103" y="95"/>
                      </a:cubicBezTo>
                      <a:cubicBezTo>
                        <a:pt x="102" y="94"/>
                        <a:pt x="102" y="94"/>
                        <a:pt x="102" y="94"/>
                      </a:cubicBezTo>
                      <a:cubicBezTo>
                        <a:pt x="101" y="93"/>
                        <a:pt x="101" y="93"/>
                        <a:pt x="101" y="93"/>
                      </a:cubicBezTo>
                      <a:cubicBezTo>
                        <a:pt x="100" y="92"/>
                        <a:pt x="100" y="92"/>
                        <a:pt x="100" y="92"/>
                      </a:cubicBezTo>
                      <a:cubicBezTo>
                        <a:pt x="97" y="92"/>
                        <a:pt x="97" y="92"/>
                        <a:pt x="97" y="92"/>
                      </a:cubicBezTo>
                      <a:cubicBezTo>
                        <a:pt x="95" y="92"/>
                        <a:pt x="95" y="92"/>
                        <a:pt x="95" y="92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ubicBezTo>
                        <a:pt x="93" y="87"/>
                        <a:pt x="93" y="87"/>
                        <a:pt x="93" y="87"/>
                      </a:cubicBezTo>
                      <a:cubicBezTo>
                        <a:pt x="92" y="88"/>
                        <a:pt x="92" y="88"/>
                        <a:pt x="92" y="88"/>
                      </a:cubicBezTo>
                      <a:cubicBezTo>
                        <a:pt x="93" y="86"/>
                        <a:pt x="93" y="86"/>
                        <a:pt x="93" y="86"/>
                      </a:cubicBezTo>
                      <a:cubicBezTo>
                        <a:pt x="92" y="84"/>
                        <a:pt x="92" y="84"/>
                        <a:pt x="92" y="84"/>
                      </a:cubicBezTo>
                      <a:cubicBezTo>
                        <a:pt x="92" y="79"/>
                        <a:pt x="92" y="79"/>
                        <a:pt x="92" y="79"/>
                      </a:cubicBezTo>
                      <a:cubicBezTo>
                        <a:pt x="89" y="80"/>
                        <a:pt x="89" y="80"/>
                        <a:pt x="89" y="80"/>
                      </a:cubicBezTo>
                      <a:cubicBezTo>
                        <a:pt x="88" y="79"/>
                        <a:pt x="88" y="79"/>
                        <a:pt x="88" y="79"/>
                      </a:cubicBezTo>
                      <a:cubicBezTo>
                        <a:pt x="85" y="79"/>
                        <a:pt x="85" y="79"/>
                        <a:pt x="85" y="79"/>
                      </a:cubicBezTo>
                      <a:cubicBezTo>
                        <a:pt x="81" y="77"/>
                        <a:pt x="81" y="77"/>
                        <a:pt x="81" y="77"/>
                      </a:cubicBezTo>
                      <a:cubicBezTo>
                        <a:pt x="81" y="75"/>
                        <a:pt x="81" y="75"/>
                        <a:pt x="81" y="75"/>
                      </a:cubicBezTo>
                      <a:cubicBezTo>
                        <a:pt x="83" y="74"/>
                        <a:pt x="83" y="74"/>
                        <a:pt x="83" y="74"/>
                      </a:cubicBezTo>
                      <a:cubicBezTo>
                        <a:pt x="86" y="73"/>
                        <a:pt x="86" y="73"/>
                        <a:pt x="86" y="73"/>
                      </a:cubicBezTo>
                      <a:cubicBezTo>
                        <a:pt x="84" y="72"/>
                        <a:pt x="84" y="72"/>
                        <a:pt x="84" y="72"/>
                      </a:cubicBezTo>
                      <a:cubicBezTo>
                        <a:pt x="82" y="72"/>
                        <a:pt x="82" y="72"/>
                        <a:pt x="82" y="72"/>
                      </a:cubicBezTo>
                      <a:cubicBezTo>
                        <a:pt x="81" y="72"/>
                        <a:pt x="81" y="72"/>
                        <a:pt x="81" y="72"/>
                      </a:cubicBezTo>
                      <a:cubicBezTo>
                        <a:pt x="79" y="73"/>
                        <a:pt x="79" y="73"/>
                        <a:pt x="79" y="73"/>
                      </a:cubicBezTo>
                      <a:cubicBezTo>
                        <a:pt x="80" y="71"/>
                        <a:pt x="80" y="71"/>
                        <a:pt x="80" y="71"/>
                      </a:cubicBezTo>
                      <a:cubicBezTo>
                        <a:pt x="83" y="69"/>
                        <a:pt x="83" y="69"/>
                        <a:pt x="83" y="69"/>
                      </a:cubicBezTo>
                      <a:cubicBezTo>
                        <a:pt x="86" y="69"/>
                        <a:pt x="86" y="69"/>
                        <a:pt x="86" y="69"/>
                      </a:cubicBezTo>
                      <a:cubicBezTo>
                        <a:pt x="85" y="67"/>
                        <a:pt x="85" y="67"/>
                        <a:pt x="85" y="67"/>
                      </a:cubicBezTo>
                      <a:cubicBezTo>
                        <a:pt x="82" y="64"/>
                        <a:pt x="82" y="64"/>
                        <a:pt x="82" y="64"/>
                      </a:cubicBezTo>
                      <a:cubicBezTo>
                        <a:pt x="80" y="63"/>
                        <a:pt x="80" y="63"/>
                        <a:pt x="80" y="63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6" y="66"/>
                        <a:pt x="76" y="66"/>
                        <a:pt x="76" y="66"/>
                      </a:cubicBezTo>
                      <a:cubicBezTo>
                        <a:pt x="74" y="66"/>
                        <a:pt x="74" y="66"/>
                        <a:pt x="74" y="66"/>
                      </a:cubicBezTo>
                      <a:cubicBezTo>
                        <a:pt x="75" y="66"/>
                        <a:pt x="75" y="66"/>
                        <a:pt x="75" y="66"/>
                      </a:cubicBezTo>
                      <a:cubicBezTo>
                        <a:pt x="76" y="65"/>
                        <a:pt x="76" y="65"/>
                        <a:pt x="76" y="65"/>
                      </a:cubicBezTo>
                      <a:cubicBezTo>
                        <a:pt x="77" y="65"/>
                        <a:pt x="77" y="65"/>
                        <a:pt x="77" y="65"/>
                      </a:cubicBezTo>
                      <a:cubicBezTo>
                        <a:pt x="78" y="64"/>
                        <a:pt x="78" y="64"/>
                        <a:pt x="78" y="64"/>
                      </a:cubicBezTo>
                      <a:cubicBezTo>
                        <a:pt x="77" y="62"/>
                        <a:pt x="77" y="62"/>
                        <a:pt x="77" y="62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2" y="61"/>
                        <a:pt x="72" y="61"/>
                        <a:pt x="72" y="61"/>
                      </a:cubicBezTo>
                      <a:cubicBezTo>
                        <a:pt x="69" y="59"/>
                        <a:pt x="69" y="59"/>
                        <a:pt x="69" y="59"/>
                      </a:cubicBezTo>
                      <a:cubicBezTo>
                        <a:pt x="69" y="58"/>
                        <a:pt x="69" y="58"/>
                        <a:pt x="69" y="58"/>
                      </a:cubicBezTo>
                      <a:cubicBezTo>
                        <a:pt x="69" y="55"/>
                        <a:pt x="69" y="55"/>
                        <a:pt x="69" y="55"/>
                      </a:cubicBezTo>
                      <a:cubicBezTo>
                        <a:pt x="65" y="51"/>
                        <a:pt x="65" y="51"/>
                        <a:pt x="65" y="51"/>
                      </a:cubicBezTo>
                      <a:cubicBezTo>
                        <a:pt x="64" y="51"/>
                        <a:pt x="64" y="51"/>
                        <a:pt x="64" y="51"/>
                      </a:cubicBezTo>
                      <a:cubicBezTo>
                        <a:pt x="62" y="51"/>
                        <a:pt x="62" y="51"/>
                        <a:pt x="62" y="51"/>
                      </a:cubicBezTo>
                      <a:cubicBezTo>
                        <a:pt x="61" y="50"/>
                        <a:pt x="61" y="50"/>
                        <a:pt x="61" y="50"/>
                      </a:cubicBezTo>
                      <a:cubicBezTo>
                        <a:pt x="60" y="46"/>
                        <a:pt x="60" y="46"/>
                        <a:pt x="60" y="46"/>
                      </a:cubicBezTo>
                      <a:cubicBezTo>
                        <a:pt x="58" y="44"/>
                        <a:pt x="58" y="44"/>
                        <a:pt x="58" y="44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2" y="41"/>
                        <a:pt x="52" y="41"/>
                        <a:pt x="52" y="41"/>
                      </a:cubicBezTo>
                      <a:cubicBezTo>
                        <a:pt x="51" y="42"/>
                        <a:pt x="51" y="42"/>
                        <a:pt x="51" y="42"/>
                      </a:cubicBezTo>
                      <a:cubicBezTo>
                        <a:pt x="50" y="42"/>
                        <a:pt x="50" y="42"/>
                        <a:pt x="50" y="42"/>
                      </a:cubicBezTo>
                      <a:cubicBezTo>
                        <a:pt x="49" y="39"/>
                        <a:pt x="49" y="39"/>
                        <a:pt x="49" y="39"/>
                      </a:cubicBezTo>
                      <a:cubicBezTo>
                        <a:pt x="48" y="40"/>
                        <a:pt x="48" y="40"/>
                        <a:pt x="48" y="40"/>
                      </a:cubicBezTo>
                      <a:cubicBezTo>
                        <a:pt x="47" y="39"/>
                        <a:pt x="47" y="39"/>
                        <a:pt x="47" y="39"/>
                      </a:cubicBezTo>
                      <a:cubicBezTo>
                        <a:pt x="47" y="36"/>
                        <a:pt x="47" y="36"/>
                        <a:pt x="47" y="36"/>
                      </a:cubicBezTo>
                      <a:cubicBezTo>
                        <a:pt x="45" y="34"/>
                        <a:pt x="45" y="34"/>
                        <a:pt x="45" y="34"/>
                      </a:cubicBezTo>
                      <a:cubicBezTo>
                        <a:pt x="43" y="33"/>
                        <a:pt x="43" y="33"/>
                        <a:pt x="43" y="33"/>
                      </a:cubicBez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3" y="25"/>
                        <a:pt x="33" y="25"/>
                        <a:pt x="33" y="25"/>
                      </a:cubicBezTo>
                      <a:cubicBezTo>
                        <a:pt x="30" y="25"/>
                        <a:pt x="30" y="25"/>
                        <a:pt x="30" y="25"/>
                      </a:cubicBezTo>
                      <a:cubicBezTo>
                        <a:pt x="30" y="23"/>
                        <a:pt x="30" y="23"/>
                        <a:pt x="30" y="23"/>
                      </a:cubicBezTo>
                      <a:cubicBezTo>
                        <a:pt x="29" y="20"/>
                        <a:pt x="29" y="20"/>
                        <a:pt x="29" y="20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2" y="9"/>
                        <a:pt x="2" y="9"/>
                        <a:pt x="2" y="9"/>
                      </a:cubicBezTo>
                      <a:lnTo>
                        <a:pt x="1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3" name="Freeform 172">
                  <a:extLst>
                    <a:ext uri="{FF2B5EF4-FFF2-40B4-BE49-F238E27FC236}">
                      <a16:creationId xmlns:a16="http://schemas.microsoft.com/office/drawing/2014/main" xmlns="" id="{11DF94BE-73EF-45E2-83D6-5EB329E6FA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27" y="2206"/>
                  <a:ext cx="51" cy="16"/>
                </a:xfrm>
                <a:custGeom>
                  <a:avLst/>
                  <a:gdLst>
                    <a:gd name="T0" fmla="*/ 0 w 51"/>
                    <a:gd name="T1" fmla="*/ 13 h 16"/>
                    <a:gd name="T2" fmla="*/ 3 w 51"/>
                    <a:gd name="T3" fmla="*/ 16 h 16"/>
                    <a:gd name="T4" fmla="*/ 7 w 51"/>
                    <a:gd name="T5" fmla="*/ 15 h 16"/>
                    <a:gd name="T6" fmla="*/ 8 w 51"/>
                    <a:gd name="T7" fmla="*/ 15 h 16"/>
                    <a:gd name="T8" fmla="*/ 10 w 51"/>
                    <a:gd name="T9" fmla="*/ 10 h 16"/>
                    <a:gd name="T10" fmla="*/ 7 w 51"/>
                    <a:gd name="T11" fmla="*/ 11 h 16"/>
                    <a:gd name="T12" fmla="*/ 3 w 51"/>
                    <a:gd name="T13" fmla="*/ 11 h 16"/>
                    <a:gd name="T14" fmla="*/ 0 w 51"/>
                    <a:gd name="T15" fmla="*/ 13 h 16"/>
                    <a:gd name="T16" fmla="*/ 0 w 51"/>
                    <a:gd name="T17" fmla="*/ 13 h 16"/>
                    <a:gd name="T18" fmla="*/ 13 w 51"/>
                    <a:gd name="T19" fmla="*/ 8 h 16"/>
                    <a:gd name="T20" fmla="*/ 16 w 51"/>
                    <a:gd name="T21" fmla="*/ 13 h 16"/>
                    <a:gd name="T22" fmla="*/ 20 w 51"/>
                    <a:gd name="T23" fmla="*/ 16 h 16"/>
                    <a:gd name="T24" fmla="*/ 21 w 51"/>
                    <a:gd name="T25" fmla="*/ 16 h 16"/>
                    <a:gd name="T26" fmla="*/ 23 w 51"/>
                    <a:gd name="T27" fmla="*/ 13 h 16"/>
                    <a:gd name="T28" fmla="*/ 26 w 51"/>
                    <a:gd name="T29" fmla="*/ 11 h 16"/>
                    <a:gd name="T30" fmla="*/ 30 w 51"/>
                    <a:gd name="T31" fmla="*/ 13 h 16"/>
                    <a:gd name="T32" fmla="*/ 36 w 51"/>
                    <a:gd name="T33" fmla="*/ 11 h 16"/>
                    <a:gd name="T34" fmla="*/ 41 w 51"/>
                    <a:gd name="T35" fmla="*/ 8 h 16"/>
                    <a:gd name="T36" fmla="*/ 44 w 51"/>
                    <a:gd name="T37" fmla="*/ 6 h 16"/>
                    <a:gd name="T38" fmla="*/ 46 w 51"/>
                    <a:gd name="T39" fmla="*/ 5 h 16"/>
                    <a:gd name="T40" fmla="*/ 47 w 51"/>
                    <a:gd name="T41" fmla="*/ 5 h 16"/>
                    <a:gd name="T42" fmla="*/ 51 w 51"/>
                    <a:gd name="T43" fmla="*/ 3 h 16"/>
                    <a:gd name="T44" fmla="*/ 51 w 51"/>
                    <a:gd name="T45" fmla="*/ 1 h 16"/>
                    <a:gd name="T46" fmla="*/ 49 w 51"/>
                    <a:gd name="T47" fmla="*/ 0 h 16"/>
                    <a:gd name="T48" fmla="*/ 44 w 51"/>
                    <a:gd name="T49" fmla="*/ 1 h 16"/>
                    <a:gd name="T50" fmla="*/ 39 w 51"/>
                    <a:gd name="T51" fmla="*/ 1 h 16"/>
                    <a:gd name="T52" fmla="*/ 36 w 51"/>
                    <a:gd name="T53" fmla="*/ 1 h 16"/>
                    <a:gd name="T54" fmla="*/ 33 w 51"/>
                    <a:gd name="T55" fmla="*/ 1 h 16"/>
                    <a:gd name="T56" fmla="*/ 28 w 51"/>
                    <a:gd name="T57" fmla="*/ 3 h 16"/>
                    <a:gd name="T58" fmla="*/ 21 w 51"/>
                    <a:gd name="T59" fmla="*/ 1 h 16"/>
                    <a:gd name="T60" fmla="*/ 16 w 51"/>
                    <a:gd name="T61" fmla="*/ 6 h 16"/>
                    <a:gd name="T62" fmla="*/ 13 w 51"/>
                    <a:gd name="T63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1" h="16">
                      <a:moveTo>
                        <a:pt x="0" y="13"/>
                      </a:moveTo>
                      <a:lnTo>
                        <a:pt x="3" y="16"/>
                      </a:lnTo>
                      <a:lnTo>
                        <a:pt x="7" y="15"/>
                      </a:lnTo>
                      <a:lnTo>
                        <a:pt x="8" y="15"/>
                      </a:lnTo>
                      <a:lnTo>
                        <a:pt x="10" y="10"/>
                      </a:lnTo>
                      <a:lnTo>
                        <a:pt x="7" y="11"/>
                      </a:lnTo>
                      <a:lnTo>
                        <a:pt x="3" y="11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  <a:moveTo>
                        <a:pt x="13" y="8"/>
                      </a:moveTo>
                      <a:lnTo>
                        <a:pt x="16" y="13"/>
                      </a:lnTo>
                      <a:lnTo>
                        <a:pt x="20" y="16"/>
                      </a:lnTo>
                      <a:lnTo>
                        <a:pt x="21" y="16"/>
                      </a:lnTo>
                      <a:lnTo>
                        <a:pt x="23" y="13"/>
                      </a:lnTo>
                      <a:lnTo>
                        <a:pt x="26" y="11"/>
                      </a:lnTo>
                      <a:lnTo>
                        <a:pt x="30" y="13"/>
                      </a:lnTo>
                      <a:lnTo>
                        <a:pt x="36" y="11"/>
                      </a:lnTo>
                      <a:lnTo>
                        <a:pt x="41" y="8"/>
                      </a:lnTo>
                      <a:lnTo>
                        <a:pt x="44" y="6"/>
                      </a:lnTo>
                      <a:lnTo>
                        <a:pt x="46" y="5"/>
                      </a:lnTo>
                      <a:lnTo>
                        <a:pt x="47" y="5"/>
                      </a:lnTo>
                      <a:lnTo>
                        <a:pt x="51" y="3"/>
                      </a:lnTo>
                      <a:lnTo>
                        <a:pt x="51" y="1"/>
                      </a:lnTo>
                      <a:lnTo>
                        <a:pt x="49" y="0"/>
                      </a:lnTo>
                      <a:lnTo>
                        <a:pt x="44" y="1"/>
                      </a:lnTo>
                      <a:lnTo>
                        <a:pt x="39" y="1"/>
                      </a:lnTo>
                      <a:lnTo>
                        <a:pt x="36" y="1"/>
                      </a:lnTo>
                      <a:lnTo>
                        <a:pt x="33" y="1"/>
                      </a:lnTo>
                      <a:lnTo>
                        <a:pt x="28" y="3"/>
                      </a:lnTo>
                      <a:lnTo>
                        <a:pt x="21" y="1"/>
                      </a:lnTo>
                      <a:lnTo>
                        <a:pt x="16" y="6"/>
                      </a:lnTo>
                      <a:lnTo>
                        <a:pt x="13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4" name="Freeform 173">
                  <a:extLst>
                    <a:ext uri="{FF2B5EF4-FFF2-40B4-BE49-F238E27FC236}">
                      <a16:creationId xmlns:a16="http://schemas.microsoft.com/office/drawing/2014/main" xmlns="" id="{765DEF58-BD54-4CD6-9152-49924A7A7A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51" y="1938"/>
                  <a:ext cx="304" cy="109"/>
                </a:xfrm>
                <a:custGeom>
                  <a:avLst/>
                  <a:gdLst>
                    <a:gd name="T0" fmla="*/ 183 w 304"/>
                    <a:gd name="T1" fmla="*/ 80 h 109"/>
                    <a:gd name="T2" fmla="*/ 2 w 304"/>
                    <a:gd name="T3" fmla="*/ 36 h 109"/>
                    <a:gd name="T4" fmla="*/ 0 w 304"/>
                    <a:gd name="T5" fmla="*/ 29 h 109"/>
                    <a:gd name="T6" fmla="*/ 165 w 304"/>
                    <a:gd name="T7" fmla="*/ 108 h 109"/>
                    <a:gd name="T8" fmla="*/ 179 w 304"/>
                    <a:gd name="T9" fmla="*/ 108 h 109"/>
                    <a:gd name="T10" fmla="*/ 208 w 304"/>
                    <a:gd name="T11" fmla="*/ 101 h 109"/>
                    <a:gd name="T12" fmla="*/ 231 w 304"/>
                    <a:gd name="T13" fmla="*/ 100 h 109"/>
                    <a:gd name="T14" fmla="*/ 249 w 304"/>
                    <a:gd name="T15" fmla="*/ 60 h 109"/>
                    <a:gd name="T16" fmla="*/ 255 w 304"/>
                    <a:gd name="T17" fmla="*/ 51 h 109"/>
                    <a:gd name="T18" fmla="*/ 276 w 304"/>
                    <a:gd name="T19" fmla="*/ 52 h 109"/>
                    <a:gd name="T20" fmla="*/ 291 w 304"/>
                    <a:gd name="T21" fmla="*/ 52 h 109"/>
                    <a:gd name="T22" fmla="*/ 294 w 304"/>
                    <a:gd name="T23" fmla="*/ 41 h 109"/>
                    <a:gd name="T24" fmla="*/ 296 w 304"/>
                    <a:gd name="T25" fmla="*/ 34 h 109"/>
                    <a:gd name="T26" fmla="*/ 283 w 304"/>
                    <a:gd name="T27" fmla="*/ 31 h 109"/>
                    <a:gd name="T28" fmla="*/ 280 w 304"/>
                    <a:gd name="T29" fmla="*/ 28 h 109"/>
                    <a:gd name="T30" fmla="*/ 280 w 304"/>
                    <a:gd name="T31" fmla="*/ 16 h 109"/>
                    <a:gd name="T32" fmla="*/ 268 w 304"/>
                    <a:gd name="T33" fmla="*/ 6 h 109"/>
                    <a:gd name="T34" fmla="*/ 263 w 304"/>
                    <a:gd name="T35" fmla="*/ 10 h 109"/>
                    <a:gd name="T36" fmla="*/ 254 w 304"/>
                    <a:gd name="T37" fmla="*/ 23 h 109"/>
                    <a:gd name="T38" fmla="*/ 239 w 304"/>
                    <a:gd name="T39" fmla="*/ 37 h 109"/>
                    <a:gd name="T40" fmla="*/ 242 w 304"/>
                    <a:gd name="T41" fmla="*/ 41 h 109"/>
                    <a:gd name="T42" fmla="*/ 241 w 304"/>
                    <a:gd name="T43" fmla="*/ 52 h 109"/>
                    <a:gd name="T44" fmla="*/ 237 w 304"/>
                    <a:gd name="T45" fmla="*/ 44 h 109"/>
                    <a:gd name="T46" fmla="*/ 231 w 304"/>
                    <a:gd name="T47" fmla="*/ 52 h 109"/>
                    <a:gd name="T48" fmla="*/ 221 w 304"/>
                    <a:gd name="T49" fmla="*/ 52 h 109"/>
                    <a:gd name="T50" fmla="*/ 206 w 304"/>
                    <a:gd name="T51" fmla="*/ 72 h 109"/>
                    <a:gd name="T52" fmla="*/ 190 w 304"/>
                    <a:gd name="T53" fmla="*/ 85 h 109"/>
                    <a:gd name="T54" fmla="*/ 180 w 304"/>
                    <a:gd name="T55" fmla="*/ 91 h 109"/>
                    <a:gd name="T56" fmla="*/ 164 w 304"/>
                    <a:gd name="T57" fmla="*/ 98 h 109"/>
                    <a:gd name="T58" fmla="*/ 154 w 304"/>
                    <a:gd name="T59" fmla="*/ 93 h 109"/>
                    <a:gd name="T60" fmla="*/ 267 w 304"/>
                    <a:gd name="T61" fmla="*/ 0 h 109"/>
                    <a:gd name="T62" fmla="*/ 272 w 304"/>
                    <a:gd name="T63" fmla="*/ 3 h 109"/>
                    <a:gd name="T64" fmla="*/ 180 w 304"/>
                    <a:gd name="T65" fmla="*/ 86 h 109"/>
                    <a:gd name="T66" fmla="*/ 183 w 304"/>
                    <a:gd name="T67" fmla="*/ 85 h 109"/>
                    <a:gd name="T68" fmla="*/ 187 w 304"/>
                    <a:gd name="T69" fmla="*/ 80 h 109"/>
                    <a:gd name="T70" fmla="*/ 185 w 304"/>
                    <a:gd name="T71" fmla="*/ 80 h 109"/>
                    <a:gd name="T72" fmla="*/ 0 w 304"/>
                    <a:gd name="T73" fmla="*/ 13 h 109"/>
                    <a:gd name="T74" fmla="*/ 15 w 304"/>
                    <a:gd name="T75" fmla="*/ 15 h 109"/>
                    <a:gd name="T76" fmla="*/ 18 w 304"/>
                    <a:gd name="T77" fmla="*/ 28 h 109"/>
                    <a:gd name="T78" fmla="*/ 30 w 304"/>
                    <a:gd name="T79" fmla="*/ 21 h 109"/>
                    <a:gd name="T80" fmla="*/ 35 w 304"/>
                    <a:gd name="T81" fmla="*/ 19 h 109"/>
                    <a:gd name="T82" fmla="*/ 53 w 304"/>
                    <a:gd name="T83" fmla="*/ 49 h 109"/>
                    <a:gd name="T84" fmla="*/ 53 w 304"/>
                    <a:gd name="T85" fmla="*/ 72 h 109"/>
                    <a:gd name="T86" fmla="*/ 63 w 304"/>
                    <a:gd name="T87" fmla="*/ 82 h 109"/>
                    <a:gd name="T88" fmla="*/ 66 w 304"/>
                    <a:gd name="T89" fmla="*/ 90 h 109"/>
                    <a:gd name="T90" fmla="*/ 66 w 304"/>
                    <a:gd name="T91" fmla="*/ 98 h 109"/>
                    <a:gd name="T92" fmla="*/ 66 w 304"/>
                    <a:gd name="T93" fmla="*/ 100 h 109"/>
                    <a:gd name="T94" fmla="*/ 56 w 304"/>
                    <a:gd name="T95" fmla="*/ 101 h 109"/>
                    <a:gd name="T96" fmla="*/ 41 w 304"/>
                    <a:gd name="T97" fmla="*/ 90 h 109"/>
                    <a:gd name="T98" fmla="*/ 28 w 304"/>
                    <a:gd name="T99" fmla="*/ 80 h 109"/>
                    <a:gd name="T100" fmla="*/ 22 w 304"/>
                    <a:gd name="T101" fmla="*/ 68 h 109"/>
                    <a:gd name="T102" fmla="*/ 10 w 304"/>
                    <a:gd name="T103" fmla="*/ 55 h 109"/>
                    <a:gd name="T104" fmla="*/ 7 w 304"/>
                    <a:gd name="T105" fmla="*/ 3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04" h="109">
                      <a:moveTo>
                        <a:pt x="183" y="80"/>
                      </a:moveTo>
                      <a:lnTo>
                        <a:pt x="183" y="82"/>
                      </a:lnTo>
                      <a:lnTo>
                        <a:pt x="182" y="83"/>
                      </a:lnTo>
                      <a:lnTo>
                        <a:pt x="182" y="82"/>
                      </a:lnTo>
                      <a:lnTo>
                        <a:pt x="183" y="80"/>
                      </a:lnTo>
                      <a:lnTo>
                        <a:pt x="183" y="80"/>
                      </a:lnTo>
                      <a:lnTo>
                        <a:pt x="183" y="80"/>
                      </a:lnTo>
                      <a:close/>
                      <a:moveTo>
                        <a:pt x="0" y="29"/>
                      </a:moveTo>
                      <a:lnTo>
                        <a:pt x="0" y="33"/>
                      </a:lnTo>
                      <a:lnTo>
                        <a:pt x="2" y="36"/>
                      </a:lnTo>
                      <a:lnTo>
                        <a:pt x="4" y="34"/>
                      </a:lnTo>
                      <a:lnTo>
                        <a:pt x="2" y="33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9"/>
                      </a:lnTo>
                      <a:close/>
                      <a:moveTo>
                        <a:pt x="154" y="93"/>
                      </a:moveTo>
                      <a:lnTo>
                        <a:pt x="157" y="98"/>
                      </a:lnTo>
                      <a:lnTo>
                        <a:pt x="162" y="103"/>
                      </a:lnTo>
                      <a:lnTo>
                        <a:pt x="162" y="103"/>
                      </a:lnTo>
                      <a:lnTo>
                        <a:pt x="165" y="108"/>
                      </a:lnTo>
                      <a:lnTo>
                        <a:pt x="167" y="109"/>
                      </a:lnTo>
                      <a:lnTo>
                        <a:pt x="170" y="109"/>
                      </a:lnTo>
                      <a:lnTo>
                        <a:pt x="174" y="109"/>
                      </a:lnTo>
                      <a:lnTo>
                        <a:pt x="175" y="106"/>
                      </a:lnTo>
                      <a:lnTo>
                        <a:pt x="179" y="108"/>
                      </a:lnTo>
                      <a:lnTo>
                        <a:pt x="182" y="106"/>
                      </a:lnTo>
                      <a:lnTo>
                        <a:pt x="190" y="106"/>
                      </a:lnTo>
                      <a:lnTo>
                        <a:pt x="198" y="103"/>
                      </a:lnTo>
                      <a:lnTo>
                        <a:pt x="201" y="101"/>
                      </a:lnTo>
                      <a:lnTo>
                        <a:pt x="208" y="101"/>
                      </a:lnTo>
                      <a:lnTo>
                        <a:pt x="213" y="103"/>
                      </a:lnTo>
                      <a:lnTo>
                        <a:pt x="214" y="104"/>
                      </a:lnTo>
                      <a:lnTo>
                        <a:pt x="218" y="104"/>
                      </a:lnTo>
                      <a:lnTo>
                        <a:pt x="224" y="101"/>
                      </a:lnTo>
                      <a:lnTo>
                        <a:pt x="231" y="100"/>
                      </a:lnTo>
                      <a:lnTo>
                        <a:pt x="231" y="98"/>
                      </a:lnTo>
                      <a:lnTo>
                        <a:pt x="237" y="88"/>
                      </a:lnTo>
                      <a:lnTo>
                        <a:pt x="241" y="80"/>
                      </a:lnTo>
                      <a:lnTo>
                        <a:pt x="244" y="73"/>
                      </a:lnTo>
                      <a:lnTo>
                        <a:pt x="249" y="60"/>
                      </a:lnTo>
                      <a:lnTo>
                        <a:pt x="249" y="59"/>
                      </a:lnTo>
                      <a:lnTo>
                        <a:pt x="250" y="55"/>
                      </a:lnTo>
                      <a:lnTo>
                        <a:pt x="249" y="54"/>
                      </a:lnTo>
                      <a:lnTo>
                        <a:pt x="252" y="49"/>
                      </a:lnTo>
                      <a:lnTo>
                        <a:pt x="255" y="51"/>
                      </a:lnTo>
                      <a:lnTo>
                        <a:pt x="260" y="51"/>
                      </a:lnTo>
                      <a:lnTo>
                        <a:pt x="267" y="51"/>
                      </a:lnTo>
                      <a:lnTo>
                        <a:pt x="268" y="52"/>
                      </a:lnTo>
                      <a:lnTo>
                        <a:pt x="273" y="51"/>
                      </a:lnTo>
                      <a:lnTo>
                        <a:pt x="276" y="52"/>
                      </a:lnTo>
                      <a:lnTo>
                        <a:pt x="276" y="51"/>
                      </a:lnTo>
                      <a:lnTo>
                        <a:pt x="281" y="54"/>
                      </a:lnTo>
                      <a:lnTo>
                        <a:pt x="283" y="54"/>
                      </a:lnTo>
                      <a:lnTo>
                        <a:pt x="286" y="52"/>
                      </a:lnTo>
                      <a:lnTo>
                        <a:pt x="291" y="52"/>
                      </a:lnTo>
                      <a:lnTo>
                        <a:pt x="291" y="51"/>
                      </a:lnTo>
                      <a:lnTo>
                        <a:pt x="286" y="46"/>
                      </a:lnTo>
                      <a:lnTo>
                        <a:pt x="286" y="42"/>
                      </a:lnTo>
                      <a:lnTo>
                        <a:pt x="288" y="41"/>
                      </a:lnTo>
                      <a:lnTo>
                        <a:pt x="294" y="41"/>
                      </a:lnTo>
                      <a:lnTo>
                        <a:pt x="301" y="39"/>
                      </a:lnTo>
                      <a:lnTo>
                        <a:pt x="304" y="37"/>
                      </a:lnTo>
                      <a:lnTo>
                        <a:pt x="303" y="34"/>
                      </a:lnTo>
                      <a:lnTo>
                        <a:pt x="301" y="34"/>
                      </a:lnTo>
                      <a:lnTo>
                        <a:pt x="296" y="34"/>
                      </a:lnTo>
                      <a:lnTo>
                        <a:pt x="294" y="31"/>
                      </a:lnTo>
                      <a:lnTo>
                        <a:pt x="291" y="31"/>
                      </a:lnTo>
                      <a:lnTo>
                        <a:pt x="288" y="28"/>
                      </a:lnTo>
                      <a:lnTo>
                        <a:pt x="285" y="28"/>
                      </a:lnTo>
                      <a:lnTo>
                        <a:pt x="283" y="31"/>
                      </a:lnTo>
                      <a:lnTo>
                        <a:pt x="281" y="29"/>
                      </a:lnTo>
                      <a:lnTo>
                        <a:pt x="285" y="26"/>
                      </a:lnTo>
                      <a:lnTo>
                        <a:pt x="283" y="24"/>
                      </a:lnTo>
                      <a:lnTo>
                        <a:pt x="281" y="24"/>
                      </a:lnTo>
                      <a:lnTo>
                        <a:pt x="280" y="28"/>
                      </a:lnTo>
                      <a:lnTo>
                        <a:pt x="278" y="26"/>
                      </a:lnTo>
                      <a:lnTo>
                        <a:pt x="276" y="24"/>
                      </a:lnTo>
                      <a:lnTo>
                        <a:pt x="276" y="19"/>
                      </a:lnTo>
                      <a:lnTo>
                        <a:pt x="280" y="19"/>
                      </a:lnTo>
                      <a:lnTo>
                        <a:pt x="280" y="16"/>
                      </a:lnTo>
                      <a:lnTo>
                        <a:pt x="276" y="15"/>
                      </a:lnTo>
                      <a:lnTo>
                        <a:pt x="275" y="15"/>
                      </a:lnTo>
                      <a:lnTo>
                        <a:pt x="272" y="13"/>
                      </a:lnTo>
                      <a:lnTo>
                        <a:pt x="272" y="8"/>
                      </a:lnTo>
                      <a:lnTo>
                        <a:pt x="268" y="6"/>
                      </a:lnTo>
                      <a:lnTo>
                        <a:pt x="267" y="6"/>
                      </a:lnTo>
                      <a:lnTo>
                        <a:pt x="268" y="10"/>
                      </a:lnTo>
                      <a:lnTo>
                        <a:pt x="263" y="13"/>
                      </a:lnTo>
                      <a:lnTo>
                        <a:pt x="263" y="13"/>
                      </a:lnTo>
                      <a:lnTo>
                        <a:pt x="263" y="10"/>
                      </a:lnTo>
                      <a:lnTo>
                        <a:pt x="263" y="8"/>
                      </a:lnTo>
                      <a:lnTo>
                        <a:pt x="262" y="8"/>
                      </a:lnTo>
                      <a:lnTo>
                        <a:pt x="259" y="15"/>
                      </a:lnTo>
                      <a:lnTo>
                        <a:pt x="257" y="15"/>
                      </a:lnTo>
                      <a:lnTo>
                        <a:pt x="254" y="23"/>
                      </a:lnTo>
                      <a:lnTo>
                        <a:pt x="254" y="28"/>
                      </a:lnTo>
                      <a:lnTo>
                        <a:pt x="247" y="33"/>
                      </a:lnTo>
                      <a:lnTo>
                        <a:pt x="244" y="33"/>
                      </a:lnTo>
                      <a:lnTo>
                        <a:pt x="241" y="36"/>
                      </a:lnTo>
                      <a:lnTo>
                        <a:pt x="239" y="37"/>
                      </a:lnTo>
                      <a:lnTo>
                        <a:pt x="241" y="37"/>
                      </a:lnTo>
                      <a:lnTo>
                        <a:pt x="239" y="39"/>
                      </a:lnTo>
                      <a:lnTo>
                        <a:pt x="241" y="39"/>
                      </a:lnTo>
                      <a:lnTo>
                        <a:pt x="244" y="39"/>
                      </a:lnTo>
                      <a:lnTo>
                        <a:pt x="242" y="41"/>
                      </a:lnTo>
                      <a:lnTo>
                        <a:pt x="241" y="42"/>
                      </a:lnTo>
                      <a:lnTo>
                        <a:pt x="239" y="42"/>
                      </a:lnTo>
                      <a:lnTo>
                        <a:pt x="241" y="44"/>
                      </a:lnTo>
                      <a:lnTo>
                        <a:pt x="242" y="49"/>
                      </a:lnTo>
                      <a:lnTo>
                        <a:pt x="241" y="52"/>
                      </a:lnTo>
                      <a:lnTo>
                        <a:pt x="239" y="51"/>
                      </a:lnTo>
                      <a:lnTo>
                        <a:pt x="237" y="47"/>
                      </a:lnTo>
                      <a:lnTo>
                        <a:pt x="237" y="44"/>
                      </a:lnTo>
                      <a:lnTo>
                        <a:pt x="237" y="44"/>
                      </a:lnTo>
                      <a:lnTo>
                        <a:pt x="237" y="44"/>
                      </a:lnTo>
                      <a:lnTo>
                        <a:pt x="236" y="44"/>
                      </a:lnTo>
                      <a:lnTo>
                        <a:pt x="234" y="46"/>
                      </a:lnTo>
                      <a:lnTo>
                        <a:pt x="236" y="54"/>
                      </a:lnTo>
                      <a:lnTo>
                        <a:pt x="232" y="54"/>
                      </a:lnTo>
                      <a:lnTo>
                        <a:pt x="231" y="52"/>
                      </a:lnTo>
                      <a:lnTo>
                        <a:pt x="227" y="47"/>
                      </a:lnTo>
                      <a:lnTo>
                        <a:pt x="226" y="47"/>
                      </a:lnTo>
                      <a:lnTo>
                        <a:pt x="223" y="46"/>
                      </a:lnTo>
                      <a:lnTo>
                        <a:pt x="221" y="49"/>
                      </a:lnTo>
                      <a:lnTo>
                        <a:pt x="221" y="52"/>
                      </a:lnTo>
                      <a:lnTo>
                        <a:pt x="218" y="55"/>
                      </a:lnTo>
                      <a:lnTo>
                        <a:pt x="216" y="59"/>
                      </a:lnTo>
                      <a:lnTo>
                        <a:pt x="211" y="64"/>
                      </a:lnTo>
                      <a:lnTo>
                        <a:pt x="210" y="67"/>
                      </a:lnTo>
                      <a:lnTo>
                        <a:pt x="206" y="72"/>
                      </a:lnTo>
                      <a:lnTo>
                        <a:pt x="201" y="75"/>
                      </a:lnTo>
                      <a:lnTo>
                        <a:pt x="188" y="78"/>
                      </a:lnTo>
                      <a:lnTo>
                        <a:pt x="188" y="78"/>
                      </a:lnTo>
                      <a:lnTo>
                        <a:pt x="188" y="83"/>
                      </a:lnTo>
                      <a:lnTo>
                        <a:pt x="190" y="85"/>
                      </a:lnTo>
                      <a:lnTo>
                        <a:pt x="188" y="85"/>
                      </a:lnTo>
                      <a:lnTo>
                        <a:pt x="187" y="85"/>
                      </a:lnTo>
                      <a:lnTo>
                        <a:pt x="182" y="86"/>
                      </a:lnTo>
                      <a:lnTo>
                        <a:pt x="180" y="88"/>
                      </a:lnTo>
                      <a:lnTo>
                        <a:pt x="180" y="91"/>
                      </a:lnTo>
                      <a:lnTo>
                        <a:pt x="179" y="96"/>
                      </a:lnTo>
                      <a:lnTo>
                        <a:pt x="177" y="100"/>
                      </a:lnTo>
                      <a:lnTo>
                        <a:pt x="177" y="101"/>
                      </a:lnTo>
                      <a:lnTo>
                        <a:pt x="170" y="100"/>
                      </a:lnTo>
                      <a:lnTo>
                        <a:pt x="164" y="98"/>
                      </a:lnTo>
                      <a:lnTo>
                        <a:pt x="159" y="98"/>
                      </a:lnTo>
                      <a:lnTo>
                        <a:pt x="157" y="95"/>
                      </a:lnTo>
                      <a:lnTo>
                        <a:pt x="156" y="93"/>
                      </a:lnTo>
                      <a:lnTo>
                        <a:pt x="154" y="93"/>
                      </a:lnTo>
                      <a:lnTo>
                        <a:pt x="154" y="93"/>
                      </a:lnTo>
                      <a:close/>
                      <a:moveTo>
                        <a:pt x="267" y="0"/>
                      </a:moveTo>
                      <a:lnTo>
                        <a:pt x="262" y="3"/>
                      </a:lnTo>
                      <a:lnTo>
                        <a:pt x="265" y="3"/>
                      </a:lnTo>
                      <a:lnTo>
                        <a:pt x="267" y="1"/>
                      </a:lnTo>
                      <a:lnTo>
                        <a:pt x="267" y="0"/>
                      </a:lnTo>
                      <a:lnTo>
                        <a:pt x="267" y="0"/>
                      </a:lnTo>
                      <a:close/>
                      <a:moveTo>
                        <a:pt x="270" y="0"/>
                      </a:moveTo>
                      <a:lnTo>
                        <a:pt x="268" y="3"/>
                      </a:lnTo>
                      <a:lnTo>
                        <a:pt x="268" y="5"/>
                      </a:lnTo>
                      <a:lnTo>
                        <a:pt x="272" y="3"/>
                      </a:lnTo>
                      <a:lnTo>
                        <a:pt x="272" y="0"/>
                      </a:lnTo>
                      <a:lnTo>
                        <a:pt x="270" y="0"/>
                      </a:lnTo>
                      <a:lnTo>
                        <a:pt x="270" y="0"/>
                      </a:lnTo>
                      <a:close/>
                      <a:moveTo>
                        <a:pt x="183" y="85"/>
                      </a:moveTo>
                      <a:lnTo>
                        <a:pt x="180" y="86"/>
                      </a:lnTo>
                      <a:lnTo>
                        <a:pt x="182" y="83"/>
                      </a:lnTo>
                      <a:lnTo>
                        <a:pt x="183" y="85"/>
                      </a:lnTo>
                      <a:lnTo>
                        <a:pt x="183" y="85"/>
                      </a:lnTo>
                      <a:close/>
                      <a:moveTo>
                        <a:pt x="185" y="85"/>
                      </a:moveTo>
                      <a:lnTo>
                        <a:pt x="183" y="85"/>
                      </a:lnTo>
                      <a:lnTo>
                        <a:pt x="183" y="83"/>
                      </a:lnTo>
                      <a:lnTo>
                        <a:pt x="183" y="83"/>
                      </a:lnTo>
                      <a:lnTo>
                        <a:pt x="185" y="85"/>
                      </a:lnTo>
                      <a:lnTo>
                        <a:pt x="185" y="85"/>
                      </a:lnTo>
                      <a:close/>
                      <a:moveTo>
                        <a:pt x="187" y="80"/>
                      </a:moveTo>
                      <a:lnTo>
                        <a:pt x="188" y="83"/>
                      </a:lnTo>
                      <a:lnTo>
                        <a:pt x="187" y="83"/>
                      </a:lnTo>
                      <a:lnTo>
                        <a:pt x="183" y="82"/>
                      </a:lnTo>
                      <a:lnTo>
                        <a:pt x="183" y="80"/>
                      </a:lnTo>
                      <a:lnTo>
                        <a:pt x="185" y="80"/>
                      </a:lnTo>
                      <a:lnTo>
                        <a:pt x="185" y="80"/>
                      </a:lnTo>
                      <a:lnTo>
                        <a:pt x="187" y="80"/>
                      </a:lnTo>
                      <a:lnTo>
                        <a:pt x="187" y="80"/>
                      </a:lnTo>
                      <a:close/>
                      <a:moveTo>
                        <a:pt x="0" y="16"/>
                      </a:moveTo>
                      <a:lnTo>
                        <a:pt x="0" y="13"/>
                      </a:lnTo>
                      <a:lnTo>
                        <a:pt x="4" y="10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2" y="15"/>
                      </a:lnTo>
                      <a:lnTo>
                        <a:pt x="15" y="15"/>
                      </a:lnTo>
                      <a:lnTo>
                        <a:pt x="17" y="18"/>
                      </a:lnTo>
                      <a:lnTo>
                        <a:pt x="17" y="23"/>
                      </a:lnTo>
                      <a:lnTo>
                        <a:pt x="15" y="24"/>
                      </a:lnTo>
                      <a:lnTo>
                        <a:pt x="14" y="26"/>
                      </a:lnTo>
                      <a:lnTo>
                        <a:pt x="18" y="28"/>
                      </a:lnTo>
                      <a:lnTo>
                        <a:pt x="22" y="24"/>
                      </a:lnTo>
                      <a:lnTo>
                        <a:pt x="25" y="24"/>
                      </a:lnTo>
                      <a:lnTo>
                        <a:pt x="27" y="26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32" y="21"/>
                      </a:lnTo>
                      <a:lnTo>
                        <a:pt x="33" y="19"/>
                      </a:lnTo>
                      <a:lnTo>
                        <a:pt x="35" y="19"/>
                      </a:lnTo>
                      <a:lnTo>
                        <a:pt x="38" y="23"/>
                      </a:lnTo>
                      <a:lnTo>
                        <a:pt x="49" y="36"/>
                      </a:lnTo>
                      <a:lnTo>
                        <a:pt x="53" y="41"/>
                      </a:lnTo>
                      <a:lnTo>
                        <a:pt x="54" y="47"/>
                      </a:lnTo>
                      <a:lnTo>
                        <a:pt x="53" y="49"/>
                      </a:lnTo>
                      <a:lnTo>
                        <a:pt x="53" y="57"/>
                      </a:lnTo>
                      <a:lnTo>
                        <a:pt x="53" y="59"/>
                      </a:lnTo>
                      <a:lnTo>
                        <a:pt x="53" y="62"/>
                      </a:lnTo>
                      <a:lnTo>
                        <a:pt x="53" y="64"/>
                      </a:lnTo>
                      <a:lnTo>
                        <a:pt x="53" y="72"/>
                      </a:lnTo>
                      <a:lnTo>
                        <a:pt x="56" y="75"/>
                      </a:lnTo>
                      <a:lnTo>
                        <a:pt x="59" y="78"/>
                      </a:lnTo>
                      <a:lnTo>
                        <a:pt x="61" y="78"/>
                      </a:lnTo>
                      <a:lnTo>
                        <a:pt x="63" y="80"/>
                      </a:lnTo>
                      <a:lnTo>
                        <a:pt x="63" y="82"/>
                      </a:lnTo>
                      <a:lnTo>
                        <a:pt x="63" y="86"/>
                      </a:lnTo>
                      <a:lnTo>
                        <a:pt x="64" y="88"/>
                      </a:lnTo>
                      <a:lnTo>
                        <a:pt x="64" y="88"/>
                      </a:lnTo>
                      <a:lnTo>
                        <a:pt x="64" y="90"/>
                      </a:lnTo>
                      <a:lnTo>
                        <a:pt x="66" y="90"/>
                      </a:lnTo>
                      <a:lnTo>
                        <a:pt x="69" y="96"/>
                      </a:lnTo>
                      <a:lnTo>
                        <a:pt x="69" y="101"/>
                      </a:lnTo>
                      <a:lnTo>
                        <a:pt x="66" y="101"/>
                      </a:lnTo>
                      <a:lnTo>
                        <a:pt x="66" y="100"/>
                      </a:lnTo>
                      <a:lnTo>
                        <a:pt x="66" y="98"/>
                      </a:lnTo>
                      <a:lnTo>
                        <a:pt x="64" y="96"/>
                      </a:lnTo>
                      <a:lnTo>
                        <a:pt x="64" y="98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6" y="100"/>
                      </a:lnTo>
                      <a:lnTo>
                        <a:pt x="66" y="101"/>
                      </a:lnTo>
                      <a:lnTo>
                        <a:pt x="63" y="103"/>
                      </a:lnTo>
                      <a:lnTo>
                        <a:pt x="61" y="101"/>
                      </a:lnTo>
                      <a:lnTo>
                        <a:pt x="59" y="101"/>
                      </a:lnTo>
                      <a:lnTo>
                        <a:pt x="56" y="101"/>
                      </a:lnTo>
                      <a:lnTo>
                        <a:pt x="54" y="98"/>
                      </a:lnTo>
                      <a:lnTo>
                        <a:pt x="49" y="96"/>
                      </a:lnTo>
                      <a:lnTo>
                        <a:pt x="45" y="95"/>
                      </a:lnTo>
                      <a:lnTo>
                        <a:pt x="43" y="91"/>
                      </a:lnTo>
                      <a:lnTo>
                        <a:pt x="41" y="90"/>
                      </a:lnTo>
                      <a:lnTo>
                        <a:pt x="38" y="91"/>
                      </a:lnTo>
                      <a:lnTo>
                        <a:pt x="36" y="91"/>
                      </a:lnTo>
                      <a:lnTo>
                        <a:pt x="33" y="86"/>
                      </a:lnTo>
                      <a:lnTo>
                        <a:pt x="33" y="83"/>
                      </a:lnTo>
                      <a:lnTo>
                        <a:pt x="28" y="80"/>
                      </a:lnTo>
                      <a:lnTo>
                        <a:pt x="22" y="77"/>
                      </a:lnTo>
                      <a:lnTo>
                        <a:pt x="20" y="75"/>
                      </a:lnTo>
                      <a:lnTo>
                        <a:pt x="20" y="73"/>
                      </a:lnTo>
                      <a:lnTo>
                        <a:pt x="23" y="72"/>
                      </a:lnTo>
                      <a:lnTo>
                        <a:pt x="22" y="68"/>
                      </a:lnTo>
                      <a:lnTo>
                        <a:pt x="18" y="67"/>
                      </a:lnTo>
                      <a:lnTo>
                        <a:pt x="15" y="62"/>
                      </a:lnTo>
                      <a:lnTo>
                        <a:pt x="12" y="59"/>
                      </a:lnTo>
                      <a:lnTo>
                        <a:pt x="9" y="57"/>
                      </a:lnTo>
                      <a:lnTo>
                        <a:pt x="10" y="55"/>
                      </a:lnTo>
                      <a:lnTo>
                        <a:pt x="7" y="52"/>
                      </a:lnTo>
                      <a:lnTo>
                        <a:pt x="7" y="49"/>
                      </a:lnTo>
                      <a:lnTo>
                        <a:pt x="9" y="49"/>
                      </a:lnTo>
                      <a:lnTo>
                        <a:pt x="9" y="42"/>
                      </a:lnTo>
                      <a:lnTo>
                        <a:pt x="7" y="39"/>
                      </a:lnTo>
                      <a:lnTo>
                        <a:pt x="5" y="34"/>
                      </a:lnTo>
                      <a:lnTo>
                        <a:pt x="4" y="21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5" name="Freeform 174">
                  <a:extLst>
                    <a:ext uri="{FF2B5EF4-FFF2-40B4-BE49-F238E27FC236}">
                      <a16:creationId xmlns:a16="http://schemas.microsoft.com/office/drawing/2014/main" xmlns="" id="{F8736CA3-1B6E-4944-BA57-3DB1F34174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4" y="1977"/>
                  <a:ext cx="19" cy="15"/>
                </a:xfrm>
                <a:custGeom>
                  <a:avLst/>
                  <a:gdLst>
                    <a:gd name="T0" fmla="*/ 0 w 19"/>
                    <a:gd name="T1" fmla="*/ 7 h 15"/>
                    <a:gd name="T2" fmla="*/ 3 w 19"/>
                    <a:gd name="T3" fmla="*/ 8 h 15"/>
                    <a:gd name="T4" fmla="*/ 4 w 19"/>
                    <a:gd name="T5" fmla="*/ 8 h 15"/>
                    <a:gd name="T6" fmla="*/ 8 w 19"/>
                    <a:gd name="T7" fmla="*/ 13 h 15"/>
                    <a:gd name="T8" fmla="*/ 9 w 19"/>
                    <a:gd name="T9" fmla="*/ 15 h 15"/>
                    <a:gd name="T10" fmla="*/ 13 w 19"/>
                    <a:gd name="T11" fmla="*/ 15 h 15"/>
                    <a:gd name="T12" fmla="*/ 11 w 19"/>
                    <a:gd name="T13" fmla="*/ 7 h 15"/>
                    <a:gd name="T14" fmla="*/ 13 w 19"/>
                    <a:gd name="T15" fmla="*/ 5 h 15"/>
                    <a:gd name="T16" fmla="*/ 14 w 19"/>
                    <a:gd name="T17" fmla="*/ 5 h 15"/>
                    <a:gd name="T18" fmla="*/ 14 w 19"/>
                    <a:gd name="T19" fmla="*/ 3 h 15"/>
                    <a:gd name="T20" fmla="*/ 14 w 19"/>
                    <a:gd name="T21" fmla="*/ 0 h 15"/>
                    <a:gd name="T22" fmla="*/ 11 w 19"/>
                    <a:gd name="T23" fmla="*/ 2 h 15"/>
                    <a:gd name="T24" fmla="*/ 6 w 19"/>
                    <a:gd name="T25" fmla="*/ 3 h 15"/>
                    <a:gd name="T26" fmla="*/ 1 w 19"/>
                    <a:gd name="T27" fmla="*/ 7 h 15"/>
                    <a:gd name="T28" fmla="*/ 0 w 19"/>
                    <a:gd name="T29" fmla="*/ 7 h 15"/>
                    <a:gd name="T30" fmla="*/ 0 w 19"/>
                    <a:gd name="T31" fmla="*/ 7 h 15"/>
                    <a:gd name="T32" fmla="*/ 14 w 19"/>
                    <a:gd name="T33" fmla="*/ 5 h 15"/>
                    <a:gd name="T34" fmla="*/ 14 w 19"/>
                    <a:gd name="T35" fmla="*/ 8 h 15"/>
                    <a:gd name="T36" fmla="*/ 16 w 19"/>
                    <a:gd name="T37" fmla="*/ 12 h 15"/>
                    <a:gd name="T38" fmla="*/ 18 w 19"/>
                    <a:gd name="T39" fmla="*/ 13 h 15"/>
                    <a:gd name="T40" fmla="*/ 19 w 19"/>
                    <a:gd name="T41" fmla="*/ 10 h 15"/>
                    <a:gd name="T42" fmla="*/ 18 w 19"/>
                    <a:gd name="T43" fmla="*/ 5 h 15"/>
                    <a:gd name="T44" fmla="*/ 16 w 19"/>
                    <a:gd name="T45" fmla="*/ 3 h 15"/>
                    <a:gd name="T46" fmla="*/ 16 w 19"/>
                    <a:gd name="T47" fmla="*/ 5 h 15"/>
                    <a:gd name="T48" fmla="*/ 14 w 19"/>
                    <a:gd name="T49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" h="15">
                      <a:moveTo>
                        <a:pt x="0" y="7"/>
                      </a:move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8" y="13"/>
                      </a:lnTo>
                      <a:lnTo>
                        <a:pt x="9" y="15"/>
                      </a:lnTo>
                      <a:lnTo>
                        <a:pt x="13" y="15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4" y="3"/>
                      </a:lnTo>
                      <a:lnTo>
                        <a:pt x="14" y="0"/>
                      </a:lnTo>
                      <a:lnTo>
                        <a:pt x="11" y="2"/>
                      </a:lnTo>
                      <a:lnTo>
                        <a:pt x="6" y="3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  <a:moveTo>
                        <a:pt x="14" y="5"/>
                      </a:moveTo>
                      <a:lnTo>
                        <a:pt x="14" y="8"/>
                      </a:lnTo>
                      <a:lnTo>
                        <a:pt x="16" y="12"/>
                      </a:lnTo>
                      <a:lnTo>
                        <a:pt x="18" y="13"/>
                      </a:lnTo>
                      <a:lnTo>
                        <a:pt x="19" y="10"/>
                      </a:lnTo>
                      <a:lnTo>
                        <a:pt x="18" y="5"/>
                      </a:lnTo>
                      <a:lnTo>
                        <a:pt x="16" y="3"/>
                      </a:lnTo>
                      <a:lnTo>
                        <a:pt x="16" y="5"/>
                      </a:lnTo>
                      <a:lnTo>
                        <a:pt x="14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6" name="Freeform 175">
                  <a:extLst>
                    <a:ext uri="{FF2B5EF4-FFF2-40B4-BE49-F238E27FC236}">
                      <a16:creationId xmlns:a16="http://schemas.microsoft.com/office/drawing/2014/main" xmlns="" id="{1E6401B9-32F0-4A5E-AA65-A70F431727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65" y="1657"/>
                  <a:ext cx="130" cy="260"/>
                </a:xfrm>
                <a:custGeom>
                  <a:avLst/>
                  <a:gdLst>
                    <a:gd name="T0" fmla="*/ 4 w 130"/>
                    <a:gd name="T1" fmla="*/ 15 h 260"/>
                    <a:gd name="T2" fmla="*/ 13 w 130"/>
                    <a:gd name="T3" fmla="*/ 16 h 260"/>
                    <a:gd name="T4" fmla="*/ 22 w 130"/>
                    <a:gd name="T5" fmla="*/ 13 h 260"/>
                    <a:gd name="T6" fmla="*/ 34 w 130"/>
                    <a:gd name="T7" fmla="*/ 11 h 260"/>
                    <a:gd name="T8" fmla="*/ 49 w 130"/>
                    <a:gd name="T9" fmla="*/ 0 h 260"/>
                    <a:gd name="T10" fmla="*/ 65 w 130"/>
                    <a:gd name="T11" fmla="*/ 8 h 260"/>
                    <a:gd name="T12" fmla="*/ 70 w 130"/>
                    <a:gd name="T13" fmla="*/ 15 h 260"/>
                    <a:gd name="T14" fmla="*/ 78 w 130"/>
                    <a:gd name="T15" fmla="*/ 28 h 260"/>
                    <a:gd name="T16" fmla="*/ 91 w 130"/>
                    <a:gd name="T17" fmla="*/ 31 h 260"/>
                    <a:gd name="T18" fmla="*/ 91 w 130"/>
                    <a:gd name="T19" fmla="*/ 36 h 260"/>
                    <a:gd name="T20" fmla="*/ 81 w 130"/>
                    <a:gd name="T21" fmla="*/ 39 h 260"/>
                    <a:gd name="T22" fmla="*/ 75 w 130"/>
                    <a:gd name="T23" fmla="*/ 44 h 260"/>
                    <a:gd name="T24" fmla="*/ 70 w 130"/>
                    <a:gd name="T25" fmla="*/ 46 h 260"/>
                    <a:gd name="T26" fmla="*/ 70 w 130"/>
                    <a:gd name="T27" fmla="*/ 54 h 260"/>
                    <a:gd name="T28" fmla="*/ 63 w 130"/>
                    <a:gd name="T29" fmla="*/ 62 h 260"/>
                    <a:gd name="T30" fmla="*/ 60 w 130"/>
                    <a:gd name="T31" fmla="*/ 67 h 260"/>
                    <a:gd name="T32" fmla="*/ 58 w 130"/>
                    <a:gd name="T33" fmla="*/ 80 h 260"/>
                    <a:gd name="T34" fmla="*/ 67 w 130"/>
                    <a:gd name="T35" fmla="*/ 90 h 260"/>
                    <a:gd name="T36" fmla="*/ 73 w 130"/>
                    <a:gd name="T37" fmla="*/ 99 h 260"/>
                    <a:gd name="T38" fmla="*/ 84 w 130"/>
                    <a:gd name="T39" fmla="*/ 114 h 260"/>
                    <a:gd name="T40" fmla="*/ 112 w 130"/>
                    <a:gd name="T41" fmla="*/ 137 h 260"/>
                    <a:gd name="T42" fmla="*/ 117 w 130"/>
                    <a:gd name="T43" fmla="*/ 147 h 260"/>
                    <a:gd name="T44" fmla="*/ 122 w 130"/>
                    <a:gd name="T45" fmla="*/ 160 h 260"/>
                    <a:gd name="T46" fmla="*/ 125 w 130"/>
                    <a:gd name="T47" fmla="*/ 175 h 260"/>
                    <a:gd name="T48" fmla="*/ 127 w 130"/>
                    <a:gd name="T49" fmla="*/ 183 h 260"/>
                    <a:gd name="T50" fmla="*/ 127 w 130"/>
                    <a:gd name="T51" fmla="*/ 188 h 260"/>
                    <a:gd name="T52" fmla="*/ 125 w 130"/>
                    <a:gd name="T53" fmla="*/ 194 h 260"/>
                    <a:gd name="T54" fmla="*/ 125 w 130"/>
                    <a:gd name="T55" fmla="*/ 206 h 260"/>
                    <a:gd name="T56" fmla="*/ 116 w 130"/>
                    <a:gd name="T57" fmla="*/ 217 h 260"/>
                    <a:gd name="T58" fmla="*/ 106 w 130"/>
                    <a:gd name="T59" fmla="*/ 225 h 260"/>
                    <a:gd name="T60" fmla="*/ 89 w 130"/>
                    <a:gd name="T61" fmla="*/ 230 h 260"/>
                    <a:gd name="T62" fmla="*/ 84 w 130"/>
                    <a:gd name="T63" fmla="*/ 227 h 260"/>
                    <a:gd name="T64" fmla="*/ 88 w 130"/>
                    <a:gd name="T65" fmla="*/ 232 h 260"/>
                    <a:gd name="T66" fmla="*/ 84 w 130"/>
                    <a:gd name="T67" fmla="*/ 238 h 260"/>
                    <a:gd name="T68" fmla="*/ 80 w 130"/>
                    <a:gd name="T69" fmla="*/ 240 h 260"/>
                    <a:gd name="T70" fmla="*/ 78 w 130"/>
                    <a:gd name="T71" fmla="*/ 247 h 260"/>
                    <a:gd name="T72" fmla="*/ 70 w 130"/>
                    <a:gd name="T73" fmla="*/ 251 h 260"/>
                    <a:gd name="T74" fmla="*/ 60 w 130"/>
                    <a:gd name="T75" fmla="*/ 260 h 260"/>
                    <a:gd name="T76" fmla="*/ 62 w 130"/>
                    <a:gd name="T77" fmla="*/ 256 h 260"/>
                    <a:gd name="T78" fmla="*/ 60 w 130"/>
                    <a:gd name="T79" fmla="*/ 247 h 260"/>
                    <a:gd name="T80" fmla="*/ 65 w 130"/>
                    <a:gd name="T81" fmla="*/ 233 h 260"/>
                    <a:gd name="T82" fmla="*/ 53 w 130"/>
                    <a:gd name="T83" fmla="*/ 232 h 260"/>
                    <a:gd name="T84" fmla="*/ 58 w 130"/>
                    <a:gd name="T85" fmla="*/ 224 h 260"/>
                    <a:gd name="T86" fmla="*/ 76 w 130"/>
                    <a:gd name="T87" fmla="*/ 220 h 260"/>
                    <a:gd name="T88" fmla="*/ 78 w 130"/>
                    <a:gd name="T89" fmla="*/ 214 h 260"/>
                    <a:gd name="T90" fmla="*/ 84 w 130"/>
                    <a:gd name="T91" fmla="*/ 202 h 260"/>
                    <a:gd name="T92" fmla="*/ 99 w 130"/>
                    <a:gd name="T93" fmla="*/ 189 h 260"/>
                    <a:gd name="T94" fmla="*/ 96 w 130"/>
                    <a:gd name="T95" fmla="*/ 166 h 260"/>
                    <a:gd name="T96" fmla="*/ 94 w 130"/>
                    <a:gd name="T97" fmla="*/ 153 h 260"/>
                    <a:gd name="T98" fmla="*/ 94 w 130"/>
                    <a:gd name="T99" fmla="*/ 139 h 260"/>
                    <a:gd name="T100" fmla="*/ 93 w 130"/>
                    <a:gd name="T101" fmla="*/ 131 h 260"/>
                    <a:gd name="T102" fmla="*/ 84 w 130"/>
                    <a:gd name="T103" fmla="*/ 122 h 260"/>
                    <a:gd name="T104" fmla="*/ 76 w 130"/>
                    <a:gd name="T105" fmla="*/ 114 h 260"/>
                    <a:gd name="T106" fmla="*/ 65 w 130"/>
                    <a:gd name="T107" fmla="*/ 101 h 260"/>
                    <a:gd name="T108" fmla="*/ 45 w 130"/>
                    <a:gd name="T109" fmla="*/ 85 h 260"/>
                    <a:gd name="T110" fmla="*/ 37 w 130"/>
                    <a:gd name="T111" fmla="*/ 77 h 260"/>
                    <a:gd name="T112" fmla="*/ 44 w 130"/>
                    <a:gd name="T113" fmla="*/ 67 h 260"/>
                    <a:gd name="T114" fmla="*/ 44 w 130"/>
                    <a:gd name="T115" fmla="*/ 55 h 260"/>
                    <a:gd name="T116" fmla="*/ 34 w 130"/>
                    <a:gd name="T117" fmla="*/ 46 h 260"/>
                    <a:gd name="T118" fmla="*/ 11 w 130"/>
                    <a:gd name="T119" fmla="*/ 36 h 260"/>
                    <a:gd name="T120" fmla="*/ 0 w 130"/>
                    <a:gd name="T121" fmla="*/ 21 h 260"/>
                    <a:gd name="T122" fmla="*/ 44 w 130"/>
                    <a:gd name="T123" fmla="*/ 233 h 260"/>
                    <a:gd name="T124" fmla="*/ 45 w 130"/>
                    <a:gd name="T125" fmla="*/ 229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0" h="260"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1" y="18"/>
                      </a:lnTo>
                      <a:lnTo>
                        <a:pt x="3" y="16"/>
                      </a:lnTo>
                      <a:lnTo>
                        <a:pt x="4" y="15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9" y="16"/>
                      </a:lnTo>
                      <a:lnTo>
                        <a:pt x="11" y="16"/>
                      </a:lnTo>
                      <a:lnTo>
                        <a:pt x="13" y="16"/>
                      </a:lnTo>
                      <a:lnTo>
                        <a:pt x="13" y="13"/>
                      </a:lnTo>
                      <a:lnTo>
                        <a:pt x="16" y="11"/>
                      </a:lnTo>
                      <a:lnTo>
                        <a:pt x="19" y="15"/>
                      </a:lnTo>
                      <a:lnTo>
                        <a:pt x="21" y="13"/>
                      </a:lnTo>
                      <a:lnTo>
                        <a:pt x="22" y="13"/>
                      </a:lnTo>
                      <a:lnTo>
                        <a:pt x="22" y="15"/>
                      </a:lnTo>
                      <a:lnTo>
                        <a:pt x="27" y="13"/>
                      </a:lnTo>
                      <a:lnTo>
                        <a:pt x="27" y="11"/>
                      </a:lnTo>
                      <a:lnTo>
                        <a:pt x="31" y="10"/>
                      </a:lnTo>
                      <a:lnTo>
                        <a:pt x="34" y="11"/>
                      </a:lnTo>
                      <a:lnTo>
                        <a:pt x="39" y="10"/>
                      </a:lnTo>
                      <a:lnTo>
                        <a:pt x="39" y="5"/>
                      </a:lnTo>
                      <a:lnTo>
                        <a:pt x="42" y="3"/>
                      </a:lnTo>
                      <a:lnTo>
                        <a:pt x="47" y="3"/>
                      </a:lnTo>
                      <a:lnTo>
                        <a:pt x="49" y="0"/>
                      </a:lnTo>
                      <a:lnTo>
                        <a:pt x="52" y="3"/>
                      </a:lnTo>
                      <a:lnTo>
                        <a:pt x="52" y="5"/>
                      </a:lnTo>
                      <a:lnTo>
                        <a:pt x="55" y="6"/>
                      </a:lnTo>
                      <a:lnTo>
                        <a:pt x="57" y="8"/>
                      </a:lnTo>
                      <a:lnTo>
                        <a:pt x="65" y="8"/>
                      </a:lnTo>
                      <a:lnTo>
                        <a:pt x="65" y="10"/>
                      </a:lnTo>
                      <a:lnTo>
                        <a:pt x="70" y="8"/>
                      </a:lnTo>
                      <a:lnTo>
                        <a:pt x="73" y="10"/>
                      </a:lnTo>
                      <a:lnTo>
                        <a:pt x="71" y="13"/>
                      </a:lnTo>
                      <a:lnTo>
                        <a:pt x="70" y="15"/>
                      </a:lnTo>
                      <a:lnTo>
                        <a:pt x="68" y="19"/>
                      </a:lnTo>
                      <a:lnTo>
                        <a:pt x="70" y="21"/>
                      </a:lnTo>
                      <a:lnTo>
                        <a:pt x="71" y="24"/>
                      </a:lnTo>
                      <a:lnTo>
                        <a:pt x="76" y="26"/>
                      </a:lnTo>
                      <a:lnTo>
                        <a:pt x="78" y="28"/>
                      </a:lnTo>
                      <a:lnTo>
                        <a:pt x="81" y="29"/>
                      </a:lnTo>
                      <a:lnTo>
                        <a:pt x="84" y="31"/>
                      </a:lnTo>
                      <a:lnTo>
                        <a:pt x="88" y="31"/>
                      </a:lnTo>
                      <a:lnTo>
                        <a:pt x="89" y="31"/>
                      </a:lnTo>
                      <a:lnTo>
                        <a:pt x="91" y="31"/>
                      </a:lnTo>
                      <a:lnTo>
                        <a:pt x="94" y="32"/>
                      </a:lnTo>
                      <a:lnTo>
                        <a:pt x="93" y="32"/>
                      </a:lnTo>
                      <a:lnTo>
                        <a:pt x="94" y="34"/>
                      </a:lnTo>
                      <a:lnTo>
                        <a:pt x="93" y="36"/>
                      </a:lnTo>
                      <a:lnTo>
                        <a:pt x="91" y="36"/>
                      </a:lnTo>
                      <a:lnTo>
                        <a:pt x="89" y="36"/>
                      </a:lnTo>
                      <a:lnTo>
                        <a:pt x="88" y="37"/>
                      </a:lnTo>
                      <a:lnTo>
                        <a:pt x="84" y="37"/>
                      </a:lnTo>
                      <a:lnTo>
                        <a:pt x="81" y="39"/>
                      </a:lnTo>
                      <a:lnTo>
                        <a:pt x="81" y="39"/>
                      </a:lnTo>
                      <a:lnTo>
                        <a:pt x="81" y="42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78" y="44"/>
                      </a:lnTo>
                      <a:lnTo>
                        <a:pt x="75" y="44"/>
                      </a:lnTo>
                      <a:lnTo>
                        <a:pt x="73" y="46"/>
                      </a:lnTo>
                      <a:lnTo>
                        <a:pt x="73" y="46"/>
                      </a:lnTo>
                      <a:lnTo>
                        <a:pt x="71" y="44"/>
                      </a:lnTo>
                      <a:lnTo>
                        <a:pt x="71" y="44"/>
                      </a:lnTo>
                      <a:lnTo>
                        <a:pt x="70" y="46"/>
                      </a:lnTo>
                      <a:lnTo>
                        <a:pt x="70" y="47"/>
                      </a:lnTo>
                      <a:lnTo>
                        <a:pt x="70" y="49"/>
                      </a:lnTo>
                      <a:lnTo>
                        <a:pt x="70" y="52"/>
                      </a:lnTo>
                      <a:lnTo>
                        <a:pt x="70" y="54"/>
                      </a:lnTo>
                      <a:lnTo>
                        <a:pt x="70" y="54"/>
                      </a:lnTo>
                      <a:lnTo>
                        <a:pt x="70" y="57"/>
                      </a:lnTo>
                      <a:lnTo>
                        <a:pt x="70" y="59"/>
                      </a:lnTo>
                      <a:lnTo>
                        <a:pt x="68" y="59"/>
                      </a:lnTo>
                      <a:lnTo>
                        <a:pt x="67" y="62"/>
                      </a:lnTo>
                      <a:lnTo>
                        <a:pt x="63" y="62"/>
                      </a:lnTo>
                      <a:lnTo>
                        <a:pt x="63" y="60"/>
                      </a:lnTo>
                      <a:lnTo>
                        <a:pt x="63" y="62"/>
                      </a:lnTo>
                      <a:lnTo>
                        <a:pt x="62" y="64"/>
                      </a:lnTo>
                      <a:lnTo>
                        <a:pt x="60" y="67"/>
                      </a:lnTo>
                      <a:lnTo>
                        <a:pt x="60" y="67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62" y="72"/>
                      </a:lnTo>
                      <a:lnTo>
                        <a:pt x="60" y="78"/>
                      </a:lnTo>
                      <a:lnTo>
                        <a:pt x="58" y="80"/>
                      </a:lnTo>
                      <a:lnTo>
                        <a:pt x="62" y="83"/>
                      </a:lnTo>
                      <a:lnTo>
                        <a:pt x="62" y="85"/>
                      </a:lnTo>
                      <a:lnTo>
                        <a:pt x="58" y="85"/>
                      </a:lnTo>
                      <a:lnTo>
                        <a:pt x="62" y="86"/>
                      </a:lnTo>
                      <a:lnTo>
                        <a:pt x="67" y="90"/>
                      </a:lnTo>
                      <a:lnTo>
                        <a:pt x="70" y="93"/>
                      </a:lnTo>
                      <a:lnTo>
                        <a:pt x="71" y="93"/>
                      </a:lnTo>
                      <a:lnTo>
                        <a:pt x="73" y="96"/>
                      </a:lnTo>
                      <a:lnTo>
                        <a:pt x="73" y="99"/>
                      </a:lnTo>
                      <a:lnTo>
                        <a:pt x="73" y="99"/>
                      </a:lnTo>
                      <a:lnTo>
                        <a:pt x="75" y="104"/>
                      </a:lnTo>
                      <a:lnTo>
                        <a:pt x="75" y="106"/>
                      </a:lnTo>
                      <a:lnTo>
                        <a:pt x="81" y="111"/>
                      </a:lnTo>
                      <a:lnTo>
                        <a:pt x="84" y="113"/>
                      </a:lnTo>
                      <a:lnTo>
                        <a:pt x="84" y="114"/>
                      </a:lnTo>
                      <a:lnTo>
                        <a:pt x="94" y="119"/>
                      </a:lnTo>
                      <a:lnTo>
                        <a:pt x="101" y="124"/>
                      </a:lnTo>
                      <a:lnTo>
                        <a:pt x="102" y="127"/>
                      </a:lnTo>
                      <a:lnTo>
                        <a:pt x="111" y="132"/>
                      </a:lnTo>
                      <a:lnTo>
                        <a:pt x="112" y="137"/>
                      </a:lnTo>
                      <a:lnTo>
                        <a:pt x="112" y="140"/>
                      </a:lnTo>
                      <a:lnTo>
                        <a:pt x="114" y="140"/>
                      </a:lnTo>
                      <a:lnTo>
                        <a:pt x="114" y="142"/>
                      </a:lnTo>
                      <a:lnTo>
                        <a:pt x="117" y="145"/>
                      </a:lnTo>
                      <a:lnTo>
                        <a:pt x="117" y="147"/>
                      </a:lnTo>
                      <a:lnTo>
                        <a:pt x="119" y="149"/>
                      </a:lnTo>
                      <a:lnTo>
                        <a:pt x="117" y="150"/>
                      </a:lnTo>
                      <a:lnTo>
                        <a:pt x="120" y="153"/>
                      </a:lnTo>
                      <a:lnTo>
                        <a:pt x="120" y="160"/>
                      </a:lnTo>
                      <a:lnTo>
                        <a:pt x="122" y="160"/>
                      </a:lnTo>
                      <a:lnTo>
                        <a:pt x="124" y="165"/>
                      </a:lnTo>
                      <a:lnTo>
                        <a:pt x="124" y="166"/>
                      </a:lnTo>
                      <a:lnTo>
                        <a:pt x="124" y="170"/>
                      </a:lnTo>
                      <a:lnTo>
                        <a:pt x="124" y="171"/>
                      </a:lnTo>
                      <a:lnTo>
                        <a:pt x="125" y="175"/>
                      </a:lnTo>
                      <a:lnTo>
                        <a:pt x="124" y="175"/>
                      </a:lnTo>
                      <a:lnTo>
                        <a:pt x="125" y="180"/>
                      </a:lnTo>
                      <a:lnTo>
                        <a:pt x="125" y="181"/>
                      </a:lnTo>
                      <a:lnTo>
                        <a:pt x="127" y="181"/>
                      </a:lnTo>
                      <a:lnTo>
                        <a:pt x="127" y="183"/>
                      </a:lnTo>
                      <a:lnTo>
                        <a:pt x="130" y="188"/>
                      </a:lnTo>
                      <a:lnTo>
                        <a:pt x="129" y="189"/>
                      </a:lnTo>
                      <a:lnTo>
                        <a:pt x="129" y="189"/>
                      </a:lnTo>
                      <a:lnTo>
                        <a:pt x="129" y="188"/>
                      </a:lnTo>
                      <a:lnTo>
                        <a:pt x="127" y="188"/>
                      </a:lnTo>
                      <a:lnTo>
                        <a:pt x="125" y="188"/>
                      </a:lnTo>
                      <a:lnTo>
                        <a:pt x="127" y="191"/>
                      </a:lnTo>
                      <a:lnTo>
                        <a:pt x="127" y="193"/>
                      </a:lnTo>
                      <a:lnTo>
                        <a:pt x="127" y="194"/>
                      </a:lnTo>
                      <a:lnTo>
                        <a:pt x="125" y="194"/>
                      </a:lnTo>
                      <a:lnTo>
                        <a:pt x="125" y="198"/>
                      </a:lnTo>
                      <a:lnTo>
                        <a:pt x="124" y="199"/>
                      </a:lnTo>
                      <a:lnTo>
                        <a:pt x="125" y="202"/>
                      </a:lnTo>
                      <a:lnTo>
                        <a:pt x="124" y="206"/>
                      </a:lnTo>
                      <a:lnTo>
                        <a:pt x="125" y="206"/>
                      </a:lnTo>
                      <a:lnTo>
                        <a:pt x="124" y="209"/>
                      </a:lnTo>
                      <a:lnTo>
                        <a:pt x="122" y="209"/>
                      </a:lnTo>
                      <a:lnTo>
                        <a:pt x="120" y="212"/>
                      </a:lnTo>
                      <a:lnTo>
                        <a:pt x="119" y="214"/>
                      </a:lnTo>
                      <a:lnTo>
                        <a:pt x="116" y="217"/>
                      </a:lnTo>
                      <a:lnTo>
                        <a:pt x="114" y="219"/>
                      </a:lnTo>
                      <a:lnTo>
                        <a:pt x="111" y="220"/>
                      </a:lnTo>
                      <a:lnTo>
                        <a:pt x="109" y="224"/>
                      </a:lnTo>
                      <a:lnTo>
                        <a:pt x="107" y="224"/>
                      </a:lnTo>
                      <a:lnTo>
                        <a:pt x="106" y="225"/>
                      </a:lnTo>
                      <a:lnTo>
                        <a:pt x="98" y="230"/>
                      </a:lnTo>
                      <a:lnTo>
                        <a:pt x="94" y="230"/>
                      </a:lnTo>
                      <a:lnTo>
                        <a:pt x="93" y="229"/>
                      </a:lnTo>
                      <a:lnTo>
                        <a:pt x="89" y="230"/>
                      </a:lnTo>
                      <a:lnTo>
                        <a:pt x="89" y="230"/>
                      </a:lnTo>
                      <a:lnTo>
                        <a:pt x="89" y="227"/>
                      </a:lnTo>
                      <a:lnTo>
                        <a:pt x="89" y="225"/>
                      </a:lnTo>
                      <a:lnTo>
                        <a:pt x="88" y="227"/>
                      </a:lnTo>
                      <a:lnTo>
                        <a:pt x="88" y="229"/>
                      </a:lnTo>
                      <a:lnTo>
                        <a:pt x="84" y="227"/>
                      </a:lnTo>
                      <a:lnTo>
                        <a:pt x="86" y="229"/>
                      </a:lnTo>
                      <a:lnTo>
                        <a:pt x="86" y="230"/>
                      </a:lnTo>
                      <a:lnTo>
                        <a:pt x="86" y="230"/>
                      </a:lnTo>
                      <a:lnTo>
                        <a:pt x="83" y="230"/>
                      </a:lnTo>
                      <a:lnTo>
                        <a:pt x="88" y="232"/>
                      </a:lnTo>
                      <a:lnTo>
                        <a:pt x="86" y="233"/>
                      </a:lnTo>
                      <a:lnTo>
                        <a:pt x="88" y="237"/>
                      </a:lnTo>
                      <a:lnTo>
                        <a:pt x="86" y="238"/>
                      </a:lnTo>
                      <a:lnTo>
                        <a:pt x="83" y="235"/>
                      </a:lnTo>
                      <a:lnTo>
                        <a:pt x="84" y="238"/>
                      </a:lnTo>
                      <a:lnTo>
                        <a:pt x="84" y="240"/>
                      </a:lnTo>
                      <a:lnTo>
                        <a:pt x="83" y="242"/>
                      </a:lnTo>
                      <a:lnTo>
                        <a:pt x="83" y="242"/>
                      </a:lnTo>
                      <a:lnTo>
                        <a:pt x="81" y="238"/>
                      </a:lnTo>
                      <a:lnTo>
                        <a:pt x="80" y="240"/>
                      </a:lnTo>
                      <a:lnTo>
                        <a:pt x="80" y="242"/>
                      </a:lnTo>
                      <a:lnTo>
                        <a:pt x="80" y="243"/>
                      </a:lnTo>
                      <a:lnTo>
                        <a:pt x="81" y="243"/>
                      </a:lnTo>
                      <a:lnTo>
                        <a:pt x="80" y="245"/>
                      </a:lnTo>
                      <a:lnTo>
                        <a:pt x="78" y="247"/>
                      </a:lnTo>
                      <a:lnTo>
                        <a:pt x="76" y="247"/>
                      </a:lnTo>
                      <a:lnTo>
                        <a:pt x="73" y="248"/>
                      </a:lnTo>
                      <a:lnTo>
                        <a:pt x="73" y="250"/>
                      </a:lnTo>
                      <a:lnTo>
                        <a:pt x="70" y="250"/>
                      </a:lnTo>
                      <a:lnTo>
                        <a:pt x="70" y="251"/>
                      </a:lnTo>
                      <a:lnTo>
                        <a:pt x="70" y="255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0" y="260"/>
                      </a:lnTo>
                      <a:lnTo>
                        <a:pt x="55" y="260"/>
                      </a:lnTo>
                      <a:lnTo>
                        <a:pt x="58" y="258"/>
                      </a:lnTo>
                      <a:lnTo>
                        <a:pt x="62" y="256"/>
                      </a:lnTo>
                      <a:lnTo>
                        <a:pt x="63" y="255"/>
                      </a:lnTo>
                      <a:lnTo>
                        <a:pt x="62" y="256"/>
                      </a:lnTo>
                      <a:lnTo>
                        <a:pt x="58" y="255"/>
                      </a:lnTo>
                      <a:lnTo>
                        <a:pt x="60" y="250"/>
                      </a:lnTo>
                      <a:lnTo>
                        <a:pt x="60" y="250"/>
                      </a:lnTo>
                      <a:lnTo>
                        <a:pt x="58" y="248"/>
                      </a:lnTo>
                      <a:lnTo>
                        <a:pt x="60" y="247"/>
                      </a:lnTo>
                      <a:lnTo>
                        <a:pt x="58" y="242"/>
                      </a:lnTo>
                      <a:lnTo>
                        <a:pt x="62" y="238"/>
                      </a:lnTo>
                      <a:lnTo>
                        <a:pt x="67" y="233"/>
                      </a:lnTo>
                      <a:lnTo>
                        <a:pt x="67" y="232"/>
                      </a:lnTo>
                      <a:lnTo>
                        <a:pt x="65" y="233"/>
                      </a:lnTo>
                      <a:lnTo>
                        <a:pt x="62" y="233"/>
                      </a:lnTo>
                      <a:lnTo>
                        <a:pt x="58" y="233"/>
                      </a:lnTo>
                      <a:lnTo>
                        <a:pt x="58" y="233"/>
                      </a:lnTo>
                      <a:lnTo>
                        <a:pt x="57" y="233"/>
                      </a:lnTo>
                      <a:lnTo>
                        <a:pt x="53" y="232"/>
                      </a:lnTo>
                      <a:lnTo>
                        <a:pt x="53" y="232"/>
                      </a:lnTo>
                      <a:lnTo>
                        <a:pt x="53" y="229"/>
                      </a:lnTo>
                      <a:lnTo>
                        <a:pt x="53" y="229"/>
                      </a:lnTo>
                      <a:lnTo>
                        <a:pt x="55" y="225"/>
                      </a:lnTo>
                      <a:lnTo>
                        <a:pt x="58" y="224"/>
                      </a:lnTo>
                      <a:lnTo>
                        <a:pt x="62" y="219"/>
                      </a:lnTo>
                      <a:lnTo>
                        <a:pt x="63" y="219"/>
                      </a:lnTo>
                      <a:lnTo>
                        <a:pt x="67" y="220"/>
                      </a:lnTo>
                      <a:lnTo>
                        <a:pt x="73" y="219"/>
                      </a:lnTo>
                      <a:lnTo>
                        <a:pt x="76" y="220"/>
                      </a:lnTo>
                      <a:lnTo>
                        <a:pt x="76" y="222"/>
                      </a:lnTo>
                      <a:lnTo>
                        <a:pt x="83" y="222"/>
                      </a:lnTo>
                      <a:lnTo>
                        <a:pt x="81" y="219"/>
                      </a:lnTo>
                      <a:lnTo>
                        <a:pt x="81" y="217"/>
                      </a:lnTo>
                      <a:lnTo>
                        <a:pt x="78" y="214"/>
                      </a:lnTo>
                      <a:lnTo>
                        <a:pt x="75" y="212"/>
                      </a:lnTo>
                      <a:lnTo>
                        <a:pt x="75" y="207"/>
                      </a:lnTo>
                      <a:lnTo>
                        <a:pt x="78" y="204"/>
                      </a:lnTo>
                      <a:lnTo>
                        <a:pt x="83" y="206"/>
                      </a:lnTo>
                      <a:lnTo>
                        <a:pt x="84" y="202"/>
                      </a:lnTo>
                      <a:lnTo>
                        <a:pt x="89" y="199"/>
                      </a:lnTo>
                      <a:lnTo>
                        <a:pt x="94" y="198"/>
                      </a:lnTo>
                      <a:lnTo>
                        <a:pt x="94" y="196"/>
                      </a:lnTo>
                      <a:lnTo>
                        <a:pt x="98" y="194"/>
                      </a:lnTo>
                      <a:lnTo>
                        <a:pt x="99" y="189"/>
                      </a:lnTo>
                      <a:lnTo>
                        <a:pt x="99" y="186"/>
                      </a:lnTo>
                      <a:lnTo>
                        <a:pt x="99" y="181"/>
                      </a:lnTo>
                      <a:lnTo>
                        <a:pt x="99" y="178"/>
                      </a:lnTo>
                      <a:lnTo>
                        <a:pt x="99" y="173"/>
                      </a:lnTo>
                      <a:lnTo>
                        <a:pt x="96" y="166"/>
                      </a:lnTo>
                      <a:lnTo>
                        <a:pt x="94" y="165"/>
                      </a:lnTo>
                      <a:lnTo>
                        <a:pt x="91" y="160"/>
                      </a:lnTo>
                      <a:lnTo>
                        <a:pt x="93" y="160"/>
                      </a:lnTo>
                      <a:lnTo>
                        <a:pt x="94" y="158"/>
                      </a:lnTo>
                      <a:lnTo>
                        <a:pt x="94" y="153"/>
                      </a:lnTo>
                      <a:lnTo>
                        <a:pt x="94" y="152"/>
                      </a:lnTo>
                      <a:lnTo>
                        <a:pt x="93" y="147"/>
                      </a:lnTo>
                      <a:lnTo>
                        <a:pt x="98" y="144"/>
                      </a:lnTo>
                      <a:lnTo>
                        <a:pt x="98" y="140"/>
                      </a:lnTo>
                      <a:lnTo>
                        <a:pt x="94" y="139"/>
                      </a:lnTo>
                      <a:lnTo>
                        <a:pt x="94" y="137"/>
                      </a:lnTo>
                      <a:lnTo>
                        <a:pt x="94" y="134"/>
                      </a:lnTo>
                      <a:lnTo>
                        <a:pt x="96" y="131"/>
                      </a:lnTo>
                      <a:lnTo>
                        <a:pt x="96" y="129"/>
                      </a:lnTo>
                      <a:lnTo>
                        <a:pt x="93" y="131"/>
                      </a:lnTo>
                      <a:lnTo>
                        <a:pt x="91" y="129"/>
                      </a:lnTo>
                      <a:lnTo>
                        <a:pt x="89" y="127"/>
                      </a:lnTo>
                      <a:lnTo>
                        <a:pt x="84" y="126"/>
                      </a:lnTo>
                      <a:lnTo>
                        <a:pt x="84" y="124"/>
                      </a:lnTo>
                      <a:lnTo>
                        <a:pt x="84" y="122"/>
                      </a:lnTo>
                      <a:lnTo>
                        <a:pt x="83" y="121"/>
                      </a:lnTo>
                      <a:lnTo>
                        <a:pt x="81" y="121"/>
                      </a:lnTo>
                      <a:lnTo>
                        <a:pt x="78" y="119"/>
                      </a:lnTo>
                      <a:lnTo>
                        <a:pt x="78" y="116"/>
                      </a:lnTo>
                      <a:lnTo>
                        <a:pt x="76" y="114"/>
                      </a:lnTo>
                      <a:lnTo>
                        <a:pt x="73" y="114"/>
                      </a:lnTo>
                      <a:lnTo>
                        <a:pt x="70" y="113"/>
                      </a:lnTo>
                      <a:lnTo>
                        <a:pt x="70" y="109"/>
                      </a:lnTo>
                      <a:lnTo>
                        <a:pt x="65" y="103"/>
                      </a:lnTo>
                      <a:lnTo>
                        <a:pt x="65" y="101"/>
                      </a:lnTo>
                      <a:lnTo>
                        <a:pt x="62" y="96"/>
                      </a:lnTo>
                      <a:lnTo>
                        <a:pt x="57" y="95"/>
                      </a:lnTo>
                      <a:lnTo>
                        <a:pt x="53" y="88"/>
                      </a:lnTo>
                      <a:lnTo>
                        <a:pt x="50" y="88"/>
                      </a:lnTo>
                      <a:lnTo>
                        <a:pt x="45" y="85"/>
                      </a:lnTo>
                      <a:lnTo>
                        <a:pt x="40" y="85"/>
                      </a:lnTo>
                      <a:lnTo>
                        <a:pt x="37" y="82"/>
                      </a:lnTo>
                      <a:lnTo>
                        <a:pt x="35" y="82"/>
                      </a:lnTo>
                      <a:lnTo>
                        <a:pt x="34" y="78"/>
                      </a:lnTo>
                      <a:lnTo>
                        <a:pt x="37" y="77"/>
                      </a:lnTo>
                      <a:lnTo>
                        <a:pt x="34" y="72"/>
                      </a:lnTo>
                      <a:lnTo>
                        <a:pt x="34" y="70"/>
                      </a:lnTo>
                      <a:lnTo>
                        <a:pt x="35" y="70"/>
                      </a:lnTo>
                      <a:lnTo>
                        <a:pt x="40" y="68"/>
                      </a:lnTo>
                      <a:lnTo>
                        <a:pt x="44" y="67"/>
                      </a:lnTo>
                      <a:lnTo>
                        <a:pt x="45" y="65"/>
                      </a:lnTo>
                      <a:lnTo>
                        <a:pt x="47" y="59"/>
                      </a:lnTo>
                      <a:lnTo>
                        <a:pt x="49" y="59"/>
                      </a:lnTo>
                      <a:lnTo>
                        <a:pt x="49" y="57"/>
                      </a:lnTo>
                      <a:lnTo>
                        <a:pt x="44" y="55"/>
                      </a:lnTo>
                      <a:lnTo>
                        <a:pt x="44" y="52"/>
                      </a:lnTo>
                      <a:lnTo>
                        <a:pt x="44" y="49"/>
                      </a:lnTo>
                      <a:lnTo>
                        <a:pt x="40" y="49"/>
                      </a:lnTo>
                      <a:lnTo>
                        <a:pt x="37" y="46"/>
                      </a:lnTo>
                      <a:lnTo>
                        <a:pt x="34" y="46"/>
                      </a:lnTo>
                      <a:lnTo>
                        <a:pt x="29" y="47"/>
                      </a:lnTo>
                      <a:lnTo>
                        <a:pt x="26" y="46"/>
                      </a:lnTo>
                      <a:lnTo>
                        <a:pt x="19" y="46"/>
                      </a:lnTo>
                      <a:lnTo>
                        <a:pt x="16" y="41"/>
                      </a:lnTo>
                      <a:lnTo>
                        <a:pt x="11" y="36"/>
                      </a:lnTo>
                      <a:lnTo>
                        <a:pt x="11" y="32"/>
                      </a:lnTo>
                      <a:lnTo>
                        <a:pt x="11" y="29"/>
                      </a:lnTo>
                      <a:lnTo>
                        <a:pt x="8" y="28"/>
                      </a:lnTo>
                      <a:lnTo>
                        <a:pt x="6" y="23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  <a:moveTo>
                        <a:pt x="42" y="230"/>
                      </a:moveTo>
                      <a:lnTo>
                        <a:pt x="44" y="232"/>
                      </a:lnTo>
                      <a:lnTo>
                        <a:pt x="44" y="233"/>
                      </a:lnTo>
                      <a:lnTo>
                        <a:pt x="45" y="237"/>
                      </a:lnTo>
                      <a:lnTo>
                        <a:pt x="47" y="235"/>
                      </a:lnTo>
                      <a:lnTo>
                        <a:pt x="47" y="230"/>
                      </a:lnTo>
                      <a:lnTo>
                        <a:pt x="47" y="230"/>
                      </a:lnTo>
                      <a:lnTo>
                        <a:pt x="45" y="229"/>
                      </a:lnTo>
                      <a:lnTo>
                        <a:pt x="42" y="23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7" name="Freeform 176">
                  <a:extLst>
                    <a:ext uri="{FF2B5EF4-FFF2-40B4-BE49-F238E27FC236}">
                      <a16:creationId xmlns:a16="http://schemas.microsoft.com/office/drawing/2014/main" xmlns="" id="{842B8F12-3B9C-4261-BD37-79F2295A67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1" y="1812"/>
                  <a:ext cx="83" cy="74"/>
                </a:xfrm>
                <a:custGeom>
                  <a:avLst/>
                  <a:gdLst>
                    <a:gd name="T0" fmla="*/ 39 w 83"/>
                    <a:gd name="T1" fmla="*/ 70 h 74"/>
                    <a:gd name="T2" fmla="*/ 46 w 83"/>
                    <a:gd name="T3" fmla="*/ 64 h 74"/>
                    <a:gd name="T4" fmla="*/ 51 w 83"/>
                    <a:gd name="T5" fmla="*/ 65 h 74"/>
                    <a:gd name="T6" fmla="*/ 60 w 83"/>
                    <a:gd name="T7" fmla="*/ 65 h 74"/>
                    <a:gd name="T8" fmla="*/ 67 w 83"/>
                    <a:gd name="T9" fmla="*/ 67 h 74"/>
                    <a:gd name="T10" fmla="*/ 65 w 83"/>
                    <a:gd name="T11" fmla="*/ 62 h 74"/>
                    <a:gd name="T12" fmla="*/ 59 w 83"/>
                    <a:gd name="T13" fmla="*/ 57 h 74"/>
                    <a:gd name="T14" fmla="*/ 62 w 83"/>
                    <a:gd name="T15" fmla="*/ 49 h 74"/>
                    <a:gd name="T16" fmla="*/ 68 w 83"/>
                    <a:gd name="T17" fmla="*/ 47 h 74"/>
                    <a:gd name="T18" fmla="*/ 78 w 83"/>
                    <a:gd name="T19" fmla="*/ 43 h 74"/>
                    <a:gd name="T20" fmla="*/ 82 w 83"/>
                    <a:gd name="T21" fmla="*/ 39 h 74"/>
                    <a:gd name="T22" fmla="*/ 83 w 83"/>
                    <a:gd name="T23" fmla="*/ 31 h 74"/>
                    <a:gd name="T24" fmla="*/ 83 w 83"/>
                    <a:gd name="T25" fmla="*/ 23 h 74"/>
                    <a:gd name="T26" fmla="*/ 80 w 83"/>
                    <a:gd name="T27" fmla="*/ 11 h 74"/>
                    <a:gd name="T28" fmla="*/ 75 w 83"/>
                    <a:gd name="T29" fmla="*/ 5 h 74"/>
                    <a:gd name="T30" fmla="*/ 70 w 83"/>
                    <a:gd name="T31" fmla="*/ 3 h 74"/>
                    <a:gd name="T32" fmla="*/ 67 w 83"/>
                    <a:gd name="T33" fmla="*/ 0 h 74"/>
                    <a:gd name="T34" fmla="*/ 59 w 83"/>
                    <a:gd name="T35" fmla="*/ 3 h 74"/>
                    <a:gd name="T36" fmla="*/ 60 w 83"/>
                    <a:gd name="T37" fmla="*/ 10 h 74"/>
                    <a:gd name="T38" fmla="*/ 62 w 83"/>
                    <a:gd name="T39" fmla="*/ 16 h 74"/>
                    <a:gd name="T40" fmla="*/ 54 w 83"/>
                    <a:gd name="T41" fmla="*/ 10 h 74"/>
                    <a:gd name="T42" fmla="*/ 47 w 83"/>
                    <a:gd name="T43" fmla="*/ 7 h 74"/>
                    <a:gd name="T44" fmla="*/ 42 w 83"/>
                    <a:gd name="T45" fmla="*/ 5 h 74"/>
                    <a:gd name="T46" fmla="*/ 36 w 83"/>
                    <a:gd name="T47" fmla="*/ 3 h 74"/>
                    <a:gd name="T48" fmla="*/ 28 w 83"/>
                    <a:gd name="T49" fmla="*/ 2 h 74"/>
                    <a:gd name="T50" fmla="*/ 23 w 83"/>
                    <a:gd name="T51" fmla="*/ 3 h 74"/>
                    <a:gd name="T52" fmla="*/ 11 w 83"/>
                    <a:gd name="T53" fmla="*/ 5 h 74"/>
                    <a:gd name="T54" fmla="*/ 5 w 83"/>
                    <a:gd name="T55" fmla="*/ 10 h 74"/>
                    <a:gd name="T56" fmla="*/ 0 w 83"/>
                    <a:gd name="T57" fmla="*/ 18 h 74"/>
                    <a:gd name="T58" fmla="*/ 2 w 83"/>
                    <a:gd name="T59" fmla="*/ 31 h 74"/>
                    <a:gd name="T60" fmla="*/ 6 w 83"/>
                    <a:gd name="T61" fmla="*/ 36 h 74"/>
                    <a:gd name="T62" fmla="*/ 5 w 83"/>
                    <a:gd name="T63" fmla="*/ 44 h 74"/>
                    <a:gd name="T64" fmla="*/ 6 w 83"/>
                    <a:gd name="T65" fmla="*/ 46 h 74"/>
                    <a:gd name="T66" fmla="*/ 10 w 83"/>
                    <a:gd name="T67" fmla="*/ 51 h 74"/>
                    <a:gd name="T68" fmla="*/ 11 w 83"/>
                    <a:gd name="T69" fmla="*/ 57 h 74"/>
                    <a:gd name="T70" fmla="*/ 15 w 83"/>
                    <a:gd name="T71" fmla="*/ 60 h 74"/>
                    <a:gd name="T72" fmla="*/ 15 w 83"/>
                    <a:gd name="T73" fmla="*/ 64 h 74"/>
                    <a:gd name="T74" fmla="*/ 18 w 83"/>
                    <a:gd name="T75" fmla="*/ 67 h 74"/>
                    <a:gd name="T76" fmla="*/ 19 w 83"/>
                    <a:gd name="T77" fmla="*/ 64 h 74"/>
                    <a:gd name="T78" fmla="*/ 23 w 83"/>
                    <a:gd name="T79" fmla="*/ 60 h 74"/>
                    <a:gd name="T80" fmla="*/ 24 w 83"/>
                    <a:gd name="T81" fmla="*/ 65 h 74"/>
                    <a:gd name="T82" fmla="*/ 23 w 83"/>
                    <a:gd name="T83" fmla="*/ 70 h 74"/>
                    <a:gd name="T84" fmla="*/ 23 w 83"/>
                    <a:gd name="T85" fmla="*/ 74 h 74"/>
                    <a:gd name="T86" fmla="*/ 28 w 83"/>
                    <a:gd name="T87" fmla="*/ 70 h 74"/>
                    <a:gd name="T88" fmla="*/ 29 w 83"/>
                    <a:gd name="T89" fmla="*/ 70 h 74"/>
                    <a:gd name="T90" fmla="*/ 34 w 83"/>
                    <a:gd name="T91" fmla="*/ 7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3" h="74">
                      <a:moveTo>
                        <a:pt x="37" y="74"/>
                      </a:moveTo>
                      <a:lnTo>
                        <a:pt x="39" y="70"/>
                      </a:lnTo>
                      <a:lnTo>
                        <a:pt x="42" y="69"/>
                      </a:lnTo>
                      <a:lnTo>
                        <a:pt x="46" y="64"/>
                      </a:lnTo>
                      <a:lnTo>
                        <a:pt x="47" y="64"/>
                      </a:lnTo>
                      <a:lnTo>
                        <a:pt x="51" y="65"/>
                      </a:lnTo>
                      <a:lnTo>
                        <a:pt x="57" y="64"/>
                      </a:lnTo>
                      <a:lnTo>
                        <a:pt x="60" y="65"/>
                      </a:lnTo>
                      <a:lnTo>
                        <a:pt x="60" y="67"/>
                      </a:lnTo>
                      <a:lnTo>
                        <a:pt x="67" y="67"/>
                      </a:lnTo>
                      <a:lnTo>
                        <a:pt x="65" y="64"/>
                      </a:lnTo>
                      <a:lnTo>
                        <a:pt x="65" y="62"/>
                      </a:lnTo>
                      <a:lnTo>
                        <a:pt x="62" y="59"/>
                      </a:lnTo>
                      <a:lnTo>
                        <a:pt x="59" y="57"/>
                      </a:lnTo>
                      <a:lnTo>
                        <a:pt x="59" y="52"/>
                      </a:lnTo>
                      <a:lnTo>
                        <a:pt x="62" y="49"/>
                      </a:lnTo>
                      <a:lnTo>
                        <a:pt x="67" y="51"/>
                      </a:lnTo>
                      <a:lnTo>
                        <a:pt x="68" y="47"/>
                      </a:lnTo>
                      <a:lnTo>
                        <a:pt x="73" y="44"/>
                      </a:lnTo>
                      <a:lnTo>
                        <a:pt x="78" y="43"/>
                      </a:lnTo>
                      <a:lnTo>
                        <a:pt x="78" y="41"/>
                      </a:lnTo>
                      <a:lnTo>
                        <a:pt x="82" y="39"/>
                      </a:lnTo>
                      <a:lnTo>
                        <a:pt x="83" y="34"/>
                      </a:lnTo>
                      <a:lnTo>
                        <a:pt x="83" y="31"/>
                      </a:lnTo>
                      <a:lnTo>
                        <a:pt x="83" y="26"/>
                      </a:lnTo>
                      <a:lnTo>
                        <a:pt x="83" y="23"/>
                      </a:lnTo>
                      <a:lnTo>
                        <a:pt x="83" y="18"/>
                      </a:lnTo>
                      <a:lnTo>
                        <a:pt x="80" y="11"/>
                      </a:lnTo>
                      <a:lnTo>
                        <a:pt x="78" y="10"/>
                      </a:lnTo>
                      <a:lnTo>
                        <a:pt x="75" y="5"/>
                      </a:lnTo>
                      <a:lnTo>
                        <a:pt x="73" y="5"/>
                      </a:lnTo>
                      <a:lnTo>
                        <a:pt x="70" y="3"/>
                      </a:lnTo>
                      <a:lnTo>
                        <a:pt x="68" y="3"/>
                      </a:lnTo>
                      <a:lnTo>
                        <a:pt x="67" y="0"/>
                      </a:lnTo>
                      <a:lnTo>
                        <a:pt x="60" y="2"/>
                      </a:lnTo>
                      <a:lnTo>
                        <a:pt x="59" y="3"/>
                      </a:lnTo>
                      <a:lnTo>
                        <a:pt x="62" y="8"/>
                      </a:lnTo>
                      <a:lnTo>
                        <a:pt x="60" y="10"/>
                      </a:lnTo>
                      <a:lnTo>
                        <a:pt x="62" y="13"/>
                      </a:lnTo>
                      <a:lnTo>
                        <a:pt x="62" y="16"/>
                      </a:lnTo>
                      <a:lnTo>
                        <a:pt x="57" y="13"/>
                      </a:lnTo>
                      <a:lnTo>
                        <a:pt x="54" y="10"/>
                      </a:lnTo>
                      <a:lnTo>
                        <a:pt x="49" y="8"/>
                      </a:lnTo>
                      <a:lnTo>
                        <a:pt x="47" y="7"/>
                      </a:lnTo>
                      <a:lnTo>
                        <a:pt x="44" y="3"/>
                      </a:lnTo>
                      <a:lnTo>
                        <a:pt x="42" y="5"/>
                      </a:lnTo>
                      <a:lnTo>
                        <a:pt x="39" y="3"/>
                      </a:lnTo>
                      <a:lnTo>
                        <a:pt x="36" y="3"/>
                      </a:lnTo>
                      <a:lnTo>
                        <a:pt x="33" y="2"/>
                      </a:lnTo>
                      <a:lnTo>
                        <a:pt x="28" y="2"/>
                      </a:lnTo>
                      <a:lnTo>
                        <a:pt x="24" y="3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1" y="5"/>
                      </a:lnTo>
                      <a:lnTo>
                        <a:pt x="8" y="5"/>
                      </a:lnTo>
                      <a:lnTo>
                        <a:pt x="5" y="10"/>
                      </a:lnTo>
                      <a:lnTo>
                        <a:pt x="3" y="15"/>
                      </a:lnTo>
                      <a:lnTo>
                        <a:pt x="0" y="18"/>
                      </a:lnTo>
                      <a:lnTo>
                        <a:pt x="0" y="25"/>
                      </a:lnTo>
                      <a:lnTo>
                        <a:pt x="2" y="31"/>
                      </a:lnTo>
                      <a:lnTo>
                        <a:pt x="5" y="33"/>
                      </a:lnTo>
                      <a:lnTo>
                        <a:pt x="6" y="36"/>
                      </a:lnTo>
                      <a:lnTo>
                        <a:pt x="5" y="41"/>
                      </a:lnTo>
                      <a:lnTo>
                        <a:pt x="5" y="44"/>
                      </a:lnTo>
                      <a:lnTo>
                        <a:pt x="5" y="44"/>
                      </a:lnTo>
                      <a:lnTo>
                        <a:pt x="6" y="46"/>
                      </a:lnTo>
                      <a:lnTo>
                        <a:pt x="8" y="49"/>
                      </a:lnTo>
                      <a:lnTo>
                        <a:pt x="10" y="51"/>
                      </a:lnTo>
                      <a:lnTo>
                        <a:pt x="10" y="54"/>
                      </a:lnTo>
                      <a:lnTo>
                        <a:pt x="11" y="57"/>
                      </a:lnTo>
                      <a:lnTo>
                        <a:pt x="13" y="57"/>
                      </a:lnTo>
                      <a:lnTo>
                        <a:pt x="15" y="60"/>
                      </a:lnTo>
                      <a:lnTo>
                        <a:pt x="15" y="62"/>
                      </a:lnTo>
                      <a:lnTo>
                        <a:pt x="15" y="64"/>
                      </a:lnTo>
                      <a:lnTo>
                        <a:pt x="16" y="67"/>
                      </a:lnTo>
                      <a:lnTo>
                        <a:pt x="18" y="67"/>
                      </a:lnTo>
                      <a:lnTo>
                        <a:pt x="19" y="67"/>
                      </a:lnTo>
                      <a:lnTo>
                        <a:pt x="19" y="64"/>
                      </a:lnTo>
                      <a:lnTo>
                        <a:pt x="21" y="62"/>
                      </a:lnTo>
                      <a:lnTo>
                        <a:pt x="23" y="60"/>
                      </a:lnTo>
                      <a:lnTo>
                        <a:pt x="23" y="64"/>
                      </a:lnTo>
                      <a:lnTo>
                        <a:pt x="24" y="65"/>
                      </a:lnTo>
                      <a:lnTo>
                        <a:pt x="24" y="67"/>
                      </a:lnTo>
                      <a:lnTo>
                        <a:pt x="23" y="70"/>
                      </a:lnTo>
                      <a:lnTo>
                        <a:pt x="23" y="72"/>
                      </a:lnTo>
                      <a:lnTo>
                        <a:pt x="23" y="74"/>
                      </a:lnTo>
                      <a:lnTo>
                        <a:pt x="24" y="74"/>
                      </a:lnTo>
                      <a:lnTo>
                        <a:pt x="28" y="70"/>
                      </a:lnTo>
                      <a:lnTo>
                        <a:pt x="28" y="70"/>
                      </a:lnTo>
                      <a:lnTo>
                        <a:pt x="29" y="70"/>
                      </a:lnTo>
                      <a:lnTo>
                        <a:pt x="33" y="72"/>
                      </a:lnTo>
                      <a:lnTo>
                        <a:pt x="34" y="72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8" name="Freeform 177">
                  <a:extLst>
                    <a:ext uri="{FF2B5EF4-FFF2-40B4-BE49-F238E27FC236}">
                      <a16:creationId xmlns:a16="http://schemas.microsoft.com/office/drawing/2014/main" xmlns="" id="{6BC38CB9-F102-45CB-9F25-6C294F31DC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4" y="1675"/>
                  <a:ext cx="129" cy="153"/>
                </a:xfrm>
                <a:custGeom>
                  <a:avLst/>
                  <a:gdLst>
                    <a:gd name="T0" fmla="*/ 17 w 129"/>
                    <a:gd name="T1" fmla="*/ 21 h 153"/>
                    <a:gd name="T2" fmla="*/ 24 w 129"/>
                    <a:gd name="T3" fmla="*/ 16 h 153"/>
                    <a:gd name="T4" fmla="*/ 22 w 129"/>
                    <a:gd name="T5" fmla="*/ 5 h 153"/>
                    <a:gd name="T6" fmla="*/ 31 w 129"/>
                    <a:gd name="T7" fmla="*/ 0 h 153"/>
                    <a:gd name="T8" fmla="*/ 39 w 129"/>
                    <a:gd name="T9" fmla="*/ 10 h 153"/>
                    <a:gd name="T10" fmla="*/ 42 w 129"/>
                    <a:gd name="T11" fmla="*/ 18 h 153"/>
                    <a:gd name="T12" fmla="*/ 57 w 129"/>
                    <a:gd name="T13" fmla="*/ 28 h 153"/>
                    <a:gd name="T14" fmla="*/ 68 w 129"/>
                    <a:gd name="T15" fmla="*/ 28 h 153"/>
                    <a:gd name="T16" fmla="*/ 75 w 129"/>
                    <a:gd name="T17" fmla="*/ 34 h 153"/>
                    <a:gd name="T18" fmla="*/ 80 w 129"/>
                    <a:gd name="T19" fmla="*/ 41 h 153"/>
                    <a:gd name="T20" fmla="*/ 75 w 129"/>
                    <a:gd name="T21" fmla="*/ 49 h 153"/>
                    <a:gd name="T22" fmla="*/ 65 w 129"/>
                    <a:gd name="T23" fmla="*/ 52 h 153"/>
                    <a:gd name="T24" fmla="*/ 65 w 129"/>
                    <a:gd name="T25" fmla="*/ 60 h 153"/>
                    <a:gd name="T26" fmla="*/ 71 w 129"/>
                    <a:gd name="T27" fmla="*/ 67 h 153"/>
                    <a:gd name="T28" fmla="*/ 84 w 129"/>
                    <a:gd name="T29" fmla="*/ 70 h 153"/>
                    <a:gd name="T30" fmla="*/ 96 w 129"/>
                    <a:gd name="T31" fmla="*/ 83 h 153"/>
                    <a:gd name="T32" fmla="*/ 101 w 129"/>
                    <a:gd name="T33" fmla="*/ 95 h 153"/>
                    <a:gd name="T34" fmla="*/ 109 w 129"/>
                    <a:gd name="T35" fmla="*/ 98 h 153"/>
                    <a:gd name="T36" fmla="*/ 114 w 129"/>
                    <a:gd name="T37" fmla="*/ 103 h 153"/>
                    <a:gd name="T38" fmla="*/ 115 w 129"/>
                    <a:gd name="T39" fmla="*/ 108 h 153"/>
                    <a:gd name="T40" fmla="*/ 124 w 129"/>
                    <a:gd name="T41" fmla="*/ 113 h 153"/>
                    <a:gd name="T42" fmla="*/ 125 w 129"/>
                    <a:gd name="T43" fmla="*/ 116 h 153"/>
                    <a:gd name="T44" fmla="*/ 129 w 129"/>
                    <a:gd name="T45" fmla="*/ 122 h 153"/>
                    <a:gd name="T46" fmla="*/ 125 w 129"/>
                    <a:gd name="T47" fmla="*/ 134 h 153"/>
                    <a:gd name="T48" fmla="*/ 124 w 129"/>
                    <a:gd name="T49" fmla="*/ 142 h 153"/>
                    <a:gd name="T50" fmla="*/ 115 w 129"/>
                    <a:gd name="T51" fmla="*/ 140 h 153"/>
                    <a:gd name="T52" fmla="*/ 106 w 129"/>
                    <a:gd name="T53" fmla="*/ 140 h 153"/>
                    <a:gd name="T54" fmla="*/ 109 w 129"/>
                    <a:gd name="T55" fmla="*/ 150 h 153"/>
                    <a:gd name="T56" fmla="*/ 101 w 129"/>
                    <a:gd name="T57" fmla="*/ 147 h 153"/>
                    <a:gd name="T58" fmla="*/ 91 w 129"/>
                    <a:gd name="T59" fmla="*/ 140 h 153"/>
                    <a:gd name="T60" fmla="*/ 96 w 129"/>
                    <a:gd name="T61" fmla="*/ 132 h 153"/>
                    <a:gd name="T62" fmla="*/ 96 w 129"/>
                    <a:gd name="T63" fmla="*/ 124 h 153"/>
                    <a:gd name="T64" fmla="*/ 91 w 129"/>
                    <a:gd name="T65" fmla="*/ 116 h 153"/>
                    <a:gd name="T66" fmla="*/ 86 w 129"/>
                    <a:gd name="T67" fmla="*/ 113 h 153"/>
                    <a:gd name="T68" fmla="*/ 81 w 129"/>
                    <a:gd name="T69" fmla="*/ 104 h 153"/>
                    <a:gd name="T70" fmla="*/ 81 w 129"/>
                    <a:gd name="T71" fmla="*/ 95 h 153"/>
                    <a:gd name="T72" fmla="*/ 76 w 129"/>
                    <a:gd name="T73" fmla="*/ 85 h 153"/>
                    <a:gd name="T74" fmla="*/ 60 w 129"/>
                    <a:gd name="T75" fmla="*/ 73 h 153"/>
                    <a:gd name="T76" fmla="*/ 45 w 129"/>
                    <a:gd name="T77" fmla="*/ 81 h 153"/>
                    <a:gd name="T78" fmla="*/ 34 w 129"/>
                    <a:gd name="T79" fmla="*/ 77 h 153"/>
                    <a:gd name="T80" fmla="*/ 24 w 129"/>
                    <a:gd name="T81" fmla="*/ 83 h 153"/>
                    <a:gd name="T82" fmla="*/ 19 w 129"/>
                    <a:gd name="T83" fmla="*/ 72 h 153"/>
                    <a:gd name="T84" fmla="*/ 21 w 129"/>
                    <a:gd name="T85" fmla="*/ 62 h 153"/>
                    <a:gd name="T86" fmla="*/ 21 w 129"/>
                    <a:gd name="T87" fmla="*/ 52 h 153"/>
                    <a:gd name="T88" fmla="*/ 9 w 129"/>
                    <a:gd name="T89" fmla="*/ 54 h 153"/>
                    <a:gd name="T90" fmla="*/ 8 w 129"/>
                    <a:gd name="T91" fmla="*/ 42 h 153"/>
                    <a:gd name="T92" fmla="*/ 0 w 129"/>
                    <a:gd name="T93" fmla="*/ 36 h 153"/>
                    <a:gd name="T94" fmla="*/ 6 w 129"/>
                    <a:gd name="T95" fmla="*/ 29 h 153"/>
                    <a:gd name="T96" fmla="*/ 6 w 129"/>
                    <a:gd name="T97" fmla="*/ 2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9" h="153">
                      <a:moveTo>
                        <a:pt x="14" y="18"/>
                      </a:moveTo>
                      <a:lnTo>
                        <a:pt x="16" y="19"/>
                      </a:lnTo>
                      <a:lnTo>
                        <a:pt x="17" y="21"/>
                      </a:lnTo>
                      <a:lnTo>
                        <a:pt x="21" y="21"/>
                      </a:lnTo>
                      <a:lnTo>
                        <a:pt x="24" y="21"/>
                      </a:lnTo>
                      <a:lnTo>
                        <a:pt x="24" y="16"/>
                      </a:lnTo>
                      <a:lnTo>
                        <a:pt x="22" y="13"/>
                      </a:lnTo>
                      <a:lnTo>
                        <a:pt x="22" y="10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4" y="0"/>
                      </a:lnTo>
                      <a:lnTo>
                        <a:pt x="31" y="0"/>
                      </a:lnTo>
                      <a:lnTo>
                        <a:pt x="31" y="3"/>
                      </a:lnTo>
                      <a:lnTo>
                        <a:pt x="37" y="5"/>
                      </a:lnTo>
                      <a:lnTo>
                        <a:pt x="39" y="10"/>
                      </a:lnTo>
                      <a:lnTo>
                        <a:pt x="42" y="11"/>
                      </a:lnTo>
                      <a:lnTo>
                        <a:pt x="42" y="14"/>
                      </a:lnTo>
                      <a:lnTo>
                        <a:pt x="42" y="18"/>
                      </a:lnTo>
                      <a:lnTo>
                        <a:pt x="47" y="23"/>
                      </a:lnTo>
                      <a:lnTo>
                        <a:pt x="50" y="28"/>
                      </a:lnTo>
                      <a:lnTo>
                        <a:pt x="57" y="28"/>
                      </a:lnTo>
                      <a:lnTo>
                        <a:pt x="60" y="29"/>
                      </a:lnTo>
                      <a:lnTo>
                        <a:pt x="65" y="28"/>
                      </a:lnTo>
                      <a:lnTo>
                        <a:pt x="68" y="28"/>
                      </a:lnTo>
                      <a:lnTo>
                        <a:pt x="71" y="31"/>
                      </a:lnTo>
                      <a:lnTo>
                        <a:pt x="75" y="31"/>
                      </a:lnTo>
                      <a:lnTo>
                        <a:pt x="75" y="34"/>
                      </a:lnTo>
                      <a:lnTo>
                        <a:pt x="75" y="37"/>
                      </a:lnTo>
                      <a:lnTo>
                        <a:pt x="80" y="39"/>
                      </a:lnTo>
                      <a:lnTo>
                        <a:pt x="80" y="41"/>
                      </a:lnTo>
                      <a:lnTo>
                        <a:pt x="78" y="41"/>
                      </a:lnTo>
                      <a:lnTo>
                        <a:pt x="76" y="47"/>
                      </a:lnTo>
                      <a:lnTo>
                        <a:pt x="75" y="49"/>
                      </a:lnTo>
                      <a:lnTo>
                        <a:pt x="71" y="50"/>
                      </a:lnTo>
                      <a:lnTo>
                        <a:pt x="66" y="52"/>
                      </a:lnTo>
                      <a:lnTo>
                        <a:pt x="65" y="52"/>
                      </a:lnTo>
                      <a:lnTo>
                        <a:pt x="65" y="54"/>
                      </a:lnTo>
                      <a:lnTo>
                        <a:pt x="68" y="59"/>
                      </a:lnTo>
                      <a:lnTo>
                        <a:pt x="65" y="60"/>
                      </a:lnTo>
                      <a:lnTo>
                        <a:pt x="66" y="64"/>
                      </a:lnTo>
                      <a:lnTo>
                        <a:pt x="68" y="64"/>
                      </a:lnTo>
                      <a:lnTo>
                        <a:pt x="71" y="67"/>
                      </a:lnTo>
                      <a:lnTo>
                        <a:pt x="76" y="67"/>
                      </a:lnTo>
                      <a:lnTo>
                        <a:pt x="81" y="70"/>
                      </a:lnTo>
                      <a:lnTo>
                        <a:pt x="84" y="70"/>
                      </a:lnTo>
                      <a:lnTo>
                        <a:pt x="88" y="77"/>
                      </a:lnTo>
                      <a:lnTo>
                        <a:pt x="93" y="78"/>
                      </a:lnTo>
                      <a:lnTo>
                        <a:pt x="96" y="83"/>
                      </a:lnTo>
                      <a:lnTo>
                        <a:pt x="96" y="85"/>
                      </a:lnTo>
                      <a:lnTo>
                        <a:pt x="101" y="91"/>
                      </a:lnTo>
                      <a:lnTo>
                        <a:pt x="101" y="95"/>
                      </a:lnTo>
                      <a:lnTo>
                        <a:pt x="104" y="96"/>
                      </a:lnTo>
                      <a:lnTo>
                        <a:pt x="107" y="96"/>
                      </a:lnTo>
                      <a:lnTo>
                        <a:pt x="109" y="98"/>
                      </a:lnTo>
                      <a:lnTo>
                        <a:pt x="109" y="101"/>
                      </a:lnTo>
                      <a:lnTo>
                        <a:pt x="112" y="103"/>
                      </a:lnTo>
                      <a:lnTo>
                        <a:pt x="114" y="103"/>
                      </a:lnTo>
                      <a:lnTo>
                        <a:pt x="115" y="104"/>
                      </a:lnTo>
                      <a:lnTo>
                        <a:pt x="115" y="106"/>
                      </a:lnTo>
                      <a:lnTo>
                        <a:pt x="115" y="108"/>
                      </a:lnTo>
                      <a:lnTo>
                        <a:pt x="120" y="109"/>
                      </a:lnTo>
                      <a:lnTo>
                        <a:pt x="122" y="111"/>
                      </a:lnTo>
                      <a:lnTo>
                        <a:pt x="124" y="113"/>
                      </a:lnTo>
                      <a:lnTo>
                        <a:pt x="127" y="111"/>
                      </a:lnTo>
                      <a:lnTo>
                        <a:pt x="127" y="113"/>
                      </a:lnTo>
                      <a:lnTo>
                        <a:pt x="125" y="116"/>
                      </a:lnTo>
                      <a:lnTo>
                        <a:pt x="125" y="119"/>
                      </a:lnTo>
                      <a:lnTo>
                        <a:pt x="125" y="121"/>
                      </a:lnTo>
                      <a:lnTo>
                        <a:pt x="129" y="122"/>
                      </a:lnTo>
                      <a:lnTo>
                        <a:pt x="129" y="126"/>
                      </a:lnTo>
                      <a:lnTo>
                        <a:pt x="124" y="129"/>
                      </a:lnTo>
                      <a:lnTo>
                        <a:pt x="125" y="134"/>
                      </a:lnTo>
                      <a:lnTo>
                        <a:pt x="125" y="135"/>
                      </a:lnTo>
                      <a:lnTo>
                        <a:pt x="125" y="140"/>
                      </a:lnTo>
                      <a:lnTo>
                        <a:pt x="124" y="142"/>
                      </a:lnTo>
                      <a:lnTo>
                        <a:pt x="120" y="142"/>
                      </a:lnTo>
                      <a:lnTo>
                        <a:pt x="117" y="140"/>
                      </a:lnTo>
                      <a:lnTo>
                        <a:pt x="115" y="140"/>
                      </a:lnTo>
                      <a:lnTo>
                        <a:pt x="114" y="137"/>
                      </a:lnTo>
                      <a:lnTo>
                        <a:pt x="107" y="139"/>
                      </a:lnTo>
                      <a:lnTo>
                        <a:pt x="106" y="140"/>
                      </a:lnTo>
                      <a:lnTo>
                        <a:pt x="109" y="145"/>
                      </a:lnTo>
                      <a:lnTo>
                        <a:pt x="107" y="147"/>
                      </a:lnTo>
                      <a:lnTo>
                        <a:pt x="109" y="150"/>
                      </a:lnTo>
                      <a:lnTo>
                        <a:pt x="109" y="153"/>
                      </a:lnTo>
                      <a:lnTo>
                        <a:pt x="104" y="150"/>
                      </a:lnTo>
                      <a:lnTo>
                        <a:pt x="101" y="147"/>
                      </a:lnTo>
                      <a:lnTo>
                        <a:pt x="96" y="145"/>
                      </a:lnTo>
                      <a:lnTo>
                        <a:pt x="94" y="144"/>
                      </a:lnTo>
                      <a:lnTo>
                        <a:pt x="91" y="140"/>
                      </a:lnTo>
                      <a:lnTo>
                        <a:pt x="93" y="140"/>
                      </a:lnTo>
                      <a:lnTo>
                        <a:pt x="96" y="137"/>
                      </a:lnTo>
                      <a:lnTo>
                        <a:pt x="96" y="132"/>
                      </a:lnTo>
                      <a:lnTo>
                        <a:pt x="94" y="129"/>
                      </a:lnTo>
                      <a:lnTo>
                        <a:pt x="96" y="126"/>
                      </a:lnTo>
                      <a:lnTo>
                        <a:pt x="96" y="124"/>
                      </a:lnTo>
                      <a:lnTo>
                        <a:pt x="96" y="121"/>
                      </a:lnTo>
                      <a:lnTo>
                        <a:pt x="96" y="119"/>
                      </a:lnTo>
                      <a:lnTo>
                        <a:pt x="91" y="116"/>
                      </a:lnTo>
                      <a:lnTo>
                        <a:pt x="93" y="114"/>
                      </a:lnTo>
                      <a:lnTo>
                        <a:pt x="89" y="113"/>
                      </a:lnTo>
                      <a:lnTo>
                        <a:pt x="86" y="113"/>
                      </a:lnTo>
                      <a:lnTo>
                        <a:pt x="83" y="109"/>
                      </a:lnTo>
                      <a:lnTo>
                        <a:pt x="81" y="106"/>
                      </a:lnTo>
                      <a:lnTo>
                        <a:pt x="81" y="104"/>
                      </a:lnTo>
                      <a:lnTo>
                        <a:pt x="81" y="99"/>
                      </a:lnTo>
                      <a:lnTo>
                        <a:pt x="80" y="96"/>
                      </a:lnTo>
                      <a:lnTo>
                        <a:pt x="81" y="95"/>
                      </a:lnTo>
                      <a:lnTo>
                        <a:pt x="81" y="91"/>
                      </a:lnTo>
                      <a:lnTo>
                        <a:pt x="80" y="88"/>
                      </a:lnTo>
                      <a:lnTo>
                        <a:pt x="76" y="85"/>
                      </a:lnTo>
                      <a:lnTo>
                        <a:pt x="70" y="80"/>
                      </a:lnTo>
                      <a:lnTo>
                        <a:pt x="66" y="75"/>
                      </a:lnTo>
                      <a:lnTo>
                        <a:pt x="60" y="73"/>
                      </a:lnTo>
                      <a:lnTo>
                        <a:pt x="55" y="75"/>
                      </a:lnTo>
                      <a:lnTo>
                        <a:pt x="52" y="81"/>
                      </a:lnTo>
                      <a:lnTo>
                        <a:pt x="45" y="81"/>
                      </a:lnTo>
                      <a:lnTo>
                        <a:pt x="42" y="78"/>
                      </a:lnTo>
                      <a:lnTo>
                        <a:pt x="39" y="78"/>
                      </a:lnTo>
                      <a:lnTo>
                        <a:pt x="34" y="77"/>
                      </a:lnTo>
                      <a:lnTo>
                        <a:pt x="29" y="78"/>
                      </a:lnTo>
                      <a:lnTo>
                        <a:pt x="27" y="81"/>
                      </a:lnTo>
                      <a:lnTo>
                        <a:pt x="24" y="83"/>
                      </a:lnTo>
                      <a:lnTo>
                        <a:pt x="19" y="85"/>
                      </a:lnTo>
                      <a:lnTo>
                        <a:pt x="19" y="77"/>
                      </a:lnTo>
                      <a:lnTo>
                        <a:pt x="19" y="72"/>
                      </a:lnTo>
                      <a:lnTo>
                        <a:pt x="17" y="67"/>
                      </a:lnTo>
                      <a:lnTo>
                        <a:pt x="21" y="65"/>
                      </a:lnTo>
                      <a:lnTo>
                        <a:pt x="21" y="62"/>
                      </a:lnTo>
                      <a:lnTo>
                        <a:pt x="19" y="59"/>
                      </a:lnTo>
                      <a:lnTo>
                        <a:pt x="21" y="55"/>
                      </a:lnTo>
                      <a:lnTo>
                        <a:pt x="21" y="52"/>
                      </a:lnTo>
                      <a:lnTo>
                        <a:pt x="14" y="52"/>
                      </a:lnTo>
                      <a:lnTo>
                        <a:pt x="11" y="55"/>
                      </a:lnTo>
                      <a:lnTo>
                        <a:pt x="9" y="54"/>
                      </a:lnTo>
                      <a:lnTo>
                        <a:pt x="6" y="49"/>
                      </a:lnTo>
                      <a:lnTo>
                        <a:pt x="9" y="47"/>
                      </a:lnTo>
                      <a:lnTo>
                        <a:pt x="8" y="42"/>
                      </a:lnTo>
                      <a:lnTo>
                        <a:pt x="6" y="39"/>
                      </a:lnTo>
                      <a:lnTo>
                        <a:pt x="1" y="39"/>
                      </a:lnTo>
                      <a:lnTo>
                        <a:pt x="0" y="36"/>
                      </a:lnTo>
                      <a:lnTo>
                        <a:pt x="1" y="31"/>
                      </a:lnTo>
                      <a:lnTo>
                        <a:pt x="3" y="31"/>
                      </a:lnTo>
                      <a:lnTo>
                        <a:pt x="6" y="29"/>
                      </a:lnTo>
                      <a:lnTo>
                        <a:pt x="4" y="26"/>
                      </a:lnTo>
                      <a:lnTo>
                        <a:pt x="6" y="24"/>
                      </a:lnTo>
                      <a:lnTo>
                        <a:pt x="6" y="21"/>
                      </a:lnTo>
                      <a:lnTo>
                        <a:pt x="11" y="19"/>
                      </a:lnTo>
                      <a:lnTo>
                        <a:pt x="14" y="1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89" name="Freeform 178">
                  <a:extLst>
                    <a:ext uri="{FF2B5EF4-FFF2-40B4-BE49-F238E27FC236}">
                      <a16:creationId xmlns:a16="http://schemas.microsoft.com/office/drawing/2014/main" xmlns="" id="{190377B8-7ED2-41EC-B7B2-8AB3C39DC7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6" y="1711"/>
                  <a:ext cx="134" cy="255"/>
                </a:xfrm>
                <a:custGeom>
                  <a:avLst/>
                  <a:gdLst>
                    <a:gd name="T0" fmla="*/ 29 w 82"/>
                    <a:gd name="T1" fmla="*/ 7 h 156"/>
                    <a:gd name="T2" fmla="*/ 36 w 82"/>
                    <a:gd name="T3" fmla="*/ 10 h 156"/>
                    <a:gd name="T4" fmla="*/ 34 w 82"/>
                    <a:gd name="T5" fmla="*/ 19 h 156"/>
                    <a:gd name="T6" fmla="*/ 40 w 82"/>
                    <a:gd name="T7" fmla="*/ 28 h 156"/>
                    <a:gd name="T8" fmla="*/ 51 w 82"/>
                    <a:gd name="T9" fmla="*/ 28 h 156"/>
                    <a:gd name="T10" fmla="*/ 66 w 82"/>
                    <a:gd name="T11" fmla="*/ 27 h 156"/>
                    <a:gd name="T12" fmla="*/ 72 w 82"/>
                    <a:gd name="T13" fmla="*/ 37 h 156"/>
                    <a:gd name="T14" fmla="*/ 76 w 82"/>
                    <a:gd name="T15" fmla="*/ 47 h 156"/>
                    <a:gd name="T16" fmla="*/ 82 w 82"/>
                    <a:gd name="T17" fmla="*/ 52 h 156"/>
                    <a:gd name="T18" fmla="*/ 82 w 82"/>
                    <a:gd name="T19" fmla="*/ 62 h 156"/>
                    <a:gd name="T20" fmla="*/ 72 w 82"/>
                    <a:gd name="T21" fmla="*/ 63 h 156"/>
                    <a:gd name="T22" fmla="*/ 59 w 82"/>
                    <a:gd name="T23" fmla="*/ 65 h 156"/>
                    <a:gd name="T24" fmla="*/ 52 w 82"/>
                    <a:gd name="T25" fmla="*/ 77 h 156"/>
                    <a:gd name="T26" fmla="*/ 55 w 82"/>
                    <a:gd name="T27" fmla="*/ 89 h 156"/>
                    <a:gd name="T28" fmla="*/ 52 w 82"/>
                    <a:gd name="T29" fmla="*/ 88 h 156"/>
                    <a:gd name="T30" fmla="*/ 46 w 82"/>
                    <a:gd name="T31" fmla="*/ 83 h 156"/>
                    <a:gd name="T32" fmla="*/ 42 w 82"/>
                    <a:gd name="T33" fmla="*/ 84 h 156"/>
                    <a:gd name="T34" fmla="*/ 38 w 82"/>
                    <a:gd name="T35" fmla="*/ 82 h 156"/>
                    <a:gd name="T36" fmla="*/ 36 w 82"/>
                    <a:gd name="T37" fmla="*/ 76 h 156"/>
                    <a:gd name="T38" fmla="*/ 31 w 82"/>
                    <a:gd name="T39" fmla="*/ 76 h 156"/>
                    <a:gd name="T40" fmla="*/ 28 w 82"/>
                    <a:gd name="T41" fmla="*/ 76 h 156"/>
                    <a:gd name="T42" fmla="*/ 29 w 82"/>
                    <a:gd name="T43" fmla="*/ 84 h 156"/>
                    <a:gd name="T44" fmla="*/ 27 w 82"/>
                    <a:gd name="T45" fmla="*/ 92 h 156"/>
                    <a:gd name="T46" fmla="*/ 22 w 82"/>
                    <a:gd name="T47" fmla="*/ 109 h 156"/>
                    <a:gd name="T48" fmla="*/ 23 w 82"/>
                    <a:gd name="T49" fmla="*/ 114 h 156"/>
                    <a:gd name="T50" fmla="*/ 26 w 82"/>
                    <a:gd name="T51" fmla="*/ 120 h 156"/>
                    <a:gd name="T52" fmla="*/ 30 w 82"/>
                    <a:gd name="T53" fmla="*/ 120 h 156"/>
                    <a:gd name="T54" fmla="*/ 33 w 82"/>
                    <a:gd name="T55" fmla="*/ 128 h 156"/>
                    <a:gd name="T56" fmla="*/ 35 w 82"/>
                    <a:gd name="T57" fmla="*/ 129 h 156"/>
                    <a:gd name="T58" fmla="*/ 36 w 82"/>
                    <a:gd name="T59" fmla="*/ 137 h 156"/>
                    <a:gd name="T60" fmla="*/ 37 w 82"/>
                    <a:gd name="T61" fmla="*/ 138 h 156"/>
                    <a:gd name="T62" fmla="*/ 43 w 82"/>
                    <a:gd name="T63" fmla="*/ 145 h 156"/>
                    <a:gd name="T64" fmla="*/ 50 w 82"/>
                    <a:gd name="T65" fmla="*/ 150 h 156"/>
                    <a:gd name="T66" fmla="*/ 50 w 82"/>
                    <a:gd name="T67" fmla="*/ 155 h 156"/>
                    <a:gd name="T68" fmla="*/ 43 w 82"/>
                    <a:gd name="T69" fmla="*/ 154 h 156"/>
                    <a:gd name="T70" fmla="*/ 40 w 82"/>
                    <a:gd name="T71" fmla="*/ 147 h 156"/>
                    <a:gd name="T72" fmla="*/ 33 w 82"/>
                    <a:gd name="T73" fmla="*/ 147 h 156"/>
                    <a:gd name="T74" fmla="*/ 29 w 82"/>
                    <a:gd name="T75" fmla="*/ 141 h 156"/>
                    <a:gd name="T76" fmla="*/ 22 w 82"/>
                    <a:gd name="T77" fmla="*/ 135 h 156"/>
                    <a:gd name="T78" fmla="*/ 19 w 82"/>
                    <a:gd name="T79" fmla="*/ 128 h 156"/>
                    <a:gd name="T80" fmla="*/ 14 w 82"/>
                    <a:gd name="T81" fmla="*/ 126 h 156"/>
                    <a:gd name="T82" fmla="*/ 17 w 82"/>
                    <a:gd name="T83" fmla="*/ 118 h 156"/>
                    <a:gd name="T84" fmla="*/ 18 w 82"/>
                    <a:gd name="T85" fmla="*/ 111 h 156"/>
                    <a:gd name="T86" fmla="*/ 19 w 82"/>
                    <a:gd name="T87" fmla="*/ 102 h 156"/>
                    <a:gd name="T88" fmla="*/ 24 w 82"/>
                    <a:gd name="T89" fmla="*/ 88 h 156"/>
                    <a:gd name="T90" fmla="*/ 22 w 82"/>
                    <a:gd name="T91" fmla="*/ 78 h 156"/>
                    <a:gd name="T92" fmla="*/ 15 w 82"/>
                    <a:gd name="T93" fmla="*/ 65 h 156"/>
                    <a:gd name="T94" fmla="*/ 13 w 82"/>
                    <a:gd name="T95" fmla="*/ 54 h 156"/>
                    <a:gd name="T96" fmla="*/ 13 w 82"/>
                    <a:gd name="T97" fmla="*/ 43 h 156"/>
                    <a:gd name="T98" fmla="*/ 5 w 82"/>
                    <a:gd name="T99" fmla="*/ 31 h 156"/>
                    <a:gd name="T100" fmla="*/ 0 w 82"/>
                    <a:gd name="T101" fmla="*/ 23 h 156"/>
                    <a:gd name="T102" fmla="*/ 5 w 82"/>
                    <a:gd name="T103" fmla="*/ 15 h 156"/>
                    <a:gd name="T104" fmla="*/ 14 w 82"/>
                    <a:gd name="T105" fmla="*/ 9 h 156"/>
                    <a:gd name="T106" fmla="*/ 19 w 82"/>
                    <a:gd name="T107" fmla="*/ 4 h 156"/>
                    <a:gd name="T108" fmla="*/ 23 w 82"/>
                    <a:gd name="T109" fmla="*/ 0 h 156"/>
                    <a:gd name="T110" fmla="*/ 29 w 82"/>
                    <a:gd name="T111" fmla="*/ 146 h 156"/>
                    <a:gd name="T112" fmla="*/ 23 w 82"/>
                    <a:gd name="T113" fmla="*/ 136 h 156"/>
                    <a:gd name="T114" fmla="*/ 15 w 82"/>
                    <a:gd name="T115" fmla="*/ 135 h 156"/>
                    <a:gd name="T116" fmla="*/ 51 w 82"/>
                    <a:gd name="T117" fmla="*/ 90 h 156"/>
                    <a:gd name="T118" fmla="*/ 30 w 82"/>
                    <a:gd name="T119" fmla="*/ 114 h 156"/>
                    <a:gd name="T120" fmla="*/ 31 w 82"/>
                    <a:gd name="T121" fmla="*/ 117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2" h="156">
                      <a:moveTo>
                        <a:pt x="23" y="0"/>
                      </a:moveTo>
                      <a:cubicBezTo>
                        <a:pt x="24" y="2"/>
                        <a:pt x="24" y="2"/>
                        <a:pt x="24" y="2"/>
                      </a:cubicBezTo>
                      <a:cubicBezTo>
                        <a:pt x="27" y="2"/>
                        <a:pt x="27" y="2"/>
                        <a:pt x="27" y="2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9" y="7"/>
                        <a:pt x="29" y="7"/>
                        <a:pt x="29" y="7"/>
                      </a:cubicBezTo>
                      <a:cubicBezTo>
                        <a:pt x="27" y="8"/>
                        <a:pt x="27" y="8"/>
                        <a:pt x="27" y="8"/>
                      </a:cubicBezTo>
                      <a:cubicBezTo>
                        <a:pt x="29" y="11"/>
                        <a:pt x="29" y="11"/>
                        <a:pt x="29" y="11"/>
                      </a:cubicBezTo>
                      <a:cubicBezTo>
                        <a:pt x="30" y="12"/>
                        <a:pt x="30" y="12"/>
                        <a:pt x="30" y="12"/>
                      </a:cubicBezTo>
                      <a:cubicBezTo>
                        <a:pt x="32" y="10"/>
                        <a:pt x="32" y="10"/>
                        <a:pt x="32" y="10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35" y="14"/>
                        <a:pt x="35" y="14"/>
                        <a:pt x="35" y="14"/>
                      </a:cubicBezTo>
                      <a:cubicBezTo>
                        <a:pt x="36" y="16"/>
                        <a:pt x="36" y="16"/>
                        <a:pt x="36" y="16"/>
                      </a:cubicBezTo>
                      <a:cubicBezTo>
                        <a:pt x="36" y="18"/>
                        <a:pt x="36" y="18"/>
                        <a:pt x="36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5" y="22"/>
                        <a:pt x="35" y="22"/>
                        <a:pt x="35" y="22"/>
                      </a:cubicBezTo>
                      <a:cubicBezTo>
                        <a:pt x="35" y="25"/>
                        <a:pt x="35" y="25"/>
                        <a:pt x="35" y="25"/>
                      </a:cubicBezTo>
                      <a:cubicBezTo>
                        <a:pt x="35" y="30"/>
                        <a:pt x="35" y="30"/>
                        <a:pt x="35" y="30"/>
                      </a:cubicBezTo>
                      <a:cubicBezTo>
                        <a:pt x="38" y="29"/>
                        <a:pt x="38" y="29"/>
                        <a:pt x="38" y="29"/>
                      </a:cubicBezTo>
                      <a:cubicBezTo>
                        <a:pt x="40" y="28"/>
                        <a:pt x="40" y="28"/>
                        <a:pt x="40" y="28"/>
                      </a:cubicBezTo>
                      <a:cubicBezTo>
                        <a:pt x="41" y="26"/>
                        <a:pt x="41" y="26"/>
                        <a:pt x="41" y="26"/>
                      </a:cubicBez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7" y="26"/>
                        <a:pt x="47" y="26"/>
                        <a:pt x="47" y="26"/>
                      </a:cubicBezTo>
                      <a:cubicBezTo>
                        <a:pt x="49" y="26"/>
                        <a:pt x="49" y="26"/>
                        <a:pt x="49" y="26"/>
                      </a:cubicBez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5" y="28"/>
                        <a:pt x="55" y="28"/>
                        <a:pt x="55" y="28"/>
                      </a:cubicBezTo>
                      <a:cubicBezTo>
                        <a:pt x="57" y="24"/>
                        <a:pt x="57" y="24"/>
                        <a:pt x="57" y="24"/>
                      </a:cubicBezTo>
                      <a:cubicBezTo>
                        <a:pt x="60" y="23"/>
                        <a:pt x="60" y="23"/>
                        <a:pt x="60" y="23"/>
                      </a:cubicBezTo>
                      <a:cubicBezTo>
                        <a:pt x="64" y="24"/>
                        <a:pt x="64" y="24"/>
                        <a:pt x="64" y="24"/>
                      </a:cubicBezTo>
                      <a:cubicBezTo>
                        <a:pt x="66" y="27"/>
                        <a:pt x="66" y="27"/>
                        <a:pt x="66" y="27"/>
                      </a:cubicBezTo>
                      <a:cubicBezTo>
                        <a:pt x="70" y="30"/>
                        <a:pt x="70" y="30"/>
                        <a:pt x="70" y="30"/>
                      </a:cubicBezTo>
                      <a:cubicBezTo>
                        <a:pt x="72" y="32"/>
                        <a:pt x="72" y="32"/>
                        <a:pt x="72" y="32"/>
                      </a:cubicBezTo>
                      <a:cubicBezTo>
                        <a:pt x="73" y="34"/>
                        <a:pt x="73" y="34"/>
                        <a:pt x="73" y="34"/>
                      </a:cubicBezTo>
                      <a:cubicBezTo>
                        <a:pt x="73" y="36"/>
                        <a:pt x="73" y="36"/>
                        <a:pt x="73" y="36"/>
                      </a:cubicBezTo>
                      <a:cubicBezTo>
                        <a:pt x="72" y="37"/>
                        <a:pt x="72" y="37"/>
                        <a:pt x="72" y="37"/>
                      </a:cubicBezTo>
                      <a:cubicBezTo>
                        <a:pt x="73" y="39"/>
                        <a:pt x="73" y="39"/>
                        <a:pt x="73" y="39"/>
                      </a:cubicBezTo>
                      <a:cubicBezTo>
                        <a:pt x="73" y="42"/>
                        <a:pt x="73" y="42"/>
                        <a:pt x="73" y="42"/>
                      </a:cubicBezTo>
                      <a:cubicBezTo>
                        <a:pt x="73" y="43"/>
                        <a:pt x="73" y="43"/>
                        <a:pt x="73" y="43"/>
                      </a:cubicBezTo>
                      <a:cubicBezTo>
                        <a:pt x="74" y="45"/>
                        <a:pt x="74" y="45"/>
                        <a:pt x="74" y="45"/>
                      </a:cubicBezTo>
                      <a:cubicBezTo>
                        <a:pt x="76" y="47"/>
                        <a:pt x="76" y="47"/>
                        <a:pt x="76" y="47"/>
                      </a:cubicBezTo>
                      <a:cubicBezTo>
                        <a:pt x="78" y="47"/>
                        <a:pt x="78" y="47"/>
                        <a:pt x="78" y="47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79" y="49"/>
                        <a:pt x="79" y="49"/>
                        <a:pt x="79" y="49"/>
                      </a:cubicBezTo>
                      <a:cubicBezTo>
                        <a:pt x="82" y="51"/>
                        <a:pt x="82" y="51"/>
                        <a:pt x="82" y="51"/>
                      </a:cubicBezTo>
                      <a:cubicBezTo>
                        <a:pt x="82" y="52"/>
                        <a:pt x="82" y="52"/>
                        <a:pt x="82" y="52"/>
                      </a:cubicBezTo>
                      <a:cubicBezTo>
                        <a:pt x="82" y="54"/>
                        <a:pt x="82" y="54"/>
                        <a:pt x="82" y="54"/>
                      </a:cubicBezTo>
                      <a:cubicBezTo>
                        <a:pt x="82" y="55"/>
                        <a:pt x="82" y="55"/>
                        <a:pt x="82" y="55"/>
                      </a:cubicBezTo>
                      <a:cubicBezTo>
                        <a:pt x="81" y="57"/>
                        <a:pt x="81" y="57"/>
                        <a:pt x="81" y="57"/>
                      </a:cubicBezTo>
                      <a:cubicBezTo>
                        <a:pt x="82" y="59"/>
                        <a:pt x="82" y="59"/>
                        <a:pt x="82" y="59"/>
                      </a:cubicBezTo>
                      <a:cubicBezTo>
                        <a:pt x="82" y="62"/>
                        <a:pt x="82" y="62"/>
                        <a:pt x="82" y="62"/>
                      </a:cubicBezTo>
                      <a:cubicBezTo>
                        <a:pt x="80" y="64"/>
                        <a:pt x="80" y="64"/>
                        <a:pt x="80" y="64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6" y="64"/>
                        <a:pt x="76" y="64"/>
                        <a:pt x="76" y="64"/>
                      </a:cubicBezTo>
                      <a:cubicBezTo>
                        <a:pt x="74" y="64"/>
                        <a:pt x="74" y="64"/>
                        <a:pt x="74" y="64"/>
                      </a:cubicBezTo>
                      <a:cubicBezTo>
                        <a:pt x="72" y="63"/>
                        <a:pt x="72" y="63"/>
                        <a:pt x="72" y="63"/>
                      </a:cubicBezTo>
                      <a:cubicBezTo>
                        <a:pt x="69" y="63"/>
                        <a:pt x="69" y="63"/>
                        <a:pt x="69" y="63"/>
                      </a:cubicBezTo>
                      <a:cubicBezTo>
                        <a:pt x="67" y="64"/>
                        <a:pt x="67" y="64"/>
                        <a:pt x="67" y="64"/>
                      </a:cubicBez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59" y="65"/>
                        <a:pt x="59" y="65"/>
                        <a:pt x="59" y="65"/>
                      </a:cubicBezTo>
                      <a:cubicBezTo>
                        <a:pt x="57" y="65"/>
                        <a:pt x="57" y="65"/>
                        <a:pt x="57" y="65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4" y="71"/>
                        <a:pt x="54" y="71"/>
                        <a:pt x="54" y="71"/>
                      </a:cubicBezTo>
                      <a:cubicBezTo>
                        <a:pt x="52" y="73"/>
                        <a:pt x="52" y="73"/>
                        <a:pt x="52" y="73"/>
                      </a:cubicBezTo>
                      <a:cubicBezTo>
                        <a:pt x="52" y="77"/>
                        <a:pt x="52" y="77"/>
                        <a:pt x="52" y="77"/>
                      </a:cubicBezTo>
                      <a:cubicBezTo>
                        <a:pt x="53" y="81"/>
                        <a:pt x="53" y="81"/>
                        <a:pt x="53" y="81"/>
                      </a:cubicBezTo>
                      <a:cubicBezTo>
                        <a:pt x="55" y="82"/>
                        <a:pt x="55" y="82"/>
                        <a:pt x="55" y="82"/>
                      </a:cubicBezTo>
                      <a:cubicBezTo>
                        <a:pt x="56" y="84"/>
                        <a:pt x="56" y="84"/>
                        <a:pt x="56" y="84"/>
                      </a:cubicBezTo>
                      <a:cubicBezTo>
                        <a:pt x="55" y="87"/>
                        <a:pt x="55" y="87"/>
                        <a:pt x="55" y="87"/>
                      </a:cubicBezTo>
                      <a:cubicBezTo>
                        <a:pt x="55" y="89"/>
                        <a:pt x="55" y="89"/>
                        <a:pt x="55" y="89"/>
                      </a:cubicBezTo>
                      <a:cubicBezTo>
                        <a:pt x="54" y="89"/>
                        <a:pt x="54" y="89"/>
                        <a:pt x="54" y="89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2" y="88"/>
                        <a:pt x="52" y="88"/>
                        <a:pt x="52" y="88"/>
                      </a:cubicBezTo>
                      <a:cubicBezTo>
                        <a:pt x="51" y="88"/>
                        <a:pt x="51" y="88"/>
                        <a:pt x="51" y="88"/>
                      </a:cubicBezTo>
                      <a:cubicBezTo>
                        <a:pt x="51" y="87"/>
                        <a:pt x="51" y="87"/>
                        <a:pt x="51" y="87"/>
                      </a:cubicBezTo>
                      <a:cubicBezTo>
                        <a:pt x="50" y="87"/>
                        <a:pt x="50" y="87"/>
                        <a:pt x="50" y="87"/>
                      </a:cubicBezTo>
                      <a:cubicBezTo>
                        <a:pt x="47" y="84"/>
                        <a:pt x="47" y="84"/>
                        <a:pt x="47" y="84"/>
                      </a:cubicBezTo>
                      <a:cubicBezTo>
                        <a:pt x="46" y="83"/>
                        <a:pt x="46" y="83"/>
                        <a:pt x="46" y="83"/>
                      </a:cubicBezTo>
                      <a:cubicBezTo>
                        <a:pt x="45" y="84"/>
                        <a:pt x="45" y="84"/>
                        <a:pt x="45" y="84"/>
                      </a:cubicBezTo>
                      <a:cubicBezTo>
                        <a:pt x="45" y="85"/>
                        <a:pt x="45" y="85"/>
                        <a:pt x="45" y="85"/>
                      </a:cubicBezTo>
                      <a:cubicBezTo>
                        <a:pt x="45" y="85"/>
                        <a:pt x="45" y="85"/>
                        <a:pt x="45" y="85"/>
                      </a:cubicBezTo>
                      <a:cubicBezTo>
                        <a:pt x="44" y="85"/>
                        <a:pt x="44" y="85"/>
                        <a:pt x="44" y="85"/>
                      </a:cubicBezTo>
                      <a:cubicBezTo>
                        <a:pt x="42" y="84"/>
                        <a:pt x="42" y="84"/>
                        <a:pt x="42" y="84"/>
                      </a:cubicBezTo>
                      <a:cubicBezTo>
                        <a:pt x="40" y="85"/>
                        <a:pt x="40" y="85"/>
                        <a:pt x="40" y="85"/>
                      </a:cubicBezTo>
                      <a:cubicBezTo>
                        <a:pt x="38" y="84"/>
                        <a:pt x="38" y="84"/>
                        <a:pt x="38" y="84"/>
                      </a:cubicBezTo>
                      <a:cubicBezTo>
                        <a:pt x="37" y="84"/>
                        <a:pt x="37" y="84"/>
                        <a:pt x="37" y="84"/>
                      </a:cubicBezTo>
                      <a:cubicBezTo>
                        <a:pt x="37" y="83"/>
                        <a:pt x="37" y="83"/>
                        <a:pt x="37" y="83"/>
                      </a:cubicBezTo>
                      <a:cubicBezTo>
                        <a:pt x="38" y="82"/>
                        <a:pt x="38" y="82"/>
                        <a:pt x="38" y="82"/>
                      </a:cubicBezTo>
                      <a:cubicBezTo>
                        <a:pt x="37" y="80"/>
                        <a:pt x="37" y="80"/>
                        <a:pt x="37" y="80"/>
                      </a:cubicBezTo>
                      <a:cubicBezTo>
                        <a:pt x="37" y="78"/>
                        <a:pt x="37" y="78"/>
                        <a:pt x="37" y="78"/>
                      </a:cubicBezTo>
                      <a:cubicBezTo>
                        <a:pt x="38" y="77"/>
                        <a:pt x="38" y="77"/>
                        <a:pt x="38" y="77"/>
                      </a:cubicBezTo>
                      <a:cubicBezTo>
                        <a:pt x="37" y="76"/>
                        <a:pt x="37" y="76"/>
                        <a:pt x="37" y="76"/>
                      </a:cubicBezTo>
                      <a:cubicBezTo>
                        <a:pt x="36" y="76"/>
                        <a:pt x="36" y="76"/>
                        <a:pt x="36" y="76"/>
                      </a:cubicBezTo>
                      <a:cubicBezTo>
                        <a:pt x="35" y="75"/>
                        <a:pt x="35" y="75"/>
                        <a:pt x="35" y="75"/>
                      </a:cubicBezTo>
                      <a:cubicBezTo>
                        <a:pt x="35" y="76"/>
                        <a:pt x="35" y="76"/>
                        <a:pt x="35" y="76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3" y="76"/>
                        <a:pt x="33" y="76"/>
                        <a:pt x="33" y="76"/>
                      </a:cubicBezTo>
                      <a:cubicBezTo>
                        <a:pt x="31" y="76"/>
                        <a:pt x="31" y="76"/>
                        <a:pt x="31" y="76"/>
                      </a:cubicBezTo>
                      <a:cubicBezTo>
                        <a:pt x="31" y="75"/>
                        <a:pt x="31" y="75"/>
                        <a:pt x="31" y="75"/>
                      </a:cubicBezTo>
                      <a:cubicBezTo>
                        <a:pt x="30" y="76"/>
                        <a:pt x="30" y="76"/>
                        <a:pt x="30" y="76"/>
                      </a:cubicBezTo>
                      <a:cubicBezTo>
                        <a:pt x="29" y="76"/>
                        <a:pt x="29" y="76"/>
                        <a:pt x="29" y="76"/>
                      </a:cubicBezTo>
                      <a:cubicBezTo>
                        <a:pt x="28" y="76"/>
                        <a:pt x="28" y="76"/>
                        <a:pt x="28" y="76"/>
                      </a:cubicBezTo>
                      <a:cubicBezTo>
                        <a:pt x="28" y="76"/>
                        <a:pt x="28" y="76"/>
                        <a:pt x="28" y="76"/>
                      </a:cubicBezTo>
                      <a:cubicBezTo>
                        <a:pt x="28" y="78"/>
                        <a:pt x="28" y="78"/>
                        <a:pt x="28" y="78"/>
                      </a:cubicBezTo>
                      <a:cubicBezTo>
                        <a:pt x="30" y="78"/>
                        <a:pt x="30" y="78"/>
                        <a:pt x="30" y="78"/>
                      </a:cubicBezTo>
                      <a:cubicBezTo>
                        <a:pt x="30" y="80"/>
                        <a:pt x="30" y="80"/>
                        <a:pt x="30" y="80"/>
                      </a:cubicBezTo>
                      <a:cubicBezTo>
                        <a:pt x="29" y="82"/>
                        <a:pt x="29" y="82"/>
                        <a:pt x="29" y="82"/>
                      </a:cubicBezTo>
                      <a:cubicBezTo>
                        <a:pt x="29" y="84"/>
                        <a:pt x="29" y="84"/>
                        <a:pt x="29" y="84"/>
                      </a:cubicBezTo>
                      <a:cubicBezTo>
                        <a:pt x="29" y="85"/>
                        <a:pt x="29" y="85"/>
                        <a:pt x="29" y="85"/>
                      </a:cubicBezTo>
                      <a:cubicBezTo>
                        <a:pt x="29" y="86"/>
                        <a:pt x="29" y="86"/>
                        <a:pt x="29" y="86"/>
                      </a:cubicBezTo>
                      <a:cubicBezTo>
                        <a:pt x="29" y="89"/>
                        <a:pt x="29" y="89"/>
                        <a:pt x="29" y="89"/>
                      </a:cubicBezTo>
                      <a:cubicBezTo>
                        <a:pt x="28" y="90"/>
                        <a:pt x="28" y="90"/>
                        <a:pt x="28" y="90"/>
                      </a:cubicBezTo>
                      <a:cubicBezTo>
                        <a:pt x="27" y="92"/>
                        <a:pt x="27" y="92"/>
                        <a:pt x="27" y="92"/>
                      </a:cubicBezTo>
                      <a:cubicBezTo>
                        <a:pt x="26" y="95"/>
                        <a:pt x="26" y="95"/>
                        <a:pt x="26" y="95"/>
                      </a:cubicBezTo>
                      <a:cubicBezTo>
                        <a:pt x="25" y="102"/>
                        <a:pt x="25" y="102"/>
                        <a:pt x="25" y="102"/>
                      </a:cubicBezTo>
                      <a:cubicBezTo>
                        <a:pt x="23" y="105"/>
                        <a:pt x="23" y="105"/>
                        <a:pt x="23" y="105"/>
                      </a:cubicBezTo>
                      <a:cubicBezTo>
                        <a:pt x="23" y="107"/>
                        <a:pt x="23" y="107"/>
                        <a:pt x="23" y="107"/>
                      </a:cubicBezTo>
                      <a:cubicBezTo>
                        <a:pt x="22" y="109"/>
                        <a:pt x="22" y="109"/>
                        <a:pt x="22" y="109"/>
                      </a:cubicBezTo>
                      <a:cubicBezTo>
                        <a:pt x="23" y="109"/>
                        <a:pt x="23" y="109"/>
                        <a:pt x="23" y="109"/>
                      </a:cubicBezTo>
                      <a:cubicBezTo>
                        <a:pt x="23" y="110"/>
                        <a:pt x="23" y="110"/>
                        <a:pt x="23" y="110"/>
                      </a:cubicBezTo>
                      <a:cubicBezTo>
                        <a:pt x="23" y="111"/>
                        <a:pt x="23" y="111"/>
                        <a:pt x="23" y="111"/>
                      </a:cubicBezTo>
                      <a:cubicBezTo>
                        <a:pt x="23" y="112"/>
                        <a:pt x="23" y="112"/>
                        <a:pt x="23" y="112"/>
                      </a:cubicBezTo>
                      <a:cubicBezTo>
                        <a:pt x="23" y="114"/>
                        <a:pt x="23" y="114"/>
                        <a:pt x="23" y="114"/>
                      </a:cubicBezTo>
                      <a:cubicBezTo>
                        <a:pt x="23" y="115"/>
                        <a:pt x="23" y="115"/>
                        <a:pt x="23" y="115"/>
                      </a:cubicBezTo>
                      <a:cubicBezTo>
                        <a:pt x="25" y="118"/>
                        <a:pt x="25" y="118"/>
                        <a:pt x="25" y="118"/>
                      </a:cubicBezTo>
                      <a:cubicBezTo>
                        <a:pt x="24" y="120"/>
                        <a:pt x="24" y="120"/>
                        <a:pt x="24" y="120"/>
                      </a:cubicBezTo>
                      <a:cubicBezTo>
                        <a:pt x="25" y="121"/>
                        <a:pt x="25" y="121"/>
                        <a:pt x="25" y="121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9" y="119"/>
                        <a:pt x="29" y="119"/>
                        <a:pt x="29" y="119"/>
                      </a:cubicBezTo>
                      <a:cubicBezTo>
                        <a:pt x="30" y="120"/>
                        <a:pt x="30" y="120"/>
                        <a:pt x="30" y="120"/>
                      </a:cubicBezTo>
                      <a:cubicBezTo>
                        <a:pt x="30" y="122"/>
                        <a:pt x="30" y="122"/>
                        <a:pt x="30" y="122"/>
                      </a:cubicBezTo>
                      <a:cubicBezTo>
                        <a:pt x="31" y="123"/>
                        <a:pt x="31" y="123"/>
                        <a:pt x="31" y="123"/>
                      </a:cubicBezTo>
                      <a:cubicBezTo>
                        <a:pt x="31" y="125"/>
                        <a:pt x="31" y="125"/>
                        <a:pt x="31" y="125"/>
                      </a:cubicBezTo>
                      <a:cubicBezTo>
                        <a:pt x="32" y="126"/>
                        <a:pt x="32" y="126"/>
                        <a:pt x="32" y="126"/>
                      </a:cubicBezTo>
                      <a:cubicBezTo>
                        <a:pt x="33" y="128"/>
                        <a:pt x="33" y="128"/>
                        <a:pt x="33" y="128"/>
                      </a:cubicBezTo>
                      <a:cubicBezTo>
                        <a:pt x="34" y="128"/>
                        <a:pt x="34" y="128"/>
                        <a:pt x="34" y="128"/>
                      </a:cubicBezTo>
                      <a:cubicBezTo>
                        <a:pt x="34" y="127"/>
                        <a:pt x="34" y="127"/>
                        <a:pt x="34" y="127"/>
                      </a:cubicBezTo>
                      <a:cubicBezTo>
                        <a:pt x="34" y="126"/>
                        <a:pt x="34" y="126"/>
                        <a:pt x="34" y="126"/>
                      </a:cubicBezTo>
                      <a:cubicBezTo>
                        <a:pt x="34" y="128"/>
                        <a:pt x="34" y="128"/>
                        <a:pt x="34" y="128"/>
                      </a:cubicBezTo>
                      <a:cubicBezTo>
                        <a:pt x="35" y="129"/>
                        <a:pt x="35" y="129"/>
                        <a:pt x="35" y="129"/>
                      </a:cubicBezTo>
                      <a:cubicBezTo>
                        <a:pt x="35" y="131"/>
                        <a:pt x="35" y="131"/>
                        <a:pt x="35" y="131"/>
                      </a:cubicBezTo>
                      <a:cubicBezTo>
                        <a:pt x="36" y="131"/>
                        <a:pt x="36" y="131"/>
                        <a:pt x="36" y="131"/>
                      </a:cubicBezTo>
                      <a:cubicBezTo>
                        <a:pt x="37" y="135"/>
                        <a:pt x="37" y="135"/>
                        <a:pt x="37" y="135"/>
                      </a:cubicBezTo>
                      <a:cubicBezTo>
                        <a:pt x="37" y="136"/>
                        <a:pt x="37" y="136"/>
                        <a:pt x="37" y="136"/>
                      </a:cubicBezTo>
                      <a:cubicBezTo>
                        <a:pt x="36" y="137"/>
                        <a:pt x="36" y="137"/>
                        <a:pt x="36" y="137"/>
                      </a:cubicBezTo>
                      <a:cubicBezTo>
                        <a:pt x="36" y="136"/>
                        <a:pt x="36" y="136"/>
                        <a:pt x="36" y="136"/>
                      </a:cubicBezTo>
                      <a:cubicBezTo>
                        <a:pt x="34" y="137"/>
                        <a:pt x="34" y="137"/>
                        <a:pt x="34" y="137"/>
                      </a:cubicBezTo>
                      <a:cubicBezTo>
                        <a:pt x="34" y="138"/>
                        <a:pt x="34" y="138"/>
                        <a:pt x="34" y="138"/>
                      </a:cubicBezTo>
                      <a:cubicBezTo>
                        <a:pt x="37" y="140"/>
                        <a:pt x="37" y="140"/>
                        <a:pt x="37" y="140"/>
                      </a:cubicBezTo>
                      <a:cubicBezTo>
                        <a:pt x="37" y="138"/>
                        <a:pt x="37" y="138"/>
                        <a:pt x="37" y="138"/>
                      </a:cubicBezTo>
                      <a:cubicBezTo>
                        <a:pt x="38" y="139"/>
                        <a:pt x="38" y="139"/>
                        <a:pt x="38" y="139"/>
                      </a:cubicBezTo>
                      <a:cubicBezTo>
                        <a:pt x="38" y="140"/>
                        <a:pt x="38" y="140"/>
                        <a:pt x="38" y="140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2" y="144"/>
                        <a:pt x="42" y="144"/>
                        <a:pt x="42" y="144"/>
                      </a:cubicBezTo>
                      <a:cubicBezTo>
                        <a:pt x="43" y="145"/>
                        <a:pt x="43" y="145"/>
                        <a:pt x="43" y="145"/>
                      </a:cubicBezTo>
                      <a:cubicBezTo>
                        <a:pt x="44" y="144"/>
                        <a:pt x="44" y="144"/>
                        <a:pt x="44" y="144"/>
                      </a:cubicBezTo>
                      <a:cubicBezTo>
                        <a:pt x="46" y="145"/>
                        <a:pt x="46" y="145"/>
                        <a:pt x="46" y="145"/>
                      </a:cubicBezTo>
                      <a:cubicBezTo>
                        <a:pt x="48" y="145"/>
                        <a:pt x="48" y="145"/>
                        <a:pt x="48" y="145"/>
                      </a:cubicBezTo>
                      <a:cubicBezTo>
                        <a:pt x="49" y="148"/>
                        <a:pt x="49" y="148"/>
                        <a:pt x="49" y="148"/>
                      </a:cubicBezTo>
                      <a:cubicBezTo>
                        <a:pt x="50" y="150"/>
                        <a:pt x="50" y="150"/>
                        <a:pt x="50" y="150"/>
                      </a:cubicBezTo>
                      <a:cubicBezTo>
                        <a:pt x="52" y="151"/>
                        <a:pt x="52" y="151"/>
                        <a:pt x="52" y="151"/>
                      </a:cubicBezTo>
                      <a:cubicBezTo>
                        <a:pt x="52" y="152"/>
                        <a:pt x="52" y="152"/>
                        <a:pt x="52" y="152"/>
                      </a:cubicBezTo>
                      <a:cubicBezTo>
                        <a:pt x="52" y="152"/>
                        <a:pt x="52" y="152"/>
                        <a:pt x="52" y="152"/>
                      </a:cubicBezTo>
                      <a:cubicBezTo>
                        <a:pt x="52" y="154"/>
                        <a:pt x="52" y="154"/>
                        <a:pt x="52" y="154"/>
                      </a:cubicBezTo>
                      <a:cubicBezTo>
                        <a:pt x="50" y="155"/>
                        <a:pt x="50" y="155"/>
                        <a:pt x="50" y="155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5" y="156"/>
                        <a:pt x="45" y="156"/>
                        <a:pt x="45" y="156"/>
                      </a:cubicBezTo>
                      <a:cubicBezTo>
                        <a:pt x="42" y="155"/>
                        <a:pt x="42" y="155"/>
                        <a:pt x="42" y="155"/>
                      </a:cubicBezTo>
                      <a:cubicBezTo>
                        <a:pt x="43" y="154"/>
                        <a:pt x="43" y="154"/>
                        <a:pt x="43" y="154"/>
                      </a:cubicBezTo>
                      <a:cubicBezTo>
                        <a:pt x="44" y="153"/>
                        <a:pt x="44" y="153"/>
                        <a:pt x="44" y="153"/>
                      </a:cubicBezTo>
                      <a:cubicBezTo>
                        <a:pt x="44" y="150"/>
                        <a:pt x="44" y="150"/>
                        <a:pt x="44" y="150"/>
                      </a:cubicBezTo>
                      <a:cubicBezTo>
                        <a:pt x="43" y="148"/>
                        <a:pt x="43" y="148"/>
                        <a:pt x="43" y="148"/>
                      </a:cubicBezTo>
                      <a:cubicBezTo>
                        <a:pt x="41" y="148"/>
                        <a:pt x="41" y="148"/>
                        <a:pt x="41" y="148"/>
                      </a:cubicBezTo>
                      <a:cubicBezTo>
                        <a:pt x="40" y="147"/>
                        <a:pt x="40" y="147"/>
                        <a:pt x="40" y="147"/>
                      </a:cubicBezTo>
                      <a:cubicBezTo>
                        <a:pt x="38" y="147"/>
                        <a:pt x="38" y="147"/>
                        <a:pt x="38" y="147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4" y="147"/>
                        <a:pt x="34" y="147"/>
                        <a:pt x="34" y="147"/>
                      </a:cubicBezTo>
                      <a:cubicBezTo>
                        <a:pt x="34" y="149"/>
                        <a:pt x="34" y="149"/>
                        <a:pt x="34" y="149"/>
                      </a:cubicBezTo>
                      <a:cubicBezTo>
                        <a:pt x="33" y="147"/>
                        <a:pt x="33" y="147"/>
                        <a:pt x="33" y="147"/>
                      </a:cubicBezTo>
                      <a:cubicBezTo>
                        <a:pt x="29" y="144"/>
                        <a:pt x="29" y="144"/>
                        <a:pt x="29" y="144"/>
                      </a:cubicBezTo>
                      <a:cubicBezTo>
                        <a:pt x="29" y="144"/>
                        <a:pt x="29" y="144"/>
                        <a:pt x="29" y="144"/>
                      </a:cubicBezTo>
                      <a:cubicBezTo>
                        <a:pt x="30" y="143"/>
                        <a:pt x="30" y="143"/>
                        <a:pt x="30" y="143"/>
                      </a:cubicBezTo>
                      <a:cubicBezTo>
                        <a:pt x="30" y="142"/>
                        <a:pt x="30" y="142"/>
                        <a:pt x="30" y="142"/>
                      </a:cubicBezTo>
                      <a:cubicBezTo>
                        <a:pt x="29" y="141"/>
                        <a:pt x="29" y="141"/>
                        <a:pt x="29" y="141"/>
                      </a:cubicBezTo>
                      <a:cubicBezTo>
                        <a:pt x="28" y="140"/>
                        <a:pt x="28" y="140"/>
                        <a:pt x="28" y="140"/>
                      </a:cubicBezTo>
                      <a:cubicBezTo>
                        <a:pt x="26" y="139"/>
                        <a:pt x="26" y="139"/>
                        <a:pt x="26" y="139"/>
                      </a:cubicBezTo>
                      <a:cubicBezTo>
                        <a:pt x="26" y="138"/>
                        <a:pt x="26" y="138"/>
                        <a:pt x="26" y="138"/>
                      </a:cubicBezTo>
                      <a:cubicBezTo>
                        <a:pt x="24" y="135"/>
                        <a:pt x="24" y="135"/>
                        <a:pt x="24" y="135"/>
                      </a:cubicBezTo>
                      <a:cubicBezTo>
                        <a:pt x="22" y="135"/>
                        <a:pt x="22" y="135"/>
                        <a:pt x="22" y="135"/>
                      </a:cubicBezTo>
                      <a:cubicBezTo>
                        <a:pt x="21" y="132"/>
                        <a:pt x="21" y="132"/>
                        <a:pt x="21" y="132"/>
                      </a:cubicBezTo>
                      <a:cubicBezTo>
                        <a:pt x="20" y="131"/>
                        <a:pt x="20" y="131"/>
                        <a:pt x="20" y="131"/>
                      </a:cubicBezTo>
                      <a:cubicBezTo>
                        <a:pt x="20" y="130"/>
                        <a:pt x="20" y="130"/>
                        <a:pt x="20" y="130"/>
                      </a:cubicBezTo>
                      <a:cubicBezTo>
                        <a:pt x="18" y="129"/>
                        <a:pt x="18" y="129"/>
                        <a:pt x="18" y="129"/>
                      </a:cubicBezTo>
                      <a:cubicBezTo>
                        <a:pt x="19" y="128"/>
                        <a:pt x="19" y="128"/>
                        <a:pt x="19" y="128"/>
                      </a:cubicBezTo>
                      <a:cubicBezTo>
                        <a:pt x="17" y="129"/>
                        <a:pt x="17" y="129"/>
                        <a:pt x="17" y="129"/>
                      </a:cubicBezTo>
                      <a:cubicBezTo>
                        <a:pt x="17" y="131"/>
                        <a:pt x="17" y="131"/>
                        <a:pt x="17" y="131"/>
                      </a:cubicBezTo>
                      <a:cubicBezTo>
                        <a:pt x="16" y="131"/>
                        <a:pt x="16" y="131"/>
                        <a:pt x="16" y="131"/>
                      </a:cubicBezTo>
                      <a:cubicBezTo>
                        <a:pt x="15" y="129"/>
                        <a:pt x="15" y="129"/>
                        <a:pt x="15" y="129"/>
                      </a:cubicBezTo>
                      <a:cubicBezTo>
                        <a:pt x="14" y="126"/>
                        <a:pt x="14" y="126"/>
                        <a:pt x="14" y="126"/>
                      </a:cubicBezTo>
                      <a:cubicBezTo>
                        <a:pt x="15" y="125"/>
                        <a:pt x="15" y="125"/>
                        <a:pt x="15" y="125"/>
                      </a:cubicBezTo>
                      <a:cubicBezTo>
                        <a:pt x="14" y="122"/>
                        <a:pt x="14" y="122"/>
                        <a:pt x="14" y="122"/>
                      </a:cubicBezTo>
                      <a:cubicBezTo>
                        <a:pt x="16" y="121"/>
                        <a:pt x="16" y="121"/>
                        <a:pt x="16" y="121"/>
                      </a:cubicBezTo>
                      <a:cubicBezTo>
                        <a:pt x="15" y="118"/>
                        <a:pt x="15" y="118"/>
                        <a:pt x="15" y="118"/>
                      </a:cubicBezTo>
                      <a:cubicBezTo>
                        <a:pt x="17" y="118"/>
                        <a:pt x="17" y="118"/>
                        <a:pt x="17" y="118"/>
                      </a:cubicBezTo>
                      <a:cubicBezTo>
                        <a:pt x="17" y="116"/>
                        <a:pt x="17" y="116"/>
                        <a:pt x="17" y="116"/>
                      </a:cubicBezTo>
                      <a:cubicBezTo>
                        <a:pt x="16" y="116"/>
                        <a:pt x="16" y="116"/>
                        <a:pt x="16" y="116"/>
                      </a:cubicBezTo>
                      <a:cubicBezTo>
                        <a:pt x="18" y="114"/>
                        <a:pt x="18" y="114"/>
                        <a:pt x="18" y="114"/>
                      </a:cubicBezTo>
                      <a:cubicBezTo>
                        <a:pt x="17" y="113"/>
                        <a:pt x="17" y="113"/>
                        <a:pt x="17" y="113"/>
                      </a:cubicBezTo>
                      <a:cubicBezTo>
                        <a:pt x="18" y="111"/>
                        <a:pt x="18" y="111"/>
                        <a:pt x="18" y="111"/>
                      </a:cubicBezTo>
                      <a:cubicBezTo>
                        <a:pt x="17" y="111"/>
                        <a:pt x="17" y="111"/>
                        <a:pt x="17" y="111"/>
                      </a:cubicBezTo>
                      <a:cubicBezTo>
                        <a:pt x="18" y="108"/>
                        <a:pt x="18" y="108"/>
                        <a:pt x="18" y="108"/>
                      </a:cubicBezTo>
                      <a:cubicBezTo>
                        <a:pt x="18" y="107"/>
                        <a:pt x="18" y="107"/>
                        <a:pt x="18" y="107"/>
                      </a:cubicBezTo>
                      <a:cubicBezTo>
                        <a:pt x="19" y="105"/>
                        <a:pt x="19" y="105"/>
                        <a:pt x="19" y="105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1" y="101"/>
                        <a:pt x="21" y="101"/>
                        <a:pt x="21" y="101"/>
                      </a:cubicBezTo>
                      <a:cubicBezTo>
                        <a:pt x="24" y="95"/>
                        <a:pt x="24" y="95"/>
                        <a:pt x="24" y="95"/>
                      </a:cubicBezTo>
                      <a:cubicBezTo>
                        <a:pt x="25" y="94"/>
                        <a:pt x="25" y="94"/>
                        <a:pt x="25" y="94"/>
                      </a:cubicBezTo>
                      <a:cubicBezTo>
                        <a:pt x="25" y="91"/>
                        <a:pt x="25" y="91"/>
                        <a:pt x="25" y="91"/>
                      </a:cubicBezTo>
                      <a:cubicBezTo>
                        <a:pt x="24" y="88"/>
                        <a:pt x="24" y="88"/>
                        <a:pt x="24" y="88"/>
                      </a:cubicBezTo>
                      <a:cubicBezTo>
                        <a:pt x="24" y="86"/>
                        <a:pt x="24" y="86"/>
                        <a:pt x="24" y="86"/>
                      </a:cubicBezTo>
                      <a:cubicBezTo>
                        <a:pt x="23" y="84"/>
                        <a:pt x="23" y="84"/>
                        <a:pt x="23" y="84"/>
                      </a:cubicBezTo>
                      <a:cubicBezTo>
                        <a:pt x="23" y="81"/>
                        <a:pt x="23" y="81"/>
                        <a:pt x="23" y="81"/>
                      </a:cubicBezTo>
                      <a:cubicBezTo>
                        <a:pt x="21" y="80"/>
                        <a:pt x="21" y="80"/>
                        <a:pt x="21" y="80"/>
                      </a:cubicBezTo>
                      <a:cubicBezTo>
                        <a:pt x="22" y="78"/>
                        <a:pt x="22" y="78"/>
                        <a:pt x="22" y="78"/>
                      </a:cubicBezTo>
                      <a:cubicBezTo>
                        <a:pt x="21" y="76"/>
                        <a:pt x="21" y="76"/>
                        <a:pt x="21" y="76"/>
                      </a:cubicBezTo>
                      <a:cubicBezTo>
                        <a:pt x="22" y="74"/>
                        <a:pt x="22" y="74"/>
                        <a:pt x="22" y="74"/>
                      </a:cubicBezTo>
                      <a:cubicBezTo>
                        <a:pt x="21" y="70"/>
                        <a:pt x="21" y="70"/>
                        <a:pt x="21" y="70"/>
                      </a:cubicBezTo>
                      <a:cubicBezTo>
                        <a:pt x="18" y="67"/>
                        <a:pt x="18" y="67"/>
                        <a:pt x="18" y="67"/>
                      </a:cubicBez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13" y="60"/>
                        <a:pt x="13" y="60"/>
                        <a:pt x="13" y="60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3" y="55"/>
                        <a:pt x="13" y="55"/>
                        <a:pt x="13" y="55"/>
                      </a:cubicBez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2" y="49"/>
                        <a:pt x="12" y="49"/>
                        <a:pt x="12" y="49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3" y="43"/>
                        <a:pt x="13" y="43"/>
                        <a:pt x="13" y="43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1"/>
                        <a:pt x="5" y="31"/>
                        <a:pt x="5" y="31"/>
                      </a:cubicBez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3" y="28"/>
                        <a:pt x="3" y="28"/>
                        <a:pt x="3" y="28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lose/>
                      <a:moveTo>
                        <a:pt x="28" y="146"/>
                      </a:moveTo>
                      <a:cubicBezTo>
                        <a:pt x="29" y="148"/>
                        <a:pt x="29" y="148"/>
                        <a:pt x="29" y="148"/>
                      </a:cubicBezTo>
                      <a:cubicBezTo>
                        <a:pt x="30" y="147"/>
                        <a:pt x="30" y="147"/>
                        <a:pt x="30" y="147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ubicBezTo>
                        <a:pt x="28" y="146"/>
                        <a:pt x="28" y="146"/>
                        <a:pt x="28" y="146"/>
                      </a:cubicBezTo>
                      <a:close/>
                      <a:moveTo>
                        <a:pt x="22" y="136"/>
                      </a:moveTo>
                      <a:cubicBezTo>
                        <a:pt x="22" y="138"/>
                        <a:pt x="22" y="138"/>
                        <a:pt x="22" y="138"/>
                      </a:cubicBezTo>
                      <a:cubicBezTo>
                        <a:pt x="23" y="137"/>
                        <a:pt x="23" y="137"/>
                        <a:pt x="23" y="137"/>
                      </a:cubicBezTo>
                      <a:cubicBezTo>
                        <a:pt x="23" y="136"/>
                        <a:pt x="23" y="136"/>
                        <a:pt x="23" y="136"/>
                      </a:cubicBezTo>
                      <a:cubicBezTo>
                        <a:pt x="22" y="136"/>
                        <a:pt x="22" y="136"/>
                        <a:pt x="22" y="136"/>
                      </a:cubicBezTo>
                      <a:close/>
                      <a:moveTo>
                        <a:pt x="15" y="131"/>
                      </a:moveTo>
                      <a:cubicBezTo>
                        <a:pt x="15" y="133"/>
                        <a:pt x="15" y="133"/>
                        <a:pt x="15" y="133"/>
                      </a:cubicBezTo>
                      <a:cubicBezTo>
                        <a:pt x="15" y="133"/>
                        <a:pt x="15" y="133"/>
                        <a:pt x="15" y="133"/>
                      </a:cubicBezTo>
                      <a:cubicBezTo>
                        <a:pt x="15" y="135"/>
                        <a:pt x="15" y="135"/>
                        <a:pt x="15" y="135"/>
                      </a:cubicBezTo>
                      <a:cubicBezTo>
                        <a:pt x="16" y="134"/>
                        <a:pt x="16" y="134"/>
                        <a:pt x="16" y="134"/>
                      </a:cubicBezTo>
                      <a:cubicBezTo>
                        <a:pt x="16" y="131"/>
                        <a:pt x="16" y="131"/>
                        <a:pt x="16" y="131"/>
                      </a:cubicBezTo>
                      <a:cubicBezTo>
                        <a:pt x="16" y="131"/>
                        <a:pt x="15" y="131"/>
                        <a:pt x="15" y="131"/>
                      </a:cubicBezTo>
                      <a:close/>
                      <a:moveTo>
                        <a:pt x="50" y="89"/>
                      </a:moveTo>
                      <a:cubicBezTo>
                        <a:pt x="51" y="90"/>
                        <a:pt x="51" y="90"/>
                        <a:pt x="51" y="90"/>
                      </a:cubicBezTo>
                      <a:cubicBezTo>
                        <a:pt x="52" y="92"/>
                        <a:pt x="52" y="92"/>
                        <a:pt x="52" y="92"/>
                      </a:cubicBezTo>
                      <a:cubicBezTo>
                        <a:pt x="53" y="91"/>
                        <a:pt x="53" y="91"/>
                        <a:pt x="53" y="91"/>
                      </a:cubicBezTo>
                      <a:cubicBezTo>
                        <a:pt x="50" y="89"/>
                        <a:pt x="50" y="89"/>
                        <a:pt x="50" y="89"/>
                      </a:cubicBezTo>
                      <a:close/>
                      <a:moveTo>
                        <a:pt x="31" y="113"/>
                      </a:moveTo>
                      <a:cubicBezTo>
                        <a:pt x="30" y="114"/>
                        <a:pt x="30" y="114"/>
                        <a:pt x="30" y="114"/>
                      </a:cubicBezTo>
                      <a:cubicBezTo>
                        <a:pt x="31" y="114"/>
                        <a:pt x="31" y="114"/>
                        <a:pt x="31" y="114"/>
                      </a:cubicBezTo>
                      <a:cubicBezTo>
                        <a:pt x="31" y="113"/>
                        <a:pt x="31" y="113"/>
                        <a:pt x="31" y="113"/>
                      </a:cubicBezTo>
                      <a:close/>
                      <a:moveTo>
                        <a:pt x="32" y="115"/>
                      </a:moveTo>
                      <a:cubicBezTo>
                        <a:pt x="30" y="116"/>
                        <a:pt x="30" y="116"/>
                        <a:pt x="30" y="116"/>
                      </a:cubicBezTo>
                      <a:cubicBezTo>
                        <a:pt x="31" y="117"/>
                        <a:pt x="31" y="117"/>
                        <a:pt x="31" y="117"/>
                      </a:cubicBezTo>
                      <a:cubicBezTo>
                        <a:pt x="32" y="119"/>
                        <a:pt x="32" y="119"/>
                        <a:pt x="32" y="119"/>
                      </a:cubicBezTo>
                      <a:cubicBezTo>
                        <a:pt x="32" y="117"/>
                        <a:pt x="32" y="117"/>
                        <a:pt x="32" y="117"/>
                      </a:cubicBezTo>
                      <a:lnTo>
                        <a:pt x="32" y="1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0" name="Freeform 179">
                  <a:extLst>
                    <a:ext uri="{FF2B5EF4-FFF2-40B4-BE49-F238E27FC236}">
                      <a16:creationId xmlns:a16="http://schemas.microsoft.com/office/drawing/2014/main" xmlns="" id="{7C691468-DF82-4A44-A175-D56EF1C4EB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09" y="1572"/>
                  <a:ext cx="141" cy="323"/>
                </a:xfrm>
                <a:custGeom>
                  <a:avLst/>
                  <a:gdLst>
                    <a:gd name="T0" fmla="*/ 77 w 141"/>
                    <a:gd name="T1" fmla="*/ 3 h 323"/>
                    <a:gd name="T2" fmla="*/ 90 w 141"/>
                    <a:gd name="T3" fmla="*/ 24 h 323"/>
                    <a:gd name="T4" fmla="*/ 85 w 141"/>
                    <a:gd name="T5" fmla="*/ 46 h 323"/>
                    <a:gd name="T6" fmla="*/ 79 w 141"/>
                    <a:gd name="T7" fmla="*/ 55 h 323"/>
                    <a:gd name="T8" fmla="*/ 82 w 141"/>
                    <a:gd name="T9" fmla="*/ 68 h 323"/>
                    <a:gd name="T10" fmla="*/ 97 w 141"/>
                    <a:gd name="T11" fmla="*/ 77 h 323"/>
                    <a:gd name="T12" fmla="*/ 103 w 141"/>
                    <a:gd name="T13" fmla="*/ 88 h 323"/>
                    <a:gd name="T14" fmla="*/ 116 w 141"/>
                    <a:gd name="T15" fmla="*/ 91 h 323"/>
                    <a:gd name="T16" fmla="*/ 108 w 141"/>
                    <a:gd name="T17" fmla="*/ 109 h 323"/>
                    <a:gd name="T18" fmla="*/ 120 w 141"/>
                    <a:gd name="T19" fmla="*/ 116 h 323"/>
                    <a:gd name="T20" fmla="*/ 141 w 141"/>
                    <a:gd name="T21" fmla="*/ 116 h 323"/>
                    <a:gd name="T22" fmla="*/ 131 w 141"/>
                    <a:gd name="T23" fmla="*/ 132 h 323"/>
                    <a:gd name="T24" fmla="*/ 116 w 141"/>
                    <a:gd name="T25" fmla="*/ 142 h 323"/>
                    <a:gd name="T26" fmla="*/ 110 w 141"/>
                    <a:gd name="T27" fmla="*/ 153 h 323"/>
                    <a:gd name="T28" fmla="*/ 92 w 141"/>
                    <a:gd name="T29" fmla="*/ 165 h 323"/>
                    <a:gd name="T30" fmla="*/ 89 w 141"/>
                    <a:gd name="T31" fmla="*/ 180 h 323"/>
                    <a:gd name="T32" fmla="*/ 105 w 141"/>
                    <a:gd name="T33" fmla="*/ 201 h 323"/>
                    <a:gd name="T34" fmla="*/ 107 w 141"/>
                    <a:gd name="T35" fmla="*/ 219 h 323"/>
                    <a:gd name="T36" fmla="*/ 111 w 141"/>
                    <a:gd name="T37" fmla="*/ 245 h 323"/>
                    <a:gd name="T38" fmla="*/ 121 w 141"/>
                    <a:gd name="T39" fmla="*/ 269 h 323"/>
                    <a:gd name="T40" fmla="*/ 128 w 141"/>
                    <a:gd name="T41" fmla="*/ 292 h 323"/>
                    <a:gd name="T42" fmla="*/ 116 w 141"/>
                    <a:gd name="T43" fmla="*/ 315 h 323"/>
                    <a:gd name="T44" fmla="*/ 111 w 141"/>
                    <a:gd name="T45" fmla="*/ 312 h 323"/>
                    <a:gd name="T46" fmla="*/ 115 w 141"/>
                    <a:gd name="T47" fmla="*/ 302 h 323"/>
                    <a:gd name="T48" fmla="*/ 115 w 141"/>
                    <a:gd name="T49" fmla="*/ 287 h 323"/>
                    <a:gd name="T50" fmla="*/ 111 w 141"/>
                    <a:gd name="T51" fmla="*/ 265 h 323"/>
                    <a:gd name="T52" fmla="*/ 105 w 141"/>
                    <a:gd name="T53" fmla="*/ 258 h 323"/>
                    <a:gd name="T54" fmla="*/ 98 w 141"/>
                    <a:gd name="T55" fmla="*/ 238 h 323"/>
                    <a:gd name="T56" fmla="*/ 93 w 141"/>
                    <a:gd name="T57" fmla="*/ 216 h 323"/>
                    <a:gd name="T58" fmla="*/ 90 w 141"/>
                    <a:gd name="T59" fmla="*/ 211 h 323"/>
                    <a:gd name="T60" fmla="*/ 80 w 141"/>
                    <a:gd name="T61" fmla="*/ 196 h 323"/>
                    <a:gd name="T62" fmla="*/ 80 w 141"/>
                    <a:gd name="T63" fmla="*/ 199 h 323"/>
                    <a:gd name="T64" fmla="*/ 71 w 141"/>
                    <a:gd name="T65" fmla="*/ 206 h 323"/>
                    <a:gd name="T66" fmla="*/ 67 w 141"/>
                    <a:gd name="T67" fmla="*/ 212 h 323"/>
                    <a:gd name="T68" fmla="*/ 53 w 141"/>
                    <a:gd name="T69" fmla="*/ 219 h 323"/>
                    <a:gd name="T70" fmla="*/ 44 w 141"/>
                    <a:gd name="T71" fmla="*/ 222 h 323"/>
                    <a:gd name="T72" fmla="*/ 41 w 141"/>
                    <a:gd name="T73" fmla="*/ 217 h 323"/>
                    <a:gd name="T74" fmla="*/ 44 w 141"/>
                    <a:gd name="T75" fmla="*/ 196 h 323"/>
                    <a:gd name="T76" fmla="*/ 38 w 141"/>
                    <a:gd name="T77" fmla="*/ 178 h 323"/>
                    <a:gd name="T78" fmla="*/ 28 w 141"/>
                    <a:gd name="T79" fmla="*/ 162 h 323"/>
                    <a:gd name="T80" fmla="*/ 18 w 141"/>
                    <a:gd name="T81" fmla="*/ 160 h 323"/>
                    <a:gd name="T82" fmla="*/ 25 w 141"/>
                    <a:gd name="T83" fmla="*/ 162 h 323"/>
                    <a:gd name="T84" fmla="*/ 25 w 141"/>
                    <a:gd name="T85" fmla="*/ 150 h 323"/>
                    <a:gd name="T86" fmla="*/ 12 w 141"/>
                    <a:gd name="T87" fmla="*/ 147 h 323"/>
                    <a:gd name="T88" fmla="*/ 10 w 141"/>
                    <a:gd name="T89" fmla="*/ 145 h 323"/>
                    <a:gd name="T90" fmla="*/ 0 w 141"/>
                    <a:gd name="T91" fmla="*/ 127 h 323"/>
                    <a:gd name="T92" fmla="*/ 9 w 141"/>
                    <a:gd name="T93" fmla="*/ 113 h 323"/>
                    <a:gd name="T94" fmla="*/ 15 w 141"/>
                    <a:gd name="T95" fmla="*/ 96 h 323"/>
                    <a:gd name="T96" fmla="*/ 23 w 141"/>
                    <a:gd name="T97" fmla="*/ 78 h 323"/>
                    <a:gd name="T98" fmla="*/ 31 w 141"/>
                    <a:gd name="T99" fmla="*/ 46 h 323"/>
                    <a:gd name="T100" fmla="*/ 44 w 141"/>
                    <a:gd name="T101" fmla="*/ 19 h 323"/>
                    <a:gd name="T102" fmla="*/ 61 w 141"/>
                    <a:gd name="T103" fmla="*/ 11 h 323"/>
                    <a:gd name="T104" fmla="*/ 20 w 141"/>
                    <a:gd name="T105" fmla="*/ 171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1" h="323">
                      <a:moveTo>
                        <a:pt x="62" y="0"/>
                      </a:moveTo>
                      <a:lnTo>
                        <a:pt x="66" y="0"/>
                      </a:lnTo>
                      <a:lnTo>
                        <a:pt x="69" y="1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77" y="3"/>
                      </a:lnTo>
                      <a:lnTo>
                        <a:pt x="80" y="6"/>
                      </a:lnTo>
                      <a:lnTo>
                        <a:pt x="82" y="11"/>
                      </a:lnTo>
                      <a:lnTo>
                        <a:pt x="84" y="11"/>
                      </a:lnTo>
                      <a:lnTo>
                        <a:pt x="87" y="15"/>
                      </a:lnTo>
                      <a:lnTo>
                        <a:pt x="87" y="19"/>
                      </a:lnTo>
                      <a:lnTo>
                        <a:pt x="90" y="24"/>
                      </a:lnTo>
                      <a:lnTo>
                        <a:pt x="90" y="29"/>
                      </a:lnTo>
                      <a:lnTo>
                        <a:pt x="89" y="36"/>
                      </a:lnTo>
                      <a:lnTo>
                        <a:pt x="89" y="39"/>
                      </a:lnTo>
                      <a:lnTo>
                        <a:pt x="89" y="42"/>
                      </a:lnTo>
                      <a:lnTo>
                        <a:pt x="85" y="42"/>
                      </a:lnTo>
                      <a:lnTo>
                        <a:pt x="85" y="46"/>
                      </a:lnTo>
                      <a:lnTo>
                        <a:pt x="84" y="47"/>
                      </a:lnTo>
                      <a:lnTo>
                        <a:pt x="84" y="49"/>
                      </a:lnTo>
                      <a:lnTo>
                        <a:pt x="84" y="52"/>
                      </a:lnTo>
                      <a:lnTo>
                        <a:pt x="84" y="54"/>
                      </a:lnTo>
                      <a:lnTo>
                        <a:pt x="80" y="54"/>
                      </a:lnTo>
                      <a:lnTo>
                        <a:pt x="79" y="55"/>
                      </a:lnTo>
                      <a:lnTo>
                        <a:pt x="77" y="59"/>
                      </a:lnTo>
                      <a:lnTo>
                        <a:pt x="79" y="60"/>
                      </a:lnTo>
                      <a:lnTo>
                        <a:pt x="77" y="62"/>
                      </a:lnTo>
                      <a:lnTo>
                        <a:pt x="77" y="65"/>
                      </a:lnTo>
                      <a:lnTo>
                        <a:pt x="80" y="67"/>
                      </a:lnTo>
                      <a:lnTo>
                        <a:pt x="82" y="68"/>
                      </a:lnTo>
                      <a:lnTo>
                        <a:pt x="84" y="70"/>
                      </a:lnTo>
                      <a:lnTo>
                        <a:pt x="84" y="75"/>
                      </a:lnTo>
                      <a:lnTo>
                        <a:pt x="85" y="78"/>
                      </a:lnTo>
                      <a:lnTo>
                        <a:pt x="89" y="75"/>
                      </a:lnTo>
                      <a:lnTo>
                        <a:pt x="95" y="73"/>
                      </a:lnTo>
                      <a:lnTo>
                        <a:pt x="97" y="77"/>
                      </a:lnTo>
                      <a:lnTo>
                        <a:pt x="95" y="78"/>
                      </a:lnTo>
                      <a:lnTo>
                        <a:pt x="97" y="80"/>
                      </a:lnTo>
                      <a:lnTo>
                        <a:pt x="102" y="80"/>
                      </a:lnTo>
                      <a:lnTo>
                        <a:pt x="102" y="82"/>
                      </a:lnTo>
                      <a:lnTo>
                        <a:pt x="102" y="85"/>
                      </a:lnTo>
                      <a:lnTo>
                        <a:pt x="103" y="88"/>
                      </a:lnTo>
                      <a:lnTo>
                        <a:pt x="107" y="88"/>
                      </a:lnTo>
                      <a:lnTo>
                        <a:pt x="107" y="90"/>
                      </a:lnTo>
                      <a:lnTo>
                        <a:pt x="107" y="91"/>
                      </a:lnTo>
                      <a:lnTo>
                        <a:pt x="108" y="91"/>
                      </a:lnTo>
                      <a:lnTo>
                        <a:pt x="113" y="90"/>
                      </a:lnTo>
                      <a:lnTo>
                        <a:pt x="116" y="91"/>
                      </a:lnTo>
                      <a:lnTo>
                        <a:pt x="116" y="95"/>
                      </a:lnTo>
                      <a:lnTo>
                        <a:pt x="115" y="98"/>
                      </a:lnTo>
                      <a:lnTo>
                        <a:pt x="115" y="100"/>
                      </a:lnTo>
                      <a:lnTo>
                        <a:pt x="111" y="104"/>
                      </a:lnTo>
                      <a:lnTo>
                        <a:pt x="108" y="108"/>
                      </a:lnTo>
                      <a:lnTo>
                        <a:pt x="108" y="109"/>
                      </a:lnTo>
                      <a:lnTo>
                        <a:pt x="111" y="109"/>
                      </a:lnTo>
                      <a:lnTo>
                        <a:pt x="116" y="109"/>
                      </a:lnTo>
                      <a:lnTo>
                        <a:pt x="116" y="111"/>
                      </a:lnTo>
                      <a:lnTo>
                        <a:pt x="120" y="108"/>
                      </a:lnTo>
                      <a:lnTo>
                        <a:pt x="121" y="111"/>
                      </a:lnTo>
                      <a:lnTo>
                        <a:pt x="120" y="116"/>
                      </a:lnTo>
                      <a:lnTo>
                        <a:pt x="121" y="119"/>
                      </a:lnTo>
                      <a:lnTo>
                        <a:pt x="125" y="121"/>
                      </a:lnTo>
                      <a:lnTo>
                        <a:pt x="126" y="117"/>
                      </a:lnTo>
                      <a:lnTo>
                        <a:pt x="131" y="117"/>
                      </a:lnTo>
                      <a:lnTo>
                        <a:pt x="138" y="116"/>
                      </a:lnTo>
                      <a:lnTo>
                        <a:pt x="141" y="116"/>
                      </a:lnTo>
                      <a:lnTo>
                        <a:pt x="141" y="119"/>
                      </a:lnTo>
                      <a:lnTo>
                        <a:pt x="136" y="122"/>
                      </a:lnTo>
                      <a:lnTo>
                        <a:pt x="131" y="124"/>
                      </a:lnTo>
                      <a:lnTo>
                        <a:pt x="131" y="127"/>
                      </a:lnTo>
                      <a:lnTo>
                        <a:pt x="129" y="129"/>
                      </a:lnTo>
                      <a:lnTo>
                        <a:pt x="131" y="132"/>
                      </a:lnTo>
                      <a:lnTo>
                        <a:pt x="128" y="134"/>
                      </a:lnTo>
                      <a:lnTo>
                        <a:pt x="126" y="134"/>
                      </a:lnTo>
                      <a:lnTo>
                        <a:pt x="125" y="139"/>
                      </a:lnTo>
                      <a:lnTo>
                        <a:pt x="120" y="139"/>
                      </a:lnTo>
                      <a:lnTo>
                        <a:pt x="116" y="140"/>
                      </a:lnTo>
                      <a:lnTo>
                        <a:pt x="116" y="142"/>
                      </a:lnTo>
                      <a:lnTo>
                        <a:pt x="118" y="145"/>
                      </a:lnTo>
                      <a:lnTo>
                        <a:pt x="116" y="147"/>
                      </a:lnTo>
                      <a:lnTo>
                        <a:pt x="113" y="145"/>
                      </a:lnTo>
                      <a:lnTo>
                        <a:pt x="110" y="147"/>
                      </a:lnTo>
                      <a:lnTo>
                        <a:pt x="110" y="152"/>
                      </a:lnTo>
                      <a:lnTo>
                        <a:pt x="110" y="153"/>
                      </a:lnTo>
                      <a:lnTo>
                        <a:pt x="107" y="153"/>
                      </a:lnTo>
                      <a:lnTo>
                        <a:pt x="102" y="157"/>
                      </a:lnTo>
                      <a:lnTo>
                        <a:pt x="97" y="153"/>
                      </a:lnTo>
                      <a:lnTo>
                        <a:pt x="93" y="157"/>
                      </a:lnTo>
                      <a:lnTo>
                        <a:pt x="95" y="163"/>
                      </a:lnTo>
                      <a:lnTo>
                        <a:pt x="92" y="165"/>
                      </a:lnTo>
                      <a:lnTo>
                        <a:pt x="92" y="170"/>
                      </a:lnTo>
                      <a:lnTo>
                        <a:pt x="93" y="173"/>
                      </a:lnTo>
                      <a:lnTo>
                        <a:pt x="90" y="175"/>
                      </a:lnTo>
                      <a:lnTo>
                        <a:pt x="87" y="176"/>
                      </a:lnTo>
                      <a:lnTo>
                        <a:pt x="87" y="180"/>
                      </a:lnTo>
                      <a:lnTo>
                        <a:pt x="89" y="180"/>
                      </a:lnTo>
                      <a:lnTo>
                        <a:pt x="92" y="184"/>
                      </a:lnTo>
                      <a:lnTo>
                        <a:pt x="93" y="186"/>
                      </a:lnTo>
                      <a:lnTo>
                        <a:pt x="95" y="189"/>
                      </a:lnTo>
                      <a:lnTo>
                        <a:pt x="98" y="193"/>
                      </a:lnTo>
                      <a:lnTo>
                        <a:pt x="103" y="201"/>
                      </a:lnTo>
                      <a:lnTo>
                        <a:pt x="105" y="201"/>
                      </a:lnTo>
                      <a:lnTo>
                        <a:pt x="107" y="206"/>
                      </a:lnTo>
                      <a:lnTo>
                        <a:pt x="108" y="209"/>
                      </a:lnTo>
                      <a:lnTo>
                        <a:pt x="111" y="211"/>
                      </a:lnTo>
                      <a:lnTo>
                        <a:pt x="111" y="214"/>
                      </a:lnTo>
                      <a:lnTo>
                        <a:pt x="108" y="216"/>
                      </a:lnTo>
                      <a:lnTo>
                        <a:pt x="107" y="219"/>
                      </a:lnTo>
                      <a:lnTo>
                        <a:pt x="108" y="227"/>
                      </a:lnTo>
                      <a:lnTo>
                        <a:pt x="108" y="229"/>
                      </a:lnTo>
                      <a:lnTo>
                        <a:pt x="105" y="230"/>
                      </a:lnTo>
                      <a:lnTo>
                        <a:pt x="108" y="237"/>
                      </a:lnTo>
                      <a:lnTo>
                        <a:pt x="108" y="240"/>
                      </a:lnTo>
                      <a:lnTo>
                        <a:pt x="111" y="245"/>
                      </a:lnTo>
                      <a:lnTo>
                        <a:pt x="116" y="248"/>
                      </a:lnTo>
                      <a:lnTo>
                        <a:pt x="121" y="253"/>
                      </a:lnTo>
                      <a:lnTo>
                        <a:pt x="123" y="260"/>
                      </a:lnTo>
                      <a:lnTo>
                        <a:pt x="121" y="263"/>
                      </a:lnTo>
                      <a:lnTo>
                        <a:pt x="123" y="266"/>
                      </a:lnTo>
                      <a:lnTo>
                        <a:pt x="121" y="269"/>
                      </a:lnTo>
                      <a:lnTo>
                        <a:pt x="125" y="271"/>
                      </a:lnTo>
                      <a:lnTo>
                        <a:pt x="125" y="276"/>
                      </a:lnTo>
                      <a:lnTo>
                        <a:pt x="126" y="279"/>
                      </a:lnTo>
                      <a:lnTo>
                        <a:pt x="126" y="283"/>
                      </a:lnTo>
                      <a:lnTo>
                        <a:pt x="128" y="287"/>
                      </a:lnTo>
                      <a:lnTo>
                        <a:pt x="128" y="292"/>
                      </a:lnTo>
                      <a:lnTo>
                        <a:pt x="126" y="294"/>
                      </a:lnTo>
                      <a:lnTo>
                        <a:pt x="121" y="304"/>
                      </a:lnTo>
                      <a:lnTo>
                        <a:pt x="118" y="305"/>
                      </a:lnTo>
                      <a:lnTo>
                        <a:pt x="118" y="310"/>
                      </a:lnTo>
                      <a:lnTo>
                        <a:pt x="116" y="314"/>
                      </a:lnTo>
                      <a:lnTo>
                        <a:pt x="116" y="315"/>
                      </a:lnTo>
                      <a:lnTo>
                        <a:pt x="116" y="315"/>
                      </a:lnTo>
                      <a:lnTo>
                        <a:pt x="115" y="318"/>
                      </a:lnTo>
                      <a:lnTo>
                        <a:pt x="115" y="323"/>
                      </a:lnTo>
                      <a:lnTo>
                        <a:pt x="113" y="318"/>
                      </a:lnTo>
                      <a:lnTo>
                        <a:pt x="113" y="314"/>
                      </a:lnTo>
                      <a:lnTo>
                        <a:pt x="111" y="312"/>
                      </a:lnTo>
                      <a:lnTo>
                        <a:pt x="111" y="310"/>
                      </a:lnTo>
                      <a:lnTo>
                        <a:pt x="113" y="310"/>
                      </a:lnTo>
                      <a:lnTo>
                        <a:pt x="113" y="309"/>
                      </a:lnTo>
                      <a:lnTo>
                        <a:pt x="115" y="305"/>
                      </a:lnTo>
                      <a:lnTo>
                        <a:pt x="115" y="304"/>
                      </a:lnTo>
                      <a:lnTo>
                        <a:pt x="115" y="302"/>
                      </a:lnTo>
                      <a:lnTo>
                        <a:pt x="115" y="297"/>
                      </a:lnTo>
                      <a:lnTo>
                        <a:pt x="116" y="297"/>
                      </a:lnTo>
                      <a:lnTo>
                        <a:pt x="116" y="296"/>
                      </a:lnTo>
                      <a:lnTo>
                        <a:pt x="115" y="291"/>
                      </a:lnTo>
                      <a:lnTo>
                        <a:pt x="118" y="289"/>
                      </a:lnTo>
                      <a:lnTo>
                        <a:pt x="115" y="287"/>
                      </a:lnTo>
                      <a:lnTo>
                        <a:pt x="113" y="284"/>
                      </a:lnTo>
                      <a:lnTo>
                        <a:pt x="113" y="281"/>
                      </a:lnTo>
                      <a:lnTo>
                        <a:pt x="115" y="279"/>
                      </a:lnTo>
                      <a:lnTo>
                        <a:pt x="113" y="276"/>
                      </a:lnTo>
                      <a:lnTo>
                        <a:pt x="111" y="274"/>
                      </a:lnTo>
                      <a:lnTo>
                        <a:pt x="111" y="265"/>
                      </a:lnTo>
                      <a:lnTo>
                        <a:pt x="108" y="263"/>
                      </a:lnTo>
                      <a:lnTo>
                        <a:pt x="108" y="260"/>
                      </a:lnTo>
                      <a:lnTo>
                        <a:pt x="107" y="255"/>
                      </a:lnTo>
                      <a:lnTo>
                        <a:pt x="105" y="261"/>
                      </a:lnTo>
                      <a:lnTo>
                        <a:pt x="105" y="261"/>
                      </a:lnTo>
                      <a:lnTo>
                        <a:pt x="105" y="258"/>
                      </a:lnTo>
                      <a:lnTo>
                        <a:pt x="103" y="255"/>
                      </a:lnTo>
                      <a:lnTo>
                        <a:pt x="103" y="248"/>
                      </a:lnTo>
                      <a:lnTo>
                        <a:pt x="102" y="245"/>
                      </a:lnTo>
                      <a:lnTo>
                        <a:pt x="100" y="242"/>
                      </a:lnTo>
                      <a:lnTo>
                        <a:pt x="102" y="242"/>
                      </a:lnTo>
                      <a:lnTo>
                        <a:pt x="98" y="238"/>
                      </a:lnTo>
                      <a:lnTo>
                        <a:pt x="98" y="234"/>
                      </a:lnTo>
                      <a:lnTo>
                        <a:pt x="97" y="234"/>
                      </a:lnTo>
                      <a:lnTo>
                        <a:pt x="95" y="220"/>
                      </a:lnTo>
                      <a:lnTo>
                        <a:pt x="93" y="220"/>
                      </a:lnTo>
                      <a:lnTo>
                        <a:pt x="93" y="217"/>
                      </a:lnTo>
                      <a:lnTo>
                        <a:pt x="93" y="216"/>
                      </a:lnTo>
                      <a:lnTo>
                        <a:pt x="93" y="214"/>
                      </a:lnTo>
                      <a:lnTo>
                        <a:pt x="92" y="211"/>
                      </a:lnTo>
                      <a:lnTo>
                        <a:pt x="93" y="209"/>
                      </a:lnTo>
                      <a:lnTo>
                        <a:pt x="93" y="207"/>
                      </a:lnTo>
                      <a:lnTo>
                        <a:pt x="92" y="209"/>
                      </a:lnTo>
                      <a:lnTo>
                        <a:pt x="90" y="211"/>
                      </a:lnTo>
                      <a:lnTo>
                        <a:pt x="87" y="211"/>
                      </a:lnTo>
                      <a:lnTo>
                        <a:pt x="87" y="206"/>
                      </a:lnTo>
                      <a:lnTo>
                        <a:pt x="85" y="204"/>
                      </a:lnTo>
                      <a:lnTo>
                        <a:pt x="82" y="198"/>
                      </a:lnTo>
                      <a:lnTo>
                        <a:pt x="82" y="196"/>
                      </a:lnTo>
                      <a:lnTo>
                        <a:pt x="80" y="196"/>
                      </a:lnTo>
                      <a:lnTo>
                        <a:pt x="80" y="194"/>
                      </a:lnTo>
                      <a:lnTo>
                        <a:pt x="77" y="193"/>
                      </a:lnTo>
                      <a:lnTo>
                        <a:pt x="79" y="194"/>
                      </a:lnTo>
                      <a:lnTo>
                        <a:pt x="79" y="196"/>
                      </a:lnTo>
                      <a:lnTo>
                        <a:pt x="77" y="198"/>
                      </a:lnTo>
                      <a:lnTo>
                        <a:pt x="80" y="199"/>
                      </a:lnTo>
                      <a:lnTo>
                        <a:pt x="79" y="202"/>
                      </a:lnTo>
                      <a:lnTo>
                        <a:pt x="77" y="204"/>
                      </a:lnTo>
                      <a:lnTo>
                        <a:pt x="79" y="206"/>
                      </a:lnTo>
                      <a:lnTo>
                        <a:pt x="74" y="209"/>
                      </a:lnTo>
                      <a:lnTo>
                        <a:pt x="72" y="209"/>
                      </a:lnTo>
                      <a:lnTo>
                        <a:pt x="71" y="206"/>
                      </a:lnTo>
                      <a:lnTo>
                        <a:pt x="69" y="206"/>
                      </a:lnTo>
                      <a:lnTo>
                        <a:pt x="71" y="209"/>
                      </a:lnTo>
                      <a:lnTo>
                        <a:pt x="71" y="211"/>
                      </a:lnTo>
                      <a:lnTo>
                        <a:pt x="72" y="211"/>
                      </a:lnTo>
                      <a:lnTo>
                        <a:pt x="69" y="212"/>
                      </a:lnTo>
                      <a:lnTo>
                        <a:pt x="67" y="212"/>
                      </a:lnTo>
                      <a:lnTo>
                        <a:pt x="66" y="212"/>
                      </a:lnTo>
                      <a:lnTo>
                        <a:pt x="64" y="214"/>
                      </a:lnTo>
                      <a:lnTo>
                        <a:pt x="58" y="219"/>
                      </a:lnTo>
                      <a:lnTo>
                        <a:pt x="54" y="219"/>
                      </a:lnTo>
                      <a:lnTo>
                        <a:pt x="54" y="219"/>
                      </a:lnTo>
                      <a:lnTo>
                        <a:pt x="53" y="219"/>
                      </a:lnTo>
                      <a:lnTo>
                        <a:pt x="53" y="219"/>
                      </a:lnTo>
                      <a:lnTo>
                        <a:pt x="53" y="220"/>
                      </a:lnTo>
                      <a:lnTo>
                        <a:pt x="51" y="220"/>
                      </a:lnTo>
                      <a:lnTo>
                        <a:pt x="49" y="219"/>
                      </a:lnTo>
                      <a:lnTo>
                        <a:pt x="44" y="220"/>
                      </a:lnTo>
                      <a:lnTo>
                        <a:pt x="44" y="222"/>
                      </a:lnTo>
                      <a:lnTo>
                        <a:pt x="43" y="222"/>
                      </a:lnTo>
                      <a:lnTo>
                        <a:pt x="43" y="219"/>
                      </a:lnTo>
                      <a:lnTo>
                        <a:pt x="46" y="214"/>
                      </a:lnTo>
                      <a:lnTo>
                        <a:pt x="46" y="209"/>
                      </a:lnTo>
                      <a:lnTo>
                        <a:pt x="44" y="214"/>
                      </a:lnTo>
                      <a:lnTo>
                        <a:pt x="41" y="217"/>
                      </a:lnTo>
                      <a:lnTo>
                        <a:pt x="40" y="220"/>
                      </a:lnTo>
                      <a:lnTo>
                        <a:pt x="38" y="219"/>
                      </a:lnTo>
                      <a:lnTo>
                        <a:pt x="40" y="219"/>
                      </a:lnTo>
                      <a:lnTo>
                        <a:pt x="38" y="214"/>
                      </a:lnTo>
                      <a:lnTo>
                        <a:pt x="41" y="199"/>
                      </a:lnTo>
                      <a:lnTo>
                        <a:pt x="44" y="196"/>
                      </a:lnTo>
                      <a:lnTo>
                        <a:pt x="43" y="194"/>
                      </a:lnTo>
                      <a:lnTo>
                        <a:pt x="40" y="188"/>
                      </a:lnTo>
                      <a:lnTo>
                        <a:pt x="40" y="181"/>
                      </a:lnTo>
                      <a:lnTo>
                        <a:pt x="38" y="181"/>
                      </a:lnTo>
                      <a:lnTo>
                        <a:pt x="38" y="180"/>
                      </a:lnTo>
                      <a:lnTo>
                        <a:pt x="38" y="178"/>
                      </a:lnTo>
                      <a:lnTo>
                        <a:pt x="36" y="176"/>
                      </a:lnTo>
                      <a:lnTo>
                        <a:pt x="35" y="171"/>
                      </a:lnTo>
                      <a:lnTo>
                        <a:pt x="33" y="170"/>
                      </a:lnTo>
                      <a:lnTo>
                        <a:pt x="31" y="167"/>
                      </a:lnTo>
                      <a:lnTo>
                        <a:pt x="31" y="163"/>
                      </a:lnTo>
                      <a:lnTo>
                        <a:pt x="28" y="162"/>
                      </a:lnTo>
                      <a:lnTo>
                        <a:pt x="30" y="165"/>
                      </a:lnTo>
                      <a:lnTo>
                        <a:pt x="30" y="170"/>
                      </a:lnTo>
                      <a:lnTo>
                        <a:pt x="25" y="168"/>
                      </a:lnTo>
                      <a:lnTo>
                        <a:pt x="22" y="165"/>
                      </a:lnTo>
                      <a:lnTo>
                        <a:pt x="22" y="163"/>
                      </a:lnTo>
                      <a:lnTo>
                        <a:pt x="18" y="160"/>
                      </a:lnTo>
                      <a:lnTo>
                        <a:pt x="18" y="158"/>
                      </a:lnTo>
                      <a:lnTo>
                        <a:pt x="20" y="158"/>
                      </a:lnTo>
                      <a:lnTo>
                        <a:pt x="22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22" y="158"/>
                      </a:lnTo>
                      <a:lnTo>
                        <a:pt x="25" y="157"/>
                      </a:lnTo>
                      <a:lnTo>
                        <a:pt x="27" y="158"/>
                      </a:lnTo>
                      <a:lnTo>
                        <a:pt x="28" y="158"/>
                      </a:lnTo>
                      <a:lnTo>
                        <a:pt x="28" y="155"/>
                      </a:lnTo>
                      <a:lnTo>
                        <a:pt x="25" y="150"/>
                      </a:lnTo>
                      <a:lnTo>
                        <a:pt x="20" y="150"/>
                      </a:lnTo>
                      <a:lnTo>
                        <a:pt x="18" y="149"/>
                      </a:lnTo>
                      <a:lnTo>
                        <a:pt x="15" y="147"/>
                      </a:lnTo>
                      <a:lnTo>
                        <a:pt x="15" y="145"/>
                      </a:lnTo>
                      <a:lnTo>
                        <a:pt x="15" y="147"/>
                      </a:lnTo>
                      <a:lnTo>
                        <a:pt x="12" y="147"/>
                      </a:lnTo>
                      <a:lnTo>
                        <a:pt x="12" y="147"/>
                      </a:lnTo>
                      <a:lnTo>
                        <a:pt x="13" y="144"/>
                      </a:lnTo>
                      <a:lnTo>
                        <a:pt x="10" y="144"/>
                      </a:lnTo>
                      <a:lnTo>
                        <a:pt x="9" y="142"/>
                      </a:lnTo>
                      <a:lnTo>
                        <a:pt x="9" y="144"/>
                      </a:lnTo>
                      <a:lnTo>
                        <a:pt x="10" y="145"/>
                      </a:lnTo>
                      <a:lnTo>
                        <a:pt x="4" y="140"/>
                      </a:lnTo>
                      <a:lnTo>
                        <a:pt x="2" y="135"/>
                      </a:lnTo>
                      <a:lnTo>
                        <a:pt x="0" y="132"/>
                      </a:lnTo>
                      <a:lnTo>
                        <a:pt x="0" y="132"/>
                      </a:lnTo>
                      <a:lnTo>
                        <a:pt x="0" y="131"/>
                      </a:lnTo>
                      <a:lnTo>
                        <a:pt x="0" y="127"/>
                      </a:lnTo>
                      <a:lnTo>
                        <a:pt x="4" y="124"/>
                      </a:lnTo>
                      <a:lnTo>
                        <a:pt x="5" y="124"/>
                      </a:lnTo>
                      <a:lnTo>
                        <a:pt x="7" y="121"/>
                      </a:lnTo>
                      <a:lnTo>
                        <a:pt x="7" y="116"/>
                      </a:lnTo>
                      <a:lnTo>
                        <a:pt x="7" y="113"/>
                      </a:lnTo>
                      <a:lnTo>
                        <a:pt x="9" y="113"/>
                      </a:lnTo>
                      <a:lnTo>
                        <a:pt x="10" y="113"/>
                      </a:lnTo>
                      <a:lnTo>
                        <a:pt x="12" y="106"/>
                      </a:lnTo>
                      <a:lnTo>
                        <a:pt x="12" y="103"/>
                      </a:lnTo>
                      <a:lnTo>
                        <a:pt x="12" y="100"/>
                      </a:lnTo>
                      <a:lnTo>
                        <a:pt x="12" y="95"/>
                      </a:lnTo>
                      <a:lnTo>
                        <a:pt x="15" y="96"/>
                      </a:lnTo>
                      <a:lnTo>
                        <a:pt x="15" y="90"/>
                      </a:lnTo>
                      <a:lnTo>
                        <a:pt x="15" y="85"/>
                      </a:lnTo>
                      <a:lnTo>
                        <a:pt x="13" y="78"/>
                      </a:lnTo>
                      <a:lnTo>
                        <a:pt x="17" y="78"/>
                      </a:lnTo>
                      <a:lnTo>
                        <a:pt x="18" y="78"/>
                      </a:lnTo>
                      <a:lnTo>
                        <a:pt x="23" y="78"/>
                      </a:lnTo>
                      <a:lnTo>
                        <a:pt x="27" y="73"/>
                      </a:lnTo>
                      <a:lnTo>
                        <a:pt x="28" y="65"/>
                      </a:lnTo>
                      <a:lnTo>
                        <a:pt x="31" y="57"/>
                      </a:lnTo>
                      <a:lnTo>
                        <a:pt x="27" y="55"/>
                      </a:lnTo>
                      <a:lnTo>
                        <a:pt x="27" y="52"/>
                      </a:lnTo>
                      <a:lnTo>
                        <a:pt x="31" y="46"/>
                      </a:lnTo>
                      <a:lnTo>
                        <a:pt x="33" y="39"/>
                      </a:lnTo>
                      <a:lnTo>
                        <a:pt x="31" y="37"/>
                      </a:lnTo>
                      <a:lnTo>
                        <a:pt x="33" y="33"/>
                      </a:lnTo>
                      <a:lnTo>
                        <a:pt x="38" y="24"/>
                      </a:lnTo>
                      <a:lnTo>
                        <a:pt x="41" y="23"/>
                      </a:lnTo>
                      <a:lnTo>
                        <a:pt x="44" y="19"/>
                      </a:lnTo>
                      <a:lnTo>
                        <a:pt x="46" y="15"/>
                      </a:lnTo>
                      <a:lnTo>
                        <a:pt x="53" y="13"/>
                      </a:lnTo>
                      <a:lnTo>
                        <a:pt x="56" y="10"/>
                      </a:lnTo>
                      <a:lnTo>
                        <a:pt x="59" y="13"/>
                      </a:lnTo>
                      <a:lnTo>
                        <a:pt x="62" y="13"/>
                      </a:lnTo>
                      <a:lnTo>
                        <a:pt x="61" y="11"/>
                      </a:lnTo>
                      <a:lnTo>
                        <a:pt x="61" y="6"/>
                      </a:lnTo>
                      <a:lnTo>
                        <a:pt x="64" y="3"/>
                      </a:lnTo>
                      <a:lnTo>
                        <a:pt x="64" y="1"/>
                      </a:lnTo>
                      <a:lnTo>
                        <a:pt x="62" y="0"/>
                      </a:lnTo>
                      <a:lnTo>
                        <a:pt x="62" y="0"/>
                      </a:lnTo>
                      <a:close/>
                      <a:moveTo>
                        <a:pt x="20" y="171"/>
                      </a:moveTo>
                      <a:lnTo>
                        <a:pt x="22" y="173"/>
                      </a:lnTo>
                      <a:lnTo>
                        <a:pt x="25" y="175"/>
                      </a:lnTo>
                      <a:lnTo>
                        <a:pt x="25" y="173"/>
                      </a:lnTo>
                      <a:lnTo>
                        <a:pt x="23" y="170"/>
                      </a:lnTo>
                      <a:lnTo>
                        <a:pt x="20" y="17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1" name="Freeform 180">
                  <a:extLst>
                    <a:ext uri="{FF2B5EF4-FFF2-40B4-BE49-F238E27FC236}">
                      <a16:creationId xmlns:a16="http://schemas.microsoft.com/office/drawing/2014/main" xmlns="" id="{409E23FA-0B4D-44CE-A292-A47E595CF7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25" y="1897"/>
                  <a:ext cx="34" cy="67"/>
                </a:xfrm>
                <a:custGeom>
                  <a:avLst/>
                  <a:gdLst>
                    <a:gd name="T0" fmla="*/ 0 w 34"/>
                    <a:gd name="T1" fmla="*/ 28 h 67"/>
                    <a:gd name="T2" fmla="*/ 1 w 34"/>
                    <a:gd name="T3" fmla="*/ 25 h 67"/>
                    <a:gd name="T4" fmla="*/ 1 w 34"/>
                    <a:gd name="T5" fmla="*/ 26 h 67"/>
                    <a:gd name="T6" fmla="*/ 0 w 34"/>
                    <a:gd name="T7" fmla="*/ 33 h 67"/>
                    <a:gd name="T8" fmla="*/ 6 w 34"/>
                    <a:gd name="T9" fmla="*/ 5 h 67"/>
                    <a:gd name="T10" fmla="*/ 1 w 34"/>
                    <a:gd name="T11" fmla="*/ 0 h 67"/>
                    <a:gd name="T12" fmla="*/ 8 w 34"/>
                    <a:gd name="T13" fmla="*/ 0 h 67"/>
                    <a:gd name="T14" fmla="*/ 6 w 34"/>
                    <a:gd name="T15" fmla="*/ 3 h 67"/>
                    <a:gd name="T16" fmla="*/ 6 w 34"/>
                    <a:gd name="T17" fmla="*/ 5 h 67"/>
                    <a:gd name="T18" fmla="*/ 11 w 34"/>
                    <a:gd name="T19" fmla="*/ 2 h 67"/>
                    <a:gd name="T20" fmla="*/ 16 w 34"/>
                    <a:gd name="T21" fmla="*/ 7 h 67"/>
                    <a:gd name="T22" fmla="*/ 15 w 34"/>
                    <a:gd name="T23" fmla="*/ 7 h 67"/>
                    <a:gd name="T24" fmla="*/ 11 w 34"/>
                    <a:gd name="T25" fmla="*/ 5 h 67"/>
                    <a:gd name="T26" fmla="*/ 8 w 34"/>
                    <a:gd name="T27" fmla="*/ 3 h 67"/>
                    <a:gd name="T28" fmla="*/ 10 w 34"/>
                    <a:gd name="T29" fmla="*/ 2 h 67"/>
                    <a:gd name="T30" fmla="*/ 10 w 34"/>
                    <a:gd name="T31" fmla="*/ 2 h 67"/>
                    <a:gd name="T32" fmla="*/ 6 w 34"/>
                    <a:gd name="T33" fmla="*/ 7 h 67"/>
                    <a:gd name="T34" fmla="*/ 8 w 34"/>
                    <a:gd name="T35" fmla="*/ 8 h 67"/>
                    <a:gd name="T36" fmla="*/ 6 w 34"/>
                    <a:gd name="T37" fmla="*/ 10 h 67"/>
                    <a:gd name="T38" fmla="*/ 5 w 34"/>
                    <a:gd name="T39" fmla="*/ 15 h 67"/>
                    <a:gd name="T40" fmla="*/ 1 w 34"/>
                    <a:gd name="T41" fmla="*/ 13 h 67"/>
                    <a:gd name="T42" fmla="*/ 0 w 34"/>
                    <a:gd name="T43" fmla="*/ 13 h 67"/>
                    <a:gd name="T44" fmla="*/ 3 w 34"/>
                    <a:gd name="T45" fmla="*/ 16 h 67"/>
                    <a:gd name="T46" fmla="*/ 3 w 34"/>
                    <a:gd name="T47" fmla="*/ 20 h 67"/>
                    <a:gd name="T48" fmla="*/ 3 w 34"/>
                    <a:gd name="T49" fmla="*/ 26 h 67"/>
                    <a:gd name="T50" fmla="*/ 1 w 34"/>
                    <a:gd name="T51" fmla="*/ 34 h 67"/>
                    <a:gd name="T52" fmla="*/ 3 w 34"/>
                    <a:gd name="T53" fmla="*/ 42 h 67"/>
                    <a:gd name="T54" fmla="*/ 5 w 34"/>
                    <a:gd name="T55" fmla="*/ 52 h 67"/>
                    <a:gd name="T56" fmla="*/ 8 w 34"/>
                    <a:gd name="T57" fmla="*/ 64 h 67"/>
                    <a:gd name="T58" fmla="*/ 16 w 34"/>
                    <a:gd name="T59" fmla="*/ 65 h 67"/>
                    <a:gd name="T60" fmla="*/ 26 w 34"/>
                    <a:gd name="T61" fmla="*/ 64 h 67"/>
                    <a:gd name="T62" fmla="*/ 34 w 34"/>
                    <a:gd name="T63" fmla="*/ 54 h 67"/>
                    <a:gd name="T64" fmla="*/ 34 w 34"/>
                    <a:gd name="T65" fmla="*/ 47 h 67"/>
                    <a:gd name="T66" fmla="*/ 34 w 34"/>
                    <a:gd name="T67" fmla="*/ 42 h 67"/>
                    <a:gd name="T68" fmla="*/ 34 w 34"/>
                    <a:gd name="T69" fmla="*/ 38 h 67"/>
                    <a:gd name="T70" fmla="*/ 29 w 34"/>
                    <a:gd name="T71" fmla="*/ 28 h 67"/>
                    <a:gd name="T72" fmla="*/ 24 w 34"/>
                    <a:gd name="T73" fmla="*/ 25 h 67"/>
                    <a:gd name="T74" fmla="*/ 23 w 34"/>
                    <a:gd name="T75" fmla="*/ 23 h 67"/>
                    <a:gd name="T76" fmla="*/ 24 w 34"/>
                    <a:gd name="T77" fmla="*/ 20 h 67"/>
                    <a:gd name="T78" fmla="*/ 21 w 34"/>
                    <a:gd name="T79" fmla="*/ 15 h 67"/>
                    <a:gd name="T80" fmla="*/ 19 w 34"/>
                    <a:gd name="T81" fmla="*/ 13 h 67"/>
                    <a:gd name="T82" fmla="*/ 18 w 34"/>
                    <a:gd name="T83" fmla="*/ 10 h 67"/>
                    <a:gd name="T84" fmla="*/ 13 w 34"/>
                    <a:gd name="T85" fmla="*/ 8 h 67"/>
                    <a:gd name="T86" fmla="*/ 11 w 34"/>
                    <a:gd name="T87" fmla="*/ 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" h="67">
                      <a:moveTo>
                        <a:pt x="0" y="33"/>
                      </a:moveTo>
                      <a:lnTo>
                        <a:pt x="0" y="28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" y="26"/>
                      </a:lnTo>
                      <a:lnTo>
                        <a:pt x="1" y="26"/>
                      </a:lnTo>
                      <a:lnTo>
                        <a:pt x="1" y="28"/>
                      </a:lnTo>
                      <a:lnTo>
                        <a:pt x="0" y="33"/>
                      </a:lnTo>
                      <a:lnTo>
                        <a:pt x="0" y="33"/>
                      </a:lnTo>
                      <a:close/>
                      <a:moveTo>
                        <a:pt x="6" y="5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10" y="2"/>
                      </a:moveTo>
                      <a:lnTo>
                        <a:pt x="11" y="2"/>
                      </a:lnTo>
                      <a:lnTo>
                        <a:pt x="13" y="5"/>
                      </a:lnTo>
                      <a:lnTo>
                        <a:pt x="16" y="7"/>
                      </a:lnTo>
                      <a:lnTo>
                        <a:pt x="16" y="8"/>
                      </a:lnTo>
                      <a:lnTo>
                        <a:pt x="15" y="7"/>
                      </a:lnTo>
                      <a:lnTo>
                        <a:pt x="13" y="7"/>
                      </a:lnTo>
                      <a:lnTo>
                        <a:pt x="11" y="5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6" y="11"/>
                      </a:lnTo>
                      <a:lnTo>
                        <a:pt x="5" y="15"/>
                      </a:lnTo>
                      <a:lnTo>
                        <a:pt x="3" y="15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3" y="16"/>
                      </a:lnTo>
                      <a:lnTo>
                        <a:pt x="1" y="16"/>
                      </a:lnTo>
                      <a:lnTo>
                        <a:pt x="3" y="20"/>
                      </a:lnTo>
                      <a:lnTo>
                        <a:pt x="3" y="25"/>
                      </a:lnTo>
                      <a:lnTo>
                        <a:pt x="3" y="26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1" y="36"/>
                      </a:lnTo>
                      <a:lnTo>
                        <a:pt x="3" y="42"/>
                      </a:lnTo>
                      <a:lnTo>
                        <a:pt x="1" y="44"/>
                      </a:lnTo>
                      <a:lnTo>
                        <a:pt x="5" y="52"/>
                      </a:lnTo>
                      <a:lnTo>
                        <a:pt x="6" y="60"/>
                      </a:lnTo>
                      <a:lnTo>
                        <a:pt x="8" y="64"/>
                      </a:lnTo>
                      <a:lnTo>
                        <a:pt x="13" y="67"/>
                      </a:lnTo>
                      <a:lnTo>
                        <a:pt x="16" y="65"/>
                      </a:lnTo>
                      <a:lnTo>
                        <a:pt x="21" y="65"/>
                      </a:lnTo>
                      <a:lnTo>
                        <a:pt x="26" y="64"/>
                      </a:lnTo>
                      <a:lnTo>
                        <a:pt x="31" y="57"/>
                      </a:lnTo>
                      <a:lnTo>
                        <a:pt x="34" y="54"/>
                      </a:lnTo>
                      <a:lnTo>
                        <a:pt x="34" y="51"/>
                      </a:lnTo>
                      <a:lnTo>
                        <a:pt x="34" y="47"/>
                      </a:lnTo>
                      <a:lnTo>
                        <a:pt x="34" y="47"/>
                      </a:lnTo>
                      <a:lnTo>
                        <a:pt x="34" y="42"/>
                      </a:lnTo>
                      <a:lnTo>
                        <a:pt x="34" y="41"/>
                      </a:lnTo>
                      <a:lnTo>
                        <a:pt x="34" y="38"/>
                      </a:lnTo>
                      <a:lnTo>
                        <a:pt x="33" y="36"/>
                      </a:lnTo>
                      <a:lnTo>
                        <a:pt x="29" y="28"/>
                      </a:lnTo>
                      <a:lnTo>
                        <a:pt x="28" y="23"/>
                      </a:lnTo>
                      <a:lnTo>
                        <a:pt x="24" y="25"/>
                      </a:lnTo>
                      <a:lnTo>
                        <a:pt x="24" y="23"/>
                      </a:lnTo>
                      <a:lnTo>
                        <a:pt x="23" y="23"/>
                      </a:lnTo>
                      <a:lnTo>
                        <a:pt x="24" y="21"/>
                      </a:lnTo>
                      <a:lnTo>
                        <a:pt x="24" y="20"/>
                      </a:lnTo>
                      <a:lnTo>
                        <a:pt x="23" y="20"/>
                      </a:lnTo>
                      <a:lnTo>
                        <a:pt x="21" y="15"/>
                      </a:lnTo>
                      <a:lnTo>
                        <a:pt x="19" y="16"/>
                      </a:lnTo>
                      <a:lnTo>
                        <a:pt x="19" y="13"/>
                      </a:lnTo>
                      <a:lnTo>
                        <a:pt x="18" y="11"/>
                      </a:lnTo>
                      <a:lnTo>
                        <a:pt x="18" y="10"/>
                      </a:lnTo>
                      <a:lnTo>
                        <a:pt x="13" y="8"/>
                      </a:lnTo>
                      <a:lnTo>
                        <a:pt x="13" y="8"/>
                      </a:lnTo>
                      <a:lnTo>
                        <a:pt x="10" y="8"/>
                      </a:lnTo>
                      <a:lnTo>
                        <a:pt x="11" y="7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2" name="Freeform 181">
                  <a:extLst>
                    <a:ext uri="{FF2B5EF4-FFF2-40B4-BE49-F238E27FC236}">
                      <a16:creationId xmlns:a16="http://schemas.microsoft.com/office/drawing/2014/main" xmlns="" id="{5FC940A6-81FF-426C-B053-59CB7AAABA4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29" y="1482"/>
                  <a:ext cx="444" cy="444"/>
                </a:xfrm>
                <a:custGeom>
                  <a:avLst/>
                  <a:gdLst>
                    <a:gd name="T0" fmla="*/ 152 w 444"/>
                    <a:gd name="T1" fmla="*/ 38 h 444"/>
                    <a:gd name="T2" fmla="*/ 175 w 444"/>
                    <a:gd name="T3" fmla="*/ 51 h 444"/>
                    <a:gd name="T4" fmla="*/ 181 w 444"/>
                    <a:gd name="T5" fmla="*/ 87 h 444"/>
                    <a:gd name="T6" fmla="*/ 230 w 444"/>
                    <a:gd name="T7" fmla="*/ 108 h 444"/>
                    <a:gd name="T8" fmla="*/ 289 w 444"/>
                    <a:gd name="T9" fmla="*/ 121 h 444"/>
                    <a:gd name="T10" fmla="*/ 312 w 444"/>
                    <a:gd name="T11" fmla="*/ 98 h 444"/>
                    <a:gd name="T12" fmla="*/ 336 w 444"/>
                    <a:gd name="T13" fmla="*/ 119 h 444"/>
                    <a:gd name="T14" fmla="*/ 356 w 444"/>
                    <a:gd name="T15" fmla="*/ 101 h 444"/>
                    <a:gd name="T16" fmla="*/ 379 w 444"/>
                    <a:gd name="T17" fmla="*/ 83 h 444"/>
                    <a:gd name="T18" fmla="*/ 413 w 444"/>
                    <a:gd name="T19" fmla="*/ 72 h 444"/>
                    <a:gd name="T20" fmla="*/ 429 w 444"/>
                    <a:gd name="T21" fmla="*/ 74 h 444"/>
                    <a:gd name="T22" fmla="*/ 444 w 444"/>
                    <a:gd name="T23" fmla="*/ 91 h 444"/>
                    <a:gd name="T24" fmla="*/ 421 w 444"/>
                    <a:gd name="T25" fmla="*/ 113 h 444"/>
                    <a:gd name="T26" fmla="*/ 407 w 444"/>
                    <a:gd name="T27" fmla="*/ 163 h 444"/>
                    <a:gd name="T28" fmla="*/ 392 w 444"/>
                    <a:gd name="T29" fmla="*/ 193 h 444"/>
                    <a:gd name="T30" fmla="*/ 384 w 444"/>
                    <a:gd name="T31" fmla="*/ 203 h 444"/>
                    <a:gd name="T32" fmla="*/ 372 w 444"/>
                    <a:gd name="T33" fmla="*/ 173 h 444"/>
                    <a:gd name="T34" fmla="*/ 362 w 444"/>
                    <a:gd name="T35" fmla="*/ 180 h 444"/>
                    <a:gd name="T36" fmla="*/ 367 w 444"/>
                    <a:gd name="T37" fmla="*/ 165 h 444"/>
                    <a:gd name="T38" fmla="*/ 364 w 444"/>
                    <a:gd name="T39" fmla="*/ 145 h 444"/>
                    <a:gd name="T40" fmla="*/ 333 w 444"/>
                    <a:gd name="T41" fmla="*/ 136 h 444"/>
                    <a:gd name="T42" fmla="*/ 322 w 444"/>
                    <a:gd name="T43" fmla="*/ 127 h 444"/>
                    <a:gd name="T44" fmla="*/ 310 w 444"/>
                    <a:gd name="T45" fmla="*/ 124 h 444"/>
                    <a:gd name="T46" fmla="*/ 317 w 444"/>
                    <a:gd name="T47" fmla="*/ 145 h 444"/>
                    <a:gd name="T48" fmla="*/ 322 w 444"/>
                    <a:gd name="T49" fmla="*/ 181 h 444"/>
                    <a:gd name="T50" fmla="*/ 325 w 444"/>
                    <a:gd name="T51" fmla="*/ 211 h 444"/>
                    <a:gd name="T52" fmla="*/ 315 w 444"/>
                    <a:gd name="T53" fmla="*/ 207 h 444"/>
                    <a:gd name="T54" fmla="*/ 310 w 444"/>
                    <a:gd name="T55" fmla="*/ 207 h 444"/>
                    <a:gd name="T56" fmla="*/ 294 w 444"/>
                    <a:gd name="T57" fmla="*/ 230 h 444"/>
                    <a:gd name="T58" fmla="*/ 274 w 444"/>
                    <a:gd name="T59" fmla="*/ 243 h 444"/>
                    <a:gd name="T60" fmla="*/ 245 w 444"/>
                    <a:gd name="T61" fmla="*/ 281 h 444"/>
                    <a:gd name="T62" fmla="*/ 215 w 444"/>
                    <a:gd name="T63" fmla="*/ 309 h 444"/>
                    <a:gd name="T64" fmla="*/ 199 w 444"/>
                    <a:gd name="T65" fmla="*/ 341 h 444"/>
                    <a:gd name="T66" fmla="*/ 196 w 444"/>
                    <a:gd name="T67" fmla="*/ 408 h 444"/>
                    <a:gd name="T68" fmla="*/ 189 w 444"/>
                    <a:gd name="T69" fmla="*/ 426 h 444"/>
                    <a:gd name="T70" fmla="*/ 170 w 444"/>
                    <a:gd name="T71" fmla="*/ 441 h 444"/>
                    <a:gd name="T72" fmla="*/ 137 w 444"/>
                    <a:gd name="T73" fmla="*/ 400 h 444"/>
                    <a:gd name="T74" fmla="*/ 114 w 444"/>
                    <a:gd name="T75" fmla="*/ 359 h 444"/>
                    <a:gd name="T76" fmla="*/ 98 w 444"/>
                    <a:gd name="T77" fmla="*/ 322 h 444"/>
                    <a:gd name="T78" fmla="*/ 83 w 444"/>
                    <a:gd name="T79" fmla="*/ 273 h 444"/>
                    <a:gd name="T80" fmla="*/ 73 w 444"/>
                    <a:gd name="T81" fmla="*/ 239 h 444"/>
                    <a:gd name="T82" fmla="*/ 70 w 444"/>
                    <a:gd name="T83" fmla="*/ 212 h 444"/>
                    <a:gd name="T84" fmla="*/ 70 w 444"/>
                    <a:gd name="T85" fmla="*/ 199 h 444"/>
                    <a:gd name="T86" fmla="*/ 57 w 444"/>
                    <a:gd name="T87" fmla="*/ 224 h 444"/>
                    <a:gd name="T88" fmla="*/ 10 w 444"/>
                    <a:gd name="T89" fmla="*/ 201 h 444"/>
                    <a:gd name="T90" fmla="*/ 23 w 444"/>
                    <a:gd name="T91" fmla="*/ 203 h 444"/>
                    <a:gd name="T92" fmla="*/ 26 w 444"/>
                    <a:gd name="T93" fmla="*/ 193 h 444"/>
                    <a:gd name="T94" fmla="*/ 0 w 444"/>
                    <a:gd name="T95" fmla="*/ 178 h 444"/>
                    <a:gd name="T96" fmla="*/ 34 w 444"/>
                    <a:gd name="T97" fmla="*/ 162 h 444"/>
                    <a:gd name="T98" fmla="*/ 31 w 444"/>
                    <a:gd name="T99" fmla="*/ 141 h 444"/>
                    <a:gd name="T100" fmla="*/ 10 w 444"/>
                    <a:gd name="T101" fmla="*/ 119 h 444"/>
                    <a:gd name="T102" fmla="*/ 37 w 444"/>
                    <a:gd name="T103" fmla="*/ 101 h 444"/>
                    <a:gd name="T104" fmla="*/ 73 w 444"/>
                    <a:gd name="T105" fmla="*/ 57 h 444"/>
                    <a:gd name="T106" fmla="*/ 88 w 444"/>
                    <a:gd name="T107" fmla="*/ 21 h 444"/>
                    <a:gd name="T108" fmla="*/ 131 w 444"/>
                    <a:gd name="T109" fmla="*/ 5 h 444"/>
                    <a:gd name="T110" fmla="*/ 322 w 444"/>
                    <a:gd name="T111" fmla="*/ 211 h 444"/>
                    <a:gd name="T112" fmla="*/ 318 w 444"/>
                    <a:gd name="T113" fmla="*/ 214 h 4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44" h="444">
                      <a:moveTo>
                        <a:pt x="142" y="13"/>
                      </a:moveTo>
                      <a:lnTo>
                        <a:pt x="144" y="16"/>
                      </a:lnTo>
                      <a:lnTo>
                        <a:pt x="144" y="18"/>
                      </a:lnTo>
                      <a:lnTo>
                        <a:pt x="148" y="21"/>
                      </a:lnTo>
                      <a:lnTo>
                        <a:pt x="147" y="26"/>
                      </a:lnTo>
                      <a:lnTo>
                        <a:pt x="148" y="29"/>
                      </a:lnTo>
                      <a:lnTo>
                        <a:pt x="148" y="31"/>
                      </a:lnTo>
                      <a:lnTo>
                        <a:pt x="150" y="33"/>
                      </a:lnTo>
                      <a:lnTo>
                        <a:pt x="152" y="36"/>
                      </a:lnTo>
                      <a:lnTo>
                        <a:pt x="152" y="38"/>
                      </a:lnTo>
                      <a:lnTo>
                        <a:pt x="153" y="39"/>
                      </a:lnTo>
                      <a:lnTo>
                        <a:pt x="153" y="42"/>
                      </a:lnTo>
                      <a:lnTo>
                        <a:pt x="157" y="44"/>
                      </a:lnTo>
                      <a:lnTo>
                        <a:pt x="160" y="41"/>
                      </a:lnTo>
                      <a:lnTo>
                        <a:pt x="163" y="41"/>
                      </a:lnTo>
                      <a:lnTo>
                        <a:pt x="165" y="42"/>
                      </a:lnTo>
                      <a:lnTo>
                        <a:pt x="168" y="44"/>
                      </a:lnTo>
                      <a:lnTo>
                        <a:pt x="171" y="47"/>
                      </a:lnTo>
                      <a:lnTo>
                        <a:pt x="173" y="47"/>
                      </a:lnTo>
                      <a:lnTo>
                        <a:pt x="175" y="51"/>
                      </a:lnTo>
                      <a:lnTo>
                        <a:pt x="178" y="52"/>
                      </a:lnTo>
                      <a:lnTo>
                        <a:pt x="180" y="54"/>
                      </a:lnTo>
                      <a:lnTo>
                        <a:pt x="180" y="54"/>
                      </a:lnTo>
                      <a:lnTo>
                        <a:pt x="180" y="60"/>
                      </a:lnTo>
                      <a:lnTo>
                        <a:pt x="178" y="69"/>
                      </a:lnTo>
                      <a:lnTo>
                        <a:pt x="178" y="74"/>
                      </a:lnTo>
                      <a:lnTo>
                        <a:pt x="173" y="80"/>
                      </a:lnTo>
                      <a:lnTo>
                        <a:pt x="175" y="83"/>
                      </a:lnTo>
                      <a:lnTo>
                        <a:pt x="178" y="83"/>
                      </a:lnTo>
                      <a:lnTo>
                        <a:pt x="181" y="87"/>
                      </a:lnTo>
                      <a:lnTo>
                        <a:pt x="183" y="87"/>
                      </a:lnTo>
                      <a:lnTo>
                        <a:pt x="186" y="88"/>
                      </a:lnTo>
                      <a:lnTo>
                        <a:pt x="193" y="90"/>
                      </a:lnTo>
                      <a:lnTo>
                        <a:pt x="199" y="95"/>
                      </a:lnTo>
                      <a:lnTo>
                        <a:pt x="204" y="101"/>
                      </a:lnTo>
                      <a:lnTo>
                        <a:pt x="211" y="103"/>
                      </a:lnTo>
                      <a:lnTo>
                        <a:pt x="214" y="105"/>
                      </a:lnTo>
                      <a:lnTo>
                        <a:pt x="217" y="105"/>
                      </a:lnTo>
                      <a:lnTo>
                        <a:pt x="222" y="108"/>
                      </a:lnTo>
                      <a:lnTo>
                        <a:pt x="230" y="108"/>
                      </a:lnTo>
                      <a:lnTo>
                        <a:pt x="233" y="109"/>
                      </a:lnTo>
                      <a:lnTo>
                        <a:pt x="242" y="108"/>
                      </a:lnTo>
                      <a:lnTo>
                        <a:pt x="250" y="109"/>
                      </a:lnTo>
                      <a:lnTo>
                        <a:pt x="250" y="113"/>
                      </a:lnTo>
                      <a:lnTo>
                        <a:pt x="255" y="118"/>
                      </a:lnTo>
                      <a:lnTo>
                        <a:pt x="263" y="119"/>
                      </a:lnTo>
                      <a:lnTo>
                        <a:pt x="266" y="118"/>
                      </a:lnTo>
                      <a:lnTo>
                        <a:pt x="271" y="118"/>
                      </a:lnTo>
                      <a:lnTo>
                        <a:pt x="284" y="123"/>
                      </a:lnTo>
                      <a:lnTo>
                        <a:pt x="289" y="121"/>
                      </a:lnTo>
                      <a:lnTo>
                        <a:pt x="294" y="124"/>
                      </a:lnTo>
                      <a:lnTo>
                        <a:pt x="304" y="123"/>
                      </a:lnTo>
                      <a:lnTo>
                        <a:pt x="305" y="114"/>
                      </a:lnTo>
                      <a:lnTo>
                        <a:pt x="302" y="108"/>
                      </a:lnTo>
                      <a:lnTo>
                        <a:pt x="304" y="101"/>
                      </a:lnTo>
                      <a:lnTo>
                        <a:pt x="302" y="96"/>
                      </a:lnTo>
                      <a:lnTo>
                        <a:pt x="304" y="96"/>
                      </a:lnTo>
                      <a:lnTo>
                        <a:pt x="305" y="95"/>
                      </a:lnTo>
                      <a:lnTo>
                        <a:pt x="310" y="95"/>
                      </a:lnTo>
                      <a:lnTo>
                        <a:pt x="312" y="98"/>
                      </a:lnTo>
                      <a:lnTo>
                        <a:pt x="312" y="101"/>
                      </a:lnTo>
                      <a:lnTo>
                        <a:pt x="315" y="105"/>
                      </a:lnTo>
                      <a:lnTo>
                        <a:pt x="315" y="105"/>
                      </a:lnTo>
                      <a:lnTo>
                        <a:pt x="315" y="108"/>
                      </a:lnTo>
                      <a:lnTo>
                        <a:pt x="313" y="109"/>
                      </a:lnTo>
                      <a:lnTo>
                        <a:pt x="317" y="116"/>
                      </a:lnTo>
                      <a:lnTo>
                        <a:pt x="322" y="116"/>
                      </a:lnTo>
                      <a:lnTo>
                        <a:pt x="323" y="114"/>
                      </a:lnTo>
                      <a:lnTo>
                        <a:pt x="331" y="119"/>
                      </a:lnTo>
                      <a:lnTo>
                        <a:pt x="336" y="119"/>
                      </a:lnTo>
                      <a:lnTo>
                        <a:pt x="340" y="116"/>
                      </a:lnTo>
                      <a:lnTo>
                        <a:pt x="343" y="114"/>
                      </a:lnTo>
                      <a:lnTo>
                        <a:pt x="346" y="116"/>
                      </a:lnTo>
                      <a:lnTo>
                        <a:pt x="351" y="114"/>
                      </a:lnTo>
                      <a:lnTo>
                        <a:pt x="356" y="116"/>
                      </a:lnTo>
                      <a:lnTo>
                        <a:pt x="362" y="113"/>
                      </a:lnTo>
                      <a:lnTo>
                        <a:pt x="362" y="111"/>
                      </a:lnTo>
                      <a:lnTo>
                        <a:pt x="362" y="106"/>
                      </a:lnTo>
                      <a:lnTo>
                        <a:pt x="358" y="105"/>
                      </a:lnTo>
                      <a:lnTo>
                        <a:pt x="356" y="101"/>
                      </a:lnTo>
                      <a:lnTo>
                        <a:pt x="358" y="96"/>
                      </a:lnTo>
                      <a:lnTo>
                        <a:pt x="359" y="96"/>
                      </a:lnTo>
                      <a:lnTo>
                        <a:pt x="366" y="95"/>
                      </a:lnTo>
                      <a:lnTo>
                        <a:pt x="369" y="95"/>
                      </a:lnTo>
                      <a:lnTo>
                        <a:pt x="371" y="91"/>
                      </a:lnTo>
                      <a:lnTo>
                        <a:pt x="372" y="90"/>
                      </a:lnTo>
                      <a:lnTo>
                        <a:pt x="374" y="90"/>
                      </a:lnTo>
                      <a:lnTo>
                        <a:pt x="374" y="88"/>
                      </a:lnTo>
                      <a:lnTo>
                        <a:pt x="379" y="87"/>
                      </a:lnTo>
                      <a:lnTo>
                        <a:pt x="379" y="83"/>
                      </a:lnTo>
                      <a:lnTo>
                        <a:pt x="382" y="80"/>
                      </a:lnTo>
                      <a:lnTo>
                        <a:pt x="385" y="80"/>
                      </a:lnTo>
                      <a:lnTo>
                        <a:pt x="390" y="78"/>
                      </a:lnTo>
                      <a:lnTo>
                        <a:pt x="395" y="74"/>
                      </a:lnTo>
                      <a:lnTo>
                        <a:pt x="393" y="70"/>
                      </a:lnTo>
                      <a:lnTo>
                        <a:pt x="397" y="70"/>
                      </a:lnTo>
                      <a:lnTo>
                        <a:pt x="400" y="67"/>
                      </a:lnTo>
                      <a:lnTo>
                        <a:pt x="403" y="72"/>
                      </a:lnTo>
                      <a:lnTo>
                        <a:pt x="407" y="70"/>
                      </a:lnTo>
                      <a:lnTo>
                        <a:pt x="413" y="72"/>
                      </a:lnTo>
                      <a:lnTo>
                        <a:pt x="415" y="70"/>
                      </a:lnTo>
                      <a:lnTo>
                        <a:pt x="415" y="67"/>
                      </a:lnTo>
                      <a:lnTo>
                        <a:pt x="421" y="64"/>
                      </a:lnTo>
                      <a:lnTo>
                        <a:pt x="423" y="64"/>
                      </a:lnTo>
                      <a:lnTo>
                        <a:pt x="426" y="67"/>
                      </a:lnTo>
                      <a:lnTo>
                        <a:pt x="428" y="67"/>
                      </a:lnTo>
                      <a:lnTo>
                        <a:pt x="428" y="67"/>
                      </a:lnTo>
                      <a:lnTo>
                        <a:pt x="426" y="72"/>
                      </a:lnTo>
                      <a:lnTo>
                        <a:pt x="428" y="75"/>
                      </a:lnTo>
                      <a:lnTo>
                        <a:pt x="429" y="74"/>
                      </a:lnTo>
                      <a:lnTo>
                        <a:pt x="431" y="74"/>
                      </a:lnTo>
                      <a:lnTo>
                        <a:pt x="433" y="77"/>
                      </a:lnTo>
                      <a:lnTo>
                        <a:pt x="434" y="78"/>
                      </a:lnTo>
                      <a:lnTo>
                        <a:pt x="434" y="82"/>
                      </a:lnTo>
                      <a:lnTo>
                        <a:pt x="431" y="85"/>
                      </a:lnTo>
                      <a:lnTo>
                        <a:pt x="433" y="87"/>
                      </a:lnTo>
                      <a:lnTo>
                        <a:pt x="436" y="88"/>
                      </a:lnTo>
                      <a:lnTo>
                        <a:pt x="438" y="87"/>
                      </a:lnTo>
                      <a:lnTo>
                        <a:pt x="441" y="88"/>
                      </a:lnTo>
                      <a:lnTo>
                        <a:pt x="444" y="91"/>
                      </a:lnTo>
                      <a:lnTo>
                        <a:pt x="444" y="93"/>
                      </a:lnTo>
                      <a:lnTo>
                        <a:pt x="441" y="96"/>
                      </a:lnTo>
                      <a:lnTo>
                        <a:pt x="441" y="101"/>
                      </a:lnTo>
                      <a:lnTo>
                        <a:pt x="442" y="103"/>
                      </a:lnTo>
                      <a:lnTo>
                        <a:pt x="439" y="103"/>
                      </a:lnTo>
                      <a:lnTo>
                        <a:pt x="436" y="100"/>
                      </a:lnTo>
                      <a:lnTo>
                        <a:pt x="433" y="103"/>
                      </a:lnTo>
                      <a:lnTo>
                        <a:pt x="426" y="105"/>
                      </a:lnTo>
                      <a:lnTo>
                        <a:pt x="424" y="109"/>
                      </a:lnTo>
                      <a:lnTo>
                        <a:pt x="421" y="113"/>
                      </a:lnTo>
                      <a:lnTo>
                        <a:pt x="418" y="114"/>
                      </a:lnTo>
                      <a:lnTo>
                        <a:pt x="413" y="123"/>
                      </a:lnTo>
                      <a:lnTo>
                        <a:pt x="411" y="127"/>
                      </a:lnTo>
                      <a:lnTo>
                        <a:pt x="413" y="129"/>
                      </a:lnTo>
                      <a:lnTo>
                        <a:pt x="411" y="136"/>
                      </a:lnTo>
                      <a:lnTo>
                        <a:pt x="407" y="142"/>
                      </a:lnTo>
                      <a:lnTo>
                        <a:pt x="407" y="145"/>
                      </a:lnTo>
                      <a:lnTo>
                        <a:pt x="411" y="147"/>
                      </a:lnTo>
                      <a:lnTo>
                        <a:pt x="408" y="155"/>
                      </a:lnTo>
                      <a:lnTo>
                        <a:pt x="407" y="163"/>
                      </a:lnTo>
                      <a:lnTo>
                        <a:pt x="403" y="168"/>
                      </a:lnTo>
                      <a:lnTo>
                        <a:pt x="398" y="168"/>
                      </a:lnTo>
                      <a:lnTo>
                        <a:pt x="397" y="168"/>
                      </a:lnTo>
                      <a:lnTo>
                        <a:pt x="393" y="168"/>
                      </a:lnTo>
                      <a:lnTo>
                        <a:pt x="395" y="175"/>
                      </a:lnTo>
                      <a:lnTo>
                        <a:pt x="395" y="180"/>
                      </a:lnTo>
                      <a:lnTo>
                        <a:pt x="395" y="186"/>
                      </a:lnTo>
                      <a:lnTo>
                        <a:pt x="392" y="185"/>
                      </a:lnTo>
                      <a:lnTo>
                        <a:pt x="392" y="190"/>
                      </a:lnTo>
                      <a:lnTo>
                        <a:pt x="392" y="193"/>
                      </a:lnTo>
                      <a:lnTo>
                        <a:pt x="392" y="196"/>
                      </a:lnTo>
                      <a:lnTo>
                        <a:pt x="390" y="203"/>
                      </a:lnTo>
                      <a:lnTo>
                        <a:pt x="389" y="203"/>
                      </a:lnTo>
                      <a:lnTo>
                        <a:pt x="387" y="203"/>
                      </a:lnTo>
                      <a:lnTo>
                        <a:pt x="387" y="206"/>
                      </a:lnTo>
                      <a:lnTo>
                        <a:pt x="387" y="207"/>
                      </a:lnTo>
                      <a:lnTo>
                        <a:pt x="385" y="206"/>
                      </a:lnTo>
                      <a:lnTo>
                        <a:pt x="385" y="206"/>
                      </a:lnTo>
                      <a:lnTo>
                        <a:pt x="385" y="203"/>
                      </a:lnTo>
                      <a:lnTo>
                        <a:pt x="384" y="203"/>
                      </a:lnTo>
                      <a:lnTo>
                        <a:pt x="384" y="199"/>
                      </a:lnTo>
                      <a:lnTo>
                        <a:pt x="382" y="196"/>
                      </a:lnTo>
                      <a:lnTo>
                        <a:pt x="380" y="190"/>
                      </a:lnTo>
                      <a:lnTo>
                        <a:pt x="380" y="186"/>
                      </a:lnTo>
                      <a:lnTo>
                        <a:pt x="380" y="183"/>
                      </a:lnTo>
                      <a:lnTo>
                        <a:pt x="379" y="178"/>
                      </a:lnTo>
                      <a:lnTo>
                        <a:pt x="377" y="176"/>
                      </a:lnTo>
                      <a:lnTo>
                        <a:pt x="377" y="175"/>
                      </a:lnTo>
                      <a:lnTo>
                        <a:pt x="374" y="175"/>
                      </a:lnTo>
                      <a:lnTo>
                        <a:pt x="372" y="173"/>
                      </a:lnTo>
                      <a:lnTo>
                        <a:pt x="371" y="175"/>
                      </a:lnTo>
                      <a:lnTo>
                        <a:pt x="371" y="176"/>
                      </a:lnTo>
                      <a:lnTo>
                        <a:pt x="371" y="178"/>
                      </a:lnTo>
                      <a:lnTo>
                        <a:pt x="371" y="180"/>
                      </a:lnTo>
                      <a:lnTo>
                        <a:pt x="369" y="181"/>
                      </a:lnTo>
                      <a:lnTo>
                        <a:pt x="369" y="183"/>
                      </a:lnTo>
                      <a:lnTo>
                        <a:pt x="369" y="185"/>
                      </a:lnTo>
                      <a:lnTo>
                        <a:pt x="367" y="185"/>
                      </a:lnTo>
                      <a:lnTo>
                        <a:pt x="366" y="181"/>
                      </a:lnTo>
                      <a:lnTo>
                        <a:pt x="362" y="180"/>
                      </a:lnTo>
                      <a:lnTo>
                        <a:pt x="362" y="178"/>
                      </a:lnTo>
                      <a:lnTo>
                        <a:pt x="361" y="176"/>
                      </a:lnTo>
                      <a:lnTo>
                        <a:pt x="359" y="172"/>
                      </a:lnTo>
                      <a:lnTo>
                        <a:pt x="359" y="170"/>
                      </a:lnTo>
                      <a:lnTo>
                        <a:pt x="361" y="168"/>
                      </a:lnTo>
                      <a:lnTo>
                        <a:pt x="361" y="167"/>
                      </a:lnTo>
                      <a:lnTo>
                        <a:pt x="364" y="165"/>
                      </a:lnTo>
                      <a:lnTo>
                        <a:pt x="366" y="167"/>
                      </a:lnTo>
                      <a:lnTo>
                        <a:pt x="367" y="167"/>
                      </a:lnTo>
                      <a:lnTo>
                        <a:pt x="367" y="165"/>
                      </a:lnTo>
                      <a:lnTo>
                        <a:pt x="367" y="163"/>
                      </a:lnTo>
                      <a:lnTo>
                        <a:pt x="371" y="162"/>
                      </a:lnTo>
                      <a:lnTo>
                        <a:pt x="372" y="157"/>
                      </a:lnTo>
                      <a:lnTo>
                        <a:pt x="372" y="152"/>
                      </a:lnTo>
                      <a:lnTo>
                        <a:pt x="374" y="149"/>
                      </a:lnTo>
                      <a:lnTo>
                        <a:pt x="372" y="149"/>
                      </a:lnTo>
                      <a:lnTo>
                        <a:pt x="371" y="145"/>
                      </a:lnTo>
                      <a:lnTo>
                        <a:pt x="369" y="145"/>
                      </a:lnTo>
                      <a:lnTo>
                        <a:pt x="367" y="145"/>
                      </a:lnTo>
                      <a:lnTo>
                        <a:pt x="364" y="145"/>
                      </a:lnTo>
                      <a:lnTo>
                        <a:pt x="359" y="145"/>
                      </a:lnTo>
                      <a:lnTo>
                        <a:pt x="354" y="145"/>
                      </a:lnTo>
                      <a:lnTo>
                        <a:pt x="348" y="145"/>
                      </a:lnTo>
                      <a:lnTo>
                        <a:pt x="344" y="145"/>
                      </a:lnTo>
                      <a:lnTo>
                        <a:pt x="341" y="144"/>
                      </a:lnTo>
                      <a:lnTo>
                        <a:pt x="338" y="144"/>
                      </a:lnTo>
                      <a:lnTo>
                        <a:pt x="335" y="142"/>
                      </a:lnTo>
                      <a:lnTo>
                        <a:pt x="335" y="141"/>
                      </a:lnTo>
                      <a:lnTo>
                        <a:pt x="333" y="137"/>
                      </a:lnTo>
                      <a:lnTo>
                        <a:pt x="333" y="136"/>
                      </a:lnTo>
                      <a:lnTo>
                        <a:pt x="333" y="131"/>
                      </a:lnTo>
                      <a:lnTo>
                        <a:pt x="330" y="127"/>
                      </a:lnTo>
                      <a:lnTo>
                        <a:pt x="328" y="127"/>
                      </a:lnTo>
                      <a:lnTo>
                        <a:pt x="328" y="129"/>
                      </a:lnTo>
                      <a:lnTo>
                        <a:pt x="325" y="127"/>
                      </a:lnTo>
                      <a:lnTo>
                        <a:pt x="323" y="126"/>
                      </a:lnTo>
                      <a:lnTo>
                        <a:pt x="322" y="124"/>
                      </a:lnTo>
                      <a:lnTo>
                        <a:pt x="320" y="124"/>
                      </a:lnTo>
                      <a:lnTo>
                        <a:pt x="320" y="126"/>
                      </a:lnTo>
                      <a:lnTo>
                        <a:pt x="322" y="127"/>
                      </a:lnTo>
                      <a:lnTo>
                        <a:pt x="320" y="127"/>
                      </a:lnTo>
                      <a:lnTo>
                        <a:pt x="317" y="127"/>
                      </a:lnTo>
                      <a:lnTo>
                        <a:pt x="315" y="124"/>
                      </a:lnTo>
                      <a:lnTo>
                        <a:pt x="315" y="123"/>
                      </a:lnTo>
                      <a:lnTo>
                        <a:pt x="312" y="121"/>
                      </a:lnTo>
                      <a:lnTo>
                        <a:pt x="312" y="118"/>
                      </a:lnTo>
                      <a:lnTo>
                        <a:pt x="310" y="121"/>
                      </a:lnTo>
                      <a:lnTo>
                        <a:pt x="309" y="121"/>
                      </a:lnTo>
                      <a:lnTo>
                        <a:pt x="309" y="123"/>
                      </a:lnTo>
                      <a:lnTo>
                        <a:pt x="310" y="124"/>
                      </a:lnTo>
                      <a:lnTo>
                        <a:pt x="309" y="129"/>
                      </a:lnTo>
                      <a:lnTo>
                        <a:pt x="305" y="132"/>
                      </a:lnTo>
                      <a:lnTo>
                        <a:pt x="305" y="136"/>
                      </a:lnTo>
                      <a:lnTo>
                        <a:pt x="313" y="139"/>
                      </a:lnTo>
                      <a:lnTo>
                        <a:pt x="315" y="137"/>
                      </a:lnTo>
                      <a:lnTo>
                        <a:pt x="320" y="137"/>
                      </a:lnTo>
                      <a:lnTo>
                        <a:pt x="320" y="141"/>
                      </a:lnTo>
                      <a:lnTo>
                        <a:pt x="320" y="144"/>
                      </a:lnTo>
                      <a:lnTo>
                        <a:pt x="318" y="145"/>
                      </a:lnTo>
                      <a:lnTo>
                        <a:pt x="317" y="145"/>
                      </a:lnTo>
                      <a:lnTo>
                        <a:pt x="313" y="147"/>
                      </a:lnTo>
                      <a:lnTo>
                        <a:pt x="312" y="150"/>
                      </a:lnTo>
                      <a:lnTo>
                        <a:pt x="310" y="152"/>
                      </a:lnTo>
                      <a:lnTo>
                        <a:pt x="310" y="158"/>
                      </a:lnTo>
                      <a:lnTo>
                        <a:pt x="313" y="162"/>
                      </a:lnTo>
                      <a:lnTo>
                        <a:pt x="317" y="163"/>
                      </a:lnTo>
                      <a:lnTo>
                        <a:pt x="322" y="168"/>
                      </a:lnTo>
                      <a:lnTo>
                        <a:pt x="322" y="175"/>
                      </a:lnTo>
                      <a:lnTo>
                        <a:pt x="322" y="178"/>
                      </a:lnTo>
                      <a:lnTo>
                        <a:pt x="322" y="181"/>
                      </a:lnTo>
                      <a:lnTo>
                        <a:pt x="323" y="186"/>
                      </a:lnTo>
                      <a:lnTo>
                        <a:pt x="327" y="193"/>
                      </a:lnTo>
                      <a:lnTo>
                        <a:pt x="327" y="198"/>
                      </a:lnTo>
                      <a:lnTo>
                        <a:pt x="328" y="199"/>
                      </a:lnTo>
                      <a:lnTo>
                        <a:pt x="328" y="204"/>
                      </a:lnTo>
                      <a:lnTo>
                        <a:pt x="328" y="206"/>
                      </a:lnTo>
                      <a:lnTo>
                        <a:pt x="330" y="209"/>
                      </a:lnTo>
                      <a:lnTo>
                        <a:pt x="328" y="212"/>
                      </a:lnTo>
                      <a:lnTo>
                        <a:pt x="325" y="209"/>
                      </a:lnTo>
                      <a:lnTo>
                        <a:pt x="325" y="211"/>
                      </a:lnTo>
                      <a:lnTo>
                        <a:pt x="323" y="209"/>
                      </a:lnTo>
                      <a:lnTo>
                        <a:pt x="323" y="206"/>
                      </a:lnTo>
                      <a:lnTo>
                        <a:pt x="322" y="204"/>
                      </a:lnTo>
                      <a:lnTo>
                        <a:pt x="322" y="206"/>
                      </a:lnTo>
                      <a:lnTo>
                        <a:pt x="322" y="207"/>
                      </a:lnTo>
                      <a:lnTo>
                        <a:pt x="322" y="207"/>
                      </a:lnTo>
                      <a:lnTo>
                        <a:pt x="320" y="207"/>
                      </a:lnTo>
                      <a:lnTo>
                        <a:pt x="318" y="207"/>
                      </a:lnTo>
                      <a:lnTo>
                        <a:pt x="318" y="209"/>
                      </a:lnTo>
                      <a:lnTo>
                        <a:pt x="315" y="207"/>
                      </a:lnTo>
                      <a:lnTo>
                        <a:pt x="313" y="204"/>
                      </a:lnTo>
                      <a:lnTo>
                        <a:pt x="315" y="201"/>
                      </a:lnTo>
                      <a:lnTo>
                        <a:pt x="312" y="199"/>
                      </a:lnTo>
                      <a:lnTo>
                        <a:pt x="310" y="199"/>
                      </a:lnTo>
                      <a:lnTo>
                        <a:pt x="310" y="199"/>
                      </a:lnTo>
                      <a:lnTo>
                        <a:pt x="312" y="201"/>
                      </a:lnTo>
                      <a:lnTo>
                        <a:pt x="313" y="203"/>
                      </a:lnTo>
                      <a:lnTo>
                        <a:pt x="312" y="203"/>
                      </a:lnTo>
                      <a:lnTo>
                        <a:pt x="312" y="204"/>
                      </a:lnTo>
                      <a:lnTo>
                        <a:pt x="310" y="207"/>
                      </a:lnTo>
                      <a:lnTo>
                        <a:pt x="309" y="211"/>
                      </a:lnTo>
                      <a:lnTo>
                        <a:pt x="299" y="214"/>
                      </a:lnTo>
                      <a:lnTo>
                        <a:pt x="297" y="216"/>
                      </a:lnTo>
                      <a:lnTo>
                        <a:pt x="297" y="217"/>
                      </a:lnTo>
                      <a:lnTo>
                        <a:pt x="295" y="221"/>
                      </a:lnTo>
                      <a:lnTo>
                        <a:pt x="295" y="222"/>
                      </a:lnTo>
                      <a:lnTo>
                        <a:pt x="297" y="225"/>
                      </a:lnTo>
                      <a:lnTo>
                        <a:pt x="297" y="227"/>
                      </a:lnTo>
                      <a:lnTo>
                        <a:pt x="297" y="227"/>
                      </a:lnTo>
                      <a:lnTo>
                        <a:pt x="294" y="230"/>
                      </a:lnTo>
                      <a:lnTo>
                        <a:pt x="294" y="234"/>
                      </a:lnTo>
                      <a:lnTo>
                        <a:pt x="292" y="234"/>
                      </a:lnTo>
                      <a:lnTo>
                        <a:pt x="292" y="235"/>
                      </a:lnTo>
                      <a:lnTo>
                        <a:pt x="287" y="240"/>
                      </a:lnTo>
                      <a:lnTo>
                        <a:pt x="286" y="242"/>
                      </a:lnTo>
                      <a:lnTo>
                        <a:pt x="278" y="247"/>
                      </a:lnTo>
                      <a:lnTo>
                        <a:pt x="278" y="245"/>
                      </a:lnTo>
                      <a:lnTo>
                        <a:pt x="278" y="243"/>
                      </a:lnTo>
                      <a:lnTo>
                        <a:pt x="276" y="243"/>
                      </a:lnTo>
                      <a:lnTo>
                        <a:pt x="274" y="243"/>
                      </a:lnTo>
                      <a:lnTo>
                        <a:pt x="273" y="245"/>
                      </a:lnTo>
                      <a:lnTo>
                        <a:pt x="271" y="245"/>
                      </a:lnTo>
                      <a:lnTo>
                        <a:pt x="269" y="250"/>
                      </a:lnTo>
                      <a:lnTo>
                        <a:pt x="273" y="248"/>
                      </a:lnTo>
                      <a:lnTo>
                        <a:pt x="273" y="248"/>
                      </a:lnTo>
                      <a:lnTo>
                        <a:pt x="274" y="248"/>
                      </a:lnTo>
                      <a:lnTo>
                        <a:pt x="264" y="258"/>
                      </a:lnTo>
                      <a:lnTo>
                        <a:pt x="261" y="266"/>
                      </a:lnTo>
                      <a:lnTo>
                        <a:pt x="246" y="278"/>
                      </a:lnTo>
                      <a:lnTo>
                        <a:pt x="245" y="281"/>
                      </a:lnTo>
                      <a:lnTo>
                        <a:pt x="242" y="284"/>
                      </a:lnTo>
                      <a:lnTo>
                        <a:pt x="235" y="288"/>
                      </a:lnTo>
                      <a:lnTo>
                        <a:pt x="232" y="291"/>
                      </a:lnTo>
                      <a:lnTo>
                        <a:pt x="230" y="294"/>
                      </a:lnTo>
                      <a:lnTo>
                        <a:pt x="232" y="297"/>
                      </a:lnTo>
                      <a:lnTo>
                        <a:pt x="229" y="302"/>
                      </a:lnTo>
                      <a:lnTo>
                        <a:pt x="225" y="304"/>
                      </a:lnTo>
                      <a:lnTo>
                        <a:pt x="219" y="304"/>
                      </a:lnTo>
                      <a:lnTo>
                        <a:pt x="215" y="306"/>
                      </a:lnTo>
                      <a:lnTo>
                        <a:pt x="215" y="309"/>
                      </a:lnTo>
                      <a:lnTo>
                        <a:pt x="211" y="315"/>
                      </a:lnTo>
                      <a:lnTo>
                        <a:pt x="209" y="315"/>
                      </a:lnTo>
                      <a:lnTo>
                        <a:pt x="207" y="312"/>
                      </a:lnTo>
                      <a:lnTo>
                        <a:pt x="206" y="312"/>
                      </a:lnTo>
                      <a:lnTo>
                        <a:pt x="199" y="317"/>
                      </a:lnTo>
                      <a:lnTo>
                        <a:pt x="199" y="320"/>
                      </a:lnTo>
                      <a:lnTo>
                        <a:pt x="199" y="327"/>
                      </a:lnTo>
                      <a:lnTo>
                        <a:pt x="201" y="335"/>
                      </a:lnTo>
                      <a:lnTo>
                        <a:pt x="199" y="337"/>
                      </a:lnTo>
                      <a:lnTo>
                        <a:pt x="199" y="341"/>
                      </a:lnTo>
                      <a:lnTo>
                        <a:pt x="199" y="355"/>
                      </a:lnTo>
                      <a:lnTo>
                        <a:pt x="202" y="356"/>
                      </a:lnTo>
                      <a:lnTo>
                        <a:pt x="204" y="363"/>
                      </a:lnTo>
                      <a:lnTo>
                        <a:pt x="201" y="374"/>
                      </a:lnTo>
                      <a:lnTo>
                        <a:pt x="196" y="382"/>
                      </a:lnTo>
                      <a:lnTo>
                        <a:pt x="196" y="387"/>
                      </a:lnTo>
                      <a:lnTo>
                        <a:pt x="197" y="390"/>
                      </a:lnTo>
                      <a:lnTo>
                        <a:pt x="199" y="404"/>
                      </a:lnTo>
                      <a:lnTo>
                        <a:pt x="199" y="407"/>
                      </a:lnTo>
                      <a:lnTo>
                        <a:pt x="196" y="408"/>
                      </a:lnTo>
                      <a:lnTo>
                        <a:pt x="194" y="408"/>
                      </a:lnTo>
                      <a:lnTo>
                        <a:pt x="189" y="408"/>
                      </a:lnTo>
                      <a:lnTo>
                        <a:pt x="188" y="412"/>
                      </a:lnTo>
                      <a:lnTo>
                        <a:pt x="189" y="413"/>
                      </a:lnTo>
                      <a:lnTo>
                        <a:pt x="184" y="418"/>
                      </a:lnTo>
                      <a:lnTo>
                        <a:pt x="183" y="420"/>
                      </a:lnTo>
                      <a:lnTo>
                        <a:pt x="184" y="423"/>
                      </a:lnTo>
                      <a:lnTo>
                        <a:pt x="189" y="425"/>
                      </a:lnTo>
                      <a:lnTo>
                        <a:pt x="189" y="426"/>
                      </a:lnTo>
                      <a:lnTo>
                        <a:pt x="189" y="426"/>
                      </a:lnTo>
                      <a:lnTo>
                        <a:pt x="189" y="426"/>
                      </a:lnTo>
                      <a:lnTo>
                        <a:pt x="186" y="425"/>
                      </a:lnTo>
                      <a:lnTo>
                        <a:pt x="180" y="426"/>
                      </a:lnTo>
                      <a:lnTo>
                        <a:pt x="180" y="426"/>
                      </a:lnTo>
                      <a:lnTo>
                        <a:pt x="173" y="430"/>
                      </a:lnTo>
                      <a:lnTo>
                        <a:pt x="171" y="433"/>
                      </a:lnTo>
                      <a:lnTo>
                        <a:pt x="171" y="435"/>
                      </a:lnTo>
                      <a:lnTo>
                        <a:pt x="170" y="435"/>
                      </a:lnTo>
                      <a:lnTo>
                        <a:pt x="171" y="436"/>
                      </a:lnTo>
                      <a:lnTo>
                        <a:pt x="170" y="441"/>
                      </a:lnTo>
                      <a:lnTo>
                        <a:pt x="163" y="444"/>
                      </a:lnTo>
                      <a:lnTo>
                        <a:pt x="158" y="444"/>
                      </a:lnTo>
                      <a:lnTo>
                        <a:pt x="153" y="441"/>
                      </a:lnTo>
                      <a:lnTo>
                        <a:pt x="148" y="435"/>
                      </a:lnTo>
                      <a:lnTo>
                        <a:pt x="144" y="423"/>
                      </a:lnTo>
                      <a:lnTo>
                        <a:pt x="144" y="417"/>
                      </a:lnTo>
                      <a:lnTo>
                        <a:pt x="142" y="410"/>
                      </a:lnTo>
                      <a:lnTo>
                        <a:pt x="137" y="404"/>
                      </a:lnTo>
                      <a:lnTo>
                        <a:pt x="137" y="400"/>
                      </a:lnTo>
                      <a:lnTo>
                        <a:pt x="137" y="400"/>
                      </a:lnTo>
                      <a:lnTo>
                        <a:pt x="135" y="395"/>
                      </a:lnTo>
                      <a:lnTo>
                        <a:pt x="134" y="390"/>
                      </a:lnTo>
                      <a:lnTo>
                        <a:pt x="129" y="384"/>
                      </a:lnTo>
                      <a:lnTo>
                        <a:pt x="126" y="381"/>
                      </a:lnTo>
                      <a:lnTo>
                        <a:pt x="124" y="381"/>
                      </a:lnTo>
                      <a:lnTo>
                        <a:pt x="121" y="376"/>
                      </a:lnTo>
                      <a:lnTo>
                        <a:pt x="119" y="371"/>
                      </a:lnTo>
                      <a:lnTo>
                        <a:pt x="117" y="369"/>
                      </a:lnTo>
                      <a:lnTo>
                        <a:pt x="117" y="363"/>
                      </a:lnTo>
                      <a:lnTo>
                        <a:pt x="114" y="359"/>
                      </a:lnTo>
                      <a:lnTo>
                        <a:pt x="113" y="353"/>
                      </a:lnTo>
                      <a:lnTo>
                        <a:pt x="111" y="348"/>
                      </a:lnTo>
                      <a:lnTo>
                        <a:pt x="109" y="345"/>
                      </a:lnTo>
                      <a:lnTo>
                        <a:pt x="108" y="341"/>
                      </a:lnTo>
                      <a:lnTo>
                        <a:pt x="108" y="337"/>
                      </a:lnTo>
                      <a:lnTo>
                        <a:pt x="106" y="335"/>
                      </a:lnTo>
                      <a:lnTo>
                        <a:pt x="103" y="330"/>
                      </a:lnTo>
                      <a:lnTo>
                        <a:pt x="103" y="328"/>
                      </a:lnTo>
                      <a:lnTo>
                        <a:pt x="101" y="328"/>
                      </a:lnTo>
                      <a:lnTo>
                        <a:pt x="98" y="322"/>
                      </a:lnTo>
                      <a:lnTo>
                        <a:pt x="98" y="320"/>
                      </a:lnTo>
                      <a:lnTo>
                        <a:pt x="96" y="319"/>
                      </a:lnTo>
                      <a:lnTo>
                        <a:pt x="95" y="314"/>
                      </a:lnTo>
                      <a:lnTo>
                        <a:pt x="91" y="312"/>
                      </a:lnTo>
                      <a:lnTo>
                        <a:pt x="90" y="306"/>
                      </a:lnTo>
                      <a:lnTo>
                        <a:pt x="90" y="296"/>
                      </a:lnTo>
                      <a:lnTo>
                        <a:pt x="83" y="283"/>
                      </a:lnTo>
                      <a:lnTo>
                        <a:pt x="83" y="278"/>
                      </a:lnTo>
                      <a:lnTo>
                        <a:pt x="80" y="274"/>
                      </a:lnTo>
                      <a:lnTo>
                        <a:pt x="83" y="273"/>
                      </a:lnTo>
                      <a:lnTo>
                        <a:pt x="78" y="268"/>
                      </a:lnTo>
                      <a:lnTo>
                        <a:pt x="78" y="265"/>
                      </a:lnTo>
                      <a:lnTo>
                        <a:pt x="80" y="263"/>
                      </a:lnTo>
                      <a:lnTo>
                        <a:pt x="78" y="261"/>
                      </a:lnTo>
                      <a:lnTo>
                        <a:pt x="78" y="258"/>
                      </a:lnTo>
                      <a:lnTo>
                        <a:pt x="73" y="250"/>
                      </a:lnTo>
                      <a:lnTo>
                        <a:pt x="73" y="243"/>
                      </a:lnTo>
                      <a:lnTo>
                        <a:pt x="77" y="242"/>
                      </a:lnTo>
                      <a:lnTo>
                        <a:pt x="73" y="240"/>
                      </a:lnTo>
                      <a:lnTo>
                        <a:pt x="73" y="239"/>
                      </a:lnTo>
                      <a:lnTo>
                        <a:pt x="75" y="234"/>
                      </a:lnTo>
                      <a:lnTo>
                        <a:pt x="75" y="230"/>
                      </a:lnTo>
                      <a:lnTo>
                        <a:pt x="73" y="225"/>
                      </a:lnTo>
                      <a:lnTo>
                        <a:pt x="72" y="224"/>
                      </a:lnTo>
                      <a:lnTo>
                        <a:pt x="70" y="216"/>
                      </a:lnTo>
                      <a:lnTo>
                        <a:pt x="73" y="214"/>
                      </a:lnTo>
                      <a:lnTo>
                        <a:pt x="75" y="212"/>
                      </a:lnTo>
                      <a:lnTo>
                        <a:pt x="77" y="212"/>
                      </a:lnTo>
                      <a:lnTo>
                        <a:pt x="75" y="212"/>
                      </a:lnTo>
                      <a:lnTo>
                        <a:pt x="70" y="212"/>
                      </a:lnTo>
                      <a:lnTo>
                        <a:pt x="68" y="212"/>
                      </a:lnTo>
                      <a:lnTo>
                        <a:pt x="68" y="209"/>
                      </a:lnTo>
                      <a:lnTo>
                        <a:pt x="68" y="206"/>
                      </a:lnTo>
                      <a:lnTo>
                        <a:pt x="68" y="203"/>
                      </a:lnTo>
                      <a:lnTo>
                        <a:pt x="68" y="203"/>
                      </a:lnTo>
                      <a:lnTo>
                        <a:pt x="72" y="203"/>
                      </a:lnTo>
                      <a:lnTo>
                        <a:pt x="73" y="201"/>
                      </a:lnTo>
                      <a:lnTo>
                        <a:pt x="75" y="198"/>
                      </a:lnTo>
                      <a:lnTo>
                        <a:pt x="72" y="199"/>
                      </a:lnTo>
                      <a:lnTo>
                        <a:pt x="70" y="199"/>
                      </a:lnTo>
                      <a:lnTo>
                        <a:pt x="67" y="199"/>
                      </a:lnTo>
                      <a:lnTo>
                        <a:pt x="65" y="198"/>
                      </a:lnTo>
                      <a:lnTo>
                        <a:pt x="65" y="199"/>
                      </a:lnTo>
                      <a:lnTo>
                        <a:pt x="65" y="203"/>
                      </a:lnTo>
                      <a:lnTo>
                        <a:pt x="62" y="209"/>
                      </a:lnTo>
                      <a:lnTo>
                        <a:pt x="65" y="211"/>
                      </a:lnTo>
                      <a:lnTo>
                        <a:pt x="64" y="217"/>
                      </a:lnTo>
                      <a:lnTo>
                        <a:pt x="62" y="219"/>
                      </a:lnTo>
                      <a:lnTo>
                        <a:pt x="62" y="222"/>
                      </a:lnTo>
                      <a:lnTo>
                        <a:pt x="57" y="224"/>
                      </a:lnTo>
                      <a:lnTo>
                        <a:pt x="49" y="229"/>
                      </a:lnTo>
                      <a:lnTo>
                        <a:pt x="44" y="230"/>
                      </a:lnTo>
                      <a:lnTo>
                        <a:pt x="39" y="229"/>
                      </a:lnTo>
                      <a:lnTo>
                        <a:pt x="26" y="219"/>
                      </a:lnTo>
                      <a:lnTo>
                        <a:pt x="21" y="212"/>
                      </a:lnTo>
                      <a:lnTo>
                        <a:pt x="21" y="212"/>
                      </a:lnTo>
                      <a:lnTo>
                        <a:pt x="19" y="212"/>
                      </a:lnTo>
                      <a:lnTo>
                        <a:pt x="18" y="211"/>
                      </a:lnTo>
                      <a:lnTo>
                        <a:pt x="11" y="204"/>
                      </a:lnTo>
                      <a:lnTo>
                        <a:pt x="10" y="201"/>
                      </a:lnTo>
                      <a:lnTo>
                        <a:pt x="11" y="199"/>
                      </a:lnTo>
                      <a:lnTo>
                        <a:pt x="13" y="199"/>
                      </a:lnTo>
                      <a:lnTo>
                        <a:pt x="13" y="201"/>
                      </a:lnTo>
                      <a:lnTo>
                        <a:pt x="15" y="199"/>
                      </a:lnTo>
                      <a:lnTo>
                        <a:pt x="15" y="203"/>
                      </a:lnTo>
                      <a:lnTo>
                        <a:pt x="18" y="204"/>
                      </a:lnTo>
                      <a:lnTo>
                        <a:pt x="19" y="203"/>
                      </a:lnTo>
                      <a:lnTo>
                        <a:pt x="21" y="203"/>
                      </a:lnTo>
                      <a:lnTo>
                        <a:pt x="23" y="203"/>
                      </a:lnTo>
                      <a:lnTo>
                        <a:pt x="23" y="203"/>
                      </a:lnTo>
                      <a:lnTo>
                        <a:pt x="29" y="196"/>
                      </a:lnTo>
                      <a:lnTo>
                        <a:pt x="31" y="196"/>
                      </a:lnTo>
                      <a:lnTo>
                        <a:pt x="34" y="191"/>
                      </a:lnTo>
                      <a:lnTo>
                        <a:pt x="36" y="191"/>
                      </a:lnTo>
                      <a:lnTo>
                        <a:pt x="36" y="190"/>
                      </a:lnTo>
                      <a:lnTo>
                        <a:pt x="33" y="188"/>
                      </a:lnTo>
                      <a:lnTo>
                        <a:pt x="33" y="188"/>
                      </a:lnTo>
                      <a:lnTo>
                        <a:pt x="33" y="190"/>
                      </a:lnTo>
                      <a:lnTo>
                        <a:pt x="33" y="191"/>
                      </a:lnTo>
                      <a:lnTo>
                        <a:pt x="26" y="193"/>
                      </a:lnTo>
                      <a:lnTo>
                        <a:pt x="23" y="193"/>
                      </a:lnTo>
                      <a:lnTo>
                        <a:pt x="19" y="194"/>
                      </a:lnTo>
                      <a:lnTo>
                        <a:pt x="8" y="191"/>
                      </a:lnTo>
                      <a:lnTo>
                        <a:pt x="3" y="186"/>
                      </a:lnTo>
                      <a:lnTo>
                        <a:pt x="2" y="185"/>
                      </a:lnTo>
                      <a:lnTo>
                        <a:pt x="2" y="181"/>
                      </a:lnTo>
                      <a:lnTo>
                        <a:pt x="5" y="176"/>
                      </a:lnTo>
                      <a:lnTo>
                        <a:pt x="8" y="175"/>
                      </a:lnTo>
                      <a:lnTo>
                        <a:pt x="5" y="176"/>
                      </a:lnTo>
                      <a:lnTo>
                        <a:pt x="0" y="178"/>
                      </a:lnTo>
                      <a:lnTo>
                        <a:pt x="0" y="175"/>
                      </a:lnTo>
                      <a:lnTo>
                        <a:pt x="3" y="172"/>
                      </a:lnTo>
                      <a:lnTo>
                        <a:pt x="5" y="172"/>
                      </a:lnTo>
                      <a:lnTo>
                        <a:pt x="6" y="168"/>
                      </a:lnTo>
                      <a:lnTo>
                        <a:pt x="10" y="168"/>
                      </a:lnTo>
                      <a:lnTo>
                        <a:pt x="11" y="167"/>
                      </a:lnTo>
                      <a:lnTo>
                        <a:pt x="23" y="167"/>
                      </a:lnTo>
                      <a:lnTo>
                        <a:pt x="29" y="165"/>
                      </a:lnTo>
                      <a:lnTo>
                        <a:pt x="29" y="163"/>
                      </a:lnTo>
                      <a:lnTo>
                        <a:pt x="34" y="162"/>
                      </a:lnTo>
                      <a:lnTo>
                        <a:pt x="33" y="165"/>
                      </a:lnTo>
                      <a:lnTo>
                        <a:pt x="34" y="167"/>
                      </a:lnTo>
                      <a:lnTo>
                        <a:pt x="37" y="165"/>
                      </a:lnTo>
                      <a:lnTo>
                        <a:pt x="41" y="163"/>
                      </a:lnTo>
                      <a:lnTo>
                        <a:pt x="39" y="162"/>
                      </a:lnTo>
                      <a:lnTo>
                        <a:pt x="39" y="160"/>
                      </a:lnTo>
                      <a:lnTo>
                        <a:pt x="36" y="149"/>
                      </a:lnTo>
                      <a:lnTo>
                        <a:pt x="33" y="145"/>
                      </a:lnTo>
                      <a:lnTo>
                        <a:pt x="34" y="142"/>
                      </a:lnTo>
                      <a:lnTo>
                        <a:pt x="31" y="141"/>
                      </a:lnTo>
                      <a:lnTo>
                        <a:pt x="29" y="141"/>
                      </a:lnTo>
                      <a:lnTo>
                        <a:pt x="23" y="137"/>
                      </a:lnTo>
                      <a:lnTo>
                        <a:pt x="23" y="132"/>
                      </a:lnTo>
                      <a:lnTo>
                        <a:pt x="23" y="127"/>
                      </a:lnTo>
                      <a:lnTo>
                        <a:pt x="21" y="123"/>
                      </a:lnTo>
                      <a:lnTo>
                        <a:pt x="18" y="123"/>
                      </a:lnTo>
                      <a:lnTo>
                        <a:pt x="16" y="124"/>
                      </a:lnTo>
                      <a:lnTo>
                        <a:pt x="13" y="123"/>
                      </a:lnTo>
                      <a:lnTo>
                        <a:pt x="10" y="123"/>
                      </a:lnTo>
                      <a:lnTo>
                        <a:pt x="10" y="119"/>
                      </a:lnTo>
                      <a:lnTo>
                        <a:pt x="13" y="113"/>
                      </a:lnTo>
                      <a:lnTo>
                        <a:pt x="15" y="111"/>
                      </a:lnTo>
                      <a:lnTo>
                        <a:pt x="19" y="105"/>
                      </a:lnTo>
                      <a:lnTo>
                        <a:pt x="19" y="103"/>
                      </a:lnTo>
                      <a:lnTo>
                        <a:pt x="23" y="101"/>
                      </a:lnTo>
                      <a:lnTo>
                        <a:pt x="24" y="100"/>
                      </a:lnTo>
                      <a:lnTo>
                        <a:pt x="28" y="101"/>
                      </a:lnTo>
                      <a:lnTo>
                        <a:pt x="29" y="105"/>
                      </a:lnTo>
                      <a:lnTo>
                        <a:pt x="31" y="105"/>
                      </a:lnTo>
                      <a:lnTo>
                        <a:pt x="37" y="101"/>
                      </a:lnTo>
                      <a:lnTo>
                        <a:pt x="46" y="101"/>
                      </a:lnTo>
                      <a:lnTo>
                        <a:pt x="50" y="95"/>
                      </a:lnTo>
                      <a:lnTo>
                        <a:pt x="54" y="85"/>
                      </a:lnTo>
                      <a:lnTo>
                        <a:pt x="60" y="80"/>
                      </a:lnTo>
                      <a:lnTo>
                        <a:pt x="62" y="77"/>
                      </a:lnTo>
                      <a:lnTo>
                        <a:pt x="64" y="72"/>
                      </a:lnTo>
                      <a:lnTo>
                        <a:pt x="67" y="67"/>
                      </a:lnTo>
                      <a:lnTo>
                        <a:pt x="72" y="64"/>
                      </a:lnTo>
                      <a:lnTo>
                        <a:pt x="73" y="60"/>
                      </a:lnTo>
                      <a:lnTo>
                        <a:pt x="73" y="57"/>
                      </a:lnTo>
                      <a:lnTo>
                        <a:pt x="72" y="56"/>
                      </a:lnTo>
                      <a:lnTo>
                        <a:pt x="75" y="51"/>
                      </a:lnTo>
                      <a:lnTo>
                        <a:pt x="78" y="47"/>
                      </a:lnTo>
                      <a:lnTo>
                        <a:pt x="78" y="44"/>
                      </a:lnTo>
                      <a:lnTo>
                        <a:pt x="80" y="36"/>
                      </a:lnTo>
                      <a:lnTo>
                        <a:pt x="78" y="29"/>
                      </a:lnTo>
                      <a:lnTo>
                        <a:pt x="77" y="29"/>
                      </a:lnTo>
                      <a:lnTo>
                        <a:pt x="82" y="25"/>
                      </a:lnTo>
                      <a:lnTo>
                        <a:pt x="85" y="23"/>
                      </a:lnTo>
                      <a:lnTo>
                        <a:pt x="88" y="21"/>
                      </a:lnTo>
                      <a:lnTo>
                        <a:pt x="90" y="21"/>
                      </a:lnTo>
                      <a:lnTo>
                        <a:pt x="95" y="16"/>
                      </a:lnTo>
                      <a:lnTo>
                        <a:pt x="99" y="8"/>
                      </a:lnTo>
                      <a:lnTo>
                        <a:pt x="103" y="5"/>
                      </a:lnTo>
                      <a:lnTo>
                        <a:pt x="108" y="3"/>
                      </a:lnTo>
                      <a:lnTo>
                        <a:pt x="109" y="0"/>
                      </a:lnTo>
                      <a:lnTo>
                        <a:pt x="113" y="0"/>
                      </a:lnTo>
                      <a:lnTo>
                        <a:pt x="121" y="7"/>
                      </a:lnTo>
                      <a:lnTo>
                        <a:pt x="126" y="3"/>
                      </a:lnTo>
                      <a:lnTo>
                        <a:pt x="131" y="5"/>
                      </a:lnTo>
                      <a:lnTo>
                        <a:pt x="132" y="10"/>
                      </a:lnTo>
                      <a:lnTo>
                        <a:pt x="135" y="10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close/>
                      <a:moveTo>
                        <a:pt x="322" y="211"/>
                      </a:moveTo>
                      <a:lnTo>
                        <a:pt x="322" y="212"/>
                      </a:lnTo>
                      <a:lnTo>
                        <a:pt x="323" y="212"/>
                      </a:lnTo>
                      <a:lnTo>
                        <a:pt x="322" y="211"/>
                      </a:lnTo>
                      <a:lnTo>
                        <a:pt x="322" y="211"/>
                      </a:lnTo>
                      <a:close/>
                      <a:moveTo>
                        <a:pt x="320" y="209"/>
                      </a:moveTo>
                      <a:lnTo>
                        <a:pt x="318" y="211"/>
                      </a:lnTo>
                      <a:lnTo>
                        <a:pt x="318" y="212"/>
                      </a:lnTo>
                      <a:lnTo>
                        <a:pt x="320" y="212"/>
                      </a:lnTo>
                      <a:lnTo>
                        <a:pt x="320" y="211"/>
                      </a:lnTo>
                      <a:lnTo>
                        <a:pt x="320" y="209"/>
                      </a:lnTo>
                      <a:lnTo>
                        <a:pt x="320" y="209"/>
                      </a:lnTo>
                      <a:close/>
                      <a:moveTo>
                        <a:pt x="315" y="209"/>
                      </a:moveTo>
                      <a:lnTo>
                        <a:pt x="317" y="212"/>
                      </a:lnTo>
                      <a:lnTo>
                        <a:pt x="318" y="214"/>
                      </a:lnTo>
                      <a:lnTo>
                        <a:pt x="317" y="211"/>
                      </a:lnTo>
                      <a:lnTo>
                        <a:pt x="315" y="209"/>
                      </a:lnTo>
                      <a:lnTo>
                        <a:pt x="315" y="209"/>
                      </a:lnTo>
                      <a:close/>
                      <a:moveTo>
                        <a:pt x="312" y="211"/>
                      </a:moveTo>
                      <a:lnTo>
                        <a:pt x="312" y="212"/>
                      </a:lnTo>
                      <a:lnTo>
                        <a:pt x="313" y="212"/>
                      </a:lnTo>
                      <a:lnTo>
                        <a:pt x="313" y="207"/>
                      </a:lnTo>
                      <a:lnTo>
                        <a:pt x="313" y="206"/>
                      </a:lnTo>
                      <a:lnTo>
                        <a:pt x="312" y="21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3" name="Freeform 182">
                  <a:extLst>
                    <a:ext uri="{FF2B5EF4-FFF2-40B4-BE49-F238E27FC236}">
                      <a16:creationId xmlns:a16="http://schemas.microsoft.com/office/drawing/2014/main" xmlns="" id="{2B2F894E-4355-4D7E-B4C8-AEF1860A89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34" y="1600"/>
                  <a:ext cx="82" cy="109"/>
                </a:xfrm>
                <a:custGeom>
                  <a:avLst/>
                  <a:gdLst>
                    <a:gd name="T0" fmla="*/ 49 w 50"/>
                    <a:gd name="T1" fmla="*/ 59 h 67"/>
                    <a:gd name="T2" fmla="*/ 46 w 50"/>
                    <a:gd name="T3" fmla="*/ 63 h 67"/>
                    <a:gd name="T4" fmla="*/ 46 w 50"/>
                    <a:gd name="T5" fmla="*/ 67 h 67"/>
                    <a:gd name="T6" fmla="*/ 43 w 50"/>
                    <a:gd name="T7" fmla="*/ 61 h 67"/>
                    <a:gd name="T8" fmla="*/ 42 w 50"/>
                    <a:gd name="T9" fmla="*/ 57 h 67"/>
                    <a:gd name="T10" fmla="*/ 41 w 50"/>
                    <a:gd name="T11" fmla="*/ 58 h 67"/>
                    <a:gd name="T12" fmla="*/ 41 w 50"/>
                    <a:gd name="T13" fmla="*/ 53 h 67"/>
                    <a:gd name="T14" fmla="*/ 37 w 50"/>
                    <a:gd name="T15" fmla="*/ 43 h 67"/>
                    <a:gd name="T16" fmla="*/ 35 w 50"/>
                    <a:gd name="T17" fmla="*/ 44 h 67"/>
                    <a:gd name="T18" fmla="*/ 30 w 50"/>
                    <a:gd name="T19" fmla="*/ 43 h 67"/>
                    <a:gd name="T20" fmla="*/ 26 w 50"/>
                    <a:gd name="T21" fmla="*/ 38 h 67"/>
                    <a:gd name="T22" fmla="*/ 27 w 50"/>
                    <a:gd name="T23" fmla="*/ 45 h 67"/>
                    <a:gd name="T24" fmla="*/ 28 w 50"/>
                    <a:gd name="T25" fmla="*/ 48 h 67"/>
                    <a:gd name="T26" fmla="*/ 24 w 50"/>
                    <a:gd name="T27" fmla="*/ 54 h 67"/>
                    <a:gd name="T28" fmla="*/ 25 w 50"/>
                    <a:gd name="T29" fmla="*/ 51 h 67"/>
                    <a:gd name="T30" fmla="*/ 22 w 50"/>
                    <a:gd name="T31" fmla="*/ 53 h 67"/>
                    <a:gd name="T32" fmla="*/ 22 w 50"/>
                    <a:gd name="T33" fmla="*/ 47 h 67"/>
                    <a:gd name="T34" fmla="*/ 21 w 50"/>
                    <a:gd name="T35" fmla="*/ 49 h 67"/>
                    <a:gd name="T36" fmla="*/ 21 w 50"/>
                    <a:gd name="T37" fmla="*/ 53 h 67"/>
                    <a:gd name="T38" fmla="*/ 20 w 50"/>
                    <a:gd name="T39" fmla="*/ 55 h 67"/>
                    <a:gd name="T40" fmla="*/ 18 w 50"/>
                    <a:gd name="T41" fmla="*/ 56 h 67"/>
                    <a:gd name="T42" fmla="*/ 15 w 50"/>
                    <a:gd name="T43" fmla="*/ 53 h 67"/>
                    <a:gd name="T44" fmla="*/ 13 w 50"/>
                    <a:gd name="T45" fmla="*/ 49 h 67"/>
                    <a:gd name="T46" fmla="*/ 10 w 50"/>
                    <a:gd name="T47" fmla="*/ 39 h 67"/>
                    <a:gd name="T48" fmla="*/ 10 w 50"/>
                    <a:gd name="T49" fmla="*/ 31 h 67"/>
                    <a:gd name="T50" fmla="*/ 3 w 50"/>
                    <a:gd name="T51" fmla="*/ 25 h 67"/>
                    <a:gd name="T52" fmla="*/ 5 w 50"/>
                    <a:gd name="T53" fmla="*/ 18 h 67"/>
                    <a:gd name="T54" fmla="*/ 9 w 50"/>
                    <a:gd name="T55" fmla="*/ 16 h 67"/>
                    <a:gd name="T56" fmla="*/ 6 w 50"/>
                    <a:gd name="T57" fmla="*/ 12 h 67"/>
                    <a:gd name="T58" fmla="*/ 0 w 50"/>
                    <a:gd name="T59" fmla="*/ 9 h 67"/>
                    <a:gd name="T60" fmla="*/ 2 w 50"/>
                    <a:gd name="T61" fmla="*/ 3 h 67"/>
                    <a:gd name="T62" fmla="*/ 4 w 50"/>
                    <a:gd name="T63" fmla="*/ 0 h 67"/>
                    <a:gd name="T64" fmla="*/ 6 w 50"/>
                    <a:gd name="T65" fmla="*/ 4 h 67"/>
                    <a:gd name="T66" fmla="*/ 10 w 50"/>
                    <a:gd name="T67" fmla="*/ 6 h 67"/>
                    <a:gd name="T68" fmla="*/ 10 w 50"/>
                    <a:gd name="T69" fmla="*/ 4 h 67"/>
                    <a:gd name="T70" fmla="*/ 14 w 50"/>
                    <a:gd name="T71" fmla="*/ 7 h 67"/>
                    <a:gd name="T72" fmla="*/ 17 w 50"/>
                    <a:gd name="T73" fmla="*/ 8 h 67"/>
                    <a:gd name="T74" fmla="*/ 18 w 50"/>
                    <a:gd name="T75" fmla="*/ 14 h 67"/>
                    <a:gd name="T76" fmla="*/ 22 w 50"/>
                    <a:gd name="T77" fmla="*/ 16 h 67"/>
                    <a:gd name="T78" fmla="*/ 30 w 50"/>
                    <a:gd name="T79" fmla="*/ 17 h 67"/>
                    <a:gd name="T80" fmla="*/ 38 w 50"/>
                    <a:gd name="T81" fmla="*/ 17 h 67"/>
                    <a:gd name="T82" fmla="*/ 41 w 50"/>
                    <a:gd name="T83" fmla="*/ 19 h 67"/>
                    <a:gd name="T84" fmla="*/ 41 w 50"/>
                    <a:gd name="T85" fmla="*/ 24 h 67"/>
                    <a:gd name="T86" fmla="*/ 38 w 50"/>
                    <a:gd name="T87" fmla="*/ 29 h 67"/>
                    <a:gd name="T88" fmla="*/ 36 w 50"/>
                    <a:gd name="T89" fmla="*/ 29 h 67"/>
                    <a:gd name="T90" fmla="*/ 33 w 50"/>
                    <a:gd name="T91" fmla="*/ 32 h 67"/>
                    <a:gd name="T92" fmla="*/ 35 w 50"/>
                    <a:gd name="T93" fmla="*/ 37 h 67"/>
                    <a:gd name="T94" fmla="*/ 38 w 50"/>
                    <a:gd name="T95" fmla="*/ 41 h 67"/>
                    <a:gd name="T96" fmla="*/ 39 w 50"/>
                    <a:gd name="T97" fmla="*/ 39 h 67"/>
                    <a:gd name="T98" fmla="*/ 40 w 50"/>
                    <a:gd name="T99" fmla="*/ 36 h 67"/>
                    <a:gd name="T100" fmla="*/ 42 w 50"/>
                    <a:gd name="T101" fmla="*/ 35 h 67"/>
                    <a:gd name="T102" fmla="*/ 45 w 50"/>
                    <a:gd name="T103" fmla="*/ 37 h 67"/>
                    <a:gd name="T104" fmla="*/ 46 w 50"/>
                    <a:gd name="T105" fmla="*/ 44 h 67"/>
                    <a:gd name="T106" fmla="*/ 48 w 50"/>
                    <a:gd name="T107" fmla="*/ 52 h 67"/>
                    <a:gd name="T108" fmla="*/ 49 w 50"/>
                    <a:gd name="T109" fmla="*/ 54 h 67"/>
                    <a:gd name="T110" fmla="*/ 36 w 50"/>
                    <a:gd name="T111" fmla="*/ 46 h 67"/>
                    <a:gd name="T112" fmla="*/ 36 w 50"/>
                    <a:gd name="T113" fmla="*/ 48 h 67"/>
                    <a:gd name="T114" fmla="*/ 32 w 50"/>
                    <a:gd name="T115" fmla="*/ 48 h 67"/>
                    <a:gd name="T116" fmla="*/ 34 w 50"/>
                    <a:gd name="T117" fmla="*/ 49 h 67"/>
                    <a:gd name="T118" fmla="*/ 32 w 50"/>
                    <a:gd name="T119" fmla="*/ 46 h 67"/>
                    <a:gd name="T120" fmla="*/ 28 w 50"/>
                    <a:gd name="T121" fmla="*/ 46 h 67"/>
                    <a:gd name="T122" fmla="*/ 31 w 50"/>
                    <a:gd name="T123" fmla="*/ 4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0" h="67">
                      <a:moveTo>
                        <a:pt x="50" y="55"/>
                      </a:moveTo>
                      <a:cubicBezTo>
                        <a:pt x="50" y="57"/>
                        <a:pt x="50" y="57"/>
                        <a:pt x="50" y="57"/>
                      </a:cubicBezTo>
                      <a:cubicBezTo>
                        <a:pt x="49" y="59"/>
                        <a:pt x="49" y="59"/>
                        <a:pt x="49" y="59"/>
                      </a:cubicBezTo>
                      <a:cubicBezTo>
                        <a:pt x="48" y="59"/>
                        <a:pt x="48" y="59"/>
                        <a:pt x="48" y="59"/>
                      </a:cubicBezTo>
                      <a:cubicBezTo>
                        <a:pt x="46" y="61"/>
                        <a:pt x="46" y="61"/>
                        <a:pt x="46" y="61"/>
                      </a:cubicBezTo>
                      <a:cubicBezTo>
                        <a:pt x="46" y="63"/>
                        <a:pt x="46" y="63"/>
                        <a:pt x="46" y="63"/>
                      </a:cubicBezTo>
                      <a:cubicBezTo>
                        <a:pt x="46" y="64"/>
                        <a:pt x="46" y="64"/>
                        <a:pt x="46" y="64"/>
                      </a:cubicBezTo>
                      <a:cubicBezTo>
                        <a:pt x="46" y="64"/>
                        <a:pt x="46" y="64"/>
                        <a:pt x="46" y="64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4" y="63"/>
                        <a:pt x="44" y="63"/>
                        <a:pt x="44" y="6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2" y="60"/>
                        <a:pt x="42" y="60"/>
                        <a:pt x="42" y="60"/>
                      </a:cubicBezTo>
                      <a:cubicBezTo>
                        <a:pt x="42" y="58"/>
                        <a:pt x="42" y="58"/>
                        <a:pt x="42" y="58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8"/>
                        <a:pt x="42" y="58"/>
                        <a:pt x="42" y="58"/>
                      </a:cubicBezTo>
                      <a:cubicBezTo>
                        <a:pt x="41" y="59"/>
                        <a:pt x="41" y="59"/>
                        <a:pt x="41" y="59"/>
                      </a:cubicBezTo>
                      <a:cubicBezTo>
                        <a:pt x="41" y="58"/>
                        <a:pt x="41" y="58"/>
                        <a:pt x="41" y="58"/>
                      </a:cubicBezTo>
                      <a:cubicBezTo>
                        <a:pt x="41" y="55"/>
                        <a:pt x="41" y="55"/>
                        <a:pt x="41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1" y="53"/>
                        <a:pt x="41" y="53"/>
                        <a:pt x="41" y="53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0" y="50"/>
                        <a:pt x="40" y="50"/>
                        <a:pt x="40" y="50"/>
                      </a:cubicBezTo>
                      <a:cubicBezTo>
                        <a:pt x="37" y="43"/>
                        <a:pt x="37" y="43"/>
                        <a:pt x="37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36" y="44"/>
                        <a:pt x="36" y="44"/>
                        <a:pt x="36" y="44"/>
                      </a:cubicBezTo>
                      <a:cubicBezTo>
                        <a:pt x="35" y="44"/>
                        <a:pt x="35" y="44"/>
                        <a:pt x="35" y="44"/>
                      </a:cubicBezTo>
                      <a:cubicBezTo>
                        <a:pt x="33" y="45"/>
                        <a:pt x="33" y="45"/>
                        <a:pt x="33" y="45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29" y="43"/>
                        <a:pt x="29" y="43"/>
                        <a:pt x="29" y="43"/>
                      </a:cubicBezTo>
                      <a:cubicBezTo>
                        <a:pt x="27" y="41"/>
                        <a:pt x="27" y="41"/>
                        <a:pt x="27" y="41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8" y="44"/>
                        <a:pt x="28" y="44"/>
                        <a:pt x="28" y="44"/>
                      </a:cubicBezTo>
                      <a:cubicBezTo>
                        <a:pt x="27" y="45"/>
                        <a:pt x="27" y="45"/>
                        <a:pt x="27" y="45"/>
                      </a:cubicBezTo>
                      <a:cubicBezTo>
                        <a:pt x="25" y="45"/>
                        <a:pt x="25" y="45"/>
                        <a:pt x="25" y="45"/>
                      </a:cubicBezTo>
                      <a:cubicBezTo>
                        <a:pt x="27" y="46"/>
                        <a:pt x="27" y="46"/>
                        <a:pt x="27" y="46"/>
                      </a:cubicBezTo>
                      <a:cubicBezTo>
                        <a:pt x="28" y="48"/>
                        <a:pt x="28" y="48"/>
                        <a:pt x="28" y="48"/>
                      </a:cubicBezTo>
                      <a:cubicBezTo>
                        <a:pt x="28" y="51"/>
                        <a:pt x="28" y="51"/>
                        <a:pt x="28" y="51"/>
                      </a:cubicBezTo>
                      <a:cubicBezTo>
                        <a:pt x="26" y="51"/>
                        <a:pt x="26" y="51"/>
                        <a:pt x="26" y="51"/>
                      </a:cubicBezTo>
                      <a:cubicBezTo>
                        <a:pt x="24" y="54"/>
                        <a:pt x="24" y="54"/>
                        <a:pt x="24" y="54"/>
                      </a:cubicBezTo>
                      <a:cubicBezTo>
                        <a:pt x="23" y="53"/>
                        <a:pt x="23" y="53"/>
                        <a:pt x="23" y="53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5" y="51"/>
                        <a:pt x="25" y="51"/>
                        <a:pt x="25" y="51"/>
                      </a:cubicBezTo>
                      <a:cubicBezTo>
                        <a:pt x="25" y="50"/>
                        <a:pt x="25" y="50"/>
                        <a:pt x="25" y="50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6"/>
                        <a:pt x="21" y="46"/>
                        <a:pt x="21" y="46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0" y="51"/>
                        <a:pt x="20" y="51"/>
                        <a:pt x="20" y="51"/>
                      </a:cubicBezTo>
                      <a:cubicBezTo>
                        <a:pt x="21" y="53"/>
                        <a:pt x="21" y="53"/>
                        <a:pt x="21" y="53"/>
                      </a:cubicBezTo>
                      <a:cubicBezTo>
                        <a:pt x="21" y="55"/>
                        <a:pt x="21" y="55"/>
                        <a:pt x="21" y="55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6"/>
                        <a:pt x="18" y="56"/>
                        <a:pt x="18" y="56"/>
                      </a:cubicBezTo>
                      <a:cubicBezTo>
                        <a:pt x="16" y="56"/>
                        <a:pt x="16" y="56"/>
                        <a:pt x="16" y="56"/>
                      </a:cubicBezTo>
                      <a:cubicBezTo>
                        <a:pt x="16" y="55"/>
                        <a:pt x="16" y="55"/>
                        <a:pt x="16" y="55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3" y="49"/>
                        <a:pt x="13" y="49"/>
                        <a:pt x="13" y="49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0" y="39"/>
                        <a:pt x="10" y="39"/>
                        <a:pt x="10" y="39"/>
                      </a:cubicBezTo>
                      <a:cubicBezTo>
                        <a:pt x="10" y="37"/>
                        <a:pt x="10" y="37"/>
                        <a:pt x="10" y="37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1"/>
                        <a:pt x="10" y="31"/>
                        <a:pt x="10" y="31"/>
                      </a:cubicBezTo>
                      <a:cubicBezTo>
                        <a:pt x="7" y="28"/>
                        <a:pt x="7" y="28"/>
                        <a:pt x="7" y="28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2" y="7"/>
                        <a:pt x="2" y="7"/>
                        <a:pt x="2" y="7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8" y="14"/>
                        <a:pt x="18" y="14"/>
                        <a:pt x="18" y="14"/>
                      </a:cubicBezTo>
                      <a:cubicBezTo>
                        <a:pt x="18" y="15"/>
                        <a:pt x="18" y="15"/>
                        <a:pt x="18" y="15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30" y="17"/>
                        <a:pt x="30" y="17"/>
                        <a:pt x="30" y="17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6" y="17"/>
                        <a:pt x="36" y="17"/>
                        <a:pt x="36" y="17"/>
                      </a:cubicBezTo>
                      <a:cubicBezTo>
                        <a:pt x="38" y="17"/>
                        <a:pt x="38" y="17"/>
                        <a:pt x="38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7"/>
                      </a:cubicBezTo>
                      <a:cubicBezTo>
                        <a:pt x="41" y="19"/>
                        <a:pt x="41" y="19"/>
                        <a:pt x="41" y="19"/>
                      </a:cubicBezTo>
                      <a:cubicBezTo>
                        <a:pt x="42" y="19"/>
                        <a:pt x="42" y="19"/>
                        <a:pt x="42" y="19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1" y="24"/>
                        <a:pt x="41" y="24"/>
                        <a:pt x="41" y="24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38" y="29"/>
                        <a:pt x="38" y="29"/>
                        <a:pt x="38" y="29"/>
                      </a:cubicBezTo>
                      <a:cubicBezTo>
                        <a:pt x="38" y="30"/>
                        <a:pt x="38" y="30"/>
                        <a:pt x="38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6" y="29"/>
                        <a:pt x="36" y="29"/>
                        <a:pt x="36" y="29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31"/>
                        <a:pt x="34" y="31"/>
                        <a:pt x="34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4" y="36"/>
                        <a:pt x="34" y="36"/>
                        <a:pt x="34" y="36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7" y="39"/>
                        <a:pt x="37" y="39"/>
                        <a:pt x="37" y="39"/>
                      </a:cubicBezTo>
                      <a:cubicBezTo>
                        <a:pt x="38" y="41"/>
                        <a:pt x="38" y="41"/>
                        <a:pt x="38" y="41"/>
                      </a:cubicBezTo>
                      <a:cubicBezTo>
                        <a:pt x="39" y="41"/>
                        <a:pt x="39" y="41"/>
                        <a:pt x="39" y="41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39"/>
                        <a:pt x="39" y="39"/>
                        <a:pt x="39" y="39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40" y="37"/>
                        <a:pt x="40" y="37"/>
                        <a:pt x="40" y="37"/>
                      </a:cubicBezTo>
                      <a:cubicBezTo>
                        <a:pt x="40" y="36"/>
                        <a:pt x="40" y="36"/>
                        <a:pt x="40" y="36"/>
                      </a:cubicBezTo>
                      <a:cubicBezTo>
                        <a:pt x="40" y="35"/>
                        <a:pt x="40" y="35"/>
                        <a:pt x="40" y="35"/>
                      </a:cubicBezTo>
                      <a:cubicBezTo>
                        <a:pt x="41" y="34"/>
                        <a:pt x="41" y="34"/>
                        <a:pt x="41" y="34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4" y="35"/>
                        <a:pt x="44" y="35"/>
                        <a:pt x="44" y="35"/>
                      </a:cubicBezTo>
                      <a:cubicBezTo>
                        <a:pt x="44" y="36"/>
                        <a:pt x="44" y="36"/>
                        <a:pt x="44" y="36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6" y="40"/>
                        <a:pt x="46" y="40"/>
                        <a:pt x="46" y="40"/>
                      </a:cubicBezTo>
                      <a:cubicBezTo>
                        <a:pt x="46" y="42"/>
                        <a:pt x="46" y="42"/>
                        <a:pt x="46" y="42"/>
                      </a:cubicBezTo>
                      <a:cubicBezTo>
                        <a:pt x="46" y="44"/>
                        <a:pt x="46" y="44"/>
                        <a:pt x="46" y="44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50"/>
                        <a:pt x="48" y="50"/>
                        <a:pt x="48" y="50"/>
                      </a:cubicBezTo>
                      <a:cubicBezTo>
                        <a:pt x="48" y="52"/>
                        <a:pt x="48" y="52"/>
                        <a:pt x="48" y="52"/>
                      </a:cubicBezTo>
                      <a:cubicBezTo>
                        <a:pt x="49" y="52"/>
                        <a:pt x="49" y="52"/>
                        <a:pt x="49" y="52"/>
                      </a:cubicBezTo>
                      <a:cubicBezTo>
                        <a:pt x="49" y="54"/>
                        <a:pt x="49" y="54"/>
                        <a:pt x="49" y="54"/>
                      </a:cubicBezTo>
                      <a:cubicBezTo>
                        <a:pt x="49" y="54"/>
                        <a:pt x="49" y="54"/>
                        <a:pt x="49" y="54"/>
                      </a:cubicBezTo>
                      <a:cubicBezTo>
                        <a:pt x="50" y="55"/>
                        <a:pt x="50" y="55"/>
                        <a:pt x="50" y="55"/>
                      </a:cubicBezTo>
                      <a:close/>
                      <a:moveTo>
                        <a:pt x="37" y="47"/>
                      </a:moveTo>
                      <a:cubicBezTo>
                        <a:pt x="36" y="46"/>
                        <a:pt x="36" y="46"/>
                        <a:pt x="36" y="46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9"/>
                        <a:pt x="35" y="49"/>
                        <a:pt x="35" y="49"/>
                      </a:cubicBezTo>
                      <a:cubicBezTo>
                        <a:pt x="36" y="48"/>
                        <a:pt x="36" y="48"/>
                        <a:pt x="36" y="48"/>
                      </a:cubicBezTo>
                      <a:cubicBezTo>
                        <a:pt x="37" y="47"/>
                        <a:pt x="37" y="47"/>
                        <a:pt x="37" y="47"/>
                      </a:cubicBezTo>
                      <a:close/>
                      <a:moveTo>
                        <a:pt x="32" y="46"/>
                      </a:move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32" y="50"/>
                        <a:pt x="32" y="50"/>
                        <a:pt x="32" y="5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4" y="49"/>
                        <a:pt x="34" y="49"/>
                        <a:pt x="34" y="49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2" y="45"/>
                        <a:pt x="32" y="45"/>
                        <a:pt x="32" y="45"/>
                      </a:cubicBezTo>
                      <a:cubicBezTo>
                        <a:pt x="32" y="45"/>
                        <a:pt x="32" y="46"/>
                        <a:pt x="32" y="46"/>
                      </a:cubicBezTo>
                      <a:close/>
                      <a:moveTo>
                        <a:pt x="30" y="45"/>
                      </a:moveTo>
                      <a:cubicBezTo>
                        <a:pt x="28" y="46"/>
                        <a:pt x="28" y="46"/>
                        <a:pt x="28" y="46"/>
                      </a:cubicBezTo>
                      <a:cubicBezTo>
                        <a:pt x="28" y="46"/>
                        <a:pt x="28" y="46"/>
                        <a:pt x="28" y="46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31" y="49"/>
                        <a:pt x="31" y="49"/>
                        <a:pt x="31" y="49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lnTo>
                        <a:pt x="30" y="4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4" name="Freeform 183">
                  <a:extLst>
                    <a:ext uri="{FF2B5EF4-FFF2-40B4-BE49-F238E27FC236}">
                      <a16:creationId xmlns:a16="http://schemas.microsoft.com/office/drawing/2014/main" xmlns="" id="{0FDF3422-0FAA-4801-92C1-8F8215A388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2" y="1572"/>
                  <a:ext cx="49" cy="29"/>
                </a:xfrm>
                <a:custGeom>
                  <a:avLst/>
                  <a:gdLst>
                    <a:gd name="T0" fmla="*/ 2 w 49"/>
                    <a:gd name="T1" fmla="*/ 15 h 29"/>
                    <a:gd name="T2" fmla="*/ 5 w 49"/>
                    <a:gd name="T3" fmla="*/ 13 h 29"/>
                    <a:gd name="T4" fmla="*/ 9 w 49"/>
                    <a:gd name="T5" fmla="*/ 5 h 29"/>
                    <a:gd name="T6" fmla="*/ 17 w 49"/>
                    <a:gd name="T7" fmla="*/ 0 h 29"/>
                    <a:gd name="T8" fmla="*/ 22 w 49"/>
                    <a:gd name="T9" fmla="*/ 0 h 29"/>
                    <a:gd name="T10" fmla="*/ 23 w 49"/>
                    <a:gd name="T11" fmla="*/ 3 h 29"/>
                    <a:gd name="T12" fmla="*/ 30 w 49"/>
                    <a:gd name="T13" fmla="*/ 3 h 29"/>
                    <a:gd name="T14" fmla="*/ 33 w 49"/>
                    <a:gd name="T15" fmla="*/ 5 h 29"/>
                    <a:gd name="T16" fmla="*/ 38 w 49"/>
                    <a:gd name="T17" fmla="*/ 3 h 29"/>
                    <a:gd name="T18" fmla="*/ 41 w 49"/>
                    <a:gd name="T19" fmla="*/ 3 h 29"/>
                    <a:gd name="T20" fmla="*/ 45 w 49"/>
                    <a:gd name="T21" fmla="*/ 6 h 29"/>
                    <a:gd name="T22" fmla="*/ 45 w 49"/>
                    <a:gd name="T23" fmla="*/ 6 h 29"/>
                    <a:gd name="T24" fmla="*/ 43 w 49"/>
                    <a:gd name="T25" fmla="*/ 11 h 29"/>
                    <a:gd name="T26" fmla="*/ 45 w 49"/>
                    <a:gd name="T27" fmla="*/ 15 h 29"/>
                    <a:gd name="T28" fmla="*/ 49 w 49"/>
                    <a:gd name="T29" fmla="*/ 16 h 29"/>
                    <a:gd name="T30" fmla="*/ 49 w 49"/>
                    <a:gd name="T31" fmla="*/ 21 h 29"/>
                    <a:gd name="T32" fmla="*/ 49 w 49"/>
                    <a:gd name="T33" fmla="*/ 23 h 29"/>
                    <a:gd name="T34" fmla="*/ 43 w 49"/>
                    <a:gd name="T35" fmla="*/ 26 h 29"/>
                    <a:gd name="T36" fmla="*/ 38 w 49"/>
                    <a:gd name="T37" fmla="*/ 24 h 29"/>
                    <a:gd name="T38" fmla="*/ 33 w 49"/>
                    <a:gd name="T39" fmla="*/ 26 h 29"/>
                    <a:gd name="T40" fmla="*/ 30 w 49"/>
                    <a:gd name="T41" fmla="*/ 24 h 29"/>
                    <a:gd name="T42" fmla="*/ 27 w 49"/>
                    <a:gd name="T43" fmla="*/ 26 h 29"/>
                    <a:gd name="T44" fmla="*/ 23 w 49"/>
                    <a:gd name="T45" fmla="*/ 29 h 29"/>
                    <a:gd name="T46" fmla="*/ 18 w 49"/>
                    <a:gd name="T47" fmla="*/ 29 h 29"/>
                    <a:gd name="T48" fmla="*/ 10 w 49"/>
                    <a:gd name="T49" fmla="*/ 24 h 29"/>
                    <a:gd name="T50" fmla="*/ 9 w 49"/>
                    <a:gd name="T51" fmla="*/ 26 h 29"/>
                    <a:gd name="T52" fmla="*/ 4 w 49"/>
                    <a:gd name="T53" fmla="*/ 26 h 29"/>
                    <a:gd name="T54" fmla="*/ 0 w 49"/>
                    <a:gd name="T55" fmla="*/ 19 h 29"/>
                    <a:gd name="T56" fmla="*/ 2 w 49"/>
                    <a:gd name="T57" fmla="*/ 18 h 29"/>
                    <a:gd name="T58" fmla="*/ 2 w 49"/>
                    <a:gd name="T59" fmla="*/ 1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9" h="29">
                      <a:moveTo>
                        <a:pt x="2" y="15"/>
                      </a:moveTo>
                      <a:lnTo>
                        <a:pt x="5" y="13"/>
                      </a:lnTo>
                      <a:lnTo>
                        <a:pt x="9" y="5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3" y="3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8" y="3"/>
                      </a:lnTo>
                      <a:lnTo>
                        <a:pt x="41" y="3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3" y="11"/>
                      </a:lnTo>
                      <a:lnTo>
                        <a:pt x="45" y="15"/>
                      </a:lnTo>
                      <a:lnTo>
                        <a:pt x="49" y="16"/>
                      </a:lnTo>
                      <a:lnTo>
                        <a:pt x="49" y="21"/>
                      </a:lnTo>
                      <a:lnTo>
                        <a:pt x="49" y="23"/>
                      </a:lnTo>
                      <a:lnTo>
                        <a:pt x="43" y="26"/>
                      </a:lnTo>
                      <a:lnTo>
                        <a:pt x="38" y="24"/>
                      </a:lnTo>
                      <a:lnTo>
                        <a:pt x="33" y="26"/>
                      </a:lnTo>
                      <a:lnTo>
                        <a:pt x="30" y="24"/>
                      </a:lnTo>
                      <a:lnTo>
                        <a:pt x="27" y="26"/>
                      </a:lnTo>
                      <a:lnTo>
                        <a:pt x="23" y="29"/>
                      </a:lnTo>
                      <a:lnTo>
                        <a:pt x="18" y="29"/>
                      </a:lnTo>
                      <a:lnTo>
                        <a:pt x="10" y="24"/>
                      </a:lnTo>
                      <a:lnTo>
                        <a:pt x="9" y="26"/>
                      </a:lnTo>
                      <a:lnTo>
                        <a:pt x="4" y="26"/>
                      </a:lnTo>
                      <a:lnTo>
                        <a:pt x="0" y="19"/>
                      </a:lnTo>
                      <a:lnTo>
                        <a:pt x="2" y="18"/>
                      </a:lnTo>
                      <a:lnTo>
                        <a:pt x="2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5" name="Freeform 184">
                  <a:extLst>
                    <a:ext uri="{FF2B5EF4-FFF2-40B4-BE49-F238E27FC236}">
                      <a16:creationId xmlns:a16="http://schemas.microsoft.com/office/drawing/2014/main" xmlns="" id="{8C6BF53E-10F7-4D81-A50B-786009ACC5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2" y="1536"/>
                  <a:ext cx="132" cy="70"/>
                </a:xfrm>
                <a:custGeom>
                  <a:avLst/>
                  <a:gdLst>
                    <a:gd name="T0" fmla="*/ 7 w 132"/>
                    <a:gd name="T1" fmla="*/ 0 h 70"/>
                    <a:gd name="T2" fmla="*/ 13 w 132"/>
                    <a:gd name="T3" fmla="*/ 3 h 70"/>
                    <a:gd name="T4" fmla="*/ 18 w 132"/>
                    <a:gd name="T5" fmla="*/ 5 h 70"/>
                    <a:gd name="T6" fmla="*/ 23 w 132"/>
                    <a:gd name="T7" fmla="*/ 2 h 70"/>
                    <a:gd name="T8" fmla="*/ 31 w 132"/>
                    <a:gd name="T9" fmla="*/ 5 h 70"/>
                    <a:gd name="T10" fmla="*/ 38 w 132"/>
                    <a:gd name="T11" fmla="*/ 6 h 70"/>
                    <a:gd name="T12" fmla="*/ 46 w 132"/>
                    <a:gd name="T13" fmla="*/ 11 h 70"/>
                    <a:gd name="T14" fmla="*/ 51 w 132"/>
                    <a:gd name="T15" fmla="*/ 16 h 70"/>
                    <a:gd name="T16" fmla="*/ 54 w 132"/>
                    <a:gd name="T17" fmla="*/ 23 h 70"/>
                    <a:gd name="T18" fmla="*/ 56 w 132"/>
                    <a:gd name="T19" fmla="*/ 18 h 70"/>
                    <a:gd name="T20" fmla="*/ 59 w 132"/>
                    <a:gd name="T21" fmla="*/ 16 h 70"/>
                    <a:gd name="T22" fmla="*/ 65 w 132"/>
                    <a:gd name="T23" fmla="*/ 20 h 70"/>
                    <a:gd name="T24" fmla="*/ 70 w 132"/>
                    <a:gd name="T25" fmla="*/ 26 h 70"/>
                    <a:gd name="T26" fmla="*/ 78 w 132"/>
                    <a:gd name="T27" fmla="*/ 26 h 70"/>
                    <a:gd name="T28" fmla="*/ 80 w 132"/>
                    <a:gd name="T29" fmla="*/ 36 h 70"/>
                    <a:gd name="T30" fmla="*/ 87 w 132"/>
                    <a:gd name="T31" fmla="*/ 37 h 70"/>
                    <a:gd name="T32" fmla="*/ 93 w 132"/>
                    <a:gd name="T33" fmla="*/ 36 h 70"/>
                    <a:gd name="T34" fmla="*/ 101 w 132"/>
                    <a:gd name="T35" fmla="*/ 33 h 70"/>
                    <a:gd name="T36" fmla="*/ 106 w 132"/>
                    <a:gd name="T37" fmla="*/ 39 h 70"/>
                    <a:gd name="T38" fmla="*/ 114 w 132"/>
                    <a:gd name="T39" fmla="*/ 44 h 70"/>
                    <a:gd name="T40" fmla="*/ 121 w 132"/>
                    <a:gd name="T41" fmla="*/ 44 h 70"/>
                    <a:gd name="T42" fmla="*/ 127 w 132"/>
                    <a:gd name="T43" fmla="*/ 42 h 70"/>
                    <a:gd name="T44" fmla="*/ 131 w 132"/>
                    <a:gd name="T45" fmla="*/ 47 h 70"/>
                    <a:gd name="T46" fmla="*/ 132 w 132"/>
                    <a:gd name="T47" fmla="*/ 60 h 70"/>
                    <a:gd name="T48" fmla="*/ 121 w 132"/>
                    <a:gd name="T49" fmla="*/ 70 h 70"/>
                    <a:gd name="T50" fmla="*/ 111 w 132"/>
                    <a:gd name="T51" fmla="*/ 69 h 70"/>
                    <a:gd name="T52" fmla="*/ 93 w 132"/>
                    <a:gd name="T53" fmla="*/ 64 h 70"/>
                    <a:gd name="T54" fmla="*/ 82 w 132"/>
                    <a:gd name="T55" fmla="*/ 64 h 70"/>
                    <a:gd name="T56" fmla="*/ 77 w 132"/>
                    <a:gd name="T57" fmla="*/ 55 h 70"/>
                    <a:gd name="T58" fmla="*/ 60 w 132"/>
                    <a:gd name="T59" fmla="*/ 55 h 70"/>
                    <a:gd name="T60" fmla="*/ 49 w 132"/>
                    <a:gd name="T61" fmla="*/ 54 h 70"/>
                    <a:gd name="T62" fmla="*/ 41 w 132"/>
                    <a:gd name="T63" fmla="*/ 51 h 70"/>
                    <a:gd name="T64" fmla="*/ 31 w 132"/>
                    <a:gd name="T65" fmla="*/ 47 h 70"/>
                    <a:gd name="T66" fmla="*/ 20 w 132"/>
                    <a:gd name="T67" fmla="*/ 36 h 70"/>
                    <a:gd name="T68" fmla="*/ 10 w 132"/>
                    <a:gd name="T69" fmla="*/ 33 h 70"/>
                    <a:gd name="T70" fmla="*/ 5 w 132"/>
                    <a:gd name="T71" fmla="*/ 29 h 70"/>
                    <a:gd name="T72" fmla="*/ 0 w 132"/>
                    <a:gd name="T73" fmla="*/ 26 h 70"/>
                    <a:gd name="T74" fmla="*/ 5 w 132"/>
                    <a:gd name="T75" fmla="*/ 15 h 70"/>
                    <a:gd name="T76" fmla="*/ 7 w 132"/>
                    <a:gd name="T77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2" h="70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6" y="3"/>
                      </a:lnTo>
                      <a:lnTo>
                        <a:pt x="18" y="5"/>
                      </a:lnTo>
                      <a:lnTo>
                        <a:pt x="20" y="2"/>
                      </a:lnTo>
                      <a:lnTo>
                        <a:pt x="23" y="2"/>
                      </a:lnTo>
                      <a:lnTo>
                        <a:pt x="29" y="3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8" y="6"/>
                      </a:lnTo>
                      <a:lnTo>
                        <a:pt x="42" y="11"/>
                      </a:lnTo>
                      <a:lnTo>
                        <a:pt x="46" y="11"/>
                      </a:lnTo>
                      <a:lnTo>
                        <a:pt x="49" y="13"/>
                      </a:lnTo>
                      <a:lnTo>
                        <a:pt x="51" y="16"/>
                      </a:lnTo>
                      <a:lnTo>
                        <a:pt x="52" y="20"/>
                      </a:lnTo>
                      <a:lnTo>
                        <a:pt x="54" y="23"/>
                      </a:lnTo>
                      <a:lnTo>
                        <a:pt x="56" y="21"/>
                      </a:lnTo>
                      <a:lnTo>
                        <a:pt x="56" y="18"/>
                      </a:lnTo>
                      <a:lnTo>
                        <a:pt x="59" y="15"/>
                      </a:lnTo>
                      <a:lnTo>
                        <a:pt x="59" y="16"/>
                      </a:lnTo>
                      <a:lnTo>
                        <a:pt x="62" y="16"/>
                      </a:lnTo>
                      <a:lnTo>
                        <a:pt x="65" y="20"/>
                      </a:lnTo>
                      <a:lnTo>
                        <a:pt x="67" y="23"/>
                      </a:lnTo>
                      <a:lnTo>
                        <a:pt x="70" y="26"/>
                      </a:lnTo>
                      <a:lnTo>
                        <a:pt x="75" y="26"/>
                      </a:lnTo>
                      <a:lnTo>
                        <a:pt x="78" y="26"/>
                      </a:lnTo>
                      <a:lnTo>
                        <a:pt x="78" y="33"/>
                      </a:lnTo>
                      <a:lnTo>
                        <a:pt x="80" y="36"/>
                      </a:lnTo>
                      <a:lnTo>
                        <a:pt x="83" y="36"/>
                      </a:lnTo>
                      <a:lnTo>
                        <a:pt x="87" y="37"/>
                      </a:lnTo>
                      <a:lnTo>
                        <a:pt x="90" y="36"/>
                      </a:lnTo>
                      <a:lnTo>
                        <a:pt x="93" y="36"/>
                      </a:lnTo>
                      <a:lnTo>
                        <a:pt x="95" y="33"/>
                      </a:lnTo>
                      <a:lnTo>
                        <a:pt x="101" y="33"/>
                      </a:lnTo>
                      <a:lnTo>
                        <a:pt x="105" y="34"/>
                      </a:lnTo>
                      <a:lnTo>
                        <a:pt x="106" y="39"/>
                      </a:lnTo>
                      <a:lnTo>
                        <a:pt x="111" y="41"/>
                      </a:lnTo>
                      <a:lnTo>
                        <a:pt x="114" y="44"/>
                      </a:lnTo>
                      <a:lnTo>
                        <a:pt x="116" y="46"/>
                      </a:lnTo>
                      <a:lnTo>
                        <a:pt x="121" y="44"/>
                      </a:lnTo>
                      <a:lnTo>
                        <a:pt x="122" y="44"/>
                      </a:lnTo>
                      <a:lnTo>
                        <a:pt x="127" y="42"/>
                      </a:lnTo>
                      <a:lnTo>
                        <a:pt x="129" y="42"/>
                      </a:lnTo>
                      <a:lnTo>
                        <a:pt x="131" y="47"/>
                      </a:lnTo>
                      <a:lnTo>
                        <a:pt x="129" y="54"/>
                      </a:lnTo>
                      <a:lnTo>
                        <a:pt x="132" y="60"/>
                      </a:lnTo>
                      <a:lnTo>
                        <a:pt x="131" y="69"/>
                      </a:lnTo>
                      <a:lnTo>
                        <a:pt x="121" y="70"/>
                      </a:lnTo>
                      <a:lnTo>
                        <a:pt x="116" y="67"/>
                      </a:lnTo>
                      <a:lnTo>
                        <a:pt x="111" y="69"/>
                      </a:lnTo>
                      <a:lnTo>
                        <a:pt x="98" y="64"/>
                      </a:lnTo>
                      <a:lnTo>
                        <a:pt x="93" y="64"/>
                      </a:lnTo>
                      <a:lnTo>
                        <a:pt x="90" y="65"/>
                      </a:lnTo>
                      <a:lnTo>
                        <a:pt x="82" y="64"/>
                      </a:lnTo>
                      <a:lnTo>
                        <a:pt x="77" y="59"/>
                      </a:lnTo>
                      <a:lnTo>
                        <a:pt x="77" y="55"/>
                      </a:lnTo>
                      <a:lnTo>
                        <a:pt x="69" y="54"/>
                      </a:lnTo>
                      <a:lnTo>
                        <a:pt x="60" y="55"/>
                      </a:lnTo>
                      <a:lnTo>
                        <a:pt x="57" y="54"/>
                      </a:lnTo>
                      <a:lnTo>
                        <a:pt x="49" y="54"/>
                      </a:lnTo>
                      <a:lnTo>
                        <a:pt x="44" y="51"/>
                      </a:lnTo>
                      <a:lnTo>
                        <a:pt x="41" y="51"/>
                      </a:lnTo>
                      <a:lnTo>
                        <a:pt x="38" y="49"/>
                      </a:lnTo>
                      <a:lnTo>
                        <a:pt x="31" y="47"/>
                      </a:lnTo>
                      <a:lnTo>
                        <a:pt x="26" y="41"/>
                      </a:lnTo>
                      <a:lnTo>
                        <a:pt x="20" y="36"/>
                      </a:lnTo>
                      <a:lnTo>
                        <a:pt x="13" y="34"/>
                      </a:lnTo>
                      <a:lnTo>
                        <a:pt x="10" y="33"/>
                      </a:lnTo>
                      <a:lnTo>
                        <a:pt x="8" y="33"/>
                      </a:lnTo>
                      <a:lnTo>
                        <a:pt x="5" y="29"/>
                      </a:lnTo>
                      <a:lnTo>
                        <a:pt x="2" y="29"/>
                      </a:lnTo>
                      <a:lnTo>
                        <a:pt x="0" y="26"/>
                      </a:lnTo>
                      <a:lnTo>
                        <a:pt x="5" y="20"/>
                      </a:lnTo>
                      <a:lnTo>
                        <a:pt x="5" y="15"/>
                      </a:lnTo>
                      <a:lnTo>
                        <a:pt x="7" y="6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6" name="Freeform 185">
                  <a:extLst>
                    <a:ext uri="{FF2B5EF4-FFF2-40B4-BE49-F238E27FC236}">
                      <a16:creationId xmlns:a16="http://schemas.microsoft.com/office/drawing/2014/main" xmlns="" id="{B00214C5-3B76-45D0-A698-8E5EA3FD81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1" y="1415"/>
                  <a:ext cx="221" cy="247"/>
                </a:xfrm>
                <a:custGeom>
                  <a:avLst/>
                  <a:gdLst>
                    <a:gd name="T0" fmla="*/ 133 w 221"/>
                    <a:gd name="T1" fmla="*/ 239 h 247"/>
                    <a:gd name="T2" fmla="*/ 151 w 221"/>
                    <a:gd name="T3" fmla="*/ 234 h 247"/>
                    <a:gd name="T4" fmla="*/ 161 w 221"/>
                    <a:gd name="T5" fmla="*/ 232 h 247"/>
                    <a:gd name="T6" fmla="*/ 167 w 221"/>
                    <a:gd name="T7" fmla="*/ 229 h 247"/>
                    <a:gd name="T8" fmla="*/ 162 w 221"/>
                    <a:gd name="T9" fmla="*/ 209 h 247"/>
                    <a:gd name="T10" fmla="*/ 151 w 221"/>
                    <a:gd name="T11" fmla="*/ 199 h 247"/>
                    <a:gd name="T12" fmla="*/ 144 w 221"/>
                    <a:gd name="T13" fmla="*/ 191 h 247"/>
                    <a:gd name="T14" fmla="*/ 141 w 221"/>
                    <a:gd name="T15" fmla="*/ 180 h 247"/>
                    <a:gd name="T16" fmla="*/ 151 w 221"/>
                    <a:gd name="T17" fmla="*/ 168 h 247"/>
                    <a:gd name="T18" fmla="*/ 159 w 221"/>
                    <a:gd name="T19" fmla="*/ 172 h 247"/>
                    <a:gd name="T20" fmla="*/ 182 w 221"/>
                    <a:gd name="T21" fmla="*/ 152 h 247"/>
                    <a:gd name="T22" fmla="*/ 195 w 221"/>
                    <a:gd name="T23" fmla="*/ 134 h 247"/>
                    <a:gd name="T24" fmla="*/ 200 w 221"/>
                    <a:gd name="T25" fmla="*/ 123 h 247"/>
                    <a:gd name="T26" fmla="*/ 208 w 221"/>
                    <a:gd name="T27" fmla="*/ 103 h 247"/>
                    <a:gd name="T28" fmla="*/ 213 w 221"/>
                    <a:gd name="T29" fmla="*/ 90 h 247"/>
                    <a:gd name="T30" fmla="*/ 221 w 221"/>
                    <a:gd name="T31" fmla="*/ 82 h 247"/>
                    <a:gd name="T32" fmla="*/ 206 w 221"/>
                    <a:gd name="T33" fmla="*/ 77 h 247"/>
                    <a:gd name="T34" fmla="*/ 188 w 221"/>
                    <a:gd name="T35" fmla="*/ 62 h 247"/>
                    <a:gd name="T36" fmla="*/ 185 w 221"/>
                    <a:gd name="T37" fmla="*/ 41 h 247"/>
                    <a:gd name="T38" fmla="*/ 185 w 221"/>
                    <a:gd name="T39" fmla="*/ 29 h 247"/>
                    <a:gd name="T40" fmla="*/ 174 w 221"/>
                    <a:gd name="T41" fmla="*/ 15 h 247"/>
                    <a:gd name="T42" fmla="*/ 164 w 221"/>
                    <a:gd name="T43" fmla="*/ 8 h 247"/>
                    <a:gd name="T44" fmla="*/ 162 w 221"/>
                    <a:gd name="T45" fmla="*/ 0 h 247"/>
                    <a:gd name="T46" fmla="*/ 147 w 221"/>
                    <a:gd name="T47" fmla="*/ 10 h 247"/>
                    <a:gd name="T48" fmla="*/ 144 w 221"/>
                    <a:gd name="T49" fmla="*/ 41 h 247"/>
                    <a:gd name="T50" fmla="*/ 138 w 221"/>
                    <a:gd name="T51" fmla="*/ 56 h 247"/>
                    <a:gd name="T52" fmla="*/ 133 w 221"/>
                    <a:gd name="T53" fmla="*/ 60 h 247"/>
                    <a:gd name="T54" fmla="*/ 126 w 221"/>
                    <a:gd name="T55" fmla="*/ 70 h 247"/>
                    <a:gd name="T56" fmla="*/ 125 w 221"/>
                    <a:gd name="T57" fmla="*/ 85 h 247"/>
                    <a:gd name="T58" fmla="*/ 118 w 221"/>
                    <a:gd name="T59" fmla="*/ 95 h 247"/>
                    <a:gd name="T60" fmla="*/ 110 w 221"/>
                    <a:gd name="T61" fmla="*/ 95 h 247"/>
                    <a:gd name="T62" fmla="*/ 102 w 221"/>
                    <a:gd name="T63" fmla="*/ 103 h 247"/>
                    <a:gd name="T64" fmla="*/ 89 w 221"/>
                    <a:gd name="T65" fmla="*/ 108 h 247"/>
                    <a:gd name="T66" fmla="*/ 82 w 221"/>
                    <a:gd name="T67" fmla="*/ 116 h 247"/>
                    <a:gd name="T68" fmla="*/ 84 w 221"/>
                    <a:gd name="T69" fmla="*/ 132 h 247"/>
                    <a:gd name="T70" fmla="*/ 66 w 221"/>
                    <a:gd name="T71" fmla="*/ 139 h 247"/>
                    <a:gd name="T72" fmla="*/ 46 w 221"/>
                    <a:gd name="T73" fmla="*/ 142 h 247"/>
                    <a:gd name="T74" fmla="*/ 0 w 221"/>
                    <a:gd name="T75" fmla="*/ 139 h 247"/>
                    <a:gd name="T76" fmla="*/ 18 w 221"/>
                    <a:gd name="T77" fmla="*/ 160 h 247"/>
                    <a:gd name="T78" fmla="*/ 28 w 221"/>
                    <a:gd name="T79" fmla="*/ 165 h 247"/>
                    <a:gd name="T80" fmla="*/ 35 w 221"/>
                    <a:gd name="T81" fmla="*/ 178 h 247"/>
                    <a:gd name="T82" fmla="*/ 43 w 221"/>
                    <a:gd name="T83" fmla="*/ 191 h 247"/>
                    <a:gd name="T84" fmla="*/ 28 w 221"/>
                    <a:gd name="T85" fmla="*/ 194 h 247"/>
                    <a:gd name="T86" fmla="*/ 20 w 221"/>
                    <a:gd name="T87" fmla="*/ 206 h 247"/>
                    <a:gd name="T88" fmla="*/ 23 w 221"/>
                    <a:gd name="T89" fmla="*/ 219 h 247"/>
                    <a:gd name="T90" fmla="*/ 32 w 221"/>
                    <a:gd name="T91" fmla="*/ 219 h 247"/>
                    <a:gd name="T92" fmla="*/ 40 w 221"/>
                    <a:gd name="T93" fmla="*/ 217 h 247"/>
                    <a:gd name="T94" fmla="*/ 48 w 221"/>
                    <a:gd name="T95" fmla="*/ 217 h 247"/>
                    <a:gd name="T96" fmla="*/ 54 w 221"/>
                    <a:gd name="T97" fmla="*/ 217 h 247"/>
                    <a:gd name="T98" fmla="*/ 59 w 221"/>
                    <a:gd name="T99" fmla="*/ 217 h 247"/>
                    <a:gd name="T100" fmla="*/ 72 w 221"/>
                    <a:gd name="T101" fmla="*/ 216 h 247"/>
                    <a:gd name="T102" fmla="*/ 81 w 221"/>
                    <a:gd name="T103" fmla="*/ 214 h 247"/>
                    <a:gd name="T104" fmla="*/ 94 w 221"/>
                    <a:gd name="T105" fmla="*/ 214 h 247"/>
                    <a:gd name="T106" fmla="*/ 98 w 221"/>
                    <a:gd name="T107" fmla="*/ 222 h 247"/>
                    <a:gd name="T108" fmla="*/ 105 w 221"/>
                    <a:gd name="T109" fmla="*/ 222 h 247"/>
                    <a:gd name="T110" fmla="*/ 110 w 221"/>
                    <a:gd name="T111" fmla="*/ 235 h 247"/>
                    <a:gd name="T112" fmla="*/ 112 w 221"/>
                    <a:gd name="T113" fmla="*/ 240 h 247"/>
                    <a:gd name="T114" fmla="*/ 126 w 221"/>
                    <a:gd name="T115" fmla="*/ 245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1" h="247">
                      <a:moveTo>
                        <a:pt x="128" y="245"/>
                      </a:moveTo>
                      <a:lnTo>
                        <a:pt x="128" y="242"/>
                      </a:lnTo>
                      <a:lnTo>
                        <a:pt x="131" y="239"/>
                      </a:lnTo>
                      <a:lnTo>
                        <a:pt x="133" y="239"/>
                      </a:lnTo>
                      <a:lnTo>
                        <a:pt x="134" y="235"/>
                      </a:lnTo>
                      <a:lnTo>
                        <a:pt x="138" y="235"/>
                      </a:lnTo>
                      <a:lnTo>
                        <a:pt x="139" y="234"/>
                      </a:lnTo>
                      <a:lnTo>
                        <a:pt x="151" y="234"/>
                      </a:lnTo>
                      <a:lnTo>
                        <a:pt x="157" y="232"/>
                      </a:lnTo>
                      <a:lnTo>
                        <a:pt x="157" y="230"/>
                      </a:lnTo>
                      <a:lnTo>
                        <a:pt x="162" y="229"/>
                      </a:lnTo>
                      <a:lnTo>
                        <a:pt x="161" y="232"/>
                      </a:lnTo>
                      <a:lnTo>
                        <a:pt x="162" y="234"/>
                      </a:lnTo>
                      <a:lnTo>
                        <a:pt x="165" y="232"/>
                      </a:lnTo>
                      <a:lnTo>
                        <a:pt x="169" y="230"/>
                      </a:lnTo>
                      <a:lnTo>
                        <a:pt x="167" y="229"/>
                      </a:lnTo>
                      <a:lnTo>
                        <a:pt x="167" y="227"/>
                      </a:lnTo>
                      <a:lnTo>
                        <a:pt x="164" y="216"/>
                      </a:lnTo>
                      <a:lnTo>
                        <a:pt x="161" y="212"/>
                      </a:lnTo>
                      <a:lnTo>
                        <a:pt x="162" y="209"/>
                      </a:lnTo>
                      <a:lnTo>
                        <a:pt x="159" y="208"/>
                      </a:lnTo>
                      <a:lnTo>
                        <a:pt x="157" y="208"/>
                      </a:lnTo>
                      <a:lnTo>
                        <a:pt x="151" y="204"/>
                      </a:lnTo>
                      <a:lnTo>
                        <a:pt x="151" y="199"/>
                      </a:lnTo>
                      <a:lnTo>
                        <a:pt x="151" y="194"/>
                      </a:lnTo>
                      <a:lnTo>
                        <a:pt x="149" y="190"/>
                      </a:lnTo>
                      <a:lnTo>
                        <a:pt x="146" y="190"/>
                      </a:lnTo>
                      <a:lnTo>
                        <a:pt x="144" y="191"/>
                      </a:lnTo>
                      <a:lnTo>
                        <a:pt x="141" y="190"/>
                      </a:lnTo>
                      <a:lnTo>
                        <a:pt x="138" y="190"/>
                      </a:lnTo>
                      <a:lnTo>
                        <a:pt x="138" y="186"/>
                      </a:lnTo>
                      <a:lnTo>
                        <a:pt x="141" y="180"/>
                      </a:lnTo>
                      <a:lnTo>
                        <a:pt x="143" y="178"/>
                      </a:lnTo>
                      <a:lnTo>
                        <a:pt x="147" y="172"/>
                      </a:lnTo>
                      <a:lnTo>
                        <a:pt x="147" y="170"/>
                      </a:lnTo>
                      <a:lnTo>
                        <a:pt x="151" y="168"/>
                      </a:lnTo>
                      <a:lnTo>
                        <a:pt x="152" y="167"/>
                      </a:lnTo>
                      <a:lnTo>
                        <a:pt x="156" y="168"/>
                      </a:lnTo>
                      <a:lnTo>
                        <a:pt x="157" y="172"/>
                      </a:lnTo>
                      <a:lnTo>
                        <a:pt x="159" y="172"/>
                      </a:lnTo>
                      <a:lnTo>
                        <a:pt x="165" y="168"/>
                      </a:lnTo>
                      <a:lnTo>
                        <a:pt x="174" y="168"/>
                      </a:lnTo>
                      <a:lnTo>
                        <a:pt x="178" y="162"/>
                      </a:lnTo>
                      <a:lnTo>
                        <a:pt x="182" y="152"/>
                      </a:lnTo>
                      <a:lnTo>
                        <a:pt x="188" y="147"/>
                      </a:lnTo>
                      <a:lnTo>
                        <a:pt x="190" y="144"/>
                      </a:lnTo>
                      <a:lnTo>
                        <a:pt x="192" y="139"/>
                      </a:lnTo>
                      <a:lnTo>
                        <a:pt x="195" y="134"/>
                      </a:lnTo>
                      <a:lnTo>
                        <a:pt x="200" y="131"/>
                      </a:lnTo>
                      <a:lnTo>
                        <a:pt x="201" y="127"/>
                      </a:lnTo>
                      <a:lnTo>
                        <a:pt x="201" y="124"/>
                      </a:lnTo>
                      <a:lnTo>
                        <a:pt x="200" y="123"/>
                      </a:lnTo>
                      <a:lnTo>
                        <a:pt x="203" y="118"/>
                      </a:lnTo>
                      <a:lnTo>
                        <a:pt x="206" y="114"/>
                      </a:lnTo>
                      <a:lnTo>
                        <a:pt x="206" y="111"/>
                      </a:lnTo>
                      <a:lnTo>
                        <a:pt x="208" y="103"/>
                      </a:lnTo>
                      <a:lnTo>
                        <a:pt x="206" y="96"/>
                      </a:lnTo>
                      <a:lnTo>
                        <a:pt x="205" y="96"/>
                      </a:lnTo>
                      <a:lnTo>
                        <a:pt x="210" y="92"/>
                      </a:lnTo>
                      <a:lnTo>
                        <a:pt x="213" y="90"/>
                      </a:lnTo>
                      <a:lnTo>
                        <a:pt x="216" y="88"/>
                      </a:lnTo>
                      <a:lnTo>
                        <a:pt x="218" y="88"/>
                      </a:lnTo>
                      <a:lnTo>
                        <a:pt x="221" y="85"/>
                      </a:lnTo>
                      <a:lnTo>
                        <a:pt x="221" y="82"/>
                      </a:lnTo>
                      <a:lnTo>
                        <a:pt x="216" y="80"/>
                      </a:lnTo>
                      <a:lnTo>
                        <a:pt x="213" y="82"/>
                      </a:lnTo>
                      <a:lnTo>
                        <a:pt x="208" y="80"/>
                      </a:lnTo>
                      <a:lnTo>
                        <a:pt x="206" y="77"/>
                      </a:lnTo>
                      <a:lnTo>
                        <a:pt x="201" y="74"/>
                      </a:lnTo>
                      <a:lnTo>
                        <a:pt x="195" y="72"/>
                      </a:lnTo>
                      <a:lnTo>
                        <a:pt x="188" y="67"/>
                      </a:lnTo>
                      <a:lnTo>
                        <a:pt x="188" y="62"/>
                      </a:lnTo>
                      <a:lnTo>
                        <a:pt x="185" y="52"/>
                      </a:lnTo>
                      <a:lnTo>
                        <a:pt x="183" y="47"/>
                      </a:lnTo>
                      <a:lnTo>
                        <a:pt x="183" y="42"/>
                      </a:lnTo>
                      <a:lnTo>
                        <a:pt x="185" y="41"/>
                      </a:lnTo>
                      <a:lnTo>
                        <a:pt x="185" y="38"/>
                      </a:lnTo>
                      <a:lnTo>
                        <a:pt x="190" y="34"/>
                      </a:lnTo>
                      <a:lnTo>
                        <a:pt x="190" y="31"/>
                      </a:lnTo>
                      <a:lnTo>
                        <a:pt x="185" y="29"/>
                      </a:lnTo>
                      <a:lnTo>
                        <a:pt x="185" y="26"/>
                      </a:lnTo>
                      <a:lnTo>
                        <a:pt x="180" y="23"/>
                      </a:lnTo>
                      <a:lnTo>
                        <a:pt x="177" y="20"/>
                      </a:lnTo>
                      <a:lnTo>
                        <a:pt x="174" y="15"/>
                      </a:lnTo>
                      <a:lnTo>
                        <a:pt x="170" y="16"/>
                      </a:lnTo>
                      <a:lnTo>
                        <a:pt x="167" y="18"/>
                      </a:lnTo>
                      <a:lnTo>
                        <a:pt x="165" y="15"/>
                      </a:lnTo>
                      <a:lnTo>
                        <a:pt x="164" y="8"/>
                      </a:lnTo>
                      <a:lnTo>
                        <a:pt x="172" y="3"/>
                      </a:lnTo>
                      <a:lnTo>
                        <a:pt x="170" y="2"/>
                      </a:lnTo>
                      <a:lnTo>
                        <a:pt x="167" y="2"/>
                      </a:lnTo>
                      <a:lnTo>
                        <a:pt x="162" y="0"/>
                      </a:lnTo>
                      <a:lnTo>
                        <a:pt x="157" y="3"/>
                      </a:lnTo>
                      <a:lnTo>
                        <a:pt x="154" y="7"/>
                      </a:lnTo>
                      <a:lnTo>
                        <a:pt x="149" y="7"/>
                      </a:lnTo>
                      <a:lnTo>
                        <a:pt x="147" y="10"/>
                      </a:lnTo>
                      <a:lnTo>
                        <a:pt x="144" y="13"/>
                      </a:lnTo>
                      <a:lnTo>
                        <a:pt x="151" y="23"/>
                      </a:lnTo>
                      <a:lnTo>
                        <a:pt x="151" y="31"/>
                      </a:lnTo>
                      <a:lnTo>
                        <a:pt x="144" y="41"/>
                      </a:lnTo>
                      <a:lnTo>
                        <a:pt x="147" y="44"/>
                      </a:lnTo>
                      <a:lnTo>
                        <a:pt x="147" y="49"/>
                      </a:lnTo>
                      <a:lnTo>
                        <a:pt x="144" y="56"/>
                      </a:lnTo>
                      <a:lnTo>
                        <a:pt x="138" y="56"/>
                      </a:lnTo>
                      <a:lnTo>
                        <a:pt x="131" y="52"/>
                      </a:lnTo>
                      <a:lnTo>
                        <a:pt x="128" y="56"/>
                      </a:lnTo>
                      <a:lnTo>
                        <a:pt x="130" y="59"/>
                      </a:lnTo>
                      <a:lnTo>
                        <a:pt x="133" y="60"/>
                      </a:lnTo>
                      <a:lnTo>
                        <a:pt x="134" y="65"/>
                      </a:lnTo>
                      <a:lnTo>
                        <a:pt x="134" y="69"/>
                      </a:lnTo>
                      <a:lnTo>
                        <a:pt x="131" y="70"/>
                      </a:lnTo>
                      <a:lnTo>
                        <a:pt x="126" y="70"/>
                      </a:lnTo>
                      <a:lnTo>
                        <a:pt x="126" y="74"/>
                      </a:lnTo>
                      <a:lnTo>
                        <a:pt x="125" y="78"/>
                      </a:lnTo>
                      <a:lnTo>
                        <a:pt x="125" y="83"/>
                      </a:lnTo>
                      <a:lnTo>
                        <a:pt x="125" y="85"/>
                      </a:lnTo>
                      <a:lnTo>
                        <a:pt x="123" y="87"/>
                      </a:lnTo>
                      <a:lnTo>
                        <a:pt x="125" y="93"/>
                      </a:lnTo>
                      <a:lnTo>
                        <a:pt x="121" y="98"/>
                      </a:lnTo>
                      <a:lnTo>
                        <a:pt x="118" y="95"/>
                      </a:lnTo>
                      <a:lnTo>
                        <a:pt x="116" y="95"/>
                      </a:lnTo>
                      <a:lnTo>
                        <a:pt x="115" y="96"/>
                      </a:lnTo>
                      <a:lnTo>
                        <a:pt x="112" y="96"/>
                      </a:lnTo>
                      <a:lnTo>
                        <a:pt x="110" y="95"/>
                      </a:lnTo>
                      <a:lnTo>
                        <a:pt x="107" y="96"/>
                      </a:lnTo>
                      <a:lnTo>
                        <a:pt x="105" y="98"/>
                      </a:lnTo>
                      <a:lnTo>
                        <a:pt x="98" y="103"/>
                      </a:lnTo>
                      <a:lnTo>
                        <a:pt x="102" y="103"/>
                      </a:lnTo>
                      <a:lnTo>
                        <a:pt x="100" y="106"/>
                      </a:lnTo>
                      <a:lnTo>
                        <a:pt x="94" y="108"/>
                      </a:lnTo>
                      <a:lnTo>
                        <a:pt x="92" y="106"/>
                      </a:lnTo>
                      <a:lnTo>
                        <a:pt x="89" y="108"/>
                      </a:lnTo>
                      <a:lnTo>
                        <a:pt x="87" y="109"/>
                      </a:lnTo>
                      <a:lnTo>
                        <a:pt x="87" y="113"/>
                      </a:lnTo>
                      <a:lnTo>
                        <a:pt x="84" y="114"/>
                      </a:lnTo>
                      <a:lnTo>
                        <a:pt x="82" y="116"/>
                      </a:lnTo>
                      <a:lnTo>
                        <a:pt x="82" y="121"/>
                      </a:lnTo>
                      <a:lnTo>
                        <a:pt x="84" y="126"/>
                      </a:lnTo>
                      <a:lnTo>
                        <a:pt x="82" y="129"/>
                      </a:lnTo>
                      <a:lnTo>
                        <a:pt x="84" y="132"/>
                      </a:lnTo>
                      <a:lnTo>
                        <a:pt x="84" y="136"/>
                      </a:lnTo>
                      <a:lnTo>
                        <a:pt x="77" y="139"/>
                      </a:lnTo>
                      <a:lnTo>
                        <a:pt x="72" y="139"/>
                      </a:lnTo>
                      <a:lnTo>
                        <a:pt x="66" y="139"/>
                      </a:lnTo>
                      <a:lnTo>
                        <a:pt x="58" y="139"/>
                      </a:lnTo>
                      <a:lnTo>
                        <a:pt x="53" y="141"/>
                      </a:lnTo>
                      <a:lnTo>
                        <a:pt x="51" y="142"/>
                      </a:lnTo>
                      <a:lnTo>
                        <a:pt x="46" y="142"/>
                      </a:lnTo>
                      <a:lnTo>
                        <a:pt x="40" y="144"/>
                      </a:lnTo>
                      <a:lnTo>
                        <a:pt x="22" y="144"/>
                      </a:lnTo>
                      <a:lnTo>
                        <a:pt x="0" y="137"/>
                      </a:lnTo>
                      <a:lnTo>
                        <a:pt x="0" y="139"/>
                      </a:lnTo>
                      <a:lnTo>
                        <a:pt x="9" y="149"/>
                      </a:lnTo>
                      <a:lnTo>
                        <a:pt x="10" y="154"/>
                      </a:lnTo>
                      <a:lnTo>
                        <a:pt x="15" y="157"/>
                      </a:lnTo>
                      <a:lnTo>
                        <a:pt x="18" y="160"/>
                      </a:lnTo>
                      <a:lnTo>
                        <a:pt x="20" y="162"/>
                      </a:lnTo>
                      <a:lnTo>
                        <a:pt x="25" y="162"/>
                      </a:lnTo>
                      <a:lnTo>
                        <a:pt x="28" y="163"/>
                      </a:lnTo>
                      <a:lnTo>
                        <a:pt x="28" y="165"/>
                      </a:lnTo>
                      <a:lnTo>
                        <a:pt x="33" y="165"/>
                      </a:lnTo>
                      <a:lnTo>
                        <a:pt x="33" y="170"/>
                      </a:lnTo>
                      <a:lnTo>
                        <a:pt x="35" y="175"/>
                      </a:lnTo>
                      <a:lnTo>
                        <a:pt x="35" y="178"/>
                      </a:lnTo>
                      <a:lnTo>
                        <a:pt x="35" y="181"/>
                      </a:lnTo>
                      <a:lnTo>
                        <a:pt x="40" y="181"/>
                      </a:lnTo>
                      <a:lnTo>
                        <a:pt x="43" y="185"/>
                      </a:lnTo>
                      <a:lnTo>
                        <a:pt x="43" y="191"/>
                      </a:lnTo>
                      <a:lnTo>
                        <a:pt x="41" y="193"/>
                      </a:lnTo>
                      <a:lnTo>
                        <a:pt x="36" y="191"/>
                      </a:lnTo>
                      <a:lnTo>
                        <a:pt x="30" y="193"/>
                      </a:lnTo>
                      <a:lnTo>
                        <a:pt x="28" y="194"/>
                      </a:lnTo>
                      <a:lnTo>
                        <a:pt x="23" y="198"/>
                      </a:lnTo>
                      <a:lnTo>
                        <a:pt x="22" y="201"/>
                      </a:lnTo>
                      <a:lnTo>
                        <a:pt x="22" y="203"/>
                      </a:lnTo>
                      <a:lnTo>
                        <a:pt x="20" y="206"/>
                      </a:lnTo>
                      <a:lnTo>
                        <a:pt x="22" y="211"/>
                      </a:lnTo>
                      <a:lnTo>
                        <a:pt x="20" y="216"/>
                      </a:lnTo>
                      <a:lnTo>
                        <a:pt x="20" y="219"/>
                      </a:lnTo>
                      <a:lnTo>
                        <a:pt x="23" y="219"/>
                      </a:lnTo>
                      <a:lnTo>
                        <a:pt x="23" y="221"/>
                      </a:lnTo>
                      <a:lnTo>
                        <a:pt x="23" y="222"/>
                      </a:lnTo>
                      <a:lnTo>
                        <a:pt x="28" y="219"/>
                      </a:lnTo>
                      <a:lnTo>
                        <a:pt x="32" y="219"/>
                      </a:lnTo>
                      <a:lnTo>
                        <a:pt x="33" y="221"/>
                      </a:lnTo>
                      <a:lnTo>
                        <a:pt x="33" y="219"/>
                      </a:lnTo>
                      <a:lnTo>
                        <a:pt x="36" y="217"/>
                      </a:lnTo>
                      <a:lnTo>
                        <a:pt x="40" y="217"/>
                      </a:lnTo>
                      <a:lnTo>
                        <a:pt x="41" y="219"/>
                      </a:lnTo>
                      <a:lnTo>
                        <a:pt x="43" y="217"/>
                      </a:lnTo>
                      <a:lnTo>
                        <a:pt x="46" y="217"/>
                      </a:lnTo>
                      <a:lnTo>
                        <a:pt x="48" y="217"/>
                      </a:lnTo>
                      <a:lnTo>
                        <a:pt x="48" y="216"/>
                      </a:lnTo>
                      <a:lnTo>
                        <a:pt x="49" y="214"/>
                      </a:lnTo>
                      <a:lnTo>
                        <a:pt x="53" y="217"/>
                      </a:lnTo>
                      <a:lnTo>
                        <a:pt x="54" y="217"/>
                      </a:lnTo>
                      <a:lnTo>
                        <a:pt x="54" y="216"/>
                      </a:lnTo>
                      <a:lnTo>
                        <a:pt x="56" y="216"/>
                      </a:lnTo>
                      <a:lnTo>
                        <a:pt x="58" y="217"/>
                      </a:lnTo>
                      <a:lnTo>
                        <a:pt x="59" y="217"/>
                      </a:lnTo>
                      <a:lnTo>
                        <a:pt x="63" y="219"/>
                      </a:lnTo>
                      <a:lnTo>
                        <a:pt x="64" y="219"/>
                      </a:lnTo>
                      <a:lnTo>
                        <a:pt x="67" y="216"/>
                      </a:lnTo>
                      <a:lnTo>
                        <a:pt x="72" y="216"/>
                      </a:lnTo>
                      <a:lnTo>
                        <a:pt x="74" y="216"/>
                      </a:lnTo>
                      <a:lnTo>
                        <a:pt x="77" y="214"/>
                      </a:lnTo>
                      <a:lnTo>
                        <a:pt x="79" y="214"/>
                      </a:lnTo>
                      <a:lnTo>
                        <a:pt x="81" y="214"/>
                      </a:lnTo>
                      <a:lnTo>
                        <a:pt x="81" y="214"/>
                      </a:lnTo>
                      <a:lnTo>
                        <a:pt x="85" y="216"/>
                      </a:lnTo>
                      <a:lnTo>
                        <a:pt x="90" y="214"/>
                      </a:lnTo>
                      <a:lnTo>
                        <a:pt x="94" y="214"/>
                      </a:lnTo>
                      <a:lnTo>
                        <a:pt x="98" y="216"/>
                      </a:lnTo>
                      <a:lnTo>
                        <a:pt x="98" y="219"/>
                      </a:lnTo>
                      <a:lnTo>
                        <a:pt x="98" y="222"/>
                      </a:lnTo>
                      <a:lnTo>
                        <a:pt x="98" y="222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100" y="224"/>
                      </a:lnTo>
                      <a:lnTo>
                        <a:pt x="105" y="222"/>
                      </a:lnTo>
                      <a:lnTo>
                        <a:pt x="105" y="225"/>
                      </a:lnTo>
                      <a:lnTo>
                        <a:pt x="108" y="230"/>
                      </a:lnTo>
                      <a:lnTo>
                        <a:pt x="110" y="235"/>
                      </a:lnTo>
                      <a:lnTo>
                        <a:pt x="110" y="235"/>
                      </a:lnTo>
                      <a:lnTo>
                        <a:pt x="110" y="239"/>
                      </a:lnTo>
                      <a:lnTo>
                        <a:pt x="110" y="239"/>
                      </a:lnTo>
                      <a:lnTo>
                        <a:pt x="110" y="240"/>
                      </a:lnTo>
                      <a:lnTo>
                        <a:pt x="112" y="240"/>
                      </a:lnTo>
                      <a:lnTo>
                        <a:pt x="113" y="243"/>
                      </a:lnTo>
                      <a:lnTo>
                        <a:pt x="115" y="243"/>
                      </a:lnTo>
                      <a:lnTo>
                        <a:pt x="120" y="242"/>
                      </a:lnTo>
                      <a:lnTo>
                        <a:pt x="126" y="245"/>
                      </a:lnTo>
                      <a:lnTo>
                        <a:pt x="125" y="247"/>
                      </a:lnTo>
                      <a:lnTo>
                        <a:pt x="128" y="24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7" name="Freeform 186">
                  <a:extLst>
                    <a:ext uri="{FF2B5EF4-FFF2-40B4-BE49-F238E27FC236}">
                      <a16:creationId xmlns:a16="http://schemas.microsoft.com/office/drawing/2014/main" xmlns="" id="{A41CE6BA-2F23-427D-9DD4-42E8746E0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5" y="1402"/>
                  <a:ext cx="116" cy="98"/>
                </a:xfrm>
                <a:custGeom>
                  <a:avLst/>
                  <a:gdLst>
                    <a:gd name="T0" fmla="*/ 59 w 116"/>
                    <a:gd name="T1" fmla="*/ 96 h 98"/>
                    <a:gd name="T2" fmla="*/ 67 w 116"/>
                    <a:gd name="T3" fmla="*/ 85 h 98"/>
                    <a:gd name="T4" fmla="*/ 73 w 116"/>
                    <a:gd name="T5" fmla="*/ 80 h 98"/>
                    <a:gd name="T6" fmla="*/ 85 w 116"/>
                    <a:gd name="T7" fmla="*/ 87 h 98"/>
                    <a:gd name="T8" fmla="*/ 95 w 116"/>
                    <a:gd name="T9" fmla="*/ 85 h 98"/>
                    <a:gd name="T10" fmla="*/ 99 w 116"/>
                    <a:gd name="T11" fmla="*/ 90 h 98"/>
                    <a:gd name="T12" fmla="*/ 111 w 116"/>
                    <a:gd name="T13" fmla="*/ 88 h 98"/>
                    <a:gd name="T14" fmla="*/ 114 w 116"/>
                    <a:gd name="T15" fmla="*/ 91 h 98"/>
                    <a:gd name="T16" fmla="*/ 116 w 116"/>
                    <a:gd name="T17" fmla="*/ 83 h 98"/>
                    <a:gd name="T18" fmla="*/ 109 w 116"/>
                    <a:gd name="T19" fmla="*/ 75 h 98"/>
                    <a:gd name="T20" fmla="*/ 106 w 116"/>
                    <a:gd name="T21" fmla="*/ 59 h 98"/>
                    <a:gd name="T22" fmla="*/ 99 w 116"/>
                    <a:gd name="T23" fmla="*/ 52 h 98"/>
                    <a:gd name="T24" fmla="*/ 91 w 116"/>
                    <a:gd name="T25" fmla="*/ 39 h 98"/>
                    <a:gd name="T26" fmla="*/ 81 w 116"/>
                    <a:gd name="T27" fmla="*/ 34 h 98"/>
                    <a:gd name="T28" fmla="*/ 77 w 116"/>
                    <a:gd name="T29" fmla="*/ 31 h 98"/>
                    <a:gd name="T30" fmla="*/ 65 w 116"/>
                    <a:gd name="T31" fmla="*/ 29 h 98"/>
                    <a:gd name="T32" fmla="*/ 60 w 116"/>
                    <a:gd name="T33" fmla="*/ 26 h 98"/>
                    <a:gd name="T34" fmla="*/ 55 w 116"/>
                    <a:gd name="T35" fmla="*/ 18 h 98"/>
                    <a:gd name="T36" fmla="*/ 47 w 116"/>
                    <a:gd name="T37" fmla="*/ 3 h 98"/>
                    <a:gd name="T38" fmla="*/ 42 w 116"/>
                    <a:gd name="T39" fmla="*/ 0 h 98"/>
                    <a:gd name="T40" fmla="*/ 39 w 116"/>
                    <a:gd name="T41" fmla="*/ 3 h 98"/>
                    <a:gd name="T42" fmla="*/ 36 w 116"/>
                    <a:gd name="T43" fmla="*/ 5 h 98"/>
                    <a:gd name="T44" fmla="*/ 29 w 116"/>
                    <a:gd name="T45" fmla="*/ 2 h 98"/>
                    <a:gd name="T46" fmla="*/ 29 w 116"/>
                    <a:gd name="T47" fmla="*/ 3 h 98"/>
                    <a:gd name="T48" fmla="*/ 18 w 116"/>
                    <a:gd name="T49" fmla="*/ 11 h 98"/>
                    <a:gd name="T50" fmla="*/ 8 w 116"/>
                    <a:gd name="T51" fmla="*/ 16 h 98"/>
                    <a:gd name="T52" fmla="*/ 1 w 116"/>
                    <a:gd name="T53" fmla="*/ 28 h 98"/>
                    <a:gd name="T54" fmla="*/ 6 w 116"/>
                    <a:gd name="T55" fmla="*/ 29 h 98"/>
                    <a:gd name="T56" fmla="*/ 13 w 116"/>
                    <a:gd name="T57" fmla="*/ 33 h 98"/>
                    <a:gd name="T58" fmla="*/ 21 w 116"/>
                    <a:gd name="T59" fmla="*/ 39 h 98"/>
                    <a:gd name="T60" fmla="*/ 26 w 116"/>
                    <a:gd name="T61" fmla="*/ 44 h 98"/>
                    <a:gd name="T62" fmla="*/ 21 w 116"/>
                    <a:gd name="T63" fmla="*/ 51 h 98"/>
                    <a:gd name="T64" fmla="*/ 19 w 116"/>
                    <a:gd name="T65" fmla="*/ 55 h 98"/>
                    <a:gd name="T66" fmla="*/ 21 w 116"/>
                    <a:gd name="T67" fmla="*/ 65 h 98"/>
                    <a:gd name="T68" fmla="*/ 24 w 116"/>
                    <a:gd name="T69" fmla="*/ 80 h 98"/>
                    <a:gd name="T70" fmla="*/ 37 w 116"/>
                    <a:gd name="T71" fmla="*/ 87 h 98"/>
                    <a:gd name="T72" fmla="*/ 44 w 116"/>
                    <a:gd name="T73" fmla="*/ 93 h 98"/>
                    <a:gd name="T74" fmla="*/ 52 w 116"/>
                    <a:gd name="T75" fmla="*/ 93 h 98"/>
                    <a:gd name="T76" fmla="*/ 57 w 116"/>
                    <a:gd name="T77" fmla="*/ 98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16" h="98">
                      <a:moveTo>
                        <a:pt x="57" y="98"/>
                      </a:moveTo>
                      <a:lnTo>
                        <a:pt x="59" y="96"/>
                      </a:lnTo>
                      <a:lnTo>
                        <a:pt x="63" y="88"/>
                      </a:lnTo>
                      <a:lnTo>
                        <a:pt x="67" y="85"/>
                      </a:lnTo>
                      <a:lnTo>
                        <a:pt x="72" y="83"/>
                      </a:lnTo>
                      <a:lnTo>
                        <a:pt x="73" y="80"/>
                      </a:lnTo>
                      <a:lnTo>
                        <a:pt x="77" y="80"/>
                      </a:lnTo>
                      <a:lnTo>
                        <a:pt x="85" y="87"/>
                      </a:lnTo>
                      <a:lnTo>
                        <a:pt x="90" y="83"/>
                      </a:lnTo>
                      <a:lnTo>
                        <a:pt x="95" y="85"/>
                      </a:lnTo>
                      <a:lnTo>
                        <a:pt x="96" y="90"/>
                      </a:lnTo>
                      <a:lnTo>
                        <a:pt x="99" y="90"/>
                      </a:lnTo>
                      <a:lnTo>
                        <a:pt x="106" y="93"/>
                      </a:lnTo>
                      <a:lnTo>
                        <a:pt x="111" y="88"/>
                      </a:lnTo>
                      <a:lnTo>
                        <a:pt x="114" y="90"/>
                      </a:lnTo>
                      <a:lnTo>
                        <a:pt x="114" y="91"/>
                      </a:lnTo>
                      <a:lnTo>
                        <a:pt x="116" y="88"/>
                      </a:lnTo>
                      <a:lnTo>
                        <a:pt x="116" y="83"/>
                      </a:lnTo>
                      <a:lnTo>
                        <a:pt x="112" y="75"/>
                      </a:lnTo>
                      <a:lnTo>
                        <a:pt x="109" y="75"/>
                      </a:lnTo>
                      <a:lnTo>
                        <a:pt x="106" y="67"/>
                      </a:lnTo>
                      <a:lnTo>
                        <a:pt x="106" y="59"/>
                      </a:lnTo>
                      <a:lnTo>
                        <a:pt x="104" y="55"/>
                      </a:lnTo>
                      <a:lnTo>
                        <a:pt x="99" y="52"/>
                      </a:lnTo>
                      <a:lnTo>
                        <a:pt x="95" y="47"/>
                      </a:lnTo>
                      <a:lnTo>
                        <a:pt x="91" y="39"/>
                      </a:lnTo>
                      <a:lnTo>
                        <a:pt x="86" y="38"/>
                      </a:lnTo>
                      <a:lnTo>
                        <a:pt x="81" y="34"/>
                      </a:lnTo>
                      <a:lnTo>
                        <a:pt x="80" y="31"/>
                      </a:lnTo>
                      <a:lnTo>
                        <a:pt x="77" y="31"/>
                      </a:lnTo>
                      <a:lnTo>
                        <a:pt x="70" y="31"/>
                      </a:lnTo>
                      <a:lnTo>
                        <a:pt x="65" y="29"/>
                      </a:lnTo>
                      <a:lnTo>
                        <a:pt x="63" y="28"/>
                      </a:lnTo>
                      <a:lnTo>
                        <a:pt x="60" y="26"/>
                      </a:lnTo>
                      <a:lnTo>
                        <a:pt x="60" y="21"/>
                      </a:lnTo>
                      <a:lnTo>
                        <a:pt x="55" y="18"/>
                      </a:lnTo>
                      <a:lnTo>
                        <a:pt x="49" y="8"/>
                      </a:lnTo>
                      <a:lnTo>
                        <a:pt x="47" y="3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41" y="2"/>
                      </a:lnTo>
                      <a:lnTo>
                        <a:pt x="39" y="3"/>
                      </a:lnTo>
                      <a:lnTo>
                        <a:pt x="37" y="3"/>
                      </a:lnTo>
                      <a:lnTo>
                        <a:pt x="36" y="5"/>
                      </a:lnTo>
                      <a:lnTo>
                        <a:pt x="32" y="2"/>
                      </a:lnTo>
                      <a:lnTo>
                        <a:pt x="29" y="2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26" y="8"/>
                      </a:lnTo>
                      <a:lnTo>
                        <a:pt x="18" y="11"/>
                      </a:lnTo>
                      <a:lnTo>
                        <a:pt x="6" y="15"/>
                      </a:lnTo>
                      <a:lnTo>
                        <a:pt x="8" y="16"/>
                      </a:lnTo>
                      <a:lnTo>
                        <a:pt x="0" y="21"/>
                      </a:lnTo>
                      <a:lnTo>
                        <a:pt x="1" y="28"/>
                      </a:lnTo>
                      <a:lnTo>
                        <a:pt x="3" y="31"/>
                      </a:lnTo>
                      <a:lnTo>
                        <a:pt x="6" y="29"/>
                      </a:lnTo>
                      <a:lnTo>
                        <a:pt x="10" y="28"/>
                      </a:lnTo>
                      <a:lnTo>
                        <a:pt x="13" y="33"/>
                      </a:lnTo>
                      <a:lnTo>
                        <a:pt x="16" y="36"/>
                      </a:lnTo>
                      <a:lnTo>
                        <a:pt x="21" y="39"/>
                      </a:lnTo>
                      <a:lnTo>
                        <a:pt x="21" y="42"/>
                      </a:lnTo>
                      <a:lnTo>
                        <a:pt x="26" y="44"/>
                      </a:lnTo>
                      <a:lnTo>
                        <a:pt x="26" y="47"/>
                      </a:lnTo>
                      <a:lnTo>
                        <a:pt x="21" y="51"/>
                      </a:lnTo>
                      <a:lnTo>
                        <a:pt x="21" y="54"/>
                      </a:lnTo>
                      <a:lnTo>
                        <a:pt x="19" y="55"/>
                      </a:lnTo>
                      <a:lnTo>
                        <a:pt x="19" y="60"/>
                      </a:lnTo>
                      <a:lnTo>
                        <a:pt x="21" y="65"/>
                      </a:lnTo>
                      <a:lnTo>
                        <a:pt x="24" y="75"/>
                      </a:lnTo>
                      <a:lnTo>
                        <a:pt x="24" y="80"/>
                      </a:lnTo>
                      <a:lnTo>
                        <a:pt x="31" y="85"/>
                      </a:lnTo>
                      <a:lnTo>
                        <a:pt x="37" y="87"/>
                      </a:lnTo>
                      <a:lnTo>
                        <a:pt x="42" y="90"/>
                      </a:lnTo>
                      <a:lnTo>
                        <a:pt x="44" y="93"/>
                      </a:lnTo>
                      <a:lnTo>
                        <a:pt x="49" y="95"/>
                      </a:lnTo>
                      <a:lnTo>
                        <a:pt x="52" y="93"/>
                      </a:lnTo>
                      <a:lnTo>
                        <a:pt x="57" y="95"/>
                      </a:lnTo>
                      <a:lnTo>
                        <a:pt x="57" y="9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8" name="Freeform 187">
                  <a:extLst>
                    <a:ext uri="{FF2B5EF4-FFF2-40B4-BE49-F238E27FC236}">
                      <a16:creationId xmlns:a16="http://schemas.microsoft.com/office/drawing/2014/main" xmlns="" id="{AFEC8354-93BB-458F-8E2B-4689E2073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5" y="1381"/>
                  <a:ext cx="211" cy="178"/>
                </a:xfrm>
                <a:custGeom>
                  <a:avLst/>
                  <a:gdLst>
                    <a:gd name="T0" fmla="*/ 194 w 211"/>
                    <a:gd name="T1" fmla="*/ 16 h 178"/>
                    <a:gd name="T2" fmla="*/ 203 w 211"/>
                    <a:gd name="T3" fmla="*/ 16 h 178"/>
                    <a:gd name="T4" fmla="*/ 206 w 211"/>
                    <a:gd name="T5" fmla="*/ 23 h 178"/>
                    <a:gd name="T6" fmla="*/ 198 w 211"/>
                    <a:gd name="T7" fmla="*/ 32 h 178"/>
                    <a:gd name="T8" fmla="*/ 173 w 211"/>
                    <a:gd name="T9" fmla="*/ 37 h 178"/>
                    <a:gd name="T10" fmla="*/ 163 w 211"/>
                    <a:gd name="T11" fmla="*/ 44 h 178"/>
                    <a:gd name="T12" fmla="*/ 167 w 211"/>
                    <a:gd name="T13" fmla="*/ 65 h 178"/>
                    <a:gd name="T14" fmla="*/ 163 w 211"/>
                    <a:gd name="T15" fmla="*/ 83 h 178"/>
                    <a:gd name="T16" fmla="*/ 147 w 211"/>
                    <a:gd name="T17" fmla="*/ 86 h 178"/>
                    <a:gd name="T18" fmla="*/ 149 w 211"/>
                    <a:gd name="T19" fmla="*/ 94 h 178"/>
                    <a:gd name="T20" fmla="*/ 147 w 211"/>
                    <a:gd name="T21" fmla="*/ 104 h 178"/>
                    <a:gd name="T22" fmla="*/ 141 w 211"/>
                    <a:gd name="T23" fmla="*/ 112 h 178"/>
                    <a:gd name="T24" fmla="*/ 139 w 211"/>
                    <a:gd name="T25" fmla="*/ 121 h 178"/>
                    <a:gd name="T26" fmla="*/ 134 w 211"/>
                    <a:gd name="T27" fmla="*/ 129 h 178"/>
                    <a:gd name="T28" fmla="*/ 128 w 211"/>
                    <a:gd name="T29" fmla="*/ 130 h 178"/>
                    <a:gd name="T30" fmla="*/ 121 w 211"/>
                    <a:gd name="T31" fmla="*/ 132 h 178"/>
                    <a:gd name="T32" fmla="*/ 116 w 211"/>
                    <a:gd name="T33" fmla="*/ 140 h 178"/>
                    <a:gd name="T34" fmla="*/ 105 w 211"/>
                    <a:gd name="T35" fmla="*/ 142 h 178"/>
                    <a:gd name="T36" fmla="*/ 100 w 211"/>
                    <a:gd name="T37" fmla="*/ 148 h 178"/>
                    <a:gd name="T38" fmla="*/ 100 w 211"/>
                    <a:gd name="T39" fmla="*/ 160 h 178"/>
                    <a:gd name="T40" fmla="*/ 100 w 211"/>
                    <a:gd name="T41" fmla="*/ 170 h 178"/>
                    <a:gd name="T42" fmla="*/ 82 w 211"/>
                    <a:gd name="T43" fmla="*/ 173 h 178"/>
                    <a:gd name="T44" fmla="*/ 67 w 211"/>
                    <a:gd name="T45" fmla="*/ 176 h 178"/>
                    <a:gd name="T46" fmla="*/ 38 w 211"/>
                    <a:gd name="T47" fmla="*/ 178 h 178"/>
                    <a:gd name="T48" fmla="*/ 30 w 211"/>
                    <a:gd name="T49" fmla="*/ 153 h 178"/>
                    <a:gd name="T50" fmla="*/ 26 w 211"/>
                    <a:gd name="T51" fmla="*/ 137 h 178"/>
                    <a:gd name="T52" fmla="*/ 10 w 211"/>
                    <a:gd name="T53" fmla="*/ 129 h 178"/>
                    <a:gd name="T54" fmla="*/ 5 w 211"/>
                    <a:gd name="T55" fmla="*/ 109 h 178"/>
                    <a:gd name="T56" fmla="*/ 8 w 211"/>
                    <a:gd name="T57" fmla="*/ 99 h 178"/>
                    <a:gd name="T58" fmla="*/ 2 w 211"/>
                    <a:gd name="T59" fmla="*/ 90 h 178"/>
                    <a:gd name="T60" fmla="*/ 2 w 211"/>
                    <a:gd name="T61" fmla="*/ 81 h 178"/>
                    <a:gd name="T62" fmla="*/ 8 w 211"/>
                    <a:gd name="T63" fmla="*/ 76 h 178"/>
                    <a:gd name="T64" fmla="*/ 7 w 211"/>
                    <a:gd name="T65" fmla="*/ 70 h 178"/>
                    <a:gd name="T66" fmla="*/ 8 w 211"/>
                    <a:gd name="T67" fmla="*/ 62 h 178"/>
                    <a:gd name="T68" fmla="*/ 13 w 211"/>
                    <a:gd name="T69" fmla="*/ 62 h 178"/>
                    <a:gd name="T70" fmla="*/ 20 w 211"/>
                    <a:gd name="T71" fmla="*/ 62 h 178"/>
                    <a:gd name="T72" fmla="*/ 26 w 211"/>
                    <a:gd name="T73" fmla="*/ 67 h 178"/>
                    <a:gd name="T74" fmla="*/ 34 w 211"/>
                    <a:gd name="T75" fmla="*/ 65 h 178"/>
                    <a:gd name="T76" fmla="*/ 39 w 211"/>
                    <a:gd name="T77" fmla="*/ 59 h 178"/>
                    <a:gd name="T78" fmla="*/ 49 w 211"/>
                    <a:gd name="T79" fmla="*/ 52 h 178"/>
                    <a:gd name="T80" fmla="*/ 56 w 211"/>
                    <a:gd name="T81" fmla="*/ 49 h 178"/>
                    <a:gd name="T82" fmla="*/ 61 w 211"/>
                    <a:gd name="T83" fmla="*/ 36 h 178"/>
                    <a:gd name="T84" fmla="*/ 59 w 211"/>
                    <a:gd name="T85" fmla="*/ 29 h 178"/>
                    <a:gd name="T86" fmla="*/ 65 w 211"/>
                    <a:gd name="T87" fmla="*/ 26 h 178"/>
                    <a:gd name="T88" fmla="*/ 75 w 211"/>
                    <a:gd name="T89" fmla="*/ 21 h 178"/>
                    <a:gd name="T90" fmla="*/ 83 w 211"/>
                    <a:gd name="T91" fmla="*/ 24 h 178"/>
                    <a:gd name="T92" fmla="*/ 93 w 211"/>
                    <a:gd name="T93" fmla="*/ 27 h 178"/>
                    <a:gd name="T94" fmla="*/ 101 w 211"/>
                    <a:gd name="T95" fmla="*/ 24 h 178"/>
                    <a:gd name="T96" fmla="*/ 113 w 211"/>
                    <a:gd name="T97" fmla="*/ 29 h 178"/>
                    <a:gd name="T98" fmla="*/ 119 w 211"/>
                    <a:gd name="T99" fmla="*/ 24 h 178"/>
                    <a:gd name="T100" fmla="*/ 124 w 211"/>
                    <a:gd name="T101" fmla="*/ 26 h 178"/>
                    <a:gd name="T102" fmla="*/ 129 w 211"/>
                    <a:gd name="T103" fmla="*/ 23 h 178"/>
                    <a:gd name="T104" fmla="*/ 134 w 211"/>
                    <a:gd name="T105" fmla="*/ 18 h 178"/>
                    <a:gd name="T106" fmla="*/ 139 w 211"/>
                    <a:gd name="T107" fmla="*/ 19 h 178"/>
                    <a:gd name="T108" fmla="*/ 142 w 211"/>
                    <a:gd name="T109" fmla="*/ 9 h 178"/>
                    <a:gd name="T110" fmla="*/ 146 w 211"/>
                    <a:gd name="T111" fmla="*/ 0 h 178"/>
                    <a:gd name="T112" fmla="*/ 155 w 211"/>
                    <a:gd name="T113" fmla="*/ 3 h 178"/>
                    <a:gd name="T114" fmla="*/ 155 w 211"/>
                    <a:gd name="T115" fmla="*/ 13 h 178"/>
                    <a:gd name="T116" fmla="*/ 159 w 211"/>
                    <a:gd name="T117" fmla="*/ 19 h 178"/>
                    <a:gd name="T118" fmla="*/ 162 w 211"/>
                    <a:gd name="T119" fmla="*/ 32 h 178"/>
                    <a:gd name="T120" fmla="*/ 168 w 211"/>
                    <a:gd name="T121" fmla="*/ 36 h 178"/>
                    <a:gd name="T122" fmla="*/ 178 w 211"/>
                    <a:gd name="T123" fmla="*/ 29 h 178"/>
                    <a:gd name="T124" fmla="*/ 183 w 211"/>
                    <a:gd name="T125" fmla="*/ 23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1" h="178">
                      <a:moveTo>
                        <a:pt x="183" y="23"/>
                      </a:moveTo>
                      <a:lnTo>
                        <a:pt x="190" y="18"/>
                      </a:lnTo>
                      <a:lnTo>
                        <a:pt x="194" y="16"/>
                      </a:lnTo>
                      <a:lnTo>
                        <a:pt x="196" y="19"/>
                      </a:lnTo>
                      <a:lnTo>
                        <a:pt x="201" y="19"/>
                      </a:lnTo>
                      <a:lnTo>
                        <a:pt x="203" y="16"/>
                      </a:lnTo>
                      <a:lnTo>
                        <a:pt x="211" y="16"/>
                      </a:lnTo>
                      <a:lnTo>
                        <a:pt x="211" y="19"/>
                      </a:lnTo>
                      <a:lnTo>
                        <a:pt x="206" y="23"/>
                      </a:lnTo>
                      <a:lnTo>
                        <a:pt x="209" y="24"/>
                      </a:lnTo>
                      <a:lnTo>
                        <a:pt x="206" y="29"/>
                      </a:lnTo>
                      <a:lnTo>
                        <a:pt x="198" y="32"/>
                      </a:lnTo>
                      <a:lnTo>
                        <a:pt x="183" y="36"/>
                      </a:lnTo>
                      <a:lnTo>
                        <a:pt x="178" y="34"/>
                      </a:lnTo>
                      <a:lnTo>
                        <a:pt x="173" y="37"/>
                      </a:lnTo>
                      <a:lnTo>
                        <a:pt x="170" y="41"/>
                      </a:lnTo>
                      <a:lnTo>
                        <a:pt x="165" y="41"/>
                      </a:lnTo>
                      <a:lnTo>
                        <a:pt x="163" y="44"/>
                      </a:lnTo>
                      <a:lnTo>
                        <a:pt x="160" y="47"/>
                      </a:lnTo>
                      <a:lnTo>
                        <a:pt x="167" y="57"/>
                      </a:lnTo>
                      <a:lnTo>
                        <a:pt x="167" y="65"/>
                      </a:lnTo>
                      <a:lnTo>
                        <a:pt x="160" y="75"/>
                      </a:lnTo>
                      <a:lnTo>
                        <a:pt x="163" y="78"/>
                      </a:lnTo>
                      <a:lnTo>
                        <a:pt x="163" y="83"/>
                      </a:lnTo>
                      <a:lnTo>
                        <a:pt x="160" y="90"/>
                      </a:lnTo>
                      <a:lnTo>
                        <a:pt x="154" y="90"/>
                      </a:lnTo>
                      <a:lnTo>
                        <a:pt x="147" y="86"/>
                      </a:lnTo>
                      <a:lnTo>
                        <a:pt x="144" y="90"/>
                      </a:lnTo>
                      <a:lnTo>
                        <a:pt x="146" y="93"/>
                      </a:lnTo>
                      <a:lnTo>
                        <a:pt x="149" y="94"/>
                      </a:lnTo>
                      <a:lnTo>
                        <a:pt x="150" y="99"/>
                      </a:lnTo>
                      <a:lnTo>
                        <a:pt x="150" y="103"/>
                      </a:lnTo>
                      <a:lnTo>
                        <a:pt x="147" y="104"/>
                      </a:lnTo>
                      <a:lnTo>
                        <a:pt x="142" y="104"/>
                      </a:lnTo>
                      <a:lnTo>
                        <a:pt x="142" y="108"/>
                      </a:lnTo>
                      <a:lnTo>
                        <a:pt x="141" y="112"/>
                      </a:lnTo>
                      <a:lnTo>
                        <a:pt x="141" y="117"/>
                      </a:lnTo>
                      <a:lnTo>
                        <a:pt x="141" y="119"/>
                      </a:lnTo>
                      <a:lnTo>
                        <a:pt x="139" y="121"/>
                      </a:lnTo>
                      <a:lnTo>
                        <a:pt x="141" y="127"/>
                      </a:lnTo>
                      <a:lnTo>
                        <a:pt x="137" y="132"/>
                      </a:lnTo>
                      <a:lnTo>
                        <a:pt x="134" y="129"/>
                      </a:lnTo>
                      <a:lnTo>
                        <a:pt x="132" y="129"/>
                      </a:lnTo>
                      <a:lnTo>
                        <a:pt x="131" y="130"/>
                      </a:lnTo>
                      <a:lnTo>
                        <a:pt x="128" y="130"/>
                      </a:lnTo>
                      <a:lnTo>
                        <a:pt x="126" y="129"/>
                      </a:lnTo>
                      <a:lnTo>
                        <a:pt x="123" y="130"/>
                      </a:lnTo>
                      <a:lnTo>
                        <a:pt x="121" y="132"/>
                      </a:lnTo>
                      <a:lnTo>
                        <a:pt x="114" y="137"/>
                      </a:lnTo>
                      <a:lnTo>
                        <a:pt x="118" y="137"/>
                      </a:lnTo>
                      <a:lnTo>
                        <a:pt x="116" y="140"/>
                      </a:lnTo>
                      <a:lnTo>
                        <a:pt x="110" y="142"/>
                      </a:lnTo>
                      <a:lnTo>
                        <a:pt x="108" y="140"/>
                      </a:lnTo>
                      <a:lnTo>
                        <a:pt x="105" y="142"/>
                      </a:lnTo>
                      <a:lnTo>
                        <a:pt x="103" y="143"/>
                      </a:lnTo>
                      <a:lnTo>
                        <a:pt x="103" y="147"/>
                      </a:lnTo>
                      <a:lnTo>
                        <a:pt x="100" y="148"/>
                      </a:lnTo>
                      <a:lnTo>
                        <a:pt x="98" y="150"/>
                      </a:lnTo>
                      <a:lnTo>
                        <a:pt x="98" y="155"/>
                      </a:lnTo>
                      <a:lnTo>
                        <a:pt x="100" y="160"/>
                      </a:lnTo>
                      <a:lnTo>
                        <a:pt x="98" y="163"/>
                      </a:lnTo>
                      <a:lnTo>
                        <a:pt x="100" y="166"/>
                      </a:lnTo>
                      <a:lnTo>
                        <a:pt x="100" y="170"/>
                      </a:lnTo>
                      <a:lnTo>
                        <a:pt x="93" y="173"/>
                      </a:lnTo>
                      <a:lnTo>
                        <a:pt x="88" y="173"/>
                      </a:lnTo>
                      <a:lnTo>
                        <a:pt x="82" y="173"/>
                      </a:lnTo>
                      <a:lnTo>
                        <a:pt x="74" y="173"/>
                      </a:lnTo>
                      <a:lnTo>
                        <a:pt x="69" y="175"/>
                      </a:lnTo>
                      <a:lnTo>
                        <a:pt x="67" y="176"/>
                      </a:lnTo>
                      <a:lnTo>
                        <a:pt x="62" y="176"/>
                      </a:lnTo>
                      <a:lnTo>
                        <a:pt x="56" y="178"/>
                      </a:lnTo>
                      <a:lnTo>
                        <a:pt x="38" y="178"/>
                      </a:lnTo>
                      <a:lnTo>
                        <a:pt x="16" y="171"/>
                      </a:lnTo>
                      <a:lnTo>
                        <a:pt x="28" y="155"/>
                      </a:lnTo>
                      <a:lnTo>
                        <a:pt x="30" y="153"/>
                      </a:lnTo>
                      <a:lnTo>
                        <a:pt x="28" y="147"/>
                      </a:lnTo>
                      <a:lnTo>
                        <a:pt x="28" y="143"/>
                      </a:lnTo>
                      <a:lnTo>
                        <a:pt x="26" y="137"/>
                      </a:lnTo>
                      <a:lnTo>
                        <a:pt x="12" y="137"/>
                      </a:lnTo>
                      <a:lnTo>
                        <a:pt x="12" y="130"/>
                      </a:lnTo>
                      <a:lnTo>
                        <a:pt x="10" y="129"/>
                      </a:lnTo>
                      <a:lnTo>
                        <a:pt x="12" y="126"/>
                      </a:lnTo>
                      <a:lnTo>
                        <a:pt x="8" y="119"/>
                      </a:lnTo>
                      <a:lnTo>
                        <a:pt x="5" y="109"/>
                      </a:lnTo>
                      <a:lnTo>
                        <a:pt x="5" y="106"/>
                      </a:lnTo>
                      <a:lnTo>
                        <a:pt x="10" y="99"/>
                      </a:lnTo>
                      <a:lnTo>
                        <a:pt x="8" y="99"/>
                      </a:lnTo>
                      <a:lnTo>
                        <a:pt x="3" y="98"/>
                      </a:lnTo>
                      <a:lnTo>
                        <a:pt x="3" y="94"/>
                      </a:lnTo>
                      <a:lnTo>
                        <a:pt x="2" y="90"/>
                      </a:lnTo>
                      <a:lnTo>
                        <a:pt x="2" y="88"/>
                      </a:lnTo>
                      <a:lnTo>
                        <a:pt x="5" y="85"/>
                      </a:lnTo>
                      <a:lnTo>
                        <a:pt x="2" y="81"/>
                      </a:lnTo>
                      <a:lnTo>
                        <a:pt x="0" y="80"/>
                      </a:lnTo>
                      <a:lnTo>
                        <a:pt x="3" y="80"/>
                      </a:lnTo>
                      <a:lnTo>
                        <a:pt x="8" y="76"/>
                      </a:lnTo>
                      <a:lnTo>
                        <a:pt x="8" y="75"/>
                      </a:lnTo>
                      <a:lnTo>
                        <a:pt x="8" y="73"/>
                      </a:lnTo>
                      <a:lnTo>
                        <a:pt x="7" y="70"/>
                      </a:lnTo>
                      <a:lnTo>
                        <a:pt x="8" y="68"/>
                      </a:lnTo>
                      <a:lnTo>
                        <a:pt x="8" y="65"/>
                      </a:lnTo>
                      <a:lnTo>
                        <a:pt x="8" y="62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13" y="62"/>
                      </a:lnTo>
                      <a:lnTo>
                        <a:pt x="15" y="63"/>
                      </a:lnTo>
                      <a:lnTo>
                        <a:pt x="18" y="63"/>
                      </a:lnTo>
                      <a:lnTo>
                        <a:pt x="20" y="62"/>
                      </a:lnTo>
                      <a:lnTo>
                        <a:pt x="23" y="62"/>
                      </a:lnTo>
                      <a:lnTo>
                        <a:pt x="26" y="63"/>
                      </a:lnTo>
                      <a:lnTo>
                        <a:pt x="26" y="67"/>
                      </a:lnTo>
                      <a:lnTo>
                        <a:pt x="28" y="68"/>
                      </a:lnTo>
                      <a:lnTo>
                        <a:pt x="30" y="65"/>
                      </a:lnTo>
                      <a:lnTo>
                        <a:pt x="34" y="65"/>
                      </a:lnTo>
                      <a:lnTo>
                        <a:pt x="36" y="62"/>
                      </a:lnTo>
                      <a:lnTo>
                        <a:pt x="38" y="60"/>
                      </a:lnTo>
                      <a:lnTo>
                        <a:pt x="39" y="59"/>
                      </a:lnTo>
                      <a:lnTo>
                        <a:pt x="38" y="57"/>
                      </a:lnTo>
                      <a:lnTo>
                        <a:pt x="43" y="54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2" y="49"/>
                      </a:lnTo>
                      <a:lnTo>
                        <a:pt x="56" y="49"/>
                      </a:lnTo>
                      <a:lnTo>
                        <a:pt x="56" y="44"/>
                      </a:lnTo>
                      <a:lnTo>
                        <a:pt x="56" y="39"/>
                      </a:lnTo>
                      <a:lnTo>
                        <a:pt x="61" y="36"/>
                      </a:lnTo>
                      <a:lnTo>
                        <a:pt x="61" y="32"/>
                      </a:lnTo>
                      <a:lnTo>
                        <a:pt x="59" y="31"/>
                      </a:lnTo>
                      <a:lnTo>
                        <a:pt x="59" y="29"/>
                      </a:lnTo>
                      <a:lnTo>
                        <a:pt x="61" y="29"/>
                      </a:lnTo>
                      <a:lnTo>
                        <a:pt x="62" y="27"/>
                      </a:lnTo>
                      <a:lnTo>
                        <a:pt x="65" y="26"/>
                      </a:lnTo>
                      <a:lnTo>
                        <a:pt x="67" y="26"/>
                      </a:lnTo>
                      <a:lnTo>
                        <a:pt x="72" y="23"/>
                      </a:lnTo>
                      <a:lnTo>
                        <a:pt x="75" y="21"/>
                      </a:lnTo>
                      <a:lnTo>
                        <a:pt x="79" y="23"/>
                      </a:lnTo>
                      <a:lnTo>
                        <a:pt x="82" y="23"/>
                      </a:lnTo>
                      <a:lnTo>
                        <a:pt x="83" y="24"/>
                      </a:lnTo>
                      <a:lnTo>
                        <a:pt x="88" y="23"/>
                      </a:lnTo>
                      <a:lnTo>
                        <a:pt x="92" y="24"/>
                      </a:lnTo>
                      <a:lnTo>
                        <a:pt x="93" y="27"/>
                      </a:lnTo>
                      <a:lnTo>
                        <a:pt x="97" y="27"/>
                      </a:lnTo>
                      <a:lnTo>
                        <a:pt x="98" y="24"/>
                      </a:lnTo>
                      <a:lnTo>
                        <a:pt x="101" y="24"/>
                      </a:lnTo>
                      <a:lnTo>
                        <a:pt x="105" y="29"/>
                      </a:lnTo>
                      <a:lnTo>
                        <a:pt x="108" y="31"/>
                      </a:lnTo>
                      <a:lnTo>
                        <a:pt x="113" y="29"/>
                      </a:lnTo>
                      <a:lnTo>
                        <a:pt x="116" y="27"/>
                      </a:lnTo>
                      <a:lnTo>
                        <a:pt x="118" y="24"/>
                      </a:lnTo>
                      <a:lnTo>
                        <a:pt x="119" y="24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4" y="26"/>
                      </a:lnTo>
                      <a:lnTo>
                        <a:pt x="131" y="26"/>
                      </a:lnTo>
                      <a:lnTo>
                        <a:pt x="131" y="24"/>
                      </a:lnTo>
                      <a:lnTo>
                        <a:pt x="129" y="23"/>
                      </a:lnTo>
                      <a:lnTo>
                        <a:pt x="129" y="21"/>
                      </a:lnTo>
                      <a:lnTo>
                        <a:pt x="132" y="19"/>
                      </a:lnTo>
                      <a:lnTo>
                        <a:pt x="134" y="18"/>
                      </a:lnTo>
                      <a:lnTo>
                        <a:pt x="136" y="18"/>
                      </a:lnTo>
                      <a:lnTo>
                        <a:pt x="136" y="19"/>
                      </a:lnTo>
                      <a:lnTo>
                        <a:pt x="139" y="19"/>
                      </a:lnTo>
                      <a:lnTo>
                        <a:pt x="141" y="16"/>
                      </a:lnTo>
                      <a:lnTo>
                        <a:pt x="141" y="11"/>
                      </a:lnTo>
                      <a:lnTo>
                        <a:pt x="142" y="9"/>
                      </a:lnTo>
                      <a:lnTo>
                        <a:pt x="144" y="6"/>
                      </a:lnTo>
                      <a:lnTo>
                        <a:pt x="144" y="3"/>
                      </a:lnTo>
                      <a:lnTo>
                        <a:pt x="146" y="0"/>
                      </a:lnTo>
                      <a:lnTo>
                        <a:pt x="149" y="0"/>
                      </a:lnTo>
                      <a:lnTo>
                        <a:pt x="152" y="1"/>
                      </a:lnTo>
                      <a:lnTo>
                        <a:pt x="155" y="3"/>
                      </a:lnTo>
                      <a:lnTo>
                        <a:pt x="155" y="6"/>
                      </a:lnTo>
                      <a:lnTo>
                        <a:pt x="154" y="9"/>
                      </a:lnTo>
                      <a:lnTo>
                        <a:pt x="155" y="13"/>
                      </a:lnTo>
                      <a:lnTo>
                        <a:pt x="159" y="13"/>
                      </a:lnTo>
                      <a:lnTo>
                        <a:pt x="159" y="14"/>
                      </a:lnTo>
                      <a:lnTo>
                        <a:pt x="159" y="19"/>
                      </a:lnTo>
                      <a:lnTo>
                        <a:pt x="159" y="23"/>
                      </a:lnTo>
                      <a:lnTo>
                        <a:pt x="160" y="29"/>
                      </a:lnTo>
                      <a:lnTo>
                        <a:pt x="162" y="32"/>
                      </a:lnTo>
                      <a:lnTo>
                        <a:pt x="162" y="34"/>
                      </a:lnTo>
                      <a:lnTo>
                        <a:pt x="165" y="36"/>
                      </a:lnTo>
                      <a:lnTo>
                        <a:pt x="168" y="36"/>
                      </a:lnTo>
                      <a:lnTo>
                        <a:pt x="172" y="34"/>
                      </a:lnTo>
                      <a:lnTo>
                        <a:pt x="172" y="32"/>
                      </a:lnTo>
                      <a:lnTo>
                        <a:pt x="178" y="29"/>
                      </a:lnTo>
                      <a:lnTo>
                        <a:pt x="180" y="27"/>
                      </a:lnTo>
                      <a:lnTo>
                        <a:pt x="181" y="24"/>
                      </a:lnTo>
                      <a:lnTo>
                        <a:pt x="183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99" name="Freeform 188">
                  <a:extLst>
                    <a:ext uri="{FF2B5EF4-FFF2-40B4-BE49-F238E27FC236}">
                      <a16:creationId xmlns:a16="http://schemas.microsoft.com/office/drawing/2014/main" xmlns="" id="{304182A1-3FE8-4B82-8E65-7CC9531C1C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5" y="997"/>
                  <a:ext cx="100" cy="80"/>
                </a:xfrm>
                <a:custGeom>
                  <a:avLst/>
                  <a:gdLst>
                    <a:gd name="T0" fmla="*/ 48 w 61"/>
                    <a:gd name="T1" fmla="*/ 47 h 49"/>
                    <a:gd name="T2" fmla="*/ 48 w 61"/>
                    <a:gd name="T3" fmla="*/ 43 h 49"/>
                    <a:gd name="T4" fmla="*/ 44 w 61"/>
                    <a:gd name="T5" fmla="*/ 43 h 49"/>
                    <a:gd name="T6" fmla="*/ 44 w 61"/>
                    <a:gd name="T7" fmla="*/ 46 h 49"/>
                    <a:gd name="T8" fmla="*/ 58 w 61"/>
                    <a:gd name="T9" fmla="*/ 38 h 49"/>
                    <a:gd name="T10" fmla="*/ 58 w 61"/>
                    <a:gd name="T11" fmla="*/ 34 h 49"/>
                    <a:gd name="T12" fmla="*/ 39 w 61"/>
                    <a:gd name="T13" fmla="*/ 29 h 49"/>
                    <a:gd name="T14" fmla="*/ 33 w 61"/>
                    <a:gd name="T15" fmla="*/ 37 h 49"/>
                    <a:gd name="T16" fmla="*/ 28 w 61"/>
                    <a:gd name="T17" fmla="*/ 34 h 49"/>
                    <a:gd name="T18" fmla="*/ 28 w 61"/>
                    <a:gd name="T19" fmla="*/ 29 h 49"/>
                    <a:gd name="T20" fmla="*/ 31 w 61"/>
                    <a:gd name="T21" fmla="*/ 29 h 49"/>
                    <a:gd name="T22" fmla="*/ 34 w 61"/>
                    <a:gd name="T23" fmla="*/ 29 h 49"/>
                    <a:gd name="T24" fmla="*/ 35 w 61"/>
                    <a:gd name="T25" fmla="*/ 24 h 49"/>
                    <a:gd name="T26" fmla="*/ 38 w 61"/>
                    <a:gd name="T27" fmla="*/ 31 h 49"/>
                    <a:gd name="T28" fmla="*/ 38 w 61"/>
                    <a:gd name="T29" fmla="*/ 35 h 49"/>
                    <a:gd name="T30" fmla="*/ 34 w 61"/>
                    <a:gd name="T31" fmla="*/ 39 h 49"/>
                    <a:gd name="T32" fmla="*/ 38 w 61"/>
                    <a:gd name="T33" fmla="*/ 39 h 49"/>
                    <a:gd name="T34" fmla="*/ 28 w 61"/>
                    <a:gd name="T35" fmla="*/ 39 h 49"/>
                    <a:gd name="T36" fmla="*/ 33 w 61"/>
                    <a:gd name="T37" fmla="*/ 40 h 49"/>
                    <a:gd name="T38" fmla="*/ 34 w 61"/>
                    <a:gd name="T39" fmla="*/ 43 h 49"/>
                    <a:gd name="T40" fmla="*/ 32 w 61"/>
                    <a:gd name="T41" fmla="*/ 44 h 49"/>
                    <a:gd name="T42" fmla="*/ 27 w 61"/>
                    <a:gd name="T43" fmla="*/ 41 h 49"/>
                    <a:gd name="T44" fmla="*/ 21 w 61"/>
                    <a:gd name="T45" fmla="*/ 29 h 49"/>
                    <a:gd name="T46" fmla="*/ 23 w 61"/>
                    <a:gd name="T47" fmla="*/ 29 h 49"/>
                    <a:gd name="T48" fmla="*/ 22 w 61"/>
                    <a:gd name="T49" fmla="*/ 41 h 49"/>
                    <a:gd name="T50" fmla="*/ 23 w 61"/>
                    <a:gd name="T51" fmla="*/ 41 h 49"/>
                    <a:gd name="T52" fmla="*/ 24 w 61"/>
                    <a:gd name="T53" fmla="*/ 37 h 49"/>
                    <a:gd name="T54" fmla="*/ 22 w 61"/>
                    <a:gd name="T55" fmla="*/ 32 h 49"/>
                    <a:gd name="T56" fmla="*/ 21 w 61"/>
                    <a:gd name="T57" fmla="*/ 39 h 49"/>
                    <a:gd name="T58" fmla="*/ 15 w 61"/>
                    <a:gd name="T59" fmla="*/ 34 h 49"/>
                    <a:gd name="T60" fmla="*/ 26 w 61"/>
                    <a:gd name="T61" fmla="*/ 6 h 49"/>
                    <a:gd name="T62" fmla="*/ 6 w 61"/>
                    <a:gd name="T63" fmla="*/ 14 h 49"/>
                    <a:gd name="T64" fmla="*/ 7 w 61"/>
                    <a:gd name="T65" fmla="*/ 16 h 49"/>
                    <a:gd name="T66" fmla="*/ 5 w 61"/>
                    <a:gd name="T67" fmla="*/ 13 h 49"/>
                    <a:gd name="T68" fmla="*/ 13 w 61"/>
                    <a:gd name="T69" fmla="*/ 12 h 49"/>
                    <a:gd name="T70" fmla="*/ 19 w 61"/>
                    <a:gd name="T71" fmla="*/ 11 h 49"/>
                    <a:gd name="T72" fmla="*/ 20 w 61"/>
                    <a:gd name="T73" fmla="*/ 3 h 49"/>
                    <a:gd name="T74" fmla="*/ 16 w 61"/>
                    <a:gd name="T75" fmla="*/ 4 h 49"/>
                    <a:gd name="T76" fmla="*/ 10 w 61"/>
                    <a:gd name="T77" fmla="*/ 9 h 49"/>
                    <a:gd name="T78" fmla="*/ 4 w 61"/>
                    <a:gd name="T79" fmla="*/ 11 h 49"/>
                    <a:gd name="T80" fmla="*/ 3 w 61"/>
                    <a:gd name="T81" fmla="*/ 15 h 49"/>
                    <a:gd name="T82" fmla="*/ 14 w 61"/>
                    <a:gd name="T83" fmla="*/ 39 h 49"/>
                    <a:gd name="T84" fmla="*/ 13 w 61"/>
                    <a:gd name="T85" fmla="*/ 36 h 49"/>
                    <a:gd name="T86" fmla="*/ 16 w 61"/>
                    <a:gd name="T87" fmla="*/ 30 h 49"/>
                    <a:gd name="T88" fmla="*/ 20 w 61"/>
                    <a:gd name="T89" fmla="*/ 28 h 49"/>
                    <a:gd name="T90" fmla="*/ 22 w 61"/>
                    <a:gd name="T91" fmla="*/ 22 h 49"/>
                    <a:gd name="T92" fmla="*/ 25 w 61"/>
                    <a:gd name="T93" fmla="*/ 22 h 49"/>
                    <a:gd name="T94" fmla="*/ 21 w 61"/>
                    <a:gd name="T95" fmla="*/ 19 h 49"/>
                    <a:gd name="T96" fmla="*/ 18 w 61"/>
                    <a:gd name="T97" fmla="*/ 15 h 49"/>
                    <a:gd name="T98" fmla="*/ 12 w 61"/>
                    <a:gd name="T99" fmla="*/ 13 h 49"/>
                    <a:gd name="T100" fmla="*/ 11 w 61"/>
                    <a:gd name="T101" fmla="*/ 16 h 49"/>
                    <a:gd name="T102" fmla="*/ 9 w 61"/>
                    <a:gd name="T103" fmla="*/ 19 h 49"/>
                    <a:gd name="T104" fmla="*/ 9 w 61"/>
                    <a:gd name="T105" fmla="*/ 15 h 49"/>
                    <a:gd name="T106" fmla="*/ 5 w 61"/>
                    <a:gd name="T107" fmla="*/ 18 h 49"/>
                    <a:gd name="T108" fmla="*/ 3 w 61"/>
                    <a:gd name="T109" fmla="*/ 21 h 49"/>
                    <a:gd name="T110" fmla="*/ 1 w 61"/>
                    <a:gd name="T111" fmla="*/ 24 h 49"/>
                    <a:gd name="T112" fmla="*/ 1 w 61"/>
                    <a:gd name="T113" fmla="*/ 30 h 49"/>
                    <a:gd name="T114" fmla="*/ 5 w 61"/>
                    <a:gd name="T115" fmla="*/ 34 h 49"/>
                    <a:gd name="T116" fmla="*/ 7 w 61"/>
                    <a:gd name="T117" fmla="*/ 3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1" h="49">
                      <a:moveTo>
                        <a:pt x="44" y="47"/>
                      </a:move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6" y="49"/>
                        <a:pt x="46" y="49"/>
                        <a:pt x="46" y="49"/>
                      </a:cubicBezTo>
                      <a:cubicBezTo>
                        <a:pt x="48" y="47"/>
                        <a:pt x="48" y="47"/>
                        <a:pt x="48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49" y="46"/>
                        <a:pt x="49" y="46"/>
                        <a:pt x="49" y="46"/>
                      </a:cubicBezTo>
                      <a:cubicBezTo>
                        <a:pt x="48" y="45"/>
                        <a:pt x="48" y="45"/>
                        <a:pt x="48" y="45"/>
                      </a:cubicBezTo>
                      <a:cubicBezTo>
                        <a:pt x="48" y="43"/>
                        <a:pt x="48" y="43"/>
                        <a:pt x="48" y="43"/>
                      </a:cubicBezTo>
                      <a:cubicBezTo>
                        <a:pt x="47" y="43"/>
                        <a:pt x="47" y="43"/>
                        <a:pt x="47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4" y="43"/>
                        <a:pt x="44" y="43"/>
                        <a:pt x="44" y="43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45" y="45"/>
                        <a:pt x="45" y="45"/>
                        <a:pt x="45" y="45"/>
                      </a:cubicBezTo>
                      <a:cubicBezTo>
                        <a:pt x="44" y="46"/>
                        <a:pt x="44" y="46"/>
                        <a:pt x="44" y="46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lose/>
                      <a:moveTo>
                        <a:pt x="58" y="34"/>
                      </a:moveTo>
                      <a:cubicBezTo>
                        <a:pt x="57" y="36"/>
                        <a:pt x="57" y="36"/>
                        <a:pt x="57" y="36"/>
                      </a:cubicBezTo>
                      <a:cubicBezTo>
                        <a:pt x="58" y="38"/>
                        <a:pt x="58" y="38"/>
                        <a:pt x="58" y="38"/>
                      </a:cubicBezTo>
                      <a:cubicBezTo>
                        <a:pt x="61" y="39"/>
                        <a:pt x="61" y="39"/>
                        <a:pt x="61" y="39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59" y="35"/>
                        <a:pt x="59" y="35"/>
                        <a:pt x="59" y="35"/>
                      </a:cubicBezTo>
                      <a:cubicBezTo>
                        <a:pt x="58" y="34"/>
                        <a:pt x="58" y="34"/>
                        <a:pt x="58" y="34"/>
                      </a:cubicBezTo>
                      <a:close/>
                      <a:moveTo>
                        <a:pt x="39" y="29"/>
                      </a:move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9" y="32"/>
                        <a:pt x="39" y="32"/>
                        <a:pt x="39" y="32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lose/>
                      <a:moveTo>
                        <a:pt x="34" y="39"/>
                      </a:moveTo>
                      <a:cubicBezTo>
                        <a:pt x="33" y="39"/>
                        <a:pt x="33" y="39"/>
                        <a:pt x="33" y="39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27" y="29"/>
                        <a:pt x="27" y="29"/>
                        <a:pt x="27" y="29"/>
                      </a:cubicBezTo>
                      <a:cubicBezTo>
                        <a:pt x="28" y="29"/>
                        <a:pt x="28" y="29"/>
                        <a:pt x="28" y="29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30" y="27"/>
                        <a:pt x="30" y="27"/>
                        <a:pt x="30" y="27"/>
                      </a:cubicBez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1" y="29"/>
                        <a:pt x="31" y="29"/>
                        <a:pt x="31" y="29"/>
                      </a:cubicBezTo>
                      <a:cubicBezTo>
                        <a:pt x="32" y="30"/>
                        <a:pt x="32" y="30"/>
                        <a:pt x="32" y="30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29"/>
                        <a:pt x="34" y="29"/>
                        <a:pt x="34" y="29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3" y="25"/>
                        <a:pt x="33" y="25"/>
                        <a:pt x="33" y="25"/>
                      </a:cubicBezTo>
                      <a:cubicBezTo>
                        <a:pt x="35" y="24"/>
                        <a:pt x="35" y="24"/>
                        <a:pt x="35" y="24"/>
                      </a:cubicBezTo>
                      <a:cubicBezTo>
                        <a:pt x="37" y="24"/>
                        <a:pt x="37" y="24"/>
                        <a:pt x="37" y="24"/>
                      </a:cubicBezTo>
                      <a:cubicBezTo>
                        <a:pt x="38" y="26"/>
                        <a:pt x="38" y="26"/>
                        <a:pt x="38" y="26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6" y="31"/>
                        <a:pt x="36" y="31"/>
                        <a:pt x="36" y="31"/>
                      </a:cubicBez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5" y="36"/>
                        <a:pt x="35" y="36"/>
                        <a:pt x="35" y="36"/>
                      </a:cubicBez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4" y="39"/>
                        <a:pt x="34" y="39"/>
                        <a:pt x="34" y="39"/>
                      </a:cubicBezTo>
                      <a:close/>
                      <a:moveTo>
                        <a:pt x="35" y="39"/>
                      </a:moveTo>
                      <a:cubicBezTo>
                        <a:pt x="35" y="40"/>
                        <a:pt x="35" y="40"/>
                        <a:pt x="35" y="40"/>
                      </a:cubicBezTo>
                      <a:cubicBezTo>
                        <a:pt x="36" y="39"/>
                        <a:pt x="36" y="39"/>
                        <a:pt x="36" y="39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7" y="38"/>
                        <a:pt x="37" y="38"/>
                        <a:pt x="37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39"/>
                        <a:pt x="35" y="39"/>
                        <a:pt x="35" y="39"/>
                      </a:cubicBezTo>
                      <a:close/>
                      <a:moveTo>
                        <a:pt x="28" y="39"/>
                      </a:moveTo>
                      <a:cubicBezTo>
                        <a:pt x="30" y="42"/>
                        <a:pt x="30" y="42"/>
                        <a:pt x="30" y="42"/>
                      </a:cubicBezTo>
                      <a:cubicBezTo>
                        <a:pt x="31" y="41"/>
                        <a:pt x="31" y="41"/>
                        <a:pt x="31" y="41"/>
                      </a:cubicBezTo>
                      <a:cubicBezTo>
                        <a:pt x="32" y="41"/>
                        <a:pt x="32" y="41"/>
                        <a:pt x="32" y="41"/>
                      </a:cubicBezTo>
                      <a:cubicBezTo>
                        <a:pt x="33" y="40"/>
                        <a:pt x="33" y="40"/>
                        <a:pt x="33" y="40"/>
                      </a:cubicBezTo>
                      <a:cubicBezTo>
                        <a:pt x="34" y="40"/>
                        <a:pt x="34" y="40"/>
                        <a:pt x="34" y="40"/>
                      </a:cubicBezTo>
                      <a:cubicBezTo>
                        <a:pt x="34" y="40"/>
                        <a:pt x="34" y="40"/>
                        <a:pt x="34" y="40"/>
                      </a:cubicBezTo>
                      <a:cubicBezTo>
                        <a:pt x="35" y="41"/>
                        <a:pt x="35" y="41"/>
                        <a:pt x="35" y="41"/>
                      </a:cubicBezTo>
                      <a:cubicBezTo>
                        <a:pt x="34" y="43"/>
                        <a:pt x="34" y="43"/>
                        <a:pt x="34" y="43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33" y="44"/>
                        <a:pt x="33" y="44"/>
                        <a:pt x="33" y="44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4"/>
                        <a:pt x="32" y="44"/>
                        <a:pt x="32" y="44"/>
                      </a:cubicBezTo>
                      <a:cubicBezTo>
                        <a:pt x="29" y="44"/>
                        <a:pt x="29" y="44"/>
                        <a:pt x="29" y="44"/>
                      </a:cubicBezTo>
                      <a:cubicBezTo>
                        <a:pt x="27" y="43"/>
                        <a:pt x="27" y="43"/>
                        <a:pt x="27" y="43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7" y="41"/>
                        <a:pt x="27" y="41"/>
                        <a:pt x="27" y="41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39"/>
                        <a:pt x="28" y="39"/>
                        <a:pt x="28" y="39"/>
                      </a:cubicBezTo>
                      <a:close/>
                      <a:moveTo>
                        <a:pt x="21" y="29"/>
                      </a:move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23" y="29"/>
                        <a:pt x="23" y="29"/>
                        <a:pt x="23" y="29"/>
                      </a:cubicBezTo>
                      <a:cubicBezTo>
                        <a:pt x="21" y="29"/>
                        <a:pt x="21" y="29"/>
                        <a:pt x="21" y="29"/>
                      </a:cubicBezTo>
                      <a:close/>
                      <a:moveTo>
                        <a:pt x="20" y="40"/>
                      </a:move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20" y="40"/>
                        <a:pt x="20" y="40"/>
                        <a:pt x="20" y="40"/>
                      </a:cubicBezTo>
                      <a:close/>
                      <a:moveTo>
                        <a:pt x="24" y="37"/>
                      </a:moveTo>
                      <a:cubicBezTo>
                        <a:pt x="24" y="39"/>
                        <a:pt x="24" y="39"/>
                        <a:pt x="24" y="39"/>
                      </a:cubicBezTo>
                      <a:cubicBezTo>
                        <a:pt x="23" y="41"/>
                        <a:pt x="23" y="41"/>
                        <a:pt x="23" y="41"/>
                      </a:cubicBezTo>
                      <a:cubicBezTo>
                        <a:pt x="24" y="42"/>
                        <a:pt x="24" y="42"/>
                        <a:pt x="24" y="42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6" y="38"/>
                        <a:pt x="24" y="37"/>
                        <a:pt x="24" y="37"/>
                      </a:cubicBezTo>
                      <a:close/>
                      <a:moveTo>
                        <a:pt x="16" y="32"/>
                      </a:move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cubicBezTo>
                        <a:pt x="22" y="32"/>
                        <a:pt x="22" y="32"/>
                        <a:pt x="22" y="32"/>
                      </a:cubicBezTo>
                      <a:cubicBezTo>
                        <a:pt x="23" y="35"/>
                        <a:pt x="23" y="35"/>
                        <a:pt x="23" y="35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0" y="38"/>
                        <a:pt x="20" y="38"/>
                        <a:pt x="20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6" y="36"/>
                        <a:pt x="16" y="36"/>
                        <a:pt x="16" y="36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6" y="32"/>
                        <a:pt x="16" y="32"/>
                        <a:pt x="16" y="32"/>
                      </a:cubicBezTo>
                      <a:close/>
                      <a:moveTo>
                        <a:pt x="23" y="7"/>
                      </a:moveTo>
                      <a:cubicBezTo>
                        <a:pt x="24" y="6"/>
                        <a:pt x="24" y="6"/>
                        <a:pt x="24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3" y="7"/>
                        <a:pt x="23" y="7"/>
                        <a:pt x="23" y="7"/>
                      </a:cubicBezTo>
                      <a:close/>
                      <a:moveTo>
                        <a:pt x="6" y="16"/>
                      </a:move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7" y="16"/>
                        <a:pt x="7" y="16"/>
                        <a:pt x="7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lose/>
                      <a:moveTo>
                        <a:pt x="5" y="17"/>
                      </a:move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3" y="12"/>
                        <a:pt x="13" y="12"/>
                        <a:pt x="13" y="12"/>
                      </a:cubicBezTo>
                      <a:cubicBezTo>
                        <a:pt x="14" y="11"/>
                        <a:pt x="14" y="11"/>
                        <a:pt x="14" y="11"/>
                      </a:cubicBezTo>
                      <a:cubicBezTo>
                        <a:pt x="16" y="11"/>
                        <a:pt x="16" y="11"/>
                        <a:pt x="16" y="11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9" y="11"/>
                        <a:pt x="19" y="11"/>
                        <a:pt x="19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20" y="6"/>
                        <a:pt x="20" y="6"/>
                      </a:cubicBezTo>
                      <a:cubicBezTo>
                        <a:pt x="21" y="5"/>
                        <a:pt x="21" y="5"/>
                        <a:pt x="21" y="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5" y="17"/>
                        <a:pt x="5" y="17"/>
                        <a:pt x="5" y="17"/>
                      </a:cubicBezTo>
                      <a:close/>
                      <a:moveTo>
                        <a:pt x="14" y="40"/>
                      </a:move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4" y="39"/>
                        <a:pt x="14" y="39"/>
                        <a:pt x="14" y="39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2" y="36"/>
                        <a:pt x="12" y="36"/>
                        <a:pt x="12" y="36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3" y="32"/>
                        <a:pt x="13" y="32"/>
                        <a:pt x="13" y="32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7" y="28"/>
                        <a:pt x="17" y="28"/>
                        <a:pt x="17" y="28"/>
                      </a:cubicBezTo>
                      <a:cubicBezTo>
                        <a:pt x="18" y="29"/>
                        <a:pt x="18" y="29"/>
                        <a:pt x="18" y="29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20" y="25"/>
                        <a:pt x="20" y="25"/>
                        <a:pt x="20" y="25"/>
                      </a:cubicBezTo>
                      <a:cubicBezTo>
                        <a:pt x="19" y="23"/>
                        <a:pt x="19" y="23"/>
                        <a:pt x="19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22" y="22"/>
                        <a:pt x="22" y="22"/>
                        <a:pt x="22" y="22"/>
                      </a:cubicBezTo>
                      <a:cubicBezTo>
                        <a:pt x="23" y="23"/>
                        <a:pt x="23" y="23"/>
                        <a:pt x="23" y="23"/>
                      </a:cubicBezTo>
                      <a:cubicBezTo>
                        <a:pt x="23" y="23"/>
                        <a:pt x="23" y="23"/>
                        <a:pt x="23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2"/>
                        <a:pt x="25" y="22"/>
                        <a:pt x="25" y="22"/>
                      </a:cubicBezTo>
                      <a:cubicBezTo>
                        <a:pt x="25" y="20"/>
                        <a:pt x="25" y="20"/>
                        <a:pt x="25" y="20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18" y="15"/>
                        <a:pt x="18" y="15"/>
                        <a:pt x="18" y="15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8" y="18"/>
                        <a:pt x="8" y="18"/>
                        <a:pt x="8" y="18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3" y="18"/>
                        <a:pt x="3" y="18"/>
                        <a:pt x="3" y="18"/>
                      </a:cubicBezTo>
                      <a:cubicBezTo>
                        <a:pt x="2" y="18"/>
                        <a:pt x="2" y="18"/>
                        <a:pt x="2" y="18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2" y="21"/>
                        <a:pt x="2" y="21"/>
                        <a:pt x="2" y="21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5" y="37"/>
                        <a:pt x="5" y="37"/>
                        <a:pt x="5" y="37"/>
                      </a:cubicBezTo>
                      <a:cubicBezTo>
                        <a:pt x="5" y="38"/>
                        <a:pt x="5" y="38"/>
                        <a:pt x="5" y="38"/>
                      </a:cubicBezTo>
                      <a:cubicBezTo>
                        <a:pt x="5" y="39"/>
                        <a:pt x="5" y="39"/>
                        <a:pt x="5" y="39"/>
                      </a:cubicBezTo>
                      <a:cubicBezTo>
                        <a:pt x="7" y="39"/>
                        <a:pt x="7" y="39"/>
                        <a:pt x="7" y="39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lnTo>
                        <a:pt x="14" y="4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0" name="Freeform 189">
                  <a:extLst>
                    <a:ext uri="{FF2B5EF4-FFF2-40B4-BE49-F238E27FC236}">
                      <a16:creationId xmlns:a16="http://schemas.microsoft.com/office/drawing/2014/main" xmlns="" id="{F569E398-05FF-4CFD-B8AC-A555990C485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15" y="614"/>
                  <a:ext cx="321" cy="379"/>
                </a:xfrm>
                <a:custGeom>
                  <a:avLst/>
                  <a:gdLst>
                    <a:gd name="T0" fmla="*/ 189 w 197"/>
                    <a:gd name="T1" fmla="*/ 29 h 232"/>
                    <a:gd name="T2" fmla="*/ 196 w 197"/>
                    <a:gd name="T3" fmla="*/ 16 h 232"/>
                    <a:gd name="T4" fmla="*/ 181 w 197"/>
                    <a:gd name="T5" fmla="*/ 10 h 232"/>
                    <a:gd name="T6" fmla="*/ 173 w 197"/>
                    <a:gd name="T7" fmla="*/ 10 h 232"/>
                    <a:gd name="T8" fmla="*/ 167 w 197"/>
                    <a:gd name="T9" fmla="*/ 0 h 232"/>
                    <a:gd name="T10" fmla="*/ 161 w 197"/>
                    <a:gd name="T11" fmla="*/ 14 h 232"/>
                    <a:gd name="T12" fmla="*/ 148 w 197"/>
                    <a:gd name="T13" fmla="*/ 21 h 232"/>
                    <a:gd name="T14" fmla="*/ 142 w 197"/>
                    <a:gd name="T15" fmla="*/ 8 h 232"/>
                    <a:gd name="T16" fmla="*/ 137 w 197"/>
                    <a:gd name="T17" fmla="*/ 24 h 232"/>
                    <a:gd name="T18" fmla="*/ 125 w 197"/>
                    <a:gd name="T19" fmla="*/ 26 h 232"/>
                    <a:gd name="T20" fmla="*/ 113 w 197"/>
                    <a:gd name="T21" fmla="*/ 39 h 232"/>
                    <a:gd name="T22" fmla="*/ 108 w 197"/>
                    <a:gd name="T23" fmla="*/ 43 h 232"/>
                    <a:gd name="T24" fmla="*/ 97 w 197"/>
                    <a:gd name="T25" fmla="*/ 43 h 232"/>
                    <a:gd name="T26" fmla="*/ 87 w 197"/>
                    <a:gd name="T27" fmla="*/ 57 h 232"/>
                    <a:gd name="T28" fmla="*/ 86 w 197"/>
                    <a:gd name="T29" fmla="*/ 63 h 232"/>
                    <a:gd name="T30" fmla="*/ 76 w 197"/>
                    <a:gd name="T31" fmla="*/ 70 h 232"/>
                    <a:gd name="T32" fmla="*/ 78 w 197"/>
                    <a:gd name="T33" fmla="*/ 79 h 232"/>
                    <a:gd name="T34" fmla="*/ 68 w 197"/>
                    <a:gd name="T35" fmla="*/ 89 h 232"/>
                    <a:gd name="T36" fmla="*/ 67 w 197"/>
                    <a:gd name="T37" fmla="*/ 98 h 232"/>
                    <a:gd name="T38" fmla="*/ 63 w 197"/>
                    <a:gd name="T39" fmla="*/ 111 h 232"/>
                    <a:gd name="T40" fmla="*/ 52 w 197"/>
                    <a:gd name="T41" fmla="*/ 125 h 232"/>
                    <a:gd name="T42" fmla="*/ 40 w 197"/>
                    <a:gd name="T43" fmla="*/ 140 h 232"/>
                    <a:gd name="T44" fmla="*/ 54 w 197"/>
                    <a:gd name="T45" fmla="*/ 139 h 232"/>
                    <a:gd name="T46" fmla="*/ 36 w 197"/>
                    <a:gd name="T47" fmla="*/ 145 h 232"/>
                    <a:gd name="T48" fmla="*/ 31 w 197"/>
                    <a:gd name="T49" fmla="*/ 154 h 232"/>
                    <a:gd name="T50" fmla="*/ 23 w 197"/>
                    <a:gd name="T51" fmla="*/ 156 h 232"/>
                    <a:gd name="T52" fmla="*/ 19 w 197"/>
                    <a:gd name="T53" fmla="*/ 164 h 232"/>
                    <a:gd name="T54" fmla="*/ 3 w 197"/>
                    <a:gd name="T55" fmla="*/ 166 h 232"/>
                    <a:gd name="T56" fmla="*/ 6 w 197"/>
                    <a:gd name="T57" fmla="*/ 177 h 232"/>
                    <a:gd name="T58" fmla="*/ 15 w 197"/>
                    <a:gd name="T59" fmla="*/ 180 h 232"/>
                    <a:gd name="T60" fmla="*/ 19 w 197"/>
                    <a:gd name="T61" fmla="*/ 184 h 232"/>
                    <a:gd name="T62" fmla="*/ 5 w 197"/>
                    <a:gd name="T63" fmla="*/ 190 h 232"/>
                    <a:gd name="T64" fmla="*/ 18 w 197"/>
                    <a:gd name="T65" fmla="*/ 193 h 232"/>
                    <a:gd name="T66" fmla="*/ 9 w 197"/>
                    <a:gd name="T67" fmla="*/ 206 h 232"/>
                    <a:gd name="T68" fmla="*/ 14 w 197"/>
                    <a:gd name="T69" fmla="*/ 217 h 232"/>
                    <a:gd name="T70" fmla="*/ 23 w 197"/>
                    <a:gd name="T71" fmla="*/ 232 h 232"/>
                    <a:gd name="T72" fmla="*/ 41 w 197"/>
                    <a:gd name="T73" fmla="*/ 214 h 232"/>
                    <a:gd name="T74" fmla="*/ 49 w 197"/>
                    <a:gd name="T75" fmla="*/ 208 h 232"/>
                    <a:gd name="T76" fmla="*/ 61 w 197"/>
                    <a:gd name="T77" fmla="*/ 215 h 232"/>
                    <a:gd name="T78" fmla="*/ 62 w 197"/>
                    <a:gd name="T79" fmla="*/ 163 h 232"/>
                    <a:gd name="T80" fmla="*/ 75 w 197"/>
                    <a:gd name="T81" fmla="*/ 98 h 232"/>
                    <a:gd name="T82" fmla="*/ 100 w 197"/>
                    <a:gd name="T83" fmla="*/ 60 h 232"/>
                    <a:gd name="T84" fmla="*/ 117 w 197"/>
                    <a:gd name="T85" fmla="*/ 44 h 232"/>
                    <a:gd name="T86" fmla="*/ 151 w 197"/>
                    <a:gd name="T87" fmla="*/ 49 h 232"/>
                    <a:gd name="T88" fmla="*/ 173 w 197"/>
                    <a:gd name="T89" fmla="*/ 23 h 232"/>
                    <a:gd name="T90" fmla="*/ 7 w 197"/>
                    <a:gd name="T91" fmla="*/ 200 h 232"/>
                    <a:gd name="T92" fmla="*/ 3 w 197"/>
                    <a:gd name="T93" fmla="*/ 196 h 232"/>
                    <a:gd name="T94" fmla="*/ 9 w 197"/>
                    <a:gd name="T95" fmla="*/ 165 h 232"/>
                    <a:gd name="T96" fmla="*/ 34 w 197"/>
                    <a:gd name="T97" fmla="*/ 142 h 232"/>
                    <a:gd name="T98" fmla="*/ 58 w 197"/>
                    <a:gd name="T99" fmla="*/ 108 h 232"/>
                    <a:gd name="T100" fmla="*/ 60 w 197"/>
                    <a:gd name="T101" fmla="*/ 73 h 232"/>
                    <a:gd name="T102" fmla="*/ 73 w 197"/>
                    <a:gd name="T103" fmla="*/ 55 h 232"/>
                    <a:gd name="T104" fmla="*/ 79 w 197"/>
                    <a:gd name="T105" fmla="*/ 48 h 232"/>
                    <a:gd name="T106" fmla="*/ 78 w 197"/>
                    <a:gd name="T107" fmla="*/ 54 h 232"/>
                    <a:gd name="T108" fmla="*/ 97 w 197"/>
                    <a:gd name="T109" fmla="*/ 39 h 232"/>
                    <a:gd name="T110" fmla="*/ 97 w 197"/>
                    <a:gd name="T111" fmla="*/ 39 h 232"/>
                    <a:gd name="T112" fmla="*/ 108 w 197"/>
                    <a:gd name="T113" fmla="*/ 29 h 232"/>
                    <a:gd name="T114" fmla="*/ 111 w 197"/>
                    <a:gd name="T115" fmla="*/ 23 h 232"/>
                    <a:gd name="T116" fmla="*/ 136 w 197"/>
                    <a:gd name="T117" fmla="*/ 14 h 232"/>
                    <a:gd name="T118" fmla="*/ 136 w 197"/>
                    <a:gd name="T119" fmla="*/ 10 h 232"/>
                    <a:gd name="T120" fmla="*/ 155 w 197"/>
                    <a:gd name="T121" fmla="*/ 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7" h="232">
                      <a:moveTo>
                        <a:pt x="183" y="41"/>
                      </a:moveTo>
                      <a:cubicBezTo>
                        <a:pt x="184" y="41"/>
                        <a:pt x="184" y="41"/>
                        <a:pt x="184" y="41"/>
                      </a:cubicBezTo>
                      <a:cubicBezTo>
                        <a:pt x="184" y="38"/>
                        <a:pt x="184" y="38"/>
                        <a:pt x="184" y="38"/>
                      </a:cubicBezTo>
                      <a:cubicBezTo>
                        <a:pt x="187" y="35"/>
                        <a:pt x="187" y="35"/>
                        <a:pt x="187" y="35"/>
                      </a:cubicBezTo>
                      <a:cubicBezTo>
                        <a:pt x="189" y="35"/>
                        <a:pt x="189" y="35"/>
                        <a:pt x="189" y="35"/>
                      </a:cubicBezTo>
                      <a:cubicBezTo>
                        <a:pt x="191" y="33"/>
                        <a:pt x="191" y="33"/>
                        <a:pt x="191" y="33"/>
                      </a:cubicBezTo>
                      <a:cubicBezTo>
                        <a:pt x="191" y="30"/>
                        <a:pt x="191" y="30"/>
                        <a:pt x="191" y="30"/>
                      </a:cubicBezTo>
                      <a:cubicBezTo>
                        <a:pt x="192" y="30"/>
                        <a:pt x="192" y="30"/>
                        <a:pt x="192" y="30"/>
                      </a:cubicBezTo>
                      <a:cubicBezTo>
                        <a:pt x="194" y="31"/>
                        <a:pt x="194" y="31"/>
                        <a:pt x="194" y="31"/>
                      </a:cubicBezTo>
                      <a:cubicBezTo>
                        <a:pt x="195" y="29"/>
                        <a:pt x="195" y="29"/>
                        <a:pt x="195" y="29"/>
                      </a:cubicBezTo>
                      <a:cubicBezTo>
                        <a:pt x="195" y="27"/>
                        <a:pt x="195" y="27"/>
                        <a:pt x="195" y="27"/>
                      </a:cubicBezTo>
                      <a:cubicBezTo>
                        <a:pt x="195" y="27"/>
                        <a:pt x="195" y="27"/>
                        <a:pt x="195" y="27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2" y="26"/>
                        <a:pt x="192" y="26"/>
                        <a:pt x="192" y="26"/>
                      </a:cubicBezTo>
                      <a:cubicBezTo>
                        <a:pt x="192" y="27"/>
                        <a:pt x="192" y="27"/>
                        <a:pt x="192" y="27"/>
                      </a:cubicBezTo>
                      <a:cubicBezTo>
                        <a:pt x="191" y="27"/>
                        <a:pt x="191" y="27"/>
                        <a:pt x="191" y="27"/>
                      </a:cubicBezTo>
                      <a:cubicBezTo>
                        <a:pt x="191" y="26"/>
                        <a:pt x="191" y="26"/>
                        <a:pt x="191" y="26"/>
                      </a:cubicBezTo>
                      <a:cubicBezTo>
                        <a:pt x="189" y="26"/>
                        <a:pt x="189" y="26"/>
                        <a:pt x="189" y="26"/>
                      </a:cubicBezTo>
                      <a:cubicBezTo>
                        <a:pt x="190" y="27"/>
                        <a:pt x="190" y="27"/>
                        <a:pt x="190" y="27"/>
                      </a:cubicBezTo>
                      <a:cubicBezTo>
                        <a:pt x="189" y="29"/>
                        <a:pt x="189" y="29"/>
                        <a:pt x="189" y="29"/>
                      </a:cubicBezTo>
                      <a:cubicBezTo>
                        <a:pt x="189" y="28"/>
                        <a:pt x="189" y="28"/>
                        <a:pt x="189" y="28"/>
                      </a:cubicBezTo>
                      <a:cubicBezTo>
                        <a:pt x="188" y="27"/>
                        <a:pt x="188" y="27"/>
                        <a:pt x="188" y="27"/>
                      </a:cubicBezTo>
                      <a:cubicBezTo>
                        <a:pt x="186" y="28"/>
                        <a:pt x="186" y="28"/>
                        <a:pt x="186" y="28"/>
                      </a:cubicBezTo>
                      <a:cubicBezTo>
                        <a:pt x="186" y="29"/>
                        <a:pt x="186" y="29"/>
                        <a:pt x="186" y="29"/>
                      </a:cubicBezTo>
                      <a:cubicBezTo>
                        <a:pt x="186" y="27"/>
                        <a:pt x="186" y="27"/>
                        <a:pt x="186" y="27"/>
                      </a:cubicBezTo>
                      <a:cubicBezTo>
                        <a:pt x="185" y="25"/>
                        <a:pt x="185" y="25"/>
                        <a:pt x="185" y="25"/>
                      </a:cubicBezTo>
                      <a:cubicBezTo>
                        <a:pt x="184" y="25"/>
                        <a:pt x="184" y="25"/>
                        <a:pt x="184" y="25"/>
                      </a:cubicBezTo>
                      <a:cubicBezTo>
                        <a:pt x="184" y="23"/>
                        <a:pt x="184" y="23"/>
                        <a:pt x="184" y="23"/>
                      </a:cubicBezTo>
                      <a:cubicBezTo>
                        <a:pt x="183" y="22"/>
                        <a:pt x="183" y="22"/>
                        <a:pt x="183" y="22"/>
                      </a:cubicBezTo>
                      <a:cubicBezTo>
                        <a:pt x="181" y="23"/>
                        <a:pt x="181" y="23"/>
                        <a:pt x="181" y="23"/>
                      </a:cubicBezTo>
                      <a:cubicBezTo>
                        <a:pt x="180" y="22"/>
                        <a:pt x="180" y="22"/>
                        <a:pt x="180" y="22"/>
                      </a:cubicBezTo>
                      <a:cubicBezTo>
                        <a:pt x="178" y="22"/>
                        <a:pt x="178" y="22"/>
                        <a:pt x="178" y="22"/>
                      </a:cubicBezTo>
                      <a:cubicBezTo>
                        <a:pt x="176" y="20"/>
                        <a:pt x="176" y="20"/>
                        <a:pt x="176" y="20"/>
                      </a:cubicBezTo>
                      <a:cubicBezTo>
                        <a:pt x="177" y="20"/>
                        <a:pt x="177" y="20"/>
                        <a:pt x="177" y="20"/>
                      </a:cubicBezTo>
                      <a:cubicBezTo>
                        <a:pt x="180" y="21"/>
                        <a:pt x="180" y="21"/>
                        <a:pt x="180" y="21"/>
                      </a:cubicBezTo>
                      <a:cubicBezTo>
                        <a:pt x="182" y="20"/>
                        <a:pt x="182" y="20"/>
                        <a:pt x="182" y="20"/>
                      </a:cubicBezTo>
                      <a:cubicBezTo>
                        <a:pt x="184" y="21"/>
                        <a:pt x="184" y="21"/>
                        <a:pt x="184" y="21"/>
                      </a:cubicBezTo>
                      <a:cubicBezTo>
                        <a:pt x="188" y="21"/>
                        <a:pt x="188" y="21"/>
                        <a:pt x="188" y="21"/>
                      </a:cubicBezTo>
                      <a:cubicBezTo>
                        <a:pt x="190" y="20"/>
                        <a:pt x="190" y="20"/>
                        <a:pt x="190" y="20"/>
                      </a:cubicBezTo>
                      <a:cubicBezTo>
                        <a:pt x="192" y="17"/>
                        <a:pt x="192" y="17"/>
                        <a:pt x="192" y="17"/>
                      </a:cubicBezTo>
                      <a:cubicBezTo>
                        <a:pt x="196" y="16"/>
                        <a:pt x="196" y="16"/>
                        <a:pt x="196" y="16"/>
                      </a:cubicBezTo>
                      <a:cubicBezTo>
                        <a:pt x="197" y="15"/>
                        <a:pt x="197" y="15"/>
                        <a:pt x="197" y="15"/>
                      </a:cubicBezTo>
                      <a:cubicBezTo>
                        <a:pt x="197" y="14"/>
                        <a:pt x="197" y="14"/>
                        <a:pt x="197" y="14"/>
                      </a:cubicBezTo>
                      <a:cubicBezTo>
                        <a:pt x="196" y="14"/>
                        <a:pt x="196" y="14"/>
                        <a:pt x="196" y="14"/>
                      </a:cubicBezTo>
                      <a:cubicBezTo>
                        <a:pt x="196" y="13"/>
                        <a:pt x="196" y="13"/>
                        <a:pt x="196" y="13"/>
                      </a:cubicBezTo>
                      <a:cubicBezTo>
                        <a:pt x="194" y="12"/>
                        <a:pt x="194" y="12"/>
                        <a:pt x="194" y="12"/>
                      </a:cubicBezTo>
                      <a:cubicBezTo>
                        <a:pt x="193" y="13"/>
                        <a:pt x="193" y="13"/>
                        <a:pt x="193" y="13"/>
                      </a:cubicBezTo>
                      <a:cubicBezTo>
                        <a:pt x="190" y="11"/>
                        <a:pt x="190" y="11"/>
                        <a:pt x="190" y="11"/>
                      </a:cubicBezTo>
                      <a:cubicBezTo>
                        <a:pt x="189" y="11"/>
                        <a:pt x="189" y="11"/>
                        <a:pt x="189" y="11"/>
                      </a:cubicBezTo>
                      <a:cubicBezTo>
                        <a:pt x="188" y="12"/>
                        <a:pt x="188" y="12"/>
                        <a:pt x="188" y="12"/>
                      </a:cubicBezTo>
                      <a:cubicBezTo>
                        <a:pt x="187" y="12"/>
                        <a:pt x="187" y="12"/>
                        <a:pt x="187" y="12"/>
                      </a:cubicBezTo>
                      <a:cubicBezTo>
                        <a:pt x="186" y="12"/>
                        <a:pt x="186" y="12"/>
                        <a:pt x="186" y="12"/>
                      </a:cubicBezTo>
                      <a:cubicBezTo>
                        <a:pt x="188" y="11"/>
                        <a:pt x="188" y="11"/>
                        <a:pt x="188" y="11"/>
                      </a:cubicBezTo>
                      <a:cubicBezTo>
                        <a:pt x="188" y="9"/>
                        <a:pt x="188" y="9"/>
                        <a:pt x="188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cubicBezTo>
                        <a:pt x="186" y="8"/>
                        <a:pt x="186" y="8"/>
                        <a:pt x="186" y="8"/>
                      </a:cubicBezTo>
                      <a:cubicBezTo>
                        <a:pt x="185" y="8"/>
                        <a:pt x="185" y="8"/>
                        <a:pt x="185" y="8"/>
                      </a:cubicBezTo>
                      <a:cubicBezTo>
                        <a:pt x="183" y="10"/>
                        <a:pt x="183" y="10"/>
                        <a:pt x="183" y="10"/>
                      </a:cubicBezTo>
                      <a:cubicBezTo>
                        <a:pt x="183" y="10"/>
                        <a:pt x="183" y="10"/>
                        <a:pt x="183" y="10"/>
                      </a:cubicBezTo>
                      <a:cubicBezTo>
                        <a:pt x="183" y="9"/>
                        <a:pt x="183" y="9"/>
                        <a:pt x="183" y="9"/>
                      </a:cubicBezTo>
                      <a:cubicBezTo>
                        <a:pt x="182" y="9"/>
                        <a:pt x="182" y="9"/>
                        <a:pt x="182" y="9"/>
                      </a:cubicBezTo>
                      <a:cubicBezTo>
                        <a:pt x="181" y="10"/>
                        <a:pt x="181" y="10"/>
                        <a:pt x="181" y="10"/>
                      </a:cubicBezTo>
                      <a:cubicBezTo>
                        <a:pt x="180" y="10"/>
                        <a:pt x="180" y="10"/>
                        <a:pt x="180" y="10"/>
                      </a:cubicBezTo>
                      <a:cubicBezTo>
                        <a:pt x="180" y="9"/>
                        <a:pt x="180" y="9"/>
                        <a:pt x="180" y="9"/>
                      </a:cubicBezTo>
                      <a:cubicBezTo>
                        <a:pt x="181" y="8"/>
                        <a:pt x="181" y="8"/>
                        <a:pt x="181" y="8"/>
                      </a:cubicBezTo>
                      <a:cubicBezTo>
                        <a:pt x="181" y="7"/>
                        <a:pt x="181" y="7"/>
                        <a:pt x="181" y="7"/>
                      </a:cubicBezTo>
                      <a:cubicBezTo>
                        <a:pt x="179" y="6"/>
                        <a:pt x="179" y="6"/>
                        <a:pt x="179" y="6"/>
                      </a:cubicBezTo>
                      <a:cubicBezTo>
                        <a:pt x="178" y="6"/>
                        <a:pt x="178" y="6"/>
                        <a:pt x="178" y="6"/>
                      </a:cubicBezTo>
                      <a:cubicBezTo>
                        <a:pt x="176" y="7"/>
                        <a:pt x="176" y="7"/>
                        <a:pt x="176" y="7"/>
                      </a:cubicBezTo>
                      <a:cubicBezTo>
                        <a:pt x="176" y="9"/>
                        <a:pt x="176" y="9"/>
                        <a:pt x="176" y="9"/>
                      </a:cubicBezTo>
                      <a:cubicBezTo>
                        <a:pt x="175" y="10"/>
                        <a:pt x="175" y="10"/>
                        <a:pt x="175" y="10"/>
                      </a:cubicBezTo>
                      <a:cubicBezTo>
                        <a:pt x="175" y="11"/>
                        <a:pt x="175" y="11"/>
                        <a:pt x="175" y="11"/>
                      </a:cubicBezTo>
                      <a:cubicBezTo>
                        <a:pt x="176" y="14"/>
                        <a:pt x="176" y="14"/>
                        <a:pt x="176" y="14"/>
                      </a:cubicBezTo>
                      <a:cubicBezTo>
                        <a:pt x="176" y="15"/>
                        <a:pt x="176" y="15"/>
                        <a:pt x="176" y="15"/>
                      </a:cubicBezTo>
                      <a:cubicBezTo>
                        <a:pt x="175" y="16"/>
                        <a:pt x="175" y="16"/>
                        <a:pt x="175" y="16"/>
                      </a:cubicBezTo>
                      <a:cubicBezTo>
                        <a:pt x="174" y="14"/>
                        <a:pt x="174" y="14"/>
                        <a:pt x="174" y="14"/>
                      </a:cubicBezTo>
                      <a:cubicBezTo>
                        <a:pt x="173" y="14"/>
                        <a:pt x="173" y="14"/>
                        <a:pt x="173" y="14"/>
                      </a:cubicBezTo>
                      <a:cubicBezTo>
                        <a:pt x="172" y="15"/>
                        <a:pt x="172" y="15"/>
                        <a:pt x="172" y="15"/>
                      </a:cubicBezTo>
                      <a:cubicBezTo>
                        <a:pt x="171" y="14"/>
                        <a:pt x="171" y="14"/>
                        <a:pt x="171" y="14"/>
                      </a:cubicBezTo>
                      <a:cubicBezTo>
                        <a:pt x="169" y="15"/>
                        <a:pt x="169" y="15"/>
                        <a:pt x="169" y="15"/>
                      </a:cubicBezTo>
                      <a:cubicBezTo>
                        <a:pt x="170" y="13"/>
                        <a:pt x="170" y="13"/>
                        <a:pt x="170" y="13"/>
                      </a:cubicBezTo>
                      <a:cubicBezTo>
                        <a:pt x="172" y="12"/>
                        <a:pt x="172" y="12"/>
                        <a:pt x="172" y="12"/>
                      </a:cubicBezTo>
                      <a:cubicBezTo>
                        <a:pt x="173" y="10"/>
                        <a:pt x="173" y="10"/>
                        <a:pt x="173" y="10"/>
                      </a:cubicBezTo>
                      <a:cubicBezTo>
                        <a:pt x="172" y="9"/>
                        <a:pt x="172" y="9"/>
                        <a:pt x="172" y="9"/>
                      </a:cubicBezTo>
                      <a:cubicBezTo>
                        <a:pt x="172" y="10"/>
                        <a:pt x="172" y="10"/>
                        <a:pt x="172" y="10"/>
                      </a:cubicBezTo>
                      <a:cubicBezTo>
                        <a:pt x="170" y="11"/>
                        <a:pt x="170" y="11"/>
                        <a:pt x="170" y="11"/>
                      </a:cubicBezTo>
                      <a:cubicBezTo>
                        <a:pt x="169" y="11"/>
                        <a:pt x="169" y="11"/>
                        <a:pt x="169" y="11"/>
                      </a:cubicBezTo>
                      <a:cubicBezTo>
                        <a:pt x="169" y="10"/>
                        <a:pt x="169" y="10"/>
                        <a:pt x="169" y="10"/>
                      </a:cubicBezTo>
                      <a:cubicBezTo>
                        <a:pt x="170" y="9"/>
                        <a:pt x="170" y="9"/>
                        <a:pt x="170" y="9"/>
                      </a:cubicBezTo>
                      <a:cubicBezTo>
                        <a:pt x="170" y="8"/>
                        <a:pt x="170" y="8"/>
                        <a:pt x="170" y="8"/>
                      </a:cubicBezTo>
                      <a:cubicBezTo>
                        <a:pt x="169" y="8"/>
                        <a:pt x="169" y="8"/>
                        <a:pt x="169" y="8"/>
                      </a:cubicBezTo>
                      <a:cubicBezTo>
                        <a:pt x="168" y="7"/>
                        <a:pt x="168" y="7"/>
                        <a:pt x="168" y="7"/>
                      </a:cubicBezTo>
                      <a:cubicBezTo>
                        <a:pt x="170" y="6"/>
                        <a:pt x="170" y="6"/>
                        <a:pt x="170" y="6"/>
                      </a:cubicBezTo>
                      <a:cubicBezTo>
                        <a:pt x="170" y="7"/>
                        <a:pt x="170" y="7"/>
                        <a:pt x="170" y="7"/>
                      </a:cubicBezTo>
                      <a:cubicBezTo>
                        <a:pt x="172" y="7"/>
                        <a:pt x="172" y="7"/>
                        <a:pt x="172" y="7"/>
                      </a:cubicBezTo>
                      <a:cubicBezTo>
                        <a:pt x="174" y="4"/>
                        <a:pt x="174" y="4"/>
                        <a:pt x="174" y="4"/>
                      </a:cubicBezTo>
                      <a:cubicBezTo>
                        <a:pt x="173" y="3"/>
                        <a:pt x="173" y="3"/>
                        <a:pt x="173" y="3"/>
                      </a:cubicBezTo>
                      <a:cubicBezTo>
                        <a:pt x="171" y="3"/>
                        <a:pt x="171" y="3"/>
                        <a:pt x="171" y="3"/>
                      </a:cubicBezTo>
                      <a:cubicBezTo>
                        <a:pt x="170" y="3"/>
                        <a:pt x="170" y="3"/>
                        <a:pt x="170" y="3"/>
                      </a:cubicBezTo>
                      <a:cubicBezTo>
                        <a:pt x="171" y="1"/>
                        <a:pt x="171" y="1"/>
                        <a:pt x="171" y="1"/>
                      </a:cubicBezTo>
                      <a:cubicBezTo>
                        <a:pt x="170" y="0"/>
                        <a:pt x="170" y="0"/>
                        <a:pt x="170" y="0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8" y="1"/>
                        <a:pt x="168" y="1"/>
                        <a:pt x="168" y="1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6" y="2"/>
                        <a:pt x="166" y="2"/>
                        <a:pt x="166" y="2"/>
                      </a:cubicBezTo>
                      <a:cubicBezTo>
                        <a:pt x="167" y="4"/>
                        <a:pt x="167" y="4"/>
                        <a:pt x="167" y="4"/>
                      </a:cubicBezTo>
                      <a:cubicBezTo>
                        <a:pt x="166" y="5"/>
                        <a:pt x="166" y="5"/>
                        <a:pt x="166" y="5"/>
                      </a:cubicBezTo>
                      <a:cubicBezTo>
                        <a:pt x="165" y="5"/>
                        <a:pt x="165" y="5"/>
                        <a:pt x="165" y="5"/>
                      </a:cubicBezTo>
                      <a:cubicBezTo>
                        <a:pt x="164" y="3"/>
                        <a:pt x="164" y="3"/>
                        <a:pt x="164" y="3"/>
                      </a:cubicBezTo>
                      <a:cubicBezTo>
                        <a:pt x="163" y="4"/>
                        <a:pt x="163" y="4"/>
                        <a:pt x="163" y="4"/>
                      </a:cubicBezTo>
                      <a:cubicBezTo>
                        <a:pt x="162" y="5"/>
                        <a:pt x="162" y="5"/>
                        <a:pt x="162" y="5"/>
                      </a:cubicBezTo>
                      <a:cubicBezTo>
                        <a:pt x="163" y="6"/>
                        <a:pt x="163" y="6"/>
                        <a:pt x="163" y="6"/>
                      </a:cubicBezTo>
                      <a:cubicBezTo>
                        <a:pt x="164" y="6"/>
                        <a:pt x="164" y="6"/>
                        <a:pt x="164" y="6"/>
                      </a:cubicBezTo>
                      <a:cubicBezTo>
                        <a:pt x="165" y="7"/>
                        <a:pt x="165" y="7"/>
                        <a:pt x="165" y="7"/>
                      </a:cubicBezTo>
                      <a:cubicBezTo>
                        <a:pt x="165" y="8"/>
                        <a:pt x="165" y="8"/>
                        <a:pt x="165" y="8"/>
                      </a:cubicBezTo>
                      <a:cubicBezTo>
                        <a:pt x="164" y="8"/>
                        <a:pt x="164" y="8"/>
                        <a:pt x="164" y="8"/>
                      </a:cubicBezTo>
                      <a:cubicBezTo>
                        <a:pt x="164" y="9"/>
                        <a:pt x="164" y="9"/>
                        <a:pt x="164" y="9"/>
                      </a:cubicBezTo>
                      <a:cubicBezTo>
                        <a:pt x="162" y="10"/>
                        <a:pt x="162" y="10"/>
                        <a:pt x="162" y="10"/>
                      </a:cubicBezTo>
                      <a:cubicBezTo>
                        <a:pt x="162" y="11"/>
                        <a:pt x="162" y="11"/>
                        <a:pt x="162" y="11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2" y="13"/>
                        <a:pt x="162" y="13"/>
                        <a:pt x="162" y="13"/>
                      </a:cubicBezTo>
                      <a:cubicBezTo>
                        <a:pt x="162" y="15"/>
                        <a:pt x="162" y="15"/>
                        <a:pt x="162" y="15"/>
                      </a:cubicBezTo>
                      <a:cubicBezTo>
                        <a:pt x="162" y="15"/>
                        <a:pt x="162" y="15"/>
                        <a:pt x="162" y="15"/>
                      </a:cubicBezTo>
                      <a:cubicBezTo>
                        <a:pt x="161" y="14"/>
                        <a:pt x="161" y="14"/>
                        <a:pt x="161" y="14"/>
                      </a:cubicBezTo>
                      <a:cubicBezTo>
                        <a:pt x="159" y="15"/>
                        <a:pt x="159" y="15"/>
                        <a:pt x="159" y="15"/>
                      </a:cubicBezTo>
                      <a:cubicBezTo>
                        <a:pt x="159" y="16"/>
                        <a:pt x="159" y="16"/>
                        <a:pt x="159" y="16"/>
                      </a:cubicBezTo>
                      <a:cubicBezTo>
                        <a:pt x="158" y="17"/>
                        <a:pt x="158" y="17"/>
                        <a:pt x="158" y="17"/>
                      </a:cubicBezTo>
                      <a:cubicBezTo>
                        <a:pt x="158" y="15"/>
                        <a:pt x="158" y="15"/>
                        <a:pt x="158" y="15"/>
                      </a:cubicBezTo>
                      <a:cubicBezTo>
                        <a:pt x="159" y="12"/>
                        <a:pt x="159" y="12"/>
                        <a:pt x="159" y="12"/>
                      </a:cubicBezTo>
                      <a:cubicBezTo>
                        <a:pt x="158" y="11"/>
                        <a:pt x="158" y="11"/>
                        <a:pt x="158" y="11"/>
                      </a:cubicBezTo>
                      <a:cubicBezTo>
                        <a:pt x="158" y="10"/>
                        <a:pt x="158" y="10"/>
                        <a:pt x="158" y="10"/>
                      </a:cubicBezTo>
                      <a:cubicBezTo>
                        <a:pt x="159" y="9"/>
                        <a:pt x="159" y="9"/>
                        <a:pt x="159" y="9"/>
                      </a:cubicBezTo>
                      <a:cubicBezTo>
                        <a:pt x="159" y="6"/>
                        <a:pt x="159" y="6"/>
                        <a:pt x="159" y="6"/>
                      </a:cubicBezTo>
                      <a:cubicBezTo>
                        <a:pt x="159" y="5"/>
                        <a:pt x="159" y="5"/>
                        <a:pt x="159" y="5"/>
                      </a:cubicBezTo>
                      <a:cubicBezTo>
                        <a:pt x="158" y="5"/>
                        <a:pt x="158" y="5"/>
                        <a:pt x="158" y="5"/>
                      </a:cubicBezTo>
                      <a:cubicBezTo>
                        <a:pt x="155" y="9"/>
                        <a:pt x="155" y="9"/>
                        <a:pt x="155" y="9"/>
                      </a:cubicBezTo>
                      <a:cubicBezTo>
                        <a:pt x="155" y="11"/>
                        <a:pt x="155" y="11"/>
                        <a:pt x="155" y="11"/>
                      </a:cubicBezTo>
                      <a:cubicBezTo>
                        <a:pt x="153" y="15"/>
                        <a:pt x="153" y="15"/>
                        <a:pt x="153" y="15"/>
                      </a:cubicBezTo>
                      <a:cubicBezTo>
                        <a:pt x="152" y="17"/>
                        <a:pt x="152" y="17"/>
                        <a:pt x="152" y="17"/>
                      </a:cubicBezTo>
                      <a:cubicBezTo>
                        <a:pt x="153" y="18"/>
                        <a:pt x="153" y="18"/>
                        <a:pt x="153" y="18"/>
                      </a:cubicBezTo>
                      <a:cubicBezTo>
                        <a:pt x="152" y="20"/>
                        <a:pt x="152" y="20"/>
                        <a:pt x="152" y="20"/>
                      </a:cubicBezTo>
                      <a:cubicBezTo>
                        <a:pt x="150" y="23"/>
                        <a:pt x="150" y="23"/>
                        <a:pt x="150" y="23"/>
                      </a:cubicBezTo>
                      <a:cubicBezTo>
                        <a:pt x="149" y="24"/>
                        <a:pt x="149" y="24"/>
                        <a:pt x="149" y="24"/>
                      </a:cubicBezTo>
                      <a:cubicBezTo>
                        <a:pt x="149" y="22"/>
                        <a:pt x="149" y="22"/>
                        <a:pt x="149" y="22"/>
                      </a:cubicBezTo>
                      <a:cubicBezTo>
                        <a:pt x="148" y="21"/>
                        <a:pt x="148" y="21"/>
                        <a:pt x="148" y="21"/>
                      </a:cubicBezTo>
                      <a:cubicBezTo>
                        <a:pt x="150" y="18"/>
                        <a:pt x="150" y="18"/>
                        <a:pt x="150" y="18"/>
                      </a:cubicBezTo>
                      <a:cubicBezTo>
                        <a:pt x="149" y="16"/>
                        <a:pt x="149" y="16"/>
                        <a:pt x="149" y="16"/>
                      </a:cubicBezTo>
                      <a:cubicBezTo>
                        <a:pt x="150" y="15"/>
                        <a:pt x="150" y="15"/>
                        <a:pt x="150" y="15"/>
                      </a:cubicBezTo>
                      <a:cubicBezTo>
                        <a:pt x="149" y="13"/>
                        <a:pt x="149" y="13"/>
                        <a:pt x="149" y="13"/>
                      </a:cubicBezTo>
                      <a:cubicBezTo>
                        <a:pt x="152" y="10"/>
                        <a:pt x="152" y="10"/>
                        <a:pt x="152" y="10"/>
                      </a:cubicBezTo>
                      <a:cubicBezTo>
                        <a:pt x="152" y="8"/>
                        <a:pt x="152" y="8"/>
                        <a:pt x="152" y="8"/>
                      </a:cubicBezTo>
                      <a:cubicBezTo>
                        <a:pt x="153" y="8"/>
                        <a:pt x="153" y="8"/>
                        <a:pt x="153" y="8"/>
                      </a:cubicBezTo>
                      <a:cubicBezTo>
                        <a:pt x="153" y="7"/>
                        <a:pt x="153" y="7"/>
                        <a:pt x="153" y="7"/>
                      </a:cubicBezTo>
                      <a:cubicBezTo>
                        <a:pt x="151" y="7"/>
                        <a:pt x="151" y="7"/>
                        <a:pt x="151" y="7"/>
                      </a:cubicBezTo>
                      <a:cubicBezTo>
                        <a:pt x="150" y="5"/>
                        <a:pt x="150" y="5"/>
                        <a:pt x="150" y="5"/>
                      </a:cubicBezTo>
                      <a:cubicBezTo>
                        <a:pt x="149" y="5"/>
                        <a:pt x="149" y="5"/>
                        <a:pt x="149" y="5"/>
                      </a:cubicBezTo>
                      <a:cubicBezTo>
                        <a:pt x="149" y="7"/>
                        <a:pt x="149" y="7"/>
                        <a:pt x="149" y="7"/>
                      </a:cubicBezTo>
                      <a:cubicBezTo>
                        <a:pt x="148" y="8"/>
                        <a:pt x="148" y="8"/>
                        <a:pt x="148" y="8"/>
                      </a:cubicBezTo>
                      <a:cubicBezTo>
                        <a:pt x="148" y="7"/>
                        <a:pt x="148" y="7"/>
                        <a:pt x="148" y="7"/>
                      </a:cubicBezTo>
                      <a:cubicBezTo>
                        <a:pt x="147" y="5"/>
                        <a:pt x="147" y="5"/>
                        <a:pt x="147" y="5"/>
                      </a:cubicBezTo>
                      <a:cubicBezTo>
                        <a:pt x="145" y="5"/>
                        <a:pt x="145" y="5"/>
                        <a:pt x="145" y="5"/>
                      </a:cubicBezTo>
                      <a:cubicBezTo>
                        <a:pt x="144" y="6"/>
                        <a:pt x="144" y="6"/>
                        <a:pt x="144" y="6"/>
                      </a:cubicBezTo>
                      <a:cubicBezTo>
                        <a:pt x="144" y="8"/>
                        <a:pt x="144" y="8"/>
                        <a:pt x="144" y="8"/>
                      </a:cubicBezTo>
                      <a:cubicBezTo>
                        <a:pt x="144" y="9"/>
                        <a:pt x="144" y="9"/>
                        <a:pt x="144" y="9"/>
                      </a:cubicBezTo>
                      <a:cubicBezTo>
                        <a:pt x="143" y="8"/>
                        <a:pt x="143" y="8"/>
                        <a:pt x="143" y="8"/>
                      </a:cubicBezTo>
                      <a:cubicBezTo>
                        <a:pt x="142" y="8"/>
                        <a:pt x="142" y="8"/>
                        <a:pt x="142" y="8"/>
                      </a:cubicBezTo>
                      <a:cubicBezTo>
                        <a:pt x="141" y="8"/>
                        <a:pt x="141" y="8"/>
                        <a:pt x="141" y="8"/>
                      </a:cubicBezTo>
                      <a:cubicBezTo>
                        <a:pt x="141" y="9"/>
                        <a:pt x="141" y="9"/>
                        <a:pt x="141" y="9"/>
                      </a:cubicBezTo>
                      <a:cubicBezTo>
                        <a:pt x="143" y="11"/>
                        <a:pt x="143" y="11"/>
                        <a:pt x="143" y="11"/>
                      </a:cubicBezTo>
                      <a:cubicBezTo>
                        <a:pt x="144" y="12"/>
                        <a:pt x="144" y="12"/>
                        <a:pt x="144" y="12"/>
                      </a:cubicBezTo>
                      <a:cubicBezTo>
                        <a:pt x="143" y="13"/>
                        <a:pt x="143" y="13"/>
                        <a:pt x="143" y="13"/>
                      </a:cubicBezTo>
                      <a:cubicBezTo>
                        <a:pt x="142" y="12"/>
                        <a:pt x="142" y="12"/>
                        <a:pt x="142" y="12"/>
                      </a:cubicBezTo>
                      <a:cubicBezTo>
                        <a:pt x="141" y="13"/>
                        <a:pt x="141" y="13"/>
                        <a:pt x="141" y="13"/>
                      </a:cubicBezTo>
                      <a:cubicBezTo>
                        <a:pt x="141" y="14"/>
                        <a:pt x="141" y="14"/>
                        <a:pt x="141" y="14"/>
                      </a:cubicBezTo>
                      <a:cubicBezTo>
                        <a:pt x="142" y="15"/>
                        <a:pt x="142" y="15"/>
                        <a:pt x="142" y="15"/>
                      </a:cubicBezTo>
                      <a:cubicBezTo>
                        <a:pt x="141" y="15"/>
                        <a:pt x="141" y="15"/>
                        <a:pt x="141" y="15"/>
                      </a:cubicBez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8" y="16"/>
                        <a:pt x="138" y="16"/>
                        <a:pt x="138" y="16"/>
                      </a:cubicBezTo>
                      <a:cubicBezTo>
                        <a:pt x="136" y="17"/>
                        <a:pt x="136" y="17"/>
                        <a:pt x="136" y="17"/>
                      </a:cubicBezTo>
                      <a:cubicBezTo>
                        <a:pt x="136" y="18"/>
                        <a:pt x="136" y="18"/>
                        <a:pt x="136" y="18"/>
                      </a:cubicBezTo>
                      <a:cubicBezTo>
                        <a:pt x="137" y="18"/>
                        <a:pt x="137" y="18"/>
                        <a:pt x="137" y="18"/>
                      </a:cubicBezTo>
                      <a:cubicBezTo>
                        <a:pt x="135" y="19"/>
                        <a:pt x="135" y="19"/>
                        <a:pt x="135" y="19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6" y="22"/>
                        <a:pt x="136" y="22"/>
                        <a:pt x="136" y="22"/>
                      </a:cubicBezTo>
                      <a:cubicBezTo>
                        <a:pt x="135" y="24"/>
                        <a:pt x="135" y="24"/>
                        <a:pt x="135" y="24"/>
                      </a:cubicBezTo>
                      <a:cubicBezTo>
                        <a:pt x="137" y="24"/>
                        <a:pt x="137" y="24"/>
                        <a:pt x="137" y="24"/>
                      </a:cubicBezTo>
                      <a:cubicBezTo>
                        <a:pt x="137" y="25"/>
                        <a:pt x="137" y="25"/>
                        <a:pt x="137" y="25"/>
                      </a:cubicBezTo>
                      <a:cubicBezTo>
                        <a:pt x="137" y="26"/>
                        <a:pt x="137" y="26"/>
                        <a:pt x="137" y="26"/>
                      </a:cubicBezTo>
                      <a:cubicBezTo>
                        <a:pt x="134" y="26"/>
                        <a:pt x="134" y="26"/>
                        <a:pt x="134" y="26"/>
                      </a:cubicBezTo>
                      <a:cubicBezTo>
                        <a:pt x="134" y="23"/>
                        <a:pt x="134" y="23"/>
                        <a:pt x="134" y="2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133" y="22"/>
                        <a:pt x="133" y="22"/>
                        <a:pt x="133" y="22"/>
                      </a:cubicBezTo>
                      <a:cubicBezTo>
                        <a:pt x="132" y="21"/>
                        <a:pt x="132" y="21"/>
                        <a:pt x="132" y="21"/>
                      </a:cubicBezTo>
                      <a:cubicBezTo>
                        <a:pt x="130" y="21"/>
                        <a:pt x="130" y="21"/>
                        <a:pt x="130" y="21"/>
                      </a:cubicBezTo>
                      <a:cubicBezTo>
                        <a:pt x="128" y="21"/>
                        <a:pt x="128" y="21"/>
                        <a:pt x="128" y="21"/>
                      </a:cubicBezTo>
                      <a:cubicBezTo>
                        <a:pt x="125" y="18"/>
                        <a:pt x="125" y="18"/>
                        <a:pt x="125" y="18"/>
                      </a:cubicBezTo>
                      <a:cubicBezTo>
                        <a:pt x="124" y="18"/>
                        <a:pt x="124" y="18"/>
                        <a:pt x="124" y="18"/>
                      </a:cubicBezTo>
                      <a:cubicBezTo>
                        <a:pt x="123" y="20"/>
                        <a:pt x="123" y="20"/>
                        <a:pt x="123" y="20"/>
                      </a:cubicBezTo>
                      <a:cubicBezTo>
                        <a:pt x="123" y="18"/>
                        <a:pt x="123" y="18"/>
                        <a:pt x="123" y="18"/>
                      </a:cubicBezTo>
                      <a:cubicBezTo>
                        <a:pt x="121" y="20"/>
                        <a:pt x="121" y="20"/>
                        <a:pt x="121" y="20"/>
                      </a:cubicBezTo>
                      <a:cubicBezTo>
                        <a:pt x="119" y="20"/>
                        <a:pt x="119" y="20"/>
                        <a:pt x="119" y="20"/>
                      </a:cubicBezTo>
                      <a:cubicBezTo>
                        <a:pt x="119" y="21"/>
                        <a:pt x="119" y="21"/>
                        <a:pt x="119" y="21"/>
                      </a:cubicBezTo>
                      <a:cubicBezTo>
                        <a:pt x="122" y="23"/>
                        <a:pt x="122" y="23"/>
                        <a:pt x="122" y="23"/>
                      </a:cubicBezTo>
                      <a:cubicBezTo>
                        <a:pt x="123" y="23"/>
                        <a:pt x="123" y="23"/>
                        <a:pt x="123" y="23"/>
                      </a:cubicBezTo>
                      <a:cubicBezTo>
                        <a:pt x="124" y="24"/>
                        <a:pt x="124" y="24"/>
                        <a:pt x="124" y="24"/>
                      </a:cubicBezTo>
                      <a:cubicBezTo>
                        <a:pt x="126" y="25"/>
                        <a:pt x="126" y="25"/>
                        <a:pt x="126" y="25"/>
                      </a:cubicBezTo>
                      <a:cubicBezTo>
                        <a:pt x="125" y="26"/>
                        <a:pt x="125" y="26"/>
                        <a:pt x="125" y="26"/>
                      </a:cubicBezTo>
                      <a:cubicBezTo>
                        <a:pt x="125" y="28"/>
                        <a:pt x="125" y="28"/>
                        <a:pt x="125" y="28"/>
                      </a:cubicBezTo>
                      <a:cubicBezTo>
                        <a:pt x="127" y="30"/>
                        <a:pt x="127" y="30"/>
                        <a:pt x="127" y="30"/>
                      </a:cubicBezTo>
                      <a:cubicBezTo>
                        <a:pt x="126" y="31"/>
                        <a:pt x="126" y="31"/>
                        <a:pt x="126" y="31"/>
                      </a:cubicBezTo>
                      <a:cubicBezTo>
                        <a:pt x="125" y="31"/>
                        <a:pt x="125" y="31"/>
                        <a:pt x="125" y="31"/>
                      </a:cubicBezTo>
                      <a:cubicBezTo>
                        <a:pt x="124" y="28"/>
                        <a:pt x="124" y="28"/>
                        <a:pt x="124" y="28"/>
                      </a:cubicBezTo>
                      <a:cubicBezTo>
                        <a:pt x="122" y="28"/>
                        <a:pt x="122" y="28"/>
                        <a:pt x="122" y="28"/>
                      </a:cubicBezTo>
                      <a:cubicBezTo>
                        <a:pt x="121" y="26"/>
                        <a:pt x="121" y="26"/>
                        <a:pt x="121" y="26"/>
                      </a:cubicBezTo>
                      <a:cubicBezTo>
                        <a:pt x="121" y="28"/>
                        <a:pt x="121" y="28"/>
                        <a:pt x="121" y="28"/>
                      </a:cubicBezTo>
                      <a:cubicBezTo>
                        <a:pt x="119" y="29"/>
                        <a:pt x="119" y="29"/>
                        <a:pt x="119" y="29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118" y="28"/>
                        <a:pt x="118" y="28"/>
                        <a:pt x="118" y="28"/>
                      </a:cubicBezTo>
                      <a:cubicBezTo>
                        <a:pt x="117" y="29"/>
                        <a:pt x="117" y="29"/>
                        <a:pt x="117" y="29"/>
                      </a:cubicBezTo>
                      <a:cubicBezTo>
                        <a:pt x="116" y="31"/>
                        <a:pt x="116" y="31"/>
                        <a:pt x="116" y="31"/>
                      </a:cubicBezTo>
                      <a:cubicBezTo>
                        <a:pt x="116" y="32"/>
                        <a:pt x="116" y="32"/>
                        <a:pt x="116" y="32"/>
                      </a:cubicBezTo>
                      <a:cubicBezTo>
                        <a:pt x="118" y="33"/>
                        <a:pt x="118" y="33"/>
                        <a:pt x="118" y="33"/>
                      </a:cubicBezTo>
                      <a:cubicBezTo>
                        <a:pt x="119" y="35"/>
                        <a:pt x="119" y="35"/>
                        <a:pt x="119" y="35"/>
                      </a:cubicBezTo>
                      <a:cubicBezTo>
                        <a:pt x="117" y="35"/>
                        <a:pt x="117" y="35"/>
                        <a:pt x="117" y="35"/>
                      </a:cubicBezTo>
                      <a:cubicBezTo>
                        <a:pt x="116" y="34"/>
                        <a:pt x="116" y="34"/>
                        <a:pt x="116" y="34"/>
                      </a:cubicBezTo>
                      <a:cubicBezTo>
                        <a:pt x="115" y="36"/>
                        <a:pt x="115" y="36"/>
                        <a:pt x="115" y="36"/>
                      </a:cubicBezTo>
                      <a:cubicBezTo>
                        <a:pt x="115" y="37"/>
                        <a:pt x="115" y="37"/>
                        <a:pt x="115" y="37"/>
                      </a:cubicBezTo>
                      <a:cubicBezTo>
                        <a:pt x="113" y="39"/>
                        <a:pt x="113" y="39"/>
                        <a:pt x="113" y="39"/>
                      </a:cubicBezTo>
                      <a:cubicBezTo>
                        <a:pt x="112" y="38"/>
                        <a:pt x="112" y="38"/>
                        <a:pt x="112" y="38"/>
                      </a:cubicBezTo>
                      <a:cubicBezTo>
                        <a:pt x="114" y="37"/>
                        <a:pt x="114" y="37"/>
                        <a:pt x="114" y="37"/>
                      </a:cubicBezTo>
                      <a:cubicBezTo>
                        <a:pt x="113" y="36"/>
                        <a:pt x="113" y="36"/>
                        <a:pt x="113" y="36"/>
                      </a:cubicBezTo>
                      <a:cubicBezTo>
                        <a:pt x="115" y="33"/>
                        <a:pt x="115" y="33"/>
                        <a:pt x="115" y="33"/>
                      </a:cubicBezTo>
                      <a:cubicBezTo>
                        <a:pt x="114" y="27"/>
                        <a:pt x="114" y="27"/>
                        <a:pt x="114" y="27"/>
                      </a:cubicBezTo>
                      <a:cubicBezTo>
                        <a:pt x="112" y="28"/>
                        <a:pt x="112" y="28"/>
                        <a:pt x="112" y="28"/>
                      </a:cubicBezTo>
                      <a:cubicBezTo>
                        <a:pt x="110" y="32"/>
                        <a:pt x="110" y="32"/>
                        <a:pt x="110" y="32"/>
                      </a:cubicBezTo>
                      <a:cubicBezTo>
                        <a:pt x="110" y="34"/>
                        <a:pt x="110" y="34"/>
                        <a:pt x="110" y="34"/>
                      </a:cubicBezTo>
                      <a:cubicBezTo>
                        <a:pt x="110" y="35"/>
                        <a:pt x="110" y="35"/>
                        <a:pt x="110" y="35"/>
                      </a:cubicBezTo>
                      <a:cubicBezTo>
                        <a:pt x="109" y="37"/>
                        <a:pt x="109" y="37"/>
                        <a:pt x="109" y="37"/>
                      </a:cubicBezTo>
                      <a:cubicBezTo>
                        <a:pt x="109" y="35"/>
                        <a:pt x="109" y="35"/>
                        <a:pt x="109" y="35"/>
                      </a:cubicBezTo>
                      <a:cubicBezTo>
                        <a:pt x="110" y="33"/>
                        <a:pt x="110" y="33"/>
                        <a:pt x="110" y="33"/>
                      </a:cubicBezTo>
                      <a:cubicBezTo>
                        <a:pt x="109" y="30"/>
                        <a:pt x="109" y="30"/>
                        <a:pt x="109" y="30"/>
                      </a:cubicBezTo>
                      <a:cubicBezTo>
                        <a:pt x="108" y="30"/>
                        <a:pt x="108" y="30"/>
                        <a:pt x="108" y="30"/>
                      </a:cubicBezTo>
                      <a:cubicBezTo>
                        <a:pt x="106" y="31"/>
                        <a:pt x="106" y="31"/>
                        <a:pt x="106" y="31"/>
                      </a:cubicBezTo>
                      <a:cubicBezTo>
                        <a:pt x="105" y="34"/>
                        <a:pt x="105" y="34"/>
                        <a:pt x="105" y="34"/>
                      </a:cubicBezTo>
                      <a:cubicBezTo>
                        <a:pt x="106" y="36"/>
                        <a:pt x="106" y="36"/>
                        <a:pt x="106" y="36"/>
                      </a:cubicBezTo>
                      <a:cubicBezTo>
                        <a:pt x="106" y="38"/>
                        <a:pt x="106" y="38"/>
                        <a:pt x="106" y="38"/>
                      </a:cubicBezTo>
                      <a:cubicBezTo>
                        <a:pt x="108" y="40"/>
                        <a:pt x="108" y="40"/>
                        <a:pt x="108" y="40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8" y="43"/>
                        <a:pt x="108" y="43"/>
                        <a:pt x="108" y="43"/>
                      </a:cubicBezTo>
                      <a:cubicBezTo>
                        <a:pt x="107" y="40"/>
                        <a:pt x="107" y="40"/>
                        <a:pt x="107" y="40"/>
                      </a:cubicBezTo>
                      <a:cubicBezTo>
                        <a:pt x="105" y="39"/>
                        <a:pt x="105" y="39"/>
                        <a:pt x="105" y="39"/>
                      </a:cubicBezTo>
                      <a:cubicBezTo>
                        <a:pt x="104" y="36"/>
                        <a:pt x="104" y="36"/>
                        <a:pt x="104" y="36"/>
                      </a:cubicBezTo>
                      <a:cubicBezTo>
                        <a:pt x="103" y="36"/>
                        <a:pt x="103" y="36"/>
                        <a:pt x="103" y="36"/>
                      </a:cubicBezTo>
                      <a:cubicBezTo>
                        <a:pt x="101" y="36"/>
                        <a:pt x="101" y="36"/>
                        <a:pt x="101" y="36"/>
                      </a:cubicBezTo>
                      <a:cubicBezTo>
                        <a:pt x="100" y="38"/>
                        <a:pt x="100" y="38"/>
                        <a:pt x="100" y="38"/>
                      </a:cubicBezTo>
                      <a:cubicBezTo>
                        <a:pt x="103" y="40"/>
                        <a:pt x="103" y="40"/>
                        <a:pt x="103" y="40"/>
                      </a:cubicBezTo>
                      <a:cubicBezTo>
                        <a:pt x="104" y="40"/>
                        <a:pt x="104" y="40"/>
                        <a:pt x="104" y="40"/>
                      </a:cubicBezTo>
                      <a:cubicBezTo>
                        <a:pt x="105" y="41"/>
                        <a:pt x="105" y="41"/>
                        <a:pt x="105" y="41"/>
                      </a:cubicBezTo>
                      <a:cubicBezTo>
                        <a:pt x="103" y="40"/>
                        <a:pt x="103" y="40"/>
                        <a:pt x="103" y="40"/>
                      </a:cubicBezTo>
                      <a:cubicBezTo>
                        <a:pt x="101" y="41"/>
                        <a:pt x="101" y="41"/>
                        <a:pt x="101" y="41"/>
                      </a:cubicBezTo>
                      <a:cubicBezTo>
                        <a:pt x="103" y="43"/>
                        <a:pt x="103" y="43"/>
                        <a:pt x="103" y="43"/>
                      </a:cubicBezTo>
                      <a:cubicBezTo>
                        <a:pt x="101" y="41"/>
                        <a:pt x="101" y="41"/>
                        <a:pt x="101" y="41"/>
                      </a:cubicBezTo>
                      <a:cubicBezTo>
                        <a:pt x="100" y="39"/>
                        <a:pt x="100" y="39"/>
                        <a:pt x="100" y="39"/>
                      </a:cubicBezTo>
                      <a:cubicBezTo>
                        <a:pt x="100" y="39"/>
                        <a:pt x="100" y="39"/>
                        <a:pt x="100" y="39"/>
                      </a:cubicBezTo>
                      <a:cubicBezTo>
                        <a:pt x="99" y="37"/>
                        <a:pt x="99" y="37"/>
                        <a:pt x="99" y="37"/>
                      </a:cubicBezTo>
                      <a:cubicBezTo>
                        <a:pt x="98" y="38"/>
                        <a:pt x="98" y="38"/>
                        <a:pt x="98" y="38"/>
                      </a:cubicBezTo>
                      <a:cubicBezTo>
                        <a:pt x="98" y="40"/>
                        <a:pt x="98" y="40"/>
                        <a:pt x="98" y="40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8" y="44"/>
                        <a:pt x="98" y="44"/>
                        <a:pt x="98" y="44"/>
                      </a:cubicBezTo>
                      <a:cubicBezTo>
                        <a:pt x="97" y="43"/>
                        <a:pt x="97" y="43"/>
                        <a:pt x="97" y="43"/>
                      </a:cubicBezTo>
                      <a:cubicBezTo>
                        <a:pt x="95" y="43"/>
                        <a:pt x="95" y="43"/>
                        <a:pt x="95" y="43"/>
                      </a:cubicBezTo>
                      <a:cubicBezTo>
                        <a:pt x="94" y="46"/>
                        <a:pt x="94" y="46"/>
                        <a:pt x="94" y="46"/>
                      </a:cubicBezTo>
                      <a:cubicBezTo>
                        <a:pt x="94" y="46"/>
                        <a:pt x="94" y="46"/>
                        <a:pt x="94" y="46"/>
                      </a:cubicBezTo>
                      <a:cubicBezTo>
                        <a:pt x="95" y="46"/>
                        <a:pt x="95" y="46"/>
                        <a:pt x="95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5" y="47"/>
                        <a:pt x="95" y="47"/>
                        <a:pt x="95" y="47"/>
                      </a:cubicBezTo>
                      <a:cubicBezTo>
                        <a:pt x="94" y="48"/>
                        <a:pt x="94" y="48"/>
                        <a:pt x="94" y="48"/>
                      </a:cubicBezTo>
                      <a:cubicBezTo>
                        <a:pt x="95" y="49"/>
                        <a:pt x="95" y="49"/>
                        <a:pt x="95" y="49"/>
                      </a:cubicBezTo>
                      <a:cubicBezTo>
                        <a:pt x="94" y="50"/>
                        <a:pt x="94" y="50"/>
                        <a:pt x="94" y="50"/>
                      </a:cubicBezTo>
                      <a:cubicBezTo>
                        <a:pt x="93" y="50"/>
                        <a:pt x="93" y="50"/>
                        <a:pt x="93" y="50"/>
                      </a:cubicBezTo>
                      <a:cubicBezTo>
                        <a:pt x="93" y="51"/>
                        <a:pt x="93" y="51"/>
                        <a:pt x="93" y="51"/>
                      </a:cubicBezTo>
                      <a:cubicBezTo>
                        <a:pt x="93" y="51"/>
                        <a:pt x="93" y="51"/>
                        <a:pt x="93" y="51"/>
                      </a:cubicBezTo>
                      <a:cubicBezTo>
                        <a:pt x="92" y="52"/>
                        <a:pt x="92" y="52"/>
                        <a:pt x="92" y="52"/>
                      </a:cubicBezTo>
                      <a:cubicBezTo>
                        <a:pt x="91" y="50"/>
                        <a:pt x="91" y="50"/>
                        <a:pt x="91" y="50"/>
                      </a:cubicBezTo>
                      <a:cubicBezTo>
                        <a:pt x="90" y="51"/>
                        <a:pt x="90" y="51"/>
                        <a:pt x="90" y="51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89" y="54"/>
                        <a:pt x="89" y="54"/>
                        <a:pt x="89" y="54"/>
                      </a:cubicBezTo>
                      <a:cubicBezTo>
                        <a:pt x="87" y="54"/>
                        <a:pt x="87" y="54"/>
                        <a:pt x="87" y="54"/>
                      </a:cubicBezTo>
                      <a:cubicBezTo>
                        <a:pt x="86" y="56"/>
                        <a:pt x="86" y="56"/>
                        <a:pt x="86" y="56"/>
                      </a:cubicBezTo>
                      <a:cubicBezTo>
                        <a:pt x="87" y="57"/>
                        <a:pt x="87" y="57"/>
                        <a:pt x="87" y="57"/>
                      </a:cubicBezTo>
                      <a:cubicBezTo>
                        <a:pt x="91" y="55"/>
                        <a:pt x="91" y="55"/>
                        <a:pt x="91" y="55"/>
                      </a:cubicBezTo>
                      <a:cubicBezTo>
                        <a:pt x="92" y="56"/>
                        <a:pt x="92" y="56"/>
                        <a:pt x="92" y="56"/>
                      </a:cubicBezTo>
                      <a:cubicBezTo>
                        <a:pt x="94" y="55"/>
                        <a:pt x="94" y="55"/>
                        <a:pt x="94" y="55"/>
                      </a:cubicBezTo>
                      <a:cubicBezTo>
                        <a:pt x="95" y="55"/>
                        <a:pt x="95" y="55"/>
                        <a:pt x="95" y="55"/>
                      </a:cubicBezTo>
                      <a:cubicBezTo>
                        <a:pt x="95" y="56"/>
                        <a:pt x="95" y="56"/>
                        <a:pt x="95" y="56"/>
                      </a:cubicBezTo>
                      <a:cubicBezTo>
                        <a:pt x="94" y="58"/>
                        <a:pt x="94" y="58"/>
                        <a:pt x="94" y="58"/>
                      </a:cubicBezTo>
                      <a:cubicBezTo>
                        <a:pt x="94" y="60"/>
                        <a:pt x="94" y="60"/>
                        <a:pt x="94" y="60"/>
                      </a:cubicBezTo>
                      <a:cubicBezTo>
                        <a:pt x="93" y="61"/>
                        <a:pt x="93" y="61"/>
                        <a:pt x="93" y="61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2" y="59"/>
                        <a:pt x="92" y="59"/>
                        <a:pt x="92" y="59"/>
                      </a:cubicBezTo>
                      <a:cubicBezTo>
                        <a:pt x="91" y="59"/>
                        <a:pt x="91" y="59"/>
                        <a:pt x="91" y="59"/>
                      </a:cubicBezTo>
                      <a:cubicBezTo>
                        <a:pt x="90" y="58"/>
                        <a:pt x="90" y="58"/>
                        <a:pt x="90" y="5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9" y="59"/>
                        <a:pt x="89" y="59"/>
                        <a:pt x="89" y="59"/>
                      </a:cubicBezTo>
                      <a:cubicBezTo>
                        <a:pt x="88" y="60"/>
                        <a:pt x="88" y="60"/>
                        <a:pt x="88" y="60"/>
                      </a:cubicBezTo>
                      <a:cubicBezTo>
                        <a:pt x="87" y="59"/>
                        <a:pt x="87" y="59"/>
                        <a:pt x="87" y="59"/>
                      </a:cubicBezTo>
                      <a:cubicBezTo>
                        <a:pt x="86" y="59"/>
                        <a:pt x="86" y="59"/>
                        <a:pt x="86" y="59"/>
                      </a:cubicBezTo>
                      <a:cubicBezTo>
                        <a:pt x="87" y="60"/>
                        <a:pt x="87" y="60"/>
                        <a:pt x="87" y="60"/>
                      </a:cubicBezTo>
                      <a:cubicBezTo>
                        <a:pt x="88" y="62"/>
                        <a:pt x="88" y="62"/>
                        <a:pt x="88" y="62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6" y="63"/>
                        <a:pt x="86" y="63"/>
                        <a:pt x="86" y="63"/>
                      </a:cubicBezTo>
                      <a:cubicBezTo>
                        <a:pt x="87" y="64"/>
                        <a:pt x="87" y="64"/>
                        <a:pt x="87" y="64"/>
                      </a:cubicBezTo>
                      <a:cubicBezTo>
                        <a:pt x="86" y="65"/>
                        <a:pt x="86" y="65"/>
                        <a:pt x="86" y="65"/>
                      </a:cubicBezTo>
                      <a:cubicBezTo>
                        <a:pt x="85" y="64"/>
                        <a:pt x="85" y="64"/>
                        <a:pt x="85" y="64"/>
                      </a:cubicBezTo>
                      <a:cubicBezTo>
                        <a:pt x="85" y="62"/>
                        <a:pt x="85" y="62"/>
                        <a:pt x="85" y="62"/>
                      </a:cubicBezTo>
                      <a:cubicBezTo>
                        <a:pt x="84" y="61"/>
                        <a:pt x="84" y="61"/>
                        <a:pt x="84" y="61"/>
                      </a:cubicBezTo>
                      <a:cubicBezTo>
                        <a:pt x="83" y="62"/>
                        <a:pt x="83" y="62"/>
                        <a:pt x="83" y="62"/>
                      </a:cubicBezTo>
                      <a:cubicBezTo>
                        <a:pt x="81" y="62"/>
                        <a:pt x="81" y="62"/>
                        <a:pt x="81" y="62"/>
                      </a:cubicBezTo>
                      <a:cubicBezTo>
                        <a:pt x="81" y="61"/>
                        <a:pt x="81" y="61"/>
                        <a:pt x="81" y="61"/>
                      </a:cubicBezTo>
                      <a:cubicBezTo>
                        <a:pt x="81" y="60"/>
                        <a:pt x="81" y="60"/>
                        <a:pt x="81" y="60"/>
                      </a:cubicBezTo>
                      <a:cubicBezTo>
                        <a:pt x="80" y="60"/>
                        <a:pt x="80" y="60"/>
                        <a:pt x="80" y="60"/>
                      </a:cubicBezTo>
                      <a:cubicBezTo>
                        <a:pt x="79" y="62"/>
                        <a:pt x="79" y="62"/>
                        <a:pt x="79" y="62"/>
                      </a:cubicBezTo>
                      <a:cubicBezTo>
                        <a:pt x="80" y="63"/>
                        <a:pt x="80" y="63"/>
                        <a:pt x="80" y="63"/>
                      </a:cubicBezTo>
                      <a:cubicBezTo>
                        <a:pt x="82" y="63"/>
                        <a:pt x="82" y="63"/>
                        <a:pt x="82" y="63"/>
                      </a:cubicBezTo>
                      <a:cubicBezTo>
                        <a:pt x="84" y="64"/>
                        <a:pt x="84" y="64"/>
                        <a:pt x="84" y="64"/>
                      </a:cubicBezTo>
                      <a:cubicBezTo>
                        <a:pt x="83" y="66"/>
                        <a:pt x="83" y="66"/>
                        <a:pt x="83" y="66"/>
                      </a:cubicBezTo>
                      <a:cubicBezTo>
                        <a:pt x="79" y="66"/>
                        <a:pt x="79" y="66"/>
                        <a:pt x="79" y="66"/>
                      </a:cubicBezTo>
                      <a:cubicBezTo>
                        <a:pt x="78" y="66"/>
                        <a:pt x="78" y="66"/>
                        <a:pt x="78" y="66"/>
                      </a:cubicBezTo>
                      <a:cubicBezTo>
                        <a:pt x="77" y="66"/>
                        <a:pt x="77" y="66"/>
                        <a:pt x="77" y="66"/>
                      </a:cubicBezTo>
                      <a:cubicBezTo>
                        <a:pt x="76" y="68"/>
                        <a:pt x="76" y="68"/>
                        <a:pt x="76" y="68"/>
                      </a:cubicBezTo>
                      <a:cubicBezTo>
                        <a:pt x="78" y="69"/>
                        <a:pt x="78" y="69"/>
                        <a:pt x="78" y="69"/>
                      </a:cubicBezTo>
                      <a:cubicBezTo>
                        <a:pt x="76" y="70"/>
                        <a:pt x="76" y="70"/>
                        <a:pt x="76" y="70"/>
                      </a:cubicBezTo>
                      <a:cubicBezTo>
                        <a:pt x="78" y="70"/>
                        <a:pt x="78" y="70"/>
                        <a:pt x="78" y="70"/>
                      </a:cubicBezTo>
                      <a:cubicBezTo>
                        <a:pt x="79" y="68"/>
                        <a:pt x="79" y="68"/>
                        <a:pt x="79" y="68"/>
                      </a:cubicBezTo>
                      <a:cubicBezTo>
                        <a:pt x="81" y="68"/>
                        <a:pt x="81" y="68"/>
                        <a:pt x="81" y="68"/>
                      </a:cubicBezTo>
                      <a:cubicBezTo>
                        <a:pt x="82" y="69"/>
                        <a:pt x="82" y="69"/>
                        <a:pt x="82" y="69"/>
                      </a:cubicBezTo>
                      <a:cubicBezTo>
                        <a:pt x="79" y="70"/>
                        <a:pt x="79" y="70"/>
                        <a:pt x="79" y="70"/>
                      </a:cubicBezTo>
                      <a:cubicBezTo>
                        <a:pt x="79" y="72"/>
                        <a:pt x="79" y="72"/>
                        <a:pt x="79" y="72"/>
                      </a:cubicBezTo>
                      <a:cubicBezTo>
                        <a:pt x="80" y="73"/>
                        <a:pt x="80" y="73"/>
                        <a:pt x="80" y="73"/>
                      </a:cubicBezTo>
                      <a:cubicBezTo>
                        <a:pt x="82" y="74"/>
                        <a:pt x="82" y="74"/>
                        <a:pt x="82" y="74"/>
                      </a:cubicBezTo>
                      <a:cubicBezTo>
                        <a:pt x="82" y="76"/>
                        <a:pt x="82" y="76"/>
                        <a:pt x="82" y="76"/>
                      </a:cubicBezTo>
                      <a:cubicBezTo>
                        <a:pt x="81" y="75"/>
                        <a:pt x="81" y="75"/>
                        <a:pt x="81" y="75"/>
                      </a:cubicBezTo>
                      <a:cubicBezTo>
                        <a:pt x="79" y="75"/>
                        <a:pt x="79" y="75"/>
                        <a:pt x="79" y="75"/>
                      </a:cubicBezTo>
                      <a:cubicBezTo>
                        <a:pt x="78" y="73"/>
                        <a:pt x="78" y="73"/>
                        <a:pt x="78" y="73"/>
                      </a:cubicBezTo>
                      <a:cubicBezTo>
                        <a:pt x="77" y="73"/>
                        <a:pt x="77" y="73"/>
                        <a:pt x="77" y="73"/>
                      </a:cubicBezTo>
                      <a:cubicBezTo>
                        <a:pt x="76" y="74"/>
                        <a:pt x="76" y="74"/>
                        <a:pt x="76" y="74"/>
                      </a:cubicBezTo>
                      <a:cubicBezTo>
                        <a:pt x="77" y="75"/>
                        <a:pt x="77" y="75"/>
                        <a:pt x="77" y="75"/>
                      </a:cubicBezTo>
                      <a:cubicBezTo>
                        <a:pt x="75" y="75"/>
                        <a:pt x="75" y="75"/>
                        <a:pt x="75" y="75"/>
                      </a:cubicBezTo>
                      <a:cubicBezTo>
                        <a:pt x="74" y="77"/>
                        <a:pt x="74" y="77"/>
                        <a:pt x="74" y="77"/>
                      </a:cubicBezTo>
                      <a:cubicBezTo>
                        <a:pt x="74" y="78"/>
                        <a:pt x="74" y="78"/>
                        <a:pt x="74" y="78"/>
                      </a:cubicBezTo>
                      <a:cubicBezTo>
                        <a:pt x="76" y="79"/>
                        <a:pt x="76" y="79"/>
                        <a:pt x="76" y="79"/>
                      </a:cubicBezTo>
                      <a:cubicBezTo>
                        <a:pt x="77" y="78"/>
                        <a:pt x="77" y="78"/>
                        <a:pt x="77" y="78"/>
                      </a:cubicBezTo>
                      <a:cubicBezTo>
                        <a:pt x="78" y="79"/>
                        <a:pt x="78" y="79"/>
                        <a:pt x="78" y="79"/>
                      </a:cubicBezTo>
                      <a:cubicBezTo>
                        <a:pt x="80" y="78"/>
                        <a:pt x="80" y="78"/>
                        <a:pt x="80" y="78"/>
                      </a:cubicBezTo>
                      <a:cubicBezTo>
                        <a:pt x="80" y="80"/>
                        <a:pt x="80" y="80"/>
                        <a:pt x="80" y="80"/>
                      </a:cubicBezTo>
                      <a:cubicBezTo>
                        <a:pt x="81" y="81"/>
                        <a:pt x="81" y="81"/>
                        <a:pt x="81" y="81"/>
                      </a:cubicBezTo>
                      <a:cubicBezTo>
                        <a:pt x="81" y="82"/>
                        <a:pt x="81" y="82"/>
                        <a:pt x="81" y="82"/>
                      </a:cubicBezTo>
                      <a:cubicBezTo>
                        <a:pt x="79" y="80"/>
                        <a:pt x="79" y="80"/>
                        <a:pt x="79" y="80"/>
                      </a:cubicBezTo>
                      <a:cubicBezTo>
                        <a:pt x="77" y="80"/>
                        <a:pt x="77" y="80"/>
                        <a:pt x="77" y="80"/>
                      </a:cubicBezTo>
                      <a:cubicBezTo>
                        <a:pt x="76" y="81"/>
                        <a:pt x="76" y="81"/>
                        <a:pt x="76" y="81"/>
                      </a:cubicBezTo>
                      <a:cubicBezTo>
                        <a:pt x="73" y="81"/>
                        <a:pt x="73" y="81"/>
                        <a:pt x="73" y="81"/>
                      </a:cubicBezTo>
                      <a:cubicBezTo>
                        <a:pt x="73" y="83"/>
                        <a:pt x="73" y="83"/>
                        <a:pt x="73" y="83"/>
                      </a:cubicBezTo>
                      <a:cubicBezTo>
                        <a:pt x="72" y="83"/>
                        <a:pt x="72" y="83"/>
                        <a:pt x="72" y="83"/>
                      </a:cubicBezTo>
                      <a:cubicBezTo>
                        <a:pt x="71" y="83"/>
                        <a:pt x="71" y="83"/>
                        <a:pt x="71" y="83"/>
                      </a:cubicBezTo>
                      <a:cubicBezTo>
                        <a:pt x="69" y="84"/>
                        <a:pt x="69" y="84"/>
                        <a:pt x="69" y="84"/>
                      </a:cubicBezTo>
                      <a:cubicBezTo>
                        <a:pt x="67" y="84"/>
                        <a:pt x="67" y="84"/>
                        <a:pt x="67" y="84"/>
                      </a:cubicBezTo>
                      <a:cubicBezTo>
                        <a:pt x="67" y="85"/>
                        <a:pt x="67" y="85"/>
                        <a:pt x="67" y="85"/>
                      </a:cubicBezTo>
                      <a:cubicBezTo>
                        <a:pt x="69" y="86"/>
                        <a:pt x="69" y="86"/>
                        <a:pt x="69" y="86"/>
                      </a:cubicBezTo>
                      <a:cubicBezTo>
                        <a:pt x="70" y="87"/>
                        <a:pt x="70" y="87"/>
                        <a:pt x="70" y="87"/>
                      </a:cubicBezTo>
                      <a:cubicBezTo>
                        <a:pt x="68" y="88"/>
                        <a:pt x="68" y="88"/>
                        <a:pt x="68" y="88"/>
                      </a:cubicBezTo>
                      <a:cubicBezTo>
                        <a:pt x="68" y="87"/>
                        <a:pt x="68" y="87"/>
                        <a:pt x="68" y="87"/>
                      </a:cubicBezTo>
                      <a:cubicBezTo>
                        <a:pt x="67" y="88"/>
                        <a:pt x="67" y="88"/>
                        <a:pt x="67" y="88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6" y="89"/>
                        <a:pt x="66" y="89"/>
                        <a:pt x="66" y="89"/>
                      </a:cubicBezTo>
                      <a:cubicBezTo>
                        <a:pt x="66" y="89"/>
                        <a:pt x="66" y="89"/>
                        <a:pt x="66" y="89"/>
                      </a:cubicBezTo>
                      <a:cubicBezTo>
                        <a:pt x="65" y="89"/>
                        <a:pt x="65" y="89"/>
                        <a:pt x="65" y="89"/>
                      </a:cubicBezTo>
                      <a:cubicBezTo>
                        <a:pt x="67" y="90"/>
                        <a:pt x="67" y="90"/>
                        <a:pt x="67" y="90"/>
                      </a:cubicBezTo>
                      <a:cubicBezTo>
                        <a:pt x="66" y="91"/>
                        <a:pt x="66" y="91"/>
                        <a:pt x="66" y="91"/>
                      </a:cubicBezTo>
                      <a:cubicBezTo>
                        <a:pt x="66" y="92"/>
                        <a:pt x="66" y="92"/>
                        <a:pt x="66" y="92"/>
                      </a:cubicBezTo>
                      <a:cubicBezTo>
                        <a:pt x="67" y="92"/>
                        <a:pt x="67" y="92"/>
                        <a:pt x="67" y="92"/>
                      </a:cubicBezTo>
                      <a:cubicBezTo>
                        <a:pt x="66" y="93"/>
                        <a:pt x="66" y="93"/>
                        <a:pt x="66" y="93"/>
                      </a:cubicBezTo>
                      <a:cubicBezTo>
                        <a:pt x="65" y="93"/>
                        <a:pt x="65" y="93"/>
                        <a:pt x="65" y="93"/>
                      </a:cubicBezTo>
                      <a:cubicBezTo>
                        <a:pt x="64" y="92"/>
                        <a:pt x="64" y="92"/>
                        <a:pt x="64" y="92"/>
                      </a:cubicBezTo>
                      <a:cubicBezTo>
                        <a:pt x="64" y="93"/>
                        <a:pt x="64" y="93"/>
                        <a:pt x="64" y="93"/>
                      </a:cubicBezTo>
                      <a:cubicBezTo>
                        <a:pt x="64" y="95"/>
                        <a:pt x="64" y="95"/>
                        <a:pt x="64" y="95"/>
                      </a:cubicBezTo>
                      <a:cubicBezTo>
                        <a:pt x="65" y="95"/>
                        <a:pt x="65" y="95"/>
                        <a:pt x="65" y="95"/>
                      </a:cubicBezTo>
                      <a:cubicBezTo>
                        <a:pt x="67" y="96"/>
                        <a:pt x="67" y="96"/>
                        <a:pt x="67" y="96"/>
                      </a:cubicBezTo>
                      <a:cubicBezTo>
                        <a:pt x="68" y="97"/>
                        <a:pt x="68" y="97"/>
                        <a:pt x="68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70" y="97"/>
                        <a:pt x="70" y="97"/>
                        <a:pt x="70" y="97"/>
                      </a:cubicBezTo>
                      <a:cubicBezTo>
                        <a:pt x="69" y="98"/>
                        <a:pt x="69" y="98"/>
                        <a:pt x="69" y="98"/>
                      </a:cubicBezTo>
                      <a:cubicBezTo>
                        <a:pt x="69" y="99"/>
                        <a:pt x="69" y="99"/>
                        <a:pt x="69" y="99"/>
                      </a:cubicBezTo>
                      <a:cubicBezTo>
                        <a:pt x="67" y="99"/>
                        <a:pt x="67" y="99"/>
                        <a:pt x="67" y="99"/>
                      </a:cubicBezTo>
                      <a:cubicBezTo>
                        <a:pt x="67" y="98"/>
                        <a:pt x="67" y="98"/>
                        <a:pt x="67" y="98"/>
                      </a:cubicBezTo>
                      <a:cubicBezTo>
                        <a:pt x="64" y="98"/>
                        <a:pt x="64" y="98"/>
                        <a:pt x="64" y="98"/>
                      </a:cubicBezTo>
                      <a:cubicBezTo>
                        <a:pt x="62" y="100"/>
                        <a:pt x="62" y="100"/>
                        <a:pt x="62" y="100"/>
                      </a:cubicBezTo>
                      <a:cubicBezTo>
                        <a:pt x="63" y="100"/>
                        <a:pt x="63" y="100"/>
                        <a:pt x="63" y="100"/>
                      </a:cubicBezTo>
                      <a:cubicBezTo>
                        <a:pt x="65" y="100"/>
                        <a:pt x="65" y="100"/>
                        <a:pt x="65" y="100"/>
                      </a:cubicBezTo>
                      <a:cubicBezTo>
                        <a:pt x="65" y="102"/>
                        <a:pt x="65" y="102"/>
                        <a:pt x="65" y="102"/>
                      </a:cubicBezTo>
                      <a:cubicBezTo>
                        <a:pt x="66" y="103"/>
                        <a:pt x="66" y="103"/>
                        <a:pt x="66" y="103"/>
                      </a:cubicBezTo>
                      <a:cubicBezTo>
                        <a:pt x="66" y="104"/>
                        <a:pt x="66" y="104"/>
                        <a:pt x="66" y="104"/>
                      </a:cubicBez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3" y="104"/>
                        <a:pt x="63" y="104"/>
                        <a:pt x="63" y="104"/>
                      </a:cubicBezTo>
                      <a:cubicBezTo>
                        <a:pt x="63" y="105"/>
                        <a:pt x="63" y="105"/>
                        <a:pt x="63" y="105"/>
                      </a:cubicBezTo>
                      <a:cubicBezTo>
                        <a:pt x="62" y="106"/>
                        <a:pt x="62" y="106"/>
                        <a:pt x="62" y="106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108"/>
                        <a:pt x="63" y="108"/>
                        <a:pt x="63" y="108"/>
                      </a:cubicBezTo>
                      <a:cubicBezTo>
                        <a:pt x="63" y="108"/>
                        <a:pt x="63" y="108"/>
                        <a:pt x="63" y="108"/>
                      </a:cubicBezTo>
                      <a:cubicBezTo>
                        <a:pt x="62" y="107"/>
                        <a:pt x="62" y="107"/>
                        <a:pt x="62" y="107"/>
                      </a:cubicBezTo>
                      <a:cubicBezTo>
                        <a:pt x="61" y="107"/>
                        <a:pt x="61" y="107"/>
                        <a:pt x="61" y="107"/>
                      </a:cubicBezTo>
                      <a:cubicBezTo>
                        <a:pt x="61" y="109"/>
                        <a:pt x="61" y="109"/>
                        <a:pt x="61" y="109"/>
                      </a:cubicBezTo>
                      <a:cubicBezTo>
                        <a:pt x="63" y="109"/>
                        <a:pt x="63" y="109"/>
                        <a:pt x="63" y="109"/>
                      </a:cubicBezTo>
                      <a:cubicBezTo>
                        <a:pt x="63" y="110"/>
                        <a:pt x="63" y="110"/>
                        <a:pt x="63" y="110"/>
                      </a:cubicBezTo>
                      <a:cubicBezTo>
                        <a:pt x="63" y="111"/>
                        <a:pt x="63" y="111"/>
                        <a:pt x="63" y="111"/>
                      </a:cubicBezTo>
                      <a:cubicBezTo>
                        <a:pt x="61" y="110"/>
                        <a:pt x="61" y="110"/>
                        <a:pt x="61" y="110"/>
                      </a:cubicBezTo>
                      <a:cubicBezTo>
                        <a:pt x="60" y="110"/>
                        <a:pt x="60" y="110"/>
                        <a:pt x="60" y="110"/>
                      </a:cubicBezTo>
                      <a:cubicBezTo>
                        <a:pt x="60" y="112"/>
                        <a:pt x="60" y="112"/>
                        <a:pt x="60" y="112"/>
                      </a:cubicBezTo>
                      <a:cubicBezTo>
                        <a:pt x="60" y="112"/>
                        <a:pt x="60" y="112"/>
                        <a:pt x="60" y="112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1" y="116"/>
                        <a:pt x="61" y="116"/>
                        <a:pt x="61" y="116"/>
                      </a:cubicBezTo>
                      <a:cubicBezTo>
                        <a:pt x="62" y="115"/>
                        <a:pt x="62" y="115"/>
                        <a:pt x="62" y="115"/>
                      </a:cubicBezTo>
                      <a:cubicBezTo>
                        <a:pt x="63" y="114"/>
                        <a:pt x="63" y="114"/>
                        <a:pt x="63" y="114"/>
                      </a:cubicBezTo>
                      <a:cubicBezTo>
                        <a:pt x="64" y="114"/>
                        <a:pt x="64" y="114"/>
                        <a:pt x="64" y="114"/>
                      </a:cubicBezTo>
                      <a:cubicBezTo>
                        <a:pt x="63" y="116"/>
                        <a:pt x="63" y="116"/>
                        <a:pt x="63" y="116"/>
                      </a:cubicBezTo>
                      <a:cubicBezTo>
                        <a:pt x="62" y="116"/>
                        <a:pt x="62" y="116"/>
                        <a:pt x="62" y="116"/>
                      </a:cubicBezTo>
                      <a:cubicBezTo>
                        <a:pt x="60" y="118"/>
                        <a:pt x="60" y="118"/>
                        <a:pt x="60" y="118"/>
                      </a:cubicBezTo>
                      <a:cubicBezTo>
                        <a:pt x="59" y="118"/>
                        <a:pt x="59" y="118"/>
                        <a:pt x="59" y="118"/>
                      </a:cubicBezTo>
                      <a:cubicBezTo>
                        <a:pt x="58" y="119"/>
                        <a:pt x="58" y="119"/>
                        <a:pt x="58" y="119"/>
                      </a:cubicBezTo>
                      <a:cubicBezTo>
                        <a:pt x="57" y="120"/>
                        <a:pt x="57" y="120"/>
                        <a:pt x="57" y="120"/>
                      </a:cubicBezTo>
                      <a:cubicBezTo>
                        <a:pt x="56" y="120"/>
                        <a:pt x="56" y="120"/>
                        <a:pt x="56" y="120"/>
                      </a:cubicBezTo>
                      <a:cubicBezTo>
                        <a:pt x="55" y="121"/>
                        <a:pt x="55" y="121"/>
                        <a:pt x="55" y="121"/>
                      </a:cubicBezTo>
                      <a:cubicBezTo>
                        <a:pt x="56" y="122"/>
                        <a:pt x="56" y="122"/>
                        <a:pt x="56" y="122"/>
                      </a:cubicBezTo>
                      <a:cubicBezTo>
                        <a:pt x="56" y="123"/>
                        <a:pt x="56" y="123"/>
                        <a:pt x="56" y="123"/>
                      </a:cubicBezTo>
                      <a:cubicBezTo>
                        <a:pt x="53" y="123"/>
                        <a:pt x="53" y="123"/>
                        <a:pt x="53" y="123"/>
                      </a:cubicBezTo>
                      <a:cubicBezTo>
                        <a:pt x="52" y="125"/>
                        <a:pt x="52" y="125"/>
                        <a:pt x="52" y="125"/>
                      </a:cubicBezTo>
                      <a:cubicBezTo>
                        <a:pt x="52" y="126"/>
                        <a:pt x="52" y="126"/>
                        <a:pt x="52" y="126"/>
                      </a:cubicBezTo>
                      <a:cubicBezTo>
                        <a:pt x="54" y="126"/>
                        <a:pt x="54" y="126"/>
                        <a:pt x="54" y="126"/>
                      </a:cubicBezTo>
                      <a:cubicBezTo>
                        <a:pt x="53" y="127"/>
                        <a:pt x="53" y="127"/>
                        <a:pt x="53" y="127"/>
                      </a:cubicBezTo>
                      <a:cubicBezTo>
                        <a:pt x="52" y="129"/>
                        <a:pt x="52" y="129"/>
                        <a:pt x="52" y="129"/>
                      </a:cubicBezTo>
                      <a:cubicBezTo>
                        <a:pt x="50" y="129"/>
                        <a:pt x="50" y="129"/>
                        <a:pt x="50" y="129"/>
                      </a:cubicBezTo>
                      <a:cubicBezTo>
                        <a:pt x="50" y="127"/>
                        <a:pt x="50" y="127"/>
                        <a:pt x="50" y="127"/>
                      </a:cubicBezTo>
                      <a:cubicBezTo>
                        <a:pt x="49" y="126"/>
                        <a:pt x="49" y="126"/>
                        <a:pt x="49" y="126"/>
                      </a:cubicBezTo>
                      <a:cubicBezTo>
                        <a:pt x="49" y="127"/>
                        <a:pt x="49" y="127"/>
                        <a:pt x="49" y="127"/>
                      </a:cubicBezTo>
                      <a:cubicBezTo>
                        <a:pt x="47" y="127"/>
                        <a:pt x="47" y="127"/>
                        <a:pt x="47" y="127"/>
                      </a:cubicBezTo>
                      <a:cubicBezTo>
                        <a:pt x="48" y="129"/>
                        <a:pt x="48" y="129"/>
                        <a:pt x="48" y="129"/>
                      </a:cubicBezTo>
                      <a:cubicBezTo>
                        <a:pt x="47" y="129"/>
                        <a:pt x="47" y="129"/>
                        <a:pt x="47" y="129"/>
                      </a:cubicBezTo>
                      <a:cubicBezTo>
                        <a:pt x="47" y="130"/>
                        <a:pt x="47" y="130"/>
                        <a:pt x="47" y="130"/>
                      </a:cubicBezTo>
                      <a:cubicBezTo>
                        <a:pt x="47" y="131"/>
                        <a:pt x="47" y="131"/>
                        <a:pt x="47" y="131"/>
                      </a:cubicBezTo>
                      <a:cubicBezTo>
                        <a:pt x="45" y="131"/>
                        <a:pt x="45" y="131"/>
                        <a:pt x="45" y="131"/>
                      </a:cubicBezTo>
                      <a:cubicBezTo>
                        <a:pt x="44" y="132"/>
                        <a:pt x="44" y="132"/>
                        <a:pt x="44" y="132"/>
                      </a:cubicBezTo>
                      <a:cubicBezTo>
                        <a:pt x="44" y="134"/>
                        <a:pt x="44" y="134"/>
                        <a:pt x="44" y="134"/>
                      </a:cubicBezTo>
                      <a:cubicBezTo>
                        <a:pt x="42" y="135"/>
                        <a:pt x="42" y="135"/>
                        <a:pt x="42" y="135"/>
                      </a:cubicBezTo>
                      <a:cubicBezTo>
                        <a:pt x="43" y="136"/>
                        <a:pt x="43" y="136"/>
                        <a:pt x="43" y="136"/>
                      </a:cubicBezTo>
                      <a:cubicBezTo>
                        <a:pt x="42" y="138"/>
                        <a:pt x="42" y="138"/>
                        <a:pt x="42" y="138"/>
                      </a:cubicBezTo>
                      <a:cubicBezTo>
                        <a:pt x="41" y="139"/>
                        <a:pt x="41" y="139"/>
                        <a:pt x="41" y="139"/>
                      </a:cubicBezTo>
                      <a:cubicBezTo>
                        <a:pt x="40" y="140"/>
                        <a:pt x="40" y="140"/>
                        <a:pt x="40" y="140"/>
                      </a:cubicBezTo>
                      <a:cubicBezTo>
                        <a:pt x="40" y="141"/>
                        <a:pt x="40" y="141"/>
                        <a:pt x="40" y="141"/>
                      </a:cubicBezTo>
                      <a:cubicBezTo>
                        <a:pt x="42" y="140"/>
                        <a:pt x="42" y="140"/>
                        <a:pt x="42" y="140"/>
                      </a:cubicBezTo>
                      <a:cubicBezTo>
                        <a:pt x="43" y="140"/>
                        <a:pt x="43" y="140"/>
                        <a:pt x="43" y="140"/>
                      </a:cubicBezTo>
                      <a:cubicBezTo>
                        <a:pt x="43" y="141"/>
                        <a:pt x="43" y="141"/>
                        <a:pt x="43" y="141"/>
                      </a:cubicBezTo>
                      <a:cubicBezTo>
                        <a:pt x="42" y="142"/>
                        <a:pt x="42" y="142"/>
                        <a:pt x="42" y="142"/>
                      </a:cubicBezTo>
                      <a:cubicBezTo>
                        <a:pt x="41" y="144"/>
                        <a:pt x="41" y="144"/>
                        <a:pt x="41" y="144"/>
                      </a:cubicBezTo>
                      <a:cubicBezTo>
                        <a:pt x="42" y="145"/>
                        <a:pt x="42" y="145"/>
                        <a:pt x="42" y="145"/>
                      </a:cubicBezTo>
                      <a:cubicBezTo>
                        <a:pt x="45" y="144"/>
                        <a:pt x="45" y="144"/>
                        <a:pt x="45" y="144"/>
                      </a:cubicBezTo>
                      <a:cubicBezTo>
                        <a:pt x="47" y="144"/>
                        <a:pt x="47" y="144"/>
                        <a:pt x="47" y="144"/>
                      </a:cubicBezTo>
                      <a:cubicBezTo>
                        <a:pt x="50" y="141"/>
                        <a:pt x="50" y="141"/>
                        <a:pt x="50" y="141"/>
                      </a:cubicBezTo>
                      <a:cubicBezTo>
                        <a:pt x="50" y="139"/>
                        <a:pt x="50" y="139"/>
                        <a:pt x="50" y="139"/>
                      </a:cubicBezTo>
                      <a:cubicBezTo>
                        <a:pt x="48" y="140"/>
                        <a:pt x="48" y="140"/>
                        <a:pt x="48" y="140"/>
                      </a:cubicBezTo>
                      <a:cubicBezTo>
                        <a:pt x="49" y="138"/>
                        <a:pt x="49" y="138"/>
                        <a:pt x="49" y="138"/>
                      </a:cubicBezTo>
                      <a:cubicBezTo>
                        <a:pt x="50" y="136"/>
                        <a:pt x="50" y="136"/>
                        <a:pt x="50" y="136"/>
                      </a:cubicBezTo>
                      <a:cubicBezTo>
                        <a:pt x="50" y="136"/>
                        <a:pt x="50" y="136"/>
                        <a:pt x="50" y="136"/>
                      </a:cubicBezTo>
                      <a:cubicBezTo>
                        <a:pt x="51" y="135"/>
                        <a:pt x="51" y="135"/>
                        <a:pt x="51" y="135"/>
                      </a:cubicBezTo>
                      <a:cubicBezTo>
                        <a:pt x="53" y="135"/>
                        <a:pt x="53" y="135"/>
                        <a:pt x="53" y="135"/>
                      </a:cubicBezTo>
                      <a:cubicBezTo>
                        <a:pt x="54" y="135"/>
                        <a:pt x="54" y="135"/>
                        <a:pt x="54" y="135"/>
                      </a:cubicBezTo>
                      <a:cubicBezTo>
                        <a:pt x="51" y="137"/>
                        <a:pt x="51" y="137"/>
                        <a:pt x="51" y="137"/>
                      </a:cubicBezTo>
                      <a:cubicBezTo>
                        <a:pt x="51" y="138"/>
                        <a:pt x="51" y="138"/>
                        <a:pt x="51" y="138"/>
                      </a:cubicBezTo>
                      <a:cubicBezTo>
                        <a:pt x="54" y="139"/>
                        <a:pt x="54" y="139"/>
                        <a:pt x="54" y="139"/>
                      </a:cubicBezTo>
                      <a:cubicBezTo>
                        <a:pt x="53" y="140"/>
                        <a:pt x="53" y="140"/>
                        <a:pt x="53" y="140"/>
                      </a:cubicBezTo>
                      <a:cubicBezTo>
                        <a:pt x="52" y="140"/>
                        <a:pt x="52" y="140"/>
                        <a:pt x="52" y="140"/>
                      </a:cubicBezTo>
                      <a:cubicBezTo>
                        <a:pt x="49" y="143"/>
                        <a:pt x="49" y="143"/>
                        <a:pt x="49" y="143"/>
                      </a:cubicBezTo>
                      <a:cubicBezTo>
                        <a:pt x="51" y="144"/>
                        <a:pt x="51" y="144"/>
                        <a:pt x="51" y="144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0" y="147"/>
                        <a:pt x="50" y="147"/>
                        <a:pt x="50" y="147"/>
                      </a:cubicBezTo>
                      <a:cubicBezTo>
                        <a:pt x="48" y="147"/>
                        <a:pt x="48" y="147"/>
                        <a:pt x="48" y="147"/>
                      </a:cubicBezTo>
                      <a:cubicBezTo>
                        <a:pt x="47" y="146"/>
                        <a:pt x="47" y="146"/>
                        <a:pt x="47" y="146"/>
                      </a:cubicBezTo>
                      <a:cubicBezTo>
                        <a:pt x="45" y="146"/>
                        <a:pt x="45" y="146"/>
                        <a:pt x="45" y="146"/>
                      </a:cubicBezTo>
                      <a:cubicBezTo>
                        <a:pt x="44" y="147"/>
                        <a:pt x="44" y="147"/>
                        <a:pt x="44" y="147"/>
                      </a:cubicBezTo>
                      <a:cubicBezTo>
                        <a:pt x="43" y="148"/>
                        <a:pt x="43" y="148"/>
                        <a:pt x="43" y="148"/>
                      </a:cubicBezTo>
                      <a:cubicBezTo>
                        <a:pt x="42" y="149"/>
                        <a:pt x="42" y="149"/>
                        <a:pt x="42" y="149"/>
                      </a:cubicBezTo>
                      <a:cubicBezTo>
                        <a:pt x="40" y="150"/>
                        <a:pt x="40" y="150"/>
                        <a:pt x="40" y="150"/>
                      </a:cubicBezTo>
                      <a:cubicBezTo>
                        <a:pt x="42" y="149"/>
                        <a:pt x="42" y="149"/>
                        <a:pt x="42" y="149"/>
                      </a:cubicBezTo>
                      <a:cubicBezTo>
                        <a:pt x="42" y="148"/>
                        <a:pt x="42" y="148"/>
                        <a:pt x="42" y="148"/>
                      </a:cubicBezTo>
                      <a:cubicBezTo>
                        <a:pt x="41" y="147"/>
                        <a:pt x="41" y="147"/>
                        <a:pt x="41" y="147"/>
                      </a:cubicBezTo>
                      <a:cubicBezTo>
                        <a:pt x="41" y="145"/>
                        <a:pt x="41" y="145"/>
                        <a:pt x="41" y="145"/>
                      </a:cubicBezTo>
                      <a:cubicBezTo>
                        <a:pt x="40" y="143"/>
                        <a:pt x="40" y="143"/>
                        <a:pt x="40" y="143"/>
                      </a:cubicBezTo>
                      <a:cubicBezTo>
                        <a:pt x="39" y="143"/>
                        <a:pt x="39" y="143"/>
                        <a:pt x="39" y="143"/>
                      </a:cubicBezTo>
                      <a:cubicBezTo>
                        <a:pt x="38" y="144"/>
                        <a:pt x="38" y="144"/>
                        <a:pt x="38" y="144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8" y="145"/>
                        <a:pt x="38" y="145"/>
                        <a:pt x="38" y="145"/>
                      </a:cubicBezTo>
                      <a:cubicBezTo>
                        <a:pt x="36" y="148"/>
                        <a:pt x="36" y="148"/>
                        <a:pt x="36" y="148"/>
                      </a:cubicBezTo>
                      <a:cubicBezTo>
                        <a:pt x="34" y="147"/>
                        <a:pt x="34" y="147"/>
                        <a:pt x="34" y="147"/>
                      </a:cubicBezTo>
                      <a:cubicBezTo>
                        <a:pt x="33" y="147"/>
                        <a:pt x="33" y="147"/>
                        <a:pt x="33" y="147"/>
                      </a:cubicBezTo>
                      <a:cubicBezTo>
                        <a:pt x="31" y="149"/>
                        <a:pt x="31" y="149"/>
                        <a:pt x="31" y="149"/>
                      </a:cubicBezTo>
                      <a:cubicBezTo>
                        <a:pt x="32" y="149"/>
                        <a:pt x="32" y="149"/>
                        <a:pt x="32" y="149"/>
                      </a:cubicBezTo>
                      <a:cubicBezTo>
                        <a:pt x="33" y="149"/>
                        <a:pt x="33" y="149"/>
                        <a:pt x="33" y="149"/>
                      </a:cubicBezTo>
                      <a:cubicBezTo>
                        <a:pt x="34" y="149"/>
                        <a:pt x="34" y="149"/>
                        <a:pt x="34" y="149"/>
                      </a:cubicBezTo>
                      <a:cubicBezTo>
                        <a:pt x="32" y="150"/>
                        <a:pt x="32" y="150"/>
                        <a:pt x="32" y="150"/>
                      </a:cubicBezTo>
                      <a:cubicBezTo>
                        <a:pt x="31" y="152"/>
                        <a:pt x="31" y="152"/>
                        <a:pt x="31" y="152"/>
                      </a:cubicBezTo>
                      <a:cubicBezTo>
                        <a:pt x="30" y="151"/>
                        <a:pt x="30" y="151"/>
                        <a:pt x="30" y="151"/>
                      </a:cubicBezTo>
                      <a:cubicBezTo>
                        <a:pt x="29" y="151"/>
                        <a:pt x="29" y="151"/>
                        <a:pt x="29" y="151"/>
                      </a:cubicBezTo>
                      <a:cubicBezTo>
                        <a:pt x="28" y="152"/>
                        <a:pt x="28" y="152"/>
                        <a:pt x="28" y="152"/>
                      </a:cubicBezTo>
                      <a:cubicBezTo>
                        <a:pt x="30" y="153"/>
                        <a:pt x="30" y="153"/>
                        <a:pt x="30" y="153"/>
                      </a:cubicBezTo>
                      <a:cubicBezTo>
                        <a:pt x="33" y="153"/>
                        <a:pt x="33" y="153"/>
                        <a:pt x="33" y="153"/>
                      </a:cubicBezTo>
                      <a:cubicBezTo>
                        <a:pt x="32" y="154"/>
                        <a:pt x="32" y="154"/>
                        <a:pt x="32" y="154"/>
                      </a:cubicBezTo>
                      <a:cubicBezTo>
                        <a:pt x="33" y="155"/>
                        <a:pt x="33" y="155"/>
                        <a:pt x="33" y="155"/>
                      </a:cubicBezTo>
                      <a:cubicBezTo>
                        <a:pt x="33" y="156"/>
                        <a:pt x="33" y="156"/>
                        <a:pt x="33" y="156"/>
                      </a:cubicBezTo>
                      <a:cubicBezTo>
                        <a:pt x="31" y="155"/>
                        <a:pt x="31" y="155"/>
                        <a:pt x="31" y="155"/>
                      </a:cubicBezTo>
                      <a:cubicBezTo>
                        <a:pt x="31" y="154"/>
                        <a:pt x="31" y="154"/>
                        <a:pt x="31" y="154"/>
                      </a:cubicBezTo>
                      <a:cubicBezTo>
                        <a:pt x="29" y="154"/>
                        <a:pt x="29" y="154"/>
                        <a:pt x="29" y="154"/>
                      </a:cubicBezTo>
                      <a:cubicBezTo>
                        <a:pt x="27" y="152"/>
                        <a:pt x="27" y="152"/>
                        <a:pt x="27" y="152"/>
                      </a:cubicBezTo>
                      <a:cubicBezTo>
                        <a:pt x="27" y="151"/>
                        <a:pt x="27" y="151"/>
                        <a:pt x="27" y="151"/>
                      </a:cubicBezTo>
                      <a:cubicBezTo>
                        <a:pt x="26" y="151"/>
                        <a:pt x="26" y="151"/>
                        <a:pt x="26" y="151"/>
                      </a:cubicBezTo>
                      <a:cubicBezTo>
                        <a:pt x="26" y="153"/>
                        <a:pt x="26" y="153"/>
                        <a:pt x="26" y="153"/>
                      </a:cubicBezTo>
                      <a:cubicBezTo>
                        <a:pt x="28" y="155"/>
                        <a:pt x="28" y="155"/>
                        <a:pt x="28" y="155"/>
                      </a:cubicBezTo>
                      <a:cubicBezTo>
                        <a:pt x="30" y="156"/>
                        <a:pt x="30" y="156"/>
                        <a:pt x="30" y="156"/>
                      </a:cubicBezTo>
                      <a:cubicBezTo>
                        <a:pt x="31" y="157"/>
                        <a:pt x="31" y="157"/>
                        <a:pt x="31" y="157"/>
                      </a:cubicBezTo>
                      <a:cubicBezTo>
                        <a:pt x="32" y="157"/>
                        <a:pt x="32" y="157"/>
                        <a:pt x="32" y="157"/>
                      </a:cubicBezTo>
                      <a:cubicBezTo>
                        <a:pt x="30" y="158"/>
                        <a:pt x="30" y="158"/>
                        <a:pt x="30" y="158"/>
                      </a:cubicBezTo>
                      <a:cubicBezTo>
                        <a:pt x="28" y="157"/>
                        <a:pt x="28" y="157"/>
                        <a:pt x="28" y="157"/>
                      </a:cubicBezTo>
                      <a:cubicBezTo>
                        <a:pt x="25" y="154"/>
                        <a:pt x="25" y="154"/>
                        <a:pt x="25" y="154"/>
                      </a:cubicBezTo>
                      <a:cubicBezTo>
                        <a:pt x="24" y="154"/>
                        <a:pt x="24" y="154"/>
                        <a:pt x="24" y="154"/>
                      </a:cubicBezTo>
                      <a:cubicBezTo>
                        <a:pt x="23" y="153"/>
                        <a:pt x="23" y="153"/>
                        <a:pt x="23" y="153"/>
                      </a:cubicBezTo>
                      <a:cubicBezTo>
                        <a:pt x="21" y="153"/>
                        <a:pt x="21" y="153"/>
                        <a:pt x="21" y="153"/>
                      </a:cubicBezTo>
                      <a:cubicBezTo>
                        <a:pt x="20" y="152"/>
                        <a:pt x="20" y="152"/>
                        <a:pt x="20" y="152"/>
                      </a:cubicBezTo>
                      <a:cubicBezTo>
                        <a:pt x="19" y="153"/>
                        <a:pt x="19" y="153"/>
                        <a:pt x="19" y="153"/>
                      </a:cubicBezTo>
                      <a:cubicBezTo>
                        <a:pt x="19" y="155"/>
                        <a:pt x="19" y="155"/>
                        <a:pt x="19" y="155"/>
                      </a:cubicBezTo>
                      <a:cubicBezTo>
                        <a:pt x="18" y="156"/>
                        <a:pt x="18" y="156"/>
                        <a:pt x="18" y="156"/>
                      </a:cubicBezTo>
                      <a:cubicBezTo>
                        <a:pt x="20" y="157"/>
                        <a:pt x="20" y="157"/>
                        <a:pt x="20" y="157"/>
                      </a:cubicBezTo>
                      <a:cubicBezTo>
                        <a:pt x="23" y="156"/>
                        <a:pt x="23" y="156"/>
                        <a:pt x="23" y="156"/>
                      </a:cubicBezTo>
                      <a:cubicBezTo>
                        <a:pt x="23" y="157"/>
                        <a:pt x="23" y="157"/>
                        <a:pt x="23" y="157"/>
                      </a:cubicBezTo>
                      <a:cubicBezTo>
                        <a:pt x="22" y="158"/>
                        <a:pt x="22" y="158"/>
                        <a:pt x="22" y="158"/>
                      </a:cubicBezTo>
                      <a:cubicBezTo>
                        <a:pt x="23" y="158"/>
                        <a:pt x="23" y="158"/>
                        <a:pt x="23" y="158"/>
                      </a:cubicBezTo>
                      <a:cubicBezTo>
                        <a:pt x="25" y="157"/>
                        <a:pt x="25" y="157"/>
                        <a:pt x="25" y="157"/>
                      </a:cubicBezTo>
                      <a:cubicBezTo>
                        <a:pt x="26" y="157"/>
                        <a:pt x="26" y="157"/>
                        <a:pt x="26" y="157"/>
                      </a:cubicBezTo>
                      <a:cubicBezTo>
                        <a:pt x="26" y="158"/>
                        <a:pt x="26" y="158"/>
                        <a:pt x="26" y="158"/>
                      </a:cubicBezTo>
                      <a:cubicBezTo>
                        <a:pt x="23" y="160"/>
                        <a:pt x="23" y="160"/>
                        <a:pt x="23" y="160"/>
                      </a:cubicBezTo>
                      <a:cubicBezTo>
                        <a:pt x="22" y="161"/>
                        <a:pt x="22" y="161"/>
                        <a:pt x="22" y="161"/>
                      </a:cubicBezTo>
                      <a:cubicBezTo>
                        <a:pt x="20" y="161"/>
                        <a:pt x="20" y="161"/>
                        <a:pt x="20" y="161"/>
                      </a:cubicBezTo>
                      <a:cubicBezTo>
                        <a:pt x="18" y="158"/>
                        <a:pt x="18" y="158"/>
                        <a:pt x="18" y="158"/>
                      </a:cubicBezTo>
                      <a:cubicBezTo>
                        <a:pt x="17" y="158"/>
                        <a:pt x="17" y="158"/>
                        <a:pt x="17" y="158"/>
                      </a:cubicBezTo>
                      <a:cubicBezTo>
                        <a:pt x="16" y="159"/>
                        <a:pt x="16" y="159"/>
                        <a:pt x="16" y="159"/>
                      </a:cubicBezTo>
                      <a:cubicBezTo>
                        <a:pt x="15" y="158"/>
                        <a:pt x="15" y="158"/>
                        <a:pt x="15" y="158"/>
                      </a:cubicBezTo>
                      <a:cubicBezTo>
                        <a:pt x="14" y="159"/>
                        <a:pt x="14" y="159"/>
                        <a:pt x="14" y="159"/>
                      </a:cubicBezTo>
                      <a:cubicBezTo>
                        <a:pt x="13" y="158"/>
                        <a:pt x="13" y="158"/>
                        <a:pt x="13" y="158"/>
                      </a:cubicBezTo>
                      <a:cubicBezTo>
                        <a:pt x="12" y="159"/>
                        <a:pt x="12" y="159"/>
                        <a:pt x="12" y="159"/>
                      </a:cubicBezTo>
                      <a:cubicBezTo>
                        <a:pt x="12" y="160"/>
                        <a:pt x="12" y="160"/>
                        <a:pt x="12" y="160"/>
                      </a:cubicBezTo>
                      <a:cubicBezTo>
                        <a:pt x="15" y="160"/>
                        <a:pt x="15" y="160"/>
                        <a:pt x="15" y="160"/>
                      </a:cubicBezTo>
                      <a:cubicBezTo>
                        <a:pt x="17" y="162"/>
                        <a:pt x="17" y="162"/>
                        <a:pt x="17" y="162"/>
                      </a:cubicBezTo>
                      <a:cubicBezTo>
                        <a:pt x="19" y="163"/>
                        <a:pt x="19" y="163"/>
                        <a:pt x="19" y="163"/>
                      </a:cubicBezTo>
                      <a:cubicBezTo>
                        <a:pt x="19" y="164"/>
                        <a:pt x="19" y="164"/>
                        <a:pt x="19" y="164"/>
                      </a:cubicBezTo>
                      <a:cubicBezTo>
                        <a:pt x="19" y="166"/>
                        <a:pt x="19" y="166"/>
                        <a:pt x="19" y="166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17" y="166"/>
                        <a:pt x="17" y="166"/>
                        <a:pt x="17" y="166"/>
                      </a:cubicBezTo>
                      <a:cubicBezTo>
                        <a:pt x="17" y="163"/>
                        <a:pt x="17" y="163"/>
                        <a:pt x="17" y="163"/>
                      </a:cubicBezTo>
                      <a:cubicBezTo>
                        <a:pt x="16" y="163"/>
                        <a:pt x="16" y="163"/>
                        <a:pt x="16" y="163"/>
                      </a:cubicBezTo>
                      <a:cubicBezTo>
                        <a:pt x="14" y="163"/>
                        <a:pt x="14" y="163"/>
                        <a:pt x="14" y="163"/>
                      </a:cubicBezTo>
                      <a:cubicBezTo>
                        <a:pt x="15" y="164"/>
                        <a:pt x="15" y="164"/>
                        <a:pt x="15" y="164"/>
                      </a:cubicBezTo>
                      <a:cubicBezTo>
                        <a:pt x="14" y="165"/>
                        <a:pt x="14" y="165"/>
                        <a:pt x="14" y="165"/>
                      </a:cubicBezTo>
                      <a:cubicBezTo>
                        <a:pt x="12" y="164"/>
                        <a:pt x="12" y="164"/>
                        <a:pt x="12" y="164"/>
                      </a:cubicBezTo>
                      <a:cubicBezTo>
                        <a:pt x="10" y="166"/>
                        <a:pt x="10" y="166"/>
                        <a:pt x="10" y="166"/>
                      </a:cubicBezTo>
                      <a:cubicBezTo>
                        <a:pt x="12" y="167"/>
                        <a:pt x="12" y="167"/>
                        <a:pt x="12" y="167"/>
                      </a:cubicBezTo>
                      <a:cubicBezTo>
                        <a:pt x="11" y="167"/>
                        <a:pt x="11" y="167"/>
                        <a:pt x="11" y="167"/>
                      </a:cubicBezTo>
                      <a:cubicBezTo>
                        <a:pt x="10" y="168"/>
                        <a:pt x="10" y="168"/>
                        <a:pt x="10" y="168"/>
                      </a:cubicBezTo>
                      <a:cubicBezTo>
                        <a:pt x="9" y="166"/>
                        <a:pt x="9" y="166"/>
                        <a:pt x="9" y="166"/>
                      </a:cubicBezTo>
                      <a:cubicBezTo>
                        <a:pt x="6" y="166"/>
                        <a:pt x="6" y="166"/>
                        <a:pt x="6" y="166"/>
                      </a:cubicBezTo>
                      <a:cubicBezTo>
                        <a:pt x="7" y="168"/>
                        <a:pt x="7" y="168"/>
                        <a:pt x="7" y="168"/>
                      </a:cubicBezTo>
                      <a:cubicBezTo>
                        <a:pt x="6" y="168"/>
                        <a:pt x="6" y="168"/>
                        <a:pt x="6" y="168"/>
                      </a:cubicBezTo>
                      <a:cubicBezTo>
                        <a:pt x="6" y="167"/>
                        <a:pt x="6" y="167"/>
                        <a:pt x="6" y="167"/>
                      </a:cubicBezTo>
                      <a:cubicBezTo>
                        <a:pt x="4" y="165"/>
                        <a:pt x="4" y="165"/>
                        <a:pt x="4" y="165"/>
                      </a:cubicBezTo>
                      <a:cubicBezTo>
                        <a:pt x="3" y="165"/>
                        <a:pt x="3" y="165"/>
                        <a:pt x="3" y="165"/>
                      </a:cubicBezTo>
                      <a:cubicBezTo>
                        <a:pt x="3" y="166"/>
                        <a:pt x="3" y="166"/>
                        <a:pt x="3" y="166"/>
                      </a:cubicBezTo>
                      <a:cubicBezTo>
                        <a:pt x="5" y="168"/>
                        <a:pt x="5" y="168"/>
                        <a:pt x="5" y="168"/>
                      </a:cubicBezTo>
                      <a:cubicBezTo>
                        <a:pt x="4" y="169"/>
                        <a:pt x="4" y="169"/>
                        <a:pt x="4" y="169"/>
                      </a:cubicBezTo>
                      <a:cubicBezTo>
                        <a:pt x="5" y="170"/>
                        <a:pt x="5" y="170"/>
                        <a:pt x="5" y="170"/>
                      </a:cubicBezTo>
                      <a:cubicBezTo>
                        <a:pt x="7" y="169"/>
                        <a:pt x="7" y="169"/>
                        <a:pt x="7" y="169"/>
                      </a:cubicBezTo>
                      <a:cubicBezTo>
                        <a:pt x="10" y="170"/>
                        <a:pt x="10" y="170"/>
                        <a:pt x="10" y="170"/>
                      </a:cubicBezTo>
                      <a:cubicBezTo>
                        <a:pt x="12" y="171"/>
                        <a:pt x="12" y="171"/>
                        <a:pt x="12" y="171"/>
                      </a:cubicBezTo>
                      <a:cubicBezTo>
                        <a:pt x="15" y="171"/>
                        <a:pt x="15" y="171"/>
                        <a:pt x="15" y="171"/>
                      </a:cubicBezTo>
                      <a:cubicBezTo>
                        <a:pt x="16" y="171"/>
                        <a:pt x="16" y="171"/>
                        <a:pt x="16" y="171"/>
                      </a:cubicBezTo>
                      <a:cubicBezTo>
                        <a:pt x="17" y="171"/>
                        <a:pt x="17" y="171"/>
                        <a:pt x="17" y="171"/>
                      </a:cubicBezTo>
                      <a:cubicBezTo>
                        <a:pt x="15" y="172"/>
                        <a:pt x="15" y="172"/>
                        <a:pt x="15" y="172"/>
                      </a:cubicBezTo>
                      <a:cubicBezTo>
                        <a:pt x="13" y="172"/>
                        <a:pt x="13" y="172"/>
                        <a:pt x="13" y="172"/>
                      </a:cubicBezTo>
                      <a:cubicBezTo>
                        <a:pt x="12" y="173"/>
                        <a:pt x="12" y="173"/>
                        <a:pt x="12" y="173"/>
                      </a:cubicBezTo>
                      <a:cubicBezTo>
                        <a:pt x="9" y="171"/>
                        <a:pt x="9" y="171"/>
                        <a:pt x="9" y="171"/>
                      </a:cubicBezTo>
                      <a:cubicBezTo>
                        <a:pt x="7" y="171"/>
                        <a:pt x="7" y="171"/>
                        <a:pt x="7" y="171"/>
                      </a:cubicBezTo>
                      <a:cubicBezTo>
                        <a:pt x="6" y="171"/>
                        <a:pt x="6" y="171"/>
                        <a:pt x="6" y="171"/>
                      </a:cubicBezTo>
                      <a:cubicBezTo>
                        <a:pt x="5" y="172"/>
                        <a:pt x="5" y="172"/>
                        <a:pt x="5" y="172"/>
                      </a:cubicBezTo>
                      <a:cubicBezTo>
                        <a:pt x="3" y="173"/>
                        <a:pt x="3" y="173"/>
                        <a:pt x="3" y="173"/>
                      </a:cubicBezTo>
                      <a:cubicBezTo>
                        <a:pt x="2" y="174"/>
                        <a:pt x="2" y="174"/>
                        <a:pt x="2" y="174"/>
                      </a:cubicBezTo>
                      <a:cubicBezTo>
                        <a:pt x="6" y="175"/>
                        <a:pt x="6" y="175"/>
                        <a:pt x="6" y="175"/>
                      </a:cubicBezTo>
                      <a:cubicBezTo>
                        <a:pt x="4" y="176"/>
                        <a:pt x="4" y="176"/>
                        <a:pt x="4" y="176"/>
                      </a:cubicBezTo>
                      <a:cubicBezTo>
                        <a:pt x="6" y="177"/>
                        <a:pt x="6" y="177"/>
                        <a:pt x="6" y="177"/>
                      </a:cubicBezTo>
                      <a:cubicBezTo>
                        <a:pt x="7" y="176"/>
                        <a:pt x="7" y="176"/>
                        <a:pt x="7" y="176"/>
                      </a:cubicBezTo>
                      <a:cubicBezTo>
                        <a:pt x="9" y="176"/>
                        <a:pt x="9" y="176"/>
                        <a:pt x="9" y="176"/>
                      </a:cubicBezTo>
                      <a:cubicBezTo>
                        <a:pt x="8" y="177"/>
                        <a:pt x="8" y="177"/>
                        <a:pt x="8" y="177"/>
                      </a:cubicBezTo>
                      <a:cubicBezTo>
                        <a:pt x="5" y="177"/>
                        <a:pt x="5" y="177"/>
                        <a:pt x="5" y="177"/>
                      </a:cubicBezTo>
                      <a:cubicBezTo>
                        <a:pt x="4" y="178"/>
                        <a:pt x="4" y="178"/>
                        <a:pt x="4" y="178"/>
                      </a:cubicBezTo>
                      <a:cubicBezTo>
                        <a:pt x="3" y="177"/>
                        <a:pt x="3" y="177"/>
                        <a:pt x="3" y="177"/>
                      </a:cubicBezTo>
                      <a:cubicBezTo>
                        <a:pt x="3" y="178"/>
                        <a:pt x="3" y="178"/>
                        <a:pt x="3" y="178"/>
                      </a:cubicBezTo>
                      <a:cubicBezTo>
                        <a:pt x="5" y="179"/>
                        <a:pt x="5" y="179"/>
                        <a:pt x="5" y="179"/>
                      </a:cubicBezTo>
                      <a:cubicBezTo>
                        <a:pt x="6" y="179"/>
                        <a:pt x="6" y="179"/>
                        <a:pt x="6" y="179"/>
                      </a:cubicBezTo>
                      <a:cubicBezTo>
                        <a:pt x="4" y="180"/>
                        <a:pt x="4" y="180"/>
                        <a:pt x="4" y="180"/>
                      </a:cubicBezTo>
                      <a:cubicBezTo>
                        <a:pt x="3" y="180"/>
                        <a:pt x="3" y="180"/>
                        <a:pt x="3" y="180"/>
                      </a:cubicBezTo>
                      <a:cubicBezTo>
                        <a:pt x="3" y="181"/>
                        <a:pt x="3" y="181"/>
                        <a:pt x="3" y="181"/>
                      </a:cubicBezTo>
                      <a:cubicBezTo>
                        <a:pt x="4" y="181"/>
                        <a:pt x="4" y="181"/>
                        <a:pt x="4" y="181"/>
                      </a:cubicBezTo>
                      <a:cubicBezTo>
                        <a:pt x="5" y="182"/>
                        <a:pt x="5" y="182"/>
                        <a:pt x="5" y="182"/>
                      </a:cubicBezTo>
                      <a:cubicBezTo>
                        <a:pt x="7" y="182"/>
                        <a:pt x="7" y="182"/>
                        <a:pt x="7" y="182"/>
                      </a:cubicBezTo>
                      <a:cubicBezTo>
                        <a:pt x="8" y="181"/>
                        <a:pt x="8" y="181"/>
                        <a:pt x="8" y="181"/>
                      </a:cubicBezTo>
                      <a:cubicBezTo>
                        <a:pt x="11" y="181"/>
                        <a:pt x="11" y="181"/>
                        <a:pt x="11" y="181"/>
                      </a:cubicBezTo>
                      <a:cubicBezTo>
                        <a:pt x="13" y="182"/>
                        <a:pt x="13" y="182"/>
                        <a:pt x="13" y="182"/>
                      </a:cubicBezTo>
                      <a:cubicBezTo>
                        <a:pt x="14" y="182"/>
                        <a:pt x="14" y="182"/>
                        <a:pt x="14" y="182"/>
                      </a:cubicBezTo>
                      <a:cubicBezTo>
                        <a:pt x="15" y="181"/>
                        <a:pt x="15" y="181"/>
                        <a:pt x="15" y="181"/>
                      </a:cubicBezTo>
                      <a:cubicBezTo>
                        <a:pt x="15" y="180"/>
                        <a:pt x="15" y="180"/>
                        <a:pt x="15" y="180"/>
                      </a:cubicBezTo>
                      <a:cubicBezTo>
                        <a:pt x="17" y="180"/>
                        <a:pt x="17" y="180"/>
                        <a:pt x="17" y="180"/>
                      </a:cubicBezTo>
                      <a:cubicBezTo>
                        <a:pt x="17" y="181"/>
                        <a:pt x="17" y="181"/>
                        <a:pt x="17" y="181"/>
                      </a:cubicBezTo>
                      <a:cubicBezTo>
                        <a:pt x="19" y="181"/>
                        <a:pt x="19" y="181"/>
                        <a:pt x="19" y="181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1" y="180"/>
                        <a:pt x="21" y="180"/>
                        <a:pt x="21" y="180"/>
                      </a:cubicBezTo>
                      <a:cubicBezTo>
                        <a:pt x="20" y="181"/>
                        <a:pt x="20" y="181"/>
                        <a:pt x="20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3" y="181"/>
                        <a:pt x="23" y="181"/>
                        <a:pt x="23" y="181"/>
                      </a:cubicBezTo>
                      <a:cubicBezTo>
                        <a:pt x="23" y="179"/>
                        <a:pt x="23" y="179"/>
                        <a:pt x="23" y="179"/>
                      </a:cubicBezTo>
                      <a:cubicBezTo>
                        <a:pt x="24" y="177"/>
                        <a:pt x="24" y="177"/>
                        <a:pt x="24" y="177"/>
                      </a:cubicBezTo>
                      <a:cubicBezTo>
                        <a:pt x="24" y="179"/>
                        <a:pt x="24" y="179"/>
                        <a:pt x="24" y="179"/>
                      </a:cubicBezTo>
                      <a:cubicBezTo>
                        <a:pt x="25" y="181"/>
                        <a:pt x="25" y="181"/>
                        <a:pt x="25" y="181"/>
                      </a:cubicBezTo>
                      <a:cubicBezTo>
                        <a:pt x="24" y="182"/>
                        <a:pt x="24" y="182"/>
                        <a:pt x="24" y="182"/>
                      </a:cubicBezTo>
                      <a:cubicBezTo>
                        <a:pt x="21" y="183"/>
                        <a:pt x="21" y="183"/>
                        <a:pt x="21" y="183"/>
                      </a:cubicBezTo>
                      <a:cubicBezTo>
                        <a:pt x="20" y="184"/>
                        <a:pt x="20" y="184"/>
                        <a:pt x="20" y="184"/>
                      </a:cubicBezTo>
                      <a:cubicBezTo>
                        <a:pt x="21" y="184"/>
                        <a:pt x="21" y="184"/>
                        <a:pt x="21" y="184"/>
                      </a:cubicBezTo>
                      <a:cubicBezTo>
                        <a:pt x="20" y="186"/>
                        <a:pt x="20" y="186"/>
                        <a:pt x="20" y="186"/>
                      </a:cubicBezTo>
                      <a:cubicBezTo>
                        <a:pt x="18" y="186"/>
                        <a:pt x="18" y="186"/>
                        <a:pt x="18" y="186"/>
                      </a:cubicBezTo>
                      <a:cubicBezTo>
                        <a:pt x="18" y="185"/>
                        <a:pt x="18" y="185"/>
                        <a:pt x="18" y="185"/>
                      </a:cubicBezTo>
                      <a:cubicBezTo>
                        <a:pt x="19" y="184"/>
                        <a:pt x="19" y="184"/>
                        <a:pt x="19" y="184"/>
                      </a:cubicBezTo>
                      <a:cubicBezTo>
                        <a:pt x="19" y="182"/>
                        <a:pt x="19" y="182"/>
                        <a:pt x="19" y="182"/>
                      </a:cubicBezTo>
                      <a:cubicBezTo>
                        <a:pt x="17" y="182"/>
                        <a:pt x="17" y="182"/>
                        <a:pt x="17" y="182"/>
                      </a:cubicBezTo>
                      <a:cubicBezTo>
                        <a:pt x="15" y="184"/>
                        <a:pt x="15" y="184"/>
                        <a:pt x="15" y="184"/>
                      </a:cubicBezTo>
                      <a:cubicBezTo>
                        <a:pt x="14" y="185"/>
                        <a:pt x="14" y="185"/>
                        <a:pt x="14" y="185"/>
                      </a:cubicBezTo>
                      <a:cubicBezTo>
                        <a:pt x="13" y="183"/>
                        <a:pt x="13" y="183"/>
                        <a:pt x="13" y="183"/>
                      </a:cubicBezTo>
                      <a:cubicBezTo>
                        <a:pt x="11" y="183"/>
                        <a:pt x="11" y="183"/>
                        <a:pt x="11" y="183"/>
                      </a:cubicBezTo>
                      <a:cubicBezTo>
                        <a:pt x="9" y="183"/>
                        <a:pt x="9" y="183"/>
                        <a:pt x="9" y="183"/>
                      </a:cubicBezTo>
                      <a:cubicBezTo>
                        <a:pt x="8" y="183"/>
                        <a:pt x="8" y="183"/>
                        <a:pt x="8" y="183"/>
                      </a:cubicBezTo>
                      <a:cubicBezTo>
                        <a:pt x="6" y="184"/>
                        <a:pt x="6" y="184"/>
                        <a:pt x="6" y="184"/>
                      </a:cubicBezTo>
                      <a:cubicBezTo>
                        <a:pt x="5" y="184"/>
                        <a:pt x="5" y="184"/>
                        <a:pt x="5" y="184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4" y="185"/>
                        <a:pt x="4" y="185"/>
                        <a:pt x="4" y="185"/>
                      </a:cubicBezTo>
                      <a:cubicBezTo>
                        <a:pt x="3" y="186"/>
                        <a:pt x="3" y="186"/>
                        <a:pt x="3" y="186"/>
                      </a:cubicBezTo>
                      <a:cubicBezTo>
                        <a:pt x="4" y="187"/>
                        <a:pt x="4" y="187"/>
                        <a:pt x="4" y="187"/>
                      </a:cubicBezTo>
                      <a:cubicBezTo>
                        <a:pt x="5" y="187"/>
                        <a:pt x="5" y="187"/>
                        <a:pt x="5" y="187"/>
                      </a:cubicBezTo>
                      <a:cubicBezTo>
                        <a:pt x="6" y="186"/>
                        <a:pt x="6" y="186"/>
                        <a:pt x="6" y="186"/>
                      </a:cubicBezTo>
                      <a:cubicBezTo>
                        <a:pt x="7" y="186"/>
                        <a:pt x="7" y="186"/>
                        <a:pt x="7" y="186"/>
                      </a:cubicBezTo>
                      <a:cubicBezTo>
                        <a:pt x="6" y="187"/>
                        <a:pt x="6" y="187"/>
                        <a:pt x="6" y="187"/>
                      </a:cubicBezTo>
                      <a:cubicBezTo>
                        <a:pt x="6" y="189"/>
                        <a:pt x="6" y="189"/>
                        <a:pt x="6" y="189"/>
                      </a:cubicBezTo>
                      <a:cubicBezTo>
                        <a:pt x="5" y="190"/>
                        <a:pt x="5" y="190"/>
                        <a:pt x="5" y="190"/>
                      </a:cubicBezTo>
                      <a:cubicBezTo>
                        <a:pt x="4" y="189"/>
                        <a:pt x="4" y="189"/>
                        <a:pt x="4" y="189"/>
                      </a:cubicBezTo>
                      <a:cubicBezTo>
                        <a:pt x="5" y="191"/>
                        <a:pt x="5" y="191"/>
                        <a:pt x="5" y="191"/>
                      </a:cubicBezTo>
                      <a:cubicBezTo>
                        <a:pt x="6" y="192"/>
                        <a:pt x="6" y="192"/>
                        <a:pt x="6" y="192"/>
                      </a:cubicBezTo>
                      <a:cubicBezTo>
                        <a:pt x="8" y="189"/>
                        <a:pt x="8" y="189"/>
                        <a:pt x="8" y="189"/>
                      </a:cubicBezTo>
                      <a:cubicBezTo>
                        <a:pt x="10" y="190"/>
                        <a:pt x="10" y="190"/>
                        <a:pt x="10" y="190"/>
                      </a:cubicBezTo>
                      <a:cubicBezTo>
                        <a:pt x="9" y="190"/>
                        <a:pt x="9" y="190"/>
                        <a:pt x="9" y="190"/>
                      </a:cubicBezTo>
                      <a:cubicBezTo>
                        <a:pt x="10" y="192"/>
                        <a:pt x="10" y="192"/>
                        <a:pt x="10" y="192"/>
                      </a:cubicBezTo>
                      <a:cubicBezTo>
                        <a:pt x="7" y="193"/>
                        <a:pt x="7" y="193"/>
                        <a:pt x="7" y="193"/>
                      </a:cubicBezTo>
                      <a:cubicBezTo>
                        <a:pt x="8" y="194"/>
                        <a:pt x="8" y="194"/>
                        <a:pt x="8" y="194"/>
                      </a:cubicBezTo>
                      <a:cubicBezTo>
                        <a:pt x="9" y="194"/>
                        <a:pt x="9" y="194"/>
                        <a:pt x="9" y="194"/>
                      </a:cubicBezTo>
                      <a:cubicBezTo>
                        <a:pt x="8" y="195"/>
                        <a:pt x="8" y="195"/>
                        <a:pt x="8" y="195"/>
                      </a:cubicBezTo>
                      <a:cubicBezTo>
                        <a:pt x="9" y="197"/>
                        <a:pt x="9" y="197"/>
                        <a:pt x="9" y="197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11" y="197"/>
                        <a:pt x="11" y="197"/>
                        <a:pt x="11" y="197"/>
                      </a:cubicBezTo>
                      <a:cubicBezTo>
                        <a:pt x="12" y="196"/>
                        <a:pt x="12" y="196"/>
                        <a:pt x="12" y="196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6" y="192"/>
                        <a:pt x="16" y="192"/>
                        <a:pt x="16" y="192"/>
                      </a:cubicBezTo>
                      <a:cubicBezTo>
                        <a:pt x="18" y="193"/>
                        <a:pt x="18" y="193"/>
                        <a:pt x="18" y="193"/>
                      </a:cubicBezTo>
                      <a:cubicBezTo>
                        <a:pt x="19" y="192"/>
                        <a:pt x="19" y="192"/>
                        <a:pt x="19" y="192"/>
                      </a:cubicBezTo>
                      <a:cubicBezTo>
                        <a:pt x="18" y="193"/>
                        <a:pt x="18" y="193"/>
                        <a:pt x="18" y="193"/>
                      </a:cubicBezTo>
                      <a:cubicBezTo>
                        <a:pt x="16" y="194"/>
                        <a:pt x="16" y="194"/>
                        <a:pt x="16" y="194"/>
                      </a:cubicBezTo>
                      <a:cubicBezTo>
                        <a:pt x="16" y="197"/>
                        <a:pt x="16" y="197"/>
                        <a:pt x="16" y="197"/>
                      </a:cubicBezTo>
                      <a:cubicBezTo>
                        <a:pt x="17" y="198"/>
                        <a:pt x="17" y="198"/>
                        <a:pt x="17" y="198"/>
                      </a:cubicBezTo>
                      <a:cubicBezTo>
                        <a:pt x="16" y="197"/>
                        <a:pt x="16" y="197"/>
                        <a:pt x="16" y="197"/>
                      </a:cubicBezTo>
                      <a:cubicBezTo>
                        <a:pt x="15" y="195"/>
                        <a:pt x="15" y="195"/>
                        <a:pt x="15" y="195"/>
                      </a:cubicBezTo>
                      <a:cubicBezTo>
                        <a:pt x="14" y="195"/>
                        <a:pt x="14" y="195"/>
                        <a:pt x="14" y="195"/>
                      </a:cubicBezTo>
                      <a:cubicBezTo>
                        <a:pt x="13" y="197"/>
                        <a:pt x="13" y="197"/>
                        <a:pt x="13" y="197"/>
                      </a:cubicBezTo>
                      <a:cubicBezTo>
                        <a:pt x="12" y="197"/>
                        <a:pt x="12" y="197"/>
                        <a:pt x="12" y="197"/>
                      </a:cubicBezTo>
                      <a:cubicBezTo>
                        <a:pt x="14" y="198"/>
                        <a:pt x="14" y="198"/>
                        <a:pt x="14" y="198"/>
                      </a:cubicBezTo>
                      <a:cubicBezTo>
                        <a:pt x="12" y="200"/>
                        <a:pt x="12" y="200"/>
                        <a:pt x="12" y="200"/>
                      </a:cubicBezTo>
                      <a:cubicBezTo>
                        <a:pt x="11" y="200"/>
                        <a:pt x="11" y="200"/>
                        <a:pt x="11" y="200"/>
                      </a:cubicBezTo>
                      <a:cubicBezTo>
                        <a:pt x="10" y="201"/>
                        <a:pt x="10" y="201"/>
                        <a:pt x="10" y="201"/>
                      </a:cubicBezTo>
                      <a:cubicBezTo>
                        <a:pt x="11" y="202"/>
                        <a:pt x="11" y="202"/>
                        <a:pt x="11" y="202"/>
                      </a:cubicBezTo>
                      <a:cubicBezTo>
                        <a:pt x="14" y="202"/>
                        <a:pt x="14" y="202"/>
                        <a:pt x="14" y="202"/>
                      </a:cubicBezTo>
                      <a:cubicBezTo>
                        <a:pt x="15" y="203"/>
                        <a:pt x="15" y="203"/>
                        <a:pt x="15" y="203"/>
                      </a:cubicBezTo>
                      <a:cubicBezTo>
                        <a:pt x="13" y="203"/>
                        <a:pt x="13" y="203"/>
                        <a:pt x="13" y="203"/>
                      </a:cubicBezTo>
                      <a:cubicBezTo>
                        <a:pt x="12" y="204"/>
                        <a:pt x="12" y="204"/>
                        <a:pt x="12" y="204"/>
                      </a:cubicBezTo>
                      <a:cubicBezTo>
                        <a:pt x="12" y="206"/>
                        <a:pt x="12" y="206"/>
                        <a:pt x="12" y="206"/>
                      </a:cubicBezTo>
                      <a:cubicBezTo>
                        <a:pt x="10" y="204"/>
                        <a:pt x="10" y="204"/>
                        <a:pt x="10" y="204"/>
                      </a:cubicBezTo>
                      <a:cubicBezTo>
                        <a:pt x="9" y="205"/>
                        <a:pt x="9" y="205"/>
                        <a:pt x="9" y="205"/>
                      </a:cubicBezTo>
                      <a:cubicBezTo>
                        <a:pt x="9" y="206"/>
                        <a:pt x="9" y="206"/>
                        <a:pt x="9" y="206"/>
                      </a:cubicBezTo>
                      <a:cubicBezTo>
                        <a:pt x="8" y="204"/>
                        <a:pt x="8" y="204"/>
                        <a:pt x="8" y="204"/>
                      </a:cubicBezTo>
                      <a:cubicBezTo>
                        <a:pt x="7" y="205"/>
                        <a:pt x="7" y="205"/>
                        <a:pt x="7" y="205"/>
                      </a:cubicBezTo>
                      <a:cubicBezTo>
                        <a:pt x="5" y="207"/>
                        <a:pt x="5" y="207"/>
                        <a:pt x="5" y="207"/>
                      </a:cubicBezTo>
                      <a:cubicBezTo>
                        <a:pt x="6" y="209"/>
                        <a:pt x="6" y="209"/>
                        <a:pt x="6" y="209"/>
                      </a:cubicBezTo>
                      <a:cubicBezTo>
                        <a:pt x="8" y="212"/>
                        <a:pt x="8" y="212"/>
                        <a:pt x="8" y="212"/>
                      </a:cubicBezTo>
                      <a:cubicBezTo>
                        <a:pt x="9" y="210"/>
                        <a:pt x="9" y="210"/>
                        <a:pt x="9" y="210"/>
                      </a:cubicBezTo>
                      <a:cubicBezTo>
                        <a:pt x="10" y="211"/>
                        <a:pt x="10" y="211"/>
                        <a:pt x="10" y="211"/>
                      </a:cubicBezTo>
                      <a:cubicBezTo>
                        <a:pt x="11" y="210"/>
                        <a:pt x="11" y="210"/>
                        <a:pt x="11" y="210"/>
                      </a:cubicBezTo>
                      <a:cubicBezTo>
                        <a:pt x="11" y="210"/>
                        <a:pt x="11" y="210"/>
                        <a:pt x="11" y="210"/>
                      </a:cubicBezTo>
                      <a:cubicBezTo>
                        <a:pt x="11" y="208"/>
                        <a:pt x="11" y="208"/>
                        <a:pt x="11" y="208"/>
                      </a:cubicBezTo>
                      <a:cubicBezTo>
                        <a:pt x="13" y="209"/>
                        <a:pt x="13" y="209"/>
                        <a:pt x="13" y="209"/>
                      </a:cubicBezTo>
                      <a:cubicBezTo>
                        <a:pt x="12" y="210"/>
                        <a:pt x="12" y="210"/>
                        <a:pt x="12" y="210"/>
                      </a:cubicBezTo>
                      <a:cubicBezTo>
                        <a:pt x="14" y="211"/>
                        <a:pt x="14" y="211"/>
                        <a:pt x="14" y="211"/>
                      </a:cubicBezTo>
                      <a:cubicBezTo>
                        <a:pt x="13" y="213"/>
                        <a:pt x="13" y="213"/>
                        <a:pt x="13" y="213"/>
                      </a:cubicBezTo>
                      <a:cubicBezTo>
                        <a:pt x="12" y="214"/>
                        <a:pt x="12" y="214"/>
                        <a:pt x="12" y="214"/>
                      </a:cubicBezTo>
                      <a:cubicBezTo>
                        <a:pt x="13" y="216"/>
                        <a:pt x="13" y="216"/>
                        <a:pt x="13" y="216"/>
                      </a:cubicBezTo>
                      <a:cubicBezTo>
                        <a:pt x="14" y="215"/>
                        <a:pt x="14" y="215"/>
                        <a:pt x="14" y="215"/>
                      </a:cubicBezTo>
                      <a:cubicBezTo>
                        <a:pt x="16" y="215"/>
                        <a:pt x="16" y="215"/>
                        <a:pt x="16" y="215"/>
                      </a:cubicBezTo>
                      <a:cubicBezTo>
                        <a:pt x="17" y="216"/>
                        <a:pt x="17" y="216"/>
                        <a:pt x="17" y="216"/>
                      </a:cubicBezTo>
                      <a:cubicBezTo>
                        <a:pt x="15" y="216"/>
                        <a:pt x="15" y="216"/>
                        <a:pt x="15" y="216"/>
                      </a:cubicBezTo>
                      <a:cubicBezTo>
                        <a:pt x="14" y="217"/>
                        <a:pt x="14" y="217"/>
                        <a:pt x="14" y="217"/>
                      </a:cubicBezTo>
                      <a:cubicBezTo>
                        <a:pt x="15" y="219"/>
                        <a:pt x="15" y="219"/>
                        <a:pt x="15" y="219"/>
                      </a:cubicBezTo>
                      <a:cubicBezTo>
                        <a:pt x="15" y="219"/>
                        <a:pt x="15" y="219"/>
                        <a:pt x="15" y="219"/>
                      </a:cubicBezTo>
                      <a:cubicBezTo>
                        <a:pt x="12" y="217"/>
                        <a:pt x="12" y="217"/>
                        <a:pt x="12" y="217"/>
                      </a:cubicBezTo>
                      <a:cubicBezTo>
                        <a:pt x="10" y="217"/>
                        <a:pt x="10" y="217"/>
                        <a:pt x="10" y="217"/>
                      </a:cubicBezTo>
                      <a:cubicBezTo>
                        <a:pt x="9" y="216"/>
                        <a:pt x="9" y="216"/>
                        <a:pt x="9" y="216"/>
                      </a:cubicBezTo>
                      <a:cubicBezTo>
                        <a:pt x="8" y="216"/>
                        <a:pt x="8" y="216"/>
                        <a:pt x="8" y="216"/>
                      </a:cubicBezTo>
                      <a:cubicBezTo>
                        <a:pt x="8" y="218"/>
                        <a:pt x="8" y="218"/>
                        <a:pt x="8" y="218"/>
                      </a:cubicBezTo>
                      <a:cubicBezTo>
                        <a:pt x="7" y="219"/>
                        <a:pt x="7" y="219"/>
                        <a:pt x="7" y="219"/>
                      </a:cubicBezTo>
                      <a:cubicBezTo>
                        <a:pt x="9" y="223"/>
                        <a:pt x="9" y="223"/>
                        <a:pt x="9" y="223"/>
                      </a:cubicBezTo>
                      <a:cubicBezTo>
                        <a:pt x="11" y="224"/>
                        <a:pt x="11" y="224"/>
                        <a:pt x="11" y="224"/>
                      </a:cubicBezTo>
                      <a:cubicBezTo>
                        <a:pt x="14" y="226"/>
                        <a:pt x="14" y="226"/>
                        <a:pt x="14" y="226"/>
                      </a:cubicBezTo>
                      <a:cubicBezTo>
                        <a:pt x="18" y="227"/>
                        <a:pt x="18" y="227"/>
                        <a:pt x="18" y="227"/>
                      </a:cubicBezTo>
                      <a:cubicBezTo>
                        <a:pt x="18" y="228"/>
                        <a:pt x="18" y="228"/>
                        <a:pt x="18" y="228"/>
                      </a:cubicBezTo>
                      <a:cubicBezTo>
                        <a:pt x="17" y="229"/>
                        <a:pt x="17" y="229"/>
                        <a:pt x="17" y="229"/>
                      </a:cubicBezTo>
                      <a:cubicBezTo>
                        <a:pt x="19" y="230"/>
                        <a:pt x="19" y="230"/>
                        <a:pt x="19" y="230"/>
                      </a:cubicBezTo>
                      <a:cubicBezTo>
                        <a:pt x="20" y="230"/>
                        <a:pt x="20" y="230"/>
                        <a:pt x="20" y="230"/>
                      </a:cubicBezTo>
                      <a:cubicBezTo>
                        <a:pt x="19" y="228"/>
                        <a:pt x="19" y="228"/>
                        <a:pt x="19" y="228"/>
                      </a:cubicBezTo>
                      <a:cubicBezTo>
                        <a:pt x="20" y="228"/>
                        <a:pt x="20" y="228"/>
                        <a:pt x="20" y="228"/>
                      </a:cubicBezTo>
                      <a:cubicBezTo>
                        <a:pt x="22" y="229"/>
                        <a:pt x="22" y="229"/>
                        <a:pt x="22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3" y="232"/>
                        <a:pt x="23" y="232"/>
                        <a:pt x="23" y="232"/>
                      </a:cubicBezTo>
                      <a:cubicBezTo>
                        <a:pt x="24" y="231"/>
                        <a:pt x="24" y="231"/>
                        <a:pt x="24" y="231"/>
                      </a:cubicBezTo>
                      <a:cubicBezTo>
                        <a:pt x="25" y="231"/>
                        <a:pt x="25" y="231"/>
                        <a:pt x="25" y="231"/>
                      </a:cubicBezTo>
                      <a:cubicBezTo>
                        <a:pt x="27" y="230"/>
                        <a:pt x="27" y="230"/>
                        <a:pt x="27" y="230"/>
                      </a:cubicBezTo>
                      <a:cubicBezTo>
                        <a:pt x="29" y="228"/>
                        <a:pt x="29" y="228"/>
                        <a:pt x="29" y="228"/>
                      </a:cubicBezTo>
                      <a:cubicBezTo>
                        <a:pt x="30" y="228"/>
                        <a:pt x="30" y="228"/>
                        <a:pt x="30" y="228"/>
                      </a:cubicBezTo>
                      <a:cubicBezTo>
                        <a:pt x="30" y="227"/>
                        <a:pt x="30" y="227"/>
                        <a:pt x="30" y="227"/>
                      </a:cubicBezTo>
                      <a:cubicBezTo>
                        <a:pt x="31" y="227"/>
                        <a:pt x="31" y="227"/>
                        <a:pt x="31" y="227"/>
                      </a:cubicBezTo>
                      <a:cubicBezTo>
                        <a:pt x="31" y="229"/>
                        <a:pt x="31" y="229"/>
                        <a:pt x="31" y="229"/>
                      </a:cubicBezTo>
                      <a:cubicBezTo>
                        <a:pt x="32" y="229"/>
                        <a:pt x="32" y="229"/>
                        <a:pt x="32" y="229"/>
                      </a:cubicBezTo>
                      <a:cubicBezTo>
                        <a:pt x="36" y="225"/>
                        <a:pt x="36" y="225"/>
                        <a:pt x="36" y="225"/>
                      </a:cubicBezTo>
                      <a:cubicBezTo>
                        <a:pt x="36" y="224"/>
                        <a:pt x="36" y="224"/>
                        <a:pt x="36" y="224"/>
                      </a:cubicBezTo>
                      <a:cubicBezTo>
                        <a:pt x="34" y="222"/>
                        <a:pt x="34" y="222"/>
                        <a:pt x="34" y="222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9" y="222"/>
                        <a:pt x="39" y="222"/>
                        <a:pt x="39" y="222"/>
                      </a:cubicBezTo>
                      <a:cubicBezTo>
                        <a:pt x="38" y="221"/>
                        <a:pt x="38" y="221"/>
                        <a:pt x="38" y="221"/>
                      </a:cubicBezTo>
                      <a:cubicBezTo>
                        <a:pt x="39" y="220"/>
                        <a:pt x="39" y="220"/>
                        <a:pt x="39" y="220"/>
                      </a:cubicBezTo>
                      <a:cubicBezTo>
                        <a:pt x="39" y="219"/>
                        <a:pt x="39" y="219"/>
                        <a:pt x="39" y="219"/>
                      </a:cubicBezTo>
                      <a:cubicBezTo>
                        <a:pt x="41" y="218"/>
                        <a:pt x="41" y="218"/>
                        <a:pt x="41" y="218"/>
                      </a:cubicBezTo>
                      <a:cubicBezTo>
                        <a:pt x="42" y="218"/>
                        <a:pt x="42" y="218"/>
                        <a:pt x="42" y="218"/>
                      </a:cubicBezTo>
                      <a:cubicBezTo>
                        <a:pt x="43" y="216"/>
                        <a:pt x="43" y="216"/>
                        <a:pt x="43" y="216"/>
                      </a:cubicBezTo>
                      <a:cubicBezTo>
                        <a:pt x="41" y="214"/>
                        <a:pt x="41" y="214"/>
                        <a:pt x="41" y="214"/>
                      </a:cubicBezTo>
                      <a:cubicBezTo>
                        <a:pt x="42" y="213"/>
                        <a:pt x="42" y="213"/>
                        <a:pt x="42" y="213"/>
                      </a:cubicBezTo>
                      <a:cubicBezTo>
                        <a:pt x="40" y="211"/>
                        <a:pt x="40" y="211"/>
                        <a:pt x="40" y="211"/>
                      </a:cubicBezTo>
                      <a:cubicBezTo>
                        <a:pt x="39" y="210"/>
                        <a:pt x="39" y="210"/>
                        <a:pt x="39" y="210"/>
                      </a:cubicBezTo>
                      <a:cubicBezTo>
                        <a:pt x="39" y="208"/>
                        <a:pt x="39" y="208"/>
                        <a:pt x="39" y="208"/>
                      </a:cubicBezTo>
                      <a:cubicBezTo>
                        <a:pt x="40" y="209"/>
                        <a:pt x="40" y="209"/>
                        <a:pt x="40" y="209"/>
                      </a:cubicBez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42" y="214"/>
                        <a:pt x="42" y="214"/>
                        <a:pt x="42" y="214"/>
                      </a:cubicBezTo>
                      <a:cubicBezTo>
                        <a:pt x="43" y="215"/>
                        <a:pt x="43" y="215"/>
                        <a:pt x="43" y="215"/>
                      </a:cubicBezTo>
                      <a:cubicBezTo>
                        <a:pt x="44" y="215"/>
                        <a:pt x="44" y="215"/>
                        <a:pt x="44" y="215"/>
                      </a:cubicBezTo>
                      <a:cubicBezTo>
                        <a:pt x="44" y="216"/>
                        <a:pt x="44" y="216"/>
                        <a:pt x="44" y="216"/>
                      </a:cubicBezTo>
                      <a:cubicBezTo>
                        <a:pt x="45" y="217"/>
                        <a:pt x="45" y="217"/>
                        <a:pt x="45" y="217"/>
                      </a:cubicBezTo>
                      <a:cubicBezTo>
                        <a:pt x="47" y="216"/>
                        <a:pt x="47" y="216"/>
                        <a:pt x="47" y="216"/>
                      </a:cubicBezTo>
                      <a:cubicBezTo>
                        <a:pt x="46" y="215"/>
                        <a:pt x="46" y="215"/>
                        <a:pt x="46" y="215"/>
                      </a:cubicBezTo>
                      <a:cubicBezTo>
                        <a:pt x="45" y="214"/>
                        <a:pt x="45" y="214"/>
                        <a:pt x="45" y="214"/>
                      </a:cubicBezTo>
                      <a:cubicBezTo>
                        <a:pt x="46" y="213"/>
                        <a:pt x="46" y="213"/>
                        <a:pt x="46" y="213"/>
                      </a:cubicBezTo>
                      <a:cubicBezTo>
                        <a:pt x="47" y="215"/>
                        <a:pt x="47" y="215"/>
                        <a:pt x="47" y="215"/>
                      </a:cubicBezTo>
                      <a:cubicBezTo>
                        <a:pt x="48" y="215"/>
                        <a:pt x="48" y="215"/>
                        <a:pt x="48" y="215"/>
                      </a:cubicBezTo>
                      <a:cubicBezTo>
                        <a:pt x="50" y="213"/>
                        <a:pt x="50" y="213"/>
                        <a:pt x="50" y="213"/>
                      </a:cubicBezTo>
                      <a:cubicBezTo>
                        <a:pt x="51" y="211"/>
                        <a:pt x="51" y="211"/>
                        <a:pt x="51" y="211"/>
                      </a:cubicBezTo>
                      <a:cubicBezTo>
                        <a:pt x="50" y="209"/>
                        <a:pt x="50" y="209"/>
                        <a:pt x="50" y="209"/>
                      </a:cubicBezTo>
                      <a:cubicBezTo>
                        <a:pt x="49" y="208"/>
                        <a:pt x="49" y="208"/>
                        <a:pt x="49" y="208"/>
                      </a:cubicBezTo>
                      <a:cubicBezTo>
                        <a:pt x="48" y="207"/>
                        <a:pt x="48" y="207"/>
                        <a:pt x="48" y="207"/>
                      </a:cubicBezTo>
                      <a:cubicBezTo>
                        <a:pt x="49" y="207"/>
                        <a:pt x="49" y="207"/>
                        <a:pt x="49" y="207"/>
                      </a:cubicBezTo>
                      <a:cubicBezTo>
                        <a:pt x="49" y="206"/>
                        <a:pt x="49" y="206"/>
                        <a:pt x="49" y="206"/>
                      </a:cubicBezTo>
                      <a:cubicBezTo>
                        <a:pt x="50" y="206"/>
                        <a:pt x="50" y="206"/>
                        <a:pt x="50" y="206"/>
                      </a:cubicBezTo>
                      <a:cubicBezTo>
                        <a:pt x="51" y="205"/>
                        <a:pt x="51" y="205"/>
                        <a:pt x="51" y="205"/>
                      </a:cubicBezTo>
                      <a:cubicBezTo>
                        <a:pt x="50" y="204"/>
                        <a:pt x="50" y="204"/>
                        <a:pt x="50" y="204"/>
                      </a:cubicBezTo>
                      <a:cubicBezTo>
                        <a:pt x="50" y="202"/>
                        <a:pt x="50" y="202"/>
                        <a:pt x="50" y="202"/>
                      </a:cubicBezTo>
                      <a:cubicBezTo>
                        <a:pt x="51" y="201"/>
                        <a:pt x="51" y="201"/>
                        <a:pt x="51" y="201"/>
                      </a:cubicBezTo>
                      <a:cubicBezTo>
                        <a:pt x="53" y="202"/>
                        <a:pt x="53" y="202"/>
                        <a:pt x="53" y="202"/>
                      </a:cubicBezTo>
                      <a:cubicBezTo>
                        <a:pt x="52" y="204"/>
                        <a:pt x="52" y="204"/>
                        <a:pt x="52" y="204"/>
                      </a:cubicBezTo>
                      <a:cubicBezTo>
                        <a:pt x="52" y="206"/>
                        <a:pt x="52" y="206"/>
                        <a:pt x="52" y="206"/>
                      </a:cubicBezTo>
                      <a:cubicBezTo>
                        <a:pt x="52" y="208"/>
                        <a:pt x="52" y="208"/>
                        <a:pt x="52" y="208"/>
                      </a:cubicBezTo>
                      <a:cubicBezTo>
                        <a:pt x="53" y="210"/>
                        <a:pt x="53" y="210"/>
                        <a:pt x="53" y="210"/>
                      </a:cubicBezTo>
                      <a:cubicBezTo>
                        <a:pt x="53" y="211"/>
                        <a:pt x="53" y="211"/>
                        <a:pt x="53" y="211"/>
                      </a:cubicBezTo>
                      <a:cubicBezTo>
                        <a:pt x="55" y="213"/>
                        <a:pt x="55" y="213"/>
                        <a:pt x="55" y="213"/>
                      </a:cubicBezTo>
                      <a:cubicBezTo>
                        <a:pt x="57" y="213"/>
                        <a:pt x="57" y="213"/>
                        <a:pt x="57" y="213"/>
                      </a:cubicBezTo>
                      <a:cubicBezTo>
                        <a:pt x="58" y="214"/>
                        <a:pt x="58" y="214"/>
                        <a:pt x="58" y="214"/>
                      </a:cubicBezTo>
                      <a:cubicBezTo>
                        <a:pt x="58" y="214"/>
                        <a:pt x="58" y="214"/>
                        <a:pt x="58" y="214"/>
                      </a:cubicBezTo>
                      <a:cubicBezTo>
                        <a:pt x="59" y="215"/>
                        <a:pt x="59" y="215"/>
                        <a:pt x="59" y="215"/>
                      </a:cubicBezTo>
                      <a:cubicBezTo>
                        <a:pt x="60" y="217"/>
                        <a:pt x="60" y="217"/>
                        <a:pt x="60" y="217"/>
                      </a:cubicBezTo>
                      <a:cubicBezTo>
                        <a:pt x="61" y="215"/>
                        <a:pt x="61" y="215"/>
                        <a:pt x="61" y="215"/>
                      </a:cubicBezTo>
                      <a:cubicBezTo>
                        <a:pt x="61" y="209"/>
                        <a:pt x="61" y="209"/>
                        <a:pt x="61" y="209"/>
                      </a:cubicBezTo>
                      <a:cubicBezTo>
                        <a:pt x="59" y="207"/>
                        <a:pt x="59" y="207"/>
                        <a:pt x="59" y="207"/>
                      </a:cubicBezTo>
                      <a:cubicBezTo>
                        <a:pt x="60" y="205"/>
                        <a:pt x="60" y="205"/>
                        <a:pt x="60" y="205"/>
                      </a:cubicBezTo>
                      <a:cubicBezTo>
                        <a:pt x="61" y="204"/>
                        <a:pt x="61" y="204"/>
                        <a:pt x="61" y="204"/>
                      </a:cubicBezTo>
                      <a:cubicBezTo>
                        <a:pt x="60" y="202"/>
                        <a:pt x="60" y="202"/>
                        <a:pt x="60" y="202"/>
                      </a:cubicBezTo>
                      <a:cubicBezTo>
                        <a:pt x="61" y="201"/>
                        <a:pt x="61" y="201"/>
                        <a:pt x="61" y="201"/>
                      </a:cubicBezTo>
                      <a:cubicBezTo>
                        <a:pt x="64" y="201"/>
                        <a:pt x="64" y="201"/>
                        <a:pt x="64" y="201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65" y="197"/>
                        <a:pt x="65" y="197"/>
                        <a:pt x="65" y="197"/>
                      </a:cubicBezTo>
                      <a:cubicBezTo>
                        <a:pt x="66" y="194"/>
                        <a:pt x="66" y="194"/>
                        <a:pt x="66" y="194"/>
                      </a:cubicBezTo>
                      <a:cubicBezTo>
                        <a:pt x="65" y="192"/>
                        <a:pt x="65" y="192"/>
                        <a:pt x="65" y="192"/>
                      </a:cubicBezTo>
                      <a:cubicBezTo>
                        <a:pt x="64" y="188"/>
                        <a:pt x="64" y="188"/>
                        <a:pt x="64" y="188"/>
                      </a:cubicBezTo>
                      <a:cubicBezTo>
                        <a:pt x="62" y="184"/>
                        <a:pt x="62" y="184"/>
                        <a:pt x="62" y="184"/>
                      </a:cubicBezTo>
                      <a:cubicBezTo>
                        <a:pt x="62" y="182"/>
                        <a:pt x="62" y="182"/>
                        <a:pt x="62" y="182"/>
                      </a:cubicBezTo>
                      <a:cubicBezTo>
                        <a:pt x="67" y="181"/>
                        <a:pt x="67" y="181"/>
                        <a:pt x="67" y="181"/>
                      </a:cubicBezTo>
                      <a:cubicBezTo>
                        <a:pt x="67" y="178"/>
                        <a:pt x="67" y="178"/>
                        <a:pt x="67" y="178"/>
                      </a:cubicBezTo>
                      <a:cubicBezTo>
                        <a:pt x="68" y="175"/>
                        <a:pt x="68" y="175"/>
                        <a:pt x="68" y="175"/>
                      </a:cubicBezTo>
                      <a:cubicBezTo>
                        <a:pt x="64" y="172"/>
                        <a:pt x="64" y="172"/>
                        <a:pt x="64" y="172"/>
                      </a:cubicBezTo>
                      <a:cubicBezTo>
                        <a:pt x="61" y="170"/>
                        <a:pt x="61" y="170"/>
                        <a:pt x="61" y="170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2" y="163"/>
                        <a:pt x="62" y="163"/>
                        <a:pt x="62" y="163"/>
                      </a:cubicBezTo>
                      <a:cubicBezTo>
                        <a:pt x="61" y="159"/>
                        <a:pt x="61" y="159"/>
                        <a:pt x="61" y="159"/>
                      </a:cubicBezTo>
                      <a:cubicBezTo>
                        <a:pt x="60" y="156"/>
                        <a:pt x="60" y="156"/>
                        <a:pt x="60" y="156"/>
                      </a:cubicBezTo>
                      <a:cubicBezTo>
                        <a:pt x="61" y="153"/>
                        <a:pt x="61" y="153"/>
                        <a:pt x="61" y="153"/>
                      </a:cubicBezTo>
                      <a:cubicBezTo>
                        <a:pt x="61" y="148"/>
                        <a:pt x="61" y="148"/>
                        <a:pt x="61" y="148"/>
                      </a:cubicBezTo>
                      <a:cubicBezTo>
                        <a:pt x="60" y="143"/>
                        <a:pt x="60" y="143"/>
                        <a:pt x="60" y="143"/>
                      </a:cubicBezTo>
                      <a:cubicBezTo>
                        <a:pt x="60" y="138"/>
                        <a:pt x="60" y="138"/>
                        <a:pt x="60" y="138"/>
                      </a:cubicBezTo>
                      <a:cubicBezTo>
                        <a:pt x="63" y="134"/>
                        <a:pt x="63" y="134"/>
                        <a:pt x="63" y="134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67" y="134"/>
                        <a:pt x="67" y="134"/>
                        <a:pt x="67" y="134"/>
                      </a:cubicBezTo>
                      <a:cubicBezTo>
                        <a:pt x="71" y="134"/>
                        <a:pt x="71" y="134"/>
                        <a:pt x="71" y="134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72" y="128"/>
                        <a:pt x="72" y="128"/>
                        <a:pt x="72" y="128"/>
                      </a:cubicBezTo>
                      <a:cubicBezTo>
                        <a:pt x="71" y="126"/>
                        <a:pt x="71" y="126"/>
                        <a:pt x="71" y="126"/>
                      </a:cubicBezTo>
                      <a:cubicBezTo>
                        <a:pt x="71" y="124"/>
                        <a:pt x="71" y="124"/>
                        <a:pt x="71" y="124"/>
                      </a:cubicBezTo>
                      <a:cubicBezTo>
                        <a:pt x="74" y="116"/>
                        <a:pt x="74" y="116"/>
                        <a:pt x="74" y="116"/>
                      </a:cubicBezTo>
                      <a:cubicBezTo>
                        <a:pt x="75" y="111"/>
                        <a:pt x="75" y="111"/>
                        <a:pt x="75" y="111"/>
                      </a:cubicBezTo>
                      <a:cubicBezTo>
                        <a:pt x="76" y="107"/>
                        <a:pt x="76" y="107"/>
                        <a:pt x="76" y="107"/>
                      </a:cubicBezTo>
                      <a:cubicBezTo>
                        <a:pt x="77" y="104"/>
                        <a:pt x="77" y="104"/>
                        <a:pt x="77" y="104"/>
                      </a:cubicBezTo>
                      <a:cubicBezTo>
                        <a:pt x="76" y="101"/>
                        <a:pt x="76" y="101"/>
                        <a:pt x="76" y="101"/>
                      </a:cubicBezTo>
                      <a:cubicBezTo>
                        <a:pt x="75" y="100"/>
                        <a:pt x="75" y="100"/>
                        <a:pt x="75" y="100"/>
                      </a:cubicBezTo>
                      <a:cubicBezTo>
                        <a:pt x="75" y="98"/>
                        <a:pt x="75" y="98"/>
                        <a:pt x="75" y="98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81" y="95"/>
                        <a:pt x="81" y="95"/>
                        <a:pt x="81" y="95"/>
                      </a:cubicBezTo>
                      <a:cubicBezTo>
                        <a:pt x="83" y="94"/>
                        <a:pt x="83" y="94"/>
                        <a:pt x="83" y="94"/>
                      </a:cubicBezTo>
                      <a:cubicBezTo>
                        <a:pt x="83" y="92"/>
                        <a:pt x="83" y="92"/>
                        <a:pt x="83" y="92"/>
                      </a:cubicBezTo>
                      <a:cubicBezTo>
                        <a:pt x="86" y="87"/>
                        <a:pt x="86" y="87"/>
                        <a:pt x="86" y="87"/>
                      </a:cubicBezTo>
                      <a:cubicBezTo>
                        <a:pt x="89" y="83"/>
                        <a:pt x="89" y="83"/>
                        <a:pt x="89" y="83"/>
                      </a:cubicBezTo>
                      <a:cubicBezTo>
                        <a:pt x="89" y="81"/>
                        <a:pt x="89" y="81"/>
                        <a:pt x="89" y="81"/>
                      </a:cubicBezTo>
                      <a:cubicBezTo>
                        <a:pt x="88" y="78"/>
                        <a:pt x="88" y="78"/>
                        <a:pt x="88" y="78"/>
                      </a:cubicBezTo>
                      <a:cubicBezTo>
                        <a:pt x="87" y="77"/>
                        <a:pt x="87" y="77"/>
                        <a:pt x="87" y="77"/>
                      </a:cubicBezTo>
                      <a:cubicBezTo>
                        <a:pt x="87" y="72"/>
                        <a:pt x="87" y="72"/>
                        <a:pt x="87" y="72"/>
                      </a:cubicBezTo>
                      <a:cubicBezTo>
                        <a:pt x="88" y="71"/>
                        <a:pt x="88" y="71"/>
                        <a:pt x="88" y="7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67"/>
                        <a:pt x="90" y="67"/>
                        <a:pt x="90" y="67"/>
                      </a:cubicBezTo>
                      <a:cubicBezTo>
                        <a:pt x="92" y="67"/>
                        <a:pt x="92" y="67"/>
                        <a:pt x="92" y="67"/>
                      </a:cubicBezTo>
                      <a:cubicBezTo>
                        <a:pt x="93" y="63"/>
                        <a:pt x="93" y="63"/>
                        <a:pt x="93" y="63"/>
                      </a:cubicBezTo>
                      <a:cubicBezTo>
                        <a:pt x="95" y="62"/>
                        <a:pt x="95" y="62"/>
                        <a:pt x="95" y="62"/>
                      </a:cubicBezTo>
                      <a:cubicBezTo>
                        <a:pt x="97" y="63"/>
                        <a:pt x="97" y="63"/>
                        <a:pt x="97" y="63"/>
                      </a:cubicBezTo>
                      <a:cubicBezTo>
                        <a:pt x="98" y="64"/>
                        <a:pt x="98" y="64"/>
                        <a:pt x="98" y="64"/>
                      </a:cubicBezTo>
                      <a:cubicBezTo>
                        <a:pt x="99" y="64"/>
                        <a:pt x="99" y="64"/>
                        <a:pt x="99" y="64"/>
                      </a:cubicBezTo>
                      <a:cubicBezTo>
                        <a:pt x="101" y="62"/>
                        <a:pt x="101" y="62"/>
                        <a:pt x="101" y="62"/>
                      </a:cubicBezTo>
                      <a:cubicBezTo>
                        <a:pt x="100" y="60"/>
                        <a:pt x="100" y="60"/>
                        <a:pt x="100" y="60"/>
                      </a:cubicBezTo>
                      <a:cubicBezTo>
                        <a:pt x="101" y="59"/>
                        <a:pt x="101" y="59"/>
                        <a:pt x="101" y="59"/>
                      </a:cubicBezTo>
                      <a:cubicBezTo>
                        <a:pt x="101" y="58"/>
                        <a:pt x="101" y="58"/>
                        <a:pt x="101" y="58"/>
                      </a:cubicBezTo>
                      <a:cubicBezTo>
                        <a:pt x="101" y="57"/>
                        <a:pt x="101" y="57"/>
                        <a:pt x="101" y="57"/>
                      </a:cubicBezTo>
                      <a:cubicBezTo>
                        <a:pt x="100" y="55"/>
                        <a:pt x="100" y="55"/>
                        <a:pt x="100" y="55"/>
                      </a:cubicBezTo>
                      <a:cubicBezTo>
                        <a:pt x="101" y="54"/>
                        <a:pt x="101" y="54"/>
                        <a:pt x="101" y="54"/>
                      </a:cubicBezTo>
                      <a:cubicBezTo>
                        <a:pt x="103" y="54"/>
                        <a:pt x="103" y="54"/>
                        <a:pt x="103" y="54"/>
                      </a:cubicBezTo>
                      <a:cubicBezTo>
                        <a:pt x="106" y="53"/>
                        <a:pt x="106" y="53"/>
                        <a:pt x="106" y="53"/>
                      </a:cubicBezTo>
                      <a:cubicBezTo>
                        <a:pt x="109" y="54"/>
                        <a:pt x="109" y="54"/>
                        <a:pt x="109" y="54"/>
                      </a:cubicBezTo>
                      <a:cubicBezTo>
                        <a:pt x="111" y="55"/>
                        <a:pt x="111" y="55"/>
                        <a:pt x="111" y="55"/>
                      </a:cubicBezTo>
                      <a:cubicBezTo>
                        <a:pt x="113" y="55"/>
                        <a:pt x="113" y="55"/>
                        <a:pt x="113" y="55"/>
                      </a:cubicBezTo>
                      <a:cubicBezTo>
                        <a:pt x="114" y="56"/>
                        <a:pt x="114" y="56"/>
                        <a:pt x="114" y="56"/>
                      </a:cubicBezTo>
                      <a:cubicBezTo>
                        <a:pt x="115" y="56"/>
                        <a:pt x="115" y="56"/>
                        <a:pt x="115" y="56"/>
                      </a:cubicBezTo>
                      <a:cubicBezTo>
                        <a:pt x="116" y="57"/>
                        <a:pt x="116" y="57"/>
                        <a:pt x="116" y="57"/>
                      </a:cubicBezTo>
                      <a:cubicBezTo>
                        <a:pt x="116" y="54"/>
                        <a:pt x="116" y="54"/>
                        <a:pt x="116" y="54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5" y="49"/>
                        <a:pt x="115" y="49"/>
                        <a:pt x="115" y="49"/>
                      </a:cubicBezTo>
                      <a:cubicBezTo>
                        <a:pt x="117" y="49"/>
                        <a:pt x="117" y="49"/>
                        <a:pt x="117" y="49"/>
                      </a:cubicBezTo>
                      <a:cubicBezTo>
                        <a:pt x="116" y="47"/>
                        <a:pt x="116" y="47"/>
                        <a:pt x="116" y="47"/>
                      </a:cubicBezTo>
                      <a:cubicBezTo>
                        <a:pt x="115" y="46"/>
                        <a:pt x="115" y="46"/>
                        <a:pt x="115" y="46"/>
                      </a:cubicBezTo>
                      <a:cubicBezTo>
                        <a:pt x="115" y="44"/>
                        <a:pt x="115" y="44"/>
                        <a:pt x="115" y="44"/>
                      </a:cubicBezTo>
                      <a:cubicBezTo>
                        <a:pt x="117" y="44"/>
                        <a:pt x="117" y="44"/>
                        <a:pt x="117" y="44"/>
                      </a:cubicBezTo>
                      <a:cubicBezTo>
                        <a:pt x="119" y="44"/>
                        <a:pt x="119" y="44"/>
                        <a:pt x="119" y="44"/>
                      </a:cubicBezTo>
                      <a:cubicBezTo>
                        <a:pt x="120" y="44"/>
                        <a:pt x="120" y="44"/>
                        <a:pt x="120" y="44"/>
                      </a:cubicBezTo>
                      <a:cubicBezTo>
                        <a:pt x="120" y="44"/>
                        <a:pt x="120" y="44"/>
                        <a:pt x="120" y="44"/>
                      </a:cubicBezTo>
                      <a:cubicBezTo>
                        <a:pt x="120" y="43"/>
                        <a:pt x="120" y="43"/>
                        <a:pt x="120" y="43"/>
                      </a:cubicBezTo>
                      <a:cubicBezTo>
                        <a:pt x="121" y="43"/>
                        <a:pt x="121" y="43"/>
                        <a:pt x="121" y="43"/>
                      </a:cubicBezTo>
                      <a:cubicBezTo>
                        <a:pt x="122" y="43"/>
                        <a:pt x="122" y="43"/>
                        <a:pt x="122" y="43"/>
                      </a:cubicBezTo>
                      <a:cubicBezTo>
                        <a:pt x="121" y="42"/>
                        <a:pt x="121" y="42"/>
                        <a:pt x="121" y="42"/>
                      </a:cubicBezTo>
                      <a:cubicBezTo>
                        <a:pt x="121" y="40"/>
                        <a:pt x="121" y="40"/>
                        <a:pt x="121" y="40"/>
                      </a:cubicBezTo>
                      <a:cubicBezTo>
                        <a:pt x="123" y="39"/>
                        <a:pt x="123" y="39"/>
                        <a:pt x="123" y="39"/>
                      </a:cubicBezTo>
                      <a:cubicBezTo>
                        <a:pt x="125" y="39"/>
                        <a:pt x="125" y="39"/>
                        <a:pt x="125" y="39"/>
                      </a:cubicBezTo>
                      <a:cubicBezTo>
                        <a:pt x="126" y="41"/>
                        <a:pt x="126" y="41"/>
                        <a:pt x="126" y="41"/>
                      </a:cubicBezTo>
                      <a:cubicBezTo>
                        <a:pt x="130" y="45"/>
                        <a:pt x="130" y="45"/>
                        <a:pt x="130" y="45"/>
                      </a:cubicBezTo>
                      <a:cubicBezTo>
                        <a:pt x="131" y="47"/>
                        <a:pt x="131" y="47"/>
                        <a:pt x="131" y="47"/>
                      </a:cubicBezTo>
                      <a:cubicBezTo>
                        <a:pt x="132" y="49"/>
                        <a:pt x="132" y="49"/>
                        <a:pt x="132" y="49"/>
                      </a:cubicBezTo>
                      <a:cubicBezTo>
                        <a:pt x="135" y="50"/>
                        <a:pt x="135" y="50"/>
                        <a:pt x="135" y="50"/>
                      </a:cubicBezTo>
                      <a:cubicBezTo>
                        <a:pt x="140" y="50"/>
                        <a:pt x="140" y="50"/>
                        <a:pt x="140" y="50"/>
                      </a:cubicBezTo>
                      <a:cubicBezTo>
                        <a:pt x="142" y="48"/>
                        <a:pt x="142" y="48"/>
                        <a:pt x="142" y="48"/>
                      </a:cubicBezTo>
                      <a:cubicBezTo>
                        <a:pt x="143" y="46"/>
                        <a:pt x="143" y="46"/>
                        <a:pt x="143" y="46"/>
                      </a:cubicBezTo>
                      <a:cubicBezTo>
                        <a:pt x="145" y="46"/>
                        <a:pt x="145" y="46"/>
                        <a:pt x="145" y="46"/>
                      </a:cubicBezTo>
                      <a:cubicBezTo>
                        <a:pt x="149" y="49"/>
                        <a:pt x="149" y="49"/>
                        <a:pt x="149" y="49"/>
                      </a:cubicBezTo>
                      <a:cubicBezTo>
                        <a:pt x="151" y="49"/>
                        <a:pt x="151" y="49"/>
                        <a:pt x="151" y="49"/>
                      </a:cubicBezTo>
                      <a:cubicBezTo>
                        <a:pt x="152" y="47"/>
                        <a:pt x="152" y="47"/>
                        <a:pt x="152" y="47"/>
                      </a:cubicBezTo>
                      <a:cubicBezTo>
                        <a:pt x="153" y="46"/>
                        <a:pt x="153" y="46"/>
                        <a:pt x="153" y="46"/>
                      </a:cubicBezTo>
                      <a:cubicBezTo>
                        <a:pt x="155" y="45"/>
                        <a:pt x="155" y="45"/>
                        <a:pt x="155" y="45"/>
                      </a:cubicBezTo>
                      <a:cubicBezTo>
                        <a:pt x="156" y="45"/>
                        <a:pt x="156" y="45"/>
                        <a:pt x="156" y="45"/>
                      </a:cubicBezTo>
                      <a:cubicBezTo>
                        <a:pt x="158" y="44"/>
                        <a:pt x="158" y="44"/>
                        <a:pt x="158" y="44"/>
                      </a:cubicBezTo>
                      <a:cubicBezTo>
                        <a:pt x="159" y="42"/>
                        <a:pt x="159" y="42"/>
                        <a:pt x="159" y="42"/>
                      </a:cubicBezTo>
                      <a:cubicBezTo>
                        <a:pt x="158" y="41"/>
                        <a:pt x="158" y="41"/>
                        <a:pt x="158" y="41"/>
                      </a:cubicBezTo>
                      <a:cubicBezTo>
                        <a:pt x="157" y="38"/>
                        <a:pt x="157" y="38"/>
                        <a:pt x="157" y="38"/>
                      </a:cubicBezTo>
                      <a:cubicBezTo>
                        <a:pt x="158" y="33"/>
                        <a:pt x="158" y="33"/>
                        <a:pt x="158" y="33"/>
                      </a:cubicBezTo>
                      <a:cubicBezTo>
                        <a:pt x="158" y="31"/>
                        <a:pt x="158" y="31"/>
                        <a:pt x="158" y="31"/>
                      </a:cubicBezTo>
                      <a:cubicBezTo>
                        <a:pt x="157" y="30"/>
                        <a:pt x="157" y="30"/>
                        <a:pt x="157" y="30"/>
                      </a:cubicBezTo>
                      <a:cubicBezTo>
                        <a:pt x="158" y="29"/>
                        <a:pt x="158" y="29"/>
                        <a:pt x="158" y="29"/>
                      </a:cubicBezTo>
                      <a:cubicBezTo>
                        <a:pt x="160" y="27"/>
                        <a:pt x="160" y="27"/>
                        <a:pt x="160" y="27"/>
                      </a:cubicBezTo>
                      <a:cubicBezTo>
                        <a:pt x="160" y="26"/>
                        <a:pt x="160" y="26"/>
                        <a:pt x="160" y="26"/>
                      </a:cubicBezTo>
                      <a:cubicBezTo>
                        <a:pt x="162" y="25"/>
                        <a:pt x="162" y="25"/>
                        <a:pt x="162" y="25"/>
                      </a:cubicBezTo>
                      <a:cubicBezTo>
                        <a:pt x="164" y="25"/>
                        <a:pt x="164" y="25"/>
                        <a:pt x="164" y="25"/>
                      </a:cubicBezTo>
                      <a:cubicBezTo>
                        <a:pt x="166" y="25"/>
                        <a:pt x="166" y="25"/>
                        <a:pt x="166" y="25"/>
                      </a:cubicBezTo>
                      <a:cubicBezTo>
                        <a:pt x="166" y="24"/>
                        <a:pt x="166" y="24"/>
                        <a:pt x="166" y="24"/>
                      </a:cubicBezTo>
                      <a:cubicBezTo>
                        <a:pt x="167" y="22"/>
                        <a:pt x="167" y="22"/>
                        <a:pt x="167" y="22"/>
                      </a:cubicBezTo>
                      <a:cubicBezTo>
                        <a:pt x="171" y="22"/>
                        <a:pt x="171" y="22"/>
                        <a:pt x="171" y="22"/>
                      </a:cubicBezTo>
                      <a:cubicBezTo>
                        <a:pt x="173" y="23"/>
                        <a:pt x="173" y="23"/>
                        <a:pt x="173" y="23"/>
                      </a:cubicBezTo>
                      <a:cubicBezTo>
                        <a:pt x="176" y="26"/>
                        <a:pt x="176" y="26"/>
                        <a:pt x="176" y="26"/>
                      </a:cubicBezTo>
                      <a:cubicBezTo>
                        <a:pt x="177" y="28"/>
                        <a:pt x="177" y="28"/>
                        <a:pt x="177" y="28"/>
                      </a:cubicBezTo>
                      <a:cubicBezTo>
                        <a:pt x="179" y="29"/>
                        <a:pt x="179" y="29"/>
                        <a:pt x="179" y="29"/>
                      </a:cubicBezTo>
                      <a:cubicBezTo>
                        <a:pt x="182" y="29"/>
                        <a:pt x="182" y="29"/>
                        <a:pt x="182" y="29"/>
                      </a:cubicBezTo>
                      <a:cubicBezTo>
                        <a:pt x="183" y="31"/>
                        <a:pt x="183" y="31"/>
                        <a:pt x="183" y="31"/>
                      </a:cubicBezTo>
                      <a:cubicBezTo>
                        <a:pt x="185" y="33"/>
                        <a:pt x="185" y="33"/>
                        <a:pt x="185" y="33"/>
                      </a:cubicBezTo>
                      <a:cubicBezTo>
                        <a:pt x="184" y="35"/>
                        <a:pt x="184" y="35"/>
                        <a:pt x="184" y="35"/>
                      </a:cubicBezTo>
                      <a:cubicBezTo>
                        <a:pt x="183" y="37"/>
                        <a:pt x="183" y="37"/>
                        <a:pt x="183" y="37"/>
                      </a:cubicBezTo>
                      <a:cubicBezTo>
                        <a:pt x="183" y="41"/>
                        <a:pt x="183" y="41"/>
                        <a:pt x="183" y="41"/>
                      </a:cubicBezTo>
                      <a:close/>
                      <a:moveTo>
                        <a:pt x="9" y="213"/>
                      </a:moveTo>
                      <a:cubicBezTo>
                        <a:pt x="10" y="214"/>
                        <a:pt x="10" y="214"/>
                        <a:pt x="10" y="214"/>
                      </a:cubicBezTo>
                      <a:cubicBezTo>
                        <a:pt x="9" y="215"/>
                        <a:pt x="9" y="215"/>
                        <a:pt x="9" y="215"/>
                      </a:cubicBezTo>
                      <a:cubicBezTo>
                        <a:pt x="9" y="213"/>
                        <a:pt x="9" y="213"/>
                        <a:pt x="9" y="213"/>
                      </a:cubicBezTo>
                      <a:close/>
                      <a:moveTo>
                        <a:pt x="5" y="202"/>
                      </a:moveTo>
                      <a:cubicBezTo>
                        <a:pt x="4" y="202"/>
                        <a:pt x="6" y="202"/>
                        <a:pt x="6" y="202"/>
                      </a:cubicBezTo>
                      <a:cubicBezTo>
                        <a:pt x="7" y="203"/>
                        <a:pt x="7" y="203"/>
                        <a:pt x="7" y="203"/>
                      </a:cubicBezTo>
                      <a:cubicBezTo>
                        <a:pt x="6" y="204"/>
                        <a:pt x="6" y="204"/>
                        <a:pt x="6" y="204"/>
                      </a:cubicBezTo>
                      <a:cubicBezTo>
                        <a:pt x="5" y="202"/>
                        <a:pt x="5" y="202"/>
                        <a:pt x="5" y="202"/>
                      </a:cubicBezTo>
                      <a:close/>
                      <a:moveTo>
                        <a:pt x="8" y="198"/>
                      </a:moveTo>
                      <a:cubicBezTo>
                        <a:pt x="8" y="200"/>
                        <a:pt x="8" y="200"/>
                        <a:pt x="8" y="200"/>
                      </a:cubicBezTo>
                      <a:cubicBezTo>
                        <a:pt x="7" y="200"/>
                        <a:pt x="7" y="200"/>
                        <a:pt x="7" y="200"/>
                      </a:cubicBezTo>
                      <a:cubicBezTo>
                        <a:pt x="8" y="198"/>
                        <a:pt x="8" y="198"/>
                        <a:pt x="8" y="198"/>
                      </a:cubicBezTo>
                      <a:close/>
                      <a:moveTo>
                        <a:pt x="6" y="197"/>
                      </a:moveTo>
                      <a:cubicBezTo>
                        <a:pt x="6" y="199"/>
                        <a:pt x="6" y="199"/>
                        <a:pt x="6" y="199"/>
                      </a:cubicBezTo>
                      <a:cubicBezTo>
                        <a:pt x="4" y="199"/>
                        <a:pt x="4" y="199"/>
                        <a:pt x="4" y="199"/>
                      </a:cubicBezTo>
                      <a:cubicBezTo>
                        <a:pt x="6" y="197"/>
                        <a:pt x="6" y="197"/>
                        <a:pt x="6" y="197"/>
                      </a:cubicBezTo>
                      <a:close/>
                      <a:moveTo>
                        <a:pt x="3" y="190"/>
                      </a:moveTo>
                      <a:cubicBezTo>
                        <a:pt x="1" y="189"/>
                        <a:pt x="1" y="189"/>
                        <a:pt x="1" y="189"/>
                      </a:cubicBezTo>
                      <a:cubicBezTo>
                        <a:pt x="3" y="188"/>
                        <a:pt x="3" y="188"/>
                        <a:pt x="3" y="188"/>
                      </a:cubicBezTo>
                      <a:cubicBezTo>
                        <a:pt x="3" y="188"/>
                        <a:pt x="3" y="190"/>
                        <a:pt x="3" y="190"/>
                      </a:cubicBezTo>
                      <a:close/>
                      <a:moveTo>
                        <a:pt x="2" y="191"/>
                      </a:moveTo>
                      <a:cubicBezTo>
                        <a:pt x="4" y="191"/>
                        <a:pt x="4" y="191"/>
                        <a:pt x="4" y="191"/>
                      </a:cubicBezTo>
                      <a:cubicBezTo>
                        <a:pt x="3" y="192"/>
                        <a:pt x="3" y="192"/>
                        <a:pt x="3" y="192"/>
                      </a:cubicBezTo>
                      <a:cubicBezTo>
                        <a:pt x="2" y="191"/>
                        <a:pt x="2" y="191"/>
                        <a:pt x="2" y="191"/>
                      </a:cubicBezTo>
                      <a:close/>
                      <a:moveTo>
                        <a:pt x="6" y="193"/>
                      </a:moveTo>
                      <a:cubicBezTo>
                        <a:pt x="6" y="193"/>
                        <a:pt x="7" y="195"/>
                        <a:pt x="7" y="195"/>
                      </a:cubicBezTo>
                      <a:cubicBezTo>
                        <a:pt x="7" y="197"/>
                        <a:pt x="7" y="197"/>
                        <a:pt x="7" y="197"/>
                      </a:cubicBezTo>
                      <a:cubicBezTo>
                        <a:pt x="6" y="193"/>
                        <a:pt x="6" y="193"/>
                        <a:pt x="6" y="193"/>
                      </a:cubicBezTo>
                      <a:close/>
                      <a:moveTo>
                        <a:pt x="3" y="196"/>
                      </a:moveTo>
                      <a:cubicBezTo>
                        <a:pt x="2" y="194"/>
                        <a:pt x="2" y="194"/>
                        <a:pt x="2" y="194"/>
                      </a:cubicBezTo>
                      <a:cubicBezTo>
                        <a:pt x="4" y="194"/>
                        <a:pt x="4" y="194"/>
                        <a:pt x="4" y="194"/>
                      </a:cubicBezTo>
                      <a:cubicBezTo>
                        <a:pt x="3" y="196"/>
                        <a:pt x="3" y="196"/>
                        <a:pt x="3" y="196"/>
                      </a:cubicBezTo>
                      <a:close/>
                      <a:moveTo>
                        <a:pt x="2" y="184"/>
                      </a:moveTo>
                      <a:cubicBezTo>
                        <a:pt x="0" y="186"/>
                        <a:pt x="0" y="186"/>
                        <a:pt x="0" y="186"/>
                      </a:cubicBezTo>
                      <a:cubicBezTo>
                        <a:pt x="1" y="186"/>
                        <a:pt x="1" y="186"/>
                        <a:pt x="1" y="186"/>
                      </a:cubicBezTo>
                      <a:cubicBezTo>
                        <a:pt x="2" y="185"/>
                        <a:pt x="2" y="185"/>
                        <a:pt x="2" y="185"/>
                      </a:cubicBezTo>
                      <a:cubicBezTo>
                        <a:pt x="2" y="184"/>
                        <a:pt x="2" y="184"/>
                        <a:pt x="2" y="184"/>
                      </a:cubicBezTo>
                      <a:close/>
                      <a:moveTo>
                        <a:pt x="1" y="170"/>
                      </a:moveTo>
                      <a:cubicBezTo>
                        <a:pt x="3" y="171"/>
                        <a:pt x="3" y="171"/>
                        <a:pt x="3" y="171"/>
                      </a:cubicBezTo>
                      <a:cubicBezTo>
                        <a:pt x="2" y="172"/>
                        <a:pt x="2" y="172"/>
                        <a:pt x="2" y="172"/>
                      </a:cubicBezTo>
                      <a:cubicBezTo>
                        <a:pt x="1" y="170"/>
                        <a:pt x="1" y="170"/>
                        <a:pt x="1" y="170"/>
                      </a:cubicBezTo>
                      <a:close/>
                      <a:moveTo>
                        <a:pt x="2" y="167"/>
                      </a:moveTo>
                      <a:cubicBezTo>
                        <a:pt x="4" y="168"/>
                        <a:pt x="4" y="168"/>
                        <a:pt x="4" y="168"/>
                      </a:cubicBezTo>
                      <a:cubicBezTo>
                        <a:pt x="3" y="169"/>
                        <a:pt x="3" y="169"/>
                        <a:pt x="3" y="169"/>
                      </a:cubicBezTo>
                      <a:cubicBezTo>
                        <a:pt x="2" y="167"/>
                        <a:pt x="2" y="167"/>
                        <a:pt x="2" y="167"/>
                      </a:cubicBezTo>
                      <a:close/>
                      <a:moveTo>
                        <a:pt x="7" y="163"/>
                      </a:moveTo>
                      <a:cubicBezTo>
                        <a:pt x="8" y="165"/>
                        <a:pt x="8" y="165"/>
                        <a:pt x="8" y="165"/>
                      </a:cubicBezTo>
                      <a:cubicBezTo>
                        <a:pt x="6" y="165"/>
                        <a:pt x="6" y="165"/>
                        <a:pt x="6" y="165"/>
                      </a:cubicBezTo>
                      <a:cubicBezTo>
                        <a:pt x="7" y="163"/>
                        <a:pt x="7" y="163"/>
                        <a:pt x="7" y="163"/>
                      </a:cubicBezTo>
                      <a:close/>
                      <a:moveTo>
                        <a:pt x="9" y="162"/>
                      </a:moveTo>
                      <a:cubicBezTo>
                        <a:pt x="10" y="162"/>
                        <a:pt x="10" y="162"/>
                        <a:pt x="10" y="162"/>
                      </a:cubicBezTo>
                      <a:cubicBezTo>
                        <a:pt x="11" y="163"/>
                        <a:pt x="11" y="163"/>
                        <a:pt x="11" y="163"/>
                      </a:cubicBezTo>
                      <a:cubicBezTo>
                        <a:pt x="9" y="165"/>
                        <a:pt x="9" y="165"/>
                        <a:pt x="9" y="165"/>
                      </a:cubicBezTo>
                      <a:cubicBezTo>
                        <a:pt x="9" y="162"/>
                        <a:pt x="9" y="162"/>
                        <a:pt x="9" y="162"/>
                      </a:cubicBezTo>
                      <a:close/>
                      <a:moveTo>
                        <a:pt x="26" y="149"/>
                      </a:moveTo>
                      <a:cubicBezTo>
                        <a:pt x="26" y="149"/>
                        <a:pt x="28" y="148"/>
                        <a:pt x="28" y="148"/>
                      </a:cubicBezTo>
                      <a:cubicBezTo>
                        <a:pt x="28" y="150"/>
                        <a:pt x="28" y="150"/>
                        <a:pt x="28" y="150"/>
                      </a:cubicBezTo>
                      <a:cubicBezTo>
                        <a:pt x="27" y="151"/>
                        <a:pt x="27" y="151"/>
                        <a:pt x="27" y="151"/>
                      </a:cubicBezTo>
                      <a:cubicBezTo>
                        <a:pt x="26" y="149"/>
                        <a:pt x="26" y="149"/>
                        <a:pt x="26" y="149"/>
                      </a:cubicBezTo>
                      <a:close/>
                      <a:moveTo>
                        <a:pt x="27" y="146"/>
                      </a:moveTo>
                      <a:cubicBezTo>
                        <a:pt x="27" y="146"/>
                        <a:pt x="26" y="147"/>
                        <a:pt x="26" y="147"/>
                      </a:cubicBezTo>
                      <a:cubicBezTo>
                        <a:pt x="24" y="145"/>
                        <a:pt x="24" y="145"/>
                        <a:pt x="24" y="145"/>
                      </a:cubicBezTo>
                      <a:cubicBezTo>
                        <a:pt x="26" y="145"/>
                        <a:pt x="26" y="145"/>
                        <a:pt x="26" y="145"/>
                      </a:cubicBezTo>
                      <a:cubicBezTo>
                        <a:pt x="27" y="146"/>
                        <a:pt x="27" y="146"/>
                        <a:pt x="27" y="146"/>
                      </a:cubicBezTo>
                      <a:close/>
                      <a:moveTo>
                        <a:pt x="29" y="142"/>
                      </a:moveTo>
                      <a:cubicBezTo>
                        <a:pt x="32" y="139"/>
                        <a:pt x="32" y="139"/>
                        <a:pt x="32" y="139"/>
                      </a:cubicBezTo>
                      <a:cubicBezTo>
                        <a:pt x="33" y="141"/>
                        <a:pt x="33" y="141"/>
                        <a:pt x="33" y="141"/>
                      </a:cubicBezTo>
                      <a:cubicBezTo>
                        <a:pt x="31" y="142"/>
                        <a:pt x="31" y="142"/>
                        <a:pt x="31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lose/>
                      <a:moveTo>
                        <a:pt x="29" y="146"/>
                      </a:moveTo>
                      <a:cubicBezTo>
                        <a:pt x="30" y="144"/>
                        <a:pt x="30" y="144"/>
                        <a:pt x="30" y="144"/>
                      </a:cubicBezTo>
                      <a:cubicBezTo>
                        <a:pt x="32" y="144"/>
                        <a:pt x="32" y="144"/>
                        <a:pt x="32" y="144"/>
                      </a:cubicBezTo>
                      <a:cubicBezTo>
                        <a:pt x="33" y="142"/>
                        <a:pt x="33" y="142"/>
                        <a:pt x="33" y="142"/>
                      </a:cubicBezTo>
                      <a:cubicBezTo>
                        <a:pt x="34" y="142"/>
                        <a:pt x="34" y="142"/>
                        <a:pt x="34" y="142"/>
                      </a:cubicBezTo>
                      <a:cubicBezTo>
                        <a:pt x="35" y="144"/>
                        <a:pt x="35" y="144"/>
                        <a:pt x="35" y="144"/>
                      </a:cubicBezTo>
                      <a:cubicBezTo>
                        <a:pt x="34" y="145"/>
                        <a:pt x="34" y="145"/>
                        <a:pt x="34" y="145"/>
                      </a:cubicBezTo>
                      <a:cubicBezTo>
                        <a:pt x="32" y="145"/>
                        <a:pt x="32" y="145"/>
                        <a:pt x="32" y="145"/>
                      </a:cubicBezTo>
                      <a:cubicBezTo>
                        <a:pt x="30" y="146"/>
                        <a:pt x="30" y="146"/>
                        <a:pt x="30" y="146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lose/>
                      <a:moveTo>
                        <a:pt x="54" y="118"/>
                      </a:moveTo>
                      <a:cubicBezTo>
                        <a:pt x="55" y="116"/>
                        <a:pt x="55" y="116"/>
                        <a:pt x="55" y="116"/>
                      </a:cubicBezTo>
                      <a:cubicBezTo>
                        <a:pt x="57" y="116"/>
                        <a:pt x="57" y="116"/>
                        <a:pt x="57" y="116"/>
                      </a:cubicBezTo>
                      <a:cubicBezTo>
                        <a:pt x="55" y="118"/>
                        <a:pt x="55" y="118"/>
                        <a:pt x="55" y="118"/>
                      </a:cubicBezTo>
                      <a:cubicBezTo>
                        <a:pt x="54" y="118"/>
                        <a:pt x="54" y="118"/>
                        <a:pt x="54" y="118"/>
                      </a:cubicBezTo>
                      <a:close/>
                      <a:moveTo>
                        <a:pt x="52" y="122"/>
                      </a:moveTo>
                      <a:cubicBezTo>
                        <a:pt x="51" y="121"/>
                        <a:pt x="51" y="121"/>
                        <a:pt x="51" y="121"/>
                      </a:cubicBezTo>
                      <a:cubicBezTo>
                        <a:pt x="50" y="121"/>
                        <a:pt x="50" y="121"/>
                        <a:pt x="50" y="121"/>
                      </a:cubicBezTo>
                      <a:cubicBezTo>
                        <a:pt x="51" y="120"/>
                        <a:pt x="51" y="120"/>
                        <a:pt x="51" y="120"/>
                      </a:cubicBezTo>
                      <a:cubicBezTo>
                        <a:pt x="54" y="119"/>
                        <a:pt x="54" y="119"/>
                        <a:pt x="54" y="119"/>
                      </a:cubicBezTo>
                      <a:cubicBezTo>
                        <a:pt x="55" y="119"/>
                        <a:pt x="55" y="119"/>
                        <a:pt x="55" y="119"/>
                      </a:cubicBezTo>
                      <a:cubicBezTo>
                        <a:pt x="53" y="122"/>
                        <a:pt x="53" y="122"/>
                        <a:pt x="53" y="122"/>
                      </a:cubicBezTo>
                      <a:cubicBezTo>
                        <a:pt x="52" y="122"/>
                        <a:pt x="52" y="122"/>
                        <a:pt x="52" y="122"/>
                      </a:cubicBezTo>
                      <a:close/>
                      <a:moveTo>
                        <a:pt x="57" y="106"/>
                      </a:moveTo>
                      <a:cubicBezTo>
                        <a:pt x="58" y="106"/>
                        <a:pt x="58" y="106"/>
                        <a:pt x="58" y="106"/>
                      </a:cubicBezTo>
                      <a:cubicBezTo>
                        <a:pt x="58" y="108"/>
                        <a:pt x="58" y="108"/>
                        <a:pt x="58" y="108"/>
                      </a:cubicBezTo>
                      <a:cubicBezTo>
                        <a:pt x="57" y="108"/>
                        <a:pt x="57" y="108"/>
                        <a:pt x="57" y="108"/>
                      </a:cubicBezTo>
                      <a:cubicBezTo>
                        <a:pt x="56" y="107"/>
                        <a:pt x="56" y="107"/>
                        <a:pt x="56" y="107"/>
                      </a:cubicBezTo>
                      <a:cubicBezTo>
                        <a:pt x="57" y="106"/>
                        <a:pt x="57" y="106"/>
                        <a:pt x="57" y="106"/>
                      </a:cubicBezTo>
                      <a:close/>
                      <a:moveTo>
                        <a:pt x="61" y="102"/>
                      </a:moveTo>
                      <a:cubicBezTo>
                        <a:pt x="61" y="101"/>
                        <a:pt x="61" y="101"/>
                        <a:pt x="61" y="101"/>
                      </a:cubicBezTo>
                      <a:cubicBezTo>
                        <a:pt x="63" y="101"/>
                        <a:pt x="63" y="101"/>
                        <a:pt x="63" y="101"/>
                      </a:cubicBezTo>
                      <a:cubicBezTo>
                        <a:pt x="61" y="103"/>
                        <a:pt x="61" y="103"/>
                        <a:pt x="61" y="103"/>
                      </a:cubicBezTo>
                      <a:cubicBezTo>
                        <a:pt x="61" y="102"/>
                        <a:pt x="61" y="102"/>
                        <a:pt x="61" y="102"/>
                      </a:cubicBezTo>
                      <a:close/>
                      <a:moveTo>
                        <a:pt x="59" y="99"/>
                      </a:moveTo>
                      <a:cubicBezTo>
                        <a:pt x="61" y="97"/>
                        <a:pt x="61" y="97"/>
                        <a:pt x="61" y="97"/>
                      </a:cubicBez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0" y="101"/>
                        <a:pt x="60" y="101"/>
                        <a:pt x="60" y="101"/>
                      </a:cubicBezTo>
                      <a:cubicBezTo>
                        <a:pt x="59" y="99"/>
                        <a:pt x="59" y="99"/>
                        <a:pt x="59" y="99"/>
                      </a:cubicBezTo>
                      <a:close/>
                      <a:moveTo>
                        <a:pt x="71" y="81"/>
                      </a:moveTo>
                      <a:cubicBezTo>
                        <a:pt x="72" y="80"/>
                        <a:pt x="72" y="80"/>
                        <a:pt x="72" y="80"/>
                      </a:cubicBez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72" y="82"/>
                        <a:pt x="72" y="82"/>
                        <a:pt x="72" y="82"/>
                      </a:cubicBezTo>
                      <a:cubicBezTo>
                        <a:pt x="71" y="81"/>
                        <a:pt x="71" y="81"/>
                        <a:pt x="71" y="81"/>
                      </a:cubicBezTo>
                      <a:close/>
                      <a:moveTo>
                        <a:pt x="60" y="71"/>
                      </a:moveTo>
                      <a:cubicBezTo>
                        <a:pt x="60" y="72"/>
                        <a:pt x="60" y="72"/>
                        <a:pt x="60" y="72"/>
                      </a:cubicBezTo>
                      <a:cubicBezTo>
                        <a:pt x="60" y="73"/>
                        <a:pt x="60" y="73"/>
                        <a:pt x="60" y="73"/>
                      </a:cubicBezTo>
                      <a:cubicBezTo>
                        <a:pt x="59" y="72"/>
                        <a:pt x="59" y="72"/>
                        <a:pt x="59" y="72"/>
                      </a:cubicBezTo>
                      <a:cubicBezTo>
                        <a:pt x="60" y="71"/>
                        <a:pt x="60" y="71"/>
                        <a:pt x="60" y="71"/>
                      </a:cubicBezTo>
                      <a:close/>
                      <a:moveTo>
                        <a:pt x="63" y="66"/>
                      </a:move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2" y="63"/>
                        <a:pt x="62" y="63"/>
                        <a:pt x="62" y="63"/>
                      </a:cubicBezTo>
                      <a:cubicBezTo>
                        <a:pt x="63" y="66"/>
                        <a:pt x="63" y="66"/>
                        <a:pt x="63" y="66"/>
                      </a:cubicBezTo>
                      <a:close/>
                      <a:moveTo>
                        <a:pt x="64" y="64"/>
                      </a:moveTo>
                      <a:cubicBezTo>
                        <a:pt x="64" y="63"/>
                        <a:pt x="64" y="63"/>
                        <a:pt x="64" y="63"/>
                      </a:cubicBezTo>
                      <a:cubicBezTo>
                        <a:pt x="64" y="62"/>
                        <a:pt x="64" y="62"/>
                        <a:pt x="64" y="6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4" y="64"/>
                        <a:pt x="64" y="64"/>
                        <a:pt x="64" y="64"/>
                      </a:cubicBezTo>
                      <a:close/>
                      <a:moveTo>
                        <a:pt x="70" y="60"/>
                      </a:moveTo>
                      <a:cubicBezTo>
                        <a:pt x="70" y="61"/>
                        <a:pt x="70" y="61"/>
                        <a:pt x="70" y="61"/>
                      </a:cubicBez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67" y="60"/>
                        <a:pt x="67" y="60"/>
                        <a:pt x="67" y="60"/>
                      </a:cubicBezTo>
                      <a:cubicBezTo>
                        <a:pt x="70" y="60"/>
                        <a:pt x="70" y="60"/>
                        <a:pt x="70" y="60"/>
                      </a:cubicBezTo>
                      <a:close/>
                      <a:moveTo>
                        <a:pt x="73" y="55"/>
                      </a:moveTo>
                      <a:cubicBezTo>
                        <a:pt x="74" y="54"/>
                        <a:pt x="74" y="54"/>
                        <a:pt x="74" y="54"/>
                      </a:cubicBezTo>
                      <a:cubicBezTo>
                        <a:pt x="76" y="55"/>
                        <a:pt x="76" y="55"/>
                        <a:pt x="76" y="55"/>
                      </a:cubicBezTo>
                      <a:cubicBezTo>
                        <a:pt x="73" y="55"/>
                        <a:pt x="73" y="55"/>
                        <a:pt x="73" y="55"/>
                      </a:cubicBezTo>
                      <a:close/>
                      <a:moveTo>
                        <a:pt x="76" y="56"/>
                      </a:move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3" y="59"/>
                        <a:pt x="73" y="59"/>
                        <a:pt x="73" y="59"/>
                      </a:cubicBezTo>
                      <a:cubicBezTo>
                        <a:pt x="71" y="61"/>
                        <a:pt x="71" y="61"/>
                        <a:pt x="71" y="61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6" y="56"/>
                        <a:pt x="76" y="56"/>
                        <a:pt x="76" y="56"/>
                      </a:cubicBezTo>
                      <a:close/>
                      <a:moveTo>
                        <a:pt x="77" y="46"/>
                      </a:moveTo>
                      <a:cubicBezTo>
                        <a:pt x="77" y="49"/>
                        <a:pt x="77" y="49"/>
                        <a:pt x="77" y="49"/>
                      </a:cubicBezTo>
                      <a:cubicBezTo>
                        <a:pt x="77" y="52"/>
                        <a:pt x="77" y="52"/>
                        <a:pt x="77" y="52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4" y="52"/>
                        <a:pt x="74" y="52"/>
                        <a:pt x="74" y="52"/>
                      </a:cubicBezTo>
                      <a:cubicBezTo>
                        <a:pt x="76" y="50"/>
                        <a:pt x="76" y="50"/>
                        <a:pt x="76" y="50"/>
                      </a:cubicBezTo>
                      <a:cubicBezTo>
                        <a:pt x="75" y="50"/>
                        <a:pt x="75" y="50"/>
                        <a:pt x="75" y="50"/>
                      </a:cubicBezTo>
                      <a:cubicBezTo>
                        <a:pt x="72" y="52"/>
                        <a:pt x="72" y="52"/>
                        <a:pt x="72" y="52"/>
                      </a:cubicBezTo>
                      <a:cubicBezTo>
                        <a:pt x="72" y="51"/>
                        <a:pt x="72" y="51"/>
                        <a:pt x="72" y="51"/>
                      </a:cubicBezTo>
                      <a:cubicBezTo>
                        <a:pt x="72" y="49"/>
                        <a:pt x="72" y="49"/>
                        <a:pt x="72" y="49"/>
                      </a:cubicBezTo>
                      <a:cubicBezTo>
                        <a:pt x="74" y="50"/>
                        <a:pt x="74" y="50"/>
                        <a:pt x="74" y="50"/>
                      </a:cubicBezTo>
                      <a:cubicBezTo>
                        <a:pt x="76" y="48"/>
                        <a:pt x="76" y="48"/>
                        <a:pt x="76" y="48"/>
                      </a:cubicBezTo>
                      <a:cubicBezTo>
                        <a:pt x="76" y="47"/>
                        <a:pt x="76" y="47"/>
                        <a:pt x="76" y="47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lose/>
                      <a:moveTo>
                        <a:pt x="79" y="48"/>
                      </a:moveTo>
                      <a:cubicBezTo>
                        <a:pt x="78" y="47"/>
                        <a:pt x="78" y="47"/>
                        <a:pt x="78" y="47"/>
                      </a:cubicBezTo>
                      <a:cubicBezTo>
                        <a:pt x="78" y="44"/>
                        <a:pt x="78" y="44"/>
                        <a:pt x="78" y="44"/>
                      </a:cubicBezTo>
                      <a:cubicBezTo>
                        <a:pt x="81" y="42"/>
                        <a:pt x="81" y="42"/>
                        <a:pt x="81" y="42"/>
                      </a:cubicBezTo>
                      <a:cubicBezTo>
                        <a:pt x="81" y="40"/>
                        <a:pt x="81" y="40"/>
                        <a:pt x="81" y="40"/>
                      </a:cubicBezTo>
                      <a:cubicBezTo>
                        <a:pt x="83" y="39"/>
                        <a:pt x="83" y="39"/>
                        <a:pt x="83" y="39"/>
                      </a:cubicBezTo>
                      <a:cubicBezTo>
                        <a:pt x="84" y="41"/>
                        <a:pt x="84" y="41"/>
                        <a:pt x="84" y="41"/>
                      </a:cubicBezTo>
                      <a:cubicBezTo>
                        <a:pt x="82" y="42"/>
                        <a:pt x="82" y="42"/>
                        <a:pt x="82" y="42"/>
                      </a:cubicBezTo>
                      <a:cubicBezTo>
                        <a:pt x="81" y="44"/>
                        <a:pt x="81" y="44"/>
                        <a:pt x="81" y="44"/>
                      </a:cubicBezTo>
                      <a:cubicBezTo>
                        <a:pt x="79" y="48"/>
                        <a:pt x="79" y="48"/>
                        <a:pt x="79" y="48"/>
                      </a:cubicBezTo>
                      <a:close/>
                      <a:moveTo>
                        <a:pt x="85" y="49"/>
                      </a:moveTo>
                      <a:cubicBezTo>
                        <a:pt x="88" y="51"/>
                        <a:pt x="88" y="51"/>
                        <a:pt x="88" y="51"/>
                      </a:cubicBezTo>
                      <a:cubicBezTo>
                        <a:pt x="84" y="55"/>
                        <a:pt x="84" y="55"/>
                        <a:pt x="84" y="55"/>
                      </a:cubicBezTo>
                      <a:cubicBezTo>
                        <a:pt x="82" y="56"/>
                        <a:pt x="82" y="56"/>
                        <a:pt x="82" y="56"/>
                      </a:cubicBezTo>
                      <a:cubicBezTo>
                        <a:pt x="81" y="58"/>
                        <a:pt x="81" y="58"/>
                        <a:pt x="81" y="58"/>
                      </a:cubicBezTo>
                      <a:cubicBezTo>
                        <a:pt x="80" y="57"/>
                        <a:pt x="80" y="57"/>
                        <a:pt x="80" y="57"/>
                      </a:cubicBezTo>
                      <a:cubicBezTo>
                        <a:pt x="80" y="55"/>
                        <a:pt x="80" y="55"/>
                        <a:pt x="80" y="55"/>
                      </a:cubicBezTo>
                      <a:cubicBezTo>
                        <a:pt x="78" y="58"/>
                        <a:pt x="78" y="58"/>
                        <a:pt x="78" y="58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7" y="56"/>
                        <a:pt x="77" y="56"/>
                        <a:pt x="77" y="56"/>
                      </a:cubicBezTo>
                      <a:cubicBezTo>
                        <a:pt x="78" y="55"/>
                        <a:pt x="78" y="55"/>
                        <a:pt x="78" y="55"/>
                      </a:cubicBezTo>
                      <a:cubicBezTo>
                        <a:pt x="78" y="54"/>
                        <a:pt x="78" y="54"/>
                        <a:pt x="78" y="54"/>
                      </a:cubicBezTo>
                      <a:cubicBezTo>
                        <a:pt x="79" y="52"/>
                        <a:pt x="79" y="52"/>
                        <a:pt x="79" y="52"/>
                      </a:cubicBezTo>
                      <a:cubicBezTo>
                        <a:pt x="79" y="50"/>
                        <a:pt x="79" y="50"/>
                        <a:pt x="79" y="50"/>
                      </a:cubicBezTo>
                      <a:cubicBezTo>
                        <a:pt x="82" y="46"/>
                        <a:pt x="82" y="46"/>
                        <a:pt x="82" y="46"/>
                      </a:cubicBezTo>
                      <a:cubicBezTo>
                        <a:pt x="80" y="52"/>
                        <a:pt x="80" y="52"/>
                        <a:pt x="80" y="52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2" y="51"/>
                        <a:pt x="82" y="51"/>
                        <a:pt x="82" y="51"/>
                      </a:cubicBezTo>
                      <a:cubicBezTo>
                        <a:pt x="85" y="51"/>
                        <a:pt x="85" y="51"/>
                        <a:pt x="85" y="51"/>
                      </a:cubicBezTo>
                      <a:cubicBezTo>
                        <a:pt x="84" y="49"/>
                        <a:pt x="84" y="49"/>
                        <a:pt x="84" y="49"/>
                      </a:cubicBezTo>
                      <a:cubicBezTo>
                        <a:pt x="84" y="48"/>
                        <a:pt x="84" y="48"/>
                        <a:pt x="84" y="48"/>
                      </a:cubicBezTo>
                      <a:cubicBezTo>
                        <a:pt x="85" y="49"/>
                        <a:pt x="85" y="49"/>
                        <a:pt x="85" y="49"/>
                      </a:cubicBezTo>
                      <a:close/>
                      <a:moveTo>
                        <a:pt x="85" y="47"/>
                      </a:moveTo>
                      <a:cubicBezTo>
                        <a:pt x="84" y="46"/>
                        <a:pt x="84" y="46"/>
                        <a:pt x="84" y="46"/>
                      </a:cubicBezTo>
                      <a:cubicBezTo>
                        <a:pt x="86" y="45"/>
                        <a:pt x="86" y="45"/>
                        <a:pt x="86" y="45"/>
                      </a:cubicBezTo>
                      <a:cubicBezTo>
                        <a:pt x="88" y="46"/>
                        <a:pt x="88" y="46"/>
                        <a:pt x="88" y="46"/>
                      </a:cubicBezTo>
                      <a:cubicBezTo>
                        <a:pt x="88" y="48"/>
                        <a:pt x="88" y="48"/>
                        <a:pt x="88" y="48"/>
                      </a:cubicBezTo>
                      <a:cubicBezTo>
                        <a:pt x="85" y="47"/>
                        <a:pt x="85" y="47"/>
                        <a:pt x="85" y="47"/>
                      </a:cubicBezTo>
                      <a:close/>
                      <a:moveTo>
                        <a:pt x="90" y="49"/>
                      </a:moveTo>
                      <a:cubicBezTo>
                        <a:pt x="91" y="47"/>
                        <a:pt x="91" y="47"/>
                        <a:pt x="91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0" y="49"/>
                        <a:pt x="90" y="49"/>
                        <a:pt x="90" y="49"/>
                      </a:cubicBezTo>
                      <a:close/>
                      <a:moveTo>
                        <a:pt x="97" y="39"/>
                      </a:moveTo>
                      <a:cubicBezTo>
                        <a:pt x="96" y="40"/>
                        <a:pt x="96" y="40"/>
                        <a:pt x="96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5" y="42"/>
                        <a:pt x="95" y="42"/>
                        <a:pt x="95" y="42"/>
                      </a:cubicBezTo>
                      <a:cubicBezTo>
                        <a:pt x="94" y="43"/>
                        <a:pt x="94" y="43"/>
                        <a:pt x="94" y="43"/>
                      </a:cubicBezTo>
                      <a:cubicBezTo>
                        <a:pt x="92" y="43"/>
                        <a:pt x="92" y="43"/>
                        <a:pt x="92" y="43"/>
                      </a:cubicBezTo>
                      <a:cubicBezTo>
                        <a:pt x="91" y="45"/>
                        <a:pt x="91" y="45"/>
                        <a:pt x="91" y="45"/>
                      </a:cubicBezTo>
                      <a:cubicBezTo>
                        <a:pt x="90" y="45"/>
                        <a:pt x="90" y="45"/>
                        <a:pt x="90" y="45"/>
                      </a:cubicBezTo>
                      <a:cubicBezTo>
                        <a:pt x="90" y="44"/>
                        <a:pt x="90" y="44"/>
                        <a:pt x="90" y="44"/>
                      </a:cubicBezTo>
                      <a:cubicBezTo>
                        <a:pt x="89" y="43"/>
                        <a:pt x="89" y="43"/>
                        <a:pt x="89" y="43"/>
                      </a:cubicBezTo>
                      <a:cubicBezTo>
                        <a:pt x="90" y="41"/>
                        <a:pt x="90" y="41"/>
                        <a:pt x="90" y="41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39"/>
                        <a:pt x="89" y="39"/>
                        <a:pt x="89" y="39"/>
                      </a:cubicBezTo>
                      <a:cubicBezTo>
                        <a:pt x="92" y="39"/>
                        <a:pt x="92" y="39"/>
                        <a:pt x="92" y="39"/>
                      </a:cubicBezTo>
                      <a:cubicBezTo>
                        <a:pt x="90" y="37"/>
                        <a:pt x="90" y="37"/>
                        <a:pt x="90" y="37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2" y="36"/>
                        <a:pt x="92" y="36"/>
                        <a:pt x="92" y="36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95" y="35"/>
                        <a:pt x="95" y="35"/>
                        <a:pt x="95" y="35"/>
                      </a:cubicBezTo>
                      <a:cubicBezTo>
                        <a:pt x="95" y="36"/>
                        <a:pt x="95" y="36"/>
                        <a:pt x="95" y="36"/>
                      </a:cubicBezTo>
                      <a:cubicBezTo>
                        <a:pt x="96" y="37"/>
                        <a:pt x="96" y="37"/>
                        <a:pt x="96" y="37"/>
                      </a:cubicBezTo>
                      <a:cubicBezTo>
                        <a:pt x="97" y="39"/>
                        <a:pt x="97" y="39"/>
                        <a:pt x="97" y="39"/>
                      </a:cubicBezTo>
                      <a:close/>
                      <a:moveTo>
                        <a:pt x="97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100" y="31"/>
                        <a:pt x="100" y="31"/>
                        <a:pt x="100" y="31"/>
                      </a:cubicBezTo>
                      <a:cubicBezTo>
                        <a:pt x="102" y="31"/>
                        <a:pt x="102" y="31"/>
                        <a:pt x="102" y="31"/>
                      </a:cubicBezTo>
                      <a:cubicBezTo>
                        <a:pt x="103" y="30"/>
                        <a:pt x="103" y="30"/>
                        <a:pt x="103" y="30"/>
                      </a:cubicBezTo>
                      <a:cubicBezTo>
                        <a:pt x="104" y="32"/>
                        <a:pt x="104" y="32"/>
                        <a:pt x="104" y="32"/>
                      </a:cubicBezTo>
                      <a:cubicBezTo>
                        <a:pt x="103" y="33"/>
                        <a:pt x="103" y="33"/>
                        <a:pt x="103" y="33"/>
                      </a:cubicBezTo>
                      <a:cubicBezTo>
                        <a:pt x="103" y="35"/>
                        <a:pt x="103" y="35"/>
                        <a:pt x="103" y="35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99" y="36"/>
                        <a:pt x="99" y="36"/>
                        <a:pt x="99" y="36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lose/>
                      <a:moveTo>
                        <a:pt x="105" y="22"/>
                      </a:moveTo>
                      <a:cubicBezTo>
                        <a:pt x="104" y="21"/>
                        <a:pt x="104" y="21"/>
                        <a:pt x="104" y="21"/>
                      </a:cubicBezTo>
                      <a:cubicBezTo>
                        <a:pt x="106" y="20"/>
                        <a:pt x="106" y="20"/>
                        <a:pt x="106" y="20"/>
                      </a:cubicBezTo>
                      <a:cubicBezTo>
                        <a:pt x="105" y="22"/>
                        <a:pt x="105" y="22"/>
                        <a:pt x="105" y="22"/>
                      </a:cubicBezTo>
                      <a:close/>
                      <a:moveTo>
                        <a:pt x="101" y="26"/>
                      </a:moveTo>
                      <a:cubicBezTo>
                        <a:pt x="101" y="24"/>
                        <a:pt x="101" y="24"/>
                        <a:pt x="101" y="24"/>
                      </a:cubicBezTo>
                      <a:cubicBezTo>
                        <a:pt x="104" y="23"/>
                        <a:pt x="104" y="23"/>
                        <a:pt x="104" y="23"/>
                      </a:cubicBezTo>
                      <a:cubicBezTo>
                        <a:pt x="104" y="24"/>
                        <a:pt x="104" y="24"/>
                        <a:pt x="104" y="24"/>
                      </a:cubicBezTo>
                      <a:cubicBezTo>
                        <a:pt x="104" y="24"/>
                        <a:pt x="101" y="26"/>
                        <a:pt x="101" y="26"/>
                      </a:cubicBezTo>
                      <a:close/>
                      <a:moveTo>
                        <a:pt x="108" y="29"/>
                      </a:moveTo>
                      <a:cubicBezTo>
                        <a:pt x="108" y="27"/>
                        <a:pt x="108" y="27"/>
                        <a:pt x="108" y="27"/>
                      </a:cubicBezTo>
                      <a:cubicBezTo>
                        <a:pt x="109" y="29"/>
                        <a:pt x="109" y="29"/>
                        <a:pt x="109" y="29"/>
                      </a:cubicBezTo>
                      <a:cubicBezTo>
                        <a:pt x="108" y="29"/>
                        <a:pt x="108" y="29"/>
                        <a:pt x="108" y="29"/>
                      </a:cubicBezTo>
                      <a:close/>
                      <a:moveTo>
                        <a:pt x="107" y="29"/>
                      </a:moveTo>
                      <a:cubicBezTo>
                        <a:pt x="106" y="30"/>
                        <a:pt x="106" y="30"/>
                        <a:pt x="106" y="30"/>
                      </a:cubicBezTo>
                      <a:cubicBezTo>
                        <a:pt x="105" y="30"/>
                        <a:pt x="105" y="30"/>
                        <a:pt x="105" y="30"/>
                      </a:cubicBezTo>
                      <a:cubicBezTo>
                        <a:pt x="102" y="27"/>
                        <a:pt x="102" y="27"/>
                        <a:pt x="102" y="27"/>
                      </a:cubicBezTo>
                      <a:cubicBezTo>
                        <a:pt x="105" y="25"/>
                        <a:pt x="105" y="25"/>
                        <a:pt x="105" y="25"/>
                      </a:cubicBezTo>
                      <a:cubicBezTo>
                        <a:pt x="106" y="26"/>
                        <a:pt x="106" y="26"/>
                        <a:pt x="106" y="26"/>
                      </a:cubicBezTo>
                      <a:cubicBezTo>
                        <a:pt x="108" y="25"/>
                        <a:pt x="108" y="25"/>
                        <a:pt x="108" y="25"/>
                      </a:cubicBezTo>
                      <a:cubicBezTo>
                        <a:pt x="108" y="26"/>
                        <a:pt x="108" y="26"/>
                        <a:pt x="108" y="26"/>
                      </a:cubicBezTo>
                      <a:cubicBezTo>
                        <a:pt x="106" y="27"/>
                        <a:pt x="106" y="27"/>
                        <a:pt x="106" y="27"/>
                      </a:cubicBezTo>
                      <a:cubicBezTo>
                        <a:pt x="107" y="29"/>
                        <a:pt x="107" y="29"/>
                        <a:pt x="107" y="29"/>
                      </a:cubicBezTo>
                      <a:close/>
                      <a:moveTo>
                        <a:pt x="112" y="24"/>
                      </a:moveTo>
                      <a:cubicBezTo>
                        <a:pt x="111" y="25"/>
                        <a:pt x="111" y="25"/>
                        <a:pt x="111" y="25"/>
                      </a:cubicBezTo>
                      <a:cubicBezTo>
                        <a:pt x="109" y="24"/>
                        <a:pt x="109" y="24"/>
                        <a:pt x="109" y="24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08" y="20"/>
                        <a:pt x="108" y="20"/>
                        <a:pt x="108" y="20"/>
                      </a:cubicBezTo>
                      <a:cubicBezTo>
                        <a:pt x="109" y="19"/>
                        <a:pt x="109" y="19"/>
                        <a:pt x="109" y="19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11" y="23"/>
                        <a:pt x="111" y="23"/>
                        <a:pt x="111" y="23"/>
                      </a:cubicBezTo>
                      <a:cubicBezTo>
                        <a:pt x="112" y="24"/>
                        <a:pt x="112" y="24"/>
                        <a:pt x="112" y="24"/>
                      </a:cubicBezTo>
                      <a:close/>
                      <a:moveTo>
                        <a:pt x="117" y="27"/>
                      </a:moveTo>
                      <a:cubicBezTo>
                        <a:pt x="116" y="26"/>
                        <a:pt x="116" y="26"/>
                        <a:pt x="116" y="26"/>
                      </a:cubicBezTo>
                      <a:cubicBezTo>
                        <a:pt x="115" y="25"/>
                        <a:pt x="115" y="25"/>
                        <a:pt x="115" y="25"/>
                      </a:cubicBezTo>
                      <a:cubicBezTo>
                        <a:pt x="114" y="22"/>
                        <a:pt x="114" y="22"/>
                        <a:pt x="114" y="22"/>
                      </a:cubicBezTo>
                      <a:cubicBezTo>
                        <a:pt x="116" y="20"/>
                        <a:pt x="116" y="20"/>
                        <a:pt x="116" y="20"/>
                      </a:cubicBezTo>
                      <a:cubicBezTo>
                        <a:pt x="118" y="22"/>
                        <a:pt x="118" y="22"/>
                        <a:pt x="118" y="22"/>
                      </a:cubicBezTo>
                      <a:cubicBezTo>
                        <a:pt x="117" y="24"/>
                        <a:pt x="117" y="24"/>
                        <a:pt x="117" y="24"/>
                      </a:cubicBezTo>
                      <a:cubicBezTo>
                        <a:pt x="118" y="25"/>
                        <a:pt x="118" y="25"/>
                        <a:pt x="118" y="25"/>
                      </a:cubicBezTo>
                      <a:cubicBezTo>
                        <a:pt x="117" y="27"/>
                        <a:pt x="117" y="27"/>
                        <a:pt x="117" y="27"/>
                      </a:cubicBezTo>
                      <a:close/>
                      <a:moveTo>
                        <a:pt x="132" y="20"/>
                      </a:moveTo>
                      <a:cubicBezTo>
                        <a:pt x="130" y="19"/>
                        <a:pt x="130" y="19"/>
                        <a:pt x="130" y="19"/>
                      </a:cubicBezTo>
                      <a:cubicBezTo>
                        <a:pt x="128" y="18"/>
                        <a:pt x="128" y="18"/>
                        <a:pt x="128" y="18"/>
                      </a:cubicBezTo>
                      <a:cubicBezTo>
                        <a:pt x="129" y="17"/>
                        <a:pt x="129" y="17"/>
                        <a:pt x="129" y="17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2" y="18"/>
                        <a:pt x="132" y="18"/>
                        <a:pt x="132" y="18"/>
                      </a:cubicBezTo>
                      <a:cubicBezTo>
                        <a:pt x="132" y="20"/>
                        <a:pt x="132" y="20"/>
                        <a:pt x="132" y="20"/>
                      </a:cubicBezTo>
                      <a:close/>
                      <a:moveTo>
                        <a:pt x="134" y="18"/>
                      </a:moveTo>
                      <a:cubicBezTo>
                        <a:pt x="132" y="15"/>
                        <a:pt x="132" y="15"/>
                        <a:pt x="132" y="15"/>
                      </a:cubicBezTo>
                      <a:cubicBezTo>
                        <a:pt x="135" y="12"/>
                        <a:pt x="135" y="12"/>
                        <a:pt x="135" y="12"/>
                      </a:cubicBezTo>
                      <a:cubicBezTo>
                        <a:pt x="136" y="14"/>
                        <a:pt x="136" y="14"/>
                        <a:pt x="136" y="14"/>
                      </a:cubicBezTo>
                      <a:cubicBezTo>
                        <a:pt x="134" y="16"/>
                        <a:pt x="134" y="16"/>
                        <a:pt x="134" y="16"/>
                      </a:cubicBezTo>
                      <a:cubicBezTo>
                        <a:pt x="134" y="18"/>
                        <a:pt x="134" y="18"/>
                        <a:pt x="134" y="18"/>
                      </a:cubicBezTo>
                      <a:close/>
                      <a:moveTo>
                        <a:pt x="130" y="14"/>
                      </a:moveTo>
                      <a:cubicBezTo>
                        <a:pt x="129" y="15"/>
                        <a:pt x="129" y="15"/>
                        <a:pt x="129" y="15"/>
                      </a:cubicBezTo>
                      <a:cubicBezTo>
                        <a:pt x="126" y="14"/>
                        <a:pt x="126" y="14"/>
                        <a:pt x="126" y="14"/>
                      </a:cubicBezTo>
                      <a:cubicBezTo>
                        <a:pt x="125" y="12"/>
                        <a:pt x="125" y="12"/>
                        <a:pt x="125" y="12"/>
                      </a:cubicBezTo>
                      <a:cubicBezTo>
                        <a:pt x="127" y="12"/>
                        <a:pt x="127" y="12"/>
                        <a:pt x="127" y="12"/>
                      </a:cubicBezTo>
                      <a:cubicBezTo>
                        <a:pt x="128" y="11"/>
                        <a:pt x="128" y="11"/>
                        <a:pt x="128" y="11"/>
                      </a:cubicBezTo>
                      <a:cubicBezTo>
                        <a:pt x="129" y="12"/>
                        <a:pt x="129" y="12"/>
                        <a:pt x="129" y="12"/>
                      </a:cubicBezTo>
                      <a:cubicBezTo>
                        <a:pt x="130" y="10"/>
                        <a:pt x="130" y="10"/>
                        <a:pt x="130" y="10"/>
                      </a:cubicBezTo>
                      <a:cubicBezTo>
                        <a:pt x="132" y="11"/>
                        <a:pt x="132" y="11"/>
                        <a:pt x="132" y="11"/>
                      </a:cubicBezTo>
                      <a:cubicBezTo>
                        <a:pt x="135" y="8"/>
                        <a:pt x="135" y="8"/>
                        <a:pt x="135" y="8"/>
                      </a:cubicBezTo>
                      <a:cubicBezTo>
                        <a:pt x="135" y="9"/>
                        <a:pt x="135" y="9"/>
                        <a:pt x="135" y="9"/>
                      </a:cubicBezTo>
                      <a:cubicBezTo>
                        <a:pt x="130" y="14"/>
                        <a:pt x="130" y="14"/>
                        <a:pt x="130" y="14"/>
                      </a:cubicBezTo>
                      <a:close/>
                      <a:moveTo>
                        <a:pt x="136" y="10"/>
                      </a:moveTo>
                      <a:cubicBezTo>
                        <a:pt x="136" y="10"/>
                        <a:pt x="139" y="9"/>
                        <a:pt x="139" y="9"/>
                      </a:cubicBezTo>
                      <a:cubicBezTo>
                        <a:pt x="141" y="11"/>
                        <a:pt x="141" y="11"/>
                        <a:pt x="141" y="1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38" y="14"/>
                        <a:pt x="138" y="14"/>
                        <a:pt x="138" y="14"/>
                      </a:cubicBezTo>
                      <a:cubicBezTo>
                        <a:pt x="137" y="12"/>
                        <a:pt x="137" y="12"/>
                        <a:pt x="137" y="12"/>
                      </a:cubicBezTo>
                      <a:cubicBezTo>
                        <a:pt x="136" y="10"/>
                        <a:pt x="136" y="10"/>
                        <a:pt x="136" y="10"/>
                      </a:cubicBezTo>
                      <a:close/>
                      <a:moveTo>
                        <a:pt x="141" y="6"/>
                      </a:moveTo>
                      <a:cubicBezTo>
                        <a:pt x="141" y="6"/>
                        <a:pt x="141" y="6"/>
                        <a:pt x="141" y="6"/>
                      </a:cubicBezTo>
                      <a:cubicBezTo>
                        <a:pt x="140" y="7"/>
                        <a:pt x="140" y="7"/>
                        <a:pt x="140" y="7"/>
                      </a:cubicBezTo>
                      <a:cubicBezTo>
                        <a:pt x="139" y="5"/>
                        <a:pt x="139" y="5"/>
                        <a:pt x="139" y="5"/>
                      </a:cubicBezTo>
                      <a:cubicBezTo>
                        <a:pt x="140" y="4"/>
                        <a:pt x="140" y="4"/>
                        <a:pt x="140" y="4"/>
                      </a:cubicBezTo>
                      <a:cubicBezTo>
                        <a:pt x="141" y="6"/>
                        <a:pt x="141" y="6"/>
                        <a:pt x="141" y="6"/>
                      </a:cubicBezTo>
                      <a:close/>
                      <a:moveTo>
                        <a:pt x="145" y="2"/>
                      </a:moveTo>
                      <a:cubicBezTo>
                        <a:pt x="144" y="2"/>
                        <a:pt x="144" y="2"/>
                        <a:pt x="144" y="2"/>
                      </a:cubicBezTo>
                      <a:cubicBezTo>
                        <a:pt x="145" y="1"/>
                        <a:pt x="145" y="1"/>
                        <a:pt x="145" y="1"/>
                      </a:cubicBezTo>
                      <a:cubicBezTo>
                        <a:pt x="146" y="1"/>
                        <a:pt x="146" y="1"/>
                        <a:pt x="146" y="1"/>
                      </a:cubicBezTo>
                      <a:cubicBezTo>
                        <a:pt x="145" y="2"/>
                        <a:pt x="145" y="2"/>
                        <a:pt x="145" y="2"/>
                      </a:cubicBezTo>
                      <a:close/>
                      <a:moveTo>
                        <a:pt x="148" y="3"/>
                      </a:moveTo>
                      <a:cubicBezTo>
                        <a:pt x="148" y="2"/>
                        <a:pt x="148" y="2"/>
                        <a:pt x="148" y="2"/>
                      </a:cubicBezTo>
                      <a:cubicBezTo>
                        <a:pt x="149" y="2"/>
                        <a:pt x="149" y="2"/>
                        <a:pt x="149" y="2"/>
                      </a:cubicBezTo>
                      <a:cubicBezTo>
                        <a:pt x="150" y="2"/>
                        <a:pt x="150" y="2"/>
                        <a:pt x="150" y="2"/>
                      </a:cubicBezTo>
                      <a:cubicBezTo>
                        <a:pt x="151" y="1"/>
                        <a:pt x="151" y="1"/>
                        <a:pt x="151" y="1"/>
                      </a:cubicBezTo>
                      <a:cubicBezTo>
                        <a:pt x="151" y="0"/>
                        <a:pt x="151" y="0"/>
                        <a:pt x="151" y="0"/>
                      </a:cubicBezTo>
                      <a:cubicBezTo>
                        <a:pt x="152" y="1"/>
                        <a:pt x="152" y="1"/>
                        <a:pt x="152" y="1"/>
                      </a:cubicBezTo>
                      <a:cubicBezTo>
                        <a:pt x="154" y="1"/>
                        <a:pt x="154" y="1"/>
                        <a:pt x="154" y="1"/>
                      </a:cubicBezTo>
                      <a:cubicBezTo>
                        <a:pt x="153" y="3"/>
                        <a:pt x="153" y="3"/>
                        <a:pt x="153" y="3"/>
                      </a:cubicBezTo>
                      <a:cubicBezTo>
                        <a:pt x="155" y="3"/>
                        <a:pt x="155" y="3"/>
                        <a:pt x="155" y="3"/>
                      </a:cubicBezTo>
                      <a:cubicBezTo>
                        <a:pt x="154" y="5"/>
                        <a:pt x="154" y="5"/>
                        <a:pt x="154" y="5"/>
                      </a:cubicBezTo>
                      <a:cubicBezTo>
                        <a:pt x="152" y="5"/>
                        <a:pt x="152" y="5"/>
                        <a:pt x="152" y="5"/>
                      </a:cubicBezTo>
                      <a:cubicBezTo>
                        <a:pt x="150" y="4"/>
                        <a:pt x="150" y="4"/>
                        <a:pt x="150" y="4"/>
                      </a:cubicBezTo>
                      <a:lnTo>
                        <a:pt x="148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1" name="Freeform 190">
                  <a:extLst>
                    <a:ext uri="{FF2B5EF4-FFF2-40B4-BE49-F238E27FC236}">
                      <a16:creationId xmlns:a16="http://schemas.microsoft.com/office/drawing/2014/main" xmlns="" id="{75E8BA1F-E8B5-449E-9AC7-9FD436E8C7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06" y="686"/>
                  <a:ext cx="159" cy="365"/>
                </a:xfrm>
                <a:custGeom>
                  <a:avLst/>
                  <a:gdLst>
                    <a:gd name="T0" fmla="*/ 7 w 159"/>
                    <a:gd name="T1" fmla="*/ 263 h 365"/>
                    <a:gd name="T2" fmla="*/ 16 w 159"/>
                    <a:gd name="T3" fmla="*/ 245 h 365"/>
                    <a:gd name="T4" fmla="*/ 20 w 159"/>
                    <a:gd name="T5" fmla="*/ 214 h 365"/>
                    <a:gd name="T6" fmla="*/ 8 w 159"/>
                    <a:gd name="T7" fmla="*/ 178 h 365"/>
                    <a:gd name="T8" fmla="*/ 25 w 159"/>
                    <a:gd name="T9" fmla="*/ 147 h 365"/>
                    <a:gd name="T10" fmla="*/ 33 w 159"/>
                    <a:gd name="T11" fmla="*/ 103 h 365"/>
                    <a:gd name="T12" fmla="*/ 44 w 159"/>
                    <a:gd name="T13" fmla="*/ 82 h 365"/>
                    <a:gd name="T14" fmla="*/ 51 w 159"/>
                    <a:gd name="T15" fmla="*/ 46 h 365"/>
                    <a:gd name="T16" fmla="*/ 67 w 159"/>
                    <a:gd name="T17" fmla="*/ 31 h 365"/>
                    <a:gd name="T18" fmla="*/ 74 w 159"/>
                    <a:gd name="T19" fmla="*/ 22 h 365"/>
                    <a:gd name="T20" fmla="*/ 93 w 159"/>
                    <a:gd name="T21" fmla="*/ 18 h 365"/>
                    <a:gd name="T22" fmla="*/ 100 w 159"/>
                    <a:gd name="T23" fmla="*/ 8 h 365"/>
                    <a:gd name="T24" fmla="*/ 106 w 159"/>
                    <a:gd name="T25" fmla="*/ 4 h 365"/>
                    <a:gd name="T26" fmla="*/ 134 w 159"/>
                    <a:gd name="T27" fmla="*/ 22 h 365"/>
                    <a:gd name="T28" fmla="*/ 144 w 159"/>
                    <a:gd name="T29" fmla="*/ 33 h 365"/>
                    <a:gd name="T30" fmla="*/ 147 w 159"/>
                    <a:gd name="T31" fmla="*/ 56 h 365"/>
                    <a:gd name="T32" fmla="*/ 150 w 159"/>
                    <a:gd name="T33" fmla="*/ 82 h 365"/>
                    <a:gd name="T34" fmla="*/ 152 w 159"/>
                    <a:gd name="T35" fmla="*/ 97 h 365"/>
                    <a:gd name="T36" fmla="*/ 137 w 159"/>
                    <a:gd name="T37" fmla="*/ 97 h 365"/>
                    <a:gd name="T38" fmla="*/ 126 w 159"/>
                    <a:gd name="T39" fmla="*/ 98 h 365"/>
                    <a:gd name="T40" fmla="*/ 126 w 159"/>
                    <a:gd name="T41" fmla="*/ 111 h 365"/>
                    <a:gd name="T42" fmla="*/ 126 w 159"/>
                    <a:gd name="T43" fmla="*/ 115 h 365"/>
                    <a:gd name="T44" fmla="*/ 126 w 159"/>
                    <a:gd name="T45" fmla="*/ 129 h 365"/>
                    <a:gd name="T46" fmla="*/ 121 w 159"/>
                    <a:gd name="T47" fmla="*/ 146 h 365"/>
                    <a:gd name="T48" fmla="*/ 108 w 159"/>
                    <a:gd name="T49" fmla="*/ 160 h 365"/>
                    <a:gd name="T50" fmla="*/ 98 w 159"/>
                    <a:gd name="T51" fmla="*/ 170 h 365"/>
                    <a:gd name="T52" fmla="*/ 88 w 159"/>
                    <a:gd name="T53" fmla="*/ 175 h 365"/>
                    <a:gd name="T54" fmla="*/ 82 w 159"/>
                    <a:gd name="T55" fmla="*/ 188 h 365"/>
                    <a:gd name="T56" fmla="*/ 77 w 159"/>
                    <a:gd name="T57" fmla="*/ 206 h 365"/>
                    <a:gd name="T58" fmla="*/ 79 w 159"/>
                    <a:gd name="T59" fmla="*/ 221 h 365"/>
                    <a:gd name="T60" fmla="*/ 82 w 159"/>
                    <a:gd name="T61" fmla="*/ 234 h 365"/>
                    <a:gd name="T62" fmla="*/ 96 w 159"/>
                    <a:gd name="T63" fmla="*/ 245 h 365"/>
                    <a:gd name="T64" fmla="*/ 95 w 159"/>
                    <a:gd name="T65" fmla="*/ 268 h 365"/>
                    <a:gd name="T66" fmla="*/ 82 w 159"/>
                    <a:gd name="T67" fmla="*/ 265 h 365"/>
                    <a:gd name="T68" fmla="*/ 69 w 159"/>
                    <a:gd name="T69" fmla="*/ 265 h 365"/>
                    <a:gd name="T70" fmla="*/ 79 w 159"/>
                    <a:gd name="T71" fmla="*/ 268 h 365"/>
                    <a:gd name="T72" fmla="*/ 96 w 159"/>
                    <a:gd name="T73" fmla="*/ 273 h 365"/>
                    <a:gd name="T74" fmla="*/ 88 w 159"/>
                    <a:gd name="T75" fmla="*/ 276 h 365"/>
                    <a:gd name="T76" fmla="*/ 80 w 159"/>
                    <a:gd name="T77" fmla="*/ 286 h 365"/>
                    <a:gd name="T78" fmla="*/ 74 w 159"/>
                    <a:gd name="T79" fmla="*/ 294 h 365"/>
                    <a:gd name="T80" fmla="*/ 75 w 159"/>
                    <a:gd name="T81" fmla="*/ 307 h 365"/>
                    <a:gd name="T82" fmla="*/ 77 w 159"/>
                    <a:gd name="T83" fmla="*/ 327 h 365"/>
                    <a:gd name="T84" fmla="*/ 62 w 159"/>
                    <a:gd name="T85" fmla="*/ 347 h 365"/>
                    <a:gd name="T86" fmla="*/ 46 w 159"/>
                    <a:gd name="T87" fmla="*/ 358 h 365"/>
                    <a:gd name="T88" fmla="*/ 28 w 159"/>
                    <a:gd name="T89" fmla="*/ 360 h 365"/>
                    <a:gd name="T90" fmla="*/ 28 w 159"/>
                    <a:gd name="T91" fmla="*/ 340 h 365"/>
                    <a:gd name="T92" fmla="*/ 13 w 159"/>
                    <a:gd name="T93" fmla="*/ 321 h 365"/>
                    <a:gd name="T94" fmla="*/ 7 w 159"/>
                    <a:gd name="T95" fmla="*/ 304 h 365"/>
                    <a:gd name="T96" fmla="*/ 7 w 159"/>
                    <a:gd name="T97" fmla="*/ 296 h 365"/>
                    <a:gd name="T98" fmla="*/ 0 w 159"/>
                    <a:gd name="T99" fmla="*/ 288 h 365"/>
                    <a:gd name="T100" fmla="*/ 100 w 159"/>
                    <a:gd name="T101" fmla="*/ 275 h 365"/>
                    <a:gd name="T102" fmla="*/ 5 w 159"/>
                    <a:gd name="T103" fmla="*/ 303 h 365"/>
                    <a:gd name="T104" fmla="*/ 111 w 159"/>
                    <a:gd name="T105" fmla="*/ 294 h 365"/>
                    <a:gd name="T106" fmla="*/ 113 w 159"/>
                    <a:gd name="T107" fmla="*/ 306 h 365"/>
                    <a:gd name="T108" fmla="*/ 103 w 159"/>
                    <a:gd name="T109" fmla="*/ 330 h 365"/>
                    <a:gd name="T110" fmla="*/ 110 w 159"/>
                    <a:gd name="T111" fmla="*/ 316 h 365"/>
                    <a:gd name="T112" fmla="*/ 103 w 159"/>
                    <a:gd name="T113" fmla="*/ 309 h 365"/>
                    <a:gd name="T114" fmla="*/ 101 w 159"/>
                    <a:gd name="T115" fmla="*/ 325 h 365"/>
                    <a:gd name="T116" fmla="*/ 77 w 159"/>
                    <a:gd name="T117" fmla="*/ 347 h 365"/>
                    <a:gd name="T118" fmla="*/ 82 w 159"/>
                    <a:gd name="T119" fmla="*/ 322 h 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9" h="365">
                      <a:moveTo>
                        <a:pt x="3" y="278"/>
                      </a:moveTo>
                      <a:lnTo>
                        <a:pt x="5" y="280"/>
                      </a:lnTo>
                      <a:lnTo>
                        <a:pt x="7" y="283"/>
                      </a:lnTo>
                      <a:lnTo>
                        <a:pt x="8" y="280"/>
                      </a:lnTo>
                      <a:lnTo>
                        <a:pt x="8" y="270"/>
                      </a:lnTo>
                      <a:lnTo>
                        <a:pt x="5" y="267"/>
                      </a:lnTo>
                      <a:lnTo>
                        <a:pt x="7" y="263"/>
                      </a:lnTo>
                      <a:lnTo>
                        <a:pt x="8" y="262"/>
                      </a:lnTo>
                      <a:lnTo>
                        <a:pt x="7" y="258"/>
                      </a:lnTo>
                      <a:lnTo>
                        <a:pt x="8" y="257"/>
                      </a:lnTo>
                      <a:lnTo>
                        <a:pt x="13" y="257"/>
                      </a:lnTo>
                      <a:lnTo>
                        <a:pt x="15" y="254"/>
                      </a:lnTo>
                      <a:lnTo>
                        <a:pt x="15" y="250"/>
                      </a:lnTo>
                      <a:lnTo>
                        <a:pt x="16" y="245"/>
                      </a:lnTo>
                      <a:lnTo>
                        <a:pt x="15" y="242"/>
                      </a:lnTo>
                      <a:lnTo>
                        <a:pt x="13" y="236"/>
                      </a:lnTo>
                      <a:lnTo>
                        <a:pt x="10" y="229"/>
                      </a:lnTo>
                      <a:lnTo>
                        <a:pt x="10" y="226"/>
                      </a:lnTo>
                      <a:lnTo>
                        <a:pt x="18" y="224"/>
                      </a:lnTo>
                      <a:lnTo>
                        <a:pt x="18" y="219"/>
                      </a:lnTo>
                      <a:lnTo>
                        <a:pt x="20" y="214"/>
                      </a:lnTo>
                      <a:lnTo>
                        <a:pt x="13" y="209"/>
                      </a:lnTo>
                      <a:lnTo>
                        <a:pt x="8" y="206"/>
                      </a:lnTo>
                      <a:lnTo>
                        <a:pt x="8" y="200"/>
                      </a:lnTo>
                      <a:lnTo>
                        <a:pt x="10" y="195"/>
                      </a:lnTo>
                      <a:lnTo>
                        <a:pt x="8" y="188"/>
                      </a:lnTo>
                      <a:lnTo>
                        <a:pt x="7" y="183"/>
                      </a:lnTo>
                      <a:lnTo>
                        <a:pt x="8" y="178"/>
                      </a:lnTo>
                      <a:lnTo>
                        <a:pt x="8" y="170"/>
                      </a:lnTo>
                      <a:lnTo>
                        <a:pt x="7" y="162"/>
                      </a:lnTo>
                      <a:lnTo>
                        <a:pt x="7" y="154"/>
                      </a:lnTo>
                      <a:lnTo>
                        <a:pt x="12" y="147"/>
                      </a:lnTo>
                      <a:lnTo>
                        <a:pt x="15" y="146"/>
                      </a:lnTo>
                      <a:lnTo>
                        <a:pt x="18" y="147"/>
                      </a:lnTo>
                      <a:lnTo>
                        <a:pt x="25" y="147"/>
                      </a:lnTo>
                      <a:lnTo>
                        <a:pt x="26" y="144"/>
                      </a:lnTo>
                      <a:lnTo>
                        <a:pt x="26" y="138"/>
                      </a:lnTo>
                      <a:lnTo>
                        <a:pt x="25" y="134"/>
                      </a:lnTo>
                      <a:lnTo>
                        <a:pt x="25" y="131"/>
                      </a:lnTo>
                      <a:lnTo>
                        <a:pt x="30" y="118"/>
                      </a:lnTo>
                      <a:lnTo>
                        <a:pt x="31" y="110"/>
                      </a:lnTo>
                      <a:lnTo>
                        <a:pt x="33" y="103"/>
                      </a:lnTo>
                      <a:lnTo>
                        <a:pt x="34" y="98"/>
                      </a:lnTo>
                      <a:lnTo>
                        <a:pt x="33" y="93"/>
                      </a:lnTo>
                      <a:lnTo>
                        <a:pt x="31" y="92"/>
                      </a:lnTo>
                      <a:lnTo>
                        <a:pt x="31" y="89"/>
                      </a:lnTo>
                      <a:lnTo>
                        <a:pt x="36" y="85"/>
                      </a:lnTo>
                      <a:lnTo>
                        <a:pt x="41" y="84"/>
                      </a:lnTo>
                      <a:lnTo>
                        <a:pt x="44" y="82"/>
                      </a:lnTo>
                      <a:lnTo>
                        <a:pt x="44" y="79"/>
                      </a:lnTo>
                      <a:lnTo>
                        <a:pt x="49" y="71"/>
                      </a:lnTo>
                      <a:lnTo>
                        <a:pt x="54" y="64"/>
                      </a:lnTo>
                      <a:lnTo>
                        <a:pt x="54" y="61"/>
                      </a:lnTo>
                      <a:lnTo>
                        <a:pt x="52" y="56"/>
                      </a:lnTo>
                      <a:lnTo>
                        <a:pt x="51" y="54"/>
                      </a:lnTo>
                      <a:lnTo>
                        <a:pt x="51" y="46"/>
                      </a:lnTo>
                      <a:lnTo>
                        <a:pt x="52" y="44"/>
                      </a:lnTo>
                      <a:lnTo>
                        <a:pt x="56" y="43"/>
                      </a:lnTo>
                      <a:lnTo>
                        <a:pt x="56" y="38"/>
                      </a:lnTo>
                      <a:lnTo>
                        <a:pt x="59" y="38"/>
                      </a:lnTo>
                      <a:lnTo>
                        <a:pt x="61" y="31"/>
                      </a:lnTo>
                      <a:lnTo>
                        <a:pt x="64" y="30"/>
                      </a:lnTo>
                      <a:lnTo>
                        <a:pt x="67" y="31"/>
                      </a:lnTo>
                      <a:lnTo>
                        <a:pt x="69" y="33"/>
                      </a:lnTo>
                      <a:lnTo>
                        <a:pt x="70" y="33"/>
                      </a:lnTo>
                      <a:lnTo>
                        <a:pt x="74" y="30"/>
                      </a:lnTo>
                      <a:lnTo>
                        <a:pt x="72" y="26"/>
                      </a:lnTo>
                      <a:lnTo>
                        <a:pt x="74" y="25"/>
                      </a:lnTo>
                      <a:lnTo>
                        <a:pt x="74" y="23"/>
                      </a:lnTo>
                      <a:lnTo>
                        <a:pt x="74" y="22"/>
                      </a:lnTo>
                      <a:lnTo>
                        <a:pt x="72" y="18"/>
                      </a:lnTo>
                      <a:lnTo>
                        <a:pt x="74" y="17"/>
                      </a:lnTo>
                      <a:lnTo>
                        <a:pt x="77" y="17"/>
                      </a:lnTo>
                      <a:lnTo>
                        <a:pt x="82" y="15"/>
                      </a:lnTo>
                      <a:lnTo>
                        <a:pt x="87" y="17"/>
                      </a:lnTo>
                      <a:lnTo>
                        <a:pt x="90" y="18"/>
                      </a:lnTo>
                      <a:lnTo>
                        <a:pt x="93" y="18"/>
                      </a:lnTo>
                      <a:lnTo>
                        <a:pt x="95" y="20"/>
                      </a:lnTo>
                      <a:lnTo>
                        <a:pt x="96" y="20"/>
                      </a:lnTo>
                      <a:lnTo>
                        <a:pt x="98" y="22"/>
                      </a:lnTo>
                      <a:lnTo>
                        <a:pt x="98" y="17"/>
                      </a:lnTo>
                      <a:lnTo>
                        <a:pt x="96" y="15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98" y="5"/>
                      </a:lnTo>
                      <a:lnTo>
                        <a:pt x="96" y="4"/>
                      </a:lnTo>
                      <a:lnTo>
                        <a:pt x="96" y="0"/>
                      </a:lnTo>
                      <a:lnTo>
                        <a:pt x="100" y="0"/>
                      </a:lnTo>
                      <a:lnTo>
                        <a:pt x="103" y="0"/>
                      </a:lnTo>
                      <a:lnTo>
                        <a:pt x="105" y="0"/>
                      </a:lnTo>
                      <a:lnTo>
                        <a:pt x="106" y="4"/>
                      </a:lnTo>
                      <a:lnTo>
                        <a:pt x="111" y="5"/>
                      </a:lnTo>
                      <a:lnTo>
                        <a:pt x="116" y="12"/>
                      </a:lnTo>
                      <a:lnTo>
                        <a:pt x="121" y="15"/>
                      </a:lnTo>
                      <a:lnTo>
                        <a:pt x="128" y="15"/>
                      </a:lnTo>
                      <a:lnTo>
                        <a:pt x="129" y="17"/>
                      </a:lnTo>
                      <a:lnTo>
                        <a:pt x="131" y="17"/>
                      </a:lnTo>
                      <a:lnTo>
                        <a:pt x="134" y="22"/>
                      </a:lnTo>
                      <a:lnTo>
                        <a:pt x="136" y="23"/>
                      </a:lnTo>
                      <a:lnTo>
                        <a:pt x="137" y="25"/>
                      </a:lnTo>
                      <a:lnTo>
                        <a:pt x="137" y="23"/>
                      </a:lnTo>
                      <a:lnTo>
                        <a:pt x="141" y="28"/>
                      </a:lnTo>
                      <a:lnTo>
                        <a:pt x="142" y="28"/>
                      </a:lnTo>
                      <a:lnTo>
                        <a:pt x="144" y="30"/>
                      </a:lnTo>
                      <a:lnTo>
                        <a:pt x="144" y="33"/>
                      </a:lnTo>
                      <a:lnTo>
                        <a:pt x="144" y="38"/>
                      </a:lnTo>
                      <a:lnTo>
                        <a:pt x="142" y="41"/>
                      </a:lnTo>
                      <a:lnTo>
                        <a:pt x="144" y="44"/>
                      </a:lnTo>
                      <a:lnTo>
                        <a:pt x="147" y="44"/>
                      </a:lnTo>
                      <a:lnTo>
                        <a:pt x="149" y="49"/>
                      </a:lnTo>
                      <a:lnTo>
                        <a:pt x="147" y="51"/>
                      </a:lnTo>
                      <a:lnTo>
                        <a:pt x="147" y="56"/>
                      </a:lnTo>
                      <a:lnTo>
                        <a:pt x="149" y="57"/>
                      </a:lnTo>
                      <a:lnTo>
                        <a:pt x="150" y="64"/>
                      </a:lnTo>
                      <a:lnTo>
                        <a:pt x="149" y="67"/>
                      </a:lnTo>
                      <a:lnTo>
                        <a:pt x="150" y="69"/>
                      </a:lnTo>
                      <a:lnTo>
                        <a:pt x="150" y="75"/>
                      </a:lnTo>
                      <a:lnTo>
                        <a:pt x="149" y="77"/>
                      </a:lnTo>
                      <a:lnTo>
                        <a:pt x="150" y="82"/>
                      </a:lnTo>
                      <a:lnTo>
                        <a:pt x="154" y="84"/>
                      </a:lnTo>
                      <a:lnTo>
                        <a:pt x="157" y="90"/>
                      </a:lnTo>
                      <a:lnTo>
                        <a:pt x="159" y="92"/>
                      </a:lnTo>
                      <a:lnTo>
                        <a:pt x="159" y="95"/>
                      </a:lnTo>
                      <a:lnTo>
                        <a:pt x="157" y="95"/>
                      </a:lnTo>
                      <a:lnTo>
                        <a:pt x="155" y="97"/>
                      </a:lnTo>
                      <a:lnTo>
                        <a:pt x="152" y="97"/>
                      </a:lnTo>
                      <a:lnTo>
                        <a:pt x="150" y="93"/>
                      </a:lnTo>
                      <a:lnTo>
                        <a:pt x="147" y="97"/>
                      </a:lnTo>
                      <a:lnTo>
                        <a:pt x="145" y="95"/>
                      </a:lnTo>
                      <a:lnTo>
                        <a:pt x="144" y="97"/>
                      </a:lnTo>
                      <a:lnTo>
                        <a:pt x="141" y="97"/>
                      </a:lnTo>
                      <a:lnTo>
                        <a:pt x="139" y="93"/>
                      </a:lnTo>
                      <a:lnTo>
                        <a:pt x="137" y="97"/>
                      </a:lnTo>
                      <a:lnTo>
                        <a:pt x="136" y="93"/>
                      </a:lnTo>
                      <a:lnTo>
                        <a:pt x="134" y="95"/>
                      </a:lnTo>
                      <a:lnTo>
                        <a:pt x="132" y="98"/>
                      </a:lnTo>
                      <a:lnTo>
                        <a:pt x="132" y="100"/>
                      </a:lnTo>
                      <a:lnTo>
                        <a:pt x="129" y="102"/>
                      </a:lnTo>
                      <a:lnTo>
                        <a:pt x="128" y="98"/>
                      </a:lnTo>
                      <a:lnTo>
                        <a:pt x="126" y="98"/>
                      </a:lnTo>
                      <a:lnTo>
                        <a:pt x="128" y="102"/>
                      </a:lnTo>
                      <a:lnTo>
                        <a:pt x="131" y="103"/>
                      </a:lnTo>
                      <a:lnTo>
                        <a:pt x="128" y="106"/>
                      </a:lnTo>
                      <a:lnTo>
                        <a:pt x="124" y="106"/>
                      </a:lnTo>
                      <a:lnTo>
                        <a:pt x="123" y="108"/>
                      </a:lnTo>
                      <a:lnTo>
                        <a:pt x="126" y="108"/>
                      </a:lnTo>
                      <a:lnTo>
                        <a:pt x="126" y="111"/>
                      </a:lnTo>
                      <a:lnTo>
                        <a:pt x="124" y="111"/>
                      </a:lnTo>
                      <a:lnTo>
                        <a:pt x="123" y="110"/>
                      </a:lnTo>
                      <a:lnTo>
                        <a:pt x="121" y="108"/>
                      </a:lnTo>
                      <a:lnTo>
                        <a:pt x="121" y="110"/>
                      </a:lnTo>
                      <a:lnTo>
                        <a:pt x="123" y="113"/>
                      </a:lnTo>
                      <a:lnTo>
                        <a:pt x="124" y="113"/>
                      </a:lnTo>
                      <a:lnTo>
                        <a:pt x="126" y="115"/>
                      </a:lnTo>
                      <a:lnTo>
                        <a:pt x="124" y="116"/>
                      </a:lnTo>
                      <a:lnTo>
                        <a:pt x="123" y="121"/>
                      </a:lnTo>
                      <a:lnTo>
                        <a:pt x="123" y="124"/>
                      </a:lnTo>
                      <a:lnTo>
                        <a:pt x="119" y="124"/>
                      </a:lnTo>
                      <a:lnTo>
                        <a:pt x="123" y="128"/>
                      </a:lnTo>
                      <a:lnTo>
                        <a:pt x="124" y="128"/>
                      </a:lnTo>
                      <a:lnTo>
                        <a:pt x="126" y="129"/>
                      </a:lnTo>
                      <a:lnTo>
                        <a:pt x="124" y="131"/>
                      </a:lnTo>
                      <a:lnTo>
                        <a:pt x="126" y="133"/>
                      </a:lnTo>
                      <a:lnTo>
                        <a:pt x="128" y="133"/>
                      </a:lnTo>
                      <a:lnTo>
                        <a:pt x="124" y="138"/>
                      </a:lnTo>
                      <a:lnTo>
                        <a:pt x="123" y="138"/>
                      </a:lnTo>
                      <a:lnTo>
                        <a:pt x="121" y="141"/>
                      </a:lnTo>
                      <a:lnTo>
                        <a:pt x="121" y="146"/>
                      </a:lnTo>
                      <a:lnTo>
                        <a:pt x="118" y="151"/>
                      </a:lnTo>
                      <a:lnTo>
                        <a:pt x="116" y="151"/>
                      </a:lnTo>
                      <a:lnTo>
                        <a:pt x="113" y="154"/>
                      </a:lnTo>
                      <a:lnTo>
                        <a:pt x="111" y="152"/>
                      </a:lnTo>
                      <a:lnTo>
                        <a:pt x="111" y="154"/>
                      </a:lnTo>
                      <a:lnTo>
                        <a:pt x="111" y="157"/>
                      </a:lnTo>
                      <a:lnTo>
                        <a:pt x="108" y="160"/>
                      </a:lnTo>
                      <a:lnTo>
                        <a:pt x="106" y="164"/>
                      </a:lnTo>
                      <a:lnTo>
                        <a:pt x="105" y="162"/>
                      </a:lnTo>
                      <a:lnTo>
                        <a:pt x="105" y="160"/>
                      </a:lnTo>
                      <a:lnTo>
                        <a:pt x="101" y="160"/>
                      </a:lnTo>
                      <a:lnTo>
                        <a:pt x="100" y="164"/>
                      </a:lnTo>
                      <a:lnTo>
                        <a:pt x="100" y="167"/>
                      </a:lnTo>
                      <a:lnTo>
                        <a:pt x="98" y="170"/>
                      </a:lnTo>
                      <a:lnTo>
                        <a:pt x="96" y="167"/>
                      </a:lnTo>
                      <a:lnTo>
                        <a:pt x="95" y="167"/>
                      </a:lnTo>
                      <a:lnTo>
                        <a:pt x="95" y="170"/>
                      </a:lnTo>
                      <a:lnTo>
                        <a:pt x="93" y="172"/>
                      </a:lnTo>
                      <a:lnTo>
                        <a:pt x="92" y="170"/>
                      </a:lnTo>
                      <a:lnTo>
                        <a:pt x="90" y="172"/>
                      </a:lnTo>
                      <a:lnTo>
                        <a:pt x="88" y="175"/>
                      </a:lnTo>
                      <a:lnTo>
                        <a:pt x="92" y="175"/>
                      </a:lnTo>
                      <a:lnTo>
                        <a:pt x="90" y="177"/>
                      </a:lnTo>
                      <a:lnTo>
                        <a:pt x="87" y="180"/>
                      </a:lnTo>
                      <a:lnTo>
                        <a:pt x="83" y="180"/>
                      </a:lnTo>
                      <a:lnTo>
                        <a:pt x="83" y="182"/>
                      </a:lnTo>
                      <a:lnTo>
                        <a:pt x="83" y="185"/>
                      </a:lnTo>
                      <a:lnTo>
                        <a:pt x="82" y="188"/>
                      </a:lnTo>
                      <a:lnTo>
                        <a:pt x="77" y="188"/>
                      </a:lnTo>
                      <a:lnTo>
                        <a:pt x="75" y="188"/>
                      </a:lnTo>
                      <a:lnTo>
                        <a:pt x="79" y="193"/>
                      </a:lnTo>
                      <a:lnTo>
                        <a:pt x="79" y="196"/>
                      </a:lnTo>
                      <a:lnTo>
                        <a:pt x="79" y="198"/>
                      </a:lnTo>
                      <a:lnTo>
                        <a:pt x="79" y="201"/>
                      </a:lnTo>
                      <a:lnTo>
                        <a:pt x="77" y="206"/>
                      </a:lnTo>
                      <a:lnTo>
                        <a:pt x="80" y="209"/>
                      </a:lnTo>
                      <a:lnTo>
                        <a:pt x="80" y="213"/>
                      </a:lnTo>
                      <a:lnTo>
                        <a:pt x="77" y="211"/>
                      </a:lnTo>
                      <a:lnTo>
                        <a:pt x="77" y="211"/>
                      </a:lnTo>
                      <a:lnTo>
                        <a:pt x="79" y="216"/>
                      </a:lnTo>
                      <a:lnTo>
                        <a:pt x="75" y="219"/>
                      </a:lnTo>
                      <a:lnTo>
                        <a:pt x="79" y="221"/>
                      </a:lnTo>
                      <a:lnTo>
                        <a:pt x="79" y="222"/>
                      </a:lnTo>
                      <a:lnTo>
                        <a:pt x="77" y="222"/>
                      </a:lnTo>
                      <a:lnTo>
                        <a:pt x="79" y="226"/>
                      </a:lnTo>
                      <a:lnTo>
                        <a:pt x="75" y="229"/>
                      </a:lnTo>
                      <a:lnTo>
                        <a:pt x="77" y="231"/>
                      </a:lnTo>
                      <a:lnTo>
                        <a:pt x="79" y="234"/>
                      </a:lnTo>
                      <a:lnTo>
                        <a:pt x="82" y="234"/>
                      </a:lnTo>
                      <a:lnTo>
                        <a:pt x="82" y="237"/>
                      </a:lnTo>
                      <a:lnTo>
                        <a:pt x="83" y="236"/>
                      </a:lnTo>
                      <a:lnTo>
                        <a:pt x="85" y="239"/>
                      </a:lnTo>
                      <a:lnTo>
                        <a:pt x="87" y="236"/>
                      </a:lnTo>
                      <a:lnTo>
                        <a:pt x="90" y="237"/>
                      </a:lnTo>
                      <a:lnTo>
                        <a:pt x="90" y="240"/>
                      </a:lnTo>
                      <a:lnTo>
                        <a:pt x="96" y="245"/>
                      </a:lnTo>
                      <a:lnTo>
                        <a:pt x="95" y="247"/>
                      </a:lnTo>
                      <a:lnTo>
                        <a:pt x="100" y="250"/>
                      </a:lnTo>
                      <a:lnTo>
                        <a:pt x="100" y="252"/>
                      </a:lnTo>
                      <a:lnTo>
                        <a:pt x="103" y="255"/>
                      </a:lnTo>
                      <a:lnTo>
                        <a:pt x="101" y="260"/>
                      </a:lnTo>
                      <a:lnTo>
                        <a:pt x="96" y="265"/>
                      </a:lnTo>
                      <a:lnTo>
                        <a:pt x="95" y="268"/>
                      </a:lnTo>
                      <a:lnTo>
                        <a:pt x="92" y="268"/>
                      </a:lnTo>
                      <a:lnTo>
                        <a:pt x="88" y="267"/>
                      </a:lnTo>
                      <a:lnTo>
                        <a:pt x="88" y="265"/>
                      </a:lnTo>
                      <a:lnTo>
                        <a:pt x="85" y="263"/>
                      </a:lnTo>
                      <a:lnTo>
                        <a:pt x="83" y="262"/>
                      </a:lnTo>
                      <a:lnTo>
                        <a:pt x="83" y="263"/>
                      </a:lnTo>
                      <a:lnTo>
                        <a:pt x="82" y="265"/>
                      </a:lnTo>
                      <a:lnTo>
                        <a:pt x="80" y="263"/>
                      </a:lnTo>
                      <a:lnTo>
                        <a:pt x="79" y="262"/>
                      </a:lnTo>
                      <a:lnTo>
                        <a:pt x="77" y="265"/>
                      </a:lnTo>
                      <a:lnTo>
                        <a:pt x="74" y="265"/>
                      </a:lnTo>
                      <a:lnTo>
                        <a:pt x="74" y="263"/>
                      </a:lnTo>
                      <a:lnTo>
                        <a:pt x="70" y="267"/>
                      </a:lnTo>
                      <a:lnTo>
                        <a:pt x="69" y="265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70" y="268"/>
                      </a:lnTo>
                      <a:lnTo>
                        <a:pt x="72" y="268"/>
                      </a:lnTo>
                      <a:lnTo>
                        <a:pt x="72" y="268"/>
                      </a:lnTo>
                      <a:lnTo>
                        <a:pt x="77" y="267"/>
                      </a:lnTo>
                      <a:lnTo>
                        <a:pt x="79" y="268"/>
                      </a:lnTo>
                      <a:lnTo>
                        <a:pt x="82" y="270"/>
                      </a:lnTo>
                      <a:lnTo>
                        <a:pt x="83" y="272"/>
                      </a:lnTo>
                      <a:lnTo>
                        <a:pt x="87" y="270"/>
                      </a:lnTo>
                      <a:lnTo>
                        <a:pt x="88" y="272"/>
                      </a:lnTo>
                      <a:lnTo>
                        <a:pt x="90" y="270"/>
                      </a:lnTo>
                      <a:lnTo>
                        <a:pt x="95" y="272"/>
                      </a:lnTo>
                      <a:lnTo>
                        <a:pt x="96" y="273"/>
                      </a:lnTo>
                      <a:lnTo>
                        <a:pt x="96" y="276"/>
                      </a:lnTo>
                      <a:lnTo>
                        <a:pt x="95" y="278"/>
                      </a:lnTo>
                      <a:lnTo>
                        <a:pt x="93" y="278"/>
                      </a:lnTo>
                      <a:lnTo>
                        <a:pt x="90" y="281"/>
                      </a:lnTo>
                      <a:lnTo>
                        <a:pt x="88" y="281"/>
                      </a:lnTo>
                      <a:lnTo>
                        <a:pt x="88" y="278"/>
                      </a:lnTo>
                      <a:lnTo>
                        <a:pt x="88" y="276"/>
                      </a:lnTo>
                      <a:lnTo>
                        <a:pt x="87" y="280"/>
                      </a:lnTo>
                      <a:lnTo>
                        <a:pt x="87" y="281"/>
                      </a:lnTo>
                      <a:lnTo>
                        <a:pt x="85" y="281"/>
                      </a:lnTo>
                      <a:lnTo>
                        <a:pt x="82" y="283"/>
                      </a:lnTo>
                      <a:lnTo>
                        <a:pt x="82" y="286"/>
                      </a:lnTo>
                      <a:lnTo>
                        <a:pt x="80" y="285"/>
                      </a:lnTo>
                      <a:lnTo>
                        <a:pt x="80" y="286"/>
                      </a:lnTo>
                      <a:lnTo>
                        <a:pt x="79" y="289"/>
                      </a:lnTo>
                      <a:lnTo>
                        <a:pt x="77" y="288"/>
                      </a:lnTo>
                      <a:lnTo>
                        <a:pt x="75" y="288"/>
                      </a:lnTo>
                      <a:lnTo>
                        <a:pt x="74" y="289"/>
                      </a:lnTo>
                      <a:lnTo>
                        <a:pt x="77" y="291"/>
                      </a:lnTo>
                      <a:lnTo>
                        <a:pt x="80" y="294"/>
                      </a:lnTo>
                      <a:lnTo>
                        <a:pt x="74" y="294"/>
                      </a:lnTo>
                      <a:lnTo>
                        <a:pt x="79" y="296"/>
                      </a:lnTo>
                      <a:lnTo>
                        <a:pt x="79" y="298"/>
                      </a:lnTo>
                      <a:lnTo>
                        <a:pt x="77" y="301"/>
                      </a:lnTo>
                      <a:lnTo>
                        <a:pt x="80" y="304"/>
                      </a:lnTo>
                      <a:lnTo>
                        <a:pt x="77" y="306"/>
                      </a:lnTo>
                      <a:lnTo>
                        <a:pt x="74" y="304"/>
                      </a:lnTo>
                      <a:lnTo>
                        <a:pt x="75" y="307"/>
                      </a:lnTo>
                      <a:lnTo>
                        <a:pt x="74" y="309"/>
                      </a:lnTo>
                      <a:lnTo>
                        <a:pt x="77" y="312"/>
                      </a:lnTo>
                      <a:lnTo>
                        <a:pt x="74" y="314"/>
                      </a:lnTo>
                      <a:lnTo>
                        <a:pt x="77" y="317"/>
                      </a:lnTo>
                      <a:lnTo>
                        <a:pt x="74" y="321"/>
                      </a:lnTo>
                      <a:lnTo>
                        <a:pt x="74" y="324"/>
                      </a:lnTo>
                      <a:lnTo>
                        <a:pt x="77" y="327"/>
                      </a:lnTo>
                      <a:lnTo>
                        <a:pt x="75" y="329"/>
                      </a:lnTo>
                      <a:lnTo>
                        <a:pt x="75" y="337"/>
                      </a:lnTo>
                      <a:lnTo>
                        <a:pt x="72" y="340"/>
                      </a:lnTo>
                      <a:lnTo>
                        <a:pt x="70" y="347"/>
                      </a:lnTo>
                      <a:lnTo>
                        <a:pt x="67" y="350"/>
                      </a:lnTo>
                      <a:lnTo>
                        <a:pt x="65" y="348"/>
                      </a:lnTo>
                      <a:lnTo>
                        <a:pt x="62" y="347"/>
                      </a:lnTo>
                      <a:lnTo>
                        <a:pt x="59" y="348"/>
                      </a:lnTo>
                      <a:lnTo>
                        <a:pt x="54" y="348"/>
                      </a:lnTo>
                      <a:lnTo>
                        <a:pt x="52" y="345"/>
                      </a:lnTo>
                      <a:lnTo>
                        <a:pt x="52" y="352"/>
                      </a:lnTo>
                      <a:lnTo>
                        <a:pt x="47" y="352"/>
                      </a:lnTo>
                      <a:lnTo>
                        <a:pt x="44" y="356"/>
                      </a:lnTo>
                      <a:lnTo>
                        <a:pt x="46" y="358"/>
                      </a:lnTo>
                      <a:lnTo>
                        <a:pt x="47" y="361"/>
                      </a:lnTo>
                      <a:lnTo>
                        <a:pt x="44" y="365"/>
                      </a:lnTo>
                      <a:lnTo>
                        <a:pt x="39" y="363"/>
                      </a:lnTo>
                      <a:lnTo>
                        <a:pt x="31" y="365"/>
                      </a:lnTo>
                      <a:lnTo>
                        <a:pt x="28" y="365"/>
                      </a:lnTo>
                      <a:lnTo>
                        <a:pt x="26" y="363"/>
                      </a:lnTo>
                      <a:lnTo>
                        <a:pt x="28" y="360"/>
                      </a:lnTo>
                      <a:lnTo>
                        <a:pt x="28" y="353"/>
                      </a:lnTo>
                      <a:lnTo>
                        <a:pt x="25" y="352"/>
                      </a:lnTo>
                      <a:lnTo>
                        <a:pt x="23" y="348"/>
                      </a:lnTo>
                      <a:lnTo>
                        <a:pt x="21" y="347"/>
                      </a:lnTo>
                      <a:lnTo>
                        <a:pt x="21" y="345"/>
                      </a:lnTo>
                      <a:lnTo>
                        <a:pt x="26" y="345"/>
                      </a:lnTo>
                      <a:lnTo>
                        <a:pt x="28" y="340"/>
                      </a:lnTo>
                      <a:lnTo>
                        <a:pt x="28" y="337"/>
                      </a:lnTo>
                      <a:lnTo>
                        <a:pt x="25" y="338"/>
                      </a:lnTo>
                      <a:lnTo>
                        <a:pt x="21" y="335"/>
                      </a:lnTo>
                      <a:lnTo>
                        <a:pt x="20" y="332"/>
                      </a:lnTo>
                      <a:lnTo>
                        <a:pt x="16" y="332"/>
                      </a:lnTo>
                      <a:lnTo>
                        <a:pt x="16" y="327"/>
                      </a:lnTo>
                      <a:lnTo>
                        <a:pt x="13" y="321"/>
                      </a:lnTo>
                      <a:lnTo>
                        <a:pt x="12" y="319"/>
                      </a:lnTo>
                      <a:lnTo>
                        <a:pt x="10" y="316"/>
                      </a:lnTo>
                      <a:lnTo>
                        <a:pt x="8" y="314"/>
                      </a:lnTo>
                      <a:lnTo>
                        <a:pt x="7" y="312"/>
                      </a:lnTo>
                      <a:lnTo>
                        <a:pt x="8" y="311"/>
                      </a:lnTo>
                      <a:lnTo>
                        <a:pt x="8" y="307"/>
                      </a:lnTo>
                      <a:lnTo>
                        <a:pt x="7" y="304"/>
                      </a:lnTo>
                      <a:lnTo>
                        <a:pt x="8" y="303"/>
                      </a:lnTo>
                      <a:lnTo>
                        <a:pt x="12" y="299"/>
                      </a:lnTo>
                      <a:lnTo>
                        <a:pt x="10" y="298"/>
                      </a:lnTo>
                      <a:lnTo>
                        <a:pt x="7" y="296"/>
                      </a:lnTo>
                      <a:lnTo>
                        <a:pt x="8" y="294"/>
                      </a:lnTo>
                      <a:lnTo>
                        <a:pt x="7" y="294"/>
                      </a:lnTo>
                      <a:lnTo>
                        <a:pt x="7" y="296"/>
                      </a:lnTo>
                      <a:lnTo>
                        <a:pt x="8" y="299"/>
                      </a:lnTo>
                      <a:lnTo>
                        <a:pt x="5" y="301"/>
                      </a:lnTo>
                      <a:lnTo>
                        <a:pt x="5" y="298"/>
                      </a:lnTo>
                      <a:lnTo>
                        <a:pt x="5" y="296"/>
                      </a:lnTo>
                      <a:lnTo>
                        <a:pt x="2" y="294"/>
                      </a:lnTo>
                      <a:lnTo>
                        <a:pt x="2" y="289"/>
                      </a:lnTo>
                      <a:lnTo>
                        <a:pt x="0" y="288"/>
                      </a:lnTo>
                      <a:lnTo>
                        <a:pt x="0" y="281"/>
                      </a:lnTo>
                      <a:lnTo>
                        <a:pt x="2" y="280"/>
                      </a:lnTo>
                      <a:lnTo>
                        <a:pt x="3" y="278"/>
                      </a:lnTo>
                      <a:lnTo>
                        <a:pt x="3" y="278"/>
                      </a:lnTo>
                      <a:close/>
                      <a:moveTo>
                        <a:pt x="95" y="270"/>
                      </a:moveTo>
                      <a:lnTo>
                        <a:pt x="98" y="273"/>
                      </a:lnTo>
                      <a:lnTo>
                        <a:pt x="100" y="275"/>
                      </a:lnTo>
                      <a:lnTo>
                        <a:pt x="100" y="270"/>
                      </a:lnTo>
                      <a:lnTo>
                        <a:pt x="103" y="267"/>
                      </a:lnTo>
                      <a:lnTo>
                        <a:pt x="103" y="265"/>
                      </a:lnTo>
                      <a:lnTo>
                        <a:pt x="98" y="265"/>
                      </a:lnTo>
                      <a:lnTo>
                        <a:pt x="95" y="270"/>
                      </a:lnTo>
                      <a:lnTo>
                        <a:pt x="95" y="270"/>
                      </a:lnTo>
                      <a:close/>
                      <a:moveTo>
                        <a:pt x="5" y="303"/>
                      </a:moveTo>
                      <a:lnTo>
                        <a:pt x="3" y="304"/>
                      </a:lnTo>
                      <a:lnTo>
                        <a:pt x="5" y="304"/>
                      </a:lnTo>
                      <a:lnTo>
                        <a:pt x="7" y="301"/>
                      </a:lnTo>
                      <a:lnTo>
                        <a:pt x="5" y="303"/>
                      </a:lnTo>
                      <a:lnTo>
                        <a:pt x="5" y="303"/>
                      </a:lnTo>
                      <a:close/>
                      <a:moveTo>
                        <a:pt x="110" y="291"/>
                      </a:moveTo>
                      <a:lnTo>
                        <a:pt x="111" y="294"/>
                      </a:lnTo>
                      <a:lnTo>
                        <a:pt x="113" y="293"/>
                      </a:lnTo>
                      <a:lnTo>
                        <a:pt x="111" y="291"/>
                      </a:lnTo>
                      <a:lnTo>
                        <a:pt x="110" y="291"/>
                      </a:lnTo>
                      <a:lnTo>
                        <a:pt x="110" y="291"/>
                      </a:lnTo>
                      <a:close/>
                      <a:moveTo>
                        <a:pt x="111" y="306"/>
                      </a:moveTo>
                      <a:lnTo>
                        <a:pt x="111" y="307"/>
                      </a:lnTo>
                      <a:lnTo>
                        <a:pt x="113" y="306"/>
                      </a:lnTo>
                      <a:lnTo>
                        <a:pt x="116" y="306"/>
                      </a:lnTo>
                      <a:lnTo>
                        <a:pt x="116" y="304"/>
                      </a:lnTo>
                      <a:lnTo>
                        <a:pt x="113" y="304"/>
                      </a:lnTo>
                      <a:lnTo>
                        <a:pt x="111" y="306"/>
                      </a:lnTo>
                      <a:lnTo>
                        <a:pt x="111" y="306"/>
                      </a:lnTo>
                      <a:close/>
                      <a:moveTo>
                        <a:pt x="100" y="332"/>
                      </a:moveTo>
                      <a:lnTo>
                        <a:pt x="103" y="330"/>
                      </a:lnTo>
                      <a:lnTo>
                        <a:pt x="105" y="329"/>
                      </a:lnTo>
                      <a:lnTo>
                        <a:pt x="103" y="327"/>
                      </a:lnTo>
                      <a:lnTo>
                        <a:pt x="103" y="325"/>
                      </a:lnTo>
                      <a:lnTo>
                        <a:pt x="108" y="322"/>
                      </a:lnTo>
                      <a:lnTo>
                        <a:pt x="108" y="321"/>
                      </a:lnTo>
                      <a:lnTo>
                        <a:pt x="110" y="317"/>
                      </a:lnTo>
                      <a:lnTo>
                        <a:pt x="110" y="316"/>
                      </a:lnTo>
                      <a:lnTo>
                        <a:pt x="108" y="314"/>
                      </a:lnTo>
                      <a:lnTo>
                        <a:pt x="108" y="312"/>
                      </a:lnTo>
                      <a:lnTo>
                        <a:pt x="110" y="309"/>
                      </a:lnTo>
                      <a:lnTo>
                        <a:pt x="110" y="309"/>
                      </a:lnTo>
                      <a:lnTo>
                        <a:pt x="108" y="307"/>
                      </a:lnTo>
                      <a:lnTo>
                        <a:pt x="106" y="309"/>
                      </a:lnTo>
                      <a:lnTo>
                        <a:pt x="103" y="309"/>
                      </a:lnTo>
                      <a:lnTo>
                        <a:pt x="101" y="311"/>
                      </a:lnTo>
                      <a:lnTo>
                        <a:pt x="100" y="314"/>
                      </a:lnTo>
                      <a:lnTo>
                        <a:pt x="98" y="316"/>
                      </a:lnTo>
                      <a:lnTo>
                        <a:pt x="98" y="321"/>
                      </a:lnTo>
                      <a:lnTo>
                        <a:pt x="98" y="321"/>
                      </a:lnTo>
                      <a:lnTo>
                        <a:pt x="101" y="325"/>
                      </a:lnTo>
                      <a:lnTo>
                        <a:pt x="101" y="325"/>
                      </a:lnTo>
                      <a:lnTo>
                        <a:pt x="101" y="327"/>
                      </a:lnTo>
                      <a:lnTo>
                        <a:pt x="100" y="330"/>
                      </a:lnTo>
                      <a:lnTo>
                        <a:pt x="100" y="332"/>
                      </a:lnTo>
                      <a:lnTo>
                        <a:pt x="100" y="332"/>
                      </a:lnTo>
                      <a:close/>
                      <a:moveTo>
                        <a:pt x="77" y="342"/>
                      </a:moveTo>
                      <a:lnTo>
                        <a:pt x="77" y="345"/>
                      </a:lnTo>
                      <a:lnTo>
                        <a:pt x="77" y="347"/>
                      </a:lnTo>
                      <a:lnTo>
                        <a:pt x="77" y="348"/>
                      </a:lnTo>
                      <a:lnTo>
                        <a:pt x="79" y="345"/>
                      </a:lnTo>
                      <a:lnTo>
                        <a:pt x="80" y="340"/>
                      </a:lnTo>
                      <a:lnTo>
                        <a:pt x="82" y="334"/>
                      </a:lnTo>
                      <a:lnTo>
                        <a:pt x="82" y="329"/>
                      </a:lnTo>
                      <a:lnTo>
                        <a:pt x="83" y="324"/>
                      </a:lnTo>
                      <a:lnTo>
                        <a:pt x="82" y="322"/>
                      </a:lnTo>
                      <a:lnTo>
                        <a:pt x="80" y="325"/>
                      </a:lnTo>
                      <a:lnTo>
                        <a:pt x="80" y="327"/>
                      </a:lnTo>
                      <a:lnTo>
                        <a:pt x="79" y="332"/>
                      </a:lnTo>
                      <a:lnTo>
                        <a:pt x="77" y="332"/>
                      </a:lnTo>
                      <a:lnTo>
                        <a:pt x="77" y="34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2" name="Freeform 191">
                  <a:extLst>
                    <a:ext uri="{FF2B5EF4-FFF2-40B4-BE49-F238E27FC236}">
                      <a16:creationId xmlns:a16="http://schemas.microsoft.com/office/drawing/2014/main" xmlns="" id="{DE86824E-F61E-4E2A-9741-98E489A9E7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11" y="650"/>
                  <a:ext cx="158" cy="291"/>
                </a:xfrm>
                <a:custGeom>
                  <a:avLst/>
                  <a:gdLst>
                    <a:gd name="T0" fmla="*/ 88 w 97"/>
                    <a:gd name="T1" fmla="*/ 147 h 178"/>
                    <a:gd name="T2" fmla="*/ 90 w 97"/>
                    <a:gd name="T3" fmla="*/ 120 h 178"/>
                    <a:gd name="T4" fmla="*/ 83 w 97"/>
                    <a:gd name="T5" fmla="*/ 101 h 178"/>
                    <a:gd name="T6" fmla="*/ 80 w 97"/>
                    <a:gd name="T7" fmla="*/ 89 h 178"/>
                    <a:gd name="T8" fmla="*/ 77 w 97"/>
                    <a:gd name="T9" fmla="*/ 68 h 178"/>
                    <a:gd name="T10" fmla="*/ 74 w 97"/>
                    <a:gd name="T11" fmla="*/ 44 h 178"/>
                    <a:gd name="T12" fmla="*/ 62 w 97"/>
                    <a:gd name="T13" fmla="*/ 34 h 178"/>
                    <a:gd name="T14" fmla="*/ 61 w 97"/>
                    <a:gd name="T15" fmla="*/ 21 h 178"/>
                    <a:gd name="T16" fmla="*/ 62 w 97"/>
                    <a:gd name="T17" fmla="*/ 7 h 178"/>
                    <a:gd name="T18" fmla="*/ 47 w 97"/>
                    <a:gd name="T19" fmla="*/ 0 h 178"/>
                    <a:gd name="T20" fmla="*/ 40 w 97"/>
                    <a:gd name="T21" fmla="*/ 5 h 178"/>
                    <a:gd name="T22" fmla="*/ 38 w 97"/>
                    <a:gd name="T23" fmla="*/ 19 h 178"/>
                    <a:gd name="T24" fmla="*/ 32 w 97"/>
                    <a:gd name="T25" fmla="*/ 25 h 178"/>
                    <a:gd name="T26" fmla="*/ 20 w 97"/>
                    <a:gd name="T27" fmla="*/ 28 h 178"/>
                    <a:gd name="T28" fmla="*/ 5 w 97"/>
                    <a:gd name="T29" fmla="*/ 17 h 178"/>
                    <a:gd name="T30" fmla="*/ 0 w 97"/>
                    <a:gd name="T31" fmla="*/ 21 h 178"/>
                    <a:gd name="T32" fmla="*/ 14 w 97"/>
                    <a:gd name="T33" fmla="*/ 31 h 178"/>
                    <a:gd name="T34" fmla="*/ 20 w 97"/>
                    <a:gd name="T35" fmla="*/ 36 h 178"/>
                    <a:gd name="T36" fmla="*/ 23 w 97"/>
                    <a:gd name="T37" fmla="*/ 47 h 178"/>
                    <a:gd name="T38" fmla="*/ 27 w 97"/>
                    <a:gd name="T39" fmla="*/ 57 h 178"/>
                    <a:gd name="T40" fmla="*/ 28 w 97"/>
                    <a:gd name="T41" fmla="*/ 72 h 178"/>
                    <a:gd name="T42" fmla="*/ 35 w 97"/>
                    <a:gd name="T43" fmla="*/ 81 h 178"/>
                    <a:gd name="T44" fmla="*/ 43 w 97"/>
                    <a:gd name="T45" fmla="*/ 90 h 178"/>
                    <a:gd name="T46" fmla="*/ 45 w 97"/>
                    <a:gd name="T47" fmla="*/ 97 h 178"/>
                    <a:gd name="T48" fmla="*/ 35 w 97"/>
                    <a:gd name="T49" fmla="*/ 102 h 178"/>
                    <a:gd name="T50" fmla="*/ 29 w 97"/>
                    <a:gd name="T51" fmla="*/ 108 h 178"/>
                    <a:gd name="T52" fmla="*/ 28 w 97"/>
                    <a:gd name="T53" fmla="*/ 117 h 178"/>
                    <a:gd name="T54" fmla="*/ 21 w 97"/>
                    <a:gd name="T55" fmla="*/ 118 h 178"/>
                    <a:gd name="T56" fmla="*/ 19 w 97"/>
                    <a:gd name="T57" fmla="*/ 125 h 178"/>
                    <a:gd name="T58" fmla="*/ 14 w 97"/>
                    <a:gd name="T59" fmla="*/ 126 h 178"/>
                    <a:gd name="T60" fmla="*/ 14 w 97"/>
                    <a:gd name="T61" fmla="*/ 134 h 178"/>
                    <a:gd name="T62" fmla="*/ 15 w 97"/>
                    <a:gd name="T63" fmla="*/ 141 h 178"/>
                    <a:gd name="T64" fmla="*/ 19 w 97"/>
                    <a:gd name="T65" fmla="*/ 151 h 178"/>
                    <a:gd name="T66" fmla="*/ 17 w 97"/>
                    <a:gd name="T67" fmla="*/ 164 h 178"/>
                    <a:gd name="T68" fmla="*/ 24 w 97"/>
                    <a:gd name="T69" fmla="*/ 167 h 178"/>
                    <a:gd name="T70" fmla="*/ 31 w 97"/>
                    <a:gd name="T71" fmla="*/ 170 h 178"/>
                    <a:gd name="T72" fmla="*/ 34 w 97"/>
                    <a:gd name="T73" fmla="*/ 178 h 178"/>
                    <a:gd name="T74" fmla="*/ 40 w 97"/>
                    <a:gd name="T75" fmla="*/ 175 h 178"/>
                    <a:gd name="T76" fmla="*/ 53 w 97"/>
                    <a:gd name="T77" fmla="*/ 169 h 178"/>
                    <a:gd name="T78" fmla="*/ 57 w 97"/>
                    <a:gd name="T79" fmla="*/ 168 h 178"/>
                    <a:gd name="T80" fmla="*/ 61 w 97"/>
                    <a:gd name="T81" fmla="*/ 168 h 178"/>
                    <a:gd name="T82" fmla="*/ 68 w 97"/>
                    <a:gd name="T83" fmla="*/ 166 h 178"/>
                    <a:gd name="T84" fmla="*/ 74 w 97"/>
                    <a:gd name="T85" fmla="*/ 165 h 178"/>
                    <a:gd name="T86" fmla="*/ 38 w 97"/>
                    <a:gd name="T87" fmla="*/ 93 h 178"/>
                    <a:gd name="T88" fmla="*/ 40 w 97"/>
                    <a:gd name="T89" fmla="*/ 93 h 178"/>
                    <a:gd name="T90" fmla="*/ 12 w 97"/>
                    <a:gd name="T91" fmla="*/ 122 h 178"/>
                    <a:gd name="T92" fmla="*/ 12 w 97"/>
                    <a:gd name="T93" fmla="*/ 122 h 178"/>
                    <a:gd name="T94" fmla="*/ 32 w 97"/>
                    <a:gd name="T95" fmla="*/ 174 h 178"/>
                    <a:gd name="T96" fmla="*/ 29 w 97"/>
                    <a:gd name="T97" fmla="*/ 169 h 178"/>
                    <a:gd name="T98" fmla="*/ 24 w 97"/>
                    <a:gd name="T99" fmla="*/ 168 h 178"/>
                    <a:gd name="T100" fmla="*/ 18 w 97"/>
                    <a:gd name="T101" fmla="*/ 168 h 178"/>
                    <a:gd name="T102" fmla="*/ 6 w 97"/>
                    <a:gd name="T103" fmla="*/ 168 h 178"/>
                    <a:gd name="T104" fmla="*/ 9 w 97"/>
                    <a:gd name="T105" fmla="*/ 173 h 178"/>
                    <a:gd name="T106" fmla="*/ 5 w 97"/>
                    <a:gd name="T107" fmla="*/ 172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7" h="178">
                      <a:moveTo>
                        <a:pt x="76" y="165"/>
                      </a:moveTo>
                      <a:cubicBezTo>
                        <a:pt x="76" y="162"/>
                        <a:pt x="76" y="162"/>
                        <a:pt x="76" y="162"/>
                      </a:cubicBezTo>
                      <a:cubicBezTo>
                        <a:pt x="81" y="157"/>
                        <a:pt x="81" y="157"/>
                        <a:pt x="81" y="157"/>
                      </a:cubicBezTo>
                      <a:cubicBezTo>
                        <a:pt x="83" y="156"/>
                        <a:pt x="83" y="156"/>
                        <a:pt x="83" y="156"/>
                      </a:cubicBezTo>
                      <a:cubicBezTo>
                        <a:pt x="85" y="152"/>
                        <a:pt x="85" y="152"/>
                        <a:pt x="85" y="152"/>
                      </a:cubicBezTo>
                      <a:cubicBezTo>
                        <a:pt x="88" y="147"/>
                        <a:pt x="88" y="147"/>
                        <a:pt x="88" y="147"/>
                      </a:cubicBezTo>
                      <a:cubicBezTo>
                        <a:pt x="90" y="143"/>
                        <a:pt x="90" y="143"/>
                        <a:pt x="90" y="143"/>
                      </a:cubicBezTo>
                      <a:cubicBezTo>
                        <a:pt x="94" y="136"/>
                        <a:pt x="94" y="136"/>
                        <a:pt x="94" y="136"/>
                      </a:cubicBezTo>
                      <a:cubicBezTo>
                        <a:pt x="97" y="129"/>
                        <a:pt x="97" y="129"/>
                        <a:pt x="97" y="129"/>
                      </a:cubicBezTo>
                      <a:cubicBezTo>
                        <a:pt x="96" y="126"/>
                        <a:pt x="96" y="126"/>
                        <a:pt x="96" y="126"/>
                      </a:cubicBezTo>
                      <a:cubicBezTo>
                        <a:pt x="92" y="121"/>
                        <a:pt x="92" y="121"/>
                        <a:pt x="92" y="121"/>
                      </a:cubicBezTo>
                      <a:cubicBezTo>
                        <a:pt x="90" y="120"/>
                        <a:pt x="90" y="120"/>
                        <a:pt x="90" y="120"/>
                      </a:cubicBezTo>
                      <a:cubicBezTo>
                        <a:pt x="85" y="114"/>
                        <a:pt x="85" y="114"/>
                        <a:pt x="85" y="114"/>
                      </a:cubicBezTo>
                      <a:cubicBezTo>
                        <a:pt x="86" y="111"/>
                        <a:pt x="86" y="111"/>
                        <a:pt x="86" y="111"/>
                      </a:cubicBezTo>
                      <a:cubicBezTo>
                        <a:pt x="88" y="108"/>
                        <a:pt x="88" y="108"/>
                        <a:pt x="88" y="108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85" y="103"/>
                        <a:pt x="85" y="103"/>
                        <a:pt x="85" y="103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97"/>
                        <a:pt x="83" y="97"/>
                        <a:pt x="83" y="97"/>
                      </a:cubicBezTo>
                      <a:cubicBezTo>
                        <a:pt x="84" y="96"/>
                        <a:pt x="84" y="96"/>
                        <a:pt x="84" y="96"/>
                      </a:cubicBezTo>
                      <a:cubicBezTo>
                        <a:pt x="83" y="94"/>
                        <a:pt x="83" y="94"/>
                        <a:pt x="83" y="94"/>
                      </a:cubicBezTo>
                      <a:cubicBezTo>
                        <a:pt x="81" y="94"/>
                        <a:pt x="81" y="94"/>
                        <a:pt x="81" y="94"/>
                      </a:cubicBezTo>
                      <a:cubicBezTo>
                        <a:pt x="80" y="92"/>
                        <a:pt x="80" y="92"/>
                        <a:pt x="80" y="92"/>
                      </a:cubicBezTo>
                      <a:cubicBezTo>
                        <a:pt x="80" y="89"/>
                        <a:pt x="80" y="89"/>
                        <a:pt x="80" y="89"/>
                      </a:cubicBezTo>
                      <a:cubicBezTo>
                        <a:pt x="81" y="87"/>
                        <a:pt x="81" y="87"/>
                        <a:pt x="81" y="87"/>
                      </a:cubicBezTo>
                      <a:cubicBezTo>
                        <a:pt x="79" y="87"/>
                        <a:pt x="79" y="87"/>
                        <a:pt x="79" y="87"/>
                      </a:cubicBez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79" y="79"/>
                        <a:pt x="79" y="79"/>
                        <a:pt x="79" y="79"/>
                      </a:cubicBezTo>
                      <a:cubicBezTo>
                        <a:pt x="81" y="78"/>
                        <a:pt x="81" y="78"/>
                        <a:pt x="81" y="78"/>
                      </a:cubicBezTo>
                      <a:cubicBezTo>
                        <a:pt x="77" y="68"/>
                        <a:pt x="77" y="68"/>
                        <a:pt x="77" y="68"/>
                      </a:cubicBezTo>
                      <a:cubicBezTo>
                        <a:pt x="73" y="60"/>
                        <a:pt x="73" y="60"/>
                        <a:pt x="73" y="60"/>
                      </a:cubicBezTo>
                      <a:cubicBezTo>
                        <a:pt x="72" y="58"/>
                        <a:pt x="72" y="58"/>
                        <a:pt x="72" y="58"/>
                      </a:cubicBezTo>
                      <a:cubicBezTo>
                        <a:pt x="70" y="55"/>
                        <a:pt x="70" y="55"/>
                        <a:pt x="70" y="55"/>
                      </a:cubicBezTo>
                      <a:cubicBezTo>
                        <a:pt x="71" y="50"/>
                        <a:pt x="71" y="50"/>
                        <a:pt x="71" y="50"/>
                      </a:cubicBezTo>
                      <a:cubicBezTo>
                        <a:pt x="73" y="47"/>
                        <a:pt x="73" y="47"/>
                        <a:pt x="73" y="47"/>
                      </a:cubicBezTo>
                      <a:cubicBezTo>
                        <a:pt x="74" y="44"/>
                        <a:pt x="74" y="44"/>
                        <a:pt x="74" y="44"/>
                      </a:cubicBezTo>
                      <a:cubicBezTo>
                        <a:pt x="73" y="43"/>
                        <a:pt x="73" y="43"/>
                        <a:pt x="73" y="43"/>
                      </a:cubicBezTo>
                      <a:cubicBezTo>
                        <a:pt x="69" y="40"/>
                        <a:pt x="69" y="40"/>
                        <a:pt x="69" y="40"/>
                      </a:cubicBezTo>
                      <a:cubicBezTo>
                        <a:pt x="68" y="38"/>
                        <a:pt x="68" y="38"/>
                        <a:pt x="68" y="38"/>
                      </a:cubicBezTo>
                      <a:cubicBezTo>
                        <a:pt x="66" y="36"/>
                        <a:pt x="66" y="36"/>
                        <a:pt x="66" y="36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61" y="30"/>
                        <a:pt x="61" y="30"/>
                        <a:pt x="61" y="30"/>
                      </a:cubicBezTo>
                      <a:cubicBezTo>
                        <a:pt x="59" y="28"/>
                        <a:pt x="59" y="28"/>
                        <a:pt x="59" y="28"/>
                      </a:cubicBezTo>
                      <a:cubicBezTo>
                        <a:pt x="60" y="25"/>
                        <a:pt x="60" y="25"/>
                        <a:pt x="60" y="25"/>
                      </a:cubicBezTo>
                      <a:cubicBezTo>
                        <a:pt x="61" y="22"/>
                        <a:pt x="61" y="22"/>
                        <a:pt x="61" y="22"/>
                      </a:cubicBezTo>
                      <a:cubicBezTo>
                        <a:pt x="59" y="22"/>
                        <a:pt x="59" y="22"/>
                        <a:pt x="59" y="22"/>
                      </a:cubicBezTo>
                      <a:cubicBezTo>
                        <a:pt x="61" y="21"/>
                        <a:pt x="61" y="21"/>
                        <a:pt x="61" y="21"/>
                      </a:cubicBezTo>
                      <a:cubicBezTo>
                        <a:pt x="63" y="20"/>
                        <a:pt x="63" y="20"/>
                        <a:pt x="63" y="20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4" y="13"/>
                        <a:pt x="64" y="13"/>
                        <a:pt x="64" y="13"/>
                      </a:cubicBezTo>
                      <a:cubicBezTo>
                        <a:pt x="65" y="11"/>
                        <a:pt x="65" y="11"/>
                        <a:pt x="65" y="11"/>
                      </a:cubicBezTo>
                      <a:cubicBezTo>
                        <a:pt x="63" y="9"/>
                        <a:pt x="63" y="9"/>
                        <a:pt x="63" y="9"/>
                      </a:cubicBezTo>
                      <a:cubicBezTo>
                        <a:pt x="62" y="7"/>
                        <a:pt x="62" y="7"/>
                        <a:pt x="62" y="7"/>
                      </a:cubicBez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7" y="6"/>
                        <a:pt x="57" y="6"/>
                        <a:pt x="57" y="6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3" y="1"/>
                        <a:pt x="53" y="1"/>
                        <a:pt x="53" y="1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6" y="2"/>
                        <a:pt x="46" y="2"/>
                        <a:pt x="46" y="2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4" y="3"/>
                        <a:pt x="44" y="3"/>
                        <a:pt x="44" y="3"/>
                      </a:cubicBezTo>
                      <a:cubicBezTo>
                        <a:pt x="42" y="3"/>
                        <a:pt x="42" y="3"/>
                        <a:pt x="42" y="3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5"/>
                        <a:pt x="40" y="5"/>
                        <a:pt x="40" y="5"/>
                      </a:cubicBezTo>
                      <a:cubicBezTo>
                        <a:pt x="38" y="7"/>
                        <a:pt x="38" y="7"/>
                        <a:pt x="38" y="7"/>
                      </a:cubicBezTo>
                      <a:cubicBezTo>
                        <a:pt x="37" y="8"/>
                        <a:pt x="37" y="8"/>
                        <a:pt x="37" y="8"/>
                      </a:cubicBezTo>
                      <a:cubicBezTo>
                        <a:pt x="38" y="9"/>
                        <a:pt x="38" y="9"/>
                        <a:pt x="38" y="9"/>
                      </a:cubicBezTo>
                      <a:cubicBezTo>
                        <a:pt x="38" y="11"/>
                        <a:pt x="38" y="11"/>
                        <a:pt x="38" y="11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6" y="23"/>
                        <a:pt x="36" y="23"/>
                        <a:pt x="36" y="23"/>
                      </a:cubicBezTo>
                      <a:cubicBezTo>
                        <a:pt x="35" y="23"/>
                        <a:pt x="35" y="23"/>
                        <a:pt x="35" y="23"/>
                      </a:cubicBez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25" y="24"/>
                        <a:pt x="25" y="24"/>
                        <a:pt x="2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2" y="27"/>
                        <a:pt x="12" y="27"/>
                        <a:pt x="12" y="27"/>
                      </a:cubicBez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5" y="17"/>
                        <a:pt x="5" y="17"/>
                        <a:pt x="5" y="17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2" y="21"/>
                        <a:pt x="2" y="21"/>
                        <a:pt x="2" y="21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7" y="29"/>
                        <a:pt x="7" y="29"/>
                        <a:pt x="7" y="29"/>
                      </a:cubicBezTo>
                      <a:cubicBezTo>
                        <a:pt x="10" y="31"/>
                        <a:pt x="10" y="31"/>
                        <a:pt x="10" y="31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cubicBezTo>
                        <a:pt x="16" y="32"/>
                        <a:pt x="16" y="32"/>
                        <a:pt x="16" y="32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20" y="37"/>
                        <a:pt x="20" y="37"/>
                        <a:pt x="20" y="37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3" y="39"/>
                        <a:pt x="23" y="39"/>
                        <a:pt x="23" y="39"/>
                      </a:cubicBezTo>
                      <a:cubicBezTo>
                        <a:pt x="24" y="40"/>
                        <a:pt x="24" y="40"/>
                        <a:pt x="24" y="40"/>
                      </a:cubicBezTo>
                      <a:cubicBezTo>
                        <a:pt x="24" y="42"/>
                        <a:pt x="24" y="42"/>
                        <a:pt x="24" y="42"/>
                      </a:cubicBezTo>
                      <a:cubicBezTo>
                        <a:pt x="24" y="45"/>
                        <a:pt x="24" y="45"/>
                        <a:pt x="24" y="45"/>
                      </a:cubicBezTo>
                      <a:cubicBezTo>
                        <a:pt x="23" y="47"/>
                        <a:pt x="23" y="47"/>
                        <a:pt x="23" y="47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7" y="52"/>
                        <a:pt x="27" y="52"/>
                        <a:pt x="27" y="52"/>
                      </a:cubicBezTo>
                      <a:cubicBezTo>
                        <a:pt x="26" y="53"/>
                        <a:pt x="26" y="53"/>
                        <a:pt x="26" y="53"/>
                      </a:cubicBezTo>
                      <a:cubicBezTo>
                        <a:pt x="26" y="56"/>
                        <a:pt x="26" y="56"/>
                        <a:pt x="26" y="56"/>
                      </a:cubicBezTo>
                      <a:cubicBezTo>
                        <a:pt x="27" y="57"/>
                        <a:pt x="27" y="57"/>
                        <a:pt x="27" y="57"/>
                      </a:cubicBezTo>
                      <a:cubicBezTo>
                        <a:pt x="28" y="61"/>
                        <a:pt x="28" y="61"/>
                        <a:pt x="28" y="61"/>
                      </a:cubicBezTo>
                      <a:cubicBezTo>
                        <a:pt x="27" y="63"/>
                        <a:pt x="27" y="63"/>
                        <a:pt x="27" y="63"/>
                      </a:cubicBezTo>
                      <a:cubicBezTo>
                        <a:pt x="28" y="64"/>
                        <a:pt x="28" y="64"/>
                        <a:pt x="28" y="64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3" y="78"/>
                        <a:pt x="33" y="78"/>
                        <a:pt x="33" y="78"/>
                      </a:cubicBezTo>
                      <a:cubicBezTo>
                        <a:pt x="33" y="80"/>
                        <a:pt x="33" y="80"/>
                        <a:pt x="33" y="80"/>
                      </a:cubicBezTo>
                      <a:cubicBezTo>
                        <a:pt x="33" y="81"/>
                        <a:pt x="33" y="81"/>
                        <a:pt x="33" y="81"/>
                      </a:cubicBezTo>
                      <a:cubicBezTo>
                        <a:pt x="35" y="81"/>
                        <a:pt x="35" y="81"/>
                        <a:pt x="35" y="81"/>
                      </a:cubicBezTo>
                      <a:cubicBezTo>
                        <a:pt x="37" y="83"/>
                        <a:pt x="37" y="83"/>
                        <a:pt x="37" y="83"/>
                      </a:cubicBezTo>
                      <a:cubicBezTo>
                        <a:pt x="40" y="83"/>
                        <a:pt x="40" y="83"/>
                        <a:pt x="40" y="83"/>
                      </a:cubicBezTo>
                      <a:cubicBezTo>
                        <a:pt x="43" y="85"/>
                        <a:pt x="43" y="85"/>
                        <a:pt x="43" y="85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3" y="87"/>
                        <a:pt x="43" y="87"/>
                        <a:pt x="43" y="87"/>
                      </a:cubicBezTo>
                      <a:cubicBezTo>
                        <a:pt x="43" y="90"/>
                        <a:pt x="43" y="90"/>
                        <a:pt x="43" y="90"/>
                      </a:cubicBezTo>
                      <a:cubicBezTo>
                        <a:pt x="42" y="91"/>
                        <a:pt x="42" y="91"/>
                        <a:pt x="42" y="91"/>
                      </a:cubicBezTo>
                      <a:cubicBezTo>
                        <a:pt x="45" y="93"/>
                        <a:pt x="45" y="93"/>
                        <a:pt x="45" y="93"/>
                      </a:cubicBezTo>
                      <a:cubicBezTo>
                        <a:pt x="43" y="93"/>
                        <a:pt x="43" y="93"/>
                        <a:pt x="43" y="93"/>
                      </a:cubicBezTo>
                      <a:cubicBezTo>
                        <a:pt x="42" y="93"/>
                        <a:pt x="42" y="93"/>
                        <a:pt x="42" y="93"/>
                      </a:cubicBezTo>
                      <a:cubicBezTo>
                        <a:pt x="45" y="95"/>
                        <a:pt x="45" y="95"/>
                        <a:pt x="45" y="95"/>
                      </a:cubicBezTo>
                      <a:cubicBezTo>
                        <a:pt x="45" y="97"/>
                        <a:pt x="45" y="97"/>
                        <a:pt x="45" y="97"/>
                      </a:cubicBezTo>
                      <a:cubicBezTo>
                        <a:pt x="42" y="95"/>
                        <a:pt x="42" y="95"/>
                        <a:pt x="42" y="95"/>
                      </a:cubicBezTo>
                      <a:cubicBezTo>
                        <a:pt x="39" y="95"/>
                        <a:pt x="39" y="95"/>
                        <a:pt x="39" y="95"/>
                      </a:cubicBezTo>
                      <a:cubicBezTo>
                        <a:pt x="37" y="97"/>
                        <a:pt x="37" y="97"/>
                        <a:pt x="37" y="97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35" y="100"/>
                        <a:pt x="35" y="100"/>
                        <a:pt x="35" y="100"/>
                      </a:cubicBezTo>
                      <a:cubicBezTo>
                        <a:pt x="35" y="102"/>
                        <a:pt x="35" y="102"/>
                        <a:pt x="35" y="102"/>
                      </a:cubicBezTo>
                      <a:cubicBezTo>
                        <a:pt x="34" y="102"/>
                        <a:pt x="34" y="102"/>
                        <a:pt x="34" y="102"/>
                      </a:cubicBezTo>
                      <a:cubicBezTo>
                        <a:pt x="31" y="105"/>
                        <a:pt x="31" y="105"/>
                        <a:pt x="31" y="105"/>
                      </a:cubicBezTo>
                      <a:cubicBezTo>
                        <a:pt x="31" y="109"/>
                        <a:pt x="31" y="109"/>
                        <a:pt x="31" y="109"/>
                      </a:cubicBezTo>
                      <a:cubicBezTo>
                        <a:pt x="30" y="109"/>
                        <a:pt x="30" y="109"/>
                        <a:pt x="30" y="109"/>
                      </a:cubicBezTo>
                      <a:cubicBezTo>
                        <a:pt x="29" y="108"/>
                        <a:pt x="29" y="108"/>
                        <a:pt x="29" y="108"/>
                      </a:cubicBezTo>
                      <a:cubicBezTo>
                        <a:pt x="29" y="108"/>
                        <a:pt x="29" y="108"/>
                        <a:pt x="29" y="108"/>
                      </a:cubicBezTo>
                      <a:cubicBezTo>
                        <a:pt x="29" y="110"/>
                        <a:pt x="29" y="110"/>
                        <a:pt x="29" y="110"/>
                      </a:cubicBezTo>
                      <a:cubicBezTo>
                        <a:pt x="29" y="112"/>
                        <a:pt x="29" y="112"/>
                        <a:pt x="29" y="112"/>
                      </a:cubicBezTo>
                      <a:cubicBezTo>
                        <a:pt x="27" y="112"/>
                        <a:pt x="27" y="112"/>
                        <a:pt x="27" y="112"/>
                      </a:cubicBezTo>
                      <a:cubicBezTo>
                        <a:pt x="26" y="113"/>
                        <a:pt x="26" y="113"/>
                        <a:pt x="26" y="113"/>
                      </a:cubicBezTo>
                      <a:cubicBezTo>
                        <a:pt x="26" y="116"/>
                        <a:pt x="26" y="116"/>
                        <a:pt x="26" y="116"/>
                      </a:cubicBezTo>
                      <a:cubicBezTo>
                        <a:pt x="28" y="117"/>
                        <a:pt x="28" y="117"/>
                        <a:pt x="28" y="117"/>
                      </a:cubicBezTo>
                      <a:cubicBezTo>
                        <a:pt x="25" y="116"/>
                        <a:pt x="25" y="116"/>
                        <a:pt x="25" y="116"/>
                      </a:cubicBezTo>
                      <a:cubicBezTo>
                        <a:pt x="25" y="115"/>
                        <a:pt x="25" y="115"/>
                        <a:pt x="25" y="115"/>
                      </a:cubicBezTo>
                      <a:cubicBezTo>
                        <a:pt x="23" y="116"/>
                        <a:pt x="23" y="116"/>
                        <a:pt x="23" y="116"/>
                      </a:cubicBezTo>
                      <a:cubicBezTo>
                        <a:pt x="22" y="118"/>
                        <a:pt x="22" y="118"/>
                        <a:pt x="22" y="118"/>
                      </a:cubicBezTo>
                      <a:cubicBezTo>
                        <a:pt x="23" y="119"/>
                        <a:pt x="23" y="119"/>
                        <a:pt x="23" y="119"/>
                      </a:cubicBezTo>
                      <a:cubicBezTo>
                        <a:pt x="21" y="118"/>
                        <a:pt x="21" y="118"/>
                        <a:pt x="21" y="118"/>
                      </a:cubicBezTo>
                      <a:cubicBezTo>
                        <a:pt x="21" y="119"/>
                        <a:pt x="21" y="119"/>
                        <a:pt x="21" y="119"/>
                      </a:cubicBezTo>
                      <a:cubicBezTo>
                        <a:pt x="22" y="120"/>
                        <a:pt x="22" y="120"/>
                        <a:pt x="22" y="120"/>
                      </a:cubicBezTo>
                      <a:cubicBezTo>
                        <a:pt x="22" y="121"/>
                        <a:pt x="22" y="121"/>
                        <a:pt x="22" y="121"/>
                      </a:cubicBezTo>
                      <a:cubicBezTo>
                        <a:pt x="21" y="122"/>
                        <a:pt x="21" y="122"/>
                        <a:pt x="21" y="122"/>
                      </a:cubicBezTo>
                      <a:cubicBezTo>
                        <a:pt x="21" y="124"/>
                        <a:pt x="21" y="124"/>
                        <a:pt x="21" y="124"/>
                      </a:cubicBezTo>
                      <a:cubicBezTo>
                        <a:pt x="19" y="125"/>
                        <a:pt x="19" y="125"/>
                        <a:pt x="19" y="125"/>
                      </a:cubicBezTo>
                      <a:cubicBezTo>
                        <a:pt x="18" y="124"/>
                        <a:pt x="18" y="124"/>
                        <a:pt x="18" y="124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5" y="123"/>
                        <a:pt x="15" y="123"/>
                        <a:pt x="15" y="123"/>
                      </a:cubicBezTo>
                      <a:cubicBezTo>
                        <a:pt x="16" y="125"/>
                        <a:pt x="16" y="125"/>
                        <a:pt x="16" y="125"/>
                      </a:cubicBezTo>
                      <a:cubicBezTo>
                        <a:pt x="14" y="126"/>
                        <a:pt x="14" y="126"/>
                        <a:pt x="14" y="126"/>
                      </a:cubicBezTo>
                      <a:cubicBezTo>
                        <a:pt x="15" y="128"/>
                        <a:pt x="15" y="128"/>
                        <a:pt x="15" y="128"/>
                      </a:cubicBezTo>
                      <a:cubicBezTo>
                        <a:pt x="15" y="130"/>
                        <a:pt x="15" y="130"/>
                        <a:pt x="15" y="130"/>
                      </a:cubicBezTo>
                      <a:cubicBezTo>
                        <a:pt x="14" y="130"/>
                        <a:pt x="14" y="130"/>
                        <a:pt x="14" y="130"/>
                      </a:cubicBezTo>
                      <a:cubicBezTo>
                        <a:pt x="13" y="132"/>
                        <a:pt x="13" y="132"/>
                        <a:pt x="13" y="132"/>
                      </a:cubicBezTo>
                      <a:cubicBezTo>
                        <a:pt x="13" y="134"/>
                        <a:pt x="13" y="134"/>
                        <a:pt x="13" y="134"/>
                      </a:cubicBezTo>
                      <a:cubicBezTo>
                        <a:pt x="14" y="134"/>
                        <a:pt x="14" y="134"/>
                        <a:pt x="14" y="134"/>
                      </a:cubicBezTo>
                      <a:cubicBezTo>
                        <a:pt x="13" y="136"/>
                        <a:pt x="13" y="136"/>
                        <a:pt x="13" y="136"/>
                      </a:cubicBezTo>
                      <a:cubicBezTo>
                        <a:pt x="14" y="137"/>
                        <a:pt x="14" y="137"/>
                        <a:pt x="14" y="137"/>
                      </a:cubicBezTo>
                      <a:cubicBezTo>
                        <a:pt x="15" y="137"/>
                        <a:pt x="15" y="137"/>
                        <a:pt x="15" y="137"/>
                      </a:cubicBezTo>
                      <a:cubicBezTo>
                        <a:pt x="16" y="138"/>
                        <a:pt x="16" y="138"/>
                        <a:pt x="16" y="138"/>
                      </a:cubicBezTo>
                      <a:cubicBezTo>
                        <a:pt x="16" y="140"/>
                        <a:pt x="16" y="140"/>
                        <a:pt x="16" y="140"/>
                      </a:cubicBezTo>
                      <a:cubicBezTo>
                        <a:pt x="15" y="141"/>
                        <a:pt x="15" y="141"/>
                        <a:pt x="15" y="141"/>
                      </a:cubicBezTo>
                      <a:cubicBezTo>
                        <a:pt x="16" y="143"/>
                        <a:pt x="16" y="143"/>
                        <a:pt x="16" y="143"/>
                      </a:cubicBezTo>
                      <a:cubicBezTo>
                        <a:pt x="15" y="144"/>
                        <a:pt x="15" y="144"/>
                        <a:pt x="15" y="144"/>
                      </a:cubicBezTo>
                      <a:cubicBezTo>
                        <a:pt x="17" y="147"/>
                        <a:pt x="17" y="147"/>
                        <a:pt x="17" y="147"/>
                      </a:cubicBezTo>
                      <a:cubicBezTo>
                        <a:pt x="18" y="148"/>
                        <a:pt x="18" y="148"/>
                        <a:pt x="18" y="148"/>
                      </a:cubicBezTo>
                      <a:cubicBezTo>
                        <a:pt x="18" y="149"/>
                        <a:pt x="18" y="149"/>
                        <a:pt x="18" y="149"/>
                      </a:cubicBezTo>
                      <a:cubicBezTo>
                        <a:pt x="19" y="151"/>
                        <a:pt x="19" y="151"/>
                        <a:pt x="19" y="151"/>
                      </a:cubicBezTo>
                      <a:cubicBezTo>
                        <a:pt x="18" y="152"/>
                        <a:pt x="18" y="152"/>
                        <a:pt x="18" y="152"/>
                      </a:cubicBezTo>
                      <a:cubicBezTo>
                        <a:pt x="18" y="155"/>
                        <a:pt x="18" y="155"/>
                        <a:pt x="18" y="155"/>
                      </a:cubicBezTo>
                      <a:cubicBezTo>
                        <a:pt x="17" y="156"/>
                        <a:pt x="17" y="156"/>
                        <a:pt x="17" y="156"/>
                      </a:cubicBezTo>
                      <a:cubicBezTo>
                        <a:pt x="17" y="160"/>
                        <a:pt x="17" y="160"/>
                        <a:pt x="17" y="160"/>
                      </a:cubicBezTo>
                      <a:cubicBezTo>
                        <a:pt x="18" y="162"/>
                        <a:pt x="18" y="162"/>
                        <a:pt x="18" y="162"/>
                      </a:cubicBezTo>
                      <a:cubicBezTo>
                        <a:pt x="17" y="164"/>
                        <a:pt x="17" y="164"/>
                        <a:pt x="17" y="164"/>
                      </a:cubicBezTo>
                      <a:cubicBezTo>
                        <a:pt x="17" y="165"/>
                        <a:pt x="17" y="165"/>
                        <a:pt x="17" y="165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21" y="165"/>
                        <a:pt x="21" y="165"/>
                        <a:pt x="21" y="165"/>
                      </a:cubicBezTo>
                      <a:cubicBezTo>
                        <a:pt x="22" y="166"/>
                        <a:pt x="22" y="166"/>
                        <a:pt x="22" y="166"/>
                      </a:cubicBezTo>
                      <a:cubicBezTo>
                        <a:pt x="22" y="165"/>
                        <a:pt x="22" y="165"/>
                        <a:pt x="22" y="165"/>
                      </a:cubicBezTo>
                      <a:cubicBezTo>
                        <a:pt x="24" y="167"/>
                        <a:pt x="24" y="167"/>
                        <a:pt x="24" y="167"/>
                      </a:cubicBezTo>
                      <a:cubicBezTo>
                        <a:pt x="25" y="167"/>
                        <a:pt x="25" y="167"/>
                        <a:pt x="25" y="167"/>
                      </a:cubicBezTo>
                      <a:cubicBezTo>
                        <a:pt x="27" y="168"/>
                        <a:pt x="27" y="168"/>
                        <a:pt x="27" y="168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30" y="170"/>
                        <a:pt x="30" y="170"/>
                        <a:pt x="30" y="170"/>
                      </a:cubicBezTo>
                      <a:cubicBezTo>
                        <a:pt x="31" y="170"/>
                        <a:pt x="31" y="170"/>
                        <a:pt x="31" y="170"/>
                      </a:cubicBezTo>
                      <a:cubicBezTo>
                        <a:pt x="33" y="168"/>
                        <a:pt x="33" y="168"/>
                        <a:pt x="33" y="168"/>
                      </a:cubicBezTo>
                      <a:cubicBezTo>
                        <a:pt x="33" y="169"/>
                        <a:pt x="33" y="169"/>
                        <a:pt x="33" y="169"/>
                      </a:cubicBezTo>
                      <a:cubicBezTo>
                        <a:pt x="32" y="171"/>
                        <a:pt x="32" y="171"/>
                        <a:pt x="32" y="171"/>
                      </a:cubicBezTo>
                      <a:cubicBezTo>
                        <a:pt x="34" y="174"/>
                        <a:pt x="34" y="174"/>
                        <a:pt x="34" y="174"/>
                      </a:cubicBezTo>
                      <a:cubicBezTo>
                        <a:pt x="35" y="176"/>
                        <a:pt x="35" y="176"/>
                        <a:pt x="35" y="176"/>
                      </a:cubicBezTo>
                      <a:cubicBezTo>
                        <a:pt x="34" y="178"/>
                        <a:pt x="34" y="178"/>
                        <a:pt x="34" y="178"/>
                      </a:cubicBezTo>
                      <a:cubicBezTo>
                        <a:pt x="35" y="178"/>
                        <a:pt x="35" y="178"/>
                        <a:pt x="35" y="178"/>
                      </a:cubicBezTo>
                      <a:cubicBezTo>
                        <a:pt x="36" y="175"/>
                        <a:pt x="36" y="175"/>
                        <a:pt x="36" y="175"/>
                      </a:cubicBezTo>
                      <a:cubicBezTo>
                        <a:pt x="37" y="175"/>
                        <a:pt x="37" y="175"/>
                        <a:pt x="37" y="175"/>
                      </a:cubicBezTo>
                      <a:cubicBezTo>
                        <a:pt x="37" y="176"/>
                        <a:pt x="37" y="176"/>
                        <a:pt x="37" y="176"/>
                      </a:cubicBezTo>
                      <a:cubicBezTo>
                        <a:pt x="39" y="175"/>
                        <a:pt x="39" y="175"/>
                        <a:pt x="39" y="175"/>
                      </a:cubicBezTo>
                      <a:cubicBezTo>
                        <a:pt x="40" y="175"/>
                        <a:pt x="40" y="175"/>
                        <a:pt x="40" y="175"/>
                      </a:cubicBezTo>
                      <a:cubicBezTo>
                        <a:pt x="43" y="173"/>
                        <a:pt x="43" y="173"/>
                        <a:pt x="43" y="173"/>
                      </a:cubicBezTo>
                      <a:cubicBezTo>
                        <a:pt x="45" y="173"/>
                        <a:pt x="45" y="173"/>
                        <a:pt x="45" y="173"/>
                      </a:cubicBezTo>
                      <a:cubicBezTo>
                        <a:pt x="49" y="170"/>
                        <a:pt x="49" y="170"/>
                        <a:pt x="49" y="170"/>
                      </a:cubicBezTo>
                      <a:cubicBezTo>
                        <a:pt x="49" y="169"/>
                        <a:pt x="49" y="169"/>
                        <a:pt x="49" y="169"/>
                      </a:cubicBezTo>
                      <a:cubicBezTo>
                        <a:pt x="52" y="170"/>
                        <a:pt x="52" y="170"/>
                        <a:pt x="52" y="170"/>
                      </a:cubicBezTo>
                      <a:cubicBezTo>
                        <a:pt x="53" y="169"/>
                        <a:pt x="53" y="169"/>
                        <a:pt x="53" y="169"/>
                      </a:cubicBezTo>
                      <a:cubicBezTo>
                        <a:pt x="55" y="167"/>
                        <a:pt x="55" y="167"/>
                        <a:pt x="55" y="167"/>
                      </a:cubicBezTo>
                      <a:cubicBezTo>
                        <a:pt x="55" y="168"/>
                        <a:pt x="55" y="168"/>
                        <a:pt x="55" y="168"/>
                      </a:cubicBezTo>
                      <a:cubicBezTo>
                        <a:pt x="54" y="170"/>
                        <a:pt x="54" y="170"/>
                        <a:pt x="54" y="170"/>
                      </a:cubicBezTo>
                      <a:cubicBezTo>
                        <a:pt x="55" y="170"/>
                        <a:pt x="55" y="170"/>
                        <a:pt x="55" y="170"/>
                      </a:cubicBezTo>
                      <a:cubicBezTo>
                        <a:pt x="57" y="168"/>
                        <a:pt x="57" y="168"/>
                        <a:pt x="57" y="168"/>
                      </a:cubicBezTo>
                      <a:cubicBezTo>
                        <a:pt x="57" y="168"/>
                        <a:pt x="57" y="168"/>
                        <a:pt x="57" y="168"/>
                      </a:cubicBezTo>
                      <a:cubicBezTo>
                        <a:pt x="57" y="166"/>
                        <a:pt x="57" y="166"/>
                        <a:pt x="57" y="166"/>
                      </a:cubicBezTo>
                      <a:cubicBezTo>
                        <a:pt x="57" y="165"/>
                        <a:pt x="57" y="165"/>
                        <a:pt x="57" y="165"/>
                      </a:cubicBezTo>
                      <a:cubicBezTo>
                        <a:pt x="58" y="167"/>
                        <a:pt x="58" y="167"/>
                        <a:pt x="58" y="167"/>
                      </a:cubicBezTo>
                      <a:cubicBezTo>
                        <a:pt x="59" y="167"/>
                        <a:pt x="59" y="167"/>
                        <a:pt x="59" y="167"/>
                      </a:cubicBezTo>
                      <a:cubicBezTo>
                        <a:pt x="60" y="166"/>
                        <a:pt x="60" y="166"/>
                        <a:pt x="60" y="166"/>
                      </a:cubicBezTo>
                      <a:cubicBezTo>
                        <a:pt x="61" y="168"/>
                        <a:pt x="61" y="168"/>
                        <a:pt x="61" y="168"/>
                      </a:cubicBezTo>
                      <a:cubicBezTo>
                        <a:pt x="62" y="167"/>
                        <a:pt x="62" y="167"/>
                        <a:pt x="62" y="167"/>
                      </a:cubicBezTo>
                      <a:cubicBezTo>
                        <a:pt x="62" y="166"/>
                        <a:pt x="62" y="166"/>
                        <a:pt x="62" y="166"/>
                      </a:cubicBezTo>
                      <a:cubicBezTo>
                        <a:pt x="63" y="166"/>
                        <a:pt x="63" y="166"/>
                        <a:pt x="63" y="166"/>
                      </a:cubicBezTo>
                      <a:cubicBezTo>
                        <a:pt x="64" y="167"/>
                        <a:pt x="64" y="167"/>
                        <a:pt x="64" y="167"/>
                      </a:cubicBezTo>
                      <a:cubicBezTo>
                        <a:pt x="65" y="166"/>
                        <a:pt x="65" y="166"/>
                        <a:pt x="65" y="166"/>
                      </a:cubicBezTo>
                      <a:cubicBezTo>
                        <a:pt x="68" y="166"/>
                        <a:pt x="68" y="166"/>
                        <a:pt x="68" y="166"/>
                      </a:cubicBezTo>
                      <a:cubicBezTo>
                        <a:pt x="69" y="167"/>
                        <a:pt x="69" y="167"/>
                        <a:pt x="69" y="167"/>
                      </a:cubicBezTo>
                      <a:cubicBezTo>
                        <a:pt x="72" y="167"/>
                        <a:pt x="72" y="167"/>
                        <a:pt x="72" y="167"/>
                      </a:cubicBezTo>
                      <a:cubicBezTo>
                        <a:pt x="72" y="166"/>
                        <a:pt x="72" y="166"/>
                        <a:pt x="72" y="166"/>
                      </a:cubicBezTo>
                      <a:cubicBezTo>
                        <a:pt x="71" y="165"/>
                        <a:pt x="71" y="165"/>
                        <a:pt x="71" y="165"/>
                      </a:cubicBezTo>
                      <a:cubicBezTo>
                        <a:pt x="72" y="164"/>
                        <a:pt x="72" y="164"/>
                        <a:pt x="72" y="164"/>
                      </a:cubicBezTo>
                      <a:cubicBezTo>
                        <a:pt x="74" y="165"/>
                        <a:pt x="74" y="165"/>
                        <a:pt x="74" y="165"/>
                      </a:cubicBezTo>
                      <a:cubicBezTo>
                        <a:pt x="74" y="166"/>
                        <a:pt x="74" y="166"/>
                        <a:pt x="74" y="166"/>
                      </a:cubicBezTo>
                      <a:cubicBezTo>
                        <a:pt x="76" y="166"/>
                        <a:pt x="76" y="166"/>
                        <a:pt x="76" y="166"/>
                      </a:cubicBezTo>
                      <a:cubicBezTo>
                        <a:pt x="76" y="166"/>
                        <a:pt x="76" y="165"/>
                        <a:pt x="76" y="165"/>
                      </a:cubicBezTo>
                      <a:close/>
                      <a:moveTo>
                        <a:pt x="40" y="93"/>
                      </a:moveTo>
                      <a:cubicBezTo>
                        <a:pt x="40" y="94"/>
                        <a:pt x="40" y="94"/>
                        <a:pt x="40" y="94"/>
                      </a:cubicBezTo>
                      <a:cubicBezTo>
                        <a:pt x="38" y="93"/>
                        <a:pt x="38" y="93"/>
                        <a:pt x="38" y="93"/>
                      </a:cubicBezTo>
                      <a:cubicBezTo>
                        <a:pt x="37" y="91"/>
                        <a:pt x="37" y="91"/>
                        <a:pt x="37" y="91"/>
                      </a:cubicBezTo>
                      <a:cubicBezTo>
                        <a:pt x="38" y="90"/>
                        <a:pt x="38" y="90"/>
                        <a:pt x="38" y="90"/>
                      </a:cubicBezTo>
                      <a:cubicBezTo>
                        <a:pt x="41" y="91"/>
                        <a:pt x="41" y="91"/>
                        <a:pt x="41" y="91"/>
                      </a:cubicBezTo>
                      <a:cubicBezTo>
                        <a:pt x="41" y="91"/>
                        <a:pt x="41" y="91"/>
                        <a:pt x="41" y="91"/>
                      </a:cubicBezTo>
                      <a:cubicBezTo>
                        <a:pt x="39" y="92"/>
                        <a:pt x="39" y="92"/>
                        <a:pt x="39" y="92"/>
                      </a:cubicBezTo>
                      <a:cubicBezTo>
                        <a:pt x="40" y="93"/>
                        <a:pt x="40" y="93"/>
                        <a:pt x="40" y="93"/>
                      </a:cubicBezTo>
                      <a:close/>
                      <a:moveTo>
                        <a:pt x="13" y="121"/>
                      </a:moveTo>
                      <a:cubicBezTo>
                        <a:pt x="13" y="119"/>
                        <a:pt x="13" y="119"/>
                        <a:pt x="13" y="119"/>
                      </a:cubicBezTo>
                      <a:cubicBezTo>
                        <a:pt x="14" y="120"/>
                        <a:pt x="14" y="120"/>
                        <a:pt x="14" y="120"/>
                      </a:cubicBezTo>
                      <a:cubicBezTo>
                        <a:pt x="14" y="121"/>
                        <a:pt x="14" y="121"/>
                        <a:pt x="14" y="121"/>
                      </a:cubicBezTo>
                      <a:cubicBezTo>
                        <a:pt x="13" y="121"/>
                        <a:pt x="13" y="121"/>
                        <a:pt x="13" y="121"/>
                      </a:cubicBezTo>
                      <a:close/>
                      <a:moveTo>
                        <a:pt x="12" y="122"/>
                      </a:moveTo>
                      <a:cubicBezTo>
                        <a:pt x="13" y="123"/>
                        <a:pt x="13" y="123"/>
                        <a:pt x="13" y="123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4"/>
                        <a:pt x="14" y="124"/>
                        <a:pt x="14" y="124"/>
                      </a:cubicBezTo>
                      <a:cubicBezTo>
                        <a:pt x="13" y="125"/>
                        <a:pt x="13" y="125"/>
                        <a:pt x="13" y="125"/>
                      </a:cubicBezTo>
                      <a:cubicBezTo>
                        <a:pt x="12" y="124"/>
                        <a:pt x="12" y="124"/>
                        <a:pt x="12" y="124"/>
                      </a:cubicBezTo>
                      <a:cubicBezTo>
                        <a:pt x="12" y="122"/>
                        <a:pt x="12" y="122"/>
                        <a:pt x="12" y="122"/>
                      </a:cubicBezTo>
                      <a:close/>
                      <a:moveTo>
                        <a:pt x="32" y="174"/>
                      </a:moveTo>
                      <a:cubicBezTo>
                        <a:pt x="33" y="176"/>
                        <a:pt x="33" y="176"/>
                        <a:pt x="33" y="176"/>
                      </a:cubicBezTo>
                      <a:cubicBezTo>
                        <a:pt x="31" y="176"/>
                        <a:pt x="31" y="176"/>
                        <a:pt x="31" y="176"/>
                      </a:cubicBezTo>
                      <a:cubicBezTo>
                        <a:pt x="31" y="176"/>
                        <a:pt x="31" y="176"/>
                        <a:pt x="31" y="176"/>
                      </a:cubicBezTo>
                      <a:cubicBezTo>
                        <a:pt x="32" y="175"/>
                        <a:pt x="32" y="175"/>
                        <a:pt x="32" y="175"/>
                      </a:cubicBezTo>
                      <a:cubicBezTo>
                        <a:pt x="32" y="174"/>
                        <a:pt x="32" y="174"/>
                        <a:pt x="32" y="174"/>
                      </a:cubicBezTo>
                      <a:close/>
                      <a:moveTo>
                        <a:pt x="30" y="172"/>
                      </a:moveTo>
                      <a:cubicBezTo>
                        <a:pt x="30" y="172"/>
                        <a:pt x="30" y="173"/>
                        <a:pt x="30" y="173"/>
                      </a:cubicBezTo>
                      <a:cubicBezTo>
                        <a:pt x="29" y="173"/>
                        <a:pt x="29" y="173"/>
                        <a:pt x="29" y="173"/>
                      </a:cubicBezTo>
                      <a:cubicBezTo>
                        <a:pt x="30" y="172"/>
                        <a:pt x="30" y="172"/>
                        <a:pt x="30" y="172"/>
                      </a:cubicBezTo>
                      <a:close/>
                      <a:moveTo>
                        <a:pt x="26" y="170"/>
                      </a:moveTo>
                      <a:cubicBezTo>
                        <a:pt x="29" y="169"/>
                        <a:pt x="29" y="169"/>
                        <a:pt x="29" y="169"/>
                      </a:cubicBezTo>
                      <a:cubicBezTo>
                        <a:pt x="29" y="170"/>
                        <a:pt x="29" y="170"/>
                        <a:pt x="29" y="170"/>
                      </a:cubicBezTo>
                      <a:cubicBezTo>
                        <a:pt x="27" y="172"/>
                        <a:pt x="27" y="172"/>
                        <a:pt x="27" y="172"/>
                      </a:cubicBezTo>
                      <a:cubicBezTo>
                        <a:pt x="25" y="171"/>
                        <a:pt x="25" y="171"/>
                        <a:pt x="25" y="171"/>
                      </a:cubicBezTo>
                      <a:cubicBezTo>
                        <a:pt x="26" y="170"/>
                        <a:pt x="26" y="170"/>
                        <a:pt x="26" y="170"/>
                      </a:cubicBezTo>
                      <a:close/>
                      <a:moveTo>
                        <a:pt x="22" y="167"/>
                      </a:moveTo>
                      <a:cubicBezTo>
                        <a:pt x="24" y="168"/>
                        <a:pt x="24" y="168"/>
                        <a:pt x="24" y="168"/>
                      </a:cubicBezTo>
                      <a:cubicBezTo>
                        <a:pt x="23" y="169"/>
                        <a:pt x="23" y="169"/>
                        <a:pt x="23" y="169"/>
                      </a:cubicBezTo>
                      <a:cubicBezTo>
                        <a:pt x="22" y="168"/>
                        <a:pt x="22" y="168"/>
                        <a:pt x="22" y="168"/>
                      </a:cubicBezTo>
                      <a:cubicBezTo>
                        <a:pt x="22" y="167"/>
                        <a:pt x="22" y="167"/>
                        <a:pt x="22" y="167"/>
                      </a:cubicBezTo>
                      <a:close/>
                      <a:moveTo>
                        <a:pt x="17" y="167"/>
                      </a:moveTo>
                      <a:cubicBezTo>
                        <a:pt x="19" y="168"/>
                        <a:pt x="19" y="168"/>
                        <a:pt x="19" y="168"/>
                      </a:cubicBezTo>
                      <a:cubicBezTo>
                        <a:pt x="18" y="168"/>
                        <a:pt x="18" y="168"/>
                        <a:pt x="18" y="168"/>
                      </a:cubicBezTo>
                      <a:cubicBezTo>
                        <a:pt x="18" y="168"/>
                        <a:pt x="17" y="167"/>
                        <a:pt x="17" y="167"/>
                      </a:cubicBezTo>
                      <a:close/>
                      <a:moveTo>
                        <a:pt x="5" y="170"/>
                      </a:moveTo>
                      <a:cubicBezTo>
                        <a:pt x="7" y="171"/>
                        <a:pt x="7" y="171"/>
                        <a:pt x="7" y="171"/>
                      </a:cubicBezTo>
                      <a:cubicBezTo>
                        <a:pt x="7" y="170"/>
                        <a:pt x="7" y="170"/>
                        <a:pt x="7" y="170"/>
                      </a:cubicBezTo>
                      <a:cubicBezTo>
                        <a:pt x="6" y="169"/>
                        <a:pt x="6" y="169"/>
                        <a:pt x="6" y="169"/>
                      </a:cubicBezTo>
                      <a:cubicBezTo>
                        <a:pt x="6" y="168"/>
                        <a:pt x="6" y="168"/>
                        <a:pt x="6" y="168"/>
                      </a:cubicBezTo>
                      <a:cubicBezTo>
                        <a:pt x="7" y="168"/>
                        <a:pt x="7" y="168"/>
                        <a:pt x="7" y="168"/>
                      </a:cubicBezTo>
                      <a:cubicBezTo>
                        <a:pt x="10" y="170"/>
                        <a:pt x="10" y="170"/>
                        <a:pt x="10" y="170"/>
                      </a:cubicBezTo>
                      <a:cubicBezTo>
                        <a:pt x="10" y="171"/>
                        <a:pt x="10" y="171"/>
                        <a:pt x="10" y="171"/>
                      </a:cubicBezTo>
                      <a:cubicBezTo>
                        <a:pt x="9" y="171"/>
                        <a:pt x="9" y="171"/>
                        <a:pt x="9" y="171"/>
                      </a:cubicBezTo>
                      <a:cubicBezTo>
                        <a:pt x="8" y="172"/>
                        <a:pt x="8" y="172"/>
                        <a:pt x="8" y="172"/>
                      </a:cubicBezTo>
                      <a:cubicBezTo>
                        <a:pt x="9" y="173"/>
                        <a:pt x="9" y="173"/>
                        <a:pt x="9" y="173"/>
                      </a:cubicBezTo>
                      <a:cubicBezTo>
                        <a:pt x="10" y="173"/>
                        <a:pt x="10" y="173"/>
                        <a:pt x="10" y="173"/>
                      </a:cubicBezTo>
                      <a:cubicBezTo>
                        <a:pt x="11" y="175"/>
                        <a:pt x="11" y="175"/>
                        <a:pt x="11" y="175"/>
                      </a:cubicBezTo>
                      <a:cubicBezTo>
                        <a:pt x="10" y="176"/>
                        <a:pt x="10" y="176"/>
                        <a:pt x="10" y="176"/>
                      </a:cubicBezTo>
                      <a:cubicBezTo>
                        <a:pt x="8" y="174"/>
                        <a:pt x="8" y="174"/>
                        <a:pt x="8" y="174"/>
                      </a:cubicBezTo>
                      <a:cubicBezTo>
                        <a:pt x="6" y="173"/>
                        <a:pt x="6" y="173"/>
                        <a:pt x="6" y="173"/>
                      </a:cubicBezTo>
                      <a:cubicBezTo>
                        <a:pt x="5" y="172"/>
                        <a:pt x="5" y="172"/>
                        <a:pt x="5" y="172"/>
                      </a:cubicBezTo>
                      <a:cubicBezTo>
                        <a:pt x="4" y="171"/>
                        <a:pt x="4" y="171"/>
                        <a:pt x="4" y="171"/>
                      </a:cubicBezTo>
                      <a:lnTo>
                        <a:pt x="5" y="17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3" name="Freeform 192">
                  <a:extLst>
                    <a:ext uri="{FF2B5EF4-FFF2-40B4-BE49-F238E27FC236}">
                      <a16:creationId xmlns:a16="http://schemas.microsoft.com/office/drawing/2014/main" xmlns="" id="{AFD56007-F9AE-4D2F-8898-560059BD7E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53" y="943"/>
                  <a:ext cx="85" cy="59"/>
                </a:xfrm>
                <a:custGeom>
                  <a:avLst/>
                  <a:gdLst>
                    <a:gd name="T0" fmla="*/ 83 w 85"/>
                    <a:gd name="T1" fmla="*/ 54 h 59"/>
                    <a:gd name="T2" fmla="*/ 85 w 85"/>
                    <a:gd name="T3" fmla="*/ 49 h 59"/>
                    <a:gd name="T4" fmla="*/ 77 w 85"/>
                    <a:gd name="T5" fmla="*/ 31 h 59"/>
                    <a:gd name="T6" fmla="*/ 80 w 85"/>
                    <a:gd name="T7" fmla="*/ 18 h 59"/>
                    <a:gd name="T8" fmla="*/ 83 w 85"/>
                    <a:gd name="T9" fmla="*/ 10 h 59"/>
                    <a:gd name="T10" fmla="*/ 83 w 85"/>
                    <a:gd name="T11" fmla="*/ 8 h 59"/>
                    <a:gd name="T12" fmla="*/ 82 w 85"/>
                    <a:gd name="T13" fmla="*/ 8 h 59"/>
                    <a:gd name="T14" fmla="*/ 64 w 85"/>
                    <a:gd name="T15" fmla="*/ 3 h 59"/>
                    <a:gd name="T16" fmla="*/ 56 w 85"/>
                    <a:gd name="T17" fmla="*/ 1 h 59"/>
                    <a:gd name="T18" fmla="*/ 49 w 85"/>
                    <a:gd name="T19" fmla="*/ 0 h 59"/>
                    <a:gd name="T20" fmla="*/ 47 w 85"/>
                    <a:gd name="T21" fmla="*/ 1 h 59"/>
                    <a:gd name="T22" fmla="*/ 49 w 85"/>
                    <a:gd name="T23" fmla="*/ 5 h 59"/>
                    <a:gd name="T24" fmla="*/ 44 w 85"/>
                    <a:gd name="T25" fmla="*/ 6 h 59"/>
                    <a:gd name="T26" fmla="*/ 38 w 85"/>
                    <a:gd name="T27" fmla="*/ 3 h 59"/>
                    <a:gd name="T28" fmla="*/ 34 w 85"/>
                    <a:gd name="T29" fmla="*/ 6 h 59"/>
                    <a:gd name="T30" fmla="*/ 31 w 85"/>
                    <a:gd name="T31" fmla="*/ 10 h 59"/>
                    <a:gd name="T32" fmla="*/ 23 w 85"/>
                    <a:gd name="T33" fmla="*/ 11 h 59"/>
                    <a:gd name="T34" fmla="*/ 21 w 85"/>
                    <a:gd name="T35" fmla="*/ 26 h 59"/>
                    <a:gd name="T36" fmla="*/ 25 w 85"/>
                    <a:gd name="T37" fmla="*/ 24 h 59"/>
                    <a:gd name="T38" fmla="*/ 26 w 85"/>
                    <a:gd name="T39" fmla="*/ 28 h 59"/>
                    <a:gd name="T40" fmla="*/ 25 w 85"/>
                    <a:gd name="T41" fmla="*/ 32 h 59"/>
                    <a:gd name="T42" fmla="*/ 31 w 85"/>
                    <a:gd name="T43" fmla="*/ 41 h 59"/>
                    <a:gd name="T44" fmla="*/ 33 w 85"/>
                    <a:gd name="T45" fmla="*/ 37 h 59"/>
                    <a:gd name="T46" fmla="*/ 38 w 85"/>
                    <a:gd name="T47" fmla="*/ 37 h 59"/>
                    <a:gd name="T48" fmla="*/ 36 w 85"/>
                    <a:gd name="T49" fmla="*/ 47 h 59"/>
                    <a:gd name="T50" fmla="*/ 43 w 85"/>
                    <a:gd name="T51" fmla="*/ 44 h 59"/>
                    <a:gd name="T52" fmla="*/ 51 w 85"/>
                    <a:gd name="T53" fmla="*/ 46 h 59"/>
                    <a:gd name="T54" fmla="*/ 52 w 85"/>
                    <a:gd name="T55" fmla="*/ 42 h 59"/>
                    <a:gd name="T56" fmla="*/ 56 w 85"/>
                    <a:gd name="T57" fmla="*/ 47 h 59"/>
                    <a:gd name="T58" fmla="*/ 64 w 85"/>
                    <a:gd name="T59" fmla="*/ 50 h 59"/>
                    <a:gd name="T60" fmla="*/ 67 w 85"/>
                    <a:gd name="T61" fmla="*/ 55 h 59"/>
                    <a:gd name="T62" fmla="*/ 75 w 85"/>
                    <a:gd name="T63" fmla="*/ 57 h 59"/>
                    <a:gd name="T64" fmla="*/ 80 w 85"/>
                    <a:gd name="T65" fmla="*/ 57 h 59"/>
                    <a:gd name="T66" fmla="*/ 20 w 85"/>
                    <a:gd name="T67" fmla="*/ 19 h 59"/>
                    <a:gd name="T68" fmla="*/ 16 w 85"/>
                    <a:gd name="T69" fmla="*/ 21 h 59"/>
                    <a:gd name="T70" fmla="*/ 16 w 85"/>
                    <a:gd name="T71" fmla="*/ 19 h 59"/>
                    <a:gd name="T72" fmla="*/ 8 w 85"/>
                    <a:gd name="T73" fmla="*/ 24 h 59"/>
                    <a:gd name="T74" fmla="*/ 3 w 85"/>
                    <a:gd name="T75" fmla="*/ 24 h 59"/>
                    <a:gd name="T76" fmla="*/ 7 w 85"/>
                    <a:gd name="T77" fmla="*/ 21 h 59"/>
                    <a:gd name="T78" fmla="*/ 8 w 85"/>
                    <a:gd name="T79" fmla="*/ 19 h 59"/>
                    <a:gd name="T80" fmla="*/ 12 w 85"/>
                    <a:gd name="T81" fmla="*/ 21 h 59"/>
                    <a:gd name="T82" fmla="*/ 16 w 85"/>
                    <a:gd name="T83" fmla="*/ 24 h 59"/>
                    <a:gd name="T84" fmla="*/ 12 w 85"/>
                    <a:gd name="T85" fmla="*/ 24 h 59"/>
                    <a:gd name="T86" fmla="*/ 10 w 85"/>
                    <a:gd name="T87" fmla="*/ 28 h 59"/>
                    <a:gd name="T88" fmla="*/ 16 w 85"/>
                    <a:gd name="T89" fmla="*/ 28 h 59"/>
                    <a:gd name="T90" fmla="*/ 21 w 85"/>
                    <a:gd name="T91" fmla="*/ 31 h 59"/>
                    <a:gd name="T92" fmla="*/ 16 w 85"/>
                    <a:gd name="T93" fmla="*/ 29 h 59"/>
                    <a:gd name="T94" fmla="*/ 2 w 85"/>
                    <a:gd name="T95" fmla="*/ 47 h 59"/>
                    <a:gd name="T96" fmla="*/ 7 w 85"/>
                    <a:gd name="T97" fmla="*/ 46 h 59"/>
                    <a:gd name="T98" fmla="*/ 8 w 85"/>
                    <a:gd name="T99" fmla="*/ 41 h 59"/>
                    <a:gd name="T100" fmla="*/ 15 w 85"/>
                    <a:gd name="T101" fmla="*/ 37 h 59"/>
                    <a:gd name="T102" fmla="*/ 18 w 85"/>
                    <a:gd name="T103" fmla="*/ 34 h 59"/>
                    <a:gd name="T104" fmla="*/ 18 w 85"/>
                    <a:gd name="T105" fmla="*/ 32 h 59"/>
                    <a:gd name="T106" fmla="*/ 15 w 85"/>
                    <a:gd name="T107" fmla="*/ 31 h 59"/>
                    <a:gd name="T108" fmla="*/ 8 w 85"/>
                    <a:gd name="T109" fmla="*/ 29 h 59"/>
                    <a:gd name="T110" fmla="*/ 7 w 85"/>
                    <a:gd name="T111" fmla="*/ 31 h 59"/>
                    <a:gd name="T112" fmla="*/ 3 w 85"/>
                    <a:gd name="T113" fmla="*/ 32 h 59"/>
                    <a:gd name="T114" fmla="*/ 2 w 85"/>
                    <a:gd name="T115" fmla="*/ 32 h 59"/>
                    <a:gd name="T116" fmla="*/ 2 w 85"/>
                    <a:gd name="T117" fmla="*/ 34 h 59"/>
                    <a:gd name="T118" fmla="*/ 0 w 85"/>
                    <a:gd name="T119" fmla="*/ 36 h 59"/>
                    <a:gd name="T120" fmla="*/ 3 w 85"/>
                    <a:gd name="T121" fmla="*/ 39 h 59"/>
                    <a:gd name="T122" fmla="*/ 5 w 85"/>
                    <a:gd name="T123" fmla="*/ 44 h 59"/>
                    <a:gd name="T124" fmla="*/ 2 w 85"/>
                    <a:gd name="T125" fmla="*/ 47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5" h="59">
                      <a:moveTo>
                        <a:pt x="80" y="57"/>
                      </a:moveTo>
                      <a:lnTo>
                        <a:pt x="83" y="54"/>
                      </a:lnTo>
                      <a:lnTo>
                        <a:pt x="82" y="50"/>
                      </a:lnTo>
                      <a:lnTo>
                        <a:pt x="85" y="49"/>
                      </a:lnTo>
                      <a:lnTo>
                        <a:pt x="85" y="46"/>
                      </a:lnTo>
                      <a:lnTo>
                        <a:pt x="77" y="31"/>
                      </a:lnTo>
                      <a:lnTo>
                        <a:pt x="79" y="19"/>
                      </a:lnTo>
                      <a:lnTo>
                        <a:pt x="80" y="18"/>
                      </a:lnTo>
                      <a:lnTo>
                        <a:pt x="82" y="13"/>
                      </a:lnTo>
                      <a:lnTo>
                        <a:pt x="83" y="10"/>
                      </a:lnTo>
                      <a:lnTo>
                        <a:pt x="85" y="10"/>
                      </a:lnTo>
                      <a:lnTo>
                        <a:pt x="83" y="8"/>
                      </a:lnTo>
                      <a:lnTo>
                        <a:pt x="83" y="6"/>
                      </a:lnTo>
                      <a:lnTo>
                        <a:pt x="82" y="8"/>
                      </a:lnTo>
                      <a:lnTo>
                        <a:pt x="70" y="6"/>
                      </a:lnTo>
                      <a:lnTo>
                        <a:pt x="64" y="3"/>
                      </a:lnTo>
                      <a:lnTo>
                        <a:pt x="59" y="3"/>
                      </a:lnTo>
                      <a:lnTo>
                        <a:pt x="56" y="1"/>
                      </a:lnTo>
                      <a:lnTo>
                        <a:pt x="52" y="3"/>
                      </a:lnTo>
                      <a:lnTo>
                        <a:pt x="49" y="0"/>
                      </a:lnTo>
                      <a:lnTo>
                        <a:pt x="49" y="1"/>
                      </a:lnTo>
                      <a:lnTo>
                        <a:pt x="47" y="1"/>
                      </a:lnTo>
                      <a:lnTo>
                        <a:pt x="47" y="3"/>
                      </a:lnTo>
                      <a:lnTo>
                        <a:pt x="49" y="5"/>
                      </a:lnTo>
                      <a:lnTo>
                        <a:pt x="46" y="6"/>
                      </a:lnTo>
                      <a:lnTo>
                        <a:pt x="44" y="6"/>
                      </a:lnTo>
                      <a:lnTo>
                        <a:pt x="39" y="5"/>
                      </a:lnTo>
                      <a:lnTo>
                        <a:pt x="38" y="3"/>
                      </a:lnTo>
                      <a:lnTo>
                        <a:pt x="36" y="6"/>
                      </a:lnTo>
                      <a:lnTo>
                        <a:pt x="34" y="6"/>
                      </a:lnTo>
                      <a:lnTo>
                        <a:pt x="31" y="8"/>
                      </a:lnTo>
                      <a:lnTo>
                        <a:pt x="31" y="10"/>
                      </a:lnTo>
                      <a:lnTo>
                        <a:pt x="28" y="10"/>
                      </a:lnTo>
                      <a:lnTo>
                        <a:pt x="23" y="11"/>
                      </a:lnTo>
                      <a:lnTo>
                        <a:pt x="21" y="15"/>
                      </a:lnTo>
                      <a:lnTo>
                        <a:pt x="21" y="26"/>
                      </a:lnTo>
                      <a:lnTo>
                        <a:pt x="23" y="26"/>
                      </a:lnTo>
                      <a:lnTo>
                        <a:pt x="25" y="24"/>
                      </a:lnTo>
                      <a:lnTo>
                        <a:pt x="28" y="26"/>
                      </a:lnTo>
                      <a:lnTo>
                        <a:pt x="26" y="28"/>
                      </a:lnTo>
                      <a:lnTo>
                        <a:pt x="25" y="28"/>
                      </a:lnTo>
                      <a:lnTo>
                        <a:pt x="25" y="32"/>
                      </a:lnTo>
                      <a:lnTo>
                        <a:pt x="26" y="36"/>
                      </a:lnTo>
                      <a:lnTo>
                        <a:pt x="31" y="41"/>
                      </a:lnTo>
                      <a:lnTo>
                        <a:pt x="33" y="39"/>
                      </a:lnTo>
                      <a:lnTo>
                        <a:pt x="33" y="37"/>
                      </a:lnTo>
                      <a:lnTo>
                        <a:pt x="36" y="34"/>
                      </a:lnTo>
                      <a:lnTo>
                        <a:pt x="38" y="37"/>
                      </a:lnTo>
                      <a:lnTo>
                        <a:pt x="36" y="46"/>
                      </a:lnTo>
                      <a:lnTo>
                        <a:pt x="36" y="47"/>
                      </a:lnTo>
                      <a:lnTo>
                        <a:pt x="38" y="47"/>
                      </a:lnTo>
                      <a:lnTo>
                        <a:pt x="43" y="44"/>
                      </a:lnTo>
                      <a:lnTo>
                        <a:pt x="46" y="42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2" y="42"/>
                      </a:lnTo>
                      <a:lnTo>
                        <a:pt x="56" y="44"/>
                      </a:lnTo>
                      <a:lnTo>
                        <a:pt x="56" y="47"/>
                      </a:lnTo>
                      <a:lnTo>
                        <a:pt x="59" y="47"/>
                      </a:lnTo>
                      <a:lnTo>
                        <a:pt x="64" y="50"/>
                      </a:lnTo>
                      <a:lnTo>
                        <a:pt x="65" y="54"/>
                      </a:lnTo>
                      <a:lnTo>
                        <a:pt x="67" y="55"/>
                      </a:lnTo>
                      <a:lnTo>
                        <a:pt x="70" y="59"/>
                      </a:lnTo>
                      <a:lnTo>
                        <a:pt x="75" y="57"/>
                      </a:lnTo>
                      <a:lnTo>
                        <a:pt x="80" y="57"/>
                      </a:lnTo>
                      <a:lnTo>
                        <a:pt x="80" y="57"/>
                      </a:lnTo>
                      <a:close/>
                      <a:moveTo>
                        <a:pt x="16" y="19"/>
                      </a:moveTo>
                      <a:lnTo>
                        <a:pt x="20" y="19"/>
                      </a:lnTo>
                      <a:lnTo>
                        <a:pt x="20" y="21"/>
                      </a:lnTo>
                      <a:lnTo>
                        <a:pt x="16" y="21"/>
                      </a:lnTo>
                      <a:lnTo>
                        <a:pt x="16" y="19"/>
                      </a:lnTo>
                      <a:lnTo>
                        <a:pt x="16" y="19"/>
                      </a:lnTo>
                      <a:close/>
                      <a:moveTo>
                        <a:pt x="10" y="28"/>
                      </a:moveTo>
                      <a:lnTo>
                        <a:pt x="8" y="24"/>
                      </a:lnTo>
                      <a:lnTo>
                        <a:pt x="7" y="24"/>
                      </a:lnTo>
                      <a:lnTo>
                        <a:pt x="3" y="24"/>
                      </a:lnTo>
                      <a:lnTo>
                        <a:pt x="2" y="24"/>
                      </a:lnTo>
                      <a:lnTo>
                        <a:pt x="7" y="21"/>
                      </a:lnTo>
                      <a:lnTo>
                        <a:pt x="8" y="19"/>
                      </a:lnTo>
                      <a:lnTo>
                        <a:pt x="8" y="19"/>
                      </a:lnTo>
                      <a:lnTo>
                        <a:pt x="10" y="19"/>
                      </a:lnTo>
                      <a:lnTo>
                        <a:pt x="12" y="21"/>
                      </a:lnTo>
                      <a:lnTo>
                        <a:pt x="15" y="21"/>
                      </a:lnTo>
                      <a:lnTo>
                        <a:pt x="16" y="24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8"/>
                      </a:lnTo>
                      <a:lnTo>
                        <a:pt x="10" y="28"/>
                      </a:lnTo>
                      <a:close/>
                      <a:moveTo>
                        <a:pt x="16" y="29"/>
                      </a:move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0" y="32"/>
                      </a:lnTo>
                      <a:lnTo>
                        <a:pt x="16" y="29"/>
                      </a:lnTo>
                      <a:lnTo>
                        <a:pt x="16" y="29"/>
                      </a:lnTo>
                      <a:close/>
                      <a:moveTo>
                        <a:pt x="2" y="47"/>
                      </a:moveTo>
                      <a:lnTo>
                        <a:pt x="3" y="49"/>
                      </a:lnTo>
                      <a:lnTo>
                        <a:pt x="7" y="46"/>
                      </a:lnTo>
                      <a:lnTo>
                        <a:pt x="7" y="44"/>
                      </a:lnTo>
                      <a:lnTo>
                        <a:pt x="8" y="41"/>
                      </a:lnTo>
                      <a:lnTo>
                        <a:pt x="13" y="39"/>
                      </a:lnTo>
                      <a:lnTo>
                        <a:pt x="15" y="37"/>
                      </a:lnTo>
                      <a:lnTo>
                        <a:pt x="16" y="34"/>
                      </a:lnTo>
                      <a:lnTo>
                        <a:pt x="18" y="34"/>
                      </a:lnTo>
                      <a:lnTo>
                        <a:pt x="20" y="34"/>
                      </a:lnTo>
                      <a:lnTo>
                        <a:pt x="18" y="32"/>
                      </a:lnTo>
                      <a:lnTo>
                        <a:pt x="16" y="32"/>
                      </a:lnTo>
                      <a:lnTo>
                        <a:pt x="15" y="31"/>
                      </a:lnTo>
                      <a:lnTo>
                        <a:pt x="10" y="29"/>
                      </a:lnTo>
                      <a:lnTo>
                        <a:pt x="8" y="29"/>
                      </a:lnTo>
                      <a:lnTo>
                        <a:pt x="7" y="31"/>
                      </a:lnTo>
                      <a:lnTo>
                        <a:pt x="7" y="31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2" y="32"/>
                      </a:lnTo>
                      <a:lnTo>
                        <a:pt x="0" y="32"/>
                      </a:lnTo>
                      <a:lnTo>
                        <a:pt x="2" y="34"/>
                      </a:lnTo>
                      <a:lnTo>
                        <a:pt x="2" y="36"/>
                      </a:lnTo>
                      <a:lnTo>
                        <a:pt x="0" y="36"/>
                      </a:lnTo>
                      <a:lnTo>
                        <a:pt x="0" y="39"/>
                      </a:lnTo>
                      <a:lnTo>
                        <a:pt x="3" y="39"/>
                      </a:lnTo>
                      <a:lnTo>
                        <a:pt x="5" y="42"/>
                      </a:lnTo>
                      <a:lnTo>
                        <a:pt x="5" y="44"/>
                      </a:lnTo>
                      <a:lnTo>
                        <a:pt x="3" y="44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4" name="Freeform 193">
                  <a:extLst>
                    <a:ext uri="{FF2B5EF4-FFF2-40B4-BE49-F238E27FC236}">
                      <a16:creationId xmlns:a16="http://schemas.microsoft.com/office/drawing/2014/main" xmlns="" id="{46BF7712-C298-4CDA-821E-F60B4FB68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5" y="985"/>
                  <a:ext cx="101" cy="56"/>
                </a:xfrm>
                <a:custGeom>
                  <a:avLst/>
                  <a:gdLst>
                    <a:gd name="T0" fmla="*/ 100 w 101"/>
                    <a:gd name="T1" fmla="*/ 39 h 56"/>
                    <a:gd name="T2" fmla="*/ 96 w 101"/>
                    <a:gd name="T3" fmla="*/ 31 h 56"/>
                    <a:gd name="T4" fmla="*/ 93 w 101"/>
                    <a:gd name="T5" fmla="*/ 26 h 56"/>
                    <a:gd name="T6" fmla="*/ 93 w 101"/>
                    <a:gd name="T7" fmla="*/ 22 h 56"/>
                    <a:gd name="T8" fmla="*/ 91 w 101"/>
                    <a:gd name="T9" fmla="*/ 18 h 56"/>
                    <a:gd name="T10" fmla="*/ 83 w 101"/>
                    <a:gd name="T11" fmla="*/ 15 h 56"/>
                    <a:gd name="T12" fmla="*/ 75 w 101"/>
                    <a:gd name="T13" fmla="*/ 13 h 56"/>
                    <a:gd name="T14" fmla="*/ 72 w 101"/>
                    <a:gd name="T15" fmla="*/ 8 h 56"/>
                    <a:gd name="T16" fmla="*/ 64 w 101"/>
                    <a:gd name="T17" fmla="*/ 5 h 56"/>
                    <a:gd name="T18" fmla="*/ 60 w 101"/>
                    <a:gd name="T19" fmla="*/ 0 h 56"/>
                    <a:gd name="T20" fmla="*/ 59 w 101"/>
                    <a:gd name="T21" fmla="*/ 4 h 56"/>
                    <a:gd name="T22" fmla="*/ 51 w 101"/>
                    <a:gd name="T23" fmla="*/ 2 h 56"/>
                    <a:gd name="T24" fmla="*/ 44 w 101"/>
                    <a:gd name="T25" fmla="*/ 5 h 56"/>
                    <a:gd name="T26" fmla="*/ 46 w 101"/>
                    <a:gd name="T27" fmla="*/ 17 h 56"/>
                    <a:gd name="T28" fmla="*/ 38 w 101"/>
                    <a:gd name="T29" fmla="*/ 28 h 56"/>
                    <a:gd name="T30" fmla="*/ 31 w 101"/>
                    <a:gd name="T31" fmla="*/ 23 h 56"/>
                    <a:gd name="T32" fmla="*/ 23 w 101"/>
                    <a:gd name="T33" fmla="*/ 13 h 56"/>
                    <a:gd name="T34" fmla="*/ 21 w 101"/>
                    <a:gd name="T35" fmla="*/ 8 h 56"/>
                    <a:gd name="T36" fmla="*/ 15 w 101"/>
                    <a:gd name="T37" fmla="*/ 12 h 56"/>
                    <a:gd name="T38" fmla="*/ 10 w 101"/>
                    <a:gd name="T39" fmla="*/ 13 h 56"/>
                    <a:gd name="T40" fmla="*/ 8 w 101"/>
                    <a:gd name="T41" fmla="*/ 22 h 56"/>
                    <a:gd name="T42" fmla="*/ 6 w 101"/>
                    <a:gd name="T43" fmla="*/ 26 h 56"/>
                    <a:gd name="T44" fmla="*/ 2 w 101"/>
                    <a:gd name="T45" fmla="*/ 35 h 56"/>
                    <a:gd name="T46" fmla="*/ 0 w 101"/>
                    <a:gd name="T47" fmla="*/ 39 h 56"/>
                    <a:gd name="T48" fmla="*/ 3 w 101"/>
                    <a:gd name="T49" fmla="*/ 49 h 56"/>
                    <a:gd name="T50" fmla="*/ 6 w 101"/>
                    <a:gd name="T51" fmla="*/ 49 h 56"/>
                    <a:gd name="T52" fmla="*/ 11 w 101"/>
                    <a:gd name="T53" fmla="*/ 41 h 56"/>
                    <a:gd name="T54" fmla="*/ 24 w 101"/>
                    <a:gd name="T55" fmla="*/ 39 h 56"/>
                    <a:gd name="T56" fmla="*/ 29 w 101"/>
                    <a:gd name="T57" fmla="*/ 41 h 56"/>
                    <a:gd name="T58" fmla="*/ 36 w 101"/>
                    <a:gd name="T59" fmla="*/ 38 h 56"/>
                    <a:gd name="T60" fmla="*/ 39 w 101"/>
                    <a:gd name="T61" fmla="*/ 41 h 56"/>
                    <a:gd name="T62" fmla="*/ 47 w 101"/>
                    <a:gd name="T63" fmla="*/ 44 h 56"/>
                    <a:gd name="T64" fmla="*/ 54 w 101"/>
                    <a:gd name="T65" fmla="*/ 41 h 56"/>
                    <a:gd name="T66" fmla="*/ 64 w 101"/>
                    <a:gd name="T67" fmla="*/ 44 h 56"/>
                    <a:gd name="T68" fmla="*/ 72 w 101"/>
                    <a:gd name="T69" fmla="*/ 49 h 56"/>
                    <a:gd name="T70" fmla="*/ 80 w 101"/>
                    <a:gd name="T71" fmla="*/ 56 h 56"/>
                    <a:gd name="T72" fmla="*/ 82 w 101"/>
                    <a:gd name="T73" fmla="*/ 56 h 56"/>
                    <a:gd name="T74" fmla="*/ 93 w 101"/>
                    <a:gd name="T75" fmla="*/ 53 h 56"/>
                    <a:gd name="T76" fmla="*/ 96 w 101"/>
                    <a:gd name="T77" fmla="*/ 48 h 56"/>
                    <a:gd name="T78" fmla="*/ 101 w 101"/>
                    <a:gd name="T79" fmla="*/ 4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01" h="56">
                      <a:moveTo>
                        <a:pt x="101" y="44"/>
                      </a:moveTo>
                      <a:lnTo>
                        <a:pt x="100" y="39"/>
                      </a:lnTo>
                      <a:lnTo>
                        <a:pt x="98" y="36"/>
                      </a:lnTo>
                      <a:lnTo>
                        <a:pt x="96" y="31"/>
                      </a:lnTo>
                      <a:lnTo>
                        <a:pt x="95" y="30"/>
                      </a:lnTo>
                      <a:lnTo>
                        <a:pt x="93" y="26"/>
                      </a:lnTo>
                      <a:lnTo>
                        <a:pt x="93" y="23"/>
                      </a:lnTo>
                      <a:lnTo>
                        <a:pt x="93" y="22"/>
                      </a:lnTo>
                      <a:lnTo>
                        <a:pt x="91" y="20"/>
                      </a:lnTo>
                      <a:lnTo>
                        <a:pt x="91" y="18"/>
                      </a:lnTo>
                      <a:lnTo>
                        <a:pt x="91" y="15"/>
                      </a:lnTo>
                      <a:lnTo>
                        <a:pt x="83" y="15"/>
                      </a:lnTo>
                      <a:lnTo>
                        <a:pt x="78" y="17"/>
                      </a:lnTo>
                      <a:lnTo>
                        <a:pt x="75" y="13"/>
                      </a:lnTo>
                      <a:lnTo>
                        <a:pt x="73" y="12"/>
                      </a:lnTo>
                      <a:lnTo>
                        <a:pt x="72" y="8"/>
                      </a:lnTo>
                      <a:lnTo>
                        <a:pt x="67" y="5"/>
                      </a:lnTo>
                      <a:lnTo>
                        <a:pt x="64" y="5"/>
                      </a:lnTo>
                      <a:lnTo>
                        <a:pt x="64" y="2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59" y="4"/>
                      </a:lnTo>
                      <a:lnTo>
                        <a:pt x="54" y="0"/>
                      </a:lnTo>
                      <a:lnTo>
                        <a:pt x="51" y="2"/>
                      </a:lnTo>
                      <a:lnTo>
                        <a:pt x="46" y="5"/>
                      </a:lnTo>
                      <a:lnTo>
                        <a:pt x="44" y="5"/>
                      </a:lnTo>
                      <a:lnTo>
                        <a:pt x="44" y="8"/>
                      </a:lnTo>
                      <a:lnTo>
                        <a:pt x="46" y="17"/>
                      </a:lnTo>
                      <a:lnTo>
                        <a:pt x="44" y="22"/>
                      </a:lnTo>
                      <a:lnTo>
                        <a:pt x="38" y="28"/>
                      </a:lnTo>
                      <a:lnTo>
                        <a:pt x="34" y="28"/>
                      </a:lnTo>
                      <a:lnTo>
                        <a:pt x="31" y="23"/>
                      </a:lnTo>
                      <a:lnTo>
                        <a:pt x="31" y="22"/>
                      </a:lnTo>
                      <a:lnTo>
                        <a:pt x="23" y="13"/>
                      </a:lnTo>
                      <a:lnTo>
                        <a:pt x="23" y="8"/>
                      </a:lnTo>
                      <a:lnTo>
                        <a:pt x="21" y="8"/>
                      </a:lnTo>
                      <a:lnTo>
                        <a:pt x="18" y="12"/>
                      </a:lnTo>
                      <a:lnTo>
                        <a:pt x="15" y="12"/>
                      </a:lnTo>
                      <a:lnTo>
                        <a:pt x="13" y="13"/>
                      </a:lnTo>
                      <a:lnTo>
                        <a:pt x="10" y="13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0"/>
                      </a:lnTo>
                      <a:lnTo>
                        <a:pt x="6" y="26"/>
                      </a:lnTo>
                      <a:lnTo>
                        <a:pt x="2" y="31"/>
                      </a:lnTo>
                      <a:lnTo>
                        <a:pt x="2" y="35"/>
                      </a:lnTo>
                      <a:lnTo>
                        <a:pt x="2" y="38"/>
                      </a:lnTo>
                      <a:lnTo>
                        <a:pt x="0" y="39"/>
                      </a:lnTo>
                      <a:lnTo>
                        <a:pt x="2" y="48"/>
                      </a:lnTo>
                      <a:lnTo>
                        <a:pt x="3" y="49"/>
                      </a:lnTo>
                      <a:lnTo>
                        <a:pt x="3" y="49"/>
                      </a:lnTo>
                      <a:lnTo>
                        <a:pt x="6" y="49"/>
                      </a:lnTo>
                      <a:lnTo>
                        <a:pt x="6" y="46"/>
                      </a:lnTo>
                      <a:lnTo>
                        <a:pt x="11" y="41"/>
                      </a:lnTo>
                      <a:lnTo>
                        <a:pt x="20" y="39"/>
                      </a:lnTo>
                      <a:lnTo>
                        <a:pt x="24" y="39"/>
                      </a:lnTo>
                      <a:lnTo>
                        <a:pt x="28" y="39"/>
                      </a:lnTo>
                      <a:lnTo>
                        <a:pt x="29" y="41"/>
                      </a:lnTo>
                      <a:lnTo>
                        <a:pt x="33" y="39"/>
                      </a:lnTo>
                      <a:lnTo>
                        <a:pt x="36" y="38"/>
                      </a:lnTo>
                      <a:lnTo>
                        <a:pt x="38" y="41"/>
                      </a:lnTo>
                      <a:lnTo>
                        <a:pt x="39" y="41"/>
                      </a:lnTo>
                      <a:lnTo>
                        <a:pt x="42" y="44"/>
                      </a:lnTo>
                      <a:lnTo>
                        <a:pt x="47" y="44"/>
                      </a:lnTo>
                      <a:lnTo>
                        <a:pt x="49" y="44"/>
                      </a:lnTo>
                      <a:lnTo>
                        <a:pt x="54" y="41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9"/>
                      </a:lnTo>
                      <a:lnTo>
                        <a:pt x="72" y="49"/>
                      </a:lnTo>
                      <a:lnTo>
                        <a:pt x="75" y="54"/>
                      </a:lnTo>
                      <a:lnTo>
                        <a:pt x="80" y="56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87" y="54"/>
                      </a:lnTo>
                      <a:lnTo>
                        <a:pt x="93" y="53"/>
                      </a:lnTo>
                      <a:lnTo>
                        <a:pt x="95" y="49"/>
                      </a:lnTo>
                      <a:lnTo>
                        <a:pt x="96" y="48"/>
                      </a:lnTo>
                      <a:lnTo>
                        <a:pt x="98" y="44"/>
                      </a:lnTo>
                      <a:lnTo>
                        <a:pt x="101" y="4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5" name="Freeform 194">
                  <a:extLst>
                    <a:ext uri="{FF2B5EF4-FFF2-40B4-BE49-F238E27FC236}">
                      <a16:creationId xmlns:a16="http://schemas.microsoft.com/office/drawing/2014/main" xmlns="" id="{E019B855-CE93-4850-8823-0BC89AD88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8" y="1023"/>
                  <a:ext cx="79" cy="59"/>
                </a:xfrm>
                <a:custGeom>
                  <a:avLst/>
                  <a:gdLst>
                    <a:gd name="T0" fmla="*/ 26 w 79"/>
                    <a:gd name="T1" fmla="*/ 44 h 59"/>
                    <a:gd name="T2" fmla="*/ 25 w 79"/>
                    <a:gd name="T3" fmla="*/ 37 h 59"/>
                    <a:gd name="T4" fmla="*/ 26 w 79"/>
                    <a:gd name="T5" fmla="*/ 36 h 59"/>
                    <a:gd name="T6" fmla="*/ 25 w 79"/>
                    <a:gd name="T7" fmla="*/ 34 h 59"/>
                    <a:gd name="T8" fmla="*/ 23 w 79"/>
                    <a:gd name="T9" fmla="*/ 33 h 59"/>
                    <a:gd name="T10" fmla="*/ 23 w 79"/>
                    <a:gd name="T11" fmla="*/ 29 h 59"/>
                    <a:gd name="T12" fmla="*/ 21 w 79"/>
                    <a:gd name="T13" fmla="*/ 29 h 59"/>
                    <a:gd name="T14" fmla="*/ 15 w 79"/>
                    <a:gd name="T15" fmla="*/ 31 h 59"/>
                    <a:gd name="T16" fmla="*/ 10 w 79"/>
                    <a:gd name="T17" fmla="*/ 28 h 59"/>
                    <a:gd name="T18" fmla="*/ 7 w 79"/>
                    <a:gd name="T19" fmla="*/ 23 h 59"/>
                    <a:gd name="T20" fmla="*/ 2 w 79"/>
                    <a:gd name="T21" fmla="*/ 23 h 59"/>
                    <a:gd name="T22" fmla="*/ 0 w 79"/>
                    <a:gd name="T23" fmla="*/ 23 h 59"/>
                    <a:gd name="T24" fmla="*/ 2 w 79"/>
                    <a:gd name="T25" fmla="*/ 21 h 59"/>
                    <a:gd name="T26" fmla="*/ 0 w 79"/>
                    <a:gd name="T27" fmla="*/ 16 h 59"/>
                    <a:gd name="T28" fmla="*/ 0 w 79"/>
                    <a:gd name="T29" fmla="*/ 11 h 59"/>
                    <a:gd name="T30" fmla="*/ 3 w 79"/>
                    <a:gd name="T31" fmla="*/ 11 h 59"/>
                    <a:gd name="T32" fmla="*/ 3 w 79"/>
                    <a:gd name="T33" fmla="*/ 8 h 59"/>
                    <a:gd name="T34" fmla="*/ 8 w 79"/>
                    <a:gd name="T35" fmla="*/ 3 h 59"/>
                    <a:gd name="T36" fmla="*/ 17 w 79"/>
                    <a:gd name="T37" fmla="*/ 1 h 59"/>
                    <a:gd name="T38" fmla="*/ 21 w 79"/>
                    <a:gd name="T39" fmla="*/ 1 h 59"/>
                    <a:gd name="T40" fmla="*/ 25 w 79"/>
                    <a:gd name="T41" fmla="*/ 1 h 59"/>
                    <a:gd name="T42" fmla="*/ 26 w 79"/>
                    <a:gd name="T43" fmla="*/ 3 h 59"/>
                    <a:gd name="T44" fmla="*/ 30 w 79"/>
                    <a:gd name="T45" fmla="*/ 1 h 59"/>
                    <a:gd name="T46" fmla="*/ 33 w 79"/>
                    <a:gd name="T47" fmla="*/ 0 h 59"/>
                    <a:gd name="T48" fmla="*/ 35 w 79"/>
                    <a:gd name="T49" fmla="*/ 3 h 59"/>
                    <a:gd name="T50" fmla="*/ 36 w 79"/>
                    <a:gd name="T51" fmla="*/ 3 h 59"/>
                    <a:gd name="T52" fmla="*/ 39 w 79"/>
                    <a:gd name="T53" fmla="*/ 6 h 59"/>
                    <a:gd name="T54" fmla="*/ 44 w 79"/>
                    <a:gd name="T55" fmla="*/ 6 h 59"/>
                    <a:gd name="T56" fmla="*/ 46 w 79"/>
                    <a:gd name="T57" fmla="*/ 6 h 59"/>
                    <a:gd name="T58" fmla="*/ 51 w 79"/>
                    <a:gd name="T59" fmla="*/ 3 h 59"/>
                    <a:gd name="T60" fmla="*/ 56 w 79"/>
                    <a:gd name="T61" fmla="*/ 6 h 59"/>
                    <a:gd name="T62" fmla="*/ 61 w 79"/>
                    <a:gd name="T63" fmla="*/ 6 h 59"/>
                    <a:gd name="T64" fmla="*/ 66 w 79"/>
                    <a:gd name="T65" fmla="*/ 11 h 59"/>
                    <a:gd name="T66" fmla="*/ 69 w 79"/>
                    <a:gd name="T67" fmla="*/ 11 h 59"/>
                    <a:gd name="T68" fmla="*/ 72 w 79"/>
                    <a:gd name="T69" fmla="*/ 16 h 59"/>
                    <a:gd name="T70" fmla="*/ 77 w 79"/>
                    <a:gd name="T71" fmla="*/ 18 h 59"/>
                    <a:gd name="T72" fmla="*/ 79 w 79"/>
                    <a:gd name="T73" fmla="*/ 18 h 59"/>
                    <a:gd name="T74" fmla="*/ 75 w 79"/>
                    <a:gd name="T75" fmla="*/ 23 h 59"/>
                    <a:gd name="T76" fmla="*/ 77 w 79"/>
                    <a:gd name="T77" fmla="*/ 24 h 59"/>
                    <a:gd name="T78" fmla="*/ 77 w 79"/>
                    <a:gd name="T79" fmla="*/ 28 h 59"/>
                    <a:gd name="T80" fmla="*/ 72 w 79"/>
                    <a:gd name="T81" fmla="*/ 31 h 59"/>
                    <a:gd name="T82" fmla="*/ 69 w 79"/>
                    <a:gd name="T83" fmla="*/ 36 h 59"/>
                    <a:gd name="T84" fmla="*/ 67 w 79"/>
                    <a:gd name="T85" fmla="*/ 36 h 59"/>
                    <a:gd name="T86" fmla="*/ 66 w 79"/>
                    <a:gd name="T87" fmla="*/ 41 h 59"/>
                    <a:gd name="T88" fmla="*/ 70 w 79"/>
                    <a:gd name="T89" fmla="*/ 44 h 59"/>
                    <a:gd name="T90" fmla="*/ 70 w 79"/>
                    <a:gd name="T91" fmla="*/ 47 h 59"/>
                    <a:gd name="T92" fmla="*/ 67 w 79"/>
                    <a:gd name="T93" fmla="*/ 47 h 59"/>
                    <a:gd name="T94" fmla="*/ 66 w 79"/>
                    <a:gd name="T95" fmla="*/ 46 h 59"/>
                    <a:gd name="T96" fmla="*/ 62 w 79"/>
                    <a:gd name="T97" fmla="*/ 46 h 59"/>
                    <a:gd name="T98" fmla="*/ 61 w 79"/>
                    <a:gd name="T99" fmla="*/ 51 h 59"/>
                    <a:gd name="T100" fmla="*/ 56 w 79"/>
                    <a:gd name="T101" fmla="*/ 51 h 59"/>
                    <a:gd name="T102" fmla="*/ 57 w 79"/>
                    <a:gd name="T103" fmla="*/ 55 h 59"/>
                    <a:gd name="T104" fmla="*/ 56 w 79"/>
                    <a:gd name="T105" fmla="*/ 55 h 59"/>
                    <a:gd name="T106" fmla="*/ 51 w 79"/>
                    <a:gd name="T107" fmla="*/ 57 h 59"/>
                    <a:gd name="T108" fmla="*/ 48 w 79"/>
                    <a:gd name="T109" fmla="*/ 55 h 59"/>
                    <a:gd name="T110" fmla="*/ 41 w 79"/>
                    <a:gd name="T111" fmla="*/ 57 h 59"/>
                    <a:gd name="T112" fmla="*/ 38 w 79"/>
                    <a:gd name="T113" fmla="*/ 59 h 59"/>
                    <a:gd name="T114" fmla="*/ 36 w 79"/>
                    <a:gd name="T115" fmla="*/ 55 h 59"/>
                    <a:gd name="T116" fmla="*/ 36 w 79"/>
                    <a:gd name="T117" fmla="*/ 52 h 59"/>
                    <a:gd name="T118" fmla="*/ 35 w 79"/>
                    <a:gd name="T119" fmla="*/ 46 h 59"/>
                    <a:gd name="T120" fmla="*/ 33 w 79"/>
                    <a:gd name="T121" fmla="*/ 46 h 59"/>
                    <a:gd name="T122" fmla="*/ 30 w 79"/>
                    <a:gd name="T123" fmla="*/ 44 h 59"/>
                    <a:gd name="T124" fmla="*/ 26 w 79"/>
                    <a:gd name="T125" fmla="*/ 44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9" h="59">
                      <a:moveTo>
                        <a:pt x="26" y="44"/>
                      </a:moveTo>
                      <a:lnTo>
                        <a:pt x="25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23" y="33"/>
                      </a:lnTo>
                      <a:lnTo>
                        <a:pt x="23" y="29"/>
                      </a:lnTo>
                      <a:lnTo>
                        <a:pt x="21" y="29"/>
                      </a:lnTo>
                      <a:lnTo>
                        <a:pt x="15" y="31"/>
                      </a:lnTo>
                      <a:lnTo>
                        <a:pt x="10" y="28"/>
                      </a:lnTo>
                      <a:lnTo>
                        <a:pt x="7" y="23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2" y="21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3" y="11"/>
                      </a:lnTo>
                      <a:lnTo>
                        <a:pt x="3" y="8"/>
                      </a:lnTo>
                      <a:lnTo>
                        <a:pt x="8" y="3"/>
                      </a:lnTo>
                      <a:lnTo>
                        <a:pt x="17" y="1"/>
                      </a:lnTo>
                      <a:lnTo>
                        <a:pt x="21" y="1"/>
                      </a:lnTo>
                      <a:lnTo>
                        <a:pt x="25" y="1"/>
                      </a:lnTo>
                      <a:lnTo>
                        <a:pt x="26" y="3"/>
                      </a:lnTo>
                      <a:lnTo>
                        <a:pt x="30" y="1"/>
                      </a:lnTo>
                      <a:lnTo>
                        <a:pt x="33" y="0"/>
                      </a:lnTo>
                      <a:lnTo>
                        <a:pt x="35" y="3"/>
                      </a:lnTo>
                      <a:lnTo>
                        <a:pt x="36" y="3"/>
                      </a:lnTo>
                      <a:lnTo>
                        <a:pt x="39" y="6"/>
                      </a:lnTo>
                      <a:lnTo>
                        <a:pt x="44" y="6"/>
                      </a:lnTo>
                      <a:lnTo>
                        <a:pt x="46" y="6"/>
                      </a:lnTo>
                      <a:lnTo>
                        <a:pt x="51" y="3"/>
                      </a:lnTo>
                      <a:lnTo>
                        <a:pt x="56" y="6"/>
                      </a:lnTo>
                      <a:lnTo>
                        <a:pt x="61" y="6"/>
                      </a:lnTo>
                      <a:lnTo>
                        <a:pt x="66" y="11"/>
                      </a:lnTo>
                      <a:lnTo>
                        <a:pt x="69" y="11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79" y="18"/>
                      </a:lnTo>
                      <a:lnTo>
                        <a:pt x="75" y="23"/>
                      </a:lnTo>
                      <a:lnTo>
                        <a:pt x="77" y="24"/>
                      </a:lnTo>
                      <a:lnTo>
                        <a:pt x="77" y="28"/>
                      </a:lnTo>
                      <a:lnTo>
                        <a:pt x="72" y="31"/>
                      </a:lnTo>
                      <a:lnTo>
                        <a:pt x="69" y="36"/>
                      </a:lnTo>
                      <a:lnTo>
                        <a:pt x="67" y="36"/>
                      </a:lnTo>
                      <a:lnTo>
                        <a:pt x="66" y="41"/>
                      </a:lnTo>
                      <a:lnTo>
                        <a:pt x="70" y="44"/>
                      </a:lnTo>
                      <a:lnTo>
                        <a:pt x="70" y="47"/>
                      </a:lnTo>
                      <a:lnTo>
                        <a:pt x="67" y="47"/>
                      </a:lnTo>
                      <a:lnTo>
                        <a:pt x="66" y="46"/>
                      </a:lnTo>
                      <a:lnTo>
                        <a:pt x="62" y="46"/>
                      </a:lnTo>
                      <a:lnTo>
                        <a:pt x="61" y="51"/>
                      </a:lnTo>
                      <a:lnTo>
                        <a:pt x="56" y="51"/>
                      </a:lnTo>
                      <a:lnTo>
                        <a:pt x="57" y="55"/>
                      </a:lnTo>
                      <a:lnTo>
                        <a:pt x="56" y="55"/>
                      </a:lnTo>
                      <a:lnTo>
                        <a:pt x="51" y="57"/>
                      </a:lnTo>
                      <a:lnTo>
                        <a:pt x="48" y="55"/>
                      </a:lnTo>
                      <a:lnTo>
                        <a:pt x="41" y="57"/>
                      </a:lnTo>
                      <a:lnTo>
                        <a:pt x="38" y="59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5" y="46"/>
                      </a:lnTo>
                      <a:lnTo>
                        <a:pt x="33" y="46"/>
                      </a:lnTo>
                      <a:lnTo>
                        <a:pt x="30" y="44"/>
                      </a:lnTo>
                      <a:lnTo>
                        <a:pt x="26" y="4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6" name="Freeform 195">
                  <a:extLst>
                    <a:ext uri="{FF2B5EF4-FFF2-40B4-BE49-F238E27FC236}">
                      <a16:creationId xmlns:a16="http://schemas.microsoft.com/office/drawing/2014/main" xmlns="" id="{323DAC49-F8BB-4738-80CC-BFCC86FB23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6" y="1028"/>
                  <a:ext cx="132" cy="104"/>
                </a:xfrm>
                <a:custGeom>
                  <a:avLst/>
                  <a:gdLst>
                    <a:gd name="T0" fmla="*/ 3 w 132"/>
                    <a:gd name="T1" fmla="*/ 52 h 104"/>
                    <a:gd name="T2" fmla="*/ 13 w 132"/>
                    <a:gd name="T3" fmla="*/ 52 h 104"/>
                    <a:gd name="T4" fmla="*/ 19 w 132"/>
                    <a:gd name="T5" fmla="*/ 50 h 104"/>
                    <a:gd name="T6" fmla="*/ 23 w 132"/>
                    <a:gd name="T7" fmla="*/ 46 h 104"/>
                    <a:gd name="T8" fmla="*/ 28 w 132"/>
                    <a:gd name="T9" fmla="*/ 41 h 104"/>
                    <a:gd name="T10" fmla="*/ 32 w 132"/>
                    <a:gd name="T11" fmla="*/ 42 h 104"/>
                    <a:gd name="T12" fmla="*/ 28 w 132"/>
                    <a:gd name="T13" fmla="*/ 36 h 104"/>
                    <a:gd name="T14" fmla="*/ 31 w 132"/>
                    <a:gd name="T15" fmla="*/ 31 h 104"/>
                    <a:gd name="T16" fmla="*/ 39 w 132"/>
                    <a:gd name="T17" fmla="*/ 23 h 104"/>
                    <a:gd name="T18" fmla="*/ 37 w 132"/>
                    <a:gd name="T19" fmla="*/ 18 h 104"/>
                    <a:gd name="T20" fmla="*/ 46 w 132"/>
                    <a:gd name="T21" fmla="*/ 11 h 104"/>
                    <a:gd name="T22" fmla="*/ 54 w 132"/>
                    <a:gd name="T23" fmla="*/ 6 h 104"/>
                    <a:gd name="T24" fmla="*/ 57 w 132"/>
                    <a:gd name="T25" fmla="*/ 1 h 104"/>
                    <a:gd name="T26" fmla="*/ 63 w 132"/>
                    <a:gd name="T27" fmla="*/ 3 h 104"/>
                    <a:gd name="T28" fmla="*/ 70 w 132"/>
                    <a:gd name="T29" fmla="*/ 5 h 104"/>
                    <a:gd name="T30" fmla="*/ 78 w 132"/>
                    <a:gd name="T31" fmla="*/ 5 h 104"/>
                    <a:gd name="T32" fmla="*/ 85 w 132"/>
                    <a:gd name="T33" fmla="*/ 6 h 104"/>
                    <a:gd name="T34" fmla="*/ 91 w 132"/>
                    <a:gd name="T35" fmla="*/ 6 h 104"/>
                    <a:gd name="T36" fmla="*/ 99 w 132"/>
                    <a:gd name="T37" fmla="*/ 10 h 104"/>
                    <a:gd name="T38" fmla="*/ 99 w 132"/>
                    <a:gd name="T39" fmla="*/ 18 h 104"/>
                    <a:gd name="T40" fmla="*/ 103 w 132"/>
                    <a:gd name="T41" fmla="*/ 26 h 104"/>
                    <a:gd name="T42" fmla="*/ 108 w 132"/>
                    <a:gd name="T43" fmla="*/ 34 h 104"/>
                    <a:gd name="T44" fmla="*/ 116 w 132"/>
                    <a:gd name="T45" fmla="*/ 42 h 104"/>
                    <a:gd name="T46" fmla="*/ 122 w 132"/>
                    <a:gd name="T47" fmla="*/ 49 h 104"/>
                    <a:gd name="T48" fmla="*/ 129 w 132"/>
                    <a:gd name="T49" fmla="*/ 57 h 104"/>
                    <a:gd name="T50" fmla="*/ 130 w 132"/>
                    <a:gd name="T51" fmla="*/ 62 h 104"/>
                    <a:gd name="T52" fmla="*/ 119 w 132"/>
                    <a:gd name="T53" fmla="*/ 68 h 104"/>
                    <a:gd name="T54" fmla="*/ 114 w 132"/>
                    <a:gd name="T55" fmla="*/ 68 h 104"/>
                    <a:gd name="T56" fmla="*/ 117 w 132"/>
                    <a:gd name="T57" fmla="*/ 77 h 104"/>
                    <a:gd name="T58" fmla="*/ 121 w 132"/>
                    <a:gd name="T59" fmla="*/ 85 h 104"/>
                    <a:gd name="T60" fmla="*/ 121 w 132"/>
                    <a:gd name="T61" fmla="*/ 90 h 104"/>
                    <a:gd name="T62" fmla="*/ 109 w 132"/>
                    <a:gd name="T63" fmla="*/ 91 h 104"/>
                    <a:gd name="T64" fmla="*/ 106 w 132"/>
                    <a:gd name="T65" fmla="*/ 103 h 104"/>
                    <a:gd name="T66" fmla="*/ 101 w 132"/>
                    <a:gd name="T67" fmla="*/ 101 h 104"/>
                    <a:gd name="T68" fmla="*/ 93 w 132"/>
                    <a:gd name="T69" fmla="*/ 101 h 104"/>
                    <a:gd name="T70" fmla="*/ 86 w 132"/>
                    <a:gd name="T71" fmla="*/ 104 h 104"/>
                    <a:gd name="T72" fmla="*/ 83 w 132"/>
                    <a:gd name="T73" fmla="*/ 101 h 104"/>
                    <a:gd name="T74" fmla="*/ 75 w 132"/>
                    <a:gd name="T75" fmla="*/ 103 h 104"/>
                    <a:gd name="T76" fmla="*/ 67 w 132"/>
                    <a:gd name="T77" fmla="*/ 101 h 104"/>
                    <a:gd name="T78" fmla="*/ 63 w 132"/>
                    <a:gd name="T79" fmla="*/ 103 h 104"/>
                    <a:gd name="T80" fmla="*/ 55 w 132"/>
                    <a:gd name="T81" fmla="*/ 103 h 104"/>
                    <a:gd name="T82" fmla="*/ 52 w 132"/>
                    <a:gd name="T83" fmla="*/ 99 h 104"/>
                    <a:gd name="T84" fmla="*/ 39 w 132"/>
                    <a:gd name="T85" fmla="*/ 95 h 104"/>
                    <a:gd name="T86" fmla="*/ 32 w 132"/>
                    <a:gd name="T87" fmla="*/ 98 h 104"/>
                    <a:gd name="T88" fmla="*/ 18 w 132"/>
                    <a:gd name="T89" fmla="*/ 99 h 104"/>
                    <a:gd name="T90" fmla="*/ 10 w 132"/>
                    <a:gd name="T91" fmla="*/ 99 h 104"/>
                    <a:gd name="T92" fmla="*/ 6 w 132"/>
                    <a:gd name="T93" fmla="*/ 98 h 104"/>
                    <a:gd name="T94" fmla="*/ 3 w 132"/>
                    <a:gd name="T95" fmla="*/ 88 h 104"/>
                    <a:gd name="T96" fmla="*/ 8 w 132"/>
                    <a:gd name="T97" fmla="*/ 81 h 104"/>
                    <a:gd name="T98" fmla="*/ 6 w 132"/>
                    <a:gd name="T99" fmla="*/ 70 h 104"/>
                    <a:gd name="T100" fmla="*/ 3 w 132"/>
                    <a:gd name="T101" fmla="*/ 63 h 104"/>
                    <a:gd name="T102" fmla="*/ 0 w 132"/>
                    <a:gd name="T103" fmla="*/ 5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2" h="104">
                      <a:moveTo>
                        <a:pt x="0" y="54"/>
                      </a:moveTo>
                      <a:lnTo>
                        <a:pt x="3" y="52"/>
                      </a:lnTo>
                      <a:lnTo>
                        <a:pt x="10" y="50"/>
                      </a:lnTo>
                      <a:lnTo>
                        <a:pt x="13" y="52"/>
                      </a:lnTo>
                      <a:lnTo>
                        <a:pt x="18" y="50"/>
                      </a:lnTo>
                      <a:lnTo>
                        <a:pt x="19" y="50"/>
                      </a:lnTo>
                      <a:lnTo>
                        <a:pt x="18" y="46"/>
                      </a:lnTo>
                      <a:lnTo>
                        <a:pt x="23" y="46"/>
                      </a:lnTo>
                      <a:lnTo>
                        <a:pt x="24" y="41"/>
                      </a:lnTo>
                      <a:lnTo>
                        <a:pt x="28" y="41"/>
                      </a:lnTo>
                      <a:lnTo>
                        <a:pt x="29" y="42"/>
                      </a:lnTo>
                      <a:lnTo>
                        <a:pt x="32" y="42"/>
                      </a:lnTo>
                      <a:lnTo>
                        <a:pt x="32" y="39"/>
                      </a:lnTo>
                      <a:lnTo>
                        <a:pt x="28" y="36"/>
                      </a:lnTo>
                      <a:lnTo>
                        <a:pt x="29" y="31"/>
                      </a:lnTo>
                      <a:lnTo>
                        <a:pt x="31" y="31"/>
                      </a:lnTo>
                      <a:lnTo>
                        <a:pt x="34" y="26"/>
                      </a:lnTo>
                      <a:lnTo>
                        <a:pt x="39" y="23"/>
                      </a:lnTo>
                      <a:lnTo>
                        <a:pt x="39" y="19"/>
                      </a:lnTo>
                      <a:lnTo>
                        <a:pt x="37" y="18"/>
                      </a:lnTo>
                      <a:lnTo>
                        <a:pt x="41" y="13"/>
                      </a:lnTo>
                      <a:lnTo>
                        <a:pt x="46" y="11"/>
                      </a:lnTo>
                      <a:lnTo>
                        <a:pt x="52" y="10"/>
                      </a:lnTo>
                      <a:lnTo>
                        <a:pt x="54" y="6"/>
                      </a:lnTo>
                      <a:lnTo>
                        <a:pt x="55" y="5"/>
                      </a:lnTo>
                      <a:lnTo>
                        <a:pt x="57" y="1"/>
                      </a:lnTo>
                      <a:lnTo>
                        <a:pt x="60" y="0"/>
                      </a:lnTo>
                      <a:lnTo>
                        <a:pt x="63" y="3"/>
                      </a:lnTo>
                      <a:lnTo>
                        <a:pt x="67" y="0"/>
                      </a:lnTo>
                      <a:lnTo>
                        <a:pt x="70" y="5"/>
                      </a:lnTo>
                      <a:lnTo>
                        <a:pt x="73" y="3"/>
                      </a:lnTo>
                      <a:lnTo>
                        <a:pt x="78" y="5"/>
                      </a:lnTo>
                      <a:lnTo>
                        <a:pt x="80" y="10"/>
                      </a:lnTo>
                      <a:lnTo>
                        <a:pt x="85" y="6"/>
                      </a:lnTo>
                      <a:lnTo>
                        <a:pt x="90" y="5"/>
                      </a:lnTo>
                      <a:lnTo>
                        <a:pt x="91" y="6"/>
                      </a:lnTo>
                      <a:lnTo>
                        <a:pt x="93" y="6"/>
                      </a:lnTo>
                      <a:lnTo>
                        <a:pt x="99" y="10"/>
                      </a:lnTo>
                      <a:lnTo>
                        <a:pt x="101" y="13"/>
                      </a:lnTo>
                      <a:lnTo>
                        <a:pt x="99" y="18"/>
                      </a:lnTo>
                      <a:lnTo>
                        <a:pt x="103" y="21"/>
                      </a:lnTo>
                      <a:lnTo>
                        <a:pt x="103" y="26"/>
                      </a:lnTo>
                      <a:lnTo>
                        <a:pt x="106" y="29"/>
                      </a:lnTo>
                      <a:lnTo>
                        <a:pt x="108" y="34"/>
                      </a:lnTo>
                      <a:lnTo>
                        <a:pt x="112" y="41"/>
                      </a:lnTo>
                      <a:lnTo>
                        <a:pt x="116" y="42"/>
                      </a:lnTo>
                      <a:lnTo>
                        <a:pt x="117" y="47"/>
                      </a:lnTo>
                      <a:lnTo>
                        <a:pt x="122" y="49"/>
                      </a:lnTo>
                      <a:lnTo>
                        <a:pt x="127" y="54"/>
                      </a:lnTo>
                      <a:lnTo>
                        <a:pt x="129" y="57"/>
                      </a:lnTo>
                      <a:lnTo>
                        <a:pt x="132" y="60"/>
                      </a:lnTo>
                      <a:lnTo>
                        <a:pt x="130" y="62"/>
                      </a:lnTo>
                      <a:lnTo>
                        <a:pt x="127" y="67"/>
                      </a:lnTo>
                      <a:lnTo>
                        <a:pt x="119" y="68"/>
                      </a:lnTo>
                      <a:lnTo>
                        <a:pt x="116" y="65"/>
                      </a:lnTo>
                      <a:lnTo>
                        <a:pt x="114" y="68"/>
                      </a:lnTo>
                      <a:lnTo>
                        <a:pt x="114" y="72"/>
                      </a:lnTo>
                      <a:lnTo>
                        <a:pt x="117" y="77"/>
                      </a:lnTo>
                      <a:lnTo>
                        <a:pt x="117" y="81"/>
                      </a:lnTo>
                      <a:lnTo>
                        <a:pt x="121" y="85"/>
                      </a:lnTo>
                      <a:lnTo>
                        <a:pt x="121" y="90"/>
                      </a:lnTo>
                      <a:lnTo>
                        <a:pt x="121" y="90"/>
                      </a:lnTo>
                      <a:lnTo>
                        <a:pt x="114" y="91"/>
                      </a:lnTo>
                      <a:lnTo>
                        <a:pt x="109" y="91"/>
                      </a:lnTo>
                      <a:lnTo>
                        <a:pt x="108" y="98"/>
                      </a:lnTo>
                      <a:lnTo>
                        <a:pt x="106" y="103"/>
                      </a:lnTo>
                      <a:lnTo>
                        <a:pt x="103" y="104"/>
                      </a:lnTo>
                      <a:lnTo>
                        <a:pt x="101" y="101"/>
                      </a:lnTo>
                      <a:lnTo>
                        <a:pt x="96" y="103"/>
                      </a:lnTo>
                      <a:lnTo>
                        <a:pt x="93" y="101"/>
                      </a:lnTo>
                      <a:lnTo>
                        <a:pt x="90" y="101"/>
                      </a:lnTo>
                      <a:lnTo>
                        <a:pt x="86" y="104"/>
                      </a:lnTo>
                      <a:lnTo>
                        <a:pt x="85" y="104"/>
                      </a:lnTo>
                      <a:lnTo>
                        <a:pt x="83" y="101"/>
                      </a:lnTo>
                      <a:lnTo>
                        <a:pt x="80" y="99"/>
                      </a:lnTo>
                      <a:lnTo>
                        <a:pt x="75" y="103"/>
                      </a:lnTo>
                      <a:lnTo>
                        <a:pt x="72" y="103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3" y="103"/>
                      </a:lnTo>
                      <a:lnTo>
                        <a:pt x="62" y="101"/>
                      </a:lnTo>
                      <a:lnTo>
                        <a:pt x="55" y="103"/>
                      </a:lnTo>
                      <a:lnTo>
                        <a:pt x="55" y="101"/>
                      </a:lnTo>
                      <a:lnTo>
                        <a:pt x="52" y="99"/>
                      </a:lnTo>
                      <a:lnTo>
                        <a:pt x="42" y="98"/>
                      </a:lnTo>
                      <a:lnTo>
                        <a:pt x="39" y="95"/>
                      </a:lnTo>
                      <a:lnTo>
                        <a:pt x="36" y="95"/>
                      </a:lnTo>
                      <a:lnTo>
                        <a:pt x="32" y="98"/>
                      </a:lnTo>
                      <a:lnTo>
                        <a:pt x="28" y="98"/>
                      </a:lnTo>
                      <a:lnTo>
                        <a:pt x="18" y="99"/>
                      </a:lnTo>
                      <a:lnTo>
                        <a:pt x="14" y="101"/>
                      </a:lnTo>
                      <a:lnTo>
                        <a:pt x="10" y="99"/>
                      </a:lnTo>
                      <a:lnTo>
                        <a:pt x="6" y="99"/>
                      </a:lnTo>
                      <a:lnTo>
                        <a:pt x="6" y="98"/>
                      </a:lnTo>
                      <a:lnTo>
                        <a:pt x="3" y="93"/>
                      </a:lnTo>
                      <a:lnTo>
                        <a:pt x="3" y="88"/>
                      </a:lnTo>
                      <a:lnTo>
                        <a:pt x="5" y="83"/>
                      </a:lnTo>
                      <a:lnTo>
                        <a:pt x="8" y="81"/>
                      </a:lnTo>
                      <a:lnTo>
                        <a:pt x="8" y="72"/>
                      </a:lnTo>
                      <a:lnTo>
                        <a:pt x="6" y="70"/>
                      </a:lnTo>
                      <a:lnTo>
                        <a:pt x="5" y="67"/>
                      </a:lnTo>
                      <a:lnTo>
                        <a:pt x="3" y="63"/>
                      </a:lnTo>
                      <a:lnTo>
                        <a:pt x="1" y="55"/>
                      </a:lnTo>
                      <a:lnTo>
                        <a:pt x="0" y="5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7" name="Freeform 196">
                  <a:extLst>
                    <a:ext uri="{FF2B5EF4-FFF2-40B4-BE49-F238E27FC236}">
                      <a16:creationId xmlns:a16="http://schemas.microsoft.com/office/drawing/2014/main" xmlns="" id="{9B1C8F24-CAC3-4320-8C4D-275F21B7DA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6" y="1111"/>
                  <a:ext cx="261" cy="167"/>
                </a:xfrm>
                <a:custGeom>
                  <a:avLst/>
                  <a:gdLst>
                    <a:gd name="T0" fmla="*/ 38 w 261"/>
                    <a:gd name="T1" fmla="*/ 15 h 167"/>
                    <a:gd name="T2" fmla="*/ 62 w 261"/>
                    <a:gd name="T3" fmla="*/ 16 h 167"/>
                    <a:gd name="T4" fmla="*/ 77 w 261"/>
                    <a:gd name="T5" fmla="*/ 20 h 167"/>
                    <a:gd name="T6" fmla="*/ 93 w 261"/>
                    <a:gd name="T7" fmla="*/ 18 h 167"/>
                    <a:gd name="T8" fmla="*/ 106 w 261"/>
                    <a:gd name="T9" fmla="*/ 20 h 167"/>
                    <a:gd name="T10" fmla="*/ 119 w 261"/>
                    <a:gd name="T11" fmla="*/ 8 h 167"/>
                    <a:gd name="T12" fmla="*/ 137 w 261"/>
                    <a:gd name="T13" fmla="*/ 3 h 167"/>
                    <a:gd name="T14" fmla="*/ 163 w 261"/>
                    <a:gd name="T15" fmla="*/ 2 h 167"/>
                    <a:gd name="T16" fmla="*/ 180 w 261"/>
                    <a:gd name="T17" fmla="*/ 20 h 167"/>
                    <a:gd name="T18" fmla="*/ 188 w 261"/>
                    <a:gd name="T19" fmla="*/ 36 h 167"/>
                    <a:gd name="T20" fmla="*/ 209 w 261"/>
                    <a:gd name="T21" fmla="*/ 43 h 167"/>
                    <a:gd name="T22" fmla="*/ 227 w 261"/>
                    <a:gd name="T23" fmla="*/ 52 h 167"/>
                    <a:gd name="T24" fmla="*/ 247 w 261"/>
                    <a:gd name="T25" fmla="*/ 52 h 167"/>
                    <a:gd name="T26" fmla="*/ 261 w 261"/>
                    <a:gd name="T27" fmla="*/ 59 h 167"/>
                    <a:gd name="T28" fmla="*/ 258 w 261"/>
                    <a:gd name="T29" fmla="*/ 77 h 167"/>
                    <a:gd name="T30" fmla="*/ 247 w 261"/>
                    <a:gd name="T31" fmla="*/ 95 h 167"/>
                    <a:gd name="T32" fmla="*/ 237 w 261"/>
                    <a:gd name="T33" fmla="*/ 108 h 167"/>
                    <a:gd name="T34" fmla="*/ 225 w 261"/>
                    <a:gd name="T35" fmla="*/ 113 h 167"/>
                    <a:gd name="T36" fmla="*/ 212 w 261"/>
                    <a:gd name="T37" fmla="*/ 119 h 167"/>
                    <a:gd name="T38" fmla="*/ 198 w 261"/>
                    <a:gd name="T39" fmla="*/ 119 h 167"/>
                    <a:gd name="T40" fmla="*/ 194 w 261"/>
                    <a:gd name="T41" fmla="*/ 131 h 167"/>
                    <a:gd name="T42" fmla="*/ 196 w 261"/>
                    <a:gd name="T43" fmla="*/ 124 h 167"/>
                    <a:gd name="T44" fmla="*/ 186 w 261"/>
                    <a:gd name="T45" fmla="*/ 132 h 167"/>
                    <a:gd name="T46" fmla="*/ 175 w 261"/>
                    <a:gd name="T47" fmla="*/ 134 h 167"/>
                    <a:gd name="T48" fmla="*/ 186 w 261"/>
                    <a:gd name="T49" fmla="*/ 137 h 167"/>
                    <a:gd name="T50" fmla="*/ 189 w 261"/>
                    <a:gd name="T51" fmla="*/ 141 h 167"/>
                    <a:gd name="T52" fmla="*/ 194 w 261"/>
                    <a:gd name="T53" fmla="*/ 149 h 167"/>
                    <a:gd name="T54" fmla="*/ 188 w 261"/>
                    <a:gd name="T55" fmla="*/ 132 h 167"/>
                    <a:gd name="T56" fmla="*/ 202 w 261"/>
                    <a:gd name="T57" fmla="*/ 149 h 167"/>
                    <a:gd name="T58" fmla="*/ 216 w 261"/>
                    <a:gd name="T59" fmla="*/ 144 h 167"/>
                    <a:gd name="T60" fmla="*/ 217 w 261"/>
                    <a:gd name="T61" fmla="*/ 154 h 167"/>
                    <a:gd name="T62" fmla="*/ 194 w 261"/>
                    <a:gd name="T63" fmla="*/ 159 h 167"/>
                    <a:gd name="T64" fmla="*/ 173 w 261"/>
                    <a:gd name="T65" fmla="*/ 163 h 167"/>
                    <a:gd name="T66" fmla="*/ 165 w 261"/>
                    <a:gd name="T67" fmla="*/ 149 h 167"/>
                    <a:gd name="T68" fmla="*/ 173 w 261"/>
                    <a:gd name="T69" fmla="*/ 141 h 167"/>
                    <a:gd name="T70" fmla="*/ 170 w 261"/>
                    <a:gd name="T71" fmla="*/ 136 h 167"/>
                    <a:gd name="T72" fmla="*/ 153 w 261"/>
                    <a:gd name="T73" fmla="*/ 132 h 167"/>
                    <a:gd name="T74" fmla="*/ 147 w 261"/>
                    <a:gd name="T75" fmla="*/ 126 h 167"/>
                    <a:gd name="T76" fmla="*/ 152 w 261"/>
                    <a:gd name="T77" fmla="*/ 124 h 167"/>
                    <a:gd name="T78" fmla="*/ 147 w 261"/>
                    <a:gd name="T79" fmla="*/ 121 h 167"/>
                    <a:gd name="T80" fmla="*/ 140 w 261"/>
                    <a:gd name="T81" fmla="*/ 121 h 167"/>
                    <a:gd name="T82" fmla="*/ 131 w 261"/>
                    <a:gd name="T83" fmla="*/ 131 h 167"/>
                    <a:gd name="T84" fmla="*/ 118 w 261"/>
                    <a:gd name="T85" fmla="*/ 144 h 167"/>
                    <a:gd name="T86" fmla="*/ 118 w 261"/>
                    <a:gd name="T87" fmla="*/ 150 h 167"/>
                    <a:gd name="T88" fmla="*/ 101 w 261"/>
                    <a:gd name="T89" fmla="*/ 150 h 167"/>
                    <a:gd name="T90" fmla="*/ 100 w 261"/>
                    <a:gd name="T91" fmla="*/ 142 h 167"/>
                    <a:gd name="T92" fmla="*/ 108 w 261"/>
                    <a:gd name="T93" fmla="*/ 126 h 167"/>
                    <a:gd name="T94" fmla="*/ 118 w 261"/>
                    <a:gd name="T95" fmla="*/ 123 h 167"/>
                    <a:gd name="T96" fmla="*/ 108 w 261"/>
                    <a:gd name="T97" fmla="*/ 108 h 167"/>
                    <a:gd name="T98" fmla="*/ 95 w 261"/>
                    <a:gd name="T99" fmla="*/ 90 h 167"/>
                    <a:gd name="T100" fmla="*/ 78 w 261"/>
                    <a:gd name="T101" fmla="*/ 87 h 167"/>
                    <a:gd name="T102" fmla="*/ 69 w 261"/>
                    <a:gd name="T103" fmla="*/ 83 h 167"/>
                    <a:gd name="T104" fmla="*/ 65 w 261"/>
                    <a:gd name="T105" fmla="*/ 95 h 167"/>
                    <a:gd name="T106" fmla="*/ 42 w 261"/>
                    <a:gd name="T107" fmla="*/ 103 h 167"/>
                    <a:gd name="T108" fmla="*/ 23 w 261"/>
                    <a:gd name="T109" fmla="*/ 98 h 167"/>
                    <a:gd name="T110" fmla="*/ 8 w 261"/>
                    <a:gd name="T111" fmla="*/ 93 h 167"/>
                    <a:gd name="T112" fmla="*/ 5 w 261"/>
                    <a:gd name="T113" fmla="*/ 74 h 167"/>
                    <a:gd name="T114" fmla="*/ 18 w 261"/>
                    <a:gd name="T115" fmla="*/ 49 h 167"/>
                    <a:gd name="T116" fmla="*/ 23 w 261"/>
                    <a:gd name="T117" fmla="*/ 38 h 167"/>
                    <a:gd name="T118" fmla="*/ 16 w 261"/>
                    <a:gd name="T119" fmla="*/ 18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61" h="167">
                      <a:moveTo>
                        <a:pt x="16" y="16"/>
                      </a:moveTo>
                      <a:lnTo>
                        <a:pt x="20" y="16"/>
                      </a:lnTo>
                      <a:lnTo>
                        <a:pt x="24" y="18"/>
                      </a:lnTo>
                      <a:lnTo>
                        <a:pt x="28" y="16"/>
                      </a:lnTo>
                      <a:lnTo>
                        <a:pt x="38" y="15"/>
                      </a:lnTo>
                      <a:lnTo>
                        <a:pt x="42" y="15"/>
                      </a:lnTo>
                      <a:lnTo>
                        <a:pt x="46" y="12"/>
                      </a:lnTo>
                      <a:lnTo>
                        <a:pt x="49" y="12"/>
                      </a:lnTo>
                      <a:lnTo>
                        <a:pt x="52" y="15"/>
                      </a:lnTo>
                      <a:lnTo>
                        <a:pt x="62" y="16"/>
                      </a:lnTo>
                      <a:lnTo>
                        <a:pt x="65" y="18"/>
                      </a:lnTo>
                      <a:lnTo>
                        <a:pt x="65" y="20"/>
                      </a:lnTo>
                      <a:lnTo>
                        <a:pt x="72" y="18"/>
                      </a:lnTo>
                      <a:lnTo>
                        <a:pt x="73" y="20"/>
                      </a:lnTo>
                      <a:lnTo>
                        <a:pt x="77" y="20"/>
                      </a:lnTo>
                      <a:lnTo>
                        <a:pt x="77" y="18"/>
                      </a:lnTo>
                      <a:lnTo>
                        <a:pt x="82" y="20"/>
                      </a:lnTo>
                      <a:lnTo>
                        <a:pt x="85" y="20"/>
                      </a:lnTo>
                      <a:lnTo>
                        <a:pt x="90" y="16"/>
                      </a:lnTo>
                      <a:lnTo>
                        <a:pt x="93" y="18"/>
                      </a:lnTo>
                      <a:lnTo>
                        <a:pt x="95" y="21"/>
                      </a:lnTo>
                      <a:lnTo>
                        <a:pt x="96" y="21"/>
                      </a:lnTo>
                      <a:lnTo>
                        <a:pt x="100" y="18"/>
                      </a:lnTo>
                      <a:lnTo>
                        <a:pt x="103" y="18"/>
                      </a:lnTo>
                      <a:lnTo>
                        <a:pt x="106" y="20"/>
                      </a:lnTo>
                      <a:lnTo>
                        <a:pt x="111" y="18"/>
                      </a:lnTo>
                      <a:lnTo>
                        <a:pt x="113" y="21"/>
                      </a:lnTo>
                      <a:lnTo>
                        <a:pt x="116" y="20"/>
                      </a:lnTo>
                      <a:lnTo>
                        <a:pt x="118" y="15"/>
                      </a:lnTo>
                      <a:lnTo>
                        <a:pt x="119" y="8"/>
                      </a:lnTo>
                      <a:lnTo>
                        <a:pt x="124" y="8"/>
                      </a:lnTo>
                      <a:lnTo>
                        <a:pt x="131" y="7"/>
                      </a:lnTo>
                      <a:lnTo>
                        <a:pt x="134" y="7"/>
                      </a:lnTo>
                      <a:lnTo>
                        <a:pt x="137" y="7"/>
                      </a:lnTo>
                      <a:lnTo>
                        <a:pt x="137" y="3"/>
                      </a:lnTo>
                      <a:lnTo>
                        <a:pt x="139" y="0"/>
                      </a:lnTo>
                      <a:lnTo>
                        <a:pt x="147" y="3"/>
                      </a:lnTo>
                      <a:lnTo>
                        <a:pt x="155" y="3"/>
                      </a:lnTo>
                      <a:lnTo>
                        <a:pt x="160" y="2"/>
                      </a:lnTo>
                      <a:lnTo>
                        <a:pt x="163" y="2"/>
                      </a:lnTo>
                      <a:lnTo>
                        <a:pt x="165" y="8"/>
                      </a:lnTo>
                      <a:lnTo>
                        <a:pt x="168" y="12"/>
                      </a:lnTo>
                      <a:lnTo>
                        <a:pt x="167" y="15"/>
                      </a:lnTo>
                      <a:lnTo>
                        <a:pt x="171" y="21"/>
                      </a:lnTo>
                      <a:lnTo>
                        <a:pt x="180" y="20"/>
                      </a:lnTo>
                      <a:lnTo>
                        <a:pt x="183" y="23"/>
                      </a:lnTo>
                      <a:lnTo>
                        <a:pt x="183" y="26"/>
                      </a:lnTo>
                      <a:lnTo>
                        <a:pt x="186" y="26"/>
                      </a:lnTo>
                      <a:lnTo>
                        <a:pt x="186" y="31"/>
                      </a:lnTo>
                      <a:lnTo>
                        <a:pt x="188" y="36"/>
                      </a:lnTo>
                      <a:lnTo>
                        <a:pt x="196" y="43"/>
                      </a:lnTo>
                      <a:lnTo>
                        <a:pt x="198" y="39"/>
                      </a:lnTo>
                      <a:lnTo>
                        <a:pt x="202" y="43"/>
                      </a:lnTo>
                      <a:lnTo>
                        <a:pt x="206" y="41"/>
                      </a:lnTo>
                      <a:lnTo>
                        <a:pt x="209" y="43"/>
                      </a:lnTo>
                      <a:lnTo>
                        <a:pt x="216" y="38"/>
                      </a:lnTo>
                      <a:lnTo>
                        <a:pt x="217" y="38"/>
                      </a:lnTo>
                      <a:lnTo>
                        <a:pt x="220" y="46"/>
                      </a:lnTo>
                      <a:lnTo>
                        <a:pt x="225" y="49"/>
                      </a:lnTo>
                      <a:lnTo>
                        <a:pt x="227" y="52"/>
                      </a:lnTo>
                      <a:lnTo>
                        <a:pt x="230" y="49"/>
                      </a:lnTo>
                      <a:lnTo>
                        <a:pt x="235" y="51"/>
                      </a:lnTo>
                      <a:lnTo>
                        <a:pt x="240" y="51"/>
                      </a:lnTo>
                      <a:lnTo>
                        <a:pt x="243" y="52"/>
                      </a:lnTo>
                      <a:lnTo>
                        <a:pt x="247" y="52"/>
                      </a:lnTo>
                      <a:lnTo>
                        <a:pt x="250" y="54"/>
                      </a:lnTo>
                      <a:lnTo>
                        <a:pt x="255" y="56"/>
                      </a:lnTo>
                      <a:lnTo>
                        <a:pt x="258" y="54"/>
                      </a:lnTo>
                      <a:lnTo>
                        <a:pt x="258" y="57"/>
                      </a:lnTo>
                      <a:lnTo>
                        <a:pt x="261" y="59"/>
                      </a:lnTo>
                      <a:lnTo>
                        <a:pt x="261" y="62"/>
                      </a:lnTo>
                      <a:lnTo>
                        <a:pt x="258" y="65"/>
                      </a:lnTo>
                      <a:lnTo>
                        <a:pt x="255" y="67"/>
                      </a:lnTo>
                      <a:lnTo>
                        <a:pt x="253" y="74"/>
                      </a:lnTo>
                      <a:lnTo>
                        <a:pt x="258" y="77"/>
                      </a:lnTo>
                      <a:lnTo>
                        <a:pt x="260" y="82"/>
                      </a:lnTo>
                      <a:lnTo>
                        <a:pt x="258" y="88"/>
                      </a:lnTo>
                      <a:lnTo>
                        <a:pt x="258" y="92"/>
                      </a:lnTo>
                      <a:lnTo>
                        <a:pt x="255" y="93"/>
                      </a:lnTo>
                      <a:lnTo>
                        <a:pt x="247" y="95"/>
                      </a:lnTo>
                      <a:lnTo>
                        <a:pt x="243" y="100"/>
                      </a:lnTo>
                      <a:lnTo>
                        <a:pt x="242" y="101"/>
                      </a:lnTo>
                      <a:lnTo>
                        <a:pt x="242" y="108"/>
                      </a:lnTo>
                      <a:lnTo>
                        <a:pt x="238" y="110"/>
                      </a:lnTo>
                      <a:lnTo>
                        <a:pt x="237" y="108"/>
                      </a:lnTo>
                      <a:lnTo>
                        <a:pt x="235" y="108"/>
                      </a:lnTo>
                      <a:lnTo>
                        <a:pt x="232" y="110"/>
                      </a:lnTo>
                      <a:lnTo>
                        <a:pt x="229" y="110"/>
                      </a:lnTo>
                      <a:lnTo>
                        <a:pt x="225" y="111"/>
                      </a:lnTo>
                      <a:lnTo>
                        <a:pt x="225" y="113"/>
                      </a:lnTo>
                      <a:lnTo>
                        <a:pt x="220" y="114"/>
                      </a:lnTo>
                      <a:lnTo>
                        <a:pt x="219" y="116"/>
                      </a:lnTo>
                      <a:lnTo>
                        <a:pt x="216" y="119"/>
                      </a:lnTo>
                      <a:lnTo>
                        <a:pt x="216" y="119"/>
                      </a:lnTo>
                      <a:lnTo>
                        <a:pt x="212" y="119"/>
                      </a:lnTo>
                      <a:lnTo>
                        <a:pt x="209" y="123"/>
                      </a:lnTo>
                      <a:lnTo>
                        <a:pt x="204" y="121"/>
                      </a:lnTo>
                      <a:lnTo>
                        <a:pt x="202" y="123"/>
                      </a:lnTo>
                      <a:lnTo>
                        <a:pt x="199" y="123"/>
                      </a:lnTo>
                      <a:lnTo>
                        <a:pt x="198" y="119"/>
                      </a:lnTo>
                      <a:lnTo>
                        <a:pt x="196" y="119"/>
                      </a:lnTo>
                      <a:lnTo>
                        <a:pt x="198" y="121"/>
                      </a:lnTo>
                      <a:lnTo>
                        <a:pt x="199" y="124"/>
                      </a:lnTo>
                      <a:lnTo>
                        <a:pt x="198" y="126"/>
                      </a:lnTo>
                      <a:lnTo>
                        <a:pt x="194" y="131"/>
                      </a:lnTo>
                      <a:lnTo>
                        <a:pt x="193" y="131"/>
                      </a:lnTo>
                      <a:lnTo>
                        <a:pt x="193" y="131"/>
                      </a:lnTo>
                      <a:lnTo>
                        <a:pt x="193" y="129"/>
                      </a:lnTo>
                      <a:lnTo>
                        <a:pt x="196" y="126"/>
                      </a:lnTo>
                      <a:lnTo>
                        <a:pt x="196" y="124"/>
                      </a:lnTo>
                      <a:lnTo>
                        <a:pt x="194" y="123"/>
                      </a:lnTo>
                      <a:lnTo>
                        <a:pt x="194" y="124"/>
                      </a:lnTo>
                      <a:lnTo>
                        <a:pt x="189" y="131"/>
                      </a:lnTo>
                      <a:lnTo>
                        <a:pt x="186" y="131"/>
                      </a:lnTo>
                      <a:lnTo>
                        <a:pt x="186" y="132"/>
                      </a:lnTo>
                      <a:lnTo>
                        <a:pt x="183" y="132"/>
                      </a:lnTo>
                      <a:lnTo>
                        <a:pt x="180" y="131"/>
                      </a:lnTo>
                      <a:lnTo>
                        <a:pt x="178" y="132"/>
                      </a:lnTo>
                      <a:lnTo>
                        <a:pt x="175" y="132"/>
                      </a:lnTo>
                      <a:lnTo>
                        <a:pt x="175" y="134"/>
                      </a:lnTo>
                      <a:lnTo>
                        <a:pt x="176" y="134"/>
                      </a:lnTo>
                      <a:lnTo>
                        <a:pt x="181" y="134"/>
                      </a:lnTo>
                      <a:lnTo>
                        <a:pt x="183" y="137"/>
                      </a:lnTo>
                      <a:lnTo>
                        <a:pt x="185" y="139"/>
                      </a:lnTo>
                      <a:lnTo>
                        <a:pt x="186" y="137"/>
                      </a:lnTo>
                      <a:lnTo>
                        <a:pt x="188" y="139"/>
                      </a:lnTo>
                      <a:lnTo>
                        <a:pt x="186" y="141"/>
                      </a:lnTo>
                      <a:lnTo>
                        <a:pt x="186" y="142"/>
                      </a:lnTo>
                      <a:lnTo>
                        <a:pt x="188" y="141"/>
                      </a:lnTo>
                      <a:lnTo>
                        <a:pt x="189" y="141"/>
                      </a:lnTo>
                      <a:lnTo>
                        <a:pt x="189" y="144"/>
                      </a:lnTo>
                      <a:lnTo>
                        <a:pt x="191" y="142"/>
                      </a:lnTo>
                      <a:lnTo>
                        <a:pt x="193" y="144"/>
                      </a:lnTo>
                      <a:lnTo>
                        <a:pt x="193" y="147"/>
                      </a:lnTo>
                      <a:lnTo>
                        <a:pt x="194" y="149"/>
                      </a:lnTo>
                      <a:lnTo>
                        <a:pt x="199" y="150"/>
                      </a:lnTo>
                      <a:lnTo>
                        <a:pt x="201" y="149"/>
                      </a:lnTo>
                      <a:lnTo>
                        <a:pt x="194" y="144"/>
                      </a:lnTo>
                      <a:lnTo>
                        <a:pt x="189" y="137"/>
                      </a:lnTo>
                      <a:lnTo>
                        <a:pt x="188" y="132"/>
                      </a:lnTo>
                      <a:lnTo>
                        <a:pt x="189" y="132"/>
                      </a:lnTo>
                      <a:lnTo>
                        <a:pt x="191" y="136"/>
                      </a:lnTo>
                      <a:lnTo>
                        <a:pt x="193" y="139"/>
                      </a:lnTo>
                      <a:lnTo>
                        <a:pt x="201" y="149"/>
                      </a:lnTo>
                      <a:lnTo>
                        <a:pt x="202" y="149"/>
                      </a:lnTo>
                      <a:lnTo>
                        <a:pt x="204" y="146"/>
                      </a:lnTo>
                      <a:lnTo>
                        <a:pt x="207" y="146"/>
                      </a:lnTo>
                      <a:lnTo>
                        <a:pt x="209" y="149"/>
                      </a:lnTo>
                      <a:lnTo>
                        <a:pt x="211" y="144"/>
                      </a:lnTo>
                      <a:lnTo>
                        <a:pt x="216" y="144"/>
                      </a:lnTo>
                      <a:lnTo>
                        <a:pt x="220" y="144"/>
                      </a:lnTo>
                      <a:lnTo>
                        <a:pt x="219" y="147"/>
                      </a:lnTo>
                      <a:lnTo>
                        <a:pt x="217" y="147"/>
                      </a:lnTo>
                      <a:lnTo>
                        <a:pt x="219" y="150"/>
                      </a:lnTo>
                      <a:lnTo>
                        <a:pt x="217" y="154"/>
                      </a:lnTo>
                      <a:lnTo>
                        <a:pt x="211" y="154"/>
                      </a:lnTo>
                      <a:lnTo>
                        <a:pt x="206" y="152"/>
                      </a:lnTo>
                      <a:lnTo>
                        <a:pt x="201" y="154"/>
                      </a:lnTo>
                      <a:lnTo>
                        <a:pt x="199" y="159"/>
                      </a:lnTo>
                      <a:lnTo>
                        <a:pt x="194" y="159"/>
                      </a:lnTo>
                      <a:lnTo>
                        <a:pt x="186" y="163"/>
                      </a:lnTo>
                      <a:lnTo>
                        <a:pt x="181" y="167"/>
                      </a:lnTo>
                      <a:lnTo>
                        <a:pt x="175" y="167"/>
                      </a:lnTo>
                      <a:lnTo>
                        <a:pt x="173" y="163"/>
                      </a:lnTo>
                      <a:lnTo>
                        <a:pt x="173" y="163"/>
                      </a:lnTo>
                      <a:lnTo>
                        <a:pt x="175" y="157"/>
                      </a:lnTo>
                      <a:lnTo>
                        <a:pt x="175" y="155"/>
                      </a:lnTo>
                      <a:lnTo>
                        <a:pt x="170" y="150"/>
                      </a:lnTo>
                      <a:lnTo>
                        <a:pt x="168" y="150"/>
                      </a:lnTo>
                      <a:lnTo>
                        <a:pt x="165" y="149"/>
                      </a:lnTo>
                      <a:lnTo>
                        <a:pt x="162" y="150"/>
                      </a:lnTo>
                      <a:lnTo>
                        <a:pt x="160" y="150"/>
                      </a:lnTo>
                      <a:lnTo>
                        <a:pt x="163" y="144"/>
                      </a:lnTo>
                      <a:lnTo>
                        <a:pt x="168" y="141"/>
                      </a:lnTo>
                      <a:lnTo>
                        <a:pt x="173" y="141"/>
                      </a:lnTo>
                      <a:lnTo>
                        <a:pt x="175" y="139"/>
                      </a:lnTo>
                      <a:lnTo>
                        <a:pt x="173" y="137"/>
                      </a:lnTo>
                      <a:lnTo>
                        <a:pt x="171" y="134"/>
                      </a:lnTo>
                      <a:lnTo>
                        <a:pt x="170" y="132"/>
                      </a:lnTo>
                      <a:lnTo>
                        <a:pt x="170" y="136"/>
                      </a:lnTo>
                      <a:lnTo>
                        <a:pt x="167" y="134"/>
                      </a:lnTo>
                      <a:lnTo>
                        <a:pt x="163" y="132"/>
                      </a:lnTo>
                      <a:lnTo>
                        <a:pt x="160" y="132"/>
                      </a:lnTo>
                      <a:lnTo>
                        <a:pt x="157" y="134"/>
                      </a:lnTo>
                      <a:lnTo>
                        <a:pt x="153" y="132"/>
                      </a:lnTo>
                      <a:lnTo>
                        <a:pt x="152" y="132"/>
                      </a:lnTo>
                      <a:lnTo>
                        <a:pt x="149" y="131"/>
                      </a:lnTo>
                      <a:lnTo>
                        <a:pt x="150" y="129"/>
                      </a:lnTo>
                      <a:lnTo>
                        <a:pt x="152" y="128"/>
                      </a:lnTo>
                      <a:lnTo>
                        <a:pt x="147" y="126"/>
                      </a:lnTo>
                      <a:lnTo>
                        <a:pt x="140" y="126"/>
                      </a:lnTo>
                      <a:lnTo>
                        <a:pt x="139" y="124"/>
                      </a:lnTo>
                      <a:lnTo>
                        <a:pt x="144" y="124"/>
                      </a:lnTo>
                      <a:lnTo>
                        <a:pt x="149" y="124"/>
                      </a:lnTo>
                      <a:lnTo>
                        <a:pt x="152" y="124"/>
                      </a:lnTo>
                      <a:lnTo>
                        <a:pt x="153" y="124"/>
                      </a:lnTo>
                      <a:lnTo>
                        <a:pt x="157" y="121"/>
                      </a:lnTo>
                      <a:lnTo>
                        <a:pt x="152" y="123"/>
                      </a:lnTo>
                      <a:lnTo>
                        <a:pt x="150" y="121"/>
                      </a:lnTo>
                      <a:lnTo>
                        <a:pt x="147" y="121"/>
                      </a:lnTo>
                      <a:lnTo>
                        <a:pt x="147" y="118"/>
                      </a:lnTo>
                      <a:lnTo>
                        <a:pt x="145" y="121"/>
                      </a:lnTo>
                      <a:lnTo>
                        <a:pt x="144" y="123"/>
                      </a:lnTo>
                      <a:lnTo>
                        <a:pt x="140" y="123"/>
                      </a:lnTo>
                      <a:lnTo>
                        <a:pt x="140" y="121"/>
                      </a:lnTo>
                      <a:lnTo>
                        <a:pt x="139" y="119"/>
                      </a:lnTo>
                      <a:lnTo>
                        <a:pt x="136" y="124"/>
                      </a:lnTo>
                      <a:lnTo>
                        <a:pt x="132" y="124"/>
                      </a:lnTo>
                      <a:lnTo>
                        <a:pt x="131" y="126"/>
                      </a:lnTo>
                      <a:lnTo>
                        <a:pt x="131" y="131"/>
                      </a:lnTo>
                      <a:lnTo>
                        <a:pt x="127" y="134"/>
                      </a:lnTo>
                      <a:lnTo>
                        <a:pt x="126" y="134"/>
                      </a:lnTo>
                      <a:lnTo>
                        <a:pt x="126" y="136"/>
                      </a:lnTo>
                      <a:lnTo>
                        <a:pt x="121" y="144"/>
                      </a:lnTo>
                      <a:lnTo>
                        <a:pt x="118" y="144"/>
                      </a:lnTo>
                      <a:lnTo>
                        <a:pt x="118" y="142"/>
                      </a:lnTo>
                      <a:lnTo>
                        <a:pt x="118" y="144"/>
                      </a:lnTo>
                      <a:lnTo>
                        <a:pt x="116" y="146"/>
                      </a:lnTo>
                      <a:lnTo>
                        <a:pt x="118" y="149"/>
                      </a:lnTo>
                      <a:lnTo>
                        <a:pt x="118" y="150"/>
                      </a:lnTo>
                      <a:lnTo>
                        <a:pt x="118" y="150"/>
                      </a:lnTo>
                      <a:lnTo>
                        <a:pt x="114" y="149"/>
                      </a:lnTo>
                      <a:lnTo>
                        <a:pt x="109" y="149"/>
                      </a:lnTo>
                      <a:lnTo>
                        <a:pt x="108" y="150"/>
                      </a:lnTo>
                      <a:lnTo>
                        <a:pt x="101" y="150"/>
                      </a:lnTo>
                      <a:lnTo>
                        <a:pt x="96" y="150"/>
                      </a:lnTo>
                      <a:lnTo>
                        <a:pt x="95" y="146"/>
                      </a:lnTo>
                      <a:lnTo>
                        <a:pt x="96" y="144"/>
                      </a:lnTo>
                      <a:lnTo>
                        <a:pt x="100" y="144"/>
                      </a:lnTo>
                      <a:lnTo>
                        <a:pt x="100" y="142"/>
                      </a:lnTo>
                      <a:lnTo>
                        <a:pt x="103" y="136"/>
                      </a:lnTo>
                      <a:lnTo>
                        <a:pt x="104" y="136"/>
                      </a:lnTo>
                      <a:lnTo>
                        <a:pt x="104" y="132"/>
                      </a:lnTo>
                      <a:lnTo>
                        <a:pt x="104" y="126"/>
                      </a:lnTo>
                      <a:lnTo>
                        <a:pt x="108" y="126"/>
                      </a:lnTo>
                      <a:lnTo>
                        <a:pt x="111" y="124"/>
                      </a:lnTo>
                      <a:lnTo>
                        <a:pt x="114" y="128"/>
                      </a:lnTo>
                      <a:lnTo>
                        <a:pt x="119" y="128"/>
                      </a:lnTo>
                      <a:lnTo>
                        <a:pt x="119" y="126"/>
                      </a:lnTo>
                      <a:lnTo>
                        <a:pt x="118" y="123"/>
                      </a:lnTo>
                      <a:lnTo>
                        <a:pt x="118" y="119"/>
                      </a:lnTo>
                      <a:lnTo>
                        <a:pt x="118" y="116"/>
                      </a:lnTo>
                      <a:lnTo>
                        <a:pt x="113" y="114"/>
                      </a:lnTo>
                      <a:lnTo>
                        <a:pt x="109" y="110"/>
                      </a:lnTo>
                      <a:lnTo>
                        <a:pt x="108" y="108"/>
                      </a:lnTo>
                      <a:lnTo>
                        <a:pt x="104" y="106"/>
                      </a:lnTo>
                      <a:lnTo>
                        <a:pt x="104" y="103"/>
                      </a:lnTo>
                      <a:lnTo>
                        <a:pt x="104" y="96"/>
                      </a:lnTo>
                      <a:lnTo>
                        <a:pt x="100" y="95"/>
                      </a:lnTo>
                      <a:lnTo>
                        <a:pt x="95" y="90"/>
                      </a:lnTo>
                      <a:lnTo>
                        <a:pt x="95" y="90"/>
                      </a:lnTo>
                      <a:lnTo>
                        <a:pt x="93" y="92"/>
                      </a:lnTo>
                      <a:lnTo>
                        <a:pt x="88" y="92"/>
                      </a:lnTo>
                      <a:lnTo>
                        <a:pt x="83" y="87"/>
                      </a:lnTo>
                      <a:lnTo>
                        <a:pt x="78" y="87"/>
                      </a:lnTo>
                      <a:lnTo>
                        <a:pt x="77" y="83"/>
                      </a:lnTo>
                      <a:lnTo>
                        <a:pt x="75" y="85"/>
                      </a:lnTo>
                      <a:lnTo>
                        <a:pt x="72" y="85"/>
                      </a:lnTo>
                      <a:lnTo>
                        <a:pt x="70" y="87"/>
                      </a:lnTo>
                      <a:lnTo>
                        <a:pt x="69" y="83"/>
                      </a:lnTo>
                      <a:lnTo>
                        <a:pt x="67" y="85"/>
                      </a:lnTo>
                      <a:lnTo>
                        <a:pt x="65" y="83"/>
                      </a:lnTo>
                      <a:lnTo>
                        <a:pt x="65" y="88"/>
                      </a:lnTo>
                      <a:lnTo>
                        <a:pt x="65" y="90"/>
                      </a:lnTo>
                      <a:lnTo>
                        <a:pt x="65" y="95"/>
                      </a:lnTo>
                      <a:lnTo>
                        <a:pt x="62" y="95"/>
                      </a:lnTo>
                      <a:lnTo>
                        <a:pt x="59" y="96"/>
                      </a:lnTo>
                      <a:lnTo>
                        <a:pt x="47" y="100"/>
                      </a:lnTo>
                      <a:lnTo>
                        <a:pt x="46" y="103"/>
                      </a:lnTo>
                      <a:lnTo>
                        <a:pt x="42" y="103"/>
                      </a:lnTo>
                      <a:lnTo>
                        <a:pt x="36" y="105"/>
                      </a:lnTo>
                      <a:lnTo>
                        <a:pt x="33" y="103"/>
                      </a:lnTo>
                      <a:lnTo>
                        <a:pt x="33" y="100"/>
                      </a:lnTo>
                      <a:lnTo>
                        <a:pt x="28" y="98"/>
                      </a:lnTo>
                      <a:lnTo>
                        <a:pt x="23" y="98"/>
                      </a:lnTo>
                      <a:lnTo>
                        <a:pt x="18" y="95"/>
                      </a:lnTo>
                      <a:lnTo>
                        <a:pt x="15" y="95"/>
                      </a:lnTo>
                      <a:lnTo>
                        <a:pt x="13" y="96"/>
                      </a:lnTo>
                      <a:lnTo>
                        <a:pt x="10" y="96"/>
                      </a:lnTo>
                      <a:lnTo>
                        <a:pt x="8" y="93"/>
                      </a:lnTo>
                      <a:lnTo>
                        <a:pt x="5" y="92"/>
                      </a:lnTo>
                      <a:lnTo>
                        <a:pt x="0" y="87"/>
                      </a:lnTo>
                      <a:lnTo>
                        <a:pt x="2" y="87"/>
                      </a:lnTo>
                      <a:lnTo>
                        <a:pt x="2" y="82"/>
                      </a:lnTo>
                      <a:lnTo>
                        <a:pt x="5" y="74"/>
                      </a:lnTo>
                      <a:lnTo>
                        <a:pt x="8" y="75"/>
                      </a:lnTo>
                      <a:lnTo>
                        <a:pt x="8" y="70"/>
                      </a:lnTo>
                      <a:lnTo>
                        <a:pt x="8" y="65"/>
                      </a:lnTo>
                      <a:lnTo>
                        <a:pt x="18" y="54"/>
                      </a:lnTo>
                      <a:lnTo>
                        <a:pt x="18" y="49"/>
                      </a:lnTo>
                      <a:lnTo>
                        <a:pt x="21" y="47"/>
                      </a:lnTo>
                      <a:lnTo>
                        <a:pt x="23" y="46"/>
                      </a:lnTo>
                      <a:lnTo>
                        <a:pt x="24" y="43"/>
                      </a:lnTo>
                      <a:lnTo>
                        <a:pt x="23" y="39"/>
                      </a:lnTo>
                      <a:lnTo>
                        <a:pt x="23" y="38"/>
                      </a:lnTo>
                      <a:lnTo>
                        <a:pt x="24" y="36"/>
                      </a:lnTo>
                      <a:lnTo>
                        <a:pt x="21" y="33"/>
                      </a:lnTo>
                      <a:lnTo>
                        <a:pt x="18" y="28"/>
                      </a:lnTo>
                      <a:lnTo>
                        <a:pt x="16" y="26"/>
                      </a:lnTo>
                      <a:lnTo>
                        <a:pt x="16" y="18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8" name="Freeform 197">
                  <a:extLst>
                    <a:ext uri="{FF2B5EF4-FFF2-40B4-BE49-F238E27FC236}">
                      <a16:creationId xmlns:a16="http://schemas.microsoft.com/office/drawing/2014/main" xmlns="" id="{9877F01F-512D-471E-BF6F-D07E6B464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1" y="1194"/>
                  <a:ext cx="54" cy="63"/>
                </a:xfrm>
                <a:custGeom>
                  <a:avLst/>
                  <a:gdLst>
                    <a:gd name="T0" fmla="*/ 0 w 54"/>
                    <a:gd name="T1" fmla="*/ 12 h 63"/>
                    <a:gd name="T2" fmla="*/ 0 w 54"/>
                    <a:gd name="T3" fmla="*/ 7 h 63"/>
                    <a:gd name="T4" fmla="*/ 0 w 54"/>
                    <a:gd name="T5" fmla="*/ 5 h 63"/>
                    <a:gd name="T6" fmla="*/ 0 w 54"/>
                    <a:gd name="T7" fmla="*/ 0 h 63"/>
                    <a:gd name="T8" fmla="*/ 2 w 54"/>
                    <a:gd name="T9" fmla="*/ 2 h 63"/>
                    <a:gd name="T10" fmla="*/ 4 w 54"/>
                    <a:gd name="T11" fmla="*/ 0 h 63"/>
                    <a:gd name="T12" fmla="*/ 5 w 54"/>
                    <a:gd name="T13" fmla="*/ 4 h 63"/>
                    <a:gd name="T14" fmla="*/ 7 w 54"/>
                    <a:gd name="T15" fmla="*/ 2 h 63"/>
                    <a:gd name="T16" fmla="*/ 10 w 54"/>
                    <a:gd name="T17" fmla="*/ 2 h 63"/>
                    <a:gd name="T18" fmla="*/ 12 w 54"/>
                    <a:gd name="T19" fmla="*/ 0 h 63"/>
                    <a:gd name="T20" fmla="*/ 13 w 54"/>
                    <a:gd name="T21" fmla="*/ 4 h 63"/>
                    <a:gd name="T22" fmla="*/ 18 w 54"/>
                    <a:gd name="T23" fmla="*/ 4 h 63"/>
                    <a:gd name="T24" fmla="*/ 23 w 54"/>
                    <a:gd name="T25" fmla="*/ 9 h 63"/>
                    <a:gd name="T26" fmla="*/ 28 w 54"/>
                    <a:gd name="T27" fmla="*/ 9 h 63"/>
                    <a:gd name="T28" fmla="*/ 30 w 54"/>
                    <a:gd name="T29" fmla="*/ 7 h 63"/>
                    <a:gd name="T30" fmla="*/ 30 w 54"/>
                    <a:gd name="T31" fmla="*/ 7 h 63"/>
                    <a:gd name="T32" fmla="*/ 35 w 54"/>
                    <a:gd name="T33" fmla="*/ 12 h 63"/>
                    <a:gd name="T34" fmla="*/ 39 w 54"/>
                    <a:gd name="T35" fmla="*/ 13 h 63"/>
                    <a:gd name="T36" fmla="*/ 39 w 54"/>
                    <a:gd name="T37" fmla="*/ 20 h 63"/>
                    <a:gd name="T38" fmla="*/ 39 w 54"/>
                    <a:gd name="T39" fmla="*/ 23 h 63"/>
                    <a:gd name="T40" fmla="*/ 43 w 54"/>
                    <a:gd name="T41" fmla="*/ 25 h 63"/>
                    <a:gd name="T42" fmla="*/ 44 w 54"/>
                    <a:gd name="T43" fmla="*/ 27 h 63"/>
                    <a:gd name="T44" fmla="*/ 48 w 54"/>
                    <a:gd name="T45" fmla="*/ 31 h 63"/>
                    <a:gd name="T46" fmla="*/ 53 w 54"/>
                    <a:gd name="T47" fmla="*/ 33 h 63"/>
                    <a:gd name="T48" fmla="*/ 53 w 54"/>
                    <a:gd name="T49" fmla="*/ 36 h 63"/>
                    <a:gd name="T50" fmla="*/ 53 w 54"/>
                    <a:gd name="T51" fmla="*/ 40 h 63"/>
                    <a:gd name="T52" fmla="*/ 54 w 54"/>
                    <a:gd name="T53" fmla="*/ 43 h 63"/>
                    <a:gd name="T54" fmla="*/ 54 w 54"/>
                    <a:gd name="T55" fmla="*/ 45 h 63"/>
                    <a:gd name="T56" fmla="*/ 49 w 54"/>
                    <a:gd name="T57" fmla="*/ 45 h 63"/>
                    <a:gd name="T58" fmla="*/ 46 w 54"/>
                    <a:gd name="T59" fmla="*/ 41 h 63"/>
                    <a:gd name="T60" fmla="*/ 43 w 54"/>
                    <a:gd name="T61" fmla="*/ 43 h 63"/>
                    <a:gd name="T62" fmla="*/ 39 w 54"/>
                    <a:gd name="T63" fmla="*/ 43 h 63"/>
                    <a:gd name="T64" fmla="*/ 39 w 54"/>
                    <a:gd name="T65" fmla="*/ 49 h 63"/>
                    <a:gd name="T66" fmla="*/ 39 w 54"/>
                    <a:gd name="T67" fmla="*/ 53 h 63"/>
                    <a:gd name="T68" fmla="*/ 38 w 54"/>
                    <a:gd name="T69" fmla="*/ 53 h 63"/>
                    <a:gd name="T70" fmla="*/ 35 w 54"/>
                    <a:gd name="T71" fmla="*/ 59 h 63"/>
                    <a:gd name="T72" fmla="*/ 35 w 54"/>
                    <a:gd name="T73" fmla="*/ 61 h 63"/>
                    <a:gd name="T74" fmla="*/ 31 w 54"/>
                    <a:gd name="T75" fmla="*/ 61 h 63"/>
                    <a:gd name="T76" fmla="*/ 30 w 54"/>
                    <a:gd name="T77" fmla="*/ 63 h 63"/>
                    <a:gd name="T78" fmla="*/ 30 w 54"/>
                    <a:gd name="T79" fmla="*/ 63 h 63"/>
                    <a:gd name="T80" fmla="*/ 26 w 54"/>
                    <a:gd name="T81" fmla="*/ 58 h 63"/>
                    <a:gd name="T82" fmla="*/ 28 w 54"/>
                    <a:gd name="T83" fmla="*/ 43 h 63"/>
                    <a:gd name="T84" fmla="*/ 25 w 54"/>
                    <a:gd name="T85" fmla="*/ 38 h 63"/>
                    <a:gd name="T86" fmla="*/ 25 w 54"/>
                    <a:gd name="T87" fmla="*/ 33 h 63"/>
                    <a:gd name="T88" fmla="*/ 15 w 54"/>
                    <a:gd name="T89" fmla="*/ 27 h 63"/>
                    <a:gd name="T90" fmla="*/ 15 w 54"/>
                    <a:gd name="T91" fmla="*/ 23 h 63"/>
                    <a:gd name="T92" fmla="*/ 8 w 54"/>
                    <a:gd name="T93" fmla="*/ 17 h 63"/>
                    <a:gd name="T94" fmla="*/ 7 w 54"/>
                    <a:gd name="T95" fmla="*/ 10 h 63"/>
                    <a:gd name="T96" fmla="*/ 0 w 54"/>
                    <a:gd name="T97" fmla="*/ 1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4" h="63">
                      <a:moveTo>
                        <a:pt x="0" y="12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5" y="4"/>
                      </a:lnTo>
                      <a:lnTo>
                        <a:pt x="7" y="2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3" y="4"/>
                      </a:lnTo>
                      <a:lnTo>
                        <a:pt x="18" y="4"/>
                      </a:lnTo>
                      <a:lnTo>
                        <a:pt x="23" y="9"/>
                      </a:lnTo>
                      <a:lnTo>
                        <a:pt x="28" y="9"/>
                      </a:lnTo>
                      <a:lnTo>
                        <a:pt x="30" y="7"/>
                      </a:lnTo>
                      <a:lnTo>
                        <a:pt x="30" y="7"/>
                      </a:lnTo>
                      <a:lnTo>
                        <a:pt x="35" y="12"/>
                      </a:lnTo>
                      <a:lnTo>
                        <a:pt x="39" y="13"/>
                      </a:lnTo>
                      <a:lnTo>
                        <a:pt x="39" y="20"/>
                      </a:lnTo>
                      <a:lnTo>
                        <a:pt x="39" y="23"/>
                      </a:lnTo>
                      <a:lnTo>
                        <a:pt x="43" y="25"/>
                      </a:lnTo>
                      <a:lnTo>
                        <a:pt x="44" y="27"/>
                      </a:lnTo>
                      <a:lnTo>
                        <a:pt x="48" y="31"/>
                      </a:lnTo>
                      <a:lnTo>
                        <a:pt x="53" y="33"/>
                      </a:lnTo>
                      <a:lnTo>
                        <a:pt x="53" y="36"/>
                      </a:lnTo>
                      <a:lnTo>
                        <a:pt x="53" y="40"/>
                      </a:lnTo>
                      <a:lnTo>
                        <a:pt x="54" y="43"/>
                      </a:lnTo>
                      <a:lnTo>
                        <a:pt x="54" y="45"/>
                      </a:lnTo>
                      <a:lnTo>
                        <a:pt x="49" y="45"/>
                      </a:lnTo>
                      <a:lnTo>
                        <a:pt x="46" y="41"/>
                      </a:lnTo>
                      <a:lnTo>
                        <a:pt x="43" y="43"/>
                      </a:lnTo>
                      <a:lnTo>
                        <a:pt x="39" y="43"/>
                      </a:lnTo>
                      <a:lnTo>
                        <a:pt x="39" y="49"/>
                      </a:lnTo>
                      <a:lnTo>
                        <a:pt x="39" y="53"/>
                      </a:lnTo>
                      <a:lnTo>
                        <a:pt x="38" y="53"/>
                      </a:lnTo>
                      <a:lnTo>
                        <a:pt x="35" y="59"/>
                      </a:lnTo>
                      <a:lnTo>
                        <a:pt x="35" y="61"/>
                      </a:lnTo>
                      <a:lnTo>
                        <a:pt x="31" y="61"/>
                      </a:lnTo>
                      <a:lnTo>
                        <a:pt x="30" y="63"/>
                      </a:lnTo>
                      <a:lnTo>
                        <a:pt x="30" y="63"/>
                      </a:lnTo>
                      <a:lnTo>
                        <a:pt x="26" y="58"/>
                      </a:lnTo>
                      <a:lnTo>
                        <a:pt x="28" y="43"/>
                      </a:lnTo>
                      <a:lnTo>
                        <a:pt x="25" y="38"/>
                      </a:lnTo>
                      <a:lnTo>
                        <a:pt x="25" y="33"/>
                      </a:lnTo>
                      <a:lnTo>
                        <a:pt x="15" y="27"/>
                      </a:lnTo>
                      <a:lnTo>
                        <a:pt x="15" y="23"/>
                      </a:lnTo>
                      <a:lnTo>
                        <a:pt x="8" y="17"/>
                      </a:lnTo>
                      <a:lnTo>
                        <a:pt x="7" y="1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09" name="Freeform 198">
                  <a:extLst>
                    <a:ext uri="{FF2B5EF4-FFF2-40B4-BE49-F238E27FC236}">
                      <a16:creationId xmlns:a16="http://schemas.microsoft.com/office/drawing/2014/main" xmlns="" id="{7E1C4C5A-18A0-4F3A-B24E-244366241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3" y="1204"/>
                  <a:ext cx="141" cy="92"/>
                </a:xfrm>
                <a:custGeom>
                  <a:avLst/>
                  <a:gdLst>
                    <a:gd name="T0" fmla="*/ 36 w 141"/>
                    <a:gd name="T1" fmla="*/ 3 h 92"/>
                    <a:gd name="T2" fmla="*/ 41 w 141"/>
                    <a:gd name="T3" fmla="*/ 2 h 92"/>
                    <a:gd name="T4" fmla="*/ 51 w 141"/>
                    <a:gd name="T5" fmla="*/ 5 h 92"/>
                    <a:gd name="T6" fmla="*/ 56 w 141"/>
                    <a:gd name="T7" fmla="*/ 10 h 92"/>
                    <a:gd name="T8" fmla="*/ 65 w 141"/>
                    <a:gd name="T9" fmla="*/ 10 h 92"/>
                    <a:gd name="T10" fmla="*/ 70 w 141"/>
                    <a:gd name="T11" fmla="*/ 7 h 92"/>
                    <a:gd name="T12" fmla="*/ 85 w 141"/>
                    <a:gd name="T13" fmla="*/ 2 h 92"/>
                    <a:gd name="T14" fmla="*/ 96 w 141"/>
                    <a:gd name="T15" fmla="*/ 7 h 92"/>
                    <a:gd name="T16" fmla="*/ 103 w 141"/>
                    <a:gd name="T17" fmla="*/ 17 h 92"/>
                    <a:gd name="T18" fmla="*/ 113 w 141"/>
                    <a:gd name="T19" fmla="*/ 28 h 92"/>
                    <a:gd name="T20" fmla="*/ 114 w 141"/>
                    <a:gd name="T21" fmla="*/ 48 h 92"/>
                    <a:gd name="T22" fmla="*/ 119 w 141"/>
                    <a:gd name="T23" fmla="*/ 57 h 92"/>
                    <a:gd name="T24" fmla="*/ 131 w 141"/>
                    <a:gd name="T25" fmla="*/ 57 h 92"/>
                    <a:gd name="T26" fmla="*/ 137 w 141"/>
                    <a:gd name="T27" fmla="*/ 56 h 92"/>
                    <a:gd name="T28" fmla="*/ 139 w 141"/>
                    <a:gd name="T29" fmla="*/ 59 h 92"/>
                    <a:gd name="T30" fmla="*/ 141 w 141"/>
                    <a:gd name="T31" fmla="*/ 64 h 92"/>
                    <a:gd name="T32" fmla="*/ 134 w 141"/>
                    <a:gd name="T33" fmla="*/ 69 h 92"/>
                    <a:gd name="T34" fmla="*/ 129 w 141"/>
                    <a:gd name="T35" fmla="*/ 72 h 92"/>
                    <a:gd name="T36" fmla="*/ 127 w 141"/>
                    <a:gd name="T37" fmla="*/ 77 h 92"/>
                    <a:gd name="T38" fmla="*/ 126 w 141"/>
                    <a:gd name="T39" fmla="*/ 84 h 92"/>
                    <a:gd name="T40" fmla="*/ 123 w 141"/>
                    <a:gd name="T41" fmla="*/ 88 h 92"/>
                    <a:gd name="T42" fmla="*/ 118 w 141"/>
                    <a:gd name="T43" fmla="*/ 84 h 92"/>
                    <a:gd name="T44" fmla="*/ 114 w 141"/>
                    <a:gd name="T45" fmla="*/ 84 h 92"/>
                    <a:gd name="T46" fmla="*/ 103 w 141"/>
                    <a:gd name="T47" fmla="*/ 80 h 92"/>
                    <a:gd name="T48" fmla="*/ 90 w 141"/>
                    <a:gd name="T49" fmla="*/ 87 h 92"/>
                    <a:gd name="T50" fmla="*/ 85 w 141"/>
                    <a:gd name="T51" fmla="*/ 90 h 92"/>
                    <a:gd name="T52" fmla="*/ 77 w 141"/>
                    <a:gd name="T53" fmla="*/ 90 h 92"/>
                    <a:gd name="T54" fmla="*/ 70 w 141"/>
                    <a:gd name="T55" fmla="*/ 88 h 92"/>
                    <a:gd name="T56" fmla="*/ 65 w 141"/>
                    <a:gd name="T57" fmla="*/ 90 h 92"/>
                    <a:gd name="T58" fmla="*/ 56 w 141"/>
                    <a:gd name="T59" fmla="*/ 90 h 92"/>
                    <a:gd name="T60" fmla="*/ 52 w 141"/>
                    <a:gd name="T61" fmla="*/ 88 h 92"/>
                    <a:gd name="T62" fmla="*/ 44 w 141"/>
                    <a:gd name="T63" fmla="*/ 90 h 92"/>
                    <a:gd name="T64" fmla="*/ 43 w 141"/>
                    <a:gd name="T65" fmla="*/ 85 h 92"/>
                    <a:gd name="T66" fmla="*/ 41 w 141"/>
                    <a:gd name="T67" fmla="*/ 82 h 92"/>
                    <a:gd name="T68" fmla="*/ 36 w 141"/>
                    <a:gd name="T69" fmla="*/ 77 h 92"/>
                    <a:gd name="T70" fmla="*/ 38 w 141"/>
                    <a:gd name="T71" fmla="*/ 72 h 92"/>
                    <a:gd name="T72" fmla="*/ 31 w 141"/>
                    <a:gd name="T73" fmla="*/ 75 h 92"/>
                    <a:gd name="T74" fmla="*/ 25 w 141"/>
                    <a:gd name="T75" fmla="*/ 74 h 92"/>
                    <a:gd name="T76" fmla="*/ 18 w 141"/>
                    <a:gd name="T77" fmla="*/ 69 h 92"/>
                    <a:gd name="T78" fmla="*/ 20 w 141"/>
                    <a:gd name="T79" fmla="*/ 64 h 92"/>
                    <a:gd name="T80" fmla="*/ 10 w 141"/>
                    <a:gd name="T81" fmla="*/ 59 h 92"/>
                    <a:gd name="T82" fmla="*/ 5 w 141"/>
                    <a:gd name="T83" fmla="*/ 49 h 92"/>
                    <a:gd name="T84" fmla="*/ 0 w 141"/>
                    <a:gd name="T85" fmla="*/ 46 h 92"/>
                    <a:gd name="T86" fmla="*/ 7 w 141"/>
                    <a:gd name="T87" fmla="*/ 43 h 92"/>
                    <a:gd name="T88" fmla="*/ 12 w 141"/>
                    <a:gd name="T89" fmla="*/ 39 h 92"/>
                    <a:gd name="T90" fmla="*/ 15 w 141"/>
                    <a:gd name="T91" fmla="*/ 33 h 92"/>
                    <a:gd name="T92" fmla="*/ 25 w 141"/>
                    <a:gd name="T93" fmla="*/ 15 h 92"/>
                    <a:gd name="T94" fmla="*/ 31 w 141"/>
                    <a:gd name="T95" fmla="*/ 8 h 92"/>
                    <a:gd name="T96" fmla="*/ 33 w 141"/>
                    <a:gd name="T97" fmla="*/ 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1" h="92">
                      <a:moveTo>
                        <a:pt x="33" y="3"/>
                      </a:moveTo>
                      <a:lnTo>
                        <a:pt x="36" y="3"/>
                      </a:lnTo>
                      <a:lnTo>
                        <a:pt x="38" y="2"/>
                      </a:lnTo>
                      <a:lnTo>
                        <a:pt x="41" y="2"/>
                      </a:lnTo>
                      <a:lnTo>
                        <a:pt x="46" y="5"/>
                      </a:lnTo>
                      <a:lnTo>
                        <a:pt x="51" y="5"/>
                      </a:lnTo>
                      <a:lnTo>
                        <a:pt x="56" y="7"/>
                      </a:lnTo>
                      <a:lnTo>
                        <a:pt x="56" y="10"/>
                      </a:lnTo>
                      <a:lnTo>
                        <a:pt x="59" y="12"/>
                      </a:lnTo>
                      <a:lnTo>
                        <a:pt x="65" y="10"/>
                      </a:lnTo>
                      <a:lnTo>
                        <a:pt x="69" y="10"/>
                      </a:lnTo>
                      <a:lnTo>
                        <a:pt x="70" y="7"/>
                      </a:lnTo>
                      <a:lnTo>
                        <a:pt x="82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96" y="7"/>
                      </a:lnTo>
                      <a:lnTo>
                        <a:pt x="103" y="13"/>
                      </a:lnTo>
                      <a:lnTo>
                        <a:pt x="103" y="17"/>
                      </a:lnTo>
                      <a:lnTo>
                        <a:pt x="113" y="23"/>
                      </a:lnTo>
                      <a:lnTo>
                        <a:pt x="113" y="28"/>
                      </a:lnTo>
                      <a:lnTo>
                        <a:pt x="116" y="33"/>
                      </a:lnTo>
                      <a:lnTo>
                        <a:pt x="114" y="48"/>
                      </a:lnTo>
                      <a:lnTo>
                        <a:pt x="118" y="53"/>
                      </a:lnTo>
                      <a:lnTo>
                        <a:pt x="119" y="57"/>
                      </a:lnTo>
                      <a:lnTo>
                        <a:pt x="124" y="57"/>
                      </a:lnTo>
                      <a:lnTo>
                        <a:pt x="131" y="57"/>
                      </a:lnTo>
                      <a:lnTo>
                        <a:pt x="132" y="56"/>
                      </a:lnTo>
                      <a:lnTo>
                        <a:pt x="137" y="56"/>
                      </a:lnTo>
                      <a:lnTo>
                        <a:pt x="141" y="57"/>
                      </a:lnTo>
                      <a:lnTo>
                        <a:pt x="139" y="59"/>
                      </a:lnTo>
                      <a:lnTo>
                        <a:pt x="141" y="61"/>
                      </a:lnTo>
                      <a:lnTo>
                        <a:pt x="141" y="64"/>
                      </a:lnTo>
                      <a:lnTo>
                        <a:pt x="137" y="67"/>
                      </a:lnTo>
                      <a:lnTo>
                        <a:pt x="134" y="69"/>
                      </a:lnTo>
                      <a:lnTo>
                        <a:pt x="129" y="69"/>
                      </a:lnTo>
                      <a:lnTo>
                        <a:pt x="129" y="72"/>
                      </a:lnTo>
                      <a:lnTo>
                        <a:pt x="126" y="74"/>
                      </a:lnTo>
                      <a:lnTo>
                        <a:pt x="127" y="77"/>
                      </a:lnTo>
                      <a:lnTo>
                        <a:pt x="127" y="82"/>
                      </a:lnTo>
                      <a:lnTo>
                        <a:pt x="126" y="84"/>
                      </a:lnTo>
                      <a:lnTo>
                        <a:pt x="127" y="88"/>
                      </a:lnTo>
                      <a:lnTo>
                        <a:pt x="123" y="88"/>
                      </a:lnTo>
                      <a:lnTo>
                        <a:pt x="123" y="87"/>
                      </a:lnTo>
                      <a:lnTo>
                        <a:pt x="118" y="84"/>
                      </a:lnTo>
                      <a:lnTo>
                        <a:pt x="116" y="85"/>
                      </a:lnTo>
                      <a:lnTo>
                        <a:pt x="114" y="84"/>
                      </a:lnTo>
                      <a:lnTo>
                        <a:pt x="108" y="82"/>
                      </a:lnTo>
                      <a:lnTo>
                        <a:pt x="103" y="80"/>
                      </a:lnTo>
                      <a:lnTo>
                        <a:pt x="100" y="82"/>
                      </a:lnTo>
                      <a:lnTo>
                        <a:pt x="90" y="87"/>
                      </a:lnTo>
                      <a:lnTo>
                        <a:pt x="88" y="88"/>
                      </a:lnTo>
                      <a:lnTo>
                        <a:pt x="85" y="90"/>
                      </a:lnTo>
                      <a:lnTo>
                        <a:pt x="83" y="92"/>
                      </a:lnTo>
                      <a:lnTo>
                        <a:pt x="77" y="90"/>
                      </a:lnTo>
                      <a:lnTo>
                        <a:pt x="74" y="90"/>
                      </a:lnTo>
                      <a:lnTo>
                        <a:pt x="70" y="88"/>
                      </a:lnTo>
                      <a:lnTo>
                        <a:pt x="69" y="90"/>
                      </a:lnTo>
                      <a:lnTo>
                        <a:pt x="65" y="90"/>
                      </a:lnTo>
                      <a:lnTo>
                        <a:pt x="61" y="92"/>
                      </a:lnTo>
                      <a:lnTo>
                        <a:pt x="56" y="90"/>
                      </a:lnTo>
                      <a:lnTo>
                        <a:pt x="54" y="90"/>
                      </a:lnTo>
                      <a:lnTo>
                        <a:pt x="52" y="88"/>
                      </a:lnTo>
                      <a:lnTo>
                        <a:pt x="47" y="88"/>
                      </a:lnTo>
                      <a:lnTo>
                        <a:pt x="44" y="90"/>
                      </a:lnTo>
                      <a:lnTo>
                        <a:pt x="43" y="87"/>
                      </a:lnTo>
                      <a:lnTo>
                        <a:pt x="43" y="85"/>
                      </a:lnTo>
                      <a:lnTo>
                        <a:pt x="44" y="84"/>
                      </a:lnTo>
                      <a:lnTo>
                        <a:pt x="41" y="82"/>
                      </a:lnTo>
                      <a:lnTo>
                        <a:pt x="38" y="82"/>
                      </a:lnTo>
                      <a:lnTo>
                        <a:pt x="36" y="77"/>
                      </a:lnTo>
                      <a:lnTo>
                        <a:pt x="36" y="75"/>
                      </a:lnTo>
                      <a:lnTo>
                        <a:pt x="38" y="72"/>
                      </a:lnTo>
                      <a:lnTo>
                        <a:pt x="33" y="70"/>
                      </a:lnTo>
                      <a:lnTo>
                        <a:pt x="31" y="75"/>
                      </a:lnTo>
                      <a:lnTo>
                        <a:pt x="28" y="72"/>
                      </a:lnTo>
                      <a:lnTo>
                        <a:pt x="25" y="74"/>
                      </a:lnTo>
                      <a:lnTo>
                        <a:pt x="23" y="70"/>
                      </a:lnTo>
                      <a:lnTo>
                        <a:pt x="18" y="69"/>
                      </a:lnTo>
                      <a:lnTo>
                        <a:pt x="16" y="67"/>
                      </a:lnTo>
                      <a:lnTo>
                        <a:pt x="20" y="64"/>
                      </a:lnTo>
                      <a:lnTo>
                        <a:pt x="15" y="61"/>
                      </a:lnTo>
                      <a:lnTo>
                        <a:pt x="10" y="59"/>
                      </a:lnTo>
                      <a:lnTo>
                        <a:pt x="10" y="56"/>
                      </a:lnTo>
                      <a:lnTo>
                        <a:pt x="5" y="49"/>
                      </a:lnTo>
                      <a:lnTo>
                        <a:pt x="3" y="48"/>
                      </a:lnTo>
                      <a:lnTo>
                        <a:pt x="0" y="46"/>
                      </a:lnTo>
                      <a:lnTo>
                        <a:pt x="3" y="43"/>
                      </a:lnTo>
                      <a:lnTo>
                        <a:pt x="7" y="43"/>
                      </a:lnTo>
                      <a:lnTo>
                        <a:pt x="8" y="39"/>
                      </a:lnTo>
                      <a:lnTo>
                        <a:pt x="12" y="39"/>
                      </a:lnTo>
                      <a:lnTo>
                        <a:pt x="15" y="36"/>
                      </a:lnTo>
                      <a:lnTo>
                        <a:pt x="15" y="33"/>
                      </a:lnTo>
                      <a:lnTo>
                        <a:pt x="21" y="25"/>
                      </a:lnTo>
                      <a:lnTo>
                        <a:pt x="25" y="15"/>
                      </a:lnTo>
                      <a:lnTo>
                        <a:pt x="28" y="8"/>
                      </a:lnTo>
                      <a:lnTo>
                        <a:pt x="31" y="8"/>
                      </a:lnTo>
                      <a:lnTo>
                        <a:pt x="33" y="5"/>
                      </a:lnTo>
                      <a:lnTo>
                        <a:pt x="33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0" name="Freeform 199">
                  <a:extLst>
                    <a:ext uri="{FF2B5EF4-FFF2-40B4-BE49-F238E27FC236}">
                      <a16:creationId xmlns:a16="http://schemas.microsoft.com/office/drawing/2014/main" xmlns="" id="{872E783D-F76A-4EF5-B9A6-1994A68F6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4" y="1198"/>
                  <a:ext cx="92" cy="60"/>
                </a:xfrm>
                <a:custGeom>
                  <a:avLst/>
                  <a:gdLst>
                    <a:gd name="T0" fmla="*/ 59 w 92"/>
                    <a:gd name="T1" fmla="*/ 52 h 60"/>
                    <a:gd name="T2" fmla="*/ 62 w 92"/>
                    <a:gd name="T3" fmla="*/ 49 h 60"/>
                    <a:gd name="T4" fmla="*/ 66 w 92"/>
                    <a:gd name="T5" fmla="*/ 49 h 60"/>
                    <a:gd name="T6" fmla="*/ 67 w 92"/>
                    <a:gd name="T7" fmla="*/ 45 h 60"/>
                    <a:gd name="T8" fmla="*/ 71 w 92"/>
                    <a:gd name="T9" fmla="*/ 45 h 60"/>
                    <a:gd name="T10" fmla="*/ 74 w 92"/>
                    <a:gd name="T11" fmla="*/ 42 h 60"/>
                    <a:gd name="T12" fmla="*/ 74 w 92"/>
                    <a:gd name="T13" fmla="*/ 39 h 60"/>
                    <a:gd name="T14" fmla="*/ 80 w 92"/>
                    <a:gd name="T15" fmla="*/ 31 h 60"/>
                    <a:gd name="T16" fmla="*/ 84 w 92"/>
                    <a:gd name="T17" fmla="*/ 21 h 60"/>
                    <a:gd name="T18" fmla="*/ 87 w 92"/>
                    <a:gd name="T19" fmla="*/ 14 h 60"/>
                    <a:gd name="T20" fmla="*/ 90 w 92"/>
                    <a:gd name="T21" fmla="*/ 14 h 60"/>
                    <a:gd name="T22" fmla="*/ 92 w 92"/>
                    <a:gd name="T23" fmla="*/ 11 h 60"/>
                    <a:gd name="T24" fmla="*/ 90 w 92"/>
                    <a:gd name="T25" fmla="*/ 6 h 60"/>
                    <a:gd name="T26" fmla="*/ 87 w 92"/>
                    <a:gd name="T27" fmla="*/ 5 h 60"/>
                    <a:gd name="T28" fmla="*/ 82 w 92"/>
                    <a:gd name="T29" fmla="*/ 0 h 60"/>
                    <a:gd name="T30" fmla="*/ 79 w 92"/>
                    <a:gd name="T31" fmla="*/ 3 h 60"/>
                    <a:gd name="T32" fmla="*/ 74 w 92"/>
                    <a:gd name="T33" fmla="*/ 1 h 60"/>
                    <a:gd name="T34" fmla="*/ 67 w 92"/>
                    <a:gd name="T35" fmla="*/ 1 h 60"/>
                    <a:gd name="T36" fmla="*/ 64 w 92"/>
                    <a:gd name="T37" fmla="*/ 1 h 60"/>
                    <a:gd name="T38" fmla="*/ 59 w 92"/>
                    <a:gd name="T39" fmla="*/ 1 h 60"/>
                    <a:gd name="T40" fmla="*/ 56 w 92"/>
                    <a:gd name="T41" fmla="*/ 6 h 60"/>
                    <a:gd name="T42" fmla="*/ 53 w 92"/>
                    <a:gd name="T43" fmla="*/ 8 h 60"/>
                    <a:gd name="T44" fmla="*/ 53 w 92"/>
                    <a:gd name="T45" fmla="*/ 11 h 60"/>
                    <a:gd name="T46" fmla="*/ 48 w 92"/>
                    <a:gd name="T47" fmla="*/ 6 h 60"/>
                    <a:gd name="T48" fmla="*/ 43 w 92"/>
                    <a:gd name="T49" fmla="*/ 11 h 60"/>
                    <a:gd name="T50" fmla="*/ 40 w 92"/>
                    <a:gd name="T51" fmla="*/ 13 h 60"/>
                    <a:gd name="T52" fmla="*/ 38 w 92"/>
                    <a:gd name="T53" fmla="*/ 16 h 60"/>
                    <a:gd name="T54" fmla="*/ 30 w 92"/>
                    <a:gd name="T55" fmla="*/ 16 h 60"/>
                    <a:gd name="T56" fmla="*/ 25 w 92"/>
                    <a:gd name="T57" fmla="*/ 18 h 60"/>
                    <a:gd name="T58" fmla="*/ 18 w 92"/>
                    <a:gd name="T59" fmla="*/ 18 h 60"/>
                    <a:gd name="T60" fmla="*/ 8 w 92"/>
                    <a:gd name="T61" fmla="*/ 11 h 60"/>
                    <a:gd name="T62" fmla="*/ 8 w 92"/>
                    <a:gd name="T63" fmla="*/ 13 h 60"/>
                    <a:gd name="T64" fmla="*/ 8 w 92"/>
                    <a:gd name="T65" fmla="*/ 16 h 60"/>
                    <a:gd name="T66" fmla="*/ 8 w 92"/>
                    <a:gd name="T67" fmla="*/ 19 h 60"/>
                    <a:gd name="T68" fmla="*/ 2 w 92"/>
                    <a:gd name="T69" fmla="*/ 19 h 60"/>
                    <a:gd name="T70" fmla="*/ 0 w 92"/>
                    <a:gd name="T71" fmla="*/ 21 h 60"/>
                    <a:gd name="T72" fmla="*/ 4 w 92"/>
                    <a:gd name="T73" fmla="*/ 24 h 60"/>
                    <a:gd name="T74" fmla="*/ 2 w 92"/>
                    <a:gd name="T75" fmla="*/ 27 h 60"/>
                    <a:gd name="T76" fmla="*/ 2 w 92"/>
                    <a:gd name="T77" fmla="*/ 31 h 60"/>
                    <a:gd name="T78" fmla="*/ 4 w 92"/>
                    <a:gd name="T79" fmla="*/ 34 h 60"/>
                    <a:gd name="T80" fmla="*/ 2 w 92"/>
                    <a:gd name="T81" fmla="*/ 37 h 60"/>
                    <a:gd name="T82" fmla="*/ 0 w 92"/>
                    <a:gd name="T83" fmla="*/ 37 h 60"/>
                    <a:gd name="T84" fmla="*/ 5 w 92"/>
                    <a:gd name="T85" fmla="*/ 42 h 60"/>
                    <a:gd name="T86" fmla="*/ 5 w 92"/>
                    <a:gd name="T87" fmla="*/ 47 h 60"/>
                    <a:gd name="T88" fmla="*/ 8 w 92"/>
                    <a:gd name="T89" fmla="*/ 47 h 60"/>
                    <a:gd name="T90" fmla="*/ 15 w 92"/>
                    <a:gd name="T91" fmla="*/ 54 h 60"/>
                    <a:gd name="T92" fmla="*/ 18 w 92"/>
                    <a:gd name="T93" fmla="*/ 55 h 60"/>
                    <a:gd name="T94" fmla="*/ 20 w 92"/>
                    <a:gd name="T95" fmla="*/ 57 h 60"/>
                    <a:gd name="T96" fmla="*/ 28 w 92"/>
                    <a:gd name="T97" fmla="*/ 59 h 60"/>
                    <a:gd name="T98" fmla="*/ 35 w 92"/>
                    <a:gd name="T99" fmla="*/ 60 h 60"/>
                    <a:gd name="T100" fmla="*/ 36 w 92"/>
                    <a:gd name="T101" fmla="*/ 57 h 60"/>
                    <a:gd name="T102" fmla="*/ 38 w 92"/>
                    <a:gd name="T103" fmla="*/ 59 h 60"/>
                    <a:gd name="T104" fmla="*/ 41 w 92"/>
                    <a:gd name="T105" fmla="*/ 57 h 60"/>
                    <a:gd name="T106" fmla="*/ 44 w 92"/>
                    <a:gd name="T107" fmla="*/ 54 h 60"/>
                    <a:gd name="T108" fmla="*/ 48 w 92"/>
                    <a:gd name="T109" fmla="*/ 55 h 60"/>
                    <a:gd name="T110" fmla="*/ 48 w 92"/>
                    <a:gd name="T111" fmla="*/ 54 h 60"/>
                    <a:gd name="T112" fmla="*/ 53 w 92"/>
                    <a:gd name="T113" fmla="*/ 50 h 60"/>
                    <a:gd name="T114" fmla="*/ 54 w 92"/>
                    <a:gd name="T115" fmla="*/ 50 h 60"/>
                    <a:gd name="T116" fmla="*/ 57 w 92"/>
                    <a:gd name="T117" fmla="*/ 52 h 60"/>
                    <a:gd name="T118" fmla="*/ 59 w 92"/>
                    <a:gd name="T119" fmla="*/ 52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2" h="60">
                      <a:moveTo>
                        <a:pt x="59" y="52"/>
                      </a:moveTo>
                      <a:lnTo>
                        <a:pt x="62" y="49"/>
                      </a:lnTo>
                      <a:lnTo>
                        <a:pt x="66" y="49"/>
                      </a:lnTo>
                      <a:lnTo>
                        <a:pt x="67" y="45"/>
                      </a:lnTo>
                      <a:lnTo>
                        <a:pt x="71" y="45"/>
                      </a:lnTo>
                      <a:lnTo>
                        <a:pt x="74" y="42"/>
                      </a:lnTo>
                      <a:lnTo>
                        <a:pt x="74" y="39"/>
                      </a:lnTo>
                      <a:lnTo>
                        <a:pt x="80" y="31"/>
                      </a:lnTo>
                      <a:lnTo>
                        <a:pt x="84" y="21"/>
                      </a:lnTo>
                      <a:lnTo>
                        <a:pt x="87" y="14"/>
                      </a:lnTo>
                      <a:lnTo>
                        <a:pt x="90" y="14"/>
                      </a:lnTo>
                      <a:lnTo>
                        <a:pt x="92" y="11"/>
                      </a:lnTo>
                      <a:lnTo>
                        <a:pt x="90" y="6"/>
                      </a:lnTo>
                      <a:lnTo>
                        <a:pt x="87" y="5"/>
                      </a:lnTo>
                      <a:lnTo>
                        <a:pt x="82" y="0"/>
                      </a:lnTo>
                      <a:lnTo>
                        <a:pt x="79" y="3"/>
                      </a:lnTo>
                      <a:lnTo>
                        <a:pt x="74" y="1"/>
                      </a:lnTo>
                      <a:lnTo>
                        <a:pt x="67" y="1"/>
                      </a:lnTo>
                      <a:lnTo>
                        <a:pt x="64" y="1"/>
                      </a:lnTo>
                      <a:lnTo>
                        <a:pt x="59" y="1"/>
                      </a:lnTo>
                      <a:lnTo>
                        <a:pt x="56" y="6"/>
                      </a:lnTo>
                      <a:lnTo>
                        <a:pt x="53" y="8"/>
                      </a:lnTo>
                      <a:lnTo>
                        <a:pt x="53" y="11"/>
                      </a:lnTo>
                      <a:lnTo>
                        <a:pt x="48" y="6"/>
                      </a:lnTo>
                      <a:lnTo>
                        <a:pt x="43" y="11"/>
                      </a:lnTo>
                      <a:lnTo>
                        <a:pt x="40" y="13"/>
                      </a:lnTo>
                      <a:lnTo>
                        <a:pt x="38" y="16"/>
                      </a:lnTo>
                      <a:lnTo>
                        <a:pt x="30" y="16"/>
                      </a:lnTo>
                      <a:lnTo>
                        <a:pt x="25" y="18"/>
                      </a:lnTo>
                      <a:lnTo>
                        <a:pt x="18" y="18"/>
                      </a:lnTo>
                      <a:lnTo>
                        <a:pt x="8" y="11"/>
                      </a:lnTo>
                      <a:lnTo>
                        <a:pt x="8" y="13"/>
                      </a:lnTo>
                      <a:lnTo>
                        <a:pt x="8" y="16"/>
                      </a:lnTo>
                      <a:lnTo>
                        <a:pt x="8" y="19"/>
                      </a:lnTo>
                      <a:lnTo>
                        <a:pt x="2" y="19"/>
                      </a:lnTo>
                      <a:lnTo>
                        <a:pt x="0" y="21"/>
                      </a:lnTo>
                      <a:lnTo>
                        <a:pt x="4" y="24"/>
                      </a:lnTo>
                      <a:lnTo>
                        <a:pt x="2" y="27"/>
                      </a:lnTo>
                      <a:lnTo>
                        <a:pt x="2" y="31"/>
                      </a:lnTo>
                      <a:lnTo>
                        <a:pt x="4" y="34"/>
                      </a:lnTo>
                      <a:lnTo>
                        <a:pt x="2" y="37"/>
                      </a:lnTo>
                      <a:lnTo>
                        <a:pt x="0" y="37"/>
                      </a:lnTo>
                      <a:lnTo>
                        <a:pt x="5" y="42"/>
                      </a:lnTo>
                      <a:lnTo>
                        <a:pt x="5" y="47"/>
                      </a:lnTo>
                      <a:lnTo>
                        <a:pt x="8" y="47"/>
                      </a:lnTo>
                      <a:lnTo>
                        <a:pt x="15" y="54"/>
                      </a:lnTo>
                      <a:lnTo>
                        <a:pt x="18" y="55"/>
                      </a:lnTo>
                      <a:lnTo>
                        <a:pt x="20" y="57"/>
                      </a:lnTo>
                      <a:lnTo>
                        <a:pt x="28" y="59"/>
                      </a:lnTo>
                      <a:lnTo>
                        <a:pt x="35" y="60"/>
                      </a:lnTo>
                      <a:lnTo>
                        <a:pt x="36" y="57"/>
                      </a:lnTo>
                      <a:lnTo>
                        <a:pt x="38" y="59"/>
                      </a:lnTo>
                      <a:lnTo>
                        <a:pt x="41" y="57"/>
                      </a:lnTo>
                      <a:lnTo>
                        <a:pt x="44" y="54"/>
                      </a:lnTo>
                      <a:lnTo>
                        <a:pt x="48" y="55"/>
                      </a:lnTo>
                      <a:lnTo>
                        <a:pt x="48" y="54"/>
                      </a:lnTo>
                      <a:lnTo>
                        <a:pt x="53" y="50"/>
                      </a:lnTo>
                      <a:lnTo>
                        <a:pt x="54" y="50"/>
                      </a:lnTo>
                      <a:lnTo>
                        <a:pt x="57" y="52"/>
                      </a:lnTo>
                      <a:lnTo>
                        <a:pt x="59" y="5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1" name="Freeform 200">
                  <a:extLst>
                    <a:ext uri="{FF2B5EF4-FFF2-40B4-BE49-F238E27FC236}">
                      <a16:creationId xmlns:a16="http://schemas.microsoft.com/office/drawing/2014/main" xmlns="" id="{3FDB18AD-6DBA-44C8-8E61-B6C883E96E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1" y="1181"/>
                  <a:ext cx="80" cy="35"/>
                </a:xfrm>
                <a:custGeom>
                  <a:avLst/>
                  <a:gdLst>
                    <a:gd name="T0" fmla="*/ 1 w 80"/>
                    <a:gd name="T1" fmla="*/ 28 h 35"/>
                    <a:gd name="T2" fmla="*/ 11 w 80"/>
                    <a:gd name="T3" fmla="*/ 35 h 35"/>
                    <a:gd name="T4" fmla="*/ 18 w 80"/>
                    <a:gd name="T5" fmla="*/ 35 h 35"/>
                    <a:gd name="T6" fmla="*/ 23 w 80"/>
                    <a:gd name="T7" fmla="*/ 33 h 35"/>
                    <a:gd name="T8" fmla="*/ 31 w 80"/>
                    <a:gd name="T9" fmla="*/ 33 h 35"/>
                    <a:gd name="T10" fmla="*/ 33 w 80"/>
                    <a:gd name="T11" fmla="*/ 30 h 35"/>
                    <a:gd name="T12" fmla="*/ 36 w 80"/>
                    <a:gd name="T13" fmla="*/ 28 h 35"/>
                    <a:gd name="T14" fmla="*/ 41 w 80"/>
                    <a:gd name="T15" fmla="*/ 23 h 35"/>
                    <a:gd name="T16" fmla="*/ 46 w 80"/>
                    <a:gd name="T17" fmla="*/ 28 h 35"/>
                    <a:gd name="T18" fmla="*/ 46 w 80"/>
                    <a:gd name="T19" fmla="*/ 25 h 35"/>
                    <a:gd name="T20" fmla="*/ 49 w 80"/>
                    <a:gd name="T21" fmla="*/ 23 h 35"/>
                    <a:gd name="T22" fmla="*/ 52 w 80"/>
                    <a:gd name="T23" fmla="*/ 18 h 35"/>
                    <a:gd name="T24" fmla="*/ 57 w 80"/>
                    <a:gd name="T25" fmla="*/ 18 h 35"/>
                    <a:gd name="T26" fmla="*/ 60 w 80"/>
                    <a:gd name="T27" fmla="*/ 18 h 35"/>
                    <a:gd name="T28" fmla="*/ 67 w 80"/>
                    <a:gd name="T29" fmla="*/ 18 h 35"/>
                    <a:gd name="T30" fmla="*/ 72 w 80"/>
                    <a:gd name="T31" fmla="*/ 20 h 35"/>
                    <a:gd name="T32" fmla="*/ 77 w 80"/>
                    <a:gd name="T33" fmla="*/ 17 h 35"/>
                    <a:gd name="T34" fmla="*/ 77 w 80"/>
                    <a:gd name="T35" fmla="*/ 12 h 35"/>
                    <a:gd name="T36" fmla="*/ 80 w 80"/>
                    <a:gd name="T37" fmla="*/ 4 h 35"/>
                    <a:gd name="T38" fmla="*/ 80 w 80"/>
                    <a:gd name="T39" fmla="*/ 4 h 35"/>
                    <a:gd name="T40" fmla="*/ 73 w 80"/>
                    <a:gd name="T41" fmla="*/ 0 h 35"/>
                    <a:gd name="T42" fmla="*/ 67 w 80"/>
                    <a:gd name="T43" fmla="*/ 0 h 35"/>
                    <a:gd name="T44" fmla="*/ 65 w 80"/>
                    <a:gd name="T45" fmla="*/ 0 h 35"/>
                    <a:gd name="T46" fmla="*/ 62 w 80"/>
                    <a:gd name="T47" fmla="*/ 0 h 35"/>
                    <a:gd name="T48" fmla="*/ 60 w 80"/>
                    <a:gd name="T49" fmla="*/ 0 h 35"/>
                    <a:gd name="T50" fmla="*/ 59 w 80"/>
                    <a:gd name="T51" fmla="*/ 2 h 35"/>
                    <a:gd name="T52" fmla="*/ 55 w 80"/>
                    <a:gd name="T53" fmla="*/ 0 h 35"/>
                    <a:gd name="T54" fmla="*/ 52 w 80"/>
                    <a:gd name="T55" fmla="*/ 0 h 35"/>
                    <a:gd name="T56" fmla="*/ 49 w 80"/>
                    <a:gd name="T57" fmla="*/ 0 h 35"/>
                    <a:gd name="T58" fmla="*/ 47 w 80"/>
                    <a:gd name="T59" fmla="*/ 2 h 35"/>
                    <a:gd name="T60" fmla="*/ 46 w 80"/>
                    <a:gd name="T61" fmla="*/ 4 h 35"/>
                    <a:gd name="T62" fmla="*/ 42 w 80"/>
                    <a:gd name="T63" fmla="*/ 4 h 35"/>
                    <a:gd name="T64" fmla="*/ 41 w 80"/>
                    <a:gd name="T65" fmla="*/ 4 h 35"/>
                    <a:gd name="T66" fmla="*/ 41 w 80"/>
                    <a:gd name="T67" fmla="*/ 4 h 35"/>
                    <a:gd name="T68" fmla="*/ 34 w 80"/>
                    <a:gd name="T69" fmla="*/ 4 h 35"/>
                    <a:gd name="T70" fmla="*/ 31 w 80"/>
                    <a:gd name="T71" fmla="*/ 7 h 35"/>
                    <a:gd name="T72" fmla="*/ 26 w 80"/>
                    <a:gd name="T73" fmla="*/ 7 h 35"/>
                    <a:gd name="T74" fmla="*/ 23 w 80"/>
                    <a:gd name="T75" fmla="*/ 12 h 35"/>
                    <a:gd name="T76" fmla="*/ 16 w 80"/>
                    <a:gd name="T77" fmla="*/ 12 h 35"/>
                    <a:gd name="T78" fmla="*/ 10 w 80"/>
                    <a:gd name="T79" fmla="*/ 15 h 35"/>
                    <a:gd name="T80" fmla="*/ 10 w 80"/>
                    <a:gd name="T81" fmla="*/ 13 h 35"/>
                    <a:gd name="T82" fmla="*/ 5 w 80"/>
                    <a:gd name="T83" fmla="*/ 13 h 35"/>
                    <a:gd name="T84" fmla="*/ 1 w 80"/>
                    <a:gd name="T85" fmla="*/ 15 h 35"/>
                    <a:gd name="T86" fmla="*/ 1 w 80"/>
                    <a:gd name="T87" fmla="*/ 15 h 35"/>
                    <a:gd name="T88" fmla="*/ 0 w 80"/>
                    <a:gd name="T89" fmla="*/ 22 h 35"/>
                    <a:gd name="T90" fmla="*/ 1 w 80"/>
                    <a:gd name="T91" fmla="*/ 2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0" h="35">
                      <a:moveTo>
                        <a:pt x="1" y="28"/>
                      </a:moveTo>
                      <a:lnTo>
                        <a:pt x="11" y="35"/>
                      </a:lnTo>
                      <a:lnTo>
                        <a:pt x="18" y="35"/>
                      </a:lnTo>
                      <a:lnTo>
                        <a:pt x="23" y="33"/>
                      </a:lnTo>
                      <a:lnTo>
                        <a:pt x="31" y="33"/>
                      </a:lnTo>
                      <a:lnTo>
                        <a:pt x="33" y="30"/>
                      </a:lnTo>
                      <a:lnTo>
                        <a:pt x="36" y="28"/>
                      </a:lnTo>
                      <a:lnTo>
                        <a:pt x="41" y="23"/>
                      </a:lnTo>
                      <a:lnTo>
                        <a:pt x="46" y="28"/>
                      </a:lnTo>
                      <a:lnTo>
                        <a:pt x="46" y="25"/>
                      </a:lnTo>
                      <a:lnTo>
                        <a:pt x="49" y="23"/>
                      </a:lnTo>
                      <a:lnTo>
                        <a:pt x="52" y="18"/>
                      </a:lnTo>
                      <a:lnTo>
                        <a:pt x="57" y="18"/>
                      </a:lnTo>
                      <a:lnTo>
                        <a:pt x="60" y="18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7" y="17"/>
                      </a:lnTo>
                      <a:lnTo>
                        <a:pt x="77" y="12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73" y="0"/>
                      </a:lnTo>
                      <a:lnTo>
                        <a:pt x="67" y="0"/>
                      </a:lnTo>
                      <a:lnTo>
                        <a:pt x="65" y="0"/>
                      </a:lnTo>
                      <a:lnTo>
                        <a:pt x="62" y="0"/>
                      </a:lnTo>
                      <a:lnTo>
                        <a:pt x="60" y="0"/>
                      </a:lnTo>
                      <a:lnTo>
                        <a:pt x="59" y="2"/>
                      </a:lnTo>
                      <a:lnTo>
                        <a:pt x="55" y="0"/>
                      </a:lnTo>
                      <a:lnTo>
                        <a:pt x="52" y="0"/>
                      </a:lnTo>
                      <a:lnTo>
                        <a:pt x="49" y="0"/>
                      </a:lnTo>
                      <a:lnTo>
                        <a:pt x="47" y="2"/>
                      </a:lnTo>
                      <a:lnTo>
                        <a:pt x="46" y="4"/>
                      </a:lnTo>
                      <a:lnTo>
                        <a:pt x="42" y="4"/>
                      </a:lnTo>
                      <a:lnTo>
                        <a:pt x="41" y="4"/>
                      </a:lnTo>
                      <a:lnTo>
                        <a:pt x="41" y="4"/>
                      </a:lnTo>
                      <a:lnTo>
                        <a:pt x="34" y="4"/>
                      </a:lnTo>
                      <a:lnTo>
                        <a:pt x="31" y="7"/>
                      </a:lnTo>
                      <a:lnTo>
                        <a:pt x="26" y="7"/>
                      </a:lnTo>
                      <a:lnTo>
                        <a:pt x="23" y="12"/>
                      </a:lnTo>
                      <a:lnTo>
                        <a:pt x="16" y="12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5" y="13"/>
                      </a:lnTo>
                      <a:lnTo>
                        <a:pt x="1" y="15"/>
                      </a:lnTo>
                      <a:lnTo>
                        <a:pt x="1" y="15"/>
                      </a:lnTo>
                      <a:lnTo>
                        <a:pt x="0" y="22"/>
                      </a:lnTo>
                      <a:lnTo>
                        <a:pt x="1" y="2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2" name="Freeform 201">
                  <a:extLst>
                    <a:ext uri="{FF2B5EF4-FFF2-40B4-BE49-F238E27FC236}">
                      <a16:creationId xmlns:a16="http://schemas.microsoft.com/office/drawing/2014/main" xmlns="" id="{919418F5-F01D-4908-BC72-D26929F6C2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" y="1284"/>
                  <a:ext cx="91" cy="61"/>
                </a:xfrm>
                <a:custGeom>
                  <a:avLst/>
                  <a:gdLst>
                    <a:gd name="T0" fmla="*/ 5 w 91"/>
                    <a:gd name="T1" fmla="*/ 2 h 61"/>
                    <a:gd name="T2" fmla="*/ 7 w 91"/>
                    <a:gd name="T3" fmla="*/ 5 h 61"/>
                    <a:gd name="T4" fmla="*/ 8 w 91"/>
                    <a:gd name="T5" fmla="*/ 10 h 61"/>
                    <a:gd name="T6" fmla="*/ 16 w 91"/>
                    <a:gd name="T7" fmla="*/ 8 h 61"/>
                    <a:gd name="T8" fmla="*/ 20 w 91"/>
                    <a:gd name="T9" fmla="*/ 10 h 61"/>
                    <a:gd name="T10" fmla="*/ 29 w 91"/>
                    <a:gd name="T11" fmla="*/ 10 h 61"/>
                    <a:gd name="T12" fmla="*/ 34 w 91"/>
                    <a:gd name="T13" fmla="*/ 8 h 61"/>
                    <a:gd name="T14" fmla="*/ 41 w 91"/>
                    <a:gd name="T15" fmla="*/ 10 h 61"/>
                    <a:gd name="T16" fmla="*/ 49 w 91"/>
                    <a:gd name="T17" fmla="*/ 10 h 61"/>
                    <a:gd name="T18" fmla="*/ 54 w 91"/>
                    <a:gd name="T19" fmla="*/ 7 h 61"/>
                    <a:gd name="T20" fmla="*/ 67 w 91"/>
                    <a:gd name="T21" fmla="*/ 0 h 61"/>
                    <a:gd name="T22" fmla="*/ 78 w 91"/>
                    <a:gd name="T23" fmla="*/ 4 h 61"/>
                    <a:gd name="T24" fmla="*/ 82 w 91"/>
                    <a:gd name="T25" fmla="*/ 4 h 61"/>
                    <a:gd name="T26" fmla="*/ 87 w 91"/>
                    <a:gd name="T27" fmla="*/ 8 h 61"/>
                    <a:gd name="T28" fmla="*/ 91 w 91"/>
                    <a:gd name="T29" fmla="*/ 8 h 61"/>
                    <a:gd name="T30" fmla="*/ 88 w 91"/>
                    <a:gd name="T31" fmla="*/ 17 h 61"/>
                    <a:gd name="T32" fmla="*/ 82 w 91"/>
                    <a:gd name="T33" fmla="*/ 20 h 61"/>
                    <a:gd name="T34" fmla="*/ 82 w 91"/>
                    <a:gd name="T35" fmla="*/ 31 h 61"/>
                    <a:gd name="T36" fmla="*/ 77 w 91"/>
                    <a:gd name="T37" fmla="*/ 36 h 61"/>
                    <a:gd name="T38" fmla="*/ 83 w 91"/>
                    <a:gd name="T39" fmla="*/ 41 h 61"/>
                    <a:gd name="T40" fmla="*/ 85 w 91"/>
                    <a:gd name="T41" fmla="*/ 44 h 61"/>
                    <a:gd name="T42" fmla="*/ 80 w 91"/>
                    <a:gd name="T43" fmla="*/ 46 h 61"/>
                    <a:gd name="T44" fmla="*/ 70 w 91"/>
                    <a:gd name="T45" fmla="*/ 43 h 61"/>
                    <a:gd name="T46" fmla="*/ 67 w 91"/>
                    <a:gd name="T47" fmla="*/ 44 h 61"/>
                    <a:gd name="T48" fmla="*/ 64 w 91"/>
                    <a:gd name="T49" fmla="*/ 48 h 61"/>
                    <a:gd name="T50" fmla="*/ 57 w 91"/>
                    <a:gd name="T51" fmla="*/ 51 h 61"/>
                    <a:gd name="T52" fmla="*/ 59 w 91"/>
                    <a:gd name="T53" fmla="*/ 57 h 61"/>
                    <a:gd name="T54" fmla="*/ 51 w 91"/>
                    <a:gd name="T55" fmla="*/ 59 h 61"/>
                    <a:gd name="T56" fmla="*/ 44 w 91"/>
                    <a:gd name="T57" fmla="*/ 59 h 61"/>
                    <a:gd name="T58" fmla="*/ 39 w 91"/>
                    <a:gd name="T59" fmla="*/ 61 h 61"/>
                    <a:gd name="T60" fmla="*/ 36 w 91"/>
                    <a:gd name="T61" fmla="*/ 57 h 61"/>
                    <a:gd name="T62" fmla="*/ 28 w 91"/>
                    <a:gd name="T63" fmla="*/ 57 h 61"/>
                    <a:gd name="T64" fmla="*/ 21 w 91"/>
                    <a:gd name="T65" fmla="*/ 61 h 61"/>
                    <a:gd name="T66" fmla="*/ 15 w 91"/>
                    <a:gd name="T67" fmla="*/ 59 h 61"/>
                    <a:gd name="T68" fmla="*/ 13 w 91"/>
                    <a:gd name="T69" fmla="*/ 56 h 61"/>
                    <a:gd name="T70" fmla="*/ 8 w 91"/>
                    <a:gd name="T71" fmla="*/ 44 h 61"/>
                    <a:gd name="T72" fmla="*/ 3 w 91"/>
                    <a:gd name="T73" fmla="*/ 40 h 61"/>
                    <a:gd name="T74" fmla="*/ 2 w 91"/>
                    <a:gd name="T75" fmla="*/ 33 h 61"/>
                    <a:gd name="T76" fmla="*/ 7 w 91"/>
                    <a:gd name="T77" fmla="*/ 26 h 61"/>
                    <a:gd name="T78" fmla="*/ 5 w 91"/>
                    <a:gd name="T79" fmla="*/ 18 h 61"/>
                    <a:gd name="T80" fmla="*/ 0 w 91"/>
                    <a:gd name="T81" fmla="*/ 7 h 61"/>
                    <a:gd name="T82" fmla="*/ 2 w 91"/>
                    <a:gd name="T83" fmla="*/ 2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1" h="61">
                      <a:moveTo>
                        <a:pt x="2" y="2"/>
                      </a:moveTo>
                      <a:lnTo>
                        <a:pt x="5" y="2"/>
                      </a:lnTo>
                      <a:lnTo>
                        <a:pt x="8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8" y="10"/>
                      </a:lnTo>
                      <a:lnTo>
                        <a:pt x="11" y="8"/>
                      </a:lnTo>
                      <a:lnTo>
                        <a:pt x="16" y="8"/>
                      </a:lnTo>
                      <a:lnTo>
                        <a:pt x="18" y="10"/>
                      </a:lnTo>
                      <a:lnTo>
                        <a:pt x="20" y="10"/>
                      </a:lnTo>
                      <a:lnTo>
                        <a:pt x="25" y="12"/>
                      </a:lnTo>
                      <a:lnTo>
                        <a:pt x="29" y="10"/>
                      </a:lnTo>
                      <a:lnTo>
                        <a:pt x="33" y="10"/>
                      </a:lnTo>
                      <a:lnTo>
                        <a:pt x="34" y="8"/>
                      </a:lnTo>
                      <a:lnTo>
                        <a:pt x="38" y="10"/>
                      </a:lnTo>
                      <a:lnTo>
                        <a:pt x="41" y="10"/>
                      </a:lnTo>
                      <a:lnTo>
                        <a:pt x="47" y="12"/>
                      </a:lnTo>
                      <a:lnTo>
                        <a:pt x="49" y="10"/>
                      </a:lnTo>
                      <a:lnTo>
                        <a:pt x="52" y="8"/>
                      </a:lnTo>
                      <a:lnTo>
                        <a:pt x="54" y="7"/>
                      </a:lnTo>
                      <a:lnTo>
                        <a:pt x="64" y="2"/>
                      </a:lnTo>
                      <a:lnTo>
                        <a:pt x="67" y="0"/>
                      </a:lnTo>
                      <a:lnTo>
                        <a:pt x="72" y="2"/>
                      </a:lnTo>
                      <a:lnTo>
                        <a:pt x="78" y="4"/>
                      </a:lnTo>
                      <a:lnTo>
                        <a:pt x="80" y="5"/>
                      </a:lnTo>
                      <a:lnTo>
                        <a:pt x="82" y="4"/>
                      </a:lnTo>
                      <a:lnTo>
                        <a:pt x="87" y="7"/>
                      </a:lnTo>
                      <a:lnTo>
                        <a:pt x="87" y="8"/>
                      </a:lnTo>
                      <a:lnTo>
                        <a:pt x="91" y="8"/>
                      </a:lnTo>
                      <a:lnTo>
                        <a:pt x="91" y="8"/>
                      </a:lnTo>
                      <a:lnTo>
                        <a:pt x="90" y="15"/>
                      </a:lnTo>
                      <a:lnTo>
                        <a:pt x="88" y="17"/>
                      </a:lnTo>
                      <a:lnTo>
                        <a:pt x="85" y="17"/>
                      </a:lnTo>
                      <a:lnTo>
                        <a:pt x="82" y="20"/>
                      </a:lnTo>
                      <a:lnTo>
                        <a:pt x="82" y="28"/>
                      </a:lnTo>
                      <a:lnTo>
                        <a:pt x="82" y="31"/>
                      </a:lnTo>
                      <a:lnTo>
                        <a:pt x="77" y="35"/>
                      </a:lnTo>
                      <a:lnTo>
                        <a:pt x="77" y="36"/>
                      </a:lnTo>
                      <a:lnTo>
                        <a:pt x="80" y="36"/>
                      </a:lnTo>
                      <a:lnTo>
                        <a:pt x="83" y="41"/>
                      </a:lnTo>
                      <a:lnTo>
                        <a:pt x="85" y="44"/>
                      </a:lnTo>
                      <a:lnTo>
                        <a:pt x="85" y="44"/>
                      </a:lnTo>
                      <a:lnTo>
                        <a:pt x="82" y="44"/>
                      </a:lnTo>
                      <a:lnTo>
                        <a:pt x="80" y="46"/>
                      </a:lnTo>
                      <a:lnTo>
                        <a:pt x="75" y="43"/>
                      </a:lnTo>
                      <a:lnTo>
                        <a:pt x="70" y="43"/>
                      </a:lnTo>
                      <a:lnTo>
                        <a:pt x="69" y="44"/>
                      </a:lnTo>
                      <a:lnTo>
                        <a:pt x="67" y="44"/>
                      </a:lnTo>
                      <a:lnTo>
                        <a:pt x="64" y="48"/>
                      </a:lnTo>
                      <a:lnTo>
                        <a:pt x="64" y="48"/>
                      </a:lnTo>
                      <a:lnTo>
                        <a:pt x="62" y="48"/>
                      </a:lnTo>
                      <a:lnTo>
                        <a:pt x="57" y="51"/>
                      </a:lnTo>
                      <a:lnTo>
                        <a:pt x="57" y="54"/>
                      </a:lnTo>
                      <a:lnTo>
                        <a:pt x="59" y="57"/>
                      </a:lnTo>
                      <a:lnTo>
                        <a:pt x="57" y="59"/>
                      </a:lnTo>
                      <a:lnTo>
                        <a:pt x="51" y="59"/>
                      </a:lnTo>
                      <a:lnTo>
                        <a:pt x="47" y="61"/>
                      </a:lnTo>
                      <a:lnTo>
                        <a:pt x="44" y="59"/>
                      </a:lnTo>
                      <a:lnTo>
                        <a:pt x="41" y="59"/>
                      </a:lnTo>
                      <a:lnTo>
                        <a:pt x="39" y="61"/>
                      </a:lnTo>
                      <a:lnTo>
                        <a:pt x="36" y="61"/>
                      </a:lnTo>
                      <a:lnTo>
                        <a:pt x="36" y="57"/>
                      </a:lnTo>
                      <a:lnTo>
                        <a:pt x="31" y="57"/>
                      </a:lnTo>
                      <a:lnTo>
                        <a:pt x="28" y="57"/>
                      </a:lnTo>
                      <a:lnTo>
                        <a:pt x="25" y="59"/>
                      </a:lnTo>
                      <a:lnTo>
                        <a:pt x="21" y="61"/>
                      </a:lnTo>
                      <a:lnTo>
                        <a:pt x="16" y="61"/>
                      </a:lnTo>
                      <a:lnTo>
                        <a:pt x="15" y="59"/>
                      </a:lnTo>
                      <a:lnTo>
                        <a:pt x="15" y="59"/>
                      </a:lnTo>
                      <a:lnTo>
                        <a:pt x="13" y="56"/>
                      </a:lnTo>
                      <a:lnTo>
                        <a:pt x="13" y="53"/>
                      </a:lnTo>
                      <a:lnTo>
                        <a:pt x="8" y="44"/>
                      </a:lnTo>
                      <a:lnTo>
                        <a:pt x="2" y="40"/>
                      </a:lnTo>
                      <a:lnTo>
                        <a:pt x="3" y="40"/>
                      </a:lnTo>
                      <a:lnTo>
                        <a:pt x="3" y="36"/>
                      </a:lnTo>
                      <a:lnTo>
                        <a:pt x="2" y="33"/>
                      </a:lnTo>
                      <a:lnTo>
                        <a:pt x="2" y="31"/>
                      </a:lnTo>
                      <a:lnTo>
                        <a:pt x="7" y="26"/>
                      </a:lnTo>
                      <a:lnTo>
                        <a:pt x="8" y="23"/>
                      </a:lnTo>
                      <a:lnTo>
                        <a:pt x="5" y="18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3" name="Freeform 202">
                  <a:extLst>
                    <a:ext uri="{FF2B5EF4-FFF2-40B4-BE49-F238E27FC236}">
                      <a16:creationId xmlns:a16="http://schemas.microsoft.com/office/drawing/2014/main" xmlns="" id="{6880DFF0-95C9-4239-80CD-EFA5C0AD41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5" y="1324"/>
                  <a:ext cx="39" cy="32"/>
                </a:xfrm>
                <a:custGeom>
                  <a:avLst/>
                  <a:gdLst>
                    <a:gd name="T0" fmla="*/ 26 w 39"/>
                    <a:gd name="T1" fmla="*/ 0 h 32"/>
                    <a:gd name="T2" fmla="*/ 32 w 39"/>
                    <a:gd name="T3" fmla="*/ 4 h 32"/>
                    <a:gd name="T4" fmla="*/ 37 w 39"/>
                    <a:gd name="T5" fmla="*/ 13 h 32"/>
                    <a:gd name="T6" fmla="*/ 37 w 39"/>
                    <a:gd name="T7" fmla="*/ 16 h 32"/>
                    <a:gd name="T8" fmla="*/ 39 w 39"/>
                    <a:gd name="T9" fmla="*/ 19 h 32"/>
                    <a:gd name="T10" fmla="*/ 35 w 39"/>
                    <a:gd name="T11" fmla="*/ 21 h 32"/>
                    <a:gd name="T12" fmla="*/ 34 w 39"/>
                    <a:gd name="T13" fmla="*/ 21 h 32"/>
                    <a:gd name="T14" fmla="*/ 29 w 39"/>
                    <a:gd name="T15" fmla="*/ 24 h 32"/>
                    <a:gd name="T16" fmla="*/ 22 w 39"/>
                    <a:gd name="T17" fmla="*/ 24 h 32"/>
                    <a:gd name="T18" fmla="*/ 19 w 39"/>
                    <a:gd name="T19" fmla="*/ 26 h 32"/>
                    <a:gd name="T20" fmla="*/ 19 w 39"/>
                    <a:gd name="T21" fmla="*/ 27 h 32"/>
                    <a:gd name="T22" fmla="*/ 14 w 39"/>
                    <a:gd name="T23" fmla="*/ 29 h 32"/>
                    <a:gd name="T24" fmla="*/ 8 w 39"/>
                    <a:gd name="T25" fmla="*/ 32 h 32"/>
                    <a:gd name="T26" fmla="*/ 8 w 39"/>
                    <a:gd name="T27" fmla="*/ 32 h 32"/>
                    <a:gd name="T28" fmla="*/ 4 w 39"/>
                    <a:gd name="T29" fmla="*/ 31 h 32"/>
                    <a:gd name="T30" fmla="*/ 3 w 39"/>
                    <a:gd name="T31" fmla="*/ 26 h 32"/>
                    <a:gd name="T32" fmla="*/ 0 w 39"/>
                    <a:gd name="T33" fmla="*/ 22 h 32"/>
                    <a:gd name="T34" fmla="*/ 0 w 39"/>
                    <a:gd name="T35" fmla="*/ 16 h 32"/>
                    <a:gd name="T36" fmla="*/ 0 w 39"/>
                    <a:gd name="T37" fmla="*/ 11 h 32"/>
                    <a:gd name="T38" fmla="*/ 0 w 39"/>
                    <a:gd name="T39" fmla="*/ 11 h 32"/>
                    <a:gd name="T40" fmla="*/ 1 w 39"/>
                    <a:gd name="T41" fmla="*/ 9 h 32"/>
                    <a:gd name="T42" fmla="*/ 1 w 39"/>
                    <a:gd name="T43" fmla="*/ 8 h 32"/>
                    <a:gd name="T44" fmla="*/ 4 w 39"/>
                    <a:gd name="T45" fmla="*/ 4 h 32"/>
                    <a:gd name="T46" fmla="*/ 8 w 39"/>
                    <a:gd name="T47" fmla="*/ 4 h 32"/>
                    <a:gd name="T48" fmla="*/ 11 w 39"/>
                    <a:gd name="T49" fmla="*/ 1 h 32"/>
                    <a:gd name="T50" fmla="*/ 18 w 39"/>
                    <a:gd name="T51" fmla="*/ 1 h 32"/>
                    <a:gd name="T52" fmla="*/ 19 w 39"/>
                    <a:gd name="T53" fmla="*/ 1 h 32"/>
                    <a:gd name="T54" fmla="*/ 24 w 39"/>
                    <a:gd name="T55" fmla="*/ 0 h 32"/>
                    <a:gd name="T56" fmla="*/ 26 w 39"/>
                    <a:gd name="T5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9" h="32">
                      <a:moveTo>
                        <a:pt x="26" y="0"/>
                      </a:moveTo>
                      <a:lnTo>
                        <a:pt x="32" y="4"/>
                      </a:lnTo>
                      <a:lnTo>
                        <a:pt x="37" y="13"/>
                      </a:lnTo>
                      <a:lnTo>
                        <a:pt x="37" y="16"/>
                      </a:lnTo>
                      <a:lnTo>
                        <a:pt x="39" y="19"/>
                      </a:lnTo>
                      <a:lnTo>
                        <a:pt x="35" y="21"/>
                      </a:lnTo>
                      <a:lnTo>
                        <a:pt x="34" y="21"/>
                      </a:lnTo>
                      <a:lnTo>
                        <a:pt x="29" y="24"/>
                      </a:lnTo>
                      <a:lnTo>
                        <a:pt x="22" y="24"/>
                      </a:lnTo>
                      <a:lnTo>
                        <a:pt x="19" y="26"/>
                      </a:lnTo>
                      <a:lnTo>
                        <a:pt x="19" y="27"/>
                      </a:lnTo>
                      <a:lnTo>
                        <a:pt x="14" y="29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4" y="31"/>
                      </a:lnTo>
                      <a:lnTo>
                        <a:pt x="3" y="26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9"/>
                      </a:lnTo>
                      <a:lnTo>
                        <a:pt x="1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1" y="1"/>
                      </a:lnTo>
                      <a:lnTo>
                        <a:pt x="18" y="1"/>
                      </a:lnTo>
                      <a:lnTo>
                        <a:pt x="19" y="1"/>
                      </a:lnTo>
                      <a:lnTo>
                        <a:pt x="24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4" name="Freeform 203">
                  <a:extLst>
                    <a:ext uri="{FF2B5EF4-FFF2-40B4-BE49-F238E27FC236}">
                      <a16:creationId xmlns:a16="http://schemas.microsoft.com/office/drawing/2014/main" xmlns="" id="{CBCE634D-A4EE-40BD-BDCB-1BF7E7937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3" y="1319"/>
                  <a:ext cx="30" cy="58"/>
                </a:xfrm>
                <a:custGeom>
                  <a:avLst/>
                  <a:gdLst>
                    <a:gd name="T0" fmla="*/ 22 w 30"/>
                    <a:gd name="T1" fmla="*/ 16 h 58"/>
                    <a:gd name="T2" fmla="*/ 22 w 30"/>
                    <a:gd name="T3" fmla="*/ 21 h 58"/>
                    <a:gd name="T4" fmla="*/ 22 w 30"/>
                    <a:gd name="T5" fmla="*/ 27 h 58"/>
                    <a:gd name="T6" fmla="*/ 25 w 30"/>
                    <a:gd name="T7" fmla="*/ 31 h 58"/>
                    <a:gd name="T8" fmla="*/ 26 w 30"/>
                    <a:gd name="T9" fmla="*/ 36 h 58"/>
                    <a:gd name="T10" fmla="*/ 30 w 30"/>
                    <a:gd name="T11" fmla="*/ 37 h 58"/>
                    <a:gd name="T12" fmla="*/ 30 w 30"/>
                    <a:gd name="T13" fmla="*/ 42 h 58"/>
                    <a:gd name="T14" fmla="*/ 26 w 30"/>
                    <a:gd name="T15" fmla="*/ 47 h 58"/>
                    <a:gd name="T16" fmla="*/ 20 w 30"/>
                    <a:gd name="T17" fmla="*/ 49 h 58"/>
                    <a:gd name="T18" fmla="*/ 20 w 30"/>
                    <a:gd name="T19" fmla="*/ 52 h 58"/>
                    <a:gd name="T20" fmla="*/ 18 w 30"/>
                    <a:gd name="T21" fmla="*/ 57 h 58"/>
                    <a:gd name="T22" fmla="*/ 15 w 30"/>
                    <a:gd name="T23" fmla="*/ 58 h 58"/>
                    <a:gd name="T24" fmla="*/ 13 w 30"/>
                    <a:gd name="T25" fmla="*/ 57 h 58"/>
                    <a:gd name="T26" fmla="*/ 10 w 30"/>
                    <a:gd name="T27" fmla="*/ 49 h 58"/>
                    <a:gd name="T28" fmla="*/ 4 w 30"/>
                    <a:gd name="T29" fmla="*/ 49 h 58"/>
                    <a:gd name="T30" fmla="*/ 2 w 30"/>
                    <a:gd name="T31" fmla="*/ 47 h 58"/>
                    <a:gd name="T32" fmla="*/ 4 w 30"/>
                    <a:gd name="T33" fmla="*/ 42 h 58"/>
                    <a:gd name="T34" fmla="*/ 2 w 30"/>
                    <a:gd name="T35" fmla="*/ 40 h 58"/>
                    <a:gd name="T36" fmla="*/ 2 w 30"/>
                    <a:gd name="T37" fmla="*/ 36 h 58"/>
                    <a:gd name="T38" fmla="*/ 4 w 30"/>
                    <a:gd name="T39" fmla="*/ 32 h 58"/>
                    <a:gd name="T40" fmla="*/ 2 w 30"/>
                    <a:gd name="T41" fmla="*/ 27 h 58"/>
                    <a:gd name="T42" fmla="*/ 4 w 30"/>
                    <a:gd name="T43" fmla="*/ 21 h 58"/>
                    <a:gd name="T44" fmla="*/ 5 w 30"/>
                    <a:gd name="T45" fmla="*/ 19 h 58"/>
                    <a:gd name="T46" fmla="*/ 5 w 30"/>
                    <a:gd name="T47" fmla="*/ 18 h 58"/>
                    <a:gd name="T48" fmla="*/ 0 w 30"/>
                    <a:gd name="T49" fmla="*/ 14 h 58"/>
                    <a:gd name="T50" fmla="*/ 0 w 30"/>
                    <a:gd name="T51" fmla="*/ 9 h 58"/>
                    <a:gd name="T52" fmla="*/ 4 w 30"/>
                    <a:gd name="T53" fmla="*/ 5 h 58"/>
                    <a:gd name="T54" fmla="*/ 7 w 30"/>
                    <a:gd name="T55" fmla="*/ 0 h 58"/>
                    <a:gd name="T56" fmla="*/ 7 w 30"/>
                    <a:gd name="T57" fmla="*/ 0 h 58"/>
                    <a:gd name="T58" fmla="*/ 8 w 30"/>
                    <a:gd name="T59" fmla="*/ 3 h 58"/>
                    <a:gd name="T60" fmla="*/ 12 w 30"/>
                    <a:gd name="T61" fmla="*/ 0 h 58"/>
                    <a:gd name="T62" fmla="*/ 12 w 30"/>
                    <a:gd name="T63" fmla="*/ 0 h 58"/>
                    <a:gd name="T64" fmla="*/ 13 w 30"/>
                    <a:gd name="T65" fmla="*/ 0 h 58"/>
                    <a:gd name="T66" fmla="*/ 15 w 30"/>
                    <a:gd name="T67" fmla="*/ 5 h 58"/>
                    <a:gd name="T68" fmla="*/ 17 w 30"/>
                    <a:gd name="T69" fmla="*/ 5 h 58"/>
                    <a:gd name="T70" fmla="*/ 20 w 30"/>
                    <a:gd name="T71" fmla="*/ 6 h 58"/>
                    <a:gd name="T72" fmla="*/ 22 w 30"/>
                    <a:gd name="T73" fmla="*/ 9 h 58"/>
                    <a:gd name="T74" fmla="*/ 22 w 30"/>
                    <a:gd name="T75" fmla="*/ 14 h 58"/>
                    <a:gd name="T76" fmla="*/ 22 w 30"/>
                    <a:gd name="T77" fmla="*/ 1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0" h="58">
                      <a:moveTo>
                        <a:pt x="22" y="16"/>
                      </a:moveTo>
                      <a:lnTo>
                        <a:pt x="22" y="21"/>
                      </a:lnTo>
                      <a:lnTo>
                        <a:pt x="22" y="27"/>
                      </a:lnTo>
                      <a:lnTo>
                        <a:pt x="25" y="31"/>
                      </a:lnTo>
                      <a:lnTo>
                        <a:pt x="26" y="36"/>
                      </a:lnTo>
                      <a:lnTo>
                        <a:pt x="30" y="37"/>
                      </a:lnTo>
                      <a:lnTo>
                        <a:pt x="30" y="42"/>
                      </a:lnTo>
                      <a:lnTo>
                        <a:pt x="26" y="47"/>
                      </a:lnTo>
                      <a:lnTo>
                        <a:pt x="20" y="49"/>
                      </a:lnTo>
                      <a:lnTo>
                        <a:pt x="20" y="52"/>
                      </a:lnTo>
                      <a:lnTo>
                        <a:pt x="18" y="57"/>
                      </a:lnTo>
                      <a:lnTo>
                        <a:pt x="15" y="58"/>
                      </a:lnTo>
                      <a:lnTo>
                        <a:pt x="13" y="57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2" y="47"/>
                      </a:lnTo>
                      <a:lnTo>
                        <a:pt x="4" y="42"/>
                      </a:lnTo>
                      <a:lnTo>
                        <a:pt x="2" y="40"/>
                      </a:lnTo>
                      <a:lnTo>
                        <a:pt x="2" y="36"/>
                      </a:lnTo>
                      <a:lnTo>
                        <a:pt x="4" y="32"/>
                      </a:lnTo>
                      <a:lnTo>
                        <a:pt x="2" y="27"/>
                      </a:lnTo>
                      <a:lnTo>
                        <a:pt x="4" y="21"/>
                      </a:lnTo>
                      <a:lnTo>
                        <a:pt x="5" y="19"/>
                      </a:lnTo>
                      <a:lnTo>
                        <a:pt x="5" y="18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4" y="5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20" y="6"/>
                      </a:lnTo>
                      <a:lnTo>
                        <a:pt x="22" y="9"/>
                      </a:lnTo>
                      <a:lnTo>
                        <a:pt x="22" y="14"/>
                      </a:lnTo>
                      <a:lnTo>
                        <a:pt x="22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715" name="Freeform 204">
                  <a:extLst>
                    <a:ext uri="{FF2B5EF4-FFF2-40B4-BE49-F238E27FC236}">
                      <a16:creationId xmlns:a16="http://schemas.microsoft.com/office/drawing/2014/main" xmlns="" id="{06F4A4DB-923B-41C5-AC20-4858CB13A2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2" y="1248"/>
                  <a:ext cx="65" cy="87"/>
                </a:xfrm>
                <a:custGeom>
                  <a:avLst/>
                  <a:gdLst>
                    <a:gd name="T0" fmla="*/ 3 w 65"/>
                    <a:gd name="T1" fmla="*/ 7 h 87"/>
                    <a:gd name="T2" fmla="*/ 10 w 65"/>
                    <a:gd name="T3" fmla="*/ 5 h 87"/>
                    <a:gd name="T4" fmla="*/ 15 w 65"/>
                    <a:gd name="T5" fmla="*/ 0 h 87"/>
                    <a:gd name="T6" fmla="*/ 19 w 65"/>
                    <a:gd name="T7" fmla="*/ 2 h 87"/>
                    <a:gd name="T8" fmla="*/ 26 w 65"/>
                    <a:gd name="T9" fmla="*/ 5 h 87"/>
                    <a:gd name="T10" fmla="*/ 31 w 65"/>
                    <a:gd name="T11" fmla="*/ 15 h 87"/>
                    <a:gd name="T12" fmla="*/ 41 w 65"/>
                    <a:gd name="T13" fmla="*/ 20 h 87"/>
                    <a:gd name="T14" fmla="*/ 39 w 65"/>
                    <a:gd name="T15" fmla="*/ 25 h 87"/>
                    <a:gd name="T16" fmla="*/ 46 w 65"/>
                    <a:gd name="T17" fmla="*/ 30 h 87"/>
                    <a:gd name="T18" fmla="*/ 52 w 65"/>
                    <a:gd name="T19" fmla="*/ 31 h 87"/>
                    <a:gd name="T20" fmla="*/ 59 w 65"/>
                    <a:gd name="T21" fmla="*/ 28 h 87"/>
                    <a:gd name="T22" fmla="*/ 57 w 65"/>
                    <a:gd name="T23" fmla="*/ 33 h 87"/>
                    <a:gd name="T24" fmla="*/ 57 w 65"/>
                    <a:gd name="T25" fmla="*/ 43 h 87"/>
                    <a:gd name="T26" fmla="*/ 62 w 65"/>
                    <a:gd name="T27" fmla="*/ 54 h 87"/>
                    <a:gd name="T28" fmla="*/ 64 w 65"/>
                    <a:gd name="T29" fmla="*/ 62 h 87"/>
                    <a:gd name="T30" fmla="*/ 59 w 65"/>
                    <a:gd name="T31" fmla="*/ 69 h 87"/>
                    <a:gd name="T32" fmla="*/ 60 w 65"/>
                    <a:gd name="T33" fmla="*/ 76 h 87"/>
                    <a:gd name="T34" fmla="*/ 52 w 65"/>
                    <a:gd name="T35" fmla="*/ 77 h 87"/>
                    <a:gd name="T36" fmla="*/ 44 w 65"/>
                    <a:gd name="T37" fmla="*/ 77 h 87"/>
                    <a:gd name="T38" fmla="*/ 37 w 65"/>
                    <a:gd name="T39" fmla="*/ 80 h 87"/>
                    <a:gd name="T40" fmla="*/ 34 w 65"/>
                    <a:gd name="T41" fmla="*/ 85 h 87"/>
                    <a:gd name="T42" fmla="*/ 33 w 65"/>
                    <a:gd name="T43" fmla="*/ 85 h 87"/>
                    <a:gd name="T44" fmla="*/ 31 w 65"/>
                    <a:gd name="T45" fmla="*/ 77 h 87"/>
                    <a:gd name="T46" fmla="*/ 26 w 65"/>
                    <a:gd name="T47" fmla="*/ 76 h 87"/>
                    <a:gd name="T48" fmla="*/ 23 w 65"/>
                    <a:gd name="T49" fmla="*/ 71 h 87"/>
                    <a:gd name="T50" fmla="*/ 26 w 65"/>
                    <a:gd name="T51" fmla="*/ 67 h 87"/>
                    <a:gd name="T52" fmla="*/ 21 w 65"/>
                    <a:gd name="T53" fmla="*/ 62 h 87"/>
                    <a:gd name="T54" fmla="*/ 16 w 65"/>
                    <a:gd name="T55" fmla="*/ 61 h 87"/>
                    <a:gd name="T56" fmla="*/ 15 w 65"/>
                    <a:gd name="T57" fmla="*/ 56 h 87"/>
                    <a:gd name="T58" fmla="*/ 11 w 65"/>
                    <a:gd name="T59" fmla="*/ 51 h 87"/>
                    <a:gd name="T60" fmla="*/ 8 w 65"/>
                    <a:gd name="T61" fmla="*/ 43 h 87"/>
                    <a:gd name="T62" fmla="*/ 13 w 65"/>
                    <a:gd name="T63" fmla="*/ 44 h 87"/>
                    <a:gd name="T64" fmla="*/ 11 w 65"/>
                    <a:gd name="T65" fmla="*/ 40 h 87"/>
                    <a:gd name="T66" fmla="*/ 5 w 65"/>
                    <a:gd name="T67" fmla="*/ 36 h 87"/>
                    <a:gd name="T68" fmla="*/ 8 w 65"/>
                    <a:gd name="T69" fmla="*/ 30 h 87"/>
                    <a:gd name="T70" fmla="*/ 6 w 65"/>
                    <a:gd name="T71" fmla="*/ 25 h 87"/>
                    <a:gd name="T72" fmla="*/ 5 w 65"/>
                    <a:gd name="T73" fmla="*/ 25 h 87"/>
                    <a:gd name="T74" fmla="*/ 6 w 65"/>
                    <a:gd name="T75" fmla="*/ 22 h 87"/>
                    <a:gd name="T76" fmla="*/ 8 w 65"/>
                    <a:gd name="T77" fmla="*/ 20 h 87"/>
                    <a:gd name="T78" fmla="*/ 3 w 65"/>
                    <a:gd name="T79" fmla="*/ 18 h 87"/>
                    <a:gd name="T80" fmla="*/ 2 w 65"/>
                    <a:gd name="T81" fmla="*/ 9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5" h="87">
                      <a:moveTo>
                        <a:pt x="0" y="9"/>
                      </a:moveTo>
                      <a:lnTo>
                        <a:pt x="3" y="7"/>
                      </a:lnTo>
                      <a:lnTo>
                        <a:pt x="6" y="4"/>
                      </a:lnTo>
                      <a:lnTo>
                        <a:pt x="10" y="5"/>
                      </a:lnTo>
                      <a:lnTo>
                        <a:pt x="10" y="4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9" y="2"/>
                      </a:lnTo>
                      <a:lnTo>
                        <a:pt x="24" y="4"/>
                      </a:lnTo>
                      <a:lnTo>
                        <a:pt x="26" y="5"/>
                      </a:lnTo>
                      <a:lnTo>
                        <a:pt x="31" y="12"/>
                      </a:lnTo>
                      <a:lnTo>
                        <a:pt x="31" y="15"/>
                      </a:lnTo>
                      <a:lnTo>
                        <a:pt x="36" y="17"/>
                      </a:lnTo>
                      <a:lnTo>
                        <a:pt x="41" y="20"/>
                      </a:lnTo>
                      <a:lnTo>
                        <a:pt x="37" y="23"/>
                      </a:lnTo>
                      <a:lnTo>
                        <a:pt x="39" y="25"/>
                      </a:lnTo>
                      <a:lnTo>
                        <a:pt x="44" y="26"/>
                      </a:lnTo>
                      <a:lnTo>
                        <a:pt x="46" y="30"/>
                      </a:lnTo>
                      <a:lnTo>
                        <a:pt x="49" y="28"/>
                      </a:lnTo>
                      <a:lnTo>
                        <a:pt x="52" y="31"/>
                      </a:lnTo>
                      <a:lnTo>
                        <a:pt x="54" y="26"/>
                      </a:lnTo>
                      <a:lnTo>
                        <a:pt x="59" y="28"/>
                      </a:lnTo>
                      <a:lnTo>
                        <a:pt x="57" y="31"/>
                      </a:lnTo>
                      <a:lnTo>
                        <a:pt x="57" y="33"/>
                      </a:lnTo>
                      <a:lnTo>
                        <a:pt x="59" y="40"/>
                      </a:lnTo>
                      <a:lnTo>
                        <a:pt x="57" y="43"/>
                      </a:lnTo>
                      <a:lnTo>
                        <a:pt x="59" y="49"/>
                      </a:lnTo>
                      <a:lnTo>
                        <a:pt x="62" y="54"/>
                      </a:lnTo>
                      <a:lnTo>
                        <a:pt x="65" y="59"/>
                      </a:lnTo>
                      <a:lnTo>
                        <a:pt x="64" y="62"/>
                      </a:lnTo>
                      <a:lnTo>
                        <a:pt x="59" y="67"/>
                      </a:lnTo>
                      <a:lnTo>
                        <a:pt x="59" y="69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57" y="76"/>
                      </a:lnTo>
                      <a:lnTo>
                        <a:pt x="52" y="77"/>
                      </a:lnTo>
                      <a:lnTo>
                        <a:pt x="51" y="77"/>
                      </a:lnTo>
                      <a:lnTo>
                        <a:pt x="44" y="77"/>
                      </a:lnTo>
                      <a:lnTo>
                        <a:pt x="41" y="80"/>
                      </a:lnTo>
                      <a:lnTo>
                        <a:pt x="37" y="80"/>
                      </a:lnTo>
                      <a:lnTo>
                        <a:pt x="34" y="84"/>
                      </a:lnTo>
                      <a:lnTo>
                        <a:pt x="34" y="85"/>
                      </a:lnTo>
                      <a:lnTo>
                        <a:pt x="33" y="87"/>
                      </a:lnTo>
                      <a:lnTo>
                        <a:pt x="33" y="85"/>
                      </a:lnTo>
                      <a:lnTo>
                        <a:pt x="33" y="80"/>
                      </a:lnTo>
                      <a:lnTo>
                        <a:pt x="31" y="77"/>
                      </a:lnTo>
                      <a:lnTo>
                        <a:pt x="28" y="76"/>
                      </a:lnTo>
                      <a:lnTo>
                        <a:pt x="26" y="76"/>
                      </a:lnTo>
                      <a:lnTo>
                        <a:pt x="24" y="71"/>
                      </a:lnTo>
                      <a:lnTo>
                        <a:pt x="23" y="71"/>
                      </a:lnTo>
                      <a:lnTo>
                        <a:pt x="23" y="69"/>
                      </a:lnTo>
                      <a:lnTo>
                        <a:pt x="26" y="67"/>
                      </a:lnTo>
                      <a:lnTo>
                        <a:pt x="26" y="62"/>
                      </a:lnTo>
                      <a:lnTo>
                        <a:pt x="21" y="62"/>
                      </a:lnTo>
                      <a:lnTo>
                        <a:pt x="19" y="61"/>
                      </a:lnTo>
                      <a:lnTo>
                        <a:pt x="16" y="61"/>
                      </a:lnTo>
                      <a:lnTo>
                        <a:pt x="15" y="58"/>
                      </a:lnTo>
                      <a:lnTo>
                        <a:pt x="15" y="56"/>
                      </a:lnTo>
                      <a:lnTo>
                        <a:pt x="11" y="53"/>
                      </a:lnTo>
                      <a:lnTo>
                        <a:pt x="11" y="51"/>
                      </a:lnTo>
                      <a:lnTo>
                        <a:pt x="8" y="48"/>
                      </a:lnTo>
                      <a:lnTo>
                        <a:pt x="8" y="43"/>
                      </a:lnTo>
                      <a:lnTo>
                        <a:pt x="10" y="43"/>
                      </a:lnTo>
                      <a:lnTo>
                        <a:pt x="13" y="44"/>
                      </a:lnTo>
                      <a:lnTo>
                        <a:pt x="13" y="43"/>
                      </a:lnTo>
                      <a:lnTo>
                        <a:pt x="11" y="40"/>
                      </a:lnTo>
                      <a:lnTo>
                        <a:pt x="10" y="40"/>
                      </a:lnTo>
                      <a:lnTo>
                        <a:pt x="5" y="36"/>
                      </a:lnTo>
                      <a:lnTo>
                        <a:pt x="5" y="35"/>
                      </a:lnTo>
                      <a:lnTo>
                        <a:pt x="8" y="30"/>
                      </a:lnTo>
                      <a:lnTo>
                        <a:pt x="8" y="25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5" y="25"/>
                      </a:lnTo>
                      <a:lnTo>
                        <a:pt x="3" y="22"/>
                      </a:lnTo>
                      <a:lnTo>
                        <a:pt x="6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5" y="20"/>
                      </a:lnTo>
                      <a:lnTo>
                        <a:pt x="3" y="18"/>
                      </a:lnTo>
                      <a:lnTo>
                        <a:pt x="3" y="13"/>
                      </a:lnTo>
                      <a:lnTo>
                        <a:pt x="2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193" name="Freeform 206">
                <a:extLst>
                  <a:ext uri="{FF2B5EF4-FFF2-40B4-BE49-F238E27FC236}">
                    <a16:creationId xmlns:a16="http://schemas.microsoft.com/office/drawing/2014/main" xmlns="" id="{703ED388-4B5A-44A2-9D7F-9E0AB94A1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9" y="1297"/>
                <a:ext cx="29" cy="36"/>
              </a:xfrm>
              <a:custGeom>
                <a:avLst/>
                <a:gdLst>
                  <a:gd name="T0" fmla="*/ 14 w 29"/>
                  <a:gd name="T1" fmla="*/ 36 h 36"/>
                  <a:gd name="T2" fmla="*/ 14 w 29"/>
                  <a:gd name="T3" fmla="*/ 31 h 36"/>
                  <a:gd name="T4" fmla="*/ 18 w 29"/>
                  <a:gd name="T5" fmla="*/ 27 h 36"/>
                  <a:gd name="T6" fmla="*/ 21 w 29"/>
                  <a:gd name="T7" fmla="*/ 22 h 36"/>
                  <a:gd name="T8" fmla="*/ 21 w 29"/>
                  <a:gd name="T9" fmla="*/ 22 h 36"/>
                  <a:gd name="T10" fmla="*/ 22 w 29"/>
                  <a:gd name="T11" fmla="*/ 25 h 36"/>
                  <a:gd name="T12" fmla="*/ 26 w 29"/>
                  <a:gd name="T13" fmla="*/ 22 h 36"/>
                  <a:gd name="T14" fmla="*/ 26 w 29"/>
                  <a:gd name="T15" fmla="*/ 20 h 36"/>
                  <a:gd name="T16" fmla="*/ 29 w 29"/>
                  <a:gd name="T17" fmla="*/ 18 h 36"/>
                  <a:gd name="T18" fmla="*/ 29 w 29"/>
                  <a:gd name="T19" fmla="*/ 13 h 36"/>
                  <a:gd name="T20" fmla="*/ 24 w 29"/>
                  <a:gd name="T21" fmla="*/ 13 h 36"/>
                  <a:gd name="T22" fmla="*/ 22 w 29"/>
                  <a:gd name="T23" fmla="*/ 12 h 36"/>
                  <a:gd name="T24" fmla="*/ 19 w 29"/>
                  <a:gd name="T25" fmla="*/ 12 h 36"/>
                  <a:gd name="T26" fmla="*/ 18 w 29"/>
                  <a:gd name="T27" fmla="*/ 9 h 36"/>
                  <a:gd name="T28" fmla="*/ 18 w 29"/>
                  <a:gd name="T29" fmla="*/ 7 h 36"/>
                  <a:gd name="T30" fmla="*/ 14 w 29"/>
                  <a:gd name="T31" fmla="*/ 4 h 36"/>
                  <a:gd name="T32" fmla="*/ 13 w 29"/>
                  <a:gd name="T33" fmla="*/ 4 h 36"/>
                  <a:gd name="T34" fmla="*/ 11 w 29"/>
                  <a:gd name="T35" fmla="*/ 4 h 36"/>
                  <a:gd name="T36" fmla="*/ 8 w 29"/>
                  <a:gd name="T37" fmla="*/ 0 h 36"/>
                  <a:gd name="T38" fmla="*/ 6 w 29"/>
                  <a:gd name="T39" fmla="*/ 2 h 36"/>
                  <a:gd name="T40" fmla="*/ 6 w 29"/>
                  <a:gd name="T41" fmla="*/ 4 h 36"/>
                  <a:gd name="T42" fmla="*/ 9 w 29"/>
                  <a:gd name="T43" fmla="*/ 7 h 36"/>
                  <a:gd name="T44" fmla="*/ 9 w 29"/>
                  <a:gd name="T45" fmla="*/ 9 h 36"/>
                  <a:gd name="T46" fmla="*/ 8 w 29"/>
                  <a:gd name="T47" fmla="*/ 10 h 36"/>
                  <a:gd name="T48" fmla="*/ 5 w 29"/>
                  <a:gd name="T49" fmla="*/ 10 h 36"/>
                  <a:gd name="T50" fmla="*/ 5 w 29"/>
                  <a:gd name="T51" fmla="*/ 13 h 36"/>
                  <a:gd name="T52" fmla="*/ 3 w 29"/>
                  <a:gd name="T53" fmla="*/ 18 h 36"/>
                  <a:gd name="T54" fmla="*/ 1 w 29"/>
                  <a:gd name="T55" fmla="*/ 22 h 36"/>
                  <a:gd name="T56" fmla="*/ 0 w 29"/>
                  <a:gd name="T57" fmla="*/ 22 h 36"/>
                  <a:gd name="T58" fmla="*/ 1 w 29"/>
                  <a:gd name="T59" fmla="*/ 23 h 36"/>
                  <a:gd name="T60" fmla="*/ 5 w 29"/>
                  <a:gd name="T61" fmla="*/ 25 h 36"/>
                  <a:gd name="T62" fmla="*/ 11 w 29"/>
                  <a:gd name="T63" fmla="*/ 33 h 36"/>
                  <a:gd name="T64" fmla="*/ 11 w 29"/>
                  <a:gd name="T65" fmla="*/ 35 h 36"/>
                  <a:gd name="T66" fmla="*/ 14 w 29"/>
                  <a:gd name="T6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" h="36">
                    <a:moveTo>
                      <a:pt x="14" y="36"/>
                    </a:moveTo>
                    <a:lnTo>
                      <a:pt x="14" y="31"/>
                    </a:lnTo>
                    <a:lnTo>
                      <a:pt x="18" y="27"/>
                    </a:lnTo>
                    <a:lnTo>
                      <a:pt x="21" y="22"/>
                    </a:lnTo>
                    <a:lnTo>
                      <a:pt x="21" y="22"/>
                    </a:lnTo>
                    <a:lnTo>
                      <a:pt x="22" y="25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9" y="18"/>
                    </a:lnTo>
                    <a:lnTo>
                      <a:pt x="29" y="13"/>
                    </a:lnTo>
                    <a:lnTo>
                      <a:pt x="24" y="13"/>
                    </a:lnTo>
                    <a:lnTo>
                      <a:pt x="22" y="12"/>
                    </a:lnTo>
                    <a:lnTo>
                      <a:pt x="19" y="12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4" y="4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8" y="10"/>
                    </a:lnTo>
                    <a:lnTo>
                      <a:pt x="5" y="10"/>
                    </a:lnTo>
                    <a:lnTo>
                      <a:pt x="5" y="13"/>
                    </a:lnTo>
                    <a:lnTo>
                      <a:pt x="3" y="18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1" y="23"/>
                    </a:lnTo>
                    <a:lnTo>
                      <a:pt x="5" y="25"/>
                    </a:lnTo>
                    <a:lnTo>
                      <a:pt x="11" y="33"/>
                    </a:lnTo>
                    <a:lnTo>
                      <a:pt x="11" y="35"/>
                    </a:lnTo>
                    <a:lnTo>
                      <a:pt x="14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4" name="Freeform 207">
                <a:extLst>
                  <a:ext uri="{FF2B5EF4-FFF2-40B4-BE49-F238E27FC236}">
                    <a16:creationId xmlns:a16="http://schemas.microsoft.com/office/drawing/2014/main" xmlns="" id="{E773CA04-B32A-4DCE-8B60-B5E55BFD6D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3" y="1245"/>
                <a:ext cx="87" cy="69"/>
              </a:xfrm>
              <a:custGeom>
                <a:avLst/>
                <a:gdLst>
                  <a:gd name="T0" fmla="*/ 52 w 53"/>
                  <a:gd name="T1" fmla="*/ 15 h 42"/>
                  <a:gd name="T2" fmla="*/ 51 w 53"/>
                  <a:gd name="T3" fmla="*/ 14 h 42"/>
                  <a:gd name="T4" fmla="*/ 49 w 53"/>
                  <a:gd name="T5" fmla="*/ 7 h 42"/>
                  <a:gd name="T6" fmla="*/ 42 w 53"/>
                  <a:gd name="T7" fmla="*/ 7 h 42"/>
                  <a:gd name="T8" fmla="*/ 34 w 53"/>
                  <a:gd name="T9" fmla="*/ 4 h 42"/>
                  <a:gd name="T10" fmla="*/ 28 w 53"/>
                  <a:gd name="T11" fmla="*/ 1 h 42"/>
                  <a:gd name="T12" fmla="*/ 18 w 53"/>
                  <a:gd name="T13" fmla="*/ 6 h 42"/>
                  <a:gd name="T14" fmla="*/ 12 w 53"/>
                  <a:gd name="T15" fmla="*/ 11 h 42"/>
                  <a:gd name="T16" fmla="*/ 4 w 53"/>
                  <a:gd name="T17" fmla="*/ 12 h 42"/>
                  <a:gd name="T18" fmla="*/ 1 w 53"/>
                  <a:gd name="T19" fmla="*/ 16 h 42"/>
                  <a:gd name="T20" fmla="*/ 4 w 53"/>
                  <a:gd name="T21" fmla="*/ 20 h 42"/>
                  <a:gd name="T22" fmla="*/ 8 w 53"/>
                  <a:gd name="T23" fmla="*/ 12 h 42"/>
                  <a:gd name="T24" fmla="*/ 13 w 53"/>
                  <a:gd name="T25" fmla="*/ 16 h 42"/>
                  <a:gd name="T26" fmla="*/ 18 w 53"/>
                  <a:gd name="T27" fmla="*/ 24 h 42"/>
                  <a:gd name="T28" fmla="*/ 19 w 53"/>
                  <a:gd name="T29" fmla="*/ 26 h 42"/>
                  <a:gd name="T30" fmla="*/ 17 w 53"/>
                  <a:gd name="T31" fmla="*/ 29 h 42"/>
                  <a:gd name="T32" fmla="*/ 24 w 53"/>
                  <a:gd name="T33" fmla="*/ 32 h 42"/>
                  <a:gd name="T34" fmla="*/ 28 w 53"/>
                  <a:gd name="T35" fmla="*/ 35 h 42"/>
                  <a:gd name="T36" fmla="*/ 39 w 53"/>
                  <a:gd name="T37" fmla="*/ 41 h 42"/>
                  <a:gd name="T38" fmla="*/ 36 w 53"/>
                  <a:gd name="T39" fmla="*/ 42 h 42"/>
                  <a:gd name="T40" fmla="*/ 39 w 53"/>
                  <a:gd name="T41" fmla="*/ 40 h 42"/>
                  <a:gd name="T42" fmla="*/ 24 w 53"/>
                  <a:gd name="T43" fmla="*/ 24 h 42"/>
                  <a:gd name="T44" fmla="*/ 23 w 53"/>
                  <a:gd name="T45" fmla="*/ 20 h 42"/>
                  <a:gd name="T46" fmla="*/ 20 w 53"/>
                  <a:gd name="T47" fmla="*/ 17 h 42"/>
                  <a:gd name="T48" fmla="*/ 22 w 53"/>
                  <a:gd name="T49" fmla="*/ 13 h 42"/>
                  <a:gd name="T50" fmla="*/ 26 w 53"/>
                  <a:gd name="T51" fmla="*/ 15 h 42"/>
                  <a:gd name="T52" fmla="*/ 29 w 53"/>
                  <a:gd name="T53" fmla="*/ 14 h 42"/>
                  <a:gd name="T54" fmla="*/ 32 w 53"/>
                  <a:gd name="T55" fmla="*/ 13 h 42"/>
                  <a:gd name="T56" fmla="*/ 36 w 53"/>
                  <a:gd name="T57" fmla="*/ 14 h 42"/>
                  <a:gd name="T58" fmla="*/ 40 w 53"/>
                  <a:gd name="T59" fmla="*/ 15 h 42"/>
                  <a:gd name="T60" fmla="*/ 46 w 53"/>
                  <a:gd name="T61" fmla="*/ 15 h 42"/>
                  <a:gd name="T62" fmla="*/ 51 w 53"/>
                  <a:gd name="T63" fmla="*/ 17 h 42"/>
                  <a:gd name="T64" fmla="*/ 35 w 53"/>
                  <a:gd name="T65" fmla="*/ 42 h 42"/>
                  <a:gd name="T66" fmla="*/ 28 w 53"/>
                  <a:gd name="T67" fmla="*/ 38 h 42"/>
                  <a:gd name="T68" fmla="*/ 28 w 53"/>
                  <a:gd name="T69" fmla="*/ 38 h 42"/>
                  <a:gd name="T70" fmla="*/ 33 w 53"/>
                  <a:gd name="T71" fmla="*/ 37 h 42"/>
                  <a:gd name="T72" fmla="*/ 28 w 53"/>
                  <a:gd name="T73" fmla="*/ 36 h 42"/>
                  <a:gd name="T74" fmla="*/ 17 w 53"/>
                  <a:gd name="T75" fmla="*/ 25 h 42"/>
                  <a:gd name="T76" fmla="*/ 13 w 53"/>
                  <a:gd name="T77" fmla="*/ 21 h 42"/>
                  <a:gd name="T78" fmla="*/ 13 w 53"/>
                  <a:gd name="T79" fmla="*/ 21 h 42"/>
                  <a:gd name="T80" fmla="*/ 16 w 53"/>
                  <a:gd name="T81" fmla="*/ 30 h 42"/>
                  <a:gd name="T82" fmla="*/ 12 w 53"/>
                  <a:gd name="T83" fmla="*/ 24 h 42"/>
                  <a:gd name="T84" fmla="*/ 8 w 53"/>
                  <a:gd name="T85" fmla="*/ 18 h 42"/>
                  <a:gd name="T86" fmla="*/ 10 w 53"/>
                  <a:gd name="T87" fmla="*/ 23 h 42"/>
                  <a:gd name="T88" fmla="*/ 8 w 53"/>
                  <a:gd name="T89" fmla="*/ 18 h 42"/>
                  <a:gd name="T90" fmla="*/ 11 w 53"/>
                  <a:gd name="T91" fmla="*/ 19 h 42"/>
                  <a:gd name="T92" fmla="*/ 8 w 53"/>
                  <a:gd name="T93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3" h="42">
                    <a:moveTo>
                      <a:pt x="51" y="17"/>
                    </a:moveTo>
                    <a:cubicBezTo>
                      <a:pt x="50" y="15"/>
                      <a:pt x="50" y="15"/>
                      <a:pt x="50" y="15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6" y="15"/>
                      <a:pt x="46" y="15"/>
                      <a:pt x="46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51" y="17"/>
                      <a:pt x="51" y="17"/>
                      <a:pt x="51" y="17"/>
                    </a:cubicBezTo>
                    <a:close/>
                    <a:moveTo>
                      <a:pt x="30" y="41"/>
                    </a:moveTo>
                    <a:cubicBezTo>
                      <a:pt x="31" y="40"/>
                      <a:pt x="34" y="40"/>
                      <a:pt x="34" y="4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0" y="41"/>
                      <a:pt x="30" y="41"/>
                      <a:pt x="30" y="41"/>
                    </a:cubicBezTo>
                    <a:close/>
                    <a:moveTo>
                      <a:pt x="28" y="38"/>
                    </a:moveTo>
                    <a:cubicBezTo>
                      <a:pt x="33" y="38"/>
                      <a:pt x="33" y="38"/>
                      <a:pt x="33" y="38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28" y="38"/>
                      <a:pt x="28" y="38"/>
                      <a:pt x="28" y="38"/>
                    </a:cubicBezTo>
                    <a:close/>
                    <a:moveTo>
                      <a:pt x="28" y="36"/>
                    </a:move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8" y="36"/>
                      <a:pt x="28" y="36"/>
                      <a:pt x="28" y="36"/>
                    </a:cubicBezTo>
                    <a:close/>
                    <a:moveTo>
                      <a:pt x="15" y="23"/>
                    </a:moveTo>
                    <a:cubicBezTo>
                      <a:pt x="16" y="24"/>
                      <a:pt x="16" y="24"/>
                      <a:pt x="16" y="24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5" y="23"/>
                      <a:pt x="15" y="23"/>
                      <a:pt x="15" y="23"/>
                    </a:cubicBezTo>
                    <a:close/>
                    <a:moveTo>
                      <a:pt x="13" y="21"/>
                    </a:moveTo>
                    <a:cubicBezTo>
                      <a:pt x="15" y="23"/>
                      <a:pt x="15" y="23"/>
                      <a:pt x="15" y="23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1"/>
                      <a:pt x="13" y="21"/>
                      <a:pt x="13" y="21"/>
                    </a:cubicBezTo>
                    <a:close/>
                    <a:moveTo>
                      <a:pt x="13" y="27"/>
                    </a:move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3" y="27"/>
                      <a:pt x="13" y="27"/>
                      <a:pt x="13" y="27"/>
                    </a:cubicBezTo>
                    <a:close/>
                    <a:moveTo>
                      <a:pt x="11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4"/>
                      <a:pt x="11" y="24"/>
                      <a:pt x="11" y="24"/>
                    </a:cubicBezTo>
                    <a:close/>
                    <a:moveTo>
                      <a:pt x="8" y="18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8" y="18"/>
                      <a:pt x="8" y="18"/>
                      <a:pt x="8" y="18"/>
                    </a:cubicBezTo>
                    <a:close/>
                    <a:moveTo>
                      <a:pt x="9" y="14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9" y="14"/>
                      <a:pt x="9" y="14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5" name="Freeform 208">
                <a:extLst>
                  <a:ext uri="{FF2B5EF4-FFF2-40B4-BE49-F238E27FC236}">
                    <a16:creationId xmlns:a16="http://schemas.microsoft.com/office/drawing/2014/main" xmlns="" id="{3A25C7E5-4F69-4F77-B973-CB399B796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6" y="1266"/>
                <a:ext cx="59" cy="53"/>
              </a:xfrm>
              <a:custGeom>
                <a:avLst/>
                <a:gdLst>
                  <a:gd name="T0" fmla="*/ 31 w 59"/>
                  <a:gd name="T1" fmla="*/ 44 h 53"/>
                  <a:gd name="T2" fmla="*/ 8 w 59"/>
                  <a:gd name="T3" fmla="*/ 22 h 53"/>
                  <a:gd name="T4" fmla="*/ 8 w 59"/>
                  <a:gd name="T5" fmla="*/ 18 h 53"/>
                  <a:gd name="T6" fmla="*/ 5 w 59"/>
                  <a:gd name="T7" fmla="*/ 12 h 53"/>
                  <a:gd name="T8" fmla="*/ 0 w 59"/>
                  <a:gd name="T9" fmla="*/ 8 h 53"/>
                  <a:gd name="T10" fmla="*/ 2 w 59"/>
                  <a:gd name="T11" fmla="*/ 5 h 53"/>
                  <a:gd name="T12" fmla="*/ 3 w 59"/>
                  <a:gd name="T13" fmla="*/ 0 h 53"/>
                  <a:gd name="T14" fmla="*/ 8 w 59"/>
                  <a:gd name="T15" fmla="*/ 5 h 53"/>
                  <a:gd name="T16" fmla="*/ 10 w 59"/>
                  <a:gd name="T17" fmla="*/ 2 h 53"/>
                  <a:gd name="T18" fmla="*/ 15 w 59"/>
                  <a:gd name="T19" fmla="*/ 2 h 53"/>
                  <a:gd name="T20" fmla="*/ 18 w 59"/>
                  <a:gd name="T21" fmla="*/ 2 h 53"/>
                  <a:gd name="T22" fmla="*/ 23 w 59"/>
                  <a:gd name="T23" fmla="*/ 0 h 53"/>
                  <a:gd name="T24" fmla="*/ 26 w 59"/>
                  <a:gd name="T25" fmla="*/ 2 h 53"/>
                  <a:gd name="T26" fmla="*/ 33 w 59"/>
                  <a:gd name="T27" fmla="*/ 2 h 53"/>
                  <a:gd name="T28" fmla="*/ 36 w 59"/>
                  <a:gd name="T29" fmla="*/ 2 h 53"/>
                  <a:gd name="T30" fmla="*/ 43 w 59"/>
                  <a:gd name="T31" fmla="*/ 4 h 53"/>
                  <a:gd name="T32" fmla="*/ 49 w 59"/>
                  <a:gd name="T33" fmla="*/ 7 h 53"/>
                  <a:gd name="T34" fmla="*/ 52 w 59"/>
                  <a:gd name="T35" fmla="*/ 7 h 53"/>
                  <a:gd name="T36" fmla="*/ 54 w 59"/>
                  <a:gd name="T37" fmla="*/ 12 h 53"/>
                  <a:gd name="T38" fmla="*/ 51 w 59"/>
                  <a:gd name="T39" fmla="*/ 18 h 53"/>
                  <a:gd name="T40" fmla="*/ 57 w 59"/>
                  <a:gd name="T41" fmla="*/ 22 h 53"/>
                  <a:gd name="T42" fmla="*/ 59 w 59"/>
                  <a:gd name="T43" fmla="*/ 26 h 53"/>
                  <a:gd name="T44" fmla="*/ 54 w 59"/>
                  <a:gd name="T45" fmla="*/ 25 h 53"/>
                  <a:gd name="T46" fmla="*/ 57 w 59"/>
                  <a:gd name="T47" fmla="*/ 33 h 53"/>
                  <a:gd name="T48" fmla="*/ 54 w 59"/>
                  <a:gd name="T49" fmla="*/ 35 h 53"/>
                  <a:gd name="T50" fmla="*/ 49 w 59"/>
                  <a:gd name="T51" fmla="*/ 33 h 53"/>
                  <a:gd name="T52" fmla="*/ 52 w 59"/>
                  <a:gd name="T53" fmla="*/ 38 h 53"/>
                  <a:gd name="T54" fmla="*/ 51 w 59"/>
                  <a:gd name="T55" fmla="*/ 41 h 53"/>
                  <a:gd name="T56" fmla="*/ 48 w 59"/>
                  <a:gd name="T57" fmla="*/ 44 h 53"/>
                  <a:gd name="T58" fmla="*/ 44 w 59"/>
                  <a:gd name="T59" fmla="*/ 53 h 53"/>
                  <a:gd name="T60" fmla="*/ 39 w 59"/>
                  <a:gd name="T61" fmla="*/ 48 h 53"/>
                  <a:gd name="T62" fmla="*/ 33 w 59"/>
                  <a:gd name="T63" fmla="*/ 48 h 53"/>
                  <a:gd name="T64" fmla="*/ 30 w 59"/>
                  <a:gd name="T65" fmla="*/ 4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9" h="53">
                    <a:moveTo>
                      <a:pt x="30" y="48"/>
                    </a:moveTo>
                    <a:lnTo>
                      <a:pt x="31" y="44"/>
                    </a:lnTo>
                    <a:lnTo>
                      <a:pt x="20" y="33"/>
                    </a:lnTo>
                    <a:lnTo>
                      <a:pt x="8" y="22"/>
                    </a:lnTo>
                    <a:lnTo>
                      <a:pt x="7" y="18"/>
                    </a:lnTo>
                    <a:lnTo>
                      <a:pt x="8" y="18"/>
                    </a:lnTo>
                    <a:lnTo>
                      <a:pt x="7" y="15"/>
                    </a:lnTo>
                    <a:lnTo>
                      <a:pt x="5" y="12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5" y="4"/>
                    </a:lnTo>
                    <a:lnTo>
                      <a:pt x="26" y="2"/>
                    </a:lnTo>
                    <a:lnTo>
                      <a:pt x="30" y="4"/>
                    </a:lnTo>
                    <a:lnTo>
                      <a:pt x="33" y="2"/>
                    </a:lnTo>
                    <a:lnTo>
                      <a:pt x="33" y="4"/>
                    </a:lnTo>
                    <a:lnTo>
                      <a:pt x="36" y="2"/>
                    </a:lnTo>
                    <a:lnTo>
                      <a:pt x="39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49" y="7"/>
                    </a:lnTo>
                    <a:lnTo>
                      <a:pt x="51" y="8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1" y="17"/>
                    </a:lnTo>
                    <a:lnTo>
                      <a:pt x="51" y="18"/>
                    </a:lnTo>
                    <a:lnTo>
                      <a:pt x="56" y="22"/>
                    </a:lnTo>
                    <a:lnTo>
                      <a:pt x="57" y="22"/>
                    </a:lnTo>
                    <a:lnTo>
                      <a:pt x="59" y="25"/>
                    </a:lnTo>
                    <a:lnTo>
                      <a:pt x="59" y="26"/>
                    </a:lnTo>
                    <a:lnTo>
                      <a:pt x="56" y="25"/>
                    </a:lnTo>
                    <a:lnTo>
                      <a:pt x="54" y="25"/>
                    </a:lnTo>
                    <a:lnTo>
                      <a:pt x="54" y="30"/>
                    </a:lnTo>
                    <a:lnTo>
                      <a:pt x="57" y="33"/>
                    </a:lnTo>
                    <a:lnTo>
                      <a:pt x="56" y="35"/>
                    </a:lnTo>
                    <a:lnTo>
                      <a:pt x="54" y="35"/>
                    </a:lnTo>
                    <a:lnTo>
                      <a:pt x="51" y="31"/>
                    </a:lnTo>
                    <a:lnTo>
                      <a:pt x="49" y="33"/>
                    </a:lnTo>
                    <a:lnTo>
                      <a:pt x="49" y="35"/>
                    </a:lnTo>
                    <a:lnTo>
                      <a:pt x="52" y="38"/>
                    </a:lnTo>
                    <a:lnTo>
                      <a:pt x="52" y="40"/>
                    </a:lnTo>
                    <a:lnTo>
                      <a:pt x="51" y="41"/>
                    </a:lnTo>
                    <a:lnTo>
                      <a:pt x="48" y="41"/>
                    </a:lnTo>
                    <a:lnTo>
                      <a:pt x="48" y="44"/>
                    </a:lnTo>
                    <a:lnTo>
                      <a:pt x="46" y="49"/>
                    </a:lnTo>
                    <a:lnTo>
                      <a:pt x="44" y="53"/>
                    </a:lnTo>
                    <a:lnTo>
                      <a:pt x="43" y="53"/>
                    </a:lnTo>
                    <a:lnTo>
                      <a:pt x="39" y="48"/>
                    </a:lnTo>
                    <a:lnTo>
                      <a:pt x="38" y="49"/>
                    </a:lnTo>
                    <a:lnTo>
                      <a:pt x="33" y="48"/>
                    </a:lnTo>
                    <a:lnTo>
                      <a:pt x="30" y="48"/>
                    </a:lnTo>
                    <a:lnTo>
                      <a:pt x="30" y="4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6" name="Freeform 209">
                <a:extLst>
                  <a:ext uri="{FF2B5EF4-FFF2-40B4-BE49-F238E27FC236}">
                    <a16:creationId xmlns:a16="http://schemas.microsoft.com/office/drawing/2014/main" xmlns="" id="{77D5F251-69C5-46DA-A628-0AA0BC173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" y="1235"/>
                <a:ext cx="46" cy="30"/>
              </a:xfrm>
              <a:custGeom>
                <a:avLst/>
                <a:gdLst>
                  <a:gd name="T0" fmla="*/ 2 w 46"/>
                  <a:gd name="T1" fmla="*/ 30 h 30"/>
                  <a:gd name="T2" fmla="*/ 7 w 46"/>
                  <a:gd name="T3" fmla="*/ 30 h 30"/>
                  <a:gd name="T4" fmla="*/ 10 w 46"/>
                  <a:gd name="T5" fmla="*/ 26 h 30"/>
                  <a:gd name="T6" fmla="*/ 14 w 46"/>
                  <a:gd name="T7" fmla="*/ 26 h 30"/>
                  <a:gd name="T8" fmla="*/ 20 w 46"/>
                  <a:gd name="T9" fmla="*/ 28 h 30"/>
                  <a:gd name="T10" fmla="*/ 23 w 46"/>
                  <a:gd name="T11" fmla="*/ 28 h 30"/>
                  <a:gd name="T12" fmla="*/ 25 w 46"/>
                  <a:gd name="T13" fmla="*/ 23 h 30"/>
                  <a:gd name="T14" fmla="*/ 30 w 46"/>
                  <a:gd name="T15" fmla="*/ 20 h 30"/>
                  <a:gd name="T16" fmla="*/ 30 w 46"/>
                  <a:gd name="T17" fmla="*/ 17 h 30"/>
                  <a:gd name="T18" fmla="*/ 40 w 46"/>
                  <a:gd name="T19" fmla="*/ 12 h 30"/>
                  <a:gd name="T20" fmla="*/ 46 w 46"/>
                  <a:gd name="T21" fmla="*/ 12 h 30"/>
                  <a:gd name="T22" fmla="*/ 46 w 46"/>
                  <a:gd name="T23" fmla="*/ 5 h 30"/>
                  <a:gd name="T24" fmla="*/ 41 w 46"/>
                  <a:gd name="T25" fmla="*/ 0 h 30"/>
                  <a:gd name="T26" fmla="*/ 38 w 46"/>
                  <a:gd name="T27" fmla="*/ 2 h 30"/>
                  <a:gd name="T28" fmla="*/ 32 w 46"/>
                  <a:gd name="T29" fmla="*/ 5 h 30"/>
                  <a:gd name="T30" fmla="*/ 30 w 46"/>
                  <a:gd name="T31" fmla="*/ 5 h 30"/>
                  <a:gd name="T32" fmla="*/ 27 w 46"/>
                  <a:gd name="T33" fmla="*/ 5 h 30"/>
                  <a:gd name="T34" fmla="*/ 23 w 46"/>
                  <a:gd name="T35" fmla="*/ 7 h 30"/>
                  <a:gd name="T36" fmla="*/ 20 w 46"/>
                  <a:gd name="T37" fmla="*/ 7 h 30"/>
                  <a:gd name="T38" fmla="*/ 17 w 46"/>
                  <a:gd name="T39" fmla="*/ 8 h 30"/>
                  <a:gd name="T40" fmla="*/ 14 w 46"/>
                  <a:gd name="T41" fmla="*/ 7 h 30"/>
                  <a:gd name="T42" fmla="*/ 7 w 46"/>
                  <a:gd name="T43" fmla="*/ 7 h 30"/>
                  <a:gd name="T44" fmla="*/ 4 w 46"/>
                  <a:gd name="T45" fmla="*/ 7 h 30"/>
                  <a:gd name="T46" fmla="*/ 0 w 46"/>
                  <a:gd name="T47" fmla="*/ 12 h 30"/>
                  <a:gd name="T48" fmla="*/ 2 w 46"/>
                  <a:gd name="T49" fmla="*/ 13 h 30"/>
                  <a:gd name="T50" fmla="*/ 0 w 46"/>
                  <a:gd name="T51" fmla="*/ 17 h 30"/>
                  <a:gd name="T52" fmla="*/ 0 w 46"/>
                  <a:gd name="T53" fmla="*/ 23 h 30"/>
                  <a:gd name="T54" fmla="*/ 0 w 46"/>
                  <a:gd name="T55" fmla="*/ 23 h 30"/>
                  <a:gd name="T56" fmla="*/ 4 w 46"/>
                  <a:gd name="T57" fmla="*/ 25 h 30"/>
                  <a:gd name="T58" fmla="*/ 4 w 46"/>
                  <a:gd name="T59" fmla="*/ 26 h 30"/>
                  <a:gd name="T60" fmla="*/ 2 w 46"/>
                  <a:gd name="T61" fmla="*/ 28 h 30"/>
                  <a:gd name="T62" fmla="*/ 2 w 46"/>
                  <a:gd name="T6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" h="30">
                    <a:moveTo>
                      <a:pt x="2" y="30"/>
                    </a:moveTo>
                    <a:lnTo>
                      <a:pt x="7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20" y="28"/>
                    </a:lnTo>
                    <a:lnTo>
                      <a:pt x="23" y="28"/>
                    </a:lnTo>
                    <a:lnTo>
                      <a:pt x="25" y="23"/>
                    </a:lnTo>
                    <a:lnTo>
                      <a:pt x="30" y="20"/>
                    </a:lnTo>
                    <a:lnTo>
                      <a:pt x="30" y="17"/>
                    </a:lnTo>
                    <a:lnTo>
                      <a:pt x="40" y="12"/>
                    </a:lnTo>
                    <a:lnTo>
                      <a:pt x="46" y="12"/>
                    </a:lnTo>
                    <a:lnTo>
                      <a:pt x="46" y="5"/>
                    </a:lnTo>
                    <a:lnTo>
                      <a:pt x="41" y="0"/>
                    </a:lnTo>
                    <a:lnTo>
                      <a:pt x="38" y="2"/>
                    </a:lnTo>
                    <a:lnTo>
                      <a:pt x="32" y="5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3" y="7"/>
                    </a:lnTo>
                    <a:lnTo>
                      <a:pt x="20" y="7"/>
                    </a:lnTo>
                    <a:lnTo>
                      <a:pt x="17" y="8"/>
                    </a:lnTo>
                    <a:lnTo>
                      <a:pt x="14" y="7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" y="25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7" name="Freeform 210">
                <a:extLst>
                  <a:ext uri="{FF2B5EF4-FFF2-40B4-BE49-F238E27FC236}">
                    <a16:creationId xmlns:a16="http://schemas.microsoft.com/office/drawing/2014/main" xmlns="" id="{E221485C-DE2A-4F84-B855-75ECF19E1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1190"/>
                <a:ext cx="109" cy="53"/>
              </a:xfrm>
              <a:custGeom>
                <a:avLst/>
                <a:gdLst>
                  <a:gd name="T0" fmla="*/ 67 w 109"/>
                  <a:gd name="T1" fmla="*/ 52 h 53"/>
                  <a:gd name="T2" fmla="*/ 77 w 109"/>
                  <a:gd name="T3" fmla="*/ 53 h 53"/>
                  <a:gd name="T4" fmla="*/ 83 w 109"/>
                  <a:gd name="T5" fmla="*/ 52 h 53"/>
                  <a:gd name="T6" fmla="*/ 90 w 109"/>
                  <a:gd name="T7" fmla="*/ 50 h 53"/>
                  <a:gd name="T8" fmla="*/ 98 w 109"/>
                  <a:gd name="T9" fmla="*/ 47 h 53"/>
                  <a:gd name="T10" fmla="*/ 105 w 109"/>
                  <a:gd name="T11" fmla="*/ 42 h 53"/>
                  <a:gd name="T12" fmla="*/ 103 w 109"/>
                  <a:gd name="T13" fmla="*/ 35 h 53"/>
                  <a:gd name="T14" fmla="*/ 101 w 109"/>
                  <a:gd name="T15" fmla="*/ 29 h 53"/>
                  <a:gd name="T16" fmla="*/ 109 w 109"/>
                  <a:gd name="T17" fmla="*/ 27 h 53"/>
                  <a:gd name="T18" fmla="*/ 109 w 109"/>
                  <a:gd name="T19" fmla="*/ 21 h 53"/>
                  <a:gd name="T20" fmla="*/ 109 w 109"/>
                  <a:gd name="T21" fmla="*/ 6 h 53"/>
                  <a:gd name="T22" fmla="*/ 100 w 109"/>
                  <a:gd name="T23" fmla="*/ 3 h 53"/>
                  <a:gd name="T24" fmla="*/ 92 w 109"/>
                  <a:gd name="T25" fmla="*/ 4 h 53"/>
                  <a:gd name="T26" fmla="*/ 82 w 109"/>
                  <a:gd name="T27" fmla="*/ 1 h 53"/>
                  <a:gd name="T28" fmla="*/ 77 w 109"/>
                  <a:gd name="T29" fmla="*/ 3 h 53"/>
                  <a:gd name="T30" fmla="*/ 75 w 109"/>
                  <a:gd name="T31" fmla="*/ 6 h 53"/>
                  <a:gd name="T32" fmla="*/ 69 w 109"/>
                  <a:gd name="T33" fmla="*/ 8 h 53"/>
                  <a:gd name="T34" fmla="*/ 59 w 109"/>
                  <a:gd name="T35" fmla="*/ 3 h 53"/>
                  <a:gd name="T36" fmla="*/ 59 w 109"/>
                  <a:gd name="T37" fmla="*/ 9 h 53"/>
                  <a:gd name="T38" fmla="*/ 54 w 109"/>
                  <a:gd name="T39" fmla="*/ 13 h 53"/>
                  <a:gd name="T40" fmla="*/ 47 w 109"/>
                  <a:gd name="T41" fmla="*/ 21 h 53"/>
                  <a:gd name="T42" fmla="*/ 51 w 109"/>
                  <a:gd name="T43" fmla="*/ 24 h 53"/>
                  <a:gd name="T44" fmla="*/ 49 w 109"/>
                  <a:gd name="T45" fmla="*/ 29 h 53"/>
                  <a:gd name="T46" fmla="*/ 43 w 109"/>
                  <a:gd name="T47" fmla="*/ 27 h 53"/>
                  <a:gd name="T48" fmla="*/ 36 w 109"/>
                  <a:gd name="T49" fmla="*/ 27 h 53"/>
                  <a:gd name="T50" fmla="*/ 28 w 109"/>
                  <a:gd name="T51" fmla="*/ 31 h 53"/>
                  <a:gd name="T52" fmla="*/ 23 w 109"/>
                  <a:gd name="T53" fmla="*/ 31 h 53"/>
                  <a:gd name="T54" fmla="*/ 16 w 109"/>
                  <a:gd name="T55" fmla="*/ 29 h 53"/>
                  <a:gd name="T56" fmla="*/ 13 w 109"/>
                  <a:gd name="T57" fmla="*/ 31 h 53"/>
                  <a:gd name="T58" fmla="*/ 8 w 109"/>
                  <a:gd name="T59" fmla="*/ 32 h 53"/>
                  <a:gd name="T60" fmla="*/ 3 w 109"/>
                  <a:gd name="T61" fmla="*/ 31 h 53"/>
                  <a:gd name="T62" fmla="*/ 0 w 109"/>
                  <a:gd name="T63" fmla="*/ 31 h 53"/>
                  <a:gd name="T64" fmla="*/ 2 w 109"/>
                  <a:gd name="T65" fmla="*/ 35 h 53"/>
                  <a:gd name="T66" fmla="*/ 3 w 109"/>
                  <a:gd name="T67" fmla="*/ 39 h 53"/>
                  <a:gd name="T68" fmla="*/ 8 w 109"/>
                  <a:gd name="T69" fmla="*/ 39 h 53"/>
                  <a:gd name="T70" fmla="*/ 13 w 109"/>
                  <a:gd name="T71" fmla="*/ 39 h 53"/>
                  <a:gd name="T72" fmla="*/ 18 w 109"/>
                  <a:gd name="T73" fmla="*/ 42 h 53"/>
                  <a:gd name="T74" fmla="*/ 23 w 109"/>
                  <a:gd name="T75" fmla="*/ 44 h 53"/>
                  <a:gd name="T76" fmla="*/ 34 w 109"/>
                  <a:gd name="T77" fmla="*/ 40 h 53"/>
                  <a:gd name="T78" fmla="*/ 39 w 109"/>
                  <a:gd name="T79" fmla="*/ 44 h 53"/>
                  <a:gd name="T80" fmla="*/ 57 w 109"/>
                  <a:gd name="T81" fmla="*/ 50 h 53"/>
                  <a:gd name="T82" fmla="*/ 64 w 109"/>
                  <a:gd name="T83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9" h="53">
                    <a:moveTo>
                      <a:pt x="64" y="52"/>
                    </a:moveTo>
                    <a:lnTo>
                      <a:pt x="67" y="52"/>
                    </a:lnTo>
                    <a:lnTo>
                      <a:pt x="74" y="52"/>
                    </a:lnTo>
                    <a:lnTo>
                      <a:pt x="77" y="53"/>
                    </a:lnTo>
                    <a:lnTo>
                      <a:pt x="80" y="52"/>
                    </a:lnTo>
                    <a:lnTo>
                      <a:pt x="83" y="52"/>
                    </a:lnTo>
                    <a:lnTo>
                      <a:pt x="87" y="50"/>
                    </a:lnTo>
                    <a:lnTo>
                      <a:pt x="90" y="50"/>
                    </a:lnTo>
                    <a:lnTo>
                      <a:pt x="92" y="50"/>
                    </a:lnTo>
                    <a:lnTo>
                      <a:pt x="98" y="47"/>
                    </a:lnTo>
                    <a:lnTo>
                      <a:pt x="103" y="45"/>
                    </a:lnTo>
                    <a:lnTo>
                      <a:pt x="105" y="42"/>
                    </a:lnTo>
                    <a:lnTo>
                      <a:pt x="103" y="39"/>
                    </a:lnTo>
                    <a:lnTo>
                      <a:pt x="103" y="35"/>
                    </a:lnTo>
                    <a:lnTo>
                      <a:pt x="105" y="32"/>
                    </a:lnTo>
                    <a:lnTo>
                      <a:pt x="101" y="29"/>
                    </a:lnTo>
                    <a:lnTo>
                      <a:pt x="103" y="27"/>
                    </a:lnTo>
                    <a:lnTo>
                      <a:pt x="109" y="27"/>
                    </a:lnTo>
                    <a:lnTo>
                      <a:pt x="109" y="24"/>
                    </a:lnTo>
                    <a:lnTo>
                      <a:pt x="109" y="21"/>
                    </a:lnTo>
                    <a:lnTo>
                      <a:pt x="108" y="13"/>
                    </a:lnTo>
                    <a:lnTo>
                      <a:pt x="109" y="6"/>
                    </a:lnTo>
                    <a:lnTo>
                      <a:pt x="103" y="4"/>
                    </a:lnTo>
                    <a:lnTo>
                      <a:pt x="100" y="3"/>
                    </a:lnTo>
                    <a:lnTo>
                      <a:pt x="96" y="4"/>
                    </a:lnTo>
                    <a:lnTo>
                      <a:pt x="92" y="4"/>
                    </a:lnTo>
                    <a:lnTo>
                      <a:pt x="87" y="1"/>
                    </a:lnTo>
                    <a:lnTo>
                      <a:pt x="82" y="1"/>
                    </a:lnTo>
                    <a:lnTo>
                      <a:pt x="78" y="0"/>
                    </a:lnTo>
                    <a:lnTo>
                      <a:pt x="77" y="3"/>
                    </a:lnTo>
                    <a:lnTo>
                      <a:pt x="75" y="4"/>
                    </a:lnTo>
                    <a:lnTo>
                      <a:pt x="75" y="6"/>
                    </a:lnTo>
                    <a:lnTo>
                      <a:pt x="70" y="6"/>
                    </a:lnTo>
                    <a:lnTo>
                      <a:pt x="69" y="8"/>
                    </a:lnTo>
                    <a:lnTo>
                      <a:pt x="62" y="4"/>
                    </a:lnTo>
                    <a:lnTo>
                      <a:pt x="59" y="3"/>
                    </a:lnTo>
                    <a:lnTo>
                      <a:pt x="59" y="6"/>
                    </a:lnTo>
                    <a:lnTo>
                      <a:pt x="59" y="9"/>
                    </a:lnTo>
                    <a:lnTo>
                      <a:pt x="56" y="9"/>
                    </a:lnTo>
                    <a:lnTo>
                      <a:pt x="54" y="13"/>
                    </a:lnTo>
                    <a:lnTo>
                      <a:pt x="51" y="14"/>
                    </a:lnTo>
                    <a:lnTo>
                      <a:pt x="47" y="21"/>
                    </a:lnTo>
                    <a:lnTo>
                      <a:pt x="47" y="22"/>
                    </a:lnTo>
                    <a:lnTo>
                      <a:pt x="51" y="24"/>
                    </a:lnTo>
                    <a:lnTo>
                      <a:pt x="51" y="27"/>
                    </a:lnTo>
                    <a:lnTo>
                      <a:pt x="49" y="29"/>
                    </a:lnTo>
                    <a:lnTo>
                      <a:pt x="46" y="26"/>
                    </a:lnTo>
                    <a:lnTo>
                      <a:pt x="43" y="27"/>
                    </a:lnTo>
                    <a:lnTo>
                      <a:pt x="39" y="26"/>
                    </a:lnTo>
                    <a:lnTo>
                      <a:pt x="36" y="27"/>
                    </a:lnTo>
                    <a:lnTo>
                      <a:pt x="31" y="31"/>
                    </a:lnTo>
                    <a:lnTo>
                      <a:pt x="28" y="31"/>
                    </a:lnTo>
                    <a:lnTo>
                      <a:pt x="26" y="31"/>
                    </a:lnTo>
                    <a:lnTo>
                      <a:pt x="23" y="31"/>
                    </a:lnTo>
                    <a:lnTo>
                      <a:pt x="21" y="29"/>
                    </a:lnTo>
                    <a:lnTo>
                      <a:pt x="16" y="29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1" y="32"/>
                    </a:lnTo>
                    <a:lnTo>
                      <a:pt x="8" y="32"/>
                    </a:lnTo>
                    <a:lnTo>
                      <a:pt x="5" y="29"/>
                    </a:lnTo>
                    <a:lnTo>
                      <a:pt x="3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2" y="32"/>
                    </a:lnTo>
                    <a:lnTo>
                      <a:pt x="2" y="35"/>
                    </a:lnTo>
                    <a:lnTo>
                      <a:pt x="3" y="35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8" y="39"/>
                    </a:lnTo>
                    <a:lnTo>
                      <a:pt x="11" y="42"/>
                    </a:lnTo>
                    <a:lnTo>
                      <a:pt x="13" y="39"/>
                    </a:lnTo>
                    <a:lnTo>
                      <a:pt x="16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3" y="44"/>
                    </a:lnTo>
                    <a:lnTo>
                      <a:pt x="31" y="39"/>
                    </a:lnTo>
                    <a:lnTo>
                      <a:pt x="34" y="40"/>
                    </a:lnTo>
                    <a:lnTo>
                      <a:pt x="41" y="40"/>
                    </a:lnTo>
                    <a:lnTo>
                      <a:pt x="39" y="44"/>
                    </a:lnTo>
                    <a:lnTo>
                      <a:pt x="47" y="47"/>
                    </a:lnTo>
                    <a:lnTo>
                      <a:pt x="57" y="50"/>
                    </a:lnTo>
                    <a:lnTo>
                      <a:pt x="62" y="49"/>
                    </a:lnTo>
                    <a:lnTo>
                      <a:pt x="64" y="52"/>
                    </a:lnTo>
                    <a:lnTo>
                      <a:pt x="64" y="5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8" name="Freeform 211">
                <a:extLst>
                  <a:ext uri="{FF2B5EF4-FFF2-40B4-BE49-F238E27FC236}">
                    <a16:creationId xmlns:a16="http://schemas.microsoft.com/office/drawing/2014/main" xmlns="" id="{1DDEE917-EF19-4D45-99A5-08C9685A5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6" y="1147"/>
                <a:ext cx="116" cy="51"/>
              </a:xfrm>
              <a:custGeom>
                <a:avLst/>
                <a:gdLst>
                  <a:gd name="T0" fmla="*/ 44 w 116"/>
                  <a:gd name="T1" fmla="*/ 3 h 51"/>
                  <a:gd name="T2" fmla="*/ 47 w 116"/>
                  <a:gd name="T3" fmla="*/ 2 h 51"/>
                  <a:gd name="T4" fmla="*/ 55 w 116"/>
                  <a:gd name="T5" fmla="*/ 2 h 51"/>
                  <a:gd name="T6" fmla="*/ 59 w 116"/>
                  <a:gd name="T7" fmla="*/ 7 h 51"/>
                  <a:gd name="T8" fmla="*/ 63 w 116"/>
                  <a:gd name="T9" fmla="*/ 8 h 51"/>
                  <a:gd name="T10" fmla="*/ 62 w 116"/>
                  <a:gd name="T11" fmla="*/ 13 h 51"/>
                  <a:gd name="T12" fmla="*/ 63 w 116"/>
                  <a:gd name="T13" fmla="*/ 18 h 51"/>
                  <a:gd name="T14" fmla="*/ 67 w 116"/>
                  <a:gd name="T15" fmla="*/ 16 h 51"/>
                  <a:gd name="T16" fmla="*/ 65 w 116"/>
                  <a:gd name="T17" fmla="*/ 11 h 51"/>
                  <a:gd name="T18" fmla="*/ 75 w 116"/>
                  <a:gd name="T19" fmla="*/ 15 h 51"/>
                  <a:gd name="T20" fmla="*/ 78 w 116"/>
                  <a:gd name="T21" fmla="*/ 18 h 51"/>
                  <a:gd name="T22" fmla="*/ 88 w 116"/>
                  <a:gd name="T23" fmla="*/ 18 h 51"/>
                  <a:gd name="T24" fmla="*/ 103 w 116"/>
                  <a:gd name="T25" fmla="*/ 28 h 51"/>
                  <a:gd name="T26" fmla="*/ 108 w 116"/>
                  <a:gd name="T27" fmla="*/ 33 h 51"/>
                  <a:gd name="T28" fmla="*/ 112 w 116"/>
                  <a:gd name="T29" fmla="*/ 31 h 51"/>
                  <a:gd name="T30" fmla="*/ 116 w 116"/>
                  <a:gd name="T31" fmla="*/ 38 h 51"/>
                  <a:gd name="T32" fmla="*/ 106 w 116"/>
                  <a:gd name="T33" fmla="*/ 41 h 51"/>
                  <a:gd name="T34" fmla="*/ 98 w 116"/>
                  <a:gd name="T35" fmla="*/ 46 h 51"/>
                  <a:gd name="T36" fmla="*/ 85 w 116"/>
                  <a:gd name="T37" fmla="*/ 49 h 51"/>
                  <a:gd name="T38" fmla="*/ 80 w 116"/>
                  <a:gd name="T39" fmla="*/ 47 h 51"/>
                  <a:gd name="T40" fmla="*/ 70 w 116"/>
                  <a:gd name="T41" fmla="*/ 47 h 51"/>
                  <a:gd name="T42" fmla="*/ 63 w 116"/>
                  <a:gd name="T43" fmla="*/ 47 h 51"/>
                  <a:gd name="T44" fmla="*/ 54 w 116"/>
                  <a:gd name="T45" fmla="*/ 44 h 51"/>
                  <a:gd name="T46" fmla="*/ 45 w 116"/>
                  <a:gd name="T47" fmla="*/ 43 h 51"/>
                  <a:gd name="T48" fmla="*/ 42 w 116"/>
                  <a:gd name="T49" fmla="*/ 47 h 51"/>
                  <a:gd name="T50" fmla="*/ 37 w 116"/>
                  <a:gd name="T51" fmla="*/ 49 h 51"/>
                  <a:gd name="T52" fmla="*/ 29 w 116"/>
                  <a:gd name="T53" fmla="*/ 47 h 51"/>
                  <a:gd name="T54" fmla="*/ 26 w 116"/>
                  <a:gd name="T55" fmla="*/ 46 h 51"/>
                  <a:gd name="T56" fmla="*/ 16 w 116"/>
                  <a:gd name="T57" fmla="*/ 38 h 51"/>
                  <a:gd name="T58" fmla="*/ 8 w 116"/>
                  <a:gd name="T59" fmla="*/ 31 h 51"/>
                  <a:gd name="T60" fmla="*/ 8 w 116"/>
                  <a:gd name="T61" fmla="*/ 25 h 51"/>
                  <a:gd name="T62" fmla="*/ 0 w 116"/>
                  <a:gd name="T63" fmla="*/ 16 h 51"/>
                  <a:gd name="T64" fmla="*/ 1 w 116"/>
                  <a:gd name="T65" fmla="*/ 13 h 51"/>
                  <a:gd name="T66" fmla="*/ 6 w 116"/>
                  <a:gd name="T67" fmla="*/ 16 h 51"/>
                  <a:gd name="T68" fmla="*/ 14 w 116"/>
                  <a:gd name="T69" fmla="*/ 11 h 51"/>
                  <a:gd name="T70" fmla="*/ 21 w 116"/>
                  <a:gd name="T71" fmla="*/ 7 h 51"/>
                  <a:gd name="T72" fmla="*/ 27 w 116"/>
                  <a:gd name="T73" fmla="*/ 5 h 51"/>
                  <a:gd name="T74" fmla="*/ 32 w 116"/>
                  <a:gd name="T75" fmla="*/ 3 h 51"/>
                  <a:gd name="T76" fmla="*/ 37 w 116"/>
                  <a:gd name="T77" fmla="*/ 2 h 51"/>
                  <a:gd name="T78" fmla="*/ 42 w 116"/>
                  <a:gd name="T79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6" h="51">
                    <a:moveTo>
                      <a:pt x="42" y="0"/>
                    </a:moveTo>
                    <a:lnTo>
                      <a:pt x="44" y="3"/>
                    </a:lnTo>
                    <a:lnTo>
                      <a:pt x="44" y="2"/>
                    </a:lnTo>
                    <a:lnTo>
                      <a:pt x="47" y="2"/>
                    </a:lnTo>
                    <a:lnTo>
                      <a:pt x="49" y="2"/>
                    </a:lnTo>
                    <a:lnTo>
                      <a:pt x="55" y="2"/>
                    </a:lnTo>
                    <a:lnTo>
                      <a:pt x="55" y="3"/>
                    </a:lnTo>
                    <a:lnTo>
                      <a:pt x="59" y="7"/>
                    </a:lnTo>
                    <a:lnTo>
                      <a:pt x="60" y="7"/>
                    </a:lnTo>
                    <a:lnTo>
                      <a:pt x="63" y="8"/>
                    </a:lnTo>
                    <a:lnTo>
                      <a:pt x="62" y="11"/>
                    </a:lnTo>
                    <a:lnTo>
                      <a:pt x="62" y="13"/>
                    </a:lnTo>
                    <a:lnTo>
                      <a:pt x="63" y="15"/>
                    </a:lnTo>
                    <a:lnTo>
                      <a:pt x="63" y="18"/>
                    </a:lnTo>
                    <a:lnTo>
                      <a:pt x="65" y="18"/>
                    </a:lnTo>
                    <a:lnTo>
                      <a:pt x="67" y="16"/>
                    </a:lnTo>
                    <a:lnTo>
                      <a:pt x="68" y="16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75" y="15"/>
                    </a:lnTo>
                    <a:lnTo>
                      <a:pt x="80" y="15"/>
                    </a:lnTo>
                    <a:lnTo>
                      <a:pt x="78" y="18"/>
                    </a:lnTo>
                    <a:lnTo>
                      <a:pt x="81" y="20"/>
                    </a:lnTo>
                    <a:lnTo>
                      <a:pt x="88" y="18"/>
                    </a:lnTo>
                    <a:lnTo>
                      <a:pt x="93" y="20"/>
                    </a:lnTo>
                    <a:lnTo>
                      <a:pt x="103" y="28"/>
                    </a:lnTo>
                    <a:lnTo>
                      <a:pt x="104" y="33"/>
                    </a:lnTo>
                    <a:lnTo>
                      <a:pt x="108" y="33"/>
                    </a:lnTo>
                    <a:lnTo>
                      <a:pt x="109" y="31"/>
                    </a:lnTo>
                    <a:lnTo>
                      <a:pt x="112" y="31"/>
                    </a:lnTo>
                    <a:lnTo>
                      <a:pt x="116" y="34"/>
                    </a:lnTo>
                    <a:lnTo>
                      <a:pt x="116" y="38"/>
                    </a:lnTo>
                    <a:lnTo>
                      <a:pt x="109" y="38"/>
                    </a:lnTo>
                    <a:lnTo>
                      <a:pt x="106" y="41"/>
                    </a:lnTo>
                    <a:lnTo>
                      <a:pt x="101" y="41"/>
                    </a:lnTo>
                    <a:lnTo>
                      <a:pt x="98" y="46"/>
                    </a:lnTo>
                    <a:lnTo>
                      <a:pt x="91" y="46"/>
                    </a:lnTo>
                    <a:lnTo>
                      <a:pt x="85" y="49"/>
                    </a:lnTo>
                    <a:lnTo>
                      <a:pt x="85" y="47"/>
                    </a:lnTo>
                    <a:lnTo>
                      <a:pt x="80" y="47"/>
                    </a:lnTo>
                    <a:lnTo>
                      <a:pt x="76" y="49"/>
                    </a:lnTo>
                    <a:lnTo>
                      <a:pt x="70" y="47"/>
                    </a:lnTo>
                    <a:lnTo>
                      <a:pt x="67" y="46"/>
                    </a:lnTo>
                    <a:lnTo>
                      <a:pt x="63" y="47"/>
                    </a:lnTo>
                    <a:lnTo>
                      <a:pt x="59" y="47"/>
                    </a:lnTo>
                    <a:lnTo>
                      <a:pt x="54" y="44"/>
                    </a:lnTo>
                    <a:lnTo>
                      <a:pt x="49" y="44"/>
                    </a:lnTo>
                    <a:lnTo>
                      <a:pt x="45" y="43"/>
                    </a:lnTo>
                    <a:lnTo>
                      <a:pt x="44" y="46"/>
                    </a:lnTo>
                    <a:lnTo>
                      <a:pt x="42" y="47"/>
                    </a:lnTo>
                    <a:lnTo>
                      <a:pt x="42" y="49"/>
                    </a:lnTo>
                    <a:lnTo>
                      <a:pt x="37" y="49"/>
                    </a:lnTo>
                    <a:lnTo>
                      <a:pt x="36" y="51"/>
                    </a:lnTo>
                    <a:lnTo>
                      <a:pt x="29" y="47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19" y="39"/>
                    </a:lnTo>
                    <a:lnTo>
                      <a:pt x="16" y="38"/>
                    </a:lnTo>
                    <a:lnTo>
                      <a:pt x="11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5"/>
                    </a:lnTo>
                    <a:lnTo>
                      <a:pt x="5" y="20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4" y="11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9" y="5"/>
                    </a:lnTo>
                    <a:lnTo>
                      <a:pt x="32" y="3"/>
                    </a:lnTo>
                    <a:lnTo>
                      <a:pt x="32" y="0"/>
                    </a:lnTo>
                    <a:lnTo>
                      <a:pt x="37" y="2"/>
                    </a:lnTo>
                    <a:lnTo>
                      <a:pt x="39" y="0"/>
                    </a:lnTo>
                    <a:lnTo>
                      <a:pt x="42" y="2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9" name="Freeform 212">
                <a:extLst>
                  <a:ext uri="{FF2B5EF4-FFF2-40B4-BE49-F238E27FC236}">
                    <a16:creationId xmlns:a16="http://schemas.microsoft.com/office/drawing/2014/main" xmlns="" id="{D5333ACF-BCE7-4CDB-9E34-8FCF3C334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" y="1060"/>
                <a:ext cx="132" cy="162"/>
              </a:xfrm>
              <a:custGeom>
                <a:avLst/>
                <a:gdLst>
                  <a:gd name="T0" fmla="*/ 49 w 132"/>
                  <a:gd name="T1" fmla="*/ 4 h 162"/>
                  <a:gd name="T2" fmla="*/ 57 w 132"/>
                  <a:gd name="T3" fmla="*/ 10 h 162"/>
                  <a:gd name="T4" fmla="*/ 59 w 132"/>
                  <a:gd name="T5" fmla="*/ 17 h 162"/>
                  <a:gd name="T6" fmla="*/ 65 w 132"/>
                  <a:gd name="T7" fmla="*/ 15 h 162"/>
                  <a:gd name="T8" fmla="*/ 73 w 132"/>
                  <a:gd name="T9" fmla="*/ 15 h 162"/>
                  <a:gd name="T10" fmla="*/ 67 w 132"/>
                  <a:gd name="T11" fmla="*/ 22 h 162"/>
                  <a:gd name="T12" fmla="*/ 77 w 132"/>
                  <a:gd name="T13" fmla="*/ 25 h 162"/>
                  <a:gd name="T14" fmla="*/ 88 w 132"/>
                  <a:gd name="T15" fmla="*/ 18 h 162"/>
                  <a:gd name="T16" fmla="*/ 93 w 132"/>
                  <a:gd name="T17" fmla="*/ 12 h 162"/>
                  <a:gd name="T18" fmla="*/ 91 w 132"/>
                  <a:gd name="T19" fmla="*/ 15 h 162"/>
                  <a:gd name="T20" fmla="*/ 98 w 132"/>
                  <a:gd name="T21" fmla="*/ 15 h 162"/>
                  <a:gd name="T22" fmla="*/ 108 w 132"/>
                  <a:gd name="T23" fmla="*/ 20 h 162"/>
                  <a:gd name="T24" fmla="*/ 114 w 132"/>
                  <a:gd name="T25" fmla="*/ 28 h 162"/>
                  <a:gd name="T26" fmla="*/ 124 w 132"/>
                  <a:gd name="T27" fmla="*/ 36 h 162"/>
                  <a:gd name="T28" fmla="*/ 124 w 132"/>
                  <a:gd name="T29" fmla="*/ 53 h 162"/>
                  <a:gd name="T30" fmla="*/ 127 w 132"/>
                  <a:gd name="T31" fmla="*/ 64 h 162"/>
                  <a:gd name="T32" fmla="*/ 132 w 132"/>
                  <a:gd name="T33" fmla="*/ 77 h 162"/>
                  <a:gd name="T34" fmla="*/ 127 w 132"/>
                  <a:gd name="T35" fmla="*/ 89 h 162"/>
                  <a:gd name="T36" fmla="*/ 117 w 132"/>
                  <a:gd name="T37" fmla="*/ 92 h 162"/>
                  <a:gd name="T38" fmla="*/ 104 w 132"/>
                  <a:gd name="T39" fmla="*/ 98 h 162"/>
                  <a:gd name="T40" fmla="*/ 91 w 132"/>
                  <a:gd name="T41" fmla="*/ 100 h 162"/>
                  <a:gd name="T42" fmla="*/ 98 w 132"/>
                  <a:gd name="T43" fmla="*/ 112 h 162"/>
                  <a:gd name="T44" fmla="*/ 106 w 132"/>
                  <a:gd name="T45" fmla="*/ 125 h 162"/>
                  <a:gd name="T46" fmla="*/ 116 w 132"/>
                  <a:gd name="T47" fmla="*/ 139 h 162"/>
                  <a:gd name="T48" fmla="*/ 104 w 132"/>
                  <a:gd name="T49" fmla="*/ 151 h 162"/>
                  <a:gd name="T50" fmla="*/ 106 w 132"/>
                  <a:gd name="T51" fmla="*/ 159 h 162"/>
                  <a:gd name="T52" fmla="*/ 93 w 132"/>
                  <a:gd name="T53" fmla="*/ 157 h 162"/>
                  <a:gd name="T54" fmla="*/ 80 w 132"/>
                  <a:gd name="T55" fmla="*/ 161 h 162"/>
                  <a:gd name="T56" fmla="*/ 70 w 132"/>
                  <a:gd name="T57" fmla="*/ 161 h 162"/>
                  <a:gd name="T58" fmla="*/ 60 w 132"/>
                  <a:gd name="T59" fmla="*/ 161 h 162"/>
                  <a:gd name="T60" fmla="*/ 51 w 132"/>
                  <a:gd name="T61" fmla="*/ 157 h 162"/>
                  <a:gd name="T62" fmla="*/ 44 w 132"/>
                  <a:gd name="T63" fmla="*/ 154 h 162"/>
                  <a:gd name="T64" fmla="*/ 36 w 132"/>
                  <a:gd name="T65" fmla="*/ 157 h 162"/>
                  <a:gd name="T66" fmla="*/ 29 w 132"/>
                  <a:gd name="T67" fmla="*/ 156 h 162"/>
                  <a:gd name="T68" fmla="*/ 31 w 132"/>
                  <a:gd name="T69" fmla="*/ 141 h 162"/>
                  <a:gd name="T70" fmla="*/ 33 w 132"/>
                  <a:gd name="T71" fmla="*/ 128 h 162"/>
                  <a:gd name="T72" fmla="*/ 21 w 132"/>
                  <a:gd name="T73" fmla="*/ 126 h 162"/>
                  <a:gd name="T74" fmla="*/ 13 w 132"/>
                  <a:gd name="T75" fmla="*/ 123 h 162"/>
                  <a:gd name="T76" fmla="*/ 8 w 132"/>
                  <a:gd name="T77" fmla="*/ 115 h 162"/>
                  <a:gd name="T78" fmla="*/ 5 w 132"/>
                  <a:gd name="T79" fmla="*/ 102 h 162"/>
                  <a:gd name="T80" fmla="*/ 2 w 132"/>
                  <a:gd name="T81" fmla="*/ 89 h 162"/>
                  <a:gd name="T82" fmla="*/ 3 w 132"/>
                  <a:gd name="T83" fmla="*/ 76 h 162"/>
                  <a:gd name="T84" fmla="*/ 15 w 132"/>
                  <a:gd name="T85" fmla="*/ 69 h 162"/>
                  <a:gd name="T86" fmla="*/ 18 w 132"/>
                  <a:gd name="T87" fmla="*/ 61 h 162"/>
                  <a:gd name="T88" fmla="*/ 13 w 132"/>
                  <a:gd name="T89" fmla="*/ 54 h 162"/>
                  <a:gd name="T90" fmla="*/ 19 w 132"/>
                  <a:gd name="T91" fmla="*/ 48 h 162"/>
                  <a:gd name="T92" fmla="*/ 23 w 132"/>
                  <a:gd name="T93" fmla="*/ 41 h 162"/>
                  <a:gd name="T94" fmla="*/ 16 w 132"/>
                  <a:gd name="T95" fmla="*/ 35 h 162"/>
                  <a:gd name="T96" fmla="*/ 29 w 132"/>
                  <a:gd name="T97" fmla="*/ 31 h 162"/>
                  <a:gd name="T98" fmla="*/ 33 w 132"/>
                  <a:gd name="T99" fmla="*/ 35 h 162"/>
                  <a:gd name="T100" fmla="*/ 36 w 132"/>
                  <a:gd name="T101" fmla="*/ 36 h 162"/>
                  <a:gd name="T102" fmla="*/ 37 w 132"/>
                  <a:gd name="T103" fmla="*/ 31 h 162"/>
                  <a:gd name="T104" fmla="*/ 47 w 132"/>
                  <a:gd name="T105" fmla="*/ 27 h 162"/>
                  <a:gd name="T106" fmla="*/ 47 w 132"/>
                  <a:gd name="T107" fmla="*/ 27 h 162"/>
                  <a:gd name="T108" fmla="*/ 44 w 132"/>
                  <a:gd name="T109" fmla="*/ 20 h 162"/>
                  <a:gd name="T110" fmla="*/ 39 w 132"/>
                  <a:gd name="T111" fmla="*/ 14 h 162"/>
                  <a:gd name="T112" fmla="*/ 41 w 132"/>
                  <a:gd name="T113" fmla="*/ 5 h 162"/>
                  <a:gd name="T114" fmla="*/ 37 w 132"/>
                  <a:gd name="T1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2" h="162">
                    <a:moveTo>
                      <a:pt x="37" y="0"/>
                    </a:moveTo>
                    <a:lnTo>
                      <a:pt x="41" y="0"/>
                    </a:lnTo>
                    <a:lnTo>
                      <a:pt x="47" y="2"/>
                    </a:lnTo>
                    <a:lnTo>
                      <a:pt x="49" y="4"/>
                    </a:lnTo>
                    <a:lnTo>
                      <a:pt x="52" y="2"/>
                    </a:lnTo>
                    <a:lnTo>
                      <a:pt x="55" y="7"/>
                    </a:lnTo>
                    <a:lnTo>
                      <a:pt x="59" y="7"/>
                    </a:lnTo>
                    <a:lnTo>
                      <a:pt x="57" y="10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59" y="15"/>
                    </a:lnTo>
                    <a:lnTo>
                      <a:pt x="59" y="17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5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2" y="14"/>
                    </a:lnTo>
                    <a:lnTo>
                      <a:pt x="73" y="15"/>
                    </a:lnTo>
                    <a:lnTo>
                      <a:pt x="73" y="18"/>
                    </a:lnTo>
                    <a:lnTo>
                      <a:pt x="72" y="20"/>
                    </a:lnTo>
                    <a:lnTo>
                      <a:pt x="70" y="20"/>
                    </a:lnTo>
                    <a:lnTo>
                      <a:pt x="67" y="22"/>
                    </a:lnTo>
                    <a:lnTo>
                      <a:pt x="70" y="23"/>
                    </a:lnTo>
                    <a:lnTo>
                      <a:pt x="72" y="22"/>
                    </a:lnTo>
                    <a:lnTo>
                      <a:pt x="75" y="23"/>
                    </a:lnTo>
                    <a:lnTo>
                      <a:pt x="77" y="25"/>
                    </a:lnTo>
                    <a:lnTo>
                      <a:pt x="80" y="25"/>
                    </a:lnTo>
                    <a:lnTo>
                      <a:pt x="80" y="22"/>
                    </a:lnTo>
                    <a:lnTo>
                      <a:pt x="82" y="18"/>
                    </a:lnTo>
                    <a:lnTo>
                      <a:pt x="88" y="18"/>
                    </a:lnTo>
                    <a:lnTo>
                      <a:pt x="88" y="17"/>
                    </a:lnTo>
                    <a:lnTo>
                      <a:pt x="91" y="15"/>
                    </a:lnTo>
                    <a:lnTo>
                      <a:pt x="91" y="14"/>
                    </a:lnTo>
                    <a:lnTo>
                      <a:pt x="93" y="12"/>
                    </a:lnTo>
                    <a:lnTo>
                      <a:pt x="98" y="14"/>
                    </a:lnTo>
                    <a:lnTo>
                      <a:pt x="95" y="14"/>
                    </a:lnTo>
                    <a:lnTo>
                      <a:pt x="93" y="15"/>
                    </a:lnTo>
                    <a:lnTo>
                      <a:pt x="91" y="15"/>
                    </a:lnTo>
                    <a:lnTo>
                      <a:pt x="91" y="17"/>
                    </a:lnTo>
                    <a:lnTo>
                      <a:pt x="91" y="18"/>
                    </a:lnTo>
                    <a:lnTo>
                      <a:pt x="95" y="15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1" y="17"/>
                    </a:lnTo>
                    <a:lnTo>
                      <a:pt x="104" y="17"/>
                    </a:lnTo>
                    <a:lnTo>
                      <a:pt x="108" y="20"/>
                    </a:lnTo>
                    <a:lnTo>
                      <a:pt x="111" y="20"/>
                    </a:lnTo>
                    <a:lnTo>
                      <a:pt x="113" y="23"/>
                    </a:lnTo>
                    <a:lnTo>
                      <a:pt x="113" y="27"/>
                    </a:lnTo>
                    <a:lnTo>
                      <a:pt x="114" y="28"/>
                    </a:lnTo>
                    <a:lnTo>
                      <a:pt x="117" y="28"/>
                    </a:lnTo>
                    <a:lnTo>
                      <a:pt x="119" y="30"/>
                    </a:lnTo>
                    <a:lnTo>
                      <a:pt x="122" y="30"/>
                    </a:lnTo>
                    <a:lnTo>
                      <a:pt x="124" y="36"/>
                    </a:lnTo>
                    <a:lnTo>
                      <a:pt x="124" y="41"/>
                    </a:lnTo>
                    <a:lnTo>
                      <a:pt x="119" y="45"/>
                    </a:lnTo>
                    <a:lnTo>
                      <a:pt x="119" y="46"/>
                    </a:lnTo>
                    <a:lnTo>
                      <a:pt x="124" y="53"/>
                    </a:lnTo>
                    <a:lnTo>
                      <a:pt x="124" y="56"/>
                    </a:lnTo>
                    <a:lnTo>
                      <a:pt x="126" y="58"/>
                    </a:lnTo>
                    <a:lnTo>
                      <a:pt x="126" y="61"/>
                    </a:lnTo>
                    <a:lnTo>
                      <a:pt x="127" y="64"/>
                    </a:lnTo>
                    <a:lnTo>
                      <a:pt x="126" y="67"/>
                    </a:lnTo>
                    <a:lnTo>
                      <a:pt x="129" y="74"/>
                    </a:lnTo>
                    <a:lnTo>
                      <a:pt x="131" y="74"/>
                    </a:lnTo>
                    <a:lnTo>
                      <a:pt x="132" y="77"/>
                    </a:lnTo>
                    <a:lnTo>
                      <a:pt x="132" y="85"/>
                    </a:lnTo>
                    <a:lnTo>
                      <a:pt x="132" y="89"/>
                    </a:lnTo>
                    <a:lnTo>
                      <a:pt x="129" y="87"/>
                    </a:lnTo>
                    <a:lnTo>
                      <a:pt x="127" y="89"/>
                    </a:lnTo>
                    <a:lnTo>
                      <a:pt x="122" y="87"/>
                    </a:lnTo>
                    <a:lnTo>
                      <a:pt x="122" y="90"/>
                    </a:lnTo>
                    <a:lnTo>
                      <a:pt x="119" y="92"/>
                    </a:lnTo>
                    <a:lnTo>
                      <a:pt x="117" y="92"/>
                    </a:lnTo>
                    <a:lnTo>
                      <a:pt x="113" y="92"/>
                    </a:lnTo>
                    <a:lnTo>
                      <a:pt x="111" y="94"/>
                    </a:lnTo>
                    <a:lnTo>
                      <a:pt x="108" y="94"/>
                    </a:lnTo>
                    <a:lnTo>
                      <a:pt x="104" y="98"/>
                    </a:lnTo>
                    <a:lnTo>
                      <a:pt x="101" y="98"/>
                    </a:lnTo>
                    <a:lnTo>
                      <a:pt x="96" y="103"/>
                    </a:lnTo>
                    <a:lnTo>
                      <a:pt x="93" y="102"/>
                    </a:lnTo>
                    <a:lnTo>
                      <a:pt x="91" y="100"/>
                    </a:lnTo>
                    <a:lnTo>
                      <a:pt x="90" y="102"/>
                    </a:lnTo>
                    <a:lnTo>
                      <a:pt x="90" y="103"/>
                    </a:lnTo>
                    <a:lnTo>
                      <a:pt x="95" y="107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8" y="118"/>
                    </a:lnTo>
                    <a:lnTo>
                      <a:pt x="101" y="120"/>
                    </a:lnTo>
                    <a:lnTo>
                      <a:pt x="106" y="125"/>
                    </a:lnTo>
                    <a:lnTo>
                      <a:pt x="109" y="126"/>
                    </a:lnTo>
                    <a:lnTo>
                      <a:pt x="116" y="133"/>
                    </a:lnTo>
                    <a:lnTo>
                      <a:pt x="116" y="136"/>
                    </a:lnTo>
                    <a:lnTo>
                      <a:pt x="116" y="139"/>
                    </a:lnTo>
                    <a:lnTo>
                      <a:pt x="113" y="139"/>
                    </a:lnTo>
                    <a:lnTo>
                      <a:pt x="111" y="143"/>
                    </a:lnTo>
                    <a:lnTo>
                      <a:pt x="108" y="144"/>
                    </a:lnTo>
                    <a:lnTo>
                      <a:pt x="104" y="151"/>
                    </a:lnTo>
                    <a:lnTo>
                      <a:pt x="104" y="152"/>
                    </a:lnTo>
                    <a:lnTo>
                      <a:pt x="108" y="154"/>
                    </a:lnTo>
                    <a:lnTo>
                      <a:pt x="108" y="157"/>
                    </a:lnTo>
                    <a:lnTo>
                      <a:pt x="106" y="159"/>
                    </a:lnTo>
                    <a:lnTo>
                      <a:pt x="103" y="156"/>
                    </a:lnTo>
                    <a:lnTo>
                      <a:pt x="100" y="157"/>
                    </a:lnTo>
                    <a:lnTo>
                      <a:pt x="96" y="156"/>
                    </a:lnTo>
                    <a:lnTo>
                      <a:pt x="93" y="157"/>
                    </a:lnTo>
                    <a:lnTo>
                      <a:pt x="88" y="161"/>
                    </a:lnTo>
                    <a:lnTo>
                      <a:pt x="85" y="161"/>
                    </a:lnTo>
                    <a:lnTo>
                      <a:pt x="83" y="161"/>
                    </a:lnTo>
                    <a:lnTo>
                      <a:pt x="80" y="161"/>
                    </a:lnTo>
                    <a:lnTo>
                      <a:pt x="78" y="159"/>
                    </a:lnTo>
                    <a:lnTo>
                      <a:pt x="73" y="159"/>
                    </a:lnTo>
                    <a:lnTo>
                      <a:pt x="70" y="159"/>
                    </a:lnTo>
                    <a:lnTo>
                      <a:pt x="70" y="161"/>
                    </a:lnTo>
                    <a:lnTo>
                      <a:pt x="68" y="162"/>
                    </a:lnTo>
                    <a:lnTo>
                      <a:pt x="65" y="162"/>
                    </a:lnTo>
                    <a:lnTo>
                      <a:pt x="62" y="159"/>
                    </a:lnTo>
                    <a:lnTo>
                      <a:pt x="60" y="161"/>
                    </a:lnTo>
                    <a:lnTo>
                      <a:pt x="57" y="161"/>
                    </a:lnTo>
                    <a:lnTo>
                      <a:pt x="57" y="161"/>
                    </a:lnTo>
                    <a:lnTo>
                      <a:pt x="55" y="161"/>
                    </a:lnTo>
                    <a:lnTo>
                      <a:pt x="51" y="157"/>
                    </a:lnTo>
                    <a:lnTo>
                      <a:pt x="49" y="157"/>
                    </a:lnTo>
                    <a:lnTo>
                      <a:pt x="47" y="157"/>
                    </a:lnTo>
                    <a:lnTo>
                      <a:pt x="46" y="157"/>
                    </a:lnTo>
                    <a:lnTo>
                      <a:pt x="44" y="154"/>
                    </a:lnTo>
                    <a:lnTo>
                      <a:pt x="41" y="156"/>
                    </a:lnTo>
                    <a:lnTo>
                      <a:pt x="41" y="157"/>
                    </a:lnTo>
                    <a:lnTo>
                      <a:pt x="41" y="159"/>
                    </a:lnTo>
                    <a:lnTo>
                      <a:pt x="36" y="157"/>
                    </a:lnTo>
                    <a:lnTo>
                      <a:pt x="34" y="159"/>
                    </a:lnTo>
                    <a:lnTo>
                      <a:pt x="31" y="159"/>
                    </a:lnTo>
                    <a:lnTo>
                      <a:pt x="31" y="159"/>
                    </a:lnTo>
                    <a:lnTo>
                      <a:pt x="29" y="156"/>
                    </a:lnTo>
                    <a:lnTo>
                      <a:pt x="26" y="154"/>
                    </a:lnTo>
                    <a:lnTo>
                      <a:pt x="26" y="149"/>
                    </a:lnTo>
                    <a:lnTo>
                      <a:pt x="28" y="144"/>
                    </a:lnTo>
                    <a:lnTo>
                      <a:pt x="31" y="141"/>
                    </a:lnTo>
                    <a:lnTo>
                      <a:pt x="31" y="139"/>
                    </a:lnTo>
                    <a:lnTo>
                      <a:pt x="33" y="134"/>
                    </a:lnTo>
                    <a:lnTo>
                      <a:pt x="36" y="131"/>
                    </a:lnTo>
                    <a:lnTo>
                      <a:pt x="33" y="128"/>
                    </a:lnTo>
                    <a:lnTo>
                      <a:pt x="29" y="128"/>
                    </a:lnTo>
                    <a:lnTo>
                      <a:pt x="26" y="126"/>
                    </a:lnTo>
                    <a:lnTo>
                      <a:pt x="23" y="128"/>
                    </a:lnTo>
                    <a:lnTo>
                      <a:pt x="21" y="126"/>
                    </a:lnTo>
                    <a:lnTo>
                      <a:pt x="18" y="126"/>
                    </a:lnTo>
                    <a:lnTo>
                      <a:pt x="16" y="128"/>
                    </a:lnTo>
                    <a:lnTo>
                      <a:pt x="13" y="125"/>
                    </a:lnTo>
                    <a:lnTo>
                      <a:pt x="13" y="123"/>
                    </a:lnTo>
                    <a:lnTo>
                      <a:pt x="10" y="121"/>
                    </a:lnTo>
                    <a:lnTo>
                      <a:pt x="10" y="121"/>
                    </a:lnTo>
                    <a:lnTo>
                      <a:pt x="10" y="116"/>
                    </a:lnTo>
                    <a:lnTo>
                      <a:pt x="8" y="115"/>
                    </a:lnTo>
                    <a:lnTo>
                      <a:pt x="8" y="112"/>
                    </a:lnTo>
                    <a:lnTo>
                      <a:pt x="3" y="107"/>
                    </a:lnTo>
                    <a:lnTo>
                      <a:pt x="3" y="107"/>
                    </a:lnTo>
                    <a:lnTo>
                      <a:pt x="5" y="102"/>
                    </a:lnTo>
                    <a:lnTo>
                      <a:pt x="3" y="98"/>
                    </a:lnTo>
                    <a:lnTo>
                      <a:pt x="3" y="97"/>
                    </a:lnTo>
                    <a:lnTo>
                      <a:pt x="0" y="92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3" y="85"/>
                    </a:lnTo>
                    <a:lnTo>
                      <a:pt x="3" y="81"/>
                    </a:lnTo>
                    <a:lnTo>
                      <a:pt x="3" y="76"/>
                    </a:lnTo>
                    <a:lnTo>
                      <a:pt x="5" y="72"/>
                    </a:lnTo>
                    <a:lnTo>
                      <a:pt x="6" y="69"/>
                    </a:lnTo>
                    <a:lnTo>
                      <a:pt x="11" y="69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5" y="66"/>
                    </a:lnTo>
                    <a:lnTo>
                      <a:pt x="18" y="64"/>
                    </a:lnTo>
                    <a:lnTo>
                      <a:pt x="18" y="61"/>
                    </a:lnTo>
                    <a:lnTo>
                      <a:pt x="19" y="58"/>
                    </a:lnTo>
                    <a:lnTo>
                      <a:pt x="18" y="58"/>
                    </a:lnTo>
                    <a:lnTo>
                      <a:pt x="13" y="58"/>
                    </a:lnTo>
                    <a:lnTo>
                      <a:pt x="13" y="54"/>
                    </a:lnTo>
                    <a:lnTo>
                      <a:pt x="15" y="51"/>
                    </a:lnTo>
                    <a:lnTo>
                      <a:pt x="18" y="53"/>
                    </a:lnTo>
                    <a:lnTo>
                      <a:pt x="19" y="51"/>
                    </a:lnTo>
                    <a:lnTo>
                      <a:pt x="19" y="48"/>
                    </a:lnTo>
                    <a:lnTo>
                      <a:pt x="21" y="46"/>
                    </a:lnTo>
                    <a:lnTo>
                      <a:pt x="21" y="43"/>
                    </a:lnTo>
                    <a:lnTo>
                      <a:pt x="23" y="43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1" y="40"/>
                    </a:lnTo>
                    <a:lnTo>
                      <a:pt x="18" y="38"/>
                    </a:lnTo>
                    <a:lnTo>
                      <a:pt x="16" y="35"/>
                    </a:lnTo>
                    <a:lnTo>
                      <a:pt x="18" y="33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9" y="31"/>
                    </a:lnTo>
                    <a:lnTo>
                      <a:pt x="29" y="36"/>
                    </a:lnTo>
                    <a:lnTo>
                      <a:pt x="33" y="38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6" y="33"/>
                    </a:lnTo>
                    <a:lnTo>
                      <a:pt x="36" y="36"/>
                    </a:lnTo>
                    <a:lnTo>
                      <a:pt x="39" y="41"/>
                    </a:lnTo>
                    <a:lnTo>
                      <a:pt x="37" y="38"/>
                    </a:lnTo>
                    <a:lnTo>
                      <a:pt x="37" y="33"/>
                    </a:lnTo>
                    <a:lnTo>
                      <a:pt x="37" y="31"/>
                    </a:lnTo>
                    <a:lnTo>
                      <a:pt x="39" y="28"/>
                    </a:lnTo>
                    <a:lnTo>
                      <a:pt x="42" y="27"/>
                    </a:lnTo>
                    <a:lnTo>
                      <a:pt x="44" y="28"/>
                    </a:lnTo>
                    <a:lnTo>
                      <a:pt x="47" y="27"/>
                    </a:lnTo>
                    <a:lnTo>
                      <a:pt x="52" y="33"/>
                    </a:lnTo>
                    <a:lnTo>
                      <a:pt x="60" y="35"/>
                    </a:lnTo>
                    <a:lnTo>
                      <a:pt x="54" y="31"/>
                    </a:lnTo>
                    <a:lnTo>
                      <a:pt x="47" y="27"/>
                    </a:lnTo>
                    <a:lnTo>
                      <a:pt x="44" y="25"/>
                    </a:lnTo>
                    <a:lnTo>
                      <a:pt x="42" y="25"/>
                    </a:lnTo>
                    <a:lnTo>
                      <a:pt x="42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2" y="15"/>
                    </a:lnTo>
                    <a:lnTo>
                      <a:pt x="39" y="15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4" y="12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9" y="5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0" name="Freeform 213">
                <a:extLst>
                  <a:ext uri="{FF2B5EF4-FFF2-40B4-BE49-F238E27FC236}">
                    <a16:creationId xmlns:a16="http://schemas.microsoft.com/office/drawing/2014/main" xmlns="" id="{5C26FD7F-283A-4F33-913E-4EB5FBFF7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1225"/>
                <a:ext cx="3" cy="4"/>
              </a:xfrm>
              <a:custGeom>
                <a:avLst/>
                <a:gdLst>
                  <a:gd name="T0" fmla="*/ 2 w 3"/>
                  <a:gd name="T1" fmla="*/ 0 h 4"/>
                  <a:gd name="T2" fmla="*/ 3 w 3"/>
                  <a:gd name="T3" fmla="*/ 0 h 4"/>
                  <a:gd name="T4" fmla="*/ 3 w 3"/>
                  <a:gd name="T5" fmla="*/ 4 h 4"/>
                  <a:gd name="T6" fmla="*/ 2 w 3"/>
                  <a:gd name="T7" fmla="*/ 4 h 4"/>
                  <a:gd name="T8" fmla="*/ 0 w 3"/>
                  <a:gd name="T9" fmla="*/ 2 h 4"/>
                  <a:gd name="T10" fmla="*/ 2 w 3"/>
                  <a:gd name="T11" fmla="*/ 0 h 4"/>
                  <a:gd name="T12" fmla="*/ 2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1" name="Freeform 214">
                <a:extLst>
                  <a:ext uri="{FF2B5EF4-FFF2-40B4-BE49-F238E27FC236}">
                    <a16:creationId xmlns:a16="http://schemas.microsoft.com/office/drawing/2014/main" xmlns="" id="{71E107FA-EA95-4AD2-A564-ED4B78542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9" y="1214"/>
                <a:ext cx="72" cy="41"/>
              </a:xfrm>
              <a:custGeom>
                <a:avLst/>
                <a:gdLst>
                  <a:gd name="T0" fmla="*/ 31 w 72"/>
                  <a:gd name="T1" fmla="*/ 5 h 41"/>
                  <a:gd name="T2" fmla="*/ 38 w 72"/>
                  <a:gd name="T3" fmla="*/ 5 h 41"/>
                  <a:gd name="T4" fmla="*/ 38 w 72"/>
                  <a:gd name="T5" fmla="*/ 2 h 41"/>
                  <a:gd name="T6" fmla="*/ 43 w 72"/>
                  <a:gd name="T7" fmla="*/ 3 h 41"/>
                  <a:gd name="T8" fmla="*/ 46 w 72"/>
                  <a:gd name="T9" fmla="*/ 3 h 41"/>
                  <a:gd name="T10" fmla="*/ 52 w 72"/>
                  <a:gd name="T11" fmla="*/ 7 h 41"/>
                  <a:gd name="T12" fmla="*/ 56 w 72"/>
                  <a:gd name="T13" fmla="*/ 11 h 41"/>
                  <a:gd name="T14" fmla="*/ 56 w 72"/>
                  <a:gd name="T15" fmla="*/ 15 h 41"/>
                  <a:gd name="T16" fmla="*/ 62 w 72"/>
                  <a:gd name="T17" fmla="*/ 15 h 41"/>
                  <a:gd name="T18" fmla="*/ 67 w 72"/>
                  <a:gd name="T19" fmla="*/ 15 h 41"/>
                  <a:gd name="T20" fmla="*/ 72 w 72"/>
                  <a:gd name="T21" fmla="*/ 18 h 41"/>
                  <a:gd name="T22" fmla="*/ 70 w 72"/>
                  <a:gd name="T23" fmla="*/ 26 h 41"/>
                  <a:gd name="T24" fmla="*/ 64 w 72"/>
                  <a:gd name="T25" fmla="*/ 34 h 41"/>
                  <a:gd name="T26" fmla="*/ 57 w 72"/>
                  <a:gd name="T27" fmla="*/ 33 h 41"/>
                  <a:gd name="T28" fmla="*/ 51 w 72"/>
                  <a:gd name="T29" fmla="*/ 34 h 41"/>
                  <a:gd name="T30" fmla="*/ 46 w 72"/>
                  <a:gd name="T31" fmla="*/ 38 h 41"/>
                  <a:gd name="T32" fmla="*/ 41 w 72"/>
                  <a:gd name="T33" fmla="*/ 31 h 41"/>
                  <a:gd name="T34" fmla="*/ 33 w 72"/>
                  <a:gd name="T35" fmla="*/ 39 h 41"/>
                  <a:gd name="T36" fmla="*/ 21 w 72"/>
                  <a:gd name="T37" fmla="*/ 41 h 41"/>
                  <a:gd name="T38" fmla="*/ 18 w 72"/>
                  <a:gd name="T39" fmla="*/ 38 h 41"/>
                  <a:gd name="T40" fmla="*/ 15 w 72"/>
                  <a:gd name="T41" fmla="*/ 33 h 41"/>
                  <a:gd name="T42" fmla="*/ 8 w 72"/>
                  <a:gd name="T43" fmla="*/ 29 h 41"/>
                  <a:gd name="T44" fmla="*/ 8 w 72"/>
                  <a:gd name="T45" fmla="*/ 34 h 41"/>
                  <a:gd name="T46" fmla="*/ 0 w 72"/>
                  <a:gd name="T47" fmla="*/ 36 h 41"/>
                  <a:gd name="T48" fmla="*/ 2 w 72"/>
                  <a:gd name="T49" fmla="*/ 33 h 41"/>
                  <a:gd name="T50" fmla="*/ 3 w 72"/>
                  <a:gd name="T51" fmla="*/ 29 h 41"/>
                  <a:gd name="T52" fmla="*/ 8 w 72"/>
                  <a:gd name="T53" fmla="*/ 18 h 41"/>
                  <a:gd name="T54" fmla="*/ 15 w 72"/>
                  <a:gd name="T55" fmla="*/ 13 h 41"/>
                  <a:gd name="T56" fmla="*/ 16 w 72"/>
                  <a:gd name="T57" fmla="*/ 8 h 41"/>
                  <a:gd name="T58" fmla="*/ 15 w 72"/>
                  <a:gd name="T59" fmla="*/ 5 h 41"/>
                  <a:gd name="T60" fmla="*/ 20 w 72"/>
                  <a:gd name="T61" fmla="*/ 7 h 41"/>
                  <a:gd name="T62" fmla="*/ 28 w 72"/>
                  <a:gd name="T63" fmla="*/ 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2" h="41">
                    <a:moveTo>
                      <a:pt x="28" y="5"/>
                    </a:moveTo>
                    <a:lnTo>
                      <a:pt x="31" y="5"/>
                    </a:lnTo>
                    <a:lnTo>
                      <a:pt x="33" y="3"/>
                    </a:lnTo>
                    <a:lnTo>
                      <a:pt x="38" y="5"/>
                    </a:lnTo>
                    <a:lnTo>
                      <a:pt x="38" y="3"/>
                    </a:lnTo>
                    <a:lnTo>
                      <a:pt x="38" y="2"/>
                    </a:lnTo>
                    <a:lnTo>
                      <a:pt x="41" y="0"/>
                    </a:lnTo>
                    <a:lnTo>
                      <a:pt x="43" y="3"/>
                    </a:lnTo>
                    <a:lnTo>
                      <a:pt x="44" y="3"/>
                    </a:lnTo>
                    <a:lnTo>
                      <a:pt x="46" y="3"/>
                    </a:lnTo>
                    <a:lnTo>
                      <a:pt x="48" y="3"/>
                    </a:lnTo>
                    <a:lnTo>
                      <a:pt x="52" y="7"/>
                    </a:lnTo>
                    <a:lnTo>
                      <a:pt x="56" y="8"/>
                    </a:lnTo>
                    <a:lnTo>
                      <a:pt x="56" y="11"/>
                    </a:lnTo>
                    <a:lnTo>
                      <a:pt x="54" y="13"/>
                    </a:lnTo>
                    <a:lnTo>
                      <a:pt x="56" y="15"/>
                    </a:lnTo>
                    <a:lnTo>
                      <a:pt x="61" y="15"/>
                    </a:lnTo>
                    <a:lnTo>
                      <a:pt x="62" y="15"/>
                    </a:lnTo>
                    <a:lnTo>
                      <a:pt x="65" y="18"/>
                    </a:lnTo>
                    <a:lnTo>
                      <a:pt x="67" y="15"/>
                    </a:lnTo>
                    <a:lnTo>
                      <a:pt x="70" y="15"/>
                    </a:lnTo>
                    <a:lnTo>
                      <a:pt x="72" y="18"/>
                    </a:lnTo>
                    <a:lnTo>
                      <a:pt x="69" y="21"/>
                    </a:lnTo>
                    <a:lnTo>
                      <a:pt x="70" y="26"/>
                    </a:lnTo>
                    <a:lnTo>
                      <a:pt x="64" y="28"/>
                    </a:lnTo>
                    <a:lnTo>
                      <a:pt x="64" y="34"/>
                    </a:lnTo>
                    <a:lnTo>
                      <a:pt x="61" y="33"/>
                    </a:lnTo>
                    <a:lnTo>
                      <a:pt x="57" y="33"/>
                    </a:lnTo>
                    <a:lnTo>
                      <a:pt x="51" y="31"/>
                    </a:lnTo>
                    <a:lnTo>
                      <a:pt x="51" y="34"/>
                    </a:lnTo>
                    <a:lnTo>
                      <a:pt x="48" y="41"/>
                    </a:lnTo>
                    <a:lnTo>
                      <a:pt x="46" y="38"/>
                    </a:lnTo>
                    <a:lnTo>
                      <a:pt x="41" y="34"/>
                    </a:lnTo>
                    <a:lnTo>
                      <a:pt x="41" y="31"/>
                    </a:lnTo>
                    <a:lnTo>
                      <a:pt x="38" y="29"/>
                    </a:lnTo>
                    <a:lnTo>
                      <a:pt x="33" y="39"/>
                    </a:lnTo>
                    <a:lnTo>
                      <a:pt x="28" y="38"/>
                    </a:lnTo>
                    <a:lnTo>
                      <a:pt x="21" y="41"/>
                    </a:lnTo>
                    <a:lnTo>
                      <a:pt x="18" y="41"/>
                    </a:lnTo>
                    <a:lnTo>
                      <a:pt x="18" y="38"/>
                    </a:lnTo>
                    <a:lnTo>
                      <a:pt x="16" y="36"/>
                    </a:lnTo>
                    <a:lnTo>
                      <a:pt x="15" y="33"/>
                    </a:lnTo>
                    <a:lnTo>
                      <a:pt x="13" y="29"/>
                    </a:lnTo>
                    <a:lnTo>
                      <a:pt x="8" y="29"/>
                    </a:lnTo>
                    <a:lnTo>
                      <a:pt x="7" y="31"/>
                    </a:lnTo>
                    <a:lnTo>
                      <a:pt x="8" y="34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3"/>
                    </a:lnTo>
                    <a:lnTo>
                      <a:pt x="2" y="33"/>
                    </a:lnTo>
                    <a:lnTo>
                      <a:pt x="5" y="33"/>
                    </a:lnTo>
                    <a:lnTo>
                      <a:pt x="3" y="29"/>
                    </a:lnTo>
                    <a:lnTo>
                      <a:pt x="5" y="25"/>
                    </a:lnTo>
                    <a:lnTo>
                      <a:pt x="8" y="18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3" y="7"/>
                    </a:lnTo>
                    <a:lnTo>
                      <a:pt x="15" y="5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3" y="7"/>
                    </a:lnTo>
                    <a:lnTo>
                      <a:pt x="28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2" name="Freeform 215">
                <a:extLst>
                  <a:ext uri="{FF2B5EF4-FFF2-40B4-BE49-F238E27FC236}">
                    <a16:creationId xmlns:a16="http://schemas.microsoft.com/office/drawing/2014/main" xmlns="" id="{675E2DA1-C48C-452E-A422-313012C4F3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02" y="1096"/>
                <a:ext cx="57" cy="53"/>
              </a:xfrm>
              <a:custGeom>
                <a:avLst/>
                <a:gdLst>
                  <a:gd name="T0" fmla="*/ 37 w 57"/>
                  <a:gd name="T1" fmla="*/ 49 h 53"/>
                  <a:gd name="T2" fmla="*/ 37 w 57"/>
                  <a:gd name="T3" fmla="*/ 40 h 53"/>
                  <a:gd name="T4" fmla="*/ 40 w 57"/>
                  <a:gd name="T5" fmla="*/ 33 h 53"/>
                  <a:gd name="T6" fmla="*/ 49 w 57"/>
                  <a:gd name="T7" fmla="*/ 33 h 53"/>
                  <a:gd name="T8" fmla="*/ 49 w 57"/>
                  <a:gd name="T9" fmla="*/ 30 h 53"/>
                  <a:gd name="T10" fmla="*/ 52 w 57"/>
                  <a:gd name="T11" fmla="*/ 25 h 53"/>
                  <a:gd name="T12" fmla="*/ 52 w 57"/>
                  <a:gd name="T13" fmla="*/ 22 h 53"/>
                  <a:gd name="T14" fmla="*/ 47 w 57"/>
                  <a:gd name="T15" fmla="*/ 18 h 53"/>
                  <a:gd name="T16" fmla="*/ 52 w 57"/>
                  <a:gd name="T17" fmla="*/ 17 h 53"/>
                  <a:gd name="T18" fmla="*/ 53 w 57"/>
                  <a:gd name="T19" fmla="*/ 12 h 53"/>
                  <a:gd name="T20" fmla="*/ 55 w 57"/>
                  <a:gd name="T21" fmla="*/ 7 h 53"/>
                  <a:gd name="T22" fmla="*/ 57 w 57"/>
                  <a:gd name="T23" fmla="*/ 5 h 53"/>
                  <a:gd name="T24" fmla="*/ 50 w 57"/>
                  <a:gd name="T25" fmla="*/ 2 h 53"/>
                  <a:gd name="T26" fmla="*/ 42 w 57"/>
                  <a:gd name="T27" fmla="*/ 0 h 53"/>
                  <a:gd name="T28" fmla="*/ 36 w 57"/>
                  <a:gd name="T29" fmla="*/ 2 h 53"/>
                  <a:gd name="T30" fmla="*/ 31 w 57"/>
                  <a:gd name="T31" fmla="*/ 4 h 53"/>
                  <a:gd name="T32" fmla="*/ 21 w 57"/>
                  <a:gd name="T33" fmla="*/ 10 h 53"/>
                  <a:gd name="T34" fmla="*/ 18 w 57"/>
                  <a:gd name="T35" fmla="*/ 12 h 53"/>
                  <a:gd name="T36" fmla="*/ 14 w 57"/>
                  <a:gd name="T37" fmla="*/ 18 h 53"/>
                  <a:gd name="T38" fmla="*/ 14 w 57"/>
                  <a:gd name="T39" fmla="*/ 25 h 53"/>
                  <a:gd name="T40" fmla="*/ 11 w 57"/>
                  <a:gd name="T41" fmla="*/ 30 h 53"/>
                  <a:gd name="T42" fmla="*/ 9 w 57"/>
                  <a:gd name="T43" fmla="*/ 35 h 53"/>
                  <a:gd name="T44" fmla="*/ 16 w 57"/>
                  <a:gd name="T45" fmla="*/ 38 h 53"/>
                  <a:gd name="T46" fmla="*/ 11 w 57"/>
                  <a:gd name="T47" fmla="*/ 40 h 53"/>
                  <a:gd name="T48" fmla="*/ 11 w 57"/>
                  <a:gd name="T49" fmla="*/ 43 h 53"/>
                  <a:gd name="T50" fmla="*/ 13 w 57"/>
                  <a:gd name="T51" fmla="*/ 45 h 53"/>
                  <a:gd name="T52" fmla="*/ 8 w 57"/>
                  <a:gd name="T53" fmla="*/ 41 h 53"/>
                  <a:gd name="T54" fmla="*/ 1 w 57"/>
                  <a:gd name="T55" fmla="*/ 41 h 53"/>
                  <a:gd name="T56" fmla="*/ 6 w 57"/>
                  <a:gd name="T57" fmla="*/ 43 h 53"/>
                  <a:gd name="T58" fmla="*/ 9 w 57"/>
                  <a:gd name="T59" fmla="*/ 45 h 53"/>
                  <a:gd name="T60" fmla="*/ 9 w 57"/>
                  <a:gd name="T61" fmla="*/ 46 h 53"/>
                  <a:gd name="T62" fmla="*/ 3 w 57"/>
                  <a:gd name="T63" fmla="*/ 45 h 53"/>
                  <a:gd name="T64" fmla="*/ 0 w 57"/>
                  <a:gd name="T65" fmla="*/ 45 h 53"/>
                  <a:gd name="T66" fmla="*/ 3 w 57"/>
                  <a:gd name="T67" fmla="*/ 48 h 53"/>
                  <a:gd name="T68" fmla="*/ 8 w 57"/>
                  <a:gd name="T69" fmla="*/ 49 h 53"/>
                  <a:gd name="T70" fmla="*/ 11 w 57"/>
                  <a:gd name="T71" fmla="*/ 48 h 53"/>
                  <a:gd name="T72" fmla="*/ 14 w 57"/>
                  <a:gd name="T73" fmla="*/ 46 h 53"/>
                  <a:gd name="T74" fmla="*/ 21 w 57"/>
                  <a:gd name="T75" fmla="*/ 45 h 53"/>
                  <a:gd name="T76" fmla="*/ 26 w 57"/>
                  <a:gd name="T77" fmla="*/ 46 h 53"/>
                  <a:gd name="T78" fmla="*/ 31 w 57"/>
                  <a:gd name="T79" fmla="*/ 48 h 53"/>
                  <a:gd name="T80" fmla="*/ 32 w 57"/>
                  <a:gd name="T81" fmla="*/ 53 h 53"/>
                  <a:gd name="T82" fmla="*/ 36 w 57"/>
                  <a:gd name="T83" fmla="*/ 53 h 53"/>
                  <a:gd name="T84" fmla="*/ 8 w 57"/>
                  <a:gd name="T85" fmla="*/ 38 h 53"/>
                  <a:gd name="T86" fmla="*/ 8 w 57"/>
                  <a:gd name="T87" fmla="*/ 40 h 53"/>
                  <a:gd name="T88" fmla="*/ 4 w 57"/>
                  <a:gd name="T89" fmla="*/ 40 h 53"/>
                  <a:gd name="T90" fmla="*/ 6 w 57"/>
                  <a:gd name="T91" fmla="*/ 36 h 53"/>
                  <a:gd name="T92" fmla="*/ 11 w 57"/>
                  <a:gd name="T93" fmla="*/ 38 h 53"/>
                  <a:gd name="T94" fmla="*/ 9 w 57"/>
                  <a:gd name="T95" fmla="*/ 38 h 53"/>
                  <a:gd name="T96" fmla="*/ 6 w 57"/>
                  <a:gd name="T97" fmla="*/ 3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7" h="53">
                    <a:moveTo>
                      <a:pt x="36" y="53"/>
                    </a:moveTo>
                    <a:lnTo>
                      <a:pt x="37" y="49"/>
                    </a:lnTo>
                    <a:lnTo>
                      <a:pt x="37" y="45"/>
                    </a:lnTo>
                    <a:lnTo>
                      <a:pt x="37" y="40"/>
                    </a:lnTo>
                    <a:lnTo>
                      <a:pt x="39" y="36"/>
                    </a:lnTo>
                    <a:lnTo>
                      <a:pt x="40" y="33"/>
                    </a:lnTo>
                    <a:lnTo>
                      <a:pt x="45" y="33"/>
                    </a:lnTo>
                    <a:lnTo>
                      <a:pt x="49" y="33"/>
                    </a:lnTo>
                    <a:lnTo>
                      <a:pt x="50" y="33"/>
                    </a:lnTo>
                    <a:lnTo>
                      <a:pt x="49" y="30"/>
                    </a:lnTo>
                    <a:lnTo>
                      <a:pt x="52" y="28"/>
                    </a:lnTo>
                    <a:lnTo>
                      <a:pt x="52" y="25"/>
                    </a:lnTo>
                    <a:lnTo>
                      <a:pt x="53" y="22"/>
                    </a:lnTo>
                    <a:lnTo>
                      <a:pt x="52" y="22"/>
                    </a:lnTo>
                    <a:lnTo>
                      <a:pt x="47" y="22"/>
                    </a:lnTo>
                    <a:lnTo>
                      <a:pt x="47" y="18"/>
                    </a:lnTo>
                    <a:lnTo>
                      <a:pt x="49" y="15"/>
                    </a:lnTo>
                    <a:lnTo>
                      <a:pt x="52" y="17"/>
                    </a:lnTo>
                    <a:lnTo>
                      <a:pt x="53" y="15"/>
                    </a:lnTo>
                    <a:lnTo>
                      <a:pt x="53" y="12"/>
                    </a:lnTo>
                    <a:lnTo>
                      <a:pt x="55" y="10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5"/>
                    </a:lnTo>
                    <a:lnTo>
                      <a:pt x="53" y="5"/>
                    </a:lnTo>
                    <a:lnTo>
                      <a:pt x="50" y="2"/>
                    </a:lnTo>
                    <a:lnTo>
                      <a:pt x="47" y="0"/>
                    </a:lnTo>
                    <a:lnTo>
                      <a:pt x="42" y="0"/>
                    </a:lnTo>
                    <a:lnTo>
                      <a:pt x="39" y="4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1" y="4"/>
                    </a:lnTo>
                    <a:lnTo>
                      <a:pt x="27" y="7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18" y="12"/>
                    </a:lnTo>
                    <a:lnTo>
                      <a:pt x="16" y="15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5"/>
                    </a:lnTo>
                    <a:lnTo>
                      <a:pt x="13" y="28"/>
                    </a:lnTo>
                    <a:lnTo>
                      <a:pt x="11" y="30"/>
                    </a:lnTo>
                    <a:lnTo>
                      <a:pt x="9" y="31"/>
                    </a:lnTo>
                    <a:lnTo>
                      <a:pt x="9" y="35"/>
                    </a:lnTo>
                    <a:lnTo>
                      <a:pt x="13" y="38"/>
                    </a:lnTo>
                    <a:lnTo>
                      <a:pt x="16" y="38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9" y="41"/>
                    </a:lnTo>
                    <a:lnTo>
                      <a:pt x="11" y="43"/>
                    </a:lnTo>
                    <a:lnTo>
                      <a:pt x="13" y="43"/>
                    </a:lnTo>
                    <a:lnTo>
                      <a:pt x="13" y="45"/>
                    </a:lnTo>
                    <a:lnTo>
                      <a:pt x="9" y="45"/>
                    </a:lnTo>
                    <a:lnTo>
                      <a:pt x="8" y="41"/>
                    </a:lnTo>
                    <a:lnTo>
                      <a:pt x="4" y="40"/>
                    </a:lnTo>
                    <a:lnTo>
                      <a:pt x="1" y="41"/>
                    </a:lnTo>
                    <a:lnTo>
                      <a:pt x="3" y="43"/>
                    </a:lnTo>
                    <a:lnTo>
                      <a:pt x="6" y="43"/>
                    </a:lnTo>
                    <a:lnTo>
                      <a:pt x="8" y="46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9" y="46"/>
                    </a:lnTo>
                    <a:lnTo>
                      <a:pt x="8" y="46"/>
                    </a:lnTo>
                    <a:lnTo>
                      <a:pt x="3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3" y="48"/>
                    </a:lnTo>
                    <a:lnTo>
                      <a:pt x="6" y="48"/>
                    </a:lnTo>
                    <a:lnTo>
                      <a:pt x="8" y="49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13" y="46"/>
                    </a:lnTo>
                    <a:lnTo>
                      <a:pt x="14" y="46"/>
                    </a:lnTo>
                    <a:lnTo>
                      <a:pt x="16" y="45"/>
                    </a:lnTo>
                    <a:lnTo>
                      <a:pt x="21" y="45"/>
                    </a:lnTo>
                    <a:lnTo>
                      <a:pt x="22" y="46"/>
                    </a:lnTo>
                    <a:lnTo>
                      <a:pt x="26" y="46"/>
                    </a:lnTo>
                    <a:lnTo>
                      <a:pt x="27" y="48"/>
                    </a:lnTo>
                    <a:lnTo>
                      <a:pt x="31" y="48"/>
                    </a:lnTo>
                    <a:lnTo>
                      <a:pt x="32" y="51"/>
                    </a:lnTo>
                    <a:lnTo>
                      <a:pt x="32" y="53"/>
                    </a:lnTo>
                    <a:lnTo>
                      <a:pt x="36" y="53"/>
                    </a:lnTo>
                    <a:lnTo>
                      <a:pt x="36" y="53"/>
                    </a:lnTo>
                    <a:close/>
                    <a:moveTo>
                      <a:pt x="4" y="40"/>
                    </a:moveTo>
                    <a:lnTo>
                      <a:pt x="8" y="38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6" y="36"/>
                    </a:moveTo>
                    <a:lnTo>
                      <a:pt x="8" y="36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6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3" name="Freeform 216">
                <a:extLst>
                  <a:ext uri="{FF2B5EF4-FFF2-40B4-BE49-F238E27FC236}">
                    <a16:creationId xmlns:a16="http://schemas.microsoft.com/office/drawing/2014/main" xmlns="" id="{11CF9AB7-63FC-4934-AE1A-16F748394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141"/>
                <a:ext cx="44" cy="37"/>
              </a:xfrm>
              <a:custGeom>
                <a:avLst/>
                <a:gdLst>
                  <a:gd name="T0" fmla="*/ 42 w 44"/>
                  <a:gd name="T1" fmla="*/ 26 h 37"/>
                  <a:gd name="T2" fmla="*/ 44 w 44"/>
                  <a:gd name="T3" fmla="*/ 21 h 37"/>
                  <a:gd name="T4" fmla="*/ 42 w 44"/>
                  <a:gd name="T5" fmla="*/ 17 h 37"/>
                  <a:gd name="T6" fmla="*/ 42 w 44"/>
                  <a:gd name="T7" fmla="*/ 16 h 37"/>
                  <a:gd name="T8" fmla="*/ 39 w 44"/>
                  <a:gd name="T9" fmla="*/ 11 h 37"/>
                  <a:gd name="T10" fmla="*/ 41 w 44"/>
                  <a:gd name="T11" fmla="*/ 8 h 37"/>
                  <a:gd name="T12" fmla="*/ 37 w 44"/>
                  <a:gd name="T13" fmla="*/ 8 h 37"/>
                  <a:gd name="T14" fmla="*/ 37 w 44"/>
                  <a:gd name="T15" fmla="*/ 6 h 37"/>
                  <a:gd name="T16" fmla="*/ 36 w 44"/>
                  <a:gd name="T17" fmla="*/ 3 h 37"/>
                  <a:gd name="T18" fmla="*/ 32 w 44"/>
                  <a:gd name="T19" fmla="*/ 3 h 37"/>
                  <a:gd name="T20" fmla="*/ 31 w 44"/>
                  <a:gd name="T21" fmla="*/ 1 h 37"/>
                  <a:gd name="T22" fmla="*/ 27 w 44"/>
                  <a:gd name="T23" fmla="*/ 1 h 37"/>
                  <a:gd name="T24" fmla="*/ 26 w 44"/>
                  <a:gd name="T25" fmla="*/ 0 h 37"/>
                  <a:gd name="T26" fmla="*/ 21 w 44"/>
                  <a:gd name="T27" fmla="*/ 0 h 37"/>
                  <a:gd name="T28" fmla="*/ 19 w 44"/>
                  <a:gd name="T29" fmla="*/ 1 h 37"/>
                  <a:gd name="T30" fmla="*/ 18 w 44"/>
                  <a:gd name="T31" fmla="*/ 1 h 37"/>
                  <a:gd name="T32" fmla="*/ 16 w 44"/>
                  <a:gd name="T33" fmla="*/ 3 h 37"/>
                  <a:gd name="T34" fmla="*/ 14 w 44"/>
                  <a:gd name="T35" fmla="*/ 3 h 37"/>
                  <a:gd name="T36" fmla="*/ 13 w 44"/>
                  <a:gd name="T37" fmla="*/ 4 h 37"/>
                  <a:gd name="T38" fmla="*/ 11 w 44"/>
                  <a:gd name="T39" fmla="*/ 3 h 37"/>
                  <a:gd name="T40" fmla="*/ 8 w 44"/>
                  <a:gd name="T41" fmla="*/ 3 h 37"/>
                  <a:gd name="T42" fmla="*/ 6 w 44"/>
                  <a:gd name="T43" fmla="*/ 1 h 37"/>
                  <a:gd name="T44" fmla="*/ 5 w 44"/>
                  <a:gd name="T45" fmla="*/ 0 h 37"/>
                  <a:gd name="T46" fmla="*/ 1 w 44"/>
                  <a:gd name="T47" fmla="*/ 3 h 37"/>
                  <a:gd name="T48" fmla="*/ 0 w 44"/>
                  <a:gd name="T49" fmla="*/ 6 h 37"/>
                  <a:gd name="T50" fmla="*/ 1 w 44"/>
                  <a:gd name="T51" fmla="*/ 8 h 37"/>
                  <a:gd name="T52" fmla="*/ 1 w 44"/>
                  <a:gd name="T53" fmla="*/ 13 h 37"/>
                  <a:gd name="T54" fmla="*/ 6 w 44"/>
                  <a:gd name="T55" fmla="*/ 14 h 37"/>
                  <a:gd name="T56" fmla="*/ 6 w 44"/>
                  <a:gd name="T57" fmla="*/ 17 h 37"/>
                  <a:gd name="T58" fmla="*/ 11 w 44"/>
                  <a:gd name="T59" fmla="*/ 21 h 37"/>
                  <a:gd name="T60" fmla="*/ 13 w 44"/>
                  <a:gd name="T61" fmla="*/ 21 h 37"/>
                  <a:gd name="T62" fmla="*/ 14 w 44"/>
                  <a:gd name="T63" fmla="*/ 22 h 37"/>
                  <a:gd name="T64" fmla="*/ 16 w 44"/>
                  <a:gd name="T65" fmla="*/ 24 h 37"/>
                  <a:gd name="T66" fmla="*/ 16 w 44"/>
                  <a:gd name="T67" fmla="*/ 29 h 37"/>
                  <a:gd name="T68" fmla="*/ 21 w 44"/>
                  <a:gd name="T69" fmla="*/ 31 h 37"/>
                  <a:gd name="T70" fmla="*/ 23 w 44"/>
                  <a:gd name="T71" fmla="*/ 29 h 37"/>
                  <a:gd name="T72" fmla="*/ 24 w 44"/>
                  <a:gd name="T73" fmla="*/ 29 h 37"/>
                  <a:gd name="T74" fmla="*/ 26 w 44"/>
                  <a:gd name="T75" fmla="*/ 31 h 37"/>
                  <a:gd name="T76" fmla="*/ 27 w 44"/>
                  <a:gd name="T77" fmla="*/ 31 h 37"/>
                  <a:gd name="T78" fmla="*/ 31 w 44"/>
                  <a:gd name="T79" fmla="*/ 35 h 37"/>
                  <a:gd name="T80" fmla="*/ 34 w 44"/>
                  <a:gd name="T81" fmla="*/ 35 h 37"/>
                  <a:gd name="T82" fmla="*/ 37 w 44"/>
                  <a:gd name="T83" fmla="*/ 37 h 37"/>
                  <a:gd name="T84" fmla="*/ 39 w 44"/>
                  <a:gd name="T85" fmla="*/ 37 h 37"/>
                  <a:gd name="T86" fmla="*/ 41 w 44"/>
                  <a:gd name="T87" fmla="*/ 37 h 37"/>
                  <a:gd name="T88" fmla="*/ 41 w 44"/>
                  <a:gd name="T89" fmla="*/ 35 h 37"/>
                  <a:gd name="T90" fmla="*/ 39 w 44"/>
                  <a:gd name="T91" fmla="*/ 34 h 37"/>
                  <a:gd name="T92" fmla="*/ 39 w 44"/>
                  <a:gd name="T93" fmla="*/ 32 h 37"/>
                  <a:gd name="T94" fmla="*/ 39 w 44"/>
                  <a:gd name="T95" fmla="*/ 31 h 37"/>
                  <a:gd name="T96" fmla="*/ 41 w 44"/>
                  <a:gd name="T97" fmla="*/ 27 h 37"/>
                  <a:gd name="T98" fmla="*/ 41 w 44"/>
                  <a:gd name="T99" fmla="*/ 26 h 37"/>
                  <a:gd name="T100" fmla="*/ 42 w 44"/>
                  <a:gd name="T101" fmla="*/ 2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4" h="37">
                    <a:moveTo>
                      <a:pt x="42" y="26"/>
                    </a:moveTo>
                    <a:lnTo>
                      <a:pt x="44" y="21"/>
                    </a:lnTo>
                    <a:lnTo>
                      <a:pt x="42" y="17"/>
                    </a:lnTo>
                    <a:lnTo>
                      <a:pt x="42" y="16"/>
                    </a:lnTo>
                    <a:lnTo>
                      <a:pt x="39" y="11"/>
                    </a:lnTo>
                    <a:lnTo>
                      <a:pt x="41" y="8"/>
                    </a:lnTo>
                    <a:lnTo>
                      <a:pt x="37" y="8"/>
                    </a:lnTo>
                    <a:lnTo>
                      <a:pt x="37" y="6"/>
                    </a:lnTo>
                    <a:lnTo>
                      <a:pt x="36" y="3"/>
                    </a:lnTo>
                    <a:lnTo>
                      <a:pt x="32" y="3"/>
                    </a:lnTo>
                    <a:lnTo>
                      <a:pt x="31" y="1"/>
                    </a:lnTo>
                    <a:lnTo>
                      <a:pt x="27" y="1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9" y="1"/>
                    </a:lnTo>
                    <a:lnTo>
                      <a:pt x="18" y="1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13" y="4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3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16" y="29"/>
                    </a:lnTo>
                    <a:lnTo>
                      <a:pt x="21" y="31"/>
                    </a:lnTo>
                    <a:lnTo>
                      <a:pt x="23" y="29"/>
                    </a:lnTo>
                    <a:lnTo>
                      <a:pt x="24" y="29"/>
                    </a:lnTo>
                    <a:lnTo>
                      <a:pt x="26" y="31"/>
                    </a:lnTo>
                    <a:lnTo>
                      <a:pt x="27" y="31"/>
                    </a:lnTo>
                    <a:lnTo>
                      <a:pt x="31" y="35"/>
                    </a:lnTo>
                    <a:lnTo>
                      <a:pt x="34" y="35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1" y="37"/>
                    </a:lnTo>
                    <a:lnTo>
                      <a:pt x="41" y="35"/>
                    </a:lnTo>
                    <a:lnTo>
                      <a:pt x="39" y="34"/>
                    </a:lnTo>
                    <a:lnTo>
                      <a:pt x="39" y="32"/>
                    </a:lnTo>
                    <a:lnTo>
                      <a:pt x="39" y="31"/>
                    </a:lnTo>
                    <a:lnTo>
                      <a:pt x="41" y="27"/>
                    </a:lnTo>
                    <a:lnTo>
                      <a:pt x="41" y="26"/>
                    </a:lnTo>
                    <a:lnTo>
                      <a:pt x="42" y="2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4" name="Freeform 217">
                <a:extLst>
                  <a:ext uri="{FF2B5EF4-FFF2-40B4-BE49-F238E27FC236}">
                    <a16:creationId xmlns:a16="http://schemas.microsoft.com/office/drawing/2014/main" xmlns="" id="{153D1C27-0FC0-4FAF-B78A-B96601A68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" y="1167"/>
                <a:ext cx="10" cy="14"/>
              </a:xfrm>
              <a:custGeom>
                <a:avLst/>
                <a:gdLst>
                  <a:gd name="T0" fmla="*/ 2 w 10"/>
                  <a:gd name="T1" fmla="*/ 11 h 14"/>
                  <a:gd name="T2" fmla="*/ 2 w 10"/>
                  <a:gd name="T3" fmla="*/ 9 h 14"/>
                  <a:gd name="T4" fmla="*/ 0 w 10"/>
                  <a:gd name="T5" fmla="*/ 8 h 14"/>
                  <a:gd name="T6" fmla="*/ 0 w 10"/>
                  <a:gd name="T7" fmla="*/ 6 h 14"/>
                  <a:gd name="T8" fmla="*/ 0 w 10"/>
                  <a:gd name="T9" fmla="*/ 5 h 14"/>
                  <a:gd name="T10" fmla="*/ 2 w 10"/>
                  <a:gd name="T11" fmla="*/ 1 h 14"/>
                  <a:gd name="T12" fmla="*/ 2 w 10"/>
                  <a:gd name="T13" fmla="*/ 0 h 14"/>
                  <a:gd name="T14" fmla="*/ 3 w 10"/>
                  <a:gd name="T15" fmla="*/ 0 h 14"/>
                  <a:gd name="T16" fmla="*/ 8 w 10"/>
                  <a:gd name="T17" fmla="*/ 5 h 14"/>
                  <a:gd name="T18" fmla="*/ 8 w 10"/>
                  <a:gd name="T19" fmla="*/ 8 h 14"/>
                  <a:gd name="T20" fmla="*/ 10 w 10"/>
                  <a:gd name="T21" fmla="*/ 9 h 14"/>
                  <a:gd name="T22" fmla="*/ 10 w 10"/>
                  <a:gd name="T23" fmla="*/ 14 h 14"/>
                  <a:gd name="T24" fmla="*/ 8 w 10"/>
                  <a:gd name="T25" fmla="*/ 14 h 14"/>
                  <a:gd name="T26" fmla="*/ 3 w 10"/>
                  <a:gd name="T27" fmla="*/ 14 h 14"/>
                  <a:gd name="T28" fmla="*/ 2 w 10"/>
                  <a:gd name="T29" fmla="*/ 11 h 14"/>
                  <a:gd name="T30" fmla="*/ 2 w 10"/>
                  <a:gd name="T3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14">
                    <a:moveTo>
                      <a:pt x="2" y="11"/>
                    </a:moveTo>
                    <a:lnTo>
                      <a:pt x="2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10" y="9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5" name="Freeform 218">
                <a:extLst>
                  <a:ext uri="{FF2B5EF4-FFF2-40B4-BE49-F238E27FC236}">
                    <a16:creationId xmlns:a16="http://schemas.microsoft.com/office/drawing/2014/main" xmlns="" id="{F10A8089-B690-4161-A982-47DA86CB3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0" y="879"/>
                <a:ext cx="11" cy="26"/>
              </a:xfrm>
              <a:custGeom>
                <a:avLst/>
                <a:gdLst>
                  <a:gd name="T0" fmla="*/ 3 w 7"/>
                  <a:gd name="T1" fmla="*/ 13 h 16"/>
                  <a:gd name="T2" fmla="*/ 5 w 7"/>
                  <a:gd name="T3" fmla="*/ 16 h 16"/>
                  <a:gd name="T4" fmla="*/ 4 w 7"/>
                  <a:gd name="T5" fmla="*/ 14 h 16"/>
                  <a:gd name="T6" fmla="*/ 5 w 7"/>
                  <a:gd name="T7" fmla="*/ 13 h 16"/>
                  <a:gd name="T8" fmla="*/ 3 w 7"/>
                  <a:gd name="T9" fmla="*/ 13 h 16"/>
                  <a:gd name="T10" fmla="*/ 4 w 7"/>
                  <a:gd name="T11" fmla="*/ 8 h 16"/>
                  <a:gd name="T12" fmla="*/ 3 w 7"/>
                  <a:gd name="T13" fmla="*/ 9 h 16"/>
                  <a:gd name="T14" fmla="*/ 5 w 7"/>
                  <a:gd name="T15" fmla="*/ 10 h 16"/>
                  <a:gd name="T16" fmla="*/ 5 w 7"/>
                  <a:gd name="T17" fmla="*/ 9 h 16"/>
                  <a:gd name="T18" fmla="*/ 4 w 7"/>
                  <a:gd name="T19" fmla="*/ 8 h 16"/>
                  <a:gd name="T20" fmla="*/ 0 w 7"/>
                  <a:gd name="T21" fmla="*/ 2 h 16"/>
                  <a:gd name="T22" fmla="*/ 0 w 7"/>
                  <a:gd name="T23" fmla="*/ 4 h 16"/>
                  <a:gd name="T24" fmla="*/ 1 w 7"/>
                  <a:gd name="T25" fmla="*/ 5 h 16"/>
                  <a:gd name="T26" fmla="*/ 0 w 7"/>
                  <a:gd name="T27" fmla="*/ 2 h 16"/>
                  <a:gd name="T28" fmla="*/ 5 w 7"/>
                  <a:gd name="T29" fmla="*/ 0 h 16"/>
                  <a:gd name="T30" fmla="*/ 7 w 7"/>
                  <a:gd name="T31" fmla="*/ 2 h 16"/>
                  <a:gd name="T32" fmla="*/ 6 w 7"/>
                  <a:gd name="T33" fmla="*/ 0 h 16"/>
                  <a:gd name="T34" fmla="*/ 5 w 7"/>
                  <a:gd name="T35" fmla="*/ 0 h 16"/>
                  <a:gd name="T36" fmla="*/ 2 w 7"/>
                  <a:gd name="T37" fmla="*/ 0 h 16"/>
                  <a:gd name="T38" fmla="*/ 3 w 7"/>
                  <a:gd name="T39" fmla="*/ 0 h 16"/>
                  <a:gd name="T40" fmla="*/ 5 w 7"/>
                  <a:gd name="T41" fmla="*/ 2 h 16"/>
                  <a:gd name="T42" fmla="*/ 5 w 7"/>
                  <a:gd name="T43" fmla="*/ 3 h 16"/>
                  <a:gd name="T44" fmla="*/ 4 w 7"/>
                  <a:gd name="T45" fmla="*/ 3 h 16"/>
                  <a:gd name="T46" fmla="*/ 2 w 7"/>
                  <a:gd name="T47" fmla="*/ 0 h 16"/>
                  <a:gd name="T48" fmla="*/ 2 w 7"/>
                  <a:gd name="T49" fmla="*/ 1 h 16"/>
                  <a:gd name="T50" fmla="*/ 4 w 7"/>
                  <a:gd name="T51" fmla="*/ 5 h 16"/>
                  <a:gd name="T52" fmla="*/ 6 w 7"/>
                  <a:gd name="T53" fmla="*/ 6 h 16"/>
                  <a:gd name="T54" fmla="*/ 4 w 7"/>
                  <a:gd name="T55" fmla="*/ 6 h 16"/>
                  <a:gd name="T56" fmla="*/ 2 w 7"/>
                  <a:gd name="T57" fmla="*/ 4 h 16"/>
                  <a:gd name="T58" fmla="*/ 1 w 7"/>
                  <a:gd name="T59" fmla="*/ 1 h 16"/>
                  <a:gd name="T60" fmla="*/ 2 w 7"/>
                  <a:gd name="T61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" h="16">
                    <a:moveTo>
                      <a:pt x="3" y="13"/>
                    </a:moveTo>
                    <a:cubicBezTo>
                      <a:pt x="5" y="16"/>
                      <a:pt x="5" y="16"/>
                      <a:pt x="5" y="16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3" y="13"/>
                      <a:pt x="3" y="13"/>
                      <a:pt x="3" y="13"/>
                    </a:cubicBezTo>
                    <a:close/>
                    <a:moveTo>
                      <a:pt x="4" y="8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  <a:moveTo>
                      <a:pt x="0" y="2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  <a:moveTo>
                      <a:pt x="5" y="0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  <a:moveTo>
                      <a:pt x="2" y="1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1"/>
                      <a:pt x="1" y="1"/>
                      <a:pt x="1" y="1"/>
                    </a:cubicBez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6" name="Freeform 219">
                <a:extLst>
                  <a:ext uri="{FF2B5EF4-FFF2-40B4-BE49-F238E27FC236}">
                    <a16:creationId xmlns:a16="http://schemas.microsoft.com/office/drawing/2014/main" xmlns="" id="{B7D2B6A2-90E1-4094-8B15-EEC0F90E2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1051"/>
                <a:ext cx="64" cy="85"/>
              </a:xfrm>
              <a:custGeom>
                <a:avLst/>
                <a:gdLst>
                  <a:gd name="T0" fmla="*/ 28 w 64"/>
                  <a:gd name="T1" fmla="*/ 83 h 85"/>
                  <a:gd name="T2" fmla="*/ 33 w 64"/>
                  <a:gd name="T3" fmla="*/ 78 h 85"/>
                  <a:gd name="T4" fmla="*/ 37 w 64"/>
                  <a:gd name="T5" fmla="*/ 76 h 85"/>
                  <a:gd name="T6" fmla="*/ 49 w 64"/>
                  <a:gd name="T7" fmla="*/ 73 h 85"/>
                  <a:gd name="T8" fmla="*/ 54 w 64"/>
                  <a:gd name="T9" fmla="*/ 72 h 85"/>
                  <a:gd name="T10" fmla="*/ 57 w 64"/>
                  <a:gd name="T11" fmla="*/ 68 h 85"/>
                  <a:gd name="T12" fmla="*/ 60 w 64"/>
                  <a:gd name="T13" fmla="*/ 60 h 85"/>
                  <a:gd name="T14" fmla="*/ 64 w 64"/>
                  <a:gd name="T15" fmla="*/ 47 h 85"/>
                  <a:gd name="T16" fmla="*/ 64 w 64"/>
                  <a:gd name="T17" fmla="*/ 42 h 85"/>
                  <a:gd name="T18" fmla="*/ 59 w 64"/>
                  <a:gd name="T19" fmla="*/ 34 h 85"/>
                  <a:gd name="T20" fmla="*/ 59 w 64"/>
                  <a:gd name="T21" fmla="*/ 29 h 85"/>
                  <a:gd name="T22" fmla="*/ 49 w 64"/>
                  <a:gd name="T23" fmla="*/ 21 h 85"/>
                  <a:gd name="T24" fmla="*/ 44 w 64"/>
                  <a:gd name="T25" fmla="*/ 27 h 85"/>
                  <a:gd name="T26" fmla="*/ 44 w 64"/>
                  <a:gd name="T27" fmla="*/ 13 h 85"/>
                  <a:gd name="T28" fmla="*/ 49 w 64"/>
                  <a:gd name="T29" fmla="*/ 8 h 85"/>
                  <a:gd name="T30" fmla="*/ 54 w 64"/>
                  <a:gd name="T31" fmla="*/ 3 h 85"/>
                  <a:gd name="T32" fmla="*/ 49 w 64"/>
                  <a:gd name="T33" fmla="*/ 1 h 85"/>
                  <a:gd name="T34" fmla="*/ 44 w 64"/>
                  <a:gd name="T35" fmla="*/ 9 h 85"/>
                  <a:gd name="T36" fmla="*/ 44 w 64"/>
                  <a:gd name="T37" fmla="*/ 1 h 85"/>
                  <a:gd name="T38" fmla="*/ 41 w 64"/>
                  <a:gd name="T39" fmla="*/ 5 h 85"/>
                  <a:gd name="T40" fmla="*/ 34 w 64"/>
                  <a:gd name="T41" fmla="*/ 6 h 85"/>
                  <a:gd name="T42" fmla="*/ 34 w 64"/>
                  <a:gd name="T43" fmla="*/ 9 h 85"/>
                  <a:gd name="T44" fmla="*/ 33 w 64"/>
                  <a:gd name="T45" fmla="*/ 13 h 85"/>
                  <a:gd name="T46" fmla="*/ 33 w 64"/>
                  <a:gd name="T47" fmla="*/ 16 h 85"/>
                  <a:gd name="T48" fmla="*/ 37 w 64"/>
                  <a:gd name="T49" fmla="*/ 16 h 85"/>
                  <a:gd name="T50" fmla="*/ 31 w 64"/>
                  <a:gd name="T51" fmla="*/ 23 h 85"/>
                  <a:gd name="T52" fmla="*/ 23 w 64"/>
                  <a:gd name="T53" fmla="*/ 26 h 85"/>
                  <a:gd name="T54" fmla="*/ 15 w 64"/>
                  <a:gd name="T55" fmla="*/ 23 h 85"/>
                  <a:gd name="T56" fmla="*/ 11 w 64"/>
                  <a:gd name="T57" fmla="*/ 24 h 85"/>
                  <a:gd name="T58" fmla="*/ 13 w 64"/>
                  <a:gd name="T59" fmla="*/ 29 h 85"/>
                  <a:gd name="T60" fmla="*/ 8 w 64"/>
                  <a:gd name="T61" fmla="*/ 27 h 85"/>
                  <a:gd name="T62" fmla="*/ 16 w 64"/>
                  <a:gd name="T63" fmla="*/ 34 h 85"/>
                  <a:gd name="T64" fmla="*/ 13 w 64"/>
                  <a:gd name="T65" fmla="*/ 37 h 85"/>
                  <a:gd name="T66" fmla="*/ 8 w 64"/>
                  <a:gd name="T67" fmla="*/ 40 h 85"/>
                  <a:gd name="T68" fmla="*/ 11 w 64"/>
                  <a:gd name="T69" fmla="*/ 44 h 85"/>
                  <a:gd name="T70" fmla="*/ 24 w 64"/>
                  <a:gd name="T71" fmla="*/ 47 h 85"/>
                  <a:gd name="T72" fmla="*/ 16 w 64"/>
                  <a:gd name="T73" fmla="*/ 54 h 85"/>
                  <a:gd name="T74" fmla="*/ 10 w 64"/>
                  <a:gd name="T75" fmla="*/ 60 h 85"/>
                  <a:gd name="T76" fmla="*/ 16 w 64"/>
                  <a:gd name="T77" fmla="*/ 60 h 85"/>
                  <a:gd name="T78" fmla="*/ 23 w 64"/>
                  <a:gd name="T79" fmla="*/ 58 h 85"/>
                  <a:gd name="T80" fmla="*/ 13 w 64"/>
                  <a:gd name="T81" fmla="*/ 62 h 85"/>
                  <a:gd name="T82" fmla="*/ 10 w 64"/>
                  <a:gd name="T83" fmla="*/ 67 h 85"/>
                  <a:gd name="T84" fmla="*/ 8 w 64"/>
                  <a:gd name="T85" fmla="*/ 68 h 85"/>
                  <a:gd name="T86" fmla="*/ 5 w 64"/>
                  <a:gd name="T87" fmla="*/ 67 h 85"/>
                  <a:gd name="T88" fmla="*/ 11 w 64"/>
                  <a:gd name="T89" fmla="*/ 70 h 85"/>
                  <a:gd name="T90" fmla="*/ 2 w 64"/>
                  <a:gd name="T91" fmla="*/ 76 h 85"/>
                  <a:gd name="T92" fmla="*/ 13 w 64"/>
                  <a:gd name="T93" fmla="*/ 76 h 85"/>
                  <a:gd name="T94" fmla="*/ 8 w 64"/>
                  <a:gd name="T95" fmla="*/ 83 h 85"/>
                  <a:gd name="T96" fmla="*/ 10 w 64"/>
                  <a:gd name="T97" fmla="*/ 83 h 85"/>
                  <a:gd name="T98" fmla="*/ 15 w 64"/>
                  <a:gd name="T9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4" h="85">
                    <a:moveTo>
                      <a:pt x="16" y="85"/>
                    </a:moveTo>
                    <a:lnTo>
                      <a:pt x="21" y="85"/>
                    </a:lnTo>
                    <a:lnTo>
                      <a:pt x="28" y="83"/>
                    </a:lnTo>
                    <a:lnTo>
                      <a:pt x="31" y="80"/>
                    </a:lnTo>
                    <a:lnTo>
                      <a:pt x="29" y="78"/>
                    </a:lnTo>
                    <a:lnTo>
                      <a:pt x="33" y="78"/>
                    </a:lnTo>
                    <a:lnTo>
                      <a:pt x="31" y="80"/>
                    </a:lnTo>
                    <a:lnTo>
                      <a:pt x="34" y="80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41" y="73"/>
                    </a:lnTo>
                    <a:lnTo>
                      <a:pt x="49" y="73"/>
                    </a:lnTo>
                    <a:lnTo>
                      <a:pt x="51" y="70"/>
                    </a:lnTo>
                    <a:lnTo>
                      <a:pt x="52" y="73"/>
                    </a:lnTo>
                    <a:lnTo>
                      <a:pt x="54" y="72"/>
                    </a:lnTo>
                    <a:lnTo>
                      <a:pt x="55" y="72"/>
                    </a:lnTo>
                    <a:lnTo>
                      <a:pt x="60" y="72"/>
                    </a:lnTo>
                    <a:lnTo>
                      <a:pt x="57" y="68"/>
                    </a:lnTo>
                    <a:lnTo>
                      <a:pt x="59" y="67"/>
                    </a:lnTo>
                    <a:lnTo>
                      <a:pt x="62" y="63"/>
                    </a:lnTo>
                    <a:lnTo>
                      <a:pt x="60" y="60"/>
                    </a:lnTo>
                    <a:lnTo>
                      <a:pt x="64" y="58"/>
                    </a:lnTo>
                    <a:lnTo>
                      <a:pt x="64" y="55"/>
                    </a:lnTo>
                    <a:lnTo>
                      <a:pt x="64" y="47"/>
                    </a:lnTo>
                    <a:lnTo>
                      <a:pt x="60" y="47"/>
                    </a:lnTo>
                    <a:lnTo>
                      <a:pt x="64" y="45"/>
                    </a:lnTo>
                    <a:lnTo>
                      <a:pt x="64" y="42"/>
                    </a:lnTo>
                    <a:lnTo>
                      <a:pt x="62" y="39"/>
                    </a:lnTo>
                    <a:lnTo>
                      <a:pt x="62" y="36"/>
                    </a:lnTo>
                    <a:lnTo>
                      <a:pt x="59" y="34"/>
                    </a:lnTo>
                    <a:lnTo>
                      <a:pt x="60" y="31"/>
                    </a:lnTo>
                    <a:lnTo>
                      <a:pt x="62" y="32"/>
                    </a:lnTo>
                    <a:lnTo>
                      <a:pt x="59" y="29"/>
                    </a:lnTo>
                    <a:lnTo>
                      <a:pt x="57" y="29"/>
                    </a:lnTo>
                    <a:lnTo>
                      <a:pt x="54" y="23"/>
                    </a:lnTo>
                    <a:lnTo>
                      <a:pt x="49" y="21"/>
                    </a:lnTo>
                    <a:lnTo>
                      <a:pt x="47" y="23"/>
                    </a:lnTo>
                    <a:lnTo>
                      <a:pt x="47" y="26"/>
                    </a:lnTo>
                    <a:lnTo>
                      <a:pt x="44" y="27"/>
                    </a:lnTo>
                    <a:lnTo>
                      <a:pt x="37" y="21"/>
                    </a:lnTo>
                    <a:lnTo>
                      <a:pt x="41" y="13"/>
                    </a:lnTo>
                    <a:lnTo>
                      <a:pt x="44" y="13"/>
                    </a:lnTo>
                    <a:lnTo>
                      <a:pt x="46" y="9"/>
                    </a:lnTo>
                    <a:lnTo>
                      <a:pt x="47" y="9"/>
                    </a:lnTo>
                    <a:lnTo>
                      <a:pt x="49" y="8"/>
                    </a:lnTo>
                    <a:lnTo>
                      <a:pt x="47" y="8"/>
                    </a:lnTo>
                    <a:lnTo>
                      <a:pt x="51" y="5"/>
                    </a:lnTo>
                    <a:lnTo>
                      <a:pt x="54" y="3"/>
                    </a:lnTo>
                    <a:lnTo>
                      <a:pt x="51" y="1"/>
                    </a:lnTo>
                    <a:lnTo>
                      <a:pt x="47" y="0"/>
                    </a:lnTo>
                    <a:lnTo>
                      <a:pt x="49" y="1"/>
                    </a:lnTo>
                    <a:lnTo>
                      <a:pt x="46" y="1"/>
                    </a:lnTo>
                    <a:lnTo>
                      <a:pt x="46" y="5"/>
                    </a:lnTo>
                    <a:lnTo>
                      <a:pt x="44" y="9"/>
                    </a:lnTo>
                    <a:lnTo>
                      <a:pt x="44" y="6"/>
                    </a:lnTo>
                    <a:lnTo>
                      <a:pt x="46" y="5"/>
                    </a:lnTo>
                    <a:lnTo>
                      <a:pt x="44" y="1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39" y="3"/>
                    </a:lnTo>
                    <a:lnTo>
                      <a:pt x="34" y="5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3" y="9"/>
                    </a:lnTo>
                    <a:lnTo>
                      <a:pt x="34" y="9"/>
                    </a:lnTo>
                    <a:lnTo>
                      <a:pt x="34" y="11"/>
                    </a:lnTo>
                    <a:lnTo>
                      <a:pt x="33" y="11"/>
                    </a:lnTo>
                    <a:lnTo>
                      <a:pt x="33" y="13"/>
                    </a:lnTo>
                    <a:lnTo>
                      <a:pt x="29" y="13"/>
                    </a:lnTo>
                    <a:lnTo>
                      <a:pt x="29" y="16"/>
                    </a:lnTo>
                    <a:lnTo>
                      <a:pt x="33" y="16"/>
                    </a:lnTo>
                    <a:lnTo>
                      <a:pt x="33" y="18"/>
                    </a:lnTo>
                    <a:lnTo>
                      <a:pt x="36" y="16"/>
                    </a:lnTo>
                    <a:lnTo>
                      <a:pt x="37" y="16"/>
                    </a:lnTo>
                    <a:lnTo>
                      <a:pt x="34" y="19"/>
                    </a:lnTo>
                    <a:lnTo>
                      <a:pt x="29" y="21"/>
                    </a:lnTo>
                    <a:lnTo>
                      <a:pt x="31" y="23"/>
                    </a:lnTo>
                    <a:lnTo>
                      <a:pt x="26" y="24"/>
                    </a:lnTo>
                    <a:lnTo>
                      <a:pt x="24" y="23"/>
                    </a:lnTo>
                    <a:lnTo>
                      <a:pt x="23" y="26"/>
                    </a:lnTo>
                    <a:lnTo>
                      <a:pt x="21" y="23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0" y="21"/>
                    </a:lnTo>
                    <a:lnTo>
                      <a:pt x="10" y="26"/>
                    </a:lnTo>
                    <a:lnTo>
                      <a:pt x="11" y="24"/>
                    </a:lnTo>
                    <a:lnTo>
                      <a:pt x="11" y="26"/>
                    </a:lnTo>
                    <a:lnTo>
                      <a:pt x="13" y="27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16" y="34"/>
                    </a:lnTo>
                    <a:lnTo>
                      <a:pt x="11" y="34"/>
                    </a:lnTo>
                    <a:lnTo>
                      <a:pt x="11" y="36"/>
                    </a:lnTo>
                    <a:lnTo>
                      <a:pt x="13" y="37"/>
                    </a:lnTo>
                    <a:lnTo>
                      <a:pt x="8" y="37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10" y="42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5" y="42"/>
                    </a:lnTo>
                    <a:lnTo>
                      <a:pt x="15" y="47"/>
                    </a:lnTo>
                    <a:lnTo>
                      <a:pt x="24" y="47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5" y="57"/>
                    </a:lnTo>
                    <a:lnTo>
                      <a:pt x="10" y="60"/>
                    </a:lnTo>
                    <a:lnTo>
                      <a:pt x="11" y="60"/>
                    </a:lnTo>
                    <a:lnTo>
                      <a:pt x="15" y="58"/>
                    </a:lnTo>
                    <a:lnTo>
                      <a:pt x="16" y="60"/>
                    </a:lnTo>
                    <a:lnTo>
                      <a:pt x="19" y="60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6" y="58"/>
                    </a:lnTo>
                    <a:lnTo>
                      <a:pt x="19" y="62"/>
                    </a:lnTo>
                    <a:lnTo>
                      <a:pt x="13" y="62"/>
                    </a:lnTo>
                    <a:lnTo>
                      <a:pt x="13" y="63"/>
                    </a:lnTo>
                    <a:lnTo>
                      <a:pt x="10" y="65"/>
                    </a:lnTo>
                    <a:lnTo>
                      <a:pt x="10" y="67"/>
                    </a:lnTo>
                    <a:lnTo>
                      <a:pt x="10" y="68"/>
                    </a:lnTo>
                    <a:lnTo>
                      <a:pt x="11" y="68"/>
                    </a:lnTo>
                    <a:lnTo>
                      <a:pt x="8" y="68"/>
                    </a:lnTo>
                    <a:lnTo>
                      <a:pt x="6" y="67"/>
                    </a:lnTo>
                    <a:lnTo>
                      <a:pt x="5" y="68"/>
                    </a:lnTo>
                    <a:lnTo>
                      <a:pt x="5" y="67"/>
                    </a:lnTo>
                    <a:lnTo>
                      <a:pt x="0" y="70"/>
                    </a:lnTo>
                    <a:lnTo>
                      <a:pt x="2" y="70"/>
                    </a:lnTo>
                    <a:lnTo>
                      <a:pt x="11" y="70"/>
                    </a:lnTo>
                    <a:lnTo>
                      <a:pt x="8" y="73"/>
                    </a:lnTo>
                    <a:lnTo>
                      <a:pt x="3" y="73"/>
                    </a:lnTo>
                    <a:lnTo>
                      <a:pt x="2" y="76"/>
                    </a:lnTo>
                    <a:lnTo>
                      <a:pt x="5" y="76"/>
                    </a:lnTo>
                    <a:lnTo>
                      <a:pt x="5" y="80"/>
                    </a:lnTo>
                    <a:lnTo>
                      <a:pt x="13" y="76"/>
                    </a:lnTo>
                    <a:lnTo>
                      <a:pt x="6" y="80"/>
                    </a:lnTo>
                    <a:lnTo>
                      <a:pt x="5" y="83"/>
                    </a:lnTo>
                    <a:lnTo>
                      <a:pt x="8" y="83"/>
                    </a:lnTo>
                    <a:lnTo>
                      <a:pt x="13" y="80"/>
                    </a:lnTo>
                    <a:lnTo>
                      <a:pt x="13" y="81"/>
                    </a:lnTo>
                    <a:lnTo>
                      <a:pt x="10" y="83"/>
                    </a:lnTo>
                    <a:lnTo>
                      <a:pt x="11" y="83"/>
                    </a:lnTo>
                    <a:lnTo>
                      <a:pt x="11" y="85"/>
                    </a:lnTo>
                    <a:lnTo>
                      <a:pt x="15" y="85"/>
                    </a:lnTo>
                    <a:lnTo>
                      <a:pt x="16" y="8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7" name="Freeform 220">
                <a:extLst>
                  <a:ext uri="{FF2B5EF4-FFF2-40B4-BE49-F238E27FC236}">
                    <a16:creationId xmlns:a16="http://schemas.microsoft.com/office/drawing/2014/main" xmlns="" id="{40F282BB-7AD4-42DA-B2DB-10EB49A9C3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6" y="918"/>
                <a:ext cx="138" cy="255"/>
              </a:xfrm>
              <a:custGeom>
                <a:avLst/>
                <a:gdLst>
                  <a:gd name="T0" fmla="*/ 4 w 84"/>
                  <a:gd name="T1" fmla="*/ 89 h 156"/>
                  <a:gd name="T2" fmla="*/ 20 w 84"/>
                  <a:gd name="T3" fmla="*/ 90 h 156"/>
                  <a:gd name="T4" fmla="*/ 18 w 84"/>
                  <a:gd name="T5" fmla="*/ 98 h 156"/>
                  <a:gd name="T6" fmla="*/ 60 w 84"/>
                  <a:gd name="T7" fmla="*/ 0 h 156"/>
                  <a:gd name="T8" fmla="*/ 58 w 84"/>
                  <a:gd name="T9" fmla="*/ 2 h 156"/>
                  <a:gd name="T10" fmla="*/ 56 w 84"/>
                  <a:gd name="T11" fmla="*/ 6 h 156"/>
                  <a:gd name="T12" fmla="*/ 77 w 84"/>
                  <a:gd name="T13" fmla="*/ 135 h 156"/>
                  <a:gd name="T14" fmla="*/ 56 w 84"/>
                  <a:gd name="T15" fmla="*/ 147 h 156"/>
                  <a:gd name="T16" fmla="*/ 10 w 84"/>
                  <a:gd name="T17" fmla="*/ 65 h 156"/>
                  <a:gd name="T18" fmla="*/ 14 w 84"/>
                  <a:gd name="T19" fmla="*/ 58 h 156"/>
                  <a:gd name="T20" fmla="*/ 40 w 84"/>
                  <a:gd name="T21" fmla="*/ 31 h 156"/>
                  <a:gd name="T22" fmla="*/ 39 w 84"/>
                  <a:gd name="T23" fmla="*/ 35 h 156"/>
                  <a:gd name="T24" fmla="*/ 17 w 84"/>
                  <a:gd name="T25" fmla="*/ 41 h 156"/>
                  <a:gd name="T26" fmla="*/ 12 w 84"/>
                  <a:gd name="T27" fmla="*/ 46 h 156"/>
                  <a:gd name="T28" fmla="*/ 7 w 84"/>
                  <a:gd name="T29" fmla="*/ 53 h 156"/>
                  <a:gd name="T30" fmla="*/ 8 w 84"/>
                  <a:gd name="T31" fmla="*/ 55 h 156"/>
                  <a:gd name="T32" fmla="*/ 14 w 84"/>
                  <a:gd name="T33" fmla="*/ 54 h 156"/>
                  <a:gd name="T34" fmla="*/ 17 w 84"/>
                  <a:gd name="T35" fmla="*/ 54 h 156"/>
                  <a:gd name="T36" fmla="*/ 19 w 84"/>
                  <a:gd name="T37" fmla="*/ 66 h 156"/>
                  <a:gd name="T38" fmla="*/ 19 w 84"/>
                  <a:gd name="T39" fmla="*/ 74 h 156"/>
                  <a:gd name="T40" fmla="*/ 24 w 84"/>
                  <a:gd name="T41" fmla="*/ 82 h 156"/>
                  <a:gd name="T42" fmla="*/ 27 w 84"/>
                  <a:gd name="T43" fmla="*/ 100 h 156"/>
                  <a:gd name="T44" fmla="*/ 25 w 84"/>
                  <a:gd name="T45" fmla="*/ 154 h 156"/>
                  <a:gd name="T46" fmla="*/ 37 w 84"/>
                  <a:gd name="T47" fmla="*/ 153 h 156"/>
                  <a:gd name="T48" fmla="*/ 49 w 84"/>
                  <a:gd name="T49" fmla="*/ 147 h 156"/>
                  <a:gd name="T50" fmla="*/ 63 w 84"/>
                  <a:gd name="T51" fmla="*/ 145 h 156"/>
                  <a:gd name="T52" fmla="*/ 78 w 84"/>
                  <a:gd name="T53" fmla="*/ 141 h 156"/>
                  <a:gd name="T54" fmla="*/ 75 w 84"/>
                  <a:gd name="T55" fmla="*/ 135 h 156"/>
                  <a:gd name="T56" fmla="*/ 77 w 84"/>
                  <a:gd name="T57" fmla="*/ 130 h 156"/>
                  <a:gd name="T58" fmla="*/ 83 w 84"/>
                  <a:gd name="T59" fmla="*/ 125 h 156"/>
                  <a:gd name="T60" fmla="*/ 68 w 84"/>
                  <a:gd name="T61" fmla="*/ 115 h 156"/>
                  <a:gd name="T62" fmla="*/ 63 w 84"/>
                  <a:gd name="T63" fmla="*/ 104 h 156"/>
                  <a:gd name="T64" fmla="*/ 65 w 84"/>
                  <a:gd name="T65" fmla="*/ 98 h 156"/>
                  <a:gd name="T66" fmla="*/ 52 w 84"/>
                  <a:gd name="T67" fmla="*/ 78 h 156"/>
                  <a:gd name="T68" fmla="*/ 35 w 84"/>
                  <a:gd name="T69" fmla="*/ 72 h 156"/>
                  <a:gd name="T70" fmla="*/ 39 w 84"/>
                  <a:gd name="T71" fmla="*/ 67 h 156"/>
                  <a:gd name="T72" fmla="*/ 49 w 84"/>
                  <a:gd name="T73" fmla="*/ 54 h 156"/>
                  <a:gd name="T74" fmla="*/ 37 w 84"/>
                  <a:gd name="T75" fmla="*/ 50 h 156"/>
                  <a:gd name="T76" fmla="*/ 33 w 84"/>
                  <a:gd name="T77" fmla="*/ 46 h 156"/>
                  <a:gd name="T78" fmla="*/ 34 w 84"/>
                  <a:gd name="T79" fmla="*/ 38 h 156"/>
                  <a:gd name="T80" fmla="*/ 25 w 84"/>
                  <a:gd name="T81" fmla="*/ 39 h 156"/>
                  <a:gd name="T82" fmla="*/ 22 w 84"/>
                  <a:gd name="T83" fmla="*/ 47 h 156"/>
                  <a:gd name="T84" fmla="*/ 20 w 84"/>
                  <a:gd name="T85" fmla="*/ 52 h 156"/>
                  <a:gd name="T86" fmla="*/ 21 w 84"/>
                  <a:gd name="T87" fmla="*/ 56 h 156"/>
                  <a:gd name="T88" fmla="*/ 19 w 84"/>
                  <a:gd name="T89" fmla="*/ 61 h 156"/>
                  <a:gd name="T90" fmla="*/ 20 w 84"/>
                  <a:gd name="T91" fmla="*/ 66 h 156"/>
                  <a:gd name="T92" fmla="*/ 20 w 84"/>
                  <a:gd name="T93" fmla="*/ 75 h 156"/>
                  <a:gd name="T94" fmla="*/ 23 w 84"/>
                  <a:gd name="T95" fmla="*/ 76 h 156"/>
                  <a:gd name="T96" fmla="*/ 26 w 84"/>
                  <a:gd name="T97" fmla="*/ 71 h 156"/>
                  <a:gd name="T98" fmla="*/ 26 w 84"/>
                  <a:gd name="T99" fmla="*/ 88 h 156"/>
                  <a:gd name="T100" fmla="*/ 35 w 84"/>
                  <a:gd name="T101" fmla="*/ 89 h 156"/>
                  <a:gd name="T102" fmla="*/ 44 w 84"/>
                  <a:gd name="T103" fmla="*/ 98 h 156"/>
                  <a:gd name="T104" fmla="*/ 42 w 84"/>
                  <a:gd name="T105" fmla="*/ 109 h 156"/>
                  <a:gd name="T106" fmla="*/ 27 w 84"/>
                  <a:gd name="T107" fmla="*/ 117 h 156"/>
                  <a:gd name="T108" fmla="*/ 30 w 84"/>
                  <a:gd name="T109" fmla="*/ 126 h 156"/>
                  <a:gd name="T110" fmla="*/ 26 w 84"/>
                  <a:gd name="T111" fmla="*/ 134 h 156"/>
                  <a:gd name="T112" fmla="*/ 37 w 84"/>
                  <a:gd name="T113" fmla="*/ 135 h 156"/>
                  <a:gd name="T114" fmla="*/ 41 w 84"/>
                  <a:gd name="T115" fmla="*/ 140 h 156"/>
                  <a:gd name="T116" fmla="*/ 25 w 84"/>
                  <a:gd name="T117" fmla="*/ 149 h 156"/>
                  <a:gd name="T118" fmla="*/ 23 w 84"/>
                  <a:gd name="T11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156">
                    <a:moveTo>
                      <a:pt x="15" y="101"/>
                    </a:moveTo>
                    <a:cubicBezTo>
                      <a:pt x="13" y="99"/>
                      <a:pt x="13" y="99"/>
                      <a:pt x="13" y="99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10" y="95"/>
                      <a:pt x="10" y="95"/>
                      <a:pt x="10" y="95"/>
                    </a:cubicBezTo>
                    <a:cubicBezTo>
                      <a:pt x="7" y="94"/>
                      <a:pt x="7" y="94"/>
                      <a:pt x="7" y="94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6" y="97"/>
                      <a:pt x="6" y="97"/>
                      <a:pt x="6" y="97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2" y="83"/>
                      <a:pt x="12" y="83"/>
                      <a:pt x="12" y="83"/>
                    </a:cubicBezTo>
                    <a:cubicBezTo>
                      <a:pt x="15" y="84"/>
                      <a:pt x="15" y="84"/>
                      <a:pt x="15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7" y="86"/>
                      <a:pt x="17" y="86"/>
                      <a:pt x="17" y="86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1"/>
                      <a:pt x="18" y="91"/>
                      <a:pt x="18" y="91"/>
                    </a:cubicBezTo>
                    <a:cubicBezTo>
                      <a:pt x="21" y="91"/>
                      <a:pt x="21" y="91"/>
                      <a:pt x="21" y="91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0" y="92"/>
                      <a:pt x="20" y="92"/>
                      <a:pt x="20" y="92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19" y="95"/>
                      <a:pt x="19" y="95"/>
                      <a:pt x="19" y="95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7" y="99"/>
                      <a:pt x="17" y="99"/>
                      <a:pt x="17" y="99"/>
                    </a:cubicBezTo>
                    <a:cubicBezTo>
                      <a:pt x="16" y="99"/>
                      <a:pt x="16" y="99"/>
                      <a:pt x="16" y="99"/>
                    </a:cubicBezTo>
                    <a:cubicBezTo>
                      <a:pt x="16" y="101"/>
                      <a:pt x="16" y="101"/>
                      <a:pt x="16" y="101"/>
                    </a:cubicBezTo>
                    <a:cubicBezTo>
                      <a:pt x="15" y="101"/>
                      <a:pt x="15" y="101"/>
                      <a:pt x="15" y="101"/>
                    </a:cubicBezTo>
                    <a:close/>
                    <a:moveTo>
                      <a:pt x="56" y="14"/>
                    </a:move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6" y="14"/>
                      <a:pt x="56" y="14"/>
                      <a:pt x="56" y="14"/>
                    </a:cubicBezTo>
                    <a:close/>
                    <a:moveTo>
                      <a:pt x="60" y="2"/>
                    </a:moveTo>
                    <a:cubicBezTo>
                      <a:pt x="59" y="1"/>
                      <a:pt x="59" y="1"/>
                      <a:pt x="59" y="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2"/>
                      <a:pt x="60" y="2"/>
                      <a:pt x="60" y="2"/>
                    </a:cubicBezTo>
                    <a:close/>
                    <a:moveTo>
                      <a:pt x="56" y="7"/>
                    </a:move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6" y="7"/>
                      <a:pt x="56" y="7"/>
                    </a:cubicBezTo>
                    <a:close/>
                    <a:moveTo>
                      <a:pt x="58" y="5"/>
                    </a:moveTo>
                    <a:cubicBezTo>
                      <a:pt x="57" y="4"/>
                      <a:pt x="57" y="4"/>
                      <a:pt x="57" y="4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58" y="5"/>
                      <a:pt x="58" y="5"/>
                      <a:pt x="58" y="5"/>
                    </a:cubicBezTo>
                    <a:close/>
                    <a:moveTo>
                      <a:pt x="57" y="11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8" y="9"/>
                      <a:pt x="58" y="9"/>
                      <a:pt x="58" y="9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7" y="11"/>
                      <a:pt x="57" y="11"/>
                      <a:pt x="57" y="11"/>
                    </a:cubicBezTo>
                    <a:close/>
                    <a:moveTo>
                      <a:pt x="76" y="135"/>
                    </a:moveTo>
                    <a:cubicBezTo>
                      <a:pt x="77" y="136"/>
                      <a:pt x="77" y="136"/>
                      <a:pt x="77" y="136"/>
                    </a:cubicBezTo>
                    <a:cubicBezTo>
                      <a:pt x="78" y="136"/>
                      <a:pt x="78" y="136"/>
                      <a:pt x="78" y="136"/>
                    </a:cubicBezTo>
                    <a:cubicBezTo>
                      <a:pt x="77" y="135"/>
                      <a:pt x="77" y="135"/>
                      <a:pt x="77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6" y="135"/>
                      <a:pt x="76" y="135"/>
                      <a:pt x="76" y="135"/>
                    </a:cubicBezTo>
                    <a:close/>
                    <a:moveTo>
                      <a:pt x="56" y="147"/>
                    </a:moveTo>
                    <a:cubicBezTo>
                      <a:pt x="58" y="145"/>
                      <a:pt x="58" y="145"/>
                      <a:pt x="58" y="145"/>
                    </a:cubicBezTo>
                    <a:cubicBezTo>
                      <a:pt x="59" y="146"/>
                      <a:pt x="59" y="146"/>
                      <a:pt x="59" y="146"/>
                    </a:cubicBezTo>
                    <a:cubicBezTo>
                      <a:pt x="60" y="146"/>
                      <a:pt x="60" y="146"/>
                      <a:pt x="60" y="146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58" y="148"/>
                      <a:pt x="58" y="148"/>
                      <a:pt x="58" y="148"/>
                    </a:cubicBezTo>
                    <a:cubicBezTo>
                      <a:pt x="57" y="147"/>
                      <a:pt x="57" y="147"/>
                      <a:pt x="57" y="147"/>
                    </a:cubicBezTo>
                    <a:cubicBezTo>
                      <a:pt x="56" y="147"/>
                      <a:pt x="56" y="147"/>
                      <a:pt x="56" y="147"/>
                    </a:cubicBezTo>
                    <a:close/>
                    <a:moveTo>
                      <a:pt x="24" y="75"/>
                    </a:moveTo>
                    <a:cubicBezTo>
                      <a:pt x="24" y="76"/>
                      <a:pt x="24" y="76"/>
                      <a:pt x="24" y="76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4" y="75"/>
                      <a:pt x="24" y="75"/>
                      <a:pt x="24" y="75"/>
                    </a:cubicBezTo>
                    <a:close/>
                    <a:moveTo>
                      <a:pt x="15" y="73"/>
                    </a:move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5" y="73"/>
                      <a:pt x="15" y="73"/>
                      <a:pt x="15" y="73"/>
                    </a:cubicBezTo>
                    <a:close/>
                    <a:moveTo>
                      <a:pt x="10" y="67"/>
                    </a:moveTo>
                    <a:cubicBezTo>
                      <a:pt x="10" y="65"/>
                      <a:pt x="10" y="65"/>
                      <a:pt x="10" y="65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0" y="67"/>
                      <a:pt x="10" y="67"/>
                      <a:pt x="10" y="67"/>
                    </a:cubicBezTo>
                    <a:close/>
                    <a:moveTo>
                      <a:pt x="12" y="65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2" y="65"/>
                      <a:pt x="12" y="65"/>
                      <a:pt x="12" y="65"/>
                    </a:cubicBezTo>
                    <a:close/>
                    <a:moveTo>
                      <a:pt x="16" y="61"/>
                    </a:moveTo>
                    <a:cubicBezTo>
                      <a:pt x="17" y="60"/>
                      <a:pt x="17" y="60"/>
                      <a:pt x="17" y="60"/>
                    </a:cubicBezTo>
                    <a:cubicBezTo>
                      <a:pt x="16" y="60"/>
                      <a:pt x="16" y="60"/>
                      <a:pt x="16" y="60"/>
                    </a:cubicBezTo>
                    <a:cubicBezTo>
                      <a:pt x="16" y="61"/>
                      <a:pt x="16" y="61"/>
                      <a:pt x="16" y="61"/>
                    </a:cubicBezTo>
                    <a:close/>
                    <a:moveTo>
                      <a:pt x="14" y="58"/>
                    </a:moveTo>
                    <a:cubicBezTo>
                      <a:pt x="15" y="60"/>
                      <a:pt x="15" y="60"/>
                      <a:pt x="15" y="60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4" y="58"/>
                      <a:pt x="14" y="58"/>
                      <a:pt x="14" y="58"/>
                    </a:cubicBezTo>
                    <a:close/>
                    <a:moveTo>
                      <a:pt x="40" y="29"/>
                    </a:move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lose/>
                    <a:moveTo>
                      <a:pt x="38" y="30"/>
                    </a:moveTo>
                    <a:cubicBezTo>
                      <a:pt x="39" y="30"/>
                      <a:pt x="39" y="30"/>
                      <a:pt x="39" y="3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42" y="31"/>
                      <a:pt x="42" y="31"/>
                      <a:pt x="42" y="31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30"/>
                      <a:pt x="38" y="30"/>
                      <a:pt x="38" y="30"/>
                    </a:cubicBezTo>
                    <a:close/>
                    <a:moveTo>
                      <a:pt x="37" y="33"/>
                    </a:move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lose/>
                    <a:moveTo>
                      <a:pt x="10" y="45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7" y="41"/>
                      <a:pt x="17" y="41"/>
                      <a:pt x="17" y="41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0" y="45"/>
                      <a:pt x="10" y="45"/>
                      <a:pt x="10" y="45"/>
                    </a:cubicBezTo>
                    <a:close/>
                    <a:moveTo>
                      <a:pt x="10" y="48"/>
                    </a:moveTo>
                    <a:cubicBezTo>
                      <a:pt x="11" y="49"/>
                      <a:pt x="11" y="49"/>
                      <a:pt x="11" y="49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8"/>
                      <a:pt x="10" y="48"/>
                      <a:pt x="10" y="48"/>
                    </a:cubicBezTo>
                    <a:close/>
                    <a:moveTo>
                      <a:pt x="9" y="51"/>
                    </a:moveTo>
                    <a:cubicBezTo>
                      <a:pt x="8" y="51"/>
                      <a:pt x="8" y="51"/>
                      <a:pt x="8" y="51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9" y="51"/>
                      <a:pt x="9" y="51"/>
                      <a:pt x="9" y="51"/>
                    </a:cubicBezTo>
                    <a:close/>
                    <a:moveTo>
                      <a:pt x="8" y="53"/>
                    </a:moveTo>
                    <a:cubicBezTo>
                      <a:pt x="7" y="53"/>
                      <a:pt x="7" y="53"/>
                      <a:pt x="7" y="53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8" y="53"/>
                      <a:pt x="8" y="53"/>
                      <a:pt x="8" y="53"/>
                    </a:cubicBezTo>
                    <a:close/>
                    <a:moveTo>
                      <a:pt x="7" y="58"/>
                    </a:moveTo>
                    <a:cubicBezTo>
                      <a:pt x="7" y="59"/>
                      <a:pt x="7" y="59"/>
                      <a:pt x="7" y="59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7" y="58"/>
                      <a:pt x="7" y="58"/>
                      <a:pt x="7" y="58"/>
                    </a:cubicBezTo>
                    <a:close/>
                    <a:moveTo>
                      <a:pt x="8" y="57"/>
                    </a:moveTo>
                    <a:cubicBezTo>
                      <a:pt x="8" y="56"/>
                      <a:pt x="8" y="56"/>
                      <a:pt x="8" y="56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8" y="57"/>
                      <a:pt x="8" y="57"/>
                      <a:pt x="8" y="57"/>
                    </a:cubicBezTo>
                    <a:close/>
                    <a:moveTo>
                      <a:pt x="18" y="58"/>
                    </a:moveTo>
                    <a:cubicBezTo>
                      <a:pt x="18" y="56"/>
                      <a:pt x="18" y="56"/>
                      <a:pt x="18" y="56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7" y="51"/>
                      <a:pt x="17" y="51"/>
                      <a:pt x="17" y="51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8" y="58"/>
                      <a:pt x="18" y="58"/>
                      <a:pt x="18" y="58"/>
                    </a:cubicBezTo>
                    <a:close/>
                    <a:moveTo>
                      <a:pt x="15" y="69"/>
                    </a:move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7" y="66"/>
                      <a:pt x="17" y="66"/>
                      <a:pt x="17" y="66"/>
                    </a:cubicBezTo>
                    <a:cubicBezTo>
                      <a:pt x="16" y="67"/>
                      <a:pt x="16" y="67"/>
                      <a:pt x="16" y="67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5" y="69"/>
                      <a:pt x="15" y="69"/>
                      <a:pt x="15" y="69"/>
                    </a:cubicBezTo>
                    <a:close/>
                    <a:moveTo>
                      <a:pt x="17" y="76"/>
                    </a:moveTo>
                    <a:cubicBezTo>
                      <a:pt x="17" y="74"/>
                      <a:pt x="17" y="74"/>
                      <a:pt x="17" y="74"/>
                    </a:cubicBezTo>
                    <a:cubicBezTo>
                      <a:pt x="20" y="71"/>
                      <a:pt x="20" y="71"/>
                      <a:pt x="20" y="71"/>
                    </a:cubicBezTo>
                    <a:cubicBezTo>
                      <a:pt x="19" y="74"/>
                      <a:pt x="19" y="74"/>
                      <a:pt x="19" y="74"/>
                    </a:cubicBezTo>
                    <a:cubicBezTo>
                      <a:pt x="17" y="76"/>
                      <a:pt x="17" y="76"/>
                      <a:pt x="17" y="76"/>
                    </a:cubicBezTo>
                    <a:close/>
                    <a:moveTo>
                      <a:pt x="15" y="78"/>
                    </a:moveTo>
                    <a:cubicBezTo>
                      <a:pt x="17" y="77"/>
                      <a:pt x="17" y="77"/>
                      <a:pt x="17" y="77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8"/>
                      <a:pt x="15" y="78"/>
                      <a:pt x="15" y="78"/>
                    </a:cubicBezTo>
                    <a:close/>
                    <a:moveTo>
                      <a:pt x="22" y="78"/>
                    </a:moveTo>
                    <a:cubicBezTo>
                      <a:pt x="23" y="81"/>
                      <a:pt x="23" y="81"/>
                      <a:pt x="23" y="81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4" y="77"/>
                      <a:pt x="24" y="77"/>
                      <a:pt x="24" y="77"/>
                    </a:cubicBezTo>
                    <a:cubicBezTo>
                      <a:pt x="22" y="78"/>
                      <a:pt x="22" y="78"/>
                      <a:pt x="22" y="78"/>
                    </a:cubicBezTo>
                    <a:close/>
                    <a:moveTo>
                      <a:pt x="29" y="111"/>
                    </a:moveTo>
                    <a:cubicBezTo>
                      <a:pt x="31" y="112"/>
                      <a:pt x="31" y="112"/>
                      <a:pt x="31" y="112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0"/>
                      <a:pt x="32" y="110"/>
                      <a:pt x="32" y="110"/>
                    </a:cubicBezTo>
                    <a:cubicBezTo>
                      <a:pt x="31" y="109"/>
                      <a:pt x="31" y="109"/>
                      <a:pt x="31" y="109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9" y="109"/>
                      <a:pt x="28" y="110"/>
                      <a:pt x="29" y="111"/>
                    </a:cubicBezTo>
                    <a:close/>
                    <a:moveTo>
                      <a:pt x="27" y="100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1" y="95"/>
                      <a:pt x="31" y="95"/>
                      <a:pt x="31" y="95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28" y="100"/>
                      <a:pt x="28" y="100"/>
                      <a:pt x="28" y="100"/>
                    </a:cubicBezTo>
                    <a:cubicBezTo>
                      <a:pt x="27" y="100"/>
                      <a:pt x="27" y="100"/>
                      <a:pt x="27" y="100"/>
                    </a:cubicBezTo>
                    <a:close/>
                    <a:moveTo>
                      <a:pt x="23" y="156"/>
                    </a:moveTo>
                    <a:cubicBezTo>
                      <a:pt x="24" y="155"/>
                      <a:pt x="24" y="155"/>
                      <a:pt x="24" y="155"/>
                    </a:cubicBezTo>
                    <a:cubicBezTo>
                      <a:pt x="24" y="155"/>
                      <a:pt x="24" y="155"/>
                      <a:pt x="24" y="155"/>
                    </a:cubicBezTo>
                    <a:cubicBezTo>
                      <a:pt x="25" y="153"/>
                      <a:pt x="25" y="153"/>
                      <a:pt x="25" y="153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6" y="153"/>
                      <a:pt x="26" y="153"/>
                      <a:pt x="26" y="153"/>
                    </a:cubicBezTo>
                    <a:cubicBezTo>
                      <a:pt x="27" y="153"/>
                      <a:pt x="27" y="153"/>
                      <a:pt x="27" y="153"/>
                    </a:cubicBezTo>
                    <a:cubicBezTo>
                      <a:pt x="28" y="151"/>
                      <a:pt x="28" y="151"/>
                      <a:pt x="28" y="151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31" y="151"/>
                      <a:pt x="31" y="151"/>
                      <a:pt x="31" y="151"/>
                    </a:cubicBezTo>
                    <a:cubicBezTo>
                      <a:pt x="32" y="151"/>
                      <a:pt x="32" y="151"/>
                      <a:pt x="32" y="151"/>
                    </a:cubicBezTo>
                    <a:cubicBezTo>
                      <a:pt x="33" y="151"/>
                      <a:pt x="33" y="151"/>
                      <a:pt x="33" y="151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6" y="153"/>
                      <a:pt x="36" y="153"/>
                      <a:pt x="36" y="153"/>
                    </a:cubicBezTo>
                    <a:cubicBezTo>
                      <a:pt x="37" y="153"/>
                      <a:pt x="37" y="153"/>
                      <a:pt x="37" y="153"/>
                    </a:cubicBezTo>
                    <a:cubicBezTo>
                      <a:pt x="37" y="152"/>
                      <a:pt x="37" y="152"/>
                      <a:pt x="37" y="152"/>
                    </a:cubicBezTo>
                    <a:cubicBezTo>
                      <a:pt x="38" y="151"/>
                      <a:pt x="38" y="151"/>
                      <a:pt x="38" y="151"/>
                    </a:cubicBezTo>
                    <a:cubicBezTo>
                      <a:pt x="39" y="150"/>
                      <a:pt x="39" y="150"/>
                      <a:pt x="39" y="150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9" y="148"/>
                      <a:pt x="39" y="148"/>
                      <a:pt x="39" y="148"/>
                    </a:cubicBezTo>
                    <a:cubicBezTo>
                      <a:pt x="40" y="148"/>
                      <a:pt x="40" y="148"/>
                      <a:pt x="40" y="148"/>
                    </a:cubicBezTo>
                    <a:cubicBezTo>
                      <a:pt x="41" y="147"/>
                      <a:pt x="41" y="147"/>
                      <a:pt x="41" y="147"/>
                    </a:cubicBezTo>
                    <a:cubicBezTo>
                      <a:pt x="44" y="146"/>
                      <a:pt x="44" y="146"/>
                      <a:pt x="44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8" y="148"/>
                      <a:pt x="48" y="148"/>
                      <a:pt x="48" y="148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1" y="147"/>
                      <a:pt x="51" y="147"/>
                      <a:pt x="51" y="147"/>
                    </a:cubicBezTo>
                    <a:cubicBezTo>
                      <a:pt x="52" y="148"/>
                      <a:pt x="52" y="148"/>
                      <a:pt x="52" y="148"/>
                    </a:cubicBezTo>
                    <a:cubicBezTo>
                      <a:pt x="53" y="146"/>
                      <a:pt x="53" y="146"/>
                      <a:pt x="53" y="146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6" y="146"/>
                      <a:pt x="56" y="146"/>
                      <a:pt x="56" y="146"/>
                    </a:cubicBezTo>
                    <a:cubicBezTo>
                      <a:pt x="58" y="144"/>
                      <a:pt x="58" y="144"/>
                      <a:pt x="58" y="144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61" y="144"/>
                      <a:pt x="61" y="144"/>
                      <a:pt x="61" y="144"/>
                    </a:cubicBezTo>
                    <a:cubicBezTo>
                      <a:pt x="62" y="145"/>
                      <a:pt x="62" y="145"/>
                      <a:pt x="62" y="145"/>
                    </a:cubicBezTo>
                    <a:cubicBezTo>
                      <a:pt x="63" y="145"/>
                      <a:pt x="63" y="145"/>
                      <a:pt x="63" y="145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9" y="144"/>
                      <a:pt x="69" y="144"/>
                      <a:pt x="69" y="144"/>
                    </a:cubicBezTo>
                    <a:cubicBezTo>
                      <a:pt x="71" y="144"/>
                      <a:pt x="71" y="144"/>
                      <a:pt x="71" y="144"/>
                    </a:cubicBezTo>
                    <a:cubicBezTo>
                      <a:pt x="72" y="145"/>
                      <a:pt x="72" y="145"/>
                      <a:pt x="72" y="145"/>
                    </a:cubicBezTo>
                    <a:cubicBezTo>
                      <a:pt x="74" y="143"/>
                      <a:pt x="74" y="143"/>
                      <a:pt x="74" y="143"/>
                    </a:cubicBezTo>
                    <a:cubicBezTo>
                      <a:pt x="75" y="143"/>
                      <a:pt x="75" y="143"/>
                      <a:pt x="75" y="143"/>
                    </a:cubicBezTo>
                    <a:cubicBezTo>
                      <a:pt x="77" y="142"/>
                      <a:pt x="77" y="142"/>
                      <a:pt x="77" y="142"/>
                    </a:cubicBezTo>
                    <a:cubicBezTo>
                      <a:pt x="78" y="142"/>
                      <a:pt x="78" y="142"/>
                      <a:pt x="78" y="142"/>
                    </a:cubicBezTo>
                    <a:cubicBezTo>
                      <a:pt x="79" y="142"/>
                      <a:pt x="79" y="142"/>
                      <a:pt x="79" y="142"/>
                    </a:cubicBezTo>
                    <a:cubicBezTo>
                      <a:pt x="78" y="141"/>
                      <a:pt x="78" y="141"/>
                      <a:pt x="78" y="141"/>
                    </a:cubicBezTo>
                    <a:cubicBezTo>
                      <a:pt x="81" y="139"/>
                      <a:pt x="81" y="139"/>
                      <a:pt x="81" y="139"/>
                    </a:cubicBezTo>
                    <a:cubicBezTo>
                      <a:pt x="82" y="139"/>
                      <a:pt x="82" y="139"/>
                      <a:pt x="82" y="139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82" y="137"/>
                      <a:pt x="82" y="137"/>
                      <a:pt x="82" y="137"/>
                    </a:cubicBezTo>
                    <a:cubicBezTo>
                      <a:pt x="82" y="135"/>
                      <a:pt x="82" y="135"/>
                      <a:pt x="82" y="135"/>
                    </a:cubicBezTo>
                    <a:cubicBezTo>
                      <a:pt x="80" y="135"/>
                      <a:pt x="80" y="135"/>
                      <a:pt x="80" y="135"/>
                    </a:cubicBezTo>
                    <a:cubicBezTo>
                      <a:pt x="78" y="136"/>
                      <a:pt x="78" y="136"/>
                      <a:pt x="78" y="136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75" y="136"/>
                      <a:pt x="75" y="136"/>
                      <a:pt x="75" y="136"/>
                    </a:cubicBezTo>
                    <a:cubicBezTo>
                      <a:pt x="74" y="136"/>
                      <a:pt x="74" y="136"/>
                      <a:pt x="74" y="136"/>
                    </a:cubicBezTo>
                    <a:cubicBezTo>
                      <a:pt x="75" y="135"/>
                      <a:pt x="75" y="135"/>
                      <a:pt x="75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4" y="134"/>
                      <a:pt x="74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5" y="133"/>
                      <a:pt x="75" y="133"/>
                      <a:pt x="75" y="133"/>
                    </a:cubicBezTo>
                    <a:cubicBezTo>
                      <a:pt x="76" y="133"/>
                      <a:pt x="76" y="133"/>
                      <a:pt x="76" y="133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7" y="131"/>
                      <a:pt x="77" y="131"/>
                      <a:pt x="77" y="131"/>
                    </a:cubicBezTo>
                    <a:cubicBezTo>
                      <a:pt x="76" y="131"/>
                      <a:pt x="76" y="131"/>
                      <a:pt x="76" y="131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78" y="130"/>
                      <a:pt x="78" y="130"/>
                      <a:pt x="78" y="130"/>
                    </a:cubicBezTo>
                    <a:cubicBezTo>
                      <a:pt x="80" y="129"/>
                      <a:pt x="80" y="129"/>
                      <a:pt x="80" y="129"/>
                    </a:cubicBezTo>
                    <a:cubicBezTo>
                      <a:pt x="80" y="129"/>
                      <a:pt x="80" y="129"/>
                      <a:pt x="80" y="129"/>
                    </a:cubicBezTo>
                    <a:cubicBezTo>
                      <a:pt x="80" y="128"/>
                      <a:pt x="80" y="128"/>
                      <a:pt x="80" y="128"/>
                    </a:cubicBezTo>
                    <a:cubicBezTo>
                      <a:pt x="80" y="128"/>
                      <a:pt x="80" y="128"/>
                      <a:pt x="80" y="128"/>
                    </a:cubicBezTo>
                    <a:cubicBezTo>
                      <a:pt x="78" y="128"/>
                      <a:pt x="78" y="128"/>
                      <a:pt x="78" y="128"/>
                    </a:cubicBezTo>
                    <a:cubicBezTo>
                      <a:pt x="79" y="126"/>
                      <a:pt x="79" y="126"/>
                      <a:pt x="79" y="126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1" y="126"/>
                      <a:pt x="81" y="126"/>
                      <a:pt x="81" y="126"/>
                    </a:cubicBezTo>
                    <a:cubicBezTo>
                      <a:pt x="83" y="125"/>
                      <a:pt x="83" y="125"/>
                      <a:pt x="83" y="125"/>
                    </a:cubicBezTo>
                    <a:cubicBezTo>
                      <a:pt x="83" y="123"/>
                      <a:pt x="83" y="123"/>
                      <a:pt x="83" y="123"/>
                    </a:cubicBezTo>
                    <a:cubicBezTo>
                      <a:pt x="84" y="120"/>
                      <a:pt x="84" y="120"/>
                      <a:pt x="84" y="120"/>
                    </a:cubicBezTo>
                    <a:cubicBezTo>
                      <a:pt x="83" y="119"/>
                      <a:pt x="83" y="119"/>
                      <a:pt x="83" y="119"/>
                    </a:cubicBezTo>
                    <a:cubicBezTo>
                      <a:pt x="83" y="116"/>
                      <a:pt x="83" y="116"/>
                      <a:pt x="83" y="116"/>
                    </a:cubicBezTo>
                    <a:cubicBezTo>
                      <a:pt x="79" y="114"/>
                      <a:pt x="79" y="114"/>
                      <a:pt x="79" y="114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6"/>
                      <a:pt x="72" y="116"/>
                      <a:pt x="72" y="116"/>
                    </a:cubicBezTo>
                    <a:cubicBezTo>
                      <a:pt x="71" y="117"/>
                      <a:pt x="71" y="117"/>
                      <a:pt x="71" y="117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68" y="115"/>
                      <a:pt x="68" y="115"/>
                      <a:pt x="68" y="115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110"/>
                      <a:pt x="71" y="110"/>
                      <a:pt x="71" y="110"/>
                    </a:cubicBezTo>
                    <a:cubicBezTo>
                      <a:pt x="68" y="107"/>
                      <a:pt x="68" y="107"/>
                      <a:pt x="68" y="107"/>
                    </a:cubicBezTo>
                    <a:cubicBezTo>
                      <a:pt x="68" y="107"/>
                      <a:pt x="68" y="107"/>
                      <a:pt x="68" y="107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4" y="104"/>
                      <a:pt x="64" y="104"/>
                      <a:pt x="64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61" y="104"/>
                      <a:pt x="61" y="104"/>
                      <a:pt x="61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7" y="105"/>
                      <a:pt x="67" y="105"/>
                      <a:pt x="67" y="105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5" y="100"/>
                      <a:pt x="65" y="100"/>
                      <a:pt x="65" y="100"/>
                    </a:cubicBezTo>
                    <a:cubicBezTo>
                      <a:pt x="65" y="99"/>
                      <a:pt x="65" y="99"/>
                      <a:pt x="65" y="99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ubicBezTo>
                      <a:pt x="62" y="94"/>
                      <a:pt x="62" y="94"/>
                      <a:pt x="62" y="94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57" y="92"/>
                      <a:pt x="57" y="92"/>
                      <a:pt x="57" y="92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6" y="90"/>
                      <a:pt x="56" y="90"/>
                      <a:pt x="56" y="90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4" y="85"/>
                      <a:pt x="54" y="85"/>
                      <a:pt x="54" y="85"/>
                    </a:cubicBezTo>
                    <a:cubicBezTo>
                      <a:pt x="53" y="80"/>
                      <a:pt x="53" y="80"/>
                      <a:pt x="53" y="80"/>
                    </a:cubicBezTo>
                    <a:cubicBezTo>
                      <a:pt x="52" y="78"/>
                      <a:pt x="52" y="78"/>
                      <a:pt x="52" y="78"/>
                    </a:cubicBezTo>
                    <a:cubicBezTo>
                      <a:pt x="51" y="78"/>
                      <a:pt x="51" y="78"/>
                      <a:pt x="51" y="78"/>
                    </a:cubicBezTo>
                    <a:cubicBezTo>
                      <a:pt x="48" y="74"/>
                      <a:pt x="48" y="74"/>
                      <a:pt x="48" y="74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3" y="73"/>
                      <a:pt x="43" y="73"/>
                      <a:pt x="43" y="73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39" y="73"/>
                      <a:pt x="39" y="73"/>
                      <a:pt x="39" y="73"/>
                    </a:cubicBezTo>
                    <a:cubicBezTo>
                      <a:pt x="38" y="73"/>
                      <a:pt x="38" y="73"/>
                      <a:pt x="38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7" y="61"/>
                      <a:pt x="47" y="61"/>
                      <a:pt x="47" y="6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7" y="59"/>
                      <a:pt x="47" y="59"/>
                      <a:pt x="47" y="59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9" y="54"/>
                      <a:pt x="49" y="54"/>
                      <a:pt x="49" y="54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40" y="37"/>
                      <a:pt x="40" y="37"/>
                      <a:pt x="40" y="37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6" y="37"/>
                      <a:pt x="36" y="37"/>
                      <a:pt x="36" y="37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8" y="39"/>
                      <a:pt x="28" y="39"/>
                      <a:pt x="28" y="39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4" y="43"/>
                      <a:pt x="24" y="43"/>
                    </a:cubicBezTo>
                    <a:cubicBezTo>
                      <a:pt x="23" y="45"/>
                      <a:pt x="23" y="45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23" y="47"/>
                      <a:pt x="23" y="47"/>
                      <a:pt x="23" y="47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2" y="52"/>
                      <a:pt x="22" y="52"/>
                      <a:pt x="22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5"/>
                      <a:pt x="21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19" y="59"/>
                      <a:pt x="19" y="59"/>
                      <a:pt x="19" y="59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20" y="61"/>
                      <a:pt x="20" y="61"/>
                      <a:pt x="20" y="61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20" y="65"/>
                      <a:pt x="20" y="65"/>
                      <a:pt x="20" y="65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3" y="64"/>
                      <a:pt x="23" y="64"/>
                      <a:pt x="23" y="64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1" y="74"/>
                      <a:pt x="21" y="74"/>
                      <a:pt x="21" y="74"/>
                    </a:cubicBezTo>
                    <a:cubicBezTo>
                      <a:pt x="20" y="75"/>
                      <a:pt x="20" y="75"/>
                      <a:pt x="20" y="75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1" y="77"/>
                      <a:pt x="21" y="77"/>
                      <a:pt x="21" y="77"/>
                    </a:cubicBezTo>
                    <a:cubicBezTo>
                      <a:pt x="23" y="76"/>
                      <a:pt x="23" y="76"/>
                      <a:pt x="23" y="76"/>
                    </a:cubicBezTo>
                    <a:cubicBezTo>
                      <a:pt x="22" y="72"/>
                      <a:pt x="22" y="72"/>
                      <a:pt x="22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7" y="72"/>
                      <a:pt x="27" y="72"/>
                      <a:pt x="27" y="72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27" y="78"/>
                      <a:pt x="27" y="78"/>
                      <a:pt x="27" y="78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4" y="87"/>
                      <a:pt x="24" y="87"/>
                      <a:pt x="24" y="87"/>
                    </a:cubicBezTo>
                    <a:cubicBezTo>
                      <a:pt x="24" y="89"/>
                      <a:pt x="24" y="89"/>
                      <a:pt x="24" y="89"/>
                    </a:cubicBezTo>
                    <a:cubicBezTo>
                      <a:pt x="26" y="92"/>
                      <a:pt x="26" y="92"/>
                      <a:pt x="26" y="92"/>
                    </a:cubicBezTo>
                    <a:cubicBezTo>
                      <a:pt x="26" y="89"/>
                      <a:pt x="26" y="89"/>
                      <a:pt x="26" y="89"/>
                    </a:cubicBezTo>
                    <a:cubicBezTo>
                      <a:pt x="27" y="89"/>
                      <a:pt x="27" y="89"/>
                      <a:pt x="27" y="89"/>
                    </a:cubicBezTo>
                    <a:cubicBezTo>
                      <a:pt x="30" y="91"/>
                      <a:pt x="30" y="91"/>
                      <a:pt x="30" y="91"/>
                    </a:cubicBezTo>
                    <a:cubicBezTo>
                      <a:pt x="30" y="89"/>
                      <a:pt x="30" y="89"/>
                      <a:pt x="30" y="89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6" y="89"/>
                      <a:pt x="36" y="89"/>
                      <a:pt x="36" y="89"/>
                    </a:cubicBezTo>
                    <a:cubicBezTo>
                      <a:pt x="37" y="87"/>
                      <a:pt x="37" y="87"/>
                      <a:pt x="37" y="87"/>
                    </a:cubicBezTo>
                    <a:cubicBezTo>
                      <a:pt x="42" y="87"/>
                      <a:pt x="42" y="87"/>
                      <a:pt x="42" y="87"/>
                    </a:cubicBezTo>
                    <a:cubicBezTo>
                      <a:pt x="38" y="88"/>
                      <a:pt x="38" y="88"/>
                      <a:pt x="38" y="88"/>
                    </a:cubicBezTo>
                    <a:cubicBezTo>
                      <a:pt x="37" y="94"/>
                      <a:pt x="37" y="94"/>
                      <a:pt x="37" y="94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40" y="97"/>
                      <a:pt x="40" y="97"/>
                      <a:pt x="40" y="97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4" y="98"/>
                      <a:pt x="44" y="98"/>
                      <a:pt x="44" y="98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2" y="105"/>
                      <a:pt x="42" y="105"/>
                      <a:pt x="42" y="105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08"/>
                      <a:pt x="42" y="108"/>
                      <a:pt x="42" y="108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5" y="110"/>
                      <a:pt x="45" y="110"/>
                      <a:pt x="45" y="110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2" y="109"/>
                      <a:pt x="42" y="109"/>
                      <a:pt x="42" y="109"/>
                    </a:cubicBezTo>
                    <a:cubicBezTo>
                      <a:pt x="41" y="109"/>
                      <a:pt x="41" y="109"/>
                      <a:pt x="41" y="109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2" y="111"/>
                      <a:pt x="42" y="111"/>
                      <a:pt x="42" y="111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0" y="110"/>
                      <a:pt x="40" y="110"/>
                      <a:pt x="40" y="110"/>
                    </a:cubicBezTo>
                    <a:cubicBezTo>
                      <a:pt x="37" y="111"/>
                      <a:pt x="37" y="111"/>
                      <a:pt x="37" y="111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2" y="112"/>
                      <a:pt x="32" y="112"/>
                      <a:pt x="32" y="112"/>
                    </a:cubicBezTo>
                    <a:cubicBezTo>
                      <a:pt x="30" y="115"/>
                      <a:pt x="30" y="115"/>
                      <a:pt x="30" y="115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7" y="117"/>
                      <a:pt x="27" y="117"/>
                      <a:pt x="27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3" y="116"/>
                      <a:pt x="33" y="116"/>
                      <a:pt x="33" y="116"/>
                    </a:cubicBezTo>
                    <a:cubicBezTo>
                      <a:pt x="33" y="117"/>
                      <a:pt x="33" y="117"/>
                      <a:pt x="33" y="117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2" y="125"/>
                      <a:pt x="32" y="125"/>
                      <a:pt x="32" y="125"/>
                    </a:cubicBezTo>
                    <a:cubicBezTo>
                      <a:pt x="30" y="126"/>
                      <a:pt x="30" y="126"/>
                      <a:pt x="30" y="126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8" y="127"/>
                      <a:pt x="28" y="127"/>
                      <a:pt x="28" y="127"/>
                    </a:cubicBezTo>
                    <a:cubicBezTo>
                      <a:pt x="26" y="128"/>
                      <a:pt x="26" y="128"/>
                      <a:pt x="26" y="128"/>
                    </a:cubicBezTo>
                    <a:cubicBezTo>
                      <a:pt x="25" y="128"/>
                      <a:pt x="25" y="128"/>
                      <a:pt x="25" y="128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4" y="130"/>
                      <a:pt x="24" y="130"/>
                      <a:pt x="24" y="130"/>
                    </a:cubicBezTo>
                    <a:cubicBezTo>
                      <a:pt x="24" y="131"/>
                      <a:pt x="24" y="131"/>
                      <a:pt x="24" y="131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6" y="134"/>
                      <a:pt x="26" y="134"/>
                      <a:pt x="26" y="134"/>
                    </a:cubicBezTo>
                    <a:cubicBezTo>
                      <a:pt x="27" y="133"/>
                      <a:pt x="27" y="133"/>
                      <a:pt x="27" y="133"/>
                    </a:cubicBezTo>
                    <a:cubicBezTo>
                      <a:pt x="28" y="132"/>
                      <a:pt x="28" y="132"/>
                      <a:pt x="28" y="132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3" y="133"/>
                      <a:pt x="33" y="133"/>
                      <a:pt x="33" y="133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4" y="135"/>
                      <a:pt x="34" y="135"/>
                      <a:pt x="34" y="135"/>
                    </a:cubicBezTo>
                    <a:cubicBezTo>
                      <a:pt x="34" y="134"/>
                      <a:pt x="34" y="134"/>
                      <a:pt x="34" y="134"/>
                    </a:cubicBezTo>
                    <a:cubicBezTo>
                      <a:pt x="35" y="134"/>
                      <a:pt x="35" y="134"/>
                      <a:pt x="35" y="134"/>
                    </a:cubicBezTo>
                    <a:cubicBezTo>
                      <a:pt x="37" y="135"/>
                      <a:pt x="37" y="135"/>
                      <a:pt x="37" y="135"/>
                    </a:cubicBezTo>
                    <a:cubicBezTo>
                      <a:pt x="38" y="137"/>
                      <a:pt x="38" y="137"/>
                      <a:pt x="38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2" y="135"/>
                      <a:pt x="42" y="135"/>
                      <a:pt x="42" y="135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46" y="133"/>
                      <a:pt x="46" y="133"/>
                      <a:pt x="46" y="133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43" y="137"/>
                      <a:pt x="43" y="137"/>
                      <a:pt x="43" y="137"/>
                    </a:cubicBezTo>
                    <a:cubicBezTo>
                      <a:pt x="43" y="140"/>
                      <a:pt x="43" y="140"/>
                      <a:pt x="43" y="140"/>
                    </a:cubicBezTo>
                    <a:cubicBezTo>
                      <a:pt x="41" y="140"/>
                      <a:pt x="41" y="140"/>
                      <a:pt x="41" y="140"/>
                    </a:cubicBezTo>
                    <a:cubicBezTo>
                      <a:pt x="40" y="140"/>
                      <a:pt x="40" y="140"/>
                      <a:pt x="40" y="140"/>
                    </a:cubicBezTo>
                    <a:cubicBezTo>
                      <a:pt x="39" y="139"/>
                      <a:pt x="39" y="139"/>
                      <a:pt x="39" y="139"/>
                    </a:cubicBezTo>
                    <a:cubicBezTo>
                      <a:pt x="35" y="139"/>
                      <a:pt x="35" y="139"/>
                      <a:pt x="35" y="139"/>
                    </a:cubicBezTo>
                    <a:cubicBezTo>
                      <a:pt x="32" y="140"/>
                      <a:pt x="32" y="140"/>
                      <a:pt x="32" y="140"/>
                    </a:cubicBezTo>
                    <a:cubicBezTo>
                      <a:pt x="32" y="141"/>
                      <a:pt x="32" y="141"/>
                      <a:pt x="32" y="141"/>
                    </a:cubicBezTo>
                    <a:cubicBezTo>
                      <a:pt x="31" y="142"/>
                      <a:pt x="31" y="142"/>
                      <a:pt x="31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46"/>
                      <a:pt x="29" y="146"/>
                      <a:pt x="29" y="146"/>
                    </a:cubicBezTo>
                    <a:cubicBezTo>
                      <a:pt x="27" y="147"/>
                      <a:pt x="27" y="147"/>
                      <a:pt x="27" y="147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5" y="149"/>
                      <a:pt x="25" y="149"/>
                      <a:pt x="25" y="149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3" y="152"/>
                      <a:pt x="23" y="152"/>
                      <a:pt x="23" y="152"/>
                    </a:cubicBezTo>
                    <a:cubicBezTo>
                      <a:pt x="21" y="153"/>
                      <a:pt x="21" y="153"/>
                      <a:pt x="21" y="153"/>
                    </a:cubicBezTo>
                    <a:cubicBezTo>
                      <a:pt x="20" y="153"/>
                      <a:pt x="20" y="153"/>
                      <a:pt x="20" y="153"/>
                    </a:cubicBezTo>
                    <a:cubicBezTo>
                      <a:pt x="18" y="154"/>
                      <a:pt x="18" y="154"/>
                      <a:pt x="18" y="154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2" y="155"/>
                      <a:pt x="22" y="155"/>
                      <a:pt x="22" y="155"/>
                    </a:cubicBezTo>
                    <a:lnTo>
                      <a:pt x="23" y="15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8" name="Freeform 221">
                <a:extLst>
                  <a:ext uri="{FF2B5EF4-FFF2-40B4-BE49-F238E27FC236}">
                    <a16:creationId xmlns:a16="http://schemas.microsoft.com/office/drawing/2014/main" xmlns="" id="{5E31415F-2074-4113-B9BB-52E96AB4DB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1" y="1147"/>
                <a:ext cx="205" cy="196"/>
              </a:xfrm>
              <a:custGeom>
                <a:avLst/>
                <a:gdLst>
                  <a:gd name="T0" fmla="*/ 161 w 205"/>
                  <a:gd name="T1" fmla="*/ 96 h 196"/>
                  <a:gd name="T2" fmla="*/ 148 w 205"/>
                  <a:gd name="T3" fmla="*/ 103 h 196"/>
                  <a:gd name="T4" fmla="*/ 153 w 205"/>
                  <a:gd name="T5" fmla="*/ 92 h 196"/>
                  <a:gd name="T6" fmla="*/ 164 w 205"/>
                  <a:gd name="T7" fmla="*/ 75 h 196"/>
                  <a:gd name="T8" fmla="*/ 171 w 205"/>
                  <a:gd name="T9" fmla="*/ 74 h 196"/>
                  <a:gd name="T10" fmla="*/ 173 w 205"/>
                  <a:gd name="T11" fmla="*/ 57 h 196"/>
                  <a:gd name="T12" fmla="*/ 178 w 205"/>
                  <a:gd name="T13" fmla="*/ 41 h 196"/>
                  <a:gd name="T14" fmla="*/ 163 w 205"/>
                  <a:gd name="T15" fmla="*/ 39 h 196"/>
                  <a:gd name="T16" fmla="*/ 153 w 205"/>
                  <a:gd name="T17" fmla="*/ 34 h 196"/>
                  <a:gd name="T18" fmla="*/ 140 w 205"/>
                  <a:gd name="T19" fmla="*/ 29 h 196"/>
                  <a:gd name="T20" fmla="*/ 129 w 205"/>
                  <a:gd name="T21" fmla="*/ 23 h 196"/>
                  <a:gd name="T22" fmla="*/ 119 w 205"/>
                  <a:gd name="T23" fmla="*/ 15 h 196"/>
                  <a:gd name="T24" fmla="*/ 107 w 205"/>
                  <a:gd name="T25" fmla="*/ 2 h 196"/>
                  <a:gd name="T26" fmla="*/ 93 w 205"/>
                  <a:gd name="T27" fmla="*/ 5 h 196"/>
                  <a:gd name="T28" fmla="*/ 88 w 205"/>
                  <a:gd name="T29" fmla="*/ 25 h 196"/>
                  <a:gd name="T30" fmla="*/ 70 w 205"/>
                  <a:gd name="T31" fmla="*/ 31 h 196"/>
                  <a:gd name="T32" fmla="*/ 58 w 205"/>
                  <a:gd name="T33" fmla="*/ 36 h 196"/>
                  <a:gd name="T34" fmla="*/ 52 w 205"/>
                  <a:gd name="T35" fmla="*/ 29 h 196"/>
                  <a:gd name="T36" fmla="*/ 42 w 205"/>
                  <a:gd name="T37" fmla="*/ 33 h 196"/>
                  <a:gd name="T38" fmla="*/ 47 w 205"/>
                  <a:gd name="T39" fmla="*/ 46 h 196"/>
                  <a:gd name="T40" fmla="*/ 39 w 205"/>
                  <a:gd name="T41" fmla="*/ 51 h 196"/>
                  <a:gd name="T42" fmla="*/ 24 w 205"/>
                  <a:gd name="T43" fmla="*/ 46 h 196"/>
                  <a:gd name="T44" fmla="*/ 13 w 205"/>
                  <a:gd name="T45" fmla="*/ 49 h 196"/>
                  <a:gd name="T46" fmla="*/ 1 w 205"/>
                  <a:gd name="T47" fmla="*/ 57 h 196"/>
                  <a:gd name="T48" fmla="*/ 3 w 205"/>
                  <a:gd name="T49" fmla="*/ 57 h 196"/>
                  <a:gd name="T50" fmla="*/ 6 w 205"/>
                  <a:gd name="T51" fmla="*/ 62 h 196"/>
                  <a:gd name="T52" fmla="*/ 6 w 205"/>
                  <a:gd name="T53" fmla="*/ 69 h 196"/>
                  <a:gd name="T54" fmla="*/ 19 w 205"/>
                  <a:gd name="T55" fmla="*/ 72 h 196"/>
                  <a:gd name="T56" fmla="*/ 29 w 205"/>
                  <a:gd name="T57" fmla="*/ 74 h 196"/>
                  <a:gd name="T58" fmla="*/ 34 w 205"/>
                  <a:gd name="T59" fmla="*/ 80 h 196"/>
                  <a:gd name="T60" fmla="*/ 42 w 205"/>
                  <a:gd name="T61" fmla="*/ 80 h 196"/>
                  <a:gd name="T62" fmla="*/ 37 w 205"/>
                  <a:gd name="T63" fmla="*/ 90 h 196"/>
                  <a:gd name="T64" fmla="*/ 52 w 205"/>
                  <a:gd name="T65" fmla="*/ 100 h 196"/>
                  <a:gd name="T66" fmla="*/ 52 w 205"/>
                  <a:gd name="T67" fmla="*/ 111 h 196"/>
                  <a:gd name="T68" fmla="*/ 57 w 205"/>
                  <a:gd name="T69" fmla="*/ 116 h 196"/>
                  <a:gd name="T70" fmla="*/ 53 w 205"/>
                  <a:gd name="T71" fmla="*/ 132 h 196"/>
                  <a:gd name="T72" fmla="*/ 47 w 205"/>
                  <a:gd name="T73" fmla="*/ 157 h 196"/>
                  <a:gd name="T74" fmla="*/ 53 w 205"/>
                  <a:gd name="T75" fmla="*/ 163 h 196"/>
                  <a:gd name="T76" fmla="*/ 75 w 205"/>
                  <a:gd name="T77" fmla="*/ 172 h 196"/>
                  <a:gd name="T78" fmla="*/ 93 w 205"/>
                  <a:gd name="T79" fmla="*/ 172 h 196"/>
                  <a:gd name="T80" fmla="*/ 112 w 205"/>
                  <a:gd name="T81" fmla="*/ 175 h 196"/>
                  <a:gd name="T82" fmla="*/ 122 w 205"/>
                  <a:gd name="T83" fmla="*/ 154 h 196"/>
                  <a:gd name="T84" fmla="*/ 135 w 205"/>
                  <a:gd name="T85" fmla="*/ 157 h 196"/>
                  <a:gd name="T86" fmla="*/ 160 w 205"/>
                  <a:gd name="T87" fmla="*/ 163 h 196"/>
                  <a:gd name="T88" fmla="*/ 174 w 205"/>
                  <a:gd name="T89" fmla="*/ 149 h 196"/>
                  <a:gd name="T90" fmla="*/ 166 w 205"/>
                  <a:gd name="T91" fmla="*/ 127 h 196"/>
                  <a:gd name="T92" fmla="*/ 166 w 205"/>
                  <a:gd name="T93" fmla="*/ 113 h 196"/>
                  <a:gd name="T94" fmla="*/ 200 w 205"/>
                  <a:gd name="T95" fmla="*/ 196 h 196"/>
                  <a:gd name="T96" fmla="*/ 196 w 205"/>
                  <a:gd name="T97" fmla="*/ 190 h 196"/>
                  <a:gd name="T98" fmla="*/ 192 w 205"/>
                  <a:gd name="T99" fmla="*/ 185 h 196"/>
                  <a:gd name="T100" fmla="*/ 192 w 205"/>
                  <a:gd name="T101" fmla="*/ 178 h 196"/>
                  <a:gd name="T102" fmla="*/ 200 w 205"/>
                  <a:gd name="T103" fmla="*/ 170 h 196"/>
                  <a:gd name="T104" fmla="*/ 204 w 205"/>
                  <a:gd name="T105" fmla="*/ 163 h 196"/>
                  <a:gd name="T106" fmla="*/ 204 w 205"/>
                  <a:gd name="T107" fmla="*/ 19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5" h="196">
                    <a:moveTo>
                      <a:pt x="166" y="108"/>
                    </a:moveTo>
                    <a:lnTo>
                      <a:pt x="166" y="105"/>
                    </a:lnTo>
                    <a:lnTo>
                      <a:pt x="164" y="103"/>
                    </a:lnTo>
                    <a:lnTo>
                      <a:pt x="163" y="100"/>
                    </a:lnTo>
                    <a:lnTo>
                      <a:pt x="161" y="96"/>
                    </a:lnTo>
                    <a:lnTo>
                      <a:pt x="156" y="96"/>
                    </a:lnTo>
                    <a:lnTo>
                      <a:pt x="155" y="98"/>
                    </a:lnTo>
                    <a:lnTo>
                      <a:pt x="156" y="101"/>
                    </a:lnTo>
                    <a:lnTo>
                      <a:pt x="153" y="103"/>
                    </a:lnTo>
                    <a:lnTo>
                      <a:pt x="148" y="103"/>
                    </a:lnTo>
                    <a:lnTo>
                      <a:pt x="148" y="100"/>
                    </a:lnTo>
                    <a:lnTo>
                      <a:pt x="150" y="100"/>
                    </a:lnTo>
                    <a:lnTo>
                      <a:pt x="153" y="100"/>
                    </a:lnTo>
                    <a:lnTo>
                      <a:pt x="151" y="96"/>
                    </a:lnTo>
                    <a:lnTo>
                      <a:pt x="153" y="92"/>
                    </a:lnTo>
                    <a:lnTo>
                      <a:pt x="156" y="85"/>
                    </a:lnTo>
                    <a:lnTo>
                      <a:pt x="160" y="83"/>
                    </a:lnTo>
                    <a:lnTo>
                      <a:pt x="163" y="80"/>
                    </a:lnTo>
                    <a:lnTo>
                      <a:pt x="166" y="78"/>
                    </a:lnTo>
                    <a:lnTo>
                      <a:pt x="164" y="75"/>
                    </a:lnTo>
                    <a:lnTo>
                      <a:pt x="161" y="74"/>
                    </a:lnTo>
                    <a:lnTo>
                      <a:pt x="163" y="72"/>
                    </a:lnTo>
                    <a:lnTo>
                      <a:pt x="168" y="70"/>
                    </a:lnTo>
                    <a:lnTo>
                      <a:pt x="168" y="74"/>
                    </a:lnTo>
                    <a:lnTo>
                      <a:pt x="171" y="74"/>
                    </a:lnTo>
                    <a:lnTo>
                      <a:pt x="176" y="72"/>
                    </a:lnTo>
                    <a:lnTo>
                      <a:pt x="174" y="69"/>
                    </a:lnTo>
                    <a:lnTo>
                      <a:pt x="171" y="67"/>
                    </a:lnTo>
                    <a:lnTo>
                      <a:pt x="171" y="62"/>
                    </a:lnTo>
                    <a:lnTo>
                      <a:pt x="173" y="57"/>
                    </a:lnTo>
                    <a:lnTo>
                      <a:pt x="176" y="54"/>
                    </a:lnTo>
                    <a:lnTo>
                      <a:pt x="176" y="52"/>
                    </a:lnTo>
                    <a:lnTo>
                      <a:pt x="178" y="47"/>
                    </a:lnTo>
                    <a:lnTo>
                      <a:pt x="181" y="44"/>
                    </a:lnTo>
                    <a:lnTo>
                      <a:pt x="178" y="41"/>
                    </a:lnTo>
                    <a:lnTo>
                      <a:pt x="174" y="41"/>
                    </a:lnTo>
                    <a:lnTo>
                      <a:pt x="171" y="39"/>
                    </a:lnTo>
                    <a:lnTo>
                      <a:pt x="168" y="41"/>
                    </a:lnTo>
                    <a:lnTo>
                      <a:pt x="166" y="39"/>
                    </a:lnTo>
                    <a:lnTo>
                      <a:pt x="163" y="39"/>
                    </a:lnTo>
                    <a:lnTo>
                      <a:pt x="161" y="41"/>
                    </a:lnTo>
                    <a:lnTo>
                      <a:pt x="158" y="38"/>
                    </a:lnTo>
                    <a:lnTo>
                      <a:pt x="158" y="36"/>
                    </a:lnTo>
                    <a:lnTo>
                      <a:pt x="155" y="34"/>
                    </a:lnTo>
                    <a:lnTo>
                      <a:pt x="153" y="34"/>
                    </a:lnTo>
                    <a:lnTo>
                      <a:pt x="148" y="34"/>
                    </a:lnTo>
                    <a:lnTo>
                      <a:pt x="147" y="31"/>
                    </a:lnTo>
                    <a:lnTo>
                      <a:pt x="145" y="31"/>
                    </a:lnTo>
                    <a:lnTo>
                      <a:pt x="143" y="31"/>
                    </a:lnTo>
                    <a:lnTo>
                      <a:pt x="140" y="29"/>
                    </a:lnTo>
                    <a:lnTo>
                      <a:pt x="137" y="29"/>
                    </a:lnTo>
                    <a:lnTo>
                      <a:pt x="133" y="25"/>
                    </a:lnTo>
                    <a:lnTo>
                      <a:pt x="132" y="25"/>
                    </a:lnTo>
                    <a:lnTo>
                      <a:pt x="130" y="23"/>
                    </a:lnTo>
                    <a:lnTo>
                      <a:pt x="129" y="23"/>
                    </a:lnTo>
                    <a:lnTo>
                      <a:pt x="127" y="25"/>
                    </a:lnTo>
                    <a:lnTo>
                      <a:pt x="122" y="23"/>
                    </a:lnTo>
                    <a:lnTo>
                      <a:pt x="122" y="18"/>
                    </a:lnTo>
                    <a:lnTo>
                      <a:pt x="120" y="16"/>
                    </a:lnTo>
                    <a:lnTo>
                      <a:pt x="119" y="15"/>
                    </a:lnTo>
                    <a:lnTo>
                      <a:pt x="117" y="15"/>
                    </a:lnTo>
                    <a:lnTo>
                      <a:pt x="112" y="11"/>
                    </a:lnTo>
                    <a:lnTo>
                      <a:pt x="112" y="8"/>
                    </a:lnTo>
                    <a:lnTo>
                      <a:pt x="107" y="7"/>
                    </a:lnTo>
                    <a:lnTo>
                      <a:pt x="107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99" y="3"/>
                    </a:lnTo>
                    <a:lnTo>
                      <a:pt x="98" y="2"/>
                    </a:lnTo>
                    <a:lnTo>
                      <a:pt x="93" y="5"/>
                    </a:lnTo>
                    <a:lnTo>
                      <a:pt x="93" y="8"/>
                    </a:lnTo>
                    <a:lnTo>
                      <a:pt x="93" y="11"/>
                    </a:lnTo>
                    <a:lnTo>
                      <a:pt x="93" y="18"/>
                    </a:lnTo>
                    <a:lnTo>
                      <a:pt x="88" y="23"/>
                    </a:lnTo>
                    <a:lnTo>
                      <a:pt x="88" y="25"/>
                    </a:lnTo>
                    <a:lnTo>
                      <a:pt x="83" y="26"/>
                    </a:lnTo>
                    <a:lnTo>
                      <a:pt x="80" y="26"/>
                    </a:lnTo>
                    <a:lnTo>
                      <a:pt x="76" y="25"/>
                    </a:lnTo>
                    <a:lnTo>
                      <a:pt x="71" y="28"/>
                    </a:lnTo>
                    <a:lnTo>
                      <a:pt x="70" y="31"/>
                    </a:lnTo>
                    <a:lnTo>
                      <a:pt x="71" y="33"/>
                    </a:lnTo>
                    <a:lnTo>
                      <a:pt x="73" y="34"/>
                    </a:lnTo>
                    <a:lnTo>
                      <a:pt x="70" y="36"/>
                    </a:lnTo>
                    <a:lnTo>
                      <a:pt x="65" y="38"/>
                    </a:lnTo>
                    <a:lnTo>
                      <a:pt x="58" y="36"/>
                    </a:lnTo>
                    <a:lnTo>
                      <a:pt x="57" y="36"/>
                    </a:lnTo>
                    <a:lnTo>
                      <a:pt x="53" y="36"/>
                    </a:lnTo>
                    <a:lnTo>
                      <a:pt x="53" y="34"/>
                    </a:lnTo>
                    <a:lnTo>
                      <a:pt x="52" y="33"/>
                    </a:lnTo>
                    <a:lnTo>
                      <a:pt x="52" y="29"/>
                    </a:lnTo>
                    <a:lnTo>
                      <a:pt x="50" y="29"/>
                    </a:lnTo>
                    <a:lnTo>
                      <a:pt x="47" y="29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2" y="33"/>
                    </a:lnTo>
                    <a:lnTo>
                      <a:pt x="42" y="34"/>
                    </a:lnTo>
                    <a:lnTo>
                      <a:pt x="47" y="39"/>
                    </a:lnTo>
                    <a:lnTo>
                      <a:pt x="47" y="41"/>
                    </a:lnTo>
                    <a:lnTo>
                      <a:pt x="47" y="44"/>
                    </a:lnTo>
                    <a:lnTo>
                      <a:pt x="47" y="46"/>
                    </a:lnTo>
                    <a:lnTo>
                      <a:pt x="49" y="47"/>
                    </a:lnTo>
                    <a:lnTo>
                      <a:pt x="49" y="51"/>
                    </a:lnTo>
                    <a:lnTo>
                      <a:pt x="44" y="51"/>
                    </a:lnTo>
                    <a:lnTo>
                      <a:pt x="40" y="51"/>
                    </a:lnTo>
                    <a:lnTo>
                      <a:pt x="39" y="51"/>
                    </a:lnTo>
                    <a:lnTo>
                      <a:pt x="35" y="51"/>
                    </a:lnTo>
                    <a:lnTo>
                      <a:pt x="34" y="51"/>
                    </a:lnTo>
                    <a:lnTo>
                      <a:pt x="31" y="52"/>
                    </a:lnTo>
                    <a:lnTo>
                      <a:pt x="26" y="47"/>
                    </a:lnTo>
                    <a:lnTo>
                      <a:pt x="24" y="46"/>
                    </a:lnTo>
                    <a:lnTo>
                      <a:pt x="21" y="47"/>
                    </a:lnTo>
                    <a:lnTo>
                      <a:pt x="18" y="49"/>
                    </a:lnTo>
                    <a:lnTo>
                      <a:pt x="16" y="49"/>
                    </a:lnTo>
                    <a:lnTo>
                      <a:pt x="14" y="51"/>
                    </a:lnTo>
                    <a:lnTo>
                      <a:pt x="13" y="49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3" y="52"/>
                    </a:lnTo>
                    <a:lnTo>
                      <a:pt x="0" y="56"/>
                    </a:lnTo>
                    <a:lnTo>
                      <a:pt x="1" y="57"/>
                    </a:lnTo>
                    <a:lnTo>
                      <a:pt x="4" y="56"/>
                    </a:lnTo>
                    <a:lnTo>
                      <a:pt x="6" y="57"/>
                    </a:lnTo>
                    <a:lnTo>
                      <a:pt x="8" y="57"/>
                    </a:lnTo>
                    <a:lnTo>
                      <a:pt x="4" y="57"/>
                    </a:lnTo>
                    <a:lnTo>
                      <a:pt x="3" y="57"/>
                    </a:lnTo>
                    <a:lnTo>
                      <a:pt x="4" y="60"/>
                    </a:lnTo>
                    <a:lnTo>
                      <a:pt x="4" y="59"/>
                    </a:lnTo>
                    <a:lnTo>
                      <a:pt x="6" y="59"/>
                    </a:lnTo>
                    <a:lnTo>
                      <a:pt x="8" y="60"/>
                    </a:lnTo>
                    <a:lnTo>
                      <a:pt x="6" y="62"/>
                    </a:lnTo>
                    <a:lnTo>
                      <a:pt x="3" y="64"/>
                    </a:lnTo>
                    <a:lnTo>
                      <a:pt x="3" y="64"/>
                    </a:lnTo>
                    <a:lnTo>
                      <a:pt x="6" y="64"/>
                    </a:lnTo>
                    <a:lnTo>
                      <a:pt x="6" y="67"/>
                    </a:lnTo>
                    <a:lnTo>
                      <a:pt x="6" y="69"/>
                    </a:lnTo>
                    <a:lnTo>
                      <a:pt x="9" y="67"/>
                    </a:lnTo>
                    <a:lnTo>
                      <a:pt x="11" y="67"/>
                    </a:lnTo>
                    <a:lnTo>
                      <a:pt x="14" y="67"/>
                    </a:lnTo>
                    <a:lnTo>
                      <a:pt x="19" y="69"/>
                    </a:lnTo>
                    <a:lnTo>
                      <a:pt x="19" y="72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4"/>
                    </a:lnTo>
                    <a:lnTo>
                      <a:pt x="29" y="75"/>
                    </a:lnTo>
                    <a:lnTo>
                      <a:pt x="32" y="74"/>
                    </a:lnTo>
                    <a:lnTo>
                      <a:pt x="34" y="75"/>
                    </a:lnTo>
                    <a:lnTo>
                      <a:pt x="32" y="78"/>
                    </a:lnTo>
                    <a:lnTo>
                      <a:pt x="34" y="80"/>
                    </a:lnTo>
                    <a:lnTo>
                      <a:pt x="35" y="80"/>
                    </a:lnTo>
                    <a:lnTo>
                      <a:pt x="39" y="78"/>
                    </a:lnTo>
                    <a:lnTo>
                      <a:pt x="42" y="78"/>
                    </a:lnTo>
                    <a:lnTo>
                      <a:pt x="44" y="82"/>
                    </a:lnTo>
                    <a:lnTo>
                      <a:pt x="42" y="80"/>
                    </a:lnTo>
                    <a:lnTo>
                      <a:pt x="39" y="80"/>
                    </a:lnTo>
                    <a:lnTo>
                      <a:pt x="37" y="83"/>
                    </a:lnTo>
                    <a:lnTo>
                      <a:pt x="39" y="83"/>
                    </a:lnTo>
                    <a:lnTo>
                      <a:pt x="39" y="87"/>
                    </a:lnTo>
                    <a:lnTo>
                      <a:pt x="37" y="90"/>
                    </a:lnTo>
                    <a:lnTo>
                      <a:pt x="39" y="92"/>
                    </a:lnTo>
                    <a:lnTo>
                      <a:pt x="40" y="92"/>
                    </a:lnTo>
                    <a:lnTo>
                      <a:pt x="45" y="96"/>
                    </a:lnTo>
                    <a:lnTo>
                      <a:pt x="49" y="98"/>
                    </a:lnTo>
                    <a:lnTo>
                      <a:pt x="52" y="100"/>
                    </a:lnTo>
                    <a:lnTo>
                      <a:pt x="52" y="103"/>
                    </a:lnTo>
                    <a:lnTo>
                      <a:pt x="53" y="105"/>
                    </a:lnTo>
                    <a:lnTo>
                      <a:pt x="53" y="108"/>
                    </a:lnTo>
                    <a:lnTo>
                      <a:pt x="52" y="108"/>
                    </a:lnTo>
                    <a:lnTo>
                      <a:pt x="52" y="111"/>
                    </a:lnTo>
                    <a:lnTo>
                      <a:pt x="53" y="111"/>
                    </a:lnTo>
                    <a:lnTo>
                      <a:pt x="58" y="116"/>
                    </a:lnTo>
                    <a:lnTo>
                      <a:pt x="62" y="124"/>
                    </a:lnTo>
                    <a:lnTo>
                      <a:pt x="58" y="121"/>
                    </a:lnTo>
                    <a:lnTo>
                      <a:pt x="57" y="116"/>
                    </a:lnTo>
                    <a:lnTo>
                      <a:pt x="53" y="114"/>
                    </a:lnTo>
                    <a:lnTo>
                      <a:pt x="52" y="116"/>
                    </a:lnTo>
                    <a:lnTo>
                      <a:pt x="50" y="124"/>
                    </a:lnTo>
                    <a:lnTo>
                      <a:pt x="52" y="131"/>
                    </a:lnTo>
                    <a:lnTo>
                      <a:pt x="53" y="132"/>
                    </a:lnTo>
                    <a:lnTo>
                      <a:pt x="52" y="134"/>
                    </a:lnTo>
                    <a:lnTo>
                      <a:pt x="50" y="144"/>
                    </a:lnTo>
                    <a:lnTo>
                      <a:pt x="49" y="154"/>
                    </a:lnTo>
                    <a:lnTo>
                      <a:pt x="44" y="155"/>
                    </a:lnTo>
                    <a:lnTo>
                      <a:pt x="47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50" y="162"/>
                    </a:lnTo>
                    <a:lnTo>
                      <a:pt x="49" y="165"/>
                    </a:lnTo>
                    <a:lnTo>
                      <a:pt x="53" y="163"/>
                    </a:lnTo>
                    <a:lnTo>
                      <a:pt x="60" y="167"/>
                    </a:lnTo>
                    <a:lnTo>
                      <a:pt x="63" y="170"/>
                    </a:lnTo>
                    <a:lnTo>
                      <a:pt x="67" y="168"/>
                    </a:lnTo>
                    <a:lnTo>
                      <a:pt x="70" y="172"/>
                    </a:lnTo>
                    <a:lnTo>
                      <a:pt x="75" y="172"/>
                    </a:lnTo>
                    <a:lnTo>
                      <a:pt x="76" y="173"/>
                    </a:lnTo>
                    <a:lnTo>
                      <a:pt x="80" y="170"/>
                    </a:lnTo>
                    <a:lnTo>
                      <a:pt x="86" y="170"/>
                    </a:lnTo>
                    <a:lnTo>
                      <a:pt x="89" y="172"/>
                    </a:lnTo>
                    <a:lnTo>
                      <a:pt x="93" y="172"/>
                    </a:lnTo>
                    <a:lnTo>
                      <a:pt x="98" y="173"/>
                    </a:lnTo>
                    <a:lnTo>
                      <a:pt x="106" y="173"/>
                    </a:lnTo>
                    <a:lnTo>
                      <a:pt x="111" y="177"/>
                    </a:lnTo>
                    <a:lnTo>
                      <a:pt x="112" y="177"/>
                    </a:lnTo>
                    <a:lnTo>
                      <a:pt x="112" y="175"/>
                    </a:lnTo>
                    <a:lnTo>
                      <a:pt x="111" y="170"/>
                    </a:lnTo>
                    <a:lnTo>
                      <a:pt x="112" y="165"/>
                    </a:lnTo>
                    <a:lnTo>
                      <a:pt x="112" y="162"/>
                    </a:lnTo>
                    <a:lnTo>
                      <a:pt x="115" y="159"/>
                    </a:lnTo>
                    <a:lnTo>
                      <a:pt x="122" y="154"/>
                    </a:lnTo>
                    <a:lnTo>
                      <a:pt x="124" y="154"/>
                    </a:lnTo>
                    <a:lnTo>
                      <a:pt x="125" y="154"/>
                    </a:lnTo>
                    <a:lnTo>
                      <a:pt x="129" y="155"/>
                    </a:lnTo>
                    <a:lnTo>
                      <a:pt x="133" y="157"/>
                    </a:lnTo>
                    <a:lnTo>
                      <a:pt x="135" y="157"/>
                    </a:lnTo>
                    <a:lnTo>
                      <a:pt x="138" y="155"/>
                    </a:lnTo>
                    <a:lnTo>
                      <a:pt x="140" y="155"/>
                    </a:lnTo>
                    <a:lnTo>
                      <a:pt x="150" y="162"/>
                    </a:lnTo>
                    <a:lnTo>
                      <a:pt x="153" y="163"/>
                    </a:lnTo>
                    <a:lnTo>
                      <a:pt x="160" y="163"/>
                    </a:lnTo>
                    <a:lnTo>
                      <a:pt x="163" y="162"/>
                    </a:lnTo>
                    <a:lnTo>
                      <a:pt x="161" y="160"/>
                    </a:lnTo>
                    <a:lnTo>
                      <a:pt x="164" y="157"/>
                    </a:lnTo>
                    <a:lnTo>
                      <a:pt x="174" y="149"/>
                    </a:lnTo>
                    <a:lnTo>
                      <a:pt x="174" y="149"/>
                    </a:lnTo>
                    <a:lnTo>
                      <a:pt x="174" y="145"/>
                    </a:lnTo>
                    <a:lnTo>
                      <a:pt x="176" y="141"/>
                    </a:lnTo>
                    <a:lnTo>
                      <a:pt x="171" y="141"/>
                    </a:lnTo>
                    <a:lnTo>
                      <a:pt x="166" y="137"/>
                    </a:lnTo>
                    <a:lnTo>
                      <a:pt x="166" y="127"/>
                    </a:lnTo>
                    <a:lnTo>
                      <a:pt x="161" y="124"/>
                    </a:lnTo>
                    <a:lnTo>
                      <a:pt x="164" y="121"/>
                    </a:lnTo>
                    <a:lnTo>
                      <a:pt x="168" y="121"/>
                    </a:lnTo>
                    <a:lnTo>
                      <a:pt x="168" y="116"/>
                    </a:lnTo>
                    <a:lnTo>
                      <a:pt x="166" y="113"/>
                    </a:lnTo>
                    <a:lnTo>
                      <a:pt x="164" y="110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  <a:moveTo>
                      <a:pt x="200" y="196"/>
                    </a:moveTo>
                    <a:lnTo>
                      <a:pt x="196" y="194"/>
                    </a:lnTo>
                    <a:lnTo>
                      <a:pt x="194" y="193"/>
                    </a:lnTo>
                    <a:lnTo>
                      <a:pt x="196" y="191"/>
                    </a:lnTo>
                    <a:lnTo>
                      <a:pt x="196" y="191"/>
                    </a:lnTo>
                    <a:lnTo>
                      <a:pt x="196" y="190"/>
                    </a:lnTo>
                    <a:lnTo>
                      <a:pt x="194" y="190"/>
                    </a:lnTo>
                    <a:lnTo>
                      <a:pt x="194" y="188"/>
                    </a:lnTo>
                    <a:lnTo>
                      <a:pt x="192" y="186"/>
                    </a:lnTo>
                    <a:lnTo>
                      <a:pt x="191" y="185"/>
                    </a:lnTo>
                    <a:lnTo>
                      <a:pt x="192" y="185"/>
                    </a:lnTo>
                    <a:lnTo>
                      <a:pt x="192" y="183"/>
                    </a:lnTo>
                    <a:lnTo>
                      <a:pt x="191" y="181"/>
                    </a:lnTo>
                    <a:lnTo>
                      <a:pt x="189" y="180"/>
                    </a:lnTo>
                    <a:lnTo>
                      <a:pt x="192" y="180"/>
                    </a:lnTo>
                    <a:lnTo>
                      <a:pt x="192" y="178"/>
                    </a:lnTo>
                    <a:lnTo>
                      <a:pt x="191" y="177"/>
                    </a:lnTo>
                    <a:lnTo>
                      <a:pt x="192" y="172"/>
                    </a:lnTo>
                    <a:lnTo>
                      <a:pt x="197" y="170"/>
                    </a:lnTo>
                    <a:lnTo>
                      <a:pt x="199" y="168"/>
                    </a:lnTo>
                    <a:lnTo>
                      <a:pt x="200" y="170"/>
                    </a:lnTo>
                    <a:lnTo>
                      <a:pt x="202" y="170"/>
                    </a:lnTo>
                    <a:lnTo>
                      <a:pt x="202" y="167"/>
                    </a:lnTo>
                    <a:lnTo>
                      <a:pt x="202" y="165"/>
                    </a:lnTo>
                    <a:lnTo>
                      <a:pt x="202" y="163"/>
                    </a:lnTo>
                    <a:lnTo>
                      <a:pt x="204" y="163"/>
                    </a:lnTo>
                    <a:lnTo>
                      <a:pt x="205" y="167"/>
                    </a:lnTo>
                    <a:lnTo>
                      <a:pt x="204" y="172"/>
                    </a:lnTo>
                    <a:lnTo>
                      <a:pt x="205" y="178"/>
                    </a:lnTo>
                    <a:lnTo>
                      <a:pt x="204" y="185"/>
                    </a:lnTo>
                    <a:lnTo>
                      <a:pt x="204" y="190"/>
                    </a:lnTo>
                    <a:lnTo>
                      <a:pt x="202" y="194"/>
                    </a:lnTo>
                    <a:lnTo>
                      <a:pt x="200" y="19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9" name="Freeform 222">
                <a:extLst>
                  <a:ext uri="{FF2B5EF4-FFF2-40B4-BE49-F238E27FC236}">
                    <a16:creationId xmlns:a16="http://schemas.microsoft.com/office/drawing/2014/main" xmlns="" id="{FDA474E4-8854-4A33-93AF-1A3EE52AD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1449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4 h 5"/>
                  <a:gd name="T8" fmla="*/ 5 w 5"/>
                  <a:gd name="T9" fmla="*/ 2 h 5"/>
                  <a:gd name="T10" fmla="*/ 2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0" name="Freeform 223">
                <a:extLst>
                  <a:ext uri="{FF2B5EF4-FFF2-40B4-BE49-F238E27FC236}">
                    <a16:creationId xmlns:a16="http://schemas.microsoft.com/office/drawing/2014/main" xmlns="" id="{40C4B027-3FE6-4470-A03B-39E8D942DB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2" y="1229"/>
                <a:ext cx="182" cy="207"/>
              </a:xfrm>
              <a:custGeom>
                <a:avLst/>
                <a:gdLst>
                  <a:gd name="T0" fmla="*/ 5 w 182"/>
                  <a:gd name="T1" fmla="*/ 55 h 207"/>
                  <a:gd name="T2" fmla="*/ 7 w 182"/>
                  <a:gd name="T3" fmla="*/ 34 h 207"/>
                  <a:gd name="T4" fmla="*/ 15 w 182"/>
                  <a:gd name="T5" fmla="*/ 23 h 207"/>
                  <a:gd name="T6" fmla="*/ 33 w 182"/>
                  <a:gd name="T7" fmla="*/ 23 h 207"/>
                  <a:gd name="T8" fmla="*/ 48 w 182"/>
                  <a:gd name="T9" fmla="*/ 18 h 207"/>
                  <a:gd name="T10" fmla="*/ 59 w 182"/>
                  <a:gd name="T11" fmla="*/ 3 h 207"/>
                  <a:gd name="T12" fmla="*/ 80 w 182"/>
                  <a:gd name="T13" fmla="*/ 5 h 207"/>
                  <a:gd name="T14" fmla="*/ 101 w 182"/>
                  <a:gd name="T15" fmla="*/ 18 h 207"/>
                  <a:gd name="T16" fmla="*/ 97 w 182"/>
                  <a:gd name="T17" fmla="*/ 29 h 207"/>
                  <a:gd name="T18" fmla="*/ 82 w 182"/>
                  <a:gd name="T19" fmla="*/ 37 h 207"/>
                  <a:gd name="T20" fmla="*/ 84 w 182"/>
                  <a:gd name="T21" fmla="*/ 52 h 207"/>
                  <a:gd name="T22" fmla="*/ 100 w 182"/>
                  <a:gd name="T23" fmla="*/ 68 h 207"/>
                  <a:gd name="T24" fmla="*/ 113 w 182"/>
                  <a:gd name="T25" fmla="*/ 88 h 207"/>
                  <a:gd name="T26" fmla="*/ 128 w 182"/>
                  <a:gd name="T27" fmla="*/ 103 h 207"/>
                  <a:gd name="T28" fmla="*/ 146 w 182"/>
                  <a:gd name="T29" fmla="*/ 104 h 207"/>
                  <a:gd name="T30" fmla="*/ 146 w 182"/>
                  <a:gd name="T31" fmla="*/ 114 h 207"/>
                  <a:gd name="T32" fmla="*/ 177 w 182"/>
                  <a:gd name="T33" fmla="*/ 130 h 207"/>
                  <a:gd name="T34" fmla="*/ 180 w 182"/>
                  <a:gd name="T35" fmla="*/ 144 h 207"/>
                  <a:gd name="T36" fmla="*/ 172 w 182"/>
                  <a:gd name="T37" fmla="*/ 139 h 207"/>
                  <a:gd name="T38" fmla="*/ 162 w 182"/>
                  <a:gd name="T39" fmla="*/ 132 h 207"/>
                  <a:gd name="T40" fmla="*/ 155 w 182"/>
                  <a:gd name="T41" fmla="*/ 140 h 207"/>
                  <a:gd name="T42" fmla="*/ 155 w 182"/>
                  <a:gd name="T43" fmla="*/ 148 h 207"/>
                  <a:gd name="T44" fmla="*/ 160 w 182"/>
                  <a:gd name="T45" fmla="*/ 163 h 207"/>
                  <a:gd name="T46" fmla="*/ 150 w 182"/>
                  <a:gd name="T47" fmla="*/ 181 h 207"/>
                  <a:gd name="T48" fmla="*/ 141 w 182"/>
                  <a:gd name="T49" fmla="*/ 178 h 207"/>
                  <a:gd name="T50" fmla="*/ 146 w 182"/>
                  <a:gd name="T51" fmla="*/ 168 h 207"/>
                  <a:gd name="T52" fmla="*/ 146 w 182"/>
                  <a:gd name="T53" fmla="*/ 153 h 207"/>
                  <a:gd name="T54" fmla="*/ 137 w 182"/>
                  <a:gd name="T55" fmla="*/ 142 h 207"/>
                  <a:gd name="T56" fmla="*/ 128 w 182"/>
                  <a:gd name="T57" fmla="*/ 134 h 207"/>
                  <a:gd name="T58" fmla="*/ 121 w 182"/>
                  <a:gd name="T59" fmla="*/ 126 h 207"/>
                  <a:gd name="T60" fmla="*/ 108 w 182"/>
                  <a:gd name="T61" fmla="*/ 117 h 207"/>
                  <a:gd name="T62" fmla="*/ 97 w 182"/>
                  <a:gd name="T63" fmla="*/ 114 h 207"/>
                  <a:gd name="T64" fmla="*/ 79 w 182"/>
                  <a:gd name="T65" fmla="*/ 98 h 207"/>
                  <a:gd name="T66" fmla="*/ 64 w 182"/>
                  <a:gd name="T67" fmla="*/ 83 h 207"/>
                  <a:gd name="T68" fmla="*/ 54 w 182"/>
                  <a:gd name="T69" fmla="*/ 67 h 207"/>
                  <a:gd name="T70" fmla="*/ 43 w 182"/>
                  <a:gd name="T71" fmla="*/ 57 h 207"/>
                  <a:gd name="T72" fmla="*/ 13 w 182"/>
                  <a:gd name="T73" fmla="*/ 67 h 207"/>
                  <a:gd name="T74" fmla="*/ 28 w 182"/>
                  <a:gd name="T75" fmla="*/ 117 h 207"/>
                  <a:gd name="T76" fmla="*/ 26 w 182"/>
                  <a:gd name="T77" fmla="*/ 121 h 207"/>
                  <a:gd name="T78" fmla="*/ 66 w 182"/>
                  <a:gd name="T79" fmla="*/ 95 h 207"/>
                  <a:gd name="T80" fmla="*/ 59 w 182"/>
                  <a:gd name="T81" fmla="*/ 86 h 207"/>
                  <a:gd name="T82" fmla="*/ 52 w 182"/>
                  <a:gd name="T83" fmla="*/ 85 h 207"/>
                  <a:gd name="T84" fmla="*/ 39 w 182"/>
                  <a:gd name="T85" fmla="*/ 160 h 207"/>
                  <a:gd name="T86" fmla="*/ 48 w 182"/>
                  <a:gd name="T87" fmla="*/ 158 h 207"/>
                  <a:gd name="T88" fmla="*/ 44 w 182"/>
                  <a:gd name="T89" fmla="*/ 134 h 207"/>
                  <a:gd name="T90" fmla="*/ 44 w 182"/>
                  <a:gd name="T91" fmla="*/ 119 h 207"/>
                  <a:gd name="T92" fmla="*/ 30 w 182"/>
                  <a:gd name="T93" fmla="*/ 126 h 207"/>
                  <a:gd name="T94" fmla="*/ 28 w 182"/>
                  <a:gd name="T95" fmla="*/ 134 h 207"/>
                  <a:gd name="T96" fmla="*/ 31 w 182"/>
                  <a:gd name="T97" fmla="*/ 144 h 207"/>
                  <a:gd name="T98" fmla="*/ 31 w 182"/>
                  <a:gd name="T99" fmla="*/ 161 h 207"/>
                  <a:gd name="T100" fmla="*/ 136 w 182"/>
                  <a:gd name="T101" fmla="*/ 201 h 207"/>
                  <a:gd name="T102" fmla="*/ 139 w 182"/>
                  <a:gd name="T103" fmla="*/ 179 h 207"/>
                  <a:gd name="T104" fmla="*/ 123 w 182"/>
                  <a:gd name="T105" fmla="*/ 181 h 207"/>
                  <a:gd name="T106" fmla="*/ 100 w 182"/>
                  <a:gd name="T107" fmla="*/ 179 h 207"/>
                  <a:gd name="T108" fmla="*/ 97 w 182"/>
                  <a:gd name="T109" fmla="*/ 191 h 207"/>
                  <a:gd name="T110" fmla="*/ 118 w 182"/>
                  <a:gd name="T111" fmla="*/ 201 h 207"/>
                  <a:gd name="T112" fmla="*/ 134 w 182"/>
                  <a:gd name="T113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2" h="207">
                    <a:moveTo>
                      <a:pt x="13" y="67"/>
                    </a:moveTo>
                    <a:lnTo>
                      <a:pt x="13" y="63"/>
                    </a:lnTo>
                    <a:lnTo>
                      <a:pt x="15" y="59"/>
                    </a:lnTo>
                    <a:lnTo>
                      <a:pt x="10" y="59"/>
                    </a:lnTo>
                    <a:lnTo>
                      <a:pt x="5" y="55"/>
                    </a:lnTo>
                    <a:lnTo>
                      <a:pt x="5" y="45"/>
                    </a:lnTo>
                    <a:lnTo>
                      <a:pt x="0" y="42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7" y="34"/>
                    </a:lnTo>
                    <a:lnTo>
                      <a:pt x="5" y="31"/>
                    </a:lnTo>
                    <a:lnTo>
                      <a:pt x="3" y="28"/>
                    </a:lnTo>
                    <a:lnTo>
                      <a:pt x="5" y="26"/>
                    </a:lnTo>
                    <a:lnTo>
                      <a:pt x="8" y="26"/>
                    </a:lnTo>
                    <a:lnTo>
                      <a:pt x="15" y="23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8" y="16"/>
                    </a:lnTo>
                    <a:lnTo>
                      <a:pt x="28" y="19"/>
                    </a:lnTo>
                    <a:lnTo>
                      <a:pt x="33" y="23"/>
                    </a:lnTo>
                    <a:lnTo>
                      <a:pt x="35" y="26"/>
                    </a:lnTo>
                    <a:lnTo>
                      <a:pt x="38" y="19"/>
                    </a:lnTo>
                    <a:lnTo>
                      <a:pt x="38" y="16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51" y="19"/>
                    </a:lnTo>
                    <a:lnTo>
                      <a:pt x="51" y="13"/>
                    </a:lnTo>
                    <a:lnTo>
                      <a:pt x="57" y="11"/>
                    </a:lnTo>
                    <a:lnTo>
                      <a:pt x="56" y="6"/>
                    </a:lnTo>
                    <a:lnTo>
                      <a:pt x="59" y="3"/>
                    </a:lnTo>
                    <a:lnTo>
                      <a:pt x="64" y="5"/>
                    </a:lnTo>
                    <a:lnTo>
                      <a:pt x="72" y="0"/>
                    </a:lnTo>
                    <a:lnTo>
                      <a:pt x="75" y="1"/>
                    </a:lnTo>
                    <a:lnTo>
                      <a:pt x="82" y="1"/>
                    </a:lnTo>
                    <a:lnTo>
                      <a:pt x="80" y="5"/>
                    </a:lnTo>
                    <a:lnTo>
                      <a:pt x="88" y="8"/>
                    </a:lnTo>
                    <a:lnTo>
                      <a:pt x="98" y="11"/>
                    </a:lnTo>
                    <a:lnTo>
                      <a:pt x="103" y="10"/>
                    </a:lnTo>
                    <a:lnTo>
                      <a:pt x="105" y="13"/>
                    </a:lnTo>
                    <a:lnTo>
                      <a:pt x="101" y="18"/>
                    </a:lnTo>
                    <a:lnTo>
                      <a:pt x="103" y="19"/>
                    </a:lnTo>
                    <a:lnTo>
                      <a:pt x="101" y="23"/>
                    </a:lnTo>
                    <a:lnTo>
                      <a:pt x="101" y="29"/>
                    </a:lnTo>
                    <a:lnTo>
                      <a:pt x="98" y="28"/>
                    </a:lnTo>
                    <a:lnTo>
                      <a:pt x="97" y="29"/>
                    </a:lnTo>
                    <a:lnTo>
                      <a:pt x="93" y="31"/>
                    </a:lnTo>
                    <a:lnTo>
                      <a:pt x="90" y="31"/>
                    </a:lnTo>
                    <a:lnTo>
                      <a:pt x="87" y="34"/>
                    </a:lnTo>
                    <a:lnTo>
                      <a:pt x="84" y="34"/>
                    </a:lnTo>
                    <a:lnTo>
                      <a:pt x="82" y="37"/>
                    </a:lnTo>
                    <a:lnTo>
                      <a:pt x="84" y="41"/>
                    </a:lnTo>
                    <a:lnTo>
                      <a:pt x="87" y="44"/>
                    </a:lnTo>
                    <a:lnTo>
                      <a:pt x="84" y="47"/>
                    </a:lnTo>
                    <a:lnTo>
                      <a:pt x="82" y="49"/>
                    </a:lnTo>
                    <a:lnTo>
                      <a:pt x="84" y="52"/>
                    </a:lnTo>
                    <a:lnTo>
                      <a:pt x="85" y="57"/>
                    </a:lnTo>
                    <a:lnTo>
                      <a:pt x="87" y="60"/>
                    </a:lnTo>
                    <a:lnTo>
                      <a:pt x="93" y="63"/>
                    </a:lnTo>
                    <a:lnTo>
                      <a:pt x="97" y="65"/>
                    </a:lnTo>
                    <a:lnTo>
                      <a:pt x="100" y="68"/>
                    </a:lnTo>
                    <a:lnTo>
                      <a:pt x="110" y="78"/>
                    </a:lnTo>
                    <a:lnTo>
                      <a:pt x="110" y="81"/>
                    </a:lnTo>
                    <a:lnTo>
                      <a:pt x="111" y="81"/>
                    </a:lnTo>
                    <a:lnTo>
                      <a:pt x="111" y="85"/>
                    </a:lnTo>
                    <a:lnTo>
                      <a:pt x="113" y="88"/>
                    </a:lnTo>
                    <a:lnTo>
                      <a:pt x="116" y="91"/>
                    </a:lnTo>
                    <a:lnTo>
                      <a:pt x="118" y="95"/>
                    </a:lnTo>
                    <a:lnTo>
                      <a:pt x="123" y="99"/>
                    </a:lnTo>
                    <a:lnTo>
                      <a:pt x="126" y="101"/>
                    </a:lnTo>
                    <a:lnTo>
                      <a:pt x="128" y="103"/>
                    </a:lnTo>
                    <a:lnTo>
                      <a:pt x="131" y="103"/>
                    </a:lnTo>
                    <a:lnTo>
                      <a:pt x="136" y="103"/>
                    </a:lnTo>
                    <a:lnTo>
                      <a:pt x="139" y="104"/>
                    </a:lnTo>
                    <a:lnTo>
                      <a:pt x="142" y="103"/>
                    </a:lnTo>
                    <a:lnTo>
                      <a:pt x="146" y="104"/>
                    </a:lnTo>
                    <a:lnTo>
                      <a:pt x="144" y="108"/>
                    </a:lnTo>
                    <a:lnTo>
                      <a:pt x="141" y="109"/>
                    </a:lnTo>
                    <a:lnTo>
                      <a:pt x="141" y="111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52" y="116"/>
                    </a:lnTo>
                    <a:lnTo>
                      <a:pt x="164" y="122"/>
                    </a:lnTo>
                    <a:lnTo>
                      <a:pt x="168" y="126"/>
                    </a:lnTo>
                    <a:lnTo>
                      <a:pt x="172" y="129"/>
                    </a:lnTo>
                    <a:lnTo>
                      <a:pt x="177" y="130"/>
                    </a:lnTo>
                    <a:lnTo>
                      <a:pt x="180" y="132"/>
                    </a:lnTo>
                    <a:lnTo>
                      <a:pt x="182" y="135"/>
                    </a:lnTo>
                    <a:lnTo>
                      <a:pt x="180" y="139"/>
                    </a:lnTo>
                    <a:lnTo>
                      <a:pt x="178" y="140"/>
                    </a:lnTo>
                    <a:lnTo>
                      <a:pt x="180" y="144"/>
                    </a:lnTo>
                    <a:lnTo>
                      <a:pt x="178" y="144"/>
                    </a:lnTo>
                    <a:lnTo>
                      <a:pt x="178" y="145"/>
                    </a:lnTo>
                    <a:lnTo>
                      <a:pt x="175" y="144"/>
                    </a:lnTo>
                    <a:lnTo>
                      <a:pt x="173" y="140"/>
                    </a:lnTo>
                    <a:lnTo>
                      <a:pt x="172" y="139"/>
                    </a:lnTo>
                    <a:lnTo>
                      <a:pt x="172" y="135"/>
                    </a:lnTo>
                    <a:lnTo>
                      <a:pt x="170" y="134"/>
                    </a:lnTo>
                    <a:lnTo>
                      <a:pt x="165" y="134"/>
                    </a:lnTo>
                    <a:lnTo>
                      <a:pt x="165" y="134"/>
                    </a:lnTo>
                    <a:lnTo>
                      <a:pt x="162" y="132"/>
                    </a:lnTo>
                    <a:lnTo>
                      <a:pt x="159" y="132"/>
                    </a:lnTo>
                    <a:lnTo>
                      <a:pt x="159" y="132"/>
                    </a:lnTo>
                    <a:lnTo>
                      <a:pt x="157" y="137"/>
                    </a:lnTo>
                    <a:lnTo>
                      <a:pt x="155" y="139"/>
                    </a:lnTo>
                    <a:lnTo>
                      <a:pt x="155" y="140"/>
                    </a:lnTo>
                    <a:lnTo>
                      <a:pt x="155" y="144"/>
                    </a:lnTo>
                    <a:lnTo>
                      <a:pt x="152" y="145"/>
                    </a:lnTo>
                    <a:lnTo>
                      <a:pt x="152" y="147"/>
                    </a:lnTo>
                    <a:lnTo>
                      <a:pt x="154" y="148"/>
                    </a:lnTo>
                    <a:lnTo>
                      <a:pt x="155" y="148"/>
                    </a:lnTo>
                    <a:lnTo>
                      <a:pt x="160" y="153"/>
                    </a:lnTo>
                    <a:lnTo>
                      <a:pt x="162" y="155"/>
                    </a:lnTo>
                    <a:lnTo>
                      <a:pt x="160" y="160"/>
                    </a:lnTo>
                    <a:lnTo>
                      <a:pt x="162" y="161"/>
                    </a:lnTo>
                    <a:lnTo>
                      <a:pt x="160" y="163"/>
                    </a:lnTo>
                    <a:lnTo>
                      <a:pt x="159" y="163"/>
                    </a:lnTo>
                    <a:lnTo>
                      <a:pt x="155" y="166"/>
                    </a:lnTo>
                    <a:lnTo>
                      <a:pt x="155" y="175"/>
                    </a:lnTo>
                    <a:lnTo>
                      <a:pt x="150" y="178"/>
                    </a:lnTo>
                    <a:lnTo>
                      <a:pt x="150" y="181"/>
                    </a:lnTo>
                    <a:lnTo>
                      <a:pt x="147" y="184"/>
                    </a:lnTo>
                    <a:lnTo>
                      <a:pt x="144" y="184"/>
                    </a:lnTo>
                    <a:lnTo>
                      <a:pt x="139" y="181"/>
                    </a:lnTo>
                    <a:lnTo>
                      <a:pt x="139" y="178"/>
                    </a:lnTo>
                    <a:lnTo>
                      <a:pt x="141" y="178"/>
                    </a:lnTo>
                    <a:lnTo>
                      <a:pt x="142" y="176"/>
                    </a:lnTo>
                    <a:lnTo>
                      <a:pt x="144" y="175"/>
                    </a:lnTo>
                    <a:lnTo>
                      <a:pt x="144" y="171"/>
                    </a:lnTo>
                    <a:lnTo>
                      <a:pt x="144" y="168"/>
                    </a:lnTo>
                    <a:lnTo>
                      <a:pt x="146" y="168"/>
                    </a:lnTo>
                    <a:lnTo>
                      <a:pt x="146" y="168"/>
                    </a:lnTo>
                    <a:lnTo>
                      <a:pt x="147" y="165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6" y="153"/>
                    </a:lnTo>
                    <a:lnTo>
                      <a:pt x="144" y="152"/>
                    </a:lnTo>
                    <a:lnTo>
                      <a:pt x="142" y="147"/>
                    </a:lnTo>
                    <a:lnTo>
                      <a:pt x="141" y="142"/>
                    </a:lnTo>
                    <a:lnTo>
                      <a:pt x="139" y="140"/>
                    </a:lnTo>
                    <a:lnTo>
                      <a:pt x="137" y="142"/>
                    </a:lnTo>
                    <a:lnTo>
                      <a:pt x="133" y="140"/>
                    </a:lnTo>
                    <a:lnTo>
                      <a:pt x="133" y="137"/>
                    </a:lnTo>
                    <a:lnTo>
                      <a:pt x="129" y="137"/>
                    </a:lnTo>
                    <a:lnTo>
                      <a:pt x="128" y="135"/>
                    </a:lnTo>
                    <a:lnTo>
                      <a:pt x="128" y="134"/>
                    </a:lnTo>
                    <a:lnTo>
                      <a:pt x="128" y="130"/>
                    </a:lnTo>
                    <a:lnTo>
                      <a:pt x="126" y="129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21" y="126"/>
                    </a:lnTo>
                    <a:lnTo>
                      <a:pt x="118" y="126"/>
                    </a:lnTo>
                    <a:lnTo>
                      <a:pt x="116" y="126"/>
                    </a:lnTo>
                    <a:lnTo>
                      <a:pt x="115" y="124"/>
                    </a:lnTo>
                    <a:lnTo>
                      <a:pt x="111" y="117"/>
                    </a:lnTo>
                    <a:lnTo>
                      <a:pt x="108" y="117"/>
                    </a:lnTo>
                    <a:lnTo>
                      <a:pt x="105" y="117"/>
                    </a:lnTo>
                    <a:lnTo>
                      <a:pt x="103" y="119"/>
                    </a:lnTo>
                    <a:lnTo>
                      <a:pt x="100" y="119"/>
                    </a:lnTo>
                    <a:lnTo>
                      <a:pt x="98" y="116"/>
                    </a:lnTo>
                    <a:lnTo>
                      <a:pt x="97" y="114"/>
                    </a:lnTo>
                    <a:lnTo>
                      <a:pt x="93" y="114"/>
                    </a:lnTo>
                    <a:lnTo>
                      <a:pt x="87" y="109"/>
                    </a:lnTo>
                    <a:lnTo>
                      <a:pt x="80" y="101"/>
                    </a:lnTo>
                    <a:lnTo>
                      <a:pt x="79" y="99"/>
                    </a:lnTo>
                    <a:lnTo>
                      <a:pt x="79" y="98"/>
                    </a:lnTo>
                    <a:lnTo>
                      <a:pt x="75" y="93"/>
                    </a:lnTo>
                    <a:lnTo>
                      <a:pt x="70" y="93"/>
                    </a:lnTo>
                    <a:lnTo>
                      <a:pt x="70" y="90"/>
                    </a:lnTo>
                    <a:lnTo>
                      <a:pt x="66" y="86"/>
                    </a:lnTo>
                    <a:lnTo>
                      <a:pt x="64" y="83"/>
                    </a:lnTo>
                    <a:lnTo>
                      <a:pt x="59" y="81"/>
                    </a:lnTo>
                    <a:lnTo>
                      <a:pt x="59" y="77"/>
                    </a:lnTo>
                    <a:lnTo>
                      <a:pt x="57" y="75"/>
                    </a:lnTo>
                    <a:lnTo>
                      <a:pt x="57" y="72"/>
                    </a:lnTo>
                    <a:lnTo>
                      <a:pt x="54" y="67"/>
                    </a:lnTo>
                    <a:lnTo>
                      <a:pt x="52" y="65"/>
                    </a:lnTo>
                    <a:lnTo>
                      <a:pt x="52" y="63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3" y="57"/>
                    </a:lnTo>
                    <a:lnTo>
                      <a:pt x="33" y="54"/>
                    </a:lnTo>
                    <a:lnTo>
                      <a:pt x="25" y="59"/>
                    </a:lnTo>
                    <a:lnTo>
                      <a:pt x="25" y="62"/>
                    </a:lnTo>
                    <a:lnTo>
                      <a:pt x="21" y="65"/>
                    </a:lnTo>
                    <a:lnTo>
                      <a:pt x="13" y="67"/>
                    </a:lnTo>
                    <a:lnTo>
                      <a:pt x="13" y="67"/>
                    </a:lnTo>
                    <a:close/>
                    <a:moveTo>
                      <a:pt x="26" y="121"/>
                    </a:moveTo>
                    <a:lnTo>
                      <a:pt x="26" y="121"/>
                    </a:lnTo>
                    <a:lnTo>
                      <a:pt x="26" y="119"/>
                    </a:lnTo>
                    <a:lnTo>
                      <a:pt x="28" y="117"/>
                    </a:lnTo>
                    <a:lnTo>
                      <a:pt x="26" y="117"/>
                    </a:lnTo>
                    <a:lnTo>
                      <a:pt x="26" y="119"/>
                    </a:lnTo>
                    <a:lnTo>
                      <a:pt x="25" y="119"/>
                    </a:lnTo>
                    <a:lnTo>
                      <a:pt x="26" y="121"/>
                    </a:lnTo>
                    <a:lnTo>
                      <a:pt x="26" y="121"/>
                    </a:lnTo>
                    <a:close/>
                    <a:moveTo>
                      <a:pt x="66" y="95"/>
                    </a:moveTo>
                    <a:lnTo>
                      <a:pt x="67" y="96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6" y="95"/>
                    </a:lnTo>
                    <a:close/>
                    <a:moveTo>
                      <a:pt x="52" y="85"/>
                    </a:moveTo>
                    <a:lnTo>
                      <a:pt x="52" y="86"/>
                    </a:lnTo>
                    <a:lnTo>
                      <a:pt x="54" y="88"/>
                    </a:lnTo>
                    <a:lnTo>
                      <a:pt x="57" y="86"/>
                    </a:lnTo>
                    <a:lnTo>
                      <a:pt x="59" y="86"/>
                    </a:lnTo>
                    <a:lnTo>
                      <a:pt x="59" y="85"/>
                    </a:lnTo>
                    <a:lnTo>
                      <a:pt x="57" y="83"/>
                    </a:lnTo>
                    <a:lnTo>
                      <a:pt x="57" y="85"/>
                    </a:lnTo>
                    <a:lnTo>
                      <a:pt x="52" y="85"/>
                    </a:lnTo>
                    <a:lnTo>
                      <a:pt x="52" y="85"/>
                    </a:lnTo>
                    <a:close/>
                    <a:moveTo>
                      <a:pt x="35" y="165"/>
                    </a:moveTo>
                    <a:lnTo>
                      <a:pt x="35" y="163"/>
                    </a:lnTo>
                    <a:lnTo>
                      <a:pt x="36" y="165"/>
                    </a:lnTo>
                    <a:lnTo>
                      <a:pt x="39" y="163"/>
                    </a:lnTo>
                    <a:lnTo>
                      <a:pt x="39" y="160"/>
                    </a:lnTo>
                    <a:lnTo>
                      <a:pt x="39" y="158"/>
                    </a:lnTo>
                    <a:lnTo>
                      <a:pt x="43" y="158"/>
                    </a:lnTo>
                    <a:lnTo>
                      <a:pt x="44" y="160"/>
                    </a:lnTo>
                    <a:lnTo>
                      <a:pt x="46" y="160"/>
                    </a:lnTo>
                    <a:lnTo>
                      <a:pt x="48" y="158"/>
                    </a:lnTo>
                    <a:lnTo>
                      <a:pt x="48" y="152"/>
                    </a:lnTo>
                    <a:lnTo>
                      <a:pt x="49" y="150"/>
                    </a:lnTo>
                    <a:lnTo>
                      <a:pt x="48" y="144"/>
                    </a:lnTo>
                    <a:lnTo>
                      <a:pt x="49" y="137"/>
                    </a:lnTo>
                    <a:lnTo>
                      <a:pt x="44" y="134"/>
                    </a:lnTo>
                    <a:lnTo>
                      <a:pt x="48" y="132"/>
                    </a:lnTo>
                    <a:lnTo>
                      <a:pt x="49" y="129"/>
                    </a:lnTo>
                    <a:lnTo>
                      <a:pt x="48" y="126"/>
                    </a:lnTo>
                    <a:lnTo>
                      <a:pt x="46" y="122"/>
                    </a:lnTo>
                    <a:lnTo>
                      <a:pt x="44" y="119"/>
                    </a:lnTo>
                    <a:lnTo>
                      <a:pt x="43" y="121"/>
                    </a:lnTo>
                    <a:lnTo>
                      <a:pt x="39" y="117"/>
                    </a:lnTo>
                    <a:lnTo>
                      <a:pt x="38" y="117"/>
                    </a:lnTo>
                    <a:lnTo>
                      <a:pt x="31" y="126"/>
                    </a:lnTo>
                    <a:lnTo>
                      <a:pt x="30" y="126"/>
                    </a:lnTo>
                    <a:lnTo>
                      <a:pt x="25" y="122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30" y="135"/>
                    </a:lnTo>
                    <a:lnTo>
                      <a:pt x="30" y="139"/>
                    </a:lnTo>
                    <a:lnTo>
                      <a:pt x="28" y="142"/>
                    </a:lnTo>
                    <a:lnTo>
                      <a:pt x="28" y="144"/>
                    </a:lnTo>
                    <a:lnTo>
                      <a:pt x="31" y="144"/>
                    </a:lnTo>
                    <a:lnTo>
                      <a:pt x="31" y="145"/>
                    </a:lnTo>
                    <a:lnTo>
                      <a:pt x="30" y="148"/>
                    </a:lnTo>
                    <a:lnTo>
                      <a:pt x="28" y="153"/>
                    </a:lnTo>
                    <a:lnTo>
                      <a:pt x="30" y="155"/>
                    </a:lnTo>
                    <a:lnTo>
                      <a:pt x="31" y="161"/>
                    </a:lnTo>
                    <a:lnTo>
                      <a:pt x="35" y="165"/>
                    </a:lnTo>
                    <a:lnTo>
                      <a:pt x="35" y="165"/>
                    </a:lnTo>
                    <a:close/>
                    <a:moveTo>
                      <a:pt x="134" y="207"/>
                    </a:moveTo>
                    <a:lnTo>
                      <a:pt x="134" y="202"/>
                    </a:lnTo>
                    <a:lnTo>
                      <a:pt x="136" y="201"/>
                    </a:lnTo>
                    <a:lnTo>
                      <a:pt x="134" y="197"/>
                    </a:lnTo>
                    <a:lnTo>
                      <a:pt x="133" y="194"/>
                    </a:lnTo>
                    <a:lnTo>
                      <a:pt x="134" y="186"/>
                    </a:lnTo>
                    <a:lnTo>
                      <a:pt x="137" y="183"/>
                    </a:lnTo>
                    <a:lnTo>
                      <a:pt x="139" y="179"/>
                    </a:lnTo>
                    <a:lnTo>
                      <a:pt x="136" y="176"/>
                    </a:lnTo>
                    <a:lnTo>
                      <a:pt x="133" y="179"/>
                    </a:lnTo>
                    <a:lnTo>
                      <a:pt x="131" y="179"/>
                    </a:lnTo>
                    <a:lnTo>
                      <a:pt x="126" y="178"/>
                    </a:lnTo>
                    <a:lnTo>
                      <a:pt x="123" y="181"/>
                    </a:lnTo>
                    <a:lnTo>
                      <a:pt x="116" y="181"/>
                    </a:lnTo>
                    <a:lnTo>
                      <a:pt x="110" y="183"/>
                    </a:lnTo>
                    <a:lnTo>
                      <a:pt x="106" y="181"/>
                    </a:lnTo>
                    <a:lnTo>
                      <a:pt x="103" y="179"/>
                    </a:lnTo>
                    <a:lnTo>
                      <a:pt x="100" y="179"/>
                    </a:lnTo>
                    <a:lnTo>
                      <a:pt x="98" y="181"/>
                    </a:lnTo>
                    <a:lnTo>
                      <a:pt x="97" y="179"/>
                    </a:lnTo>
                    <a:lnTo>
                      <a:pt x="93" y="183"/>
                    </a:lnTo>
                    <a:lnTo>
                      <a:pt x="92" y="188"/>
                    </a:lnTo>
                    <a:lnTo>
                      <a:pt x="97" y="191"/>
                    </a:lnTo>
                    <a:lnTo>
                      <a:pt x="100" y="189"/>
                    </a:lnTo>
                    <a:lnTo>
                      <a:pt x="105" y="194"/>
                    </a:lnTo>
                    <a:lnTo>
                      <a:pt x="108" y="194"/>
                    </a:lnTo>
                    <a:lnTo>
                      <a:pt x="111" y="197"/>
                    </a:lnTo>
                    <a:lnTo>
                      <a:pt x="118" y="201"/>
                    </a:lnTo>
                    <a:lnTo>
                      <a:pt x="119" y="199"/>
                    </a:lnTo>
                    <a:lnTo>
                      <a:pt x="123" y="202"/>
                    </a:lnTo>
                    <a:lnTo>
                      <a:pt x="124" y="204"/>
                    </a:lnTo>
                    <a:lnTo>
                      <a:pt x="131" y="207"/>
                    </a:lnTo>
                    <a:lnTo>
                      <a:pt x="134" y="20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1" name="Freeform 224">
                <a:extLst>
                  <a:ext uri="{FF2B5EF4-FFF2-40B4-BE49-F238E27FC236}">
                    <a16:creationId xmlns:a16="http://schemas.microsoft.com/office/drawing/2014/main" xmlns="" id="{E225797A-6A54-4BC2-8C8D-D8FC1841FC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24" y="1296"/>
                <a:ext cx="196" cy="150"/>
              </a:xfrm>
              <a:custGeom>
                <a:avLst/>
                <a:gdLst>
                  <a:gd name="T0" fmla="*/ 70 w 120"/>
                  <a:gd name="T1" fmla="*/ 6 h 92"/>
                  <a:gd name="T2" fmla="*/ 71 w 120"/>
                  <a:gd name="T3" fmla="*/ 10 h 92"/>
                  <a:gd name="T4" fmla="*/ 80 w 120"/>
                  <a:gd name="T5" fmla="*/ 13 h 92"/>
                  <a:gd name="T6" fmla="*/ 87 w 120"/>
                  <a:gd name="T7" fmla="*/ 14 h 92"/>
                  <a:gd name="T8" fmla="*/ 94 w 120"/>
                  <a:gd name="T9" fmla="*/ 13 h 92"/>
                  <a:gd name="T10" fmla="*/ 101 w 120"/>
                  <a:gd name="T11" fmla="*/ 15 h 92"/>
                  <a:gd name="T12" fmla="*/ 110 w 120"/>
                  <a:gd name="T13" fmla="*/ 17 h 92"/>
                  <a:gd name="T14" fmla="*/ 109 w 120"/>
                  <a:gd name="T15" fmla="*/ 23 h 92"/>
                  <a:gd name="T16" fmla="*/ 104 w 120"/>
                  <a:gd name="T17" fmla="*/ 29 h 92"/>
                  <a:gd name="T18" fmla="*/ 96 w 120"/>
                  <a:gd name="T19" fmla="*/ 32 h 92"/>
                  <a:gd name="T20" fmla="*/ 92 w 120"/>
                  <a:gd name="T21" fmla="*/ 36 h 92"/>
                  <a:gd name="T22" fmla="*/ 90 w 120"/>
                  <a:gd name="T23" fmla="*/ 39 h 92"/>
                  <a:gd name="T24" fmla="*/ 87 w 120"/>
                  <a:gd name="T25" fmla="*/ 43 h 92"/>
                  <a:gd name="T26" fmla="*/ 80 w 120"/>
                  <a:gd name="T27" fmla="*/ 52 h 92"/>
                  <a:gd name="T28" fmla="*/ 84 w 120"/>
                  <a:gd name="T29" fmla="*/ 58 h 92"/>
                  <a:gd name="T30" fmla="*/ 81 w 120"/>
                  <a:gd name="T31" fmla="*/ 64 h 92"/>
                  <a:gd name="T32" fmla="*/ 77 w 120"/>
                  <a:gd name="T33" fmla="*/ 74 h 92"/>
                  <a:gd name="T34" fmla="*/ 74 w 120"/>
                  <a:gd name="T35" fmla="*/ 76 h 92"/>
                  <a:gd name="T36" fmla="*/ 66 w 120"/>
                  <a:gd name="T37" fmla="*/ 84 h 92"/>
                  <a:gd name="T38" fmla="*/ 61 w 120"/>
                  <a:gd name="T39" fmla="*/ 84 h 92"/>
                  <a:gd name="T40" fmla="*/ 56 w 120"/>
                  <a:gd name="T41" fmla="*/ 84 h 92"/>
                  <a:gd name="T42" fmla="*/ 49 w 120"/>
                  <a:gd name="T43" fmla="*/ 83 h 92"/>
                  <a:gd name="T44" fmla="*/ 41 w 120"/>
                  <a:gd name="T45" fmla="*/ 87 h 92"/>
                  <a:gd name="T46" fmla="*/ 36 w 120"/>
                  <a:gd name="T47" fmla="*/ 91 h 92"/>
                  <a:gd name="T48" fmla="*/ 27 w 120"/>
                  <a:gd name="T49" fmla="*/ 88 h 92"/>
                  <a:gd name="T50" fmla="*/ 21 w 120"/>
                  <a:gd name="T51" fmla="*/ 79 h 92"/>
                  <a:gd name="T52" fmla="*/ 17 w 120"/>
                  <a:gd name="T53" fmla="*/ 76 h 92"/>
                  <a:gd name="T54" fmla="*/ 20 w 120"/>
                  <a:gd name="T55" fmla="*/ 68 h 92"/>
                  <a:gd name="T56" fmla="*/ 17 w 120"/>
                  <a:gd name="T57" fmla="*/ 63 h 92"/>
                  <a:gd name="T58" fmla="*/ 17 w 120"/>
                  <a:gd name="T59" fmla="*/ 54 h 92"/>
                  <a:gd name="T60" fmla="*/ 19 w 120"/>
                  <a:gd name="T61" fmla="*/ 49 h 92"/>
                  <a:gd name="T62" fmla="*/ 22 w 120"/>
                  <a:gd name="T63" fmla="*/ 42 h 92"/>
                  <a:gd name="T64" fmla="*/ 25 w 120"/>
                  <a:gd name="T65" fmla="*/ 29 h 92"/>
                  <a:gd name="T66" fmla="*/ 25 w 120"/>
                  <a:gd name="T67" fmla="*/ 24 h 92"/>
                  <a:gd name="T68" fmla="*/ 19 w 120"/>
                  <a:gd name="T69" fmla="*/ 23 h 92"/>
                  <a:gd name="T70" fmla="*/ 9 w 120"/>
                  <a:gd name="T71" fmla="*/ 22 h 92"/>
                  <a:gd name="T72" fmla="*/ 4 w 120"/>
                  <a:gd name="T73" fmla="*/ 21 h 92"/>
                  <a:gd name="T74" fmla="*/ 4 w 120"/>
                  <a:gd name="T75" fmla="*/ 18 h 92"/>
                  <a:gd name="T76" fmla="*/ 5 w 120"/>
                  <a:gd name="T77" fmla="*/ 14 h 92"/>
                  <a:gd name="T78" fmla="*/ 3 w 120"/>
                  <a:gd name="T79" fmla="*/ 12 h 92"/>
                  <a:gd name="T80" fmla="*/ 1 w 120"/>
                  <a:gd name="T81" fmla="*/ 11 h 92"/>
                  <a:gd name="T82" fmla="*/ 5 w 120"/>
                  <a:gd name="T83" fmla="*/ 5 h 92"/>
                  <a:gd name="T84" fmla="*/ 11 w 120"/>
                  <a:gd name="T85" fmla="*/ 4 h 92"/>
                  <a:gd name="T86" fmla="*/ 13 w 120"/>
                  <a:gd name="T87" fmla="*/ 0 h 92"/>
                  <a:gd name="T88" fmla="*/ 17 w 120"/>
                  <a:gd name="T89" fmla="*/ 0 h 92"/>
                  <a:gd name="T90" fmla="*/ 23 w 120"/>
                  <a:gd name="T91" fmla="*/ 2 h 92"/>
                  <a:gd name="T92" fmla="*/ 31 w 120"/>
                  <a:gd name="T93" fmla="*/ 1 h 92"/>
                  <a:gd name="T94" fmla="*/ 41 w 120"/>
                  <a:gd name="T95" fmla="*/ 4 h 92"/>
                  <a:gd name="T96" fmla="*/ 52 w 120"/>
                  <a:gd name="T97" fmla="*/ 3 h 92"/>
                  <a:gd name="T98" fmla="*/ 58 w 120"/>
                  <a:gd name="T99" fmla="*/ 3 h 92"/>
                  <a:gd name="T100" fmla="*/ 66 w 120"/>
                  <a:gd name="T101" fmla="*/ 5 h 92"/>
                  <a:gd name="T102" fmla="*/ 115 w 120"/>
                  <a:gd name="T103" fmla="*/ 48 h 92"/>
                  <a:gd name="T104" fmla="*/ 120 w 120"/>
                  <a:gd name="T105" fmla="*/ 48 h 92"/>
                  <a:gd name="T106" fmla="*/ 115 w 120"/>
                  <a:gd name="T107" fmla="*/ 48 h 92"/>
                  <a:gd name="T108" fmla="*/ 112 w 120"/>
                  <a:gd name="T109" fmla="*/ 50 h 92"/>
                  <a:gd name="T110" fmla="*/ 106 w 120"/>
                  <a:gd name="T111" fmla="*/ 51 h 92"/>
                  <a:gd name="T112" fmla="*/ 109 w 120"/>
                  <a:gd name="T113" fmla="*/ 54 h 92"/>
                  <a:gd name="T114" fmla="*/ 100 w 120"/>
                  <a:gd name="T115" fmla="*/ 58 h 92"/>
                  <a:gd name="T116" fmla="*/ 96 w 120"/>
                  <a:gd name="T11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92">
                    <a:moveTo>
                      <a:pt x="68" y="4"/>
                    </a:moveTo>
                    <a:cubicBezTo>
                      <a:pt x="70" y="5"/>
                      <a:pt x="70" y="5"/>
                      <a:pt x="70" y="5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2" y="8"/>
                      <a:pt x="72" y="8"/>
                      <a:pt x="72" y="8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80" y="13"/>
                      <a:pt x="80" y="13"/>
                      <a:pt x="80" y="13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4" y="14"/>
                      <a:pt x="84" y="14"/>
                      <a:pt x="84" y="14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8" y="15"/>
                      <a:pt x="88" y="15"/>
                      <a:pt x="88" y="15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8" y="14"/>
                      <a:pt x="98" y="14"/>
                      <a:pt x="98" y="14"/>
                    </a:cubicBezTo>
                    <a:cubicBezTo>
                      <a:pt x="101" y="15"/>
                      <a:pt x="101" y="15"/>
                      <a:pt x="101" y="15"/>
                    </a:cubicBezTo>
                    <a:cubicBezTo>
                      <a:pt x="106" y="15"/>
                      <a:pt x="106" y="15"/>
                      <a:pt x="106" y="15"/>
                    </a:cubicBezTo>
                    <a:cubicBezTo>
                      <a:pt x="109" y="17"/>
                      <a:pt x="109" y="17"/>
                      <a:pt x="109" y="17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0" y="18"/>
                      <a:pt x="110" y="18"/>
                      <a:pt x="110" y="18"/>
                    </a:cubicBezTo>
                    <a:cubicBezTo>
                      <a:pt x="109" y="19"/>
                      <a:pt x="109" y="19"/>
                      <a:pt x="109" y="19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09" y="25"/>
                      <a:pt x="109" y="25"/>
                      <a:pt x="109" y="25"/>
                    </a:cubicBezTo>
                    <a:cubicBezTo>
                      <a:pt x="108" y="27"/>
                      <a:pt x="108" y="27"/>
                      <a:pt x="108" y="27"/>
                    </a:cubicBezTo>
                    <a:cubicBezTo>
                      <a:pt x="104" y="29"/>
                      <a:pt x="104" y="29"/>
                      <a:pt x="104" y="29"/>
                    </a:cubicBezTo>
                    <a:cubicBezTo>
                      <a:pt x="104" y="29"/>
                      <a:pt x="103" y="31"/>
                      <a:pt x="103" y="31"/>
                    </a:cubicBezTo>
                    <a:cubicBezTo>
                      <a:pt x="103" y="31"/>
                      <a:pt x="100" y="32"/>
                      <a:pt x="100" y="32"/>
                    </a:cubicBezTo>
                    <a:cubicBezTo>
                      <a:pt x="96" y="32"/>
                      <a:pt x="96" y="32"/>
                      <a:pt x="96" y="32"/>
                    </a:cubicBezTo>
                    <a:cubicBezTo>
                      <a:pt x="94" y="34"/>
                      <a:pt x="94" y="34"/>
                      <a:pt x="94" y="34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2" y="36"/>
                      <a:pt x="92" y="36"/>
                      <a:pt x="92" y="36"/>
                    </a:cubicBezTo>
                    <a:cubicBezTo>
                      <a:pt x="92" y="38"/>
                      <a:pt x="92" y="38"/>
                      <a:pt x="92" y="38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0" y="39"/>
                      <a:pt x="90" y="39"/>
                      <a:pt x="90" y="39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5" y="44"/>
                      <a:pt x="85" y="44"/>
                      <a:pt x="85" y="44"/>
                    </a:cubicBezTo>
                    <a:cubicBezTo>
                      <a:pt x="81" y="51"/>
                      <a:pt x="81" y="51"/>
                      <a:pt x="81" y="51"/>
                    </a:cubicBezTo>
                    <a:cubicBezTo>
                      <a:pt x="80" y="52"/>
                      <a:pt x="80" y="52"/>
                      <a:pt x="80" y="52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4" y="58"/>
                      <a:pt x="84" y="58"/>
                      <a:pt x="84" y="58"/>
                    </a:cubicBezTo>
                    <a:cubicBezTo>
                      <a:pt x="86" y="61"/>
                      <a:pt x="86" y="61"/>
                      <a:pt x="86" y="61"/>
                    </a:cubicBezTo>
                    <a:cubicBezTo>
                      <a:pt x="84" y="63"/>
                      <a:pt x="84" y="63"/>
                      <a:pt x="84" y="63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81" y="66"/>
                      <a:pt x="81" y="66"/>
                      <a:pt x="81" y="66"/>
                    </a:cubicBezTo>
                    <a:cubicBezTo>
                      <a:pt x="78" y="71"/>
                      <a:pt x="78" y="71"/>
                      <a:pt x="78" y="71"/>
                    </a:cubicBezTo>
                    <a:cubicBezTo>
                      <a:pt x="77" y="74"/>
                      <a:pt x="77" y="74"/>
                      <a:pt x="77" y="74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7" y="76"/>
                      <a:pt x="77" y="76"/>
                      <a:pt x="77" y="76"/>
                    </a:cubicBezTo>
                    <a:cubicBezTo>
                      <a:pt x="74" y="76"/>
                      <a:pt x="74" y="76"/>
                      <a:pt x="74" y="76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8" y="81"/>
                      <a:pt x="68" y="81"/>
                      <a:pt x="68" y="81"/>
                    </a:cubicBezTo>
                    <a:cubicBezTo>
                      <a:pt x="66" y="84"/>
                      <a:pt x="66" y="84"/>
                      <a:pt x="66" y="84"/>
                    </a:cubicBezTo>
                    <a:cubicBezTo>
                      <a:pt x="64" y="83"/>
                      <a:pt x="64" y="83"/>
                      <a:pt x="64" y="83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59" y="85"/>
                      <a:pt x="59" y="85"/>
                      <a:pt x="59" y="85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3" y="84"/>
                      <a:pt x="53" y="84"/>
                      <a:pt x="53" y="84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4" y="84"/>
                      <a:pt x="44" y="84"/>
                      <a:pt x="44" y="84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6" y="89"/>
                      <a:pt x="36" y="89"/>
                      <a:pt x="36" y="89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3" y="92"/>
                      <a:pt x="33" y="92"/>
                      <a:pt x="33" y="92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5" y="84"/>
                      <a:pt x="25" y="84"/>
                      <a:pt x="25" y="84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1" y="79"/>
                      <a:pt x="21" y="79"/>
                      <a:pt x="21" y="79"/>
                    </a:cubicBezTo>
                    <a:cubicBezTo>
                      <a:pt x="18" y="79"/>
                      <a:pt x="18" y="79"/>
                      <a:pt x="18" y="79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76"/>
                      <a:pt x="17" y="76"/>
                      <a:pt x="17" y="76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5" y="7"/>
                      <a:pt x="65" y="7"/>
                      <a:pt x="65" y="7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8" y="4"/>
                      <a:pt x="68" y="4"/>
                      <a:pt x="68" y="4"/>
                    </a:cubicBezTo>
                    <a:close/>
                    <a:moveTo>
                      <a:pt x="115" y="48"/>
                    </a:moveTo>
                    <a:cubicBezTo>
                      <a:pt x="118" y="48"/>
                      <a:pt x="118" y="48"/>
                      <a:pt x="118" y="48"/>
                    </a:cubicBezTo>
                    <a:cubicBezTo>
                      <a:pt x="120" y="49"/>
                      <a:pt x="120" y="49"/>
                      <a:pt x="120" y="49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5" y="46"/>
                      <a:pt x="115" y="46"/>
                      <a:pt x="115" y="46"/>
                    </a:cubicBezTo>
                    <a:cubicBezTo>
                      <a:pt x="115" y="48"/>
                      <a:pt x="115" y="48"/>
                      <a:pt x="115" y="48"/>
                    </a:cubicBezTo>
                    <a:close/>
                    <a:moveTo>
                      <a:pt x="109" y="54"/>
                    </a:moveTo>
                    <a:cubicBezTo>
                      <a:pt x="110" y="52"/>
                      <a:pt x="110" y="52"/>
                      <a:pt x="110" y="52"/>
                    </a:cubicBezTo>
                    <a:cubicBezTo>
                      <a:pt x="112" y="50"/>
                      <a:pt x="112" y="50"/>
                      <a:pt x="112" y="50"/>
                    </a:cubicBezTo>
                    <a:cubicBezTo>
                      <a:pt x="110" y="50"/>
                      <a:pt x="110" y="50"/>
                      <a:pt x="110" y="50"/>
                    </a:cubicBezTo>
                    <a:cubicBezTo>
                      <a:pt x="108" y="49"/>
                      <a:pt x="108" y="49"/>
                      <a:pt x="108" y="49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6" y="52"/>
                      <a:pt x="106" y="52"/>
                      <a:pt x="106" y="52"/>
                    </a:cubicBezTo>
                    <a:cubicBezTo>
                      <a:pt x="108" y="53"/>
                      <a:pt x="108" y="53"/>
                      <a:pt x="108" y="53"/>
                    </a:cubicBezTo>
                    <a:cubicBezTo>
                      <a:pt x="109" y="54"/>
                      <a:pt x="109" y="54"/>
                      <a:pt x="109" y="54"/>
                    </a:cubicBezTo>
                    <a:close/>
                    <a:moveTo>
                      <a:pt x="98" y="61"/>
                    </a:moveTo>
                    <a:cubicBezTo>
                      <a:pt x="99" y="59"/>
                      <a:pt x="99" y="59"/>
                      <a:pt x="99" y="59"/>
                    </a:cubicBezTo>
                    <a:cubicBezTo>
                      <a:pt x="100" y="58"/>
                      <a:pt x="100" y="58"/>
                      <a:pt x="100" y="58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7" y="58"/>
                      <a:pt x="97" y="58"/>
                      <a:pt x="97" y="58"/>
                    </a:cubicBezTo>
                    <a:cubicBezTo>
                      <a:pt x="96" y="60"/>
                      <a:pt x="96" y="60"/>
                      <a:pt x="96" y="60"/>
                    </a:cubicBezTo>
                    <a:lnTo>
                      <a:pt x="98" y="6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2" name="Freeform 225">
                <a:extLst>
                  <a:ext uri="{FF2B5EF4-FFF2-40B4-BE49-F238E27FC236}">
                    <a16:creationId xmlns:a16="http://schemas.microsoft.com/office/drawing/2014/main" xmlns="" id="{7B955157-3AFD-4C9C-B412-AD0CE0422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9" y="1328"/>
                <a:ext cx="49" cy="100"/>
              </a:xfrm>
              <a:custGeom>
                <a:avLst/>
                <a:gdLst>
                  <a:gd name="T0" fmla="*/ 32 w 49"/>
                  <a:gd name="T1" fmla="*/ 92 h 100"/>
                  <a:gd name="T2" fmla="*/ 34 w 49"/>
                  <a:gd name="T3" fmla="*/ 82 h 100"/>
                  <a:gd name="T4" fmla="*/ 37 w 49"/>
                  <a:gd name="T5" fmla="*/ 76 h 100"/>
                  <a:gd name="T6" fmla="*/ 32 w 49"/>
                  <a:gd name="T7" fmla="*/ 71 h 100"/>
                  <a:gd name="T8" fmla="*/ 37 w 49"/>
                  <a:gd name="T9" fmla="*/ 59 h 100"/>
                  <a:gd name="T10" fmla="*/ 29 w 49"/>
                  <a:gd name="T11" fmla="*/ 48 h 100"/>
                  <a:gd name="T12" fmla="*/ 36 w 49"/>
                  <a:gd name="T13" fmla="*/ 48 h 100"/>
                  <a:gd name="T14" fmla="*/ 37 w 49"/>
                  <a:gd name="T15" fmla="*/ 40 h 100"/>
                  <a:gd name="T16" fmla="*/ 41 w 49"/>
                  <a:gd name="T17" fmla="*/ 25 h 100"/>
                  <a:gd name="T18" fmla="*/ 45 w 49"/>
                  <a:gd name="T19" fmla="*/ 15 h 100"/>
                  <a:gd name="T20" fmla="*/ 49 w 49"/>
                  <a:gd name="T21" fmla="*/ 12 h 100"/>
                  <a:gd name="T22" fmla="*/ 45 w 49"/>
                  <a:gd name="T23" fmla="*/ 4 h 100"/>
                  <a:gd name="T24" fmla="*/ 36 w 49"/>
                  <a:gd name="T25" fmla="*/ 5 h 100"/>
                  <a:gd name="T26" fmla="*/ 21 w 49"/>
                  <a:gd name="T27" fmla="*/ 7 h 100"/>
                  <a:gd name="T28" fmla="*/ 21 w 49"/>
                  <a:gd name="T29" fmla="*/ 0 h 100"/>
                  <a:gd name="T30" fmla="*/ 11 w 49"/>
                  <a:gd name="T31" fmla="*/ 2 h 100"/>
                  <a:gd name="T32" fmla="*/ 13 w 49"/>
                  <a:gd name="T33" fmla="*/ 10 h 100"/>
                  <a:gd name="T34" fmla="*/ 13 w 49"/>
                  <a:gd name="T35" fmla="*/ 22 h 100"/>
                  <a:gd name="T36" fmla="*/ 14 w 49"/>
                  <a:gd name="T37" fmla="*/ 30 h 100"/>
                  <a:gd name="T38" fmla="*/ 9 w 49"/>
                  <a:gd name="T39" fmla="*/ 36 h 100"/>
                  <a:gd name="T40" fmla="*/ 6 w 49"/>
                  <a:gd name="T41" fmla="*/ 46 h 100"/>
                  <a:gd name="T42" fmla="*/ 3 w 49"/>
                  <a:gd name="T43" fmla="*/ 56 h 100"/>
                  <a:gd name="T44" fmla="*/ 0 w 49"/>
                  <a:gd name="T45" fmla="*/ 67 h 100"/>
                  <a:gd name="T46" fmla="*/ 5 w 49"/>
                  <a:gd name="T47" fmla="*/ 64 h 100"/>
                  <a:gd name="T48" fmla="*/ 8 w 49"/>
                  <a:gd name="T49" fmla="*/ 64 h 100"/>
                  <a:gd name="T50" fmla="*/ 5 w 49"/>
                  <a:gd name="T51" fmla="*/ 69 h 100"/>
                  <a:gd name="T52" fmla="*/ 5 w 49"/>
                  <a:gd name="T53" fmla="*/ 74 h 100"/>
                  <a:gd name="T54" fmla="*/ 11 w 49"/>
                  <a:gd name="T55" fmla="*/ 72 h 100"/>
                  <a:gd name="T56" fmla="*/ 11 w 49"/>
                  <a:gd name="T57" fmla="*/ 79 h 100"/>
                  <a:gd name="T58" fmla="*/ 9 w 49"/>
                  <a:gd name="T59" fmla="*/ 90 h 100"/>
                  <a:gd name="T60" fmla="*/ 6 w 49"/>
                  <a:gd name="T61" fmla="*/ 98 h 100"/>
                  <a:gd name="T62" fmla="*/ 13 w 49"/>
                  <a:gd name="T63" fmla="*/ 97 h 100"/>
                  <a:gd name="T64" fmla="*/ 23 w 49"/>
                  <a:gd name="T65" fmla="*/ 100 h 100"/>
                  <a:gd name="T66" fmla="*/ 31 w 49"/>
                  <a:gd name="T67" fmla="*/ 97 h 100"/>
                  <a:gd name="T68" fmla="*/ 32 w 49"/>
                  <a:gd name="T69" fmla="*/ 97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9" h="100">
                    <a:moveTo>
                      <a:pt x="32" y="97"/>
                    </a:moveTo>
                    <a:lnTo>
                      <a:pt x="32" y="92"/>
                    </a:lnTo>
                    <a:lnTo>
                      <a:pt x="29" y="89"/>
                    </a:lnTo>
                    <a:lnTo>
                      <a:pt x="34" y="82"/>
                    </a:lnTo>
                    <a:lnTo>
                      <a:pt x="37" y="79"/>
                    </a:lnTo>
                    <a:lnTo>
                      <a:pt x="37" y="76"/>
                    </a:lnTo>
                    <a:lnTo>
                      <a:pt x="34" y="76"/>
                    </a:lnTo>
                    <a:lnTo>
                      <a:pt x="32" y="71"/>
                    </a:lnTo>
                    <a:lnTo>
                      <a:pt x="37" y="66"/>
                    </a:lnTo>
                    <a:lnTo>
                      <a:pt x="37" y="59"/>
                    </a:lnTo>
                    <a:lnTo>
                      <a:pt x="32" y="56"/>
                    </a:lnTo>
                    <a:lnTo>
                      <a:pt x="29" y="48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9" y="43"/>
                    </a:lnTo>
                    <a:lnTo>
                      <a:pt x="37" y="40"/>
                    </a:lnTo>
                    <a:lnTo>
                      <a:pt x="41" y="36"/>
                    </a:lnTo>
                    <a:lnTo>
                      <a:pt x="41" y="25"/>
                    </a:lnTo>
                    <a:lnTo>
                      <a:pt x="41" y="22"/>
                    </a:lnTo>
                    <a:lnTo>
                      <a:pt x="45" y="15"/>
                    </a:lnTo>
                    <a:lnTo>
                      <a:pt x="49" y="15"/>
                    </a:lnTo>
                    <a:lnTo>
                      <a:pt x="49" y="12"/>
                    </a:lnTo>
                    <a:lnTo>
                      <a:pt x="45" y="7"/>
                    </a:lnTo>
                    <a:lnTo>
                      <a:pt x="45" y="4"/>
                    </a:lnTo>
                    <a:lnTo>
                      <a:pt x="37" y="2"/>
                    </a:lnTo>
                    <a:lnTo>
                      <a:pt x="36" y="5"/>
                    </a:lnTo>
                    <a:lnTo>
                      <a:pt x="26" y="4"/>
                    </a:lnTo>
                    <a:lnTo>
                      <a:pt x="21" y="7"/>
                    </a:lnTo>
                    <a:lnTo>
                      <a:pt x="19" y="4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3" y="10"/>
                    </a:lnTo>
                    <a:lnTo>
                      <a:pt x="13" y="20"/>
                    </a:lnTo>
                    <a:lnTo>
                      <a:pt x="13" y="22"/>
                    </a:lnTo>
                    <a:lnTo>
                      <a:pt x="11" y="27"/>
                    </a:lnTo>
                    <a:lnTo>
                      <a:pt x="14" y="30"/>
                    </a:lnTo>
                    <a:lnTo>
                      <a:pt x="13" y="31"/>
                    </a:lnTo>
                    <a:lnTo>
                      <a:pt x="9" y="36"/>
                    </a:lnTo>
                    <a:lnTo>
                      <a:pt x="9" y="41"/>
                    </a:lnTo>
                    <a:lnTo>
                      <a:pt x="6" y="46"/>
                    </a:lnTo>
                    <a:lnTo>
                      <a:pt x="6" y="49"/>
                    </a:lnTo>
                    <a:lnTo>
                      <a:pt x="3" y="56"/>
                    </a:lnTo>
                    <a:lnTo>
                      <a:pt x="0" y="64"/>
                    </a:lnTo>
                    <a:lnTo>
                      <a:pt x="0" y="67"/>
                    </a:lnTo>
                    <a:lnTo>
                      <a:pt x="3" y="67"/>
                    </a:lnTo>
                    <a:lnTo>
                      <a:pt x="5" y="64"/>
                    </a:lnTo>
                    <a:lnTo>
                      <a:pt x="8" y="62"/>
                    </a:lnTo>
                    <a:lnTo>
                      <a:pt x="8" y="64"/>
                    </a:lnTo>
                    <a:lnTo>
                      <a:pt x="8" y="66"/>
                    </a:lnTo>
                    <a:lnTo>
                      <a:pt x="5" y="69"/>
                    </a:lnTo>
                    <a:lnTo>
                      <a:pt x="3" y="72"/>
                    </a:lnTo>
                    <a:lnTo>
                      <a:pt x="5" y="74"/>
                    </a:lnTo>
                    <a:lnTo>
                      <a:pt x="8" y="71"/>
                    </a:lnTo>
                    <a:lnTo>
                      <a:pt x="11" y="72"/>
                    </a:lnTo>
                    <a:lnTo>
                      <a:pt x="9" y="74"/>
                    </a:lnTo>
                    <a:lnTo>
                      <a:pt x="11" y="79"/>
                    </a:lnTo>
                    <a:lnTo>
                      <a:pt x="9" y="82"/>
                    </a:lnTo>
                    <a:lnTo>
                      <a:pt x="9" y="90"/>
                    </a:lnTo>
                    <a:lnTo>
                      <a:pt x="8" y="97"/>
                    </a:lnTo>
                    <a:lnTo>
                      <a:pt x="6" y="98"/>
                    </a:lnTo>
                    <a:lnTo>
                      <a:pt x="8" y="100"/>
                    </a:lnTo>
                    <a:lnTo>
                      <a:pt x="13" y="97"/>
                    </a:lnTo>
                    <a:lnTo>
                      <a:pt x="19" y="98"/>
                    </a:lnTo>
                    <a:lnTo>
                      <a:pt x="23" y="100"/>
                    </a:lnTo>
                    <a:lnTo>
                      <a:pt x="27" y="98"/>
                    </a:lnTo>
                    <a:lnTo>
                      <a:pt x="31" y="97"/>
                    </a:lnTo>
                    <a:lnTo>
                      <a:pt x="32" y="97"/>
                    </a:lnTo>
                    <a:lnTo>
                      <a:pt x="32" y="9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3" name="Freeform 226">
                <a:extLst>
                  <a:ext uri="{FF2B5EF4-FFF2-40B4-BE49-F238E27FC236}">
                    <a16:creationId xmlns:a16="http://schemas.microsoft.com/office/drawing/2014/main" xmlns="" id="{D671ADA7-A20C-4AF2-A51D-C1A3398920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50" y="1332"/>
                <a:ext cx="137" cy="135"/>
              </a:xfrm>
              <a:custGeom>
                <a:avLst/>
                <a:gdLst>
                  <a:gd name="T0" fmla="*/ 51 w 84"/>
                  <a:gd name="T1" fmla="*/ 7 h 83"/>
                  <a:gd name="T2" fmla="*/ 34 w 84"/>
                  <a:gd name="T3" fmla="*/ 8 h 83"/>
                  <a:gd name="T4" fmla="*/ 14 w 84"/>
                  <a:gd name="T5" fmla="*/ 15 h 83"/>
                  <a:gd name="T6" fmla="*/ 9 w 84"/>
                  <a:gd name="T7" fmla="*/ 34 h 83"/>
                  <a:gd name="T8" fmla="*/ 22 w 84"/>
                  <a:gd name="T9" fmla="*/ 45 h 83"/>
                  <a:gd name="T10" fmla="*/ 32 w 84"/>
                  <a:gd name="T11" fmla="*/ 48 h 83"/>
                  <a:gd name="T12" fmla="*/ 16 w 84"/>
                  <a:gd name="T13" fmla="*/ 48 h 83"/>
                  <a:gd name="T14" fmla="*/ 24 w 84"/>
                  <a:gd name="T15" fmla="*/ 63 h 83"/>
                  <a:gd name="T16" fmla="*/ 30 w 84"/>
                  <a:gd name="T17" fmla="*/ 64 h 83"/>
                  <a:gd name="T18" fmla="*/ 31 w 84"/>
                  <a:gd name="T19" fmla="*/ 55 h 83"/>
                  <a:gd name="T20" fmla="*/ 37 w 84"/>
                  <a:gd name="T21" fmla="*/ 55 h 83"/>
                  <a:gd name="T22" fmla="*/ 40 w 84"/>
                  <a:gd name="T23" fmla="*/ 51 h 83"/>
                  <a:gd name="T24" fmla="*/ 34 w 84"/>
                  <a:gd name="T25" fmla="*/ 40 h 83"/>
                  <a:gd name="T26" fmla="*/ 31 w 84"/>
                  <a:gd name="T27" fmla="*/ 33 h 83"/>
                  <a:gd name="T28" fmla="*/ 31 w 84"/>
                  <a:gd name="T29" fmla="*/ 27 h 83"/>
                  <a:gd name="T30" fmla="*/ 30 w 84"/>
                  <a:gd name="T31" fmla="*/ 18 h 83"/>
                  <a:gd name="T32" fmla="*/ 37 w 84"/>
                  <a:gd name="T33" fmla="*/ 21 h 83"/>
                  <a:gd name="T34" fmla="*/ 44 w 84"/>
                  <a:gd name="T35" fmla="*/ 20 h 83"/>
                  <a:gd name="T36" fmla="*/ 47 w 84"/>
                  <a:gd name="T37" fmla="*/ 13 h 83"/>
                  <a:gd name="T38" fmla="*/ 62 w 84"/>
                  <a:gd name="T39" fmla="*/ 10 h 83"/>
                  <a:gd name="T40" fmla="*/ 40 w 84"/>
                  <a:gd name="T41" fmla="*/ 78 h 83"/>
                  <a:gd name="T42" fmla="*/ 54 w 84"/>
                  <a:gd name="T43" fmla="*/ 83 h 83"/>
                  <a:gd name="T44" fmla="*/ 66 w 84"/>
                  <a:gd name="T45" fmla="*/ 78 h 83"/>
                  <a:gd name="T46" fmla="*/ 58 w 84"/>
                  <a:gd name="T47" fmla="*/ 77 h 83"/>
                  <a:gd name="T48" fmla="*/ 46 w 84"/>
                  <a:gd name="T49" fmla="*/ 75 h 83"/>
                  <a:gd name="T50" fmla="*/ 42 w 84"/>
                  <a:gd name="T51" fmla="*/ 77 h 83"/>
                  <a:gd name="T52" fmla="*/ 1 w 84"/>
                  <a:gd name="T53" fmla="*/ 29 h 83"/>
                  <a:gd name="T54" fmla="*/ 12 w 84"/>
                  <a:gd name="T55" fmla="*/ 39 h 83"/>
                  <a:gd name="T56" fmla="*/ 12 w 84"/>
                  <a:gd name="T57" fmla="*/ 45 h 83"/>
                  <a:gd name="T58" fmla="*/ 10 w 84"/>
                  <a:gd name="T59" fmla="*/ 47 h 83"/>
                  <a:gd name="T60" fmla="*/ 13 w 84"/>
                  <a:gd name="T61" fmla="*/ 53 h 83"/>
                  <a:gd name="T62" fmla="*/ 74 w 84"/>
                  <a:gd name="T63" fmla="*/ 72 h 83"/>
                  <a:gd name="T64" fmla="*/ 74 w 84"/>
                  <a:gd name="T65" fmla="*/ 78 h 83"/>
                  <a:gd name="T66" fmla="*/ 84 w 84"/>
                  <a:gd name="T67" fmla="*/ 66 h 83"/>
                  <a:gd name="T68" fmla="*/ 79 w 84"/>
                  <a:gd name="T69" fmla="*/ 72 h 83"/>
                  <a:gd name="T70" fmla="*/ 67 w 84"/>
                  <a:gd name="T71" fmla="*/ 50 h 83"/>
                  <a:gd name="T72" fmla="*/ 67 w 84"/>
                  <a:gd name="T73" fmla="*/ 52 h 83"/>
                  <a:gd name="T74" fmla="*/ 60 w 84"/>
                  <a:gd name="T75" fmla="*/ 44 h 83"/>
                  <a:gd name="T76" fmla="*/ 58 w 84"/>
                  <a:gd name="T77" fmla="*/ 34 h 83"/>
                  <a:gd name="T78" fmla="*/ 65 w 84"/>
                  <a:gd name="T79" fmla="*/ 36 h 83"/>
                  <a:gd name="T80" fmla="*/ 60 w 84"/>
                  <a:gd name="T81" fmla="*/ 35 h 83"/>
                  <a:gd name="T82" fmla="*/ 51 w 84"/>
                  <a:gd name="T83" fmla="*/ 22 h 83"/>
                  <a:gd name="T84" fmla="*/ 51 w 84"/>
                  <a:gd name="T85" fmla="*/ 25 h 83"/>
                  <a:gd name="T86" fmla="*/ 45 w 84"/>
                  <a:gd name="T87" fmla="*/ 16 h 83"/>
                  <a:gd name="T88" fmla="*/ 36 w 84"/>
                  <a:gd name="T89" fmla="*/ 33 h 83"/>
                  <a:gd name="T90" fmla="*/ 48 w 84"/>
                  <a:gd name="T91" fmla="*/ 39 h 83"/>
                  <a:gd name="T92" fmla="*/ 62 w 84"/>
                  <a:gd name="T93" fmla="*/ 55 h 83"/>
                  <a:gd name="T94" fmla="*/ 48 w 84"/>
                  <a:gd name="T95" fmla="*/ 60 h 83"/>
                  <a:gd name="T96" fmla="*/ 46 w 84"/>
                  <a:gd name="T97" fmla="*/ 53 h 83"/>
                  <a:gd name="T98" fmla="*/ 57 w 84"/>
                  <a:gd name="T99" fmla="*/ 60 h 83"/>
                  <a:gd name="T100" fmla="*/ 57 w 84"/>
                  <a:gd name="T101" fmla="*/ 55 h 83"/>
                  <a:gd name="T102" fmla="*/ 50 w 84"/>
                  <a:gd name="T103" fmla="*/ 49 h 83"/>
                  <a:gd name="T104" fmla="*/ 32 w 84"/>
                  <a:gd name="T105" fmla="*/ 36 h 83"/>
                  <a:gd name="T106" fmla="*/ 44 w 84"/>
                  <a:gd name="T107" fmla="*/ 43 h 83"/>
                  <a:gd name="T108" fmla="*/ 46 w 84"/>
                  <a:gd name="T109" fmla="*/ 49 h 83"/>
                  <a:gd name="T110" fmla="*/ 38 w 84"/>
                  <a:gd name="T111" fmla="*/ 41 h 83"/>
                  <a:gd name="T112" fmla="*/ 34 w 84"/>
                  <a:gd name="T113" fmla="*/ 66 h 83"/>
                  <a:gd name="T114" fmla="*/ 34 w 84"/>
                  <a:gd name="T115" fmla="*/ 6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4" h="83">
                    <a:moveTo>
                      <a:pt x="63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59" y="2"/>
                      <a:pt x="59" y="2"/>
                      <a:pt x="59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8" y="8"/>
                      <a:pt x="48" y="8"/>
                      <a:pt x="48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3" y="43"/>
                      <a:pt x="23" y="43"/>
                      <a:pt x="23" y="43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29" y="46"/>
                      <a:pt x="29" y="46"/>
                      <a:pt x="29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48"/>
                      <a:pt x="29" y="48"/>
                      <a:pt x="29" y="48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29" y="64"/>
                      <a:pt x="29" y="64"/>
                      <a:pt x="29" y="64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1" y="62"/>
                      <a:pt x="31" y="62"/>
                      <a:pt x="31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3" y="63"/>
                      <a:pt x="33" y="63"/>
                      <a:pt x="33" y="63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5" y="63"/>
                      <a:pt x="35" y="63"/>
                      <a:pt x="35" y="63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5" y="55"/>
                      <a:pt x="35" y="55"/>
                      <a:pt x="35" y="5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6" y="56"/>
                      <a:pt x="36" y="56"/>
                      <a:pt x="36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7" y="55"/>
                      <a:pt x="37" y="55"/>
                      <a:pt x="37" y="55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5" y="52"/>
                      <a:pt x="35" y="52"/>
                      <a:pt x="35" y="52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49"/>
                      <a:pt x="35" y="49"/>
                      <a:pt x="35" y="49"/>
                    </a:cubicBezTo>
                    <a:cubicBezTo>
                      <a:pt x="36" y="50"/>
                      <a:pt x="36" y="50"/>
                      <a:pt x="36" y="50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3" y="50"/>
                      <a:pt x="43" y="50"/>
                      <a:pt x="43" y="50"/>
                    </a:cubicBezTo>
                    <a:cubicBezTo>
                      <a:pt x="41" y="48"/>
                      <a:pt x="41" y="48"/>
                      <a:pt x="41" y="48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3" y="40"/>
                      <a:pt x="33" y="40"/>
                      <a:pt x="33" y="40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0" y="34"/>
                      <a:pt x="30" y="34"/>
                      <a:pt x="30" y="34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9" y="23"/>
                      <a:pt x="39" y="23"/>
                      <a:pt x="39" y="23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8" y="19"/>
                      <a:pt x="38" y="19"/>
                      <a:pt x="38" y="19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8" y="13"/>
                      <a:pt x="48" y="13"/>
                      <a:pt x="48" y="13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8"/>
                      <a:pt x="62" y="8"/>
                      <a:pt x="62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3" y="0"/>
                      <a:pt x="63" y="0"/>
                      <a:pt x="63" y="0"/>
                    </a:cubicBezTo>
                    <a:close/>
                    <a:moveTo>
                      <a:pt x="41" y="77"/>
                    </a:move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7" y="80"/>
                      <a:pt x="47" y="80"/>
                      <a:pt x="47" y="80"/>
                    </a:cubicBezTo>
                    <a:cubicBezTo>
                      <a:pt x="49" y="81"/>
                      <a:pt x="49" y="81"/>
                      <a:pt x="49" y="81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54" y="83"/>
                      <a:pt x="54" y="83"/>
                      <a:pt x="54" y="83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58" y="82"/>
                      <a:pt x="58" y="82"/>
                      <a:pt x="58" y="82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6" y="81"/>
                      <a:pt x="66" y="81"/>
                      <a:pt x="66" y="81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62" y="80"/>
                      <a:pt x="62" y="80"/>
                      <a:pt x="62" y="80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62" y="79"/>
                      <a:pt x="62" y="79"/>
                      <a:pt x="62" y="79"/>
                    </a:cubicBezTo>
                    <a:cubicBezTo>
                      <a:pt x="61" y="77"/>
                      <a:pt x="61" y="77"/>
                      <a:pt x="61" y="77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0" y="78"/>
                      <a:pt x="50" y="78"/>
                      <a:pt x="50" y="78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6" y="76"/>
                      <a:pt x="46" y="76"/>
                      <a:pt x="46" y="76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5" y="76"/>
                      <a:pt x="45" y="76"/>
                      <a:pt x="45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1" y="77"/>
                      <a:pt x="41" y="77"/>
                      <a:pt x="41" y="77"/>
                    </a:cubicBezTo>
                    <a:close/>
                    <a:moveTo>
                      <a:pt x="3" y="27"/>
                    </a:moveTo>
                    <a:cubicBezTo>
                      <a:pt x="3" y="29"/>
                      <a:pt x="3" y="29"/>
                      <a:pt x="3" y="29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3" y="27"/>
                      <a:pt x="3" y="27"/>
                      <a:pt x="3" y="27"/>
                    </a:cubicBezTo>
                    <a:close/>
                    <a:moveTo>
                      <a:pt x="10" y="41"/>
                    </a:moveTo>
                    <a:cubicBezTo>
                      <a:pt x="10" y="40"/>
                      <a:pt x="10" y="40"/>
                      <a:pt x="10" y="40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0" y="41"/>
                      <a:pt x="10" y="41"/>
                      <a:pt x="10" y="41"/>
                    </a:cubicBezTo>
                    <a:close/>
                    <a:moveTo>
                      <a:pt x="10" y="44"/>
                    </a:moveTo>
                    <a:cubicBezTo>
                      <a:pt x="10" y="42"/>
                      <a:pt x="10" y="42"/>
                      <a:pt x="10" y="42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0" y="44"/>
                      <a:pt x="10" y="44"/>
                      <a:pt x="10" y="44"/>
                    </a:cubicBezTo>
                    <a:close/>
                    <a:moveTo>
                      <a:pt x="14" y="51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3"/>
                      <a:pt x="13" y="53"/>
                      <a:pt x="13" y="53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4" y="51"/>
                      <a:pt x="14" y="51"/>
                      <a:pt x="14" y="51"/>
                    </a:cubicBezTo>
                    <a:close/>
                    <a:moveTo>
                      <a:pt x="74" y="73"/>
                    </a:move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2"/>
                      <a:pt x="74" y="72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3"/>
                      <a:pt x="74" y="73"/>
                      <a:pt x="74" y="73"/>
                    </a:cubicBezTo>
                    <a:close/>
                    <a:moveTo>
                      <a:pt x="74" y="78"/>
                    </a:moveTo>
                    <a:cubicBezTo>
                      <a:pt x="73" y="76"/>
                      <a:pt x="73" y="76"/>
                      <a:pt x="73" y="76"/>
                    </a:cubicBezTo>
                    <a:cubicBezTo>
                      <a:pt x="73" y="75"/>
                      <a:pt x="73" y="75"/>
                      <a:pt x="73" y="75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5"/>
                      <a:pt x="74" y="75"/>
                      <a:pt x="74" y="75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74" y="78"/>
                      <a:pt x="74" y="78"/>
                      <a:pt x="74" y="78"/>
                    </a:cubicBezTo>
                    <a:cubicBezTo>
                      <a:pt x="74" y="78"/>
                      <a:pt x="74" y="78"/>
                      <a:pt x="74" y="78"/>
                    </a:cubicBezTo>
                    <a:close/>
                    <a:moveTo>
                      <a:pt x="79" y="72"/>
                    </a:moveTo>
                    <a:cubicBezTo>
                      <a:pt x="78" y="71"/>
                      <a:pt x="78" y="71"/>
                      <a:pt x="78" y="71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4" y="66"/>
                      <a:pt x="84" y="66"/>
                      <a:pt x="84" y="66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8"/>
                      <a:pt x="83" y="68"/>
                      <a:pt x="83" y="68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70"/>
                      <a:pt x="82" y="70"/>
                      <a:pt x="82" y="70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79" y="72"/>
                      <a:pt x="79" y="72"/>
                      <a:pt x="79" y="72"/>
                    </a:cubicBezTo>
                    <a:cubicBezTo>
                      <a:pt x="79" y="72"/>
                      <a:pt x="79" y="72"/>
                      <a:pt x="79" y="72"/>
                    </a:cubicBezTo>
                    <a:close/>
                    <a:moveTo>
                      <a:pt x="66" y="66"/>
                    </a:moveTo>
                    <a:cubicBezTo>
                      <a:pt x="65" y="65"/>
                      <a:pt x="65" y="65"/>
                      <a:pt x="65" y="65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5"/>
                      <a:pt x="67" y="65"/>
                      <a:pt x="67" y="65"/>
                    </a:cubicBezTo>
                    <a:cubicBezTo>
                      <a:pt x="67" y="65"/>
                      <a:pt x="66" y="66"/>
                      <a:pt x="66" y="66"/>
                    </a:cubicBezTo>
                    <a:close/>
                    <a:moveTo>
                      <a:pt x="65" y="52"/>
                    </a:moveTo>
                    <a:cubicBezTo>
                      <a:pt x="67" y="50"/>
                      <a:pt x="67" y="50"/>
                      <a:pt x="67" y="50"/>
                    </a:cubicBezTo>
                    <a:cubicBezTo>
                      <a:pt x="68" y="50"/>
                      <a:pt x="68" y="50"/>
                      <a:pt x="68" y="50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2"/>
                      <a:pt x="70" y="52"/>
                      <a:pt x="70" y="52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9" y="53"/>
                      <a:pt x="69" y="53"/>
                      <a:pt x="69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lose/>
                    <a:moveTo>
                      <a:pt x="62" y="41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61" y="44"/>
                      <a:pt x="61" y="44"/>
                      <a:pt x="61" y="44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  <a:moveTo>
                      <a:pt x="60" y="35"/>
                    </a:moveTo>
                    <a:cubicBezTo>
                      <a:pt x="58" y="34"/>
                      <a:pt x="58" y="34"/>
                      <a:pt x="58" y="34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5" y="33"/>
                      <a:pt x="65" y="33"/>
                      <a:pt x="65" y="33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5" y="36"/>
                      <a:pt x="65" y="36"/>
                      <a:pt x="65" y="36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63" y="33"/>
                      <a:pt x="63" y="33"/>
                      <a:pt x="63" y="33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1" y="34"/>
                      <a:pt x="61" y="34"/>
                      <a:pt x="61" y="34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5"/>
                      <a:pt x="60" y="35"/>
                      <a:pt x="60" y="35"/>
                    </a:cubicBezTo>
                    <a:close/>
                    <a:moveTo>
                      <a:pt x="55" y="17"/>
                    </a:move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5" y="17"/>
                      <a:pt x="55" y="17"/>
                      <a:pt x="55" y="17"/>
                    </a:cubicBezTo>
                    <a:close/>
                    <a:moveTo>
                      <a:pt x="51" y="22"/>
                    </a:moveTo>
                    <a:cubicBezTo>
                      <a:pt x="52" y="22"/>
                      <a:pt x="52" y="22"/>
                      <a:pt x="52" y="22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2"/>
                      <a:pt x="51" y="22"/>
                    </a:cubicBezTo>
                    <a:close/>
                    <a:moveTo>
                      <a:pt x="46" y="14"/>
                    </a:moveTo>
                    <a:cubicBezTo>
                      <a:pt x="47" y="14"/>
                      <a:pt x="47" y="14"/>
                      <a:pt x="47" y="14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8" y="15"/>
                      <a:pt x="48" y="15"/>
                      <a:pt x="48" y="15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6" y="14"/>
                      <a:pt x="46" y="14"/>
                      <a:pt x="46" y="14"/>
                    </a:cubicBezTo>
                    <a:close/>
                    <a:moveTo>
                      <a:pt x="37" y="34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34"/>
                      <a:pt x="37" y="34"/>
                      <a:pt x="37" y="34"/>
                    </a:cubicBezTo>
                    <a:close/>
                    <a:moveTo>
                      <a:pt x="35" y="34"/>
                    </a:moveTo>
                    <a:cubicBezTo>
                      <a:pt x="36" y="33"/>
                      <a:pt x="36" y="33"/>
                      <a:pt x="36" y="33"/>
                    </a:cubicBezTo>
                    <a:cubicBezTo>
                      <a:pt x="37" y="34"/>
                      <a:pt x="37" y="34"/>
                      <a:pt x="37" y="34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5" y="34"/>
                      <a:pt x="35" y="34"/>
                      <a:pt x="35" y="34"/>
                    </a:cubicBezTo>
                    <a:close/>
                    <a:moveTo>
                      <a:pt x="46" y="36"/>
                    </a:moveTo>
                    <a:cubicBezTo>
                      <a:pt x="47" y="36"/>
                      <a:pt x="47" y="36"/>
                      <a:pt x="47" y="36"/>
                    </a:cubicBezTo>
                    <a:cubicBezTo>
                      <a:pt x="48" y="37"/>
                      <a:pt x="48" y="37"/>
                      <a:pt x="48" y="37"/>
                    </a:cubicBezTo>
                    <a:cubicBezTo>
                      <a:pt x="49" y="37"/>
                      <a:pt x="49" y="37"/>
                      <a:pt x="49" y="37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6" y="36"/>
                      <a:pt x="46" y="36"/>
                      <a:pt x="46" y="36"/>
                    </a:cubicBezTo>
                    <a:close/>
                    <a:moveTo>
                      <a:pt x="62" y="55"/>
                    </a:moveTo>
                    <a:cubicBezTo>
                      <a:pt x="61" y="54"/>
                      <a:pt x="61" y="54"/>
                      <a:pt x="61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63" y="54"/>
                      <a:pt x="63" y="54"/>
                      <a:pt x="63" y="54"/>
                    </a:cubicBezTo>
                    <a:cubicBezTo>
                      <a:pt x="62" y="55"/>
                      <a:pt x="62" y="55"/>
                      <a:pt x="62" y="55"/>
                    </a:cubicBezTo>
                    <a:close/>
                    <a:moveTo>
                      <a:pt x="46" y="65"/>
                    </a:moveTo>
                    <a:cubicBezTo>
                      <a:pt x="47" y="64"/>
                      <a:pt x="47" y="64"/>
                      <a:pt x="47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6" y="65"/>
                      <a:pt x="46" y="65"/>
                      <a:pt x="46" y="65"/>
                    </a:cubicBezTo>
                    <a:close/>
                    <a:moveTo>
                      <a:pt x="47" y="59"/>
                    </a:move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7" y="59"/>
                      <a:pt x="47" y="59"/>
                      <a:pt x="47" y="59"/>
                    </a:cubicBezTo>
                    <a:close/>
                    <a:moveTo>
                      <a:pt x="47" y="57"/>
                    </a:moveTo>
                    <a:cubicBezTo>
                      <a:pt x="47" y="55"/>
                      <a:pt x="47" y="55"/>
                      <a:pt x="47" y="55"/>
                    </a:cubicBezTo>
                    <a:cubicBezTo>
                      <a:pt x="47" y="56"/>
                      <a:pt x="47" y="56"/>
                      <a:pt x="47" y="56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lose/>
                    <a:moveTo>
                      <a:pt x="46" y="55"/>
                    </a:moveTo>
                    <a:cubicBezTo>
                      <a:pt x="45" y="54"/>
                      <a:pt x="45" y="54"/>
                      <a:pt x="45" y="5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6" y="55"/>
                      <a:pt x="46" y="55"/>
                      <a:pt x="46" y="55"/>
                    </a:cubicBezTo>
                    <a:close/>
                    <a:moveTo>
                      <a:pt x="54" y="61"/>
                    </a:moveTo>
                    <a:cubicBezTo>
                      <a:pt x="54" y="60"/>
                      <a:pt x="54" y="60"/>
                      <a:pt x="54" y="60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61"/>
                      <a:pt x="54" y="61"/>
                      <a:pt x="54" y="61"/>
                    </a:cubicBezTo>
                    <a:close/>
                    <a:moveTo>
                      <a:pt x="57" y="60"/>
                    </a:moveTo>
                    <a:cubicBezTo>
                      <a:pt x="56" y="59"/>
                      <a:pt x="56" y="59"/>
                      <a:pt x="56" y="59"/>
                    </a:cubicBezTo>
                    <a:cubicBezTo>
                      <a:pt x="57" y="58"/>
                      <a:pt x="57" y="58"/>
                      <a:pt x="57" y="58"/>
                    </a:cubicBezTo>
                    <a:cubicBezTo>
                      <a:pt x="58" y="58"/>
                      <a:pt x="58" y="58"/>
                      <a:pt x="58" y="58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7" y="60"/>
                      <a:pt x="57" y="60"/>
                      <a:pt x="57" y="60"/>
                    </a:cubicBezTo>
                    <a:close/>
                    <a:moveTo>
                      <a:pt x="56" y="56"/>
                    </a:moveTo>
                    <a:cubicBezTo>
                      <a:pt x="56" y="55"/>
                      <a:pt x="56" y="55"/>
                      <a:pt x="56" y="55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6" y="56"/>
                      <a:pt x="56" y="56"/>
                      <a:pt x="56" y="56"/>
                    </a:cubicBezTo>
                    <a:close/>
                    <a:moveTo>
                      <a:pt x="53" y="53"/>
                    </a:moveTo>
                    <a:cubicBezTo>
                      <a:pt x="54" y="53"/>
                      <a:pt x="54" y="53"/>
                      <a:pt x="54" y="53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3" y="53"/>
                      <a:pt x="53" y="53"/>
                      <a:pt x="53" y="53"/>
                    </a:cubicBezTo>
                    <a:close/>
                    <a:moveTo>
                      <a:pt x="49" y="50"/>
                    </a:moveTo>
                    <a:cubicBezTo>
                      <a:pt x="50" y="49"/>
                      <a:pt x="50" y="49"/>
                      <a:pt x="50" y="49"/>
                    </a:cubicBezTo>
                    <a:cubicBezTo>
                      <a:pt x="51" y="51"/>
                      <a:pt x="51" y="51"/>
                      <a:pt x="51" y="51"/>
                    </a:cubicBezTo>
                    <a:cubicBezTo>
                      <a:pt x="52" y="52"/>
                      <a:pt x="52" y="52"/>
                      <a:pt x="52" y="52"/>
                    </a:cubicBezTo>
                    <a:cubicBezTo>
                      <a:pt x="52" y="53"/>
                      <a:pt x="52" y="53"/>
                      <a:pt x="52" y="53"/>
                    </a:cubicBezTo>
                    <a:cubicBezTo>
                      <a:pt x="52" y="53"/>
                      <a:pt x="52" y="53"/>
                      <a:pt x="52" y="53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9" y="50"/>
                      <a:pt x="49" y="50"/>
                      <a:pt x="49" y="50"/>
                    </a:cubicBezTo>
                    <a:close/>
                    <a:moveTo>
                      <a:pt x="31" y="37"/>
                    </a:moveTo>
                    <a:cubicBezTo>
                      <a:pt x="32" y="36"/>
                      <a:pt x="32" y="36"/>
                      <a:pt x="32" y="36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6"/>
                      <a:pt x="45" y="46"/>
                      <a:pt x="45" y="46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7" y="49"/>
                      <a:pt x="47" y="49"/>
                      <a:pt x="47" y="49"/>
                    </a:cubicBezTo>
                    <a:cubicBezTo>
                      <a:pt x="47" y="49"/>
                      <a:pt x="47" y="49"/>
                      <a:pt x="47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43"/>
                      <a:pt x="40" y="43"/>
                      <a:pt x="40" y="43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1" y="37"/>
                      <a:pt x="31" y="37"/>
                      <a:pt x="31" y="37"/>
                    </a:cubicBezTo>
                    <a:close/>
                    <a:moveTo>
                      <a:pt x="34" y="67"/>
                    </a:moveTo>
                    <a:cubicBezTo>
                      <a:pt x="34" y="66"/>
                      <a:pt x="34" y="66"/>
                      <a:pt x="34" y="66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34" y="67"/>
                      <a:pt x="34" y="67"/>
                      <a:pt x="34" y="67"/>
                    </a:cubicBezTo>
                    <a:close/>
                    <a:moveTo>
                      <a:pt x="34" y="65"/>
                    </a:moveTo>
                    <a:cubicBezTo>
                      <a:pt x="34" y="66"/>
                      <a:pt x="34" y="66"/>
                      <a:pt x="34" y="66"/>
                    </a:cubicBezTo>
                    <a:cubicBezTo>
                      <a:pt x="34" y="66"/>
                      <a:pt x="34" y="66"/>
                      <a:pt x="34" y="66"/>
                    </a:cubicBezTo>
                    <a:lnTo>
                      <a:pt x="34" y="6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4" name="Freeform 227">
                <a:extLst>
                  <a:ext uri="{FF2B5EF4-FFF2-40B4-BE49-F238E27FC236}">
                    <a16:creationId xmlns:a16="http://schemas.microsoft.com/office/drawing/2014/main" xmlns="" id="{4AE4EA18-2F31-4367-8BF9-337B7182F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27" y="1324"/>
                <a:ext cx="88" cy="73"/>
              </a:xfrm>
              <a:custGeom>
                <a:avLst/>
                <a:gdLst>
                  <a:gd name="T0" fmla="*/ 2 w 88"/>
                  <a:gd name="T1" fmla="*/ 13 h 73"/>
                  <a:gd name="T2" fmla="*/ 16 w 88"/>
                  <a:gd name="T3" fmla="*/ 14 h 73"/>
                  <a:gd name="T4" fmla="*/ 28 w 88"/>
                  <a:gd name="T5" fmla="*/ 17 h 73"/>
                  <a:gd name="T6" fmla="*/ 26 w 88"/>
                  <a:gd name="T7" fmla="*/ 9 h 73"/>
                  <a:gd name="T8" fmla="*/ 25 w 88"/>
                  <a:gd name="T9" fmla="*/ 1 h 73"/>
                  <a:gd name="T10" fmla="*/ 36 w 88"/>
                  <a:gd name="T11" fmla="*/ 8 h 73"/>
                  <a:gd name="T12" fmla="*/ 46 w 88"/>
                  <a:gd name="T13" fmla="*/ 11 h 73"/>
                  <a:gd name="T14" fmla="*/ 52 w 88"/>
                  <a:gd name="T15" fmla="*/ 6 h 73"/>
                  <a:gd name="T16" fmla="*/ 61 w 88"/>
                  <a:gd name="T17" fmla="*/ 1 h 73"/>
                  <a:gd name="T18" fmla="*/ 65 w 88"/>
                  <a:gd name="T19" fmla="*/ 11 h 73"/>
                  <a:gd name="T20" fmla="*/ 74 w 88"/>
                  <a:gd name="T21" fmla="*/ 21 h 73"/>
                  <a:gd name="T22" fmla="*/ 77 w 88"/>
                  <a:gd name="T23" fmla="*/ 26 h 73"/>
                  <a:gd name="T24" fmla="*/ 85 w 88"/>
                  <a:gd name="T25" fmla="*/ 27 h 73"/>
                  <a:gd name="T26" fmla="*/ 85 w 88"/>
                  <a:gd name="T27" fmla="*/ 31 h 73"/>
                  <a:gd name="T28" fmla="*/ 78 w 88"/>
                  <a:gd name="T29" fmla="*/ 32 h 73"/>
                  <a:gd name="T30" fmla="*/ 74 w 88"/>
                  <a:gd name="T31" fmla="*/ 40 h 73"/>
                  <a:gd name="T32" fmla="*/ 74 w 88"/>
                  <a:gd name="T33" fmla="*/ 45 h 73"/>
                  <a:gd name="T34" fmla="*/ 74 w 88"/>
                  <a:gd name="T35" fmla="*/ 50 h 73"/>
                  <a:gd name="T36" fmla="*/ 72 w 88"/>
                  <a:gd name="T37" fmla="*/ 53 h 73"/>
                  <a:gd name="T38" fmla="*/ 72 w 88"/>
                  <a:gd name="T39" fmla="*/ 62 h 73"/>
                  <a:gd name="T40" fmla="*/ 72 w 88"/>
                  <a:gd name="T41" fmla="*/ 57 h 73"/>
                  <a:gd name="T42" fmla="*/ 69 w 88"/>
                  <a:gd name="T43" fmla="*/ 55 h 73"/>
                  <a:gd name="T44" fmla="*/ 69 w 88"/>
                  <a:gd name="T45" fmla="*/ 62 h 73"/>
                  <a:gd name="T46" fmla="*/ 69 w 88"/>
                  <a:gd name="T47" fmla="*/ 65 h 73"/>
                  <a:gd name="T48" fmla="*/ 67 w 88"/>
                  <a:gd name="T49" fmla="*/ 73 h 73"/>
                  <a:gd name="T50" fmla="*/ 64 w 88"/>
                  <a:gd name="T51" fmla="*/ 70 h 73"/>
                  <a:gd name="T52" fmla="*/ 56 w 88"/>
                  <a:gd name="T53" fmla="*/ 63 h 73"/>
                  <a:gd name="T54" fmla="*/ 57 w 88"/>
                  <a:gd name="T55" fmla="*/ 57 h 73"/>
                  <a:gd name="T56" fmla="*/ 59 w 88"/>
                  <a:gd name="T57" fmla="*/ 53 h 73"/>
                  <a:gd name="T58" fmla="*/ 56 w 88"/>
                  <a:gd name="T59" fmla="*/ 49 h 73"/>
                  <a:gd name="T60" fmla="*/ 54 w 88"/>
                  <a:gd name="T61" fmla="*/ 49 h 73"/>
                  <a:gd name="T62" fmla="*/ 49 w 88"/>
                  <a:gd name="T63" fmla="*/ 50 h 73"/>
                  <a:gd name="T64" fmla="*/ 44 w 88"/>
                  <a:gd name="T65" fmla="*/ 53 h 73"/>
                  <a:gd name="T66" fmla="*/ 39 w 88"/>
                  <a:gd name="T67" fmla="*/ 58 h 73"/>
                  <a:gd name="T68" fmla="*/ 38 w 88"/>
                  <a:gd name="T69" fmla="*/ 60 h 73"/>
                  <a:gd name="T70" fmla="*/ 34 w 88"/>
                  <a:gd name="T71" fmla="*/ 63 h 73"/>
                  <a:gd name="T72" fmla="*/ 31 w 88"/>
                  <a:gd name="T73" fmla="*/ 62 h 73"/>
                  <a:gd name="T74" fmla="*/ 33 w 88"/>
                  <a:gd name="T75" fmla="*/ 57 h 73"/>
                  <a:gd name="T76" fmla="*/ 34 w 88"/>
                  <a:gd name="T77" fmla="*/ 52 h 73"/>
                  <a:gd name="T78" fmla="*/ 26 w 88"/>
                  <a:gd name="T79" fmla="*/ 49 h 73"/>
                  <a:gd name="T80" fmla="*/ 16 w 88"/>
                  <a:gd name="T81" fmla="*/ 39 h 73"/>
                  <a:gd name="T82" fmla="*/ 20 w 88"/>
                  <a:gd name="T83" fmla="*/ 34 h 73"/>
                  <a:gd name="T84" fmla="*/ 13 w 88"/>
                  <a:gd name="T85" fmla="*/ 26 h 73"/>
                  <a:gd name="T86" fmla="*/ 10 w 88"/>
                  <a:gd name="T87" fmla="*/ 17 h 73"/>
                  <a:gd name="T88" fmla="*/ 2 w 88"/>
                  <a:gd name="T89" fmla="*/ 14 h 73"/>
                  <a:gd name="T90" fmla="*/ 28 w 88"/>
                  <a:gd name="T91" fmla="*/ 63 h 73"/>
                  <a:gd name="T92" fmla="*/ 16 w 88"/>
                  <a:gd name="T93" fmla="*/ 50 h 73"/>
                  <a:gd name="T94" fmla="*/ 12 w 88"/>
                  <a:gd name="T95" fmla="*/ 45 h 73"/>
                  <a:gd name="T96" fmla="*/ 7 w 88"/>
                  <a:gd name="T97" fmla="*/ 44 h 73"/>
                  <a:gd name="T98" fmla="*/ 0 w 88"/>
                  <a:gd name="T99" fmla="*/ 45 h 73"/>
                  <a:gd name="T100" fmla="*/ 2 w 88"/>
                  <a:gd name="T101" fmla="*/ 45 h 73"/>
                  <a:gd name="T102" fmla="*/ 7 w 88"/>
                  <a:gd name="T103" fmla="*/ 49 h 73"/>
                  <a:gd name="T104" fmla="*/ 7 w 88"/>
                  <a:gd name="T105" fmla="*/ 53 h 73"/>
                  <a:gd name="T106" fmla="*/ 15 w 88"/>
                  <a:gd name="T107" fmla="*/ 60 h 73"/>
                  <a:gd name="T108" fmla="*/ 23 w 88"/>
                  <a:gd name="T109" fmla="*/ 63 h 73"/>
                  <a:gd name="T110" fmla="*/ 28 w 88"/>
                  <a:gd name="T111" fmla="*/ 6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8" h="73">
                    <a:moveTo>
                      <a:pt x="2" y="14"/>
                    </a:moveTo>
                    <a:lnTo>
                      <a:pt x="2" y="13"/>
                    </a:lnTo>
                    <a:lnTo>
                      <a:pt x="8" y="9"/>
                    </a:lnTo>
                    <a:lnTo>
                      <a:pt x="16" y="14"/>
                    </a:lnTo>
                    <a:lnTo>
                      <a:pt x="23" y="14"/>
                    </a:lnTo>
                    <a:lnTo>
                      <a:pt x="28" y="17"/>
                    </a:lnTo>
                    <a:lnTo>
                      <a:pt x="30" y="13"/>
                    </a:lnTo>
                    <a:lnTo>
                      <a:pt x="26" y="9"/>
                    </a:lnTo>
                    <a:lnTo>
                      <a:pt x="23" y="6"/>
                    </a:lnTo>
                    <a:lnTo>
                      <a:pt x="25" y="1"/>
                    </a:lnTo>
                    <a:lnTo>
                      <a:pt x="30" y="1"/>
                    </a:lnTo>
                    <a:lnTo>
                      <a:pt x="36" y="8"/>
                    </a:lnTo>
                    <a:lnTo>
                      <a:pt x="38" y="11"/>
                    </a:lnTo>
                    <a:lnTo>
                      <a:pt x="46" y="11"/>
                    </a:lnTo>
                    <a:lnTo>
                      <a:pt x="47" y="9"/>
                    </a:lnTo>
                    <a:lnTo>
                      <a:pt x="52" y="6"/>
                    </a:lnTo>
                    <a:lnTo>
                      <a:pt x="57" y="0"/>
                    </a:lnTo>
                    <a:lnTo>
                      <a:pt x="61" y="1"/>
                    </a:lnTo>
                    <a:lnTo>
                      <a:pt x="65" y="8"/>
                    </a:lnTo>
                    <a:lnTo>
                      <a:pt x="65" y="11"/>
                    </a:lnTo>
                    <a:lnTo>
                      <a:pt x="67" y="16"/>
                    </a:lnTo>
                    <a:lnTo>
                      <a:pt x="74" y="21"/>
                    </a:lnTo>
                    <a:lnTo>
                      <a:pt x="74" y="22"/>
                    </a:lnTo>
                    <a:lnTo>
                      <a:pt x="77" y="26"/>
                    </a:lnTo>
                    <a:lnTo>
                      <a:pt x="82" y="26"/>
                    </a:lnTo>
                    <a:lnTo>
                      <a:pt x="85" y="27"/>
                    </a:lnTo>
                    <a:lnTo>
                      <a:pt x="88" y="31"/>
                    </a:lnTo>
                    <a:lnTo>
                      <a:pt x="85" y="31"/>
                    </a:lnTo>
                    <a:lnTo>
                      <a:pt x="83" y="32"/>
                    </a:lnTo>
                    <a:lnTo>
                      <a:pt x="78" y="32"/>
                    </a:lnTo>
                    <a:lnTo>
                      <a:pt x="74" y="35"/>
                    </a:lnTo>
                    <a:lnTo>
                      <a:pt x="74" y="40"/>
                    </a:lnTo>
                    <a:lnTo>
                      <a:pt x="75" y="44"/>
                    </a:lnTo>
                    <a:lnTo>
                      <a:pt x="74" y="45"/>
                    </a:lnTo>
                    <a:lnTo>
                      <a:pt x="74" y="49"/>
                    </a:lnTo>
                    <a:lnTo>
                      <a:pt x="74" y="50"/>
                    </a:lnTo>
                    <a:lnTo>
                      <a:pt x="74" y="52"/>
                    </a:lnTo>
                    <a:lnTo>
                      <a:pt x="72" y="53"/>
                    </a:lnTo>
                    <a:lnTo>
                      <a:pt x="72" y="60"/>
                    </a:lnTo>
                    <a:lnTo>
                      <a:pt x="72" y="62"/>
                    </a:lnTo>
                    <a:lnTo>
                      <a:pt x="70" y="60"/>
                    </a:lnTo>
                    <a:lnTo>
                      <a:pt x="72" y="57"/>
                    </a:lnTo>
                    <a:lnTo>
                      <a:pt x="70" y="53"/>
                    </a:lnTo>
                    <a:lnTo>
                      <a:pt x="69" y="55"/>
                    </a:lnTo>
                    <a:lnTo>
                      <a:pt x="67" y="57"/>
                    </a:lnTo>
                    <a:lnTo>
                      <a:pt x="69" y="62"/>
                    </a:lnTo>
                    <a:lnTo>
                      <a:pt x="69" y="65"/>
                    </a:lnTo>
                    <a:lnTo>
                      <a:pt x="69" y="65"/>
                    </a:lnTo>
                    <a:lnTo>
                      <a:pt x="69" y="71"/>
                    </a:lnTo>
                    <a:lnTo>
                      <a:pt x="67" y="73"/>
                    </a:lnTo>
                    <a:lnTo>
                      <a:pt x="65" y="71"/>
                    </a:lnTo>
                    <a:lnTo>
                      <a:pt x="64" y="70"/>
                    </a:lnTo>
                    <a:lnTo>
                      <a:pt x="61" y="68"/>
                    </a:lnTo>
                    <a:lnTo>
                      <a:pt x="56" y="63"/>
                    </a:lnTo>
                    <a:lnTo>
                      <a:pt x="61" y="60"/>
                    </a:lnTo>
                    <a:lnTo>
                      <a:pt x="57" y="57"/>
                    </a:lnTo>
                    <a:lnTo>
                      <a:pt x="57" y="55"/>
                    </a:lnTo>
                    <a:lnTo>
                      <a:pt x="59" y="53"/>
                    </a:lnTo>
                    <a:lnTo>
                      <a:pt x="57" y="52"/>
                    </a:lnTo>
                    <a:lnTo>
                      <a:pt x="56" y="49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2" y="49"/>
                    </a:lnTo>
                    <a:lnTo>
                      <a:pt x="49" y="50"/>
                    </a:lnTo>
                    <a:lnTo>
                      <a:pt x="46" y="50"/>
                    </a:lnTo>
                    <a:lnTo>
                      <a:pt x="44" y="53"/>
                    </a:lnTo>
                    <a:lnTo>
                      <a:pt x="43" y="55"/>
                    </a:lnTo>
                    <a:lnTo>
                      <a:pt x="39" y="58"/>
                    </a:lnTo>
                    <a:lnTo>
                      <a:pt x="38" y="58"/>
                    </a:lnTo>
                    <a:lnTo>
                      <a:pt x="38" y="60"/>
                    </a:lnTo>
                    <a:lnTo>
                      <a:pt x="36" y="62"/>
                    </a:lnTo>
                    <a:lnTo>
                      <a:pt x="34" y="63"/>
                    </a:lnTo>
                    <a:lnTo>
                      <a:pt x="31" y="62"/>
                    </a:lnTo>
                    <a:lnTo>
                      <a:pt x="31" y="62"/>
                    </a:lnTo>
                    <a:lnTo>
                      <a:pt x="31" y="58"/>
                    </a:lnTo>
                    <a:lnTo>
                      <a:pt x="33" y="57"/>
                    </a:lnTo>
                    <a:lnTo>
                      <a:pt x="31" y="53"/>
                    </a:lnTo>
                    <a:lnTo>
                      <a:pt x="34" y="52"/>
                    </a:lnTo>
                    <a:lnTo>
                      <a:pt x="31" y="49"/>
                    </a:lnTo>
                    <a:lnTo>
                      <a:pt x="26" y="49"/>
                    </a:lnTo>
                    <a:lnTo>
                      <a:pt x="20" y="44"/>
                    </a:lnTo>
                    <a:lnTo>
                      <a:pt x="16" y="39"/>
                    </a:lnTo>
                    <a:lnTo>
                      <a:pt x="20" y="37"/>
                    </a:lnTo>
                    <a:lnTo>
                      <a:pt x="20" y="34"/>
                    </a:lnTo>
                    <a:lnTo>
                      <a:pt x="13" y="29"/>
                    </a:lnTo>
                    <a:lnTo>
                      <a:pt x="13" y="26"/>
                    </a:lnTo>
                    <a:lnTo>
                      <a:pt x="13" y="21"/>
                    </a:lnTo>
                    <a:lnTo>
                      <a:pt x="10" y="17"/>
                    </a:lnTo>
                    <a:lnTo>
                      <a:pt x="5" y="17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  <a:moveTo>
                      <a:pt x="28" y="63"/>
                    </a:moveTo>
                    <a:lnTo>
                      <a:pt x="21" y="52"/>
                    </a:lnTo>
                    <a:lnTo>
                      <a:pt x="16" y="50"/>
                    </a:lnTo>
                    <a:lnTo>
                      <a:pt x="15" y="45"/>
                    </a:lnTo>
                    <a:lnTo>
                      <a:pt x="12" y="45"/>
                    </a:lnTo>
                    <a:lnTo>
                      <a:pt x="10" y="47"/>
                    </a:lnTo>
                    <a:lnTo>
                      <a:pt x="7" y="44"/>
                    </a:lnTo>
                    <a:lnTo>
                      <a:pt x="3" y="45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5" y="49"/>
                    </a:lnTo>
                    <a:lnTo>
                      <a:pt x="7" y="49"/>
                    </a:lnTo>
                    <a:lnTo>
                      <a:pt x="7" y="52"/>
                    </a:lnTo>
                    <a:lnTo>
                      <a:pt x="7" y="53"/>
                    </a:lnTo>
                    <a:lnTo>
                      <a:pt x="15" y="57"/>
                    </a:lnTo>
                    <a:lnTo>
                      <a:pt x="15" y="60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8" y="65"/>
                    </a:lnTo>
                    <a:lnTo>
                      <a:pt x="28" y="6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5" name="Freeform 228">
                <a:extLst>
                  <a:ext uri="{FF2B5EF4-FFF2-40B4-BE49-F238E27FC236}">
                    <a16:creationId xmlns:a16="http://schemas.microsoft.com/office/drawing/2014/main" xmlns="" id="{3E29872C-9FFE-4ED2-9F82-6D7E0EAA5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369"/>
                <a:ext cx="323" cy="268"/>
              </a:xfrm>
              <a:custGeom>
                <a:avLst/>
                <a:gdLst>
                  <a:gd name="T0" fmla="*/ 13 w 323"/>
                  <a:gd name="T1" fmla="*/ 7 h 268"/>
                  <a:gd name="T2" fmla="*/ 29 w 323"/>
                  <a:gd name="T3" fmla="*/ 18 h 268"/>
                  <a:gd name="T4" fmla="*/ 40 w 323"/>
                  <a:gd name="T5" fmla="*/ 18 h 268"/>
                  <a:gd name="T6" fmla="*/ 49 w 323"/>
                  <a:gd name="T7" fmla="*/ 10 h 268"/>
                  <a:gd name="T8" fmla="*/ 60 w 323"/>
                  <a:gd name="T9" fmla="*/ 4 h 268"/>
                  <a:gd name="T10" fmla="*/ 63 w 323"/>
                  <a:gd name="T11" fmla="*/ 10 h 268"/>
                  <a:gd name="T12" fmla="*/ 70 w 323"/>
                  <a:gd name="T13" fmla="*/ 25 h 268"/>
                  <a:gd name="T14" fmla="*/ 78 w 323"/>
                  <a:gd name="T15" fmla="*/ 31 h 268"/>
                  <a:gd name="T16" fmla="*/ 83 w 323"/>
                  <a:gd name="T17" fmla="*/ 44 h 268"/>
                  <a:gd name="T18" fmla="*/ 99 w 323"/>
                  <a:gd name="T19" fmla="*/ 46 h 268"/>
                  <a:gd name="T20" fmla="*/ 124 w 323"/>
                  <a:gd name="T21" fmla="*/ 59 h 268"/>
                  <a:gd name="T22" fmla="*/ 160 w 323"/>
                  <a:gd name="T23" fmla="*/ 56 h 268"/>
                  <a:gd name="T24" fmla="*/ 168 w 323"/>
                  <a:gd name="T25" fmla="*/ 43 h 268"/>
                  <a:gd name="T26" fmla="*/ 187 w 323"/>
                  <a:gd name="T27" fmla="*/ 28 h 268"/>
                  <a:gd name="T28" fmla="*/ 204 w 323"/>
                  <a:gd name="T29" fmla="*/ 25 h 268"/>
                  <a:gd name="T30" fmla="*/ 228 w 323"/>
                  <a:gd name="T31" fmla="*/ 36 h 268"/>
                  <a:gd name="T32" fmla="*/ 245 w 323"/>
                  <a:gd name="T33" fmla="*/ 44 h 268"/>
                  <a:gd name="T34" fmla="*/ 271 w 323"/>
                  <a:gd name="T35" fmla="*/ 61 h 268"/>
                  <a:gd name="T36" fmla="*/ 272 w 323"/>
                  <a:gd name="T37" fmla="*/ 77 h 268"/>
                  <a:gd name="T38" fmla="*/ 272 w 323"/>
                  <a:gd name="T39" fmla="*/ 88 h 268"/>
                  <a:gd name="T40" fmla="*/ 266 w 323"/>
                  <a:gd name="T41" fmla="*/ 100 h 268"/>
                  <a:gd name="T42" fmla="*/ 274 w 323"/>
                  <a:gd name="T43" fmla="*/ 111 h 268"/>
                  <a:gd name="T44" fmla="*/ 274 w 323"/>
                  <a:gd name="T45" fmla="*/ 141 h 268"/>
                  <a:gd name="T46" fmla="*/ 292 w 323"/>
                  <a:gd name="T47" fmla="*/ 159 h 268"/>
                  <a:gd name="T48" fmla="*/ 290 w 323"/>
                  <a:gd name="T49" fmla="*/ 200 h 268"/>
                  <a:gd name="T50" fmla="*/ 308 w 323"/>
                  <a:gd name="T51" fmla="*/ 209 h 268"/>
                  <a:gd name="T52" fmla="*/ 315 w 323"/>
                  <a:gd name="T53" fmla="*/ 224 h 268"/>
                  <a:gd name="T54" fmla="*/ 321 w 323"/>
                  <a:gd name="T55" fmla="*/ 239 h 268"/>
                  <a:gd name="T56" fmla="*/ 302 w 323"/>
                  <a:gd name="T57" fmla="*/ 247 h 268"/>
                  <a:gd name="T58" fmla="*/ 300 w 323"/>
                  <a:gd name="T59" fmla="*/ 265 h 268"/>
                  <a:gd name="T60" fmla="*/ 287 w 323"/>
                  <a:gd name="T61" fmla="*/ 263 h 268"/>
                  <a:gd name="T62" fmla="*/ 280 w 323"/>
                  <a:gd name="T63" fmla="*/ 263 h 268"/>
                  <a:gd name="T64" fmla="*/ 256 w 323"/>
                  <a:gd name="T65" fmla="*/ 260 h 268"/>
                  <a:gd name="T66" fmla="*/ 240 w 323"/>
                  <a:gd name="T67" fmla="*/ 257 h 268"/>
                  <a:gd name="T68" fmla="*/ 225 w 323"/>
                  <a:gd name="T69" fmla="*/ 244 h 268"/>
                  <a:gd name="T70" fmla="*/ 218 w 323"/>
                  <a:gd name="T71" fmla="*/ 231 h 268"/>
                  <a:gd name="T72" fmla="*/ 202 w 323"/>
                  <a:gd name="T73" fmla="*/ 234 h 268"/>
                  <a:gd name="T74" fmla="*/ 179 w 323"/>
                  <a:gd name="T75" fmla="*/ 239 h 268"/>
                  <a:gd name="T76" fmla="*/ 163 w 323"/>
                  <a:gd name="T77" fmla="*/ 232 h 268"/>
                  <a:gd name="T78" fmla="*/ 153 w 323"/>
                  <a:gd name="T79" fmla="*/ 224 h 268"/>
                  <a:gd name="T80" fmla="*/ 137 w 323"/>
                  <a:gd name="T81" fmla="*/ 219 h 268"/>
                  <a:gd name="T82" fmla="*/ 124 w 323"/>
                  <a:gd name="T83" fmla="*/ 203 h 268"/>
                  <a:gd name="T84" fmla="*/ 122 w 323"/>
                  <a:gd name="T85" fmla="*/ 200 h 268"/>
                  <a:gd name="T86" fmla="*/ 111 w 323"/>
                  <a:gd name="T87" fmla="*/ 178 h 268"/>
                  <a:gd name="T88" fmla="*/ 99 w 323"/>
                  <a:gd name="T89" fmla="*/ 180 h 268"/>
                  <a:gd name="T90" fmla="*/ 94 w 323"/>
                  <a:gd name="T91" fmla="*/ 175 h 268"/>
                  <a:gd name="T92" fmla="*/ 91 w 323"/>
                  <a:gd name="T93" fmla="*/ 182 h 268"/>
                  <a:gd name="T94" fmla="*/ 83 w 323"/>
                  <a:gd name="T95" fmla="*/ 175 h 268"/>
                  <a:gd name="T96" fmla="*/ 73 w 323"/>
                  <a:gd name="T97" fmla="*/ 154 h 268"/>
                  <a:gd name="T98" fmla="*/ 65 w 323"/>
                  <a:gd name="T99" fmla="*/ 136 h 268"/>
                  <a:gd name="T100" fmla="*/ 44 w 323"/>
                  <a:gd name="T101" fmla="*/ 128 h 268"/>
                  <a:gd name="T102" fmla="*/ 40 w 323"/>
                  <a:gd name="T103" fmla="*/ 115 h 268"/>
                  <a:gd name="T104" fmla="*/ 34 w 323"/>
                  <a:gd name="T105" fmla="*/ 108 h 268"/>
                  <a:gd name="T106" fmla="*/ 37 w 323"/>
                  <a:gd name="T107" fmla="*/ 92 h 268"/>
                  <a:gd name="T108" fmla="*/ 39 w 323"/>
                  <a:gd name="T109" fmla="*/ 80 h 268"/>
                  <a:gd name="T110" fmla="*/ 42 w 323"/>
                  <a:gd name="T111" fmla="*/ 75 h 268"/>
                  <a:gd name="T112" fmla="*/ 26 w 323"/>
                  <a:gd name="T113" fmla="*/ 71 h 268"/>
                  <a:gd name="T114" fmla="*/ 18 w 323"/>
                  <a:gd name="T115" fmla="*/ 57 h 268"/>
                  <a:gd name="T116" fmla="*/ 13 w 323"/>
                  <a:gd name="T117" fmla="*/ 48 h 268"/>
                  <a:gd name="T118" fmla="*/ 8 w 323"/>
                  <a:gd name="T119" fmla="*/ 28 h 268"/>
                  <a:gd name="T120" fmla="*/ 1 w 323"/>
                  <a:gd name="T121" fmla="*/ 12 h 268"/>
                  <a:gd name="T122" fmla="*/ 8 w 323"/>
                  <a:gd name="T123" fmla="*/ 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3" h="268">
                    <a:moveTo>
                      <a:pt x="8" y="0"/>
                    </a:moveTo>
                    <a:lnTo>
                      <a:pt x="8" y="0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7"/>
                    </a:lnTo>
                    <a:lnTo>
                      <a:pt x="13" y="8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24" y="18"/>
                    </a:lnTo>
                    <a:lnTo>
                      <a:pt x="29" y="18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7" y="17"/>
                    </a:lnTo>
                    <a:lnTo>
                      <a:pt x="40" y="18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4" y="13"/>
                    </a:lnTo>
                    <a:lnTo>
                      <a:pt x="45" y="13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2" y="5"/>
                    </a:lnTo>
                    <a:lnTo>
                      <a:pt x="55" y="5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3" y="7"/>
                    </a:lnTo>
                    <a:lnTo>
                      <a:pt x="65" y="8"/>
                    </a:lnTo>
                    <a:lnTo>
                      <a:pt x="63" y="10"/>
                    </a:lnTo>
                    <a:lnTo>
                      <a:pt x="63" y="12"/>
                    </a:lnTo>
                    <a:lnTo>
                      <a:pt x="67" y="15"/>
                    </a:lnTo>
                    <a:lnTo>
                      <a:pt x="62" y="18"/>
                    </a:lnTo>
                    <a:lnTo>
                      <a:pt x="67" y="23"/>
                    </a:lnTo>
                    <a:lnTo>
                      <a:pt x="70" y="25"/>
                    </a:lnTo>
                    <a:lnTo>
                      <a:pt x="71" y="26"/>
                    </a:lnTo>
                    <a:lnTo>
                      <a:pt x="73" y="28"/>
                    </a:lnTo>
                    <a:lnTo>
                      <a:pt x="75" y="26"/>
                    </a:lnTo>
                    <a:lnTo>
                      <a:pt x="75" y="28"/>
                    </a:lnTo>
                    <a:lnTo>
                      <a:pt x="78" y="31"/>
                    </a:lnTo>
                    <a:lnTo>
                      <a:pt x="78" y="35"/>
                    </a:lnTo>
                    <a:lnTo>
                      <a:pt x="76" y="39"/>
                    </a:lnTo>
                    <a:lnTo>
                      <a:pt x="78" y="39"/>
                    </a:lnTo>
                    <a:lnTo>
                      <a:pt x="80" y="41"/>
                    </a:lnTo>
                    <a:lnTo>
                      <a:pt x="83" y="44"/>
                    </a:lnTo>
                    <a:lnTo>
                      <a:pt x="88" y="44"/>
                    </a:lnTo>
                    <a:lnTo>
                      <a:pt x="89" y="44"/>
                    </a:lnTo>
                    <a:lnTo>
                      <a:pt x="94" y="43"/>
                    </a:lnTo>
                    <a:lnTo>
                      <a:pt x="98" y="46"/>
                    </a:lnTo>
                    <a:lnTo>
                      <a:pt x="99" y="46"/>
                    </a:lnTo>
                    <a:lnTo>
                      <a:pt x="101" y="49"/>
                    </a:lnTo>
                    <a:lnTo>
                      <a:pt x="102" y="53"/>
                    </a:lnTo>
                    <a:lnTo>
                      <a:pt x="111" y="56"/>
                    </a:lnTo>
                    <a:lnTo>
                      <a:pt x="114" y="56"/>
                    </a:lnTo>
                    <a:lnTo>
                      <a:pt x="124" y="59"/>
                    </a:lnTo>
                    <a:lnTo>
                      <a:pt x="129" y="59"/>
                    </a:lnTo>
                    <a:lnTo>
                      <a:pt x="138" y="56"/>
                    </a:lnTo>
                    <a:lnTo>
                      <a:pt x="147" y="54"/>
                    </a:lnTo>
                    <a:lnTo>
                      <a:pt x="156" y="56"/>
                    </a:lnTo>
                    <a:lnTo>
                      <a:pt x="160" y="56"/>
                    </a:lnTo>
                    <a:lnTo>
                      <a:pt x="161" y="53"/>
                    </a:lnTo>
                    <a:lnTo>
                      <a:pt x="158" y="49"/>
                    </a:lnTo>
                    <a:lnTo>
                      <a:pt x="156" y="44"/>
                    </a:lnTo>
                    <a:lnTo>
                      <a:pt x="160" y="43"/>
                    </a:lnTo>
                    <a:lnTo>
                      <a:pt x="168" y="43"/>
                    </a:lnTo>
                    <a:lnTo>
                      <a:pt x="169" y="38"/>
                    </a:lnTo>
                    <a:lnTo>
                      <a:pt x="171" y="35"/>
                    </a:lnTo>
                    <a:lnTo>
                      <a:pt x="174" y="35"/>
                    </a:lnTo>
                    <a:lnTo>
                      <a:pt x="181" y="30"/>
                    </a:lnTo>
                    <a:lnTo>
                      <a:pt x="187" y="28"/>
                    </a:lnTo>
                    <a:lnTo>
                      <a:pt x="194" y="30"/>
                    </a:lnTo>
                    <a:lnTo>
                      <a:pt x="194" y="25"/>
                    </a:lnTo>
                    <a:lnTo>
                      <a:pt x="197" y="25"/>
                    </a:lnTo>
                    <a:lnTo>
                      <a:pt x="200" y="26"/>
                    </a:lnTo>
                    <a:lnTo>
                      <a:pt x="204" y="25"/>
                    </a:lnTo>
                    <a:lnTo>
                      <a:pt x="210" y="30"/>
                    </a:lnTo>
                    <a:lnTo>
                      <a:pt x="215" y="31"/>
                    </a:lnTo>
                    <a:lnTo>
                      <a:pt x="223" y="38"/>
                    </a:lnTo>
                    <a:lnTo>
                      <a:pt x="227" y="38"/>
                    </a:lnTo>
                    <a:lnTo>
                      <a:pt x="228" y="36"/>
                    </a:lnTo>
                    <a:lnTo>
                      <a:pt x="235" y="38"/>
                    </a:lnTo>
                    <a:lnTo>
                      <a:pt x="238" y="39"/>
                    </a:lnTo>
                    <a:lnTo>
                      <a:pt x="240" y="44"/>
                    </a:lnTo>
                    <a:lnTo>
                      <a:pt x="241" y="44"/>
                    </a:lnTo>
                    <a:lnTo>
                      <a:pt x="245" y="44"/>
                    </a:lnTo>
                    <a:lnTo>
                      <a:pt x="251" y="46"/>
                    </a:lnTo>
                    <a:lnTo>
                      <a:pt x="256" y="54"/>
                    </a:lnTo>
                    <a:lnTo>
                      <a:pt x="264" y="56"/>
                    </a:lnTo>
                    <a:lnTo>
                      <a:pt x="267" y="57"/>
                    </a:lnTo>
                    <a:lnTo>
                      <a:pt x="271" y="61"/>
                    </a:lnTo>
                    <a:lnTo>
                      <a:pt x="269" y="64"/>
                    </a:lnTo>
                    <a:lnTo>
                      <a:pt x="271" y="67"/>
                    </a:lnTo>
                    <a:lnTo>
                      <a:pt x="271" y="71"/>
                    </a:lnTo>
                    <a:lnTo>
                      <a:pt x="272" y="74"/>
                    </a:lnTo>
                    <a:lnTo>
                      <a:pt x="272" y="77"/>
                    </a:lnTo>
                    <a:lnTo>
                      <a:pt x="272" y="80"/>
                    </a:lnTo>
                    <a:lnTo>
                      <a:pt x="271" y="82"/>
                    </a:lnTo>
                    <a:lnTo>
                      <a:pt x="272" y="85"/>
                    </a:lnTo>
                    <a:lnTo>
                      <a:pt x="272" y="87"/>
                    </a:lnTo>
                    <a:lnTo>
                      <a:pt x="272" y="88"/>
                    </a:lnTo>
                    <a:lnTo>
                      <a:pt x="267" y="92"/>
                    </a:lnTo>
                    <a:lnTo>
                      <a:pt x="264" y="92"/>
                    </a:lnTo>
                    <a:lnTo>
                      <a:pt x="266" y="93"/>
                    </a:lnTo>
                    <a:lnTo>
                      <a:pt x="269" y="97"/>
                    </a:lnTo>
                    <a:lnTo>
                      <a:pt x="266" y="100"/>
                    </a:lnTo>
                    <a:lnTo>
                      <a:pt x="266" y="102"/>
                    </a:lnTo>
                    <a:lnTo>
                      <a:pt x="267" y="106"/>
                    </a:lnTo>
                    <a:lnTo>
                      <a:pt x="267" y="110"/>
                    </a:lnTo>
                    <a:lnTo>
                      <a:pt x="272" y="111"/>
                    </a:lnTo>
                    <a:lnTo>
                      <a:pt x="274" y="111"/>
                    </a:lnTo>
                    <a:lnTo>
                      <a:pt x="269" y="118"/>
                    </a:lnTo>
                    <a:lnTo>
                      <a:pt x="269" y="121"/>
                    </a:lnTo>
                    <a:lnTo>
                      <a:pt x="272" y="131"/>
                    </a:lnTo>
                    <a:lnTo>
                      <a:pt x="276" y="138"/>
                    </a:lnTo>
                    <a:lnTo>
                      <a:pt x="274" y="141"/>
                    </a:lnTo>
                    <a:lnTo>
                      <a:pt x="276" y="142"/>
                    </a:lnTo>
                    <a:lnTo>
                      <a:pt x="276" y="149"/>
                    </a:lnTo>
                    <a:lnTo>
                      <a:pt x="290" y="149"/>
                    </a:lnTo>
                    <a:lnTo>
                      <a:pt x="292" y="155"/>
                    </a:lnTo>
                    <a:lnTo>
                      <a:pt x="292" y="159"/>
                    </a:lnTo>
                    <a:lnTo>
                      <a:pt x="294" y="165"/>
                    </a:lnTo>
                    <a:lnTo>
                      <a:pt x="292" y="167"/>
                    </a:lnTo>
                    <a:lnTo>
                      <a:pt x="280" y="185"/>
                    </a:lnTo>
                    <a:lnTo>
                      <a:pt x="289" y="195"/>
                    </a:lnTo>
                    <a:lnTo>
                      <a:pt x="290" y="200"/>
                    </a:lnTo>
                    <a:lnTo>
                      <a:pt x="295" y="203"/>
                    </a:lnTo>
                    <a:lnTo>
                      <a:pt x="298" y="206"/>
                    </a:lnTo>
                    <a:lnTo>
                      <a:pt x="300" y="208"/>
                    </a:lnTo>
                    <a:lnTo>
                      <a:pt x="305" y="208"/>
                    </a:lnTo>
                    <a:lnTo>
                      <a:pt x="308" y="209"/>
                    </a:lnTo>
                    <a:lnTo>
                      <a:pt x="308" y="211"/>
                    </a:lnTo>
                    <a:lnTo>
                      <a:pt x="313" y="211"/>
                    </a:lnTo>
                    <a:lnTo>
                      <a:pt x="313" y="216"/>
                    </a:lnTo>
                    <a:lnTo>
                      <a:pt x="315" y="221"/>
                    </a:lnTo>
                    <a:lnTo>
                      <a:pt x="315" y="224"/>
                    </a:lnTo>
                    <a:lnTo>
                      <a:pt x="315" y="227"/>
                    </a:lnTo>
                    <a:lnTo>
                      <a:pt x="320" y="227"/>
                    </a:lnTo>
                    <a:lnTo>
                      <a:pt x="323" y="231"/>
                    </a:lnTo>
                    <a:lnTo>
                      <a:pt x="323" y="237"/>
                    </a:lnTo>
                    <a:lnTo>
                      <a:pt x="321" y="239"/>
                    </a:lnTo>
                    <a:lnTo>
                      <a:pt x="316" y="237"/>
                    </a:lnTo>
                    <a:lnTo>
                      <a:pt x="310" y="239"/>
                    </a:lnTo>
                    <a:lnTo>
                      <a:pt x="308" y="240"/>
                    </a:lnTo>
                    <a:lnTo>
                      <a:pt x="303" y="244"/>
                    </a:lnTo>
                    <a:lnTo>
                      <a:pt x="302" y="247"/>
                    </a:lnTo>
                    <a:lnTo>
                      <a:pt x="302" y="249"/>
                    </a:lnTo>
                    <a:lnTo>
                      <a:pt x="300" y="252"/>
                    </a:lnTo>
                    <a:lnTo>
                      <a:pt x="302" y="257"/>
                    </a:lnTo>
                    <a:lnTo>
                      <a:pt x="300" y="262"/>
                    </a:lnTo>
                    <a:lnTo>
                      <a:pt x="300" y="265"/>
                    </a:lnTo>
                    <a:lnTo>
                      <a:pt x="300" y="265"/>
                    </a:lnTo>
                    <a:lnTo>
                      <a:pt x="298" y="267"/>
                    </a:lnTo>
                    <a:lnTo>
                      <a:pt x="297" y="268"/>
                    </a:lnTo>
                    <a:lnTo>
                      <a:pt x="292" y="265"/>
                    </a:lnTo>
                    <a:lnTo>
                      <a:pt x="287" y="263"/>
                    </a:lnTo>
                    <a:lnTo>
                      <a:pt x="285" y="262"/>
                    </a:lnTo>
                    <a:lnTo>
                      <a:pt x="284" y="262"/>
                    </a:lnTo>
                    <a:lnTo>
                      <a:pt x="284" y="265"/>
                    </a:lnTo>
                    <a:lnTo>
                      <a:pt x="282" y="265"/>
                    </a:lnTo>
                    <a:lnTo>
                      <a:pt x="280" y="263"/>
                    </a:lnTo>
                    <a:lnTo>
                      <a:pt x="279" y="263"/>
                    </a:lnTo>
                    <a:lnTo>
                      <a:pt x="276" y="262"/>
                    </a:lnTo>
                    <a:lnTo>
                      <a:pt x="269" y="262"/>
                    </a:lnTo>
                    <a:lnTo>
                      <a:pt x="264" y="260"/>
                    </a:lnTo>
                    <a:lnTo>
                      <a:pt x="256" y="260"/>
                    </a:lnTo>
                    <a:lnTo>
                      <a:pt x="251" y="257"/>
                    </a:lnTo>
                    <a:lnTo>
                      <a:pt x="249" y="257"/>
                    </a:lnTo>
                    <a:lnTo>
                      <a:pt x="246" y="260"/>
                    </a:lnTo>
                    <a:lnTo>
                      <a:pt x="243" y="257"/>
                    </a:lnTo>
                    <a:lnTo>
                      <a:pt x="240" y="257"/>
                    </a:lnTo>
                    <a:lnTo>
                      <a:pt x="231" y="257"/>
                    </a:lnTo>
                    <a:lnTo>
                      <a:pt x="231" y="255"/>
                    </a:lnTo>
                    <a:lnTo>
                      <a:pt x="228" y="254"/>
                    </a:lnTo>
                    <a:lnTo>
                      <a:pt x="228" y="250"/>
                    </a:lnTo>
                    <a:lnTo>
                      <a:pt x="225" y="244"/>
                    </a:lnTo>
                    <a:lnTo>
                      <a:pt x="223" y="239"/>
                    </a:lnTo>
                    <a:lnTo>
                      <a:pt x="222" y="234"/>
                    </a:lnTo>
                    <a:lnTo>
                      <a:pt x="220" y="232"/>
                    </a:lnTo>
                    <a:lnTo>
                      <a:pt x="218" y="232"/>
                    </a:lnTo>
                    <a:lnTo>
                      <a:pt x="218" y="231"/>
                    </a:lnTo>
                    <a:lnTo>
                      <a:pt x="214" y="231"/>
                    </a:lnTo>
                    <a:lnTo>
                      <a:pt x="210" y="231"/>
                    </a:lnTo>
                    <a:lnTo>
                      <a:pt x="207" y="234"/>
                    </a:lnTo>
                    <a:lnTo>
                      <a:pt x="204" y="234"/>
                    </a:lnTo>
                    <a:lnTo>
                      <a:pt x="202" y="234"/>
                    </a:lnTo>
                    <a:lnTo>
                      <a:pt x="202" y="236"/>
                    </a:lnTo>
                    <a:lnTo>
                      <a:pt x="196" y="239"/>
                    </a:lnTo>
                    <a:lnTo>
                      <a:pt x="191" y="244"/>
                    </a:lnTo>
                    <a:lnTo>
                      <a:pt x="184" y="239"/>
                    </a:lnTo>
                    <a:lnTo>
                      <a:pt x="179" y="239"/>
                    </a:lnTo>
                    <a:lnTo>
                      <a:pt x="176" y="239"/>
                    </a:lnTo>
                    <a:lnTo>
                      <a:pt x="174" y="240"/>
                    </a:lnTo>
                    <a:lnTo>
                      <a:pt x="168" y="234"/>
                    </a:lnTo>
                    <a:lnTo>
                      <a:pt x="166" y="234"/>
                    </a:lnTo>
                    <a:lnTo>
                      <a:pt x="163" y="232"/>
                    </a:lnTo>
                    <a:lnTo>
                      <a:pt x="160" y="232"/>
                    </a:lnTo>
                    <a:lnTo>
                      <a:pt x="155" y="227"/>
                    </a:lnTo>
                    <a:lnTo>
                      <a:pt x="156" y="226"/>
                    </a:lnTo>
                    <a:lnTo>
                      <a:pt x="156" y="224"/>
                    </a:lnTo>
                    <a:lnTo>
                      <a:pt x="153" y="224"/>
                    </a:lnTo>
                    <a:lnTo>
                      <a:pt x="153" y="222"/>
                    </a:lnTo>
                    <a:lnTo>
                      <a:pt x="148" y="222"/>
                    </a:lnTo>
                    <a:lnTo>
                      <a:pt x="147" y="221"/>
                    </a:lnTo>
                    <a:lnTo>
                      <a:pt x="142" y="219"/>
                    </a:lnTo>
                    <a:lnTo>
                      <a:pt x="137" y="219"/>
                    </a:lnTo>
                    <a:lnTo>
                      <a:pt x="133" y="218"/>
                    </a:lnTo>
                    <a:lnTo>
                      <a:pt x="129" y="206"/>
                    </a:lnTo>
                    <a:lnTo>
                      <a:pt x="127" y="204"/>
                    </a:lnTo>
                    <a:lnTo>
                      <a:pt x="125" y="204"/>
                    </a:lnTo>
                    <a:lnTo>
                      <a:pt x="124" y="203"/>
                    </a:lnTo>
                    <a:lnTo>
                      <a:pt x="124" y="201"/>
                    </a:lnTo>
                    <a:lnTo>
                      <a:pt x="125" y="201"/>
                    </a:lnTo>
                    <a:lnTo>
                      <a:pt x="125" y="201"/>
                    </a:lnTo>
                    <a:lnTo>
                      <a:pt x="124" y="200"/>
                    </a:lnTo>
                    <a:lnTo>
                      <a:pt x="122" y="200"/>
                    </a:lnTo>
                    <a:lnTo>
                      <a:pt x="120" y="198"/>
                    </a:lnTo>
                    <a:lnTo>
                      <a:pt x="120" y="193"/>
                    </a:lnTo>
                    <a:lnTo>
                      <a:pt x="114" y="187"/>
                    </a:lnTo>
                    <a:lnTo>
                      <a:pt x="114" y="183"/>
                    </a:lnTo>
                    <a:lnTo>
                      <a:pt x="111" y="178"/>
                    </a:lnTo>
                    <a:lnTo>
                      <a:pt x="109" y="178"/>
                    </a:lnTo>
                    <a:lnTo>
                      <a:pt x="104" y="182"/>
                    </a:lnTo>
                    <a:lnTo>
                      <a:pt x="102" y="182"/>
                    </a:lnTo>
                    <a:lnTo>
                      <a:pt x="101" y="178"/>
                    </a:lnTo>
                    <a:lnTo>
                      <a:pt x="99" y="180"/>
                    </a:lnTo>
                    <a:lnTo>
                      <a:pt x="96" y="178"/>
                    </a:lnTo>
                    <a:lnTo>
                      <a:pt x="96" y="175"/>
                    </a:lnTo>
                    <a:lnTo>
                      <a:pt x="96" y="173"/>
                    </a:lnTo>
                    <a:lnTo>
                      <a:pt x="96" y="175"/>
                    </a:lnTo>
                    <a:lnTo>
                      <a:pt x="94" y="175"/>
                    </a:lnTo>
                    <a:lnTo>
                      <a:pt x="91" y="175"/>
                    </a:lnTo>
                    <a:lnTo>
                      <a:pt x="94" y="177"/>
                    </a:lnTo>
                    <a:lnTo>
                      <a:pt x="94" y="180"/>
                    </a:lnTo>
                    <a:lnTo>
                      <a:pt x="93" y="182"/>
                    </a:lnTo>
                    <a:lnTo>
                      <a:pt x="91" y="182"/>
                    </a:lnTo>
                    <a:lnTo>
                      <a:pt x="88" y="178"/>
                    </a:lnTo>
                    <a:lnTo>
                      <a:pt x="88" y="177"/>
                    </a:lnTo>
                    <a:lnTo>
                      <a:pt x="86" y="178"/>
                    </a:lnTo>
                    <a:lnTo>
                      <a:pt x="86" y="177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8" y="164"/>
                    </a:lnTo>
                    <a:lnTo>
                      <a:pt x="73" y="164"/>
                    </a:lnTo>
                    <a:lnTo>
                      <a:pt x="71" y="159"/>
                    </a:lnTo>
                    <a:lnTo>
                      <a:pt x="73" y="154"/>
                    </a:lnTo>
                    <a:lnTo>
                      <a:pt x="76" y="152"/>
                    </a:lnTo>
                    <a:lnTo>
                      <a:pt x="73" y="144"/>
                    </a:lnTo>
                    <a:lnTo>
                      <a:pt x="70" y="142"/>
                    </a:lnTo>
                    <a:lnTo>
                      <a:pt x="67" y="138"/>
                    </a:lnTo>
                    <a:lnTo>
                      <a:pt x="65" y="136"/>
                    </a:lnTo>
                    <a:lnTo>
                      <a:pt x="63" y="136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7" y="129"/>
                    </a:lnTo>
                    <a:lnTo>
                      <a:pt x="44" y="128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5" y="121"/>
                    </a:lnTo>
                    <a:lnTo>
                      <a:pt x="40" y="118"/>
                    </a:lnTo>
                    <a:lnTo>
                      <a:pt x="40" y="115"/>
                    </a:lnTo>
                    <a:lnTo>
                      <a:pt x="37" y="115"/>
                    </a:lnTo>
                    <a:lnTo>
                      <a:pt x="36" y="113"/>
                    </a:lnTo>
                    <a:lnTo>
                      <a:pt x="32" y="111"/>
                    </a:lnTo>
                    <a:lnTo>
                      <a:pt x="32" y="110"/>
                    </a:lnTo>
                    <a:lnTo>
                      <a:pt x="34" y="108"/>
                    </a:lnTo>
                    <a:lnTo>
                      <a:pt x="34" y="106"/>
                    </a:lnTo>
                    <a:lnTo>
                      <a:pt x="34" y="105"/>
                    </a:lnTo>
                    <a:lnTo>
                      <a:pt x="34" y="98"/>
                    </a:lnTo>
                    <a:lnTo>
                      <a:pt x="36" y="97"/>
                    </a:lnTo>
                    <a:lnTo>
                      <a:pt x="37" y="92"/>
                    </a:lnTo>
                    <a:lnTo>
                      <a:pt x="39" y="92"/>
                    </a:lnTo>
                    <a:lnTo>
                      <a:pt x="40" y="92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9" y="80"/>
                    </a:lnTo>
                    <a:lnTo>
                      <a:pt x="40" y="80"/>
                    </a:lnTo>
                    <a:lnTo>
                      <a:pt x="44" y="79"/>
                    </a:lnTo>
                    <a:lnTo>
                      <a:pt x="45" y="79"/>
                    </a:lnTo>
                    <a:lnTo>
                      <a:pt x="44" y="77"/>
                    </a:lnTo>
                    <a:lnTo>
                      <a:pt x="42" y="75"/>
                    </a:lnTo>
                    <a:lnTo>
                      <a:pt x="37" y="77"/>
                    </a:lnTo>
                    <a:lnTo>
                      <a:pt x="36" y="75"/>
                    </a:lnTo>
                    <a:lnTo>
                      <a:pt x="31" y="72"/>
                    </a:lnTo>
                    <a:lnTo>
                      <a:pt x="27" y="72"/>
                    </a:lnTo>
                    <a:lnTo>
                      <a:pt x="26" y="71"/>
                    </a:lnTo>
                    <a:lnTo>
                      <a:pt x="24" y="67"/>
                    </a:lnTo>
                    <a:lnTo>
                      <a:pt x="22" y="64"/>
                    </a:lnTo>
                    <a:lnTo>
                      <a:pt x="19" y="64"/>
                    </a:lnTo>
                    <a:lnTo>
                      <a:pt x="18" y="61"/>
                    </a:lnTo>
                    <a:lnTo>
                      <a:pt x="18" y="57"/>
                    </a:lnTo>
                    <a:lnTo>
                      <a:pt x="16" y="54"/>
                    </a:lnTo>
                    <a:lnTo>
                      <a:pt x="14" y="54"/>
                    </a:lnTo>
                    <a:lnTo>
                      <a:pt x="13" y="54"/>
                    </a:lnTo>
                    <a:lnTo>
                      <a:pt x="14" y="51"/>
                    </a:lnTo>
                    <a:lnTo>
                      <a:pt x="13" y="48"/>
                    </a:lnTo>
                    <a:lnTo>
                      <a:pt x="9" y="41"/>
                    </a:lnTo>
                    <a:lnTo>
                      <a:pt x="4" y="39"/>
                    </a:lnTo>
                    <a:lnTo>
                      <a:pt x="6" y="38"/>
                    </a:lnTo>
                    <a:lnTo>
                      <a:pt x="4" y="33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3" y="25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4" y="7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6" name="Freeform 229">
                <a:extLst>
                  <a:ext uri="{FF2B5EF4-FFF2-40B4-BE49-F238E27FC236}">
                    <a16:creationId xmlns:a16="http://schemas.microsoft.com/office/drawing/2014/main" xmlns="" id="{E9D61301-F4B5-4803-A9F3-4E80E632A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1338"/>
                <a:ext cx="57" cy="49"/>
              </a:xfrm>
              <a:custGeom>
                <a:avLst/>
                <a:gdLst>
                  <a:gd name="T0" fmla="*/ 0 w 57"/>
                  <a:gd name="T1" fmla="*/ 3 h 49"/>
                  <a:gd name="T2" fmla="*/ 5 w 57"/>
                  <a:gd name="T3" fmla="*/ 2 h 49"/>
                  <a:gd name="T4" fmla="*/ 13 w 57"/>
                  <a:gd name="T5" fmla="*/ 0 h 49"/>
                  <a:gd name="T6" fmla="*/ 15 w 57"/>
                  <a:gd name="T7" fmla="*/ 0 h 49"/>
                  <a:gd name="T8" fmla="*/ 23 w 57"/>
                  <a:gd name="T9" fmla="*/ 0 h 49"/>
                  <a:gd name="T10" fmla="*/ 28 w 57"/>
                  <a:gd name="T11" fmla="*/ 3 h 49"/>
                  <a:gd name="T12" fmla="*/ 33 w 57"/>
                  <a:gd name="T13" fmla="*/ 3 h 49"/>
                  <a:gd name="T14" fmla="*/ 36 w 57"/>
                  <a:gd name="T15" fmla="*/ 7 h 49"/>
                  <a:gd name="T16" fmla="*/ 36 w 57"/>
                  <a:gd name="T17" fmla="*/ 12 h 49"/>
                  <a:gd name="T18" fmla="*/ 36 w 57"/>
                  <a:gd name="T19" fmla="*/ 15 h 49"/>
                  <a:gd name="T20" fmla="*/ 43 w 57"/>
                  <a:gd name="T21" fmla="*/ 20 h 49"/>
                  <a:gd name="T22" fmla="*/ 43 w 57"/>
                  <a:gd name="T23" fmla="*/ 23 h 49"/>
                  <a:gd name="T24" fmla="*/ 39 w 57"/>
                  <a:gd name="T25" fmla="*/ 25 h 49"/>
                  <a:gd name="T26" fmla="*/ 43 w 57"/>
                  <a:gd name="T27" fmla="*/ 30 h 49"/>
                  <a:gd name="T28" fmla="*/ 49 w 57"/>
                  <a:gd name="T29" fmla="*/ 35 h 49"/>
                  <a:gd name="T30" fmla="*/ 54 w 57"/>
                  <a:gd name="T31" fmla="*/ 35 h 49"/>
                  <a:gd name="T32" fmla="*/ 57 w 57"/>
                  <a:gd name="T33" fmla="*/ 38 h 49"/>
                  <a:gd name="T34" fmla="*/ 54 w 57"/>
                  <a:gd name="T35" fmla="*/ 39 h 49"/>
                  <a:gd name="T36" fmla="*/ 56 w 57"/>
                  <a:gd name="T37" fmla="*/ 43 h 49"/>
                  <a:gd name="T38" fmla="*/ 54 w 57"/>
                  <a:gd name="T39" fmla="*/ 44 h 49"/>
                  <a:gd name="T40" fmla="*/ 54 w 57"/>
                  <a:gd name="T41" fmla="*/ 48 h 49"/>
                  <a:gd name="T42" fmla="*/ 51 w 57"/>
                  <a:gd name="T43" fmla="*/ 49 h 49"/>
                  <a:gd name="T44" fmla="*/ 44 w 57"/>
                  <a:gd name="T45" fmla="*/ 38 h 49"/>
                  <a:gd name="T46" fmla="*/ 39 w 57"/>
                  <a:gd name="T47" fmla="*/ 36 h 49"/>
                  <a:gd name="T48" fmla="*/ 38 w 57"/>
                  <a:gd name="T49" fmla="*/ 31 h 49"/>
                  <a:gd name="T50" fmla="*/ 35 w 57"/>
                  <a:gd name="T51" fmla="*/ 31 h 49"/>
                  <a:gd name="T52" fmla="*/ 33 w 57"/>
                  <a:gd name="T53" fmla="*/ 33 h 49"/>
                  <a:gd name="T54" fmla="*/ 30 w 57"/>
                  <a:gd name="T55" fmla="*/ 30 h 49"/>
                  <a:gd name="T56" fmla="*/ 26 w 57"/>
                  <a:gd name="T57" fmla="*/ 31 h 49"/>
                  <a:gd name="T58" fmla="*/ 23 w 57"/>
                  <a:gd name="T59" fmla="*/ 31 h 49"/>
                  <a:gd name="T60" fmla="*/ 23 w 57"/>
                  <a:gd name="T61" fmla="*/ 28 h 49"/>
                  <a:gd name="T62" fmla="*/ 20 w 57"/>
                  <a:gd name="T63" fmla="*/ 26 h 49"/>
                  <a:gd name="T64" fmla="*/ 17 w 57"/>
                  <a:gd name="T65" fmla="*/ 26 h 49"/>
                  <a:gd name="T66" fmla="*/ 12 w 57"/>
                  <a:gd name="T67" fmla="*/ 26 h 49"/>
                  <a:gd name="T68" fmla="*/ 7 w 57"/>
                  <a:gd name="T69" fmla="*/ 23 h 49"/>
                  <a:gd name="T70" fmla="*/ 7 w 57"/>
                  <a:gd name="T71" fmla="*/ 17 h 49"/>
                  <a:gd name="T72" fmla="*/ 8 w 57"/>
                  <a:gd name="T73" fmla="*/ 12 h 49"/>
                  <a:gd name="T74" fmla="*/ 7 w 57"/>
                  <a:gd name="T75" fmla="*/ 8 h 49"/>
                  <a:gd name="T76" fmla="*/ 4 w 57"/>
                  <a:gd name="T77" fmla="*/ 8 h 49"/>
                  <a:gd name="T78" fmla="*/ 4 w 57"/>
                  <a:gd name="T79" fmla="*/ 5 h 49"/>
                  <a:gd name="T80" fmla="*/ 0 w 57"/>
                  <a:gd name="T81" fmla="*/ 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7" h="49">
                    <a:moveTo>
                      <a:pt x="0" y="3"/>
                    </a:moveTo>
                    <a:lnTo>
                      <a:pt x="5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23" y="0"/>
                    </a:lnTo>
                    <a:lnTo>
                      <a:pt x="28" y="3"/>
                    </a:lnTo>
                    <a:lnTo>
                      <a:pt x="33" y="3"/>
                    </a:lnTo>
                    <a:lnTo>
                      <a:pt x="36" y="7"/>
                    </a:lnTo>
                    <a:lnTo>
                      <a:pt x="36" y="12"/>
                    </a:lnTo>
                    <a:lnTo>
                      <a:pt x="36" y="15"/>
                    </a:lnTo>
                    <a:lnTo>
                      <a:pt x="43" y="20"/>
                    </a:lnTo>
                    <a:lnTo>
                      <a:pt x="43" y="23"/>
                    </a:lnTo>
                    <a:lnTo>
                      <a:pt x="39" y="25"/>
                    </a:lnTo>
                    <a:lnTo>
                      <a:pt x="43" y="30"/>
                    </a:lnTo>
                    <a:lnTo>
                      <a:pt x="49" y="35"/>
                    </a:lnTo>
                    <a:lnTo>
                      <a:pt x="54" y="35"/>
                    </a:lnTo>
                    <a:lnTo>
                      <a:pt x="57" y="38"/>
                    </a:lnTo>
                    <a:lnTo>
                      <a:pt x="54" y="39"/>
                    </a:lnTo>
                    <a:lnTo>
                      <a:pt x="56" y="43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1" y="49"/>
                    </a:lnTo>
                    <a:lnTo>
                      <a:pt x="44" y="38"/>
                    </a:lnTo>
                    <a:lnTo>
                      <a:pt x="39" y="36"/>
                    </a:lnTo>
                    <a:lnTo>
                      <a:pt x="38" y="31"/>
                    </a:lnTo>
                    <a:lnTo>
                      <a:pt x="35" y="31"/>
                    </a:lnTo>
                    <a:lnTo>
                      <a:pt x="33" y="33"/>
                    </a:lnTo>
                    <a:lnTo>
                      <a:pt x="30" y="30"/>
                    </a:lnTo>
                    <a:lnTo>
                      <a:pt x="26" y="31"/>
                    </a:lnTo>
                    <a:lnTo>
                      <a:pt x="23" y="31"/>
                    </a:lnTo>
                    <a:lnTo>
                      <a:pt x="23" y="28"/>
                    </a:lnTo>
                    <a:lnTo>
                      <a:pt x="20" y="26"/>
                    </a:lnTo>
                    <a:lnTo>
                      <a:pt x="17" y="26"/>
                    </a:lnTo>
                    <a:lnTo>
                      <a:pt x="12" y="26"/>
                    </a:lnTo>
                    <a:lnTo>
                      <a:pt x="7" y="23"/>
                    </a:lnTo>
                    <a:lnTo>
                      <a:pt x="7" y="17"/>
                    </a:lnTo>
                    <a:lnTo>
                      <a:pt x="8" y="12"/>
                    </a:lnTo>
                    <a:lnTo>
                      <a:pt x="7" y="8"/>
                    </a:lnTo>
                    <a:lnTo>
                      <a:pt x="4" y="8"/>
                    </a:lnTo>
                    <a:lnTo>
                      <a:pt x="4" y="5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7" name="Freeform 230">
                <a:extLst>
                  <a:ext uri="{FF2B5EF4-FFF2-40B4-BE49-F238E27FC236}">
                    <a16:creationId xmlns:a16="http://schemas.microsoft.com/office/drawing/2014/main" xmlns="" id="{C29473CB-A56C-47EE-8CED-388CB2E844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41" y="1325"/>
                <a:ext cx="294" cy="121"/>
              </a:xfrm>
              <a:custGeom>
                <a:avLst/>
                <a:gdLst>
                  <a:gd name="T0" fmla="*/ 15 w 294"/>
                  <a:gd name="T1" fmla="*/ 13 h 121"/>
                  <a:gd name="T2" fmla="*/ 23 w 294"/>
                  <a:gd name="T3" fmla="*/ 2 h 121"/>
                  <a:gd name="T4" fmla="*/ 43 w 294"/>
                  <a:gd name="T5" fmla="*/ 15 h 121"/>
                  <a:gd name="T6" fmla="*/ 39 w 294"/>
                  <a:gd name="T7" fmla="*/ 23 h 121"/>
                  <a:gd name="T8" fmla="*/ 17 w 294"/>
                  <a:gd name="T9" fmla="*/ 34 h 121"/>
                  <a:gd name="T10" fmla="*/ 13 w 294"/>
                  <a:gd name="T11" fmla="*/ 31 h 121"/>
                  <a:gd name="T12" fmla="*/ 5 w 294"/>
                  <a:gd name="T13" fmla="*/ 28 h 121"/>
                  <a:gd name="T14" fmla="*/ 224 w 294"/>
                  <a:gd name="T15" fmla="*/ 20 h 121"/>
                  <a:gd name="T16" fmla="*/ 206 w 294"/>
                  <a:gd name="T17" fmla="*/ 18 h 121"/>
                  <a:gd name="T18" fmla="*/ 180 w 294"/>
                  <a:gd name="T19" fmla="*/ 21 h 121"/>
                  <a:gd name="T20" fmla="*/ 159 w 294"/>
                  <a:gd name="T21" fmla="*/ 15 h 121"/>
                  <a:gd name="T22" fmla="*/ 146 w 294"/>
                  <a:gd name="T23" fmla="*/ 8 h 121"/>
                  <a:gd name="T24" fmla="*/ 129 w 294"/>
                  <a:gd name="T25" fmla="*/ 3 h 121"/>
                  <a:gd name="T26" fmla="*/ 102 w 294"/>
                  <a:gd name="T27" fmla="*/ 7 h 121"/>
                  <a:gd name="T28" fmla="*/ 85 w 294"/>
                  <a:gd name="T29" fmla="*/ 18 h 121"/>
                  <a:gd name="T30" fmla="*/ 66 w 294"/>
                  <a:gd name="T31" fmla="*/ 20 h 121"/>
                  <a:gd name="T32" fmla="*/ 53 w 294"/>
                  <a:gd name="T33" fmla="*/ 28 h 121"/>
                  <a:gd name="T34" fmla="*/ 46 w 294"/>
                  <a:gd name="T35" fmla="*/ 34 h 121"/>
                  <a:gd name="T36" fmla="*/ 39 w 294"/>
                  <a:gd name="T37" fmla="*/ 36 h 121"/>
                  <a:gd name="T38" fmla="*/ 22 w 294"/>
                  <a:gd name="T39" fmla="*/ 36 h 121"/>
                  <a:gd name="T40" fmla="*/ 10 w 294"/>
                  <a:gd name="T41" fmla="*/ 52 h 121"/>
                  <a:gd name="T42" fmla="*/ 22 w 294"/>
                  <a:gd name="T43" fmla="*/ 54 h 121"/>
                  <a:gd name="T44" fmla="*/ 22 w 294"/>
                  <a:gd name="T45" fmla="*/ 67 h 121"/>
                  <a:gd name="T46" fmla="*/ 22 w 294"/>
                  <a:gd name="T47" fmla="*/ 72 h 121"/>
                  <a:gd name="T48" fmla="*/ 13 w 294"/>
                  <a:gd name="T49" fmla="*/ 74 h 121"/>
                  <a:gd name="T50" fmla="*/ 20 w 294"/>
                  <a:gd name="T51" fmla="*/ 83 h 121"/>
                  <a:gd name="T52" fmla="*/ 26 w 294"/>
                  <a:gd name="T53" fmla="*/ 97 h 121"/>
                  <a:gd name="T54" fmla="*/ 30 w 294"/>
                  <a:gd name="T55" fmla="*/ 105 h 121"/>
                  <a:gd name="T56" fmla="*/ 31 w 294"/>
                  <a:gd name="T57" fmla="*/ 108 h 121"/>
                  <a:gd name="T58" fmla="*/ 39 w 294"/>
                  <a:gd name="T59" fmla="*/ 111 h 121"/>
                  <a:gd name="T60" fmla="*/ 49 w 294"/>
                  <a:gd name="T61" fmla="*/ 108 h 121"/>
                  <a:gd name="T62" fmla="*/ 57 w 294"/>
                  <a:gd name="T63" fmla="*/ 113 h 121"/>
                  <a:gd name="T64" fmla="*/ 71 w 294"/>
                  <a:gd name="T65" fmla="*/ 116 h 121"/>
                  <a:gd name="T66" fmla="*/ 80 w 294"/>
                  <a:gd name="T67" fmla="*/ 110 h 121"/>
                  <a:gd name="T68" fmla="*/ 108 w 294"/>
                  <a:gd name="T69" fmla="*/ 118 h 121"/>
                  <a:gd name="T70" fmla="*/ 136 w 294"/>
                  <a:gd name="T71" fmla="*/ 116 h 121"/>
                  <a:gd name="T72" fmla="*/ 160 w 294"/>
                  <a:gd name="T73" fmla="*/ 108 h 121"/>
                  <a:gd name="T74" fmla="*/ 160 w 294"/>
                  <a:gd name="T75" fmla="*/ 113 h 121"/>
                  <a:gd name="T76" fmla="*/ 173 w 294"/>
                  <a:gd name="T77" fmla="*/ 119 h 121"/>
                  <a:gd name="T78" fmla="*/ 183 w 294"/>
                  <a:gd name="T79" fmla="*/ 108 h 121"/>
                  <a:gd name="T80" fmla="*/ 208 w 294"/>
                  <a:gd name="T81" fmla="*/ 105 h 121"/>
                  <a:gd name="T82" fmla="*/ 232 w 294"/>
                  <a:gd name="T83" fmla="*/ 98 h 121"/>
                  <a:gd name="T84" fmla="*/ 260 w 294"/>
                  <a:gd name="T85" fmla="*/ 98 h 121"/>
                  <a:gd name="T86" fmla="*/ 284 w 294"/>
                  <a:gd name="T87" fmla="*/ 93 h 121"/>
                  <a:gd name="T88" fmla="*/ 293 w 294"/>
                  <a:gd name="T89" fmla="*/ 92 h 121"/>
                  <a:gd name="T90" fmla="*/ 286 w 294"/>
                  <a:gd name="T91" fmla="*/ 70 h 121"/>
                  <a:gd name="T92" fmla="*/ 280 w 294"/>
                  <a:gd name="T93" fmla="*/ 51 h 121"/>
                  <a:gd name="T94" fmla="*/ 280 w 294"/>
                  <a:gd name="T95" fmla="*/ 39 h 121"/>
                  <a:gd name="T96" fmla="*/ 267 w 294"/>
                  <a:gd name="T97" fmla="*/ 21 h 121"/>
                  <a:gd name="T98" fmla="*/ 249 w 294"/>
                  <a:gd name="T99" fmla="*/ 10 h 121"/>
                  <a:gd name="T100" fmla="*/ 237 w 294"/>
                  <a:gd name="T101" fmla="*/ 7 h 121"/>
                  <a:gd name="T102" fmla="*/ 36 w 294"/>
                  <a:gd name="T103" fmla="*/ 113 h 121"/>
                  <a:gd name="T104" fmla="*/ 7 w 294"/>
                  <a:gd name="T10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94" h="121">
                    <a:moveTo>
                      <a:pt x="5" y="28"/>
                    </a:moveTo>
                    <a:lnTo>
                      <a:pt x="8" y="26"/>
                    </a:lnTo>
                    <a:lnTo>
                      <a:pt x="10" y="23"/>
                    </a:lnTo>
                    <a:lnTo>
                      <a:pt x="10" y="20"/>
                    </a:lnTo>
                    <a:lnTo>
                      <a:pt x="13" y="16"/>
                    </a:lnTo>
                    <a:lnTo>
                      <a:pt x="15" y="13"/>
                    </a:lnTo>
                    <a:lnTo>
                      <a:pt x="12" y="12"/>
                    </a:lnTo>
                    <a:lnTo>
                      <a:pt x="12" y="7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18" y="2"/>
                    </a:lnTo>
                    <a:lnTo>
                      <a:pt x="23" y="2"/>
                    </a:lnTo>
                    <a:lnTo>
                      <a:pt x="28" y="5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10"/>
                    </a:lnTo>
                    <a:lnTo>
                      <a:pt x="38" y="15"/>
                    </a:lnTo>
                    <a:lnTo>
                      <a:pt x="43" y="15"/>
                    </a:lnTo>
                    <a:lnTo>
                      <a:pt x="46" y="18"/>
                    </a:lnTo>
                    <a:lnTo>
                      <a:pt x="49" y="20"/>
                    </a:lnTo>
                    <a:lnTo>
                      <a:pt x="49" y="23"/>
                    </a:lnTo>
                    <a:lnTo>
                      <a:pt x="46" y="25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6" y="23"/>
                    </a:lnTo>
                    <a:lnTo>
                      <a:pt x="35" y="25"/>
                    </a:lnTo>
                    <a:lnTo>
                      <a:pt x="30" y="25"/>
                    </a:lnTo>
                    <a:lnTo>
                      <a:pt x="26" y="26"/>
                    </a:lnTo>
                    <a:lnTo>
                      <a:pt x="25" y="31"/>
                    </a:lnTo>
                    <a:lnTo>
                      <a:pt x="17" y="34"/>
                    </a:lnTo>
                    <a:lnTo>
                      <a:pt x="10" y="41"/>
                    </a:lnTo>
                    <a:lnTo>
                      <a:pt x="10" y="38"/>
                    </a:lnTo>
                    <a:lnTo>
                      <a:pt x="12" y="33"/>
                    </a:lnTo>
                    <a:lnTo>
                      <a:pt x="13" y="33"/>
                    </a:lnTo>
                    <a:lnTo>
                      <a:pt x="17" y="31"/>
                    </a:lnTo>
                    <a:lnTo>
                      <a:pt x="13" y="31"/>
                    </a:lnTo>
                    <a:lnTo>
                      <a:pt x="12" y="31"/>
                    </a:lnTo>
                    <a:lnTo>
                      <a:pt x="10" y="31"/>
                    </a:lnTo>
                    <a:lnTo>
                      <a:pt x="7" y="30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close/>
                    <a:moveTo>
                      <a:pt x="237" y="7"/>
                    </a:moveTo>
                    <a:lnTo>
                      <a:pt x="237" y="8"/>
                    </a:lnTo>
                    <a:lnTo>
                      <a:pt x="234" y="13"/>
                    </a:lnTo>
                    <a:lnTo>
                      <a:pt x="231" y="15"/>
                    </a:lnTo>
                    <a:lnTo>
                      <a:pt x="226" y="18"/>
                    </a:lnTo>
                    <a:lnTo>
                      <a:pt x="224" y="20"/>
                    </a:lnTo>
                    <a:lnTo>
                      <a:pt x="219" y="21"/>
                    </a:lnTo>
                    <a:lnTo>
                      <a:pt x="218" y="21"/>
                    </a:lnTo>
                    <a:lnTo>
                      <a:pt x="211" y="21"/>
                    </a:lnTo>
                    <a:lnTo>
                      <a:pt x="209" y="20"/>
                    </a:lnTo>
                    <a:lnTo>
                      <a:pt x="208" y="20"/>
                    </a:lnTo>
                    <a:lnTo>
                      <a:pt x="206" y="18"/>
                    </a:lnTo>
                    <a:lnTo>
                      <a:pt x="203" y="20"/>
                    </a:lnTo>
                    <a:lnTo>
                      <a:pt x="196" y="20"/>
                    </a:lnTo>
                    <a:lnTo>
                      <a:pt x="190" y="23"/>
                    </a:lnTo>
                    <a:lnTo>
                      <a:pt x="185" y="21"/>
                    </a:lnTo>
                    <a:lnTo>
                      <a:pt x="182" y="20"/>
                    </a:lnTo>
                    <a:lnTo>
                      <a:pt x="180" y="21"/>
                    </a:lnTo>
                    <a:lnTo>
                      <a:pt x="173" y="18"/>
                    </a:lnTo>
                    <a:lnTo>
                      <a:pt x="170" y="16"/>
                    </a:lnTo>
                    <a:lnTo>
                      <a:pt x="165" y="13"/>
                    </a:lnTo>
                    <a:lnTo>
                      <a:pt x="164" y="13"/>
                    </a:lnTo>
                    <a:lnTo>
                      <a:pt x="162" y="15"/>
                    </a:lnTo>
                    <a:lnTo>
                      <a:pt x="159" y="15"/>
                    </a:lnTo>
                    <a:lnTo>
                      <a:pt x="157" y="12"/>
                    </a:lnTo>
                    <a:lnTo>
                      <a:pt x="155" y="7"/>
                    </a:lnTo>
                    <a:lnTo>
                      <a:pt x="154" y="5"/>
                    </a:lnTo>
                    <a:lnTo>
                      <a:pt x="151" y="5"/>
                    </a:lnTo>
                    <a:lnTo>
                      <a:pt x="147" y="10"/>
                    </a:lnTo>
                    <a:lnTo>
                      <a:pt x="146" y="8"/>
                    </a:lnTo>
                    <a:lnTo>
                      <a:pt x="144" y="10"/>
                    </a:lnTo>
                    <a:lnTo>
                      <a:pt x="139" y="3"/>
                    </a:lnTo>
                    <a:lnTo>
                      <a:pt x="139" y="2"/>
                    </a:lnTo>
                    <a:lnTo>
                      <a:pt x="137" y="0"/>
                    </a:lnTo>
                    <a:lnTo>
                      <a:pt x="134" y="3"/>
                    </a:lnTo>
                    <a:lnTo>
                      <a:pt x="129" y="3"/>
                    </a:lnTo>
                    <a:lnTo>
                      <a:pt x="126" y="2"/>
                    </a:lnTo>
                    <a:lnTo>
                      <a:pt x="123" y="3"/>
                    </a:lnTo>
                    <a:lnTo>
                      <a:pt x="115" y="2"/>
                    </a:lnTo>
                    <a:lnTo>
                      <a:pt x="111" y="3"/>
                    </a:lnTo>
                    <a:lnTo>
                      <a:pt x="105" y="7"/>
                    </a:lnTo>
                    <a:lnTo>
                      <a:pt x="102" y="7"/>
                    </a:lnTo>
                    <a:lnTo>
                      <a:pt x="95" y="8"/>
                    </a:lnTo>
                    <a:lnTo>
                      <a:pt x="93" y="10"/>
                    </a:lnTo>
                    <a:lnTo>
                      <a:pt x="90" y="12"/>
                    </a:lnTo>
                    <a:lnTo>
                      <a:pt x="88" y="13"/>
                    </a:lnTo>
                    <a:lnTo>
                      <a:pt x="87" y="15"/>
                    </a:lnTo>
                    <a:lnTo>
                      <a:pt x="85" y="18"/>
                    </a:lnTo>
                    <a:lnTo>
                      <a:pt x="84" y="20"/>
                    </a:lnTo>
                    <a:lnTo>
                      <a:pt x="84" y="21"/>
                    </a:lnTo>
                    <a:lnTo>
                      <a:pt x="79" y="21"/>
                    </a:lnTo>
                    <a:lnTo>
                      <a:pt x="71" y="18"/>
                    </a:lnTo>
                    <a:lnTo>
                      <a:pt x="67" y="18"/>
                    </a:lnTo>
                    <a:lnTo>
                      <a:pt x="66" y="20"/>
                    </a:lnTo>
                    <a:lnTo>
                      <a:pt x="62" y="20"/>
                    </a:lnTo>
                    <a:lnTo>
                      <a:pt x="57" y="20"/>
                    </a:lnTo>
                    <a:lnTo>
                      <a:pt x="54" y="20"/>
                    </a:lnTo>
                    <a:lnTo>
                      <a:pt x="51" y="21"/>
                    </a:lnTo>
                    <a:lnTo>
                      <a:pt x="49" y="23"/>
                    </a:lnTo>
                    <a:lnTo>
                      <a:pt x="53" y="28"/>
                    </a:lnTo>
                    <a:lnTo>
                      <a:pt x="57" y="28"/>
                    </a:lnTo>
                    <a:lnTo>
                      <a:pt x="61" y="28"/>
                    </a:lnTo>
                    <a:lnTo>
                      <a:pt x="61" y="30"/>
                    </a:lnTo>
                    <a:lnTo>
                      <a:pt x="54" y="30"/>
                    </a:lnTo>
                    <a:lnTo>
                      <a:pt x="48" y="31"/>
                    </a:lnTo>
                    <a:lnTo>
                      <a:pt x="46" y="34"/>
                    </a:lnTo>
                    <a:lnTo>
                      <a:pt x="48" y="36"/>
                    </a:lnTo>
                    <a:lnTo>
                      <a:pt x="51" y="36"/>
                    </a:lnTo>
                    <a:lnTo>
                      <a:pt x="51" y="38"/>
                    </a:lnTo>
                    <a:lnTo>
                      <a:pt x="49" y="38"/>
                    </a:lnTo>
                    <a:lnTo>
                      <a:pt x="41" y="38"/>
                    </a:lnTo>
                    <a:lnTo>
                      <a:pt x="39" y="36"/>
                    </a:lnTo>
                    <a:lnTo>
                      <a:pt x="35" y="38"/>
                    </a:lnTo>
                    <a:lnTo>
                      <a:pt x="33" y="36"/>
                    </a:lnTo>
                    <a:lnTo>
                      <a:pt x="31" y="36"/>
                    </a:lnTo>
                    <a:lnTo>
                      <a:pt x="28" y="39"/>
                    </a:lnTo>
                    <a:lnTo>
                      <a:pt x="26" y="39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2" y="41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10" y="49"/>
                    </a:lnTo>
                    <a:lnTo>
                      <a:pt x="10" y="52"/>
                    </a:lnTo>
                    <a:lnTo>
                      <a:pt x="8" y="54"/>
                    </a:lnTo>
                    <a:lnTo>
                      <a:pt x="10" y="56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18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2" y="67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3" y="69"/>
                    </a:lnTo>
                    <a:lnTo>
                      <a:pt x="18" y="70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0" y="74"/>
                    </a:lnTo>
                    <a:lnTo>
                      <a:pt x="18" y="77"/>
                    </a:lnTo>
                    <a:lnTo>
                      <a:pt x="17" y="77"/>
                    </a:lnTo>
                    <a:lnTo>
                      <a:pt x="15" y="72"/>
                    </a:lnTo>
                    <a:lnTo>
                      <a:pt x="13" y="72"/>
                    </a:lnTo>
                    <a:lnTo>
                      <a:pt x="13" y="74"/>
                    </a:lnTo>
                    <a:lnTo>
                      <a:pt x="15" y="77"/>
                    </a:lnTo>
                    <a:lnTo>
                      <a:pt x="13" y="79"/>
                    </a:lnTo>
                    <a:lnTo>
                      <a:pt x="13" y="82"/>
                    </a:lnTo>
                    <a:lnTo>
                      <a:pt x="17" y="83"/>
                    </a:lnTo>
                    <a:lnTo>
                      <a:pt x="17" y="82"/>
                    </a:lnTo>
                    <a:lnTo>
                      <a:pt x="20" y="83"/>
                    </a:lnTo>
                    <a:lnTo>
                      <a:pt x="22" y="83"/>
                    </a:lnTo>
                    <a:lnTo>
                      <a:pt x="26" y="87"/>
                    </a:lnTo>
                    <a:lnTo>
                      <a:pt x="26" y="90"/>
                    </a:lnTo>
                    <a:lnTo>
                      <a:pt x="25" y="92"/>
                    </a:lnTo>
                    <a:lnTo>
                      <a:pt x="26" y="95"/>
                    </a:lnTo>
                    <a:lnTo>
                      <a:pt x="26" y="97"/>
                    </a:lnTo>
                    <a:lnTo>
                      <a:pt x="28" y="97"/>
                    </a:lnTo>
                    <a:lnTo>
                      <a:pt x="33" y="100"/>
                    </a:lnTo>
                    <a:lnTo>
                      <a:pt x="31" y="103"/>
                    </a:lnTo>
                    <a:lnTo>
                      <a:pt x="28" y="101"/>
                    </a:lnTo>
                    <a:lnTo>
                      <a:pt x="28" y="105"/>
                    </a:lnTo>
                    <a:lnTo>
                      <a:pt x="30" y="105"/>
                    </a:lnTo>
                    <a:lnTo>
                      <a:pt x="35" y="103"/>
                    </a:lnTo>
                    <a:lnTo>
                      <a:pt x="41" y="103"/>
                    </a:lnTo>
                    <a:lnTo>
                      <a:pt x="41" y="105"/>
                    </a:lnTo>
                    <a:lnTo>
                      <a:pt x="39" y="106"/>
                    </a:lnTo>
                    <a:lnTo>
                      <a:pt x="36" y="108"/>
                    </a:lnTo>
                    <a:lnTo>
                      <a:pt x="31" y="108"/>
                    </a:lnTo>
                    <a:lnTo>
                      <a:pt x="30" y="110"/>
                    </a:lnTo>
                    <a:lnTo>
                      <a:pt x="31" y="110"/>
                    </a:lnTo>
                    <a:lnTo>
                      <a:pt x="35" y="110"/>
                    </a:lnTo>
                    <a:lnTo>
                      <a:pt x="38" y="110"/>
                    </a:lnTo>
                    <a:lnTo>
                      <a:pt x="39" y="108"/>
                    </a:lnTo>
                    <a:lnTo>
                      <a:pt x="39" y="111"/>
                    </a:lnTo>
                    <a:lnTo>
                      <a:pt x="39" y="111"/>
                    </a:lnTo>
                    <a:lnTo>
                      <a:pt x="43" y="110"/>
                    </a:lnTo>
                    <a:lnTo>
                      <a:pt x="44" y="106"/>
                    </a:lnTo>
                    <a:lnTo>
                      <a:pt x="46" y="106"/>
                    </a:lnTo>
                    <a:lnTo>
                      <a:pt x="48" y="108"/>
                    </a:lnTo>
                    <a:lnTo>
                      <a:pt x="49" y="108"/>
                    </a:lnTo>
                    <a:lnTo>
                      <a:pt x="53" y="110"/>
                    </a:lnTo>
                    <a:lnTo>
                      <a:pt x="54" y="108"/>
                    </a:lnTo>
                    <a:lnTo>
                      <a:pt x="57" y="108"/>
                    </a:lnTo>
                    <a:lnTo>
                      <a:pt x="56" y="110"/>
                    </a:lnTo>
                    <a:lnTo>
                      <a:pt x="56" y="111"/>
                    </a:lnTo>
                    <a:lnTo>
                      <a:pt x="57" y="113"/>
                    </a:lnTo>
                    <a:lnTo>
                      <a:pt x="57" y="115"/>
                    </a:lnTo>
                    <a:lnTo>
                      <a:pt x="61" y="118"/>
                    </a:lnTo>
                    <a:lnTo>
                      <a:pt x="62" y="118"/>
                    </a:lnTo>
                    <a:lnTo>
                      <a:pt x="66" y="119"/>
                    </a:lnTo>
                    <a:lnTo>
                      <a:pt x="69" y="118"/>
                    </a:lnTo>
                    <a:lnTo>
                      <a:pt x="71" y="116"/>
                    </a:lnTo>
                    <a:lnTo>
                      <a:pt x="74" y="116"/>
                    </a:lnTo>
                    <a:lnTo>
                      <a:pt x="75" y="115"/>
                    </a:lnTo>
                    <a:lnTo>
                      <a:pt x="79" y="116"/>
                    </a:lnTo>
                    <a:lnTo>
                      <a:pt x="80" y="116"/>
                    </a:lnTo>
                    <a:lnTo>
                      <a:pt x="80" y="111"/>
                    </a:lnTo>
                    <a:lnTo>
                      <a:pt x="80" y="110"/>
                    </a:lnTo>
                    <a:lnTo>
                      <a:pt x="80" y="106"/>
                    </a:lnTo>
                    <a:lnTo>
                      <a:pt x="87" y="106"/>
                    </a:lnTo>
                    <a:lnTo>
                      <a:pt x="92" y="106"/>
                    </a:lnTo>
                    <a:lnTo>
                      <a:pt x="100" y="110"/>
                    </a:lnTo>
                    <a:lnTo>
                      <a:pt x="103" y="110"/>
                    </a:lnTo>
                    <a:lnTo>
                      <a:pt x="108" y="118"/>
                    </a:lnTo>
                    <a:lnTo>
                      <a:pt x="113" y="119"/>
                    </a:lnTo>
                    <a:lnTo>
                      <a:pt x="126" y="118"/>
                    </a:lnTo>
                    <a:lnTo>
                      <a:pt x="131" y="116"/>
                    </a:lnTo>
                    <a:lnTo>
                      <a:pt x="133" y="116"/>
                    </a:lnTo>
                    <a:lnTo>
                      <a:pt x="133" y="118"/>
                    </a:lnTo>
                    <a:lnTo>
                      <a:pt x="136" y="116"/>
                    </a:lnTo>
                    <a:lnTo>
                      <a:pt x="136" y="113"/>
                    </a:lnTo>
                    <a:lnTo>
                      <a:pt x="142" y="105"/>
                    </a:lnTo>
                    <a:lnTo>
                      <a:pt x="144" y="105"/>
                    </a:lnTo>
                    <a:lnTo>
                      <a:pt x="151" y="106"/>
                    </a:lnTo>
                    <a:lnTo>
                      <a:pt x="155" y="108"/>
                    </a:lnTo>
                    <a:lnTo>
                      <a:pt x="160" y="108"/>
                    </a:lnTo>
                    <a:lnTo>
                      <a:pt x="160" y="106"/>
                    </a:lnTo>
                    <a:lnTo>
                      <a:pt x="164" y="103"/>
                    </a:lnTo>
                    <a:lnTo>
                      <a:pt x="167" y="105"/>
                    </a:lnTo>
                    <a:lnTo>
                      <a:pt x="167" y="106"/>
                    </a:lnTo>
                    <a:lnTo>
                      <a:pt x="164" y="111"/>
                    </a:lnTo>
                    <a:lnTo>
                      <a:pt x="160" y="113"/>
                    </a:lnTo>
                    <a:lnTo>
                      <a:pt x="160" y="115"/>
                    </a:lnTo>
                    <a:lnTo>
                      <a:pt x="164" y="118"/>
                    </a:lnTo>
                    <a:lnTo>
                      <a:pt x="164" y="121"/>
                    </a:lnTo>
                    <a:lnTo>
                      <a:pt x="167" y="121"/>
                    </a:lnTo>
                    <a:lnTo>
                      <a:pt x="170" y="121"/>
                    </a:lnTo>
                    <a:lnTo>
                      <a:pt x="173" y="119"/>
                    </a:lnTo>
                    <a:lnTo>
                      <a:pt x="172" y="116"/>
                    </a:lnTo>
                    <a:lnTo>
                      <a:pt x="175" y="115"/>
                    </a:lnTo>
                    <a:lnTo>
                      <a:pt x="175" y="108"/>
                    </a:lnTo>
                    <a:lnTo>
                      <a:pt x="175" y="106"/>
                    </a:lnTo>
                    <a:lnTo>
                      <a:pt x="180" y="106"/>
                    </a:lnTo>
                    <a:lnTo>
                      <a:pt x="183" y="108"/>
                    </a:lnTo>
                    <a:lnTo>
                      <a:pt x="190" y="105"/>
                    </a:lnTo>
                    <a:lnTo>
                      <a:pt x="193" y="105"/>
                    </a:lnTo>
                    <a:lnTo>
                      <a:pt x="195" y="103"/>
                    </a:lnTo>
                    <a:lnTo>
                      <a:pt x="203" y="103"/>
                    </a:lnTo>
                    <a:lnTo>
                      <a:pt x="206" y="103"/>
                    </a:lnTo>
                    <a:lnTo>
                      <a:pt x="208" y="105"/>
                    </a:lnTo>
                    <a:lnTo>
                      <a:pt x="213" y="106"/>
                    </a:lnTo>
                    <a:lnTo>
                      <a:pt x="219" y="106"/>
                    </a:lnTo>
                    <a:lnTo>
                      <a:pt x="221" y="105"/>
                    </a:lnTo>
                    <a:lnTo>
                      <a:pt x="224" y="103"/>
                    </a:lnTo>
                    <a:lnTo>
                      <a:pt x="227" y="100"/>
                    </a:lnTo>
                    <a:lnTo>
                      <a:pt x="232" y="98"/>
                    </a:lnTo>
                    <a:lnTo>
                      <a:pt x="237" y="98"/>
                    </a:lnTo>
                    <a:lnTo>
                      <a:pt x="239" y="98"/>
                    </a:lnTo>
                    <a:lnTo>
                      <a:pt x="247" y="98"/>
                    </a:lnTo>
                    <a:lnTo>
                      <a:pt x="253" y="97"/>
                    </a:lnTo>
                    <a:lnTo>
                      <a:pt x="258" y="97"/>
                    </a:lnTo>
                    <a:lnTo>
                      <a:pt x="260" y="98"/>
                    </a:lnTo>
                    <a:lnTo>
                      <a:pt x="263" y="93"/>
                    </a:lnTo>
                    <a:lnTo>
                      <a:pt x="268" y="93"/>
                    </a:lnTo>
                    <a:lnTo>
                      <a:pt x="270" y="93"/>
                    </a:lnTo>
                    <a:lnTo>
                      <a:pt x="276" y="93"/>
                    </a:lnTo>
                    <a:lnTo>
                      <a:pt x="281" y="93"/>
                    </a:lnTo>
                    <a:lnTo>
                      <a:pt x="284" y="93"/>
                    </a:lnTo>
                    <a:lnTo>
                      <a:pt x="288" y="95"/>
                    </a:lnTo>
                    <a:lnTo>
                      <a:pt x="288" y="97"/>
                    </a:lnTo>
                    <a:lnTo>
                      <a:pt x="289" y="98"/>
                    </a:lnTo>
                    <a:lnTo>
                      <a:pt x="293" y="98"/>
                    </a:lnTo>
                    <a:lnTo>
                      <a:pt x="294" y="95"/>
                    </a:lnTo>
                    <a:lnTo>
                      <a:pt x="293" y="92"/>
                    </a:lnTo>
                    <a:lnTo>
                      <a:pt x="289" y="85"/>
                    </a:lnTo>
                    <a:lnTo>
                      <a:pt x="284" y="83"/>
                    </a:lnTo>
                    <a:lnTo>
                      <a:pt x="286" y="82"/>
                    </a:lnTo>
                    <a:lnTo>
                      <a:pt x="284" y="77"/>
                    </a:lnTo>
                    <a:lnTo>
                      <a:pt x="288" y="72"/>
                    </a:lnTo>
                    <a:lnTo>
                      <a:pt x="286" y="70"/>
                    </a:lnTo>
                    <a:lnTo>
                      <a:pt x="283" y="69"/>
                    </a:lnTo>
                    <a:lnTo>
                      <a:pt x="283" y="65"/>
                    </a:lnTo>
                    <a:lnTo>
                      <a:pt x="283" y="62"/>
                    </a:lnTo>
                    <a:lnTo>
                      <a:pt x="281" y="56"/>
                    </a:lnTo>
                    <a:lnTo>
                      <a:pt x="280" y="52"/>
                    </a:lnTo>
                    <a:lnTo>
                      <a:pt x="280" y="51"/>
                    </a:lnTo>
                    <a:lnTo>
                      <a:pt x="284" y="51"/>
                    </a:lnTo>
                    <a:lnTo>
                      <a:pt x="286" y="46"/>
                    </a:lnTo>
                    <a:lnTo>
                      <a:pt x="288" y="44"/>
                    </a:lnTo>
                    <a:lnTo>
                      <a:pt x="286" y="41"/>
                    </a:lnTo>
                    <a:lnTo>
                      <a:pt x="283" y="39"/>
                    </a:lnTo>
                    <a:lnTo>
                      <a:pt x="280" y="39"/>
                    </a:lnTo>
                    <a:lnTo>
                      <a:pt x="275" y="39"/>
                    </a:lnTo>
                    <a:lnTo>
                      <a:pt x="270" y="36"/>
                    </a:lnTo>
                    <a:lnTo>
                      <a:pt x="270" y="30"/>
                    </a:lnTo>
                    <a:lnTo>
                      <a:pt x="271" y="25"/>
                    </a:lnTo>
                    <a:lnTo>
                      <a:pt x="270" y="21"/>
                    </a:lnTo>
                    <a:lnTo>
                      <a:pt x="267" y="21"/>
                    </a:lnTo>
                    <a:lnTo>
                      <a:pt x="267" y="18"/>
                    </a:lnTo>
                    <a:lnTo>
                      <a:pt x="263" y="15"/>
                    </a:lnTo>
                    <a:lnTo>
                      <a:pt x="260" y="15"/>
                    </a:lnTo>
                    <a:lnTo>
                      <a:pt x="253" y="10"/>
                    </a:lnTo>
                    <a:lnTo>
                      <a:pt x="252" y="8"/>
                    </a:lnTo>
                    <a:lnTo>
                      <a:pt x="249" y="10"/>
                    </a:lnTo>
                    <a:lnTo>
                      <a:pt x="247" y="12"/>
                    </a:lnTo>
                    <a:lnTo>
                      <a:pt x="244" y="10"/>
                    </a:lnTo>
                    <a:lnTo>
                      <a:pt x="242" y="12"/>
                    </a:lnTo>
                    <a:lnTo>
                      <a:pt x="240" y="10"/>
                    </a:lnTo>
                    <a:lnTo>
                      <a:pt x="239" y="8"/>
                    </a:lnTo>
                    <a:lnTo>
                      <a:pt x="237" y="7"/>
                    </a:lnTo>
                    <a:lnTo>
                      <a:pt x="237" y="7"/>
                    </a:lnTo>
                    <a:close/>
                    <a:moveTo>
                      <a:pt x="36" y="113"/>
                    </a:moveTo>
                    <a:lnTo>
                      <a:pt x="36" y="111"/>
                    </a:lnTo>
                    <a:lnTo>
                      <a:pt x="38" y="111"/>
                    </a:lnTo>
                    <a:lnTo>
                      <a:pt x="38" y="113"/>
                    </a:lnTo>
                    <a:lnTo>
                      <a:pt x="36" y="113"/>
                    </a:lnTo>
                    <a:lnTo>
                      <a:pt x="36" y="113"/>
                    </a:lnTo>
                    <a:lnTo>
                      <a:pt x="36" y="113"/>
                    </a:lnTo>
                    <a:close/>
                    <a:moveTo>
                      <a:pt x="0" y="39"/>
                    </a:moveTo>
                    <a:lnTo>
                      <a:pt x="4" y="41"/>
                    </a:lnTo>
                    <a:lnTo>
                      <a:pt x="7" y="39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4" y="39"/>
                    </a:lnTo>
                    <a:lnTo>
                      <a:pt x="2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8" name="Freeform 231">
                <a:extLst>
                  <a:ext uri="{FF2B5EF4-FFF2-40B4-BE49-F238E27FC236}">
                    <a16:creationId xmlns:a16="http://schemas.microsoft.com/office/drawing/2014/main" xmlns="" id="{A92309CF-46B8-430B-9DB9-C5F9721EF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1418"/>
                <a:ext cx="153" cy="151"/>
              </a:xfrm>
              <a:custGeom>
                <a:avLst/>
                <a:gdLst>
                  <a:gd name="T0" fmla="*/ 153 w 153"/>
                  <a:gd name="T1" fmla="*/ 128 h 151"/>
                  <a:gd name="T2" fmla="*/ 147 w 153"/>
                  <a:gd name="T3" fmla="*/ 124 h 151"/>
                  <a:gd name="T4" fmla="*/ 140 w 153"/>
                  <a:gd name="T5" fmla="*/ 115 h 151"/>
                  <a:gd name="T6" fmla="*/ 140 w 153"/>
                  <a:gd name="T7" fmla="*/ 105 h 151"/>
                  <a:gd name="T8" fmla="*/ 140 w 153"/>
                  <a:gd name="T9" fmla="*/ 95 h 151"/>
                  <a:gd name="T10" fmla="*/ 134 w 153"/>
                  <a:gd name="T11" fmla="*/ 89 h 151"/>
                  <a:gd name="T12" fmla="*/ 130 w 153"/>
                  <a:gd name="T13" fmla="*/ 87 h 151"/>
                  <a:gd name="T14" fmla="*/ 116 w 153"/>
                  <a:gd name="T15" fmla="*/ 80 h 151"/>
                  <a:gd name="T16" fmla="*/ 111 w 153"/>
                  <a:gd name="T17" fmla="*/ 79 h 151"/>
                  <a:gd name="T18" fmla="*/ 111 w 153"/>
                  <a:gd name="T19" fmla="*/ 75 h 151"/>
                  <a:gd name="T20" fmla="*/ 107 w 153"/>
                  <a:gd name="T21" fmla="*/ 69 h 151"/>
                  <a:gd name="T22" fmla="*/ 104 w 153"/>
                  <a:gd name="T23" fmla="*/ 66 h 151"/>
                  <a:gd name="T24" fmla="*/ 99 w 153"/>
                  <a:gd name="T25" fmla="*/ 62 h 151"/>
                  <a:gd name="T26" fmla="*/ 101 w 153"/>
                  <a:gd name="T27" fmla="*/ 59 h 151"/>
                  <a:gd name="T28" fmla="*/ 101 w 153"/>
                  <a:gd name="T29" fmla="*/ 56 h 151"/>
                  <a:gd name="T30" fmla="*/ 103 w 153"/>
                  <a:gd name="T31" fmla="*/ 48 h 151"/>
                  <a:gd name="T32" fmla="*/ 106 w 153"/>
                  <a:gd name="T33" fmla="*/ 43 h 151"/>
                  <a:gd name="T34" fmla="*/ 107 w 153"/>
                  <a:gd name="T35" fmla="*/ 36 h 151"/>
                  <a:gd name="T36" fmla="*/ 106 w 153"/>
                  <a:gd name="T37" fmla="*/ 31 h 151"/>
                  <a:gd name="T38" fmla="*/ 111 w 153"/>
                  <a:gd name="T39" fmla="*/ 30 h 151"/>
                  <a:gd name="T40" fmla="*/ 111 w 153"/>
                  <a:gd name="T41" fmla="*/ 28 h 151"/>
                  <a:gd name="T42" fmla="*/ 104 w 153"/>
                  <a:gd name="T43" fmla="*/ 28 h 151"/>
                  <a:gd name="T44" fmla="*/ 98 w 153"/>
                  <a:gd name="T45" fmla="*/ 23 h 151"/>
                  <a:gd name="T46" fmla="*/ 93 w 153"/>
                  <a:gd name="T47" fmla="*/ 22 h 151"/>
                  <a:gd name="T48" fmla="*/ 89 w 153"/>
                  <a:gd name="T49" fmla="*/ 15 h 151"/>
                  <a:gd name="T50" fmla="*/ 85 w 153"/>
                  <a:gd name="T51" fmla="*/ 12 h 151"/>
                  <a:gd name="T52" fmla="*/ 83 w 153"/>
                  <a:gd name="T53" fmla="*/ 5 h 151"/>
                  <a:gd name="T54" fmla="*/ 76 w 153"/>
                  <a:gd name="T55" fmla="*/ 5 h 151"/>
                  <a:gd name="T56" fmla="*/ 75 w 153"/>
                  <a:gd name="T57" fmla="*/ 2 h 151"/>
                  <a:gd name="T58" fmla="*/ 68 w 153"/>
                  <a:gd name="T59" fmla="*/ 0 h 151"/>
                  <a:gd name="T60" fmla="*/ 57 w 153"/>
                  <a:gd name="T61" fmla="*/ 0 h 151"/>
                  <a:gd name="T62" fmla="*/ 50 w 153"/>
                  <a:gd name="T63" fmla="*/ 0 h 151"/>
                  <a:gd name="T64" fmla="*/ 47 w 153"/>
                  <a:gd name="T65" fmla="*/ 5 h 151"/>
                  <a:gd name="T66" fmla="*/ 44 w 153"/>
                  <a:gd name="T67" fmla="*/ 8 h 151"/>
                  <a:gd name="T68" fmla="*/ 34 w 153"/>
                  <a:gd name="T69" fmla="*/ 13 h 151"/>
                  <a:gd name="T70" fmla="*/ 31 w 153"/>
                  <a:gd name="T71" fmla="*/ 23 h 151"/>
                  <a:gd name="T72" fmla="*/ 34 w 153"/>
                  <a:gd name="T73" fmla="*/ 35 h 151"/>
                  <a:gd name="T74" fmla="*/ 32 w 153"/>
                  <a:gd name="T75" fmla="*/ 43 h 151"/>
                  <a:gd name="T76" fmla="*/ 29 w 153"/>
                  <a:gd name="T77" fmla="*/ 51 h 151"/>
                  <a:gd name="T78" fmla="*/ 0 w 153"/>
                  <a:gd name="T79" fmla="*/ 74 h 151"/>
                  <a:gd name="T80" fmla="*/ 0 w 153"/>
                  <a:gd name="T81" fmla="*/ 74 h 151"/>
                  <a:gd name="T82" fmla="*/ 22 w 153"/>
                  <a:gd name="T83" fmla="*/ 97 h 151"/>
                  <a:gd name="T84" fmla="*/ 125 w 153"/>
                  <a:gd name="T85" fmla="*/ 151 h 151"/>
                  <a:gd name="T86" fmla="*/ 132 w 153"/>
                  <a:gd name="T87" fmla="*/ 136 h 151"/>
                  <a:gd name="T88" fmla="*/ 145 w 153"/>
                  <a:gd name="T89" fmla="*/ 134 h 151"/>
                  <a:gd name="T90" fmla="*/ 150 w 153"/>
                  <a:gd name="T91" fmla="*/ 134 h 151"/>
                  <a:gd name="T92" fmla="*/ 153 w 153"/>
                  <a:gd name="T93" fmla="*/ 129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151">
                    <a:moveTo>
                      <a:pt x="153" y="129"/>
                    </a:moveTo>
                    <a:lnTo>
                      <a:pt x="153" y="128"/>
                    </a:lnTo>
                    <a:lnTo>
                      <a:pt x="150" y="126"/>
                    </a:lnTo>
                    <a:lnTo>
                      <a:pt x="147" y="124"/>
                    </a:lnTo>
                    <a:lnTo>
                      <a:pt x="145" y="115"/>
                    </a:lnTo>
                    <a:lnTo>
                      <a:pt x="140" y="115"/>
                    </a:lnTo>
                    <a:lnTo>
                      <a:pt x="138" y="110"/>
                    </a:lnTo>
                    <a:lnTo>
                      <a:pt x="140" y="105"/>
                    </a:lnTo>
                    <a:lnTo>
                      <a:pt x="143" y="103"/>
                    </a:lnTo>
                    <a:lnTo>
                      <a:pt x="140" y="95"/>
                    </a:lnTo>
                    <a:lnTo>
                      <a:pt x="137" y="93"/>
                    </a:lnTo>
                    <a:lnTo>
                      <a:pt x="134" y="89"/>
                    </a:lnTo>
                    <a:lnTo>
                      <a:pt x="132" y="87"/>
                    </a:lnTo>
                    <a:lnTo>
                      <a:pt x="130" y="87"/>
                    </a:lnTo>
                    <a:lnTo>
                      <a:pt x="117" y="79"/>
                    </a:lnTo>
                    <a:lnTo>
                      <a:pt x="116" y="80"/>
                    </a:lnTo>
                    <a:lnTo>
                      <a:pt x="114" y="80"/>
                    </a:lnTo>
                    <a:lnTo>
                      <a:pt x="111" y="79"/>
                    </a:lnTo>
                    <a:lnTo>
                      <a:pt x="111" y="75"/>
                    </a:lnTo>
                    <a:lnTo>
                      <a:pt x="111" y="75"/>
                    </a:lnTo>
                    <a:lnTo>
                      <a:pt x="112" y="72"/>
                    </a:lnTo>
                    <a:lnTo>
                      <a:pt x="107" y="69"/>
                    </a:lnTo>
                    <a:lnTo>
                      <a:pt x="107" y="66"/>
                    </a:lnTo>
                    <a:lnTo>
                      <a:pt x="104" y="66"/>
                    </a:lnTo>
                    <a:lnTo>
                      <a:pt x="103" y="64"/>
                    </a:lnTo>
                    <a:lnTo>
                      <a:pt x="99" y="62"/>
                    </a:lnTo>
                    <a:lnTo>
                      <a:pt x="99" y="61"/>
                    </a:lnTo>
                    <a:lnTo>
                      <a:pt x="101" y="59"/>
                    </a:lnTo>
                    <a:lnTo>
                      <a:pt x="101" y="57"/>
                    </a:lnTo>
                    <a:lnTo>
                      <a:pt x="101" y="56"/>
                    </a:lnTo>
                    <a:lnTo>
                      <a:pt x="101" y="49"/>
                    </a:lnTo>
                    <a:lnTo>
                      <a:pt x="103" y="48"/>
                    </a:lnTo>
                    <a:lnTo>
                      <a:pt x="104" y="43"/>
                    </a:lnTo>
                    <a:lnTo>
                      <a:pt x="106" y="43"/>
                    </a:lnTo>
                    <a:lnTo>
                      <a:pt x="107" y="43"/>
                    </a:lnTo>
                    <a:lnTo>
                      <a:pt x="107" y="36"/>
                    </a:lnTo>
                    <a:lnTo>
                      <a:pt x="106" y="36"/>
                    </a:lnTo>
                    <a:lnTo>
                      <a:pt x="106" y="31"/>
                    </a:lnTo>
                    <a:lnTo>
                      <a:pt x="107" y="31"/>
                    </a:lnTo>
                    <a:lnTo>
                      <a:pt x="111" y="30"/>
                    </a:lnTo>
                    <a:lnTo>
                      <a:pt x="112" y="30"/>
                    </a:lnTo>
                    <a:lnTo>
                      <a:pt x="111" y="28"/>
                    </a:lnTo>
                    <a:lnTo>
                      <a:pt x="109" y="26"/>
                    </a:lnTo>
                    <a:lnTo>
                      <a:pt x="104" y="28"/>
                    </a:lnTo>
                    <a:lnTo>
                      <a:pt x="103" y="26"/>
                    </a:lnTo>
                    <a:lnTo>
                      <a:pt x="98" y="23"/>
                    </a:lnTo>
                    <a:lnTo>
                      <a:pt x="94" y="23"/>
                    </a:lnTo>
                    <a:lnTo>
                      <a:pt x="93" y="22"/>
                    </a:lnTo>
                    <a:lnTo>
                      <a:pt x="91" y="18"/>
                    </a:lnTo>
                    <a:lnTo>
                      <a:pt x="89" y="15"/>
                    </a:lnTo>
                    <a:lnTo>
                      <a:pt x="86" y="15"/>
                    </a:lnTo>
                    <a:lnTo>
                      <a:pt x="85" y="12"/>
                    </a:lnTo>
                    <a:lnTo>
                      <a:pt x="85" y="8"/>
                    </a:lnTo>
                    <a:lnTo>
                      <a:pt x="83" y="5"/>
                    </a:lnTo>
                    <a:lnTo>
                      <a:pt x="81" y="5"/>
                    </a:lnTo>
                    <a:lnTo>
                      <a:pt x="76" y="5"/>
                    </a:lnTo>
                    <a:lnTo>
                      <a:pt x="75" y="4"/>
                    </a:lnTo>
                    <a:lnTo>
                      <a:pt x="75" y="2"/>
                    </a:lnTo>
                    <a:lnTo>
                      <a:pt x="71" y="0"/>
                    </a:lnTo>
                    <a:lnTo>
                      <a:pt x="68" y="0"/>
                    </a:lnTo>
                    <a:lnTo>
                      <a:pt x="63" y="0"/>
                    </a:lnTo>
                    <a:lnTo>
                      <a:pt x="57" y="0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0" y="12"/>
                    </a:lnTo>
                    <a:lnTo>
                      <a:pt x="34" y="13"/>
                    </a:lnTo>
                    <a:lnTo>
                      <a:pt x="31" y="18"/>
                    </a:lnTo>
                    <a:lnTo>
                      <a:pt x="31" y="23"/>
                    </a:lnTo>
                    <a:lnTo>
                      <a:pt x="34" y="30"/>
                    </a:lnTo>
                    <a:lnTo>
                      <a:pt x="34" y="35"/>
                    </a:lnTo>
                    <a:lnTo>
                      <a:pt x="31" y="39"/>
                    </a:lnTo>
                    <a:lnTo>
                      <a:pt x="32" y="43"/>
                    </a:lnTo>
                    <a:lnTo>
                      <a:pt x="32" y="48"/>
                    </a:lnTo>
                    <a:lnTo>
                      <a:pt x="29" y="51"/>
                    </a:lnTo>
                    <a:lnTo>
                      <a:pt x="27" y="5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8" y="95"/>
                    </a:lnTo>
                    <a:lnTo>
                      <a:pt x="22" y="97"/>
                    </a:lnTo>
                    <a:lnTo>
                      <a:pt x="96" y="149"/>
                    </a:lnTo>
                    <a:lnTo>
                      <a:pt x="125" y="151"/>
                    </a:lnTo>
                    <a:lnTo>
                      <a:pt x="129" y="142"/>
                    </a:lnTo>
                    <a:lnTo>
                      <a:pt x="132" y="136"/>
                    </a:lnTo>
                    <a:lnTo>
                      <a:pt x="140" y="133"/>
                    </a:lnTo>
                    <a:lnTo>
                      <a:pt x="145" y="134"/>
                    </a:lnTo>
                    <a:lnTo>
                      <a:pt x="148" y="133"/>
                    </a:lnTo>
                    <a:lnTo>
                      <a:pt x="150" y="134"/>
                    </a:lnTo>
                    <a:lnTo>
                      <a:pt x="151" y="129"/>
                    </a:lnTo>
                    <a:lnTo>
                      <a:pt x="153" y="1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9" name="Freeform 232">
                <a:extLst>
                  <a:ext uri="{FF2B5EF4-FFF2-40B4-BE49-F238E27FC236}">
                    <a16:creationId xmlns:a16="http://schemas.microsoft.com/office/drawing/2014/main" xmlns="" id="{21480872-3532-4178-939E-6760767A2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1551"/>
                <a:ext cx="28" cy="27"/>
              </a:xfrm>
              <a:custGeom>
                <a:avLst/>
                <a:gdLst>
                  <a:gd name="T0" fmla="*/ 0 w 28"/>
                  <a:gd name="T1" fmla="*/ 18 h 27"/>
                  <a:gd name="T2" fmla="*/ 4 w 28"/>
                  <a:gd name="T3" fmla="*/ 9 h 27"/>
                  <a:gd name="T4" fmla="*/ 7 w 28"/>
                  <a:gd name="T5" fmla="*/ 3 h 27"/>
                  <a:gd name="T6" fmla="*/ 15 w 28"/>
                  <a:gd name="T7" fmla="*/ 0 h 27"/>
                  <a:gd name="T8" fmla="*/ 20 w 28"/>
                  <a:gd name="T9" fmla="*/ 1 h 27"/>
                  <a:gd name="T10" fmla="*/ 23 w 28"/>
                  <a:gd name="T11" fmla="*/ 0 h 27"/>
                  <a:gd name="T12" fmla="*/ 25 w 28"/>
                  <a:gd name="T13" fmla="*/ 1 h 27"/>
                  <a:gd name="T14" fmla="*/ 25 w 28"/>
                  <a:gd name="T15" fmla="*/ 1 h 27"/>
                  <a:gd name="T16" fmla="*/ 26 w 28"/>
                  <a:gd name="T17" fmla="*/ 9 h 27"/>
                  <a:gd name="T18" fmla="*/ 17 w 28"/>
                  <a:gd name="T19" fmla="*/ 11 h 27"/>
                  <a:gd name="T20" fmla="*/ 23 w 28"/>
                  <a:gd name="T21" fmla="*/ 14 h 27"/>
                  <a:gd name="T22" fmla="*/ 25 w 28"/>
                  <a:gd name="T23" fmla="*/ 13 h 27"/>
                  <a:gd name="T24" fmla="*/ 25 w 28"/>
                  <a:gd name="T25" fmla="*/ 16 h 27"/>
                  <a:gd name="T26" fmla="*/ 25 w 28"/>
                  <a:gd name="T27" fmla="*/ 18 h 27"/>
                  <a:gd name="T28" fmla="*/ 28 w 28"/>
                  <a:gd name="T29" fmla="*/ 21 h 27"/>
                  <a:gd name="T30" fmla="*/ 26 w 28"/>
                  <a:gd name="T31" fmla="*/ 21 h 27"/>
                  <a:gd name="T32" fmla="*/ 26 w 28"/>
                  <a:gd name="T33" fmla="*/ 21 h 27"/>
                  <a:gd name="T34" fmla="*/ 28 w 28"/>
                  <a:gd name="T35" fmla="*/ 22 h 27"/>
                  <a:gd name="T36" fmla="*/ 18 w 28"/>
                  <a:gd name="T37" fmla="*/ 27 h 27"/>
                  <a:gd name="T38" fmla="*/ 17 w 28"/>
                  <a:gd name="T39" fmla="*/ 21 h 27"/>
                  <a:gd name="T40" fmla="*/ 2 w 28"/>
                  <a:gd name="T41" fmla="*/ 18 h 27"/>
                  <a:gd name="T42" fmla="*/ 0 w 28"/>
                  <a:gd name="T43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27">
                    <a:moveTo>
                      <a:pt x="0" y="18"/>
                    </a:moveTo>
                    <a:lnTo>
                      <a:pt x="4" y="9"/>
                    </a:lnTo>
                    <a:lnTo>
                      <a:pt x="7" y="3"/>
                    </a:lnTo>
                    <a:lnTo>
                      <a:pt x="15" y="0"/>
                    </a:lnTo>
                    <a:lnTo>
                      <a:pt x="20" y="1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6" y="9"/>
                    </a:lnTo>
                    <a:lnTo>
                      <a:pt x="17" y="11"/>
                    </a:lnTo>
                    <a:lnTo>
                      <a:pt x="23" y="14"/>
                    </a:lnTo>
                    <a:lnTo>
                      <a:pt x="25" y="13"/>
                    </a:lnTo>
                    <a:lnTo>
                      <a:pt x="25" y="16"/>
                    </a:lnTo>
                    <a:lnTo>
                      <a:pt x="25" y="18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22"/>
                    </a:lnTo>
                    <a:lnTo>
                      <a:pt x="18" y="27"/>
                    </a:lnTo>
                    <a:lnTo>
                      <a:pt x="17" y="21"/>
                    </a:lnTo>
                    <a:lnTo>
                      <a:pt x="2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0" name="Freeform 233">
                <a:extLst>
                  <a:ext uri="{FF2B5EF4-FFF2-40B4-BE49-F238E27FC236}">
                    <a16:creationId xmlns:a16="http://schemas.microsoft.com/office/drawing/2014/main" xmlns="" id="{19978D0F-2259-494C-B420-6266AFCB8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53"/>
                <a:ext cx="34" cy="19"/>
              </a:xfrm>
              <a:custGeom>
                <a:avLst/>
                <a:gdLst>
                  <a:gd name="T0" fmla="*/ 5 w 34"/>
                  <a:gd name="T1" fmla="*/ 19 h 19"/>
                  <a:gd name="T2" fmla="*/ 1 w 34"/>
                  <a:gd name="T3" fmla="*/ 16 h 19"/>
                  <a:gd name="T4" fmla="*/ 0 w 34"/>
                  <a:gd name="T5" fmla="*/ 14 h 19"/>
                  <a:gd name="T6" fmla="*/ 0 w 34"/>
                  <a:gd name="T7" fmla="*/ 9 h 19"/>
                  <a:gd name="T8" fmla="*/ 1 w 34"/>
                  <a:gd name="T9" fmla="*/ 9 h 19"/>
                  <a:gd name="T10" fmla="*/ 3 w 34"/>
                  <a:gd name="T11" fmla="*/ 8 h 19"/>
                  <a:gd name="T12" fmla="*/ 6 w 34"/>
                  <a:gd name="T13" fmla="*/ 8 h 19"/>
                  <a:gd name="T14" fmla="*/ 8 w 34"/>
                  <a:gd name="T15" fmla="*/ 8 h 19"/>
                  <a:gd name="T16" fmla="*/ 10 w 34"/>
                  <a:gd name="T17" fmla="*/ 6 h 19"/>
                  <a:gd name="T18" fmla="*/ 10 w 34"/>
                  <a:gd name="T19" fmla="*/ 3 h 19"/>
                  <a:gd name="T20" fmla="*/ 13 w 34"/>
                  <a:gd name="T21" fmla="*/ 3 h 19"/>
                  <a:gd name="T22" fmla="*/ 16 w 34"/>
                  <a:gd name="T23" fmla="*/ 4 h 19"/>
                  <a:gd name="T24" fmla="*/ 19 w 34"/>
                  <a:gd name="T25" fmla="*/ 4 h 19"/>
                  <a:gd name="T26" fmla="*/ 26 w 34"/>
                  <a:gd name="T27" fmla="*/ 3 h 19"/>
                  <a:gd name="T28" fmla="*/ 31 w 34"/>
                  <a:gd name="T29" fmla="*/ 0 h 19"/>
                  <a:gd name="T30" fmla="*/ 34 w 34"/>
                  <a:gd name="T31" fmla="*/ 0 h 19"/>
                  <a:gd name="T32" fmla="*/ 34 w 34"/>
                  <a:gd name="T33" fmla="*/ 0 h 19"/>
                  <a:gd name="T34" fmla="*/ 32 w 34"/>
                  <a:gd name="T35" fmla="*/ 1 h 19"/>
                  <a:gd name="T36" fmla="*/ 29 w 34"/>
                  <a:gd name="T37" fmla="*/ 3 h 19"/>
                  <a:gd name="T38" fmla="*/ 26 w 34"/>
                  <a:gd name="T39" fmla="*/ 8 h 19"/>
                  <a:gd name="T40" fmla="*/ 26 w 34"/>
                  <a:gd name="T41" fmla="*/ 11 h 19"/>
                  <a:gd name="T42" fmla="*/ 26 w 34"/>
                  <a:gd name="T43" fmla="*/ 14 h 19"/>
                  <a:gd name="T44" fmla="*/ 23 w 34"/>
                  <a:gd name="T45" fmla="*/ 13 h 19"/>
                  <a:gd name="T46" fmla="*/ 19 w 34"/>
                  <a:gd name="T47" fmla="*/ 14 h 19"/>
                  <a:gd name="T48" fmla="*/ 16 w 34"/>
                  <a:gd name="T49" fmla="*/ 18 h 19"/>
                  <a:gd name="T50" fmla="*/ 13 w 34"/>
                  <a:gd name="T51" fmla="*/ 18 h 19"/>
                  <a:gd name="T52" fmla="*/ 11 w 34"/>
                  <a:gd name="T53" fmla="*/ 19 h 19"/>
                  <a:gd name="T54" fmla="*/ 10 w 34"/>
                  <a:gd name="T55" fmla="*/ 19 h 19"/>
                  <a:gd name="T56" fmla="*/ 5 w 34"/>
                  <a:gd name="T5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19">
                    <a:moveTo>
                      <a:pt x="5" y="19"/>
                    </a:moveTo>
                    <a:lnTo>
                      <a:pt x="1" y="16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13" y="3"/>
                    </a:lnTo>
                    <a:lnTo>
                      <a:pt x="16" y="4"/>
                    </a:lnTo>
                    <a:lnTo>
                      <a:pt x="19" y="4"/>
                    </a:lnTo>
                    <a:lnTo>
                      <a:pt x="26" y="3"/>
                    </a:lnTo>
                    <a:lnTo>
                      <a:pt x="31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1"/>
                    </a:lnTo>
                    <a:lnTo>
                      <a:pt x="29" y="3"/>
                    </a:lnTo>
                    <a:lnTo>
                      <a:pt x="26" y="8"/>
                    </a:lnTo>
                    <a:lnTo>
                      <a:pt x="26" y="11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19" y="14"/>
                    </a:lnTo>
                    <a:lnTo>
                      <a:pt x="16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10" y="19"/>
                    </a:lnTo>
                    <a:lnTo>
                      <a:pt x="5" y="1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1" name="Freeform 234">
                <a:extLst>
                  <a:ext uri="{FF2B5EF4-FFF2-40B4-BE49-F238E27FC236}">
                    <a16:creationId xmlns:a16="http://schemas.microsoft.com/office/drawing/2014/main" xmlns="" id="{64610696-A0F7-4065-AA53-798033983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1" y="1422"/>
                <a:ext cx="100" cy="89"/>
              </a:xfrm>
              <a:custGeom>
                <a:avLst/>
                <a:gdLst>
                  <a:gd name="T0" fmla="*/ 80 w 100"/>
                  <a:gd name="T1" fmla="*/ 50 h 89"/>
                  <a:gd name="T2" fmla="*/ 85 w 100"/>
                  <a:gd name="T3" fmla="*/ 44 h 89"/>
                  <a:gd name="T4" fmla="*/ 84 w 100"/>
                  <a:gd name="T5" fmla="*/ 35 h 89"/>
                  <a:gd name="T6" fmla="*/ 87 w 100"/>
                  <a:gd name="T7" fmla="*/ 26 h 89"/>
                  <a:gd name="T8" fmla="*/ 84 w 100"/>
                  <a:gd name="T9" fmla="*/ 14 h 89"/>
                  <a:gd name="T10" fmla="*/ 93 w 100"/>
                  <a:gd name="T11" fmla="*/ 8 h 89"/>
                  <a:gd name="T12" fmla="*/ 98 w 100"/>
                  <a:gd name="T13" fmla="*/ 4 h 89"/>
                  <a:gd name="T14" fmla="*/ 98 w 100"/>
                  <a:gd name="T15" fmla="*/ 0 h 89"/>
                  <a:gd name="T16" fmla="*/ 87 w 100"/>
                  <a:gd name="T17" fmla="*/ 1 h 89"/>
                  <a:gd name="T18" fmla="*/ 77 w 100"/>
                  <a:gd name="T19" fmla="*/ 1 h 89"/>
                  <a:gd name="T20" fmla="*/ 67 w 100"/>
                  <a:gd name="T21" fmla="*/ 3 h 89"/>
                  <a:gd name="T22" fmla="*/ 61 w 100"/>
                  <a:gd name="T23" fmla="*/ 8 h 89"/>
                  <a:gd name="T24" fmla="*/ 53 w 100"/>
                  <a:gd name="T25" fmla="*/ 9 h 89"/>
                  <a:gd name="T26" fmla="*/ 46 w 100"/>
                  <a:gd name="T27" fmla="*/ 6 h 89"/>
                  <a:gd name="T28" fmla="*/ 35 w 100"/>
                  <a:gd name="T29" fmla="*/ 6 h 89"/>
                  <a:gd name="T30" fmla="*/ 30 w 100"/>
                  <a:gd name="T31" fmla="*/ 8 h 89"/>
                  <a:gd name="T32" fmla="*/ 20 w 100"/>
                  <a:gd name="T33" fmla="*/ 9 h 89"/>
                  <a:gd name="T34" fmla="*/ 15 w 100"/>
                  <a:gd name="T35" fmla="*/ 11 h 89"/>
                  <a:gd name="T36" fmla="*/ 12 w 100"/>
                  <a:gd name="T37" fmla="*/ 19 h 89"/>
                  <a:gd name="T38" fmla="*/ 10 w 100"/>
                  <a:gd name="T39" fmla="*/ 24 h 89"/>
                  <a:gd name="T40" fmla="*/ 4 w 100"/>
                  <a:gd name="T41" fmla="*/ 24 h 89"/>
                  <a:gd name="T42" fmla="*/ 0 w 100"/>
                  <a:gd name="T43" fmla="*/ 24 h 89"/>
                  <a:gd name="T44" fmla="*/ 5 w 100"/>
                  <a:gd name="T45" fmla="*/ 35 h 89"/>
                  <a:gd name="T46" fmla="*/ 5 w 100"/>
                  <a:gd name="T47" fmla="*/ 42 h 89"/>
                  <a:gd name="T48" fmla="*/ 12 w 100"/>
                  <a:gd name="T49" fmla="*/ 49 h 89"/>
                  <a:gd name="T50" fmla="*/ 15 w 100"/>
                  <a:gd name="T51" fmla="*/ 53 h 89"/>
                  <a:gd name="T52" fmla="*/ 17 w 100"/>
                  <a:gd name="T53" fmla="*/ 62 h 89"/>
                  <a:gd name="T54" fmla="*/ 13 w 100"/>
                  <a:gd name="T55" fmla="*/ 62 h 89"/>
                  <a:gd name="T56" fmla="*/ 9 w 100"/>
                  <a:gd name="T57" fmla="*/ 68 h 89"/>
                  <a:gd name="T58" fmla="*/ 5 w 100"/>
                  <a:gd name="T59" fmla="*/ 71 h 89"/>
                  <a:gd name="T60" fmla="*/ 9 w 100"/>
                  <a:gd name="T61" fmla="*/ 75 h 89"/>
                  <a:gd name="T62" fmla="*/ 9 w 100"/>
                  <a:gd name="T63" fmla="*/ 83 h 89"/>
                  <a:gd name="T64" fmla="*/ 15 w 100"/>
                  <a:gd name="T65" fmla="*/ 86 h 89"/>
                  <a:gd name="T66" fmla="*/ 20 w 100"/>
                  <a:gd name="T67" fmla="*/ 89 h 89"/>
                  <a:gd name="T68" fmla="*/ 53 w 100"/>
                  <a:gd name="T69" fmla="*/ 7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0" h="89">
                    <a:moveTo>
                      <a:pt x="53" y="70"/>
                    </a:moveTo>
                    <a:lnTo>
                      <a:pt x="80" y="50"/>
                    </a:lnTo>
                    <a:lnTo>
                      <a:pt x="82" y="47"/>
                    </a:lnTo>
                    <a:lnTo>
                      <a:pt x="85" y="44"/>
                    </a:lnTo>
                    <a:lnTo>
                      <a:pt x="85" y="39"/>
                    </a:lnTo>
                    <a:lnTo>
                      <a:pt x="84" y="35"/>
                    </a:lnTo>
                    <a:lnTo>
                      <a:pt x="87" y="31"/>
                    </a:lnTo>
                    <a:lnTo>
                      <a:pt x="87" y="26"/>
                    </a:lnTo>
                    <a:lnTo>
                      <a:pt x="84" y="19"/>
                    </a:lnTo>
                    <a:lnTo>
                      <a:pt x="84" y="14"/>
                    </a:lnTo>
                    <a:lnTo>
                      <a:pt x="87" y="9"/>
                    </a:lnTo>
                    <a:lnTo>
                      <a:pt x="93" y="8"/>
                    </a:lnTo>
                    <a:lnTo>
                      <a:pt x="97" y="4"/>
                    </a:lnTo>
                    <a:lnTo>
                      <a:pt x="98" y="4"/>
                    </a:lnTo>
                    <a:lnTo>
                      <a:pt x="100" y="1"/>
                    </a:lnTo>
                    <a:lnTo>
                      <a:pt x="98" y="0"/>
                    </a:lnTo>
                    <a:lnTo>
                      <a:pt x="93" y="0"/>
                    </a:lnTo>
                    <a:lnTo>
                      <a:pt x="87" y="1"/>
                    </a:lnTo>
                    <a:lnTo>
                      <a:pt x="79" y="1"/>
                    </a:lnTo>
                    <a:lnTo>
                      <a:pt x="77" y="1"/>
                    </a:lnTo>
                    <a:lnTo>
                      <a:pt x="72" y="1"/>
                    </a:lnTo>
                    <a:lnTo>
                      <a:pt x="67" y="3"/>
                    </a:lnTo>
                    <a:lnTo>
                      <a:pt x="64" y="6"/>
                    </a:lnTo>
                    <a:lnTo>
                      <a:pt x="61" y="8"/>
                    </a:lnTo>
                    <a:lnTo>
                      <a:pt x="59" y="9"/>
                    </a:lnTo>
                    <a:lnTo>
                      <a:pt x="53" y="9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3" y="6"/>
                    </a:lnTo>
                    <a:lnTo>
                      <a:pt x="35" y="6"/>
                    </a:lnTo>
                    <a:lnTo>
                      <a:pt x="33" y="8"/>
                    </a:lnTo>
                    <a:lnTo>
                      <a:pt x="30" y="8"/>
                    </a:lnTo>
                    <a:lnTo>
                      <a:pt x="23" y="11"/>
                    </a:lnTo>
                    <a:lnTo>
                      <a:pt x="20" y="9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5" y="18"/>
                    </a:lnTo>
                    <a:lnTo>
                      <a:pt x="12" y="19"/>
                    </a:lnTo>
                    <a:lnTo>
                      <a:pt x="13" y="22"/>
                    </a:lnTo>
                    <a:lnTo>
                      <a:pt x="10" y="24"/>
                    </a:lnTo>
                    <a:lnTo>
                      <a:pt x="7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5" y="39"/>
                    </a:lnTo>
                    <a:lnTo>
                      <a:pt x="5" y="42"/>
                    </a:lnTo>
                    <a:lnTo>
                      <a:pt x="4" y="49"/>
                    </a:lnTo>
                    <a:lnTo>
                      <a:pt x="12" y="49"/>
                    </a:lnTo>
                    <a:lnTo>
                      <a:pt x="12" y="53"/>
                    </a:lnTo>
                    <a:lnTo>
                      <a:pt x="15" y="53"/>
                    </a:lnTo>
                    <a:lnTo>
                      <a:pt x="15" y="58"/>
                    </a:lnTo>
                    <a:lnTo>
                      <a:pt x="17" y="62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0" y="63"/>
                    </a:lnTo>
                    <a:lnTo>
                      <a:pt x="9" y="68"/>
                    </a:lnTo>
                    <a:lnTo>
                      <a:pt x="7" y="71"/>
                    </a:lnTo>
                    <a:lnTo>
                      <a:pt x="5" y="71"/>
                    </a:lnTo>
                    <a:lnTo>
                      <a:pt x="7" y="73"/>
                    </a:lnTo>
                    <a:lnTo>
                      <a:pt x="9" y="75"/>
                    </a:lnTo>
                    <a:lnTo>
                      <a:pt x="9" y="81"/>
                    </a:lnTo>
                    <a:lnTo>
                      <a:pt x="9" y="83"/>
                    </a:lnTo>
                    <a:lnTo>
                      <a:pt x="10" y="85"/>
                    </a:lnTo>
                    <a:lnTo>
                      <a:pt x="15" y="86"/>
                    </a:lnTo>
                    <a:lnTo>
                      <a:pt x="18" y="89"/>
                    </a:lnTo>
                    <a:lnTo>
                      <a:pt x="20" y="89"/>
                    </a:lnTo>
                    <a:lnTo>
                      <a:pt x="22" y="89"/>
                    </a:lnTo>
                    <a:lnTo>
                      <a:pt x="53" y="70"/>
                    </a:lnTo>
                    <a:lnTo>
                      <a:pt x="53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2" name="Freeform 235">
                <a:extLst>
                  <a:ext uri="{FF2B5EF4-FFF2-40B4-BE49-F238E27FC236}">
                    <a16:creationId xmlns:a16="http://schemas.microsoft.com/office/drawing/2014/main" xmlns="" id="{84ECCE49-9289-4A3A-90B9-2DF52BA5A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2" y="1493"/>
                <a:ext cx="24" cy="72"/>
              </a:xfrm>
              <a:custGeom>
                <a:avLst/>
                <a:gdLst>
                  <a:gd name="T0" fmla="*/ 16 w 24"/>
                  <a:gd name="T1" fmla="*/ 72 h 72"/>
                  <a:gd name="T2" fmla="*/ 18 w 24"/>
                  <a:gd name="T3" fmla="*/ 69 h 72"/>
                  <a:gd name="T4" fmla="*/ 18 w 24"/>
                  <a:gd name="T5" fmla="*/ 69 h 72"/>
                  <a:gd name="T6" fmla="*/ 18 w 24"/>
                  <a:gd name="T7" fmla="*/ 66 h 72"/>
                  <a:gd name="T8" fmla="*/ 19 w 24"/>
                  <a:gd name="T9" fmla="*/ 64 h 72"/>
                  <a:gd name="T10" fmla="*/ 19 w 24"/>
                  <a:gd name="T11" fmla="*/ 61 h 72"/>
                  <a:gd name="T12" fmla="*/ 19 w 24"/>
                  <a:gd name="T13" fmla="*/ 58 h 72"/>
                  <a:gd name="T14" fmla="*/ 19 w 24"/>
                  <a:gd name="T15" fmla="*/ 53 h 72"/>
                  <a:gd name="T16" fmla="*/ 21 w 24"/>
                  <a:gd name="T17" fmla="*/ 51 h 72"/>
                  <a:gd name="T18" fmla="*/ 21 w 24"/>
                  <a:gd name="T19" fmla="*/ 48 h 72"/>
                  <a:gd name="T20" fmla="*/ 21 w 24"/>
                  <a:gd name="T21" fmla="*/ 45 h 72"/>
                  <a:gd name="T22" fmla="*/ 21 w 24"/>
                  <a:gd name="T23" fmla="*/ 43 h 72"/>
                  <a:gd name="T24" fmla="*/ 23 w 24"/>
                  <a:gd name="T25" fmla="*/ 35 h 72"/>
                  <a:gd name="T26" fmla="*/ 21 w 24"/>
                  <a:gd name="T27" fmla="*/ 35 h 72"/>
                  <a:gd name="T28" fmla="*/ 19 w 24"/>
                  <a:gd name="T29" fmla="*/ 35 h 72"/>
                  <a:gd name="T30" fmla="*/ 16 w 24"/>
                  <a:gd name="T31" fmla="*/ 36 h 72"/>
                  <a:gd name="T32" fmla="*/ 14 w 24"/>
                  <a:gd name="T33" fmla="*/ 35 h 72"/>
                  <a:gd name="T34" fmla="*/ 16 w 24"/>
                  <a:gd name="T35" fmla="*/ 30 h 72"/>
                  <a:gd name="T36" fmla="*/ 16 w 24"/>
                  <a:gd name="T37" fmla="*/ 23 h 72"/>
                  <a:gd name="T38" fmla="*/ 14 w 24"/>
                  <a:gd name="T39" fmla="*/ 22 h 72"/>
                  <a:gd name="T40" fmla="*/ 16 w 24"/>
                  <a:gd name="T41" fmla="*/ 17 h 72"/>
                  <a:gd name="T42" fmla="*/ 19 w 24"/>
                  <a:gd name="T43" fmla="*/ 17 h 72"/>
                  <a:gd name="T44" fmla="*/ 19 w 24"/>
                  <a:gd name="T45" fmla="*/ 20 h 72"/>
                  <a:gd name="T46" fmla="*/ 21 w 24"/>
                  <a:gd name="T47" fmla="*/ 20 h 72"/>
                  <a:gd name="T48" fmla="*/ 23 w 24"/>
                  <a:gd name="T49" fmla="*/ 18 h 72"/>
                  <a:gd name="T50" fmla="*/ 23 w 24"/>
                  <a:gd name="T51" fmla="*/ 15 h 72"/>
                  <a:gd name="T52" fmla="*/ 24 w 24"/>
                  <a:gd name="T53" fmla="*/ 15 h 72"/>
                  <a:gd name="T54" fmla="*/ 23 w 24"/>
                  <a:gd name="T55" fmla="*/ 15 h 72"/>
                  <a:gd name="T56" fmla="*/ 23 w 24"/>
                  <a:gd name="T57" fmla="*/ 12 h 72"/>
                  <a:gd name="T58" fmla="*/ 23 w 24"/>
                  <a:gd name="T59" fmla="*/ 7 h 72"/>
                  <a:gd name="T60" fmla="*/ 24 w 24"/>
                  <a:gd name="T61" fmla="*/ 2 h 72"/>
                  <a:gd name="T62" fmla="*/ 24 w 24"/>
                  <a:gd name="T63" fmla="*/ 0 h 72"/>
                  <a:gd name="T64" fmla="*/ 23 w 24"/>
                  <a:gd name="T65" fmla="*/ 0 h 72"/>
                  <a:gd name="T66" fmla="*/ 21 w 24"/>
                  <a:gd name="T67" fmla="*/ 4 h 72"/>
                  <a:gd name="T68" fmla="*/ 16 w 24"/>
                  <a:gd name="T69" fmla="*/ 4 h 72"/>
                  <a:gd name="T70" fmla="*/ 14 w 24"/>
                  <a:gd name="T71" fmla="*/ 4 h 72"/>
                  <a:gd name="T72" fmla="*/ 11 w 24"/>
                  <a:gd name="T73" fmla="*/ 9 h 72"/>
                  <a:gd name="T74" fmla="*/ 10 w 24"/>
                  <a:gd name="T75" fmla="*/ 20 h 72"/>
                  <a:gd name="T76" fmla="*/ 5 w 24"/>
                  <a:gd name="T77" fmla="*/ 30 h 72"/>
                  <a:gd name="T78" fmla="*/ 0 w 24"/>
                  <a:gd name="T79" fmla="*/ 36 h 72"/>
                  <a:gd name="T80" fmla="*/ 1 w 24"/>
                  <a:gd name="T81" fmla="*/ 36 h 72"/>
                  <a:gd name="T82" fmla="*/ 5 w 24"/>
                  <a:gd name="T83" fmla="*/ 41 h 72"/>
                  <a:gd name="T84" fmla="*/ 6 w 24"/>
                  <a:gd name="T85" fmla="*/ 48 h 72"/>
                  <a:gd name="T86" fmla="*/ 11 w 24"/>
                  <a:gd name="T87" fmla="*/ 54 h 72"/>
                  <a:gd name="T88" fmla="*/ 14 w 24"/>
                  <a:gd name="T89" fmla="*/ 63 h 72"/>
                  <a:gd name="T90" fmla="*/ 13 w 24"/>
                  <a:gd name="T91" fmla="*/ 66 h 72"/>
                  <a:gd name="T92" fmla="*/ 16 w 24"/>
                  <a:gd name="T9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72">
                    <a:moveTo>
                      <a:pt x="16" y="72"/>
                    </a:moveTo>
                    <a:lnTo>
                      <a:pt x="18" y="69"/>
                    </a:lnTo>
                    <a:lnTo>
                      <a:pt x="18" y="69"/>
                    </a:lnTo>
                    <a:lnTo>
                      <a:pt x="18" y="66"/>
                    </a:lnTo>
                    <a:lnTo>
                      <a:pt x="19" y="64"/>
                    </a:lnTo>
                    <a:lnTo>
                      <a:pt x="19" y="61"/>
                    </a:lnTo>
                    <a:lnTo>
                      <a:pt x="19" y="58"/>
                    </a:lnTo>
                    <a:lnTo>
                      <a:pt x="19" y="53"/>
                    </a:lnTo>
                    <a:lnTo>
                      <a:pt x="21" y="51"/>
                    </a:lnTo>
                    <a:lnTo>
                      <a:pt x="21" y="48"/>
                    </a:lnTo>
                    <a:lnTo>
                      <a:pt x="21" y="45"/>
                    </a:lnTo>
                    <a:lnTo>
                      <a:pt x="21" y="43"/>
                    </a:lnTo>
                    <a:lnTo>
                      <a:pt x="23" y="35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16" y="36"/>
                    </a:lnTo>
                    <a:lnTo>
                      <a:pt x="14" y="35"/>
                    </a:lnTo>
                    <a:lnTo>
                      <a:pt x="16" y="30"/>
                    </a:lnTo>
                    <a:lnTo>
                      <a:pt x="16" y="23"/>
                    </a:lnTo>
                    <a:lnTo>
                      <a:pt x="14" y="22"/>
                    </a:lnTo>
                    <a:lnTo>
                      <a:pt x="16" y="17"/>
                    </a:lnTo>
                    <a:lnTo>
                      <a:pt x="19" y="17"/>
                    </a:lnTo>
                    <a:lnTo>
                      <a:pt x="19" y="20"/>
                    </a:lnTo>
                    <a:lnTo>
                      <a:pt x="21" y="20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5"/>
                    </a:lnTo>
                    <a:lnTo>
                      <a:pt x="23" y="15"/>
                    </a:lnTo>
                    <a:lnTo>
                      <a:pt x="23" y="12"/>
                    </a:lnTo>
                    <a:lnTo>
                      <a:pt x="23" y="7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1" y="9"/>
                    </a:lnTo>
                    <a:lnTo>
                      <a:pt x="10" y="20"/>
                    </a:lnTo>
                    <a:lnTo>
                      <a:pt x="5" y="30"/>
                    </a:lnTo>
                    <a:lnTo>
                      <a:pt x="0" y="36"/>
                    </a:lnTo>
                    <a:lnTo>
                      <a:pt x="1" y="36"/>
                    </a:lnTo>
                    <a:lnTo>
                      <a:pt x="5" y="41"/>
                    </a:lnTo>
                    <a:lnTo>
                      <a:pt x="6" y="48"/>
                    </a:lnTo>
                    <a:lnTo>
                      <a:pt x="11" y="54"/>
                    </a:lnTo>
                    <a:lnTo>
                      <a:pt x="14" y="63"/>
                    </a:lnTo>
                    <a:lnTo>
                      <a:pt x="13" y="66"/>
                    </a:lnTo>
                    <a:lnTo>
                      <a:pt x="16" y="7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3" name="Freeform 236">
                <a:extLst>
                  <a:ext uri="{FF2B5EF4-FFF2-40B4-BE49-F238E27FC236}">
                    <a16:creationId xmlns:a16="http://schemas.microsoft.com/office/drawing/2014/main" xmlns="" id="{76947C34-F6F2-463B-BB71-662E97F0AA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1493"/>
                <a:ext cx="5" cy="17"/>
              </a:xfrm>
              <a:custGeom>
                <a:avLst/>
                <a:gdLst>
                  <a:gd name="T0" fmla="*/ 1 w 5"/>
                  <a:gd name="T1" fmla="*/ 15 h 17"/>
                  <a:gd name="T2" fmla="*/ 0 w 5"/>
                  <a:gd name="T3" fmla="*/ 15 h 17"/>
                  <a:gd name="T4" fmla="*/ 0 w 5"/>
                  <a:gd name="T5" fmla="*/ 12 h 17"/>
                  <a:gd name="T6" fmla="*/ 0 w 5"/>
                  <a:gd name="T7" fmla="*/ 7 h 17"/>
                  <a:gd name="T8" fmla="*/ 1 w 5"/>
                  <a:gd name="T9" fmla="*/ 2 h 17"/>
                  <a:gd name="T10" fmla="*/ 1 w 5"/>
                  <a:gd name="T11" fmla="*/ 0 h 17"/>
                  <a:gd name="T12" fmla="*/ 1 w 5"/>
                  <a:gd name="T13" fmla="*/ 0 h 17"/>
                  <a:gd name="T14" fmla="*/ 3 w 5"/>
                  <a:gd name="T15" fmla="*/ 2 h 17"/>
                  <a:gd name="T16" fmla="*/ 5 w 5"/>
                  <a:gd name="T17" fmla="*/ 4 h 17"/>
                  <a:gd name="T18" fmla="*/ 5 w 5"/>
                  <a:gd name="T19" fmla="*/ 10 h 17"/>
                  <a:gd name="T20" fmla="*/ 5 w 5"/>
                  <a:gd name="T21" fmla="*/ 12 h 17"/>
                  <a:gd name="T22" fmla="*/ 5 w 5"/>
                  <a:gd name="T23" fmla="*/ 12 h 17"/>
                  <a:gd name="T24" fmla="*/ 3 w 5"/>
                  <a:gd name="T25" fmla="*/ 15 h 17"/>
                  <a:gd name="T26" fmla="*/ 1 w 5"/>
                  <a:gd name="T27" fmla="*/ 17 h 17"/>
                  <a:gd name="T28" fmla="*/ 1 w 5"/>
                  <a:gd name="T29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17">
                    <a:moveTo>
                      <a:pt x="1" y="15"/>
                    </a:moveTo>
                    <a:lnTo>
                      <a:pt x="0" y="15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5"/>
                    </a:lnTo>
                    <a:lnTo>
                      <a:pt x="1" y="17"/>
                    </a:lnTo>
                    <a:lnTo>
                      <a:pt x="1" y="1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4" name="Freeform 237">
                <a:extLst>
                  <a:ext uri="{FF2B5EF4-FFF2-40B4-BE49-F238E27FC236}">
                    <a16:creationId xmlns:a16="http://schemas.microsoft.com/office/drawing/2014/main" xmlns="" id="{EC41610B-2813-4FE4-AF16-04439E3C3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510"/>
                <a:ext cx="10" cy="19"/>
              </a:xfrm>
              <a:custGeom>
                <a:avLst/>
                <a:gdLst>
                  <a:gd name="T0" fmla="*/ 7 w 10"/>
                  <a:gd name="T1" fmla="*/ 18 h 19"/>
                  <a:gd name="T2" fmla="*/ 5 w 10"/>
                  <a:gd name="T3" fmla="*/ 18 h 19"/>
                  <a:gd name="T4" fmla="*/ 2 w 10"/>
                  <a:gd name="T5" fmla="*/ 19 h 19"/>
                  <a:gd name="T6" fmla="*/ 0 w 10"/>
                  <a:gd name="T7" fmla="*/ 18 h 19"/>
                  <a:gd name="T8" fmla="*/ 2 w 10"/>
                  <a:gd name="T9" fmla="*/ 13 h 19"/>
                  <a:gd name="T10" fmla="*/ 2 w 10"/>
                  <a:gd name="T11" fmla="*/ 6 h 19"/>
                  <a:gd name="T12" fmla="*/ 0 w 10"/>
                  <a:gd name="T13" fmla="*/ 5 h 19"/>
                  <a:gd name="T14" fmla="*/ 2 w 10"/>
                  <a:gd name="T15" fmla="*/ 0 h 19"/>
                  <a:gd name="T16" fmla="*/ 5 w 10"/>
                  <a:gd name="T17" fmla="*/ 0 h 19"/>
                  <a:gd name="T18" fmla="*/ 5 w 10"/>
                  <a:gd name="T19" fmla="*/ 3 h 19"/>
                  <a:gd name="T20" fmla="*/ 7 w 10"/>
                  <a:gd name="T21" fmla="*/ 3 h 19"/>
                  <a:gd name="T22" fmla="*/ 9 w 10"/>
                  <a:gd name="T23" fmla="*/ 1 h 19"/>
                  <a:gd name="T24" fmla="*/ 9 w 10"/>
                  <a:gd name="T25" fmla="*/ 1 h 19"/>
                  <a:gd name="T26" fmla="*/ 10 w 10"/>
                  <a:gd name="T27" fmla="*/ 3 h 19"/>
                  <a:gd name="T28" fmla="*/ 9 w 10"/>
                  <a:gd name="T29" fmla="*/ 5 h 19"/>
                  <a:gd name="T30" fmla="*/ 9 w 10"/>
                  <a:gd name="T31" fmla="*/ 10 h 19"/>
                  <a:gd name="T32" fmla="*/ 9 w 10"/>
                  <a:gd name="T33" fmla="*/ 13 h 19"/>
                  <a:gd name="T34" fmla="*/ 9 w 10"/>
                  <a:gd name="T35" fmla="*/ 18 h 19"/>
                  <a:gd name="T36" fmla="*/ 7 w 10"/>
                  <a:gd name="T37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9">
                    <a:moveTo>
                      <a:pt x="7" y="18"/>
                    </a:moveTo>
                    <a:lnTo>
                      <a:pt x="5" y="18"/>
                    </a:lnTo>
                    <a:lnTo>
                      <a:pt x="2" y="19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6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9" y="10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5" name="Freeform 238">
                <a:extLst>
                  <a:ext uri="{FF2B5EF4-FFF2-40B4-BE49-F238E27FC236}">
                    <a16:creationId xmlns:a16="http://schemas.microsoft.com/office/drawing/2014/main" xmlns="" id="{2F0EF92F-A0C2-4C1B-B2FC-7EA39B8D1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471"/>
                <a:ext cx="22" cy="26"/>
              </a:xfrm>
              <a:custGeom>
                <a:avLst/>
                <a:gdLst>
                  <a:gd name="T0" fmla="*/ 0 w 22"/>
                  <a:gd name="T1" fmla="*/ 26 h 26"/>
                  <a:gd name="T2" fmla="*/ 2 w 22"/>
                  <a:gd name="T3" fmla="*/ 26 h 26"/>
                  <a:gd name="T4" fmla="*/ 7 w 22"/>
                  <a:gd name="T5" fmla="*/ 26 h 26"/>
                  <a:gd name="T6" fmla="*/ 9 w 22"/>
                  <a:gd name="T7" fmla="*/ 22 h 26"/>
                  <a:gd name="T8" fmla="*/ 12 w 22"/>
                  <a:gd name="T9" fmla="*/ 22 h 26"/>
                  <a:gd name="T10" fmla="*/ 14 w 22"/>
                  <a:gd name="T11" fmla="*/ 19 h 26"/>
                  <a:gd name="T12" fmla="*/ 15 w 22"/>
                  <a:gd name="T13" fmla="*/ 14 h 26"/>
                  <a:gd name="T14" fmla="*/ 18 w 22"/>
                  <a:gd name="T15" fmla="*/ 13 h 26"/>
                  <a:gd name="T16" fmla="*/ 20 w 22"/>
                  <a:gd name="T17" fmla="*/ 13 h 26"/>
                  <a:gd name="T18" fmla="*/ 22 w 22"/>
                  <a:gd name="T19" fmla="*/ 13 h 26"/>
                  <a:gd name="T20" fmla="*/ 20 w 22"/>
                  <a:gd name="T21" fmla="*/ 9 h 26"/>
                  <a:gd name="T22" fmla="*/ 20 w 22"/>
                  <a:gd name="T23" fmla="*/ 4 h 26"/>
                  <a:gd name="T24" fmla="*/ 17 w 22"/>
                  <a:gd name="T25" fmla="*/ 4 h 26"/>
                  <a:gd name="T26" fmla="*/ 17 w 22"/>
                  <a:gd name="T27" fmla="*/ 0 h 26"/>
                  <a:gd name="T28" fmla="*/ 9 w 22"/>
                  <a:gd name="T29" fmla="*/ 0 h 26"/>
                  <a:gd name="T30" fmla="*/ 9 w 22"/>
                  <a:gd name="T31" fmla="*/ 1 h 26"/>
                  <a:gd name="T32" fmla="*/ 7 w 22"/>
                  <a:gd name="T33" fmla="*/ 1 h 26"/>
                  <a:gd name="T34" fmla="*/ 7 w 22"/>
                  <a:gd name="T35" fmla="*/ 13 h 26"/>
                  <a:gd name="T36" fmla="*/ 4 w 22"/>
                  <a:gd name="T37" fmla="*/ 18 h 26"/>
                  <a:gd name="T38" fmla="*/ 0 w 22"/>
                  <a:gd name="T39" fmla="*/ 21 h 26"/>
                  <a:gd name="T40" fmla="*/ 0 w 22"/>
                  <a:gd name="T41" fmla="*/ 26 h 26"/>
                  <a:gd name="T42" fmla="*/ 0 w 22"/>
                  <a:gd name="T4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26">
                    <a:moveTo>
                      <a:pt x="0" y="26"/>
                    </a:moveTo>
                    <a:lnTo>
                      <a:pt x="2" y="26"/>
                    </a:lnTo>
                    <a:lnTo>
                      <a:pt x="7" y="26"/>
                    </a:lnTo>
                    <a:lnTo>
                      <a:pt x="9" y="22"/>
                    </a:lnTo>
                    <a:lnTo>
                      <a:pt x="12" y="22"/>
                    </a:lnTo>
                    <a:lnTo>
                      <a:pt x="14" y="19"/>
                    </a:lnTo>
                    <a:lnTo>
                      <a:pt x="15" y="14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22" y="13"/>
                    </a:lnTo>
                    <a:lnTo>
                      <a:pt x="20" y="9"/>
                    </a:lnTo>
                    <a:lnTo>
                      <a:pt x="20" y="4"/>
                    </a:lnTo>
                    <a:lnTo>
                      <a:pt x="17" y="4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7" y="13"/>
                    </a:lnTo>
                    <a:lnTo>
                      <a:pt x="4" y="18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6" name="Freeform 239">
                <a:extLst>
                  <a:ext uri="{FF2B5EF4-FFF2-40B4-BE49-F238E27FC236}">
                    <a16:creationId xmlns:a16="http://schemas.microsoft.com/office/drawing/2014/main" xmlns="" id="{177837B4-A9EB-4490-A757-0778177FB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1492"/>
                <a:ext cx="64" cy="80"/>
              </a:xfrm>
              <a:custGeom>
                <a:avLst/>
                <a:gdLst>
                  <a:gd name="T0" fmla="*/ 2 w 64"/>
                  <a:gd name="T1" fmla="*/ 70 h 80"/>
                  <a:gd name="T2" fmla="*/ 2 w 64"/>
                  <a:gd name="T3" fmla="*/ 70 h 80"/>
                  <a:gd name="T4" fmla="*/ 2 w 64"/>
                  <a:gd name="T5" fmla="*/ 67 h 80"/>
                  <a:gd name="T6" fmla="*/ 3 w 64"/>
                  <a:gd name="T7" fmla="*/ 65 h 80"/>
                  <a:gd name="T8" fmla="*/ 3 w 64"/>
                  <a:gd name="T9" fmla="*/ 62 h 80"/>
                  <a:gd name="T10" fmla="*/ 3 w 64"/>
                  <a:gd name="T11" fmla="*/ 59 h 80"/>
                  <a:gd name="T12" fmla="*/ 3 w 64"/>
                  <a:gd name="T13" fmla="*/ 54 h 80"/>
                  <a:gd name="T14" fmla="*/ 5 w 64"/>
                  <a:gd name="T15" fmla="*/ 52 h 80"/>
                  <a:gd name="T16" fmla="*/ 5 w 64"/>
                  <a:gd name="T17" fmla="*/ 49 h 80"/>
                  <a:gd name="T18" fmla="*/ 5 w 64"/>
                  <a:gd name="T19" fmla="*/ 46 h 80"/>
                  <a:gd name="T20" fmla="*/ 5 w 64"/>
                  <a:gd name="T21" fmla="*/ 44 h 80"/>
                  <a:gd name="T22" fmla="*/ 7 w 64"/>
                  <a:gd name="T23" fmla="*/ 31 h 80"/>
                  <a:gd name="T24" fmla="*/ 7 w 64"/>
                  <a:gd name="T25" fmla="*/ 28 h 80"/>
                  <a:gd name="T26" fmla="*/ 7 w 64"/>
                  <a:gd name="T27" fmla="*/ 23 h 80"/>
                  <a:gd name="T28" fmla="*/ 8 w 64"/>
                  <a:gd name="T29" fmla="*/ 21 h 80"/>
                  <a:gd name="T30" fmla="*/ 7 w 64"/>
                  <a:gd name="T31" fmla="*/ 19 h 80"/>
                  <a:gd name="T32" fmla="*/ 7 w 64"/>
                  <a:gd name="T33" fmla="*/ 16 h 80"/>
                  <a:gd name="T34" fmla="*/ 8 w 64"/>
                  <a:gd name="T35" fmla="*/ 18 h 80"/>
                  <a:gd name="T36" fmla="*/ 10 w 64"/>
                  <a:gd name="T37" fmla="*/ 16 h 80"/>
                  <a:gd name="T38" fmla="*/ 12 w 64"/>
                  <a:gd name="T39" fmla="*/ 13 h 80"/>
                  <a:gd name="T40" fmla="*/ 13 w 64"/>
                  <a:gd name="T41" fmla="*/ 15 h 80"/>
                  <a:gd name="T42" fmla="*/ 18 w 64"/>
                  <a:gd name="T43" fmla="*/ 16 h 80"/>
                  <a:gd name="T44" fmla="*/ 21 w 64"/>
                  <a:gd name="T45" fmla="*/ 19 h 80"/>
                  <a:gd name="T46" fmla="*/ 23 w 64"/>
                  <a:gd name="T47" fmla="*/ 19 h 80"/>
                  <a:gd name="T48" fmla="*/ 25 w 64"/>
                  <a:gd name="T49" fmla="*/ 19 h 80"/>
                  <a:gd name="T50" fmla="*/ 56 w 64"/>
                  <a:gd name="T51" fmla="*/ 0 h 80"/>
                  <a:gd name="T52" fmla="*/ 64 w 64"/>
                  <a:gd name="T53" fmla="*/ 21 h 80"/>
                  <a:gd name="T54" fmla="*/ 64 w 64"/>
                  <a:gd name="T55" fmla="*/ 21 h 80"/>
                  <a:gd name="T56" fmla="*/ 57 w 64"/>
                  <a:gd name="T57" fmla="*/ 28 h 80"/>
                  <a:gd name="T58" fmla="*/ 34 w 64"/>
                  <a:gd name="T59" fmla="*/ 34 h 80"/>
                  <a:gd name="T60" fmla="*/ 52 w 64"/>
                  <a:gd name="T61" fmla="*/ 54 h 80"/>
                  <a:gd name="T62" fmla="*/ 46 w 64"/>
                  <a:gd name="T63" fmla="*/ 62 h 80"/>
                  <a:gd name="T64" fmla="*/ 44 w 64"/>
                  <a:gd name="T65" fmla="*/ 67 h 80"/>
                  <a:gd name="T66" fmla="*/ 33 w 64"/>
                  <a:gd name="T67" fmla="*/ 68 h 80"/>
                  <a:gd name="T68" fmla="*/ 21 w 64"/>
                  <a:gd name="T69" fmla="*/ 80 h 80"/>
                  <a:gd name="T70" fmla="*/ 5 w 64"/>
                  <a:gd name="T71" fmla="*/ 77 h 80"/>
                  <a:gd name="T72" fmla="*/ 0 w 64"/>
                  <a:gd name="T73" fmla="*/ 77 h 80"/>
                  <a:gd name="T74" fmla="*/ 0 w 64"/>
                  <a:gd name="T75" fmla="*/ 75 h 80"/>
                  <a:gd name="T76" fmla="*/ 2 w 64"/>
                  <a:gd name="T77" fmla="*/ 72 h 80"/>
                  <a:gd name="T78" fmla="*/ 2 w 64"/>
                  <a:gd name="T79" fmla="*/ 70 h 80"/>
                  <a:gd name="T80" fmla="*/ 2 w 64"/>
                  <a:gd name="T8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" h="80">
                    <a:moveTo>
                      <a:pt x="2" y="70"/>
                    </a:moveTo>
                    <a:lnTo>
                      <a:pt x="2" y="70"/>
                    </a:lnTo>
                    <a:lnTo>
                      <a:pt x="2" y="67"/>
                    </a:lnTo>
                    <a:lnTo>
                      <a:pt x="3" y="65"/>
                    </a:lnTo>
                    <a:lnTo>
                      <a:pt x="3" y="62"/>
                    </a:lnTo>
                    <a:lnTo>
                      <a:pt x="3" y="59"/>
                    </a:lnTo>
                    <a:lnTo>
                      <a:pt x="3" y="54"/>
                    </a:lnTo>
                    <a:lnTo>
                      <a:pt x="5" y="52"/>
                    </a:lnTo>
                    <a:lnTo>
                      <a:pt x="5" y="49"/>
                    </a:lnTo>
                    <a:lnTo>
                      <a:pt x="5" y="46"/>
                    </a:lnTo>
                    <a:lnTo>
                      <a:pt x="5" y="44"/>
                    </a:lnTo>
                    <a:lnTo>
                      <a:pt x="7" y="31"/>
                    </a:lnTo>
                    <a:lnTo>
                      <a:pt x="7" y="28"/>
                    </a:lnTo>
                    <a:lnTo>
                      <a:pt x="7" y="23"/>
                    </a:lnTo>
                    <a:lnTo>
                      <a:pt x="8" y="21"/>
                    </a:lnTo>
                    <a:lnTo>
                      <a:pt x="7" y="19"/>
                    </a:lnTo>
                    <a:lnTo>
                      <a:pt x="7" y="16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2" y="13"/>
                    </a:lnTo>
                    <a:lnTo>
                      <a:pt x="13" y="15"/>
                    </a:lnTo>
                    <a:lnTo>
                      <a:pt x="18" y="16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56" y="0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57" y="28"/>
                    </a:lnTo>
                    <a:lnTo>
                      <a:pt x="34" y="34"/>
                    </a:lnTo>
                    <a:lnTo>
                      <a:pt x="52" y="54"/>
                    </a:lnTo>
                    <a:lnTo>
                      <a:pt x="46" y="62"/>
                    </a:lnTo>
                    <a:lnTo>
                      <a:pt x="44" y="67"/>
                    </a:lnTo>
                    <a:lnTo>
                      <a:pt x="33" y="68"/>
                    </a:lnTo>
                    <a:lnTo>
                      <a:pt x="21" y="80"/>
                    </a:lnTo>
                    <a:lnTo>
                      <a:pt x="5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2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7" name="Freeform 240">
                <a:extLst>
                  <a:ext uri="{FF2B5EF4-FFF2-40B4-BE49-F238E27FC236}">
                    <a16:creationId xmlns:a16="http://schemas.microsoft.com/office/drawing/2014/main" xmlns="" id="{406B9D23-1919-4CA4-8A26-8167A968B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513"/>
                <a:ext cx="329" cy="284"/>
              </a:xfrm>
              <a:custGeom>
                <a:avLst/>
                <a:gdLst>
                  <a:gd name="T0" fmla="*/ 200 w 329"/>
                  <a:gd name="T1" fmla="*/ 59 h 284"/>
                  <a:gd name="T2" fmla="*/ 80 w 329"/>
                  <a:gd name="T3" fmla="*/ 2 h 284"/>
                  <a:gd name="T4" fmla="*/ 36 w 329"/>
                  <a:gd name="T5" fmla="*/ 13 h 284"/>
                  <a:gd name="T6" fmla="*/ 46 w 329"/>
                  <a:gd name="T7" fmla="*/ 46 h 284"/>
                  <a:gd name="T8" fmla="*/ 7 w 329"/>
                  <a:gd name="T9" fmla="*/ 56 h 284"/>
                  <a:gd name="T10" fmla="*/ 2 w 329"/>
                  <a:gd name="T11" fmla="*/ 69 h 284"/>
                  <a:gd name="T12" fmla="*/ 4 w 329"/>
                  <a:gd name="T13" fmla="*/ 74 h 284"/>
                  <a:gd name="T14" fmla="*/ 9 w 329"/>
                  <a:gd name="T15" fmla="*/ 75 h 284"/>
                  <a:gd name="T16" fmla="*/ 17 w 329"/>
                  <a:gd name="T17" fmla="*/ 87 h 284"/>
                  <a:gd name="T18" fmla="*/ 22 w 329"/>
                  <a:gd name="T19" fmla="*/ 95 h 284"/>
                  <a:gd name="T20" fmla="*/ 28 w 329"/>
                  <a:gd name="T21" fmla="*/ 105 h 284"/>
                  <a:gd name="T22" fmla="*/ 33 w 329"/>
                  <a:gd name="T23" fmla="*/ 113 h 284"/>
                  <a:gd name="T24" fmla="*/ 40 w 329"/>
                  <a:gd name="T25" fmla="*/ 124 h 284"/>
                  <a:gd name="T26" fmla="*/ 43 w 329"/>
                  <a:gd name="T27" fmla="*/ 132 h 284"/>
                  <a:gd name="T28" fmla="*/ 46 w 329"/>
                  <a:gd name="T29" fmla="*/ 141 h 284"/>
                  <a:gd name="T30" fmla="*/ 54 w 329"/>
                  <a:gd name="T31" fmla="*/ 142 h 284"/>
                  <a:gd name="T32" fmla="*/ 64 w 329"/>
                  <a:gd name="T33" fmla="*/ 152 h 284"/>
                  <a:gd name="T34" fmla="*/ 67 w 329"/>
                  <a:gd name="T35" fmla="*/ 157 h 284"/>
                  <a:gd name="T36" fmla="*/ 72 w 329"/>
                  <a:gd name="T37" fmla="*/ 172 h 284"/>
                  <a:gd name="T38" fmla="*/ 71 w 329"/>
                  <a:gd name="T39" fmla="*/ 180 h 284"/>
                  <a:gd name="T40" fmla="*/ 76 w 329"/>
                  <a:gd name="T41" fmla="*/ 194 h 284"/>
                  <a:gd name="T42" fmla="*/ 87 w 329"/>
                  <a:gd name="T43" fmla="*/ 208 h 284"/>
                  <a:gd name="T44" fmla="*/ 94 w 329"/>
                  <a:gd name="T45" fmla="*/ 212 h 284"/>
                  <a:gd name="T46" fmla="*/ 100 w 329"/>
                  <a:gd name="T47" fmla="*/ 219 h 284"/>
                  <a:gd name="T48" fmla="*/ 107 w 329"/>
                  <a:gd name="T49" fmla="*/ 222 h 284"/>
                  <a:gd name="T50" fmla="*/ 113 w 329"/>
                  <a:gd name="T51" fmla="*/ 243 h 284"/>
                  <a:gd name="T52" fmla="*/ 128 w 329"/>
                  <a:gd name="T53" fmla="*/ 261 h 284"/>
                  <a:gd name="T54" fmla="*/ 139 w 329"/>
                  <a:gd name="T55" fmla="*/ 273 h 284"/>
                  <a:gd name="T56" fmla="*/ 147 w 329"/>
                  <a:gd name="T57" fmla="*/ 268 h 284"/>
                  <a:gd name="T58" fmla="*/ 151 w 329"/>
                  <a:gd name="T59" fmla="*/ 252 h 284"/>
                  <a:gd name="T60" fmla="*/ 178 w 329"/>
                  <a:gd name="T61" fmla="*/ 261 h 284"/>
                  <a:gd name="T62" fmla="*/ 223 w 329"/>
                  <a:gd name="T63" fmla="*/ 243 h 284"/>
                  <a:gd name="T64" fmla="*/ 325 w 329"/>
                  <a:gd name="T65" fmla="*/ 163 h 284"/>
                  <a:gd name="T66" fmla="*/ 275 w 329"/>
                  <a:gd name="T67" fmla="*/ 162 h 284"/>
                  <a:gd name="T68" fmla="*/ 267 w 329"/>
                  <a:gd name="T69" fmla="*/ 139 h 284"/>
                  <a:gd name="T70" fmla="*/ 265 w 329"/>
                  <a:gd name="T71" fmla="*/ 136 h 284"/>
                  <a:gd name="T72" fmla="*/ 263 w 329"/>
                  <a:gd name="T73" fmla="*/ 132 h 284"/>
                  <a:gd name="T74" fmla="*/ 255 w 329"/>
                  <a:gd name="T75" fmla="*/ 129 h 284"/>
                  <a:gd name="T76" fmla="*/ 252 w 329"/>
                  <a:gd name="T77" fmla="*/ 124 h 284"/>
                  <a:gd name="T78" fmla="*/ 241 w 329"/>
                  <a:gd name="T79" fmla="*/ 106 h 284"/>
                  <a:gd name="T80" fmla="*/ 239 w 329"/>
                  <a:gd name="T81" fmla="*/ 98 h 284"/>
                  <a:gd name="T82" fmla="*/ 236 w 329"/>
                  <a:gd name="T83" fmla="*/ 92 h 284"/>
                  <a:gd name="T84" fmla="*/ 226 w 329"/>
                  <a:gd name="T85" fmla="*/ 82 h 284"/>
                  <a:gd name="T86" fmla="*/ 229 w 329"/>
                  <a:gd name="T87" fmla="*/ 82 h 284"/>
                  <a:gd name="T88" fmla="*/ 219 w 329"/>
                  <a:gd name="T89" fmla="*/ 78 h 284"/>
                  <a:gd name="T90" fmla="*/ 213 w 329"/>
                  <a:gd name="T91" fmla="*/ 64 h 284"/>
                  <a:gd name="T92" fmla="*/ 211 w 329"/>
                  <a:gd name="T93" fmla="*/ 6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9" h="284">
                    <a:moveTo>
                      <a:pt x="211" y="60"/>
                    </a:moveTo>
                    <a:lnTo>
                      <a:pt x="201" y="65"/>
                    </a:lnTo>
                    <a:lnTo>
                      <a:pt x="200" y="59"/>
                    </a:lnTo>
                    <a:lnTo>
                      <a:pt x="185" y="56"/>
                    </a:lnTo>
                    <a:lnTo>
                      <a:pt x="154" y="54"/>
                    </a:lnTo>
                    <a:lnTo>
                      <a:pt x="80" y="2"/>
                    </a:lnTo>
                    <a:lnTo>
                      <a:pt x="66" y="0"/>
                    </a:lnTo>
                    <a:lnTo>
                      <a:pt x="59" y="7"/>
                    </a:lnTo>
                    <a:lnTo>
                      <a:pt x="36" y="13"/>
                    </a:lnTo>
                    <a:lnTo>
                      <a:pt x="54" y="33"/>
                    </a:lnTo>
                    <a:lnTo>
                      <a:pt x="48" y="41"/>
                    </a:lnTo>
                    <a:lnTo>
                      <a:pt x="46" y="46"/>
                    </a:lnTo>
                    <a:lnTo>
                      <a:pt x="35" y="47"/>
                    </a:lnTo>
                    <a:lnTo>
                      <a:pt x="23" y="59"/>
                    </a:lnTo>
                    <a:lnTo>
                      <a:pt x="7" y="56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2" y="69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5"/>
                    </a:lnTo>
                    <a:lnTo>
                      <a:pt x="5" y="74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7" y="87"/>
                    </a:lnTo>
                    <a:lnTo>
                      <a:pt x="17" y="88"/>
                    </a:lnTo>
                    <a:lnTo>
                      <a:pt x="18" y="92"/>
                    </a:lnTo>
                    <a:lnTo>
                      <a:pt x="22" y="95"/>
                    </a:lnTo>
                    <a:lnTo>
                      <a:pt x="23" y="95"/>
                    </a:lnTo>
                    <a:lnTo>
                      <a:pt x="28" y="103"/>
                    </a:lnTo>
                    <a:lnTo>
                      <a:pt x="28" y="105"/>
                    </a:lnTo>
                    <a:lnTo>
                      <a:pt x="30" y="108"/>
                    </a:lnTo>
                    <a:lnTo>
                      <a:pt x="31" y="108"/>
                    </a:lnTo>
                    <a:lnTo>
                      <a:pt x="33" y="113"/>
                    </a:lnTo>
                    <a:lnTo>
                      <a:pt x="35" y="114"/>
                    </a:lnTo>
                    <a:lnTo>
                      <a:pt x="38" y="116"/>
                    </a:lnTo>
                    <a:lnTo>
                      <a:pt x="40" y="124"/>
                    </a:lnTo>
                    <a:lnTo>
                      <a:pt x="43" y="126"/>
                    </a:lnTo>
                    <a:lnTo>
                      <a:pt x="43" y="131"/>
                    </a:lnTo>
                    <a:lnTo>
                      <a:pt x="43" y="132"/>
                    </a:lnTo>
                    <a:lnTo>
                      <a:pt x="43" y="136"/>
                    </a:lnTo>
                    <a:lnTo>
                      <a:pt x="46" y="137"/>
                    </a:lnTo>
                    <a:lnTo>
                      <a:pt x="46" y="141"/>
                    </a:lnTo>
                    <a:lnTo>
                      <a:pt x="48" y="142"/>
                    </a:lnTo>
                    <a:lnTo>
                      <a:pt x="51" y="139"/>
                    </a:lnTo>
                    <a:lnTo>
                      <a:pt x="54" y="142"/>
                    </a:lnTo>
                    <a:lnTo>
                      <a:pt x="59" y="144"/>
                    </a:lnTo>
                    <a:lnTo>
                      <a:pt x="63" y="149"/>
                    </a:lnTo>
                    <a:lnTo>
                      <a:pt x="64" y="152"/>
                    </a:lnTo>
                    <a:lnTo>
                      <a:pt x="66" y="152"/>
                    </a:lnTo>
                    <a:lnTo>
                      <a:pt x="66" y="155"/>
                    </a:lnTo>
                    <a:lnTo>
                      <a:pt x="67" y="157"/>
                    </a:lnTo>
                    <a:lnTo>
                      <a:pt x="69" y="163"/>
                    </a:lnTo>
                    <a:lnTo>
                      <a:pt x="72" y="165"/>
                    </a:lnTo>
                    <a:lnTo>
                      <a:pt x="72" y="172"/>
                    </a:lnTo>
                    <a:lnTo>
                      <a:pt x="74" y="173"/>
                    </a:lnTo>
                    <a:lnTo>
                      <a:pt x="72" y="178"/>
                    </a:lnTo>
                    <a:lnTo>
                      <a:pt x="71" y="180"/>
                    </a:lnTo>
                    <a:lnTo>
                      <a:pt x="72" y="181"/>
                    </a:lnTo>
                    <a:lnTo>
                      <a:pt x="74" y="188"/>
                    </a:lnTo>
                    <a:lnTo>
                      <a:pt x="76" y="194"/>
                    </a:lnTo>
                    <a:lnTo>
                      <a:pt x="77" y="196"/>
                    </a:lnTo>
                    <a:lnTo>
                      <a:pt x="79" y="199"/>
                    </a:lnTo>
                    <a:lnTo>
                      <a:pt x="87" y="208"/>
                    </a:lnTo>
                    <a:lnTo>
                      <a:pt x="89" y="209"/>
                    </a:lnTo>
                    <a:lnTo>
                      <a:pt x="92" y="209"/>
                    </a:lnTo>
                    <a:lnTo>
                      <a:pt x="94" y="212"/>
                    </a:lnTo>
                    <a:lnTo>
                      <a:pt x="95" y="212"/>
                    </a:lnTo>
                    <a:lnTo>
                      <a:pt x="100" y="216"/>
                    </a:lnTo>
                    <a:lnTo>
                      <a:pt x="100" y="219"/>
                    </a:lnTo>
                    <a:lnTo>
                      <a:pt x="105" y="219"/>
                    </a:lnTo>
                    <a:lnTo>
                      <a:pt x="103" y="222"/>
                    </a:lnTo>
                    <a:lnTo>
                      <a:pt x="107" y="222"/>
                    </a:lnTo>
                    <a:lnTo>
                      <a:pt x="110" y="237"/>
                    </a:lnTo>
                    <a:lnTo>
                      <a:pt x="113" y="239"/>
                    </a:lnTo>
                    <a:lnTo>
                      <a:pt x="113" y="243"/>
                    </a:lnTo>
                    <a:lnTo>
                      <a:pt x="125" y="255"/>
                    </a:lnTo>
                    <a:lnTo>
                      <a:pt x="128" y="255"/>
                    </a:lnTo>
                    <a:lnTo>
                      <a:pt x="128" y="261"/>
                    </a:lnTo>
                    <a:lnTo>
                      <a:pt x="133" y="263"/>
                    </a:lnTo>
                    <a:lnTo>
                      <a:pt x="136" y="271"/>
                    </a:lnTo>
                    <a:lnTo>
                      <a:pt x="139" y="273"/>
                    </a:lnTo>
                    <a:lnTo>
                      <a:pt x="141" y="273"/>
                    </a:lnTo>
                    <a:lnTo>
                      <a:pt x="143" y="270"/>
                    </a:lnTo>
                    <a:lnTo>
                      <a:pt x="147" y="268"/>
                    </a:lnTo>
                    <a:lnTo>
                      <a:pt x="144" y="261"/>
                    </a:lnTo>
                    <a:lnTo>
                      <a:pt x="146" y="255"/>
                    </a:lnTo>
                    <a:lnTo>
                      <a:pt x="151" y="252"/>
                    </a:lnTo>
                    <a:lnTo>
                      <a:pt x="156" y="257"/>
                    </a:lnTo>
                    <a:lnTo>
                      <a:pt x="165" y="257"/>
                    </a:lnTo>
                    <a:lnTo>
                      <a:pt x="178" y="261"/>
                    </a:lnTo>
                    <a:lnTo>
                      <a:pt x="193" y="270"/>
                    </a:lnTo>
                    <a:lnTo>
                      <a:pt x="193" y="284"/>
                    </a:lnTo>
                    <a:lnTo>
                      <a:pt x="223" y="243"/>
                    </a:lnTo>
                    <a:lnTo>
                      <a:pt x="327" y="212"/>
                    </a:lnTo>
                    <a:lnTo>
                      <a:pt x="329" y="176"/>
                    </a:lnTo>
                    <a:lnTo>
                      <a:pt x="325" y="163"/>
                    </a:lnTo>
                    <a:lnTo>
                      <a:pt x="325" y="163"/>
                    </a:lnTo>
                    <a:lnTo>
                      <a:pt x="321" y="168"/>
                    </a:lnTo>
                    <a:lnTo>
                      <a:pt x="275" y="162"/>
                    </a:lnTo>
                    <a:lnTo>
                      <a:pt x="270" y="149"/>
                    </a:lnTo>
                    <a:lnTo>
                      <a:pt x="267" y="144"/>
                    </a:lnTo>
                    <a:lnTo>
                      <a:pt x="267" y="139"/>
                    </a:lnTo>
                    <a:lnTo>
                      <a:pt x="267" y="139"/>
                    </a:lnTo>
                    <a:lnTo>
                      <a:pt x="267" y="139"/>
                    </a:lnTo>
                    <a:lnTo>
                      <a:pt x="265" y="136"/>
                    </a:lnTo>
                    <a:lnTo>
                      <a:pt x="265" y="134"/>
                    </a:lnTo>
                    <a:lnTo>
                      <a:pt x="267" y="132"/>
                    </a:lnTo>
                    <a:lnTo>
                      <a:pt x="263" y="132"/>
                    </a:lnTo>
                    <a:lnTo>
                      <a:pt x="263" y="132"/>
                    </a:lnTo>
                    <a:lnTo>
                      <a:pt x="260" y="132"/>
                    </a:lnTo>
                    <a:lnTo>
                      <a:pt x="255" y="129"/>
                    </a:lnTo>
                    <a:lnTo>
                      <a:pt x="255" y="127"/>
                    </a:lnTo>
                    <a:lnTo>
                      <a:pt x="254" y="129"/>
                    </a:lnTo>
                    <a:lnTo>
                      <a:pt x="252" y="124"/>
                    </a:lnTo>
                    <a:lnTo>
                      <a:pt x="250" y="121"/>
                    </a:lnTo>
                    <a:lnTo>
                      <a:pt x="242" y="111"/>
                    </a:lnTo>
                    <a:lnTo>
                      <a:pt x="241" y="106"/>
                    </a:lnTo>
                    <a:lnTo>
                      <a:pt x="242" y="106"/>
                    </a:lnTo>
                    <a:lnTo>
                      <a:pt x="242" y="105"/>
                    </a:lnTo>
                    <a:lnTo>
                      <a:pt x="239" y="98"/>
                    </a:lnTo>
                    <a:lnTo>
                      <a:pt x="239" y="95"/>
                    </a:lnTo>
                    <a:lnTo>
                      <a:pt x="237" y="92"/>
                    </a:lnTo>
                    <a:lnTo>
                      <a:pt x="236" y="92"/>
                    </a:lnTo>
                    <a:lnTo>
                      <a:pt x="231" y="85"/>
                    </a:lnTo>
                    <a:lnTo>
                      <a:pt x="229" y="85"/>
                    </a:lnTo>
                    <a:lnTo>
                      <a:pt x="226" y="82"/>
                    </a:lnTo>
                    <a:lnTo>
                      <a:pt x="227" y="82"/>
                    </a:lnTo>
                    <a:lnTo>
                      <a:pt x="227" y="80"/>
                    </a:lnTo>
                    <a:lnTo>
                      <a:pt x="229" y="82"/>
                    </a:lnTo>
                    <a:lnTo>
                      <a:pt x="227" y="80"/>
                    </a:lnTo>
                    <a:lnTo>
                      <a:pt x="226" y="78"/>
                    </a:lnTo>
                    <a:lnTo>
                      <a:pt x="219" y="78"/>
                    </a:lnTo>
                    <a:lnTo>
                      <a:pt x="216" y="70"/>
                    </a:lnTo>
                    <a:lnTo>
                      <a:pt x="214" y="65"/>
                    </a:lnTo>
                    <a:lnTo>
                      <a:pt x="213" y="64"/>
                    </a:lnTo>
                    <a:lnTo>
                      <a:pt x="213" y="62"/>
                    </a:lnTo>
                    <a:lnTo>
                      <a:pt x="213" y="62"/>
                    </a:lnTo>
                    <a:lnTo>
                      <a:pt x="211" y="6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8" name="Freeform 241">
                <a:extLst>
                  <a:ext uri="{FF2B5EF4-FFF2-40B4-BE49-F238E27FC236}">
                    <a16:creationId xmlns:a16="http://schemas.microsoft.com/office/drawing/2014/main" xmlns="" id="{0A9EB142-8EA3-4280-BD6C-1F0E64CC9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618"/>
                <a:ext cx="13" cy="27"/>
              </a:xfrm>
              <a:custGeom>
                <a:avLst/>
                <a:gdLst>
                  <a:gd name="T0" fmla="*/ 9 w 13"/>
                  <a:gd name="T1" fmla="*/ 27 h 27"/>
                  <a:gd name="T2" fmla="*/ 6 w 13"/>
                  <a:gd name="T3" fmla="*/ 27 h 27"/>
                  <a:gd name="T4" fmla="*/ 1 w 13"/>
                  <a:gd name="T5" fmla="*/ 24 h 27"/>
                  <a:gd name="T6" fmla="*/ 1 w 13"/>
                  <a:gd name="T7" fmla="*/ 22 h 27"/>
                  <a:gd name="T8" fmla="*/ 1 w 13"/>
                  <a:gd name="T9" fmla="*/ 22 h 27"/>
                  <a:gd name="T10" fmla="*/ 1 w 13"/>
                  <a:gd name="T11" fmla="*/ 19 h 27"/>
                  <a:gd name="T12" fmla="*/ 1 w 13"/>
                  <a:gd name="T13" fmla="*/ 18 h 27"/>
                  <a:gd name="T14" fmla="*/ 0 w 13"/>
                  <a:gd name="T15" fmla="*/ 16 h 27"/>
                  <a:gd name="T16" fmla="*/ 0 w 13"/>
                  <a:gd name="T17" fmla="*/ 11 h 27"/>
                  <a:gd name="T18" fmla="*/ 1 w 13"/>
                  <a:gd name="T19" fmla="*/ 11 h 27"/>
                  <a:gd name="T20" fmla="*/ 3 w 13"/>
                  <a:gd name="T21" fmla="*/ 11 h 27"/>
                  <a:gd name="T22" fmla="*/ 1 w 13"/>
                  <a:gd name="T23" fmla="*/ 6 h 27"/>
                  <a:gd name="T24" fmla="*/ 3 w 13"/>
                  <a:gd name="T25" fmla="*/ 6 h 27"/>
                  <a:gd name="T26" fmla="*/ 1 w 13"/>
                  <a:gd name="T27" fmla="*/ 5 h 27"/>
                  <a:gd name="T28" fmla="*/ 3 w 13"/>
                  <a:gd name="T29" fmla="*/ 3 h 27"/>
                  <a:gd name="T30" fmla="*/ 3 w 13"/>
                  <a:gd name="T31" fmla="*/ 1 h 27"/>
                  <a:gd name="T32" fmla="*/ 4 w 13"/>
                  <a:gd name="T33" fmla="*/ 1 h 27"/>
                  <a:gd name="T34" fmla="*/ 4 w 13"/>
                  <a:gd name="T35" fmla="*/ 0 h 27"/>
                  <a:gd name="T36" fmla="*/ 6 w 13"/>
                  <a:gd name="T37" fmla="*/ 0 h 27"/>
                  <a:gd name="T38" fmla="*/ 8 w 13"/>
                  <a:gd name="T39" fmla="*/ 3 h 27"/>
                  <a:gd name="T40" fmla="*/ 9 w 13"/>
                  <a:gd name="T41" fmla="*/ 5 h 27"/>
                  <a:gd name="T42" fmla="*/ 9 w 13"/>
                  <a:gd name="T43" fmla="*/ 5 h 27"/>
                  <a:gd name="T44" fmla="*/ 11 w 13"/>
                  <a:gd name="T45" fmla="*/ 5 h 27"/>
                  <a:gd name="T46" fmla="*/ 9 w 13"/>
                  <a:gd name="T47" fmla="*/ 11 h 27"/>
                  <a:gd name="T48" fmla="*/ 9 w 13"/>
                  <a:gd name="T49" fmla="*/ 11 h 27"/>
                  <a:gd name="T50" fmla="*/ 9 w 13"/>
                  <a:gd name="T51" fmla="*/ 16 h 27"/>
                  <a:gd name="T52" fmla="*/ 11 w 13"/>
                  <a:gd name="T53" fmla="*/ 16 h 27"/>
                  <a:gd name="T54" fmla="*/ 13 w 13"/>
                  <a:gd name="T55" fmla="*/ 19 h 27"/>
                  <a:gd name="T56" fmla="*/ 11 w 13"/>
                  <a:gd name="T57" fmla="*/ 27 h 27"/>
                  <a:gd name="T58" fmla="*/ 9 w 13"/>
                  <a:gd name="T59" fmla="*/ 27 h 27"/>
                  <a:gd name="T60" fmla="*/ 9 w 13"/>
                  <a:gd name="T6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" h="27">
                    <a:moveTo>
                      <a:pt x="9" y="27"/>
                    </a:moveTo>
                    <a:lnTo>
                      <a:pt x="6" y="27"/>
                    </a:lnTo>
                    <a:lnTo>
                      <a:pt x="1" y="24"/>
                    </a:lnTo>
                    <a:lnTo>
                      <a:pt x="1" y="22"/>
                    </a:lnTo>
                    <a:lnTo>
                      <a:pt x="1" y="22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3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9" y="2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9" name="Freeform 242">
                <a:extLst>
                  <a:ext uri="{FF2B5EF4-FFF2-40B4-BE49-F238E27FC236}">
                    <a16:creationId xmlns:a16="http://schemas.microsoft.com/office/drawing/2014/main" xmlns="" id="{1D942545-733C-46BD-A385-02E387C0E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" y="1621"/>
                <a:ext cx="75" cy="60"/>
              </a:xfrm>
              <a:custGeom>
                <a:avLst/>
                <a:gdLst>
                  <a:gd name="T0" fmla="*/ 0 w 75"/>
                  <a:gd name="T1" fmla="*/ 31 h 60"/>
                  <a:gd name="T2" fmla="*/ 0 w 75"/>
                  <a:gd name="T3" fmla="*/ 36 h 60"/>
                  <a:gd name="T4" fmla="*/ 3 w 75"/>
                  <a:gd name="T5" fmla="*/ 41 h 60"/>
                  <a:gd name="T6" fmla="*/ 8 w 75"/>
                  <a:gd name="T7" fmla="*/ 54 h 60"/>
                  <a:gd name="T8" fmla="*/ 54 w 75"/>
                  <a:gd name="T9" fmla="*/ 60 h 60"/>
                  <a:gd name="T10" fmla="*/ 58 w 75"/>
                  <a:gd name="T11" fmla="*/ 55 h 60"/>
                  <a:gd name="T12" fmla="*/ 72 w 75"/>
                  <a:gd name="T13" fmla="*/ 13 h 60"/>
                  <a:gd name="T14" fmla="*/ 75 w 75"/>
                  <a:gd name="T15" fmla="*/ 13 h 60"/>
                  <a:gd name="T16" fmla="*/ 75 w 75"/>
                  <a:gd name="T17" fmla="*/ 8 h 60"/>
                  <a:gd name="T18" fmla="*/ 75 w 75"/>
                  <a:gd name="T19" fmla="*/ 6 h 60"/>
                  <a:gd name="T20" fmla="*/ 73 w 75"/>
                  <a:gd name="T21" fmla="*/ 6 h 60"/>
                  <a:gd name="T22" fmla="*/ 72 w 75"/>
                  <a:gd name="T23" fmla="*/ 6 h 60"/>
                  <a:gd name="T24" fmla="*/ 72 w 75"/>
                  <a:gd name="T25" fmla="*/ 6 h 60"/>
                  <a:gd name="T26" fmla="*/ 72 w 75"/>
                  <a:gd name="T27" fmla="*/ 5 h 60"/>
                  <a:gd name="T28" fmla="*/ 70 w 75"/>
                  <a:gd name="T29" fmla="*/ 0 h 60"/>
                  <a:gd name="T30" fmla="*/ 68 w 75"/>
                  <a:gd name="T31" fmla="*/ 0 h 60"/>
                  <a:gd name="T32" fmla="*/ 68 w 75"/>
                  <a:gd name="T33" fmla="*/ 2 h 60"/>
                  <a:gd name="T34" fmla="*/ 67 w 75"/>
                  <a:gd name="T35" fmla="*/ 3 h 60"/>
                  <a:gd name="T36" fmla="*/ 57 w 75"/>
                  <a:gd name="T37" fmla="*/ 10 h 60"/>
                  <a:gd name="T38" fmla="*/ 57 w 75"/>
                  <a:gd name="T39" fmla="*/ 13 h 60"/>
                  <a:gd name="T40" fmla="*/ 49 w 75"/>
                  <a:gd name="T41" fmla="*/ 21 h 60"/>
                  <a:gd name="T42" fmla="*/ 47 w 75"/>
                  <a:gd name="T43" fmla="*/ 24 h 60"/>
                  <a:gd name="T44" fmla="*/ 49 w 75"/>
                  <a:gd name="T45" fmla="*/ 24 h 60"/>
                  <a:gd name="T46" fmla="*/ 49 w 75"/>
                  <a:gd name="T47" fmla="*/ 26 h 60"/>
                  <a:gd name="T48" fmla="*/ 45 w 75"/>
                  <a:gd name="T49" fmla="*/ 31 h 60"/>
                  <a:gd name="T50" fmla="*/ 44 w 75"/>
                  <a:gd name="T51" fmla="*/ 29 h 60"/>
                  <a:gd name="T52" fmla="*/ 42 w 75"/>
                  <a:gd name="T53" fmla="*/ 29 h 60"/>
                  <a:gd name="T54" fmla="*/ 40 w 75"/>
                  <a:gd name="T55" fmla="*/ 29 h 60"/>
                  <a:gd name="T56" fmla="*/ 40 w 75"/>
                  <a:gd name="T57" fmla="*/ 33 h 60"/>
                  <a:gd name="T58" fmla="*/ 39 w 75"/>
                  <a:gd name="T59" fmla="*/ 33 h 60"/>
                  <a:gd name="T60" fmla="*/ 39 w 75"/>
                  <a:gd name="T61" fmla="*/ 34 h 60"/>
                  <a:gd name="T62" fmla="*/ 34 w 75"/>
                  <a:gd name="T63" fmla="*/ 34 h 60"/>
                  <a:gd name="T64" fmla="*/ 31 w 75"/>
                  <a:gd name="T65" fmla="*/ 36 h 60"/>
                  <a:gd name="T66" fmla="*/ 29 w 75"/>
                  <a:gd name="T67" fmla="*/ 33 h 60"/>
                  <a:gd name="T68" fmla="*/ 26 w 75"/>
                  <a:gd name="T69" fmla="*/ 34 h 60"/>
                  <a:gd name="T70" fmla="*/ 26 w 75"/>
                  <a:gd name="T71" fmla="*/ 33 h 60"/>
                  <a:gd name="T72" fmla="*/ 23 w 75"/>
                  <a:gd name="T73" fmla="*/ 33 h 60"/>
                  <a:gd name="T74" fmla="*/ 18 w 75"/>
                  <a:gd name="T75" fmla="*/ 33 h 60"/>
                  <a:gd name="T76" fmla="*/ 11 w 75"/>
                  <a:gd name="T77" fmla="*/ 37 h 60"/>
                  <a:gd name="T78" fmla="*/ 8 w 75"/>
                  <a:gd name="T79" fmla="*/ 36 h 60"/>
                  <a:gd name="T80" fmla="*/ 6 w 75"/>
                  <a:gd name="T81" fmla="*/ 36 h 60"/>
                  <a:gd name="T82" fmla="*/ 3 w 75"/>
                  <a:gd name="T83" fmla="*/ 37 h 60"/>
                  <a:gd name="T84" fmla="*/ 3 w 75"/>
                  <a:gd name="T85" fmla="*/ 29 h 60"/>
                  <a:gd name="T86" fmla="*/ 1 w 75"/>
                  <a:gd name="T87" fmla="*/ 31 h 60"/>
                  <a:gd name="T88" fmla="*/ 0 w 75"/>
                  <a:gd name="T89" fmla="*/ 3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60">
                    <a:moveTo>
                      <a:pt x="0" y="31"/>
                    </a:moveTo>
                    <a:lnTo>
                      <a:pt x="0" y="36"/>
                    </a:lnTo>
                    <a:lnTo>
                      <a:pt x="3" y="41"/>
                    </a:lnTo>
                    <a:lnTo>
                      <a:pt x="8" y="54"/>
                    </a:lnTo>
                    <a:lnTo>
                      <a:pt x="54" y="60"/>
                    </a:lnTo>
                    <a:lnTo>
                      <a:pt x="58" y="55"/>
                    </a:lnTo>
                    <a:lnTo>
                      <a:pt x="72" y="13"/>
                    </a:lnTo>
                    <a:lnTo>
                      <a:pt x="75" y="13"/>
                    </a:lnTo>
                    <a:lnTo>
                      <a:pt x="75" y="8"/>
                    </a:lnTo>
                    <a:lnTo>
                      <a:pt x="75" y="6"/>
                    </a:lnTo>
                    <a:lnTo>
                      <a:pt x="73" y="6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7" y="3"/>
                    </a:lnTo>
                    <a:lnTo>
                      <a:pt x="57" y="10"/>
                    </a:lnTo>
                    <a:lnTo>
                      <a:pt x="57" y="13"/>
                    </a:lnTo>
                    <a:lnTo>
                      <a:pt x="49" y="21"/>
                    </a:lnTo>
                    <a:lnTo>
                      <a:pt x="47" y="24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5" y="31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0" y="29"/>
                    </a:lnTo>
                    <a:lnTo>
                      <a:pt x="40" y="33"/>
                    </a:lnTo>
                    <a:lnTo>
                      <a:pt x="39" y="33"/>
                    </a:lnTo>
                    <a:lnTo>
                      <a:pt x="39" y="34"/>
                    </a:lnTo>
                    <a:lnTo>
                      <a:pt x="34" y="34"/>
                    </a:lnTo>
                    <a:lnTo>
                      <a:pt x="31" y="36"/>
                    </a:lnTo>
                    <a:lnTo>
                      <a:pt x="29" y="33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3" y="33"/>
                    </a:lnTo>
                    <a:lnTo>
                      <a:pt x="18" y="33"/>
                    </a:lnTo>
                    <a:lnTo>
                      <a:pt x="11" y="37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3" y="37"/>
                    </a:lnTo>
                    <a:lnTo>
                      <a:pt x="3" y="29"/>
                    </a:lnTo>
                    <a:lnTo>
                      <a:pt x="1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0" name="Freeform 243">
                <a:extLst>
                  <a:ext uri="{FF2B5EF4-FFF2-40B4-BE49-F238E27FC236}">
                    <a16:creationId xmlns:a16="http://schemas.microsoft.com/office/drawing/2014/main" xmlns="" id="{482413E6-3A95-4B0B-9ADC-E3FC3B0E77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0" y="1392"/>
                <a:ext cx="47" cy="21"/>
              </a:xfrm>
              <a:custGeom>
                <a:avLst/>
                <a:gdLst>
                  <a:gd name="T0" fmla="*/ 19 w 47"/>
                  <a:gd name="T1" fmla="*/ 0 h 21"/>
                  <a:gd name="T2" fmla="*/ 22 w 47"/>
                  <a:gd name="T3" fmla="*/ 2 h 21"/>
                  <a:gd name="T4" fmla="*/ 22 w 47"/>
                  <a:gd name="T5" fmla="*/ 0 h 21"/>
                  <a:gd name="T6" fmla="*/ 21 w 47"/>
                  <a:gd name="T7" fmla="*/ 0 h 21"/>
                  <a:gd name="T8" fmla="*/ 19 w 47"/>
                  <a:gd name="T9" fmla="*/ 0 h 21"/>
                  <a:gd name="T10" fmla="*/ 19 w 47"/>
                  <a:gd name="T11" fmla="*/ 0 h 21"/>
                  <a:gd name="T12" fmla="*/ 6 w 47"/>
                  <a:gd name="T13" fmla="*/ 0 h 21"/>
                  <a:gd name="T14" fmla="*/ 9 w 47"/>
                  <a:gd name="T15" fmla="*/ 2 h 21"/>
                  <a:gd name="T16" fmla="*/ 8 w 47"/>
                  <a:gd name="T17" fmla="*/ 0 h 21"/>
                  <a:gd name="T18" fmla="*/ 6 w 47"/>
                  <a:gd name="T19" fmla="*/ 0 h 21"/>
                  <a:gd name="T20" fmla="*/ 6 w 47"/>
                  <a:gd name="T21" fmla="*/ 0 h 21"/>
                  <a:gd name="T22" fmla="*/ 0 w 47"/>
                  <a:gd name="T23" fmla="*/ 3 h 21"/>
                  <a:gd name="T24" fmla="*/ 1 w 47"/>
                  <a:gd name="T25" fmla="*/ 7 h 21"/>
                  <a:gd name="T26" fmla="*/ 5 w 47"/>
                  <a:gd name="T27" fmla="*/ 7 h 21"/>
                  <a:gd name="T28" fmla="*/ 6 w 47"/>
                  <a:gd name="T29" fmla="*/ 7 h 21"/>
                  <a:gd name="T30" fmla="*/ 3 w 47"/>
                  <a:gd name="T31" fmla="*/ 3 h 21"/>
                  <a:gd name="T32" fmla="*/ 0 w 47"/>
                  <a:gd name="T33" fmla="*/ 3 h 21"/>
                  <a:gd name="T34" fmla="*/ 0 w 47"/>
                  <a:gd name="T35" fmla="*/ 3 h 21"/>
                  <a:gd name="T36" fmla="*/ 44 w 47"/>
                  <a:gd name="T37" fmla="*/ 18 h 21"/>
                  <a:gd name="T38" fmla="*/ 40 w 47"/>
                  <a:gd name="T39" fmla="*/ 18 h 21"/>
                  <a:gd name="T40" fmla="*/ 42 w 47"/>
                  <a:gd name="T41" fmla="*/ 20 h 21"/>
                  <a:gd name="T42" fmla="*/ 45 w 47"/>
                  <a:gd name="T43" fmla="*/ 21 h 21"/>
                  <a:gd name="T44" fmla="*/ 47 w 47"/>
                  <a:gd name="T45" fmla="*/ 20 h 21"/>
                  <a:gd name="T46" fmla="*/ 45 w 47"/>
                  <a:gd name="T47" fmla="*/ 18 h 21"/>
                  <a:gd name="T48" fmla="*/ 44 w 47"/>
                  <a:gd name="T49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21">
                    <a:moveTo>
                      <a:pt x="19" y="0"/>
                    </a:moveTo>
                    <a:lnTo>
                      <a:pt x="22" y="2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6" y="0"/>
                    </a:moveTo>
                    <a:lnTo>
                      <a:pt x="9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0" y="3"/>
                    </a:moveTo>
                    <a:lnTo>
                      <a:pt x="1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  <a:moveTo>
                      <a:pt x="44" y="18"/>
                    </a:moveTo>
                    <a:lnTo>
                      <a:pt x="40" y="18"/>
                    </a:lnTo>
                    <a:lnTo>
                      <a:pt x="42" y="20"/>
                    </a:lnTo>
                    <a:lnTo>
                      <a:pt x="45" y="21"/>
                    </a:lnTo>
                    <a:lnTo>
                      <a:pt x="47" y="20"/>
                    </a:lnTo>
                    <a:lnTo>
                      <a:pt x="45" y="18"/>
                    </a:lnTo>
                    <a:lnTo>
                      <a:pt x="44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1" name="Freeform 244">
                <a:extLst>
                  <a:ext uri="{FF2B5EF4-FFF2-40B4-BE49-F238E27FC236}">
                    <a16:creationId xmlns:a16="http://schemas.microsoft.com/office/drawing/2014/main" xmlns="" id="{EE863A14-CB0C-418D-89F3-7EED8A697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9" y="1505"/>
                <a:ext cx="7" cy="3"/>
              </a:xfrm>
              <a:custGeom>
                <a:avLst/>
                <a:gdLst>
                  <a:gd name="T0" fmla="*/ 2 w 4"/>
                  <a:gd name="T1" fmla="*/ 2 h 2"/>
                  <a:gd name="T2" fmla="*/ 1 w 4"/>
                  <a:gd name="T3" fmla="*/ 1 h 2"/>
                  <a:gd name="T4" fmla="*/ 0 w 4"/>
                  <a:gd name="T5" fmla="*/ 0 h 2"/>
                  <a:gd name="T6" fmla="*/ 3 w 4"/>
                  <a:gd name="T7" fmla="*/ 0 h 2"/>
                  <a:gd name="T8" fmla="*/ 4 w 4"/>
                  <a:gd name="T9" fmla="*/ 1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2" name="Freeform 245">
                <a:extLst>
                  <a:ext uri="{FF2B5EF4-FFF2-40B4-BE49-F238E27FC236}">
                    <a16:creationId xmlns:a16="http://schemas.microsoft.com/office/drawing/2014/main" xmlns="" id="{32CE77DB-F2D5-4407-A92A-3CA044F62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5" y="1572"/>
                <a:ext cx="70" cy="26"/>
              </a:xfrm>
              <a:custGeom>
                <a:avLst/>
                <a:gdLst>
                  <a:gd name="T0" fmla="*/ 7 w 43"/>
                  <a:gd name="T1" fmla="*/ 12 h 16"/>
                  <a:gd name="T2" fmla="*/ 7 w 43"/>
                  <a:gd name="T3" fmla="*/ 11 h 16"/>
                  <a:gd name="T4" fmla="*/ 7 w 43"/>
                  <a:gd name="T5" fmla="*/ 10 h 16"/>
                  <a:gd name="T6" fmla="*/ 7 w 43"/>
                  <a:gd name="T7" fmla="*/ 11 h 16"/>
                  <a:gd name="T8" fmla="*/ 8 w 43"/>
                  <a:gd name="T9" fmla="*/ 11 h 16"/>
                  <a:gd name="T10" fmla="*/ 7 w 43"/>
                  <a:gd name="T11" fmla="*/ 12 h 16"/>
                  <a:gd name="T12" fmla="*/ 0 w 43"/>
                  <a:gd name="T13" fmla="*/ 16 h 16"/>
                  <a:gd name="T14" fmla="*/ 0 w 43"/>
                  <a:gd name="T15" fmla="*/ 15 h 16"/>
                  <a:gd name="T16" fmla="*/ 1 w 43"/>
                  <a:gd name="T17" fmla="*/ 14 h 16"/>
                  <a:gd name="T18" fmla="*/ 1 w 43"/>
                  <a:gd name="T19" fmla="*/ 14 h 16"/>
                  <a:gd name="T20" fmla="*/ 1 w 43"/>
                  <a:gd name="T21" fmla="*/ 16 h 16"/>
                  <a:gd name="T22" fmla="*/ 1 w 43"/>
                  <a:gd name="T23" fmla="*/ 16 h 16"/>
                  <a:gd name="T24" fmla="*/ 0 w 43"/>
                  <a:gd name="T25" fmla="*/ 16 h 16"/>
                  <a:gd name="T26" fmla="*/ 2 w 43"/>
                  <a:gd name="T27" fmla="*/ 7 h 16"/>
                  <a:gd name="T28" fmla="*/ 2 w 43"/>
                  <a:gd name="T29" fmla="*/ 5 h 16"/>
                  <a:gd name="T30" fmla="*/ 1 w 43"/>
                  <a:gd name="T31" fmla="*/ 4 h 16"/>
                  <a:gd name="T32" fmla="*/ 2 w 43"/>
                  <a:gd name="T33" fmla="*/ 3 h 16"/>
                  <a:gd name="T34" fmla="*/ 3 w 43"/>
                  <a:gd name="T35" fmla="*/ 4 h 16"/>
                  <a:gd name="T36" fmla="*/ 3 w 43"/>
                  <a:gd name="T37" fmla="*/ 6 h 16"/>
                  <a:gd name="T38" fmla="*/ 2 w 43"/>
                  <a:gd name="T39" fmla="*/ 7 h 16"/>
                  <a:gd name="T40" fmla="*/ 17 w 43"/>
                  <a:gd name="T41" fmla="*/ 10 h 16"/>
                  <a:gd name="T42" fmla="*/ 15 w 43"/>
                  <a:gd name="T43" fmla="*/ 10 h 16"/>
                  <a:gd name="T44" fmla="*/ 12 w 43"/>
                  <a:gd name="T45" fmla="*/ 12 h 16"/>
                  <a:gd name="T46" fmla="*/ 10 w 43"/>
                  <a:gd name="T47" fmla="*/ 11 h 16"/>
                  <a:gd name="T48" fmla="*/ 9 w 43"/>
                  <a:gd name="T49" fmla="*/ 10 h 16"/>
                  <a:gd name="T50" fmla="*/ 11 w 43"/>
                  <a:gd name="T51" fmla="*/ 8 h 16"/>
                  <a:gd name="T52" fmla="*/ 13 w 43"/>
                  <a:gd name="T53" fmla="*/ 9 h 16"/>
                  <a:gd name="T54" fmla="*/ 15 w 43"/>
                  <a:gd name="T55" fmla="*/ 8 h 16"/>
                  <a:gd name="T56" fmla="*/ 16 w 43"/>
                  <a:gd name="T57" fmla="*/ 7 h 16"/>
                  <a:gd name="T58" fmla="*/ 18 w 43"/>
                  <a:gd name="T59" fmla="*/ 7 h 16"/>
                  <a:gd name="T60" fmla="*/ 17 w 43"/>
                  <a:gd name="T61" fmla="*/ 10 h 16"/>
                  <a:gd name="T62" fmla="*/ 21 w 43"/>
                  <a:gd name="T63" fmla="*/ 10 h 16"/>
                  <a:gd name="T64" fmla="*/ 20 w 43"/>
                  <a:gd name="T65" fmla="*/ 13 h 16"/>
                  <a:gd name="T66" fmla="*/ 22 w 43"/>
                  <a:gd name="T67" fmla="*/ 15 h 16"/>
                  <a:gd name="T68" fmla="*/ 24 w 43"/>
                  <a:gd name="T69" fmla="*/ 14 h 16"/>
                  <a:gd name="T70" fmla="*/ 25 w 43"/>
                  <a:gd name="T71" fmla="*/ 13 h 16"/>
                  <a:gd name="T72" fmla="*/ 24 w 43"/>
                  <a:gd name="T73" fmla="*/ 11 h 16"/>
                  <a:gd name="T74" fmla="*/ 23 w 43"/>
                  <a:gd name="T75" fmla="*/ 10 h 16"/>
                  <a:gd name="T76" fmla="*/ 21 w 43"/>
                  <a:gd name="T77" fmla="*/ 10 h 16"/>
                  <a:gd name="T78" fmla="*/ 39 w 43"/>
                  <a:gd name="T79" fmla="*/ 3 h 16"/>
                  <a:gd name="T80" fmla="*/ 40 w 43"/>
                  <a:gd name="T81" fmla="*/ 0 h 16"/>
                  <a:gd name="T82" fmla="*/ 42 w 43"/>
                  <a:gd name="T83" fmla="*/ 0 h 16"/>
                  <a:gd name="T84" fmla="*/ 43 w 43"/>
                  <a:gd name="T85" fmla="*/ 2 h 16"/>
                  <a:gd name="T86" fmla="*/ 41 w 43"/>
                  <a:gd name="T87" fmla="*/ 2 h 16"/>
                  <a:gd name="T88" fmla="*/ 39 w 43"/>
                  <a:gd name="T89" fmla="*/ 3 h 16"/>
                  <a:gd name="T90" fmla="*/ 33 w 43"/>
                  <a:gd name="T91" fmla="*/ 11 h 16"/>
                  <a:gd name="T92" fmla="*/ 35 w 43"/>
                  <a:gd name="T93" fmla="*/ 9 h 16"/>
                  <a:gd name="T94" fmla="*/ 36 w 43"/>
                  <a:gd name="T95" fmla="*/ 7 h 16"/>
                  <a:gd name="T96" fmla="*/ 39 w 43"/>
                  <a:gd name="T97" fmla="*/ 6 h 16"/>
                  <a:gd name="T98" fmla="*/ 39 w 43"/>
                  <a:gd name="T99" fmla="*/ 8 h 16"/>
                  <a:gd name="T100" fmla="*/ 37 w 43"/>
                  <a:gd name="T101" fmla="*/ 11 h 16"/>
                  <a:gd name="T102" fmla="*/ 35 w 43"/>
                  <a:gd name="T103" fmla="*/ 12 h 16"/>
                  <a:gd name="T104" fmla="*/ 33 w 43"/>
                  <a:gd name="T105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3" h="16">
                    <a:moveTo>
                      <a:pt x="7" y="12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2"/>
                      <a:pt x="7" y="12"/>
                    </a:cubicBezTo>
                    <a:close/>
                    <a:moveTo>
                      <a:pt x="0" y="16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6"/>
                      <a:pt x="0" y="16"/>
                    </a:cubicBezTo>
                    <a:close/>
                    <a:moveTo>
                      <a:pt x="2" y="7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3" y="4"/>
                      <a:pt x="3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7"/>
                      <a:pt x="2" y="7"/>
                    </a:cubicBezTo>
                    <a:close/>
                    <a:moveTo>
                      <a:pt x="17" y="10"/>
                    </a:moveTo>
                    <a:cubicBezTo>
                      <a:pt x="15" y="10"/>
                      <a:pt x="15" y="10"/>
                      <a:pt x="15" y="10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10"/>
                      <a:pt x="17" y="10"/>
                      <a:pt x="17" y="10"/>
                    </a:cubicBezTo>
                    <a:close/>
                    <a:moveTo>
                      <a:pt x="21" y="10"/>
                    </a:moveTo>
                    <a:cubicBezTo>
                      <a:pt x="20" y="13"/>
                      <a:pt x="20" y="13"/>
                      <a:pt x="20" y="13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10"/>
                      <a:pt x="21" y="10"/>
                      <a:pt x="21" y="10"/>
                    </a:cubicBezTo>
                    <a:close/>
                    <a:moveTo>
                      <a:pt x="39" y="3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39" y="3"/>
                      <a:pt x="39" y="3"/>
                      <a:pt x="39" y="3"/>
                    </a:cubicBezTo>
                    <a:close/>
                    <a:moveTo>
                      <a:pt x="33" y="11"/>
                    </a:moveTo>
                    <a:cubicBezTo>
                      <a:pt x="35" y="9"/>
                      <a:pt x="35" y="9"/>
                      <a:pt x="35" y="9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5" y="12"/>
                      <a:pt x="35" y="12"/>
                      <a:pt x="35" y="12"/>
                    </a:cubicBezTo>
                    <a:lnTo>
                      <a:pt x="33" y="1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3" name="Freeform 246">
                <a:extLst>
                  <a:ext uri="{FF2B5EF4-FFF2-40B4-BE49-F238E27FC236}">
                    <a16:creationId xmlns:a16="http://schemas.microsoft.com/office/drawing/2014/main" xmlns="" id="{A17C0A04-AB9C-4676-9D3E-1E0DD06990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6" y="1773"/>
                <a:ext cx="40" cy="39"/>
              </a:xfrm>
              <a:custGeom>
                <a:avLst/>
                <a:gdLst>
                  <a:gd name="T0" fmla="*/ 2 w 25"/>
                  <a:gd name="T1" fmla="*/ 3 h 24"/>
                  <a:gd name="T2" fmla="*/ 4 w 25"/>
                  <a:gd name="T3" fmla="*/ 1 h 24"/>
                  <a:gd name="T4" fmla="*/ 4 w 25"/>
                  <a:gd name="T5" fmla="*/ 0 h 24"/>
                  <a:gd name="T6" fmla="*/ 2 w 25"/>
                  <a:gd name="T7" fmla="*/ 0 h 24"/>
                  <a:gd name="T8" fmla="*/ 1 w 25"/>
                  <a:gd name="T9" fmla="*/ 1 h 24"/>
                  <a:gd name="T10" fmla="*/ 0 w 25"/>
                  <a:gd name="T11" fmla="*/ 1 h 24"/>
                  <a:gd name="T12" fmla="*/ 1 w 25"/>
                  <a:gd name="T13" fmla="*/ 2 h 24"/>
                  <a:gd name="T14" fmla="*/ 2 w 25"/>
                  <a:gd name="T15" fmla="*/ 3 h 24"/>
                  <a:gd name="T16" fmla="*/ 5 w 25"/>
                  <a:gd name="T17" fmla="*/ 4 h 24"/>
                  <a:gd name="T18" fmla="*/ 4 w 25"/>
                  <a:gd name="T19" fmla="*/ 3 h 24"/>
                  <a:gd name="T20" fmla="*/ 5 w 25"/>
                  <a:gd name="T21" fmla="*/ 2 h 24"/>
                  <a:gd name="T22" fmla="*/ 6 w 25"/>
                  <a:gd name="T23" fmla="*/ 2 h 24"/>
                  <a:gd name="T24" fmla="*/ 6 w 25"/>
                  <a:gd name="T25" fmla="*/ 4 h 24"/>
                  <a:gd name="T26" fmla="*/ 5 w 25"/>
                  <a:gd name="T27" fmla="*/ 4 h 24"/>
                  <a:gd name="T28" fmla="*/ 12 w 25"/>
                  <a:gd name="T29" fmla="*/ 6 h 24"/>
                  <a:gd name="T30" fmla="*/ 11 w 25"/>
                  <a:gd name="T31" fmla="*/ 6 h 24"/>
                  <a:gd name="T32" fmla="*/ 11 w 25"/>
                  <a:gd name="T33" fmla="*/ 7 h 24"/>
                  <a:gd name="T34" fmla="*/ 10 w 25"/>
                  <a:gd name="T35" fmla="*/ 6 h 24"/>
                  <a:gd name="T36" fmla="*/ 10 w 25"/>
                  <a:gd name="T37" fmla="*/ 5 h 24"/>
                  <a:gd name="T38" fmla="*/ 11 w 25"/>
                  <a:gd name="T39" fmla="*/ 5 h 24"/>
                  <a:gd name="T40" fmla="*/ 12 w 25"/>
                  <a:gd name="T41" fmla="*/ 6 h 24"/>
                  <a:gd name="T42" fmla="*/ 12 w 25"/>
                  <a:gd name="T43" fmla="*/ 6 h 24"/>
                  <a:gd name="T44" fmla="*/ 12 w 25"/>
                  <a:gd name="T45" fmla="*/ 6 h 24"/>
                  <a:gd name="T46" fmla="*/ 15 w 25"/>
                  <a:gd name="T47" fmla="*/ 6 h 24"/>
                  <a:gd name="T48" fmla="*/ 14 w 25"/>
                  <a:gd name="T49" fmla="*/ 7 h 24"/>
                  <a:gd name="T50" fmla="*/ 13 w 25"/>
                  <a:gd name="T51" fmla="*/ 6 h 24"/>
                  <a:gd name="T52" fmla="*/ 14 w 25"/>
                  <a:gd name="T53" fmla="*/ 5 h 24"/>
                  <a:gd name="T54" fmla="*/ 15 w 25"/>
                  <a:gd name="T55" fmla="*/ 6 h 24"/>
                  <a:gd name="T56" fmla="*/ 24 w 25"/>
                  <a:gd name="T57" fmla="*/ 6 h 24"/>
                  <a:gd name="T58" fmla="*/ 23 w 25"/>
                  <a:gd name="T59" fmla="*/ 4 h 24"/>
                  <a:gd name="T60" fmla="*/ 24 w 25"/>
                  <a:gd name="T61" fmla="*/ 3 h 24"/>
                  <a:gd name="T62" fmla="*/ 24 w 25"/>
                  <a:gd name="T63" fmla="*/ 5 h 24"/>
                  <a:gd name="T64" fmla="*/ 24 w 25"/>
                  <a:gd name="T65" fmla="*/ 6 h 24"/>
                  <a:gd name="T66" fmla="*/ 23 w 25"/>
                  <a:gd name="T67" fmla="*/ 12 h 24"/>
                  <a:gd name="T68" fmla="*/ 22 w 25"/>
                  <a:gd name="T69" fmla="*/ 11 h 24"/>
                  <a:gd name="T70" fmla="*/ 23 w 25"/>
                  <a:gd name="T71" fmla="*/ 10 h 24"/>
                  <a:gd name="T72" fmla="*/ 25 w 25"/>
                  <a:gd name="T73" fmla="*/ 10 h 24"/>
                  <a:gd name="T74" fmla="*/ 25 w 25"/>
                  <a:gd name="T75" fmla="*/ 12 h 24"/>
                  <a:gd name="T76" fmla="*/ 24 w 25"/>
                  <a:gd name="T77" fmla="*/ 12 h 24"/>
                  <a:gd name="T78" fmla="*/ 23 w 25"/>
                  <a:gd name="T79" fmla="*/ 12 h 24"/>
                  <a:gd name="T80" fmla="*/ 21 w 25"/>
                  <a:gd name="T81" fmla="*/ 21 h 24"/>
                  <a:gd name="T82" fmla="*/ 20 w 25"/>
                  <a:gd name="T83" fmla="*/ 20 h 24"/>
                  <a:gd name="T84" fmla="*/ 21 w 25"/>
                  <a:gd name="T85" fmla="*/ 20 h 24"/>
                  <a:gd name="T86" fmla="*/ 22 w 25"/>
                  <a:gd name="T87" fmla="*/ 21 h 24"/>
                  <a:gd name="T88" fmla="*/ 21 w 25"/>
                  <a:gd name="T89" fmla="*/ 21 h 24"/>
                  <a:gd name="T90" fmla="*/ 16 w 25"/>
                  <a:gd name="T91" fmla="*/ 23 h 24"/>
                  <a:gd name="T92" fmla="*/ 16 w 25"/>
                  <a:gd name="T93" fmla="*/ 21 h 24"/>
                  <a:gd name="T94" fmla="*/ 15 w 25"/>
                  <a:gd name="T95" fmla="*/ 20 h 24"/>
                  <a:gd name="T96" fmla="*/ 17 w 25"/>
                  <a:gd name="T97" fmla="*/ 20 h 24"/>
                  <a:gd name="T98" fmla="*/ 19 w 25"/>
                  <a:gd name="T99" fmla="*/ 22 h 24"/>
                  <a:gd name="T100" fmla="*/ 18 w 25"/>
                  <a:gd name="T101" fmla="*/ 24 h 24"/>
                  <a:gd name="T102" fmla="*/ 16 w 25"/>
                  <a:gd name="T103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" h="24">
                    <a:moveTo>
                      <a:pt x="2" y="3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3"/>
                      <a:pt x="2" y="3"/>
                    </a:cubicBezTo>
                    <a:close/>
                    <a:moveTo>
                      <a:pt x="5" y="4"/>
                    </a:moveTo>
                    <a:cubicBezTo>
                      <a:pt x="4" y="3"/>
                      <a:pt x="4" y="3"/>
                      <a:pt x="4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5" y="4"/>
                      <a:pt x="5" y="4"/>
                    </a:cubicBezTo>
                    <a:close/>
                    <a:moveTo>
                      <a:pt x="12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  <a:moveTo>
                      <a:pt x="15" y="6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5" y="6"/>
                      <a:pt x="15" y="6"/>
                      <a:pt x="15" y="6"/>
                    </a:cubicBezTo>
                    <a:close/>
                    <a:moveTo>
                      <a:pt x="24" y="6"/>
                    </a:moveTo>
                    <a:cubicBezTo>
                      <a:pt x="23" y="4"/>
                      <a:pt x="23" y="4"/>
                      <a:pt x="23" y="4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3" y="12"/>
                    </a:moveTo>
                    <a:cubicBezTo>
                      <a:pt x="22" y="11"/>
                      <a:pt x="22" y="11"/>
                      <a:pt x="22" y="1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2"/>
                      <a:pt x="23" y="12"/>
                    </a:cubicBezTo>
                    <a:close/>
                    <a:moveTo>
                      <a:pt x="21" y="21"/>
                    </a:moveTo>
                    <a:cubicBezTo>
                      <a:pt x="20" y="20"/>
                      <a:pt x="20" y="20"/>
                      <a:pt x="20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23"/>
                    </a:moveTo>
                    <a:cubicBezTo>
                      <a:pt x="16" y="21"/>
                      <a:pt x="16" y="21"/>
                      <a:pt x="16" y="21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8" y="24"/>
                      <a:pt x="18" y="24"/>
                      <a:pt x="18" y="24"/>
                    </a:cubicBezTo>
                    <a:lnTo>
                      <a:pt x="16" y="2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4" name="Freeform 247">
                <a:extLst>
                  <a:ext uri="{FF2B5EF4-FFF2-40B4-BE49-F238E27FC236}">
                    <a16:creationId xmlns:a16="http://schemas.microsoft.com/office/drawing/2014/main" xmlns="" id="{6261FC8F-3F68-4889-A80E-AE6642BDC9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7" y="1613"/>
                <a:ext cx="118" cy="171"/>
              </a:xfrm>
              <a:custGeom>
                <a:avLst/>
                <a:gdLst>
                  <a:gd name="T0" fmla="*/ 46 w 118"/>
                  <a:gd name="T1" fmla="*/ 112 h 171"/>
                  <a:gd name="T2" fmla="*/ 44 w 118"/>
                  <a:gd name="T3" fmla="*/ 63 h 171"/>
                  <a:gd name="T4" fmla="*/ 61 w 118"/>
                  <a:gd name="T5" fmla="*/ 21 h 171"/>
                  <a:gd name="T6" fmla="*/ 67 w 118"/>
                  <a:gd name="T7" fmla="*/ 37 h 171"/>
                  <a:gd name="T8" fmla="*/ 77 w 118"/>
                  <a:gd name="T9" fmla="*/ 47 h 171"/>
                  <a:gd name="T10" fmla="*/ 82 w 118"/>
                  <a:gd name="T11" fmla="*/ 47 h 171"/>
                  <a:gd name="T12" fmla="*/ 93 w 118"/>
                  <a:gd name="T13" fmla="*/ 49 h 171"/>
                  <a:gd name="T14" fmla="*/ 98 w 118"/>
                  <a:gd name="T15" fmla="*/ 47 h 171"/>
                  <a:gd name="T16" fmla="*/ 105 w 118"/>
                  <a:gd name="T17" fmla="*/ 57 h 171"/>
                  <a:gd name="T18" fmla="*/ 108 w 118"/>
                  <a:gd name="T19" fmla="*/ 63 h 171"/>
                  <a:gd name="T20" fmla="*/ 118 w 118"/>
                  <a:gd name="T21" fmla="*/ 68 h 171"/>
                  <a:gd name="T22" fmla="*/ 118 w 118"/>
                  <a:gd name="T23" fmla="*/ 73 h 171"/>
                  <a:gd name="T24" fmla="*/ 116 w 118"/>
                  <a:gd name="T25" fmla="*/ 78 h 171"/>
                  <a:gd name="T26" fmla="*/ 110 w 118"/>
                  <a:gd name="T27" fmla="*/ 90 h 171"/>
                  <a:gd name="T28" fmla="*/ 105 w 118"/>
                  <a:gd name="T29" fmla="*/ 98 h 171"/>
                  <a:gd name="T30" fmla="*/ 102 w 118"/>
                  <a:gd name="T31" fmla="*/ 106 h 171"/>
                  <a:gd name="T32" fmla="*/ 97 w 118"/>
                  <a:gd name="T33" fmla="*/ 104 h 171"/>
                  <a:gd name="T34" fmla="*/ 98 w 118"/>
                  <a:gd name="T35" fmla="*/ 101 h 171"/>
                  <a:gd name="T36" fmla="*/ 95 w 118"/>
                  <a:gd name="T37" fmla="*/ 101 h 171"/>
                  <a:gd name="T38" fmla="*/ 93 w 118"/>
                  <a:gd name="T39" fmla="*/ 106 h 171"/>
                  <a:gd name="T40" fmla="*/ 92 w 118"/>
                  <a:gd name="T41" fmla="*/ 108 h 171"/>
                  <a:gd name="T42" fmla="*/ 90 w 118"/>
                  <a:gd name="T43" fmla="*/ 116 h 171"/>
                  <a:gd name="T44" fmla="*/ 89 w 118"/>
                  <a:gd name="T45" fmla="*/ 119 h 171"/>
                  <a:gd name="T46" fmla="*/ 90 w 118"/>
                  <a:gd name="T47" fmla="*/ 122 h 171"/>
                  <a:gd name="T48" fmla="*/ 93 w 118"/>
                  <a:gd name="T49" fmla="*/ 129 h 171"/>
                  <a:gd name="T50" fmla="*/ 85 w 118"/>
                  <a:gd name="T51" fmla="*/ 130 h 171"/>
                  <a:gd name="T52" fmla="*/ 80 w 118"/>
                  <a:gd name="T53" fmla="*/ 130 h 171"/>
                  <a:gd name="T54" fmla="*/ 72 w 118"/>
                  <a:gd name="T55" fmla="*/ 139 h 171"/>
                  <a:gd name="T56" fmla="*/ 71 w 118"/>
                  <a:gd name="T57" fmla="*/ 145 h 171"/>
                  <a:gd name="T58" fmla="*/ 66 w 118"/>
                  <a:gd name="T59" fmla="*/ 148 h 171"/>
                  <a:gd name="T60" fmla="*/ 56 w 118"/>
                  <a:gd name="T61" fmla="*/ 148 h 171"/>
                  <a:gd name="T62" fmla="*/ 53 w 118"/>
                  <a:gd name="T63" fmla="*/ 152 h 171"/>
                  <a:gd name="T64" fmla="*/ 53 w 118"/>
                  <a:gd name="T65" fmla="*/ 157 h 171"/>
                  <a:gd name="T66" fmla="*/ 54 w 118"/>
                  <a:gd name="T67" fmla="*/ 158 h 171"/>
                  <a:gd name="T68" fmla="*/ 53 w 118"/>
                  <a:gd name="T69" fmla="*/ 160 h 171"/>
                  <a:gd name="T70" fmla="*/ 48 w 118"/>
                  <a:gd name="T71" fmla="*/ 165 h 171"/>
                  <a:gd name="T72" fmla="*/ 41 w 118"/>
                  <a:gd name="T73" fmla="*/ 165 h 171"/>
                  <a:gd name="T74" fmla="*/ 33 w 118"/>
                  <a:gd name="T75" fmla="*/ 168 h 171"/>
                  <a:gd name="T76" fmla="*/ 28 w 118"/>
                  <a:gd name="T77" fmla="*/ 171 h 171"/>
                  <a:gd name="T78" fmla="*/ 23 w 118"/>
                  <a:gd name="T79" fmla="*/ 170 h 171"/>
                  <a:gd name="T80" fmla="*/ 12 w 118"/>
                  <a:gd name="T81" fmla="*/ 160 h 171"/>
                  <a:gd name="T82" fmla="*/ 0 w 118"/>
                  <a:gd name="T83" fmla="*/ 134 h 171"/>
                  <a:gd name="T84" fmla="*/ 0 w 118"/>
                  <a:gd name="T85" fmla="*/ 126 h 171"/>
                  <a:gd name="T86" fmla="*/ 58 w 118"/>
                  <a:gd name="T87" fmla="*/ 11 h 171"/>
                  <a:gd name="T88" fmla="*/ 61 w 118"/>
                  <a:gd name="T89" fmla="*/ 5 h 171"/>
                  <a:gd name="T90" fmla="*/ 59 w 118"/>
                  <a:gd name="T91" fmla="*/ 3 h 171"/>
                  <a:gd name="T92" fmla="*/ 59 w 118"/>
                  <a:gd name="T93" fmla="*/ 1 h 171"/>
                  <a:gd name="T94" fmla="*/ 59 w 118"/>
                  <a:gd name="T95" fmla="*/ 0 h 171"/>
                  <a:gd name="T96" fmla="*/ 58 w 118"/>
                  <a:gd name="T97" fmla="*/ 0 h 171"/>
                  <a:gd name="T98" fmla="*/ 56 w 118"/>
                  <a:gd name="T99" fmla="*/ 5 h 171"/>
                  <a:gd name="T100" fmla="*/ 54 w 118"/>
                  <a:gd name="T101" fmla="*/ 6 h 171"/>
                  <a:gd name="T102" fmla="*/ 56 w 118"/>
                  <a:gd name="T103" fmla="*/ 8 h 171"/>
                  <a:gd name="T104" fmla="*/ 58 w 118"/>
                  <a:gd name="T105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8" h="171">
                    <a:moveTo>
                      <a:pt x="0" y="126"/>
                    </a:moveTo>
                    <a:lnTo>
                      <a:pt x="46" y="112"/>
                    </a:lnTo>
                    <a:lnTo>
                      <a:pt x="48" y="76"/>
                    </a:lnTo>
                    <a:lnTo>
                      <a:pt x="44" y="63"/>
                    </a:lnTo>
                    <a:lnTo>
                      <a:pt x="58" y="21"/>
                    </a:lnTo>
                    <a:lnTo>
                      <a:pt x="61" y="21"/>
                    </a:lnTo>
                    <a:lnTo>
                      <a:pt x="62" y="31"/>
                    </a:lnTo>
                    <a:lnTo>
                      <a:pt x="67" y="37"/>
                    </a:lnTo>
                    <a:lnTo>
                      <a:pt x="67" y="39"/>
                    </a:lnTo>
                    <a:lnTo>
                      <a:pt x="77" y="47"/>
                    </a:lnTo>
                    <a:lnTo>
                      <a:pt x="80" y="47"/>
                    </a:lnTo>
                    <a:lnTo>
                      <a:pt x="82" y="47"/>
                    </a:lnTo>
                    <a:lnTo>
                      <a:pt x="85" y="47"/>
                    </a:lnTo>
                    <a:lnTo>
                      <a:pt x="93" y="49"/>
                    </a:lnTo>
                    <a:lnTo>
                      <a:pt x="97" y="47"/>
                    </a:lnTo>
                    <a:lnTo>
                      <a:pt x="98" y="47"/>
                    </a:lnTo>
                    <a:lnTo>
                      <a:pt x="103" y="54"/>
                    </a:lnTo>
                    <a:lnTo>
                      <a:pt x="105" y="57"/>
                    </a:lnTo>
                    <a:lnTo>
                      <a:pt x="107" y="60"/>
                    </a:lnTo>
                    <a:lnTo>
                      <a:pt x="108" y="63"/>
                    </a:lnTo>
                    <a:lnTo>
                      <a:pt x="115" y="68"/>
                    </a:lnTo>
                    <a:lnTo>
                      <a:pt x="118" y="68"/>
                    </a:lnTo>
                    <a:lnTo>
                      <a:pt x="118" y="70"/>
                    </a:lnTo>
                    <a:lnTo>
                      <a:pt x="118" y="73"/>
                    </a:lnTo>
                    <a:lnTo>
                      <a:pt x="116" y="76"/>
                    </a:lnTo>
                    <a:lnTo>
                      <a:pt x="116" y="78"/>
                    </a:lnTo>
                    <a:lnTo>
                      <a:pt x="116" y="81"/>
                    </a:lnTo>
                    <a:lnTo>
                      <a:pt x="110" y="90"/>
                    </a:lnTo>
                    <a:lnTo>
                      <a:pt x="107" y="94"/>
                    </a:lnTo>
                    <a:lnTo>
                      <a:pt x="105" y="98"/>
                    </a:lnTo>
                    <a:lnTo>
                      <a:pt x="103" y="99"/>
                    </a:lnTo>
                    <a:lnTo>
                      <a:pt x="102" y="106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8" y="103"/>
                    </a:lnTo>
                    <a:lnTo>
                      <a:pt x="98" y="101"/>
                    </a:lnTo>
                    <a:lnTo>
                      <a:pt x="97" y="101"/>
                    </a:lnTo>
                    <a:lnTo>
                      <a:pt x="95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8"/>
                    </a:lnTo>
                    <a:lnTo>
                      <a:pt x="92" y="108"/>
                    </a:lnTo>
                    <a:lnTo>
                      <a:pt x="90" y="112"/>
                    </a:lnTo>
                    <a:lnTo>
                      <a:pt x="90" y="116"/>
                    </a:lnTo>
                    <a:lnTo>
                      <a:pt x="89" y="119"/>
                    </a:lnTo>
                    <a:lnTo>
                      <a:pt x="89" y="119"/>
                    </a:lnTo>
                    <a:lnTo>
                      <a:pt x="90" y="122"/>
                    </a:lnTo>
                    <a:lnTo>
                      <a:pt x="90" y="122"/>
                    </a:lnTo>
                    <a:lnTo>
                      <a:pt x="92" y="127"/>
                    </a:lnTo>
                    <a:lnTo>
                      <a:pt x="93" y="129"/>
                    </a:lnTo>
                    <a:lnTo>
                      <a:pt x="92" y="130"/>
                    </a:lnTo>
                    <a:lnTo>
                      <a:pt x="85" y="130"/>
                    </a:lnTo>
                    <a:lnTo>
                      <a:pt x="84" y="132"/>
                    </a:lnTo>
                    <a:lnTo>
                      <a:pt x="80" y="130"/>
                    </a:lnTo>
                    <a:lnTo>
                      <a:pt x="77" y="132"/>
                    </a:lnTo>
                    <a:lnTo>
                      <a:pt x="72" y="139"/>
                    </a:lnTo>
                    <a:lnTo>
                      <a:pt x="72" y="143"/>
                    </a:lnTo>
                    <a:lnTo>
                      <a:pt x="71" y="145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1" y="148"/>
                    </a:lnTo>
                    <a:lnTo>
                      <a:pt x="56" y="148"/>
                    </a:lnTo>
                    <a:lnTo>
                      <a:pt x="54" y="150"/>
                    </a:lnTo>
                    <a:lnTo>
                      <a:pt x="53" y="152"/>
                    </a:lnTo>
                    <a:lnTo>
                      <a:pt x="53" y="153"/>
                    </a:lnTo>
                    <a:lnTo>
                      <a:pt x="53" y="157"/>
                    </a:lnTo>
                    <a:lnTo>
                      <a:pt x="54" y="157"/>
                    </a:lnTo>
                    <a:lnTo>
                      <a:pt x="54" y="158"/>
                    </a:lnTo>
                    <a:lnTo>
                      <a:pt x="53" y="158"/>
                    </a:lnTo>
                    <a:lnTo>
                      <a:pt x="53" y="160"/>
                    </a:lnTo>
                    <a:lnTo>
                      <a:pt x="49" y="165"/>
                    </a:lnTo>
                    <a:lnTo>
                      <a:pt x="48" y="165"/>
                    </a:lnTo>
                    <a:lnTo>
                      <a:pt x="44" y="163"/>
                    </a:lnTo>
                    <a:lnTo>
                      <a:pt x="41" y="165"/>
                    </a:lnTo>
                    <a:lnTo>
                      <a:pt x="40" y="165"/>
                    </a:lnTo>
                    <a:lnTo>
                      <a:pt x="33" y="168"/>
                    </a:lnTo>
                    <a:lnTo>
                      <a:pt x="30" y="166"/>
                    </a:lnTo>
                    <a:lnTo>
                      <a:pt x="28" y="171"/>
                    </a:lnTo>
                    <a:lnTo>
                      <a:pt x="25" y="171"/>
                    </a:lnTo>
                    <a:lnTo>
                      <a:pt x="23" y="170"/>
                    </a:lnTo>
                    <a:lnTo>
                      <a:pt x="22" y="171"/>
                    </a:lnTo>
                    <a:lnTo>
                      <a:pt x="12" y="160"/>
                    </a:lnTo>
                    <a:lnTo>
                      <a:pt x="15" y="152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26"/>
                    </a:lnTo>
                    <a:close/>
                    <a:moveTo>
                      <a:pt x="58" y="14"/>
                    </a:moveTo>
                    <a:lnTo>
                      <a:pt x="58" y="11"/>
                    </a:lnTo>
                    <a:lnTo>
                      <a:pt x="59" y="10"/>
                    </a:lnTo>
                    <a:lnTo>
                      <a:pt x="61" y="5"/>
                    </a:lnTo>
                    <a:lnTo>
                      <a:pt x="59" y="5"/>
                    </a:lnTo>
                    <a:lnTo>
                      <a:pt x="59" y="3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1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8" y="0"/>
                    </a:lnTo>
                    <a:lnTo>
                      <a:pt x="56" y="5"/>
                    </a:lnTo>
                    <a:lnTo>
                      <a:pt x="56" y="5"/>
                    </a:lnTo>
                    <a:lnTo>
                      <a:pt x="54" y="5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8" y="13"/>
                    </a:lnTo>
                    <a:lnTo>
                      <a:pt x="58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5" name="Freeform 248">
                <a:extLst>
                  <a:ext uri="{FF2B5EF4-FFF2-40B4-BE49-F238E27FC236}">
                    <a16:creationId xmlns:a16="http://schemas.microsoft.com/office/drawing/2014/main" xmlns="" id="{FE50B6D3-EE5F-40A8-9A3D-D8AB9DED8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0" y="1739"/>
                <a:ext cx="193" cy="120"/>
              </a:xfrm>
              <a:custGeom>
                <a:avLst/>
                <a:gdLst>
                  <a:gd name="T0" fmla="*/ 5 w 193"/>
                  <a:gd name="T1" fmla="*/ 47 h 120"/>
                  <a:gd name="T2" fmla="*/ 9 w 193"/>
                  <a:gd name="T3" fmla="*/ 44 h 120"/>
                  <a:gd name="T4" fmla="*/ 10 w 193"/>
                  <a:gd name="T5" fmla="*/ 35 h 120"/>
                  <a:gd name="T6" fmla="*/ 17 w 193"/>
                  <a:gd name="T7" fmla="*/ 26 h 120"/>
                  <a:gd name="T8" fmla="*/ 31 w 193"/>
                  <a:gd name="T9" fmla="*/ 31 h 120"/>
                  <a:gd name="T10" fmla="*/ 59 w 193"/>
                  <a:gd name="T11" fmla="*/ 44 h 120"/>
                  <a:gd name="T12" fmla="*/ 89 w 193"/>
                  <a:gd name="T13" fmla="*/ 17 h 120"/>
                  <a:gd name="T14" fmla="*/ 147 w 193"/>
                  <a:gd name="T15" fmla="*/ 8 h 120"/>
                  <a:gd name="T16" fmla="*/ 159 w 193"/>
                  <a:gd name="T17" fmla="*/ 34 h 120"/>
                  <a:gd name="T18" fmla="*/ 165 w 193"/>
                  <a:gd name="T19" fmla="*/ 45 h 120"/>
                  <a:gd name="T20" fmla="*/ 154 w 193"/>
                  <a:gd name="T21" fmla="*/ 53 h 120"/>
                  <a:gd name="T22" fmla="*/ 154 w 193"/>
                  <a:gd name="T23" fmla="*/ 58 h 120"/>
                  <a:gd name="T24" fmla="*/ 154 w 193"/>
                  <a:gd name="T25" fmla="*/ 62 h 120"/>
                  <a:gd name="T26" fmla="*/ 144 w 193"/>
                  <a:gd name="T27" fmla="*/ 67 h 120"/>
                  <a:gd name="T28" fmla="*/ 129 w 193"/>
                  <a:gd name="T29" fmla="*/ 71 h 120"/>
                  <a:gd name="T30" fmla="*/ 110 w 193"/>
                  <a:gd name="T31" fmla="*/ 78 h 120"/>
                  <a:gd name="T32" fmla="*/ 105 w 193"/>
                  <a:gd name="T33" fmla="*/ 80 h 120"/>
                  <a:gd name="T34" fmla="*/ 97 w 193"/>
                  <a:gd name="T35" fmla="*/ 89 h 120"/>
                  <a:gd name="T36" fmla="*/ 93 w 193"/>
                  <a:gd name="T37" fmla="*/ 88 h 120"/>
                  <a:gd name="T38" fmla="*/ 90 w 193"/>
                  <a:gd name="T39" fmla="*/ 89 h 120"/>
                  <a:gd name="T40" fmla="*/ 85 w 193"/>
                  <a:gd name="T41" fmla="*/ 88 h 120"/>
                  <a:gd name="T42" fmla="*/ 80 w 193"/>
                  <a:gd name="T43" fmla="*/ 94 h 120"/>
                  <a:gd name="T44" fmla="*/ 72 w 193"/>
                  <a:gd name="T45" fmla="*/ 98 h 120"/>
                  <a:gd name="T46" fmla="*/ 61 w 193"/>
                  <a:gd name="T47" fmla="*/ 99 h 120"/>
                  <a:gd name="T48" fmla="*/ 56 w 193"/>
                  <a:gd name="T49" fmla="*/ 98 h 120"/>
                  <a:gd name="T50" fmla="*/ 53 w 193"/>
                  <a:gd name="T51" fmla="*/ 98 h 120"/>
                  <a:gd name="T52" fmla="*/ 46 w 193"/>
                  <a:gd name="T53" fmla="*/ 101 h 120"/>
                  <a:gd name="T54" fmla="*/ 43 w 193"/>
                  <a:gd name="T55" fmla="*/ 104 h 120"/>
                  <a:gd name="T56" fmla="*/ 38 w 193"/>
                  <a:gd name="T57" fmla="*/ 111 h 120"/>
                  <a:gd name="T58" fmla="*/ 33 w 193"/>
                  <a:gd name="T59" fmla="*/ 109 h 120"/>
                  <a:gd name="T60" fmla="*/ 27 w 193"/>
                  <a:gd name="T61" fmla="*/ 112 h 120"/>
                  <a:gd name="T62" fmla="*/ 22 w 193"/>
                  <a:gd name="T63" fmla="*/ 112 h 120"/>
                  <a:gd name="T64" fmla="*/ 17 w 193"/>
                  <a:gd name="T65" fmla="*/ 109 h 120"/>
                  <a:gd name="T66" fmla="*/ 13 w 193"/>
                  <a:gd name="T67" fmla="*/ 102 h 120"/>
                  <a:gd name="T68" fmla="*/ 13 w 193"/>
                  <a:gd name="T69" fmla="*/ 96 h 120"/>
                  <a:gd name="T70" fmla="*/ 9 w 193"/>
                  <a:gd name="T71" fmla="*/ 88 h 120"/>
                  <a:gd name="T72" fmla="*/ 2 w 193"/>
                  <a:gd name="T73" fmla="*/ 68 h 120"/>
                  <a:gd name="T74" fmla="*/ 0 w 193"/>
                  <a:gd name="T75" fmla="*/ 65 h 120"/>
                  <a:gd name="T76" fmla="*/ 2 w 193"/>
                  <a:gd name="T77" fmla="*/ 63 h 120"/>
                  <a:gd name="T78" fmla="*/ 4 w 193"/>
                  <a:gd name="T79" fmla="*/ 62 h 120"/>
                  <a:gd name="T80" fmla="*/ 4 w 193"/>
                  <a:gd name="T81" fmla="*/ 49 h 120"/>
                  <a:gd name="T82" fmla="*/ 2 w 193"/>
                  <a:gd name="T83" fmla="*/ 45 h 120"/>
                  <a:gd name="T84" fmla="*/ 157 w 193"/>
                  <a:gd name="T85" fmla="*/ 119 h 120"/>
                  <a:gd name="T86" fmla="*/ 157 w 193"/>
                  <a:gd name="T87" fmla="*/ 120 h 120"/>
                  <a:gd name="T88" fmla="*/ 154 w 193"/>
                  <a:gd name="T89" fmla="*/ 120 h 120"/>
                  <a:gd name="T90" fmla="*/ 175 w 193"/>
                  <a:gd name="T91" fmla="*/ 114 h 120"/>
                  <a:gd name="T92" fmla="*/ 177 w 193"/>
                  <a:gd name="T93" fmla="*/ 111 h 120"/>
                  <a:gd name="T94" fmla="*/ 180 w 193"/>
                  <a:gd name="T95" fmla="*/ 112 h 120"/>
                  <a:gd name="T96" fmla="*/ 185 w 193"/>
                  <a:gd name="T97" fmla="*/ 112 h 120"/>
                  <a:gd name="T98" fmla="*/ 190 w 193"/>
                  <a:gd name="T99" fmla="*/ 112 h 120"/>
                  <a:gd name="T100" fmla="*/ 193 w 193"/>
                  <a:gd name="T101" fmla="*/ 114 h 120"/>
                  <a:gd name="T102" fmla="*/ 188 w 193"/>
                  <a:gd name="T103" fmla="*/ 116 h 120"/>
                  <a:gd name="T104" fmla="*/ 180 w 193"/>
                  <a:gd name="T105" fmla="*/ 119 h 120"/>
                  <a:gd name="T106" fmla="*/ 175 w 193"/>
                  <a:gd name="T107" fmla="*/ 116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3" h="120">
                    <a:moveTo>
                      <a:pt x="2" y="45"/>
                    </a:moveTo>
                    <a:lnTo>
                      <a:pt x="5" y="47"/>
                    </a:lnTo>
                    <a:lnTo>
                      <a:pt x="7" y="47"/>
                    </a:lnTo>
                    <a:lnTo>
                      <a:pt x="9" y="44"/>
                    </a:lnTo>
                    <a:lnTo>
                      <a:pt x="13" y="42"/>
                    </a:lnTo>
                    <a:lnTo>
                      <a:pt x="10" y="35"/>
                    </a:lnTo>
                    <a:lnTo>
                      <a:pt x="12" y="29"/>
                    </a:lnTo>
                    <a:lnTo>
                      <a:pt x="17" y="26"/>
                    </a:lnTo>
                    <a:lnTo>
                      <a:pt x="22" y="31"/>
                    </a:lnTo>
                    <a:lnTo>
                      <a:pt x="31" y="31"/>
                    </a:lnTo>
                    <a:lnTo>
                      <a:pt x="44" y="35"/>
                    </a:lnTo>
                    <a:lnTo>
                      <a:pt x="59" y="44"/>
                    </a:lnTo>
                    <a:lnTo>
                      <a:pt x="59" y="58"/>
                    </a:lnTo>
                    <a:lnTo>
                      <a:pt x="89" y="17"/>
                    </a:lnTo>
                    <a:lnTo>
                      <a:pt x="147" y="0"/>
                    </a:lnTo>
                    <a:lnTo>
                      <a:pt x="147" y="8"/>
                    </a:lnTo>
                    <a:lnTo>
                      <a:pt x="162" y="26"/>
                    </a:lnTo>
                    <a:lnTo>
                      <a:pt x="159" y="34"/>
                    </a:lnTo>
                    <a:lnTo>
                      <a:pt x="169" y="45"/>
                    </a:lnTo>
                    <a:lnTo>
                      <a:pt x="165" y="45"/>
                    </a:lnTo>
                    <a:lnTo>
                      <a:pt x="159" y="47"/>
                    </a:lnTo>
                    <a:lnTo>
                      <a:pt x="154" y="53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4" y="60"/>
                    </a:lnTo>
                    <a:lnTo>
                      <a:pt x="154" y="62"/>
                    </a:lnTo>
                    <a:lnTo>
                      <a:pt x="147" y="63"/>
                    </a:lnTo>
                    <a:lnTo>
                      <a:pt x="144" y="67"/>
                    </a:lnTo>
                    <a:lnTo>
                      <a:pt x="139" y="70"/>
                    </a:lnTo>
                    <a:lnTo>
                      <a:pt x="129" y="71"/>
                    </a:lnTo>
                    <a:lnTo>
                      <a:pt x="128" y="73"/>
                    </a:lnTo>
                    <a:lnTo>
                      <a:pt x="110" y="78"/>
                    </a:lnTo>
                    <a:lnTo>
                      <a:pt x="108" y="78"/>
                    </a:lnTo>
                    <a:lnTo>
                      <a:pt x="105" y="80"/>
                    </a:lnTo>
                    <a:lnTo>
                      <a:pt x="102" y="84"/>
                    </a:lnTo>
                    <a:lnTo>
                      <a:pt x="97" y="89"/>
                    </a:lnTo>
                    <a:lnTo>
                      <a:pt x="95" y="89"/>
                    </a:lnTo>
                    <a:lnTo>
                      <a:pt x="93" y="88"/>
                    </a:lnTo>
                    <a:lnTo>
                      <a:pt x="92" y="89"/>
                    </a:lnTo>
                    <a:lnTo>
                      <a:pt x="90" y="89"/>
                    </a:lnTo>
                    <a:lnTo>
                      <a:pt x="89" y="88"/>
                    </a:lnTo>
                    <a:lnTo>
                      <a:pt x="85" y="88"/>
                    </a:lnTo>
                    <a:lnTo>
                      <a:pt x="80" y="93"/>
                    </a:lnTo>
                    <a:lnTo>
                      <a:pt x="80" y="94"/>
                    </a:lnTo>
                    <a:lnTo>
                      <a:pt x="77" y="96"/>
                    </a:lnTo>
                    <a:lnTo>
                      <a:pt x="72" y="98"/>
                    </a:lnTo>
                    <a:lnTo>
                      <a:pt x="64" y="99"/>
                    </a:lnTo>
                    <a:lnTo>
                      <a:pt x="61" y="99"/>
                    </a:lnTo>
                    <a:lnTo>
                      <a:pt x="61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3" y="98"/>
                    </a:lnTo>
                    <a:lnTo>
                      <a:pt x="51" y="98"/>
                    </a:lnTo>
                    <a:lnTo>
                      <a:pt x="46" y="101"/>
                    </a:lnTo>
                    <a:lnTo>
                      <a:pt x="44" y="104"/>
                    </a:lnTo>
                    <a:lnTo>
                      <a:pt x="43" y="104"/>
                    </a:lnTo>
                    <a:lnTo>
                      <a:pt x="40" y="109"/>
                    </a:lnTo>
                    <a:lnTo>
                      <a:pt x="38" y="111"/>
                    </a:lnTo>
                    <a:lnTo>
                      <a:pt x="36" y="109"/>
                    </a:lnTo>
                    <a:lnTo>
                      <a:pt x="33" y="109"/>
                    </a:lnTo>
                    <a:lnTo>
                      <a:pt x="30" y="111"/>
                    </a:lnTo>
                    <a:lnTo>
                      <a:pt x="27" y="112"/>
                    </a:lnTo>
                    <a:lnTo>
                      <a:pt x="22" y="111"/>
                    </a:lnTo>
                    <a:lnTo>
                      <a:pt x="22" y="112"/>
                    </a:lnTo>
                    <a:lnTo>
                      <a:pt x="18" y="112"/>
                    </a:lnTo>
                    <a:lnTo>
                      <a:pt x="17" y="109"/>
                    </a:lnTo>
                    <a:lnTo>
                      <a:pt x="17" y="106"/>
                    </a:lnTo>
                    <a:lnTo>
                      <a:pt x="13" y="102"/>
                    </a:lnTo>
                    <a:lnTo>
                      <a:pt x="12" y="98"/>
                    </a:lnTo>
                    <a:lnTo>
                      <a:pt x="13" y="96"/>
                    </a:lnTo>
                    <a:lnTo>
                      <a:pt x="13" y="91"/>
                    </a:lnTo>
                    <a:lnTo>
                      <a:pt x="9" y="88"/>
                    </a:lnTo>
                    <a:lnTo>
                      <a:pt x="7" y="73"/>
                    </a:lnTo>
                    <a:lnTo>
                      <a:pt x="2" y="68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2" y="62"/>
                    </a:lnTo>
                    <a:lnTo>
                      <a:pt x="4" y="62"/>
                    </a:lnTo>
                    <a:lnTo>
                      <a:pt x="5" y="57"/>
                    </a:lnTo>
                    <a:lnTo>
                      <a:pt x="4" y="49"/>
                    </a:lnTo>
                    <a:lnTo>
                      <a:pt x="2" y="45"/>
                    </a:lnTo>
                    <a:lnTo>
                      <a:pt x="2" y="45"/>
                    </a:lnTo>
                    <a:close/>
                    <a:moveTo>
                      <a:pt x="154" y="120"/>
                    </a:moveTo>
                    <a:lnTo>
                      <a:pt x="157" y="119"/>
                    </a:lnTo>
                    <a:lnTo>
                      <a:pt x="160" y="120"/>
                    </a:lnTo>
                    <a:lnTo>
                      <a:pt x="157" y="120"/>
                    </a:lnTo>
                    <a:lnTo>
                      <a:pt x="154" y="120"/>
                    </a:lnTo>
                    <a:lnTo>
                      <a:pt x="154" y="120"/>
                    </a:lnTo>
                    <a:close/>
                    <a:moveTo>
                      <a:pt x="173" y="116"/>
                    </a:moveTo>
                    <a:lnTo>
                      <a:pt x="175" y="114"/>
                    </a:lnTo>
                    <a:lnTo>
                      <a:pt x="175" y="112"/>
                    </a:lnTo>
                    <a:lnTo>
                      <a:pt x="177" y="111"/>
                    </a:lnTo>
                    <a:lnTo>
                      <a:pt x="180" y="111"/>
                    </a:lnTo>
                    <a:lnTo>
                      <a:pt x="180" y="112"/>
                    </a:lnTo>
                    <a:lnTo>
                      <a:pt x="182" y="112"/>
                    </a:lnTo>
                    <a:lnTo>
                      <a:pt x="185" y="112"/>
                    </a:lnTo>
                    <a:lnTo>
                      <a:pt x="188" y="111"/>
                    </a:lnTo>
                    <a:lnTo>
                      <a:pt x="190" y="112"/>
                    </a:lnTo>
                    <a:lnTo>
                      <a:pt x="191" y="112"/>
                    </a:lnTo>
                    <a:lnTo>
                      <a:pt x="193" y="114"/>
                    </a:lnTo>
                    <a:lnTo>
                      <a:pt x="191" y="116"/>
                    </a:lnTo>
                    <a:lnTo>
                      <a:pt x="188" y="116"/>
                    </a:lnTo>
                    <a:lnTo>
                      <a:pt x="185" y="117"/>
                    </a:lnTo>
                    <a:lnTo>
                      <a:pt x="180" y="119"/>
                    </a:lnTo>
                    <a:lnTo>
                      <a:pt x="177" y="117"/>
                    </a:lnTo>
                    <a:lnTo>
                      <a:pt x="175" y="116"/>
                    </a:lnTo>
                    <a:lnTo>
                      <a:pt x="173" y="11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6" name="Freeform 249">
                <a:extLst>
                  <a:ext uri="{FF2B5EF4-FFF2-40B4-BE49-F238E27FC236}">
                    <a16:creationId xmlns:a16="http://schemas.microsoft.com/office/drawing/2014/main" xmlns="" id="{DB35AD4D-3D3C-498F-9DF6-440A8A77A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0" y="1524"/>
                <a:ext cx="197" cy="170"/>
              </a:xfrm>
              <a:custGeom>
                <a:avLst/>
                <a:gdLst>
                  <a:gd name="T0" fmla="*/ 156 w 197"/>
                  <a:gd name="T1" fmla="*/ 32 h 170"/>
                  <a:gd name="T2" fmla="*/ 147 w 197"/>
                  <a:gd name="T3" fmla="*/ 10 h 170"/>
                  <a:gd name="T4" fmla="*/ 140 w 197"/>
                  <a:gd name="T5" fmla="*/ 7 h 170"/>
                  <a:gd name="T6" fmla="*/ 119 w 197"/>
                  <a:gd name="T7" fmla="*/ 10 h 170"/>
                  <a:gd name="T8" fmla="*/ 114 w 197"/>
                  <a:gd name="T9" fmla="*/ 12 h 170"/>
                  <a:gd name="T10" fmla="*/ 107 w 197"/>
                  <a:gd name="T11" fmla="*/ 9 h 170"/>
                  <a:gd name="T12" fmla="*/ 107 w 197"/>
                  <a:gd name="T13" fmla="*/ 4 h 170"/>
                  <a:gd name="T14" fmla="*/ 96 w 197"/>
                  <a:gd name="T15" fmla="*/ 2 h 170"/>
                  <a:gd name="T16" fmla="*/ 98 w 197"/>
                  <a:gd name="T17" fmla="*/ 4 h 170"/>
                  <a:gd name="T18" fmla="*/ 89 w 197"/>
                  <a:gd name="T19" fmla="*/ 5 h 170"/>
                  <a:gd name="T20" fmla="*/ 91 w 197"/>
                  <a:gd name="T21" fmla="*/ 4 h 170"/>
                  <a:gd name="T22" fmla="*/ 86 w 197"/>
                  <a:gd name="T23" fmla="*/ 2 h 170"/>
                  <a:gd name="T24" fmla="*/ 78 w 197"/>
                  <a:gd name="T25" fmla="*/ 7 h 170"/>
                  <a:gd name="T26" fmla="*/ 70 w 197"/>
                  <a:gd name="T27" fmla="*/ 14 h 170"/>
                  <a:gd name="T28" fmla="*/ 55 w 197"/>
                  <a:gd name="T29" fmla="*/ 10 h 170"/>
                  <a:gd name="T30" fmla="*/ 44 w 197"/>
                  <a:gd name="T31" fmla="*/ 7 h 170"/>
                  <a:gd name="T32" fmla="*/ 32 w 197"/>
                  <a:gd name="T33" fmla="*/ 4 h 170"/>
                  <a:gd name="T34" fmla="*/ 6 w 197"/>
                  <a:gd name="T35" fmla="*/ 2 h 170"/>
                  <a:gd name="T36" fmla="*/ 3 w 197"/>
                  <a:gd name="T37" fmla="*/ 5 h 170"/>
                  <a:gd name="T38" fmla="*/ 3 w 197"/>
                  <a:gd name="T39" fmla="*/ 20 h 170"/>
                  <a:gd name="T40" fmla="*/ 1 w 197"/>
                  <a:gd name="T41" fmla="*/ 35 h 170"/>
                  <a:gd name="T42" fmla="*/ 197 w 197"/>
                  <a:gd name="T43" fmla="*/ 169 h 170"/>
                  <a:gd name="T44" fmla="*/ 191 w 197"/>
                  <a:gd name="T45" fmla="*/ 164 h 170"/>
                  <a:gd name="T46" fmla="*/ 184 w 197"/>
                  <a:gd name="T47" fmla="*/ 157 h 170"/>
                  <a:gd name="T48" fmla="*/ 174 w 197"/>
                  <a:gd name="T49" fmla="*/ 154 h 170"/>
                  <a:gd name="T50" fmla="*/ 173 w 197"/>
                  <a:gd name="T51" fmla="*/ 139 h 170"/>
                  <a:gd name="T52" fmla="*/ 173 w 197"/>
                  <a:gd name="T53" fmla="*/ 138 h 170"/>
                  <a:gd name="T54" fmla="*/ 174 w 197"/>
                  <a:gd name="T55" fmla="*/ 136 h 170"/>
                  <a:gd name="T56" fmla="*/ 171 w 197"/>
                  <a:gd name="T57" fmla="*/ 131 h 170"/>
                  <a:gd name="T58" fmla="*/ 161 w 197"/>
                  <a:gd name="T59" fmla="*/ 115 h 170"/>
                  <a:gd name="T60" fmla="*/ 148 w 197"/>
                  <a:gd name="T61" fmla="*/ 94 h 170"/>
                  <a:gd name="T62" fmla="*/ 147 w 197"/>
                  <a:gd name="T63" fmla="*/ 82 h 170"/>
                  <a:gd name="T64" fmla="*/ 138 w 197"/>
                  <a:gd name="T65" fmla="*/ 72 h 170"/>
                  <a:gd name="T66" fmla="*/ 138 w 197"/>
                  <a:gd name="T67" fmla="*/ 64 h 170"/>
                  <a:gd name="T68" fmla="*/ 122 w 197"/>
                  <a:gd name="T69" fmla="*/ 48 h 170"/>
                  <a:gd name="T70" fmla="*/ 119 w 197"/>
                  <a:gd name="T71" fmla="*/ 36 h 170"/>
                  <a:gd name="T72" fmla="*/ 121 w 197"/>
                  <a:gd name="T73" fmla="*/ 35 h 170"/>
                  <a:gd name="T74" fmla="*/ 124 w 197"/>
                  <a:gd name="T75" fmla="*/ 40 h 170"/>
                  <a:gd name="T76" fmla="*/ 130 w 197"/>
                  <a:gd name="T77" fmla="*/ 51 h 170"/>
                  <a:gd name="T78" fmla="*/ 137 w 197"/>
                  <a:gd name="T79" fmla="*/ 59 h 170"/>
                  <a:gd name="T80" fmla="*/ 150 w 197"/>
                  <a:gd name="T81" fmla="*/ 71 h 170"/>
                  <a:gd name="T82" fmla="*/ 153 w 197"/>
                  <a:gd name="T83" fmla="*/ 61 h 170"/>
                  <a:gd name="T84" fmla="*/ 155 w 197"/>
                  <a:gd name="T85" fmla="*/ 5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7" h="170">
                    <a:moveTo>
                      <a:pt x="158" y="41"/>
                    </a:moveTo>
                    <a:lnTo>
                      <a:pt x="155" y="35"/>
                    </a:lnTo>
                    <a:lnTo>
                      <a:pt x="156" y="32"/>
                    </a:lnTo>
                    <a:lnTo>
                      <a:pt x="153" y="23"/>
                    </a:lnTo>
                    <a:lnTo>
                      <a:pt x="148" y="17"/>
                    </a:lnTo>
                    <a:lnTo>
                      <a:pt x="147" y="10"/>
                    </a:lnTo>
                    <a:lnTo>
                      <a:pt x="143" y="5"/>
                    </a:lnTo>
                    <a:lnTo>
                      <a:pt x="142" y="5"/>
                    </a:lnTo>
                    <a:lnTo>
                      <a:pt x="140" y="7"/>
                    </a:lnTo>
                    <a:lnTo>
                      <a:pt x="137" y="9"/>
                    </a:lnTo>
                    <a:lnTo>
                      <a:pt x="125" y="7"/>
                    </a:lnTo>
                    <a:lnTo>
                      <a:pt x="119" y="10"/>
                    </a:lnTo>
                    <a:lnTo>
                      <a:pt x="112" y="5"/>
                    </a:lnTo>
                    <a:lnTo>
                      <a:pt x="112" y="9"/>
                    </a:lnTo>
                    <a:lnTo>
                      <a:pt x="114" y="12"/>
                    </a:lnTo>
                    <a:lnTo>
                      <a:pt x="114" y="14"/>
                    </a:lnTo>
                    <a:lnTo>
                      <a:pt x="111" y="10"/>
                    </a:lnTo>
                    <a:lnTo>
                      <a:pt x="107" y="9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7" y="4"/>
                    </a:lnTo>
                    <a:lnTo>
                      <a:pt x="106" y="4"/>
                    </a:lnTo>
                    <a:lnTo>
                      <a:pt x="103" y="4"/>
                    </a:lnTo>
                    <a:lnTo>
                      <a:pt x="96" y="2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3" y="4"/>
                    </a:lnTo>
                    <a:lnTo>
                      <a:pt x="89" y="5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1" y="4"/>
                    </a:lnTo>
                    <a:lnTo>
                      <a:pt x="93" y="2"/>
                    </a:lnTo>
                    <a:lnTo>
                      <a:pt x="91" y="2"/>
                    </a:lnTo>
                    <a:lnTo>
                      <a:pt x="86" y="2"/>
                    </a:lnTo>
                    <a:lnTo>
                      <a:pt x="85" y="4"/>
                    </a:lnTo>
                    <a:lnTo>
                      <a:pt x="80" y="7"/>
                    </a:lnTo>
                    <a:lnTo>
                      <a:pt x="78" y="7"/>
                    </a:lnTo>
                    <a:lnTo>
                      <a:pt x="73" y="9"/>
                    </a:lnTo>
                    <a:lnTo>
                      <a:pt x="70" y="12"/>
                    </a:lnTo>
                    <a:lnTo>
                      <a:pt x="70" y="14"/>
                    </a:lnTo>
                    <a:lnTo>
                      <a:pt x="65" y="14"/>
                    </a:lnTo>
                    <a:lnTo>
                      <a:pt x="58" y="10"/>
                    </a:lnTo>
                    <a:lnTo>
                      <a:pt x="55" y="10"/>
                    </a:lnTo>
                    <a:lnTo>
                      <a:pt x="50" y="10"/>
                    </a:lnTo>
                    <a:lnTo>
                      <a:pt x="45" y="7"/>
                    </a:lnTo>
                    <a:lnTo>
                      <a:pt x="44" y="7"/>
                    </a:lnTo>
                    <a:lnTo>
                      <a:pt x="42" y="9"/>
                    </a:lnTo>
                    <a:lnTo>
                      <a:pt x="37" y="5"/>
                    </a:lnTo>
                    <a:lnTo>
                      <a:pt x="32" y="4"/>
                    </a:lnTo>
                    <a:lnTo>
                      <a:pt x="19" y="4"/>
                    </a:lnTo>
                    <a:lnTo>
                      <a:pt x="13" y="0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3" y="20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1" y="35"/>
                    </a:lnTo>
                    <a:lnTo>
                      <a:pt x="3" y="43"/>
                    </a:lnTo>
                    <a:lnTo>
                      <a:pt x="8" y="170"/>
                    </a:lnTo>
                    <a:lnTo>
                      <a:pt x="197" y="169"/>
                    </a:lnTo>
                    <a:lnTo>
                      <a:pt x="197" y="169"/>
                    </a:lnTo>
                    <a:lnTo>
                      <a:pt x="194" y="169"/>
                    </a:lnTo>
                    <a:lnTo>
                      <a:pt x="191" y="164"/>
                    </a:lnTo>
                    <a:lnTo>
                      <a:pt x="191" y="162"/>
                    </a:lnTo>
                    <a:lnTo>
                      <a:pt x="187" y="161"/>
                    </a:lnTo>
                    <a:lnTo>
                      <a:pt x="184" y="157"/>
                    </a:lnTo>
                    <a:lnTo>
                      <a:pt x="183" y="157"/>
                    </a:lnTo>
                    <a:lnTo>
                      <a:pt x="179" y="157"/>
                    </a:lnTo>
                    <a:lnTo>
                      <a:pt x="174" y="154"/>
                    </a:lnTo>
                    <a:lnTo>
                      <a:pt x="173" y="146"/>
                    </a:lnTo>
                    <a:lnTo>
                      <a:pt x="173" y="144"/>
                    </a:lnTo>
                    <a:lnTo>
                      <a:pt x="173" y="139"/>
                    </a:lnTo>
                    <a:lnTo>
                      <a:pt x="171" y="138"/>
                    </a:lnTo>
                    <a:lnTo>
                      <a:pt x="173" y="136"/>
                    </a:lnTo>
                    <a:lnTo>
                      <a:pt x="173" y="138"/>
                    </a:lnTo>
                    <a:lnTo>
                      <a:pt x="178" y="138"/>
                    </a:lnTo>
                    <a:lnTo>
                      <a:pt x="176" y="136"/>
                    </a:lnTo>
                    <a:lnTo>
                      <a:pt x="174" y="136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71" y="131"/>
                    </a:lnTo>
                    <a:lnTo>
                      <a:pt x="170" y="130"/>
                    </a:lnTo>
                    <a:lnTo>
                      <a:pt x="168" y="125"/>
                    </a:lnTo>
                    <a:lnTo>
                      <a:pt x="161" y="115"/>
                    </a:lnTo>
                    <a:lnTo>
                      <a:pt x="158" y="113"/>
                    </a:lnTo>
                    <a:lnTo>
                      <a:pt x="158" y="110"/>
                    </a:lnTo>
                    <a:lnTo>
                      <a:pt x="148" y="94"/>
                    </a:lnTo>
                    <a:lnTo>
                      <a:pt x="148" y="90"/>
                    </a:lnTo>
                    <a:lnTo>
                      <a:pt x="147" y="89"/>
                    </a:lnTo>
                    <a:lnTo>
                      <a:pt x="147" y="82"/>
                    </a:lnTo>
                    <a:lnTo>
                      <a:pt x="145" y="81"/>
                    </a:lnTo>
                    <a:lnTo>
                      <a:pt x="145" y="79"/>
                    </a:lnTo>
                    <a:lnTo>
                      <a:pt x="138" y="72"/>
                    </a:lnTo>
                    <a:lnTo>
                      <a:pt x="138" y="69"/>
                    </a:lnTo>
                    <a:lnTo>
                      <a:pt x="140" y="67"/>
                    </a:lnTo>
                    <a:lnTo>
                      <a:pt x="138" y="64"/>
                    </a:lnTo>
                    <a:lnTo>
                      <a:pt x="129" y="56"/>
                    </a:lnTo>
                    <a:lnTo>
                      <a:pt x="129" y="54"/>
                    </a:lnTo>
                    <a:lnTo>
                      <a:pt x="122" y="48"/>
                    </a:lnTo>
                    <a:lnTo>
                      <a:pt x="122" y="43"/>
                    </a:lnTo>
                    <a:lnTo>
                      <a:pt x="119" y="40"/>
                    </a:lnTo>
                    <a:lnTo>
                      <a:pt x="119" y="36"/>
                    </a:lnTo>
                    <a:lnTo>
                      <a:pt x="119" y="35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2" y="35"/>
                    </a:lnTo>
                    <a:lnTo>
                      <a:pt x="122" y="38"/>
                    </a:lnTo>
                    <a:lnTo>
                      <a:pt x="124" y="40"/>
                    </a:lnTo>
                    <a:lnTo>
                      <a:pt x="125" y="43"/>
                    </a:lnTo>
                    <a:lnTo>
                      <a:pt x="130" y="48"/>
                    </a:lnTo>
                    <a:lnTo>
                      <a:pt x="130" y="51"/>
                    </a:lnTo>
                    <a:lnTo>
                      <a:pt x="132" y="54"/>
                    </a:lnTo>
                    <a:lnTo>
                      <a:pt x="137" y="56"/>
                    </a:lnTo>
                    <a:lnTo>
                      <a:pt x="137" y="59"/>
                    </a:lnTo>
                    <a:lnTo>
                      <a:pt x="145" y="67"/>
                    </a:lnTo>
                    <a:lnTo>
                      <a:pt x="150" y="69"/>
                    </a:lnTo>
                    <a:lnTo>
                      <a:pt x="150" y="71"/>
                    </a:lnTo>
                    <a:lnTo>
                      <a:pt x="150" y="69"/>
                    </a:lnTo>
                    <a:lnTo>
                      <a:pt x="153" y="66"/>
                    </a:lnTo>
                    <a:lnTo>
                      <a:pt x="153" y="61"/>
                    </a:lnTo>
                    <a:lnTo>
                      <a:pt x="152" y="59"/>
                    </a:lnTo>
                    <a:lnTo>
                      <a:pt x="155" y="54"/>
                    </a:lnTo>
                    <a:lnTo>
                      <a:pt x="155" y="51"/>
                    </a:lnTo>
                    <a:lnTo>
                      <a:pt x="156" y="41"/>
                    </a:lnTo>
                    <a:lnTo>
                      <a:pt x="158" y="4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7" name="Freeform 250">
                <a:extLst>
                  <a:ext uri="{FF2B5EF4-FFF2-40B4-BE49-F238E27FC236}">
                    <a16:creationId xmlns:a16="http://schemas.microsoft.com/office/drawing/2014/main" xmlns="" id="{0C93189E-326C-497E-BDB7-E71256D49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1693"/>
                <a:ext cx="263" cy="309"/>
              </a:xfrm>
              <a:custGeom>
                <a:avLst/>
                <a:gdLst>
                  <a:gd name="T0" fmla="*/ 233 w 263"/>
                  <a:gd name="T1" fmla="*/ 5 h 309"/>
                  <a:gd name="T2" fmla="*/ 235 w 263"/>
                  <a:gd name="T3" fmla="*/ 13 h 309"/>
                  <a:gd name="T4" fmla="*/ 237 w 263"/>
                  <a:gd name="T5" fmla="*/ 14 h 309"/>
                  <a:gd name="T6" fmla="*/ 240 w 263"/>
                  <a:gd name="T7" fmla="*/ 42 h 309"/>
                  <a:gd name="T8" fmla="*/ 255 w 263"/>
                  <a:gd name="T9" fmla="*/ 63 h 309"/>
                  <a:gd name="T10" fmla="*/ 259 w 263"/>
                  <a:gd name="T11" fmla="*/ 70 h 309"/>
                  <a:gd name="T12" fmla="*/ 248 w 263"/>
                  <a:gd name="T13" fmla="*/ 77 h 309"/>
                  <a:gd name="T14" fmla="*/ 241 w 263"/>
                  <a:gd name="T15" fmla="*/ 81 h 309"/>
                  <a:gd name="T16" fmla="*/ 240 w 263"/>
                  <a:gd name="T17" fmla="*/ 93 h 309"/>
                  <a:gd name="T18" fmla="*/ 233 w 263"/>
                  <a:gd name="T19" fmla="*/ 114 h 309"/>
                  <a:gd name="T20" fmla="*/ 235 w 263"/>
                  <a:gd name="T21" fmla="*/ 130 h 309"/>
                  <a:gd name="T22" fmla="*/ 225 w 263"/>
                  <a:gd name="T23" fmla="*/ 155 h 309"/>
                  <a:gd name="T24" fmla="*/ 217 w 263"/>
                  <a:gd name="T25" fmla="*/ 166 h 309"/>
                  <a:gd name="T26" fmla="*/ 204 w 263"/>
                  <a:gd name="T27" fmla="*/ 186 h 309"/>
                  <a:gd name="T28" fmla="*/ 201 w 263"/>
                  <a:gd name="T29" fmla="*/ 202 h 309"/>
                  <a:gd name="T30" fmla="*/ 194 w 263"/>
                  <a:gd name="T31" fmla="*/ 225 h 309"/>
                  <a:gd name="T32" fmla="*/ 183 w 263"/>
                  <a:gd name="T33" fmla="*/ 227 h 309"/>
                  <a:gd name="T34" fmla="*/ 183 w 263"/>
                  <a:gd name="T35" fmla="*/ 237 h 309"/>
                  <a:gd name="T36" fmla="*/ 196 w 263"/>
                  <a:gd name="T37" fmla="*/ 245 h 309"/>
                  <a:gd name="T38" fmla="*/ 206 w 263"/>
                  <a:gd name="T39" fmla="*/ 255 h 309"/>
                  <a:gd name="T40" fmla="*/ 214 w 263"/>
                  <a:gd name="T41" fmla="*/ 271 h 309"/>
                  <a:gd name="T42" fmla="*/ 201 w 263"/>
                  <a:gd name="T43" fmla="*/ 291 h 309"/>
                  <a:gd name="T44" fmla="*/ 192 w 263"/>
                  <a:gd name="T45" fmla="*/ 299 h 309"/>
                  <a:gd name="T46" fmla="*/ 174 w 263"/>
                  <a:gd name="T47" fmla="*/ 304 h 309"/>
                  <a:gd name="T48" fmla="*/ 166 w 263"/>
                  <a:gd name="T49" fmla="*/ 309 h 309"/>
                  <a:gd name="T50" fmla="*/ 157 w 263"/>
                  <a:gd name="T51" fmla="*/ 304 h 309"/>
                  <a:gd name="T52" fmla="*/ 147 w 263"/>
                  <a:gd name="T53" fmla="*/ 307 h 309"/>
                  <a:gd name="T54" fmla="*/ 140 w 263"/>
                  <a:gd name="T55" fmla="*/ 305 h 309"/>
                  <a:gd name="T56" fmla="*/ 132 w 263"/>
                  <a:gd name="T57" fmla="*/ 296 h 309"/>
                  <a:gd name="T58" fmla="*/ 122 w 263"/>
                  <a:gd name="T59" fmla="*/ 287 h 309"/>
                  <a:gd name="T60" fmla="*/ 114 w 263"/>
                  <a:gd name="T61" fmla="*/ 291 h 309"/>
                  <a:gd name="T62" fmla="*/ 104 w 263"/>
                  <a:gd name="T63" fmla="*/ 294 h 309"/>
                  <a:gd name="T64" fmla="*/ 93 w 263"/>
                  <a:gd name="T65" fmla="*/ 286 h 309"/>
                  <a:gd name="T66" fmla="*/ 86 w 263"/>
                  <a:gd name="T67" fmla="*/ 279 h 309"/>
                  <a:gd name="T68" fmla="*/ 78 w 263"/>
                  <a:gd name="T69" fmla="*/ 268 h 309"/>
                  <a:gd name="T70" fmla="*/ 70 w 263"/>
                  <a:gd name="T71" fmla="*/ 260 h 309"/>
                  <a:gd name="T72" fmla="*/ 60 w 263"/>
                  <a:gd name="T73" fmla="*/ 248 h 309"/>
                  <a:gd name="T74" fmla="*/ 55 w 263"/>
                  <a:gd name="T75" fmla="*/ 243 h 309"/>
                  <a:gd name="T76" fmla="*/ 50 w 263"/>
                  <a:gd name="T77" fmla="*/ 235 h 309"/>
                  <a:gd name="T78" fmla="*/ 37 w 263"/>
                  <a:gd name="T79" fmla="*/ 227 h 309"/>
                  <a:gd name="T80" fmla="*/ 31 w 263"/>
                  <a:gd name="T81" fmla="*/ 222 h 309"/>
                  <a:gd name="T82" fmla="*/ 28 w 263"/>
                  <a:gd name="T83" fmla="*/ 211 h 309"/>
                  <a:gd name="T84" fmla="*/ 19 w 263"/>
                  <a:gd name="T85" fmla="*/ 191 h 309"/>
                  <a:gd name="T86" fmla="*/ 14 w 263"/>
                  <a:gd name="T87" fmla="*/ 183 h 309"/>
                  <a:gd name="T88" fmla="*/ 8 w 263"/>
                  <a:gd name="T89" fmla="*/ 171 h 309"/>
                  <a:gd name="T90" fmla="*/ 8 w 263"/>
                  <a:gd name="T91" fmla="*/ 158 h 309"/>
                  <a:gd name="T92" fmla="*/ 0 w 263"/>
                  <a:gd name="T93" fmla="*/ 153 h 309"/>
                  <a:gd name="T94" fmla="*/ 5 w 263"/>
                  <a:gd name="T95" fmla="*/ 137 h 309"/>
                  <a:gd name="T96" fmla="*/ 10 w 263"/>
                  <a:gd name="T97" fmla="*/ 126 h 309"/>
                  <a:gd name="T98" fmla="*/ 16 w 263"/>
                  <a:gd name="T99" fmla="*/ 109 h 309"/>
                  <a:gd name="T100" fmla="*/ 32 w 263"/>
                  <a:gd name="T101" fmla="*/ 104 h 309"/>
                  <a:gd name="T102" fmla="*/ 44 w 263"/>
                  <a:gd name="T103" fmla="*/ 1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3" h="309">
                    <a:moveTo>
                      <a:pt x="44" y="1"/>
                    </a:moveTo>
                    <a:lnTo>
                      <a:pt x="233" y="0"/>
                    </a:lnTo>
                    <a:lnTo>
                      <a:pt x="233" y="1"/>
                    </a:lnTo>
                    <a:lnTo>
                      <a:pt x="233" y="3"/>
                    </a:lnTo>
                    <a:lnTo>
                      <a:pt x="233" y="5"/>
                    </a:lnTo>
                    <a:lnTo>
                      <a:pt x="233" y="5"/>
                    </a:lnTo>
                    <a:lnTo>
                      <a:pt x="233" y="6"/>
                    </a:lnTo>
                    <a:lnTo>
                      <a:pt x="233" y="6"/>
                    </a:lnTo>
                    <a:lnTo>
                      <a:pt x="235" y="8"/>
                    </a:lnTo>
                    <a:lnTo>
                      <a:pt x="235" y="13"/>
                    </a:lnTo>
                    <a:lnTo>
                      <a:pt x="238" y="16"/>
                    </a:lnTo>
                    <a:lnTo>
                      <a:pt x="238" y="18"/>
                    </a:lnTo>
                    <a:lnTo>
                      <a:pt x="238" y="18"/>
                    </a:lnTo>
                    <a:lnTo>
                      <a:pt x="237" y="16"/>
                    </a:lnTo>
                    <a:lnTo>
                      <a:pt x="237" y="14"/>
                    </a:lnTo>
                    <a:lnTo>
                      <a:pt x="235" y="16"/>
                    </a:lnTo>
                    <a:lnTo>
                      <a:pt x="237" y="18"/>
                    </a:lnTo>
                    <a:lnTo>
                      <a:pt x="240" y="31"/>
                    </a:lnTo>
                    <a:lnTo>
                      <a:pt x="241" y="36"/>
                    </a:lnTo>
                    <a:lnTo>
                      <a:pt x="240" y="42"/>
                    </a:lnTo>
                    <a:lnTo>
                      <a:pt x="241" y="49"/>
                    </a:lnTo>
                    <a:lnTo>
                      <a:pt x="245" y="55"/>
                    </a:lnTo>
                    <a:lnTo>
                      <a:pt x="248" y="55"/>
                    </a:lnTo>
                    <a:lnTo>
                      <a:pt x="255" y="60"/>
                    </a:lnTo>
                    <a:lnTo>
                      <a:pt x="255" y="63"/>
                    </a:lnTo>
                    <a:lnTo>
                      <a:pt x="258" y="63"/>
                    </a:lnTo>
                    <a:lnTo>
                      <a:pt x="261" y="65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59" y="70"/>
                    </a:lnTo>
                    <a:lnTo>
                      <a:pt x="258" y="72"/>
                    </a:lnTo>
                    <a:lnTo>
                      <a:pt x="255" y="73"/>
                    </a:lnTo>
                    <a:lnTo>
                      <a:pt x="253" y="75"/>
                    </a:lnTo>
                    <a:lnTo>
                      <a:pt x="250" y="75"/>
                    </a:lnTo>
                    <a:lnTo>
                      <a:pt x="248" y="77"/>
                    </a:lnTo>
                    <a:lnTo>
                      <a:pt x="245" y="77"/>
                    </a:lnTo>
                    <a:lnTo>
                      <a:pt x="245" y="78"/>
                    </a:lnTo>
                    <a:lnTo>
                      <a:pt x="245" y="80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40" y="83"/>
                    </a:lnTo>
                    <a:lnTo>
                      <a:pt x="240" y="86"/>
                    </a:lnTo>
                    <a:lnTo>
                      <a:pt x="238" y="90"/>
                    </a:lnTo>
                    <a:lnTo>
                      <a:pt x="238" y="91"/>
                    </a:lnTo>
                    <a:lnTo>
                      <a:pt x="240" y="93"/>
                    </a:lnTo>
                    <a:lnTo>
                      <a:pt x="238" y="95"/>
                    </a:lnTo>
                    <a:lnTo>
                      <a:pt x="237" y="99"/>
                    </a:lnTo>
                    <a:lnTo>
                      <a:pt x="235" y="108"/>
                    </a:lnTo>
                    <a:lnTo>
                      <a:pt x="233" y="111"/>
                    </a:lnTo>
                    <a:lnTo>
                      <a:pt x="233" y="114"/>
                    </a:lnTo>
                    <a:lnTo>
                      <a:pt x="232" y="116"/>
                    </a:lnTo>
                    <a:lnTo>
                      <a:pt x="232" y="119"/>
                    </a:lnTo>
                    <a:lnTo>
                      <a:pt x="233" y="127"/>
                    </a:lnTo>
                    <a:lnTo>
                      <a:pt x="233" y="130"/>
                    </a:lnTo>
                    <a:lnTo>
                      <a:pt x="235" y="130"/>
                    </a:lnTo>
                    <a:lnTo>
                      <a:pt x="233" y="130"/>
                    </a:lnTo>
                    <a:lnTo>
                      <a:pt x="232" y="135"/>
                    </a:lnTo>
                    <a:lnTo>
                      <a:pt x="232" y="142"/>
                    </a:lnTo>
                    <a:lnTo>
                      <a:pt x="227" y="148"/>
                    </a:lnTo>
                    <a:lnTo>
                      <a:pt x="225" y="155"/>
                    </a:lnTo>
                    <a:lnTo>
                      <a:pt x="223" y="153"/>
                    </a:lnTo>
                    <a:lnTo>
                      <a:pt x="222" y="155"/>
                    </a:lnTo>
                    <a:lnTo>
                      <a:pt x="220" y="158"/>
                    </a:lnTo>
                    <a:lnTo>
                      <a:pt x="217" y="165"/>
                    </a:lnTo>
                    <a:lnTo>
                      <a:pt x="217" y="166"/>
                    </a:lnTo>
                    <a:lnTo>
                      <a:pt x="212" y="170"/>
                    </a:lnTo>
                    <a:lnTo>
                      <a:pt x="210" y="175"/>
                    </a:lnTo>
                    <a:lnTo>
                      <a:pt x="207" y="188"/>
                    </a:lnTo>
                    <a:lnTo>
                      <a:pt x="206" y="186"/>
                    </a:lnTo>
                    <a:lnTo>
                      <a:pt x="204" y="186"/>
                    </a:lnTo>
                    <a:lnTo>
                      <a:pt x="204" y="189"/>
                    </a:lnTo>
                    <a:lnTo>
                      <a:pt x="201" y="193"/>
                    </a:lnTo>
                    <a:lnTo>
                      <a:pt x="199" y="196"/>
                    </a:lnTo>
                    <a:lnTo>
                      <a:pt x="201" y="197"/>
                    </a:lnTo>
                    <a:lnTo>
                      <a:pt x="201" y="202"/>
                    </a:lnTo>
                    <a:lnTo>
                      <a:pt x="197" y="206"/>
                    </a:lnTo>
                    <a:lnTo>
                      <a:pt x="197" y="211"/>
                    </a:lnTo>
                    <a:lnTo>
                      <a:pt x="197" y="217"/>
                    </a:lnTo>
                    <a:lnTo>
                      <a:pt x="196" y="224"/>
                    </a:lnTo>
                    <a:lnTo>
                      <a:pt x="194" y="225"/>
                    </a:lnTo>
                    <a:lnTo>
                      <a:pt x="194" y="227"/>
                    </a:lnTo>
                    <a:lnTo>
                      <a:pt x="191" y="227"/>
                    </a:lnTo>
                    <a:lnTo>
                      <a:pt x="189" y="227"/>
                    </a:lnTo>
                    <a:lnTo>
                      <a:pt x="186" y="227"/>
                    </a:lnTo>
                    <a:lnTo>
                      <a:pt x="183" y="227"/>
                    </a:lnTo>
                    <a:lnTo>
                      <a:pt x="183" y="230"/>
                    </a:lnTo>
                    <a:lnTo>
                      <a:pt x="181" y="230"/>
                    </a:lnTo>
                    <a:lnTo>
                      <a:pt x="179" y="233"/>
                    </a:lnTo>
                    <a:lnTo>
                      <a:pt x="179" y="237"/>
                    </a:lnTo>
                    <a:lnTo>
                      <a:pt x="183" y="237"/>
                    </a:lnTo>
                    <a:lnTo>
                      <a:pt x="189" y="237"/>
                    </a:lnTo>
                    <a:lnTo>
                      <a:pt x="191" y="240"/>
                    </a:lnTo>
                    <a:lnTo>
                      <a:pt x="194" y="242"/>
                    </a:lnTo>
                    <a:lnTo>
                      <a:pt x="194" y="245"/>
                    </a:lnTo>
                    <a:lnTo>
                      <a:pt x="196" y="245"/>
                    </a:lnTo>
                    <a:lnTo>
                      <a:pt x="199" y="251"/>
                    </a:lnTo>
                    <a:lnTo>
                      <a:pt x="202" y="251"/>
                    </a:lnTo>
                    <a:lnTo>
                      <a:pt x="201" y="253"/>
                    </a:lnTo>
                    <a:lnTo>
                      <a:pt x="202" y="255"/>
                    </a:lnTo>
                    <a:lnTo>
                      <a:pt x="206" y="255"/>
                    </a:lnTo>
                    <a:lnTo>
                      <a:pt x="207" y="256"/>
                    </a:lnTo>
                    <a:lnTo>
                      <a:pt x="209" y="260"/>
                    </a:lnTo>
                    <a:lnTo>
                      <a:pt x="212" y="263"/>
                    </a:lnTo>
                    <a:lnTo>
                      <a:pt x="212" y="268"/>
                    </a:lnTo>
                    <a:lnTo>
                      <a:pt x="214" y="271"/>
                    </a:lnTo>
                    <a:lnTo>
                      <a:pt x="215" y="276"/>
                    </a:lnTo>
                    <a:lnTo>
                      <a:pt x="209" y="282"/>
                    </a:lnTo>
                    <a:lnTo>
                      <a:pt x="206" y="289"/>
                    </a:lnTo>
                    <a:lnTo>
                      <a:pt x="204" y="287"/>
                    </a:lnTo>
                    <a:lnTo>
                      <a:pt x="201" y="291"/>
                    </a:lnTo>
                    <a:lnTo>
                      <a:pt x="199" y="292"/>
                    </a:lnTo>
                    <a:lnTo>
                      <a:pt x="199" y="294"/>
                    </a:lnTo>
                    <a:lnTo>
                      <a:pt x="196" y="296"/>
                    </a:lnTo>
                    <a:lnTo>
                      <a:pt x="196" y="296"/>
                    </a:lnTo>
                    <a:lnTo>
                      <a:pt x="192" y="299"/>
                    </a:lnTo>
                    <a:lnTo>
                      <a:pt x="191" y="300"/>
                    </a:lnTo>
                    <a:lnTo>
                      <a:pt x="188" y="302"/>
                    </a:lnTo>
                    <a:lnTo>
                      <a:pt x="184" y="302"/>
                    </a:lnTo>
                    <a:lnTo>
                      <a:pt x="178" y="302"/>
                    </a:lnTo>
                    <a:lnTo>
                      <a:pt x="174" y="304"/>
                    </a:lnTo>
                    <a:lnTo>
                      <a:pt x="173" y="304"/>
                    </a:lnTo>
                    <a:lnTo>
                      <a:pt x="171" y="304"/>
                    </a:lnTo>
                    <a:lnTo>
                      <a:pt x="170" y="304"/>
                    </a:lnTo>
                    <a:lnTo>
                      <a:pt x="166" y="305"/>
                    </a:lnTo>
                    <a:lnTo>
                      <a:pt x="166" y="309"/>
                    </a:lnTo>
                    <a:lnTo>
                      <a:pt x="165" y="309"/>
                    </a:lnTo>
                    <a:lnTo>
                      <a:pt x="161" y="307"/>
                    </a:lnTo>
                    <a:lnTo>
                      <a:pt x="161" y="304"/>
                    </a:lnTo>
                    <a:lnTo>
                      <a:pt x="158" y="304"/>
                    </a:lnTo>
                    <a:lnTo>
                      <a:pt x="157" y="304"/>
                    </a:lnTo>
                    <a:lnTo>
                      <a:pt x="152" y="302"/>
                    </a:lnTo>
                    <a:lnTo>
                      <a:pt x="148" y="302"/>
                    </a:lnTo>
                    <a:lnTo>
                      <a:pt x="147" y="304"/>
                    </a:lnTo>
                    <a:lnTo>
                      <a:pt x="147" y="305"/>
                    </a:lnTo>
                    <a:lnTo>
                      <a:pt x="147" y="307"/>
                    </a:lnTo>
                    <a:lnTo>
                      <a:pt x="147" y="307"/>
                    </a:lnTo>
                    <a:lnTo>
                      <a:pt x="145" y="307"/>
                    </a:lnTo>
                    <a:lnTo>
                      <a:pt x="142" y="307"/>
                    </a:lnTo>
                    <a:lnTo>
                      <a:pt x="142" y="307"/>
                    </a:lnTo>
                    <a:lnTo>
                      <a:pt x="140" y="305"/>
                    </a:lnTo>
                    <a:lnTo>
                      <a:pt x="140" y="302"/>
                    </a:lnTo>
                    <a:lnTo>
                      <a:pt x="139" y="302"/>
                    </a:lnTo>
                    <a:lnTo>
                      <a:pt x="139" y="299"/>
                    </a:lnTo>
                    <a:lnTo>
                      <a:pt x="137" y="297"/>
                    </a:lnTo>
                    <a:lnTo>
                      <a:pt x="132" y="296"/>
                    </a:lnTo>
                    <a:lnTo>
                      <a:pt x="132" y="294"/>
                    </a:lnTo>
                    <a:lnTo>
                      <a:pt x="129" y="292"/>
                    </a:lnTo>
                    <a:lnTo>
                      <a:pt x="127" y="289"/>
                    </a:lnTo>
                    <a:lnTo>
                      <a:pt x="125" y="287"/>
                    </a:lnTo>
                    <a:lnTo>
                      <a:pt x="122" y="287"/>
                    </a:lnTo>
                    <a:lnTo>
                      <a:pt x="121" y="289"/>
                    </a:lnTo>
                    <a:lnTo>
                      <a:pt x="119" y="291"/>
                    </a:lnTo>
                    <a:lnTo>
                      <a:pt x="116" y="292"/>
                    </a:lnTo>
                    <a:lnTo>
                      <a:pt x="116" y="292"/>
                    </a:lnTo>
                    <a:lnTo>
                      <a:pt x="114" y="291"/>
                    </a:lnTo>
                    <a:lnTo>
                      <a:pt x="112" y="291"/>
                    </a:lnTo>
                    <a:lnTo>
                      <a:pt x="109" y="291"/>
                    </a:lnTo>
                    <a:lnTo>
                      <a:pt x="108" y="292"/>
                    </a:lnTo>
                    <a:lnTo>
                      <a:pt x="106" y="294"/>
                    </a:lnTo>
                    <a:lnTo>
                      <a:pt x="104" y="294"/>
                    </a:lnTo>
                    <a:lnTo>
                      <a:pt x="101" y="294"/>
                    </a:lnTo>
                    <a:lnTo>
                      <a:pt x="98" y="291"/>
                    </a:lnTo>
                    <a:lnTo>
                      <a:pt x="96" y="289"/>
                    </a:lnTo>
                    <a:lnTo>
                      <a:pt x="94" y="287"/>
                    </a:lnTo>
                    <a:lnTo>
                      <a:pt x="93" y="286"/>
                    </a:lnTo>
                    <a:lnTo>
                      <a:pt x="91" y="284"/>
                    </a:lnTo>
                    <a:lnTo>
                      <a:pt x="91" y="284"/>
                    </a:lnTo>
                    <a:lnTo>
                      <a:pt x="91" y="282"/>
                    </a:lnTo>
                    <a:lnTo>
                      <a:pt x="90" y="281"/>
                    </a:lnTo>
                    <a:lnTo>
                      <a:pt x="86" y="279"/>
                    </a:lnTo>
                    <a:lnTo>
                      <a:pt x="85" y="278"/>
                    </a:lnTo>
                    <a:lnTo>
                      <a:pt x="85" y="273"/>
                    </a:lnTo>
                    <a:lnTo>
                      <a:pt x="85" y="271"/>
                    </a:lnTo>
                    <a:lnTo>
                      <a:pt x="83" y="269"/>
                    </a:lnTo>
                    <a:lnTo>
                      <a:pt x="78" y="268"/>
                    </a:lnTo>
                    <a:lnTo>
                      <a:pt x="76" y="266"/>
                    </a:lnTo>
                    <a:lnTo>
                      <a:pt x="76" y="263"/>
                    </a:lnTo>
                    <a:lnTo>
                      <a:pt x="75" y="261"/>
                    </a:lnTo>
                    <a:lnTo>
                      <a:pt x="72" y="261"/>
                    </a:lnTo>
                    <a:lnTo>
                      <a:pt x="70" y="260"/>
                    </a:lnTo>
                    <a:lnTo>
                      <a:pt x="70" y="255"/>
                    </a:lnTo>
                    <a:lnTo>
                      <a:pt x="68" y="253"/>
                    </a:lnTo>
                    <a:lnTo>
                      <a:pt x="63" y="250"/>
                    </a:lnTo>
                    <a:lnTo>
                      <a:pt x="63" y="250"/>
                    </a:lnTo>
                    <a:lnTo>
                      <a:pt x="60" y="248"/>
                    </a:lnTo>
                    <a:lnTo>
                      <a:pt x="59" y="248"/>
                    </a:lnTo>
                    <a:lnTo>
                      <a:pt x="57" y="248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5" y="243"/>
                    </a:lnTo>
                    <a:lnTo>
                      <a:pt x="57" y="240"/>
                    </a:lnTo>
                    <a:lnTo>
                      <a:pt x="57" y="238"/>
                    </a:lnTo>
                    <a:lnTo>
                      <a:pt x="57" y="237"/>
                    </a:lnTo>
                    <a:lnTo>
                      <a:pt x="54" y="237"/>
                    </a:lnTo>
                    <a:lnTo>
                      <a:pt x="50" y="235"/>
                    </a:lnTo>
                    <a:lnTo>
                      <a:pt x="49" y="233"/>
                    </a:lnTo>
                    <a:lnTo>
                      <a:pt x="47" y="232"/>
                    </a:lnTo>
                    <a:lnTo>
                      <a:pt x="44" y="232"/>
                    </a:lnTo>
                    <a:lnTo>
                      <a:pt x="41" y="230"/>
                    </a:lnTo>
                    <a:lnTo>
                      <a:pt x="37" y="227"/>
                    </a:lnTo>
                    <a:lnTo>
                      <a:pt x="37" y="224"/>
                    </a:lnTo>
                    <a:lnTo>
                      <a:pt x="39" y="222"/>
                    </a:lnTo>
                    <a:lnTo>
                      <a:pt x="37" y="220"/>
                    </a:lnTo>
                    <a:lnTo>
                      <a:pt x="32" y="220"/>
                    </a:lnTo>
                    <a:lnTo>
                      <a:pt x="31" y="222"/>
                    </a:lnTo>
                    <a:lnTo>
                      <a:pt x="28" y="222"/>
                    </a:lnTo>
                    <a:lnTo>
                      <a:pt x="24" y="220"/>
                    </a:lnTo>
                    <a:lnTo>
                      <a:pt x="24" y="215"/>
                    </a:lnTo>
                    <a:lnTo>
                      <a:pt x="26" y="212"/>
                    </a:lnTo>
                    <a:lnTo>
                      <a:pt x="28" y="211"/>
                    </a:lnTo>
                    <a:lnTo>
                      <a:pt x="28" y="207"/>
                    </a:lnTo>
                    <a:lnTo>
                      <a:pt x="26" y="206"/>
                    </a:lnTo>
                    <a:lnTo>
                      <a:pt x="24" y="199"/>
                    </a:lnTo>
                    <a:lnTo>
                      <a:pt x="19" y="193"/>
                    </a:lnTo>
                    <a:lnTo>
                      <a:pt x="19" y="191"/>
                    </a:lnTo>
                    <a:lnTo>
                      <a:pt x="16" y="188"/>
                    </a:lnTo>
                    <a:lnTo>
                      <a:pt x="16" y="188"/>
                    </a:lnTo>
                    <a:lnTo>
                      <a:pt x="16" y="184"/>
                    </a:lnTo>
                    <a:lnTo>
                      <a:pt x="14" y="183"/>
                    </a:lnTo>
                    <a:lnTo>
                      <a:pt x="14" y="183"/>
                    </a:lnTo>
                    <a:lnTo>
                      <a:pt x="14" y="179"/>
                    </a:lnTo>
                    <a:lnTo>
                      <a:pt x="16" y="178"/>
                    </a:lnTo>
                    <a:lnTo>
                      <a:pt x="14" y="175"/>
                    </a:lnTo>
                    <a:lnTo>
                      <a:pt x="10" y="173"/>
                    </a:lnTo>
                    <a:lnTo>
                      <a:pt x="8" y="171"/>
                    </a:lnTo>
                    <a:lnTo>
                      <a:pt x="8" y="166"/>
                    </a:lnTo>
                    <a:lnTo>
                      <a:pt x="6" y="163"/>
                    </a:lnTo>
                    <a:lnTo>
                      <a:pt x="8" y="162"/>
                    </a:lnTo>
                    <a:lnTo>
                      <a:pt x="6" y="160"/>
                    </a:lnTo>
                    <a:lnTo>
                      <a:pt x="8" y="158"/>
                    </a:lnTo>
                    <a:lnTo>
                      <a:pt x="8" y="157"/>
                    </a:lnTo>
                    <a:lnTo>
                      <a:pt x="6" y="157"/>
                    </a:lnTo>
                    <a:lnTo>
                      <a:pt x="3" y="158"/>
                    </a:lnTo>
                    <a:lnTo>
                      <a:pt x="0" y="157"/>
                    </a:lnTo>
                    <a:lnTo>
                      <a:pt x="0" y="153"/>
                    </a:lnTo>
                    <a:lnTo>
                      <a:pt x="5" y="147"/>
                    </a:lnTo>
                    <a:lnTo>
                      <a:pt x="6" y="145"/>
                    </a:lnTo>
                    <a:lnTo>
                      <a:pt x="6" y="142"/>
                    </a:lnTo>
                    <a:lnTo>
                      <a:pt x="3" y="140"/>
                    </a:lnTo>
                    <a:lnTo>
                      <a:pt x="5" y="137"/>
                    </a:lnTo>
                    <a:lnTo>
                      <a:pt x="8" y="135"/>
                    </a:lnTo>
                    <a:lnTo>
                      <a:pt x="10" y="132"/>
                    </a:lnTo>
                    <a:lnTo>
                      <a:pt x="8" y="130"/>
                    </a:lnTo>
                    <a:lnTo>
                      <a:pt x="6" y="129"/>
                    </a:lnTo>
                    <a:lnTo>
                      <a:pt x="10" y="126"/>
                    </a:lnTo>
                    <a:lnTo>
                      <a:pt x="11" y="126"/>
                    </a:lnTo>
                    <a:lnTo>
                      <a:pt x="16" y="119"/>
                    </a:lnTo>
                    <a:lnTo>
                      <a:pt x="18" y="114"/>
                    </a:lnTo>
                    <a:lnTo>
                      <a:pt x="16" y="113"/>
                    </a:lnTo>
                    <a:lnTo>
                      <a:pt x="16" y="109"/>
                    </a:lnTo>
                    <a:lnTo>
                      <a:pt x="19" y="106"/>
                    </a:lnTo>
                    <a:lnTo>
                      <a:pt x="24" y="106"/>
                    </a:lnTo>
                    <a:lnTo>
                      <a:pt x="26" y="108"/>
                    </a:lnTo>
                    <a:lnTo>
                      <a:pt x="29" y="106"/>
                    </a:lnTo>
                    <a:lnTo>
                      <a:pt x="32" y="104"/>
                    </a:lnTo>
                    <a:lnTo>
                      <a:pt x="31" y="41"/>
                    </a:lnTo>
                    <a:lnTo>
                      <a:pt x="31" y="41"/>
                    </a:lnTo>
                    <a:lnTo>
                      <a:pt x="31" y="36"/>
                    </a:lnTo>
                    <a:lnTo>
                      <a:pt x="45" y="34"/>
                    </a:ln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8" name="Freeform 251">
                <a:extLst>
                  <a:ext uri="{FF2B5EF4-FFF2-40B4-BE49-F238E27FC236}">
                    <a16:creationId xmlns:a16="http://schemas.microsoft.com/office/drawing/2014/main" xmlns="" id="{46F5151F-576D-4FD4-B40A-7EDBCF836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1812"/>
                <a:ext cx="242" cy="188"/>
              </a:xfrm>
              <a:custGeom>
                <a:avLst/>
                <a:gdLst>
                  <a:gd name="T0" fmla="*/ 33 w 242"/>
                  <a:gd name="T1" fmla="*/ 149 h 188"/>
                  <a:gd name="T2" fmla="*/ 28 w 242"/>
                  <a:gd name="T3" fmla="*/ 137 h 188"/>
                  <a:gd name="T4" fmla="*/ 22 w 242"/>
                  <a:gd name="T5" fmla="*/ 134 h 188"/>
                  <a:gd name="T6" fmla="*/ 17 w 242"/>
                  <a:gd name="T7" fmla="*/ 126 h 188"/>
                  <a:gd name="T8" fmla="*/ 12 w 242"/>
                  <a:gd name="T9" fmla="*/ 121 h 188"/>
                  <a:gd name="T10" fmla="*/ 0 w 242"/>
                  <a:gd name="T11" fmla="*/ 118 h 188"/>
                  <a:gd name="T12" fmla="*/ 4 w 242"/>
                  <a:gd name="T13" fmla="*/ 111 h 188"/>
                  <a:gd name="T14" fmla="*/ 10 w 242"/>
                  <a:gd name="T15" fmla="*/ 108 h 188"/>
                  <a:gd name="T16" fmla="*/ 15 w 242"/>
                  <a:gd name="T17" fmla="*/ 106 h 188"/>
                  <a:gd name="T18" fmla="*/ 18 w 242"/>
                  <a:gd name="T19" fmla="*/ 92 h 188"/>
                  <a:gd name="T20" fmla="*/ 22 w 242"/>
                  <a:gd name="T21" fmla="*/ 78 h 188"/>
                  <a:gd name="T22" fmla="*/ 25 w 242"/>
                  <a:gd name="T23" fmla="*/ 70 h 188"/>
                  <a:gd name="T24" fmla="*/ 28 w 242"/>
                  <a:gd name="T25" fmla="*/ 69 h 188"/>
                  <a:gd name="T26" fmla="*/ 38 w 242"/>
                  <a:gd name="T27" fmla="*/ 47 h 188"/>
                  <a:gd name="T28" fmla="*/ 43 w 242"/>
                  <a:gd name="T29" fmla="*/ 36 h 188"/>
                  <a:gd name="T30" fmla="*/ 48 w 242"/>
                  <a:gd name="T31" fmla="*/ 29 h 188"/>
                  <a:gd name="T32" fmla="*/ 54 w 242"/>
                  <a:gd name="T33" fmla="*/ 11 h 188"/>
                  <a:gd name="T34" fmla="*/ 61 w 242"/>
                  <a:gd name="T35" fmla="*/ 11 h 188"/>
                  <a:gd name="T36" fmla="*/ 69 w 242"/>
                  <a:gd name="T37" fmla="*/ 0 h 188"/>
                  <a:gd name="T38" fmla="*/ 77 w 242"/>
                  <a:gd name="T39" fmla="*/ 7 h 188"/>
                  <a:gd name="T40" fmla="*/ 87 w 242"/>
                  <a:gd name="T41" fmla="*/ 3 h 188"/>
                  <a:gd name="T42" fmla="*/ 92 w 242"/>
                  <a:gd name="T43" fmla="*/ 3 h 188"/>
                  <a:gd name="T44" fmla="*/ 100 w 242"/>
                  <a:gd name="T45" fmla="*/ 7 h 188"/>
                  <a:gd name="T46" fmla="*/ 110 w 242"/>
                  <a:gd name="T47" fmla="*/ 10 h 188"/>
                  <a:gd name="T48" fmla="*/ 121 w 242"/>
                  <a:gd name="T49" fmla="*/ 18 h 188"/>
                  <a:gd name="T50" fmla="*/ 125 w 242"/>
                  <a:gd name="T51" fmla="*/ 21 h 188"/>
                  <a:gd name="T52" fmla="*/ 136 w 242"/>
                  <a:gd name="T53" fmla="*/ 29 h 188"/>
                  <a:gd name="T54" fmla="*/ 141 w 242"/>
                  <a:gd name="T55" fmla="*/ 39 h 188"/>
                  <a:gd name="T56" fmla="*/ 144 w 242"/>
                  <a:gd name="T57" fmla="*/ 46 h 188"/>
                  <a:gd name="T58" fmla="*/ 142 w 242"/>
                  <a:gd name="T59" fmla="*/ 57 h 188"/>
                  <a:gd name="T60" fmla="*/ 138 w 242"/>
                  <a:gd name="T61" fmla="*/ 65 h 188"/>
                  <a:gd name="T62" fmla="*/ 149 w 242"/>
                  <a:gd name="T63" fmla="*/ 65 h 188"/>
                  <a:gd name="T64" fmla="*/ 156 w 242"/>
                  <a:gd name="T65" fmla="*/ 67 h 188"/>
                  <a:gd name="T66" fmla="*/ 164 w 242"/>
                  <a:gd name="T67" fmla="*/ 85 h 188"/>
                  <a:gd name="T68" fmla="*/ 170 w 242"/>
                  <a:gd name="T69" fmla="*/ 96 h 188"/>
                  <a:gd name="T70" fmla="*/ 242 w 242"/>
                  <a:gd name="T71" fmla="*/ 113 h 188"/>
                  <a:gd name="T72" fmla="*/ 172 w 242"/>
                  <a:gd name="T73" fmla="*/ 163 h 188"/>
                  <a:gd name="T74" fmla="*/ 162 w 242"/>
                  <a:gd name="T75" fmla="*/ 168 h 188"/>
                  <a:gd name="T76" fmla="*/ 154 w 242"/>
                  <a:gd name="T77" fmla="*/ 175 h 188"/>
                  <a:gd name="T78" fmla="*/ 142 w 242"/>
                  <a:gd name="T79" fmla="*/ 181 h 188"/>
                  <a:gd name="T80" fmla="*/ 133 w 242"/>
                  <a:gd name="T81" fmla="*/ 181 h 188"/>
                  <a:gd name="T82" fmla="*/ 126 w 242"/>
                  <a:gd name="T83" fmla="*/ 177 h 188"/>
                  <a:gd name="T84" fmla="*/ 115 w 242"/>
                  <a:gd name="T85" fmla="*/ 178 h 188"/>
                  <a:gd name="T86" fmla="*/ 105 w 242"/>
                  <a:gd name="T87" fmla="*/ 188 h 188"/>
                  <a:gd name="T88" fmla="*/ 97 w 242"/>
                  <a:gd name="T89" fmla="*/ 186 h 188"/>
                  <a:gd name="T90" fmla="*/ 84 w 242"/>
                  <a:gd name="T91" fmla="*/ 186 h 188"/>
                  <a:gd name="T92" fmla="*/ 76 w 242"/>
                  <a:gd name="T93" fmla="*/ 180 h 188"/>
                  <a:gd name="T94" fmla="*/ 58 w 242"/>
                  <a:gd name="T95" fmla="*/ 172 h 188"/>
                  <a:gd name="T96" fmla="*/ 46 w 242"/>
                  <a:gd name="T97" fmla="*/ 172 h 188"/>
                  <a:gd name="T98" fmla="*/ 41 w 242"/>
                  <a:gd name="T99" fmla="*/ 159 h 188"/>
                  <a:gd name="T100" fmla="*/ 36 w 242"/>
                  <a:gd name="T101" fmla="*/ 15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2" h="188">
                    <a:moveTo>
                      <a:pt x="36" y="157"/>
                    </a:moveTo>
                    <a:lnTo>
                      <a:pt x="35" y="152"/>
                    </a:lnTo>
                    <a:lnTo>
                      <a:pt x="33" y="149"/>
                    </a:lnTo>
                    <a:lnTo>
                      <a:pt x="33" y="144"/>
                    </a:lnTo>
                    <a:lnTo>
                      <a:pt x="30" y="141"/>
                    </a:lnTo>
                    <a:lnTo>
                      <a:pt x="28" y="137"/>
                    </a:lnTo>
                    <a:lnTo>
                      <a:pt x="27" y="136"/>
                    </a:lnTo>
                    <a:lnTo>
                      <a:pt x="23" y="136"/>
                    </a:lnTo>
                    <a:lnTo>
                      <a:pt x="22" y="134"/>
                    </a:lnTo>
                    <a:lnTo>
                      <a:pt x="23" y="132"/>
                    </a:lnTo>
                    <a:lnTo>
                      <a:pt x="20" y="132"/>
                    </a:lnTo>
                    <a:lnTo>
                      <a:pt x="17" y="126"/>
                    </a:lnTo>
                    <a:lnTo>
                      <a:pt x="15" y="126"/>
                    </a:lnTo>
                    <a:lnTo>
                      <a:pt x="15" y="123"/>
                    </a:lnTo>
                    <a:lnTo>
                      <a:pt x="12" y="121"/>
                    </a:lnTo>
                    <a:lnTo>
                      <a:pt x="10" y="118"/>
                    </a:lnTo>
                    <a:lnTo>
                      <a:pt x="4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1"/>
                    </a:lnTo>
                    <a:lnTo>
                      <a:pt x="4" y="111"/>
                    </a:lnTo>
                    <a:lnTo>
                      <a:pt x="4" y="108"/>
                    </a:lnTo>
                    <a:lnTo>
                      <a:pt x="7" y="108"/>
                    </a:lnTo>
                    <a:lnTo>
                      <a:pt x="10" y="108"/>
                    </a:lnTo>
                    <a:lnTo>
                      <a:pt x="12" y="108"/>
                    </a:lnTo>
                    <a:lnTo>
                      <a:pt x="15" y="108"/>
                    </a:lnTo>
                    <a:lnTo>
                      <a:pt x="15" y="106"/>
                    </a:lnTo>
                    <a:lnTo>
                      <a:pt x="17" y="105"/>
                    </a:lnTo>
                    <a:lnTo>
                      <a:pt x="18" y="98"/>
                    </a:lnTo>
                    <a:lnTo>
                      <a:pt x="18" y="92"/>
                    </a:lnTo>
                    <a:lnTo>
                      <a:pt x="18" y="87"/>
                    </a:lnTo>
                    <a:lnTo>
                      <a:pt x="22" y="83"/>
                    </a:lnTo>
                    <a:lnTo>
                      <a:pt x="22" y="78"/>
                    </a:lnTo>
                    <a:lnTo>
                      <a:pt x="20" y="77"/>
                    </a:lnTo>
                    <a:lnTo>
                      <a:pt x="22" y="74"/>
                    </a:lnTo>
                    <a:lnTo>
                      <a:pt x="25" y="70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8" y="69"/>
                    </a:lnTo>
                    <a:lnTo>
                      <a:pt x="31" y="56"/>
                    </a:lnTo>
                    <a:lnTo>
                      <a:pt x="33" y="51"/>
                    </a:lnTo>
                    <a:lnTo>
                      <a:pt x="38" y="47"/>
                    </a:lnTo>
                    <a:lnTo>
                      <a:pt x="38" y="46"/>
                    </a:lnTo>
                    <a:lnTo>
                      <a:pt x="41" y="39"/>
                    </a:lnTo>
                    <a:lnTo>
                      <a:pt x="43" y="36"/>
                    </a:lnTo>
                    <a:lnTo>
                      <a:pt x="44" y="34"/>
                    </a:lnTo>
                    <a:lnTo>
                      <a:pt x="46" y="36"/>
                    </a:lnTo>
                    <a:lnTo>
                      <a:pt x="48" y="29"/>
                    </a:lnTo>
                    <a:lnTo>
                      <a:pt x="53" y="23"/>
                    </a:lnTo>
                    <a:lnTo>
                      <a:pt x="53" y="16"/>
                    </a:lnTo>
                    <a:lnTo>
                      <a:pt x="54" y="11"/>
                    </a:lnTo>
                    <a:lnTo>
                      <a:pt x="56" y="11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2" y="10"/>
                    </a:lnTo>
                    <a:lnTo>
                      <a:pt x="64" y="10"/>
                    </a:lnTo>
                    <a:lnTo>
                      <a:pt x="69" y="0"/>
                    </a:lnTo>
                    <a:lnTo>
                      <a:pt x="71" y="2"/>
                    </a:lnTo>
                    <a:lnTo>
                      <a:pt x="71" y="3"/>
                    </a:lnTo>
                    <a:lnTo>
                      <a:pt x="77" y="7"/>
                    </a:lnTo>
                    <a:lnTo>
                      <a:pt x="80" y="7"/>
                    </a:lnTo>
                    <a:lnTo>
                      <a:pt x="84" y="3"/>
                    </a:lnTo>
                    <a:lnTo>
                      <a:pt x="87" y="3"/>
                    </a:lnTo>
                    <a:lnTo>
                      <a:pt x="89" y="5"/>
                    </a:lnTo>
                    <a:lnTo>
                      <a:pt x="90" y="3"/>
                    </a:lnTo>
                    <a:lnTo>
                      <a:pt x="92" y="3"/>
                    </a:lnTo>
                    <a:lnTo>
                      <a:pt x="97" y="8"/>
                    </a:lnTo>
                    <a:lnTo>
                      <a:pt x="98" y="7"/>
                    </a:lnTo>
                    <a:lnTo>
                      <a:pt x="100" y="7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0" y="10"/>
                    </a:lnTo>
                    <a:lnTo>
                      <a:pt x="115" y="15"/>
                    </a:lnTo>
                    <a:lnTo>
                      <a:pt x="116" y="18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5" y="20"/>
                    </a:lnTo>
                    <a:lnTo>
                      <a:pt x="125" y="21"/>
                    </a:lnTo>
                    <a:lnTo>
                      <a:pt x="129" y="25"/>
                    </a:lnTo>
                    <a:lnTo>
                      <a:pt x="133" y="28"/>
                    </a:lnTo>
                    <a:lnTo>
                      <a:pt x="136" y="29"/>
                    </a:lnTo>
                    <a:lnTo>
                      <a:pt x="139" y="34"/>
                    </a:lnTo>
                    <a:lnTo>
                      <a:pt x="139" y="36"/>
                    </a:lnTo>
                    <a:lnTo>
                      <a:pt x="141" y="39"/>
                    </a:lnTo>
                    <a:lnTo>
                      <a:pt x="142" y="39"/>
                    </a:lnTo>
                    <a:lnTo>
                      <a:pt x="147" y="44"/>
                    </a:lnTo>
                    <a:lnTo>
                      <a:pt x="144" y="46"/>
                    </a:lnTo>
                    <a:lnTo>
                      <a:pt x="142" y="49"/>
                    </a:lnTo>
                    <a:lnTo>
                      <a:pt x="142" y="52"/>
                    </a:lnTo>
                    <a:lnTo>
                      <a:pt x="142" y="57"/>
                    </a:lnTo>
                    <a:lnTo>
                      <a:pt x="141" y="59"/>
                    </a:lnTo>
                    <a:lnTo>
                      <a:pt x="141" y="62"/>
                    </a:lnTo>
                    <a:lnTo>
                      <a:pt x="138" y="65"/>
                    </a:lnTo>
                    <a:lnTo>
                      <a:pt x="139" y="69"/>
                    </a:lnTo>
                    <a:lnTo>
                      <a:pt x="146" y="67"/>
                    </a:lnTo>
                    <a:lnTo>
                      <a:pt x="149" y="65"/>
                    </a:lnTo>
                    <a:lnTo>
                      <a:pt x="154" y="64"/>
                    </a:lnTo>
                    <a:lnTo>
                      <a:pt x="157" y="65"/>
                    </a:lnTo>
                    <a:lnTo>
                      <a:pt x="156" y="67"/>
                    </a:lnTo>
                    <a:lnTo>
                      <a:pt x="157" y="74"/>
                    </a:lnTo>
                    <a:lnTo>
                      <a:pt x="159" y="83"/>
                    </a:lnTo>
                    <a:lnTo>
                      <a:pt x="164" y="85"/>
                    </a:lnTo>
                    <a:lnTo>
                      <a:pt x="162" y="90"/>
                    </a:lnTo>
                    <a:lnTo>
                      <a:pt x="165" y="95"/>
                    </a:lnTo>
                    <a:lnTo>
                      <a:pt x="170" y="96"/>
                    </a:lnTo>
                    <a:lnTo>
                      <a:pt x="175" y="100"/>
                    </a:lnTo>
                    <a:lnTo>
                      <a:pt x="221" y="114"/>
                    </a:lnTo>
                    <a:lnTo>
                      <a:pt x="242" y="113"/>
                    </a:lnTo>
                    <a:lnTo>
                      <a:pt x="191" y="163"/>
                    </a:lnTo>
                    <a:lnTo>
                      <a:pt x="182" y="163"/>
                    </a:lnTo>
                    <a:lnTo>
                      <a:pt x="172" y="163"/>
                    </a:lnTo>
                    <a:lnTo>
                      <a:pt x="170" y="165"/>
                    </a:lnTo>
                    <a:lnTo>
                      <a:pt x="167" y="167"/>
                    </a:lnTo>
                    <a:lnTo>
                      <a:pt x="162" y="168"/>
                    </a:lnTo>
                    <a:lnTo>
                      <a:pt x="162" y="172"/>
                    </a:lnTo>
                    <a:lnTo>
                      <a:pt x="159" y="173"/>
                    </a:lnTo>
                    <a:lnTo>
                      <a:pt x="154" y="175"/>
                    </a:lnTo>
                    <a:lnTo>
                      <a:pt x="149" y="177"/>
                    </a:lnTo>
                    <a:lnTo>
                      <a:pt x="144" y="178"/>
                    </a:lnTo>
                    <a:lnTo>
                      <a:pt x="142" y="181"/>
                    </a:lnTo>
                    <a:lnTo>
                      <a:pt x="142" y="181"/>
                    </a:lnTo>
                    <a:lnTo>
                      <a:pt x="139" y="181"/>
                    </a:lnTo>
                    <a:lnTo>
                      <a:pt x="133" y="181"/>
                    </a:lnTo>
                    <a:lnTo>
                      <a:pt x="129" y="181"/>
                    </a:lnTo>
                    <a:lnTo>
                      <a:pt x="128" y="177"/>
                    </a:lnTo>
                    <a:lnTo>
                      <a:pt x="126" y="177"/>
                    </a:lnTo>
                    <a:lnTo>
                      <a:pt x="118" y="177"/>
                    </a:lnTo>
                    <a:lnTo>
                      <a:pt x="116" y="178"/>
                    </a:lnTo>
                    <a:lnTo>
                      <a:pt x="115" y="178"/>
                    </a:lnTo>
                    <a:lnTo>
                      <a:pt x="111" y="180"/>
                    </a:lnTo>
                    <a:lnTo>
                      <a:pt x="110" y="181"/>
                    </a:lnTo>
                    <a:lnTo>
                      <a:pt x="105" y="188"/>
                    </a:lnTo>
                    <a:lnTo>
                      <a:pt x="102" y="188"/>
                    </a:lnTo>
                    <a:lnTo>
                      <a:pt x="100" y="188"/>
                    </a:lnTo>
                    <a:lnTo>
                      <a:pt x="97" y="186"/>
                    </a:lnTo>
                    <a:lnTo>
                      <a:pt x="93" y="188"/>
                    </a:lnTo>
                    <a:lnTo>
                      <a:pt x="89" y="186"/>
                    </a:lnTo>
                    <a:lnTo>
                      <a:pt x="84" y="186"/>
                    </a:lnTo>
                    <a:lnTo>
                      <a:pt x="82" y="185"/>
                    </a:lnTo>
                    <a:lnTo>
                      <a:pt x="79" y="183"/>
                    </a:lnTo>
                    <a:lnTo>
                      <a:pt x="76" y="180"/>
                    </a:lnTo>
                    <a:lnTo>
                      <a:pt x="69" y="173"/>
                    </a:lnTo>
                    <a:lnTo>
                      <a:pt x="66" y="172"/>
                    </a:lnTo>
                    <a:lnTo>
                      <a:pt x="58" y="172"/>
                    </a:lnTo>
                    <a:lnTo>
                      <a:pt x="54" y="170"/>
                    </a:lnTo>
                    <a:lnTo>
                      <a:pt x="49" y="172"/>
                    </a:lnTo>
                    <a:lnTo>
                      <a:pt x="46" y="172"/>
                    </a:lnTo>
                    <a:lnTo>
                      <a:pt x="44" y="168"/>
                    </a:lnTo>
                    <a:lnTo>
                      <a:pt x="44" y="159"/>
                    </a:lnTo>
                    <a:lnTo>
                      <a:pt x="41" y="159"/>
                    </a:lnTo>
                    <a:lnTo>
                      <a:pt x="38" y="159"/>
                    </a:lnTo>
                    <a:lnTo>
                      <a:pt x="36" y="155"/>
                    </a:lnTo>
                    <a:lnTo>
                      <a:pt x="36" y="15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9" name="Freeform 252">
                <a:extLst>
                  <a:ext uri="{FF2B5EF4-FFF2-40B4-BE49-F238E27FC236}">
                    <a16:creationId xmlns:a16="http://schemas.microsoft.com/office/drawing/2014/main" xmlns="" id="{C5957C16-AA1B-4DE8-9B7C-E5308DCD6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1760"/>
                <a:ext cx="104" cy="96"/>
              </a:xfrm>
              <a:custGeom>
                <a:avLst/>
                <a:gdLst>
                  <a:gd name="T0" fmla="*/ 89 w 104"/>
                  <a:gd name="T1" fmla="*/ 91 h 96"/>
                  <a:gd name="T2" fmla="*/ 86 w 104"/>
                  <a:gd name="T3" fmla="*/ 88 h 96"/>
                  <a:gd name="T4" fmla="*/ 83 w 104"/>
                  <a:gd name="T5" fmla="*/ 81 h 96"/>
                  <a:gd name="T6" fmla="*/ 76 w 104"/>
                  <a:gd name="T7" fmla="*/ 77 h 96"/>
                  <a:gd name="T8" fmla="*/ 72 w 104"/>
                  <a:gd name="T9" fmla="*/ 72 h 96"/>
                  <a:gd name="T10" fmla="*/ 68 w 104"/>
                  <a:gd name="T11" fmla="*/ 70 h 96"/>
                  <a:gd name="T12" fmla="*/ 62 w 104"/>
                  <a:gd name="T13" fmla="*/ 67 h 96"/>
                  <a:gd name="T14" fmla="*/ 54 w 104"/>
                  <a:gd name="T15" fmla="*/ 62 h 96"/>
                  <a:gd name="T16" fmla="*/ 47 w 104"/>
                  <a:gd name="T17" fmla="*/ 59 h 96"/>
                  <a:gd name="T18" fmla="*/ 44 w 104"/>
                  <a:gd name="T19" fmla="*/ 60 h 96"/>
                  <a:gd name="T20" fmla="*/ 37 w 104"/>
                  <a:gd name="T21" fmla="*/ 55 h 96"/>
                  <a:gd name="T22" fmla="*/ 34 w 104"/>
                  <a:gd name="T23" fmla="*/ 55 h 96"/>
                  <a:gd name="T24" fmla="*/ 27 w 104"/>
                  <a:gd name="T25" fmla="*/ 59 h 96"/>
                  <a:gd name="T26" fmla="*/ 18 w 104"/>
                  <a:gd name="T27" fmla="*/ 55 h 96"/>
                  <a:gd name="T28" fmla="*/ 16 w 104"/>
                  <a:gd name="T29" fmla="*/ 52 h 96"/>
                  <a:gd name="T30" fmla="*/ 9 w 104"/>
                  <a:gd name="T31" fmla="*/ 62 h 96"/>
                  <a:gd name="T32" fmla="*/ 5 w 104"/>
                  <a:gd name="T33" fmla="*/ 63 h 96"/>
                  <a:gd name="T34" fmla="*/ 1 w 104"/>
                  <a:gd name="T35" fmla="*/ 60 h 96"/>
                  <a:gd name="T36" fmla="*/ 0 w 104"/>
                  <a:gd name="T37" fmla="*/ 49 h 96"/>
                  <a:gd name="T38" fmla="*/ 1 w 104"/>
                  <a:gd name="T39" fmla="*/ 44 h 96"/>
                  <a:gd name="T40" fmla="*/ 5 w 104"/>
                  <a:gd name="T41" fmla="*/ 32 h 96"/>
                  <a:gd name="T42" fmla="*/ 8 w 104"/>
                  <a:gd name="T43" fmla="*/ 26 h 96"/>
                  <a:gd name="T44" fmla="*/ 6 w 104"/>
                  <a:gd name="T45" fmla="*/ 23 h 96"/>
                  <a:gd name="T46" fmla="*/ 8 w 104"/>
                  <a:gd name="T47" fmla="*/ 16 h 96"/>
                  <a:gd name="T48" fmla="*/ 13 w 104"/>
                  <a:gd name="T49" fmla="*/ 14 h 96"/>
                  <a:gd name="T50" fmla="*/ 13 w 104"/>
                  <a:gd name="T51" fmla="*/ 11 h 96"/>
                  <a:gd name="T52" fmla="*/ 16 w 104"/>
                  <a:gd name="T53" fmla="*/ 10 h 96"/>
                  <a:gd name="T54" fmla="*/ 21 w 104"/>
                  <a:gd name="T55" fmla="*/ 8 h 96"/>
                  <a:gd name="T56" fmla="*/ 26 w 104"/>
                  <a:gd name="T57" fmla="*/ 5 h 96"/>
                  <a:gd name="T58" fmla="*/ 31 w 104"/>
                  <a:gd name="T59" fmla="*/ 0 h 96"/>
                  <a:gd name="T60" fmla="*/ 34 w 104"/>
                  <a:gd name="T61" fmla="*/ 5 h 96"/>
                  <a:gd name="T62" fmla="*/ 42 w 104"/>
                  <a:gd name="T63" fmla="*/ 34 h 96"/>
                  <a:gd name="T64" fmla="*/ 45 w 104"/>
                  <a:gd name="T65" fmla="*/ 39 h 96"/>
                  <a:gd name="T66" fmla="*/ 47 w 104"/>
                  <a:gd name="T67" fmla="*/ 41 h 96"/>
                  <a:gd name="T68" fmla="*/ 49 w 104"/>
                  <a:gd name="T69" fmla="*/ 49 h 96"/>
                  <a:gd name="T70" fmla="*/ 52 w 104"/>
                  <a:gd name="T71" fmla="*/ 46 h 96"/>
                  <a:gd name="T72" fmla="*/ 50 w 104"/>
                  <a:gd name="T73" fmla="*/ 42 h 96"/>
                  <a:gd name="T74" fmla="*/ 55 w 104"/>
                  <a:gd name="T75" fmla="*/ 46 h 96"/>
                  <a:gd name="T76" fmla="*/ 57 w 104"/>
                  <a:gd name="T77" fmla="*/ 50 h 96"/>
                  <a:gd name="T78" fmla="*/ 60 w 104"/>
                  <a:gd name="T79" fmla="*/ 52 h 96"/>
                  <a:gd name="T80" fmla="*/ 63 w 104"/>
                  <a:gd name="T81" fmla="*/ 52 h 96"/>
                  <a:gd name="T82" fmla="*/ 68 w 104"/>
                  <a:gd name="T83" fmla="*/ 55 h 96"/>
                  <a:gd name="T84" fmla="*/ 75 w 104"/>
                  <a:gd name="T85" fmla="*/ 59 h 96"/>
                  <a:gd name="T86" fmla="*/ 81 w 104"/>
                  <a:gd name="T87" fmla="*/ 65 h 96"/>
                  <a:gd name="T88" fmla="*/ 86 w 104"/>
                  <a:gd name="T89" fmla="*/ 72 h 96"/>
                  <a:gd name="T90" fmla="*/ 89 w 104"/>
                  <a:gd name="T91" fmla="*/ 73 h 96"/>
                  <a:gd name="T92" fmla="*/ 91 w 104"/>
                  <a:gd name="T93" fmla="*/ 75 h 96"/>
                  <a:gd name="T94" fmla="*/ 96 w 104"/>
                  <a:gd name="T95" fmla="*/ 81 h 96"/>
                  <a:gd name="T96" fmla="*/ 98 w 104"/>
                  <a:gd name="T97" fmla="*/ 86 h 96"/>
                  <a:gd name="T98" fmla="*/ 101 w 104"/>
                  <a:gd name="T99" fmla="*/ 90 h 96"/>
                  <a:gd name="T100" fmla="*/ 103 w 104"/>
                  <a:gd name="T101" fmla="*/ 88 h 96"/>
                  <a:gd name="T102" fmla="*/ 104 w 104"/>
                  <a:gd name="T103" fmla="*/ 90 h 96"/>
                  <a:gd name="T104" fmla="*/ 99 w 104"/>
                  <a:gd name="T105" fmla="*/ 95 h 96"/>
                  <a:gd name="T106" fmla="*/ 94 w 104"/>
                  <a:gd name="T10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4" h="96">
                    <a:moveTo>
                      <a:pt x="94" y="96"/>
                    </a:moveTo>
                    <a:lnTo>
                      <a:pt x="89" y="91"/>
                    </a:lnTo>
                    <a:lnTo>
                      <a:pt x="88" y="91"/>
                    </a:lnTo>
                    <a:lnTo>
                      <a:pt x="86" y="88"/>
                    </a:lnTo>
                    <a:lnTo>
                      <a:pt x="86" y="86"/>
                    </a:lnTo>
                    <a:lnTo>
                      <a:pt x="83" y="81"/>
                    </a:lnTo>
                    <a:lnTo>
                      <a:pt x="80" y="80"/>
                    </a:lnTo>
                    <a:lnTo>
                      <a:pt x="76" y="77"/>
                    </a:lnTo>
                    <a:lnTo>
                      <a:pt x="72" y="73"/>
                    </a:lnTo>
                    <a:lnTo>
                      <a:pt x="72" y="72"/>
                    </a:lnTo>
                    <a:lnTo>
                      <a:pt x="68" y="72"/>
                    </a:lnTo>
                    <a:lnTo>
                      <a:pt x="68" y="70"/>
                    </a:lnTo>
                    <a:lnTo>
                      <a:pt x="63" y="70"/>
                    </a:lnTo>
                    <a:lnTo>
                      <a:pt x="62" y="67"/>
                    </a:lnTo>
                    <a:lnTo>
                      <a:pt x="57" y="62"/>
                    </a:lnTo>
                    <a:lnTo>
                      <a:pt x="54" y="62"/>
                    </a:lnTo>
                    <a:lnTo>
                      <a:pt x="50" y="59"/>
                    </a:lnTo>
                    <a:lnTo>
                      <a:pt x="47" y="59"/>
                    </a:lnTo>
                    <a:lnTo>
                      <a:pt x="45" y="59"/>
                    </a:lnTo>
                    <a:lnTo>
                      <a:pt x="44" y="60"/>
                    </a:lnTo>
                    <a:lnTo>
                      <a:pt x="39" y="55"/>
                    </a:lnTo>
                    <a:lnTo>
                      <a:pt x="37" y="55"/>
                    </a:lnTo>
                    <a:lnTo>
                      <a:pt x="36" y="57"/>
                    </a:lnTo>
                    <a:lnTo>
                      <a:pt x="34" y="55"/>
                    </a:lnTo>
                    <a:lnTo>
                      <a:pt x="31" y="55"/>
                    </a:lnTo>
                    <a:lnTo>
                      <a:pt x="27" y="59"/>
                    </a:lnTo>
                    <a:lnTo>
                      <a:pt x="24" y="59"/>
                    </a:lnTo>
                    <a:lnTo>
                      <a:pt x="18" y="55"/>
                    </a:lnTo>
                    <a:lnTo>
                      <a:pt x="18" y="54"/>
                    </a:lnTo>
                    <a:lnTo>
                      <a:pt x="16" y="52"/>
                    </a:lnTo>
                    <a:lnTo>
                      <a:pt x="11" y="62"/>
                    </a:lnTo>
                    <a:lnTo>
                      <a:pt x="9" y="62"/>
                    </a:lnTo>
                    <a:lnTo>
                      <a:pt x="8" y="63"/>
                    </a:lnTo>
                    <a:lnTo>
                      <a:pt x="5" y="63"/>
                    </a:lnTo>
                    <a:lnTo>
                      <a:pt x="1" y="63"/>
                    </a:lnTo>
                    <a:lnTo>
                      <a:pt x="1" y="60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1" y="47"/>
                    </a:lnTo>
                    <a:lnTo>
                      <a:pt x="1" y="44"/>
                    </a:lnTo>
                    <a:lnTo>
                      <a:pt x="3" y="41"/>
                    </a:lnTo>
                    <a:lnTo>
                      <a:pt x="5" y="32"/>
                    </a:lnTo>
                    <a:lnTo>
                      <a:pt x="6" y="28"/>
                    </a:lnTo>
                    <a:lnTo>
                      <a:pt x="8" y="26"/>
                    </a:lnTo>
                    <a:lnTo>
                      <a:pt x="6" y="24"/>
                    </a:lnTo>
                    <a:lnTo>
                      <a:pt x="6" y="23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9" y="14"/>
                    </a:lnTo>
                    <a:lnTo>
                      <a:pt x="13" y="14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6" y="5"/>
                    </a:lnTo>
                    <a:lnTo>
                      <a:pt x="27" y="3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4" y="5"/>
                    </a:lnTo>
                    <a:lnTo>
                      <a:pt x="40" y="23"/>
                    </a:lnTo>
                    <a:lnTo>
                      <a:pt x="42" y="34"/>
                    </a:lnTo>
                    <a:lnTo>
                      <a:pt x="44" y="34"/>
                    </a:lnTo>
                    <a:lnTo>
                      <a:pt x="45" y="39"/>
                    </a:lnTo>
                    <a:lnTo>
                      <a:pt x="45" y="41"/>
                    </a:lnTo>
                    <a:lnTo>
                      <a:pt x="47" y="41"/>
                    </a:lnTo>
                    <a:lnTo>
                      <a:pt x="49" y="44"/>
                    </a:lnTo>
                    <a:lnTo>
                      <a:pt x="49" y="49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46"/>
                    </a:lnTo>
                    <a:lnTo>
                      <a:pt x="50" y="42"/>
                    </a:lnTo>
                    <a:lnTo>
                      <a:pt x="52" y="42"/>
                    </a:lnTo>
                    <a:lnTo>
                      <a:pt x="55" y="46"/>
                    </a:lnTo>
                    <a:lnTo>
                      <a:pt x="54" y="47"/>
                    </a:lnTo>
                    <a:lnTo>
                      <a:pt x="57" y="50"/>
                    </a:lnTo>
                    <a:lnTo>
                      <a:pt x="58" y="54"/>
                    </a:lnTo>
                    <a:lnTo>
                      <a:pt x="60" y="52"/>
                    </a:lnTo>
                    <a:lnTo>
                      <a:pt x="62" y="52"/>
                    </a:lnTo>
                    <a:lnTo>
                      <a:pt x="63" y="52"/>
                    </a:lnTo>
                    <a:lnTo>
                      <a:pt x="65" y="52"/>
                    </a:lnTo>
                    <a:lnTo>
                      <a:pt x="68" y="55"/>
                    </a:lnTo>
                    <a:lnTo>
                      <a:pt x="70" y="57"/>
                    </a:lnTo>
                    <a:lnTo>
                      <a:pt x="75" y="59"/>
                    </a:lnTo>
                    <a:lnTo>
                      <a:pt x="75" y="60"/>
                    </a:lnTo>
                    <a:lnTo>
                      <a:pt x="81" y="65"/>
                    </a:lnTo>
                    <a:lnTo>
                      <a:pt x="83" y="70"/>
                    </a:lnTo>
                    <a:lnTo>
                      <a:pt x="86" y="72"/>
                    </a:lnTo>
                    <a:lnTo>
                      <a:pt x="88" y="73"/>
                    </a:lnTo>
                    <a:lnTo>
                      <a:pt x="89" y="73"/>
                    </a:lnTo>
                    <a:lnTo>
                      <a:pt x="89" y="73"/>
                    </a:lnTo>
                    <a:lnTo>
                      <a:pt x="91" y="75"/>
                    </a:lnTo>
                    <a:lnTo>
                      <a:pt x="93" y="81"/>
                    </a:lnTo>
                    <a:lnTo>
                      <a:pt x="96" y="81"/>
                    </a:lnTo>
                    <a:lnTo>
                      <a:pt x="98" y="85"/>
                    </a:lnTo>
                    <a:lnTo>
                      <a:pt x="98" y="86"/>
                    </a:lnTo>
                    <a:lnTo>
                      <a:pt x="99" y="90"/>
                    </a:lnTo>
                    <a:lnTo>
                      <a:pt x="101" y="90"/>
                    </a:lnTo>
                    <a:lnTo>
                      <a:pt x="103" y="90"/>
                    </a:lnTo>
                    <a:lnTo>
                      <a:pt x="103" y="88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1" y="93"/>
                    </a:lnTo>
                    <a:lnTo>
                      <a:pt x="99" y="95"/>
                    </a:lnTo>
                    <a:lnTo>
                      <a:pt x="98" y="96"/>
                    </a:lnTo>
                    <a:lnTo>
                      <a:pt x="94" y="9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0" name="Freeform 253">
                <a:extLst>
                  <a:ext uri="{FF2B5EF4-FFF2-40B4-BE49-F238E27FC236}">
                    <a16:creationId xmlns:a16="http://schemas.microsoft.com/office/drawing/2014/main" xmlns="" id="{52114F69-3AD4-46C6-A8F7-3616C7F1E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850"/>
                <a:ext cx="24" cy="31"/>
              </a:xfrm>
              <a:custGeom>
                <a:avLst/>
                <a:gdLst>
                  <a:gd name="T0" fmla="*/ 19 w 24"/>
                  <a:gd name="T1" fmla="*/ 27 h 31"/>
                  <a:gd name="T2" fmla="*/ 16 w 24"/>
                  <a:gd name="T3" fmla="*/ 26 h 31"/>
                  <a:gd name="T4" fmla="*/ 11 w 24"/>
                  <a:gd name="T5" fmla="*/ 27 h 31"/>
                  <a:gd name="T6" fmla="*/ 8 w 24"/>
                  <a:gd name="T7" fmla="*/ 29 h 31"/>
                  <a:gd name="T8" fmla="*/ 1 w 24"/>
                  <a:gd name="T9" fmla="*/ 31 h 31"/>
                  <a:gd name="T10" fmla="*/ 0 w 24"/>
                  <a:gd name="T11" fmla="*/ 27 h 31"/>
                  <a:gd name="T12" fmla="*/ 3 w 24"/>
                  <a:gd name="T13" fmla="*/ 24 h 31"/>
                  <a:gd name="T14" fmla="*/ 3 w 24"/>
                  <a:gd name="T15" fmla="*/ 21 h 31"/>
                  <a:gd name="T16" fmla="*/ 4 w 24"/>
                  <a:gd name="T17" fmla="*/ 19 h 31"/>
                  <a:gd name="T18" fmla="*/ 4 w 24"/>
                  <a:gd name="T19" fmla="*/ 14 h 31"/>
                  <a:gd name="T20" fmla="*/ 4 w 24"/>
                  <a:gd name="T21" fmla="*/ 11 h 31"/>
                  <a:gd name="T22" fmla="*/ 6 w 24"/>
                  <a:gd name="T23" fmla="*/ 8 h 31"/>
                  <a:gd name="T24" fmla="*/ 13 w 24"/>
                  <a:gd name="T25" fmla="*/ 6 h 31"/>
                  <a:gd name="T26" fmla="*/ 14 w 24"/>
                  <a:gd name="T27" fmla="*/ 5 h 31"/>
                  <a:gd name="T28" fmla="*/ 16 w 24"/>
                  <a:gd name="T29" fmla="*/ 3 h 31"/>
                  <a:gd name="T30" fmla="*/ 19 w 24"/>
                  <a:gd name="T31" fmla="*/ 0 h 31"/>
                  <a:gd name="T32" fmla="*/ 19 w 24"/>
                  <a:gd name="T33" fmla="*/ 0 h 31"/>
                  <a:gd name="T34" fmla="*/ 19 w 24"/>
                  <a:gd name="T35" fmla="*/ 1 h 31"/>
                  <a:gd name="T36" fmla="*/ 22 w 24"/>
                  <a:gd name="T37" fmla="*/ 5 h 31"/>
                  <a:gd name="T38" fmla="*/ 24 w 24"/>
                  <a:gd name="T39" fmla="*/ 5 h 31"/>
                  <a:gd name="T40" fmla="*/ 24 w 24"/>
                  <a:gd name="T41" fmla="*/ 6 h 31"/>
                  <a:gd name="T42" fmla="*/ 24 w 24"/>
                  <a:gd name="T43" fmla="*/ 11 h 31"/>
                  <a:gd name="T44" fmla="*/ 22 w 24"/>
                  <a:gd name="T45" fmla="*/ 13 h 31"/>
                  <a:gd name="T46" fmla="*/ 19 w 24"/>
                  <a:gd name="T47" fmla="*/ 16 h 31"/>
                  <a:gd name="T48" fmla="*/ 18 w 24"/>
                  <a:gd name="T49" fmla="*/ 16 h 31"/>
                  <a:gd name="T50" fmla="*/ 16 w 24"/>
                  <a:gd name="T51" fmla="*/ 18 h 31"/>
                  <a:gd name="T52" fmla="*/ 13 w 24"/>
                  <a:gd name="T53" fmla="*/ 18 h 31"/>
                  <a:gd name="T54" fmla="*/ 14 w 24"/>
                  <a:gd name="T55" fmla="*/ 21 h 31"/>
                  <a:gd name="T56" fmla="*/ 16 w 24"/>
                  <a:gd name="T57" fmla="*/ 21 h 31"/>
                  <a:gd name="T58" fmla="*/ 18 w 24"/>
                  <a:gd name="T59" fmla="*/ 19 h 31"/>
                  <a:gd name="T60" fmla="*/ 22 w 24"/>
                  <a:gd name="T61" fmla="*/ 19 h 31"/>
                  <a:gd name="T62" fmla="*/ 22 w 24"/>
                  <a:gd name="T63" fmla="*/ 21 h 31"/>
                  <a:gd name="T64" fmla="*/ 19 w 24"/>
                  <a:gd name="T65" fmla="*/ 27 h 31"/>
                  <a:gd name="T66" fmla="*/ 19 w 24"/>
                  <a:gd name="T67" fmla="*/ 2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19" y="27"/>
                    </a:moveTo>
                    <a:lnTo>
                      <a:pt x="16" y="26"/>
                    </a:lnTo>
                    <a:lnTo>
                      <a:pt x="11" y="27"/>
                    </a:lnTo>
                    <a:lnTo>
                      <a:pt x="8" y="29"/>
                    </a:lnTo>
                    <a:lnTo>
                      <a:pt x="1" y="31"/>
                    </a:lnTo>
                    <a:lnTo>
                      <a:pt x="0" y="27"/>
                    </a:lnTo>
                    <a:lnTo>
                      <a:pt x="3" y="24"/>
                    </a:lnTo>
                    <a:lnTo>
                      <a:pt x="3" y="21"/>
                    </a:lnTo>
                    <a:lnTo>
                      <a:pt x="4" y="19"/>
                    </a:lnTo>
                    <a:lnTo>
                      <a:pt x="4" y="14"/>
                    </a:lnTo>
                    <a:lnTo>
                      <a:pt x="4" y="11"/>
                    </a:lnTo>
                    <a:lnTo>
                      <a:pt x="6" y="8"/>
                    </a:lnTo>
                    <a:lnTo>
                      <a:pt x="13" y="6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22" y="5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6" y="18"/>
                    </a:lnTo>
                    <a:lnTo>
                      <a:pt x="13" y="18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19"/>
                    </a:lnTo>
                    <a:lnTo>
                      <a:pt x="22" y="19"/>
                    </a:lnTo>
                    <a:lnTo>
                      <a:pt x="22" y="21"/>
                    </a:lnTo>
                    <a:lnTo>
                      <a:pt x="19" y="27"/>
                    </a:lnTo>
                    <a:lnTo>
                      <a:pt x="19" y="2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1" name="Freeform 254">
                <a:extLst>
                  <a:ext uri="{FF2B5EF4-FFF2-40B4-BE49-F238E27FC236}">
                    <a16:creationId xmlns:a16="http://schemas.microsoft.com/office/drawing/2014/main" xmlns="" id="{403C7F56-2CBD-4BAE-B603-F3E84783F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1863"/>
                <a:ext cx="161" cy="219"/>
              </a:xfrm>
              <a:custGeom>
                <a:avLst/>
                <a:gdLst>
                  <a:gd name="T0" fmla="*/ 16 w 161"/>
                  <a:gd name="T1" fmla="*/ 127 h 219"/>
                  <a:gd name="T2" fmla="*/ 31 w 161"/>
                  <a:gd name="T3" fmla="*/ 122 h 219"/>
                  <a:gd name="T4" fmla="*/ 39 w 161"/>
                  <a:gd name="T5" fmla="*/ 116 h 219"/>
                  <a:gd name="T6" fmla="*/ 54 w 161"/>
                  <a:gd name="T7" fmla="*/ 112 h 219"/>
                  <a:gd name="T8" fmla="*/ 93 w 161"/>
                  <a:gd name="T9" fmla="*/ 63 h 219"/>
                  <a:gd name="T10" fmla="*/ 37 w 161"/>
                  <a:gd name="T11" fmla="*/ 44 h 219"/>
                  <a:gd name="T12" fmla="*/ 31 w 161"/>
                  <a:gd name="T13" fmla="*/ 32 h 219"/>
                  <a:gd name="T14" fmla="*/ 29 w 161"/>
                  <a:gd name="T15" fmla="*/ 14 h 219"/>
                  <a:gd name="T16" fmla="*/ 34 w 161"/>
                  <a:gd name="T17" fmla="*/ 9 h 219"/>
                  <a:gd name="T18" fmla="*/ 47 w 161"/>
                  <a:gd name="T19" fmla="*/ 23 h 219"/>
                  <a:gd name="T20" fmla="*/ 59 w 161"/>
                  <a:gd name="T21" fmla="*/ 27 h 219"/>
                  <a:gd name="T22" fmla="*/ 67 w 161"/>
                  <a:gd name="T23" fmla="*/ 23 h 219"/>
                  <a:gd name="T24" fmla="*/ 75 w 161"/>
                  <a:gd name="T25" fmla="*/ 19 h 219"/>
                  <a:gd name="T26" fmla="*/ 85 w 161"/>
                  <a:gd name="T27" fmla="*/ 21 h 219"/>
                  <a:gd name="T28" fmla="*/ 101 w 161"/>
                  <a:gd name="T29" fmla="*/ 13 h 219"/>
                  <a:gd name="T30" fmla="*/ 111 w 161"/>
                  <a:gd name="T31" fmla="*/ 14 h 219"/>
                  <a:gd name="T32" fmla="*/ 122 w 161"/>
                  <a:gd name="T33" fmla="*/ 13 h 219"/>
                  <a:gd name="T34" fmla="*/ 134 w 161"/>
                  <a:gd name="T35" fmla="*/ 8 h 219"/>
                  <a:gd name="T36" fmla="*/ 140 w 161"/>
                  <a:gd name="T37" fmla="*/ 8 h 219"/>
                  <a:gd name="T38" fmla="*/ 148 w 161"/>
                  <a:gd name="T39" fmla="*/ 5 h 219"/>
                  <a:gd name="T40" fmla="*/ 152 w 161"/>
                  <a:gd name="T41" fmla="*/ 0 h 219"/>
                  <a:gd name="T42" fmla="*/ 155 w 161"/>
                  <a:gd name="T43" fmla="*/ 1 h 219"/>
                  <a:gd name="T44" fmla="*/ 161 w 161"/>
                  <a:gd name="T45" fmla="*/ 3 h 219"/>
                  <a:gd name="T46" fmla="*/ 158 w 161"/>
                  <a:gd name="T47" fmla="*/ 9 h 219"/>
                  <a:gd name="T48" fmla="*/ 160 w 161"/>
                  <a:gd name="T49" fmla="*/ 13 h 219"/>
                  <a:gd name="T50" fmla="*/ 157 w 161"/>
                  <a:gd name="T51" fmla="*/ 19 h 219"/>
                  <a:gd name="T52" fmla="*/ 158 w 161"/>
                  <a:gd name="T53" fmla="*/ 26 h 219"/>
                  <a:gd name="T54" fmla="*/ 161 w 161"/>
                  <a:gd name="T55" fmla="*/ 26 h 219"/>
                  <a:gd name="T56" fmla="*/ 160 w 161"/>
                  <a:gd name="T57" fmla="*/ 27 h 219"/>
                  <a:gd name="T58" fmla="*/ 155 w 161"/>
                  <a:gd name="T59" fmla="*/ 31 h 219"/>
                  <a:gd name="T60" fmla="*/ 155 w 161"/>
                  <a:gd name="T61" fmla="*/ 39 h 219"/>
                  <a:gd name="T62" fmla="*/ 145 w 161"/>
                  <a:gd name="T63" fmla="*/ 59 h 219"/>
                  <a:gd name="T64" fmla="*/ 139 w 161"/>
                  <a:gd name="T65" fmla="*/ 65 h 219"/>
                  <a:gd name="T66" fmla="*/ 139 w 161"/>
                  <a:gd name="T67" fmla="*/ 72 h 219"/>
                  <a:gd name="T68" fmla="*/ 122 w 161"/>
                  <a:gd name="T69" fmla="*/ 103 h 219"/>
                  <a:gd name="T70" fmla="*/ 111 w 161"/>
                  <a:gd name="T71" fmla="*/ 124 h 219"/>
                  <a:gd name="T72" fmla="*/ 80 w 161"/>
                  <a:gd name="T73" fmla="*/ 155 h 219"/>
                  <a:gd name="T74" fmla="*/ 63 w 161"/>
                  <a:gd name="T75" fmla="*/ 166 h 219"/>
                  <a:gd name="T76" fmla="*/ 44 w 161"/>
                  <a:gd name="T77" fmla="*/ 183 h 219"/>
                  <a:gd name="T78" fmla="*/ 32 w 161"/>
                  <a:gd name="T79" fmla="*/ 196 h 219"/>
                  <a:gd name="T80" fmla="*/ 24 w 161"/>
                  <a:gd name="T81" fmla="*/ 204 h 219"/>
                  <a:gd name="T82" fmla="*/ 0 w 161"/>
                  <a:gd name="T83" fmla="*/ 209 h 219"/>
                  <a:gd name="T84" fmla="*/ 14 w 161"/>
                  <a:gd name="T85" fmla="*/ 13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1" h="219">
                    <a:moveTo>
                      <a:pt x="14" y="130"/>
                    </a:moveTo>
                    <a:lnTo>
                      <a:pt x="14" y="130"/>
                    </a:lnTo>
                    <a:lnTo>
                      <a:pt x="16" y="127"/>
                    </a:lnTo>
                    <a:lnTo>
                      <a:pt x="21" y="126"/>
                    </a:lnTo>
                    <a:lnTo>
                      <a:pt x="26" y="124"/>
                    </a:lnTo>
                    <a:lnTo>
                      <a:pt x="31" y="122"/>
                    </a:lnTo>
                    <a:lnTo>
                      <a:pt x="34" y="121"/>
                    </a:lnTo>
                    <a:lnTo>
                      <a:pt x="34" y="117"/>
                    </a:lnTo>
                    <a:lnTo>
                      <a:pt x="39" y="116"/>
                    </a:lnTo>
                    <a:lnTo>
                      <a:pt x="42" y="114"/>
                    </a:lnTo>
                    <a:lnTo>
                      <a:pt x="44" y="112"/>
                    </a:lnTo>
                    <a:lnTo>
                      <a:pt x="54" y="112"/>
                    </a:lnTo>
                    <a:lnTo>
                      <a:pt x="63" y="112"/>
                    </a:lnTo>
                    <a:lnTo>
                      <a:pt x="114" y="62"/>
                    </a:lnTo>
                    <a:lnTo>
                      <a:pt x="93" y="63"/>
                    </a:lnTo>
                    <a:lnTo>
                      <a:pt x="47" y="49"/>
                    </a:lnTo>
                    <a:lnTo>
                      <a:pt x="42" y="45"/>
                    </a:lnTo>
                    <a:lnTo>
                      <a:pt x="37" y="44"/>
                    </a:lnTo>
                    <a:lnTo>
                      <a:pt x="34" y="39"/>
                    </a:lnTo>
                    <a:lnTo>
                      <a:pt x="36" y="34"/>
                    </a:lnTo>
                    <a:lnTo>
                      <a:pt x="31" y="32"/>
                    </a:lnTo>
                    <a:lnTo>
                      <a:pt x="29" y="2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2" y="8"/>
                    </a:lnTo>
                    <a:lnTo>
                      <a:pt x="34" y="9"/>
                    </a:lnTo>
                    <a:lnTo>
                      <a:pt x="34" y="9"/>
                    </a:lnTo>
                    <a:lnTo>
                      <a:pt x="44" y="21"/>
                    </a:lnTo>
                    <a:lnTo>
                      <a:pt x="46" y="23"/>
                    </a:lnTo>
                    <a:lnTo>
                      <a:pt x="47" y="23"/>
                    </a:lnTo>
                    <a:lnTo>
                      <a:pt x="50" y="27"/>
                    </a:lnTo>
                    <a:lnTo>
                      <a:pt x="55" y="27"/>
                    </a:lnTo>
                    <a:lnTo>
                      <a:pt x="59" y="27"/>
                    </a:lnTo>
                    <a:lnTo>
                      <a:pt x="60" y="26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73" y="19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80" y="19"/>
                    </a:lnTo>
                    <a:lnTo>
                      <a:pt x="81" y="19"/>
                    </a:lnTo>
                    <a:lnTo>
                      <a:pt x="85" y="21"/>
                    </a:lnTo>
                    <a:lnTo>
                      <a:pt x="88" y="19"/>
                    </a:lnTo>
                    <a:lnTo>
                      <a:pt x="98" y="14"/>
                    </a:lnTo>
                    <a:lnTo>
                      <a:pt x="101" y="13"/>
                    </a:lnTo>
                    <a:lnTo>
                      <a:pt x="104" y="14"/>
                    </a:lnTo>
                    <a:lnTo>
                      <a:pt x="106" y="14"/>
                    </a:lnTo>
                    <a:lnTo>
                      <a:pt x="111" y="14"/>
                    </a:lnTo>
                    <a:lnTo>
                      <a:pt x="116" y="11"/>
                    </a:lnTo>
                    <a:lnTo>
                      <a:pt x="121" y="11"/>
                    </a:lnTo>
                    <a:lnTo>
                      <a:pt x="122" y="13"/>
                    </a:lnTo>
                    <a:lnTo>
                      <a:pt x="124" y="13"/>
                    </a:lnTo>
                    <a:lnTo>
                      <a:pt x="132" y="11"/>
                    </a:lnTo>
                    <a:lnTo>
                      <a:pt x="134" y="8"/>
                    </a:lnTo>
                    <a:lnTo>
                      <a:pt x="139" y="8"/>
                    </a:lnTo>
                    <a:lnTo>
                      <a:pt x="140" y="9"/>
                    </a:lnTo>
                    <a:lnTo>
                      <a:pt x="140" y="8"/>
                    </a:lnTo>
                    <a:lnTo>
                      <a:pt x="145" y="6"/>
                    </a:lnTo>
                    <a:lnTo>
                      <a:pt x="148" y="5"/>
                    </a:lnTo>
                    <a:lnTo>
                      <a:pt x="148" y="5"/>
                    </a:lnTo>
                    <a:lnTo>
                      <a:pt x="150" y="1"/>
                    </a:lnTo>
                    <a:lnTo>
                      <a:pt x="150" y="1"/>
                    </a:lnTo>
                    <a:lnTo>
                      <a:pt x="152" y="0"/>
                    </a:lnTo>
                    <a:lnTo>
                      <a:pt x="153" y="0"/>
                    </a:lnTo>
                    <a:lnTo>
                      <a:pt x="153" y="0"/>
                    </a:lnTo>
                    <a:lnTo>
                      <a:pt x="155" y="1"/>
                    </a:lnTo>
                    <a:lnTo>
                      <a:pt x="158" y="1"/>
                    </a:lnTo>
                    <a:lnTo>
                      <a:pt x="160" y="1"/>
                    </a:lnTo>
                    <a:lnTo>
                      <a:pt x="161" y="3"/>
                    </a:lnTo>
                    <a:lnTo>
                      <a:pt x="160" y="5"/>
                    </a:lnTo>
                    <a:lnTo>
                      <a:pt x="158" y="8"/>
                    </a:lnTo>
                    <a:lnTo>
                      <a:pt x="158" y="9"/>
                    </a:lnTo>
                    <a:lnTo>
                      <a:pt x="158" y="11"/>
                    </a:lnTo>
                    <a:lnTo>
                      <a:pt x="158" y="13"/>
                    </a:lnTo>
                    <a:lnTo>
                      <a:pt x="160" y="13"/>
                    </a:lnTo>
                    <a:lnTo>
                      <a:pt x="160" y="14"/>
                    </a:lnTo>
                    <a:lnTo>
                      <a:pt x="158" y="16"/>
                    </a:lnTo>
                    <a:lnTo>
                      <a:pt x="157" y="19"/>
                    </a:lnTo>
                    <a:lnTo>
                      <a:pt x="158" y="21"/>
                    </a:lnTo>
                    <a:lnTo>
                      <a:pt x="160" y="24"/>
                    </a:lnTo>
                    <a:lnTo>
                      <a:pt x="158" y="26"/>
                    </a:lnTo>
                    <a:lnTo>
                      <a:pt x="160" y="26"/>
                    </a:lnTo>
                    <a:lnTo>
                      <a:pt x="160" y="24"/>
                    </a:lnTo>
                    <a:lnTo>
                      <a:pt x="161" y="26"/>
                    </a:lnTo>
                    <a:lnTo>
                      <a:pt x="161" y="27"/>
                    </a:lnTo>
                    <a:lnTo>
                      <a:pt x="161" y="27"/>
                    </a:lnTo>
                    <a:lnTo>
                      <a:pt x="160" y="27"/>
                    </a:lnTo>
                    <a:lnTo>
                      <a:pt x="158" y="27"/>
                    </a:lnTo>
                    <a:lnTo>
                      <a:pt x="157" y="27"/>
                    </a:lnTo>
                    <a:lnTo>
                      <a:pt x="155" y="31"/>
                    </a:lnTo>
                    <a:lnTo>
                      <a:pt x="157" y="34"/>
                    </a:lnTo>
                    <a:lnTo>
                      <a:pt x="155" y="37"/>
                    </a:lnTo>
                    <a:lnTo>
                      <a:pt x="155" y="39"/>
                    </a:lnTo>
                    <a:lnTo>
                      <a:pt x="155" y="44"/>
                    </a:lnTo>
                    <a:lnTo>
                      <a:pt x="150" y="52"/>
                    </a:lnTo>
                    <a:lnTo>
                      <a:pt x="145" y="59"/>
                    </a:lnTo>
                    <a:lnTo>
                      <a:pt x="143" y="62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9" y="68"/>
                    </a:lnTo>
                    <a:lnTo>
                      <a:pt x="140" y="70"/>
                    </a:lnTo>
                    <a:lnTo>
                      <a:pt x="139" y="72"/>
                    </a:lnTo>
                    <a:lnTo>
                      <a:pt x="129" y="90"/>
                    </a:lnTo>
                    <a:lnTo>
                      <a:pt x="129" y="94"/>
                    </a:lnTo>
                    <a:lnTo>
                      <a:pt x="122" y="103"/>
                    </a:lnTo>
                    <a:lnTo>
                      <a:pt x="122" y="106"/>
                    </a:lnTo>
                    <a:lnTo>
                      <a:pt x="112" y="121"/>
                    </a:lnTo>
                    <a:lnTo>
                      <a:pt x="111" y="124"/>
                    </a:lnTo>
                    <a:lnTo>
                      <a:pt x="106" y="129"/>
                    </a:lnTo>
                    <a:lnTo>
                      <a:pt x="98" y="139"/>
                    </a:lnTo>
                    <a:lnTo>
                      <a:pt x="80" y="155"/>
                    </a:lnTo>
                    <a:lnTo>
                      <a:pt x="72" y="161"/>
                    </a:lnTo>
                    <a:lnTo>
                      <a:pt x="67" y="163"/>
                    </a:lnTo>
                    <a:lnTo>
                      <a:pt x="63" y="166"/>
                    </a:lnTo>
                    <a:lnTo>
                      <a:pt x="57" y="170"/>
                    </a:lnTo>
                    <a:lnTo>
                      <a:pt x="47" y="181"/>
                    </a:lnTo>
                    <a:lnTo>
                      <a:pt x="44" y="183"/>
                    </a:lnTo>
                    <a:lnTo>
                      <a:pt x="36" y="192"/>
                    </a:lnTo>
                    <a:lnTo>
                      <a:pt x="34" y="192"/>
                    </a:lnTo>
                    <a:lnTo>
                      <a:pt x="32" y="196"/>
                    </a:lnTo>
                    <a:lnTo>
                      <a:pt x="29" y="197"/>
                    </a:lnTo>
                    <a:lnTo>
                      <a:pt x="26" y="201"/>
                    </a:lnTo>
                    <a:lnTo>
                      <a:pt x="24" y="204"/>
                    </a:lnTo>
                    <a:lnTo>
                      <a:pt x="11" y="219"/>
                    </a:lnTo>
                    <a:lnTo>
                      <a:pt x="11" y="219"/>
                    </a:lnTo>
                    <a:lnTo>
                      <a:pt x="0" y="209"/>
                    </a:lnTo>
                    <a:lnTo>
                      <a:pt x="0" y="145"/>
                    </a:lnTo>
                    <a:lnTo>
                      <a:pt x="14" y="130"/>
                    </a:lnTo>
                    <a:lnTo>
                      <a:pt x="14" y="13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2" name="Freeform 255">
                <a:extLst>
                  <a:ext uri="{FF2B5EF4-FFF2-40B4-BE49-F238E27FC236}">
                    <a16:creationId xmlns:a16="http://schemas.microsoft.com/office/drawing/2014/main" xmlns="" id="{EEDD7321-5E3C-4B7C-BD43-1156706FE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9" y="1967"/>
                <a:ext cx="166" cy="165"/>
              </a:xfrm>
              <a:custGeom>
                <a:avLst/>
                <a:gdLst>
                  <a:gd name="T0" fmla="*/ 44 w 166"/>
                  <a:gd name="T1" fmla="*/ 20 h 165"/>
                  <a:gd name="T2" fmla="*/ 46 w 166"/>
                  <a:gd name="T3" fmla="*/ 17 h 165"/>
                  <a:gd name="T4" fmla="*/ 51 w 166"/>
                  <a:gd name="T5" fmla="*/ 15 h 165"/>
                  <a:gd name="T6" fmla="*/ 60 w 166"/>
                  <a:gd name="T7" fmla="*/ 0 h 165"/>
                  <a:gd name="T8" fmla="*/ 65 w 166"/>
                  <a:gd name="T9" fmla="*/ 4 h 165"/>
                  <a:gd name="T10" fmla="*/ 68 w 166"/>
                  <a:gd name="T11" fmla="*/ 13 h 165"/>
                  <a:gd name="T12" fmla="*/ 73 w 166"/>
                  <a:gd name="T13" fmla="*/ 17 h 165"/>
                  <a:gd name="T14" fmla="*/ 82 w 166"/>
                  <a:gd name="T15" fmla="*/ 17 h 165"/>
                  <a:gd name="T16" fmla="*/ 93 w 166"/>
                  <a:gd name="T17" fmla="*/ 18 h 165"/>
                  <a:gd name="T18" fmla="*/ 103 w 166"/>
                  <a:gd name="T19" fmla="*/ 28 h 165"/>
                  <a:gd name="T20" fmla="*/ 108 w 166"/>
                  <a:gd name="T21" fmla="*/ 31 h 165"/>
                  <a:gd name="T22" fmla="*/ 117 w 166"/>
                  <a:gd name="T23" fmla="*/ 33 h 165"/>
                  <a:gd name="T24" fmla="*/ 124 w 166"/>
                  <a:gd name="T25" fmla="*/ 33 h 165"/>
                  <a:gd name="T26" fmla="*/ 129 w 166"/>
                  <a:gd name="T27" fmla="*/ 33 h 165"/>
                  <a:gd name="T28" fmla="*/ 135 w 166"/>
                  <a:gd name="T29" fmla="*/ 25 h 165"/>
                  <a:gd name="T30" fmla="*/ 140 w 166"/>
                  <a:gd name="T31" fmla="*/ 23 h 165"/>
                  <a:gd name="T32" fmla="*/ 150 w 166"/>
                  <a:gd name="T33" fmla="*/ 22 h 165"/>
                  <a:gd name="T34" fmla="*/ 153 w 166"/>
                  <a:gd name="T35" fmla="*/ 26 h 165"/>
                  <a:gd name="T36" fmla="*/ 163 w 166"/>
                  <a:gd name="T37" fmla="*/ 26 h 165"/>
                  <a:gd name="T38" fmla="*/ 152 w 166"/>
                  <a:gd name="T39" fmla="*/ 41 h 165"/>
                  <a:gd name="T40" fmla="*/ 163 w 166"/>
                  <a:gd name="T41" fmla="*/ 115 h 165"/>
                  <a:gd name="T42" fmla="*/ 158 w 166"/>
                  <a:gd name="T43" fmla="*/ 123 h 165"/>
                  <a:gd name="T44" fmla="*/ 155 w 166"/>
                  <a:gd name="T45" fmla="*/ 124 h 165"/>
                  <a:gd name="T46" fmla="*/ 150 w 166"/>
                  <a:gd name="T47" fmla="*/ 128 h 165"/>
                  <a:gd name="T48" fmla="*/ 142 w 166"/>
                  <a:gd name="T49" fmla="*/ 133 h 165"/>
                  <a:gd name="T50" fmla="*/ 140 w 166"/>
                  <a:gd name="T51" fmla="*/ 134 h 165"/>
                  <a:gd name="T52" fmla="*/ 137 w 166"/>
                  <a:gd name="T53" fmla="*/ 139 h 165"/>
                  <a:gd name="T54" fmla="*/ 135 w 166"/>
                  <a:gd name="T55" fmla="*/ 144 h 165"/>
                  <a:gd name="T56" fmla="*/ 134 w 166"/>
                  <a:gd name="T57" fmla="*/ 151 h 165"/>
                  <a:gd name="T58" fmla="*/ 126 w 166"/>
                  <a:gd name="T59" fmla="*/ 164 h 165"/>
                  <a:gd name="T60" fmla="*/ 121 w 166"/>
                  <a:gd name="T61" fmla="*/ 165 h 165"/>
                  <a:gd name="T62" fmla="*/ 100 w 166"/>
                  <a:gd name="T63" fmla="*/ 151 h 165"/>
                  <a:gd name="T64" fmla="*/ 100 w 166"/>
                  <a:gd name="T65" fmla="*/ 146 h 165"/>
                  <a:gd name="T66" fmla="*/ 39 w 166"/>
                  <a:gd name="T67" fmla="*/ 106 h 165"/>
                  <a:gd name="T68" fmla="*/ 39 w 166"/>
                  <a:gd name="T69" fmla="*/ 90 h 165"/>
                  <a:gd name="T70" fmla="*/ 42 w 166"/>
                  <a:gd name="T71" fmla="*/ 84 h 165"/>
                  <a:gd name="T72" fmla="*/ 47 w 166"/>
                  <a:gd name="T73" fmla="*/ 77 h 165"/>
                  <a:gd name="T74" fmla="*/ 49 w 166"/>
                  <a:gd name="T75" fmla="*/ 72 h 165"/>
                  <a:gd name="T76" fmla="*/ 55 w 166"/>
                  <a:gd name="T77" fmla="*/ 71 h 165"/>
                  <a:gd name="T78" fmla="*/ 55 w 166"/>
                  <a:gd name="T79" fmla="*/ 64 h 165"/>
                  <a:gd name="T80" fmla="*/ 60 w 166"/>
                  <a:gd name="T81" fmla="*/ 57 h 165"/>
                  <a:gd name="T82" fmla="*/ 57 w 166"/>
                  <a:gd name="T83" fmla="*/ 51 h 165"/>
                  <a:gd name="T84" fmla="*/ 57 w 166"/>
                  <a:gd name="T85" fmla="*/ 48 h 165"/>
                  <a:gd name="T86" fmla="*/ 52 w 166"/>
                  <a:gd name="T87" fmla="*/ 43 h 165"/>
                  <a:gd name="T88" fmla="*/ 49 w 166"/>
                  <a:gd name="T89" fmla="*/ 35 h 165"/>
                  <a:gd name="T90" fmla="*/ 46 w 166"/>
                  <a:gd name="T91" fmla="*/ 31 h 165"/>
                  <a:gd name="T92" fmla="*/ 44 w 166"/>
                  <a:gd name="T93" fmla="*/ 28 h 165"/>
                  <a:gd name="T94" fmla="*/ 42 w 166"/>
                  <a:gd name="T95" fmla="*/ 22 h 165"/>
                  <a:gd name="T96" fmla="*/ 41 w 166"/>
                  <a:gd name="T97" fmla="*/ 22 h 165"/>
                  <a:gd name="T98" fmla="*/ 0 w 166"/>
                  <a:gd name="T99" fmla="*/ 108 h 165"/>
                  <a:gd name="T100" fmla="*/ 13 w 166"/>
                  <a:gd name="T101" fmla="*/ 108 h 165"/>
                  <a:gd name="T102" fmla="*/ 0 w 166"/>
                  <a:gd name="T103" fmla="*/ 10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6" h="165">
                    <a:moveTo>
                      <a:pt x="41" y="22"/>
                    </a:moveTo>
                    <a:lnTo>
                      <a:pt x="44" y="20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9" y="13"/>
                    </a:lnTo>
                    <a:lnTo>
                      <a:pt x="51" y="15"/>
                    </a:lnTo>
                    <a:lnTo>
                      <a:pt x="54" y="8"/>
                    </a:lnTo>
                    <a:lnTo>
                      <a:pt x="60" y="0"/>
                    </a:lnTo>
                    <a:lnTo>
                      <a:pt x="62" y="4"/>
                    </a:lnTo>
                    <a:lnTo>
                      <a:pt x="65" y="4"/>
                    </a:lnTo>
                    <a:lnTo>
                      <a:pt x="68" y="4"/>
                    </a:lnTo>
                    <a:lnTo>
                      <a:pt x="68" y="13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78" y="15"/>
                    </a:lnTo>
                    <a:lnTo>
                      <a:pt x="82" y="17"/>
                    </a:lnTo>
                    <a:lnTo>
                      <a:pt x="90" y="17"/>
                    </a:lnTo>
                    <a:lnTo>
                      <a:pt x="93" y="18"/>
                    </a:lnTo>
                    <a:lnTo>
                      <a:pt x="100" y="25"/>
                    </a:lnTo>
                    <a:lnTo>
                      <a:pt x="103" y="28"/>
                    </a:lnTo>
                    <a:lnTo>
                      <a:pt x="106" y="30"/>
                    </a:lnTo>
                    <a:lnTo>
                      <a:pt x="108" y="31"/>
                    </a:lnTo>
                    <a:lnTo>
                      <a:pt x="113" y="31"/>
                    </a:lnTo>
                    <a:lnTo>
                      <a:pt x="117" y="33"/>
                    </a:lnTo>
                    <a:lnTo>
                      <a:pt x="121" y="31"/>
                    </a:lnTo>
                    <a:lnTo>
                      <a:pt x="124" y="33"/>
                    </a:lnTo>
                    <a:lnTo>
                      <a:pt x="126" y="33"/>
                    </a:lnTo>
                    <a:lnTo>
                      <a:pt x="129" y="33"/>
                    </a:lnTo>
                    <a:lnTo>
                      <a:pt x="134" y="26"/>
                    </a:lnTo>
                    <a:lnTo>
                      <a:pt x="135" y="25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2" y="22"/>
                    </a:lnTo>
                    <a:lnTo>
                      <a:pt x="150" y="22"/>
                    </a:lnTo>
                    <a:lnTo>
                      <a:pt x="152" y="22"/>
                    </a:lnTo>
                    <a:lnTo>
                      <a:pt x="153" y="26"/>
                    </a:lnTo>
                    <a:lnTo>
                      <a:pt x="157" y="26"/>
                    </a:lnTo>
                    <a:lnTo>
                      <a:pt x="163" y="26"/>
                    </a:lnTo>
                    <a:lnTo>
                      <a:pt x="166" y="26"/>
                    </a:lnTo>
                    <a:lnTo>
                      <a:pt x="152" y="41"/>
                    </a:lnTo>
                    <a:lnTo>
                      <a:pt x="152" y="105"/>
                    </a:lnTo>
                    <a:lnTo>
                      <a:pt x="163" y="115"/>
                    </a:lnTo>
                    <a:lnTo>
                      <a:pt x="163" y="116"/>
                    </a:lnTo>
                    <a:lnTo>
                      <a:pt x="158" y="123"/>
                    </a:lnTo>
                    <a:lnTo>
                      <a:pt x="157" y="123"/>
                    </a:lnTo>
                    <a:lnTo>
                      <a:pt x="155" y="124"/>
                    </a:lnTo>
                    <a:lnTo>
                      <a:pt x="155" y="126"/>
                    </a:lnTo>
                    <a:lnTo>
                      <a:pt x="150" y="128"/>
                    </a:lnTo>
                    <a:lnTo>
                      <a:pt x="147" y="133"/>
                    </a:lnTo>
                    <a:lnTo>
                      <a:pt x="142" y="133"/>
                    </a:lnTo>
                    <a:lnTo>
                      <a:pt x="140" y="133"/>
                    </a:lnTo>
                    <a:lnTo>
                      <a:pt x="140" y="134"/>
                    </a:lnTo>
                    <a:lnTo>
                      <a:pt x="139" y="138"/>
                    </a:lnTo>
                    <a:lnTo>
                      <a:pt x="137" y="139"/>
                    </a:lnTo>
                    <a:lnTo>
                      <a:pt x="139" y="139"/>
                    </a:lnTo>
                    <a:lnTo>
                      <a:pt x="135" y="144"/>
                    </a:lnTo>
                    <a:lnTo>
                      <a:pt x="134" y="147"/>
                    </a:lnTo>
                    <a:lnTo>
                      <a:pt x="134" y="151"/>
                    </a:lnTo>
                    <a:lnTo>
                      <a:pt x="131" y="155"/>
                    </a:lnTo>
                    <a:lnTo>
                      <a:pt x="126" y="164"/>
                    </a:lnTo>
                    <a:lnTo>
                      <a:pt x="122" y="165"/>
                    </a:lnTo>
                    <a:lnTo>
                      <a:pt x="121" y="165"/>
                    </a:lnTo>
                    <a:lnTo>
                      <a:pt x="101" y="152"/>
                    </a:lnTo>
                    <a:lnTo>
                      <a:pt x="100" y="151"/>
                    </a:lnTo>
                    <a:lnTo>
                      <a:pt x="100" y="147"/>
                    </a:lnTo>
                    <a:lnTo>
                      <a:pt x="100" y="146"/>
                    </a:lnTo>
                    <a:lnTo>
                      <a:pt x="96" y="141"/>
                    </a:lnTo>
                    <a:lnTo>
                      <a:pt x="39" y="106"/>
                    </a:lnTo>
                    <a:lnTo>
                      <a:pt x="34" y="106"/>
                    </a:lnTo>
                    <a:lnTo>
                      <a:pt x="39" y="90"/>
                    </a:lnTo>
                    <a:lnTo>
                      <a:pt x="39" y="87"/>
                    </a:lnTo>
                    <a:lnTo>
                      <a:pt x="42" y="84"/>
                    </a:lnTo>
                    <a:lnTo>
                      <a:pt x="44" y="79"/>
                    </a:lnTo>
                    <a:lnTo>
                      <a:pt x="47" y="77"/>
                    </a:lnTo>
                    <a:lnTo>
                      <a:pt x="47" y="74"/>
                    </a:lnTo>
                    <a:lnTo>
                      <a:pt x="49" y="72"/>
                    </a:lnTo>
                    <a:lnTo>
                      <a:pt x="49" y="71"/>
                    </a:lnTo>
                    <a:lnTo>
                      <a:pt x="55" y="71"/>
                    </a:lnTo>
                    <a:lnTo>
                      <a:pt x="55" y="67"/>
                    </a:lnTo>
                    <a:lnTo>
                      <a:pt x="55" y="64"/>
                    </a:lnTo>
                    <a:lnTo>
                      <a:pt x="60" y="61"/>
                    </a:lnTo>
                    <a:lnTo>
                      <a:pt x="60" y="57"/>
                    </a:lnTo>
                    <a:lnTo>
                      <a:pt x="59" y="54"/>
                    </a:lnTo>
                    <a:lnTo>
                      <a:pt x="57" y="51"/>
                    </a:lnTo>
                    <a:lnTo>
                      <a:pt x="59" y="49"/>
                    </a:lnTo>
                    <a:lnTo>
                      <a:pt x="57" y="48"/>
                    </a:lnTo>
                    <a:lnTo>
                      <a:pt x="54" y="48"/>
                    </a:lnTo>
                    <a:lnTo>
                      <a:pt x="52" y="43"/>
                    </a:lnTo>
                    <a:lnTo>
                      <a:pt x="49" y="38"/>
                    </a:lnTo>
                    <a:lnTo>
                      <a:pt x="49" y="35"/>
                    </a:lnTo>
                    <a:lnTo>
                      <a:pt x="47" y="31"/>
                    </a:lnTo>
                    <a:lnTo>
                      <a:pt x="46" y="31"/>
                    </a:lnTo>
                    <a:lnTo>
                      <a:pt x="46" y="28"/>
                    </a:lnTo>
                    <a:lnTo>
                      <a:pt x="44" y="28"/>
                    </a:lnTo>
                    <a:lnTo>
                      <a:pt x="44" y="23"/>
                    </a:lnTo>
                    <a:lnTo>
                      <a:pt x="42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close/>
                    <a:moveTo>
                      <a:pt x="0" y="108"/>
                    </a:moveTo>
                    <a:lnTo>
                      <a:pt x="6" y="108"/>
                    </a:lnTo>
                    <a:lnTo>
                      <a:pt x="13" y="108"/>
                    </a:lnTo>
                    <a:lnTo>
                      <a:pt x="2" y="108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0" name="Freeform 256">
                <a:extLst>
                  <a:ext uri="{FF2B5EF4-FFF2-40B4-BE49-F238E27FC236}">
                    <a16:creationId xmlns:a16="http://schemas.microsoft.com/office/drawing/2014/main" xmlns="" id="{23734F0B-760A-4050-B1A1-3DDD8832A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6" y="1989"/>
                <a:ext cx="93" cy="93"/>
              </a:xfrm>
              <a:custGeom>
                <a:avLst/>
                <a:gdLst>
                  <a:gd name="T0" fmla="*/ 72 w 93"/>
                  <a:gd name="T1" fmla="*/ 65 h 93"/>
                  <a:gd name="T2" fmla="*/ 77 w 93"/>
                  <a:gd name="T3" fmla="*/ 57 h 93"/>
                  <a:gd name="T4" fmla="*/ 80 w 93"/>
                  <a:gd name="T5" fmla="*/ 52 h 93"/>
                  <a:gd name="T6" fmla="*/ 82 w 93"/>
                  <a:gd name="T7" fmla="*/ 49 h 93"/>
                  <a:gd name="T8" fmla="*/ 88 w 93"/>
                  <a:gd name="T9" fmla="*/ 45 h 93"/>
                  <a:gd name="T10" fmla="*/ 93 w 93"/>
                  <a:gd name="T11" fmla="*/ 39 h 93"/>
                  <a:gd name="T12" fmla="*/ 92 w 93"/>
                  <a:gd name="T13" fmla="*/ 32 h 93"/>
                  <a:gd name="T14" fmla="*/ 92 w 93"/>
                  <a:gd name="T15" fmla="*/ 27 h 93"/>
                  <a:gd name="T16" fmla="*/ 87 w 93"/>
                  <a:gd name="T17" fmla="*/ 26 h 93"/>
                  <a:gd name="T18" fmla="*/ 82 w 93"/>
                  <a:gd name="T19" fmla="*/ 16 h 93"/>
                  <a:gd name="T20" fmla="*/ 80 w 93"/>
                  <a:gd name="T21" fmla="*/ 9 h 93"/>
                  <a:gd name="T22" fmla="*/ 79 w 93"/>
                  <a:gd name="T23" fmla="*/ 6 h 93"/>
                  <a:gd name="T24" fmla="*/ 77 w 93"/>
                  <a:gd name="T25" fmla="*/ 1 h 93"/>
                  <a:gd name="T26" fmla="*/ 70 w 93"/>
                  <a:gd name="T27" fmla="*/ 3 h 93"/>
                  <a:gd name="T28" fmla="*/ 66 w 93"/>
                  <a:gd name="T29" fmla="*/ 6 h 93"/>
                  <a:gd name="T30" fmla="*/ 56 w 93"/>
                  <a:gd name="T31" fmla="*/ 6 h 93"/>
                  <a:gd name="T32" fmla="*/ 51 w 93"/>
                  <a:gd name="T33" fmla="*/ 8 h 93"/>
                  <a:gd name="T34" fmla="*/ 48 w 93"/>
                  <a:gd name="T35" fmla="*/ 8 h 93"/>
                  <a:gd name="T36" fmla="*/ 44 w 93"/>
                  <a:gd name="T37" fmla="*/ 13 h 93"/>
                  <a:gd name="T38" fmla="*/ 39 w 93"/>
                  <a:gd name="T39" fmla="*/ 11 h 93"/>
                  <a:gd name="T40" fmla="*/ 36 w 93"/>
                  <a:gd name="T41" fmla="*/ 8 h 93"/>
                  <a:gd name="T42" fmla="*/ 30 w 93"/>
                  <a:gd name="T43" fmla="*/ 6 h 93"/>
                  <a:gd name="T44" fmla="*/ 25 w 93"/>
                  <a:gd name="T45" fmla="*/ 8 h 93"/>
                  <a:gd name="T46" fmla="*/ 25 w 93"/>
                  <a:gd name="T47" fmla="*/ 11 h 93"/>
                  <a:gd name="T48" fmla="*/ 25 w 93"/>
                  <a:gd name="T49" fmla="*/ 11 h 93"/>
                  <a:gd name="T50" fmla="*/ 23 w 93"/>
                  <a:gd name="T51" fmla="*/ 17 h 93"/>
                  <a:gd name="T52" fmla="*/ 21 w 93"/>
                  <a:gd name="T53" fmla="*/ 27 h 93"/>
                  <a:gd name="T54" fmla="*/ 23 w 93"/>
                  <a:gd name="T55" fmla="*/ 32 h 93"/>
                  <a:gd name="T56" fmla="*/ 26 w 93"/>
                  <a:gd name="T57" fmla="*/ 37 h 93"/>
                  <a:gd name="T58" fmla="*/ 18 w 93"/>
                  <a:gd name="T59" fmla="*/ 50 h 93"/>
                  <a:gd name="T60" fmla="*/ 12 w 93"/>
                  <a:gd name="T61" fmla="*/ 58 h 93"/>
                  <a:gd name="T62" fmla="*/ 3 w 93"/>
                  <a:gd name="T63" fmla="*/ 71 h 93"/>
                  <a:gd name="T64" fmla="*/ 3 w 93"/>
                  <a:gd name="T65" fmla="*/ 81 h 93"/>
                  <a:gd name="T66" fmla="*/ 2 w 93"/>
                  <a:gd name="T67" fmla="*/ 91 h 93"/>
                  <a:gd name="T68" fmla="*/ 2 w 93"/>
                  <a:gd name="T69" fmla="*/ 93 h 93"/>
                  <a:gd name="T70" fmla="*/ 7 w 93"/>
                  <a:gd name="T71" fmla="*/ 89 h 93"/>
                  <a:gd name="T72" fmla="*/ 10 w 93"/>
                  <a:gd name="T73" fmla="*/ 91 h 93"/>
                  <a:gd name="T74" fmla="*/ 13 w 93"/>
                  <a:gd name="T75" fmla="*/ 91 h 93"/>
                  <a:gd name="T76" fmla="*/ 17 w 93"/>
                  <a:gd name="T77" fmla="*/ 88 h 93"/>
                  <a:gd name="T78" fmla="*/ 17 w 93"/>
                  <a:gd name="T79" fmla="*/ 88 h 93"/>
                  <a:gd name="T80" fmla="*/ 20 w 93"/>
                  <a:gd name="T81" fmla="*/ 86 h 93"/>
                  <a:gd name="T82" fmla="*/ 35 w 93"/>
                  <a:gd name="T83" fmla="*/ 86 h 93"/>
                  <a:gd name="T84" fmla="*/ 67 w 93"/>
                  <a:gd name="T85" fmla="*/ 8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3" h="93">
                    <a:moveTo>
                      <a:pt x="72" y="68"/>
                    </a:moveTo>
                    <a:lnTo>
                      <a:pt x="72" y="65"/>
                    </a:lnTo>
                    <a:lnTo>
                      <a:pt x="75" y="62"/>
                    </a:lnTo>
                    <a:lnTo>
                      <a:pt x="77" y="57"/>
                    </a:lnTo>
                    <a:lnTo>
                      <a:pt x="80" y="55"/>
                    </a:lnTo>
                    <a:lnTo>
                      <a:pt x="80" y="52"/>
                    </a:lnTo>
                    <a:lnTo>
                      <a:pt x="82" y="50"/>
                    </a:lnTo>
                    <a:lnTo>
                      <a:pt x="82" y="49"/>
                    </a:lnTo>
                    <a:lnTo>
                      <a:pt x="88" y="49"/>
                    </a:lnTo>
                    <a:lnTo>
                      <a:pt x="88" y="45"/>
                    </a:lnTo>
                    <a:lnTo>
                      <a:pt x="88" y="42"/>
                    </a:lnTo>
                    <a:lnTo>
                      <a:pt x="93" y="39"/>
                    </a:lnTo>
                    <a:lnTo>
                      <a:pt x="93" y="35"/>
                    </a:lnTo>
                    <a:lnTo>
                      <a:pt x="92" y="32"/>
                    </a:lnTo>
                    <a:lnTo>
                      <a:pt x="90" y="29"/>
                    </a:lnTo>
                    <a:lnTo>
                      <a:pt x="92" y="27"/>
                    </a:lnTo>
                    <a:lnTo>
                      <a:pt x="90" y="26"/>
                    </a:lnTo>
                    <a:lnTo>
                      <a:pt x="87" y="26"/>
                    </a:lnTo>
                    <a:lnTo>
                      <a:pt x="85" y="21"/>
                    </a:lnTo>
                    <a:lnTo>
                      <a:pt x="82" y="16"/>
                    </a:lnTo>
                    <a:lnTo>
                      <a:pt x="82" y="13"/>
                    </a:lnTo>
                    <a:lnTo>
                      <a:pt x="80" y="9"/>
                    </a:lnTo>
                    <a:lnTo>
                      <a:pt x="79" y="9"/>
                    </a:lnTo>
                    <a:lnTo>
                      <a:pt x="79" y="6"/>
                    </a:lnTo>
                    <a:lnTo>
                      <a:pt x="77" y="6"/>
                    </a:lnTo>
                    <a:lnTo>
                      <a:pt x="77" y="1"/>
                    </a:lnTo>
                    <a:lnTo>
                      <a:pt x="75" y="0"/>
                    </a:lnTo>
                    <a:lnTo>
                      <a:pt x="70" y="3"/>
                    </a:lnTo>
                    <a:lnTo>
                      <a:pt x="69" y="4"/>
                    </a:lnTo>
                    <a:lnTo>
                      <a:pt x="66" y="6"/>
                    </a:lnTo>
                    <a:lnTo>
                      <a:pt x="62" y="6"/>
                    </a:lnTo>
                    <a:lnTo>
                      <a:pt x="56" y="6"/>
                    </a:lnTo>
                    <a:lnTo>
                      <a:pt x="52" y="8"/>
                    </a:lnTo>
                    <a:lnTo>
                      <a:pt x="51" y="8"/>
                    </a:lnTo>
                    <a:lnTo>
                      <a:pt x="49" y="8"/>
                    </a:lnTo>
                    <a:lnTo>
                      <a:pt x="48" y="8"/>
                    </a:lnTo>
                    <a:lnTo>
                      <a:pt x="44" y="9"/>
                    </a:lnTo>
                    <a:lnTo>
                      <a:pt x="44" y="13"/>
                    </a:lnTo>
                    <a:lnTo>
                      <a:pt x="43" y="13"/>
                    </a:lnTo>
                    <a:lnTo>
                      <a:pt x="39" y="11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5" y="8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5" y="8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1" y="27"/>
                    </a:lnTo>
                    <a:lnTo>
                      <a:pt x="21" y="31"/>
                    </a:lnTo>
                    <a:lnTo>
                      <a:pt x="23" y="32"/>
                    </a:lnTo>
                    <a:lnTo>
                      <a:pt x="25" y="34"/>
                    </a:lnTo>
                    <a:lnTo>
                      <a:pt x="26" y="37"/>
                    </a:lnTo>
                    <a:lnTo>
                      <a:pt x="26" y="39"/>
                    </a:lnTo>
                    <a:lnTo>
                      <a:pt x="18" y="50"/>
                    </a:lnTo>
                    <a:lnTo>
                      <a:pt x="12" y="55"/>
                    </a:lnTo>
                    <a:lnTo>
                      <a:pt x="12" y="58"/>
                    </a:lnTo>
                    <a:lnTo>
                      <a:pt x="5" y="70"/>
                    </a:lnTo>
                    <a:lnTo>
                      <a:pt x="3" y="71"/>
                    </a:lnTo>
                    <a:lnTo>
                      <a:pt x="3" y="75"/>
                    </a:lnTo>
                    <a:lnTo>
                      <a:pt x="3" y="81"/>
                    </a:lnTo>
                    <a:lnTo>
                      <a:pt x="2" y="88"/>
                    </a:lnTo>
                    <a:lnTo>
                      <a:pt x="2" y="91"/>
                    </a:lnTo>
                    <a:lnTo>
                      <a:pt x="0" y="91"/>
                    </a:lnTo>
                    <a:lnTo>
                      <a:pt x="2" y="93"/>
                    </a:lnTo>
                    <a:lnTo>
                      <a:pt x="3" y="91"/>
                    </a:lnTo>
                    <a:lnTo>
                      <a:pt x="7" y="89"/>
                    </a:lnTo>
                    <a:lnTo>
                      <a:pt x="8" y="91"/>
                    </a:lnTo>
                    <a:lnTo>
                      <a:pt x="10" y="91"/>
                    </a:lnTo>
                    <a:lnTo>
                      <a:pt x="12" y="91"/>
                    </a:lnTo>
                    <a:lnTo>
                      <a:pt x="13" y="91"/>
                    </a:lnTo>
                    <a:lnTo>
                      <a:pt x="13" y="88"/>
                    </a:lnTo>
                    <a:lnTo>
                      <a:pt x="17" y="88"/>
                    </a:lnTo>
                    <a:lnTo>
                      <a:pt x="17" y="88"/>
                    </a:lnTo>
                    <a:lnTo>
                      <a:pt x="17" y="88"/>
                    </a:lnTo>
                    <a:lnTo>
                      <a:pt x="18" y="88"/>
                    </a:lnTo>
                    <a:lnTo>
                      <a:pt x="20" y="86"/>
                    </a:lnTo>
                    <a:lnTo>
                      <a:pt x="33" y="86"/>
                    </a:lnTo>
                    <a:lnTo>
                      <a:pt x="35" y="86"/>
                    </a:lnTo>
                    <a:lnTo>
                      <a:pt x="46" y="86"/>
                    </a:lnTo>
                    <a:lnTo>
                      <a:pt x="67" y="84"/>
                    </a:lnTo>
                    <a:lnTo>
                      <a:pt x="72" y="6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2" name="Freeform 257">
                <a:extLst>
                  <a:ext uri="{FF2B5EF4-FFF2-40B4-BE49-F238E27FC236}">
                    <a16:creationId xmlns:a16="http://schemas.microsoft.com/office/drawing/2014/main" xmlns="" id="{3442620A-22E3-43EC-BB6D-90AE919D48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" y="1876"/>
                <a:ext cx="206" cy="142"/>
              </a:xfrm>
              <a:custGeom>
                <a:avLst/>
                <a:gdLst>
                  <a:gd name="T0" fmla="*/ 131 w 206"/>
                  <a:gd name="T1" fmla="*/ 5 h 142"/>
                  <a:gd name="T2" fmla="*/ 141 w 206"/>
                  <a:gd name="T3" fmla="*/ 23 h 142"/>
                  <a:gd name="T4" fmla="*/ 139 w 206"/>
                  <a:gd name="T5" fmla="*/ 32 h 142"/>
                  <a:gd name="T6" fmla="*/ 147 w 206"/>
                  <a:gd name="T7" fmla="*/ 37 h 142"/>
                  <a:gd name="T8" fmla="*/ 152 w 206"/>
                  <a:gd name="T9" fmla="*/ 44 h 142"/>
                  <a:gd name="T10" fmla="*/ 164 w 206"/>
                  <a:gd name="T11" fmla="*/ 50 h 142"/>
                  <a:gd name="T12" fmla="*/ 172 w 206"/>
                  <a:gd name="T13" fmla="*/ 55 h 142"/>
                  <a:gd name="T14" fmla="*/ 169 w 206"/>
                  <a:gd name="T15" fmla="*/ 62 h 142"/>
                  <a:gd name="T16" fmla="*/ 178 w 206"/>
                  <a:gd name="T17" fmla="*/ 67 h 142"/>
                  <a:gd name="T18" fmla="*/ 185 w 206"/>
                  <a:gd name="T19" fmla="*/ 77 h 142"/>
                  <a:gd name="T20" fmla="*/ 191 w 206"/>
                  <a:gd name="T21" fmla="*/ 83 h 142"/>
                  <a:gd name="T22" fmla="*/ 200 w 206"/>
                  <a:gd name="T23" fmla="*/ 90 h 142"/>
                  <a:gd name="T24" fmla="*/ 206 w 206"/>
                  <a:gd name="T25" fmla="*/ 99 h 142"/>
                  <a:gd name="T26" fmla="*/ 200 w 206"/>
                  <a:gd name="T27" fmla="*/ 98 h 142"/>
                  <a:gd name="T28" fmla="*/ 185 w 206"/>
                  <a:gd name="T29" fmla="*/ 98 h 142"/>
                  <a:gd name="T30" fmla="*/ 177 w 206"/>
                  <a:gd name="T31" fmla="*/ 96 h 142"/>
                  <a:gd name="T32" fmla="*/ 172 w 206"/>
                  <a:gd name="T33" fmla="*/ 98 h 142"/>
                  <a:gd name="T34" fmla="*/ 162 w 206"/>
                  <a:gd name="T35" fmla="*/ 101 h 142"/>
                  <a:gd name="T36" fmla="*/ 157 w 206"/>
                  <a:gd name="T37" fmla="*/ 101 h 142"/>
                  <a:gd name="T38" fmla="*/ 146 w 206"/>
                  <a:gd name="T39" fmla="*/ 103 h 142"/>
                  <a:gd name="T40" fmla="*/ 134 w 206"/>
                  <a:gd name="T41" fmla="*/ 104 h 142"/>
                  <a:gd name="T42" fmla="*/ 123 w 206"/>
                  <a:gd name="T43" fmla="*/ 109 h 142"/>
                  <a:gd name="T44" fmla="*/ 121 w 206"/>
                  <a:gd name="T45" fmla="*/ 114 h 142"/>
                  <a:gd name="T46" fmla="*/ 111 w 206"/>
                  <a:gd name="T47" fmla="*/ 113 h 142"/>
                  <a:gd name="T48" fmla="*/ 100 w 206"/>
                  <a:gd name="T49" fmla="*/ 111 h 142"/>
                  <a:gd name="T50" fmla="*/ 89 w 206"/>
                  <a:gd name="T51" fmla="*/ 104 h 142"/>
                  <a:gd name="T52" fmla="*/ 79 w 206"/>
                  <a:gd name="T53" fmla="*/ 99 h 142"/>
                  <a:gd name="T54" fmla="*/ 71 w 206"/>
                  <a:gd name="T55" fmla="*/ 103 h 142"/>
                  <a:gd name="T56" fmla="*/ 67 w 206"/>
                  <a:gd name="T57" fmla="*/ 109 h 142"/>
                  <a:gd name="T58" fmla="*/ 67 w 206"/>
                  <a:gd name="T59" fmla="*/ 116 h 142"/>
                  <a:gd name="T60" fmla="*/ 62 w 206"/>
                  <a:gd name="T61" fmla="*/ 122 h 142"/>
                  <a:gd name="T62" fmla="*/ 56 w 206"/>
                  <a:gd name="T63" fmla="*/ 121 h 142"/>
                  <a:gd name="T64" fmla="*/ 41 w 206"/>
                  <a:gd name="T65" fmla="*/ 124 h 142"/>
                  <a:gd name="T66" fmla="*/ 27 w 206"/>
                  <a:gd name="T67" fmla="*/ 142 h 142"/>
                  <a:gd name="T68" fmla="*/ 25 w 206"/>
                  <a:gd name="T69" fmla="*/ 135 h 142"/>
                  <a:gd name="T70" fmla="*/ 12 w 206"/>
                  <a:gd name="T71" fmla="*/ 119 h 142"/>
                  <a:gd name="T72" fmla="*/ 2 w 206"/>
                  <a:gd name="T73" fmla="*/ 109 h 142"/>
                  <a:gd name="T74" fmla="*/ 2 w 206"/>
                  <a:gd name="T75" fmla="*/ 90 h 142"/>
                  <a:gd name="T76" fmla="*/ 4 w 206"/>
                  <a:gd name="T77" fmla="*/ 80 h 142"/>
                  <a:gd name="T78" fmla="*/ 12 w 206"/>
                  <a:gd name="T79" fmla="*/ 62 h 142"/>
                  <a:gd name="T80" fmla="*/ 20 w 206"/>
                  <a:gd name="T81" fmla="*/ 59 h 142"/>
                  <a:gd name="T82" fmla="*/ 30 w 206"/>
                  <a:gd name="T83" fmla="*/ 60 h 142"/>
                  <a:gd name="T84" fmla="*/ 35 w 206"/>
                  <a:gd name="T85" fmla="*/ 54 h 142"/>
                  <a:gd name="T86" fmla="*/ 45 w 206"/>
                  <a:gd name="T87" fmla="*/ 55 h 142"/>
                  <a:gd name="T88" fmla="*/ 66 w 206"/>
                  <a:gd name="T89" fmla="*/ 49 h 142"/>
                  <a:gd name="T90" fmla="*/ 71 w 206"/>
                  <a:gd name="T91" fmla="*/ 41 h 142"/>
                  <a:gd name="T92" fmla="*/ 72 w 206"/>
                  <a:gd name="T93" fmla="*/ 34 h 142"/>
                  <a:gd name="T94" fmla="*/ 87 w 206"/>
                  <a:gd name="T95" fmla="*/ 34 h 142"/>
                  <a:gd name="T96" fmla="*/ 100 w 206"/>
                  <a:gd name="T97" fmla="*/ 28 h 142"/>
                  <a:gd name="T98" fmla="*/ 102 w 206"/>
                  <a:gd name="T99" fmla="*/ 18 h 142"/>
                  <a:gd name="T100" fmla="*/ 110 w 206"/>
                  <a:gd name="T101" fmla="*/ 11 h 142"/>
                  <a:gd name="T102" fmla="*/ 116 w 206"/>
                  <a:gd name="T103" fmla="*/ 5 h 142"/>
                  <a:gd name="T104" fmla="*/ 129 w 206"/>
                  <a:gd name="T105" fmla="*/ 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6" h="142">
                    <a:moveTo>
                      <a:pt x="129" y="0"/>
                    </a:moveTo>
                    <a:lnTo>
                      <a:pt x="131" y="1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9" y="16"/>
                    </a:lnTo>
                    <a:lnTo>
                      <a:pt x="141" y="23"/>
                    </a:lnTo>
                    <a:lnTo>
                      <a:pt x="143" y="24"/>
                    </a:lnTo>
                    <a:lnTo>
                      <a:pt x="143" y="28"/>
                    </a:lnTo>
                    <a:lnTo>
                      <a:pt x="141" y="29"/>
                    </a:lnTo>
                    <a:lnTo>
                      <a:pt x="139" y="32"/>
                    </a:lnTo>
                    <a:lnTo>
                      <a:pt x="139" y="37"/>
                    </a:lnTo>
                    <a:lnTo>
                      <a:pt x="143" y="39"/>
                    </a:lnTo>
                    <a:lnTo>
                      <a:pt x="146" y="39"/>
                    </a:lnTo>
                    <a:lnTo>
                      <a:pt x="147" y="37"/>
                    </a:lnTo>
                    <a:lnTo>
                      <a:pt x="152" y="37"/>
                    </a:lnTo>
                    <a:lnTo>
                      <a:pt x="154" y="39"/>
                    </a:lnTo>
                    <a:lnTo>
                      <a:pt x="152" y="41"/>
                    </a:lnTo>
                    <a:lnTo>
                      <a:pt x="152" y="44"/>
                    </a:lnTo>
                    <a:lnTo>
                      <a:pt x="156" y="47"/>
                    </a:lnTo>
                    <a:lnTo>
                      <a:pt x="159" y="49"/>
                    </a:lnTo>
                    <a:lnTo>
                      <a:pt x="162" y="49"/>
                    </a:lnTo>
                    <a:lnTo>
                      <a:pt x="164" y="50"/>
                    </a:lnTo>
                    <a:lnTo>
                      <a:pt x="165" y="52"/>
                    </a:lnTo>
                    <a:lnTo>
                      <a:pt x="169" y="54"/>
                    </a:lnTo>
                    <a:lnTo>
                      <a:pt x="172" y="54"/>
                    </a:lnTo>
                    <a:lnTo>
                      <a:pt x="172" y="55"/>
                    </a:lnTo>
                    <a:lnTo>
                      <a:pt x="172" y="57"/>
                    </a:lnTo>
                    <a:lnTo>
                      <a:pt x="170" y="60"/>
                    </a:lnTo>
                    <a:lnTo>
                      <a:pt x="169" y="60"/>
                    </a:lnTo>
                    <a:lnTo>
                      <a:pt x="169" y="62"/>
                    </a:lnTo>
                    <a:lnTo>
                      <a:pt x="172" y="65"/>
                    </a:lnTo>
                    <a:lnTo>
                      <a:pt x="174" y="65"/>
                    </a:lnTo>
                    <a:lnTo>
                      <a:pt x="175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83" y="70"/>
                    </a:lnTo>
                    <a:lnTo>
                      <a:pt x="185" y="72"/>
                    </a:lnTo>
                    <a:lnTo>
                      <a:pt x="185" y="77"/>
                    </a:lnTo>
                    <a:lnTo>
                      <a:pt x="187" y="78"/>
                    </a:lnTo>
                    <a:lnTo>
                      <a:pt x="190" y="78"/>
                    </a:lnTo>
                    <a:lnTo>
                      <a:pt x="191" y="80"/>
                    </a:lnTo>
                    <a:lnTo>
                      <a:pt x="191" y="83"/>
                    </a:lnTo>
                    <a:lnTo>
                      <a:pt x="193" y="85"/>
                    </a:lnTo>
                    <a:lnTo>
                      <a:pt x="198" y="86"/>
                    </a:lnTo>
                    <a:lnTo>
                      <a:pt x="200" y="88"/>
                    </a:lnTo>
                    <a:lnTo>
                      <a:pt x="200" y="90"/>
                    </a:lnTo>
                    <a:lnTo>
                      <a:pt x="200" y="95"/>
                    </a:lnTo>
                    <a:lnTo>
                      <a:pt x="201" y="96"/>
                    </a:lnTo>
                    <a:lnTo>
                      <a:pt x="205" y="98"/>
                    </a:lnTo>
                    <a:lnTo>
                      <a:pt x="206" y="99"/>
                    </a:lnTo>
                    <a:lnTo>
                      <a:pt x="206" y="101"/>
                    </a:lnTo>
                    <a:lnTo>
                      <a:pt x="206" y="99"/>
                    </a:lnTo>
                    <a:lnTo>
                      <a:pt x="203" y="98"/>
                    </a:lnTo>
                    <a:lnTo>
                      <a:pt x="200" y="98"/>
                    </a:lnTo>
                    <a:lnTo>
                      <a:pt x="195" y="99"/>
                    </a:lnTo>
                    <a:lnTo>
                      <a:pt x="193" y="99"/>
                    </a:lnTo>
                    <a:lnTo>
                      <a:pt x="187" y="99"/>
                    </a:lnTo>
                    <a:lnTo>
                      <a:pt x="185" y="98"/>
                    </a:lnTo>
                    <a:lnTo>
                      <a:pt x="183" y="98"/>
                    </a:lnTo>
                    <a:lnTo>
                      <a:pt x="182" y="96"/>
                    </a:lnTo>
                    <a:lnTo>
                      <a:pt x="180" y="98"/>
                    </a:lnTo>
                    <a:lnTo>
                      <a:pt x="177" y="96"/>
                    </a:lnTo>
                    <a:lnTo>
                      <a:pt x="175" y="95"/>
                    </a:lnTo>
                    <a:lnTo>
                      <a:pt x="172" y="95"/>
                    </a:lnTo>
                    <a:lnTo>
                      <a:pt x="172" y="96"/>
                    </a:lnTo>
                    <a:lnTo>
                      <a:pt x="172" y="98"/>
                    </a:lnTo>
                    <a:lnTo>
                      <a:pt x="170" y="101"/>
                    </a:lnTo>
                    <a:lnTo>
                      <a:pt x="169" y="101"/>
                    </a:lnTo>
                    <a:lnTo>
                      <a:pt x="167" y="101"/>
                    </a:lnTo>
                    <a:lnTo>
                      <a:pt x="162" y="101"/>
                    </a:lnTo>
                    <a:lnTo>
                      <a:pt x="160" y="103"/>
                    </a:lnTo>
                    <a:lnTo>
                      <a:pt x="159" y="103"/>
                    </a:lnTo>
                    <a:lnTo>
                      <a:pt x="159" y="101"/>
                    </a:lnTo>
                    <a:lnTo>
                      <a:pt x="157" y="101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49" y="103"/>
                    </a:lnTo>
                    <a:lnTo>
                      <a:pt x="146" y="103"/>
                    </a:lnTo>
                    <a:lnTo>
                      <a:pt x="144" y="104"/>
                    </a:lnTo>
                    <a:lnTo>
                      <a:pt x="138" y="106"/>
                    </a:lnTo>
                    <a:lnTo>
                      <a:pt x="136" y="106"/>
                    </a:lnTo>
                    <a:lnTo>
                      <a:pt x="134" y="104"/>
                    </a:lnTo>
                    <a:lnTo>
                      <a:pt x="131" y="104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3" y="109"/>
                    </a:lnTo>
                    <a:lnTo>
                      <a:pt x="123" y="111"/>
                    </a:lnTo>
                    <a:lnTo>
                      <a:pt x="126" y="113"/>
                    </a:lnTo>
                    <a:lnTo>
                      <a:pt x="125" y="114"/>
                    </a:lnTo>
                    <a:lnTo>
                      <a:pt x="121" y="114"/>
                    </a:lnTo>
                    <a:lnTo>
                      <a:pt x="120" y="114"/>
                    </a:lnTo>
                    <a:lnTo>
                      <a:pt x="116" y="113"/>
                    </a:lnTo>
                    <a:lnTo>
                      <a:pt x="113" y="113"/>
                    </a:lnTo>
                    <a:lnTo>
                      <a:pt x="111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3" y="113"/>
                    </a:lnTo>
                    <a:lnTo>
                      <a:pt x="100" y="111"/>
                    </a:lnTo>
                    <a:lnTo>
                      <a:pt x="97" y="111"/>
                    </a:lnTo>
                    <a:lnTo>
                      <a:pt x="95" y="109"/>
                    </a:lnTo>
                    <a:lnTo>
                      <a:pt x="90" y="106"/>
                    </a:lnTo>
                    <a:lnTo>
                      <a:pt x="89" y="104"/>
                    </a:lnTo>
                    <a:lnTo>
                      <a:pt x="84" y="101"/>
                    </a:lnTo>
                    <a:lnTo>
                      <a:pt x="82" y="101"/>
                    </a:lnTo>
                    <a:lnTo>
                      <a:pt x="80" y="99"/>
                    </a:lnTo>
                    <a:lnTo>
                      <a:pt x="79" y="99"/>
                    </a:lnTo>
                    <a:lnTo>
                      <a:pt x="77" y="101"/>
                    </a:lnTo>
                    <a:lnTo>
                      <a:pt x="76" y="99"/>
                    </a:lnTo>
                    <a:lnTo>
                      <a:pt x="72" y="103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9" y="106"/>
                    </a:lnTo>
                    <a:lnTo>
                      <a:pt x="67" y="108"/>
                    </a:lnTo>
                    <a:lnTo>
                      <a:pt x="67" y="109"/>
                    </a:lnTo>
                    <a:lnTo>
                      <a:pt x="67" y="111"/>
                    </a:lnTo>
                    <a:lnTo>
                      <a:pt x="64" y="111"/>
                    </a:lnTo>
                    <a:lnTo>
                      <a:pt x="64" y="113"/>
                    </a:lnTo>
                    <a:lnTo>
                      <a:pt x="67" y="116"/>
                    </a:lnTo>
                    <a:lnTo>
                      <a:pt x="66" y="117"/>
                    </a:lnTo>
                    <a:lnTo>
                      <a:pt x="66" y="119"/>
                    </a:lnTo>
                    <a:lnTo>
                      <a:pt x="66" y="122"/>
                    </a:lnTo>
                    <a:lnTo>
                      <a:pt x="62" y="122"/>
                    </a:lnTo>
                    <a:lnTo>
                      <a:pt x="61" y="124"/>
                    </a:lnTo>
                    <a:lnTo>
                      <a:pt x="59" y="122"/>
                    </a:lnTo>
                    <a:lnTo>
                      <a:pt x="58" y="121"/>
                    </a:lnTo>
                    <a:lnTo>
                      <a:pt x="56" y="121"/>
                    </a:lnTo>
                    <a:lnTo>
                      <a:pt x="53" y="121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4"/>
                    </a:lnTo>
                    <a:lnTo>
                      <a:pt x="41" y="126"/>
                    </a:lnTo>
                    <a:lnTo>
                      <a:pt x="38" y="126"/>
                    </a:lnTo>
                    <a:lnTo>
                      <a:pt x="35" y="130"/>
                    </a:lnTo>
                    <a:lnTo>
                      <a:pt x="27" y="142"/>
                    </a:lnTo>
                    <a:lnTo>
                      <a:pt x="27" y="142"/>
                    </a:lnTo>
                    <a:lnTo>
                      <a:pt x="27" y="140"/>
                    </a:lnTo>
                    <a:lnTo>
                      <a:pt x="27" y="139"/>
                    </a:lnTo>
                    <a:lnTo>
                      <a:pt x="25" y="135"/>
                    </a:lnTo>
                    <a:lnTo>
                      <a:pt x="20" y="130"/>
                    </a:lnTo>
                    <a:lnTo>
                      <a:pt x="18" y="129"/>
                    </a:lnTo>
                    <a:lnTo>
                      <a:pt x="17" y="124"/>
                    </a:lnTo>
                    <a:lnTo>
                      <a:pt x="12" y="119"/>
                    </a:lnTo>
                    <a:lnTo>
                      <a:pt x="12" y="116"/>
                    </a:lnTo>
                    <a:lnTo>
                      <a:pt x="9" y="113"/>
                    </a:lnTo>
                    <a:lnTo>
                      <a:pt x="4" y="109"/>
                    </a:lnTo>
                    <a:lnTo>
                      <a:pt x="2" y="109"/>
                    </a:lnTo>
                    <a:lnTo>
                      <a:pt x="2" y="103"/>
                    </a:lnTo>
                    <a:lnTo>
                      <a:pt x="2" y="98"/>
                    </a:lnTo>
                    <a:lnTo>
                      <a:pt x="0" y="95"/>
                    </a:lnTo>
                    <a:lnTo>
                      <a:pt x="2" y="90"/>
                    </a:lnTo>
                    <a:lnTo>
                      <a:pt x="0" y="86"/>
                    </a:lnTo>
                    <a:lnTo>
                      <a:pt x="0" y="83"/>
                    </a:lnTo>
                    <a:lnTo>
                      <a:pt x="2" y="80"/>
                    </a:lnTo>
                    <a:lnTo>
                      <a:pt x="4" y="80"/>
                    </a:lnTo>
                    <a:lnTo>
                      <a:pt x="7" y="75"/>
                    </a:lnTo>
                    <a:lnTo>
                      <a:pt x="9" y="72"/>
                    </a:lnTo>
                    <a:lnTo>
                      <a:pt x="10" y="65"/>
                    </a:lnTo>
                    <a:lnTo>
                      <a:pt x="12" y="62"/>
                    </a:lnTo>
                    <a:lnTo>
                      <a:pt x="15" y="62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20" y="59"/>
                    </a:lnTo>
                    <a:lnTo>
                      <a:pt x="20" y="62"/>
                    </a:lnTo>
                    <a:lnTo>
                      <a:pt x="23" y="62"/>
                    </a:lnTo>
                    <a:lnTo>
                      <a:pt x="25" y="60"/>
                    </a:lnTo>
                    <a:lnTo>
                      <a:pt x="30" y="60"/>
                    </a:lnTo>
                    <a:lnTo>
                      <a:pt x="31" y="57"/>
                    </a:lnTo>
                    <a:lnTo>
                      <a:pt x="31" y="54"/>
                    </a:lnTo>
                    <a:lnTo>
                      <a:pt x="33" y="52"/>
                    </a:lnTo>
                    <a:lnTo>
                      <a:pt x="35" y="54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1" y="59"/>
                    </a:lnTo>
                    <a:lnTo>
                      <a:pt x="45" y="55"/>
                    </a:lnTo>
                    <a:lnTo>
                      <a:pt x="49" y="54"/>
                    </a:lnTo>
                    <a:lnTo>
                      <a:pt x="53" y="50"/>
                    </a:lnTo>
                    <a:lnTo>
                      <a:pt x="62" y="49"/>
                    </a:lnTo>
                    <a:lnTo>
                      <a:pt x="66" y="49"/>
                    </a:lnTo>
                    <a:lnTo>
                      <a:pt x="69" y="46"/>
                    </a:lnTo>
                    <a:lnTo>
                      <a:pt x="74" y="42"/>
                    </a:lnTo>
                    <a:lnTo>
                      <a:pt x="72" y="41"/>
                    </a:lnTo>
                    <a:lnTo>
                      <a:pt x="71" y="41"/>
                    </a:lnTo>
                    <a:lnTo>
                      <a:pt x="67" y="37"/>
                    </a:lnTo>
                    <a:lnTo>
                      <a:pt x="69" y="34"/>
                    </a:lnTo>
                    <a:lnTo>
                      <a:pt x="71" y="32"/>
                    </a:lnTo>
                    <a:lnTo>
                      <a:pt x="72" y="34"/>
                    </a:lnTo>
                    <a:lnTo>
                      <a:pt x="77" y="32"/>
                    </a:lnTo>
                    <a:lnTo>
                      <a:pt x="79" y="34"/>
                    </a:lnTo>
                    <a:lnTo>
                      <a:pt x="84" y="34"/>
                    </a:lnTo>
                    <a:lnTo>
                      <a:pt x="87" y="34"/>
                    </a:lnTo>
                    <a:lnTo>
                      <a:pt x="94" y="34"/>
                    </a:lnTo>
                    <a:lnTo>
                      <a:pt x="97" y="31"/>
                    </a:lnTo>
                    <a:lnTo>
                      <a:pt x="100" y="29"/>
                    </a:lnTo>
                    <a:lnTo>
                      <a:pt x="100" y="28"/>
                    </a:lnTo>
                    <a:lnTo>
                      <a:pt x="100" y="24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2" y="18"/>
                    </a:lnTo>
                    <a:lnTo>
                      <a:pt x="105" y="16"/>
                    </a:lnTo>
                    <a:lnTo>
                      <a:pt x="107" y="16"/>
                    </a:lnTo>
                    <a:lnTo>
                      <a:pt x="108" y="16"/>
                    </a:lnTo>
                    <a:lnTo>
                      <a:pt x="110" y="11"/>
                    </a:lnTo>
                    <a:lnTo>
                      <a:pt x="111" y="11"/>
                    </a:lnTo>
                    <a:lnTo>
                      <a:pt x="111" y="8"/>
                    </a:lnTo>
                    <a:lnTo>
                      <a:pt x="113" y="6"/>
                    </a:lnTo>
                    <a:lnTo>
                      <a:pt x="116" y="5"/>
                    </a:lnTo>
                    <a:lnTo>
                      <a:pt x="120" y="1"/>
                    </a:lnTo>
                    <a:lnTo>
                      <a:pt x="123" y="1"/>
                    </a:lnTo>
                    <a:lnTo>
                      <a:pt x="125" y="3"/>
                    </a:lnTo>
                    <a:lnTo>
                      <a:pt x="129" y="1"/>
                    </a:lnTo>
                    <a:lnTo>
                      <a:pt x="129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4" name="Freeform 258">
                <a:extLst>
                  <a:ext uri="{FF2B5EF4-FFF2-40B4-BE49-F238E27FC236}">
                    <a16:creationId xmlns:a16="http://schemas.microsoft.com/office/drawing/2014/main" xmlns="" id="{5110BC73-644C-40ED-9D7F-C0699BAF5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1500"/>
                <a:ext cx="245" cy="234"/>
              </a:xfrm>
              <a:custGeom>
                <a:avLst/>
                <a:gdLst>
                  <a:gd name="T0" fmla="*/ 231 w 245"/>
                  <a:gd name="T1" fmla="*/ 229 h 234"/>
                  <a:gd name="T2" fmla="*/ 239 w 245"/>
                  <a:gd name="T3" fmla="*/ 67 h 234"/>
                  <a:gd name="T4" fmla="*/ 236 w 245"/>
                  <a:gd name="T5" fmla="*/ 54 h 234"/>
                  <a:gd name="T6" fmla="*/ 239 w 245"/>
                  <a:gd name="T7" fmla="*/ 44 h 234"/>
                  <a:gd name="T8" fmla="*/ 237 w 245"/>
                  <a:gd name="T9" fmla="*/ 36 h 234"/>
                  <a:gd name="T10" fmla="*/ 241 w 245"/>
                  <a:gd name="T11" fmla="*/ 26 h 234"/>
                  <a:gd name="T12" fmla="*/ 236 w 245"/>
                  <a:gd name="T13" fmla="*/ 20 h 234"/>
                  <a:gd name="T14" fmla="*/ 231 w 245"/>
                  <a:gd name="T15" fmla="*/ 20 h 234"/>
                  <a:gd name="T16" fmla="*/ 218 w 245"/>
                  <a:gd name="T17" fmla="*/ 16 h 234"/>
                  <a:gd name="T18" fmla="*/ 208 w 245"/>
                  <a:gd name="T19" fmla="*/ 13 h 234"/>
                  <a:gd name="T20" fmla="*/ 208 w 245"/>
                  <a:gd name="T21" fmla="*/ 11 h 234"/>
                  <a:gd name="T22" fmla="*/ 201 w 245"/>
                  <a:gd name="T23" fmla="*/ 5 h 234"/>
                  <a:gd name="T24" fmla="*/ 192 w 245"/>
                  <a:gd name="T25" fmla="*/ 3 h 234"/>
                  <a:gd name="T26" fmla="*/ 190 w 245"/>
                  <a:gd name="T27" fmla="*/ 5 h 234"/>
                  <a:gd name="T28" fmla="*/ 185 w 245"/>
                  <a:gd name="T29" fmla="*/ 3 h 234"/>
                  <a:gd name="T30" fmla="*/ 172 w 245"/>
                  <a:gd name="T31" fmla="*/ 7 h 234"/>
                  <a:gd name="T32" fmla="*/ 162 w 245"/>
                  <a:gd name="T33" fmla="*/ 13 h 234"/>
                  <a:gd name="T34" fmla="*/ 159 w 245"/>
                  <a:gd name="T35" fmla="*/ 20 h 234"/>
                  <a:gd name="T36" fmla="*/ 161 w 245"/>
                  <a:gd name="T37" fmla="*/ 33 h 234"/>
                  <a:gd name="T38" fmla="*/ 162 w 245"/>
                  <a:gd name="T39" fmla="*/ 42 h 234"/>
                  <a:gd name="T40" fmla="*/ 157 w 245"/>
                  <a:gd name="T41" fmla="*/ 49 h 234"/>
                  <a:gd name="T42" fmla="*/ 147 w 245"/>
                  <a:gd name="T43" fmla="*/ 54 h 234"/>
                  <a:gd name="T44" fmla="*/ 134 w 245"/>
                  <a:gd name="T45" fmla="*/ 46 h 234"/>
                  <a:gd name="T46" fmla="*/ 123 w 245"/>
                  <a:gd name="T47" fmla="*/ 39 h 234"/>
                  <a:gd name="T48" fmla="*/ 107 w 245"/>
                  <a:gd name="T49" fmla="*/ 33 h 234"/>
                  <a:gd name="T50" fmla="*/ 98 w 245"/>
                  <a:gd name="T51" fmla="*/ 34 h 234"/>
                  <a:gd name="T52" fmla="*/ 89 w 245"/>
                  <a:gd name="T53" fmla="*/ 21 h 234"/>
                  <a:gd name="T54" fmla="*/ 84 w 245"/>
                  <a:gd name="T55" fmla="*/ 11 h 234"/>
                  <a:gd name="T56" fmla="*/ 69 w 245"/>
                  <a:gd name="T57" fmla="*/ 7 h 234"/>
                  <a:gd name="T58" fmla="*/ 54 w 245"/>
                  <a:gd name="T59" fmla="*/ 3 h 234"/>
                  <a:gd name="T60" fmla="*/ 36 w 245"/>
                  <a:gd name="T61" fmla="*/ 5 h 234"/>
                  <a:gd name="T62" fmla="*/ 30 w 245"/>
                  <a:gd name="T63" fmla="*/ 0 h 234"/>
                  <a:gd name="T64" fmla="*/ 30 w 245"/>
                  <a:gd name="T65" fmla="*/ 8 h 234"/>
                  <a:gd name="T66" fmla="*/ 28 w 245"/>
                  <a:gd name="T67" fmla="*/ 15 h 234"/>
                  <a:gd name="T68" fmla="*/ 18 w 245"/>
                  <a:gd name="T69" fmla="*/ 23 h 234"/>
                  <a:gd name="T70" fmla="*/ 12 w 245"/>
                  <a:gd name="T71" fmla="*/ 26 h 234"/>
                  <a:gd name="T72" fmla="*/ 10 w 245"/>
                  <a:gd name="T73" fmla="*/ 29 h 234"/>
                  <a:gd name="T74" fmla="*/ 10 w 245"/>
                  <a:gd name="T75" fmla="*/ 38 h 234"/>
                  <a:gd name="T76" fmla="*/ 10 w 245"/>
                  <a:gd name="T77" fmla="*/ 42 h 234"/>
                  <a:gd name="T78" fmla="*/ 9 w 245"/>
                  <a:gd name="T79" fmla="*/ 44 h 234"/>
                  <a:gd name="T80" fmla="*/ 5 w 245"/>
                  <a:gd name="T81" fmla="*/ 49 h 234"/>
                  <a:gd name="T82" fmla="*/ 2 w 245"/>
                  <a:gd name="T83" fmla="*/ 51 h 234"/>
                  <a:gd name="T84" fmla="*/ 0 w 245"/>
                  <a:gd name="T85" fmla="*/ 52 h 234"/>
                  <a:gd name="T86" fmla="*/ 2 w 245"/>
                  <a:gd name="T87" fmla="*/ 59 h 234"/>
                  <a:gd name="T88" fmla="*/ 4 w 245"/>
                  <a:gd name="T89" fmla="*/ 72 h 234"/>
                  <a:gd name="T90" fmla="*/ 5 w 245"/>
                  <a:gd name="T91" fmla="*/ 80 h 234"/>
                  <a:gd name="T92" fmla="*/ 7 w 245"/>
                  <a:gd name="T93" fmla="*/ 93 h 234"/>
                  <a:gd name="T94" fmla="*/ 5 w 245"/>
                  <a:gd name="T95" fmla="*/ 103 h 234"/>
                  <a:gd name="T96" fmla="*/ 7 w 245"/>
                  <a:gd name="T97" fmla="*/ 113 h 234"/>
                  <a:gd name="T98" fmla="*/ 2 w 245"/>
                  <a:gd name="T99" fmla="*/ 118 h 234"/>
                  <a:gd name="T100" fmla="*/ 0 w 245"/>
                  <a:gd name="T101" fmla="*/ 121 h 234"/>
                  <a:gd name="T102" fmla="*/ 5 w 245"/>
                  <a:gd name="T103" fmla="*/ 129 h 234"/>
                  <a:gd name="T104" fmla="*/ 10 w 245"/>
                  <a:gd name="T105" fmla="*/ 136 h 234"/>
                  <a:gd name="T106" fmla="*/ 10 w 245"/>
                  <a:gd name="T107" fmla="*/ 142 h 234"/>
                  <a:gd name="T108" fmla="*/ 12 w 245"/>
                  <a:gd name="T109" fmla="*/ 149 h 234"/>
                  <a:gd name="T110" fmla="*/ 15 w 245"/>
                  <a:gd name="T111" fmla="*/ 154 h 234"/>
                  <a:gd name="T112" fmla="*/ 27 w 245"/>
                  <a:gd name="T113" fmla="*/ 154 h 234"/>
                  <a:gd name="T114" fmla="*/ 32 w 245"/>
                  <a:gd name="T115" fmla="*/ 158 h 234"/>
                  <a:gd name="T116" fmla="*/ 36 w 245"/>
                  <a:gd name="T117" fmla="*/ 167 h 234"/>
                  <a:gd name="T118" fmla="*/ 41 w 245"/>
                  <a:gd name="T119" fmla="*/ 172 h 234"/>
                  <a:gd name="T120" fmla="*/ 71 w 245"/>
                  <a:gd name="T121" fmla="*/ 181 h 234"/>
                  <a:gd name="T122" fmla="*/ 231 w 245"/>
                  <a:gd name="T123" fmla="*/ 234 h 234"/>
                  <a:gd name="T124" fmla="*/ 231 w 245"/>
                  <a:gd name="T125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5" h="234">
                    <a:moveTo>
                      <a:pt x="231" y="234"/>
                    </a:moveTo>
                    <a:lnTo>
                      <a:pt x="231" y="229"/>
                    </a:lnTo>
                    <a:lnTo>
                      <a:pt x="245" y="227"/>
                    </a:lnTo>
                    <a:lnTo>
                      <a:pt x="239" y="67"/>
                    </a:lnTo>
                    <a:lnTo>
                      <a:pt x="237" y="59"/>
                    </a:lnTo>
                    <a:lnTo>
                      <a:pt x="236" y="54"/>
                    </a:lnTo>
                    <a:lnTo>
                      <a:pt x="237" y="49"/>
                    </a:lnTo>
                    <a:lnTo>
                      <a:pt x="239" y="44"/>
                    </a:lnTo>
                    <a:lnTo>
                      <a:pt x="239" y="39"/>
                    </a:lnTo>
                    <a:lnTo>
                      <a:pt x="237" y="36"/>
                    </a:lnTo>
                    <a:lnTo>
                      <a:pt x="239" y="29"/>
                    </a:lnTo>
                    <a:lnTo>
                      <a:pt x="241" y="26"/>
                    </a:lnTo>
                    <a:lnTo>
                      <a:pt x="239" y="21"/>
                    </a:lnTo>
                    <a:lnTo>
                      <a:pt x="236" y="20"/>
                    </a:lnTo>
                    <a:lnTo>
                      <a:pt x="234" y="18"/>
                    </a:lnTo>
                    <a:lnTo>
                      <a:pt x="231" y="20"/>
                    </a:lnTo>
                    <a:lnTo>
                      <a:pt x="219" y="18"/>
                    </a:lnTo>
                    <a:lnTo>
                      <a:pt x="218" y="16"/>
                    </a:lnTo>
                    <a:lnTo>
                      <a:pt x="213" y="15"/>
                    </a:lnTo>
                    <a:lnTo>
                      <a:pt x="208" y="13"/>
                    </a:lnTo>
                    <a:lnTo>
                      <a:pt x="206" y="11"/>
                    </a:lnTo>
                    <a:lnTo>
                      <a:pt x="208" y="11"/>
                    </a:lnTo>
                    <a:lnTo>
                      <a:pt x="208" y="10"/>
                    </a:lnTo>
                    <a:lnTo>
                      <a:pt x="201" y="5"/>
                    </a:lnTo>
                    <a:lnTo>
                      <a:pt x="198" y="5"/>
                    </a:lnTo>
                    <a:lnTo>
                      <a:pt x="192" y="3"/>
                    </a:lnTo>
                    <a:lnTo>
                      <a:pt x="192" y="3"/>
                    </a:lnTo>
                    <a:lnTo>
                      <a:pt x="190" y="5"/>
                    </a:lnTo>
                    <a:lnTo>
                      <a:pt x="185" y="3"/>
                    </a:lnTo>
                    <a:lnTo>
                      <a:pt x="185" y="3"/>
                    </a:lnTo>
                    <a:lnTo>
                      <a:pt x="180" y="5"/>
                    </a:lnTo>
                    <a:lnTo>
                      <a:pt x="172" y="7"/>
                    </a:lnTo>
                    <a:lnTo>
                      <a:pt x="165" y="10"/>
                    </a:lnTo>
                    <a:lnTo>
                      <a:pt x="162" y="13"/>
                    </a:lnTo>
                    <a:lnTo>
                      <a:pt x="161" y="18"/>
                    </a:lnTo>
                    <a:lnTo>
                      <a:pt x="159" y="20"/>
                    </a:lnTo>
                    <a:lnTo>
                      <a:pt x="157" y="28"/>
                    </a:lnTo>
                    <a:lnTo>
                      <a:pt x="161" y="33"/>
                    </a:lnTo>
                    <a:lnTo>
                      <a:pt x="162" y="39"/>
                    </a:lnTo>
                    <a:lnTo>
                      <a:pt x="162" y="42"/>
                    </a:lnTo>
                    <a:lnTo>
                      <a:pt x="157" y="47"/>
                    </a:lnTo>
                    <a:lnTo>
                      <a:pt x="157" y="49"/>
                    </a:lnTo>
                    <a:lnTo>
                      <a:pt x="151" y="52"/>
                    </a:lnTo>
                    <a:lnTo>
                      <a:pt x="147" y="54"/>
                    </a:lnTo>
                    <a:lnTo>
                      <a:pt x="141" y="51"/>
                    </a:lnTo>
                    <a:lnTo>
                      <a:pt x="134" y="46"/>
                    </a:lnTo>
                    <a:lnTo>
                      <a:pt x="130" y="42"/>
                    </a:lnTo>
                    <a:lnTo>
                      <a:pt x="123" y="39"/>
                    </a:lnTo>
                    <a:lnTo>
                      <a:pt x="112" y="33"/>
                    </a:lnTo>
                    <a:lnTo>
                      <a:pt x="107" y="33"/>
                    </a:lnTo>
                    <a:lnTo>
                      <a:pt x="105" y="34"/>
                    </a:lnTo>
                    <a:lnTo>
                      <a:pt x="98" y="34"/>
                    </a:lnTo>
                    <a:lnTo>
                      <a:pt x="94" y="31"/>
                    </a:lnTo>
                    <a:lnTo>
                      <a:pt x="89" y="21"/>
                    </a:lnTo>
                    <a:lnTo>
                      <a:pt x="89" y="16"/>
                    </a:lnTo>
                    <a:lnTo>
                      <a:pt x="84" y="11"/>
                    </a:lnTo>
                    <a:lnTo>
                      <a:pt x="74" y="10"/>
                    </a:lnTo>
                    <a:lnTo>
                      <a:pt x="69" y="7"/>
                    </a:lnTo>
                    <a:lnTo>
                      <a:pt x="59" y="7"/>
                    </a:lnTo>
                    <a:lnTo>
                      <a:pt x="54" y="3"/>
                    </a:lnTo>
                    <a:lnTo>
                      <a:pt x="45" y="7"/>
                    </a:lnTo>
                    <a:lnTo>
                      <a:pt x="36" y="5"/>
                    </a:lnTo>
                    <a:lnTo>
                      <a:pt x="33" y="2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8"/>
                    </a:lnTo>
                    <a:lnTo>
                      <a:pt x="32" y="10"/>
                    </a:lnTo>
                    <a:lnTo>
                      <a:pt x="28" y="15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15" y="26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10" y="29"/>
                    </a:lnTo>
                    <a:lnTo>
                      <a:pt x="9" y="33"/>
                    </a:lnTo>
                    <a:lnTo>
                      <a:pt x="10" y="38"/>
                    </a:lnTo>
                    <a:lnTo>
                      <a:pt x="12" y="41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9" y="44"/>
                    </a:lnTo>
                    <a:lnTo>
                      <a:pt x="7" y="47"/>
                    </a:lnTo>
                    <a:lnTo>
                      <a:pt x="5" y="49"/>
                    </a:lnTo>
                    <a:lnTo>
                      <a:pt x="4" y="51"/>
                    </a:lnTo>
                    <a:lnTo>
                      <a:pt x="2" y="51"/>
                    </a:lnTo>
                    <a:lnTo>
                      <a:pt x="2" y="51"/>
                    </a:lnTo>
                    <a:lnTo>
                      <a:pt x="0" y="52"/>
                    </a:lnTo>
                    <a:lnTo>
                      <a:pt x="0" y="57"/>
                    </a:lnTo>
                    <a:lnTo>
                      <a:pt x="2" y="59"/>
                    </a:lnTo>
                    <a:lnTo>
                      <a:pt x="4" y="62"/>
                    </a:lnTo>
                    <a:lnTo>
                      <a:pt x="4" y="72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5" y="88"/>
                    </a:lnTo>
                    <a:lnTo>
                      <a:pt x="7" y="93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7" y="108"/>
                    </a:lnTo>
                    <a:lnTo>
                      <a:pt x="7" y="113"/>
                    </a:lnTo>
                    <a:lnTo>
                      <a:pt x="5" y="116"/>
                    </a:lnTo>
                    <a:lnTo>
                      <a:pt x="2" y="118"/>
                    </a:lnTo>
                    <a:lnTo>
                      <a:pt x="0" y="119"/>
                    </a:lnTo>
                    <a:lnTo>
                      <a:pt x="0" y="121"/>
                    </a:lnTo>
                    <a:lnTo>
                      <a:pt x="2" y="124"/>
                    </a:lnTo>
                    <a:lnTo>
                      <a:pt x="5" y="129"/>
                    </a:lnTo>
                    <a:lnTo>
                      <a:pt x="9" y="136"/>
                    </a:lnTo>
                    <a:lnTo>
                      <a:pt x="10" y="136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0" y="147"/>
                    </a:lnTo>
                    <a:lnTo>
                      <a:pt x="12" y="149"/>
                    </a:lnTo>
                    <a:lnTo>
                      <a:pt x="14" y="152"/>
                    </a:lnTo>
                    <a:lnTo>
                      <a:pt x="15" y="154"/>
                    </a:lnTo>
                    <a:lnTo>
                      <a:pt x="22" y="154"/>
                    </a:lnTo>
                    <a:lnTo>
                      <a:pt x="27" y="154"/>
                    </a:lnTo>
                    <a:lnTo>
                      <a:pt x="30" y="155"/>
                    </a:lnTo>
                    <a:lnTo>
                      <a:pt x="32" y="158"/>
                    </a:lnTo>
                    <a:lnTo>
                      <a:pt x="35" y="165"/>
                    </a:lnTo>
                    <a:lnTo>
                      <a:pt x="36" y="167"/>
                    </a:lnTo>
                    <a:lnTo>
                      <a:pt x="38" y="170"/>
                    </a:lnTo>
                    <a:lnTo>
                      <a:pt x="41" y="172"/>
                    </a:lnTo>
                    <a:lnTo>
                      <a:pt x="69" y="178"/>
                    </a:lnTo>
                    <a:lnTo>
                      <a:pt x="71" y="181"/>
                    </a:lnTo>
                    <a:lnTo>
                      <a:pt x="103" y="168"/>
                    </a:lnTo>
                    <a:lnTo>
                      <a:pt x="231" y="234"/>
                    </a:lnTo>
                    <a:lnTo>
                      <a:pt x="231" y="234"/>
                    </a:lnTo>
                    <a:lnTo>
                      <a:pt x="231" y="23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6" name="Freeform 259">
                <a:extLst>
                  <a:ext uri="{FF2B5EF4-FFF2-40B4-BE49-F238E27FC236}">
                    <a16:creationId xmlns:a16="http://schemas.microsoft.com/office/drawing/2014/main" xmlns="" id="{BE4D6C21-80B0-450E-A04F-AB1AF55B9B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3" y="1425"/>
                <a:ext cx="63" cy="126"/>
              </a:xfrm>
              <a:custGeom>
                <a:avLst/>
                <a:gdLst>
                  <a:gd name="T0" fmla="*/ 35 w 63"/>
                  <a:gd name="T1" fmla="*/ 126 h 126"/>
                  <a:gd name="T2" fmla="*/ 38 w 63"/>
                  <a:gd name="T3" fmla="*/ 122 h 126"/>
                  <a:gd name="T4" fmla="*/ 41 w 63"/>
                  <a:gd name="T5" fmla="*/ 119 h 126"/>
                  <a:gd name="T6" fmla="*/ 43 w 63"/>
                  <a:gd name="T7" fmla="*/ 116 h 126"/>
                  <a:gd name="T8" fmla="*/ 40 w 63"/>
                  <a:gd name="T9" fmla="*/ 108 h 126"/>
                  <a:gd name="T10" fmla="*/ 41 w 63"/>
                  <a:gd name="T11" fmla="*/ 103 h 126"/>
                  <a:gd name="T12" fmla="*/ 46 w 63"/>
                  <a:gd name="T13" fmla="*/ 101 h 126"/>
                  <a:gd name="T14" fmla="*/ 49 w 63"/>
                  <a:gd name="T15" fmla="*/ 96 h 126"/>
                  <a:gd name="T16" fmla="*/ 63 w 63"/>
                  <a:gd name="T17" fmla="*/ 85 h 126"/>
                  <a:gd name="T18" fmla="*/ 61 w 63"/>
                  <a:gd name="T19" fmla="*/ 77 h 126"/>
                  <a:gd name="T20" fmla="*/ 59 w 63"/>
                  <a:gd name="T21" fmla="*/ 75 h 126"/>
                  <a:gd name="T22" fmla="*/ 54 w 63"/>
                  <a:gd name="T23" fmla="*/ 70 h 126"/>
                  <a:gd name="T24" fmla="*/ 51 w 63"/>
                  <a:gd name="T25" fmla="*/ 67 h 126"/>
                  <a:gd name="T26" fmla="*/ 51 w 63"/>
                  <a:gd name="T27" fmla="*/ 68 h 126"/>
                  <a:gd name="T28" fmla="*/ 48 w 63"/>
                  <a:gd name="T29" fmla="*/ 68 h 126"/>
                  <a:gd name="T30" fmla="*/ 45 w 63"/>
                  <a:gd name="T31" fmla="*/ 67 h 126"/>
                  <a:gd name="T32" fmla="*/ 36 w 63"/>
                  <a:gd name="T33" fmla="*/ 59 h 126"/>
                  <a:gd name="T34" fmla="*/ 46 w 63"/>
                  <a:gd name="T35" fmla="*/ 49 h 126"/>
                  <a:gd name="T36" fmla="*/ 51 w 63"/>
                  <a:gd name="T37" fmla="*/ 42 h 126"/>
                  <a:gd name="T38" fmla="*/ 53 w 63"/>
                  <a:gd name="T39" fmla="*/ 39 h 126"/>
                  <a:gd name="T40" fmla="*/ 51 w 63"/>
                  <a:gd name="T41" fmla="*/ 36 h 126"/>
                  <a:gd name="T42" fmla="*/ 46 w 63"/>
                  <a:gd name="T43" fmla="*/ 28 h 126"/>
                  <a:gd name="T44" fmla="*/ 43 w 63"/>
                  <a:gd name="T45" fmla="*/ 19 h 126"/>
                  <a:gd name="T46" fmla="*/ 46 w 63"/>
                  <a:gd name="T47" fmla="*/ 13 h 126"/>
                  <a:gd name="T48" fmla="*/ 49 w 63"/>
                  <a:gd name="T49" fmla="*/ 5 h 126"/>
                  <a:gd name="T50" fmla="*/ 43 w 63"/>
                  <a:gd name="T51" fmla="*/ 10 h 126"/>
                  <a:gd name="T52" fmla="*/ 40 w 63"/>
                  <a:gd name="T53" fmla="*/ 10 h 126"/>
                  <a:gd name="T54" fmla="*/ 35 w 63"/>
                  <a:gd name="T55" fmla="*/ 5 h 126"/>
                  <a:gd name="T56" fmla="*/ 33 w 63"/>
                  <a:gd name="T57" fmla="*/ 0 h 126"/>
                  <a:gd name="T58" fmla="*/ 30 w 63"/>
                  <a:gd name="T59" fmla="*/ 3 h 126"/>
                  <a:gd name="T60" fmla="*/ 25 w 63"/>
                  <a:gd name="T61" fmla="*/ 1 h 126"/>
                  <a:gd name="T62" fmla="*/ 15 w 63"/>
                  <a:gd name="T63" fmla="*/ 8 h 126"/>
                  <a:gd name="T64" fmla="*/ 14 w 63"/>
                  <a:gd name="T65" fmla="*/ 10 h 126"/>
                  <a:gd name="T66" fmla="*/ 14 w 63"/>
                  <a:gd name="T67" fmla="*/ 16 h 126"/>
                  <a:gd name="T68" fmla="*/ 12 w 63"/>
                  <a:gd name="T69" fmla="*/ 29 h 126"/>
                  <a:gd name="T70" fmla="*/ 14 w 63"/>
                  <a:gd name="T71" fmla="*/ 36 h 126"/>
                  <a:gd name="T72" fmla="*/ 14 w 63"/>
                  <a:gd name="T73" fmla="*/ 37 h 126"/>
                  <a:gd name="T74" fmla="*/ 14 w 63"/>
                  <a:gd name="T75" fmla="*/ 42 h 126"/>
                  <a:gd name="T76" fmla="*/ 12 w 63"/>
                  <a:gd name="T77" fmla="*/ 50 h 126"/>
                  <a:gd name="T78" fmla="*/ 9 w 63"/>
                  <a:gd name="T79" fmla="*/ 54 h 126"/>
                  <a:gd name="T80" fmla="*/ 2 w 63"/>
                  <a:gd name="T81" fmla="*/ 59 h 126"/>
                  <a:gd name="T82" fmla="*/ 2 w 63"/>
                  <a:gd name="T83" fmla="*/ 67 h 126"/>
                  <a:gd name="T84" fmla="*/ 2 w 63"/>
                  <a:gd name="T85" fmla="*/ 73 h 126"/>
                  <a:gd name="T86" fmla="*/ 7 w 63"/>
                  <a:gd name="T87" fmla="*/ 77 h 126"/>
                  <a:gd name="T88" fmla="*/ 12 w 63"/>
                  <a:gd name="T89" fmla="*/ 85 h 126"/>
                  <a:gd name="T90" fmla="*/ 17 w 63"/>
                  <a:gd name="T91" fmla="*/ 88 h 126"/>
                  <a:gd name="T92" fmla="*/ 23 w 63"/>
                  <a:gd name="T93" fmla="*/ 93 h 126"/>
                  <a:gd name="T94" fmla="*/ 33 w 63"/>
                  <a:gd name="T95" fmla="*/ 126 h 126"/>
                  <a:gd name="T96" fmla="*/ 48 w 63"/>
                  <a:gd name="T97" fmla="*/ 64 h 126"/>
                  <a:gd name="T98" fmla="*/ 51 w 63"/>
                  <a:gd name="T99" fmla="*/ 65 h 126"/>
                  <a:gd name="T100" fmla="*/ 48 w 63"/>
                  <a:gd name="T101" fmla="*/ 6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" h="126">
                    <a:moveTo>
                      <a:pt x="33" y="126"/>
                    </a:moveTo>
                    <a:lnTo>
                      <a:pt x="35" y="126"/>
                    </a:lnTo>
                    <a:lnTo>
                      <a:pt x="36" y="124"/>
                    </a:lnTo>
                    <a:lnTo>
                      <a:pt x="38" y="122"/>
                    </a:lnTo>
                    <a:lnTo>
                      <a:pt x="40" y="119"/>
                    </a:lnTo>
                    <a:lnTo>
                      <a:pt x="41" y="119"/>
                    </a:lnTo>
                    <a:lnTo>
                      <a:pt x="41" y="117"/>
                    </a:lnTo>
                    <a:lnTo>
                      <a:pt x="43" y="116"/>
                    </a:lnTo>
                    <a:lnTo>
                      <a:pt x="41" y="113"/>
                    </a:lnTo>
                    <a:lnTo>
                      <a:pt x="40" y="108"/>
                    </a:lnTo>
                    <a:lnTo>
                      <a:pt x="41" y="104"/>
                    </a:lnTo>
                    <a:lnTo>
                      <a:pt x="41" y="103"/>
                    </a:lnTo>
                    <a:lnTo>
                      <a:pt x="43" y="101"/>
                    </a:lnTo>
                    <a:lnTo>
                      <a:pt x="46" y="101"/>
                    </a:lnTo>
                    <a:lnTo>
                      <a:pt x="49" y="98"/>
                    </a:lnTo>
                    <a:lnTo>
                      <a:pt x="49" y="96"/>
                    </a:lnTo>
                    <a:lnTo>
                      <a:pt x="59" y="90"/>
                    </a:lnTo>
                    <a:lnTo>
                      <a:pt x="63" y="85"/>
                    </a:lnTo>
                    <a:lnTo>
                      <a:pt x="61" y="83"/>
                    </a:lnTo>
                    <a:lnTo>
                      <a:pt x="61" y="77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54" y="72"/>
                    </a:lnTo>
                    <a:lnTo>
                      <a:pt x="54" y="70"/>
                    </a:lnTo>
                    <a:lnTo>
                      <a:pt x="54" y="68"/>
                    </a:lnTo>
                    <a:lnTo>
                      <a:pt x="51" y="67"/>
                    </a:lnTo>
                    <a:lnTo>
                      <a:pt x="49" y="67"/>
                    </a:lnTo>
                    <a:lnTo>
                      <a:pt x="51" y="68"/>
                    </a:lnTo>
                    <a:lnTo>
                      <a:pt x="49" y="70"/>
                    </a:lnTo>
                    <a:lnTo>
                      <a:pt x="48" y="68"/>
                    </a:lnTo>
                    <a:lnTo>
                      <a:pt x="46" y="67"/>
                    </a:lnTo>
                    <a:lnTo>
                      <a:pt x="45" y="67"/>
                    </a:lnTo>
                    <a:lnTo>
                      <a:pt x="40" y="64"/>
                    </a:lnTo>
                    <a:lnTo>
                      <a:pt x="36" y="59"/>
                    </a:lnTo>
                    <a:lnTo>
                      <a:pt x="38" y="54"/>
                    </a:lnTo>
                    <a:lnTo>
                      <a:pt x="46" y="49"/>
                    </a:lnTo>
                    <a:lnTo>
                      <a:pt x="51" y="44"/>
                    </a:lnTo>
                    <a:lnTo>
                      <a:pt x="51" y="42"/>
                    </a:lnTo>
                    <a:lnTo>
                      <a:pt x="51" y="41"/>
                    </a:lnTo>
                    <a:lnTo>
                      <a:pt x="53" y="39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1" y="29"/>
                    </a:lnTo>
                    <a:lnTo>
                      <a:pt x="46" y="28"/>
                    </a:lnTo>
                    <a:lnTo>
                      <a:pt x="41" y="23"/>
                    </a:lnTo>
                    <a:lnTo>
                      <a:pt x="43" y="19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9" y="8"/>
                    </a:lnTo>
                    <a:lnTo>
                      <a:pt x="49" y="5"/>
                    </a:lnTo>
                    <a:lnTo>
                      <a:pt x="48" y="5"/>
                    </a:lnTo>
                    <a:lnTo>
                      <a:pt x="43" y="10"/>
                    </a:lnTo>
                    <a:lnTo>
                      <a:pt x="41" y="11"/>
                    </a:lnTo>
                    <a:lnTo>
                      <a:pt x="40" y="10"/>
                    </a:lnTo>
                    <a:lnTo>
                      <a:pt x="36" y="5"/>
                    </a:lnTo>
                    <a:lnTo>
                      <a:pt x="35" y="5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30" y="3"/>
                    </a:lnTo>
                    <a:lnTo>
                      <a:pt x="28" y="0"/>
                    </a:lnTo>
                    <a:lnTo>
                      <a:pt x="25" y="1"/>
                    </a:lnTo>
                    <a:lnTo>
                      <a:pt x="18" y="3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5" y="11"/>
                    </a:lnTo>
                    <a:lnTo>
                      <a:pt x="14" y="16"/>
                    </a:lnTo>
                    <a:lnTo>
                      <a:pt x="14" y="21"/>
                    </a:lnTo>
                    <a:lnTo>
                      <a:pt x="12" y="29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5" y="37"/>
                    </a:lnTo>
                    <a:lnTo>
                      <a:pt x="14" y="37"/>
                    </a:lnTo>
                    <a:lnTo>
                      <a:pt x="12" y="41"/>
                    </a:lnTo>
                    <a:lnTo>
                      <a:pt x="14" y="42"/>
                    </a:lnTo>
                    <a:lnTo>
                      <a:pt x="12" y="44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9" y="54"/>
                    </a:lnTo>
                    <a:lnTo>
                      <a:pt x="5" y="54"/>
                    </a:lnTo>
                    <a:lnTo>
                      <a:pt x="2" y="59"/>
                    </a:lnTo>
                    <a:lnTo>
                      <a:pt x="0" y="67"/>
                    </a:lnTo>
                    <a:lnTo>
                      <a:pt x="2" y="67"/>
                    </a:lnTo>
                    <a:lnTo>
                      <a:pt x="4" y="72"/>
                    </a:lnTo>
                    <a:lnTo>
                      <a:pt x="2" y="73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10" y="80"/>
                    </a:lnTo>
                    <a:lnTo>
                      <a:pt x="12" y="85"/>
                    </a:lnTo>
                    <a:lnTo>
                      <a:pt x="15" y="86"/>
                    </a:lnTo>
                    <a:lnTo>
                      <a:pt x="17" y="88"/>
                    </a:lnTo>
                    <a:lnTo>
                      <a:pt x="20" y="88"/>
                    </a:lnTo>
                    <a:lnTo>
                      <a:pt x="23" y="93"/>
                    </a:lnTo>
                    <a:lnTo>
                      <a:pt x="33" y="126"/>
                    </a:lnTo>
                    <a:lnTo>
                      <a:pt x="33" y="126"/>
                    </a:lnTo>
                    <a:close/>
                    <a:moveTo>
                      <a:pt x="48" y="64"/>
                    </a:moveTo>
                    <a:lnTo>
                      <a:pt x="48" y="64"/>
                    </a:lnTo>
                    <a:lnTo>
                      <a:pt x="51" y="64"/>
                    </a:lnTo>
                    <a:lnTo>
                      <a:pt x="51" y="65"/>
                    </a:lnTo>
                    <a:lnTo>
                      <a:pt x="49" y="67"/>
                    </a:lnTo>
                    <a:lnTo>
                      <a:pt x="48" y="6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8" name="Freeform 260">
                <a:extLst>
                  <a:ext uri="{FF2B5EF4-FFF2-40B4-BE49-F238E27FC236}">
                    <a16:creationId xmlns:a16="http://schemas.microsoft.com/office/drawing/2014/main" xmlns="" id="{C786B6A3-4701-4376-A620-BA7F826B8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" y="1428"/>
                <a:ext cx="318" cy="315"/>
              </a:xfrm>
              <a:custGeom>
                <a:avLst/>
                <a:gdLst>
                  <a:gd name="T0" fmla="*/ 313 w 318"/>
                  <a:gd name="T1" fmla="*/ 239 h 315"/>
                  <a:gd name="T2" fmla="*/ 307 w 318"/>
                  <a:gd name="T3" fmla="*/ 227 h 315"/>
                  <a:gd name="T4" fmla="*/ 292 w 318"/>
                  <a:gd name="T5" fmla="*/ 226 h 315"/>
                  <a:gd name="T6" fmla="*/ 287 w 318"/>
                  <a:gd name="T7" fmla="*/ 219 h 315"/>
                  <a:gd name="T8" fmla="*/ 287 w 318"/>
                  <a:gd name="T9" fmla="*/ 208 h 315"/>
                  <a:gd name="T10" fmla="*/ 279 w 318"/>
                  <a:gd name="T11" fmla="*/ 196 h 315"/>
                  <a:gd name="T12" fmla="*/ 279 w 318"/>
                  <a:gd name="T13" fmla="*/ 190 h 315"/>
                  <a:gd name="T14" fmla="*/ 284 w 318"/>
                  <a:gd name="T15" fmla="*/ 180 h 315"/>
                  <a:gd name="T16" fmla="*/ 284 w 318"/>
                  <a:gd name="T17" fmla="*/ 165 h 315"/>
                  <a:gd name="T18" fmla="*/ 282 w 318"/>
                  <a:gd name="T19" fmla="*/ 150 h 315"/>
                  <a:gd name="T20" fmla="*/ 279 w 318"/>
                  <a:gd name="T21" fmla="*/ 131 h 315"/>
                  <a:gd name="T22" fmla="*/ 279 w 318"/>
                  <a:gd name="T23" fmla="*/ 123 h 315"/>
                  <a:gd name="T24" fmla="*/ 263 w 318"/>
                  <a:gd name="T25" fmla="*/ 85 h 315"/>
                  <a:gd name="T26" fmla="*/ 256 w 318"/>
                  <a:gd name="T27" fmla="*/ 77 h 315"/>
                  <a:gd name="T28" fmla="*/ 248 w 318"/>
                  <a:gd name="T29" fmla="*/ 70 h 315"/>
                  <a:gd name="T30" fmla="*/ 246 w 318"/>
                  <a:gd name="T31" fmla="*/ 64 h 315"/>
                  <a:gd name="T32" fmla="*/ 255 w 318"/>
                  <a:gd name="T33" fmla="*/ 51 h 315"/>
                  <a:gd name="T34" fmla="*/ 258 w 318"/>
                  <a:gd name="T35" fmla="*/ 41 h 315"/>
                  <a:gd name="T36" fmla="*/ 260 w 318"/>
                  <a:gd name="T37" fmla="*/ 34 h 315"/>
                  <a:gd name="T38" fmla="*/ 258 w 318"/>
                  <a:gd name="T39" fmla="*/ 31 h 315"/>
                  <a:gd name="T40" fmla="*/ 260 w 318"/>
                  <a:gd name="T41" fmla="*/ 13 h 315"/>
                  <a:gd name="T42" fmla="*/ 261 w 318"/>
                  <a:gd name="T43" fmla="*/ 5 h 315"/>
                  <a:gd name="T44" fmla="*/ 253 w 318"/>
                  <a:gd name="T45" fmla="*/ 3 h 315"/>
                  <a:gd name="T46" fmla="*/ 238 w 318"/>
                  <a:gd name="T47" fmla="*/ 2 h 315"/>
                  <a:gd name="T48" fmla="*/ 230 w 318"/>
                  <a:gd name="T49" fmla="*/ 5 h 315"/>
                  <a:gd name="T50" fmla="*/ 224 w 318"/>
                  <a:gd name="T51" fmla="*/ 2 h 315"/>
                  <a:gd name="T52" fmla="*/ 219 w 318"/>
                  <a:gd name="T53" fmla="*/ 7 h 315"/>
                  <a:gd name="T54" fmla="*/ 211 w 318"/>
                  <a:gd name="T55" fmla="*/ 8 h 315"/>
                  <a:gd name="T56" fmla="*/ 201 w 318"/>
                  <a:gd name="T57" fmla="*/ 5 h 315"/>
                  <a:gd name="T58" fmla="*/ 191 w 318"/>
                  <a:gd name="T59" fmla="*/ 5 h 315"/>
                  <a:gd name="T60" fmla="*/ 184 w 318"/>
                  <a:gd name="T61" fmla="*/ 5 h 315"/>
                  <a:gd name="T62" fmla="*/ 178 w 318"/>
                  <a:gd name="T63" fmla="*/ 7 h 315"/>
                  <a:gd name="T64" fmla="*/ 166 w 318"/>
                  <a:gd name="T65" fmla="*/ 8 h 315"/>
                  <a:gd name="T66" fmla="*/ 155 w 318"/>
                  <a:gd name="T67" fmla="*/ 10 h 315"/>
                  <a:gd name="T68" fmla="*/ 140 w 318"/>
                  <a:gd name="T69" fmla="*/ 16 h 315"/>
                  <a:gd name="T70" fmla="*/ 134 w 318"/>
                  <a:gd name="T71" fmla="*/ 23 h 315"/>
                  <a:gd name="T72" fmla="*/ 129 w 318"/>
                  <a:gd name="T73" fmla="*/ 23 h 315"/>
                  <a:gd name="T74" fmla="*/ 122 w 318"/>
                  <a:gd name="T75" fmla="*/ 26 h 315"/>
                  <a:gd name="T76" fmla="*/ 116 w 318"/>
                  <a:gd name="T77" fmla="*/ 31 h 315"/>
                  <a:gd name="T78" fmla="*/ 104 w 318"/>
                  <a:gd name="T79" fmla="*/ 36 h 315"/>
                  <a:gd name="T80" fmla="*/ 108 w 318"/>
                  <a:gd name="T81" fmla="*/ 43 h 315"/>
                  <a:gd name="T82" fmla="*/ 109 w 318"/>
                  <a:gd name="T83" fmla="*/ 52 h 315"/>
                  <a:gd name="T84" fmla="*/ 111 w 318"/>
                  <a:gd name="T85" fmla="*/ 72 h 315"/>
                  <a:gd name="T86" fmla="*/ 116 w 318"/>
                  <a:gd name="T87" fmla="*/ 82 h 315"/>
                  <a:gd name="T88" fmla="*/ 121 w 318"/>
                  <a:gd name="T89" fmla="*/ 83 h 315"/>
                  <a:gd name="T90" fmla="*/ 117 w 318"/>
                  <a:gd name="T91" fmla="*/ 92 h 315"/>
                  <a:gd name="T92" fmla="*/ 91 w 318"/>
                  <a:gd name="T93" fmla="*/ 100 h 315"/>
                  <a:gd name="T94" fmla="*/ 86 w 318"/>
                  <a:gd name="T95" fmla="*/ 111 h 315"/>
                  <a:gd name="T96" fmla="*/ 57 w 318"/>
                  <a:gd name="T97" fmla="*/ 132 h 315"/>
                  <a:gd name="T98" fmla="*/ 31 w 318"/>
                  <a:gd name="T99" fmla="*/ 141 h 315"/>
                  <a:gd name="T100" fmla="*/ 16 w 318"/>
                  <a:gd name="T101" fmla="*/ 144 h 315"/>
                  <a:gd name="T102" fmla="*/ 1 w 318"/>
                  <a:gd name="T103" fmla="*/ 157 h 315"/>
                  <a:gd name="T104" fmla="*/ 0 w 318"/>
                  <a:gd name="T105" fmla="*/ 175 h 315"/>
                  <a:gd name="T106" fmla="*/ 57 w 318"/>
                  <a:gd name="T107" fmla="*/ 214 h 315"/>
                  <a:gd name="T108" fmla="*/ 163 w 318"/>
                  <a:gd name="T109" fmla="*/ 293 h 315"/>
                  <a:gd name="T110" fmla="*/ 176 w 318"/>
                  <a:gd name="T111" fmla="*/ 297 h 315"/>
                  <a:gd name="T112" fmla="*/ 186 w 318"/>
                  <a:gd name="T113" fmla="*/ 304 h 315"/>
                  <a:gd name="T114" fmla="*/ 186 w 318"/>
                  <a:gd name="T115" fmla="*/ 314 h 315"/>
                  <a:gd name="T116" fmla="*/ 202 w 318"/>
                  <a:gd name="T117" fmla="*/ 312 h 315"/>
                  <a:gd name="T118" fmla="*/ 227 w 318"/>
                  <a:gd name="T119" fmla="*/ 307 h 315"/>
                  <a:gd name="T120" fmla="*/ 318 w 318"/>
                  <a:gd name="T121" fmla="*/ 244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8" h="315">
                    <a:moveTo>
                      <a:pt x="318" y="244"/>
                    </a:moveTo>
                    <a:lnTo>
                      <a:pt x="315" y="242"/>
                    </a:lnTo>
                    <a:lnTo>
                      <a:pt x="313" y="239"/>
                    </a:lnTo>
                    <a:lnTo>
                      <a:pt x="312" y="237"/>
                    </a:lnTo>
                    <a:lnTo>
                      <a:pt x="309" y="230"/>
                    </a:lnTo>
                    <a:lnTo>
                      <a:pt x="307" y="227"/>
                    </a:lnTo>
                    <a:lnTo>
                      <a:pt x="304" y="226"/>
                    </a:lnTo>
                    <a:lnTo>
                      <a:pt x="299" y="226"/>
                    </a:lnTo>
                    <a:lnTo>
                      <a:pt x="292" y="226"/>
                    </a:lnTo>
                    <a:lnTo>
                      <a:pt x="291" y="224"/>
                    </a:lnTo>
                    <a:lnTo>
                      <a:pt x="289" y="221"/>
                    </a:lnTo>
                    <a:lnTo>
                      <a:pt x="287" y="219"/>
                    </a:lnTo>
                    <a:lnTo>
                      <a:pt x="287" y="214"/>
                    </a:lnTo>
                    <a:lnTo>
                      <a:pt x="287" y="212"/>
                    </a:lnTo>
                    <a:lnTo>
                      <a:pt x="287" y="208"/>
                    </a:lnTo>
                    <a:lnTo>
                      <a:pt x="286" y="208"/>
                    </a:lnTo>
                    <a:lnTo>
                      <a:pt x="282" y="201"/>
                    </a:lnTo>
                    <a:lnTo>
                      <a:pt x="279" y="196"/>
                    </a:lnTo>
                    <a:lnTo>
                      <a:pt x="277" y="193"/>
                    </a:lnTo>
                    <a:lnTo>
                      <a:pt x="277" y="191"/>
                    </a:lnTo>
                    <a:lnTo>
                      <a:pt x="279" y="190"/>
                    </a:lnTo>
                    <a:lnTo>
                      <a:pt x="282" y="188"/>
                    </a:lnTo>
                    <a:lnTo>
                      <a:pt x="284" y="185"/>
                    </a:lnTo>
                    <a:lnTo>
                      <a:pt x="284" y="180"/>
                    </a:lnTo>
                    <a:lnTo>
                      <a:pt x="282" y="175"/>
                    </a:lnTo>
                    <a:lnTo>
                      <a:pt x="282" y="173"/>
                    </a:lnTo>
                    <a:lnTo>
                      <a:pt x="284" y="165"/>
                    </a:lnTo>
                    <a:lnTo>
                      <a:pt x="282" y="160"/>
                    </a:lnTo>
                    <a:lnTo>
                      <a:pt x="282" y="152"/>
                    </a:lnTo>
                    <a:lnTo>
                      <a:pt x="282" y="150"/>
                    </a:lnTo>
                    <a:lnTo>
                      <a:pt x="281" y="144"/>
                    </a:lnTo>
                    <a:lnTo>
                      <a:pt x="281" y="134"/>
                    </a:lnTo>
                    <a:lnTo>
                      <a:pt x="279" y="131"/>
                    </a:lnTo>
                    <a:lnTo>
                      <a:pt x="277" y="129"/>
                    </a:lnTo>
                    <a:lnTo>
                      <a:pt x="277" y="124"/>
                    </a:lnTo>
                    <a:lnTo>
                      <a:pt x="279" y="123"/>
                    </a:lnTo>
                    <a:lnTo>
                      <a:pt x="269" y="90"/>
                    </a:lnTo>
                    <a:lnTo>
                      <a:pt x="266" y="85"/>
                    </a:lnTo>
                    <a:lnTo>
                      <a:pt x="263" y="85"/>
                    </a:lnTo>
                    <a:lnTo>
                      <a:pt x="261" y="83"/>
                    </a:lnTo>
                    <a:lnTo>
                      <a:pt x="258" y="82"/>
                    </a:lnTo>
                    <a:lnTo>
                      <a:pt x="256" y="77"/>
                    </a:lnTo>
                    <a:lnTo>
                      <a:pt x="253" y="74"/>
                    </a:lnTo>
                    <a:lnTo>
                      <a:pt x="251" y="74"/>
                    </a:lnTo>
                    <a:lnTo>
                      <a:pt x="248" y="70"/>
                    </a:lnTo>
                    <a:lnTo>
                      <a:pt x="250" y="69"/>
                    </a:lnTo>
                    <a:lnTo>
                      <a:pt x="248" y="64"/>
                    </a:lnTo>
                    <a:lnTo>
                      <a:pt x="246" y="64"/>
                    </a:lnTo>
                    <a:lnTo>
                      <a:pt x="248" y="56"/>
                    </a:lnTo>
                    <a:lnTo>
                      <a:pt x="251" y="51"/>
                    </a:lnTo>
                    <a:lnTo>
                      <a:pt x="255" y="51"/>
                    </a:lnTo>
                    <a:lnTo>
                      <a:pt x="256" y="49"/>
                    </a:lnTo>
                    <a:lnTo>
                      <a:pt x="258" y="47"/>
                    </a:lnTo>
                    <a:lnTo>
                      <a:pt x="258" y="41"/>
                    </a:lnTo>
                    <a:lnTo>
                      <a:pt x="260" y="39"/>
                    </a:lnTo>
                    <a:lnTo>
                      <a:pt x="258" y="38"/>
                    </a:lnTo>
                    <a:lnTo>
                      <a:pt x="260" y="34"/>
                    </a:lnTo>
                    <a:lnTo>
                      <a:pt x="261" y="34"/>
                    </a:lnTo>
                    <a:lnTo>
                      <a:pt x="260" y="33"/>
                    </a:lnTo>
                    <a:lnTo>
                      <a:pt x="258" y="31"/>
                    </a:lnTo>
                    <a:lnTo>
                      <a:pt x="258" y="26"/>
                    </a:lnTo>
                    <a:lnTo>
                      <a:pt x="260" y="18"/>
                    </a:lnTo>
                    <a:lnTo>
                      <a:pt x="260" y="13"/>
                    </a:lnTo>
                    <a:lnTo>
                      <a:pt x="261" y="8"/>
                    </a:lnTo>
                    <a:lnTo>
                      <a:pt x="260" y="7"/>
                    </a:lnTo>
                    <a:lnTo>
                      <a:pt x="261" y="5"/>
                    </a:lnTo>
                    <a:lnTo>
                      <a:pt x="260" y="3"/>
                    </a:lnTo>
                    <a:lnTo>
                      <a:pt x="255" y="5"/>
                    </a:lnTo>
                    <a:lnTo>
                      <a:pt x="253" y="3"/>
                    </a:lnTo>
                    <a:lnTo>
                      <a:pt x="246" y="7"/>
                    </a:lnTo>
                    <a:lnTo>
                      <a:pt x="243" y="3"/>
                    </a:lnTo>
                    <a:lnTo>
                      <a:pt x="238" y="2"/>
                    </a:lnTo>
                    <a:lnTo>
                      <a:pt x="238" y="3"/>
                    </a:lnTo>
                    <a:lnTo>
                      <a:pt x="235" y="5"/>
                    </a:lnTo>
                    <a:lnTo>
                      <a:pt x="230" y="5"/>
                    </a:lnTo>
                    <a:lnTo>
                      <a:pt x="230" y="2"/>
                    </a:lnTo>
                    <a:lnTo>
                      <a:pt x="227" y="0"/>
                    </a:lnTo>
                    <a:lnTo>
                      <a:pt x="224" y="2"/>
                    </a:lnTo>
                    <a:lnTo>
                      <a:pt x="224" y="3"/>
                    </a:lnTo>
                    <a:lnTo>
                      <a:pt x="220" y="5"/>
                    </a:lnTo>
                    <a:lnTo>
                      <a:pt x="219" y="7"/>
                    </a:lnTo>
                    <a:lnTo>
                      <a:pt x="217" y="7"/>
                    </a:lnTo>
                    <a:lnTo>
                      <a:pt x="214" y="7"/>
                    </a:lnTo>
                    <a:lnTo>
                      <a:pt x="211" y="8"/>
                    </a:lnTo>
                    <a:lnTo>
                      <a:pt x="207" y="8"/>
                    </a:lnTo>
                    <a:lnTo>
                      <a:pt x="206" y="5"/>
                    </a:lnTo>
                    <a:lnTo>
                      <a:pt x="201" y="5"/>
                    </a:lnTo>
                    <a:lnTo>
                      <a:pt x="199" y="5"/>
                    </a:lnTo>
                    <a:lnTo>
                      <a:pt x="194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3"/>
                    </a:lnTo>
                    <a:lnTo>
                      <a:pt x="184" y="5"/>
                    </a:lnTo>
                    <a:lnTo>
                      <a:pt x="184" y="8"/>
                    </a:lnTo>
                    <a:lnTo>
                      <a:pt x="179" y="8"/>
                    </a:lnTo>
                    <a:lnTo>
                      <a:pt x="178" y="7"/>
                    </a:lnTo>
                    <a:lnTo>
                      <a:pt x="173" y="10"/>
                    </a:lnTo>
                    <a:lnTo>
                      <a:pt x="171" y="10"/>
                    </a:lnTo>
                    <a:lnTo>
                      <a:pt x="166" y="8"/>
                    </a:lnTo>
                    <a:lnTo>
                      <a:pt x="163" y="10"/>
                    </a:lnTo>
                    <a:lnTo>
                      <a:pt x="158" y="10"/>
                    </a:lnTo>
                    <a:lnTo>
                      <a:pt x="155" y="10"/>
                    </a:lnTo>
                    <a:lnTo>
                      <a:pt x="147" y="15"/>
                    </a:lnTo>
                    <a:lnTo>
                      <a:pt x="142" y="16"/>
                    </a:lnTo>
                    <a:lnTo>
                      <a:pt x="140" y="16"/>
                    </a:lnTo>
                    <a:lnTo>
                      <a:pt x="135" y="18"/>
                    </a:lnTo>
                    <a:lnTo>
                      <a:pt x="135" y="21"/>
                    </a:lnTo>
                    <a:lnTo>
                      <a:pt x="134" y="23"/>
                    </a:lnTo>
                    <a:lnTo>
                      <a:pt x="132" y="23"/>
                    </a:lnTo>
                    <a:lnTo>
                      <a:pt x="131" y="23"/>
                    </a:lnTo>
                    <a:lnTo>
                      <a:pt x="129" y="23"/>
                    </a:lnTo>
                    <a:lnTo>
                      <a:pt x="127" y="25"/>
                    </a:lnTo>
                    <a:lnTo>
                      <a:pt x="127" y="25"/>
                    </a:lnTo>
                    <a:lnTo>
                      <a:pt x="122" y="26"/>
                    </a:lnTo>
                    <a:lnTo>
                      <a:pt x="117" y="28"/>
                    </a:lnTo>
                    <a:lnTo>
                      <a:pt x="116" y="29"/>
                    </a:lnTo>
                    <a:lnTo>
                      <a:pt x="116" y="31"/>
                    </a:lnTo>
                    <a:lnTo>
                      <a:pt x="113" y="34"/>
                    </a:lnTo>
                    <a:lnTo>
                      <a:pt x="108" y="36"/>
                    </a:lnTo>
                    <a:lnTo>
                      <a:pt x="104" y="36"/>
                    </a:lnTo>
                    <a:lnTo>
                      <a:pt x="104" y="38"/>
                    </a:lnTo>
                    <a:lnTo>
                      <a:pt x="106" y="39"/>
                    </a:lnTo>
                    <a:lnTo>
                      <a:pt x="108" y="43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9" y="52"/>
                    </a:lnTo>
                    <a:lnTo>
                      <a:pt x="108" y="57"/>
                    </a:lnTo>
                    <a:lnTo>
                      <a:pt x="109" y="61"/>
                    </a:lnTo>
                    <a:lnTo>
                      <a:pt x="111" y="72"/>
                    </a:lnTo>
                    <a:lnTo>
                      <a:pt x="113" y="77"/>
                    </a:lnTo>
                    <a:lnTo>
                      <a:pt x="113" y="80"/>
                    </a:lnTo>
                    <a:lnTo>
                      <a:pt x="116" y="82"/>
                    </a:lnTo>
                    <a:lnTo>
                      <a:pt x="117" y="83"/>
                    </a:lnTo>
                    <a:lnTo>
                      <a:pt x="119" y="83"/>
                    </a:lnTo>
                    <a:lnTo>
                      <a:pt x="121" y="83"/>
                    </a:lnTo>
                    <a:lnTo>
                      <a:pt x="119" y="88"/>
                    </a:lnTo>
                    <a:lnTo>
                      <a:pt x="119" y="90"/>
                    </a:lnTo>
                    <a:lnTo>
                      <a:pt x="117" y="92"/>
                    </a:lnTo>
                    <a:lnTo>
                      <a:pt x="98" y="92"/>
                    </a:lnTo>
                    <a:lnTo>
                      <a:pt x="95" y="93"/>
                    </a:lnTo>
                    <a:lnTo>
                      <a:pt x="91" y="100"/>
                    </a:lnTo>
                    <a:lnTo>
                      <a:pt x="88" y="103"/>
                    </a:lnTo>
                    <a:lnTo>
                      <a:pt x="86" y="106"/>
                    </a:lnTo>
                    <a:lnTo>
                      <a:pt x="86" y="111"/>
                    </a:lnTo>
                    <a:lnTo>
                      <a:pt x="85" y="114"/>
                    </a:lnTo>
                    <a:lnTo>
                      <a:pt x="73" y="123"/>
                    </a:lnTo>
                    <a:lnTo>
                      <a:pt x="57" y="132"/>
                    </a:lnTo>
                    <a:lnTo>
                      <a:pt x="44" y="141"/>
                    </a:lnTo>
                    <a:lnTo>
                      <a:pt x="37" y="141"/>
                    </a:lnTo>
                    <a:lnTo>
                      <a:pt x="31" y="141"/>
                    </a:lnTo>
                    <a:lnTo>
                      <a:pt x="29" y="142"/>
                    </a:lnTo>
                    <a:lnTo>
                      <a:pt x="24" y="142"/>
                    </a:lnTo>
                    <a:lnTo>
                      <a:pt x="16" y="144"/>
                    </a:lnTo>
                    <a:lnTo>
                      <a:pt x="11" y="147"/>
                    </a:lnTo>
                    <a:lnTo>
                      <a:pt x="8" y="152"/>
                    </a:lnTo>
                    <a:lnTo>
                      <a:pt x="1" y="157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57" y="214"/>
                    </a:lnTo>
                    <a:lnTo>
                      <a:pt x="57" y="214"/>
                    </a:lnTo>
                    <a:lnTo>
                      <a:pt x="162" y="284"/>
                    </a:lnTo>
                    <a:lnTo>
                      <a:pt x="163" y="293"/>
                    </a:lnTo>
                    <a:lnTo>
                      <a:pt x="166" y="296"/>
                    </a:lnTo>
                    <a:lnTo>
                      <a:pt x="173" y="296"/>
                    </a:lnTo>
                    <a:lnTo>
                      <a:pt x="176" y="297"/>
                    </a:lnTo>
                    <a:lnTo>
                      <a:pt x="179" y="301"/>
                    </a:lnTo>
                    <a:lnTo>
                      <a:pt x="183" y="301"/>
                    </a:lnTo>
                    <a:lnTo>
                      <a:pt x="186" y="304"/>
                    </a:lnTo>
                    <a:lnTo>
                      <a:pt x="186" y="307"/>
                    </a:lnTo>
                    <a:lnTo>
                      <a:pt x="184" y="312"/>
                    </a:lnTo>
                    <a:lnTo>
                      <a:pt x="186" y="314"/>
                    </a:lnTo>
                    <a:lnTo>
                      <a:pt x="189" y="315"/>
                    </a:lnTo>
                    <a:lnTo>
                      <a:pt x="197" y="315"/>
                    </a:lnTo>
                    <a:lnTo>
                      <a:pt x="202" y="312"/>
                    </a:lnTo>
                    <a:lnTo>
                      <a:pt x="202" y="312"/>
                    </a:lnTo>
                    <a:lnTo>
                      <a:pt x="202" y="312"/>
                    </a:lnTo>
                    <a:lnTo>
                      <a:pt x="227" y="307"/>
                    </a:lnTo>
                    <a:lnTo>
                      <a:pt x="246" y="289"/>
                    </a:lnTo>
                    <a:lnTo>
                      <a:pt x="318" y="244"/>
                    </a:lnTo>
                    <a:lnTo>
                      <a:pt x="318" y="24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0" name="Freeform 261">
                <a:extLst>
                  <a:ext uri="{FF2B5EF4-FFF2-40B4-BE49-F238E27FC236}">
                    <a16:creationId xmlns:a16="http://schemas.microsoft.com/office/drawing/2014/main" xmlns="" id="{F8D9C623-8F4B-4D0F-8F4A-A7A7C4EB6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" y="1449"/>
                <a:ext cx="185" cy="149"/>
              </a:xfrm>
              <a:custGeom>
                <a:avLst/>
                <a:gdLst>
                  <a:gd name="T0" fmla="*/ 65 w 185"/>
                  <a:gd name="T1" fmla="*/ 136 h 149"/>
                  <a:gd name="T2" fmla="*/ 75 w 185"/>
                  <a:gd name="T3" fmla="*/ 126 h 149"/>
                  <a:gd name="T4" fmla="*/ 88 w 185"/>
                  <a:gd name="T5" fmla="*/ 121 h 149"/>
                  <a:gd name="T6" fmla="*/ 95 w 185"/>
                  <a:gd name="T7" fmla="*/ 120 h 149"/>
                  <a:gd name="T8" fmla="*/ 108 w 185"/>
                  <a:gd name="T9" fmla="*/ 120 h 149"/>
                  <a:gd name="T10" fmla="*/ 137 w 185"/>
                  <a:gd name="T11" fmla="*/ 102 h 149"/>
                  <a:gd name="T12" fmla="*/ 150 w 185"/>
                  <a:gd name="T13" fmla="*/ 90 h 149"/>
                  <a:gd name="T14" fmla="*/ 152 w 185"/>
                  <a:gd name="T15" fmla="*/ 82 h 149"/>
                  <a:gd name="T16" fmla="*/ 159 w 185"/>
                  <a:gd name="T17" fmla="*/ 72 h 149"/>
                  <a:gd name="T18" fmla="*/ 181 w 185"/>
                  <a:gd name="T19" fmla="*/ 71 h 149"/>
                  <a:gd name="T20" fmla="*/ 183 w 185"/>
                  <a:gd name="T21" fmla="*/ 67 h 149"/>
                  <a:gd name="T22" fmla="*/ 183 w 185"/>
                  <a:gd name="T23" fmla="*/ 62 h 149"/>
                  <a:gd name="T24" fmla="*/ 180 w 185"/>
                  <a:gd name="T25" fmla="*/ 61 h 149"/>
                  <a:gd name="T26" fmla="*/ 177 w 185"/>
                  <a:gd name="T27" fmla="*/ 56 h 149"/>
                  <a:gd name="T28" fmla="*/ 173 w 185"/>
                  <a:gd name="T29" fmla="*/ 40 h 149"/>
                  <a:gd name="T30" fmla="*/ 173 w 185"/>
                  <a:gd name="T31" fmla="*/ 31 h 149"/>
                  <a:gd name="T32" fmla="*/ 172 w 185"/>
                  <a:gd name="T33" fmla="*/ 25 h 149"/>
                  <a:gd name="T34" fmla="*/ 170 w 185"/>
                  <a:gd name="T35" fmla="*/ 18 h 149"/>
                  <a:gd name="T36" fmla="*/ 168 w 185"/>
                  <a:gd name="T37" fmla="*/ 15 h 149"/>
                  <a:gd name="T38" fmla="*/ 157 w 185"/>
                  <a:gd name="T39" fmla="*/ 15 h 149"/>
                  <a:gd name="T40" fmla="*/ 154 w 185"/>
                  <a:gd name="T41" fmla="*/ 10 h 149"/>
                  <a:gd name="T42" fmla="*/ 152 w 185"/>
                  <a:gd name="T43" fmla="*/ 8 h 149"/>
                  <a:gd name="T44" fmla="*/ 144 w 185"/>
                  <a:gd name="T45" fmla="*/ 13 h 149"/>
                  <a:gd name="T46" fmla="*/ 137 w 185"/>
                  <a:gd name="T47" fmla="*/ 12 h 149"/>
                  <a:gd name="T48" fmla="*/ 129 w 185"/>
                  <a:gd name="T49" fmla="*/ 15 h 149"/>
                  <a:gd name="T50" fmla="*/ 121 w 185"/>
                  <a:gd name="T51" fmla="*/ 8 h 149"/>
                  <a:gd name="T52" fmla="*/ 118 w 185"/>
                  <a:gd name="T53" fmla="*/ 5 h 149"/>
                  <a:gd name="T54" fmla="*/ 119 w 185"/>
                  <a:gd name="T55" fmla="*/ 2 h 149"/>
                  <a:gd name="T56" fmla="*/ 114 w 185"/>
                  <a:gd name="T57" fmla="*/ 2 h 149"/>
                  <a:gd name="T58" fmla="*/ 111 w 185"/>
                  <a:gd name="T59" fmla="*/ 4 h 149"/>
                  <a:gd name="T60" fmla="*/ 108 w 185"/>
                  <a:gd name="T61" fmla="*/ 15 h 149"/>
                  <a:gd name="T62" fmla="*/ 103 w 185"/>
                  <a:gd name="T63" fmla="*/ 26 h 149"/>
                  <a:gd name="T64" fmla="*/ 95 w 185"/>
                  <a:gd name="T65" fmla="*/ 38 h 149"/>
                  <a:gd name="T66" fmla="*/ 88 w 185"/>
                  <a:gd name="T67" fmla="*/ 40 h 149"/>
                  <a:gd name="T68" fmla="*/ 79 w 185"/>
                  <a:gd name="T69" fmla="*/ 46 h 149"/>
                  <a:gd name="T70" fmla="*/ 70 w 185"/>
                  <a:gd name="T71" fmla="*/ 51 h 149"/>
                  <a:gd name="T72" fmla="*/ 65 w 185"/>
                  <a:gd name="T73" fmla="*/ 56 h 149"/>
                  <a:gd name="T74" fmla="*/ 61 w 185"/>
                  <a:gd name="T75" fmla="*/ 67 h 149"/>
                  <a:gd name="T76" fmla="*/ 54 w 185"/>
                  <a:gd name="T77" fmla="*/ 77 h 149"/>
                  <a:gd name="T78" fmla="*/ 49 w 185"/>
                  <a:gd name="T79" fmla="*/ 89 h 149"/>
                  <a:gd name="T80" fmla="*/ 49 w 185"/>
                  <a:gd name="T81" fmla="*/ 100 h 149"/>
                  <a:gd name="T82" fmla="*/ 52 w 185"/>
                  <a:gd name="T83" fmla="*/ 103 h 149"/>
                  <a:gd name="T84" fmla="*/ 41 w 185"/>
                  <a:gd name="T85" fmla="*/ 120 h 149"/>
                  <a:gd name="T86" fmla="*/ 36 w 185"/>
                  <a:gd name="T87" fmla="*/ 129 h 149"/>
                  <a:gd name="T88" fmla="*/ 20 w 185"/>
                  <a:gd name="T89" fmla="*/ 141 h 149"/>
                  <a:gd name="T90" fmla="*/ 0 w 185"/>
                  <a:gd name="T91" fmla="*/ 149 h 149"/>
                  <a:gd name="T92" fmla="*/ 64 w 185"/>
                  <a:gd name="T93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5" h="149">
                    <a:moveTo>
                      <a:pt x="64" y="149"/>
                    </a:moveTo>
                    <a:lnTo>
                      <a:pt x="65" y="136"/>
                    </a:lnTo>
                    <a:lnTo>
                      <a:pt x="72" y="131"/>
                    </a:lnTo>
                    <a:lnTo>
                      <a:pt x="75" y="126"/>
                    </a:lnTo>
                    <a:lnTo>
                      <a:pt x="80" y="123"/>
                    </a:lnTo>
                    <a:lnTo>
                      <a:pt x="88" y="121"/>
                    </a:lnTo>
                    <a:lnTo>
                      <a:pt x="93" y="121"/>
                    </a:lnTo>
                    <a:lnTo>
                      <a:pt x="95" y="120"/>
                    </a:lnTo>
                    <a:lnTo>
                      <a:pt x="101" y="120"/>
                    </a:lnTo>
                    <a:lnTo>
                      <a:pt x="108" y="120"/>
                    </a:lnTo>
                    <a:lnTo>
                      <a:pt x="121" y="111"/>
                    </a:lnTo>
                    <a:lnTo>
                      <a:pt x="137" y="102"/>
                    </a:lnTo>
                    <a:lnTo>
                      <a:pt x="149" y="93"/>
                    </a:lnTo>
                    <a:lnTo>
                      <a:pt x="150" y="90"/>
                    </a:lnTo>
                    <a:lnTo>
                      <a:pt x="150" y="85"/>
                    </a:lnTo>
                    <a:lnTo>
                      <a:pt x="152" y="82"/>
                    </a:lnTo>
                    <a:lnTo>
                      <a:pt x="155" y="79"/>
                    </a:lnTo>
                    <a:lnTo>
                      <a:pt x="159" y="72"/>
                    </a:lnTo>
                    <a:lnTo>
                      <a:pt x="162" y="71"/>
                    </a:lnTo>
                    <a:lnTo>
                      <a:pt x="181" y="71"/>
                    </a:lnTo>
                    <a:lnTo>
                      <a:pt x="183" y="69"/>
                    </a:lnTo>
                    <a:lnTo>
                      <a:pt x="183" y="67"/>
                    </a:lnTo>
                    <a:lnTo>
                      <a:pt x="185" y="62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1"/>
                    </a:lnTo>
                    <a:lnTo>
                      <a:pt x="177" y="59"/>
                    </a:lnTo>
                    <a:lnTo>
                      <a:pt x="177" y="56"/>
                    </a:lnTo>
                    <a:lnTo>
                      <a:pt x="175" y="51"/>
                    </a:lnTo>
                    <a:lnTo>
                      <a:pt x="173" y="40"/>
                    </a:lnTo>
                    <a:lnTo>
                      <a:pt x="172" y="36"/>
                    </a:lnTo>
                    <a:lnTo>
                      <a:pt x="173" y="31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2"/>
                    </a:lnTo>
                    <a:lnTo>
                      <a:pt x="170" y="18"/>
                    </a:lnTo>
                    <a:lnTo>
                      <a:pt x="168" y="17"/>
                    </a:lnTo>
                    <a:lnTo>
                      <a:pt x="168" y="15"/>
                    </a:lnTo>
                    <a:lnTo>
                      <a:pt x="165" y="15"/>
                    </a:lnTo>
                    <a:lnTo>
                      <a:pt x="157" y="15"/>
                    </a:lnTo>
                    <a:lnTo>
                      <a:pt x="154" y="13"/>
                    </a:lnTo>
                    <a:lnTo>
                      <a:pt x="154" y="10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49" y="12"/>
                    </a:lnTo>
                    <a:lnTo>
                      <a:pt x="144" y="13"/>
                    </a:lnTo>
                    <a:lnTo>
                      <a:pt x="139" y="12"/>
                    </a:lnTo>
                    <a:lnTo>
                      <a:pt x="137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6" y="13"/>
                    </a:lnTo>
                    <a:lnTo>
                      <a:pt x="121" y="8"/>
                    </a:lnTo>
                    <a:lnTo>
                      <a:pt x="119" y="7"/>
                    </a:lnTo>
                    <a:lnTo>
                      <a:pt x="118" y="5"/>
                    </a:lnTo>
                    <a:lnTo>
                      <a:pt x="118" y="4"/>
                    </a:lnTo>
                    <a:lnTo>
                      <a:pt x="119" y="2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3" y="4"/>
                    </a:lnTo>
                    <a:lnTo>
                      <a:pt x="111" y="4"/>
                    </a:lnTo>
                    <a:lnTo>
                      <a:pt x="108" y="7"/>
                    </a:lnTo>
                    <a:lnTo>
                      <a:pt x="108" y="15"/>
                    </a:lnTo>
                    <a:lnTo>
                      <a:pt x="105" y="20"/>
                    </a:lnTo>
                    <a:lnTo>
                      <a:pt x="103" y="26"/>
                    </a:lnTo>
                    <a:lnTo>
                      <a:pt x="101" y="31"/>
                    </a:lnTo>
                    <a:lnTo>
                      <a:pt x="95" y="38"/>
                    </a:lnTo>
                    <a:lnTo>
                      <a:pt x="92" y="38"/>
                    </a:lnTo>
                    <a:lnTo>
                      <a:pt x="88" y="40"/>
                    </a:lnTo>
                    <a:lnTo>
                      <a:pt x="83" y="43"/>
                    </a:lnTo>
                    <a:lnTo>
                      <a:pt x="79" y="46"/>
                    </a:lnTo>
                    <a:lnTo>
                      <a:pt x="77" y="48"/>
                    </a:lnTo>
                    <a:lnTo>
                      <a:pt x="70" y="51"/>
                    </a:lnTo>
                    <a:lnTo>
                      <a:pt x="67" y="53"/>
                    </a:lnTo>
                    <a:lnTo>
                      <a:pt x="65" y="56"/>
                    </a:lnTo>
                    <a:lnTo>
                      <a:pt x="57" y="61"/>
                    </a:lnTo>
                    <a:lnTo>
                      <a:pt x="61" y="67"/>
                    </a:lnTo>
                    <a:lnTo>
                      <a:pt x="59" y="71"/>
                    </a:lnTo>
                    <a:lnTo>
                      <a:pt x="54" y="77"/>
                    </a:lnTo>
                    <a:lnTo>
                      <a:pt x="49" y="85"/>
                    </a:lnTo>
                    <a:lnTo>
                      <a:pt x="49" y="89"/>
                    </a:lnTo>
                    <a:lnTo>
                      <a:pt x="51" y="93"/>
                    </a:lnTo>
                    <a:lnTo>
                      <a:pt x="49" y="100"/>
                    </a:lnTo>
                    <a:lnTo>
                      <a:pt x="51" y="102"/>
                    </a:lnTo>
                    <a:lnTo>
                      <a:pt x="52" y="103"/>
                    </a:lnTo>
                    <a:lnTo>
                      <a:pt x="51" y="108"/>
                    </a:lnTo>
                    <a:lnTo>
                      <a:pt x="41" y="120"/>
                    </a:lnTo>
                    <a:lnTo>
                      <a:pt x="41" y="124"/>
                    </a:lnTo>
                    <a:lnTo>
                      <a:pt x="36" y="129"/>
                    </a:lnTo>
                    <a:lnTo>
                      <a:pt x="31" y="129"/>
                    </a:lnTo>
                    <a:lnTo>
                      <a:pt x="20" y="141"/>
                    </a:lnTo>
                    <a:lnTo>
                      <a:pt x="5" y="142"/>
                    </a:lnTo>
                    <a:lnTo>
                      <a:pt x="0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1" name="Freeform 262">
                <a:extLst>
                  <a:ext uri="{FF2B5EF4-FFF2-40B4-BE49-F238E27FC236}">
                    <a16:creationId xmlns:a16="http://schemas.microsoft.com/office/drawing/2014/main" xmlns="" id="{3AD44FEF-B984-4F72-88BB-608C81D57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8" y="1598"/>
                <a:ext cx="129" cy="108"/>
              </a:xfrm>
              <a:custGeom>
                <a:avLst/>
                <a:gdLst>
                  <a:gd name="T0" fmla="*/ 129 w 129"/>
                  <a:gd name="T1" fmla="*/ 5 h 108"/>
                  <a:gd name="T2" fmla="*/ 129 w 129"/>
                  <a:gd name="T3" fmla="*/ 0 h 108"/>
                  <a:gd name="T4" fmla="*/ 65 w 129"/>
                  <a:gd name="T5" fmla="*/ 0 h 108"/>
                  <a:gd name="T6" fmla="*/ 60 w 129"/>
                  <a:gd name="T7" fmla="*/ 8 h 108"/>
                  <a:gd name="T8" fmla="*/ 60 w 129"/>
                  <a:gd name="T9" fmla="*/ 15 h 108"/>
                  <a:gd name="T10" fmla="*/ 57 w 129"/>
                  <a:gd name="T11" fmla="*/ 15 h 108"/>
                  <a:gd name="T12" fmla="*/ 46 w 129"/>
                  <a:gd name="T13" fmla="*/ 21 h 108"/>
                  <a:gd name="T14" fmla="*/ 44 w 129"/>
                  <a:gd name="T15" fmla="*/ 25 h 108"/>
                  <a:gd name="T16" fmla="*/ 41 w 129"/>
                  <a:gd name="T17" fmla="*/ 26 h 108"/>
                  <a:gd name="T18" fmla="*/ 42 w 129"/>
                  <a:gd name="T19" fmla="*/ 31 h 108"/>
                  <a:gd name="T20" fmla="*/ 32 w 129"/>
                  <a:gd name="T21" fmla="*/ 46 h 108"/>
                  <a:gd name="T22" fmla="*/ 31 w 129"/>
                  <a:gd name="T23" fmla="*/ 49 h 108"/>
                  <a:gd name="T24" fmla="*/ 24 w 129"/>
                  <a:gd name="T25" fmla="*/ 57 h 108"/>
                  <a:gd name="T26" fmla="*/ 21 w 129"/>
                  <a:gd name="T27" fmla="*/ 57 h 108"/>
                  <a:gd name="T28" fmla="*/ 18 w 129"/>
                  <a:gd name="T29" fmla="*/ 67 h 108"/>
                  <a:gd name="T30" fmla="*/ 18 w 129"/>
                  <a:gd name="T31" fmla="*/ 69 h 108"/>
                  <a:gd name="T32" fmla="*/ 11 w 129"/>
                  <a:gd name="T33" fmla="*/ 78 h 108"/>
                  <a:gd name="T34" fmla="*/ 11 w 129"/>
                  <a:gd name="T35" fmla="*/ 80 h 108"/>
                  <a:gd name="T36" fmla="*/ 13 w 129"/>
                  <a:gd name="T37" fmla="*/ 80 h 108"/>
                  <a:gd name="T38" fmla="*/ 11 w 129"/>
                  <a:gd name="T39" fmla="*/ 82 h 108"/>
                  <a:gd name="T40" fmla="*/ 6 w 129"/>
                  <a:gd name="T41" fmla="*/ 91 h 108"/>
                  <a:gd name="T42" fmla="*/ 3 w 129"/>
                  <a:gd name="T43" fmla="*/ 91 h 108"/>
                  <a:gd name="T44" fmla="*/ 1 w 129"/>
                  <a:gd name="T45" fmla="*/ 95 h 108"/>
                  <a:gd name="T46" fmla="*/ 1 w 129"/>
                  <a:gd name="T47" fmla="*/ 98 h 108"/>
                  <a:gd name="T48" fmla="*/ 0 w 129"/>
                  <a:gd name="T49" fmla="*/ 101 h 108"/>
                  <a:gd name="T50" fmla="*/ 0 w 129"/>
                  <a:gd name="T51" fmla="*/ 108 h 108"/>
                  <a:gd name="T52" fmla="*/ 64 w 129"/>
                  <a:gd name="T53" fmla="*/ 106 h 108"/>
                  <a:gd name="T54" fmla="*/ 64 w 129"/>
                  <a:gd name="T55" fmla="*/ 77 h 108"/>
                  <a:gd name="T56" fmla="*/ 65 w 129"/>
                  <a:gd name="T57" fmla="*/ 72 h 108"/>
                  <a:gd name="T58" fmla="*/ 68 w 129"/>
                  <a:gd name="T59" fmla="*/ 70 h 108"/>
                  <a:gd name="T60" fmla="*/ 72 w 129"/>
                  <a:gd name="T61" fmla="*/ 70 h 108"/>
                  <a:gd name="T62" fmla="*/ 78 w 129"/>
                  <a:gd name="T63" fmla="*/ 70 h 108"/>
                  <a:gd name="T64" fmla="*/ 78 w 129"/>
                  <a:gd name="T65" fmla="*/ 26 h 108"/>
                  <a:gd name="T66" fmla="*/ 129 w 129"/>
                  <a:gd name="T67" fmla="*/ 28 h 108"/>
                  <a:gd name="T68" fmla="*/ 129 w 129"/>
                  <a:gd name="T69" fmla="*/ 5 h 108"/>
                  <a:gd name="T70" fmla="*/ 129 w 129"/>
                  <a:gd name="T71" fmla="*/ 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" h="108">
                    <a:moveTo>
                      <a:pt x="129" y="5"/>
                    </a:moveTo>
                    <a:lnTo>
                      <a:pt x="129" y="0"/>
                    </a:lnTo>
                    <a:lnTo>
                      <a:pt x="65" y="0"/>
                    </a:lnTo>
                    <a:lnTo>
                      <a:pt x="60" y="8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46" y="21"/>
                    </a:lnTo>
                    <a:lnTo>
                      <a:pt x="44" y="25"/>
                    </a:lnTo>
                    <a:lnTo>
                      <a:pt x="41" y="26"/>
                    </a:lnTo>
                    <a:lnTo>
                      <a:pt x="42" y="31"/>
                    </a:lnTo>
                    <a:lnTo>
                      <a:pt x="32" y="46"/>
                    </a:lnTo>
                    <a:lnTo>
                      <a:pt x="31" y="49"/>
                    </a:lnTo>
                    <a:lnTo>
                      <a:pt x="24" y="57"/>
                    </a:lnTo>
                    <a:lnTo>
                      <a:pt x="21" y="57"/>
                    </a:lnTo>
                    <a:lnTo>
                      <a:pt x="18" y="67"/>
                    </a:lnTo>
                    <a:lnTo>
                      <a:pt x="18" y="69"/>
                    </a:lnTo>
                    <a:lnTo>
                      <a:pt x="11" y="78"/>
                    </a:lnTo>
                    <a:lnTo>
                      <a:pt x="11" y="80"/>
                    </a:lnTo>
                    <a:lnTo>
                      <a:pt x="13" y="80"/>
                    </a:lnTo>
                    <a:lnTo>
                      <a:pt x="11" y="82"/>
                    </a:lnTo>
                    <a:lnTo>
                      <a:pt x="6" y="91"/>
                    </a:lnTo>
                    <a:lnTo>
                      <a:pt x="3" y="91"/>
                    </a:lnTo>
                    <a:lnTo>
                      <a:pt x="1" y="95"/>
                    </a:lnTo>
                    <a:lnTo>
                      <a:pt x="1" y="98"/>
                    </a:lnTo>
                    <a:lnTo>
                      <a:pt x="0" y="101"/>
                    </a:lnTo>
                    <a:lnTo>
                      <a:pt x="0" y="108"/>
                    </a:lnTo>
                    <a:lnTo>
                      <a:pt x="64" y="106"/>
                    </a:lnTo>
                    <a:lnTo>
                      <a:pt x="64" y="77"/>
                    </a:lnTo>
                    <a:lnTo>
                      <a:pt x="65" y="72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8" y="70"/>
                    </a:lnTo>
                    <a:lnTo>
                      <a:pt x="78" y="26"/>
                    </a:lnTo>
                    <a:lnTo>
                      <a:pt x="129" y="28"/>
                    </a:lnTo>
                    <a:lnTo>
                      <a:pt x="129" y="5"/>
                    </a:lnTo>
                    <a:lnTo>
                      <a:pt x="129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412" name="Freeform 263">
                <a:extLst>
                  <a:ext uri="{FF2B5EF4-FFF2-40B4-BE49-F238E27FC236}">
                    <a16:creationId xmlns:a16="http://schemas.microsoft.com/office/drawing/2014/main" xmlns="" id="{F7FDE215-A175-44E0-852C-0188475AD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6" y="1603"/>
                <a:ext cx="188" cy="211"/>
              </a:xfrm>
              <a:custGeom>
                <a:avLst/>
                <a:gdLst>
                  <a:gd name="T0" fmla="*/ 66 w 188"/>
                  <a:gd name="T1" fmla="*/ 101 h 211"/>
                  <a:gd name="T2" fmla="*/ 67 w 188"/>
                  <a:gd name="T3" fmla="*/ 67 h 211"/>
                  <a:gd name="T4" fmla="*/ 74 w 188"/>
                  <a:gd name="T5" fmla="*/ 65 h 211"/>
                  <a:gd name="T6" fmla="*/ 80 w 188"/>
                  <a:gd name="T7" fmla="*/ 21 h 211"/>
                  <a:gd name="T8" fmla="*/ 131 w 188"/>
                  <a:gd name="T9" fmla="*/ 0 h 211"/>
                  <a:gd name="T10" fmla="*/ 188 w 188"/>
                  <a:gd name="T11" fmla="*/ 39 h 211"/>
                  <a:gd name="T12" fmla="*/ 170 w 188"/>
                  <a:gd name="T13" fmla="*/ 39 h 211"/>
                  <a:gd name="T14" fmla="*/ 186 w 188"/>
                  <a:gd name="T15" fmla="*/ 186 h 211"/>
                  <a:gd name="T16" fmla="*/ 124 w 188"/>
                  <a:gd name="T17" fmla="*/ 201 h 211"/>
                  <a:gd name="T18" fmla="*/ 121 w 188"/>
                  <a:gd name="T19" fmla="*/ 198 h 211"/>
                  <a:gd name="T20" fmla="*/ 116 w 188"/>
                  <a:gd name="T21" fmla="*/ 201 h 211"/>
                  <a:gd name="T22" fmla="*/ 115 w 188"/>
                  <a:gd name="T23" fmla="*/ 194 h 211"/>
                  <a:gd name="T24" fmla="*/ 103 w 188"/>
                  <a:gd name="T25" fmla="*/ 196 h 211"/>
                  <a:gd name="T26" fmla="*/ 98 w 188"/>
                  <a:gd name="T27" fmla="*/ 203 h 211"/>
                  <a:gd name="T28" fmla="*/ 95 w 188"/>
                  <a:gd name="T29" fmla="*/ 193 h 211"/>
                  <a:gd name="T30" fmla="*/ 85 w 188"/>
                  <a:gd name="T31" fmla="*/ 194 h 211"/>
                  <a:gd name="T32" fmla="*/ 87 w 188"/>
                  <a:gd name="T33" fmla="*/ 203 h 211"/>
                  <a:gd name="T34" fmla="*/ 80 w 188"/>
                  <a:gd name="T35" fmla="*/ 207 h 211"/>
                  <a:gd name="T36" fmla="*/ 75 w 188"/>
                  <a:gd name="T37" fmla="*/ 211 h 211"/>
                  <a:gd name="T38" fmla="*/ 70 w 188"/>
                  <a:gd name="T39" fmla="*/ 206 h 211"/>
                  <a:gd name="T40" fmla="*/ 67 w 188"/>
                  <a:gd name="T41" fmla="*/ 201 h 211"/>
                  <a:gd name="T42" fmla="*/ 64 w 188"/>
                  <a:gd name="T43" fmla="*/ 196 h 211"/>
                  <a:gd name="T44" fmla="*/ 59 w 188"/>
                  <a:gd name="T45" fmla="*/ 189 h 211"/>
                  <a:gd name="T46" fmla="*/ 56 w 188"/>
                  <a:gd name="T47" fmla="*/ 189 h 211"/>
                  <a:gd name="T48" fmla="*/ 52 w 188"/>
                  <a:gd name="T49" fmla="*/ 189 h 211"/>
                  <a:gd name="T50" fmla="*/ 49 w 188"/>
                  <a:gd name="T51" fmla="*/ 186 h 211"/>
                  <a:gd name="T52" fmla="*/ 43 w 188"/>
                  <a:gd name="T53" fmla="*/ 181 h 211"/>
                  <a:gd name="T54" fmla="*/ 33 w 188"/>
                  <a:gd name="T55" fmla="*/ 178 h 211"/>
                  <a:gd name="T56" fmla="*/ 15 w 188"/>
                  <a:gd name="T57" fmla="*/ 183 h 211"/>
                  <a:gd name="T58" fmla="*/ 10 w 188"/>
                  <a:gd name="T59" fmla="*/ 186 h 211"/>
                  <a:gd name="T60" fmla="*/ 8 w 188"/>
                  <a:gd name="T61" fmla="*/ 181 h 211"/>
                  <a:gd name="T62" fmla="*/ 15 w 188"/>
                  <a:gd name="T63" fmla="*/ 167 h 211"/>
                  <a:gd name="T64" fmla="*/ 12 w 188"/>
                  <a:gd name="T65" fmla="*/ 139 h 211"/>
                  <a:gd name="T66" fmla="*/ 10 w 188"/>
                  <a:gd name="T67" fmla="*/ 129 h 211"/>
                  <a:gd name="T68" fmla="*/ 13 w 188"/>
                  <a:gd name="T69" fmla="*/ 124 h 211"/>
                  <a:gd name="T70" fmla="*/ 13 w 188"/>
                  <a:gd name="T71" fmla="*/ 119 h 211"/>
                  <a:gd name="T72" fmla="*/ 7 w 188"/>
                  <a:gd name="T73" fmla="*/ 113 h 211"/>
                  <a:gd name="T74" fmla="*/ 5 w 188"/>
                  <a:gd name="T75" fmla="*/ 108 h 211"/>
                  <a:gd name="T76" fmla="*/ 0 w 188"/>
                  <a:gd name="T77" fmla="*/ 106 h 211"/>
                  <a:gd name="T78" fmla="*/ 2 w 188"/>
                  <a:gd name="T79" fmla="*/ 10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8" h="211">
                    <a:moveTo>
                      <a:pt x="2" y="103"/>
                    </a:moveTo>
                    <a:lnTo>
                      <a:pt x="66" y="101"/>
                    </a:lnTo>
                    <a:lnTo>
                      <a:pt x="66" y="72"/>
                    </a:lnTo>
                    <a:lnTo>
                      <a:pt x="67" y="67"/>
                    </a:lnTo>
                    <a:lnTo>
                      <a:pt x="70" y="65"/>
                    </a:lnTo>
                    <a:lnTo>
                      <a:pt x="74" y="65"/>
                    </a:lnTo>
                    <a:lnTo>
                      <a:pt x="80" y="65"/>
                    </a:lnTo>
                    <a:lnTo>
                      <a:pt x="80" y="21"/>
                    </a:lnTo>
                    <a:lnTo>
                      <a:pt x="131" y="23"/>
                    </a:lnTo>
                    <a:lnTo>
                      <a:pt x="131" y="0"/>
                    </a:lnTo>
                    <a:lnTo>
                      <a:pt x="188" y="39"/>
                    </a:lnTo>
                    <a:lnTo>
                      <a:pt x="188" y="39"/>
                    </a:lnTo>
                    <a:lnTo>
                      <a:pt x="188" y="39"/>
                    </a:lnTo>
                    <a:lnTo>
                      <a:pt x="170" y="39"/>
                    </a:lnTo>
                    <a:lnTo>
                      <a:pt x="181" y="183"/>
                    </a:lnTo>
                    <a:lnTo>
                      <a:pt x="186" y="186"/>
                    </a:lnTo>
                    <a:lnTo>
                      <a:pt x="181" y="201"/>
                    </a:lnTo>
                    <a:lnTo>
                      <a:pt x="124" y="201"/>
                    </a:lnTo>
                    <a:lnTo>
                      <a:pt x="123" y="199"/>
                    </a:lnTo>
                    <a:lnTo>
                      <a:pt x="121" y="198"/>
                    </a:lnTo>
                    <a:lnTo>
                      <a:pt x="119" y="198"/>
                    </a:lnTo>
                    <a:lnTo>
                      <a:pt x="116" y="201"/>
                    </a:lnTo>
                    <a:lnTo>
                      <a:pt x="115" y="198"/>
                    </a:lnTo>
                    <a:lnTo>
                      <a:pt x="115" y="194"/>
                    </a:lnTo>
                    <a:lnTo>
                      <a:pt x="111" y="193"/>
                    </a:lnTo>
                    <a:lnTo>
                      <a:pt x="103" y="196"/>
                    </a:lnTo>
                    <a:lnTo>
                      <a:pt x="100" y="204"/>
                    </a:lnTo>
                    <a:lnTo>
                      <a:pt x="98" y="203"/>
                    </a:lnTo>
                    <a:lnTo>
                      <a:pt x="95" y="198"/>
                    </a:lnTo>
                    <a:lnTo>
                      <a:pt x="95" y="193"/>
                    </a:lnTo>
                    <a:lnTo>
                      <a:pt x="90" y="193"/>
                    </a:lnTo>
                    <a:lnTo>
                      <a:pt x="85" y="194"/>
                    </a:lnTo>
                    <a:lnTo>
                      <a:pt x="85" y="201"/>
                    </a:lnTo>
                    <a:lnTo>
                      <a:pt x="87" y="203"/>
                    </a:lnTo>
                    <a:lnTo>
                      <a:pt x="85" y="207"/>
                    </a:lnTo>
                    <a:lnTo>
                      <a:pt x="80" y="207"/>
                    </a:lnTo>
                    <a:lnTo>
                      <a:pt x="75" y="211"/>
                    </a:lnTo>
                    <a:lnTo>
                      <a:pt x="75" y="211"/>
                    </a:lnTo>
                    <a:lnTo>
                      <a:pt x="75" y="207"/>
                    </a:lnTo>
                    <a:lnTo>
                      <a:pt x="70" y="206"/>
                    </a:lnTo>
                    <a:lnTo>
                      <a:pt x="67" y="204"/>
                    </a:lnTo>
                    <a:lnTo>
                      <a:pt x="67" y="201"/>
                    </a:lnTo>
                    <a:lnTo>
                      <a:pt x="64" y="201"/>
                    </a:lnTo>
                    <a:lnTo>
                      <a:pt x="64" y="196"/>
                    </a:lnTo>
                    <a:lnTo>
                      <a:pt x="61" y="194"/>
                    </a:lnTo>
                    <a:lnTo>
                      <a:pt x="59" y="189"/>
                    </a:lnTo>
                    <a:lnTo>
                      <a:pt x="59" y="188"/>
                    </a:lnTo>
                    <a:lnTo>
                      <a:pt x="56" y="189"/>
                    </a:lnTo>
                    <a:lnTo>
                      <a:pt x="54" y="188"/>
                    </a:lnTo>
                    <a:lnTo>
                      <a:pt x="52" y="189"/>
                    </a:lnTo>
                    <a:lnTo>
                      <a:pt x="49" y="188"/>
                    </a:lnTo>
                    <a:lnTo>
                      <a:pt x="49" y="186"/>
                    </a:lnTo>
                    <a:lnTo>
                      <a:pt x="46" y="181"/>
                    </a:lnTo>
                    <a:lnTo>
                      <a:pt x="43" y="181"/>
                    </a:lnTo>
                    <a:lnTo>
                      <a:pt x="34" y="178"/>
                    </a:lnTo>
                    <a:lnTo>
                      <a:pt x="33" y="178"/>
                    </a:lnTo>
                    <a:lnTo>
                      <a:pt x="25" y="181"/>
                    </a:lnTo>
                    <a:lnTo>
                      <a:pt x="15" y="183"/>
                    </a:lnTo>
                    <a:lnTo>
                      <a:pt x="12" y="186"/>
                    </a:lnTo>
                    <a:lnTo>
                      <a:pt x="10" y="186"/>
                    </a:lnTo>
                    <a:lnTo>
                      <a:pt x="7" y="188"/>
                    </a:lnTo>
                    <a:lnTo>
                      <a:pt x="8" y="181"/>
                    </a:lnTo>
                    <a:lnTo>
                      <a:pt x="10" y="171"/>
                    </a:lnTo>
                    <a:lnTo>
                      <a:pt x="15" y="167"/>
                    </a:lnTo>
                    <a:lnTo>
                      <a:pt x="15" y="155"/>
                    </a:lnTo>
                    <a:lnTo>
                      <a:pt x="12" y="139"/>
                    </a:lnTo>
                    <a:lnTo>
                      <a:pt x="8" y="131"/>
                    </a:lnTo>
                    <a:lnTo>
                      <a:pt x="10" y="129"/>
                    </a:lnTo>
                    <a:lnTo>
                      <a:pt x="12" y="129"/>
                    </a:lnTo>
                    <a:lnTo>
                      <a:pt x="13" y="124"/>
                    </a:lnTo>
                    <a:lnTo>
                      <a:pt x="12" y="121"/>
                    </a:lnTo>
                    <a:lnTo>
                      <a:pt x="13" y="119"/>
                    </a:lnTo>
                    <a:lnTo>
                      <a:pt x="8" y="111"/>
                    </a:lnTo>
                    <a:lnTo>
                      <a:pt x="7" y="113"/>
                    </a:lnTo>
                    <a:lnTo>
                      <a:pt x="7" y="113"/>
                    </a:lnTo>
                    <a:lnTo>
                      <a:pt x="5" y="108"/>
                    </a:lnTo>
                    <a:lnTo>
                      <a:pt x="2" y="113"/>
                    </a:lnTo>
                    <a:lnTo>
                      <a:pt x="0" y="106"/>
                    </a:lnTo>
                    <a:lnTo>
                      <a:pt x="2" y="103"/>
                    </a:lnTo>
                    <a:lnTo>
                      <a:pt x="2" y="10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4" name="Freeform 264">
                <a:extLst>
                  <a:ext uri="{FF2B5EF4-FFF2-40B4-BE49-F238E27FC236}">
                    <a16:creationId xmlns:a16="http://schemas.microsoft.com/office/drawing/2014/main" xmlns="" id="{5802009C-514C-45E7-90DE-8F4BCEE4B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42"/>
                <a:ext cx="258" cy="245"/>
              </a:xfrm>
              <a:custGeom>
                <a:avLst/>
                <a:gdLst>
                  <a:gd name="T0" fmla="*/ 10 w 258"/>
                  <a:gd name="T1" fmla="*/ 168 h 245"/>
                  <a:gd name="T2" fmla="*/ 10 w 258"/>
                  <a:gd name="T3" fmla="*/ 155 h 245"/>
                  <a:gd name="T4" fmla="*/ 20 w 258"/>
                  <a:gd name="T5" fmla="*/ 159 h 245"/>
                  <a:gd name="T6" fmla="*/ 28 w 258"/>
                  <a:gd name="T7" fmla="*/ 157 h 245"/>
                  <a:gd name="T8" fmla="*/ 40 w 258"/>
                  <a:gd name="T9" fmla="*/ 159 h 245"/>
                  <a:gd name="T10" fmla="*/ 46 w 258"/>
                  <a:gd name="T11" fmla="*/ 159 h 245"/>
                  <a:gd name="T12" fmla="*/ 106 w 258"/>
                  <a:gd name="T13" fmla="*/ 162 h 245"/>
                  <a:gd name="T14" fmla="*/ 95 w 258"/>
                  <a:gd name="T15" fmla="*/ 0 h 245"/>
                  <a:gd name="T16" fmla="*/ 219 w 258"/>
                  <a:gd name="T17" fmla="*/ 79 h 245"/>
                  <a:gd name="T18" fmla="*/ 232 w 258"/>
                  <a:gd name="T19" fmla="*/ 83 h 245"/>
                  <a:gd name="T20" fmla="*/ 242 w 258"/>
                  <a:gd name="T21" fmla="*/ 90 h 245"/>
                  <a:gd name="T22" fmla="*/ 242 w 258"/>
                  <a:gd name="T23" fmla="*/ 100 h 245"/>
                  <a:gd name="T24" fmla="*/ 258 w 258"/>
                  <a:gd name="T25" fmla="*/ 98 h 245"/>
                  <a:gd name="T26" fmla="*/ 257 w 258"/>
                  <a:gd name="T27" fmla="*/ 144 h 245"/>
                  <a:gd name="T28" fmla="*/ 253 w 258"/>
                  <a:gd name="T29" fmla="*/ 155 h 245"/>
                  <a:gd name="T30" fmla="*/ 235 w 258"/>
                  <a:gd name="T31" fmla="*/ 162 h 245"/>
                  <a:gd name="T32" fmla="*/ 221 w 258"/>
                  <a:gd name="T33" fmla="*/ 165 h 245"/>
                  <a:gd name="T34" fmla="*/ 203 w 258"/>
                  <a:gd name="T35" fmla="*/ 168 h 245"/>
                  <a:gd name="T36" fmla="*/ 198 w 258"/>
                  <a:gd name="T37" fmla="*/ 167 h 245"/>
                  <a:gd name="T38" fmla="*/ 187 w 258"/>
                  <a:gd name="T39" fmla="*/ 167 h 245"/>
                  <a:gd name="T40" fmla="*/ 170 w 258"/>
                  <a:gd name="T41" fmla="*/ 173 h 245"/>
                  <a:gd name="T42" fmla="*/ 147 w 258"/>
                  <a:gd name="T43" fmla="*/ 190 h 245"/>
                  <a:gd name="T44" fmla="*/ 133 w 258"/>
                  <a:gd name="T45" fmla="*/ 191 h 245"/>
                  <a:gd name="T46" fmla="*/ 126 w 258"/>
                  <a:gd name="T47" fmla="*/ 201 h 245"/>
                  <a:gd name="T48" fmla="*/ 118 w 258"/>
                  <a:gd name="T49" fmla="*/ 216 h 245"/>
                  <a:gd name="T50" fmla="*/ 113 w 258"/>
                  <a:gd name="T51" fmla="*/ 226 h 245"/>
                  <a:gd name="T52" fmla="*/ 110 w 258"/>
                  <a:gd name="T53" fmla="*/ 234 h 245"/>
                  <a:gd name="T54" fmla="*/ 108 w 258"/>
                  <a:gd name="T55" fmla="*/ 242 h 245"/>
                  <a:gd name="T56" fmla="*/ 98 w 258"/>
                  <a:gd name="T57" fmla="*/ 242 h 245"/>
                  <a:gd name="T58" fmla="*/ 90 w 258"/>
                  <a:gd name="T59" fmla="*/ 242 h 245"/>
                  <a:gd name="T60" fmla="*/ 82 w 258"/>
                  <a:gd name="T61" fmla="*/ 244 h 245"/>
                  <a:gd name="T62" fmla="*/ 72 w 258"/>
                  <a:gd name="T63" fmla="*/ 245 h 245"/>
                  <a:gd name="T64" fmla="*/ 67 w 258"/>
                  <a:gd name="T65" fmla="*/ 240 h 245"/>
                  <a:gd name="T66" fmla="*/ 66 w 258"/>
                  <a:gd name="T67" fmla="*/ 234 h 245"/>
                  <a:gd name="T68" fmla="*/ 59 w 258"/>
                  <a:gd name="T69" fmla="*/ 237 h 245"/>
                  <a:gd name="T70" fmla="*/ 64 w 258"/>
                  <a:gd name="T71" fmla="*/ 226 h 245"/>
                  <a:gd name="T72" fmla="*/ 59 w 258"/>
                  <a:gd name="T73" fmla="*/ 219 h 245"/>
                  <a:gd name="T74" fmla="*/ 54 w 258"/>
                  <a:gd name="T75" fmla="*/ 211 h 245"/>
                  <a:gd name="T76" fmla="*/ 44 w 258"/>
                  <a:gd name="T77" fmla="*/ 213 h 245"/>
                  <a:gd name="T78" fmla="*/ 36 w 258"/>
                  <a:gd name="T79" fmla="*/ 217 h 245"/>
                  <a:gd name="T80" fmla="*/ 26 w 258"/>
                  <a:gd name="T81" fmla="*/ 216 h 245"/>
                  <a:gd name="T82" fmla="*/ 18 w 258"/>
                  <a:gd name="T83" fmla="*/ 216 h 245"/>
                  <a:gd name="T84" fmla="*/ 20 w 258"/>
                  <a:gd name="T85" fmla="*/ 211 h 245"/>
                  <a:gd name="T86" fmla="*/ 17 w 258"/>
                  <a:gd name="T87" fmla="*/ 204 h 245"/>
                  <a:gd name="T88" fmla="*/ 13 w 258"/>
                  <a:gd name="T89" fmla="*/ 198 h 245"/>
                  <a:gd name="T90" fmla="*/ 8 w 258"/>
                  <a:gd name="T91" fmla="*/ 195 h 245"/>
                  <a:gd name="T92" fmla="*/ 2 w 258"/>
                  <a:gd name="T93" fmla="*/ 185 h 245"/>
                  <a:gd name="T94" fmla="*/ 4 w 258"/>
                  <a:gd name="T95" fmla="*/ 173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8" h="245">
                    <a:moveTo>
                      <a:pt x="0" y="172"/>
                    </a:moveTo>
                    <a:lnTo>
                      <a:pt x="5" y="168"/>
                    </a:lnTo>
                    <a:lnTo>
                      <a:pt x="10" y="168"/>
                    </a:lnTo>
                    <a:lnTo>
                      <a:pt x="12" y="164"/>
                    </a:lnTo>
                    <a:lnTo>
                      <a:pt x="10" y="162"/>
                    </a:lnTo>
                    <a:lnTo>
                      <a:pt x="10" y="155"/>
                    </a:lnTo>
                    <a:lnTo>
                      <a:pt x="15" y="154"/>
                    </a:lnTo>
                    <a:lnTo>
                      <a:pt x="20" y="154"/>
                    </a:lnTo>
                    <a:lnTo>
                      <a:pt x="20" y="159"/>
                    </a:lnTo>
                    <a:lnTo>
                      <a:pt x="23" y="164"/>
                    </a:lnTo>
                    <a:lnTo>
                      <a:pt x="25" y="165"/>
                    </a:lnTo>
                    <a:lnTo>
                      <a:pt x="28" y="157"/>
                    </a:lnTo>
                    <a:lnTo>
                      <a:pt x="36" y="154"/>
                    </a:lnTo>
                    <a:lnTo>
                      <a:pt x="40" y="155"/>
                    </a:lnTo>
                    <a:lnTo>
                      <a:pt x="40" y="159"/>
                    </a:lnTo>
                    <a:lnTo>
                      <a:pt x="41" y="162"/>
                    </a:lnTo>
                    <a:lnTo>
                      <a:pt x="44" y="159"/>
                    </a:lnTo>
                    <a:lnTo>
                      <a:pt x="46" y="159"/>
                    </a:lnTo>
                    <a:lnTo>
                      <a:pt x="48" y="160"/>
                    </a:lnTo>
                    <a:lnTo>
                      <a:pt x="49" y="162"/>
                    </a:lnTo>
                    <a:lnTo>
                      <a:pt x="106" y="162"/>
                    </a:lnTo>
                    <a:lnTo>
                      <a:pt x="111" y="147"/>
                    </a:lnTo>
                    <a:lnTo>
                      <a:pt x="106" y="144"/>
                    </a:lnTo>
                    <a:lnTo>
                      <a:pt x="95" y="0"/>
                    </a:lnTo>
                    <a:lnTo>
                      <a:pt x="113" y="0"/>
                    </a:lnTo>
                    <a:lnTo>
                      <a:pt x="218" y="70"/>
                    </a:lnTo>
                    <a:lnTo>
                      <a:pt x="219" y="79"/>
                    </a:lnTo>
                    <a:lnTo>
                      <a:pt x="222" y="82"/>
                    </a:lnTo>
                    <a:lnTo>
                      <a:pt x="229" y="82"/>
                    </a:lnTo>
                    <a:lnTo>
                      <a:pt x="232" y="83"/>
                    </a:lnTo>
                    <a:lnTo>
                      <a:pt x="235" y="87"/>
                    </a:lnTo>
                    <a:lnTo>
                      <a:pt x="239" y="87"/>
                    </a:lnTo>
                    <a:lnTo>
                      <a:pt x="242" y="90"/>
                    </a:lnTo>
                    <a:lnTo>
                      <a:pt x="242" y="93"/>
                    </a:lnTo>
                    <a:lnTo>
                      <a:pt x="240" y="98"/>
                    </a:lnTo>
                    <a:lnTo>
                      <a:pt x="242" y="100"/>
                    </a:lnTo>
                    <a:lnTo>
                      <a:pt x="245" y="101"/>
                    </a:lnTo>
                    <a:lnTo>
                      <a:pt x="253" y="101"/>
                    </a:lnTo>
                    <a:lnTo>
                      <a:pt x="258" y="98"/>
                    </a:lnTo>
                    <a:lnTo>
                      <a:pt x="258" y="98"/>
                    </a:lnTo>
                    <a:lnTo>
                      <a:pt x="258" y="131"/>
                    </a:lnTo>
                    <a:lnTo>
                      <a:pt x="257" y="144"/>
                    </a:lnTo>
                    <a:lnTo>
                      <a:pt x="255" y="146"/>
                    </a:lnTo>
                    <a:lnTo>
                      <a:pt x="253" y="152"/>
                    </a:lnTo>
                    <a:lnTo>
                      <a:pt x="253" y="155"/>
                    </a:lnTo>
                    <a:lnTo>
                      <a:pt x="245" y="160"/>
                    </a:lnTo>
                    <a:lnTo>
                      <a:pt x="240" y="162"/>
                    </a:lnTo>
                    <a:lnTo>
                      <a:pt x="235" y="162"/>
                    </a:lnTo>
                    <a:lnTo>
                      <a:pt x="231" y="165"/>
                    </a:lnTo>
                    <a:lnTo>
                      <a:pt x="227" y="165"/>
                    </a:lnTo>
                    <a:lnTo>
                      <a:pt x="221" y="165"/>
                    </a:lnTo>
                    <a:lnTo>
                      <a:pt x="218" y="168"/>
                    </a:lnTo>
                    <a:lnTo>
                      <a:pt x="213" y="167"/>
                    </a:lnTo>
                    <a:lnTo>
                      <a:pt x="203" y="168"/>
                    </a:lnTo>
                    <a:lnTo>
                      <a:pt x="200" y="168"/>
                    </a:lnTo>
                    <a:lnTo>
                      <a:pt x="198" y="168"/>
                    </a:lnTo>
                    <a:lnTo>
                      <a:pt x="198" y="167"/>
                    </a:lnTo>
                    <a:lnTo>
                      <a:pt x="195" y="167"/>
                    </a:lnTo>
                    <a:lnTo>
                      <a:pt x="190" y="165"/>
                    </a:lnTo>
                    <a:lnTo>
                      <a:pt x="187" y="167"/>
                    </a:lnTo>
                    <a:lnTo>
                      <a:pt x="178" y="167"/>
                    </a:lnTo>
                    <a:lnTo>
                      <a:pt x="173" y="170"/>
                    </a:lnTo>
                    <a:lnTo>
                      <a:pt x="170" y="173"/>
                    </a:lnTo>
                    <a:lnTo>
                      <a:pt x="157" y="180"/>
                    </a:lnTo>
                    <a:lnTo>
                      <a:pt x="149" y="186"/>
                    </a:lnTo>
                    <a:lnTo>
                      <a:pt x="147" y="190"/>
                    </a:lnTo>
                    <a:lnTo>
                      <a:pt x="139" y="191"/>
                    </a:lnTo>
                    <a:lnTo>
                      <a:pt x="138" y="191"/>
                    </a:lnTo>
                    <a:lnTo>
                      <a:pt x="133" y="191"/>
                    </a:lnTo>
                    <a:lnTo>
                      <a:pt x="133" y="195"/>
                    </a:lnTo>
                    <a:lnTo>
                      <a:pt x="129" y="195"/>
                    </a:lnTo>
                    <a:lnTo>
                      <a:pt x="126" y="201"/>
                    </a:lnTo>
                    <a:lnTo>
                      <a:pt x="126" y="203"/>
                    </a:lnTo>
                    <a:lnTo>
                      <a:pt x="123" y="208"/>
                    </a:lnTo>
                    <a:lnTo>
                      <a:pt x="118" y="216"/>
                    </a:lnTo>
                    <a:lnTo>
                      <a:pt x="115" y="219"/>
                    </a:lnTo>
                    <a:lnTo>
                      <a:pt x="111" y="222"/>
                    </a:lnTo>
                    <a:lnTo>
                      <a:pt x="113" y="226"/>
                    </a:lnTo>
                    <a:lnTo>
                      <a:pt x="113" y="229"/>
                    </a:lnTo>
                    <a:lnTo>
                      <a:pt x="110" y="230"/>
                    </a:lnTo>
                    <a:lnTo>
                      <a:pt x="110" y="234"/>
                    </a:lnTo>
                    <a:lnTo>
                      <a:pt x="111" y="235"/>
                    </a:lnTo>
                    <a:lnTo>
                      <a:pt x="110" y="240"/>
                    </a:lnTo>
                    <a:lnTo>
                      <a:pt x="108" y="242"/>
                    </a:lnTo>
                    <a:lnTo>
                      <a:pt x="105" y="245"/>
                    </a:lnTo>
                    <a:lnTo>
                      <a:pt x="100" y="244"/>
                    </a:lnTo>
                    <a:lnTo>
                      <a:pt x="98" y="242"/>
                    </a:lnTo>
                    <a:lnTo>
                      <a:pt x="100" y="242"/>
                    </a:lnTo>
                    <a:lnTo>
                      <a:pt x="95" y="240"/>
                    </a:lnTo>
                    <a:lnTo>
                      <a:pt x="90" y="242"/>
                    </a:lnTo>
                    <a:lnTo>
                      <a:pt x="90" y="244"/>
                    </a:lnTo>
                    <a:lnTo>
                      <a:pt x="89" y="245"/>
                    </a:lnTo>
                    <a:lnTo>
                      <a:pt x="82" y="244"/>
                    </a:lnTo>
                    <a:lnTo>
                      <a:pt x="79" y="242"/>
                    </a:lnTo>
                    <a:lnTo>
                      <a:pt x="77" y="242"/>
                    </a:lnTo>
                    <a:lnTo>
                      <a:pt x="72" y="245"/>
                    </a:lnTo>
                    <a:lnTo>
                      <a:pt x="72" y="242"/>
                    </a:lnTo>
                    <a:lnTo>
                      <a:pt x="71" y="240"/>
                    </a:lnTo>
                    <a:lnTo>
                      <a:pt x="67" y="240"/>
                    </a:lnTo>
                    <a:lnTo>
                      <a:pt x="67" y="239"/>
                    </a:lnTo>
                    <a:lnTo>
                      <a:pt x="66" y="237"/>
                    </a:lnTo>
                    <a:lnTo>
                      <a:pt x="66" y="234"/>
                    </a:lnTo>
                    <a:lnTo>
                      <a:pt x="64" y="234"/>
                    </a:lnTo>
                    <a:lnTo>
                      <a:pt x="62" y="235"/>
                    </a:lnTo>
                    <a:lnTo>
                      <a:pt x="59" y="237"/>
                    </a:lnTo>
                    <a:lnTo>
                      <a:pt x="61" y="232"/>
                    </a:lnTo>
                    <a:lnTo>
                      <a:pt x="64" y="229"/>
                    </a:lnTo>
                    <a:lnTo>
                      <a:pt x="64" y="226"/>
                    </a:lnTo>
                    <a:lnTo>
                      <a:pt x="59" y="226"/>
                    </a:lnTo>
                    <a:lnTo>
                      <a:pt x="57" y="224"/>
                    </a:lnTo>
                    <a:lnTo>
                      <a:pt x="59" y="219"/>
                    </a:lnTo>
                    <a:lnTo>
                      <a:pt x="57" y="216"/>
                    </a:lnTo>
                    <a:lnTo>
                      <a:pt x="54" y="213"/>
                    </a:lnTo>
                    <a:lnTo>
                      <a:pt x="54" y="211"/>
                    </a:lnTo>
                    <a:lnTo>
                      <a:pt x="51" y="213"/>
                    </a:lnTo>
                    <a:lnTo>
                      <a:pt x="49" y="214"/>
                    </a:lnTo>
                    <a:lnTo>
                      <a:pt x="44" y="213"/>
                    </a:lnTo>
                    <a:lnTo>
                      <a:pt x="43" y="213"/>
                    </a:lnTo>
                    <a:lnTo>
                      <a:pt x="40" y="216"/>
                    </a:lnTo>
                    <a:lnTo>
                      <a:pt x="36" y="217"/>
                    </a:lnTo>
                    <a:lnTo>
                      <a:pt x="33" y="219"/>
                    </a:lnTo>
                    <a:lnTo>
                      <a:pt x="30" y="219"/>
                    </a:lnTo>
                    <a:lnTo>
                      <a:pt x="26" y="216"/>
                    </a:lnTo>
                    <a:lnTo>
                      <a:pt x="25" y="216"/>
                    </a:lnTo>
                    <a:lnTo>
                      <a:pt x="20" y="217"/>
                    </a:lnTo>
                    <a:lnTo>
                      <a:pt x="18" y="216"/>
                    </a:lnTo>
                    <a:lnTo>
                      <a:pt x="18" y="216"/>
                    </a:lnTo>
                    <a:lnTo>
                      <a:pt x="20" y="214"/>
                    </a:lnTo>
                    <a:lnTo>
                      <a:pt x="20" y="211"/>
                    </a:lnTo>
                    <a:lnTo>
                      <a:pt x="15" y="209"/>
                    </a:lnTo>
                    <a:lnTo>
                      <a:pt x="15" y="206"/>
                    </a:lnTo>
                    <a:lnTo>
                      <a:pt x="17" y="204"/>
                    </a:lnTo>
                    <a:lnTo>
                      <a:pt x="17" y="203"/>
                    </a:lnTo>
                    <a:lnTo>
                      <a:pt x="15" y="199"/>
                    </a:lnTo>
                    <a:lnTo>
                      <a:pt x="13" y="198"/>
                    </a:lnTo>
                    <a:lnTo>
                      <a:pt x="12" y="196"/>
                    </a:lnTo>
                    <a:lnTo>
                      <a:pt x="10" y="196"/>
                    </a:lnTo>
                    <a:lnTo>
                      <a:pt x="8" y="195"/>
                    </a:lnTo>
                    <a:lnTo>
                      <a:pt x="7" y="191"/>
                    </a:lnTo>
                    <a:lnTo>
                      <a:pt x="2" y="188"/>
                    </a:lnTo>
                    <a:lnTo>
                      <a:pt x="2" y="185"/>
                    </a:lnTo>
                    <a:lnTo>
                      <a:pt x="4" y="178"/>
                    </a:lnTo>
                    <a:lnTo>
                      <a:pt x="4" y="177"/>
                    </a:lnTo>
                    <a:lnTo>
                      <a:pt x="4" y="173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6" name="Freeform 265">
                <a:extLst>
                  <a:ext uri="{FF2B5EF4-FFF2-40B4-BE49-F238E27FC236}">
                    <a16:creationId xmlns:a16="http://schemas.microsoft.com/office/drawing/2014/main" xmlns="" id="{0088D309-340D-4507-A51C-01FC76006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1" y="1807"/>
                <a:ext cx="119" cy="90"/>
              </a:xfrm>
              <a:custGeom>
                <a:avLst/>
                <a:gdLst>
                  <a:gd name="T0" fmla="*/ 1 w 119"/>
                  <a:gd name="T1" fmla="*/ 70 h 90"/>
                  <a:gd name="T2" fmla="*/ 0 w 119"/>
                  <a:gd name="T3" fmla="*/ 65 h 90"/>
                  <a:gd name="T4" fmla="*/ 3 w 119"/>
                  <a:gd name="T5" fmla="*/ 61 h 90"/>
                  <a:gd name="T6" fmla="*/ 5 w 119"/>
                  <a:gd name="T7" fmla="*/ 54 h 90"/>
                  <a:gd name="T8" fmla="*/ 13 w 119"/>
                  <a:gd name="T9" fmla="*/ 43 h 90"/>
                  <a:gd name="T10" fmla="*/ 16 w 119"/>
                  <a:gd name="T11" fmla="*/ 36 h 90"/>
                  <a:gd name="T12" fmla="*/ 23 w 119"/>
                  <a:gd name="T13" fmla="*/ 30 h 90"/>
                  <a:gd name="T14" fmla="*/ 28 w 119"/>
                  <a:gd name="T15" fmla="*/ 26 h 90"/>
                  <a:gd name="T16" fmla="*/ 37 w 119"/>
                  <a:gd name="T17" fmla="*/ 25 h 90"/>
                  <a:gd name="T18" fmla="*/ 47 w 119"/>
                  <a:gd name="T19" fmla="*/ 15 h 90"/>
                  <a:gd name="T20" fmla="*/ 63 w 119"/>
                  <a:gd name="T21" fmla="*/ 5 h 90"/>
                  <a:gd name="T22" fmla="*/ 77 w 119"/>
                  <a:gd name="T23" fmla="*/ 2 h 90"/>
                  <a:gd name="T24" fmla="*/ 85 w 119"/>
                  <a:gd name="T25" fmla="*/ 2 h 90"/>
                  <a:gd name="T26" fmla="*/ 88 w 119"/>
                  <a:gd name="T27" fmla="*/ 3 h 90"/>
                  <a:gd name="T28" fmla="*/ 88 w 119"/>
                  <a:gd name="T29" fmla="*/ 10 h 90"/>
                  <a:gd name="T30" fmla="*/ 85 w 119"/>
                  <a:gd name="T31" fmla="*/ 16 h 90"/>
                  <a:gd name="T32" fmla="*/ 101 w 119"/>
                  <a:gd name="T33" fmla="*/ 34 h 90"/>
                  <a:gd name="T34" fmla="*/ 112 w 119"/>
                  <a:gd name="T35" fmla="*/ 34 h 90"/>
                  <a:gd name="T36" fmla="*/ 116 w 119"/>
                  <a:gd name="T37" fmla="*/ 38 h 90"/>
                  <a:gd name="T38" fmla="*/ 116 w 119"/>
                  <a:gd name="T39" fmla="*/ 43 h 90"/>
                  <a:gd name="T40" fmla="*/ 117 w 119"/>
                  <a:gd name="T41" fmla="*/ 49 h 90"/>
                  <a:gd name="T42" fmla="*/ 119 w 119"/>
                  <a:gd name="T43" fmla="*/ 51 h 90"/>
                  <a:gd name="T44" fmla="*/ 112 w 119"/>
                  <a:gd name="T45" fmla="*/ 56 h 90"/>
                  <a:gd name="T46" fmla="*/ 106 w 119"/>
                  <a:gd name="T47" fmla="*/ 57 h 90"/>
                  <a:gd name="T48" fmla="*/ 103 w 119"/>
                  <a:gd name="T49" fmla="*/ 62 h 90"/>
                  <a:gd name="T50" fmla="*/ 101 w 119"/>
                  <a:gd name="T51" fmla="*/ 67 h 90"/>
                  <a:gd name="T52" fmla="*/ 96 w 119"/>
                  <a:gd name="T53" fmla="*/ 70 h 90"/>
                  <a:gd name="T54" fmla="*/ 80 w 119"/>
                  <a:gd name="T55" fmla="*/ 65 h 90"/>
                  <a:gd name="T56" fmla="*/ 78 w 119"/>
                  <a:gd name="T57" fmla="*/ 65 h 90"/>
                  <a:gd name="T58" fmla="*/ 70 w 119"/>
                  <a:gd name="T59" fmla="*/ 67 h 90"/>
                  <a:gd name="T60" fmla="*/ 57 w 119"/>
                  <a:gd name="T61" fmla="*/ 69 h 90"/>
                  <a:gd name="T62" fmla="*/ 44 w 119"/>
                  <a:gd name="T63" fmla="*/ 69 h 90"/>
                  <a:gd name="T64" fmla="*/ 37 w 119"/>
                  <a:gd name="T65" fmla="*/ 74 h 90"/>
                  <a:gd name="T66" fmla="*/ 41 w 119"/>
                  <a:gd name="T67" fmla="*/ 80 h 90"/>
                  <a:gd name="T68" fmla="*/ 42 w 119"/>
                  <a:gd name="T69" fmla="*/ 88 h 90"/>
                  <a:gd name="T70" fmla="*/ 36 w 119"/>
                  <a:gd name="T71" fmla="*/ 87 h 90"/>
                  <a:gd name="T72" fmla="*/ 31 w 119"/>
                  <a:gd name="T73" fmla="*/ 88 h 90"/>
                  <a:gd name="T74" fmla="*/ 23 w 119"/>
                  <a:gd name="T75" fmla="*/ 87 h 90"/>
                  <a:gd name="T76" fmla="*/ 18 w 119"/>
                  <a:gd name="T77" fmla="*/ 83 h 90"/>
                  <a:gd name="T78" fmla="*/ 13 w 119"/>
                  <a:gd name="T79" fmla="*/ 82 h 90"/>
                  <a:gd name="T80" fmla="*/ 5 w 119"/>
                  <a:gd name="T81" fmla="*/ 79 h 90"/>
                  <a:gd name="T82" fmla="*/ 0 w 119"/>
                  <a:gd name="T83" fmla="*/ 7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9" h="90">
                    <a:moveTo>
                      <a:pt x="0" y="75"/>
                    </a:moveTo>
                    <a:lnTo>
                      <a:pt x="1" y="70"/>
                    </a:lnTo>
                    <a:lnTo>
                      <a:pt x="0" y="69"/>
                    </a:lnTo>
                    <a:lnTo>
                      <a:pt x="0" y="65"/>
                    </a:lnTo>
                    <a:lnTo>
                      <a:pt x="3" y="64"/>
                    </a:lnTo>
                    <a:lnTo>
                      <a:pt x="3" y="61"/>
                    </a:lnTo>
                    <a:lnTo>
                      <a:pt x="1" y="57"/>
                    </a:lnTo>
                    <a:lnTo>
                      <a:pt x="5" y="54"/>
                    </a:lnTo>
                    <a:lnTo>
                      <a:pt x="8" y="51"/>
                    </a:lnTo>
                    <a:lnTo>
                      <a:pt x="13" y="43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9" y="30"/>
                    </a:lnTo>
                    <a:lnTo>
                      <a:pt x="23" y="30"/>
                    </a:lnTo>
                    <a:lnTo>
                      <a:pt x="23" y="26"/>
                    </a:lnTo>
                    <a:lnTo>
                      <a:pt x="28" y="26"/>
                    </a:lnTo>
                    <a:lnTo>
                      <a:pt x="29" y="26"/>
                    </a:lnTo>
                    <a:lnTo>
                      <a:pt x="37" y="25"/>
                    </a:lnTo>
                    <a:lnTo>
                      <a:pt x="39" y="21"/>
                    </a:lnTo>
                    <a:lnTo>
                      <a:pt x="47" y="15"/>
                    </a:lnTo>
                    <a:lnTo>
                      <a:pt x="60" y="8"/>
                    </a:lnTo>
                    <a:lnTo>
                      <a:pt x="63" y="5"/>
                    </a:lnTo>
                    <a:lnTo>
                      <a:pt x="68" y="2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88" y="2"/>
                    </a:lnTo>
                    <a:lnTo>
                      <a:pt x="88" y="3"/>
                    </a:lnTo>
                    <a:lnTo>
                      <a:pt x="88" y="5"/>
                    </a:lnTo>
                    <a:lnTo>
                      <a:pt x="88" y="10"/>
                    </a:lnTo>
                    <a:lnTo>
                      <a:pt x="85" y="13"/>
                    </a:lnTo>
                    <a:lnTo>
                      <a:pt x="85" y="16"/>
                    </a:lnTo>
                    <a:lnTo>
                      <a:pt x="101" y="28"/>
                    </a:lnTo>
                    <a:lnTo>
                      <a:pt x="101" y="34"/>
                    </a:lnTo>
                    <a:lnTo>
                      <a:pt x="106" y="38"/>
                    </a:lnTo>
                    <a:lnTo>
                      <a:pt x="112" y="34"/>
                    </a:lnTo>
                    <a:lnTo>
                      <a:pt x="114" y="36"/>
                    </a:lnTo>
                    <a:lnTo>
                      <a:pt x="116" y="38"/>
                    </a:lnTo>
                    <a:lnTo>
                      <a:pt x="116" y="39"/>
                    </a:lnTo>
                    <a:lnTo>
                      <a:pt x="116" y="43"/>
                    </a:lnTo>
                    <a:lnTo>
                      <a:pt x="114" y="44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119" y="51"/>
                    </a:lnTo>
                    <a:lnTo>
                      <a:pt x="116" y="56"/>
                    </a:lnTo>
                    <a:lnTo>
                      <a:pt x="112" y="56"/>
                    </a:lnTo>
                    <a:lnTo>
                      <a:pt x="108" y="59"/>
                    </a:lnTo>
                    <a:lnTo>
                      <a:pt x="106" y="57"/>
                    </a:lnTo>
                    <a:lnTo>
                      <a:pt x="103" y="59"/>
                    </a:lnTo>
                    <a:lnTo>
                      <a:pt x="103" y="62"/>
                    </a:lnTo>
                    <a:lnTo>
                      <a:pt x="101" y="64"/>
                    </a:lnTo>
                    <a:lnTo>
                      <a:pt x="101" y="67"/>
                    </a:lnTo>
                    <a:lnTo>
                      <a:pt x="98" y="69"/>
                    </a:lnTo>
                    <a:lnTo>
                      <a:pt x="96" y="70"/>
                    </a:lnTo>
                    <a:lnTo>
                      <a:pt x="80" y="65"/>
                    </a:lnTo>
                    <a:lnTo>
                      <a:pt x="80" y="65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5" y="67"/>
                    </a:lnTo>
                    <a:lnTo>
                      <a:pt x="70" y="67"/>
                    </a:lnTo>
                    <a:lnTo>
                      <a:pt x="65" y="69"/>
                    </a:lnTo>
                    <a:lnTo>
                      <a:pt x="57" y="69"/>
                    </a:lnTo>
                    <a:lnTo>
                      <a:pt x="55" y="69"/>
                    </a:lnTo>
                    <a:lnTo>
                      <a:pt x="44" y="69"/>
                    </a:lnTo>
                    <a:lnTo>
                      <a:pt x="37" y="69"/>
                    </a:lnTo>
                    <a:lnTo>
                      <a:pt x="37" y="74"/>
                    </a:lnTo>
                    <a:lnTo>
                      <a:pt x="39" y="79"/>
                    </a:lnTo>
                    <a:lnTo>
                      <a:pt x="41" y="80"/>
                    </a:lnTo>
                    <a:lnTo>
                      <a:pt x="42" y="83"/>
                    </a:lnTo>
                    <a:lnTo>
                      <a:pt x="42" y="88"/>
                    </a:lnTo>
                    <a:lnTo>
                      <a:pt x="39" y="88"/>
                    </a:lnTo>
                    <a:lnTo>
                      <a:pt x="36" y="87"/>
                    </a:lnTo>
                    <a:lnTo>
                      <a:pt x="34" y="87"/>
                    </a:lnTo>
                    <a:lnTo>
                      <a:pt x="31" y="88"/>
                    </a:lnTo>
                    <a:lnTo>
                      <a:pt x="28" y="90"/>
                    </a:lnTo>
                    <a:lnTo>
                      <a:pt x="23" y="87"/>
                    </a:lnTo>
                    <a:lnTo>
                      <a:pt x="21" y="85"/>
                    </a:lnTo>
                    <a:lnTo>
                      <a:pt x="18" y="83"/>
                    </a:lnTo>
                    <a:lnTo>
                      <a:pt x="14" y="83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5" y="79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7" name="Freeform 266">
                <a:extLst>
                  <a:ext uri="{FF2B5EF4-FFF2-40B4-BE49-F238E27FC236}">
                    <a16:creationId xmlns:a16="http://schemas.microsoft.com/office/drawing/2014/main" xmlns="" id="{5F56AC42-0BF9-415A-96B8-BBD9F7D7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8" y="1781"/>
                <a:ext cx="103" cy="77"/>
              </a:xfrm>
              <a:custGeom>
                <a:avLst/>
                <a:gdLst>
                  <a:gd name="T0" fmla="*/ 18 w 103"/>
                  <a:gd name="T1" fmla="*/ 8 h 77"/>
                  <a:gd name="T2" fmla="*/ 23 w 103"/>
                  <a:gd name="T3" fmla="*/ 5 h 77"/>
                  <a:gd name="T4" fmla="*/ 41 w 103"/>
                  <a:gd name="T5" fmla="*/ 0 h 77"/>
                  <a:gd name="T6" fmla="*/ 51 w 103"/>
                  <a:gd name="T7" fmla="*/ 3 h 77"/>
                  <a:gd name="T8" fmla="*/ 57 w 103"/>
                  <a:gd name="T9" fmla="*/ 8 h 77"/>
                  <a:gd name="T10" fmla="*/ 60 w 103"/>
                  <a:gd name="T11" fmla="*/ 11 h 77"/>
                  <a:gd name="T12" fmla="*/ 64 w 103"/>
                  <a:gd name="T13" fmla="*/ 11 h 77"/>
                  <a:gd name="T14" fmla="*/ 67 w 103"/>
                  <a:gd name="T15" fmla="*/ 11 h 77"/>
                  <a:gd name="T16" fmla="*/ 72 w 103"/>
                  <a:gd name="T17" fmla="*/ 18 h 77"/>
                  <a:gd name="T18" fmla="*/ 75 w 103"/>
                  <a:gd name="T19" fmla="*/ 23 h 77"/>
                  <a:gd name="T20" fmla="*/ 78 w 103"/>
                  <a:gd name="T21" fmla="*/ 28 h 77"/>
                  <a:gd name="T22" fmla="*/ 83 w 103"/>
                  <a:gd name="T23" fmla="*/ 33 h 77"/>
                  <a:gd name="T24" fmla="*/ 87 w 103"/>
                  <a:gd name="T25" fmla="*/ 38 h 77"/>
                  <a:gd name="T26" fmla="*/ 85 w 103"/>
                  <a:gd name="T27" fmla="*/ 46 h 77"/>
                  <a:gd name="T28" fmla="*/ 90 w 103"/>
                  <a:gd name="T29" fmla="*/ 52 h 77"/>
                  <a:gd name="T30" fmla="*/ 93 w 103"/>
                  <a:gd name="T31" fmla="*/ 57 h 77"/>
                  <a:gd name="T32" fmla="*/ 96 w 103"/>
                  <a:gd name="T33" fmla="*/ 59 h 77"/>
                  <a:gd name="T34" fmla="*/ 100 w 103"/>
                  <a:gd name="T35" fmla="*/ 64 h 77"/>
                  <a:gd name="T36" fmla="*/ 98 w 103"/>
                  <a:gd name="T37" fmla="*/ 67 h 77"/>
                  <a:gd name="T38" fmla="*/ 103 w 103"/>
                  <a:gd name="T39" fmla="*/ 72 h 77"/>
                  <a:gd name="T40" fmla="*/ 101 w 103"/>
                  <a:gd name="T41" fmla="*/ 77 h 77"/>
                  <a:gd name="T42" fmla="*/ 98 w 103"/>
                  <a:gd name="T43" fmla="*/ 74 h 77"/>
                  <a:gd name="T44" fmla="*/ 93 w 103"/>
                  <a:gd name="T45" fmla="*/ 72 h 77"/>
                  <a:gd name="T46" fmla="*/ 87 w 103"/>
                  <a:gd name="T47" fmla="*/ 72 h 77"/>
                  <a:gd name="T48" fmla="*/ 78 w 103"/>
                  <a:gd name="T49" fmla="*/ 70 h 77"/>
                  <a:gd name="T50" fmla="*/ 62 w 103"/>
                  <a:gd name="T51" fmla="*/ 67 h 77"/>
                  <a:gd name="T52" fmla="*/ 59 w 103"/>
                  <a:gd name="T53" fmla="*/ 67 h 77"/>
                  <a:gd name="T54" fmla="*/ 41 w 103"/>
                  <a:gd name="T55" fmla="*/ 65 h 77"/>
                  <a:gd name="T56" fmla="*/ 33 w 103"/>
                  <a:gd name="T57" fmla="*/ 72 h 77"/>
                  <a:gd name="T58" fmla="*/ 16 w 103"/>
                  <a:gd name="T59" fmla="*/ 74 h 77"/>
                  <a:gd name="T60" fmla="*/ 13 w 103"/>
                  <a:gd name="T61" fmla="*/ 70 h 77"/>
                  <a:gd name="T62" fmla="*/ 15 w 103"/>
                  <a:gd name="T63" fmla="*/ 69 h 77"/>
                  <a:gd name="T64" fmla="*/ 20 w 103"/>
                  <a:gd name="T65" fmla="*/ 67 h 77"/>
                  <a:gd name="T66" fmla="*/ 10 w 103"/>
                  <a:gd name="T67" fmla="*/ 67 h 77"/>
                  <a:gd name="T68" fmla="*/ 11 w 103"/>
                  <a:gd name="T69" fmla="*/ 65 h 77"/>
                  <a:gd name="T70" fmla="*/ 13 w 103"/>
                  <a:gd name="T71" fmla="*/ 59 h 77"/>
                  <a:gd name="T72" fmla="*/ 25 w 103"/>
                  <a:gd name="T73" fmla="*/ 56 h 77"/>
                  <a:gd name="T74" fmla="*/ 31 w 103"/>
                  <a:gd name="T75" fmla="*/ 54 h 77"/>
                  <a:gd name="T76" fmla="*/ 34 w 103"/>
                  <a:gd name="T77" fmla="*/ 54 h 77"/>
                  <a:gd name="T78" fmla="*/ 38 w 103"/>
                  <a:gd name="T79" fmla="*/ 52 h 77"/>
                  <a:gd name="T80" fmla="*/ 46 w 103"/>
                  <a:gd name="T81" fmla="*/ 54 h 77"/>
                  <a:gd name="T82" fmla="*/ 54 w 103"/>
                  <a:gd name="T83" fmla="*/ 57 h 77"/>
                  <a:gd name="T84" fmla="*/ 59 w 103"/>
                  <a:gd name="T85" fmla="*/ 56 h 77"/>
                  <a:gd name="T86" fmla="*/ 57 w 103"/>
                  <a:gd name="T87" fmla="*/ 54 h 77"/>
                  <a:gd name="T88" fmla="*/ 47 w 103"/>
                  <a:gd name="T89" fmla="*/ 49 h 77"/>
                  <a:gd name="T90" fmla="*/ 38 w 103"/>
                  <a:gd name="T91" fmla="*/ 46 h 77"/>
                  <a:gd name="T92" fmla="*/ 31 w 103"/>
                  <a:gd name="T93" fmla="*/ 47 h 77"/>
                  <a:gd name="T94" fmla="*/ 23 w 103"/>
                  <a:gd name="T95" fmla="*/ 52 h 77"/>
                  <a:gd name="T96" fmla="*/ 13 w 103"/>
                  <a:gd name="T97" fmla="*/ 52 h 77"/>
                  <a:gd name="T98" fmla="*/ 15 w 103"/>
                  <a:gd name="T99" fmla="*/ 51 h 77"/>
                  <a:gd name="T100" fmla="*/ 13 w 103"/>
                  <a:gd name="T101" fmla="*/ 47 h 77"/>
                  <a:gd name="T102" fmla="*/ 10 w 103"/>
                  <a:gd name="T103" fmla="*/ 44 h 77"/>
                  <a:gd name="T104" fmla="*/ 0 w 103"/>
                  <a:gd name="T105" fmla="*/ 33 h 77"/>
                  <a:gd name="T106" fmla="*/ 15 w 103"/>
                  <a:gd name="T107" fmla="*/ 1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3" h="77">
                    <a:moveTo>
                      <a:pt x="15" y="10"/>
                    </a:moveTo>
                    <a:lnTo>
                      <a:pt x="18" y="8"/>
                    </a:lnTo>
                    <a:lnTo>
                      <a:pt x="20" y="8"/>
                    </a:lnTo>
                    <a:lnTo>
                      <a:pt x="23" y="5"/>
                    </a:lnTo>
                    <a:lnTo>
                      <a:pt x="33" y="3"/>
                    </a:lnTo>
                    <a:lnTo>
                      <a:pt x="41" y="0"/>
                    </a:lnTo>
                    <a:lnTo>
                      <a:pt x="42" y="0"/>
                    </a:lnTo>
                    <a:lnTo>
                      <a:pt x="51" y="3"/>
                    </a:lnTo>
                    <a:lnTo>
                      <a:pt x="54" y="3"/>
                    </a:lnTo>
                    <a:lnTo>
                      <a:pt x="57" y="8"/>
                    </a:lnTo>
                    <a:lnTo>
                      <a:pt x="57" y="10"/>
                    </a:lnTo>
                    <a:lnTo>
                      <a:pt x="60" y="11"/>
                    </a:lnTo>
                    <a:lnTo>
                      <a:pt x="62" y="10"/>
                    </a:lnTo>
                    <a:lnTo>
                      <a:pt x="64" y="11"/>
                    </a:lnTo>
                    <a:lnTo>
                      <a:pt x="67" y="10"/>
                    </a:lnTo>
                    <a:lnTo>
                      <a:pt x="67" y="11"/>
                    </a:lnTo>
                    <a:lnTo>
                      <a:pt x="69" y="16"/>
                    </a:lnTo>
                    <a:lnTo>
                      <a:pt x="72" y="18"/>
                    </a:lnTo>
                    <a:lnTo>
                      <a:pt x="72" y="23"/>
                    </a:lnTo>
                    <a:lnTo>
                      <a:pt x="75" y="23"/>
                    </a:lnTo>
                    <a:lnTo>
                      <a:pt x="75" y="26"/>
                    </a:lnTo>
                    <a:lnTo>
                      <a:pt x="78" y="28"/>
                    </a:lnTo>
                    <a:lnTo>
                      <a:pt x="83" y="29"/>
                    </a:lnTo>
                    <a:lnTo>
                      <a:pt x="83" y="33"/>
                    </a:lnTo>
                    <a:lnTo>
                      <a:pt x="87" y="34"/>
                    </a:lnTo>
                    <a:lnTo>
                      <a:pt x="87" y="38"/>
                    </a:lnTo>
                    <a:lnTo>
                      <a:pt x="87" y="39"/>
                    </a:lnTo>
                    <a:lnTo>
                      <a:pt x="85" y="46"/>
                    </a:lnTo>
                    <a:lnTo>
                      <a:pt x="85" y="49"/>
                    </a:lnTo>
                    <a:lnTo>
                      <a:pt x="90" y="52"/>
                    </a:lnTo>
                    <a:lnTo>
                      <a:pt x="91" y="56"/>
                    </a:lnTo>
                    <a:lnTo>
                      <a:pt x="93" y="57"/>
                    </a:lnTo>
                    <a:lnTo>
                      <a:pt x="95" y="57"/>
                    </a:lnTo>
                    <a:lnTo>
                      <a:pt x="96" y="59"/>
                    </a:lnTo>
                    <a:lnTo>
                      <a:pt x="98" y="60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8" y="67"/>
                    </a:lnTo>
                    <a:lnTo>
                      <a:pt x="98" y="70"/>
                    </a:lnTo>
                    <a:lnTo>
                      <a:pt x="103" y="72"/>
                    </a:lnTo>
                    <a:lnTo>
                      <a:pt x="103" y="75"/>
                    </a:lnTo>
                    <a:lnTo>
                      <a:pt x="101" y="77"/>
                    </a:lnTo>
                    <a:lnTo>
                      <a:pt x="101" y="75"/>
                    </a:lnTo>
                    <a:lnTo>
                      <a:pt x="98" y="74"/>
                    </a:lnTo>
                    <a:lnTo>
                      <a:pt x="96" y="72"/>
                    </a:lnTo>
                    <a:lnTo>
                      <a:pt x="93" y="72"/>
                    </a:lnTo>
                    <a:lnTo>
                      <a:pt x="91" y="74"/>
                    </a:lnTo>
                    <a:lnTo>
                      <a:pt x="87" y="72"/>
                    </a:lnTo>
                    <a:lnTo>
                      <a:pt x="82" y="72"/>
                    </a:lnTo>
                    <a:lnTo>
                      <a:pt x="78" y="70"/>
                    </a:lnTo>
                    <a:lnTo>
                      <a:pt x="72" y="67"/>
                    </a:lnTo>
                    <a:lnTo>
                      <a:pt x="62" y="67"/>
                    </a:lnTo>
                    <a:lnTo>
                      <a:pt x="59" y="67"/>
                    </a:lnTo>
                    <a:lnTo>
                      <a:pt x="59" y="67"/>
                    </a:lnTo>
                    <a:lnTo>
                      <a:pt x="56" y="67"/>
                    </a:lnTo>
                    <a:lnTo>
                      <a:pt x="41" y="65"/>
                    </a:lnTo>
                    <a:lnTo>
                      <a:pt x="34" y="69"/>
                    </a:lnTo>
                    <a:lnTo>
                      <a:pt x="33" y="72"/>
                    </a:lnTo>
                    <a:lnTo>
                      <a:pt x="21" y="72"/>
                    </a:lnTo>
                    <a:lnTo>
                      <a:pt x="16" y="74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1" y="69"/>
                    </a:lnTo>
                    <a:lnTo>
                      <a:pt x="15" y="69"/>
                    </a:lnTo>
                    <a:lnTo>
                      <a:pt x="16" y="70"/>
                    </a:lnTo>
                    <a:lnTo>
                      <a:pt x="20" y="67"/>
                    </a:lnTo>
                    <a:lnTo>
                      <a:pt x="13" y="65"/>
                    </a:lnTo>
                    <a:lnTo>
                      <a:pt x="10" y="67"/>
                    </a:lnTo>
                    <a:lnTo>
                      <a:pt x="10" y="67"/>
                    </a:lnTo>
                    <a:lnTo>
                      <a:pt x="11" y="65"/>
                    </a:lnTo>
                    <a:lnTo>
                      <a:pt x="11" y="60"/>
                    </a:lnTo>
                    <a:lnTo>
                      <a:pt x="13" y="59"/>
                    </a:lnTo>
                    <a:lnTo>
                      <a:pt x="23" y="59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1" y="54"/>
                    </a:lnTo>
                    <a:lnTo>
                      <a:pt x="33" y="54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42" y="54"/>
                    </a:lnTo>
                    <a:lnTo>
                      <a:pt x="46" y="54"/>
                    </a:lnTo>
                    <a:lnTo>
                      <a:pt x="49" y="56"/>
                    </a:lnTo>
                    <a:lnTo>
                      <a:pt x="54" y="57"/>
                    </a:lnTo>
                    <a:lnTo>
                      <a:pt x="59" y="59"/>
                    </a:lnTo>
                    <a:lnTo>
                      <a:pt x="59" y="56"/>
                    </a:lnTo>
                    <a:lnTo>
                      <a:pt x="57" y="54"/>
                    </a:lnTo>
                    <a:lnTo>
                      <a:pt x="57" y="54"/>
                    </a:lnTo>
                    <a:lnTo>
                      <a:pt x="49" y="49"/>
                    </a:lnTo>
                    <a:lnTo>
                      <a:pt x="47" y="49"/>
                    </a:lnTo>
                    <a:lnTo>
                      <a:pt x="42" y="47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1" y="47"/>
                    </a:lnTo>
                    <a:lnTo>
                      <a:pt x="25" y="52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3" y="52"/>
                    </a:lnTo>
                    <a:lnTo>
                      <a:pt x="13" y="52"/>
                    </a:lnTo>
                    <a:lnTo>
                      <a:pt x="15" y="51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3" y="44"/>
                    </a:lnTo>
                    <a:lnTo>
                      <a:pt x="10" y="44"/>
                    </a:lnTo>
                    <a:lnTo>
                      <a:pt x="7" y="38"/>
                    </a:lnTo>
                    <a:lnTo>
                      <a:pt x="0" y="33"/>
                    </a:lnTo>
                    <a:lnTo>
                      <a:pt x="10" y="23"/>
                    </a:lnTo>
                    <a:lnTo>
                      <a:pt x="15" y="16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8" name="Freeform 267">
                <a:extLst>
                  <a:ext uri="{FF2B5EF4-FFF2-40B4-BE49-F238E27FC236}">
                    <a16:creationId xmlns:a16="http://schemas.microsoft.com/office/drawing/2014/main" xmlns="" id="{6987D67E-159E-4190-884A-4D59C649B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8" y="1827"/>
                <a:ext cx="49" cy="14"/>
              </a:xfrm>
              <a:custGeom>
                <a:avLst/>
                <a:gdLst>
                  <a:gd name="T0" fmla="*/ 1 w 49"/>
                  <a:gd name="T1" fmla="*/ 14 h 14"/>
                  <a:gd name="T2" fmla="*/ 3 w 49"/>
                  <a:gd name="T3" fmla="*/ 13 h 14"/>
                  <a:gd name="T4" fmla="*/ 13 w 49"/>
                  <a:gd name="T5" fmla="*/ 13 h 14"/>
                  <a:gd name="T6" fmla="*/ 15 w 49"/>
                  <a:gd name="T7" fmla="*/ 10 h 14"/>
                  <a:gd name="T8" fmla="*/ 18 w 49"/>
                  <a:gd name="T9" fmla="*/ 10 h 14"/>
                  <a:gd name="T10" fmla="*/ 21 w 49"/>
                  <a:gd name="T11" fmla="*/ 8 h 14"/>
                  <a:gd name="T12" fmla="*/ 23 w 49"/>
                  <a:gd name="T13" fmla="*/ 8 h 14"/>
                  <a:gd name="T14" fmla="*/ 24 w 49"/>
                  <a:gd name="T15" fmla="*/ 8 h 14"/>
                  <a:gd name="T16" fmla="*/ 26 w 49"/>
                  <a:gd name="T17" fmla="*/ 6 h 14"/>
                  <a:gd name="T18" fmla="*/ 28 w 49"/>
                  <a:gd name="T19" fmla="*/ 6 h 14"/>
                  <a:gd name="T20" fmla="*/ 32 w 49"/>
                  <a:gd name="T21" fmla="*/ 8 h 14"/>
                  <a:gd name="T22" fmla="*/ 36 w 49"/>
                  <a:gd name="T23" fmla="*/ 8 h 14"/>
                  <a:gd name="T24" fmla="*/ 39 w 49"/>
                  <a:gd name="T25" fmla="*/ 10 h 14"/>
                  <a:gd name="T26" fmla="*/ 44 w 49"/>
                  <a:gd name="T27" fmla="*/ 11 h 14"/>
                  <a:gd name="T28" fmla="*/ 49 w 49"/>
                  <a:gd name="T29" fmla="*/ 13 h 14"/>
                  <a:gd name="T30" fmla="*/ 49 w 49"/>
                  <a:gd name="T31" fmla="*/ 10 h 14"/>
                  <a:gd name="T32" fmla="*/ 47 w 49"/>
                  <a:gd name="T33" fmla="*/ 8 h 14"/>
                  <a:gd name="T34" fmla="*/ 47 w 49"/>
                  <a:gd name="T35" fmla="*/ 8 h 14"/>
                  <a:gd name="T36" fmla="*/ 39 w 49"/>
                  <a:gd name="T37" fmla="*/ 3 h 14"/>
                  <a:gd name="T38" fmla="*/ 37 w 49"/>
                  <a:gd name="T39" fmla="*/ 3 h 14"/>
                  <a:gd name="T40" fmla="*/ 32 w 49"/>
                  <a:gd name="T41" fmla="*/ 1 h 14"/>
                  <a:gd name="T42" fmla="*/ 28 w 49"/>
                  <a:gd name="T43" fmla="*/ 0 h 14"/>
                  <a:gd name="T44" fmla="*/ 24 w 49"/>
                  <a:gd name="T45" fmla="*/ 0 h 14"/>
                  <a:gd name="T46" fmla="*/ 21 w 49"/>
                  <a:gd name="T47" fmla="*/ 1 h 14"/>
                  <a:gd name="T48" fmla="*/ 15 w 49"/>
                  <a:gd name="T49" fmla="*/ 6 h 14"/>
                  <a:gd name="T50" fmla="*/ 13 w 49"/>
                  <a:gd name="T51" fmla="*/ 6 h 14"/>
                  <a:gd name="T52" fmla="*/ 11 w 49"/>
                  <a:gd name="T53" fmla="*/ 6 h 14"/>
                  <a:gd name="T54" fmla="*/ 3 w 49"/>
                  <a:gd name="T55" fmla="*/ 6 h 14"/>
                  <a:gd name="T56" fmla="*/ 5 w 49"/>
                  <a:gd name="T57" fmla="*/ 10 h 14"/>
                  <a:gd name="T58" fmla="*/ 8 w 49"/>
                  <a:gd name="T59" fmla="*/ 11 h 14"/>
                  <a:gd name="T60" fmla="*/ 11 w 49"/>
                  <a:gd name="T61" fmla="*/ 11 h 14"/>
                  <a:gd name="T62" fmla="*/ 10 w 49"/>
                  <a:gd name="T63" fmla="*/ 13 h 14"/>
                  <a:gd name="T64" fmla="*/ 5 w 49"/>
                  <a:gd name="T65" fmla="*/ 13 h 14"/>
                  <a:gd name="T66" fmla="*/ 1 w 49"/>
                  <a:gd name="T67" fmla="*/ 8 h 14"/>
                  <a:gd name="T68" fmla="*/ 0 w 49"/>
                  <a:gd name="T69" fmla="*/ 11 h 14"/>
                  <a:gd name="T70" fmla="*/ 1 w 49"/>
                  <a:gd name="T71" fmla="*/ 14 h 14"/>
                  <a:gd name="T72" fmla="*/ 1 w 49"/>
                  <a:gd name="T7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14">
                    <a:moveTo>
                      <a:pt x="1" y="14"/>
                    </a:moveTo>
                    <a:lnTo>
                      <a:pt x="3" y="13"/>
                    </a:lnTo>
                    <a:lnTo>
                      <a:pt x="13" y="13"/>
                    </a:lnTo>
                    <a:lnTo>
                      <a:pt x="15" y="10"/>
                    </a:lnTo>
                    <a:lnTo>
                      <a:pt x="18" y="10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4" y="8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39" y="10"/>
                    </a:lnTo>
                    <a:lnTo>
                      <a:pt x="44" y="11"/>
                    </a:lnTo>
                    <a:lnTo>
                      <a:pt x="49" y="13"/>
                    </a:lnTo>
                    <a:lnTo>
                      <a:pt x="49" y="10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39" y="3"/>
                    </a:lnTo>
                    <a:lnTo>
                      <a:pt x="37" y="3"/>
                    </a:lnTo>
                    <a:lnTo>
                      <a:pt x="32" y="1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5" y="6"/>
                    </a:lnTo>
                    <a:lnTo>
                      <a:pt x="13" y="6"/>
                    </a:lnTo>
                    <a:lnTo>
                      <a:pt x="11" y="6"/>
                    </a:lnTo>
                    <a:lnTo>
                      <a:pt x="3" y="6"/>
                    </a:lnTo>
                    <a:lnTo>
                      <a:pt x="5" y="10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0" y="13"/>
                    </a:lnTo>
                    <a:lnTo>
                      <a:pt x="5" y="13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4"/>
                    </a:lnTo>
                    <a:lnTo>
                      <a:pt x="1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0" name="Freeform 268">
                <a:extLst>
                  <a:ext uri="{FF2B5EF4-FFF2-40B4-BE49-F238E27FC236}">
                    <a16:creationId xmlns:a16="http://schemas.microsoft.com/office/drawing/2014/main" xmlns="" id="{E6A19671-83F7-444C-9C56-74E97FC01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1846"/>
                <a:ext cx="47" cy="31"/>
              </a:xfrm>
              <a:custGeom>
                <a:avLst/>
                <a:gdLst>
                  <a:gd name="T0" fmla="*/ 0 w 47"/>
                  <a:gd name="T1" fmla="*/ 9 h 31"/>
                  <a:gd name="T2" fmla="*/ 3 w 47"/>
                  <a:gd name="T3" fmla="*/ 9 h 31"/>
                  <a:gd name="T4" fmla="*/ 8 w 47"/>
                  <a:gd name="T5" fmla="*/ 7 h 31"/>
                  <a:gd name="T6" fmla="*/ 20 w 47"/>
                  <a:gd name="T7" fmla="*/ 7 h 31"/>
                  <a:gd name="T8" fmla="*/ 21 w 47"/>
                  <a:gd name="T9" fmla="*/ 4 h 31"/>
                  <a:gd name="T10" fmla="*/ 28 w 47"/>
                  <a:gd name="T11" fmla="*/ 0 h 31"/>
                  <a:gd name="T12" fmla="*/ 43 w 47"/>
                  <a:gd name="T13" fmla="*/ 2 h 31"/>
                  <a:gd name="T14" fmla="*/ 46 w 47"/>
                  <a:gd name="T15" fmla="*/ 2 h 31"/>
                  <a:gd name="T16" fmla="*/ 46 w 47"/>
                  <a:gd name="T17" fmla="*/ 7 h 31"/>
                  <a:gd name="T18" fmla="*/ 46 w 47"/>
                  <a:gd name="T19" fmla="*/ 10 h 31"/>
                  <a:gd name="T20" fmla="*/ 46 w 47"/>
                  <a:gd name="T21" fmla="*/ 15 h 31"/>
                  <a:gd name="T22" fmla="*/ 47 w 47"/>
                  <a:gd name="T23" fmla="*/ 17 h 31"/>
                  <a:gd name="T24" fmla="*/ 47 w 47"/>
                  <a:gd name="T25" fmla="*/ 20 h 31"/>
                  <a:gd name="T26" fmla="*/ 44 w 47"/>
                  <a:gd name="T27" fmla="*/ 22 h 31"/>
                  <a:gd name="T28" fmla="*/ 39 w 47"/>
                  <a:gd name="T29" fmla="*/ 23 h 31"/>
                  <a:gd name="T30" fmla="*/ 34 w 47"/>
                  <a:gd name="T31" fmla="*/ 25 h 31"/>
                  <a:gd name="T32" fmla="*/ 33 w 47"/>
                  <a:gd name="T33" fmla="*/ 26 h 31"/>
                  <a:gd name="T34" fmla="*/ 29 w 47"/>
                  <a:gd name="T35" fmla="*/ 30 h 31"/>
                  <a:gd name="T36" fmla="*/ 26 w 47"/>
                  <a:gd name="T37" fmla="*/ 31 h 31"/>
                  <a:gd name="T38" fmla="*/ 26 w 47"/>
                  <a:gd name="T39" fmla="*/ 30 h 31"/>
                  <a:gd name="T40" fmla="*/ 26 w 47"/>
                  <a:gd name="T41" fmla="*/ 28 h 31"/>
                  <a:gd name="T42" fmla="*/ 20 w 47"/>
                  <a:gd name="T43" fmla="*/ 28 h 31"/>
                  <a:gd name="T44" fmla="*/ 23 w 47"/>
                  <a:gd name="T45" fmla="*/ 25 h 31"/>
                  <a:gd name="T46" fmla="*/ 21 w 47"/>
                  <a:gd name="T47" fmla="*/ 25 h 31"/>
                  <a:gd name="T48" fmla="*/ 21 w 47"/>
                  <a:gd name="T49" fmla="*/ 23 h 31"/>
                  <a:gd name="T50" fmla="*/ 21 w 47"/>
                  <a:gd name="T51" fmla="*/ 22 h 31"/>
                  <a:gd name="T52" fmla="*/ 18 w 47"/>
                  <a:gd name="T53" fmla="*/ 22 h 31"/>
                  <a:gd name="T54" fmla="*/ 16 w 47"/>
                  <a:gd name="T55" fmla="*/ 20 h 31"/>
                  <a:gd name="T56" fmla="*/ 25 w 47"/>
                  <a:gd name="T57" fmla="*/ 20 h 31"/>
                  <a:gd name="T58" fmla="*/ 26 w 47"/>
                  <a:gd name="T59" fmla="*/ 18 h 31"/>
                  <a:gd name="T60" fmla="*/ 21 w 47"/>
                  <a:gd name="T61" fmla="*/ 17 h 31"/>
                  <a:gd name="T62" fmla="*/ 18 w 47"/>
                  <a:gd name="T63" fmla="*/ 17 h 31"/>
                  <a:gd name="T64" fmla="*/ 13 w 47"/>
                  <a:gd name="T65" fmla="*/ 18 h 31"/>
                  <a:gd name="T66" fmla="*/ 12 w 47"/>
                  <a:gd name="T67" fmla="*/ 18 h 31"/>
                  <a:gd name="T68" fmla="*/ 12 w 47"/>
                  <a:gd name="T69" fmla="*/ 17 h 31"/>
                  <a:gd name="T70" fmla="*/ 8 w 47"/>
                  <a:gd name="T71" fmla="*/ 17 h 31"/>
                  <a:gd name="T72" fmla="*/ 5 w 47"/>
                  <a:gd name="T73" fmla="*/ 13 h 31"/>
                  <a:gd name="T74" fmla="*/ 8 w 47"/>
                  <a:gd name="T75" fmla="*/ 10 h 31"/>
                  <a:gd name="T76" fmla="*/ 7 w 47"/>
                  <a:gd name="T77" fmla="*/ 10 h 31"/>
                  <a:gd name="T78" fmla="*/ 0 w 47"/>
                  <a:gd name="T79" fmla="*/ 10 h 31"/>
                  <a:gd name="T80" fmla="*/ 0 w 47"/>
                  <a:gd name="T81" fmla="*/ 9 h 31"/>
                  <a:gd name="T82" fmla="*/ 0 w 47"/>
                  <a:gd name="T83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7" h="31">
                    <a:moveTo>
                      <a:pt x="0" y="9"/>
                    </a:moveTo>
                    <a:lnTo>
                      <a:pt x="3" y="9"/>
                    </a:lnTo>
                    <a:lnTo>
                      <a:pt x="8" y="7"/>
                    </a:lnTo>
                    <a:lnTo>
                      <a:pt x="20" y="7"/>
                    </a:lnTo>
                    <a:lnTo>
                      <a:pt x="21" y="4"/>
                    </a:lnTo>
                    <a:lnTo>
                      <a:pt x="28" y="0"/>
                    </a:lnTo>
                    <a:lnTo>
                      <a:pt x="43" y="2"/>
                    </a:lnTo>
                    <a:lnTo>
                      <a:pt x="46" y="2"/>
                    </a:lnTo>
                    <a:lnTo>
                      <a:pt x="46" y="7"/>
                    </a:lnTo>
                    <a:lnTo>
                      <a:pt x="46" y="10"/>
                    </a:lnTo>
                    <a:lnTo>
                      <a:pt x="46" y="15"/>
                    </a:lnTo>
                    <a:lnTo>
                      <a:pt x="47" y="17"/>
                    </a:lnTo>
                    <a:lnTo>
                      <a:pt x="47" y="20"/>
                    </a:lnTo>
                    <a:lnTo>
                      <a:pt x="44" y="22"/>
                    </a:lnTo>
                    <a:lnTo>
                      <a:pt x="39" y="23"/>
                    </a:lnTo>
                    <a:lnTo>
                      <a:pt x="34" y="25"/>
                    </a:lnTo>
                    <a:lnTo>
                      <a:pt x="33" y="26"/>
                    </a:lnTo>
                    <a:lnTo>
                      <a:pt x="29" y="30"/>
                    </a:lnTo>
                    <a:lnTo>
                      <a:pt x="26" y="31"/>
                    </a:lnTo>
                    <a:lnTo>
                      <a:pt x="26" y="30"/>
                    </a:lnTo>
                    <a:lnTo>
                      <a:pt x="26" y="28"/>
                    </a:lnTo>
                    <a:lnTo>
                      <a:pt x="20" y="28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21" y="22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25" y="20"/>
                    </a:lnTo>
                    <a:lnTo>
                      <a:pt x="26" y="18"/>
                    </a:lnTo>
                    <a:lnTo>
                      <a:pt x="21" y="17"/>
                    </a:lnTo>
                    <a:lnTo>
                      <a:pt x="18" y="17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2" y="17"/>
                    </a:lnTo>
                    <a:lnTo>
                      <a:pt x="8" y="17"/>
                    </a:lnTo>
                    <a:lnTo>
                      <a:pt x="5" y="13"/>
                    </a:lnTo>
                    <a:lnTo>
                      <a:pt x="8" y="10"/>
                    </a:lnTo>
                    <a:lnTo>
                      <a:pt x="7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1" name="Freeform 269">
                <a:extLst>
                  <a:ext uri="{FF2B5EF4-FFF2-40B4-BE49-F238E27FC236}">
                    <a16:creationId xmlns:a16="http://schemas.microsoft.com/office/drawing/2014/main" xmlns="" id="{9B52EF16-3353-4DAD-92BF-2CEA65203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" y="1848"/>
                <a:ext cx="113" cy="113"/>
              </a:xfrm>
              <a:custGeom>
                <a:avLst/>
                <a:gdLst>
                  <a:gd name="T0" fmla="*/ 4 w 113"/>
                  <a:gd name="T1" fmla="*/ 24 h 113"/>
                  <a:gd name="T2" fmla="*/ 10 w 113"/>
                  <a:gd name="T3" fmla="*/ 21 h 113"/>
                  <a:gd name="T4" fmla="*/ 18 w 113"/>
                  <a:gd name="T5" fmla="*/ 18 h 113"/>
                  <a:gd name="T6" fmla="*/ 17 w 113"/>
                  <a:gd name="T7" fmla="*/ 13 h 113"/>
                  <a:gd name="T8" fmla="*/ 17 w 113"/>
                  <a:gd name="T9" fmla="*/ 5 h 113"/>
                  <a:gd name="T10" fmla="*/ 20 w 113"/>
                  <a:gd name="T11" fmla="*/ 0 h 113"/>
                  <a:gd name="T12" fmla="*/ 36 w 113"/>
                  <a:gd name="T13" fmla="*/ 3 h 113"/>
                  <a:gd name="T14" fmla="*/ 45 w 113"/>
                  <a:gd name="T15" fmla="*/ 5 h 113"/>
                  <a:gd name="T16" fmla="*/ 51 w 113"/>
                  <a:gd name="T17" fmla="*/ 5 h 113"/>
                  <a:gd name="T18" fmla="*/ 56 w 113"/>
                  <a:gd name="T19" fmla="*/ 7 h 113"/>
                  <a:gd name="T20" fmla="*/ 59 w 113"/>
                  <a:gd name="T21" fmla="*/ 10 h 113"/>
                  <a:gd name="T22" fmla="*/ 66 w 113"/>
                  <a:gd name="T23" fmla="*/ 10 h 113"/>
                  <a:gd name="T24" fmla="*/ 71 w 113"/>
                  <a:gd name="T25" fmla="*/ 13 h 113"/>
                  <a:gd name="T26" fmla="*/ 77 w 113"/>
                  <a:gd name="T27" fmla="*/ 11 h 113"/>
                  <a:gd name="T28" fmla="*/ 84 w 113"/>
                  <a:gd name="T29" fmla="*/ 7 h 113"/>
                  <a:gd name="T30" fmla="*/ 90 w 113"/>
                  <a:gd name="T31" fmla="*/ 8 h 113"/>
                  <a:gd name="T32" fmla="*/ 95 w 113"/>
                  <a:gd name="T33" fmla="*/ 5 h 113"/>
                  <a:gd name="T34" fmla="*/ 98 w 113"/>
                  <a:gd name="T35" fmla="*/ 10 h 113"/>
                  <a:gd name="T36" fmla="*/ 98 w 113"/>
                  <a:gd name="T37" fmla="*/ 18 h 113"/>
                  <a:gd name="T38" fmla="*/ 105 w 113"/>
                  <a:gd name="T39" fmla="*/ 20 h 113"/>
                  <a:gd name="T40" fmla="*/ 102 w 113"/>
                  <a:gd name="T41" fmla="*/ 26 h 113"/>
                  <a:gd name="T42" fmla="*/ 103 w 113"/>
                  <a:gd name="T43" fmla="*/ 29 h 113"/>
                  <a:gd name="T44" fmla="*/ 107 w 113"/>
                  <a:gd name="T45" fmla="*/ 28 h 113"/>
                  <a:gd name="T46" fmla="*/ 108 w 113"/>
                  <a:gd name="T47" fmla="*/ 33 h 113"/>
                  <a:gd name="T48" fmla="*/ 112 w 113"/>
                  <a:gd name="T49" fmla="*/ 34 h 113"/>
                  <a:gd name="T50" fmla="*/ 113 w 113"/>
                  <a:gd name="T51" fmla="*/ 39 h 113"/>
                  <a:gd name="T52" fmla="*/ 107 w 113"/>
                  <a:gd name="T53" fmla="*/ 42 h 113"/>
                  <a:gd name="T54" fmla="*/ 107 w 113"/>
                  <a:gd name="T55" fmla="*/ 46 h 113"/>
                  <a:gd name="T56" fmla="*/ 107 w 113"/>
                  <a:gd name="T57" fmla="*/ 56 h 113"/>
                  <a:gd name="T58" fmla="*/ 110 w 113"/>
                  <a:gd name="T59" fmla="*/ 62 h 113"/>
                  <a:gd name="T60" fmla="*/ 112 w 113"/>
                  <a:gd name="T61" fmla="*/ 69 h 113"/>
                  <a:gd name="T62" fmla="*/ 107 w 113"/>
                  <a:gd name="T63" fmla="*/ 69 h 113"/>
                  <a:gd name="T64" fmla="*/ 110 w 113"/>
                  <a:gd name="T65" fmla="*/ 75 h 113"/>
                  <a:gd name="T66" fmla="*/ 110 w 113"/>
                  <a:gd name="T67" fmla="*/ 80 h 113"/>
                  <a:gd name="T68" fmla="*/ 103 w 113"/>
                  <a:gd name="T69" fmla="*/ 90 h 113"/>
                  <a:gd name="T70" fmla="*/ 103 w 113"/>
                  <a:gd name="T71" fmla="*/ 95 h 113"/>
                  <a:gd name="T72" fmla="*/ 98 w 113"/>
                  <a:gd name="T73" fmla="*/ 103 h 113"/>
                  <a:gd name="T74" fmla="*/ 74 w 113"/>
                  <a:gd name="T75" fmla="*/ 113 h 113"/>
                  <a:gd name="T76" fmla="*/ 66 w 113"/>
                  <a:gd name="T77" fmla="*/ 109 h 113"/>
                  <a:gd name="T78" fmla="*/ 59 w 113"/>
                  <a:gd name="T79" fmla="*/ 101 h 113"/>
                  <a:gd name="T80" fmla="*/ 61 w 113"/>
                  <a:gd name="T81" fmla="*/ 100 h 113"/>
                  <a:gd name="T82" fmla="*/ 67 w 113"/>
                  <a:gd name="T83" fmla="*/ 74 h 113"/>
                  <a:gd name="T84" fmla="*/ 67 w 113"/>
                  <a:gd name="T85" fmla="*/ 70 h 113"/>
                  <a:gd name="T86" fmla="*/ 69 w 113"/>
                  <a:gd name="T87" fmla="*/ 65 h 113"/>
                  <a:gd name="T88" fmla="*/ 66 w 113"/>
                  <a:gd name="T89" fmla="*/ 60 h 113"/>
                  <a:gd name="T90" fmla="*/ 63 w 113"/>
                  <a:gd name="T91" fmla="*/ 51 h 113"/>
                  <a:gd name="T92" fmla="*/ 59 w 113"/>
                  <a:gd name="T93" fmla="*/ 44 h 113"/>
                  <a:gd name="T94" fmla="*/ 41 w 113"/>
                  <a:gd name="T95" fmla="*/ 46 h 113"/>
                  <a:gd name="T96" fmla="*/ 35 w 113"/>
                  <a:gd name="T97" fmla="*/ 52 h 113"/>
                  <a:gd name="T98" fmla="*/ 30 w 113"/>
                  <a:gd name="T99" fmla="*/ 57 h 113"/>
                  <a:gd name="T100" fmla="*/ 25 w 113"/>
                  <a:gd name="T101" fmla="*/ 56 h 113"/>
                  <a:gd name="T102" fmla="*/ 20 w 113"/>
                  <a:gd name="T103" fmla="*/ 47 h 113"/>
                  <a:gd name="T104" fmla="*/ 15 w 113"/>
                  <a:gd name="T105" fmla="*/ 46 h 113"/>
                  <a:gd name="T106" fmla="*/ 17 w 113"/>
                  <a:gd name="T107" fmla="*/ 42 h 113"/>
                  <a:gd name="T108" fmla="*/ 12 w 113"/>
                  <a:gd name="T109" fmla="*/ 42 h 113"/>
                  <a:gd name="T110" fmla="*/ 5 w 113"/>
                  <a:gd name="T111" fmla="*/ 42 h 113"/>
                  <a:gd name="T112" fmla="*/ 4 w 113"/>
                  <a:gd name="T113" fmla="*/ 31 h 113"/>
                  <a:gd name="T114" fmla="*/ 0 w 113"/>
                  <a:gd name="T115" fmla="*/ 2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3" h="113">
                    <a:moveTo>
                      <a:pt x="0" y="28"/>
                    </a:moveTo>
                    <a:lnTo>
                      <a:pt x="4" y="24"/>
                    </a:lnTo>
                    <a:lnTo>
                      <a:pt x="5" y="23"/>
                    </a:lnTo>
                    <a:lnTo>
                      <a:pt x="10" y="21"/>
                    </a:lnTo>
                    <a:lnTo>
                      <a:pt x="15" y="20"/>
                    </a:lnTo>
                    <a:lnTo>
                      <a:pt x="18" y="18"/>
                    </a:lnTo>
                    <a:lnTo>
                      <a:pt x="18" y="15"/>
                    </a:lnTo>
                    <a:lnTo>
                      <a:pt x="17" y="13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6" y="3"/>
                    </a:lnTo>
                    <a:lnTo>
                      <a:pt x="40" y="5"/>
                    </a:lnTo>
                    <a:lnTo>
                      <a:pt x="45" y="5"/>
                    </a:lnTo>
                    <a:lnTo>
                      <a:pt x="49" y="7"/>
                    </a:lnTo>
                    <a:lnTo>
                      <a:pt x="51" y="5"/>
                    </a:lnTo>
                    <a:lnTo>
                      <a:pt x="54" y="5"/>
                    </a:lnTo>
                    <a:lnTo>
                      <a:pt x="56" y="7"/>
                    </a:lnTo>
                    <a:lnTo>
                      <a:pt x="59" y="8"/>
                    </a:lnTo>
                    <a:lnTo>
                      <a:pt x="59" y="10"/>
                    </a:lnTo>
                    <a:lnTo>
                      <a:pt x="61" y="11"/>
                    </a:lnTo>
                    <a:lnTo>
                      <a:pt x="66" y="10"/>
                    </a:lnTo>
                    <a:lnTo>
                      <a:pt x="67" y="10"/>
                    </a:lnTo>
                    <a:lnTo>
                      <a:pt x="71" y="13"/>
                    </a:lnTo>
                    <a:lnTo>
                      <a:pt x="74" y="13"/>
                    </a:lnTo>
                    <a:lnTo>
                      <a:pt x="77" y="11"/>
                    </a:lnTo>
                    <a:lnTo>
                      <a:pt x="81" y="10"/>
                    </a:lnTo>
                    <a:lnTo>
                      <a:pt x="84" y="7"/>
                    </a:lnTo>
                    <a:lnTo>
                      <a:pt x="85" y="7"/>
                    </a:lnTo>
                    <a:lnTo>
                      <a:pt x="90" y="8"/>
                    </a:lnTo>
                    <a:lnTo>
                      <a:pt x="92" y="7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8" y="10"/>
                    </a:lnTo>
                    <a:lnTo>
                      <a:pt x="100" y="13"/>
                    </a:lnTo>
                    <a:lnTo>
                      <a:pt x="98" y="18"/>
                    </a:lnTo>
                    <a:lnTo>
                      <a:pt x="100" y="20"/>
                    </a:lnTo>
                    <a:lnTo>
                      <a:pt x="105" y="20"/>
                    </a:lnTo>
                    <a:lnTo>
                      <a:pt x="105" y="23"/>
                    </a:lnTo>
                    <a:lnTo>
                      <a:pt x="102" y="26"/>
                    </a:lnTo>
                    <a:lnTo>
                      <a:pt x="100" y="31"/>
                    </a:lnTo>
                    <a:lnTo>
                      <a:pt x="103" y="29"/>
                    </a:lnTo>
                    <a:lnTo>
                      <a:pt x="105" y="28"/>
                    </a:lnTo>
                    <a:lnTo>
                      <a:pt x="107" y="28"/>
                    </a:lnTo>
                    <a:lnTo>
                      <a:pt x="107" y="31"/>
                    </a:lnTo>
                    <a:lnTo>
                      <a:pt x="108" y="33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3" y="36"/>
                    </a:lnTo>
                    <a:lnTo>
                      <a:pt x="113" y="39"/>
                    </a:lnTo>
                    <a:lnTo>
                      <a:pt x="112" y="39"/>
                    </a:lnTo>
                    <a:lnTo>
                      <a:pt x="107" y="42"/>
                    </a:lnTo>
                    <a:lnTo>
                      <a:pt x="107" y="44"/>
                    </a:lnTo>
                    <a:lnTo>
                      <a:pt x="107" y="46"/>
                    </a:lnTo>
                    <a:lnTo>
                      <a:pt x="108" y="54"/>
                    </a:lnTo>
                    <a:lnTo>
                      <a:pt x="107" y="56"/>
                    </a:lnTo>
                    <a:lnTo>
                      <a:pt x="108" y="62"/>
                    </a:lnTo>
                    <a:lnTo>
                      <a:pt x="110" y="62"/>
                    </a:lnTo>
                    <a:lnTo>
                      <a:pt x="112" y="65"/>
                    </a:lnTo>
                    <a:lnTo>
                      <a:pt x="112" y="69"/>
                    </a:lnTo>
                    <a:lnTo>
                      <a:pt x="108" y="67"/>
                    </a:lnTo>
                    <a:lnTo>
                      <a:pt x="107" y="69"/>
                    </a:lnTo>
                    <a:lnTo>
                      <a:pt x="107" y="70"/>
                    </a:lnTo>
                    <a:lnTo>
                      <a:pt x="110" y="75"/>
                    </a:lnTo>
                    <a:lnTo>
                      <a:pt x="110" y="75"/>
                    </a:lnTo>
                    <a:lnTo>
                      <a:pt x="110" y="80"/>
                    </a:lnTo>
                    <a:lnTo>
                      <a:pt x="105" y="88"/>
                    </a:lnTo>
                    <a:lnTo>
                      <a:pt x="103" y="90"/>
                    </a:lnTo>
                    <a:lnTo>
                      <a:pt x="102" y="91"/>
                    </a:lnTo>
                    <a:lnTo>
                      <a:pt x="103" y="95"/>
                    </a:lnTo>
                    <a:lnTo>
                      <a:pt x="100" y="101"/>
                    </a:lnTo>
                    <a:lnTo>
                      <a:pt x="98" y="103"/>
                    </a:lnTo>
                    <a:lnTo>
                      <a:pt x="98" y="105"/>
                    </a:lnTo>
                    <a:lnTo>
                      <a:pt x="74" y="113"/>
                    </a:lnTo>
                    <a:lnTo>
                      <a:pt x="69" y="109"/>
                    </a:lnTo>
                    <a:lnTo>
                      <a:pt x="66" y="109"/>
                    </a:lnTo>
                    <a:lnTo>
                      <a:pt x="63" y="103"/>
                    </a:lnTo>
                    <a:lnTo>
                      <a:pt x="59" y="101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7" y="95"/>
                    </a:lnTo>
                    <a:lnTo>
                      <a:pt x="67" y="74"/>
                    </a:lnTo>
                    <a:lnTo>
                      <a:pt x="69" y="70"/>
                    </a:lnTo>
                    <a:lnTo>
                      <a:pt x="67" y="70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66" y="60"/>
                    </a:lnTo>
                    <a:lnTo>
                      <a:pt x="67" y="57"/>
                    </a:lnTo>
                    <a:lnTo>
                      <a:pt x="63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46" y="44"/>
                    </a:lnTo>
                    <a:lnTo>
                      <a:pt x="41" y="46"/>
                    </a:lnTo>
                    <a:lnTo>
                      <a:pt x="40" y="47"/>
                    </a:lnTo>
                    <a:lnTo>
                      <a:pt x="35" y="52"/>
                    </a:lnTo>
                    <a:lnTo>
                      <a:pt x="35" y="54"/>
                    </a:lnTo>
                    <a:lnTo>
                      <a:pt x="30" y="57"/>
                    </a:lnTo>
                    <a:lnTo>
                      <a:pt x="27" y="57"/>
                    </a:lnTo>
                    <a:lnTo>
                      <a:pt x="25" y="56"/>
                    </a:lnTo>
                    <a:lnTo>
                      <a:pt x="20" y="52"/>
                    </a:lnTo>
                    <a:lnTo>
                      <a:pt x="20" y="47"/>
                    </a:lnTo>
                    <a:lnTo>
                      <a:pt x="17" y="47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7" y="42"/>
                    </a:lnTo>
                    <a:lnTo>
                      <a:pt x="14" y="41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5" y="42"/>
                    </a:lnTo>
                    <a:lnTo>
                      <a:pt x="2" y="38"/>
                    </a:lnTo>
                    <a:lnTo>
                      <a:pt x="4" y="31"/>
                    </a:lnTo>
                    <a:lnTo>
                      <a:pt x="2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2" name="Freeform 270">
                <a:extLst>
                  <a:ext uri="{FF2B5EF4-FFF2-40B4-BE49-F238E27FC236}">
                    <a16:creationId xmlns:a16="http://schemas.microsoft.com/office/drawing/2014/main" xmlns="" id="{866F0880-5D2D-48C6-9F99-53DEB2C269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" y="1892"/>
                <a:ext cx="44" cy="56"/>
              </a:xfrm>
              <a:custGeom>
                <a:avLst/>
                <a:gdLst>
                  <a:gd name="T0" fmla="*/ 13 w 44"/>
                  <a:gd name="T1" fmla="*/ 47 h 56"/>
                  <a:gd name="T2" fmla="*/ 11 w 44"/>
                  <a:gd name="T3" fmla="*/ 44 h 56"/>
                  <a:gd name="T4" fmla="*/ 11 w 44"/>
                  <a:gd name="T5" fmla="*/ 43 h 56"/>
                  <a:gd name="T6" fmla="*/ 10 w 44"/>
                  <a:gd name="T7" fmla="*/ 43 h 56"/>
                  <a:gd name="T8" fmla="*/ 8 w 44"/>
                  <a:gd name="T9" fmla="*/ 44 h 56"/>
                  <a:gd name="T10" fmla="*/ 8 w 44"/>
                  <a:gd name="T11" fmla="*/ 46 h 56"/>
                  <a:gd name="T12" fmla="*/ 11 w 44"/>
                  <a:gd name="T13" fmla="*/ 46 h 56"/>
                  <a:gd name="T14" fmla="*/ 13 w 44"/>
                  <a:gd name="T15" fmla="*/ 47 h 56"/>
                  <a:gd name="T16" fmla="*/ 13 w 44"/>
                  <a:gd name="T17" fmla="*/ 47 h 56"/>
                  <a:gd name="T18" fmla="*/ 2 w 44"/>
                  <a:gd name="T19" fmla="*/ 13 h 56"/>
                  <a:gd name="T20" fmla="*/ 5 w 44"/>
                  <a:gd name="T21" fmla="*/ 13 h 56"/>
                  <a:gd name="T22" fmla="*/ 10 w 44"/>
                  <a:gd name="T23" fmla="*/ 10 h 56"/>
                  <a:gd name="T24" fmla="*/ 10 w 44"/>
                  <a:gd name="T25" fmla="*/ 8 h 56"/>
                  <a:gd name="T26" fmla="*/ 15 w 44"/>
                  <a:gd name="T27" fmla="*/ 3 h 56"/>
                  <a:gd name="T28" fmla="*/ 16 w 44"/>
                  <a:gd name="T29" fmla="*/ 2 h 56"/>
                  <a:gd name="T30" fmla="*/ 21 w 44"/>
                  <a:gd name="T31" fmla="*/ 0 h 56"/>
                  <a:gd name="T32" fmla="*/ 34 w 44"/>
                  <a:gd name="T33" fmla="*/ 0 h 56"/>
                  <a:gd name="T34" fmla="*/ 36 w 44"/>
                  <a:gd name="T35" fmla="*/ 3 h 56"/>
                  <a:gd name="T36" fmla="*/ 38 w 44"/>
                  <a:gd name="T37" fmla="*/ 7 h 56"/>
                  <a:gd name="T38" fmla="*/ 42 w 44"/>
                  <a:gd name="T39" fmla="*/ 13 h 56"/>
                  <a:gd name="T40" fmla="*/ 41 w 44"/>
                  <a:gd name="T41" fmla="*/ 16 h 56"/>
                  <a:gd name="T42" fmla="*/ 44 w 44"/>
                  <a:gd name="T43" fmla="*/ 20 h 56"/>
                  <a:gd name="T44" fmla="*/ 44 w 44"/>
                  <a:gd name="T45" fmla="*/ 21 h 56"/>
                  <a:gd name="T46" fmla="*/ 42 w 44"/>
                  <a:gd name="T47" fmla="*/ 23 h 56"/>
                  <a:gd name="T48" fmla="*/ 42 w 44"/>
                  <a:gd name="T49" fmla="*/ 26 h 56"/>
                  <a:gd name="T50" fmla="*/ 44 w 44"/>
                  <a:gd name="T51" fmla="*/ 26 h 56"/>
                  <a:gd name="T52" fmla="*/ 42 w 44"/>
                  <a:gd name="T53" fmla="*/ 30 h 56"/>
                  <a:gd name="T54" fmla="*/ 42 w 44"/>
                  <a:gd name="T55" fmla="*/ 51 h 56"/>
                  <a:gd name="T56" fmla="*/ 36 w 44"/>
                  <a:gd name="T57" fmla="*/ 56 h 56"/>
                  <a:gd name="T58" fmla="*/ 33 w 44"/>
                  <a:gd name="T59" fmla="*/ 54 h 56"/>
                  <a:gd name="T60" fmla="*/ 28 w 44"/>
                  <a:gd name="T61" fmla="*/ 54 h 56"/>
                  <a:gd name="T62" fmla="*/ 20 w 44"/>
                  <a:gd name="T63" fmla="*/ 49 h 56"/>
                  <a:gd name="T64" fmla="*/ 15 w 44"/>
                  <a:gd name="T65" fmla="*/ 49 h 56"/>
                  <a:gd name="T66" fmla="*/ 16 w 44"/>
                  <a:gd name="T67" fmla="*/ 46 h 56"/>
                  <a:gd name="T68" fmla="*/ 15 w 44"/>
                  <a:gd name="T69" fmla="*/ 44 h 56"/>
                  <a:gd name="T70" fmla="*/ 11 w 44"/>
                  <a:gd name="T71" fmla="*/ 43 h 56"/>
                  <a:gd name="T72" fmla="*/ 13 w 44"/>
                  <a:gd name="T73" fmla="*/ 39 h 56"/>
                  <a:gd name="T74" fmla="*/ 13 w 44"/>
                  <a:gd name="T75" fmla="*/ 38 h 56"/>
                  <a:gd name="T76" fmla="*/ 10 w 44"/>
                  <a:gd name="T77" fmla="*/ 39 h 56"/>
                  <a:gd name="T78" fmla="*/ 7 w 44"/>
                  <a:gd name="T79" fmla="*/ 36 h 56"/>
                  <a:gd name="T80" fmla="*/ 7 w 44"/>
                  <a:gd name="T81" fmla="*/ 33 h 56"/>
                  <a:gd name="T82" fmla="*/ 5 w 44"/>
                  <a:gd name="T83" fmla="*/ 26 h 56"/>
                  <a:gd name="T84" fmla="*/ 2 w 44"/>
                  <a:gd name="T85" fmla="*/ 26 h 56"/>
                  <a:gd name="T86" fmla="*/ 0 w 44"/>
                  <a:gd name="T87" fmla="*/ 25 h 56"/>
                  <a:gd name="T88" fmla="*/ 3 w 44"/>
                  <a:gd name="T89" fmla="*/ 20 h 56"/>
                  <a:gd name="T90" fmla="*/ 0 w 44"/>
                  <a:gd name="T91" fmla="*/ 18 h 56"/>
                  <a:gd name="T92" fmla="*/ 2 w 44"/>
                  <a:gd name="T93" fmla="*/ 16 h 56"/>
                  <a:gd name="T94" fmla="*/ 3 w 44"/>
                  <a:gd name="T95" fmla="*/ 13 h 56"/>
                  <a:gd name="T96" fmla="*/ 2 w 44"/>
                  <a:gd name="T97" fmla="*/ 1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4" h="56">
                    <a:moveTo>
                      <a:pt x="13" y="47"/>
                    </a:moveTo>
                    <a:lnTo>
                      <a:pt x="11" y="44"/>
                    </a:lnTo>
                    <a:lnTo>
                      <a:pt x="11" y="43"/>
                    </a:lnTo>
                    <a:lnTo>
                      <a:pt x="10" y="43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11" y="46"/>
                    </a:lnTo>
                    <a:lnTo>
                      <a:pt x="13" y="47"/>
                    </a:lnTo>
                    <a:lnTo>
                      <a:pt x="13" y="47"/>
                    </a:lnTo>
                    <a:close/>
                    <a:moveTo>
                      <a:pt x="2" y="13"/>
                    </a:moveTo>
                    <a:lnTo>
                      <a:pt x="5" y="13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5" y="3"/>
                    </a:lnTo>
                    <a:lnTo>
                      <a:pt x="16" y="2"/>
                    </a:lnTo>
                    <a:lnTo>
                      <a:pt x="21" y="0"/>
                    </a:lnTo>
                    <a:lnTo>
                      <a:pt x="34" y="0"/>
                    </a:lnTo>
                    <a:lnTo>
                      <a:pt x="36" y="3"/>
                    </a:lnTo>
                    <a:lnTo>
                      <a:pt x="38" y="7"/>
                    </a:lnTo>
                    <a:lnTo>
                      <a:pt x="42" y="13"/>
                    </a:lnTo>
                    <a:lnTo>
                      <a:pt x="41" y="16"/>
                    </a:lnTo>
                    <a:lnTo>
                      <a:pt x="44" y="20"/>
                    </a:lnTo>
                    <a:lnTo>
                      <a:pt x="44" y="21"/>
                    </a:lnTo>
                    <a:lnTo>
                      <a:pt x="42" y="23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2" y="30"/>
                    </a:lnTo>
                    <a:lnTo>
                      <a:pt x="42" y="51"/>
                    </a:lnTo>
                    <a:lnTo>
                      <a:pt x="36" y="56"/>
                    </a:lnTo>
                    <a:lnTo>
                      <a:pt x="33" y="54"/>
                    </a:lnTo>
                    <a:lnTo>
                      <a:pt x="28" y="54"/>
                    </a:lnTo>
                    <a:lnTo>
                      <a:pt x="20" y="49"/>
                    </a:lnTo>
                    <a:lnTo>
                      <a:pt x="15" y="49"/>
                    </a:lnTo>
                    <a:lnTo>
                      <a:pt x="16" y="46"/>
                    </a:lnTo>
                    <a:lnTo>
                      <a:pt x="15" y="44"/>
                    </a:lnTo>
                    <a:lnTo>
                      <a:pt x="11" y="43"/>
                    </a:lnTo>
                    <a:lnTo>
                      <a:pt x="13" y="39"/>
                    </a:lnTo>
                    <a:lnTo>
                      <a:pt x="13" y="38"/>
                    </a:lnTo>
                    <a:lnTo>
                      <a:pt x="10" y="39"/>
                    </a:lnTo>
                    <a:lnTo>
                      <a:pt x="7" y="36"/>
                    </a:lnTo>
                    <a:lnTo>
                      <a:pt x="7" y="33"/>
                    </a:lnTo>
                    <a:lnTo>
                      <a:pt x="5" y="26"/>
                    </a:lnTo>
                    <a:lnTo>
                      <a:pt x="2" y="26"/>
                    </a:lnTo>
                    <a:lnTo>
                      <a:pt x="0" y="25"/>
                    </a:lnTo>
                    <a:lnTo>
                      <a:pt x="3" y="20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3" y="13"/>
                    </a:lnTo>
                    <a:lnTo>
                      <a:pt x="2" y="1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5" name="Freeform 271">
                <a:extLst>
                  <a:ext uri="{FF2B5EF4-FFF2-40B4-BE49-F238E27FC236}">
                    <a16:creationId xmlns:a16="http://schemas.microsoft.com/office/drawing/2014/main" xmlns="" id="{8552045B-010C-47E8-B2E7-E9C8451A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4" y="1917"/>
                <a:ext cx="64" cy="70"/>
              </a:xfrm>
              <a:custGeom>
                <a:avLst/>
                <a:gdLst>
                  <a:gd name="T0" fmla="*/ 0 w 64"/>
                  <a:gd name="T1" fmla="*/ 29 h 70"/>
                  <a:gd name="T2" fmla="*/ 0 w 64"/>
                  <a:gd name="T3" fmla="*/ 26 h 70"/>
                  <a:gd name="T4" fmla="*/ 2 w 64"/>
                  <a:gd name="T5" fmla="*/ 22 h 70"/>
                  <a:gd name="T6" fmla="*/ 7 w 64"/>
                  <a:gd name="T7" fmla="*/ 21 h 70"/>
                  <a:gd name="T8" fmla="*/ 10 w 64"/>
                  <a:gd name="T9" fmla="*/ 16 h 70"/>
                  <a:gd name="T10" fmla="*/ 9 w 64"/>
                  <a:gd name="T11" fmla="*/ 14 h 70"/>
                  <a:gd name="T12" fmla="*/ 10 w 64"/>
                  <a:gd name="T13" fmla="*/ 9 h 70"/>
                  <a:gd name="T14" fmla="*/ 13 w 64"/>
                  <a:gd name="T15" fmla="*/ 8 h 70"/>
                  <a:gd name="T16" fmla="*/ 13 w 64"/>
                  <a:gd name="T17" fmla="*/ 6 h 70"/>
                  <a:gd name="T18" fmla="*/ 13 w 64"/>
                  <a:gd name="T19" fmla="*/ 3 h 70"/>
                  <a:gd name="T20" fmla="*/ 18 w 64"/>
                  <a:gd name="T21" fmla="*/ 1 h 70"/>
                  <a:gd name="T22" fmla="*/ 20 w 64"/>
                  <a:gd name="T23" fmla="*/ 1 h 70"/>
                  <a:gd name="T24" fmla="*/ 27 w 64"/>
                  <a:gd name="T25" fmla="*/ 0 h 70"/>
                  <a:gd name="T26" fmla="*/ 30 w 64"/>
                  <a:gd name="T27" fmla="*/ 1 h 70"/>
                  <a:gd name="T28" fmla="*/ 31 w 64"/>
                  <a:gd name="T29" fmla="*/ 5 h 70"/>
                  <a:gd name="T30" fmla="*/ 35 w 64"/>
                  <a:gd name="T31" fmla="*/ 6 h 70"/>
                  <a:gd name="T32" fmla="*/ 35 w 64"/>
                  <a:gd name="T33" fmla="*/ 13 h 70"/>
                  <a:gd name="T34" fmla="*/ 33 w 64"/>
                  <a:gd name="T35" fmla="*/ 16 h 70"/>
                  <a:gd name="T36" fmla="*/ 38 w 64"/>
                  <a:gd name="T37" fmla="*/ 21 h 70"/>
                  <a:gd name="T38" fmla="*/ 40 w 64"/>
                  <a:gd name="T39" fmla="*/ 21 h 70"/>
                  <a:gd name="T40" fmla="*/ 44 w 64"/>
                  <a:gd name="T41" fmla="*/ 16 h 70"/>
                  <a:gd name="T42" fmla="*/ 46 w 64"/>
                  <a:gd name="T43" fmla="*/ 18 h 70"/>
                  <a:gd name="T44" fmla="*/ 48 w 64"/>
                  <a:gd name="T45" fmla="*/ 19 h 70"/>
                  <a:gd name="T46" fmla="*/ 49 w 64"/>
                  <a:gd name="T47" fmla="*/ 21 h 70"/>
                  <a:gd name="T48" fmla="*/ 48 w 64"/>
                  <a:gd name="T49" fmla="*/ 22 h 70"/>
                  <a:gd name="T50" fmla="*/ 49 w 64"/>
                  <a:gd name="T51" fmla="*/ 26 h 70"/>
                  <a:gd name="T52" fmla="*/ 46 w 64"/>
                  <a:gd name="T53" fmla="*/ 32 h 70"/>
                  <a:gd name="T54" fmla="*/ 44 w 64"/>
                  <a:gd name="T55" fmla="*/ 34 h 70"/>
                  <a:gd name="T56" fmla="*/ 44 w 64"/>
                  <a:gd name="T57" fmla="*/ 37 h 70"/>
                  <a:gd name="T58" fmla="*/ 48 w 64"/>
                  <a:gd name="T59" fmla="*/ 39 h 70"/>
                  <a:gd name="T60" fmla="*/ 49 w 64"/>
                  <a:gd name="T61" fmla="*/ 37 h 70"/>
                  <a:gd name="T62" fmla="*/ 51 w 64"/>
                  <a:gd name="T63" fmla="*/ 37 h 70"/>
                  <a:gd name="T64" fmla="*/ 54 w 64"/>
                  <a:gd name="T65" fmla="*/ 40 h 70"/>
                  <a:gd name="T66" fmla="*/ 56 w 64"/>
                  <a:gd name="T67" fmla="*/ 39 h 70"/>
                  <a:gd name="T68" fmla="*/ 58 w 64"/>
                  <a:gd name="T69" fmla="*/ 40 h 70"/>
                  <a:gd name="T70" fmla="*/ 59 w 64"/>
                  <a:gd name="T71" fmla="*/ 44 h 70"/>
                  <a:gd name="T72" fmla="*/ 61 w 64"/>
                  <a:gd name="T73" fmla="*/ 45 h 70"/>
                  <a:gd name="T74" fmla="*/ 62 w 64"/>
                  <a:gd name="T75" fmla="*/ 45 h 70"/>
                  <a:gd name="T76" fmla="*/ 64 w 64"/>
                  <a:gd name="T77" fmla="*/ 49 h 70"/>
                  <a:gd name="T78" fmla="*/ 62 w 64"/>
                  <a:gd name="T79" fmla="*/ 50 h 70"/>
                  <a:gd name="T80" fmla="*/ 62 w 64"/>
                  <a:gd name="T81" fmla="*/ 52 h 70"/>
                  <a:gd name="T82" fmla="*/ 61 w 64"/>
                  <a:gd name="T83" fmla="*/ 54 h 70"/>
                  <a:gd name="T84" fmla="*/ 61 w 64"/>
                  <a:gd name="T85" fmla="*/ 57 h 70"/>
                  <a:gd name="T86" fmla="*/ 62 w 64"/>
                  <a:gd name="T87" fmla="*/ 60 h 70"/>
                  <a:gd name="T88" fmla="*/ 61 w 64"/>
                  <a:gd name="T89" fmla="*/ 63 h 70"/>
                  <a:gd name="T90" fmla="*/ 62 w 64"/>
                  <a:gd name="T91" fmla="*/ 67 h 70"/>
                  <a:gd name="T92" fmla="*/ 62 w 64"/>
                  <a:gd name="T93" fmla="*/ 70 h 70"/>
                  <a:gd name="T94" fmla="*/ 46 w 64"/>
                  <a:gd name="T95" fmla="*/ 63 h 70"/>
                  <a:gd name="T96" fmla="*/ 35 w 64"/>
                  <a:gd name="T97" fmla="*/ 55 h 70"/>
                  <a:gd name="T98" fmla="*/ 31 w 64"/>
                  <a:gd name="T99" fmla="*/ 55 h 70"/>
                  <a:gd name="T100" fmla="*/ 22 w 64"/>
                  <a:gd name="T101" fmla="*/ 44 h 70"/>
                  <a:gd name="T102" fmla="*/ 15 w 64"/>
                  <a:gd name="T103" fmla="*/ 40 h 70"/>
                  <a:gd name="T104" fmla="*/ 12 w 64"/>
                  <a:gd name="T105" fmla="*/ 40 h 70"/>
                  <a:gd name="T106" fmla="*/ 9 w 64"/>
                  <a:gd name="T107" fmla="*/ 34 h 70"/>
                  <a:gd name="T108" fmla="*/ 5 w 64"/>
                  <a:gd name="T109" fmla="*/ 32 h 70"/>
                  <a:gd name="T110" fmla="*/ 7 w 64"/>
                  <a:gd name="T111" fmla="*/ 31 h 70"/>
                  <a:gd name="T112" fmla="*/ 4 w 64"/>
                  <a:gd name="T113" fmla="*/ 29 h 70"/>
                  <a:gd name="T114" fmla="*/ 0 w 64"/>
                  <a:gd name="T115" fmla="*/ 2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4" h="70">
                    <a:moveTo>
                      <a:pt x="0" y="29"/>
                    </a:moveTo>
                    <a:lnTo>
                      <a:pt x="0" y="26"/>
                    </a:lnTo>
                    <a:lnTo>
                      <a:pt x="2" y="22"/>
                    </a:lnTo>
                    <a:lnTo>
                      <a:pt x="7" y="21"/>
                    </a:lnTo>
                    <a:lnTo>
                      <a:pt x="10" y="16"/>
                    </a:lnTo>
                    <a:lnTo>
                      <a:pt x="9" y="14"/>
                    </a:lnTo>
                    <a:lnTo>
                      <a:pt x="10" y="9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7" y="0"/>
                    </a:lnTo>
                    <a:lnTo>
                      <a:pt x="30" y="1"/>
                    </a:lnTo>
                    <a:lnTo>
                      <a:pt x="31" y="5"/>
                    </a:lnTo>
                    <a:lnTo>
                      <a:pt x="35" y="6"/>
                    </a:lnTo>
                    <a:lnTo>
                      <a:pt x="35" y="13"/>
                    </a:lnTo>
                    <a:lnTo>
                      <a:pt x="33" y="16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44" y="16"/>
                    </a:lnTo>
                    <a:lnTo>
                      <a:pt x="46" y="18"/>
                    </a:lnTo>
                    <a:lnTo>
                      <a:pt x="48" y="19"/>
                    </a:lnTo>
                    <a:lnTo>
                      <a:pt x="49" y="21"/>
                    </a:lnTo>
                    <a:lnTo>
                      <a:pt x="48" y="22"/>
                    </a:lnTo>
                    <a:lnTo>
                      <a:pt x="49" y="26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4" y="37"/>
                    </a:lnTo>
                    <a:lnTo>
                      <a:pt x="48" y="39"/>
                    </a:lnTo>
                    <a:lnTo>
                      <a:pt x="49" y="37"/>
                    </a:lnTo>
                    <a:lnTo>
                      <a:pt x="51" y="37"/>
                    </a:lnTo>
                    <a:lnTo>
                      <a:pt x="54" y="40"/>
                    </a:lnTo>
                    <a:lnTo>
                      <a:pt x="56" y="39"/>
                    </a:lnTo>
                    <a:lnTo>
                      <a:pt x="58" y="40"/>
                    </a:lnTo>
                    <a:lnTo>
                      <a:pt x="59" y="44"/>
                    </a:lnTo>
                    <a:lnTo>
                      <a:pt x="61" y="45"/>
                    </a:lnTo>
                    <a:lnTo>
                      <a:pt x="62" y="45"/>
                    </a:lnTo>
                    <a:lnTo>
                      <a:pt x="64" y="49"/>
                    </a:lnTo>
                    <a:lnTo>
                      <a:pt x="62" y="50"/>
                    </a:lnTo>
                    <a:lnTo>
                      <a:pt x="62" y="52"/>
                    </a:lnTo>
                    <a:lnTo>
                      <a:pt x="61" y="54"/>
                    </a:lnTo>
                    <a:lnTo>
                      <a:pt x="61" y="57"/>
                    </a:lnTo>
                    <a:lnTo>
                      <a:pt x="62" y="60"/>
                    </a:lnTo>
                    <a:lnTo>
                      <a:pt x="61" y="63"/>
                    </a:lnTo>
                    <a:lnTo>
                      <a:pt x="62" y="67"/>
                    </a:lnTo>
                    <a:lnTo>
                      <a:pt x="62" y="70"/>
                    </a:lnTo>
                    <a:lnTo>
                      <a:pt x="46" y="63"/>
                    </a:lnTo>
                    <a:lnTo>
                      <a:pt x="35" y="55"/>
                    </a:lnTo>
                    <a:lnTo>
                      <a:pt x="31" y="55"/>
                    </a:lnTo>
                    <a:lnTo>
                      <a:pt x="22" y="44"/>
                    </a:lnTo>
                    <a:lnTo>
                      <a:pt x="15" y="40"/>
                    </a:lnTo>
                    <a:lnTo>
                      <a:pt x="12" y="40"/>
                    </a:lnTo>
                    <a:lnTo>
                      <a:pt x="9" y="34"/>
                    </a:lnTo>
                    <a:lnTo>
                      <a:pt x="5" y="32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7" name="Freeform 272">
                <a:extLst>
                  <a:ext uri="{FF2B5EF4-FFF2-40B4-BE49-F238E27FC236}">
                    <a16:creationId xmlns:a16="http://schemas.microsoft.com/office/drawing/2014/main" xmlns="" id="{A407C8B5-CD19-4664-B294-77B88BFDC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1882"/>
                <a:ext cx="98" cy="105"/>
              </a:xfrm>
              <a:custGeom>
                <a:avLst/>
                <a:gdLst>
                  <a:gd name="T0" fmla="*/ 18 w 98"/>
                  <a:gd name="T1" fmla="*/ 102 h 105"/>
                  <a:gd name="T2" fmla="*/ 18 w 98"/>
                  <a:gd name="T3" fmla="*/ 95 h 105"/>
                  <a:gd name="T4" fmla="*/ 17 w 98"/>
                  <a:gd name="T5" fmla="*/ 89 h 105"/>
                  <a:gd name="T6" fmla="*/ 18 w 98"/>
                  <a:gd name="T7" fmla="*/ 85 h 105"/>
                  <a:gd name="T8" fmla="*/ 18 w 98"/>
                  <a:gd name="T9" fmla="*/ 80 h 105"/>
                  <a:gd name="T10" fmla="*/ 15 w 98"/>
                  <a:gd name="T11" fmla="*/ 79 h 105"/>
                  <a:gd name="T12" fmla="*/ 12 w 98"/>
                  <a:gd name="T13" fmla="*/ 74 h 105"/>
                  <a:gd name="T14" fmla="*/ 7 w 98"/>
                  <a:gd name="T15" fmla="*/ 72 h 105"/>
                  <a:gd name="T16" fmla="*/ 4 w 98"/>
                  <a:gd name="T17" fmla="*/ 74 h 105"/>
                  <a:gd name="T18" fmla="*/ 0 w 98"/>
                  <a:gd name="T19" fmla="*/ 69 h 105"/>
                  <a:gd name="T20" fmla="*/ 5 w 98"/>
                  <a:gd name="T21" fmla="*/ 61 h 105"/>
                  <a:gd name="T22" fmla="*/ 5 w 98"/>
                  <a:gd name="T23" fmla="*/ 56 h 105"/>
                  <a:gd name="T24" fmla="*/ 12 w 98"/>
                  <a:gd name="T25" fmla="*/ 46 h 105"/>
                  <a:gd name="T26" fmla="*/ 12 w 98"/>
                  <a:gd name="T27" fmla="*/ 41 h 105"/>
                  <a:gd name="T28" fmla="*/ 9 w 98"/>
                  <a:gd name="T29" fmla="*/ 35 h 105"/>
                  <a:gd name="T30" fmla="*/ 14 w 98"/>
                  <a:gd name="T31" fmla="*/ 35 h 105"/>
                  <a:gd name="T32" fmla="*/ 12 w 98"/>
                  <a:gd name="T33" fmla="*/ 28 h 105"/>
                  <a:gd name="T34" fmla="*/ 9 w 98"/>
                  <a:gd name="T35" fmla="*/ 22 h 105"/>
                  <a:gd name="T36" fmla="*/ 9 w 98"/>
                  <a:gd name="T37" fmla="*/ 12 h 105"/>
                  <a:gd name="T38" fmla="*/ 9 w 98"/>
                  <a:gd name="T39" fmla="*/ 8 h 105"/>
                  <a:gd name="T40" fmla="*/ 20 w 98"/>
                  <a:gd name="T41" fmla="*/ 2 h 105"/>
                  <a:gd name="T42" fmla="*/ 25 w 98"/>
                  <a:gd name="T43" fmla="*/ 4 h 105"/>
                  <a:gd name="T44" fmla="*/ 33 w 98"/>
                  <a:gd name="T45" fmla="*/ 4 h 105"/>
                  <a:gd name="T46" fmla="*/ 38 w 98"/>
                  <a:gd name="T47" fmla="*/ 0 h 105"/>
                  <a:gd name="T48" fmla="*/ 41 w 98"/>
                  <a:gd name="T49" fmla="*/ 2 h 105"/>
                  <a:gd name="T50" fmla="*/ 48 w 98"/>
                  <a:gd name="T51" fmla="*/ 5 h 105"/>
                  <a:gd name="T52" fmla="*/ 53 w 98"/>
                  <a:gd name="T53" fmla="*/ 0 h 105"/>
                  <a:gd name="T54" fmla="*/ 64 w 98"/>
                  <a:gd name="T55" fmla="*/ 7 h 105"/>
                  <a:gd name="T56" fmla="*/ 67 w 98"/>
                  <a:gd name="T57" fmla="*/ 8 h 105"/>
                  <a:gd name="T58" fmla="*/ 74 w 98"/>
                  <a:gd name="T59" fmla="*/ 10 h 105"/>
                  <a:gd name="T60" fmla="*/ 81 w 98"/>
                  <a:gd name="T61" fmla="*/ 15 h 105"/>
                  <a:gd name="T62" fmla="*/ 87 w 98"/>
                  <a:gd name="T63" fmla="*/ 12 h 105"/>
                  <a:gd name="T64" fmla="*/ 92 w 98"/>
                  <a:gd name="T65" fmla="*/ 13 h 105"/>
                  <a:gd name="T66" fmla="*/ 95 w 98"/>
                  <a:gd name="T67" fmla="*/ 15 h 105"/>
                  <a:gd name="T68" fmla="*/ 95 w 98"/>
                  <a:gd name="T69" fmla="*/ 23 h 105"/>
                  <a:gd name="T70" fmla="*/ 97 w 98"/>
                  <a:gd name="T71" fmla="*/ 28 h 105"/>
                  <a:gd name="T72" fmla="*/ 97 w 98"/>
                  <a:gd name="T73" fmla="*/ 36 h 105"/>
                  <a:gd name="T74" fmla="*/ 95 w 98"/>
                  <a:gd name="T75" fmla="*/ 41 h 105"/>
                  <a:gd name="T76" fmla="*/ 90 w 98"/>
                  <a:gd name="T77" fmla="*/ 53 h 105"/>
                  <a:gd name="T78" fmla="*/ 89 w 98"/>
                  <a:gd name="T79" fmla="*/ 59 h 105"/>
                  <a:gd name="T80" fmla="*/ 87 w 98"/>
                  <a:gd name="T81" fmla="*/ 67 h 105"/>
                  <a:gd name="T82" fmla="*/ 85 w 98"/>
                  <a:gd name="T83" fmla="*/ 71 h 105"/>
                  <a:gd name="T84" fmla="*/ 90 w 98"/>
                  <a:gd name="T85" fmla="*/ 79 h 105"/>
                  <a:gd name="T86" fmla="*/ 94 w 98"/>
                  <a:gd name="T87" fmla="*/ 84 h 105"/>
                  <a:gd name="T88" fmla="*/ 95 w 98"/>
                  <a:gd name="T89" fmla="*/ 90 h 105"/>
                  <a:gd name="T90" fmla="*/ 90 w 98"/>
                  <a:gd name="T91" fmla="*/ 92 h 105"/>
                  <a:gd name="T92" fmla="*/ 87 w 98"/>
                  <a:gd name="T93" fmla="*/ 89 h 105"/>
                  <a:gd name="T94" fmla="*/ 82 w 98"/>
                  <a:gd name="T95" fmla="*/ 93 h 105"/>
                  <a:gd name="T96" fmla="*/ 67 w 98"/>
                  <a:gd name="T97" fmla="*/ 92 h 105"/>
                  <a:gd name="T98" fmla="*/ 41 w 98"/>
                  <a:gd name="T99" fmla="*/ 93 h 105"/>
                  <a:gd name="T100" fmla="*/ 30 w 98"/>
                  <a:gd name="T101" fmla="*/ 98 h 105"/>
                  <a:gd name="T102" fmla="*/ 25 w 98"/>
                  <a:gd name="T103" fmla="*/ 100 h 105"/>
                  <a:gd name="T104" fmla="*/ 18 w 98"/>
                  <a:gd name="T10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8" h="105">
                    <a:moveTo>
                      <a:pt x="18" y="105"/>
                    </a:moveTo>
                    <a:lnTo>
                      <a:pt x="18" y="102"/>
                    </a:lnTo>
                    <a:lnTo>
                      <a:pt x="17" y="98"/>
                    </a:lnTo>
                    <a:lnTo>
                      <a:pt x="18" y="95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18" y="87"/>
                    </a:lnTo>
                    <a:lnTo>
                      <a:pt x="18" y="85"/>
                    </a:lnTo>
                    <a:lnTo>
                      <a:pt x="20" y="84"/>
                    </a:lnTo>
                    <a:lnTo>
                      <a:pt x="18" y="80"/>
                    </a:lnTo>
                    <a:lnTo>
                      <a:pt x="17" y="80"/>
                    </a:lnTo>
                    <a:lnTo>
                      <a:pt x="15" y="79"/>
                    </a:lnTo>
                    <a:lnTo>
                      <a:pt x="14" y="75"/>
                    </a:lnTo>
                    <a:lnTo>
                      <a:pt x="12" y="74"/>
                    </a:lnTo>
                    <a:lnTo>
                      <a:pt x="10" y="75"/>
                    </a:lnTo>
                    <a:lnTo>
                      <a:pt x="7" y="72"/>
                    </a:lnTo>
                    <a:lnTo>
                      <a:pt x="5" y="72"/>
                    </a:lnTo>
                    <a:lnTo>
                      <a:pt x="4" y="74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2" y="67"/>
                    </a:lnTo>
                    <a:lnTo>
                      <a:pt x="5" y="61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12" y="46"/>
                    </a:lnTo>
                    <a:lnTo>
                      <a:pt x="12" y="41"/>
                    </a:lnTo>
                    <a:lnTo>
                      <a:pt x="12" y="41"/>
                    </a:lnTo>
                    <a:lnTo>
                      <a:pt x="9" y="36"/>
                    </a:lnTo>
                    <a:lnTo>
                      <a:pt x="9" y="35"/>
                    </a:lnTo>
                    <a:lnTo>
                      <a:pt x="10" y="33"/>
                    </a:lnTo>
                    <a:lnTo>
                      <a:pt x="14" y="35"/>
                    </a:lnTo>
                    <a:lnTo>
                      <a:pt x="14" y="31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9" y="22"/>
                    </a:lnTo>
                    <a:lnTo>
                      <a:pt x="10" y="20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4" y="5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5" y="4"/>
                    </a:lnTo>
                    <a:lnTo>
                      <a:pt x="32" y="5"/>
                    </a:lnTo>
                    <a:lnTo>
                      <a:pt x="33" y="4"/>
                    </a:lnTo>
                    <a:lnTo>
                      <a:pt x="33" y="2"/>
                    </a:lnTo>
                    <a:lnTo>
                      <a:pt x="38" y="0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3" y="4"/>
                    </a:lnTo>
                    <a:lnTo>
                      <a:pt x="48" y="5"/>
                    </a:lnTo>
                    <a:lnTo>
                      <a:pt x="51" y="2"/>
                    </a:lnTo>
                    <a:lnTo>
                      <a:pt x="53" y="0"/>
                    </a:lnTo>
                    <a:lnTo>
                      <a:pt x="58" y="4"/>
                    </a:lnTo>
                    <a:lnTo>
                      <a:pt x="64" y="7"/>
                    </a:lnTo>
                    <a:lnTo>
                      <a:pt x="66" y="7"/>
                    </a:lnTo>
                    <a:lnTo>
                      <a:pt x="67" y="8"/>
                    </a:lnTo>
                    <a:lnTo>
                      <a:pt x="71" y="8"/>
                    </a:lnTo>
                    <a:lnTo>
                      <a:pt x="74" y="10"/>
                    </a:lnTo>
                    <a:lnTo>
                      <a:pt x="76" y="12"/>
                    </a:lnTo>
                    <a:lnTo>
                      <a:pt x="81" y="15"/>
                    </a:lnTo>
                    <a:lnTo>
                      <a:pt x="84" y="13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92" y="13"/>
                    </a:lnTo>
                    <a:lnTo>
                      <a:pt x="95" y="13"/>
                    </a:lnTo>
                    <a:lnTo>
                      <a:pt x="95" y="15"/>
                    </a:lnTo>
                    <a:lnTo>
                      <a:pt x="94" y="20"/>
                    </a:lnTo>
                    <a:lnTo>
                      <a:pt x="95" y="23"/>
                    </a:lnTo>
                    <a:lnTo>
                      <a:pt x="95" y="26"/>
                    </a:lnTo>
                    <a:lnTo>
                      <a:pt x="97" y="28"/>
                    </a:lnTo>
                    <a:lnTo>
                      <a:pt x="98" y="33"/>
                    </a:lnTo>
                    <a:lnTo>
                      <a:pt x="97" y="36"/>
                    </a:lnTo>
                    <a:lnTo>
                      <a:pt x="97" y="40"/>
                    </a:lnTo>
                    <a:lnTo>
                      <a:pt x="95" y="41"/>
                    </a:lnTo>
                    <a:lnTo>
                      <a:pt x="89" y="49"/>
                    </a:lnTo>
                    <a:lnTo>
                      <a:pt x="90" y="53"/>
                    </a:lnTo>
                    <a:lnTo>
                      <a:pt x="89" y="54"/>
                    </a:lnTo>
                    <a:lnTo>
                      <a:pt x="89" y="59"/>
                    </a:lnTo>
                    <a:lnTo>
                      <a:pt x="87" y="61"/>
                    </a:lnTo>
                    <a:lnTo>
                      <a:pt x="87" y="67"/>
                    </a:lnTo>
                    <a:lnTo>
                      <a:pt x="85" y="69"/>
                    </a:lnTo>
                    <a:lnTo>
                      <a:pt x="85" y="71"/>
                    </a:lnTo>
                    <a:lnTo>
                      <a:pt x="87" y="72"/>
                    </a:lnTo>
                    <a:lnTo>
                      <a:pt x="90" y="79"/>
                    </a:lnTo>
                    <a:lnTo>
                      <a:pt x="90" y="82"/>
                    </a:lnTo>
                    <a:lnTo>
                      <a:pt x="94" y="84"/>
                    </a:lnTo>
                    <a:lnTo>
                      <a:pt x="95" y="87"/>
                    </a:lnTo>
                    <a:lnTo>
                      <a:pt x="95" y="90"/>
                    </a:lnTo>
                    <a:lnTo>
                      <a:pt x="92" y="92"/>
                    </a:lnTo>
                    <a:lnTo>
                      <a:pt x="90" y="92"/>
                    </a:lnTo>
                    <a:lnTo>
                      <a:pt x="89" y="92"/>
                    </a:lnTo>
                    <a:lnTo>
                      <a:pt x="87" y="89"/>
                    </a:lnTo>
                    <a:lnTo>
                      <a:pt x="84" y="89"/>
                    </a:lnTo>
                    <a:lnTo>
                      <a:pt x="82" y="93"/>
                    </a:lnTo>
                    <a:lnTo>
                      <a:pt x="76" y="90"/>
                    </a:lnTo>
                    <a:lnTo>
                      <a:pt x="67" y="92"/>
                    </a:lnTo>
                    <a:lnTo>
                      <a:pt x="46" y="92"/>
                    </a:lnTo>
                    <a:lnTo>
                      <a:pt x="41" y="93"/>
                    </a:lnTo>
                    <a:lnTo>
                      <a:pt x="41" y="95"/>
                    </a:lnTo>
                    <a:lnTo>
                      <a:pt x="30" y="98"/>
                    </a:lnTo>
                    <a:lnTo>
                      <a:pt x="28" y="100"/>
                    </a:lnTo>
                    <a:lnTo>
                      <a:pt x="25" y="100"/>
                    </a:lnTo>
                    <a:lnTo>
                      <a:pt x="20" y="105"/>
                    </a:lnTo>
                    <a:lnTo>
                      <a:pt x="18" y="10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8" name="Freeform 273">
                <a:extLst>
                  <a:ext uri="{FF2B5EF4-FFF2-40B4-BE49-F238E27FC236}">
                    <a16:creationId xmlns:a16="http://schemas.microsoft.com/office/drawing/2014/main" xmlns="" id="{71A58E16-CB83-48FE-9E93-43FA0FBB7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1872"/>
                <a:ext cx="67" cy="108"/>
              </a:xfrm>
              <a:custGeom>
                <a:avLst/>
                <a:gdLst>
                  <a:gd name="T0" fmla="*/ 5 w 67"/>
                  <a:gd name="T1" fmla="*/ 102 h 108"/>
                  <a:gd name="T2" fmla="*/ 10 w 67"/>
                  <a:gd name="T3" fmla="*/ 100 h 108"/>
                  <a:gd name="T4" fmla="*/ 9 w 67"/>
                  <a:gd name="T5" fmla="*/ 94 h 108"/>
                  <a:gd name="T6" fmla="*/ 5 w 67"/>
                  <a:gd name="T7" fmla="*/ 89 h 108"/>
                  <a:gd name="T8" fmla="*/ 0 w 67"/>
                  <a:gd name="T9" fmla="*/ 81 h 108"/>
                  <a:gd name="T10" fmla="*/ 2 w 67"/>
                  <a:gd name="T11" fmla="*/ 77 h 108"/>
                  <a:gd name="T12" fmla="*/ 4 w 67"/>
                  <a:gd name="T13" fmla="*/ 69 h 108"/>
                  <a:gd name="T14" fmla="*/ 5 w 67"/>
                  <a:gd name="T15" fmla="*/ 63 h 108"/>
                  <a:gd name="T16" fmla="*/ 10 w 67"/>
                  <a:gd name="T17" fmla="*/ 51 h 108"/>
                  <a:gd name="T18" fmla="*/ 12 w 67"/>
                  <a:gd name="T19" fmla="*/ 46 h 108"/>
                  <a:gd name="T20" fmla="*/ 12 w 67"/>
                  <a:gd name="T21" fmla="*/ 38 h 108"/>
                  <a:gd name="T22" fmla="*/ 10 w 67"/>
                  <a:gd name="T23" fmla="*/ 33 h 108"/>
                  <a:gd name="T24" fmla="*/ 10 w 67"/>
                  <a:gd name="T25" fmla="*/ 25 h 108"/>
                  <a:gd name="T26" fmla="*/ 9 w 67"/>
                  <a:gd name="T27" fmla="*/ 15 h 108"/>
                  <a:gd name="T28" fmla="*/ 5 w 67"/>
                  <a:gd name="T29" fmla="*/ 9 h 108"/>
                  <a:gd name="T30" fmla="*/ 12 w 67"/>
                  <a:gd name="T31" fmla="*/ 4 h 108"/>
                  <a:gd name="T32" fmla="*/ 25 w 67"/>
                  <a:gd name="T33" fmla="*/ 4 h 108"/>
                  <a:gd name="T34" fmla="*/ 38 w 67"/>
                  <a:gd name="T35" fmla="*/ 2 h 108"/>
                  <a:gd name="T36" fmla="*/ 46 w 67"/>
                  <a:gd name="T37" fmla="*/ 0 h 108"/>
                  <a:gd name="T38" fmla="*/ 48 w 67"/>
                  <a:gd name="T39" fmla="*/ 5 h 108"/>
                  <a:gd name="T40" fmla="*/ 49 w 67"/>
                  <a:gd name="T41" fmla="*/ 9 h 108"/>
                  <a:gd name="T42" fmla="*/ 54 w 67"/>
                  <a:gd name="T43" fmla="*/ 15 h 108"/>
                  <a:gd name="T44" fmla="*/ 58 w 67"/>
                  <a:gd name="T45" fmla="*/ 22 h 108"/>
                  <a:gd name="T46" fmla="*/ 59 w 67"/>
                  <a:gd name="T47" fmla="*/ 28 h 108"/>
                  <a:gd name="T48" fmla="*/ 61 w 67"/>
                  <a:gd name="T49" fmla="*/ 35 h 108"/>
                  <a:gd name="T50" fmla="*/ 59 w 67"/>
                  <a:gd name="T51" fmla="*/ 40 h 108"/>
                  <a:gd name="T52" fmla="*/ 61 w 67"/>
                  <a:gd name="T53" fmla="*/ 43 h 108"/>
                  <a:gd name="T54" fmla="*/ 61 w 67"/>
                  <a:gd name="T55" fmla="*/ 48 h 108"/>
                  <a:gd name="T56" fmla="*/ 62 w 67"/>
                  <a:gd name="T57" fmla="*/ 56 h 108"/>
                  <a:gd name="T58" fmla="*/ 61 w 67"/>
                  <a:gd name="T59" fmla="*/ 69 h 108"/>
                  <a:gd name="T60" fmla="*/ 59 w 67"/>
                  <a:gd name="T61" fmla="*/ 76 h 108"/>
                  <a:gd name="T62" fmla="*/ 62 w 67"/>
                  <a:gd name="T63" fmla="*/ 84 h 108"/>
                  <a:gd name="T64" fmla="*/ 66 w 67"/>
                  <a:gd name="T65" fmla="*/ 85 h 108"/>
                  <a:gd name="T66" fmla="*/ 59 w 67"/>
                  <a:gd name="T67" fmla="*/ 90 h 108"/>
                  <a:gd name="T68" fmla="*/ 43 w 67"/>
                  <a:gd name="T69" fmla="*/ 100 h 108"/>
                  <a:gd name="T70" fmla="*/ 20 w 67"/>
                  <a:gd name="T71" fmla="*/ 108 h 108"/>
                  <a:gd name="T72" fmla="*/ 5 w 67"/>
                  <a:gd name="T73" fmla="*/ 10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7" h="108">
                    <a:moveTo>
                      <a:pt x="4" y="102"/>
                    </a:moveTo>
                    <a:lnTo>
                      <a:pt x="5" y="102"/>
                    </a:lnTo>
                    <a:lnTo>
                      <a:pt x="7" y="102"/>
                    </a:lnTo>
                    <a:lnTo>
                      <a:pt x="10" y="100"/>
                    </a:lnTo>
                    <a:lnTo>
                      <a:pt x="10" y="97"/>
                    </a:lnTo>
                    <a:lnTo>
                      <a:pt x="9" y="94"/>
                    </a:lnTo>
                    <a:lnTo>
                      <a:pt x="5" y="92"/>
                    </a:lnTo>
                    <a:lnTo>
                      <a:pt x="5" y="89"/>
                    </a:lnTo>
                    <a:lnTo>
                      <a:pt x="2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2" y="77"/>
                    </a:lnTo>
                    <a:lnTo>
                      <a:pt x="2" y="71"/>
                    </a:lnTo>
                    <a:lnTo>
                      <a:pt x="4" y="69"/>
                    </a:lnTo>
                    <a:lnTo>
                      <a:pt x="4" y="64"/>
                    </a:lnTo>
                    <a:lnTo>
                      <a:pt x="5" y="63"/>
                    </a:lnTo>
                    <a:lnTo>
                      <a:pt x="4" y="59"/>
                    </a:lnTo>
                    <a:lnTo>
                      <a:pt x="10" y="51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3" y="43"/>
                    </a:lnTo>
                    <a:lnTo>
                      <a:pt x="12" y="38"/>
                    </a:lnTo>
                    <a:lnTo>
                      <a:pt x="10" y="36"/>
                    </a:lnTo>
                    <a:lnTo>
                      <a:pt x="10" y="33"/>
                    </a:lnTo>
                    <a:lnTo>
                      <a:pt x="9" y="30"/>
                    </a:lnTo>
                    <a:lnTo>
                      <a:pt x="10" y="25"/>
                    </a:lnTo>
                    <a:lnTo>
                      <a:pt x="10" y="18"/>
                    </a:lnTo>
                    <a:lnTo>
                      <a:pt x="9" y="15"/>
                    </a:lnTo>
                    <a:lnTo>
                      <a:pt x="7" y="14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12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33" y="4"/>
                    </a:lnTo>
                    <a:lnTo>
                      <a:pt x="38" y="2"/>
                    </a:lnTo>
                    <a:lnTo>
                      <a:pt x="43" y="2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5"/>
                    </a:lnTo>
                    <a:lnTo>
                      <a:pt x="49" y="7"/>
                    </a:lnTo>
                    <a:lnTo>
                      <a:pt x="49" y="9"/>
                    </a:lnTo>
                    <a:lnTo>
                      <a:pt x="54" y="12"/>
                    </a:lnTo>
                    <a:lnTo>
                      <a:pt x="54" y="15"/>
                    </a:lnTo>
                    <a:lnTo>
                      <a:pt x="58" y="17"/>
                    </a:lnTo>
                    <a:lnTo>
                      <a:pt x="58" y="22"/>
                    </a:lnTo>
                    <a:lnTo>
                      <a:pt x="58" y="27"/>
                    </a:lnTo>
                    <a:lnTo>
                      <a:pt x="59" y="28"/>
                    </a:lnTo>
                    <a:lnTo>
                      <a:pt x="61" y="28"/>
                    </a:lnTo>
                    <a:lnTo>
                      <a:pt x="61" y="35"/>
                    </a:lnTo>
                    <a:lnTo>
                      <a:pt x="59" y="36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59" y="46"/>
                    </a:lnTo>
                    <a:lnTo>
                      <a:pt x="61" y="48"/>
                    </a:lnTo>
                    <a:lnTo>
                      <a:pt x="61" y="53"/>
                    </a:lnTo>
                    <a:lnTo>
                      <a:pt x="62" y="56"/>
                    </a:lnTo>
                    <a:lnTo>
                      <a:pt x="62" y="66"/>
                    </a:lnTo>
                    <a:lnTo>
                      <a:pt x="61" y="69"/>
                    </a:lnTo>
                    <a:lnTo>
                      <a:pt x="61" y="71"/>
                    </a:lnTo>
                    <a:lnTo>
                      <a:pt x="59" y="76"/>
                    </a:lnTo>
                    <a:lnTo>
                      <a:pt x="61" y="79"/>
                    </a:lnTo>
                    <a:lnTo>
                      <a:pt x="62" y="84"/>
                    </a:lnTo>
                    <a:lnTo>
                      <a:pt x="64" y="84"/>
                    </a:lnTo>
                    <a:lnTo>
                      <a:pt x="66" y="85"/>
                    </a:lnTo>
                    <a:lnTo>
                      <a:pt x="67" y="89"/>
                    </a:lnTo>
                    <a:lnTo>
                      <a:pt x="59" y="90"/>
                    </a:lnTo>
                    <a:lnTo>
                      <a:pt x="51" y="94"/>
                    </a:lnTo>
                    <a:lnTo>
                      <a:pt x="43" y="100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3" y="105"/>
                    </a:lnTo>
                    <a:lnTo>
                      <a:pt x="5" y="103"/>
                    </a:lnTo>
                    <a:lnTo>
                      <a:pt x="4" y="10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9" name="Freeform 274">
                <a:extLst>
                  <a:ext uri="{FF2B5EF4-FFF2-40B4-BE49-F238E27FC236}">
                    <a16:creationId xmlns:a16="http://schemas.microsoft.com/office/drawing/2014/main" xmlns="" id="{B76694BC-C025-4C7A-B0D8-4201D4A77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1" y="1872"/>
                <a:ext cx="31" cy="89"/>
              </a:xfrm>
              <a:custGeom>
                <a:avLst/>
                <a:gdLst>
                  <a:gd name="T0" fmla="*/ 16 w 31"/>
                  <a:gd name="T1" fmla="*/ 5 h 89"/>
                  <a:gd name="T2" fmla="*/ 0 w 31"/>
                  <a:gd name="T3" fmla="*/ 0 h 89"/>
                  <a:gd name="T4" fmla="*/ 0 w 31"/>
                  <a:gd name="T5" fmla="*/ 0 h 89"/>
                  <a:gd name="T6" fmla="*/ 0 w 31"/>
                  <a:gd name="T7" fmla="*/ 5 h 89"/>
                  <a:gd name="T8" fmla="*/ 1 w 31"/>
                  <a:gd name="T9" fmla="*/ 7 h 89"/>
                  <a:gd name="T10" fmla="*/ 1 w 31"/>
                  <a:gd name="T11" fmla="*/ 9 h 89"/>
                  <a:gd name="T12" fmla="*/ 6 w 31"/>
                  <a:gd name="T13" fmla="*/ 12 h 89"/>
                  <a:gd name="T14" fmla="*/ 6 w 31"/>
                  <a:gd name="T15" fmla="*/ 15 h 89"/>
                  <a:gd name="T16" fmla="*/ 10 w 31"/>
                  <a:gd name="T17" fmla="*/ 17 h 89"/>
                  <a:gd name="T18" fmla="*/ 10 w 31"/>
                  <a:gd name="T19" fmla="*/ 22 h 89"/>
                  <a:gd name="T20" fmla="*/ 10 w 31"/>
                  <a:gd name="T21" fmla="*/ 27 h 89"/>
                  <a:gd name="T22" fmla="*/ 11 w 31"/>
                  <a:gd name="T23" fmla="*/ 28 h 89"/>
                  <a:gd name="T24" fmla="*/ 13 w 31"/>
                  <a:gd name="T25" fmla="*/ 28 h 89"/>
                  <a:gd name="T26" fmla="*/ 13 w 31"/>
                  <a:gd name="T27" fmla="*/ 35 h 89"/>
                  <a:gd name="T28" fmla="*/ 11 w 31"/>
                  <a:gd name="T29" fmla="*/ 36 h 89"/>
                  <a:gd name="T30" fmla="*/ 11 w 31"/>
                  <a:gd name="T31" fmla="*/ 40 h 89"/>
                  <a:gd name="T32" fmla="*/ 13 w 31"/>
                  <a:gd name="T33" fmla="*/ 41 h 89"/>
                  <a:gd name="T34" fmla="*/ 13 w 31"/>
                  <a:gd name="T35" fmla="*/ 43 h 89"/>
                  <a:gd name="T36" fmla="*/ 11 w 31"/>
                  <a:gd name="T37" fmla="*/ 46 h 89"/>
                  <a:gd name="T38" fmla="*/ 13 w 31"/>
                  <a:gd name="T39" fmla="*/ 48 h 89"/>
                  <a:gd name="T40" fmla="*/ 13 w 31"/>
                  <a:gd name="T41" fmla="*/ 53 h 89"/>
                  <a:gd name="T42" fmla="*/ 14 w 31"/>
                  <a:gd name="T43" fmla="*/ 56 h 89"/>
                  <a:gd name="T44" fmla="*/ 14 w 31"/>
                  <a:gd name="T45" fmla="*/ 66 h 89"/>
                  <a:gd name="T46" fmla="*/ 13 w 31"/>
                  <a:gd name="T47" fmla="*/ 69 h 89"/>
                  <a:gd name="T48" fmla="*/ 13 w 31"/>
                  <a:gd name="T49" fmla="*/ 71 h 89"/>
                  <a:gd name="T50" fmla="*/ 11 w 31"/>
                  <a:gd name="T51" fmla="*/ 76 h 89"/>
                  <a:gd name="T52" fmla="*/ 13 w 31"/>
                  <a:gd name="T53" fmla="*/ 79 h 89"/>
                  <a:gd name="T54" fmla="*/ 14 w 31"/>
                  <a:gd name="T55" fmla="*/ 84 h 89"/>
                  <a:gd name="T56" fmla="*/ 16 w 31"/>
                  <a:gd name="T57" fmla="*/ 84 h 89"/>
                  <a:gd name="T58" fmla="*/ 18 w 31"/>
                  <a:gd name="T59" fmla="*/ 85 h 89"/>
                  <a:gd name="T60" fmla="*/ 19 w 31"/>
                  <a:gd name="T61" fmla="*/ 89 h 89"/>
                  <a:gd name="T62" fmla="*/ 21 w 31"/>
                  <a:gd name="T63" fmla="*/ 89 h 89"/>
                  <a:gd name="T64" fmla="*/ 29 w 31"/>
                  <a:gd name="T65" fmla="*/ 82 h 89"/>
                  <a:gd name="T66" fmla="*/ 31 w 31"/>
                  <a:gd name="T67" fmla="*/ 84 h 89"/>
                  <a:gd name="T68" fmla="*/ 31 w 31"/>
                  <a:gd name="T69" fmla="*/ 81 h 89"/>
                  <a:gd name="T70" fmla="*/ 29 w 31"/>
                  <a:gd name="T71" fmla="*/ 76 h 89"/>
                  <a:gd name="T72" fmla="*/ 29 w 31"/>
                  <a:gd name="T73" fmla="*/ 72 h 89"/>
                  <a:gd name="T74" fmla="*/ 28 w 31"/>
                  <a:gd name="T75" fmla="*/ 67 h 89"/>
                  <a:gd name="T76" fmla="*/ 28 w 31"/>
                  <a:gd name="T77" fmla="*/ 48 h 89"/>
                  <a:gd name="T78" fmla="*/ 28 w 31"/>
                  <a:gd name="T79" fmla="*/ 46 h 89"/>
                  <a:gd name="T80" fmla="*/ 29 w 31"/>
                  <a:gd name="T81" fmla="*/ 43 h 89"/>
                  <a:gd name="T82" fmla="*/ 29 w 31"/>
                  <a:gd name="T83" fmla="*/ 40 h 89"/>
                  <a:gd name="T84" fmla="*/ 29 w 31"/>
                  <a:gd name="T85" fmla="*/ 36 h 89"/>
                  <a:gd name="T86" fmla="*/ 29 w 31"/>
                  <a:gd name="T87" fmla="*/ 33 h 89"/>
                  <a:gd name="T88" fmla="*/ 28 w 31"/>
                  <a:gd name="T89" fmla="*/ 25 h 89"/>
                  <a:gd name="T90" fmla="*/ 24 w 31"/>
                  <a:gd name="T91" fmla="*/ 17 h 89"/>
                  <a:gd name="T92" fmla="*/ 23 w 31"/>
                  <a:gd name="T93" fmla="*/ 17 h 89"/>
                  <a:gd name="T94" fmla="*/ 21 w 31"/>
                  <a:gd name="T95" fmla="*/ 14 h 89"/>
                  <a:gd name="T96" fmla="*/ 16 w 31"/>
                  <a:gd name="T97" fmla="*/ 12 h 89"/>
                  <a:gd name="T98" fmla="*/ 16 w 31"/>
                  <a:gd name="T99" fmla="*/ 7 h 89"/>
                  <a:gd name="T100" fmla="*/ 16 w 31"/>
                  <a:gd name="T101" fmla="*/ 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" h="89">
                    <a:moveTo>
                      <a:pt x="16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1" y="9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10" y="17"/>
                    </a:lnTo>
                    <a:lnTo>
                      <a:pt x="10" y="22"/>
                    </a:lnTo>
                    <a:lnTo>
                      <a:pt x="10" y="27"/>
                    </a:lnTo>
                    <a:lnTo>
                      <a:pt x="11" y="28"/>
                    </a:lnTo>
                    <a:lnTo>
                      <a:pt x="13" y="28"/>
                    </a:lnTo>
                    <a:lnTo>
                      <a:pt x="13" y="35"/>
                    </a:lnTo>
                    <a:lnTo>
                      <a:pt x="11" y="36"/>
                    </a:lnTo>
                    <a:lnTo>
                      <a:pt x="11" y="40"/>
                    </a:lnTo>
                    <a:lnTo>
                      <a:pt x="13" y="41"/>
                    </a:lnTo>
                    <a:lnTo>
                      <a:pt x="13" y="43"/>
                    </a:lnTo>
                    <a:lnTo>
                      <a:pt x="11" y="46"/>
                    </a:lnTo>
                    <a:lnTo>
                      <a:pt x="13" y="48"/>
                    </a:lnTo>
                    <a:lnTo>
                      <a:pt x="13" y="53"/>
                    </a:lnTo>
                    <a:lnTo>
                      <a:pt x="14" y="56"/>
                    </a:lnTo>
                    <a:lnTo>
                      <a:pt x="14" y="66"/>
                    </a:lnTo>
                    <a:lnTo>
                      <a:pt x="13" y="69"/>
                    </a:lnTo>
                    <a:lnTo>
                      <a:pt x="13" y="71"/>
                    </a:lnTo>
                    <a:lnTo>
                      <a:pt x="11" y="76"/>
                    </a:lnTo>
                    <a:lnTo>
                      <a:pt x="13" y="79"/>
                    </a:lnTo>
                    <a:lnTo>
                      <a:pt x="14" y="84"/>
                    </a:lnTo>
                    <a:lnTo>
                      <a:pt x="16" y="84"/>
                    </a:lnTo>
                    <a:lnTo>
                      <a:pt x="18" y="85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9" y="82"/>
                    </a:lnTo>
                    <a:lnTo>
                      <a:pt x="31" y="84"/>
                    </a:lnTo>
                    <a:lnTo>
                      <a:pt x="31" y="81"/>
                    </a:lnTo>
                    <a:lnTo>
                      <a:pt x="29" y="76"/>
                    </a:lnTo>
                    <a:lnTo>
                      <a:pt x="29" y="72"/>
                    </a:lnTo>
                    <a:lnTo>
                      <a:pt x="28" y="67"/>
                    </a:lnTo>
                    <a:lnTo>
                      <a:pt x="28" y="48"/>
                    </a:lnTo>
                    <a:lnTo>
                      <a:pt x="28" y="46"/>
                    </a:lnTo>
                    <a:lnTo>
                      <a:pt x="29" y="43"/>
                    </a:lnTo>
                    <a:lnTo>
                      <a:pt x="29" y="40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8" y="25"/>
                    </a:lnTo>
                    <a:lnTo>
                      <a:pt x="24" y="17"/>
                    </a:lnTo>
                    <a:lnTo>
                      <a:pt x="23" y="17"/>
                    </a:lnTo>
                    <a:lnTo>
                      <a:pt x="21" y="14"/>
                    </a:lnTo>
                    <a:lnTo>
                      <a:pt x="16" y="12"/>
                    </a:lnTo>
                    <a:lnTo>
                      <a:pt x="16" y="7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0" name="Freeform 275">
                <a:extLst>
                  <a:ext uri="{FF2B5EF4-FFF2-40B4-BE49-F238E27FC236}">
                    <a16:creationId xmlns:a16="http://schemas.microsoft.com/office/drawing/2014/main" xmlns="" id="{1F68389D-5079-434A-A82D-3E13C7221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850"/>
                <a:ext cx="49" cy="106"/>
              </a:xfrm>
              <a:custGeom>
                <a:avLst/>
                <a:gdLst>
                  <a:gd name="T0" fmla="*/ 23 w 49"/>
                  <a:gd name="T1" fmla="*/ 8 h 106"/>
                  <a:gd name="T2" fmla="*/ 16 w 49"/>
                  <a:gd name="T3" fmla="*/ 13 h 106"/>
                  <a:gd name="T4" fmla="*/ 10 w 49"/>
                  <a:gd name="T5" fmla="*/ 14 h 106"/>
                  <a:gd name="T6" fmla="*/ 7 w 49"/>
                  <a:gd name="T7" fmla="*/ 19 h 106"/>
                  <a:gd name="T8" fmla="*/ 5 w 49"/>
                  <a:gd name="T9" fmla="*/ 24 h 106"/>
                  <a:gd name="T10" fmla="*/ 0 w 49"/>
                  <a:gd name="T11" fmla="*/ 29 h 106"/>
                  <a:gd name="T12" fmla="*/ 5 w 49"/>
                  <a:gd name="T13" fmla="*/ 36 h 106"/>
                  <a:gd name="T14" fmla="*/ 8 w 49"/>
                  <a:gd name="T15" fmla="*/ 39 h 106"/>
                  <a:gd name="T16" fmla="*/ 13 w 49"/>
                  <a:gd name="T17" fmla="*/ 55 h 106"/>
                  <a:gd name="T18" fmla="*/ 13 w 49"/>
                  <a:gd name="T19" fmla="*/ 62 h 106"/>
                  <a:gd name="T20" fmla="*/ 12 w 49"/>
                  <a:gd name="T21" fmla="*/ 68 h 106"/>
                  <a:gd name="T22" fmla="*/ 12 w 49"/>
                  <a:gd name="T23" fmla="*/ 89 h 106"/>
                  <a:gd name="T24" fmla="*/ 13 w 49"/>
                  <a:gd name="T25" fmla="*/ 98 h 106"/>
                  <a:gd name="T26" fmla="*/ 15 w 49"/>
                  <a:gd name="T27" fmla="*/ 106 h 106"/>
                  <a:gd name="T28" fmla="*/ 31 w 49"/>
                  <a:gd name="T29" fmla="*/ 103 h 106"/>
                  <a:gd name="T30" fmla="*/ 31 w 49"/>
                  <a:gd name="T31" fmla="*/ 99 h 106"/>
                  <a:gd name="T32" fmla="*/ 31 w 49"/>
                  <a:gd name="T33" fmla="*/ 88 h 106"/>
                  <a:gd name="T34" fmla="*/ 31 w 49"/>
                  <a:gd name="T35" fmla="*/ 80 h 106"/>
                  <a:gd name="T36" fmla="*/ 31 w 49"/>
                  <a:gd name="T37" fmla="*/ 75 h 106"/>
                  <a:gd name="T38" fmla="*/ 31 w 49"/>
                  <a:gd name="T39" fmla="*/ 73 h 106"/>
                  <a:gd name="T40" fmla="*/ 29 w 49"/>
                  <a:gd name="T41" fmla="*/ 68 h 106"/>
                  <a:gd name="T42" fmla="*/ 31 w 49"/>
                  <a:gd name="T43" fmla="*/ 63 h 106"/>
                  <a:gd name="T44" fmla="*/ 31 w 49"/>
                  <a:gd name="T45" fmla="*/ 58 h 106"/>
                  <a:gd name="T46" fmla="*/ 36 w 49"/>
                  <a:gd name="T47" fmla="*/ 57 h 106"/>
                  <a:gd name="T48" fmla="*/ 39 w 49"/>
                  <a:gd name="T49" fmla="*/ 52 h 106"/>
                  <a:gd name="T50" fmla="*/ 43 w 49"/>
                  <a:gd name="T51" fmla="*/ 45 h 106"/>
                  <a:gd name="T52" fmla="*/ 46 w 49"/>
                  <a:gd name="T53" fmla="*/ 44 h 106"/>
                  <a:gd name="T54" fmla="*/ 44 w 49"/>
                  <a:gd name="T55" fmla="*/ 39 h 106"/>
                  <a:gd name="T56" fmla="*/ 46 w 49"/>
                  <a:gd name="T57" fmla="*/ 36 h 106"/>
                  <a:gd name="T58" fmla="*/ 49 w 49"/>
                  <a:gd name="T59" fmla="*/ 34 h 106"/>
                  <a:gd name="T60" fmla="*/ 47 w 49"/>
                  <a:gd name="T61" fmla="*/ 24 h 106"/>
                  <a:gd name="T62" fmla="*/ 43 w 49"/>
                  <a:gd name="T63" fmla="*/ 18 h 106"/>
                  <a:gd name="T64" fmla="*/ 44 w 49"/>
                  <a:gd name="T65" fmla="*/ 14 h 106"/>
                  <a:gd name="T66" fmla="*/ 36 w 49"/>
                  <a:gd name="T67" fmla="*/ 8 h 106"/>
                  <a:gd name="T68" fmla="*/ 28 w 49"/>
                  <a:gd name="T69" fmla="*/ 0 h 106"/>
                  <a:gd name="T70" fmla="*/ 28 w 49"/>
                  <a:gd name="T71" fmla="*/ 5 h 106"/>
                  <a:gd name="T72" fmla="*/ 23 w 49"/>
                  <a:gd name="T73" fmla="*/ 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106">
                    <a:moveTo>
                      <a:pt x="23" y="6"/>
                    </a:moveTo>
                    <a:lnTo>
                      <a:pt x="23" y="8"/>
                    </a:lnTo>
                    <a:lnTo>
                      <a:pt x="20" y="13"/>
                    </a:lnTo>
                    <a:lnTo>
                      <a:pt x="16" y="13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5" y="21"/>
                    </a:lnTo>
                    <a:lnTo>
                      <a:pt x="5" y="24"/>
                    </a:lnTo>
                    <a:lnTo>
                      <a:pt x="2" y="26"/>
                    </a:lnTo>
                    <a:lnTo>
                      <a:pt x="0" y="29"/>
                    </a:lnTo>
                    <a:lnTo>
                      <a:pt x="0" y="34"/>
                    </a:lnTo>
                    <a:lnTo>
                      <a:pt x="5" y="36"/>
                    </a:lnTo>
                    <a:lnTo>
                      <a:pt x="7" y="39"/>
                    </a:lnTo>
                    <a:lnTo>
                      <a:pt x="8" y="39"/>
                    </a:lnTo>
                    <a:lnTo>
                      <a:pt x="12" y="47"/>
                    </a:lnTo>
                    <a:lnTo>
                      <a:pt x="13" y="55"/>
                    </a:lnTo>
                    <a:lnTo>
                      <a:pt x="13" y="58"/>
                    </a:lnTo>
                    <a:lnTo>
                      <a:pt x="13" y="62"/>
                    </a:lnTo>
                    <a:lnTo>
                      <a:pt x="13" y="65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89"/>
                    </a:lnTo>
                    <a:lnTo>
                      <a:pt x="13" y="94"/>
                    </a:lnTo>
                    <a:lnTo>
                      <a:pt x="13" y="98"/>
                    </a:lnTo>
                    <a:lnTo>
                      <a:pt x="15" y="103"/>
                    </a:lnTo>
                    <a:lnTo>
                      <a:pt x="15" y="106"/>
                    </a:lnTo>
                    <a:lnTo>
                      <a:pt x="20" y="106"/>
                    </a:lnTo>
                    <a:lnTo>
                      <a:pt x="31" y="103"/>
                    </a:lnTo>
                    <a:lnTo>
                      <a:pt x="31" y="103"/>
                    </a:lnTo>
                    <a:lnTo>
                      <a:pt x="31" y="99"/>
                    </a:lnTo>
                    <a:lnTo>
                      <a:pt x="31" y="91"/>
                    </a:lnTo>
                    <a:lnTo>
                      <a:pt x="31" y="88"/>
                    </a:lnTo>
                    <a:lnTo>
                      <a:pt x="31" y="86"/>
                    </a:lnTo>
                    <a:lnTo>
                      <a:pt x="31" y="80"/>
                    </a:lnTo>
                    <a:lnTo>
                      <a:pt x="31" y="76"/>
                    </a:lnTo>
                    <a:lnTo>
                      <a:pt x="31" y="75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31" y="70"/>
                    </a:lnTo>
                    <a:lnTo>
                      <a:pt x="29" y="68"/>
                    </a:lnTo>
                    <a:lnTo>
                      <a:pt x="31" y="65"/>
                    </a:lnTo>
                    <a:lnTo>
                      <a:pt x="31" y="63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4" y="57"/>
                    </a:lnTo>
                    <a:lnTo>
                      <a:pt x="36" y="57"/>
                    </a:lnTo>
                    <a:lnTo>
                      <a:pt x="38" y="55"/>
                    </a:lnTo>
                    <a:lnTo>
                      <a:pt x="39" y="52"/>
                    </a:lnTo>
                    <a:lnTo>
                      <a:pt x="41" y="49"/>
                    </a:lnTo>
                    <a:lnTo>
                      <a:pt x="43" y="45"/>
                    </a:lnTo>
                    <a:lnTo>
                      <a:pt x="44" y="44"/>
                    </a:lnTo>
                    <a:lnTo>
                      <a:pt x="46" y="44"/>
                    </a:lnTo>
                    <a:lnTo>
                      <a:pt x="47" y="42"/>
                    </a:lnTo>
                    <a:lnTo>
                      <a:pt x="44" y="39"/>
                    </a:lnTo>
                    <a:lnTo>
                      <a:pt x="44" y="37"/>
                    </a:lnTo>
                    <a:lnTo>
                      <a:pt x="46" y="36"/>
                    </a:lnTo>
                    <a:lnTo>
                      <a:pt x="49" y="36"/>
                    </a:lnTo>
                    <a:lnTo>
                      <a:pt x="49" y="34"/>
                    </a:lnTo>
                    <a:lnTo>
                      <a:pt x="47" y="27"/>
                    </a:lnTo>
                    <a:lnTo>
                      <a:pt x="47" y="24"/>
                    </a:lnTo>
                    <a:lnTo>
                      <a:pt x="44" y="21"/>
                    </a:lnTo>
                    <a:lnTo>
                      <a:pt x="43" y="18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1" y="9"/>
                    </a:lnTo>
                    <a:lnTo>
                      <a:pt x="36" y="8"/>
                    </a:lnTo>
                    <a:lnTo>
                      <a:pt x="34" y="5"/>
                    </a:lnTo>
                    <a:lnTo>
                      <a:pt x="28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1" name="Freeform 276">
                <a:extLst>
                  <a:ext uri="{FF2B5EF4-FFF2-40B4-BE49-F238E27FC236}">
                    <a16:creationId xmlns:a16="http://schemas.microsoft.com/office/drawing/2014/main" xmlns="" id="{60F23488-AF2E-485F-ACE4-541A576ED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2" y="1668"/>
                <a:ext cx="184" cy="270"/>
              </a:xfrm>
              <a:custGeom>
                <a:avLst/>
                <a:gdLst>
                  <a:gd name="T0" fmla="*/ 183 w 184"/>
                  <a:gd name="T1" fmla="*/ 66 h 270"/>
                  <a:gd name="T2" fmla="*/ 178 w 184"/>
                  <a:gd name="T3" fmla="*/ 133 h 270"/>
                  <a:gd name="T4" fmla="*/ 168 w 184"/>
                  <a:gd name="T5" fmla="*/ 134 h 270"/>
                  <a:gd name="T6" fmla="*/ 168 w 184"/>
                  <a:gd name="T7" fmla="*/ 144 h 270"/>
                  <a:gd name="T8" fmla="*/ 158 w 184"/>
                  <a:gd name="T9" fmla="*/ 154 h 270"/>
                  <a:gd name="T10" fmla="*/ 160 w 184"/>
                  <a:gd name="T11" fmla="*/ 160 h 270"/>
                  <a:gd name="T12" fmla="*/ 158 w 184"/>
                  <a:gd name="T13" fmla="*/ 167 h 270"/>
                  <a:gd name="T14" fmla="*/ 152 w 184"/>
                  <a:gd name="T15" fmla="*/ 178 h 270"/>
                  <a:gd name="T16" fmla="*/ 158 w 184"/>
                  <a:gd name="T17" fmla="*/ 182 h 270"/>
                  <a:gd name="T18" fmla="*/ 158 w 184"/>
                  <a:gd name="T19" fmla="*/ 185 h 270"/>
                  <a:gd name="T20" fmla="*/ 160 w 184"/>
                  <a:gd name="T21" fmla="*/ 191 h 270"/>
                  <a:gd name="T22" fmla="*/ 166 w 184"/>
                  <a:gd name="T23" fmla="*/ 200 h 270"/>
                  <a:gd name="T24" fmla="*/ 166 w 184"/>
                  <a:gd name="T25" fmla="*/ 208 h 270"/>
                  <a:gd name="T26" fmla="*/ 160 w 184"/>
                  <a:gd name="T27" fmla="*/ 209 h 270"/>
                  <a:gd name="T28" fmla="*/ 150 w 184"/>
                  <a:gd name="T29" fmla="*/ 214 h 270"/>
                  <a:gd name="T30" fmla="*/ 147 w 184"/>
                  <a:gd name="T31" fmla="*/ 219 h 270"/>
                  <a:gd name="T32" fmla="*/ 142 w 184"/>
                  <a:gd name="T33" fmla="*/ 224 h 270"/>
                  <a:gd name="T34" fmla="*/ 137 w 184"/>
                  <a:gd name="T35" fmla="*/ 231 h 270"/>
                  <a:gd name="T36" fmla="*/ 137 w 184"/>
                  <a:gd name="T37" fmla="*/ 237 h 270"/>
                  <a:gd name="T38" fmla="*/ 124 w 184"/>
                  <a:gd name="T39" fmla="*/ 242 h 270"/>
                  <a:gd name="T40" fmla="*/ 114 w 184"/>
                  <a:gd name="T41" fmla="*/ 240 h 270"/>
                  <a:gd name="T42" fmla="*/ 106 w 184"/>
                  <a:gd name="T43" fmla="*/ 242 h 270"/>
                  <a:gd name="T44" fmla="*/ 109 w 184"/>
                  <a:gd name="T45" fmla="*/ 249 h 270"/>
                  <a:gd name="T46" fmla="*/ 103 w 184"/>
                  <a:gd name="T47" fmla="*/ 257 h 270"/>
                  <a:gd name="T48" fmla="*/ 86 w 184"/>
                  <a:gd name="T49" fmla="*/ 262 h 270"/>
                  <a:gd name="T50" fmla="*/ 75 w 184"/>
                  <a:gd name="T51" fmla="*/ 267 h 270"/>
                  <a:gd name="T52" fmla="*/ 70 w 184"/>
                  <a:gd name="T53" fmla="*/ 260 h 270"/>
                  <a:gd name="T54" fmla="*/ 67 w 184"/>
                  <a:gd name="T55" fmla="*/ 268 h 270"/>
                  <a:gd name="T56" fmla="*/ 57 w 184"/>
                  <a:gd name="T57" fmla="*/ 270 h 270"/>
                  <a:gd name="T58" fmla="*/ 54 w 184"/>
                  <a:gd name="T59" fmla="*/ 262 h 270"/>
                  <a:gd name="T60" fmla="*/ 47 w 184"/>
                  <a:gd name="T61" fmla="*/ 250 h 270"/>
                  <a:gd name="T62" fmla="*/ 33 w 184"/>
                  <a:gd name="T63" fmla="*/ 239 h 270"/>
                  <a:gd name="T64" fmla="*/ 29 w 184"/>
                  <a:gd name="T65" fmla="*/ 234 h 270"/>
                  <a:gd name="T66" fmla="*/ 31 w 184"/>
                  <a:gd name="T67" fmla="*/ 226 h 270"/>
                  <a:gd name="T68" fmla="*/ 37 w 184"/>
                  <a:gd name="T69" fmla="*/ 227 h 270"/>
                  <a:gd name="T70" fmla="*/ 46 w 184"/>
                  <a:gd name="T71" fmla="*/ 226 h 270"/>
                  <a:gd name="T72" fmla="*/ 52 w 184"/>
                  <a:gd name="T73" fmla="*/ 227 h 270"/>
                  <a:gd name="T74" fmla="*/ 49 w 184"/>
                  <a:gd name="T75" fmla="*/ 222 h 270"/>
                  <a:gd name="T76" fmla="*/ 42 w 184"/>
                  <a:gd name="T77" fmla="*/ 214 h 270"/>
                  <a:gd name="T78" fmla="*/ 46 w 184"/>
                  <a:gd name="T79" fmla="*/ 204 h 270"/>
                  <a:gd name="T80" fmla="*/ 44 w 184"/>
                  <a:gd name="T81" fmla="*/ 200 h 270"/>
                  <a:gd name="T82" fmla="*/ 42 w 184"/>
                  <a:gd name="T83" fmla="*/ 190 h 270"/>
                  <a:gd name="T84" fmla="*/ 36 w 184"/>
                  <a:gd name="T85" fmla="*/ 180 h 270"/>
                  <a:gd name="T86" fmla="*/ 26 w 184"/>
                  <a:gd name="T87" fmla="*/ 172 h 270"/>
                  <a:gd name="T88" fmla="*/ 19 w 184"/>
                  <a:gd name="T89" fmla="*/ 146 h 270"/>
                  <a:gd name="T90" fmla="*/ 23 w 184"/>
                  <a:gd name="T91" fmla="*/ 142 h 270"/>
                  <a:gd name="T92" fmla="*/ 49 w 184"/>
                  <a:gd name="T93" fmla="*/ 90 h 270"/>
                  <a:gd name="T94" fmla="*/ 55 w 184"/>
                  <a:gd name="T95" fmla="*/ 51 h 270"/>
                  <a:gd name="T96" fmla="*/ 47 w 184"/>
                  <a:gd name="T97" fmla="*/ 31 h 270"/>
                  <a:gd name="T98" fmla="*/ 37 w 184"/>
                  <a:gd name="T99" fmla="*/ 7 h 270"/>
                  <a:gd name="T100" fmla="*/ 0 w 184"/>
                  <a:gd name="T101" fmla="*/ 17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4" h="270">
                    <a:moveTo>
                      <a:pt x="37" y="7"/>
                    </a:moveTo>
                    <a:lnTo>
                      <a:pt x="55" y="0"/>
                    </a:lnTo>
                    <a:lnTo>
                      <a:pt x="183" y="66"/>
                    </a:lnTo>
                    <a:lnTo>
                      <a:pt x="184" y="129"/>
                    </a:lnTo>
                    <a:lnTo>
                      <a:pt x="181" y="131"/>
                    </a:lnTo>
                    <a:lnTo>
                      <a:pt x="178" y="133"/>
                    </a:lnTo>
                    <a:lnTo>
                      <a:pt x="176" y="131"/>
                    </a:lnTo>
                    <a:lnTo>
                      <a:pt x="171" y="131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0" y="139"/>
                    </a:lnTo>
                    <a:lnTo>
                      <a:pt x="168" y="144"/>
                    </a:lnTo>
                    <a:lnTo>
                      <a:pt x="163" y="151"/>
                    </a:lnTo>
                    <a:lnTo>
                      <a:pt x="162" y="151"/>
                    </a:lnTo>
                    <a:lnTo>
                      <a:pt x="158" y="154"/>
                    </a:lnTo>
                    <a:lnTo>
                      <a:pt x="160" y="155"/>
                    </a:lnTo>
                    <a:lnTo>
                      <a:pt x="162" y="157"/>
                    </a:lnTo>
                    <a:lnTo>
                      <a:pt x="160" y="160"/>
                    </a:lnTo>
                    <a:lnTo>
                      <a:pt x="157" y="162"/>
                    </a:lnTo>
                    <a:lnTo>
                      <a:pt x="155" y="165"/>
                    </a:lnTo>
                    <a:lnTo>
                      <a:pt x="158" y="167"/>
                    </a:lnTo>
                    <a:lnTo>
                      <a:pt x="158" y="170"/>
                    </a:lnTo>
                    <a:lnTo>
                      <a:pt x="157" y="172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5" y="183"/>
                    </a:lnTo>
                    <a:lnTo>
                      <a:pt x="158" y="182"/>
                    </a:lnTo>
                    <a:lnTo>
                      <a:pt x="160" y="182"/>
                    </a:lnTo>
                    <a:lnTo>
                      <a:pt x="160" y="183"/>
                    </a:lnTo>
                    <a:lnTo>
                      <a:pt x="158" y="185"/>
                    </a:lnTo>
                    <a:lnTo>
                      <a:pt x="160" y="187"/>
                    </a:lnTo>
                    <a:lnTo>
                      <a:pt x="158" y="188"/>
                    </a:lnTo>
                    <a:lnTo>
                      <a:pt x="160" y="191"/>
                    </a:lnTo>
                    <a:lnTo>
                      <a:pt x="160" y="196"/>
                    </a:lnTo>
                    <a:lnTo>
                      <a:pt x="162" y="198"/>
                    </a:lnTo>
                    <a:lnTo>
                      <a:pt x="166" y="200"/>
                    </a:lnTo>
                    <a:lnTo>
                      <a:pt x="168" y="203"/>
                    </a:lnTo>
                    <a:lnTo>
                      <a:pt x="166" y="204"/>
                    </a:lnTo>
                    <a:lnTo>
                      <a:pt x="166" y="208"/>
                    </a:lnTo>
                    <a:lnTo>
                      <a:pt x="166" y="209"/>
                    </a:lnTo>
                    <a:lnTo>
                      <a:pt x="162" y="211"/>
                    </a:lnTo>
                    <a:lnTo>
                      <a:pt x="160" y="209"/>
                    </a:lnTo>
                    <a:lnTo>
                      <a:pt x="157" y="209"/>
                    </a:lnTo>
                    <a:lnTo>
                      <a:pt x="153" y="213"/>
                    </a:lnTo>
                    <a:lnTo>
                      <a:pt x="150" y="214"/>
                    </a:lnTo>
                    <a:lnTo>
                      <a:pt x="148" y="216"/>
                    </a:lnTo>
                    <a:lnTo>
                      <a:pt x="148" y="219"/>
                    </a:lnTo>
                    <a:lnTo>
                      <a:pt x="147" y="219"/>
                    </a:lnTo>
                    <a:lnTo>
                      <a:pt x="145" y="224"/>
                    </a:lnTo>
                    <a:lnTo>
                      <a:pt x="144" y="224"/>
                    </a:lnTo>
                    <a:lnTo>
                      <a:pt x="142" y="224"/>
                    </a:lnTo>
                    <a:lnTo>
                      <a:pt x="139" y="226"/>
                    </a:lnTo>
                    <a:lnTo>
                      <a:pt x="139" y="229"/>
                    </a:lnTo>
                    <a:lnTo>
                      <a:pt x="137" y="231"/>
                    </a:lnTo>
                    <a:lnTo>
                      <a:pt x="137" y="232"/>
                    </a:lnTo>
                    <a:lnTo>
                      <a:pt x="137" y="236"/>
                    </a:lnTo>
                    <a:lnTo>
                      <a:pt x="137" y="237"/>
                    </a:lnTo>
                    <a:lnTo>
                      <a:pt x="134" y="239"/>
                    </a:lnTo>
                    <a:lnTo>
                      <a:pt x="131" y="242"/>
                    </a:lnTo>
                    <a:lnTo>
                      <a:pt x="124" y="242"/>
                    </a:lnTo>
                    <a:lnTo>
                      <a:pt x="121" y="242"/>
                    </a:lnTo>
                    <a:lnTo>
                      <a:pt x="116" y="242"/>
                    </a:lnTo>
                    <a:lnTo>
                      <a:pt x="114" y="240"/>
                    </a:lnTo>
                    <a:lnTo>
                      <a:pt x="109" y="242"/>
                    </a:lnTo>
                    <a:lnTo>
                      <a:pt x="108" y="240"/>
                    </a:lnTo>
                    <a:lnTo>
                      <a:pt x="106" y="242"/>
                    </a:lnTo>
                    <a:lnTo>
                      <a:pt x="104" y="245"/>
                    </a:lnTo>
                    <a:lnTo>
                      <a:pt x="108" y="249"/>
                    </a:lnTo>
                    <a:lnTo>
                      <a:pt x="109" y="249"/>
                    </a:lnTo>
                    <a:lnTo>
                      <a:pt x="111" y="250"/>
                    </a:lnTo>
                    <a:lnTo>
                      <a:pt x="106" y="254"/>
                    </a:lnTo>
                    <a:lnTo>
                      <a:pt x="103" y="257"/>
                    </a:lnTo>
                    <a:lnTo>
                      <a:pt x="99" y="257"/>
                    </a:lnTo>
                    <a:lnTo>
                      <a:pt x="90" y="258"/>
                    </a:lnTo>
                    <a:lnTo>
                      <a:pt x="86" y="262"/>
                    </a:lnTo>
                    <a:lnTo>
                      <a:pt x="82" y="263"/>
                    </a:lnTo>
                    <a:lnTo>
                      <a:pt x="78" y="267"/>
                    </a:lnTo>
                    <a:lnTo>
                      <a:pt x="75" y="267"/>
                    </a:lnTo>
                    <a:lnTo>
                      <a:pt x="73" y="265"/>
                    </a:lnTo>
                    <a:lnTo>
                      <a:pt x="72" y="262"/>
                    </a:lnTo>
                    <a:lnTo>
                      <a:pt x="70" y="260"/>
                    </a:lnTo>
                    <a:lnTo>
                      <a:pt x="68" y="262"/>
                    </a:lnTo>
                    <a:lnTo>
                      <a:pt x="68" y="265"/>
                    </a:lnTo>
                    <a:lnTo>
                      <a:pt x="67" y="268"/>
                    </a:lnTo>
                    <a:lnTo>
                      <a:pt x="62" y="268"/>
                    </a:lnTo>
                    <a:lnTo>
                      <a:pt x="60" y="270"/>
                    </a:lnTo>
                    <a:lnTo>
                      <a:pt x="57" y="270"/>
                    </a:lnTo>
                    <a:lnTo>
                      <a:pt x="57" y="267"/>
                    </a:lnTo>
                    <a:lnTo>
                      <a:pt x="54" y="265"/>
                    </a:lnTo>
                    <a:lnTo>
                      <a:pt x="54" y="262"/>
                    </a:lnTo>
                    <a:lnTo>
                      <a:pt x="52" y="257"/>
                    </a:lnTo>
                    <a:lnTo>
                      <a:pt x="49" y="254"/>
                    </a:lnTo>
                    <a:lnTo>
                      <a:pt x="47" y="250"/>
                    </a:lnTo>
                    <a:lnTo>
                      <a:pt x="41" y="244"/>
                    </a:lnTo>
                    <a:lnTo>
                      <a:pt x="36" y="239"/>
                    </a:lnTo>
                    <a:lnTo>
                      <a:pt x="33" y="239"/>
                    </a:lnTo>
                    <a:lnTo>
                      <a:pt x="33" y="237"/>
                    </a:lnTo>
                    <a:lnTo>
                      <a:pt x="31" y="236"/>
                    </a:lnTo>
                    <a:lnTo>
                      <a:pt x="29" y="234"/>
                    </a:lnTo>
                    <a:lnTo>
                      <a:pt x="29" y="231"/>
                    </a:lnTo>
                    <a:lnTo>
                      <a:pt x="31" y="229"/>
                    </a:lnTo>
                    <a:lnTo>
                      <a:pt x="31" y="226"/>
                    </a:lnTo>
                    <a:lnTo>
                      <a:pt x="34" y="226"/>
                    </a:lnTo>
                    <a:lnTo>
                      <a:pt x="36" y="226"/>
                    </a:lnTo>
                    <a:lnTo>
                      <a:pt x="37" y="227"/>
                    </a:lnTo>
                    <a:lnTo>
                      <a:pt x="41" y="226"/>
                    </a:lnTo>
                    <a:lnTo>
                      <a:pt x="42" y="227"/>
                    </a:lnTo>
                    <a:lnTo>
                      <a:pt x="46" y="226"/>
                    </a:lnTo>
                    <a:lnTo>
                      <a:pt x="49" y="227"/>
                    </a:lnTo>
                    <a:lnTo>
                      <a:pt x="50" y="227"/>
                    </a:lnTo>
                    <a:lnTo>
                      <a:pt x="52" y="227"/>
                    </a:lnTo>
                    <a:lnTo>
                      <a:pt x="54" y="227"/>
                    </a:lnTo>
                    <a:lnTo>
                      <a:pt x="52" y="226"/>
                    </a:lnTo>
                    <a:lnTo>
                      <a:pt x="49" y="222"/>
                    </a:lnTo>
                    <a:lnTo>
                      <a:pt x="47" y="219"/>
                    </a:lnTo>
                    <a:lnTo>
                      <a:pt x="46" y="218"/>
                    </a:lnTo>
                    <a:lnTo>
                      <a:pt x="42" y="214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6" y="204"/>
                    </a:lnTo>
                    <a:lnTo>
                      <a:pt x="44" y="203"/>
                    </a:lnTo>
                    <a:lnTo>
                      <a:pt x="44" y="201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2" y="193"/>
                    </a:lnTo>
                    <a:lnTo>
                      <a:pt x="42" y="190"/>
                    </a:lnTo>
                    <a:lnTo>
                      <a:pt x="41" y="188"/>
                    </a:lnTo>
                    <a:lnTo>
                      <a:pt x="41" y="183"/>
                    </a:lnTo>
                    <a:lnTo>
                      <a:pt x="36" y="180"/>
                    </a:lnTo>
                    <a:lnTo>
                      <a:pt x="29" y="177"/>
                    </a:lnTo>
                    <a:lnTo>
                      <a:pt x="28" y="177"/>
                    </a:lnTo>
                    <a:lnTo>
                      <a:pt x="26" y="172"/>
                    </a:lnTo>
                    <a:lnTo>
                      <a:pt x="23" y="167"/>
                    </a:lnTo>
                    <a:lnTo>
                      <a:pt x="19" y="165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21" y="144"/>
                    </a:lnTo>
                    <a:lnTo>
                      <a:pt x="23" y="142"/>
                    </a:lnTo>
                    <a:lnTo>
                      <a:pt x="23" y="141"/>
                    </a:lnTo>
                    <a:lnTo>
                      <a:pt x="49" y="113"/>
                    </a:lnTo>
                    <a:lnTo>
                      <a:pt x="49" y="90"/>
                    </a:lnTo>
                    <a:lnTo>
                      <a:pt x="54" y="59"/>
                    </a:lnTo>
                    <a:lnTo>
                      <a:pt x="55" y="57"/>
                    </a:lnTo>
                    <a:lnTo>
                      <a:pt x="55" y="51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7" y="31"/>
                    </a:lnTo>
                    <a:lnTo>
                      <a:pt x="39" y="10"/>
                    </a:lnTo>
                    <a:lnTo>
                      <a:pt x="37" y="7"/>
                    </a:lnTo>
                    <a:lnTo>
                      <a:pt x="37" y="7"/>
                    </a:lnTo>
                    <a:close/>
                    <a:moveTo>
                      <a:pt x="5" y="173"/>
                    </a:moveTo>
                    <a:lnTo>
                      <a:pt x="3" y="177"/>
                    </a:lnTo>
                    <a:lnTo>
                      <a:pt x="0" y="177"/>
                    </a:lnTo>
                    <a:lnTo>
                      <a:pt x="0" y="175"/>
                    </a:lnTo>
                    <a:lnTo>
                      <a:pt x="5" y="17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2" name="Freeform 277">
                <a:extLst>
                  <a:ext uri="{FF2B5EF4-FFF2-40B4-BE49-F238E27FC236}">
                    <a16:creationId xmlns:a16="http://schemas.microsoft.com/office/drawing/2014/main" xmlns="" id="{89385496-84DE-465B-879A-21D392A79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672"/>
                <a:ext cx="241" cy="192"/>
              </a:xfrm>
              <a:custGeom>
                <a:avLst/>
                <a:gdLst>
                  <a:gd name="T0" fmla="*/ 52 w 241"/>
                  <a:gd name="T1" fmla="*/ 187 h 192"/>
                  <a:gd name="T2" fmla="*/ 45 w 241"/>
                  <a:gd name="T3" fmla="*/ 183 h 192"/>
                  <a:gd name="T4" fmla="*/ 39 w 241"/>
                  <a:gd name="T5" fmla="*/ 181 h 192"/>
                  <a:gd name="T6" fmla="*/ 36 w 241"/>
                  <a:gd name="T7" fmla="*/ 184 h 192"/>
                  <a:gd name="T8" fmla="*/ 29 w 241"/>
                  <a:gd name="T9" fmla="*/ 179 h 192"/>
                  <a:gd name="T10" fmla="*/ 31 w 241"/>
                  <a:gd name="T11" fmla="*/ 174 h 192"/>
                  <a:gd name="T12" fmla="*/ 29 w 241"/>
                  <a:gd name="T13" fmla="*/ 171 h 192"/>
                  <a:gd name="T14" fmla="*/ 21 w 241"/>
                  <a:gd name="T15" fmla="*/ 173 h 192"/>
                  <a:gd name="T16" fmla="*/ 16 w 241"/>
                  <a:gd name="T17" fmla="*/ 163 h 192"/>
                  <a:gd name="T18" fmla="*/ 0 w 241"/>
                  <a:gd name="T19" fmla="*/ 148 h 192"/>
                  <a:gd name="T20" fmla="*/ 3 w 241"/>
                  <a:gd name="T21" fmla="*/ 140 h 192"/>
                  <a:gd name="T22" fmla="*/ 8 w 241"/>
                  <a:gd name="T23" fmla="*/ 138 h 192"/>
                  <a:gd name="T24" fmla="*/ 23 w 241"/>
                  <a:gd name="T25" fmla="*/ 138 h 192"/>
                  <a:gd name="T26" fmla="*/ 32 w 241"/>
                  <a:gd name="T27" fmla="*/ 135 h 192"/>
                  <a:gd name="T28" fmla="*/ 40 w 241"/>
                  <a:gd name="T29" fmla="*/ 132 h 192"/>
                  <a:gd name="T30" fmla="*/ 50 w 241"/>
                  <a:gd name="T31" fmla="*/ 130 h 192"/>
                  <a:gd name="T32" fmla="*/ 58 w 241"/>
                  <a:gd name="T33" fmla="*/ 122 h 192"/>
                  <a:gd name="T34" fmla="*/ 62 w 241"/>
                  <a:gd name="T35" fmla="*/ 114 h 192"/>
                  <a:gd name="T36" fmla="*/ 63 w 241"/>
                  <a:gd name="T37" fmla="*/ 68 h 192"/>
                  <a:gd name="T38" fmla="*/ 107 w 241"/>
                  <a:gd name="T39" fmla="*/ 45 h 192"/>
                  <a:gd name="T40" fmla="*/ 207 w 241"/>
                  <a:gd name="T41" fmla="*/ 6 h 192"/>
                  <a:gd name="T42" fmla="*/ 223 w 241"/>
                  <a:gd name="T43" fmla="*/ 3 h 192"/>
                  <a:gd name="T44" fmla="*/ 233 w 241"/>
                  <a:gd name="T45" fmla="*/ 27 h 192"/>
                  <a:gd name="T46" fmla="*/ 232 w 241"/>
                  <a:gd name="T47" fmla="*/ 34 h 192"/>
                  <a:gd name="T48" fmla="*/ 241 w 241"/>
                  <a:gd name="T49" fmla="*/ 53 h 192"/>
                  <a:gd name="T50" fmla="*/ 235 w 241"/>
                  <a:gd name="T51" fmla="*/ 86 h 192"/>
                  <a:gd name="T52" fmla="*/ 209 w 241"/>
                  <a:gd name="T53" fmla="*/ 137 h 192"/>
                  <a:gd name="T54" fmla="*/ 207 w 241"/>
                  <a:gd name="T55" fmla="*/ 140 h 192"/>
                  <a:gd name="T56" fmla="*/ 205 w 241"/>
                  <a:gd name="T57" fmla="*/ 142 h 192"/>
                  <a:gd name="T58" fmla="*/ 202 w 241"/>
                  <a:gd name="T59" fmla="*/ 161 h 192"/>
                  <a:gd name="T60" fmla="*/ 201 w 241"/>
                  <a:gd name="T61" fmla="*/ 166 h 192"/>
                  <a:gd name="T62" fmla="*/ 197 w 241"/>
                  <a:gd name="T63" fmla="*/ 166 h 192"/>
                  <a:gd name="T64" fmla="*/ 194 w 241"/>
                  <a:gd name="T65" fmla="*/ 168 h 192"/>
                  <a:gd name="T66" fmla="*/ 191 w 241"/>
                  <a:gd name="T67" fmla="*/ 169 h 192"/>
                  <a:gd name="T68" fmla="*/ 183 w 241"/>
                  <a:gd name="T69" fmla="*/ 171 h 192"/>
                  <a:gd name="T70" fmla="*/ 174 w 241"/>
                  <a:gd name="T71" fmla="*/ 168 h 192"/>
                  <a:gd name="T72" fmla="*/ 163 w 241"/>
                  <a:gd name="T73" fmla="*/ 169 h 192"/>
                  <a:gd name="T74" fmla="*/ 152 w 241"/>
                  <a:gd name="T75" fmla="*/ 169 h 192"/>
                  <a:gd name="T76" fmla="*/ 143 w 241"/>
                  <a:gd name="T77" fmla="*/ 178 h 192"/>
                  <a:gd name="T78" fmla="*/ 135 w 241"/>
                  <a:gd name="T79" fmla="*/ 174 h 192"/>
                  <a:gd name="T80" fmla="*/ 125 w 241"/>
                  <a:gd name="T81" fmla="*/ 171 h 192"/>
                  <a:gd name="T82" fmla="*/ 122 w 241"/>
                  <a:gd name="T83" fmla="*/ 168 h 192"/>
                  <a:gd name="T84" fmla="*/ 117 w 241"/>
                  <a:gd name="T85" fmla="*/ 166 h 192"/>
                  <a:gd name="T86" fmla="*/ 112 w 241"/>
                  <a:gd name="T87" fmla="*/ 168 h 192"/>
                  <a:gd name="T88" fmla="*/ 107 w 241"/>
                  <a:gd name="T89" fmla="*/ 169 h 192"/>
                  <a:gd name="T90" fmla="*/ 104 w 241"/>
                  <a:gd name="T91" fmla="*/ 173 h 192"/>
                  <a:gd name="T92" fmla="*/ 98 w 241"/>
                  <a:gd name="T93" fmla="*/ 165 h 192"/>
                  <a:gd name="T94" fmla="*/ 91 w 241"/>
                  <a:gd name="T95" fmla="*/ 161 h 192"/>
                  <a:gd name="T96" fmla="*/ 88 w 241"/>
                  <a:gd name="T97" fmla="*/ 160 h 192"/>
                  <a:gd name="T98" fmla="*/ 81 w 241"/>
                  <a:gd name="T99" fmla="*/ 158 h 192"/>
                  <a:gd name="T100" fmla="*/ 76 w 241"/>
                  <a:gd name="T101" fmla="*/ 160 h 192"/>
                  <a:gd name="T102" fmla="*/ 72 w 241"/>
                  <a:gd name="T103" fmla="*/ 160 h 192"/>
                  <a:gd name="T104" fmla="*/ 65 w 241"/>
                  <a:gd name="T105" fmla="*/ 160 h 192"/>
                  <a:gd name="T106" fmla="*/ 62 w 241"/>
                  <a:gd name="T107" fmla="*/ 161 h 192"/>
                  <a:gd name="T108" fmla="*/ 58 w 241"/>
                  <a:gd name="T109" fmla="*/ 166 h 192"/>
                  <a:gd name="T110" fmla="*/ 58 w 241"/>
                  <a:gd name="T111" fmla="*/ 169 h 192"/>
                  <a:gd name="T112" fmla="*/ 58 w 241"/>
                  <a:gd name="T113" fmla="*/ 173 h 192"/>
                  <a:gd name="T114" fmla="*/ 60 w 241"/>
                  <a:gd name="T115" fmla="*/ 176 h 192"/>
                  <a:gd name="T116" fmla="*/ 54 w 241"/>
                  <a:gd name="T117" fmla="*/ 179 h 192"/>
                  <a:gd name="T118" fmla="*/ 54 w 241"/>
                  <a:gd name="T119" fmla="*/ 184 h 192"/>
                  <a:gd name="T120" fmla="*/ 57 w 241"/>
                  <a:gd name="T121" fmla="*/ 187 h 192"/>
                  <a:gd name="T122" fmla="*/ 55 w 241"/>
                  <a:gd name="T123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1" h="192">
                    <a:moveTo>
                      <a:pt x="55" y="192"/>
                    </a:moveTo>
                    <a:lnTo>
                      <a:pt x="52" y="187"/>
                    </a:lnTo>
                    <a:lnTo>
                      <a:pt x="47" y="186"/>
                    </a:lnTo>
                    <a:lnTo>
                      <a:pt x="45" y="183"/>
                    </a:lnTo>
                    <a:lnTo>
                      <a:pt x="39" y="178"/>
                    </a:lnTo>
                    <a:lnTo>
                      <a:pt x="39" y="181"/>
                    </a:lnTo>
                    <a:lnTo>
                      <a:pt x="39" y="183"/>
                    </a:lnTo>
                    <a:lnTo>
                      <a:pt x="36" y="184"/>
                    </a:lnTo>
                    <a:lnTo>
                      <a:pt x="32" y="184"/>
                    </a:lnTo>
                    <a:lnTo>
                      <a:pt x="29" y="179"/>
                    </a:lnTo>
                    <a:lnTo>
                      <a:pt x="31" y="178"/>
                    </a:lnTo>
                    <a:lnTo>
                      <a:pt x="31" y="174"/>
                    </a:lnTo>
                    <a:lnTo>
                      <a:pt x="31" y="173"/>
                    </a:lnTo>
                    <a:lnTo>
                      <a:pt x="29" y="171"/>
                    </a:lnTo>
                    <a:lnTo>
                      <a:pt x="27" y="169"/>
                    </a:lnTo>
                    <a:lnTo>
                      <a:pt x="21" y="173"/>
                    </a:lnTo>
                    <a:lnTo>
                      <a:pt x="16" y="169"/>
                    </a:lnTo>
                    <a:lnTo>
                      <a:pt x="16" y="163"/>
                    </a:lnTo>
                    <a:lnTo>
                      <a:pt x="0" y="151"/>
                    </a:lnTo>
                    <a:lnTo>
                      <a:pt x="0" y="148"/>
                    </a:lnTo>
                    <a:lnTo>
                      <a:pt x="3" y="145"/>
                    </a:lnTo>
                    <a:lnTo>
                      <a:pt x="3" y="140"/>
                    </a:lnTo>
                    <a:lnTo>
                      <a:pt x="5" y="138"/>
                    </a:lnTo>
                    <a:lnTo>
                      <a:pt x="8" y="138"/>
                    </a:lnTo>
                    <a:lnTo>
                      <a:pt x="18" y="137"/>
                    </a:lnTo>
                    <a:lnTo>
                      <a:pt x="23" y="138"/>
                    </a:lnTo>
                    <a:lnTo>
                      <a:pt x="26" y="135"/>
                    </a:lnTo>
                    <a:lnTo>
                      <a:pt x="32" y="135"/>
                    </a:lnTo>
                    <a:lnTo>
                      <a:pt x="36" y="135"/>
                    </a:lnTo>
                    <a:lnTo>
                      <a:pt x="40" y="132"/>
                    </a:lnTo>
                    <a:lnTo>
                      <a:pt x="45" y="132"/>
                    </a:lnTo>
                    <a:lnTo>
                      <a:pt x="50" y="130"/>
                    </a:lnTo>
                    <a:lnTo>
                      <a:pt x="58" y="125"/>
                    </a:lnTo>
                    <a:lnTo>
                      <a:pt x="58" y="122"/>
                    </a:lnTo>
                    <a:lnTo>
                      <a:pt x="60" y="116"/>
                    </a:lnTo>
                    <a:lnTo>
                      <a:pt x="62" y="114"/>
                    </a:lnTo>
                    <a:lnTo>
                      <a:pt x="63" y="101"/>
                    </a:lnTo>
                    <a:lnTo>
                      <a:pt x="63" y="68"/>
                    </a:lnTo>
                    <a:lnTo>
                      <a:pt x="88" y="63"/>
                    </a:lnTo>
                    <a:lnTo>
                      <a:pt x="107" y="45"/>
                    </a:lnTo>
                    <a:lnTo>
                      <a:pt x="179" y="0"/>
                    </a:lnTo>
                    <a:lnTo>
                      <a:pt x="207" y="6"/>
                    </a:lnTo>
                    <a:lnTo>
                      <a:pt x="209" y="9"/>
                    </a:lnTo>
                    <a:lnTo>
                      <a:pt x="223" y="3"/>
                    </a:lnTo>
                    <a:lnTo>
                      <a:pt x="225" y="6"/>
                    </a:lnTo>
                    <a:lnTo>
                      <a:pt x="233" y="27"/>
                    </a:lnTo>
                    <a:lnTo>
                      <a:pt x="232" y="32"/>
                    </a:lnTo>
                    <a:lnTo>
                      <a:pt x="232" y="34"/>
                    </a:lnTo>
                    <a:lnTo>
                      <a:pt x="241" y="47"/>
                    </a:lnTo>
                    <a:lnTo>
                      <a:pt x="241" y="53"/>
                    </a:lnTo>
                    <a:lnTo>
                      <a:pt x="240" y="55"/>
                    </a:lnTo>
                    <a:lnTo>
                      <a:pt x="235" y="86"/>
                    </a:lnTo>
                    <a:lnTo>
                      <a:pt x="235" y="109"/>
                    </a:lnTo>
                    <a:lnTo>
                      <a:pt x="209" y="137"/>
                    </a:lnTo>
                    <a:lnTo>
                      <a:pt x="209" y="138"/>
                    </a:lnTo>
                    <a:lnTo>
                      <a:pt x="207" y="140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61"/>
                    </a:lnTo>
                    <a:lnTo>
                      <a:pt x="202" y="161"/>
                    </a:lnTo>
                    <a:lnTo>
                      <a:pt x="201" y="165"/>
                    </a:lnTo>
                    <a:lnTo>
                      <a:pt x="201" y="166"/>
                    </a:lnTo>
                    <a:lnTo>
                      <a:pt x="199" y="166"/>
                    </a:lnTo>
                    <a:lnTo>
                      <a:pt x="197" y="166"/>
                    </a:lnTo>
                    <a:lnTo>
                      <a:pt x="194" y="166"/>
                    </a:lnTo>
                    <a:lnTo>
                      <a:pt x="194" y="168"/>
                    </a:lnTo>
                    <a:lnTo>
                      <a:pt x="191" y="169"/>
                    </a:lnTo>
                    <a:lnTo>
                      <a:pt x="191" y="169"/>
                    </a:lnTo>
                    <a:lnTo>
                      <a:pt x="186" y="171"/>
                    </a:lnTo>
                    <a:lnTo>
                      <a:pt x="183" y="171"/>
                    </a:lnTo>
                    <a:lnTo>
                      <a:pt x="179" y="171"/>
                    </a:lnTo>
                    <a:lnTo>
                      <a:pt x="174" y="168"/>
                    </a:lnTo>
                    <a:lnTo>
                      <a:pt x="166" y="168"/>
                    </a:lnTo>
                    <a:lnTo>
                      <a:pt x="163" y="169"/>
                    </a:lnTo>
                    <a:lnTo>
                      <a:pt x="155" y="168"/>
                    </a:lnTo>
                    <a:lnTo>
                      <a:pt x="152" y="169"/>
                    </a:lnTo>
                    <a:lnTo>
                      <a:pt x="148" y="174"/>
                    </a:lnTo>
                    <a:lnTo>
                      <a:pt x="143" y="178"/>
                    </a:lnTo>
                    <a:lnTo>
                      <a:pt x="140" y="178"/>
                    </a:lnTo>
                    <a:lnTo>
                      <a:pt x="135" y="174"/>
                    </a:lnTo>
                    <a:lnTo>
                      <a:pt x="130" y="174"/>
                    </a:lnTo>
                    <a:lnTo>
                      <a:pt x="125" y="171"/>
                    </a:lnTo>
                    <a:lnTo>
                      <a:pt x="122" y="169"/>
                    </a:lnTo>
                    <a:lnTo>
                      <a:pt x="122" y="168"/>
                    </a:lnTo>
                    <a:lnTo>
                      <a:pt x="121" y="166"/>
                    </a:lnTo>
                    <a:lnTo>
                      <a:pt x="117" y="166"/>
                    </a:lnTo>
                    <a:lnTo>
                      <a:pt x="117" y="166"/>
                    </a:lnTo>
                    <a:lnTo>
                      <a:pt x="112" y="168"/>
                    </a:lnTo>
                    <a:lnTo>
                      <a:pt x="111" y="169"/>
                    </a:lnTo>
                    <a:lnTo>
                      <a:pt x="107" y="169"/>
                    </a:lnTo>
                    <a:lnTo>
                      <a:pt x="106" y="171"/>
                    </a:lnTo>
                    <a:lnTo>
                      <a:pt x="104" y="173"/>
                    </a:lnTo>
                    <a:lnTo>
                      <a:pt x="101" y="169"/>
                    </a:lnTo>
                    <a:lnTo>
                      <a:pt x="98" y="165"/>
                    </a:lnTo>
                    <a:lnTo>
                      <a:pt x="96" y="163"/>
                    </a:lnTo>
                    <a:lnTo>
                      <a:pt x="91" y="161"/>
                    </a:lnTo>
                    <a:lnTo>
                      <a:pt x="89" y="161"/>
                    </a:lnTo>
                    <a:lnTo>
                      <a:pt x="88" y="160"/>
                    </a:lnTo>
                    <a:lnTo>
                      <a:pt x="83" y="160"/>
                    </a:lnTo>
                    <a:lnTo>
                      <a:pt x="81" y="158"/>
                    </a:lnTo>
                    <a:lnTo>
                      <a:pt x="78" y="158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2" y="160"/>
                    </a:lnTo>
                    <a:lnTo>
                      <a:pt x="68" y="160"/>
                    </a:lnTo>
                    <a:lnTo>
                      <a:pt x="65" y="160"/>
                    </a:lnTo>
                    <a:lnTo>
                      <a:pt x="63" y="161"/>
                    </a:lnTo>
                    <a:lnTo>
                      <a:pt x="62" y="161"/>
                    </a:lnTo>
                    <a:lnTo>
                      <a:pt x="58" y="165"/>
                    </a:lnTo>
                    <a:lnTo>
                      <a:pt x="58" y="166"/>
                    </a:lnTo>
                    <a:lnTo>
                      <a:pt x="58" y="168"/>
                    </a:lnTo>
                    <a:lnTo>
                      <a:pt x="58" y="169"/>
                    </a:lnTo>
                    <a:lnTo>
                      <a:pt x="58" y="169"/>
                    </a:lnTo>
                    <a:lnTo>
                      <a:pt x="58" y="173"/>
                    </a:lnTo>
                    <a:lnTo>
                      <a:pt x="60" y="174"/>
                    </a:lnTo>
                    <a:lnTo>
                      <a:pt x="60" y="176"/>
                    </a:lnTo>
                    <a:lnTo>
                      <a:pt x="57" y="176"/>
                    </a:lnTo>
                    <a:lnTo>
                      <a:pt x="54" y="179"/>
                    </a:lnTo>
                    <a:lnTo>
                      <a:pt x="55" y="181"/>
                    </a:lnTo>
                    <a:lnTo>
                      <a:pt x="54" y="184"/>
                    </a:lnTo>
                    <a:lnTo>
                      <a:pt x="55" y="187"/>
                    </a:lnTo>
                    <a:lnTo>
                      <a:pt x="57" y="187"/>
                    </a:lnTo>
                    <a:lnTo>
                      <a:pt x="57" y="189"/>
                    </a:lnTo>
                    <a:lnTo>
                      <a:pt x="55" y="19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3" name="Freeform 278">
                <a:extLst>
                  <a:ext uri="{FF2B5EF4-FFF2-40B4-BE49-F238E27FC236}">
                    <a16:creationId xmlns:a16="http://schemas.microsoft.com/office/drawing/2014/main" xmlns="" id="{7618A17F-3FFF-4C54-94F4-F3A993EBF4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83" cy="160"/>
              </a:xfrm>
              <a:custGeom>
                <a:avLst/>
                <a:gdLst>
                  <a:gd name="T0" fmla="*/ 172 w 183"/>
                  <a:gd name="T1" fmla="*/ 10 h 160"/>
                  <a:gd name="T2" fmla="*/ 161 w 183"/>
                  <a:gd name="T3" fmla="*/ 7 h 160"/>
                  <a:gd name="T4" fmla="*/ 157 w 183"/>
                  <a:gd name="T5" fmla="*/ 8 h 160"/>
                  <a:gd name="T6" fmla="*/ 151 w 183"/>
                  <a:gd name="T7" fmla="*/ 11 h 160"/>
                  <a:gd name="T8" fmla="*/ 143 w 183"/>
                  <a:gd name="T9" fmla="*/ 13 h 160"/>
                  <a:gd name="T10" fmla="*/ 126 w 183"/>
                  <a:gd name="T11" fmla="*/ 10 h 160"/>
                  <a:gd name="T12" fmla="*/ 112 w 183"/>
                  <a:gd name="T13" fmla="*/ 11 h 160"/>
                  <a:gd name="T14" fmla="*/ 100 w 183"/>
                  <a:gd name="T15" fmla="*/ 20 h 160"/>
                  <a:gd name="T16" fmla="*/ 85 w 183"/>
                  <a:gd name="T17" fmla="*/ 13 h 160"/>
                  <a:gd name="T18" fmla="*/ 81 w 183"/>
                  <a:gd name="T19" fmla="*/ 8 h 160"/>
                  <a:gd name="T20" fmla="*/ 72 w 183"/>
                  <a:gd name="T21" fmla="*/ 10 h 160"/>
                  <a:gd name="T22" fmla="*/ 66 w 183"/>
                  <a:gd name="T23" fmla="*/ 13 h 160"/>
                  <a:gd name="T24" fmla="*/ 58 w 183"/>
                  <a:gd name="T25" fmla="*/ 7 h 160"/>
                  <a:gd name="T26" fmla="*/ 49 w 183"/>
                  <a:gd name="T27" fmla="*/ 3 h 160"/>
                  <a:gd name="T28" fmla="*/ 41 w 183"/>
                  <a:gd name="T29" fmla="*/ 0 h 160"/>
                  <a:gd name="T30" fmla="*/ 32 w 183"/>
                  <a:gd name="T31" fmla="*/ 2 h 160"/>
                  <a:gd name="T32" fmla="*/ 25 w 183"/>
                  <a:gd name="T33" fmla="*/ 2 h 160"/>
                  <a:gd name="T34" fmla="*/ 18 w 183"/>
                  <a:gd name="T35" fmla="*/ 7 h 160"/>
                  <a:gd name="T36" fmla="*/ 18 w 183"/>
                  <a:gd name="T37" fmla="*/ 11 h 160"/>
                  <a:gd name="T38" fmla="*/ 20 w 183"/>
                  <a:gd name="T39" fmla="*/ 16 h 160"/>
                  <a:gd name="T40" fmla="*/ 14 w 183"/>
                  <a:gd name="T41" fmla="*/ 21 h 160"/>
                  <a:gd name="T42" fmla="*/ 15 w 183"/>
                  <a:gd name="T43" fmla="*/ 29 h 160"/>
                  <a:gd name="T44" fmla="*/ 15 w 183"/>
                  <a:gd name="T45" fmla="*/ 34 h 160"/>
                  <a:gd name="T46" fmla="*/ 18 w 183"/>
                  <a:gd name="T47" fmla="*/ 44 h 160"/>
                  <a:gd name="T48" fmla="*/ 20 w 183"/>
                  <a:gd name="T49" fmla="*/ 56 h 160"/>
                  <a:gd name="T50" fmla="*/ 15 w 183"/>
                  <a:gd name="T51" fmla="*/ 59 h 160"/>
                  <a:gd name="T52" fmla="*/ 15 w 183"/>
                  <a:gd name="T53" fmla="*/ 64 h 160"/>
                  <a:gd name="T54" fmla="*/ 10 w 183"/>
                  <a:gd name="T55" fmla="*/ 72 h 160"/>
                  <a:gd name="T56" fmla="*/ 5 w 183"/>
                  <a:gd name="T57" fmla="*/ 77 h 160"/>
                  <a:gd name="T58" fmla="*/ 2 w 183"/>
                  <a:gd name="T59" fmla="*/ 83 h 160"/>
                  <a:gd name="T60" fmla="*/ 2 w 183"/>
                  <a:gd name="T61" fmla="*/ 90 h 160"/>
                  <a:gd name="T62" fmla="*/ 2 w 183"/>
                  <a:gd name="T63" fmla="*/ 95 h 160"/>
                  <a:gd name="T64" fmla="*/ 2 w 183"/>
                  <a:gd name="T65" fmla="*/ 106 h 160"/>
                  <a:gd name="T66" fmla="*/ 2 w 183"/>
                  <a:gd name="T67" fmla="*/ 119 h 160"/>
                  <a:gd name="T68" fmla="*/ 14 w 183"/>
                  <a:gd name="T69" fmla="*/ 121 h 160"/>
                  <a:gd name="T70" fmla="*/ 36 w 183"/>
                  <a:gd name="T71" fmla="*/ 142 h 160"/>
                  <a:gd name="T72" fmla="*/ 40 w 183"/>
                  <a:gd name="T73" fmla="*/ 154 h 160"/>
                  <a:gd name="T74" fmla="*/ 64 w 183"/>
                  <a:gd name="T75" fmla="*/ 159 h 160"/>
                  <a:gd name="T76" fmla="*/ 77 w 183"/>
                  <a:gd name="T77" fmla="*/ 155 h 160"/>
                  <a:gd name="T78" fmla="*/ 85 w 183"/>
                  <a:gd name="T79" fmla="*/ 150 h 160"/>
                  <a:gd name="T80" fmla="*/ 90 w 183"/>
                  <a:gd name="T81" fmla="*/ 154 h 160"/>
                  <a:gd name="T82" fmla="*/ 95 w 183"/>
                  <a:gd name="T83" fmla="*/ 142 h 160"/>
                  <a:gd name="T84" fmla="*/ 97 w 183"/>
                  <a:gd name="T85" fmla="*/ 134 h 160"/>
                  <a:gd name="T86" fmla="*/ 102 w 183"/>
                  <a:gd name="T87" fmla="*/ 127 h 160"/>
                  <a:gd name="T88" fmla="*/ 108 w 183"/>
                  <a:gd name="T89" fmla="*/ 118 h 160"/>
                  <a:gd name="T90" fmla="*/ 113 w 183"/>
                  <a:gd name="T91" fmla="*/ 114 h 160"/>
                  <a:gd name="T92" fmla="*/ 120 w 183"/>
                  <a:gd name="T93" fmla="*/ 116 h 160"/>
                  <a:gd name="T94" fmla="*/ 128 w 183"/>
                  <a:gd name="T95" fmla="*/ 123 h 160"/>
                  <a:gd name="T96" fmla="*/ 134 w 183"/>
                  <a:gd name="T97" fmla="*/ 118 h 160"/>
                  <a:gd name="T98" fmla="*/ 139 w 183"/>
                  <a:gd name="T99" fmla="*/ 114 h 160"/>
                  <a:gd name="T100" fmla="*/ 141 w 183"/>
                  <a:gd name="T101" fmla="*/ 105 h 160"/>
                  <a:gd name="T102" fmla="*/ 146 w 183"/>
                  <a:gd name="T103" fmla="*/ 95 h 160"/>
                  <a:gd name="T104" fmla="*/ 156 w 183"/>
                  <a:gd name="T105" fmla="*/ 87 h 160"/>
                  <a:gd name="T106" fmla="*/ 156 w 183"/>
                  <a:gd name="T107" fmla="*/ 75 h 160"/>
                  <a:gd name="T108" fmla="*/ 165 w 183"/>
                  <a:gd name="T109" fmla="*/ 69 h 160"/>
                  <a:gd name="T110" fmla="*/ 165 w 183"/>
                  <a:gd name="T111" fmla="*/ 57 h 160"/>
                  <a:gd name="T112" fmla="*/ 172 w 183"/>
                  <a:gd name="T113" fmla="*/ 47 h 160"/>
                  <a:gd name="T114" fmla="*/ 177 w 183"/>
                  <a:gd name="T115" fmla="*/ 44 h 160"/>
                  <a:gd name="T116" fmla="*/ 183 w 183"/>
                  <a:gd name="T117" fmla="*/ 38 h 160"/>
                  <a:gd name="T118" fmla="*/ 180 w 183"/>
                  <a:gd name="T119" fmla="*/ 29 h 160"/>
                  <a:gd name="T120" fmla="*/ 177 w 183"/>
                  <a:gd name="T121" fmla="*/ 21 h 160"/>
                  <a:gd name="T122" fmla="*/ 175 w 183"/>
                  <a:gd name="T123" fmla="*/ 1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3" h="160">
                    <a:moveTo>
                      <a:pt x="175" y="15"/>
                    </a:moveTo>
                    <a:lnTo>
                      <a:pt x="174" y="15"/>
                    </a:lnTo>
                    <a:lnTo>
                      <a:pt x="172" y="10"/>
                    </a:lnTo>
                    <a:lnTo>
                      <a:pt x="169" y="5"/>
                    </a:lnTo>
                    <a:lnTo>
                      <a:pt x="162" y="3"/>
                    </a:lnTo>
                    <a:lnTo>
                      <a:pt x="161" y="7"/>
                    </a:lnTo>
                    <a:lnTo>
                      <a:pt x="161" y="8"/>
                    </a:lnTo>
                    <a:lnTo>
                      <a:pt x="159" y="8"/>
                    </a:lnTo>
                    <a:lnTo>
                      <a:pt x="157" y="8"/>
                    </a:lnTo>
                    <a:lnTo>
                      <a:pt x="154" y="8"/>
                    </a:lnTo>
                    <a:lnTo>
                      <a:pt x="154" y="10"/>
                    </a:lnTo>
                    <a:lnTo>
                      <a:pt x="151" y="11"/>
                    </a:lnTo>
                    <a:lnTo>
                      <a:pt x="149" y="15"/>
                    </a:lnTo>
                    <a:lnTo>
                      <a:pt x="146" y="15"/>
                    </a:lnTo>
                    <a:lnTo>
                      <a:pt x="143" y="13"/>
                    </a:lnTo>
                    <a:lnTo>
                      <a:pt x="139" y="13"/>
                    </a:lnTo>
                    <a:lnTo>
                      <a:pt x="134" y="10"/>
                    </a:lnTo>
                    <a:lnTo>
                      <a:pt x="126" y="10"/>
                    </a:lnTo>
                    <a:lnTo>
                      <a:pt x="123" y="11"/>
                    </a:lnTo>
                    <a:lnTo>
                      <a:pt x="115" y="10"/>
                    </a:lnTo>
                    <a:lnTo>
                      <a:pt x="112" y="11"/>
                    </a:lnTo>
                    <a:lnTo>
                      <a:pt x="108" y="16"/>
                    </a:lnTo>
                    <a:lnTo>
                      <a:pt x="103" y="20"/>
                    </a:lnTo>
                    <a:lnTo>
                      <a:pt x="100" y="20"/>
                    </a:lnTo>
                    <a:lnTo>
                      <a:pt x="95" y="16"/>
                    </a:lnTo>
                    <a:lnTo>
                      <a:pt x="90" y="16"/>
                    </a:lnTo>
                    <a:lnTo>
                      <a:pt x="85" y="13"/>
                    </a:lnTo>
                    <a:lnTo>
                      <a:pt x="82" y="11"/>
                    </a:lnTo>
                    <a:lnTo>
                      <a:pt x="82" y="10"/>
                    </a:lnTo>
                    <a:lnTo>
                      <a:pt x="81" y="8"/>
                    </a:lnTo>
                    <a:lnTo>
                      <a:pt x="77" y="8"/>
                    </a:lnTo>
                    <a:lnTo>
                      <a:pt x="77" y="8"/>
                    </a:lnTo>
                    <a:lnTo>
                      <a:pt x="72" y="10"/>
                    </a:lnTo>
                    <a:lnTo>
                      <a:pt x="71" y="11"/>
                    </a:lnTo>
                    <a:lnTo>
                      <a:pt x="67" y="11"/>
                    </a:lnTo>
                    <a:lnTo>
                      <a:pt x="66" y="13"/>
                    </a:lnTo>
                    <a:lnTo>
                      <a:pt x="64" y="15"/>
                    </a:lnTo>
                    <a:lnTo>
                      <a:pt x="61" y="11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1" y="3"/>
                    </a:lnTo>
                    <a:lnTo>
                      <a:pt x="49" y="3"/>
                    </a:lnTo>
                    <a:lnTo>
                      <a:pt x="48" y="2"/>
                    </a:lnTo>
                    <a:lnTo>
                      <a:pt x="43" y="2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5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7" y="18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7" y="31"/>
                    </a:lnTo>
                    <a:lnTo>
                      <a:pt x="15" y="34"/>
                    </a:lnTo>
                    <a:lnTo>
                      <a:pt x="14" y="38"/>
                    </a:lnTo>
                    <a:lnTo>
                      <a:pt x="15" y="41"/>
                    </a:lnTo>
                    <a:lnTo>
                      <a:pt x="18" y="44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17" y="56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8" y="62"/>
                    </a:lnTo>
                    <a:lnTo>
                      <a:pt x="17" y="64"/>
                    </a:lnTo>
                    <a:lnTo>
                      <a:pt x="15" y="64"/>
                    </a:lnTo>
                    <a:lnTo>
                      <a:pt x="14" y="65"/>
                    </a:lnTo>
                    <a:lnTo>
                      <a:pt x="12" y="69"/>
                    </a:lnTo>
                    <a:lnTo>
                      <a:pt x="10" y="72"/>
                    </a:lnTo>
                    <a:lnTo>
                      <a:pt x="9" y="75"/>
                    </a:lnTo>
                    <a:lnTo>
                      <a:pt x="7" y="77"/>
                    </a:lnTo>
                    <a:lnTo>
                      <a:pt x="5" y="77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2" y="83"/>
                    </a:lnTo>
                    <a:lnTo>
                      <a:pt x="2" y="85"/>
                    </a:lnTo>
                    <a:lnTo>
                      <a:pt x="0" y="88"/>
                    </a:lnTo>
                    <a:lnTo>
                      <a:pt x="2" y="90"/>
                    </a:lnTo>
                    <a:lnTo>
                      <a:pt x="2" y="93"/>
                    </a:lnTo>
                    <a:lnTo>
                      <a:pt x="2" y="93"/>
                    </a:lnTo>
                    <a:lnTo>
                      <a:pt x="2" y="95"/>
                    </a:lnTo>
                    <a:lnTo>
                      <a:pt x="2" y="96"/>
                    </a:lnTo>
                    <a:lnTo>
                      <a:pt x="2" y="100"/>
                    </a:lnTo>
                    <a:lnTo>
                      <a:pt x="2" y="106"/>
                    </a:lnTo>
                    <a:lnTo>
                      <a:pt x="2" y="108"/>
                    </a:lnTo>
                    <a:lnTo>
                      <a:pt x="2" y="111"/>
                    </a:lnTo>
                    <a:lnTo>
                      <a:pt x="2" y="119"/>
                    </a:lnTo>
                    <a:lnTo>
                      <a:pt x="2" y="123"/>
                    </a:lnTo>
                    <a:lnTo>
                      <a:pt x="9" y="124"/>
                    </a:lnTo>
                    <a:lnTo>
                      <a:pt x="14" y="121"/>
                    </a:lnTo>
                    <a:lnTo>
                      <a:pt x="25" y="127"/>
                    </a:lnTo>
                    <a:lnTo>
                      <a:pt x="32" y="134"/>
                    </a:lnTo>
                    <a:lnTo>
                      <a:pt x="36" y="142"/>
                    </a:lnTo>
                    <a:lnTo>
                      <a:pt x="36" y="147"/>
                    </a:lnTo>
                    <a:lnTo>
                      <a:pt x="38" y="149"/>
                    </a:lnTo>
                    <a:lnTo>
                      <a:pt x="40" y="154"/>
                    </a:lnTo>
                    <a:lnTo>
                      <a:pt x="43" y="159"/>
                    </a:lnTo>
                    <a:lnTo>
                      <a:pt x="49" y="160"/>
                    </a:lnTo>
                    <a:lnTo>
                      <a:pt x="64" y="159"/>
                    </a:lnTo>
                    <a:lnTo>
                      <a:pt x="67" y="157"/>
                    </a:lnTo>
                    <a:lnTo>
                      <a:pt x="71" y="157"/>
                    </a:lnTo>
                    <a:lnTo>
                      <a:pt x="77" y="155"/>
                    </a:lnTo>
                    <a:lnTo>
                      <a:pt x="81" y="155"/>
                    </a:lnTo>
                    <a:lnTo>
                      <a:pt x="84" y="155"/>
                    </a:lnTo>
                    <a:lnTo>
                      <a:pt x="85" y="150"/>
                    </a:lnTo>
                    <a:lnTo>
                      <a:pt x="89" y="154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94" y="145"/>
                    </a:lnTo>
                    <a:lnTo>
                      <a:pt x="95" y="142"/>
                    </a:lnTo>
                    <a:lnTo>
                      <a:pt x="95" y="139"/>
                    </a:lnTo>
                    <a:lnTo>
                      <a:pt x="95" y="134"/>
                    </a:lnTo>
                    <a:lnTo>
                      <a:pt x="97" y="134"/>
                    </a:lnTo>
                    <a:lnTo>
                      <a:pt x="97" y="131"/>
                    </a:lnTo>
                    <a:lnTo>
                      <a:pt x="98" y="129"/>
                    </a:lnTo>
                    <a:lnTo>
                      <a:pt x="102" y="127"/>
                    </a:lnTo>
                    <a:lnTo>
                      <a:pt x="103" y="126"/>
                    </a:lnTo>
                    <a:lnTo>
                      <a:pt x="108" y="121"/>
                    </a:lnTo>
                    <a:lnTo>
                      <a:pt x="108" y="118"/>
                    </a:lnTo>
                    <a:lnTo>
                      <a:pt x="108" y="116"/>
                    </a:lnTo>
                    <a:lnTo>
                      <a:pt x="112" y="116"/>
                    </a:lnTo>
                    <a:lnTo>
                      <a:pt x="113" y="114"/>
                    </a:lnTo>
                    <a:lnTo>
                      <a:pt x="115" y="114"/>
                    </a:lnTo>
                    <a:lnTo>
                      <a:pt x="118" y="116"/>
                    </a:lnTo>
                    <a:lnTo>
                      <a:pt x="120" y="116"/>
                    </a:lnTo>
                    <a:lnTo>
                      <a:pt x="123" y="118"/>
                    </a:lnTo>
                    <a:lnTo>
                      <a:pt x="125" y="121"/>
                    </a:lnTo>
                    <a:lnTo>
                      <a:pt x="128" y="123"/>
                    </a:lnTo>
                    <a:lnTo>
                      <a:pt x="130" y="124"/>
                    </a:lnTo>
                    <a:lnTo>
                      <a:pt x="133" y="123"/>
                    </a:lnTo>
                    <a:lnTo>
                      <a:pt x="134" y="118"/>
                    </a:lnTo>
                    <a:lnTo>
                      <a:pt x="134" y="118"/>
                    </a:lnTo>
                    <a:lnTo>
                      <a:pt x="136" y="114"/>
                    </a:lnTo>
                    <a:lnTo>
                      <a:pt x="139" y="114"/>
                    </a:lnTo>
                    <a:lnTo>
                      <a:pt x="141" y="111"/>
                    </a:lnTo>
                    <a:lnTo>
                      <a:pt x="141" y="109"/>
                    </a:lnTo>
                    <a:lnTo>
                      <a:pt x="141" y="105"/>
                    </a:lnTo>
                    <a:lnTo>
                      <a:pt x="146" y="100"/>
                    </a:lnTo>
                    <a:lnTo>
                      <a:pt x="147" y="98"/>
                    </a:lnTo>
                    <a:lnTo>
                      <a:pt x="146" y="95"/>
                    </a:lnTo>
                    <a:lnTo>
                      <a:pt x="147" y="93"/>
                    </a:lnTo>
                    <a:lnTo>
                      <a:pt x="152" y="88"/>
                    </a:lnTo>
                    <a:lnTo>
                      <a:pt x="156" y="87"/>
                    </a:lnTo>
                    <a:lnTo>
                      <a:pt x="156" y="83"/>
                    </a:lnTo>
                    <a:lnTo>
                      <a:pt x="156" y="80"/>
                    </a:lnTo>
                    <a:lnTo>
                      <a:pt x="156" y="75"/>
                    </a:lnTo>
                    <a:lnTo>
                      <a:pt x="159" y="74"/>
                    </a:lnTo>
                    <a:lnTo>
                      <a:pt x="162" y="72"/>
                    </a:lnTo>
                    <a:lnTo>
                      <a:pt x="165" y="69"/>
                    </a:lnTo>
                    <a:lnTo>
                      <a:pt x="165" y="65"/>
                    </a:lnTo>
                    <a:lnTo>
                      <a:pt x="165" y="60"/>
                    </a:lnTo>
                    <a:lnTo>
                      <a:pt x="165" y="57"/>
                    </a:lnTo>
                    <a:lnTo>
                      <a:pt x="167" y="56"/>
                    </a:lnTo>
                    <a:lnTo>
                      <a:pt x="170" y="49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5" y="44"/>
                    </a:lnTo>
                    <a:lnTo>
                      <a:pt x="177" y="44"/>
                    </a:lnTo>
                    <a:lnTo>
                      <a:pt x="179" y="42"/>
                    </a:lnTo>
                    <a:lnTo>
                      <a:pt x="182" y="41"/>
                    </a:lnTo>
                    <a:lnTo>
                      <a:pt x="183" y="38"/>
                    </a:lnTo>
                    <a:lnTo>
                      <a:pt x="182" y="34"/>
                    </a:lnTo>
                    <a:lnTo>
                      <a:pt x="182" y="33"/>
                    </a:lnTo>
                    <a:lnTo>
                      <a:pt x="180" y="29"/>
                    </a:lnTo>
                    <a:lnTo>
                      <a:pt x="177" y="28"/>
                    </a:lnTo>
                    <a:lnTo>
                      <a:pt x="177" y="26"/>
                    </a:lnTo>
                    <a:lnTo>
                      <a:pt x="177" y="21"/>
                    </a:lnTo>
                    <a:lnTo>
                      <a:pt x="175" y="18"/>
                    </a:lnTo>
                    <a:lnTo>
                      <a:pt x="175" y="15"/>
                    </a:lnTo>
                    <a:lnTo>
                      <a:pt x="175" y="1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4" name="Freeform 279">
                <a:extLst>
                  <a:ext uri="{FF2B5EF4-FFF2-40B4-BE49-F238E27FC236}">
                    <a16:creationId xmlns:a16="http://schemas.microsoft.com/office/drawing/2014/main" xmlns="" id="{5D6C682C-8898-4372-9892-47307C973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052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0 w 5"/>
                  <a:gd name="T3" fmla="*/ 3 h 5"/>
                  <a:gd name="T4" fmla="*/ 4 w 5"/>
                  <a:gd name="T5" fmla="*/ 0 h 5"/>
                  <a:gd name="T6" fmla="*/ 5 w 5"/>
                  <a:gd name="T7" fmla="*/ 2 h 5"/>
                  <a:gd name="T8" fmla="*/ 5 w 5"/>
                  <a:gd name="T9" fmla="*/ 5 h 5"/>
                  <a:gd name="T10" fmla="*/ 4 w 5"/>
                  <a:gd name="T11" fmla="*/ 5 h 5"/>
                  <a:gd name="T12" fmla="*/ 2 w 5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6" name="Freeform 280">
                <a:extLst>
                  <a:ext uri="{FF2B5EF4-FFF2-40B4-BE49-F238E27FC236}">
                    <a16:creationId xmlns:a16="http://schemas.microsoft.com/office/drawing/2014/main" xmlns="" id="{37FF3234-82AB-4A0A-95FB-524951880C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1995"/>
                <a:ext cx="9" cy="11"/>
              </a:xfrm>
              <a:custGeom>
                <a:avLst/>
                <a:gdLst>
                  <a:gd name="T0" fmla="*/ 0 w 9"/>
                  <a:gd name="T1" fmla="*/ 10 h 11"/>
                  <a:gd name="T2" fmla="*/ 0 w 9"/>
                  <a:gd name="T3" fmla="*/ 8 h 11"/>
                  <a:gd name="T4" fmla="*/ 2 w 9"/>
                  <a:gd name="T5" fmla="*/ 8 h 11"/>
                  <a:gd name="T6" fmla="*/ 4 w 9"/>
                  <a:gd name="T7" fmla="*/ 3 h 11"/>
                  <a:gd name="T8" fmla="*/ 7 w 9"/>
                  <a:gd name="T9" fmla="*/ 0 h 11"/>
                  <a:gd name="T10" fmla="*/ 9 w 9"/>
                  <a:gd name="T11" fmla="*/ 2 h 11"/>
                  <a:gd name="T12" fmla="*/ 9 w 9"/>
                  <a:gd name="T13" fmla="*/ 7 h 11"/>
                  <a:gd name="T14" fmla="*/ 5 w 9"/>
                  <a:gd name="T15" fmla="*/ 11 h 11"/>
                  <a:gd name="T16" fmla="*/ 4 w 9"/>
                  <a:gd name="T17" fmla="*/ 11 h 11"/>
                  <a:gd name="T18" fmla="*/ 0 w 9"/>
                  <a:gd name="T1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7" name="Freeform 281">
                <a:extLst>
                  <a:ext uri="{FF2B5EF4-FFF2-40B4-BE49-F238E27FC236}">
                    <a16:creationId xmlns:a16="http://schemas.microsoft.com/office/drawing/2014/main" xmlns="" id="{495A25C9-AE7B-45F0-99E9-5C16991B5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1845"/>
                <a:ext cx="120" cy="184"/>
              </a:xfrm>
              <a:custGeom>
                <a:avLst/>
                <a:gdLst>
                  <a:gd name="T0" fmla="*/ 4 w 120"/>
                  <a:gd name="T1" fmla="*/ 130 h 184"/>
                  <a:gd name="T2" fmla="*/ 5 w 120"/>
                  <a:gd name="T3" fmla="*/ 119 h 184"/>
                  <a:gd name="T4" fmla="*/ 8 w 120"/>
                  <a:gd name="T5" fmla="*/ 114 h 184"/>
                  <a:gd name="T6" fmla="*/ 18 w 120"/>
                  <a:gd name="T7" fmla="*/ 106 h 184"/>
                  <a:gd name="T8" fmla="*/ 22 w 120"/>
                  <a:gd name="T9" fmla="*/ 101 h 184"/>
                  <a:gd name="T10" fmla="*/ 28 w 120"/>
                  <a:gd name="T11" fmla="*/ 101 h 184"/>
                  <a:gd name="T12" fmla="*/ 35 w 120"/>
                  <a:gd name="T13" fmla="*/ 106 h 184"/>
                  <a:gd name="T14" fmla="*/ 43 w 120"/>
                  <a:gd name="T15" fmla="*/ 108 h 184"/>
                  <a:gd name="T16" fmla="*/ 46 w 120"/>
                  <a:gd name="T17" fmla="*/ 99 h 184"/>
                  <a:gd name="T18" fmla="*/ 51 w 120"/>
                  <a:gd name="T19" fmla="*/ 94 h 184"/>
                  <a:gd name="T20" fmla="*/ 57 w 120"/>
                  <a:gd name="T21" fmla="*/ 83 h 184"/>
                  <a:gd name="T22" fmla="*/ 62 w 120"/>
                  <a:gd name="T23" fmla="*/ 73 h 184"/>
                  <a:gd name="T24" fmla="*/ 66 w 120"/>
                  <a:gd name="T25" fmla="*/ 65 h 184"/>
                  <a:gd name="T26" fmla="*/ 72 w 120"/>
                  <a:gd name="T27" fmla="*/ 57 h 184"/>
                  <a:gd name="T28" fmla="*/ 75 w 120"/>
                  <a:gd name="T29" fmla="*/ 45 h 184"/>
                  <a:gd name="T30" fmla="*/ 80 w 120"/>
                  <a:gd name="T31" fmla="*/ 34 h 184"/>
                  <a:gd name="T32" fmla="*/ 85 w 120"/>
                  <a:gd name="T33" fmla="*/ 29 h 184"/>
                  <a:gd name="T34" fmla="*/ 92 w 120"/>
                  <a:gd name="T35" fmla="*/ 26 h 184"/>
                  <a:gd name="T36" fmla="*/ 92 w 120"/>
                  <a:gd name="T37" fmla="*/ 18 h 184"/>
                  <a:gd name="T38" fmla="*/ 87 w 120"/>
                  <a:gd name="T39" fmla="*/ 11 h 184"/>
                  <a:gd name="T40" fmla="*/ 85 w 120"/>
                  <a:gd name="T41" fmla="*/ 0 h 184"/>
                  <a:gd name="T42" fmla="*/ 97 w 120"/>
                  <a:gd name="T43" fmla="*/ 11 h 184"/>
                  <a:gd name="T44" fmla="*/ 100 w 120"/>
                  <a:gd name="T45" fmla="*/ 21 h 184"/>
                  <a:gd name="T46" fmla="*/ 100 w 120"/>
                  <a:gd name="T47" fmla="*/ 26 h 184"/>
                  <a:gd name="T48" fmla="*/ 98 w 120"/>
                  <a:gd name="T49" fmla="*/ 34 h 184"/>
                  <a:gd name="T50" fmla="*/ 103 w 120"/>
                  <a:gd name="T51" fmla="*/ 42 h 184"/>
                  <a:gd name="T52" fmla="*/ 110 w 120"/>
                  <a:gd name="T53" fmla="*/ 50 h 184"/>
                  <a:gd name="T54" fmla="*/ 105 w 120"/>
                  <a:gd name="T55" fmla="*/ 50 h 184"/>
                  <a:gd name="T56" fmla="*/ 97 w 120"/>
                  <a:gd name="T57" fmla="*/ 49 h 184"/>
                  <a:gd name="T58" fmla="*/ 90 w 120"/>
                  <a:gd name="T59" fmla="*/ 49 h 184"/>
                  <a:gd name="T60" fmla="*/ 85 w 120"/>
                  <a:gd name="T61" fmla="*/ 54 h 184"/>
                  <a:gd name="T62" fmla="*/ 89 w 120"/>
                  <a:gd name="T63" fmla="*/ 60 h 184"/>
                  <a:gd name="T64" fmla="*/ 97 w 120"/>
                  <a:gd name="T65" fmla="*/ 67 h 184"/>
                  <a:gd name="T66" fmla="*/ 108 w 120"/>
                  <a:gd name="T67" fmla="*/ 80 h 184"/>
                  <a:gd name="T68" fmla="*/ 108 w 120"/>
                  <a:gd name="T69" fmla="*/ 93 h 184"/>
                  <a:gd name="T70" fmla="*/ 102 w 120"/>
                  <a:gd name="T71" fmla="*/ 103 h 184"/>
                  <a:gd name="T72" fmla="*/ 95 w 120"/>
                  <a:gd name="T73" fmla="*/ 111 h 184"/>
                  <a:gd name="T74" fmla="*/ 95 w 120"/>
                  <a:gd name="T75" fmla="*/ 121 h 184"/>
                  <a:gd name="T76" fmla="*/ 95 w 120"/>
                  <a:gd name="T77" fmla="*/ 134 h 184"/>
                  <a:gd name="T78" fmla="*/ 102 w 120"/>
                  <a:gd name="T79" fmla="*/ 144 h 184"/>
                  <a:gd name="T80" fmla="*/ 110 w 120"/>
                  <a:gd name="T81" fmla="*/ 155 h 184"/>
                  <a:gd name="T82" fmla="*/ 118 w 120"/>
                  <a:gd name="T83" fmla="*/ 166 h 184"/>
                  <a:gd name="T84" fmla="*/ 120 w 120"/>
                  <a:gd name="T85" fmla="*/ 173 h 184"/>
                  <a:gd name="T86" fmla="*/ 118 w 120"/>
                  <a:gd name="T87" fmla="*/ 176 h 184"/>
                  <a:gd name="T88" fmla="*/ 118 w 120"/>
                  <a:gd name="T89" fmla="*/ 183 h 184"/>
                  <a:gd name="T90" fmla="*/ 115 w 120"/>
                  <a:gd name="T91" fmla="*/ 184 h 184"/>
                  <a:gd name="T92" fmla="*/ 111 w 120"/>
                  <a:gd name="T93" fmla="*/ 183 h 184"/>
                  <a:gd name="T94" fmla="*/ 103 w 120"/>
                  <a:gd name="T95" fmla="*/ 181 h 184"/>
                  <a:gd name="T96" fmla="*/ 102 w 120"/>
                  <a:gd name="T97" fmla="*/ 183 h 184"/>
                  <a:gd name="T98" fmla="*/ 97 w 120"/>
                  <a:gd name="T99" fmla="*/ 181 h 184"/>
                  <a:gd name="T100" fmla="*/ 92 w 120"/>
                  <a:gd name="T101" fmla="*/ 179 h 184"/>
                  <a:gd name="T102" fmla="*/ 69 w 120"/>
                  <a:gd name="T103" fmla="*/ 178 h 184"/>
                  <a:gd name="T104" fmla="*/ 64 w 120"/>
                  <a:gd name="T105" fmla="*/ 178 h 184"/>
                  <a:gd name="T106" fmla="*/ 59 w 120"/>
                  <a:gd name="T107" fmla="*/ 178 h 184"/>
                  <a:gd name="T108" fmla="*/ 51 w 120"/>
                  <a:gd name="T109" fmla="*/ 178 h 184"/>
                  <a:gd name="T110" fmla="*/ 43 w 120"/>
                  <a:gd name="T111" fmla="*/ 178 h 184"/>
                  <a:gd name="T112" fmla="*/ 41 w 120"/>
                  <a:gd name="T113" fmla="*/ 179 h 184"/>
                  <a:gd name="T114" fmla="*/ 20 w 120"/>
                  <a:gd name="T115" fmla="*/ 179 h 184"/>
                  <a:gd name="T116" fmla="*/ 18 w 120"/>
                  <a:gd name="T117" fmla="*/ 175 h 184"/>
                  <a:gd name="T118" fmla="*/ 17 w 120"/>
                  <a:gd name="T119" fmla="*/ 158 h 184"/>
                  <a:gd name="T120" fmla="*/ 15 w 120"/>
                  <a:gd name="T121" fmla="*/ 147 h 184"/>
                  <a:gd name="T122" fmla="*/ 7 w 120"/>
                  <a:gd name="T123" fmla="*/ 147 h 184"/>
                  <a:gd name="T124" fmla="*/ 0 w 120"/>
                  <a:gd name="T125" fmla="*/ 139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0" h="184">
                    <a:moveTo>
                      <a:pt x="0" y="139"/>
                    </a:moveTo>
                    <a:lnTo>
                      <a:pt x="0" y="135"/>
                    </a:lnTo>
                    <a:lnTo>
                      <a:pt x="4" y="130"/>
                    </a:lnTo>
                    <a:lnTo>
                      <a:pt x="5" y="127"/>
                    </a:lnTo>
                    <a:lnTo>
                      <a:pt x="5" y="124"/>
                    </a:lnTo>
                    <a:lnTo>
                      <a:pt x="5" y="119"/>
                    </a:lnTo>
                    <a:lnTo>
                      <a:pt x="7" y="119"/>
                    </a:lnTo>
                    <a:lnTo>
                      <a:pt x="7" y="116"/>
                    </a:lnTo>
                    <a:lnTo>
                      <a:pt x="8" y="114"/>
                    </a:lnTo>
                    <a:lnTo>
                      <a:pt x="12" y="112"/>
                    </a:lnTo>
                    <a:lnTo>
                      <a:pt x="13" y="111"/>
                    </a:lnTo>
                    <a:lnTo>
                      <a:pt x="18" y="106"/>
                    </a:lnTo>
                    <a:lnTo>
                      <a:pt x="18" y="103"/>
                    </a:lnTo>
                    <a:lnTo>
                      <a:pt x="18" y="101"/>
                    </a:lnTo>
                    <a:lnTo>
                      <a:pt x="22" y="101"/>
                    </a:lnTo>
                    <a:lnTo>
                      <a:pt x="23" y="99"/>
                    </a:lnTo>
                    <a:lnTo>
                      <a:pt x="25" y="99"/>
                    </a:lnTo>
                    <a:lnTo>
                      <a:pt x="28" y="101"/>
                    </a:lnTo>
                    <a:lnTo>
                      <a:pt x="30" y="101"/>
                    </a:lnTo>
                    <a:lnTo>
                      <a:pt x="33" y="103"/>
                    </a:lnTo>
                    <a:lnTo>
                      <a:pt x="35" y="106"/>
                    </a:lnTo>
                    <a:lnTo>
                      <a:pt x="38" y="108"/>
                    </a:lnTo>
                    <a:lnTo>
                      <a:pt x="40" y="109"/>
                    </a:lnTo>
                    <a:lnTo>
                      <a:pt x="43" y="108"/>
                    </a:lnTo>
                    <a:lnTo>
                      <a:pt x="44" y="103"/>
                    </a:lnTo>
                    <a:lnTo>
                      <a:pt x="44" y="103"/>
                    </a:lnTo>
                    <a:lnTo>
                      <a:pt x="46" y="99"/>
                    </a:lnTo>
                    <a:lnTo>
                      <a:pt x="49" y="99"/>
                    </a:lnTo>
                    <a:lnTo>
                      <a:pt x="51" y="96"/>
                    </a:lnTo>
                    <a:lnTo>
                      <a:pt x="51" y="94"/>
                    </a:lnTo>
                    <a:lnTo>
                      <a:pt x="51" y="90"/>
                    </a:lnTo>
                    <a:lnTo>
                      <a:pt x="56" y="85"/>
                    </a:lnTo>
                    <a:lnTo>
                      <a:pt x="57" y="83"/>
                    </a:lnTo>
                    <a:lnTo>
                      <a:pt x="56" y="80"/>
                    </a:lnTo>
                    <a:lnTo>
                      <a:pt x="57" y="78"/>
                    </a:lnTo>
                    <a:lnTo>
                      <a:pt x="62" y="73"/>
                    </a:lnTo>
                    <a:lnTo>
                      <a:pt x="66" y="72"/>
                    </a:lnTo>
                    <a:lnTo>
                      <a:pt x="66" y="68"/>
                    </a:lnTo>
                    <a:lnTo>
                      <a:pt x="66" y="65"/>
                    </a:lnTo>
                    <a:lnTo>
                      <a:pt x="66" y="60"/>
                    </a:lnTo>
                    <a:lnTo>
                      <a:pt x="69" y="59"/>
                    </a:lnTo>
                    <a:lnTo>
                      <a:pt x="72" y="57"/>
                    </a:lnTo>
                    <a:lnTo>
                      <a:pt x="75" y="54"/>
                    </a:lnTo>
                    <a:lnTo>
                      <a:pt x="75" y="50"/>
                    </a:lnTo>
                    <a:lnTo>
                      <a:pt x="75" y="45"/>
                    </a:lnTo>
                    <a:lnTo>
                      <a:pt x="75" y="42"/>
                    </a:lnTo>
                    <a:lnTo>
                      <a:pt x="77" y="41"/>
                    </a:lnTo>
                    <a:lnTo>
                      <a:pt x="80" y="34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5" y="29"/>
                    </a:lnTo>
                    <a:lnTo>
                      <a:pt x="87" y="29"/>
                    </a:lnTo>
                    <a:lnTo>
                      <a:pt x="89" y="27"/>
                    </a:lnTo>
                    <a:lnTo>
                      <a:pt x="92" y="26"/>
                    </a:lnTo>
                    <a:lnTo>
                      <a:pt x="93" y="23"/>
                    </a:lnTo>
                    <a:lnTo>
                      <a:pt x="92" y="19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7" y="13"/>
                    </a:lnTo>
                    <a:lnTo>
                      <a:pt x="87" y="11"/>
                    </a:lnTo>
                    <a:lnTo>
                      <a:pt x="87" y="6"/>
                    </a:lnTo>
                    <a:lnTo>
                      <a:pt x="85" y="3"/>
                    </a:lnTo>
                    <a:lnTo>
                      <a:pt x="85" y="0"/>
                    </a:lnTo>
                    <a:lnTo>
                      <a:pt x="92" y="3"/>
                    </a:lnTo>
                    <a:lnTo>
                      <a:pt x="97" y="6"/>
                    </a:lnTo>
                    <a:lnTo>
                      <a:pt x="97" y="11"/>
                    </a:lnTo>
                    <a:lnTo>
                      <a:pt x="98" y="13"/>
                    </a:lnTo>
                    <a:lnTo>
                      <a:pt x="98" y="16"/>
                    </a:lnTo>
                    <a:lnTo>
                      <a:pt x="100" y="21"/>
                    </a:lnTo>
                    <a:lnTo>
                      <a:pt x="100" y="23"/>
                    </a:lnTo>
                    <a:lnTo>
                      <a:pt x="100" y="24"/>
                    </a:lnTo>
                    <a:lnTo>
                      <a:pt x="100" y="26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34"/>
                    </a:lnTo>
                    <a:lnTo>
                      <a:pt x="98" y="37"/>
                    </a:lnTo>
                    <a:lnTo>
                      <a:pt x="102" y="41"/>
                    </a:lnTo>
                    <a:lnTo>
                      <a:pt x="103" y="42"/>
                    </a:lnTo>
                    <a:lnTo>
                      <a:pt x="105" y="45"/>
                    </a:lnTo>
                    <a:lnTo>
                      <a:pt x="108" y="49"/>
                    </a:lnTo>
                    <a:lnTo>
                      <a:pt x="110" y="50"/>
                    </a:lnTo>
                    <a:lnTo>
                      <a:pt x="108" y="50"/>
                    </a:lnTo>
                    <a:lnTo>
                      <a:pt x="106" y="50"/>
                    </a:lnTo>
                    <a:lnTo>
                      <a:pt x="105" y="50"/>
                    </a:lnTo>
                    <a:lnTo>
                      <a:pt x="102" y="49"/>
                    </a:lnTo>
                    <a:lnTo>
                      <a:pt x="98" y="50"/>
                    </a:lnTo>
                    <a:lnTo>
                      <a:pt x="97" y="49"/>
                    </a:lnTo>
                    <a:lnTo>
                      <a:pt x="93" y="50"/>
                    </a:lnTo>
                    <a:lnTo>
                      <a:pt x="92" y="49"/>
                    </a:lnTo>
                    <a:lnTo>
                      <a:pt x="90" y="49"/>
                    </a:lnTo>
                    <a:lnTo>
                      <a:pt x="87" y="49"/>
                    </a:lnTo>
                    <a:lnTo>
                      <a:pt x="87" y="52"/>
                    </a:lnTo>
                    <a:lnTo>
                      <a:pt x="85" y="54"/>
                    </a:lnTo>
                    <a:lnTo>
                      <a:pt x="85" y="57"/>
                    </a:lnTo>
                    <a:lnTo>
                      <a:pt x="87" y="59"/>
                    </a:lnTo>
                    <a:lnTo>
                      <a:pt x="89" y="60"/>
                    </a:lnTo>
                    <a:lnTo>
                      <a:pt x="89" y="62"/>
                    </a:lnTo>
                    <a:lnTo>
                      <a:pt x="92" y="62"/>
                    </a:lnTo>
                    <a:lnTo>
                      <a:pt x="97" y="67"/>
                    </a:lnTo>
                    <a:lnTo>
                      <a:pt x="103" y="73"/>
                    </a:lnTo>
                    <a:lnTo>
                      <a:pt x="105" y="77"/>
                    </a:lnTo>
                    <a:lnTo>
                      <a:pt x="108" y="80"/>
                    </a:lnTo>
                    <a:lnTo>
                      <a:pt x="110" y="85"/>
                    </a:lnTo>
                    <a:lnTo>
                      <a:pt x="110" y="88"/>
                    </a:lnTo>
                    <a:lnTo>
                      <a:pt x="108" y="93"/>
                    </a:lnTo>
                    <a:lnTo>
                      <a:pt x="105" y="93"/>
                    </a:lnTo>
                    <a:lnTo>
                      <a:pt x="103" y="96"/>
                    </a:lnTo>
                    <a:lnTo>
                      <a:pt x="102" y="103"/>
                    </a:lnTo>
                    <a:lnTo>
                      <a:pt x="100" y="106"/>
                    </a:lnTo>
                    <a:lnTo>
                      <a:pt x="97" y="111"/>
                    </a:lnTo>
                    <a:lnTo>
                      <a:pt x="95" y="111"/>
                    </a:lnTo>
                    <a:lnTo>
                      <a:pt x="93" y="114"/>
                    </a:lnTo>
                    <a:lnTo>
                      <a:pt x="93" y="117"/>
                    </a:lnTo>
                    <a:lnTo>
                      <a:pt x="95" y="121"/>
                    </a:lnTo>
                    <a:lnTo>
                      <a:pt x="93" y="126"/>
                    </a:lnTo>
                    <a:lnTo>
                      <a:pt x="95" y="129"/>
                    </a:lnTo>
                    <a:lnTo>
                      <a:pt x="95" y="134"/>
                    </a:lnTo>
                    <a:lnTo>
                      <a:pt x="95" y="140"/>
                    </a:lnTo>
                    <a:lnTo>
                      <a:pt x="97" y="140"/>
                    </a:lnTo>
                    <a:lnTo>
                      <a:pt x="102" y="144"/>
                    </a:lnTo>
                    <a:lnTo>
                      <a:pt x="105" y="147"/>
                    </a:lnTo>
                    <a:lnTo>
                      <a:pt x="105" y="150"/>
                    </a:lnTo>
                    <a:lnTo>
                      <a:pt x="110" y="155"/>
                    </a:lnTo>
                    <a:lnTo>
                      <a:pt x="111" y="160"/>
                    </a:lnTo>
                    <a:lnTo>
                      <a:pt x="113" y="161"/>
                    </a:lnTo>
                    <a:lnTo>
                      <a:pt x="118" y="166"/>
                    </a:lnTo>
                    <a:lnTo>
                      <a:pt x="120" y="170"/>
                    </a:lnTo>
                    <a:lnTo>
                      <a:pt x="120" y="171"/>
                    </a:lnTo>
                    <a:lnTo>
                      <a:pt x="120" y="173"/>
                    </a:lnTo>
                    <a:lnTo>
                      <a:pt x="120" y="173"/>
                    </a:lnTo>
                    <a:lnTo>
                      <a:pt x="120" y="175"/>
                    </a:lnTo>
                    <a:lnTo>
                      <a:pt x="118" y="176"/>
                    </a:lnTo>
                    <a:lnTo>
                      <a:pt x="116" y="179"/>
                    </a:lnTo>
                    <a:lnTo>
                      <a:pt x="116" y="179"/>
                    </a:lnTo>
                    <a:lnTo>
                      <a:pt x="118" y="183"/>
                    </a:lnTo>
                    <a:lnTo>
                      <a:pt x="118" y="184"/>
                    </a:lnTo>
                    <a:lnTo>
                      <a:pt x="115" y="184"/>
                    </a:lnTo>
                    <a:lnTo>
                      <a:pt x="115" y="184"/>
                    </a:lnTo>
                    <a:lnTo>
                      <a:pt x="113" y="184"/>
                    </a:lnTo>
                    <a:lnTo>
                      <a:pt x="113" y="183"/>
                    </a:lnTo>
                    <a:lnTo>
                      <a:pt x="111" y="183"/>
                    </a:lnTo>
                    <a:lnTo>
                      <a:pt x="108" y="183"/>
                    </a:lnTo>
                    <a:lnTo>
                      <a:pt x="106" y="183"/>
                    </a:lnTo>
                    <a:lnTo>
                      <a:pt x="103" y="181"/>
                    </a:lnTo>
                    <a:lnTo>
                      <a:pt x="103" y="181"/>
                    </a:lnTo>
                    <a:lnTo>
                      <a:pt x="102" y="183"/>
                    </a:lnTo>
                    <a:lnTo>
                      <a:pt x="102" y="183"/>
                    </a:lnTo>
                    <a:lnTo>
                      <a:pt x="100" y="181"/>
                    </a:lnTo>
                    <a:lnTo>
                      <a:pt x="98" y="181"/>
                    </a:lnTo>
                    <a:lnTo>
                      <a:pt x="97" y="181"/>
                    </a:lnTo>
                    <a:lnTo>
                      <a:pt x="95" y="179"/>
                    </a:lnTo>
                    <a:lnTo>
                      <a:pt x="93" y="179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71" y="179"/>
                    </a:lnTo>
                    <a:lnTo>
                      <a:pt x="69" y="178"/>
                    </a:lnTo>
                    <a:lnTo>
                      <a:pt x="69" y="178"/>
                    </a:lnTo>
                    <a:lnTo>
                      <a:pt x="67" y="178"/>
                    </a:lnTo>
                    <a:lnTo>
                      <a:pt x="64" y="178"/>
                    </a:lnTo>
                    <a:lnTo>
                      <a:pt x="64" y="178"/>
                    </a:lnTo>
                    <a:lnTo>
                      <a:pt x="61" y="178"/>
                    </a:lnTo>
                    <a:lnTo>
                      <a:pt x="59" y="178"/>
                    </a:lnTo>
                    <a:lnTo>
                      <a:pt x="57" y="178"/>
                    </a:lnTo>
                    <a:lnTo>
                      <a:pt x="53" y="178"/>
                    </a:lnTo>
                    <a:lnTo>
                      <a:pt x="51" y="178"/>
                    </a:lnTo>
                    <a:lnTo>
                      <a:pt x="46" y="178"/>
                    </a:lnTo>
                    <a:lnTo>
                      <a:pt x="44" y="178"/>
                    </a:lnTo>
                    <a:lnTo>
                      <a:pt x="43" y="178"/>
                    </a:lnTo>
                    <a:lnTo>
                      <a:pt x="41" y="179"/>
                    </a:lnTo>
                    <a:lnTo>
                      <a:pt x="41" y="179"/>
                    </a:lnTo>
                    <a:lnTo>
                      <a:pt x="41" y="179"/>
                    </a:lnTo>
                    <a:lnTo>
                      <a:pt x="23" y="179"/>
                    </a:lnTo>
                    <a:lnTo>
                      <a:pt x="22" y="179"/>
                    </a:lnTo>
                    <a:lnTo>
                      <a:pt x="20" y="179"/>
                    </a:lnTo>
                    <a:lnTo>
                      <a:pt x="18" y="179"/>
                    </a:lnTo>
                    <a:lnTo>
                      <a:pt x="20" y="176"/>
                    </a:lnTo>
                    <a:lnTo>
                      <a:pt x="18" y="175"/>
                    </a:lnTo>
                    <a:lnTo>
                      <a:pt x="20" y="168"/>
                    </a:lnTo>
                    <a:lnTo>
                      <a:pt x="20" y="161"/>
                    </a:lnTo>
                    <a:lnTo>
                      <a:pt x="17" y="158"/>
                    </a:lnTo>
                    <a:lnTo>
                      <a:pt x="17" y="153"/>
                    </a:lnTo>
                    <a:lnTo>
                      <a:pt x="18" y="152"/>
                    </a:lnTo>
                    <a:lnTo>
                      <a:pt x="15" y="147"/>
                    </a:lnTo>
                    <a:lnTo>
                      <a:pt x="10" y="150"/>
                    </a:lnTo>
                    <a:lnTo>
                      <a:pt x="8" y="148"/>
                    </a:lnTo>
                    <a:lnTo>
                      <a:pt x="7" y="147"/>
                    </a:lnTo>
                    <a:lnTo>
                      <a:pt x="4" y="137"/>
                    </a:lnTo>
                    <a:lnTo>
                      <a:pt x="2" y="139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8" name="Freeform 282">
                <a:extLst>
                  <a:ext uri="{FF2B5EF4-FFF2-40B4-BE49-F238E27FC236}">
                    <a16:creationId xmlns:a16="http://schemas.microsoft.com/office/drawing/2014/main" xmlns="" id="{10A2C8C4-697A-48B3-A8F7-CCC0FBE85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2023"/>
                <a:ext cx="90" cy="99"/>
              </a:xfrm>
              <a:custGeom>
                <a:avLst/>
                <a:gdLst>
                  <a:gd name="T0" fmla="*/ 41 w 90"/>
                  <a:gd name="T1" fmla="*/ 1 h 99"/>
                  <a:gd name="T2" fmla="*/ 44 w 90"/>
                  <a:gd name="T3" fmla="*/ 0 h 99"/>
                  <a:gd name="T4" fmla="*/ 51 w 90"/>
                  <a:gd name="T5" fmla="*/ 0 h 99"/>
                  <a:gd name="T6" fmla="*/ 57 w 90"/>
                  <a:gd name="T7" fmla="*/ 0 h 99"/>
                  <a:gd name="T8" fmla="*/ 61 w 90"/>
                  <a:gd name="T9" fmla="*/ 0 h 99"/>
                  <a:gd name="T10" fmla="*/ 64 w 90"/>
                  <a:gd name="T11" fmla="*/ 0 h 99"/>
                  <a:gd name="T12" fmla="*/ 69 w 90"/>
                  <a:gd name="T13" fmla="*/ 0 h 99"/>
                  <a:gd name="T14" fmla="*/ 71 w 90"/>
                  <a:gd name="T15" fmla="*/ 1 h 99"/>
                  <a:gd name="T16" fmla="*/ 69 w 90"/>
                  <a:gd name="T17" fmla="*/ 5 h 99"/>
                  <a:gd name="T18" fmla="*/ 71 w 90"/>
                  <a:gd name="T19" fmla="*/ 11 h 99"/>
                  <a:gd name="T20" fmla="*/ 71 w 90"/>
                  <a:gd name="T21" fmla="*/ 16 h 99"/>
                  <a:gd name="T22" fmla="*/ 75 w 90"/>
                  <a:gd name="T23" fmla="*/ 16 h 99"/>
                  <a:gd name="T24" fmla="*/ 80 w 90"/>
                  <a:gd name="T25" fmla="*/ 15 h 99"/>
                  <a:gd name="T26" fmla="*/ 89 w 90"/>
                  <a:gd name="T27" fmla="*/ 15 h 99"/>
                  <a:gd name="T28" fmla="*/ 90 w 90"/>
                  <a:gd name="T29" fmla="*/ 19 h 99"/>
                  <a:gd name="T30" fmla="*/ 90 w 90"/>
                  <a:gd name="T31" fmla="*/ 24 h 99"/>
                  <a:gd name="T32" fmla="*/ 87 w 90"/>
                  <a:gd name="T33" fmla="*/ 28 h 99"/>
                  <a:gd name="T34" fmla="*/ 84 w 90"/>
                  <a:gd name="T35" fmla="*/ 31 h 99"/>
                  <a:gd name="T36" fmla="*/ 85 w 90"/>
                  <a:gd name="T37" fmla="*/ 34 h 99"/>
                  <a:gd name="T38" fmla="*/ 84 w 90"/>
                  <a:gd name="T39" fmla="*/ 36 h 99"/>
                  <a:gd name="T40" fmla="*/ 82 w 90"/>
                  <a:gd name="T41" fmla="*/ 37 h 99"/>
                  <a:gd name="T42" fmla="*/ 84 w 90"/>
                  <a:gd name="T43" fmla="*/ 41 h 99"/>
                  <a:gd name="T44" fmla="*/ 85 w 90"/>
                  <a:gd name="T45" fmla="*/ 42 h 99"/>
                  <a:gd name="T46" fmla="*/ 89 w 90"/>
                  <a:gd name="T47" fmla="*/ 47 h 99"/>
                  <a:gd name="T48" fmla="*/ 90 w 90"/>
                  <a:gd name="T49" fmla="*/ 52 h 99"/>
                  <a:gd name="T50" fmla="*/ 85 w 90"/>
                  <a:gd name="T51" fmla="*/ 70 h 99"/>
                  <a:gd name="T52" fmla="*/ 85 w 90"/>
                  <a:gd name="T53" fmla="*/ 77 h 99"/>
                  <a:gd name="T54" fmla="*/ 84 w 90"/>
                  <a:gd name="T55" fmla="*/ 73 h 99"/>
                  <a:gd name="T56" fmla="*/ 77 w 90"/>
                  <a:gd name="T57" fmla="*/ 73 h 99"/>
                  <a:gd name="T58" fmla="*/ 72 w 90"/>
                  <a:gd name="T59" fmla="*/ 73 h 99"/>
                  <a:gd name="T60" fmla="*/ 67 w 90"/>
                  <a:gd name="T61" fmla="*/ 72 h 99"/>
                  <a:gd name="T62" fmla="*/ 61 w 90"/>
                  <a:gd name="T63" fmla="*/ 65 h 99"/>
                  <a:gd name="T64" fmla="*/ 61 w 90"/>
                  <a:gd name="T65" fmla="*/ 70 h 99"/>
                  <a:gd name="T66" fmla="*/ 54 w 90"/>
                  <a:gd name="T67" fmla="*/ 73 h 99"/>
                  <a:gd name="T68" fmla="*/ 51 w 90"/>
                  <a:gd name="T69" fmla="*/ 75 h 99"/>
                  <a:gd name="T70" fmla="*/ 46 w 90"/>
                  <a:gd name="T71" fmla="*/ 75 h 99"/>
                  <a:gd name="T72" fmla="*/ 41 w 90"/>
                  <a:gd name="T73" fmla="*/ 77 h 99"/>
                  <a:gd name="T74" fmla="*/ 43 w 90"/>
                  <a:gd name="T75" fmla="*/ 83 h 99"/>
                  <a:gd name="T76" fmla="*/ 48 w 90"/>
                  <a:gd name="T77" fmla="*/ 82 h 99"/>
                  <a:gd name="T78" fmla="*/ 51 w 90"/>
                  <a:gd name="T79" fmla="*/ 85 h 99"/>
                  <a:gd name="T80" fmla="*/ 51 w 90"/>
                  <a:gd name="T81" fmla="*/ 95 h 99"/>
                  <a:gd name="T82" fmla="*/ 46 w 90"/>
                  <a:gd name="T83" fmla="*/ 91 h 99"/>
                  <a:gd name="T84" fmla="*/ 43 w 90"/>
                  <a:gd name="T85" fmla="*/ 93 h 99"/>
                  <a:gd name="T86" fmla="*/ 40 w 90"/>
                  <a:gd name="T87" fmla="*/ 96 h 99"/>
                  <a:gd name="T88" fmla="*/ 38 w 90"/>
                  <a:gd name="T89" fmla="*/ 99 h 99"/>
                  <a:gd name="T90" fmla="*/ 35 w 90"/>
                  <a:gd name="T91" fmla="*/ 95 h 99"/>
                  <a:gd name="T92" fmla="*/ 26 w 90"/>
                  <a:gd name="T93" fmla="*/ 88 h 99"/>
                  <a:gd name="T94" fmla="*/ 15 w 90"/>
                  <a:gd name="T95" fmla="*/ 78 h 99"/>
                  <a:gd name="T96" fmla="*/ 13 w 90"/>
                  <a:gd name="T97" fmla="*/ 73 h 99"/>
                  <a:gd name="T98" fmla="*/ 8 w 90"/>
                  <a:gd name="T99" fmla="*/ 68 h 99"/>
                  <a:gd name="T100" fmla="*/ 5 w 90"/>
                  <a:gd name="T101" fmla="*/ 59 h 99"/>
                  <a:gd name="T102" fmla="*/ 4 w 90"/>
                  <a:gd name="T103" fmla="*/ 55 h 99"/>
                  <a:gd name="T104" fmla="*/ 0 w 90"/>
                  <a:gd name="T105" fmla="*/ 46 h 99"/>
                  <a:gd name="T106" fmla="*/ 7 w 90"/>
                  <a:gd name="T107" fmla="*/ 46 h 99"/>
                  <a:gd name="T108" fmla="*/ 8 w 90"/>
                  <a:gd name="T109" fmla="*/ 31 h 99"/>
                  <a:gd name="T110" fmla="*/ 18 w 90"/>
                  <a:gd name="T111" fmla="*/ 32 h 99"/>
                  <a:gd name="T112" fmla="*/ 10 w 90"/>
                  <a:gd name="T113" fmla="*/ 26 h 99"/>
                  <a:gd name="T114" fmla="*/ 13 w 90"/>
                  <a:gd name="T115" fmla="*/ 21 h 99"/>
                  <a:gd name="T116" fmla="*/ 17 w 90"/>
                  <a:gd name="T117" fmla="*/ 19 h 99"/>
                  <a:gd name="T118" fmla="*/ 20 w 90"/>
                  <a:gd name="T119" fmla="*/ 21 h 99"/>
                  <a:gd name="T120" fmla="*/ 41 w 90"/>
                  <a:gd name="T121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0" h="99">
                    <a:moveTo>
                      <a:pt x="41" y="1"/>
                    </a:moveTo>
                    <a:lnTo>
                      <a:pt x="41" y="1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3" y="0"/>
                    </a:lnTo>
                    <a:lnTo>
                      <a:pt x="57" y="0"/>
                    </a:lnTo>
                    <a:lnTo>
                      <a:pt x="59" y="0"/>
                    </a:lnTo>
                    <a:lnTo>
                      <a:pt x="61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1" y="1"/>
                    </a:lnTo>
                    <a:lnTo>
                      <a:pt x="71" y="1"/>
                    </a:lnTo>
                    <a:lnTo>
                      <a:pt x="69" y="5"/>
                    </a:lnTo>
                    <a:lnTo>
                      <a:pt x="71" y="8"/>
                    </a:lnTo>
                    <a:lnTo>
                      <a:pt x="71" y="11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2" y="18"/>
                    </a:lnTo>
                    <a:lnTo>
                      <a:pt x="75" y="16"/>
                    </a:lnTo>
                    <a:lnTo>
                      <a:pt x="77" y="16"/>
                    </a:lnTo>
                    <a:lnTo>
                      <a:pt x="80" y="15"/>
                    </a:lnTo>
                    <a:lnTo>
                      <a:pt x="84" y="15"/>
                    </a:lnTo>
                    <a:lnTo>
                      <a:pt x="89" y="15"/>
                    </a:lnTo>
                    <a:lnTo>
                      <a:pt x="90" y="15"/>
                    </a:lnTo>
                    <a:lnTo>
                      <a:pt x="90" y="19"/>
                    </a:lnTo>
                    <a:lnTo>
                      <a:pt x="90" y="23"/>
                    </a:lnTo>
                    <a:lnTo>
                      <a:pt x="90" y="24"/>
                    </a:lnTo>
                    <a:lnTo>
                      <a:pt x="90" y="28"/>
                    </a:lnTo>
                    <a:lnTo>
                      <a:pt x="87" y="28"/>
                    </a:lnTo>
                    <a:lnTo>
                      <a:pt x="84" y="29"/>
                    </a:lnTo>
                    <a:lnTo>
                      <a:pt x="84" y="31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5" y="36"/>
                    </a:lnTo>
                    <a:lnTo>
                      <a:pt x="84" y="36"/>
                    </a:lnTo>
                    <a:lnTo>
                      <a:pt x="82" y="37"/>
                    </a:lnTo>
                    <a:lnTo>
                      <a:pt x="82" y="37"/>
                    </a:lnTo>
                    <a:lnTo>
                      <a:pt x="84" y="39"/>
                    </a:lnTo>
                    <a:lnTo>
                      <a:pt x="84" y="41"/>
                    </a:lnTo>
                    <a:lnTo>
                      <a:pt x="85" y="42"/>
                    </a:lnTo>
                    <a:lnTo>
                      <a:pt x="85" y="42"/>
                    </a:lnTo>
                    <a:lnTo>
                      <a:pt x="89" y="46"/>
                    </a:lnTo>
                    <a:lnTo>
                      <a:pt x="89" y="47"/>
                    </a:lnTo>
                    <a:lnTo>
                      <a:pt x="90" y="49"/>
                    </a:lnTo>
                    <a:lnTo>
                      <a:pt x="90" y="52"/>
                    </a:lnTo>
                    <a:lnTo>
                      <a:pt x="89" y="59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4" y="73"/>
                    </a:lnTo>
                    <a:lnTo>
                      <a:pt x="80" y="72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2" y="73"/>
                    </a:lnTo>
                    <a:lnTo>
                      <a:pt x="69" y="75"/>
                    </a:lnTo>
                    <a:lnTo>
                      <a:pt x="67" y="72"/>
                    </a:lnTo>
                    <a:lnTo>
                      <a:pt x="64" y="65"/>
                    </a:lnTo>
                    <a:lnTo>
                      <a:pt x="61" y="65"/>
                    </a:lnTo>
                    <a:lnTo>
                      <a:pt x="59" y="67"/>
                    </a:lnTo>
                    <a:lnTo>
                      <a:pt x="61" y="70"/>
                    </a:lnTo>
                    <a:lnTo>
                      <a:pt x="59" y="73"/>
                    </a:lnTo>
                    <a:lnTo>
                      <a:pt x="54" y="73"/>
                    </a:lnTo>
                    <a:lnTo>
                      <a:pt x="51" y="73"/>
                    </a:lnTo>
                    <a:lnTo>
                      <a:pt x="51" y="75"/>
                    </a:lnTo>
                    <a:lnTo>
                      <a:pt x="49" y="77"/>
                    </a:lnTo>
                    <a:lnTo>
                      <a:pt x="46" y="75"/>
                    </a:lnTo>
                    <a:lnTo>
                      <a:pt x="43" y="75"/>
                    </a:lnTo>
                    <a:lnTo>
                      <a:pt x="41" y="77"/>
                    </a:lnTo>
                    <a:lnTo>
                      <a:pt x="43" y="80"/>
                    </a:lnTo>
                    <a:lnTo>
                      <a:pt x="43" y="83"/>
                    </a:lnTo>
                    <a:lnTo>
                      <a:pt x="44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5"/>
                    </a:lnTo>
                    <a:lnTo>
                      <a:pt x="51" y="93"/>
                    </a:lnTo>
                    <a:lnTo>
                      <a:pt x="51" y="95"/>
                    </a:lnTo>
                    <a:lnTo>
                      <a:pt x="48" y="91"/>
                    </a:lnTo>
                    <a:lnTo>
                      <a:pt x="46" y="91"/>
                    </a:lnTo>
                    <a:lnTo>
                      <a:pt x="44" y="93"/>
                    </a:lnTo>
                    <a:lnTo>
                      <a:pt x="43" y="93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38" y="99"/>
                    </a:lnTo>
                    <a:lnTo>
                      <a:pt x="38" y="99"/>
                    </a:lnTo>
                    <a:lnTo>
                      <a:pt x="35" y="98"/>
                    </a:lnTo>
                    <a:lnTo>
                      <a:pt x="35" y="95"/>
                    </a:lnTo>
                    <a:lnTo>
                      <a:pt x="28" y="93"/>
                    </a:lnTo>
                    <a:lnTo>
                      <a:pt x="26" y="88"/>
                    </a:lnTo>
                    <a:lnTo>
                      <a:pt x="20" y="83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3" y="73"/>
                    </a:lnTo>
                    <a:lnTo>
                      <a:pt x="10" y="70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5" y="59"/>
                    </a:lnTo>
                    <a:lnTo>
                      <a:pt x="5" y="57"/>
                    </a:lnTo>
                    <a:lnTo>
                      <a:pt x="4" y="55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5" y="47"/>
                    </a:lnTo>
                    <a:lnTo>
                      <a:pt x="7" y="46"/>
                    </a:lnTo>
                    <a:lnTo>
                      <a:pt x="8" y="36"/>
                    </a:lnTo>
                    <a:lnTo>
                      <a:pt x="8" y="31"/>
                    </a:lnTo>
                    <a:lnTo>
                      <a:pt x="10" y="34"/>
                    </a:lnTo>
                    <a:lnTo>
                      <a:pt x="18" y="32"/>
                    </a:lnTo>
                    <a:lnTo>
                      <a:pt x="13" y="31"/>
                    </a:lnTo>
                    <a:lnTo>
                      <a:pt x="10" y="26"/>
                    </a:lnTo>
                    <a:lnTo>
                      <a:pt x="13" y="24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20" y="21"/>
                    </a:lnTo>
                    <a:lnTo>
                      <a:pt x="41" y="21"/>
                    </a:lnTo>
                    <a:lnTo>
                      <a:pt x="41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9" name="Freeform 283">
                <a:extLst>
                  <a:ext uri="{FF2B5EF4-FFF2-40B4-BE49-F238E27FC236}">
                    <a16:creationId xmlns:a16="http://schemas.microsoft.com/office/drawing/2014/main" xmlns="" id="{3E9967DA-3A1B-410B-A755-086B01E3D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2024"/>
                <a:ext cx="33" cy="20"/>
              </a:xfrm>
              <a:custGeom>
                <a:avLst/>
                <a:gdLst>
                  <a:gd name="T0" fmla="*/ 5 w 33"/>
                  <a:gd name="T1" fmla="*/ 20 h 20"/>
                  <a:gd name="T2" fmla="*/ 7 w 33"/>
                  <a:gd name="T3" fmla="*/ 20 h 20"/>
                  <a:gd name="T4" fmla="*/ 9 w 33"/>
                  <a:gd name="T5" fmla="*/ 18 h 20"/>
                  <a:gd name="T6" fmla="*/ 10 w 33"/>
                  <a:gd name="T7" fmla="*/ 18 h 20"/>
                  <a:gd name="T8" fmla="*/ 12 w 33"/>
                  <a:gd name="T9" fmla="*/ 20 h 20"/>
                  <a:gd name="T10" fmla="*/ 33 w 33"/>
                  <a:gd name="T11" fmla="*/ 20 h 20"/>
                  <a:gd name="T12" fmla="*/ 33 w 33"/>
                  <a:gd name="T13" fmla="*/ 0 h 20"/>
                  <a:gd name="T14" fmla="*/ 15 w 33"/>
                  <a:gd name="T15" fmla="*/ 0 h 20"/>
                  <a:gd name="T16" fmla="*/ 14 w 33"/>
                  <a:gd name="T17" fmla="*/ 0 h 20"/>
                  <a:gd name="T18" fmla="*/ 12 w 33"/>
                  <a:gd name="T19" fmla="*/ 0 h 20"/>
                  <a:gd name="T20" fmla="*/ 10 w 33"/>
                  <a:gd name="T21" fmla="*/ 0 h 20"/>
                  <a:gd name="T22" fmla="*/ 9 w 33"/>
                  <a:gd name="T23" fmla="*/ 0 h 20"/>
                  <a:gd name="T24" fmla="*/ 10 w 33"/>
                  <a:gd name="T25" fmla="*/ 4 h 20"/>
                  <a:gd name="T26" fmla="*/ 5 w 33"/>
                  <a:gd name="T27" fmla="*/ 9 h 20"/>
                  <a:gd name="T28" fmla="*/ 0 w 33"/>
                  <a:gd name="T29" fmla="*/ 17 h 20"/>
                  <a:gd name="T30" fmla="*/ 5 w 33"/>
                  <a:gd name="T31" fmla="*/ 18 h 20"/>
                  <a:gd name="T32" fmla="*/ 5 w 33"/>
                  <a:gd name="T3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20">
                    <a:moveTo>
                      <a:pt x="5" y="20"/>
                    </a:moveTo>
                    <a:lnTo>
                      <a:pt x="7" y="20"/>
                    </a:lnTo>
                    <a:lnTo>
                      <a:pt x="9" y="18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33" y="20"/>
                    </a:lnTo>
                    <a:lnTo>
                      <a:pt x="33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10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5" y="18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0" name="Freeform 284">
                <a:extLst>
                  <a:ext uri="{FF2B5EF4-FFF2-40B4-BE49-F238E27FC236}">
                    <a16:creationId xmlns:a16="http://schemas.microsoft.com/office/drawing/2014/main" xmlns="" id="{B1771FDF-4D0C-4799-BA29-EEC7CE969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1997"/>
                <a:ext cx="121" cy="145"/>
              </a:xfrm>
              <a:custGeom>
                <a:avLst/>
                <a:gdLst>
                  <a:gd name="T0" fmla="*/ 3 w 121"/>
                  <a:gd name="T1" fmla="*/ 121 h 145"/>
                  <a:gd name="T2" fmla="*/ 8 w 121"/>
                  <a:gd name="T3" fmla="*/ 117 h 145"/>
                  <a:gd name="T4" fmla="*/ 13 w 121"/>
                  <a:gd name="T5" fmla="*/ 119 h 145"/>
                  <a:gd name="T6" fmla="*/ 10 w 121"/>
                  <a:gd name="T7" fmla="*/ 108 h 145"/>
                  <a:gd name="T8" fmla="*/ 5 w 121"/>
                  <a:gd name="T9" fmla="*/ 106 h 145"/>
                  <a:gd name="T10" fmla="*/ 8 w 121"/>
                  <a:gd name="T11" fmla="*/ 101 h 145"/>
                  <a:gd name="T12" fmla="*/ 13 w 121"/>
                  <a:gd name="T13" fmla="*/ 99 h 145"/>
                  <a:gd name="T14" fmla="*/ 23 w 121"/>
                  <a:gd name="T15" fmla="*/ 96 h 145"/>
                  <a:gd name="T16" fmla="*/ 26 w 121"/>
                  <a:gd name="T17" fmla="*/ 91 h 145"/>
                  <a:gd name="T18" fmla="*/ 34 w 121"/>
                  <a:gd name="T19" fmla="*/ 99 h 145"/>
                  <a:gd name="T20" fmla="*/ 42 w 121"/>
                  <a:gd name="T21" fmla="*/ 98 h 145"/>
                  <a:gd name="T22" fmla="*/ 47 w 121"/>
                  <a:gd name="T23" fmla="*/ 103 h 145"/>
                  <a:gd name="T24" fmla="*/ 51 w 121"/>
                  <a:gd name="T25" fmla="*/ 85 h 145"/>
                  <a:gd name="T26" fmla="*/ 51 w 121"/>
                  <a:gd name="T27" fmla="*/ 73 h 145"/>
                  <a:gd name="T28" fmla="*/ 47 w 121"/>
                  <a:gd name="T29" fmla="*/ 68 h 145"/>
                  <a:gd name="T30" fmla="*/ 44 w 121"/>
                  <a:gd name="T31" fmla="*/ 63 h 145"/>
                  <a:gd name="T32" fmla="*/ 47 w 121"/>
                  <a:gd name="T33" fmla="*/ 62 h 145"/>
                  <a:gd name="T34" fmla="*/ 46 w 121"/>
                  <a:gd name="T35" fmla="*/ 57 h 145"/>
                  <a:gd name="T36" fmla="*/ 52 w 121"/>
                  <a:gd name="T37" fmla="*/ 54 h 145"/>
                  <a:gd name="T38" fmla="*/ 52 w 121"/>
                  <a:gd name="T39" fmla="*/ 45 h 145"/>
                  <a:gd name="T40" fmla="*/ 46 w 121"/>
                  <a:gd name="T41" fmla="*/ 41 h 145"/>
                  <a:gd name="T42" fmla="*/ 37 w 121"/>
                  <a:gd name="T43" fmla="*/ 42 h 145"/>
                  <a:gd name="T44" fmla="*/ 33 w 121"/>
                  <a:gd name="T45" fmla="*/ 41 h 145"/>
                  <a:gd name="T46" fmla="*/ 31 w 121"/>
                  <a:gd name="T47" fmla="*/ 31 h 145"/>
                  <a:gd name="T48" fmla="*/ 54 w 121"/>
                  <a:gd name="T49" fmla="*/ 27 h 145"/>
                  <a:gd name="T50" fmla="*/ 59 w 121"/>
                  <a:gd name="T51" fmla="*/ 29 h 145"/>
                  <a:gd name="T52" fmla="*/ 64 w 121"/>
                  <a:gd name="T53" fmla="*/ 31 h 145"/>
                  <a:gd name="T54" fmla="*/ 65 w 121"/>
                  <a:gd name="T55" fmla="*/ 29 h 145"/>
                  <a:gd name="T56" fmla="*/ 73 w 121"/>
                  <a:gd name="T57" fmla="*/ 31 h 145"/>
                  <a:gd name="T58" fmla="*/ 77 w 121"/>
                  <a:gd name="T59" fmla="*/ 32 h 145"/>
                  <a:gd name="T60" fmla="*/ 80 w 121"/>
                  <a:gd name="T61" fmla="*/ 31 h 145"/>
                  <a:gd name="T62" fmla="*/ 80 w 121"/>
                  <a:gd name="T63" fmla="*/ 24 h 145"/>
                  <a:gd name="T64" fmla="*/ 93 w 121"/>
                  <a:gd name="T65" fmla="*/ 5 h 145"/>
                  <a:gd name="T66" fmla="*/ 104 w 121"/>
                  <a:gd name="T67" fmla="*/ 0 h 145"/>
                  <a:gd name="T68" fmla="*/ 111 w 121"/>
                  <a:gd name="T69" fmla="*/ 0 h 145"/>
                  <a:gd name="T70" fmla="*/ 116 w 121"/>
                  <a:gd name="T71" fmla="*/ 3 h 145"/>
                  <a:gd name="T72" fmla="*/ 121 w 121"/>
                  <a:gd name="T73" fmla="*/ 1 h 145"/>
                  <a:gd name="T74" fmla="*/ 119 w 121"/>
                  <a:gd name="T75" fmla="*/ 13 h 145"/>
                  <a:gd name="T76" fmla="*/ 113 w 121"/>
                  <a:gd name="T77" fmla="*/ 31 h 145"/>
                  <a:gd name="T78" fmla="*/ 109 w 121"/>
                  <a:gd name="T79" fmla="*/ 41 h 145"/>
                  <a:gd name="T80" fmla="*/ 108 w 121"/>
                  <a:gd name="T81" fmla="*/ 52 h 145"/>
                  <a:gd name="T82" fmla="*/ 106 w 121"/>
                  <a:gd name="T83" fmla="*/ 58 h 145"/>
                  <a:gd name="T84" fmla="*/ 100 w 121"/>
                  <a:gd name="T85" fmla="*/ 78 h 145"/>
                  <a:gd name="T86" fmla="*/ 91 w 121"/>
                  <a:gd name="T87" fmla="*/ 81 h 145"/>
                  <a:gd name="T88" fmla="*/ 85 w 121"/>
                  <a:gd name="T89" fmla="*/ 91 h 145"/>
                  <a:gd name="T90" fmla="*/ 78 w 121"/>
                  <a:gd name="T91" fmla="*/ 104 h 145"/>
                  <a:gd name="T92" fmla="*/ 78 w 121"/>
                  <a:gd name="T93" fmla="*/ 119 h 145"/>
                  <a:gd name="T94" fmla="*/ 73 w 121"/>
                  <a:gd name="T95" fmla="*/ 127 h 145"/>
                  <a:gd name="T96" fmla="*/ 64 w 121"/>
                  <a:gd name="T97" fmla="*/ 137 h 145"/>
                  <a:gd name="T98" fmla="*/ 54 w 121"/>
                  <a:gd name="T99" fmla="*/ 140 h 145"/>
                  <a:gd name="T100" fmla="*/ 54 w 121"/>
                  <a:gd name="T101" fmla="*/ 134 h 145"/>
                  <a:gd name="T102" fmla="*/ 46 w 121"/>
                  <a:gd name="T103" fmla="*/ 135 h 145"/>
                  <a:gd name="T104" fmla="*/ 41 w 121"/>
                  <a:gd name="T105" fmla="*/ 139 h 145"/>
                  <a:gd name="T106" fmla="*/ 36 w 121"/>
                  <a:gd name="T107" fmla="*/ 140 h 145"/>
                  <a:gd name="T108" fmla="*/ 31 w 121"/>
                  <a:gd name="T109" fmla="*/ 139 h 145"/>
                  <a:gd name="T110" fmla="*/ 29 w 121"/>
                  <a:gd name="T111" fmla="*/ 135 h 145"/>
                  <a:gd name="T112" fmla="*/ 23 w 121"/>
                  <a:gd name="T113" fmla="*/ 135 h 145"/>
                  <a:gd name="T114" fmla="*/ 18 w 121"/>
                  <a:gd name="T115" fmla="*/ 140 h 145"/>
                  <a:gd name="T116" fmla="*/ 13 w 121"/>
                  <a:gd name="T117" fmla="*/ 145 h 145"/>
                  <a:gd name="T118" fmla="*/ 10 w 121"/>
                  <a:gd name="T119" fmla="*/ 137 h 145"/>
                  <a:gd name="T120" fmla="*/ 3 w 121"/>
                  <a:gd name="T121" fmla="*/ 129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1" h="145">
                    <a:moveTo>
                      <a:pt x="0" y="125"/>
                    </a:moveTo>
                    <a:lnTo>
                      <a:pt x="2" y="122"/>
                    </a:lnTo>
                    <a:lnTo>
                      <a:pt x="3" y="121"/>
                    </a:lnTo>
                    <a:lnTo>
                      <a:pt x="5" y="119"/>
                    </a:lnTo>
                    <a:lnTo>
                      <a:pt x="6" y="119"/>
                    </a:lnTo>
                    <a:lnTo>
                      <a:pt x="8" y="117"/>
                    </a:lnTo>
                    <a:lnTo>
                      <a:pt x="10" y="117"/>
                    </a:lnTo>
                    <a:lnTo>
                      <a:pt x="13" y="121"/>
                    </a:lnTo>
                    <a:lnTo>
                      <a:pt x="13" y="119"/>
                    </a:lnTo>
                    <a:lnTo>
                      <a:pt x="13" y="111"/>
                    </a:lnTo>
                    <a:lnTo>
                      <a:pt x="11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5" y="109"/>
                    </a:lnTo>
                    <a:lnTo>
                      <a:pt x="5" y="106"/>
                    </a:lnTo>
                    <a:lnTo>
                      <a:pt x="3" y="103"/>
                    </a:lnTo>
                    <a:lnTo>
                      <a:pt x="5" y="101"/>
                    </a:lnTo>
                    <a:lnTo>
                      <a:pt x="8" y="101"/>
                    </a:lnTo>
                    <a:lnTo>
                      <a:pt x="11" y="103"/>
                    </a:lnTo>
                    <a:lnTo>
                      <a:pt x="13" y="101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3" y="96"/>
                    </a:lnTo>
                    <a:lnTo>
                      <a:pt x="21" y="93"/>
                    </a:lnTo>
                    <a:lnTo>
                      <a:pt x="23" y="91"/>
                    </a:lnTo>
                    <a:lnTo>
                      <a:pt x="26" y="91"/>
                    </a:lnTo>
                    <a:lnTo>
                      <a:pt x="29" y="98"/>
                    </a:lnTo>
                    <a:lnTo>
                      <a:pt x="31" y="101"/>
                    </a:lnTo>
                    <a:lnTo>
                      <a:pt x="34" y="99"/>
                    </a:lnTo>
                    <a:lnTo>
                      <a:pt x="37" y="99"/>
                    </a:lnTo>
                    <a:lnTo>
                      <a:pt x="39" y="99"/>
                    </a:lnTo>
                    <a:lnTo>
                      <a:pt x="42" y="98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7" y="103"/>
                    </a:lnTo>
                    <a:lnTo>
                      <a:pt x="47" y="99"/>
                    </a:lnTo>
                    <a:lnTo>
                      <a:pt x="47" y="96"/>
                    </a:lnTo>
                    <a:lnTo>
                      <a:pt x="51" y="85"/>
                    </a:lnTo>
                    <a:lnTo>
                      <a:pt x="52" y="78"/>
                    </a:lnTo>
                    <a:lnTo>
                      <a:pt x="52" y="75"/>
                    </a:lnTo>
                    <a:lnTo>
                      <a:pt x="51" y="73"/>
                    </a:lnTo>
                    <a:lnTo>
                      <a:pt x="51" y="72"/>
                    </a:lnTo>
                    <a:lnTo>
                      <a:pt x="47" y="68"/>
                    </a:lnTo>
                    <a:lnTo>
                      <a:pt x="47" y="68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6" y="62"/>
                    </a:lnTo>
                    <a:lnTo>
                      <a:pt x="47" y="62"/>
                    </a:lnTo>
                    <a:lnTo>
                      <a:pt x="47" y="60"/>
                    </a:lnTo>
                    <a:lnTo>
                      <a:pt x="47" y="58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9" y="54"/>
                    </a:lnTo>
                    <a:lnTo>
                      <a:pt x="52" y="54"/>
                    </a:lnTo>
                    <a:lnTo>
                      <a:pt x="52" y="50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1"/>
                    </a:lnTo>
                    <a:lnTo>
                      <a:pt x="51" y="41"/>
                    </a:lnTo>
                    <a:lnTo>
                      <a:pt x="46" y="41"/>
                    </a:lnTo>
                    <a:lnTo>
                      <a:pt x="42" y="41"/>
                    </a:lnTo>
                    <a:lnTo>
                      <a:pt x="39" y="42"/>
                    </a:lnTo>
                    <a:lnTo>
                      <a:pt x="37" y="42"/>
                    </a:lnTo>
                    <a:lnTo>
                      <a:pt x="34" y="44"/>
                    </a:lnTo>
                    <a:lnTo>
                      <a:pt x="33" y="42"/>
                    </a:lnTo>
                    <a:lnTo>
                      <a:pt x="33" y="41"/>
                    </a:lnTo>
                    <a:lnTo>
                      <a:pt x="33" y="37"/>
                    </a:lnTo>
                    <a:lnTo>
                      <a:pt x="33" y="34"/>
                    </a:lnTo>
                    <a:lnTo>
                      <a:pt x="31" y="31"/>
                    </a:lnTo>
                    <a:lnTo>
                      <a:pt x="33" y="27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5" y="27"/>
                    </a:lnTo>
                    <a:lnTo>
                      <a:pt x="57" y="27"/>
                    </a:lnTo>
                    <a:lnTo>
                      <a:pt x="59" y="29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1"/>
                    </a:lnTo>
                    <a:lnTo>
                      <a:pt x="64" y="31"/>
                    </a:lnTo>
                    <a:lnTo>
                      <a:pt x="65" y="29"/>
                    </a:lnTo>
                    <a:lnTo>
                      <a:pt x="65" y="29"/>
                    </a:lnTo>
                    <a:lnTo>
                      <a:pt x="68" y="31"/>
                    </a:lnTo>
                    <a:lnTo>
                      <a:pt x="70" y="31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5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80" y="32"/>
                    </a:lnTo>
                    <a:lnTo>
                      <a:pt x="80" y="31"/>
                    </a:lnTo>
                    <a:lnTo>
                      <a:pt x="78" y="27"/>
                    </a:lnTo>
                    <a:lnTo>
                      <a:pt x="78" y="27"/>
                    </a:lnTo>
                    <a:lnTo>
                      <a:pt x="80" y="24"/>
                    </a:lnTo>
                    <a:lnTo>
                      <a:pt x="82" y="23"/>
                    </a:lnTo>
                    <a:lnTo>
                      <a:pt x="90" y="9"/>
                    </a:lnTo>
                    <a:lnTo>
                      <a:pt x="93" y="5"/>
                    </a:lnTo>
                    <a:lnTo>
                      <a:pt x="96" y="5"/>
                    </a:lnTo>
                    <a:lnTo>
                      <a:pt x="96" y="3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1" y="0"/>
                    </a:lnTo>
                    <a:lnTo>
                      <a:pt x="113" y="0"/>
                    </a:lnTo>
                    <a:lnTo>
                      <a:pt x="114" y="1"/>
                    </a:lnTo>
                    <a:lnTo>
                      <a:pt x="116" y="3"/>
                    </a:lnTo>
                    <a:lnTo>
                      <a:pt x="117" y="1"/>
                    </a:lnTo>
                    <a:lnTo>
                      <a:pt x="121" y="1"/>
                    </a:lnTo>
                    <a:lnTo>
                      <a:pt x="121" y="1"/>
                    </a:lnTo>
                    <a:lnTo>
                      <a:pt x="121" y="5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7" y="16"/>
                    </a:lnTo>
                    <a:lnTo>
                      <a:pt x="111" y="26"/>
                    </a:lnTo>
                    <a:lnTo>
                      <a:pt x="113" y="31"/>
                    </a:lnTo>
                    <a:lnTo>
                      <a:pt x="111" y="34"/>
                    </a:lnTo>
                    <a:lnTo>
                      <a:pt x="111" y="37"/>
                    </a:lnTo>
                    <a:lnTo>
                      <a:pt x="109" y="41"/>
                    </a:lnTo>
                    <a:lnTo>
                      <a:pt x="108" y="45"/>
                    </a:lnTo>
                    <a:lnTo>
                      <a:pt x="109" y="47"/>
                    </a:lnTo>
                    <a:lnTo>
                      <a:pt x="108" y="52"/>
                    </a:lnTo>
                    <a:lnTo>
                      <a:pt x="109" y="54"/>
                    </a:lnTo>
                    <a:lnTo>
                      <a:pt x="108" y="58"/>
                    </a:lnTo>
                    <a:lnTo>
                      <a:pt x="106" y="58"/>
                    </a:lnTo>
                    <a:lnTo>
                      <a:pt x="104" y="65"/>
                    </a:lnTo>
                    <a:lnTo>
                      <a:pt x="104" y="70"/>
                    </a:lnTo>
                    <a:lnTo>
                      <a:pt x="100" y="78"/>
                    </a:lnTo>
                    <a:lnTo>
                      <a:pt x="96" y="80"/>
                    </a:lnTo>
                    <a:lnTo>
                      <a:pt x="93" y="81"/>
                    </a:lnTo>
                    <a:lnTo>
                      <a:pt x="91" y="81"/>
                    </a:lnTo>
                    <a:lnTo>
                      <a:pt x="88" y="83"/>
                    </a:lnTo>
                    <a:lnTo>
                      <a:pt x="85" y="88"/>
                    </a:lnTo>
                    <a:lnTo>
                      <a:pt x="85" y="91"/>
                    </a:lnTo>
                    <a:lnTo>
                      <a:pt x="80" y="96"/>
                    </a:lnTo>
                    <a:lnTo>
                      <a:pt x="78" y="99"/>
                    </a:lnTo>
                    <a:lnTo>
                      <a:pt x="78" y="104"/>
                    </a:lnTo>
                    <a:lnTo>
                      <a:pt x="80" y="106"/>
                    </a:lnTo>
                    <a:lnTo>
                      <a:pt x="80" y="114"/>
                    </a:lnTo>
                    <a:lnTo>
                      <a:pt x="78" y="119"/>
                    </a:lnTo>
                    <a:lnTo>
                      <a:pt x="78" y="122"/>
                    </a:lnTo>
                    <a:lnTo>
                      <a:pt x="75" y="125"/>
                    </a:lnTo>
                    <a:lnTo>
                      <a:pt x="73" y="127"/>
                    </a:lnTo>
                    <a:lnTo>
                      <a:pt x="70" y="129"/>
                    </a:lnTo>
                    <a:lnTo>
                      <a:pt x="70" y="130"/>
                    </a:lnTo>
                    <a:lnTo>
                      <a:pt x="64" y="137"/>
                    </a:lnTo>
                    <a:lnTo>
                      <a:pt x="60" y="140"/>
                    </a:lnTo>
                    <a:lnTo>
                      <a:pt x="57" y="142"/>
                    </a:lnTo>
                    <a:lnTo>
                      <a:pt x="54" y="140"/>
                    </a:lnTo>
                    <a:lnTo>
                      <a:pt x="52" y="137"/>
                    </a:lnTo>
                    <a:lnTo>
                      <a:pt x="52" y="137"/>
                    </a:lnTo>
                    <a:lnTo>
                      <a:pt x="54" y="134"/>
                    </a:lnTo>
                    <a:lnTo>
                      <a:pt x="54" y="132"/>
                    </a:lnTo>
                    <a:lnTo>
                      <a:pt x="49" y="134"/>
                    </a:lnTo>
                    <a:lnTo>
                      <a:pt x="46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9"/>
                    </a:lnTo>
                    <a:lnTo>
                      <a:pt x="39" y="142"/>
                    </a:lnTo>
                    <a:lnTo>
                      <a:pt x="36" y="142"/>
                    </a:lnTo>
                    <a:lnTo>
                      <a:pt x="36" y="140"/>
                    </a:lnTo>
                    <a:lnTo>
                      <a:pt x="36" y="139"/>
                    </a:lnTo>
                    <a:lnTo>
                      <a:pt x="33" y="139"/>
                    </a:lnTo>
                    <a:lnTo>
                      <a:pt x="31" y="139"/>
                    </a:lnTo>
                    <a:lnTo>
                      <a:pt x="31" y="140"/>
                    </a:lnTo>
                    <a:lnTo>
                      <a:pt x="31" y="137"/>
                    </a:lnTo>
                    <a:lnTo>
                      <a:pt x="29" y="135"/>
                    </a:lnTo>
                    <a:lnTo>
                      <a:pt x="28" y="134"/>
                    </a:lnTo>
                    <a:lnTo>
                      <a:pt x="26" y="134"/>
                    </a:lnTo>
                    <a:lnTo>
                      <a:pt x="23" y="135"/>
                    </a:lnTo>
                    <a:lnTo>
                      <a:pt x="21" y="135"/>
                    </a:lnTo>
                    <a:lnTo>
                      <a:pt x="19" y="139"/>
                    </a:lnTo>
                    <a:lnTo>
                      <a:pt x="18" y="140"/>
                    </a:lnTo>
                    <a:lnTo>
                      <a:pt x="16" y="140"/>
                    </a:lnTo>
                    <a:lnTo>
                      <a:pt x="15" y="143"/>
                    </a:lnTo>
                    <a:lnTo>
                      <a:pt x="13" y="145"/>
                    </a:lnTo>
                    <a:lnTo>
                      <a:pt x="11" y="143"/>
                    </a:lnTo>
                    <a:lnTo>
                      <a:pt x="11" y="140"/>
                    </a:lnTo>
                    <a:lnTo>
                      <a:pt x="10" y="137"/>
                    </a:lnTo>
                    <a:lnTo>
                      <a:pt x="10" y="134"/>
                    </a:lnTo>
                    <a:lnTo>
                      <a:pt x="5" y="130"/>
                    </a:lnTo>
                    <a:lnTo>
                      <a:pt x="3" y="129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1" name="Freeform 285">
                <a:extLst>
                  <a:ext uri="{FF2B5EF4-FFF2-40B4-BE49-F238E27FC236}">
                    <a16:creationId xmlns:a16="http://schemas.microsoft.com/office/drawing/2014/main" xmlns="" id="{151DBDF9-6847-47AC-AD6F-44D7A58B9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7" y="2131"/>
                <a:ext cx="18" cy="23"/>
              </a:xfrm>
              <a:custGeom>
                <a:avLst/>
                <a:gdLst>
                  <a:gd name="T0" fmla="*/ 18 w 18"/>
                  <a:gd name="T1" fmla="*/ 6 h 23"/>
                  <a:gd name="T2" fmla="*/ 18 w 18"/>
                  <a:gd name="T3" fmla="*/ 3 h 23"/>
                  <a:gd name="T4" fmla="*/ 16 w 18"/>
                  <a:gd name="T5" fmla="*/ 1 h 23"/>
                  <a:gd name="T6" fmla="*/ 15 w 18"/>
                  <a:gd name="T7" fmla="*/ 0 h 23"/>
                  <a:gd name="T8" fmla="*/ 13 w 18"/>
                  <a:gd name="T9" fmla="*/ 0 h 23"/>
                  <a:gd name="T10" fmla="*/ 10 w 18"/>
                  <a:gd name="T11" fmla="*/ 1 h 23"/>
                  <a:gd name="T12" fmla="*/ 8 w 18"/>
                  <a:gd name="T13" fmla="*/ 1 h 23"/>
                  <a:gd name="T14" fmla="*/ 6 w 18"/>
                  <a:gd name="T15" fmla="*/ 5 h 23"/>
                  <a:gd name="T16" fmla="*/ 5 w 18"/>
                  <a:gd name="T17" fmla="*/ 6 h 23"/>
                  <a:gd name="T18" fmla="*/ 3 w 18"/>
                  <a:gd name="T19" fmla="*/ 6 h 23"/>
                  <a:gd name="T20" fmla="*/ 2 w 18"/>
                  <a:gd name="T21" fmla="*/ 9 h 23"/>
                  <a:gd name="T22" fmla="*/ 0 w 18"/>
                  <a:gd name="T23" fmla="*/ 11 h 23"/>
                  <a:gd name="T24" fmla="*/ 2 w 18"/>
                  <a:gd name="T25" fmla="*/ 13 h 23"/>
                  <a:gd name="T26" fmla="*/ 3 w 18"/>
                  <a:gd name="T27" fmla="*/ 18 h 23"/>
                  <a:gd name="T28" fmla="*/ 2 w 18"/>
                  <a:gd name="T29" fmla="*/ 21 h 23"/>
                  <a:gd name="T30" fmla="*/ 2 w 18"/>
                  <a:gd name="T31" fmla="*/ 23 h 23"/>
                  <a:gd name="T32" fmla="*/ 5 w 18"/>
                  <a:gd name="T33" fmla="*/ 21 h 23"/>
                  <a:gd name="T34" fmla="*/ 8 w 18"/>
                  <a:gd name="T35" fmla="*/ 21 h 23"/>
                  <a:gd name="T36" fmla="*/ 10 w 18"/>
                  <a:gd name="T37" fmla="*/ 19 h 23"/>
                  <a:gd name="T38" fmla="*/ 10 w 18"/>
                  <a:gd name="T39" fmla="*/ 13 h 23"/>
                  <a:gd name="T40" fmla="*/ 11 w 18"/>
                  <a:gd name="T41" fmla="*/ 11 h 23"/>
                  <a:gd name="T42" fmla="*/ 15 w 18"/>
                  <a:gd name="T43" fmla="*/ 8 h 23"/>
                  <a:gd name="T44" fmla="*/ 18 w 18"/>
                  <a:gd name="T45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23">
                    <a:moveTo>
                      <a:pt x="18" y="6"/>
                    </a:moveTo>
                    <a:lnTo>
                      <a:pt x="18" y="3"/>
                    </a:lnTo>
                    <a:lnTo>
                      <a:pt x="16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6" y="5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8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5" y="21"/>
                    </a:lnTo>
                    <a:lnTo>
                      <a:pt x="8" y="21"/>
                    </a:lnTo>
                    <a:lnTo>
                      <a:pt x="10" y="19"/>
                    </a:lnTo>
                    <a:lnTo>
                      <a:pt x="10" y="13"/>
                    </a:lnTo>
                    <a:lnTo>
                      <a:pt x="11" y="11"/>
                    </a:lnTo>
                    <a:lnTo>
                      <a:pt x="15" y="8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2" name="Freeform 286">
                <a:extLst>
                  <a:ext uri="{FF2B5EF4-FFF2-40B4-BE49-F238E27FC236}">
                    <a16:creationId xmlns:a16="http://schemas.microsoft.com/office/drawing/2014/main" xmlns="" id="{A3319B6E-B08B-458F-A7DC-368EDF69E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3" y="2073"/>
                <a:ext cx="176" cy="185"/>
              </a:xfrm>
              <a:custGeom>
                <a:avLst/>
                <a:gdLst>
                  <a:gd name="T0" fmla="*/ 21 w 176"/>
                  <a:gd name="T1" fmla="*/ 4 h 185"/>
                  <a:gd name="T2" fmla="*/ 75 w 176"/>
                  <a:gd name="T3" fmla="*/ 0 h 185"/>
                  <a:gd name="T4" fmla="*/ 136 w 176"/>
                  <a:gd name="T5" fmla="*/ 41 h 185"/>
                  <a:gd name="T6" fmla="*/ 157 w 176"/>
                  <a:gd name="T7" fmla="*/ 59 h 185"/>
                  <a:gd name="T8" fmla="*/ 157 w 176"/>
                  <a:gd name="T9" fmla="*/ 63 h 185"/>
                  <a:gd name="T10" fmla="*/ 150 w 176"/>
                  <a:gd name="T11" fmla="*/ 82 h 185"/>
                  <a:gd name="T12" fmla="*/ 158 w 176"/>
                  <a:gd name="T13" fmla="*/ 94 h 185"/>
                  <a:gd name="T14" fmla="*/ 162 w 176"/>
                  <a:gd name="T15" fmla="*/ 102 h 185"/>
                  <a:gd name="T16" fmla="*/ 157 w 176"/>
                  <a:gd name="T17" fmla="*/ 107 h 185"/>
                  <a:gd name="T18" fmla="*/ 160 w 176"/>
                  <a:gd name="T19" fmla="*/ 118 h 185"/>
                  <a:gd name="T20" fmla="*/ 160 w 176"/>
                  <a:gd name="T21" fmla="*/ 128 h 185"/>
                  <a:gd name="T22" fmla="*/ 160 w 176"/>
                  <a:gd name="T23" fmla="*/ 133 h 185"/>
                  <a:gd name="T24" fmla="*/ 162 w 176"/>
                  <a:gd name="T25" fmla="*/ 139 h 185"/>
                  <a:gd name="T26" fmla="*/ 168 w 176"/>
                  <a:gd name="T27" fmla="*/ 152 h 185"/>
                  <a:gd name="T28" fmla="*/ 176 w 176"/>
                  <a:gd name="T29" fmla="*/ 157 h 185"/>
                  <a:gd name="T30" fmla="*/ 175 w 176"/>
                  <a:gd name="T31" fmla="*/ 159 h 185"/>
                  <a:gd name="T32" fmla="*/ 168 w 176"/>
                  <a:gd name="T33" fmla="*/ 164 h 185"/>
                  <a:gd name="T34" fmla="*/ 158 w 176"/>
                  <a:gd name="T35" fmla="*/ 167 h 185"/>
                  <a:gd name="T36" fmla="*/ 153 w 176"/>
                  <a:gd name="T37" fmla="*/ 167 h 185"/>
                  <a:gd name="T38" fmla="*/ 142 w 176"/>
                  <a:gd name="T39" fmla="*/ 172 h 185"/>
                  <a:gd name="T40" fmla="*/ 136 w 176"/>
                  <a:gd name="T41" fmla="*/ 169 h 185"/>
                  <a:gd name="T42" fmla="*/ 134 w 176"/>
                  <a:gd name="T43" fmla="*/ 175 h 185"/>
                  <a:gd name="T44" fmla="*/ 124 w 176"/>
                  <a:gd name="T45" fmla="*/ 175 h 185"/>
                  <a:gd name="T46" fmla="*/ 121 w 176"/>
                  <a:gd name="T47" fmla="*/ 174 h 185"/>
                  <a:gd name="T48" fmla="*/ 114 w 176"/>
                  <a:gd name="T49" fmla="*/ 177 h 185"/>
                  <a:gd name="T50" fmla="*/ 108 w 176"/>
                  <a:gd name="T51" fmla="*/ 175 h 185"/>
                  <a:gd name="T52" fmla="*/ 101 w 176"/>
                  <a:gd name="T53" fmla="*/ 174 h 185"/>
                  <a:gd name="T54" fmla="*/ 98 w 176"/>
                  <a:gd name="T55" fmla="*/ 174 h 185"/>
                  <a:gd name="T56" fmla="*/ 78 w 176"/>
                  <a:gd name="T57" fmla="*/ 185 h 185"/>
                  <a:gd name="T58" fmla="*/ 72 w 176"/>
                  <a:gd name="T59" fmla="*/ 146 h 185"/>
                  <a:gd name="T60" fmla="*/ 69 w 176"/>
                  <a:gd name="T61" fmla="*/ 143 h 185"/>
                  <a:gd name="T62" fmla="*/ 64 w 176"/>
                  <a:gd name="T63" fmla="*/ 141 h 185"/>
                  <a:gd name="T64" fmla="*/ 60 w 176"/>
                  <a:gd name="T65" fmla="*/ 141 h 185"/>
                  <a:gd name="T66" fmla="*/ 57 w 176"/>
                  <a:gd name="T67" fmla="*/ 139 h 185"/>
                  <a:gd name="T68" fmla="*/ 52 w 176"/>
                  <a:gd name="T69" fmla="*/ 136 h 185"/>
                  <a:gd name="T70" fmla="*/ 49 w 176"/>
                  <a:gd name="T71" fmla="*/ 131 h 185"/>
                  <a:gd name="T72" fmla="*/ 36 w 176"/>
                  <a:gd name="T73" fmla="*/ 128 h 185"/>
                  <a:gd name="T74" fmla="*/ 33 w 176"/>
                  <a:gd name="T75" fmla="*/ 123 h 185"/>
                  <a:gd name="T76" fmla="*/ 26 w 176"/>
                  <a:gd name="T77" fmla="*/ 123 h 185"/>
                  <a:gd name="T78" fmla="*/ 5 w 176"/>
                  <a:gd name="T79" fmla="*/ 92 h 185"/>
                  <a:gd name="T80" fmla="*/ 8 w 176"/>
                  <a:gd name="T81" fmla="*/ 59 h 185"/>
                  <a:gd name="T82" fmla="*/ 20 w 176"/>
                  <a:gd name="T83" fmla="*/ 49 h 185"/>
                  <a:gd name="T84" fmla="*/ 26 w 176"/>
                  <a:gd name="T85" fmla="*/ 43 h 185"/>
                  <a:gd name="T86" fmla="*/ 24 w 176"/>
                  <a:gd name="T87" fmla="*/ 35 h 185"/>
                  <a:gd name="T88" fmla="*/ 21 w 176"/>
                  <a:gd name="T89" fmla="*/ 30 h 185"/>
                  <a:gd name="T90" fmla="*/ 21 w 176"/>
                  <a:gd name="T91" fmla="*/ 27 h 185"/>
                  <a:gd name="T92" fmla="*/ 24 w 176"/>
                  <a:gd name="T93" fmla="*/ 25 h 185"/>
                  <a:gd name="T94" fmla="*/ 26 w 176"/>
                  <a:gd name="T95" fmla="*/ 18 h 185"/>
                  <a:gd name="T96" fmla="*/ 23 w 176"/>
                  <a:gd name="T97" fmla="*/ 9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6" h="185">
                    <a:moveTo>
                      <a:pt x="20" y="4"/>
                    </a:moveTo>
                    <a:lnTo>
                      <a:pt x="20" y="4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42" y="2"/>
                    </a:lnTo>
                    <a:lnTo>
                      <a:pt x="75" y="0"/>
                    </a:lnTo>
                    <a:lnTo>
                      <a:pt x="132" y="35"/>
                    </a:lnTo>
                    <a:lnTo>
                      <a:pt x="136" y="40"/>
                    </a:lnTo>
                    <a:lnTo>
                      <a:pt x="136" y="41"/>
                    </a:lnTo>
                    <a:lnTo>
                      <a:pt x="136" y="45"/>
                    </a:lnTo>
                    <a:lnTo>
                      <a:pt x="137" y="46"/>
                    </a:lnTo>
                    <a:lnTo>
                      <a:pt x="157" y="59"/>
                    </a:lnTo>
                    <a:lnTo>
                      <a:pt x="157" y="59"/>
                    </a:lnTo>
                    <a:lnTo>
                      <a:pt x="157" y="61"/>
                    </a:lnTo>
                    <a:lnTo>
                      <a:pt x="157" y="63"/>
                    </a:lnTo>
                    <a:lnTo>
                      <a:pt x="157" y="64"/>
                    </a:lnTo>
                    <a:lnTo>
                      <a:pt x="153" y="76"/>
                    </a:lnTo>
                    <a:lnTo>
                      <a:pt x="150" y="82"/>
                    </a:lnTo>
                    <a:lnTo>
                      <a:pt x="150" y="85"/>
                    </a:lnTo>
                    <a:lnTo>
                      <a:pt x="155" y="90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2" y="100"/>
                    </a:lnTo>
                    <a:lnTo>
                      <a:pt x="162" y="102"/>
                    </a:lnTo>
                    <a:lnTo>
                      <a:pt x="160" y="100"/>
                    </a:lnTo>
                    <a:lnTo>
                      <a:pt x="158" y="102"/>
                    </a:lnTo>
                    <a:lnTo>
                      <a:pt x="157" y="107"/>
                    </a:lnTo>
                    <a:lnTo>
                      <a:pt x="158" y="112"/>
                    </a:lnTo>
                    <a:lnTo>
                      <a:pt x="160" y="115"/>
                    </a:lnTo>
                    <a:lnTo>
                      <a:pt x="160" y="118"/>
                    </a:lnTo>
                    <a:lnTo>
                      <a:pt x="157" y="120"/>
                    </a:lnTo>
                    <a:lnTo>
                      <a:pt x="158" y="123"/>
                    </a:lnTo>
                    <a:lnTo>
                      <a:pt x="160" y="128"/>
                    </a:lnTo>
                    <a:lnTo>
                      <a:pt x="158" y="128"/>
                    </a:lnTo>
                    <a:lnTo>
                      <a:pt x="160" y="130"/>
                    </a:lnTo>
                    <a:lnTo>
                      <a:pt x="160" y="133"/>
                    </a:lnTo>
                    <a:lnTo>
                      <a:pt x="162" y="134"/>
                    </a:lnTo>
                    <a:lnTo>
                      <a:pt x="160" y="138"/>
                    </a:lnTo>
                    <a:lnTo>
                      <a:pt x="162" y="139"/>
                    </a:lnTo>
                    <a:lnTo>
                      <a:pt x="163" y="144"/>
                    </a:lnTo>
                    <a:lnTo>
                      <a:pt x="163" y="148"/>
                    </a:lnTo>
                    <a:lnTo>
                      <a:pt x="168" y="152"/>
                    </a:lnTo>
                    <a:lnTo>
                      <a:pt x="173" y="152"/>
                    </a:lnTo>
                    <a:lnTo>
                      <a:pt x="176" y="156"/>
                    </a:lnTo>
                    <a:lnTo>
                      <a:pt x="176" y="157"/>
                    </a:lnTo>
                    <a:lnTo>
                      <a:pt x="176" y="157"/>
                    </a:lnTo>
                    <a:lnTo>
                      <a:pt x="176" y="157"/>
                    </a:lnTo>
                    <a:lnTo>
                      <a:pt x="175" y="159"/>
                    </a:lnTo>
                    <a:lnTo>
                      <a:pt x="171" y="159"/>
                    </a:lnTo>
                    <a:lnTo>
                      <a:pt x="170" y="161"/>
                    </a:lnTo>
                    <a:lnTo>
                      <a:pt x="168" y="164"/>
                    </a:lnTo>
                    <a:lnTo>
                      <a:pt x="165" y="164"/>
                    </a:lnTo>
                    <a:lnTo>
                      <a:pt x="162" y="165"/>
                    </a:lnTo>
                    <a:lnTo>
                      <a:pt x="158" y="167"/>
                    </a:lnTo>
                    <a:lnTo>
                      <a:pt x="157" y="169"/>
                    </a:lnTo>
                    <a:lnTo>
                      <a:pt x="155" y="169"/>
                    </a:lnTo>
                    <a:lnTo>
                      <a:pt x="153" y="167"/>
                    </a:lnTo>
                    <a:lnTo>
                      <a:pt x="147" y="170"/>
                    </a:lnTo>
                    <a:lnTo>
                      <a:pt x="145" y="170"/>
                    </a:lnTo>
                    <a:lnTo>
                      <a:pt x="142" y="172"/>
                    </a:lnTo>
                    <a:lnTo>
                      <a:pt x="140" y="170"/>
                    </a:lnTo>
                    <a:lnTo>
                      <a:pt x="139" y="170"/>
                    </a:lnTo>
                    <a:lnTo>
                      <a:pt x="136" y="169"/>
                    </a:lnTo>
                    <a:lnTo>
                      <a:pt x="134" y="170"/>
                    </a:lnTo>
                    <a:lnTo>
                      <a:pt x="136" y="172"/>
                    </a:lnTo>
                    <a:lnTo>
                      <a:pt x="134" y="175"/>
                    </a:lnTo>
                    <a:lnTo>
                      <a:pt x="129" y="175"/>
                    </a:lnTo>
                    <a:lnTo>
                      <a:pt x="126" y="177"/>
                    </a:lnTo>
                    <a:lnTo>
                      <a:pt x="124" y="175"/>
                    </a:lnTo>
                    <a:lnTo>
                      <a:pt x="122" y="175"/>
                    </a:lnTo>
                    <a:lnTo>
                      <a:pt x="122" y="174"/>
                    </a:lnTo>
                    <a:lnTo>
                      <a:pt x="121" y="174"/>
                    </a:lnTo>
                    <a:lnTo>
                      <a:pt x="119" y="174"/>
                    </a:lnTo>
                    <a:lnTo>
                      <a:pt x="118" y="175"/>
                    </a:lnTo>
                    <a:lnTo>
                      <a:pt x="114" y="177"/>
                    </a:lnTo>
                    <a:lnTo>
                      <a:pt x="109" y="179"/>
                    </a:lnTo>
                    <a:lnTo>
                      <a:pt x="109" y="177"/>
                    </a:lnTo>
                    <a:lnTo>
                      <a:pt x="108" y="175"/>
                    </a:lnTo>
                    <a:lnTo>
                      <a:pt x="106" y="175"/>
                    </a:lnTo>
                    <a:lnTo>
                      <a:pt x="104" y="174"/>
                    </a:lnTo>
                    <a:lnTo>
                      <a:pt x="101" y="174"/>
                    </a:lnTo>
                    <a:lnTo>
                      <a:pt x="101" y="172"/>
                    </a:lnTo>
                    <a:lnTo>
                      <a:pt x="100" y="172"/>
                    </a:lnTo>
                    <a:lnTo>
                      <a:pt x="98" y="174"/>
                    </a:lnTo>
                    <a:lnTo>
                      <a:pt x="96" y="174"/>
                    </a:lnTo>
                    <a:lnTo>
                      <a:pt x="82" y="174"/>
                    </a:lnTo>
                    <a:lnTo>
                      <a:pt x="78" y="185"/>
                    </a:lnTo>
                    <a:lnTo>
                      <a:pt x="78" y="159"/>
                    </a:lnTo>
                    <a:lnTo>
                      <a:pt x="77" y="152"/>
                    </a:lnTo>
                    <a:lnTo>
                      <a:pt x="72" y="146"/>
                    </a:lnTo>
                    <a:lnTo>
                      <a:pt x="70" y="144"/>
                    </a:lnTo>
                    <a:lnTo>
                      <a:pt x="69" y="143"/>
                    </a:lnTo>
                    <a:lnTo>
                      <a:pt x="69" y="143"/>
                    </a:lnTo>
                    <a:lnTo>
                      <a:pt x="67" y="143"/>
                    </a:lnTo>
                    <a:lnTo>
                      <a:pt x="65" y="141"/>
                    </a:lnTo>
                    <a:lnTo>
                      <a:pt x="64" y="141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41"/>
                    </a:lnTo>
                    <a:lnTo>
                      <a:pt x="59" y="138"/>
                    </a:lnTo>
                    <a:lnTo>
                      <a:pt x="57" y="138"/>
                    </a:lnTo>
                    <a:lnTo>
                      <a:pt x="57" y="139"/>
                    </a:lnTo>
                    <a:lnTo>
                      <a:pt x="57" y="139"/>
                    </a:lnTo>
                    <a:lnTo>
                      <a:pt x="55" y="139"/>
                    </a:lnTo>
                    <a:lnTo>
                      <a:pt x="52" y="136"/>
                    </a:lnTo>
                    <a:lnTo>
                      <a:pt x="52" y="133"/>
                    </a:lnTo>
                    <a:lnTo>
                      <a:pt x="49" y="133"/>
                    </a:lnTo>
                    <a:lnTo>
                      <a:pt x="49" y="131"/>
                    </a:lnTo>
                    <a:lnTo>
                      <a:pt x="47" y="131"/>
                    </a:lnTo>
                    <a:lnTo>
                      <a:pt x="39" y="128"/>
                    </a:lnTo>
                    <a:lnTo>
                      <a:pt x="36" y="128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3" y="123"/>
                    </a:lnTo>
                    <a:lnTo>
                      <a:pt x="31" y="123"/>
                    </a:lnTo>
                    <a:lnTo>
                      <a:pt x="28" y="123"/>
                    </a:lnTo>
                    <a:lnTo>
                      <a:pt x="26" y="123"/>
                    </a:lnTo>
                    <a:lnTo>
                      <a:pt x="21" y="120"/>
                    </a:lnTo>
                    <a:lnTo>
                      <a:pt x="16" y="107"/>
                    </a:lnTo>
                    <a:lnTo>
                      <a:pt x="5" y="92"/>
                    </a:lnTo>
                    <a:lnTo>
                      <a:pt x="2" y="72"/>
                    </a:lnTo>
                    <a:lnTo>
                      <a:pt x="0" y="59"/>
                    </a:lnTo>
                    <a:lnTo>
                      <a:pt x="8" y="59"/>
                    </a:lnTo>
                    <a:lnTo>
                      <a:pt x="13" y="58"/>
                    </a:lnTo>
                    <a:lnTo>
                      <a:pt x="16" y="53"/>
                    </a:lnTo>
                    <a:lnTo>
                      <a:pt x="20" y="49"/>
                    </a:lnTo>
                    <a:lnTo>
                      <a:pt x="21" y="48"/>
                    </a:lnTo>
                    <a:lnTo>
                      <a:pt x="24" y="45"/>
                    </a:lnTo>
                    <a:lnTo>
                      <a:pt x="26" y="43"/>
                    </a:lnTo>
                    <a:lnTo>
                      <a:pt x="26" y="40"/>
                    </a:lnTo>
                    <a:lnTo>
                      <a:pt x="26" y="35"/>
                    </a:lnTo>
                    <a:lnTo>
                      <a:pt x="24" y="35"/>
                    </a:lnTo>
                    <a:lnTo>
                      <a:pt x="23" y="33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4" y="27"/>
                    </a:lnTo>
                    <a:lnTo>
                      <a:pt x="24" y="25"/>
                    </a:lnTo>
                    <a:lnTo>
                      <a:pt x="26" y="23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4" y="14"/>
                    </a:lnTo>
                    <a:lnTo>
                      <a:pt x="23" y="10"/>
                    </a:lnTo>
                    <a:lnTo>
                      <a:pt x="23" y="9"/>
                    </a:lnTo>
                    <a:lnTo>
                      <a:pt x="21" y="7"/>
                    </a:lnTo>
                    <a:lnTo>
                      <a:pt x="20" y="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4" name="Freeform 287">
                <a:extLst>
                  <a:ext uri="{FF2B5EF4-FFF2-40B4-BE49-F238E27FC236}">
                    <a16:creationId xmlns:a16="http://schemas.microsoft.com/office/drawing/2014/main" xmlns="" id="{D7AEB767-D656-4C2D-B5C7-9C4CFA249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077"/>
                <a:ext cx="31" cy="28"/>
              </a:xfrm>
              <a:custGeom>
                <a:avLst/>
                <a:gdLst>
                  <a:gd name="T0" fmla="*/ 8 w 31"/>
                  <a:gd name="T1" fmla="*/ 3 h 28"/>
                  <a:gd name="T2" fmla="*/ 10 w 31"/>
                  <a:gd name="T3" fmla="*/ 5 h 28"/>
                  <a:gd name="T4" fmla="*/ 11 w 31"/>
                  <a:gd name="T5" fmla="*/ 3 h 28"/>
                  <a:gd name="T6" fmla="*/ 15 w 31"/>
                  <a:gd name="T7" fmla="*/ 1 h 28"/>
                  <a:gd name="T8" fmla="*/ 16 w 31"/>
                  <a:gd name="T9" fmla="*/ 3 h 28"/>
                  <a:gd name="T10" fmla="*/ 18 w 31"/>
                  <a:gd name="T11" fmla="*/ 3 h 28"/>
                  <a:gd name="T12" fmla="*/ 20 w 31"/>
                  <a:gd name="T13" fmla="*/ 3 h 28"/>
                  <a:gd name="T14" fmla="*/ 21 w 31"/>
                  <a:gd name="T15" fmla="*/ 3 h 28"/>
                  <a:gd name="T16" fmla="*/ 21 w 31"/>
                  <a:gd name="T17" fmla="*/ 0 h 28"/>
                  <a:gd name="T18" fmla="*/ 25 w 31"/>
                  <a:gd name="T19" fmla="*/ 0 h 28"/>
                  <a:gd name="T20" fmla="*/ 26 w 31"/>
                  <a:gd name="T21" fmla="*/ 3 h 28"/>
                  <a:gd name="T22" fmla="*/ 28 w 31"/>
                  <a:gd name="T23" fmla="*/ 5 h 28"/>
                  <a:gd name="T24" fmla="*/ 28 w 31"/>
                  <a:gd name="T25" fmla="*/ 6 h 28"/>
                  <a:gd name="T26" fmla="*/ 29 w 31"/>
                  <a:gd name="T27" fmla="*/ 10 h 28"/>
                  <a:gd name="T28" fmla="*/ 31 w 31"/>
                  <a:gd name="T29" fmla="*/ 14 h 28"/>
                  <a:gd name="T30" fmla="*/ 31 w 31"/>
                  <a:gd name="T31" fmla="*/ 18 h 28"/>
                  <a:gd name="T32" fmla="*/ 31 w 31"/>
                  <a:gd name="T33" fmla="*/ 19 h 28"/>
                  <a:gd name="T34" fmla="*/ 29 w 31"/>
                  <a:gd name="T35" fmla="*/ 21 h 28"/>
                  <a:gd name="T36" fmla="*/ 29 w 31"/>
                  <a:gd name="T37" fmla="*/ 23 h 28"/>
                  <a:gd name="T38" fmla="*/ 28 w 31"/>
                  <a:gd name="T39" fmla="*/ 24 h 28"/>
                  <a:gd name="T40" fmla="*/ 26 w 31"/>
                  <a:gd name="T41" fmla="*/ 23 h 28"/>
                  <a:gd name="T42" fmla="*/ 25 w 31"/>
                  <a:gd name="T43" fmla="*/ 23 h 28"/>
                  <a:gd name="T44" fmla="*/ 25 w 31"/>
                  <a:gd name="T45" fmla="*/ 21 h 28"/>
                  <a:gd name="T46" fmla="*/ 23 w 31"/>
                  <a:gd name="T47" fmla="*/ 21 h 28"/>
                  <a:gd name="T48" fmla="*/ 23 w 31"/>
                  <a:gd name="T49" fmla="*/ 18 h 28"/>
                  <a:gd name="T50" fmla="*/ 21 w 31"/>
                  <a:gd name="T51" fmla="*/ 18 h 28"/>
                  <a:gd name="T52" fmla="*/ 20 w 31"/>
                  <a:gd name="T53" fmla="*/ 16 h 28"/>
                  <a:gd name="T54" fmla="*/ 18 w 31"/>
                  <a:gd name="T55" fmla="*/ 16 h 28"/>
                  <a:gd name="T56" fmla="*/ 18 w 31"/>
                  <a:gd name="T57" fmla="*/ 19 h 28"/>
                  <a:gd name="T58" fmla="*/ 16 w 31"/>
                  <a:gd name="T59" fmla="*/ 24 h 28"/>
                  <a:gd name="T60" fmla="*/ 16 w 31"/>
                  <a:gd name="T61" fmla="*/ 26 h 28"/>
                  <a:gd name="T62" fmla="*/ 13 w 31"/>
                  <a:gd name="T63" fmla="*/ 28 h 28"/>
                  <a:gd name="T64" fmla="*/ 11 w 31"/>
                  <a:gd name="T65" fmla="*/ 26 h 28"/>
                  <a:gd name="T66" fmla="*/ 10 w 31"/>
                  <a:gd name="T67" fmla="*/ 26 h 28"/>
                  <a:gd name="T68" fmla="*/ 10 w 31"/>
                  <a:gd name="T69" fmla="*/ 28 h 28"/>
                  <a:gd name="T70" fmla="*/ 7 w 31"/>
                  <a:gd name="T71" fmla="*/ 26 h 28"/>
                  <a:gd name="T72" fmla="*/ 5 w 31"/>
                  <a:gd name="T73" fmla="*/ 23 h 28"/>
                  <a:gd name="T74" fmla="*/ 3 w 31"/>
                  <a:gd name="T75" fmla="*/ 23 h 28"/>
                  <a:gd name="T76" fmla="*/ 2 w 31"/>
                  <a:gd name="T77" fmla="*/ 23 h 28"/>
                  <a:gd name="T78" fmla="*/ 0 w 31"/>
                  <a:gd name="T79" fmla="*/ 23 h 28"/>
                  <a:gd name="T80" fmla="*/ 0 w 31"/>
                  <a:gd name="T81" fmla="*/ 21 h 28"/>
                  <a:gd name="T82" fmla="*/ 2 w 31"/>
                  <a:gd name="T83" fmla="*/ 11 h 28"/>
                  <a:gd name="T84" fmla="*/ 5 w 31"/>
                  <a:gd name="T85" fmla="*/ 6 h 28"/>
                  <a:gd name="T86" fmla="*/ 8 w 31"/>
                  <a:gd name="T87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" h="28">
                    <a:moveTo>
                      <a:pt x="8" y="3"/>
                    </a:moveTo>
                    <a:lnTo>
                      <a:pt x="10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16" y="3"/>
                    </a:lnTo>
                    <a:lnTo>
                      <a:pt x="18" y="3"/>
                    </a:lnTo>
                    <a:lnTo>
                      <a:pt x="20" y="3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25" y="0"/>
                    </a:lnTo>
                    <a:lnTo>
                      <a:pt x="26" y="3"/>
                    </a:lnTo>
                    <a:lnTo>
                      <a:pt x="28" y="5"/>
                    </a:lnTo>
                    <a:lnTo>
                      <a:pt x="28" y="6"/>
                    </a:lnTo>
                    <a:lnTo>
                      <a:pt x="29" y="10"/>
                    </a:lnTo>
                    <a:lnTo>
                      <a:pt x="31" y="14"/>
                    </a:lnTo>
                    <a:lnTo>
                      <a:pt x="31" y="18"/>
                    </a:lnTo>
                    <a:lnTo>
                      <a:pt x="31" y="19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28" y="24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8" y="19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3" y="28"/>
                    </a:lnTo>
                    <a:lnTo>
                      <a:pt x="11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7" y="26"/>
                    </a:lnTo>
                    <a:lnTo>
                      <a:pt x="5" y="23"/>
                    </a:lnTo>
                    <a:lnTo>
                      <a:pt x="3" y="23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6" name="Freeform 288">
                <a:extLst>
                  <a:ext uri="{FF2B5EF4-FFF2-40B4-BE49-F238E27FC236}">
                    <a16:creationId xmlns:a16="http://schemas.microsoft.com/office/drawing/2014/main" xmlns="" id="{BD0AB3A3-8C99-4542-9D56-92EA81FEE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093"/>
                <a:ext cx="31" cy="39"/>
              </a:xfrm>
              <a:custGeom>
                <a:avLst/>
                <a:gdLst>
                  <a:gd name="T0" fmla="*/ 5 w 31"/>
                  <a:gd name="T1" fmla="*/ 39 h 39"/>
                  <a:gd name="T2" fmla="*/ 13 w 31"/>
                  <a:gd name="T3" fmla="*/ 39 h 39"/>
                  <a:gd name="T4" fmla="*/ 18 w 31"/>
                  <a:gd name="T5" fmla="*/ 38 h 39"/>
                  <a:gd name="T6" fmla="*/ 21 w 31"/>
                  <a:gd name="T7" fmla="*/ 33 h 39"/>
                  <a:gd name="T8" fmla="*/ 25 w 31"/>
                  <a:gd name="T9" fmla="*/ 29 h 39"/>
                  <a:gd name="T10" fmla="*/ 26 w 31"/>
                  <a:gd name="T11" fmla="*/ 28 h 39"/>
                  <a:gd name="T12" fmla="*/ 29 w 31"/>
                  <a:gd name="T13" fmla="*/ 25 h 39"/>
                  <a:gd name="T14" fmla="*/ 31 w 31"/>
                  <a:gd name="T15" fmla="*/ 23 h 39"/>
                  <a:gd name="T16" fmla="*/ 31 w 31"/>
                  <a:gd name="T17" fmla="*/ 20 h 39"/>
                  <a:gd name="T18" fmla="*/ 31 w 31"/>
                  <a:gd name="T19" fmla="*/ 15 h 39"/>
                  <a:gd name="T20" fmla="*/ 29 w 31"/>
                  <a:gd name="T21" fmla="*/ 15 h 39"/>
                  <a:gd name="T22" fmla="*/ 28 w 31"/>
                  <a:gd name="T23" fmla="*/ 13 h 39"/>
                  <a:gd name="T24" fmla="*/ 26 w 31"/>
                  <a:gd name="T25" fmla="*/ 12 h 39"/>
                  <a:gd name="T26" fmla="*/ 26 w 31"/>
                  <a:gd name="T27" fmla="*/ 10 h 39"/>
                  <a:gd name="T28" fmla="*/ 25 w 31"/>
                  <a:gd name="T29" fmla="*/ 8 h 39"/>
                  <a:gd name="T30" fmla="*/ 25 w 31"/>
                  <a:gd name="T31" fmla="*/ 5 h 39"/>
                  <a:gd name="T32" fmla="*/ 23 w 31"/>
                  <a:gd name="T33" fmla="*/ 5 h 39"/>
                  <a:gd name="T34" fmla="*/ 23 w 31"/>
                  <a:gd name="T35" fmla="*/ 2 h 39"/>
                  <a:gd name="T36" fmla="*/ 21 w 31"/>
                  <a:gd name="T37" fmla="*/ 2 h 39"/>
                  <a:gd name="T38" fmla="*/ 20 w 31"/>
                  <a:gd name="T39" fmla="*/ 0 h 39"/>
                  <a:gd name="T40" fmla="*/ 18 w 31"/>
                  <a:gd name="T41" fmla="*/ 0 h 39"/>
                  <a:gd name="T42" fmla="*/ 18 w 31"/>
                  <a:gd name="T43" fmla="*/ 3 h 39"/>
                  <a:gd name="T44" fmla="*/ 16 w 31"/>
                  <a:gd name="T45" fmla="*/ 8 h 39"/>
                  <a:gd name="T46" fmla="*/ 16 w 31"/>
                  <a:gd name="T47" fmla="*/ 10 h 39"/>
                  <a:gd name="T48" fmla="*/ 13 w 31"/>
                  <a:gd name="T49" fmla="*/ 12 h 39"/>
                  <a:gd name="T50" fmla="*/ 11 w 31"/>
                  <a:gd name="T51" fmla="*/ 10 h 39"/>
                  <a:gd name="T52" fmla="*/ 10 w 31"/>
                  <a:gd name="T53" fmla="*/ 10 h 39"/>
                  <a:gd name="T54" fmla="*/ 10 w 31"/>
                  <a:gd name="T55" fmla="*/ 12 h 39"/>
                  <a:gd name="T56" fmla="*/ 7 w 31"/>
                  <a:gd name="T57" fmla="*/ 10 h 39"/>
                  <a:gd name="T58" fmla="*/ 5 w 31"/>
                  <a:gd name="T59" fmla="*/ 7 h 39"/>
                  <a:gd name="T60" fmla="*/ 3 w 31"/>
                  <a:gd name="T61" fmla="*/ 7 h 39"/>
                  <a:gd name="T62" fmla="*/ 2 w 31"/>
                  <a:gd name="T63" fmla="*/ 7 h 39"/>
                  <a:gd name="T64" fmla="*/ 0 w 31"/>
                  <a:gd name="T65" fmla="*/ 7 h 39"/>
                  <a:gd name="T66" fmla="*/ 0 w 31"/>
                  <a:gd name="T67" fmla="*/ 8 h 39"/>
                  <a:gd name="T68" fmla="*/ 2 w 31"/>
                  <a:gd name="T69" fmla="*/ 12 h 39"/>
                  <a:gd name="T70" fmla="*/ 2 w 31"/>
                  <a:gd name="T71" fmla="*/ 16 h 39"/>
                  <a:gd name="T72" fmla="*/ 2 w 31"/>
                  <a:gd name="T73" fmla="*/ 20 h 39"/>
                  <a:gd name="T74" fmla="*/ 5 w 31"/>
                  <a:gd name="T7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" h="39">
                    <a:moveTo>
                      <a:pt x="5" y="39"/>
                    </a:moveTo>
                    <a:lnTo>
                      <a:pt x="13" y="39"/>
                    </a:lnTo>
                    <a:lnTo>
                      <a:pt x="18" y="38"/>
                    </a:lnTo>
                    <a:lnTo>
                      <a:pt x="21" y="33"/>
                    </a:lnTo>
                    <a:lnTo>
                      <a:pt x="25" y="29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3"/>
                    </a:lnTo>
                    <a:lnTo>
                      <a:pt x="31" y="20"/>
                    </a:lnTo>
                    <a:lnTo>
                      <a:pt x="31" y="15"/>
                    </a:lnTo>
                    <a:lnTo>
                      <a:pt x="29" y="15"/>
                    </a:lnTo>
                    <a:lnTo>
                      <a:pt x="28" y="13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5" y="8"/>
                    </a:lnTo>
                    <a:lnTo>
                      <a:pt x="25" y="5"/>
                    </a:lnTo>
                    <a:lnTo>
                      <a:pt x="23" y="5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3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7" y="10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5" y="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7" name="Freeform 289">
                <a:extLst>
                  <a:ext uri="{FF2B5EF4-FFF2-40B4-BE49-F238E27FC236}">
                    <a16:creationId xmlns:a16="http://schemas.microsoft.com/office/drawing/2014/main" xmlns="" id="{512974DE-AE02-480A-915C-E5EAD812C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" y="1971"/>
                <a:ext cx="303" cy="307"/>
              </a:xfrm>
              <a:custGeom>
                <a:avLst/>
                <a:gdLst>
                  <a:gd name="T0" fmla="*/ 9 w 303"/>
                  <a:gd name="T1" fmla="*/ 171 h 307"/>
                  <a:gd name="T2" fmla="*/ 21 w 303"/>
                  <a:gd name="T3" fmla="*/ 168 h 307"/>
                  <a:gd name="T4" fmla="*/ 34 w 303"/>
                  <a:gd name="T5" fmla="*/ 160 h 307"/>
                  <a:gd name="T6" fmla="*/ 42 w 303"/>
                  <a:gd name="T7" fmla="*/ 168 h 307"/>
                  <a:gd name="T8" fmla="*/ 60 w 303"/>
                  <a:gd name="T9" fmla="*/ 151 h 307"/>
                  <a:gd name="T10" fmla="*/ 63 w 303"/>
                  <a:gd name="T11" fmla="*/ 125 h 307"/>
                  <a:gd name="T12" fmla="*/ 78 w 303"/>
                  <a:gd name="T13" fmla="*/ 107 h 307"/>
                  <a:gd name="T14" fmla="*/ 93 w 303"/>
                  <a:gd name="T15" fmla="*/ 84 h 307"/>
                  <a:gd name="T16" fmla="*/ 96 w 303"/>
                  <a:gd name="T17" fmla="*/ 63 h 307"/>
                  <a:gd name="T18" fmla="*/ 106 w 303"/>
                  <a:gd name="T19" fmla="*/ 37 h 307"/>
                  <a:gd name="T20" fmla="*/ 104 w 303"/>
                  <a:gd name="T21" fmla="*/ 18 h 307"/>
                  <a:gd name="T22" fmla="*/ 109 w 303"/>
                  <a:gd name="T23" fmla="*/ 8 h 307"/>
                  <a:gd name="T24" fmla="*/ 120 w 303"/>
                  <a:gd name="T25" fmla="*/ 4 h 307"/>
                  <a:gd name="T26" fmla="*/ 137 w 303"/>
                  <a:gd name="T27" fmla="*/ 16 h 307"/>
                  <a:gd name="T28" fmla="*/ 153 w 303"/>
                  <a:gd name="T29" fmla="*/ 18 h 307"/>
                  <a:gd name="T30" fmla="*/ 163 w 303"/>
                  <a:gd name="T31" fmla="*/ 16 h 307"/>
                  <a:gd name="T32" fmla="*/ 176 w 303"/>
                  <a:gd name="T33" fmla="*/ 11 h 307"/>
                  <a:gd name="T34" fmla="*/ 197 w 303"/>
                  <a:gd name="T35" fmla="*/ 4 h 307"/>
                  <a:gd name="T36" fmla="*/ 207 w 303"/>
                  <a:gd name="T37" fmla="*/ 6 h 307"/>
                  <a:gd name="T38" fmla="*/ 215 w 303"/>
                  <a:gd name="T39" fmla="*/ 0 h 307"/>
                  <a:gd name="T40" fmla="*/ 227 w 303"/>
                  <a:gd name="T41" fmla="*/ 4 h 307"/>
                  <a:gd name="T42" fmla="*/ 246 w 303"/>
                  <a:gd name="T43" fmla="*/ 6 h 307"/>
                  <a:gd name="T44" fmla="*/ 259 w 303"/>
                  <a:gd name="T45" fmla="*/ 16 h 307"/>
                  <a:gd name="T46" fmla="*/ 271 w 303"/>
                  <a:gd name="T47" fmla="*/ 14 h 307"/>
                  <a:gd name="T48" fmla="*/ 282 w 303"/>
                  <a:gd name="T49" fmla="*/ 11 h 307"/>
                  <a:gd name="T50" fmla="*/ 294 w 303"/>
                  <a:gd name="T51" fmla="*/ 24 h 307"/>
                  <a:gd name="T52" fmla="*/ 302 w 303"/>
                  <a:gd name="T53" fmla="*/ 29 h 307"/>
                  <a:gd name="T54" fmla="*/ 300 w 303"/>
                  <a:gd name="T55" fmla="*/ 50 h 307"/>
                  <a:gd name="T56" fmla="*/ 289 w 303"/>
                  <a:gd name="T57" fmla="*/ 76 h 307"/>
                  <a:gd name="T58" fmla="*/ 279 w 303"/>
                  <a:gd name="T59" fmla="*/ 109 h 307"/>
                  <a:gd name="T60" fmla="*/ 271 w 303"/>
                  <a:gd name="T61" fmla="*/ 138 h 307"/>
                  <a:gd name="T62" fmla="*/ 292 w 303"/>
                  <a:gd name="T63" fmla="*/ 222 h 307"/>
                  <a:gd name="T64" fmla="*/ 264 w 303"/>
                  <a:gd name="T65" fmla="*/ 248 h 307"/>
                  <a:gd name="T66" fmla="*/ 261 w 303"/>
                  <a:gd name="T67" fmla="*/ 259 h 307"/>
                  <a:gd name="T68" fmla="*/ 258 w 303"/>
                  <a:gd name="T69" fmla="*/ 281 h 307"/>
                  <a:gd name="T70" fmla="*/ 274 w 303"/>
                  <a:gd name="T71" fmla="*/ 292 h 307"/>
                  <a:gd name="T72" fmla="*/ 279 w 303"/>
                  <a:gd name="T73" fmla="*/ 307 h 307"/>
                  <a:gd name="T74" fmla="*/ 267 w 303"/>
                  <a:gd name="T75" fmla="*/ 307 h 307"/>
                  <a:gd name="T76" fmla="*/ 246 w 303"/>
                  <a:gd name="T77" fmla="*/ 289 h 307"/>
                  <a:gd name="T78" fmla="*/ 236 w 303"/>
                  <a:gd name="T79" fmla="*/ 277 h 307"/>
                  <a:gd name="T80" fmla="*/ 225 w 303"/>
                  <a:gd name="T81" fmla="*/ 284 h 307"/>
                  <a:gd name="T82" fmla="*/ 209 w 303"/>
                  <a:gd name="T83" fmla="*/ 279 h 307"/>
                  <a:gd name="T84" fmla="*/ 202 w 303"/>
                  <a:gd name="T85" fmla="*/ 272 h 307"/>
                  <a:gd name="T86" fmla="*/ 194 w 303"/>
                  <a:gd name="T87" fmla="*/ 274 h 307"/>
                  <a:gd name="T88" fmla="*/ 187 w 303"/>
                  <a:gd name="T89" fmla="*/ 267 h 307"/>
                  <a:gd name="T90" fmla="*/ 174 w 303"/>
                  <a:gd name="T91" fmla="*/ 271 h 307"/>
                  <a:gd name="T92" fmla="*/ 163 w 303"/>
                  <a:gd name="T93" fmla="*/ 271 h 307"/>
                  <a:gd name="T94" fmla="*/ 160 w 303"/>
                  <a:gd name="T95" fmla="*/ 266 h 307"/>
                  <a:gd name="T96" fmla="*/ 158 w 303"/>
                  <a:gd name="T97" fmla="*/ 253 h 307"/>
                  <a:gd name="T98" fmla="*/ 155 w 303"/>
                  <a:gd name="T99" fmla="*/ 245 h 307"/>
                  <a:gd name="T100" fmla="*/ 153 w 303"/>
                  <a:gd name="T101" fmla="*/ 228 h 307"/>
                  <a:gd name="T102" fmla="*/ 151 w 303"/>
                  <a:gd name="T103" fmla="*/ 217 h 307"/>
                  <a:gd name="T104" fmla="*/ 135 w 303"/>
                  <a:gd name="T105" fmla="*/ 204 h 307"/>
                  <a:gd name="T106" fmla="*/ 116 w 303"/>
                  <a:gd name="T107" fmla="*/ 207 h 307"/>
                  <a:gd name="T108" fmla="*/ 99 w 303"/>
                  <a:gd name="T109" fmla="*/ 220 h 307"/>
                  <a:gd name="T110" fmla="*/ 81 w 303"/>
                  <a:gd name="T111" fmla="*/ 212 h 307"/>
                  <a:gd name="T112" fmla="*/ 76 w 303"/>
                  <a:gd name="T113" fmla="*/ 199 h 307"/>
                  <a:gd name="T114" fmla="*/ 73 w 303"/>
                  <a:gd name="T115" fmla="*/ 187 h 307"/>
                  <a:gd name="T116" fmla="*/ 36 w 303"/>
                  <a:gd name="T117" fmla="*/ 184 h 307"/>
                  <a:gd name="T118" fmla="*/ 16 w 303"/>
                  <a:gd name="T119" fmla="*/ 184 h 307"/>
                  <a:gd name="T120" fmla="*/ 8 w 303"/>
                  <a:gd name="T121" fmla="*/ 18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3" h="307">
                    <a:moveTo>
                      <a:pt x="0" y="183"/>
                    </a:moveTo>
                    <a:lnTo>
                      <a:pt x="3" y="181"/>
                    </a:lnTo>
                    <a:lnTo>
                      <a:pt x="6" y="181"/>
                    </a:lnTo>
                    <a:lnTo>
                      <a:pt x="8" y="179"/>
                    </a:lnTo>
                    <a:lnTo>
                      <a:pt x="8" y="173"/>
                    </a:lnTo>
                    <a:lnTo>
                      <a:pt x="9" y="171"/>
                    </a:lnTo>
                    <a:lnTo>
                      <a:pt x="13" y="168"/>
                    </a:lnTo>
                    <a:lnTo>
                      <a:pt x="16" y="165"/>
                    </a:lnTo>
                    <a:lnTo>
                      <a:pt x="18" y="165"/>
                    </a:lnTo>
                    <a:lnTo>
                      <a:pt x="21" y="165"/>
                    </a:lnTo>
                    <a:lnTo>
                      <a:pt x="21" y="166"/>
                    </a:lnTo>
                    <a:lnTo>
                      <a:pt x="21" y="168"/>
                    </a:lnTo>
                    <a:lnTo>
                      <a:pt x="24" y="168"/>
                    </a:lnTo>
                    <a:lnTo>
                      <a:pt x="26" y="165"/>
                    </a:lnTo>
                    <a:lnTo>
                      <a:pt x="26" y="161"/>
                    </a:lnTo>
                    <a:lnTo>
                      <a:pt x="27" y="161"/>
                    </a:lnTo>
                    <a:lnTo>
                      <a:pt x="31" y="161"/>
                    </a:lnTo>
                    <a:lnTo>
                      <a:pt x="34" y="160"/>
                    </a:lnTo>
                    <a:lnTo>
                      <a:pt x="39" y="158"/>
                    </a:lnTo>
                    <a:lnTo>
                      <a:pt x="39" y="160"/>
                    </a:lnTo>
                    <a:lnTo>
                      <a:pt x="37" y="163"/>
                    </a:lnTo>
                    <a:lnTo>
                      <a:pt x="37" y="163"/>
                    </a:lnTo>
                    <a:lnTo>
                      <a:pt x="39" y="166"/>
                    </a:lnTo>
                    <a:lnTo>
                      <a:pt x="42" y="168"/>
                    </a:lnTo>
                    <a:lnTo>
                      <a:pt x="45" y="166"/>
                    </a:lnTo>
                    <a:lnTo>
                      <a:pt x="49" y="163"/>
                    </a:lnTo>
                    <a:lnTo>
                      <a:pt x="55" y="156"/>
                    </a:lnTo>
                    <a:lnTo>
                      <a:pt x="55" y="155"/>
                    </a:lnTo>
                    <a:lnTo>
                      <a:pt x="58" y="153"/>
                    </a:lnTo>
                    <a:lnTo>
                      <a:pt x="60" y="151"/>
                    </a:lnTo>
                    <a:lnTo>
                      <a:pt x="63" y="148"/>
                    </a:lnTo>
                    <a:lnTo>
                      <a:pt x="63" y="145"/>
                    </a:lnTo>
                    <a:lnTo>
                      <a:pt x="65" y="140"/>
                    </a:lnTo>
                    <a:lnTo>
                      <a:pt x="65" y="132"/>
                    </a:lnTo>
                    <a:lnTo>
                      <a:pt x="63" y="130"/>
                    </a:lnTo>
                    <a:lnTo>
                      <a:pt x="63" y="125"/>
                    </a:lnTo>
                    <a:lnTo>
                      <a:pt x="65" y="122"/>
                    </a:lnTo>
                    <a:lnTo>
                      <a:pt x="70" y="117"/>
                    </a:lnTo>
                    <a:lnTo>
                      <a:pt x="70" y="114"/>
                    </a:lnTo>
                    <a:lnTo>
                      <a:pt x="73" y="109"/>
                    </a:lnTo>
                    <a:lnTo>
                      <a:pt x="76" y="107"/>
                    </a:lnTo>
                    <a:lnTo>
                      <a:pt x="78" y="107"/>
                    </a:lnTo>
                    <a:lnTo>
                      <a:pt x="81" y="106"/>
                    </a:lnTo>
                    <a:lnTo>
                      <a:pt x="85" y="104"/>
                    </a:lnTo>
                    <a:lnTo>
                      <a:pt x="89" y="96"/>
                    </a:lnTo>
                    <a:lnTo>
                      <a:pt x="89" y="91"/>
                    </a:lnTo>
                    <a:lnTo>
                      <a:pt x="91" y="84"/>
                    </a:lnTo>
                    <a:lnTo>
                      <a:pt x="93" y="84"/>
                    </a:lnTo>
                    <a:lnTo>
                      <a:pt x="94" y="80"/>
                    </a:lnTo>
                    <a:lnTo>
                      <a:pt x="93" y="78"/>
                    </a:lnTo>
                    <a:lnTo>
                      <a:pt x="94" y="73"/>
                    </a:lnTo>
                    <a:lnTo>
                      <a:pt x="93" y="71"/>
                    </a:lnTo>
                    <a:lnTo>
                      <a:pt x="94" y="67"/>
                    </a:lnTo>
                    <a:lnTo>
                      <a:pt x="96" y="63"/>
                    </a:lnTo>
                    <a:lnTo>
                      <a:pt x="96" y="60"/>
                    </a:lnTo>
                    <a:lnTo>
                      <a:pt x="98" y="57"/>
                    </a:lnTo>
                    <a:lnTo>
                      <a:pt x="96" y="52"/>
                    </a:lnTo>
                    <a:lnTo>
                      <a:pt x="102" y="42"/>
                    </a:lnTo>
                    <a:lnTo>
                      <a:pt x="104" y="39"/>
                    </a:lnTo>
                    <a:lnTo>
                      <a:pt x="106" y="37"/>
                    </a:lnTo>
                    <a:lnTo>
                      <a:pt x="106" y="31"/>
                    </a:lnTo>
                    <a:lnTo>
                      <a:pt x="106" y="27"/>
                    </a:lnTo>
                    <a:lnTo>
                      <a:pt x="106" y="24"/>
                    </a:lnTo>
                    <a:lnTo>
                      <a:pt x="106" y="22"/>
                    </a:lnTo>
                    <a:lnTo>
                      <a:pt x="107" y="21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07" y="16"/>
                    </a:lnTo>
                    <a:lnTo>
                      <a:pt x="107" y="14"/>
                    </a:lnTo>
                    <a:lnTo>
                      <a:pt x="107" y="13"/>
                    </a:lnTo>
                    <a:lnTo>
                      <a:pt x="109" y="11"/>
                    </a:lnTo>
                    <a:lnTo>
                      <a:pt x="109" y="8"/>
                    </a:lnTo>
                    <a:lnTo>
                      <a:pt x="111" y="8"/>
                    </a:lnTo>
                    <a:lnTo>
                      <a:pt x="112" y="8"/>
                    </a:lnTo>
                    <a:lnTo>
                      <a:pt x="116" y="4"/>
                    </a:lnTo>
                    <a:lnTo>
                      <a:pt x="117" y="6"/>
                    </a:lnTo>
                    <a:lnTo>
                      <a:pt x="119" y="4"/>
                    </a:lnTo>
                    <a:lnTo>
                      <a:pt x="120" y="4"/>
                    </a:lnTo>
                    <a:lnTo>
                      <a:pt x="122" y="6"/>
                    </a:lnTo>
                    <a:lnTo>
                      <a:pt x="124" y="6"/>
                    </a:lnTo>
                    <a:lnTo>
                      <a:pt x="129" y="9"/>
                    </a:lnTo>
                    <a:lnTo>
                      <a:pt x="130" y="11"/>
                    </a:lnTo>
                    <a:lnTo>
                      <a:pt x="135" y="14"/>
                    </a:lnTo>
                    <a:lnTo>
                      <a:pt x="137" y="16"/>
                    </a:lnTo>
                    <a:lnTo>
                      <a:pt x="140" y="16"/>
                    </a:lnTo>
                    <a:lnTo>
                      <a:pt x="143" y="18"/>
                    </a:lnTo>
                    <a:lnTo>
                      <a:pt x="147" y="18"/>
                    </a:lnTo>
                    <a:lnTo>
                      <a:pt x="148" y="18"/>
                    </a:lnTo>
                    <a:lnTo>
                      <a:pt x="151" y="18"/>
                    </a:lnTo>
                    <a:lnTo>
                      <a:pt x="153" y="18"/>
                    </a:lnTo>
                    <a:lnTo>
                      <a:pt x="156" y="18"/>
                    </a:lnTo>
                    <a:lnTo>
                      <a:pt x="160" y="19"/>
                    </a:lnTo>
                    <a:lnTo>
                      <a:pt x="161" y="19"/>
                    </a:lnTo>
                    <a:lnTo>
                      <a:pt x="165" y="19"/>
                    </a:lnTo>
                    <a:lnTo>
                      <a:pt x="166" y="18"/>
                    </a:lnTo>
                    <a:lnTo>
                      <a:pt x="163" y="16"/>
                    </a:lnTo>
                    <a:lnTo>
                      <a:pt x="163" y="14"/>
                    </a:lnTo>
                    <a:lnTo>
                      <a:pt x="166" y="11"/>
                    </a:lnTo>
                    <a:lnTo>
                      <a:pt x="168" y="9"/>
                    </a:lnTo>
                    <a:lnTo>
                      <a:pt x="171" y="9"/>
                    </a:lnTo>
                    <a:lnTo>
                      <a:pt x="174" y="9"/>
                    </a:lnTo>
                    <a:lnTo>
                      <a:pt x="176" y="11"/>
                    </a:lnTo>
                    <a:lnTo>
                      <a:pt x="178" y="11"/>
                    </a:lnTo>
                    <a:lnTo>
                      <a:pt x="184" y="9"/>
                    </a:lnTo>
                    <a:lnTo>
                      <a:pt x="186" y="8"/>
                    </a:lnTo>
                    <a:lnTo>
                      <a:pt x="189" y="8"/>
                    </a:lnTo>
                    <a:lnTo>
                      <a:pt x="196" y="4"/>
                    </a:lnTo>
                    <a:lnTo>
                      <a:pt x="197" y="4"/>
                    </a:lnTo>
                    <a:lnTo>
                      <a:pt x="197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8"/>
                    </a:lnTo>
                    <a:lnTo>
                      <a:pt x="202" y="6"/>
                    </a:lnTo>
                    <a:lnTo>
                      <a:pt x="207" y="6"/>
                    </a:lnTo>
                    <a:lnTo>
                      <a:pt x="209" y="6"/>
                    </a:lnTo>
                    <a:lnTo>
                      <a:pt x="210" y="6"/>
                    </a:lnTo>
                    <a:lnTo>
                      <a:pt x="212" y="3"/>
                    </a:lnTo>
                    <a:lnTo>
                      <a:pt x="212" y="1"/>
                    </a:lnTo>
                    <a:lnTo>
                      <a:pt x="212" y="0"/>
                    </a:lnTo>
                    <a:lnTo>
                      <a:pt x="215" y="0"/>
                    </a:lnTo>
                    <a:lnTo>
                      <a:pt x="217" y="1"/>
                    </a:lnTo>
                    <a:lnTo>
                      <a:pt x="220" y="3"/>
                    </a:lnTo>
                    <a:lnTo>
                      <a:pt x="222" y="1"/>
                    </a:lnTo>
                    <a:lnTo>
                      <a:pt x="223" y="3"/>
                    </a:lnTo>
                    <a:lnTo>
                      <a:pt x="225" y="3"/>
                    </a:lnTo>
                    <a:lnTo>
                      <a:pt x="227" y="4"/>
                    </a:lnTo>
                    <a:lnTo>
                      <a:pt x="233" y="4"/>
                    </a:lnTo>
                    <a:lnTo>
                      <a:pt x="235" y="4"/>
                    </a:lnTo>
                    <a:lnTo>
                      <a:pt x="240" y="3"/>
                    </a:lnTo>
                    <a:lnTo>
                      <a:pt x="243" y="3"/>
                    </a:lnTo>
                    <a:lnTo>
                      <a:pt x="246" y="4"/>
                    </a:lnTo>
                    <a:lnTo>
                      <a:pt x="246" y="6"/>
                    </a:lnTo>
                    <a:lnTo>
                      <a:pt x="248" y="8"/>
                    </a:lnTo>
                    <a:lnTo>
                      <a:pt x="249" y="9"/>
                    </a:lnTo>
                    <a:lnTo>
                      <a:pt x="251" y="11"/>
                    </a:lnTo>
                    <a:lnTo>
                      <a:pt x="253" y="13"/>
                    </a:lnTo>
                    <a:lnTo>
                      <a:pt x="256" y="16"/>
                    </a:lnTo>
                    <a:lnTo>
                      <a:pt x="259" y="16"/>
                    </a:lnTo>
                    <a:lnTo>
                      <a:pt x="261" y="16"/>
                    </a:lnTo>
                    <a:lnTo>
                      <a:pt x="263" y="14"/>
                    </a:lnTo>
                    <a:lnTo>
                      <a:pt x="264" y="13"/>
                    </a:lnTo>
                    <a:lnTo>
                      <a:pt x="267" y="13"/>
                    </a:lnTo>
                    <a:lnTo>
                      <a:pt x="269" y="13"/>
                    </a:lnTo>
                    <a:lnTo>
                      <a:pt x="271" y="14"/>
                    </a:lnTo>
                    <a:lnTo>
                      <a:pt x="271" y="14"/>
                    </a:lnTo>
                    <a:lnTo>
                      <a:pt x="274" y="13"/>
                    </a:lnTo>
                    <a:lnTo>
                      <a:pt x="276" y="11"/>
                    </a:lnTo>
                    <a:lnTo>
                      <a:pt x="277" y="9"/>
                    </a:lnTo>
                    <a:lnTo>
                      <a:pt x="280" y="9"/>
                    </a:lnTo>
                    <a:lnTo>
                      <a:pt x="282" y="11"/>
                    </a:lnTo>
                    <a:lnTo>
                      <a:pt x="284" y="14"/>
                    </a:lnTo>
                    <a:lnTo>
                      <a:pt x="287" y="16"/>
                    </a:lnTo>
                    <a:lnTo>
                      <a:pt x="287" y="18"/>
                    </a:lnTo>
                    <a:lnTo>
                      <a:pt x="292" y="19"/>
                    </a:lnTo>
                    <a:lnTo>
                      <a:pt x="294" y="21"/>
                    </a:lnTo>
                    <a:lnTo>
                      <a:pt x="294" y="24"/>
                    </a:lnTo>
                    <a:lnTo>
                      <a:pt x="295" y="24"/>
                    </a:lnTo>
                    <a:lnTo>
                      <a:pt x="295" y="27"/>
                    </a:lnTo>
                    <a:lnTo>
                      <a:pt x="297" y="29"/>
                    </a:lnTo>
                    <a:lnTo>
                      <a:pt x="297" y="29"/>
                    </a:lnTo>
                    <a:lnTo>
                      <a:pt x="300" y="29"/>
                    </a:lnTo>
                    <a:lnTo>
                      <a:pt x="302" y="29"/>
                    </a:lnTo>
                    <a:lnTo>
                      <a:pt x="302" y="32"/>
                    </a:lnTo>
                    <a:lnTo>
                      <a:pt x="300" y="35"/>
                    </a:lnTo>
                    <a:lnTo>
                      <a:pt x="300" y="39"/>
                    </a:lnTo>
                    <a:lnTo>
                      <a:pt x="298" y="45"/>
                    </a:lnTo>
                    <a:lnTo>
                      <a:pt x="298" y="49"/>
                    </a:lnTo>
                    <a:lnTo>
                      <a:pt x="300" y="50"/>
                    </a:lnTo>
                    <a:lnTo>
                      <a:pt x="302" y="52"/>
                    </a:lnTo>
                    <a:lnTo>
                      <a:pt x="303" y="55"/>
                    </a:lnTo>
                    <a:lnTo>
                      <a:pt x="303" y="57"/>
                    </a:lnTo>
                    <a:lnTo>
                      <a:pt x="295" y="68"/>
                    </a:lnTo>
                    <a:lnTo>
                      <a:pt x="289" y="73"/>
                    </a:lnTo>
                    <a:lnTo>
                      <a:pt x="289" y="76"/>
                    </a:lnTo>
                    <a:lnTo>
                      <a:pt x="282" y="88"/>
                    </a:lnTo>
                    <a:lnTo>
                      <a:pt x="280" y="89"/>
                    </a:lnTo>
                    <a:lnTo>
                      <a:pt x="280" y="93"/>
                    </a:lnTo>
                    <a:lnTo>
                      <a:pt x="280" y="99"/>
                    </a:lnTo>
                    <a:lnTo>
                      <a:pt x="279" y="106"/>
                    </a:lnTo>
                    <a:lnTo>
                      <a:pt x="279" y="109"/>
                    </a:lnTo>
                    <a:lnTo>
                      <a:pt x="274" y="112"/>
                    </a:lnTo>
                    <a:lnTo>
                      <a:pt x="271" y="117"/>
                    </a:lnTo>
                    <a:lnTo>
                      <a:pt x="269" y="127"/>
                    </a:lnTo>
                    <a:lnTo>
                      <a:pt x="269" y="130"/>
                    </a:lnTo>
                    <a:lnTo>
                      <a:pt x="271" y="134"/>
                    </a:lnTo>
                    <a:lnTo>
                      <a:pt x="271" y="138"/>
                    </a:lnTo>
                    <a:lnTo>
                      <a:pt x="271" y="142"/>
                    </a:lnTo>
                    <a:lnTo>
                      <a:pt x="276" y="174"/>
                    </a:lnTo>
                    <a:lnTo>
                      <a:pt x="279" y="194"/>
                    </a:lnTo>
                    <a:lnTo>
                      <a:pt x="290" y="209"/>
                    </a:lnTo>
                    <a:lnTo>
                      <a:pt x="295" y="222"/>
                    </a:lnTo>
                    <a:lnTo>
                      <a:pt x="292" y="222"/>
                    </a:lnTo>
                    <a:lnTo>
                      <a:pt x="266" y="227"/>
                    </a:lnTo>
                    <a:lnTo>
                      <a:pt x="259" y="240"/>
                    </a:lnTo>
                    <a:lnTo>
                      <a:pt x="261" y="243"/>
                    </a:lnTo>
                    <a:lnTo>
                      <a:pt x="263" y="245"/>
                    </a:lnTo>
                    <a:lnTo>
                      <a:pt x="264" y="246"/>
                    </a:lnTo>
                    <a:lnTo>
                      <a:pt x="264" y="248"/>
                    </a:lnTo>
                    <a:lnTo>
                      <a:pt x="263" y="250"/>
                    </a:lnTo>
                    <a:lnTo>
                      <a:pt x="263" y="251"/>
                    </a:lnTo>
                    <a:lnTo>
                      <a:pt x="263" y="253"/>
                    </a:lnTo>
                    <a:lnTo>
                      <a:pt x="263" y="256"/>
                    </a:lnTo>
                    <a:lnTo>
                      <a:pt x="263" y="259"/>
                    </a:lnTo>
                    <a:lnTo>
                      <a:pt x="261" y="259"/>
                    </a:lnTo>
                    <a:lnTo>
                      <a:pt x="263" y="261"/>
                    </a:lnTo>
                    <a:lnTo>
                      <a:pt x="261" y="263"/>
                    </a:lnTo>
                    <a:lnTo>
                      <a:pt x="258" y="266"/>
                    </a:lnTo>
                    <a:lnTo>
                      <a:pt x="258" y="267"/>
                    </a:lnTo>
                    <a:lnTo>
                      <a:pt x="258" y="277"/>
                    </a:lnTo>
                    <a:lnTo>
                      <a:pt x="258" y="281"/>
                    </a:lnTo>
                    <a:lnTo>
                      <a:pt x="261" y="282"/>
                    </a:lnTo>
                    <a:lnTo>
                      <a:pt x="264" y="287"/>
                    </a:lnTo>
                    <a:lnTo>
                      <a:pt x="266" y="290"/>
                    </a:lnTo>
                    <a:lnTo>
                      <a:pt x="267" y="292"/>
                    </a:lnTo>
                    <a:lnTo>
                      <a:pt x="274" y="292"/>
                    </a:lnTo>
                    <a:lnTo>
                      <a:pt x="274" y="292"/>
                    </a:lnTo>
                    <a:lnTo>
                      <a:pt x="274" y="290"/>
                    </a:lnTo>
                    <a:lnTo>
                      <a:pt x="272" y="289"/>
                    </a:lnTo>
                    <a:lnTo>
                      <a:pt x="276" y="287"/>
                    </a:lnTo>
                    <a:lnTo>
                      <a:pt x="279" y="289"/>
                    </a:lnTo>
                    <a:lnTo>
                      <a:pt x="279" y="305"/>
                    </a:lnTo>
                    <a:lnTo>
                      <a:pt x="279" y="307"/>
                    </a:lnTo>
                    <a:lnTo>
                      <a:pt x="276" y="307"/>
                    </a:lnTo>
                    <a:lnTo>
                      <a:pt x="276" y="305"/>
                    </a:lnTo>
                    <a:lnTo>
                      <a:pt x="274" y="305"/>
                    </a:lnTo>
                    <a:lnTo>
                      <a:pt x="272" y="307"/>
                    </a:lnTo>
                    <a:lnTo>
                      <a:pt x="269" y="307"/>
                    </a:lnTo>
                    <a:lnTo>
                      <a:pt x="267" y="307"/>
                    </a:lnTo>
                    <a:lnTo>
                      <a:pt x="264" y="303"/>
                    </a:lnTo>
                    <a:lnTo>
                      <a:pt x="261" y="300"/>
                    </a:lnTo>
                    <a:lnTo>
                      <a:pt x="258" y="297"/>
                    </a:lnTo>
                    <a:lnTo>
                      <a:pt x="254" y="294"/>
                    </a:lnTo>
                    <a:lnTo>
                      <a:pt x="251" y="290"/>
                    </a:lnTo>
                    <a:lnTo>
                      <a:pt x="246" y="289"/>
                    </a:lnTo>
                    <a:lnTo>
                      <a:pt x="241" y="287"/>
                    </a:lnTo>
                    <a:lnTo>
                      <a:pt x="241" y="284"/>
                    </a:lnTo>
                    <a:lnTo>
                      <a:pt x="238" y="282"/>
                    </a:lnTo>
                    <a:lnTo>
                      <a:pt x="238" y="277"/>
                    </a:lnTo>
                    <a:lnTo>
                      <a:pt x="238" y="277"/>
                    </a:lnTo>
                    <a:lnTo>
                      <a:pt x="236" y="277"/>
                    </a:lnTo>
                    <a:lnTo>
                      <a:pt x="235" y="277"/>
                    </a:lnTo>
                    <a:lnTo>
                      <a:pt x="233" y="282"/>
                    </a:lnTo>
                    <a:lnTo>
                      <a:pt x="233" y="284"/>
                    </a:lnTo>
                    <a:lnTo>
                      <a:pt x="228" y="285"/>
                    </a:lnTo>
                    <a:lnTo>
                      <a:pt x="225" y="285"/>
                    </a:lnTo>
                    <a:lnTo>
                      <a:pt x="225" y="284"/>
                    </a:lnTo>
                    <a:lnTo>
                      <a:pt x="222" y="284"/>
                    </a:lnTo>
                    <a:lnTo>
                      <a:pt x="218" y="282"/>
                    </a:lnTo>
                    <a:lnTo>
                      <a:pt x="214" y="281"/>
                    </a:lnTo>
                    <a:lnTo>
                      <a:pt x="214" y="281"/>
                    </a:lnTo>
                    <a:lnTo>
                      <a:pt x="210" y="279"/>
                    </a:lnTo>
                    <a:lnTo>
                      <a:pt x="209" y="279"/>
                    </a:lnTo>
                    <a:lnTo>
                      <a:pt x="209" y="277"/>
                    </a:lnTo>
                    <a:lnTo>
                      <a:pt x="209" y="276"/>
                    </a:lnTo>
                    <a:lnTo>
                      <a:pt x="207" y="274"/>
                    </a:lnTo>
                    <a:lnTo>
                      <a:pt x="207" y="271"/>
                    </a:lnTo>
                    <a:lnTo>
                      <a:pt x="207" y="271"/>
                    </a:lnTo>
                    <a:lnTo>
                      <a:pt x="202" y="272"/>
                    </a:lnTo>
                    <a:lnTo>
                      <a:pt x="200" y="272"/>
                    </a:lnTo>
                    <a:lnTo>
                      <a:pt x="199" y="272"/>
                    </a:lnTo>
                    <a:lnTo>
                      <a:pt x="197" y="274"/>
                    </a:lnTo>
                    <a:lnTo>
                      <a:pt x="196" y="276"/>
                    </a:lnTo>
                    <a:lnTo>
                      <a:pt x="194" y="276"/>
                    </a:lnTo>
                    <a:lnTo>
                      <a:pt x="194" y="274"/>
                    </a:lnTo>
                    <a:lnTo>
                      <a:pt x="194" y="271"/>
                    </a:lnTo>
                    <a:lnTo>
                      <a:pt x="192" y="271"/>
                    </a:lnTo>
                    <a:lnTo>
                      <a:pt x="191" y="269"/>
                    </a:lnTo>
                    <a:lnTo>
                      <a:pt x="187" y="269"/>
                    </a:lnTo>
                    <a:lnTo>
                      <a:pt x="187" y="269"/>
                    </a:lnTo>
                    <a:lnTo>
                      <a:pt x="187" y="267"/>
                    </a:lnTo>
                    <a:lnTo>
                      <a:pt x="184" y="269"/>
                    </a:lnTo>
                    <a:lnTo>
                      <a:pt x="181" y="269"/>
                    </a:lnTo>
                    <a:lnTo>
                      <a:pt x="179" y="271"/>
                    </a:lnTo>
                    <a:lnTo>
                      <a:pt x="178" y="271"/>
                    </a:lnTo>
                    <a:lnTo>
                      <a:pt x="176" y="272"/>
                    </a:lnTo>
                    <a:lnTo>
                      <a:pt x="174" y="271"/>
                    </a:lnTo>
                    <a:lnTo>
                      <a:pt x="169" y="271"/>
                    </a:lnTo>
                    <a:lnTo>
                      <a:pt x="168" y="271"/>
                    </a:lnTo>
                    <a:lnTo>
                      <a:pt x="166" y="269"/>
                    </a:lnTo>
                    <a:lnTo>
                      <a:pt x="165" y="269"/>
                    </a:lnTo>
                    <a:lnTo>
                      <a:pt x="163" y="269"/>
                    </a:lnTo>
                    <a:lnTo>
                      <a:pt x="163" y="271"/>
                    </a:lnTo>
                    <a:lnTo>
                      <a:pt x="161" y="271"/>
                    </a:lnTo>
                    <a:lnTo>
                      <a:pt x="160" y="271"/>
                    </a:lnTo>
                    <a:lnTo>
                      <a:pt x="160" y="271"/>
                    </a:lnTo>
                    <a:lnTo>
                      <a:pt x="160" y="267"/>
                    </a:lnTo>
                    <a:lnTo>
                      <a:pt x="160" y="266"/>
                    </a:lnTo>
                    <a:lnTo>
                      <a:pt x="160" y="266"/>
                    </a:lnTo>
                    <a:lnTo>
                      <a:pt x="161" y="263"/>
                    </a:lnTo>
                    <a:lnTo>
                      <a:pt x="160" y="261"/>
                    </a:lnTo>
                    <a:lnTo>
                      <a:pt x="158" y="258"/>
                    </a:lnTo>
                    <a:lnTo>
                      <a:pt x="160" y="258"/>
                    </a:lnTo>
                    <a:lnTo>
                      <a:pt x="160" y="256"/>
                    </a:lnTo>
                    <a:lnTo>
                      <a:pt x="158" y="253"/>
                    </a:lnTo>
                    <a:lnTo>
                      <a:pt x="158" y="251"/>
                    </a:lnTo>
                    <a:lnTo>
                      <a:pt x="158" y="250"/>
                    </a:lnTo>
                    <a:lnTo>
                      <a:pt x="158" y="248"/>
                    </a:lnTo>
                    <a:lnTo>
                      <a:pt x="156" y="248"/>
                    </a:lnTo>
                    <a:lnTo>
                      <a:pt x="155" y="245"/>
                    </a:lnTo>
                    <a:lnTo>
                      <a:pt x="155" y="245"/>
                    </a:lnTo>
                    <a:lnTo>
                      <a:pt x="155" y="243"/>
                    </a:lnTo>
                    <a:lnTo>
                      <a:pt x="153" y="241"/>
                    </a:lnTo>
                    <a:lnTo>
                      <a:pt x="153" y="240"/>
                    </a:lnTo>
                    <a:lnTo>
                      <a:pt x="151" y="238"/>
                    </a:lnTo>
                    <a:lnTo>
                      <a:pt x="153" y="235"/>
                    </a:lnTo>
                    <a:lnTo>
                      <a:pt x="153" y="228"/>
                    </a:lnTo>
                    <a:lnTo>
                      <a:pt x="151" y="227"/>
                    </a:lnTo>
                    <a:lnTo>
                      <a:pt x="153" y="225"/>
                    </a:lnTo>
                    <a:lnTo>
                      <a:pt x="153" y="225"/>
                    </a:lnTo>
                    <a:lnTo>
                      <a:pt x="153" y="222"/>
                    </a:lnTo>
                    <a:lnTo>
                      <a:pt x="151" y="220"/>
                    </a:lnTo>
                    <a:lnTo>
                      <a:pt x="151" y="217"/>
                    </a:lnTo>
                    <a:lnTo>
                      <a:pt x="153" y="214"/>
                    </a:lnTo>
                    <a:lnTo>
                      <a:pt x="153" y="212"/>
                    </a:lnTo>
                    <a:lnTo>
                      <a:pt x="153" y="209"/>
                    </a:lnTo>
                    <a:lnTo>
                      <a:pt x="153" y="207"/>
                    </a:lnTo>
                    <a:lnTo>
                      <a:pt x="135" y="205"/>
                    </a:lnTo>
                    <a:lnTo>
                      <a:pt x="135" y="204"/>
                    </a:lnTo>
                    <a:lnTo>
                      <a:pt x="135" y="202"/>
                    </a:lnTo>
                    <a:lnTo>
                      <a:pt x="135" y="201"/>
                    </a:lnTo>
                    <a:lnTo>
                      <a:pt x="130" y="201"/>
                    </a:lnTo>
                    <a:lnTo>
                      <a:pt x="130" y="202"/>
                    </a:lnTo>
                    <a:lnTo>
                      <a:pt x="116" y="202"/>
                    </a:lnTo>
                    <a:lnTo>
                      <a:pt x="116" y="207"/>
                    </a:lnTo>
                    <a:lnTo>
                      <a:pt x="114" y="209"/>
                    </a:lnTo>
                    <a:lnTo>
                      <a:pt x="112" y="210"/>
                    </a:lnTo>
                    <a:lnTo>
                      <a:pt x="112" y="214"/>
                    </a:lnTo>
                    <a:lnTo>
                      <a:pt x="112" y="217"/>
                    </a:lnTo>
                    <a:lnTo>
                      <a:pt x="101" y="218"/>
                    </a:lnTo>
                    <a:lnTo>
                      <a:pt x="99" y="220"/>
                    </a:lnTo>
                    <a:lnTo>
                      <a:pt x="94" y="218"/>
                    </a:lnTo>
                    <a:lnTo>
                      <a:pt x="91" y="218"/>
                    </a:lnTo>
                    <a:lnTo>
                      <a:pt x="89" y="218"/>
                    </a:lnTo>
                    <a:lnTo>
                      <a:pt x="85" y="220"/>
                    </a:lnTo>
                    <a:lnTo>
                      <a:pt x="83" y="218"/>
                    </a:lnTo>
                    <a:lnTo>
                      <a:pt x="81" y="212"/>
                    </a:lnTo>
                    <a:lnTo>
                      <a:pt x="80" y="210"/>
                    </a:lnTo>
                    <a:lnTo>
                      <a:pt x="78" y="207"/>
                    </a:lnTo>
                    <a:lnTo>
                      <a:pt x="78" y="207"/>
                    </a:lnTo>
                    <a:lnTo>
                      <a:pt x="76" y="204"/>
                    </a:lnTo>
                    <a:lnTo>
                      <a:pt x="76" y="204"/>
                    </a:lnTo>
                    <a:lnTo>
                      <a:pt x="76" y="199"/>
                    </a:lnTo>
                    <a:lnTo>
                      <a:pt x="75" y="196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5" y="191"/>
                    </a:lnTo>
                    <a:lnTo>
                      <a:pt x="73" y="189"/>
                    </a:lnTo>
                    <a:lnTo>
                      <a:pt x="73" y="187"/>
                    </a:lnTo>
                    <a:lnTo>
                      <a:pt x="73" y="186"/>
                    </a:lnTo>
                    <a:lnTo>
                      <a:pt x="73" y="184"/>
                    </a:lnTo>
                    <a:lnTo>
                      <a:pt x="57" y="184"/>
                    </a:lnTo>
                    <a:lnTo>
                      <a:pt x="45" y="184"/>
                    </a:lnTo>
                    <a:lnTo>
                      <a:pt x="40" y="184"/>
                    </a:lnTo>
                    <a:lnTo>
                      <a:pt x="36" y="184"/>
                    </a:lnTo>
                    <a:lnTo>
                      <a:pt x="32" y="184"/>
                    </a:lnTo>
                    <a:lnTo>
                      <a:pt x="27" y="184"/>
                    </a:lnTo>
                    <a:lnTo>
                      <a:pt x="24" y="184"/>
                    </a:lnTo>
                    <a:lnTo>
                      <a:pt x="21" y="184"/>
                    </a:lnTo>
                    <a:lnTo>
                      <a:pt x="19" y="184"/>
                    </a:lnTo>
                    <a:lnTo>
                      <a:pt x="16" y="184"/>
                    </a:lnTo>
                    <a:lnTo>
                      <a:pt x="14" y="184"/>
                    </a:lnTo>
                    <a:lnTo>
                      <a:pt x="11" y="186"/>
                    </a:lnTo>
                    <a:lnTo>
                      <a:pt x="9" y="186"/>
                    </a:lnTo>
                    <a:lnTo>
                      <a:pt x="9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6" y="186"/>
                    </a:lnTo>
                    <a:lnTo>
                      <a:pt x="1" y="184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8" name="Freeform 290">
                <a:extLst>
                  <a:ext uri="{FF2B5EF4-FFF2-40B4-BE49-F238E27FC236}">
                    <a16:creationId xmlns:a16="http://schemas.microsoft.com/office/drawing/2014/main" xmlns="" id="{08E90AEC-8983-4F17-8673-6AE68FB89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" y="2211"/>
                <a:ext cx="51" cy="130"/>
              </a:xfrm>
              <a:custGeom>
                <a:avLst/>
                <a:gdLst>
                  <a:gd name="T0" fmla="*/ 5 w 51"/>
                  <a:gd name="T1" fmla="*/ 0 h 130"/>
                  <a:gd name="T2" fmla="*/ 8 w 51"/>
                  <a:gd name="T3" fmla="*/ 3 h 130"/>
                  <a:gd name="T4" fmla="*/ 12 w 51"/>
                  <a:gd name="T5" fmla="*/ 3 h 130"/>
                  <a:gd name="T6" fmla="*/ 13 w 51"/>
                  <a:gd name="T7" fmla="*/ 3 h 130"/>
                  <a:gd name="T8" fmla="*/ 17 w 51"/>
                  <a:gd name="T9" fmla="*/ 5 h 130"/>
                  <a:gd name="T10" fmla="*/ 18 w 51"/>
                  <a:gd name="T11" fmla="*/ 6 h 130"/>
                  <a:gd name="T12" fmla="*/ 25 w 51"/>
                  <a:gd name="T13" fmla="*/ 14 h 130"/>
                  <a:gd name="T14" fmla="*/ 26 w 51"/>
                  <a:gd name="T15" fmla="*/ 47 h 130"/>
                  <a:gd name="T16" fmla="*/ 28 w 51"/>
                  <a:gd name="T17" fmla="*/ 65 h 130"/>
                  <a:gd name="T18" fmla="*/ 35 w 51"/>
                  <a:gd name="T19" fmla="*/ 70 h 130"/>
                  <a:gd name="T20" fmla="*/ 38 w 51"/>
                  <a:gd name="T21" fmla="*/ 72 h 130"/>
                  <a:gd name="T22" fmla="*/ 44 w 51"/>
                  <a:gd name="T23" fmla="*/ 80 h 130"/>
                  <a:gd name="T24" fmla="*/ 49 w 51"/>
                  <a:gd name="T25" fmla="*/ 90 h 130"/>
                  <a:gd name="T26" fmla="*/ 51 w 51"/>
                  <a:gd name="T27" fmla="*/ 93 h 130"/>
                  <a:gd name="T28" fmla="*/ 48 w 51"/>
                  <a:gd name="T29" fmla="*/ 96 h 130"/>
                  <a:gd name="T30" fmla="*/ 46 w 51"/>
                  <a:gd name="T31" fmla="*/ 98 h 130"/>
                  <a:gd name="T32" fmla="*/ 46 w 51"/>
                  <a:gd name="T33" fmla="*/ 99 h 130"/>
                  <a:gd name="T34" fmla="*/ 48 w 51"/>
                  <a:gd name="T35" fmla="*/ 108 h 130"/>
                  <a:gd name="T36" fmla="*/ 44 w 51"/>
                  <a:gd name="T37" fmla="*/ 112 h 130"/>
                  <a:gd name="T38" fmla="*/ 39 w 51"/>
                  <a:gd name="T39" fmla="*/ 117 h 130"/>
                  <a:gd name="T40" fmla="*/ 38 w 51"/>
                  <a:gd name="T41" fmla="*/ 124 h 130"/>
                  <a:gd name="T42" fmla="*/ 38 w 51"/>
                  <a:gd name="T43" fmla="*/ 130 h 130"/>
                  <a:gd name="T44" fmla="*/ 35 w 51"/>
                  <a:gd name="T45" fmla="*/ 129 h 130"/>
                  <a:gd name="T46" fmla="*/ 33 w 51"/>
                  <a:gd name="T47" fmla="*/ 124 h 130"/>
                  <a:gd name="T48" fmla="*/ 30 w 51"/>
                  <a:gd name="T49" fmla="*/ 121 h 130"/>
                  <a:gd name="T50" fmla="*/ 23 w 51"/>
                  <a:gd name="T51" fmla="*/ 116 h 130"/>
                  <a:gd name="T52" fmla="*/ 21 w 51"/>
                  <a:gd name="T53" fmla="*/ 109 h 130"/>
                  <a:gd name="T54" fmla="*/ 23 w 51"/>
                  <a:gd name="T55" fmla="*/ 103 h 130"/>
                  <a:gd name="T56" fmla="*/ 28 w 51"/>
                  <a:gd name="T57" fmla="*/ 96 h 130"/>
                  <a:gd name="T58" fmla="*/ 28 w 51"/>
                  <a:gd name="T59" fmla="*/ 88 h 130"/>
                  <a:gd name="T60" fmla="*/ 21 w 51"/>
                  <a:gd name="T61" fmla="*/ 85 h 130"/>
                  <a:gd name="T62" fmla="*/ 18 w 51"/>
                  <a:gd name="T63" fmla="*/ 86 h 130"/>
                  <a:gd name="T64" fmla="*/ 15 w 51"/>
                  <a:gd name="T65" fmla="*/ 86 h 130"/>
                  <a:gd name="T66" fmla="*/ 12 w 51"/>
                  <a:gd name="T67" fmla="*/ 83 h 130"/>
                  <a:gd name="T68" fmla="*/ 10 w 51"/>
                  <a:gd name="T69" fmla="*/ 80 h 130"/>
                  <a:gd name="T70" fmla="*/ 5 w 51"/>
                  <a:gd name="T71" fmla="*/ 78 h 130"/>
                  <a:gd name="T72" fmla="*/ 2 w 51"/>
                  <a:gd name="T73" fmla="*/ 75 h 130"/>
                  <a:gd name="T74" fmla="*/ 0 w 51"/>
                  <a:gd name="T75" fmla="*/ 70 h 130"/>
                  <a:gd name="T76" fmla="*/ 3 w 51"/>
                  <a:gd name="T77" fmla="*/ 67 h 130"/>
                  <a:gd name="T78" fmla="*/ 5 w 51"/>
                  <a:gd name="T79" fmla="*/ 62 h 130"/>
                  <a:gd name="T80" fmla="*/ 3 w 51"/>
                  <a:gd name="T81" fmla="*/ 59 h 130"/>
                  <a:gd name="T82" fmla="*/ 8 w 51"/>
                  <a:gd name="T83" fmla="*/ 55 h 130"/>
                  <a:gd name="T84" fmla="*/ 12 w 51"/>
                  <a:gd name="T85" fmla="*/ 52 h 130"/>
                  <a:gd name="T86" fmla="*/ 12 w 51"/>
                  <a:gd name="T87" fmla="*/ 50 h 130"/>
                  <a:gd name="T88" fmla="*/ 10 w 51"/>
                  <a:gd name="T89" fmla="*/ 47 h 130"/>
                  <a:gd name="T90" fmla="*/ 10 w 51"/>
                  <a:gd name="T91" fmla="*/ 45 h 130"/>
                  <a:gd name="T92" fmla="*/ 10 w 51"/>
                  <a:gd name="T93" fmla="*/ 41 h 130"/>
                  <a:gd name="T94" fmla="*/ 10 w 51"/>
                  <a:gd name="T95" fmla="*/ 37 h 130"/>
                  <a:gd name="T96" fmla="*/ 8 w 51"/>
                  <a:gd name="T97" fmla="*/ 31 h 130"/>
                  <a:gd name="T98" fmla="*/ 13 w 51"/>
                  <a:gd name="T99" fmla="*/ 24 h 130"/>
                  <a:gd name="T100" fmla="*/ 13 w 51"/>
                  <a:gd name="T101" fmla="*/ 23 h 130"/>
                  <a:gd name="T102" fmla="*/ 13 w 51"/>
                  <a:gd name="T103" fmla="*/ 18 h 130"/>
                  <a:gd name="T104" fmla="*/ 10 w 51"/>
                  <a:gd name="T105" fmla="*/ 13 h 130"/>
                  <a:gd name="T106" fmla="*/ 12 w 51"/>
                  <a:gd name="T107" fmla="*/ 8 h 130"/>
                  <a:gd name="T108" fmla="*/ 8 w 51"/>
                  <a:gd name="T109" fmla="*/ 6 h 130"/>
                  <a:gd name="T110" fmla="*/ 5 w 51"/>
                  <a:gd name="T111" fmla="*/ 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" h="130">
                    <a:moveTo>
                      <a:pt x="5" y="1"/>
                    </a:moveTo>
                    <a:lnTo>
                      <a:pt x="5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5" y="14"/>
                    </a:lnTo>
                    <a:lnTo>
                      <a:pt x="26" y="21"/>
                    </a:lnTo>
                    <a:lnTo>
                      <a:pt x="26" y="47"/>
                    </a:lnTo>
                    <a:lnTo>
                      <a:pt x="25" y="50"/>
                    </a:lnTo>
                    <a:lnTo>
                      <a:pt x="28" y="65"/>
                    </a:lnTo>
                    <a:lnTo>
                      <a:pt x="33" y="68"/>
                    </a:lnTo>
                    <a:lnTo>
                      <a:pt x="35" y="70"/>
                    </a:lnTo>
                    <a:lnTo>
                      <a:pt x="36" y="72"/>
                    </a:lnTo>
                    <a:lnTo>
                      <a:pt x="38" y="72"/>
                    </a:lnTo>
                    <a:lnTo>
                      <a:pt x="43" y="78"/>
                    </a:lnTo>
                    <a:lnTo>
                      <a:pt x="44" y="80"/>
                    </a:lnTo>
                    <a:lnTo>
                      <a:pt x="48" y="85"/>
                    </a:lnTo>
                    <a:lnTo>
                      <a:pt x="49" y="90"/>
                    </a:lnTo>
                    <a:lnTo>
                      <a:pt x="51" y="91"/>
                    </a:lnTo>
                    <a:lnTo>
                      <a:pt x="51" y="93"/>
                    </a:lnTo>
                    <a:lnTo>
                      <a:pt x="48" y="94"/>
                    </a:lnTo>
                    <a:lnTo>
                      <a:pt x="48" y="96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98"/>
                    </a:lnTo>
                    <a:lnTo>
                      <a:pt x="46" y="99"/>
                    </a:lnTo>
                    <a:lnTo>
                      <a:pt x="48" y="101"/>
                    </a:lnTo>
                    <a:lnTo>
                      <a:pt x="48" y="108"/>
                    </a:lnTo>
                    <a:lnTo>
                      <a:pt x="46" y="111"/>
                    </a:lnTo>
                    <a:lnTo>
                      <a:pt x="44" y="112"/>
                    </a:lnTo>
                    <a:lnTo>
                      <a:pt x="41" y="112"/>
                    </a:lnTo>
                    <a:lnTo>
                      <a:pt x="39" y="117"/>
                    </a:lnTo>
                    <a:lnTo>
                      <a:pt x="39" y="121"/>
                    </a:lnTo>
                    <a:lnTo>
                      <a:pt x="38" y="124"/>
                    </a:lnTo>
                    <a:lnTo>
                      <a:pt x="38" y="127"/>
                    </a:lnTo>
                    <a:lnTo>
                      <a:pt x="38" y="130"/>
                    </a:lnTo>
                    <a:lnTo>
                      <a:pt x="35" y="130"/>
                    </a:lnTo>
                    <a:lnTo>
                      <a:pt x="35" y="129"/>
                    </a:lnTo>
                    <a:lnTo>
                      <a:pt x="35" y="127"/>
                    </a:lnTo>
                    <a:lnTo>
                      <a:pt x="33" y="124"/>
                    </a:lnTo>
                    <a:lnTo>
                      <a:pt x="31" y="122"/>
                    </a:lnTo>
                    <a:lnTo>
                      <a:pt x="30" y="121"/>
                    </a:lnTo>
                    <a:lnTo>
                      <a:pt x="26" y="119"/>
                    </a:lnTo>
                    <a:lnTo>
                      <a:pt x="23" y="116"/>
                    </a:lnTo>
                    <a:lnTo>
                      <a:pt x="23" y="112"/>
                    </a:lnTo>
                    <a:lnTo>
                      <a:pt x="21" y="109"/>
                    </a:lnTo>
                    <a:lnTo>
                      <a:pt x="21" y="106"/>
                    </a:lnTo>
                    <a:lnTo>
                      <a:pt x="23" y="103"/>
                    </a:lnTo>
                    <a:lnTo>
                      <a:pt x="25" y="99"/>
                    </a:lnTo>
                    <a:lnTo>
                      <a:pt x="28" y="96"/>
                    </a:lnTo>
                    <a:lnTo>
                      <a:pt x="28" y="93"/>
                    </a:lnTo>
                    <a:lnTo>
                      <a:pt x="28" y="88"/>
                    </a:lnTo>
                    <a:lnTo>
                      <a:pt x="26" y="85"/>
                    </a:lnTo>
                    <a:lnTo>
                      <a:pt x="21" y="85"/>
                    </a:lnTo>
                    <a:lnTo>
                      <a:pt x="18" y="85"/>
                    </a:lnTo>
                    <a:lnTo>
                      <a:pt x="18" y="86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12" y="85"/>
                    </a:lnTo>
                    <a:lnTo>
                      <a:pt x="12" y="83"/>
                    </a:lnTo>
                    <a:lnTo>
                      <a:pt x="10" y="81"/>
                    </a:lnTo>
                    <a:lnTo>
                      <a:pt x="10" y="80"/>
                    </a:lnTo>
                    <a:lnTo>
                      <a:pt x="8" y="78"/>
                    </a:lnTo>
                    <a:lnTo>
                      <a:pt x="5" y="78"/>
                    </a:lnTo>
                    <a:lnTo>
                      <a:pt x="3" y="78"/>
                    </a:lnTo>
                    <a:lnTo>
                      <a:pt x="2" y="75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5" y="62"/>
                    </a:lnTo>
                    <a:lnTo>
                      <a:pt x="3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8" y="55"/>
                    </a:lnTo>
                    <a:lnTo>
                      <a:pt x="10" y="54"/>
                    </a:lnTo>
                    <a:lnTo>
                      <a:pt x="12" y="52"/>
                    </a:lnTo>
                    <a:lnTo>
                      <a:pt x="13" y="52"/>
                    </a:lnTo>
                    <a:lnTo>
                      <a:pt x="12" y="50"/>
                    </a:lnTo>
                    <a:lnTo>
                      <a:pt x="10" y="49"/>
                    </a:lnTo>
                    <a:lnTo>
                      <a:pt x="10" y="47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2" y="44"/>
                    </a:lnTo>
                    <a:lnTo>
                      <a:pt x="10" y="41"/>
                    </a:lnTo>
                    <a:lnTo>
                      <a:pt x="12" y="39"/>
                    </a:lnTo>
                    <a:lnTo>
                      <a:pt x="10" y="37"/>
                    </a:lnTo>
                    <a:lnTo>
                      <a:pt x="10" y="34"/>
                    </a:lnTo>
                    <a:lnTo>
                      <a:pt x="8" y="31"/>
                    </a:lnTo>
                    <a:lnTo>
                      <a:pt x="10" y="29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0" y="14"/>
                    </a:lnTo>
                    <a:lnTo>
                      <a:pt x="10" y="13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0" name="Freeform 291">
                <a:extLst>
                  <a:ext uri="{FF2B5EF4-FFF2-40B4-BE49-F238E27FC236}">
                    <a16:creationId xmlns:a16="http://schemas.microsoft.com/office/drawing/2014/main" xmlns="" id="{BD0116AB-0B7F-4E63-86E6-3EE2CC54F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" y="2193"/>
                <a:ext cx="186" cy="161"/>
              </a:xfrm>
              <a:custGeom>
                <a:avLst/>
                <a:gdLst>
                  <a:gd name="T0" fmla="*/ 39 w 186"/>
                  <a:gd name="T1" fmla="*/ 49 h 161"/>
                  <a:gd name="T2" fmla="*/ 43 w 186"/>
                  <a:gd name="T3" fmla="*/ 54 h 161"/>
                  <a:gd name="T4" fmla="*/ 49 w 186"/>
                  <a:gd name="T5" fmla="*/ 50 h 161"/>
                  <a:gd name="T6" fmla="*/ 56 w 186"/>
                  <a:gd name="T7" fmla="*/ 54 h 161"/>
                  <a:gd name="T8" fmla="*/ 61 w 186"/>
                  <a:gd name="T9" fmla="*/ 59 h 161"/>
                  <a:gd name="T10" fmla="*/ 72 w 186"/>
                  <a:gd name="T11" fmla="*/ 62 h 161"/>
                  <a:gd name="T12" fmla="*/ 80 w 186"/>
                  <a:gd name="T13" fmla="*/ 60 h 161"/>
                  <a:gd name="T14" fmla="*/ 85 w 186"/>
                  <a:gd name="T15" fmla="*/ 55 h 161"/>
                  <a:gd name="T16" fmla="*/ 93 w 186"/>
                  <a:gd name="T17" fmla="*/ 67 h 161"/>
                  <a:gd name="T18" fmla="*/ 108 w 186"/>
                  <a:gd name="T19" fmla="*/ 78 h 161"/>
                  <a:gd name="T20" fmla="*/ 119 w 186"/>
                  <a:gd name="T21" fmla="*/ 85 h 161"/>
                  <a:gd name="T22" fmla="*/ 126 w 186"/>
                  <a:gd name="T23" fmla="*/ 85 h 161"/>
                  <a:gd name="T24" fmla="*/ 119 w 186"/>
                  <a:gd name="T25" fmla="*/ 67 h 161"/>
                  <a:gd name="T26" fmla="*/ 114 w 186"/>
                  <a:gd name="T27" fmla="*/ 70 h 161"/>
                  <a:gd name="T28" fmla="*/ 105 w 186"/>
                  <a:gd name="T29" fmla="*/ 59 h 161"/>
                  <a:gd name="T30" fmla="*/ 108 w 186"/>
                  <a:gd name="T31" fmla="*/ 41 h 161"/>
                  <a:gd name="T32" fmla="*/ 110 w 186"/>
                  <a:gd name="T33" fmla="*/ 34 h 161"/>
                  <a:gd name="T34" fmla="*/ 111 w 186"/>
                  <a:gd name="T35" fmla="*/ 26 h 161"/>
                  <a:gd name="T36" fmla="*/ 106 w 186"/>
                  <a:gd name="T37" fmla="*/ 18 h 161"/>
                  <a:gd name="T38" fmla="*/ 149 w 186"/>
                  <a:gd name="T39" fmla="*/ 3 h 161"/>
                  <a:gd name="T40" fmla="*/ 155 w 186"/>
                  <a:gd name="T41" fmla="*/ 6 h 161"/>
                  <a:gd name="T42" fmla="*/ 170 w 186"/>
                  <a:gd name="T43" fmla="*/ 11 h 161"/>
                  <a:gd name="T44" fmla="*/ 176 w 186"/>
                  <a:gd name="T45" fmla="*/ 19 h 161"/>
                  <a:gd name="T46" fmla="*/ 181 w 186"/>
                  <a:gd name="T47" fmla="*/ 24 h 161"/>
                  <a:gd name="T48" fmla="*/ 183 w 186"/>
                  <a:gd name="T49" fmla="*/ 31 h 161"/>
                  <a:gd name="T50" fmla="*/ 186 w 186"/>
                  <a:gd name="T51" fmla="*/ 41 h 161"/>
                  <a:gd name="T52" fmla="*/ 181 w 186"/>
                  <a:gd name="T53" fmla="*/ 49 h 161"/>
                  <a:gd name="T54" fmla="*/ 183 w 186"/>
                  <a:gd name="T55" fmla="*/ 59 h 161"/>
                  <a:gd name="T56" fmla="*/ 183 w 186"/>
                  <a:gd name="T57" fmla="*/ 65 h 161"/>
                  <a:gd name="T58" fmla="*/ 185 w 186"/>
                  <a:gd name="T59" fmla="*/ 70 h 161"/>
                  <a:gd name="T60" fmla="*/ 176 w 186"/>
                  <a:gd name="T61" fmla="*/ 77 h 161"/>
                  <a:gd name="T62" fmla="*/ 176 w 186"/>
                  <a:gd name="T63" fmla="*/ 85 h 161"/>
                  <a:gd name="T64" fmla="*/ 175 w 186"/>
                  <a:gd name="T65" fmla="*/ 93 h 161"/>
                  <a:gd name="T66" fmla="*/ 173 w 186"/>
                  <a:gd name="T67" fmla="*/ 98 h 161"/>
                  <a:gd name="T68" fmla="*/ 141 w 186"/>
                  <a:gd name="T69" fmla="*/ 109 h 161"/>
                  <a:gd name="T70" fmla="*/ 134 w 186"/>
                  <a:gd name="T71" fmla="*/ 122 h 161"/>
                  <a:gd name="T72" fmla="*/ 127 w 186"/>
                  <a:gd name="T73" fmla="*/ 122 h 161"/>
                  <a:gd name="T74" fmla="*/ 118 w 186"/>
                  <a:gd name="T75" fmla="*/ 124 h 161"/>
                  <a:gd name="T76" fmla="*/ 110 w 186"/>
                  <a:gd name="T77" fmla="*/ 130 h 161"/>
                  <a:gd name="T78" fmla="*/ 108 w 186"/>
                  <a:gd name="T79" fmla="*/ 135 h 161"/>
                  <a:gd name="T80" fmla="*/ 80 w 186"/>
                  <a:gd name="T81" fmla="*/ 160 h 161"/>
                  <a:gd name="T82" fmla="*/ 70 w 186"/>
                  <a:gd name="T83" fmla="*/ 160 h 161"/>
                  <a:gd name="T84" fmla="*/ 64 w 186"/>
                  <a:gd name="T85" fmla="*/ 158 h 161"/>
                  <a:gd name="T86" fmla="*/ 56 w 186"/>
                  <a:gd name="T87" fmla="*/ 158 h 161"/>
                  <a:gd name="T88" fmla="*/ 47 w 186"/>
                  <a:gd name="T89" fmla="*/ 153 h 161"/>
                  <a:gd name="T90" fmla="*/ 43 w 186"/>
                  <a:gd name="T91" fmla="*/ 153 h 161"/>
                  <a:gd name="T92" fmla="*/ 21 w 186"/>
                  <a:gd name="T93" fmla="*/ 157 h 161"/>
                  <a:gd name="T94" fmla="*/ 15 w 186"/>
                  <a:gd name="T95" fmla="*/ 148 h 161"/>
                  <a:gd name="T96" fmla="*/ 5 w 186"/>
                  <a:gd name="T97" fmla="*/ 140 h 161"/>
                  <a:gd name="T98" fmla="*/ 0 w 186"/>
                  <a:gd name="T99" fmla="*/ 132 h 161"/>
                  <a:gd name="T100" fmla="*/ 34 w 186"/>
                  <a:gd name="T101" fmla="*/ 72 h 161"/>
                  <a:gd name="T102" fmla="*/ 34 w 186"/>
                  <a:gd name="T103" fmla="*/ 62 h 161"/>
                  <a:gd name="T104" fmla="*/ 34 w 186"/>
                  <a:gd name="T105" fmla="*/ 4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6" h="161">
                    <a:moveTo>
                      <a:pt x="34" y="47"/>
                    </a:moveTo>
                    <a:lnTo>
                      <a:pt x="34" y="47"/>
                    </a:lnTo>
                    <a:lnTo>
                      <a:pt x="38" y="47"/>
                    </a:lnTo>
                    <a:lnTo>
                      <a:pt x="39" y="49"/>
                    </a:lnTo>
                    <a:lnTo>
                      <a:pt x="41" y="49"/>
                    </a:lnTo>
                    <a:lnTo>
                      <a:pt x="41" y="52"/>
                    </a:lnTo>
                    <a:lnTo>
                      <a:pt x="41" y="54"/>
                    </a:lnTo>
                    <a:lnTo>
                      <a:pt x="43" y="54"/>
                    </a:lnTo>
                    <a:lnTo>
                      <a:pt x="44" y="52"/>
                    </a:lnTo>
                    <a:lnTo>
                      <a:pt x="46" y="50"/>
                    </a:lnTo>
                    <a:lnTo>
                      <a:pt x="47" y="50"/>
                    </a:lnTo>
                    <a:lnTo>
                      <a:pt x="49" y="50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4" y="52"/>
                    </a:lnTo>
                    <a:lnTo>
                      <a:pt x="56" y="54"/>
                    </a:lnTo>
                    <a:lnTo>
                      <a:pt x="56" y="55"/>
                    </a:lnTo>
                    <a:lnTo>
                      <a:pt x="56" y="57"/>
                    </a:lnTo>
                    <a:lnTo>
                      <a:pt x="57" y="57"/>
                    </a:lnTo>
                    <a:lnTo>
                      <a:pt x="61" y="59"/>
                    </a:lnTo>
                    <a:lnTo>
                      <a:pt x="61" y="59"/>
                    </a:lnTo>
                    <a:lnTo>
                      <a:pt x="65" y="60"/>
                    </a:lnTo>
                    <a:lnTo>
                      <a:pt x="69" y="62"/>
                    </a:lnTo>
                    <a:lnTo>
                      <a:pt x="72" y="62"/>
                    </a:lnTo>
                    <a:lnTo>
                      <a:pt x="72" y="63"/>
                    </a:lnTo>
                    <a:lnTo>
                      <a:pt x="75" y="63"/>
                    </a:lnTo>
                    <a:lnTo>
                      <a:pt x="80" y="62"/>
                    </a:lnTo>
                    <a:lnTo>
                      <a:pt x="80" y="60"/>
                    </a:lnTo>
                    <a:lnTo>
                      <a:pt x="82" y="55"/>
                    </a:lnTo>
                    <a:lnTo>
                      <a:pt x="83" y="55"/>
                    </a:lnTo>
                    <a:lnTo>
                      <a:pt x="85" y="55"/>
                    </a:lnTo>
                    <a:lnTo>
                      <a:pt x="85" y="55"/>
                    </a:lnTo>
                    <a:lnTo>
                      <a:pt x="85" y="60"/>
                    </a:lnTo>
                    <a:lnTo>
                      <a:pt x="88" y="62"/>
                    </a:lnTo>
                    <a:lnTo>
                      <a:pt x="88" y="65"/>
                    </a:lnTo>
                    <a:lnTo>
                      <a:pt x="93" y="67"/>
                    </a:lnTo>
                    <a:lnTo>
                      <a:pt x="98" y="68"/>
                    </a:lnTo>
                    <a:lnTo>
                      <a:pt x="101" y="72"/>
                    </a:lnTo>
                    <a:lnTo>
                      <a:pt x="105" y="75"/>
                    </a:lnTo>
                    <a:lnTo>
                      <a:pt x="108" y="78"/>
                    </a:lnTo>
                    <a:lnTo>
                      <a:pt x="111" y="81"/>
                    </a:lnTo>
                    <a:lnTo>
                      <a:pt x="114" y="85"/>
                    </a:lnTo>
                    <a:lnTo>
                      <a:pt x="116" y="85"/>
                    </a:lnTo>
                    <a:lnTo>
                      <a:pt x="119" y="85"/>
                    </a:lnTo>
                    <a:lnTo>
                      <a:pt x="121" y="83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6" y="85"/>
                    </a:lnTo>
                    <a:lnTo>
                      <a:pt x="126" y="83"/>
                    </a:lnTo>
                    <a:lnTo>
                      <a:pt x="126" y="67"/>
                    </a:lnTo>
                    <a:lnTo>
                      <a:pt x="123" y="65"/>
                    </a:lnTo>
                    <a:lnTo>
                      <a:pt x="119" y="67"/>
                    </a:lnTo>
                    <a:lnTo>
                      <a:pt x="121" y="68"/>
                    </a:lnTo>
                    <a:lnTo>
                      <a:pt x="121" y="70"/>
                    </a:lnTo>
                    <a:lnTo>
                      <a:pt x="121" y="70"/>
                    </a:lnTo>
                    <a:lnTo>
                      <a:pt x="114" y="70"/>
                    </a:lnTo>
                    <a:lnTo>
                      <a:pt x="113" y="68"/>
                    </a:lnTo>
                    <a:lnTo>
                      <a:pt x="111" y="65"/>
                    </a:lnTo>
                    <a:lnTo>
                      <a:pt x="108" y="60"/>
                    </a:lnTo>
                    <a:lnTo>
                      <a:pt x="105" y="59"/>
                    </a:lnTo>
                    <a:lnTo>
                      <a:pt x="105" y="55"/>
                    </a:lnTo>
                    <a:lnTo>
                      <a:pt x="105" y="45"/>
                    </a:lnTo>
                    <a:lnTo>
                      <a:pt x="105" y="44"/>
                    </a:lnTo>
                    <a:lnTo>
                      <a:pt x="108" y="41"/>
                    </a:lnTo>
                    <a:lnTo>
                      <a:pt x="110" y="39"/>
                    </a:lnTo>
                    <a:lnTo>
                      <a:pt x="108" y="37"/>
                    </a:lnTo>
                    <a:lnTo>
                      <a:pt x="110" y="37"/>
                    </a:lnTo>
                    <a:lnTo>
                      <a:pt x="110" y="34"/>
                    </a:lnTo>
                    <a:lnTo>
                      <a:pt x="110" y="31"/>
                    </a:lnTo>
                    <a:lnTo>
                      <a:pt x="110" y="29"/>
                    </a:lnTo>
                    <a:lnTo>
                      <a:pt x="110" y="28"/>
                    </a:lnTo>
                    <a:lnTo>
                      <a:pt x="111" y="26"/>
                    </a:lnTo>
                    <a:lnTo>
                      <a:pt x="111" y="24"/>
                    </a:lnTo>
                    <a:lnTo>
                      <a:pt x="110" y="23"/>
                    </a:lnTo>
                    <a:lnTo>
                      <a:pt x="108" y="21"/>
                    </a:lnTo>
                    <a:lnTo>
                      <a:pt x="106" y="18"/>
                    </a:lnTo>
                    <a:lnTo>
                      <a:pt x="113" y="5"/>
                    </a:lnTo>
                    <a:lnTo>
                      <a:pt x="139" y="0"/>
                    </a:lnTo>
                    <a:lnTo>
                      <a:pt x="147" y="3"/>
                    </a:lnTo>
                    <a:lnTo>
                      <a:pt x="149" y="3"/>
                    </a:lnTo>
                    <a:lnTo>
                      <a:pt x="152" y="3"/>
                    </a:lnTo>
                    <a:lnTo>
                      <a:pt x="154" y="3"/>
                    </a:lnTo>
                    <a:lnTo>
                      <a:pt x="155" y="5"/>
                    </a:lnTo>
                    <a:lnTo>
                      <a:pt x="155" y="6"/>
                    </a:lnTo>
                    <a:lnTo>
                      <a:pt x="157" y="8"/>
                    </a:lnTo>
                    <a:lnTo>
                      <a:pt x="160" y="8"/>
                    </a:lnTo>
                    <a:lnTo>
                      <a:pt x="168" y="11"/>
                    </a:lnTo>
                    <a:lnTo>
                      <a:pt x="170" y="11"/>
                    </a:lnTo>
                    <a:lnTo>
                      <a:pt x="170" y="13"/>
                    </a:lnTo>
                    <a:lnTo>
                      <a:pt x="173" y="13"/>
                    </a:lnTo>
                    <a:lnTo>
                      <a:pt x="173" y="16"/>
                    </a:lnTo>
                    <a:lnTo>
                      <a:pt x="176" y="19"/>
                    </a:lnTo>
                    <a:lnTo>
                      <a:pt x="178" y="19"/>
                    </a:lnTo>
                    <a:lnTo>
                      <a:pt x="178" y="21"/>
                    </a:lnTo>
                    <a:lnTo>
                      <a:pt x="180" y="23"/>
                    </a:lnTo>
                    <a:lnTo>
                      <a:pt x="181" y="24"/>
                    </a:lnTo>
                    <a:lnTo>
                      <a:pt x="183" y="26"/>
                    </a:lnTo>
                    <a:lnTo>
                      <a:pt x="185" y="26"/>
                    </a:lnTo>
                    <a:lnTo>
                      <a:pt x="185" y="28"/>
                    </a:lnTo>
                    <a:lnTo>
                      <a:pt x="183" y="31"/>
                    </a:lnTo>
                    <a:lnTo>
                      <a:pt x="183" y="32"/>
                    </a:lnTo>
                    <a:lnTo>
                      <a:pt x="186" y="36"/>
                    </a:lnTo>
                    <a:lnTo>
                      <a:pt x="186" y="37"/>
                    </a:lnTo>
                    <a:lnTo>
                      <a:pt x="186" y="41"/>
                    </a:lnTo>
                    <a:lnTo>
                      <a:pt x="186" y="42"/>
                    </a:lnTo>
                    <a:lnTo>
                      <a:pt x="186" y="42"/>
                    </a:lnTo>
                    <a:lnTo>
                      <a:pt x="183" y="47"/>
                    </a:lnTo>
                    <a:lnTo>
                      <a:pt x="181" y="49"/>
                    </a:lnTo>
                    <a:lnTo>
                      <a:pt x="183" y="52"/>
                    </a:lnTo>
                    <a:lnTo>
                      <a:pt x="183" y="55"/>
                    </a:lnTo>
                    <a:lnTo>
                      <a:pt x="185" y="57"/>
                    </a:lnTo>
                    <a:lnTo>
                      <a:pt x="183" y="59"/>
                    </a:lnTo>
                    <a:lnTo>
                      <a:pt x="185" y="62"/>
                    </a:lnTo>
                    <a:lnTo>
                      <a:pt x="183" y="63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3" y="67"/>
                    </a:lnTo>
                    <a:lnTo>
                      <a:pt x="185" y="68"/>
                    </a:lnTo>
                    <a:lnTo>
                      <a:pt x="186" y="70"/>
                    </a:lnTo>
                    <a:lnTo>
                      <a:pt x="185" y="70"/>
                    </a:lnTo>
                    <a:lnTo>
                      <a:pt x="183" y="72"/>
                    </a:lnTo>
                    <a:lnTo>
                      <a:pt x="181" y="73"/>
                    </a:lnTo>
                    <a:lnTo>
                      <a:pt x="178" y="75"/>
                    </a:lnTo>
                    <a:lnTo>
                      <a:pt x="176" y="77"/>
                    </a:lnTo>
                    <a:lnTo>
                      <a:pt x="176" y="78"/>
                    </a:lnTo>
                    <a:lnTo>
                      <a:pt x="178" y="80"/>
                    </a:lnTo>
                    <a:lnTo>
                      <a:pt x="176" y="81"/>
                    </a:lnTo>
                    <a:lnTo>
                      <a:pt x="176" y="85"/>
                    </a:lnTo>
                    <a:lnTo>
                      <a:pt x="175" y="86"/>
                    </a:lnTo>
                    <a:lnTo>
                      <a:pt x="173" y="88"/>
                    </a:lnTo>
                    <a:lnTo>
                      <a:pt x="173" y="90"/>
                    </a:lnTo>
                    <a:lnTo>
                      <a:pt x="175" y="93"/>
                    </a:lnTo>
                    <a:lnTo>
                      <a:pt x="176" y="96"/>
                    </a:lnTo>
                    <a:lnTo>
                      <a:pt x="178" y="96"/>
                    </a:lnTo>
                    <a:lnTo>
                      <a:pt x="176" y="96"/>
                    </a:lnTo>
                    <a:lnTo>
                      <a:pt x="173" y="98"/>
                    </a:lnTo>
                    <a:lnTo>
                      <a:pt x="163" y="103"/>
                    </a:lnTo>
                    <a:lnTo>
                      <a:pt x="160" y="103"/>
                    </a:lnTo>
                    <a:lnTo>
                      <a:pt x="144" y="109"/>
                    </a:lnTo>
                    <a:lnTo>
                      <a:pt x="141" y="109"/>
                    </a:lnTo>
                    <a:lnTo>
                      <a:pt x="134" y="112"/>
                    </a:lnTo>
                    <a:lnTo>
                      <a:pt x="134" y="116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29" y="122"/>
                    </a:lnTo>
                    <a:lnTo>
                      <a:pt x="127" y="122"/>
                    </a:lnTo>
                    <a:lnTo>
                      <a:pt x="127" y="121"/>
                    </a:lnTo>
                    <a:lnTo>
                      <a:pt x="123" y="121"/>
                    </a:lnTo>
                    <a:lnTo>
                      <a:pt x="119" y="122"/>
                    </a:lnTo>
                    <a:lnTo>
                      <a:pt x="118" y="124"/>
                    </a:lnTo>
                    <a:lnTo>
                      <a:pt x="114" y="124"/>
                    </a:lnTo>
                    <a:lnTo>
                      <a:pt x="111" y="127"/>
                    </a:lnTo>
                    <a:lnTo>
                      <a:pt x="110" y="129"/>
                    </a:lnTo>
                    <a:lnTo>
                      <a:pt x="110" y="130"/>
                    </a:lnTo>
                    <a:lnTo>
                      <a:pt x="110" y="132"/>
                    </a:lnTo>
                    <a:lnTo>
                      <a:pt x="110" y="134"/>
                    </a:lnTo>
                    <a:lnTo>
                      <a:pt x="110" y="135"/>
                    </a:lnTo>
                    <a:lnTo>
                      <a:pt x="108" y="135"/>
                    </a:lnTo>
                    <a:lnTo>
                      <a:pt x="103" y="139"/>
                    </a:lnTo>
                    <a:lnTo>
                      <a:pt x="93" y="144"/>
                    </a:lnTo>
                    <a:lnTo>
                      <a:pt x="85" y="153"/>
                    </a:lnTo>
                    <a:lnTo>
                      <a:pt x="80" y="160"/>
                    </a:lnTo>
                    <a:lnTo>
                      <a:pt x="77" y="161"/>
                    </a:lnTo>
                    <a:lnTo>
                      <a:pt x="74" y="161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8"/>
                    </a:lnTo>
                    <a:lnTo>
                      <a:pt x="69" y="158"/>
                    </a:lnTo>
                    <a:lnTo>
                      <a:pt x="67" y="158"/>
                    </a:lnTo>
                    <a:lnTo>
                      <a:pt x="64" y="158"/>
                    </a:lnTo>
                    <a:lnTo>
                      <a:pt x="61" y="160"/>
                    </a:lnTo>
                    <a:lnTo>
                      <a:pt x="59" y="160"/>
                    </a:lnTo>
                    <a:lnTo>
                      <a:pt x="59" y="160"/>
                    </a:lnTo>
                    <a:lnTo>
                      <a:pt x="56" y="158"/>
                    </a:lnTo>
                    <a:lnTo>
                      <a:pt x="51" y="157"/>
                    </a:lnTo>
                    <a:lnTo>
                      <a:pt x="49" y="157"/>
                    </a:lnTo>
                    <a:lnTo>
                      <a:pt x="47" y="155"/>
                    </a:lnTo>
                    <a:lnTo>
                      <a:pt x="47" y="153"/>
                    </a:lnTo>
                    <a:lnTo>
                      <a:pt x="46" y="153"/>
                    </a:lnTo>
                    <a:lnTo>
                      <a:pt x="44" y="153"/>
                    </a:lnTo>
                    <a:lnTo>
                      <a:pt x="43" y="153"/>
                    </a:lnTo>
                    <a:lnTo>
                      <a:pt x="43" y="153"/>
                    </a:lnTo>
                    <a:lnTo>
                      <a:pt x="41" y="152"/>
                    </a:lnTo>
                    <a:lnTo>
                      <a:pt x="38" y="153"/>
                    </a:lnTo>
                    <a:lnTo>
                      <a:pt x="36" y="153"/>
                    </a:lnTo>
                    <a:lnTo>
                      <a:pt x="21" y="157"/>
                    </a:lnTo>
                    <a:lnTo>
                      <a:pt x="20" y="153"/>
                    </a:lnTo>
                    <a:lnTo>
                      <a:pt x="18" y="153"/>
                    </a:lnTo>
                    <a:lnTo>
                      <a:pt x="16" y="150"/>
                    </a:lnTo>
                    <a:lnTo>
                      <a:pt x="15" y="148"/>
                    </a:lnTo>
                    <a:lnTo>
                      <a:pt x="13" y="148"/>
                    </a:lnTo>
                    <a:lnTo>
                      <a:pt x="12" y="147"/>
                    </a:lnTo>
                    <a:lnTo>
                      <a:pt x="8" y="142"/>
                    </a:lnTo>
                    <a:lnTo>
                      <a:pt x="5" y="140"/>
                    </a:lnTo>
                    <a:lnTo>
                      <a:pt x="5" y="139"/>
                    </a:lnTo>
                    <a:lnTo>
                      <a:pt x="2" y="137"/>
                    </a:lnTo>
                    <a:lnTo>
                      <a:pt x="0" y="135"/>
                    </a:lnTo>
                    <a:lnTo>
                      <a:pt x="0" y="132"/>
                    </a:lnTo>
                    <a:lnTo>
                      <a:pt x="0" y="78"/>
                    </a:lnTo>
                    <a:lnTo>
                      <a:pt x="34" y="78"/>
                    </a:lnTo>
                    <a:lnTo>
                      <a:pt x="34" y="77"/>
                    </a:lnTo>
                    <a:lnTo>
                      <a:pt x="34" y="72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4" y="65"/>
                    </a:lnTo>
                    <a:lnTo>
                      <a:pt x="34" y="62"/>
                    </a:lnTo>
                    <a:lnTo>
                      <a:pt x="34" y="57"/>
                    </a:lnTo>
                    <a:lnTo>
                      <a:pt x="33" y="49"/>
                    </a:lnTo>
                    <a:lnTo>
                      <a:pt x="34" y="49"/>
                    </a:lnTo>
                    <a:lnTo>
                      <a:pt x="34" y="47"/>
                    </a:lnTo>
                    <a:lnTo>
                      <a:pt x="34" y="4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1" name="Freeform 292">
                <a:extLst>
                  <a:ext uri="{FF2B5EF4-FFF2-40B4-BE49-F238E27FC236}">
                    <a16:creationId xmlns:a16="http://schemas.microsoft.com/office/drawing/2014/main" xmlns="" id="{F1F86096-094C-48CE-AE30-AC9B37626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2155"/>
                <a:ext cx="199" cy="199"/>
              </a:xfrm>
              <a:custGeom>
                <a:avLst/>
                <a:gdLst>
                  <a:gd name="T0" fmla="*/ 179 w 199"/>
                  <a:gd name="T1" fmla="*/ 188 h 199"/>
                  <a:gd name="T2" fmla="*/ 171 w 199"/>
                  <a:gd name="T3" fmla="*/ 180 h 199"/>
                  <a:gd name="T4" fmla="*/ 163 w 199"/>
                  <a:gd name="T5" fmla="*/ 173 h 199"/>
                  <a:gd name="T6" fmla="*/ 197 w 199"/>
                  <a:gd name="T7" fmla="*/ 115 h 199"/>
                  <a:gd name="T8" fmla="*/ 197 w 199"/>
                  <a:gd name="T9" fmla="*/ 103 h 199"/>
                  <a:gd name="T10" fmla="*/ 197 w 199"/>
                  <a:gd name="T11" fmla="*/ 87 h 199"/>
                  <a:gd name="T12" fmla="*/ 191 w 199"/>
                  <a:gd name="T13" fmla="*/ 85 h 199"/>
                  <a:gd name="T14" fmla="*/ 184 w 199"/>
                  <a:gd name="T15" fmla="*/ 87 h 199"/>
                  <a:gd name="T16" fmla="*/ 175 w 199"/>
                  <a:gd name="T17" fmla="*/ 85 h 199"/>
                  <a:gd name="T18" fmla="*/ 170 w 199"/>
                  <a:gd name="T19" fmla="*/ 87 h 199"/>
                  <a:gd name="T20" fmla="*/ 170 w 199"/>
                  <a:gd name="T21" fmla="*/ 82 h 199"/>
                  <a:gd name="T22" fmla="*/ 170 w 199"/>
                  <a:gd name="T23" fmla="*/ 74 h 199"/>
                  <a:gd name="T24" fmla="*/ 168 w 199"/>
                  <a:gd name="T25" fmla="*/ 66 h 199"/>
                  <a:gd name="T26" fmla="*/ 165 w 199"/>
                  <a:gd name="T27" fmla="*/ 61 h 199"/>
                  <a:gd name="T28" fmla="*/ 161 w 199"/>
                  <a:gd name="T29" fmla="*/ 54 h 199"/>
                  <a:gd name="T30" fmla="*/ 163 w 199"/>
                  <a:gd name="T31" fmla="*/ 41 h 199"/>
                  <a:gd name="T32" fmla="*/ 161 w 199"/>
                  <a:gd name="T33" fmla="*/ 33 h 199"/>
                  <a:gd name="T34" fmla="*/ 163 w 199"/>
                  <a:gd name="T35" fmla="*/ 23 h 199"/>
                  <a:gd name="T36" fmla="*/ 145 w 199"/>
                  <a:gd name="T37" fmla="*/ 17 h 199"/>
                  <a:gd name="T38" fmla="*/ 126 w 199"/>
                  <a:gd name="T39" fmla="*/ 23 h 199"/>
                  <a:gd name="T40" fmla="*/ 122 w 199"/>
                  <a:gd name="T41" fmla="*/ 33 h 199"/>
                  <a:gd name="T42" fmla="*/ 101 w 199"/>
                  <a:gd name="T43" fmla="*/ 34 h 199"/>
                  <a:gd name="T44" fmla="*/ 91 w 199"/>
                  <a:gd name="T45" fmla="*/ 28 h 199"/>
                  <a:gd name="T46" fmla="*/ 86 w 199"/>
                  <a:gd name="T47" fmla="*/ 20 h 199"/>
                  <a:gd name="T48" fmla="*/ 85 w 199"/>
                  <a:gd name="T49" fmla="*/ 10 h 199"/>
                  <a:gd name="T50" fmla="*/ 83 w 199"/>
                  <a:gd name="T51" fmla="*/ 3 h 199"/>
                  <a:gd name="T52" fmla="*/ 55 w 199"/>
                  <a:gd name="T53" fmla="*/ 0 h 199"/>
                  <a:gd name="T54" fmla="*/ 37 w 199"/>
                  <a:gd name="T55" fmla="*/ 0 h 199"/>
                  <a:gd name="T56" fmla="*/ 26 w 199"/>
                  <a:gd name="T57" fmla="*/ 0 h 199"/>
                  <a:gd name="T58" fmla="*/ 19 w 199"/>
                  <a:gd name="T59" fmla="*/ 2 h 199"/>
                  <a:gd name="T60" fmla="*/ 13 w 199"/>
                  <a:gd name="T61" fmla="*/ 5 h 199"/>
                  <a:gd name="T62" fmla="*/ 24 w 199"/>
                  <a:gd name="T63" fmla="*/ 33 h 199"/>
                  <a:gd name="T64" fmla="*/ 26 w 199"/>
                  <a:gd name="T65" fmla="*/ 54 h 199"/>
                  <a:gd name="T66" fmla="*/ 34 w 199"/>
                  <a:gd name="T67" fmla="*/ 77 h 199"/>
                  <a:gd name="T68" fmla="*/ 29 w 199"/>
                  <a:gd name="T69" fmla="*/ 108 h 199"/>
                  <a:gd name="T70" fmla="*/ 11 w 199"/>
                  <a:gd name="T71" fmla="*/ 126 h 199"/>
                  <a:gd name="T72" fmla="*/ 6 w 199"/>
                  <a:gd name="T73" fmla="*/ 150 h 199"/>
                  <a:gd name="T74" fmla="*/ 0 w 199"/>
                  <a:gd name="T75" fmla="*/ 173 h 199"/>
                  <a:gd name="T76" fmla="*/ 0 w 199"/>
                  <a:gd name="T77" fmla="*/ 188 h 199"/>
                  <a:gd name="T78" fmla="*/ 5 w 199"/>
                  <a:gd name="T79" fmla="*/ 186 h 199"/>
                  <a:gd name="T80" fmla="*/ 13 w 199"/>
                  <a:gd name="T81" fmla="*/ 186 h 199"/>
                  <a:gd name="T82" fmla="*/ 23 w 199"/>
                  <a:gd name="T83" fmla="*/ 182 h 199"/>
                  <a:gd name="T84" fmla="*/ 28 w 199"/>
                  <a:gd name="T85" fmla="*/ 183 h 199"/>
                  <a:gd name="T86" fmla="*/ 31 w 199"/>
                  <a:gd name="T87" fmla="*/ 186 h 199"/>
                  <a:gd name="T88" fmla="*/ 41 w 199"/>
                  <a:gd name="T89" fmla="*/ 190 h 199"/>
                  <a:gd name="T90" fmla="*/ 104 w 199"/>
                  <a:gd name="T91" fmla="*/ 188 h 199"/>
                  <a:gd name="T92" fmla="*/ 112 w 199"/>
                  <a:gd name="T93" fmla="*/ 195 h 199"/>
                  <a:gd name="T94" fmla="*/ 121 w 199"/>
                  <a:gd name="T95" fmla="*/ 196 h 199"/>
                  <a:gd name="T96" fmla="*/ 130 w 199"/>
                  <a:gd name="T97" fmla="*/ 196 h 199"/>
                  <a:gd name="T98" fmla="*/ 137 w 199"/>
                  <a:gd name="T99" fmla="*/ 195 h 199"/>
                  <a:gd name="T100" fmla="*/ 147 w 199"/>
                  <a:gd name="T101" fmla="*/ 199 h 199"/>
                  <a:gd name="T102" fmla="*/ 152 w 199"/>
                  <a:gd name="T103" fmla="*/ 199 h 199"/>
                  <a:gd name="T104" fmla="*/ 155 w 199"/>
                  <a:gd name="T105" fmla="*/ 199 h 199"/>
                  <a:gd name="T106" fmla="*/ 184 w 199"/>
                  <a:gd name="T107" fmla="*/ 195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9" h="199">
                    <a:moveTo>
                      <a:pt x="184" y="195"/>
                    </a:moveTo>
                    <a:lnTo>
                      <a:pt x="183" y="191"/>
                    </a:lnTo>
                    <a:lnTo>
                      <a:pt x="181" y="191"/>
                    </a:lnTo>
                    <a:lnTo>
                      <a:pt x="179" y="188"/>
                    </a:lnTo>
                    <a:lnTo>
                      <a:pt x="178" y="186"/>
                    </a:lnTo>
                    <a:lnTo>
                      <a:pt x="176" y="186"/>
                    </a:lnTo>
                    <a:lnTo>
                      <a:pt x="175" y="185"/>
                    </a:lnTo>
                    <a:lnTo>
                      <a:pt x="171" y="180"/>
                    </a:lnTo>
                    <a:lnTo>
                      <a:pt x="168" y="178"/>
                    </a:lnTo>
                    <a:lnTo>
                      <a:pt x="168" y="177"/>
                    </a:lnTo>
                    <a:lnTo>
                      <a:pt x="165" y="175"/>
                    </a:lnTo>
                    <a:lnTo>
                      <a:pt x="163" y="173"/>
                    </a:lnTo>
                    <a:lnTo>
                      <a:pt x="163" y="170"/>
                    </a:lnTo>
                    <a:lnTo>
                      <a:pt x="163" y="116"/>
                    </a:lnTo>
                    <a:lnTo>
                      <a:pt x="197" y="116"/>
                    </a:lnTo>
                    <a:lnTo>
                      <a:pt x="197" y="115"/>
                    </a:lnTo>
                    <a:lnTo>
                      <a:pt x="197" y="110"/>
                    </a:lnTo>
                    <a:lnTo>
                      <a:pt x="199" y="110"/>
                    </a:lnTo>
                    <a:lnTo>
                      <a:pt x="199" y="106"/>
                    </a:lnTo>
                    <a:lnTo>
                      <a:pt x="197" y="103"/>
                    </a:lnTo>
                    <a:lnTo>
                      <a:pt x="197" y="100"/>
                    </a:lnTo>
                    <a:lnTo>
                      <a:pt x="197" y="95"/>
                    </a:lnTo>
                    <a:lnTo>
                      <a:pt x="196" y="87"/>
                    </a:lnTo>
                    <a:lnTo>
                      <a:pt x="197" y="87"/>
                    </a:lnTo>
                    <a:lnTo>
                      <a:pt x="197" y="85"/>
                    </a:lnTo>
                    <a:lnTo>
                      <a:pt x="197" y="83"/>
                    </a:lnTo>
                    <a:lnTo>
                      <a:pt x="194" y="85"/>
                    </a:lnTo>
                    <a:lnTo>
                      <a:pt x="191" y="85"/>
                    </a:lnTo>
                    <a:lnTo>
                      <a:pt x="189" y="87"/>
                    </a:lnTo>
                    <a:lnTo>
                      <a:pt x="188" y="87"/>
                    </a:lnTo>
                    <a:lnTo>
                      <a:pt x="186" y="88"/>
                    </a:lnTo>
                    <a:lnTo>
                      <a:pt x="184" y="87"/>
                    </a:lnTo>
                    <a:lnTo>
                      <a:pt x="179" y="87"/>
                    </a:lnTo>
                    <a:lnTo>
                      <a:pt x="178" y="87"/>
                    </a:lnTo>
                    <a:lnTo>
                      <a:pt x="176" y="85"/>
                    </a:lnTo>
                    <a:lnTo>
                      <a:pt x="175" y="85"/>
                    </a:lnTo>
                    <a:lnTo>
                      <a:pt x="173" y="85"/>
                    </a:lnTo>
                    <a:lnTo>
                      <a:pt x="173" y="87"/>
                    </a:lnTo>
                    <a:lnTo>
                      <a:pt x="171" y="87"/>
                    </a:lnTo>
                    <a:lnTo>
                      <a:pt x="170" y="87"/>
                    </a:lnTo>
                    <a:lnTo>
                      <a:pt x="170" y="87"/>
                    </a:lnTo>
                    <a:lnTo>
                      <a:pt x="170" y="83"/>
                    </a:lnTo>
                    <a:lnTo>
                      <a:pt x="170" y="82"/>
                    </a:lnTo>
                    <a:lnTo>
                      <a:pt x="170" y="82"/>
                    </a:lnTo>
                    <a:lnTo>
                      <a:pt x="171" y="79"/>
                    </a:lnTo>
                    <a:lnTo>
                      <a:pt x="170" y="77"/>
                    </a:lnTo>
                    <a:lnTo>
                      <a:pt x="168" y="74"/>
                    </a:lnTo>
                    <a:lnTo>
                      <a:pt x="170" y="74"/>
                    </a:lnTo>
                    <a:lnTo>
                      <a:pt x="170" y="72"/>
                    </a:lnTo>
                    <a:lnTo>
                      <a:pt x="168" y="69"/>
                    </a:lnTo>
                    <a:lnTo>
                      <a:pt x="168" y="67"/>
                    </a:lnTo>
                    <a:lnTo>
                      <a:pt x="168" y="66"/>
                    </a:lnTo>
                    <a:lnTo>
                      <a:pt x="168" y="64"/>
                    </a:lnTo>
                    <a:lnTo>
                      <a:pt x="166" y="64"/>
                    </a:lnTo>
                    <a:lnTo>
                      <a:pt x="165" y="61"/>
                    </a:lnTo>
                    <a:lnTo>
                      <a:pt x="165" y="61"/>
                    </a:lnTo>
                    <a:lnTo>
                      <a:pt x="165" y="59"/>
                    </a:lnTo>
                    <a:lnTo>
                      <a:pt x="163" y="57"/>
                    </a:lnTo>
                    <a:lnTo>
                      <a:pt x="163" y="56"/>
                    </a:lnTo>
                    <a:lnTo>
                      <a:pt x="161" y="54"/>
                    </a:lnTo>
                    <a:lnTo>
                      <a:pt x="163" y="51"/>
                    </a:lnTo>
                    <a:lnTo>
                      <a:pt x="163" y="44"/>
                    </a:lnTo>
                    <a:lnTo>
                      <a:pt x="161" y="43"/>
                    </a:lnTo>
                    <a:lnTo>
                      <a:pt x="163" y="41"/>
                    </a:lnTo>
                    <a:lnTo>
                      <a:pt x="163" y="41"/>
                    </a:lnTo>
                    <a:lnTo>
                      <a:pt x="163" y="38"/>
                    </a:lnTo>
                    <a:lnTo>
                      <a:pt x="161" y="36"/>
                    </a:lnTo>
                    <a:lnTo>
                      <a:pt x="161" y="33"/>
                    </a:lnTo>
                    <a:lnTo>
                      <a:pt x="163" y="30"/>
                    </a:lnTo>
                    <a:lnTo>
                      <a:pt x="163" y="28"/>
                    </a:lnTo>
                    <a:lnTo>
                      <a:pt x="163" y="25"/>
                    </a:lnTo>
                    <a:lnTo>
                      <a:pt x="163" y="23"/>
                    </a:lnTo>
                    <a:lnTo>
                      <a:pt x="145" y="21"/>
                    </a:lnTo>
                    <a:lnTo>
                      <a:pt x="145" y="20"/>
                    </a:lnTo>
                    <a:lnTo>
                      <a:pt x="145" y="18"/>
                    </a:lnTo>
                    <a:lnTo>
                      <a:pt x="145" y="17"/>
                    </a:lnTo>
                    <a:lnTo>
                      <a:pt x="140" y="17"/>
                    </a:lnTo>
                    <a:lnTo>
                      <a:pt x="140" y="18"/>
                    </a:lnTo>
                    <a:lnTo>
                      <a:pt x="126" y="18"/>
                    </a:lnTo>
                    <a:lnTo>
                      <a:pt x="126" y="23"/>
                    </a:lnTo>
                    <a:lnTo>
                      <a:pt x="124" y="25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2" y="33"/>
                    </a:lnTo>
                    <a:lnTo>
                      <a:pt x="111" y="34"/>
                    </a:lnTo>
                    <a:lnTo>
                      <a:pt x="109" y="36"/>
                    </a:lnTo>
                    <a:lnTo>
                      <a:pt x="104" y="34"/>
                    </a:lnTo>
                    <a:lnTo>
                      <a:pt x="101" y="34"/>
                    </a:lnTo>
                    <a:lnTo>
                      <a:pt x="99" y="34"/>
                    </a:lnTo>
                    <a:lnTo>
                      <a:pt x="95" y="36"/>
                    </a:lnTo>
                    <a:lnTo>
                      <a:pt x="93" y="34"/>
                    </a:lnTo>
                    <a:lnTo>
                      <a:pt x="91" y="28"/>
                    </a:lnTo>
                    <a:lnTo>
                      <a:pt x="90" y="26"/>
                    </a:lnTo>
                    <a:lnTo>
                      <a:pt x="88" y="23"/>
                    </a:lnTo>
                    <a:lnTo>
                      <a:pt x="88" y="23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5"/>
                    </a:lnTo>
                    <a:lnTo>
                      <a:pt x="85" y="12"/>
                    </a:lnTo>
                    <a:lnTo>
                      <a:pt x="85" y="10"/>
                    </a:lnTo>
                    <a:lnTo>
                      <a:pt x="85" y="8"/>
                    </a:lnTo>
                    <a:lnTo>
                      <a:pt x="85" y="7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2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3" y="5"/>
                    </a:lnTo>
                    <a:lnTo>
                      <a:pt x="14" y="7"/>
                    </a:lnTo>
                    <a:lnTo>
                      <a:pt x="14" y="10"/>
                    </a:lnTo>
                    <a:lnTo>
                      <a:pt x="24" y="20"/>
                    </a:lnTo>
                    <a:lnTo>
                      <a:pt x="24" y="33"/>
                    </a:lnTo>
                    <a:lnTo>
                      <a:pt x="29" y="39"/>
                    </a:lnTo>
                    <a:lnTo>
                      <a:pt x="28" y="46"/>
                    </a:lnTo>
                    <a:lnTo>
                      <a:pt x="23" y="52"/>
                    </a:lnTo>
                    <a:lnTo>
                      <a:pt x="26" y="54"/>
                    </a:lnTo>
                    <a:lnTo>
                      <a:pt x="26" y="59"/>
                    </a:lnTo>
                    <a:lnTo>
                      <a:pt x="28" y="64"/>
                    </a:lnTo>
                    <a:lnTo>
                      <a:pt x="28" y="67"/>
                    </a:lnTo>
                    <a:lnTo>
                      <a:pt x="34" y="77"/>
                    </a:lnTo>
                    <a:lnTo>
                      <a:pt x="34" y="80"/>
                    </a:lnTo>
                    <a:lnTo>
                      <a:pt x="36" y="82"/>
                    </a:lnTo>
                    <a:lnTo>
                      <a:pt x="36" y="97"/>
                    </a:lnTo>
                    <a:lnTo>
                      <a:pt x="29" y="108"/>
                    </a:lnTo>
                    <a:lnTo>
                      <a:pt x="28" y="108"/>
                    </a:lnTo>
                    <a:lnTo>
                      <a:pt x="21" y="115"/>
                    </a:lnTo>
                    <a:lnTo>
                      <a:pt x="21" y="118"/>
                    </a:lnTo>
                    <a:lnTo>
                      <a:pt x="11" y="126"/>
                    </a:lnTo>
                    <a:lnTo>
                      <a:pt x="11" y="131"/>
                    </a:lnTo>
                    <a:lnTo>
                      <a:pt x="10" y="133"/>
                    </a:lnTo>
                    <a:lnTo>
                      <a:pt x="10" y="146"/>
                    </a:lnTo>
                    <a:lnTo>
                      <a:pt x="6" y="150"/>
                    </a:lnTo>
                    <a:lnTo>
                      <a:pt x="5" y="157"/>
                    </a:lnTo>
                    <a:lnTo>
                      <a:pt x="1" y="162"/>
                    </a:lnTo>
                    <a:lnTo>
                      <a:pt x="1" y="168"/>
                    </a:lnTo>
                    <a:lnTo>
                      <a:pt x="0" y="173"/>
                    </a:lnTo>
                    <a:lnTo>
                      <a:pt x="0" y="182"/>
                    </a:lnTo>
                    <a:lnTo>
                      <a:pt x="0" y="186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3" y="188"/>
                    </a:lnTo>
                    <a:lnTo>
                      <a:pt x="3" y="190"/>
                    </a:lnTo>
                    <a:lnTo>
                      <a:pt x="5" y="188"/>
                    </a:lnTo>
                    <a:lnTo>
                      <a:pt x="5" y="186"/>
                    </a:lnTo>
                    <a:lnTo>
                      <a:pt x="6" y="186"/>
                    </a:lnTo>
                    <a:lnTo>
                      <a:pt x="10" y="186"/>
                    </a:lnTo>
                    <a:lnTo>
                      <a:pt x="13" y="188"/>
                    </a:lnTo>
                    <a:lnTo>
                      <a:pt x="13" y="186"/>
                    </a:lnTo>
                    <a:lnTo>
                      <a:pt x="14" y="185"/>
                    </a:lnTo>
                    <a:lnTo>
                      <a:pt x="19" y="182"/>
                    </a:lnTo>
                    <a:lnTo>
                      <a:pt x="21" y="182"/>
                    </a:lnTo>
                    <a:lnTo>
                      <a:pt x="23" y="182"/>
                    </a:lnTo>
                    <a:lnTo>
                      <a:pt x="24" y="183"/>
                    </a:lnTo>
                    <a:lnTo>
                      <a:pt x="24" y="182"/>
                    </a:lnTo>
                    <a:lnTo>
                      <a:pt x="26" y="182"/>
                    </a:lnTo>
                    <a:lnTo>
                      <a:pt x="28" y="183"/>
                    </a:lnTo>
                    <a:lnTo>
                      <a:pt x="28" y="183"/>
                    </a:lnTo>
                    <a:lnTo>
                      <a:pt x="31" y="185"/>
                    </a:lnTo>
                    <a:lnTo>
                      <a:pt x="29" y="186"/>
                    </a:lnTo>
                    <a:lnTo>
                      <a:pt x="31" y="186"/>
                    </a:lnTo>
                    <a:lnTo>
                      <a:pt x="34" y="190"/>
                    </a:lnTo>
                    <a:lnTo>
                      <a:pt x="37" y="191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4" y="188"/>
                    </a:lnTo>
                    <a:lnTo>
                      <a:pt x="46" y="188"/>
                    </a:lnTo>
                    <a:lnTo>
                      <a:pt x="46" y="188"/>
                    </a:lnTo>
                    <a:lnTo>
                      <a:pt x="104" y="188"/>
                    </a:lnTo>
                    <a:lnTo>
                      <a:pt x="106" y="190"/>
                    </a:lnTo>
                    <a:lnTo>
                      <a:pt x="108" y="193"/>
                    </a:lnTo>
                    <a:lnTo>
                      <a:pt x="109" y="193"/>
                    </a:lnTo>
                    <a:lnTo>
                      <a:pt x="112" y="195"/>
                    </a:lnTo>
                    <a:lnTo>
                      <a:pt x="116" y="196"/>
                    </a:lnTo>
                    <a:lnTo>
                      <a:pt x="117" y="195"/>
                    </a:lnTo>
                    <a:lnTo>
                      <a:pt x="119" y="196"/>
                    </a:lnTo>
                    <a:lnTo>
                      <a:pt x="121" y="196"/>
                    </a:lnTo>
                    <a:lnTo>
                      <a:pt x="122" y="198"/>
                    </a:lnTo>
                    <a:lnTo>
                      <a:pt x="124" y="196"/>
                    </a:lnTo>
                    <a:lnTo>
                      <a:pt x="127" y="196"/>
                    </a:lnTo>
                    <a:lnTo>
                      <a:pt x="130" y="196"/>
                    </a:lnTo>
                    <a:lnTo>
                      <a:pt x="134" y="196"/>
                    </a:lnTo>
                    <a:lnTo>
                      <a:pt x="134" y="195"/>
                    </a:lnTo>
                    <a:lnTo>
                      <a:pt x="134" y="195"/>
                    </a:lnTo>
                    <a:lnTo>
                      <a:pt x="137" y="195"/>
                    </a:lnTo>
                    <a:lnTo>
                      <a:pt x="140" y="198"/>
                    </a:lnTo>
                    <a:lnTo>
                      <a:pt x="142" y="199"/>
                    </a:lnTo>
                    <a:lnTo>
                      <a:pt x="145" y="199"/>
                    </a:lnTo>
                    <a:lnTo>
                      <a:pt x="147" y="199"/>
                    </a:lnTo>
                    <a:lnTo>
                      <a:pt x="147" y="198"/>
                    </a:lnTo>
                    <a:lnTo>
                      <a:pt x="148" y="198"/>
                    </a:lnTo>
                    <a:lnTo>
                      <a:pt x="150" y="198"/>
                    </a:lnTo>
                    <a:lnTo>
                      <a:pt x="152" y="199"/>
                    </a:lnTo>
                    <a:lnTo>
                      <a:pt x="153" y="198"/>
                    </a:lnTo>
                    <a:lnTo>
                      <a:pt x="153" y="199"/>
                    </a:lnTo>
                    <a:lnTo>
                      <a:pt x="155" y="199"/>
                    </a:lnTo>
                    <a:lnTo>
                      <a:pt x="155" y="199"/>
                    </a:lnTo>
                    <a:lnTo>
                      <a:pt x="157" y="199"/>
                    </a:lnTo>
                    <a:lnTo>
                      <a:pt x="158" y="199"/>
                    </a:lnTo>
                    <a:lnTo>
                      <a:pt x="160" y="199"/>
                    </a:lnTo>
                    <a:lnTo>
                      <a:pt x="184" y="19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2" name="Freeform 293">
                <a:extLst>
                  <a:ext uri="{FF2B5EF4-FFF2-40B4-BE49-F238E27FC236}">
                    <a16:creationId xmlns:a16="http://schemas.microsoft.com/office/drawing/2014/main" xmlns="" id="{6D233EC3-8D81-4120-B59B-CED6A5BFF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" y="2314"/>
                <a:ext cx="126" cy="116"/>
              </a:xfrm>
              <a:custGeom>
                <a:avLst/>
                <a:gdLst>
                  <a:gd name="T0" fmla="*/ 7 w 126"/>
                  <a:gd name="T1" fmla="*/ 37 h 116"/>
                  <a:gd name="T2" fmla="*/ 12 w 126"/>
                  <a:gd name="T3" fmla="*/ 39 h 116"/>
                  <a:gd name="T4" fmla="*/ 20 w 126"/>
                  <a:gd name="T5" fmla="*/ 37 h 116"/>
                  <a:gd name="T6" fmla="*/ 23 w 126"/>
                  <a:gd name="T7" fmla="*/ 39 h 116"/>
                  <a:gd name="T8" fmla="*/ 31 w 126"/>
                  <a:gd name="T9" fmla="*/ 39 h 116"/>
                  <a:gd name="T10" fmla="*/ 54 w 126"/>
                  <a:gd name="T11" fmla="*/ 18 h 116"/>
                  <a:gd name="T12" fmla="*/ 61 w 126"/>
                  <a:gd name="T13" fmla="*/ 13 h 116"/>
                  <a:gd name="T14" fmla="*/ 61 w 126"/>
                  <a:gd name="T15" fmla="*/ 8 h 116"/>
                  <a:gd name="T16" fmla="*/ 69 w 126"/>
                  <a:gd name="T17" fmla="*/ 3 h 116"/>
                  <a:gd name="T18" fmla="*/ 78 w 126"/>
                  <a:gd name="T19" fmla="*/ 0 h 116"/>
                  <a:gd name="T20" fmla="*/ 83 w 126"/>
                  <a:gd name="T21" fmla="*/ 1 h 116"/>
                  <a:gd name="T22" fmla="*/ 87 w 126"/>
                  <a:gd name="T23" fmla="*/ 8 h 116"/>
                  <a:gd name="T24" fmla="*/ 95 w 126"/>
                  <a:gd name="T25" fmla="*/ 9 h 116"/>
                  <a:gd name="T26" fmla="*/ 101 w 126"/>
                  <a:gd name="T27" fmla="*/ 8 h 116"/>
                  <a:gd name="T28" fmla="*/ 111 w 126"/>
                  <a:gd name="T29" fmla="*/ 16 h 116"/>
                  <a:gd name="T30" fmla="*/ 121 w 126"/>
                  <a:gd name="T31" fmla="*/ 21 h 116"/>
                  <a:gd name="T32" fmla="*/ 124 w 126"/>
                  <a:gd name="T33" fmla="*/ 26 h 116"/>
                  <a:gd name="T34" fmla="*/ 124 w 126"/>
                  <a:gd name="T35" fmla="*/ 32 h 116"/>
                  <a:gd name="T36" fmla="*/ 123 w 126"/>
                  <a:gd name="T37" fmla="*/ 42 h 116"/>
                  <a:gd name="T38" fmla="*/ 124 w 126"/>
                  <a:gd name="T39" fmla="*/ 45 h 116"/>
                  <a:gd name="T40" fmla="*/ 121 w 126"/>
                  <a:gd name="T41" fmla="*/ 52 h 116"/>
                  <a:gd name="T42" fmla="*/ 119 w 126"/>
                  <a:gd name="T43" fmla="*/ 58 h 116"/>
                  <a:gd name="T44" fmla="*/ 121 w 126"/>
                  <a:gd name="T45" fmla="*/ 65 h 116"/>
                  <a:gd name="T46" fmla="*/ 123 w 126"/>
                  <a:gd name="T47" fmla="*/ 72 h 116"/>
                  <a:gd name="T48" fmla="*/ 116 w 126"/>
                  <a:gd name="T49" fmla="*/ 78 h 116"/>
                  <a:gd name="T50" fmla="*/ 114 w 126"/>
                  <a:gd name="T51" fmla="*/ 85 h 116"/>
                  <a:gd name="T52" fmla="*/ 113 w 126"/>
                  <a:gd name="T53" fmla="*/ 93 h 116"/>
                  <a:gd name="T54" fmla="*/ 93 w 126"/>
                  <a:gd name="T55" fmla="*/ 114 h 116"/>
                  <a:gd name="T56" fmla="*/ 80 w 126"/>
                  <a:gd name="T57" fmla="*/ 114 h 116"/>
                  <a:gd name="T58" fmla="*/ 74 w 126"/>
                  <a:gd name="T59" fmla="*/ 112 h 116"/>
                  <a:gd name="T60" fmla="*/ 64 w 126"/>
                  <a:gd name="T61" fmla="*/ 109 h 116"/>
                  <a:gd name="T62" fmla="*/ 61 w 126"/>
                  <a:gd name="T63" fmla="*/ 104 h 116"/>
                  <a:gd name="T64" fmla="*/ 54 w 126"/>
                  <a:gd name="T65" fmla="*/ 101 h 116"/>
                  <a:gd name="T66" fmla="*/ 47 w 126"/>
                  <a:gd name="T67" fmla="*/ 101 h 116"/>
                  <a:gd name="T68" fmla="*/ 39 w 126"/>
                  <a:gd name="T69" fmla="*/ 94 h 116"/>
                  <a:gd name="T70" fmla="*/ 36 w 126"/>
                  <a:gd name="T71" fmla="*/ 86 h 116"/>
                  <a:gd name="T72" fmla="*/ 33 w 126"/>
                  <a:gd name="T73" fmla="*/ 81 h 116"/>
                  <a:gd name="T74" fmla="*/ 31 w 126"/>
                  <a:gd name="T75" fmla="*/ 78 h 116"/>
                  <a:gd name="T76" fmla="*/ 25 w 126"/>
                  <a:gd name="T77" fmla="*/ 73 h 116"/>
                  <a:gd name="T78" fmla="*/ 16 w 126"/>
                  <a:gd name="T79" fmla="*/ 62 h 116"/>
                  <a:gd name="T80" fmla="*/ 13 w 126"/>
                  <a:gd name="T81" fmla="*/ 57 h 116"/>
                  <a:gd name="T82" fmla="*/ 10 w 126"/>
                  <a:gd name="T83" fmla="*/ 50 h 116"/>
                  <a:gd name="T84" fmla="*/ 7 w 126"/>
                  <a:gd name="T85" fmla="*/ 47 h 116"/>
                  <a:gd name="T86" fmla="*/ 2 w 126"/>
                  <a:gd name="T87" fmla="*/ 42 h 116"/>
                  <a:gd name="T88" fmla="*/ 2 w 126"/>
                  <a:gd name="T89" fmla="*/ 37 h 116"/>
                  <a:gd name="T90" fmla="*/ 0 w 126"/>
                  <a:gd name="T91" fmla="*/ 3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116">
                    <a:moveTo>
                      <a:pt x="0" y="36"/>
                    </a:moveTo>
                    <a:lnTo>
                      <a:pt x="2" y="36"/>
                    </a:lnTo>
                    <a:lnTo>
                      <a:pt x="7" y="37"/>
                    </a:lnTo>
                    <a:lnTo>
                      <a:pt x="10" y="39"/>
                    </a:lnTo>
                    <a:lnTo>
                      <a:pt x="10" y="39"/>
                    </a:lnTo>
                    <a:lnTo>
                      <a:pt x="12" y="39"/>
                    </a:lnTo>
                    <a:lnTo>
                      <a:pt x="15" y="37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1" y="39"/>
                    </a:lnTo>
                    <a:lnTo>
                      <a:pt x="23" y="39"/>
                    </a:lnTo>
                    <a:lnTo>
                      <a:pt x="25" y="40"/>
                    </a:lnTo>
                    <a:lnTo>
                      <a:pt x="28" y="40"/>
                    </a:lnTo>
                    <a:lnTo>
                      <a:pt x="31" y="39"/>
                    </a:lnTo>
                    <a:lnTo>
                      <a:pt x="36" y="32"/>
                    </a:lnTo>
                    <a:lnTo>
                      <a:pt x="44" y="23"/>
                    </a:lnTo>
                    <a:lnTo>
                      <a:pt x="54" y="18"/>
                    </a:lnTo>
                    <a:lnTo>
                      <a:pt x="59" y="14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8"/>
                    </a:lnTo>
                    <a:lnTo>
                      <a:pt x="62" y="6"/>
                    </a:lnTo>
                    <a:lnTo>
                      <a:pt x="65" y="3"/>
                    </a:lnTo>
                    <a:lnTo>
                      <a:pt x="69" y="3"/>
                    </a:lnTo>
                    <a:lnTo>
                      <a:pt x="70" y="1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1"/>
                    </a:lnTo>
                    <a:lnTo>
                      <a:pt x="80" y="1"/>
                    </a:lnTo>
                    <a:lnTo>
                      <a:pt x="83" y="1"/>
                    </a:lnTo>
                    <a:lnTo>
                      <a:pt x="85" y="1"/>
                    </a:lnTo>
                    <a:lnTo>
                      <a:pt x="85" y="1"/>
                    </a:lnTo>
                    <a:lnTo>
                      <a:pt x="87" y="8"/>
                    </a:lnTo>
                    <a:lnTo>
                      <a:pt x="92" y="8"/>
                    </a:lnTo>
                    <a:lnTo>
                      <a:pt x="93" y="8"/>
                    </a:lnTo>
                    <a:lnTo>
                      <a:pt x="95" y="9"/>
                    </a:lnTo>
                    <a:lnTo>
                      <a:pt x="96" y="9"/>
                    </a:lnTo>
                    <a:lnTo>
                      <a:pt x="98" y="8"/>
                    </a:lnTo>
                    <a:lnTo>
                      <a:pt x="101" y="8"/>
                    </a:lnTo>
                    <a:lnTo>
                      <a:pt x="106" y="11"/>
                    </a:lnTo>
                    <a:lnTo>
                      <a:pt x="110" y="14"/>
                    </a:lnTo>
                    <a:lnTo>
                      <a:pt x="111" y="16"/>
                    </a:lnTo>
                    <a:lnTo>
                      <a:pt x="116" y="16"/>
                    </a:lnTo>
                    <a:lnTo>
                      <a:pt x="119" y="18"/>
                    </a:lnTo>
                    <a:lnTo>
                      <a:pt x="121" y="21"/>
                    </a:lnTo>
                    <a:lnTo>
                      <a:pt x="124" y="21"/>
                    </a:lnTo>
                    <a:lnTo>
                      <a:pt x="126" y="23"/>
                    </a:lnTo>
                    <a:lnTo>
                      <a:pt x="124" y="26"/>
                    </a:lnTo>
                    <a:lnTo>
                      <a:pt x="124" y="27"/>
                    </a:lnTo>
                    <a:lnTo>
                      <a:pt x="124" y="31"/>
                    </a:lnTo>
                    <a:lnTo>
                      <a:pt x="124" y="32"/>
                    </a:lnTo>
                    <a:lnTo>
                      <a:pt x="124" y="34"/>
                    </a:lnTo>
                    <a:lnTo>
                      <a:pt x="123" y="37"/>
                    </a:lnTo>
                    <a:lnTo>
                      <a:pt x="123" y="42"/>
                    </a:lnTo>
                    <a:lnTo>
                      <a:pt x="121" y="44"/>
                    </a:lnTo>
                    <a:lnTo>
                      <a:pt x="123" y="45"/>
                    </a:lnTo>
                    <a:lnTo>
                      <a:pt x="124" y="45"/>
                    </a:lnTo>
                    <a:lnTo>
                      <a:pt x="123" y="49"/>
                    </a:lnTo>
                    <a:lnTo>
                      <a:pt x="121" y="50"/>
                    </a:lnTo>
                    <a:lnTo>
                      <a:pt x="121" y="52"/>
                    </a:lnTo>
                    <a:lnTo>
                      <a:pt x="121" y="55"/>
                    </a:lnTo>
                    <a:lnTo>
                      <a:pt x="119" y="57"/>
                    </a:lnTo>
                    <a:lnTo>
                      <a:pt x="119" y="58"/>
                    </a:lnTo>
                    <a:lnTo>
                      <a:pt x="121" y="60"/>
                    </a:lnTo>
                    <a:lnTo>
                      <a:pt x="123" y="63"/>
                    </a:lnTo>
                    <a:lnTo>
                      <a:pt x="121" y="65"/>
                    </a:lnTo>
                    <a:lnTo>
                      <a:pt x="121" y="68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1" y="75"/>
                    </a:lnTo>
                    <a:lnTo>
                      <a:pt x="118" y="76"/>
                    </a:lnTo>
                    <a:lnTo>
                      <a:pt x="116" y="78"/>
                    </a:lnTo>
                    <a:lnTo>
                      <a:pt x="114" y="80"/>
                    </a:lnTo>
                    <a:lnTo>
                      <a:pt x="114" y="81"/>
                    </a:lnTo>
                    <a:lnTo>
                      <a:pt x="114" y="85"/>
                    </a:lnTo>
                    <a:lnTo>
                      <a:pt x="114" y="86"/>
                    </a:lnTo>
                    <a:lnTo>
                      <a:pt x="114" y="91"/>
                    </a:lnTo>
                    <a:lnTo>
                      <a:pt x="113" y="93"/>
                    </a:lnTo>
                    <a:lnTo>
                      <a:pt x="113" y="98"/>
                    </a:lnTo>
                    <a:lnTo>
                      <a:pt x="95" y="116"/>
                    </a:lnTo>
                    <a:lnTo>
                      <a:pt x="93" y="114"/>
                    </a:lnTo>
                    <a:lnTo>
                      <a:pt x="87" y="112"/>
                    </a:lnTo>
                    <a:lnTo>
                      <a:pt x="83" y="114"/>
                    </a:lnTo>
                    <a:lnTo>
                      <a:pt x="80" y="114"/>
                    </a:lnTo>
                    <a:lnTo>
                      <a:pt x="80" y="112"/>
                    </a:lnTo>
                    <a:lnTo>
                      <a:pt x="77" y="111"/>
                    </a:lnTo>
                    <a:lnTo>
                      <a:pt x="74" y="112"/>
                    </a:lnTo>
                    <a:lnTo>
                      <a:pt x="72" y="109"/>
                    </a:lnTo>
                    <a:lnTo>
                      <a:pt x="69" y="109"/>
                    </a:lnTo>
                    <a:lnTo>
                      <a:pt x="64" y="109"/>
                    </a:lnTo>
                    <a:lnTo>
                      <a:pt x="62" y="107"/>
                    </a:lnTo>
                    <a:lnTo>
                      <a:pt x="61" y="106"/>
                    </a:lnTo>
                    <a:lnTo>
                      <a:pt x="61" y="104"/>
                    </a:lnTo>
                    <a:lnTo>
                      <a:pt x="61" y="104"/>
                    </a:lnTo>
                    <a:lnTo>
                      <a:pt x="57" y="104"/>
                    </a:lnTo>
                    <a:lnTo>
                      <a:pt x="54" y="101"/>
                    </a:lnTo>
                    <a:lnTo>
                      <a:pt x="52" y="101"/>
                    </a:lnTo>
                    <a:lnTo>
                      <a:pt x="49" y="99"/>
                    </a:lnTo>
                    <a:lnTo>
                      <a:pt x="47" y="101"/>
                    </a:lnTo>
                    <a:lnTo>
                      <a:pt x="43" y="99"/>
                    </a:lnTo>
                    <a:lnTo>
                      <a:pt x="41" y="98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38" y="90"/>
                    </a:lnTo>
                    <a:lnTo>
                      <a:pt x="36" y="86"/>
                    </a:lnTo>
                    <a:lnTo>
                      <a:pt x="38" y="85"/>
                    </a:lnTo>
                    <a:lnTo>
                      <a:pt x="34" y="81"/>
                    </a:lnTo>
                    <a:lnTo>
                      <a:pt x="33" y="81"/>
                    </a:lnTo>
                    <a:lnTo>
                      <a:pt x="31" y="80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29" y="76"/>
                    </a:lnTo>
                    <a:lnTo>
                      <a:pt x="28" y="75"/>
                    </a:lnTo>
                    <a:lnTo>
                      <a:pt x="25" y="73"/>
                    </a:lnTo>
                    <a:lnTo>
                      <a:pt x="23" y="70"/>
                    </a:lnTo>
                    <a:lnTo>
                      <a:pt x="18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5" y="60"/>
                    </a:lnTo>
                    <a:lnTo>
                      <a:pt x="13" y="57"/>
                    </a:lnTo>
                    <a:lnTo>
                      <a:pt x="12" y="55"/>
                    </a:lnTo>
                    <a:lnTo>
                      <a:pt x="12" y="54"/>
                    </a:lnTo>
                    <a:lnTo>
                      <a:pt x="10" y="50"/>
                    </a:lnTo>
                    <a:lnTo>
                      <a:pt x="8" y="50"/>
                    </a:lnTo>
                    <a:lnTo>
                      <a:pt x="8" y="49"/>
                    </a:lnTo>
                    <a:lnTo>
                      <a:pt x="7" y="47"/>
                    </a:lnTo>
                    <a:lnTo>
                      <a:pt x="5" y="45"/>
                    </a:lnTo>
                    <a:lnTo>
                      <a:pt x="3" y="44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3" name="Freeform 294">
                <a:extLst>
                  <a:ext uri="{FF2B5EF4-FFF2-40B4-BE49-F238E27FC236}">
                    <a16:creationId xmlns:a16="http://schemas.microsoft.com/office/drawing/2014/main" xmlns="" id="{7F635622-B384-473E-AFAE-7B5AFD112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6" y="2350"/>
                <a:ext cx="149" cy="152"/>
              </a:xfrm>
              <a:custGeom>
                <a:avLst/>
                <a:gdLst>
                  <a:gd name="T0" fmla="*/ 87 w 149"/>
                  <a:gd name="T1" fmla="*/ 3 h 152"/>
                  <a:gd name="T2" fmla="*/ 88 w 149"/>
                  <a:gd name="T3" fmla="*/ 8 h 152"/>
                  <a:gd name="T4" fmla="*/ 93 w 149"/>
                  <a:gd name="T5" fmla="*/ 13 h 152"/>
                  <a:gd name="T6" fmla="*/ 97 w 149"/>
                  <a:gd name="T7" fmla="*/ 18 h 152"/>
                  <a:gd name="T8" fmla="*/ 100 w 149"/>
                  <a:gd name="T9" fmla="*/ 24 h 152"/>
                  <a:gd name="T10" fmla="*/ 103 w 149"/>
                  <a:gd name="T11" fmla="*/ 27 h 152"/>
                  <a:gd name="T12" fmla="*/ 113 w 149"/>
                  <a:gd name="T13" fmla="*/ 39 h 152"/>
                  <a:gd name="T14" fmla="*/ 116 w 149"/>
                  <a:gd name="T15" fmla="*/ 42 h 152"/>
                  <a:gd name="T16" fmla="*/ 119 w 149"/>
                  <a:gd name="T17" fmla="*/ 45 h 152"/>
                  <a:gd name="T18" fmla="*/ 123 w 149"/>
                  <a:gd name="T19" fmla="*/ 54 h 152"/>
                  <a:gd name="T20" fmla="*/ 126 w 149"/>
                  <a:gd name="T21" fmla="*/ 62 h 152"/>
                  <a:gd name="T22" fmla="*/ 134 w 149"/>
                  <a:gd name="T23" fmla="*/ 63 h 152"/>
                  <a:gd name="T24" fmla="*/ 142 w 149"/>
                  <a:gd name="T25" fmla="*/ 68 h 152"/>
                  <a:gd name="T26" fmla="*/ 146 w 149"/>
                  <a:gd name="T27" fmla="*/ 70 h 152"/>
                  <a:gd name="T28" fmla="*/ 147 w 149"/>
                  <a:gd name="T29" fmla="*/ 73 h 152"/>
                  <a:gd name="T30" fmla="*/ 141 w 149"/>
                  <a:gd name="T31" fmla="*/ 76 h 152"/>
                  <a:gd name="T32" fmla="*/ 137 w 149"/>
                  <a:gd name="T33" fmla="*/ 81 h 152"/>
                  <a:gd name="T34" fmla="*/ 132 w 149"/>
                  <a:gd name="T35" fmla="*/ 85 h 152"/>
                  <a:gd name="T36" fmla="*/ 124 w 149"/>
                  <a:gd name="T37" fmla="*/ 86 h 152"/>
                  <a:gd name="T38" fmla="*/ 119 w 149"/>
                  <a:gd name="T39" fmla="*/ 91 h 152"/>
                  <a:gd name="T40" fmla="*/ 114 w 149"/>
                  <a:gd name="T41" fmla="*/ 94 h 152"/>
                  <a:gd name="T42" fmla="*/ 108 w 149"/>
                  <a:gd name="T43" fmla="*/ 104 h 152"/>
                  <a:gd name="T44" fmla="*/ 106 w 149"/>
                  <a:gd name="T45" fmla="*/ 109 h 152"/>
                  <a:gd name="T46" fmla="*/ 101 w 149"/>
                  <a:gd name="T47" fmla="*/ 112 h 152"/>
                  <a:gd name="T48" fmla="*/ 98 w 149"/>
                  <a:gd name="T49" fmla="*/ 117 h 152"/>
                  <a:gd name="T50" fmla="*/ 92 w 149"/>
                  <a:gd name="T51" fmla="*/ 119 h 152"/>
                  <a:gd name="T52" fmla="*/ 88 w 149"/>
                  <a:gd name="T53" fmla="*/ 127 h 152"/>
                  <a:gd name="T54" fmla="*/ 88 w 149"/>
                  <a:gd name="T55" fmla="*/ 134 h 152"/>
                  <a:gd name="T56" fmla="*/ 82 w 149"/>
                  <a:gd name="T57" fmla="*/ 134 h 152"/>
                  <a:gd name="T58" fmla="*/ 72 w 149"/>
                  <a:gd name="T59" fmla="*/ 135 h 152"/>
                  <a:gd name="T60" fmla="*/ 61 w 149"/>
                  <a:gd name="T61" fmla="*/ 132 h 152"/>
                  <a:gd name="T62" fmla="*/ 52 w 149"/>
                  <a:gd name="T63" fmla="*/ 129 h 152"/>
                  <a:gd name="T64" fmla="*/ 43 w 149"/>
                  <a:gd name="T65" fmla="*/ 138 h 152"/>
                  <a:gd name="T66" fmla="*/ 33 w 149"/>
                  <a:gd name="T67" fmla="*/ 147 h 152"/>
                  <a:gd name="T68" fmla="*/ 23 w 149"/>
                  <a:gd name="T69" fmla="*/ 152 h 152"/>
                  <a:gd name="T70" fmla="*/ 13 w 149"/>
                  <a:gd name="T71" fmla="*/ 152 h 152"/>
                  <a:gd name="T72" fmla="*/ 12 w 149"/>
                  <a:gd name="T73" fmla="*/ 143 h 152"/>
                  <a:gd name="T74" fmla="*/ 5 w 149"/>
                  <a:gd name="T75" fmla="*/ 125 h 152"/>
                  <a:gd name="T76" fmla="*/ 0 w 149"/>
                  <a:gd name="T77" fmla="*/ 122 h 152"/>
                  <a:gd name="T78" fmla="*/ 18 w 149"/>
                  <a:gd name="T79" fmla="*/ 70 h 152"/>
                  <a:gd name="T80" fmla="*/ 48 w 149"/>
                  <a:gd name="T81" fmla="*/ 8 h 152"/>
                  <a:gd name="T82" fmla="*/ 54 w 149"/>
                  <a:gd name="T83" fmla="*/ 6 h 152"/>
                  <a:gd name="T84" fmla="*/ 57 w 149"/>
                  <a:gd name="T85" fmla="*/ 11 h 152"/>
                  <a:gd name="T86" fmla="*/ 57 w 149"/>
                  <a:gd name="T87" fmla="*/ 14 h 152"/>
                  <a:gd name="T88" fmla="*/ 69 w 149"/>
                  <a:gd name="T89" fmla="*/ 3 h 152"/>
                  <a:gd name="T90" fmla="*/ 75 w 149"/>
                  <a:gd name="T91" fmla="*/ 4 h 152"/>
                  <a:gd name="T92" fmla="*/ 85 w 149"/>
                  <a:gd name="T93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9" h="152">
                    <a:moveTo>
                      <a:pt x="87" y="0"/>
                    </a:moveTo>
                    <a:lnTo>
                      <a:pt x="87" y="1"/>
                    </a:lnTo>
                    <a:lnTo>
                      <a:pt x="87" y="3"/>
                    </a:lnTo>
                    <a:lnTo>
                      <a:pt x="87" y="4"/>
                    </a:lnTo>
                    <a:lnTo>
                      <a:pt x="87" y="6"/>
                    </a:lnTo>
                    <a:lnTo>
                      <a:pt x="88" y="8"/>
                    </a:lnTo>
                    <a:lnTo>
                      <a:pt x="90" y="9"/>
                    </a:lnTo>
                    <a:lnTo>
                      <a:pt x="92" y="11"/>
                    </a:lnTo>
                    <a:lnTo>
                      <a:pt x="93" y="13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7" y="18"/>
                    </a:lnTo>
                    <a:lnTo>
                      <a:pt x="97" y="19"/>
                    </a:lnTo>
                    <a:lnTo>
                      <a:pt x="98" y="21"/>
                    </a:lnTo>
                    <a:lnTo>
                      <a:pt x="100" y="24"/>
                    </a:lnTo>
                    <a:lnTo>
                      <a:pt x="101" y="26"/>
                    </a:lnTo>
                    <a:lnTo>
                      <a:pt x="101" y="26"/>
                    </a:lnTo>
                    <a:lnTo>
                      <a:pt x="103" y="27"/>
                    </a:lnTo>
                    <a:lnTo>
                      <a:pt x="108" y="34"/>
                    </a:lnTo>
                    <a:lnTo>
                      <a:pt x="110" y="37"/>
                    </a:lnTo>
                    <a:lnTo>
                      <a:pt x="113" y="39"/>
                    </a:lnTo>
                    <a:lnTo>
                      <a:pt x="114" y="40"/>
                    </a:lnTo>
                    <a:lnTo>
                      <a:pt x="116" y="42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5"/>
                    </a:lnTo>
                    <a:lnTo>
                      <a:pt x="119" y="45"/>
                    </a:lnTo>
                    <a:lnTo>
                      <a:pt x="123" y="49"/>
                    </a:lnTo>
                    <a:lnTo>
                      <a:pt x="121" y="50"/>
                    </a:lnTo>
                    <a:lnTo>
                      <a:pt x="123" y="54"/>
                    </a:lnTo>
                    <a:lnTo>
                      <a:pt x="123" y="57"/>
                    </a:lnTo>
                    <a:lnTo>
                      <a:pt x="124" y="58"/>
                    </a:lnTo>
                    <a:lnTo>
                      <a:pt x="126" y="62"/>
                    </a:lnTo>
                    <a:lnTo>
                      <a:pt x="128" y="63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37" y="65"/>
                    </a:lnTo>
                    <a:lnTo>
                      <a:pt x="139" y="65"/>
                    </a:lnTo>
                    <a:lnTo>
                      <a:pt x="142" y="68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6" y="70"/>
                    </a:lnTo>
                    <a:lnTo>
                      <a:pt x="147" y="71"/>
                    </a:lnTo>
                    <a:lnTo>
                      <a:pt x="149" y="73"/>
                    </a:lnTo>
                    <a:lnTo>
                      <a:pt x="147" y="73"/>
                    </a:lnTo>
                    <a:lnTo>
                      <a:pt x="146" y="75"/>
                    </a:lnTo>
                    <a:lnTo>
                      <a:pt x="142" y="75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41" y="81"/>
                    </a:lnTo>
                    <a:lnTo>
                      <a:pt x="137" y="81"/>
                    </a:lnTo>
                    <a:lnTo>
                      <a:pt x="136" y="83"/>
                    </a:lnTo>
                    <a:lnTo>
                      <a:pt x="134" y="83"/>
                    </a:lnTo>
                    <a:lnTo>
                      <a:pt x="132" y="85"/>
                    </a:lnTo>
                    <a:lnTo>
                      <a:pt x="131" y="83"/>
                    </a:lnTo>
                    <a:lnTo>
                      <a:pt x="128" y="83"/>
                    </a:lnTo>
                    <a:lnTo>
                      <a:pt x="124" y="86"/>
                    </a:lnTo>
                    <a:lnTo>
                      <a:pt x="123" y="88"/>
                    </a:lnTo>
                    <a:lnTo>
                      <a:pt x="121" y="89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6" y="93"/>
                    </a:lnTo>
                    <a:lnTo>
                      <a:pt x="114" y="94"/>
                    </a:lnTo>
                    <a:lnTo>
                      <a:pt x="113" y="94"/>
                    </a:lnTo>
                    <a:lnTo>
                      <a:pt x="108" y="101"/>
                    </a:lnTo>
                    <a:lnTo>
                      <a:pt x="108" y="104"/>
                    </a:lnTo>
                    <a:lnTo>
                      <a:pt x="108" y="106"/>
                    </a:lnTo>
                    <a:lnTo>
                      <a:pt x="108" y="109"/>
                    </a:lnTo>
                    <a:lnTo>
                      <a:pt x="106" y="109"/>
                    </a:lnTo>
                    <a:lnTo>
                      <a:pt x="105" y="111"/>
                    </a:lnTo>
                    <a:lnTo>
                      <a:pt x="103" y="111"/>
                    </a:lnTo>
                    <a:lnTo>
                      <a:pt x="101" y="112"/>
                    </a:lnTo>
                    <a:lnTo>
                      <a:pt x="101" y="114"/>
                    </a:lnTo>
                    <a:lnTo>
                      <a:pt x="100" y="116"/>
                    </a:lnTo>
                    <a:lnTo>
                      <a:pt x="98" y="117"/>
                    </a:lnTo>
                    <a:lnTo>
                      <a:pt x="97" y="117"/>
                    </a:lnTo>
                    <a:lnTo>
                      <a:pt x="95" y="119"/>
                    </a:lnTo>
                    <a:lnTo>
                      <a:pt x="92" y="119"/>
                    </a:lnTo>
                    <a:lnTo>
                      <a:pt x="90" y="122"/>
                    </a:lnTo>
                    <a:lnTo>
                      <a:pt x="90" y="125"/>
                    </a:lnTo>
                    <a:lnTo>
                      <a:pt x="88" y="127"/>
                    </a:lnTo>
                    <a:lnTo>
                      <a:pt x="88" y="130"/>
                    </a:lnTo>
                    <a:lnTo>
                      <a:pt x="88" y="132"/>
                    </a:lnTo>
                    <a:lnTo>
                      <a:pt x="88" y="134"/>
                    </a:lnTo>
                    <a:lnTo>
                      <a:pt x="85" y="137"/>
                    </a:lnTo>
                    <a:lnTo>
                      <a:pt x="83" y="135"/>
                    </a:lnTo>
                    <a:lnTo>
                      <a:pt x="82" y="134"/>
                    </a:lnTo>
                    <a:lnTo>
                      <a:pt x="79" y="134"/>
                    </a:lnTo>
                    <a:lnTo>
                      <a:pt x="75" y="134"/>
                    </a:lnTo>
                    <a:lnTo>
                      <a:pt x="72" y="135"/>
                    </a:lnTo>
                    <a:lnTo>
                      <a:pt x="69" y="134"/>
                    </a:lnTo>
                    <a:lnTo>
                      <a:pt x="67" y="135"/>
                    </a:lnTo>
                    <a:lnTo>
                      <a:pt x="61" y="132"/>
                    </a:lnTo>
                    <a:lnTo>
                      <a:pt x="59" y="130"/>
                    </a:lnTo>
                    <a:lnTo>
                      <a:pt x="57" y="129"/>
                    </a:lnTo>
                    <a:lnTo>
                      <a:pt x="52" y="129"/>
                    </a:lnTo>
                    <a:lnTo>
                      <a:pt x="49" y="129"/>
                    </a:lnTo>
                    <a:lnTo>
                      <a:pt x="44" y="132"/>
                    </a:lnTo>
                    <a:lnTo>
                      <a:pt x="43" y="138"/>
                    </a:lnTo>
                    <a:lnTo>
                      <a:pt x="39" y="142"/>
                    </a:lnTo>
                    <a:lnTo>
                      <a:pt x="34" y="143"/>
                    </a:lnTo>
                    <a:lnTo>
                      <a:pt x="33" y="147"/>
                    </a:lnTo>
                    <a:lnTo>
                      <a:pt x="30" y="148"/>
                    </a:lnTo>
                    <a:lnTo>
                      <a:pt x="26" y="150"/>
                    </a:lnTo>
                    <a:lnTo>
                      <a:pt x="23" y="152"/>
                    </a:lnTo>
                    <a:lnTo>
                      <a:pt x="20" y="150"/>
                    </a:lnTo>
                    <a:lnTo>
                      <a:pt x="18" y="152"/>
                    </a:lnTo>
                    <a:lnTo>
                      <a:pt x="13" y="152"/>
                    </a:lnTo>
                    <a:lnTo>
                      <a:pt x="8" y="152"/>
                    </a:lnTo>
                    <a:lnTo>
                      <a:pt x="8" y="148"/>
                    </a:lnTo>
                    <a:lnTo>
                      <a:pt x="12" y="143"/>
                    </a:lnTo>
                    <a:lnTo>
                      <a:pt x="12" y="138"/>
                    </a:lnTo>
                    <a:lnTo>
                      <a:pt x="7" y="130"/>
                    </a:lnTo>
                    <a:lnTo>
                      <a:pt x="5" y="125"/>
                    </a:lnTo>
                    <a:lnTo>
                      <a:pt x="0" y="121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1"/>
                    </a:lnTo>
                    <a:lnTo>
                      <a:pt x="3" y="70"/>
                    </a:lnTo>
                    <a:lnTo>
                      <a:pt x="18" y="70"/>
                    </a:lnTo>
                    <a:lnTo>
                      <a:pt x="20" y="11"/>
                    </a:lnTo>
                    <a:lnTo>
                      <a:pt x="33" y="13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6" y="8"/>
                    </a:lnTo>
                    <a:lnTo>
                      <a:pt x="57" y="9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7" y="14"/>
                    </a:lnTo>
                    <a:lnTo>
                      <a:pt x="57" y="14"/>
                    </a:lnTo>
                    <a:lnTo>
                      <a:pt x="64" y="11"/>
                    </a:lnTo>
                    <a:lnTo>
                      <a:pt x="66" y="6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4" y="4"/>
                    </a:lnTo>
                    <a:lnTo>
                      <a:pt x="75" y="4"/>
                    </a:lnTo>
                    <a:lnTo>
                      <a:pt x="77" y="3"/>
                    </a:lnTo>
                    <a:lnTo>
                      <a:pt x="82" y="1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7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7" name="Freeform 295">
                <a:extLst>
                  <a:ext uri="{FF2B5EF4-FFF2-40B4-BE49-F238E27FC236}">
                    <a16:creationId xmlns:a16="http://schemas.microsoft.com/office/drawing/2014/main" xmlns="" id="{73FE9CF3-F1D8-4601-A618-7992A2910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2337"/>
                <a:ext cx="212" cy="204"/>
              </a:xfrm>
              <a:custGeom>
                <a:avLst/>
                <a:gdLst>
                  <a:gd name="T0" fmla="*/ 130 w 212"/>
                  <a:gd name="T1" fmla="*/ 83 h 204"/>
                  <a:gd name="T2" fmla="*/ 160 w 212"/>
                  <a:gd name="T3" fmla="*/ 26 h 204"/>
                  <a:gd name="T4" fmla="*/ 181 w 212"/>
                  <a:gd name="T5" fmla="*/ 19 h 204"/>
                  <a:gd name="T6" fmla="*/ 184 w 212"/>
                  <a:gd name="T7" fmla="*/ 22 h 204"/>
                  <a:gd name="T8" fmla="*/ 184 w 212"/>
                  <a:gd name="T9" fmla="*/ 27 h 204"/>
                  <a:gd name="T10" fmla="*/ 193 w 212"/>
                  <a:gd name="T11" fmla="*/ 19 h 204"/>
                  <a:gd name="T12" fmla="*/ 201 w 212"/>
                  <a:gd name="T13" fmla="*/ 17 h 204"/>
                  <a:gd name="T14" fmla="*/ 209 w 212"/>
                  <a:gd name="T15" fmla="*/ 14 h 204"/>
                  <a:gd name="T16" fmla="*/ 210 w 212"/>
                  <a:gd name="T17" fmla="*/ 9 h 204"/>
                  <a:gd name="T18" fmla="*/ 206 w 212"/>
                  <a:gd name="T19" fmla="*/ 9 h 204"/>
                  <a:gd name="T20" fmla="*/ 201 w 212"/>
                  <a:gd name="T21" fmla="*/ 9 h 204"/>
                  <a:gd name="T22" fmla="*/ 158 w 212"/>
                  <a:gd name="T23" fmla="*/ 17 h 204"/>
                  <a:gd name="T24" fmla="*/ 155 w 212"/>
                  <a:gd name="T25" fmla="*/ 17 h 204"/>
                  <a:gd name="T26" fmla="*/ 152 w 212"/>
                  <a:gd name="T27" fmla="*/ 17 h 204"/>
                  <a:gd name="T28" fmla="*/ 147 w 212"/>
                  <a:gd name="T29" fmla="*/ 16 h 204"/>
                  <a:gd name="T30" fmla="*/ 142 w 212"/>
                  <a:gd name="T31" fmla="*/ 17 h 204"/>
                  <a:gd name="T32" fmla="*/ 134 w 212"/>
                  <a:gd name="T33" fmla="*/ 13 h 204"/>
                  <a:gd name="T34" fmla="*/ 130 w 212"/>
                  <a:gd name="T35" fmla="*/ 14 h 204"/>
                  <a:gd name="T36" fmla="*/ 122 w 212"/>
                  <a:gd name="T37" fmla="*/ 16 h 204"/>
                  <a:gd name="T38" fmla="*/ 117 w 212"/>
                  <a:gd name="T39" fmla="*/ 13 h 204"/>
                  <a:gd name="T40" fmla="*/ 109 w 212"/>
                  <a:gd name="T41" fmla="*/ 11 h 204"/>
                  <a:gd name="T42" fmla="*/ 104 w 212"/>
                  <a:gd name="T43" fmla="*/ 6 h 204"/>
                  <a:gd name="T44" fmla="*/ 44 w 212"/>
                  <a:gd name="T45" fmla="*/ 6 h 204"/>
                  <a:gd name="T46" fmla="*/ 37 w 212"/>
                  <a:gd name="T47" fmla="*/ 9 h 204"/>
                  <a:gd name="T48" fmla="*/ 29 w 212"/>
                  <a:gd name="T49" fmla="*/ 4 h 204"/>
                  <a:gd name="T50" fmla="*/ 28 w 212"/>
                  <a:gd name="T51" fmla="*/ 1 h 204"/>
                  <a:gd name="T52" fmla="*/ 24 w 212"/>
                  <a:gd name="T53" fmla="*/ 1 h 204"/>
                  <a:gd name="T54" fmla="*/ 19 w 212"/>
                  <a:gd name="T55" fmla="*/ 0 h 204"/>
                  <a:gd name="T56" fmla="*/ 13 w 212"/>
                  <a:gd name="T57" fmla="*/ 6 h 204"/>
                  <a:gd name="T58" fmla="*/ 5 w 212"/>
                  <a:gd name="T59" fmla="*/ 4 h 204"/>
                  <a:gd name="T60" fmla="*/ 3 w 212"/>
                  <a:gd name="T61" fmla="*/ 6 h 204"/>
                  <a:gd name="T62" fmla="*/ 1 w 212"/>
                  <a:gd name="T63" fmla="*/ 19 h 204"/>
                  <a:gd name="T64" fmla="*/ 23 w 212"/>
                  <a:gd name="T65" fmla="*/ 57 h 204"/>
                  <a:gd name="T66" fmla="*/ 32 w 212"/>
                  <a:gd name="T67" fmla="*/ 80 h 204"/>
                  <a:gd name="T68" fmla="*/ 39 w 212"/>
                  <a:gd name="T69" fmla="*/ 99 h 204"/>
                  <a:gd name="T70" fmla="*/ 46 w 212"/>
                  <a:gd name="T71" fmla="*/ 134 h 204"/>
                  <a:gd name="T72" fmla="*/ 44 w 212"/>
                  <a:gd name="T73" fmla="*/ 147 h 204"/>
                  <a:gd name="T74" fmla="*/ 50 w 212"/>
                  <a:gd name="T75" fmla="*/ 158 h 204"/>
                  <a:gd name="T76" fmla="*/ 49 w 212"/>
                  <a:gd name="T77" fmla="*/ 166 h 204"/>
                  <a:gd name="T78" fmla="*/ 55 w 212"/>
                  <a:gd name="T79" fmla="*/ 179 h 204"/>
                  <a:gd name="T80" fmla="*/ 63 w 212"/>
                  <a:gd name="T81" fmla="*/ 192 h 204"/>
                  <a:gd name="T82" fmla="*/ 75 w 212"/>
                  <a:gd name="T83" fmla="*/ 194 h 204"/>
                  <a:gd name="T84" fmla="*/ 75 w 212"/>
                  <a:gd name="T85" fmla="*/ 189 h 204"/>
                  <a:gd name="T86" fmla="*/ 85 w 212"/>
                  <a:gd name="T87" fmla="*/ 191 h 204"/>
                  <a:gd name="T88" fmla="*/ 90 w 212"/>
                  <a:gd name="T89" fmla="*/ 200 h 204"/>
                  <a:gd name="T90" fmla="*/ 98 w 212"/>
                  <a:gd name="T91" fmla="*/ 202 h 204"/>
                  <a:gd name="T92" fmla="*/ 104 w 212"/>
                  <a:gd name="T93" fmla="*/ 200 h 204"/>
                  <a:gd name="T94" fmla="*/ 109 w 212"/>
                  <a:gd name="T95" fmla="*/ 204 h 204"/>
                  <a:gd name="T96" fmla="*/ 112 w 212"/>
                  <a:gd name="T97" fmla="*/ 197 h 204"/>
                  <a:gd name="T98" fmla="*/ 124 w 212"/>
                  <a:gd name="T99" fmla="*/ 192 h 204"/>
                  <a:gd name="T100" fmla="*/ 127 w 212"/>
                  <a:gd name="T101" fmla="*/ 13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2" h="204">
                    <a:moveTo>
                      <a:pt x="127" y="135"/>
                    </a:moveTo>
                    <a:lnTo>
                      <a:pt x="127" y="134"/>
                    </a:lnTo>
                    <a:lnTo>
                      <a:pt x="130" y="83"/>
                    </a:lnTo>
                    <a:lnTo>
                      <a:pt x="145" y="83"/>
                    </a:lnTo>
                    <a:lnTo>
                      <a:pt x="147" y="24"/>
                    </a:lnTo>
                    <a:lnTo>
                      <a:pt x="160" y="26"/>
                    </a:lnTo>
                    <a:lnTo>
                      <a:pt x="175" y="21"/>
                    </a:lnTo>
                    <a:lnTo>
                      <a:pt x="179" y="21"/>
                    </a:lnTo>
                    <a:lnTo>
                      <a:pt x="181" y="19"/>
                    </a:lnTo>
                    <a:lnTo>
                      <a:pt x="181" y="19"/>
                    </a:lnTo>
                    <a:lnTo>
                      <a:pt x="183" y="21"/>
                    </a:lnTo>
                    <a:lnTo>
                      <a:pt x="184" y="22"/>
                    </a:lnTo>
                    <a:lnTo>
                      <a:pt x="184" y="24"/>
                    </a:lnTo>
                    <a:lnTo>
                      <a:pt x="184" y="24"/>
                    </a:lnTo>
                    <a:lnTo>
                      <a:pt x="184" y="27"/>
                    </a:lnTo>
                    <a:lnTo>
                      <a:pt x="184" y="27"/>
                    </a:lnTo>
                    <a:lnTo>
                      <a:pt x="191" y="24"/>
                    </a:lnTo>
                    <a:lnTo>
                      <a:pt x="193" y="19"/>
                    </a:lnTo>
                    <a:lnTo>
                      <a:pt x="196" y="16"/>
                    </a:lnTo>
                    <a:lnTo>
                      <a:pt x="199" y="16"/>
                    </a:lnTo>
                    <a:lnTo>
                      <a:pt x="201" y="17"/>
                    </a:lnTo>
                    <a:lnTo>
                      <a:pt x="202" y="17"/>
                    </a:lnTo>
                    <a:lnTo>
                      <a:pt x="204" y="16"/>
                    </a:lnTo>
                    <a:lnTo>
                      <a:pt x="209" y="14"/>
                    </a:lnTo>
                    <a:lnTo>
                      <a:pt x="212" y="13"/>
                    </a:lnTo>
                    <a:lnTo>
                      <a:pt x="210" y="11"/>
                    </a:lnTo>
                    <a:lnTo>
                      <a:pt x="210" y="9"/>
                    </a:lnTo>
                    <a:lnTo>
                      <a:pt x="209" y="9"/>
                    </a:lnTo>
                    <a:lnTo>
                      <a:pt x="207" y="9"/>
                    </a:lnTo>
                    <a:lnTo>
                      <a:pt x="206" y="9"/>
                    </a:lnTo>
                    <a:lnTo>
                      <a:pt x="206" y="9"/>
                    </a:lnTo>
                    <a:lnTo>
                      <a:pt x="204" y="8"/>
                    </a:lnTo>
                    <a:lnTo>
                      <a:pt x="201" y="9"/>
                    </a:lnTo>
                    <a:lnTo>
                      <a:pt x="199" y="9"/>
                    </a:lnTo>
                    <a:lnTo>
                      <a:pt x="160" y="17"/>
                    </a:lnTo>
                    <a:lnTo>
                      <a:pt x="158" y="17"/>
                    </a:lnTo>
                    <a:lnTo>
                      <a:pt x="157" y="17"/>
                    </a:lnTo>
                    <a:lnTo>
                      <a:pt x="155" y="17"/>
                    </a:lnTo>
                    <a:lnTo>
                      <a:pt x="155" y="17"/>
                    </a:lnTo>
                    <a:lnTo>
                      <a:pt x="153" y="17"/>
                    </a:lnTo>
                    <a:lnTo>
                      <a:pt x="153" y="16"/>
                    </a:lnTo>
                    <a:lnTo>
                      <a:pt x="152" y="17"/>
                    </a:lnTo>
                    <a:lnTo>
                      <a:pt x="150" y="16"/>
                    </a:lnTo>
                    <a:lnTo>
                      <a:pt x="148" y="16"/>
                    </a:lnTo>
                    <a:lnTo>
                      <a:pt x="147" y="16"/>
                    </a:lnTo>
                    <a:lnTo>
                      <a:pt x="147" y="17"/>
                    </a:lnTo>
                    <a:lnTo>
                      <a:pt x="145" y="17"/>
                    </a:lnTo>
                    <a:lnTo>
                      <a:pt x="142" y="17"/>
                    </a:lnTo>
                    <a:lnTo>
                      <a:pt x="140" y="16"/>
                    </a:lnTo>
                    <a:lnTo>
                      <a:pt x="137" y="13"/>
                    </a:lnTo>
                    <a:lnTo>
                      <a:pt x="134" y="13"/>
                    </a:lnTo>
                    <a:lnTo>
                      <a:pt x="134" y="13"/>
                    </a:lnTo>
                    <a:lnTo>
                      <a:pt x="134" y="14"/>
                    </a:lnTo>
                    <a:lnTo>
                      <a:pt x="130" y="14"/>
                    </a:lnTo>
                    <a:lnTo>
                      <a:pt x="127" y="14"/>
                    </a:lnTo>
                    <a:lnTo>
                      <a:pt x="124" y="14"/>
                    </a:lnTo>
                    <a:lnTo>
                      <a:pt x="122" y="16"/>
                    </a:lnTo>
                    <a:lnTo>
                      <a:pt x="121" y="14"/>
                    </a:lnTo>
                    <a:lnTo>
                      <a:pt x="119" y="14"/>
                    </a:lnTo>
                    <a:lnTo>
                      <a:pt x="117" y="13"/>
                    </a:lnTo>
                    <a:lnTo>
                      <a:pt x="116" y="14"/>
                    </a:lnTo>
                    <a:lnTo>
                      <a:pt x="112" y="13"/>
                    </a:lnTo>
                    <a:lnTo>
                      <a:pt x="109" y="11"/>
                    </a:lnTo>
                    <a:lnTo>
                      <a:pt x="108" y="11"/>
                    </a:lnTo>
                    <a:lnTo>
                      <a:pt x="106" y="8"/>
                    </a:lnTo>
                    <a:lnTo>
                      <a:pt x="104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1" y="8"/>
                    </a:lnTo>
                    <a:lnTo>
                      <a:pt x="41" y="8"/>
                    </a:lnTo>
                    <a:lnTo>
                      <a:pt x="37" y="9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31" y="3"/>
                    </a:lnTo>
                    <a:lnTo>
                      <a:pt x="28" y="1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1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4" y="3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19"/>
                    </a:lnTo>
                    <a:lnTo>
                      <a:pt x="10" y="29"/>
                    </a:lnTo>
                    <a:lnTo>
                      <a:pt x="14" y="39"/>
                    </a:lnTo>
                    <a:lnTo>
                      <a:pt x="23" y="57"/>
                    </a:lnTo>
                    <a:lnTo>
                      <a:pt x="24" y="63"/>
                    </a:lnTo>
                    <a:lnTo>
                      <a:pt x="32" y="75"/>
                    </a:lnTo>
                    <a:lnTo>
                      <a:pt x="32" y="80"/>
                    </a:lnTo>
                    <a:lnTo>
                      <a:pt x="41" y="93"/>
                    </a:lnTo>
                    <a:lnTo>
                      <a:pt x="41" y="99"/>
                    </a:lnTo>
                    <a:lnTo>
                      <a:pt x="39" y="99"/>
                    </a:lnTo>
                    <a:lnTo>
                      <a:pt x="41" y="107"/>
                    </a:lnTo>
                    <a:lnTo>
                      <a:pt x="41" y="120"/>
                    </a:lnTo>
                    <a:lnTo>
                      <a:pt x="46" y="134"/>
                    </a:lnTo>
                    <a:lnTo>
                      <a:pt x="46" y="140"/>
                    </a:lnTo>
                    <a:lnTo>
                      <a:pt x="47" y="145"/>
                    </a:lnTo>
                    <a:lnTo>
                      <a:pt x="44" y="147"/>
                    </a:lnTo>
                    <a:lnTo>
                      <a:pt x="47" y="148"/>
                    </a:lnTo>
                    <a:lnTo>
                      <a:pt x="47" y="156"/>
                    </a:lnTo>
                    <a:lnTo>
                      <a:pt x="50" y="158"/>
                    </a:lnTo>
                    <a:lnTo>
                      <a:pt x="50" y="161"/>
                    </a:lnTo>
                    <a:lnTo>
                      <a:pt x="49" y="163"/>
                    </a:lnTo>
                    <a:lnTo>
                      <a:pt x="49" y="166"/>
                    </a:lnTo>
                    <a:lnTo>
                      <a:pt x="52" y="168"/>
                    </a:lnTo>
                    <a:lnTo>
                      <a:pt x="52" y="174"/>
                    </a:lnTo>
                    <a:lnTo>
                      <a:pt x="55" y="179"/>
                    </a:lnTo>
                    <a:lnTo>
                      <a:pt x="59" y="186"/>
                    </a:lnTo>
                    <a:lnTo>
                      <a:pt x="63" y="191"/>
                    </a:lnTo>
                    <a:lnTo>
                      <a:pt x="63" y="192"/>
                    </a:lnTo>
                    <a:lnTo>
                      <a:pt x="68" y="197"/>
                    </a:lnTo>
                    <a:lnTo>
                      <a:pt x="72" y="196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3" y="191"/>
                    </a:lnTo>
                    <a:lnTo>
                      <a:pt x="75" y="189"/>
                    </a:lnTo>
                    <a:lnTo>
                      <a:pt x="80" y="187"/>
                    </a:lnTo>
                    <a:lnTo>
                      <a:pt x="81" y="191"/>
                    </a:lnTo>
                    <a:lnTo>
                      <a:pt x="85" y="191"/>
                    </a:lnTo>
                    <a:lnTo>
                      <a:pt x="83" y="194"/>
                    </a:lnTo>
                    <a:lnTo>
                      <a:pt x="85" y="199"/>
                    </a:lnTo>
                    <a:lnTo>
                      <a:pt x="90" y="200"/>
                    </a:lnTo>
                    <a:lnTo>
                      <a:pt x="95" y="202"/>
                    </a:lnTo>
                    <a:lnTo>
                      <a:pt x="96" y="200"/>
                    </a:lnTo>
                    <a:lnTo>
                      <a:pt x="98" y="202"/>
                    </a:lnTo>
                    <a:lnTo>
                      <a:pt x="101" y="202"/>
                    </a:lnTo>
                    <a:lnTo>
                      <a:pt x="103" y="200"/>
                    </a:lnTo>
                    <a:lnTo>
                      <a:pt x="104" y="200"/>
                    </a:lnTo>
                    <a:lnTo>
                      <a:pt x="106" y="204"/>
                    </a:lnTo>
                    <a:lnTo>
                      <a:pt x="108" y="204"/>
                    </a:lnTo>
                    <a:lnTo>
                      <a:pt x="109" y="204"/>
                    </a:lnTo>
                    <a:lnTo>
                      <a:pt x="109" y="200"/>
                    </a:lnTo>
                    <a:lnTo>
                      <a:pt x="111" y="199"/>
                    </a:lnTo>
                    <a:lnTo>
                      <a:pt x="112" y="197"/>
                    </a:lnTo>
                    <a:lnTo>
                      <a:pt x="114" y="196"/>
                    </a:lnTo>
                    <a:lnTo>
                      <a:pt x="119" y="192"/>
                    </a:lnTo>
                    <a:lnTo>
                      <a:pt x="124" y="192"/>
                    </a:lnTo>
                    <a:lnTo>
                      <a:pt x="126" y="192"/>
                    </a:lnTo>
                    <a:lnTo>
                      <a:pt x="127" y="135"/>
                    </a:lnTo>
                    <a:lnTo>
                      <a:pt x="127" y="13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8" name="Freeform 296">
                <a:extLst>
                  <a:ext uri="{FF2B5EF4-FFF2-40B4-BE49-F238E27FC236}">
                    <a16:creationId xmlns:a16="http://schemas.microsoft.com/office/drawing/2014/main" xmlns="" id="{6FCB4FD0-D3D1-49DE-8E8A-02FC6C60CF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" y="2420"/>
                <a:ext cx="62" cy="47"/>
              </a:xfrm>
              <a:custGeom>
                <a:avLst/>
                <a:gdLst>
                  <a:gd name="T0" fmla="*/ 5 w 62"/>
                  <a:gd name="T1" fmla="*/ 6 h 47"/>
                  <a:gd name="T2" fmla="*/ 8 w 62"/>
                  <a:gd name="T3" fmla="*/ 5 h 47"/>
                  <a:gd name="T4" fmla="*/ 13 w 62"/>
                  <a:gd name="T5" fmla="*/ 11 h 47"/>
                  <a:gd name="T6" fmla="*/ 16 w 62"/>
                  <a:gd name="T7" fmla="*/ 15 h 47"/>
                  <a:gd name="T8" fmla="*/ 25 w 62"/>
                  <a:gd name="T9" fmla="*/ 29 h 47"/>
                  <a:gd name="T10" fmla="*/ 29 w 62"/>
                  <a:gd name="T11" fmla="*/ 29 h 47"/>
                  <a:gd name="T12" fmla="*/ 39 w 62"/>
                  <a:gd name="T13" fmla="*/ 41 h 47"/>
                  <a:gd name="T14" fmla="*/ 43 w 62"/>
                  <a:gd name="T15" fmla="*/ 47 h 47"/>
                  <a:gd name="T16" fmla="*/ 38 w 62"/>
                  <a:gd name="T17" fmla="*/ 46 h 47"/>
                  <a:gd name="T18" fmla="*/ 33 w 62"/>
                  <a:gd name="T19" fmla="*/ 44 h 47"/>
                  <a:gd name="T20" fmla="*/ 28 w 62"/>
                  <a:gd name="T21" fmla="*/ 39 h 47"/>
                  <a:gd name="T22" fmla="*/ 23 w 62"/>
                  <a:gd name="T23" fmla="*/ 34 h 47"/>
                  <a:gd name="T24" fmla="*/ 20 w 62"/>
                  <a:gd name="T25" fmla="*/ 34 h 47"/>
                  <a:gd name="T26" fmla="*/ 15 w 62"/>
                  <a:gd name="T27" fmla="*/ 26 h 47"/>
                  <a:gd name="T28" fmla="*/ 12 w 62"/>
                  <a:gd name="T29" fmla="*/ 24 h 47"/>
                  <a:gd name="T30" fmla="*/ 10 w 62"/>
                  <a:gd name="T31" fmla="*/ 19 h 47"/>
                  <a:gd name="T32" fmla="*/ 2 w 62"/>
                  <a:gd name="T33" fmla="*/ 8 h 47"/>
                  <a:gd name="T34" fmla="*/ 0 w 62"/>
                  <a:gd name="T35" fmla="*/ 3 h 47"/>
                  <a:gd name="T36" fmla="*/ 0 w 62"/>
                  <a:gd name="T37" fmla="*/ 0 h 47"/>
                  <a:gd name="T38" fmla="*/ 61 w 62"/>
                  <a:gd name="T39" fmla="*/ 28 h 47"/>
                  <a:gd name="T40" fmla="*/ 62 w 62"/>
                  <a:gd name="T41" fmla="*/ 33 h 47"/>
                  <a:gd name="T42" fmla="*/ 59 w 62"/>
                  <a:gd name="T43" fmla="*/ 34 h 47"/>
                  <a:gd name="T44" fmla="*/ 56 w 62"/>
                  <a:gd name="T45" fmla="*/ 28 h 47"/>
                  <a:gd name="T46" fmla="*/ 51 w 62"/>
                  <a:gd name="T47" fmla="*/ 11 h 47"/>
                  <a:gd name="T48" fmla="*/ 47 w 62"/>
                  <a:gd name="T49" fmla="*/ 16 h 47"/>
                  <a:gd name="T50" fmla="*/ 49 w 62"/>
                  <a:gd name="T51" fmla="*/ 21 h 47"/>
                  <a:gd name="T52" fmla="*/ 54 w 62"/>
                  <a:gd name="T53" fmla="*/ 21 h 47"/>
                  <a:gd name="T54" fmla="*/ 51 w 62"/>
                  <a:gd name="T55" fmla="*/ 16 h 47"/>
                  <a:gd name="T56" fmla="*/ 51 w 62"/>
                  <a:gd name="T57" fmla="*/ 11 h 47"/>
                  <a:gd name="T58" fmla="*/ 39 w 62"/>
                  <a:gd name="T59" fmla="*/ 8 h 47"/>
                  <a:gd name="T60" fmla="*/ 38 w 62"/>
                  <a:gd name="T61" fmla="*/ 13 h 47"/>
                  <a:gd name="T62" fmla="*/ 43 w 62"/>
                  <a:gd name="T63" fmla="*/ 10 h 47"/>
                  <a:gd name="T64" fmla="*/ 39 w 62"/>
                  <a:gd name="T65" fmla="*/ 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47">
                    <a:moveTo>
                      <a:pt x="0" y="0"/>
                    </a:moveTo>
                    <a:lnTo>
                      <a:pt x="5" y="6"/>
                    </a:lnTo>
                    <a:lnTo>
                      <a:pt x="7" y="3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13" y="11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23" y="23"/>
                    </a:lnTo>
                    <a:lnTo>
                      <a:pt x="25" y="29"/>
                    </a:lnTo>
                    <a:lnTo>
                      <a:pt x="28" y="28"/>
                    </a:lnTo>
                    <a:lnTo>
                      <a:pt x="29" y="29"/>
                    </a:lnTo>
                    <a:lnTo>
                      <a:pt x="34" y="37"/>
                    </a:lnTo>
                    <a:lnTo>
                      <a:pt x="39" y="41"/>
                    </a:lnTo>
                    <a:lnTo>
                      <a:pt x="43" y="42"/>
                    </a:lnTo>
                    <a:lnTo>
                      <a:pt x="43" y="47"/>
                    </a:lnTo>
                    <a:lnTo>
                      <a:pt x="39" y="46"/>
                    </a:lnTo>
                    <a:lnTo>
                      <a:pt x="38" y="46"/>
                    </a:lnTo>
                    <a:lnTo>
                      <a:pt x="34" y="44"/>
                    </a:lnTo>
                    <a:lnTo>
                      <a:pt x="33" y="44"/>
                    </a:lnTo>
                    <a:lnTo>
                      <a:pt x="29" y="42"/>
                    </a:lnTo>
                    <a:lnTo>
                      <a:pt x="28" y="39"/>
                    </a:lnTo>
                    <a:lnTo>
                      <a:pt x="25" y="39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20" y="34"/>
                    </a:lnTo>
                    <a:lnTo>
                      <a:pt x="18" y="29"/>
                    </a:lnTo>
                    <a:lnTo>
                      <a:pt x="15" y="26"/>
                    </a:lnTo>
                    <a:lnTo>
                      <a:pt x="13" y="24"/>
                    </a:lnTo>
                    <a:lnTo>
                      <a:pt x="12" y="24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7" y="16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56" y="28"/>
                    </a:moveTo>
                    <a:lnTo>
                      <a:pt x="61" y="28"/>
                    </a:lnTo>
                    <a:lnTo>
                      <a:pt x="62" y="29"/>
                    </a:lnTo>
                    <a:lnTo>
                      <a:pt x="62" y="33"/>
                    </a:lnTo>
                    <a:lnTo>
                      <a:pt x="61" y="33"/>
                    </a:lnTo>
                    <a:lnTo>
                      <a:pt x="59" y="34"/>
                    </a:lnTo>
                    <a:lnTo>
                      <a:pt x="57" y="31"/>
                    </a:lnTo>
                    <a:lnTo>
                      <a:pt x="56" y="28"/>
                    </a:lnTo>
                    <a:lnTo>
                      <a:pt x="56" y="28"/>
                    </a:lnTo>
                    <a:close/>
                    <a:moveTo>
                      <a:pt x="51" y="11"/>
                    </a:moveTo>
                    <a:lnTo>
                      <a:pt x="47" y="15"/>
                    </a:lnTo>
                    <a:lnTo>
                      <a:pt x="47" y="16"/>
                    </a:lnTo>
                    <a:lnTo>
                      <a:pt x="47" y="18"/>
                    </a:lnTo>
                    <a:lnTo>
                      <a:pt x="49" y="21"/>
                    </a:lnTo>
                    <a:lnTo>
                      <a:pt x="52" y="23"/>
                    </a:lnTo>
                    <a:lnTo>
                      <a:pt x="54" y="21"/>
                    </a:lnTo>
                    <a:lnTo>
                      <a:pt x="51" y="18"/>
                    </a:lnTo>
                    <a:lnTo>
                      <a:pt x="51" y="16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1" y="11"/>
                    </a:lnTo>
                    <a:close/>
                    <a:moveTo>
                      <a:pt x="39" y="8"/>
                    </a:moveTo>
                    <a:lnTo>
                      <a:pt x="39" y="10"/>
                    </a:lnTo>
                    <a:lnTo>
                      <a:pt x="38" y="13"/>
                    </a:lnTo>
                    <a:lnTo>
                      <a:pt x="41" y="13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39" y="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9" name="Freeform 297">
                <a:extLst>
                  <a:ext uri="{FF2B5EF4-FFF2-40B4-BE49-F238E27FC236}">
                    <a16:creationId xmlns:a16="http://schemas.microsoft.com/office/drawing/2014/main" xmlns="" id="{A72F6741-0078-4097-95F7-0281D6BC3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3052"/>
                <a:ext cx="5" cy="7"/>
              </a:xfrm>
              <a:custGeom>
                <a:avLst/>
                <a:gdLst>
                  <a:gd name="T0" fmla="*/ 0 w 5"/>
                  <a:gd name="T1" fmla="*/ 0 h 7"/>
                  <a:gd name="T2" fmla="*/ 0 w 5"/>
                  <a:gd name="T3" fmla="*/ 3 h 7"/>
                  <a:gd name="T4" fmla="*/ 0 w 5"/>
                  <a:gd name="T5" fmla="*/ 5 h 7"/>
                  <a:gd name="T6" fmla="*/ 3 w 5"/>
                  <a:gd name="T7" fmla="*/ 5 h 7"/>
                  <a:gd name="T8" fmla="*/ 3 w 5"/>
                  <a:gd name="T9" fmla="*/ 7 h 7"/>
                  <a:gd name="T10" fmla="*/ 5 w 5"/>
                  <a:gd name="T11" fmla="*/ 7 h 7"/>
                  <a:gd name="T12" fmla="*/ 1 w 5"/>
                  <a:gd name="T13" fmla="*/ 2 h 7"/>
                  <a:gd name="T14" fmla="*/ 0 w 5"/>
                  <a:gd name="T15" fmla="*/ 0 h 7"/>
                  <a:gd name="T16" fmla="*/ 0 w 5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0" name="Freeform 298">
                <a:extLst>
                  <a:ext uri="{FF2B5EF4-FFF2-40B4-BE49-F238E27FC236}">
                    <a16:creationId xmlns:a16="http://schemas.microsoft.com/office/drawing/2014/main" xmlns="" id="{39FA4769-6A99-4C95-8101-EE3F61AC6F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0" y="2951"/>
                <a:ext cx="27" cy="21"/>
              </a:xfrm>
              <a:custGeom>
                <a:avLst/>
                <a:gdLst>
                  <a:gd name="T0" fmla="*/ 9 w 27"/>
                  <a:gd name="T1" fmla="*/ 6 h 21"/>
                  <a:gd name="T2" fmla="*/ 10 w 27"/>
                  <a:gd name="T3" fmla="*/ 5 h 21"/>
                  <a:gd name="T4" fmla="*/ 14 w 27"/>
                  <a:gd name="T5" fmla="*/ 3 h 21"/>
                  <a:gd name="T6" fmla="*/ 14 w 27"/>
                  <a:gd name="T7" fmla="*/ 5 h 21"/>
                  <a:gd name="T8" fmla="*/ 12 w 27"/>
                  <a:gd name="T9" fmla="*/ 6 h 21"/>
                  <a:gd name="T10" fmla="*/ 10 w 27"/>
                  <a:gd name="T11" fmla="*/ 6 h 21"/>
                  <a:gd name="T12" fmla="*/ 9 w 27"/>
                  <a:gd name="T13" fmla="*/ 6 h 21"/>
                  <a:gd name="T14" fmla="*/ 9 w 27"/>
                  <a:gd name="T15" fmla="*/ 6 h 21"/>
                  <a:gd name="T16" fmla="*/ 2 w 27"/>
                  <a:gd name="T17" fmla="*/ 19 h 21"/>
                  <a:gd name="T18" fmla="*/ 4 w 27"/>
                  <a:gd name="T19" fmla="*/ 19 h 21"/>
                  <a:gd name="T20" fmla="*/ 7 w 27"/>
                  <a:gd name="T21" fmla="*/ 16 h 21"/>
                  <a:gd name="T22" fmla="*/ 9 w 27"/>
                  <a:gd name="T23" fmla="*/ 16 h 21"/>
                  <a:gd name="T24" fmla="*/ 10 w 27"/>
                  <a:gd name="T25" fmla="*/ 18 h 21"/>
                  <a:gd name="T26" fmla="*/ 12 w 27"/>
                  <a:gd name="T27" fmla="*/ 19 h 21"/>
                  <a:gd name="T28" fmla="*/ 14 w 27"/>
                  <a:gd name="T29" fmla="*/ 19 h 21"/>
                  <a:gd name="T30" fmla="*/ 15 w 27"/>
                  <a:gd name="T31" fmla="*/ 16 h 21"/>
                  <a:gd name="T32" fmla="*/ 17 w 27"/>
                  <a:gd name="T33" fmla="*/ 18 h 21"/>
                  <a:gd name="T34" fmla="*/ 17 w 27"/>
                  <a:gd name="T35" fmla="*/ 19 h 21"/>
                  <a:gd name="T36" fmla="*/ 18 w 27"/>
                  <a:gd name="T37" fmla="*/ 21 h 21"/>
                  <a:gd name="T38" fmla="*/ 22 w 27"/>
                  <a:gd name="T39" fmla="*/ 21 h 21"/>
                  <a:gd name="T40" fmla="*/ 23 w 27"/>
                  <a:gd name="T41" fmla="*/ 18 h 21"/>
                  <a:gd name="T42" fmla="*/ 23 w 27"/>
                  <a:gd name="T43" fmla="*/ 18 h 21"/>
                  <a:gd name="T44" fmla="*/ 20 w 27"/>
                  <a:gd name="T45" fmla="*/ 18 h 21"/>
                  <a:gd name="T46" fmla="*/ 18 w 27"/>
                  <a:gd name="T47" fmla="*/ 16 h 21"/>
                  <a:gd name="T48" fmla="*/ 20 w 27"/>
                  <a:gd name="T49" fmla="*/ 15 h 21"/>
                  <a:gd name="T50" fmla="*/ 22 w 27"/>
                  <a:gd name="T51" fmla="*/ 13 h 21"/>
                  <a:gd name="T52" fmla="*/ 25 w 27"/>
                  <a:gd name="T53" fmla="*/ 15 h 21"/>
                  <a:gd name="T54" fmla="*/ 27 w 27"/>
                  <a:gd name="T55" fmla="*/ 11 h 21"/>
                  <a:gd name="T56" fmla="*/ 25 w 27"/>
                  <a:gd name="T57" fmla="*/ 10 h 21"/>
                  <a:gd name="T58" fmla="*/ 23 w 27"/>
                  <a:gd name="T59" fmla="*/ 10 h 21"/>
                  <a:gd name="T60" fmla="*/ 22 w 27"/>
                  <a:gd name="T61" fmla="*/ 10 h 21"/>
                  <a:gd name="T62" fmla="*/ 18 w 27"/>
                  <a:gd name="T63" fmla="*/ 13 h 21"/>
                  <a:gd name="T64" fmla="*/ 17 w 27"/>
                  <a:gd name="T65" fmla="*/ 13 h 21"/>
                  <a:gd name="T66" fmla="*/ 15 w 27"/>
                  <a:gd name="T67" fmla="*/ 10 h 21"/>
                  <a:gd name="T68" fmla="*/ 17 w 27"/>
                  <a:gd name="T69" fmla="*/ 8 h 21"/>
                  <a:gd name="T70" fmla="*/ 17 w 27"/>
                  <a:gd name="T71" fmla="*/ 5 h 21"/>
                  <a:gd name="T72" fmla="*/ 15 w 27"/>
                  <a:gd name="T73" fmla="*/ 6 h 21"/>
                  <a:gd name="T74" fmla="*/ 14 w 27"/>
                  <a:gd name="T75" fmla="*/ 8 h 21"/>
                  <a:gd name="T76" fmla="*/ 12 w 27"/>
                  <a:gd name="T77" fmla="*/ 10 h 21"/>
                  <a:gd name="T78" fmla="*/ 10 w 27"/>
                  <a:gd name="T79" fmla="*/ 10 h 21"/>
                  <a:gd name="T80" fmla="*/ 7 w 27"/>
                  <a:gd name="T81" fmla="*/ 8 h 21"/>
                  <a:gd name="T82" fmla="*/ 5 w 27"/>
                  <a:gd name="T83" fmla="*/ 6 h 21"/>
                  <a:gd name="T84" fmla="*/ 7 w 27"/>
                  <a:gd name="T85" fmla="*/ 3 h 21"/>
                  <a:gd name="T86" fmla="*/ 5 w 27"/>
                  <a:gd name="T87" fmla="*/ 2 h 21"/>
                  <a:gd name="T88" fmla="*/ 7 w 27"/>
                  <a:gd name="T89" fmla="*/ 0 h 21"/>
                  <a:gd name="T90" fmla="*/ 7 w 27"/>
                  <a:gd name="T91" fmla="*/ 0 h 21"/>
                  <a:gd name="T92" fmla="*/ 5 w 27"/>
                  <a:gd name="T93" fmla="*/ 2 h 21"/>
                  <a:gd name="T94" fmla="*/ 4 w 27"/>
                  <a:gd name="T95" fmla="*/ 3 h 21"/>
                  <a:gd name="T96" fmla="*/ 4 w 27"/>
                  <a:gd name="T97" fmla="*/ 5 h 21"/>
                  <a:gd name="T98" fmla="*/ 4 w 27"/>
                  <a:gd name="T99" fmla="*/ 8 h 21"/>
                  <a:gd name="T100" fmla="*/ 5 w 27"/>
                  <a:gd name="T101" fmla="*/ 10 h 21"/>
                  <a:gd name="T102" fmla="*/ 5 w 27"/>
                  <a:gd name="T103" fmla="*/ 10 h 21"/>
                  <a:gd name="T104" fmla="*/ 2 w 27"/>
                  <a:gd name="T105" fmla="*/ 13 h 21"/>
                  <a:gd name="T106" fmla="*/ 0 w 27"/>
                  <a:gd name="T107" fmla="*/ 16 h 21"/>
                  <a:gd name="T108" fmla="*/ 2 w 27"/>
                  <a:gd name="T10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" h="21">
                    <a:moveTo>
                      <a:pt x="9" y="6"/>
                    </a:moveTo>
                    <a:lnTo>
                      <a:pt x="10" y="5"/>
                    </a:lnTo>
                    <a:lnTo>
                      <a:pt x="14" y="3"/>
                    </a:lnTo>
                    <a:lnTo>
                      <a:pt x="14" y="5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9" y="6"/>
                    </a:lnTo>
                    <a:lnTo>
                      <a:pt x="9" y="6"/>
                    </a:lnTo>
                    <a:close/>
                    <a:moveTo>
                      <a:pt x="2" y="19"/>
                    </a:moveTo>
                    <a:lnTo>
                      <a:pt x="4" y="19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0" y="18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5" y="16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8" y="21"/>
                    </a:lnTo>
                    <a:lnTo>
                      <a:pt x="22" y="21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20" y="15"/>
                    </a:lnTo>
                    <a:lnTo>
                      <a:pt x="22" y="13"/>
                    </a:lnTo>
                    <a:lnTo>
                      <a:pt x="25" y="15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3" y="10"/>
                    </a:lnTo>
                    <a:lnTo>
                      <a:pt x="22" y="10"/>
                    </a:lnTo>
                    <a:lnTo>
                      <a:pt x="18" y="13"/>
                    </a:lnTo>
                    <a:lnTo>
                      <a:pt x="17" y="13"/>
                    </a:lnTo>
                    <a:lnTo>
                      <a:pt x="15" y="10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5" y="6"/>
                    </a:lnTo>
                    <a:lnTo>
                      <a:pt x="14" y="8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7" y="8"/>
                    </a:lnTo>
                    <a:lnTo>
                      <a:pt x="5" y="6"/>
                    </a:lnTo>
                    <a:lnTo>
                      <a:pt x="7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4" y="8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2" y="1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1" name="Freeform 299">
                <a:extLst>
                  <a:ext uri="{FF2B5EF4-FFF2-40B4-BE49-F238E27FC236}">
                    <a16:creationId xmlns:a16="http://schemas.microsoft.com/office/drawing/2014/main" xmlns="" id="{CD3F28BB-1148-4229-9B55-341E953AE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7" y="2390"/>
                <a:ext cx="10" cy="10"/>
              </a:xfrm>
              <a:custGeom>
                <a:avLst/>
                <a:gdLst>
                  <a:gd name="T0" fmla="*/ 4 w 10"/>
                  <a:gd name="T1" fmla="*/ 0 h 10"/>
                  <a:gd name="T2" fmla="*/ 2 w 10"/>
                  <a:gd name="T3" fmla="*/ 5 h 10"/>
                  <a:gd name="T4" fmla="*/ 0 w 10"/>
                  <a:gd name="T5" fmla="*/ 7 h 10"/>
                  <a:gd name="T6" fmla="*/ 5 w 10"/>
                  <a:gd name="T7" fmla="*/ 10 h 10"/>
                  <a:gd name="T8" fmla="*/ 9 w 10"/>
                  <a:gd name="T9" fmla="*/ 9 h 10"/>
                  <a:gd name="T10" fmla="*/ 9 w 10"/>
                  <a:gd name="T11" fmla="*/ 5 h 10"/>
                  <a:gd name="T12" fmla="*/ 10 w 10"/>
                  <a:gd name="T13" fmla="*/ 4 h 10"/>
                  <a:gd name="T14" fmla="*/ 10 w 10"/>
                  <a:gd name="T15" fmla="*/ 0 h 10"/>
                  <a:gd name="T16" fmla="*/ 7 w 10"/>
                  <a:gd name="T17" fmla="*/ 0 h 10"/>
                  <a:gd name="T18" fmla="*/ 5 w 10"/>
                  <a:gd name="T19" fmla="*/ 0 h 10"/>
                  <a:gd name="T20" fmla="*/ 4 w 10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5" y="10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2" name="Freeform 300">
                <a:extLst>
                  <a:ext uri="{FF2B5EF4-FFF2-40B4-BE49-F238E27FC236}">
                    <a16:creationId xmlns:a16="http://schemas.microsoft.com/office/drawing/2014/main" xmlns="" id="{06C1ED73-5B70-4206-A0FD-DDCE3F6A5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404"/>
                <a:ext cx="9" cy="9"/>
              </a:xfrm>
              <a:custGeom>
                <a:avLst/>
                <a:gdLst>
                  <a:gd name="T0" fmla="*/ 0 w 9"/>
                  <a:gd name="T1" fmla="*/ 0 h 9"/>
                  <a:gd name="T2" fmla="*/ 0 w 9"/>
                  <a:gd name="T3" fmla="*/ 4 h 9"/>
                  <a:gd name="T4" fmla="*/ 4 w 9"/>
                  <a:gd name="T5" fmla="*/ 9 h 9"/>
                  <a:gd name="T6" fmla="*/ 5 w 9"/>
                  <a:gd name="T7" fmla="*/ 9 h 9"/>
                  <a:gd name="T8" fmla="*/ 9 w 9"/>
                  <a:gd name="T9" fmla="*/ 6 h 9"/>
                  <a:gd name="T10" fmla="*/ 7 w 9"/>
                  <a:gd name="T11" fmla="*/ 4 h 9"/>
                  <a:gd name="T12" fmla="*/ 5 w 9"/>
                  <a:gd name="T13" fmla="*/ 0 h 9"/>
                  <a:gd name="T14" fmla="*/ 2 w 9"/>
                  <a:gd name="T15" fmla="*/ 0 h 9"/>
                  <a:gd name="T16" fmla="*/ 0 w 9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4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3" name="Freeform 301">
                <a:extLst>
                  <a:ext uri="{FF2B5EF4-FFF2-40B4-BE49-F238E27FC236}">
                    <a16:creationId xmlns:a16="http://schemas.microsoft.com/office/drawing/2014/main" xmlns="" id="{3A60EECB-841F-410A-BCE2-D6E14CD47B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0" y="2255"/>
                <a:ext cx="121" cy="230"/>
              </a:xfrm>
              <a:custGeom>
                <a:avLst/>
                <a:gdLst>
                  <a:gd name="T0" fmla="*/ 35 w 121"/>
                  <a:gd name="T1" fmla="*/ 227 h 230"/>
                  <a:gd name="T2" fmla="*/ 56 w 121"/>
                  <a:gd name="T3" fmla="*/ 220 h 230"/>
                  <a:gd name="T4" fmla="*/ 64 w 121"/>
                  <a:gd name="T5" fmla="*/ 207 h 230"/>
                  <a:gd name="T6" fmla="*/ 67 w 121"/>
                  <a:gd name="T7" fmla="*/ 198 h 230"/>
                  <a:gd name="T8" fmla="*/ 71 w 121"/>
                  <a:gd name="T9" fmla="*/ 189 h 230"/>
                  <a:gd name="T10" fmla="*/ 80 w 121"/>
                  <a:gd name="T11" fmla="*/ 166 h 230"/>
                  <a:gd name="T12" fmla="*/ 93 w 121"/>
                  <a:gd name="T13" fmla="*/ 134 h 230"/>
                  <a:gd name="T14" fmla="*/ 100 w 121"/>
                  <a:gd name="T15" fmla="*/ 114 h 230"/>
                  <a:gd name="T16" fmla="*/ 107 w 121"/>
                  <a:gd name="T17" fmla="*/ 91 h 230"/>
                  <a:gd name="T18" fmla="*/ 108 w 121"/>
                  <a:gd name="T19" fmla="*/ 78 h 230"/>
                  <a:gd name="T20" fmla="*/ 110 w 121"/>
                  <a:gd name="T21" fmla="*/ 68 h 230"/>
                  <a:gd name="T22" fmla="*/ 111 w 121"/>
                  <a:gd name="T23" fmla="*/ 59 h 230"/>
                  <a:gd name="T24" fmla="*/ 118 w 121"/>
                  <a:gd name="T25" fmla="*/ 67 h 230"/>
                  <a:gd name="T26" fmla="*/ 120 w 121"/>
                  <a:gd name="T27" fmla="*/ 59 h 230"/>
                  <a:gd name="T28" fmla="*/ 118 w 121"/>
                  <a:gd name="T29" fmla="*/ 46 h 230"/>
                  <a:gd name="T30" fmla="*/ 118 w 121"/>
                  <a:gd name="T31" fmla="*/ 36 h 230"/>
                  <a:gd name="T32" fmla="*/ 115 w 121"/>
                  <a:gd name="T33" fmla="*/ 15 h 230"/>
                  <a:gd name="T34" fmla="*/ 107 w 121"/>
                  <a:gd name="T35" fmla="*/ 6 h 230"/>
                  <a:gd name="T36" fmla="*/ 105 w 121"/>
                  <a:gd name="T37" fmla="*/ 6 h 230"/>
                  <a:gd name="T38" fmla="*/ 100 w 121"/>
                  <a:gd name="T39" fmla="*/ 10 h 230"/>
                  <a:gd name="T40" fmla="*/ 98 w 121"/>
                  <a:gd name="T41" fmla="*/ 18 h 230"/>
                  <a:gd name="T42" fmla="*/ 92 w 121"/>
                  <a:gd name="T43" fmla="*/ 28 h 230"/>
                  <a:gd name="T44" fmla="*/ 87 w 121"/>
                  <a:gd name="T45" fmla="*/ 28 h 230"/>
                  <a:gd name="T46" fmla="*/ 87 w 121"/>
                  <a:gd name="T47" fmla="*/ 36 h 230"/>
                  <a:gd name="T48" fmla="*/ 82 w 121"/>
                  <a:gd name="T49" fmla="*/ 39 h 230"/>
                  <a:gd name="T50" fmla="*/ 85 w 121"/>
                  <a:gd name="T51" fmla="*/ 47 h 230"/>
                  <a:gd name="T52" fmla="*/ 75 w 121"/>
                  <a:gd name="T53" fmla="*/ 50 h 230"/>
                  <a:gd name="T54" fmla="*/ 72 w 121"/>
                  <a:gd name="T55" fmla="*/ 47 h 230"/>
                  <a:gd name="T56" fmla="*/ 71 w 121"/>
                  <a:gd name="T57" fmla="*/ 55 h 230"/>
                  <a:gd name="T58" fmla="*/ 69 w 121"/>
                  <a:gd name="T59" fmla="*/ 60 h 230"/>
                  <a:gd name="T60" fmla="*/ 67 w 121"/>
                  <a:gd name="T61" fmla="*/ 54 h 230"/>
                  <a:gd name="T62" fmla="*/ 61 w 121"/>
                  <a:gd name="T63" fmla="*/ 67 h 230"/>
                  <a:gd name="T64" fmla="*/ 56 w 121"/>
                  <a:gd name="T65" fmla="*/ 62 h 230"/>
                  <a:gd name="T66" fmla="*/ 46 w 121"/>
                  <a:gd name="T67" fmla="*/ 64 h 230"/>
                  <a:gd name="T68" fmla="*/ 43 w 121"/>
                  <a:gd name="T69" fmla="*/ 65 h 230"/>
                  <a:gd name="T70" fmla="*/ 33 w 121"/>
                  <a:gd name="T71" fmla="*/ 72 h 230"/>
                  <a:gd name="T72" fmla="*/ 25 w 121"/>
                  <a:gd name="T73" fmla="*/ 72 h 230"/>
                  <a:gd name="T74" fmla="*/ 17 w 121"/>
                  <a:gd name="T75" fmla="*/ 91 h 230"/>
                  <a:gd name="T76" fmla="*/ 18 w 121"/>
                  <a:gd name="T77" fmla="*/ 103 h 230"/>
                  <a:gd name="T78" fmla="*/ 25 w 121"/>
                  <a:gd name="T79" fmla="*/ 121 h 230"/>
                  <a:gd name="T80" fmla="*/ 22 w 121"/>
                  <a:gd name="T81" fmla="*/ 134 h 230"/>
                  <a:gd name="T82" fmla="*/ 15 w 121"/>
                  <a:gd name="T83" fmla="*/ 144 h 230"/>
                  <a:gd name="T84" fmla="*/ 5 w 121"/>
                  <a:gd name="T85" fmla="*/ 155 h 230"/>
                  <a:gd name="T86" fmla="*/ 2 w 121"/>
                  <a:gd name="T87" fmla="*/ 170 h 230"/>
                  <a:gd name="T88" fmla="*/ 5 w 121"/>
                  <a:gd name="T89" fmla="*/ 184 h 230"/>
                  <a:gd name="T90" fmla="*/ 9 w 121"/>
                  <a:gd name="T91" fmla="*/ 193 h 230"/>
                  <a:gd name="T92" fmla="*/ 5 w 121"/>
                  <a:gd name="T93" fmla="*/ 202 h 230"/>
                  <a:gd name="T94" fmla="*/ 9 w 121"/>
                  <a:gd name="T95" fmla="*/ 214 h 230"/>
                  <a:gd name="T96" fmla="*/ 15 w 121"/>
                  <a:gd name="T97" fmla="*/ 222 h 230"/>
                  <a:gd name="T98" fmla="*/ 23 w 121"/>
                  <a:gd name="T99" fmla="*/ 227 h 230"/>
                  <a:gd name="T100" fmla="*/ 27 w 121"/>
                  <a:gd name="T101" fmla="*/ 230 h 230"/>
                  <a:gd name="T102" fmla="*/ 97 w 121"/>
                  <a:gd name="T103" fmla="*/ 13 h 230"/>
                  <a:gd name="T104" fmla="*/ 95 w 121"/>
                  <a:gd name="T105" fmla="*/ 21 h 230"/>
                  <a:gd name="T106" fmla="*/ 93 w 121"/>
                  <a:gd name="T107" fmla="*/ 21 h 230"/>
                  <a:gd name="T108" fmla="*/ 92 w 121"/>
                  <a:gd name="T109" fmla="*/ 21 h 230"/>
                  <a:gd name="T110" fmla="*/ 89 w 121"/>
                  <a:gd name="T111" fmla="*/ 21 h 230"/>
                  <a:gd name="T112" fmla="*/ 111 w 121"/>
                  <a:gd name="T113" fmla="*/ 82 h 230"/>
                  <a:gd name="T114" fmla="*/ 113 w 121"/>
                  <a:gd name="T115" fmla="*/ 8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1" h="230">
                    <a:moveTo>
                      <a:pt x="27" y="230"/>
                    </a:moveTo>
                    <a:lnTo>
                      <a:pt x="28" y="229"/>
                    </a:lnTo>
                    <a:lnTo>
                      <a:pt x="31" y="229"/>
                    </a:lnTo>
                    <a:lnTo>
                      <a:pt x="35" y="227"/>
                    </a:lnTo>
                    <a:lnTo>
                      <a:pt x="38" y="224"/>
                    </a:lnTo>
                    <a:lnTo>
                      <a:pt x="48" y="222"/>
                    </a:lnTo>
                    <a:lnTo>
                      <a:pt x="51" y="222"/>
                    </a:lnTo>
                    <a:lnTo>
                      <a:pt x="56" y="220"/>
                    </a:lnTo>
                    <a:lnTo>
                      <a:pt x="58" y="217"/>
                    </a:lnTo>
                    <a:lnTo>
                      <a:pt x="61" y="217"/>
                    </a:lnTo>
                    <a:lnTo>
                      <a:pt x="62" y="212"/>
                    </a:lnTo>
                    <a:lnTo>
                      <a:pt x="64" y="207"/>
                    </a:lnTo>
                    <a:lnTo>
                      <a:pt x="64" y="206"/>
                    </a:lnTo>
                    <a:lnTo>
                      <a:pt x="67" y="204"/>
                    </a:lnTo>
                    <a:lnTo>
                      <a:pt x="67" y="199"/>
                    </a:lnTo>
                    <a:lnTo>
                      <a:pt x="67" y="198"/>
                    </a:lnTo>
                    <a:lnTo>
                      <a:pt x="69" y="196"/>
                    </a:lnTo>
                    <a:lnTo>
                      <a:pt x="71" y="191"/>
                    </a:lnTo>
                    <a:lnTo>
                      <a:pt x="71" y="189"/>
                    </a:lnTo>
                    <a:lnTo>
                      <a:pt x="71" y="189"/>
                    </a:lnTo>
                    <a:lnTo>
                      <a:pt x="74" y="184"/>
                    </a:lnTo>
                    <a:lnTo>
                      <a:pt x="77" y="175"/>
                    </a:lnTo>
                    <a:lnTo>
                      <a:pt x="79" y="168"/>
                    </a:lnTo>
                    <a:lnTo>
                      <a:pt x="80" y="166"/>
                    </a:lnTo>
                    <a:lnTo>
                      <a:pt x="82" y="160"/>
                    </a:lnTo>
                    <a:lnTo>
                      <a:pt x="87" y="152"/>
                    </a:lnTo>
                    <a:lnTo>
                      <a:pt x="90" y="139"/>
                    </a:lnTo>
                    <a:lnTo>
                      <a:pt x="93" y="134"/>
                    </a:lnTo>
                    <a:lnTo>
                      <a:pt x="93" y="127"/>
                    </a:lnTo>
                    <a:lnTo>
                      <a:pt x="97" y="122"/>
                    </a:lnTo>
                    <a:lnTo>
                      <a:pt x="97" y="119"/>
                    </a:lnTo>
                    <a:lnTo>
                      <a:pt x="100" y="114"/>
                    </a:lnTo>
                    <a:lnTo>
                      <a:pt x="102" y="104"/>
                    </a:lnTo>
                    <a:lnTo>
                      <a:pt x="103" y="98"/>
                    </a:lnTo>
                    <a:lnTo>
                      <a:pt x="105" y="96"/>
                    </a:lnTo>
                    <a:lnTo>
                      <a:pt x="107" y="91"/>
                    </a:lnTo>
                    <a:lnTo>
                      <a:pt x="105" y="90"/>
                    </a:lnTo>
                    <a:lnTo>
                      <a:pt x="105" y="85"/>
                    </a:lnTo>
                    <a:lnTo>
                      <a:pt x="108" y="80"/>
                    </a:lnTo>
                    <a:lnTo>
                      <a:pt x="108" y="78"/>
                    </a:lnTo>
                    <a:lnTo>
                      <a:pt x="110" y="75"/>
                    </a:lnTo>
                    <a:lnTo>
                      <a:pt x="110" y="72"/>
                    </a:lnTo>
                    <a:lnTo>
                      <a:pt x="108" y="70"/>
                    </a:lnTo>
                    <a:lnTo>
                      <a:pt x="110" y="68"/>
                    </a:lnTo>
                    <a:lnTo>
                      <a:pt x="110" y="64"/>
                    </a:lnTo>
                    <a:lnTo>
                      <a:pt x="108" y="64"/>
                    </a:lnTo>
                    <a:lnTo>
                      <a:pt x="108" y="59"/>
                    </a:lnTo>
                    <a:lnTo>
                      <a:pt x="111" y="59"/>
                    </a:lnTo>
                    <a:lnTo>
                      <a:pt x="113" y="59"/>
                    </a:lnTo>
                    <a:lnTo>
                      <a:pt x="113" y="62"/>
                    </a:lnTo>
                    <a:lnTo>
                      <a:pt x="116" y="67"/>
                    </a:lnTo>
                    <a:lnTo>
                      <a:pt x="118" y="67"/>
                    </a:lnTo>
                    <a:lnTo>
                      <a:pt x="118" y="65"/>
                    </a:lnTo>
                    <a:lnTo>
                      <a:pt x="120" y="62"/>
                    </a:lnTo>
                    <a:lnTo>
                      <a:pt x="120" y="60"/>
                    </a:lnTo>
                    <a:lnTo>
                      <a:pt x="120" y="59"/>
                    </a:lnTo>
                    <a:lnTo>
                      <a:pt x="121" y="57"/>
                    </a:lnTo>
                    <a:lnTo>
                      <a:pt x="121" y="54"/>
                    </a:lnTo>
                    <a:lnTo>
                      <a:pt x="118" y="49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41"/>
                    </a:lnTo>
                    <a:lnTo>
                      <a:pt x="116" y="37"/>
                    </a:lnTo>
                    <a:lnTo>
                      <a:pt x="118" y="36"/>
                    </a:lnTo>
                    <a:lnTo>
                      <a:pt x="118" y="28"/>
                    </a:lnTo>
                    <a:lnTo>
                      <a:pt x="116" y="24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3" y="15"/>
                    </a:lnTo>
                    <a:lnTo>
                      <a:pt x="110" y="11"/>
                    </a:lnTo>
                    <a:lnTo>
                      <a:pt x="110" y="8"/>
                    </a:lnTo>
                    <a:lnTo>
                      <a:pt x="107" y="6"/>
                    </a:lnTo>
                    <a:lnTo>
                      <a:pt x="108" y="3"/>
                    </a:lnTo>
                    <a:lnTo>
                      <a:pt x="108" y="0"/>
                    </a:lnTo>
                    <a:lnTo>
                      <a:pt x="103" y="3"/>
                    </a:lnTo>
                    <a:lnTo>
                      <a:pt x="105" y="6"/>
                    </a:lnTo>
                    <a:lnTo>
                      <a:pt x="102" y="8"/>
                    </a:lnTo>
                    <a:lnTo>
                      <a:pt x="100" y="6"/>
                    </a:lnTo>
                    <a:lnTo>
                      <a:pt x="97" y="6"/>
                    </a:lnTo>
                    <a:lnTo>
                      <a:pt x="100" y="10"/>
                    </a:lnTo>
                    <a:lnTo>
                      <a:pt x="100" y="11"/>
                    </a:lnTo>
                    <a:lnTo>
                      <a:pt x="102" y="13"/>
                    </a:lnTo>
                    <a:lnTo>
                      <a:pt x="102" y="15"/>
                    </a:lnTo>
                    <a:lnTo>
                      <a:pt x="98" y="18"/>
                    </a:lnTo>
                    <a:lnTo>
                      <a:pt x="98" y="23"/>
                    </a:lnTo>
                    <a:lnTo>
                      <a:pt x="97" y="26"/>
                    </a:lnTo>
                    <a:lnTo>
                      <a:pt x="95" y="24"/>
                    </a:lnTo>
                    <a:lnTo>
                      <a:pt x="92" y="28"/>
                    </a:lnTo>
                    <a:lnTo>
                      <a:pt x="92" y="31"/>
                    </a:lnTo>
                    <a:lnTo>
                      <a:pt x="90" y="33"/>
                    </a:lnTo>
                    <a:lnTo>
                      <a:pt x="89" y="31"/>
                    </a:lnTo>
                    <a:lnTo>
                      <a:pt x="87" y="28"/>
                    </a:lnTo>
                    <a:lnTo>
                      <a:pt x="87" y="28"/>
                    </a:lnTo>
                    <a:lnTo>
                      <a:pt x="84" y="29"/>
                    </a:lnTo>
                    <a:lnTo>
                      <a:pt x="84" y="33"/>
                    </a:lnTo>
                    <a:lnTo>
                      <a:pt x="87" y="36"/>
                    </a:lnTo>
                    <a:lnTo>
                      <a:pt x="89" y="37"/>
                    </a:lnTo>
                    <a:lnTo>
                      <a:pt x="87" y="39"/>
                    </a:lnTo>
                    <a:lnTo>
                      <a:pt x="85" y="37"/>
                    </a:lnTo>
                    <a:lnTo>
                      <a:pt x="82" y="39"/>
                    </a:lnTo>
                    <a:lnTo>
                      <a:pt x="82" y="42"/>
                    </a:lnTo>
                    <a:lnTo>
                      <a:pt x="85" y="42"/>
                    </a:lnTo>
                    <a:lnTo>
                      <a:pt x="85" y="44"/>
                    </a:lnTo>
                    <a:lnTo>
                      <a:pt x="85" y="47"/>
                    </a:lnTo>
                    <a:lnTo>
                      <a:pt x="84" y="44"/>
                    </a:lnTo>
                    <a:lnTo>
                      <a:pt x="80" y="46"/>
                    </a:lnTo>
                    <a:lnTo>
                      <a:pt x="80" y="47"/>
                    </a:lnTo>
                    <a:lnTo>
                      <a:pt x="75" y="50"/>
                    </a:lnTo>
                    <a:lnTo>
                      <a:pt x="75" y="47"/>
                    </a:lnTo>
                    <a:lnTo>
                      <a:pt x="77" y="47"/>
                    </a:lnTo>
                    <a:lnTo>
                      <a:pt x="75" y="44"/>
                    </a:lnTo>
                    <a:lnTo>
                      <a:pt x="72" y="47"/>
                    </a:lnTo>
                    <a:lnTo>
                      <a:pt x="74" y="49"/>
                    </a:lnTo>
                    <a:lnTo>
                      <a:pt x="74" y="50"/>
                    </a:lnTo>
                    <a:lnTo>
                      <a:pt x="71" y="52"/>
                    </a:lnTo>
                    <a:lnTo>
                      <a:pt x="71" y="55"/>
                    </a:lnTo>
                    <a:lnTo>
                      <a:pt x="74" y="55"/>
                    </a:lnTo>
                    <a:lnTo>
                      <a:pt x="74" y="57"/>
                    </a:lnTo>
                    <a:lnTo>
                      <a:pt x="71" y="59"/>
                    </a:lnTo>
                    <a:lnTo>
                      <a:pt x="69" y="60"/>
                    </a:lnTo>
                    <a:lnTo>
                      <a:pt x="69" y="57"/>
                    </a:lnTo>
                    <a:lnTo>
                      <a:pt x="67" y="57"/>
                    </a:lnTo>
                    <a:lnTo>
                      <a:pt x="69" y="55"/>
                    </a:lnTo>
                    <a:lnTo>
                      <a:pt x="67" y="54"/>
                    </a:lnTo>
                    <a:lnTo>
                      <a:pt x="61" y="59"/>
                    </a:lnTo>
                    <a:lnTo>
                      <a:pt x="61" y="64"/>
                    </a:lnTo>
                    <a:lnTo>
                      <a:pt x="61" y="65"/>
                    </a:lnTo>
                    <a:lnTo>
                      <a:pt x="61" y="67"/>
                    </a:lnTo>
                    <a:lnTo>
                      <a:pt x="58" y="67"/>
                    </a:lnTo>
                    <a:lnTo>
                      <a:pt x="58" y="65"/>
                    </a:lnTo>
                    <a:lnTo>
                      <a:pt x="58" y="62"/>
                    </a:lnTo>
                    <a:lnTo>
                      <a:pt x="56" y="62"/>
                    </a:lnTo>
                    <a:lnTo>
                      <a:pt x="51" y="65"/>
                    </a:lnTo>
                    <a:lnTo>
                      <a:pt x="48" y="62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3" y="68"/>
                    </a:lnTo>
                    <a:lnTo>
                      <a:pt x="43" y="65"/>
                    </a:lnTo>
                    <a:lnTo>
                      <a:pt x="41" y="65"/>
                    </a:lnTo>
                    <a:lnTo>
                      <a:pt x="40" y="68"/>
                    </a:lnTo>
                    <a:lnTo>
                      <a:pt x="38" y="65"/>
                    </a:lnTo>
                    <a:lnTo>
                      <a:pt x="33" y="72"/>
                    </a:lnTo>
                    <a:lnTo>
                      <a:pt x="31" y="72"/>
                    </a:lnTo>
                    <a:lnTo>
                      <a:pt x="30" y="70"/>
                    </a:lnTo>
                    <a:lnTo>
                      <a:pt x="27" y="70"/>
                    </a:lnTo>
                    <a:lnTo>
                      <a:pt x="25" y="72"/>
                    </a:lnTo>
                    <a:lnTo>
                      <a:pt x="25" y="77"/>
                    </a:lnTo>
                    <a:lnTo>
                      <a:pt x="20" y="85"/>
                    </a:lnTo>
                    <a:lnTo>
                      <a:pt x="22" y="86"/>
                    </a:lnTo>
                    <a:lnTo>
                      <a:pt x="17" y="91"/>
                    </a:lnTo>
                    <a:lnTo>
                      <a:pt x="17" y="93"/>
                    </a:lnTo>
                    <a:lnTo>
                      <a:pt x="18" y="95"/>
                    </a:lnTo>
                    <a:lnTo>
                      <a:pt x="17" y="98"/>
                    </a:lnTo>
                    <a:lnTo>
                      <a:pt x="18" y="103"/>
                    </a:lnTo>
                    <a:lnTo>
                      <a:pt x="18" y="108"/>
                    </a:lnTo>
                    <a:lnTo>
                      <a:pt x="22" y="116"/>
                    </a:lnTo>
                    <a:lnTo>
                      <a:pt x="22" y="117"/>
                    </a:lnTo>
                    <a:lnTo>
                      <a:pt x="25" y="121"/>
                    </a:lnTo>
                    <a:lnTo>
                      <a:pt x="25" y="122"/>
                    </a:lnTo>
                    <a:lnTo>
                      <a:pt x="23" y="124"/>
                    </a:lnTo>
                    <a:lnTo>
                      <a:pt x="23" y="127"/>
                    </a:lnTo>
                    <a:lnTo>
                      <a:pt x="22" y="134"/>
                    </a:lnTo>
                    <a:lnTo>
                      <a:pt x="18" y="137"/>
                    </a:lnTo>
                    <a:lnTo>
                      <a:pt x="18" y="140"/>
                    </a:lnTo>
                    <a:lnTo>
                      <a:pt x="17" y="140"/>
                    </a:lnTo>
                    <a:lnTo>
                      <a:pt x="15" y="144"/>
                    </a:lnTo>
                    <a:lnTo>
                      <a:pt x="12" y="147"/>
                    </a:lnTo>
                    <a:lnTo>
                      <a:pt x="12" y="152"/>
                    </a:lnTo>
                    <a:lnTo>
                      <a:pt x="10" y="155"/>
                    </a:lnTo>
                    <a:lnTo>
                      <a:pt x="5" y="155"/>
                    </a:lnTo>
                    <a:lnTo>
                      <a:pt x="4" y="157"/>
                    </a:lnTo>
                    <a:lnTo>
                      <a:pt x="5" y="162"/>
                    </a:lnTo>
                    <a:lnTo>
                      <a:pt x="2" y="166"/>
                    </a:lnTo>
                    <a:lnTo>
                      <a:pt x="2" y="170"/>
                    </a:lnTo>
                    <a:lnTo>
                      <a:pt x="0" y="173"/>
                    </a:lnTo>
                    <a:lnTo>
                      <a:pt x="2" y="175"/>
                    </a:lnTo>
                    <a:lnTo>
                      <a:pt x="2" y="180"/>
                    </a:lnTo>
                    <a:lnTo>
                      <a:pt x="5" y="184"/>
                    </a:lnTo>
                    <a:lnTo>
                      <a:pt x="5" y="189"/>
                    </a:lnTo>
                    <a:lnTo>
                      <a:pt x="5" y="191"/>
                    </a:lnTo>
                    <a:lnTo>
                      <a:pt x="7" y="193"/>
                    </a:lnTo>
                    <a:lnTo>
                      <a:pt x="9" y="193"/>
                    </a:lnTo>
                    <a:lnTo>
                      <a:pt x="9" y="193"/>
                    </a:lnTo>
                    <a:lnTo>
                      <a:pt x="5" y="194"/>
                    </a:lnTo>
                    <a:lnTo>
                      <a:pt x="5" y="198"/>
                    </a:lnTo>
                    <a:lnTo>
                      <a:pt x="5" y="202"/>
                    </a:lnTo>
                    <a:lnTo>
                      <a:pt x="5" y="209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9" y="214"/>
                    </a:lnTo>
                    <a:lnTo>
                      <a:pt x="10" y="217"/>
                    </a:lnTo>
                    <a:lnTo>
                      <a:pt x="12" y="219"/>
                    </a:lnTo>
                    <a:lnTo>
                      <a:pt x="13" y="220"/>
                    </a:lnTo>
                    <a:lnTo>
                      <a:pt x="15" y="222"/>
                    </a:lnTo>
                    <a:lnTo>
                      <a:pt x="17" y="222"/>
                    </a:lnTo>
                    <a:lnTo>
                      <a:pt x="18" y="224"/>
                    </a:lnTo>
                    <a:lnTo>
                      <a:pt x="20" y="224"/>
                    </a:lnTo>
                    <a:lnTo>
                      <a:pt x="23" y="227"/>
                    </a:lnTo>
                    <a:lnTo>
                      <a:pt x="25" y="227"/>
                    </a:lnTo>
                    <a:lnTo>
                      <a:pt x="25" y="229"/>
                    </a:lnTo>
                    <a:lnTo>
                      <a:pt x="27" y="230"/>
                    </a:lnTo>
                    <a:lnTo>
                      <a:pt x="27" y="230"/>
                    </a:lnTo>
                    <a:close/>
                    <a:moveTo>
                      <a:pt x="95" y="16"/>
                    </a:moveTo>
                    <a:lnTo>
                      <a:pt x="95" y="15"/>
                    </a:lnTo>
                    <a:lnTo>
                      <a:pt x="97" y="13"/>
                    </a:lnTo>
                    <a:lnTo>
                      <a:pt x="97" y="13"/>
                    </a:lnTo>
                    <a:lnTo>
                      <a:pt x="95" y="16"/>
                    </a:lnTo>
                    <a:lnTo>
                      <a:pt x="95" y="16"/>
                    </a:lnTo>
                    <a:close/>
                    <a:moveTo>
                      <a:pt x="93" y="21"/>
                    </a:moveTo>
                    <a:lnTo>
                      <a:pt x="95" y="21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3" y="21"/>
                    </a:lnTo>
                    <a:lnTo>
                      <a:pt x="93" y="21"/>
                    </a:lnTo>
                    <a:close/>
                    <a:moveTo>
                      <a:pt x="89" y="21"/>
                    </a:moveTo>
                    <a:lnTo>
                      <a:pt x="90" y="19"/>
                    </a:lnTo>
                    <a:lnTo>
                      <a:pt x="90" y="21"/>
                    </a:lnTo>
                    <a:lnTo>
                      <a:pt x="92" y="21"/>
                    </a:lnTo>
                    <a:lnTo>
                      <a:pt x="92" y="24"/>
                    </a:lnTo>
                    <a:lnTo>
                      <a:pt x="90" y="23"/>
                    </a:lnTo>
                    <a:lnTo>
                      <a:pt x="87" y="23"/>
                    </a:lnTo>
                    <a:lnTo>
                      <a:pt x="89" y="21"/>
                    </a:lnTo>
                    <a:lnTo>
                      <a:pt x="89" y="21"/>
                    </a:lnTo>
                    <a:close/>
                    <a:moveTo>
                      <a:pt x="110" y="85"/>
                    </a:moveTo>
                    <a:lnTo>
                      <a:pt x="110" y="83"/>
                    </a:lnTo>
                    <a:lnTo>
                      <a:pt x="111" y="82"/>
                    </a:lnTo>
                    <a:lnTo>
                      <a:pt x="111" y="80"/>
                    </a:lnTo>
                    <a:lnTo>
                      <a:pt x="113" y="80"/>
                    </a:lnTo>
                    <a:lnTo>
                      <a:pt x="113" y="78"/>
                    </a:lnTo>
                    <a:lnTo>
                      <a:pt x="113" y="80"/>
                    </a:lnTo>
                    <a:lnTo>
                      <a:pt x="111" y="83"/>
                    </a:lnTo>
                    <a:lnTo>
                      <a:pt x="110" y="8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4" name="Freeform 302">
                <a:extLst>
                  <a:ext uri="{FF2B5EF4-FFF2-40B4-BE49-F238E27FC236}">
                    <a16:creationId xmlns:a16="http://schemas.microsoft.com/office/drawing/2014/main" xmlns="" id="{C3374F32-C234-4ED6-8853-B9432E395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2230"/>
                <a:ext cx="165" cy="273"/>
              </a:xfrm>
              <a:custGeom>
                <a:avLst/>
                <a:gdLst>
                  <a:gd name="T0" fmla="*/ 29 w 165"/>
                  <a:gd name="T1" fmla="*/ 170 h 273"/>
                  <a:gd name="T2" fmla="*/ 33 w 165"/>
                  <a:gd name="T3" fmla="*/ 160 h 273"/>
                  <a:gd name="T4" fmla="*/ 36 w 165"/>
                  <a:gd name="T5" fmla="*/ 149 h 273"/>
                  <a:gd name="T6" fmla="*/ 36 w 165"/>
                  <a:gd name="T7" fmla="*/ 139 h 273"/>
                  <a:gd name="T8" fmla="*/ 38 w 165"/>
                  <a:gd name="T9" fmla="*/ 129 h 273"/>
                  <a:gd name="T10" fmla="*/ 39 w 165"/>
                  <a:gd name="T11" fmla="*/ 116 h 273"/>
                  <a:gd name="T12" fmla="*/ 39 w 165"/>
                  <a:gd name="T13" fmla="*/ 105 h 273"/>
                  <a:gd name="T14" fmla="*/ 25 w 165"/>
                  <a:gd name="T15" fmla="*/ 98 h 273"/>
                  <a:gd name="T16" fmla="*/ 10 w 165"/>
                  <a:gd name="T17" fmla="*/ 93 h 273"/>
                  <a:gd name="T18" fmla="*/ 0 w 165"/>
                  <a:gd name="T19" fmla="*/ 79 h 273"/>
                  <a:gd name="T20" fmla="*/ 29 w 165"/>
                  <a:gd name="T21" fmla="*/ 66 h 273"/>
                  <a:gd name="T22" fmla="*/ 49 w 165"/>
                  <a:gd name="T23" fmla="*/ 62 h 273"/>
                  <a:gd name="T24" fmla="*/ 57 w 165"/>
                  <a:gd name="T25" fmla="*/ 67 h 273"/>
                  <a:gd name="T26" fmla="*/ 67 w 165"/>
                  <a:gd name="T27" fmla="*/ 74 h 273"/>
                  <a:gd name="T28" fmla="*/ 60 w 165"/>
                  <a:gd name="T29" fmla="*/ 90 h 273"/>
                  <a:gd name="T30" fmla="*/ 70 w 165"/>
                  <a:gd name="T31" fmla="*/ 103 h 273"/>
                  <a:gd name="T32" fmla="*/ 77 w 165"/>
                  <a:gd name="T33" fmla="*/ 111 h 273"/>
                  <a:gd name="T34" fmla="*/ 80 w 165"/>
                  <a:gd name="T35" fmla="*/ 93 h 273"/>
                  <a:gd name="T36" fmla="*/ 85 w 165"/>
                  <a:gd name="T37" fmla="*/ 80 h 273"/>
                  <a:gd name="T38" fmla="*/ 87 w 165"/>
                  <a:gd name="T39" fmla="*/ 75 h 273"/>
                  <a:gd name="T40" fmla="*/ 83 w 165"/>
                  <a:gd name="T41" fmla="*/ 61 h 273"/>
                  <a:gd name="T42" fmla="*/ 72 w 165"/>
                  <a:gd name="T43" fmla="*/ 49 h 273"/>
                  <a:gd name="T44" fmla="*/ 85 w 165"/>
                  <a:gd name="T45" fmla="*/ 17 h 273"/>
                  <a:gd name="T46" fmla="*/ 93 w 165"/>
                  <a:gd name="T47" fmla="*/ 18 h 273"/>
                  <a:gd name="T48" fmla="*/ 105 w 165"/>
                  <a:gd name="T49" fmla="*/ 18 h 273"/>
                  <a:gd name="T50" fmla="*/ 111 w 165"/>
                  <a:gd name="T51" fmla="*/ 18 h 273"/>
                  <a:gd name="T52" fmla="*/ 121 w 165"/>
                  <a:gd name="T53" fmla="*/ 13 h 273"/>
                  <a:gd name="T54" fmla="*/ 132 w 165"/>
                  <a:gd name="T55" fmla="*/ 13 h 273"/>
                  <a:gd name="T56" fmla="*/ 145 w 165"/>
                  <a:gd name="T57" fmla="*/ 10 h 273"/>
                  <a:gd name="T58" fmla="*/ 158 w 165"/>
                  <a:gd name="T59" fmla="*/ 2 h 273"/>
                  <a:gd name="T60" fmla="*/ 165 w 165"/>
                  <a:gd name="T61" fmla="*/ 5 h 273"/>
                  <a:gd name="T62" fmla="*/ 162 w 165"/>
                  <a:gd name="T63" fmla="*/ 15 h 273"/>
                  <a:gd name="T64" fmla="*/ 162 w 165"/>
                  <a:gd name="T65" fmla="*/ 28 h 273"/>
                  <a:gd name="T66" fmla="*/ 162 w 165"/>
                  <a:gd name="T67" fmla="*/ 43 h 273"/>
                  <a:gd name="T68" fmla="*/ 158 w 165"/>
                  <a:gd name="T69" fmla="*/ 61 h 273"/>
                  <a:gd name="T70" fmla="*/ 163 w 165"/>
                  <a:gd name="T71" fmla="*/ 69 h 273"/>
                  <a:gd name="T72" fmla="*/ 160 w 165"/>
                  <a:gd name="T73" fmla="*/ 75 h 273"/>
                  <a:gd name="T74" fmla="*/ 158 w 165"/>
                  <a:gd name="T75" fmla="*/ 80 h 273"/>
                  <a:gd name="T76" fmla="*/ 150 w 165"/>
                  <a:gd name="T77" fmla="*/ 95 h 273"/>
                  <a:gd name="T78" fmla="*/ 134 w 165"/>
                  <a:gd name="T79" fmla="*/ 107 h 273"/>
                  <a:gd name="T80" fmla="*/ 109 w 165"/>
                  <a:gd name="T81" fmla="*/ 120 h 273"/>
                  <a:gd name="T82" fmla="*/ 101 w 165"/>
                  <a:gd name="T83" fmla="*/ 123 h 273"/>
                  <a:gd name="T84" fmla="*/ 91 w 165"/>
                  <a:gd name="T85" fmla="*/ 136 h 273"/>
                  <a:gd name="T86" fmla="*/ 77 w 165"/>
                  <a:gd name="T87" fmla="*/ 146 h 273"/>
                  <a:gd name="T88" fmla="*/ 65 w 165"/>
                  <a:gd name="T89" fmla="*/ 152 h 273"/>
                  <a:gd name="T90" fmla="*/ 64 w 165"/>
                  <a:gd name="T91" fmla="*/ 159 h 273"/>
                  <a:gd name="T92" fmla="*/ 65 w 165"/>
                  <a:gd name="T93" fmla="*/ 175 h 273"/>
                  <a:gd name="T94" fmla="*/ 70 w 165"/>
                  <a:gd name="T95" fmla="*/ 195 h 273"/>
                  <a:gd name="T96" fmla="*/ 74 w 165"/>
                  <a:gd name="T97" fmla="*/ 196 h 273"/>
                  <a:gd name="T98" fmla="*/ 74 w 165"/>
                  <a:gd name="T99" fmla="*/ 206 h 273"/>
                  <a:gd name="T100" fmla="*/ 70 w 165"/>
                  <a:gd name="T101" fmla="*/ 219 h 273"/>
                  <a:gd name="T102" fmla="*/ 70 w 165"/>
                  <a:gd name="T103" fmla="*/ 231 h 273"/>
                  <a:gd name="T104" fmla="*/ 31 w 165"/>
                  <a:gd name="T105" fmla="*/ 250 h 273"/>
                  <a:gd name="T106" fmla="*/ 23 w 165"/>
                  <a:gd name="T107" fmla="*/ 258 h 273"/>
                  <a:gd name="T108" fmla="*/ 29 w 165"/>
                  <a:gd name="T109" fmla="*/ 263 h 273"/>
                  <a:gd name="T110" fmla="*/ 29 w 165"/>
                  <a:gd name="T111" fmla="*/ 270 h 273"/>
                  <a:gd name="T112" fmla="*/ 18 w 165"/>
                  <a:gd name="T113" fmla="*/ 270 h 273"/>
                  <a:gd name="T114" fmla="*/ 16 w 165"/>
                  <a:gd name="T115" fmla="*/ 260 h 273"/>
                  <a:gd name="T116" fmla="*/ 16 w 165"/>
                  <a:gd name="T117" fmla="*/ 244 h 273"/>
                  <a:gd name="T118" fmla="*/ 15 w 165"/>
                  <a:gd name="T119" fmla="*/ 221 h 273"/>
                  <a:gd name="T120" fmla="*/ 10 w 165"/>
                  <a:gd name="T121" fmla="*/ 20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5" h="273">
                    <a:moveTo>
                      <a:pt x="10" y="200"/>
                    </a:moveTo>
                    <a:lnTo>
                      <a:pt x="28" y="182"/>
                    </a:lnTo>
                    <a:lnTo>
                      <a:pt x="28" y="177"/>
                    </a:lnTo>
                    <a:lnTo>
                      <a:pt x="29" y="175"/>
                    </a:lnTo>
                    <a:lnTo>
                      <a:pt x="29" y="170"/>
                    </a:lnTo>
                    <a:lnTo>
                      <a:pt x="29" y="169"/>
                    </a:lnTo>
                    <a:lnTo>
                      <a:pt x="29" y="165"/>
                    </a:lnTo>
                    <a:lnTo>
                      <a:pt x="29" y="164"/>
                    </a:lnTo>
                    <a:lnTo>
                      <a:pt x="31" y="162"/>
                    </a:lnTo>
                    <a:lnTo>
                      <a:pt x="33" y="160"/>
                    </a:lnTo>
                    <a:lnTo>
                      <a:pt x="36" y="159"/>
                    </a:lnTo>
                    <a:lnTo>
                      <a:pt x="38" y="156"/>
                    </a:lnTo>
                    <a:lnTo>
                      <a:pt x="38" y="154"/>
                    </a:lnTo>
                    <a:lnTo>
                      <a:pt x="36" y="152"/>
                    </a:lnTo>
                    <a:lnTo>
                      <a:pt x="36" y="149"/>
                    </a:lnTo>
                    <a:lnTo>
                      <a:pt x="38" y="147"/>
                    </a:lnTo>
                    <a:lnTo>
                      <a:pt x="36" y="144"/>
                    </a:lnTo>
                    <a:lnTo>
                      <a:pt x="34" y="142"/>
                    </a:lnTo>
                    <a:lnTo>
                      <a:pt x="34" y="141"/>
                    </a:lnTo>
                    <a:lnTo>
                      <a:pt x="36" y="139"/>
                    </a:lnTo>
                    <a:lnTo>
                      <a:pt x="36" y="136"/>
                    </a:lnTo>
                    <a:lnTo>
                      <a:pt x="36" y="134"/>
                    </a:lnTo>
                    <a:lnTo>
                      <a:pt x="38" y="133"/>
                    </a:lnTo>
                    <a:lnTo>
                      <a:pt x="39" y="129"/>
                    </a:lnTo>
                    <a:lnTo>
                      <a:pt x="38" y="129"/>
                    </a:lnTo>
                    <a:lnTo>
                      <a:pt x="36" y="128"/>
                    </a:lnTo>
                    <a:lnTo>
                      <a:pt x="38" y="126"/>
                    </a:lnTo>
                    <a:lnTo>
                      <a:pt x="38" y="121"/>
                    </a:lnTo>
                    <a:lnTo>
                      <a:pt x="39" y="118"/>
                    </a:lnTo>
                    <a:lnTo>
                      <a:pt x="39" y="116"/>
                    </a:lnTo>
                    <a:lnTo>
                      <a:pt x="39" y="115"/>
                    </a:lnTo>
                    <a:lnTo>
                      <a:pt x="39" y="111"/>
                    </a:lnTo>
                    <a:lnTo>
                      <a:pt x="39" y="110"/>
                    </a:lnTo>
                    <a:lnTo>
                      <a:pt x="41" y="107"/>
                    </a:lnTo>
                    <a:lnTo>
                      <a:pt x="39" y="105"/>
                    </a:lnTo>
                    <a:lnTo>
                      <a:pt x="36" y="105"/>
                    </a:lnTo>
                    <a:lnTo>
                      <a:pt x="34" y="102"/>
                    </a:lnTo>
                    <a:lnTo>
                      <a:pt x="31" y="100"/>
                    </a:lnTo>
                    <a:lnTo>
                      <a:pt x="26" y="100"/>
                    </a:lnTo>
                    <a:lnTo>
                      <a:pt x="25" y="98"/>
                    </a:lnTo>
                    <a:lnTo>
                      <a:pt x="21" y="95"/>
                    </a:lnTo>
                    <a:lnTo>
                      <a:pt x="16" y="92"/>
                    </a:lnTo>
                    <a:lnTo>
                      <a:pt x="13" y="92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8" y="92"/>
                    </a:lnTo>
                    <a:lnTo>
                      <a:pt x="7" y="92"/>
                    </a:lnTo>
                    <a:lnTo>
                      <a:pt x="2" y="92"/>
                    </a:lnTo>
                    <a:lnTo>
                      <a:pt x="0" y="84"/>
                    </a:lnTo>
                    <a:lnTo>
                      <a:pt x="0" y="79"/>
                    </a:lnTo>
                    <a:lnTo>
                      <a:pt x="0" y="75"/>
                    </a:lnTo>
                    <a:lnTo>
                      <a:pt x="7" y="72"/>
                    </a:lnTo>
                    <a:lnTo>
                      <a:pt x="10" y="72"/>
                    </a:lnTo>
                    <a:lnTo>
                      <a:pt x="26" y="66"/>
                    </a:lnTo>
                    <a:lnTo>
                      <a:pt x="29" y="66"/>
                    </a:lnTo>
                    <a:lnTo>
                      <a:pt x="39" y="61"/>
                    </a:lnTo>
                    <a:lnTo>
                      <a:pt x="42" y="59"/>
                    </a:lnTo>
                    <a:lnTo>
                      <a:pt x="47" y="59"/>
                    </a:lnTo>
                    <a:lnTo>
                      <a:pt x="49" y="61"/>
                    </a:lnTo>
                    <a:lnTo>
                      <a:pt x="49" y="62"/>
                    </a:lnTo>
                    <a:lnTo>
                      <a:pt x="51" y="64"/>
                    </a:lnTo>
                    <a:lnTo>
                      <a:pt x="51" y="66"/>
                    </a:lnTo>
                    <a:lnTo>
                      <a:pt x="54" y="67"/>
                    </a:lnTo>
                    <a:lnTo>
                      <a:pt x="54" y="67"/>
                    </a:lnTo>
                    <a:lnTo>
                      <a:pt x="57" y="67"/>
                    </a:lnTo>
                    <a:lnTo>
                      <a:pt x="57" y="66"/>
                    </a:lnTo>
                    <a:lnTo>
                      <a:pt x="60" y="66"/>
                    </a:lnTo>
                    <a:lnTo>
                      <a:pt x="65" y="66"/>
                    </a:lnTo>
                    <a:lnTo>
                      <a:pt x="67" y="69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4" y="80"/>
                    </a:lnTo>
                    <a:lnTo>
                      <a:pt x="62" y="84"/>
                    </a:lnTo>
                    <a:lnTo>
                      <a:pt x="60" y="87"/>
                    </a:lnTo>
                    <a:lnTo>
                      <a:pt x="60" y="90"/>
                    </a:lnTo>
                    <a:lnTo>
                      <a:pt x="62" y="93"/>
                    </a:lnTo>
                    <a:lnTo>
                      <a:pt x="62" y="97"/>
                    </a:lnTo>
                    <a:lnTo>
                      <a:pt x="65" y="100"/>
                    </a:lnTo>
                    <a:lnTo>
                      <a:pt x="69" y="102"/>
                    </a:lnTo>
                    <a:lnTo>
                      <a:pt x="70" y="103"/>
                    </a:lnTo>
                    <a:lnTo>
                      <a:pt x="72" y="105"/>
                    </a:lnTo>
                    <a:lnTo>
                      <a:pt x="74" y="108"/>
                    </a:lnTo>
                    <a:lnTo>
                      <a:pt x="74" y="110"/>
                    </a:lnTo>
                    <a:lnTo>
                      <a:pt x="74" y="111"/>
                    </a:lnTo>
                    <a:lnTo>
                      <a:pt x="77" y="111"/>
                    </a:lnTo>
                    <a:lnTo>
                      <a:pt x="77" y="108"/>
                    </a:lnTo>
                    <a:lnTo>
                      <a:pt x="77" y="105"/>
                    </a:lnTo>
                    <a:lnTo>
                      <a:pt x="78" y="102"/>
                    </a:lnTo>
                    <a:lnTo>
                      <a:pt x="78" y="98"/>
                    </a:lnTo>
                    <a:lnTo>
                      <a:pt x="80" y="93"/>
                    </a:lnTo>
                    <a:lnTo>
                      <a:pt x="83" y="93"/>
                    </a:lnTo>
                    <a:lnTo>
                      <a:pt x="85" y="92"/>
                    </a:lnTo>
                    <a:lnTo>
                      <a:pt x="87" y="89"/>
                    </a:lnTo>
                    <a:lnTo>
                      <a:pt x="87" y="82"/>
                    </a:lnTo>
                    <a:lnTo>
                      <a:pt x="85" y="80"/>
                    </a:lnTo>
                    <a:lnTo>
                      <a:pt x="85" y="79"/>
                    </a:lnTo>
                    <a:lnTo>
                      <a:pt x="85" y="79"/>
                    </a:lnTo>
                    <a:lnTo>
                      <a:pt x="85" y="77"/>
                    </a:lnTo>
                    <a:lnTo>
                      <a:pt x="87" y="77"/>
                    </a:lnTo>
                    <a:lnTo>
                      <a:pt x="87" y="75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8" y="71"/>
                    </a:lnTo>
                    <a:lnTo>
                      <a:pt x="87" y="66"/>
                    </a:lnTo>
                    <a:lnTo>
                      <a:pt x="83" y="61"/>
                    </a:lnTo>
                    <a:lnTo>
                      <a:pt x="82" y="59"/>
                    </a:lnTo>
                    <a:lnTo>
                      <a:pt x="77" y="53"/>
                    </a:lnTo>
                    <a:lnTo>
                      <a:pt x="75" y="53"/>
                    </a:lnTo>
                    <a:lnTo>
                      <a:pt x="74" y="51"/>
                    </a:lnTo>
                    <a:lnTo>
                      <a:pt x="72" y="49"/>
                    </a:lnTo>
                    <a:lnTo>
                      <a:pt x="67" y="46"/>
                    </a:lnTo>
                    <a:lnTo>
                      <a:pt x="64" y="31"/>
                    </a:lnTo>
                    <a:lnTo>
                      <a:pt x="69" y="17"/>
                    </a:lnTo>
                    <a:lnTo>
                      <a:pt x="83" y="17"/>
                    </a:lnTo>
                    <a:lnTo>
                      <a:pt x="85" y="17"/>
                    </a:lnTo>
                    <a:lnTo>
                      <a:pt x="87" y="15"/>
                    </a:lnTo>
                    <a:lnTo>
                      <a:pt x="88" y="15"/>
                    </a:lnTo>
                    <a:lnTo>
                      <a:pt x="88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8"/>
                    </a:lnTo>
                    <a:lnTo>
                      <a:pt x="96" y="20"/>
                    </a:lnTo>
                    <a:lnTo>
                      <a:pt x="96" y="22"/>
                    </a:lnTo>
                    <a:lnTo>
                      <a:pt x="101" y="20"/>
                    </a:lnTo>
                    <a:lnTo>
                      <a:pt x="105" y="18"/>
                    </a:lnTo>
                    <a:lnTo>
                      <a:pt x="106" y="17"/>
                    </a:lnTo>
                    <a:lnTo>
                      <a:pt x="108" y="17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3" y="20"/>
                    </a:lnTo>
                    <a:lnTo>
                      <a:pt x="116" y="18"/>
                    </a:lnTo>
                    <a:lnTo>
                      <a:pt x="121" y="18"/>
                    </a:lnTo>
                    <a:lnTo>
                      <a:pt x="123" y="15"/>
                    </a:lnTo>
                    <a:lnTo>
                      <a:pt x="121" y="13"/>
                    </a:lnTo>
                    <a:lnTo>
                      <a:pt x="123" y="12"/>
                    </a:lnTo>
                    <a:lnTo>
                      <a:pt x="126" y="13"/>
                    </a:lnTo>
                    <a:lnTo>
                      <a:pt x="127" y="13"/>
                    </a:lnTo>
                    <a:lnTo>
                      <a:pt x="129" y="15"/>
                    </a:lnTo>
                    <a:lnTo>
                      <a:pt x="132" y="13"/>
                    </a:lnTo>
                    <a:lnTo>
                      <a:pt x="134" y="13"/>
                    </a:lnTo>
                    <a:lnTo>
                      <a:pt x="140" y="10"/>
                    </a:lnTo>
                    <a:lnTo>
                      <a:pt x="142" y="12"/>
                    </a:lnTo>
                    <a:lnTo>
                      <a:pt x="144" y="12"/>
                    </a:lnTo>
                    <a:lnTo>
                      <a:pt x="145" y="10"/>
                    </a:lnTo>
                    <a:lnTo>
                      <a:pt x="149" y="8"/>
                    </a:lnTo>
                    <a:lnTo>
                      <a:pt x="152" y="7"/>
                    </a:lnTo>
                    <a:lnTo>
                      <a:pt x="155" y="7"/>
                    </a:lnTo>
                    <a:lnTo>
                      <a:pt x="157" y="4"/>
                    </a:lnTo>
                    <a:lnTo>
                      <a:pt x="158" y="2"/>
                    </a:lnTo>
                    <a:lnTo>
                      <a:pt x="162" y="2"/>
                    </a:lnTo>
                    <a:lnTo>
                      <a:pt x="163" y="0"/>
                    </a:lnTo>
                    <a:lnTo>
                      <a:pt x="163" y="0"/>
                    </a:lnTo>
                    <a:lnTo>
                      <a:pt x="165" y="2"/>
                    </a:lnTo>
                    <a:lnTo>
                      <a:pt x="165" y="5"/>
                    </a:lnTo>
                    <a:lnTo>
                      <a:pt x="163" y="7"/>
                    </a:lnTo>
                    <a:lnTo>
                      <a:pt x="165" y="8"/>
                    </a:lnTo>
                    <a:lnTo>
                      <a:pt x="162" y="13"/>
                    </a:lnTo>
                    <a:lnTo>
                      <a:pt x="160" y="15"/>
                    </a:lnTo>
                    <a:lnTo>
                      <a:pt x="162" y="15"/>
                    </a:lnTo>
                    <a:lnTo>
                      <a:pt x="162" y="17"/>
                    </a:lnTo>
                    <a:lnTo>
                      <a:pt x="160" y="18"/>
                    </a:lnTo>
                    <a:lnTo>
                      <a:pt x="162" y="23"/>
                    </a:lnTo>
                    <a:lnTo>
                      <a:pt x="163" y="26"/>
                    </a:lnTo>
                    <a:lnTo>
                      <a:pt x="162" y="28"/>
                    </a:lnTo>
                    <a:lnTo>
                      <a:pt x="162" y="31"/>
                    </a:lnTo>
                    <a:lnTo>
                      <a:pt x="163" y="33"/>
                    </a:lnTo>
                    <a:lnTo>
                      <a:pt x="163" y="38"/>
                    </a:lnTo>
                    <a:lnTo>
                      <a:pt x="162" y="40"/>
                    </a:lnTo>
                    <a:lnTo>
                      <a:pt x="162" y="43"/>
                    </a:lnTo>
                    <a:lnTo>
                      <a:pt x="160" y="51"/>
                    </a:lnTo>
                    <a:lnTo>
                      <a:pt x="160" y="51"/>
                    </a:lnTo>
                    <a:lnTo>
                      <a:pt x="162" y="53"/>
                    </a:lnTo>
                    <a:lnTo>
                      <a:pt x="162" y="59"/>
                    </a:lnTo>
                    <a:lnTo>
                      <a:pt x="158" y="61"/>
                    </a:lnTo>
                    <a:lnTo>
                      <a:pt x="158" y="61"/>
                    </a:lnTo>
                    <a:lnTo>
                      <a:pt x="160" y="62"/>
                    </a:lnTo>
                    <a:lnTo>
                      <a:pt x="163" y="62"/>
                    </a:lnTo>
                    <a:lnTo>
                      <a:pt x="163" y="62"/>
                    </a:lnTo>
                    <a:lnTo>
                      <a:pt x="163" y="69"/>
                    </a:lnTo>
                    <a:lnTo>
                      <a:pt x="163" y="72"/>
                    </a:lnTo>
                    <a:lnTo>
                      <a:pt x="160" y="72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5"/>
                    </a:lnTo>
                    <a:lnTo>
                      <a:pt x="157" y="77"/>
                    </a:lnTo>
                    <a:lnTo>
                      <a:pt x="158" y="79"/>
                    </a:lnTo>
                    <a:lnTo>
                      <a:pt x="158" y="79"/>
                    </a:lnTo>
                    <a:lnTo>
                      <a:pt x="160" y="79"/>
                    </a:lnTo>
                    <a:lnTo>
                      <a:pt x="158" y="80"/>
                    </a:lnTo>
                    <a:lnTo>
                      <a:pt x="158" y="84"/>
                    </a:lnTo>
                    <a:lnTo>
                      <a:pt x="157" y="84"/>
                    </a:lnTo>
                    <a:lnTo>
                      <a:pt x="154" y="89"/>
                    </a:lnTo>
                    <a:lnTo>
                      <a:pt x="154" y="90"/>
                    </a:lnTo>
                    <a:lnTo>
                      <a:pt x="150" y="95"/>
                    </a:lnTo>
                    <a:lnTo>
                      <a:pt x="147" y="95"/>
                    </a:lnTo>
                    <a:lnTo>
                      <a:pt x="147" y="98"/>
                    </a:lnTo>
                    <a:lnTo>
                      <a:pt x="137" y="105"/>
                    </a:lnTo>
                    <a:lnTo>
                      <a:pt x="136" y="105"/>
                    </a:lnTo>
                    <a:lnTo>
                      <a:pt x="134" y="107"/>
                    </a:lnTo>
                    <a:lnTo>
                      <a:pt x="124" y="111"/>
                    </a:lnTo>
                    <a:lnTo>
                      <a:pt x="121" y="111"/>
                    </a:lnTo>
                    <a:lnTo>
                      <a:pt x="121" y="113"/>
                    </a:lnTo>
                    <a:lnTo>
                      <a:pt x="116" y="115"/>
                    </a:lnTo>
                    <a:lnTo>
                      <a:pt x="109" y="120"/>
                    </a:lnTo>
                    <a:lnTo>
                      <a:pt x="108" y="118"/>
                    </a:lnTo>
                    <a:lnTo>
                      <a:pt x="108" y="120"/>
                    </a:lnTo>
                    <a:lnTo>
                      <a:pt x="105" y="124"/>
                    </a:lnTo>
                    <a:lnTo>
                      <a:pt x="103" y="126"/>
                    </a:lnTo>
                    <a:lnTo>
                      <a:pt x="101" y="123"/>
                    </a:lnTo>
                    <a:lnTo>
                      <a:pt x="100" y="128"/>
                    </a:lnTo>
                    <a:lnTo>
                      <a:pt x="98" y="128"/>
                    </a:lnTo>
                    <a:lnTo>
                      <a:pt x="98" y="131"/>
                    </a:lnTo>
                    <a:lnTo>
                      <a:pt x="91" y="134"/>
                    </a:lnTo>
                    <a:lnTo>
                      <a:pt x="91" y="136"/>
                    </a:lnTo>
                    <a:lnTo>
                      <a:pt x="90" y="138"/>
                    </a:lnTo>
                    <a:lnTo>
                      <a:pt x="88" y="138"/>
                    </a:lnTo>
                    <a:lnTo>
                      <a:pt x="88" y="139"/>
                    </a:lnTo>
                    <a:lnTo>
                      <a:pt x="85" y="141"/>
                    </a:lnTo>
                    <a:lnTo>
                      <a:pt x="77" y="146"/>
                    </a:lnTo>
                    <a:lnTo>
                      <a:pt x="77" y="149"/>
                    </a:lnTo>
                    <a:lnTo>
                      <a:pt x="74" y="152"/>
                    </a:lnTo>
                    <a:lnTo>
                      <a:pt x="70" y="152"/>
                    </a:lnTo>
                    <a:lnTo>
                      <a:pt x="69" y="154"/>
                    </a:lnTo>
                    <a:lnTo>
                      <a:pt x="65" y="152"/>
                    </a:lnTo>
                    <a:lnTo>
                      <a:pt x="64" y="152"/>
                    </a:lnTo>
                    <a:lnTo>
                      <a:pt x="64" y="154"/>
                    </a:lnTo>
                    <a:lnTo>
                      <a:pt x="65" y="156"/>
                    </a:lnTo>
                    <a:lnTo>
                      <a:pt x="65" y="157"/>
                    </a:lnTo>
                    <a:lnTo>
                      <a:pt x="64" y="159"/>
                    </a:lnTo>
                    <a:lnTo>
                      <a:pt x="65" y="162"/>
                    </a:lnTo>
                    <a:lnTo>
                      <a:pt x="64" y="164"/>
                    </a:lnTo>
                    <a:lnTo>
                      <a:pt x="67" y="170"/>
                    </a:lnTo>
                    <a:lnTo>
                      <a:pt x="67" y="174"/>
                    </a:lnTo>
                    <a:lnTo>
                      <a:pt x="65" y="175"/>
                    </a:lnTo>
                    <a:lnTo>
                      <a:pt x="67" y="175"/>
                    </a:lnTo>
                    <a:lnTo>
                      <a:pt x="69" y="178"/>
                    </a:lnTo>
                    <a:lnTo>
                      <a:pt x="69" y="182"/>
                    </a:lnTo>
                    <a:lnTo>
                      <a:pt x="70" y="185"/>
                    </a:lnTo>
                    <a:lnTo>
                      <a:pt x="70" y="195"/>
                    </a:lnTo>
                    <a:lnTo>
                      <a:pt x="72" y="200"/>
                    </a:lnTo>
                    <a:lnTo>
                      <a:pt x="72" y="200"/>
                    </a:lnTo>
                    <a:lnTo>
                      <a:pt x="72" y="196"/>
                    </a:lnTo>
                    <a:lnTo>
                      <a:pt x="74" y="191"/>
                    </a:lnTo>
                    <a:lnTo>
                      <a:pt x="74" y="196"/>
                    </a:lnTo>
                    <a:lnTo>
                      <a:pt x="75" y="195"/>
                    </a:lnTo>
                    <a:lnTo>
                      <a:pt x="75" y="200"/>
                    </a:lnTo>
                    <a:lnTo>
                      <a:pt x="74" y="201"/>
                    </a:lnTo>
                    <a:lnTo>
                      <a:pt x="74" y="206"/>
                    </a:lnTo>
                    <a:lnTo>
                      <a:pt x="74" y="206"/>
                    </a:lnTo>
                    <a:lnTo>
                      <a:pt x="72" y="211"/>
                    </a:lnTo>
                    <a:lnTo>
                      <a:pt x="72" y="214"/>
                    </a:lnTo>
                    <a:lnTo>
                      <a:pt x="70" y="216"/>
                    </a:lnTo>
                    <a:lnTo>
                      <a:pt x="70" y="219"/>
                    </a:lnTo>
                    <a:lnTo>
                      <a:pt x="70" y="219"/>
                    </a:lnTo>
                    <a:lnTo>
                      <a:pt x="70" y="223"/>
                    </a:lnTo>
                    <a:lnTo>
                      <a:pt x="72" y="221"/>
                    </a:lnTo>
                    <a:lnTo>
                      <a:pt x="74" y="223"/>
                    </a:lnTo>
                    <a:lnTo>
                      <a:pt x="72" y="226"/>
                    </a:lnTo>
                    <a:lnTo>
                      <a:pt x="70" y="231"/>
                    </a:lnTo>
                    <a:lnTo>
                      <a:pt x="64" y="236"/>
                    </a:lnTo>
                    <a:lnTo>
                      <a:pt x="54" y="241"/>
                    </a:lnTo>
                    <a:lnTo>
                      <a:pt x="41" y="244"/>
                    </a:lnTo>
                    <a:lnTo>
                      <a:pt x="34" y="249"/>
                    </a:lnTo>
                    <a:lnTo>
                      <a:pt x="31" y="250"/>
                    </a:lnTo>
                    <a:lnTo>
                      <a:pt x="29" y="252"/>
                    </a:lnTo>
                    <a:lnTo>
                      <a:pt x="28" y="254"/>
                    </a:lnTo>
                    <a:lnTo>
                      <a:pt x="26" y="257"/>
                    </a:lnTo>
                    <a:lnTo>
                      <a:pt x="25" y="257"/>
                    </a:lnTo>
                    <a:lnTo>
                      <a:pt x="23" y="258"/>
                    </a:lnTo>
                    <a:lnTo>
                      <a:pt x="25" y="260"/>
                    </a:lnTo>
                    <a:lnTo>
                      <a:pt x="26" y="262"/>
                    </a:lnTo>
                    <a:lnTo>
                      <a:pt x="26" y="265"/>
                    </a:lnTo>
                    <a:lnTo>
                      <a:pt x="26" y="263"/>
                    </a:lnTo>
                    <a:lnTo>
                      <a:pt x="29" y="263"/>
                    </a:lnTo>
                    <a:lnTo>
                      <a:pt x="29" y="262"/>
                    </a:lnTo>
                    <a:lnTo>
                      <a:pt x="31" y="262"/>
                    </a:lnTo>
                    <a:lnTo>
                      <a:pt x="31" y="263"/>
                    </a:lnTo>
                    <a:lnTo>
                      <a:pt x="31" y="267"/>
                    </a:lnTo>
                    <a:lnTo>
                      <a:pt x="29" y="270"/>
                    </a:lnTo>
                    <a:lnTo>
                      <a:pt x="29" y="273"/>
                    </a:lnTo>
                    <a:lnTo>
                      <a:pt x="26" y="273"/>
                    </a:lnTo>
                    <a:lnTo>
                      <a:pt x="20" y="272"/>
                    </a:lnTo>
                    <a:lnTo>
                      <a:pt x="18" y="272"/>
                    </a:lnTo>
                    <a:lnTo>
                      <a:pt x="18" y="270"/>
                    </a:lnTo>
                    <a:lnTo>
                      <a:pt x="20" y="268"/>
                    </a:lnTo>
                    <a:lnTo>
                      <a:pt x="20" y="265"/>
                    </a:lnTo>
                    <a:lnTo>
                      <a:pt x="20" y="265"/>
                    </a:lnTo>
                    <a:lnTo>
                      <a:pt x="18" y="262"/>
                    </a:lnTo>
                    <a:lnTo>
                      <a:pt x="16" y="260"/>
                    </a:lnTo>
                    <a:lnTo>
                      <a:pt x="15" y="260"/>
                    </a:lnTo>
                    <a:lnTo>
                      <a:pt x="15" y="258"/>
                    </a:lnTo>
                    <a:lnTo>
                      <a:pt x="15" y="254"/>
                    </a:lnTo>
                    <a:lnTo>
                      <a:pt x="15" y="249"/>
                    </a:lnTo>
                    <a:lnTo>
                      <a:pt x="16" y="244"/>
                    </a:lnTo>
                    <a:lnTo>
                      <a:pt x="16" y="231"/>
                    </a:lnTo>
                    <a:lnTo>
                      <a:pt x="15" y="227"/>
                    </a:lnTo>
                    <a:lnTo>
                      <a:pt x="15" y="224"/>
                    </a:lnTo>
                    <a:lnTo>
                      <a:pt x="15" y="221"/>
                    </a:lnTo>
                    <a:lnTo>
                      <a:pt x="15" y="221"/>
                    </a:lnTo>
                    <a:lnTo>
                      <a:pt x="15" y="213"/>
                    </a:lnTo>
                    <a:lnTo>
                      <a:pt x="13" y="209"/>
                    </a:lnTo>
                    <a:lnTo>
                      <a:pt x="11" y="205"/>
                    </a:lnTo>
                    <a:lnTo>
                      <a:pt x="11" y="200"/>
                    </a:lnTo>
                    <a:lnTo>
                      <a:pt x="10" y="20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5" name="Freeform 303">
                <a:extLst>
                  <a:ext uri="{FF2B5EF4-FFF2-40B4-BE49-F238E27FC236}">
                    <a16:creationId xmlns:a16="http://schemas.microsoft.com/office/drawing/2014/main" xmlns="" id="{CBBDB0A2-E070-4628-994A-9FCF6F99C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2484"/>
                <a:ext cx="23" cy="26"/>
              </a:xfrm>
              <a:custGeom>
                <a:avLst/>
                <a:gdLst>
                  <a:gd name="T0" fmla="*/ 18 w 23"/>
                  <a:gd name="T1" fmla="*/ 4 h 26"/>
                  <a:gd name="T2" fmla="*/ 18 w 23"/>
                  <a:gd name="T3" fmla="*/ 6 h 26"/>
                  <a:gd name="T4" fmla="*/ 19 w 23"/>
                  <a:gd name="T5" fmla="*/ 6 h 26"/>
                  <a:gd name="T6" fmla="*/ 21 w 23"/>
                  <a:gd name="T7" fmla="*/ 8 h 26"/>
                  <a:gd name="T8" fmla="*/ 23 w 23"/>
                  <a:gd name="T9" fmla="*/ 11 h 26"/>
                  <a:gd name="T10" fmla="*/ 23 w 23"/>
                  <a:gd name="T11" fmla="*/ 11 h 26"/>
                  <a:gd name="T12" fmla="*/ 23 w 23"/>
                  <a:gd name="T13" fmla="*/ 14 h 26"/>
                  <a:gd name="T14" fmla="*/ 21 w 23"/>
                  <a:gd name="T15" fmla="*/ 16 h 26"/>
                  <a:gd name="T16" fmla="*/ 21 w 23"/>
                  <a:gd name="T17" fmla="*/ 18 h 26"/>
                  <a:gd name="T18" fmla="*/ 21 w 23"/>
                  <a:gd name="T19" fmla="*/ 18 h 26"/>
                  <a:gd name="T20" fmla="*/ 19 w 23"/>
                  <a:gd name="T21" fmla="*/ 19 h 26"/>
                  <a:gd name="T22" fmla="*/ 19 w 23"/>
                  <a:gd name="T23" fmla="*/ 21 h 26"/>
                  <a:gd name="T24" fmla="*/ 18 w 23"/>
                  <a:gd name="T25" fmla="*/ 24 h 26"/>
                  <a:gd name="T26" fmla="*/ 16 w 23"/>
                  <a:gd name="T27" fmla="*/ 26 h 26"/>
                  <a:gd name="T28" fmla="*/ 10 w 23"/>
                  <a:gd name="T29" fmla="*/ 26 h 26"/>
                  <a:gd name="T30" fmla="*/ 5 w 23"/>
                  <a:gd name="T31" fmla="*/ 22 h 26"/>
                  <a:gd name="T32" fmla="*/ 3 w 23"/>
                  <a:gd name="T33" fmla="*/ 19 h 26"/>
                  <a:gd name="T34" fmla="*/ 1 w 23"/>
                  <a:gd name="T35" fmla="*/ 18 h 26"/>
                  <a:gd name="T36" fmla="*/ 0 w 23"/>
                  <a:gd name="T37" fmla="*/ 14 h 26"/>
                  <a:gd name="T38" fmla="*/ 1 w 23"/>
                  <a:gd name="T39" fmla="*/ 11 h 26"/>
                  <a:gd name="T40" fmla="*/ 5 w 23"/>
                  <a:gd name="T41" fmla="*/ 4 h 26"/>
                  <a:gd name="T42" fmla="*/ 6 w 23"/>
                  <a:gd name="T43" fmla="*/ 1 h 26"/>
                  <a:gd name="T44" fmla="*/ 8 w 23"/>
                  <a:gd name="T45" fmla="*/ 0 h 26"/>
                  <a:gd name="T46" fmla="*/ 13 w 23"/>
                  <a:gd name="T47" fmla="*/ 1 h 26"/>
                  <a:gd name="T48" fmla="*/ 14 w 23"/>
                  <a:gd name="T49" fmla="*/ 4 h 26"/>
                  <a:gd name="T50" fmla="*/ 18 w 23"/>
                  <a:gd name="T51" fmla="*/ 4 h 26"/>
                  <a:gd name="T52" fmla="*/ 18 w 23"/>
                  <a:gd name="T5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6">
                    <a:moveTo>
                      <a:pt x="18" y="4"/>
                    </a:moveTo>
                    <a:lnTo>
                      <a:pt x="18" y="6"/>
                    </a:lnTo>
                    <a:lnTo>
                      <a:pt x="19" y="6"/>
                    </a:lnTo>
                    <a:lnTo>
                      <a:pt x="21" y="8"/>
                    </a:lnTo>
                    <a:lnTo>
                      <a:pt x="23" y="11"/>
                    </a:lnTo>
                    <a:lnTo>
                      <a:pt x="23" y="11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9" y="21"/>
                    </a:lnTo>
                    <a:lnTo>
                      <a:pt x="18" y="24"/>
                    </a:lnTo>
                    <a:lnTo>
                      <a:pt x="16" y="26"/>
                    </a:lnTo>
                    <a:lnTo>
                      <a:pt x="10" y="26"/>
                    </a:lnTo>
                    <a:lnTo>
                      <a:pt x="5" y="22"/>
                    </a:lnTo>
                    <a:lnTo>
                      <a:pt x="3" y="19"/>
                    </a:lnTo>
                    <a:lnTo>
                      <a:pt x="1" y="18"/>
                    </a:lnTo>
                    <a:lnTo>
                      <a:pt x="0" y="14"/>
                    </a:lnTo>
                    <a:lnTo>
                      <a:pt x="1" y="11"/>
                    </a:lnTo>
                    <a:lnTo>
                      <a:pt x="5" y="4"/>
                    </a:lnTo>
                    <a:lnTo>
                      <a:pt x="6" y="1"/>
                    </a:lnTo>
                    <a:lnTo>
                      <a:pt x="8" y="0"/>
                    </a:lnTo>
                    <a:lnTo>
                      <a:pt x="13" y="1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6" name="Freeform 304">
                <a:extLst>
                  <a:ext uri="{FF2B5EF4-FFF2-40B4-BE49-F238E27FC236}">
                    <a16:creationId xmlns:a16="http://schemas.microsoft.com/office/drawing/2014/main" xmlns="" id="{C0A11C84-A7AF-4D3E-BCCF-99206776B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7" y="2423"/>
                <a:ext cx="258" cy="224"/>
              </a:xfrm>
              <a:custGeom>
                <a:avLst/>
                <a:gdLst>
                  <a:gd name="T0" fmla="*/ 5 w 258"/>
                  <a:gd name="T1" fmla="*/ 105 h 224"/>
                  <a:gd name="T2" fmla="*/ 15 w 258"/>
                  <a:gd name="T3" fmla="*/ 108 h 224"/>
                  <a:gd name="T4" fmla="*/ 30 w 258"/>
                  <a:gd name="T5" fmla="*/ 116 h 224"/>
                  <a:gd name="T6" fmla="*/ 40 w 258"/>
                  <a:gd name="T7" fmla="*/ 118 h 224"/>
                  <a:gd name="T8" fmla="*/ 46 w 258"/>
                  <a:gd name="T9" fmla="*/ 110 h 224"/>
                  <a:gd name="T10" fmla="*/ 64 w 258"/>
                  <a:gd name="T11" fmla="*/ 52 h 224"/>
                  <a:gd name="T12" fmla="*/ 67 w 258"/>
                  <a:gd name="T13" fmla="*/ 79 h 224"/>
                  <a:gd name="T14" fmla="*/ 85 w 258"/>
                  <a:gd name="T15" fmla="*/ 77 h 224"/>
                  <a:gd name="T16" fmla="*/ 102 w 258"/>
                  <a:gd name="T17" fmla="*/ 65 h 224"/>
                  <a:gd name="T18" fmla="*/ 118 w 258"/>
                  <a:gd name="T19" fmla="*/ 57 h 224"/>
                  <a:gd name="T20" fmla="*/ 134 w 258"/>
                  <a:gd name="T21" fmla="*/ 61 h 224"/>
                  <a:gd name="T22" fmla="*/ 147 w 258"/>
                  <a:gd name="T23" fmla="*/ 61 h 224"/>
                  <a:gd name="T24" fmla="*/ 149 w 258"/>
                  <a:gd name="T25" fmla="*/ 49 h 224"/>
                  <a:gd name="T26" fmla="*/ 159 w 258"/>
                  <a:gd name="T27" fmla="*/ 43 h 224"/>
                  <a:gd name="T28" fmla="*/ 165 w 258"/>
                  <a:gd name="T29" fmla="*/ 36 h 224"/>
                  <a:gd name="T30" fmla="*/ 172 w 258"/>
                  <a:gd name="T31" fmla="*/ 21 h 224"/>
                  <a:gd name="T32" fmla="*/ 180 w 258"/>
                  <a:gd name="T33" fmla="*/ 16 h 224"/>
                  <a:gd name="T34" fmla="*/ 191 w 258"/>
                  <a:gd name="T35" fmla="*/ 12 h 224"/>
                  <a:gd name="T36" fmla="*/ 200 w 258"/>
                  <a:gd name="T37" fmla="*/ 5 h 224"/>
                  <a:gd name="T38" fmla="*/ 213 w 258"/>
                  <a:gd name="T39" fmla="*/ 0 h 224"/>
                  <a:gd name="T40" fmla="*/ 224 w 258"/>
                  <a:gd name="T41" fmla="*/ 5 h 224"/>
                  <a:gd name="T42" fmla="*/ 240 w 258"/>
                  <a:gd name="T43" fmla="*/ 12 h 224"/>
                  <a:gd name="T44" fmla="*/ 244 w 258"/>
                  <a:gd name="T45" fmla="*/ 31 h 224"/>
                  <a:gd name="T46" fmla="*/ 244 w 258"/>
                  <a:gd name="T47" fmla="*/ 61 h 224"/>
                  <a:gd name="T48" fmla="*/ 232 w 258"/>
                  <a:gd name="T49" fmla="*/ 62 h 224"/>
                  <a:gd name="T50" fmla="*/ 229 w 258"/>
                  <a:gd name="T51" fmla="*/ 80 h 224"/>
                  <a:gd name="T52" fmla="*/ 245 w 258"/>
                  <a:gd name="T53" fmla="*/ 82 h 224"/>
                  <a:gd name="T54" fmla="*/ 258 w 258"/>
                  <a:gd name="T55" fmla="*/ 80 h 224"/>
                  <a:gd name="T56" fmla="*/ 254 w 258"/>
                  <a:gd name="T57" fmla="*/ 95 h 224"/>
                  <a:gd name="T58" fmla="*/ 244 w 258"/>
                  <a:gd name="T59" fmla="*/ 116 h 224"/>
                  <a:gd name="T60" fmla="*/ 232 w 258"/>
                  <a:gd name="T61" fmla="*/ 123 h 224"/>
                  <a:gd name="T62" fmla="*/ 222 w 258"/>
                  <a:gd name="T63" fmla="*/ 136 h 224"/>
                  <a:gd name="T64" fmla="*/ 205 w 258"/>
                  <a:gd name="T65" fmla="*/ 164 h 224"/>
                  <a:gd name="T66" fmla="*/ 182 w 258"/>
                  <a:gd name="T67" fmla="*/ 185 h 224"/>
                  <a:gd name="T68" fmla="*/ 162 w 258"/>
                  <a:gd name="T69" fmla="*/ 199 h 224"/>
                  <a:gd name="T70" fmla="*/ 146 w 258"/>
                  <a:gd name="T71" fmla="*/ 203 h 224"/>
                  <a:gd name="T72" fmla="*/ 138 w 258"/>
                  <a:gd name="T73" fmla="*/ 211 h 224"/>
                  <a:gd name="T74" fmla="*/ 126 w 258"/>
                  <a:gd name="T75" fmla="*/ 213 h 224"/>
                  <a:gd name="T76" fmla="*/ 103 w 258"/>
                  <a:gd name="T77" fmla="*/ 209 h 224"/>
                  <a:gd name="T78" fmla="*/ 85 w 258"/>
                  <a:gd name="T79" fmla="*/ 211 h 224"/>
                  <a:gd name="T80" fmla="*/ 79 w 258"/>
                  <a:gd name="T81" fmla="*/ 216 h 224"/>
                  <a:gd name="T82" fmla="*/ 62 w 258"/>
                  <a:gd name="T83" fmla="*/ 217 h 224"/>
                  <a:gd name="T84" fmla="*/ 49 w 258"/>
                  <a:gd name="T85" fmla="*/ 222 h 224"/>
                  <a:gd name="T86" fmla="*/ 36 w 258"/>
                  <a:gd name="T87" fmla="*/ 214 h 224"/>
                  <a:gd name="T88" fmla="*/ 28 w 258"/>
                  <a:gd name="T89" fmla="*/ 211 h 224"/>
                  <a:gd name="T90" fmla="*/ 25 w 258"/>
                  <a:gd name="T91" fmla="*/ 208 h 224"/>
                  <a:gd name="T92" fmla="*/ 18 w 258"/>
                  <a:gd name="T93" fmla="*/ 188 h 224"/>
                  <a:gd name="T94" fmla="*/ 25 w 258"/>
                  <a:gd name="T95" fmla="*/ 183 h 224"/>
                  <a:gd name="T96" fmla="*/ 20 w 258"/>
                  <a:gd name="T97" fmla="*/ 159 h 224"/>
                  <a:gd name="T98" fmla="*/ 7 w 258"/>
                  <a:gd name="T99" fmla="*/ 119 h 224"/>
                  <a:gd name="T100" fmla="*/ 170 w 258"/>
                  <a:gd name="T101" fmla="*/ 142 h 224"/>
                  <a:gd name="T102" fmla="*/ 182 w 258"/>
                  <a:gd name="T103" fmla="*/ 146 h 224"/>
                  <a:gd name="T104" fmla="*/ 191 w 258"/>
                  <a:gd name="T105" fmla="*/ 137 h 224"/>
                  <a:gd name="T106" fmla="*/ 195 w 258"/>
                  <a:gd name="T107" fmla="*/ 131 h 224"/>
                  <a:gd name="T108" fmla="*/ 195 w 258"/>
                  <a:gd name="T109" fmla="*/ 114 h 224"/>
                  <a:gd name="T110" fmla="*/ 185 w 258"/>
                  <a:gd name="T111" fmla="*/ 113 h 224"/>
                  <a:gd name="T112" fmla="*/ 172 w 258"/>
                  <a:gd name="T113" fmla="*/ 121 h 224"/>
                  <a:gd name="T114" fmla="*/ 167 w 258"/>
                  <a:gd name="T115" fmla="*/ 13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8" h="224">
                    <a:moveTo>
                      <a:pt x="0" y="111"/>
                    </a:moveTo>
                    <a:lnTo>
                      <a:pt x="4" y="110"/>
                    </a:lnTo>
                    <a:lnTo>
                      <a:pt x="7" y="108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7" y="103"/>
                    </a:lnTo>
                    <a:lnTo>
                      <a:pt x="12" y="101"/>
                    </a:lnTo>
                    <a:lnTo>
                      <a:pt x="13" y="105"/>
                    </a:lnTo>
                    <a:lnTo>
                      <a:pt x="17" y="105"/>
                    </a:lnTo>
                    <a:lnTo>
                      <a:pt x="15" y="108"/>
                    </a:lnTo>
                    <a:lnTo>
                      <a:pt x="17" y="113"/>
                    </a:lnTo>
                    <a:lnTo>
                      <a:pt x="22" y="114"/>
                    </a:lnTo>
                    <a:lnTo>
                      <a:pt x="27" y="116"/>
                    </a:lnTo>
                    <a:lnTo>
                      <a:pt x="28" y="114"/>
                    </a:lnTo>
                    <a:lnTo>
                      <a:pt x="30" y="116"/>
                    </a:lnTo>
                    <a:lnTo>
                      <a:pt x="33" y="116"/>
                    </a:lnTo>
                    <a:lnTo>
                      <a:pt x="35" y="114"/>
                    </a:lnTo>
                    <a:lnTo>
                      <a:pt x="36" y="114"/>
                    </a:lnTo>
                    <a:lnTo>
                      <a:pt x="38" y="118"/>
                    </a:lnTo>
                    <a:lnTo>
                      <a:pt x="40" y="118"/>
                    </a:lnTo>
                    <a:lnTo>
                      <a:pt x="41" y="118"/>
                    </a:lnTo>
                    <a:lnTo>
                      <a:pt x="41" y="114"/>
                    </a:lnTo>
                    <a:lnTo>
                      <a:pt x="43" y="113"/>
                    </a:lnTo>
                    <a:lnTo>
                      <a:pt x="44" y="111"/>
                    </a:lnTo>
                    <a:lnTo>
                      <a:pt x="46" y="110"/>
                    </a:lnTo>
                    <a:lnTo>
                      <a:pt x="51" y="106"/>
                    </a:lnTo>
                    <a:lnTo>
                      <a:pt x="56" y="106"/>
                    </a:lnTo>
                    <a:lnTo>
                      <a:pt x="58" y="106"/>
                    </a:lnTo>
                    <a:lnTo>
                      <a:pt x="59" y="48"/>
                    </a:lnTo>
                    <a:lnTo>
                      <a:pt x="64" y="52"/>
                    </a:lnTo>
                    <a:lnTo>
                      <a:pt x="66" y="57"/>
                    </a:lnTo>
                    <a:lnTo>
                      <a:pt x="71" y="65"/>
                    </a:lnTo>
                    <a:lnTo>
                      <a:pt x="71" y="70"/>
                    </a:lnTo>
                    <a:lnTo>
                      <a:pt x="67" y="75"/>
                    </a:lnTo>
                    <a:lnTo>
                      <a:pt x="67" y="79"/>
                    </a:lnTo>
                    <a:lnTo>
                      <a:pt x="72" y="79"/>
                    </a:lnTo>
                    <a:lnTo>
                      <a:pt x="77" y="79"/>
                    </a:lnTo>
                    <a:lnTo>
                      <a:pt x="79" y="77"/>
                    </a:lnTo>
                    <a:lnTo>
                      <a:pt x="82" y="79"/>
                    </a:lnTo>
                    <a:lnTo>
                      <a:pt x="85" y="77"/>
                    </a:lnTo>
                    <a:lnTo>
                      <a:pt x="89" y="75"/>
                    </a:lnTo>
                    <a:lnTo>
                      <a:pt x="92" y="74"/>
                    </a:lnTo>
                    <a:lnTo>
                      <a:pt x="93" y="70"/>
                    </a:lnTo>
                    <a:lnTo>
                      <a:pt x="98" y="69"/>
                    </a:lnTo>
                    <a:lnTo>
                      <a:pt x="102" y="65"/>
                    </a:lnTo>
                    <a:lnTo>
                      <a:pt x="103" y="59"/>
                    </a:lnTo>
                    <a:lnTo>
                      <a:pt x="108" y="56"/>
                    </a:lnTo>
                    <a:lnTo>
                      <a:pt x="111" y="56"/>
                    </a:lnTo>
                    <a:lnTo>
                      <a:pt x="116" y="56"/>
                    </a:lnTo>
                    <a:lnTo>
                      <a:pt x="118" y="57"/>
                    </a:lnTo>
                    <a:lnTo>
                      <a:pt x="120" y="59"/>
                    </a:lnTo>
                    <a:lnTo>
                      <a:pt x="126" y="62"/>
                    </a:lnTo>
                    <a:lnTo>
                      <a:pt x="128" y="61"/>
                    </a:lnTo>
                    <a:lnTo>
                      <a:pt x="131" y="62"/>
                    </a:lnTo>
                    <a:lnTo>
                      <a:pt x="134" y="61"/>
                    </a:lnTo>
                    <a:lnTo>
                      <a:pt x="138" y="61"/>
                    </a:lnTo>
                    <a:lnTo>
                      <a:pt x="141" y="61"/>
                    </a:lnTo>
                    <a:lnTo>
                      <a:pt x="142" y="62"/>
                    </a:lnTo>
                    <a:lnTo>
                      <a:pt x="144" y="64"/>
                    </a:lnTo>
                    <a:lnTo>
                      <a:pt x="147" y="61"/>
                    </a:lnTo>
                    <a:lnTo>
                      <a:pt x="147" y="59"/>
                    </a:lnTo>
                    <a:lnTo>
                      <a:pt x="147" y="57"/>
                    </a:lnTo>
                    <a:lnTo>
                      <a:pt x="147" y="54"/>
                    </a:lnTo>
                    <a:lnTo>
                      <a:pt x="149" y="52"/>
                    </a:lnTo>
                    <a:lnTo>
                      <a:pt x="149" y="49"/>
                    </a:lnTo>
                    <a:lnTo>
                      <a:pt x="151" y="46"/>
                    </a:lnTo>
                    <a:lnTo>
                      <a:pt x="154" y="46"/>
                    </a:lnTo>
                    <a:lnTo>
                      <a:pt x="156" y="44"/>
                    </a:lnTo>
                    <a:lnTo>
                      <a:pt x="157" y="44"/>
                    </a:lnTo>
                    <a:lnTo>
                      <a:pt x="159" y="43"/>
                    </a:lnTo>
                    <a:lnTo>
                      <a:pt x="160" y="41"/>
                    </a:lnTo>
                    <a:lnTo>
                      <a:pt x="160" y="39"/>
                    </a:lnTo>
                    <a:lnTo>
                      <a:pt x="162" y="38"/>
                    </a:lnTo>
                    <a:lnTo>
                      <a:pt x="164" y="38"/>
                    </a:lnTo>
                    <a:lnTo>
                      <a:pt x="165" y="36"/>
                    </a:lnTo>
                    <a:lnTo>
                      <a:pt x="167" y="36"/>
                    </a:lnTo>
                    <a:lnTo>
                      <a:pt x="167" y="33"/>
                    </a:lnTo>
                    <a:lnTo>
                      <a:pt x="167" y="31"/>
                    </a:lnTo>
                    <a:lnTo>
                      <a:pt x="167" y="28"/>
                    </a:lnTo>
                    <a:lnTo>
                      <a:pt x="172" y="21"/>
                    </a:lnTo>
                    <a:lnTo>
                      <a:pt x="173" y="21"/>
                    </a:lnTo>
                    <a:lnTo>
                      <a:pt x="175" y="20"/>
                    </a:lnTo>
                    <a:lnTo>
                      <a:pt x="177" y="18"/>
                    </a:lnTo>
                    <a:lnTo>
                      <a:pt x="178" y="18"/>
                    </a:lnTo>
                    <a:lnTo>
                      <a:pt x="180" y="16"/>
                    </a:lnTo>
                    <a:lnTo>
                      <a:pt x="182" y="15"/>
                    </a:lnTo>
                    <a:lnTo>
                      <a:pt x="183" y="13"/>
                    </a:lnTo>
                    <a:lnTo>
                      <a:pt x="187" y="10"/>
                    </a:lnTo>
                    <a:lnTo>
                      <a:pt x="190" y="10"/>
                    </a:lnTo>
                    <a:lnTo>
                      <a:pt x="191" y="12"/>
                    </a:lnTo>
                    <a:lnTo>
                      <a:pt x="193" y="10"/>
                    </a:lnTo>
                    <a:lnTo>
                      <a:pt x="195" y="10"/>
                    </a:lnTo>
                    <a:lnTo>
                      <a:pt x="196" y="8"/>
                    </a:lnTo>
                    <a:lnTo>
                      <a:pt x="200" y="8"/>
                    </a:lnTo>
                    <a:lnTo>
                      <a:pt x="200" y="5"/>
                    </a:lnTo>
                    <a:lnTo>
                      <a:pt x="200" y="3"/>
                    </a:lnTo>
                    <a:lnTo>
                      <a:pt x="201" y="2"/>
                    </a:lnTo>
                    <a:lnTo>
                      <a:pt x="205" y="2"/>
                    </a:lnTo>
                    <a:lnTo>
                      <a:pt x="206" y="0"/>
                    </a:lnTo>
                    <a:lnTo>
                      <a:pt x="213" y="0"/>
                    </a:lnTo>
                    <a:lnTo>
                      <a:pt x="216" y="0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4" y="3"/>
                    </a:lnTo>
                    <a:lnTo>
                      <a:pt x="224" y="5"/>
                    </a:lnTo>
                    <a:lnTo>
                      <a:pt x="227" y="5"/>
                    </a:lnTo>
                    <a:lnTo>
                      <a:pt x="231" y="3"/>
                    </a:lnTo>
                    <a:lnTo>
                      <a:pt x="237" y="5"/>
                    </a:lnTo>
                    <a:lnTo>
                      <a:pt x="240" y="7"/>
                    </a:lnTo>
                    <a:lnTo>
                      <a:pt x="240" y="12"/>
                    </a:lnTo>
                    <a:lnTo>
                      <a:pt x="242" y="16"/>
                    </a:lnTo>
                    <a:lnTo>
                      <a:pt x="244" y="20"/>
                    </a:lnTo>
                    <a:lnTo>
                      <a:pt x="244" y="28"/>
                    </a:lnTo>
                    <a:lnTo>
                      <a:pt x="244" y="28"/>
                    </a:lnTo>
                    <a:lnTo>
                      <a:pt x="244" y="31"/>
                    </a:lnTo>
                    <a:lnTo>
                      <a:pt x="244" y="34"/>
                    </a:lnTo>
                    <a:lnTo>
                      <a:pt x="245" y="38"/>
                    </a:lnTo>
                    <a:lnTo>
                      <a:pt x="245" y="51"/>
                    </a:lnTo>
                    <a:lnTo>
                      <a:pt x="244" y="56"/>
                    </a:lnTo>
                    <a:lnTo>
                      <a:pt x="244" y="61"/>
                    </a:lnTo>
                    <a:lnTo>
                      <a:pt x="244" y="65"/>
                    </a:lnTo>
                    <a:lnTo>
                      <a:pt x="240" y="65"/>
                    </a:lnTo>
                    <a:lnTo>
                      <a:pt x="239" y="62"/>
                    </a:lnTo>
                    <a:lnTo>
                      <a:pt x="234" y="61"/>
                    </a:lnTo>
                    <a:lnTo>
                      <a:pt x="232" y="62"/>
                    </a:lnTo>
                    <a:lnTo>
                      <a:pt x="231" y="65"/>
                    </a:lnTo>
                    <a:lnTo>
                      <a:pt x="227" y="72"/>
                    </a:lnTo>
                    <a:lnTo>
                      <a:pt x="226" y="75"/>
                    </a:lnTo>
                    <a:lnTo>
                      <a:pt x="227" y="79"/>
                    </a:lnTo>
                    <a:lnTo>
                      <a:pt x="229" y="80"/>
                    </a:lnTo>
                    <a:lnTo>
                      <a:pt x="231" y="83"/>
                    </a:lnTo>
                    <a:lnTo>
                      <a:pt x="236" y="87"/>
                    </a:lnTo>
                    <a:lnTo>
                      <a:pt x="242" y="87"/>
                    </a:lnTo>
                    <a:lnTo>
                      <a:pt x="244" y="85"/>
                    </a:lnTo>
                    <a:lnTo>
                      <a:pt x="245" y="82"/>
                    </a:lnTo>
                    <a:lnTo>
                      <a:pt x="245" y="80"/>
                    </a:lnTo>
                    <a:lnTo>
                      <a:pt x="247" y="79"/>
                    </a:lnTo>
                    <a:lnTo>
                      <a:pt x="249" y="79"/>
                    </a:lnTo>
                    <a:lnTo>
                      <a:pt x="255" y="80"/>
                    </a:lnTo>
                    <a:lnTo>
                      <a:pt x="258" y="80"/>
                    </a:lnTo>
                    <a:lnTo>
                      <a:pt x="258" y="80"/>
                    </a:lnTo>
                    <a:lnTo>
                      <a:pt x="255" y="83"/>
                    </a:lnTo>
                    <a:lnTo>
                      <a:pt x="257" y="83"/>
                    </a:lnTo>
                    <a:lnTo>
                      <a:pt x="255" y="88"/>
                    </a:lnTo>
                    <a:lnTo>
                      <a:pt x="254" y="95"/>
                    </a:lnTo>
                    <a:lnTo>
                      <a:pt x="252" y="98"/>
                    </a:lnTo>
                    <a:lnTo>
                      <a:pt x="250" y="105"/>
                    </a:lnTo>
                    <a:lnTo>
                      <a:pt x="249" y="108"/>
                    </a:lnTo>
                    <a:lnTo>
                      <a:pt x="247" y="111"/>
                    </a:lnTo>
                    <a:lnTo>
                      <a:pt x="244" y="116"/>
                    </a:lnTo>
                    <a:lnTo>
                      <a:pt x="242" y="116"/>
                    </a:lnTo>
                    <a:lnTo>
                      <a:pt x="240" y="118"/>
                    </a:lnTo>
                    <a:lnTo>
                      <a:pt x="237" y="119"/>
                    </a:lnTo>
                    <a:lnTo>
                      <a:pt x="236" y="121"/>
                    </a:lnTo>
                    <a:lnTo>
                      <a:pt x="232" y="123"/>
                    </a:lnTo>
                    <a:lnTo>
                      <a:pt x="231" y="128"/>
                    </a:lnTo>
                    <a:lnTo>
                      <a:pt x="227" y="131"/>
                    </a:lnTo>
                    <a:lnTo>
                      <a:pt x="227" y="132"/>
                    </a:lnTo>
                    <a:lnTo>
                      <a:pt x="226" y="136"/>
                    </a:lnTo>
                    <a:lnTo>
                      <a:pt x="222" y="136"/>
                    </a:lnTo>
                    <a:lnTo>
                      <a:pt x="219" y="141"/>
                    </a:lnTo>
                    <a:lnTo>
                      <a:pt x="213" y="152"/>
                    </a:lnTo>
                    <a:lnTo>
                      <a:pt x="208" y="157"/>
                    </a:lnTo>
                    <a:lnTo>
                      <a:pt x="208" y="162"/>
                    </a:lnTo>
                    <a:lnTo>
                      <a:pt x="205" y="164"/>
                    </a:lnTo>
                    <a:lnTo>
                      <a:pt x="201" y="167"/>
                    </a:lnTo>
                    <a:lnTo>
                      <a:pt x="200" y="167"/>
                    </a:lnTo>
                    <a:lnTo>
                      <a:pt x="200" y="167"/>
                    </a:lnTo>
                    <a:lnTo>
                      <a:pt x="183" y="185"/>
                    </a:lnTo>
                    <a:lnTo>
                      <a:pt x="182" y="185"/>
                    </a:lnTo>
                    <a:lnTo>
                      <a:pt x="182" y="185"/>
                    </a:lnTo>
                    <a:lnTo>
                      <a:pt x="178" y="188"/>
                    </a:lnTo>
                    <a:lnTo>
                      <a:pt x="167" y="196"/>
                    </a:lnTo>
                    <a:lnTo>
                      <a:pt x="165" y="198"/>
                    </a:lnTo>
                    <a:lnTo>
                      <a:pt x="162" y="199"/>
                    </a:lnTo>
                    <a:lnTo>
                      <a:pt x="162" y="201"/>
                    </a:lnTo>
                    <a:lnTo>
                      <a:pt x="156" y="203"/>
                    </a:lnTo>
                    <a:lnTo>
                      <a:pt x="152" y="204"/>
                    </a:lnTo>
                    <a:lnTo>
                      <a:pt x="149" y="204"/>
                    </a:lnTo>
                    <a:lnTo>
                      <a:pt x="146" y="203"/>
                    </a:lnTo>
                    <a:lnTo>
                      <a:pt x="141" y="203"/>
                    </a:lnTo>
                    <a:lnTo>
                      <a:pt x="138" y="204"/>
                    </a:lnTo>
                    <a:lnTo>
                      <a:pt x="136" y="208"/>
                    </a:lnTo>
                    <a:lnTo>
                      <a:pt x="138" y="209"/>
                    </a:lnTo>
                    <a:lnTo>
                      <a:pt x="138" y="211"/>
                    </a:lnTo>
                    <a:lnTo>
                      <a:pt x="133" y="211"/>
                    </a:lnTo>
                    <a:lnTo>
                      <a:pt x="129" y="209"/>
                    </a:lnTo>
                    <a:lnTo>
                      <a:pt x="126" y="209"/>
                    </a:lnTo>
                    <a:lnTo>
                      <a:pt x="125" y="211"/>
                    </a:lnTo>
                    <a:lnTo>
                      <a:pt x="126" y="213"/>
                    </a:lnTo>
                    <a:lnTo>
                      <a:pt x="125" y="214"/>
                    </a:lnTo>
                    <a:lnTo>
                      <a:pt x="116" y="213"/>
                    </a:lnTo>
                    <a:lnTo>
                      <a:pt x="115" y="211"/>
                    </a:lnTo>
                    <a:lnTo>
                      <a:pt x="108" y="209"/>
                    </a:lnTo>
                    <a:lnTo>
                      <a:pt x="103" y="209"/>
                    </a:lnTo>
                    <a:lnTo>
                      <a:pt x="103" y="211"/>
                    </a:lnTo>
                    <a:lnTo>
                      <a:pt x="100" y="213"/>
                    </a:lnTo>
                    <a:lnTo>
                      <a:pt x="97" y="209"/>
                    </a:lnTo>
                    <a:lnTo>
                      <a:pt x="89" y="209"/>
                    </a:lnTo>
                    <a:lnTo>
                      <a:pt x="85" y="211"/>
                    </a:lnTo>
                    <a:lnTo>
                      <a:pt x="85" y="214"/>
                    </a:lnTo>
                    <a:lnTo>
                      <a:pt x="84" y="213"/>
                    </a:lnTo>
                    <a:lnTo>
                      <a:pt x="80" y="214"/>
                    </a:lnTo>
                    <a:lnTo>
                      <a:pt x="79" y="214"/>
                    </a:lnTo>
                    <a:lnTo>
                      <a:pt x="79" y="216"/>
                    </a:lnTo>
                    <a:lnTo>
                      <a:pt x="74" y="216"/>
                    </a:lnTo>
                    <a:lnTo>
                      <a:pt x="72" y="217"/>
                    </a:lnTo>
                    <a:lnTo>
                      <a:pt x="67" y="216"/>
                    </a:lnTo>
                    <a:lnTo>
                      <a:pt x="64" y="216"/>
                    </a:lnTo>
                    <a:lnTo>
                      <a:pt x="62" y="217"/>
                    </a:lnTo>
                    <a:lnTo>
                      <a:pt x="59" y="216"/>
                    </a:lnTo>
                    <a:lnTo>
                      <a:pt x="56" y="221"/>
                    </a:lnTo>
                    <a:lnTo>
                      <a:pt x="53" y="221"/>
                    </a:lnTo>
                    <a:lnTo>
                      <a:pt x="51" y="224"/>
                    </a:lnTo>
                    <a:lnTo>
                      <a:pt x="49" y="222"/>
                    </a:lnTo>
                    <a:lnTo>
                      <a:pt x="49" y="224"/>
                    </a:lnTo>
                    <a:lnTo>
                      <a:pt x="41" y="219"/>
                    </a:lnTo>
                    <a:lnTo>
                      <a:pt x="40" y="221"/>
                    </a:lnTo>
                    <a:lnTo>
                      <a:pt x="40" y="216"/>
                    </a:lnTo>
                    <a:lnTo>
                      <a:pt x="36" y="214"/>
                    </a:lnTo>
                    <a:lnTo>
                      <a:pt x="33" y="216"/>
                    </a:lnTo>
                    <a:lnTo>
                      <a:pt x="31" y="216"/>
                    </a:lnTo>
                    <a:lnTo>
                      <a:pt x="33" y="214"/>
                    </a:lnTo>
                    <a:lnTo>
                      <a:pt x="33" y="211"/>
                    </a:lnTo>
                    <a:lnTo>
                      <a:pt x="28" y="211"/>
                    </a:lnTo>
                    <a:lnTo>
                      <a:pt x="27" y="213"/>
                    </a:lnTo>
                    <a:lnTo>
                      <a:pt x="27" y="216"/>
                    </a:lnTo>
                    <a:lnTo>
                      <a:pt x="25" y="214"/>
                    </a:lnTo>
                    <a:lnTo>
                      <a:pt x="25" y="211"/>
                    </a:lnTo>
                    <a:lnTo>
                      <a:pt x="25" y="208"/>
                    </a:lnTo>
                    <a:lnTo>
                      <a:pt x="25" y="204"/>
                    </a:lnTo>
                    <a:lnTo>
                      <a:pt x="27" y="201"/>
                    </a:lnTo>
                    <a:lnTo>
                      <a:pt x="23" y="195"/>
                    </a:lnTo>
                    <a:lnTo>
                      <a:pt x="22" y="193"/>
                    </a:lnTo>
                    <a:lnTo>
                      <a:pt x="18" y="188"/>
                    </a:lnTo>
                    <a:lnTo>
                      <a:pt x="18" y="185"/>
                    </a:lnTo>
                    <a:lnTo>
                      <a:pt x="20" y="183"/>
                    </a:lnTo>
                    <a:lnTo>
                      <a:pt x="22" y="185"/>
                    </a:lnTo>
                    <a:lnTo>
                      <a:pt x="23" y="185"/>
                    </a:lnTo>
                    <a:lnTo>
                      <a:pt x="25" y="183"/>
                    </a:lnTo>
                    <a:lnTo>
                      <a:pt x="27" y="177"/>
                    </a:lnTo>
                    <a:lnTo>
                      <a:pt x="25" y="172"/>
                    </a:lnTo>
                    <a:lnTo>
                      <a:pt x="25" y="170"/>
                    </a:lnTo>
                    <a:lnTo>
                      <a:pt x="20" y="162"/>
                    </a:lnTo>
                    <a:lnTo>
                      <a:pt x="20" y="159"/>
                    </a:lnTo>
                    <a:lnTo>
                      <a:pt x="15" y="152"/>
                    </a:lnTo>
                    <a:lnTo>
                      <a:pt x="13" y="142"/>
                    </a:lnTo>
                    <a:lnTo>
                      <a:pt x="10" y="134"/>
                    </a:lnTo>
                    <a:lnTo>
                      <a:pt x="10" y="129"/>
                    </a:lnTo>
                    <a:lnTo>
                      <a:pt x="7" y="119"/>
                    </a:lnTo>
                    <a:lnTo>
                      <a:pt x="2" y="116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0" y="111"/>
                    </a:lnTo>
                    <a:close/>
                    <a:moveTo>
                      <a:pt x="170" y="142"/>
                    </a:moveTo>
                    <a:lnTo>
                      <a:pt x="172" y="144"/>
                    </a:lnTo>
                    <a:lnTo>
                      <a:pt x="173" y="146"/>
                    </a:lnTo>
                    <a:lnTo>
                      <a:pt x="178" y="147"/>
                    </a:lnTo>
                    <a:lnTo>
                      <a:pt x="180" y="147"/>
                    </a:lnTo>
                    <a:lnTo>
                      <a:pt x="182" y="146"/>
                    </a:lnTo>
                    <a:lnTo>
                      <a:pt x="182" y="144"/>
                    </a:lnTo>
                    <a:lnTo>
                      <a:pt x="183" y="141"/>
                    </a:lnTo>
                    <a:lnTo>
                      <a:pt x="187" y="139"/>
                    </a:lnTo>
                    <a:lnTo>
                      <a:pt x="188" y="139"/>
                    </a:lnTo>
                    <a:lnTo>
                      <a:pt x="191" y="137"/>
                    </a:lnTo>
                    <a:lnTo>
                      <a:pt x="193" y="139"/>
                    </a:lnTo>
                    <a:lnTo>
                      <a:pt x="196" y="136"/>
                    </a:lnTo>
                    <a:lnTo>
                      <a:pt x="196" y="134"/>
                    </a:lnTo>
                    <a:lnTo>
                      <a:pt x="196" y="132"/>
                    </a:lnTo>
                    <a:lnTo>
                      <a:pt x="195" y="131"/>
                    </a:lnTo>
                    <a:lnTo>
                      <a:pt x="198" y="129"/>
                    </a:lnTo>
                    <a:lnTo>
                      <a:pt x="201" y="128"/>
                    </a:lnTo>
                    <a:lnTo>
                      <a:pt x="201" y="123"/>
                    </a:lnTo>
                    <a:lnTo>
                      <a:pt x="198" y="116"/>
                    </a:lnTo>
                    <a:lnTo>
                      <a:pt x="195" y="114"/>
                    </a:lnTo>
                    <a:lnTo>
                      <a:pt x="193" y="114"/>
                    </a:lnTo>
                    <a:lnTo>
                      <a:pt x="190" y="113"/>
                    </a:lnTo>
                    <a:lnTo>
                      <a:pt x="190" y="113"/>
                    </a:lnTo>
                    <a:lnTo>
                      <a:pt x="188" y="113"/>
                    </a:lnTo>
                    <a:lnTo>
                      <a:pt x="185" y="113"/>
                    </a:lnTo>
                    <a:lnTo>
                      <a:pt x="185" y="114"/>
                    </a:lnTo>
                    <a:lnTo>
                      <a:pt x="183" y="114"/>
                    </a:lnTo>
                    <a:lnTo>
                      <a:pt x="182" y="116"/>
                    </a:lnTo>
                    <a:lnTo>
                      <a:pt x="175" y="118"/>
                    </a:lnTo>
                    <a:lnTo>
                      <a:pt x="172" y="121"/>
                    </a:lnTo>
                    <a:lnTo>
                      <a:pt x="170" y="124"/>
                    </a:lnTo>
                    <a:lnTo>
                      <a:pt x="167" y="128"/>
                    </a:lnTo>
                    <a:lnTo>
                      <a:pt x="164" y="129"/>
                    </a:lnTo>
                    <a:lnTo>
                      <a:pt x="165" y="132"/>
                    </a:lnTo>
                    <a:lnTo>
                      <a:pt x="167" y="134"/>
                    </a:lnTo>
                    <a:lnTo>
                      <a:pt x="169" y="136"/>
                    </a:lnTo>
                    <a:lnTo>
                      <a:pt x="170" y="139"/>
                    </a:lnTo>
                    <a:lnTo>
                      <a:pt x="170" y="14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7" name="Freeform 305">
                <a:extLst>
                  <a:ext uri="{FF2B5EF4-FFF2-40B4-BE49-F238E27FC236}">
                    <a16:creationId xmlns:a16="http://schemas.microsoft.com/office/drawing/2014/main" xmlns="" id="{C76CE0C9-E164-4607-8F64-7EF3AFA85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2536"/>
                <a:ext cx="37" cy="34"/>
              </a:xfrm>
              <a:custGeom>
                <a:avLst/>
                <a:gdLst>
                  <a:gd name="T0" fmla="*/ 6 w 37"/>
                  <a:gd name="T1" fmla="*/ 29 h 34"/>
                  <a:gd name="T2" fmla="*/ 6 w 37"/>
                  <a:gd name="T3" fmla="*/ 26 h 34"/>
                  <a:gd name="T4" fmla="*/ 5 w 37"/>
                  <a:gd name="T5" fmla="*/ 23 h 34"/>
                  <a:gd name="T6" fmla="*/ 3 w 37"/>
                  <a:gd name="T7" fmla="*/ 21 h 34"/>
                  <a:gd name="T8" fmla="*/ 1 w 37"/>
                  <a:gd name="T9" fmla="*/ 19 h 34"/>
                  <a:gd name="T10" fmla="*/ 0 w 37"/>
                  <a:gd name="T11" fmla="*/ 16 h 34"/>
                  <a:gd name="T12" fmla="*/ 3 w 37"/>
                  <a:gd name="T13" fmla="*/ 15 h 34"/>
                  <a:gd name="T14" fmla="*/ 6 w 37"/>
                  <a:gd name="T15" fmla="*/ 11 h 34"/>
                  <a:gd name="T16" fmla="*/ 8 w 37"/>
                  <a:gd name="T17" fmla="*/ 8 h 34"/>
                  <a:gd name="T18" fmla="*/ 11 w 37"/>
                  <a:gd name="T19" fmla="*/ 5 h 34"/>
                  <a:gd name="T20" fmla="*/ 18 w 37"/>
                  <a:gd name="T21" fmla="*/ 3 h 34"/>
                  <a:gd name="T22" fmla="*/ 19 w 37"/>
                  <a:gd name="T23" fmla="*/ 1 h 34"/>
                  <a:gd name="T24" fmla="*/ 21 w 37"/>
                  <a:gd name="T25" fmla="*/ 1 h 34"/>
                  <a:gd name="T26" fmla="*/ 21 w 37"/>
                  <a:gd name="T27" fmla="*/ 0 h 34"/>
                  <a:gd name="T28" fmla="*/ 24 w 37"/>
                  <a:gd name="T29" fmla="*/ 0 h 34"/>
                  <a:gd name="T30" fmla="*/ 26 w 37"/>
                  <a:gd name="T31" fmla="*/ 0 h 34"/>
                  <a:gd name="T32" fmla="*/ 26 w 37"/>
                  <a:gd name="T33" fmla="*/ 0 h 34"/>
                  <a:gd name="T34" fmla="*/ 29 w 37"/>
                  <a:gd name="T35" fmla="*/ 1 h 34"/>
                  <a:gd name="T36" fmla="*/ 31 w 37"/>
                  <a:gd name="T37" fmla="*/ 1 h 34"/>
                  <a:gd name="T38" fmla="*/ 34 w 37"/>
                  <a:gd name="T39" fmla="*/ 3 h 34"/>
                  <a:gd name="T40" fmla="*/ 37 w 37"/>
                  <a:gd name="T41" fmla="*/ 10 h 34"/>
                  <a:gd name="T42" fmla="*/ 37 w 37"/>
                  <a:gd name="T43" fmla="*/ 15 h 34"/>
                  <a:gd name="T44" fmla="*/ 34 w 37"/>
                  <a:gd name="T45" fmla="*/ 16 h 34"/>
                  <a:gd name="T46" fmla="*/ 31 w 37"/>
                  <a:gd name="T47" fmla="*/ 18 h 34"/>
                  <a:gd name="T48" fmla="*/ 32 w 37"/>
                  <a:gd name="T49" fmla="*/ 19 h 34"/>
                  <a:gd name="T50" fmla="*/ 32 w 37"/>
                  <a:gd name="T51" fmla="*/ 21 h 34"/>
                  <a:gd name="T52" fmla="*/ 32 w 37"/>
                  <a:gd name="T53" fmla="*/ 23 h 34"/>
                  <a:gd name="T54" fmla="*/ 29 w 37"/>
                  <a:gd name="T55" fmla="*/ 26 h 34"/>
                  <a:gd name="T56" fmla="*/ 27 w 37"/>
                  <a:gd name="T57" fmla="*/ 24 h 34"/>
                  <a:gd name="T58" fmla="*/ 24 w 37"/>
                  <a:gd name="T59" fmla="*/ 26 h 34"/>
                  <a:gd name="T60" fmla="*/ 23 w 37"/>
                  <a:gd name="T61" fmla="*/ 26 h 34"/>
                  <a:gd name="T62" fmla="*/ 19 w 37"/>
                  <a:gd name="T63" fmla="*/ 28 h 34"/>
                  <a:gd name="T64" fmla="*/ 18 w 37"/>
                  <a:gd name="T65" fmla="*/ 31 h 34"/>
                  <a:gd name="T66" fmla="*/ 18 w 37"/>
                  <a:gd name="T67" fmla="*/ 33 h 34"/>
                  <a:gd name="T68" fmla="*/ 16 w 37"/>
                  <a:gd name="T69" fmla="*/ 34 h 34"/>
                  <a:gd name="T70" fmla="*/ 14 w 37"/>
                  <a:gd name="T71" fmla="*/ 34 h 34"/>
                  <a:gd name="T72" fmla="*/ 9 w 37"/>
                  <a:gd name="T73" fmla="*/ 33 h 34"/>
                  <a:gd name="T74" fmla="*/ 8 w 37"/>
                  <a:gd name="T75" fmla="*/ 31 h 34"/>
                  <a:gd name="T76" fmla="*/ 6 w 37"/>
                  <a:gd name="T77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" h="34">
                    <a:moveTo>
                      <a:pt x="6" y="29"/>
                    </a:moveTo>
                    <a:lnTo>
                      <a:pt x="6" y="26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1" y="19"/>
                    </a:lnTo>
                    <a:lnTo>
                      <a:pt x="0" y="16"/>
                    </a:lnTo>
                    <a:lnTo>
                      <a:pt x="3" y="15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1" y="5"/>
                    </a:lnTo>
                    <a:lnTo>
                      <a:pt x="18" y="3"/>
                    </a:lnTo>
                    <a:lnTo>
                      <a:pt x="19" y="1"/>
                    </a:lnTo>
                    <a:lnTo>
                      <a:pt x="21" y="1"/>
                    </a:lnTo>
                    <a:lnTo>
                      <a:pt x="21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4" y="3"/>
                    </a:lnTo>
                    <a:lnTo>
                      <a:pt x="37" y="10"/>
                    </a:lnTo>
                    <a:lnTo>
                      <a:pt x="37" y="15"/>
                    </a:lnTo>
                    <a:lnTo>
                      <a:pt x="34" y="16"/>
                    </a:lnTo>
                    <a:lnTo>
                      <a:pt x="31" y="18"/>
                    </a:lnTo>
                    <a:lnTo>
                      <a:pt x="32" y="19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29" y="26"/>
                    </a:lnTo>
                    <a:lnTo>
                      <a:pt x="27" y="24"/>
                    </a:lnTo>
                    <a:lnTo>
                      <a:pt x="24" y="26"/>
                    </a:lnTo>
                    <a:lnTo>
                      <a:pt x="23" y="26"/>
                    </a:lnTo>
                    <a:lnTo>
                      <a:pt x="19" y="28"/>
                    </a:lnTo>
                    <a:lnTo>
                      <a:pt x="18" y="31"/>
                    </a:lnTo>
                    <a:lnTo>
                      <a:pt x="18" y="33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9" y="33"/>
                    </a:lnTo>
                    <a:lnTo>
                      <a:pt x="8" y="31"/>
                    </a:lnTo>
                    <a:lnTo>
                      <a:pt x="6" y="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8" name="Freeform 306">
                <a:extLst>
                  <a:ext uri="{FF2B5EF4-FFF2-40B4-BE49-F238E27FC236}">
                    <a16:creationId xmlns:a16="http://schemas.microsoft.com/office/drawing/2014/main" xmlns="" id="{453BD6A2-DC19-4CE1-B1D2-BDD392BF24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" y="2234"/>
                <a:ext cx="641" cy="704"/>
              </a:xfrm>
              <a:custGeom>
                <a:avLst/>
                <a:gdLst>
                  <a:gd name="T0" fmla="*/ 390 w 393"/>
                  <a:gd name="T1" fmla="*/ 181 h 431"/>
                  <a:gd name="T2" fmla="*/ 336 w 393"/>
                  <a:gd name="T3" fmla="*/ 93 h 431"/>
                  <a:gd name="T4" fmla="*/ 268 w 393"/>
                  <a:gd name="T5" fmla="*/ 73 h 431"/>
                  <a:gd name="T6" fmla="*/ 242 w 393"/>
                  <a:gd name="T7" fmla="*/ 41 h 431"/>
                  <a:gd name="T8" fmla="*/ 244 w 393"/>
                  <a:gd name="T9" fmla="*/ 43 h 431"/>
                  <a:gd name="T10" fmla="*/ 238 w 393"/>
                  <a:gd name="T11" fmla="*/ 17 h 431"/>
                  <a:gd name="T12" fmla="*/ 187 w 393"/>
                  <a:gd name="T13" fmla="*/ 12 h 431"/>
                  <a:gd name="T14" fmla="*/ 186 w 393"/>
                  <a:gd name="T15" fmla="*/ 11 h 431"/>
                  <a:gd name="T16" fmla="*/ 126 w 393"/>
                  <a:gd name="T17" fmla="*/ 56 h 431"/>
                  <a:gd name="T18" fmla="*/ 2 w 393"/>
                  <a:gd name="T19" fmla="*/ 162 h 431"/>
                  <a:gd name="T20" fmla="*/ 214 w 393"/>
                  <a:gd name="T21" fmla="*/ 308 h 431"/>
                  <a:gd name="T22" fmla="*/ 289 w 393"/>
                  <a:gd name="T23" fmla="*/ 357 h 431"/>
                  <a:gd name="T24" fmla="*/ 266 w 393"/>
                  <a:gd name="T25" fmla="*/ 380 h 431"/>
                  <a:gd name="T26" fmla="*/ 297 w 393"/>
                  <a:gd name="T27" fmla="*/ 373 h 431"/>
                  <a:gd name="T28" fmla="*/ 287 w 393"/>
                  <a:gd name="T29" fmla="*/ 416 h 431"/>
                  <a:gd name="T30" fmla="*/ 261 w 393"/>
                  <a:gd name="T31" fmla="*/ 414 h 431"/>
                  <a:gd name="T32" fmla="*/ 267 w 393"/>
                  <a:gd name="T33" fmla="*/ 385 h 431"/>
                  <a:gd name="T34" fmla="*/ 295 w 393"/>
                  <a:gd name="T35" fmla="*/ 388 h 431"/>
                  <a:gd name="T36" fmla="*/ 284 w 393"/>
                  <a:gd name="T37" fmla="*/ 419 h 431"/>
                  <a:gd name="T38" fmla="*/ 273 w 393"/>
                  <a:gd name="T39" fmla="*/ 429 h 431"/>
                  <a:gd name="T40" fmla="*/ 19 w 393"/>
                  <a:gd name="T41" fmla="*/ 284 h 431"/>
                  <a:gd name="T42" fmla="*/ 46 w 393"/>
                  <a:gd name="T43" fmla="*/ 275 h 431"/>
                  <a:gd name="T44" fmla="*/ 83 w 393"/>
                  <a:gd name="T45" fmla="*/ 272 h 431"/>
                  <a:gd name="T46" fmla="*/ 127 w 393"/>
                  <a:gd name="T47" fmla="*/ 253 h 431"/>
                  <a:gd name="T48" fmla="*/ 181 w 393"/>
                  <a:gd name="T49" fmla="*/ 252 h 431"/>
                  <a:gd name="T50" fmla="*/ 198 w 393"/>
                  <a:gd name="T51" fmla="*/ 286 h 431"/>
                  <a:gd name="T52" fmla="*/ 214 w 393"/>
                  <a:gd name="T53" fmla="*/ 276 h 431"/>
                  <a:gd name="T54" fmla="*/ 218 w 393"/>
                  <a:gd name="T55" fmla="*/ 288 h 431"/>
                  <a:gd name="T56" fmla="*/ 221 w 393"/>
                  <a:gd name="T57" fmla="*/ 304 h 431"/>
                  <a:gd name="T58" fmla="*/ 231 w 393"/>
                  <a:gd name="T59" fmla="*/ 329 h 431"/>
                  <a:gd name="T60" fmla="*/ 262 w 393"/>
                  <a:gd name="T61" fmla="*/ 354 h 431"/>
                  <a:gd name="T62" fmla="*/ 282 w 393"/>
                  <a:gd name="T63" fmla="*/ 350 h 431"/>
                  <a:gd name="T64" fmla="*/ 303 w 393"/>
                  <a:gd name="T65" fmla="*/ 347 h 431"/>
                  <a:gd name="T66" fmla="*/ 333 w 393"/>
                  <a:gd name="T67" fmla="*/ 319 h 431"/>
                  <a:gd name="T68" fmla="*/ 364 w 393"/>
                  <a:gd name="T69" fmla="*/ 272 h 431"/>
                  <a:gd name="T70" fmla="*/ 383 w 393"/>
                  <a:gd name="T71" fmla="*/ 228 h 431"/>
                  <a:gd name="T72" fmla="*/ 388 w 393"/>
                  <a:gd name="T73" fmla="*/ 177 h 431"/>
                  <a:gd name="T74" fmla="*/ 371 w 393"/>
                  <a:gd name="T75" fmla="*/ 148 h 431"/>
                  <a:gd name="T76" fmla="*/ 361 w 393"/>
                  <a:gd name="T77" fmla="*/ 131 h 431"/>
                  <a:gd name="T78" fmla="*/ 346 w 393"/>
                  <a:gd name="T79" fmla="*/ 108 h 431"/>
                  <a:gd name="T80" fmla="*/ 332 w 393"/>
                  <a:gd name="T81" fmla="*/ 76 h 431"/>
                  <a:gd name="T82" fmla="*/ 319 w 393"/>
                  <a:gd name="T83" fmla="*/ 44 h 431"/>
                  <a:gd name="T84" fmla="*/ 308 w 393"/>
                  <a:gd name="T85" fmla="*/ 14 h 431"/>
                  <a:gd name="T86" fmla="*/ 295 w 393"/>
                  <a:gd name="T87" fmla="*/ 33 h 431"/>
                  <a:gd name="T88" fmla="*/ 283 w 393"/>
                  <a:gd name="T89" fmla="*/ 82 h 431"/>
                  <a:gd name="T90" fmla="*/ 247 w 393"/>
                  <a:gd name="T91" fmla="*/ 63 h 431"/>
                  <a:gd name="T92" fmla="*/ 239 w 393"/>
                  <a:gd name="T93" fmla="*/ 34 h 431"/>
                  <a:gd name="T94" fmla="*/ 243 w 393"/>
                  <a:gd name="T95" fmla="*/ 23 h 431"/>
                  <a:gd name="T96" fmla="*/ 228 w 393"/>
                  <a:gd name="T97" fmla="*/ 19 h 431"/>
                  <a:gd name="T98" fmla="*/ 203 w 393"/>
                  <a:gd name="T99" fmla="*/ 12 h 431"/>
                  <a:gd name="T100" fmla="*/ 192 w 393"/>
                  <a:gd name="T101" fmla="*/ 24 h 431"/>
                  <a:gd name="T102" fmla="*/ 178 w 393"/>
                  <a:gd name="T103" fmla="*/ 38 h 431"/>
                  <a:gd name="T104" fmla="*/ 172 w 393"/>
                  <a:gd name="T105" fmla="*/ 51 h 431"/>
                  <a:gd name="T106" fmla="*/ 160 w 393"/>
                  <a:gd name="T107" fmla="*/ 55 h 431"/>
                  <a:gd name="T108" fmla="*/ 141 w 393"/>
                  <a:gd name="T109" fmla="*/ 42 h 431"/>
                  <a:gd name="T110" fmla="*/ 129 w 393"/>
                  <a:gd name="T111" fmla="*/ 55 h 431"/>
                  <a:gd name="T112" fmla="*/ 121 w 393"/>
                  <a:gd name="T113" fmla="*/ 67 h 431"/>
                  <a:gd name="T114" fmla="*/ 110 w 393"/>
                  <a:gd name="T115" fmla="*/ 71 h 431"/>
                  <a:gd name="T116" fmla="*/ 94 w 393"/>
                  <a:gd name="T117" fmla="*/ 92 h 431"/>
                  <a:gd name="T118" fmla="*/ 45 w 393"/>
                  <a:gd name="T119" fmla="*/ 113 h 431"/>
                  <a:gd name="T120" fmla="*/ 15 w 393"/>
                  <a:gd name="T121" fmla="*/ 129 h 431"/>
                  <a:gd name="T122" fmla="*/ 8 w 393"/>
                  <a:gd name="T123" fmla="*/ 172 h 431"/>
                  <a:gd name="T124" fmla="*/ 13 w 393"/>
                  <a:gd name="T125" fmla="*/ 229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431">
                    <a:moveTo>
                      <a:pt x="389" y="206"/>
                    </a:moveTo>
                    <a:cubicBezTo>
                      <a:pt x="390" y="202"/>
                      <a:pt x="390" y="202"/>
                      <a:pt x="390" y="202"/>
                    </a:cubicBezTo>
                    <a:cubicBezTo>
                      <a:pt x="390" y="204"/>
                      <a:pt x="390" y="204"/>
                      <a:pt x="390" y="204"/>
                    </a:cubicBezTo>
                    <a:cubicBezTo>
                      <a:pt x="389" y="206"/>
                      <a:pt x="389" y="206"/>
                      <a:pt x="389" y="206"/>
                    </a:cubicBezTo>
                    <a:close/>
                    <a:moveTo>
                      <a:pt x="390" y="181"/>
                    </a:moveTo>
                    <a:cubicBezTo>
                      <a:pt x="389" y="178"/>
                      <a:pt x="389" y="178"/>
                      <a:pt x="389" y="178"/>
                    </a:cubicBezTo>
                    <a:cubicBezTo>
                      <a:pt x="389" y="176"/>
                      <a:pt x="389" y="176"/>
                      <a:pt x="389" y="176"/>
                    </a:cubicBezTo>
                    <a:cubicBezTo>
                      <a:pt x="389" y="174"/>
                      <a:pt x="389" y="174"/>
                      <a:pt x="389" y="174"/>
                    </a:cubicBezTo>
                    <a:cubicBezTo>
                      <a:pt x="391" y="172"/>
                      <a:pt x="391" y="172"/>
                      <a:pt x="391" y="172"/>
                    </a:cubicBezTo>
                    <a:cubicBezTo>
                      <a:pt x="392" y="170"/>
                      <a:pt x="392" y="170"/>
                      <a:pt x="392" y="170"/>
                    </a:cubicBezTo>
                    <a:cubicBezTo>
                      <a:pt x="392" y="169"/>
                      <a:pt x="392" y="169"/>
                      <a:pt x="392" y="169"/>
                    </a:cubicBezTo>
                    <a:cubicBezTo>
                      <a:pt x="392" y="167"/>
                      <a:pt x="392" y="167"/>
                      <a:pt x="392" y="167"/>
                    </a:cubicBezTo>
                    <a:cubicBezTo>
                      <a:pt x="393" y="167"/>
                      <a:pt x="393" y="167"/>
                      <a:pt x="393" y="167"/>
                    </a:cubicBezTo>
                    <a:cubicBezTo>
                      <a:pt x="393" y="170"/>
                      <a:pt x="393" y="170"/>
                      <a:pt x="393" y="170"/>
                    </a:cubicBezTo>
                    <a:cubicBezTo>
                      <a:pt x="393" y="172"/>
                      <a:pt x="393" y="172"/>
                      <a:pt x="393" y="172"/>
                    </a:cubicBezTo>
                    <a:cubicBezTo>
                      <a:pt x="391" y="175"/>
                      <a:pt x="391" y="175"/>
                      <a:pt x="391" y="175"/>
                    </a:cubicBezTo>
                    <a:cubicBezTo>
                      <a:pt x="390" y="179"/>
                      <a:pt x="390" y="179"/>
                      <a:pt x="390" y="179"/>
                    </a:cubicBezTo>
                    <a:cubicBezTo>
                      <a:pt x="391" y="181"/>
                      <a:pt x="391" y="181"/>
                      <a:pt x="391" y="181"/>
                    </a:cubicBezTo>
                    <a:cubicBezTo>
                      <a:pt x="390" y="181"/>
                      <a:pt x="390" y="181"/>
                      <a:pt x="390" y="181"/>
                    </a:cubicBezTo>
                    <a:close/>
                    <a:moveTo>
                      <a:pt x="374" y="152"/>
                    </a:moveTo>
                    <a:cubicBezTo>
                      <a:pt x="375" y="154"/>
                      <a:pt x="375" y="154"/>
                      <a:pt x="375" y="154"/>
                    </a:cubicBezTo>
                    <a:cubicBezTo>
                      <a:pt x="376" y="156"/>
                      <a:pt x="376" y="156"/>
                      <a:pt x="376" y="156"/>
                    </a:cubicBezTo>
                    <a:cubicBezTo>
                      <a:pt x="377" y="154"/>
                      <a:pt x="377" y="154"/>
                      <a:pt x="377" y="154"/>
                    </a:cubicBezTo>
                    <a:cubicBezTo>
                      <a:pt x="376" y="153"/>
                      <a:pt x="376" y="153"/>
                      <a:pt x="376" y="153"/>
                    </a:cubicBezTo>
                    <a:cubicBezTo>
                      <a:pt x="376" y="152"/>
                      <a:pt x="376" y="152"/>
                      <a:pt x="376" y="152"/>
                    </a:cubicBezTo>
                    <a:cubicBezTo>
                      <a:pt x="375" y="152"/>
                      <a:pt x="375" y="152"/>
                      <a:pt x="375" y="152"/>
                    </a:cubicBezTo>
                    <a:cubicBezTo>
                      <a:pt x="374" y="151"/>
                      <a:pt x="374" y="151"/>
                      <a:pt x="374" y="151"/>
                    </a:cubicBezTo>
                    <a:cubicBezTo>
                      <a:pt x="374" y="152"/>
                      <a:pt x="374" y="152"/>
                      <a:pt x="374" y="152"/>
                    </a:cubicBezTo>
                    <a:close/>
                    <a:moveTo>
                      <a:pt x="371" y="138"/>
                    </a:moveTo>
                    <a:cubicBezTo>
                      <a:pt x="371" y="136"/>
                      <a:pt x="371" y="136"/>
                      <a:pt x="371" y="136"/>
                    </a:cubicBezTo>
                    <a:cubicBezTo>
                      <a:pt x="370" y="137"/>
                      <a:pt x="370" y="137"/>
                      <a:pt x="370" y="137"/>
                    </a:cubicBezTo>
                    <a:cubicBezTo>
                      <a:pt x="371" y="138"/>
                      <a:pt x="371" y="138"/>
                      <a:pt x="371" y="138"/>
                    </a:cubicBezTo>
                    <a:close/>
                    <a:moveTo>
                      <a:pt x="334" y="94"/>
                    </a:moveTo>
                    <a:cubicBezTo>
                      <a:pt x="335" y="92"/>
                      <a:pt x="335" y="92"/>
                      <a:pt x="335" y="92"/>
                    </a:cubicBezTo>
                    <a:cubicBezTo>
                      <a:pt x="333" y="90"/>
                      <a:pt x="333" y="90"/>
                      <a:pt x="333" y="90"/>
                    </a:cubicBezTo>
                    <a:cubicBezTo>
                      <a:pt x="335" y="90"/>
                      <a:pt x="335" y="90"/>
                      <a:pt x="335" y="90"/>
                    </a:cubicBezTo>
                    <a:cubicBezTo>
                      <a:pt x="336" y="90"/>
                      <a:pt x="336" y="90"/>
                      <a:pt x="336" y="90"/>
                    </a:cubicBezTo>
                    <a:cubicBezTo>
                      <a:pt x="336" y="93"/>
                      <a:pt x="336" y="93"/>
                      <a:pt x="336" y="93"/>
                    </a:cubicBezTo>
                    <a:cubicBezTo>
                      <a:pt x="335" y="95"/>
                      <a:pt x="335" y="95"/>
                      <a:pt x="335" y="95"/>
                    </a:cubicBezTo>
                    <a:cubicBezTo>
                      <a:pt x="334" y="94"/>
                      <a:pt x="334" y="94"/>
                      <a:pt x="334" y="94"/>
                    </a:cubicBezTo>
                    <a:close/>
                    <a:moveTo>
                      <a:pt x="302" y="0"/>
                    </a:moveTo>
                    <a:cubicBezTo>
                      <a:pt x="303" y="1"/>
                      <a:pt x="303" y="1"/>
                      <a:pt x="303" y="1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302" y="0"/>
                      <a:pt x="302" y="0"/>
                      <a:pt x="302" y="0"/>
                    </a:cubicBezTo>
                    <a:close/>
                    <a:moveTo>
                      <a:pt x="301" y="5"/>
                    </a:moveTo>
                    <a:cubicBezTo>
                      <a:pt x="301" y="7"/>
                      <a:pt x="301" y="7"/>
                      <a:pt x="301" y="7"/>
                    </a:cubicBezTo>
                    <a:cubicBezTo>
                      <a:pt x="302" y="7"/>
                      <a:pt x="302" y="7"/>
                      <a:pt x="302" y="7"/>
                    </a:cubicBezTo>
                    <a:cubicBezTo>
                      <a:pt x="303" y="7"/>
                      <a:pt x="303" y="7"/>
                      <a:pt x="303" y="7"/>
                    </a:cubicBezTo>
                    <a:cubicBezTo>
                      <a:pt x="302" y="5"/>
                      <a:pt x="302" y="5"/>
                      <a:pt x="302" y="5"/>
                    </a:cubicBezTo>
                    <a:cubicBezTo>
                      <a:pt x="301" y="5"/>
                      <a:pt x="301" y="5"/>
                      <a:pt x="301" y="5"/>
                    </a:cubicBezTo>
                    <a:close/>
                    <a:moveTo>
                      <a:pt x="270" y="76"/>
                    </a:moveTo>
                    <a:cubicBezTo>
                      <a:pt x="270" y="77"/>
                      <a:pt x="270" y="77"/>
                      <a:pt x="270" y="77"/>
                    </a:cubicBezTo>
                    <a:cubicBezTo>
                      <a:pt x="271" y="76"/>
                      <a:pt x="271" y="76"/>
                      <a:pt x="271" y="76"/>
                    </a:cubicBezTo>
                    <a:cubicBezTo>
                      <a:pt x="271" y="75"/>
                      <a:pt x="271" y="75"/>
                      <a:pt x="271" y="75"/>
                    </a:cubicBezTo>
                    <a:cubicBezTo>
                      <a:pt x="270" y="76"/>
                      <a:pt x="270" y="76"/>
                      <a:pt x="270" y="76"/>
                    </a:cubicBezTo>
                    <a:close/>
                    <a:moveTo>
                      <a:pt x="268" y="72"/>
                    </a:moveTo>
                    <a:cubicBezTo>
                      <a:pt x="268" y="73"/>
                      <a:pt x="268" y="73"/>
                      <a:pt x="268" y="73"/>
                    </a:cubicBezTo>
                    <a:cubicBezTo>
                      <a:pt x="270" y="72"/>
                      <a:pt x="270" y="72"/>
                      <a:pt x="270" y="72"/>
                    </a:cubicBezTo>
                    <a:cubicBezTo>
                      <a:pt x="271" y="71"/>
                      <a:pt x="271" y="71"/>
                      <a:pt x="271" y="71"/>
                    </a:cubicBezTo>
                    <a:cubicBezTo>
                      <a:pt x="273" y="70"/>
                      <a:pt x="273" y="70"/>
                      <a:pt x="273" y="70"/>
                    </a:cubicBezTo>
                    <a:cubicBezTo>
                      <a:pt x="273" y="70"/>
                      <a:pt x="273" y="70"/>
                      <a:pt x="273" y="70"/>
                    </a:cubicBezTo>
                    <a:cubicBezTo>
                      <a:pt x="270" y="69"/>
                      <a:pt x="270" y="69"/>
                      <a:pt x="270" y="69"/>
                    </a:cubicBezTo>
                    <a:cubicBezTo>
                      <a:pt x="268" y="71"/>
                      <a:pt x="268" y="71"/>
                      <a:pt x="268" y="71"/>
                    </a:cubicBezTo>
                    <a:cubicBezTo>
                      <a:pt x="268" y="71"/>
                      <a:pt x="268" y="72"/>
                      <a:pt x="268" y="72"/>
                    </a:cubicBezTo>
                    <a:close/>
                    <a:moveTo>
                      <a:pt x="248" y="62"/>
                    </a:moveTo>
                    <a:cubicBezTo>
                      <a:pt x="247" y="61"/>
                      <a:pt x="247" y="61"/>
                      <a:pt x="247" y="61"/>
                    </a:cubicBezTo>
                    <a:cubicBezTo>
                      <a:pt x="248" y="59"/>
                      <a:pt x="248" y="59"/>
                      <a:pt x="248" y="59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8" y="62"/>
                      <a:pt x="248" y="62"/>
                      <a:pt x="248" y="62"/>
                    </a:cubicBezTo>
                    <a:close/>
                    <a:moveTo>
                      <a:pt x="242" y="41"/>
                    </a:moveTo>
                    <a:cubicBezTo>
                      <a:pt x="241" y="40"/>
                      <a:pt x="241" y="40"/>
                      <a:pt x="241" y="40"/>
                    </a:cubicBezTo>
                    <a:cubicBezTo>
                      <a:pt x="241" y="40"/>
                      <a:pt x="241" y="40"/>
                      <a:pt x="241" y="40"/>
                    </a:cubicBezTo>
                    <a:cubicBezTo>
                      <a:pt x="241" y="40"/>
                      <a:pt x="241" y="40"/>
                      <a:pt x="241" y="40"/>
                    </a:cubicBezTo>
                    <a:cubicBezTo>
                      <a:pt x="242" y="38"/>
                      <a:pt x="242" y="38"/>
                      <a:pt x="242" y="38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2" y="41"/>
                      <a:pt x="242" y="41"/>
                      <a:pt x="242" y="41"/>
                    </a:cubicBezTo>
                    <a:close/>
                    <a:moveTo>
                      <a:pt x="244" y="43"/>
                    </a:moveTo>
                    <a:cubicBezTo>
                      <a:pt x="243" y="44"/>
                      <a:pt x="243" y="44"/>
                      <a:pt x="243" y="44"/>
                    </a:cubicBezTo>
                    <a:cubicBezTo>
                      <a:pt x="244" y="44"/>
                      <a:pt x="244" y="44"/>
                      <a:pt x="244" y="44"/>
                    </a:cubicBezTo>
                    <a:cubicBezTo>
                      <a:pt x="245" y="44"/>
                      <a:pt x="245" y="44"/>
                      <a:pt x="245" y="44"/>
                    </a:cubicBezTo>
                    <a:cubicBezTo>
                      <a:pt x="248" y="44"/>
                      <a:pt x="248" y="44"/>
                      <a:pt x="248" y="44"/>
                    </a:cubicBezTo>
                    <a:cubicBezTo>
                      <a:pt x="248" y="43"/>
                      <a:pt x="248" y="43"/>
                      <a:pt x="248" y="43"/>
                    </a:cubicBezTo>
                    <a:cubicBezTo>
                      <a:pt x="248" y="42"/>
                      <a:pt x="248" y="42"/>
                      <a:pt x="248" y="42"/>
                    </a:cubicBezTo>
                    <a:cubicBezTo>
                      <a:pt x="247" y="43"/>
                      <a:pt x="247" y="43"/>
                      <a:pt x="247" y="43"/>
                    </a:cubicBezTo>
                    <a:cubicBezTo>
                      <a:pt x="246" y="42"/>
                      <a:pt x="246" y="42"/>
                      <a:pt x="246" y="42"/>
                    </a:cubicBezTo>
                    <a:cubicBezTo>
                      <a:pt x="248" y="40"/>
                      <a:pt x="248" y="40"/>
                      <a:pt x="248" y="40"/>
                    </a:cubicBezTo>
                    <a:cubicBezTo>
                      <a:pt x="248" y="40"/>
                      <a:pt x="248" y="40"/>
                      <a:pt x="248" y="40"/>
                    </a:cubicBezTo>
                    <a:cubicBezTo>
                      <a:pt x="246" y="40"/>
                      <a:pt x="246" y="40"/>
                      <a:pt x="246" y="40"/>
                    </a:cubicBezTo>
                    <a:cubicBezTo>
                      <a:pt x="246" y="39"/>
                      <a:pt x="246" y="39"/>
                      <a:pt x="246" y="39"/>
                    </a:cubicBezTo>
                    <a:cubicBezTo>
                      <a:pt x="245" y="39"/>
                      <a:pt x="245" y="39"/>
                      <a:pt x="245" y="39"/>
                    </a:cubicBezTo>
                    <a:cubicBezTo>
                      <a:pt x="245" y="40"/>
                      <a:pt x="245" y="40"/>
                      <a:pt x="245" y="40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4" y="41"/>
                      <a:pt x="244" y="41"/>
                      <a:pt x="244" y="41"/>
                    </a:cubicBezTo>
                    <a:cubicBezTo>
                      <a:pt x="243" y="41"/>
                      <a:pt x="243" y="41"/>
                      <a:pt x="243" y="41"/>
                    </a:cubicBezTo>
                    <a:cubicBezTo>
                      <a:pt x="244" y="43"/>
                      <a:pt x="244" y="43"/>
                      <a:pt x="244" y="43"/>
                    </a:cubicBezTo>
                    <a:close/>
                    <a:moveTo>
                      <a:pt x="245" y="13"/>
                    </a:move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2"/>
                      <a:pt x="247" y="12"/>
                      <a:pt x="247" y="12"/>
                    </a:cubicBezTo>
                    <a:cubicBezTo>
                      <a:pt x="249" y="11"/>
                      <a:pt x="249" y="11"/>
                      <a:pt x="249" y="11"/>
                    </a:cubicBezTo>
                    <a:cubicBezTo>
                      <a:pt x="248" y="10"/>
                      <a:pt x="248" y="10"/>
                      <a:pt x="248" y="10"/>
                    </a:cubicBezTo>
                    <a:cubicBezTo>
                      <a:pt x="246" y="12"/>
                      <a:pt x="246" y="12"/>
                      <a:pt x="246" y="12"/>
                    </a:cubicBezTo>
                    <a:cubicBezTo>
                      <a:pt x="245" y="13"/>
                      <a:pt x="245" y="13"/>
                      <a:pt x="245" y="13"/>
                    </a:cubicBezTo>
                    <a:close/>
                    <a:moveTo>
                      <a:pt x="243" y="15"/>
                    </a:moveTo>
                    <a:cubicBezTo>
                      <a:pt x="244" y="15"/>
                      <a:pt x="244" y="15"/>
                      <a:pt x="244" y="15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43" y="15"/>
                      <a:pt x="243" y="15"/>
                      <a:pt x="243" y="15"/>
                    </a:cubicBezTo>
                    <a:close/>
                    <a:moveTo>
                      <a:pt x="242" y="15"/>
                    </a:moveTo>
                    <a:cubicBezTo>
                      <a:pt x="242" y="16"/>
                      <a:pt x="242" y="16"/>
                      <a:pt x="242" y="16"/>
                    </a:cubicBezTo>
                    <a:cubicBezTo>
                      <a:pt x="243" y="15"/>
                      <a:pt x="243" y="15"/>
                      <a:pt x="243" y="15"/>
                    </a:cubicBezTo>
                    <a:cubicBezTo>
                      <a:pt x="242" y="15"/>
                      <a:pt x="242" y="15"/>
                      <a:pt x="242" y="15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38" y="17"/>
                      <a:pt x="238" y="17"/>
                      <a:pt x="238" y="17"/>
                    </a:cubicBezTo>
                    <a:close/>
                    <a:moveTo>
                      <a:pt x="236" y="20"/>
                    </a:move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8"/>
                      <a:pt x="238" y="18"/>
                      <a:pt x="238" y="18"/>
                    </a:cubicBezTo>
                    <a:cubicBezTo>
                      <a:pt x="239" y="18"/>
                      <a:pt x="239" y="18"/>
                      <a:pt x="239" y="18"/>
                    </a:cubicBezTo>
                    <a:cubicBezTo>
                      <a:pt x="239" y="19"/>
                      <a:pt x="239" y="19"/>
                      <a:pt x="239" y="19"/>
                    </a:cubicBezTo>
                    <a:cubicBezTo>
                      <a:pt x="237" y="19"/>
                      <a:pt x="237" y="19"/>
                      <a:pt x="237" y="19"/>
                    </a:cubicBezTo>
                    <a:cubicBezTo>
                      <a:pt x="236" y="20"/>
                      <a:pt x="236" y="20"/>
                      <a:pt x="236" y="20"/>
                    </a:cubicBezTo>
                    <a:close/>
                    <a:moveTo>
                      <a:pt x="233" y="21"/>
                    </a:moveTo>
                    <a:cubicBezTo>
                      <a:pt x="234" y="21"/>
                      <a:pt x="234" y="21"/>
                      <a:pt x="234" y="21"/>
                    </a:cubicBezTo>
                    <a:cubicBezTo>
                      <a:pt x="235" y="21"/>
                      <a:pt x="235" y="21"/>
                      <a:pt x="235" y="21"/>
                    </a:cubicBezTo>
                    <a:cubicBezTo>
                      <a:pt x="235" y="20"/>
                      <a:pt x="235" y="20"/>
                      <a:pt x="235" y="20"/>
                    </a:cubicBezTo>
                    <a:cubicBezTo>
                      <a:pt x="233" y="21"/>
                      <a:pt x="233" y="21"/>
                      <a:pt x="233" y="21"/>
                    </a:cubicBezTo>
                    <a:close/>
                    <a:moveTo>
                      <a:pt x="208" y="13"/>
                    </a:moveTo>
                    <a:cubicBezTo>
                      <a:pt x="207" y="11"/>
                      <a:pt x="207" y="11"/>
                      <a:pt x="207" y="11"/>
                    </a:cubicBezTo>
                    <a:cubicBezTo>
                      <a:pt x="207" y="10"/>
                      <a:pt x="207" y="10"/>
                      <a:pt x="207" y="10"/>
                    </a:cubicBezTo>
                    <a:cubicBezTo>
                      <a:pt x="209" y="9"/>
                      <a:pt x="209" y="9"/>
                      <a:pt x="209" y="9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208" y="13"/>
                      <a:pt x="208" y="13"/>
                      <a:pt x="208" y="13"/>
                    </a:cubicBezTo>
                    <a:close/>
                    <a:moveTo>
                      <a:pt x="187" y="12"/>
                    </a:moveTo>
                    <a:cubicBezTo>
                      <a:pt x="187" y="14"/>
                      <a:pt x="187" y="14"/>
                      <a:pt x="187" y="14"/>
                    </a:cubicBezTo>
                    <a:cubicBezTo>
                      <a:pt x="189" y="16"/>
                      <a:pt x="189" y="16"/>
                      <a:pt x="189" y="16"/>
                    </a:cubicBezTo>
                    <a:cubicBezTo>
                      <a:pt x="190" y="18"/>
                      <a:pt x="190" y="18"/>
                      <a:pt x="190" y="18"/>
                    </a:cubicBezTo>
                    <a:cubicBezTo>
                      <a:pt x="193" y="19"/>
                      <a:pt x="193" y="19"/>
                      <a:pt x="193" y="19"/>
                    </a:cubicBezTo>
                    <a:cubicBezTo>
                      <a:pt x="196" y="16"/>
                      <a:pt x="196" y="16"/>
                      <a:pt x="196" y="16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8" y="14"/>
                      <a:pt x="198" y="14"/>
                      <a:pt x="198" y="14"/>
                    </a:cubicBezTo>
                    <a:cubicBezTo>
                      <a:pt x="197" y="13"/>
                      <a:pt x="197" y="13"/>
                      <a:pt x="197" y="13"/>
                    </a:cubicBezTo>
                    <a:cubicBezTo>
                      <a:pt x="196" y="12"/>
                      <a:pt x="196" y="12"/>
                      <a:pt x="196" y="12"/>
                    </a:cubicBezTo>
                    <a:cubicBezTo>
                      <a:pt x="196" y="12"/>
                      <a:pt x="196" y="12"/>
                      <a:pt x="196" y="12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0" y="13"/>
                      <a:pt x="190" y="13"/>
                      <a:pt x="190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88" y="12"/>
                      <a:pt x="188" y="12"/>
                      <a:pt x="188" y="12"/>
                    </a:cubicBezTo>
                    <a:cubicBezTo>
                      <a:pt x="187" y="11"/>
                      <a:pt x="187" y="11"/>
                      <a:pt x="187" y="11"/>
                    </a:cubicBezTo>
                    <a:cubicBezTo>
                      <a:pt x="186" y="11"/>
                      <a:pt x="186" y="11"/>
                      <a:pt x="186" y="11"/>
                    </a:cubicBezTo>
                    <a:cubicBezTo>
                      <a:pt x="187" y="12"/>
                      <a:pt x="187" y="12"/>
                      <a:pt x="187" y="12"/>
                    </a:cubicBezTo>
                    <a:close/>
                    <a:moveTo>
                      <a:pt x="186" y="12"/>
                    </a:moveTo>
                    <a:cubicBezTo>
                      <a:pt x="187" y="16"/>
                      <a:pt x="187" y="16"/>
                      <a:pt x="187" y="16"/>
                    </a:cubicBezTo>
                    <a:cubicBezTo>
                      <a:pt x="188" y="16"/>
                      <a:pt x="188" y="16"/>
                      <a:pt x="188" y="16"/>
                    </a:cubicBezTo>
                    <a:cubicBezTo>
                      <a:pt x="189" y="17"/>
                      <a:pt x="189" y="17"/>
                      <a:pt x="189" y="17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4" y="16"/>
                      <a:pt x="184" y="16"/>
                      <a:pt x="184" y="16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5" y="15"/>
                      <a:pt x="185" y="15"/>
                      <a:pt x="185" y="15"/>
                    </a:cubicBezTo>
                    <a:cubicBezTo>
                      <a:pt x="185" y="15"/>
                      <a:pt x="185" y="15"/>
                      <a:pt x="185" y="15"/>
                    </a:cubicBezTo>
                    <a:cubicBezTo>
                      <a:pt x="185" y="14"/>
                      <a:pt x="185" y="14"/>
                      <a:pt x="185" y="14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6" y="12"/>
                      <a:pt x="186" y="12"/>
                      <a:pt x="186" y="12"/>
                    </a:cubicBezTo>
                    <a:close/>
                    <a:moveTo>
                      <a:pt x="124" y="55"/>
                    </a:moveTo>
                    <a:cubicBezTo>
                      <a:pt x="125" y="56"/>
                      <a:pt x="125" y="56"/>
                      <a:pt x="125" y="56"/>
                    </a:cubicBezTo>
                    <a:cubicBezTo>
                      <a:pt x="126" y="56"/>
                      <a:pt x="126" y="56"/>
                      <a:pt x="126" y="56"/>
                    </a:cubicBezTo>
                    <a:cubicBezTo>
                      <a:pt x="125" y="54"/>
                      <a:pt x="125" y="54"/>
                      <a:pt x="125" y="54"/>
                    </a:cubicBezTo>
                    <a:cubicBezTo>
                      <a:pt x="125" y="54"/>
                      <a:pt x="124" y="55"/>
                      <a:pt x="124" y="55"/>
                    </a:cubicBezTo>
                    <a:close/>
                    <a:moveTo>
                      <a:pt x="125" y="62"/>
                    </a:moveTo>
                    <a:cubicBezTo>
                      <a:pt x="124" y="60"/>
                      <a:pt x="124" y="60"/>
                      <a:pt x="124" y="60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4" y="61"/>
                      <a:pt x="124" y="61"/>
                      <a:pt x="124" y="61"/>
                    </a:cubicBezTo>
                    <a:cubicBezTo>
                      <a:pt x="125" y="62"/>
                      <a:pt x="125" y="62"/>
                      <a:pt x="125" y="62"/>
                    </a:cubicBezTo>
                    <a:close/>
                    <a:moveTo>
                      <a:pt x="133" y="47"/>
                    </a:moveTo>
                    <a:cubicBezTo>
                      <a:pt x="132" y="47"/>
                      <a:pt x="132" y="47"/>
                      <a:pt x="132" y="47"/>
                    </a:cubicBezTo>
                    <a:cubicBezTo>
                      <a:pt x="132" y="46"/>
                      <a:pt x="132" y="46"/>
                      <a:pt x="132" y="46"/>
                    </a:cubicBezTo>
                    <a:cubicBezTo>
                      <a:pt x="133" y="46"/>
                      <a:pt x="133" y="46"/>
                      <a:pt x="133" y="46"/>
                    </a:cubicBezTo>
                    <a:cubicBezTo>
                      <a:pt x="133" y="47"/>
                      <a:pt x="133" y="47"/>
                      <a:pt x="133" y="47"/>
                    </a:cubicBezTo>
                    <a:close/>
                    <a:moveTo>
                      <a:pt x="30" y="115"/>
                    </a:moveTo>
                    <a:cubicBezTo>
                      <a:pt x="30" y="114"/>
                      <a:pt x="30" y="114"/>
                      <a:pt x="30" y="114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0" y="115"/>
                      <a:pt x="30" y="115"/>
                      <a:pt x="30" y="115"/>
                    </a:cubicBezTo>
                    <a:close/>
                    <a:moveTo>
                      <a:pt x="1" y="167"/>
                    </a:moveTo>
                    <a:cubicBezTo>
                      <a:pt x="2" y="162"/>
                      <a:pt x="2" y="162"/>
                      <a:pt x="2" y="162"/>
                    </a:cubicBezTo>
                    <a:cubicBezTo>
                      <a:pt x="2" y="165"/>
                      <a:pt x="2" y="165"/>
                      <a:pt x="2" y="165"/>
                    </a:cubicBezTo>
                    <a:cubicBezTo>
                      <a:pt x="2" y="165"/>
                      <a:pt x="1" y="167"/>
                      <a:pt x="1" y="167"/>
                    </a:cubicBezTo>
                    <a:close/>
                    <a:moveTo>
                      <a:pt x="1" y="174"/>
                    </a:moveTo>
                    <a:cubicBezTo>
                      <a:pt x="0" y="170"/>
                      <a:pt x="0" y="170"/>
                      <a:pt x="0" y="170"/>
                    </a:cubicBezTo>
                    <a:cubicBezTo>
                      <a:pt x="1" y="168"/>
                      <a:pt x="1" y="168"/>
                      <a:pt x="1" y="168"/>
                    </a:cubicBezTo>
                    <a:cubicBezTo>
                      <a:pt x="2" y="171"/>
                      <a:pt x="2" y="171"/>
                      <a:pt x="2" y="171"/>
                    </a:cubicBezTo>
                    <a:cubicBezTo>
                      <a:pt x="1" y="174"/>
                      <a:pt x="1" y="174"/>
                      <a:pt x="1" y="174"/>
                    </a:cubicBezTo>
                    <a:close/>
                    <a:moveTo>
                      <a:pt x="216" y="303"/>
                    </a:moveTo>
                    <a:cubicBezTo>
                      <a:pt x="215" y="304"/>
                      <a:pt x="215" y="304"/>
                      <a:pt x="215" y="304"/>
                    </a:cubicBezTo>
                    <a:cubicBezTo>
                      <a:pt x="216" y="305"/>
                      <a:pt x="216" y="305"/>
                      <a:pt x="216" y="305"/>
                    </a:cubicBezTo>
                    <a:cubicBezTo>
                      <a:pt x="217" y="305"/>
                      <a:pt x="217" y="305"/>
                      <a:pt x="217" y="305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18" y="306"/>
                      <a:pt x="218" y="306"/>
                      <a:pt x="218" y="306"/>
                    </a:cubicBezTo>
                    <a:cubicBezTo>
                      <a:pt x="219" y="306"/>
                      <a:pt x="219" y="306"/>
                      <a:pt x="219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19" y="308"/>
                      <a:pt x="219" y="308"/>
                      <a:pt x="219" y="308"/>
                    </a:cubicBezTo>
                    <a:cubicBezTo>
                      <a:pt x="216" y="307"/>
                      <a:pt x="216" y="307"/>
                      <a:pt x="216" y="307"/>
                    </a:cubicBezTo>
                    <a:cubicBezTo>
                      <a:pt x="215" y="308"/>
                      <a:pt x="215" y="308"/>
                      <a:pt x="215" y="308"/>
                    </a:cubicBezTo>
                    <a:cubicBezTo>
                      <a:pt x="214" y="308"/>
                      <a:pt x="214" y="308"/>
                      <a:pt x="214" y="308"/>
                    </a:cubicBezTo>
                    <a:cubicBezTo>
                      <a:pt x="214" y="309"/>
                      <a:pt x="214" y="309"/>
                      <a:pt x="214" y="309"/>
                    </a:cubicBezTo>
                    <a:cubicBezTo>
                      <a:pt x="213" y="309"/>
                      <a:pt x="213" y="309"/>
                      <a:pt x="213" y="309"/>
                    </a:cubicBezTo>
                    <a:cubicBezTo>
                      <a:pt x="212" y="308"/>
                      <a:pt x="212" y="308"/>
                      <a:pt x="212" y="308"/>
                    </a:cubicBezTo>
                    <a:cubicBezTo>
                      <a:pt x="211" y="308"/>
                      <a:pt x="211" y="308"/>
                      <a:pt x="211" y="308"/>
                    </a:cubicBezTo>
                    <a:cubicBezTo>
                      <a:pt x="209" y="308"/>
                      <a:pt x="209" y="308"/>
                      <a:pt x="209" y="308"/>
                    </a:cubicBezTo>
                    <a:cubicBezTo>
                      <a:pt x="209" y="308"/>
                      <a:pt x="209" y="308"/>
                      <a:pt x="209" y="308"/>
                    </a:cubicBezTo>
                    <a:cubicBezTo>
                      <a:pt x="206" y="308"/>
                      <a:pt x="206" y="308"/>
                      <a:pt x="206" y="308"/>
                    </a:cubicBezTo>
                    <a:cubicBezTo>
                      <a:pt x="205" y="307"/>
                      <a:pt x="205" y="307"/>
                      <a:pt x="205" y="307"/>
                    </a:cubicBezTo>
                    <a:cubicBezTo>
                      <a:pt x="205" y="306"/>
                      <a:pt x="205" y="306"/>
                      <a:pt x="205" y="306"/>
                    </a:cubicBezTo>
                    <a:cubicBezTo>
                      <a:pt x="207" y="305"/>
                      <a:pt x="207" y="305"/>
                      <a:pt x="207" y="305"/>
                    </a:cubicBezTo>
                    <a:cubicBezTo>
                      <a:pt x="212" y="303"/>
                      <a:pt x="212" y="303"/>
                      <a:pt x="212" y="303"/>
                    </a:cubicBezTo>
                    <a:cubicBezTo>
                      <a:pt x="214" y="303"/>
                      <a:pt x="214" y="303"/>
                      <a:pt x="214" y="303"/>
                    </a:cubicBezTo>
                    <a:cubicBezTo>
                      <a:pt x="216" y="303"/>
                      <a:pt x="216" y="303"/>
                      <a:pt x="216" y="303"/>
                    </a:cubicBezTo>
                    <a:close/>
                    <a:moveTo>
                      <a:pt x="279" y="350"/>
                    </a:moveTo>
                    <a:cubicBezTo>
                      <a:pt x="280" y="349"/>
                      <a:pt x="280" y="349"/>
                      <a:pt x="280" y="349"/>
                    </a:cubicBezTo>
                    <a:cubicBezTo>
                      <a:pt x="280" y="350"/>
                      <a:pt x="280" y="350"/>
                      <a:pt x="280" y="350"/>
                    </a:cubicBezTo>
                    <a:cubicBezTo>
                      <a:pt x="280" y="351"/>
                      <a:pt x="280" y="351"/>
                      <a:pt x="280" y="351"/>
                    </a:cubicBezTo>
                    <a:cubicBezTo>
                      <a:pt x="279" y="350"/>
                      <a:pt x="279" y="350"/>
                      <a:pt x="279" y="350"/>
                    </a:cubicBezTo>
                    <a:close/>
                    <a:moveTo>
                      <a:pt x="289" y="357"/>
                    </a:moveTo>
                    <a:cubicBezTo>
                      <a:pt x="290" y="357"/>
                      <a:pt x="290" y="357"/>
                      <a:pt x="290" y="357"/>
                    </a:cubicBezTo>
                    <a:cubicBezTo>
                      <a:pt x="290" y="356"/>
                      <a:pt x="290" y="356"/>
                      <a:pt x="290" y="356"/>
                    </a:cubicBezTo>
                    <a:cubicBezTo>
                      <a:pt x="289" y="357"/>
                      <a:pt x="289" y="357"/>
                      <a:pt x="289" y="357"/>
                    </a:cubicBezTo>
                    <a:close/>
                    <a:moveTo>
                      <a:pt x="266" y="383"/>
                    </a:moveTo>
                    <a:cubicBezTo>
                      <a:pt x="266" y="384"/>
                      <a:pt x="266" y="384"/>
                      <a:pt x="266" y="384"/>
                    </a:cubicBezTo>
                    <a:cubicBezTo>
                      <a:pt x="267" y="385"/>
                      <a:pt x="267" y="385"/>
                      <a:pt x="267" y="385"/>
                    </a:cubicBezTo>
                    <a:cubicBezTo>
                      <a:pt x="268" y="384"/>
                      <a:pt x="268" y="384"/>
                      <a:pt x="268" y="384"/>
                    </a:cubicBezTo>
                    <a:cubicBezTo>
                      <a:pt x="267" y="383"/>
                      <a:pt x="267" y="383"/>
                      <a:pt x="267" y="383"/>
                    </a:cubicBezTo>
                    <a:cubicBezTo>
                      <a:pt x="266" y="383"/>
                      <a:pt x="266" y="383"/>
                      <a:pt x="266" y="383"/>
                    </a:cubicBezTo>
                    <a:close/>
                    <a:moveTo>
                      <a:pt x="266" y="379"/>
                    </a:moveTo>
                    <a:cubicBezTo>
                      <a:pt x="266" y="381"/>
                      <a:pt x="266" y="381"/>
                      <a:pt x="266" y="381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67" y="379"/>
                      <a:pt x="267" y="379"/>
                      <a:pt x="267" y="379"/>
                    </a:cubicBezTo>
                    <a:cubicBezTo>
                      <a:pt x="266" y="379"/>
                      <a:pt x="266" y="379"/>
                      <a:pt x="266" y="379"/>
                    </a:cubicBezTo>
                    <a:close/>
                    <a:moveTo>
                      <a:pt x="265" y="381"/>
                    </a:moveTo>
                    <a:cubicBezTo>
                      <a:pt x="264" y="381"/>
                      <a:pt x="264" y="381"/>
                      <a:pt x="264" y="381"/>
                    </a:cubicBezTo>
                    <a:cubicBezTo>
                      <a:pt x="264" y="379"/>
                      <a:pt x="264" y="379"/>
                      <a:pt x="264" y="379"/>
                    </a:cubicBezTo>
                    <a:cubicBezTo>
                      <a:pt x="265" y="378"/>
                      <a:pt x="265" y="378"/>
                      <a:pt x="265" y="378"/>
                    </a:cubicBezTo>
                    <a:cubicBezTo>
                      <a:pt x="266" y="380"/>
                      <a:pt x="266" y="380"/>
                      <a:pt x="266" y="380"/>
                    </a:cubicBezTo>
                    <a:cubicBezTo>
                      <a:pt x="265" y="381"/>
                      <a:pt x="265" y="381"/>
                      <a:pt x="265" y="381"/>
                    </a:cubicBezTo>
                    <a:close/>
                    <a:moveTo>
                      <a:pt x="259" y="374"/>
                    </a:moveTo>
                    <a:cubicBezTo>
                      <a:pt x="259" y="373"/>
                      <a:pt x="259" y="373"/>
                      <a:pt x="259" y="373"/>
                    </a:cubicBezTo>
                    <a:cubicBezTo>
                      <a:pt x="258" y="371"/>
                      <a:pt x="258" y="371"/>
                      <a:pt x="258" y="371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259" y="368"/>
                      <a:pt x="259" y="368"/>
                      <a:pt x="259" y="368"/>
                    </a:cubicBezTo>
                    <a:cubicBezTo>
                      <a:pt x="261" y="366"/>
                      <a:pt x="261" y="366"/>
                      <a:pt x="261" y="366"/>
                    </a:cubicBezTo>
                    <a:cubicBezTo>
                      <a:pt x="262" y="365"/>
                      <a:pt x="262" y="365"/>
                      <a:pt x="262" y="365"/>
                    </a:cubicBezTo>
                    <a:cubicBezTo>
                      <a:pt x="263" y="366"/>
                      <a:pt x="263" y="366"/>
                      <a:pt x="263" y="366"/>
                    </a:cubicBezTo>
                    <a:cubicBezTo>
                      <a:pt x="263" y="369"/>
                      <a:pt x="263" y="369"/>
                      <a:pt x="263" y="369"/>
                    </a:cubicBezTo>
                    <a:cubicBezTo>
                      <a:pt x="263" y="371"/>
                      <a:pt x="263" y="371"/>
                      <a:pt x="263" y="371"/>
                    </a:cubicBezTo>
                    <a:cubicBezTo>
                      <a:pt x="262" y="373"/>
                      <a:pt x="262" y="373"/>
                      <a:pt x="262" y="373"/>
                    </a:cubicBezTo>
                    <a:cubicBezTo>
                      <a:pt x="262" y="374"/>
                      <a:pt x="262" y="374"/>
                      <a:pt x="262" y="374"/>
                    </a:cubicBezTo>
                    <a:cubicBezTo>
                      <a:pt x="260" y="375"/>
                      <a:pt x="260" y="375"/>
                      <a:pt x="260" y="375"/>
                    </a:cubicBezTo>
                    <a:cubicBezTo>
                      <a:pt x="259" y="374"/>
                      <a:pt x="259" y="374"/>
                      <a:pt x="259" y="374"/>
                    </a:cubicBezTo>
                    <a:close/>
                    <a:moveTo>
                      <a:pt x="297" y="379"/>
                    </a:moveTo>
                    <a:cubicBezTo>
                      <a:pt x="301" y="378"/>
                      <a:pt x="301" y="378"/>
                      <a:pt x="301" y="378"/>
                    </a:cubicBezTo>
                    <a:cubicBezTo>
                      <a:pt x="301" y="376"/>
                      <a:pt x="301" y="376"/>
                      <a:pt x="301" y="376"/>
                    </a:cubicBezTo>
                    <a:cubicBezTo>
                      <a:pt x="297" y="373"/>
                      <a:pt x="297" y="373"/>
                      <a:pt x="297" y="373"/>
                    </a:cubicBezTo>
                    <a:cubicBezTo>
                      <a:pt x="296" y="373"/>
                      <a:pt x="296" y="373"/>
                      <a:pt x="296" y="373"/>
                    </a:cubicBezTo>
                    <a:cubicBezTo>
                      <a:pt x="297" y="375"/>
                      <a:pt x="297" y="375"/>
                      <a:pt x="297" y="375"/>
                    </a:cubicBezTo>
                    <a:cubicBezTo>
                      <a:pt x="296" y="377"/>
                      <a:pt x="296" y="377"/>
                      <a:pt x="296" y="377"/>
                    </a:cubicBezTo>
                    <a:cubicBezTo>
                      <a:pt x="297" y="378"/>
                      <a:pt x="297" y="378"/>
                      <a:pt x="297" y="378"/>
                    </a:cubicBezTo>
                    <a:cubicBezTo>
                      <a:pt x="297" y="379"/>
                      <a:pt x="297" y="379"/>
                      <a:pt x="297" y="379"/>
                    </a:cubicBezTo>
                    <a:close/>
                    <a:moveTo>
                      <a:pt x="295" y="381"/>
                    </a:moveTo>
                    <a:cubicBezTo>
                      <a:pt x="296" y="383"/>
                      <a:pt x="296" y="383"/>
                      <a:pt x="296" y="383"/>
                    </a:cubicBezTo>
                    <a:cubicBezTo>
                      <a:pt x="299" y="383"/>
                      <a:pt x="299" y="383"/>
                      <a:pt x="299" y="383"/>
                    </a:cubicBezTo>
                    <a:cubicBezTo>
                      <a:pt x="300" y="383"/>
                      <a:pt x="300" y="383"/>
                      <a:pt x="300" y="383"/>
                    </a:cubicBezTo>
                    <a:cubicBezTo>
                      <a:pt x="301" y="382"/>
                      <a:pt x="301" y="382"/>
                      <a:pt x="301" y="382"/>
                    </a:cubicBezTo>
                    <a:cubicBezTo>
                      <a:pt x="299" y="380"/>
                      <a:pt x="299" y="380"/>
                      <a:pt x="299" y="380"/>
                    </a:cubicBezTo>
                    <a:cubicBezTo>
                      <a:pt x="296" y="381"/>
                      <a:pt x="296" y="381"/>
                      <a:pt x="296" y="381"/>
                    </a:cubicBezTo>
                    <a:cubicBezTo>
                      <a:pt x="295" y="381"/>
                      <a:pt x="295" y="381"/>
                      <a:pt x="295" y="381"/>
                    </a:cubicBezTo>
                    <a:close/>
                    <a:moveTo>
                      <a:pt x="297" y="386"/>
                    </a:moveTo>
                    <a:cubicBezTo>
                      <a:pt x="296" y="385"/>
                      <a:pt x="296" y="385"/>
                      <a:pt x="296" y="385"/>
                    </a:cubicBezTo>
                    <a:cubicBezTo>
                      <a:pt x="298" y="385"/>
                      <a:pt x="298" y="385"/>
                      <a:pt x="298" y="385"/>
                    </a:cubicBezTo>
                    <a:cubicBezTo>
                      <a:pt x="297" y="386"/>
                      <a:pt x="297" y="386"/>
                      <a:pt x="297" y="386"/>
                    </a:cubicBezTo>
                    <a:close/>
                    <a:moveTo>
                      <a:pt x="287" y="418"/>
                    </a:moveTo>
                    <a:cubicBezTo>
                      <a:pt x="287" y="416"/>
                      <a:pt x="287" y="416"/>
                      <a:pt x="287" y="416"/>
                    </a:cubicBezTo>
                    <a:cubicBezTo>
                      <a:pt x="288" y="418"/>
                      <a:pt x="288" y="418"/>
                      <a:pt x="288" y="418"/>
                    </a:cubicBezTo>
                    <a:cubicBezTo>
                      <a:pt x="287" y="418"/>
                      <a:pt x="287" y="418"/>
                      <a:pt x="287" y="418"/>
                    </a:cubicBezTo>
                    <a:close/>
                    <a:moveTo>
                      <a:pt x="276" y="430"/>
                    </a:moveTo>
                    <a:cubicBezTo>
                      <a:pt x="274" y="429"/>
                      <a:pt x="274" y="429"/>
                      <a:pt x="274" y="429"/>
                    </a:cubicBezTo>
                    <a:cubicBezTo>
                      <a:pt x="276" y="427"/>
                      <a:pt x="276" y="427"/>
                      <a:pt x="276" y="427"/>
                    </a:cubicBezTo>
                    <a:cubicBezTo>
                      <a:pt x="276" y="425"/>
                      <a:pt x="276" y="425"/>
                      <a:pt x="276" y="425"/>
                    </a:cubicBezTo>
                    <a:cubicBezTo>
                      <a:pt x="277" y="425"/>
                      <a:pt x="277" y="425"/>
                      <a:pt x="277" y="425"/>
                    </a:cubicBezTo>
                    <a:cubicBezTo>
                      <a:pt x="277" y="426"/>
                      <a:pt x="277" y="426"/>
                      <a:pt x="277" y="426"/>
                    </a:cubicBezTo>
                    <a:cubicBezTo>
                      <a:pt x="276" y="427"/>
                      <a:pt x="276" y="427"/>
                      <a:pt x="276" y="427"/>
                    </a:cubicBezTo>
                    <a:cubicBezTo>
                      <a:pt x="276" y="430"/>
                      <a:pt x="276" y="430"/>
                      <a:pt x="276" y="430"/>
                    </a:cubicBezTo>
                    <a:close/>
                    <a:moveTo>
                      <a:pt x="263" y="429"/>
                    </a:moveTo>
                    <a:cubicBezTo>
                      <a:pt x="263" y="427"/>
                      <a:pt x="263" y="427"/>
                      <a:pt x="263" y="427"/>
                    </a:cubicBezTo>
                    <a:cubicBezTo>
                      <a:pt x="264" y="425"/>
                      <a:pt x="264" y="425"/>
                      <a:pt x="264" y="425"/>
                    </a:cubicBezTo>
                    <a:cubicBezTo>
                      <a:pt x="262" y="425"/>
                      <a:pt x="262" y="425"/>
                      <a:pt x="262" y="425"/>
                    </a:cubicBezTo>
                    <a:cubicBezTo>
                      <a:pt x="262" y="422"/>
                      <a:pt x="262" y="422"/>
                      <a:pt x="262" y="422"/>
                    </a:cubicBezTo>
                    <a:cubicBezTo>
                      <a:pt x="262" y="421"/>
                      <a:pt x="262" y="421"/>
                      <a:pt x="262" y="421"/>
                    </a:cubicBezTo>
                    <a:cubicBezTo>
                      <a:pt x="261" y="421"/>
                      <a:pt x="261" y="421"/>
                      <a:pt x="261" y="421"/>
                    </a:cubicBezTo>
                    <a:cubicBezTo>
                      <a:pt x="261" y="415"/>
                      <a:pt x="261" y="415"/>
                      <a:pt x="261" y="415"/>
                    </a:cubicBezTo>
                    <a:cubicBezTo>
                      <a:pt x="261" y="414"/>
                      <a:pt x="261" y="414"/>
                      <a:pt x="261" y="414"/>
                    </a:cubicBezTo>
                    <a:cubicBezTo>
                      <a:pt x="260" y="413"/>
                      <a:pt x="260" y="413"/>
                      <a:pt x="260" y="413"/>
                    </a:cubicBezTo>
                    <a:cubicBezTo>
                      <a:pt x="260" y="409"/>
                      <a:pt x="260" y="409"/>
                      <a:pt x="260" y="409"/>
                    </a:cubicBezTo>
                    <a:cubicBezTo>
                      <a:pt x="261" y="407"/>
                      <a:pt x="261" y="407"/>
                      <a:pt x="261" y="407"/>
                    </a:cubicBezTo>
                    <a:cubicBezTo>
                      <a:pt x="262" y="409"/>
                      <a:pt x="262" y="409"/>
                      <a:pt x="262" y="409"/>
                    </a:cubicBezTo>
                    <a:cubicBezTo>
                      <a:pt x="264" y="409"/>
                      <a:pt x="264" y="409"/>
                      <a:pt x="264" y="409"/>
                    </a:cubicBezTo>
                    <a:cubicBezTo>
                      <a:pt x="263" y="408"/>
                      <a:pt x="263" y="408"/>
                      <a:pt x="263" y="408"/>
                    </a:cubicBezTo>
                    <a:cubicBezTo>
                      <a:pt x="263" y="406"/>
                      <a:pt x="263" y="406"/>
                      <a:pt x="263" y="406"/>
                    </a:cubicBezTo>
                    <a:cubicBezTo>
                      <a:pt x="262" y="406"/>
                      <a:pt x="262" y="406"/>
                      <a:pt x="262" y="406"/>
                    </a:cubicBezTo>
                    <a:cubicBezTo>
                      <a:pt x="262" y="403"/>
                      <a:pt x="262" y="403"/>
                      <a:pt x="262" y="403"/>
                    </a:cubicBezTo>
                    <a:cubicBezTo>
                      <a:pt x="262" y="399"/>
                      <a:pt x="262" y="399"/>
                      <a:pt x="262" y="399"/>
                    </a:cubicBezTo>
                    <a:cubicBezTo>
                      <a:pt x="262" y="395"/>
                      <a:pt x="262" y="395"/>
                      <a:pt x="262" y="395"/>
                    </a:cubicBezTo>
                    <a:cubicBezTo>
                      <a:pt x="262" y="393"/>
                      <a:pt x="262" y="393"/>
                      <a:pt x="262" y="393"/>
                    </a:cubicBezTo>
                    <a:cubicBezTo>
                      <a:pt x="262" y="389"/>
                      <a:pt x="262" y="389"/>
                      <a:pt x="262" y="389"/>
                    </a:cubicBezTo>
                    <a:cubicBezTo>
                      <a:pt x="262" y="387"/>
                      <a:pt x="262" y="387"/>
                      <a:pt x="262" y="387"/>
                    </a:cubicBezTo>
                    <a:cubicBezTo>
                      <a:pt x="262" y="386"/>
                      <a:pt x="262" y="386"/>
                      <a:pt x="262" y="386"/>
                    </a:cubicBezTo>
                    <a:cubicBezTo>
                      <a:pt x="262" y="384"/>
                      <a:pt x="262" y="384"/>
                      <a:pt x="262" y="384"/>
                    </a:cubicBezTo>
                    <a:cubicBezTo>
                      <a:pt x="263" y="383"/>
                      <a:pt x="263" y="383"/>
                      <a:pt x="263" y="383"/>
                    </a:cubicBezTo>
                    <a:cubicBezTo>
                      <a:pt x="265" y="384"/>
                      <a:pt x="265" y="384"/>
                      <a:pt x="265" y="384"/>
                    </a:cubicBezTo>
                    <a:cubicBezTo>
                      <a:pt x="267" y="385"/>
                      <a:pt x="267" y="385"/>
                      <a:pt x="267" y="385"/>
                    </a:cubicBezTo>
                    <a:cubicBezTo>
                      <a:pt x="268" y="387"/>
                      <a:pt x="268" y="387"/>
                      <a:pt x="268" y="387"/>
                    </a:cubicBezTo>
                    <a:cubicBezTo>
                      <a:pt x="268" y="385"/>
                      <a:pt x="268" y="385"/>
                      <a:pt x="268" y="385"/>
                    </a:cubicBezTo>
                    <a:cubicBezTo>
                      <a:pt x="269" y="384"/>
                      <a:pt x="269" y="384"/>
                      <a:pt x="269" y="384"/>
                    </a:cubicBezTo>
                    <a:cubicBezTo>
                      <a:pt x="269" y="387"/>
                      <a:pt x="269" y="387"/>
                      <a:pt x="269" y="387"/>
                    </a:cubicBezTo>
                    <a:cubicBezTo>
                      <a:pt x="273" y="389"/>
                      <a:pt x="273" y="389"/>
                      <a:pt x="273" y="389"/>
                    </a:cubicBezTo>
                    <a:cubicBezTo>
                      <a:pt x="275" y="392"/>
                      <a:pt x="275" y="392"/>
                      <a:pt x="275" y="392"/>
                    </a:cubicBezTo>
                    <a:cubicBezTo>
                      <a:pt x="277" y="393"/>
                      <a:pt x="277" y="393"/>
                      <a:pt x="277" y="393"/>
                    </a:cubicBezTo>
                    <a:cubicBezTo>
                      <a:pt x="278" y="392"/>
                      <a:pt x="278" y="392"/>
                      <a:pt x="278" y="392"/>
                    </a:cubicBezTo>
                    <a:cubicBezTo>
                      <a:pt x="280" y="392"/>
                      <a:pt x="280" y="392"/>
                      <a:pt x="280" y="392"/>
                    </a:cubicBezTo>
                    <a:cubicBezTo>
                      <a:pt x="282" y="393"/>
                      <a:pt x="282" y="393"/>
                      <a:pt x="282" y="393"/>
                    </a:cubicBezTo>
                    <a:cubicBezTo>
                      <a:pt x="282" y="392"/>
                      <a:pt x="282" y="392"/>
                      <a:pt x="282" y="392"/>
                    </a:cubicBezTo>
                    <a:cubicBezTo>
                      <a:pt x="283" y="391"/>
                      <a:pt x="283" y="391"/>
                      <a:pt x="283" y="391"/>
                    </a:cubicBezTo>
                    <a:cubicBezTo>
                      <a:pt x="289" y="391"/>
                      <a:pt x="289" y="391"/>
                      <a:pt x="289" y="391"/>
                    </a:cubicBezTo>
                    <a:cubicBezTo>
                      <a:pt x="290" y="391"/>
                      <a:pt x="290" y="391"/>
                      <a:pt x="290" y="391"/>
                    </a:cubicBezTo>
                    <a:cubicBezTo>
                      <a:pt x="291" y="390"/>
                      <a:pt x="291" y="390"/>
                      <a:pt x="291" y="390"/>
                    </a:cubicBezTo>
                    <a:cubicBezTo>
                      <a:pt x="292" y="390"/>
                      <a:pt x="292" y="390"/>
                      <a:pt x="292" y="390"/>
                    </a:cubicBezTo>
                    <a:cubicBezTo>
                      <a:pt x="293" y="390"/>
                      <a:pt x="293" y="390"/>
                      <a:pt x="293" y="390"/>
                    </a:cubicBezTo>
                    <a:cubicBezTo>
                      <a:pt x="294" y="388"/>
                      <a:pt x="294" y="388"/>
                      <a:pt x="294" y="388"/>
                    </a:cubicBezTo>
                    <a:cubicBezTo>
                      <a:pt x="295" y="388"/>
                      <a:pt x="295" y="388"/>
                      <a:pt x="295" y="388"/>
                    </a:cubicBezTo>
                    <a:cubicBezTo>
                      <a:pt x="297" y="390"/>
                      <a:pt x="297" y="390"/>
                      <a:pt x="297" y="390"/>
                    </a:cubicBezTo>
                    <a:cubicBezTo>
                      <a:pt x="296" y="392"/>
                      <a:pt x="296" y="392"/>
                      <a:pt x="296" y="392"/>
                    </a:cubicBezTo>
                    <a:cubicBezTo>
                      <a:pt x="295" y="397"/>
                      <a:pt x="295" y="397"/>
                      <a:pt x="295" y="397"/>
                    </a:cubicBezTo>
                    <a:cubicBezTo>
                      <a:pt x="294" y="399"/>
                      <a:pt x="294" y="399"/>
                      <a:pt x="294" y="399"/>
                    </a:cubicBezTo>
                    <a:cubicBezTo>
                      <a:pt x="293" y="402"/>
                      <a:pt x="293" y="402"/>
                      <a:pt x="293" y="402"/>
                    </a:cubicBezTo>
                    <a:cubicBezTo>
                      <a:pt x="292" y="404"/>
                      <a:pt x="292" y="404"/>
                      <a:pt x="292" y="404"/>
                    </a:cubicBezTo>
                    <a:cubicBezTo>
                      <a:pt x="293" y="407"/>
                      <a:pt x="293" y="407"/>
                      <a:pt x="293" y="407"/>
                    </a:cubicBezTo>
                    <a:cubicBezTo>
                      <a:pt x="292" y="408"/>
                      <a:pt x="292" y="408"/>
                      <a:pt x="292" y="408"/>
                    </a:cubicBezTo>
                    <a:cubicBezTo>
                      <a:pt x="292" y="410"/>
                      <a:pt x="292" y="410"/>
                      <a:pt x="292" y="410"/>
                    </a:cubicBezTo>
                    <a:cubicBezTo>
                      <a:pt x="291" y="412"/>
                      <a:pt x="291" y="412"/>
                      <a:pt x="291" y="412"/>
                    </a:cubicBezTo>
                    <a:cubicBezTo>
                      <a:pt x="291" y="410"/>
                      <a:pt x="291" y="410"/>
                      <a:pt x="291" y="410"/>
                    </a:cubicBezTo>
                    <a:cubicBezTo>
                      <a:pt x="290" y="408"/>
                      <a:pt x="290" y="408"/>
                      <a:pt x="290" y="408"/>
                    </a:cubicBezTo>
                    <a:cubicBezTo>
                      <a:pt x="289" y="409"/>
                      <a:pt x="289" y="409"/>
                      <a:pt x="289" y="409"/>
                    </a:cubicBezTo>
                    <a:cubicBezTo>
                      <a:pt x="288" y="410"/>
                      <a:pt x="288" y="410"/>
                      <a:pt x="288" y="410"/>
                    </a:cubicBezTo>
                    <a:cubicBezTo>
                      <a:pt x="288" y="415"/>
                      <a:pt x="288" y="415"/>
                      <a:pt x="288" y="415"/>
                    </a:cubicBezTo>
                    <a:cubicBezTo>
                      <a:pt x="287" y="415"/>
                      <a:pt x="287" y="415"/>
                      <a:pt x="287" y="415"/>
                    </a:cubicBezTo>
                    <a:cubicBezTo>
                      <a:pt x="285" y="415"/>
                      <a:pt x="285" y="415"/>
                      <a:pt x="285" y="415"/>
                    </a:cubicBezTo>
                    <a:cubicBezTo>
                      <a:pt x="285" y="418"/>
                      <a:pt x="285" y="418"/>
                      <a:pt x="285" y="418"/>
                    </a:cubicBezTo>
                    <a:cubicBezTo>
                      <a:pt x="284" y="419"/>
                      <a:pt x="284" y="419"/>
                      <a:pt x="284" y="419"/>
                    </a:cubicBezTo>
                    <a:cubicBezTo>
                      <a:pt x="286" y="421"/>
                      <a:pt x="286" y="421"/>
                      <a:pt x="286" y="421"/>
                    </a:cubicBezTo>
                    <a:cubicBezTo>
                      <a:pt x="286" y="422"/>
                      <a:pt x="286" y="422"/>
                      <a:pt x="286" y="422"/>
                    </a:cubicBezTo>
                    <a:cubicBezTo>
                      <a:pt x="283" y="425"/>
                      <a:pt x="283" y="425"/>
                      <a:pt x="283" y="425"/>
                    </a:cubicBezTo>
                    <a:cubicBezTo>
                      <a:pt x="283" y="425"/>
                      <a:pt x="283" y="425"/>
                      <a:pt x="283" y="425"/>
                    </a:cubicBezTo>
                    <a:cubicBezTo>
                      <a:pt x="281" y="426"/>
                      <a:pt x="281" y="426"/>
                      <a:pt x="281" y="426"/>
                    </a:cubicBezTo>
                    <a:cubicBezTo>
                      <a:pt x="281" y="423"/>
                      <a:pt x="281" y="423"/>
                      <a:pt x="281" y="423"/>
                    </a:cubicBezTo>
                    <a:cubicBezTo>
                      <a:pt x="283" y="423"/>
                      <a:pt x="283" y="423"/>
                      <a:pt x="283" y="423"/>
                    </a:cubicBezTo>
                    <a:cubicBezTo>
                      <a:pt x="283" y="422"/>
                      <a:pt x="283" y="422"/>
                      <a:pt x="283" y="422"/>
                    </a:cubicBezTo>
                    <a:cubicBezTo>
                      <a:pt x="282" y="421"/>
                      <a:pt x="282" y="421"/>
                      <a:pt x="282" y="421"/>
                    </a:cubicBezTo>
                    <a:cubicBezTo>
                      <a:pt x="280" y="421"/>
                      <a:pt x="280" y="421"/>
                      <a:pt x="280" y="421"/>
                    </a:cubicBezTo>
                    <a:cubicBezTo>
                      <a:pt x="279" y="423"/>
                      <a:pt x="279" y="423"/>
                      <a:pt x="279" y="423"/>
                    </a:cubicBezTo>
                    <a:cubicBezTo>
                      <a:pt x="278" y="422"/>
                      <a:pt x="278" y="422"/>
                      <a:pt x="278" y="422"/>
                    </a:cubicBezTo>
                    <a:cubicBezTo>
                      <a:pt x="278" y="420"/>
                      <a:pt x="278" y="420"/>
                      <a:pt x="278" y="420"/>
                    </a:cubicBezTo>
                    <a:cubicBezTo>
                      <a:pt x="277" y="422"/>
                      <a:pt x="277" y="422"/>
                      <a:pt x="277" y="422"/>
                    </a:cubicBezTo>
                    <a:cubicBezTo>
                      <a:pt x="276" y="424"/>
                      <a:pt x="276" y="424"/>
                      <a:pt x="276" y="424"/>
                    </a:cubicBezTo>
                    <a:cubicBezTo>
                      <a:pt x="275" y="425"/>
                      <a:pt x="275" y="425"/>
                      <a:pt x="275" y="425"/>
                    </a:cubicBezTo>
                    <a:cubicBezTo>
                      <a:pt x="274" y="424"/>
                      <a:pt x="274" y="424"/>
                      <a:pt x="274" y="424"/>
                    </a:cubicBezTo>
                    <a:cubicBezTo>
                      <a:pt x="273" y="427"/>
                      <a:pt x="273" y="427"/>
                      <a:pt x="273" y="427"/>
                    </a:cubicBezTo>
                    <a:cubicBezTo>
                      <a:pt x="273" y="429"/>
                      <a:pt x="273" y="429"/>
                      <a:pt x="273" y="429"/>
                    </a:cubicBezTo>
                    <a:cubicBezTo>
                      <a:pt x="271" y="431"/>
                      <a:pt x="271" y="431"/>
                      <a:pt x="271" y="431"/>
                    </a:cubicBezTo>
                    <a:cubicBezTo>
                      <a:pt x="269" y="431"/>
                      <a:pt x="269" y="431"/>
                      <a:pt x="269" y="431"/>
                    </a:cubicBezTo>
                    <a:cubicBezTo>
                      <a:pt x="268" y="430"/>
                      <a:pt x="268" y="430"/>
                      <a:pt x="268" y="430"/>
                    </a:cubicBezTo>
                    <a:cubicBezTo>
                      <a:pt x="268" y="428"/>
                      <a:pt x="268" y="428"/>
                      <a:pt x="268" y="428"/>
                    </a:cubicBezTo>
                    <a:cubicBezTo>
                      <a:pt x="267" y="430"/>
                      <a:pt x="267" y="430"/>
                      <a:pt x="267" y="430"/>
                    </a:cubicBezTo>
                    <a:cubicBezTo>
                      <a:pt x="265" y="429"/>
                      <a:pt x="265" y="429"/>
                      <a:pt x="265" y="429"/>
                    </a:cubicBezTo>
                    <a:cubicBezTo>
                      <a:pt x="264" y="429"/>
                      <a:pt x="264" y="429"/>
                      <a:pt x="264" y="429"/>
                    </a:cubicBezTo>
                    <a:cubicBezTo>
                      <a:pt x="264" y="429"/>
                      <a:pt x="263" y="429"/>
                      <a:pt x="263" y="429"/>
                    </a:cubicBezTo>
                    <a:close/>
                    <a:moveTo>
                      <a:pt x="4" y="274"/>
                    </a:moveTo>
                    <a:cubicBezTo>
                      <a:pt x="6" y="275"/>
                      <a:pt x="6" y="275"/>
                      <a:pt x="6" y="275"/>
                    </a:cubicBezTo>
                    <a:cubicBezTo>
                      <a:pt x="7" y="275"/>
                      <a:pt x="7" y="275"/>
                      <a:pt x="7" y="275"/>
                    </a:cubicBezTo>
                    <a:cubicBezTo>
                      <a:pt x="11" y="279"/>
                      <a:pt x="11" y="279"/>
                      <a:pt x="11" y="279"/>
                    </a:cubicBezTo>
                    <a:cubicBezTo>
                      <a:pt x="11" y="281"/>
                      <a:pt x="11" y="281"/>
                      <a:pt x="11" y="281"/>
                    </a:cubicBezTo>
                    <a:cubicBezTo>
                      <a:pt x="12" y="282"/>
                      <a:pt x="12" y="282"/>
                      <a:pt x="12" y="282"/>
                    </a:cubicBezTo>
                    <a:cubicBezTo>
                      <a:pt x="14" y="282"/>
                      <a:pt x="14" y="282"/>
                      <a:pt x="14" y="282"/>
                    </a:cubicBezTo>
                    <a:cubicBezTo>
                      <a:pt x="15" y="283"/>
                      <a:pt x="15" y="283"/>
                      <a:pt x="15" y="283"/>
                    </a:cubicBezTo>
                    <a:cubicBezTo>
                      <a:pt x="18" y="284"/>
                      <a:pt x="18" y="284"/>
                      <a:pt x="18" y="284"/>
                    </a:cubicBezTo>
                    <a:cubicBezTo>
                      <a:pt x="19" y="283"/>
                      <a:pt x="19" y="283"/>
                      <a:pt x="19" y="283"/>
                    </a:cubicBezTo>
                    <a:cubicBezTo>
                      <a:pt x="19" y="284"/>
                      <a:pt x="19" y="284"/>
                      <a:pt x="19" y="284"/>
                    </a:cubicBezTo>
                    <a:cubicBezTo>
                      <a:pt x="22" y="284"/>
                      <a:pt x="22" y="284"/>
                      <a:pt x="22" y="284"/>
                    </a:cubicBezTo>
                    <a:cubicBezTo>
                      <a:pt x="24" y="284"/>
                      <a:pt x="24" y="284"/>
                      <a:pt x="24" y="284"/>
                    </a:cubicBezTo>
                    <a:cubicBezTo>
                      <a:pt x="25" y="285"/>
                      <a:pt x="25" y="285"/>
                      <a:pt x="25" y="285"/>
                    </a:cubicBezTo>
                    <a:cubicBezTo>
                      <a:pt x="26" y="284"/>
                      <a:pt x="26" y="284"/>
                      <a:pt x="26" y="284"/>
                    </a:cubicBezTo>
                    <a:cubicBezTo>
                      <a:pt x="26" y="285"/>
                      <a:pt x="26" y="285"/>
                      <a:pt x="26" y="285"/>
                    </a:cubicBezTo>
                    <a:cubicBezTo>
                      <a:pt x="29" y="284"/>
                      <a:pt x="29" y="284"/>
                      <a:pt x="29" y="284"/>
                    </a:cubicBezTo>
                    <a:cubicBezTo>
                      <a:pt x="32" y="284"/>
                      <a:pt x="32" y="284"/>
                      <a:pt x="32" y="284"/>
                    </a:cubicBezTo>
                    <a:cubicBezTo>
                      <a:pt x="32" y="283"/>
                      <a:pt x="32" y="283"/>
                      <a:pt x="32" y="283"/>
                    </a:cubicBezTo>
                    <a:cubicBezTo>
                      <a:pt x="33" y="283"/>
                      <a:pt x="33" y="283"/>
                      <a:pt x="33" y="283"/>
                    </a:cubicBezTo>
                    <a:cubicBezTo>
                      <a:pt x="35" y="280"/>
                      <a:pt x="35" y="280"/>
                      <a:pt x="35" y="280"/>
                    </a:cubicBezTo>
                    <a:cubicBezTo>
                      <a:pt x="38" y="281"/>
                      <a:pt x="38" y="281"/>
                      <a:pt x="38" y="281"/>
                    </a:cubicBezTo>
                    <a:cubicBezTo>
                      <a:pt x="38" y="279"/>
                      <a:pt x="38" y="279"/>
                      <a:pt x="38" y="279"/>
                    </a:cubicBezTo>
                    <a:cubicBezTo>
                      <a:pt x="40" y="278"/>
                      <a:pt x="40" y="278"/>
                      <a:pt x="40" y="278"/>
                    </a:cubicBezTo>
                    <a:cubicBezTo>
                      <a:pt x="41" y="278"/>
                      <a:pt x="41" y="278"/>
                      <a:pt x="41" y="278"/>
                    </a:cubicBezTo>
                    <a:cubicBezTo>
                      <a:pt x="43" y="279"/>
                      <a:pt x="43" y="279"/>
                      <a:pt x="43" y="279"/>
                    </a:cubicBezTo>
                    <a:cubicBezTo>
                      <a:pt x="44" y="277"/>
                      <a:pt x="44" y="277"/>
                      <a:pt x="44" y="277"/>
                    </a:cubicBezTo>
                    <a:cubicBezTo>
                      <a:pt x="45" y="278"/>
                      <a:pt x="45" y="278"/>
                      <a:pt x="45" y="278"/>
                    </a:cubicBezTo>
                    <a:cubicBezTo>
                      <a:pt x="46" y="277"/>
                      <a:pt x="46" y="277"/>
                      <a:pt x="46" y="277"/>
                    </a:cubicBezTo>
                    <a:cubicBezTo>
                      <a:pt x="46" y="275"/>
                      <a:pt x="46" y="275"/>
                      <a:pt x="46" y="275"/>
                    </a:cubicBezTo>
                    <a:cubicBezTo>
                      <a:pt x="52" y="271"/>
                      <a:pt x="52" y="271"/>
                      <a:pt x="52" y="271"/>
                    </a:cubicBezTo>
                    <a:cubicBezTo>
                      <a:pt x="54" y="272"/>
                      <a:pt x="54" y="272"/>
                      <a:pt x="54" y="272"/>
                    </a:cubicBezTo>
                    <a:cubicBezTo>
                      <a:pt x="55" y="272"/>
                      <a:pt x="55" y="272"/>
                      <a:pt x="55" y="272"/>
                    </a:cubicBezTo>
                    <a:cubicBezTo>
                      <a:pt x="57" y="271"/>
                      <a:pt x="57" y="271"/>
                      <a:pt x="57" y="271"/>
                    </a:cubicBezTo>
                    <a:cubicBezTo>
                      <a:pt x="62" y="270"/>
                      <a:pt x="62" y="270"/>
                      <a:pt x="62" y="270"/>
                    </a:cubicBezTo>
                    <a:cubicBezTo>
                      <a:pt x="63" y="271"/>
                      <a:pt x="63" y="271"/>
                      <a:pt x="63" y="271"/>
                    </a:cubicBezTo>
                    <a:cubicBezTo>
                      <a:pt x="66" y="270"/>
                      <a:pt x="66" y="270"/>
                      <a:pt x="66" y="270"/>
                    </a:cubicBezTo>
                    <a:cubicBezTo>
                      <a:pt x="67" y="271"/>
                      <a:pt x="67" y="271"/>
                      <a:pt x="67" y="271"/>
                    </a:cubicBezTo>
                    <a:cubicBezTo>
                      <a:pt x="68" y="271"/>
                      <a:pt x="68" y="271"/>
                      <a:pt x="68" y="271"/>
                    </a:cubicBezTo>
                    <a:cubicBezTo>
                      <a:pt x="70" y="270"/>
                      <a:pt x="70" y="270"/>
                      <a:pt x="70" y="270"/>
                    </a:cubicBezTo>
                    <a:cubicBezTo>
                      <a:pt x="71" y="273"/>
                      <a:pt x="71" y="273"/>
                      <a:pt x="71" y="273"/>
                    </a:cubicBezTo>
                    <a:cubicBezTo>
                      <a:pt x="72" y="273"/>
                      <a:pt x="72" y="273"/>
                      <a:pt x="72" y="273"/>
                    </a:cubicBezTo>
                    <a:cubicBezTo>
                      <a:pt x="74" y="272"/>
                      <a:pt x="74" y="272"/>
                      <a:pt x="74" y="272"/>
                    </a:cubicBezTo>
                    <a:cubicBezTo>
                      <a:pt x="75" y="273"/>
                      <a:pt x="75" y="273"/>
                      <a:pt x="75" y="273"/>
                    </a:cubicBezTo>
                    <a:cubicBezTo>
                      <a:pt x="76" y="272"/>
                      <a:pt x="76" y="272"/>
                      <a:pt x="76" y="272"/>
                    </a:cubicBezTo>
                    <a:cubicBezTo>
                      <a:pt x="80" y="272"/>
                      <a:pt x="80" y="272"/>
                      <a:pt x="80" y="272"/>
                    </a:cubicBezTo>
                    <a:cubicBezTo>
                      <a:pt x="80" y="273"/>
                      <a:pt x="80" y="273"/>
                      <a:pt x="80" y="273"/>
                    </a:cubicBezTo>
                    <a:cubicBezTo>
                      <a:pt x="81" y="274"/>
                      <a:pt x="81" y="274"/>
                      <a:pt x="81" y="274"/>
                    </a:cubicBezTo>
                    <a:cubicBezTo>
                      <a:pt x="83" y="272"/>
                      <a:pt x="83" y="272"/>
                      <a:pt x="83" y="272"/>
                    </a:cubicBezTo>
                    <a:cubicBezTo>
                      <a:pt x="85" y="272"/>
                      <a:pt x="85" y="272"/>
                      <a:pt x="85" y="272"/>
                    </a:cubicBezTo>
                    <a:cubicBezTo>
                      <a:pt x="87" y="270"/>
                      <a:pt x="87" y="270"/>
                      <a:pt x="87" y="270"/>
                    </a:cubicBezTo>
                    <a:cubicBezTo>
                      <a:pt x="88" y="268"/>
                      <a:pt x="88" y="268"/>
                      <a:pt x="88" y="268"/>
                    </a:cubicBezTo>
                    <a:cubicBezTo>
                      <a:pt x="89" y="268"/>
                      <a:pt x="89" y="268"/>
                      <a:pt x="89" y="268"/>
                    </a:cubicBezTo>
                    <a:cubicBezTo>
                      <a:pt x="91" y="266"/>
                      <a:pt x="91" y="266"/>
                      <a:pt x="91" y="266"/>
                    </a:cubicBezTo>
                    <a:cubicBezTo>
                      <a:pt x="92" y="262"/>
                      <a:pt x="92" y="262"/>
                      <a:pt x="92" y="262"/>
                    </a:cubicBezTo>
                    <a:cubicBezTo>
                      <a:pt x="95" y="260"/>
                      <a:pt x="95" y="260"/>
                      <a:pt x="95" y="260"/>
                    </a:cubicBezTo>
                    <a:cubicBezTo>
                      <a:pt x="98" y="259"/>
                      <a:pt x="98" y="259"/>
                      <a:pt x="98" y="259"/>
                    </a:cubicBezTo>
                    <a:cubicBezTo>
                      <a:pt x="99" y="260"/>
                      <a:pt x="99" y="260"/>
                      <a:pt x="99" y="260"/>
                    </a:cubicBezTo>
                    <a:cubicBezTo>
                      <a:pt x="103" y="259"/>
                      <a:pt x="103" y="259"/>
                      <a:pt x="103" y="259"/>
                    </a:cubicBezTo>
                    <a:cubicBezTo>
                      <a:pt x="108" y="255"/>
                      <a:pt x="108" y="255"/>
                      <a:pt x="108" y="255"/>
                    </a:cubicBezTo>
                    <a:cubicBezTo>
                      <a:pt x="111" y="252"/>
                      <a:pt x="111" y="252"/>
                      <a:pt x="111" y="252"/>
                    </a:cubicBezTo>
                    <a:cubicBezTo>
                      <a:pt x="112" y="252"/>
                      <a:pt x="112" y="252"/>
                      <a:pt x="112" y="252"/>
                    </a:cubicBezTo>
                    <a:cubicBezTo>
                      <a:pt x="114" y="252"/>
                      <a:pt x="114" y="252"/>
                      <a:pt x="114" y="252"/>
                    </a:cubicBezTo>
                    <a:cubicBezTo>
                      <a:pt x="115" y="252"/>
                      <a:pt x="115" y="252"/>
                      <a:pt x="115" y="252"/>
                    </a:cubicBezTo>
                    <a:cubicBezTo>
                      <a:pt x="118" y="253"/>
                      <a:pt x="118" y="253"/>
                      <a:pt x="118" y="253"/>
                    </a:cubicBezTo>
                    <a:cubicBezTo>
                      <a:pt x="121" y="253"/>
                      <a:pt x="121" y="253"/>
                      <a:pt x="121" y="253"/>
                    </a:cubicBezTo>
                    <a:cubicBezTo>
                      <a:pt x="123" y="253"/>
                      <a:pt x="123" y="253"/>
                      <a:pt x="123" y="253"/>
                    </a:cubicBezTo>
                    <a:cubicBezTo>
                      <a:pt x="127" y="253"/>
                      <a:pt x="127" y="253"/>
                      <a:pt x="127" y="253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35" y="250"/>
                      <a:pt x="135" y="250"/>
                      <a:pt x="135" y="250"/>
                    </a:cubicBezTo>
                    <a:cubicBezTo>
                      <a:pt x="137" y="248"/>
                      <a:pt x="137" y="248"/>
                      <a:pt x="137" y="248"/>
                    </a:cubicBezTo>
                    <a:cubicBezTo>
                      <a:pt x="139" y="248"/>
                      <a:pt x="139" y="248"/>
                      <a:pt x="139" y="248"/>
                    </a:cubicBezTo>
                    <a:cubicBezTo>
                      <a:pt x="142" y="246"/>
                      <a:pt x="142" y="246"/>
                      <a:pt x="142" y="246"/>
                    </a:cubicBezTo>
                    <a:cubicBezTo>
                      <a:pt x="146" y="246"/>
                      <a:pt x="146" y="246"/>
                      <a:pt x="146" y="246"/>
                    </a:cubicBezTo>
                    <a:cubicBezTo>
                      <a:pt x="156" y="245"/>
                      <a:pt x="156" y="245"/>
                      <a:pt x="156" y="245"/>
                    </a:cubicBezTo>
                    <a:cubicBezTo>
                      <a:pt x="160" y="246"/>
                      <a:pt x="160" y="246"/>
                      <a:pt x="160" y="246"/>
                    </a:cubicBezTo>
                    <a:cubicBezTo>
                      <a:pt x="162" y="246"/>
                      <a:pt x="162" y="246"/>
                      <a:pt x="162" y="246"/>
                    </a:cubicBezTo>
                    <a:cubicBezTo>
                      <a:pt x="165" y="245"/>
                      <a:pt x="165" y="245"/>
                      <a:pt x="165" y="245"/>
                    </a:cubicBezTo>
                    <a:cubicBezTo>
                      <a:pt x="167" y="246"/>
                      <a:pt x="167" y="246"/>
                      <a:pt x="167" y="246"/>
                    </a:cubicBezTo>
                    <a:cubicBezTo>
                      <a:pt x="170" y="248"/>
                      <a:pt x="170" y="248"/>
                      <a:pt x="170" y="248"/>
                    </a:cubicBezTo>
                    <a:cubicBezTo>
                      <a:pt x="173" y="252"/>
                      <a:pt x="173" y="252"/>
                      <a:pt x="173" y="252"/>
                    </a:cubicBezTo>
                    <a:cubicBezTo>
                      <a:pt x="174" y="253"/>
                      <a:pt x="174" y="253"/>
                      <a:pt x="174" y="253"/>
                    </a:cubicBezTo>
                    <a:cubicBezTo>
                      <a:pt x="176" y="252"/>
                      <a:pt x="176" y="252"/>
                      <a:pt x="176" y="252"/>
                    </a:cubicBezTo>
                    <a:cubicBezTo>
                      <a:pt x="177" y="251"/>
                      <a:pt x="177" y="251"/>
                      <a:pt x="177" y="251"/>
                    </a:cubicBezTo>
                    <a:cubicBezTo>
                      <a:pt x="178" y="252"/>
                      <a:pt x="178" y="252"/>
                      <a:pt x="178" y="252"/>
                    </a:cubicBezTo>
                    <a:cubicBezTo>
                      <a:pt x="179" y="252"/>
                      <a:pt x="179" y="252"/>
                      <a:pt x="179" y="252"/>
                    </a:cubicBezTo>
                    <a:cubicBezTo>
                      <a:pt x="181" y="252"/>
                      <a:pt x="181" y="252"/>
                      <a:pt x="181" y="252"/>
                    </a:cubicBezTo>
                    <a:cubicBezTo>
                      <a:pt x="183" y="255"/>
                      <a:pt x="183" y="255"/>
                      <a:pt x="183" y="255"/>
                    </a:cubicBezTo>
                    <a:cubicBezTo>
                      <a:pt x="185" y="255"/>
                      <a:pt x="185" y="255"/>
                      <a:pt x="185" y="255"/>
                    </a:cubicBezTo>
                    <a:cubicBezTo>
                      <a:pt x="186" y="255"/>
                      <a:pt x="186" y="255"/>
                      <a:pt x="186" y="255"/>
                    </a:cubicBezTo>
                    <a:cubicBezTo>
                      <a:pt x="190" y="258"/>
                      <a:pt x="190" y="258"/>
                      <a:pt x="190" y="258"/>
                    </a:cubicBezTo>
                    <a:cubicBezTo>
                      <a:pt x="190" y="260"/>
                      <a:pt x="190" y="260"/>
                      <a:pt x="190" y="260"/>
                    </a:cubicBezTo>
                    <a:cubicBezTo>
                      <a:pt x="191" y="260"/>
                      <a:pt x="191" y="260"/>
                      <a:pt x="191" y="260"/>
                    </a:cubicBezTo>
                    <a:cubicBezTo>
                      <a:pt x="193" y="261"/>
                      <a:pt x="193" y="261"/>
                      <a:pt x="193" y="261"/>
                    </a:cubicBezTo>
                    <a:cubicBezTo>
                      <a:pt x="192" y="263"/>
                      <a:pt x="192" y="263"/>
                      <a:pt x="192" y="263"/>
                    </a:cubicBezTo>
                    <a:cubicBezTo>
                      <a:pt x="191" y="263"/>
                      <a:pt x="191" y="263"/>
                      <a:pt x="191" y="263"/>
                    </a:cubicBezTo>
                    <a:cubicBezTo>
                      <a:pt x="190" y="264"/>
                      <a:pt x="190" y="264"/>
                      <a:pt x="190" y="264"/>
                    </a:cubicBezTo>
                    <a:cubicBezTo>
                      <a:pt x="192" y="268"/>
                      <a:pt x="192" y="268"/>
                      <a:pt x="192" y="268"/>
                    </a:cubicBezTo>
                    <a:cubicBezTo>
                      <a:pt x="194" y="268"/>
                      <a:pt x="194" y="268"/>
                      <a:pt x="194" y="268"/>
                    </a:cubicBezTo>
                    <a:cubicBezTo>
                      <a:pt x="196" y="270"/>
                      <a:pt x="196" y="270"/>
                      <a:pt x="196" y="270"/>
                    </a:cubicBezTo>
                    <a:cubicBezTo>
                      <a:pt x="196" y="273"/>
                      <a:pt x="196" y="273"/>
                      <a:pt x="196" y="273"/>
                    </a:cubicBezTo>
                    <a:cubicBezTo>
                      <a:pt x="196" y="275"/>
                      <a:pt x="196" y="275"/>
                      <a:pt x="196" y="275"/>
                    </a:cubicBezTo>
                    <a:cubicBezTo>
                      <a:pt x="198" y="280"/>
                      <a:pt x="198" y="280"/>
                      <a:pt x="198" y="280"/>
                    </a:cubicBezTo>
                    <a:cubicBezTo>
                      <a:pt x="197" y="282"/>
                      <a:pt x="197" y="282"/>
                      <a:pt x="197" y="282"/>
                    </a:cubicBezTo>
                    <a:cubicBezTo>
                      <a:pt x="198" y="283"/>
                      <a:pt x="198" y="283"/>
                      <a:pt x="198" y="283"/>
                    </a:cubicBezTo>
                    <a:cubicBezTo>
                      <a:pt x="198" y="286"/>
                      <a:pt x="198" y="286"/>
                      <a:pt x="198" y="286"/>
                    </a:cubicBezTo>
                    <a:cubicBezTo>
                      <a:pt x="197" y="287"/>
                      <a:pt x="197" y="287"/>
                      <a:pt x="197" y="287"/>
                    </a:cubicBezTo>
                    <a:cubicBezTo>
                      <a:pt x="196" y="286"/>
                      <a:pt x="196" y="286"/>
                      <a:pt x="196" y="286"/>
                    </a:cubicBezTo>
                    <a:cubicBezTo>
                      <a:pt x="195" y="287"/>
                      <a:pt x="195" y="287"/>
                      <a:pt x="195" y="287"/>
                    </a:cubicBezTo>
                    <a:cubicBezTo>
                      <a:pt x="197" y="289"/>
                      <a:pt x="197" y="289"/>
                      <a:pt x="197" y="289"/>
                    </a:cubicBezTo>
                    <a:cubicBezTo>
                      <a:pt x="198" y="290"/>
                      <a:pt x="198" y="290"/>
                      <a:pt x="198" y="290"/>
                    </a:cubicBezTo>
                    <a:cubicBezTo>
                      <a:pt x="199" y="292"/>
                      <a:pt x="199" y="292"/>
                      <a:pt x="199" y="292"/>
                    </a:cubicBezTo>
                    <a:cubicBezTo>
                      <a:pt x="201" y="291"/>
                      <a:pt x="201" y="291"/>
                      <a:pt x="201" y="291"/>
                    </a:cubicBezTo>
                    <a:cubicBezTo>
                      <a:pt x="202" y="293"/>
                      <a:pt x="202" y="293"/>
                      <a:pt x="202" y="293"/>
                    </a:cubicBezTo>
                    <a:cubicBezTo>
                      <a:pt x="202" y="291"/>
                      <a:pt x="202" y="291"/>
                      <a:pt x="202" y="291"/>
                    </a:cubicBezTo>
                    <a:cubicBezTo>
                      <a:pt x="201" y="289"/>
                      <a:pt x="201" y="289"/>
                      <a:pt x="201" y="289"/>
                    </a:cubicBezTo>
                    <a:cubicBezTo>
                      <a:pt x="203" y="288"/>
                      <a:pt x="203" y="288"/>
                      <a:pt x="203" y="288"/>
                    </a:cubicBezTo>
                    <a:cubicBezTo>
                      <a:pt x="203" y="286"/>
                      <a:pt x="203" y="286"/>
                      <a:pt x="203" y="286"/>
                    </a:cubicBezTo>
                    <a:cubicBezTo>
                      <a:pt x="205" y="286"/>
                      <a:pt x="205" y="286"/>
                      <a:pt x="205" y="286"/>
                    </a:cubicBezTo>
                    <a:cubicBezTo>
                      <a:pt x="206" y="284"/>
                      <a:pt x="206" y="284"/>
                      <a:pt x="206" y="284"/>
                    </a:cubicBezTo>
                    <a:cubicBezTo>
                      <a:pt x="208" y="284"/>
                      <a:pt x="208" y="284"/>
                      <a:pt x="208" y="284"/>
                    </a:cubicBezTo>
                    <a:cubicBezTo>
                      <a:pt x="208" y="282"/>
                      <a:pt x="208" y="282"/>
                      <a:pt x="208" y="282"/>
                    </a:cubicBezTo>
                    <a:cubicBezTo>
                      <a:pt x="210" y="280"/>
                      <a:pt x="210" y="280"/>
                      <a:pt x="210" y="280"/>
                    </a:cubicBezTo>
                    <a:cubicBezTo>
                      <a:pt x="214" y="277"/>
                      <a:pt x="214" y="277"/>
                      <a:pt x="214" y="277"/>
                    </a:cubicBezTo>
                    <a:cubicBezTo>
                      <a:pt x="214" y="276"/>
                      <a:pt x="214" y="276"/>
                      <a:pt x="214" y="276"/>
                    </a:cubicBezTo>
                    <a:cubicBezTo>
                      <a:pt x="215" y="276"/>
                      <a:pt x="215" y="276"/>
                      <a:pt x="215" y="276"/>
                    </a:cubicBezTo>
                    <a:cubicBezTo>
                      <a:pt x="218" y="275"/>
                      <a:pt x="218" y="275"/>
                      <a:pt x="218" y="275"/>
                    </a:cubicBezTo>
                    <a:cubicBezTo>
                      <a:pt x="219" y="272"/>
                      <a:pt x="219" y="272"/>
                      <a:pt x="219" y="272"/>
                    </a:cubicBezTo>
                    <a:cubicBezTo>
                      <a:pt x="222" y="268"/>
                      <a:pt x="222" y="268"/>
                      <a:pt x="222" y="268"/>
                    </a:cubicBezTo>
                    <a:cubicBezTo>
                      <a:pt x="225" y="267"/>
                      <a:pt x="225" y="267"/>
                      <a:pt x="225" y="267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5" y="263"/>
                      <a:pt x="225" y="263"/>
                      <a:pt x="225" y="263"/>
                    </a:cubicBezTo>
                    <a:cubicBezTo>
                      <a:pt x="225" y="261"/>
                      <a:pt x="225" y="261"/>
                      <a:pt x="225" y="261"/>
                    </a:cubicBezTo>
                    <a:cubicBezTo>
                      <a:pt x="227" y="264"/>
                      <a:pt x="227" y="264"/>
                      <a:pt x="227" y="264"/>
                    </a:cubicBezTo>
                    <a:cubicBezTo>
                      <a:pt x="227" y="266"/>
                      <a:pt x="227" y="266"/>
                      <a:pt x="227" y="266"/>
                    </a:cubicBezTo>
                    <a:cubicBezTo>
                      <a:pt x="227" y="269"/>
                      <a:pt x="227" y="269"/>
                      <a:pt x="227" y="269"/>
                    </a:cubicBezTo>
                    <a:cubicBezTo>
                      <a:pt x="225" y="270"/>
                      <a:pt x="225" y="270"/>
                      <a:pt x="225" y="270"/>
                    </a:cubicBezTo>
                    <a:cubicBezTo>
                      <a:pt x="225" y="275"/>
                      <a:pt x="225" y="275"/>
                      <a:pt x="225" y="275"/>
                    </a:cubicBezTo>
                    <a:cubicBezTo>
                      <a:pt x="221" y="278"/>
                      <a:pt x="221" y="278"/>
                      <a:pt x="221" y="278"/>
                    </a:cubicBezTo>
                    <a:cubicBezTo>
                      <a:pt x="220" y="280"/>
                      <a:pt x="220" y="280"/>
                      <a:pt x="220" y="280"/>
                    </a:cubicBezTo>
                    <a:cubicBezTo>
                      <a:pt x="219" y="282"/>
                      <a:pt x="219" y="282"/>
                      <a:pt x="219" y="282"/>
                    </a:cubicBezTo>
                    <a:cubicBezTo>
                      <a:pt x="219" y="284"/>
                      <a:pt x="219" y="284"/>
                      <a:pt x="219" y="284"/>
                    </a:cubicBezTo>
                    <a:cubicBezTo>
                      <a:pt x="217" y="287"/>
                      <a:pt x="217" y="287"/>
                      <a:pt x="217" y="287"/>
                    </a:cubicBezTo>
                    <a:cubicBezTo>
                      <a:pt x="218" y="288"/>
                      <a:pt x="218" y="288"/>
                      <a:pt x="218" y="288"/>
                    </a:cubicBezTo>
                    <a:cubicBezTo>
                      <a:pt x="216" y="293"/>
                      <a:pt x="216" y="293"/>
                      <a:pt x="216" y="293"/>
                    </a:cubicBezTo>
                    <a:cubicBezTo>
                      <a:pt x="211" y="293"/>
                      <a:pt x="211" y="293"/>
                      <a:pt x="211" y="293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09" y="297"/>
                      <a:pt x="209" y="297"/>
                      <a:pt x="209" y="297"/>
                    </a:cubicBezTo>
                    <a:cubicBezTo>
                      <a:pt x="209" y="298"/>
                      <a:pt x="209" y="298"/>
                      <a:pt x="209" y="298"/>
                    </a:cubicBezTo>
                    <a:cubicBezTo>
                      <a:pt x="212" y="297"/>
                      <a:pt x="212" y="297"/>
                      <a:pt x="212" y="297"/>
                    </a:cubicBezTo>
                    <a:cubicBezTo>
                      <a:pt x="215" y="296"/>
                      <a:pt x="215" y="296"/>
                      <a:pt x="215" y="296"/>
                    </a:cubicBezTo>
                    <a:cubicBezTo>
                      <a:pt x="218" y="297"/>
                      <a:pt x="218" y="297"/>
                      <a:pt x="218" y="297"/>
                    </a:cubicBezTo>
                    <a:cubicBezTo>
                      <a:pt x="221" y="292"/>
                      <a:pt x="221" y="292"/>
                      <a:pt x="221" y="292"/>
                    </a:cubicBezTo>
                    <a:cubicBezTo>
                      <a:pt x="222" y="287"/>
                      <a:pt x="222" y="287"/>
                      <a:pt x="222" y="287"/>
                    </a:cubicBezTo>
                    <a:cubicBezTo>
                      <a:pt x="225" y="284"/>
                      <a:pt x="225" y="284"/>
                      <a:pt x="225" y="284"/>
                    </a:cubicBezTo>
                    <a:cubicBezTo>
                      <a:pt x="226" y="285"/>
                      <a:pt x="226" y="285"/>
                      <a:pt x="226" y="285"/>
                    </a:cubicBezTo>
                    <a:cubicBezTo>
                      <a:pt x="226" y="289"/>
                      <a:pt x="226" y="289"/>
                      <a:pt x="226" y="289"/>
                    </a:cubicBezTo>
                    <a:cubicBezTo>
                      <a:pt x="227" y="292"/>
                      <a:pt x="227" y="292"/>
                      <a:pt x="227" y="292"/>
                    </a:cubicBezTo>
                    <a:cubicBezTo>
                      <a:pt x="226" y="293"/>
                      <a:pt x="226" y="293"/>
                      <a:pt x="226" y="293"/>
                    </a:cubicBezTo>
                    <a:cubicBezTo>
                      <a:pt x="226" y="297"/>
                      <a:pt x="226" y="297"/>
                      <a:pt x="226" y="297"/>
                    </a:cubicBezTo>
                    <a:cubicBezTo>
                      <a:pt x="224" y="301"/>
                      <a:pt x="224" y="301"/>
                      <a:pt x="224" y="301"/>
                    </a:cubicBezTo>
                    <a:cubicBezTo>
                      <a:pt x="220" y="303"/>
                      <a:pt x="220" y="303"/>
                      <a:pt x="220" y="303"/>
                    </a:cubicBezTo>
                    <a:cubicBezTo>
                      <a:pt x="221" y="304"/>
                      <a:pt x="221" y="304"/>
                      <a:pt x="221" y="304"/>
                    </a:cubicBezTo>
                    <a:cubicBezTo>
                      <a:pt x="223" y="304"/>
                      <a:pt x="223" y="304"/>
                      <a:pt x="223" y="304"/>
                    </a:cubicBezTo>
                    <a:cubicBezTo>
                      <a:pt x="226" y="304"/>
                      <a:pt x="226" y="304"/>
                      <a:pt x="226" y="304"/>
                    </a:cubicBezTo>
                    <a:cubicBezTo>
                      <a:pt x="227" y="303"/>
                      <a:pt x="227" y="303"/>
                      <a:pt x="227" y="303"/>
                    </a:cubicBezTo>
                    <a:cubicBezTo>
                      <a:pt x="229" y="302"/>
                      <a:pt x="229" y="302"/>
                      <a:pt x="229" y="302"/>
                    </a:cubicBezTo>
                    <a:cubicBezTo>
                      <a:pt x="231" y="301"/>
                      <a:pt x="231" y="301"/>
                      <a:pt x="231" y="301"/>
                    </a:cubicBezTo>
                    <a:cubicBezTo>
                      <a:pt x="232" y="301"/>
                      <a:pt x="232" y="301"/>
                      <a:pt x="232" y="301"/>
                    </a:cubicBezTo>
                    <a:cubicBezTo>
                      <a:pt x="234" y="301"/>
                      <a:pt x="234" y="301"/>
                      <a:pt x="234" y="301"/>
                    </a:cubicBezTo>
                    <a:cubicBezTo>
                      <a:pt x="233" y="303"/>
                      <a:pt x="233" y="303"/>
                      <a:pt x="233" y="303"/>
                    </a:cubicBezTo>
                    <a:cubicBezTo>
                      <a:pt x="232" y="304"/>
                      <a:pt x="232" y="304"/>
                      <a:pt x="232" y="304"/>
                    </a:cubicBezTo>
                    <a:cubicBezTo>
                      <a:pt x="230" y="304"/>
                      <a:pt x="230" y="304"/>
                      <a:pt x="230" y="304"/>
                    </a:cubicBezTo>
                    <a:cubicBezTo>
                      <a:pt x="229" y="305"/>
                      <a:pt x="229" y="305"/>
                      <a:pt x="229" y="305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32" y="310"/>
                      <a:pt x="232" y="310"/>
                      <a:pt x="232" y="310"/>
                    </a:cubicBezTo>
                    <a:cubicBezTo>
                      <a:pt x="233" y="313"/>
                      <a:pt x="233" y="313"/>
                      <a:pt x="233" y="313"/>
                    </a:cubicBezTo>
                    <a:cubicBezTo>
                      <a:pt x="233" y="317"/>
                      <a:pt x="233" y="317"/>
                      <a:pt x="233" y="317"/>
                    </a:cubicBezTo>
                    <a:cubicBezTo>
                      <a:pt x="233" y="321"/>
                      <a:pt x="233" y="321"/>
                      <a:pt x="233" y="321"/>
                    </a:cubicBezTo>
                    <a:cubicBezTo>
                      <a:pt x="230" y="324"/>
                      <a:pt x="230" y="324"/>
                      <a:pt x="230" y="324"/>
                    </a:cubicBezTo>
                    <a:cubicBezTo>
                      <a:pt x="231" y="325"/>
                      <a:pt x="231" y="325"/>
                      <a:pt x="231" y="325"/>
                    </a:cubicBezTo>
                    <a:cubicBezTo>
                      <a:pt x="231" y="329"/>
                      <a:pt x="231" y="329"/>
                      <a:pt x="231" y="329"/>
                    </a:cubicBezTo>
                    <a:cubicBezTo>
                      <a:pt x="232" y="330"/>
                      <a:pt x="232" y="330"/>
                      <a:pt x="232" y="330"/>
                    </a:cubicBezTo>
                    <a:cubicBezTo>
                      <a:pt x="234" y="333"/>
                      <a:pt x="234" y="333"/>
                      <a:pt x="234" y="333"/>
                    </a:cubicBezTo>
                    <a:cubicBezTo>
                      <a:pt x="234" y="336"/>
                      <a:pt x="234" y="336"/>
                      <a:pt x="234" y="336"/>
                    </a:cubicBezTo>
                    <a:cubicBezTo>
                      <a:pt x="238" y="341"/>
                      <a:pt x="238" y="341"/>
                      <a:pt x="238" y="341"/>
                    </a:cubicBezTo>
                    <a:cubicBezTo>
                      <a:pt x="240" y="341"/>
                      <a:pt x="240" y="341"/>
                      <a:pt x="240" y="341"/>
                    </a:cubicBezTo>
                    <a:cubicBezTo>
                      <a:pt x="242" y="343"/>
                      <a:pt x="242" y="343"/>
                      <a:pt x="242" y="343"/>
                    </a:cubicBezTo>
                    <a:cubicBezTo>
                      <a:pt x="243" y="345"/>
                      <a:pt x="243" y="345"/>
                      <a:pt x="243" y="345"/>
                    </a:cubicBezTo>
                    <a:cubicBezTo>
                      <a:pt x="245" y="345"/>
                      <a:pt x="245" y="345"/>
                      <a:pt x="245" y="345"/>
                    </a:cubicBezTo>
                    <a:cubicBezTo>
                      <a:pt x="245" y="344"/>
                      <a:pt x="245" y="344"/>
                      <a:pt x="245" y="344"/>
                    </a:cubicBezTo>
                    <a:cubicBezTo>
                      <a:pt x="247" y="344"/>
                      <a:pt x="247" y="344"/>
                      <a:pt x="247" y="344"/>
                    </a:cubicBezTo>
                    <a:cubicBezTo>
                      <a:pt x="249" y="345"/>
                      <a:pt x="249" y="345"/>
                      <a:pt x="249" y="345"/>
                    </a:cubicBezTo>
                    <a:cubicBezTo>
                      <a:pt x="251" y="347"/>
                      <a:pt x="251" y="347"/>
                      <a:pt x="251" y="347"/>
                    </a:cubicBezTo>
                    <a:cubicBezTo>
                      <a:pt x="253" y="348"/>
                      <a:pt x="253" y="348"/>
                      <a:pt x="253" y="348"/>
                    </a:cubicBezTo>
                    <a:cubicBezTo>
                      <a:pt x="256" y="350"/>
                      <a:pt x="256" y="350"/>
                      <a:pt x="256" y="350"/>
                    </a:cubicBezTo>
                    <a:cubicBezTo>
                      <a:pt x="256" y="352"/>
                      <a:pt x="256" y="352"/>
                      <a:pt x="256" y="352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60" y="355"/>
                      <a:pt x="260" y="355"/>
                      <a:pt x="260" y="355"/>
                    </a:cubicBezTo>
                    <a:cubicBezTo>
                      <a:pt x="261" y="355"/>
                      <a:pt x="261" y="355"/>
                      <a:pt x="261" y="355"/>
                    </a:cubicBezTo>
                    <a:cubicBezTo>
                      <a:pt x="262" y="354"/>
                      <a:pt x="262" y="354"/>
                      <a:pt x="262" y="354"/>
                    </a:cubicBezTo>
                    <a:cubicBezTo>
                      <a:pt x="266" y="352"/>
                      <a:pt x="266" y="352"/>
                      <a:pt x="266" y="352"/>
                    </a:cubicBezTo>
                    <a:cubicBezTo>
                      <a:pt x="267" y="350"/>
                      <a:pt x="267" y="350"/>
                      <a:pt x="267" y="350"/>
                    </a:cubicBez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72" y="347"/>
                      <a:pt x="272" y="347"/>
                      <a:pt x="272" y="347"/>
                    </a:cubicBezTo>
                    <a:cubicBezTo>
                      <a:pt x="273" y="348"/>
                      <a:pt x="273" y="348"/>
                      <a:pt x="273" y="348"/>
                    </a:cubicBezTo>
                    <a:cubicBezTo>
                      <a:pt x="274" y="347"/>
                      <a:pt x="274" y="347"/>
                      <a:pt x="274" y="347"/>
                    </a:cubicBezTo>
                    <a:cubicBezTo>
                      <a:pt x="274" y="346"/>
                      <a:pt x="274" y="346"/>
                      <a:pt x="274" y="346"/>
                    </a:cubicBezTo>
                    <a:cubicBezTo>
                      <a:pt x="272" y="345"/>
                      <a:pt x="272" y="345"/>
                      <a:pt x="272" y="345"/>
                    </a:cubicBezTo>
                    <a:cubicBezTo>
                      <a:pt x="272" y="344"/>
                      <a:pt x="272" y="344"/>
                      <a:pt x="272" y="344"/>
                    </a:cubicBezTo>
                    <a:cubicBezTo>
                      <a:pt x="276" y="341"/>
                      <a:pt x="276" y="341"/>
                      <a:pt x="276" y="341"/>
                    </a:cubicBezTo>
                    <a:cubicBezTo>
                      <a:pt x="279" y="344"/>
                      <a:pt x="279" y="344"/>
                      <a:pt x="279" y="344"/>
                    </a:cubicBezTo>
                    <a:cubicBezTo>
                      <a:pt x="279" y="346"/>
                      <a:pt x="279" y="346"/>
                      <a:pt x="279" y="346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6" y="350"/>
                      <a:pt x="276" y="350"/>
                      <a:pt x="276" y="350"/>
                    </a:cubicBezTo>
                    <a:cubicBezTo>
                      <a:pt x="278" y="350"/>
                      <a:pt x="278" y="350"/>
                      <a:pt x="278" y="350"/>
                    </a:cubicBezTo>
                    <a:cubicBezTo>
                      <a:pt x="279" y="349"/>
                      <a:pt x="279" y="349"/>
                      <a:pt x="279" y="349"/>
                    </a:cubicBezTo>
                    <a:cubicBezTo>
                      <a:pt x="280" y="347"/>
                      <a:pt x="280" y="347"/>
                      <a:pt x="280" y="347"/>
                    </a:cubicBezTo>
                    <a:cubicBezTo>
                      <a:pt x="282" y="348"/>
                      <a:pt x="282" y="348"/>
                      <a:pt x="282" y="348"/>
                    </a:cubicBezTo>
                    <a:cubicBezTo>
                      <a:pt x="282" y="350"/>
                      <a:pt x="282" y="350"/>
                      <a:pt x="282" y="350"/>
                    </a:cubicBezTo>
                    <a:cubicBezTo>
                      <a:pt x="281" y="350"/>
                      <a:pt x="281" y="350"/>
                      <a:pt x="281" y="350"/>
                    </a:cubicBezTo>
                    <a:cubicBezTo>
                      <a:pt x="280" y="352"/>
                      <a:pt x="280" y="352"/>
                      <a:pt x="280" y="352"/>
                    </a:cubicBezTo>
                    <a:cubicBezTo>
                      <a:pt x="282" y="355"/>
                      <a:pt x="282" y="355"/>
                      <a:pt x="282" y="355"/>
                    </a:cubicBezTo>
                    <a:cubicBezTo>
                      <a:pt x="283" y="358"/>
                      <a:pt x="283" y="358"/>
                      <a:pt x="283" y="358"/>
                    </a:cubicBezTo>
                    <a:cubicBezTo>
                      <a:pt x="284" y="358"/>
                      <a:pt x="284" y="358"/>
                      <a:pt x="284" y="358"/>
                    </a:cubicBezTo>
                    <a:cubicBezTo>
                      <a:pt x="285" y="358"/>
                      <a:pt x="285" y="358"/>
                      <a:pt x="285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6" y="362"/>
                      <a:pt x="286" y="362"/>
                      <a:pt x="286" y="362"/>
                    </a:cubicBezTo>
                    <a:cubicBezTo>
                      <a:pt x="288" y="360"/>
                      <a:pt x="288" y="360"/>
                      <a:pt x="288" y="360"/>
                    </a:cubicBezTo>
                    <a:cubicBezTo>
                      <a:pt x="288" y="357"/>
                      <a:pt x="288" y="357"/>
                      <a:pt x="288" y="357"/>
                    </a:cubicBezTo>
                    <a:cubicBezTo>
                      <a:pt x="286" y="358"/>
                      <a:pt x="286" y="358"/>
                      <a:pt x="286" y="358"/>
                    </a:cubicBezTo>
                    <a:cubicBezTo>
                      <a:pt x="286" y="357"/>
                      <a:pt x="286" y="357"/>
                      <a:pt x="286" y="357"/>
                    </a:cubicBezTo>
                    <a:cubicBezTo>
                      <a:pt x="287" y="356"/>
                      <a:pt x="287" y="356"/>
                      <a:pt x="287" y="356"/>
                    </a:cubicBezTo>
                    <a:cubicBezTo>
                      <a:pt x="292" y="356"/>
                      <a:pt x="292" y="356"/>
                      <a:pt x="292" y="356"/>
                    </a:cubicBezTo>
                    <a:cubicBezTo>
                      <a:pt x="292" y="357"/>
                      <a:pt x="292" y="357"/>
                      <a:pt x="292" y="357"/>
                    </a:cubicBezTo>
                    <a:cubicBezTo>
                      <a:pt x="293" y="356"/>
                      <a:pt x="293" y="356"/>
                      <a:pt x="293" y="356"/>
                    </a:cubicBezTo>
                    <a:cubicBezTo>
                      <a:pt x="295" y="352"/>
                      <a:pt x="295" y="352"/>
                      <a:pt x="295" y="352"/>
                    </a:cubicBezTo>
                    <a:cubicBezTo>
                      <a:pt x="300" y="349"/>
                      <a:pt x="300" y="349"/>
                      <a:pt x="300" y="349"/>
                    </a:cubicBezTo>
                    <a:cubicBezTo>
                      <a:pt x="303" y="347"/>
                      <a:pt x="303" y="347"/>
                      <a:pt x="303" y="347"/>
                    </a:cubicBezTo>
                    <a:cubicBezTo>
                      <a:pt x="302" y="347"/>
                      <a:pt x="302" y="347"/>
                      <a:pt x="302" y="347"/>
                    </a:cubicBezTo>
                    <a:cubicBezTo>
                      <a:pt x="301" y="347"/>
                      <a:pt x="301" y="347"/>
                      <a:pt x="301" y="347"/>
                    </a:cubicBezTo>
                    <a:cubicBezTo>
                      <a:pt x="301" y="347"/>
                      <a:pt x="301" y="347"/>
                      <a:pt x="301" y="34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301" y="346"/>
                      <a:pt x="301" y="346"/>
                      <a:pt x="301" y="346"/>
                    </a:cubicBezTo>
                    <a:cubicBezTo>
                      <a:pt x="304" y="346"/>
                      <a:pt x="304" y="346"/>
                      <a:pt x="304" y="346"/>
                    </a:cubicBezTo>
                    <a:cubicBezTo>
                      <a:pt x="307" y="345"/>
                      <a:pt x="307" y="345"/>
                      <a:pt x="307" y="345"/>
                    </a:cubicBezTo>
                    <a:cubicBezTo>
                      <a:pt x="315" y="343"/>
                      <a:pt x="315" y="343"/>
                      <a:pt x="315" y="343"/>
                    </a:cubicBezTo>
                    <a:cubicBezTo>
                      <a:pt x="321" y="345"/>
                      <a:pt x="321" y="345"/>
                      <a:pt x="321" y="345"/>
                    </a:cubicBezTo>
                    <a:cubicBezTo>
                      <a:pt x="323" y="343"/>
                      <a:pt x="323" y="343"/>
                      <a:pt x="323" y="343"/>
                    </a:cubicBezTo>
                    <a:cubicBezTo>
                      <a:pt x="323" y="341"/>
                      <a:pt x="323" y="341"/>
                      <a:pt x="323" y="341"/>
                    </a:cubicBezTo>
                    <a:cubicBezTo>
                      <a:pt x="325" y="341"/>
                      <a:pt x="325" y="341"/>
                      <a:pt x="325" y="341"/>
                    </a:cubicBezTo>
                    <a:cubicBezTo>
                      <a:pt x="327" y="340"/>
                      <a:pt x="327" y="340"/>
                      <a:pt x="327" y="340"/>
                    </a:cubicBezTo>
                    <a:cubicBezTo>
                      <a:pt x="329" y="337"/>
                      <a:pt x="329" y="337"/>
                      <a:pt x="329" y="337"/>
                    </a:cubicBezTo>
                    <a:cubicBezTo>
                      <a:pt x="328" y="333"/>
                      <a:pt x="328" y="333"/>
                      <a:pt x="328" y="333"/>
                    </a:cubicBezTo>
                    <a:cubicBezTo>
                      <a:pt x="328" y="331"/>
                      <a:pt x="328" y="331"/>
                      <a:pt x="328" y="331"/>
                    </a:cubicBezTo>
                    <a:cubicBezTo>
                      <a:pt x="331" y="327"/>
                      <a:pt x="331" y="327"/>
                      <a:pt x="331" y="327"/>
                    </a:cubicBezTo>
                    <a:cubicBezTo>
                      <a:pt x="331" y="321"/>
                      <a:pt x="331" y="321"/>
                      <a:pt x="331" y="321"/>
                    </a:cubicBezTo>
                    <a:cubicBezTo>
                      <a:pt x="333" y="319"/>
                      <a:pt x="333" y="319"/>
                      <a:pt x="333" y="319"/>
                    </a:cubicBezTo>
                    <a:cubicBezTo>
                      <a:pt x="333" y="315"/>
                      <a:pt x="333" y="315"/>
                      <a:pt x="333" y="315"/>
                    </a:cubicBezTo>
                    <a:cubicBezTo>
                      <a:pt x="335" y="314"/>
                      <a:pt x="335" y="314"/>
                      <a:pt x="335" y="314"/>
                    </a:cubicBezTo>
                    <a:cubicBezTo>
                      <a:pt x="335" y="312"/>
                      <a:pt x="335" y="312"/>
                      <a:pt x="335" y="312"/>
                    </a:cubicBezTo>
                    <a:cubicBezTo>
                      <a:pt x="341" y="305"/>
                      <a:pt x="341" y="305"/>
                      <a:pt x="341" y="305"/>
                    </a:cubicBezTo>
                    <a:cubicBezTo>
                      <a:pt x="342" y="305"/>
                      <a:pt x="342" y="305"/>
                      <a:pt x="342" y="305"/>
                    </a:cubicBezTo>
                    <a:cubicBezTo>
                      <a:pt x="344" y="300"/>
                      <a:pt x="344" y="300"/>
                      <a:pt x="344" y="300"/>
                    </a:cubicBezTo>
                    <a:cubicBezTo>
                      <a:pt x="346" y="297"/>
                      <a:pt x="346" y="297"/>
                      <a:pt x="346" y="297"/>
                    </a:cubicBezTo>
                    <a:cubicBezTo>
                      <a:pt x="347" y="293"/>
                      <a:pt x="347" y="293"/>
                      <a:pt x="347" y="293"/>
                    </a:cubicBezTo>
                    <a:cubicBezTo>
                      <a:pt x="350" y="291"/>
                      <a:pt x="350" y="291"/>
                      <a:pt x="350" y="291"/>
                    </a:cubicBezTo>
                    <a:cubicBezTo>
                      <a:pt x="349" y="289"/>
                      <a:pt x="349" y="289"/>
                      <a:pt x="349" y="289"/>
                    </a:cubicBezTo>
                    <a:cubicBezTo>
                      <a:pt x="351" y="288"/>
                      <a:pt x="351" y="288"/>
                      <a:pt x="351" y="288"/>
                    </a:cubicBezTo>
                    <a:cubicBezTo>
                      <a:pt x="353" y="284"/>
                      <a:pt x="353" y="284"/>
                      <a:pt x="353" y="284"/>
                    </a:cubicBezTo>
                    <a:cubicBezTo>
                      <a:pt x="351" y="283"/>
                      <a:pt x="351" y="283"/>
                      <a:pt x="351" y="283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56" y="278"/>
                      <a:pt x="356" y="278"/>
                      <a:pt x="356" y="278"/>
                    </a:cubicBezTo>
                    <a:cubicBezTo>
                      <a:pt x="358" y="277"/>
                      <a:pt x="358" y="277"/>
                      <a:pt x="358" y="277"/>
                    </a:cubicBezTo>
                    <a:cubicBezTo>
                      <a:pt x="359" y="274"/>
                      <a:pt x="359" y="274"/>
                      <a:pt x="359" y="274"/>
                    </a:cubicBezTo>
                    <a:cubicBezTo>
                      <a:pt x="362" y="273"/>
                      <a:pt x="362" y="273"/>
                      <a:pt x="362" y="273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361" y="272"/>
                      <a:pt x="361" y="272"/>
                      <a:pt x="361" y="272"/>
                    </a:cubicBezTo>
                    <a:cubicBezTo>
                      <a:pt x="362" y="271"/>
                      <a:pt x="362" y="271"/>
                      <a:pt x="362" y="271"/>
                    </a:cubicBezTo>
                    <a:cubicBezTo>
                      <a:pt x="365" y="271"/>
                      <a:pt x="365" y="271"/>
                      <a:pt x="365" y="271"/>
                    </a:cubicBezTo>
                    <a:cubicBezTo>
                      <a:pt x="368" y="268"/>
                      <a:pt x="368" y="268"/>
                      <a:pt x="368" y="268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68" y="265"/>
                      <a:pt x="368" y="265"/>
                      <a:pt x="368" y="265"/>
                    </a:cubicBezTo>
                    <a:cubicBezTo>
                      <a:pt x="369" y="263"/>
                      <a:pt x="369" y="263"/>
                      <a:pt x="369" y="263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372" y="258"/>
                      <a:pt x="372" y="258"/>
                      <a:pt x="372" y="258"/>
                    </a:cubicBezTo>
                    <a:cubicBezTo>
                      <a:pt x="374" y="257"/>
                      <a:pt x="374" y="257"/>
                      <a:pt x="374" y="257"/>
                    </a:cubicBezTo>
                    <a:cubicBezTo>
                      <a:pt x="376" y="254"/>
                      <a:pt x="376" y="254"/>
                      <a:pt x="376" y="254"/>
                    </a:cubicBezTo>
                    <a:cubicBezTo>
                      <a:pt x="376" y="252"/>
                      <a:pt x="376" y="252"/>
                      <a:pt x="376" y="252"/>
                    </a:cubicBezTo>
                    <a:cubicBezTo>
                      <a:pt x="377" y="249"/>
                      <a:pt x="377" y="249"/>
                      <a:pt x="377" y="249"/>
                    </a:cubicBezTo>
                    <a:cubicBezTo>
                      <a:pt x="376" y="248"/>
                      <a:pt x="376" y="248"/>
                      <a:pt x="376" y="248"/>
                    </a:cubicBezTo>
                    <a:cubicBezTo>
                      <a:pt x="377" y="246"/>
                      <a:pt x="377" y="246"/>
                      <a:pt x="377" y="246"/>
                    </a:cubicBezTo>
                    <a:cubicBezTo>
                      <a:pt x="379" y="240"/>
                      <a:pt x="379" y="240"/>
                      <a:pt x="379" y="240"/>
                    </a:cubicBezTo>
                    <a:cubicBezTo>
                      <a:pt x="380" y="236"/>
                      <a:pt x="380" y="236"/>
                      <a:pt x="380" y="236"/>
                    </a:cubicBezTo>
                    <a:cubicBezTo>
                      <a:pt x="383" y="230"/>
                      <a:pt x="383" y="230"/>
                      <a:pt x="383" y="230"/>
                    </a:cubicBezTo>
                    <a:cubicBezTo>
                      <a:pt x="383" y="228"/>
                      <a:pt x="383" y="228"/>
                      <a:pt x="383" y="228"/>
                    </a:cubicBezTo>
                    <a:cubicBezTo>
                      <a:pt x="385" y="223"/>
                      <a:pt x="385" y="223"/>
                      <a:pt x="385" y="223"/>
                    </a:cubicBezTo>
                    <a:cubicBezTo>
                      <a:pt x="388" y="221"/>
                      <a:pt x="388" y="221"/>
                      <a:pt x="388" y="221"/>
                    </a:cubicBezTo>
                    <a:cubicBezTo>
                      <a:pt x="389" y="218"/>
                      <a:pt x="389" y="218"/>
                      <a:pt x="389" y="218"/>
                    </a:cubicBezTo>
                    <a:cubicBezTo>
                      <a:pt x="388" y="215"/>
                      <a:pt x="388" y="215"/>
                      <a:pt x="388" y="215"/>
                    </a:cubicBezTo>
                    <a:cubicBezTo>
                      <a:pt x="390" y="213"/>
                      <a:pt x="390" y="213"/>
                      <a:pt x="390" y="213"/>
                    </a:cubicBezTo>
                    <a:cubicBezTo>
                      <a:pt x="388" y="209"/>
                      <a:pt x="388" y="209"/>
                      <a:pt x="388" y="209"/>
                    </a:cubicBezTo>
                    <a:cubicBezTo>
                      <a:pt x="388" y="206"/>
                      <a:pt x="388" y="206"/>
                      <a:pt x="388" y="206"/>
                    </a:cubicBezTo>
                    <a:cubicBezTo>
                      <a:pt x="387" y="202"/>
                      <a:pt x="387" y="202"/>
                      <a:pt x="387" y="202"/>
                    </a:cubicBezTo>
                    <a:cubicBezTo>
                      <a:pt x="386" y="201"/>
                      <a:pt x="386" y="201"/>
                      <a:pt x="386" y="201"/>
                    </a:cubicBezTo>
                    <a:cubicBezTo>
                      <a:pt x="386" y="199"/>
                      <a:pt x="386" y="199"/>
                      <a:pt x="386" y="199"/>
                    </a:cubicBezTo>
                    <a:cubicBezTo>
                      <a:pt x="387" y="198"/>
                      <a:pt x="387" y="198"/>
                      <a:pt x="387" y="198"/>
                    </a:cubicBezTo>
                    <a:cubicBezTo>
                      <a:pt x="387" y="196"/>
                      <a:pt x="387" y="196"/>
                      <a:pt x="387" y="196"/>
                    </a:cubicBezTo>
                    <a:cubicBezTo>
                      <a:pt x="389" y="193"/>
                      <a:pt x="389" y="193"/>
                      <a:pt x="389" y="193"/>
                    </a:cubicBezTo>
                    <a:cubicBezTo>
                      <a:pt x="389" y="192"/>
                      <a:pt x="389" y="192"/>
                      <a:pt x="389" y="192"/>
                    </a:cubicBezTo>
                    <a:cubicBezTo>
                      <a:pt x="388" y="186"/>
                      <a:pt x="388" y="186"/>
                      <a:pt x="388" y="186"/>
                    </a:cubicBezTo>
                    <a:cubicBezTo>
                      <a:pt x="390" y="184"/>
                      <a:pt x="390" y="184"/>
                      <a:pt x="390" y="184"/>
                    </a:cubicBezTo>
                    <a:cubicBezTo>
                      <a:pt x="389" y="183"/>
                      <a:pt x="389" y="183"/>
                      <a:pt x="389" y="183"/>
                    </a:cubicBezTo>
                    <a:cubicBezTo>
                      <a:pt x="388" y="181"/>
                      <a:pt x="388" y="181"/>
                      <a:pt x="388" y="181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89" y="175"/>
                      <a:pt x="389" y="175"/>
                      <a:pt x="389" y="175"/>
                    </a:cubicBezTo>
                    <a:cubicBezTo>
                      <a:pt x="387" y="174"/>
                      <a:pt x="387" y="174"/>
                      <a:pt x="387" y="174"/>
                    </a:cubicBezTo>
                    <a:cubicBezTo>
                      <a:pt x="386" y="172"/>
                      <a:pt x="386" y="172"/>
                      <a:pt x="386" y="172"/>
                    </a:cubicBezTo>
                    <a:cubicBezTo>
                      <a:pt x="386" y="170"/>
                      <a:pt x="386" y="170"/>
                      <a:pt x="386" y="170"/>
                    </a:cubicBezTo>
                    <a:cubicBezTo>
                      <a:pt x="384" y="168"/>
                      <a:pt x="384" y="168"/>
                      <a:pt x="384" y="168"/>
                    </a:cubicBezTo>
                    <a:cubicBezTo>
                      <a:pt x="382" y="165"/>
                      <a:pt x="382" y="165"/>
                      <a:pt x="382" y="165"/>
                    </a:cubicBezTo>
                    <a:cubicBezTo>
                      <a:pt x="382" y="162"/>
                      <a:pt x="382" y="162"/>
                      <a:pt x="382" y="162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79" y="160"/>
                      <a:pt x="379" y="160"/>
                      <a:pt x="379" y="160"/>
                    </a:cubicBezTo>
                    <a:cubicBezTo>
                      <a:pt x="378" y="160"/>
                      <a:pt x="378" y="160"/>
                      <a:pt x="378" y="160"/>
                    </a:cubicBezTo>
                    <a:cubicBezTo>
                      <a:pt x="376" y="159"/>
                      <a:pt x="376" y="159"/>
                      <a:pt x="376" y="159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75" y="156"/>
                      <a:pt x="375" y="156"/>
                      <a:pt x="375" y="156"/>
                    </a:cubicBezTo>
                    <a:cubicBezTo>
                      <a:pt x="375" y="155"/>
                      <a:pt x="375" y="155"/>
                      <a:pt x="375" y="155"/>
                    </a:cubicBezTo>
                    <a:cubicBezTo>
                      <a:pt x="373" y="153"/>
                      <a:pt x="373" y="153"/>
                      <a:pt x="373" y="153"/>
                    </a:cubicBezTo>
                    <a:cubicBezTo>
                      <a:pt x="371" y="152"/>
                      <a:pt x="371" y="152"/>
                      <a:pt x="371" y="152"/>
                    </a:cubicBezTo>
                    <a:cubicBezTo>
                      <a:pt x="372" y="150"/>
                      <a:pt x="372" y="150"/>
                      <a:pt x="372" y="150"/>
                    </a:cubicBezTo>
                    <a:cubicBezTo>
                      <a:pt x="371" y="148"/>
                      <a:pt x="371" y="148"/>
                      <a:pt x="371" y="148"/>
                    </a:cubicBezTo>
                    <a:cubicBezTo>
                      <a:pt x="372" y="145"/>
                      <a:pt x="372" y="145"/>
                      <a:pt x="372" y="145"/>
                    </a:cubicBezTo>
                    <a:cubicBezTo>
                      <a:pt x="373" y="142"/>
                      <a:pt x="373" y="142"/>
                      <a:pt x="373" y="142"/>
                    </a:cubicBezTo>
                    <a:cubicBezTo>
                      <a:pt x="372" y="141"/>
                      <a:pt x="372" y="141"/>
                      <a:pt x="372" y="141"/>
                    </a:cubicBezTo>
                    <a:cubicBezTo>
                      <a:pt x="373" y="139"/>
                      <a:pt x="373" y="139"/>
                      <a:pt x="373" y="139"/>
                    </a:cubicBezTo>
                    <a:cubicBezTo>
                      <a:pt x="371" y="138"/>
                      <a:pt x="371" y="138"/>
                      <a:pt x="371" y="138"/>
                    </a:cubicBezTo>
                    <a:cubicBezTo>
                      <a:pt x="371" y="139"/>
                      <a:pt x="371" y="139"/>
                      <a:pt x="371" y="139"/>
                    </a:cubicBezTo>
                    <a:cubicBezTo>
                      <a:pt x="371" y="140"/>
                      <a:pt x="371" y="140"/>
                      <a:pt x="371" y="140"/>
                    </a:cubicBezTo>
                    <a:cubicBezTo>
                      <a:pt x="371" y="141"/>
                      <a:pt x="371" y="141"/>
                      <a:pt x="371" y="141"/>
                    </a:cubicBezTo>
                    <a:cubicBezTo>
                      <a:pt x="366" y="137"/>
                      <a:pt x="366" y="137"/>
                      <a:pt x="366" y="137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7"/>
                      <a:pt x="365" y="137"/>
                      <a:pt x="365" y="137"/>
                    </a:cubicBezTo>
                    <a:cubicBezTo>
                      <a:pt x="364" y="138"/>
                      <a:pt x="364" y="138"/>
                      <a:pt x="364" y="138"/>
                    </a:cubicBezTo>
                    <a:cubicBezTo>
                      <a:pt x="365" y="141"/>
                      <a:pt x="365" y="141"/>
                      <a:pt x="365" y="141"/>
                    </a:cubicBezTo>
                    <a:cubicBezTo>
                      <a:pt x="363" y="139"/>
                      <a:pt x="363" y="139"/>
                      <a:pt x="363" y="139"/>
                    </a:cubicBezTo>
                    <a:cubicBezTo>
                      <a:pt x="362" y="140"/>
                      <a:pt x="362" y="140"/>
                      <a:pt x="362" y="140"/>
                    </a:cubicBezTo>
                    <a:cubicBezTo>
                      <a:pt x="362" y="138"/>
                      <a:pt x="362" y="138"/>
                      <a:pt x="362" y="138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61" y="131"/>
                      <a:pt x="361" y="131"/>
                      <a:pt x="361" y="131"/>
                    </a:cubicBezTo>
                    <a:cubicBezTo>
                      <a:pt x="361" y="130"/>
                      <a:pt x="361" y="130"/>
                      <a:pt x="361" y="130"/>
                    </a:cubicBezTo>
                    <a:cubicBezTo>
                      <a:pt x="361" y="129"/>
                      <a:pt x="361" y="129"/>
                      <a:pt x="361" y="129"/>
                    </a:cubicBezTo>
                    <a:cubicBezTo>
                      <a:pt x="360" y="128"/>
                      <a:pt x="360" y="128"/>
                      <a:pt x="360" y="128"/>
                    </a:cubicBezTo>
                    <a:cubicBezTo>
                      <a:pt x="360" y="126"/>
                      <a:pt x="360" y="126"/>
                      <a:pt x="360" y="126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3"/>
                      <a:pt x="359" y="123"/>
                      <a:pt x="359" y="123"/>
                    </a:cubicBezTo>
                    <a:cubicBezTo>
                      <a:pt x="356" y="120"/>
                      <a:pt x="356" y="120"/>
                      <a:pt x="356" y="120"/>
                    </a:cubicBezTo>
                    <a:cubicBezTo>
                      <a:pt x="355" y="118"/>
                      <a:pt x="355" y="118"/>
                      <a:pt x="355" y="118"/>
                    </a:cubicBezTo>
                    <a:cubicBezTo>
                      <a:pt x="355" y="116"/>
                      <a:pt x="355" y="116"/>
                      <a:pt x="355" y="116"/>
                    </a:cubicBezTo>
                    <a:cubicBezTo>
                      <a:pt x="357" y="117"/>
                      <a:pt x="357" y="117"/>
                      <a:pt x="357" y="117"/>
                    </a:cubicBezTo>
                    <a:cubicBezTo>
                      <a:pt x="357" y="115"/>
                      <a:pt x="357" y="115"/>
                      <a:pt x="357" y="115"/>
                    </a:cubicBezTo>
                    <a:cubicBezTo>
                      <a:pt x="355" y="112"/>
                      <a:pt x="355" y="112"/>
                      <a:pt x="355" y="112"/>
                    </a:cubicBezTo>
                    <a:cubicBezTo>
                      <a:pt x="355" y="112"/>
                      <a:pt x="355" y="112"/>
                      <a:pt x="355" y="112"/>
                    </a:cubicBezTo>
                    <a:cubicBezTo>
                      <a:pt x="353" y="112"/>
                      <a:pt x="353" y="112"/>
                      <a:pt x="353" y="112"/>
                    </a:cubicBezTo>
                    <a:cubicBezTo>
                      <a:pt x="351" y="109"/>
                      <a:pt x="351" y="109"/>
                      <a:pt x="351" y="109"/>
                    </a:cubicBezTo>
                    <a:cubicBezTo>
                      <a:pt x="350" y="109"/>
                      <a:pt x="350" y="109"/>
                      <a:pt x="350" y="109"/>
                    </a:cubicBezTo>
                    <a:cubicBezTo>
                      <a:pt x="348" y="108"/>
                      <a:pt x="348" y="108"/>
                      <a:pt x="348" y="108"/>
                    </a:cubicBezTo>
                    <a:cubicBezTo>
                      <a:pt x="347" y="109"/>
                      <a:pt x="347" y="109"/>
                      <a:pt x="347" y="109"/>
                    </a:cubicBezTo>
                    <a:cubicBezTo>
                      <a:pt x="346" y="108"/>
                      <a:pt x="346" y="108"/>
                      <a:pt x="346" y="108"/>
                    </a:cubicBezTo>
                    <a:cubicBezTo>
                      <a:pt x="344" y="107"/>
                      <a:pt x="344" y="107"/>
                      <a:pt x="344" y="107"/>
                    </a:cubicBezTo>
                    <a:cubicBezTo>
                      <a:pt x="343" y="108"/>
                      <a:pt x="343" y="108"/>
                      <a:pt x="343" y="108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6" y="106"/>
                      <a:pt x="346" y="106"/>
                    </a:cubicBezTo>
                    <a:cubicBezTo>
                      <a:pt x="346" y="104"/>
                      <a:pt x="346" y="104"/>
                      <a:pt x="346" y="104"/>
                    </a:cubicBezTo>
                    <a:cubicBezTo>
                      <a:pt x="345" y="103"/>
                      <a:pt x="345" y="103"/>
                      <a:pt x="345" y="103"/>
                    </a:cubicBezTo>
                    <a:cubicBezTo>
                      <a:pt x="343" y="103"/>
                      <a:pt x="343" y="103"/>
                      <a:pt x="343" y="103"/>
                    </a:cubicBezTo>
                    <a:cubicBezTo>
                      <a:pt x="341" y="103"/>
                      <a:pt x="341" y="103"/>
                      <a:pt x="341" y="103"/>
                    </a:cubicBezTo>
                    <a:cubicBezTo>
                      <a:pt x="341" y="102"/>
                      <a:pt x="341" y="102"/>
                      <a:pt x="341" y="102"/>
                    </a:cubicBezTo>
                    <a:cubicBezTo>
                      <a:pt x="340" y="102"/>
                      <a:pt x="340" y="102"/>
                      <a:pt x="340" y="102"/>
                    </a:cubicBezTo>
                    <a:cubicBezTo>
                      <a:pt x="336" y="100"/>
                      <a:pt x="336" y="100"/>
                      <a:pt x="336" y="100"/>
                    </a:cubicBezTo>
                    <a:cubicBezTo>
                      <a:pt x="334" y="96"/>
                      <a:pt x="334" y="96"/>
                      <a:pt x="334" y="96"/>
                    </a:cubicBezTo>
                    <a:cubicBezTo>
                      <a:pt x="334" y="93"/>
                      <a:pt x="334" y="93"/>
                      <a:pt x="334" y="93"/>
                    </a:cubicBezTo>
                    <a:cubicBezTo>
                      <a:pt x="332" y="90"/>
                      <a:pt x="332" y="90"/>
                      <a:pt x="332" y="90"/>
                    </a:cubicBezTo>
                    <a:cubicBezTo>
                      <a:pt x="333" y="88"/>
                      <a:pt x="333" y="88"/>
                      <a:pt x="333" y="88"/>
                    </a:cubicBezTo>
                    <a:cubicBezTo>
                      <a:pt x="333" y="88"/>
                      <a:pt x="333" y="88"/>
                      <a:pt x="333" y="88"/>
                    </a:cubicBezTo>
                    <a:cubicBezTo>
                      <a:pt x="334" y="84"/>
                      <a:pt x="334" y="84"/>
                      <a:pt x="334" y="84"/>
                    </a:cubicBezTo>
                    <a:cubicBezTo>
                      <a:pt x="333" y="79"/>
                      <a:pt x="333" y="79"/>
                      <a:pt x="333" y="79"/>
                    </a:cubicBezTo>
                    <a:cubicBezTo>
                      <a:pt x="332" y="76"/>
                      <a:pt x="332" y="76"/>
                      <a:pt x="332" y="76"/>
                    </a:cubicBezTo>
                    <a:cubicBezTo>
                      <a:pt x="333" y="76"/>
                      <a:pt x="333" y="76"/>
                      <a:pt x="333" y="76"/>
                    </a:cubicBezTo>
                    <a:cubicBezTo>
                      <a:pt x="332" y="75"/>
                      <a:pt x="332" y="75"/>
                      <a:pt x="332" y="75"/>
                    </a:cubicBezTo>
                    <a:cubicBezTo>
                      <a:pt x="330" y="75"/>
                      <a:pt x="330" y="75"/>
                      <a:pt x="330" y="75"/>
                    </a:cubicBezTo>
                    <a:cubicBezTo>
                      <a:pt x="328" y="71"/>
                      <a:pt x="328" y="71"/>
                      <a:pt x="328" y="71"/>
                    </a:cubicBezTo>
                    <a:cubicBezTo>
                      <a:pt x="328" y="66"/>
                      <a:pt x="328" y="66"/>
                      <a:pt x="328" y="66"/>
                    </a:cubicBezTo>
                    <a:cubicBezTo>
                      <a:pt x="329" y="65"/>
                      <a:pt x="329" y="65"/>
                      <a:pt x="329" y="65"/>
                    </a:cubicBezTo>
                    <a:cubicBezTo>
                      <a:pt x="329" y="64"/>
                      <a:pt x="329" y="64"/>
                      <a:pt x="329" y="64"/>
                    </a:cubicBezTo>
                    <a:cubicBezTo>
                      <a:pt x="328" y="63"/>
                      <a:pt x="328" y="63"/>
                      <a:pt x="328" y="63"/>
                    </a:cubicBezTo>
                    <a:cubicBezTo>
                      <a:pt x="328" y="57"/>
                      <a:pt x="328" y="57"/>
                      <a:pt x="328" y="57"/>
                    </a:cubicBezTo>
                    <a:cubicBezTo>
                      <a:pt x="328" y="55"/>
                      <a:pt x="328" y="55"/>
                      <a:pt x="328" y="55"/>
                    </a:cubicBezTo>
                    <a:cubicBezTo>
                      <a:pt x="328" y="53"/>
                      <a:pt x="328" y="53"/>
                      <a:pt x="328" y="53"/>
                    </a:cubicBezTo>
                    <a:cubicBezTo>
                      <a:pt x="329" y="53"/>
                      <a:pt x="329" y="53"/>
                      <a:pt x="329" y="53"/>
                    </a:cubicBezTo>
                    <a:cubicBezTo>
                      <a:pt x="329" y="51"/>
                      <a:pt x="329" y="51"/>
                      <a:pt x="329" y="51"/>
                    </a:cubicBezTo>
                    <a:cubicBezTo>
                      <a:pt x="325" y="48"/>
                      <a:pt x="325" y="48"/>
                      <a:pt x="325" y="48"/>
                    </a:cubicBezTo>
                    <a:cubicBezTo>
                      <a:pt x="323" y="47"/>
                      <a:pt x="323" y="47"/>
                      <a:pt x="323" y="47"/>
                    </a:cubicBezTo>
                    <a:cubicBezTo>
                      <a:pt x="324" y="46"/>
                      <a:pt x="324" y="46"/>
                      <a:pt x="324" y="46"/>
                    </a:cubicBezTo>
                    <a:cubicBezTo>
                      <a:pt x="322" y="44"/>
                      <a:pt x="322" y="44"/>
                      <a:pt x="322" y="44"/>
                    </a:cubicBezTo>
                    <a:cubicBezTo>
                      <a:pt x="320" y="45"/>
                      <a:pt x="320" y="45"/>
                      <a:pt x="320" y="45"/>
                    </a:cubicBezTo>
                    <a:cubicBezTo>
                      <a:pt x="319" y="44"/>
                      <a:pt x="319" y="44"/>
                      <a:pt x="319" y="44"/>
                    </a:cubicBezTo>
                    <a:cubicBezTo>
                      <a:pt x="318" y="47"/>
                      <a:pt x="318" y="47"/>
                      <a:pt x="318" y="47"/>
                    </a:cubicBezTo>
                    <a:cubicBezTo>
                      <a:pt x="316" y="47"/>
                      <a:pt x="316" y="47"/>
                      <a:pt x="316" y="47"/>
                    </a:cubicBezTo>
                    <a:cubicBezTo>
                      <a:pt x="314" y="44"/>
                      <a:pt x="314" y="44"/>
                      <a:pt x="314" y="44"/>
                    </a:cubicBezTo>
                    <a:cubicBezTo>
                      <a:pt x="314" y="42"/>
                      <a:pt x="314" y="42"/>
                      <a:pt x="314" y="42"/>
                    </a:cubicBezTo>
                    <a:cubicBezTo>
                      <a:pt x="313" y="39"/>
                      <a:pt x="313" y="39"/>
                      <a:pt x="313" y="39"/>
                    </a:cubicBezTo>
                    <a:cubicBezTo>
                      <a:pt x="314" y="35"/>
                      <a:pt x="314" y="35"/>
                      <a:pt x="314" y="35"/>
                    </a:cubicBezTo>
                    <a:cubicBezTo>
                      <a:pt x="313" y="31"/>
                      <a:pt x="313" y="31"/>
                      <a:pt x="313" y="31"/>
                    </a:cubicBezTo>
                    <a:cubicBezTo>
                      <a:pt x="313" y="31"/>
                      <a:pt x="313" y="31"/>
                      <a:pt x="313" y="31"/>
                    </a:cubicBezTo>
                    <a:cubicBezTo>
                      <a:pt x="312" y="30"/>
                      <a:pt x="312" y="30"/>
                      <a:pt x="312" y="30"/>
                    </a:cubicBezTo>
                    <a:cubicBezTo>
                      <a:pt x="313" y="28"/>
                      <a:pt x="313" y="28"/>
                      <a:pt x="313" y="28"/>
                    </a:cubicBezTo>
                    <a:cubicBezTo>
                      <a:pt x="311" y="26"/>
                      <a:pt x="311" y="26"/>
                      <a:pt x="311" y="26"/>
                    </a:cubicBezTo>
                    <a:cubicBezTo>
                      <a:pt x="311" y="24"/>
                      <a:pt x="311" y="24"/>
                      <a:pt x="311" y="24"/>
                    </a:cubicBezTo>
                    <a:cubicBezTo>
                      <a:pt x="310" y="23"/>
                      <a:pt x="310" y="23"/>
                      <a:pt x="310" y="23"/>
                    </a:cubicBezTo>
                    <a:cubicBezTo>
                      <a:pt x="310" y="21"/>
                      <a:pt x="310" y="21"/>
                      <a:pt x="310" y="21"/>
                    </a:cubicBezTo>
                    <a:cubicBezTo>
                      <a:pt x="311" y="20"/>
                      <a:pt x="311" y="20"/>
                      <a:pt x="311" y="20"/>
                    </a:cubicBezTo>
                    <a:cubicBezTo>
                      <a:pt x="310" y="19"/>
                      <a:pt x="310" y="19"/>
                      <a:pt x="310" y="19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7" y="18"/>
                      <a:pt x="307" y="18"/>
                      <a:pt x="307" y="18"/>
                    </a:cubicBezTo>
                    <a:cubicBezTo>
                      <a:pt x="308" y="14"/>
                      <a:pt x="308" y="14"/>
                      <a:pt x="308" y="14"/>
                    </a:cubicBezTo>
                    <a:cubicBezTo>
                      <a:pt x="307" y="12"/>
                      <a:pt x="307" y="12"/>
                      <a:pt x="307" y="12"/>
                    </a:cubicBezTo>
                    <a:cubicBezTo>
                      <a:pt x="307" y="10"/>
                      <a:pt x="307" y="10"/>
                      <a:pt x="307" y="10"/>
                    </a:cubicBezTo>
                    <a:cubicBezTo>
                      <a:pt x="305" y="9"/>
                      <a:pt x="305" y="9"/>
                      <a:pt x="305" y="9"/>
                    </a:cubicBezTo>
                    <a:cubicBezTo>
                      <a:pt x="305" y="8"/>
                      <a:pt x="305" y="8"/>
                      <a:pt x="305" y="8"/>
                    </a:cubicBezTo>
                    <a:cubicBezTo>
                      <a:pt x="303" y="9"/>
                      <a:pt x="303" y="9"/>
                      <a:pt x="303" y="9"/>
                    </a:cubicBezTo>
                    <a:cubicBezTo>
                      <a:pt x="301" y="10"/>
                      <a:pt x="301" y="10"/>
                      <a:pt x="301" y="10"/>
                    </a:cubicBezTo>
                    <a:cubicBezTo>
                      <a:pt x="301" y="14"/>
                      <a:pt x="301" y="14"/>
                      <a:pt x="301" y="14"/>
                    </a:cubicBezTo>
                    <a:cubicBezTo>
                      <a:pt x="300" y="17"/>
                      <a:pt x="300" y="17"/>
                      <a:pt x="300" y="17"/>
                    </a:cubicBezTo>
                    <a:cubicBezTo>
                      <a:pt x="300" y="18"/>
                      <a:pt x="300" y="18"/>
                      <a:pt x="300" y="18"/>
                    </a:cubicBezTo>
                    <a:cubicBezTo>
                      <a:pt x="300" y="20"/>
                      <a:pt x="300" y="20"/>
                      <a:pt x="300" y="20"/>
                    </a:cubicBezTo>
                    <a:cubicBezTo>
                      <a:pt x="299" y="20"/>
                      <a:pt x="299" y="20"/>
                      <a:pt x="299" y="20"/>
                    </a:cubicBezTo>
                    <a:cubicBezTo>
                      <a:pt x="298" y="23"/>
                      <a:pt x="298" y="23"/>
                      <a:pt x="298" y="23"/>
                    </a:cubicBezTo>
                    <a:cubicBezTo>
                      <a:pt x="296" y="25"/>
                      <a:pt x="296" y="25"/>
                      <a:pt x="296" y="25"/>
                    </a:cubicBezTo>
                    <a:cubicBezTo>
                      <a:pt x="297" y="27"/>
                      <a:pt x="297" y="27"/>
                      <a:pt x="297" y="27"/>
                    </a:cubicBezTo>
                    <a:cubicBezTo>
                      <a:pt x="299" y="28"/>
                      <a:pt x="299" y="28"/>
                      <a:pt x="299" y="28"/>
                    </a:cubicBezTo>
                    <a:cubicBezTo>
                      <a:pt x="298" y="29"/>
                      <a:pt x="298" y="29"/>
                      <a:pt x="298" y="29"/>
                    </a:cubicBezTo>
                    <a:cubicBezTo>
                      <a:pt x="297" y="29"/>
                      <a:pt x="297" y="29"/>
                      <a:pt x="297" y="29"/>
                    </a:cubicBezTo>
                    <a:cubicBezTo>
                      <a:pt x="296" y="31"/>
                      <a:pt x="296" y="31"/>
                      <a:pt x="296" y="31"/>
                    </a:cubicBezTo>
                    <a:cubicBezTo>
                      <a:pt x="295" y="33"/>
                      <a:pt x="295" y="33"/>
                      <a:pt x="295" y="33"/>
                    </a:cubicBezTo>
                    <a:cubicBezTo>
                      <a:pt x="296" y="35"/>
                      <a:pt x="296" y="35"/>
                      <a:pt x="296" y="35"/>
                    </a:cubicBezTo>
                    <a:cubicBezTo>
                      <a:pt x="297" y="37"/>
                      <a:pt x="297" y="37"/>
                      <a:pt x="297" y="37"/>
                    </a:cubicBezTo>
                    <a:cubicBezTo>
                      <a:pt x="295" y="36"/>
                      <a:pt x="295" y="36"/>
                      <a:pt x="295" y="36"/>
                    </a:cubicBezTo>
                    <a:cubicBezTo>
                      <a:pt x="294" y="37"/>
                      <a:pt x="294" y="37"/>
                      <a:pt x="294" y="37"/>
                    </a:cubicBezTo>
                    <a:cubicBezTo>
                      <a:pt x="293" y="42"/>
                      <a:pt x="293" y="42"/>
                      <a:pt x="293" y="42"/>
                    </a:cubicBezTo>
                    <a:cubicBezTo>
                      <a:pt x="294" y="45"/>
                      <a:pt x="294" y="45"/>
                      <a:pt x="294" y="45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4" y="54"/>
                      <a:pt x="294" y="54"/>
                      <a:pt x="294" y="54"/>
                    </a:cubicBezTo>
                    <a:cubicBezTo>
                      <a:pt x="292" y="56"/>
                      <a:pt x="292" y="56"/>
                      <a:pt x="292" y="56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0" y="61"/>
                      <a:pt x="290" y="61"/>
                      <a:pt x="290" y="61"/>
                    </a:cubicBezTo>
                    <a:cubicBezTo>
                      <a:pt x="290" y="67"/>
                      <a:pt x="290" y="67"/>
                      <a:pt x="290" y="67"/>
                    </a:cubicBezTo>
                    <a:cubicBezTo>
                      <a:pt x="288" y="69"/>
                      <a:pt x="288" y="69"/>
                      <a:pt x="288" y="69"/>
                    </a:cubicBezTo>
                    <a:cubicBezTo>
                      <a:pt x="289" y="71"/>
                      <a:pt x="289" y="71"/>
                      <a:pt x="289" y="71"/>
                    </a:cubicBezTo>
                    <a:cubicBezTo>
                      <a:pt x="288" y="74"/>
                      <a:pt x="288" y="74"/>
                      <a:pt x="288" y="74"/>
                    </a:cubicBezTo>
                    <a:cubicBezTo>
                      <a:pt x="286" y="76"/>
                      <a:pt x="286" y="76"/>
                      <a:pt x="286" y="76"/>
                    </a:cubicBezTo>
                    <a:cubicBezTo>
                      <a:pt x="286" y="79"/>
                      <a:pt x="286" y="79"/>
                      <a:pt x="286" y="79"/>
                    </a:cubicBezTo>
                    <a:cubicBezTo>
                      <a:pt x="283" y="82"/>
                      <a:pt x="283" y="82"/>
                      <a:pt x="283" y="82"/>
                    </a:cubicBezTo>
                    <a:cubicBezTo>
                      <a:pt x="277" y="84"/>
                      <a:pt x="277" y="84"/>
                      <a:pt x="277" y="84"/>
                    </a:cubicBezTo>
                    <a:cubicBezTo>
                      <a:pt x="274" y="82"/>
                      <a:pt x="274" y="82"/>
                      <a:pt x="274" y="82"/>
                    </a:cubicBezTo>
                    <a:cubicBezTo>
                      <a:pt x="272" y="82"/>
                      <a:pt x="272" y="82"/>
                      <a:pt x="272" y="82"/>
                    </a:cubicBezTo>
                    <a:cubicBezTo>
                      <a:pt x="270" y="81"/>
                      <a:pt x="270" y="81"/>
                      <a:pt x="270" y="81"/>
                    </a:cubicBezTo>
                    <a:cubicBezTo>
                      <a:pt x="268" y="79"/>
                      <a:pt x="268" y="79"/>
                      <a:pt x="268" y="79"/>
                    </a:cubicBezTo>
                    <a:cubicBezTo>
                      <a:pt x="268" y="77"/>
                      <a:pt x="268" y="77"/>
                      <a:pt x="268" y="77"/>
                    </a:cubicBezTo>
                    <a:cubicBezTo>
                      <a:pt x="267" y="76"/>
                      <a:pt x="267" y="76"/>
                      <a:pt x="267" y="76"/>
                    </a:cubicBezTo>
                    <a:cubicBezTo>
                      <a:pt x="267" y="74"/>
                      <a:pt x="267" y="74"/>
                      <a:pt x="267" y="74"/>
                    </a:cubicBezTo>
                    <a:cubicBezTo>
                      <a:pt x="264" y="74"/>
                      <a:pt x="264" y="74"/>
                      <a:pt x="264" y="74"/>
                    </a:cubicBezTo>
                    <a:cubicBezTo>
                      <a:pt x="262" y="73"/>
                      <a:pt x="262" y="73"/>
                      <a:pt x="262" y="73"/>
                    </a:cubicBezTo>
                    <a:cubicBezTo>
                      <a:pt x="259" y="73"/>
                      <a:pt x="259" y="73"/>
                      <a:pt x="259" y="73"/>
                    </a:cubicBezTo>
                    <a:cubicBezTo>
                      <a:pt x="257" y="71"/>
                      <a:pt x="257" y="71"/>
                      <a:pt x="257" y="71"/>
                    </a:cubicBezTo>
                    <a:cubicBezTo>
                      <a:pt x="256" y="69"/>
                      <a:pt x="256" y="69"/>
                      <a:pt x="256" y="69"/>
                    </a:cubicBezTo>
                    <a:cubicBezTo>
                      <a:pt x="254" y="67"/>
                      <a:pt x="254" y="67"/>
                      <a:pt x="254" y="67"/>
                    </a:cubicBezTo>
                    <a:cubicBezTo>
                      <a:pt x="251" y="66"/>
                      <a:pt x="251" y="66"/>
                      <a:pt x="251" y="66"/>
                    </a:cubicBezTo>
                    <a:cubicBezTo>
                      <a:pt x="249" y="65"/>
                      <a:pt x="249" y="65"/>
                      <a:pt x="249" y="65"/>
                    </a:cubicBezTo>
                    <a:cubicBezTo>
                      <a:pt x="249" y="64"/>
                      <a:pt x="249" y="64"/>
                      <a:pt x="249" y="64"/>
                    </a:cubicBezTo>
                    <a:cubicBezTo>
                      <a:pt x="248" y="64"/>
                      <a:pt x="248" y="64"/>
                      <a:pt x="248" y="64"/>
                    </a:cubicBezTo>
                    <a:cubicBezTo>
                      <a:pt x="247" y="63"/>
                      <a:pt x="247" y="63"/>
                      <a:pt x="247" y="63"/>
                    </a:cubicBezTo>
                    <a:cubicBezTo>
                      <a:pt x="245" y="63"/>
                      <a:pt x="245" y="63"/>
                      <a:pt x="245" y="63"/>
                    </a:cubicBezTo>
                    <a:cubicBezTo>
                      <a:pt x="243" y="62"/>
                      <a:pt x="243" y="62"/>
                      <a:pt x="243" y="62"/>
                    </a:cubicBezTo>
                    <a:cubicBezTo>
                      <a:pt x="243" y="61"/>
                      <a:pt x="243" y="61"/>
                      <a:pt x="243" y="61"/>
                    </a:cubicBezTo>
                    <a:cubicBezTo>
                      <a:pt x="241" y="59"/>
                      <a:pt x="241" y="59"/>
                      <a:pt x="241" y="59"/>
                    </a:cubicBezTo>
                    <a:cubicBezTo>
                      <a:pt x="240" y="57"/>
                      <a:pt x="240" y="57"/>
                      <a:pt x="240" y="57"/>
                    </a:cubicBezTo>
                    <a:cubicBezTo>
                      <a:pt x="238" y="55"/>
                      <a:pt x="238" y="55"/>
                      <a:pt x="238" y="55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4" y="52"/>
                      <a:pt x="234" y="52"/>
                      <a:pt x="234" y="52"/>
                    </a:cubicBezTo>
                    <a:cubicBezTo>
                      <a:pt x="234" y="50"/>
                      <a:pt x="234" y="50"/>
                      <a:pt x="234" y="50"/>
                    </a:cubicBezTo>
                    <a:cubicBezTo>
                      <a:pt x="236" y="47"/>
                      <a:pt x="236" y="47"/>
                      <a:pt x="236" y="47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8" y="43"/>
                      <a:pt x="238" y="43"/>
                      <a:pt x="238" y="43"/>
                    </a:cubicBezTo>
                    <a:cubicBezTo>
                      <a:pt x="239" y="40"/>
                      <a:pt x="239" y="40"/>
                      <a:pt x="239" y="40"/>
                    </a:cubicBezTo>
                    <a:cubicBezTo>
                      <a:pt x="240" y="38"/>
                      <a:pt x="240" y="38"/>
                      <a:pt x="240" y="38"/>
                    </a:cubicBezTo>
                    <a:cubicBezTo>
                      <a:pt x="238" y="40"/>
                      <a:pt x="238" y="40"/>
                      <a:pt x="238" y="40"/>
                    </a:cubicBezTo>
                    <a:cubicBezTo>
                      <a:pt x="237" y="37"/>
                      <a:pt x="237" y="37"/>
                      <a:pt x="237" y="37"/>
                    </a:cubicBezTo>
                    <a:cubicBezTo>
                      <a:pt x="239" y="36"/>
                      <a:pt x="239" y="36"/>
                      <a:pt x="239" y="36"/>
                    </a:cubicBezTo>
                    <a:cubicBezTo>
                      <a:pt x="238" y="33"/>
                      <a:pt x="238" y="33"/>
                      <a:pt x="238" y="33"/>
                    </a:cubicBezTo>
                    <a:cubicBezTo>
                      <a:pt x="239" y="34"/>
                      <a:pt x="239" y="34"/>
                      <a:pt x="239" y="34"/>
                    </a:cubicBezTo>
                    <a:cubicBezTo>
                      <a:pt x="240" y="33"/>
                      <a:pt x="240" y="33"/>
                      <a:pt x="240" y="33"/>
                    </a:cubicBezTo>
                    <a:cubicBezTo>
                      <a:pt x="241" y="34"/>
                      <a:pt x="241" y="34"/>
                      <a:pt x="241" y="34"/>
                    </a:cubicBezTo>
                    <a:cubicBezTo>
                      <a:pt x="243" y="34"/>
                      <a:pt x="243" y="34"/>
                      <a:pt x="243" y="34"/>
                    </a:cubicBezTo>
                    <a:cubicBezTo>
                      <a:pt x="245" y="33"/>
                      <a:pt x="245" y="33"/>
                      <a:pt x="245" y="33"/>
                    </a:cubicBezTo>
                    <a:cubicBezTo>
                      <a:pt x="246" y="31"/>
                      <a:pt x="246" y="31"/>
                      <a:pt x="246" y="31"/>
                    </a:cubicBezTo>
                    <a:cubicBezTo>
                      <a:pt x="244" y="29"/>
                      <a:pt x="244" y="29"/>
                      <a:pt x="244" y="29"/>
                    </a:cubicBezTo>
                    <a:cubicBezTo>
                      <a:pt x="246" y="28"/>
                      <a:pt x="246" y="28"/>
                      <a:pt x="246" y="28"/>
                    </a:cubicBezTo>
                    <a:cubicBezTo>
                      <a:pt x="247" y="29"/>
                      <a:pt x="247" y="29"/>
                      <a:pt x="247" y="29"/>
                    </a:cubicBezTo>
                    <a:cubicBezTo>
                      <a:pt x="248" y="25"/>
                      <a:pt x="248" y="25"/>
                      <a:pt x="248" y="25"/>
                    </a:cubicBezTo>
                    <a:cubicBezTo>
                      <a:pt x="249" y="25"/>
                      <a:pt x="249" y="25"/>
                      <a:pt x="249" y="25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1" y="22"/>
                      <a:pt x="251" y="22"/>
                      <a:pt x="251" y="22"/>
                    </a:cubicBezTo>
                    <a:cubicBezTo>
                      <a:pt x="249" y="21"/>
                      <a:pt x="249" y="21"/>
                      <a:pt x="249" y="21"/>
                    </a:cubicBezTo>
                    <a:cubicBezTo>
                      <a:pt x="247" y="22"/>
                      <a:pt x="247" y="22"/>
                      <a:pt x="247" y="22"/>
                    </a:cubicBezTo>
                    <a:cubicBezTo>
                      <a:pt x="246" y="22"/>
                      <a:pt x="246" y="22"/>
                      <a:pt x="246" y="22"/>
                    </a:cubicBezTo>
                    <a:cubicBezTo>
                      <a:pt x="246" y="18"/>
                      <a:pt x="246" y="18"/>
                      <a:pt x="246" y="18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24"/>
                      <a:pt x="243" y="24"/>
                      <a:pt x="243" y="24"/>
                    </a:cubicBezTo>
                    <a:cubicBezTo>
                      <a:pt x="241" y="25"/>
                      <a:pt x="241" y="25"/>
                      <a:pt x="241" y="25"/>
                    </a:cubicBezTo>
                    <a:cubicBezTo>
                      <a:pt x="240" y="24"/>
                      <a:pt x="240" y="24"/>
                      <a:pt x="240" y="24"/>
                    </a:cubicBezTo>
                    <a:cubicBezTo>
                      <a:pt x="240" y="23"/>
                      <a:pt x="240" y="23"/>
                      <a:pt x="240" y="23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38" y="23"/>
                      <a:pt x="238" y="23"/>
                      <a:pt x="238" y="23"/>
                    </a:cubicBezTo>
                    <a:cubicBezTo>
                      <a:pt x="237" y="23"/>
                      <a:pt x="237" y="23"/>
                      <a:pt x="237" y="23"/>
                    </a:cubicBezTo>
                    <a:cubicBezTo>
                      <a:pt x="237" y="22"/>
                      <a:pt x="237" y="22"/>
                      <a:pt x="237" y="22"/>
                    </a:cubicBezTo>
                    <a:cubicBezTo>
                      <a:pt x="238" y="21"/>
                      <a:pt x="238" y="21"/>
                      <a:pt x="238" y="21"/>
                    </a:cubicBezTo>
                    <a:cubicBezTo>
                      <a:pt x="238" y="20"/>
                      <a:pt x="238" y="20"/>
                      <a:pt x="238" y="20"/>
                    </a:cubicBezTo>
                    <a:cubicBezTo>
                      <a:pt x="237" y="20"/>
                      <a:pt x="237" y="20"/>
                      <a:pt x="237" y="20"/>
                    </a:cubicBezTo>
                    <a:cubicBezTo>
                      <a:pt x="236" y="21"/>
                      <a:pt x="236" y="21"/>
                      <a:pt x="236" y="21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234" y="23"/>
                      <a:pt x="234" y="23"/>
                      <a:pt x="234" y="23"/>
                    </a:cubicBezTo>
                    <a:cubicBezTo>
                      <a:pt x="232" y="23"/>
                      <a:pt x="232" y="23"/>
                      <a:pt x="232" y="23"/>
                    </a:cubicBezTo>
                    <a:cubicBezTo>
                      <a:pt x="232" y="22"/>
                      <a:pt x="232" y="22"/>
                      <a:pt x="232" y="22"/>
                    </a:cubicBezTo>
                    <a:cubicBezTo>
                      <a:pt x="230" y="22"/>
                      <a:pt x="230" y="22"/>
                      <a:pt x="230" y="22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28" y="19"/>
                      <a:pt x="228" y="19"/>
                      <a:pt x="228" y="19"/>
                    </a:cubicBezTo>
                    <a:cubicBezTo>
                      <a:pt x="228" y="19"/>
                      <a:pt x="228" y="19"/>
                      <a:pt x="228" y="19"/>
                    </a:cubicBezTo>
                    <a:cubicBezTo>
                      <a:pt x="225" y="20"/>
                      <a:pt x="225" y="20"/>
                      <a:pt x="225" y="20"/>
                    </a:cubicBezTo>
                    <a:cubicBezTo>
                      <a:pt x="224" y="20"/>
                      <a:pt x="224" y="20"/>
                      <a:pt x="224" y="20"/>
                    </a:cubicBezTo>
                    <a:cubicBezTo>
                      <a:pt x="223" y="20"/>
                      <a:pt x="223" y="20"/>
                      <a:pt x="223" y="20"/>
                    </a:cubicBezTo>
                    <a:cubicBezTo>
                      <a:pt x="222" y="19"/>
                      <a:pt x="222" y="19"/>
                      <a:pt x="222" y="19"/>
                    </a:cubicBezTo>
                    <a:cubicBezTo>
                      <a:pt x="221" y="19"/>
                      <a:pt x="221" y="19"/>
                      <a:pt x="221" y="19"/>
                    </a:cubicBezTo>
                    <a:cubicBezTo>
                      <a:pt x="220" y="16"/>
                      <a:pt x="220" y="16"/>
                      <a:pt x="220" y="16"/>
                    </a:cubicBezTo>
                    <a:cubicBezTo>
                      <a:pt x="218" y="17"/>
                      <a:pt x="218" y="17"/>
                      <a:pt x="218" y="17"/>
                    </a:cubicBezTo>
                    <a:cubicBezTo>
                      <a:pt x="215" y="17"/>
                      <a:pt x="215" y="17"/>
                      <a:pt x="215" y="17"/>
                    </a:cubicBezTo>
                    <a:cubicBezTo>
                      <a:pt x="213" y="16"/>
                      <a:pt x="213" y="16"/>
                      <a:pt x="213" y="16"/>
                    </a:cubicBezTo>
                    <a:cubicBezTo>
                      <a:pt x="214" y="15"/>
                      <a:pt x="214" y="15"/>
                      <a:pt x="214" y="15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1" y="13"/>
                      <a:pt x="211" y="13"/>
                      <a:pt x="211" y="13"/>
                    </a:cubicBezTo>
                    <a:cubicBezTo>
                      <a:pt x="211" y="14"/>
                      <a:pt x="211" y="14"/>
                      <a:pt x="211" y="14"/>
                    </a:cubicBezTo>
                    <a:cubicBezTo>
                      <a:pt x="208" y="15"/>
                      <a:pt x="208" y="15"/>
                      <a:pt x="208" y="15"/>
                    </a:cubicBezTo>
                    <a:cubicBezTo>
                      <a:pt x="208" y="13"/>
                      <a:pt x="208" y="13"/>
                      <a:pt x="208" y="13"/>
                    </a:cubicBezTo>
                    <a:cubicBezTo>
                      <a:pt x="206" y="12"/>
                      <a:pt x="206" y="12"/>
                      <a:pt x="206" y="12"/>
                    </a:cubicBezTo>
                    <a:cubicBezTo>
                      <a:pt x="204" y="11"/>
                      <a:pt x="204" y="11"/>
                      <a:pt x="204" y="11"/>
                    </a:cubicBezTo>
                    <a:cubicBezTo>
                      <a:pt x="203" y="12"/>
                      <a:pt x="203" y="12"/>
                      <a:pt x="203" y="12"/>
                    </a:cubicBezTo>
                    <a:cubicBezTo>
                      <a:pt x="202" y="11"/>
                      <a:pt x="202" y="11"/>
                      <a:pt x="202" y="11"/>
                    </a:cubicBezTo>
                    <a:cubicBezTo>
                      <a:pt x="200" y="12"/>
                      <a:pt x="200" y="12"/>
                      <a:pt x="200" y="12"/>
                    </a:cubicBezTo>
                    <a:cubicBezTo>
                      <a:pt x="202" y="13"/>
                      <a:pt x="202" y="13"/>
                      <a:pt x="202" y="13"/>
                    </a:cubicBezTo>
                    <a:cubicBezTo>
                      <a:pt x="202" y="14"/>
                      <a:pt x="202" y="14"/>
                      <a:pt x="202" y="14"/>
                    </a:cubicBezTo>
                    <a:cubicBezTo>
                      <a:pt x="203" y="14"/>
                      <a:pt x="203" y="14"/>
                      <a:pt x="203" y="14"/>
                    </a:cubicBezTo>
                    <a:cubicBezTo>
                      <a:pt x="205" y="14"/>
                      <a:pt x="205" y="14"/>
                      <a:pt x="205" y="14"/>
                    </a:cubicBezTo>
                    <a:cubicBezTo>
                      <a:pt x="208" y="16"/>
                      <a:pt x="208" y="16"/>
                      <a:pt x="208" y="16"/>
                    </a:cubicBezTo>
                    <a:cubicBezTo>
                      <a:pt x="208" y="17"/>
                      <a:pt x="208" y="17"/>
                      <a:pt x="208" y="17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6" y="21"/>
                      <a:pt x="206" y="21"/>
                      <a:pt x="206" y="21"/>
                    </a:cubicBezTo>
                    <a:cubicBezTo>
                      <a:pt x="205" y="23"/>
                      <a:pt x="205" y="23"/>
                      <a:pt x="205" y="23"/>
                    </a:cubicBezTo>
                    <a:cubicBezTo>
                      <a:pt x="205" y="22"/>
                      <a:pt x="205" y="22"/>
                      <a:pt x="205" y="22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202" y="22"/>
                      <a:pt x="202" y="22"/>
                      <a:pt x="202" y="22"/>
                    </a:cubicBezTo>
                    <a:cubicBezTo>
                      <a:pt x="196" y="23"/>
                      <a:pt x="196" y="23"/>
                      <a:pt x="196" y="23"/>
                    </a:cubicBezTo>
                    <a:cubicBezTo>
                      <a:pt x="194" y="21"/>
                      <a:pt x="194" y="21"/>
                      <a:pt x="194" y="21"/>
                    </a:cubicBezTo>
                    <a:cubicBezTo>
                      <a:pt x="194" y="21"/>
                      <a:pt x="194" y="21"/>
                      <a:pt x="194" y="21"/>
                    </a:cubicBezTo>
                    <a:cubicBezTo>
                      <a:pt x="192" y="22"/>
                      <a:pt x="192" y="22"/>
                      <a:pt x="192" y="22"/>
                    </a:cubicBezTo>
                    <a:cubicBezTo>
                      <a:pt x="192" y="24"/>
                      <a:pt x="192" y="24"/>
                      <a:pt x="192" y="24"/>
                    </a:cubicBezTo>
                    <a:cubicBezTo>
                      <a:pt x="190" y="24"/>
                      <a:pt x="190" y="24"/>
                      <a:pt x="190" y="24"/>
                    </a:cubicBezTo>
                    <a:cubicBezTo>
                      <a:pt x="191" y="26"/>
                      <a:pt x="191" y="26"/>
                      <a:pt x="191" y="26"/>
                    </a:cubicBezTo>
                    <a:cubicBezTo>
                      <a:pt x="190" y="25"/>
                      <a:pt x="190" y="25"/>
                      <a:pt x="190" y="25"/>
                    </a:cubicBezTo>
                    <a:cubicBezTo>
                      <a:pt x="188" y="25"/>
                      <a:pt x="188" y="25"/>
                      <a:pt x="188" y="25"/>
                    </a:cubicBezTo>
                    <a:cubicBezTo>
                      <a:pt x="187" y="26"/>
                      <a:pt x="187" y="26"/>
                      <a:pt x="187" y="26"/>
                    </a:cubicBezTo>
                    <a:cubicBezTo>
                      <a:pt x="188" y="27"/>
                      <a:pt x="188" y="27"/>
                      <a:pt x="188" y="27"/>
                    </a:cubicBezTo>
                    <a:cubicBezTo>
                      <a:pt x="188" y="28"/>
                      <a:pt x="188" y="28"/>
                      <a:pt x="188" y="28"/>
                    </a:cubicBezTo>
                    <a:cubicBezTo>
                      <a:pt x="185" y="27"/>
                      <a:pt x="185" y="27"/>
                      <a:pt x="185" y="27"/>
                    </a:cubicBezTo>
                    <a:cubicBezTo>
                      <a:pt x="184" y="29"/>
                      <a:pt x="184" y="29"/>
                      <a:pt x="184" y="29"/>
                    </a:cubicBezTo>
                    <a:cubicBezTo>
                      <a:pt x="185" y="30"/>
                      <a:pt x="185" y="30"/>
                      <a:pt x="185" y="30"/>
                    </a:cubicBezTo>
                    <a:cubicBezTo>
                      <a:pt x="184" y="30"/>
                      <a:pt x="184" y="30"/>
                      <a:pt x="184" y="30"/>
                    </a:cubicBezTo>
                    <a:cubicBezTo>
                      <a:pt x="182" y="31"/>
                      <a:pt x="182" y="31"/>
                      <a:pt x="182" y="31"/>
                    </a:cubicBezTo>
                    <a:cubicBezTo>
                      <a:pt x="182" y="32"/>
                      <a:pt x="182" y="32"/>
                      <a:pt x="182" y="32"/>
                    </a:cubicBezTo>
                    <a:cubicBezTo>
                      <a:pt x="184" y="34"/>
                      <a:pt x="184" y="34"/>
                      <a:pt x="184" y="34"/>
                    </a:cubicBezTo>
                    <a:cubicBezTo>
                      <a:pt x="184" y="35"/>
                      <a:pt x="184" y="35"/>
                      <a:pt x="184" y="35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1" y="35"/>
                      <a:pt x="181" y="35"/>
                      <a:pt x="181" y="35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178" y="38"/>
                      <a:pt x="178" y="38"/>
                      <a:pt x="178" y="38"/>
                    </a:cubicBezTo>
                    <a:cubicBezTo>
                      <a:pt x="176" y="41"/>
                      <a:pt x="176" y="41"/>
                      <a:pt x="176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4" y="44"/>
                      <a:pt x="174" y="44"/>
                      <a:pt x="174" y="44"/>
                    </a:cubicBezTo>
                    <a:cubicBezTo>
                      <a:pt x="173" y="45"/>
                      <a:pt x="173" y="45"/>
                      <a:pt x="173" y="45"/>
                    </a:cubicBezTo>
                    <a:cubicBezTo>
                      <a:pt x="174" y="47"/>
                      <a:pt x="174" y="47"/>
                      <a:pt x="174" y="47"/>
                    </a:cubicBezTo>
                    <a:cubicBezTo>
                      <a:pt x="177" y="47"/>
                      <a:pt x="177" y="47"/>
                      <a:pt x="177" y="47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75" y="49"/>
                      <a:pt x="175" y="49"/>
                      <a:pt x="175" y="49"/>
                    </a:cubicBezTo>
                    <a:cubicBezTo>
                      <a:pt x="179" y="50"/>
                      <a:pt x="179" y="50"/>
                      <a:pt x="179" y="50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5" y="49"/>
                      <a:pt x="175" y="49"/>
                      <a:pt x="175" y="49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6" y="52"/>
                      <a:pt x="176" y="52"/>
                      <a:pt x="176" y="52"/>
                    </a:cubicBezTo>
                    <a:cubicBezTo>
                      <a:pt x="176" y="54"/>
                      <a:pt x="176" y="54"/>
                      <a:pt x="176" y="54"/>
                    </a:cubicBezTo>
                    <a:cubicBezTo>
                      <a:pt x="178" y="56"/>
                      <a:pt x="178" y="56"/>
                      <a:pt x="178" y="56"/>
                    </a:cubicBezTo>
                    <a:cubicBezTo>
                      <a:pt x="175" y="54"/>
                      <a:pt x="175" y="54"/>
                      <a:pt x="175" y="54"/>
                    </a:cubicBezTo>
                    <a:cubicBezTo>
                      <a:pt x="174" y="51"/>
                      <a:pt x="174" y="51"/>
                      <a:pt x="174" y="51"/>
                    </a:cubicBezTo>
                    <a:cubicBezTo>
                      <a:pt x="172" y="51"/>
                      <a:pt x="172" y="51"/>
                      <a:pt x="172" y="51"/>
                    </a:cubicBezTo>
                    <a:cubicBezTo>
                      <a:pt x="172" y="52"/>
                      <a:pt x="172" y="52"/>
                      <a:pt x="172" y="52"/>
                    </a:cubicBezTo>
                    <a:cubicBezTo>
                      <a:pt x="171" y="54"/>
                      <a:pt x="171" y="54"/>
                      <a:pt x="171" y="54"/>
                    </a:cubicBezTo>
                    <a:cubicBezTo>
                      <a:pt x="171" y="52"/>
                      <a:pt x="171" y="52"/>
                      <a:pt x="171" y="52"/>
                    </a:cubicBezTo>
                    <a:cubicBezTo>
                      <a:pt x="167" y="50"/>
                      <a:pt x="167" y="50"/>
                      <a:pt x="167" y="50"/>
                    </a:cubicBezTo>
                    <a:cubicBezTo>
                      <a:pt x="164" y="50"/>
                      <a:pt x="164" y="50"/>
                      <a:pt x="164" y="50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4" y="52"/>
                      <a:pt x="164" y="52"/>
                      <a:pt x="164" y="52"/>
                    </a:cubicBezTo>
                    <a:cubicBezTo>
                      <a:pt x="163" y="51"/>
                      <a:pt x="163" y="51"/>
                      <a:pt x="163" y="51"/>
                    </a:cubicBezTo>
                    <a:cubicBezTo>
                      <a:pt x="162" y="51"/>
                      <a:pt x="162" y="51"/>
                      <a:pt x="162" y="51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2" y="54"/>
                      <a:pt x="162" y="54"/>
                      <a:pt x="162" y="54"/>
                    </a:cubicBezTo>
                    <a:cubicBezTo>
                      <a:pt x="162" y="56"/>
                      <a:pt x="162" y="56"/>
                      <a:pt x="162" y="56"/>
                    </a:cubicBezTo>
                    <a:cubicBezTo>
                      <a:pt x="162" y="55"/>
                      <a:pt x="162" y="55"/>
                      <a:pt x="162" y="55"/>
                    </a:cubicBezTo>
                    <a:cubicBezTo>
                      <a:pt x="161" y="55"/>
                      <a:pt x="161" y="55"/>
                      <a:pt x="161" y="55"/>
                    </a:cubicBezTo>
                    <a:cubicBezTo>
                      <a:pt x="161" y="56"/>
                      <a:pt x="161" y="56"/>
                      <a:pt x="161" y="56"/>
                    </a:cubicBezTo>
                    <a:cubicBezTo>
                      <a:pt x="159" y="57"/>
                      <a:pt x="159" y="57"/>
                      <a:pt x="159" y="57"/>
                    </a:cubicBezTo>
                    <a:cubicBezTo>
                      <a:pt x="156" y="58"/>
                      <a:pt x="156" y="58"/>
                      <a:pt x="156" y="58"/>
                    </a:cubicBezTo>
                    <a:cubicBezTo>
                      <a:pt x="158" y="57"/>
                      <a:pt x="158" y="57"/>
                      <a:pt x="158" y="57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0" y="48"/>
                      <a:pt x="160" y="48"/>
                      <a:pt x="160" y="48"/>
                    </a:cubicBezTo>
                    <a:cubicBezTo>
                      <a:pt x="159" y="48"/>
                      <a:pt x="159" y="48"/>
                      <a:pt x="159" y="48"/>
                    </a:cubicBezTo>
                    <a:cubicBezTo>
                      <a:pt x="156" y="43"/>
                      <a:pt x="156" y="43"/>
                      <a:pt x="156" y="43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52" y="40"/>
                      <a:pt x="152" y="40"/>
                      <a:pt x="152" y="40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49" y="39"/>
                      <a:pt x="149" y="39"/>
                      <a:pt x="149" y="39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47" y="43"/>
                      <a:pt x="147" y="43"/>
                      <a:pt x="147" y="43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6" y="42"/>
                      <a:pt x="146" y="42"/>
                      <a:pt x="146" y="42"/>
                    </a:cubicBezTo>
                    <a:cubicBezTo>
                      <a:pt x="145" y="42"/>
                      <a:pt x="145" y="42"/>
                      <a:pt x="145" y="42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3" y="40"/>
                      <a:pt x="143" y="40"/>
                      <a:pt x="143" y="40"/>
                    </a:cubicBezTo>
                    <a:cubicBezTo>
                      <a:pt x="142" y="40"/>
                      <a:pt x="142" y="40"/>
                      <a:pt x="142" y="40"/>
                    </a:cubicBezTo>
                    <a:cubicBezTo>
                      <a:pt x="141" y="42"/>
                      <a:pt x="141" y="42"/>
                      <a:pt x="141" y="42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41" y="44"/>
                      <a:pt x="141" y="44"/>
                      <a:pt x="141" y="44"/>
                    </a:cubicBezTo>
                    <a:cubicBezTo>
                      <a:pt x="140" y="46"/>
                      <a:pt x="140" y="46"/>
                      <a:pt x="140" y="46"/>
                    </a:cubicBezTo>
                    <a:cubicBezTo>
                      <a:pt x="141" y="47"/>
                      <a:pt x="141" y="47"/>
                      <a:pt x="141" y="47"/>
                    </a:cubicBezTo>
                    <a:cubicBezTo>
                      <a:pt x="139" y="48"/>
                      <a:pt x="139" y="48"/>
                      <a:pt x="139" y="48"/>
                    </a:cubicBezTo>
                    <a:cubicBezTo>
                      <a:pt x="138" y="47"/>
                      <a:pt x="138" y="47"/>
                      <a:pt x="138" y="47"/>
                    </a:cubicBezTo>
                    <a:cubicBezTo>
                      <a:pt x="137" y="47"/>
                      <a:pt x="137" y="47"/>
                      <a:pt x="137" y="47"/>
                    </a:cubicBezTo>
                    <a:cubicBezTo>
                      <a:pt x="137" y="46"/>
                      <a:pt x="137" y="46"/>
                      <a:pt x="137" y="46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37" y="44"/>
                      <a:pt x="137" y="44"/>
                      <a:pt x="137" y="44"/>
                    </a:cubicBezTo>
                    <a:cubicBezTo>
                      <a:pt x="136" y="46"/>
                      <a:pt x="136" y="46"/>
                      <a:pt x="136" y="46"/>
                    </a:cubicBezTo>
                    <a:cubicBezTo>
                      <a:pt x="134" y="47"/>
                      <a:pt x="134" y="47"/>
                      <a:pt x="134" y="47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3" y="50"/>
                      <a:pt x="133" y="50"/>
                      <a:pt x="133" y="50"/>
                    </a:cubicBezTo>
                    <a:cubicBezTo>
                      <a:pt x="136" y="51"/>
                      <a:pt x="136" y="51"/>
                      <a:pt x="136" y="51"/>
                    </a:cubicBezTo>
                    <a:cubicBezTo>
                      <a:pt x="133" y="53"/>
                      <a:pt x="133" y="53"/>
                      <a:pt x="133" y="53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29" y="54"/>
                      <a:pt x="129" y="54"/>
                      <a:pt x="129" y="54"/>
                    </a:cubicBezTo>
                    <a:cubicBezTo>
                      <a:pt x="129" y="55"/>
                      <a:pt x="129" y="55"/>
                      <a:pt x="129" y="55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0" y="57"/>
                      <a:pt x="130" y="57"/>
                      <a:pt x="130" y="57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6" y="57"/>
                      <a:pt x="126" y="57"/>
                      <a:pt x="126" y="57"/>
                    </a:cubicBezTo>
                    <a:cubicBezTo>
                      <a:pt x="124" y="57"/>
                      <a:pt x="124" y="57"/>
                      <a:pt x="124" y="57"/>
                    </a:cubicBezTo>
                    <a:cubicBezTo>
                      <a:pt x="125" y="59"/>
                      <a:pt x="125" y="59"/>
                      <a:pt x="125" y="59"/>
                    </a:cubicBezTo>
                    <a:cubicBezTo>
                      <a:pt x="125" y="60"/>
                      <a:pt x="125" y="60"/>
                      <a:pt x="125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6" y="61"/>
                      <a:pt x="126" y="61"/>
                      <a:pt x="126" y="61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6" y="64"/>
                      <a:pt x="126" y="64"/>
                      <a:pt x="126" y="64"/>
                    </a:cubicBezTo>
                    <a:cubicBezTo>
                      <a:pt x="124" y="65"/>
                      <a:pt x="124" y="65"/>
                      <a:pt x="124" y="65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4" y="69"/>
                      <a:pt x="124" y="69"/>
                      <a:pt x="124" y="69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21" y="67"/>
                      <a:pt x="121" y="67"/>
                      <a:pt x="121" y="67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8" y="66"/>
                      <a:pt x="118" y="66"/>
                      <a:pt x="118" y="66"/>
                    </a:cubicBezTo>
                    <a:cubicBezTo>
                      <a:pt x="116" y="65"/>
                      <a:pt x="116" y="65"/>
                      <a:pt x="116" y="65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7" y="68"/>
                      <a:pt x="117" y="68"/>
                      <a:pt x="117" y="68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5" y="70"/>
                      <a:pt x="115" y="70"/>
                      <a:pt x="115" y="70"/>
                    </a:cubicBezTo>
                    <a:cubicBezTo>
                      <a:pt x="117" y="72"/>
                      <a:pt x="117" y="72"/>
                      <a:pt x="117" y="72"/>
                    </a:cubicBezTo>
                    <a:cubicBezTo>
                      <a:pt x="119" y="72"/>
                      <a:pt x="119" y="72"/>
                      <a:pt x="119" y="72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5"/>
                      <a:pt x="118" y="75"/>
                      <a:pt x="118" y="75"/>
                    </a:cubicBezTo>
                    <a:cubicBezTo>
                      <a:pt x="117" y="75"/>
                      <a:pt x="117" y="75"/>
                      <a:pt x="117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6" y="79"/>
                      <a:pt x="116" y="79"/>
                      <a:pt x="116" y="79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2" y="75"/>
                      <a:pt x="112" y="75"/>
                      <a:pt x="112" y="75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5" y="73"/>
                      <a:pt x="105" y="73"/>
                      <a:pt x="105" y="73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102" y="75"/>
                      <a:pt x="102" y="75"/>
                      <a:pt x="102" y="75"/>
                    </a:cubicBezTo>
                    <a:cubicBezTo>
                      <a:pt x="100" y="76"/>
                      <a:pt x="100" y="76"/>
                      <a:pt x="100" y="76"/>
                    </a:cubicBezTo>
                    <a:cubicBezTo>
                      <a:pt x="100" y="79"/>
                      <a:pt x="100" y="79"/>
                      <a:pt x="100" y="79"/>
                    </a:cubicBezTo>
                    <a:cubicBezTo>
                      <a:pt x="100" y="84"/>
                      <a:pt x="100" y="84"/>
                      <a:pt x="100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1" y="86"/>
                      <a:pt x="101" y="86"/>
                      <a:pt x="101" y="86"/>
                    </a:cubicBezTo>
                    <a:cubicBezTo>
                      <a:pt x="100" y="87"/>
                      <a:pt x="100" y="87"/>
                      <a:pt x="100" y="87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6" y="90"/>
                      <a:pt x="96" y="90"/>
                      <a:pt x="96" y="90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4" y="95"/>
                      <a:pt x="94" y="95"/>
                      <a:pt x="94" y="95"/>
                    </a:cubicBezTo>
                    <a:cubicBezTo>
                      <a:pt x="93" y="96"/>
                      <a:pt x="93" y="96"/>
                      <a:pt x="93" y="96"/>
                    </a:cubicBezTo>
                    <a:cubicBezTo>
                      <a:pt x="90" y="100"/>
                      <a:pt x="90" y="100"/>
                      <a:pt x="90" y="100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79" y="104"/>
                      <a:pt x="79" y="104"/>
                      <a:pt x="79" y="104"/>
                    </a:cubicBezTo>
                    <a:cubicBezTo>
                      <a:pt x="77" y="105"/>
                      <a:pt x="77" y="105"/>
                      <a:pt x="77" y="105"/>
                    </a:cubicBezTo>
                    <a:cubicBezTo>
                      <a:pt x="74" y="105"/>
                      <a:pt x="74" y="105"/>
                      <a:pt x="74" y="105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69" y="105"/>
                      <a:pt x="69" y="105"/>
                      <a:pt x="69" y="105"/>
                    </a:cubicBezTo>
                    <a:cubicBezTo>
                      <a:pt x="66" y="107"/>
                      <a:pt x="66" y="107"/>
                      <a:pt x="66" y="107"/>
                    </a:cubicBezTo>
                    <a:cubicBezTo>
                      <a:pt x="66" y="108"/>
                      <a:pt x="66" y="108"/>
                      <a:pt x="66" y="108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58" y="109"/>
                      <a:pt x="58" y="109"/>
                      <a:pt x="58" y="109"/>
                    </a:cubicBezTo>
                    <a:cubicBezTo>
                      <a:pt x="56" y="110"/>
                      <a:pt x="56" y="110"/>
                      <a:pt x="56" y="110"/>
                    </a:cubicBezTo>
                    <a:cubicBezTo>
                      <a:pt x="55" y="112"/>
                      <a:pt x="55" y="112"/>
                      <a:pt x="55" y="112"/>
                    </a:cubicBezTo>
                    <a:cubicBezTo>
                      <a:pt x="52" y="113"/>
                      <a:pt x="52" y="113"/>
                      <a:pt x="52" y="113"/>
                    </a:cubicBezTo>
                    <a:cubicBezTo>
                      <a:pt x="49" y="113"/>
                      <a:pt x="49" y="113"/>
                      <a:pt x="49" y="113"/>
                    </a:cubicBezTo>
                    <a:cubicBezTo>
                      <a:pt x="47" y="113"/>
                      <a:pt x="47" y="113"/>
                      <a:pt x="47" y="113"/>
                    </a:cubicBezTo>
                    <a:cubicBezTo>
                      <a:pt x="45" y="113"/>
                      <a:pt x="45" y="113"/>
                      <a:pt x="45" y="113"/>
                    </a:cubicBezTo>
                    <a:cubicBezTo>
                      <a:pt x="45" y="112"/>
                      <a:pt x="45" y="112"/>
                      <a:pt x="45" y="112"/>
                    </a:cubicBezTo>
                    <a:cubicBezTo>
                      <a:pt x="43" y="113"/>
                      <a:pt x="43" y="113"/>
                      <a:pt x="43" y="113"/>
                    </a:cubicBezTo>
                    <a:cubicBezTo>
                      <a:pt x="42" y="115"/>
                      <a:pt x="42" y="115"/>
                      <a:pt x="42" y="115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1" y="127"/>
                      <a:pt x="21" y="127"/>
                      <a:pt x="21" y="127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18" y="132"/>
                      <a:pt x="18" y="132"/>
                      <a:pt x="18" y="132"/>
                    </a:cubicBezTo>
                    <a:cubicBezTo>
                      <a:pt x="17" y="131"/>
                      <a:pt x="17" y="131"/>
                      <a:pt x="17" y="131"/>
                    </a:cubicBezTo>
                    <a:cubicBezTo>
                      <a:pt x="18" y="130"/>
                      <a:pt x="18" y="130"/>
                      <a:pt x="18" y="130"/>
                    </a:cubicBezTo>
                    <a:cubicBezTo>
                      <a:pt x="17" y="128"/>
                      <a:pt x="17" y="128"/>
                      <a:pt x="17" y="128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8" y="124"/>
                      <a:pt x="18" y="124"/>
                      <a:pt x="18" y="124"/>
                    </a:cubicBezTo>
                    <a:cubicBezTo>
                      <a:pt x="15" y="126"/>
                      <a:pt x="15" y="126"/>
                      <a:pt x="15" y="126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12" y="133"/>
                      <a:pt x="12" y="133"/>
                      <a:pt x="12" y="133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3" y="139"/>
                      <a:pt x="13" y="139"/>
                      <a:pt x="13" y="139"/>
                    </a:cubicBezTo>
                    <a:cubicBezTo>
                      <a:pt x="13" y="144"/>
                      <a:pt x="13" y="144"/>
                      <a:pt x="13" y="144"/>
                    </a:cubicBezTo>
                    <a:cubicBezTo>
                      <a:pt x="9" y="148"/>
                      <a:pt x="9" y="148"/>
                      <a:pt x="9" y="148"/>
                    </a:cubicBezTo>
                    <a:cubicBezTo>
                      <a:pt x="8" y="155"/>
                      <a:pt x="8" y="155"/>
                      <a:pt x="8" y="155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8" y="163"/>
                      <a:pt x="8" y="163"/>
                      <a:pt x="8" y="163"/>
                    </a:cubicBezTo>
                    <a:cubicBezTo>
                      <a:pt x="12" y="169"/>
                      <a:pt x="12" y="169"/>
                      <a:pt x="12" y="169"/>
                    </a:cubicBezTo>
                    <a:cubicBezTo>
                      <a:pt x="12" y="171"/>
                      <a:pt x="12" y="171"/>
                      <a:pt x="12" y="171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13" y="178"/>
                      <a:pt x="13" y="178"/>
                      <a:pt x="13" y="178"/>
                    </a:cubicBezTo>
                    <a:cubicBezTo>
                      <a:pt x="11" y="179"/>
                      <a:pt x="11" y="179"/>
                      <a:pt x="11" y="179"/>
                    </a:cubicBezTo>
                    <a:cubicBezTo>
                      <a:pt x="10" y="177"/>
                      <a:pt x="10" y="177"/>
                      <a:pt x="10" y="177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8" y="176"/>
                      <a:pt x="8" y="176"/>
                      <a:pt x="8" y="176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" y="172"/>
                      <a:pt x="8" y="172"/>
                      <a:pt x="8" y="172"/>
                    </a:cubicBezTo>
                    <a:cubicBezTo>
                      <a:pt x="6" y="168"/>
                      <a:pt x="6" y="168"/>
                      <a:pt x="6" y="168"/>
                    </a:cubicBezTo>
                    <a:cubicBezTo>
                      <a:pt x="5" y="170"/>
                      <a:pt x="5" y="170"/>
                      <a:pt x="5" y="170"/>
                    </a:cubicBezTo>
                    <a:cubicBezTo>
                      <a:pt x="5" y="174"/>
                      <a:pt x="5" y="174"/>
                      <a:pt x="5" y="174"/>
                    </a:cubicBezTo>
                    <a:cubicBezTo>
                      <a:pt x="8" y="177"/>
                      <a:pt x="8" y="177"/>
                      <a:pt x="8" y="177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7" y="181"/>
                      <a:pt x="7" y="181"/>
                      <a:pt x="7" y="181"/>
                    </a:cubicBezTo>
                    <a:cubicBezTo>
                      <a:pt x="5" y="178"/>
                      <a:pt x="5" y="178"/>
                      <a:pt x="5" y="178"/>
                    </a:cubicBezTo>
                    <a:cubicBezTo>
                      <a:pt x="4" y="175"/>
                      <a:pt x="4" y="175"/>
                      <a:pt x="4" y="175"/>
                    </a:cubicBezTo>
                    <a:cubicBezTo>
                      <a:pt x="3" y="176"/>
                      <a:pt x="3" y="176"/>
                      <a:pt x="3" y="176"/>
                    </a:cubicBezTo>
                    <a:cubicBezTo>
                      <a:pt x="2" y="177"/>
                      <a:pt x="2" y="177"/>
                      <a:pt x="2" y="177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7" y="184"/>
                      <a:pt x="7" y="184"/>
                      <a:pt x="7" y="184"/>
                    </a:cubicBezTo>
                    <a:cubicBezTo>
                      <a:pt x="9" y="190"/>
                      <a:pt x="9" y="190"/>
                      <a:pt x="9" y="190"/>
                    </a:cubicBezTo>
                    <a:cubicBezTo>
                      <a:pt x="9" y="200"/>
                      <a:pt x="9" y="200"/>
                      <a:pt x="9" y="200"/>
                    </a:cubicBezTo>
                    <a:cubicBezTo>
                      <a:pt x="10" y="202"/>
                      <a:pt x="10" y="202"/>
                      <a:pt x="10" y="202"/>
                    </a:cubicBezTo>
                    <a:cubicBezTo>
                      <a:pt x="11" y="207"/>
                      <a:pt x="11" y="207"/>
                      <a:pt x="11" y="207"/>
                    </a:cubicBezTo>
                    <a:cubicBezTo>
                      <a:pt x="14" y="215"/>
                      <a:pt x="14" y="215"/>
                      <a:pt x="14" y="215"/>
                    </a:cubicBezTo>
                    <a:cubicBezTo>
                      <a:pt x="13" y="217"/>
                      <a:pt x="13" y="217"/>
                      <a:pt x="13" y="217"/>
                    </a:cubicBezTo>
                    <a:cubicBezTo>
                      <a:pt x="13" y="229"/>
                      <a:pt x="13" y="229"/>
                      <a:pt x="13" y="229"/>
                    </a:cubicBezTo>
                    <a:cubicBezTo>
                      <a:pt x="13" y="230"/>
                      <a:pt x="13" y="230"/>
                      <a:pt x="13" y="230"/>
                    </a:cubicBezTo>
                    <a:cubicBezTo>
                      <a:pt x="14" y="233"/>
                      <a:pt x="14" y="233"/>
                      <a:pt x="14" y="233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16" y="244"/>
                      <a:pt x="16" y="244"/>
                      <a:pt x="16" y="244"/>
                    </a:cubicBezTo>
                    <a:cubicBezTo>
                      <a:pt x="14" y="245"/>
                      <a:pt x="14" y="245"/>
                      <a:pt x="14" y="245"/>
                    </a:cubicBezTo>
                    <a:cubicBezTo>
                      <a:pt x="15" y="246"/>
                      <a:pt x="15" y="246"/>
                      <a:pt x="15" y="246"/>
                    </a:cubicBezTo>
                    <a:cubicBezTo>
                      <a:pt x="15" y="249"/>
                      <a:pt x="15" y="249"/>
                      <a:pt x="15" y="249"/>
                    </a:cubicBezTo>
                    <a:cubicBezTo>
                      <a:pt x="14" y="253"/>
                      <a:pt x="14" y="253"/>
                      <a:pt x="14" y="253"/>
                    </a:cubicBezTo>
                    <a:cubicBezTo>
                      <a:pt x="12" y="255"/>
                      <a:pt x="12" y="255"/>
                      <a:pt x="12" y="255"/>
                    </a:cubicBezTo>
                    <a:cubicBezTo>
                      <a:pt x="13" y="256"/>
                      <a:pt x="13" y="256"/>
                      <a:pt x="13" y="256"/>
                    </a:cubicBezTo>
                    <a:cubicBezTo>
                      <a:pt x="12" y="259"/>
                      <a:pt x="12" y="259"/>
                      <a:pt x="12" y="259"/>
                    </a:cubicBezTo>
                    <a:cubicBezTo>
                      <a:pt x="11" y="260"/>
                      <a:pt x="11" y="260"/>
                      <a:pt x="11" y="260"/>
                    </a:cubicBezTo>
                    <a:cubicBezTo>
                      <a:pt x="11" y="262"/>
                      <a:pt x="11" y="262"/>
                      <a:pt x="11" y="262"/>
                    </a:cubicBezTo>
                    <a:cubicBezTo>
                      <a:pt x="8" y="265"/>
                      <a:pt x="8" y="265"/>
                      <a:pt x="8" y="265"/>
                    </a:cubicBezTo>
                    <a:cubicBezTo>
                      <a:pt x="7" y="264"/>
                      <a:pt x="7" y="264"/>
                      <a:pt x="7" y="264"/>
                    </a:cubicBezTo>
                    <a:cubicBezTo>
                      <a:pt x="4" y="267"/>
                      <a:pt x="4" y="267"/>
                      <a:pt x="4" y="267"/>
                    </a:cubicBezTo>
                    <a:lnTo>
                      <a:pt x="4" y="27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69" name="Freeform 307">
                <a:extLst>
                  <a:ext uri="{FF2B5EF4-FFF2-40B4-BE49-F238E27FC236}">
                    <a16:creationId xmlns:a16="http://schemas.microsoft.com/office/drawing/2014/main" xmlns="" id="{965C60CE-0AA7-4663-9325-9AF6C2003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8" y="2740"/>
                <a:ext cx="320" cy="500"/>
              </a:xfrm>
              <a:custGeom>
                <a:avLst/>
                <a:gdLst>
                  <a:gd name="T0" fmla="*/ 21 w 320"/>
                  <a:gd name="T1" fmla="*/ 497 h 500"/>
                  <a:gd name="T2" fmla="*/ 0 w 320"/>
                  <a:gd name="T3" fmla="*/ 435 h 500"/>
                  <a:gd name="T4" fmla="*/ 0 w 320"/>
                  <a:gd name="T5" fmla="*/ 435 h 500"/>
                  <a:gd name="T6" fmla="*/ 274 w 320"/>
                  <a:gd name="T7" fmla="*/ 56 h 500"/>
                  <a:gd name="T8" fmla="*/ 281 w 320"/>
                  <a:gd name="T9" fmla="*/ 56 h 500"/>
                  <a:gd name="T10" fmla="*/ 233 w 320"/>
                  <a:gd name="T11" fmla="*/ 188 h 500"/>
                  <a:gd name="T12" fmla="*/ 256 w 320"/>
                  <a:gd name="T13" fmla="*/ 178 h 500"/>
                  <a:gd name="T14" fmla="*/ 278 w 320"/>
                  <a:gd name="T15" fmla="*/ 152 h 500"/>
                  <a:gd name="T16" fmla="*/ 287 w 320"/>
                  <a:gd name="T17" fmla="*/ 131 h 500"/>
                  <a:gd name="T18" fmla="*/ 299 w 320"/>
                  <a:gd name="T19" fmla="*/ 128 h 500"/>
                  <a:gd name="T20" fmla="*/ 313 w 320"/>
                  <a:gd name="T21" fmla="*/ 106 h 500"/>
                  <a:gd name="T22" fmla="*/ 312 w 320"/>
                  <a:gd name="T23" fmla="*/ 92 h 500"/>
                  <a:gd name="T24" fmla="*/ 282 w 320"/>
                  <a:gd name="T25" fmla="*/ 88 h 500"/>
                  <a:gd name="T26" fmla="*/ 281 w 320"/>
                  <a:gd name="T27" fmla="*/ 64 h 500"/>
                  <a:gd name="T28" fmla="*/ 276 w 320"/>
                  <a:gd name="T29" fmla="*/ 74 h 500"/>
                  <a:gd name="T30" fmla="*/ 264 w 320"/>
                  <a:gd name="T31" fmla="*/ 72 h 500"/>
                  <a:gd name="T32" fmla="*/ 269 w 320"/>
                  <a:gd name="T33" fmla="*/ 52 h 500"/>
                  <a:gd name="T34" fmla="*/ 273 w 320"/>
                  <a:gd name="T35" fmla="*/ 33 h 500"/>
                  <a:gd name="T36" fmla="*/ 264 w 320"/>
                  <a:gd name="T37" fmla="*/ 20 h 500"/>
                  <a:gd name="T38" fmla="*/ 260 w 320"/>
                  <a:gd name="T39" fmla="*/ 12 h 500"/>
                  <a:gd name="T40" fmla="*/ 253 w 320"/>
                  <a:gd name="T41" fmla="*/ 2 h 500"/>
                  <a:gd name="T42" fmla="*/ 251 w 320"/>
                  <a:gd name="T43" fmla="*/ 21 h 500"/>
                  <a:gd name="T44" fmla="*/ 253 w 320"/>
                  <a:gd name="T45" fmla="*/ 33 h 500"/>
                  <a:gd name="T46" fmla="*/ 260 w 320"/>
                  <a:gd name="T47" fmla="*/ 51 h 500"/>
                  <a:gd name="T48" fmla="*/ 261 w 320"/>
                  <a:gd name="T49" fmla="*/ 61 h 500"/>
                  <a:gd name="T50" fmla="*/ 263 w 320"/>
                  <a:gd name="T51" fmla="*/ 74 h 500"/>
                  <a:gd name="T52" fmla="*/ 260 w 320"/>
                  <a:gd name="T53" fmla="*/ 93 h 500"/>
                  <a:gd name="T54" fmla="*/ 253 w 320"/>
                  <a:gd name="T55" fmla="*/ 106 h 500"/>
                  <a:gd name="T56" fmla="*/ 230 w 320"/>
                  <a:gd name="T57" fmla="*/ 131 h 500"/>
                  <a:gd name="T58" fmla="*/ 246 w 320"/>
                  <a:gd name="T59" fmla="*/ 157 h 500"/>
                  <a:gd name="T60" fmla="*/ 219 w 320"/>
                  <a:gd name="T61" fmla="*/ 173 h 500"/>
                  <a:gd name="T62" fmla="*/ 219 w 320"/>
                  <a:gd name="T63" fmla="*/ 173 h 500"/>
                  <a:gd name="T64" fmla="*/ 219 w 320"/>
                  <a:gd name="T65" fmla="*/ 175 h 500"/>
                  <a:gd name="T66" fmla="*/ 70 w 320"/>
                  <a:gd name="T67" fmla="*/ 333 h 500"/>
                  <a:gd name="T68" fmla="*/ 73 w 320"/>
                  <a:gd name="T69" fmla="*/ 322 h 500"/>
                  <a:gd name="T70" fmla="*/ 77 w 320"/>
                  <a:gd name="T71" fmla="*/ 327 h 500"/>
                  <a:gd name="T72" fmla="*/ 73 w 320"/>
                  <a:gd name="T73" fmla="*/ 333 h 500"/>
                  <a:gd name="T74" fmla="*/ 65 w 320"/>
                  <a:gd name="T75" fmla="*/ 297 h 500"/>
                  <a:gd name="T76" fmla="*/ 75 w 320"/>
                  <a:gd name="T77" fmla="*/ 281 h 500"/>
                  <a:gd name="T78" fmla="*/ 90 w 320"/>
                  <a:gd name="T79" fmla="*/ 270 h 500"/>
                  <a:gd name="T80" fmla="*/ 103 w 320"/>
                  <a:gd name="T81" fmla="*/ 257 h 500"/>
                  <a:gd name="T82" fmla="*/ 126 w 320"/>
                  <a:gd name="T83" fmla="*/ 248 h 500"/>
                  <a:gd name="T84" fmla="*/ 148 w 320"/>
                  <a:gd name="T85" fmla="*/ 227 h 500"/>
                  <a:gd name="T86" fmla="*/ 173 w 320"/>
                  <a:gd name="T87" fmla="*/ 201 h 500"/>
                  <a:gd name="T88" fmla="*/ 191 w 320"/>
                  <a:gd name="T89" fmla="*/ 180 h 500"/>
                  <a:gd name="T90" fmla="*/ 206 w 320"/>
                  <a:gd name="T91" fmla="*/ 170 h 500"/>
                  <a:gd name="T92" fmla="*/ 209 w 320"/>
                  <a:gd name="T93" fmla="*/ 181 h 500"/>
                  <a:gd name="T94" fmla="*/ 220 w 320"/>
                  <a:gd name="T95" fmla="*/ 180 h 500"/>
                  <a:gd name="T96" fmla="*/ 225 w 320"/>
                  <a:gd name="T97" fmla="*/ 181 h 500"/>
                  <a:gd name="T98" fmla="*/ 212 w 320"/>
                  <a:gd name="T99" fmla="*/ 206 h 500"/>
                  <a:gd name="T100" fmla="*/ 191 w 320"/>
                  <a:gd name="T101" fmla="*/ 230 h 500"/>
                  <a:gd name="T102" fmla="*/ 184 w 320"/>
                  <a:gd name="T103" fmla="*/ 252 h 500"/>
                  <a:gd name="T104" fmla="*/ 178 w 320"/>
                  <a:gd name="T105" fmla="*/ 250 h 500"/>
                  <a:gd name="T106" fmla="*/ 170 w 320"/>
                  <a:gd name="T107" fmla="*/ 248 h 500"/>
                  <a:gd name="T108" fmla="*/ 155 w 320"/>
                  <a:gd name="T109" fmla="*/ 258 h 500"/>
                  <a:gd name="T110" fmla="*/ 135 w 320"/>
                  <a:gd name="T111" fmla="*/ 291 h 500"/>
                  <a:gd name="T112" fmla="*/ 126 w 320"/>
                  <a:gd name="T113" fmla="*/ 304 h 500"/>
                  <a:gd name="T114" fmla="*/ 109 w 320"/>
                  <a:gd name="T115" fmla="*/ 315 h 500"/>
                  <a:gd name="T116" fmla="*/ 88 w 320"/>
                  <a:gd name="T117" fmla="*/ 319 h 500"/>
                  <a:gd name="T118" fmla="*/ 75 w 320"/>
                  <a:gd name="T119" fmla="*/ 306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0" h="500">
                    <a:moveTo>
                      <a:pt x="67" y="289"/>
                    </a:moveTo>
                    <a:lnTo>
                      <a:pt x="68" y="291"/>
                    </a:lnTo>
                    <a:lnTo>
                      <a:pt x="70" y="291"/>
                    </a:lnTo>
                    <a:lnTo>
                      <a:pt x="70" y="289"/>
                    </a:lnTo>
                    <a:lnTo>
                      <a:pt x="67" y="289"/>
                    </a:lnTo>
                    <a:lnTo>
                      <a:pt x="67" y="289"/>
                    </a:lnTo>
                    <a:lnTo>
                      <a:pt x="67" y="289"/>
                    </a:lnTo>
                    <a:lnTo>
                      <a:pt x="67" y="289"/>
                    </a:lnTo>
                    <a:close/>
                    <a:moveTo>
                      <a:pt x="21" y="497"/>
                    </a:moveTo>
                    <a:lnTo>
                      <a:pt x="23" y="500"/>
                    </a:lnTo>
                    <a:lnTo>
                      <a:pt x="26" y="500"/>
                    </a:lnTo>
                    <a:lnTo>
                      <a:pt x="29" y="495"/>
                    </a:lnTo>
                    <a:lnTo>
                      <a:pt x="28" y="494"/>
                    </a:lnTo>
                    <a:lnTo>
                      <a:pt x="24" y="497"/>
                    </a:lnTo>
                    <a:lnTo>
                      <a:pt x="23" y="497"/>
                    </a:lnTo>
                    <a:lnTo>
                      <a:pt x="21" y="497"/>
                    </a:lnTo>
                    <a:lnTo>
                      <a:pt x="21" y="497"/>
                    </a:lnTo>
                    <a:close/>
                    <a:moveTo>
                      <a:pt x="0" y="435"/>
                    </a:moveTo>
                    <a:lnTo>
                      <a:pt x="6" y="428"/>
                    </a:lnTo>
                    <a:lnTo>
                      <a:pt x="8" y="428"/>
                    </a:lnTo>
                    <a:lnTo>
                      <a:pt x="8" y="430"/>
                    </a:lnTo>
                    <a:lnTo>
                      <a:pt x="6" y="433"/>
                    </a:lnTo>
                    <a:lnTo>
                      <a:pt x="8" y="436"/>
                    </a:lnTo>
                    <a:lnTo>
                      <a:pt x="6" y="438"/>
                    </a:lnTo>
                    <a:lnTo>
                      <a:pt x="3" y="436"/>
                    </a:lnTo>
                    <a:lnTo>
                      <a:pt x="2" y="438"/>
                    </a:lnTo>
                    <a:lnTo>
                      <a:pt x="0" y="435"/>
                    </a:lnTo>
                    <a:lnTo>
                      <a:pt x="0" y="435"/>
                    </a:lnTo>
                    <a:close/>
                    <a:moveTo>
                      <a:pt x="271" y="70"/>
                    </a:moveTo>
                    <a:lnTo>
                      <a:pt x="273" y="70"/>
                    </a:lnTo>
                    <a:lnTo>
                      <a:pt x="273" y="72"/>
                    </a:lnTo>
                    <a:lnTo>
                      <a:pt x="271" y="72"/>
                    </a:lnTo>
                    <a:lnTo>
                      <a:pt x="271" y="70"/>
                    </a:lnTo>
                    <a:lnTo>
                      <a:pt x="271" y="70"/>
                    </a:lnTo>
                    <a:close/>
                    <a:moveTo>
                      <a:pt x="276" y="57"/>
                    </a:moveTo>
                    <a:lnTo>
                      <a:pt x="274" y="56"/>
                    </a:lnTo>
                    <a:lnTo>
                      <a:pt x="276" y="56"/>
                    </a:lnTo>
                    <a:lnTo>
                      <a:pt x="276" y="57"/>
                    </a:lnTo>
                    <a:lnTo>
                      <a:pt x="276" y="57"/>
                    </a:lnTo>
                    <a:close/>
                    <a:moveTo>
                      <a:pt x="281" y="59"/>
                    </a:moveTo>
                    <a:lnTo>
                      <a:pt x="279" y="56"/>
                    </a:lnTo>
                    <a:lnTo>
                      <a:pt x="281" y="52"/>
                    </a:lnTo>
                    <a:lnTo>
                      <a:pt x="281" y="54"/>
                    </a:lnTo>
                    <a:lnTo>
                      <a:pt x="281" y="56"/>
                    </a:lnTo>
                    <a:lnTo>
                      <a:pt x="281" y="56"/>
                    </a:lnTo>
                    <a:lnTo>
                      <a:pt x="281" y="57"/>
                    </a:lnTo>
                    <a:lnTo>
                      <a:pt x="281" y="59"/>
                    </a:lnTo>
                    <a:lnTo>
                      <a:pt x="281" y="59"/>
                    </a:lnTo>
                    <a:close/>
                    <a:moveTo>
                      <a:pt x="229" y="185"/>
                    </a:moveTo>
                    <a:lnTo>
                      <a:pt x="232" y="186"/>
                    </a:lnTo>
                    <a:lnTo>
                      <a:pt x="233" y="185"/>
                    </a:lnTo>
                    <a:lnTo>
                      <a:pt x="235" y="185"/>
                    </a:lnTo>
                    <a:lnTo>
                      <a:pt x="235" y="186"/>
                    </a:lnTo>
                    <a:lnTo>
                      <a:pt x="233" y="188"/>
                    </a:lnTo>
                    <a:lnTo>
                      <a:pt x="235" y="188"/>
                    </a:lnTo>
                    <a:lnTo>
                      <a:pt x="237" y="188"/>
                    </a:lnTo>
                    <a:lnTo>
                      <a:pt x="237" y="190"/>
                    </a:lnTo>
                    <a:lnTo>
                      <a:pt x="237" y="191"/>
                    </a:lnTo>
                    <a:lnTo>
                      <a:pt x="238" y="193"/>
                    </a:lnTo>
                    <a:lnTo>
                      <a:pt x="240" y="193"/>
                    </a:lnTo>
                    <a:lnTo>
                      <a:pt x="246" y="188"/>
                    </a:lnTo>
                    <a:lnTo>
                      <a:pt x="251" y="185"/>
                    </a:lnTo>
                    <a:lnTo>
                      <a:pt x="256" y="178"/>
                    </a:lnTo>
                    <a:lnTo>
                      <a:pt x="260" y="173"/>
                    </a:lnTo>
                    <a:lnTo>
                      <a:pt x="266" y="167"/>
                    </a:lnTo>
                    <a:lnTo>
                      <a:pt x="268" y="165"/>
                    </a:lnTo>
                    <a:lnTo>
                      <a:pt x="271" y="165"/>
                    </a:lnTo>
                    <a:lnTo>
                      <a:pt x="271" y="163"/>
                    </a:lnTo>
                    <a:lnTo>
                      <a:pt x="271" y="160"/>
                    </a:lnTo>
                    <a:lnTo>
                      <a:pt x="273" y="159"/>
                    </a:lnTo>
                    <a:lnTo>
                      <a:pt x="276" y="157"/>
                    </a:lnTo>
                    <a:lnTo>
                      <a:pt x="278" y="152"/>
                    </a:lnTo>
                    <a:lnTo>
                      <a:pt x="281" y="147"/>
                    </a:lnTo>
                    <a:lnTo>
                      <a:pt x="281" y="146"/>
                    </a:lnTo>
                    <a:lnTo>
                      <a:pt x="282" y="144"/>
                    </a:lnTo>
                    <a:lnTo>
                      <a:pt x="281" y="141"/>
                    </a:lnTo>
                    <a:lnTo>
                      <a:pt x="278" y="141"/>
                    </a:lnTo>
                    <a:lnTo>
                      <a:pt x="276" y="141"/>
                    </a:lnTo>
                    <a:lnTo>
                      <a:pt x="278" y="139"/>
                    </a:lnTo>
                    <a:lnTo>
                      <a:pt x="279" y="139"/>
                    </a:lnTo>
                    <a:lnTo>
                      <a:pt x="287" y="131"/>
                    </a:lnTo>
                    <a:lnTo>
                      <a:pt x="291" y="129"/>
                    </a:lnTo>
                    <a:lnTo>
                      <a:pt x="295" y="131"/>
                    </a:lnTo>
                    <a:lnTo>
                      <a:pt x="297" y="131"/>
                    </a:lnTo>
                    <a:lnTo>
                      <a:pt x="297" y="132"/>
                    </a:lnTo>
                    <a:lnTo>
                      <a:pt x="297" y="136"/>
                    </a:lnTo>
                    <a:lnTo>
                      <a:pt x="300" y="132"/>
                    </a:lnTo>
                    <a:lnTo>
                      <a:pt x="302" y="131"/>
                    </a:lnTo>
                    <a:lnTo>
                      <a:pt x="299" y="129"/>
                    </a:lnTo>
                    <a:lnTo>
                      <a:pt x="299" y="128"/>
                    </a:lnTo>
                    <a:lnTo>
                      <a:pt x="300" y="121"/>
                    </a:lnTo>
                    <a:lnTo>
                      <a:pt x="302" y="119"/>
                    </a:lnTo>
                    <a:lnTo>
                      <a:pt x="305" y="119"/>
                    </a:lnTo>
                    <a:lnTo>
                      <a:pt x="305" y="121"/>
                    </a:lnTo>
                    <a:lnTo>
                      <a:pt x="307" y="119"/>
                    </a:lnTo>
                    <a:lnTo>
                      <a:pt x="309" y="118"/>
                    </a:lnTo>
                    <a:lnTo>
                      <a:pt x="313" y="110"/>
                    </a:lnTo>
                    <a:lnTo>
                      <a:pt x="313" y="108"/>
                    </a:lnTo>
                    <a:lnTo>
                      <a:pt x="313" y="106"/>
                    </a:lnTo>
                    <a:lnTo>
                      <a:pt x="313" y="101"/>
                    </a:lnTo>
                    <a:lnTo>
                      <a:pt x="317" y="100"/>
                    </a:lnTo>
                    <a:lnTo>
                      <a:pt x="320" y="98"/>
                    </a:lnTo>
                    <a:lnTo>
                      <a:pt x="318" y="97"/>
                    </a:lnTo>
                    <a:lnTo>
                      <a:pt x="315" y="95"/>
                    </a:lnTo>
                    <a:lnTo>
                      <a:pt x="313" y="93"/>
                    </a:lnTo>
                    <a:lnTo>
                      <a:pt x="315" y="93"/>
                    </a:lnTo>
                    <a:lnTo>
                      <a:pt x="315" y="92"/>
                    </a:lnTo>
                    <a:lnTo>
                      <a:pt x="312" y="92"/>
                    </a:lnTo>
                    <a:lnTo>
                      <a:pt x="309" y="93"/>
                    </a:lnTo>
                    <a:lnTo>
                      <a:pt x="302" y="100"/>
                    </a:lnTo>
                    <a:lnTo>
                      <a:pt x="299" y="100"/>
                    </a:lnTo>
                    <a:lnTo>
                      <a:pt x="297" y="101"/>
                    </a:lnTo>
                    <a:lnTo>
                      <a:pt x="294" y="100"/>
                    </a:lnTo>
                    <a:lnTo>
                      <a:pt x="287" y="93"/>
                    </a:lnTo>
                    <a:lnTo>
                      <a:pt x="286" y="93"/>
                    </a:lnTo>
                    <a:lnTo>
                      <a:pt x="282" y="90"/>
                    </a:lnTo>
                    <a:lnTo>
                      <a:pt x="282" y="88"/>
                    </a:lnTo>
                    <a:lnTo>
                      <a:pt x="284" y="87"/>
                    </a:lnTo>
                    <a:lnTo>
                      <a:pt x="284" y="82"/>
                    </a:lnTo>
                    <a:lnTo>
                      <a:pt x="282" y="77"/>
                    </a:lnTo>
                    <a:lnTo>
                      <a:pt x="282" y="75"/>
                    </a:lnTo>
                    <a:lnTo>
                      <a:pt x="281" y="74"/>
                    </a:lnTo>
                    <a:lnTo>
                      <a:pt x="281" y="70"/>
                    </a:lnTo>
                    <a:lnTo>
                      <a:pt x="282" y="67"/>
                    </a:lnTo>
                    <a:lnTo>
                      <a:pt x="281" y="67"/>
                    </a:lnTo>
                    <a:lnTo>
                      <a:pt x="281" y="64"/>
                    </a:lnTo>
                    <a:lnTo>
                      <a:pt x="279" y="62"/>
                    </a:lnTo>
                    <a:lnTo>
                      <a:pt x="278" y="62"/>
                    </a:lnTo>
                    <a:lnTo>
                      <a:pt x="276" y="61"/>
                    </a:lnTo>
                    <a:lnTo>
                      <a:pt x="274" y="62"/>
                    </a:lnTo>
                    <a:lnTo>
                      <a:pt x="278" y="65"/>
                    </a:lnTo>
                    <a:lnTo>
                      <a:pt x="278" y="67"/>
                    </a:lnTo>
                    <a:lnTo>
                      <a:pt x="278" y="69"/>
                    </a:lnTo>
                    <a:lnTo>
                      <a:pt x="274" y="72"/>
                    </a:lnTo>
                    <a:lnTo>
                      <a:pt x="276" y="74"/>
                    </a:lnTo>
                    <a:lnTo>
                      <a:pt x="278" y="77"/>
                    </a:lnTo>
                    <a:lnTo>
                      <a:pt x="278" y="79"/>
                    </a:lnTo>
                    <a:lnTo>
                      <a:pt x="274" y="79"/>
                    </a:lnTo>
                    <a:lnTo>
                      <a:pt x="273" y="77"/>
                    </a:lnTo>
                    <a:lnTo>
                      <a:pt x="273" y="74"/>
                    </a:lnTo>
                    <a:lnTo>
                      <a:pt x="269" y="74"/>
                    </a:lnTo>
                    <a:lnTo>
                      <a:pt x="269" y="72"/>
                    </a:lnTo>
                    <a:lnTo>
                      <a:pt x="266" y="70"/>
                    </a:lnTo>
                    <a:lnTo>
                      <a:pt x="264" y="72"/>
                    </a:lnTo>
                    <a:lnTo>
                      <a:pt x="264" y="70"/>
                    </a:lnTo>
                    <a:lnTo>
                      <a:pt x="268" y="69"/>
                    </a:lnTo>
                    <a:lnTo>
                      <a:pt x="268" y="65"/>
                    </a:lnTo>
                    <a:lnTo>
                      <a:pt x="266" y="64"/>
                    </a:lnTo>
                    <a:lnTo>
                      <a:pt x="268" y="61"/>
                    </a:lnTo>
                    <a:lnTo>
                      <a:pt x="269" y="61"/>
                    </a:lnTo>
                    <a:lnTo>
                      <a:pt x="271" y="57"/>
                    </a:lnTo>
                    <a:lnTo>
                      <a:pt x="269" y="54"/>
                    </a:lnTo>
                    <a:lnTo>
                      <a:pt x="269" y="52"/>
                    </a:lnTo>
                    <a:lnTo>
                      <a:pt x="269" y="49"/>
                    </a:lnTo>
                    <a:lnTo>
                      <a:pt x="269" y="46"/>
                    </a:lnTo>
                    <a:lnTo>
                      <a:pt x="266" y="44"/>
                    </a:lnTo>
                    <a:lnTo>
                      <a:pt x="266" y="43"/>
                    </a:lnTo>
                    <a:lnTo>
                      <a:pt x="268" y="43"/>
                    </a:lnTo>
                    <a:lnTo>
                      <a:pt x="271" y="43"/>
                    </a:lnTo>
                    <a:lnTo>
                      <a:pt x="271" y="39"/>
                    </a:lnTo>
                    <a:lnTo>
                      <a:pt x="273" y="38"/>
                    </a:lnTo>
                    <a:lnTo>
                      <a:pt x="273" y="33"/>
                    </a:lnTo>
                    <a:lnTo>
                      <a:pt x="271" y="30"/>
                    </a:lnTo>
                    <a:lnTo>
                      <a:pt x="273" y="26"/>
                    </a:lnTo>
                    <a:lnTo>
                      <a:pt x="271" y="26"/>
                    </a:lnTo>
                    <a:lnTo>
                      <a:pt x="266" y="28"/>
                    </a:lnTo>
                    <a:lnTo>
                      <a:pt x="264" y="26"/>
                    </a:lnTo>
                    <a:lnTo>
                      <a:pt x="266" y="25"/>
                    </a:lnTo>
                    <a:lnTo>
                      <a:pt x="264" y="23"/>
                    </a:lnTo>
                    <a:lnTo>
                      <a:pt x="263" y="23"/>
                    </a:lnTo>
                    <a:lnTo>
                      <a:pt x="264" y="20"/>
                    </a:lnTo>
                    <a:lnTo>
                      <a:pt x="266" y="20"/>
                    </a:lnTo>
                    <a:lnTo>
                      <a:pt x="266" y="18"/>
                    </a:lnTo>
                    <a:lnTo>
                      <a:pt x="263" y="16"/>
                    </a:lnTo>
                    <a:lnTo>
                      <a:pt x="261" y="15"/>
                    </a:lnTo>
                    <a:lnTo>
                      <a:pt x="260" y="16"/>
                    </a:lnTo>
                    <a:lnTo>
                      <a:pt x="258" y="13"/>
                    </a:lnTo>
                    <a:lnTo>
                      <a:pt x="260" y="13"/>
                    </a:lnTo>
                    <a:lnTo>
                      <a:pt x="261" y="12"/>
                    </a:lnTo>
                    <a:lnTo>
                      <a:pt x="260" y="12"/>
                    </a:lnTo>
                    <a:lnTo>
                      <a:pt x="258" y="12"/>
                    </a:lnTo>
                    <a:lnTo>
                      <a:pt x="258" y="13"/>
                    </a:lnTo>
                    <a:lnTo>
                      <a:pt x="256" y="16"/>
                    </a:lnTo>
                    <a:lnTo>
                      <a:pt x="255" y="15"/>
                    </a:lnTo>
                    <a:lnTo>
                      <a:pt x="255" y="13"/>
                    </a:lnTo>
                    <a:lnTo>
                      <a:pt x="255" y="10"/>
                    </a:lnTo>
                    <a:lnTo>
                      <a:pt x="253" y="7"/>
                    </a:lnTo>
                    <a:lnTo>
                      <a:pt x="253" y="3"/>
                    </a:lnTo>
                    <a:lnTo>
                      <a:pt x="253" y="2"/>
                    </a:lnTo>
                    <a:lnTo>
                      <a:pt x="255" y="2"/>
                    </a:lnTo>
                    <a:lnTo>
                      <a:pt x="253" y="0"/>
                    </a:lnTo>
                    <a:lnTo>
                      <a:pt x="251" y="2"/>
                    </a:lnTo>
                    <a:lnTo>
                      <a:pt x="246" y="2"/>
                    </a:lnTo>
                    <a:lnTo>
                      <a:pt x="246" y="2"/>
                    </a:lnTo>
                    <a:lnTo>
                      <a:pt x="248" y="5"/>
                    </a:lnTo>
                    <a:lnTo>
                      <a:pt x="251" y="13"/>
                    </a:lnTo>
                    <a:lnTo>
                      <a:pt x="253" y="16"/>
                    </a:lnTo>
                    <a:lnTo>
                      <a:pt x="251" y="21"/>
                    </a:lnTo>
                    <a:lnTo>
                      <a:pt x="251" y="23"/>
                    </a:lnTo>
                    <a:lnTo>
                      <a:pt x="250" y="23"/>
                    </a:lnTo>
                    <a:lnTo>
                      <a:pt x="250" y="23"/>
                    </a:lnTo>
                    <a:lnTo>
                      <a:pt x="251" y="30"/>
                    </a:lnTo>
                    <a:lnTo>
                      <a:pt x="251" y="31"/>
                    </a:lnTo>
                    <a:lnTo>
                      <a:pt x="255" y="30"/>
                    </a:lnTo>
                    <a:lnTo>
                      <a:pt x="258" y="30"/>
                    </a:lnTo>
                    <a:lnTo>
                      <a:pt x="255" y="30"/>
                    </a:lnTo>
                    <a:lnTo>
                      <a:pt x="253" y="33"/>
                    </a:lnTo>
                    <a:lnTo>
                      <a:pt x="253" y="36"/>
                    </a:lnTo>
                    <a:lnTo>
                      <a:pt x="256" y="41"/>
                    </a:lnTo>
                    <a:lnTo>
                      <a:pt x="256" y="49"/>
                    </a:lnTo>
                    <a:lnTo>
                      <a:pt x="256" y="54"/>
                    </a:lnTo>
                    <a:lnTo>
                      <a:pt x="256" y="57"/>
                    </a:lnTo>
                    <a:lnTo>
                      <a:pt x="258" y="57"/>
                    </a:lnTo>
                    <a:lnTo>
                      <a:pt x="260" y="54"/>
                    </a:lnTo>
                    <a:lnTo>
                      <a:pt x="258" y="52"/>
                    </a:lnTo>
                    <a:lnTo>
                      <a:pt x="260" y="51"/>
                    </a:lnTo>
                    <a:lnTo>
                      <a:pt x="260" y="52"/>
                    </a:lnTo>
                    <a:lnTo>
                      <a:pt x="260" y="56"/>
                    </a:lnTo>
                    <a:lnTo>
                      <a:pt x="261" y="56"/>
                    </a:lnTo>
                    <a:lnTo>
                      <a:pt x="263" y="54"/>
                    </a:lnTo>
                    <a:lnTo>
                      <a:pt x="261" y="52"/>
                    </a:lnTo>
                    <a:lnTo>
                      <a:pt x="263" y="52"/>
                    </a:lnTo>
                    <a:lnTo>
                      <a:pt x="263" y="56"/>
                    </a:lnTo>
                    <a:lnTo>
                      <a:pt x="261" y="59"/>
                    </a:lnTo>
                    <a:lnTo>
                      <a:pt x="261" y="61"/>
                    </a:lnTo>
                    <a:lnTo>
                      <a:pt x="260" y="62"/>
                    </a:lnTo>
                    <a:lnTo>
                      <a:pt x="260" y="62"/>
                    </a:lnTo>
                    <a:lnTo>
                      <a:pt x="258" y="61"/>
                    </a:lnTo>
                    <a:lnTo>
                      <a:pt x="256" y="61"/>
                    </a:lnTo>
                    <a:lnTo>
                      <a:pt x="258" y="65"/>
                    </a:lnTo>
                    <a:lnTo>
                      <a:pt x="260" y="72"/>
                    </a:lnTo>
                    <a:lnTo>
                      <a:pt x="261" y="72"/>
                    </a:lnTo>
                    <a:lnTo>
                      <a:pt x="261" y="72"/>
                    </a:lnTo>
                    <a:lnTo>
                      <a:pt x="263" y="74"/>
                    </a:lnTo>
                    <a:lnTo>
                      <a:pt x="263" y="75"/>
                    </a:lnTo>
                    <a:lnTo>
                      <a:pt x="264" y="77"/>
                    </a:lnTo>
                    <a:lnTo>
                      <a:pt x="261" y="79"/>
                    </a:lnTo>
                    <a:lnTo>
                      <a:pt x="261" y="80"/>
                    </a:lnTo>
                    <a:lnTo>
                      <a:pt x="263" y="82"/>
                    </a:lnTo>
                    <a:lnTo>
                      <a:pt x="261" y="83"/>
                    </a:lnTo>
                    <a:lnTo>
                      <a:pt x="260" y="88"/>
                    </a:lnTo>
                    <a:lnTo>
                      <a:pt x="260" y="92"/>
                    </a:lnTo>
                    <a:lnTo>
                      <a:pt x="260" y="93"/>
                    </a:lnTo>
                    <a:lnTo>
                      <a:pt x="261" y="95"/>
                    </a:lnTo>
                    <a:lnTo>
                      <a:pt x="260" y="95"/>
                    </a:lnTo>
                    <a:lnTo>
                      <a:pt x="258" y="97"/>
                    </a:lnTo>
                    <a:lnTo>
                      <a:pt x="256" y="98"/>
                    </a:lnTo>
                    <a:lnTo>
                      <a:pt x="256" y="100"/>
                    </a:lnTo>
                    <a:lnTo>
                      <a:pt x="258" y="101"/>
                    </a:lnTo>
                    <a:lnTo>
                      <a:pt x="256" y="103"/>
                    </a:lnTo>
                    <a:lnTo>
                      <a:pt x="255" y="103"/>
                    </a:lnTo>
                    <a:lnTo>
                      <a:pt x="253" y="106"/>
                    </a:lnTo>
                    <a:lnTo>
                      <a:pt x="251" y="118"/>
                    </a:lnTo>
                    <a:lnTo>
                      <a:pt x="250" y="121"/>
                    </a:lnTo>
                    <a:lnTo>
                      <a:pt x="248" y="123"/>
                    </a:lnTo>
                    <a:lnTo>
                      <a:pt x="246" y="123"/>
                    </a:lnTo>
                    <a:lnTo>
                      <a:pt x="243" y="121"/>
                    </a:lnTo>
                    <a:lnTo>
                      <a:pt x="240" y="121"/>
                    </a:lnTo>
                    <a:lnTo>
                      <a:pt x="235" y="124"/>
                    </a:lnTo>
                    <a:lnTo>
                      <a:pt x="232" y="128"/>
                    </a:lnTo>
                    <a:lnTo>
                      <a:pt x="230" y="131"/>
                    </a:lnTo>
                    <a:lnTo>
                      <a:pt x="232" y="136"/>
                    </a:lnTo>
                    <a:lnTo>
                      <a:pt x="233" y="139"/>
                    </a:lnTo>
                    <a:lnTo>
                      <a:pt x="238" y="142"/>
                    </a:lnTo>
                    <a:lnTo>
                      <a:pt x="242" y="146"/>
                    </a:lnTo>
                    <a:lnTo>
                      <a:pt x="245" y="147"/>
                    </a:lnTo>
                    <a:lnTo>
                      <a:pt x="246" y="149"/>
                    </a:lnTo>
                    <a:lnTo>
                      <a:pt x="248" y="155"/>
                    </a:lnTo>
                    <a:lnTo>
                      <a:pt x="248" y="157"/>
                    </a:lnTo>
                    <a:lnTo>
                      <a:pt x="246" y="157"/>
                    </a:lnTo>
                    <a:lnTo>
                      <a:pt x="246" y="162"/>
                    </a:lnTo>
                    <a:lnTo>
                      <a:pt x="245" y="165"/>
                    </a:lnTo>
                    <a:lnTo>
                      <a:pt x="240" y="172"/>
                    </a:lnTo>
                    <a:lnTo>
                      <a:pt x="235" y="177"/>
                    </a:lnTo>
                    <a:lnTo>
                      <a:pt x="230" y="181"/>
                    </a:lnTo>
                    <a:lnTo>
                      <a:pt x="229" y="183"/>
                    </a:lnTo>
                    <a:lnTo>
                      <a:pt x="229" y="185"/>
                    </a:lnTo>
                    <a:lnTo>
                      <a:pt x="229" y="185"/>
                    </a:lnTo>
                    <a:close/>
                    <a:moveTo>
                      <a:pt x="219" y="173"/>
                    </a:moveTo>
                    <a:lnTo>
                      <a:pt x="219" y="170"/>
                    </a:lnTo>
                    <a:lnTo>
                      <a:pt x="220" y="168"/>
                    </a:lnTo>
                    <a:lnTo>
                      <a:pt x="224" y="168"/>
                    </a:lnTo>
                    <a:lnTo>
                      <a:pt x="222" y="170"/>
                    </a:lnTo>
                    <a:lnTo>
                      <a:pt x="220" y="172"/>
                    </a:lnTo>
                    <a:lnTo>
                      <a:pt x="219" y="173"/>
                    </a:lnTo>
                    <a:lnTo>
                      <a:pt x="219" y="173"/>
                    </a:lnTo>
                    <a:lnTo>
                      <a:pt x="219" y="173"/>
                    </a:lnTo>
                    <a:lnTo>
                      <a:pt x="219" y="173"/>
                    </a:lnTo>
                    <a:close/>
                    <a:moveTo>
                      <a:pt x="217" y="177"/>
                    </a:moveTo>
                    <a:lnTo>
                      <a:pt x="219" y="175"/>
                    </a:lnTo>
                    <a:lnTo>
                      <a:pt x="220" y="175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7" y="177"/>
                    </a:lnTo>
                    <a:close/>
                    <a:moveTo>
                      <a:pt x="215" y="177"/>
                    </a:moveTo>
                    <a:lnTo>
                      <a:pt x="217" y="177"/>
                    </a:lnTo>
                    <a:lnTo>
                      <a:pt x="219" y="175"/>
                    </a:lnTo>
                    <a:lnTo>
                      <a:pt x="219" y="175"/>
                    </a:lnTo>
                    <a:lnTo>
                      <a:pt x="215" y="177"/>
                    </a:lnTo>
                    <a:lnTo>
                      <a:pt x="215" y="177"/>
                    </a:lnTo>
                    <a:close/>
                    <a:moveTo>
                      <a:pt x="86" y="327"/>
                    </a:moveTo>
                    <a:lnTo>
                      <a:pt x="88" y="325"/>
                    </a:lnTo>
                    <a:lnTo>
                      <a:pt x="86" y="327"/>
                    </a:lnTo>
                    <a:lnTo>
                      <a:pt x="86" y="327"/>
                    </a:lnTo>
                    <a:lnTo>
                      <a:pt x="86" y="327"/>
                    </a:lnTo>
                    <a:close/>
                    <a:moveTo>
                      <a:pt x="70" y="333"/>
                    </a:moveTo>
                    <a:lnTo>
                      <a:pt x="68" y="335"/>
                    </a:lnTo>
                    <a:lnTo>
                      <a:pt x="67" y="335"/>
                    </a:lnTo>
                    <a:lnTo>
                      <a:pt x="67" y="333"/>
                    </a:lnTo>
                    <a:lnTo>
                      <a:pt x="70" y="330"/>
                    </a:lnTo>
                    <a:lnTo>
                      <a:pt x="70" y="330"/>
                    </a:lnTo>
                    <a:lnTo>
                      <a:pt x="70" y="329"/>
                    </a:lnTo>
                    <a:lnTo>
                      <a:pt x="73" y="327"/>
                    </a:lnTo>
                    <a:lnTo>
                      <a:pt x="73" y="325"/>
                    </a:lnTo>
                    <a:lnTo>
                      <a:pt x="73" y="322"/>
                    </a:lnTo>
                    <a:lnTo>
                      <a:pt x="73" y="319"/>
                    </a:lnTo>
                    <a:lnTo>
                      <a:pt x="77" y="319"/>
                    </a:lnTo>
                    <a:lnTo>
                      <a:pt x="80" y="322"/>
                    </a:lnTo>
                    <a:lnTo>
                      <a:pt x="82" y="325"/>
                    </a:lnTo>
                    <a:lnTo>
                      <a:pt x="82" y="325"/>
                    </a:lnTo>
                    <a:lnTo>
                      <a:pt x="82" y="327"/>
                    </a:lnTo>
                    <a:lnTo>
                      <a:pt x="80" y="327"/>
                    </a:lnTo>
                    <a:lnTo>
                      <a:pt x="78" y="325"/>
                    </a:lnTo>
                    <a:lnTo>
                      <a:pt x="77" y="327"/>
                    </a:lnTo>
                    <a:lnTo>
                      <a:pt x="78" y="327"/>
                    </a:lnTo>
                    <a:lnTo>
                      <a:pt x="80" y="329"/>
                    </a:lnTo>
                    <a:lnTo>
                      <a:pt x="82" y="329"/>
                    </a:lnTo>
                    <a:lnTo>
                      <a:pt x="82" y="330"/>
                    </a:lnTo>
                    <a:lnTo>
                      <a:pt x="80" y="332"/>
                    </a:lnTo>
                    <a:lnTo>
                      <a:pt x="80" y="330"/>
                    </a:lnTo>
                    <a:lnTo>
                      <a:pt x="77" y="332"/>
                    </a:lnTo>
                    <a:lnTo>
                      <a:pt x="75" y="333"/>
                    </a:lnTo>
                    <a:lnTo>
                      <a:pt x="73" y="333"/>
                    </a:lnTo>
                    <a:lnTo>
                      <a:pt x="72" y="332"/>
                    </a:lnTo>
                    <a:lnTo>
                      <a:pt x="70" y="333"/>
                    </a:lnTo>
                    <a:lnTo>
                      <a:pt x="70" y="333"/>
                    </a:lnTo>
                    <a:close/>
                    <a:moveTo>
                      <a:pt x="68" y="306"/>
                    </a:moveTo>
                    <a:lnTo>
                      <a:pt x="67" y="302"/>
                    </a:lnTo>
                    <a:lnTo>
                      <a:pt x="67" y="301"/>
                    </a:lnTo>
                    <a:lnTo>
                      <a:pt x="68" y="299"/>
                    </a:lnTo>
                    <a:lnTo>
                      <a:pt x="67" y="299"/>
                    </a:lnTo>
                    <a:lnTo>
                      <a:pt x="65" y="297"/>
                    </a:lnTo>
                    <a:lnTo>
                      <a:pt x="68" y="294"/>
                    </a:lnTo>
                    <a:lnTo>
                      <a:pt x="72" y="294"/>
                    </a:lnTo>
                    <a:lnTo>
                      <a:pt x="75" y="294"/>
                    </a:lnTo>
                    <a:lnTo>
                      <a:pt x="75" y="293"/>
                    </a:lnTo>
                    <a:lnTo>
                      <a:pt x="75" y="291"/>
                    </a:lnTo>
                    <a:lnTo>
                      <a:pt x="72" y="289"/>
                    </a:lnTo>
                    <a:lnTo>
                      <a:pt x="72" y="286"/>
                    </a:lnTo>
                    <a:lnTo>
                      <a:pt x="75" y="283"/>
                    </a:lnTo>
                    <a:lnTo>
                      <a:pt x="75" y="281"/>
                    </a:lnTo>
                    <a:lnTo>
                      <a:pt x="77" y="279"/>
                    </a:lnTo>
                    <a:lnTo>
                      <a:pt x="78" y="279"/>
                    </a:lnTo>
                    <a:lnTo>
                      <a:pt x="80" y="283"/>
                    </a:lnTo>
                    <a:lnTo>
                      <a:pt x="80" y="281"/>
                    </a:lnTo>
                    <a:lnTo>
                      <a:pt x="82" y="276"/>
                    </a:lnTo>
                    <a:lnTo>
                      <a:pt x="82" y="273"/>
                    </a:lnTo>
                    <a:lnTo>
                      <a:pt x="83" y="273"/>
                    </a:lnTo>
                    <a:lnTo>
                      <a:pt x="88" y="268"/>
                    </a:lnTo>
                    <a:lnTo>
                      <a:pt x="90" y="270"/>
                    </a:lnTo>
                    <a:lnTo>
                      <a:pt x="91" y="268"/>
                    </a:lnTo>
                    <a:lnTo>
                      <a:pt x="91" y="265"/>
                    </a:lnTo>
                    <a:lnTo>
                      <a:pt x="93" y="263"/>
                    </a:lnTo>
                    <a:lnTo>
                      <a:pt x="95" y="262"/>
                    </a:lnTo>
                    <a:lnTo>
                      <a:pt x="96" y="262"/>
                    </a:lnTo>
                    <a:lnTo>
                      <a:pt x="96" y="265"/>
                    </a:lnTo>
                    <a:lnTo>
                      <a:pt x="98" y="260"/>
                    </a:lnTo>
                    <a:lnTo>
                      <a:pt x="99" y="257"/>
                    </a:lnTo>
                    <a:lnTo>
                      <a:pt x="103" y="257"/>
                    </a:lnTo>
                    <a:lnTo>
                      <a:pt x="106" y="253"/>
                    </a:lnTo>
                    <a:lnTo>
                      <a:pt x="108" y="250"/>
                    </a:lnTo>
                    <a:lnTo>
                      <a:pt x="113" y="245"/>
                    </a:lnTo>
                    <a:lnTo>
                      <a:pt x="116" y="245"/>
                    </a:lnTo>
                    <a:lnTo>
                      <a:pt x="117" y="247"/>
                    </a:lnTo>
                    <a:lnTo>
                      <a:pt x="119" y="247"/>
                    </a:lnTo>
                    <a:lnTo>
                      <a:pt x="122" y="245"/>
                    </a:lnTo>
                    <a:lnTo>
                      <a:pt x="124" y="245"/>
                    </a:lnTo>
                    <a:lnTo>
                      <a:pt x="126" y="248"/>
                    </a:lnTo>
                    <a:lnTo>
                      <a:pt x="126" y="245"/>
                    </a:lnTo>
                    <a:lnTo>
                      <a:pt x="124" y="242"/>
                    </a:lnTo>
                    <a:lnTo>
                      <a:pt x="126" y="240"/>
                    </a:lnTo>
                    <a:lnTo>
                      <a:pt x="131" y="237"/>
                    </a:lnTo>
                    <a:lnTo>
                      <a:pt x="134" y="237"/>
                    </a:lnTo>
                    <a:lnTo>
                      <a:pt x="139" y="232"/>
                    </a:lnTo>
                    <a:lnTo>
                      <a:pt x="145" y="229"/>
                    </a:lnTo>
                    <a:lnTo>
                      <a:pt x="147" y="229"/>
                    </a:lnTo>
                    <a:lnTo>
                      <a:pt x="148" y="227"/>
                    </a:lnTo>
                    <a:lnTo>
                      <a:pt x="152" y="224"/>
                    </a:lnTo>
                    <a:lnTo>
                      <a:pt x="155" y="224"/>
                    </a:lnTo>
                    <a:lnTo>
                      <a:pt x="162" y="219"/>
                    </a:lnTo>
                    <a:lnTo>
                      <a:pt x="166" y="213"/>
                    </a:lnTo>
                    <a:lnTo>
                      <a:pt x="168" y="209"/>
                    </a:lnTo>
                    <a:lnTo>
                      <a:pt x="170" y="208"/>
                    </a:lnTo>
                    <a:lnTo>
                      <a:pt x="170" y="204"/>
                    </a:lnTo>
                    <a:lnTo>
                      <a:pt x="171" y="201"/>
                    </a:lnTo>
                    <a:lnTo>
                      <a:pt x="173" y="201"/>
                    </a:lnTo>
                    <a:lnTo>
                      <a:pt x="173" y="198"/>
                    </a:lnTo>
                    <a:lnTo>
                      <a:pt x="175" y="195"/>
                    </a:lnTo>
                    <a:lnTo>
                      <a:pt x="176" y="193"/>
                    </a:lnTo>
                    <a:lnTo>
                      <a:pt x="180" y="193"/>
                    </a:lnTo>
                    <a:lnTo>
                      <a:pt x="183" y="191"/>
                    </a:lnTo>
                    <a:lnTo>
                      <a:pt x="184" y="190"/>
                    </a:lnTo>
                    <a:lnTo>
                      <a:pt x="188" y="185"/>
                    </a:lnTo>
                    <a:lnTo>
                      <a:pt x="189" y="185"/>
                    </a:lnTo>
                    <a:lnTo>
                      <a:pt x="191" y="180"/>
                    </a:lnTo>
                    <a:lnTo>
                      <a:pt x="194" y="173"/>
                    </a:lnTo>
                    <a:lnTo>
                      <a:pt x="196" y="168"/>
                    </a:lnTo>
                    <a:lnTo>
                      <a:pt x="197" y="167"/>
                    </a:lnTo>
                    <a:lnTo>
                      <a:pt x="201" y="165"/>
                    </a:lnTo>
                    <a:lnTo>
                      <a:pt x="204" y="163"/>
                    </a:lnTo>
                    <a:lnTo>
                      <a:pt x="207" y="163"/>
                    </a:lnTo>
                    <a:lnTo>
                      <a:pt x="206" y="165"/>
                    </a:lnTo>
                    <a:lnTo>
                      <a:pt x="204" y="168"/>
                    </a:lnTo>
                    <a:lnTo>
                      <a:pt x="206" y="170"/>
                    </a:lnTo>
                    <a:lnTo>
                      <a:pt x="207" y="170"/>
                    </a:lnTo>
                    <a:lnTo>
                      <a:pt x="209" y="168"/>
                    </a:lnTo>
                    <a:lnTo>
                      <a:pt x="209" y="170"/>
                    </a:lnTo>
                    <a:lnTo>
                      <a:pt x="209" y="172"/>
                    </a:lnTo>
                    <a:lnTo>
                      <a:pt x="211" y="172"/>
                    </a:lnTo>
                    <a:lnTo>
                      <a:pt x="211" y="173"/>
                    </a:lnTo>
                    <a:lnTo>
                      <a:pt x="209" y="175"/>
                    </a:lnTo>
                    <a:lnTo>
                      <a:pt x="207" y="177"/>
                    </a:lnTo>
                    <a:lnTo>
                      <a:pt x="209" y="181"/>
                    </a:lnTo>
                    <a:lnTo>
                      <a:pt x="211" y="181"/>
                    </a:lnTo>
                    <a:lnTo>
                      <a:pt x="212" y="178"/>
                    </a:lnTo>
                    <a:lnTo>
                      <a:pt x="214" y="178"/>
                    </a:lnTo>
                    <a:lnTo>
                      <a:pt x="217" y="178"/>
                    </a:lnTo>
                    <a:lnTo>
                      <a:pt x="217" y="178"/>
                    </a:lnTo>
                    <a:lnTo>
                      <a:pt x="217" y="180"/>
                    </a:lnTo>
                    <a:lnTo>
                      <a:pt x="219" y="181"/>
                    </a:lnTo>
                    <a:lnTo>
                      <a:pt x="222" y="180"/>
                    </a:lnTo>
                    <a:lnTo>
                      <a:pt x="220" y="180"/>
                    </a:lnTo>
                    <a:lnTo>
                      <a:pt x="220" y="178"/>
                    </a:lnTo>
                    <a:lnTo>
                      <a:pt x="222" y="175"/>
                    </a:lnTo>
                    <a:lnTo>
                      <a:pt x="224" y="175"/>
                    </a:lnTo>
                    <a:lnTo>
                      <a:pt x="224" y="177"/>
                    </a:lnTo>
                    <a:lnTo>
                      <a:pt x="225" y="177"/>
                    </a:lnTo>
                    <a:lnTo>
                      <a:pt x="224" y="180"/>
                    </a:lnTo>
                    <a:lnTo>
                      <a:pt x="220" y="183"/>
                    </a:lnTo>
                    <a:lnTo>
                      <a:pt x="222" y="181"/>
                    </a:lnTo>
                    <a:lnTo>
                      <a:pt x="225" y="181"/>
                    </a:lnTo>
                    <a:lnTo>
                      <a:pt x="222" y="185"/>
                    </a:lnTo>
                    <a:lnTo>
                      <a:pt x="220" y="185"/>
                    </a:lnTo>
                    <a:lnTo>
                      <a:pt x="220" y="188"/>
                    </a:lnTo>
                    <a:lnTo>
                      <a:pt x="219" y="191"/>
                    </a:lnTo>
                    <a:lnTo>
                      <a:pt x="220" y="195"/>
                    </a:lnTo>
                    <a:lnTo>
                      <a:pt x="220" y="196"/>
                    </a:lnTo>
                    <a:lnTo>
                      <a:pt x="222" y="198"/>
                    </a:lnTo>
                    <a:lnTo>
                      <a:pt x="220" y="199"/>
                    </a:lnTo>
                    <a:lnTo>
                      <a:pt x="212" y="206"/>
                    </a:lnTo>
                    <a:lnTo>
                      <a:pt x="211" y="208"/>
                    </a:lnTo>
                    <a:lnTo>
                      <a:pt x="206" y="214"/>
                    </a:lnTo>
                    <a:lnTo>
                      <a:pt x="206" y="216"/>
                    </a:lnTo>
                    <a:lnTo>
                      <a:pt x="204" y="216"/>
                    </a:lnTo>
                    <a:lnTo>
                      <a:pt x="201" y="219"/>
                    </a:lnTo>
                    <a:lnTo>
                      <a:pt x="199" y="222"/>
                    </a:lnTo>
                    <a:lnTo>
                      <a:pt x="196" y="226"/>
                    </a:lnTo>
                    <a:lnTo>
                      <a:pt x="196" y="227"/>
                    </a:lnTo>
                    <a:lnTo>
                      <a:pt x="191" y="230"/>
                    </a:lnTo>
                    <a:lnTo>
                      <a:pt x="186" y="232"/>
                    </a:lnTo>
                    <a:lnTo>
                      <a:pt x="184" y="234"/>
                    </a:lnTo>
                    <a:lnTo>
                      <a:pt x="183" y="239"/>
                    </a:lnTo>
                    <a:lnTo>
                      <a:pt x="183" y="242"/>
                    </a:lnTo>
                    <a:lnTo>
                      <a:pt x="183" y="244"/>
                    </a:lnTo>
                    <a:lnTo>
                      <a:pt x="184" y="244"/>
                    </a:lnTo>
                    <a:lnTo>
                      <a:pt x="186" y="247"/>
                    </a:lnTo>
                    <a:lnTo>
                      <a:pt x="186" y="250"/>
                    </a:lnTo>
                    <a:lnTo>
                      <a:pt x="184" y="252"/>
                    </a:lnTo>
                    <a:lnTo>
                      <a:pt x="183" y="252"/>
                    </a:lnTo>
                    <a:lnTo>
                      <a:pt x="183" y="248"/>
                    </a:lnTo>
                    <a:lnTo>
                      <a:pt x="183" y="247"/>
                    </a:lnTo>
                    <a:lnTo>
                      <a:pt x="181" y="248"/>
                    </a:lnTo>
                    <a:lnTo>
                      <a:pt x="181" y="250"/>
                    </a:lnTo>
                    <a:lnTo>
                      <a:pt x="181" y="252"/>
                    </a:lnTo>
                    <a:lnTo>
                      <a:pt x="178" y="250"/>
                    </a:lnTo>
                    <a:lnTo>
                      <a:pt x="175" y="250"/>
                    </a:lnTo>
                    <a:lnTo>
                      <a:pt x="178" y="250"/>
                    </a:lnTo>
                    <a:lnTo>
                      <a:pt x="178" y="248"/>
                    </a:lnTo>
                    <a:lnTo>
                      <a:pt x="176" y="247"/>
                    </a:lnTo>
                    <a:lnTo>
                      <a:pt x="175" y="248"/>
                    </a:lnTo>
                    <a:lnTo>
                      <a:pt x="173" y="250"/>
                    </a:lnTo>
                    <a:lnTo>
                      <a:pt x="171" y="252"/>
                    </a:lnTo>
                    <a:lnTo>
                      <a:pt x="171" y="250"/>
                    </a:lnTo>
                    <a:lnTo>
                      <a:pt x="170" y="247"/>
                    </a:lnTo>
                    <a:lnTo>
                      <a:pt x="166" y="247"/>
                    </a:lnTo>
                    <a:lnTo>
                      <a:pt x="170" y="248"/>
                    </a:lnTo>
                    <a:lnTo>
                      <a:pt x="170" y="252"/>
                    </a:lnTo>
                    <a:lnTo>
                      <a:pt x="166" y="253"/>
                    </a:lnTo>
                    <a:lnTo>
                      <a:pt x="165" y="253"/>
                    </a:lnTo>
                    <a:lnTo>
                      <a:pt x="163" y="255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58" y="255"/>
                    </a:lnTo>
                    <a:lnTo>
                      <a:pt x="157" y="258"/>
                    </a:lnTo>
                    <a:lnTo>
                      <a:pt x="155" y="258"/>
                    </a:lnTo>
                    <a:lnTo>
                      <a:pt x="152" y="262"/>
                    </a:lnTo>
                    <a:lnTo>
                      <a:pt x="152" y="265"/>
                    </a:lnTo>
                    <a:lnTo>
                      <a:pt x="150" y="268"/>
                    </a:lnTo>
                    <a:lnTo>
                      <a:pt x="147" y="273"/>
                    </a:lnTo>
                    <a:lnTo>
                      <a:pt x="147" y="276"/>
                    </a:lnTo>
                    <a:lnTo>
                      <a:pt x="145" y="279"/>
                    </a:lnTo>
                    <a:lnTo>
                      <a:pt x="139" y="284"/>
                    </a:lnTo>
                    <a:lnTo>
                      <a:pt x="135" y="286"/>
                    </a:lnTo>
                    <a:lnTo>
                      <a:pt x="135" y="291"/>
                    </a:lnTo>
                    <a:lnTo>
                      <a:pt x="132" y="296"/>
                    </a:lnTo>
                    <a:lnTo>
                      <a:pt x="129" y="301"/>
                    </a:lnTo>
                    <a:lnTo>
                      <a:pt x="129" y="301"/>
                    </a:lnTo>
                    <a:lnTo>
                      <a:pt x="129" y="302"/>
                    </a:lnTo>
                    <a:lnTo>
                      <a:pt x="127" y="302"/>
                    </a:lnTo>
                    <a:lnTo>
                      <a:pt x="131" y="302"/>
                    </a:lnTo>
                    <a:lnTo>
                      <a:pt x="131" y="302"/>
                    </a:lnTo>
                    <a:lnTo>
                      <a:pt x="129" y="304"/>
                    </a:lnTo>
                    <a:lnTo>
                      <a:pt x="126" y="304"/>
                    </a:lnTo>
                    <a:lnTo>
                      <a:pt x="121" y="306"/>
                    </a:lnTo>
                    <a:lnTo>
                      <a:pt x="119" y="309"/>
                    </a:lnTo>
                    <a:lnTo>
                      <a:pt x="117" y="312"/>
                    </a:lnTo>
                    <a:lnTo>
                      <a:pt x="114" y="314"/>
                    </a:lnTo>
                    <a:lnTo>
                      <a:pt x="114" y="312"/>
                    </a:lnTo>
                    <a:lnTo>
                      <a:pt x="113" y="311"/>
                    </a:lnTo>
                    <a:lnTo>
                      <a:pt x="113" y="314"/>
                    </a:lnTo>
                    <a:lnTo>
                      <a:pt x="113" y="315"/>
                    </a:lnTo>
                    <a:lnTo>
                      <a:pt x="109" y="315"/>
                    </a:lnTo>
                    <a:lnTo>
                      <a:pt x="104" y="320"/>
                    </a:lnTo>
                    <a:lnTo>
                      <a:pt x="99" y="322"/>
                    </a:lnTo>
                    <a:lnTo>
                      <a:pt x="96" y="324"/>
                    </a:lnTo>
                    <a:lnTo>
                      <a:pt x="93" y="322"/>
                    </a:lnTo>
                    <a:lnTo>
                      <a:pt x="93" y="320"/>
                    </a:lnTo>
                    <a:lnTo>
                      <a:pt x="90" y="322"/>
                    </a:lnTo>
                    <a:lnTo>
                      <a:pt x="88" y="322"/>
                    </a:lnTo>
                    <a:lnTo>
                      <a:pt x="91" y="320"/>
                    </a:lnTo>
                    <a:lnTo>
                      <a:pt x="88" y="319"/>
                    </a:lnTo>
                    <a:lnTo>
                      <a:pt x="85" y="315"/>
                    </a:lnTo>
                    <a:lnTo>
                      <a:pt x="85" y="314"/>
                    </a:lnTo>
                    <a:lnTo>
                      <a:pt x="85" y="312"/>
                    </a:lnTo>
                    <a:lnTo>
                      <a:pt x="82" y="312"/>
                    </a:lnTo>
                    <a:lnTo>
                      <a:pt x="80" y="311"/>
                    </a:lnTo>
                    <a:lnTo>
                      <a:pt x="80" y="309"/>
                    </a:lnTo>
                    <a:lnTo>
                      <a:pt x="80" y="307"/>
                    </a:lnTo>
                    <a:lnTo>
                      <a:pt x="77" y="306"/>
                    </a:lnTo>
                    <a:lnTo>
                      <a:pt x="75" y="306"/>
                    </a:lnTo>
                    <a:lnTo>
                      <a:pt x="75" y="307"/>
                    </a:lnTo>
                    <a:lnTo>
                      <a:pt x="73" y="307"/>
                    </a:lnTo>
                    <a:lnTo>
                      <a:pt x="73" y="306"/>
                    </a:lnTo>
                    <a:lnTo>
                      <a:pt x="70" y="306"/>
                    </a:lnTo>
                    <a:lnTo>
                      <a:pt x="68" y="30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0" name="Freeform 308">
                <a:extLst>
                  <a:ext uri="{FF2B5EF4-FFF2-40B4-BE49-F238E27FC236}">
                    <a16:creationId xmlns:a16="http://schemas.microsoft.com/office/drawing/2014/main" xmlns="" id="{19D4CE53-A2D8-4713-A35E-182B881BE8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2" y="761"/>
                <a:ext cx="139" cy="90"/>
              </a:xfrm>
              <a:custGeom>
                <a:avLst/>
                <a:gdLst>
                  <a:gd name="T0" fmla="*/ 51 w 139"/>
                  <a:gd name="T1" fmla="*/ 89 h 90"/>
                  <a:gd name="T2" fmla="*/ 44 w 139"/>
                  <a:gd name="T3" fmla="*/ 79 h 90"/>
                  <a:gd name="T4" fmla="*/ 61 w 139"/>
                  <a:gd name="T5" fmla="*/ 87 h 90"/>
                  <a:gd name="T6" fmla="*/ 75 w 139"/>
                  <a:gd name="T7" fmla="*/ 80 h 90"/>
                  <a:gd name="T8" fmla="*/ 87 w 139"/>
                  <a:gd name="T9" fmla="*/ 76 h 90"/>
                  <a:gd name="T10" fmla="*/ 93 w 139"/>
                  <a:gd name="T11" fmla="*/ 74 h 90"/>
                  <a:gd name="T12" fmla="*/ 100 w 139"/>
                  <a:gd name="T13" fmla="*/ 74 h 90"/>
                  <a:gd name="T14" fmla="*/ 118 w 139"/>
                  <a:gd name="T15" fmla="*/ 59 h 90"/>
                  <a:gd name="T16" fmla="*/ 126 w 139"/>
                  <a:gd name="T17" fmla="*/ 59 h 90"/>
                  <a:gd name="T18" fmla="*/ 126 w 139"/>
                  <a:gd name="T19" fmla="*/ 49 h 90"/>
                  <a:gd name="T20" fmla="*/ 136 w 139"/>
                  <a:gd name="T21" fmla="*/ 48 h 90"/>
                  <a:gd name="T22" fmla="*/ 133 w 139"/>
                  <a:gd name="T23" fmla="*/ 35 h 90"/>
                  <a:gd name="T24" fmla="*/ 131 w 139"/>
                  <a:gd name="T25" fmla="*/ 28 h 90"/>
                  <a:gd name="T26" fmla="*/ 126 w 139"/>
                  <a:gd name="T27" fmla="*/ 25 h 90"/>
                  <a:gd name="T28" fmla="*/ 126 w 139"/>
                  <a:gd name="T29" fmla="*/ 14 h 90"/>
                  <a:gd name="T30" fmla="*/ 124 w 139"/>
                  <a:gd name="T31" fmla="*/ 7 h 90"/>
                  <a:gd name="T32" fmla="*/ 118 w 139"/>
                  <a:gd name="T33" fmla="*/ 9 h 90"/>
                  <a:gd name="T34" fmla="*/ 113 w 139"/>
                  <a:gd name="T35" fmla="*/ 5 h 90"/>
                  <a:gd name="T36" fmla="*/ 103 w 139"/>
                  <a:gd name="T37" fmla="*/ 5 h 90"/>
                  <a:gd name="T38" fmla="*/ 97 w 139"/>
                  <a:gd name="T39" fmla="*/ 9 h 90"/>
                  <a:gd name="T40" fmla="*/ 85 w 139"/>
                  <a:gd name="T41" fmla="*/ 10 h 90"/>
                  <a:gd name="T42" fmla="*/ 82 w 139"/>
                  <a:gd name="T43" fmla="*/ 20 h 90"/>
                  <a:gd name="T44" fmla="*/ 75 w 139"/>
                  <a:gd name="T45" fmla="*/ 14 h 90"/>
                  <a:gd name="T46" fmla="*/ 67 w 139"/>
                  <a:gd name="T47" fmla="*/ 18 h 90"/>
                  <a:gd name="T48" fmla="*/ 59 w 139"/>
                  <a:gd name="T49" fmla="*/ 10 h 90"/>
                  <a:gd name="T50" fmla="*/ 54 w 139"/>
                  <a:gd name="T51" fmla="*/ 27 h 90"/>
                  <a:gd name="T52" fmla="*/ 46 w 139"/>
                  <a:gd name="T53" fmla="*/ 31 h 90"/>
                  <a:gd name="T54" fmla="*/ 39 w 139"/>
                  <a:gd name="T55" fmla="*/ 30 h 90"/>
                  <a:gd name="T56" fmla="*/ 38 w 139"/>
                  <a:gd name="T57" fmla="*/ 18 h 90"/>
                  <a:gd name="T58" fmla="*/ 41 w 139"/>
                  <a:gd name="T59" fmla="*/ 12 h 90"/>
                  <a:gd name="T60" fmla="*/ 31 w 139"/>
                  <a:gd name="T61" fmla="*/ 4 h 90"/>
                  <a:gd name="T62" fmla="*/ 20 w 139"/>
                  <a:gd name="T63" fmla="*/ 2 h 90"/>
                  <a:gd name="T64" fmla="*/ 26 w 139"/>
                  <a:gd name="T65" fmla="*/ 4 h 90"/>
                  <a:gd name="T66" fmla="*/ 23 w 139"/>
                  <a:gd name="T67" fmla="*/ 5 h 90"/>
                  <a:gd name="T68" fmla="*/ 28 w 139"/>
                  <a:gd name="T69" fmla="*/ 14 h 90"/>
                  <a:gd name="T70" fmla="*/ 18 w 139"/>
                  <a:gd name="T71" fmla="*/ 7 h 90"/>
                  <a:gd name="T72" fmla="*/ 13 w 139"/>
                  <a:gd name="T73" fmla="*/ 9 h 90"/>
                  <a:gd name="T74" fmla="*/ 15 w 139"/>
                  <a:gd name="T75" fmla="*/ 15 h 90"/>
                  <a:gd name="T76" fmla="*/ 13 w 139"/>
                  <a:gd name="T77" fmla="*/ 18 h 90"/>
                  <a:gd name="T78" fmla="*/ 7 w 139"/>
                  <a:gd name="T79" fmla="*/ 17 h 90"/>
                  <a:gd name="T80" fmla="*/ 4 w 139"/>
                  <a:gd name="T81" fmla="*/ 22 h 90"/>
                  <a:gd name="T82" fmla="*/ 10 w 139"/>
                  <a:gd name="T83" fmla="*/ 30 h 90"/>
                  <a:gd name="T84" fmla="*/ 17 w 139"/>
                  <a:gd name="T85" fmla="*/ 25 h 90"/>
                  <a:gd name="T86" fmla="*/ 25 w 139"/>
                  <a:gd name="T87" fmla="*/ 25 h 90"/>
                  <a:gd name="T88" fmla="*/ 30 w 139"/>
                  <a:gd name="T89" fmla="*/ 25 h 90"/>
                  <a:gd name="T90" fmla="*/ 35 w 139"/>
                  <a:gd name="T91" fmla="*/ 30 h 90"/>
                  <a:gd name="T92" fmla="*/ 23 w 139"/>
                  <a:gd name="T93" fmla="*/ 35 h 90"/>
                  <a:gd name="T94" fmla="*/ 35 w 139"/>
                  <a:gd name="T95" fmla="*/ 36 h 90"/>
                  <a:gd name="T96" fmla="*/ 22 w 139"/>
                  <a:gd name="T97" fmla="*/ 40 h 90"/>
                  <a:gd name="T98" fmla="*/ 18 w 139"/>
                  <a:gd name="T99" fmla="*/ 40 h 90"/>
                  <a:gd name="T100" fmla="*/ 7 w 139"/>
                  <a:gd name="T101" fmla="*/ 40 h 90"/>
                  <a:gd name="T102" fmla="*/ 10 w 139"/>
                  <a:gd name="T103" fmla="*/ 48 h 90"/>
                  <a:gd name="T104" fmla="*/ 25 w 139"/>
                  <a:gd name="T105" fmla="*/ 49 h 90"/>
                  <a:gd name="T106" fmla="*/ 28 w 139"/>
                  <a:gd name="T107" fmla="*/ 56 h 90"/>
                  <a:gd name="T108" fmla="*/ 28 w 139"/>
                  <a:gd name="T109" fmla="*/ 61 h 90"/>
                  <a:gd name="T110" fmla="*/ 31 w 139"/>
                  <a:gd name="T111" fmla="*/ 61 h 90"/>
                  <a:gd name="T112" fmla="*/ 23 w 139"/>
                  <a:gd name="T113" fmla="*/ 66 h 90"/>
                  <a:gd name="T114" fmla="*/ 17 w 139"/>
                  <a:gd name="T115" fmla="*/ 66 h 90"/>
                  <a:gd name="T116" fmla="*/ 22 w 139"/>
                  <a:gd name="T117" fmla="*/ 76 h 90"/>
                  <a:gd name="T118" fmla="*/ 36 w 139"/>
                  <a:gd name="T119" fmla="*/ 7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9" h="90">
                    <a:moveTo>
                      <a:pt x="49" y="90"/>
                    </a:moveTo>
                    <a:lnTo>
                      <a:pt x="48" y="89"/>
                    </a:lnTo>
                    <a:lnTo>
                      <a:pt x="49" y="85"/>
                    </a:lnTo>
                    <a:lnTo>
                      <a:pt x="51" y="85"/>
                    </a:lnTo>
                    <a:lnTo>
                      <a:pt x="51" y="89"/>
                    </a:lnTo>
                    <a:lnTo>
                      <a:pt x="49" y="90"/>
                    </a:lnTo>
                    <a:lnTo>
                      <a:pt x="49" y="90"/>
                    </a:lnTo>
                    <a:close/>
                    <a:moveTo>
                      <a:pt x="41" y="76"/>
                    </a:moveTo>
                    <a:lnTo>
                      <a:pt x="44" y="76"/>
                    </a:lnTo>
                    <a:lnTo>
                      <a:pt x="44" y="79"/>
                    </a:lnTo>
                    <a:lnTo>
                      <a:pt x="48" y="82"/>
                    </a:lnTo>
                    <a:lnTo>
                      <a:pt x="51" y="84"/>
                    </a:lnTo>
                    <a:lnTo>
                      <a:pt x="53" y="80"/>
                    </a:lnTo>
                    <a:lnTo>
                      <a:pt x="56" y="82"/>
                    </a:lnTo>
                    <a:lnTo>
                      <a:pt x="61" y="87"/>
                    </a:lnTo>
                    <a:lnTo>
                      <a:pt x="67" y="85"/>
                    </a:lnTo>
                    <a:lnTo>
                      <a:pt x="71" y="87"/>
                    </a:lnTo>
                    <a:lnTo>
                      <a:pt x="74" y="85"/>
                    </a:lnTo>
                    <a:lnTo>
                      <a:pt x="74" y="82"/>
                    </a:lnTo>
                    <a:lnTo>
                      <a:pt x="75" y="80"/>
                    </a:lnTo>
                    <a:lnTo>
                      <a:pt x="75" y="82"/>
                    </a:lnTo>
                    <a:lnTo>
                      <a:pt x="79" y="84"/>
                    </a:lnTo>
                    <a:lnTo>
                      <a:pt x="82" y="80"/>
                    </a:lnTo>
                    <a:lnTo>
                      <a:pt x="82" y="76"/>
                    </a:lnTo>
                    <a:lnTo>
                      <a:pt x="87" y="76"/>
                    </a:lnTo>
                    <a:lnTo>
                      <a:pt x="85" y="77"/>
                    </a:lnTo>
                    <a:lnTo>
                      <a:pt x="87" y="79"/>
                    </a:lnTo>
                    <a:lnTo>
                      <a:pt x="88" y="77"/>
                    </a:lnTo>
                    <a:lnTo>
                      <a:pt x="90" y="77"/>
                    </a:lnTo>
                    <a:lnTo>
                      <a:pt x="93" y="74"/>
                    </a:lnTo>
                    <a:lnTo>
                      <a:pt x="95" y="74"/>
                    </a:lnTo>
                    <a:lnTo>
                      <a:pt x="95" y="74"/>
                    </a:lnTo>
                    <a:lnTo>
                      <a:pt x="98" y="74"/>
                    </a:lnTo>
                    <a:lnTo>
                      <a:pt x="98" y="76"/>
                    </a:lnTo>
                    <a:lnTo>
                      <a:pt x="100" y="74"/>
                    </a:lnTo>
                    <a:lnTo>
                      <a:pt x="106" y="69"/>
                    </a:lnTo>
                    <a:lnTo>
                      <a:pt x="108" y="64"/>
                    </a:lnTo>
                    <a:lnTo>
                      <a:pt x="116" y="63"/>
                    </a:lnTo>
                    <a:lnTo>
                      <a:pt x="118" y="61"/>
                    </a:lnTo>
                    <a:lnTo>
                      <a:pt x="118" y="59"/>
                    </a:lnTo>
                    <a:lnTo>
                      <a:pt x="118" y="58"/>
                    </a:lnTo>
                    <a:lnTo>
                      <a:pt x="120" y="58"/>
                    </a:lnTo>
                    <a:lnTo>
                      <a:pt x="120" y="61"/>
                    </a:lnTo>
                    <a:lnTo>
                      <a:pt x="124" y="61"/>
                    </a:lnTo>
                    <a:lnTo>
                      <a:pt x="126" y="59"/>
                    </a:lnTo>
                    <a:lnTo>
                      <a:pt x="126" y="58"/>
                    </a:lnTo>
                    <a:lnTo>
                      <a:pt x="126" y="56"/>
                    </a:lnTo>
                    <a:lnTo>
                      <a:pt x="126" y="54"/>
                    </a:lnTo>
                    <a:lnTo>
                      <a:pt x="128" y="53"/>
                    </a:lnTo>
                    <a:lnTo>
                      <a:pt x="126" y="49"/>
                    </a:lnTo>
                    <a:lnTo>
                      <a:pt x="128" y="48"/>
                    </a:lnTo>
                    <a:lnTo>
                      <a:pt x="131" y="49"/>
                    </a:lnTo>
                    <a:lnTo>
                      <a:pt x="131" y="53"/>
                    </a:lnTo>
                    <a:lnTo>
                      <a:pt x="133" y="51"/>
                    </a:lnTo>
                    <a:lnTo>
                      <a:pt x="136" y="48"/>
                    </a:lnTo>
                    <a:lnTo>
                      <a:pt x="134" y="46"/>
                    </a:lnTo>
                    <a:lnTo>
                      <a:pt x="131" y="43"/>
                    </a:lnTo>
                    <a:lnTo>
                      <a:pt x="131" y="40"/>
                    </a:lnTo>
                    <a:lnTo>
                      <a:pt x="133" y="38"/>
                    </a:lnTo>
                    <a:lnTo>
                      <a:pt x="133" y="35"/>
                    </a:lnTo>
                    <a:lnTo>
                      <a:pt x="136" y="33"/>
                    </a:lnTo>
                    <a:lnTo>
                      <a:pt x="137" y="33"/>
                    </a:lnTo>
                    <a:lnTo>
                      <a:pt x="139" y="31"/>
                    </a:lnTo>
                    <a:lnTo>
                      <a:pt x="137" y="28"/>
                    </a:lnTo>
                    <a:lnTo>
                      <a:pt x="131" y="28"/>
                    </a:lnTo>
                    <a:lnTo>
                      <a:pt x="129" y="30"/>
                    </a:lnTo>
                    <a:lnTo>
                      <a:pt x="131" y="27"/>
                    </a:lnTo>
                    <a:lnTo>
                      <a:pt x="129" y="25"/>
                    </a:lnTo>
                    <a:lnTo>
                      <a:pt x="126" y="23"/>
                    </a:lnTo>
                    <a:lnTo>
                      <a:pt x="126" y="25"/>
                    </a:lnTo>
                    <a:lnTo>
                      <a:pt x="124" y="22"/>
                    </a:lnTo>
                    <a:lnTo>
                      <a:pt x="126" y="18"/>
                    </a:lnTo>
                    <a:lnTo>
                      <a:pt x="129" y="18"/>
                    </a:lnTo>
                    <a:lnTo>
                      <a:pt x="128" y="14"/>
                    </a:lnTo>
                    <a:lnTo>
                      <a:pt x="126" y="14"/>
                    </a:lnTo>
                    <a:lnTo>
                      <a:pt x="124" y="15"/>
                    </a:lnTo>
                    <a:lnTo>
                      <a:pt x="123" y="14"/>
                    </a:lnTo>
                    <a:lnTo>
                      <a:pt x="121" y="10"/>
                    </a:lnTo>
                    <a:lnTo>
                      <a:pt x="124" y="9"/>
                    </a:lnTo>
                    <a:lnTo>
                      <a:pt x="124" y="7"/>
                    </a:lnTo>
                    <a:lnTo>
                      <a:pt x="126" y="5"/>
                    </a:lnTo>
                    <a:lnTo>
                      <a:pt x="128" y="5"/>
                    </a:lnTo>
                    <a:lnTo>
                      <a:pt x="124" y="4"/>
                    </a:lnTo>
                    <a:lnTo>
                      <a:pt x="123" y="4"/>
                    </a:lnTo>
                    <a:lnTo>
                      <a:pt x="118" y="9"/>
                    </a:lnTo>
                    <a:lnTo>
                      <a:pt x="116" y="12"/>
                    </a:lnTo>
                    <a:lnTo>
                      <a:pt x="115" y="12"/>
                    </a:lnTo>
                    <a:lnTo>
                      <a:pt x="113" y="9"/>
                    </a:lnTo>
                    <a:lnTo>
                      <a:pt x="115" y="7"/>
                    </a:lnTo>
                    <a:lnTo>
                      <a:pt x="113" y="5"/>
                    </a:lnTo>
                    <a:lnTo>
                      <a:pt x="111" y="2"/>
                    </a:lnTo>
                    <a:lnTo>
                      <a:pt x="110" y="2"/>
                    </a:lnTo>
                    <a:lnTo>
                      <a:pt x="106" y="4"/>
                    </a:lnTo>
                    <a:lnTo>
                      <a:pt x="105" y="2"/>
                    </a:lnTo>
                    <a:lnTo>
                      <a:pt x="103" y="5"/>
                    </a:lnTo>
                    <a:lnTo>
                      <a:pt x="105" y="9"/>
                    </a:lnTo>
                    <a:lnTo>
                      <a:pt x="103" y="10"/>
                    </a:lnTo>
                    <a:lnTo>
                      <a:pt x="100" y="10"/>
                    </a:lnTo>
                    <a:lnTo>
                      <a:pt x="97" y="12"/>
                    </a:lnTo>
                    <a:lnTo>
                      <a:pt x="97" y="9"/>
                    </a:lnTo>
                    <a:lnTo>
                      <a:pt x="95" y="9"/>
                    </a:lnTo>
                    <a:lnTo>
                      <a:pt x="93" y="10"/>
                    </a:lnTo>
                    <a:lnTo>
                      <a:pt x="92" y="15"/>
                    </a:lnTo>
                    <a:lnTo>
                      <a:pt x="88" y="15"/>
                    </a:lnTo>
                    <a:lnTo>
                      <a:pt x="85" y="10"/>
                    </a:lnTo>
                    <a:lnTo>
                      <a:pt x="84" y="10"/>
                    </a:lnTo>
                    <a:lnTo>
                      <a:pt x="82" y="9"/>
                    </a:lnTo>
                    <a:lnTo>
                      <a:pt x="80" y="10"/>
                    </a:lnTo>
                    <a:lnTo>
                      <a:pt x="79" y="15"/>
                    </a:lnTo>
                    <a:lnTo>
                      <a:pt x="82" y="20"/>
                    </a:lnTo>
                    <a:lnTo>
                      <a:pt x="79" y="28"/>
                    </a:lnTo>
                    <a:lnTo>
                      <a:pt x="80" y="22"/>
                    </a:lnTo>
                    <a:lnTo>
                      <a:pt x="77" y="17"/>
                    </a:lnTo>
                    <a:lnTo>
                      <a:pt x="77" y="15"/>
                    </a:lnTo>
                    <a:lnTo>
                      <a:pt x="75" y="14"/>
                    </a:lnTo>
                    <a:lnTo>
                      <a:pt x="75" y="10"/>
                    </a:lnTo>
                    <a:lnTo>
                      <a:pt x="72" y="9"/>
                    </a:lnTo>
                    <a:lnTo>
                      <a:pt x="67" y="12"/>
                    </a:lnTo>
                    <a:lnTo>
                      <a:pt x="66" y="15"/>
                    </a:lnTo>
                    <a:lnTo>
                      <a:pt x="67" y="18"/>
                    </a:lnTo>
                    <a:lnTo>
                      <a:pt x="64" y="23"/>
                    </a:lnTo>
                    <a:lnTo>
                      <a:pt x="62" y="23"/>
                    </a:lnTo>
                    <a:lnTo>
                      <a:pt x="61" y="18"/>
                    </a:lnTo>
                    <a:lnTo>
                      <a:pt x="59" y="17"/>
                    </a:lnTo>
                    <a:lnTo>
                      <a:pt x="59" y="10"/>
                    </a:lnTo>
                    <a:lnTo>
                      <a:pt x="56" y="9"/>
                    </a:lnTo>
                    <a:lnTo>
                      <a:pt x="53" y="12"/>
                    </a:lnTo>
                    <a:lnTo>
                      <a:pt x="53" y="18"/>
                    </a:lnTo>
                    <a:lnTo>
                      <a:pt x="54" y="22"/>
                    </a:lnTo>
                    <a:lnTo>
                      <a:pt x="54" y="27"/>
                    </a:lnTo>
                    <a:lnTo>
                      <a:pt x="53" y="30"/>
                    </a:lnTo>
                    <a:lnTo>
                      <a:pt x="49" y="30"/>
                    </a:lnTo>
                    <a:lnTo>
                      <a:pt x="49" y="25"/>
                    </a:lnTo>
                    <a:lnTo>
                      <a:pt x="46" y="27"/>
                    </a:lnTo>
                    <a:lnTo>
                      <a:pt x="46" y="31"/>
                    </a:lnTo>
                    <a:lnTo>
                      <a:pt x="43" y="31"/>
                    </a:lnTo>
                    <a:lnTo>
                      <a:pt x="43" y="38"/>
                    </a:lnTo>
                    <a:lnTo>
                      <a:pt x="41" y="31"/>
                    </a:lnTo>
                    <a:lnTo>
                      <a:pt x="39" y="31"/>
                    </a:lnTo>
                    <a:lnTo>
                      <a:pt x="39" y="30"/>
                    </a:lnTo>
                    <a:lnTo>
                      <a:pt x="41" y="27"/>
                    </a:lnTo>
                    <a:lnTo>
                      <a:pt x="41" y="23"/>
                    </a:lnTo>
                    <a:lnTo>
                      <a:pt x="38" y="23"/>
                    </a:lnTo>
                    <a:lnTo>
                      <a:pt x="39" y="22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3" y="17"/>
                    </a:lnTo>
                    <a:lnTo>
                      <a:pt x="41" y="15"/>
                    </a:lnTo>
                    <a:lnTo>
                      <a:pt x="39" y="14"/>
                    </a:lnTo>
                    <a:lnTo>
                      <a:pt x="41" y="12"/>
                    </a:lnTo>
                    <a:lnTo>
                      <a:pt x="39" y="9"/>
                    </a:lnTo>
                    <a:lnTo>
                      <a:pt x="38" y="10"/>
                    </a:lnTo>
                    <a:lnTo>
                      <a:pt x="36" y="9"/>
                    </a:lnTo>
                    <a:lnTo>
                      <a:pt x="31" y="5"/>
                    </a:lnTo>
                    <a:lnTo>
                      <a:pt x="31" y="4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28" y="5"/>
                    </a:lnTo>
                    <a:lnTo>
                      <a:pt x="25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6" y="9"/>
                    </a:lnTo>
                    <a:lnTo>
                      <a:pt x="30" y="12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28" y="14"/>
                    </a:lnTo>
                    <a:lnTo>
                      <a:pt x="25" y="10"/>
                    </a:lnTo>
                    <a:lnTo>
                      <a:pt x="23" y="12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3" y="7"/>
                    </a:lnTo>
                    <a:lnTo>
                      <a:pt x="17" y="10"/>
                    </a:lnTo>
                    <a:lnTo>
                      <a:pt x="15" y="12"/>
                    </a:lnTo>
                    <a:lnTo>
                      <a:pt x="13" y="9"/>
                    </a:lnTo>
                    <a:lnTo>
                      <a:pt x="10" y="9"/>
                    </a:lnTo>
                    <a:lnTo>
                      <a:pt x="10" y="10"/>
                    </a:lnTo>
                    <a:lnTo>
                      <a:pt x="12" y="12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2" y="14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2" y="20"/>
                    </a:lnTo>
                    <a:lnTo>
                      <a:pt x="13" y="22"/>
                    </a:lnTo>
                    <a:lnTo>
                      <a:pt x="12" y="22"/>
                    </a:lnTo>
                    <a:lnTo>
                      <a:pt x="7" y="18"/>
                    </a:lnTo>
                    <a:lnTo>
                      <a:pt x="7" y="17"/>
                    </a:lnTo>
                    <a:lnTo>
                      <a:pt x="5" y="18"/>
                    </a:lnTo>
                    <a:lnTo>
                      <a:pt x="7" y="23"/>
                    </a:lnTo>
                    <a:lnTo>
                      <a:pt x="8" y="25"/>
                    </a:lnTo>
                    <a:lnTo>
                      <a:pt x="7" y="25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5" y="28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5" y="25"/>
                    </a:lnTo>
                    <a:lnTo>
                      <a:pt x="17" y="22"/>
                    </a:lnTo>
                    <a:lnTo>
                      <a:pt x="17" y="23"/>
                    </a:lnTo>
                    <a:lnTo>
                      <a:pt x="17" y="25"/>
                    </a:lnTo>
                    <a:lnTo>
                      <a:pt x="18" y="25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3" y="27"/>
                    </a:lnTo>
                    <a:lnTo>
                      <a:pt x="25" y="25"/>
                    </a:lnTo>
                    <a:lnTo>
                      <a:pt x="26" y="23"/>
                    </a:lnTo>
                    <a:lnTo>
                      <a:pt x="26" y="27"/>
                    </a:lnTo>
                    <a:lnTo>
                      <a:pt x="28" y="27"/>
                    </a:lnTo>
                    <a:lnTo>
                      <a:pt x="31" y="23"/>
                    </a:lnTo>
                    <a:lnTo>
                      <a:pt x="30" y="25"/>
                    </a:lnTo>
                    <a:lnTo>
                      <a:pt x="30" y="28"/>
                    </a:lnTo>
                    <a:lnTo>
                      <a:pt x="31" y="30"/>
                    </a:lnTo>
                    <a:lnTo>
                      <a:pt x="33" y="28"/>
                    </a:lnTo>
                    <a:lnTo>
                      <a:pt x="36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0" y="31"/>
                    </a:lnTo>
                    <a:lnTo>
                      <a:pt x="28" y="31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8" y="36"/>
                    </a:lnTo>
                    <a:lnTo>
                      <a:pt x="31" y="36"/>
                    </a:lnTo>
                    <a:lnTo>
                      <a:pt x="33" y="35"/>
                    </a:lnTo>
                    <a:lnTo>
                      <a:pt x="35" y="33"/>
                    </a:lnTo>
                    <a:lnTo>
                      <a:pt x="35" y="36"/>
                    </a:lnTo>
                    <a:lnTo>
                      <a:pt x="33" y="38"/>
                    </a:lnTo>
                    <a:lnTo>
                      <a:pt x="26" y="40"/>
                    </a:lnTo>
                    <a:lnTo>
                      <a:pt x="25" y="38"/>
                    </a:lnTo>
                    <a:lnTo>
                      <a:pt x="23" y="41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7" y="41"/>
                    </a:lnTo>
                    <a:lnTo>
                      <a:pt x="15" y="40"/>
                    </a:lnTo>
                    <a:lnTo>
                      <a:pt x="12" y="40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4" y="41"/>
                    </a:lnTo>
                    <a:lnTo>
                      <a:pt x="2" y="41"/>
                    </a:lnTo>
                    <a:lnTo>
                      <a:pt x="5" y="45"/>
                    </a:lnTo>
                    <a:lnTo>
                      <a:pt x="5" y="46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5" y="48"/>
                    </a:lnTo>
                    <a:lnTo>
                      <a:pt x="22" y="48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5" y="54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1" y="53"/>
                    </a:lnTo>
                    <a:lnTo>
                      <a:pt x="31" y="54"/>
                    </a:lnTo>
                    <a:lnTo>
                      <a:pt x="28" y="58"/>
                    </a:lnTo>
                    <a:lnTo>
                      <a:pt x="26" y="59"/>
                    </a:lnTo>
                    <a:lnTo>
                      <a:pt x="28" y="61"/>
                    </a:lnTo>
                    <a:lnTo>
                      <a:pt x="33" y="58"/>
                    </a:lnTo>
                    <a:lnTo>
                      <a:pt x="36" y="59"/>
                    </a:lnTo>
                    <a:lnTo>
                      <a:pt x="38" y="61"/>
                    </a:lnTo>
                    <a:lnTo>
                      <a:pt x="35" y="59"/>
                    </a:lnTo>
                    <a:lnTo>
                      <a:pt x="31" y="61"/>
                    </a:lnTo>
                    <a:lnTo>
                      <a:pt x="30" y="63"/>
                    </a:lnTo>
                    <a:lnTo>
                      <a:pt x="26" y="63"/>
                    </a:lnTo>
                    <a:lnTo>
                      <a:pt x="26" y="64"/>
                    </a:lnTo>
                    <a:lnTo>
                      <a:pt x="25" y="67"/>
                    </a:lnTo>
                    <a:lnTo>
                      <a:pt x="23" y="66"/>
                    </a:lnTo>
                    <a:lnTo>
                      <a:pt x="22" y="67"/>
                    </a:lnTo>
                    <a:lnTo>
                      <a:pt x="20" y="66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7" y="66"/>
                    </a:lnTo>
                    <a:lnTo>
                      <a:pt x="17" y="69"/>
                    </a:lnTo>
                    <a:lnTo>
                      <a:pt x="18" y="69"/>
                    </a:lnTo>
                    <a:lnTo>
                      <a:pt x="18" y="71"/>
                    </a:lnTo>
                    <a:lnTo>
                      <a:pt x="17" y="76"/>
                    </a:lnTo>
                    <a:lnTo>
                      <a:pt x="22" y="76"/>
                    </a:lnTo>
                    <a:lnTo>
                      <a:pt x="22" y="74"/>
                    </a:lnTo>
                    <a:lnTo>
                      <a:pt x="25" y="76"/>
                    </a:lnTo>
                    <a:lnTo>
                      <a:pt x="30" y="77"/>
                    </a:lnTo>
                    <a:lnTo>
                      <a:pt x="33" y="74"/>
                    </a:lnTo>
                    <a:lnTo>
                      <a:pt x="36" y="76"/>
                    </a:lnTo>
                    <a:lnTo>
                      <a:pt x="39" y="74"/>
                    </a:lnTo>
                    <a:lnTo>
                      <a:pt x="39" y="76"/>
                    </a:lnTo>
                    <a:lnTo>
                      <a:pt x="41" y="7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xmlns="" id="{945DB439-56E2-45FE-A840-3A7FAA7330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2" y="2060"/>
                <a:ext cx="33" cy="22"/>
              </a:xfrm>
              <a:custGeom>
                <a:avLst/>
                <a:gdLst>
                  <a:gd name="T0" fmla="*/ 31 w 33"/>
                  <a:gd name="T1" fmla="*/ 17 h 22"/>
                  <a:gd name="T2" fmla="*/ 29 w 33"/>
                  <a:gd name="T3" fmla="*/ 20 h 22"/>
                  <a:gd name="T4" fmla="*/ 29 w 33"/>
                  <a:gd name="T5" fmla="*/ 22 h 22"/>
                  <a:gd name="T6" fmla="*/ 33 w 33"/>
                  <a:gd name="T7" fmla="*/ 18 h 22"/>
                  <a:gd name="T8" fmla="*/ 33 w 33"/>
                  <a:gd name="T9" fmla="*/ 17 h 22"/>
                  <a:gd name="T10" fmla="*/ 31 w 33"/>
                  <a:gd name="T11" fmla="*/ 17 h 22"/>
                  <a:gd name="T12" fmla="*/ 31 w 33"/>
                  <a:gd name="T13" fmla="*/ 17 h 22"/>
                  <a:gd name="T14" fmla="*/ 18 w 33"/>
                  <a:gd name="T15" fmla="*/ 13 h 22"/>
                  <a:gd name="T16" fmla="*/ 20 w 33"/>
                  <a:gd name="T17" fmla="*/ 12 h 22"/>
                  <a:gd name="T18" fmla="*/ 23 w 33"/>
                  <a:gd name="T19" fmla="*/ 13 h 22"/>
                  <a:gd name="T20" fmla="*/ 20 w 33"/>
                  <a:gd name="T21" fmla="*/ 17 h 22"/>
                  <a:gd name="T22" fmla="*/ 18 w 33"/>
                  <a:gd name="T23" fmla="*/ 13 h 22"/>
                  <a:gd name="T24" fmla="*/ 18 w 33"/>
                  <a:gd name="T25" fmla="*/ 13 h 22"/>
                  <a:gd name="T26" fmla="*/ 13 w 33"/>
                  <a:gd name="T27" fmla="*/ 5 h 22"/>
                  <a:gd name="T28" fmla="*/ 11 w 33"/>
                  <a:gd name="T29" fmla="*/ 9 h 22"/>
                  <a:gd name="T30" fmla="*/ 15 w 33"/>
                  <a:gd name="T31" fmla="*/ 9 h 22"/>
                  <a:gd name="T32" fmla="*/ 13 w 33"/>
                  <a:gd name="T33" fmla="*/ 5 h 22"/>
                  <a:gd name="T34" fmla="*/ 13 w 33"/>
                  <a:gd name="T35" fmla="*/ 5 h 22"/>
                  <a:gd name="T36" fmla="*/ 2 w 33"/>
                  <a:gd name="T37" fmla="*/ 10 h 22"/>
                  <a:gd name="T38" fmla="*/ 3 w 33"/>
                  <a:gd name="T39" fmla="*/ 10 h 22"/>
                  <a:gd name="T40" fmla="*/ 3 w 33"/>
                  <a:gd name="T41" fmla="*/ 13 h 22"/>
                  <a:gd name="T42" fmla="*/ 0 w 33"/>
                  <a:gd name="T43" fmla="*/ 13 h 22"/>
                  <a:gd name="T44" fmla="*/ 0 w 33"/>
                  <a:gd name="T45" fmla="*/ 10 h 22"/>
                  <a:gd name="T46" fmla="*/ 2 w 33"/>
                  <a:gd name="T47" fmla="*/ 10 h 22"/>
                  <a:gd name="T48" fmla="*/ 2 w 33"/>
                  <a:gd name="T49" fmla="*/ 10 h 22"/>
                  <a:gd name="T50" fmla="*/ 2 w 33"/>
                  <a:gd name="T51" fmla="*/ 5 h 22"/>
                  <a:gd name="T52" fmla="*/ 5 w 33"/>
                  <a:gd name="T53" fmla="*/ 5 h 22"/>
                  <a:gd name="T54" fmla="*/ 5 w 33"/>
                  <a:gd name="T55" fmla="*/ 9 h 22"/>
                  <a:gd name="T56" fmla="*/ 8 w 33"/>
                  <a:gd name="T57" fmla="*/ 13 h 22"/>
                  <a:gd name="T58" fmla="*/ 5 w 33"/>
                  <a:gd name="T59" fmla="*/ 15 h 22"/>
                  <a:gd name="T60" fmla="*/ 3 w 33"/>
                  <a:gd name="T61" fmla="*/ 20 h 22"/>
                  <a:gd name="T62" fmla="*/ 5 w 33"/>
                  <a:gd name="T63" fmla="*/ 22 h 22"/>
                  <a:gd name="T64" fmla="*/ 10 w 33"/>
                  <a:gd name="T65" fmla="*/ 20 h 22"/>
                  <a:gd name="T66" fmla="*/ 11 w 33"/>
                  <a:gd name="T67" fmla="*/ 17 h 22"/>
                  <a:gd name="T68" fmla="*/ 10 w 33"/>
                  <a:gd name="T69" fmla="*/ 12 h 22"/>
                  <a:gd name="T70" fmla="*/ 10 w 33"/>
                  <a:gd name="T71" fmla="*/ 10 h 22"/>
                  <a:gd name="T72" fmla="*/ 6 w 33"/>
                  <a:gd name="T73" fmla="*/ 7 h 22"/>
                  <a:gd name="T74" fmla="*/ 6 w 33"/>
                  <a:gd name="T75" fmla="*/ 4 h 22"/>
                  <a:gd name="T76" fmla="*/ 5 w 33"/>
                  <a:gd name="T77" fmla="*/ 0 h 22"/>
                  <a:gd name="T78" fmla="*/ 2 w 33"/>
                  <a:gd name="T79" fmla="*/ 2 h 22"/>
                  <a:gd name="T80" fmla="*/ 2 w 33"/>
                  <a:gd name="T81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3" h="22">
                    <a:moveTo>
                      <a:pt x="31" y="17"/>
                    </a:moveTo>
                    <a:lnTo>
                      <a:pt x="29" y="20"/>
                    </a:lnTo>
                    <a:lnTo>
                      <a:pt x="29" y="22"/>
                    </a:lnTo>
                    <a:lnTo>
                      <a:pt x="33" y="18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31" y="17"/>
                    </a:lnTo>
                    <a:close/>
                    <a:moveTo>
                      <a:pt x="18" y="13"/>
                    </a:moveTo>
                    <a:lnTo>
                      <a:pt x="20" y="12"/>
                    </a:lnTo>
                    <a:lnTo>
                      <a:pt x="23" y="13"/>
                    </a:lnTo>
                    <a:lnTo>
                      <a:pt x="20" y="17"/>
                    </a:lnTo>
                    <a:lnTo>
                      <a:pt x="18" y="13"/>
                    </a:lnTo>
                    <a:lnTo>
                      <a:pt x="18" y="13"/>
                    </a:lnTo>
                    <a:close/>
                    <a:moveTo>
                      <a:pt x="13" y="5"/>
                    </a:moveTo>
                    <a:lnTo>
                      <a:pt x="11" y="9"/>
                    </a:lnTo>
                    <a:lnTo>
                      <a:pt x="15" y="9"/>
                    </a:lnTo>
                    <a:lnTo>
                      <a:pt x="13" y="5"/>
                    </a:lnTo>
                    <a:lnTo>
                      <a:pt x="13" y="5"/>
                    </a:lnTo>
                    <a:close/>
                    <a:moveTo>
                      <a:pt x="2" y="10"/>
                    </a:moveTo>
                    <a:lnTo>
                      <a:pt x="3" y="10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  <a:moveTo>
                      <a:pt x="2" y="5"/>
                    </a:moveTo>
                    <a:lnTo>
                      <a:pt x="5" y="5"/>
                    </a:lnTo>
                    <a:lnTo>
                      <a:pt x="5" y="9"/>
                    </a:lnTo>
                    <a:lnTo>
                      <a:pt x="8" y="13"/>
                    </a:lnTo>
                    <a:lnTo>
                      <a:pt x="5" y="15"/>
                    </a:lnTo>
                    <a:lnTo>
                      <a:pt x="3" y="20"/>
                    </a:lnTo>
                    <a:lnTo>
                      <a:pt x="5" y="22"/>
                    </a:lnTo>
                    <a:lnTo>
                      <a:pt x="10" y="20"/>
                    </a:lnTo>
                    <a:lnTo>
                      <a:pt x="11" y="17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6" y="7"/>
                    </a:lnTo>
                    <a:lnTo>
                      <a:pt x="6" y="4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2" name="Freeform 311">
                <a:extLst>
                  <a:ext uri="{FF2B5EF4-FFF2-40B4-BE49-F238E27FC236}">
                    <a16:creationId xmlns:a16="http://schemas.microsoft.com/office/drawing/2014/main" xmlns="" id="{66F22F9F-8751-486D-8844-A1A814A8EF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1" y="1755"/>
                <a:ext cx="49" cy="21"/>
              </a:xfrm>
              <a:custGeom>
                <a:avLst/>
                <a:gdLst>
                  <a:gd name="T0" fmla="*/ 45 w 49"/>
                  <a:gd name="T1" fmla="*/ 16 h 21"/>
                  <a:gd name="T2" fmla="*/ 49 w 49"/>
                  <a:gd name="T3" fmla="*/ 19 h 21"/>
                  <a:gd name="T4" fmla="*/ 46 w 49"/>
                  <a:gd name="T5" fmla="*/ 21 h 21"/>
                  <a:gd name="T6" fmla="*/ 45 w 49"/>
                  <a:gd name="T7" fmla="*/ 19 h 21"/>
                  <a:gd name="T8" fmla="*/ 45 w 49"/>
                  <a:gd name="T9" fmla="*/ 16 h 21"/>
                  <a:gd name="T10" fmla="*/ 45 w 49"/>
                  <a:gd name="T11" fmla="*/ 16 h 21"/>
                  <a:gd name="T12" fmla="*/ 48 w 49"/>
                  <a:gd name="T13" fmla="*/ 6 h 21"/>
                  <a:gd name="T14" fmla="*/ 45 w 49"/>
                  <a:gd name="T15" fmla="*/ 10 h 21"/>
                  <a:gd name="T16" fmla="*/ 48 w 49"/>
                  <a:gd name="T17" fmla="*/ 13 h 21"/>
                  <a:gd name="T18" fmla="*/ 49 w 49"/>
                  <a:gd name="T19" fmla="*/ 10 h 21"/>
                  <a:gd name="T20" fmla="*/ 48 w 49"/>
                  <a:gd name="T21" fmla="*/ 6 h 21"/>
                  <a:gd name="T22" fmla="*/ 48 w 49"/>
                  <a:gd name="T23" fmla="*/ 6 h 21"/>
                  <a:gd name="T24" fmla="*/ 31 w 49"/>
                  <a:gd name="T25" fmla="*/ 11 h 21"/>
                  <a:gd name="T26" fmla="*/ 30 w 49"/>
                  <a:gd name="T27" fmla="*/ 13 h 21"/>
                  <a:gd name="T28" fmla="*/ 31 w 49"/>
                  <a:gd name="T29" fmla="*/ 16 h 21"/>
                  <a:gd name="T30" fmla="*/ 35 w 49"/>
                  <a:gd name="T31" fmla="*/ 16 h 21"/>
                  <a:gd name="T32" fmla="*/ 31 w 49"/>
                  <a:gd name="T33" fmla="*/ 11 h 21"/>
                  <a:gd name="T34" fmla="*/ 31 w 49"/>
                  <a:gd name="T35" fmla="*/ 11 h 21"/>
                  <a:gd name="T36" fmla="*/ 25 w 49"/>
                  <a:gd name="T37" fmla="*/ 1 h 21"/>
                  <a:gd name="T38" fmla="*/ 27 w 49"/>
                  <a:gd name="T39" fmla="*/ 0 h 21"/>
                  <a:gd name="T40" fmla="*/ 31 w 49"/>
                  <a:gd name="T41" fmla="*/ 0 h 21"/>
                  <a:gd name="T42" fmla="*/ 28 w 49"/>
                  <a:gd name="T43" fmla="*/ 1 h 21"/>
                  <a:gd name="T44" fmla="*/ 28 w 49"/>
                  <a:gd name="T45" fmla="*/ 6 h 21"/>
                  <a:gd name="T46" fmla="*/ 25 w 49"/>
                  <a:gd name="T47" fmla="*/ 3 h 21"/>
                  <a:gd name="T48" fmla="*/ 25 w 49"/>
                  <a:gd name="T49" fmla="*/ 1 h 21"/>
                  <a:gd name="T50" fmla="*/ 25 w 49"/>
                  <a:gd name="T51" fmla="*/ 1 h 21"/>
                  <a:gd name="T52" fmla="*/ 4 w 49"/>
                  <a:gd name="T53" fmla="*/ 6 h 21"/>
                  <a:gd name="T54" fmla="*/ 5 w 49"/>
                  <a:gd name="T55" fmla="*/ 8 h 21"/>
                  <a:gd name="T56" fmla="*/ 0 w 49"/>
                  <a:gd name="T57" fmla="*/ 8 h 21"/>
                  <a:gd name="T58" fmla="*/ 4 w 49"/>
                  <a:gd name="T5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9" h="21">
                    <a:moveTo>
                      <a:pt x="45" y="16"/>
                    </a:moveTo>
                    <a:lnTo>
                      <a:pt x="49" y="19"/>
                    </a:lnTo>
                    <a:lnTo>
                      <a:pt x="46" y="21"/>
                    </a:lnTo>
                    <a:lnTo>
                      <a:pt x="45" y="19"/>
                    </a:lnTo>
                    <a:lnTo>
                      <a:pt x="45" y="16"/>
                    </a:lnTo>
                    <a:lnTo>
                      <a:pt x="45" y="16"/>
                    </a:lnTo>
                    <a:close/>
                    <a:moveTo>
                      <a:pt x="48" y="6"/>
                    </a:moveTo>
                    <a:lnTo>
                      <a:pt x="45" y="10"/>
                    </a:lnTo>
                    <a:lnTo>
                      <a:pt x="48" y="13"/>
                    </a:lnTo>
                    <a:lnTo>
                      <a:pt x="49" y="10"/>
                    </a:lnTo>
                    <a:lnTo>
                      <a:pt x="48" y="6"/>
                    </a:lnTo>
                    <a:lnTo>
                      <a:pt x="48" y="6"/>
                    </a:lnTo>
                    <a:close/>
                    <a:moveTo>
                      <a:pt x="31" y="11"/>
                    </a:moveTo>
                    <a:lnTo>
                      <a:pt x="30" y="13"/>
                    </a:lnTo>
                    <a:lnTo>
                      <a:pt x="31" y="16"/>
                    </a:lnTo>
                    <a:lnTo>
                      <a:pt x="35" y="16"/>
                    </a:lnTo>
                    <a:lnTo>
                      <a:pt x="31" y="11"/>
                    </a:lnTo>
                    <a:lnTo>
                      <a:pt x="31" y="11"/>
                    </a:lnTo>
                    <a:close/>
                    <a:moveTo>
                      <a:pt x="25" y="1"/>
                    </a:moveTo>
                    <a:lnTo>
                      <a:pt x="27" y="0"/>
                    </a:lnTo>
                    <a:lnTo>
                      <a:pt x="31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5" y="1"/>
                    </a:lnTo>
                    <a:lnTo>
                      <a:pt x="25" y="1"/>
                    </a:lnTo>
                    <a:close/>
                    <a:moveTo>
                      <a:pt x="4" y="6"/>
                    </a:moveTo>
                    <a:lnTo>
                      <a:pt x="5" y="8"/>
                    </a:lnTo>
                    <a:lnTo>
                      <a:pt x="0" y="8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3" name="Freeform 312">
                <a:extLst>
                  <a:ext uri="{FF2B5EF4-FFF2-40B4-BE49-F238E27FC236}">
                    <a16:creationId xmlns:a16="http://schemas.microsoft.com/office/drawing/2014/main" xmlns="" id="{A426AA9B-A5ED-417D-BA87-36455351EB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14" y="1750"/>
                <a:ext cx="34" cy="11"/>
              </a:xfrm>
              <a:custGeom>
                <a:avLst/>
                <a:gdLst>
                  <a:gd name="T0" fmla="*/ 28 w 34"/>
                  <a:gd name="T1" fmla="*/ 10 h 11"/>
                  <a:gd name="T2" fmla="*/ 29 w 34"/>
                  <a:gd name="T3" fmla="*/ 8 h 11"/>
                  <a:gd name="T4" fmla="*/ 34 w 34"/>
                  <a:gd name="T5" fmla="*/ 8 h 11"/>
                  <a:gd name="T6" fmla="*/ 33 w 34"/>
                  <a:gd name="T7" fmla="*/ 10 h 11"/>
                  <a:gd name="T8" fmla="*/ 28 w 34"/>
                  <a:gd name="T9" fmla="*/ 10 h 11"/>
                  <a:gd name="T10" fmla="*/ 28 w 34"/>
                  <a:gd name="T11" fmla="*/ 10 h 11"/>
                  <a:gd name="T12" fmla="*/ 24 w 34"/>
                  <a:gd name="T13" fmla="*/ 2 h 11"/>
                  <a:gd name="T14" fmla="*/ 21 w 34"/>
                  <a:gd name="T15" fmla="*/ 0 h 11"/>
                  <a:gd name="T16" fmla="*/ 15 w 34"/>
                  <a:gd name="T17" fmla="*/ 2 h 11"/>
                  <a:gd name="T18" fmla="*/ 3 w 34"/>
                  <a:gd name="T19" fmla="*/ 0 h 11"/>
                  <a:gd name="T20" fmla="*/ 3 w 34"/>
                  <a:gd name="T21" fmla="*/ 3 h 11"/>
                  <a:gd name="T22" fmla="*/ 0 w 34"/>
                  <a:gd name="T23" fmla="*/ 5 h 11"/>
                  <a:gd name="T24" fmla="*/ 0 w 34"/>
                  <a:gd name="T25" fmla="*/ 6 h 11"/>
                  <a:gd name="T26" fmla="*/ 0 w 34"/>
                  <a:gd name="T27" fmla="*/ 8 h 11"/>
                  <a:gd name="T28" fmla="*/ 2 w 34"/>
                  <a:gd name="T29" fmla="*/ 11 h 11"/>
                  <a:gd name="T30" fmla="*/ 8 w 34"/>
                  <a:gd name="T31" fmla="*/ 11 h 11"/>
                  <a:gd name="T32" fmla="*/ 11 w 34"/>
                  <a:gd name="T33" fmla="*/ 11 h 11"/>
                  <a:gd name="T34" fmla="*/ 16 w 34"/>
                  <a:gd name="T35" fmla="*/ 10 h 11"/>
                  <a:gd name="T36" fmla="*/ 18 w 34"/>
                  <a:gd name="T37" fmla="*/ 11 h 11"/>
                  <a:gd name="T38" fmla="*/ 23 w 34"/>
                  <a:gd name="T39" fmla="*/ 10 h 11"/>
                  <a:gd name="T40" fmla="*/ 28 w 34"/>
                  <a:gd name="T41" fmla="*/ 5 h 11"/>
                  <a:gd name="T42" fmla="*/ 24 w 34"/>
                  <a:gd name="T43" fmla="*/ 3 h 11"/>
                  <a:gd name="T44" fmla="*/ 24 w 34"/>
                  <a:gd name="T4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11">
                    <a:moveTo>
                      <a:pt x="28" y="10"/>
                    </a:moveTo>
                    <a:lnTo>
                      <a:pt x="29" y="8"/>
                    </a:lnTo>
                    <a:lnTo>
                      <a:pt x="34" y="8"/>
                    </a:lnTo>
                    <a:lnTo>
                      <a:pt x="33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  <a:moveTo>
                      <a:pt x="24" y="2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6" y="10"/>
                    </a:lnTo>
                    <a:lnTo>
                      <a:pt x="18" y="11"/>
                    </a:lnTo>
                    <a:lnTo>
                      <a:pt x="23" y="10"/>
                    </a:lnTo>
                    <a:lnTo>
                      <a:pt x="28" y="5"/>
                    </a:lnTo>
                    <a:lnTo>
                      <a:pt x="24" y="3"/>
                    </a:lnTo>
                    <a:lnTo>
                      <a:pt x="24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xmlns="" id="{1CDBB193-9B98-46C9-B74F-8E7B4A3577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39" y="1725"/>
                <a:ext cx="60" cy="43"/>
              </a:xfrm>
              <a:custGeom>
                <a:avLst/>
                <a:gdLst>
                  <a:gd name="T0" fmla="*/ 55 w 60"/>
                  <a:gd name="T1" fmla="*/ 31 h 43"/>
                  <a:gd name="T2" fmla="*/ 57 w 60"/>
                  <a:gd name="T3" fmla="*/ 33 h 43"/>
                  <a:gd name="T4" fmla="*/ 54 w 60"/>
                  <a:gd name="T5" fmla="*/ 30 h 43"/>
                  <a:gd name="T6" fmla="*/ 54 w 60"/>
                  <a:gd name="T7" fmla="*/ 30 h 43"/>
                  <a:gd name="T8" fmla="*/ 6 w 60"/>
                  <a:gd name="T9" fmla="*/ 7 h 43"/>
                  <a:gd name="T10" fmla="*/ 6 w 60"/>
                  <a:gd name="T11" fmla="*/ 12 h 43"/>
                  <a:gd name="T12" fmla="*/ 3 w 60"/>
                  <a:gd name="T13" fmla="*/ 17 h 43"/>
                  <a:gd name="T14" fmla="*/ 3 w 60"/>
                  <a:gd name="T15" fmla="*/ 22 h 43"/>
                  <a:gd name="T16" fmla="*/ 3 w 60"/>
                  <a:gd name="T17" fmla="*/ 27 h 43"/>
                  <a:gd name="T18" fmla="*/ 0 w 60"/>
                  <a:gd name="T19" fmla="*/ 31 h 43"/>
                  <a:gd name="T20" fmla="*/ 3 w 60"/>
                  <a:gd name="T21" fmla="*/ 36 h 43"/>
                  <a:gd name="T22" fmla="*/ 5 w 60"/>
                  <a:gd name="T23" fmla="*/ 40 h 43"/>
                  <a:gd name="T24" fmla="*/ 8 w 60"/>
                  <a:gd name="T25" fmla="*/ 43 h 43"/>
                  <a:gd name="T26" fmla="*/ 14 w 60"/>
                  <a:gd name="T27" fmla="*/ 33 h 43"/>
                  <a:gd name="T28" fmla="*/ 14 w 60"/>
                  <a:gd name="T29" fmla="*/ 28 h 43"/>
                  <a:gd name="T30" fmla="*/ 19 w 60"/>
                  <a:gd name="T31" fmla="*/ 30 h 43"/>
                  <a:gd name="T32" fmla="*/ 23 w 60"/>
                  <a:gd name="T33" fmla="*/ 28 h 43"/>
                  <a:gd name="T34" fmla="*/ 24 w 60"/>
                  <a:gd name="T35" fmla="*/ 31 h 43"/>
                  <a:gd name="T36" fmla="*/ 34 w 60"/>
                  <a:gd name="T37" fmla="*/ 27 h 43"/>
                  <a:gd name="T38" fmla="*/ 42 w 60"/>
                  <a:gd name="T39" fmla="*/ 27 h 43"/>
                  <a:gd name="T40" fmla="*/ 49 w 60"/>
                  <a:gd name="T41" fmla="*/ 28 h 43"/>
                  <a:gd name="T42" fmla="*/ 57 w 60"/>
                  <a:gd name="T43" fmla="*/ 30 h 43"/>
                  <a:gd name="T44" fmla="*/ 59 w 60"/>
                  <a:gd name="T45" fmla="*/ 27 h 43"/>
                  <a:gd name="T46" fmla="*/ 59 w 60"/>
                  <a:gd name="T47" fmla="*/ 22 h 43"/>
                  <a:gd name="T48" fmla="*/ 50 w 60"/>
                  <a:gd name="T49" fmla="*/ 18 h 43"/>
                  <a:gd name="T50" fmla="*/ 44 w 60"/>
                  <a:gd name="T51" fmla="*/ 17 h 43"/>
                  <a:gd name="T52" fmla="*/ 36 w 60"/>
                  <a:gd name="T53" fmla="*/ 12 h 43"/>
                  <a:gd name="T54" fmla="*/ 34 w 60"/>
                  <a:gd name="T55" fmla="*/ 12 h 43"/>
                  <a:gd name="T56" fmla="*/ 46 w 60"/>
                  <a:gd name="T57" fmla="*/ 14 h 43"/>
                  <a:gd name="T58" fmla="*/ 47 w 60"/>
                  <a:gd name="T59" fmla="*/ 10 h 43"/>
                  <a:gd name="T60" fmla="*/ 39 w 60"/>
                  <a:gd name="T61" fmla="*/ 10 h 43"/>
                  <a:gd name="T62" fmla="*/ 34 w 60"/>
                  <a:gd name="T63" fmla="*/ 5 h 43"/>
                  <a:gd name="T64" fmla="*/ 31 w 60"/>
                  <a:gd name="T65" fmla="*/ 4 h 43"/>
                  <a:gd name="T66" fmla="*/ 16 w 60"/>
                  <a:gd name="T67" fmla="*/ 2 h 43"/>
                  <a:gd name="T68" fmla="*/ 8 w 60"/>
                  <a:gd name="T69" fmla="*/ 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43">
                    <a:moveTo>
                      <a:pt x="54" y="30"/>
                    </a:moveTo>
                    <a:lnTo>
                      <a:pt x="55" y="31"/>
                    </a:lnTo>
                    <a:lnTo>
                      <a:pt x="59" y="31"/>
                    </a:lnTo>
                    <a:lnTo>
                      <a:pt x="57" y="33"/>
                    </a:lnTo>
                    <a:lnTo>
                      <a:pt x="54" y="33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30"/>
                    </a:lnTo>
                    <a:close/>
                    <a:moveTo>
                      <a:pt x="6" y="5"/>
                    </a:moveTo>
                    <a:lnTo>
                      <a:pt x="6" y="7"/>
                    </a:lnTo>
                    <a:lnTo>
                      <a:pt x="5" y="10"/>
                    </a:lnTo>
                    <a:lnTo>
                      <a:pt x="6" y="12"/>
                    </a:lnTo>
                    <a:lnTo>
                      <a:pt x="5" y="15"/>
                    </a:lnTo>
                    <a:lnTo>
                      <a:pt x="3" y="17"/>
                    </a:lnTo>
                    <a:lnTo>
                      <a:pt x="3" y="18"/>
                    </a:lnTo>
                    <a:lnTo>
                      <a:pt x="3" y="22"/>
                    </a:lnTo>
                    <a:lnTo>
                      <a:pt x="3" y="25"/>
                    </a:lnTo>
                    <a:lnTo>
                      <a:pt x="3" y="27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3" y="36"/>
                    </a:lnTo>
                    <a:lnTo>
                      <a:pt x="3" y="38"/>
                    </a:lnTo>
                    <a:lnTo>
                      <a:pt x="5" y="40"/>
                    </a:lnTo>
                    <a:lnTo>
                      <a:pt x="6" y="41"/>
                    </a:lnTo>
                    <a:lnTo>
                      <a:pt x="8" y="43"/>
                    </a:lnTo>
                    <a:lnTo>
                      <a:pt x="10" y="38"/>
                    </a:lnTo>
                    <a:lnTo>
                      <a:pt x="14" y="33"/>
                    </a:lnTo>
                    <a:lnTo>
                      <a:pt x="13" y="31"/>
                    </a:lnTo>
                    <a:lnTo>
                      <a:pt x="14" y="28"/>
                    </a:lnTo>
                    <a:lnTo>
                      <a:pt x="16" y="30"/>
                    </a:lnTo>
                    <a:lnTo>
                      <a:pt x="19" y="30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3" y="31"/>
                    </a:lnTo>
                    <a:lnTo>
                      <a:pt x="24" y="31"/>
                    </a:lnTo>
                    <a:lnTo>
                      <a:pt x="29" y="31"/>
                    </a:lnTo>
                    <a:lnTo>
                      <a:pt x="34" y="27"/>
                    </a:lnTo>
                    <a:lnTo>
                      <a:pt x="37" y="27"/>
                    </a:lnTo>
                    <a:lnTo>
                      <a:pt x="42" y="27"/>
                    </a:lnTo>
                    <a:lnTo>
                      <a:pt x="46" y="27"/>
                    </a:lnTo>
                    <a:lnTo>
                      <a:pt x="49" y="28"/>
                    </a:lnTo>
                    <a:lnTo>
                      <a:pt x="52" y="28"/>
                    </a:lnTo>
                    <a:lnTo>
                      <a:pt x="57" y="30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60" y="23"/>
                    </a:lnTo>
                    <a:lnTo>
                      <a:pt x="59" y="22"/>
                    </a:lnTo>
                    <a:lnTo>
                      <a:pt x="54" y="18"/>
                    </a:lnTo>
                    <a:lnTo>
                      <a:pt x="50" y="18"/>
                    </a:lnTo>
                    <a:lnTo>
                      <a:pt x="47" y="17"/>
                    </a:lnTo>
                    <a:lnTo>
                      <a:pt x="44" y="17"/>
                    </a:lnTo>
                    <a:lnTo>
                      <a:pt x="41" y="15"/>
                    </a:lnTo>
                    <a:lnTo>
                      <a:pt x="36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9" y="12"/>
                    </a:lnTo>
                    <a:lnTo>
                      <a:pt x="46" y="14"/>
                    </a:lnTo>
                    <a:lnTo>
                      <a:pt x="49" y="12"/>
                    </a:lnTo>
                    <a:lnTo>
                      <a:pt x="47" y="10"/>
                    </a:lnTo>
                    <a:lnTo>
                      <a:pt x="44" y="10"/>
                    </a:lnTo>
                    <a:lnTo>
                      <a:pt x="39" y="10"/>
                    </a:lnTo>
                    <a:lnTo>
                      <a:pt x="37" y="5"/>
                    </a:lnTo>
                    <a:lnTo>
                      <a:pt x="34" y="5"/>
                    </a:lnTo>
                    <a:lnTo>
                      <a:pt x="32" y="5"/>
                    </a:lnTo>
                    <a:lnTo>
                      <a:pt x="31" y="4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xmlns="" id="{805791F0-0EF7-47F1-B178-6561964A3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74" y="39"/>
                <a:ext cx="669" cy="881"/>
              </a:xfrm>
              <a:custGeom>
                <a:avLst/>
                <a:gdLst>
                  <a:gd name="T0" fmla="*/ 102 w 410"/>
                  <a:gd name="T1" fmla="*/ 517 h 539"/>
                  <a:gd name="T2" fmla="*/ 79 w 410"/>
                  <a:gd name="T3" fmla="*/ 496 h 539"/>
                  <a:gd name="T4" fmla="*/ 69 w 410"/>
                  <a:gd name="T5" fmla="*/ 469 h 539"/>
                  <a:gd name="T6" fmla="*/ 64 w 410"/>
                  <a:gd name="T7" fmla="*/ 457 h 539"/>
                  <a:gd name="T8" fmla="*/ 71 w 410"/>
                  <a:gd name="T9" fmla="*/ 427 h 539"/>
                  <a:gd name="T10" fmla="*/ 67 w 410"/>
                  <a:gd name="T11" fmla="*/ 412 h 539"/>
                  <a:gd name="T12" fmla="*/ 84 w 410"/>
                  <a:gd name="T13" fmla="*/ 397 h 539"/>
                  <a:gd name="T14" fmla="*/ 88 w 410"/>
                  <a:gd name="T15" fmla="*/ 392 h 539"/>
                  <a:gd name="T16" fmla="*/ 94 w 410"/>
                  <a:gd name="T17" fmla="*/ 368 h 539"/>
                  <a:gd name="T18" fmla="*/ 98 w 410"/>
                  <a:gd name="T19" fmla="*/ 348 h 539"/>
                  <a:gd name="T20" fmla="*/ 97 w 410"/>
                  <a:gd name="T21" fmla="*/ 320 h 539"/>
                  <a:gd name="T22" fmla="*/ 73 w 410"/>
                  <a:gd name="T23" fmla="*/ 313 h 539"/>
                  <a:gd name="T24" fmla="*/ 82 w 410"/>
                  <a:gd name="T25" fmla="*/ 267 h 539"/>
                  <a:gd name="T26" fmla="*/ 64 w 410"/>
                  <a:gd name="T27" fmla="*/ 209 h 539"/>
                  <a:gd name="T28" fmla="*/ 13 w 410"/>
                  <a:gd name="T29" fmla="*/ 184 h 539"/>
                  <a:gd name="T30" fmla="*/ 41 w 410"/>
                  <a:gd name="T31" fmla="*/ 159 h 539"/>
                  <a:gd name="T32" fmla="*/ 15 w 410"/>
                  <a:gd name="T33" fmla="*/ 125 h 539"/>
                  <a:gd name="T34" fmla="*/ 82 w 410"/>
                  <a:gd name="T35" fmla="*/ 92 h 539"/>
                  <a:gd name="T36" fmla="*/ 105 w 410"/>
                  <a:gd name="T37" fmla="*/ 62 h 539"/>
                  <a:gd name="T38" fmla="*/ 160 w 410"/>
                  <a:gd name="T39" fmla="*/ 33 h 539"/>
                  <a:gd name="T40" fmla="*/ 188 w 410"/>
                  <a:gd name="T41" fmla="*/ 58 h 539"/>
                  <a:gd name="T42" fmla="*/ 220 w 410"/>
                  <a:gd name="T43" fmla="*/ 58 h 539"/>
                  <a:gd name="T44" fmla="*/ 234 w 410"/>
                  <a:gd name="T45" fmla="*/ 24 h 539"/>
                  <a:gd name="T46" fmla="*/ 276 w 410"/>
                  <a:gd name="T47" fmla="*/ 4 h 539"/>
                  <a:gd name="T48" fmla="*/ 302 w 410"/>
                  <a:gd name="T49" fmla="*/ 22 h 539"/>
                  <a:gd name="T50" fmla="*/ 323 w 410"/>
                  <a:gd name="T51" fmla="*/ 27 h 539"/>
                  <a:gd name="T52" fmla="*/ 361 w 410"/>
                  <a:gd name="T53" fmla="*/ 56 h 539"/>
                  <a:gd name="T54" fmla="*/ 282 w 410"/>
                  <a:gd name="T55" fmla="*/ 70 h 539"/>
                  <a:gd name="T56" fmla="*/ 344 w 410"/>
                  <a:gd name="T57" fmla="*/ 75 h 539"/>
                  <a:gd name="T58" fmla="*/ 356 w 410"/>
                  <a:gd name="T59" fmla="*/ 94 h 539"/>
                  <a:gd name="T60" fmla="*/ 393 w 410"/>
                  <a:gd name="T61" fmla="*/ 106 h 539"/>
                  <a:gd name="T62" fmla="*/ 357 w 410"/>
                  <a:gd name="T63" fmla="*/ 128 h 539"/>
                  <a:gd name="T64" fmla="*/ 342 w 410"/>
                  <a:gd name="T65" fmla="*/ 191 h 539"/>
                  <a:gd name="T66" fmla="*/ 340 w 410"/>
                  <a:gd name="T67" fmla="*/ 218 h 539"/>
                  <a:gd name="T68" fmla="*/ 341 w 410"/>
                  <a:gd name="T69" fmla="*/ 244 h 539"/>
                  <a:gd name="T70" fmla="*/ 332 w 410"/>
                  <a:gd name="T71" fmla="*/ 262 h 539"/>
                  <a:gd name="T72" fmla="*/ 330 w 410"/>
                  <a:gd name="T73" fmla="*/ 289 h 539"/>
                  <a:gd name="T74" fmla="*/ 302 w 410"/>
                  <a:gd name="T75" fmla="*/ 295 h 539"/>
                  <a:gd name="T76" fmla="*/ 288 w 410"/>
                  <a:gd name="T77" fmla="*/ 310 h 539"/>
                  <a:gd name="T78" fmla="*/ 318 w 410"/>
                  <a:gd name="T79" fmla="*/ 336 h 539"/>
                  <a:gd name="T80" fmla="*/ 299 w 410"/>
                  <a:gd name="T81" fmla="*/ 352 h 539"/>
                  <a:gd name="T82" fmla="*/ 274 w 410"/>
                  <a:gd name="T83" fmla="*/ 349 h 539"/>
                  <a:gd name="T84" fmla="*/ 293 w 410"/>
                  <a:gd name="T85" fmla="*/ 364 h 539"/>
                  <a:gd name="T86" fmla="*/ 277 w 410"/>
                  <a:gd name="T87" fmla="*/ 394 h 539"/>
                  <a:gd name="T88" fmla="*/ 232 w 410"/>
                  <a:gd name="T89" fmla="*/ 400 h 539"/>
                  <a:gd name="T90" fmla="*/ 193 w 410"/>
                  <a:gd name="T91" fmla="*/ 439 h 539"/>
                  <a:gd name="T92" fmla="*/ 163 w 410"/>
                  <a:gd name="T93" fmla="*/ 446 h 539"/>
                  <a:gd name="T94" fmla="*/ 143 w 410"/>
                  <a:gd name="T95" fmla="*/ 476 h 539"/>
                  <a:gd name="T96" fmla="*/ 135 w 410"/>
                  <a:gd name="T97" fmla="*/ 503 h 539"/>
                  <a:gd name="T98" fmla="*/ 118 w 410"/>
                  <a:gd name="T99" fmla="*/ 525 h 539"/>
                  <a:gd name="T100" fmla="*/ 136 w 410"/>
                  <a:gd name="T101" fmla="*/ 492 h 539"/>
                  <a:gd name="T102" fmla="*/ 305 w 410"/>
                  <a:gd name="T103" fmla="*/ 378 h 539"/>
                  <a:gd name="T104" fmla="*/ 309 w 410"/>
                  <a:gd name="T105" fmla="*/ 311 h 539"/>
                  <a:gd name="T106" fmla="*/ 327 w 410"/>
                  <a:gd name="T107" fmla="*/ 277 h 539"/>
                  <a:gd name="T108" fmla="*/ 337 w 410"/>
                  <a:gd name="T109" fmla="*/ 232 h 539"/>
                  <a:gd name="T110" fmla="*/ 379 w 410"/>
                  <a:gd name="T111" fmla="*/ 72 h 539"/>
                  <a:gd name="T112" fmla="*/ 232 w 410"/>
                  <a:gd name="T113" fmla="*/ 21 h 539"/>
                  <a:gd name="T114" fmla="*/ 184 w 410"/>
                  <a:gd name="T115" fmla="*/ 42 h 539"/>
                  <a:gd name="T116" fmla="*/ 76 w 410"/>
                  <a:gd name="T117" fmla="*/ 251 h 539"/>
                  <a:gd name="T118" fmla="*/ 76 w 410"/>
                  <a:gd name="T119" fmla="*/ 292 h 539"/>
                  <a:gd name="T120" fmla="*/ 82 w 410"/>
                  <a:gd name="T121" fmla="*/ 520 h 539"/>
                  <a:gd name="T122" fmla="*/ 75 w 410"/>
                  <a:gd name="T123" fmla="*/ 380 h 539"/>
                  <a:gd name="T124" fmla="*/ 94 w 410"/>
                  <a:gd name="T125" fmla="*/ 358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0" h="539">
                    <a:moveTo>
                      <a:pt x="121" y="533"/>
                    </a:moveTo>
                    <a:cubicBezTo>
                      <a:pt x="117" y="531"/>
                      <a:pt x="117" y="531"/>
                      <a:pt x="117" y="531"/>
                    </a:cubicBezTo>
                    <a:cubicBezTo>
                      <a:pt x="114" y="531"/>
                      <a:pt x="114" y="531"/>
                      <a:pt x="114" y="531"/>
                    </a:cubicBezTo>
                    <a:cubicBezTo>
                      <a:pt x="114" y="530"/>
                      <a:pt x="114" y="530"/>
                      <a:pt x="114" y="530"/>
                    </a:cubicBezTo>
                    <a:cubicBezTo>
                      <a:pt x="115" y="529"/>
                      <a:pt x="115" y="529"/>
                      <a:pt x="115" y="529"/>
                    </a:cubicBezTo>
                    <a:cubicBezTo>
                      <a:pt x="115" y="529"/>
                      <a:pt x="115" y="529"/>
                      <a:pt x="115" y="529"/>
                    </a:cubicBezTo>
                    <a:cubicBezTo>
                      <a:pt x="115" y="528"/>
                      <a:pt x="115" y="528"/>
                      <a:pt x="115" y="528"/>
                    </a:cubicBezTo>
                    <a:cubicBezTo>
                      <a:pt x="114" y="528"/>
                      <a:pt x="114" y="528"/>
                      <a:pt x="114" y="528"/>
                    </a:cubicBezTo>
                    <a:cubicBezTo>
                      <a:pt x="113" y="529"/>
                      <a:pt x="113" y="529"/>
                      <a:pt x="113" y="529"/>
                    </a:cubicBezTo>
                    <a:cubicBezTo>
                      <a:pt x="113" y="529"/>
                      <a:pt x="113" y="529"/>
                      <a:pt x="113" y="529"/>
                    </a:cubicBezTo>
                    <a:cubicBezTo>
                      <a:pt x="113" y="531"/>
                      <a:pt x="113" y="531"/>
                      <a:pt x="113" y="531"/>
                    </a:cubicBezTo>
                    <a:cubicBezTo>
                      <a:pt x="111" y="531"/>
                      <a:pt x="111" y="531"/>
                      <a:pt x="111" y="531"/>
                    </a:cubicBezTo>
                    <a:cubicBezTo>
                      <a:pt x="111" y="531"/>
                      <a:pt x="111" y="531"/>
                      <a:pt x="111" y="531"/>
                    </a:cubicBezTo>
                    <a:cubicBezTo>
                      <a:pt x="110" y="532"/>
                      <a:pt x="110" y="532"/>
                      <a:pt x="110" y="532"/>
                    </a:cubicBezTo>
                    <a:cubicBezTo>
                      <a:pt x="110" y="533"/>
                      <a:pt x="110" y="533"/>
                      <a:pt x="110" y="533"/>
                    </a:cubicBezTo>
                    <a:cubicBezTo>
                      <a:pt x="110" y="534"/>
                      <a:pt x="110" y="534"/>
                      <a:pt x="110" y="534"/>
                    </a:cubicBezTo>
                    <a:cubicBezTo>
                      <a:pt x="109" y="533"/>
                      <a:pt x="109" y="533"/>
                      <a:pt x="109" y="533"/>
                    </a:cubicBezTo>
                    <a:cubicBezTo>
                      <a:pt x="109" y="532"/>
                      <a:pt x="109" y="532"/>
                      <a:pt x="109" y="532"/>
                    </a:cubicBezTo>
                    <a:cubicBezTo>
                      <a:pt x="110" y="530"/>
                      <a:pt x="110" y="530"/>
                      <a:pt x="110" y="530"/>
                    </a:cubicBezTo>
                    <a:cubicBezTo>
                      <a:pt x="110" y="529"/>
                      <a:pt x="110" y="529"/>
                      <a:pt x="110" y="529"/>
                    </a:cubicBezTo>
                    <a:cubicBezTo>
                      <a:pt x="111" y="526"/>
                      <a:pt x="111" y="526"/>
                      <a:pt x="111" y="526"/>
                    </a:cubicBezTo>
                    <a:cubicBezTo>
                      <a:pt x="111" y="526"/>
                      <a:pt x="111" y="526"/>
                      <a:pt x="111" y="526"/>
                    </a:cubicBezTo>
                    <a:cubicBezTo>
                      <a:pt x="110" y="527"/>
                      <a:pt x="110" y="527"/>
                      <a:pt x="110" y="527"/>
                    </a:cubicBezTo>
                    <a:cubicBezTo>
                      <a:pt x="109" y="530"/>
                      <a:pt x="109" y="530"/>
                      <a:pt x="109" y="530"/>
                    </a:cubicBezTo>
                    <a:cubicBezTo>
                      <a:pt x="107" y="532"/>
                      <a:pt x="107" y="532"/>
                      <a:pt x="107" y="532"/>
                    </a:cubicBezTo>
                    <a:cubicBezTo>
                      <a:pt x="106" y="531"/>
                      <a:pt x="106" y="531"/>
                      <a:pt x="106" y="531"/>
                    </a:cubicBezTo>
                    <a:cubicBezTo>
                      <a:pt x="106" y="530"/>
                      <a:pt x="106" y="530"/>
                      <a:pt x="106" y="530"/>
                    </a:cubicBezTo>
                    <a:cubicBezTo>
                      <a:pt x="108" y="528"/>
                      <a:pt x="108" y="528"/>
                      <a:pt x="108" y="528"/>
                    </a:cubicBezTo>
                    <a:cubicBezTo>
                      <a:pt x="109" y="527"/>
                      <a:pt x="109" y="527"/>
                      <a:pt x="109" y="527"/>
                    </a:cubicBezTo>
                    <a:cubicBezTo>
                      <a:pt x="110" y="525"/>
                      <a:pt x="110" y="525"/>
                      <a:pt x="110" y="525"/>
                    </a:cubicBezTo>
                    <a:cubicBezTo>
                      <a:pt x="108" y="525"/>
                      <a:pt x="108" y="525"/>
                      <a:pt x="108" y="525"/>
                    </a:cubicBezTo>
                    <a:cubicBezTo>
                      <a:pt x="108" y="525"/>
                      <a:pt x="108" y="525"/>
                      <a:pt x="108" y="525"/>
                    </a:cubicBezTo>
                    <a:cubicBezTo>
                      <a:pt x="107" y="527"/>
                      <a:pt x="107" y="527"/>
                      <a:pt x="107" y="527"/>
                    </a:cubicBezTo>
                    <a:cubicBezTo>
                      <a:pt x="106" y="527"/>
                      <a:pt x="106" y="527"/>
                      <a:pt x="106" y="527"/>
                    </a:cubicBezTo>
                    <a:cubicBezTo>
                      <a:pt x="105" y="526"/>
                      <a:pt x="105" y="526"/>
                      <a:pt x="105" y="526"/>
                    </a:cubicBezTo>
                    <a:cubicBezTo>
                      <a:pt x="106" y="525"/>
                      <a:pt x="106" y="525"/>
                      <a:pt x="106" y="525"/>
                    </a:cubicBezTo>
                    <a:cubicBezTo>
                      <a:pt x="107" y="524"/>
                      <a:pt x="107" y="524"/>
                      <a:pt x="107" y="524"/>
                    </a:cubicBezTo>
                    <a:cubicBezTo>
                      <a:pt x="107" y="523"/>
                      <a:pt x="107" y="523"/>
                      <a:pt x="107" y="523"/>
                    </a:cubicBezTo>
                    <a:cubicBezTo>
                      <a:pt x="106" y="523"/>
                      <a:pt x="106" y="523"/>
                      <a:pt x="106" y="523"/>
                    </a:cubicBezTo>
                    <a:cubicBezTo>
                      <a:pt x="105" y="524"/>
                      <a:pt x="105" y="524"/>
                      <a:pt x="105" y="524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4" y="526"/>
                      <a:pt x="104" y="526"/>
                      <a:pt x="104" y="526"/>
                    </a:cubicBezTo>
                    <a:cubicBezTo>
                      <a:pt x="103" y="525"/>
                      <a:pt x="103" y="525"/>
                      <a:pt x="103" y="525"/>
                    </a:cubicBezTo>
                    <a:cubicBezTo>
                      <a:pt x="103" y="524"/>
                      <a:pt x="103" y="524"/>
                      <a:pt x="103" y="524"/>
                    </a:cubicBezTo>
                    <a:cubicBezTo>
                      <a:pt x="102" y="524"/>
                      <a:pt x="102" y="524"/>
                      <a:pt x="102" y="524"/>
                    </a:cubicBezTo>
                    <a:cubicBezTo>
                      <a:pt x="101" y="525"/>
                      <a:pt x="101" y="525"/>
                      <a:pt x="101" y="525"/>
                    </a:cubicBezTo>
                    <a:cubicBezTo>
                      <a:pt x="100" y="525"/>
                      <a:pt x="100" y="525"/>
                      <a:pt x="100" y="525"/>
                    </a:cubicBezTo>
                    <a:cubicBezTo>
                      <a:pt x="101" y="524"/>
                      <a:pt x="101" y="524"/>
                      <a:pt x="101" y="524"/>
                    </a:cubicBezTo>
                    <a:cubicBezTo>
                      <a:pt x="103" y="522"/>
                      <a:pt x="103" y="522"/>
                      <a:pt x="103" y="522"/>
                    </a:cubicBezTo>
                    <a:cubicBezTo>
                      <a:pt x="104" y="521"/>
                      <a:pt x="104" y="521"/>
                      <a:pt x="104" y="521"/>
                    </a:cubicBezTo>
                    <a:cubicBezTo>
                      <a:pt x="105" y="520"/>
                      <a:pt x="105" y="520"/>
                      <a:pt x="105" y="520"/>
                    </a:cubicBezTo>
                    <a:cubicBezTo>
                      <a:pt x="107" y="519"/>
                      <a:pt x="107" y="519"/>
                      <a:pt x="107" y="519"/>
                    </a:cubicBezTo>
                    <a:cubicBezTo>
                      <a:pt x="106" y="518"/>
                      <a:pt x="106" y="518"/>
                      <a:pt x="106" y="518"/>
                    </a:cubicBezTo>
                    <a:cubicBezTo>
                      <a:pt x="104" y="520"/>
                      <a:pt x="104" y="520"/>
                      <a:pt x="104" y="520"/>
                    </a:cubicBezTo>
                    <a:cubicBezTo>
                      <a:pt x="103" y="520"/>
                      <a:pt x="103" y="520"/>
                      <a:pt x="103" y="520"/>
                    </a:cubicBezTo>
                    <a:cubicBezTo>
                      <a:pt x="102" y="520"/>
                      <a:pt x="102" y="520"/>
                      <a:pt x="102" y="520"/>
                    </a:cubicBezTo>
                    <a:cubicBezTo>
                      <a:pt x="103" y="519"/>
                      <a:pt x="103" y="519"/>
                      <a:pt x="103" y="519"/>
                    </a:cubicBezTo>
                    <a:cubicBezTo>
                      <a:pt x="104" y="519"/>
                      <a:pt x="104" y="519"/>
                      <a:pt x="104" y="519"/>
                    </a:cubicBezTo>
                    <a:cubicBezTo>
                      <a:pt x="106" y="518"/>
                      <a:pt x="106" y="518"/>
                      <a:pt x="106" y="518"/>
                    </a:cubicBezTo>
                    <a:cubicBezTo>
                      <a:pt x="107" y="517"/>
                      <a:pt x="107" y="517"/>
                      <a:pt x="107" y="517"/>
                    </a:cubicBezTo>
                    <a:cubicBezTo>
                      <a:pt x="109" y="516"/>
                      <a:pt x="109" y="516"/>
                      <a:pt x="109" y="516"/>
                    </a:cubicBezTo>
                    <a:cubicBezTo>
                      <a:pt x="109" y="515"/>
                      <a:pt x="109" y="515"/>
                      <a:pt x="109" y="515"/>
                    </a:cubicBezTo>
                    <a:cubicBezTo>
                      <a:pt x="108" y="513"/>
                      <a:pt x="108" y="513"/>
                      <a:pt x="108" y="513"/>
                    </a:cubicBezTo>
                    <a:cubicBezTo>
                      <a:pt x="107" y="513"/>
                      <a:pt x="107" y="513"/>
                      <a:pt x="107" y="513"/>
                    </a:cubicBezTo>
                    <a:cubicBezTo>
                      <a:pt x="106" y="516"/>
                      <a:pt x="106" y="516"/>
                      <a:pt x="106" y="516"/>
                    </a:cubicBezTo>
                    <a:cubicBezTo>
                      <a:pt x="103" y="518"/>
                      <a:pt x="103" y="518"/>
                      <a:pt x="103" y="518"/>
                    </a:cubicBezTo>
                    <a:cubicBezTo>
                      <a:pt x="101" y="519"/>
                      <a:pt x="101" y="519"/>
                      <a:pt x="101" y="519"/>
                    </a:cubicBezTo>
                    <a:cubicBezTo>
                      <a:pt x="100" y="518"/>
                      <a:pt x="100" y="518"/>
                      <a:pt x="100" y="518"/>
                    </a:cubicBezTo>
                    <a:cubicBezTo>
                      <a:pt x="101" y="517"/>
                      <a:pt x="101" y="517"/>
                      <a:pt x="101" y="517"/>
                    </a:cubicBezTo>
                    <a:cubicBezTo>
                      <a:pt x="102" y="517"/>
                      <a:pt x="102" y="517"/>
                      <a:pt x="102" y="517"/>
                    </a:cubicBezTo>
                    <a:cubicBezTo>
                      <a:pt x="104" y="515"/>
                      <a:pt x="104" y="515"/>
                      <a:pt x="104" y="515"/>
                    </a:cubicBezTo>
                    <a:cubicBezTo>
                      <a:pt x="104" y="513"/>
                      <a:pt x="104" y="513"/>
                      <a:pt x="104" y="513"/>
                    </a:cubicBezTo>
                    <a:cubicBezTo>
                      <a:pt x="103" y="512"/>
                      <a:pt x="103" y="512"/>
                      <a:pt x="103" y="512"/>
                    </a:cubicBezTo>
                    <a:cubicBezTo>
                      <a:pt x="102" y="511"/>
                      <a:pt x="102" y="511"/>
                      <a:pt x="102" y="511"/>
                    </a:cubicBezTo>
                    <a:cubicBezTo>
                      <a:pt x="101" y="512"/>
                      <a:pt x="101" y="512"/>
                      <a:pt x="101" y="512"/>
                    </a:cubicBezTo>
                    <a:cubicBezTo>
                      <a:pt x="101" y="513"/>
                      <a:pt x="101" y="513"/>
                      <a:pt x="101" y="513"/>
                    </a:cubicBezTo>
                    <a:cubicBezTo>
                      <a:pt x="102" y="514"/>
                      <a:pt x="102" y="514"/>
                      <a:pt x="102" y="514"/>
                    </a:cubicBezTo>
                    <a:cubicBezTo>
                      <a:pt x="102" y="515"/>
                      <a:pt x="102" y="515"/>
                      <a:pt x="102" y="515"/>
                    </a:cubicBezTo>
                    <a:cubicBezTo>
                      <a:pt x="101" y="516"/>
                      <a:pt x="101" y="516"/>
                      <a:pt x="101" y="516"/>
                    </a:cubicBezTo>
                    <a:cubicBezTo>
                      <a:pt x="100" y="515"/>
                      <a:pt x="100" y="515"/>
                      <a:pt x="100" y="515"/>
                    </a:cubicBezTo>
                    <a:cubicBezTo>
                      <a:pt x="98" y="515"/>
                      <a:pt x="98" y="515"/>
                      <a:pt x="98" y="5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6" y="516"/>
                      <a:pt x="96" y="516"/>
                      <a:pt x="96" y="516"/>
                    </a:cubicBezTo>
                    <a:cubicBezTo>
                      <a:pt x="95" y="518"/>
                      <a:pt x="95" y="518"/>
                      <a:pt x="95" y="518"/>
                    </a:cubicBezTo>
                    <a:cubicBezTo>
                      <a:pt x="94" y="518"/>
                      <a:pt x="94" y="518"/>
                      <a:pt x="94" y="518"/>
                    </a:cubicBezTo>
                    <a:cubicBezTo>
                      <a:pt x="93" y="518"/>
                      <a:pt x="93" y="518"/>
                      <a:pt x="93" y="518"/>
                    </a:cubicBezTo>
                    <a:cubicBezTo>
                      <a:pt x="93" y="517"/>
                      <a:pt x="93" y="517"/>
                      <a:pt x="93" y="517"/>
                    </a:cubicBezTo>
                    <a:cubicBezTo>
                      <a:pt x="91" y="517"/>
                      <a:pt x="91" y="517"/>
                      <a:pt x="91" y="517"/>
                    </a:cubicBezTo>
                    <a:cubicBezTo>
                      <a:pt x="90" y="518"/>
                      <a:pt x="90" y="518"/>
                      <a:pt x="90" y="518"/>
                    </a:cubicBezTo>
                    <a:cubicBezTo>
                      <a:pt x="89" y="517"/>
                      <a:pt x="89" y="517"/>
                      <a:pt x="89" y="517"/>
                    </a:cubicBezTo>
                    <a:cubicBezTo>
                      <a:pt x="88" y="518"/>
                      <a:pt x="88" y="518"/>
                      <a:pt x="88" y="518"/>
                    </a:cubicBezTo>
                    <a:cubicBezTo>
                      <a:pt x="88" y="519"/>
                      <a:pt x="88" y="519"/>
                      <a:pt x="88" y="519"/>
                    </a:cubicBezTo>
                    <a:cubicBezTo>
                      <a:pt x="88" y="520"/>
                      <a:pt x="88" y="520"/>
                      <a:pt x="88" y="520"/>
                    </a:cubicBezTo>
                    <a:cubicBezTo>
                      <a:pt x="88" y="520"/>
                      <a:pt x="88" y="520"/>
                      <a:pt x="88" y="520"/>
                    </a:cubicBezTo>
                    <a:cubicBezTo>
                      <a:pt x="85" y="519"/>
                      <a:pt x="85" y="519"/>
                      <a:pt x="85" y="519"/>
                    </a:cubicBezTo>
                    <a:cubicBezTo>
                      <a:pt x="85" y="518"/>
                      <a:pt x="85" y="518"/>
                      <a:pt x="85" y="518"/>
                    </a:cubicBezTo>
                    <a:cubicBezTo>
                      <a:pt x="85" y="517"/>
                      <a:pt x="85" y="517"/>
                      <a:pt x="85" y="517"/>
                    </a:cubicBezTo>
                    <a:cubicBezTo>
                      <a:pt x="87" y="517"/>
                      <a:pt x="87" y="517"/>
                      <a:pt x="87" y="517"/>
                    </a:cubicBezTo>
                    <a:cubicBezTo>
                      <a:pt x="88" y="516"/>
                      <a:pt x="88" y="516"/>
                      <a:pt x="88" y="516"/>
                    </a:cubicBezTo>
                    <a:cubicBezTo>
                      <a:pt x="88" y="515"/>
                      <a:pt x="88" y="515"/>
                      <a:pt x="88" y="515"/>
                    </a:cubicBezTo>
                    <a:cubicBezTo>
                      <a:pt x="86" y="515"/>
                      <a:pt x="86" y="515"/>
                      <a:pt x="86" y="515"/>
                    </a:cubicBezTo>
                    <a:cubicBezTo>
                      <a:pt x="86" y="513"/>
                      <a:pt x="86" y="513"/>
                      <a:pt x="86" y="513"/>
                    </a:cubicBezTo>
                    <a:cubicBezTo>
                      <a:pt x="85" y="512"/>
                      <a:pt x="85" y="512"/>
                      <a:pt x="85" y="512"/>
                    </a:cubicBezTo>
                    <a:cubicBezTo>
                      <a:pt x="84" y="511"/>
                      <a:pt x="84" y="511"/>
                      <a:pt x="84" y="511"/>
                    </a:cubicBezTo>
                    <a:cubicBezTo>
                      <a:pt x="83" y="511"/>
                      <a:pt x="83" y="511"/>
                      <a:pt x="83" y="511"/>
                    </a:cubicBezTo>
                    <a:cubicBezTo>
                      <a:pt x="81" y="513"/>
                      <a:pt x="81" y="513"/>
                      <a:pt x="81" y="513"/>
                    </a:cubicBezTo>
                    <a:cubicBezTo>
                      <a:pt x="80" y="513"/>
                      <a:pt x="80" y="513"/>
                      <a:pt x="80" y="513"/>
                    </a:cubicBezTo>
                    <a:cubicBezTo>
                      <a:pt x="79" y="511"/>
                      <a:pt x="79" y="511"/>
                      <a:pt x="79" y="511"/>
                    </a:cubicBezTo>
                    <a:cubicBezTo>
                      <a:pt x="81" y="510"/>
                      <a:pt x="81" y="510"/>
                      <a:pt x="81" y="510"/>
                    </a:cubicBezTo>
                    <a:cubicBezTo>
                      <a:pt x="80" y="509"/>
                      <a:pt x="80" y="509"/>
                      <a:pt x="80" y="509"/>
                    </a:cubicBezTo>
                    <a:cubicBezTo>
                      <a:pt x="79" y="509"/>
                      <a:pt x="79" y="509"/>
                      <a:pt x="79" y="509"/>
                    </a:cubicBezTo>
                    <a:cubicBezTo>
                      <a:pt x="79" y="508"/>
                      <a:pt x="79" y="508"/>
                      <a:pt x="79" y="508"/>
                    </a:cubicBezTo>
                    <a:cubicBezTo>
                      <a:pt x="81" y="507"/>
                      <a:pt x="81" y="507"/>
                      <a:pt x="81" y="507"/>
                    </a:cubicBezTo>
                    <a:cubicBezTo>
                      <a:pt x="82" y="507"/>
                      <a:pt x="82" y="507"/>
                      <a:pt x="82" y="507"/>
                    </a:cubicBezTo>
                    <a:cubicBezTo>
                      <a:pt x="83" y="507"/>
                      <a:pt x="83" y="507"/>
                      <a:pt x="83" y="507"/>
                    </a:cubicBezTo>
                    <a:cubicBezTo>
                      <a:pt x="82" y="506"/>
                      <a:pt x="82" y="506"/>
                      <a:pt x="82" y="506"/>
                    </a:cubicBezTo>
                    <a:cubicBezTo>
                      <a:pt x="81" y="506"/>
                      <a:pt x="81" y="506"/>
                      <a:pt x="81" y="506"/>
                    </a:cubicBezTo>
                    <a:cubicBezTo>
                      <a:pt x="80" y="506"/>
                      <a:pt x="80" y="506"/>
                      <a:pt x="80" y="506"/>
                    </a:cubicBezTo>
                    <a:cubicBezTo>
                      <a:pt x="78" y="507"/>
                      <a:pt x="78" y="507"/>
                      <a:pt x="78" y="507"/>
                    </a:cubicBezTo>
                    <a:cubicBezTo>
                      <a:pt x="76" y="508"/>
                      <a:pt x="76" y="508"/>
                      <a:pt x="76" y="508"/>
                    </a:cubicBezTo>
                    <a:cubicBezTo>
                      <a:pt x="75" y="507"/>
                      <a:pt x="75" y="507"/>
                      <a:pt x="75" y="507"/>
                    </a:cubicBezTo>
                    <a:cubicBezTo>
                      <a:pt x="75" y="506"/>
                      <a:pt x="75" y="506"/>
                      <a:pt x="75" y="506"/>
                    </a:cubicBezTo>
                    <a:cubicBezTo>
                      <a:pt x="76" y="505"/>
                      <a:pt x="76" y="505"/>
                      <a:pt x="76" y="505"/>
                    </a:cubicBezTo>
                    <a:cubicBezTo>
                      <a:pt x="77" y="505"/>
                      <a:pt x="77" y="505"/>
                      <a:pt x="77" y="505"/>
                    </a:cubicBezTo>
                    <a:cubicBezTo>
                      <a:pt x="77" y="503"/>
                      <a:pt x="77" y="503"/>
                      <a:pt x="77" y="503"/>
                    </a:cubicBezTo>
                    <a:cubicBezTo>
                      <a:pt x="79" y="502"/>
                      <a:pt x="79" y="502"/>
                      <a:pt x="79" y="502"/>
                    </a:cubicBezTo>
                    <a:cubicBezTo>
                      <a:pt x="80" y="501"/>
                      <a:pt x="80" y="501"/>
                      <a:pt x="80" y="501"/>
                    </a:cubicBezTo>
                    <a:cubicBezTo>
                      <a:pt x="80" y="501"/>
                      <a:pt x="80" y="501"/>
                      <a:pt x="80" y="501"/>
                    </a:cubicBezTo>
                    <a:cubicBezTo>
                      <a:pt x="78" y="500"/>
                      <a:pt x="78" y="500"/>
                      <a:pt x="78" y="500"/>
                    </a:cubicBezTo>
                    <a:cubicBezTo>
                      <a:pt x="77" y="501"/>
                      <a:pt x="77" y="501"/>
                      <a:pt x="77" y="501"/>
                    </a:cubicBezTo>
                    <a:cubicBezTo>
                      <a:pt x="75" y="502"/>
                      <a:pt x="75" y="502"/>
                      <a:pt x="75" y="502"/>
                    </a:cubicBezTo>
                    <a:cubicBezTo>
                      <a:pt x="74" y="501"/>
                      <a:pt x="74" y="501"/>
                      <a:pt x="74" y="501"/>
                    </a:cubicBezTo>
                    <a:cubicBezTo>
                      <a:pt x="75" y="500"/>
                      <a:pt x="75" y="500"/>
                      <a:pt x="75" y="500"/>
                    </a:cubicBezTo>
                    <a:cubicBezTo>
                      <a:pt x="76" y="500"/>
                      <a:pt x="76" y="500"/>
                      <a:pt x="76" y="500"/>
                    </a:cubicBezTo>
                    <a:cubicBezTo>
                      <a:pt x="78" y="500"/>
                      <a:pt x="78" y="500"/>
                      <a:pt x="78" y="500"/>
                    </a:cubicBezTo>
                    <a:cubicBezTo>
                      <a:pt x="78" y="499"/>
                      <a:pt x="78" y="499"/>
                      <a:pt x="78" y="499"/>
                    </a:cubicBezTo>
                    <a:cubicBezTo>
                      <a:pt x="80" y="498"/>
                      <a:pt x="80" y="498"/>
                      <a:pt x="80" y="498"/>
                    </a:cubicBezTo>
                    <a:cubicBezTo>
                      <a:pt x="79" y="497"/>
                      <a:pt x="79" y="497"/>
                      <a:pt x="79" y="497"/>
                    </a:cubicBezTo>
                    <a:cubicBezTo>
                      <a:pt x="80" y="496"/>
                      <a:pt x="80" y="496"/>
                      <a:pt x="80" y="496"/>
                    </a:cubicBezTo>
                    <a:cubicBezTo>
                      <a:pt x="79" y="496"/>
                      <a:pt x="79" y="496"/>
                      <a:pt x="79" y="496"/>
                    </a:cubicBezTo>
                    <a:cubicBezTo>
                      <a:pt x="77" y="496"/>
                      <a:pt x="77" y="496"/>
                      <a:pt x="77" y="496"/>
                    </a:cubicBezTo>
                    <a:cubicBezTo>
                      <a:pt x="77" y="497"/>
                      <a:pt x="77" y="497"/>
                      <a:pt x="77" y="497"/>
                    </a:cubicBezTo>
                    <a:cubicBezTo>
                      <a:pt x="76" y="498"/>
                      <a:pt x="76" y="498"/>
                      <a:pt x="76" y="498"/>
                    </a:cubicBezTo>
                    <a:cubicBezTo>
                      <a:pt x="74" y="498"/>
                      <a:pt x="74" y="498"/>
                      <a:pt x="74" y="498"/>
                    </a:cubicBezTo>
                    <a:cubicBezTo>
                      <a:pt x="75" y="497"/>
                      <a:pt x="75" y="497"/>
                      <a:pt x="75" y="497"/>
                    </a:cubicBezTo>
                    <a:cubicBezTo>
                      <a:pt x="76" y="497"/>
                      <a:pt x="76" y="497"/>
                      <a:pt x="76" y="497"/>
                    </a:cubicBezTo>
                    <a:cubicBezTo>
                      <a:pt x="76" y="495"/>
                      <a:pt x="76" y="495"/>
                      <a:pt x="76" y="495"/>
                    </a:cubicBezTo>
                    <a:cubicBezTo>
                      <a:pt x="75" y="495"/>
                      <a:pt x="75" y="495"/>
                      <a:pt x="75" y="495"/>
                    </a:cubicBezTo>
                    <a:cubicBezTo>
                      <a:pt x="76" y="494"/>
                      <a:pt x="76" y="494"/>
                      <a:pt x="76" y="494"/>
                    </a:cubicBezTo>
                    <a:cubicBezTo>
                      <a:pt x="76" y="493"/>
                      <a:pt x="76" y="493"/>
                      <a:pt x="76" y="493"/>
                    </a:cubicBezTo>
                    <a:cubicBezTo>
                      <a:pt x="76" y="493"/>
                      <a:pt x="76" y="493"/>
                      <a:pt x="76" y="493"/>
                    </a:cubicBezTo>
                    <a:cubicBezTo>
                      <a:pt x="74" y="493"/>
                      <a:pt x="74" y="493"/>
                      <a:pt x="74" y="493"/>
                    </a:cubicBezTo>
                    <a:cubicBezTo>
                      <a:pt x="74" y="492"/>
                      <a:pt x="74" y="492"/>
                      <a:pt x="74" y="492"/>
                    </a:cubicBezTo>
                    <a:cubicBezTo>
                      <a:pt x="75" y="491"/>
                      <a:pt x="75" y="491"/>
                      <a:pt x="75" y="491"/>
                    </a:cubicBezTo>
                    <a:cubicBezTo>
                      <a:pt x="75" y="490"/>
                      <a:pt x="75" y="490"/>
                      <a:pt x="75" y="490"/>
                    </a:cubicBezTo>
                    <a:cubicBezTo>
                      <a:pt x="73" y="490"/>
                      <a:pt x="73" y="490"/>
                      <a:pt x="73" y="490"/>
                    </a:cubicBezTo>
                    <a:cubicBezTo>
                      <a:pt x="73" y="490"/>
                      <a:pt x="73" y="490"/>
                      <a:pt x="73" y="490"/>
                    </a:cubicBezTo>
                    <a:cubicBezTo>
                      <a:pt x="71" y="490"/>
                      <a:pt x="71" y="490"/>
                      <a:pt x="71" y="490"/>
                    </a:cubicBezTo>
                    <a:cubicBezTo>
                      <a:pt x="71" y="490"/>
                      <a:pt x="71" y="490"/>
                      <a:pt x="71" y="490"/>
                    </a:cubicBezTo>
                    <a:cubicBezTo>
                      <a:pt x="72" y="488"/>
                      <a:pt x="72" y="488"/>
                      <a:pt x="72" y="488"/>
                    </a:cubicBezTo>
                    <a:cubicBezTo>
                      <a:pt x="73" y="487"/>
                      <a:pt x="73" y="487"/>
                      <a:pt x="73" y="487"/>
                    </a:cubicBezTo>
                    <a:cubicBezTo>
                      <a:pt x="74" y="487"/>
                      <a:pt x="74" y="487"/>
                      <a:pt x="74" y="487"/>
                    </a:cubicBezTo>
                    <a:cubicBezTo>
                      <a:pt x="75" y="485"/>
                      <a:pt x="75" y="485"/>
                      <a:pt x="75" y="485"/>
                    </a:cubicBezTo>
                    <a:cubicBezTo>
                      <a:pt x="74" y="484"/>
                      <a:pt x="74" y="484"/>
                      <a:pt x="74" y="484"/>
                    </a:cubicBezTo>
                    <a:cubicBezTo>
                      <a:pt x="75" y="483"/>
                      <a:pt x="75" y="483"/>
                      <a:pt x="75" y="483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1"/>
                      <a:pt x="75" y="481"/>
                      <a:pt x="75" y="481"/>
                    </a:cubicBezTo>
                    <a:cubicBezTo>
                      <a:pt x="74" y="482"/>
                      <a:pt x="74" y="482"/>
                      <a:pt x="74" y="482"/>
                    </a:cubicBezTo>
                    <a:cubicBezTo>
                      <a:pt x="74" y="483"/>
                      <a:pt x="74" y="483"/>
                      <a:pt x="74" y="483"/>
                    </a:cubicBezTo>
                    <a:cubicBezTo>
                      <a:pt x="73" y="481"/>
                      <a:pt x="73" y="481"/>
                      <a:pt x="73" y="481"/>
                    </a:cubicBezTo>
                    <a:cubicBezTo>
                      <a:pt x="72" y="481"/>
                      <a:pt x="72" y="481"/>
                      <a:pt x="72" y="481"/>
                    </a:cubicBezTo>
                    <a:cubicBezTo>
                      <a:pt x="71" y="482"/>
                      <a:pt x="71" y="482"/>
                      <a:pt x="71" y="482"/>
                    </a:cubicBezTo>
                    <a:cubicBezTo>
                      <a:pt x="71" y="482"/>
                      <a:pt x="71" y="482"/>
                      <a:pt x="71" y="482"/>
                    </a:cubicBezTo>
                    <a:cubicBezTo>
                      <a:pt x="70" y="480"/>
                      <a:pt x="70" y="480"/>
                      <a:pt x="70" y="480"/>
                    </a:cubicBezTo>
                    <a:cubicBezTo>
                      <a:pt x="70" y="479"/>
                      <a:pt x="70" y="479"/>
                      <a:pt x="70" y="479"/>
                    </a:cubicBezTo>
                    <a:cubicBezTo>
                      <a:pt x="73" y="478"/>
                      <a:pt x="73" y="478"/>
                      <a:pt x="73" y="478"/>
                    </a:cubicBezTo>
                    <a:cubicBezTo>
                      <a:pt x="73" y="478"/>
                      <a:pt x="73" y="478"/>
                      <a:pt x="73" y="478"/>
                    </a:cubicBezTo>
                    <a:cubicBezTo>
                      <a:pt x="71" y="477"/>
                      <a:pt x="71" y="477"/>
                      <a:pt x="71" y="477"/>
                    </a:cubicBezTo>
                    <a:cubicBezTo>
                      <a:pt x="70" y="477"/>
                      <a:pt x="70" y="477"/>
                      <a:pt x="70" y="477"/>
                    </a:cubicBezTo>
                    <a:cubicBezTo>
                      <a:pt x="69" y="478"/>
                      <a:pt x="69" y="478"/>
                      <a:pt x="69" y="478"/>
                    </a:cubicBezTo>
                    <a:cubicBezTo>
                      <a:pt x="68" y="478"/>
                      <a:pt x="68" y="478"/>
                      <a:pt x="68" y="478"/>
                    </a:cubicBezTo>
                    <a:cubicBezTo>
                      <a:pt x="67" y="477"/>
                      <a:pt x="67" y="477"/>
                      <a:pt x="67" y="477"/>
                    </a:cubicBezTo>
                    <a:cubicBezTo>
                      <a:pt x="67" y="476"/>
                      <a:pt x="67" y="476"/>
                      <a:pt x="67" y="476"/>
                    </a:cubicBezTo>
                    <a:cubicBezTo>
                      <a:pt x="69" y="475"/>
                      <a:pt x="69" y="475"/>
                      <a:pt x="69" y="475"/>
                    </a:cubicBezTo>
                    <a:cubicBezTo>
                      <a:pt x="70" y="476"/>
                      <a:pt x="70" y="476"/>
                      <a:pt x="70" y="476"/>
                    </a:cubicBezTo>
                    <a:cubicBezTo>
                      <a:pt x="73" y="475"/>
                      <a:pt x="73" y="475"/>
                      <a:pt x="73" y="475"/>
                    </a:cubicBezTo>
                    <a:cubicBezTo>
                      <a:pt x="73" y="474"/>
                      <a:pt x="73" y="474"/>
                      <a:pt x="73" y="474"/>
                    </a:cubicBezTo>
                    <a:cubicBezTo>
                      <a:pt x="73" y="474"/>
                      <a:pt x="73" y="474"/>
                      <a:pt x="73" y="474"/>
                    </a:cubicBezTo>
                    <a:cubicBezTo>
                      <a:pt x="72" y="474"/>
                      <a:pt x="72" y="474"/>
                      <a:pt x="72" y="474"/>
                    </a:cubicBezTo>
                    <a:cubicBezTo>
                      <a:pt x="69" y="474"/>
                      <a:pt x="69" y="474"/>
                      <a:pt x="69" y="474"/>
                    </a:cubicBezTo>
                    <a:cubicBezTo>
                      <a:pt x="69" y="474"/>
                      <a:pt x="69" y="474"/>
                      <a:pt x="69" y="474"/>
                    </a:cubicBezTo>
                    <a:cubicBezTo>
                      <a:pt x="68" y="474"/>
                      <a:pt x="68" y="474"/>
                      <a:pt x="68" y="474"/>
                    </a:cubicBezTo>
                    <a:cubicBezTo>
                      <a:pt x="67" y="473"/>
                      <a:pt x="67" y="473"/>
                      <a:pt x="67" y="473"/>
                    </a:cubicBezTo>
                    <a:cubicBezTo>
                      <a:pt x="68" y="472"/>
                      <a:pt x="68" y="472"/>
                      <a:pt x="68" y="472"/>
                    </a:cubicBezTo>
                    <a:cubicBezTo>
                      <a:pt x="71" y="472"/>
                      <a:pt x="71" y="472"/>
                      <a:pt x="71" y="472"/>
                    </a:cubicBezTo>
                    <a:cubicBezTo>
                      <a:pt x="72" y="471"/>
                      <a:pt x="72" y="471"/>
                      <a:pt x="72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70" y="471"/>
                      <a:pt x="70" y="471"/>
                      <a:pt x="70" y="471"/>
                    </a:cubicBezTo>
                    <a:cubicBezTo>
                      <a:pt x="69" y="470"/>
                      <a:pt x="69" y="470"/>
                      <a:pt x="69" y="470"/>
                    </a:cubicBezTo>
                    <a:cubicBezTo>
                      <a:pt x="69" y="470"/>
                      <a:pt x="69" y="470"/>
                      <a:pt x="69" y="470"/>
                    </a:cubicBezTo>
                    <a:cubicBezTo>
                      <a:pt x="71" y="470"/>
                      <a:pt x="71" y="470"/>
                      <a:pt x="71" y="470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73" y="470"/>
                      <a:pt x="73" y="470"/>
                      <a:pt x="73" y="470"/>
                    </a:cubicBezTo>
                    <a:cubicBezTo>
                      <a:pt x="74" y="469"/>
                      <a:pt x="74" y="469"/>
                      <a:pt x="74" y="469"/>
                    </a:cubicBezTo>
                    <a:cubicBezTo>
                      <a:pt x="74" y="468"/>
                      <a:pt x="74" y="468"/>
                      <a:pt x="74" y="468"/>
                    </a:cubicBezTo>
                    <a:cubicBezTo>
                      <a:pt x="73" y="469"/>
                      <a:pt x="73" y="469"/>
                      <a:pt x="73" y="469"/>
                    </a:cubicBezTo>
                    <a:cubicBezTo>
                      <a:pt x="72" y="469"/>
                      <a:pt x="72" y="469"/>
                      <a:pt x="72" y="469"/>
                    </a:cubicBezTo>
                    <a:cubicBezTo>
                      <a:pt x="71" y="469"/>
                      <a:pt x="71" y="469"/>
                      <a:pt x="71" y="469"/>
                    </a:cubicBezTo>
                    <a:cubicBezTo>
                      <a:pt x="70" y="469"/>
                      <a:pt x="70" y="469"/>
                      <a:pt x="70" y="469"/>
                    </a:cubicBezTo>
                    <a:cubicBezTo>
                      <a:pt x="69" y="469"/>
                      <a:pt x="69" y="469"/>
                      <a:pt x="69" y="469"/>
                    </a:cubicBezTo>
                    <a:cubicBezTo>
                      <a:pt x="68" y="470"/>
                      <a:pt x="68" y="470"/>
                      <a:pt x="68" y="470"/>
                    </a:cubicBezTo>
                    <a:cubicBezTo>
                      <a:pt x="67" y="471"/>
                      <a:pt x="67" y="471"/>
                      <a:pt x="67" y="471"/>
                    </a:cubicBezTo>
                    <a:cubicBezTo>
                      <a:pt x="65" y="470"/>
                      <a:pt x="65" y="470"/>
                      <a:pt x="65" y="470"/>
                    </a:cubicBezTo>
                    <a:cubicBezTo>
                      <a:pt x="65" y="468"/>
                      <a:pt x="65" y="468"/>
                      <a:pt x="65" y="468"/>
                    </a:cubicBezTo>
                    <a:cubicBezTo>
                      <a:pt x="66" y="467"/>
                      <a:pt x="66" y="467"/>
                      <a:pt x="66" y="467"/>
                    </a:cubicBezTo>
                    <a:cubicBezTo>
                      <a:pt x="68" y="467"/>
                      <a:pt x="68" y="467"/>
                      <a:pt x="68" y="467"/>
                    </a:cubicBezTo>
                    <a:cubicBezTo>
                      <a:pt x="70" y="466"/>
                      <a:pt x="70" y="466"/>
                      <a:pt x="70" y="466"/>
                    </a:cubicBezTo>
                    <a:cubicBezTo>
                      <a:pt x="69" y="465"/>
                      <a:pt x="69" y="465"/>
                      <a:pt x="69" y="465"/>
                    </a:cubicBezTo>
                    <a:cubicBezTo>
                      <a:pt x="67" y="466"/>
                      <a:pt x="67" y="466"/>
                      <a:pt x="67" y="466"/>
                    </a:cubicBezTo>
                    <a:cubicBezTo>
                      <a:pt x="66" y="466"/>
                      <a:pt x="66" y="466"/>
                      <a:pt x="66" y="466"/>
                    </a:cubicBezTo>
                    <a:cubicBezTo>
                      <a:pt x="65" y="464"/>
                      <a:pt x="65" y="464"/>
                      <a:pt x="65" y="464"/>
                    </a:cubicBezTo>
                    <a:cubicBezTo>
                      <a:pt x="66" y="463"/>
                      <a:pt x="66" y="463"/>
                      <a:pt x="66" y="463"/>
                    </a:cubicBezTo>
                    <a:cubicBezTo>
                      <a:pt x="67" y="462"/>
                      <a:pt x="67" y="462"/>
                      <a:pt x="67" y="462"/>
                    </a:cubicBezTo>
                    <a:cubicBezTo>
                      <a:pt x="71" y="463"/>
                      <a:pt x="71" y="463"/>
                      <a:pt x="71" y="463"/>
                    </a:cubicBezTo>
                    <a:cubicBezTo>
                      <a:pt x="73" y="462"/>
                      <a:pt x="73" y="462"/>
                      <a:pt x="73" y="462"/>
                    </a:cubicBezTo>
                    <a:cubicBezTo>
                      <a:pt x="76" y="462"/>
                      <a:pt x="76" y="462"/>
                      <a:pt x="76" y="462"/>
                    </a:cubicBezTo>
                    <a:cubicBezTo>
                      <a:pt x="77" y="461"/>
                      <a:pt x="77" y="461"/>
                      <a:pt x="77" y="461"/>
                    </a:cubicBezTo>
                    <a:cubicBezTo>
                      <a:pt x="77" y="460"/>
                      <a:pt x="77" y="460"/>
                      <a:pt x="77" y="460"/>
                    </a:cubicBezTo>
                    <a:cubicBezTo>
                      <a:pt x="76" y="460"/>
                      <a:pt x="76" y="460"/>
                      <a:pt x="76" y="460"/>
                    </a:cubicBezTo>
                    <a:cubicBezTo>
                      <a:pt x="74" y="460"/>
                      <a:pt x="74" y="460"/>
                      <a:pt x="74" y="460"/>
                    </a:cubicBezTo>
                    <a:cubicBezTo>
                      <a:pt x="73" y="461"/>
                      <a:pt x="73" y="461"/>
                      <a:pt x="73" y="461"/>
                    </a:cubicBezTo>
                    <a:cubicBezTo>
                      <a:pt x="70" y="461"/>
                      <a:pt x="70" y="461"/>
                      <a:pt x="70" y="461"/>
                    </a:cubicBezTo>
                    <a:cubicBezTo>
                      <a:pt x="69" y="462"/>
                      <a:pt x="69" y="462"/>
                      <a:pt x="69" y="462"/>
                    </a:cubicBezTo>
                    <a:cubicBezTo>
                      <a:pt x="67" y="462"/>
                      <a:pt x="67" y="462"/>
                      <a:pt x="67" y="462"/>
                    </a:cubicBezTo>
                    <a:cubicBezTo>
                      <a:pt x="66" y="461"/>
                      <a:pt x="66" y="461"/>
                      <a:pt x="66" y="461"/>
                    </a:cubicBezTo>
                    <a:cubicBezTo>
                      <a:pt x="66" y="461"/>
                      <a:pt x="66" y="461"/>
                      <a:pt x="66" y="461"/>
                    </a:cubicBezTo>
                    <a:cubicBezTo>
                      <a:pt x="70" y="461"/>
                      <a:pt x="70" y="461"/>
                      <a:pt x="70" y="461"/>
                    </a:cubicBezTo>
                    <a:cubicBezTo>
                      <a:pt x="71" y="460"/>
                      <a:pt x="71" y="460"/>
                      <a:pt x="71" y="460"/>
                    </a:cubicBezTo>
                    <a:cubicBezTo>
                      <a:pt x="73" y="458"/>
                      <a:pt x="73" y="458"/>
                      <a:pt x="73" y="458"/>
                    </a:cubicBezTo>
                    <a:cubicBezTo>
                      <a:pt x="74" y="458"/>
                      <a:pt x="74" y="458"/>
                      <a:pt x="74" y="458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6" y="459"/>
                      <a:pt x="76" y="459"/>
                      <a:pt x="76" y="459"/>
                    </a:cubicBezTo>
                    <a:cubicBezTo>
                      <a:pt x="77" y="459"/>
                      <a:pt x="77" y="459"/>
                      <a:pt x="77" y="459"/>
                    </a:cubicBezTo>
                    <a:cubicBezTo>
                      <a:pt x="78" y="458"/>
                      <a:pt x="78" y="458"/>
                      <a:pt x="78" y="458"/>
                    </a:cubicBezTo>
                    <a:cubicBezTo>
                      <a:pt x="77" y="458"/>
                      <a:pt x="77" y="458"/>
                      <a:pt x="77" y="458"/>
                    </a:cubicBezTo>
                    <a:cubicBezTo>
                      <a:pt x="75" y="456"/>
                      <a:pt x="75" y="456"/>
                      <a:pt x="75" y="456"/>
                    </a:cubicBezTo>
                    <a:cubicBezTo>
                      <a:pt x="74" y="456"/>
                      <a:pt x="74" y="456"/>
                      <a:pt x="74" y="456"/>
                    </a:cubicBezTo>
                    <a:cubicBezTo>
                      <a:pt x="74" y="456"/>
                      <a:pt x="74" y="456"/>
                      <a:pt x="74" y="456"/>
                    </a:cubicBezTo>
                    <a:cubicBezTo>
                      <a:pt x="74" y="455"/>
                      <a:pt x="74" y="455"/>
                      <a:pt x="74" y="455"/>
                    </a:cubicBezTo>
                    <a:cubicBezTo>
                      <a:pt x="75" y="455"/>
                      <a:pt x="75" y="455"/>
                      <a:pt x="75" y="455"/>
                    </a:cubicBezTo>
                    <a:cubicBezTo>
                      <a:pt x="76" y="454"/>
                      <a:pt x="76" y="454"/>
                      <a:pt x="76" y="454"/>
                    </a:cubicBezTo>
                    <a:cubicBezTo>
                      <a:pt x="76" y="454"/>
                      <a:pt x="76" y="454"/>
                      <a:pt x="76" y="454"/>
                    </a:cubicBezTo>
                    <a:cubicBezTo>
                      <a:pt x="77" y="456"/>
                      <a:pt x="77" y="456"/>
                      <a:pt x="77" y="456"/>
                    </a:cubicBezTo>
                    <a:cubicBezTo>
                      <a:pt x="79" y="457"/>
                      <a:pt x="79" y="457"/>
                      <a:pt x="79" y="457"/>
                    </a:cubicBezTo>
                    <a:cubicBezTo>
                      <a:pt x="80" y="458"/>
                      <a:pt x="80" y="458"/>
                      <a:pt x="80" y="458"/>
                    </a:cubicBezTo>
                    <a:cubicBezTo>
                      <a:pt x="80" y="458"/>
                      <a:pt x="80" y="458"/>
                      <a:pt x="80" y="458"/>
                    </a:cubicBezTo>
                    <a:cubicBezTo>
                      <a:pt x="80" y="456"/>
                      <a:pt x="80" y="456"/>
                      <a:pt x="80" y="456"/>
                    </a:cubicBezTo>
                    <a:cubicBezTo>
                      <a:pt x="79" y="456"/>
                      <a:pt x="79" y="456"/>
                      <a:pt x="79" y="456"/>
                    </a:cubicBezTo>
                    <a:cubicBezTo>
                      <a:pt x="79" y="453"/>
                      <a:pt x="79" y="453"/>
                      <a:pt x="79" y="453"/>
                    </a:cubicBezTo>
                    <a:cubicBezTo>
                      <a:pt x="80" y="451"/>
                      <a:pt x="80" y="451"/>
                      <a:pt x="80" y="451"/>
                    </a:cubicBezTo>
                    <a:cubicBezTo>
                      <a:pt x="80" y="451"/>
                      <a:pt x="80" y="451"/>
                      <a:pt x="80" y="451"/>
                    </a:cubicBezTo>
                    <a:cubicBezTo>
                      <a:pt x="79" y="451"/>
                      <a:pt x="79" y="451"/>
                      <a:pt x="79" y="451"/>
                    </a:cubicBezTo>
                    <a:cubicBezTo>
                      <a:pt x="78" y="452"/>
                      <a:pt x="78" y="452"/>
                      <a:pt x="78" y="452"/>
                    </a:cubicBezTo>
                    <a:cubicBezTo>
                      <a:pt x="77" y="452"/>
                      <a:pt x="77" y="452"/>
                      <a:pt x="77" y="452"/>
                    </a:cubicBezTo>
                    <a:cubicBezTo>
                      <a:pt x="76" y="450"/>
                      <a:pt x="76" y="450"/>
                      <a:pt x="76" y="450"/>
                    </a:cubicBezTo>
                    <a:cubicBezTo>
                      <a:pt x="75" y="451"/>
                      <a:pt x="75" y="451"/>
                      <a:pt x="75" y="451"/>
                    </a:cubicBezTo>
                    <a:cubicBezTo>
                      <a:pt x="73" y="454"/>
                      <a:pt x="73" y="454"/>
                      <a:pt x="73" y="454"/>
                    </a:cubicBezTo>
                    <a:cubicBezTo>
                      <a:pt x="72" y="454"/>
                      <a:pt x="72" y="454"/>
                      <a:pt x="72" y="454"/>
                    </a:cubicBezTo>
                    <a:cubicBezTo>
                      <a:pt x="71" y="454"/>
                      <a:pt x="71" y="454"/>
                      <a:pt x="71" y="454"/>
                    </a:cubicBezTo>
                    <a:cubicBezTo>
                      <a:pt x="72" y="453"/>
                      <a:pt x="72" y="453"/>
                      <a:pt x="72" y="453"/>
                    </a:cubicBezTo>
                    <a:cubicBezTo>
                      <a:pt x="72" y="452"/>
                      <a:pt x="72" y="452"/>
                      <a:pt x="72" y="452"/>
                    </a:cubicBezTo>
                    <a:cubicBezTo>
                      <a:pt x="72" y="452"/>
                      <a:pt x="72" y="452"/>
                      <a:pt x="72" y="452"/>
                    </a:cubicBezTo>
                    <a:cubicBezTo>
                      <a:pt x="71" y="452"/>
                      <a:pt x="71" y="452"/>
                      <a:pt x="71" y="452"/>
                    </a:cubicBezTo>
                    <a:cubicBezTo>
                      <a:pt x="70" y="454"/>
                      <a:pt x="70" y="454"/>
                      <a:pt x="70" y="454"/>
                    </a:cubicBezTo>
                    <a:cubicBezTo>
                      <a:pt x="69" y="454"/>
                      <a:pt x="69" y="454"/>
                      <a:pt x="69" y="454"/>
                    </a:cubicBezTo>
                    <a:cubicBezTo>
                      <a:pt x="67" y="456"/>
                      <a:pt x="67" y="456"/>
                      <a:pt x="67" y="456"/>
                    </a:cubicBezTo>
                    <a:cubicBezTo>
                      <a:pt x="66" y="456"/>
                      <a:pt x="66" y="456"/>
                      <a:pt x="66" y="456"/>
                    </a:cubicBezTo>
                    <a:cubicBezTo>
                      <a:pt x="65" y="459"/>
                      <a:pt x="65" y="459"/>
                      <a:pt x="65" y="459"/>
                    </a:cubicBezTo>
                    <a:cubicBezTo>
                      <a:pt x="64" y="459"/>
                      <a:pt x="64" y="459"/>
                      <a:pt x="64" y="459"/>
                    </a:cubicBezTo>
                    <a:cubicBezTo>
                      <a:pt x="64" y="457"/>
                      <a:pt x="64" y="457"/>
                      <a:pt x="64" y="457"/>
                    </a:cubicBezTo>
                    <a:cubicBezTo>
                      <a:pt x="64" y="455"/>
                      <a:pt x="64" y="455"/>
                      <a:pt x="64" y="455"/>
                    </a:cubicBezTo>
                    <a:cubicBezTo>
                      <a:pt x="65" y="454"/>
                      <a:pt x="65" y="454"/>
                      <a:pt x="65" y="454"/>
                    </a:cubicBezTo>
                    <a:cubicBezTo>
                      <a:pt x="64" y="453"/>
                      <a:pt x="64" y="453"/>
                      <a:pt x="64" y="453"/>
                    </a:cubicBezTo>
                    <a:cubicBezTo>
                      <a:pt x="64" y="451"/>
                      <a:pt x="64" y="451"/>
                      <a:pt x="64" y="451"/>
                    </a:cubicBezTo>
                    <a:cubicBezTo>
                      <a:pt x="64" y="450"/>
                      <a:pt x="64" y="450"/>
                      <a:pt x="64" y="450"/>
                    </a:cubicBezTo>
                    <a:cubicBezTo>
                      <a:pt x="65" y="450"/>
                      <a:pt x="65" y="450"/>
                      <a:pt x="65" y="450"/>
                    </a:cubicBezTo>
                    <a:cubicBezTo>
                      <a:pt x="68" y="449"/>
                      <a:pt x="68" y="449"/>
                      <a:pt x="68" y="449"/>
                    </a:cubicBezTo>
                    <a:cubicBezTo>
                      <a:pt x="69" y="449"/>
                      <a:pt x="69" y="449"/>
                      <a:pt x="69" y="449"/>
                    </a:cubicBezTo>
                    <a:cubicBezTo>
                      <a:pt x="71" y="447"/>
                      <a:pt x="71" y="447"/>
                      <a:pt x="71" y="447"/>
                    </a:cubicBezTo>
                    <a:cubicBezTo>
                      <a:pt x="71" y="447"/>
                      <a:pt x="71" y="447"/>
                      <a:pt x="71" y="447"/>
                    </a:cubicBezTo>
                    <a:cubicBezTo>
                      <a:pt x="71" y="446"/>
                      <a:pt x="71" y="446"/>
                      <a:pt x="71" y="446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69" y="447"/>
                      <a:pt x="69" y="447"/>
                      <a:pt x="69" y="447"/>
                    </a:cubicBezTo>
                    <a:cubicBezTo>
                      <a:pt x="68" y="447"/>
                      <a:pt x="68" y="447"/>
                      <a:pt x="68" y="447"/>
                    </a:cubicBezTo>
                    <a:cubicBezTo>
                      <a:pt x="67" y="448"/>
                      <a:pt x="67" y="448"/>
                      <a:pt x="67" y="448"/>
                    </a:cubicBezTo>
                    <a:cubicBezTo>
                      <a:pt x="66" y="449"/>
                      <a:pt x="66" y="449"/>
                      <a:pt x="66" y="449"/>
                    </a:cubicBezTo>
                    <a:cubicBezTo>
                      <a:pt x="65" y="449"/>
                      <a:pt x="65" y="449"/>
                      <a:pt x="65" y="449"/>
                    </a:cubicBezTo>
                    <a:cubicBezTo>
                      <a:pt x="64" y="447"/>
                      <a:pt x="64" y="447"/>
                      <a:pt x="64" y="447"/>
                    </a:cubicBezTo>
                    <a:cubicBezTo>
                      <a:pt x="64" y="445"/>
                      <a:pt x="64" y="445"/>
                      <a:pt x="64" y="445"/>
                    </a:cubicBezTo>
                    <a:cubicBezTo>
                      <a:pt x="65" y="444"/>
                      <a:pt x="65" y="444"/>
                      <a:pt x="65" y="444"/>
                    </a:cubicBezTo>
                    <a:cubicBezTo>
                      <a:pt x="65" y="443"/>
                      <a:pt x="65" y="443"/>
                      <a:pt x="65" y="443"/>
                    </a:cubicBezTo>
                    <a:cubicBezTo>
                      <a:pt x="64" y="441"/>
                      <a:pt x="64" y="441"/>
                      <a:pt x="64" y="441"/>
                    </a:cubicBezTo>
                    <a:cubicBezTo>
                      <a:pt x="64" y="441"/>
                      <a:pt x="64" y="441"/>
                      <a:pt x="64" y="441"/>
                    </a:cubicBezTo>
                    <a:cubicBezTo>
                      <a:pt x="63" y="442"/>
                      <a:pt x="63" y="442"/>
                      <a:pt x="63" y="442"/>
                    </a:cubicBezTo>
                    <a:cubicBezTo>
                      <a:pt x="62" y="442"/>
                      <a:pt x="62" y="442"/>
                      <a:pt x="62" y="442"/>
                    </a:cubicBezTo>
                    <a:cubicBezTo>
                      <a:pt x="62" y="441"/>
                      <a:pt x="62" y="441"/>
                      <a:pt x="62" y="441"/>
                    </a:cubicBezTo>
                    <a:cubicBezTo>
                      <a:pt x="63" y="439"/>
                      <a:pt x="63" y="439"/>
                      <a:pt x="63" y="439"/>
                    </a:cubicBezTo>
                    <a:cubicBezTo>
                      <a:pt x="65" y="439"/>
                      <a:pt x="65" y="439"/>
                      <a:pt x="65" y="439"/>
                    </a:cubicBezTo>
                    <a:cubicBezTo>
                      <a:pt x="66" y="438"/>
                      <a:pt x="66" y="438"/>
                      <a:pt x="66" y="438"/>
                    </a:cubicBezTo>
                    <a:cubicBezTo>
                      <a:pt x="68" y="438"/>
                      <a:pt x="68" y="438"/>
                      <a:pt x="68" y="438"/>
                    </a:cubicBezTo>
                    <a:cubicBezTo>
                      <a:pt x="69" y="437"/>
                      <a:pt x="69" y="437"/>
                      <a:pt x="69" y="437"/>
                    </a:cubicBezTo>
                    <a:cubicBezTo>
                      <a:pt x="70" y="436"/>
                      <a:pt x="70" y="436"/>
                      <a:pt x="70" y="436"/>
                    </a:cubicBezTo>
                    <a:cubicBezTo>
                      <a:pt x="71" y="435"/>
                      <a:pt x="71" y="435"/>
                      <a:pt x="71" y="435"/>
                    </a:cubicBezTo>
                    <a:cubicBezTo>
                      <a:pt x="71" y="434"/>
                      <a:pt x="71" y="434"/>
                      <a:pt x="71" y="434"/>
                    </a:cubicBezTo>
                    <a:cubicBezTo>
                      <a:pt x="72" y="435"/>
                      <a:pt x="72" y="435"/>
                      <a:pt x="72" y="435"/>
                    </a:cubicBezTo>
                    <a:cubicBezTo>
                      <a:pt x="73" y="434"/>
                      <a:pt x="73" y="434"/>
                      <a:pt x="73" y="434"/>
                    </a:cubicBezTo>
                    <a:cubicBezTo>
                      <a:pt x="76" y="434"/>
                      <a:pt x="76" y="434"/>
                      <a:pt x="76" y="434"/>
                    </a:cubicBezTo>
                    <a:cubicBezTo>
                      <a:pt x="77" y="435"/>
                      <a:pt x="77" y="435"/>
                      <a:pt x="77" y="435"/>
                    </a:cubicBezTo>
                    <a:cubicBezTo>
                      <a:pt x="78" y="435"/>
                      <a:pt x="78" y="435"/>
                      <a:pt x="78" y="435"/>
                    </a:cubicBezTo>
                    <a:cubicBezTo>
                      <a:pt x="78" y="434"/>
                      <a:pt x="78" y="434"/>
                      <a:pt x="78" y="434"/>
                    </a:cubicBezTo>
                    <a:cubicBezTo>
                      <a:pt x="76" y="433"/>
                      <a:pt x="76" y="433"/>
                      <a:pt x="76" y="433"/>
                    </a:cubicBezTo>
                    <a:cubicBezTo>
                      <a:pt x="75" y="432"/>
                      <a:pt x="75" y="432"/>
                      <a:pt x="75" y="432"/>
                    </a:cubicBezTo>
                    <a:cubicBezTo>
                      <a:pt x="74" y="432"/>
                      <a:pt x="74" y="432"/>
                      <a:pt x="74" y="432"/>
                    </a:cubicBezTo>
                    <a:cubicBezTo>
                      <a:pt x="71" y="434"/>
                      <a:pt x="71" y="434"/>
                      <a:pt x="71" y="434"/>
                    </a:cubicBezTo>
                    <a:cubicBezTo>
                      <a:pt x="70" y="434"/>
                      <a:pt x="70" y="434"/>
                      <a:pt x="70" y="434"/>
                    </a:cubicBezTo>
                    <a:cubicBezTo>
                      <a:pt x="69" y="434"/>
                      <a:pt x="69" y="434"/>
                      <a:pt x="69" y="434"/>
                    </a:cubicBezTo>
                    <a:cubicBezTo>
                      <a:pt x="68" y="436"/>
                      <a:pt x="68" y="436"/>
                      <a:pt x="68" y="436"/>
                    </a:cubicBezTo>
                    <a:cubicBezTo>
                      <a:pt x="67" y="437"/>
                      <a:pt x="67" y="437"/>
                      <a:pt x="67" y="437"/>
                    </a:cubicBezTo>
                    <a:cubicBezTo>
                      <a:pt x="66" y="437"/>
                      <a:pt x="66" y="437"/>
                      <a:pt x="66" y="437"/>
                    </a:cubicBezTo>
                    <a:cubicBezTo>
                      <a:pt x="65" y="438"/>
                      <a:pt x="65" y="438"/>
                      <a:pt x="65" y="438"/>
                    </a:cubicBezTo>
                    <a:cubicBezTo>
                      <a:pt x="64" y="438"/>
                      <a:pt x="64" y="438"/>
                      <a:pt x="64" y="438"/>
                    </a:cubicBezTo>
                    <a:cubicBezTo>
                      <a:pt x="63" y="438"/>
                      <a:pt x="63" y="438"/>
                      <a:pt x="63" y="438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62" y="436"/>
                      <a:pt x="62" y="436"/>
                      <a:pt x="62" y="436"/>
                    </a:cubicBezTo>
                    <a:cubicBezTo>
                      <a:pt x="63" y="435"/>
                      <a:pt x="63" y="435"/>
                      <a:pt x="63" y="435"/>
                    </a:cubicBezTo>
                    <a:cubicBezTo>
                      <a:pt x="64" y="434"/>
                      <a:pt x="64" y="434"/>
                      <a:pt x="64" y="434"/>
                    </a:cubicBezTo>
                    <a:cubicBezTo>
                      <a:pt x="62" y="433"/>
                      <a:pt x="62" y="433"/>
                      <a:pt x="62" y="433"/>
                    </a:cubicBezTo>
                    <a:cubicBezTo>
                      <a:pt x="61" y="433"/>
                      <a:pt x="61" y="433"/>
                      <a:pt x="61" y="433"/>
                    </a:cubicBezTo>
                    <a:cubicBezTo>
                      <a:pt x="60" y="432"/>
                      <a:pt x="60" y="432"/>
                      <a:pt x="60" y="432"/>
                    </a:cubicBezTo>
                    <a:cubicBezTo>
                      <a:pt x="60" y="431"/>
                      <a:pt x="60" y="431"/>
                      <a:pt x="60" y="431"/>
                    </a:cubicBezTo>
                    <a:cubicBezTo>
                      <a:pt x="63" y="431"/>
                      <a:pt x="63" y="431"/>
                      <a:pt x="63" y="431"/>
                    </a:cubicBezTo>
                    <a:cubicBezTo>
                      <a:pt x="64" y="429"/>
                      <a:pt x="64" y="429"/>
                      <a:pt x="64" y="429"/>
                    </a:cubicBezTo>
                    <a:cubicBezTo>
                      <a:pt x="65" y="429"/>
                      <a:pt x="65" y="429"/>
                      <a:pt x="65" y="429"/>
                    </a:cubicBezTo>
                    <a:cubicBezTo>
                      <a:pt x="65" y="430"/>
                      <a:pt x="65" y="430"/>
                      <a:pt x="65" y="430"/>
                    </a:cubicBezTo>
                    <a:cubicBezTo>
                      <a:pt x="67" y="430"/>
                      <a:pt x="67" y="430"/>
                      <a:pt x="67" y="430"/>
                    </a:cubicBezTo>
                    <a:cubicBezTo>
                      <a:pt x="68" y="430"/>
                      <a:pt x="68" y="430"/>
                      <a:pt x="68" y="430"/>
                    </a:cubicBezTo>
                    <a:cubicBezTo>
                      <a:pt x="70" y="428"/>
                      <a:pt x="70" y="428"/>
                      <a:pt x="70" y="428"/>
                    </a:cubicBezTo>
                    <a:cubicBezTo>
                      <a:pt x="71" y="428"/>
                      <a:pt x="71" y="428"/>
                      <a:pt x="71" y="428"/>
                    </a:cubicBezTo>
                    <a:cubicBezTo>
                      <a:pt x="71" y="427"/>
                      <a:pt x="71" y="427"/>
                      <a:pt x="71" y="427"/>
                    </a:cubicBezTo>
                    <a:cubicBezTo>
                      <a:pt x="71" y="427"/>
                      <a:pt x="71" y="427"/>
                      <a:pt x="71" y="427"/>
                    </a:cubicBezTo>
                    <a:cubicBezTo>
                      <a:pt x="70" y="427"/>
                      <a:pt x="70" y="427"/>
                      <a:pt x="70" y="427"/>
                    </a:cubicBezTo>
                    <a:cubicBezTo>
                      <a:pt x="68" y="428"/>
                      <a:pt x="68" y="428"/>
                      <a:pt x="68" y="428"/>
                    </a:cubicBezTo>
                    <a:cubicBezTo>
                      <a:pt x="67" y="429"/>
                      <a:pt x="67" y="429"/>
                      <a:pt x="67" y="429"/>
                    </a:cubicBez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7"/>
                      <a:pt x="65" y="427"/>
                      <a:pt x="65" y="427"/>
                    </a:cubicBezTo>
                    <a:cubicBezTo>
                      <a:pt x="64" y="427"/>
                      <a:pt x="64" y="427"/>
                      <a:pt x="64" y="427"/>
                    </a:cubicBezTo>
                    <a:cubicBezTo>
                      <a:pt x="63" y="428"/>
                      <a:pt x="63" y="428"/>
                      <a:pt x="63" y="428"/>
                    </a:cubicBezTo>
                    <a:cubicBezTo>
                      <a:pt x="61" y="429"/>
                      <a:pt x="61" y="429"/>
                      <a:pt x="61" y="429"/>
                    </a:cubicBezTo>
                    <a:cubicBezTo>
                      <a:pt x="61" y="428"/>
                      <a:pt x="61" y="428"/>
                      <a:pt x="61" y="428"/>
                    </a:cubicBezTo>
                    <a:cubicBezTo>
                      <a:pt x="60" y="428"/>
                      <a:pt x="60" y="428"/>
                      <a:pt x="60" y="428"/>
                    </a:cubicBezTo>
                    <a:cubicBezTo>
                      <a:pt x="59" y="429"/>
                      <a:pt x="59" y="429"/>
                      <a:pt x="59" y="429"/>
                    </a:cubicBezTo>
                    <a:cubicBezTo>
                      <a:pt x="58" y="428"/>
                      <a:pt x="58" y="428"/>
                      <a:pt x="58" y="428"/>
                    </a:cubicBezTo>
                    <a:cubicBezTo>
                      <a:pt x="59" y="428"/>
                      <a:pt x="59" y="428"/>
                      <a:pt x="59" y="428"/>
                    </a:cubicBezTo>
                    <a:cubicBezTo>
                      <a:pt x="60" y="427"/>
                      <a:pt x="60" y="427"/>
                      <a:pt x="60" y="427"/>
                    </a:cubicBezTo>
                    <a:cubicBezTo>
                      <a:pt x="62" y="426"/>
                      <a:pt x="62" y="426"/>
                      <a:pt x="62" y="426"/>
                    </a:cubicBezTo>
                    <a:cubicBezTo>
                      <a:pt x="65" y="425"/>
                      <a:pt x="65" y="425"/>
                      <a:pt x="65" y="425"/>
                    </a:cubicBezTo>
                    <a:cubicBezTo>
                      <a:pt x="66" y="424"/>
                      <a:pt x="66" y="424"/>
                      <a:pt x="66" y="424"/>
                    </a:cubicBezTo>
                    <a:cubicBezTo>
                      <a:pt x="69" y="424"/>
                      <a:pt x="69" y="424"/>
                      <a:pt x="69" y="424"/>
                    </a:cubicBezTo>
                    <a:cubicBezTo>
                      <a:pt x="71" y="422"/>
                      <a:pt x="71" y="422"/>
                      <a:pt x="71" y="422"/>
                    </a:cubicBezTo>
                    <a:cubicBezTo>
                      <a:pt x="74" y="418"/>
                      <a:pt x="74" y="418"/>
                      <a:pt x="74" y="418"/>
                    </a:cubicBezTo>
                    <a:cubicBezTo>
                      <a:pt x="77" y="417"/>
                      <a:pt x="77" y="417"/>
                      <a:pt x="77" y="417"/>
                    </a:cubicBezTo>
                    <a:cubicBezTo>
                      <a:pt x="79" y="416"/>
                      <a:pt x="79" y="416"/>
                      <a:pt x="79" y="416"/>
                    </a:cubicBezTo>
                    <a:cubicBezTo>
                      <a:pt x="81" y="416"/>
                      <a:pt x="81" y="416"/>
                      <a:pt x="81" y="416"/>
                    </a:cubicBezTo>
                    <a:cubicBezTo>
                      <a:pt x="81" y="415"/>
                      <a:pt x="81" y="415"/>
                      <a:pt x="81" y="415"/>
                    </a:cubicBezTo>
                    <a:cubicBezTo>
                      <a:pt x="81" y="415"/>
                      <a:pt x="81" y="415"/>
                      <a:pt x="81" y="415"/>
                    </a:cubicBezTo>
                    <a:cubicBezTo>
                      <a:pt x="80" y="414"/>
                      <a:pt x="80" y="414"/>
                      <a:pt x="80" y="414"/>
                    </a:cubicBezTo>
                    <a:cubicBezTo>
                      <a:pt x="78" y="415"/>
                      <a:pt x="78" y="415"/>
                      <a:pt x="78" y="415"/>
                    </a:cubicBezTo>
                    <a:cubicBezTo>
                      <a:pt x="73" y="417"/>
                      <a:pt x="73" y="417"/>
                      <a:pt x="73" y="417"/>
                    </a:cubicBezTo>
                    <a:cubicBezTo>
                      <a:pt x="71" y="419"/>
                      <a:pt x="71" y="419"/>
                      <a:pt x="71" y="419"/>
                    </a:cubicBezTo>
                    <a:cubicBezTo>
                      <a:pt x="69" y="422"/>
                      <a:pt x="69" y="422"/>
                      <a:pt x="69" y="422"/>
                    </a:cubicBezTo>
                    <a:cubicBezTo>
                      <a:pt x="67" y="423"/>
                      <a:pt x="67" y="423"/>
                      <a:pt x="67" y="423"/>
                    </a:cubicBezTo>
                    <a:cubicBezTo>
                      <a:pt x="64" y="423"/>
                      <a:pt x="64" y="423"/>
                      <a:pt x="64" y="423"/>
                    </a:cubicBezTo>
                    <a:cubicBezTo>
                      <a:pt x="63" y="424"/>
                      <a:pt x="63" y="424"/>
                      <a:pt x="63" y="424"/>
                    </a:cubicBezTo>
                    <a:cubicBezTo>
                      <a:pt x="59" y="426"/>
                      <a:pt x="59" y="426"/>
                      <a:pt x="59" y="426"/>
                    </a:cubicBezTo>
                    <a:cubicBezTo>
                      <a:pt x="58" y="426"/>
                      <a:pt x="58" y="426"/>
                      <a:pt x="58" y="426"/>
                    </a:cubicBezTo>
                    <a:cubicBezTo>
                      <a:pt x="58" y="425"/>
                      <a:pt x="58" y="425"/>
                      <a:pt x="58" y="425"/>
                    </a:cubicBezTo>
                    <a:cubicBezTo>
                      <a:pt x="58" y="424"/>
                      <a:pt x="58" y="424"/>
                      <a:pt x="58" y="424"/>
                    </a:cubicBezTo>
                    <a:cubicBezTo>
                      <a:pt x="58" y="421"/>
                      <a:pt x="58" y="421"/>
                      <a:pt x="58" y="421"/>
                    </a:cubicBezTo>
                    <a:cubicBezTo>
                      <a:pt x="59" y="419"/>
                      <a:pt x="59" y="419"/>
                      <a:pt x="59" y="419"/>
                    </a:cubicBezTo>
                    <a:cubicBezTo>
                      <a:pt x="60" y="419"/>
                      <a:pt x="60" y="419"/>
                      <a:pt x="60" y="419"/>
                    </a:cubicBezTo>
                    <a:cubicBezTo>
                      <a:pt x="62" y="420"/>
                      <a:pt x="62" y="420"/>
                      <a:pt x="62" y="420"/>
                    </a:cubicBezTo>
                    <a:cubicBezTo>
                      <a:pt x="63" y="420"/>
                      <a:pt x="63" y="420"/>
                      <a:pt x="63" y="420"/>
                    </a:cubicBezTo>
                    <a:cubicBezTo>
                      <a:pt x="65" y="420"/>
                      <a:pt x="65" y="420"/>
                      <a:pt x="65" y="420"/>
                    </a:cubicBezTo>
                    <a:cubicBezTo>
                      <a:pt x="67" y="420"/>
                      <a:pt x="67" y="420"/>
                      <a:pt x="67" y="420"/>
                    </a:cubicBezTo>
                    <a:cubicBezTo>
                      <a:pt x="66" y="419"/>
                      <a:pt x="66" y="419"/>
                      <a:pt x="66" y="419"/>
                    </a:cubicBezTo>
                    <a:cubicBezTo>
                      <a:pt x="65" y="418"/>
                      <a:pt x="65" y="418"/>
                      <a:pt x="65" y="418"/>
                    </a:cubicBezTo>
                    <a:cubicBezTo>
                      <a:pt x="63" y="418"/>
                      <a:pt x="63" y="418"/>
                      <a:pt x="63" y="418"/>
                    </a:cubicBezTo>
                    <a:cubicBezTo>
                      <a:pt x="62" y="419"/>
                      <a:pt x="62" y="419"/>
                      <a:pt x="62" y="419"/>
                    </a:cubicBezTo>
                    <a:cubicBezTo>
                      <a:pt x="61" y="419"/>
                      <a:pt x="61" y="419"/>
                      <a:pt x="61" y="419"/>
                    </a:cubicBezTo>
                    <a:cubicBezTo>
                      <a:pt x="61" y="417"/>
                      <a:pt x="61" y="417"/>
                      <a:pt x="61" y="417"/>
                    </a:cubicBezTo>
                    <a:cubicBezTo>
                      <a:pt x="61" y="416"/>
                      <a:pt x="61" y="416"/>
                      <a:pt x="61" y="416"/>
                    </a:cubicBezTo>
                    <a:cubicBezTo>
                      <a:pt x="62" y="416"/>
                      <a:pt x="62" y="416"/>
                      <a:pt x="62" y="416"/>
                    </a:cubicBezTo>
                    <a:cubicBezTo>
                      <a:pt x="64" y="417"/>
                      <a:pt x="64" y="417"/>
                      <a:pt x="64" y="417"/>
                    </a:cubicBezTo>
                    <a:cubicBezTo>
                      <a:pt x="66" y="417"/>
                      <a:pt x="66" y="417"/>
                      <a:pt x="66" y="417"/>
                    </a:cubicBezTo>
                    <a:cubicBezTo>
                      <a:pt x="67" y="417"/>
                      <a:pt x="67" y="417"/>
                      <a:pt x="67" y="417"/>
                    </a:cubicBezTo>
                    <a:cubicBezTo>
                      <a:pt x="67" y="416"/>
                      <a:pt x="67" y="416"/>
                      <a:pt x="67" y="416"/>
                    </a:cubicBezTo>
                    <a:cubicBezTo>
                      <a:pt x="66" y="416"/>
                      <a:pt x="66" y="416"/>
                      <a:pt x="66" y="416"/>
                    </a:cubicBezTo>
                    <a:cubicBezTo>
                      <a:pt x="65" y="416"/>
                      <a:pt x="65" y="416"/>
                      <a:pt x="65" y="416"/>
                    </a:cubicBezTo>
                    <a:cubicBezTo>
                      <a:pt x="65" y="415"/>
                      <a:pt x="65" y="415"/>
                      <a:pt x="65" y="415"/>
                    </a:cubicBezTo>
                    <a:cubicBezTo>
                      <a:pt x="65" y="414"/>
                      <a:pt x="65" y="414"/>
                      <a:pt x="65" y="414"/>
                    </a:cubicBezTo>
                    <a:cubicBezTo>
                      <a:pt x="66" y="414"/>
                      <a:pt x="66" y="414"/>
                      <a:pt x="66" y="414"/>
                    </a:cubicBezTo>
                    <a:cubicBezTo>
                      <a:pt x="67" y="414"/>
                      <a:pt x="67" y="414"/>
                      <a:pt x="67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69" y="414"/>
                      <a:pt x="69" y="414"/>
                      <a:pt x="69" y="414"/>
                    </a:cubicBezTo>
                    <a:cubicBezTo>
                      <a:pt x="70" y="414"/>
                      <a:pt x="70" y="414"/>
                      <a:pt x="70" y="414"/>
                    </a:cubicBezTo>
                    <a:cubicBezTo>
                      <a:pt x="69" y="413"/>
                      <a:pt x="69" y="413"/>
                      <a:pt x="69" y="413"/>
                    </a:cubicBezTo>
                    <a:cubicBezTo>
                      <a:pt x="69" y="412"/>
                      <a:pt x="69" y="412"/>
                      <a:pt x="69" y="412"/>
                    </a:cubicBezTo>
                    <a:cubicBezTo>
                      <a:pt x="69" y="411"/>
                      <a:pt x="69" y="411"/>
                      <a:pt x="69" y="411"/>
                    </a:cubicBezTo>
                    <a:cubicBezTo>
                      <a:pt x="68" y="411"/>
                      <a:pt x="68" y="411"/>
                      <a:pt x="68" y="411"/>
                    </a:cubicBezTo>
                    <a:cubicBezTo>
                      <a:pt x="67" y="412"/>
                      <a:pt x="67" y="412"/>
                      <a:pt x="67" y="412"/>
                    </a:cubicBezTo>
                    <a:cubicBezTo>
                      <a:pt x="66" y="412"/>
                      <a:pt x="66" y="412"/>
                      <a:pt x="66" y="412"/>
                    </a:cubicBezTo>
                    <a:cubicBezTo>
                      <a:pt x="62" y="411"/>
                      <a:pt x="62" y="411"/>
                      <a:pt x="62" y="411"/>
                    </a:cubicBezTo>
                    <a:cubicBezTo>
                      <a:pt x="60" y="410"/>
                      <a:pt x="60" y="410"/>
                      <a:pt x="60" y="410"/>
                    </a:cubicBezTo>
                    <a:cubicBezTo>
                      <a:pt x="59" y="410"/>
                      <a:pt x="59" y="410"/>
                      <a:pt x="59" y="410"/>
                    </a:cubicBezTo>
                    <a:cubicBezTo>
                      <a:pt x="59" y="409"/>
                      <a:pt x="59" y="409"/>
                      <a:pt x="59" y="409"/>
                    </a:cubicBezTo>
                    <a:cubicBezTo>
                      <a:pt x="61" y="409"/>
                      <a:pt x="61" y="409"/>
                      <a:pt x="61" y="409"/>
                    </a:cubicBezTo>
                    <a:cubicBezTo>
                      <a:pt x="62" y="409"/>
                      <a:pt x="62" y="409"/>
                      <a:pt x="62" y="409"/>
                    </a:cubicBezTo>
                    <a:cubicBezTo>
                      <a:pt x="63" y="409"/>
                      <a:pt x="63" y="409"/>
                      <a:pt x="63" y="409"/>
                    </a:cubicBezTo>
                    <a:cubicBezTo>
                      <a:pt x="62" y="408"/>
                      <a:pt x="62" y="408"/>
                      <a:pt x="62" y="408"/>
                    </a:cubicBezTo>
                    <a:cubicBezTo>
                      <a:pt x="61" y="408"/>
                      <a:pt x="61" y="408"/>
                      <a:pt x="61" y="408"/>
                    </a:cubicBezTo>
                    <a:cubicBezTo>
                      <a:pt x="60" y="408"/>
                      <a:pt x="60" y="408"/>
                      <a:pt x="60" y="408"/>
                    </a:cubicBezTo>
                    <a:cubicBezTo>
                      <a:pt x="60" y="407"/>
                      <a:pt x="60" y="407"/>
                      <a:pt x="60" y="407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3" y="406"/>
                      <a:pt x="63" y="406"/>
                      <a:pt x="63" y="406"/>
                    </a:cubicBezTo>
                    <a:cubicBezTo>
                      <a:pt x="65" y="406"/>
                      <a:pt x="65" y="406"/>
                      <a:pt x="65" y="406"/>
                    </a:cubicBezTo>
                    <a:cubicBezTo>
                      <a:pt x="72" y="406"/>
                      <a:pt x="72" y="406"/>
                      <a:pt x="72" y="406"/>
                    </a:cubicBezTo>
                    <a:cubicBezTo>
                      <a:pt x="73" y="406"/>
                      <a:pt x="73" y="406"/>
                      <a:pt x="73" y="406"/>
                    </a:cubicBezTo>
                    <a:cubicBezTo>
                      <a:pt x="75" y="406"/>
                      <a:pt x="75" y="406"/>
                      <a:pt x="75" y="406"/>
                    </a:cubicBezTo>
                    <a:cubicBezTo>
                      <a:pt x="76" y="406"/>
                      <a:pt x="76" y="406"/>
                      <a:pt x="76" y="406"/>
                    </a:cubicBezTo>
                    <a:cubicBezTo>
                      <a:pt x="76" y="405"/>
                      <a:pt x="76" y="405"/>
                      <a:pt x="76" y="405"/>
                    </a:cubicBezTo>
                    <a:cubicBezTo>
                      <a:pt x="74" y="404"/>
                      <a:pt x="74" y="404"/>
                      <a:pt x="74" y="404"/>
                    </a:cubicBezTo>
                    <a:cubicBezTo>
                      <a:pt x="71" y="404"/>
                      <a:pt x="71" y="404"/>
                      <a:pt x="71" y="404"/>
                    </a:cubicBezTo>
                    <a:cubicBezTo>
                      <a:pt x="67" y="405"/>
                      <a:pt x="67" y="405"/>
                      <a:pt x="67" y="405"/>
                    </a:cubicBezTo>
                    <a:cubicBezTo>
                      <a:pt x="66" y="405"/>
                      <a:pt x="66" y="405"/>
                      <a:pt x="66" y="405"/>
                    </a:cubicBezTo>
                    <a:cubicBezTo>
                      <a:pt x="65" y="405"/>
                      <a:pt x="65" y="405"/>
                      <a:pt x="65" y="405"/>
                    </a:cubicBezTo>
                    <a:cubicBezTo>
                      <a:pt x="64" y="404"/>
                      <a:pt x="64" y="404"/>
                      <a:pt x="64" y="404"/>
                    </a:cubicBezTo>
                    <a:cubicBezTo>
                      <a:pt x="62" y="405"/>
                      <a:pt x="62" y="405"/>
                      <a:pt x="62" y="405"/>
                    </a:cubicBezTo>
                    <a:cubicBezTo>
                      <a:pt x="61" y="406"/>
                      <a:pt x="61" y="406"/>
                      <a:pt x="61" y="406"/>
                    </a:cubicBezTo>
                    <a:cubicBezTo>
                      <a:pt x="61" y="405"/>
                      <a:pt x="61" y="405"/>
                      <a:pt x="61" y="405"/>
                    </a:cubicBezTo>
                    <a:cubicBezTo>
                      <a:pt x="61" y="404"/>
                      <a:pt x="61" y="404"/>
                      <a:pt x="61" y="404"/>
                    </a:cubicBezTo>
                    <a:cubicBezTo>
                      <a:pt x="62" y="402"/>
                      <a:pt x="62" y="402"/>
                      <a:pt x="62" y="402"/>
                    </a:cubicBezTo>
                    <a:cubicBezTo>
                      <a:pt x="63" y="402"/>
                      <a:pt x="63" y="402"/>
                      <a:pt x="63" y="402"/>
                    </a:cubicBezTo>
                    <a:cubicBezTo>
                      <a:pt x="65" y="401"/>
                      <a:pt x="65" y="401"/>
                      <a:pt x="65" y="401"/>
                    </a:cubicBezTo>
                    <a:cubicBezTo>
                      <a:pt x="67" y="400"/>
                      <a:pt x="67" y="400"/>
                      <a:pt x="67" y="400"/>
                    </a:cubicBezTo>
                    <a:cubicBezTo>
                      <a:pt x="67" y="398"/>
                      <a:pt x="67" y="398"/>
                      <a:pt x="67" y="398"/>
                    </a:cubicBezTo>
                    <a:cubicBezTo>
                      <a:pt x="69" y="397"/>
                      <a:pt x="69" y="397"/>
                      <a:pt x="69" y="397"/>
                    </a:cubicBezTo>
                    <a:cubicBezTo>
                      <a:pt x="70" y="397"/>
                      <a:pt x="70" y="397"/>
                      <a:pt x="70" y="397"/>
                    </a:cubicBezTo>
                    <a:cubicBezTo>
                      <a:pt x="70" y="398"/>
                      <a:pt x="70" y="398"/>
                      <a:pt x="70" y="398"/>
                    </a:cubicBezTo>
                    <a:cubicBezTo>
                      <a:pt x="72" y="397"/>
                      <a:pt x="72" y="397"/>
                      <a:pt x="72" y="397"/>
                    </a:cubicBezTo>
                    <a:cubicBezTo>
                      <a:pt x="73" y="397"/>
                      <a:pt x="73" y="397"/>
                      <a:pt x="73" y="397"/>
                    </a:cubicBezTo>
                    <a:cubicBezTo>
                      <a:pt x="74" y="397"/>
                      <a:pt x="74" y="397"/>
                      <a:pt x="74" y="397"/>
                    </a:cubicBezTo>
                    <a:cubicBezTo>
                      <a:pt x="75" y="398"/>
                      <a:pt x="75" y="398"/>
                      <a:pt x="75" y="398"/>
                    </a:cubicBezTo>
                    <a:cubicBezTo>
                      <a:pt x="77" y="398"/>
                      <a:pt x="77" y="398"/>
                      <a:pt x="77" y="398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80" y="400"/>
                      <a:pt x="80" y="400"/>
                      <a:pt x="80" y="400"/>
                    </a:cubicBezTo>
                    <a:cubicBezTo>
                      <a:pt x="82" y="401"/>
                      <a:pt x="82" y="401"/>
                      <a:pt x="82" y="401"/>
                    </a:cubicBezTo>
                    <a:cubicBezTo>
                      <a:pt x="84" y="403"/>
                      <a:pt x="84" y="403"/>
                      <a:pt x="84" y="403"/>
                    </a:cubicBezTo>
                    <a:cubicBezTo>
                      <a:pt x="86" y="404"/>
                      <a:pt x="86" y="404"/>
                      <a:pt x="86" y="404"/>
                    </a:cubicBezTo>
                    <a:cubicBezTo>
                      <a:pt x="89" y="405"/>
                      <a:pt x="89" y="405"/>
                      <a:pt x="89" y="405"/>
                    </a:cubicBezTo>
                    <a:cubicBezTo>
                      <a:pt x="90" y="404"/>
                      <a:pt x="90" y="404"/>
                      <a:pt x="90" y="404"/>
                    </a:cubicBezTo>
                    <a:cubicBezTo>
                      <a:pt x="91" y="404"/>
                      <a:pt x="91" y="404"/>
                      <a:pt x="91" y="404"/>
                    </a:cubicBezTo>
                    <a:cubicBezTo>
                      <a:pt x="91" y="404"/>
                      <a:pt x="91" y="404"/>
                      <a:pt x="91" y="404"/>
                    </a:cubicBezTo>
                    <a:cubicBezTo>
                      <a:pt x="91" y="403"/>
                      <a:pt x="91" y="403"/>
                      <a:pt x="91" y="403"/>
                    </a:cubicBezTo>
                    <a:cubicBezTo>
                      <a:pt x="89" y="403"/>
                      <a:pt x="89" y="403"/>
                      <a:pt x="89" y="403"/>
                    </a:cubicBezTo>
                    <a:cubicBezTo>
                      <a:pt x="89" y="404"/>
                      <a:pt x="89" y="404"/>
                      <a:pt x="89" y="404"/>
                    </a:cubicBezTo>
                    <a:cubicBezTo>
                      <a:pt x="87" y="403"/>
                      <a:pt x="87" y="403"/>
                      <a:pt x="87" y="403"/>
                    </a:cubicBezTo>
                    <a:cubicBezTo>
                      <a:pt x="85" y="402"/>
                      <a:pt x="85" y="402"/>
                      <a:pt x="85" y="402"/>
                    </a:cubicBezTo>
                    <a:cubicBezTo>
                      <a:pt x="83" y="399"/>
                      <a:pt x="83" y="399"/>
                      <a:pt x="83" y="399"/>
                    </a:cubicBezTo>
                    <a:cubicBezTo>
                      <a:pt x="83" y="399"/>
                      <a:pt x="83" y="399"/>
                      <a:pt x="83" y="399"/>
                    </a:cubicBezTo>
                    <a:cubicBezTo>
                      <a:pt x="84" y="398"/>
                      <a:pt x="84" y="398"/>
                      <a:pt x="84" y="398"/>
                    </a:cubicBezTo>
                    <a:cubicBezTo>
                      <a:pt x="87" y="399"/>
                      <a:pt x="87" y="399"/>
                      <a:pt x="87" y="399"/>
                    </a:cubicBezTo>
                    <a:cubicBezTo>
                      <a:pt x="90" y="398"/>
                      <a:pt x="90" y="398"/>
                      <a:pt x="90" y="398"/>
                    </a:cubicBezTo>
                    <a:cubicBezTo>
                      <a:pt x="91" y="397"/>
                      <a:pt x="91" y="397"/>
                      <a:pt x="91" y="397"/>
                    </a:cubicBezTo>
                    <a:cubicBezTo>
                      <a:pt x="90" y="396"/>
                      <a:pt x="90" y="396"/>
                      <a:pt x="90" y="396"/>
                    </a:cubicBezTo>
                    <a:cubicBezTo>
                      <a:pt x="88" y="395"/>
                      <a:pt x="88" y="395"/>
                      <a:pt x="88" y="395"/>
                    </a:cubicBezTo>
                    <a:cubicBezTo>
                      <a:pt x="87" y="395"/>
                      <a:pt x="87" y="395"/>
                      <a:pt x="87" y="395"/>
                    </a:cubicBezTo>
                    <a:cubicBezTo>
                      <a:pt x="87" y="396"/>
                      <a:pt x="87" y="396"/>
                      <a:pt x="87" y="396"/>
                    </a:cubicBezTo>
                    <a:cubicBezTo>
                      <a:pt x="87" y="397"/>
                      <a:pt x="87" y="397"/>
                      <a:pt x="87" y="397"/>
                    </a:cubicBezTo>
                    <a:cubicBezTo>
                      <a:pt x="87" y="397"/>
                      <a:pt x="87" y="397"/>
                      <a:pt x="87" y="397"/>
                    </a:cubicBezTo>
                    <a:cubicBezTo>
                      <a:pt x="84" y="397"/>
                      <a:pt x="84" y="397"/>
                      <a:pt x="84" y="397"/>
                    </a:cubicBezTo>
                    <a:cubicBezTo>
                      <a:pt x="83" y="397"/>
                      <a:pt x="83" y="397"/>
                      <a:pt x="83" y="397"/>
                    </a:cubicBezTo>
                    <a:cubicBezTo>
                      <a:pt x="83" y="395"/>
                      <a:pt x="83" y="395"/>
                      <a:pt x="83" y="395"/>
                    </a:cubicBezTo>
                    <a:cubicBezTo>
                      <a:pt x="84" y="395"/>
                      <a:pt x="84" y="395"/>
                      <a:pt x="84" y="395"/>
                    </a:cubicBezTo>
                    <a:cubicBezTo>
                      <a:pt x="85" y="395"/>
                      <a:pt x="85" y="395"/>
                      <a:pt x="85" y="395"/>
                    </a:cubicBezTo>
                    <a:cubicBezTo>
                      <a:pt x="85" y="394"/>
                      <a:pt x="85" y="394"/>
                      <a:pt x="85" y="394"/>
                    </a:cubicBezTo>
                    <a:cubicBezTo>
                      <a:pt x="85" y="393"/>
                      <a:pt x="85" y="393"/>
                      <a:pt x="85" y="393"/>
                    </a:cubicBezTo>
                    <a:cubicBezTo>
                      <a:pt x="84" y="393"/>
                      <a:pt x="84" y="393"/>
                      <a:pt x="84" y="393"/>
                    </a:cubicBezTo>
                    <a:cubicBezTo>
                      <a:pt x="83" y="394"/>
                      <a:pt x="83" y="394"/>
                      <a:pt x="83" y="394"/>
                    </a:cubicBezTo>
                    <a:cubicBezTo>
                      <a:pt x="82" y="393"/>
                      <a:pt x="82" y="393"/>
                      <a:pt x="82" y="393"/>
                    </a:cubicBezTo>
                    <a:cubicBezTo>
                      <a:pt x="81" y="394"/>
                      <a:pt x="81" y="394"/>
                      <a:pt x="81" y="394"/>
                    </a:cubicBezTo>
                    <a:cubicBezTo>
                      <a:pt x="81" y="394"/>
                      <a:pt x="81" y="394"/>
                      <a:pt x="81" y="394"/>
                    </a:cubicBezTo>
                    <a:cubicBezTo>
                      <a:pt x="82" y="395"/>
                      <a:pt x="82" y="395"/>
                      <a:pt x="82" y="395"/>
                    </a:cubicBezTo>
                    <a:cubicBezTo>
                      <a:pt x="82" y="397"/>
                      <a:pt x="82" y="397"/>
                      <a:pt x="82" y="397"/>
                    </a:cubicBezTo>
                    <a:cubicBezTo>
                      <a:pt x="81" y="398"/>
                      <a:pt x="81" y="398"/>
                      <a:pt x="81" y="398"/>
                    </a:cubicBezTo>
                    <a:cubicBezTo>
                      <a:pt x="79" y="399"/>
                      <a:pt x="79" y="399"/>
                      <a:pt x="79" y="399"/>
                    </a:cubicBezTo>
                    <a:cubicBezTo>
                      <a:pt x="78" y="398"/>
                      <a:pt x="78" y="398"/>
                      <a:pt x="78" y="398"/>
                    </a:cubicBezTo>
                    <a:cubicBezTo>
                      <a:pt x="76" y="396"/>
                      <a:pt x="76" y="396"/>
                      <a:pt x="76" y="396"/>
                    </a:cubicBezTo>
                    <a:cubicBezTo>
                      <a:pt x="75" y="396"/>
                      <a:pt x="75" y="396"/>
                      <a:pt x="75" y="396"/>
                    </a:cubicBezTo>
                    <a:cubicBezTo>
                      <a:pt x="74" y="395"/>
                      <a:pt x="74" y="395"/>
                      <a:pt x="74" y="395"/>
                    </a:cubicBezTo>
                    <a:cubicBezTo>
                      <a:pt x="74" y="394"/>
                      <a:pt x="74" y="394"/>
                      <a:pt x="74" y="394"/>
                    </a:cubicBezTo>
                    <a:cubicBezTo>
                      <a:pt x="73" y="394"/>
                      <a:pt x="73" y="394"/>
                      <a:pt x="73" y="394"/>
                    </a:cubicBezTo>
                    <a:cubicBezTo>
                      <a:pt x="72" y="395"/>
                      <a:pt x="72" y="395"/>
                      <a:pt x="72" y="395"/>
                    </a:cubicBezTo>
                    <a:cubicBezTo>
                      <a:pt x="70" y="396"/>
                      <a:pt x="70" y="396"/>
                      <a:pt x="70" y="396"/>
                    </a:cubicBezTo>
                    <a:cubicBezTo>
                      <a:pt x="69" y="396"/>
                      <a:pt x="69" y="396"/>
                      <a:pt x="69" y="396"/>
                    </a:cubicBezTo>
                    <a:cubicBezTo>
                      <a:pt x="67" y="397"/>
                      <a:pt x="67" y="397"/>
                      <a:pt x="67" y="397"/>
                    </a:cubicBezTo>
                    <a:cubicBezTo>
                      <a:pt x="65" y="399"/>
                      <a:pt x="65" y="399"/>
                      <a:pt x="65" y="399"/>
                    </a:cubicBezTo>
                    <a:cubicBezTo>
                      <a:pt x="64" y="399"/>
                      <a:pt x="64" y="399"/>
                      <a:pt x="64" y="399"/>
                    </a:cubicBezTo>
                    <a:cubicBezTo>
                      <a:pt x="63" y="399"/>
                      <a:pt x="63" y="399"/>
                      <a:pt x="63" y="399"/>
                    </a:cubicBezTo>
                    <a:cubicBezTo>
                      <a:pt x="63" y="398"/>
                      <a:pt x="63" y="398"/>
                      <a:pt x="63" y="398"/>
                    </a:cubicBezTo>
                    <a:cubicBezTo>
                      <a:pt x="66" y="395"/>
                      <a:pt x="66" y="395"/>
                      <a:pt x="66" y="395"/>
                    </a:cubicBezTo>
                    <a:cubicBezTo>
                      <a:pt x="66" y="395"/>
                      <a:pt x="66" y="395"/>
                      <a:pt x="66" y="395"/>
                    </a:cubicBezTo>
                    <a:cubicBezTo>
                      <a:pt x="67" y="394"/>
                      <a:pt x="67" y="394"/>
                      <a:pt x="67" y="394"/>
                    </a:cubicBezTo>
                    <a:cubicBezTo>
                      <a:pt x="67" y="394"/>
                      <a:pt x="67" y="394"/>
                      <a:pt x="67" y="394"/>
                    </a:cubicBezTo>
                    <a:cubicBezTo>
                      <a:pt x="68" y="394"/>
                      <a:pt x="68" y="394"/>
                      <a:pt x="68" y="394"/>
                    </a:cubicBezTo>
                    <a:cubicBezTo>
                      <a:pt x="69" y="393"/>
                      <a:pt x="69" y="393"/>
                      <a:pt x="69" y="393"/>
                    </a:cubicBezTo>
                    <a:cubicBezTo>
                      <a:pt x="69" y="392"/>
                      <a:pt x="69" y="392"/>
                      <a:pt x="69" y="392"/>
                    </a:cubicBezTo>
                    <a:cubicBezTo>
                      <a:pt x="69" y="390"/>
                      <a:pt x="69" y="390"/>
                      <a:pt x="69" y="390"/>
                    </a:cubicBezTo>
                    <a:cubicBezTo>
                      <a:pt x="70" y="391"/>
                      <a:pt x="70" y="391"/>
                      <a:pt x="70" y="391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3" y="393"/>
                      <a:pt x="73" y="393"/>
                      <a:pt x="73" y="393"/>
                    </a:cubicBezTo>
                    <a:cubicBezTo>
                      <a:pt x="76" y="393"/>
                      <a:pt x="76" y="393"/>
                      <a:pt x="76" y="393"/>
                    </a:cubicBezTo>
                    <a:cubicBezTo>
                      <a:pt x="76" y="392"/>
                      <a:pt x="76" y="392"/>
                      <a:pt x="76" y="392"/>
                    </a:cubicBezTo>
                    <a:cubicBezTo>
                      <a:pt x="75" y="392"/>
                      <a:pt x="75" y="392"/>
                      <a:pt x="75" y="392"/>
                    </a:cubicBezTo>
                    <a:cubicBezTo>
                      <a:pt x="74" y="392"/>
                      <a:pt x="74" y="392"/>
                      <a:pt x="74" y="392"/>
                    </a:cubicBezTo>
                    <a:cubicBezTo>
                      <a:pt x="73" y="391"/>
                      <a:pt x="73" y="391"/>
                      <a:pt x="73" y="391"/>
                    </a:cubicBezTo>
                    <a:cubicBezTo>
                      <a:pt x="70" y="389"/>
                      <a:pt x="70" y="389"/>
                      <a:pt x="70" y="389"/>
                    </a:cubicBezTo>
                    <a:cubicBezTo>
                      <a:pt x="70" y="387"/>
                      <a:pt x="70" y="387"/>
                      <a:pt x="70" y="387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69" y="386"/>
                      <a:pt x="69" y="386"/>
                      <a:pt x="69" y="386"/>
                    </a:cubicBezTo>
                    <a:cubicBezTo>
                      <a:pt x="69" y="385"/>
                      <a:pt x="69" y="385"/>
                      <a:pt x="69" y="385"/>
                    </a:cubicBezTo>
                    <a:cubicBezTo>
                      <a:pt x="72" y="386"/>
                      <a:pt x="72" y="386"/>
                      <a:pt x="72" y="386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5" y="390"/>
                      <a:pt x="75" y="390"/>
                      <a:pt x="75" y="390"/>
                    </a:cubicBezTo>
                    <a:cubicBezTo>
                      <a:pt x="75" y="390"/>
                      <a:pt x="75" y="390"/>
                      <a:pt x="75" y="390"/>
                    </a:cubicBezTo>
                    <a:cubicBezTo>
                      <a:pt x="75" y="388"/>
                      <a:pt x="75" y="388"/>
                      <a:pt x="75" y="388"/>
                    </a:cubicBezTo>
                    <a:cubicBezTo>
                      <a:pt x="74" y="387"/>
                      <a:pt x="74" y="387"/>
                      <a:pt x="74" y="387"/>
                    </a:cubicBezTo>
                    <a:cubicBezTo>
                      <a:pt x="75" y="387"/>
                      <a:pt x="75" y="387"/>
                      <a:pt x="75" y="387"/>
                    </a:cubicBezTo>
                    <a:cubicBezTo>
                      <a:pt x="76" y="388"/>
                      <a:pt x="76" y="388"/>
                      <a:pt x="76" y="388"/>
                    </a:cubicBezTo>
                    <a:cubicBezTo>
                      <a:pt x="76" y="389"/>
                      <a:pt x="76" y="389"/>
                      <a:pt x="76" y="389"/>
                    </a:cubicBezTo>
                    <a:cubicBezTo>
                      <a:pt x="80" y="391"/>
                      <a:pt x="80" y="391"/>
                      <a:pt x="80" y="391"/>
                    </a:cubicBezTo>
                    <a:cubicBezTo>
                      <a:pt x="81" y="391"/>
                      <a:pt x="81" y="391"/>
                      <a:pt x="81" y="391"/>
                    </a:cubicBezTo>
                    <a:cubicBezTo>
                      <a:pt x="82" y="391"/>
                      <a:pt x="82" y="391"/>
                      <a:pt x="82" y="391"/>
                    </a:cubicBezTo>
                    <a:cubicBezTo>
                      <a:pt x="83" y="391"/>
                      <a:pt x="83" y="391"/>
                      <a:pt x="83" y="391"/>
                    </a:cubicBezTo>
                    <a:cubicBezTo>
                      <a:pt x="84" y="392"/>
                      <a:pt x="84" y="392"/>
                      <a:pt x="84" y="392"/>
                    </a:cubicBezTo>
                    <a:cubicBezTo>
                      <a:pt x="86" y="393"/>
                      <a:pt x="86" y="393"/>
                      <a:pt x="86" y="393"/>
                    </a:cubicBezTo>
                    <a:cubicBezTo>
                      <a:pt x="88" y="394"/>
                      <a:pt x="88" y="394"/>
                      <a:pt x="88" y="394"/>
                    </a:cubicBezTo>
                    <a:cubicBezTo>
                      <a:pt x="88" y="394"/>
                      <a:pt x="88" y="394"/>
                      <a:pt x="88" y="394"/>
                    </a:cubicBezTo>
                    <a:cubicBezTo>
                      <a:pt x="90" y="394"/>
                      <a:pt x="90" y="394"/>
                      <a:pt x="90" y="394"/>
                    </a:cubicBezTo>
                    <a:cubicBezTo>
                      <a:pt x="90" y="393"/>
                      <a:pt x="90" y="393"/>
                      <a:pt x="90" y="393"/>
                    </a:cubicBezTo>
                    <a:cubicBezTo>
                      <a:pt x="88" y="392"/>
                      <a:pt x="88" y="392"/>
                      <a:pt x="88" y="392"/>
                    </a:cubicBezTo>
                    <a:cubicBezTo>
                      <a:pt x="84" y="389"/>
                      <a:pt x="84" y="389"/>
                      <a:pt x="84" y="389"/>
                    </a:cubicBezTo>
                    <a:cubicBezTo>
                      <a:pt x="84" y="388"/>
                      <a:pt x="84" y="388"/>
                      <a:pt x="84" y="388"/>
                    </a:cubicBezTo>
                    <a:cubicBezTo>
                      <a:pt x="84" y="387"/>
                      <a:pt x="84" y="387"/>
                      <a:pt x="84" y="387"/>
                    </a:cubicBezTo>
                    <a:cubicBezTo>
                      <a:pt x="86" y="386"/>
                      <a:pt x="86" y="386"/>
                      <a:pt x="86" y="386"/>
                    </a:cubicBezTo>
                    <a:cubicBezTo>
                      <a:pt x="86" y="385"/>
                      <a:pt x="86" y="385"/>
                      <a:pt x="86" y="385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86" y="383"/>
                      <a:pt x="86" y="383"/>
                      <a:pt x="86" y="383"/>
                    </a:cubicBezTo>
                    <a:cubicBezTo>
                      <a:pt x="85" y="383"/>
                      <a:pt x="85" y="383"/>
                      <a:pt x="85" y="383"/>
                    </a:cubicBezTo>
                    <a:cubicBezTo>
                      <a:pt x="83" y="383"/>
                      <a:pt x="83" y="383"/>
                      <a:pt x="83" y="383"/>
                    </a:cubicBezTo>
                    <a:cubicBezTo>
                      <a:pt x="82" y="384"/>
                      <a:pt x="82" y="384"/>
                      <a:pt x="82" y="384"/>
                    </a:cubicBezTo>
                    <a:cubicBezTo>
                      <a:pt x="82" y="385"/>
                      <a:pt x="82" y="385"/>
                      <a:pt x="82" y="385"/>
                    </a:cubicBezTo>
                    <a:cubicBezTo>
                      <a:pt x="84" y="386"/>
                      <a:pt x="84" y="386"/>
                      <a:pt x="84" y="386"/>
                    </a:cubicBezTo>
                    <a:cubicBezTo>
                      <a:pt x="83" y="386"/>
                      <a:pt x="83" y="386"/>
                      <a:pt x="83" y="386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0" y="387"/>
                      <a:pt x="80" y="387"/>
                      <a:pt x="80" y="387"/>
                    </a:cubicBezTo>
                    <a:cubicBezTo>
                      <a:pt x="79" y="386"/>
                      <a:pt x="79" y="386"/>
                      <a:pt x="79" y="386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6" y="386"/>
                      <a:pt x="76" y="386"/>
                      <a:pt x="76" y="386"/>
                    </a:cubicBezTo>
                    <a:cubicBezTo>
                      <a:pt x="75" y="385"/>
                      <a:pt x="75" y="385"/>
                      <a:pt x="75" y="385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5" y="383"/>
                      <a:pt x="75" y="383"/>
                      <a:pt x="75" y="383"/>
                    </a:cubicBezTo>
                    <a:cubicBezTo>
                      <a:pt x="76" y="383"/>
                      <a:pt x="76" y="383"/>
                      <a:pt x="76" y="383"/>
                    </a:cubicBezTo>
                    <a:cubicBezTo>
                      <a:pt x="75" y="383"/>
                      <a:pt x="75" y="383"/>
                      <a:pt x="75" y="383"/>
                    </a:cubicBezTo>
                    <a:cubicBezTo>
                      <a:pt x="73" y="383"/>
                      <a:pt x="73" y="383"/>
                      <a:pt x="73" y="383"/>
                    </a:cubicBezTo>
                    <a:cubicBezTo>
                      <a:pt x="73" y="383"/>
                      <a:pt x="73" y="383"/>
                      <a:pt x="73" y="383"/>
                    </a:cubicBezTo>
                    <a:cubicBezTo>
                      <a:pt x="75" y="382"/>
                      <a:pt x="75" y="382"/>
                      <a:pt x="75" y="382"/>
                    </a:cubicBezTo>
                    <a:cubicBezTo>
                      <a:pt x="78" y="381"/>
                      <a:pt x="78" y="381"/>
                      <a:pt x="78" y="381"/>
                    </a:cubicBezTo>
                    <a:cubicBezTo>
                      <a:pt x="79" y="380"/>
                      <a:pt x="79" y="380"/>
                      <a:pt x="79" y="380"/>
                    </a:cubicBezTo>
                    <a:cubicBezTo>
                      <a:pt x="81" y="380"/>
                      <a:pt x="81" y="380"/>
                      <a:pt x="81" y="380"/>
                    </a:cubicBezTo>
                    <a:cubicBezTo>
                      <a:pt x="82" y="381"/>
                      <a:pt x="82" y="381"/>
                      <a:pt x="82" y="381"/>
                    </a:cubicBezTo>
                    <a:cubicBezTo>
                      <a:pt x="83" y="381"/>
                      <a:pt x="83" y="381"/>
                      <a:pt x="83" y="381"/>
                    </a:cubicBezTo>
                    <a:cubicBezTo>
                      <a:pt x="85" y="381"/>
                      <a:pt x="85" y="381"/>
                      <a:pt x="85" y="381"/>
                    </a:cubicBezTo>
                    <a:cubicBezTo>
                      <a:pt x="87" y="381"/>
                      <a:pt x="87" y="381"/>
                      <a:pt x="87" y="381"/>
                    </a:cubicBezTo>
                    <a:cubicBezTo>
                      <a:pt x="87" y="380"/>
                      <a:pt x="87" y="380"/>
                      <a:pt x="87" y="380"/>
                    </a:cubicBezTo>
                    <a:cubicBezTo>
                      <a:pt x="88" y="379"/>
                      <a:pt x="88" y="379"/>
                      <a:pt x="88" y="379"/>
                    </a:cubicBezTo>
                    <a:cubicBezTo>
                      <a:pt x="89" y="379"/>
                      <a:pt x="89" y="379"/>
                      <a:pt x="89" y="379"/>
                    </a:cubicBezTo>
                    <a:cubicBezTo>
                      <a:pt x="90" y="378"/>
                      <a:pt x="90" y="378"/>
                      <a:pt x="90" y="378"/>
                    </a:cubicBezTo>
                    <a:cubicBezTo>
                      <a:pt x="90" y="377"/>
                      <a:pt x="90" y="377"/>
                      <a:pt x="90" y="377"/>
                    </a:cubicBezTo>
                    <a:cubicBezTo>
                      <a:pt x="90" y="377"/>
                      <a:pt x="90" y="377"/>
                      <a:pt x="90" y="377"/>
                    </a:cubicBezTo>
                    <a:cubicBezTo>
                      <a:pt x="89" y="378"/>
                      <a:pt x="89" y="378"/>
                      <a:pt x="89" y="378"/>
                    </a:cubicBezTo>
                    <a:cubicBezTo>
                      <a:pt x="88" y="378"/>
                      <a:pt x="88" y="378"/>
                      <a:pt x="88" y="378"/>
                    </a:cubicBezTo>
                    <a:cubicBezTo>
                      <a:pt x="87" y="377"/>
                      <a:pt x="87" y="377"/>
                      <a:pt x="87" y="377"/>
                    </a:cubicBezTo>
                    <a:cubicBezTo>
                      <a:pt x="88" y="375"/>
                      <a:pt x="88" y="375"/>
                      <a:pt x="88" y="375"/>
                    </a:cubicBezTo>
                    <a:cubicBezTo>
                      <a:pt x="89" y="372"/>
                      <a:pt x="89" y="372"/>
                      <a:pt x="89" y="372"/>
                    </a:cubicBezTo>
                    <a:cubicBezTo>
                      <a:pt x="89" y="370"/>
                      <a:pt x="89" y="370"/>
                      <a:pt x="89" y="370"/>
                    </a:cubicBezTo>
                    <a:cubicBezTo>
                      <a:pt x="90" y="369"/>
                      <a:pt x="90" y="369"/>
                      <a:pt x="90" y="369"/>
                    </a:cubicBezTo>
                    <a:cubicBezTo>
                      <a:pt x="91" y="370"/>
                      <a:pt x="91" y="370"/>
                      <a:pt x="91" y="370"/>
                    </a:cubicBezTo>
                    <a:cubicBezTo>
                      <a:pt x="92" y="372"/>
                      <a:pt x="92" y="372"/>
                      <a:pt x="92" y="372"/>
                    </a:cubicBezTo>
                    <a:cubicBezTo>
                      <a:pt x="91" y="372"/>
                      <a:pt x="91" y="372"/>
                      <a:pt x="91" y="372"/>
                    </a:cubicBezTo>
                    <a:cubicBezTo>
                      <a:pt x="91" y="373"/>
                      <a:pt x="91" y="373"/>
                      <a:pt x="91" y="373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4" y="373"/>
                      <a:pt x="94" y="373"/>
                      <a:pt x="94" y="373"/>
                    </a:cubicBezTo>
                    <a:cubicBezTo>
                      <a:pt x="95" y="374"/>
                      <a:pt x="95" y="374"/>
                      <a:pt x="95" y="374"/>
                    </a:cubicBezTo>
                    <a:cubicBezTo>
                      <a:pt x="96" y="374"/>
                      <a:pt x="96" y="374"/>
                      <a:pt x="96" y="374"/>
                    </a:cubicBezTo>
                    <a:cubicBezTo>
                      <a:pt x="96" y="374"/>
                      <a:pt x="96" y="374"/>
                      <a:pt x="96" y="374"/>
                    </a:cubicBezTo>
                    <a:cubicBezTo>
                      <a:pt x="97" y="374"/>
                      <a:pt x="97" y="374"/>
                      <a:pt x="97" y="374"/>
                    </a:cubicBezTo>
                    <a:cubicBezTo>
                      <a:pt x="98" y="374"/>
                      <a:pt x="98" y="374"/>
                      <a:pt x="98" y="374"/>
                    </a:cubicBezTo>
                    <a:cubicBezTo>
                      <a:pt x="98" y="373"/>
                      <a:pt x="98" y="373"/>
                      <a:pt x="98" y="373"/>
                    </a:cubicBezTo>
                    <a:cubicBezTo>
                      <a:pt x="96" y="372"/>
                      <a:pt x="96" y="372"/>
                      <a:pt x="96" y="372"/>
                    </a:cubicBezTo>
                    <a:cubicBezTo>
                      <a:pt x="94" y="372"/>
                      <a:pt x="94" y="372"/>
                      <a:pt x="94" y="372"/>
                    </a:cubicBezTo>
                    <a:cubicBezTo>
                      <a:pt x="94" y="372"/>
                      <a:pt x="94" y="372"/>
                      <a:pt x="94" y="372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1"/>
                      <a:pt x="97" y="371"/>
                      <a:pt x="97" y="371"/>
                    </a:cubicBezTo>
                    <a:cubicBezTo>
                      <a:pt x="97" y="370"/>
                      <a:pt x="97" y="370"/>
                      <a:pt x="97" y="370"/>
                    </a:cubicBezTo>
                    <a:cubicBezTo>
                      <a:pt x="96" y="370"/>
                      <a:pt x="96" y="370"/>
                      <a:pt x="96" y="370"/>
                    </a:cubicBezTo>
                    <a:cubicBezTo>
                      <a:pt x="96" y="370"/>
                      <a:pt x="96" y="370"/>
                      <a:pt x="96" y="370"/>
                    </a:cubicBezTo>
                    <a:cubicBezTo>
                      <a:pt x="95" y="369"/>
                      <a:pt x="95" y="369"/>
                      <a:pt x="95" y="369"/>
                    </a:cubicBezTo>
                    <a:cubicBezTo>
                      <a:pt x="94" y="368"/>
                      <a:pt x="94" y="368"/>
                      <a:pt x="94" y="368"/>
                    </a:cubicBezTo>
                    <a:cubicBezTo>
                      <a:pt x="94" y="369"/>
                      <a:pt x="94" y="369"/>
                      <a:pt x="94" y="369"/>
                    </a:cubicBezTo>
                    <a:cubicBezTo>
                      <a:pt x="93" y="369"/>
                      <a:pt x="93" y="369"/>
                      <a:pt x="93" y="369"/>
                    </a:cubicBezTo>
                    <a:cubicBezTo>
                      <a:pt x="91" y="369"/>
                      <a:pt x="91" y="369"/>
                      <a:pt x="91" y="369"/>
                    </a:cubicBezTo>
                    <a:cubicBezTo>
                      <a:pt x="91" y="368"/>
                      <a:pt x="91" y="368"/>
                      <a:pt x="91" y="368"/>
                    </a:cubicBezTo>
                    <a:cubicBezTo>
                      <a:pt x="92" y="367"/>
                      <a:pt x="92" y="367"/>
                      <a:pt x="92" y="367"/>
                    </a:cubicBezTo>
                    <a:cubicBezTo>
                      <a:pt x="93" y="367"/>
                      <a:pt x="93" y="367"/>
                      <a:pt x="93" y="367"/>
                    </a:cubicBezTo>
                    <a:cubicBezTo>
                      <a:pt x="94" y="365"/>
                      <a:pt x="94" y="365"/>
                      <a:pt x="94" y="365"/>
                    </a:cubicBezTo>
                    <a:cubicBezTo>
                      <a:pt x="95" y="364"/>
                      <a:pt x="95" y="364"/>
                      <a:pt x="95" y="364"/>
                    </a:cubicBezTo>
                    <a:cubicBezTo>
                      <a:pt x="96" y="364"/>
                      <a:pt x="96" y="364"/>
                      <a:pt x="96" y="364"/>
                    </a:cubicBezTo>
                    <a:cubicBezTo>
                      <a:pt x="97" y="364"/>
                      <a:pt x="97" y="364"/>
                      <a:pt x="97" y="364"/>
                    </a:cubicBezTo>
                    <a:cubicBezTo>
                      <a:pt x="98" y="364"/>
                      <a:pt x="98" y="364"/>
                      <a:pt x="98" y="364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97" y="362"/>
                      <a:pt x="97" y="362"/>
                      <a:pt x="97" y="362"/>
                    </a:cubicBezTo>
                    <a:cubicBezTo>
                      <a:pt x="95" y="362"/>
                      <a:pt x="95" y="362"/>
                      <a:pt x="95" y="362"/>
                    </a:cubicBezTo>
                    <a:cubicBezTo>
                      <a:pt x="95" y="362"/>
                      <a:pt x="95" y="362"/>
                      <a:pt x="95" y="362"/>
                    </a:cubicBezTo>
                    <a:cubicBezTo>
                      <a:pt x="95" y="361"/>
                      <a:pt x="95" y="361"/>
                      <a:pt x="95" y="361"/>
                    </a:cubicBezTo>
                    <a:cubicBezTo>
                      <a:pt x="97" y="360"/>
                      <a:pt x="97" y="360"/>
                      <a:pt x="97" y="360"/>
                    </a:cubicBezTo>
                    <a:cubicBezTo>
                      <a:pt x="98" y="359"/>
                      <a:pt x="98" y="359"/>
                      <a:pt x="98" y="359"/>
                    </a:cubicBezTo>
                    <a:cubicBezTo>
                      <a:pt x="99" y="359"/>
                      <a:pt x="99" y="359"/>
                      <a:pt x="99" y="359"/>
                    </a:cubicBezTo>
                    <a:cubicBezTo>
                      <a:pt x="99" y="358"/>
                      <a:pt x="99" y="358"/>
                      <a:pt x="99" y="358"/>
                    </a:cubicBezTo>
                    <a:cubicBezTo>
                      <a:pt x="101" y="357"/>
                      <a:pt x="101" y="357"/>
                      <a:pt x="101" y="357"/>
                    </a:cubicBezTo>
                    <a:cubicBezTo>
                      <a:pt x="100" y="356"/>
                      <a:pt x="100" y="356"/>
                      <a:pt x="100" y="356"/>
                    </a:cubicBezTo>
                    <a:cubicBezTo>
                      <a:pt x="99" y="356"/>
                      <a:pt x="99" y="356"/>
                      <a:pt x="99" y="356"/>
                    </a:cubicBezTo>
                    <a:cubicBezTo>
                      <a:pt x="99" y="355"/>
                      <a:pt x="99" y="355"/>
                      <a:pt x="99" y="355"/>
                    </a:cubicBezTo>
                    <a:cubicBezTo>
                      <a:pt x="100" y="355"/>
                      <a:pt x="100" y="355"/>
                      <a:pt x="100" y="355"/>
                    </a:cubicBezTo>
                    <a:cubicBezTo>
                      <a:pt x="101" y="355"/>
                      <a:pt x="101" y="355"/>
                      <a:pt x="101" y="355"/>
                    </a:cubicBezTo>
                    <a:cubicBezTo>
                      <a:pt x="101" y="354"/>
                      <a:pt x="101" y="354"/>
                      <a:pt x="101" y="354"/>
                    </a:cubicBezTo>
                    <a:cubicBezTo>
                      <a:pt x="100" y="353"/>
                      <a:pt x="100" y="353"/>
                      <a:pt x="100" y="353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95" y="355"/>
                      <a:pt x="95" y="355"/>
                      <a:pt x="95" y="355"/>
                    </a:cubicBezTo>
                    <a:cubicBezTo>
                      <a:pt x="94" y="353"/>
                      <a:pt x="94" y="353"/>
                      <a:pt x="94" y="353"/>
                    </a:cubicBezTo>
                    <a:cubicBezTo>
                      <a:pt x="93" y="354"/>
                      <a:pt x="93" y="354"/>
                      <a:pt x="93" y="354"/>
                    </a:cubicBezTo>
                    <a:cubicBezTo>
                      <a:pt x="91" y="354"/>
                      <a:pt x="91" y="354"/>
                      <a:pt x="91" y="354"/>
                    </a:cubicBezTo>
                    <a:cubicBezTo>
                      <a:pt x="91" y="353"/>
                      <a:pt x="91" y="353"/>
                      <a:pt x="91" y="353"/>
                    </a:cubicBezTo>
                    <a:cubicBezTo>
                      <a:pt x="90" y="353"/>
                      <a:pt x="90" y="353"/>
                      <a:pt x="90" y="353"/>
                    </a:cubicBezTo>
                    <a:cubicBezTo>
                      <a:pt x="88" y="353"/>
                      <a:pt x="88" y="353"/>
                      <a:pt x="88" y="353"/>
                    </a:cubicBezTo>
                    <a:cubicBezTo>
                      <a:pt x="87" y="352"/>
                      <a:pt x="87" y="352"/>
                      <a:pt x="87" y="352"/>
                    </a:cubicBezTo>
                    <a:cubicBezTo>
                      <a:pt x="85" y="352"/>
                      <a:pt x="85" y="352"/>
                      <a:pt x="85" y="352"/>
                    </a:cubicBezTo>
                    <a:cubicBezTo>
                      <a:pt x="84" y="351"/>
                      <a:pt x="84" y="351"/>
                      <a:pt x="84" y="351"/>
                    </a:cubicBezTo>
                    <a:cubicBezTo>
                      <a:pt x="84" y="350"/>
                      <a:pt x="84" y="350"/>
                      <a:pt x="84" y="350"/>
                    </a:cubicBezTo>
                    <a:cubicBezTo>
                      <a:pt x="83" y="348"/>
                      <a:pt x="83" y="348"/>
                      <a:pt x="83" y="348"/>
                    </a:cubicBezTo>
                    <a:cubicBezTo>
                      <a:pt x="81" y="347"/>
                      <a:pt x="81" y="347"/>
                      <a:pt x="81" y="347"/>
                    </a:cubicBezTo>
                    <a:cubicBezTo>
                      <a:pt x="78" y="345"/>
                      <a:pt x="78" y="345"/>
                      <a:pt x="78" y="345"/>
                    </a:cubicBezTo>
                    <a:cubicBezTo>
                      <a:pt x="75" y="344"/>
                      <a:pt x="75" y="344"/>
                      <a:pt x="75" y="344"/>
                    </a:cubicBezTo>
                    <a:cubicBezTo>
                      <a:pt x="74" y="342"/>
                      <a:pt x="74" y="342"/>
                      <a:pt x="74" y="342"/>
                    </a:cubicBezTo>
                    <a:cubicBezTo>
                      <a:pt x="74" y="341"/>
                      <a:pt x="74" y="341"/>
                      <a:pt x="74" y="341"/>
                    </a:cubicBezTo>
                    <a:cubicBezTo>
                      <a:pt x="73" y="339"/>
                      <a:pt x="73" y="339"/>
                      <a:pt x="73" y="339"/>
                    </a:cubicBezTo>
                    <a:cubicBezTo>
                      <a:pt x="72" y="338"/>
                      <a:pt x="72" y="338"/>
                      <a:pt x="72" y="338"/>
                    </a:cubicBezTo>
                    <a:cubicBezTo>
                      <a:pt x="71" y="337"/>
                      <a:pt x="71" y="337"/>
                      <a:pt x="71" y="337"/>
                    </a:cubicBezTo>
                    <a:cubicBezTo>
                      <a:pt x="71" y="336"/>
                      <a:pt x="71" y="336"/>
                      <a:pt x="71" y="336"/>
                    </a:cubicBezTo>
                    <a:cubicBezTo>
                      <a:pt x="73" y="334"/>
                      <a:pt x="73" y="334"/>
                      <a:pt x="73" y="334"/>
                    </a:cubicBezTo>
                    <a:cubicBezTo>
                      <a:pt x="75" y="334"/>
                      <a:pt x="75" y="334"/>
                      <a:pt x="75" y="334"/>
                    </a:cubicBezTo>
                    <a:cubicBezTo>
                      <a:pt x="76" y="333"/>
                      <a:pt x="76" y="333"/>
                      <a:pt x="76" y="333"/>
                    </a:cubicBezTo>
                    <a:cubicBezTo>
                      <a:pt x="77" y="334"/>
                      <a:pt x="77" y="334"/>
                      <a:pt x="77" y="334"/>
                    </a:cubicBezTo>
                    <a:cubicBezTo>
                      <a:pt x="79" y="334"/>
                      <a:pt x="79" y="334"/>
                      <a:pt x="79" y="334"/>
                    </a:cubicBezTo>
                    <a:cubicBezTo>
                      <a:pt x="80" y="336"/>
                      <a:pt x="80" y="336"/>
                      <a:pt x="80" y="336"/>
                    </a:cubicBezTo>
                    <a:cubicBezTo>
                      <a:pt x="82" y="336"/>
                      <a:pt x="82" y="336"/>
                      <a:pt x="82" y="336"/>
                    </a:cubicBezTo>
                    <a:cubicBezTo>
                      <a:pt x="83" y="336"/>
                      <a:pt x="83" y="336"/>
                      <a:pt x="83" y="336"/>
                    </a:cubicBezTo>
                    <a:cubicBezTo>
                      <a:pt x="84" y="337"/>
                      <a:pt x="84" y="337"/>
                      <a:pt x="84" y="337"/>
                    </a:cubicBezTo>
                    <a:cubicBezTo>
                      <a:pt x="86" y="337"/>
                      <a:pt x="86" y="337"/>
                      <a:pt x="86" y="337"/>
                    </a:cubicBezTo>
                    <a:cubicBezTo>
                      <a:pt x="88" y="337"/>
                      <a:pt x="88" y="337"/>
                      <a:pt x="88" y="337"/>
                    </a:cubicBezTo>
                    <a:cubicBezTo>
                      <a:pt x="89" y="338"/>
                      <a:pt x="89" y="338"/>
                      <a:pt x="89" y="338"/>
                    </a:cubicBezTo>
                    <a:cubicBezTo>
                      <a:pt x="90" y="338"/>
                      <a:pt x="90" y="338"/>
                      <a:pt x="90" y="338"/>
                    </a:cubicBezTo>
                    <a:cubicBezTo>
                      <a:pt x="91" y="340"/>
                      <a:pt x="91" y="340"/>
                      <a:pt x="91" y="340"/>
                    </a:cubicBezTo>
                    <a:cubicBezTo>
                      <a:pt x="92" y="343"/>
                      <a:pt x="92" y="343"/>
                      <a:pt x="92" y="343"/>
                    </a:cubicBezTo>
                    <a:cubicBezTo>
                      <a:pt x="93" y="345"/>
                      <a:pt x="93" y="345"/>
                      <a:pt x="93" y="345"/>
                    </a:cubicBezTo>
                    <a:cubicBezTo>
                      <a:pt x="95" y="346"/>
                      <a:pt x="95" y="346"/>
                      <a:pt x="95" y="346"/>
                    </a:cubicBezTo>
                    <a:cubicBezTo>
                      <a:pt x="96" y="347"/>
                      <a:pt x="96" y="347"/>
                      <a:pt x="96" y="347"/>
                    </a:cubicBezTo>
                    <a:cubicBezTo>
                      <a:pt x="98" y="348"/>
                      <a:pt x="98" y="348"/>
                      <a:pt x="98" y="348"/>
                    </a:cubicBezTo>
                    <a:cubicBezTo>
                      <a:pt x="99" y="348"/>
                      <a:pt x="99" y="348"/>
                      <a:pt x="99" y="348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99" y="346"/>
                      <a:pt x="99" y="346"/>
                      <a:pt x="99" y="346"/>
                    </a:cubicBezTo>
                    <a:cubicBezTo>
                      <a:pt x="98" y="347"/>
                      <a:pt x="98" y="347"/>
                      <a:pt x="98" y="347"/>
                    </a:cubicBezTo>
                    <a:cubicBezTo>
                      <a:pt x="97" y="346"/>
                      <a:pt x="97" y="346"/>
                      <a:pt x="97" y="346"/>
                    </a:cubicBezTo>
                    <a:cubicBezTo>
                      <a:pt x="95" y="343"/>
                      <a:pt x="95" y="343"/>
                      <a:pt x="95" y="343"/>
                    </a:cubicBezTo>
                    <a:cubicBezTo>
                      <a:pt x="95" y="342"/>
                      <a:pt x="95" y="342"/>
                      <a:pt x="95" y="342"/>
                    </a:cubicBezTo>
                    <a:cubicBezTo>
                      <a:pt x="95" y="342"/>
                      <a:pt x="95" y="342"/>
                      <a:pt x="95" y="342"/>
                    </a:cubicBezTo>
                    <a:cubicBezTo>
                      <a:pt x="97" y="344"/>
                      <a:pt x="97" y="344"/>
                      <a:pt x="97" y="344"/>
                    </a:cubicBezTo>
                    <a:cubicBezTo>
                      <a:pt x="98" y="344"/>
                      <a:pt x="98" y="344"/>
                      <a:pt x="98" y="344"/>
                    </a:cubicBezTo>
                    <a:cubicBezTo>
                      <a:pt x="98" y="343"/>
                      <a:pt x="98" y="343"/>
                      <a:pt x="98" y="343"/>
                    </a:cubicBezTo>
                    <a:cubicBezTo>
                      <a:pt x="99" y="343"/>
                      <a:pt x="99" y="343"/>
                      <a:pt x="99" y="343"/>
                    </a:cubicBezTo>
                    <a:cubicBezTo>
                      <a:pt x="99" y="342"/>
                      <a:pt x="99" y="342"/>
                      <a:pt x="99" y="342"/>
                    </a:cubicBezTo>
                    <a:cubicBezTo>
                      <a:pt x="97" y="341"/>
                      <a:pt x="97" y="341"/>
                      <a:pt x="97" y="341"/>
                    </a:cubicBezTo>
                    <a:cubicBezTo>
                      <a:pt x="95" y="339"/>
                      <a:pt x="95" y="339"/>
                      <a:pt x="95" y="339"/>
                    </a:cubicBezTo>
                    <a:cubicBezTo>
                      <a:pt x="94" y="338"/>
                      <a:pt x="94" y="338"/>
                      <a:pt x="94" y="338"/>
                    </a:cubicBezTo>
                    <a:cubicBezTo>
                      <a:pt x="95" y="337"/>
                      <a:pt x="95" y="337"/>
                      <a:pt x="95" y="337"/>
                    </a:cubicBezTo>
                    <a:cubicBezTo>
                      <a:pt x="95" y="337"/>
                      <a:pt x="95" y="337"/>
                      <a:pt x="95" y="337"/>
                    </a:cubicBezTo>
                    <a:cubicBezTo>
                      <a:pt x="96" y="339"/>
                      <a:pt x="96" y="339"/>
                      <a:pt x="96" y="339"/>
                    </a:cubicBezTo>
                    <a:cubicBezTo>
                      <a:pt x="98" y="339"/>
                      <a:pt x="98" y="339"/>
                      <a:pt x="98" y="339"/>
                    </a:cubicBezTo>
                    <a:cubicBezTo>
                      <a:pt x="97" y="337"/>
                      <a:pt x="97" y="337"/>
                      <a:pt x="97" y="337"/>
                    </a:cubicBezTo>
                    <a:cubicBezTo>
                      <a:pt x="95" y="335"/>
                      <a:pt x="95" y="335"/>
                      <a:pt x="95" y="335"/>
                    </a:cubicBezTo>
                    <a:cubicBezTo>
                      <a:pt x="93" y="334"/>
                      <a:pt x="93" y="334"/>
                      <a:pt x="93" y="334"/>
                    </a:cubicBezTo>
                    <a:cubicBezTo>
                      <a:pt x="93" y="333"/>
                      <a:pt x="93" y="333"/>
                      <a:pt x="93" y="333"/>
                    </a:cubicBezTo>
                    <a:cubicBezTo>
                      <a:pt x="93" y="332"/>
                      <a:pt x="93" y="332"/>
                      <a:pt x="93" y="332"/>
                    </a:cubicBezTo>
                    <a:cubicBezTo>
                      <a:pt x="95" y="333"/>
                      <a:pt x="95" y="333"/>
                      <a:pt x="95" y="333"/>
                    </a:cubicBezTo>
                    <a:cubicBezTo>
                      <a:pt x="99" y="334"/>
                      <a:pt x="99" y="334"/>
                      <a:pt x="99" y="334"/>
                    </a:cubicBezTo>
                    <a:cubicBezTo>
                      <a:pt x="100" y="334"/>
                      <a:pt x="100" y="334"/>
                      <a:pt x="100" y="334"/>
                    </a:cubicBezTo>
                    <a:cubicBezTo>
                      <a:pt x="100" y="332"/>
                      <a:pt x="100" y="332"/>
                      <a:pt x="100" y="332"/>
                    </a:cubicBezTo>
                    <a:cubicBezTo>
                      <a:pt x="98" y="331"/>
                      <a:pt x="98" y="331"/>
                      <a:pt x="98" y="331"/>
                    </a:cubicBezTo>
                    <a:cubicBezTo>
                      <a:pt x="98" y="331"/>
                      <a:pt x="98" y="331"/>
                      <a:pt x="98" y="331"/>
                    </a:cubicBezTo>
                    <a:cubicBezTo>
                      <a:pt x="96" y="331"/>
                      <a:pt x="96" y="331"/>
                      <a:pt x="96" y="331"/>
                    </a:cubicBezTo>
                    <a:cubicBezTo>
                      <a:pt x="95" y="331"/>
                      <a:pt x="95" y="331"/>
                      <a:pt x="95" y="331"/>
                    </a:cubicBezTo>
                    <a:cubicBezTo>
                      <a:pt x="93" y="331"/>
                      <a:pt x="93" y="331"/>
                      <a:pt x="93" y="331"/>
                    </a:cubicBezTo>
                    <a:cubicBezTo>
                      <a:pt x="93" y="330"/>
                      <a:pt x="93" y="330"/>
                      <a:pt x="93" y="330"/>
                    </a:cubicBezTo>
                    <a:cubicBezTo>
                      <a:pt x="93" y="329"/>
                      <a:pt x="93" y="329"/>
                      <a:pt x="93" y="329"/>
                    </a:cubicBezTo>
                    <a:cubicBezTo>
                      <a:pt x="96" y="328"/>
                      <a:pt x="96" y="328"/>
                      <a:pt x="96" y="328"/>
                    </a:cubicBezTo>
                    <a:cubicBezTo>
                      <a:pt x="96" y="329"/>
                      <a:pt x="96" y="329"/>
                      <a:pt x="96" y="329"/>
                    </a:cubicBezTo>
                    <a:cubicBezTo>
                      <a:pt x="98" y="329"/>
                      <a:pt x="98" y="329"/>
                      <a:pt x="98" y="329"/>
                    </a:cubicBezTo>
                    <a:cubicBezTo>
                      <a:pt x="98" y="329"/>
                      <a:pt x="98" y="329"/>
                      <a:pt x="98" y="329"/>
                    </a:cubicBezTo>
                    <a:cubicBezTo>
                      <a:pt x="98" y="328"/>
                      <a:pt x="98" y="328"/>
                      <a:pt x="98" y="328"/>
                    </a:cubicBezTo>
                    <a:cubicBezTo>
                      <a:pt x="97" y="326"/>
                      <a:pt x="97" y="326"/>
                      <a:pt x="97" y="326"/>
                    </a:cubicBezTo>
                    <a:cubicBezTo>
                      <a:pt x="96" y="326"/>
                      <a:pt x="96" y="326"/>
                      <a:pt x="96" y="326"/>
                    </a:cubicBezTo>
                    <a:cubicBezTo>
                      <a:pt x="95" y="327"/>
                      <a:pt x="95" y="327"/>
                      <a:pt x="95" y="327"/>
                    </a:cubicBezTo>
                    <a:cubicBezTo>
                      <a:pt x="94" y="327"/>
                      <a:pt x="94" y="327"/>
                      <a:pt x="94" y="327"/>
                    </a:cubicBezTo>
                    <a:cubicBezTo>
                      <a:pt x="93" y="328"/>
                      <a:pt x="93" y="328"/>
                      <a:pt x="93" y="328"/>
                    </a:cubicBezTo>
                    <a:cubicBezTo>
                      <a:pt x="91" y="330"/>
                      <a:pt x="91" y="330"/>
                      <a:pt x="91" y="330"/>
                    </a:cubicBezTo>
                    <a:cubicBezTo>
                      <a:pt x="90" y="330"/>
                      <a:pt x="90" y="330"/>
                      <a:pt x="90" y="330"/>
                    </a:cubicBezTo>
                    <a:cubicBezTo>
                      <a:pt x="90" y="329"/>
                      <a:pt x="90" y="329"/>
                      <a:pt x="90" y="329"/>
                    </a:cubicBezTo>
                    <a:cubicBezTo>
                      <a:pt x="91" y="328"/>
                      <a:pt x="91" y="328"/>
                      <a:pt x="91" y="328"/>
                    </a:cubicBezTo>
                    <a:cubicBezTo>
                      <a:pt x="92" y="327"/>
                      <a:pt x="92" y="327"/>
                      <a:pt x="92" y="327"/>
                    </a:cubicBezTo>
                    <a:cubicBezTo>
                      <a:pt x="93" y="325"/>
                      <a:pt x="93" y="325"/>
                      <a:pt x="93" y="325"/>
                    </a:cubicBezTo>
                    <a:cubicBezTo>
                      <a:pt x="93" y="325"/>
                      <a:pt x="93" y="325"/>
                      <a:pt x="93" y="325"/>
                    </a:cubicBezTo>
                    <a:cubicBezTo>
                      <a:pt x="95" y="325"/>
                      <a:pt x="95" y="325"/>
                      <a:pt x="95" y="325"/>
                    </a:cubicBezTo>
                    <a:cubicBezTo>
                      <a:pt x="96" y="324"/>
                      <a:pt x="96" y="324"/>
                      <a:pt x="96" y="324"/>
                    </a:cubicBezTo>
                    <a:cubicBezTo>
                      <a:pt x="97" y="324"/>
                      <a:pt x="97" y="324"/>
                      <a:pt x="97" y="324"/>
                    </a:cubicBezTo>
                    <a:cubicBezTo>
                      <a:pt x="98" y="323"/>
                      <a:pt x="98" y="323"/>
                      <a:pt x="98" y="323"/>
                    </a:cubicBezTo>
                    <a:cubicBezTo>
                      <a:pt x="97" y="323"/>
                      <a:pt x="97" y="323"/>
                      <a:pt x="97" y="323"/>
                    </a:cubicBezTo>
                    <a:cubicBezTo>
                      <a:pt x="95" y="323"/>
                      <a:pt x="95" y="323"/>
                      <a:pt x="95" y="323"/>
                    </a:cubicBezTo>
                    <a:cubicBezTo>
                      <a:pt x="94" y="324"/>
                      <a:pt x="94" y="324"/>
                      <a:pt x="94" y="324"/>
                    </a:cubicBezTo>
                    <a:cubicBezTo>
                      <a:pt x="93" y="324"/>
                      <a:pt x="93" y="324"/>
                      <a:pt x="93" y="324"/>
                    </a:cubicBezTo>
                    <a:cubicBezTo>
                      <a:pt x="92" y="324"/>
                      <a:pt x="92" y="324"/>
                      <a:pt x="92" y="324"/>
                    </a:cubicBezTo>
                    <a:cubicBezTo>
                      <a:pt x="90" y="324"/>
                      <a:pt x="90" y="324"/>
                      <a:pt x="90" y="324"/>
                    </a:cubicBezTo>
                    <a:cubicBezTo>
                      <a:pt x="89" y="323"/>
                      <a:pt x="89" y="323"/>
                      <a:pt x="89" y="323"/>
                    </a:cubicBezTo>
                    <a:cubicBezTo>
                      <a:pt x="89" y="322"/>
                      <a:pt x="89" y="322"/>
                      <a:pt x="89" y="322"/>
                    </a:cubicBezTo>
                    <a:cubicBezTo>
                      <a:pt x="90" y="322"/>
                      <a:pt x="90" y="322"/>
                      <a:pt x="90" y="322"/>
                    </a:cubicBezTo>
                    <a:cubicBezTo>
                      <a:pt x="91" y="321"/>
                      <a:pt x="91" y="321"/>
                      <a:pt x="91" y="321"/>
                    </a:cubicBezTo>
                    <a:cubicBezTo>
                      <a:pt x="94" y="320"/>
                      <a:pt x="94" y="320"/>
                      <a:pt x="94" y="320"/>
                    </a:cubicBezTo>
                    <a:cubicBezTo>
                      <a:pt x="97" y="320"/>
                      <a:pt x="97" y="320"/>
                      <a:pt x="97" y="320"/>
                    </a:cubicBezTo>
                    <a:cubicBezTo>
                      <a:pt x="99" y="318"/>
                      <a:pt x="99" y="318"/>
                      <a:pt x="99" y="318"/>
                    </a:cubicBezTo>
                    <a:cubicBezTo>
                      <a:pt x="99" y="318"/>
                      <a:pt x="99" y="318"/>
                      <a:pt x="99" y="318"/>
                    </a:cubicBezTo>
                    <a:cubicBezTo>
                      <a:pt x="98" y="317"/>
                      <a:pt x="98" y="317"/>
                      <a:pt x="98" y="317"/>
                    </a:cubicBezTo>
                    <a:cubicBezTo>
                      <a:pt x="98" y="317"/>
                      <a:pt x="98" y="317"/>
                      <a:pt x="98" y="317"/>
                    </a:cubicBezTo>
                    <a:cubicBezTo>
                      <a:pt x="96" y="318"/>
                      <a:pt x="96" y="318"/>
                      <a:pt x="96" y="318"/>
                    </a:cubicBezTo>
                    <a:cubicBezTo>
                      <a:pt x="95" y="319"/>
                      <a:pt x="95" y="319"/>
                      <a:pt x="95" y="319"/>
                    </a:cubicBezTo>
                    <a:cubicBezTo>
                      <a:pt x="93" y="318"/>
                      <a:pt x="93" y="318"/>
                      <a:pt x="93" y="318"/>
                    </a:cubicBezTo>
                    <a:cubicBezTo>
                      <a:pt x="93" y="317"/>
                      <a:pt x="93" y="317"/>
                      <a:pt x="93" y="317"/>
                    </a:cubicBezTo>
                    <a:cubicBezTo>
                      <a:pt x="92" y="317"/>
                      <a:pt x="92" y="317"/>
                      <a:pt x="92" y="317"/>
                    </a:cubicBezTo>
                    <a:cubicBezTo>
                      <a:pt x="90" y="317"/>
                      <a:pt x="90" y="317"/>
                      <a:pt x="90" y="317"/>
                    </a:cubicBezTo>
                    <a:cubicBezTo>
                      <a:pt x="90" y="316"/>
                      <a:pt x="90" y="316"/>
                      <a:pt x="90" y="316"/>
                    </a:cubicBezTo>
                    <a:cubicBezTo>
                      <a:pt x="90" y="316"/>
                      <a:pt x="90" y="316"/>
                      <a:pt x="90" y="316"/>
                    </a:cubicBezTo>
                    <a:cubicBezTo>
                      <a:pt x="91" y="314"/>
                      <a:pt x="91" y="314"/>
                      <a:pt x="91" y="314"/>
                    </a:cubicBezTo>
                    <a:cubicBezTo>
                      <a:pt x="92" y="312"/>
                      <a:pt x="92" y="312"/>
                      <a:pt x="92" y="312"/>
                    </a:cubicBezTo>
                    <a:cubicBezTo>
                      <a:pt x="93" y="311"/>
                      <a:pt x="93" y="311"/>
                      <a:pt x="93" y="311"/>
                    </a:cubicBezTo>
                    <a:cubicBezTo>
                      <a:pt x="94" y="311"/>
                      <a:pt x="94" y="311"/>
                      <a:pt x="94" y="311"/>
                    </a:cubicBezTo>
                    <a:cubicBezTo>
                      <a:pt x="94" y="310"/>
                      <a:pt x="94" y="310"/>
                      <a:pt x="94" y="31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2" y="311"/>
                      <a:pt x="92" y="311"/>
                      <a:pt x="92" y="311"/>
                    </a:cubicBezTo>
                    <a:cubicBezTo>
                      <a:pt x="90" y="313"/>
                      <a:pt x="90" y="313"/>
                      <a:pt x="90" y="313"/>
                    </a:cubicBezTo>
                    <a:cubicBezTo>
                      <a:pt x="90" y="314"/>
                      <a:pt x="90" y="314"/>
                      <a:pt x="90" y="314"/>
                    </a:cubicBezTo>
                    <a:cubicBezTo>
                      <a:pt x="88" y="315"/>
                      <a:pt x="88" y="315"/>
                      <a:pt x="88" y="315"/>
                    </a:cubicBezTo>
                    <a:cubicBezTo>
                      <a:pt x="88" y="316"/>
                      <a:pt x="88" y="316"/>
                      <a:pt x="88" y="316"/>
                    </a:cubicBezTo>
                    <a:cubicBezTo>
                      <a:pt x="87" y="316"/>
                      <a:pt x="87" y="316"/>
                      <a:pt x="87" y="316"/>
                    </a:cubicBezTo>
                    <a:cubicBezTo>
                      <a:pt x="87" y="314"/>
                      <a:pt x="87" y="314"/>
                      <a:pt x="87" y="314"/>
                    </a:cubicBezTo>
                    <a:cubicBezTo>
                      <a:pt x="88" y="312"/>
                      <a:pt x="88" y="312"/>
                      <a:pt x="88" y="312"/>
                    </a:cubicBezTo>
                    <a:cubicBezTo>
                      <a:pt x="88" y="309"/>
                      <a:pt x="88" y="309"/>
                      <a:pt x="88" y="309"/>
                    </a:cubicBezTo>
                    <a:cubicBezTo>
                      <a:pt x="87" y="307"/>
                      <a:pt x="87" y="307"/>
                      <a:pt x="87" y="307"/>
                    </a:cubicBezTo>
                    <a:cubicBezTo>
                      <a:pt x="87" y="305"/>
                      <a:pt x="87" y="305"/>
                      <a:pt x="87" y="305"/>
                    </a:cubicBezTo>
                    <a:cubicBezTo>
                      <a:pt x="87" y="304"/>
                      <a:pt x="87" y="304"/>
                      <a:pt x="87" y="304"/>
                    </a:cubicBezTo>
                    <a:cubicBezTo>
                      <a:pt x="87" y="302"/>
                      <a:pt x="87" y="302"/>
                      <a:pt x="87" y="302"/>
                    </a:cubicBezTo>
                    <a:cubicBezTo>
                      <a:pt x="87" y="303"/>
                      <a:pt x="87" y="303"/>
                      <a:pt x="87" y="303"/>
                    </a:cubicBezTo>
                    <a:cubicBezTo>
                      <a:pt x="86" y="303"/>
                      <a:pt x="86" y="303"/>
                      <a:pt x="86" y="303"/>
                    </a:cubicBezTo>
                    <a:cubicBezTo>
                      <a:pt x="86" y="307"/>
                      <a:pt x="86" y="307"/>
                      <a:pt x="86" y="307"/>
                    </a:cubicBezTo>
                    <a:cubicBezTo>
                      <a:pt x="86" y="308"/>
                      <a:pt x="86" y="308"/>
                      <a:pt x="86" y="308"/>
                    </a:cubicBezTo>
                    <a:cubicBezTo>
                      <a:pt x="87" y="310"/>
                      <a:pt x="87" y="310"/>
                      <a:pt x="87" y="310"/>
                    </a:cubicBezTo>
                    <a:cubicBezTo>
                      <a:pt x="87" y="312"/>
                      <a:pt x="87" y="312"/>
                      <a:pt x="87" y="312"/>
                    </a:cubicBezTo>
                    <a:cubicBezTo>
                      <a:pt x="87" y="315"/>
                      <a:pt x="87" y="315"/>
                      <a:pt x="87" y="315"/>
                    </a:cubicBezTo>
                    <a:cubicBezTo>
                      <a:pt x="86" y="316"/>
                      <a:pt x="86" y="316"/>
                      <a:pt x="86" y="316"/>
                    </a:cubicBezTo>
                    <a:cubicBezTo>
                      <a:pt x="85" y="316"/>
                      <a:pt x="85" y="316"/>
                      <a:pt x="85" y="316"/>
                    </a:cubicBezTo>
                    <a:cubicBezTo>
                      <a:pt x="84" y="315"/>
                      <a:pt x="84" y="315"/>
                      <a:pt x="84" y="315"/>
                    </a:cubicBezTo>
                    <a:cubicBezTo>
                      <a:pt x="83" y="314"/>
                      <a:pt x="83" y="314"/>
                      <a:pt x="83" y="314"/>
                    </a:cubicBezTo>
                    <a:cubicBezTo>
                      <a:pt x="83" y="316"/>
                      <a:pt x="83" y="316"/>
                      <a:pt x="83" y="316"/>
                    </a:cubicBezTo>
                    <a:cubicBezTo>
                      <a:pt x="83" y="317"/>
                      <a:pt x="83" y="317"/>
                      <a:pt x="83" y="317"/>
                    </a:cubicBezTo>
                    <a:cubicBezTo>
                      <a:pt x="82" y="317"/>
                      <a:pt x="82" y="317"/>
                      <a:pt x="82" y="317"/>
                    </a:cubicBezTo>
                    <a:cubicBezTo>
                      <a:pt x="81" y="317"/>
                      <a:pt x="81" y="317"/>
                      <a:pt x="81" y="317"/>
                    </a:cubicBezTo>
                    <a:cubicBezTo>
                      <a:pt x="82" y="318"/>
                      <a:pt x="82" y="318"/>
                      <a:pt x="82" y="318"/>
                    </a:cubicBezTo>
                    <a:cubicBezTo>
                      <a:pt x="82" y="319"/>
                      <a:pt x="82" y="319"/>
                      <a:pt x="82" y="319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81" y="322"/>
                      <a:pt x="81" y="322"/>
                      <a:pt x="81" y="322"/>
                    </a:cubicBezTo>
                    <a:cubicBezTo>
                      <a:pt x="79" y="322"/>
                      <a:pt x="79" y="322"/>
                      <a:pt x="79" y="322"/>
                    </a:cubicBezTo>
                    <a:cubicBezTo>
                      <a:pt x="79" y="322"/>
                      <a:pt x="79" y="322"/>
                      <a:pt x="79" y="322"/>
                    </a:cubicBezTo>
                    <a:cubicBezTo>
                      <a:pt x="78" y="322"/>
                      <a:pt x="78" y="322"/>
                      <a:pt x="78" y="322"/>
                    </a:cubicBezTo>
                    <a:cubicBezTo>
                      <a:pt x="77" y="323"/>
                      <a:pt x="77" y="323"/>
                      <a:pt x="77" y="323"/>
                    </a:cubicBezTo>
                    <a:cubicBezTo>
                      <a:pt x="74" y="323"/>
                      <a:pt x="74" y="323"/>
                      <a:pt x="74" y="323"/>
                    </a:cubicBezTo>
                    <a:cubicBezTo>
                      <a:pt x="73" y="322"/>
                      <a:pt x="73" y="322"/>
                      <a:pt x="73" y="322"/>
                    </a:cubicBezTo>
                    <a:cubicBezTo>
                      <a:pt x="74" y="321"/>
                      <a:pt x="74" y="321"/>
                      <a:pt x="74" y="321"/>
                    </a:cubicBezTo>
                    <a:cubicBezTo>
                      <a:pt x="73" y="320"/>
                      <a:pt x="73" y="320"/>
                      <a:pt x="73" y="320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1" y="320"/>
                      <a:pt x="71" y="320"/>
                      <a:pt x="71" y="320"/>
                    </a:cubicBezTo>
                    <a:cubicBezTo>
                      <a:pt x="71" y="320"/>
                      <a:pt x="71" y="320"/>
                      <a:pt x="71" y="320"/>
                    </a:cubicBezTo>
                    <a:cubicBezTo>
                      <a:pt x="70" y="318"/>
                      <a:pt x="70" y="318"/>
                      <a:pt x="70" y="318"/>
                    </a:cubicBezTo>
                    <a:cubicBezTo>
                      <a:pt x="70" y="317"/>
                      <a:pt x="70" y="317"/>
                      <a:pt x="70" y="317"/>
                    </a:cubicBezTo>
                    <a:cubicBezTo>
                      <a:pt x="70" y="316"/>
                      <a:pt x="70" y="316"/>
                      <a:pt x="70" y="316"/>
                    </a:cubicBezTo>
                    <a:cubicBezTo>
                      <a:pt x="69" y="315"/>
                      <a:pt x="69" y="315"/>
                      <a:pt x="69" y="315"/>
                    </a:cubicBezTo>
                    <a:cubicBezTo>
                      <a:pt x="69" y="314"/>
                      <a:pt x="69" y="314"/>
                      <a:pt x="69" y="314"/>
                    </a:cubicBezTo>
                    <a:cubicBezTo>
                      <a:pt x="71" y="313"/>
                      <a:pt x="71" y="313"/>
                      <a:pt x="71" y="313"/>
                    </a:cubicBezTo>
                    <a:cubicBezTo>
                      <a:pt x="73" y="313"/>
                      <a:pt x="73" y="313"/>
                      <a:pt x="73" y="313"/>
                    </a:cubicBezTo>
                    <a:cubicBezTo>
                      <a:pt x="73" y="313"/>
                      <a:pt x="73" y="313"/>
                      <a:pt x="73" y="313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5" y="311"/>
                      <a:pt x="75" y="311"/>
                      <a:pt x="75" y="311"/>
                    </a:cubicBezTo>
                    <a:cubicBezTo>
                      <a:pt x="78" y="311"/>
                      <a:pt x="78" y="311"/>
                      <a:pt x="78" y="311"/>
                    </a:cubicBezTo>
                    <a:cubicBezTo>
                      <a:pt x="79" y="311"/>
                      <a:pt x="79" y="311"/>
                      <a:pt x="79" y="311"/>
                    </a:cubicBezTo>
                    <a:cubicBezTo>
                      <a:pt x="81" y="309"/>
                      <a:pt x="81" y="309"/>
                      <a:pt x="81" y="309"/>
                    </a:cubicBezTo>
                    <a:cubicBezTo>
                      <a:pt x="83" y="306"/>
                      <a:pt x="83" y="306"/>
                      <a:pt x="83" y="306"/>
                    </a:cubicBezTo>
                    <a:cubicBezTo>
                      <a:pt x="83" y="305"/>
                      <a:pt x="83" y="305"/>
                      <a:pt x="83" y="305"/>
                    </a:cubicBezTo>
                    <a:cubicBezTo>
                      <a:pt x="82" y="305"/>
                      <a:pt x="82" y="305"/>
                      <a:pt x="82" y="305"/>
                    </a:cubicBezTo>
                    <a:cubicBezTo>
                      <a:pt x="81" y="306"/>
                      <a:pt x="81" y="306"/>
                      <a:pt x="81" y="306"/>
                    </a:cubicBezTo>
                    <a:cubicBezTo>
                      <a:pt x="80" y="308"/>
                      <a:pt x="80" y="308"/>
                      <a:pt x="80" y="308"/>
                    </a:cubicBezTo>
                    <a:cubicBezTo>
                      <a:pt x="79" y="309"/>
                      <a:pt x="79" y="309"/>
                      <a:pt x="79" y="309"/>
                    </a:cubicBezTo>
                    <a:cubicBezTo>
                      <a:pt x="77" y="310"/>
                      <a:pt x="77" y="310"/>
                      <a:pt x="77" y="310"/>
                    </a:cubicBezTo>
                    <a:cubicBezTo>
                      <a:pt x="74" y="309"/>
                      <a:pt x="74" y="309"/>
                      <a:pt x="74" y="309"/>
                    </a:cubicBezTo>
                    <a:cubicBezTo>
                      <a:pt x="73" y="308"/>
                      <a:pt x="73" y="308"/>
                      <a:pt x="73" y="308"/>
                    </a:cubicBezTo>
                    <a:cubicBezTo>
                      <a:pt x="73" y="307"/>
                      <a:pt x="73" y="307"/>
                      <a:pt x="73" y="307"/>
                    </a:cubicBezTo>
                    <a:cubicBezTo>
                      <a:pt x="75" y="306"/>
                      <a:pt x="75" y="306"/>
                      <a:pt x="75" y="306"/>
                    </a:cubicBezTo>
                    <a:cubicBezTo>
                      <a:pt x="77" y="304"/>
                      <a:pt x="77" y="304"/>
                      <a:pt x="77" y="304"/>
                    </a:cubicBezTo>
                    <a:cubicBezTo>
                      <a:pt x="78" y="304"/>
                      <a:pt x="78" y="304"/>
                      <a:pt x="78" y="304"/>
                    </a:cubicBezTo>
                    <a:cubicBezTo>
                      <a:pt x="78" y="304"/>
                      <a:pt x="78" y="304"/>
                      <a:pt x="78" y="304"/>
                    </a:cubicBezTo>
                    <a:cubicBezTo>
                      <a:pt x="78" y="302"/>
                      <a:pt x="78" y="302"/>
                      <a:pt x="78" y="302"/>
                    </a:cubicBezTo>
                    <a:cubicBezTo>
                      <a:pt x="79" y="302"/>
                      <a:pt x="79" y="302"/>
                      <a:pt x="79" y="302"/>
                    </a:cubicBezTo>
                    <a:cubicBezTo>
                      <a:pt x="80" y="301"/>
                      <a:pt x="80" y="301"/>
                      <a:pt x="80" y="301"/>
                    </a:cubicBezTo>
                    <a:cubicBezTo>
                      <a:pt x="81" y="301"/>
                      <a:pt x="81" y="301"/>
                      <a:pt x="81" y="301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0" y="299"/>
                      <a:pt x="80" y="299"/>
                      <a:pt x="80" y="299"/>
                    </a:cubicBezTo>
                    <a:cubicBezTo>
                      <a:pt x="80" y="299"/>
                      <a:pt x="80" y="299"/>
                      <a:pt x="80" y="299"/>
                    </a:cubicBezTo>
                    <a:cubicBezTo>
                      <a:pt x="79" y="299"/>
                      <a:pt x="79" y="299"/>
                      <a:pt x="79" y="299"/>
                    </a:cubicBezTo>
                    <a:cubicBezTo>
                      <a:pt x="78" y="300"/>
                      <a:pt x="78" y="300"/>
                      <a:pt x="78" y="300"/>
                    </a:cubicBezTo>
                    <a:cubicBezTo>
                      <a:pt x="76" y="300"/>
                      <a:pt x="76" y="300"/>
                      <a:pt x="76" y="300"/>
                    </a:cubicBezTo>
                    <a:cubicBezTo>
                      <a:pt x="75" y="300"/>
                      <a:pt x="75" y="300"/>
                      <a:pt x="75" y="300"/>
                    </a:cubicBezTo>
                    <a:cubicBezTo>
                      <a:pt x="74" y="299"/>
                      <a:pt x="74" y="299"/>
                      <a:pt x="74" y="299"/>
                    </a:cubicBezTo>
                    <a:cubicBezTo>
                      <a:pt x="75" y="298"/>
                      <a:pt x="75" y="298"/>
                      <a:pt x="75" y="298"/>
                    </a:cubicBezTo>
                    <a:cubicBezTo>
                      <a:pt x="77" y="297"/>
                      <a:pt x="77" y="297"/>
                      <a:pt x="77" y="297"/>
                    </a:cubicBezTo>
                    <a:cubicBezTo>
                      <a:pt x="78" y="297"/>
                      <a:pt x="78" y="297"/>
                      <a:pt x="78" y="297"/>
                    </a:cubicBezTo>
                    <a:cubicBezTo>
                      <a:pt x="79" y="298"/>
                      <a:pt x="79" y="298"/>
                      <a:pt x="79" y="298"/>
                    </a:cubicBezTo>
                    <a:cubicBezTo>
                      <a:pt x="80" y="298"/>
                      <a:pt x="80" y="298"/>
                      <a:pt x="80" y="298"/>
                    </a:cubicBezTo>
                    <a:cubicBezTo>
                      <a:pt x="82" y="297"/>
                      <a:pt x="82" y="297"/>
                      <a:pt x="82" y="297"/>
                    </a:cubicBezTo>
                    <a:cubicBezTo>
                      <a:pt x="83" y="294"/>
                      <a:pt x="83" y="294"/>
                      <a:pt x="83" y="294"/>
                    </a:cubicBezTo>
                    <a:cubicBezTo>
                      <a:pt x="82" y="293"/>
                      <a:pt x="82" y="293"/>
                      <a:pt x="82" y="293"/>
                    </a:cubicBezTo>
                    <a:cubicBezTo>
                      <a:pt x="83" y="292"/>
                      <a:pt x="83" y="292"/>
                      <a:pt x="83" y="292"/>
                    </a:cubicBezTo>
                    <a:cubicBezTo>
                      <a:pt x="85" y="290"/>
                      <a:pt x="85" y="290"/>
                      <a:pt x="85" y="290"/>
                    </a:cubicBezTo>
                    <a:cubicBezTo>
                      <a:pt x="84" y="288"/>
                      <a:pt x="84" y="288"/>
                      <a:pt x="84" y="288"/>
                    </a:cubicBezTo>
                    <a:cubicBezTo>
                      <a:pt x="84" y="286"/>
                      <a:pt x="84" y="286"/>
                      <a:pt x="84" y="286"/>
                    </a:cubicBezTo>
                    <a:cubicBezTo>
                      <a:pt x="84" y="285"/>
                      <a:pt x="84" y="285"/>
                      <a:pt x="84" y="285"/>
                    </a:cubicBezTo>
                    <a:cubicBezTo>
                      <a:pt x="83" y="285"/>
                      <a:pt x="83" y="285"/>
                      <a:pt x="83" y="285"/>
                    </a:cubicBezTo>
                    <a:cubicBezTo>
                      <a:pt x="82" y="285"/>
                      <a:pt x="82" y="285"/>
                      <a:pt x="82" y="285"/>
                    </a:cubicBezTo>
                    <a:cubicBezTo>
                      <a:pt x="81" y="284"/>
                      <a:pt x="81" y="284"/>
                      <a:pt x="81" y="284"/>
                    </a:cubicBezTo>
                    <a:cubicBezTo>
                      <a:pt x="79" y="284"/>
                      <a:pt x="79" y="284"/>
                      <a:pt x="79" y="284"/>
                    </a:cubicBezTo>
                    <a:cubicBezTo>
                      <a:pt x="78" y="283"/>
                      <a:pt x="78" y="283"/>
                      <a:pt x="78" y="283"/>
                    </a:cubicBezTo>
                    <a:cubicBezTo>
                      <a:pt x="78" y="282"/>
                      <a:pt x="78" y="282"/>
                      <a:pt x="78" y="282"/>
                    </a:cubicBezTo>
                    <a:cubicBezTo>
                      <a:pt x="79" y="282"/>
                      <a:pt x="79" y="282"/>
                      <a:pt x="79" y="282"/>
                    </a:cubicBezTo>
                    <a:cubicBezTo>
                      <a:pt x="81" y="282"/>
                      <a:pt x="81" y="282"/>
                      <a:pt x="81" y="282"/>
                    </a:cubicBezTo>
                    <a:cubicBezTo>
                      <a:pt x="81" y="282"/>
                      <a:pt x="81" y="282"/>
                      <a:pt x="81" y="282"/>
                    </a:cubicBezTo>
                    <a:cubicBezTo>
                      <a:pt x="83" y="280"/>
                      <a:pt x="83" y="280"/>
                      <a:pt x="83" y="280"/>
                    </a:cubicBezTo>
                    <a:cubicBezTo>
                      <a:pt x="83" y="279"/>
                      <a:pt x="83" y="279"/>
                      <a:pt x="83" y="279"/>
                    </a:cubicBezTo>
                    <a:cubicBezTo>
                      <a:pt x="84" y="278"/>
                      <a:pt x="84" y="278"/>
                      <a:pt x="84" y="278"/>
                    </a:cubicBezTo>
                    <a:cubicBezTo>
                      <a:pt x="83" y="277"/>
                      <a:pt x="83" y="277"/>
                      <a:pt x="83" y="277"/>
                    </a:cubicBezTo>
                    <a:cubicBezTo>
                      <a:pt x="83" y="276"/>
                      <a:pt x="83" y="276"/>
                      <a:pt x="83" y="276"/>
                    </a:cubicBezTo>
                    <a:cubicBezTo>
                      <a:pt x="82" y="276"/>
                      <a:pt x="82" y="276"/>
                      <a:pt x="82" y="276"/>
                    </a:cubicBezTo>
                    <a:cubicBezTo>
                      <a:pt x="81" y="275"/>
                      <a:pt x="81" y="275"/>
                      <a:pt x="81" y="275"/>
                    </a:cubicBezTo>
                    <a:cubicBezTo>
                      <a:pt x="81" y="274"/>
                      <a:pt x="81" y="274"/>
                      <a:pt x="81" y="274"/>
                    </a:cubicBezTo>
                    <a:cubicBezTo>
                      <a:pt x="82" y="273"/>
                      <a:pt x="82" y="273"/>
                      <a:pt x="82" y="273"/>
                    </a:cubicBezTo>
                    <a:cubicBezTo>
                      <a:pt x="82" y="273"/>
                      <a:pt x="82" y="273"/>
                      <a:pt x="82" y="273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1" y="271"/>
                      <a:pt x="81" y="271"/>
                      <a:pt x="81" y="271"/>
                    </a:cubicBezTo>
                    <a:cubicBezTo>
                      <a:pt x="81" y="268"/>
                      <a:pt x="81" y="268"/>
                      <a:pt x="81" y="268"/>
                    </a:cubicBezTo>
                    <a:cubicBezTo>
                      <a:pt x="81" y="268"/>
                      <a:pt x="81" y="268"/>
                      <a:pt x="81" y="268"/>
                    </a:cubicBezTo>
                    <a:cubicBezTo>
                      <a:pt x="82" y="269"/>
                      <a:pt x="82" y="269"/>
                      <a:pt x="82" y="269"/>
                    </a:cubicBezTo>
                    <a:cubicBezTo>
                      <a:pt x="82" y="269"/>
                      <a:pt x="82" y="269"/>
                      <a:pt x="82" y="269"/>
                    </a:cubicBezTo>
                    <a:cubicBezTo>
                      <a:pt x="82" y="267"/>
                      <a:pt x="82" y="267"/>
                      <a:pt x="82" y="267"/>
                    </a:cubicBezTo>
                    <a:cubicBezTo>
                      <a:pt x="82" y="267"/>
                      <a:pt x="82" y="267"/>
                      <a:pt x="82" y="267"/>
                    </a:cubicBezTo>
                    <a:cubicBezTo>
                      <a:pt x="83" y="265"/>
                      <a:pt x="83" y="265"/>
                      <a:pt x="83" y="265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1" y="261"/>
                      <a:pt x="81" y="261"/>
                      <a:pt x="81" y="261"/>
                    </a:cubicBezTo>
                    <a:cubicBezTo>
                      <a:pt x="82" y="260"/>
                      <a:pt x="82" y="260"/>
                      <a:pt x="82" y="260"/>
                    </a:cubicBezTo>
                    <a:cubicBezTo>
                      <a:pt x="81" y="259"/>
                      <a:pt x="81" y="259"/>
                      <a:pt x="81" y="259"/>
                    </a:cubicBezTo>
                    <a:cubicBezTo>
                      <a:pt x="82" y="258"/>
                      <a:pt x="82" y="258"/>
                      <a:pt x="82" y="258"/>
                    </a:cubicBezTo>
                    <a:cubicBezTo>
                      <a:pt x="82" y="256"/>
                      <a:pt x="82" y="256"/>
                      <a:pt x="82" y="256"/>
                    </a:cubicBezTo>
                    <a:cubicBezTo>
                      <a:pt x="82" y="256"/>
                      <a:pt x="82" y="256"/>
                      <a:pt x="82" y="256"/>
                    </a:cubicBezTo>
                    <a:cubicBezTo>
                      <a:pt x="81" y="256"/>
                      <a:pt x="81" y="256"/>
                      <a:pt x="81" y="256"/>
                    </a:cubicBezTo>
                    <a:cubicBezTo>
                      <a:pt x="79" y="258"/>
                      <a:pt x="79" y="258"/>
                      <a:pt x="79" y="258"/>
                    </a:cubicBezTo>
                    <a:cubicBezTo>
                      <a:pt x="78" y="258"/>
                      <a:pt x="78" y="258"/>
                      <a:pt x="78" y="258"/>
                    </a:cubicBezTo>
                    <a:cubicBezTo>
                      <a:pt x="77" y="258"/>
                      <a:pt x="77" y="258"/>
                      <a:pt x="77" y="258"/>
                    </a:cubicBezTo>
                    <a:cubicBezTo>
                      <a:pt x="76" y="259"/>
                      <a:pt x="76" y="259"/>
                      <a:pt x="76" y="259"/>
                    </a:cubicBezTo>
                    <a:cubicBezTo>
                      <a:pt x="75" y="258"/>
                      <a:pt x="75" y="258"/>
                      <a:pt x="75" y="258"/>
                    </a:cubicBezTo>
                    <a:cubicBezTo>
                      <a:pt x="76" y="258"/>
                      <a:pt x="76" y="258"/>
                      <a:pt x="76" y="258"/>
                    </a:cubicBezTo>
                    <a:cubicBezTo>
                      <a:pt x="78" y="256"/>
                      <a:pt x="78" y="256"/>
                      <a:pt x="78" y="256"/>
                    </a:cubicBezTo>
                    <a:cubicBezTo>
                      <a:pt x="79" y="256"/>
                      <a:pt x="79" y="256"/>
                      <a:pt x="79" y="256"/>
                    </a:cubicBezTo>
                    <a:cubicBezTo>
                      <a:pt x="80" y="255"/>
                      <a:pt x="80" y="255"/>
                      <a:pt x="80" y="255"/>
                    </a:cubicBezTo>
                    <a:cubicBezTo>
                      <a:pt x="80" y="253"/>
                      <a:pt x="80" y="253"/>
                      <a:pt x="80" y="253"/>
                    </a:cubicBezTo>
                    <a:cubicBezTo>
                      <a:pt x="82" y="252"/>
                      <a:pt x="82" y="252"/>
                      <a:pt x="82" y="252"/>
                    </a:cubicBezTo>
                    <a:cubicBezTo>
                      <a:pt x="83" y="252"/>
                      <a:pt x="83" y="252"/>
                      <a:pt x="83" y="252"/>
                    </a:cubicBezTo>
                    <a:cubicBezTo>
                      <a:pt x="84" y="250"/>
                      <a:pt x="84" y="250"/>
                      <a:pt x="84" y="250"/>
                    </a:cubicBezTo>
                    <a:cubicBezTo>
                      <a:pt x="83" y="249"/>
                      <a:pt x="83" y="249"/>
                      <a:pt x="83" y="249"/>
                    </a:cubicBezTo>
                    <a:cubicBezTo>
                      <a:pt x="83" y="248"/>
                      <a:pt x="83" y="248"/>
                      <a:pt x="83" y="248"/>
                    </a:cubicBezTo>
                    <a:cubicBezTo>
                      <a:pt x="81" y="246"/>
                      <a:pt x="81" y="246"/>
                      <a:pt x="81" y="246"/>
                    </a:cubicBezTo>
                    <a:cubicBezTo>
                      <a:pt x="81" y="245"/>
                      <a:pt x="81" y="245"/>
                      <a:pt x="81" y="245"/>
                    </a:cubicBezTo>
                    <a:cubicBezTo>
                      <a:pt x="81" y="244"/>
                      <a:pt x="81" y="244"/>
                      <a:pt x="81" y="244"/>
                    </a:cubicBezTo>
                    <a:cubicBezTo>
                      <a:pt x="80" y="244"/>
                      <a:pt x="80" y="244"/>
                      <a:pt x="80" y="244"/>
                    </a:cubicBezTo>
                    <a:cubicBezTo>
                      <a:pt x="79" y="243"/>
                      <a:pt x="79" y="243"/>
                      <a:pt x="79" y="243"/>
                    </a:cubicBezTo>
                    <a:cubicBezTo>
                      <a:pt x="79" y="241"/>
                      <a:pt x="79" y="241"/>
                      <a:pt x="79" y="241"/>
                    </a:cubicBezTo>
                    <a:cubicBezTo>
                      <a:pt x="79" y="241"/>
                      <a:pt x="79" y="241"/>
                      <a:pt x="79" y="241"/>
                    </a:cubicBezTo>
                    <a:cubicBezTo>
                      <a:pt x="79" y="240"/>
                      <a:pt x="79" y="240"/>
                      <a:pt x="79" y="240"/>
                    </a:cubicBezTo>
                    <a:cubicBezTo>
                      <a:pt x="79" y="238"/>
                      <a:pt x="79" y="238"/>
                      <a:pt x="79" y="238"/>
                    </a:cubicBezTo>
                    <a:cubicBezTo>
                      <a:pt x="78" y="237"/>
                      <a:pt x="78" y="237"/>
                      <a:pt x="78" y="237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5" y="233"/>
                      <a:pt x="75" y="233"/>
                      <a:pt x="75" y="233"/>
                    </a:cubicBezTo>
                    <a:cubicBezTo>
                      <a:pt x="74" y="232"/>
                      <a:pt x="74" y="232"/>
                      <a:pt x="74" y="232"/>
                    </a:cubicBezTo>
                    <a:cubicBezTo>
                      <a:pt x="73" y="231"/>
                      <a:pt x="73" y="231"/>
                      <a:pt x="73" y="231"/>
                    </a:cubicBezTo>
                    <a:cubicBezTo>
                      <a:pt x="73" y="230"/>
                      <a:pt x="73" y="230"/>
                      <a:pt x="73" y="230"/>
                    </a:cubicBezTo>
                    <a:cubicBezTo>
                      <a:pt x="74" y="230"/>
                      <a:pt x="74" y="230"/>
                      <a:pt x="74" y="230"/>
                    </a:cubicBezTo>
                    <a:cubicBezTo>
                      <a:pt x="76" y="228"/>
                      <a:pt x="76" y="228"/>
                      <a:pt x="76" y="228"/>
                    </a:cubicBezTo>
                    <a:cubicBezTo>
                      <a:pt x="77" y="228"/>
                      <a:pt x="77" y="228"/>
                      <a:pt x="77" y="228"/>
                    </a:cubicBezTo>
                    <a:cubicBezTo>
                      <a:pt x="78" y="226"/>
                      <a:pt x="78" y="226"/>
                      <a:pt x="78" y="226"/>
                    </a:cubicBezTo>
                    <a:cubicBezTo>
                      <a:pt x="77" y="226"/>
                      <a:pt x="77" y="226"/>
                      <a:pt x="77" y="226"/>
                    </a:cubicBezTo>
                    <a:cubicBezTo>
                      <a:pt x="76" y="226"/>
                      <a:pt x="76" y="226"/>
                      <a:pt x="76" y="226"/>
                    </a:cubicBezTo>
                    <a:cubicBezTo>
                      <a:pt x="76" y="225"/>
                      <a:pt x="76" y="225"/>
                      <a:pt x="76" y="225"/>
                    </a:cubicBezTo>
                    <a:cubicBezTo>
                      <a:pt x="77" y="225"/>
                      <a:pt x="77" y="225"/>
                      <a:pt x="77" y="225"/>
                    </a:cubicBezTo>
                    <a:cubicBezTo>
                      <a:pt x="78" y="223"/>
                      <a:pt x="78" y="223"/>
                      <a:pt x="78" y="223"/>
                    </a:cubicBezTo>
                    <a:cubicBezTo>
                      <a:pt x="79" y="222"/>
                      <a:pt x="79" y="222"/>
                      <a:pt x="79" y="222"/>
                    </a:cubicBezTo>
                    <a:cubicBezTo>
                      <a:pt x="79" y="221"/>
                      <a:pt x="79" y="221"/>
                      <a:pt x="79" y="221"/>
                    </a:cubicBezTo>
                    <a:cubicBezTo>
                      <a:pt x="78" y="220"/>
                      <a:pt x="78" y="220"/>
                      <a:pt x="78" y="220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78" y="218"/>
                      <a:pt x="78" y="218"/>
                      <a:pt x="78" y="218"/>
                    </a:cubicBezTo>
                    <a:cubicBezTo>
                      <a:pt x="77" y="218"/>
                      <a:pt x="77" y="218"/>
                      <a:pt x="77" y="218"/>
                    </a:cubicBezTo>
                    <a:cubicBezTo>
                      <a:pt x="76" y="216"/>
                      <a:pt x="76" y="216"/>
                      <a:pt x="76" y="216"/>
                    </a:cubicBezTo>
                    <a:cubicBezTo>
                      <a:pt x="73" y="214"/>
                      <a:pt x="73" y="214"/>
                      <a:pt x="73" y="214"/>
                    </a:cubicBezTo>
                    <a:cubicBezTo>
                      <a:pt x="73" y="213"/>
                      <a:pt x="73" y="213"/>
                      <a:pt x="73" y="213"/>
                    </a:cubicBezTo>
                    <a:cubicBezTo>
                      <a:pt x="72" y="212"/>
                      <a:pt x="72" y="212"/>
                      <a:pt x="72" y="212"/>
                    </a:cubicBezTo>
                    <a:cubicBezTo>
                      <a:pt x="71" y="212"/>
                      <a:pt x="71" y="212"/>
                      <a:pt x="71" y="212"/>
                    </a:cubicBezTo>
                    <a:cubicBezTo>
                      <a:pt x="71" y="213"/>
                      <a:pt x="71" y="213"/>
                      <a:pt x="71" y="213"/>
                    </a:cubicBezTo>
                    <a:cubicBezTo>
                      <a:pt x="70" y="213"/>
                      <a:pt x="70" y="213"/>
                      <a:pt x="70" y="213"/>
                    </a:cubicBezTo>
                    <a:cubicBezTo>
                      <a:pt x="70" y="213"/>
                      <a:pt x="70" y="213"/>
                      <a:pt x="70" y="213"/>
                    </a:cubicBezTo>
                    <a:cubicBezTo>
                      <a:pt x="69" y="211"/>
                      <a:pt x="69" y="211"/>
                      <a:pt x="69" y="211"/>
                    </a:cubicBezTo>
                    <a:cubicBezTo>
                      <a:pt x="68" y="210"/>
                      <a:pt x="68" y="210"/>
                      <a:pt x="68" y="210"/>
                    </a:cubicBezTo>
                    <a:cubicBezTo>
                      <a:pt x="67" y="209"/>
                      <a:pt x="67" y="209"/>
                      <a:pt x="67" y="209"/>
                    </a:cubicBezTo>
                    <a:cubicBezTo>
                      <a:pt x="66" y="208"/>
                      <a:pt x="66" y="208"/>
                      <a:pt x="66" y="208"/>
                    </a:cubicBezTo>
                    <a:cubicBezTo>
                      <a:pt x="65" y="208"/>
                      <a:pt x="65" y="208"/>
                      <a:pt x="65" y="208"/>
                    </a:cubicBezTo>
                    <a:cubicBezTo>
                      <a:pt x="65" y="208"/>
                      <a:pt x="65" y="208"/>
                      <a:pt x="65" y="208"/>
                    </a:cubicBezTo>
                    <a:cubicBezTo>
                      <a:pt x="64" y="209"/>
                      <a:pt x="64" y="209"/>
                      <a:pt x="64" y="209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06"/>
                      <a:pt x="64" y="206"/>
                      <a:pt x="64" y="206"/>
                    </a:cubicBezTo>
                    <a:cubicBezTo>
                      <a:pt x="62" y="204"/>
                      <a:pt x="62" y="204"/>
                      <a:pt x="62" y="204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59" y="204"/>
                      <a:pt x="59" y="204"/>
                      <a:pt x="59" y="204"/>
                    </a:cubicBezTo>
                    <a:cubicBezTo>
                      <a:pt x="57" y="203"/>
                      <a:pt x="57" y="203"/>
                      <a:pt x="57" y="203"/>
                    </a:cubicBezTo>
                    <a:cubicBezTo>
                      <a:pt x="55" y="201"/>
                      <a:pt x="55" y="201"/>
                      <a:pt x="55" y="201"/>
                    </a:cubicBezTo>
                    <a:cubicBezTo>
                      <a:pt x="52" y="200"/>
                      <a:pt x="52" y="200"/>
                      <a:pt x="52" y="200"/>
                    </a:cubicBezTo>
                    <a:cubicBezTo>
                      <a:pt x="51" y="199"/>
                      <a:pt x="51" y="199"/>
                      <a:pt x="51" y="199"/>
                    </a:cubicBezTo>
                    <a:cubicBezTo>
                      <a:pt x="49" y="198"/>
                      <a:pt x="49" y="198"/>
                      <a:pt x="49" y="198"/>
                    </a:cubicBezTo>
                    <a:cubicBezTo>
                      <a:pt x="47" y="198"/>
                      <a:pt x="47" y="198"/>
                      <a:pt x="47" y="198"/>
                    </a:cubicBezTo>
                    <a:cubicBezTo>
                      <a:pt x="46" y="199"/>
                      <a:pt x="46" y="199"/>
                      <a:pt x="46" y="199"/>
                    </a:cubicBezTo>
                    <a:cubicBezTo>
                      <a:pt x="45" y="201"/>
                      <a:pt x="45" y="201"/>
                      <a:pt x="45" y="201"/>
                    </a:cubicBezTo>
                    <a:cubicBezTo>
                      <a:pt x="43" y="203"/>
                      <a:pt x="43" y="203"/>
                      <a:pt x="43" y="203"/>
                    </a:cubicBezTo>
                    <a:cubicBezTo>
                      <a:pt x="43" y="204"/>
                      <a:pt x="43" y="204"/>
                      <a:pt x="43" y="204"/>
                    </a:cubicBezTo>
                    <a:cubicBezTo>
                      <a:pt x="42" y="202"/>
                      <a:pt x="42" y="202"/>
                      <a:pt x="42" y="202"/>
                    </a:cubicBezTo>
                    <a:cubicBezTo>
                      <a:pt x="43" y="200"/>
                      <a:pt x="43" y="200"/>
                      <a:pt x="43" y="200"/>
                    </a:cubicBezTo>
                    <a:cubicBezTo>
                      <a:pt x="43" y="199"/>
                      <a:pt x="43" y="199"/>
                      <a:pt x="43" y="199"/>
                    </a:cubicBezTo>
                    <a:cubicBezTo>
                      <a:pt x="43" y="198"/>
                      <a:pt x="43" y="198"/>
                      <a:pt x="43" y="198"/>
                    </a:cubicBezTo>
                    <a:cubicBezTo>
                      <a:pt x="41" y="198"/>
                      <a:pt x="41" y="198"/>
                      <a:pt x="41" y="198"/>
                    </a:cubicBezTo>
                    <a:cubicBezTo>
                      <a:pt x="40" y="199"/>
                      <a:pt x="40" y="199"/>
                      <a:pt x="40" y="199"/>
                    </a:cubicBezTo>
                    <a:cubicBezTo>
                      <a:pt x="40" y="200"/>
                      <a:pt x="40" y="200"/>
                      <a:pt x="40" y="200"/>
                    </a:cubicBezTo>
                    <a:cubicBezTo>
                      <a:pt x="38" y="201"/>
                      <a:pt x="38" y="201"/>
                      <a:pt x="38" y="201"/>
                    </a:cubicBezTo>
                    <a:cubicBezTo>
                      <a:pt x="37" y="201"/>
                      <a:pt x="37" y="201"/>
                      <a:pt x="37" y="201"/>
                    </a:cubicBezTo>
                    <a:cubicBezTo>
                      <a:pt x="36" y="198"/>
                      <a:pt x="36" y="198"/>
                      <a:pt x="36" y="198"/>
                    </a:cubicBezTo>
                    <a:cubicBezTo>
                      <a:pt x="35" y="198"/>
                      <a:pt x="35" y="198"/>
                      <a:pt x="35" y="198"/>
                    </a:cubicBezTo>
                    <a:cubicBezTo>
                      <a:pt x="35" y="199"/>
                      <a:pt x="35" y="199"/>
                      <a:pt x="35" y="199"/>
                    </a:cubicBezTo>
                    <a:cubicBezTo>
                      <a:pt x="34" y="202"/>
                      <a:pt x="34" y="202"/>
                      <a:pt x="34" y="202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2" y="202"/>
                      <a:pt x="32" y="202"/>
                      <a:pt x="32" y="202"/>
                    </a:cubicBezTo>
                    <a:cubicBezTo>
                      <a:pt x="32" y="200"/>
                      <a:pt x="32" y="200"/>
                      <a:pt x="32" y="200"/>
                    </a:cubicBezTo>
                    <a:cubicBezTo>
                      <a:pt x="33" y="199"/>
                      <a:pt x="33" y="199"/>
                      <a:pt x="33" y="199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2" y="197"/>
                      <a:pt x="32" y="197"/>
                      <a:pt x="32" y="197"/>
                    </a:cubicBezTo>
                    <a:cubicBezTo>
                      <a:pt x="32" y="196"/>
                      <a:pt x="32" y="196"/>
                      <a:pt x="32" y="196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7" y="198"/>
                      <a:pt x="27" y="198"/>
                      <a:pt x="27" y="198"/>
                    </a:cubicBezTo>
                    <a:cubicBezTo>
                      <a:pt x="27" y="197"/>
                      <a:pt x="27" y="197"/>
                      <a:pt x="27" y="197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6" y="193"/>
                      <a:pt x="26" y="193"/>
                      <a:pt x="26" y="193"/>
                    </a:cubicBezTo>
                    <a:cubicBezTo>
                      <a:pt x="26" y="193"/>
                      <a:pt x="26" y="193"/>
                      <a:pt x="26" y="193"/>
                    </a:cubicBezTo>
                    <a:cubicBezTo>
                      <a:pt x="25" y="194"/>
                      <a:pt x="25" y="194"/>
                      <a:pt x="25" y="194"/>
                    </a:cubicBezTo>
                    <a:cubicBezTo>
                      <a:pt x="25" y="195"/>
                      <a:pt x="25" y="195"/>
                      <a:pt x="25" y="195"/>
                    </a:cubicBezTo>
                    <a:cubicBezTo>
                      <a:pt x="24" y="197"/>
                      <a:pt x="24" y="197"/>
                      <a:pt x="24" y="197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199"/>
                      <a:pt x="23" y="199"/>
                      <a:pt x="23" y="199"/>
                    </a:cubicBezTo>
                    <a:cubicBezTo>
                      <a:pt x="24" y="202"/>
                      <a:pt x="24" y="202"/>
                      <a:pt x="24" y="202"/>
                    </a:cubicBezTo>
                    <a:cubicBezTo>
                      <a:pt x="23" y="203"/>
                      <a:pt x="23" y="203"/>
                      <a:pt x="23" y="203"/>
                    </a:cubicBezTo>
                    <a:cubicBezTo>
                      <a:pt x="23" y="204"/>
                      <a:pt x="23" y="204"/>
                      <a:pt x="23" y="204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0" y="201"/>
                      <a:pt x="20" y="201"/>
                      <a:pt x="20" y="201"/>
                    </a:cubicBezTo>
                    <a:cubicBezTo>
                      <a:pt x="18" y="200"/>
                      <a:pt x="18" y="200"/>
                      <a:pt x="18" y="200"/>
                    </a:cubicBezTo>
                    <a:cubicBezTo>
                      <a:pt x="16" y="199"/>
                      <a:pt x="16" y="199"/>
                      <a:pt x="16" y="199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4" y="196"/>
                      <a:pt x="14" y="196"/>
                      <a:pt x="14" y="196"/>
                    </a:cubicBezTo>
                    <a:cubicBezTo>
                      <a:pt x="14" y="196"/>
                      <a:pt x="14" y="196"/>
                      <a:pt x="14" y="196"/>
                    </a:cubicBezTo>
                    <a:cubicBezTo>
                      <a:pt x="14" y="195"/>
                      <a:pt x="14" y="195"/>
                      <a:pt x="14" y="195"/>
                    </a:cubicBezTo>
                    <a:cubicBezTo>
                      <a:pt x="12" y="195"/>
                      <a:pt x="12" y="195"/>
                      <a:pt x="12" y="195"/>
                    </a:cubicBezTo>
                    <a:cubicBezTo>
                      <a:pt x="11" y="192"/>
                      <a:pt x="11" y="192"/>
                      <a:pt x="11" y="192"/>
                    </a:cubicBezTo>
                    <a:cubicBezTo>
                      <a:pt x="10" y="190"/>
                      <a:pt x="10" y="190"/>
                      <a:pt x="10" y="190"/>
                    </a:cubicBezTo>
                    <a:cubicBezTo>
                      <a:pt x="8" y="189"/>
                      <a:pt x="8" y="189"/>
                      <a:pt x="8" y="189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9" y="185"/>
                      <a:pt x="9" y="185"/>
                      <a:pt x="9" y="185"/>
                    </a:cubicBezTo>
                    <a:cubicBezTo>
                      <a:pt x="12" y="185"/>
                      <a:pt x="12" y="185"/>
                      <a:pt x="12" y="185"/>
                    </a:cubicBezTo>
                    <a:cubicBezTo>
                      <a:pt x="13" y="184"/>
                      <a:pt x="13" y="184"/>
                      <a:pt x="13" y="184"/>
                    </a:cubicBezTo>
                    <a:cubicBezTo>
                      <a:pt x="14" y="184"/>
                      <a:pt x="14" y="184"/>
                      <a:pt x="14" y="184"/>
                    </a:cubicBezTo>
                    <a:cubicBezTo>
                      <a:pt x="17" y="184"/>
                      <a:pt x="17" y="184"/>
                      <a:pt x="17" y="184"/>
                    </a:cubicBezTo>
                    <a:cubicBezTo>
                      <a:pt x="18" y="184"/>
                      <a:pt x="18" y="184"/>
                      <a:pt x="18" y="184"/>
                    </a:cubicBezTo>
                    <a:cubicBezTo>
                      <a:pt x="19" y="183"/>
                      <a:pt x="19" y="183"/>
                      <a:pt x="19" y="183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20" y="181"/>
                      <a:pt x="20" y="181"/>
                      <a:pt x="20" y="181"/>
                    </a:cubicBezTo>
                    <a:cubicBezTo>
                      <a:pt x="18" y="181"/>
                      <a:pt x="18" y="181"/>
                      <a:pt x="18" y="181"/>
                    </a:cubicBezTo>
                    <a:cubicBezTo>
                      <a:pt x="15" y="180"/>
                      <a:pt x="15" y="180"/>
                      <a:pt x="15" y="180"/>
                    </a:cubicBezTo>
                    <a:cubicBezTo>
                      <a:pt x="14" y="180"/>
                      <a:pt x="14" y="180"/>
                      <a:pt x="14" y="180"/>
                    </a:cubicBezTo>
                    <a:cubicBezTo>
                      <a:pt x="14" y="181"/>
                      <a:pt x="14" y="181"/>
                      <a:pt x="14" y="181"/>
                    </a:cubicBezTo>
                    <a:cubicBezTo>
                      <a:pt x="11" y="178"/>
                      <a:pt x="11" y="178"/>
                      <a:pt x="11" y="178"/>
                    </a:cubicBezTo>
                    <a:cubicBezTo>
                      <a:pt x="10" y="176"/>
                      <a:pt x="10" y="176"/>
                      <a:pt x="10" y="176"/>
                    </a:cubicBezTo>
                    <a:cubicBezTo>
                      <a:pt x="11" y="175"/>
                      <a:pt x="11" y="175"/>
                      <a:pt x="11" y="175"/>
                    </a:cubicBezTo>
                    <a:cubicBezTo>
                      <a:pt x="13" y="174"/>
                      <a:pt x="13" y="174"/>
                      <a:pt x="13" y="174"/>
                    </a:cubicBezTo>
                    <a:cubicBezTo>
                      <a:pt x="14" y="172"/>
                      <a:pt x="14" y="172"/>
                      <a:pt x="14" y="172"/>
                    </a:cubicBezTo>
                    <a:cubicBezTo>
                      <a:pt x="14" y="171"/>
                      <a:pt x="14" y="171"/>
                      <a:pt x="14" y="171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2" y="171"/>
                      <a:pt x="12" y="171"/>
                      <a:pt x="12" y="171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9" y="174"/>
                      <a:pt x="9" y="174"/>
                      <a:pt x="9" y="17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6" y="175"/>
                      <a:pt x="6" y="175"/>
                      <a:pt x="6" y="175"/>
                    </a:cubicBezTo>
                    <a:cubicBezTo>
                      <a:pt x="6" y="173"/>
                      <a:pt x="6" y="173"/>
                      <a:pt x="6" y="173"/>
                    </a:cubicBezTo>
                    <a:cubicBezTo>
                      <a:pt x="6" y="171"/>
                      <a:pt x="6" y="171"/>
                      <a:pt x="6" y="171"/>
                    </a:cubicBezTo>
                    <a:cubicBezTo>
                      <a:pt x="7" y="171"/>
                      <a:pt x="7" y="171"/>
                      <a:pt x="7" y="171"/>
                    </a:cubicBezTo>
                    <a:cubicBezTo>
                      <a:pt x="7" y="170"/>
                      <a:pt x="7" y="170"/>
                      <a:pt x="7" y="170"/>
                    </a:cubicBezTo>
                    <a:cubicBezTo>
                      <a:pt x="6" y="170"/>
                      <a:pt x="6" y="170"/>
                      <a:pt x="6" y="170"/>
                    </a:cubicBezTo>
                    <a:cubicBezTo>
                      <a:pt x="5" y="170"/>
                      <a:pt x="5" y="170"/>
                      <a:pt x="5" y="170"/>
                    </a:cubicBezTo>
                    <a:cubicBezTo>
                      <a:pt x="5" y="169"/>
                      <a:pt x="5" y="169"/>
                      <a:pt x="5" y="169"/>
                    </a:cubicBezTo>
                    <a:cubicBezTo>
                      <a:pt x="5" y="168"/>
                      <a:pt x="5" y="168"/>
                      <a:pt x="5" y="168"/>
                    </a:cubicBezTo>
                    <a:cubicBezTo>
                      <a:pt x="6" y="166"/>
                      <a:pt x="6" y="166"/>
                      <a:pt x="6" y="166"/>
                    </a:cubicBezTo>
                    <a:cubicBezTo>
                      <a:pt x="6" y="166"/>
                      <a:pt x="6" y="166"/>
                      <a:pt x="6" y="166"/>
                    </a:cubicBezTo>
                    <a:cubicBezTo>
                      <a:pt x="7" y="165"/>
                      <a:pt x="7" y="165"/>
                      <a:pt x="7" y="165"/>
                    </a:cubicBezTo>
                    <a:cubicBezTo>
                      <a:pt x="8" y="166"/>
                      <a:pt x="8" y="166"/>
                      <a:pt x="8" y="166"/>
                    </a:cubicBezTo>
                    <a:cubicBezTo>
                      <a:pt x="9" y="166"/>
                      <a:pt x="9" y="166"/>
                      <a:pt x="9" y="166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12" y="163"/>
                      <a:pt x="12" y="163"/>
                      <a:pt x="12" y="163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27" y="167"/>
                      <a:pt x="27" y="167"/>
                      <a:pt x="27" y="167"/>
                    </a:cubicBezTo>
                    <a:cubicBezTo>
                      <a:pt x="29" y="168"/>
                      <a:pt x="29" y="168"/>
                      <a:pt x="29" y="168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4" y="170"/>
                      <a:pt x="34" y="170"/>
                      <a:pt x="34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1" y="168"/>
                      <a:pt x="31" y="168"/>
                      <a:pt x="31" y="168"/>
                    </a:cubicBezTo>
                    <a:cubicBezTo>
                      <a:pt x="28" y="166"/>
                      <a:pt x="28" y="166"/>
                      <a:pt x="28" y="166"/>
                    </a:cubicBezTo>
                    <a:cubicBezTo>
                      <a:pt x="26" y="165"/>
                      <a:pt x="26" y="165"/>
                      <a:pt x="26" y="165"/>
                    </a:cubicBezTo>
                    <a:cubicBezTo>
                      <a:pt x="23" y="165"/>
                      <a:pt x="23" y="165"/>
                      <a:pt x="23" y="165"/>
                    </a:cubicBezTo>
                    <a:cubicBezTo>
                      <a:pt x="22" y="163"/>
                      <a:pt x="22" y="163"/>
                      <a:pt x="22" y="163"/>
                    </a:cubicBezTo>
                    <a:cubicBezTo>
                      <a:pt x="22" y="163"/>
                      <a:pt x="22" y="163"/>
                      <a:pt x="22" y="163"/>
                    </a:cubicBezTo>
                    <a:cubicBezTo>
                      <a:pt x="25" y="162"/>
                      <a:pt x="25" y="162"/>
                      <a:pt x="25" y="162"/>
                    </a:cubicBezTo>
                    <a:cubicBezTo>
                      <a:pt x="28" y="162"/>
                      <a:pt x="28" y="162"/>
                      <a:pt x="28" y="162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6" y="165"/>
                      <a:pt x="36" y="165"/>
                      <a:pt x="36" y="165"/>
                    </a:cubicBezTo>
                    <a:cubicBezTo>
                      <a:pt x="37" y="165"/>
                      <a:pt x="37" y="165"/>
                      <a:pt x="37" y="165"/>
                    </a:cubicBezTo>
                    <a:cubicBezTo>
                      <a:pt x="38" y="166"/>
                      <a:pt x="38" y="166"/>
                      <a:pt x="38" y="166"/>
                    </a:cubicBezTo>
                    <a:cubicBezTo>
                      <a:pt x="39" y="167"/>
                      <a:pt x="39" y="167"/>
                      <a:pt x="39" y="167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39" y="164"/>
                      <a:pt x="39" y="164"/>
                      <a:pt x="39" y="164"/>
                    </a:cubicBezTo>
                    <a:cubicBezTo>
                      <a:pt x="41" y="162"/>
                      <a:pt x="41" y="162"/>
                      <a:pt x="41" y="162"/>
                    </a:cubicBezTo>
                    <a:cubicBezTo>
                      <a:pt x="42" y="162"/>
                      <a:pt x="42" y="162"/>
                      <a:pt x="42" y="162"/>
                    </a:cubicBezTo>
                    <a:cubicBezTo>
                      <a:pt x="41" y="159"/>
                      <a:pt x="41" y="159"/>
                      <a:pt x="41" y="159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39" y="159"/>
                      <a:pt x="39" y="159"/>
                      <a:pt x="39" y="159"/>
                    </a:cubicBezTo>
                    <a:cubicBezTo>
                      <a:pt x="38" y="158"/>
                      <a:pt x="38" y="158"/>
                      <a:pt x="38" y="158"/>
                    </a:cubicBezTo>
                    <a:cubicBezTo>
                      <a:pt x="39" y="157"/>
                      <a:pt x="39" y="157"/>
                      <a:pt x="39" y="157"/>
                    </a:cubicBezTo>
                    <a:cubicBezTo>
                      <a:pt x="37" y="156"/>
                      <a:pt x="37" y="156"/>
                      <a:pt x="37" y="156"/>
                    </a:cubicBezTo>
                    <a:cubicBezTo>
                      <a:pt x="36" y="157"/>
                      <a:pt x="36" y="157"/>
                      <a:pt x="36" y="157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3" y="158"/>
                      <a:pt x="33" y="158"/>
                      <a:pt x="33" y="158"/>
                    </a:cubicBezTo>
                    <a:cubicBezTo>
                      <a:pt x="30" y="158"/>
                      <a:pt x="30" y="158"/>
                      <a:pt x="30" y="158"/>
                    </a:cubicBezTo>
                    <a:cubicBezTo>
                      <a:pt x="28" y="157"/>
                      <a:pt x="28" y="157"/>
                      <a:pt x="28" y="157"/>
                    </a:cubicBezTo>
                    <a:cubicBezTo>
                      <a:pt x="28" y="156"/>
                      <a:pt x="28" y="156"/>
                      <a:pt x="28" y="156"/>
                    </a:cubicBezTo>
                    <a:cubicBezTo>
                      <a:pt x="28" y="155"/>
                      <a:pt x="28" y="155"/>
                      <a:pt x="28" y="155"/>
                    </a:cubicBezTo>
                    <a:cubicBezTo>
                      <a:pt x="26" y="153"/>
                      <a:pt x="26" y="153"/>
                      <a:pt x="26" y="153"/>
                    </a:cubicBezTo>
                    <a:cubicBezTo>
                      <a:pt x="25" y="153"/>
                      <a:pt x="25" y="153"/>
                      <a:pt x="25" y="153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5" y="155"/>
                      <a:pt x="25" y="155"/>
                      <a:pt x="25" y="155"/>
                    </a:cubicBezTo>
                    <a:cubicBezTo>
                      <a:pt x="26" y="156"/>
                      <a:pt x="26" y="156"/>
                      <a:pt x="26" y="156"/>
                    </a:cubicBezTo>
                    <a:cubicBezTo>
                      <a:pt x="26" y="158"/>
                      <a:pt x="26" y="158"/>
                      <a:pt x="26" y="15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22" y="159"/>
                      <a:pt x="22" y="159"/>
                      <a:pt x="22" y="159"/>
                    </a:cubicBezTo>
                    <a:cubicBezTo>
                      <a:pt x="20" y="158"/>
                      <a:pt x="20" y="158"/>
                      <a:pt x="20" y="158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17" y="154"/>
                      <a:pt x="17" y="154"/>
                      <a:pt x="17" y="154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22" y="152"/>
                      <a:pt x="22" y="152"/>
                      <a:pt x="22" y="152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19" y="152"/>
                      <a:pt x="19" y="152"/>
                      <a:pt x="19" y="152"/>
                    </a:cubicBezTo>
                    <a:cubicBezTo>
                      <a:pt x="18" y="153"/>
                      <a:pt x="18" y="153"/>
                      <a:pt x="18" y="153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16" y="151"/>
                      <a:pt x="16" y="151"/>
                      <a:pt x="16" y="151"/>
                    </a:cubicBezTo>
                    <a:cubicBezTo>
                      <a:pt x="16" y="150"/>
                      <a:pt x="16" y="150"/>
                      <a:pt x="16" y="150"/>
                    </a:cubicBezTo>
                    <a:cubicBezTo>
                      <a:pt x="18" y="149"/>
                      <a:pt x="18" y="149"/>
                      <a:pt x="18" y="149"/>
                    </a:cubicBezTo>
                    <a:cubicBezTo>
                      <a:pt x="20" y="148"/>
                      <a:pt x="20" y="148"/>
                      <a:pt x="20" y="148"/>
                    </a:cubicBezTo>
                    <a:cubicBezTo>
                      <a:pt x="21" y="146"/>
                      <a:pt x="21" y="146"/>
                      <a:pt x="21" y="146"/>
                    </a:cubicBezTo>
                    <a:cubicBezTo>
                      <a:pt x="21" y="145"/>
                      <a:pt x="21" y="145"/>
                      <a:pt x="21" y="145"/>
                    </a:cubicBezTo>
                    <a:cubicBezTo>
                      <a:pt x="20" y="145"/>
                      <a:pt x="20" y="145"/>
                      <a:pt x="20" y="145"/>
                    </a:cubicBezTo>
                    <a:cubicBezTo>
                      <a:pt x="19" y="145"/>
                      <a:pt x="19" y="145"/>
                      <a:pt x="19" y="145"/>
                    </a:cubicBezTo>
                    <a:cubicBezTo>
                      <a:pt x="18" y="146"/>
                      <a:pt x="18" y="146"/>
                      <a:pt x="18" y="146"/>
                    </a:cubicBezTo>
                    <a:cubicBezTo>
                      <a:pt x="17" y="148"/>
                      <a:pt x="17" y="148"/>
                      <a:pt x="17" y="148"/>
                    </a:cubicBezTo>
                    <a:cubicBezTo>
                      <a:pt x="14" y="148"/>
                      <a:pt x="14" y="148"/>
                      <a:pt x="14" y="148"/>
                    </a:cubicBezTo>
                    <a:cubicBezTo>
                      <a:pt x="13" y="148"/>
                      <a:pt x="13" y="148"/>
                      <a:pt x="13" y="148"/>
                    </a:cubicBezTo>
                    <a:cubicBezTo>
                      <a:pt x="12" y="146"/>
                      <a:pt x="12" y="146"/>
                      <a:pt x="12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3" y="144"/>
                      <a:pt x="13" y="144"/>
                      <a:pt x="13" y="144"/>
                    </a:cubicBezTo>
                    <a:cubicBezTo>
                      <a:pt x="14" y="144"/>
                      <a:pt x="14" y="144"/>
                      <a:pt x="14" y="144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1" y="142"/>
                      <a:pt x="11" y="142"/>
                      <a:pt x="11" y="142"/>
                    </a:cubicBezTo>
                    <a:cubicBezTo>
                      <a:pt x="11" y="142"/>
                      <a:pt x="11" y="142"/>
                      <a:pt x="11" y="142"/>
                    </a:cubicBezTo>
                    <a:cubicBezTo>
                      <a:pt x="9" y="138"/>
                      <a:pt x="9" y="138"/>
                      <a:pt x="9" y="13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6" y="136"/>
                      <a:pt x="6" y="136"/>
                      <a:pt x="6" y="136"/>
                    </a:cubicBezTo>
                    <a:cubicBezTo>
                      <a:pt x="5" y="135"/>
                      <a:pt x="5" y="135"/>
                      <a:pt x="5" y="135"/>
                    </a:cubicBezTo>
                    <a:cubicBezTo>
                      <a:pt x="6" y="134"/>
                      <a:pt x="6" y="134"/>
                      <a:pt x="6" y="134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10" y="131"/>
                      <a:pt x="10" y="131"/>
                      <a:pt x="10" y="131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9" y="130"/>
                      <a:pt x="9" y="130"/>
                      <a:pt x="9" y="130"/>
                    </a:cubicBezTo>
                    <a:cubicBezTo>
                      <a:pt x="8" y="129"/>
                      <a:pt x="8" y="129"/>
                      <a:pt x="8" y="129"/>
                    </a:cubicBezTo>
                    <a:cubicBezTo>
                      <a:pt x="9" y="128"/>
                      <a:pt x="9" y="128"/>
                      <a:pt x="9" y="128"/>
                    </a:cubicBezTo>
                    <a:cubicBezTo>
                      <a:pt x="10" y="128"/>
                      <a:pt x="10" y="128"/>
                      <a:pt x="10" y="128"/>
                    </a:cubicBezTo>
                    <a:cubicBezTo>
                      <a:pt x="13" y="127"/>
                      <a:pt x="13" y="127"/>
                      <a:pt x="13" y="127"/>
                    </a:cubicBezTo>
                    <a:cubicBezTo>
                      <a:pt x="13" y="126"/>
                      <a:pt x="13" y="126"/>
                      <a:pt x="13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5" y="125"/>
                      <a:pt x="15" y="125"/>
                      <a:pt x="15" y="125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7" y="124"/>
                      <a:pt x="17" y="124"/>
                      <a:pt x="17" y="124"/>
                    </a:cubicBezTo>
                    <a:cubicBezTo>
                      <a:pt x="18" y="124"/>
                      <a:pt x="18" y="124"/>
                      <a:pt x="18" y="124"/>
                    </a:cubicBezTo>
                    <a:cubicBezTo>
                      <a:pt x="19" y="124"/>
                      <a:pt x="19" y="124"/>
                      <a:pt x="19" y="124"/>
                    </a:cubicBezTo>
                    <a:cubicBezTo>
                      <a:pt x="20" y="123"/>
                      <a:pt x="20" y="123"/>
                      <a:pt x="20" y="123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25" y="124"/>
                      <a:pt x="25" y="124"/>
                      <a:pt x="25" y="124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7" y="122"/>
                      <a:pt x="27" y="122"/>
                      <a:pt x="27" y="122"/>
                    </a:cubicBezTo>
                    <a:cubicBezTo>
                      <a:pt x="28" y="122"/>
                      <a:pt x="28" y="122"/>
                      <a:pt x="28" y="122"/>
                    </a:cubicBezTo>
                    <a:cubicBezTo>
                      <a:pt x="28" y="122"/>
                      <a:pt x="28" y="122"/>
                      <a:pt x="28" y="122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30" y="122"/>
                      <a:pt x="30" y="122"/>
                      <a:pt x="30" y="122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1" y="121"/>
                      <a:pt x="41" y="121"/>
                      <a:pt x="41" y="121"/>
                    </a:cubicBezTo>
                    <a:cubicBezTo>
                      <a:pt x="41" y="120"/>
                      <a:pt x="41" y="120"/>
                      <a:pt x="41" y="120"/>
                    </a:cubicBezTo>
                    <a:cubicBezTo>
                      <a:pt x="41" y="119"/>
                      <a:pt x="41" y="119"/>
                      <a:pt x="41" y="119"/>
                    </a:cubicBezTo>
                    <a:cubicBezTo>
                      <a:pt x="41" y="118"/>
                      <a:pt x="41" y="118"/>
                      <a:pt x="41" y="118"/>
                    </a:cubicBezTo>
                    <a:cubicBezTo>
                      <a:pt x="44" y="116"/>
                      <a:pt x="44" y="116"/>
                      <a:pt x="44" y="116"/>
                    </a:cubicBezTo>
                    <a:cubicBezTo>
                      <a:pt x="47" y="116"/>
                      <a:pt x="47" y="116"/>
                      <a:pt x="47" y="116"/>
                    </a:cubicBezTo>
                    <a:cubicBezTo>
                      <a:pt x="49" y="116"/>
                      <a:pt x="49" y="116"/>
                      <a:pt x="49" y="116"/>
                    </a:cubicBezTo>
                    <a:cubicBezTo>
                      <a:pt x="50" y="117"/>
                      <a:pt x="50" y="117"/>
                      <a:pt x="50" y="117"/>
                    </a:cubicBezTo>
                    <a:cubicBezTo>
                      <a:pt x="51" y="117"/>
                      <a:pt x="51" y="117"/>
                      <a:pt x="51" y="117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5" y="116"/>
                      <a:pt x="55" y="116"/>
                      <a:pt x="55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7"/>
                      <a:pt x="58" y="117"/>
                      <a:pt x="58" y="117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1" y="118"/>
                      <a:pt x="61" y="118"/>
                      <a:pt x="61" y="118"/>
                    </a:cubicBezTo>
                    <a:cubicBezTo>
                      <a:pt x="63" y="119"/>
                      <a:pt x="63" y="119"/>
                      <a:pt x="63" y="119"/>
                    </a:cubicBezTo>
                    <a:cubicBezTo>
                      <a:pt x="64" y="119"/>
                      <a:pt x="64" y="119"/>
                      <a:pt x="64" y="119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7" y="116"/>
                      <a:pt x="67" y="116"/>
                      <a:pt x="67" y="116"/>
                    </a:cubicBezTo>
                    <a:cubicBezTo>
                      <a:pt x="68" y="114"/>
                      <a:pt x="68" y="114"/>
                      <a:pt x="68" y="114"/>
                    </a:cubicBezTo>
                    <a:cubicBezTo>
                      <a:pt x="70" y="112"/>
                      <a:pt x="70" y="112"/>
                      <a:pt x="70" y="112"/>
                    </a:cubicBezTo>
                    <a:cubicBezTo>
                      <a:pt x="72" y="111"/>
                      <a:pt x="72" y="111"/>
                      <a:pt x="72" y="111"/>
                    </a:cubicBezTo>
                    <a:cubicBezTo>
                      <a:pt x="73" y="110"/>
                      <a:pt x="73" y="110"/>
                      <a:pt x="73" y="110"/>
                    </a:cubicBezTo>
                    <a:cubicBezTo>
                      <a:pt x="74" y="107"/>
                      <a:pt x="74" y="107"/>
                      <a:pt x="74" y="107"/>
                    </a:cubicBezTo>
                    <a:cubicBezTo>
                      <a:pt x="76" y="107"/>
                      <a:pt x="76" y="107"/>
                      <a:pt x="76" y="107"/>
                    </a:cubicBezTo>
                    <a:cubicBezTo>
                      <a:pt x="77" y="105"/>
                      <a:pt x="77" y="105"/>
                      <a:pt x="77" y="105"/>
                    </a:cubicBezTo>
                    <a:cubicBezTo>
                      <a:pt x="75" y="104"/>
                      <a:pt x="75" y="104"/>
                      <a:pt x="75" y="104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7" y="101"/>
                      <a:pt x="77" y="101"/>
                      <a:pt x="77" y="101"/>
                    </a:cubicBezTo>
                    <a:cubicBezTo>
                      <a:pt x="78" y="101"/>
                      <a:pt x="78" y="101"/>
                      <a:pt x="78" y="101"/>
                    </a:cubicBezTo>
                    <a:cubicBezTo>
                      <a:pt x="81" y="101"/>
                      <a:pt x="81" y="101"/>
                      <a:pt x="81" y="101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3" y="97"/>
                      <a:pt x="83" y="97"/>
                      <a:pt x="83" y="97"/>
                    </a:cubicBezTo>
                    <a:cubicBezTo>
                      <a:pt x="81" y="97"/>
                      <a:pt x="81" y="97"/>
                      <a:pt x="81" y="97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79" y="95"/>
                      <a:pt x="79" y="95"/>
                      <a:pt x="79" y="95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81" y="94"/>
                      <a:pt x="81" y="94"/>
                      <a:pt x="81" y="94"/>
                    </a:cubicBezTo>
                    <a:cubicBezTo>
                      <a:pt x="83" y="94"/>
                      <a:pt x="83" y="94"/>
                      <a:pt x="83" y="94"/>
                    </a:cubicBezTo>
                    <a:cubicBezTo>
                      <a:pt x="85" y="93"/>
                      <a:pt x="85" y="93"/>
                      <a:pt x="85" y="93"/>
                    </a:cubicBezTo>
                    <a:cubicBezTo>
                      <a:pt x="88" y="92"/>
                      <a:pt x="88" y="92"/>
                      <a:pt x="88" y="92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8" y="89"/>
                      <a:pt x="88" y="89"/>
                      <a:pt x="88" y="89"/>
                    </a:cubicBezTo>
                    <a:cubicBezTo>
                      <a:pt x="87" y="89"/>
                      <a:pt x="87" y="89"/>
                      <a:pt x="87" y="89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6" y="92"/>
                      <a:pt x="86" y="92"/>
                      <a:pt x="86" y="92"/>
                    </a:cubicBezTo>
                    <a:cubicBezTo>
                      <a:pt x="85" y="92"/>
                      <a:pt x="85" y="92"/>
                      <a:pt x="85" y="92"/>
                    </a:cubicBezTo>
                    <a:cubicBezTo>
                      <a:pt x="82" y="92"/>
                      <a:pt x="82" y="92"/>
                      <a:pt x="82" y="92"/>
                    </a:cubicBezTo>
                    <a:cubicBezTo>
                      <a:pt x="80" y="92"/>
                      <a:pt x="80" y="92"/>
                      <a:pt x="80" y="92"/>
                    </a:cubicBezTo>
                    <a:cubicBezTo>
                      <a:pt x="79" y="92"/>
                      <a:pt x="79" y="92"/>
                      <a:pt x="79" y="9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6" y="93"/>
                      <a:pt x="76" y="93"/>
                      <a:pt x="76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72" y="91"/>
                      <a:pt x="72" y="91"/>
                      <a:pt x="72" y="91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9" y="91"/>
                      <a:pt x="69" y="91"/>
                      <a:pt x="69" y="91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67" y="91"/>
                      <a:pt x="67" y="91"/>
                      <a:pt x="67" y="91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7" y="87"/>
                      <a:pt x="67" y="87"/>
                      <a:pt x="67" y="87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4"/>
                      <a:pt x="70" y="84"/>
                      <a:pt x="70" y="84"/>
                    </a:cubicBezTo>
                    <a:cubicBezTo>
                      <a:pt x="70" y="83"/>
                      <a:pt x="70" y="83"/>
                      <a:pt x="70" y="83"/>
                    </a:cubicBezTo>
                    <a:cubicBezTo>
                      <a:pt x="71" y="83"/>
                      <a:pt x="71" y="83"/>
                      <a:pt x="71" y="83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71" y="81"/>
                      <a:pt x="71" y="81"/>
                      <a:pt x="71" y="81"/>
                    </a:cubicBezTo>
                    <a:cubicBezTo>
                      <a:pt x="71" y="80"/>
                      <a:pt x="71" y="80"/>
                      <a:pt x="71" y="80"/>
                    </a:cubicBezTo>
                    <a:cubicBezTo>
                      <a:pt x="71" y="79"/>
                      <a:pt x="71" y="79"/>
                      <a:pt x="71" y="79"/>
                    </a:cubicBezTo>
                    <a:cubicBezTo>
                      <a:pt x="73" y="79"/>
                      <a:pt x="73" y="79"/>
                      <a:pt x="73" y="79"/>
                    </a:cubicBezTo>
                    <a:cubicBezTo>
                      <a:pt x="74" y="78"/>
                      <a:pt x="74" y="78"/>
                      <a:pt x="74" y="78"/>
                    </a:cubicBezTo>
                    <a:cubicBezTo>
                      <a:pt x="75" y="77"/>
                      <a:pt x="75" y="77"/>
                      <a:pt x="75" y="77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9" y="75"/>
                      <a:pt x="79" y="75"/>
                      <a:pt x="79" y="75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84" y="73"/>
                      <a:pt x="84" y="73"/>
                      <a:pt x="84" y="73"/>
                    </a:cubicBezTo>
                    <a:cubicBezTo>
                      <a:pt x="85" y="73"/>
                      <a:pt x="85" y="73"/>
                      <a:pt x="85" y="73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3" y="71"/>
                      <a:pt x="83" y="71"/>
                      <a:pt x="83" y="71"/>
                    </a:cubicBezTo>
                    <a:cubicBezTo>
                      <a:pt x="85" y="70"/>
                      <a:pt x="85" y="70"/>
                      <a:pt x="85" y="70"/>
                    </a:cubicBezTo>
                    <a:cubicBezTo>
                      <a:pt x="86" y="71"/>
                      <a:pt x="86" y="71"/>
                      <a:pt x="86" y="71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90" y="68"/>
                      <a:pt x="90" y="68"/>
                      <a:pt x="90" y="68"/>
                    </a:cubicBezTo>
                    <a:cubicBezTo>
                      <a:pt x="89" y="67"/>
                      <a:pt x="89" y="67"/>
                      <a:pt x="89" y="67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5" y="62"/>
                      <a:pt x="95" y="62"/>
                      <a:pt x="95" y="62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7" y="62"/>
                      <a:pt x="97" y="62"/>
                      <a:pt x="97" y="62"/>
                    </a:cubicBezTo>
                    <a:cubicBezTo>
                      <a:pt x="97" y="62"/>
                      <a:pt x="97" y="62"/>
                      <a:pt x="97" y="62"/>
                    </a:cubicBezTo>
                    <a:cubicBezTo>
                      <a:pt x="98" y="64"/>
                      <a:pt x="98" y="64"/>
                      <a:pt x="98" y="64"/>
                    </a:cubicBezTo>
                    <a:cubicBezTo>
                      <a:pt x="98" y="68"/>
                      <a:pt x="98" y="68"/>
                      <a:pt x="98" y="68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8" y="76"/>
                      <a:pt x="98" y="76"/>
                      <a:pt x="98" y="76"/>
                    </a:cubicBezTo>
                    <a:cubicBezTo>
                      <a:pt x="99" y="76"/>
                      <a:pt x="99" y="76"/>
                      <a:pt x="99" y="76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1"/>
                      <a:pt x="100" y="71"/>
                      <a:pt x="100" y="71"/>
                    </a:cubicBezTo>
                    <a:cubicBezTo>
                      <a:pt x="99" y="68"/>
                      <a:pt x="99" y="68"/>
                      <a:pt x="99" y="68"/>
                    </a:cubicBezTo>
                    <a:cubicBezTo>
                      <a:pt x="99" y="67"/>
                      <a:pt x="99" y="67"/>
                      <a:pt x="99" y="67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00" y="62"/>
                      <a:pt x="100" y="62"/>
                      <a:pt x="100" y="62"/>
                    </a:cubicBezTo>
                    <a:cubicBezTo>
                      <a:pt x="101" y="62"/>
                      <a:pt x="101" y="62"/>
                      <a:pt x="101" y="62"/>
                    </a:cubicBezTo>
                    <a:cubicBezTo>
                      <a:pt x="102" y="61"/>
                      <a:pt x="102" y="61"/>
                      <a:pt x="102" y="61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4" y="62"/>
                      <a:pt x="104" y="62"/>
                      <a:pt x="104" y="62"/>
                    </a:cubicBezTo>
                    <a:cubicBezTo>
                      <a:pt x="104" y="62"/>
                      <a:pt x="104" y="62"/>
                      <a:pt x="104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06" y="63"/>
                      <a:pt x="106" y="63"/>
                      <a:pt x="106" y="63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6" y="65"/>
                      <a:pt x="106" y="65"/>
                      <a:pt x="106" y="65"/>
                    </a:cubicBezTo>
                    <a:cubicBezTo>
                      <a:pt x="108" y="66"/>
                      <a:pt x="108" y="66"/>
                      <a:pt x="108" y="66"/>
                    </a:cubicBezTo>
                    <a:cubicBezTo>
                      <a:pt x="110" y="66"/>
                      <a:pt x="110" y="66"/>
                      <a:pt x="110" y="66"/>
                    </a:cubicBezTo>
                    <a:cubicBezTo>
                      <a:pt x="111" y="66"/>
                      <a:pt x="111" y="66"/>
                      <a:pt x="111" y="66"/>
                    </a:cubicBezTo>
                    <a:cubicBezTo>
                      <a:pt x="113" y="66"/>
                      <a:pt x="113" y="66"/>
                      <a:pt x="113" y="66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3" y="62"/>
                      <a:pt x="113" y="62"/>
                      <a:pt x="113" y="62"/>
                    </a:cubicBezTo>
                    <a:cubicBezTo>
                      <a:pt x="114" y="61"/>
                      <a:pt x="114" y="61"/>
                      <a:pt x="114" y="61"/>
                    </a:cubicBezTo>
                    <a:cubicBezTo>
                      <a:pt x="114" y="60"/>
                      <a:pt x="114" y="60"/>
                      <a:pt x="114" y="60"/>
                    </a:cubicBezTo>
                    <a:cubicBezTo>
                      <a:pt x="115" y="59"/>
                      <a:pt x="115" y="59"/>
                      <a:pt x="115" y="59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20" y="56"/>
                      <a:pt x="120" y="56"/>
                      <a:pt x="120" y="5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19" y="53"/>
                      <a:pt x="119" y="53"/>
                      <a:pt x="119" y="53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9" y="49"/>
                      <a:pt x="119" y="49"/>
                      <a:pt x="119" y="49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19" y="46"/>
                      <a:pt x="119" y="46"/>
                      <a:pt x="119" y="46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1" y="42"/>
                      <a:pt x="121" y="42"/>
                      <a:pt x="121" y="42"/>
                    </a:cubicBezTo>
                    <a:cubicBezTo>
                      <a:pt x="124" y="42"/>
                      <a:pt x="124" y="42"/>
                      <a:pt x="124" y="42"/>
                    </a:cubicBezTo>
                    <a:cubicBezTo>
                      <a:pt x="126" y="41"/>
                      <a:pt x="126" y="41"/>
                      <a:pt x="126" y="41"/>
                    </a:cubicBezTo>
                    <a:cubicBezTo>
                      <a:pt x="128" y="40"/>
                      <a:pt x="128" y="40"/>
                      <a:pt x="128" y="40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9" y="43"/>
                      <a:pt x="129" y="43"/>
                      <a:pt x="129" y="43"/>
                    </a:cubicBezTo>
                    <a:cubicBezTo>
                      <a:pt x="131" y="46"/>
                      <a:pt x="131" y="46"/>
                      <a:pt x="131" y="46"/>
                    </a:cubicBezTo>
                    <a:cubicBezTo>
                      <a:pt x="131" y="47"/>
                      <a:pt x="131" y="47"/>
                      <a:pt x="131" y="47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2" y="55"/>
                      <a:pt x="132" y="55"/>
                      <a:pt x="132" y="55"/>
                    </a:cubicBezTo>
                    <a:cubicBezTo>
                      <a:pt x="134" y="58"/>
                      <a:pt x="134" y="58"/>
                      <a:pt x="134" y="5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6" y="56"/>
                      <a:pt x="136" y="56"/>
                      <a:pt x="136" y="56"/>
                    </a:cubicBezTo>
                    <a:cubicBezTo>
                      <a:pt x="136" y="54"/>
                      <a:pt x="136" y="54"/>
                      <a:pt x="136" y="54"/>
                    </a:cubicBezTo>
                    <a:cubicBezTo>
                      <a:pt x="134" y="51"/>
                      <a:pt x="134" y="51"/>
                      <a:pt x="134" y="51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5" y="46"/>
                      <a:pt x="135" y="46"/>
                      <a:pt x="135" y="46"/>
                    </a:cubicBezTo>
                    <a:cubicBezTo>
                      <a:pt x="135" y="44"/>
                      <a:pt x="135" y="44"/>
                      <a:pt x="135" y="44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33" y="41"/>
                      <a:pt x="133" y="41"/>
                      <a:pt x="133" y="41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5" y="36"/>
                      <a:pt x="135" y="36"/>
                      <a:pt x="135" y="36"/>
                    </a:cubicBezTo>
                    <a:cubicBezTo>
                      <a:pt x="137" y="36"/>
                      <a:pt x="137" y="36"/>
                      <a:pt x="137" y="36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6"/>
                      <a:pt x="139" y="36"/>
                      <a:pt x="139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7" y="36"/>
                      <a:pt x="147" y="36"/>
                      <a:pt x="147" y="36"/>
                    </a:cubicBezTo>
                    <a:cubicBezTo>
                      <a:pt x="151" y="35"/>
                      <a:pt x="151" y="35"/>
                      <a:pt x="151" y="35"/>
                    </a:cubicBezTo>
                    <a:cubicBezTo>
                      <a:pt x="154" y="35"/>
                      <a:pt x="154" y="35"/>
                      <a:pt x="154" y="35"/>
                    </a:cubicBezTo>
                    <a:cubicBezTo>
                      <a:pt x="156" y="36"/>
                      <a:pt x="156" y="36"/>
                      <a:pt x="156" y="36"/>
                    </a:cubicBezTo>
                    <a:cubicBezTo>
                      <a:pt x="156" y="38"/>
                      <a:pt x="156" y="38"/>
                      <a:pt x="156" y="38"/>
                    </a:cubicBezTo>
                    <a:cubicBezTo>
                      <a:pt x="156" y="39"/>
                      <a:pt x="156" y="39"/>
                      <a:pt x="156" y="39"/>
                    </a:cubicBezTo>
                    <a:cubicBezTo>
                      <a:pt x="156" y="40"/>
                      <a:pt x="156" y="40"/>
                      <a:pt x="156" y="40"/>
                    </a:cubicBezTo>
                    <a:cubicBezTo>
                      <a:pt x="157" y="40"/>
                      <a:pt x="157" y="40"/>
                      <a:pt x="157" y="40"/>
                    </a:cubicBezTo>
                    <a:cubicBezTo>
                      <a:pt x="158" y="38"/>
                      <a:pt x="158" y="38"/>
                      <a:pt x="158" y="38"/>
                    </a:cubicBezTo>
                    <a:cubicBezTo>
                      <a:pt x="157" y="37"/>
                      <a:pt x="157" y="37"/>
                      <a:pt x="157" y="37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60" y="33"/>
                      <a:pt x="160" y="33"/>
                      <a:pt x="160" y="33"/>
                    </a:cubicBezTo>
                    <a:cubicBezTo>
                      <a:pt x="162" y="34"/>
                      <a:pt x="162" y="34"/>
                      <a:pt x="162" y="34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4" y="38"/>
                      <a:pt x="164" y="38"/>
                      <a:pt x="164" y="38"/>
                    </a:cubicBezTo>
                    <a:cubicBezTo>
                      <a:pt x="165" y="37"/>
                      <a:pt x="165" y="37"/>
                      <a:pt x="165" y="37"/>
                    </a:cubicBezTo>
                    <a:cubicBezTo>
                      <a:pt x="165" y="34"/>
                      <a:pt x="165" y="34"/>
                      <a:pt x="165" y="34"/>
                    </a:cubicBezTo>
                    <a:cubicBezTo>
                      <a:pt x="163" y="33"/>
                      <a:pt x="163" y="33"/>
                      <a:pt x="163" y="33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65" y="31"/>
                      <a:pt x="165" y="31"/>
                      <a:pt x="165" y="31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70" y="30"/>
                      <a:pt x="170" y="30"/>
                      <a:pt x="170" y="30"/>
                    </a:cubicBezTo>
                    <a:cubicBezTo>
                      <a:pt x="173" y="31"/>
                      <a:pt x="173" y="31"/>
                      <a:pt x="173" y="31"/>
                    </a:cubicBezTo>
                    <a:cubicBezTo>
                      <a:pt x="173" y="32"/>
                      <a:pt x="173" y="32"/>
                      <a:pt x="173" y="32"/>
                    </a:cubicBezTo>
                    <a:cubicBezTo>
                      <a:pt x="173" y="36"/>
                      <a:pt x="173" y="36"/>
                      <a:pt x="173" y="36"/>
                    </a:cubicBezTo>
                    <a:cubicBezTo>
                      <a:pt x="172" y="39"/>
                      <a:pt x="172" y="39"/>
                      <a:pt x="172" y="39"/>
                    </a:cubicBezTo>
                    <a:cubicBezTo>
                      <a:pt x="172" y="41"/>
                      <a:pt x="172" y="41"/>
                      <a:pt x="172" y="41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0" y="46"/>
                      <a:pt x="170" y="46"/>
                      <a:pt x="170" y="46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69" y="49"/>
                      <a:pt x="169" y="49"/>
                      <a:pt x="169" y="49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50"/>
                      <a:pt x="168" y="50"/>
                      <a:pt x="168" y="50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68" y="53"/>
                      <a:pt x="168" y="53"/>
                      <a:pt x="168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6" y="57"/>
                      <a:pt x="166" y="57"/>
                      <a:pt x="166" y="57"/>
                    </a:cubicBezTo>
                    <a:cubicBezTo>
                      <a:pt x="164" y="58"/>
                      <a:pt x="164" y="58"/>
                      <a:pt x="164" y="58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3" y="61"/>
                      <a:pt x="163" y="61"/>
                      <a:pt x="163" y="61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62" y="65"/>
                      <a:pt x="162" y="65"/>
                      <a:pt x="162" y="65"/>
                    </a:cubicBezTo>
                    <a:cubicBezTo>
                      <a:pt x="162" y="66"/>
                      <a:pt x="162" y="66"/>
                      <a:pt x="162" y="66"/>
                    </a:cubicBezTo>
                    <a:cubicBezTo>
                      <a:pt x="163" y="65"/>
                      <a:pt x="163" y="65"/>
                      <a:pt x="163" y="65"/>
                    </a:cubicBezTo>
                    <a:cubicBezTo>
                      <a:pt x="164" y="63"/>
                      <a:pt x="164" y="63"/>
                      <a:pt x="164" y="63"/>
                    </a:cubicBezTo>
                    <a:cubicBezTo>
                      <a:pt x="165" y="62"/>
                      <a:pt x="165" y="62"/>
                      <a:pt x="165" y="62"/>
                    </a:cubicBezTo>
                    <a:cubicBezTo>
                      <a:pt x="165" y="61"/>
                      <a:pt x="165" y="61"/>
                      <a:pt x="165" y="61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9" y="57"/>
                      <a:pt x="169" y="57"/>
                      <a:pt x="169" y="57"/>
                    </a:cubicBezTo>
                    <a:cubicBezTo>
                      <a:pt x="169" y="55"/>
                      <a:pt x="169" y="55"/>
                      <a:pt x="169" y="55"/>
                    </a:cubicBezTo>
                    <a:cubicBezTo>
                      <a:pt x="171" y="55"/>
                      <a:pt x="171" y="55"/>
                      <a:pt x="171" y="55"/>
                    </a:cubicBezTo>
                    <a:cubicBezTo>
                      <a:pt x="171" y="54"/>
                      <a:pt x="171" y="54"/>
                      <a:pt x="171" y="54"/>
                    </a:cubicBezTo>
                    <a:cubicBezTo>
                      <a:pt x="172" y="53"/>
                      <a:pt x="172" y="53"/>
                      <a:pt x="172" y="53"/>
                    </a:cubicBezTo>
                    <a:cubicBezTo>
                      <a:pt x="172" y="52"/>
                      <a:pt x="172" y="52"/>
                      <a:pt x="172" y="52"/>
                    </a:cubicBezTo>
                    <a:cubicBezTo>
                      <a:pt x="173" y="51"/>
                      <a:pt x="173" y="51"/>
                      <a:pt x="173" y="51"/>
                    </a:cubicBezTo>
                    <a:cubicBezTo>
                      <a:pt x="174" y="49"/>
                      <a:pt x="174" y="49"/>
                      <a:pt x="174" y="49"/>
                    </a:cubicBezTo>
                    <a:cubicBezTo>
                      <a:pt x="175" y="48"/>
                      <a:pt x="175" y="48"/>
                      <a:pt x="175" y="48"/>
                    </a:cubicBezTo>
                    <a:cubicBezTo>
                      <a:pt x="176" y="49"/>
                      <a:pt x="176" y="49"/>
                      <a:pt x="176" y="49"/>
                    </a:cubicBezTo>
                    <a:cubicBezTo>
                      <a:pt x="176" y="51"/>
                      <a:pt x="176" y="51"/>
                      <a:pt x="176" y="51"/>
                    </a:cubicBezTo>
                    <a:cubicBezTo>
                      <a:pt x="177" y="52"/>
                      <a:pt x="177" y="52"/>
                      <a:pt x="177" y="52"/>
                    </a:cubicBezTo>
                    <a:cubicBezTo>
                      <a:pt x="177" y="53"/>
                      <a:pt x="177" y="53"/>
                      <a:pt x="177" y="53"/>
                    </a:cubicBezTo>
                    <a:cubicBezTo>
                      <a:pt x="178" y="56"/>
                      <a:pt x="178" y="56"/>
                      <a:pt x="178" y="56"/>
                    </a:cubicBezTo>
                    <a:cubicBezTo>
                      <a:pt x="179" y="58"/>
                      <a:pt x="179" y="58"/>
                      <a:pt x="179" y="58"/>
                    </a:cubicBezTo>
                    <a:cubicBezTo>
                      <a:pt x="179" y="60"/>
                      <a:pt x="179" y="60"/>
                      <a:pt x="179" y="60"/>
                    </a:cubicBezTo>
                    <a:cubicBezTo>
                      <a:pt x="180" y="61"/>
                      <a:pt x="180" y="61"/>
                      <a:pt x="180" y="61"/>
                    </a:cubicBezTo>
                    <a:cubicBezTo>
                      <a:pt x="182" y="61"/>
                      <a:pt x="182" y="61"/>
                      <a:pt x="182" y="61"/>
                    </a:cubicBezTo>
                    <a:cubicBezTo>
                      <a:pt x="182" y="62"/>
                      <a:pt x="182" y="62"/>
                      <a:pt x="182" y="62"/>
                    </a:cubicBezTo>
                    <a:cubicBezTo>
                      <a:pt x="183" y="62"/>
                      <a:pt x="183" y="62"/>
                      <a:pt x="183" y="62"/>
                    </a:cubicBezTo>
                    <a:cubicBezTo>
                      <a:pt x="183" y="61"/>
                      <a:pt x="183" y="61"/>
                      <a:pt x="183" y="61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59"/>
                      <a:pt x="184" y="59"/>
                      <a:pt x="184" y="59"/>
                    </a:cubicBezTo>
                    <a:cubicBezTo>
                      <a:pt x="182" y="58"/>
                      <a:pt x="182" y="58"/>
                      <a:pt x="182" y="58"/>
                    </a:cubicBezTo>
                    <a:cubicBezTo>
                      <a:pt x="182" y="57"/>
                      <a:pt x="182" y="57"/>
                      <a:pt x="182" y="57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83" y="56"/>
                      <a:pt x="183" y="56"/>
                      <a:pt x="183" y="56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6" y="58"/>
                      <a:pt x="186" y="58"/>
                      <a:pt x="186" y="58"/>
                    </a:cubicBezTo>
                    <a:cubicBezTo>
                      <a:pt x="188" y="58"/>
                      <a:pt x="188" y="58"/>
                      <a:pt x="188" y="58"/>
                    </a:cubicBezTo>
                    <a:cubicBezTo>
                      <a:pt x="188" y="59"/>
                      <a:pt x="188" y="59"/>
                      <a:pt x="188" y="59"/>
                    </a:cubicBezTo>
                    <a:cubicBezTo>
                      <a:pt x="189" y="59"/>
                      <a:pt x="189" y="59"/>
                      <a:pt x="189" y="59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1" y="59"/>
                      <a:pt x="191" y="59"/>
                      <a:pt x="191" y="59"/>
                    </a:cubicBezTo>
                    <a:cubicBezTo>
                      <a:pt x="191" y="59"/>
                      <a:pt x="191" y="59"/>
                      <a:pt x="191" y="59"/>
                    </a:cubicBezTo>
                    <a:cubicBezTo>
                      <a:pt x="192" y="59"/>
                      <a:pt x="192" y="59"/>
                      <a:pt x="192" y="59"/>
                    </a:cubicBezTo>
                    <a:cubicBezTo>
                      <a:pt x="192" y="56"/>
                      <a:pt x="192" y="56"/>
                      <a:pt x="192" y="56"/>
                    </a:cubicBezTo>
                    <a:cubicBezTo>
                      <a:pt x="192" y="54"/>
                      <a:pt x="192" y="54"/>
                      <a:pt x="192" y="54"/>
                    </a:cubicBezTo>
                    <a:cubicBezTo>
                      <a:pt x="192" y="51"/>
                      <a:pt x="192" y="51"/>
                      <a:pt x="192" y="51"/>
                    </a:cubicBezTo>
                    <a:cubicBezTo>
                      <a:pt x="193" y="49"/>
                      <a:pt x="193" y="49"/>
                      <a:pt x="193" y="49"/>
                    </a:cubicBezTo>
                    <a:cubicBezTo>
                      <a:pt x="192" y="47"/>
                      <a:pt x="192" y="47"/>
                      <a:pt x="192" y="47"/>
                    </a:cubicBezTo>
                    <a:cubicBezTo>
                      <a:pt x="191" y="45"/>
                      <a:pt x="191" y="45"/>
                      <a:pt x="191" y="45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93" y="39"/>
                      <a:pt x="193" y="39"/>
                      <a:pt x="193" y="39"/>
                    </a:cubicBezTo>
                    <a:cubicBezTo>
                      <a:pt x="193" y="38"/>
                      <a:pt x="193" y="38"/>
                      <a:pt x="193" y="38"/>
                    </a:cubicBezTo>
                    <a:cubicBezTo>
                      <a:pt x="193" y="37"/>
                      <a:pt x="193" y="37"/>
                      <a:pt x="193" y="37"/>
                    </a:cubicBezTo>
                    <a:cubicBezTo>
                      <a:pt x="193" y="36"/>
                      <a:pt x="193" y="36"/>
                      <a:pt x="193" y="36"/>
                    </a:cubicBezTo>
                    <a:cubicBezTo>
                      <a:pt x="193" y="33"/>
                      <a:pt x="193" y="33"/>
                      <a:pt x="193" y="33"/>
                    </a:cubicBezTo>
                    <a:cubicBezTo>
                      <a:pt x="194" y="32"/>
                      <a:pt x="194" y="32"/>
                      <a:pt x="194" y="32"/>
                    </a:cubicBezTo>
                    <a:cubicBezTo>
                      <a:pt x="196" y="32"/>
                      <a:pt x="196" y="32"/>
                      <a:pt x="196" y="32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200" y="34"/>
                      <a:pt x="200" y="34"/>
                      <a:pt x="200" y="34"/>
                    </a:cubicBezTo>
                    <a:cubicBezTo>
                      <a:pt x="200" y="35"/>
                      <a:pt x="200" y="35"/>
                      <a:pt x="200" y="35"/>
                    </a:cubicBezTo>
                    <a:cubicBezTo>
                      <a:pt x="202" y="36"/>
                      <a:pt x="202" y="36"/>
                      <a:pt x="202" y="36"/>
                    </a:cubicBezTo>
                    <a:cubicBezTo>
                      <a:pt x="203" y="37"/>
                      <a:pt x="203" y="37"/>
                      <a:pt x="203" y="37"/>
                    </a:cubicBezTo>
                    <a:cubicBezTo>
                      <a:pt x="204" y="41"/>
                      <a:pt x="204" y="41"/>
                      <a:pt x="204" y="41"/>
                    </a:cubicBezTo>
                    <a:cubicBezTo>
                      <a:pt x="204" y="43"/>
                      <a:pt x="204" y="43"/>
                      <a:pt x="204" y="43"/>
                    </a:cubicBezTo>
                    <a:cubicBezTo>
                      <a:pt x="206" y="46"/>
                      <a:pt x="206" y="46"/>
                      <a:pt x="206" y="46"/>
                    </a:cubicBezTo>
                    <a:cubicBezTo>
                      <a:pt x="207" y="48"/>
                      <a:pt x="207" y="48"/>
                      <a:pt x="207" y="48"/>
                    </a:cubicBezTo>
                    <a:cubicBezTo>
                      <a:pt x="207" y="53"/>
                      <a:pt x="207" y="53"/>
                      <a:pt x="207" y="53"/>
                    </a:cubicBezTo>
                    <a:cubicBezTo>
                      <a:pt x="207" y="54"/>
                      <a:pt x="207" y="54"/>
                      <a:pt x="207" y="54"/>
                    </a:cubicBezTo>
                    <a:cubicBezTo>
                      <a:pt x="206" y="55"/>
                      <a:pt x="206" y="55"/>
                      <a:pt x="206" y="55"/>
                    </a:cubicBezTo>
                    <a:cubicBezTo>
                      <a:pt x="206" y="56"/>
                      <a:pt x="206" y="56"/>
                      <a:pt x="206" y="56"/>
                    </a:cubicBezTo>
                    <a:cubicBezTo>
                      <a:pt x="207" y="58"/>
                      <a:pt x="207" y="58"/>
                      <a:pt x="207" y="58"/>
                    </a:cubicBezTo>
                    <a:cubicBezTo>
                      <a:pt x="207" y="59"/>
                      <a:pt x="207" y="59"/>
                      <a:pt x="207" y="59"/>
                    </a:cubicBezTo>
                    <a:cubicBezTo>
                      <a:pt x="209" y="63"/>
                      <a:pt x="209" y="63"/>
                      <a:pt x="209" y="63"/>
                    </a:cubicBezTo>
                    <a:cubicBezTo>
                      <a:pt x="208" y="65"/>
                      <a:pt x="208" y="65"/>
                      <a:pt x="208" y="65"/>
                    </a:cubicBezTo>
                    <a:cubicBezTo>
                      <a:pt x="209" y="66"/>
                      <a:pt x="209" y="66"/>
                      <a:pt x="209" y="66"/>
                    </a:cubicBezTo>
                    <a:cubicBezTo>
                      <a:pt x="209" y="68"/>
                      <a:pt x="209" y="68"/>
                      <a:pt x="209" y="68"/>
                    </a:cubicBezTo>
                    <a:cubicBezTo>
                      <a:pt x="211" y="68"/>
                      <a:pt x="211" y="68"/>
                      <a:pt x="211" y="68"/>
                    </a:cubicBezTo>
                    <a:cubicBezTo>
                      <a:pt x="213" y="70"/>
                      <a:pt x="213" y="70"/>
                      <a:pt x="213" y="70"/>
                    </a:cubicBezTo>
                    <a:cubicBezTo>
                      <a:pt x="215" y="70"/>
                      <a:pt x="215" y="70"/>
                      <a:pt x="215" y="70"/>
                    </a:cubicBezTo>
                    <a:cubicBezTo>
                      <a:pt x="217" y="69"/>
                      <a:pt x="217" y="69"/>
                      <a:pt x="217" y="69"/>
                    </a:cubicBezTo>
                    <a:cubicBezTo>
                      <a:pt x="218" y="66"/>
                      <a:pt x="218" y="66"/>
                      <a:pt x="218" y="66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9" y="66"/>
                      <a:pt x="219" y="66"/>
                      <a:pt x="219" y="66"/>
                    </a:cubicBezTo>
                    <a:cubicBezTo>
                      <a:pt x="219" y="67"/>
                      <a:pt x="219" y="67"/>
                      <a:pt x="219" y="67"/>
                    </a:cubicBezTo>
                    <a:cubicBezTo>
                      <a:pt x="219" y="68"/>
                      <a:pt x="219" y="68"/>
                      <a:pt x="219" y="68"/>
                    </a:cubicBez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3" y="69"/>
                      <a:pt x="223" y="69"/>
                      <a:pt x="223" y="69"/>
                    </a:cubicBezTo>
                    <a:cubicBezTo>
                      <a:pt x="223" y="71"/>
                      <a:pt x="223" y="71"/>
                      <a:pt x="223" y="71"/>
                    </a:cubicBezTo>
                    <a:cubicBezTo>
                      <a:pt x="224" y="72"/>
                      <a:pt x="224" y="72"/>
                      <a:pt x="224" y="72"/>
                    </a:cubicBezTo>
                    <a:cubicBezTo>
                      <a:pt x="225" y="72"/>
                      <a:pt x="225" y="72"/>
                      <a:pt x="225" y="72"/>
                    </a:cubicBezTo>
                    <a:cubicBezTo>
                      <a:pt x="226" y="72"/>
                      <a:pt x="226" y="72"/>
                      <a:pt x="226" y="72"/>
                    </a:cubicBezTo>
                    <a:cubicBezTo>
                      <a:pt x="228" y="72"/>
                      <a:pt x="228" y="72"/>
                      <a:pt x="228" y="72"/>
                    </a:cubicBezTo>
                    <a:cubicBezTo>
                      <a:pt x="229" y="72"/>
                      <a:pt x="229" y="72"/>
                      <a:pt x="229" y="72"/>
                    </a:cubicBezTo>
                    <a:cubicBezTo>
                      <a:pt x="228" y="71"/>
                      <a:pt x="228" y="71"/>
                      <a:pt x="228" y="71"/>
                    </a:cubicBezTo>
                    <a:cubicBezTo>
                      <a:pt x="226" y="70"/>
                      <a:pt x="226" y="70"/>
                      <a:pt x="226" y="70"/>
                    </a:cubicBezTo>
                    <a:cubicBezTo>
                      <a:pt x="226" y="69"/>
                      <a:pt x="226" y="69"/>
                      <a:pt x="226" y="69"/>
                    </a:cubicBezTo>
                    <a:cubicBezTo>
                      <a:pt x="226" y="68"/>
                      <a:pt x="226" y="68"/>
                      <a:pt x="226" y="68"/>
                    </a:cubicBezTo>
                    <a:cubicBezTo>
                      <a:pt x="224" y="68"/>
                      <a:pt x="224" y="68"/>
                      <a:pt x="224" y="68"/>
                    </a:cubicBezTo>
                    <a:cubicBezTo>
                      <a:pt x="224" y="67"/>
                      <a:pt x="224" y="67"/>
                      <a:pt x="224" y="67"/>
                    </a:cubicBezTo>
                    <a:cubicBezTo>
                      <a:pt x="224" y="65"/>
                      <a:pt x="224" y="65"/>
                      <a:pt x="224" y="65"/>
                    </a:cubicBezTo>
                    <a:cubicBezTo>
                      <a:pt x="223" y="63"/>
                      <a:pt x="223" y="63"/>
                      <a:pt x="223" y="63"/>
                    </a:cubicBezTo>
                    <a:cubicBezTo>
                      <a:pt x="221" y="62"/>
                      <a:pt x="221" y="62"/>
                      <a:pt x="221" y="62"/>
                    </a:cubicBezTo>
                    <a:cubicBezTo>
                      <a:pt x="221" y="61"/>
                      <a:pt x="221" y="61"/>
                      <a:pt x="221" y="61"/>
                    </a:cubicBezTo>
                    <a:cubicBezTo>
                      <a:pt x="220" y="58"/>
                      <a:pt x="220" y="58"/>
                      <a:pt x="220" y="58"/>
                    </a:cubicBezTo>
                    <a:cubicBezTo>
                      <a:pt x="219" y="57"/>
                      <a:pt x="219" y="57"/>
                      <a:pt x="219" y="57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20" y="53"/>
                      <a:pt x="220" y="53"/>
                      <a:pt x="220" y="53"/>
                    </a:cubicBezTo>
                    <a:cubicBezTo>
                      <a:pt x="219" y="51"/>
                      <a:pt x="219" y="51"/>
                      <a:pt x="219" y="51"/>
                    </a:cubicBezTo>
                    <a:cubicBezTo>
                      <a:pt x="218" y="49"/>
                      <a:pt x="218" y="49"/>
                      <a:pt x="218" y="49"/>
                    </a:cubicBezTo>
                    <a:cubicBezTo>
                      <a:pt x="218" y="47"/>
                      <a:pt x="218" y="47"/>
                      <a:pt x="218" y="47"/>
                    </a:cubicBezTo>
                    <a:cubicBezTo>
                      <a:pt x="218" y="46"/>
                      <a:pt x="218" y="46"/>
                      <a:pt x="218" y="46"/>
                    </a:cubicBezTo>
                    <a:cubicBezTo>
                      <a:pt x="218" y="43"/>
                      <a:pt x="218" y="43"/>
                      <a:pt x="218" y="43"/>
                    </a:cubicBezTo>
                    <a:cubicBezTo>
                      <a:pt x="217" y="42"/>
                      <a:pt x="217" y="42"/>
                      <a:pt x="217" y="42"/>
                    </a:cubicBezTo>
                    <a:cubicBezTo>
                      <a:pt x="217" y="40"/>
                      <a:pt x="217" y="40"/>
                      <a:pt x="217" y="40"/>
                    </a:cubicBezTo>
                    <a:cubicBezTo>
                      <a:pt x="216" y="38"/>
                      <a:pt x="216" y="38"/>
                      <a:pt x="216" y="38"/>
                    </a:cubicBezTo>
                    <a:cubicBezTo>
                      <a:pt x="215" y="36"/>
                      <a:pt x="215" y="36"/>
                      <a:pt x="215" y="36"/>
                    </a:cubicBezTo>
                    <a:cubicBezTo>
                      <a:pt x="216" y="34"/>
                      <a:pt x="216" y="34"/>
                      <a:pt x="216" y="34"/>
                    </a:cubicBezTo>
                    <a:cubicBezTo>
                      <a:pt x="215" y="32"/>
                      <a:pt x="215" y="32"/>
                      <a:pt x="215" y="32"/>
                    </a:cubicBezTo>
                    <a:cubicBezTo>
                      <a:pt x="215" y="30"/>
                      <a:pt x="215" y="30"/>
                      <a:pt x="215" y="30"/>
                    </a:cubicBezTo>
                    <a:cubicBezTo>
                      <a:pt x="216" y="29"/>
                      <a:pt x="216" y="29"/>
                      <a:pt x="216" y="29"/>
                    </a:cubicBezTo>
                    <a:cubicBezTo>
                      <a:pt x="219" y="30"/>
                      <a:pt x="219" y="30"/>
                      <a:pt x="219" y="30"/>
                    </a:cubicBezTo>
                    <a:cubicBezTo>
                      <a:pt x="220" y="31"/>
                      <a:pt x="220" y="31"/>
                      <a:pt x="220" y="31"/>
                    </a:cubicBezTo>
                    <a:cubicBezTo>
                      <a:pt x="221" y="31"/>
                      <a:pt x="221" y="31"/>
                      <a:pt x="221" y="31"/>
                    </a:cubicBezTo>
                    <a:cubicBezTo>
                      <a:pt x="221" y="30"/>
                      <a:pt x="221" y="30"/>
                      <a:pt x="221" y="30"/>
                    </a:cubicBezTo>
                    <a:cubicBezTo>
                      <a:pt x="222" y="30"/>
                      <a:pt x="222" y="30"/>
                      <a:pt x="222" y="30"/>
                    </a:cubicBezTo>
                    <a:cubicBezTo>
                      <a:pt x="225" y="34"/>
                      <a:pt x="225" y="34"/>
                      <a:pt x="225" y="34"/>
                    </a:cubicBezTo>
                    <a:cubicBezTo>
                      <a:pt x="228" y="35"/>
                      <a:pt x="228" y="35"/>
                      <a:pt x="228" y="35"/>
                    </a:cubicBezTo>
                    <a:cubicBezTo>
                      <a:pt x="229" y="35"/>
                      <a:pt x="229" y="35"/>
                      <a:pt x="229" y="35"/>
                    </a:cubicBezTo>
                    <a:cubicBezTo>
                      <a:pt x="229" y="33"/>
                      <a:pt x="229" y="33"/>
                      <a:pt x="229" y="33"/>
                    </a:cubicBezTo>
                    <a:cubicBezTo>
                      <a:pt x="228" y="32"/>
                      <a:pt x="228" y="32"/>
                      <a:pt x="228" y="32"/>
                    </a:cubicBezTo>
                    <a:cubicBezTo>
                      <a:pt x="229" y="29"/>
                      <a:pt x="229" y="29"/>
                      <a:pt x="229" y="29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32" y="29"/>
                      <a:pt x="232" y="29"/>
                      <a:pt x="232" y="29"/>
                    </a:cubicBezTo>
                    <a:cubicBezTo>
                      <a:pt x="234" y="29"/>
                      <a:pt x="234" y="29"/>
                      <a:pt x="234" y="29"/>
                    </a:cubicBezTo>
                    <a:cubicBezTo>
                      <a:pt x="235" y="28"/>
                      <a:pt x="235" y="28"/>
                      <a:pt x="235" y="28"/>
                    </a:cubicBezTo>
                    <a:cubicBezTo>
                      <a:pt x="237" y="28"/>
                      <a:pt x="237" y="28"/>
                      <a:pt x="237" y="28"/>
                    </a:cubicBezTo>
                    <a:cubicBezTo>
                      <a:pt x="238" y="29"/>
                      <a:pt x="238" y="29"/>
                      <a:pt x="238" y="29"/>
                    </a:cubicBezTo>
                    <a:cubicBezTo>
                      <a:pt x="240" y="30"/>
                      <a:pt x="240" y="30"/>
                      <a:pt x="240" y="30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2" y="35"/>
                      <a:pt x="242" y="35"/>
                      <a:pt x="242" y="35"/>
                    </a:cubicBezTo>
                    <a:cubicBezTo>
                      <a:pt x="244" y="37"/>
                      <a:pt x="244" y="37"/>
                      <a:pt x="244" y="37"/>
                    </a:cubicBezTo>
                    <a:cubicBezTo>
                      <a:pt x="244" y="38"/>
                      <a:pt x="244" y="38"/>
                      <a:pt x="244" y="38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4" y="44"/>
                      <a:pt x="244" y="44"/>
                      <a:pt x="244" y="44"/>
                    </a:cubicBezTo>
                    <a:cubicBezTo>
                      <a:pt x="244" y="46"/>
                      <a:pt x="244" y="46"/>
                      <a:pt x="244" y="46"/>
                    </a:cubicBezTo>
                    <a:cubicBezTo>
                      <a:pt x="245" y="47"/>
                      <a:pt x="245" y="47"/>
                      <a:pt x="245" y="47"/>
                    </a:cubicBezTo>
                    <a:cubicBezTo>
                      <a:pt x="246" y="48"/>
                      <a:pt x="246" y="48"/>
                      <a:pt x="246" y="48"/>
                    </a:cubicBezTo>
                    <a:cubicBezTo>
                      <a:pt x="249" y="48"/>
                      <a:pt x="249" y="48"/>
                      <a:pt x="249" y="48"/>
                    </a:cubicBezTo>
                    <a:cubicBezTo>
                      <a:pt x="251" y="49"/>
                      <a:pt x="251" y="49"/>
                      <a:pt x="251" y="49"/>
                    </a:cubicBezTo>
                    <a:cubicBezTo>
                      <a:pt x="253" y="51"/>
                      <a:pt x="253" y="51"/>
                      <a:pt x="253" y="51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3" y="49"/>
                      <a:pt x="253" y="49"/>
                      <a:pt x="253" y="49"/>
                    </a:cubicBezTo>
                    <a:cubicBezTo>
                      <a:pt x="251" y="48"/>
                      <a:pt x="251" y="48"/>
                      <a:pt x="251" y="48"/>
                    </a:cubicBezTo>
                    <a:cubicBezTo>
                      <a:pt x="250" y="46"/>
                      <a:pt x="250" y="46"/>
                      <a:pt x="250" y="46"/>
                    </a:cubicBezTo>
                    <a:cubicBezTo>
                      <a:pt x="248" y="46"/>
                      <a:pt x="248" y="46"/>
                      <a:pt x="248" y="46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6" y="44"/>
                      <a:pt x="246" y="44"/>
                      <a:pt x="246" y="44"/>
                    </a:cubicBezTo>
                    <a:cubicBezTo>
                      <a:pt x="246" y="42"/>
                      <a:pt x="246" y="42"/>
                      <a:pt x="246" y="42"/>
                    </a:cubicBezTo>
                    <a:cubicBezTo>
                      <a:pt x="245" y="40"/>
                      <a:pt x="245" y="40"/>
                      <a:pt x="245" y="40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6" y="36"/>
                      <a:pt x="246" y="36"/>
                      <a:pt x="246" y="36"/>
                    </a:cubicBezTo>
                    <a:cubicBezTo>
                      <a:pt x="245" y="34"/>
                      <a:pt x="245" y="34"/>
                      <a:pt x="245" y="34"/>
                    </a:cubicBezTo>
                    <a:cubicBezTo>
                      <a:pt x="245" y="32"/>
                      <a:pt x="245" y="32"/>
                      <a:pt x="245" y="32"/>
                    </a:cubicBezTo>
                    <a:cubicBezTo>
                      <a:pt x="246" y="31"/>
                      <a:pt x="246" y="31"/>
                      <a:pt x="246" y="31"/>
                    </a:cubicBezTo>
                    <a:cubicBezTo>
                      <a:pt x="245" y="30"/>
                      <a:pt x="245" y="30"/>
                      <a:pt x="245" y="30"/>
                    </a:cubicBezTo>
                    <a:cubicBezTo>
                      <a:pt x="243" y="29"/>
                      <a:pt x="243" y="29"/>
                      <a:pt x="243" y="29"/>
                    </a:cubicBezTo>
                    <a:cubicBezTo>
                      <a:pt x="241" y="26"/>
                      <a:pt x="241" y="26"/>
                      <a:pt x="241" y="26"/>
                    </a:cubicBezTo>
                    <a:cubicBezTo>
                      <a:pt x="240" y="26"/>
                      <a:pt x="240" y="26"/>
                      <a:pt x="240" y="26"/>
                    </a:cubicBezTo>
                    <a:cubicBezTo>
                      <a:pt x="238" y="26"/>
                      <a:pt x="238" y="26"/>
                      <a:pt x="238" y="26"/>
                    </a:cubicBezTo>
                    <a:cubicBezTo>
                      <a:pt x="237" y="27"/>
                      <a:pt x="237" y="27"/>
                      <a:pt x="237" y="27"/>
                    </a:cubicBezTo>
                    <a:cubicBezTo>
                      <a:pt x="236" y="27"/>
                      <a:pt x="236" y="27"/>
                      <a:pt x="236" y="27"/>
                    </a:cubicBezTo>
                    <a:cubicBezTo>
                      <a:pt x="234" y="26"/>
                      <a:pt x="234" y="26"/>
                      <a:pt x="234" y="26"/>
                    </a:cubicBezTo>
                    <a:cubicBezTo>
                      <a:pt x="234" y="24"/>
                      <a:pt x="234" y="24"/>
                      <a:pt x="234" y="24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236" y="21"/>
                      <a:pt x="236" y="21"/>
                      <a:pt x="236" y="21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33" y="18"/>
                      <a:pt x="233" y="18"/>
                      <a:pt x="233" y="18"/>
                    </a:cubicBezTo>
                    <a:cubicBezTo>
                      <a:pt x="233" y="16"/>
                      <a:pt x="233" y="16"/>
                      <a:pt x="233" y="16"/>
                    </a:cubicBezTo>
                    <a:cubicBezTo>
                      <a:pt x="233" y="15"/>
                      <a:pt x="233" y="15"/>
                      <a:pt x="233" y="15"/>
                    </a:cubicBezTo>
                    <a:cubicBezTo>
                      <a:pt x="234" y="13"/>
                      <a:pt x="234" y="13"/>
                      <a:pt x="234" y="13"/>
                    </a:cubicBezTo>
                    <a:cubicBezTo>
                      <a:pt x="235" y="13"/>
                      <a:pt x="235" y="13"/>
                      <a:pt x="235" y="13"/>
                    </a:cubicBezTo>
                    <a:cubicBezTo>
                      <a:pt x="236" y="15"/>
                      <a:pt x="236" y="15"/>
                      <a:pt x="236" y="15"/>
                    </a:cubicBezTo>
                    <a:cubicBezTo>
                      <a:pt x="237" y="17"/>
                      <a:pt x="237" y="17"/>
                      <a:pt x="237" y="17"/>
                    </a:cubicBezTo>
                    <a:cubicBezTo>
                      <a:pt x="238" y="17"/>
                      <a:pt x="238" y="17"/>
                      <a:pt x="238" y="17"/>
                    </a:cubicBezTo>
                    <a:cubicBezTo>
                      <a:pt x="240" y="14"/>
                      <a:pt x="240" y="14"/>
                      <a:pt x="240" y="1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1"/>
                      <a:pt x="243" y="11"/>
                      <a:pt x="243" y="11"/>
                    </a:cubicBezTo>
                    <a:cubicBezTo>
                      <a:pt x="245" y="9"/>
                      <a:pt x="245" y="9"/>
                      <a:pt x="245" y="9"/>
                    </a:cubicBezTo>
                    <a:cubicBezTo>
                      <a:pt x="247" y="9"/>
                      <a:pt x="247" y="9"/>
                      <a:pt x="247" y="9"/>
                    </a:cubicBezTo>
                    <a:cubicBezTo>
                      <a:pt x="245" y="10"/>
                      <a:pt x="245" y="10"/>
                      <a:pt x="245" y="10"/>
                    </a:cubicBezTo>
                    <a:cubicBezTo>
                      <a:pt x="245" y="11"/>
                      <a:pt x="245" y="11"/>
                      <a:pt x="245" y="11"/>
                    </a:cubicBezTo>
                    <a:cubicBezTo>
                      <a:pt x="245" y="12"/>
                      <a:pt x="245" y="12"/>
                      <a:pt x="245" y="12"/>
                    </a:cubicBezTo>
                    <a:cubicBezTo>
                      <a:pt x="247" y="11"/>
                      <a:pt x="247" y="11"/>
                      <a:pt x="247" y="11"/>
                    </a:cubicBezTo>
                    <a:cubicBezTo>
                      <a:pt x="249" y="11"/>
                      <a:pt x="249" y="11"/>
                      <a:pt x="249" y="11"/>
                    </a:cubicBezTo>
                    <a:cubicBezTo>
                      <a:pt x="249" y="12"/>
                      <a:pt x="249" y="12"/>
                      <a:pt x="249" y="12"/>
                    </a:cubicBezTo>
                    <a:cubicBezTo>
                      <a:pt x="249" y="13"/>
                      <a:pt x="249" y="13"/>
                      <a:pt x="249" y="13"/>
                    </a:cubicBezTo>
                    <a:cubicBezTo>
                      <a:pt x="251" y="14"/>
                      <a:pt x="251" y="14"/>
                      <a:pt x="251" y="14"/>
                    </a:cubicBezTo>
                    <a:cubicBezTo>
                      <a:pt x="251" y="15"/>
                      <a:pt x="251" y="15"/>
                      <a:pt x="251" y="15"/>
                    </a:cubicBezTo>
                    <a:cubicBezTo>
                      <a:pt x="250" y="17"/>
                      <a:pt x="250" y="17"/>
                      <a:pt x="250" y="17"/>
                    </a:cubicBezTo>
                    <a:cubicBezTo>
                      <a:pt x="250" y="18"/>
                      <a:pt x="250" y="18"/>
                      <a:pt x="250" y="18"/>
                    </a:cubicBezTo>
                    <a:cubicBezTo>
                      <a:pt x="251" y="17"/>
                      <a:pt x="251" y="17"/>
                      <a:pt x="251" y="17"/>
                    </a:cubicBezTo>
                    <a:cubicBezTo>
                      <a:pt x="252" y="15"/>
                      <a:pt x="252" y="15"/>
                      <a:pt x="252" y="15"/>
                    </a:cubicBezTo>
                    <a:cubicBezTo>
                      <a:pt x="254" y="15"/>
                      <a:pt x="254" y="15"/>
                      <a:pt x="254" y="15"/>
                    </a:cubicBezTo>
                    <a:cubicBezTo>
                      <a:pt x="256" y="17"/>
                      <a:pt x="256" y="17"/>
                      <a:pt x="256" y="17"/>
                    </a:cubicBezTo>
                    <a:cubicBezTo>
                      <a:pt x="256" y="18"/>
                      <a:pt x="256" y="18"/>
                      <a:pt x="256" y="18"/>
                    </a:cubicBezTo>
                    <a:cubicBezTo>
                      <a:pt x="257" y="21"/>
                      <a:pt x="257" y="21"/>
                      <a:pt x="257" y="21"/>
                    </a:cubicBezTo>
                    <a:cubicBezTo>
                      <a:pt x="258" y="23"/>
                      <a:pt x="258" y="23"/>
                      <a:pt x="258" y="23"/>
                    </a:cubicBezTo>
                    <a:cubicBezTo>
                      <a:pt x="258" y="26"/>
                      <a:pt x="258" y="26"/>
                      <a:pt x="258" y="26"/>
                    </a:cubicBezTo>
                    <a:cubicBezTo>
                      <a:pt x="259" y="25"/>
                      <a:pt x="259" y="25"/>
                      <a:pt x="259" y="25"/>
                    </a:cubicBezTo>
                    <a:cubicBezTo>
                      <a:pt x="259" y="22"/>
                      <a:pt x="259" y="22"/>
                      <a:pt x="259" y="22"/>
                    </a:cubicBezTo>
                    <a:cubicBezTo>
                      <a:pt x="258" y="21"/>
                      <a:pt x="258" y="21"/>
                      <a:pt x="258" y="21"/>
                    </a:cubicBezTo>
                    <a:cubicBezTo>
                      <a:pt x="258" y="20"/>
                      <a:pt x="258" y="20"/>
                      <a:pt x="258" y="20"/>
                    </a:cubicBezTo>
                    <a:cubicBezTo>
                      <a:pt x="258" y="18"/>
                      <a:pt x="258" y="18"/>
                      <a:pt x="258" y="18"/>
                    </a:cubicBezTo>
                    <a:cubicBezTo>
                      <a:pt x="257" y="17"/>
                      <a:pt x="257" y="17"/>
                      <a:pt x="257" y="17"/>
                    </a:cubicBezTo>
                    <a:cubicBezTo>
                      <a:pt x="258" y="16"/>
                      <a:pt x="258" y="16"/>
                      <a:pt x="258" y="16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62" y="20"/>
                      <a:pt x="262" y="20"/>
                      <a:pt x="262" y="20"/>
                    </a:cubicBezTo>
                    <a:cubicBezTo>
                      <a:pt x="264" y="23"/>
                      <a:pt x="264" y="23"/>
                      <a:pt x="264" y="23"/>
                    </a:cubicBezTo>
                    <a:cubicBezTo>
                      <a:pt x="266" y="24"/>
                      <a:pt x="266" y="24"/>
                      <a:pt x="266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23"/>
                      <a:pt x="268" y="23"/>
                      <a:pt x="268" y="23"/>
                    </a:cubicBezTo>
                    <a:cubicBezTo>
                      <a:pt x="267" y="23"/>
                      <a:pt x="267" y="23"/>
                      <a:pt x="267" y="23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3" y="19"/>
                      <a:pt x="263" y="19"/>
                      <a:pt x="263" y="19"/>
                    </a:cubicBezTo>
                    <a:cubicBezTo>
                      <a:pt x="263" y="16"/>
                      <a:pt x="263" y="16"/>
                      <a:pt x="263" y="16"/>
                    </a:cubicBezTo>
                    <a:cubicBezTo>
                      <a:pt x="263" y="14"/>
                      <a:pt x="263" y="14"/>
                      <a:pt x="263" y="14"/>
                    </a:cubicBezTo>
                    <a:cubicBezTo>
                      <a:pt x="265" y="13"/>
                      <a:pt x="265" y="13"/>
                      <a:pt x="265" y="13"/>
                    </a:cubicBezTo>
                    <a:cubicBezTo>
                      <a:pt x="267" y="14"/>
                      <a:pt x="267" y="14"/>
                      <a:pt x="267" y="14"/>
                    </a:cubicBezTo>
                    <a:cubicBezTo>
                      <a:pt x="270" y="15"/>
                      <a:pt x="270" y="15"/>
                      <a:pt x="270" y="15"/>
                    </a:cubicBezTo>
                    <a:cubicBezTo>
                      <a:pt x="272" y="15"/>
                      <a:pt x="272" y="15"/>
                      <a:pt x="272" y="15"/>
                    </a:cubicBezTo>
                    <a:cubicBezTo>
                      <a:pt x="272" y="14"/>
                      <a:pt x="272" y="14"/>
                      <a:pt x="272" y="14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3"/>
                      <a:pt x="270" y="13"/>
                      <a:pt x="270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72" y="10"/>
                      <a:pt x="272" y="10"/>
                      <a:pt x="272" y="10"/>
                    </a:cubicBezTo>
                    <a:cubicBezTo>
                      <a:pt x="273" y="8"/>
                      <a:pt x="273" y="8"/>
                      <a:pt x="273" y="8"/>
                    </a:cubicBezTo>
                    <a:cubicBezTo>
                      <a:pt x="273" y="8"/>
                      <a:pt x="273" y="8"/>
                      <a:pt x="273" y="8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73" y="5"/>
                      <a:pt x="273" y="5"/>
                      <a:pt x="273" y="5"/>
                    </a:cubicBezTo>
                    <a:cubicBezTo>
                      <a:pt x="274" y="4"/>
                      <a:pt x="274" y="4"/>
                      <a:pt x="274" y="4"/>
                    </a:cubicBezTo>
                    <a:cubicBezTo>
                      <a:pt x="275" y="5"/>
                      <a:pt x="275" y="5"/>
                      <a:pt x="275" y="5"/>
                    </a:cubicBezTo>
                    <a:cubicBezTo>
                      <a:pt x="276" y="4"/>
                      <a:pt x="276" y="4"/>
                      <a:pt x="276" y="4"/>
                    </a:cubicBezTo>
                    <a:cubicBezTo>
                      <a:pt x="276" y="2"/>
                      <a:pt x="276" y="2"/>
                      <a:pt x="276" y="2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8" y="1"/>
                      <a:pt x="278" y="1"/>
                      <a:pt x="278" y="1"/>
                    </a:cubicBezTo>
                    <a:cubicBezTo>
                      <a:pt x="279" y="2"/>
                      <a:pt x="279" y="2"/>
                      <a:pt x="279" y="2"/>
                    </a:cubicBezTo>
                    <a:cubicBezTo>
                      <a:pt x="279" y="2"/>
                      <a:pt x="279" y="2"/>
                      <a:pt x="279" y="2"/>
                    </a:cubicBezTo>
                    <a:cubicBezTo>
                      <a:pt x="280" y="4"/>
                      <a:pt x="280" y="4"/>
                      <a:pt x="280" y="4"/>
                    </a:cubicBezTo>
                    <a:cubicBezTo>
                      <a:pt x="281" y="6"/>
                      <a:pt x="281" y="6"/>
                      <a:pt x="281" y="6"/>
                    </a:cubicBezTo>
                    <a:cubicBezTo>
                      <a:pt x="282" y="7"/>
                      <a:pt x="282" y="7"/>
                      <a:pt x="282" y="7"/>
                    </a:cubicBezTo>
                    <a:cubicBezTo>
                      <a:pt x="283" y="6"/>
                      <a:pt x="283" y="6"/>
                      <a:pt x="283" y="6"/>
                    </a:cubicBezTo>
                    <a:cubicBezTo>
                      <a:pt x="283" y="5"/>
                      <a:pt x="283" y="5"/>
                      <a:pt x="283" y="5"/>
                    </a:cubicBezTo>
                    <a:cubicBezTo>
                      <a:pt x="282" y="3"/>
                      <a:pt x="282" y="3"/>
                      <a:pt x="282" y="3"/>
                    </a:cubicBezTo>
                    <a:cubicBezTo>
                      <a:pt x="282" y="2"/>
                      <a:pt x="282" y="2"/>
                      <a:pt x="282" y="2"/>
                    </a:cubicBezTo>
                    <a:cubicBezTo>
                      <a:pt x="283" y="1"/>
                      <a:pt x="283" y="1"/>
                      <a:pt x="283" y="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86" y="1"/>
                      <a:pt x="286" y="1"/>
                      <a:pt x="286" y="1"/>
                    </a:cubicBezTo>
                    <a:cubicBezTo>
                      <a:pt x="289" y="1"/>
                      <a:pt x="289" y="1"/>
                      <a:pt x="289" y="1"/>
                    </a:cubicBezTo>
                    <a:cubicBezTo>
                      <a:pt x="291" y="2"/>
                      <a:pt x="291" y="2"/>
                      <a:pt x="291" y="2"/>
                    </a:cubicBezTo>
                    <a:cubicBezTo>
                      <a:pt x="291" y="2"/>
                      <a:pt x="291" y="2"/>
                      <a:pt x="291" y="2"/>
                    </a:cubicBezTo>
                    <a:cubicBezTo>
                      <a:pt x="292" y="2"/>
                      <a:pt x="292" y="2"/>
                      <a:pt x="292" y="2"/>
                    </a:cubicBezTo>
                    <a:cubicBezTo>
                      <a:pt x="293" y="1"/>
                      <a:pt x="293" y="1"/>
                      <a:pt x="293" y="1"/>
                    </a:cubicBezTo>
                    <a:cubicBezTo>
                      <a:pt x="295" y="2"/>
                      <a:pt x="295" y="2"/>
                      <a:pt x="295" y="2"/>
                    </a:cubicBezTo>
                    <a:cubicBezTo>
                      <a:pt x="298" y="2"/>
                      <a:pt x="298" y="2"/>
                      <a:pt x="298" y="2"/>
                    </a:cubicBezTo>
                    <a:cubicBezTo>
                      <a:pt x="299" y="3"/>
                      <a:pt x="299" y="3"/>
                      <a:pt x="299" y="3"/>
                    </a:cubicBezTo>
                    <a:cubicBezTo>
                      <a:pt x="301" y="3"/>
                      <a:pt x="301" y="3"/>
                      <a:pt x="301" y="3"/>
                    </a:cubicBezTo>
                    <a:cubicBezTo>
                      <a:pt x="302" y="2"/>
                      <a:pt x="302" y="2"/>
                      <a:pt x="302" y="2"/>
                    </a:cubicBezTo>
                    <a:cubicBezTo>
                      <a:pt x="303" y="3"/>
                      <a:pt x="303" y="3"/>
                      <a:pt x="303" y="3"/>
                    </a:cubicBezTo>
                    <a:cubicBezTo>
                      <a:pt x="303" y="4"/>
                      <a:pt x="303" y="4"/>
                      <a:pt x="303" y="4"/>
                    </a:cubicBezTo>
                    <a:cubicBezTo>
                      <a:pt x="306" y="6"/>
                      <a:pt x="306" y="6"/>
                      <a:pt x="306" y="6"/>
                    </a:cubicBezTo>
                    <a:cubicBezTo>
                      <a:pt x="307" y="6"/>
                      <a:pt x="307" y="6"/>
                      <a:pt x="307" y="6"/>
                    </a:cubicBezTo>
                    <a:cubicBezTo>
                      <a:pt x="307" y="5"/>
                      <a:pt x="307" y="5"/>
                      <a:pt x="307" y="5"/>
                    </a:cubicBezTo>
                    <a:cubicBezTo>
                      <a:pt x="308" y="5"/>
                      <a:pt x="308" y="5"/>
                      <a:pt x="308" y="5"/>
                    </a:cubicBezTo>
                    <a:cubicBezTo>
                      <a:pt x="311" y="7"/>
                      <a:pt x="311" y="7"/>
                      <a:pt x="311" y="7"/>
                    </a:cubicBezTo>
                    <a:cubicBezTo>
                      <a:pt x="312" y="7"/>
                      <a:pt x="312" y="7"/>
                      <a:pt x="312" y="7"/>
                    </a:cubicBezTo>
                    <a:cubicBezTo>
                      <a:pt x="314" y="9"/>
                      <a:pt x="314" y="9"/>
                      <a:pt x="314" y="9"/>
                    </a:cubicBezTo>
                    <a:cubicBezTo>
                      <a:pt x="318" y="9"/>
                      <a:pt x="318" y="9"/>
                      <a:pt x="318" y="9"/>
                    </a:cubicBezTo>
                    <a:cubicBezTo>
                      <a:pt x="319" y="10"/>
                      <a:pt x="319" y="10"/>
                      <a:pt x="319" y="10"/>
                    </a:cubicBezTo>
                    <a:cubicBezTo>
                      <a:pt x="321" y="9"/>
                      <a:pt x="321" y="9"/>
                      <a:pt x="321" y="9"/>
                    </a:cubicBezTo>
                    <a:cubicBezTo>
                      <a:pt x="322" y="10"/>
                      <a:pt x="322" y="10"/>
                      <a:pt x="322" y="10"/>
                    </a:cubicBezTo>
                    <a:cubicBezTo>
                      <a:pt x="323" y="11"/>
                      <a:pt x="323" y="11"/>
                      <a:pt x="323" y="11"/>
                    </a:cubicBezTo>
                    <a:cubicBezTo>
                      <a:pt x="325" y="10"/>
                      <a:pt x="325" y="10"/>
                      <a:pt x="325" y="10"/>
                    </a:cubicBezTo>
                    <a:cubicBezTo>
                      <a:pt x="326" y="11"/>
                      <a:pt x="326" y="11"/>
                      <a:pt x="326" y="11"/>
                    </a:cubicBezTo>
                    <a:cubicBezTo>
                      <a:pt x="328" y="12"/>
                      <a:pt x="328" y="12"/>
                      <a:pt x="328" y="12"/>
                    </a:cubicBezTo>
                    <a:cubicBezTo>
                      <a:pt x="331" y="13"/>
                      <a:pt x="331" y="13"/>
                      <a:pt x="331" y="13"/>
                    </a:cubicBezTo>
                    <a:cubicBezTo>
                      <a:pt x="333" y="15"/>
                      <a:pt x="333" y="15"/>
                      <a:pt x="333" y="15"/>
                    </a:cubicBezTo>
                    <a:cubicBezTo>
                      <a:pt x="334" y="16"/>
                      <a:pt x="334" y="16"/>
                      <a:pt x="334" y="16"/>
                    </a:cubicBezTo>
                    <a:cubicBezTo>
                      <a:pt x="335" y="17"/>
                      <a:pt x="335" y="17"/>
                      <a:pt x="335" y="17"/>
                    </a:cubicBezTo>
                    <a:cubicBezTo>
                      <a:pt x="338" y="19"/>
                      <a:pt x="338" y="19"/>
                      <a:pt x="338" y="19"/>
                    </a:cubicBezTo>
                    <a:cubicBezTo>
                      <a:pt x="338" y="20"/>
                      <a:pt x="338" y="20"/>
                      <a:pt x="338" y="20"/>
                    </a:cubicBezTo>
                    <a:cubicBezTo>
                      <a:pt x="336" y="22"/>
                      <a:pt x="336" y="22"/>
                      <a:pt x="336" y="22"/>
                    </a:cubicBezTo>
                    <a:cubicBezTo>
                      <a:pt x="335" y="21"/>
                      <a:pt x="335" y="21"/>
                      <a:pt x="335" y="21"/>
                    </a:cubicBezTo>
                    <a:cubicBezTo>
                      <a:pt x="333" y="21"/>
                      <a:pt x="333" y="21"/>
                      <a:pt x="333" y="21"/>
                    </a:cubicBezTo>
                    <a:cubicBezTo>
                      <a:pt x="332" y="22"/>
                      <a:pt x="332" y="22"/>
                      <a:pt x="332" y="22"/>
                    </a:cubicBezTo>
                    <a:cubicBezTo>
                      <a:pt x="331" y="23"/>
                      <a:pt x="331" y="23"/>
                      <a:pt x="331" y="23"/>
                    </a:cubicBezTo>
                    <a:cubicBezTo>
                      <a:pt x="329" y="23"/>
                      <a:pt x="329" y="23"/>
                      <a:pt x="329" y="23"/>
                    </a:cubicBezTo>
                    <a:cubicBezTo>
                      <a:pt x="329" y="23"/>
                      <a:pt x="329" y="23"/>
                      <a:pt x="329" y="23"/>
                    </a:cubicBezTo>
                    <a:cubicBezTo>
                      <a:pt x="327" y="23"/>
                      <a:pt x="327" y="23"/>
                      <a:pt x="327" y="23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1" y="21"/>
                      <a:pt x="321" y="21"/>
                      <a:pt x="321" y="21"/>
                    </a:cubicBezTo>
                    <a:cubicBezTo>
                      <a:pt x="319" y="21"/>
                      <a:pt x="319" y="21"/>
                      <a:pt x="319" y="21"/>
                    </a:cubicBezTo>
                    <a:cubicBezTo>
                      <a:pt x="318" y="21"/>
                      <a:pt x="318" y="21"/>
                      <a:pt x="318" y="21"/>
                    </a:cubicBezTo>
                    <a:cubicBezTo>
                      <a:pt x="317" y="20"/>
                      <a:pt x="317" y="20"/>
                      <a:pt x="317" y="20"/>
                    </a:cubicBezTo>
                    <a:cubicBezTo>
                      <a:pt x="314" y="20"/>
                      <a:pt x="314" y="20"/>
                      <a:pt x="314" y="20"/>
                    </a:cubicBezTo>
                    <a:cubicBezTo>
                      <a:pt x="314" y="21"/>
                      <a:pt x="314" y="21"/>
                      <a:pt x="314" y="21"/>
                    </a:cubicBez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0"/>
                      <a:pt x="312" y="20"/>
                      <a:pt x="312" y="20"/>
                    </a:cubicBezTo>
                    <a:cubicBezTo>
                      <a:pt x="310" y="20"/>
                      <a:pt x="310" y="20"/>
                      <a:pt x="310" y="20"/>
                    </a:cubicBezTo>
                    <a:cubicBezTo>
                      <a:pt x="307" y="22"/>
                      <a:pt x="307" y="22"/>
                      <a:pt x="307" y="22"/>
                    </a:cubicBezTo>
                    <a:cubicBezTo>
                      <a:pt x="306" y="22"/>
                      <a:pt x="306" y="22"/>
                      <a:pt x="306" y="22"/>
                    </a:cubicBezTo>
                    <a:cubicBezTo>
                      <a:pt x="304" y="22"/>
                      <a:pt x="304" y="22"/>
                      <a:pt x="304" y="22"/>
                    </a:cubicBezTo>
                    <a:cubicBezTo>
                      <a:pt x="302" y="22"/>
                      <a:pt x="302" y="22"/>
                      <a:pt x="302" y="22"/>
                    </a:cubicBezTo>
                    <a:cubicBezTo>
                      <a:pt x="300" y="23"/>
                      <a:pt x="300" y="23"/>
                      <a:pt x="300" y="23"/>
                    </a:cubicBezTo>
                    <a:cubicBezTo>
                      <a:pt x="297" y="23"/>
                      <a:pt x="297" y="23"/>
                      <a:pt x="297" y="23"/>
                    </a:cubicBezTo>
                    <a:cubicBezTo>
                      <a:pt x="296" y="21"/>
                      <a:pt x="296" y="21"/>
                      <a:pt x="296" y="21"/>
                    </a:cubicBezTo>
                    <a:cubicBezTo>
                      <a:pt x="296" y="19"/>
                      <a:pt x="296" y="19"/>
                      <a:pt x="296" y="19"/>
                    </a:cubicBezTo>
                    <a:cubicBezTo>
                      <a:pt x="297" y="19"/>
                      <a:pt x="297" y="19"/>
                      <a:pt x="297" y="19"/>
                    </a:cubicBezTo>
                    <a:cubicBezTo>
                      <a:pt x="298" y="19"/>
                      <a:pt x="298" y="19"/>
                      <a:pt x="298" y="19"/>
                    </a:cubicBezTo>
                    <a:cubicBezTo>
                      <a:pt x="299" y="17"/>
                      <a:pt x="299" y="17"/>
                      <a:pt x="299" y="17"/>
                    </a:cubicBezTo>
                    <a:cubicBezTo>
                      <a:pt x="298" y="17"/>
                      <a:pt x="298" y="17"/>
                      <a:pt x="298" y="17"/>
                    </a:cubicBezTo>
                    <a:cubicBezTo>
                      <a:pt x="297" y="17"/>
                      <a:pt x="297" y="17"/>
                      <a:pt x="297" y="17"/>
                    </a:cubicBezTo>
                    <a:cubicBezTo>
                      <a:pt x="295" y="17"/>
                      <a:pt x="295" y="17"/>
                      <a:pt x="295" y="17"/>
                    </a:cubicBezTo>
                    <a:cubicBezTo>
                      <a:pt x="293" y="18"/>
                      <a:pt x="293" y="18"/>
                      <a:pt x="293" y="18"/>
                    </a:cubicBezTo>
                    <a:cubicBezTo>
                      <a:pt x="294" y="20"/>
                      <a:pt x="294" y="20"/>
                      <a:pt x="294" y="20"/>
                    </a:cubicBezTo>
                    <a:cubicBezTo>
                      <a:pt x="295" y="22"/>
                      <a:pt x="295" y="22"/>
                      <a:pt x="295" y="22"/>
                    </a:cubicBezTo>
                    <a:cubicBezTo>
                      <a:pt x="296" y="22"/>
                      <a:pt x="296" y="22"/>
                      <a:pt x="296" y="22"/>
                    </a:cubicBezTo>
                    <a:cubicBezTo>
                      <a:pt x="295" y="23"/>
                      <a:pt x="295" y="23"/>
                      <a:pt x="295" y="23"/>
                    </a:cubicBezTo>
                    <a:cubicBezTo>
                      <a:pt x="294" y="24"/>
                      <a:pt x="294" y="24"/>
                      <a:pt x="294" y="24"/>
                    </a:cubicBezTo>
                    <a:cubicBezTo>
                      <a:pt x="293" y="24"/>
                      <a:pt x="293" y="24"/>
                      <a:pt x="293" y="24"/>
                    </a:cubicBezTo>
                    <a:cubicBezTo>
                      <a:pt x="292" y="24"/>
                      <a:pt x="292" y="24"/>
                      <a:pt x="292" y="24"/>
                    </a:cubicBezTo>
                    <a:cubicBezTo>
                      <a:pt x="289" y="24"/>
                      <a:pt x="289" y="24"/>
                      <a:pt x="289" y="24"/>
                    </a:cubicBezTo>
                    <a:cubicBezTo>
                      <a:pt x="289" y="24"/>
                      <a:pt x="289" y="24"/>
                      <a:pt x="289" y="24"/>
                    </a:cubicBezTo>
                    <a:cubicBezTo>
                      <a:pt x="287" y="25"/>
                      <a:pt x="287" y="25"/>
                      <a:pt x="287" y="25"/>
                    </a:cubicBezTo>
                    <a:cubicBezTo>
                      <a:pt x="285" y="24"/>
                      <a:pt x="285" y="24"/>
                      <a:pt x="285" y="24"/>
                    </a:cubicBezTo>
                    <a:cubicBezTo>
                      <a:pt x="283" y="24"/>
                      <a:pt x="283" y="24"/>
                      <a:pt x="283" y="24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77" y="28"/>
                      <a:pt x="277" y="28"/>
                      <a:pt x="277" y="28"/>
                    </a:cubicBezTo>
                    <a:cubicBezTo>
                      <a:pt x="276" y="29"/>
                      <a:pt x="276" y="29"/>
                      <a:pt x="276" y="29"/>
                    </a:cubicBezTo>
                    <a:cubicBezTo>
                      <a:pt x="276" y="32"/>
                      <a:pt x="276" y="32"/>
                      <a:pt x="276" y="32"/>
                    </a:cubicBezTo>
                    <a:cubicBezTo>
                      <a:pt x="276" y="33"/>
                      <a:pt x="276" y="33"/>
                      <a:pt x="276" y="33"/>
                    </a:cubicBezTo>
                    <a:cubicBezTo>
                      <a:pt x="275" y="34"/>
                      <a:pt x="275" y="34"/>
                      <a:pt x="275" y="34"/>
                    </a:cubicBezTo>
                    <a:cubicBezTo>
                      <a:pt x="276" y="35"/>
                      <a:pt x="276" y="35"/>
                      <a:pt x="276" y="35"/>
                    </a:cubicBezTo>
                    <a:cubicBezTo>
                      <a:pt x="277" y="34"/>
                      <a:pt x="277" y="34"/>
                      <a:pt x="277" y="34"/>
                    </a:cubicBezTo>
                    <a:cubicBezTo>
                      <a:pt x="277" y="32"/>
                      <a:pt x="277" y="32"/>
                      <a:pt x="277" y="32"/>
                    </a:cubicBezTo>
                    <a:cubicBezTo>
                      <a:pt x="278" y="31"/>
                      <a:pt x="278" y="31"/>
                      <a:pt x="278" y="31"/>
                    </a:cubicBezTo>
                    <a:cubicBezTo>
                      <a:pt x="278" y="31"/>
                      <a:pt x="278" y="31"/>
                      <a:pt x="278" y="31"/>
                    </a:cubicBezTo>
                    <a:cubicBezTo>
                      <a:pt x="279" y="30"/>
                      <a:pt x="279" y="30"/>
                      <a:pt x="279" y="30"/>
                    </a:cubicBezTo>
                    <a:cubicBezTo>
                      <a:pt x="281" y="30"/>
                      <a:pt x="281" y="30"/>
                      <a:pt x="281" y="30"/>
                    </a:cubicBezTo>
                    <a:cubicBezTo>
                      <a:pt x="282" y="29"/>
                      <a:pt x="282" y="29"/>
                      <a:pt x="282" y="29"/>
                    </a:cubicBezTo>
                    <a:cubicBezTo>
                      <a:pt x="282" y="30"/>
                      <a:pt x="282" y="30"/>
                      <a:pt x="282" y="30"/>
                    </a:cubicBezTo>
                    <a:cubicBezTo>
                      <a:pt x="282" y="31"/>
                      <a:pt x="282" y="31"/>
                      <a:pt x="282" y="31"/>
                    </a:cubicBezTo>
                    <a:cubicBezTo>
                      <a:pt x="281" y="33"/>
                      <a:pt x="281" y="33"/>
                      <a:pt x="281" y="33"/>
                    </a:cubicBezTo>
                    <a:cubicBezTo>
                      <a:pt x="281" y="34"/>
                      <a:pt x="281" y="34"/>
                      <a:pt x="281" y="34"/>
                    </a:cubicBezTo>
                    <a:cubicBezTo>
                      <a:pt x="282" y="34"/>
                      <a:pt x="282" y="34"/>
                      <a:pt x="282" y="34"/>
                    </a:cubicBezTo>
                    <a:cubicBezTo>
                      <a:pt x="283" y="32"/>
                      <a:pt x="283" y="32"/>
                      <a:pt x="283" y="32"/>
                    </a:cubicBezTo>
                    <a:cubicBezTo>
                      <a:pt x="284" y="30"/>
                      <a:pt x="284" y="30"/>
                      <a:pt x="284" y="30"/>
                    </a:cubicBezTo>
                    <a:cubicBezTo>
                      <a:pt x="284" y="30"/>
                      <a:pt x="285" y="28"/>
                      <a:pt x="285" y="28"/>
                    </a:cubicBezTo>
                    <a:cubicBezTo>
                      <a:pt x="285" y="28"/>
                      <a:pt x="287" y="27"/>
                      <a:pt x="287" y="27"/>
                    </a:cubicBezTo>
                    <a:cubicBezTo>
                      <a:pt x="288" y="27"/>
                      <a:pt x="288" y="27"/>
                      <a:pt x="288" y="27"/>
                    </a:cubicBezTo>
                    <a:cubicBezTo>
                      <a:pt x="290" y="27"/>
                      <a:pt x="290" y="27"/>
                      <a:pt x="290" y="27"/>
                    </a:cubicBezTo>
                    <a:cubicBezTo>
                      <a:pt x="292" y="27"/>
                      <a:pt x="292" y="27"/>
                      <a:pt x="292" y="27"/>
                    </a:cubicBezTo>
                    <a:cubicBezTo>
                      <a:pt x="294" y="26"/>
                      <a:pt x="294" y="26"/>
                      <a:pt x="294" y="26"/>
                    </a:cubicBezTo>
                    <a:cubicBezTo>
                      <a:pt x="294" y="26"/>
                      <a:pt x="294" y="26"/>
                      <a:pt x="294" y="26"/>
                    </a:cubicBezTo>
                    <a:cubicBezTo>
                      <a:pt x="295" y="28"/>
                      <a:pt x="295" y="28"/>
                      <a:pt x="295" y="28"/>
                    </a:cubicBezTo>
                    <a:cubicBezTo>
                      <a:pt x="296" y="30"/>
                      <a:pt x="296" y="30"/>
                      <a:pt x="296" y="30"/>
                    </a:cubicBezTo>
                    <a:cubicBezTo>
                      <a:pt x="297" y="31"/>
                      <a:pt x="297" y="31"/>
                      <a:pt x="297" y="31"/>
                    </a:cubicBezTo>
                    <a:cubicBezTo>
                      <a:pt x="298" y="31"/>
                      <a:pt x="298" y="31"/>
                      <a:pt x="298" y="31"/>
                    </a:cubicBezTo>
                    <a:cubicBezTo>
                      <a:pt x="298" y="29"/>
                      <a:pt x="298" y="29"/>
                      <a:pt x="298" y="29"/>
                    </a:cubicBezTo>
                    <a:cubicBezTo>
                      <a:pt x="297" y="27"/>
                      <a:pt x="297" y="27"/>
                      <a:pt x="297" y="27"/>
                    </a:cubicBezTo>
                    <a:cubicBezTo>
                      <a:pt x="298" y="26"/>
                      <a:pt x="298" y="26"/>
                      <a:pt x="298" y="26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1" y="26"/>
                      <a:pt x="301" y="26"/>
                      <a:pt x="301" y="26"/>
                    </a:cubicBezTo>
                    <a:cubicBezTo>
                      <a:pt x="303" y="26"/>
                      <a:pt x="303" y="26"/>
                      <a:pt x="303" y="26"/>
                    </a:cubicBezTo>
                    <a:cubicBezTo>
                      <a:pt x="306" y="26"/>
                      <a:pt x="306" y="26"/>
                      <a:pt x="306" y="26"/>
                    </a:cubicBezTo>
                    <a:cubicBezTo>
                      <a:pt x="309" y="25"/>
                      <a:pt x="309" y="25"/>
                      <a:pt x="309" y="25"/>
                    </a:cubicBezTo>
                    <a:cubicBezTo>
                      <a:pt x="310" y="24"/>
                      <a:pt x="310" y="24"/>
                      <a:pt x="310" y="24"/>
                    </a:cubicBezTo>
                    <a:cubicBezTo>
                      <a:pt x="314" y="24"/>
                      <a:pt x="314" y="24"/>
                      <a:pt x="314" y="24"/>
                    </a:cubicBezTo>
                    <a:cubicBezTo>
                      <a:pt x="316" y="24"/>
                      <a:pt x="316" y="24"/>
                      <a:pt x="316" y="24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0" y="26"/>
                      <a:pt x="320" y="26"/>
                      <a:pt x="320" y="26"/>
                    </a:cubicBezTo>
                    <a:cubicBezTo>
                      <a:pt x="321" y="27"/>
                      <a:pt x="321" y="27"/>
                      <a:pt x="321" y="27"/>
                    </a:cubicBezTo>
                    <a:cubicBezTo>
                      <a:pt x="323" y="27"/>
                      <a:pt x="323" y="27"/>
                      <a:pt x="323" y="27"/>
                    </a:cubicBezTo>
                    <a:cubicBezTo>
                      <a:pt x="325" y="28"/>
                      <a:pt x="325" y="28"/>
                      <a:pt x="325" y="28"/>
                    </a:cubicBezTo>
                    <a:cubicBezTo>
                      <a:pt x="326" y="29"/>
                      <a:pt x="326" y="29"/>
                      <a:pt x="326" y="29"/>
                    </a:cubicBezTo>
                    <a:cubicBezTo>
                      <a:pt x="327" y="28"/>
                      <a:pt x="327" y="28"/>
                      <a:pt x="327" y="28"/>
                    </a:cubicBezTo>
                    <a:cubicBezTo>
                      <a:pt x="328" y="28"/>
                      <a:pt x="328" y="28"/>
                      <a:pt x="328" y="28"/>
                    </a:cubicBezTo>
                    <a:cubicBezTo>
                      <a:pt x="329" y="28"/>
                      <a:pt x="329" y="28"/>
                      <a:pt x="329" y="28"/>
                    </a:cubicBezTo>
                    <a:cubicBezTo>
                      <a:pt x="330" y="29"/>
                      <a:pt x="330" y="29"/>
                      <a:pt x="330" y="29"/>
                    </a:cubicBezTo>
                    <a:cubicBezTo>
                      <a:pt x="331" y="29"/>
                      <a:pt x="331" y="29"/>
                      <a:pt x="331" y="29"/>
                    </a:cubicBezTo>
                    <a:cubicBezTo>
                      <a:pt x="332" y="28"/>
                      <a:pt x="332" y="28"/>
                      <a:pt x="332" y="28"/>
                    </a:cubicBezTo>
                    <a:cubicBezTo>
                      <a:pt x="334" y="28"/>
                      <a:pt x="334" y="28"/>
                      <a:pt x="334" y="28"/>
                    </a:cubicBezTo>
                    <a:cubicBezTo>
                      <a:pt x="335" y="28"/>
                      <a:pt x="335" y="28"/>
                      <a:pt x="335" y="28"/>
                    </a:cubicBezTo>
                    <a:cubicBezTo>
                      <a:pt x="338" y="26"/>
                      <a:pt x="338" y="26"/>
                      <a:pt x="338" y="26"/>
                    </a:cubicBezTo>
                    <a:cubicBezTo>
                      <a:pt x="339" y="25"/>
                      <a:pt x="339" y="25"/>
                      <a:pt x="339" y="25"/>
                    </a:cubicBezTo>
                    <a:cubicBezTo>
                      <a:pt x="340" y="25"/>
                      <a:pt x="340" y="25"/>
                      <a:pt x="340" y="25"/>
                    </a:cubicBezTo>
                    <a:cubicBezTo>
                      <a:pt x="341" y="25"/>
                      <a:pt x="341" y="25"/>
                      <a:pt x="341" y="25"/>
                    </a:cubicBezTo>
                    <a:cubicBezTo>
                      <a:pt x="342" y="27"/>
                      <a:pt x="342" y="27"/>
                      <a:pt x="342" y="27"/>
                    </a:cubicBezTo>
                    <a:cubicBezTo>
                      <a:pt x="344" y="28"/>
                      <a:pt x="344" y="28"/>
                      <a:pt x="344" y="28"/>
                    </a:cubicBezTo>
                    <a:cubicBezTo>
                      <a:pt x="344" y="28"/>
                      <a:pt x="344" y="28"/>
                      <a:pt x="344" y="28"/>
                    </a:cubicBezTo>
                    <a:cubicBezTo>
                      <a:pt x="343" y="30"/>
                      <a:pt x="343" y="30"/>
                      <a:pt x="343" y="30"/>
                    </a:cubicBezTo>
                    <a:cubicBezTo>
                      <a:pt x="343" y="30"/>
                      <a:pt x="343" y="30"/>
                      <a:pt x="343" y="30"/>
                    </a:cubicBezTo>
                    <a:cubicBezTo>
                      <a:pt x="344" y="31"/>
                      <a:pt x="344" y="31"/>
                      <a:pt x="344" y="31"/>
                    </a:cubicBezTo>
                    <a:cubicBezTo>
                      <a:pt x="344" y="32"/>
                      <a:pt x="344" y="32"/>
                      <a:pt x="344" y="32"/>
                    </a:cubicBezTo>
                    <a:cubicBezTo>
                      <a:pt x="344" y="33"/>
                      <a:pt x="344" y="33"/>
                      <a:pt x="344" y="33"/>
                    </a:cubicBezTo>
                    <a:cubicBezTo>
                      <a:pt x="342" y="35"/>
                      <a:pt x="342" y="35"/>
                      <a:pt x="342" y="35"/>
                    </a:cubicBezTo>
                    <a:cubicBezTo>
                      <a:pt x="339" y="36"/>
                      <a:pt x="339" y="36"/>
                      <a:pt x="339" y="36"/>
                    </a:cubicBezTo>
                    <a:cubicBezTo>
                      <a:pt x="337" y="36"/>
                      <a:pt x="337" y="36"/>
                      <a:pt x="337" y="36"/>
                    </a:cubicBezTo>
                    <a:cubicBezTo>
                      <a:pt x="336" y="35"/>
                      <a:pt x="336" y="35"/>
                      <a:pt x="336" y="35"/>
                    </a:cubicBezTo>
                    <a:cubicBezTo>
                      <a:pt x="335" y="34"/>
                      <a:pt x="335" y="34"/>
                      <a:pt x="335" y="34"/>
                    </a:cubicBezTo>
                    <a:cubicBezTo>
                      <a:pt x="334" y="34"/>
                      <a:pt x="334" y="34"/>
                      <a:pt x="334" y="34"/>
                    </a:cubicBezTo>
                    <a:cubicBezTo>
                      <a:pt x="334" y="36"/>
                      <a:pt x="334" y="36"/>
                      <a:pt x="334" y="36"/>
                    </a:cubicBezTo>
                    <a:cubicBezTo>
                      <a:pt x="336" y="37"/>
                      <a:pt x="336" y="37"/>
                      <a:pt x="336" y="37"/>
                    </a:cubicBezTo>
                    <a:cubicBezTo>
                      <a:pt x="336" y="38"/>
                      <a:pt x="336" y="38"/>
                      <a:pt x="336" y="38"/>
                    </a:cubicBezTo>
                    <a:cubicBezTo>
                      <a:pt x="336" y="38"/>
                      <a:pt x="336" y="38"/>
                      <a:pt x="336" y="38"/>
                    </a:cubicBezTo>
                    <a:cubicBezTo>
                      <a:pt x="334" y="38"/>
                      <a:pt x="334" y="38"/>
                      <a:pt x="334" y="38"/>
                    </a:cubicBezTo>
                    <a:cubicBezTo>
                      <a:pt x="333" y="37"/>
                      <a:pt x="333" y="37"/>
                      <a:pt x="333" y="37"/>
                    </a:cubicBezTo>
                    <a:cubicBezTo>
                      <a:pt x="332" y="37"/>
                      <a:pt x="332" y="37"/>
                      <a:pt x="332" y="37"/>
                    </a:cubicBezTo>
                    <a:cubicBezTo>
                      <a:pt x="332" y="38"/>
                      <a:pt x="332" y="38"/>
                      <a:pt x="332" y="38"/>
                    </a:cubicBezTo>
                    <a:cubicBezTo>
                      <a:pt x="333" y="39"/>
                      <a:pt x="333" y="39"/>
                      <a:pt x="333" y="39"/>
                    </a:cubicBezTo>
                    <a:cubicBezTo>
                      <a:pt x="334" y="39"/>
                      <a:pt x="334" y="39"/>
                      <a:pt x="334" y="39"/>
                    </a:cubicBezTo>
                    <a:cubicBezTo>
                      <a:pt x="336" y="40"/>
                      <a:pt x="336" y="40"/>
                      <a:pt x="336" y="40"/>
                    </a:cubicBezTo>
                    <a:cubicBezTo>
                      <a:pt x="338" y="41"/>
                      <a:pt x="338" y="41"/>
                      <a:pt x="338" y="41"/>
                    </a:cubicBezTo>
                    <a:cubicBezTo>
                      <a:pt x="339" y="40"/>
                      <a:pt x="339" y="40"/>
                      <a:pt x="339" y="40"/>
                    </a:cubicBezTo>
                    <a:cubicBezTo>
                      <a:pt x="342" y="39"/>
                      <a:pt x="342" y="39"/>
                      <a:pt x="342" y="39"/>
                    </a:cubicBezTo>
                    <a:cubicBezTo>
                      <a:pt x="343" y="39"/>
                      <a:pt x="343" y="39"/>
                      <a:pt x="343" y="39"/>
                    </a:cubicBezTo>
                    <a:cubicBezTo>
                      <a:pt x="344" y="40"/>
                      <a:pt x="344" y="40"/>
                      <a:pt x="344" y="40"/>
                    </a:cubicBezTo>
                    <a:cubicBezTo>
                      <a:pt x="344" y="39"/>
                      <a:pt x="344" y="39"/>
                      <a:pt x="344" y="39"/>
                    </a:cubicBezTo>
                    <a:cubicBezTo>
                      <a:pt x="344" y="38"/>
                      <a:pt x="344" y="38"/>
                      <a:pt x="344" y="38"/>
                    </a:cubicBezTo>
                    <a:cubicBezTo>
                      <a:pt x="346" y="37"/>
                      <a:pt x="346" y="37"/>
                      <a:pt x="346" y="37"/>
                    </a:cubicBezTo>
                    <a:cubicBezTo>
                      <a:pt x="350" y="37"/>
                      <a:pt x="350" y="37"/>
                      <a:pt x="350" y="37"/>
                    </a:cubicBezTo>
                    <a:cubicBezTo>
                      <a:pt x="351" y="38"/>
                      <a:pt x="351" y="38"/>
                      <a:pt x="351" y="38"/>
                    </a:cubicBezTo>
                    <a:cubicBezTo>
                      <a:pt x="351" y="39"/>
                      <a:pt x="351" y="39"/>
                      <a:pt x="351" y="39"/>
                    </a:cubicBezTo>
                    <a:cubicBezTo>
                      <a:pt x="352" y="40"/>
                      <a:pt x="352" y="40"/>
                      <a:pt x="352" y="40"/>
                    </a:cubicBezTo>
                    <a:cubicBezTo>
                      <a:pt x="353" y="40"/>
                      <a:pt x="353" y="40"/>
                      <a:pt x="353" y="40"/>
                    </a:cubicBezTo>
                    <a:cubicBezTo>
                      <a:pt x="353" y="39"/>
                      <a:pt x="353" y="39"/>
                      <a:pt x="353" y="39"/>
                    </a:cubicBezTo>
                    <a:cubicBezTo>
                      <a:pt x="354" y="39"/>
                      <a:pt x="354" y="39"/>
                      <a:pt x="354" y="39"/>
                    </a:cubicBezTo>
                    <a:cubicBezTo>
                      <a:pt x="355" y="41"/>
                      <a:pt x="355" y="41"/>
                      <a:pt x="355" y="41"/>
                    </a:cubicBezTo>
                    <a:cubicBezTo>
                      <a:pt x="356" y="42"/>
                      <a:pt x="356" y="42"/>
                      <a:pt x="356" y="42"/>
                    </a:cubicBezTo>
                    <a:cubicBezTo>
                      <a:pt x="359" y="42"/>
                      <a:pt x="359" y="42"/>
                      <a:pt x="359" y="42"/>
                    </a:cubicBezTo>
                    <a:cubicBezTo>
                      <a:pt x="360" y="43"/>
                      <a:pt x="360" y="43"/>
                      <a:pt x="360" y="43"/>
                    </a:cubicBezTo>
                    <a:cubicBezTo>
                      <a:pt x="360" y="44"/>
                      <a:pt x="360" y="44"/>
                      <a:pt x="360" y="44"/>
                    </a:cubicBezTo>
                    <a:cubicBezTo>
                      <a:pt x="362" y="46"/>
                      <a:pt x="362" y="46"/>
                      <a:pt x="362" y="46"/>
                    </a:cubicBezTo>
                    <a:cubicBezTo>
                      <a:pt x="364" y="47"/>
                      <a:pt x="364" y="47"/>
                      <a:pt x="364" y="47"/>
                    </a:cubicBezTo>
                    <a:cubicBezTo>
                      <a:pt x="366" y="48"/>
                      <a:pt x="366" y="48"/>
                      <a:pt x="366" y="48"/>
                    </a:cubicBezTo>
                    <a:cubicBezTo>
                      <a:pt x="366" y="49"/>
                      <a:pt x="366" y="49"/>
                      <a:pt x="366" y="49"/>
                    </a:cubicBezTo>
                    <a:cubicBezTo>
                      <a:pt x="366" y="51"/>
                      <a:pt x="366" y="51"/>
                      <a:pt x="366" y="51"/>
                    </a:cubicBezTo>
                    <a:cubicBezTo>
                      <a:pt x="365" y="52"/>
                      <a:pt x="365" y="52"/>
                      <a:pt x="365" y="52"/>
                    </a:cubicBezTo>
                    <a:cubicBezTo>
                      <a:pt x="365" y="53"/>
                      <a:pt x="365" y="53"/>
                      <a:pt x="365" y="53"/>
                    </a:cubicBezTo>
                    <a:cubicBezTo>
                      <a:pt x="365" y="54"/>
                      <a:pt x="365" y="54"/>
                      <a:pt x="365" y="54"/>
                    </a:cubicBezTo>
                    <a:cubicBezTo>
                      <a:pt x="364" y="55"/>
                      <a:pt x="364" y="55"/>
                      <a:pt x="364" y="55"/>
                    </a:cubicBezTo>
                    <a:cubicBezTo>
                      <a:pt x="362" y="56"/>
                      <a:pt x="362" y="56"/>
                      <a:pt x="362" y="56"/>
                    </a:cubicBezTo>
                    <a:cubicBezTo>
                      <a:pt x="361" y="56"/>
                      <a:pt x="361" y="56"/>
                      <a:pt x="361" y="56"/>
                    </a:cubicBezTo>
                    <a:cubicBezTo>
                      <a:pt x="360" y="56"/>
                      <a:pt x="360" y="56"/>
                      <a:pt x="360" y="56"/>
                    </a:cubicBezTo>
                    <a:cubicBezTo>
                      <a:pt x="359" y="56"/>
                      <a:pt x="359" y="56"/>
                      <a:pt x="359" y="56"/>
                    </a:cubicBezTo>
                    <a:cubicBezTo>
                      <a:pt x="359" y="57"/>
                      <a:pt x="359" y="57"/>
                      <a:pt x="359" y="57"/>
                    </a:cubicBezTo>
                    <a:cubicBezTo>
                      <a:pt x="359" y="58"/>
                      <a:pt x="359" y="58"/>
                      <a:pt x="359" y="58"/>
                    </a:cubicBezTo>
                    <a:cubicBezTo>
                      <a:pt x="357" y="59"/>
                      <a:pt x="357" y="59"/>
                      <a:pt x="357" y="59"/>
                    </a:cubicBezTo>
                    <a:cubicBezTo>
                      <a:pt x="354" y="61"/>
                      <a:pt x="354" y="61"/>
                      <a:pt x="354" y="61"/>
                    </a:cubicBezTo>
                    <a:cubicBezTo>
                      <a:pt x="351" y="61"/>
                      <a:pt x="351" y="61"/>
                      <a:pt x="351" y="61"/>
                    </a:cubicBezTo>
                    <a:cubicBezTo>
                      <a:pt x="351" y="61"/>
                      <a:pt x="351" y="61"/>
                      <a:pt x="351" y="61"/>
                    </a:cubicBezTo>
                    <a:cubicBezTo>
                      <a:pt x="349" y="61"/>
                      <a:pt x="349" y="61"/>
                      <a:pt x="349" y="61"/>
                    </a:cubicBezTo>
                    <a:cubicBezTo>
                      <a:pt x="348" y="60"/>
                      <a:pt x="348" y="60"/>
                      <a:pt x="348" y="60"/>
                    </a:cubicBezTo>
                    <a:cubicBezTo>
                      <a:pt x="347" y="59"/>
                      <a:pt x="347" y="59"/>
                      <a:pt x="347" y="59"/>
                    </a:cubicBezTo>
                    <a:cubicBezTo>
                      <a:pt x="347" y="60"/>
                      <a:pt x="347" y="60"/>
                      <a:pt x="347" y="60"/>
                    </a:cubicBezTo>
                    <a:cubicBezTo>
                      <a:pt x="347" y="61"/>
                      <a:pt x="347" y="61"/>
                      <a:pt x="347" y="61"/>
                    </a:cubicBezTo>
                    <a:cubicBezTo>
                      <a:pt x="348" y="61"/>
                      <a:pt x="348" y="61"/>
                      <a:pt x="348" y="61"/>
                    </a:cubicBezTo>
                    <a:cubicBezTo>
                      <a:pt x="348" y="62"/>
                      <a:pt x="348" y="62"/>
                      <a:pt x="348" y="62"/>
                    </a:cubicBezTo>
                    <a:cubicBezTo>
                      <a:pt x="346" y="62"/>
                      <a:pt x="346" y="62"/>
                      <a:pt x="346" y="62"/>
                    </a:cubicBezTo>
                    <a:cubicBezTo>
                      <a:pt x="344" y="61"/>
                      <a:pt x="344" y="61"/>
                      <a:pt x="344" y="61"/>
                    </a:cubicBezTo>
                    <a:cubicBezTo>
                      <a:pt x="343" y="62"/>
                      <a:pt x="343" y="62"/>
                      <a:pt x="343" y="62"/>
                    </a:cubicBezTo>
                    <a:cubicBezTo>
                      <a:pt x="342" y="62"/>
                      <a:pt x="342" y="62"/>
                      <a:pt x="342" y="62"/>
                    </a:cubicBezTo>
                    <a:cubicBezTo>
                      <a:pt x="341" y="61"/>
                      <a:pt x="341" y="61"/>
                      <a:pt x="341" y="61"/>
                    </a:cubicBezTo>
                    <a:cubicBezTo>
                      <a:pt x="339" y="61"/>
                      <a:pt x="339" y="61"/>
                      <a:pt x="339" y="61"/>
                    </a:cubicBezTo>
                    <a:cubicBezTo>
                      <a:pt x="338" y="62"/>
                      <a:pt x="338" y="62"/>
                      <a:pt x="338" y="62"/>
                    </a:cubicBezTo>
                    <a:cubicBezTo>
                      <a:pt x="335" y="64"/>
                      <a:pt x="335" y="64"/>
                      <a:pt x="335" y="64"/>
                    </a:cubicBezTo>
                    <a:cubicBezTo>
                      <a:pt x="334" y="63"/>
                      <a:pt x="334" y="63"/>
                      <a:pt x="334" y="63"/>
                    </a:cubicBezTo>
                    <a:cubicBezTo>
                      <a:pt x="333" y="63"/>
                      <a:pt x="333" y="63"/>
                      <a:pt x="333" y="63"/>
                    </a:cubicBezTo>
                    <a:cubicBezTo>
                      <a:pt x="331" y="63"/>
                      <a:pt x="331" y="63"/>
                      <a:pt x="331" y="63"/>
                    </a:cubicBezTo>
                    <a:cubicBezTo>
                      <a:pt x="330" y="62"/>
                      <a:pt x="330" y="62"/>
                      <a:pt x="330" y="62"/>
                    </a:cubicBezTo>
                    <a:cubicBezTo>
                      <a:pt x="328" y="62"/>
                      <a:pt x="328" y="62"/>
                      <a:pt x="328" y="62"/>
                    </a:cubicBezTo>
                    <a:cubicBezTo>
                      <a:pt x="328" y="63"/>
                      <a:pt x="328" y="63"/>
                      <a:pt x="328" y="63"/>
                    </a:cubicBezTo>
                    <a:cubicBezTo>
                      <a:pt x="326" y="63"/>
                      <a:pt x="326" y="63"/>
                      <a:pt x="326" y="63"/>
                    </a:cubicBezTo>
                    <a:cubicBezTo>
                      <a:pt x="324" y="63"/>
                      <a:pt x="324" y="63"/>
                      <a:pt x="324" y="63"/>
                    </a:cubicBezTo>
                    <a:cubicBezTo>
                      <a:pt x="322" y="61"/>
                      <a:pt x="322" y="61"/>
                      <a:pt x="322" y="61"/>
                    </a:cubicBezTo>
                    <a:cubicBezTo>
                      <a:pt x="321" y="61"/>
                      <a:pt x="321" y="61"/>
                      <a:pt x="321" y="61"/>
                    </a:cubicBezTo>
                    <a:cubicBezTo>
                      <a:pt x="321" y="61"/>
                      <a:pt x="321" y="61"/>
                      <a:pt x="321" y="61"/>
                    </a:cubicBezTo>
                    <a:cubicBezTo>
                      <a:pt x="318" y="61"/>
                      <a:pt x="318" y="61"/>
                      <a:pt x="318" y="61"/>
                    </a:cubicBezTo>
                    <a:cubicBezTo>
                      <a:pt x="317" y="60"/>
                      <a:pt x="317" y="60"/>
                      <a:pt x="317" y="60"/>
                    </a:cubicBezTo>
                    <a:cubicBezTo>
                      <a:pt x="315" y="60"/>
                      <a:pt x="315" y="60"/>
                      <a:pt x="315" y="60"/>
                    </a:cubicBezTo>
                    <a:cubicBezTo>
                      <a:pt x="314" y="60"/>
                      <a:pt x="314" y="60"/>
                      <a:pt x="314" y="60"/>
                    </a:cubicBezTo>
                    <a:cubicBezTo>
                      <a:pt x="312" y="60"/>
                      <a:pt x="312" y="60"/>
                      <a:pt x="312" y="60"/>
                    </a:cubicBezTo>
                    <a:cubicBezTo>
                      <a:pt x="310" y="59"/>
                      <a:pt x="310" y="59"/>
                      <a:pt x="310" y="59"/>
                    </a:cubicBezTo>
                    <a:cubicBezTo>
                      <a:pt x="309" y="60"/>
                      <a:pt x="309" y="60"/>
                      <a:pt x="309" y="60"/>
                    </a:cubicBezTo>
                    <a:cubicBezTo>
                      <a:pt x="308" y="61"/>
                      <a:pt x="308" y="61"/>
                      <a:pt x="308" y="61"/>
                    </a:cubicBezTo>
                    <a:cubicBezTo>
                      <a:pt x="306" y="61"/>
                      <a:pt x="306" y="61"/>
                      <a:pt x="306" y="61"/>
                    </a:cubicBezTo>
                    <a:cubicBezTo>
                      <a:pt x="304" y="61"/>
                      <a:pt x="304" y="61"/>
                      <a:pt x="304" y="61"/>
                    </a:cubicBezTo>
                    <a:cubicBezTo>
                      <a:pt x="303" y="62"/>
                      <a:pt x="303" y="62"/>
                      <a:pt x="303" y="62"/>
                    </a:cubicBezTo>
                    <a:cubicBezTo>
                      <a:pt x="302" y="62"/>
                      <a:pt x="302" y="62"/>
                      <a:pt x="302" y="62"/>
                    </a:cubicBezTo>
                    <a:cubicBezTo>
                      <a:pt x="302" y="62"/>
                      <a:pt x="302" y="62"/>
                      <a:pt x="302" y="62"/>
                    </a:cubicBezTo>
                    <a:cubicBezTo>
                      <a:pt x="301" y="61"/>
                      <a:pt x="301" y="61"/>
                      <a:pt x="301" y="61"/>
                    </a:cubicBezTo>
                    <a:cubicBezTo>
                      <a:pt x="300" y="60"/>
                      <a:pt x="300" y="60"/>
                      <a:pt x="300" y="60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298" y="60"/>
                      <a:pt x="298" y="60"/>
                      <a:pt x="298" y="60"/>
                    </a:cubicBezTo>
                    <a:cubicBezTo>
                      <a:pt x="297" y="60"/>
                      <a:pt x="297" y="60"/>
                      <a:pt x="297" y="60"/>
                    </a:cubicBezTo>
                    <a:cubicBezTo>
                      <a:pt x="297" y="61"/>
                      <a:pt x="297" y="61"/>
                      <a:pt x="297" y="61"/>
                    </a:cubicBezTo>
                    <a:cubicBezTo>
                      <a:pt x="297" y="61"/>
                      <a:pt x="297" y="61"/>
                      <a:pt x="297" y="61"/>
                    </a:cubicBezTo>
                    <a:cubicBezTo>
                      <a:pt x="299" y="61"/>
                      <a:pt x="299" y="61"/>
                      <a:pt x="299" y="61"/>
                    </a:cubicBezTo>
                    <a:cubicBezTo>
                      <a:pt x="300" y="62"/>
                      <a:pt x="300" y="62"/>
                      <a:pt x="300" y="62"/>
                    </a:cubicBezTo>
                    <a:cubicBezTo>
                      <a:pt x="301" y="62"/>
                      <a:pt x="301" y="62"/>
                      <a:pt x="301" y="62"/>
                    </a:cubicBezTo>
                    <a:cubicBezTo>
                      <a:pt x="300" y="64"/>
                      <a:pt x="300" y="64"/>
                      <a:pt x="300" y="64"/>
                    </a:cubicBezTo>
                    <a:cubicBezTo>
                      <a:pt x="299" y="64"/>
                      <a:pt x="299" y="64"/>
                      <a:pt x="299" y="64"/>
                    </a:cubicBezTo>
                    <a:cubicBezTo>
                      <a:pt x="298" y="64"/>
                      <a:pt x="298" y="64"/>
                      <a:pt x="298" y="64"/>
                    </a:cubicBezTo>
                    <a:cubicBezTo>
                      <a:pt x="297" y="64"/>
                      <a:pt x="297" y="64"/>
                      <a:pt x="297" y="64"/>
                    </a:cubicBezTo>
                    <a:cubicBezTo>
                      <a:pt x="295" y="65"/>
                      <a:pt x="295" y="65"/>
                      <a:pt x="295" y="65"/>
                    </a:cubicBezTo>
                    <a:cubicBezTo>
                      <a:pt x="293" y="66"/>
                      <a:pt x="293" y="66"/>
                      <a:pt x="293" y="66"/>
                    </a:cubicBezTo>
                    <a:cubicBezTo>
                      <a:pt x="291" y="66"/>
                      <a:pt x="291" y="66"/>
                      <a:pt x="291" y="66"/>
                    </a:cubicBezTo>
                    <a:cubicBezTo>
                      <a:pt x="289" y="67"/>
                      <a:pt x="289" y="67"/>
                      <a:pt x="289" y="67"/>
                    </a:cubicBezTo>
                    <a:cubicBezTo>
                      <a:pt x="289" y="68"/>
                      <a:pt x="289" y="68"/>
                      <a:pt x="289" y="68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9"/>
                      <a:pt x="284" y="69"/>
                      <a:pt x="284" y="69"/>
                    </a:cubicBezTo>
                    <a:cubicBezTo>
                      <a:pt x="282" y="70"/>
                      <a:pt x="282" y="70"/>
                      <a:pt x="282" y="70"/>
                    </a:cubicBezTo>
                    <a:cubicBezTo>
                      <a:pt x="281" y="71"/>
                      <a:pt x="281" y="71"/>
                      <a:pt x="281" y="71"/>
                    </a:cubicBezTo>
                    <a:cubicBezTo>
                      <a:pt x="281" y="72"/>
                      <a:pt x="281" y="72"/>
                      <a:pt x="281" y="72"/>
                    </a:cubicBezTo>
                    <a:cubicBezTo>
                      <a:pt x="282" y="73"/>
                      <a:pt x="282" y="73"/>
                      <a:pt x="282" y="73"/>
                    </a:cubicBezTo>
                    <a:cubicBezTo>
                      <a:pt x="282" y="74"/>
                      <a:pt x="282" y="74"/>
                      <a:pt x="282" y="74"/>
                    </a:cubicBezTo>
                    <a:cubicBezTo>
                      <a:pt x="282" y="76"/>
                      <a:pt x="282" y="76"/>
                      <a:pt x="282" y="76"/>
                    </a:cubicBezTo>
                    <a:cubicBezTo>
                      <a:pt x="283" y="77"/>
                      <a:pt x="283" y="77"/>
                      <a:pt x="283" y="77"/>
                    </a:cubicBezTo>
                    <a:cubicBezTo>
                      <a:pt x="284" y="77"/>
                      <a:pt x="284" y="77"/>
                      <a:pt x="284" y="77"/>
                    </a:cubicBezTo>
                    <a:cubicBezTo>
                      <a:pt x="285" y="76"/>
                      <a:pt x="285" y="76"/>
                      <a:pt x="285" y="76"/>
                    </a:cubicBezTo>
                    <a:cubicBezTo>
                      <a:pt x="285" y="75"/>
                      <a:pt x="285" y="75"/>
                      <a:pt x="285" y="75"/>
                    </a:cubicBezTo>
                    <a:cubicBezTo>
                      <a:pt x="286" y="74"/>
                      <a:pt x="286" y="74"/>
                      <a:pt x="286" y="74"/>
                    </a:cubicBezTo>
                    <a:cubicBezTo>
                      <a:pt x="288" y="73"/>
                      <a:pt x="288" y="73"/>
                      <a:pt x="288" y="73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1" y="72"/>
                      <a:pt x="291" y="72"/>
                      <a:pt x="291" y="72"/>
                    </a:cubicBezTo>
                    <a:cubicBezTo>
                      <a:pt x="293" y="72"/>
                      <a:pt x="293" y="72"/>
                      <a:pt x="293" y="72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5" y="70"/>
                      <a:pt x="295" y="70"/>
                      <a:pt x="295" y="70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2" y="68"/>
                      <a:pt x="302" y="68"/>
                      <a:pt x="302" y="68"/>
                    </a:cubicBezTo>
                    <a:cubicBezTo>
                      <a:pt x="302" y="69"/>
                      <a:pt x="302" y="69"/>
                      <a:pt x="302" y="69"/>
                    </a:cubicBezTo>
                    <a:cubicBezTo>
                      <a:pt x="302" y="70"/>
                      <a:pt x="302" y="70"/>
                      <a:pt x="302" y="70"/>
                    </a:cubicBezTo>
                    <a:cubicBezTo>
                      <a:pt x="303" y="70"/>
                      <a:pt x="303" y="70"/>
                      <a:pt x="303" y="70"/>
                    </a:cubicBezTo>
                    <a:cubicBezTo>
                      <a:pt x="304" y="69"/>
                      <a:pt x="304" y="69"/>
                      <a:pt x="304" y="69"/>
                    </a:cubicBezTo>
                    <a:cubicBezTo>
                      <a:pt x="304" y="67"/>
                      <a:pt x="304" y="67"/>
                      <a:pt x="304" y="67"/>
                    </a:cubicBezTo>
                    <a:cubicBezTo>
                      <a:pt x="305" y="66"/>
                      <a:pt x="305" y="66"/>
                      <a:pt x="305" y="66"/>
                    </a:cubicBezTo>
                    <a:cubicBezTo>
                      <a:pt x="306" y="65"/>
                      <a:pt x="306" y="65"/>
                      <a:pt x="306" y="65"/>
                    </a:cubicBezTo>
                    <a:cubicBezTo>
                      <a:pt x="308" y="66"/>
                      <a:pt x="308" y="66"/>
                      <a:pt x="308" y="66"/>
                    </a:cubicBezTo>
                    <a:cubicBezTo>
                      <a:pt x="309" y="66"/>
                      <a:pt x="309" y="66"/>
                      <a:pt x="309" y="66"/>
                    </a:cubicBezTo>
                    <a:cubicBezTo>
                      <a:pt x="311" y="66"/>
                      <a:pt x="311" y="66"/>
                      <a:pt x="311" y="66"/>
                    </a:cubicBezTo>
                    <a:cubicBezTo>
                      <a:pt x="314" y="66"/>
                      <a:pt x="314" y="66"/>
                      <a:pt x="314" y="66"/>
                    </a:cubicBezTo>
                    <a:cubicBezTo>
                      <a:pt x="315" y="67"/>
                      <a:pt x="315" y="67"/>
                      <a:pt x="315" y="67"/>
                    </a:cubicBezTo>
                    <a:cubicBezTo>
                      <a:pt x="318" y="67"/>
                      <a:pt x="318" y="67"/>
                      <a:pt x="318" y="67"/>
                    </a:cubicBezTo>
                    <a:cubicBezTo>
                      <a:pt x="322" y="66"/>
                      <a:pt x="322" y="66"/>
                      <a:pt x="322" y="66"/>
                    </a:cubicBezTo>
                    <a:cubicBezTo>
                      <a:pt x="323" y="67"/>
                      <a:pt x="323" y="67"/>
                      <a:pt x="323" y="67"/>
                    </a:cubicBezTo>
                    <a:cubicBezTo>
                      <a:pt x="325" y="68"/>
                      <a:pt x="325" y="68"/>
                      <a:pt x="325" y="68"/>
                    </a:cubicBezTo>
                    <a:cubicBezTo>
                      <a:pt x="328" y="68"/>
                      <a:pt x="328" y="68"/>
                      <a:pt x="328" y="68"/>
                    </a:cubicBezTo>
                    <a:cubicBezTo>
                      <a:pt x="332" y="69"/>
                      <a:pt x="332" y="69"/>
                      <a:pt x="332" y="69"/>
                    </a:cubicBezTo>
                    <a:cubicBezTo>
                      <a:pt x="333" y="69"/>
                      <a:pt x="333" y="69"/>
                      <a:pt x="333" y="69"/>
                    </a:cubicBezTo>
                    <a:cubicBezTo>
                      <a:pt x="334" y="70"/>
                      <a:pt x="334" y="70"/>
                      <a:pt x="334" y="70"/>
                    </a:cubicBezTo>
                    <a:cubicBezTo>
                      <a:pt x="334" y="70"/>
                      <a:pt x="334" y="70"/>
                      <a:pt x="334" y="70"/>
                    </a:cubicBezTo>
                    <a:cubicBezTo>
                      <a:pt x="334" y="71"/>
                      <a:pt x="334" y="71"/>
                      <a:pt x="334" y="71"/>
                    </a:cubicBezTo>
                    <a:cubicBezTo>
                      <a:pt x="333" y="72"/>
                      <a:pt x="333" y="72"/>
                      <a:pt x="333" y="72"/>
                    </a:cubicBezTo>
                    <a:cubicBezTo>
                      <a:pt x="332" y="74"/>
                      <a:pt x="332" y="74"/>
                      <a:pt x="332" y="74"/>
                    </a:cubicBezTo>
                    <a:cubicBezTo>
                      <a:pt x="331" y="76"/>
                      <a:pt x="331" y="76"/>
                      <a:pt x="331" y="76"/>
                    </a:cubicBezTo>
                    <a:cubicBezTo>
                      <a:pt x="330" y="76"/>
                      <a:pt x="330" y="76"/>
                      <a:pt x="330" y="76"/>
                    </a:cubicBezTo>
                    <a:cubicBezTo>
                      <a:pt x="326" y="77"/>
                      <a:pt x="326" y="77"/>
                      <a:pt x="326" y="77"/>
                    </a:cubicBezTo>
                    <a:cubicBezTo>
                      <a:pt x="324" y="78"/>
                      <a:pt x="324" y="78"/>
                      <a:pt x="324" y="78"/>
                    </a:cubicBezTo>
                    <a:cubicBezTo>
                      <a:pt x="323" y="78"/>
                      <a:pt x="323" y="78"/>
                      <a:pt x="323" y="78"/>
                    </a:cubicBezTo>
                    <a:cubicBezTo>
                      <a:pt x="322" y="77"/>
                      <a:pt x="322" y="77"/>
                      <a:pt x="322" y="77"/>
                    </a:cubicBezTo>
                    <a:cubicBezTo>
                      <a:pt x="321" y="77"/>
                      <a:pt x="321" y="77"/>
                      <a:pt x="321" y="77"/>
                    </a:cubicBezTo>
                    <a:cubicBezTo>
                      <a:pt x="321" y="79"/>
                      <a:pt x="321" y="79"/>
                      <a:pt x="321" y="79"/>
                    </a:cubicBezTo>
                    <a:cubicBezTo>
                      <a:pt x="321" y="80"/>
                      <a:pt x="321" y="80"/>
                      <a:pt x="321" y="80"/>
                    </a:cubicBezTo>
                    <a:cubicBezTo>
                      <a:pt x="321" y="82"/>
                      <a:pt x="321" y="82"/>
                      <a:pt x="321" y="82"/>
                    </a:cubicBezTo>
                    <a:cubicBezTo>
                      <a:pt x="321" y="83"/>
                      <a:pt x="321" y="83"/>
                      <a:pt x="321" y="83"/>
                    </a:cubicBezTo>
                    <a:cubicBezTo>
                      <a:pt x="321" y="83"/>
                      <a:pt x="321" y="83"/>
                      <a:pt x="321" y="83"/>
                    </a:cubicBezTo>
                    <a:cubicBezTo>
                      <a:pt x="324" y="82"/>
                      <a:pt x="324" y="82"/>
                      <a:pt x="324" y="82"/>
                    </a:cubicBezTo>
                    <a:cubicBezTo>
                      <a:pt x="326" y="82"/>
                      <a:pt x="326" y="82"/>
                      <a:pt x="326" y="82"/>
                    </a:cubicBezTo>
                    <a:cubicBezTo>
                      <a:pt x="328" y="81"/>
                      <a:pt x="328" y="81"/>
                      <a:pt x="328" y="81"/>
                    </a:cubicBezTo>
                    <a:cubicBezTo>
                      <a:pt x="328" y="81"/>
                      <a:pt x="331" y="81"/>
                      <a:pt x="331" y="81"/>
                    </a:cubicBezTo>
                    <a:cubicBezTo>
                      <a:pt x="332" y="81"/>
                      <a:pt x="335" y="82"/>
                      <a:pt x="335" y="82"/>
                    </a:cubicBezTo>
                    <a:cubicBezTo>
                      <a:pt x="336" y="82"/>
                      <a:pt x="336" y="82"/>
                      <a:pt x="336" y="82"/>
                    </a:cubicBezTo>
                    <a:cubicBezTo>
                      <a:pt x="337" y="83"/>
                      <a:pt x="337" y="83"/>
                      <a:pt x="337" y="83"/>
                    </a:cubicBezTo>
                    <a:cubicBezTo>
                      <a:pt x="338" y="82"/>
                      <a:pt x="338" y="82"/>
                      <a:pt x="338" y="82"/>
                    </a:cubicBezTo>
                    <a:cubicBezTo>
                      <a:pt x="339" y="81"/>
                      <a:pt x="339" y="81"/>
                      <a:pt x="339" y="81"/>
                    </a:cubicBezTo>
                    <a:cubicBezTo>
                      <a:pt x="339" y="81"/>
                      <a:pt x="339" y="81"/>
                      <a:pt x="339" y="81"/>
                    </a:cubicBezTo>
                    <a:cubicBezTo>
                      <a:pt x="340" y="81"/>
                      <a:pt x="340" y="81"/>
                      <a:pt x="340" y="81"/>
                    </a:cubicBezTo>
                    <a:cubicBezTo>
                      <a:pt x="341" y="82"/>
                      <a:pt x="341" y="82"/>
                      <a:pt x="341" y="82"/>
                    </a:cubicBezTo>
                    <a:cubicBezTo>
                      <a:pt x="343" y="80"/>
                      <a:pt x="343" y="80"/>
                      <a:pt x="343" y="80"/>
                    </a:cubicBezTo>
                    <a:cubicBezTo>
                      <a:pt x="344" y="77"/>
                      <a:pt x="344" y="77"/>
                      <a:pt x="344" y="77"/>
                    </a:cubicBezTo>
                    <a:cubicBezTo>
                      <a:pt x="344" y="75"/>
                      <a:pt x="344" y="75"/>
                      <a:pt x="344" y="75"/>
                    </a:cubicBezTo>
                    <a:cubicBezTo>
                      <a:pt x="344" y="73"/>
                      <a:pt x="344" y="73"/>
                      <a:pt x="344" y="73"/>
                    </a:cubicBezTo>
                    <a:cubicBezTo>
                      <a:pt x="344" y="73"/>
                      <a:pt x="344" y="73"/>
                      <a:pt x="344" y="73"/>
                    </a:cubicBezTo>
                    <a:cubicBezTo>
                      <a:pt x="344" y="71"/>
                      <a:pt x="344" y="71"/>
                      <a:pt x="344" y="71"/>
                    </a:cubicBezTo>
                    <a:cubicBezTo>
                      <a:pt x="346" y="70"/>
                      <a:pt x="346" y="70"/>
                      <a:pt x="346" y="70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50" y="71"/>
                      <a:pt x="350" y="71"/>
                      <a:pt x="350" y="71"/>
                    </a:cubicBezTo>
                    <a:cubicBezTo>
                      <a:pt x="352" y="71"/>
                      <a:pt x="352" y="71"/>
                      <a:pt x="352" y="71"/>
                    </a:cubicBezTo>
                    <a:cubicBezTo>
                      <a:pt x="354" y="70"/>
                      <a:pt x="354" y="70"/>
                      <a:pt x="354" y="70"/>
                    </a:cubicBezTo>
                    <a:cubicBezTo>
                      <a:pt x="356" y="71"/>
                      <a:pt x="356" y="71"/>
                      <a:pt x="356" y="71"/>
                    </a:cubicBezTo>
                    <a:cubicBezTo>
                      <a:pt x="356" y="73"/>
                      <a:pt x="356" y="73"/>
                      <a:pt x="356" y="73"/>
                    </a:cubicBezTo>
                    <a:cubicBezTo>
                      <a:pt x="356" y="76"/>
                      <a:pt x="356" y="76"/>
                      <a:pt x="356" y="76"/>
                    </a:cubicBezTo>
                    <a:cubicBezTo>
                      <a:pt x="356" y="78"/>
                      <a:pt x="356" y="78"/>
                      <a:pt x="356" y="78"/>
                    </a:cubicBezTo>
                    <a:cubicBezTo>
                      <a:pt x="354" y="80"/>
                      <a:pt x="354" y="80"/>
                      <a:pt x="354" y="80"/>
                    </a:cubicBezTo>
                    <a:cubicBezTo>
                      <a:pt x="353" y="84"/>
                      <a:pt x="353" y="84"/>
                      <a:pt x="353" y="84"/>
                    </a:cubicBezTo>
                    <a:cubicBezTo>
                      <a:pt x="353" y="86"/>
                      <a:pt x="353" y="86"/>
                      <a:pt x="353" y="86"/>
                    </a:cubicBezTo>
                    <a:cubicBezTo>
                      <a:pt x="352" y="88"/>
                      <a:pt x="352" y="88"/>
                      <a:pt x="352" y="88"/>
                    </a:cubicBezTo>
                    <a:cubicBezTo>
                      <a:pt x="346" y="93"/>
                      <a:pt x="346" y="93"/>
                      <a:pt x="346" y="93"/>
                    </a:cubicBezTo>
                    <a:cubicBezTo>
                      <a:pt x="345" y="93"/>
                      <a:pt x="345" y="93"/>
                      <a:pt x="345" y="93"/>
                    </a:cubicBezTo>
                    <a:cubicBezTo>
                      <a:pt x="345" y="92"/>
                      <a:pt x="345" y="92"/>
                      <a:pt x="345" y="92"/>
                    </a:cubicBezTo>
                    <a:cubicBezTo>
                      <a:pt x="343" y="93"/>
                      <a:pt x="343" y="93"/>
                      <a:pt x="343" y="93"/>
                    </a:cubicBezTo>
                    <a:cubicBezTo>
                      <a:pt x="342" y="94"/>
                      <a:pt x="342" y="94"/>
                      <a:pt x="342" y="94"/>
                    </a:cubicBezTo>
                    <a:cubicBezTo>
                      <a:pt x="341" y="94"/>
                      <a:pt x="341" y="94"/>
                      <a:pt x="341" y="94"/>
                    </a:cubicBezTo>
                    <a:cubicBezTo>
                      <a:pt x="340" y="94"/>
                      <a:pt x="340" y="94"/>
                      <a:pt x="340" y="94"/>
                    </a:cubicBezTo>
                    <a:cubicBezTo>
                      <a:pt x="339" y="96"/>
                      <a:pt x="339" y="96"/>
                      <a:pt x="339" y="96"/>
                    </a:cubicBezTo>
                    <a:cubicBezTo>
                      <a:pt x="339" y="97"/>
                      <a:pt x="339" y="97"/>
                      <a:pt x="339" y="97"/>
                    </a:cubicBezTo>
                    <a:cubicBezTo>
                      <a:pt x="337" y="98"/>
                      <a:pt x="337" y="98"/>
                      <a:pt x="337" y="98"/>
                    </a:cubicBezTo>
                    <a:cubicBezTo>
                      <a:pt x="336" y="100"/>
                      <a:pt x="336" y="100"/>
                      <a:pt x="336" y="100"/>
                    </a:cubicBezTo>
                    <a:cubicBezTo>
                      <a:pt x="335" y="99"/>
                      <a:pt x="335" y="99"/>
                      <a:pt x="335" y="99"/>
                    </a:cubicBezTo>
                    <a:cubicBezTo>
                      <a:pt x="334" y="99"/>
                      <a:pt x="334" y="99"/>
                      <a:pt x="334" y="99"/>
                    </a:cubicBezTo>
                    <a:cubicBezTo>
                      <a:pt x="334" y="100"/>
                      <a:pt x="334" y="100"/>
                      <a:pt x="334" y="100"/>
                    </a:cubicBezTo>
                    <a:cubicBezTo>
                      <a:pt x="334" y="101"/>
                      <a:pt x="334" y="101"/>
                      <a:pt x="334" y="101"/>
                    </a:cubicBezTo>
                    <a:cubicBezTo>
                      <a:pt x="334" y="102"/>
                      <a:pt x="334" y="102"/>
                      <a:pt x="334" y="102"/>
                    </a:cubicBezTo>
                    <a:cubicBezTo>
                      <a:pt x="332" y="105"/>
                      <a:pt x="332" y="105"/>
                      <a:pt x="332" y="105"/>
                    </a:cubicBezTo>
                    <a:cubicBezTo>
                      <a:pt x="330" y="106"/>
                      <a:pt x="330" y="106"/>
                      <a:pt x="330" y="106"/>
                    </a:cubicBezTo>
                    <a:cubicBezTo>
                      <a:pt x="329" y="107"/>
                      <a:pt x="329" y="107"/>
                      <a:pt x="329" y="107"/>
                    </a:cubicBezTo>
                    <a:cubicBezTo>
                      <a:pt x="327" y="109"/>
                      <a:pt x="327" y="109"/>
                      <a:pt x="327" y="109"/>
                    </a:cubicBezTo>
                    <a:cubicBezTo>
                      <a:pt x="325" y="111"/>
                      <a:pt x="325" y="111"/>
                      <a:pt x="325" y="111"/>
                    </a:cubicBezTo>
                    <a:cubicBezTo>
                      <a:pt x="324" y="112"/>
                      <a:pt x="324" y="112"/>
                      <a:pt x="324" y="112"/>
                    </a:cubicBezTo>
                    <a:cubicBezTo>
                      <a:pt x="321" y="113"/>
                      <a:pt x="321" y="113"/>
                      <a:pt x="321" y="113"/>
                    </a:cubicBezTo>
                    <a:cubicBezTo>
                      <a:pt x="321" y="114"/>
                      <a:pt x="321" y="114"/>
                      <a:pt x="321" y="114"/>
                    </a:cubicBezTo>
                    <a:cubicBezTo>
                      <a:pt x="319" y="114"/>
                      <a:pt x="319" y="114"/>
                      <a:pt x="319" y="114"/>
                    </a:cubicBezTo>
                    <a:cubicBezTo>
                      <a:pt x="319" y="116"/>
                      <a:pt x="319" y="116"/>
                      <a:pt x="319" y="116"/>
                    </a:cubicBezTo>
                    <a:cubicBezTo>
                      <a:pt x="319" y="118"/>
                      <a:pt x="319" y="118"/>
                      <a:pt x="319" y="118"/>
                    </a:cubicBezTo>
                    <a:cubicBezTo>
                      <a:pt x="319" y="120"/>
                      <a:pt x="319" y="120"/>
                      <a:pt x="319" y="120"/>
                    </a:cubicBezTo>
                    <a:cubicBezTo>
                      <a:pt x="319" y="121"/>
                      <a:pt x="319" y="121"/>
                      <a:pt x="319" y="121"/>
                    </a:cubicBezTo>
                    <a:cubicBezTo>
                      <a:pt x="320" y="120"/>
                      <a:pt x="320" y="120"/>
                      <a:pt x="320" y="12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2" y="116"/>
                      <a:pt x="322" y="116"/>
                    </a:cubicBezTo>
                    <a:cubicBezTo>
                      <a:pt x="323" y="114"/>
                      <a:pt x="323" y="114"/>
                      <a:pt x="323" y="114"/>
                    </a:cubicBezTo>
                    <a:cubicBezTo>
                      <a:pt x="325" y="113"/>
                      <a:pt x="325" y="113"/>
                      <a:pt x="325" y="113"/>
                    </a:cubicBezTo>
                    <a:cubicBezTo>
                      <a:pt x="326" y="113"/>
                      <a:pt x="326" y="113"/>
                      <a:pt x="326" y="113"/>
                    </a:cubicBezTo>
                    <a:cubicBezTo>
                      <a:pt x="326" y="114"/>
                      <a:pt x="326" y="114"/>
                      <a:pt x="326" y="114"/>
                    </a:cubicBezTo>
                    <a:cubicBezTo>
                      <a:pt x="328" y="112"/>
                      <a:pt x="328" y="112"/>
                      <a:pt x="328" y="112"/>
                    </a:cubicBezTo>
                    <a:cubicBezTo>
                      <a:pt x="331" y="109"/>
                      <a:pt x="331" y="109"/>
                      <a:pt x="331" y="109"/>
                    </a:cubicBezTo>
                    <a:cubicBezTo>
                      <a:pt x="332" y="109"/>
                      <a:pt x="332" y="109"/>
                      <a:pt x="332" y="109"/>
                    </a:cubicBezTo>
                    <a:cubicBezTo>
                      <a:pt x="332" y="107"/>
                      <a:pt x="332" y="107"/>
                      <a:pt x="332" y="107"/>
                    </a:cubicBezTo>
                    <a:cubicBezTo>
                      <a:pt x="336" y="105"/>
                      <a:pt x="336" y="105"/>
                      <a:pt x="336" y="105"/>
                    </a:cubicBezTo>
                    <a:cubicBezTo>
                      <a:pt x="338" y="102"/>
                      <a:pt x="338" y="102"/>
                      <a:pt x="338" y="102"/>
                    </a:cubicBezTo>
                    <a:cubicBezTo>
                      <a:pt x="339" y="102"/>
                      <a:pt x="339" y="102"/>
                      <a:pt x="339" y="102"/>
                    </a:cubicBezTo>
                    <a:cubicBezTo>
                      <a:pt x="340" y="102"/>
                      <a:pt x="340" y="102"/>
                      <a:pt x="340" y="102"/>
                    </a:cubicBezTo>
                    <a:cubicBezTo>
                      <a:pt x="342" y="102"/>
                      <a:pt x="342" y="102"/>
                      <a:pt x="342" y="102"/>
                    </a:cubicBezTo>
                    <a:cubicBezTo>
                      <a:pt x="343" y="101"/>
                      <a:pt x="343" y="101"/>
                      <a:pt x="343" y="101"/>
                    </a:cubicBezTo>
                    <a:cubicBezTo>
                      <a:pt x="343" y="100"/>
                      <a:pt x="343" y="100"/>
                      <a:pt x="343" y="100"/>
                    </a:cubicBezTo>
                    <a:cubicBezTo>
                      <a:pt x="345" y="100"/>
                      <a:pt x="345" y="100"/>
                      <a:pt x="345" y="100"/>
                    </a:cubicBezTo>
                    <a:cubicBezTo>
                      <a:pt x="348" y="100"/>
                      <a:pt x="348" y="100"/>
                      <a:pt x="348" y="100"/>
                    </a:cubicBezTo>
                    <a:cubicBezTo>
                      <a:pt x="351" y="98"/>
                      <a:pt x="351" y="98"/>
                      <a:pt x="351" y="98"/>
                    </a:cubicBezTo>
                    <a:cubicBezTo>
                      <a:pt x="352" y="96"/>
                      <a:pt x="352" y="96"/>
                      <a:pt x="352" y="96"/>
                    </a:cubicBezTo>
                    <a:cubicBezTo>
                      <a:pt x="354" y="96"/>
                      <a:pt x="354" y="96"/>
                      <a:pt x="354" y="96"/>
                    </a:cubicBezTo>
                    <a:cubicBezTo>
                      <a:pt x="355" y="95"/>
                      <a:pt x="355" y="95"/>
                      <a:pt x="355" y="95"/>
                    </a:cubicBezTo>
                    <a:cubicBezTo>
                      <a:pt x="356" y="94"/>
                      <a:pt x="356" y="94"/>
                      <a:pt x="356" y="94"/>
                    </a:cubicBezTo>
                    <a:cubicBezTo>
                      <a:pt x="358" y="94"/>
                      <a:pt x="358" y="94"/>
                      <a:pt x="358" y="94"/>
                    </a:cubicBezTo>
                    <a:cubicBezTo>
                      <a:pt x="359" y="93"/>
                      <a:pt x="359" y="93"/>
                      <a:pt x="359" y="93"/>
                    </a:cubicBezTo>
                    <a:cubicBezTo>
                      <a:pt x="362" y="90"/>
                      <a:pt x="362" y="90"/>
                      <a:pt x="362" y="90"/>
                    </a:cubicBezTo>
                    <a:cubicBezTo>
                      <a:pt x="362" y="88"/>
                      <a:pt x="362" y="88"/>
                      <a:pt x="362" y="88"/>
                    </a:cubicBezTo>
                    <a:cubicBezTo>
                      <a:pt x="362" y="87"/>
                      <a:pt x="362" y="87"/>
                      <a:pt x="362" y="87"/>
                    </a:cubicBezTo>
                    <a:cubicBezTo>
                      <a:pt x="363" y="86"/>
                      <a:pt x="363" y="86"/>
                      <a:pt x="363" y="86"/>
                    </a:cubicBezTo>
                    <a:cubicBezTo>
                      <a:pt x="364" y="85"/>
                      <a:pt x="364" y="85"/>
                      <a:pt x="364" y="85"/>
                    </a:cubicBezTo>
                    <a:cubicBezTo>
                      <a:pt x="365" y="84"/>
                      <a:pt x="365" y="84"/>
                      <a:pt x="365" y="84"/>
                    </a:cubicBezTo>
                    <a:cubicBezTo>
                      <a:pt x="365" y="85"/>
                      <a:pt x="365" y="85"/>
                      <a:pt x="365" y="85"/>
                    </a:cubicBezTo>
                    <a:cubicBezTo>
                      <a:pt x="366" y="86"/>
                      <a:pt x="366" y="86"/>
                      <a:pt x="366" y="86"/>
                    </a:cubicBezTo>
                    <a:cubicBezTo>
                      <a:pt x="366" y="88"/>
                      <a:pt x="366" y="88"/>
                      <a:pt x="366" y="88"/>
                    </a:cubicBezTo>
                    <a:cubicBezTo>
                      <a:pt x="365" y="89"/>
                      <a:pt x="365" y="89"/>
                      <a:pt x="365" y="89"/>
                    </a:cubicBezTo>
                    <a:cubicBezTo>
                      <a:pt x="366" y="90"/>
                      <a:pt x="366" y="90"/>
                      <a:pt x="366" y="90"/>
                    </a:cubicBezTo>
                    <a:cubicBezTo>
                      <a:pt x="366" y="93"/>
                      <a:pt x="366" y="93"/>
                      <a:pt x="366" y="93"/>
                    </a:cubicBezTo>
                    <a:cubicBezTo>
                      <a:pt x="366" y="93"/>
                      <a:pt x="366" y="93"/>
                      <a:pt x="366" y="93"/>
                    </a:cubicBezTo>
                    <a:cubicBezTo>
                      <a:pt x="366" y="95"/>
                      <a:pt x="366" y="95"/>
                      <a:pt x="366" y="95"/>
                    </a:cubicBezTo>
                    <a:cubicBezTo>
                      <a:pt x="367" y="94"/>
                      <a:pt x="367" y="94"/>
                      <a:pt x="367" y="94"/>
                    </a:cubicBezTo>
                    <a:cubicBezTo>
                      <a:pt x="367" y="92"/>
                      <a:pt x="367" y="92"/>
                      <a:pt x="367" y="92"/>
                    </a:cubicBezTo>
                    <a:cubicBezTo>
                      <a:pt x="368" y="91"/>
                      <a:pt x="368" y="91"/>
                      <a:pt x="368" y="91"/>
                    </a:cubicBezTo>
                    <a:cubicBezTo>
                      <a:pt x="368" y="90"/>
                      <a:pt x="368" y="90"/>
                      <a:pt x="368" y="90"/>
                    </a:cubicBezTo>
                    <a:cubicBezTo>
                      <a:pt x="368" y="88"/>
                      <a:pt x="368" y="88"/>
                      <a:pt x="368" y="88"/>
                    </a:cubicBezTo>
                    <a:cubicBezTo>
                      <a:pt x="368" y="87"/>
                      <a:pt x="368" y="87"/>
                      <a:pt x="368" y="87"/>
                    </a:cubicBezTo>
                    <a:cubicBezTo>
                      <a:pt x="369" y="88"/>
                      <a:pt x="369" y="88"/>
                      <a:pt x="369" y="88"/>
                    </a:cubicBezTo>
                    <a:cubicBezTo>
                      <a:pt x="369" y="89"/>
                      <a:pt x="369" y="89"/>
                      <a:pt x="369" y="89"/>
                    </a:cubicBezTo>
                    <a:cubicBezTo>
                      <a:pt x="370" y="90"/>
                      <a:pt x="370" y="90"/>
                      <a:pt x="370" y="90"/>
                    </a:cubicBezTo>
                    <a:cubicBezTo>
                      <a:pt x="372" y="90"/>
                      <a:pt x="372" y="90"/>
                      <a:pt x="372" y="90"/>
                    </a:cubicBezTo>
                    <a:cubicBezTo>
                      <a:pt x="374" y="90"/>
                      <a:pt x="374" y="90"/>
                      <a:pt x="374" y="90"/>
                    </a:cubicBezTo>
                    <a:cubicBezTo>
                      <a:pt x="374" y="88"/>
                      <a:pt x="374" y="88"/>
                      <a:pt x="374" y="88"/>
                    </a:cubicBezTo>
                    <a:cubicBezTo>
                      <a:pt x="374" y="88"/>
                      <a:pt x="374" y="88"/>
                      <a:pt x="374" y="88"/>
                    </a:cubicBezTo>
                    <a:cubicBezTo>
                      <a:pt x="374" y="87"/>
                      <a:pt x="374" y="87"/>
                      <a:pt x="374" y="87"/>
                    </a:cubicBezTo>
                    <a:cubicBezTo>
                      <a:pt x="375" y="87"/>
                      <a:pt x="375" y="87"/>
                      <a:pt x="375" y="87"/>
                    </a:cubicBezTo>
                    <a:cubicBezTo>
                      <a:pt x="375" y="85"/>
                      <a:pt x="375" y="85"/>
                      <a:pt x="375" y="85"/>
                    </a:cubicBezTo>
                    <a:cubicBezTo>
                      <a:pt x="376" y="83"/>
                      <a:pt x="376" y="83"/>
                      <a:pt x="376" y="83"/>
                    </a:cubicBezTo>
                    <a:cubicBezTo>
                      <a:pt x="375" y="82"/>
                      <a:pt x="375" y="82"/>
                      <a:pt x="375" y="82"/>
                    </a:cubicBezTo>
                    <a:cubicBezTo>
                      <a:pt x="376" y="81"/>
                      <a:pt x="376" y="81"/>
                      <a:pt x="376" y="81"/>
                    </a:cubicBezTo>
                    <a:cubicBezTo>
                      <a:pt x="377" y="80"/>
                      <a:pt x="377" y="80"/>
                      <a:pt x="377" y="80"/>
                    </a:cubicBezTo>
                    <a:cubicBezTo>
                      <a:pt x="377" y="81"/>
                      <a:pt x="377" y="81"/>
                      <a:pt x="377" y="81"/>
                    </a:cubicBezTo>
                    <a:cubicBezTo>
                      <a:pt x="379" y="82"/>
                      <a:pt x="379" y="82"/>
                      <a:pt x="379" y="82"/>
                    </a:cubicBezTo>
                    <a:cubicBezTo>
                      <a:pt x="381" y="81"/>
                      <a:pt x="381" y="81"/>
                      <a:pt x="381" y="81"/>
                    </a:cubicBezTo>
                    <a:cubicBezTo>
                      <a:pt x="382" y="80"/>
                      <a:pt x="382" y="80"/>
                      <a:pt x="382" y="80"/>
                    </a:cubicBezTo>
                    <a:cubicBezTo>
                      <a:pt x="385" y="79"/>
                      <a:pt x="385" y="79"/>
                      <a:pt x="385" y="79"/>
                    </a:cubicBezTo>
                    <a:cubicBezTo>
                      <a:pt x="387" y="79"/>
                      <a:pt x="387" y="79"/>
                      <a:pt x="387" y="79"/>
                    </a:cubicBezTo>
                    <a:cubicBezTo>
                      <a:pt x="388" y="79"/>
                      <a:pt x="388" y="79"/>
                      <a:pt x="388" y="79"/>
                    </a:cubicBezTo>
                    <a:cubicBezTo>
                      <a:pt x="390" y="79"/>
                      <a:pt x="390" y="79"/>
                      <a:pt x="390" y="79"/>
                    </a:cubicBezTo>
                    <a:cubicBezTo>
                      <a:pt x="393" y="81"/>
                      <a:pt x="393" y="81"/>
                      <a:pt x="393" y="81"/>
                    </a:cubicBezTo>
                    <a:cubicBezTo>
                      <a:pt x="396" y="82"/>
                      <a:pt x="396" y="82"/>
                      <a:pt x="396" y="82"/>
                    </a:cubicBezTo>
                    <a:cubicBezTo>
                      <a:pt x="397" y="82"/>
                      <a:pt x="397" y="82"/>
                      <a:pt x="397" y="82"/>
                    </a:cubicBezTo>
                    <a:cubicBezTo>
                      <a:pt x="399" y="83"/>
                      <a:pt x="399" y="83"/>
                      <a:pt x="399" y="83"/>
                    </a:cubicBezTo>
                    <a:cubicBezTo>
                      <a:pt x="400" y="84"/>
                      <a:pt x="400" y="84"/>
                      <a:pt x="400" y="84"/>
                    </a:cubicBezTo>
                    <a:cubicBezTo>
                      <a:pt x="401" y="84"/>
                      <a:pt x="401" y="84"/>
                      <a:pt x="401" y="84"/>
                    </a:cubicBezTo>
                    <a:cubicBezTo>
                      <a:pt x="403" y="85"/>
                      <a:pt x="403" y="85"/>
                      <a:pt x="403" y="85"/>
                    </a:cubicBezTo>
                    <a:cubicBezTo>
                      <a:pt x="404" y="86"/>
                      <a:pt x="404" y="86"/>
                      <a:pt x="404" y="86"/>
                    </a:cubicBezTo>
                    <a:cubicBezTo>
                      <a:pt x="404" y="87"/>
                      <a:pt x="404" y="87"/>
                      <a:pt x="404" y="87"/>
                    </a:cubicBezTo>
                    <a:cubicBezTo>
                      <a:pt x="407" y="90"/>
                      <a:pt x="407" y="90"/>
                      <a:pt x="407" y="90"/>
                    </a:cubicBezTo>
                    <a:cubicBezTo>
                      <a:pt x="407" y="91"/>
                      <a:pt x="407" y="91"/>
                      <a:pt x="407" y="91"/>
                    </a:cubicBezTo>
                    <a:cubicBezTo>
                      <a:pt x="409" y="92"/>
                      <a:pt x="409" y="92"/>
                      <a:pt x="409" y="92"/>
                    </a:cubicBezTo>
                    <a:cubicBezTo>
                      <a:pt x="410" y="95"/>
                      <a:pt x="410" y="95"/>
                      <a:pt x="410" y="95"/>
                    </a:cubicBezTo>
                    <a:cubicBezTo>
                      <a:pt x="409" y="97"/>
                      <a:pt x="409" y="97"/>
                      <a:pt x="409" y="97"/>
                    </a:cubicBezTo>
                    <a:cubicBezTo>
                      <a:pt x="409" y="99"/>
                      <a:pt x="409" y="99"/>
                      <a:pt x="409" y="99"/>
                    </a:cubicBezTo>
                    <a:cubicBezTo>
                      <a:pt x="407" y="99"/>
                      <a:pt x="407" y="99"/>
                      <a:pt x="407" y="99"/>
                    </a:cubicBezTo>
                    <a:cubicBezTo>
                      <a:pt x="405" y="101"/>
                      <a:pt x="405" y="101"/>
                      <a:pt x="405" y="101"/>
                    </a:cubicBezTo>
                    <a:cubicBezTo>
                      <a:pt x="405" y="102"/>
                      <a:pt x="405" y="102"/>
                      <a:pt x="405" y="102"/>
                    </a:cubicBezTo>
                    <a:cubicBezTo>
                      <a:pt x="404" y="102"/>
                      <a:pt x="404" y="102"/>
                      <a:pt x="404" y="102"/>
                    </a:cubicBezTo>
                    <a:cubicBezTo>
                      <a:pt x="402" y="103"/>
                      <a:pt x="402" y="103"/>
                      <a:pt x="402" y="103"/>
                    </a:cubicBezTo>
                    <a:cubicBezTo>
                      <a:pt x="400" y="106"/>
                      <a:pt x="400" y="106"/>
                      <a:pt x="400" y="106"/>
                    </a:cubicBezTo>
                    <a:cubicBezTo>
                      <a:pt x="399" y="107"/>
                      <a:pt x="399" y="107"/>
                      <a:pt x="399" y="107"/>
                    </a:cubicBezTo>
                    <a:cubicBezTo>
                      <a:pt x="398" y="108"/>
                      <a:pt x="398" y="108"/>
                      <a:pt x="398" y="108"/>
                    </a:cubicBezTo>
                    <a:cubicBezTo>
                      <a:pt x="397" y="107"/>
                      <a:pt x="397" y="107"/>
                      <a:pt x="397" y="107"/>
                    </a:cubicBezTo>
                    <a:cubicBezTo>
                      <a:pt x="394" y="106"/>
                      <a:pt x="394" y="106"/>
                      <a:pt x="394" y="106"/>
                    </a:cubicBezTo>
                    <a:cubicBezTo>
                      <a:pt x="393" y="106"/>
                      <a:pt x="393" y="106"/>
                      <a:pt x="393" y="106"/>
                    </a:cubicBezTo>
                    <a:cubicBezTo>
                      <a:pt x="392" y="107"/>
                      <a:pt x="392" y="107"/>
                      <a:pt x="392" y="107"/>
                    </a:cubicBezTo>
                    <a:cubicBezTo>
                      <a:pt x="391" y="108"/>
                      <a:pt x="391" y="108"/>
                      <a:pt x="391" y="108"/>
                    </a:cubicBezTo>
                    <a:cubicBezTo>
                      <a:pt x="391" y="109"/>
                      <a:pt x="391" y="109"/>
                      <a:pt x="391" y="109"/>
                    </a:cubicBezTo>
                    <a:cubicBezTo>
                      <a:pt x="392" y="110"/>
                      <a:pt x="392" y="110"/>
                      <a:pt x="392" y="110"/>
                    </a:cubicBezTo>
                    <a:cubicBezTo>
                      <a:pt x="392" y="111"/>
                      <a:pt x="392" y="111"/>
                      <a:pt x="392" y="111"/>
                    </a:cubicBezTo>
                    <a:cubicBezTo>
                      <a:pt x="393" y="112"/>
                      <a:pt x="393" y="112"/>
                      <a:pt x="393" y="112"/>
                    </a:cubicBezTo>
                    <a:cubicBezTo>
                      <a:pt x="393" y="113"/>
                      <a:pt x="393" y="113"/>
                      <a:pt x="393" y="113"/>
                    </a:cubicBezTo>
                    <a:cubicBezTo>
                      <a:pt x="393" y="114"/>
                      <a:pt x="393" y="114"/>
                      <a:pt x="393" y="114"/>
                    </a:cubicBezTo>
                    <a:cubicBezTo>
                      <a:pt x="393" y="115"/>
                      <a:pt x="393" y="115"/>
                      <a:pt x="393" y="115"/>
                    </a:cubicBezTo>
                    <a:cubicBezTo>
                      <a:pt x="391" y="115"/>
                      <a:pt x="391" y="115"/>
                      <a:pt x="391" y="115"/>
                    </a:cubicBezTo>
                    <a:cubicBezTo>
                      <a:pt x="390" y="115"/>
                      <a:pt x="390" y="115"/>
                      <a:pt x="390" y="115"/>
                    </a:cubicBezTo>
                    <a:cubicBezTo>
                      <a:pt x="387" y="117"/>
                      <a:pt x="387" y="117"/>
                      <a:pt x="387" y="117"/>
                    </a:cubicBezTo>
                    <a:cubicBezTo>
                      <a:pt x="385" y="118"/>
                      <a:pt x="385" y="118"/>
                      <a:pt x="385" y="118"/>
                    </a:cubicBezTo>
                    <a:cubicBezTo>
                      <a:pt x="384" y="118"/>
                      <a:pt x="384" y="118"/>
                      <a:pt x="384" y="118"/>
                    </a:cubicBezTo>
                    <a:cubicBezTo>
                      <a:pt x="383" y="118"/>
                      <a:pt x="383" y="118"/>
                      <a:pt x="383" y="118"/>
                    </a:cubicBezTo>
                    <a:cubicBezTo>
                      <a:pt x="381" y="117"/>
                      <a:pt x="381" y="117"/>
                      <a:pt x="381" y="117"/>
                    </a:cubicBezTo>
                    <a:cubicBezTo>
                      <a:pt x="380" y="117"/>
                      <a:pt x="380" y="117"/>
                      <a:pt x="380" y="117"/>
                    </a:cubicBezTo>
                    <a:cubicBezTo>
                      <a:pt x="378" y="117"/>
                      <a:pt x="378" y="117"/>
                      <a:pt x="378" y="117"/>
                    </a:cubicBezTo>
                    <a:cubicBezTo>
                      <a:pt x="378" y="116"/>
                      <a:pt x="378" y="116"/>
                      <a:pt x="378" y="116"/>
                    </a:cubicBezTo>
                    <a:cubicBezTo>
                      <a:pt x="376" y="116"/>
                      <a:pt x="376" y="116"/>
                      <a:pt x="376" y="116"/>
                    </a:cubicBezTo>
                    <a:cubicBezTo>
                      <a:pt x="376" y="115"/>
                      <a:pt x="376" y="115"/>
                      <a:pt x="376" y="115"/>
                    </a:cubicBezTo>
                    <a:cubicBezTo>
                      <a:pt x="375" y="115"/>
                      <a:pt x="375" y="115"/>
                      <a:pt x="375" y="115"/>
                    </a:cubicBezTo>
                    <a:cubicBezTo>
                      <a:pt x="375" y="116"/>
                      <a:pt x="375" y="116"/>
                      <a:pt x="375" y="116"/>
                    </a:cubicBezTo>
                    <a:cubicBezTo>
                      <a:pt x="374" y="116"/>
                      <a:pt x="374" y="116"/>
                      <a:pt x="374" y="116"/>
                    </a:cubicBezTo>
                    <a:cubicBezTo>
                      <a:pt x="374" y="116"/>
                      <a:pt x="374" y="116"/>
                      <a:pt x="374" y="116"/>
                    </a:cubicBezTo>
                    <a:cubicBezTo>
                      <a:pt x="372" y="116"/>
                      <a:pt x="372" y="116"/>
                      <a:pt x="372" y="116"/>
                    </a:cubicBezTo>
                    <a:cubicBezTo>
                      <a:pt x="372" y="117"/>
                      <a:pt x="372" y="117"/>
                      <a:pt x="372" y="117"/>
                    </a:cubicBezTo>
                    <a:cubicBezTo>
                      <a:pt x="371" y="118"/>
                      <a:pt x="371" y="118"/>
                      <a:pt x="371" y="118"/>
                    </a:cubicBezTo>
                    <a:cubicBezTo>
                      <a:pt x="370" y="118"/>
                      <a:pt x="370" y="118"/>
                      <a:pt x="370" y="118"/>
                    </a:cubicBezTo>
                    <a:cubicBezTo>
                      <a:pt x="369" y="117"/>
                      <a:pt x="369" y="117"/>
                      <a:pt x="369" y="117"/>
                    </a:cubicBezTo>
                    <a:cubicBezTo>
                      <a:pt x="368" y="118"/>
                      <a:pt x="368" y="118"/>
                      <a:pt x="368" y="118"/>
                    </a:cubicBezTo>
                    <a:cubicBezTo>
                      <a:pt x="367" y="118"/>
                      <a:pt x="367" y="118"/>
                      <a:pt x="367" y="118"/>
                    </a:cubicBezTo>
                    <a:cubicBezTo>
                      <a:pt x="365" y="118"/>
                      <a:pt x="365" y="118"/>
                      <a:pt x="365" y="118"/>
                    </a:cubicBezTo>
                    <a:cubicBezTo>
                      <a:pt x="364" y="118"/>
                      <a:pt x="364" y="118"/>
                      <a:pt x="364" y="118"/>
                    </a:cubicBezTo>
                    <a:cubicBezTo>
                      <a:pt x="362" y="118"/>
                      <a:pt x="362" y="118"/>
                      <a:pt x="362" y="118"/>
                    </a:cubicBezTo>
                    <a:cubicBezTo>
                      <a:pt x="360" y="119"/>
                      <a:pt x="360" y="119"/>
                      <a:pt x="360" y="119"/>
                    </a:cubicBezTo>
                    <a:cubicBezTo>
                      <a:pt x="359" y="119"/>
                      <a:pt x="359" y="119"/>
                      <a:pt x="359" y="119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59" y="120"/>
                      <a:pt x="359" y="120"/>
                      <a:pt x="359" y="120"/>
                    </a:cubicBezTo>
                    <a:cubicBezTo>
                      <a:pt x="360" y="120"/>
                      <a:pt x="360" y="120"/>
                      <a:pt x="360" y="120"/>
                    </a:cubicBezTo>
                    <a:cubicBezTo>
                      <a:pt x="364" y="119"/>
                      <a:pt x="364" y="119"/>
                      <a:pt x="364" y="119"/>
                    </a:cubicBezTo>
                    <a:cubicBezTo>
                      <a:pt x="365" y="119"/>
                      <a:pt x="365" y="119"/>
                      <a:pt x="365" y="119"/>
                    </a:cubicBezTo>
                    <a:cubicBezTo>
                      <a:pt x="366" y="119"/>
                      <a:pt x="366" y="119"/>
                      <a:pt x="366" y="119"/>
                    </a:cubicBezTo>
                    <a:cubicBezTo>
                      <a:pt x="368" y="120"/>
                      <a:pt x="368" y="120"/>
                      <a:pt x="368" y="120"/>
                    </a:cubicBezTo>
                    <a:cubicBezTo>
                      <a:pt x="370" y="120"/>
                      <a:pt x="370" y="120"/>
                      <a:pt x="370" y="120"/>
                    </a:cubicBezTo>
                    <a:cubicBezTo>
                      <a:pt x="374" y="120"/>
                      <a:pt x="374" y="120"/>
                      <a:pt x="374" y="120"/>
                    </a:cubicBezTo>
                    <a:cubicBezTo>
                      <a:pt x="375" y="121"/>
                      <a:pt x="375" y="121"/>
                      <a:pt x="375" y="121"/>
                    </a:cubicBezTo>
                    <a:cubicBezTo>
                      <a:pt x="376" y="121"/>
                      <a:pt x="376" y="121"/>
                      <a:pt x="376" y="121"/>
                    </a:cubicBezTo>
                    <a:cubicBezTo>
                      <a:pt x="377" y="120"/>
                      <a:pt x="377" y="120"/>
                      <a:pt x="377" y="120"/>
                    </a:cubicBezTo>
                    <a:cubicBezTo>
                      <a:pt x="379" y="120"/>
                      <a:pt x="379" y="120"/>
                      <a:pt x="379" y="120"/>
                    </a:cubicBezTo>
                    <a:cubicBezTo>
                      <a:pt x="380" y="120"/>
                      <a:pt x="380" y="120"/>
                      <a:pt x="380" y="120"/>
                    </a:cubicBezTo>
                    <a:cubicBezTo>
                      <a:pt x="380" y="121"/>
                      <a:pt x="380" y="121"/>
                      <a:pt x="380" y="121"/>
                    </a:cubicBezTo>
                    <a:cubicBezTo>
                      <a:pt x="382" y="122"/>
                      <a:pt x="382" y="122"/>
                      <a:pt x="382" y="122"/>
                    </a:cubicBezTo>
                    <a:cubicBezTo>
                      <a:pt x="383" y="123"/>
                      <a:pt x="383" y="123"/>
                      <a:pt x="383" y="123"/>
                    </a:cubicBezTo>
                    <a:cubicBezTo>
                      <a:pt x="383" y="125"/>
                      <a:pt x="383" y="125"/>
                      <a:pt x="383" y="125"/>
                    </a:cubicBezTo>
                    <a:cubicBezTo>
                      <a:pt x="382" y="126"/>
                      <a:pt x="382" y="126"/>
                      <a:pt x="382" y="126"/>
                    </a:cubicBezTo>
                    <a:cubicBezTo>
                      <a:pt x="380" y="126"/>
                      <a:pt x="380" y="126"/>
                      <a:pt x="380" y="126"/>
                    </a:cubicBezTo>
                    <a:cubicBezTo>
                      <a:pt x="379" y="126"/>
                      <a:pt x="379" y="126"/>
                      <a:pt x="379" y="126"/>
                    </a:cubicBezTo>
                    <a:cubicBezTo>
                      <a:pt x="380" y="127"/>
                      <a:pt x="380" y="127"/>
                      <a:pt x="380" y="127"/>
                    </a:cubicBezTo>
                    <a:cubicBezTo>
                      <a:pt x="380" y="129"/>
                      <a:pt x="380" y="129"/>
                      <a:pt x="380" y="129"/>
                    </a:cubicBezTo>
                    <a:cubicBezTo>
                      <a:pt x="378" y="130"/>
                      <a:pt x="378" y="130"/>
                      <a:pt x="378" y="130"/>
                    </a:cubicBezTo>
                    <a:cubicBezTo>
                      <a:pt x="375" y="131"/>
                      <a:pt x="375" y="131"/>
                      <a:pt x="375" y="131"/>
                    </a:cubicBezTo>
                    <a:cubicBezTo>
                      <a:pt x="373" y="130"/>
                      <a:pt x="373" y="130"/>
                      <a:pt x="373" y="130"/>
                    </a:cubicBezTo>
                    <a:cubicBezTo>
                      <a:pt x="371" y="131"/>
                      <a:pt x="371" y="131"/>
                      <a:pt x="371" y="131"/>
                    </a:cubicBezTo>
                    <a:cubicBezTo>
                      <a:pt x="368" y="131"/>
                      <a:pt x="368" y="131"/>
                      <a:pt x="368" y="131"/>
                    </a:cubicBezTo>
                    <a:cubicBezTo>
                      <a:pt x="367" y="130"/>
                      <a:pt x="367" y="130"/>
                      <a:pt x="367" y="130"/>
                    </a:cubicBezTo>
                    <a:cubicBezTo>
                      <a:pt x="363" y="127"/>
                      <a:pt x="363" y="127"/>
                      <a:pt x="363" y="127"/>
                    </a:cubicBezTo>
                    <a:cubicBezTo>
                      <a:pt x="360" y="126"/>
                      <a:pt x="360" y="126"/>
                      <a:pt x="360" y="126"/>
                    </a:cubicBezTo>
                    <a:cubicBezTo>
                      <a:pt x="359" y="126"/>
                      <a:pt x="359" y="126"/>
                      <a:pt x="359" y="126"/>
                    </a:cubicBezTo>
                    <a:cubicBezTo>
                      <a:pt x="357" y="128"/>
                      <a:pt x="357" y="128"/>
                      <a:pt x="357" y="128"/>
                    </a:cubicBezTo>
                    <a:cubicBezTo>
                      <a:pt x="356" y="130"/>
                      <a:pt x="356" y="130"/>
                      <a:pt x="356" y="130"/>
                    </a:cubicBezTo>
                    <a:cubicBezTo>
                      <a:pt x="354" y="131"/>
                      <a:pt x="354" y="131"/>
                      <a:pt x="354" y="131"/>
                    </a:cubicBezTo>
                    <a:cubicBezTo>
                      <a:pt x="353" y="132"/>
                      <a:pt x="353" y="132"/>
                      <a:pt x="353" y="132"/>
                    </a:cubicBezTo>
                    <a:cubicBezTo>
                      <a:pt x="352" y="133"/>
                      <a:pt x="352" y="133"/>
                      <a:pt x="352" y="133"/>
                    </a:cubicBezTo>
                    <a:cubicBezTo>
                      <a:pt x="353" y="133"/>
                      <a:pt x="353" y="133"/>
                      <a:pt x="353" y="133"/>
                    </a:cubicBezTo>
                    <a:cubicBezTo>
                      <a:pt x="355" y="133"/>
                      <a:pt x="355" y="133"/>
                      <a:pt x="355" y="133"/>
                    </a:cubicBezTo>
                    <a:cubicBezTo>
                      <a:pt x="355" y="134"/>
                      <a:pt x="355" y="134"/>
                      <a:pt x="355" y="134"/>
                    </a:cubicBezTo>
                    <a:cubicBezTo>
                      <a:pt x="355" y="136"/>
                      <a:pt x="355" y="136"/>
                      <a:pt x="355" y="136"/>
                    </a:cubicBezTo>
                    <a:cubicBezTo>
                      <a:pt x="354" y="136"/>
                      <a:pt x="354" y="136"/>
                      <a:pt x="354" y="136"/>
                    </a:cubicBezTo>
                    <a:cubicBezTo>
                      <a:pt x="353" y="136"/>
                      <a:pt x="353" y="136"/>
                      <a:pt x="353" y="136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6" y="139"/>
                      <a:pt x="356" y="139"/>
                      <a:pt x="356" y="139"/>
                    </a:cubicBezTo>
                    <a:cubicBezTo>
                      <a:pt x="357" y="138"/>
                      <a:pt x="357" y="138"/>
                      <a:pt x="357" y="138"/>
                    </a:cubicBezTo>
                    <a:cubicBezTo>
                      <a:pt x="359" y="137"/>
                      <a:pt x="359" y="137"/>
                      <a:pt x="359" y="137"/>
                    </a:cubicBezTo>
                    <a:cubicBezTo>
                      <a:pt x="360" y="135"/>
                      <a:pt x="360" y="135"/>
                      <a:pt x="360" y="135"/>
                    </a:cubicBezTo>
                    <a:cubicBezTo>
                      <a:pt x="362" y="134"/>
                      <a:pt x="362" y="134"/>
                      <a:pt x="362" y="134"/>
                    </a:cubicBezTo>
                    <a:cubicBezTo>
                      <a:pt x="365" y="133"/>
                      <a:pt x="365" y="133"/>
                      <a:pt x="365" y="133"/>
                    </a:cubicBezTo>
                    <a:cubicBezTo>
                      <a:pt x="368" y="132"/>
                      <a:pt x="368" y="132"/>
                      <a:pt x="368" y="132"/>
                    </a:cubicBezTo>
                    <a:cubicBezTo>
                      <a:pt x="369" y="132"/>
                      <a:pt x="369" y="132"/>
                      <a:pt x="369" y="132"/>
                    </a:cubicBezTo>
                    <a:cubicBezTo>
                      <a:pt x="370" y="133"/>
                      <a:pt x="370" y="133"/>
                      <a:pt x="370" y="133"/>
                    </a:cubicBezTo>
                    <a:cubicBezTo>
                      <a:pt x="371" y="134"/>
                      <a:pt x="371" y="134"/>
                      <a:pt x="371" y="134"/>
                    </a:cubicBezTo>
                    <a:cubicBezTo>
                      <a:pt x="373" y="134"/>
                      <a:pt x="373" y="134"/>
                      <a:pt x="373" y="134"/>
                    </a:cubicBezTo>
                    <a:cubicBezTo>
                      <a:pt x="374" y="135"/>
                      <a:pt x="374" y="135"/>
                      <a:pt x="374" y="135"/>
                    </a:cubicBezTo>
                    <a:cubicBezTo>
                      <a:pt x="374" y="136"/>
                      <a:pt x="374" y="136"/>
                      <a:pt x="374" y="136"/>
                    </a:cubicBezTo>
                    <a:cubicBezTo>
                      <a:pt x="373" y="137"/>
                      <a:pt x="373" y="137"/>
                      <a:pt x="373" y="137"/>
                    </a:cubicBezTo>
                    <a:cubicBezTo>
                      <a:pt x="371" y="138"/>
                      <a:pt x="371" y="138"/>
                      <a:pt x="371" y="138"/>
                    </a:cubicBezTo>
                    <a:cubicBezTo>
                      <a:pt x="370" y="141"/>
                      <a:pt x="370" y="141"/>
                      <a:pt x="370" y="141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8" y="144"/>
                      <a:pt x="368" y="144"/>
                      <a:pt x="368" y="144"/>
                    </a:cubicBezTo>
                    <a:cubicBezTo>
                      <a:pt x="365" y="146"/>
                      <a:pt x="365" y="146"/>
                      <a:pt x="365" y="146"/>
                    </a:cubicBezTo>
                    <a:cubicBezTo>
                      <a:pt x="364" y="149"/>
                      <a:pt x="364" y="149"/>
                      <a:pt x="364" y="149"/>
                    </a:cubicBezTo>
                    <a:cubicBezTo>
                      <a:pt x="361" y="153"/>
                      <a:pt x="361" y="153"/>
                      <a:pt x="361" y="153"/>
                    </a:cubicBezTo>
                    <a:cubicBezTo>
                      <a:pt x="360" y="155"/>
                      <a:pt x="360" y="155"/>
                      <a:pt x="360" y="155"/>
                    </a:cubicBezTo>
                    <a:cubicBezTo>
                      <a:pt x="358" y="156"/>
                      <a:pt x="358" y="156"/>
                      <a:pt x="358" y="156"/>
                    </a:cubicBezTo>
                    <a:cubicBezTo>
                      <a:pt x="358" y="159"/>
                      <a:pt x="358" y="159"/>
                      <a:pt x="358" y="159"/>
                    </a:cubicBezTo>
                    <a:cubicBezTo>
                      <a:pt x="358" y="161"/>
                      <a:pt x="358" y="161"/>
                      <a:pt x="358" y="161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56" y="164"/>
                      <a:pt x="356" y="164"/>
                      <a:pt x="356" y="164"/>
                    </a:cubicBezTo>
                    <a:cubicBezTo>
                      <a:pt x="356" y="166"/>
                      <a:pt x="356" y="166"/>
                      <a:pt x="356" y="166"/>
                    </a:cubicBezTo>
                    <a:cubicBezTo>
                      <a:pt x="355" y="169"/>
                      <a:pt x="355" y="169"/>
                      <a:pt x="355" y="169"/>
                    </a:cubicBezTo>
                    <a:cubicBezTo>
                      <a:pt x="355" y="173"/>
                      <a:pt x="355" y="173"/>
                      <a:pt x="355" y="173"/>
                    </a:cubicBezTo>
                    <a:cubicBezTo>
                      <a:pt x="355" y="174"/>
                      <a:pt x="355" y="174"/>
                      <a:pt x="355" y="174"/>
                    </a:cubicBezTo>
                    <a:cubicBezTo>
                      <a:pt x="356" y="176"/>
                      <a:pt x="356" y="176"/>
                      <a:pt x="356" y="176"/>
                    </a:cubicBezTo>
                    <a:cubicBezTo>
                      <a:pt x="355" y="179"/>
                      <a:pt x="355" y="179"/>
                      <a:pt x="355" y="179"/>
                    </a:cubicBezTo>
                    <a:cubicBezTo>
                      <a:pt x="354" y="180"/>
                      <a:pt x="354" y="180"/>
                      <a:pt x="354" y="180"/>
                    </a:cubicBezTo>
                    <a:cubicBezTo>
                      <a:pt x="353" y="181"/>
                      <a:pt x="353" y="181"/>
                      <a:pt x="353" y="181"/>
                    </a:cubicBezTo>
                    <a:cubicBezTo>
                      <a:pt x="353" y="183"/>
                      <a:pt x="353" y="183"/>
                      <a:pt x="353" y="183"/>
                    </a:cubicBezTo>
                    <a:cubicBezTo>
                      <a:pt x="353" y="184"/>
                      <a:pt x="353" y="184"/>
                      <a:pt x="353" y="184"/>
                    </a:cubicBezTo>
                    <a:cubicBezTo>
                      <a:pt x="352" y="185"/>
                      <a:pt x="352" y="185"/>
                      <a:pt x="352" y="185"/>
                    </a:cubicBezTo>
                    <a:cubicBezTo>
                      <a:pt x="352" y="188"/>
                      <a:pt x="352" y="188"/>
                      <a:pt x="352" y="188"/>
                    </a:cubicBezTo>
                    <a:cubicBezTo>
                      <a:pt x="351" y="190"/>
                      <a:pt x="351" y="190"/>
                      <a:pt x="351" y="190"/>
                    </a:cubicBezTo>
                    <a:cubicBezTo>
                      <a:pt x="349" y="191"/>
                      <a:pt x="349" y="191"/>
                      <a:pt x="349" y="191"/>
                    </a:cubicBezTo>
                    <a:cubicBezTo>
                      <a:pt x="348" y="191"/>
                      <a:pt x="348" y="191"/>
                      <a:pt x="348" y="191"/>
                    </a:cubicBezTo>
                    <a:cubicBezTo>
                      <a:pt x="347" y="190"/>
                      <a:pt x="347" y="190"/>
                      <a:pt x="347" y="190"/>
                    </a:cubicBezTo>
                    <a:cubicBezTo>
                      <a:pt x="347" y="189"/>
                      <a:pt x="347" y="189"/>
                      <a:pt x="347" y="189"/>
                    </a:cubicBezTo>
                    <a:cubicBezTo>
                      <a:pt x="346" y="188"/>
                      <a:pt x="346" y="188"/>
                      <a:pt x="346" y="188"/>
                    </a:cubicBezTo>
                    <a:cubicBezTo>
                      <a:pt x="346" y="188"/>
                      <a:pt x="346" y="188"/>
                      <a:pt x="346" y="188"/>
                    </a:cubicBezTo>
                    <a:cubicBezTo>
                      <a:pt x="347" y="187"/>
                      <a:pt x="347" y="187"/>
                      <a:pt x="347" y="187"/>
                    </a:cubicBezTo>
                    <a:cubicBezTo>
                      <a:pt x="346" y="186"/>
                      <a:pt x="346" y="186"/>
                      <a:pt x="346" y="186"/>
                    </a:cubicBezTo>
                    <a:cubicBezTo>
                      <a:pt x="345" y="186"/>
                      <a:pt x="345" y="186"/>
                      <a:pt x="345" y="186"/>
                    </a:cubicBezTo>
                    <a:cubicBezTo>
                      <a:pt x="344" y="186"/>
                      <a:pt x="344" y="186"/>
                      <a:pt x="344" y="186"/>
                    </a:cubicBezTo>
                    <a:cubicBezTo>
                      <a:pt x="343" y="186"/>
                      <a:pt x="343" y="186"/>
                      <a:pt x="343" y="186"/>
                    </a:cubicBezTo>
                    <a:cubicBezTo>
                      <a:pt x="342" y="187"/>
                      <a:pt x="342" y="187"/>
                      <a:pt x="342" y="187"/>
                    </a:cubicBezTo>
                    <a:cubicBezTo>
                      <a:pt x="343" y="188"/>
                      <a:pt x="343" y="188"/>
                      <a:pt x="343" y="188"/>
                    </a:cubicBezTo>
                    <a:cubicBezTo>
                      <a:pt x="343" y="188"/>
                      <a:pt x="343" y="188"/>
                      <a:pt x="343" y="188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90"/>
                      <a:pt x="342" y="190"/>
                    </a:cubicBezTo>
                    <a:cubicBezTo>
                      <a:pt x="342" y="191"/>
                      <a:pt x="342" y="191"/>
                      <a:pt x="342" y="191"/>
                    </a:cubicBezTo>
                    <a:cubicBezTo>
                      <a:pt x="343" y="192"/>
                      <a:pt x="343" y="192"/>
                      <a:pt x="343" y="192"/>
                    </a:cubicBezTo>
                    <a:cubicBezTo>
                      <a:pt x="345" y="193"/>
                      <a:pt x="345" y="193"/>
                      <a:pt x="345" y="193"/>
                    </a:cubicBezTo>
                    <a:cubicBezTo>
                      <a:pt x="346" y="194"/>
                      <a:pt x="346" y="194"/>
                      <a:pt x="346" y="194"/>
                    </a:cubicBezTo>
                    <a:cubicBezTo>
                      <a:pt x="347" y="195"/>
                      <a:pt x="347" y="195"/>
                      <a:pt x="347" y="195"/>
                    </a:cubicBezTo>
                    <a:cubicBezTo>
                      <a:pt x="347" y="198"/>
                      <a:pt x="347" y="198"/>
                      <a:pt x="347" y="198"/>
                    </a:cubicBezTo>
                    <a:cubicBezTo>
                      <a:pt x="349" y="198"/>
                      <a:pt x="349" y="198"/>
                      <a:pt x="349" y="198"/>
                    </a:cubicBezTo>
                    <a:cubicBezTo>
                      <a:pt x="350" y="199"/>
                      <a:pt x="350" y="199"/>
                      <a:pt x="350" y="199"/>
                    </a:cubicBezTo>
                    <a:cubicBezTo>
                      <a:pt x="352" y="201"/>
                      <a:pt x="352" y="201"/>
                      <a:pt x="352" y="201"/>
                    </a:cubicBezTo>
                    <a:cubicBezTo>
                      <a:pt x="353" y="203"/>
                      <a:pt x="353" y="203"/>
                      <a:pt x="353" y="203"/>
                    </a:cubicBezTo>
                    <a:cubicBezTo>
                      <a:pt x="353" y="204"/>
                      <a:pt x="353" y="204"/>
                      <a:pt x="353" y="204"/>
                    </a:cubicBezTo>
                    <a:cubicBezTo>
                      <a:pt x="351" y="205"/>
                      <a:pt x="351" y="205"/>
                      <a:pt x="351" y="205"/>
                    </a:cubicBezTo>
                    <a:cubicBezTo>
                      <a:pt x="350" y="204"/>
                      <a:pt x="350" y="204"/>
                      <a:pt x="350" y="204"/>
                    </a:cubicBezTo>
                    <a:cubicBezTo>
                      <a:pt x="348" y="201"/>
                      <a:pt x="348" y="201"/>
                      <a:pt x="348" y="201"/>
                    </a:cubicBezTo>
                    <a:cubicBezTo>
                      <a:pt x="348" y="200"/>
                      <a:pt x="348" y="200"/>
                      <a:pt x="348" y="200"/>
                    </a:cubicBezTo>
                    <a:cubicBezTo>
                      <a:pt x="347" y="200"/>
                      <a:pt x="347" y="200"/>
                      <a:pt x="347" y="200"/>
                    </a:cubicBezTo>
                    <a:cubicBezTo>
                      <a:pt x="346" y="199"/>
                      <a:pt x="346" y="199"/>
                      <a:pt x="346" y="199"/>
                    </a:cubicBezTo>
                    <a:cubicBezTo>
                      <a:pt x="345" y="200"/>
                      <a:pt x="345" y="200"/>
                      <a:pt x="345" y="200"/>
                    </a:cubicBezTo>
                    <a:cubicBezTo>
                      <a:pt x="345" y="201"/>
                      <a:pt x="345" y="201"/>
                      <a:pt x="345" y="201"/>
                    </a:cubicBezTo>
                    <a:cubicBezTo>
                      <a:pt x="345" y="202"/>
                      <a:pt x="345" y="202"/>
                      <a:pt x="345" y="202"/>
                    </a:cubicBezTo>
                    <a:cubicBezTo>
                      <a:pt x="346" y="203"/>
                      <a:pt x="346" y="203"/>
                      <a:pt x="346" y="203"/>
                    </a:cubicBezTo>
                    <a:cubicBezTo>
                      <a:pt x="346" y="204"/>
                      <a:pt x="346" y="204"/>
                      <a:pt x="346" y="204"/>
                    </a:cubicBezTo>
                    <a:cubicBezTo>
                      <a:pt x="345" y="204"/>
                      <a:pt x="345" y="204"/>
                      <a:pt x="345" y="204"/>
                    </a:cubicBezTo>
                    <a:cubicBezTo>
                      <a:pt x="344" y="204"/>
                      <a:pt x="344" y="204"/>
                      <a:pt x="344" y="204"/>
                    </a:cubicBezTo>
                    <a:cubicBezTo>
                      <a:pt x="344" y="204"/>
                      <a:pt x="344" y="204"/>
                      <a:pt x="344" y="204"/>
                    </a:cubicBezTo>
                    <a:cubicBezTo>
                      <a:pt x="345" y="205"/>
                      <a:pt x="345" y="205"/>
                      <a:pt x="345" y="205"/>
                    </a:cubicBezTo>
                    <a:cubicBezTo>
                      <a:pt x="346" y="206"/>
                      <a:pt x="346" y="206"/>
                      <a:pt x="346" y="206"/>
                    </a:cubicBezTo>
                    <a:cubicBezTo>
                      <a:pt x="346" y="207"/>
                      <a:pt x="346" y="207"/>
                      <a:pt x="346" y="207"/>
                    </a:cubicBezTo>
                    <a:cubicBezTo>
                      <a:pt x="345" y="207"/>
                      <a:pt x="345" y="207"/>
                      <a:pt x="345" y="207"/>
                    </a:cubicBezTo>
                    <a:cubicBezTo>
                      <a:pt x="346" y="208"/>
                      <a:pt x="346" y="208"/>
                      <a:pt x="346" y="208"/>
                    </a:cubicBezTo>
                    <a:cubicBezTo>
                      <a:pt x="347" y="207"/>
                      <a:pt x="347" y="207"/>
                      <a:pt x="347" y="207"/>
                    </a:cubicBezTo>
                    <a:cubicBezTo>
                      <a:pt x="349" y="208"/>
                      <a:pt x="349" y="208"/>
                      <a:pt x="349" y="208"/>
                    </a:cubicBezTo>
                    <a:cubicBezTo>
                      <a:pt x="349" y="209"/>
                      <a:pt x="349" y="209"/>
                      <a:pt x="349" y="209"/>
                    </a:cubicBezTo>
                    <a:cubicBezTo>
                      <a:pt x="349" y="210"/>
                      <a:pt x="349" y="210"/>
                      <a:pt x="349" y="210"/>
                    </a:cubicBezTo>
                    <a:cubicBezTo>
                      <a:pt x="349" y="211"/>
                      <a:pt x="349" y="211"/>
                      <a:pt x="349" y="211"/>
                    </a:cubicBezTo>
                    <a:cubicBezTo>
                      <a:pt x="350" y="212"/>
                      <a:pt x="350" y="212"/>
                      <a:pt x="350" y="212"/>
                    </a:cubicBezTo>
                    <a:cubicBezTo>
                      <a:pt x="351" y="211"/>
                      <a:pt x="351" y="211"/>
                      <a:pt x="351" y="211"/>
                    </a:cubicBezTo>
                    <a:cubicBezTo>
                      <a:pt x="352" y="209"/>
                      <a:pt x="352" y="209"/>
                      <a:pt x="352" y="209"/>
                    </a:cubicBezTo>
                    <a:cubicBezTo>
                      <a:pt x="353" y="208"/>
                      <a:pt x="353" y="208"/>
                      <a:pt x="353" y="208"/>
                    </a:cubicBezTo>
                    <a:cubicBezTo>
                      <a:pt x="354" y="208"/>
                      <a:pt x="354" y="208"/>
                      <a:pt x="354" y="208"/>
                    </a:cubicBezTo>
                    <a:cubicBezTo>
                      <a:pt x="354" y="209"/>
                      <a:pt x="354" y="209"/>
                      <a:pt x="354" y="209"/>
                    </a:cubicBezTo>
                    <a:cubicBezTo>
                      <a:pt x="355" y="209"/>
                      <a:pt x="355" y="209"/>
                      <a:pt x="355" y="209"/>
                    </a:cubicBezTo>
                    <a:cubicBezTo>
                      <a:pt x="355" y="209"/>
                      <a:pt x="355" y="209"/>
                      <a:pt x="355" y="209"/>
                    </a:cubicBezTo>
                    <a:cubicBezTo>
                      <a:pt x="356" y="210"/>
                      <a:pt x="356" y="210"/>
                      <a:pt x="356" y="210"/>
                    </a:cubicBezTo>
                    <a:cubicBezTo>
                      <a:pt x="358" y="211"/>
                      <a:pt x="358" y="211"/>
                      <a:pt x="358" y="211"/>
                    </a:cubicBezTo>
                    <a:cubicBezTo>
                      <a:pt x="358" y="213"/>
                      <a:pt x="358" y="213"/>
                      <a:pt x="358" y="213"/>
                    </a:cubicBezTo>
                    <a:cubicBezTo>
                      <a:pt x="358" y="214"/>
                      <a:pt x="358" y="214"/>
                      <a:pt x="358" y="214"/>
                    </a:cubicBezTo>
                    <a:cubicBezTo>
                      <a:pt x="358" y="215"/>
                      <a:pt x="358" y="215"/>
                      <a:pt x="358" y="215"/>
                    </a:cubicBezTo>
                    <a:cubicBezTo>
                      <a:pt x="357" y="217"/>
                      <a:pt x="357" y="217"/>
                      <a:pt x="357" y="217"/>
                    </a:cubicBezTo>
                    <a:cubicBezTo>
                      <a:pt x="357" y="220"/>
                      <a:pt x="357" y="220"/>
                      <a:pt x="357" y="220"/>
                    </a:cubicBezTo>
                    <a:cubicBezTo>
                      <a:pt x="357" y="221"/>
                      <a:pt x="357" y="221"/>
                      <a:pt x="357" y="221"/>
                    </a:cubicBezTo>
                    <a:cubicBezTo>
                      <a:pt x="356" y="223"/>
                      <a:pt x="356" y="223"/>
                      <a:pt x="356" y="223"/>
                    </a:cubicBezTo>
                    <a:cubicBezTo>
                      <a:pt x="355" y="224"/>
                      <a:pt x="355" y="224"/>
                      <a:pt x="355" y="224"/>
                    </a:cubicBezTo>
                    <a:cubicBezTo>
                      <a:pt x="355" y="226"/>
                      <a:pt x="355" y="226"/>
                      <a:pt x="355" y="226"/>
                    </a:cubicBezTo>
                    <a:cubicBezTo>
                      <a:pt x="355" y="227"/>
                      <a:pt x="355" y="227"/>
                      <a:pt x="355" y="227"/>
                    </a:cubicBezTo>
                    <a:cubicBezTo>
                      <a:pt x="354" y="226"/>
                      <a:pt x="354" y="226"/>
                      <a:pt x="354" y="226"/>
                    </a:cubicBezTo>
                    <a:cubicBezTo>
                      <a:pt x="353" y="225"/>
                      <a:pt x="353" y="225"/>
                      <a:pt x="353" y="225"/>
                    </a:cubicBezTo>
                    <a:cubicBezTo>
                      <a:pt x="351" y="224"/>
                      <a:pt x="351" y="224"/>
                      <a:pt x="351" y="224"/>
                    </a:cubicBezTo>
                    <a:cubicBezTo>
                      <a:pt x="350" y="223"/>
                      <a:pt x="350" y="223"/>
                      <a:pt x="350" y="223"/>
                    </a:cubicBezTo>
                    <a:cubicBezTo>
                      <a:pt x="350" y="223"/>
                      <a:pt x="350" y="223"/>
                      <a:pt x="350" y="223"/>
                    </a:cubicBezTo>
                    <a:cubicBezTo>
                      <a:pt x="349" y="223"/>
                      <a:pt x="349" y="223"/>
                      <a:pt x="349" y="223"/>
                    </a:cubicBezTo>
                    <a:cubicBezTo>
                      <a:pt x="347" y="223"/>
                      <a:pt x="347" y="223"/>
                      <a:pt x="347" y="223"/>
                    </a:cubicBezTo>
                    <a:cubicBezTo>
                      <a:pt x="347" y="222"/>
                      <a:pt x="347" y="222"/>
                      <a:pt x="347" y="222"/>
                    </a:cubicBezTo>
                    <a:cubicBezTo>
                      <a:pt x="347" y="221"/>
                      <a:pt x="347" y="221"/>
                      <a:pt x="347" y="221"/>
                    </a:cubicBezTo>
                    <a:cubicBezTo>
                      <a:pt x="346" y="219"/>
                      <a:pt x="346" y="219"/>
                      <a:pt x="346" y="219"/>
                    </a:cubicBezTo>
                    <a:cubicBezTo>
                      <a:pt x="346" y="219"/>
                      <a:pt x="346" y="219"/>
                      <a:pt x="346" y="219"/>
                    </a:cubicBezTo>
                    <a:cubicBezTo>
                      <a:pt x="345" y="219"/>
                      <a:pt x="345" y="219"/>
                      <a:pt x="345" y="219"/>
                    </a:cubicBezTo>
                    <a:cubicBezTo>
                      <a:pt x="344" y="219"/>
                      <a:pt x="344" y="219"/>
                      <a:pt x="344" y="219"/>
                    </a:cubicBezTo>
                    <a:cubicBezTo>
                      <a:pt x="343" y="218"/>
                      <a:pt x="343" y="218"/>
                      <a:pt x="343" y="218"/>
                    </a:cubicBezTo>
                    <a:cubicBezTo>
                      <a:pt x="341" y="218"/>
                      <a:pt x="341" y="218"/>
                      <a:pt x="341" y="218"/>
                    </a:cubicBezTo>
                    <a:cubicBezTo>
                      <a:pt x="340" y="218"/>
                      <a:pt x="340" y="218"/>
                      <a:pt x="340" y="218"/>
                    </a:cubicBezTo>
                    <a:cubicBezTo>
                      <a:pt x="340" y="219"/>
                      <a:pt x="340" y="219"/>
                      <a:pt x="340" y="219"/>
                    </a:cubicBezTo>
                    <a:cubicBezTo>
                      <a:pt x="340" y="220"/>
                      <a:pt x="340" y="220"/>
                      <a:pt x="340" y="220"/>
                    </a:cubicBezTo>
                    <a:cubicBezTo>
                      <a:pt x="339" y="220"/>
                      <a:pt x="339" y="220"/>
                      <a:pt x="339" y="220"/>
                    </a:cubicBezTo>
                    <a:cubicBezTo>
                      <a:pt x="339" y="219"/>
                      <a:pt x="339" y="219"/>
                      <a:pt x="339" y="219"/>
                    </a:cubicBezTo>
                    <a:cubicBezTo>
                      <a:pt x="337" y="219"/>
                      <a:pt x="337" y="219"/>
                      <a:pt x="337" y="219"/>
                    </a:cubicBezTo>
                    <a:cubicBezTo>
                      <a:pt x="336" y="220"/>
                      <a:pt x="336" y="220"/>
                      <a:pt x="336" y="220"/>
                    </a:cubicBezTo>
                    <a:cubicBezTo>
                      <a:pt x="336" y="220"/>
                      <a:pt x="336" y="220"/>
                      <a:pt x="336" y="220"/>
                    </a:cubicBezTo>
                    <a:cubicBezTo>
                      <a:pt x="337" y="220"/>
                      <a:pt x="337" y="220"/>
                      <a:pt x="337" y="220"/>
                    </a:cubicBezTo>
                    <a:cubicBezTo>
                      <a:pt x="339" y="221"/>
                      <a:pt x="339" y="221"/>
                      <a:pt x="339" y="221"/>
                    </a:cubicBezTo>
                    <a:cubicBezTo>
                      <a:pt x="339" y="221"/>
                      <a:pt x="339" y="221"/>
                      <a:pt x="339" y="221"/>
                    </a:cubicBezTo>
                    <a:cubicBezTo>
                      <a:pt x="339" y="222"/>
                      <a:pt x="339" y="222"/>
                      <a:pt x="339" y="222"/>
                    </a:cubicBezTo>
                    <a:cubicBezTo>
                      <a:pt x="338" y="222"/>
                      <a:pt x="338" y="222"/>
                      <a:pt x="338" y="222"/>
                    </a:cubicBezTo>
                    <a:cubicBezTo>
                      <a:pt x="336" y="224"/>
                      <a:pt x="336" y="224"/>
                      <a:pt x="336" y="224"/>
                    </a:cubicBezTo>
                    <a:cubicBezTo>
                      <a:pt x="334" y="225"/>
                      <a:pt x="334" y="225"/>
                      <a:pt x="334" y="225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2" y="224"/>
                      <a:pt x="332" y="224"/>
                      <a:pt x="332" y="224"/>
                    </a:cubicBezTo>
                    <a:cubicBezTo>
                      <a:pt x="333" y="223"/>
                      <a:pt x="333" y="223"/>
                      <a:pt x="333" y="223"/>
                    </a:cubicBezTo>
                    <a:cubicBezTo>
                      <a:pt x="332" y="222"/>
                      <a:pt x="332" y="222"/>
                      <a:pt x="332" y="222"/>
                    </a:cubicBezTo>
                    <a:cubicBezTo>
                      <a:pt x="331" y="223"/>
                      <a:pt x="331" y="223"/>
                      <a:pt x="331" y="223"/>
                    </a:cubicBezTo>
                    <a:cubicBezTo>
                      <a:pt x="331" y="224"/>
                      <a:pt x="331" y="224"/>
                      <a:pt x="331" y="224"/>
                    </a:cubicBezTo>
                    <a:cubicBezTo>
                      <a:pt x="332" y="225"/>
                      <a:pt x="332" y="225"/>
                      <a:pt x="332" y="225"/>
                    </a:cubicBezTo>
                    <a:cubicBezTo>
                      <a:pt x="331" y="226"/>
                      <a:pt x="331" y="226"/>
                      <a:pt x="331" y="226"/>
                    </a:cubicBezTo>
                    <a:cubicBezTo>
                      <a:pt x="331" y="227"/>
                      <a:pt x="331" y="227"/>
                      <a:pt x="331" y="227"/>
                    </a:cubicBezTo>
                    <a:cubicBezTo>
                      <a:pt x="332" y="228"/>
                      <a:pt x="332" y="228"/>
                      <a:pt x="332" y="228"/>
                    </a:cubicBezTo>
                    <a:cubicBezTo>
                      <a:pt x="331" y="229"/>
                      <a:pt x="331" y="229"/>
                      <a:pt x="331" y="229"/>
                    </a:cubicBezTo>
                    <a:cubicBezTo>
                      <a:pt x="332" y="230"/>
                      <a:pt x="332" y="230"/>
                      <a:pt x="332" y="230"/>
                    </a:cubicBezTo>
                    <a:cubicBezTo>
                      <a:pt x="332" y="231"/>
                      <a:pt x="332" y="231"/>
                      <a:pt x="332" y="231"/>
                    </a:cubicBezTo>
                    <a:cubicBezTo>
                      <a:pt x="331" y="231"/>
                      <a:pt x="331" y="231"/>
                      <a:pt x="331" y="231"/>
                    </a:cubicBezTo>
                    <a:cubicBezTo>
                      <a:pt x="329" y="231"/>
                      <a:pt x="329" y="231"/>
                      <a:pt x="329" y="231"/>
                    </a:cubicBezTo>
                    <a:cubicBezTo>
                      <a:pt x="328" y="231"/>
                      <a:pt x="328" y="231"/>
                      <a:pt x="328" y="231"/>
                    </a:cubicBezTo>
                    <a:cubicBezTo>
                      <a:pt x="328" y="232"/>
                      <a:pt x="328" y="232"/>
                      <a:pt x="328" y="232"/>
                    </a:cubicBezTo>
                    <a:cubicBezTo>
                      <a:pt x="329" y="232"/>
                      <a:pt x="329" y="232"/>
                      <a:pt x="329" y="232"/>
                    </a:cubicBezTo>
                    <a:cubicBezTo>
                      <a:pt x="330" y="232"/>
                      <a:pt x="330" y="232"/>
                      <a:pt x="330" y="232"/>
                    </a:cubicBezTo>
                    <a:cubicBezTo>
                      <a:pt x="332" y="232"/>
                      <a:pt x="332" y="232"/>
                      <a:pt x="332" y="232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32" y="234"/>
                      <a:pt x="332" y="234"/>
                      <a:pt x="332" y="234"/>
                    </a:cubicBezTo>
                    <a:cubicBezTo>
                      <a:pt x="332" y="236"/>
                      <a:pt x="332" y="236"/>
                      <a:pt x="332" y="236"/>
                    </a:cubicBezTo>
                    <a:cubicBezTo>
                      <a:pt x="333" y="236"/>
                      <a:pt x="333" y="236"/>
                      <a:pt x="333" y="236"/>
                    </a:cubicBezTo>
                    <a:cubicBezTo>
                      <a:pt x="334" y="235"/>
                      <a:pt x="334" y="235"/>
                      <a:pt x="334" y="235"/>
                    </a:cubicBezTo>
                    <a:cubicBezTo>
                      <a:pt x="336" y="235"/>
                      <a:pt x="336" y="235"/>
                      <a:pt x="336" y="235"/>
                    </a:cubicBezTo>
                    <a:cubicBezTo>
                      <a:pt x="337" y="235"/>
                      <a:pt x="337" y="235"/>
                      <a:pt x="337" y="235"/>
                    </a:cubicBezTo>
                    <a:cubicBezTo>
                      <a:pt x="338" y="236"/>
                      <a:pt x="338" y="236"/>
                      <a:pt x="338" y="236"/>
                    </a:cubicBezTo>
                    <a:cubicBezTo>
                      <a:pt x="340" y="236"/>
                      <a:pt x="340" y="236"/>
                      <a:pt x="340" y="236"/>
                    </a:cubicBezTo>
                    <a:cubicBezTo>
                      <a:pt x="342" y="237"/>
                      <a:pt x="342" y="237"/>
                      <a:pt x="342" y="237"/>
                    </a:cubicBezTo>
                    <a:cubicBezTo>
                      <a:pt x="343" y="236"/>
                      <a:pt x="343" y="236"/>
                      <a:pt x="343" y="236"/>
                    </a:cubicBezTo>
                    <a:cubicBezTo>
                      <a:pt x="343" y="236"/>
                      <a:pt x="343" y="236"/>
                      <a:pt x="343" y="236"/>
                    </a:cubicBezTo>
                    <a:cubicBezTo>
                      <a:pt x="344" y="236"/>
                      <a:pt x="344" y="236"/>
                      <a:pt x="344" y="236"/>
                    </a:cubicBezTo>
                    <a:cubicBezTo>
                      <a:pt x="344" y="237"/>
                      <a:pt x="344" y="237"/>
                      <a:pt x="344" y="237"/>
                    </a:cubicBezTo>
                    <a:cubicBezTo>
                      <a:pt x="344" y="239"/>
                      <a:pt x="344" y="239"/>
                      <a:pt x="344" y="239"/>
                    </a:cubicBezTo>
                    <a:cubicBezTo>
                      <a:pt x="344" y="240"/>
                      <a:pt x="344" y="240"/>
                      <a:pt x="344" y="240"/>
                    </a:cubicBezTo>
                    <a:cubicBezTo>
                      <a:pt x="344" y="241"/>
                      <a:pt x="344" y="241"/>
                      <a:pt x="344" y="241"/>
                    </a:cubicBezTo>
                    <a:cubicBezTo>
                      <a:pt x="343" y="241"/>
                      <a:pt x="343" y="241"/>
                      <a:pt x="343" y="241"/>
                    </a:cubicBezTo>
                    <a:cubicBezTo>
                      <a:pt x="342" y="241"/>
                      <a:pt x="342" y="241"/>
                      <a:pt x="342" y="241"/>
                    </a:cubicBezTo>
                    <a:cubicBezTo>
                      <a:pt x="341" y="240"/>
                      <a:pt x="341" y="240"/>
                      <a:pt x="341" y="240"/>
                    </a:cubicBezTo>
                    <a:cubicBezTo>
                      <a:pt x="340" y="241"/>
                      <a:pt x="340" y="241"/>
                      <a:pt x="340" y="241"/>
                    </a:cubicBezTo>
                    <a:cubicBezTo>
                      <a:pt x="339" y="241"/>
                      <a:pt x="339" y="241"/>
                      <a:pt x="339" y="241"/>
                    </a:cubicBezTo>
                    <a:cubicBezTo>
                      <a:pt x="338" y="240"/>
                      <a:pt x="338" y="240"/>
                      <a:pt x="338" y="240"/>
                    </a:cubicBezTo>
                    <a:cubicBezTo>
                      <a:pt x="335" y="241"/>
                      <a:pt x="335" y="241"/>
                      <a:pt x="335" y="241"/>
                    </a:cubicBezTo>
                    <a:cubicBezTo>
                      <a:pt x="333" y="241"/>
                      <a:pt x="333" y="241"/>
                      <a:pt x="333" y="241"/>
                    </a:cubicBezTo>
                    <a:cubicBezTo>
                      <a:pt x="332" y="241"/>
                      <a:pt x="332" y="241"/>
                      <a:pt x="332" y="241"/>
                    </a:cubicBezTo>
                    <a:cubicBezTo>
                      <a:pt x="332" y="240"/>
                      <a:pt x="332" y="240"/>
                      <a:pt x="332" y="240"/>
                    </a:cubicBezTo>
                    <a:cubicBezTo>
                      <a:pt x="331" y="241"/>
                      <a:pt x="331" y="241"/>
                      <a:pt x="331" y="241"/>
                    </a:cubicBezTo>
                    <a:cubicBezTo>
                      <a:pt x="332" y="242"/>
                      <a:pt x="332" y="242"/>
                      <a:pt x="332" y="242"/>
                    </a:cubicBezTo>
                    <a:cubicBezTo>
                      <a:pt x="332" y="242"/>
                      <a:pt x="332" y="242"/>
                      <a:pt x="332" y="242"/>
                    </a:cubicBezTo>
                    <a:cubicBezTo>
                      <a:pt x="333" y="242"/>
                      <a:pt x="333" y="242"/>
                      <a:pt x="333" y="242"/>
                    </a:cubicBezTo>
                    <a:cubicBezTo>
                      <a:pt x="335" y="242"/>
                      <a:pt x="335" y="242"/>
                      <a:pt x="335" y="242"/>
                    </a:cubicBezTo>
                    <a:cubicBezTo>
                      <a:pt x="338" y="242"/>
                      <a:pt x="338" y="242"/>
                      <a:pt x="338" y="242"/>
                    </a:cubicBezTo>
                    <a:cubicBezTo>
                      <a:pt x="339" y="243"/>
                      <a:pt x="339" y="243"/>
                      <a:pt x="339" y="243"/>
                    </a:cubicBezTo>
                    <a:cubicBezTo>
                      <a:pt x="340" y="244"/>
                      <a:pt x="340" y="244"/>
                      <a:pt x="340" y="244"/>
                    </a:cubicBezTo>
                    <a:cubicBezTo>
                      <a:pt x="341" y="244"/>
                      <a:pt x="341" y="244"/>
                      <a:pt x="341" y="244"/>
                    </a:cubicBezTo>
                    <a:cubicBezTo>
                      <a:pt x="343" y="244"/>
                      <a:pt x="343" y="244"/>
                      <a:pt x="343" y="244"/>
                    </a:cubicBezTo>
                    <a:cubicBezTo>
                      <a:pt x="344" y="245"/>
                      <a:pt x="344" y="245"/>
                      <a:pt x="344" y="245"/>
                    </a:cubicBezTo>
                    <a:cubicBezTo>
                      <a:pt x="345" y="247"/>
                      <a:pt x="345" y="247"/>
                      <a:pt x="345" y="247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5" y="249"/>
                      <a:pt x="345" y="249"/>
                      <a:pt x="345" y="249"/>
                    </a:cubicBezTo>
                    <a:cubicBezTo>
                      <a:pt x="344" y="249"/>
                      <a:pt x="344" y="249"/>
                      <a:pt x="344" y="249"/>
                    </a:cubicBezTo>
                    <a:cubicBezTo>
                      <a:pt x="344" y="249"/>
                      <a:pt x="344" y="249"/>
                      <a:pt x="344" y="249"/>
                    </a:cubicBezTo>
                    <a:cubicBezTo>
                      <a:pt x="344" y="250"/>
                      <a:pt x="344" y="250"/>
                      <a:pt x="344" y="250"/>
                    </a:cubicBezTo>
                    <a:cubicBezTo>
                      <a:pt x="344" y="252"/>
                      <a:pt x="344" y="252"/>
                      <a:pt x="344" y="252"/>
                    </a:cubicBezTo>
                    <a:cubicBezTo>
                      <a:pt x="345" y="254"/>
                      <a:pt x="345" y="254"/>
                      <a:pt x="345" y="254"/>
                    </a:cubicBezTo>
                    <a:cubicBezTo>
                      <a:pt x="344" y="255"/>
                      <a:pt x="344" y="255"/>
                      <a:pt x="344" y="255"/>
                    </a:cubicBezTo>
                    <a:cubicBezTo>
                      <a:pt x="345" y="257"/>
                      <a:pt x="345" y="257"/>
                      <a:pt x="345" y="257"/>
                    </a:cubicBezTo>
                    <a:cubicBezTo>
                      <a:pt x="345" y="258"/>
                      <a:pt x="345" y="258"/>
                      <a:pt x="345" y="258"/>
                    </a:cubicBezTo>
                    <a:cubicBezTo>
                      <a:pt x="344" y="259"/>
                      <a:pt x="344" y="259"/>
                      <a:pt x="344" y="259"/>
                    </a:cubicBezTo>
                    <a:cubicBezTo>
                      <a:pt x="343" y="262"/>
                      <a:pt x="343" y="262"/>
                      <a:pt x="343" y="262"/>
                    </a:cubicBezTo>
                    <a:cubicBezTo>
                      <a:pt x="342" y="263"/>
                      <a:pt x="342" y="263"/>
                      <a:pt x="342" y="263"/>
                    </a:cubicBezTo>
                    <a:cubicBezTo>
                      <a:pt x="341" y="263"/>
                      <a:pt x="341" y="263"/>
                      <a:pt x="341" y="263"/>
                    </a:cubicBezTo>
                    <a:cubicBezTo>
                      <a:pt x="340" y="262"/>
                      <a:pt x="340" y="262"/>
                      <a:pt x="340" y="262"/>
                    </a:cubicBezTo>
                    <a:cubicBezTo>
                      <a:pt x="339" y="261"/>
                      <a:pt x="339" y="261"/>
                      <a:pt x="339" y="261"/>
                    </a:cubicBezTo>
                    <a:cubicBezTo>
                      <a:pt x="340" y="260"/>
                      <a:pt x="340" y="260"/>
                      <a:pt x="340" y="260"/>
                    </a:cubicBezTo>
                    <a:cubicBezTo>
                      <a:pt x="340" y="259"/>
                      <a:pt x="340" y="259"/>
                      <a:pt x="340" y="259"/>
                    </a:cubicBezTo>
                    <a:cubicBezTo>
                      <a:pt x="339" y="259"/>
                      <a:pt x="339" y="259"/>
                      <a:pt x="339" y="259"/>
                    </a:cubicBezTo>
                    <a:cubicBezTo>
                      <a:pt x="338" y="259"/>
                      <a:pt x="338" y="259"/>
                      <a:pt x="338" y="259"/>
                    </a:cubicBezTo>
                    <a:cubicBezTo>
                      <a:pt x="337" y="259"/>
                      <a:pt x="337" y="259"/>
                      <a:pt x="337" y="259"/>
                    </a:cubicBezTo>
                    <a:cubicBezTo>
                      <a:pt x="335" y="256"/>
                      <a:pt x="335" y="256"/>
                      <a:pt x="335" y="256"/>
                    </a:cubicBezTo>
                    <a:cubicBezTo>
                      <a:pt x="333" y="255"/>
                      <a:pt x="333" y="255"/>
                      <a:pt x="333" y="255"/>
                    </a:cubicBezTo>
                    <a:cubicBezTo>
                      <a:pt x="331" y="253"/>
                      <a:pt x="331" y="253"/>
                      <a:pt x="331" y="253"/>
                    </a:cubicBezTo>
                    <a:cubicBezTo>
                      <a:pt x="331" y="252"/>
                      <a:pt x="331" y="252"/>
                      <a:pt x="331" y="252"/>
                    </a:cubicBezTo>
                    <a:cubicBezTo>
                      <a:pt x="331" y="251"/>
                      <a:pt x="331" y="251"/>
                      <a:pt x="331" y="251"/>
                    </a:cubicBezTo>
                    <a:cubicBezTo>
                      <a:pt x="328" y="248"/>
                      <a:pt x="328" y="248"/>
                      <a:pt x="328" y="248"/>
                    </a:cubicBezTo>
                    <a:cubicBezTo>
                      <a:pt x="328" y="248"/>
                      <a:pt x="328" y="248"/>
                      <a:pt x="328" y="248"/>
                    </a:cubicBezTo>
                    <a:cubicBezTo>
                      <a:pt x="327" y="248"/>
                      <a:pt x="327" y="248"/>
                      <a:pt x="327" y="248"/>
                    </a:cubicBezTo>
                    <a:cubicBezTo>
                      <a:pt x="327" y="248"/>
                      <a:pt x="327" y="248"/>
                      <a:pt x="327" y="248"/>
                    </a:cubicBezTo>
                    <a:cubicBezTo>
                      <a:pt x="328" y="249"/>
                      <a:pt x="328" y="249"/>
                      <a:pt x="328" y="249"/>
                    </a:cubicBezTo>
                    <a:cubicBezTo>
                      <a:pt x="329" y="251"/>
                      <a:pt x="329" y="251"/>
                      <a:pt x="329" y="251"/>
                    </a:cubicBezTo>
                    <a:cubicBezTo>
                      <a:pt x="329" y="252"/>
                      <a:pt x="329" y="252"/>
                      <a:pt x="329" y="252"/>
                    </a:cubicBezTo>
                    <a:cubicBezTo>
                      <a:pt x="329" y="253"/>
                      <a:pt x="329" y="253"/>
                      <a:pt x="329" y="253"/>
                    </a:cubicBezTo>
                    <a:cubicBezTo>
                      <a:pt x="326" y="253"/>
                      <a:pt x="326" y="253"/>
                      <a:pt x="326" y="253"/>
                    </a:cubicBezTo>
                    <a:cubicBezTo>
                      <a:pt x="325" y="252"/>
                      <a:pt x="325" y="252"/>
                      <a:pt x="325" y="252"/>
                    </a:cubicBezTo>
                    <a:cubicBezTo>
                      <a:pt x="324" y="250"/>
                      <a:pt x="324" y="250"/>
                      <a:pt x="324" y="250"/>
                    </a:cubicBezTo>
                    <a:cubicBezTo>
                      <a:pt x="324" y="249"/>
                      <a:pt x="324" y="249"/>
                      <a:pt x="324" y="249"/>
                    </a:cubicBezTo>
                    <a:cubicBezTo>
                      <a:pt x="324" y="250"/>
                      <a:pt x="324" y="250"/>
                      <a:pt x="324" y="250"/>
                    </a:cubicBezTo>
                    <a:cubicBezTo>
                      <a:pt x="324" y="251"/>
                      <a:pt x="324" y="251"/>
                      <a:pt x="324" y="251"/>
                    </a:cubicBezTo>
                    <a:cubicBezTo>
                      <a:pt x="325" y="253"/>
                      <a:pt x="325" y="253"/>
                      <a:pt x="325" y="253"/>
                    </a:cubicBezTo>
                    <a:cubicBezTo>
                      <a:pt x="328" y="254"/>
                      <a:pt x="328" y="254"/>
                      <a:pt x="328" y="254"/>
                    </a:cubicBezTo>
                    <a:cubicBezTo>
                      <a:pt x="330" y="254"/>
                      <a:pt x="330" y="254"/>
                      <a:pt x="330" y="254"/>
                    </a:cubicBezTo>
                    <a:cubicBezTo>
                      <a:pt x="333" y="256"/>
                      <a:pt x="333" y="256"/>
                      <a:pt x="333" y="256"/>
                    </a:cubicBezTo>
                    <a:cubicBezTo>
                      <a:pt x="337" y="260"/>
                      <a:pt x="337" y="260"/>
                      <a:pt x="337" y="260"/>
                    </a:cubicBezTo>
                    <a:cubicBezTo>
                      <a:pt x="337" y="261"/>
                      <a:pt x="337" y="261"/>
                      <a:pt x="337" y="261"/>
                    </a:cubicBezTo>
                    <a:cubicBezTo>
                      <a:pt x="336" y="262"/>
                      <a:pt x="336" y="262"/>
                      <a:pt x="336" y="262"/>
                    </a:cubicBezTo>
                    <a:cubicBezTo>
                      <a:pt x="336" y="262"/>
                      <a:pt x="336" y="262"/>
                      <a:pt x="336" y="262"/>
                    </a:cubicBezTo>
                    <a:cubicBezTo>
                      <a:pt x="334" y="261"/>
                      <a:pt x="334" y="261"/>
                      <a:pt x="334" y="261"/>
                    </a:cubicBezTo>
                    <a:cubicBezTo>
                      <a:pt x="333" y="261"/>
                      <a:pt x="333" y="261"/>
                      <a:pt x="333" y="261"/>
                    </a:cubicBezTo>
                    <a:cubicBezTo>
                      <a:pt x="332" y="262"/>
                      <a:pt x="332" y="262"/>
                      <a:pt x="332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9" y="264"/>
                      <a:pt x="329" y="264"/>
                      <a:pt x="329" y="264"/>
                    </a:cubicBezTo>
                    <a:cubicBezTo>
                      <a:pt x="327" y="263"/>
                      <a:pt x="327" y="263"/>
                      <a:pt x="327" y="263"/>
                    </a:cubicBezTo>
                    <a:cubicBezTo>
                      <a:pt x="327" y="262"/>
                      <a:pt x="327" y="262"/>
                      <a:pt x="327" y="262"/>
                    </a:cubicBezTo>
                    <a:cubicBezTo>
                      <a:pt x="327" y="261"/>
                      <a:pt x="327" y="261"/>
                      <a:pt x="327" y="261"/>
                    </a:cubicBezTo>
                    <a:cubicBezTo>
                      <a:pt x="327" y="260"/>
                      <a:pt x="327" y="260"/>
                      <a:pt x="327" y="260"/>
                    </a:cubicBezTo>
                    <a:cubicBezTo>
                      <a:pt x="326" y="259"/>
                      <a:pt x="326" y="259"/>
                      <a:pt x="326" y="259"/>
                    </a:cubicBezTo>
                    <a:cubicBezTo>
                      <a:pt x="326" y="260"/>
                      <a:pt x="326" y="260"/>
                      <a:pt x="326" y="260"/>
                    </a:cubicBezTo>
                    <a:cubicBezTo>
                      <a:pt x="326" y="261"/>
                      <a:pt x="326" y="261"/>
                      <a:pt x="326" y="261"/>
                    </a:cubicBezTo>
                    <a:cubicBezTo>
                      <a:pt x="326" y="263"/>
                      <a:pt x="326" y="263"/>
                      <a:pt x="326" y="263"/>
                    </a:cubicBezTo>
                    <a:cubicBezTo>
                      <a:pt x="327" y="265"/>
                      <a:pt x="327" y="265"/>
                      <a:pt x="327" y="265"/>
                    </a:cubicBezTo>
                    <a:cubicBezTo>
                      <a:pt x="329" y="265"/>
                      <a:pt x="329" y="265"/>
                      <a:pt x="329" y="265"/>
                    </a:cubicBezTo>
                    <a:cubicBezTo>
                      <a:pt x="331" y="264"/>
                      <a:pt x="331" y="264"/>
                      <a:pt x="331" y="264"/>
                    </a:cubicBezTo>
                    <a:cubicBezTo>
                      <a:pt x="332" y="262"/>
                      <a:pt x="332" y="262"/>
                      <a:pt x="332" y="262"/>
                    </a:cubicBezTo>
                    <a:cubicBezTo>
                      <a:pt x="333" y="262"/>
                      <a:pt x="333" y="262"/>
                      <a:pt x="333" y="262"/>
                    </a:cubicBezTo>
                    <a:cubicBezTo>
                      <a:pt x="335" y="263"/>
                      <a:pt x="335" y="263"/>
                      <a:pt x="335" y="263"/>
                    </a:cubicBezTo>
                    <a:cubicBezTo>
                      <a:pt x="335" y="265"/>
                      <a:pt x="335" y="265"/>
                      <a:pt x="335" y="265"/>
                    </a:cubicBezTo>
                    <a:cubicBezTo>
                      <a:pt x="335" y="265"/>
                      <a:pt x="335" y="265"/>
                      <a:pt x="335" y="265"/>
                    </a:cubicBezTo>
                    <a:cubicBezTo>
                      <a:pt x="335" y="269"/>
                      <a:pt x="335" y="269"/>
                      <a:pt x="335" y="269"/>
                    </a:cubicBezTo>
                    <a:cubicBezTo>
                      <a:pt x="334" y="270"/>
                      <a:pt x="334" y="270"/>
                      <a:pt x="334" y="270"/>
                    </a:cubicBezTo>
                    <a:cubicBezTo>
                      <a:pt x="333" y="270"/>
                      <a:pt x="333" y="270"/>
                      <a:pt x="333" y="270"/>
                    </a:cubicBezTo>
                    <a:cubicBezTo>
                      <a:pt x="333" y="271"/>
                      <a:pt x="333" y="271"/>
                      <a:pt x="333" y="271"/>
                    </a:cubicBezTo>
                    <a:cubicBezTo>
                      <a:pt x="334" y="271"/>
                      <a:pt x="334" y="271"/>
                      <a:pt x="334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7" y="271"/>
                      <a:pt x="337" y="271"/>
                      <a:pt x="337" y="271"/>
                    </a:cubicBezTo>
                    <a:cubicBezTo>
                      <a:pt x="338" y="273"/>
                      <a:pt x="338" y="273"/>
                      <a:pt x="338" y="273"/>
                    </a:cubicBezTo>
                    <a:cubicBezTo>
                      <a:pt x="340" y="274"/>
                      <a:pt x="340" y="274"/>
                      <a:pt x="340" y="274"/>
                    </a:cubicBezTo>
                    <a:cubicBezTo>
                      <a:pt x="341" y="273"/>
                      <a:pt x="341" y="273"/>
                      <a:pt x="341" y="273"/>
                    </a:cubicBezTo>
                    <a:cubicBezTo>
                      <a:pt x="342" y="273"/>
                      <a:pt x="342" y="273"/>
                      <a:pt x="342" y="273"/>
                    </a:cubicBezTo>
                    <a:cubicBezTo>
                      <a:pt x="344" y="273"/>
                      <a:pt x="344" y="273"/>
                      <a:pt x="344" y="273"/>
                    </a:cubicBezTo>
                    <a:cubicBezTo>
                      <a:pt x="344" y="274"/>
                      <a:pt x="344" y="274"/>
                      <a:pt x="344" y="274"/>
                    </a:cubicBezTo>
                    <a:cubicBezTo>
                      <a:pt x="344" y="275"/>
                      <a:pt x="344" y="275"/>
                      <a:pt x="344" y="275"/>
                    </a:cubicBezTo>
                    <a:cubicBezTo>
                      <a:pt x="344" y="276"/>
                      <a:pt x="344" y="276"/>
                      <a:pt x="344" y="276"/>
                    </a:cubicBezTo>
                    <a:cubicBezTo>
                      <a:pt x="345" y="277"/>
                      <a:pt x="345" y="277"/>
                      <a:pt x="345" y="277"/>
                    </a:cubicBezTo>
                    <a:cubicBezTo>
                      <a:pt x="344" y="279"/>
                      <a:pt x="344" y="279"/>
                      <a:pt x="344" y="279"/>
                    </a:cubicBezTo>
                    <a:cubicBezTo>
                      <a:pt x="342" y="282"/>
                      <a:pt x="342" y="282"/>
                      <a:pt x="342" y="282"/>
                    </a:cubicBezTo>
                    <a:cubicBezTo>
                      <a:pt x="340" y="283"/>
                      <a:pt x="340" y="283"/>
                      <a:pt x="340" y="283"/>
                    </a:cubicBezTo>
                    <a:cubicBezTo>
                      <a:pt x="339" y="283"/>
                      <a:pt x="339" y="283"/>
                      <a:pt x="339" y="283"/>
                    </a:cubicBezTo>
                    <a:cubicBezTo>
                      <a:pt x="339" y="281"/>
                      <a:pt x="339" y="281"/>
                      <a:pt x="339" y="281"/>
                    </a:cubicBezTo>
                    <a:cubicBezTo>
                      <a:pt x="338" y="281"/>
                      <a:pt x="338" y="281"/>
                      <a:pt x="338" y="281"/>
                    </a:cubicBezTo>
                    <a:cubicBezTo>
                      <a:pt x="337" y="279"/>
                      <a:pt x="337" y="279"/>
                      <a:pt x="337" y="279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35" y="276"/>
                      <a:pt x="335" y="276"/>
                      <a:pt x="335" y="276"/>
                    </a:cubicBezTo>
                    <a:cubicBezTo>
                      <a:pt x="334" y="276"/>
                      <a:pt x="334" y="276"/>
                      <a:pt x="334" y="276"/>
                    </a:cubicBezTo>
                    <a:cubicBezTo>
                      <a:pt x="332" y="275"/>
                      <a:pt x="332" y="275"/>
                      <a:pt x="332" y="275"/>
                    </a:cubicBezTo>
                    <a:cubicBezTo>
                      <a:pt x="331" y="274"/>
                      <a:pt x="331" y="274"/>
                      <a:pt x="331" y="274"/>
                    </a:cubicBezTo>
                    <a:cubicBezTo>
                      <a:pt x="329" y="275"/>
                      <a:pt x="329" y="275"/>
                      <a:pt x="329" y="275"/>
                    </a:cubicBezTo>
                    <a:cubicBezTo>
                      <a:pt x="328" y="275"/>
                      <a:pt x="328" y="275"/>
                      <a:pt x="328" y="275"/>
                    </a:cubicBezTo>
                    <a:cubicBezTo>
                      <a:pt x="327" y="275"/>
                      <a:pt x="327" y="275"/>
                      <a:pt x="327" y="275"/>
                    </a:cubicBezTo>
                    <a:cubicBezTo>
                      <a:pt x="327" y="273"/>
                      <a:pt x="327" y="273"/>
                      <a:pt x="327" y="273"/>
                    </a:cubicBezTo>
                    <a:cubicBezTo>
                      <a:pt x="326" y="272"/>
                      <a:pt x="326" y="272"/>
                      <a:pt x="326" y="272"/>
                    </a:cubicBezTo>
                    <a:cubicBezTo>
                      <a:pt x="325" y="272"/>
                      <a:pt x="325" y="272"/>
                      <a:pt x="325" y="272"/>
                    </a:cubicBez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6" y="274"/>
                      <a:pt x="326" y="274"/>
                      <a:pt x="326" y="274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5" y="278"/>
                      <a:pt x="325" y="278"/>
                      <a:pt x="325" y="278"/>
                    </a:cubicBezTo>
                    <a:cubicBezTo>
                      <a:pt x="324" y="278"/>
                      <a:pt x="324" y="278"/>
                      <a:pt x="324" y="278"/>
                    </a:cubicBezTo>
                    <a:cubicBezTo>
                      <a:pt x="323" y="278"/>
                      <a:pt x="323" y="278"/>
                      <a:pt x="323" y="278"/>
                    </a:cubicBezTo>
                    <a:cubicBezTo>
                      <a:pt x="322" y="279"/>
                      <a:pt x="322" y="279"/>
                      <a:pt x="322" y="279"/>
                    </a:cubicBezTo>
                    <a:cubicBezTo>
                      <a:pt x="323" y="279"/>
                      <a:pt x="323" y="279"/>
                      <a:pt x="323" y="279"/>
                    </a:cubicBezTo>
                    <a:cubicBezTo>
                      <a:pt x="324" y="280"/>
                      <a:pt x="324" y="280"/>
                      <a:pt x="324" y="280"/>
                    </a:cubicBezTo>
                    <a:cubicBezTo>
                      <a:pt x="324" y="281"/>
                      <a:pt x="324" y="281"/>
                      <a:pt x="324" y="281"/>
                    </a:cubicBezTo>
                    <a:cubicBezTo>
                      <a:pt x="322" y="283"/>
                      <a:pt x="322" y="283"/>
                      <a:pt x="322" y="283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1" y="285"/>
                      <a:pt x="321" y="285"/>
                      <a:pt x="321" y="285"/>
                    </a:cubicBezTo>
                    <a:cubicBezTo>
                      <a:pt x="322" y="286"/>
                      <a:pt x="322" y="286"/>
                      <a:pt x="322" y="286"/>
                    </a:cubicBezTo>
                    <a:cubicBezTo>
                      <a:pt x="323" y="288"/>
                      <a:pt x="323" y="288"/>
                      <a:pt x="323" y="288"/>
                    </a:cubicBezTo>
                    <a:cubicBezTo>
                      <a:pt x="324" y="288"/>
                      <a:pt x="324" y="288"/>
                      <a:pt x="324" y="288"/>
                    </a:cubicBezTo>
                    <a:cubicBezTo>
                      <a:pt x="324" y="290"/>
                      <a:pt x="324" y="290"/>
                      <a:pt x="324" y="290"/>
                    </a:cubicBezTo>
                    <a:cubicBezTo>
                      <a:pt x="324" y="292"/>
                      <a:pt x="324" y="292"/>
                      <a:pt x="324" y="292"/>
                    </a:cubicBezTo>
                    <a:cubicBezTo>
                      <a:pt x="324" y="293"/>
                      <a:pt x="324" y="293"/>
                      <a:pt x="324" y="293"/>
                    </a:cubicBezTo>
                    <a:cubicBezTo>
                      <a:pt x="325" y="292"/>
                      <a:pt x="325" y="292"/>
                      <a:pt x="325" y="292"/>
                    </a:cubicBezTo>
                    <a:cubicBezTo>
                      <a:pt x="326" y="290"/>
                      <a:pt x="326" y="290"/>
                      <a:pt x="326" y="290"/>
                    </a:cubicBezTo>
                    <a:cubicBezTo>
                      <a:pt x="325" y="289"/>
                      <a:pt x="325" y="289"/>
                      <a:pt x="325" y="289"/>
                    </a:cubicBezTo>
                    <a:cubicBezTo>
                      <a:pt x="325" y="288"/>
                      <a:pt x="325" y="288"/>
                      <a:pt x="325" y="288"/>
                    </a:cubicBezTo>
                    <a:cubicBezTo>
                      <a:pt x="325" y="287"/>
                      <a:pt x="325" y="287"/>
                      <a:pt x="325" y="287"/>
                    </a:cubicBezTo>
                    <a:cubicBezTo>
                      <a:pt x="325" y="285"/>
                      <a:pt x="325" y="285"/>
                      <a:pt x="325" y="285"/>
                    </a:cubicBezTo>
                    <a:cubicBezTo>
                      <a:pt x="326" y="285"/>
                      <a:pt x="326" y="285"/>
                      <a:pt x="326" y="285"/>
                    </a:cubicBezTo>
                    <a:cubicBezTo>
                      <a:pt x="327" y="287"/>
                      <a:pt x="327" y="287"/>
                      <a:pt x="327" y="287"/>
                    </a:cubicBezTo>
                    <a:cubicBezTo>
                      <a:pt x="327" y="287"/>
                      <a:pt x="327" y="287"/>
                      <a:pt x="327" y="287"/>
                    </a:cubicBezTo>
                    <a:cubicBezTo>
                      <a:pt x="328" y="289"/>
                      <a:pt x="328" y="289"/>
                      <a:pt x="328" y="289"/>
                    </a:cubicBezTo>
                    <a:cubicBezTo>
                      <a:pt x="329" y="290"/>
                      <a:pt x="329" y="290"/>
                      <a:pt x="329" y="290"/>
                    </a:cubicBezTo>
                    <a:cubicBezTo>
                      <a:pt x="330" y="289"/>
                      <a:pt x="330" y="289"/>
                      <a:pt x="330" y="289"/>
                    </a:cubicBezTo>
                    <a:cubicBezTo>
                      <a:pt x="331" y="289"/>
                      <a:pt x="331" y="289"/>
                      <a:pt x="331" y="289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32" y="289"/>
                      <a:pt x="332" y="289"/>
                      <a:pt x="332" y="289"/>
                    </a:cubicBezTo>
                    <a:cubicBezTo>
                      <a:pt x="334" y="289"/>
                      <a:pt x="334" y="289"/>
                      <a:pt x="334" y="289"/>
                    </a:cubicBezTo>
                    <a:cubicBezTo>
                      <a:pt x="335" y="289"/>
                      <a:pt x="335" y="289"/>
                      <a:pt x="335" y="289"/>
                    </a:cubicBezTo>
                    <a:cubicBezTo>
                      <a:pt x="335" y="290"/>
                      <a:pt x="335" y="290"/>
                      <a:pt x="335" y="290"/>
                    </a:cubicBezTo>
                    <a:cubicBezTo>
                      <a:pt x="335" y="291"/>
                      <a:pt x="335" y="291"/>
                      <a:pt x="335" y="291"/>
                    </a:cubicBezTo>
                    <a:cubicBezTo>
                      <a:pt x="334" y="293"/>
                      <a:pt x="334" y="293"/>
                      <a:pt x="334" y="293"/>
                    </a:cubicBezTo>
                    <a:cubicBezTo>
                      <a:pt x="333" y="295"/>
                      <a:pt x="333" y="295"/>
                      <a:pt x="333" y="295"/>
                    </a:cubicBezTo>
                    <a:cubicBezTo>
                      <a:pt x="333" y="296"/>
                      <a:pt x="333" y="296"/>
                      <a:pt x="333" y="296"/>
                    </a:cubicBezTo>
                    <a:cubicBezTo>
                      <a:pt x="333" y="299"/>
                      <a:pt x="333" y="299"/>
                      <a:pt x="333" y="299"/>
                    </a:cubicBezTo>
                    <a:cubicBezTo>
                      <a:pt x="333" y="299"/>
                      <a:pt x="333" y="299"/>
                      <a:pt x="333" y="299"/>
                    </a:cubicBezTo>
                    <a:cubicBezTo>
                      <a:pt x="331" y="299"/>
                      <a:pt x="331" y="299"/>
                      <a:pt x="331" y="299"/>
                    </a:cubicBezTo>
                    <a:cubicBezTo>
                      <a:pt x="329" y="300"/>
                      <a:pt x="329" y="300"/>
                      <a:pt x="329" y="300"/>
                    </a:cubicBezTo>
                    <a:cubicBezTo>
                      <a:pt x="328" y="299"/>
                      <a:pt x="328" y="299"/>
                      <a:pt x="328" y="299"/>
                    </a:cubicBezTo>
                    <a:cubicBezTo>
                      <a:pt x="327" y="299"/>
                      <a:pt x="327" y="299"/>
                      <a:pt x="327" y="299"/>
                    </a:cubicBezTo>
                    <a:cubicBezTo>
                      <a:pt x="326" y="299"/>
                      <a:pt x="326" y="299"/>
                      <a:pt x="326" y="299"/>
                    </a:cubicBezTo>
                    <a:cubicBezTo>
                      <a:pt x="324" y="300"/>
                      <a:pt x="324" y="300"/>
                      <a:pt x="324" y="300"/>
                    </a:cubicBezTo>
                    <a:cubicBezTo>
                      <a:pt x="324" y="301"/>
                      <a:pt x="324" y="301"/>
                      <a:pt x="324" y="301"/>
                    </a:cubicBezTo>
                    <a:cubicBezTo>
                      <a:pt x="323" y="302"/>
                      <a:pt x="323" y="302"/>
                      <a:pt x="323" y="302"/>
                    </a:cubicBezTo>
                    <a:cubicBezTo>
                      <a:pt x="322" y="302"/>
                      <a:pt x="322" y="302"/>
                      <a:pt x="322" y="302"/>
                    </a:cubicBezTo>
                    <a:cubicBezTo>
                      <a:pt x="321" y="302"/>
                      <a:pt x="321" y="302"/>
                      <a:pt x="321" y="302"/>
                    </a:cubicBezTo>
                    <a:cubicBezTo>
                      <a:pt x="321" y="303"/>
                      <a:pt x="321" y="303"/>
                      <a:pt x="321" y="303"/>
                    </a:cubicBezTo>
                    <a:cubicBezTo>
                      <a:pt x="320" y="304"/>
                      <a:pt x="320" y="304"/>
                      <a:pt x="320" y="304"/>
                    </a:cubicBezTo>
                    <a:cubicBezTo>
                      <a:pt x="319" y="304"/>
                      <a:pt x="319" y="304"/>
                      <a:pt x="319" y="304"/>
                    </a:cubicBezTo>
                    <a:cubicBezTo>
                      <a:pt x="318" y="304"/>
                      <a:pt x="318" y="304"/>
                      <a:pt x="318" y="304"/>
                    </a:cubicBezTo>
                    <a:cubicBezTo>
                      <a:pt x="317" y="303"/>
                      <a:pt x="317" y="303"/>
                      <a:pt x="317" y="303"/>
                    </a:cubicBezTo>
                    <a:cubicBezTo>
                      <a:pt x="314" y="301"/>
                      <a:pt x="314" y="301"/>
                      <a:pt x="314" y="301"/>
                    </a:cubicBezTo>
                    <a:cubicBezTo>
                      <a:pt x="312" y="300"/>
                      <a:pt x="312" y="300"/>
                      <a:pt x="312" y="300"/>
                    </a:cubicBezTo>
                    <a:cubicBezTo>
                      <a:pt x="308" y="296"/>
                      <a:pt x="308" y="296"/>
                      <a:pt x="308" y="296"/>
                    </a:cubicBezTo>
                    <a:cubicBezTo>
                      <a:pt x="308" y="294"/>
                      <a:pt x="308" y="294"/>
                      <a:pt x="308" y="294"/>
                    </a:cubicBezTo>
                    <a:cubicBezTo>
                      <a:pt x="308" y="293"/>
                      <a:pt x="308" y="293"/>
                      <a:pt x="308" y="293"/>
                    </a:cubicBezTo>
                    <a:cubicBezTo>
                      <a:pt x="308" y="293"/>
                      <a:pt x="308" y="293"/>
                      <a:pt x="308" y="293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93"/>
                      <a:pt x="310" y="293"/>
                      <a:pt x="310" y="293"/>
                    </a:cubicBezTo>
                    <a:cubicBezTo>
                      <a:pt x="311" y="294"/>
                      <a:pt x="311" y="294"/>
                      <a:pt x="311" y="294"/>
                    </a:cubicBezTo>
                    <a:cubicBezTo>
                      <a:pt x="314" y="295"/>
                      <a:pt x="314" y="295"/>
                      <a:pt x="314" y="295"/>
                    </a:cubicBezTo>
                    <a:cubicBezTo>
                      <a:pt x="316" y="297"/>
                      <a:pt x="316" y="297"/>
                      <a:pt x="316" y="297"/>
                    </a:cubicBezTo>
                    <a:cubicBezTo>
                      <a:pt x="317" y="297"/>
                      <a:pt x="317" y="297"/>
                      <a:pt x="317" y="297"/>
                    </a:cubicBezTo>
                    <a:cubicBezTo>
                      <a:pt x="319" y="296"/>
                      <a:pt x="319" y="296"/>
                      <a:pt x="319" y="296"/>
                    </a:cubicBezTo>
                    <a:cubicBezTo>
                      <a:pt x="319" y="295"/>
                      <a:pt x="319" y="295"/>
                      <a:pt x="319" y="295"/>
                    </a:cubicBezTo>
                    <a:cubicBezTo>
                      <a:pt x="319" y="295"/>
                      <a:pt x="319" y="295"/>
                      <a:pt x="319" y="295"/>
                    </a:cubicBezTo>
                    <a:cubicBezTo>
                      <a:pt x="318" y="295"/>
                      <a:pt x="318" y="295"/>
                      <a:pt x="318" y="295"/>
                    </a:cubicBezTo>
                    <a:cubicBezTo>
                      <a:pt x="317" y="295"/>
                      <a:pt x="317" y="295"/>
                      <a:pt x="317" y="295"/>
                    </a:cubicBezTo>
                    <a:cubicBezTo>
                      <a:pt x="315" y="295"/>
                      <a:pt x="315" y="295"/>
                      <a:pt x="315" y="295"/>
                    </a:cubicBezTo>
                    <a:cubicBezTo>
                      <a:pt x="312" y="293"/>
                      <a:pt x="312" y="293"/>
                      <a:pt x="312" y="293"/>
                    </a:cubicBezTo>
                    <a:cubicBezTo>
                      <a:pt x="309" y="291"/>
                      <a:pt x="309" y="291"/>
                      <a:pt x="309" y="291"/>
                    </a:cubicBezTo>
                    <a:cubicBezTo>
                      <a:pt x="308" y="291"/>
                      <a:pt x="308" y="291"/>
                      <a:pt x="308" y="291"/>
                    </a:cubicBezTo>
                    <a:cubicBezTo>
                      <a:pt x="308" y="290"/>
                      <a:pt x="308" y="290"/>
                      <a:pt x="308" y="290"/>
                    </a:cubicBezTo>
                    <a:cubicBezTo>
                      <a:pt x="308" y="289"/>
                      <a:pt x="308" y="289"/>
                      <a:pt x="308" y="289"/>
                    </a:cubicBezTo>
                    <a:cubicBezTo>
                      <a:pt x="307" y="289"/>
                      <a:pt x="307" y="289"/>
                      <a:pt x="307" y="289"/>
                    </a:cubicBezTo>
                    <a:cubicBezTo>
                      <a:pt x="306" y="289"/>
                      <a:pt x="306" y="289"/>
                      <a:pt x="306" y="289"/>
                    </a:cubicBezTo>
                    <a:cubicBezTo>
                      <a:pt x="306" y="290"/>
                      <a:pt x="306" y="290"/>
                      <a:pt x="306" y="290"/>
                    </a:cubicBezTo>
                    <a:cubicBezTo>
                      <a:pt x="305" y="292"/>
                      <a:pt x="305" y="292"/>
                      <a:pt x="305" y="292"/>
                    </a:cubicBezTo>
                    <a:cubicBezTo>
                      <a:pt x="305" y="295"/>
                      <a:pt x="305" y="295"/>
                      <a:pt x="305" y="295"/>
                    </a:cubicBezTo>
                    <a:cubicBezTo>
                      <a:pt x="305" y="296"/>
                      <a:pt x="305" y="296"/>
                      <a:pt x="305" y="296"/>
                    </a:cubicBezTo>
                    <a:cubicBezTo>
                      <a:pt x="305" y="297"/>
                      <a:pt x="305" y="297"/>
                      <a:pt x="305" y="297"/>
                    </a:cubicBezTo>
                    <a:cubicBezTo>
                      <a:pt x="304" y="296"/>
                      <a:pt x="304" y="296"/>
                      <a:pt x="304" y="296"/>
                    </a:cubicBezTo>
                    <a:cubicBezTo>
                      <a:pt x="301" y="293"/>
                      <a:pt x="301" y="293"/>
                      <a:pt x="301" y="293"/>
                    </a:cubicBezTo>
                    <a:cubicBezTo>
                      <a:pt x="299" y="289"/>
                      <a:pt x="299" y="289"/>
                      <a:pt x="299" y="289"/>
                    </a:cubicBezTo>
                    <a:cubicBezTo>
                      <a:pt x="299" y="288"/>
                      <a:pt x="299" y="288"/>
                      <a:pt x="299" y="288"/>
                    </a:cubicBezTo>
                    <a:cubicBezTo>
                      <a:pt x="298" y="287"/>
                      <a:pt x="298" y="287"/>
                      <a:pt x="298" y="287"/>
                    </a:cubicBezTo>
                    <a:cubicBezTo>
                      <a:pt x="298" y="287"/>
                      <a:pt x="298" y="287"/>
                      <a:pt x="298" y="287"/>
                    </a:cubicBezTo>
                    <a:cubicBezTo>
                      <a:pt x="297" y="286"/>
                      <a:pt x="297" y="286"/>
                      <a:pt x="297" y="286"/>
                    </a:cubicBezTo>
                    <a:cubicBezTo>
                      <a:pt x="297" y="287"/>
                      <a:pt x="297" y="287"/>
                      <a:pt x="297" y="287"/>
                    </a:cubicBezTo>
                    <a:cubicBezTo>
                      <a:pt x="297" y="288"/>
                      <a:pt x="297" y="288"/>
                      <a:pt x="297" y="288"/>
                    </a:cubicBezTo>
                    <a:cubicBezTo>
                      <a:pt x="298" y="289"/>
                      <a:pt x="298" y="289"/>
                      <a:pt x="298" y="289"/>
                    </a:cubicBezTo>
                    <a:cubicBezTo>
                      <a:pt x="300" y="292"/>
                      <a:pt x="300" y="292"/>
                      <a:pt x="300" y="292"/>
                    </a:cubicBezTo>
                    <a:cubicBezTo>
                      <a:pt x="301" y="293"/>
                      <a:pt x="301" y="293"/>
                      <a:pt x="301" y="293"/>
                    </a:cubicBezTo>
                    <a:cubicBezTo>
                      <a:pt x="302" y="295"/>
                      <a:pt x="302" y="295"/>
                      <a:pt x="302" y="295"/>
                    </a:cubicBezTo>
                    <a:cubicBezTo>
                      <a:pt x="302" y="296"/>
                      <a:pt x="302" y="296"/>
                      <a:pt x="302" y="296"/>
                    </a:cubicBezTo>
                    <a:cubicBezTo>
                      <a:pt x="302" y="297"/>
                      <a:pt x="302" y="297"/>
                      <a:pt x="302" y="297"/>
                    </a:cubicBezTo>
                    <a:cubicBezTo>
                      <a:pt x="301" y="297"/>
                      <a:pt x="301" y="297"/>
                      <a:pt x="301" y="297"/>
                    </a:cubicBezTo>
                    <a:cubicBezTo>
                      <a:pt x="300" y="297"/>
                      <a:pt x="300" y="297"/>
                      <a:pt x="300" y="297"/>
                    </a:cubicBezTo>
                    <a:cubicBezTo>
                      <a:pt x="298" y="298"/>
                      <a:pt x="298" y="298"/>
                      <a:pt x="298" y="298"/>
                    </a:cubicBezTo>
                    <a:cubicBezTo>
                      <a:pt x="298" y="299"/>
                      <a:pt x="298" y="299"/>
                      <a:pt x="298" y="299"/>
                    </a:cubicBez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5" y="301"/>
                      <a:pt x="295" y="301"/>
                      <a:pt x="295" y="301"/>
                    </a:cubicBezTo>
                    <a:cubicBezTo>
                      <a:pt x="293" y="301"/>
                      <a:pt x="293" y="301"/>
                      <a:pt x="293" y="301"/>
                    </a:cubicBezTo>
                    <a:cubicBezTo>
                      <a:pt x="292" y="301"/>
                      <a:pt x="292" y="301"/>
                      <a:pt x="292" y="301"/>
                    </a:cubicBezTo>
                    <a:cubicBezTo>
                      <a:pt x="291" y="300"/>
                      <a:pt x="291" y="300"/>
                      <a:pt x="291" y="300"/>
                    </a:cubicBezTo>
                    <a:cubicBezTo>
                      <a:pt x="290" y="300"/>
                      <a:pt x="290" y="300"/>
                      <a:pt x="290" y="300"/>
                    </a:cubicBezTo>
                    <a:cubicBezTo>
                      <a:pt x="289" y="299"/>
                      <a:pt x="289" y="299"/>
                      <a:pt x="289" y="299"/>
                    </a:cubicBezTo>
                    <a:cubicBezTo>
                      <a:pt x="289" y="298"/>
                      <a:pt x="289" y="298"/>
                      <a:pt x="289" y="298"/>
                    </a:cubicBezTo>
                    <a:cubicBezTo>
                      <a:pt x="287" y="297"/>
                      <a:pt x="287" y="297"/>
                      <a:pt x="287" y="297"/>
                    </a:cubicBezTo>
                    <a:cubicBezTo>
                      <a:pt x="285" y="296"/>
                      <a:pt x="285" y="296"/>
                      <a:pt x="285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4"/>
                      <a:pt x="285" y="294"/>
                      <a:pt x="285" y="294"/>
                    </a:cubicBezTo>
                    <a:cubicBezTo>
                      <a:pt x="284" y="294"/>
                      <a:pt x="284" y="294"/>
                      <a:pt x="284" y="294"/>
                    </a:cubicBezTo>
                    <a:cubicBezTo>
                      <a:pt x="284" y="294"/>
                      <a:pt x="284" y="294"/>
                      <a:pt x="284" y="294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7"/>
                      <a:pt x="285" y="297"/>
                      <a:pt x="285" y="297"/>
                    </a:cubicBezTo>
                    <a:cubicBezTo>
                      <a:pt x="286" y="298"/>
                      <a:pt x="286" y="298"/>
                      <a:pt x="286" y="298"/>
                    </a:cubicBezTo>
                    <a:cubicBezTo>
                      <a:pt x="288" y="299"/>
                      <a:pt x="288" y="299"/>
                      <a:pt x="288" y="299"/>
                    </a:cubicBezTo>
                    <a:cubicBezTo>
                      <a:pt x="289" y="301"/>
                      <a:pt x="289" y="301"/>
                      <a:pt x="289" y="301"/>
                    </a:cubicBezTo>
                    <a:cubicBezTo>
                      <a:pt x="289" y="302"/>
                      <a:pt x="289" y="302"/>
                      <a:pt x="289" y="302"/>
                    </a:cubicBezTo>
                    <a:cubicBezTo>
                      <a:pt x="288" y="302"/>
                      <a:pt x="288" y="302"/>
                      <a:pt x="288" y="302"/>
                    </a:cubicBezTo>
                    <a:cubicBezTo>
                      <a:pt x="285" y="302"/>
                      <a:pt x="285" y="302"/>
                      <a:pt x="285" y="302"/>
                    </a:cubicBezTo>
                    <a:cubicBezTo>
                      <a:pt x="283" y="302"/>
                      <a:pt x="283" y="302"/>
                      <a:pt x="283" y="302"/>
                    </a:cubicBezTo>
                    <a:cubicBezTo>
                      <a:pt x="281" y="302"/>
                      <a:pt x="281" y="302"/>
                      <a:pt x="281" y="302"/>
                    </a:cubicBezTo>
                    <a:cubicBezTo>
                      <a:pt x="280" y="303"/>
                      <a:pt x="280" y="303"/>
                      <a:pt x="280" y="303"/>
                    </a:cubicBezTo>
                    <a:cubicBezTo>
                      <a:pt x="281" y="304"/>
                      <a:pt x="281" y="304"/>
                      <a:pt x="281" y="304"/>
                    </a:cubicBezTo>
                    <a:cubicBezTo>
                      <a:pt x="281" y="304"/>
                      <a:pt x="281" y="304"/>
                      <a:pt x="281" y="304"/>
                    </a:cubicBezTo>
                    <a:cubicBezTo>
                      <a:pt x="282" y="305"/>
                      <a:pt x="282" y="305"/>
                      <a:pt x="282" y="305"/>
                    </a:cubicBezTo>
                    <a:cubicBezTo>
                      <a:pt x="283" y="306"/>
                      <a:pt x="283" y="306"/>
                      <a:pt x="283" y="306"/>
                    </a:cubicBezTo>
                    <a:cubicBezTo>
                      <a:pt x="283" y="305"/>
                      <a:pt x="283" y="305"/>
                      <a:pt x="283" y="305"/>
                    </a:cubicBezTo>
                    <a:cubicBezTo>
                      <a:pt x="284" y="304"/>
                      <a:pt x="284" y="304"/>
                      <a:pt x="284" y="304"/>
                    </a:cubicBezTo>
                    <a:cubicBezTo>
                      <a:pt x="285" y="303"/>
                      <a:pt x="285" y="303"/>
                      <a:pt x="285" y="303"/>
                    </a:cubicBezTo>
                    <a:cubicBezTo>
                      <a:pt x="285" y="303"/>
                      <a:pt x="287" y="304"/>
                      <a:pt x="287" y="304"/>
                    </a:cubicBezTo>
                    <a:cubicBezTo>
                      <a:pt x="287" y="304"/>
                      <a:pt x="288" y="305"/>
                      <a:pt x="288" y="305"/>
                    </a:cubicBezTo>
                    <a:cubicBezTo>
                      <a:pt x="289" y="304"/>
                      <a:pt x="289" y="304"/>
                      <a:pt x="289" y="304"/>
                    </a:cubicBezTo>
                    <a:cubicBezTo>
                      <a:pt x="289" y="303"/>
                      <a:pt x="289" y="303"/>
                      <a:pt x="289" y="303"/>
                    </a:cubicBezTo>
                    <a:cubicBezTo>
                      <a:pt x="291" y="302"/>
                      <a:pt x="291" y="302"/>
                      <a:pt x="291" y="302"/>
                    </a:cubicBezTo>
                    <a:cubicBezTo>
                      <a:pt x="292" y="303"/>
                      <a:pt x="292" y="303"/>
                      <a:pt x="292" y="303"/>
                    </a:cubicBezTo>
                    <a:cubicBezTo>
                      <a:pt x="294" y="302"/>
                      <a:pt x="294" y="302"/>
                      <a:pt x="294" y="302"/>
                    </a:cubicBezTo>
                    <a:cubicBezTo>
                      <a:pt x="295" y="303"/>
                      <a:pt x="295" y="303"/>
                      <a:pt x="295" y="303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8" y="304"/>
                      <a:pt x="298" y="304"/>
                      <a:pt x="298" y="304"/>
                    </a:cubicBezTo>
                    <a:cubicBezTo>
                      <a:pt x="299" y="305"/>
                      <a:pt x="299" y="305"/>
                      <a:pt x="299" y="305"/>
                    </a:cubicBezTo>
                    <a:cubicBezTo>
                      <a:pt x="300" y="307"/>
                      <a:pt x="300" y="307"/>
                      <a:pt x="300" y="307"/>
                    </a:cubicBezTo>
                    <a:cubicBezTo>
                      <a:pt x="299" y="308"/>
                      <a:pt x="299" y="308"/>
                      <a:pt x="299" y="308"/>
                    </a:cubicBezTo>
                    <a:cubicBezTo>
                      <a:pt x="299" y="308"/>
                      <a:pt x="299" y="308"/>
                      <a:pt x="299" y="308"/>
                    </a:cubicBezTo>
                    <a:cubicBezTo>
                      <a:pt x="298" y="309"/>
                      <a:pt x="298" y="309"/>
                      <a:pt x="298" y="309"/>
                    </a:cubicBezTo>
                    <a:cubicBezTo>
                      <a:pt x="296" y="309"/>
                      <a:pt x="296" y="309"/>
                      <a:pt x="296" y="309"/>
                    </a:cubicBezTo>
                    <a:cubicBezTo>
                      <a:pt x="295" y="309"/>
                      <a:pt x="295" y="309"/>
                      <a:pt x="295" y="309"/>
                    </a:cubicBezTo>
                    <a:cubicBezTo>
                      <a:pt x="293" y="310"/>
                      <a:pt x="293" y="310"/>
                      <a:pt x="293" y="310"/>
                    </a:cubicBezTo>
                    <a:cubicBezTo>
                      <a:pt x="292" y="311"/>
                      <a:pt x="292" y="311"/>
                      <a:pt x="292" y="311"/>
                    </a:cubicBezTo>
                    <a:cubicBezTo>
                      <a:pt x="290" y="311"/>
                      <a:pt x="290" y="311"/>
                      <a:pt x="290" y="311"/>
                    </a:cubicBezTo>
                    <a:cubicBezTo>
                      <a:pt x="289" y="309"/>
                      <a:pt x="289" y="309"/>
                      <a:pt x="289" y="309"/>
                    </a:cubicBezTo>
                    <a:cubicBezTo>
                      <a:pt x="288" y="308"/>
                      <a:pt x="288" y="308"/>
                      <a:pt x="288" y="308"/>
                    </a:cubicBezTo>
                    <a:cubicBezTo>
                      <a:pt x="287" y="309"/>
                      <a:pt x="287" y="309"/>
                      <a:pt x="287" y="309"/>
                    </a:cubicBezTo>
                    <a:cubicBezTo>
                      <a:pt x="286" y="309"/>
                      <a:pt x="286" y="309"/>
                      <a:pt x="286" y="309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4" y="309"/>
                      <a:pt x="284" y="309"/>
                      <a:pt x="284" y="309"/>
                    </a:cubicBezTo>
                    <a:cubicBezTo>
                      <a:pt x="283" y="309"/>
                      <a:pt x="283" y="309"/>
                      <a:pt x="283" y="309"/>
                    </a:cubicBezTo>
                    <a:cubicBezTo>
                      <a:pt x="283" y="310"/>
                      <a:pt x="283" y="310"/>
                      <a:pt x="283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7" y="310"/>
                      <a:pt x="287" y="310"/>
                      <a:pt x="287" y="310"/>
                    </a:cubicBezTo>
                    <a:cubicBezTo>
                      <a:pt x="288" y="310"/>
                      <a:pt x="288" y="310"/>
                      <a:pt x="288" y="310"/>
                    </a:cubicBezTo>
                    <a:cubicBezTo>
                      <a:pt x="289" y="311"/>
                      <a:pt x="289" y="311"/>
                      <a:pt x="289" y="311"/>
                    </a:cubicBezTo>
                    <a:cubicBezTo>
                      <a:pt x="288" y="312"/>
                      <a:pt x="288" y="312"/>
                      <a:pt x="288" y="312"/>
                    </a:cubicBezTo>
                    <a:cubicBezTo>
                      <a:pt x="286" y="312"/>
                      <a:pt x="286" y="312"/>
                      <a:pt x="286" y="312"/>
                    </a:cubicBezTo>
                    <a:cubicBezTo>
                      <a:pt x="285" y="313"/>
                      <a:pt x="285" y="313"/>
                      <a:pt x="285" y="313"/>
                    </a:cubicBezTo>
                    <a:cubicBezTo>
                      <a:pt x="284" y="313"/>
                      <a:pt x="284" y="313"/>
                      <a:pt x="284" y="313"/>
                    </a:cubicBezTo>
                    <a:cubicBezTo>
                      <a:pt x="285" y="314"/>
                      <a:pt x="285" y="314"/>
                      <a:pt x="285" y="314"/>
                    </a:cubicBezTo>
                    <a:cubicBezTo>
                      <a:pt x="286" y="313"/>
                      <a:pt x="286" y="313"/>
                      <a:pt x="286" y="313"/>
                    </a:cubicBezTo>
                    <a:cubicBezTo>
                      <a:pt x="288" y="312"/>
                      <a:pt x="288" y="312"/>
                      <a:pt x="288" y="312"/>
                    </a:cubicBezTo>
                    <a:cubicBezTo>
                      <a:pt x="289" y="312"/>
                      <a:pt x="289" y="312"/>
                      <a:pt x="289" y="312"/>
                    </a:cubicBezTo>
                    <a:cubicBezTo>
                      <a:pt x="289" y="313"/>
                      <a:pt x="289" y="313"/>
                      <a:pt x="289" y="313"/>
                    </a:cubicBezTo>
                    <a:cubicBezTo>
                      <a:pt x="289" y="315"/>
                      <a:pt x="289" y="315"/>
                      <a:pt x="289" y="315"/>
                    </a:cubicBezTo>
                    <a:cubicBezTo>
                      <a:pt x="290" y="315"/>
                      <a:pt x="290" y="315"/>
                      <a:pt x="290" y="315"/>
                    </a:cubicBezTo>
                    <a:cubicBezTo>
                      <a:pt x="291" y="313"/>
                      <a:pt x="291" y="313"/>
                      <a:pt x="291" y="313"/>
                    </a:cubicBezTo>
                    <a:cubicBezTo>
                      <a:pt x="292" y="313"/>
                      <a:pt x="292" y="313"/>
                      <a:pt x="292" y="313"/>
                    </a:cubicBezTo>
                    <a:cubicBezTo>
                      <a:pt x="293" y="313"/>
                      <a:pt x="293" y="313"/>
                      <a:pt x="293" y="313"/>
                    </a:cubicBezTo>
                    <a:cubicBezTo>
                      <a:pt x="295" y="311"/>
                      <a:pt x="295" y="311"/>
                      <a:pt x="295" y="311"/>
                    </a:cubicBezTo>
                    <a:cubicBezTo>
                      <a:pt x="295" y="311"/>
                      <a:pt x="295" y="311"/>
                      <a:pt x="295" y="311"/>
                    </a:cubicBezTo>
                    <a:cubicBezTo>
                      <a:pt x="296" y="312"/>
                      <a:pt x="296" y="312"/>
                      <a:pt x="296" y="312"/>
                    </a:cubicBezTo>
                    <a:cubicBezTo>
                      <a:pt x="299" y="314"/>
                      <a:pt x="299" y="314"/>
                      <a:pt x="299" y="314"/>
                    </a:cubicBezTo>
                    <a:cubicBezTo>
                      <a:pt x="299" y="313"/>
                      <a:pt x="299" y="313"/>
                      <a:pt x="299" y="313"/>
                    </a:cubicBezTo>
                    <a:cubicBezTo>
                      <a:pt x="300" y="314"/>
                      <a:pt x="300" y="314"/>
                      <a:pt x="300" y="314"/>
                    </a:cubicBezTo>
                    <a:cubicBezTo>
                      <a:pt x="300" y="315"/>
                      <a:pt x="300" y="315"/>
                      <a:pt x="300" y="315"/>
                    </a:cubicBezTo>
                    <a:cubicBezTo>
                      <a:pt x="300" y="318"/>
                      <a:pt x="300" y="318"/>
                      <a:pt x="300" y="318"/>
                    </a:cubicBezTo>
                    <a:cubicBezTo>
                      <a:pt x="299" y="319"/>
                      <a:pt x="299" y="319"/>
                      <a:pt x="299" y="319"/>
                    </a:cubicBezTo>
                    <a:cubicBezTo>
                      <a:pt x="297" y="320"/>
                      <a:pt x="297" y="320"/>
                      <a:pt x="297" y="320"/>
                    </a:cubicBezTo>
                    <a:cubicBezTo>
                      <a:pt x="295" y="319"/>
                      <a:pt x="295" y="319"/>
                      <a:pt x="295" y="319"/>
                    </a:cubicBezTo>
                    <a:cubicBezTo>
                      <a:pt x="294" y="319"/>
                      <a:pt x="294" y="319"/>
                      <a:pt x="294" y="319"/>
                    </a:cubicBezTo>
                    <a:cubicBezTo>
                      <a:pt x="291" y="319"/>
                      <a:pt x="291" y="319"/>
                      <a:pt x="291" y="319"/>
                    </a:cubicBezTo>
                    <a:cubicBezTo>
                      <a:pt x="290" y="319"/>
                      <a:pt x="290" y="319"/>
                      <a:pt x="290" y="319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91" y="320"/>
                      <a:pt x="291" y="320"/>
                      <a:pt x="291" y="320"/>
                    </a:cubicBezTo>
                    <a:cubicBezTo>
                      <a:pt x="293" y="320"/>
                      <a:pt x="293" y="320"/>
                      <a:pt x="293" y="320"/>
                    </a:cubicBezTo>
                    <a:cubicBezTo>
                      <a:pt x="296" y="321"/>
                      <a:pt x="296" y="321"/>
                      <a:pt x="296" y="321"/>
                    </a:cubicBezTo>
                    <a:cubicBezTo>
                      <a:pt x="296" y="322"/>
                      <a:pt x="296" y="322"/>
                      <a:pt x="296" y="322"/>
                    </a:cubicBezTo>
                    <a:cubicBezTo>
                      <a:pt x="296" y="323"/>
                      <a:pt x="296" y="323"/>
                      <a:pt x="296" y="323"/>
                    </a:cubicBezTo>
                    <a:cubicBezTo>
                      <a:pt x="297" y="321"/>
                      <a:pt x="297" y="321"/>
                      <a:pt x="297" y="321"/>
                    </a:cubicBezTo>
                    <a:cubicBezTo>
                      <a:pt x="299" y="321"/>
                      <a:pt x="299" y="321"/>
                      <a:pt x="299" y="321"/>
                    </a:cubicBezTo>
                    <a:cubicBezTo>
                      <a:pt x="301" y="321"/>
                      <a:pt x="301" y="321"/>
                      <a:pt x="301" y="321"/>
                    </a:cubicBezTo>
                    <a:cubicBezTo>
                      <a:pt x="303" y="322"/>
                      <a:pt x="303" y="322"/>
                      <a:pt x="303" y="322"/>
                    </a:cubicBezTo>
                    <a:cubicBezTo>
                      <a:pt x="303" y="322"/>
                      <a:pt x="303" y="322"/>
                      <a:pt x="303" y="322"/>
                    </a:cubicBezTo>
                    <a:cubicBezTo>
                      <a:pt x="306" y="325"/>
                      <a:pt x="306" y="325"/>
                      <a:pt x="306" y="325"/>
                    </a:cubicBezTo>
                    <a:cubicBezTo>
                      <a:pt x="306" y="325"/>
                      <a:pt x="306" y="325"/>
                      <a:pt x="306" y="325"/>
                    </a:cubicBezTo>
                    <a:cubicBezTo>
                      <a:pt x="307" y="326"/>
                      <a:pt x="307" y="326"/>
                      <a:pt x="307" y="326"/>
                    </a:cubicBezTo>
                    <a:cubicBezTo>
                      <a:pt x="308" y="326"/>
                      <a:pt x="308" y="326"/>
                      <a:pt x="308" y="326"/>
                    </a:cubicBezTo>
                    <a:cubicBezTo>
                      <a:pt x="308" y="327"/>
                      <a:pt x="308" y="327"/>
                      <a:pt x="308" y="327"/>
                    </a:cubicBezTo>
                    <a:cubicBezTo>
                      <a:pt x="309" y="327"/>
                      <a:pt x="309" y="327"/>
                      <a:pt x="309" y="327"/>
                    </a:cubicBezTo>
                    <a:cubicBezTo>
                      <a:pt x="310" y="328"/>
                      <a:pt x="310" y="328"/>
                      <a:pt x="310" y="328"/>
                    </a:cubicBezTo>
                    <a:cubicBezTo>
                      <a:pt x="311" y="329"/>
                      <a:pt x="311" y="329"/>
                      <a:pt x="311" y="329"/>
                    </a:cubicBezTo>
                    <a:cubicBezTo>
                      <a:pt x="312" y="330"/>
                      <a:pt x="312" y="330"/>
                      <a:pt x="312" y="330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4" y="332"/>
                      <a:pt x="314" y="332"/>
                      <a:pt x="314" y="332"/>
                    </a:cubicBezTo>
                    <a:cubicBezTo>
                      <a:pt x="315" y="332"/>
                      <a:pt x="315" y="332"/>
                      <a:pt x="315" y="332"/>
                    </a:cubicBezTo>
                    <a:cubicBezTo>
                      <a:pt x="315" y="333"/>
                      <a:pt x="315" y="333"/>
                      <a:pt x="315" y="333"/>
                    </a:cubicBezTo>
                    <a:cubicBezTo>
                      <a:pt x="314" y="335"/>
                      <a:pt x="314" y="335"/>
                      <a:pt x="314" y="335"/>
                    </a:cubicBezTo>
                    <a:cubicBezTo>
                      <a:pt x="313" y="336"/>
                      <a:pt x="313" y="336"/>
                      <a:pt x="313" y="336"/>
                    </a:cubicBezTo>
                    <a:cubicBezTo>
                      <a:pt x="312" y="337"/>
                      <a:pt x="312" y="337"/>
                      <a:pt x="312" y="337"/>
                    </a:cubicBezTo>
                    <a:cubicBezTo>
                      <a:pt x="312" y="338"/>
                      <a:pt x="312" y="338"/>
                      <a:pt x="312" y="338"/>
                    </a:cubicBezTo>
                    <a:cubicBezTo>
                      <a:pt x="312" y="339"/>
                      <a:pt x="312" y="339"/>
                      <a:pt x="312" y="339"/>
                    </a:cubicBezTo>
                    <a:cubicBezTo>
                      <a:pt x="313" y="337"/>
                      <a:pt x="313" y="337"/>
                      <a:pt x="313" y="337"/>
                    </a:cubicBezTo>
                    <a:cubicBezTo>
                      <a:pt x="314" y="336"/>
                      <a:pt x="314" y="336"/>
                      <a:pt x="314" y="336"/>
                    </a:cubicBezTo>
                    <a:cubicBezTo>
                      <a:pt x="315" y="335"/>
                      <a:pt x="315" y="335"/>
                      <a:pt x="315" y="335"/>
                    </a:cubicBezTo>
                    <a:cubicBezTo>
                      <a:pt x="316" y="336"/>
                      <a:pt x="316" y="336"/>
                      <a:pt x="316" y="336"/>
                    </a:cubicBezTo>
                    <a:cubicBezTo>
                      <a:pt x="315" y="337"/>
                      <a:pt x="315" y="337"/>
                      <a:pt x="315" y="337"/>
                    </a:cubicBezTo>
                    <a:cubicBezTo>
                      <a:pt x="315" y="338"/>
                      <a:pt x="315" y="338"/>
                      <a:pt x="315" y="338"/>
                    </a:cubicBezTo>
                    <a:cubicBezTo>
                      <a:pt x="315" y="338"/>
                      <a:pt x="315" y="338"/>
                      <a:pt x="315" y="338"/>
                    </a:cubicBezTo>
                    <a:cubicBezTo>
                      <a:pt x="316" y="337"/>
                      <a:pt x="316" y="337"/>
                      <a:pt x="316" y="337"/>
                    </a:cubicBezTo>
                    <a:cubicBezTo>
                      <a:pt x="317" y="336"/>
                      <a:pt x="317" y="336"/>
                      <a:pt x="317" y="336"/>
                    </a:cubicBezTo>
                    <a:cubicBezTo>
                      <a:pt x="318" y="336"/>
                      <a:pt x="318" y="336"/>
                      <a:pt x="318" y="336"/>
                    </a:cubicBezTo>
                    <a:cubicBezTo>
                      <a:pt x="319" y="337"/>
                      <a:pt x="319" y="337"/>
                      <a:pt x="319" y="337"/>
                    </a:cubicBezTo>
                    <a:cubicBezTo>
                      <a:pt x="318" y="338"/>
                      <a:pt x="318" y="338"/>
                      <a:pt x="318" y="338"/>
                    </a:cubicBezTo>
                    <a:cubicBezTo>
                      <a:pt x="317" y="339"/>
                      <a:pt x="317" y="339"/>
                      <a:pt x="317" y="339"/>
                    </a:cubicBezTo>
                    <a:cubicBezTo>
                      <a:pt x="315" y="341"/>
                      <a:pt x="315" y="341"/>
                      <a:pt x="315" y="341"/>
                    </a:cubicBezTo>
                    <a:cubicBezTo>
                      <a:pt x="315" y="342"/>
                      <a:pt x="315" y="342"/>
                      <a:pt x="315" y="342"/>
                    </a:cubicBezTo>
                    <a:cubicBezTo>
                      <a:pt x="315" y="343"/>
                      <a:pt x="315" y="343"/>
                      <a:pt x="315" y="343"/>
                    </a:cubicBezTo>
                    <a:cubicBezTo>
                      <a:pt x="315" y="344"/>
                      <a:pt x="315" y="344"/>
                      <a:pt x="315" y="344"/>
                    </a:cubicBezTo>
                    <a:cubicBezTo>
                      <a:pt x="315" y="345"/>
                      <a:pt x="315" y="345"/>
                      <a:pt x="315" y="345"/>
                    </a:cubicBezTo>
                    <a:cubicBezTo>
                      <a:pt x="315" y="347"/>
                      <a:pt x="315" y="347"/>
                      <a:pt x="315" y="347"/>
                    </a:cubicBezTo>
                    <a:cubicBezTo>
                      <a:pt x="315" y="347"/>
                      <a:pt x="315" y="347"/>
                      <a:pt x="315" y="347"/>
                    </a:cubicBezTo>
                    <a:cubicBezTo>
                      <a:pt x="316" y="347"/>
                      <a:pt x="316" y="347"/>
                      <a:pt x="316" y="347"/>
                    </a:cubicBezTo>
                    <a:cubicBezTo>
                      <a:pt x="316" y="345"/>
                      <a:pt x="316" y="345"/>
                      <a:pt x="316" y="345"/>
                    </a:cubicBezTo>
                    <a:cubicBezTo>
                      <a:pt x="317" y="343"/>
                      <a:pt x="317" y="343"/>
                      <a:pt x="317" y="343"/>
                    </a:cubicBezTo>
                    <a:cubicBezTo>
                      <a:pt x="319" y="342"/>
                      <a:pt x="319" y="342"/>
                      <a:pt x="319" y="342"/>
                    </a:cubicBezTo>
                    <a:cubicBezTo>
                      <a:pt x="319" y="342"/>
                      <a:pt x="319" y="342"/>
                      <a:pt x="319" y="342"/>
                    </a:cubicBezTo>
                    <a:cubicBezTo>
                      <a:pt x="319" y="343"/>
                      <a:pt x="319" y="343"/>
                      <a:pt x="319" y="343"/>
                    </a:cubicBezTo>
                    <a:cubicBezTo>
                      <a:pt x="319" y="344"/>
                      <a:pt x="319" y="344"/>
                      <a:pt x="319" y="344"/>
                    </a:cubicBezTo>
                    <a:cubicBezTo>
                      <a:pt x="318" y="346"/>
                      <a:pt x="318" y="346"/>
                      <a:pt x="318" y="346"/>
                    </a:cubicBezTo>
                    <a:cubicBezTo>
                      <a:pt x="318" y="347"/>
                      <a:pt x="318" y="347"/>
                      <a:pt x="318" y="347"/>
                    </a:cubicBezTo>
                    <a:cubicBezTo>
                      <a:pt x="319" y="346"/>
                      <a:pt x="319" y="346"/>
                      <a:pt x="319" y="346"/>
                    </a:cubicBezTo>
                    <a:cubicBezTo>
                      <a:pt x="320" y="347"/>
                      <a:pt x="320" y="347"/>
                      <a:pt x="320" y="347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17" y="350"/>
                      <a:pt x="317" y="350"/>
                      <a:pt x="317" y="350"/>
                    </a:cubicBezTo>
                    <a:cubicBezTo>
                      <a:pt x="317" y="351"/>
                      <a:pt x="317" y="351"/>
                      <a:pt x="317" y="351"/>
                    </a:cubicBezTo>
                    <a:cubicBezTo>
                      <a:pt x="317" y="351"/>
                      <a:pt x="317" y="351"/>
                      <a:pt x="317" y="351"/>
                    </a:cubicBezTo>
                    <a:cubicBezTo>
                      <a:pt x="319" y="351"/>
                      <a:pt x="319" y="351"/>
                      <a:pt x="319" y="351"/>
                    </a:cubicBezTo>
                    <a:cubicBezTo>
                      <a:pt x="319" y="351"/>
                      <a:pt x="319" y="351"/>
                      <a:pt x="319" y="351"/>
                    </a:cubicBezTo>
                    <a:cubicBezTo>
                      <a:pt x="319" y="352"/>
                      <a:pt x="319" y="352"/>
                      <a:pt x="319" y="352"/>
                    </a:cubicBezTo>
                    <a:cubicBezTo>
                      <a:pt x="318" y="353"/>
                      <a:pt x="318" y="353"/>
                      <a:pt x="318" y="353"/>
                    </a:cubicBezTo>
                    <a:cubicBezTo>
                      <a:pt x="319" y="353"/>
                      <a:pt x="319" y="353"/>
                      <a:pt x="319" y="353"/>
                    </a:cubicBezTo>
                    <a:cubicBezTo>
                      <a:pt x="320" y="354"/>
                      <a:pt x="320" y="354"/>
                      <a:pt x="320" y="354"/>
                    </a:cubicBezTo>
                    <a:cubicBezTo>
                      <a:pt x="319" y="355"/>
                      <a:pt x="319" y="355"/>
                      <a:pt x="319" y="355"/>
                    </a:cubicBezTo>
                    <a:cubicBezTo>
                      <a:pt x="319" y="357"/>
                      <a:pt x="319" y="357"/>
                      <a:pt x="319" y="357"/>
                    </a:cubicBezTo>
                    <a:cubicBezTo>
                      <a:pt x="319" y="358"/>
                      <a:pt x="319" y="358"/>
                      <a:pt x="319" y="358"/>
                    </a:cubicBezTo>
                    <a:cubicBezTo>
                      <a:pt x="319" y="361"/>
                      <a:pt x="319" y="361"/>
                      <a:pt x="319" y="361"/>
                    </a:cubicBezTo>
                    <a:cubicBezTo>
                      <a:pt x="319" y="363"/>
                      <a:pt x="319" y="363"/>
                      <a:pt x="319" y="363"/>
                    </a:cubicBezTo>
                    <a:cubicBezTo>
                      <a:pt x="319" y="364"/>
                      <a:pt x="319" y="364"/>
                      <a:pt x="319" y="364"/>
                    </a:cubicBezTo>
                    <a:cubicBezTo>
                      <a:pt x="318" y="365"/>
                      <a:pt x="318" y="365"/>
                      <a:pt x="318" y="365"/>
                    </a:cubicBezTo>
                    <a:cubicBezTo>
                      <a:pt x="317" y="364"/>
                      <a:pt x="317" y="364"/>
                      <a:pt x="317" y="364"/>
                    </a:cubicBezTo>
                    <a:cubicBezTo>
                      <a:pt x="316" y="365"/>
                      <a:pt x="316" y="365"/>
                      <a:pt x="316" y="365"/>
                    </a:cubicBezTo>
                    <a:cubicBezTo>
                      <a:pt x="316" y="364"/>
                      <a:pt x="316" y="364"/>
                      <a:pt x="316" y="364"/>
                    </a:cubicBezTo>
                    <a:cubicBezTo>
                      <a:pt x="316" y="363"/>
                      <a:pt x="316" y="363"/>
                      <a:pt x="316" y="363"/>
                    </a:cubicBezTo>
                    <a:cubicBezTo>
                      <a:pt x="316" y="362"/>
                      <a:pt x="316" y="362"/>
                      <a:pt x="316" y="362"/>
                    </a:cubicBezTo>
                    <a:cubicBezTo>
                      <a:pt x="315" y="362"/>
                      <a:pt x="315" y="362"/>
                      <a:pt x="315" y="362"/>
                    </a:cubicBezTo>
                    <a:cubicBezTo>
                      <a:pt x="314" y="362"/>
                      <a:pt x="314" y="362"/>
                      <a:pt x="314" y="362"/>
                    </a:cubicBezTo>
                    <a:cubicBezTo>
                      <a:pt x="313" y="363"/>
                      <a:pt x="313" y="363"/>
                      <a:pt x="313" y="363"/>
                    </a:cubicBezTo>
                    <a:cubicBezTo>
                      <a:pt x="312" y="362"/>
                      <a:pt x="312" y="362"/>
                      <a:pt x="312" y="362"/>
                    </a:cubicBezTo>
                    <a:cubicBezTo>
                      <a:pt x="312" y="361"/>
                      <a:pt x="312" y="361"/>
                      <a:pt x="312" y="361"/>
                    </a:cubicBezTo>
                    <a:cubicBezTo>
                      <a:pt x="313" y="360"/>
                      <a:pt x="313" y="360"/>
                      <a:pt x="313" y="360"/>
                    </a:cubicBezTo>
                    <a:cubicBezTo>
                      <a:pt x="312" y="358"/>
                      <a:pt x="312" y="358"/>
                      <a:pt x="312" y="358"/>
                    </a:cubicBezTo>
                    <a:cubicBezTo>
                      <a:pt x="312" y="356"/>
                      <a:pt x="312" y="356"/>
                      <a:pt x="312" y="356"/>
                    </a:cubicBezTo>
                    <a:cubicBezTo>
                      <a:pt x="313" y="355"/>
                      <a:pt x="313" y="355"/>
                      <a:pt x="313" y="355"/>
                    </a:cubicBezTo>
                    <a:cubicBezTo>
                      <a:pt x="312" y="354"/>
                      <a:pt x="312" y="354"/>
                      <a:pt x="312" y="354"/>
                    </a:cubicBezTo>
                    <a:cubicBezTo>
                      <a:pt x="312" y="354"/>
                      <a:pt x="312" y="354"/>
                      <a:pt x="312" y="354"/>
                    </a:cubicBezTo>
                    <a:cubicBezTo>
                      <a:pt x="311" y="355"/>
                      <a:pt x="311" y="355"/>
                      <a:pt x="311" y="355"/>
                    </a:cubicBezTo>
                    <a:cubicBezTo>
                      <a:pt x="311" y="357"/>
                      <a:pt x="311" y="357"/>
                      <a:pt x="311" y="357"/>
                    </a:cubicBezTo>
                    <a:cubicBezTo>
                      <a:pt x="311" y="359"/>
                      <a:pt x="311" y="359"/>
                      <a:pt x="311" y="359"/>
                    </a:cubicBezTo>
                    <a:cubicBezTo>
                      <a:pt x="311" y="362"/>
                      <a:pt x="311" y="362"/>
                      <a:pt x="311" y="362"/>
                    </a:cubicBezTo>
                    <a:cubicBezTo>
                      <a:pt x="311" y="363"/>
                      <a:pt x="311" y="363"/>
                      <a:pt x="311" y="363"/>
                    </a:cubicBezTo>
                    <a:cubicBezTo>
                      <a:pt x="310" y="363"/>
                      <a:pt x="310" y="363"/>
                      <a:pt x="310" y="363"/>
                    </a:cubicBezTo>
                    <a:cubicBezTo>
                      <a:pt x="309" y="363"/>
                      <a:pt x="309" y="363"/>
                      <a:pt x="309" y="363"/>
                    </a:cubicBezTo>
                    <a:cubicBezTo>
                      <a:pt x="308" y="364"/>
                      <a:pt x="308" y="364"/>
                      <a:pt x="308" y="364"/>
                    </a:cubicBezTo>
                    <a:cubicBezTo>
                      <a:pt x="307" y="364"/>
                      <a:pt x="307" y="364"/>
                      <a:pt x="307" y="364"/>
                    </a:cubicBezTo>
                    <a:cubicBezTo>
                      <a:pt x="306" y="363"/>
                      <a:pt x="306" y="363"/>
                      <a:pt x="306" y="363"/>
                    </a:cubicBezTo>
                    <a:cubicBezTo>
                      <a:pt x="303" y="361"/>
                      <a:pt x="303" y="361"/>
                      <a:pt x="303" y="361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1" y="357"/>
                      <a:pt x="301" y="357"/>
                      <a:pt x="301" y="357"/>
                    </a:cubicBezTo>
                    <a:cubicBezTo>
                      <a:pt x="300" y="356"/>
                      <a:pt x="300" y="356"/>
                      <a:pt x="300" y="356"/>
                    </a:cubicBezTo>
                    <a:cubicBezTo>
                      <a:pt x="299" y="352"/>
                      <a:pt x="299" y="352"/>
                      <a:pt x="299" y="352"/>
                    </a:cubicBezTo>
                    <a:cubicBezTo>
                      <a:pt x="298" y="351"/>
                      <a:pt x="298" y="351"/>
                      <a:pt x="298" y="351"/>
                    </a:cubicBezTo>
                    <a:cubicBezTo>
                      <a:pt x="297" y="350"/>
                      <a:pt x="297" y="350"/>
                      <a:pt x="297" y="350"/>
                    </a:cubicBezTo>
                    <a:cubicBezTo>
                      <a:pt x="297" y="347"/>
                      <a:pt x="297" y="347"/>
                      <a:pt x="297" y="347"/>
                    </a:cubicBezTo>
                    <a:cubicBezTo>
                      <a:pt x="297" y="345"/>
                      <a:pt x="297" y="345"/>
                      <a:pt x="297" y="345"/>
                    </a:cubicBezTo>
                    <a:cubicBezTo>
                      <a:pt x="298" y="344"/>
                      <a:pt x="298" y="344"/>
                      <a:pt x="298" y="344"/>
                    </a:cubicBezTo>
                    <a:cubicBezTo>
                      <a:pt x="297" y="343"/>
                      <a:pt x="297" y="343"/>
                      <a:pt x="297" y="343"/>
                    </a:cubicBezTo>
                    <a:cubicBezTo>
                      <a:pt x="297" y="343"/>
                      <a:pt x="297" y="343"/>
                      <a:pt x="297" y="343"/>
                    </a:cubicBezTo>
                    <a:cubicBezTo>
                      <a:pt x="295" y="344"/>
                      <a:pt x="295" y="344"/>
                      <a:pt x="295" y="344"/>
                    </a:cubicBezTo>
                    <a:cubicBezTo>
                      <a:pt x="294" y="345"/>
                      <a:pt x="294" y="345"/>
                      <a:pt x="294" y="345"/>
                    </a:cubicBezTo>
                    <a:cubicBezTo>
                      <a:pt x="293" y="344"/>
                      <a:pt x="293" y="344"/>
                      <a:pt x="293" y="344"/>
                    </a:cubicBezTo>
                    <a:cubicBezTo>
                      <a:pt x="290" y="339"/>
                      <a:pt x="290" y="339"/>
                      <a:pt x="290" y="339"/>
                    </a:cubicBezTo>
                    <a:cubicBezTo>
                      <a:pt x="290" y="338"/>
                      <a:pt x="290" y="338"/>
                      <a:pt x="290" y="338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8" y="338"/>
                      <a:pt x="288" y="338"/>
                      <a:pt x="288" y="338"/>
                    </a:cubicBezTo>
                    <a:cubicBezTo>
                      <a:pt x="286" y="338"/>
                      <a:pt x="286" y="338"/>
                      <a:pt x="286" y="338"/>
                    </a:cubicBezTo>
                    <a:cubicBezTo>
                      <a:pt x="284" y="337"/>
                      <a:pt x="284" y="337"/>
                      <a:pt x="284" y="337"/>
                    </a:cubicBezTo>
                    <a:cubicBezTo>
                      <a:pt x="284" y="338"/>
                      <a:pt x="284" y="338"/>
                      <a:pt x="284" y="338"/>
                    </a:cubicBezTo>
                    <a:cubicBezTo>
                      <a:pt x="283" y="338"/>
                      <a:pt x="283" y="338"/>
                      <a:pt x="283" y="338"/>
                    </a:cubicBezTo>
                    <a:cubicBezTo>
                      <a:pt x="282" y="338"/>
                      <a:pt x="282" y="338"/>
                      <a:pt x="282" y="338"/>
                    </a:cubicBezTo>
                    <a:cubicBezTo>
                      <a:pt x="281" y="336"/>
                      <a:pt x="281" y="336"/>
                      <a:pt x="281" y="336"/>
                    </a:cubicBezTo>
                    <a:cubicBezTo>
                      <a:pt x="281" y="335"/>
                      <a:pt x="281" y="335"/>
                      <a:pt x="281" y="335"/>
                    </a:cubicBezTo>
                    <a:cubicBezTo>
                      <a:pt x="278" y="333"/>
                      <a:pt x="278" y="333"/>
                      <a:pt x="278" y="333"/>
                    </a:cubicBezTo>
                    <a:cubicBezTo>
                      <a:pt x="278" y="332"/>
                      <a:pt x="278" y="332"/>
                      <a:pt x="278" y="332"/>
                    </a:cubicBezTo>
                    <a:cubicBezTo>
                      <a:pt x="277" y="331"/>
                      <a:pt x="277" y="331"/>
                      <a:pt x="277" y="331"/>
                    </a:cubicBezTo>
                    <a:cubicBezTo>
                      <a:pt x="277" y="329"/>
                      <a:pt x="277" y="329"/>
                      <a:pt x="277" y="329"/>
                    </a:cubicBezTo>
                    <a:cubicBezTo>
                      <a:pt x="276" y="328"/>
                      <a:pt x="276" y="328"/>
                      <a:pt x="276" y="328"/>
                    </a:cubicBezTo>
                    <a:cubicBezTo>
                      <a:pt x="275" y="329"/>
                      <a:pt x="275" y="329"/>
                      <a:pt x="275" y="329"/>
                    </a:cubicBezTo>
                    <a:cubicBezTo>
                      <a:pt x="276" y="331"/>
                      <a:pt x="276" y="331"/>
                      <a:pt x="276" y="331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4" y="332"/>
                      <a:pt x="274" y="332"/>
                      <a:pt x="274" y="332"/>
                    </a:cubicBezTo>
                    <a:cubicBezTo>
                      <a:pt x="273" y="333"/>
                      <a:pt x="273" y="333"/>
                      <a:pt x="273" y="333"/>
                    </a:cubicBezTo>
                    <a:cubicBezTo>
                      <a:pt x="275" y="333"/>
                      <a:pt x="275" y="333"/>
                      <a:pt x="275" y="333"/>
                    </a:cubicBezTo>
                    <a:cubicBezTo>
                      <a:pt x="276" y="334"/>
                      <a:pt x="276" y="334"/>
                      <a:pt x="276" y="334"/>
                    </a:cubicBezTo>
                    <a:cubicBezTo>
                      <a:pt x="277" y="335"/>
                      <a:pt x="277" y="335"/>
                      <a:pt x="277" y="335"/>
                    </a:cubicBezTo>
                    <a:cubicBezTo>
                      <a:pt x="278" y="337"/>
                      <a:pt x="278" y="337"/>
                      <a:pt x="278" y="337"/>
                    </a:cubicBezTo>
                    <a:cubicBezTo>
                      <a:pt x="277" y="338"/>
                      <a:pt x="277" y="338"/>
                      <a:pt x="277" y="338"/>
                    </a:cubicBezTo>
                    <a:cubicBezTo>
                      <a:pt x="275" y="338"/>
                      <a:pt x="275" y="338"/>
                      <a:pt x="275" y="338"/>
                    </a:cubicBezTo>
                    <a:cubicBezTo>
                      <a:pt x="274" y="338"/>
                      <a:pt x="274" y="338"/>
                      <a:pt x="274" y="338"/>
                    </a:cubicBezTo>
                    <a:cubicBezTo>
                      <a:pt x="273" y="339"/>
                      <a:pt x="273" y="339"/>
                      <a:pt x="273" y="339"/>
                    </a:cubicBezTo>
                    <a:cubicBezTo>
                      <a:pt x="272" y="338"/>
                      <a:pt x="272" y="338"/>
                      <a:pt x="272" y="338"/>
                    </a:cubicBezTo>
                    <a:cubicBezTo>
                      <a:pt x="272" y="339"/>
                      <a:pt x="272" y="339"/>
                      <a:pt x="272" y="339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5" y="340"/>
                      <a:pt x="275" y="340"/>
                      <a:pt x="275" y="340"/>
                    </a:cubicBezTo>
                    <a:cubicBezTo>
                      <a:pt x="276" y="339"/>
                      <a:pt x="276" y="339"/>
                      <a:pt x="276" y="339"/>
                    </a:cubicBezTo>
                    <a:cubicBezTo>
                      <a:pt x="278" y="339"/>
                      <a:pt x="278" y="339"/>
                      <a:pt x="278" y="339"/>
                    </a:cubicBezTo>
                    <a:cubicBezTo>
                      <a:pt x="280" y="338"/>
                      <a:pt x="280" y="338"/>
                      <a:pt x="280" y="338"/>
                    </a:cubicBezTo>
                    <a:cubicBezTo>
                      <a:pt x="280" y="338"/>
                      <a:pt x="280" y="338"/>
                      <a:pt x="280" y="338"/>
                    </a:cubicBezTo>
                    <a:cubicBezTo>
                      <a:pt x="280" y="340"/>
                      <a:pt x="280" y="340"/>
                      <a:pt x="280" y="340"/>
                    </a:cubicBezTo>
                    <a:cubicBezTo>
                      <a:pt x="281" y="340"/>
                      <a:pt x="281" y="340"/>
                      <a:pt x="281" y="340"/>
                    </a:cubicBezTo>
                    <a:cubicBezTo>
                      <a:pt x="283" y="340"/>
                      <a:pt x="283" y="340"/>
                      <a:pt x="283" y="340"/>
                    </a:cubicBezTo>
                    <a:cubicBezTo>
                      <a:pt x="283" y="340"/>
                      <a:pt x="283" y="340"/>
                      <a:pt x="283" y="340"/>
                    </a:cubicBezTo>
                    <a:cubicBezTo>
                      <a:pt x="288" y="341"/>
                      <a:pt x="288" y="341"/>
                      <a:pt x="288" y="341"/>
                    </a:cubicBezTo>
                    <a:cubicBezTo>
                      <a:pt x="289" y="342"/>
                      <a:pt x="289" y="342"/>
                      <a:pt x="289" y="342"/>
                    </a:cubicBezTo>
                    <a:cubicBezTo>
                      <a:pt x="290" y="342"/>
                      <a:pt x="290" y="342"/>
                      <a:pt x="290" y="342"/>
                    </a:cubicBezTo>
                    <a:cubicBezTo>
                      <a:pt x="291" y="343"/>
                      <a:pt x="291" y="343"/>
                      <a:pt x="291" y="343"/>
                    </a:cubicBezTo>
                    <a:cubicBezTo>
                      <a:pt x="292" y="345"/>
                      <a:pt x="292" y="345"/>
                      <a:pt x="292" y="345"/>
                    </a:cubicBezTo>
                    <a:cubicBezTo>
                      <a:pt x="291" y="347"/>
                      <a:pt x="291" y="347"/>
                      <a:pt x="291" y="347"/>
                    </a:cubicBezTo>
                    <a:cubicBezTo>
                      <a:pt x="290" y="347"/>
                      <a:pt x="290" y="347"/>
                      <a:pt x="290" y="347"/>
                    </a:cubicBezTo>
                    <a:cubicBezTo>
                      <a:pt x="289" y="349"/>
                      <a:pt x="289" y="349"/>
                      <a:pt x="289" y="349"/>
                    </a:cubicBezTo>
                    <a:cubicBezTo>
                      <a:pt x="288" y="349"/>
                      <a:pt x="288" y="349"/>
                      <a:pt x="288" y="349"/>
                    </a:cubicBezTo>
                    <a:cubicBezTo>
                      <a:pt x="286" y="349"/>
                      <a:pt x="286" y="349"/>
                      <a:pt x="286" y="349"/>
                    </a:cubicBezTo>
                    <a:cubicBezTo>
                      <a:pt x="281" y="351"/>
                      <a:pt x="281" y="351"/>
                      <a:pt x="281" y="351"/>
                    </a:cubicBezTo>
                    <a:cubicBezTo>
                      <a:pt x="279" y="352"/>
                      <a:pt x="279" y="352"/>
                      <a:pt x="279" y="352"/>
                    </a:cubicBezTo>
                    <a:cubicBezTo>
                      <a:pt x="277" y="352"/>
                      <a:pt x="277" y="352"/>
                      <a:pt x="277" y="352"/>
                    </a:cubicBezTo>
                    <a:cubicBezTo>
                      <a:pt x="276" y="351"/>
                      <a:pt x="276" y="351"/>
                      <a:pt x="276" y="351"/>
                    </a:cubicBezTo>
                    <a:cubicBezTo>
                      <a:pt x="275" y="350"/>
                      <a:pt x="275" y="350"/>
                      <a:pt x="275" y="350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4" y="347"/>
                      <a:pt x="274" y="347"/>
                      <a:pt x="274" y="347"/>
                    </a:cubicBezTo>
                    <a:cubicBezTo>
                      <a:pt x="274" y="349"/>
                      <a:pt x="274" y="349"/>
                      <a:pt x="274" y="349"/>
                    </a:cubicBezTo>
                    <a:cubicBezTo>
                      <a:pt x="274" y="350"/>
                      <a:pt x="274" y="350"/>
                      <a:pt x="274" y="350"/>
                    </a:cubicBezTo>
                    <a:cubicBezTo>
                      <a:pt x="274" y="351"/>
                      <a:pt x="274" y="351"/>
                      <a:pt x="274" y="351"/>
                    </a:cubicBezTo>
                    <a:cubicBezTo>
                      <a:pt x="274" y="351"/>
                      <a:pt x="274" y="351"/>
                      <a:pt x="274" y="351"/>
                    </a:cubicBezTo>
                    <a:cubicBezTo>
                      <a:pt x="272" y="351"/>
                      <a:pt x="272" y="351"/>
                      <a:pt x="272" y="351"/>
                    </a:cubicBezTo>
                    <a:cubicBezTo>
                      <a:pt x="272" y="350"/>
                      <a:pt x="272" y="350"/>
                      <a:pt x="272" y="350"/>
                    </a:cubicBezTo>
                    <a:cubicBezTo>
                      <a:pt x="271" y="350"/>
                      <a:pt x="271" y="350"/>
                      <a:pt x="271" y="350"/>
                    </a:cubicBezTo>
                    <a:cubicBezTo>
                      <a:pt x="270" y="351"/>
                      <a:pt x="270" y="351"/>
                      <a:pt x="270" y="351"/>
                    </a:cubicBezTo>
                    <a:cubicBezTo>
                      <a:pt x="270" y="352"/>
                      <a:pt x="270" y="352"/>
                      <a:pt x="270" y="352"/>
                    </a:cubicBezTo>
                    <a:cubicBezTo>
                      <a:pt x="272" y="352"/>
                      <a:pt x="272" y="352"/>
                      <a:pt x="272" y="352"/>
                    </a:cubicBezTo>
                    <a:cubicBezTo>
                      <a:pt x="273" y="353"/>
                      <a:pt x="273" y="353"/>
                      <a:pt x="273" y="353"/>
                    </a:cubicBezTo>
                    <a:cubicBezTo>
                      <a:pt x="273" y="354"/>
                      <a:pt x="273" y="354"/>
                      <a:pt x="273" y="354"/>
                    </a:cubicBezTo>
                    <a:cubicBezTo>
                      <a:pt x="272" y="355"/>
                      <a:pt x="272" y="355"/>
                      <a:pt x="272" y="355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0" y="356"/>
                      <a:pt x="270" y="356"/>
                      <a:pt x="270" y="356"/>
                    </a:cubicBezTo>
                    <a:cubicBezTo>
                      <a:pt x="270" y="357"/>
                      <a:pt x="270" y="357"/>
                      <a:pt x="270" y="357"/>
                    </a:cubicBezTo>
                    <a:cubicBezTo>
                      <a:pt x="270" y="358"/>
                      <a:pt x="270" y="358"/>
                      <a:pt x="270" y="358"/>
                    </a:cubicBezTo>
                    <a:cubicBezTo>
                      <a:pt x="269" y="359"/>
                      <a:pt x="269" y="359"/>
                      <a:pt x="269" y="359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4" y="360"/>
                      <a:pt x="264" y="360"/>
                      <a:pt x="264" y="360"/>
                    </a:cubicBezTo>
                    <a:cubicBezTo>
                      <a:pt x="262" y="360"/>
                      <a:pt x="262" y="360"/>
                      <a:pt x="262" y="360"/>
                    </a:cubicBezTo>
                    <a:cubicBezTo>
                      <a:pt x="261" y="361"/>
                      <a:pt x="261" y="361"/>
                      <a:pt x="261" y="361"/>
                    </a:cubicBezTo>
                    <a:cubicBezTo>
                      <a:pt x="260" y="363"/>
                      <a:pt x="260" y="363"/>
                      <a:pt x="260" y="363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4" y="362"/>
                      <a:pt x="264" y="362"/>
                      <a:pt x="264" y="362"/>
                    </a:cubicBezTo>
                    <a:cubicBezTo>
                      <a:pt x="266" y="362"/>
                      <a:pt x="266" y="362"/>
                      <a:pt x="266" y="362"/>
                    </a:cubicBezTo>
                    <a:cubicBezTo>
                      <a:pt x="268" y="361"/>
                      <a:pt x="268" y="361"/>
                      <a:pt x="268" y="361"/>
                    </a:cubicBezTo>
                    <a:cubicBezTo>
                      <a:pt x="269" y="362"/>
                      <a:pt x="269" y="362"/>
                      <a:pt x="269" y="362"/>
                    </a:cubicBezTo>
                    <a:cubicBezTo>
                      <a:pt x="269" y="362"/>
                      <a:pt x="269" y="362"/>
                      <a:pt x="269" y="362"/>
                    </a:cubicBezTo>
                    <a:cubicBezTo>
                      <a:pt x="271" y="363"/>
                      <a:pt x="271" y="363"/>
                      <a:pt x="271" y="363"/>
                    </a:cubicBezTo>
                    <a:cubicBezTo>
                      <a:pt x="273" y="363"/>
                      <a:pt x="273" y="363"/>
                      <a:pt x="273" y="363"/>
                    </a:cubicBezTo>
                    <a:cubicBezTo>
                      <a:pt x="275" y="362"/>
                      <a:pt x="275" y="362"/>
                      <a:pt x="275" y="362"/>
                    </a:cubicBezTo>
                    <a:cubicBezTo>
                      <a:pt x="278" y="362"/>
                      <a:pt x="278" y="362"/>
                      <a:pt x="278" y="362"/>
                    </a:cubicBezTo>
                    <a:cubicBezTo>
                      <a:pt x="279" y="363"/>
                      <a:pt x="279" y="363"/>
                      <a:pt x="279" y="363"/>
                    </a:cubicBezTo>
                    <a:cubicBezTo>
                      <a:pt x="281" y="363"/>
                      <a:pt x="281" y="363"/>
                      <a:pt x="281" y="363"/>
                    </a:cubicBezTo>
                    <a:cubicBezTo>
                      <a:pt x="281" y="363"/>
                      <a:pt x="281" y="363"/>
                      <a:pt x="281" y="363"/>
                    </a:cubicBezTo>
                    <a:cubicBezTo>
                      <a:pt x="282" y="363"/>
                      <a:pt x="282" y="363"/>
                      <a:pt x="282" y="363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283" y="364"/>
                      <a:pt x="283" y="364"/>
                      <a:pt x="283" y="364"/>
                    </a:cubicBezTo>
                    <a:cubicBezTo>
                      <a:pt x="283" y="365"/>
                      <a:pt x="283" y="365"/>
                      <a:pt x="283" y="365"/>
                    </a:cubicBezTo>
                    <a:cubicBezTo>
                      <a:pt x="281" y="366"/>
                      <a:pt x="281" y="366"/>
                      <a:pt x="281" y="366"/>
                    </a:cubicBezTo>
                    <a:cubicBezTo>
                      <a:pt x="279" y="365"/>
                      <a:pt x="279" y="365"/>
                      <a:pt x="279" y="365"/>
                    </a:cubicBezTo>
                    <a:cubicBezTo>
                      <a:pt x="278" y="365"/>
                      <a:pt x="278" y="365"/>
                      <a:pt x="278" y="365"/>
                    </a:cubicBezTo>
                    <a:cubicBezTo>
                      <a:pt x="276" y="367"/>
                      <a:pt x="276" y="367"/>
                      <a:pt x="276" y="367"/>
                    </a:cubicBezTo>
                    <a:cubicBezTo>
                      <a:pt x="274" y="367"/>
                      <a:pt x="274" y="367"/>
                      <a:pt x="274" y="367"/>
                    </a:cubicBezTo>
                    <a:cubicBezTo>
                      <a:pt x="273" y="368"/>
                      <a:pt x="273" y="368"/>
                      <a:pt x="273" y="368"/>
                    </a:cubicBezTo>
                    <a:cubicBezTo>
                      <a:pt x="271" y="367"/>
                      <a:pt x="271" y="367"/>
                      <a:pt x="271" y="367"/>
                    </a:cubicBezTo>
                    <a:cubicBezTo>
                      <a:pt x="270" y="366"/>
                      <a:pt x="270" y="366"/>
                      <a:pt x="270" y="366"/>
                    </a:cubicBezTo>
                    <a:cubicBezTo>
                      <a:pt x="269" y="366"/>
                      <a:pt x="269" y="366"/>
                      <a:pt x="269" y="366"/>
                    </a:cubicBezTo>
                    <a:cubicBezTo>
                      <a:pt x="268" y="368"/>
                      <a:pt x="268" y="368"/>
                      <a:pt x="268" y="368"/>
                    </a:cubicBezTo>
                    <a:cubicBezTo>
                      <a:pt x="268" y="368"/>
                      <a:pt x="268" y="368"/>
                      <a:pt x="268" y="368"/>
                    </a:cubicBezTo>
                    <a:cubicBezTo>
                      <a:pt x="269" y="368"/>
                      <a:pt x="269" y="368"/>
                      <a:pt x="269" y="368"/>
                    </a:cubicBezTo>
                    <a:cubicBezTo>
                      <a:pt x="270" y="369"/>
                      <a:pt x="270" y="369"/>
                      <a:pt x="270" y="369"/>
                    </a:cubicBezTo>
                    <a:cubicBezTo>
                      <a:pt x="274" y="369"/>
                      <a:pt x="274" y="369"/>
                      <a:pt x="274" y="369"/>
                    </a:cubicBezTo>
                    <a:cubicBezTo>
                      <a:pt x="275" y="369"/>
                      <a:pt x="275" y="369"/>
                      <a:pt x="275" y="369"/>
                    </a:cubicBezTo>
                    <a:cubicBezTo>
                      <a:pt x="275" y="370"/>
                      <a:pt x="275" y="370"/>
                      <a:pt x="275" y="370"/>
                    </a:cubicBezTo>
                    <a:cubicBezTo>
                      <a:pt x="276" y="369"/>
                      <a:pt x="276" y="369"/>
                      <a:pt x="276" y="369"/>
                    </a:cubicBezTo>
                    <a:cubicBezTo>
                      <a:pt x="278" y="367"/>
                      <a:pt x="278" y="367"/>
                      <a:pt x="278" y="367"/>
                    </a:cubicBezTo>
                    <a:cubicBezTo>
                      <a:pt x="278" y="367"/>
                      <a:pt x="280" y="367"/>
                      <a:pt x="280" y="367"/>
                    </a:cubicBezTo>
                    <a:cubicBezTo>
                      <a:pt x="280" y="367"/>
                      <a:pt x="281" y="366"/>
                      <a:pt x="281" y="366"/>
                    </a:cubicBezTo>
                    <a:cubicBezTo>
                      <a:pt x="282" y="367"/>
                      <a:pt x="282" y="367"/>
                      <a:pt x="282" y="367"/>
                    </a:cubicBezTo>
                    <a:cubicBezTo>
                      <a:pt x="283" y="368"/>
                      <a:pt x="283" y="368"/>
                      <a:pt x="283" y="368"/>
                    </a:cubicBezTo>
                    <a:cubicBezTo>
                      <a:pt x="284" y="367"/>
                      <a:pt x="284" y="367"/>
                      <a:pt x="284" y="367"/>
                    </a:cubicBezTo>
                    <a:cubicBezTo>
                      <a:pt x="287" y="367"/>
                      <a:pt x="287" y="367"/>
                      <a:pt x="287" y="367"/>
                    </a:cubicBezTo>
                    <a:cubicBezTo>
                      <a:pt x="288" y="366"/>
                      <a:pt x="288" y="366"/>
                      <a:pt x="288" y="366"/>
                    </a:cubicBezTo>
                    <a:cubicBezTo>
                      <a:pt x="291" y="364"/>
                      <a:pt x="291" y="364"/>
                      <a:pt x="291" y="364"/>
                    </a:cubicBezTo>
                    <a:cubicBezTo>
                      <a:pt x="291" y="363"/>
                      <a:pt x="291" y="363"/>
                      <a:pt x="291" y="363"/>
                    </a:cubicBezTo>
                    <a:cubicBezTo>
                      <a:pt x="292" y="364"/>
                      <a:pt x="292" y="364"/>
                      <a:pt x="292" y="364"/>
                    </a:cubicBezTo>
                    <a:cubicBezTo>
                      <a:pt x="291" y="365"/>
                      <a:pt x="291" y="365"/>
                      <a:pt x="291" y="365"/>
                    </a:cubicBezTo>
                    <a:cubicBezTo>
                      <a:pt x="292" y="365"/>
                      <a:pt x="292" y="365"/>
                      <a:pt x="292" y="365"/>
                    </a:cubicBezTo>
                    <a:cubicBezTo>
                      <a:pt x="293" y="364"/>
                      <a:pt x="293" y="364"/>
                      <a:pt x="293" y="364"/>
                    </a:cubicBezTo>
                    <a:cubicBezTo>
                      <a:pt x="294" y="364"/>
                      <a:pt x="294" y="364"/>
                      <a:pt x="294" y="364"/>
                    </a:cubicBezTo>
                    <a:cubicBezTo>
                      <a:pt x="294" y="365"/>
                      <a:pt x="294" y="365"/>
                      <a:pt x="294" y="365"/>
                    </a:cubicBezTo>
                    <a:cubicBezTo>
                      <a:pt x="297" y="367"/>
                      <a:pt x="297" y="367"/>
                      <a:pt x="297" y="367"/>
                    </a:cubicBezTo>
                    <a:cubicBezTo>
                      <a:pt x="300" y="368"/>
                      <a:pt x="300" y="368"/>
                      <a:pt x="300" y="368"/>
                    </a:cubicBezTo>
                    <a:cubicBezTo>
                      <a:pt x="302" y="369"/>
                      <a:pt x="302" y="369"/>
                      <a:pt x="302" y="369"/>
                    </a:cubicBezTo>
                    <a:cubicBezTo>
                      <a:pt x="304" y="369"/>
                      <a:pt x="304" y="369"/>
                      <a:pt x="304" y="369"/>
                    </a:cubicBezTo>
                    <a:cubicBezTo>
                      <a:pt x="305" y="369"/>
                      <a:pt x="305" y="369"/>
                      <a:pt x="305" y="369"/>
                    </a:cubicBezTo>
                    <a:cubicBezTo>
                      <a:pt x="308" y="369"/>
                      <a:pt x="308" y="369"/>
                      <a:pt x="308" y="369"/>
                    </a:cubicBezTo>
                    <a:cubicBezTo>
                      <a:pt x="309" y="370"/>
                      <a:pt x="309" y="370"/>
                      <a:pt x="309" y="370"/>
                    </a:cubicBezTo>
                    <a:cubicBezTo>
                      <a:pt x="311" y="370"/>
                      <a:pt x="311" y="370"/>
                      <a:pt x="311" y="370"/>
                    </a:cubicBezTo>
                    <a:cubicBezTo>
                      <a:pt x="313" y="369"/>
                      <a:pt x="313" y="369"/>
                      <a:pt x="313" y="369"/>
                    </a:cubicBezTo>
                    <a:cubicBezTo>
                      <a:pt x="313" y="370"/>
                      <a:pt x="313" y="370"/>
                      <a:pt x="313" y="370"/>
                    </a:cubicBezTo>
                    <a:cubicBezTo>
                      <a:pt x="312" y="371"/>
                      <a:pt x="312" y="371"/>
                      <a:pt x="312" y="371"/>
                    </a:cubicBezTo>
                    <a:cubicBezTo>
                      <a:pt x="311" y="372"/>
                      <a:pt x="311" y="372"/>
                      <a:pt x="311" y="372"/>
                    </a:cubicBezTo>
                    <a:cubicBezTo>
                      <a:pt x="309" y="373"/>
                      <a:pt x="309" y="373"/>
                      <a:pt x="309" y="373"/>
                    </a:cubicBezTo>
                    <a:cubicBezTo>
                      <a:pt x="308" y="372"/>
                      <a:pt x="308" y="372"/>
                      <a:pt x="308" y="372"/>
                    </a:cubicBezTo>
                    <a:cubicBezTo>
                      <a:pt x="306" y="374"/>
                      <a:pt x="306" y="374"/>
                      <a:pt x="306" y="374"/>
                    </a:cubicBezTo>
                    <a:cubicBezTo>
                      <a:pt x="306" y="374"/>
                      <a:pt x="306" y="374"/>
                      <a:pt x="306" y="374"/>
                    </a:cubicBezTo>
                    <a:cubicBezTo>
                      <a:pt x="307" y="375"/>
                      <a:pt x="307" y="375"/>
                      <a:pt x="307" y="375"/>
                    </a:cubicBezTo>
                    <a:cubicBezTo>
                      <a:pt x="308" y="376"/>
                      <a:pt x="308" y="376"/>
                      <a:pt x="308" y="376"/>
                    </a:cubicBezTo>
                    <a:cubicBezTo>
                      <a:pt x="307" y="376"/>
                      <a:pt x="307" y="376"/>
                      <a:pt x="307" y="376"/>
                    </a:cubicBezTo>
                    <a:cubicBezTo>
                      <a:pt x="306" y="376"/>
                      <a:pt x="306" y="376"/>
                      <a:pt x="306" y="376"/>
                    </a:cubicBezTo>
                    <a:cubicBezTo>
                      <a:pt x="305" y="375"/>
                      <a:pt x="305" y="375"/>
                      <a:pt x="305" y="375"/>
                    </a:cubicBezTo>
                    <a:cubicBezTo>
                      <a:pt x="304" y="375"/>
                      <a:pt x="304" y="375"/>
                      <a:pt x="304" y="375"/>
                    </a:cubicBezTo>
                    <a:cubicBezTo>
                      <a:pt x="304" y="376"/>
                      <a:pt x="304" y="376"/>
                      <a:pt x="304" y="376"/>
                    </a:cubicBezTo>
                    <a:cubicBezTo>
                      <a:pt x="304" y="377"/>
                      <a:pt x="304" y="377"/>
                      <a:pt x="304" y="377"/>
                    </a:cubicBezTo>
                    <a:cubicBezTo>
                      <a:pt x="303" y="376"/>
                      <a:pt x="303" y="376"/>
                      <a:pt x="303" y="376"/>
                    </a:cubicBezTo>
                    <a:cubicBezTo>
                      <a:pt x="301" y="376"/>
                      <a:pt x="301" y="376"/>
                      <a:pt x="301" y="376"/>
                    </a:cubicBezTo>
                    <a:cubicBezTo>
                      <a:pt x="301" y="377"/>
                      <a:pt x="301" y="377"/>
                      <a:pt x="301" y="377"/>
                    </a:cubicBezTo>
                    <a:cubicBezTo>
                      <a:pt x="301" y="378"/>
                      <a:pt x="301" y="378"/>
                      <a:pt x="301" y="378"/>
                    </a:cubicBezTo>
                    <a:cubicBezTo>
                      <a:pt x="302" y="378"/>
                      <a:pt x="302" y="378"/>
                      <a:pt x="302" y="378"/>
                    </a:cubicBezTo>
                    <a:cubicBezTo>
                      <a:pt x="302" y="379"/>
                      <a:pt x="302" y="379"/>
                      <a:pt x="302" y="379"/>
                    </a:cubicBezTo>
                    <a:cubicBezTo>
                      <a:pt x="301" y="380"/>
                      <a:pt x="301" y="380"/>
                      <a:pt x="301" y="380"/>
                    </a:cubicBezTo>
                    <a:cubicBezTo>
                      <a:pt x="299" y="381"/>
                      <a:pt x="299" y="381"/>
                      <a:pt x="299" y="381"/>
                    </a:cubicBezTo>
                    <a:cubicBezTo>
                      <a:pt x="299" y="380"/>
                      <a:pt x="299" y="380"/>
                      <a:pt x="299" y="380"/>
                    </a:cubicBezTo>
                    <a:cubicBezTo>
                      <a:pt x="298" y="379"/>
                      <a:pt x="298" y="379"/>
                      <a:pt x="298" y="379"/>
                    </a:cubicBezTo>
                    <a:cubicBezTo>
                      <a:pt x="298" y="380"/>
                      <a:pt x="298" y="380"/>
                      <a:pt x="298" y="380"/>
                    </a:cubicBezTo>
                    <a:cubicBezTo>
                      <a:pt x="298" y="381"/>
                      <a:pt x="298" y="381"/>
                      <a:pt x="298" y="381"/>
                    </a:cubicBezTo>
                    <a:cubicBezTo>
                      <a:pt x="298" y="382"/>
                      <a:pt x="298" y="382"/>
                      <a:pt x="298" y="382"/>
                    </a:cubicBezTo>
                    <a:cubicBezTo>
                      <a:pt x="297" y="382"/>
                      <a:pt x="297" y="382"/>
                      <a:pt x="297" y="382"/>
                    </a:cubicBezTo>
                    <a:cubicBezTo>
                      <a:pt x="296" y="383"/>
                      <a:pt x="296" y="383"/>
                      <a:pt x="296" y="383"/>
                    </a:cubicBezTo>
                    <a:cubicBezTo>
                      <a:pt x="295" y="383"/>
                      <a:pt x="295" y="383"/>
                      <a:pt x="295" y="383"/>
                    </a:cubicBezTo>
                    <a:cubicBezTo>
                      <a:pt x="294" y="383"/>
                      <a:pt x="294" y="383"/>
                      <a:pt x="294" y="383"/>
                    </a:cubicBezTo>
                    <a:cubicBezTo>
                      <a:pt x="293" y="382"/>
                      <a:pt x="293" y="382"/>
                      <a:pt x="293" y="382"/>
                    </a:cubicBezTo>
                    <a:cubicBezTo>
                      <a:pt x="293" y="382"/>
                      <a:pt x="293" y="382"/>
                      <a:pt x="293" y="382"/>
                    </a:cubicBezTo>
                    <a:cubicBezTo>
                      <a:pt x="293" y="383"/>
                      <a:pt x="293" y="383"/>
                      <a:pt x="293" y="383"/>
                    </a:cubicBezTo>
                    <a:cubicBezTo>
                      <a:pt x="293" y="385"/>
                      <a:pt x="293" y="385"/>
                      <a:pt x="293" y="385"/>
                    </a:cubicBezTo>
                    <a:cubicBezTo>
                      <a:pt x="292" y="386"/>
                      <a:pt x="292" y="386"/>
                      <a:pt x="292" y="386"/>
                    </a:cubicBezTo>
                    <a:cubicBezTo>
                      <a:pt x="291" y="386"/>
                      <a:pt x="291" y="386"/>
                      <a:pt x="291" y="386"/>
                    </a:cubicBezTo>
                    <a:cubicBezTo>
                      <a:pt x="291" y="385"/>
                      <a:pt x="291" y="385"/>
                      <a:pt x="291" y="385"/>
                    </a:cubicBezTo>
                    <a:cubicBezTo>
                      <a:pt x="289" y="385"/>
                      <a:pt x="289" y="385"/>
                      <a:pt x="289" y="385"/>
                    </a:cubicBezTo>
                    <a:cubicBezTo>
                      <a:pt x="289" y="386"/>
                      <a:pt x="289" y="386"/>
                      <a:pt x="289" y="386"/>
                    </a:cubicBezTo>
                    <a:cubicBezTo>
                      <a:pt x="290" y="387"/>
                      <a:pt x="290" y="387"/>
                      <a:pt x="290" y="387"/>
                    </a:cubicBezTo>
                    <a:cubicBezTo>
                      <a:pt x="290" y="388"/>
                      <a:pt x="290" y="388"/>
                      <a:pt x="290" y="388"/>
                    </a:cubicBezTo>
                    <a:cubicBezTo>
                      <a:pt x="288" y="389"/>
                      <a:pt x="288" y="389"/>
                      <a:pt x="288" y="389"/>
                    </a:cubicBezTo>
                    <a:cubicBezTo>
                      <a:pt x="287" y="389"/>
                      <a:pt x="287" y="389"/>
                      <a:pt x="287" y="389"/>
                    </a:cubicBezTo>
                    <a:cubicBezTo>
                      <a:pt x="287" y="388"/>
                      <a:pt x="287" y="388"/>
                      <a:pt x="287" y="388"/>
                    </a:cubicBezTo>
                    <a:cubicBezTo>
                      <a:pt x="286" y="387"/>
                      <a:pt x="286" y="387"/>
                      <a:pt x="286" y="387"/>
                    </a:cubicBezTo>
                    <a:cubicBezTo>
                      <a:pt x="285" y="388"/>
                      <a:pt x="285" y="388"/>
                      <a:pt x="285" y="388"/>
                    </a:cubicBezTo>
                    <a:cubicBezTo>
                      <a:pt x="285" y="389"/>
                      <a:pt x="285" y="389"/>
                      <a:pt x="285" y="389"/>
                    </a:cubicBezTo>
                    <a:cubicBezTo>
                      <a:pt x="285" y="390"/>
                      <a:pt x="285" y="390"/>
                      <a:pt x="285" y="390"/>
                    </a:cubicBezTo>
                    <a:cubicBezTo>
                      <a:pt x="285" y="391"/>
                      <a:pt x="285" y="391"/>
                      <a:pt x="285" y="391"/>
                    </a:cubicBezTo>
                    <a:cubicBezTo>
                      <a:pt x="285" y="391"/>
                      <a:pt x="285" y="391"/>
                      <a:pt x="285" y="391"/>
                    </a:cubicBezTo>
                    <a:cubicBezTo>
                      <a:pt x="283" y="392"/>
                      <a:pt x="283" y="392"/>
                      <a:pt x="283" y="392"/>
                    </a:cubicBezTo>
                    <a:cubicBezTo>
                      <a:pt x="282" y="393"/>
                      <a:pt x="282" y="393"/>
                      <a:pt x="282" y="393"/>
                    </a:cubicBezTo>
                    <a:cubicBezTo>
                      <a:pt x="280" y="393"/>
                      <a:pt x="280" y="393"/>
                      <a:pt x="280" y="393"/>
                    </a:cubicBezTo>
                    <a:cubicBezTo>
                      <a:pt x="279" y="394"/>
                      <a:pt x="279" y="394"/>
                      <a:pt x="279" y="394"/>
                    </a:cubicBezTo>
                    <a:cubicBezTo>
                      <a:pt x="279" y="395"/>
                      <a:pt x="279" y="395"/>
                      <a:pt x="279" y="395"/>
                    </a:cubicBezTo>
                    <a:cubicBezTo>
                      <a:pt x="278" y="395"/>
                      <a:pt x="278" y="395"/>
                      <a:pt x="278" y="395"/>
                    </a:cubicBezTo>
                    <a:cubicBezTo>
                      <a:pt x="277" y="394"/>
                      <a:pt x="277" y="394"/>
                      <a:pt x="277" y="394"/>
                    </a:cubicBezTo>
                    <a:cubicBezTo>
                      <a:pt x="276" y="394"/>
                      <a:pt x="276" y="394"/>
                      <a:pt x="276" y="394"/>
                    </a:cubicBezTo>
                    <a:cubicBezTo>
                      <a:pt x="275" y="395"/>
                      <a:pt x="275" y="395"/>
                      <a:pt x="275" y="395"/>
                    </a:cubicBezTo>
                    <a:cubicBezTo>
                      <a:pt x="273" y="395"/>
                      <a:pt x="273" y="395"/>
                      <a:pt x="273" y="395"/>
                    </a:cubicBezTo>
                    <a:cubicBezTo>
                      <a:pt x="273" y="396"/>
                      <a:pt x="273" y="396"/>
                      <a:pt x="273" y="396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71" y="397"/>
                      <a:pt x="271" y="397"/>
                      <a:pt x="271" y="397"/>
                    </a:cubicBezTo>
                    <a:cubicBezTo>
                      <a:pt x="270" y="396"/>
                      <a:pt x="270" y="396"/>
                      <a:pt x="270" y="396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68" y="398"/>
                      <a:pt x="268" y="398"/>
                      <a:pt x="268" y="398"/>
                    </a:cubicBezTo>
                    <a:cubicBezTo>
                      <a:pt x="267" y="397"/>
                      <a:pt x="267" y="397"/>
                      <a:pt x="267" y="397"/>
                    </a:cubicBezTo>
                    <a:cubicBezTo>
                      <a:pt x="266" y="396"/>
                      <a:pt x="266" y="396"/>
                      <a:pt x="266" y="396"/>
                    </a:cubicBezTo>
                    <a:cubicBezTo>
                      <a:pt x="266" y="396"/>
                      <a:pt x="266" y="396"/>
                      <a:pt x="266" y="396"/>
                    </a:cubicBezTo>
                    <a:cubicBezTo>
                      <a:pt x="265" y="397"/>
                      <a:pt x="265" y="397"/>
                      <a:pt x="265" y="397"/>
                    </a:cubicBezTo>
                    <a:cubicBezTo>
                      <a:pt x="264" y="398"/>
                      <a:pt x="264" y="398"/>
                      <a:pt x="264" y="398"/>
                    </a:cubicBezTo>
                    <a:cubicBezTo>
                      <a:pt x="264" y="398"/>
                      <a:pt x="264" y="398"/>
                      <a:pt x="264" y="398"/>
                    </a:cubicBezTo>
                    <a:cubicBezTo>
                      <a:pt x="263" y="397"/>
                      <a:pt x="263" y="397"/>
                      <a:pt x="263" y="397"/>
                    </a:cubicBezTo>
                    <a:cubicBezTo>
                      <a:pt x="263" y="397"/>
                      <a:pt x="263" y="397"/>
                      <a:pt x="263" y="397"/>
                    </a:cubicBezTo>
                    <a:cubicBezTo>
                      <a:pt x="263" y="398"/>
                      <a:pt x="263" y="398"/>
                      <a:pt x="263" y="398"/>
                    </a:cubicBezTo>
                    <a:cubicBezTo>
                      <a:pt x="262" y="398"/>
                      <a:pt x="262" y="398"/>
                      <a:pt x="262" y="398"/>
                    </a:cubicBezTo>
                    <a:cubicBezTo>
                      <a:pt x="261" y="398"/>
                      <a:pt x="261" y="398"/>
                      <a:pt x="261" y="398"/>
                    </a:cubicBezTo>
                    <a:cubicBezTo>
                      <a:pt x="260" y="398"/>
                      <a:pt x="260" y="398"/>
                      <a:pt x="260" y="398"/>
                    </a:cubicBezTo>
                    <a:cubicBezTo>
                      <a:pt x="260" y="399"/>
                      <a:pt x="260" y="399"/>
                      <a:pt x="260" y="399"/>
                    </a:cubicBezTo>
                    <a:cubicBezTo>
                      <a:pt x="259" y="400"/>
                      <a:pt x="259" y="400"/>
                      <a:pt x="259" y="400"/>
                    </a:cubicBezTo>
                    <a:cubicBezTo>
                      <a:pt x="258" y="400"/>
                      <a:pt x="258" y="400"/>
                      <a:pt x="258" y="400"/>
                    </a:cubicBezTo>
                    <a:cubicBezTo>
                      <a:pt x="258" y="400"/>
                      <a:pt x="258" y="400"/>
                      <a:pt x="258" y="400"/>
                    </a:cubicBezTo>
                    <a:cubicBezTo>
                      <a:pt x="257" y="400"/>
                      <a:pt x="257" y="400"/>
                      <a:pt x="257" y="400"/>
                    </a:cubicBezTo>
                    <a:cubicBezTo>
                      <a:pt x="257" y="401"/>
                      <a:pt x="257" y="401"/>
                      <a:pt x="257" y="401"/>
                    </a:cubicBezTo>
                    <a:cubicBezTo>
                      <a:pt x="256" y="401"/>
                      <a:pt x="256" y="401"/>
                      <a:pt x="256" y="401"/>
                    </a:cubicBezTo>
                    <a:cubicBezTo>
                      <a:pt x="256" y="400"/>
                      <a:pt x="256" y="400"/>
                      <a:pt x="256" y="400"/>
                    </a:cubicBezTo>
                    <a:cubicBezTo>
                      <a:pt x="255" y="400"/>
                      <a:pt x="255" y="400"/>
                      <a:pt x="255" y="400"/>
                    </a:cubicBezTo>
                    <a:cubicBezTo>
                      <a:pt x="255" y="402"/>
                      <a:pt x="255" y="402"/>
                      <a:pt x="255" y="402"/>
                    </a:cubicBezTo>
                    <a:cubicBezTo>
                      <a:pt x="254" y="402"/>
                      <a:pt x="254" y="402"/>
                      <a:pt x="254" y="402"/>
                    </a:cubicBezTo>
                    <a:cubicBezTo>
                      <a:pt x="253" y="403"/>
                      <a:pt x="253" y="403"/>
                      <a:pt x="253" y="403"/>
                    </a:cubicBezTo>
                    <a:cubicBezTo>
                      <a:pt x="252" y="403"/>
                      <a:pt x="252" y="403"/>
                      <a:pt x="252" y="403"/>
                    </a:cubicBezTo>
                    <a:cubicBezTo>
                      <a:pt x="252" y="402"/>
                      <a:pt x="252" y="402"/>
                      <a:pt x="252" y="402"/>
                    </a:cubicBezTo>
                    <a:cubicBezTo>
                      <a:pt x="250" y="400"/>
                      <a:pt x="250" y="400"/>
                      <a:pt x="250" y="400"/>
                    </a:cubicBezTo>
                    <a:cubicBezTo>
                      <a:pt x="249" y="400"/>
                      <a:pt x="249" y="400"/>
                      <a:pt x="249" y="400"/>
                    </a:cubicBezTo>
                    <a:cubicBezTo>
                      <a:pt x="248" y="400"/>
                      <a:pt x="248" y="400"/>
                      <a:pt x="248" y="400"/>
                    </a:cubicBezTo>
                    <a:cubicBezTo>
                      <a:pt x="248" y="401"/>
                      <a:pt x="248" y="401"/>
                      <a:pt x="248" y="401"/>
                    </a:cubicBezTo>
                    <a:cubicBezTo>
                      <a:pt x="247" y="401"/>
                      <a:pt x="247" y="401"/>
                      <a:pt x="247" y="401"/>
                    </a:cubicBezTo>
                    <a:cubicBezTo>
                      <a:pt x="247" y="402"/>
                      <a:pt x="247" y="402"/>
                      <a:pt x="247" y="402"/>
                    </a:cubicBezTo>
                    <a:cubicBezTo>
                      <a:pt x="246" y="403"/>
                      <a:pt x="246" y="403"/>
                      <a:pt x="246" y="403"/>
                    </a:cubicBezTo>
                    <a:cubicBezTo>
                      <a:pt x="245" y="403"/>
                      <a:pt x="245" y="403"/>
                      <a:pt x="245" y="403"/>
                    </a:cubicBezTo>
                    <a:cubicBezTo>
                      <a:pt x="244" y="403"/>
                      <a:pt x="244" y="403"/>
                      <a:pt x="244" y="403"/>
                    </a:cubicBezTo>
                    <a:cubicBezTo>
                      <a:pt x="244" y="404"/>
                      <a:pt x="244" y="404"/>
                      <a:pt x="244" y="404"/>
                    </a:cubicBezTo>
                    <a:cubicBezTo>
                      <a:pt x="242" y="404"/>
                      <a:pt x="242" y="404"/>
                      <a:pt x="242" y="404"/>
                    </a:cubicBezTo>
                    <a:cubicBezTo>
                      <a:pt x="240" y="404"/>
                      <a:pt x="240" y="404"/>
                      <a:pt x="240" y="404"/>
                    </a:cubicBezTo>
                    <a:cubicBezTo>
                      <a:pt x="240" y="402"/>
                      <a:pt x="240" y="402"/>
                      <a:pt x="240" y="402"/>
                    </a:cubicBezTo>
                    <a:cubicBezTo>
                      <a:pt x="239" y="402"/>
                      <a:pt x="239" y="402"/>
                      <a:pt x="239" y="402"/>
                    </a:cubicBezTo>
                    <a:cubicBezTo>
                      <a:pt x="238" y="403"/>
                      <a:pt x="238" y="403"/>
                      <a:pt x="238" y="403"/>
                    </a:cubicBezTo>
                    <a:cubicBezTo>
                      <a:pt x="238" y="404"/>
                      <a:pt x="238" y="404"/>
                      <a:pt x="238" y="404"/>
                    </a:cubicBezTo>
                    <a:cubicBezTo>
                      <a:pt x="237" y="404"/>
                      <a:pt x="237" y="404"/>
                      <a:pt x="237" y="404"/>
                    </a:cubicBezTo>
                    <a:cubicBezTo>
                      <a:pt x="236" y="403"/>
                      <a:pt x="236" y="403"/>
                      <a:pt x="236" y="403"/>
                    </a:cubicBezTo>
                    <a:cubicBezTo>
                      <a:pt x="235" y="402"/>
                      <a:pt x="235" y="402"/>
                      <a:pt x="235" y="402"/>
                    </a:cubicBezTo>
                    <a:cubicBezTo>
                      <a:pt x="235" y="400"/>
                      <a:pt x="235" y="400"/>
                      <a:pt x="235" y="400"/>
                    </a:cubicBezTo>
                    <a:cubicBezTo>
                      <a:pt x="235" y="399"/>
                      <a:pt x="235" y="399"/>
                      <a:pt x="235" y="399"/>
                    </a:cubicBezTo>
                    <a:cubicBezTo>
                      <a:pt x="234" y="399"/>
                      <a:pt x="234" y="399"/>
                      <a:pt x="234" y="399"/>
                    </a:cubicBezTo>
                    <a:cubicBezTo>
                      <a:pt x="233" y="397"/>
                      <a:pt x="233" y="397"/>
                      <a:pt x="233" y="397"/>
                    </a:cubicBezTo>
                    <a:cubicBezTo>
                      <a:pt x="233" y="396"/>
                      <a:pt x="233" y="396"/>
                      <a:pt x="233" y="396"/>
                    </a:cubicBezTo>
                    <a:cubicBezTo>
                      <a:pt x="232" y="395"/>
                      <a:pt x="232" y="395"/>
                      <a:pt x="232" y="395"/>
                    </a:cubicBezTo>
                    <a:cubicBezTo>
                      <a:pt x="231" y="393"/>
                      <a:pt x="231" y="393"/>
                      <a:pt x="231" y="393"/>
                    </a:cubicBezTo>
                    <a:cubicBezTo>
                      <a:pt x="231" y="392"/>
                      <a:pt x="231" y="392"/>
                      <a:pt x="231" y="392"/>
                    </a:cubicBezTo>
                    <a:cubicBezTo>
                      <a:pt x="230" y="392"/>
                      <a:pt x="230" y="392"/>
                      <a:pt x="230" y="392"/>
                    </a:cubicBezTo>
                    <a:cubicBezTo>
                      <a:pt x="230" y="394"/>
                      <a:pt x="230" y="394"/>
                      <a:pt x="230" y="394"/>
                    </a:cubicBezTo>
                    <a:cubicBezTo>
                      <a:pt x="230" y="395"/>
                      <a:pt x="230" y="395"/>
                      <a:pt x="230" y="395"/>
                    </a:cubicBezTo>
                    <a:cubicBezTo>
                      <a:pt x="231" y="396"/>
                      <a:pt x="231" y="396"/>
                      <a:pt x="231" y="396"/>
                    </a:cubicBezTo>
                    <a:cubicBezTo>
                      <a:pt x="232" y="397"/>
                      <a:pt x="232" y="397"/>
                      <a:pt x="232" y="397"/>
                    </a:cubicBezTo>
                    <a:cubicBezTo>
                      <a:pt x="232" y="398"/>
                      <a:pt x="232" y="398"/>
                      <a:pt x="232" y="398"/>
                    </a:cubicBezTo>
                    <a:cubicBezTo>
                      <a:pt x="232" y="400"/>
                      <a:pt x="232" y="400"/>
                      <a:pt x="232" y="400"/>
                    </a:cubicBezTo>
                    <a:cubicBezTo>
                      <a:pt x="232" y="401"/>
                      <a:pt x="232" y="401"/>
                      <a:pt x="232" y="401"/>
                    </a:cubicBezTo>
                    <a:cubicBezTo>
                      <a:pt x="232" y="402"/>
                      <a:pt x="232" y="402"/>
                      <a:pt x="232" y="402"/>
                    </a:cubicBezTo>
                    <a:cubicBezTo>
                      <a:pt x="233" y="402"/>
                      <a:pt x="233" y="402"/>
                      <a:pt x="233" y="402"/>
                    </a:cubicBezTo>
                    <a:cubicBezTo>
                      <a:pt x="233" y="404"/>
                      <a:pt x="233" y="404"/>
                      <a:pt x="233" y="404"/>
                    </a:cubicBezTo>
                    <a:cubicBezTo>
                      <a:pt x="233" y="406"/>
                      <a:pt x="233" y="406"/>
                      <a:pt x="233" y="406"/>
                    </a:cubicBezTo>
                    <a:cubicBezTo>
                      <a:pt x="232" y="408"/>
                      <a:pt x="232" y="408"/>
                      <a:pt x="232" y="408"/>
                    </a:cubicBezTo>
                    <a:cubicBezTo>
                      <a:pt x="231" y="408"/>
                      <a:pt x="231" y="408"/>
                      <a:pt x="231" y="408"/>
                    </a:cubicBezTo>
                    <a:cubicBezTo>
                      <a:pt x="230" y="407"/>
                      <a:pt x="230" y="407"/>
                      <a:pt x="230" y="407"/>
                    </a:cubicBezTo>
                    <a:cubicBezTo>
                      <a:pt x="230" y="408"/>
                      <a:pt x="230" y="408"/>
                      <a:pt x="230" y="408"/>
                    </a:cubicBezTo>
                    <a:cubicBezTo>
                      <a:pt x="228" y="408"/>
                      <a:pt x="228" y="408"/>
                      <a:pt x="228" y="408"/>
                    </a:cubicBezTo>
                    <a:cubicBezTo>
                      <a:pt x="227" y="410"/>
                      <a:pt x="227" y="410"/>
                      <a:pt x="227" y="410"/>
                    </a:cubicBezTo>
                    <a:cubicBezTo>
                      <a:pt x="226" y="410"/>
                      <a:pt x="226" y="410"/>
                      <a:pt x="226" y="410"/>
                    </a:cubicBezTo>
                    <a:cubicBezTo>
                      <a:pt x="225" y="410"/>
                      <a:pt x="225" y="410"/>
                      <a:pt x="225" y="410"/>
                    </a:cubicBezTo>
                    <a:cubicBezTo>
                      <a:pt x="224" y="411"/>
                      <a:pt x="224" y="411"/>
                      <a:pt x="224" y="411"/>
                    </a:cubicBezTo>
                    <a:cubicBezTo>
                      <a:pt x="225" y="411"/>
                      <a:pt x="225" y="411"/>
                      <a:pt x="225" y="411"/>
                    </a:cubicBezTo>
                    <a:cubicBezTo>
                      <a:pt x="224" y="413"/>
                      <a:pt x="224" y="413"/>
                      <a:pt x="224" y="413"/>
                    </a:cubicBezTo>
                    <a:cubicBezTo>
                      <a:pt x="223" y="413"/>
                      <a:pt x="223" y="413"/>
                      <a:pt x="223" y="413"/>
                    </a:cubicBezTo>
                    <a:cubicBezTo>
                      <a:pt x="222" y="413"/>
                      <a:pt x="222" y="413"/>
                      <a:pt x="222" y="413"/>
                    </a:cubicBezTo>
                    <a:cubicBezTo>
                      <a:pt x="222" y="415"/>
                      <a:pt x="222" y="415"/>
                      <a:pt x="222" y="415"/>
                    </a:cubicBezTo>
                    <a:cubicBezTo>
                      <a:pt x="222" y="416"/>
                      <a:pt x="222" y="416"/>
                      <a:pt x="222" y="416"/>
                    </a:cubicBezTo>
                    <a:cubicBezTo>
                      <a:pt x="222" y="417"/>
                      <a:pt x="222" y="417"/>
                      <a:pt x="222" y="417"/>
                    </a:cubicBezTo>
                    <a:cubicBezTo>
                      <a:pt x="221" y="416"/>
                      <a:pt x="221" y="416"/>
                      <a:pt x="221" y="416"/>
                    </a:cubicBezTo>
                    <a:cubicBezTo>
                      <a:pt x="220" y="415"/>
                      <a:pt x="220" y="415"/>
                      <a:pt x="220" y="415"/>
                    </a:cubicBezTo>
                    <a:cubicBezTo>
                      <a:pt x="221" y="416"/>
                      <a:pt x="221" y="416"/>
                      <a:pt x="221" y="416"/>
                    </a:cubicBezTo>
                    <a:cubicBezTo>
                      <a:pt x="221" y="417"/>
                      <a:pt x="221" y="417"/>
                      <a:pt x="221" y="417"/>
                    </a:cubicBezTo>
                    <a:cubicBezTo>
                      <a:pt x="220" y="418"/>
                      <a:pt x="220" y="418"/>
                      <a:pt x="220" y="418"/>
                    </a:cubicBezTo>
                    <a:cubicBezTo>
                      <a:pt x="220" y="418"/>
                      <a:pt x="220" y="418"/>
                      <a:pt x="220" y="418"/>
                    </a:cubicBezTo>
                    <a:cubicBezTo>
                      <a:pt x="219" y="418"/>
                      <a:pt x="219" y="418"/>
                      <a:pt x="219" y="418"/>
                    </a:cubicBezTo>
                    <a:cubicBezTo>
                      <a:pt x="218" y="418"/>
                      <a:pt x="218" y="418"/>
                      <a:pt x="218" y="418"/>
                    </a:cubicBezTo>
                    <a:cubicBezTo>
                      <a:pt x="218" y="418"/>
                      <a:pt x="218" y="418"/>
                      <a:pt x="218" y="418"/>
                    </a:cubicBezTo>
                    <a:cubicBezTo>
                      <a:pt x="218" y="419"/>
                      <a:pt x="218" y="419"/>
                      <a:pt x="218" y="419"/>
                    </a:cubicBezTo>
                    <a:cubicBezTo>
                      <a:pt x="219" y="420"/>
                      <a:pt x="219" y="420"/>
                      <a:pt x="219" y="420"/>
                    </a:cubicBezTo>
                    <a:cubicBezTo>
                      <a:pt x="218" y="421"/>
                      <a:pt x="218" y="421"/>
                      <a:pt x="218" y="421"/>
                    </a:cubicBezTo>
                    <a:cubicBezTo>
                      <a:pt x="216" y="421"/>
                      <a:pt x="216" y="421"/>
                      <a:pt x="216" y="421"/>
                    </a:cubicBezTo>
                    <a:cubicBezTo>
                      <a:pt x="214" y="424"/>
                      <a:pt x="214" y="424"/>
                      <a:pt x="214" y="424"/>
                    </a:cubicBezTo>
                    <a:cubicBezTo>
                      <a:pt x="214" y="425"/>
                      <a:pt x="214" y="425"/>
                      <a:pt x="214" y="425"/>
                    </a:cubicBezTo>
                    <a:cubicBezTo>
                      <a:pt x="214" y="426"/>
                      <a:pt x="214" y="426"/>
                      <a:pt x="214" y="426"/>
                    </a:cubicBezTo>
                    <a:cubicBezTo>
                      <a:pt x="214" y="428"/>
                      <a:pt x="214" y="428"/>
                      <a:pt x="214" y="428"/>
                    </a:cubicBezTo>
                    <a:cubicBezTo>
                      <a:pt x="212" y="429"/>
                      <a:pt x="212" y="429"/>
                      <a:pt x="212" y="429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10" y="429"/>
                      <a:pt x="210" y="429"/>
                      <a:pt x="210" y="429"/>
                    </a:cubicBezTo>
                    <a:cubicBezTo>
                      <a:pt x="211" y="428"/>
                      <a:pt x="211" y="428"/>
                      <a:pt x="211" y="428"/>
                    </a:cubicBezTo>
                    <a:cubicBezTo>
                      <a:pt x="210" y="428"/>
                      <a:pt x="210" y="428"/>
                      <a:pt x="210" y="428"/>
                    </a:cubicBezTo>
                    <a:cubicBezTo>
                      <a:pt x="209" y="429"/>
                      <a:pt x="209" y="429"/>
                      <a:pt x="209" y="429"/>
                    </a:cubicBezTo>
                    <a:cubicBezTo>
                      <a:pt x="209" y="430"/>
                      <a:pt x="209" y="430"/>
                      <a:pt x="209" y="430"/>
                    </a:cubicBezTo>
                    <a:cubicBezTo>
                      <a:pt x="209" y="431"/>
                      <a:pt x="209" y="431"/>
                      <a:pt x="209" y="431"/>
                    </a:cubicBezTo>
                    <a:cubicBezTo>
                      <a:pt x="209" y="432"/>
                      <a:pt x="209" y="432"/>
                      <a:pt x="209" y="432"/>
                    </a:cubicBezTo>
                    <a:cubicBezTo>
                      <a:pt x="206" y="434"/>
                      <a:pt x="206" y="434"/>
                      <a:pt x="206" y="434"/>
                    </a:cubicBezTo>
                    <a:cubicBezTo>
                      <a:pt x="205" y="434"/>
                      <a:pt x="205" y="434"/>
                      <a:pt x="205" y="434"/>
                    </a:cubicBezTo>
                    <a:cubicBezTo>
                      <a:pt x="205" y="434"/>
                      <a:pt x="205" y="434"/>
                      <a:pt x="205" y="434"/>
                    </a:cubicBezTo>
                    <a:cubicBezTo>
                      <a:pt x="205" y="433"/>
                      <a:pt x="205" y="433"/>
                      <a:pt x="205" y="433"/>
                    </a:cubicBezTo>
                    <a:cubicBezTo>
                      <a:pt x="204" y="432"/>
                      <a:pt x="204" y="432"/>
                      <a:pt x="204" y="432"/>
                    </a:cubicBezTo>
                    <a:cubicBezTo>
                      <a:pt x="203" y="432"/>
                      <a:pt x="203" y="432"/>
                      <a:pt x="203" y="432"/>
                    </a:cubicBezTo>
                    <a:cubicBezTo>
                      <a:pt x="203" y="434"/>
                      <a:pt x="203" y="434"/>
                      <a:pt x="203" y="434"/>
                    </a:cubicBezTo>
                    <a:cubicBezTo>
                      <a:pt x="203" y="434"/>
                      <a:pt x="203" y="434"/>
                      <a:pt x="203" y="434"/>
                    </a:cubicBezTo>
                    <a:cubicBezTo>
                      <a:pt x="201" y="433"/>
                      <a:pt x="201" y="433"/>
                      <a:pt x="201" y="433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9" y="432"/>
                      <a:pt x="199" y="432"/>
                      <a:pt x="199" y="432"/>
                    </a:cubicBezTo>
                    <a:cubicBezTo>
                      <a:pt x="199" y="432"/>
                      <a:pt x="199" y="432"/>
                      <a:pt x="199" y="432"/>
                    </a:cubicBezTo>
                    <a:cubicBezTo>
                      <a:pt x="200" y="433"/>
                      <a:pt x="200" y="433"/>
                      <a:pt x="200" y="433"/>
                    </a:cubicBezTo>
                    <a:cubicBezTo>
                      <a:pt x="201" y="433"/>
                      <a:pt x="201" y="433"/>
                      <a:pt x="201" y="433"/>
                    </a:cubicBezTo>
                    <a:cubicBezTo>
                      <a:pt x="201" y="435"/>
                      <a:pt x="201" y="435"/>
                      <a:pt x="201" y="435"/>
                    </a:cubicBezTo>
                    <a:cubicBezTo>
                      <a:pt x="201" y="436"/>
                      <a:pt x="201" y="436"/>
                      <a:pt x="201" y="436"/>
                    </a:cubicBezTo>
                    <a:cubicBezTo>
                      <a:pt x="200" y="437"/>
                      <a:pt x="200" y="437"/>
                      <a:pt x="200" y="437"/>
                    </a:cubicBezTo>
                    <a:cubicBezTo>
                      <a:pt x="200" y="437"/>
                      <a:pt x="200" y="437"/>
                      <a:pt x="200" y="437"/>
                    </a:cubicBezTo>
                    <a:cubicBezTo>
                      <a:pt x="197" y="438"/>
                      <a:pt x="197" y="438"/>
                      <a:pt x="197" y="438"/>
                    </a:cubicBezTo>
                    <a:cubicBezTo>
                      <a:pt x="196" y="440"/>
                      <a:pt x="196" y="440"/>
                      <a:pt x="196" y="440"/>
                    </a:cubicBezTo>
                    <a:cubicBezTo>
                      <a:pt x="194" y="440"/>
                      <a:pt x="194" y="440"/>
                      <a:pt x="194" y="440"/>
                    </a:cubicBezTo>
                    <a:cubicBezTo>
                      <a:pt x="193" y="439"/>
                      <a:pt x="193" y="439"/>
                      <a:pt x="193" y="439"/>
                    </a:cubicBezTo>
                    <a:cubicBezTo>
                      <a:pt x="194" y="438"/>
                      <a:pt x="194" y="438"/>
                      <a:pt x="194" y="438"/>
                    </a:cubicBezTo>
                    <a:cubicBezTo>
                      <a:pt x="194" y="438"/>
                      <a:pt x="194" y="438"/>
                      <a:pt x="194" y="438"/>
                    </a:cubicBezTo>
                    <a:cubicBezTo>
                      <a:pt x="193" y="437"/>
                      <a:pt x="193" y="437"/>
                      <a:pt x="193" y="437"/>
                    </a:cubicBezTo>
                    <a:cubicBezTo>
                      <a:pt x="193" y="437"/>
                      <a:pt x="193" y="437"/>
                      <a:pt x="193" y="437"/>
                    </a:cubicBezTo>
                    <a:cubicBezTo>
                      <a:pt x="192" y="438"/>
                      <a:pt x="192" y="438"/>
                      <a:pt x="192" y="438"/>
                    </a:cubicBezTo>
                    <a:cubicBezTo>
                      <a:pt x="192" y="439"/>
                      <a:pt x="192" y="439"/>
                      <a:pt x="192" y="439"/>
                    </a:cubicBezTo>
                    <a:cubicBezTo>
                      <a:pt x="192" y="440"/>
                      <a:pt x="192" y="440"/>
                      <a:pt x="192" y="440"/>
                    </a:cubicBezTo>
                    <a:cubicBezTo>
                      <a:pt x="191" y="440"/>
                      <a:pt x="191" y="440"/>
                      <a:pt x="191" y="440"/>
                    </a:cubicBezTo>
                    <a:cubicBezTo>
                      <a:pt x="190" y="441"/>
                      <a:pt x="190" y="441"/>
                      <a:pt x="190" y="441"/>
                    </a:cubicBezTo>
                    <a:cubicBezTo>
                      <a:pt x="188" y="440"/>
                      <a:pt x="188" y="440"/>
                      <a:pt x="188" y="440"/>
                    </a:cubicBezTo>
                    <a:cubicBezTo>
                      <a:pt x="187" y="439"/>
                      <a:pt x="187" y="439"/>
                      <a:pt x="187" y="439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8" y="436"/>
                      <a:pt x="188" y="436"/>
                      <a:pt x="188" y="436"/>
                    </a:cubicBezTo>
                    <a:cubicBezTo>
                      <a:pt x="188" y="435"/>
                      <a:pt x="188" y="435"/>
                      <a:pt x="188" y="435"/>
                    </a:cubicBezTo>
                    <a:cubicBezTo>
                      <a:pt x="187" y="435"/>
                      <a:pt x="187" y="435"/>
                      <a:pt x="187" y="435"/>
                    </a:cubicBezTo>
                    <a:cubicBezTo>
                      <a:pt x="187" y="437"/>
                      <a:pt x="187" y="437"/>
                      <a:pt x="187" y="437"/>
                    </a:cubicBezTo>
                    <a:cubicBezTo>
                      <a:pt x="186" y="439"/>
                      <a:pt x="186" y="439"/>
                      <a:pt x="186" y="439"/>
                    </a:cubicBezTo>
                    <a:cubicBezTo>
                      <a:pt x="186" y="440"/>
                      <a:pt x="186" y="440"/>
                      <a:pt x="186" y="440"/>
                    </a:cubicBezTo>
                    <a:cubicBezTo>
                      <a:pt x="186" y="441"/>
                      <a:pt x="186" y="441"/>
                      <a:pt x="186" y="441"/>
                    </a:cubicBezTo>
                    <a:cubicBezTo>
                      <a:pt x="185" y="441"/>
                      <a:pt x="185" y="441"/>
                      <a:pt x="185" y="441"/>
                    </a:cubicBezTo>
                    <a:cubicBezTo>
                      <a:pt x="183" y="438"/>
                      <a:pt x="183" y="438"/>
                      <a:pt x="183" y="438"/>
                    </a:cubicBezTo>
                    <a:cubicBezTo>
                      <a:pt x="183" y="436"/>
                      <a:pt x="183" y="436"/>
                      <a:pt x="183" y="436"/>
                    </a:cubicBezTo>
                    <a:cubicBezTo>
                      <a:pt x="184" y="435"/>
                      <a:pt x="184" y="435"/>
                      <a:pt x="184" y="435"/>
                    </a:cubicBezTo>
                    <a:cubicBezTo>
                      <a:pt x="185" y="433"/>
                      <a:pt x="185" y="433"/>
                      <a:pt x="185" y="433"/>
                    </a:cubicBezTo>
                    <a:cubicBezTo>
                      <a:pt x="186" y="433"/>
                      <a:pt x="186" y="433"/>
                      <a:pt x="186" y="433"/>
                    </a:cubicBezTo>
                    <a:cubicBezTo>
                      <a:pt x="185" y="432"/>
                      <a:pt x="185" y="432"/>
                      <a:pt x="185" y="432"/>
                    </a:cubicBezTo>
                    <a:cubicBezTo>
                      <a:pt x="184" y="432"/>
                      <a:pt x="184" y="432"/>
                      <a:pt x="184" y="432"/>
                    </a:cubicBezTo>
                    <a:cubicBezTo>
                      <a:pt x="183" y="430"/>
                      <a:pt x="183" y="430"/>
                      <a:pt x="183" y="430"/>
                    </a:cubicBezTo>
                    <a:cubicBezTo>
                      <a:pt x="183" y="430"/>
                      <a:pt x="183" y="430"/>
                      <a:pt x="183" y="430"/>
                    </a:cubicBezTo>
                    <a:cubicBezTo>
                      <a:pt x="182" y="430"/>
                      <a:pt x="182" y="430"/>
                      <a:pt x="182" y="430"/>
                    </a:cubicBezTo>
                    <a:cubicBezTo>
                      <a:pt x="181" y="430"/>
                      <a:pt x="181" y="430"/>
                      <a:pt x="181" y="430"/>
                    </a:cubicBezTo>
                    <a:cubicBezTo>
                      <a:pt x="181" y="431"/>
                      <a:pt x="181" y="431"/>
                      <a:pt x="181" y="431"/>
                    </a:cubicBezTo>
                    <a:cubicBezTo>
                      <a:pt x="181" y="432"/>
                      <a:pt x="181" y="432"/>
                      <a:pt x="18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4"/>
                      <a:pt x="182" y="434"/>
                      <a:pt x="182" y="434"/>
                    </a:cubicBezTo>
                    <a:cubicBezTo>
                      <a:pt x="181" y="435"/>
                      <a:pt x="181" y="435"/>
                      <a:pt x="181" y="435"/>
                    </a:cubicBezTo>
                    <a:cubicBezTo>
                      <a:pt x="181" y="437"/>
                      <a:pt x="181" y="437"/>
                      <a:pt x="181" y="437"/>
                    </a:cubicBezTo>
                    <a:cubicBezTo>
                      <a:pt x="179" y="438"/>
                      <a:pt x="179" y="438"/>
                      <a:pt x="179" y="438"/>
                    </a:cubicBezTo>
                    <a:cubicBezTo>
                      <a:pt x="178" y="438"/>
                      <a:pt x="178" y="438"/>
                      <a:pt x="178" y="438"/>
                    </a:cubicBezTo>
                    <a:cubicBezTo>
                      <a:pt x="178" y="437"/>
                      <a:pt x="178" y="437"/>
                      <a:pt x="178" y="437"/>
                    </a:cubicBezTo>
                    <a:cubicBezTo>
                      <a:pt x="177" y="436"/>
                      <a:pt x="177" y="436"/>
                      <a:pt x="177" y="436"/>
                    </a:cubicBezTo>
                    <a:cubicBezTo>
                      <a:pt x="177" y="437"/>
                      <a:pt x="177" y="437"/>
                      <a:pt x="177" y="437"/>
                    </a:cubicBezTo>
                    <a:cubicBezTo>
                      <a:pt x="177" y="438"/>
                      <a:pt x="177" y="438"/>
                      <a:pt x="177" y="438"/>
                    </a:cubicBezTo>
                    <a:cubicBezTo>
                      <a:pt x="178" y="440"/>
                      <a:pt x="178" y="440"/>
                      <a:pt x="178" y="440"/>
                    </a:cubicBezTo>
                    <a:cubicBezTo>
                      <a:pt x="179" y="442"/>
                      <a:pt x="179" y="442"/>
                      <a:pt x="179" y="442"/>
                    </a:cubicBezTo>
                    <a:cubicBezTo>
                      <a:pt x="179" y="442"/>
                      <a:pt x="179" y="442"/>
                      <a:pt x="179" y="442"/>
                    </a:cubicBezTo>
                    <a:cubicBezTo>
                      <a:pt x="178" y="443"/>
                      <a:pt x="178" y="443"/>
                      <a:pt x="178" y="443"/>
                    </a:cubicBezTo>
                    <a:cubicBezTo>
                      <a:pt x="178" y="444"/>
                      <a:pt x="178" y="444"/>
                      <a:pt x="178" y="444"/>
                    </a:cubicBezTo>
                    <a:cubicBezTo>
                      <a:pt x="176" y="445"/>
                      <a:pt x="176" y="445"/>
                      <a:pt x="176" y="445"/>
                    </a:cubicBezTo>
                    <a:cubicBezTo>
                      <a:pt x="175" y="445"/>
                      <a:pt x="175" y="445"/>
                      <a:pt x="175" y="445"/>
                    </a:cubicBezTo>
                    <a:cubicBezTo>
                      <a:pt x="174" y="444"/>
                      <a:pt x="174" y="444"/>
                      <a:pt x="174" y="444"/>
                    </a:cubicBezTo>
                    <a:cubicBezTo>
                      <a:pt x="174" y="444"/>
                      <a:pt x="174" y="444"/>
                      <a:pt x="174" y="444"/>
                    </a:cubicBezTo>
                    <a:cubicBezTo>
                      <a:pt x="173" y="445"/>
                      <a:pt x="173" y="445"/>
                      <a:pt x="173" y="445"/>
                    </a:cubicBezTo>
                    <a:cubicBezTo>
                      <a:pt x="171" y="446"/>
                      <a:pt x="171" y="446"/>
                      <a:pt x="171" y="446"/>
                    </a:cubicBezTo>
                    <a:cubicBezTo>
                      <a:pt x="171" y="445"/>
                      <a:pt x="171" y="445"/>
                      <a:pt x="171" y="445"/>
                    </a:cubicBezTo>
                    <a:cubicBezTo>
                      <a:pt x="170" y="444"/>
                      <a:pt x="170" y="444"/>
                      <a:pt x="170" y="444"/>
                    </a:cubicBezTo>
                    <a:cubicBezTo>
                      <a:pt x="170" y="443"/>
                      <a:pt x="170" y="443"/>
                      <a:pt x="170" y="443"/>
                    </a:cubicBezTo>
                    <a:cubicBezTo>
                      <a:pt x="169" y="443"/>
                      <a:pt x="169" y="443"/>
                      <a:pt x="169" y="443"/>
                    </a:cubicBezTo>
                    <a:cubicBezTo>
                      <a:pt x="169" y="443"/>
                      <a:pt x="169" y="443"/>
                      <a:pt x="169" y="443"/>
                    </a:cubicBezTo>
                    <a:cubicBezTo>
                      <a:pt x="169" y="444"/>
                      <a:pt x="169" y="444"/>
                      <a:pt x="169" y="444"/>
                    </a:cubicBezTo>
                    <a:cubicBezTo>
                      <a:pt x="168" y="445"/>
                      <a:pt x="168" y="445"/>
                      <a:pt x="168" y="445"/>
                    </a:cubicBezTo>
                    <a:cubicBezTo>
                      <a:pt x="167" y="445"/>
                      <a:pt x="167" y="445"/>
                      <a:pt x="167" y="445"/>
                    </a:cubicBezTo>
                    <a:cubicBezTo>
                      <a:pt x="166" y="444"/>
                      <a:pt x="166" y="444"/>
                      <a:pt x="166" y="444"/>
                    </a:cubicBezTo>
                    <a:cubicBezTo>
                      <a:pt x="165" y="443"/>
                      <a:pt x="165" y="443"/>
                      <a:pt x="165" y="443"/>
                    </a:cubicBezTo>
                    <a:cubicBezTo>
                      <a:pt x="165" y="443"/>
                      <a:pt x="165" y="443"/>
                      <a:pt x="165" y="443"/>
                    </a:cubicBezTo>
                    <a:cubicBezTo>
                      <a:pt x="164" y="444"/>
                      <a:pt x="164" y="444"/>
                      <a:pt x="164" y="444"/>
                    </a:cubicBezTo>
                    <a:cubicBezTo>
                      <a:pt x="163" y="444"/>
                      <a:pt x="163" y="444"/>
                      <a:pt x="163" y="444"/>
                    </a:cubicBezTo>
                    <a:cubicBezTo>
                      <a:pt x="163" y="444"/>
                      <a:pt x="163" y="444"/>
                      <a:pt x="163" y="444"/>
                    </a:cubicBezTo>
                    <a:cubicBezTo>
                      <a:pt x="163" y="445"/>
                      <a:pt x="163" y="445"/>
                      <a:pt x="163" y="445"/>
                    </a:cubicBezTo>
                    <a:cubicBezTo>
                      <a:pt x="163" y="446"/>
                      <a:pt x="163" y="446"/>
                      <a:pt x="163" y="446"/>
                    </a:cubicBezTo>
                    <a:cubicBezTo>
                      <a:pt x="163" y="449"/>
                      <a:pt x="163" y="449"/>
                      <a:pt x="163" y="449"/>
                    </a:cubicBezTo>
                    <a:cubicBezTo>
                      <a:pt x="162" y="451"/>
                      <a:pt x="162" y="451"/>
                      <a:pt x="162" y="451"/>
                    </a:cubicBezTo>
                    <a:cubicBezTo>
                      <a:pt x="161" y="453"/>
                      <a:pt x="161" y="453"/>
                      <a:pt x="161" y="453"/>
                    </a:cubicBezTo>
                    <a:cubicBezTo>
                      <a:pt x="159" y="453"/>
                      <a:pt x="159" y="453"/>
                      <a:pt x="159" y="453"/>
                    </a:cubicBezTo>
                    <a:cubicBezTo>
                      <a:pt x="159" y="452"/>
                      <a:pt x="159" y="452"/>
                      <a:pt x="159" y="452"/>
                    </a:cubicBezTo>
                    <a:cubicBezTo>
                      <a:pt x="158" y="450"/>
                      <a:pt x="158" y="450"/>
                      <a:pt x="158" y="450"/>
                    </a:cubicBezTo>
                    <a:cubicBezTo>
                      <a:pt x="157" y="450"/>
                      <a:pt x="157" y="450"/>
                      <a:pt x="157" y="450"/>
                    </a:cubicBezTo>
                    <a:cubicBezTo>
                      <a:pt x="156" y="450"/>
                      <a:pt x="156" y="450"/>
                      <a:pt x="156" y="450"/>
                    </a:cubicBezTo>
                    <a:cubicBezTo>
                      <a:pt x="156" y="451"/>
                      <a:pt x="156" y="451"/>
                      <a:pt x="156" y="451"/>
                    </a:cubicBezTo>
                    <a:cubicBezTo>
                      <a:pt x="155" y="451"/>
                      <a:pt x="155" y="451"/>
                      <a:pt x="155" y="451"/>
                    </a:cubicBezTo>
                    <a:cubicBezTo>
                      <a:pt x="154" y="449"/>
                      <a:pt x="154" y="449"/>
                      <a:pt x="154" y="449"/>
                    </a:cubicBezTo>
                    <a:cubicBezTo>
                      <a:pt x="154" y="449"/>
                      <a:pt x="154" y="449"/>
                      <a:pt x="154" y="449"/>
                    </a:cubicBezTo>
                    <a:cubicBezTo>
                      <a:pt x="153" y="450"/>
                      <a:pt x="153" y="450"/>
                      <a:pt x="153" y="450"/>
                    </a:cubicBezTo>
                    <a:cubicBezTo>
                      <a:pt x="153" y="451"/>
                      <a:pt x="153" y="451"/>
                      <a:pt x="153" y="451"/>
                    </a:cubicBezTo>
                    <a:cubicBezTo>
                      <a:pt x="154" y="452"/>
                      <a:pt x="154" y="452"/>
                      <a:pt x="154" y="452"/>
                    </a:cubicBezTo>
                    <a:cubicBezTo>
                      <a:pt x="153" y="453"/>
                      <a:pt x="153" y="453"/>
                      <a:pt x="153" y="453"/>
                    </a:cubicBezTo>
                    <a:cubicBezTo>
                      <a:pt x="153" y="454"/>
                      <a:pt x="153" y="454"/>
                      <a:pt x="153" y="454"/>
                    </a:cubicBezTo>
                    <a:cubicBezTo>
                      <a:pt x="154" y="455"/>
                      <a:pt x="154" y="455"/>
                      <a:pt x="154" y="455"/>
                    </a:cubicBezTo>
                    <a:cubicBezTo>
                      <a:pt x="155" y="456"/>
                      <a:pt x="155" y="456"/>
                      <a:pt x="155" y="456"/>
                    </a:cubicBezTo>
                    <a:cubicBezTo>
                      <a:pt x="155" y="458"/>
                      <a:pt x="155" y="458"/>
                      <a:pt x="155" y="458"/>
                    </a:cubicBezTo>
                    <a:cubicBezTo>
                      <a:pt x="155" y="461"/>
                      <a:pt x="155" y="461"/>
                      <a:pt x="155" y="461"/>
                    </a:cubicBezTo>
                    <a:cubicBezTo>
                      <a:pt x="155" y="463"/>
                      <a:pt x="155" y="463"/>
                      <a:pt x="155" y="463"/>
                    </a:cubicBezTo>
                    <a:cubicBezTo>
                      <a:pt x="154" y="462"/>
                      <a:pt x="154" y="462"/>
                      <a:pt x="154" y="462"/>
                    </a:cubicBezTo>
                    <a:cubicBezTo>
                      <a:pt x="153" y="462"/>
                      <a:pt x="153" y="462"/>
                      <a:pt x="153" y="462"/>
                    </a:cubicBezTo>
                    <a:cubicBezTo>
                      <a:pt x="153" y="463"/>
                      <a:pt x="153" y="463"/>
                      <a:pt x="153" y="463"/>
                    </a:cubicBezTo>
                    <a:cubicBezTo>
                      <a:pt x="151" y="463"/>
                      <a:pt x="151" y="463"/>
                      <a:pt x="151" y="463"/>
                    </a:cubicBezTo>
                    <a:cubicBezTo>
                      <a:pt x="149" y="463"/>
                      <a:pt x="149" y="463"/>
                      <a:pt x="149" y="463"/>
                    </a:cubicBezTo>
                    <a:cubicBezTo>
                      <a:pt x="148" y="463"/>
                      <a:pt x="148" y="463"/>
                      <a:pt x="148" y="463"/>
                    </a:cubicBezTo>
                    <a:cubicBezTo>
                      <a:pt x="147" y="464"/>
                      <a:pt x="147" y="464"/>
                      <a:pt x="147" y="464"/>
                    </a:cubicBezTo>
                    <a:cubicBezTo>
                      <a:pt x="147" y="464"/>
                      <a:pt x="147" y="464"/>
                      <a:pt x="147" y="464"/>
                    </a:cubicBezTo>
                    <a:cubicBezTo>
                      <a:pt x="149" y="466"/>
                      <a:pt x="149" y="466"/>
                      <a:pt x="149" y="466"/>
                    </a:cubicBezTo>
                    <a:cubicBezTo>
                      <a:pt x="151" y="466"/>
                      <a:pt x="151" y="466"/>
                      <a:pt x="151" y="466"/>
                    </a:cubicBezTo>
                    <a:cubicBezTo>
                      <a:pt x="152" y="467"/>
                      <a:pt x="152" y="467"/>
                      <a:pt x="152" y="467"/>
                    </a:cubicBezTo>
                    <a:cubicBezTo>
                      <a:pt x="152" y="467"/>
                      <a:pt x="152" y="467"/>
                      <a:pt x="152" y="467"/>
                    </a:cubicBezTo>
                    <a:cubicBezTo>
                      <a:pt x="153" y="467"/>
                      <a:pt x="153" y="467"/>
                      <a:pt x="153" y="467"/>
                    </a:cubicBezTo>
                    <a:cubicBezTo>
                      <a:pt x="154" y="467"/>
                      <a:pt x="154" y="467"/>
                      <a:pt x="154" y="467"/>
                    </a:cubicBezTo>
                    <a:cubicBezTo>
                      <a:pt x="154" y="468"/>
                      <a:pt x="154" y="468"/>
                      <a:pt x="154" y="468"/>
                    </a:cubicBezTo>
                    <a:cubicBezTo>
                      <a:pt x="154" y="469"/>
                      <a:pt x="154" y="469"/>
                      <a:pt x="154" y="469"/>
                    </a:cubicBezTo>
                    <a:cubicBezTo>
                      <a:pt x="153" y="470"/>
                      <a:pt x="153" y="470"/>
                      <a:pt x="153" y="470"/>
                    </a:cubicBezTo>
                    <a:cubicBezTo>
                      <a:pt x="152" y="470"/>
                      <a:pt x="152" y="470"/>
                      <a:pt x="152" y="470"/>
                    </a:cubicBezTo>
                    <a:cubicBezTo>
                      <a:pt x="152" y="470"/>
                      <a:pt x="152" y="470"/>
                      <a:pt x="152" y="470"/>
                    </a:cubicBezTo>
                    <a:cubicBezTo>
                      <a:pt x="153" y="471"/>
                      <a:pt x="153" y="471"/>
                      <a:pt x="153" y="471"/>
                    </a:cubicBezTo>
                    <a:cubicBezTo>
                      <a:pt x="153" y="472"/>
                      <a:pt x="153" y="472"/>
                      <a:pt x="153" y="472"/>
                    </a:cubicBezTo>
                    <a:cubicBezTo>
                      <a:pt x="153" y="473"/>
                      <a:pt x="153" y="473"/>
                      <a:pt x="153" y="473"/>
                    </a:cubicBezTo>
                    <a:cubicBezTo>
                      <a:pt x="153" y="474"/>
                      <a:pt x="153" y="474"/>
                      <a:pt x="153" y="474"/>
                    </a:cubicBezTo>
                    <a:cubicBezTo>
                      <a:pt x="153" y="475"/>
                      <a:pt x="153" y="475"/>
                      <a:pt x="153" y="475"/>
                    </a:cubicBezTo>
                    <a:cubicBezTo>
                      <a:pt x="152" y="475"/>
                      <a:pt x="152" y="475"/>
                      <a:pt x="152" y="475"/>
                    </a:cubicBezTo>
                    <a:cubicBezTo>
                      <a:pt x="151" y="475"/>
                      <a:pt x="151" y="475"/>
                      <a:pt x="151" y="475"/>
                    </a:cubicBezTo>
                    <a:cubicBezTo>
                      <a:pt x="149" y="473"/>
                      <a:pt x="149" y="473"/>
                      <a:pt x="149" y="473"/>
                    </a:cubicBezTo>
                    <a:cubicBezTo>
                      <a:pt x="148" y="473"/>
                      <a:pt x="148" y="473"/>
                      <a:pt x="148" y="473"/>
                    </a:cubicBezTo>
                    <a:cubicBezTo>
                      <a:pt x="148" y="472"/>
                      <a:pt x="148" y="472"/>
                      <a:pt x="148" y="472"/>
                    </a:cubicBezTo>
                    <a:cubicBezTo>
                      <a:pt x="147" y="471"/>
                      <a:pt x="147" y="471"/>
                      <a:pt x="147" y="471"/>
                    </a:cubicBezTo>
                    <a:cubicBezTo>
                      <a:pt x="145" y="471"/>
                      <a:pt x="145" y="471"/>
                      <a:pt x="145" y="471"/>
                    </a:cubicBezTo>
                    <a:cubicBezTo>
                      <a:pt x="145" y="472"/>
                      <a:pt x="145" y="472"/>
                      <a:pt x="145" y="472"/>
                    </a:cubicBezTo>
                    <a:cubicBezTo>
                      <a:pt x="145" y="473"/>
                      <a:pt x="145" y="473"/>
                      <a:pt x="145" y="473"/>
                    </a:cubicBezTo>
                    <a:cubicBezTo>
                      <a:pt x="146" y="473"/>
                      <a:pt x="146" y="473"/>
                      <a:pt x="146" y="473"/>
                    </a:cubicBezTo>
                    <a:cubicBezTo>
                      <a:pt x="147" y="473"/>
                      <a:pt x="147" y="473"/>
                      <a:pt x="147" y="473"/>
                    </a:cubicBezTo>
                    <a:cubicBezTo>
                      <a:pt x="149" y="474"/>
                      <a:pt x="149" y="474"/>
                      <a:pt x="149" y="474"/>
                    </a:cubicBezTo>
                    <a:cubicBezTo>
                      <a:pt x="150" y="475"/>
                      <a:pt x="150" y="475"/>
                      <a:pt x="150" y="475"/>
                    </a:cubicBezTo>
                    <a:cubicBezTo>
                      <a:pt x="151" y="476"/>
                      <a:pt x="151" y="476"/>
                      <a:pt x="151" y="476"/>
                    </a:cubicBezTo>
                    <a:cubicBezTo>
                      <a:pt x="152" y="476"/>
                      <a:pt x="152" y="476"/>
                      <a:pt x="152" y="476"/>
                    </a:cubicBezTo>
                    <a:cubicBezTo>
                      <a:pt x="151" y="478"/>
                      <a:pt x="151" y="478"/>
                      <a:pt x="151" y="478"/>
                    </a:cubicBezTo>
                    <a:cubicBezTo>
                      <a:pt x="150" y="478"/>
                      <a:pt x="150" y="478"/>
                      <a:pt x="150" y="478"/>
                    </a:cubicBezTo>
                    <a:cubicBezTo>
                      <a:pt x="149" y="478"/>
                      <a:pt x="149" y="478"/>
                      <a:pt x="149" y="478"/>
                    </a:cubicBezTo>
                    <a:cubicBezTo>
                      <a:pt x="148" y="479"/>
                      <a:pt x="148" y="479"/>
                      <a:pt x="148" y="479"/>
                    </a:cubicBezTo>
                    <a:cubicBezTo>
                      <a:pt x="147" y="479"/>
                      <a:pt x="147" y="479"/>
                      <a:pt x="147" y="479"/>
                    </a:cubicBezTo>
                    <a:cubicBezTo>
                      <a:pt x="145" y="477"/>
                      <a:pt x="145" y="477"/>
                      <a:pt x="145" y="477"/>
                    </a:cubicBezTo>
                    <a:cubicBezTo>
                      <a:pt x="144" y="476"/>
                      <a:pt x="144" y="476"/>
                      <a:pt x="144" y="476"/>
                    </a:cubicBezTo>
                    <a:cubicBezTo>
                      <a:pt x="143" y="476"/>
                      <a:pt x="143" y="476"/>
                      <a:pt x="143" y="476"/>
                    </a:cubicBezTo>
                    <a:cubicBezTo>
                      <a:pt x="143" y="476"/>
                      <a:pt x="143" y="476"/>
                      <a:pt x="143" y="476"/>
                    </a:cubicBezTo>
                    <a:cubicBezTo>
                      <a:pt x="142" y="477"/>
                      <a:pt x="142" y="477"/>
                      <a:pt x="142" y="477"/>
                    </a:cubicBezTo>
                    <a:cubicBezTo>
                      <a:pt x="142" y="479"/>
                      <a:pt x="142" y="479"/>
                      <a:pt x="142" y="479"/>
                    </a:cubicBezTo>
                    <a:cubicBezTo>
                      <a:pt x="143" y="480"/>
                      <a:pt x="143" y="480"/>
                      <a:pt x="143" y="480"/>
                    </a:cubicBezTo>
                    <a:cubicBezTo>
                      <a:pt x="145" y="481"/>
                      <a:pt x="145" y="481"/>
                      <a:pt x="145" y="481"/>
                    </a:cubicBezTo>
                    <a:cubicBezTo>
                      <a:pt x="146" y="482"/>
                      <a:pt x="146" y="482"/>
                      <a:pt x="146" y="482"/>
                    </a:cubicBezTo>
                    <a:cubicBezTo>
                      <a:pt x="145" y="483"/>
                      <a:pt x="145" y="483"/>
                      <a:pt x="145" y="483"/>
                    </a:cubicBezTo>
                    <a:cubicBezTo>
                      <a:pt x="145" y="483"/>
                      <a:pt x="145" y="483"/>
                      <a:pt x="145" y="483"/>
                    </a:cubicBezTo>
                    <a:cubicBezTo>
                      <a:pt x="144" y="482"/>
                      <a:pt x="144" y="482"/>
                      <a:pt x="144" y="482"/>
                    </a:cubicBezTo>
                    <a:cubicBezTo>
                      <a:pt x="143" y="482"/>
                      <a:pt x="143" y="482"/>
                      <a:pt x="143" y="482"/>
                    </a:cubicBezTo>
                    <a:cubicBezTo>
                      <a:pt x="141" y="481"/>
                      <a:pt x="141" y="481"/>
                      <a:pt x="141" y="481"/>
                    </a:cubicBezTo>
                    <a:cubicBezTo>
                      <a:pt x="140" y="480"/>
                      <a:pt x="140" y="480"/>
                      <a:pt x="140" y="480"/>
                    </a:cubicBezTo>
                    <a:cubicBezTo>
                      <a:pt x="140" y="480"/>
                      <a:pt x="140" y="480"/>
                      <a:pt x="140" y="480"/>
                    </a:cubicBezTo>
                    <a:cubicBezTo>
                      <a:pt x="140" y="481"/>
                      <a:pt x="140" y="481"/>
                      <a:pt x="140" y="481"/>
                    </a:cubicBezTo>
                    <a:cubicBezTo>
                      <a:pt x="141" y="482"/>
                      <a:pt x="141" y="482"/>
                      <a:pt x="141" y="482"/>
                    </a:cubicBezTo>
                    <a:cubicBezTo>
                      <a:pt x="143" y="483"/>
                      <a:pt x="143" y="483"/>
                      <a:pt x="143" y="483"/>
                    </a:cubicBezTo>
                    <a:cubicBezTo>
                      <a:pt x="144" y="484"/>
                      <a:pt x="144" y="484"/>
                      <a:pt x="144" y="484"/>
                    </a:cubicBezTo>
                    <a:cubicBezTo>
                      <a:pt x="144" y="485"/>
                      <a:pt x="144" y="485"/>
                      <a:pt x="144" y="485"/>
                    </a:cubicBezTo>
                    <a:cubicBezTo>
                      <a:pt x="143" y="485"/>
                      <a:pt x="143" y="485"/>
                      <a:pt x="143" y="485"/>
                    </a:cubicBezTo>
                    <a:cubicBezTo>
                      <a:pt x="141" y="485"/>
                      <a:pt x="141" y="485"/>
                      <a:pt x="141" y="485"/>
                    </a:cubicBezTo>
                    <a:cubicBezTo>
                      <a:pt x="140" y="484"/>
                      <a:pt x="140" y="484"/>
                      <a:pt x="140" y="484"/>
                    </a:cubicBezTo>
                    <a:cubicBezTo>
                      <a:pt x="140" y="483"/>
                      <a:pt x="140" y="483"/>
                      <a:pt x="140" y="483"/>
                    </a:cubicBezTo>
                    <a:cubicBezTo>
                      <a:pt x="139" y="482"/>
                      <a:pt x="139" y="482"/>
                      <a:pt x="139" y="482"/>
                    </a:cubicBezTo>
                    <a:cubicBezTo>
                      <a:pt x="138" y="482"/>
                      <a:pt x="138" y="482"/>
                      <a:pt x="138" y="482"/>
                    </a:cubicBezTo>
                    <a:cubicBezTo>
                      <a:pt x="137" y="483"/>
                      <a:pt x="137" y="483"/>
                      <a:pt x="137" y="483"/>
                    </a:cubicBezTo>
                    <a:cubicBezTo>
                      <a:pt x="137" y="484"/>
                      <a:pt x="137" y="484"/>
                      <a:pt x="137" y="484"/>
                    </a:cubicBezTo>
                    <a:cubicBezTo>
                      <a:pt x="138" y="485"/>
                      <a:pt x="138" y="485"/>
                      <a:pt x="138" y="485"/>
                    </a:cubicBezTo>
                    <a:cubicBezTo>
                      <a:pt x="139" y="486"/>
                      <a:pt x="139" y="486"/>
                      <a:pt x="139" y="486"/>
                    </a:cubicBezTo>
                    <a:cubicBezTo>
                      <a:pt x="138" y="486"/>
                      <a:pt x="138" y="486"/>
                      <a:pt x="138" y="486"/>
                    </a:cubicBezTo>
                    <a:cubicBezTo>
                      <a:pt x="139" y="487"/>
                      <a:pt x="139" y="487"/>
                      <a:pt x="139" y="487"/>
                    </a:cubicBezTo>
                    <a:cubicBezTo>
                      <a:pt x="142" y="487"/>
                      <a:pt x="142" y="487"/>
                      <a:pt x="142" y="487"/>
                    </a:cubicBezTo>
                    <a:cubicBezTo>
                      <a:pt x="143" y="487"/>
                      <a:pt x="143" y="487"/>
                      <a:pt x="143" y="487"/>
                    </a:cubicBezTo>
                    <a:cubicBezTo>
                      <a:pt x="143" y="488"/>
                      <a:pt x="143" y="488"/>
                      <a:pt x="143" y="488"/>
                    </a:cubicBezTo>
                    <a:cubicBezTo>
                      <a:pt x="143" y="489"/>
                      <a:pt x="143" y="489"/>
                      <a:pt x="143" y="489"/>
                    </a:cubicBezTo>
                    <a:cubicBezTo>
                      <a:pt x="142" y="490"/>
                      <a:pt x="142" y="490"/>
                      <a:pt x="142" y="490"/>
                    </a:cubicBezTo>
                    <a:cubicBezTo>
                      <a:pt x="141" y="490"/>
                      <a:pt x="141" y="490"/>
                      <a:pt x="141" y="490"/>
                    </a:cubicBezTo>
                    <a:cubicBezTo>
                      <a:pt x="140" y="491"/>
                      <a:pt x="140" y="491"/>
                      <a:pt x="140" y="491"/>
                    </a:cubicBezTo>
                    <a:cubicBezTo>
                      <a:pt x="139" y="490"/>
                      <a:pt x="139" y="490"/>
                      <a:pt x="139" y="490"/>
                    </a:cubicBezTo>
                    <a:cubicBezTo>
                      <a:pt x="138" y="490"/>
                      <a:pt x="138" y="490"/>
                      <a:pt x="138" y="490"/>
                    </a:cubicBezTo>
                    <a:cubicBezTo>
                      <a:pt x="136" y="489"/>
                      <a:pt x="136" y="489"/>
                      <a:pt x="136" y="489"/>
                    </a:cubicBezTo>
                    <a:cubicBezTo>
                      <a:pt x="136" y="488"/>
                      <a:pt x="136" y="488"/>
                      <a:pt x="136" y="488"/>
                    </a:cubicBezTo>
                    <a:cubicBezTo>
                      <a:pt x="137" y="488"/>
                      <a:pt x="137" y="488"/>
                      <a:pt x="137" y="488"/>
                    </a:cubicBezTo>
                    <a:cubicBezTo>
                      <a:pt x="136" y="487"/>
                      <a:pt x="136" y="487"/>
                      <a:pt x="136" y="487"/>
                    </a:cubicBezTo>
                    <a:cubicBezTo>
                      <a:pt x="135" y="487"/>
                      <a:pt x="135" y="487"/>
                      <a:pt x="135" y="487"/>
                    </a:cubicBezTo>
                    <a:cubicBezTo>
                      <a:pt x="135" y="489"/>
                      <a:pt x="135" y="489"/>
                      <a:pt x="135" y="489"/>
                    </a:cubicBezTo>
                    <a:cubicBezTo>
                      <a:pt x="135" y="490"/>
                      <a:pt x="135" y="490"/>
                      <a:pt x="135" y="490"/>
                    </a:cubicBezTo>
                    <a:cubicBezTo>
                      <a:pt x="134" y="491"/>
                      <a:pt x="134" y="491"/>
                      <a:pt x="134" y="491"/>
                    </a:cubicBezTo>
                    <a:cubicBezTo>
                      <a:pt x="132" y="491"/>
                      <a:pt x="132" y="491"/>
                      <a:pt x="132" y="491"/>
                    </a:cubicBezTo>
                    <a:cubicBezTo>
                      <a:pt x="131" y="490"/>
                      <a:pt x="131" y="490"/>
                      <a:pt x="131" y="490"/>
                    </a:cubicBezTo>
                    <a:cubicBezTo>
                      <a:pt x="130" y="490"/>
                      <a:pt x="130" y="490"/>
                      <a:pt x="130" y="490"/>
                    </a:cubicBezTo>
                    <a:cubicBezTo>
                      <a:pt x="130" y="490"/>
                      <a:pt x="130" y="490"/>
                      <a:pt x="130" y="490"/>
                    </a:cubicBezTo>
                    <a:cubicBezTo>
                      <a:pt x="129" y="491"/>
                      <a:pt x="129" y="491"/>
                      <a:pt x="129" y="491"/>
                    </a:cubicBezTo>
                    <a:cubicBezTo>
                      <a:pt x="130" y="491"/>
                      <a:pt x="130" y="491"/>
                      <a:pt x="130" y="491"/>
                    </a:cubicBezTo>
                    <a:cubicBezTo>
                      <a:pt x="133" y="493"/>
                      <a:pt x="133" y="493"/>
                      <a:pt x="133" y="493"/>
                    </a:cubicBezTo>
                    <a:cubicBezTo>
                      <a:pt x="135" y="493"/>
                      <a:pt x="135" y="493"/>
                      <a:pt x="135" y="493"/>
                    </a:cubicBezTo>
                    <a:cubicBezTo>
                      <a:pt x="136" y="495"/>
                      <a:pt x="136" y="495"/>
                      <a:pt x="136" y="495"/>
                    </a:cubicBezTo>
                    <a:cubicBezTo>
                      <a:pt x="137" y="497"/>
                      <a:pt x="137" y="497"/>
                      <a:pt x="137" y="497"/>
                    </a:cubicBezTo>
                    <a:cubicBezTo>
                      <a:pt x="136" y="497"/>
                      <a:pt x="136" y="497"/>
                      <a:pt x="136" y="497"/>
                    </a:cubicBezTo>
                    <a:cubicBezTo>
                      <a:pt x="135" y="497"/>
                      <a:pt x="135" y="497"/>
                      <a:pt x="135" y="497"/>
                    </a:cubicBezTo>
                    <a:cubicBezTo>
                      <a:pt x="134" y="496"/>
                      <a:pt x="134" y="496"/>
                      <a:pt x="134" y="496"/>
                    </a:cubicBezTo>
                    <a:cubicBezTo>
                      <a:pt x="131" y="494"/>
                      <a:pt x="131" y="494"/>
                      <a:pt x="131" y="494"/>
                    </a:cubicBezTo>
                    <a:cubicBezTo>
                      <a:pt x="131" y="494"/>
                      <a:pt x="131" y="494"/>
                      <a:pt x="131" y="494"/>
                    </a:cubicBezTo>
                    <a:cubicBezTo>
                      <a:pt x="129" y="494"/>
                      <a:pt x="129" y="494"/>
                      <a:pt x="129" y="494"/>
                    </a:cubicBezTo>
                    <a:cubicBezTo>
                      <a:pt x="129" y="494"/>
                      <a:pt x="129" y="494"/>
                      <a:pt x="129" y="494"/>
                    </a:cubicBezTo>
                    <a:cubicBezTo>
                      <a:pt x="130" y="495"/>
                      <a:pt x="130" y="495"/>
                      <a:pt x="130" y="495"/>
                    </a:cubicBezTo>
                    <a:cubicBezTo>
                      <a:pt x="132" y="496"/>
                      <a:pt x="132" y="496"/>
                      <a:pt x="132" y="496"/>
                    </a:cubicBezTo>
                    <a:cubicBezTo>
                      <a:pt x="134" y="497"/>
                      <a:pt x="134" y="497"/>
                      <a:pt x="134" y="497"/>
                    </a:cubicBezTo>
                    <a:cubicBezTo>
                      <a:pt x="135" y="499"/>
                      <a:pt x="135" y="499"/>
                      <a:pt x="135" y="499"/>
                    </a:cubicBezTo>
                    <a:cubicBezTo>
                      <a:pt x="135" y="500"/>
                      <a:pt x="135" y="500"/>
                      <a:pt x="135" y="500"/>
                    </a:cubicBezTo>
                    <a:cubicBezTo>
                      <a:pt x="135" y="502"/>
                      <a:pt x="135" y="502"/>
                      <a:pt x="135" y="502"/>
                    </a:cubicBezTo>
                    <a:cubicBezTo>
                      <a:pt x="135" y="503"/>
                      <a:pt x="135" y="503"/>
                      <a:pt x="135" y="503"/>
                    </a:cubicBezTo>
                    <a:cubicBezTo>
                      <a:pt x="135" y="503"/>
                      <a:pt x="135" y="503"/>
                      <a:pt x="135" y="503"/>
                    </a:cubicBezTo>
                    <a:cubicBezTo>
                      <a:pt x="134" y="504"/>
                      <a:pt x="134" y="504"/>
                      <a:pt x="134" y="504"/>
                    </a:cubicBezTo>
                    <a:cubicBezTo>
                      <a:pt x="134" y="505"/>
                      <a:pt x="134" y="505"/>
                      <a:pt x="134" y="505"/>
                    </a:cubicBezTo>
                    <a:cubicBezTo>
                      <a:pt x="133" y="507"/>
                      <a:pt x="133" y="507"/>
                      <a:pt x="133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1" y="506"/>
                      <a:pt x="131" y="506"/>
                      <a:pt x="131" y="506"/>
                    </a:cubicBezTo>
                    <a:cubicBezTo>
                      <a:pt x="130" y="506"/>
                      <a:pt x="130" y="506"/>
                      <a:pt x="130" y="506"/>
                    </a:cubicBezTo>
                    <a:cubicBezTo>
                      <a:pt x="129" y="505"/>
                      <a:pt x="129" y="505"/>
                      <a:pt x="129" y="505"/>
                    </a:cubicBezTo>
                    <a:cubicBezTo>
                      <a:pt x="128" y="505"/>
                      <a:pt x="128" y="505"/>
                      <a:pt x="128" y="505"/>
                    </a:cubicBezTo>
                    <a:cubicBezTo>
                      <a:pt x="128" y="506"/>
                      <a:pt x="128" y="506"/>
                      <a:pt x="128" y="506"/>
                    </a:cubicBezTo>
                    <a:cubicBezTo>
                      <a:pt x="130" y="507"/>
                      <a:pt x="130" y="507"/>
                      <a:pt x="130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1" y="509"/>
                      <a:pt x="131" y="509"/>
                      <a:pt x="131" y="509"/>
                    </a:cubicBezTo>
                    <a:cubicBezTo>
                      <a:pt x="129" y="509"/>
                      <a:pt x="129" y="509"/>
                      <a:pt x="129" y="509"/>
                    </a:cubicBezTo>
                    <a:cubicBezTo>
                      <a:pt x="129" y="508"/>
                      <a:pt x="129" y="508"/>
                      <a:pt x="129" y="508"/>
                    </a:cubicBezTo>
                    <a:cubicBezTo>
                      <a:pt x="128" y="508"/>
                      <a:pt x="128" y="508"/>
                      <a:pt x="128" y="508"/>
                    </a:cubicBezTo>
                    <a:cubicBezTo>
                      <a:pt x="128" y="509"/>
                      <a:pt x="128" y="509"/>
                      <a:pt x="128" y="509"/>
                    </a:cubicBezTo>
                    <a:cubicBezTo>
                      <a:pt x="129" y="510"/>
                      <a:pt x="129" y="510"/>
                      <a:pt x="129" y="510"/>
                    </a:cubicBezTo>
                    <a:cubicBezTo>
                      <a:pt x="130" y="510"/>
                      <a:pt x="130" y="510"/>
                      <a:pt x="130" y="510"/>
                    </a:cubicBezTo>
                    <a:cubicBezTo>
                      <a:pt x="130" y="511"/>
                      <a:pt x="130" y="511"/>
                      <a:pt x="130" y="511"/>
                    </a:cubicBezTo>
                    <a:cubicBezTo>
                      <a:pt x="129" y="512"/>
                      <a:pt x="129" y="512"/>
                      <a:pt x="129" y="512"/>
                    </a:cubicBezTo>
                    <a:cubicBezTo>
                      <a:pt x="128" y="512"/>
                      <a:pt x="128" y="512"/>
                      <a:pt x="128" y="512"/>
                    </a:cubicBezTo>
                    <a:cubicBezTo>
                      <a:pt x="127" y="512"/>
                      <a:pt x="127" y="512"/>
                      <a:pt x="127" y="512"/>
                    </a:cubicBezTo>
                    <a:cubicBezTo>
                      <a:pt x="126" y="511"/>
                      <a:pt x="126" y="511"/>
                      <a:pt x="126" y="511"/>
                    </a:cubicBezTo>
                    <a:cubicBezTo>
                      <a:pt x="125" y="511"/>
                      <a:pt x="125" y="511"/>
                      <a:pt x="125" y="511"/>
                    </a:cubicBezTo>
                    <a:cubicBezTo>
                      <a:pt x="126" y="512"/>
                      <a:pt x="126" y="512"/>
                      <a:pt x="126" y="512"/>
                    </a:cubicBezTo>
                    <a:cubicBezTo>
                      <a:pt x="127" y="513"/>
                      <a:pt x="127" y="513"/>
                      <a:pt x="127" y="513"/>
                    </a:cubicBezTo>
                    <a:cubicBezTo>
                      <a:pt x="128" y="513"/>
                      <a:pt x="128" y="513"/>
                      <a:pt x="128" y="513"/>
                    </a:cubicBezTo>
                    <a:cubicBezTo>
                      <a:pt x="128" y="515"/>
                      <a:pt x="128" y="515"/>
                      <a:pt x="128" y="515"/>
                    </a:cubicBezTo>
                    <a:cubicBezTo>
                      <a:pt x="127" y="516"/>
                      <a:pt x="127" y="516"/>
                      <a:pt x="127" y="516"/>
                    </a:cubicBezTo>
                    <a:cubicBezTo>
                      <a:pt x="124" y="515"/>
                      <a:pt x="124" y="515"/>
                      <a:pt x="124" y="515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15"/>
                      <a:pt x="122" y="515"/>
                      <a:pt x="122" y="515"/>
                    </a:cubicBezTo>
                    <a:cubicBezTo>
                      <a:pt x="122" y="515"/>
                      <a:pt x="122" y="515"/>
                      <a:pt x="122" y="515"/>
                    </a:cubicBezTo>
                    <a:cubicBezTo>
                      <a:pt x="124" y="516"/>
                      <a:pt x="124" y="516"/>
                      <a:pt x="124" y="516"/>
                    </a:cubicBezTo>
                    <a:cubicBezTo>
                      <a:pt x="127" y="516"/>
                      <a:pt x="127" y="516"/>
                      <a:pt x="127" y="516"/>
                    </a:cubicBezTo>
                    <a:cubicBezTo>
                      <a:pt x="129" y="517"/>
                      <a:pt x="129" y="517"/>
                      <a:pt x="129" y="517"/>
                    </a:cubicBezTo>
                    <a:cubicBezTo>
                      <a:pt x="129" y="518"/>
                      <a:pt x="129" y="518"/>
                      <a:pt x="129" y="518"/>
                    </a:cubicBezTo>
                    <a:cubicBezTo>
                      <a:pt x="129" y="519"/>
                      <a:pt x="129" y="519"/>
                      <a:pt x="129" y="519"/>
                    </a:cubicBezTo>
                    <a:cubicBezTo>
                      <a:pt x="127" y="519"/>
                      <a:pt x="127" y="519"/>
                      <a:pt x="127" y="519"/>
                    </a:cubicBezTo>
                    <a:cubicBezTo>
                      <a:pt x="125" y="520"/>
                      <a:pt x="125" y="520"/>
                      <a:pt x="125" y="520"/>
                    </a:cubicBezTo>
                    <a:cubicBezTo>
                      <a:pt x="123" y="519"/>
                      <a:pt x="123" y="519"/>
                      <a:pt x="123" y="519"/>
                    </a:cubicBezTo>
                    <a:cubicBezTo>
                      <a:pt x="122" y="519"/>
                      <a:pt x="122" y="519"/>
                      <a:pt x="122" y="519"/>
                    </a:cubicBezTo>
                    <a:cubicBezTo>
                      <a:pt x="121" y="519"/>
                      <a:pt x="121" y="519"/>
                      <a:pt x="121" y="519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24" y="520"/>
                      <a:pt x="124" y="520"/>
                      <a:pt x="124" y="520"/>
                    </a:cubicBezTo>
                    <a:cubicBezTo>
                      <a:pt x="124" y="521"/>
                      <a:pt x="124" y="521"/>
                      <a:pt x="124" y="521"/>
                    </a:cubicBezTo>
                    <a:cubicBezTo>
                      <a:pt x="124" y="521"/>
                      <a:pt x="124" y="521"/>
                      <a:pt x="124" y="521"/>
                    </a:cubicBezTo>
                    <a:cubicBezTo>
                      <a:pt x="123" y="521"/>
                      <a:pt x="123" y="521"/>
                      <a:pt x="123" y="521"/>
                    </a:cubicBezTo>
                    <a:cubicBezTo>
                      <a:pt x="123" y="522"/>
                      <a:pt x="123" y="522"/>
                      <a:pt x="123" y="522"/>
                    </a:cubicBezTo>
                    <a:cubicBezTo>
                      <a:pt x="124" y="522"/>
                      <a:pt x="124" y="522"/>
                      <a:pt x="124" y="522"/>
                    </a:cubicBezTo>
                    <a:cubicBezTo>
                      <a:pt x="126" y="523"/>
                      <a:pt x="126" y="523"/>
                      <a:pt x="126" y="523"/>
                    </a:cubicBezTo>
                    <a:cubicBezTo>
                      <a:pt x="126" y="524"/>
                      <a:pt x="126" y="524"/>
                      <a:pt x="126" y="524"/>
                    </a:cubicBezTo>
                    <a:cubicBezTo>
                      <a:pt x="125" y="524"/>
                      <a:pt x="125" y="524"/>
                      <a:pt x="125" y="524"/>
                    </a:cubicBezTo>
                    <a:cubicBezTo>
                      <a:pt x="124" y="524"/>
                      <a:pt x="124" y="524"/>
                      <a:pt x="124" y="524"/>
                    </a:cubicBezTo>
                    <a:cubicBezTo>
                      <a:pt x="123" y="524"/>
                      <a:pt x="123" y="524"/>
                      <a:pt x="123" y="524"/>
                    </a:cubicBezTo>
                    <a:cubicBezTo>
                      <a:pt x="123" y="525"/>
                      <a:pt x="123" y="525"/>
                      <a:pt x="123" y="525"/>
                    </a:cubicBezTo>
                    <a:cubicBezTo>
                      <a:pt x="124" y="525"/>
                      <a:pt x="124" y="525"/>
                      <a:pt x="124" y="525"/>
                    </a:cubicBezTo>
                    <a:cubicBezTo>
                      <a:pt x="125" y="525"/>
                      <a:pt x="125" y="525"/>
                      <a:pt x="125" y="525"/>
                    </a:cubicBezTo>
                    <a:cubicBezTo>
                      <a:pt x="127" y="525"/>
                      <a:pt x="127" y="525"/>
                      <a:pt x="127" y="525"/>
                    </a:cubicBezTo>
                    <a:cubicBezTo>
                      <a:pt x="126" y="526"/>
                      <a:pt x="126" y="526"/>
                      <a:pt x="126" y="526"/>
                    </a:cubicBezTo>
                    <a:cubicBezTo>
                      <a:pt x="125" y="527"/>
                      <a:pt x="125" y="527"/>
                      <a:pt x="125" y="527"/>
                    </a:cubicBezTo>
                    <a:cubicBezTo>
                      <a:pt x="123" y="528"/>
                      <a:pt x="123" y="528"/>
                      <a:pt x="123" y="528"/>
                    </a:cubicBezTo>
                    <a:cubicBezTo>
                      <a:pt x="122" y="528"/>
                      <a:pt x="122" y="528"/>
                      <a:pt x="122" y="528"/>
                    </a:cubicBezTo>
                    <a:cubicBezTo>
                      <a:pt x="121" y="527"/>
                      <a:pt x="121" y="527"/>
                      <a:pt x="121" y="527"/>
                    </a:cubicBezTo>
                    <a:cubicBezTo>
                      <a:pt x="120" y="525"/>
                      <a:pt x="120" y="525"/>
                      <a:pt x="120" y="525"/>
                    </a:cubicBezTo>
                    <a:cubicBezTo>
                      <a:pt x="119" y="524"/>
                      <a:pt x="119" y="524"/>
                      <a:pt x="119" y="524"/>
                    </a:cubicBezTo>
                    <a:cubicBezTo>
                      <a:pt x="119" y="524"/>
                      <a:pt x="119" y="524"/>
                      <a:pt x="119" y="524"/>
                    </a:cubicBezTo>
                    <a:cubicBezTo>
                      <a:pt x="118" y="525"/>
                      <a:pt x="118" y="525"/>
                      <a:pt x="118" y="525"/>
                    </a:cubicBezTo>
                    <a:cubicBezTo>
                      <a:pt x="116" y="524"/>
                      <a:pt x="116" y="524"/>
                      <a:pt x="116" y="524"/>
                    </a:cubicBezTo>
                    <a:cubicBezTo>
                      <a:pt x="116" y="525"/>
                      <a:pt x="116" y="525"/>
                      <a:pt x="116" y="525"/>
                    </a:cubicBezTo>
                    <a:cubicBezTo>
                      <a:pt x="116" y="526"/>
                      <a:pt x="116" y="526"/>
                      <a:pt x="116" y="526"/>
                    </a:cubicBezTo>
                    <a:cubicBezTo>
                      <a:pt x="119" y="527"/>
                      <a:pt x="119" y="527"/>
                      <a:pt x="119" y="527"/>
                    </a:cubicBezTo>
                    <a:cubicBezTo>
                      <a:pt x="121" y="528"/>
                      <a:pt x="121" y="528"/>
                      <a:pt x="121" y="528"/>
                    </a:cubicBezTo>
                    <a:cubicBezTo>
                      <a:pt x="121" y="529"/>
                      <a:pt x="121" y="529"/>
                      <a:pt x="121" y="529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3" y="530"/>
                      <a:pt x="123" y="530"/>
                      <a:pt x="123" y="530"/>
                    </a:cubicBezTo>
                    <a:cubicBezTo>
                      <a:pt x="123" y="531"/>
                      <a:pt x="123" y="531"/>
                      <a:pt x="123" y="531"/>
                    </a:cubicBezTo>
                    <a:cubicBezTo>
                      <a:pt x="124" y="531"/>
                      <a:pt x="124" y="531"/>
                      <a:pt x="124" y="531"/>
                    </a:cubicBezTo>
                    <a:cubicBezTo>
                      <a:pt x="124" y="532"/>
                      <a:pt x="124" y="532"/>
                      <a:pt x="124" y="532"/>
                    </a:cubicBezTo>
                    <a:cubicBezTo>
                      <a:pt x="123" y="532"/>
                      <a:pt x="123" y="532"/>
                      <a:pt x="123" y="532"/>
                    </a:cubicBezTo>
                    <a:cubicBezTo>
                      <a:pt x="122" y="533"/>
                      <a:pt x="122" y="533"/>
                      <a:pt x="122" y="533"/>
                    </a:cubicBezTo>
                    <a:cubicBezTo>
                      <a:pt x="122" y="534"/>
                      <a:pt x="122" y="534"/>
                      <a:pt x="122" y="534"/>
                    </a:cubicBezTo>
                    <a:cubicBezTo>
                      <a:pt x="121" y="533"/>
                      <a:pt x="121" y="533"/>
                      <a:pt x="121" y="533"/>
                    </a:cubicBezTo>
                    <a:close/>
                    <a:moveTo>
                      <a:pt x="119" y="534"/>
                    </a:moveTo>
                    <a:cubicBezTo>
                      <a:pt x="116" y="532"/>
                      <a:pt x="116" y="532"/>
                      <a:pt x="116" y="532"/>
                    </a:cubicBezTo>
                    <a:cubicBezTo>
                      <a:pt x="115" y="532"/>
                      <a:pt x="115" y="532"/>
                      <a:pt x="115" y="532"/>
                    </a:cubicBezTo>
                    <a:cubicBezTo>
                      <a:pt x="115" y="533"/>
                      <a:pt x="115" y="533"/>
                      <a:pt x="115" y="533"/>
                    </a:cubicBezTo>
                    <a:cubicBezTo>
                      <a:pt x="117" y="535"/>
                      <a:pt x="117" y="535"/>
                      <a:pt x="117" y="535"/>
                    </a:cubicBezTo>
                    <a:cubicBezTo>
                      <a:pt x="118" y="535"/>
                      <a:pt x="118" y="535"/>
                      <a:pt x="118" y="535"/>
                    </a:cubicBezTo>
                    <a:cubicBezTo>
                      <a:pt x="119" y="534"/>
                      <a:pt x="119" y="534"/>
                      <a:pt x="119" y="534"/>
                    </a:cubicBezTo>
                    <a:close/>
                    <a:moveTo>
                      <a:pt x="271" y="361"/>
                    </a:moveTo>
                    <a:cubicBezTo>
                      <a:pt x="271" y="362"/>
                      <a:pt x="271" y="362"/>
                      <a:pt x="271" y="362"/>
                    </a:cubicBezTo>
                    <a:cubicBezTo>
                      <a:pt x="273" y="361"/>
                      <a:pt x="273" y="361"/>
                      <a:pt x="273" y="361"/>
                    </a:cubicBezTo>
                    <a:cubicBezTo>
                      <a:pt x="278" y="360"/>
                      <a:pt x="278" y="360"/>
                      <a:pt x="278" y="360"/>
                    </a:cubicBezTo>
                    <a:cubicBezTo>
                      <a:pt x="282" y="361"/>
                      <a:pt x="282" y="361"/>
                      <a:pt x="282" y="361"/>
                    </a:cubicBezTo>
                    <a:cubicBezTo>
                      <a:pt x="283" y="360"/>
                      <a:pt x="283" y="360"/>
                      <a:pt x="283" y="360"/>
                    </a:cubicBezTo>
                    <a:cubicBezTo>
                      <a:pt x="285" y="359"/>
                      <a:pt x="285" y="359"/>
                      <a:pt x="285" y="359"/>
                    </a:cubicBezTo>
                    <a:cubicBezTo>
                      <a:pt x="287" y="361"/>
                      <a:pt x="287" y="361"/>
                      <a:pt x="287" y="361"/>
                    </a:cubicBezTo>
                    <a:cubicBezTo>
                      <a:pt x="289" y="360"/>
                      <a:pt x="289" y="360"/>
                      <a:pt x="289" y="360"/>
                    </a:cubicBezTo>
                    <a:cubicBezTo>
                      <a:pt x="290" y="360"/>
                      <a:pt x="290" y="360"/>
                      <a:pt x="290" y="360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93" y="353"/>
                      <a:pt x="293" y="353"/>
                      <a:pt x="293" y="353"/>
                    </a:cubicBezTo>
                    <a:cubicBezTo>
                      <a:pt x="291" y="352"/>
                      <a:pt x="291" y="352"/>
                      <a:pt x="291" y="352"/>
                    </a:cubicBezTo>
                    <a:cubicBezTo>
                      <a:pt x="290" y="350"/>
                      <a:pt x="290" y="350"/>
                      <a:pt x="290" y="350"/>
                    </a:cubicBezTo>
                    <a:cubicBezTo>
                      <a:pt x="289" y="350"/>
                      <a:pt x="289" y="350"/>
                      <a:pt x="289" y="350"/>
                    </a:cubicBezTo>
                    <a:cubicBezTo>
                      <a:pt x="283" y="352"/>
                      <a:pt x="283" y="352"/>
                      <a:pt x="283" y="352"/>
                    </a:cubicBezTo>
                    <a:cubicBezTo>
                      <a:pt x="278" y="353"/>
                      <a:pt x="278" y="353"/>
                      <a:pt x="278" y="353"/>
                    </a:cubicBezTo>
                    <a:cubicBezTo>
                      <a:pt x="277" y="355"/>
                      <a:pt x="277" y="355"/>
                      <a:pt x="277" y="355"/>
                    </a:cubicBezTo>
                    <a:cubicBezTo>
                      <a:pt x="275" y="356"/>
                      <a:pt x="275" y="356"/>
                      <a:pt x="275" y="356"/>
                    </a:cubicBezTo>
                    <a:cubicBezTo>
                      <a:pt x="274" y="358"/>
                      <a:pt x="274" y="358"/>
                      <a:pt x="274" y="358"/>
                    </a:cubicBezTo>
                    <a:cubicBezTo>
                      <a:pt x="272" y="358"/>
                      <a:pt x="272" y="358"/>
                      <a:pt x="272" y="358"/>
                    </a:cubicBezTo>
                    <a:cubicBezTo>
                      <a:pt x="271" y="359"/>
                      <a:pt x="271" y="359"/>
                      <a:pt x="271" y="359"/>
                    </a:cubicBezTo>
                    <a:cubicBezTo>
                      <a:pt x="271" y="361"/>
                      <a:pt x="271" y="361"/>
                      <a:pt x="271" y="361"/>
                    </a:cubicBezTo>
                    <a:close/>
                    <a:moveTo>
                      <a:pt x="126" y="521"/>
                    </a:moveTo>
                    <a:cubicBezTo>
                      <a:pt x="127" y="522"/>
                      <a:pt x="127" y="522"/>
                      <a:pt x="127" y="522"/>
                    </a:cubicBezTo>
                    <a:cubicBezTo>
                      <a:pt x="128" y="521"/>
                      <a:pt x="128" y="521"/>
                      <a:pt x="128" y="521"/>
                    </a:cubicBezTo>
                    <a:cubicBezTo>
                      <a:pt x="128" y="520"/>
                      <a:pt x="128" y="520"/>
                      <a:pt x="128" y="520"/>
                    </a:cubicBezTo>
                    <a:cubicBezTo>
                      <a:pt x="127" y="520"/>
                      <a:pt x="127" y="520"/>
                      <a:pt x="127" y="520"/>
                    </a:cubicBezTo>
                    <a:cubicBezTo>
                      <a:pt x="126" y="521"/>
                      <a:pt x="126" y="521"/>
                      <a:pt x="126" y="521"/>
                    </a:cubicBezTo>
                    <a:close/>
                    <a:moveTo>
                      <a:pt x="136" y="501"/>
                    </a:moveTo>
                    <a:cubicBezTo>
                      <a:pt x="136" y="502"/>
                      <a:pt x="136" y="502"/>
                      <a:pt x="136" y="502"/>
                    </a:cubicBezTo>
                    <a:cubicBezTo>
                      <a:pt x="136" y="501"/>
                      <a:pt x="136" y="501"/>
                      <a:pt x="136" y="501"/>
                    </a:cubicBezTo>
                    <a:cubicBezTo>
                      <a:pt x="136" y="501"/>
                      <a:pt x="136" y="501"/>
                      <a:pt x="136" y="501"/>
                    </a:cubicBezTo>
                    <a:close/>
                    <a:moveTo>
                      <a:pt x="137" y="498"/>
                    </a:moveTo>
                    <a:cubicBezTo>
                      <a:pt x="136" y="500"/>
                      <a:pt x="136" y="500"/>
                      <a:pt x="136" y="500"/>
                    </a:cubicBezTo>
                    <a:cubicBezTo>
                      <a:pt x="137" y="499"/>
                      <a:pt x="137" y="499"/>
                      <a:pt x="137" y="499"/>
                    </a:cubicBezTo>
                    <a:cubicBezTo>
                      <a:pt x="137" y="498"/>
                      <a:pt x="137" y="498"/>
                      <a:pt x="137" y="498"/>
                    </a:cubicBezTo>
                    <a:cubicBezTo>
                      <a:pt x="137" y="498"/>
                      <a:pt x="137" y="498"/>
                      <a:pt x="137" y="498"/>
                    </a:cubicBezTo>
                    <a:close/>
                    <a:moveTo>
                      <a:pt x="137" y="495"/>
                    </a:moveTo>
                    <a:cubicBezTo>
                      <a:pt x="138" y="496"/>
                      <a:pt x="138" y="496"/>
                      <a:pt x="138" y="496"/>
                    </a:cubicBezTo>
                    <a:cubicBezTo>
                      <a:pt x="138" y="496"/>
                      <a:pt x="138" y="496"/>
                      <a:pt x="138" y="496"/>
                    </a:cubicBezTo>
                    <a:cubicBezTo>
                      <a:pt x="138" y="495"/>
                      <a:pt x="138" y="495"/>
                      <a:pt x="138" y="495"/>
                    </a:cubicBezTo>
                    <a:cubicBezTo>
                      <a:pt x="138" y="495"/>
                      <a:pt x="138" y="495"/>
                      <a:pt x="138" y="495"/>
                    </a:cubicBezTo>
                    <a:cubicBezTo>
                      <a:pt x="137" y="495"/>
                      <a:pt x="137" y="495"/>
                      <a:pt x="137" y="495"/>
                    </a:cubicBezTo>
                    <a:close/>
                    <a:moveTo>
                      <a:pt x="136" y="491"/>
                    </a:moveTo>
                    <a:cubicBezTo>
                      <a:pt x="136" y="492"/>
                      <a:pt x="136" y="492"/>
                      <a:pt x="136" y="492"/>
                    </a:cubicBezTo>
                    <a:cubicBezTo>
                      <a:pt x="137" y="492"/>
                      <a:pt x="137" y="492"/>
                      <a:pt x="137" y="492"/>
                    </a:cubicBezTo>
                    <a:cubicBezTo>
                      <a:pt x="138" y="493"/>
                      <a:pt x="138" y="493"/>
                      <a:pt x="138" y="493"/>
                    </a:cubicBezTo>
                    <a:cubicBezTo>
                      <a:pt x="140" y="493"/>
                      <a:pt x="140" y="493"/>
                      <a:pt x="140" y="493"/>
                    </a:cubicBezTo>
                    <a:cubicBezTo>
                      <a:pt x="140" y="492"/>
                      <a:pt x="140" y="492"/>
                      <a:pt x="140" y="492"/>
                    </a:cubicBezTo>
                    <a:cubicBezTo>
                      <a:pt x="139" y="491"/>
                      <a:pt x="139" y="491"/>
                      <a:pt x="139" y="491"/>
                    </a:cubicBezTo>
                    <a:cubicBezTo>
                      <a:pt x="138" y="491"/>
                      <a:pt x="138" y="491"/>
                      <a:pt x="138" y="491"/>
                    </a:cubicBezTo>
                    <a:cubicBezTo>
                      <a:pt x="137" y="491"/>
                      <a:pt x="137" y="491"/>
                      <a:pt x="137" y="491"/>
                    </a:cubicBezTo>
                    <a:cubicBezTo>
                      <a:pt x="136" y="491"/>
                      <a:pt x="136" y="491"/>
                      <a:pt x="136" y="491"/>
                    </a:cubicBezTo>
                    <a:close/>
                    <a:moveTo>
                      <a:pt x="144" y="490"/>
                    </a:moveTo>
                    <a:cubicBezTo>
                      <a:pt x="145" y="489"/>
                      <a:pt x="145" y="489"/>
                      <a:pt x="145" y="489"/>
                    </a:cubicBezTo>
                    <a:cubicBezTo>
                      <a:pt x="145" y="488"/>
                      <a:pt x="145" y="488"/>
                      <a:pt x="145" y="488"/>
                    </a:cubicBezTo>
                    <a:cubicBezTo>
                      <a:pt x="144" y="488"/>
                      <a:pt x="144" y="488"/>
                      <a:pt x="144" y="488"/>
                    </a:cubicBezTo>
                    <a:cubicBezTo>
                      <a:pt x="144" y="490"/>
                      <a:pt x="144" y="490"/>
                      <a:pt x="144" y="490"/>
                    </a:cubicBezTo>
                    <a:close/>
                    <a:moveTo>
                      <a:pt x="143" y="478"/>
                    </a:moveTo>
                    <a:cubicBezTo>
                      <a:pt x="143" y="478"/>
                      <a:pt x="143" y="478"/>
                      <a:pt x="143" y="478"/>
                    </a:cubicBezTo>
                    <a:cubicBezTo>
                      <a:pt x="145" y="480"/>
                      <a:pt x="145" y="480"/>
                      <a:pt x="145" y="480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0"/>
                      <a:pt x="147" y="480"/>
                      <a:pt x="147" y="480"/>
                    </a:cubicBezTo>
                    <a:cubicBezTo>
                      <a:pt x="145" y="479"/>
                      <a:pt x="145" y="479"/>
                      <a:pt x="145" y="479"/>
                    </a:cubicBezTo>
                    <a:cubicBezTo>
                      <a:pt x="144" y="478"/>
                      <a:pt x="144" y="478"/>
                      <a:pt x="144" y="478"/>
                    </a:cubicBezTo>
                    <a:cubicBezTo>
                      <a:pt x="143" y="478"/>
                      <a:pt x="143" y="478"/>
                      <a:pt x="143" y="478"/>
                    </a:cubicBezTo>
                    <a:close/>
                    <a:moveTo>
                      <a:pt x="155" y="455"/>
                    </a:moveTo>
                    <a:cubicBezTo>
                      <a:pt x="156" y="456"/>
                      <a:pt x="156" y="456"/>
                      <a:pt x="156" y="456"/>
                    </a:cubicBezTo>
                    <a:cubicBezTo>
                      <a:pt x="157" y="458"/>
                      <a:pt x="157" y="458"/>
                      <a:pt x="157" y="458"/>
                    </a:cubicBezTo>
                    <a:cubicBezTo>
                      <a:pt x="156" y="460"/>
                      <a:pt x="156" y="460"/>
                      <a:pt x="156" y="460"/>
                    </a:cubicBezTo>
                    <a:cubicBezTo>
                      <a:pt x="157" y="462"/>
                      <a:pt x="157" y="462"/>
                      <a:pt x="157" y="462"/>
                    </a:cubicBezTo>
                    <a:cubicBezTo>
                      <a:pt x="158" y="462"/>
                      <a:pt x="158" y="462"/>
                      <a:pt x="158" y="462"/>
                    </a:cubicBezTo>
                    <a:cubicBezTo>
                      <a:pt x="158" y="460"/>
                      <a:pt x="158" y="460"/>
                      <a:pt x="158" y="460"/>
                    </a:cubicBezTo>
                    <a:cubicBezTo>
                      <a:pt x="158" y="458"/>
                      <a:pt x="158" y="458"/>
                      <a:pt x="158" y="458"/>
                    </a:cubicBezTo>
                    <a:cubicBezTo>
                      <a:pt x="157" y="457"/>
                      <a:pt x="157" y="457"/>
                      <a:pt x="157" y="457"/>
                    </a:cubicBezTo>
                    <a:cubicBezTo>
                      <a:pt x="156" y="455"/>
                      <a:pt x="156" y="455"/>
                      <a:pt x="156" y="455"/>
                    </a:cubicBezTo>
                    <a:cubicBezTo>
                      <a:pt x="156" y="454"/>
                      <a:pt x="156" y="454"/>
                      <a:pt x="156" y="454"/>
                    </a:cubicBezTo>
                    <a:cubicBezTo>
                      <a:pt x="155" y="455"/>
                      <a:pt x="155" y="455"/>
                      <a:pt x="155" y="455"/>
                    </a:cubicBezTo>
                    <a:close/>
                    <a:moveTo>
                      <a:pt x="165" y="449"/>
                    </a:moveTo>
                    <a:cubicBezTo>
                      <a:pt x="165" y="450"/>
                      <a:pt x="165" y="450"/>
                      <a:pt x="165" y="450"/>
                    </a:cubicBezTo>
                    <a:cubicBezTo>
                      <a:pt x="166" y="450"/>
                      <a:pt x="166" y="450"/>
                      <a:pt x="166" y="450"/>
                    </a:cubicBezTo>
                    <a:cubicBezTo>
                      <a:pt x="166" y="450"/>
                      <a:pt x="166" y="450"/>
                      <a:pt x="166" y="450"/>
                    </a:cubicBezTo>
                    <a:cubicBezTo>
                      <a:pt x="165" y="449"/>
                      <a:pt x="165" y="449"/>
                      <a:pt x="165" y="449"/>
                    </a:cubicBezTo>
                    <a:cubicBezTo>
                      <a:pt x="165" y="449"/>
                      <a:pt x="165" y="449"/>
                      <a:pt x="165" y="449"/>
                    </a:cubicBezTo>
                    <a:close/>
                    <a:moveTo>
                      <a:pt x="167" y="447"/>
                    </a:moveTo>
                    <a:cubicBezTo>
                      <a:pt x="168" y="447"/>
                      <a:pt x="168" y="447"/>
                      <a:pt x="168" y="447"/>
                    </a:cubicBezTo>
                    <a:cubicBezTo>
                      <a:pt x="168" y="447"/>
                      <a:pt x="168" y="447"/>
                      <a:pt x="168" y="447"/>
                    </a:cubicBezTo>
                    <a:cubicBezTo>
                      <a:pt x="167" y="446"/>
                      <a:pt x="167" y="446"/>
                      <a:pt x="167" y="446"/>
                    </a:cubicBezTo>
                    <a:cubicBezTo>
                      <a:pt x="167" y="447"/>
                      <a:pt x="167" y="447"/>
                      <a:pt x="167" y="447"/>
                    </a:cubicBezTo>
                    <a:close/>
                    <a:moveTo>
                      <a:pt x="183" y="445"/>
                    </a:moveTo>
                    <a:cubicBezTo>
                      <a:pt x="184" y="444"/>
                      <a:pt x="184" y="444"/>
                      <a:pt x="184" y="444"/>
                    </a:cubicBezTo>
                    <a:cubicBezTo>
                      <a:pt x="185" y="444"/>
                      <a:pt x="185" y="444"/>
                      <a:pt x="185" y="444"/>
                    </a:cubicBezTo>
                    <a:cubicBezTo>
                      <a:pt x="186" y="443"/>
                      <a:pt x="186" y="443"/>
                      <a:pt x="186" y="443"/>
                    </a:cubicBezTo>
                    <a:cubicBezTo>
                      <a:pt x="184" y="441"/>
                      <a:pt x="184" y="441"/>
                      <a:pt x="184" y="441"/>
                    </a:cubicBezTo>
                    <a:cubicBezTo>
                      <a:pt x="184" y="441"/>
                      <a:pt x="184" y="441"/>
                      <a:pt x="184" y="441"/>
                    </a:cubicBezTo>
                    <a:cubicBezTo>
                      <a:pt x="183" y="440"/>
                      <a:pt x="183" y="440"/>
                      <a:pt x="183" y="440"/>
                    </a:cubicBezTo>
                    <a:cubicBezTo>
                      <a:pt x="182" y="440"/>
                      <a:pt x="182" y="440"/>
                      <a:pt x="182" y="440"/>
                    </a:cubicBezTo>
                    <a:cubicBezTo>
                      <a:pt x="181" y="441"/>
                      <a:pt x="181" y="441"/>
                      <a:pt x="181" y="441"/>
                    </a:cubicBezTo>
                    <a:cubicBezTo>
                      <a:pt x="181" y="442"/>
                      <a:pt x="181" y="442"/>
                      <a:pt x="181" y="442"/>
                    </a:cubicBezTo>
                    <a:cubicBezTo>
                      <a:pt x="180" y="443"/>
                      <a:pt x="180" y="443"/>
                      <a:pt x="180" y="443"/>
                    </a:cubicBezTo>
                    <a:cubicBezTo>
                      <a:pt x="181" y="444"/>
                      <a:pt x="181" y="444"/>
                      <a:pt x="181" y="444"/>
                    </a:cubicBezTo>
                    <a:cubicBezTo>
                      <a:pt x="182" y="445"/>
                      <a:pt x="182" y="445"/>
                      <a:pt x="182" y="445"/>
                    </a:cubicBezTo>
                    <a:cubicBezTo>
                      <a:pt x="183" y="445"/>
                      <a:pt x="183" y="445"/>
                      <a:pt x="183" y="445"/>
                    </a:cubicBezTo>
                    <a:close/>
                    <a:moveTo>
                      <a:pt x="189" y="444"/>
                    </a:moveTo>
                    <a:cubicBezTo>
                      <a:pt x="188" y="443"/>
                      <a:pt x="188" y="443"/>
                      <a:pt x="188" y="443"/>
                    </a:cubicBezTo>
                    <a:cubicBezTo>
                      <a:pt x="189" y="442"/>
                      <a:pt x="189" y="442"/>
                      <a:pt x="189" y="442"/>
                    </a:cubicBezTo>
                    <a:cubicBezTo>
                      <a:pt x="188" y="443"/>
                      <a:pt x="188" y="443"/>
                      <a:pt x="188" y="443"/>
                    </a:cubicBezTo>
                    <a:cubicBezTo>
                      <a:pt x="188" y="444"/>
                      <a:pt x="188" y="444"/>
                      <a:pt x="188" y="444"/>
                    </a:cubicBezTo>
                    <a:cubicBezTo>
                      <a:pt x="188" y="445"/>
                      <a:pt x="188" y="445"/>
                      <a:pt x="188" y="445"/>
                    </a:cubicBezTo>
                    <a:cubicBezTo>
                      <a:pt x="189" y="444"/>
                      <a:pt x="189" y="444"/>
                      <a:pt x="189" y="444"/>
                    </a:cubicBezTo>
                    <a:close/>
                    <a:moveTo>
                      <a:pt x="303" y="379"/>
                    </a:moveTo>
                    <a:cubicBezTo>
                      <a:pt x="304" y="379"/>
                      <a:pt x="304" y="379"/>
                      <a:pt x="304" y="379"/>
                    </a:cubicBezTo>
                    <a:cubicBezTo>
                      <a:pt x="305" y="378"/>
                      <a:pt x="305" y="378"/>
                      <a:pt x="305" y="378"/>
                    </a:cubicBezTo>
                    <a:cubicBezTo>
                      <a:pt x="305" y="377"/>
                      <a:pt x="305" y="377"/>
                      <a:pt x="305" y="377"/>
                    </a:cubicBezTo>
                    <a:cubicBezTo>
                      <a:pt x="303" y="378"/>
                      <a:pt x="303" y="378"/>
                      <a:pt x="303" y="378"/>
                    </a:cubicBezTo>
                    <a:cubicBezTo>
                      <a:pt x="303" y="379"/>
                      <a:pt x="303" y="379"/>
                      <a:pt x="303" y="379"/>
                    </a:cubicBezTo>
                    <a:close/>
                    <a:moveTo>
                      <a:pt x="283" y="362"/>
                    </a:moveTo>
                    <a:cubicBezTo>
                      <a:pt x="284" y="362"/>
                      <a:pt x="284" y="362"/>
                      <a:pt x="284" y="362"/>
                    </a:cubicBezTo>
                    <a:cubicBezTo>
                      <a:pt x="285" y="362"/>
                      <a:pt x="285" y="362"/>
                      <a:pt x="285" y="362"/>
                    </a:cubicBezTo>
                    <a:cubicBezTo>
                      <a:pt x="285" y="361"/>
                      <a:pt x="285" y="361"/>
                      <a:pt x="285" y="361"/>
                    </a:cubicBezTo>
                    <a:cubicBezTo>
                      <a:pt x="284" y="361"/>
                      <a:pt x="284" y="361"/>
                      <a:pt x="284" y="361"/>
                    </a:cubicBezTo>
                    <a:cubicBezTo>
                      <a:pt x="284" y="361"/>
                      <a:pt x="283" y="362"/>
                      <a:pt x="283" y="362"/>
                    </a:cubicBezTo>
                    <a:close/>
                    <a:moveTo>
                      <a:pt x="274" y="354"/>
                    </a:moveTo>
                    <a:cubicBezTo>
                      <a:pt x="275" y="354"/>
                      <a:pt x="275" y="354"/>
                      <a:pt x="275" y="354"/>
                    </a:cubicBezTo>
                    <a:cubicBezTo>
                      <a:pt x="276" y="354"/>
                      <a:pt x="276" y="354"/>
                      <a:pt x="276" y="354"/>
                    </a:cubicBezTo>
                    <a:cubicBezTo>
                      <a:pt x="277" y="353"/>
                      <a:pt x="277" y="353"/>
                      <a:pt x="277" y="353"/>
                    </a:cubicBezTo>
                    <a:cubicBezTo>
                      <a:pt x="275" y="353"/>
                      <a:pt x="275" y="353"/>
                      <a:pt x="275" y="353"/>
                    </a:cubicBezTo>
                    <a:cubicBezTo>
                      <a:pt x="274" y="354"/>
                      <a:pt x="274" y="354"/>
                      <a:pt x="274" y="354"/>
                    </a:cubicBezTo>
                    <a:close/>
                    <a:moveTo>
                      <a:pt x="292" y="349"/>
                    </a:moveTo>
                    <a:cubicBezTo>
                      <a:pt x="292" y="350"/>
                      <a:pt x="292" y="350"/>
                      <a:pt x="292" y="350"/>
                    </a:cubicBezTo>
                    <a:cubicBezTo>
                      <a:pt x="293" y="351"/>
                      <a:pt x="293" y="351"/>
                      <a:pt x="293" y="351"/>
                    </a:cubicBezTo>
                    <a:cubicBezTo>
                      <a:pt x="293" y="350"/>
                      <a:pt x="293" y="350"/>
                      <a:pt x="293" y="350"/>
                    </a:cubicBezTo>
                    <a:cubicBezTo>
                      <a:pt x="293" y="349"/>
                      <a:pt x="293" y="349"/>
                      <a:pt x="293" y="349"/>
                    </a:cubicBezTo>
                    <a:cubicBezTo>
                      <a:pt x="292" y="348"/>
                      <a:pt x="292" y="348"/>
                      <a:pt x="292" y="348"/>
                    </a:cubicBezTo>
                    <a:cubicBezTo>
                      <a:pt x="292" y="349"/>
                      <a:pt x="292" y="349"/>
                      <a:pt x="292" y="349"/>
                    </a:cubicBezTo>
                    <a:close/>
                    <a:moveTo>
                      <a:pt x="303" y="311"/>
                    </a:moveTo>
                    <a:cubicBezTo>
                      <a:pt x="303" y="313"/>
                      <a:pt x="303" y="313"/>
                      <a:pt x="303" y="313"/>
                    </a:cubicBezTo>
                    <a:cubicBezTo>
                      <a:pt x="304" y="313"/>
                      <a:pt x="304" y="313"/>
                      <a:pt x="304" y="313"/>
                    </a:cubicBezTo>
                    <a:cubicBezTo>
                      <a:pt x="304" y="315"/>
                      <a:pt x="304" y="315"/>
                      <a:pt x="304" y="315"/>
                    </a:cubicBezTo>
                    <a:cubicBezTo>
                      <a:pt x="305" y="317"/>
                      <a:pt x="305" y="317"/>
                      <a:pt x="305" y="317"/>
                    </a:cubicBezTo>
                    <a:cubicBezTo>
                      <a:pt x="306" y="319"/>
                      <a:pt x="306" y="319"/>
                      <a:pt x="306" y="319"/>
                    </a:cubicBezTo>
                    <a:cubicBezTo>
                      <a:pt x="308" y="320"/>
                      <a:pt x="308" y="320"/>
                      <a:pt x="308" y="320"/>
                    </a:cubicBezTo>
                    <a:cubicBezTo>
                      <a:pt x="311" y="322"/>
                      <a:pt x="311" y="322"/>
                      <a:pt x="311" y="322"/>
                    </a:cubicBezTo>
                    <a:cubicBezTo>
                      <a:pt x="312" y="324"/>
                      <a:pt x="312" y="324"/>
                      <a:pt x="312" y="324"/>
                    </a:cubicBezTo>
                    <a:cubicBezTo>
                      <a:pt x="314" y="325"/>
                      <a:pt x="314" y="325"/>
                      <a:pt x="314" y="325"/>
                    </a:cubicBezTo>
                    <a:cubicBezTo>
                      <a:pt x="315" y="325"/>
                      <a:pt x="315" y="325"/>
                      <a:pt x="315" y="325"/>
                    </a:cubicBezTo>
                    <a:cubicBezTo>
                      <a:pt x="315" y="326"/>
                      <a:pt x="315" y="326"/>
                      <a:pt x="315" y="326"/>
                    </a:cubicBezTo>
                    <a:cubicBezTo>
                      <a:pt x="317" y="327"/>
                      <a:pt x="317" y="327"/>
                      <a:pt x="317" y="327"/>
                    </a:cubicBezTo>
                    <a:cubicBezTo>
                      <a:pt x="318" y="326"/>
                      <a:pt x="318" y="326"/>
                      <a:pt x="318" y="326"/>
                    </a:cubicBezTo>
                    <a:cubicBezTo>
                      <a:pt x="318" y="325"/>
                      <a:pt x="318" y="325"/>
                      <a:pt x="318" y="325"/>
                    </a:cubicBezTo>
                    <a:cubicBezTo>
                      <a:pt x="319" y="324"/>
                      <a:pt x="319" y="324"/>
                      <a:pt x="319" y="324"/>
                    </a:cubicBezTo>
                    <a:cubicBezTo>
                      <a:pt x="317" y="322"/>
                      <a:pt x="317" y="322"/>
                      <a:pt x="317" y="322"/>
                    </a:cubicBezTo>
                    <a:cubicBezTo>
                      <a:pt x="315" y="321"/>
                      <a:pt x="315" y="321"/>
                      <a:pt x="315" y="321"/>
                    </a:cubicBezTo>
                    <a:cubicBezTo>
                      <a:pt x="315" y="321"/>
                      <a:pt x="315" y="321"/>
                      <a:pt x="315" y="321"/>
                    </a:cubicBezTo>
                    <a:cubicBezTo>
                      <a:pt x="314" y="320"/>
                      <a:pt x="314" y="320"/>
                      <a:pt x="314" y="320"/>
                    </a:cubicBezTo>
                    <a:cubicBezTo>
                      <a:pt x="314" y="319"/>
                      <a:pt x="314" y="319"/>
                      <a:pt x="314" y="319"/>
                    </a:cubicBezTo>
                    <a:cubicBezTo>
                      <a:pt x="315" y="319"/>
                      <a:pt x="315" y="319"/>
                      <a:pt x="315" y="319"/>
                    </a:cubicBezTo>
                    <a:cubicBezTo>
                      <a:pt x="316" y="319"/>
                      <a:pt x="316" y="319"/>
                      <a:pt x="316" y="319"/>
                    </a:cubicBezTo>
                    <a:cubicBezTo>
                      <a:pt x="317" y="320"/>
                      <a:pt x="317" y="320"/>
                      <a:pt x="317" y="320"/>
                    </a:cubicBezTo>
                    <a:cubicBezTo>
                      <a:pt x="320" y="320"/>
                      <a:pt x="320" y="320"/>
                      <a:pt x="320" y="320"/>
                    </a:cubicBezTo>
                    <a:cubicBezTo>
                      <a:pt x="320" y="321"/>
                      <a:pt x="320" y="321"/>
                      <a:pt x="320" y="321"/>
                    </a:cubicBezTo>
                    <a:cubicBezTo>
                      <a:pt x="321" y="320"/>
                      <a:pt x="321" y="320"/>
                      <a:pt x="321" y="320"/>
                    </a:cubicBezTo>
                    <a:cubicBezTo>
                      <a:pt x="320" y="318"/>
                      <a:pt x="320" y="318"/>
                      <a:pt x="320" y="318"/>
                    </a:cubicBezTo>
                    <a:cubicBezTo>
                      <a:pt x="315" y="316"/>
                      <a:pt x="315" y="316"/>
                      <a:pt x="315" y="316"/>
                    </a:cubicBezTo>
                    <a:cubicBezTo>
                      <a:pt x="314" y="313"/>
                      <a:pt x="314" y="313"/>
                      <a:pt x="314" y="313"/>
                    </a:cubicBezTo>
                    <a:cubicBezTo>
                      <a:pt x="313" y="313"/>
                      <a:pt x="313" y="313"/>
                      <a:pt x="313" y="313"/>
                    </a:cubicBezTo>
                    <a:cubicBezTo>
                      <a:pt x="311" y="313"/>
                      <a:pt x="311" y="313"/>
                      <a:pt x="311" y="313"/>
                    </a:cubicBezTo>
                    <a:cubicBezTo>
                      <a:pt x="309" y="311"/>
                      <a:pt x="309" y="311"/>
                      <a:pt x="309" y="311"/>
                    </a:cubicBezTo>
                    <a:cubicBezTo>
                      <a:pt x="307" y="311"/>
                      <a:pt x="307" y="311"/>
                      <a:pt x="307" y="311"/>
                    </a:cubicBezTo>
                    <a:cubicBezTo>
                      <a:pt x="306" y="311"/>
                      <a:pt x="306" y="311"/>
                      <a:pt x="306" y="311"/>
                    </a:cubicBezTo>
                    <a:cubicBezTo>
                      <a:pt x="304" y="311"/>
                      <a:pt x="304" y="311"/>
                      <a:pt x="304" y="311"/>
                    </a:cubicBezTo>
                    <a:cubicBezTo>
                      <a:pt x="303" y="311"/>
                      <a:pt x="303" y="311"/>
                      <a:pt x="303" y="311"/>
                    </a:cubicBezTo>
                    <a:close/>
                    <a:moveTo>
                      <a:pt x="299" y="312"/>
                    </a:moveTo>
                    <a:cubicBezTo>
                      <a:pt x="300" y="312"/>
                      <a:pt x="300" y="312"/>
                      <a:pt x="300" y="312"/>
                    </a:cubicBezTo>
                    <a:cubicBezTo>
                      <a:pt x="300" y="311"/>
                      <a:pt x="300" y="311"/>
                      <a:pt x="300" y="311"/>
                    </a:cubicBezTo>
                    <a:cubicBezTo>
                      <a:pt x="301" y="309"/>
                      <a:pt x="301" y="309"/>
                      <a:pt x="301" y="309"/>
                    </a:cubicBezTo>
                    <a:cubicBezTo>
                      <a:pt x="298" y="310"/>
                      <a:pt x="298" y="310"/>
                      <a:pt x="298" y="310"/>
                    </a:cubicBezTo>
                    <a:cubicBezTo>
                      <a:pt x="298" y="312"/>
                      <a:pt x="298" y="312"/>
                      <a:pt x="298" y="312"/>
                    </a:cubicBezTo>
                    <a:cubicBezTo>
                      <a:pt x="299" y="312"/>
                      <a:pt x="299" y="312"/>
                      <a:pt x="299" y="312"/>
                    </a:cubicBezTo>
                    <a:close/>
                    <a:moveTo>
                      <a:pt x="303" y="309"/>
                    </a:moveTo>
                    <a:cubicBezTo>
                      <a:pt x="304" y="310"/>
                      <a:pt x="304" y="310"/>
                      <a:pt x="304" y="310"/>
                    </a:cubicBezTo>
                    <a:cubicBezTo>
                      <a:pt x="307" y="310"/>
                      <a:pt x="307" y="310"/>
                      <a:pt x="307" y="310"/>
                    </a:cubicBezTo>
                    <a:cubicBezTo>
                      <a:pt x="309" y="311"/>
                      <a:pt x="309" y="311"/>
                      <a:pt x="309" y="311"/>
                    </a:cubicBezTo>
                    <a:cubicBezTo>
                      <a:pt x="312" y="311"/>
                      <a:pt x="312" y="311"/>
                      <a:pt x="312" y="311"/>
                    </a:cubicBezTo>
                    <a:cubicBezTo>
                      <a:pt x="314" y="312"/>
                      <a:pt x="314" y="312"/>
                      <a:pt x="314" y="312"/>
                    </a:cubicBezTo>
                    <a:cubicBezTo>
                      <a:pt x="315" y="312"/>
                      <a:pt x="315" y="312"/>
                      <a:pt x="315" y="312"/>
                    </a:cubicBezTo>
                    <a:cubicBezTo>
                      <a:pt x="316" y="313"/>
                      <a:pt x="316" y="313"/>
                      <a:pt x="316" y="313"/>
                    </a:cubicBezTo>
                    <a:cubicBezTo>
                      <a:pt x="316" y="314"/>
                      <a:pt x="316" y="314"/>
                      <a:pt x="316" y="314"/>
                    </a:cubicBezTo>
                    <a:cubicBezTo>
                      <a:pt x="317" y="315"/>
                      <a:pt x="317" y="315"/>
                      <a:pt x="317" y="315"/>
                    </a:cubicBezTo>
                    <a:cubicBezTo>
                      <a:pt x="319" y="315"/>
                      <a:pt x="319" y="315"/>
                      <a:pt x="319" y="315"/>
                    </a:cubicBezTo>
                    <a:cubicBezTo>
                      <a:pt x="320" y="315"/>
                      <a:pt x="320" y="315"/>
                      <a:pt x="320" y="315"/>
                    </a:cubicBezTo>
                    <a:cubicBezTo>
                      <a:pt x="322" y="315"/>
                      <a:pt x="322" y="315"/>
                      <a:pt x="322" y="315"/>
                    </a:cubicBezTo>
                    <a:cubicBezTo>
                      <a:pt x="322" y="314"/>
                      <a:pt x="322" y="314"/>
                      <a:pt x="322" y="314"/>
                    </a:cubicBezTo>
                    <a:cubicBezTo>
                      <a:pt x="321" y="313"/>
                      <a:pt x="321" y="313"/>
                      <a:pt x="321" y="313"/>
                    </a:cubicBezTo>
                    <a:cubicBezTo>
                      <a:pt x="322" y="311"/>
                      <a:pt x="322" y="311"/>
                      <a:pt x="322" y="311"/>
                    </a:cubicBezTo>
                    <a:cubicBezTo>
                      <a:pt x="322" y="311"/>
                      <a:pt x="322" y="311"/>
                      <a:pt x="322" y="311"/>
                    </a:cubicBezTo>
                    <a:cubicBezTo>
                      <a:pt x="320" y="309"/>
                      <a:pt x="320" y="309"/>
                      <a:pt x="320" y="309"/>
                    </a:cubicBezTo>
                    <a:cubicBezTo>
                      <a:pt x="318" y="309"/>
                      <a:pt x="318" y="309"/>
                      <a:pt x="318" y="309"/>
                    </a:cubicBezTo>
                    <a:cubicBezTo>
                      <a:pt x="316" y="307"/>
                      <a:pt x="316" y="307"/>
                      <a:pt x="316" y="307"/>
                    </a:cubicBezTo>
                    <a:cubicBezTo>
                      <a:pt x="314" y="307"/>
                      <a:pt x="314" y="307"/>
                      <a:pt x="314" y="307"/>
                    </a:cubicBezTo>
                    <a:cubicBezTo>
                      <a:pt x="310" y="308"/>
                      <a:pt x="310" y="308"/>
                      <a:pt x="310" y="308"/>
                    </a:cubicBezTo>
                    <a:cubicBezTo>
                      <a:pt x="308" y="308"/>
                      <a:pt x="308" y="308"/>
                      <a:pt x="308" y="308"/>
                    </a:cubicBezTo>
                    <a:cubicBezTo>
                      <a:pt x="306" y="308"/>
                      <a:pt x="306" y="308"/>
                      <a:pt x="306" y="308"/>
                    </a:cubicBezTo>
                    <a:cubicBezTo>
                      <a:pt x="304" y="308"/>
                      <a:pt x="304" y="308"/>
                      <a:pt x="304" y="308"/>
                    </a:cubicBezTo>
                    <a:cubicBezTo>
                      <a:pt x="304" y="308"/>
                      <a:pt x="303" y="309"/>
                      <a:pt x="303" y="309"/>
                    </a:cubicBezTo>
                    <a:close/>
                    <a:moveTo>
                      <a:pt x="296" y="302"/>
                    </a:move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9" y="304"/>
                      <a:pt x="299" y="304"/>
                      <a:pt x="299" y="304"/>
                    </a:cubicBezTo>
                    <a:cubicBezTo>
                      <a:pt x="302" y="306"/>
                      <a:pt x="302" y="306"/>
                      <a:pt x="302" y="306"/>
                    </a:cubicBezTo>
                    <a:cubicBezTo>
                      <a:pt x="304" y="307"/>
                      <a:pt x="304" y="307"/>
                      <a:pt x="304" y="307"/>
                    </a:cubicBezTo>
                    <a:cubicBezTo>
                      <a:pt x="308" y="307"/>
                      <a:pt x="308" y="307"/>
                      <a:pt x="308" y="307"/>
                    </a:cubicBezTo>
                    <a:cubicBezTo>
                      <a:pt x="314" y="307"/>
                      <a:pt x="314" y="307"/>
                      <a:pt x="314" y="307"/>
                    </a:cubicBezTo>
                    <a:cubicBezTo>
                      <a:pt x="316" y="306"/>
                      <a:pt x="316" y="306"/>
                      <a:pt x="316" y="306"/>
                    </a:cubicBezTo>
                    <a:cubicBezTo>
                      <a:pt x="316" y="305"/>
                      <a:pt x="316" y="305"/>
                      <a:pt x="316" y="305"/>
                    </a:cubicBezTo>
                    <a:cubicBezTo>
                      <a:pt x="314" y="305"/>
                      <a:pt x="314" y="305"/>
                      <a:pt x="314" y="305"/>
                    </a:cubicBezTo>
                    <a:cubicBezTo>
                      <a:pt x="309" y="305"/>
                      <a:pt x="309" y="305"/>
                      <a:pt x="309" y="305"/>
                    </a:cubicBezTo>
                    <a:cubicBezTo>
                      <a:pt x="307" y="304"/>
                      <a:pt x="307" y="304"/>
                      <a:pt x="307" y="304"/>
                    </a:cubicBezTo>
                    <a:cubicBezTo>
                      <a:pt x="305" y="303"/>
                      <a:pt x="305" y="303"/>
                      <a:pt x="305" y="303"/>
                    </a:cubicBezTo>
                    <a:cubicBezTo>
                      <a:pt x="303" y="303"/>
                      <a:pt x="303" y="303"/>
                      <a:pt x="303" y="303"/>
                    </a:cubicBezTo>
                    <a:cubicBezTo>
                      <a:pt x="302" y="302"/>
                      <a:pt x="302" y="302"/>
                      <a:pt x="302" y="302"/>
                    </a:cubicBezTo>
                    <a:cubicBezTo>
                      <a:pt x="303" y="301"/>
                      <a:pt x="303" y="301"/>
                      <a:pt x="303" y="301"/>
                    </a:cubicBezTo>
                    <a:cubicBezTo>
                      <a:pt x="304" y="301"/>
                      <a:pt x="304" y="301"/>
                      <a:pt x="304" y="301"/>
                    </a:cubicBezTo>
                    <a:cubicBezTo>
                      <a:pt x="307" y="303"/>
                      <a:pt x="307" y="303"/>
                      <a:pt x="307" y="303"/>
                    </a:cubicBezTo>
                    <a:cubicBezTo>
                      <a:pt x="311" y="304"/>
                      <a:pt x="311" y="304"/>
                      <a:pt x="311" y="304"/>
                    </a:cubicBezTo>
                    <a:cubicBezTo>
                      <a:pt x="312" y="304"/>
                      <a:pt x="312" y="304"/>
                      <a:pt x="312" y="304"/>
                    </a:cubicBezTo>
                    <a:cubicBezTo>
                      <a:pt x="311" y="302"/>
                      <a:pt x="311" y="302"/>
                      <a:pt x="311" y="302"/>
                    </a:cubicBezTo>
                    <a:cubicBezTo>
                      <a:pt x="307" y="300"/>
                      <a:pt x="307" y="300"/>
                      <a:pt x="307" y="300"/>
                    </a:cubicBezTo>
                    <a:cubicBezTo>
                      <a:pt x="301" y="298"/>
                      <a:pt x="301" y="298"/>
                      <a:pt x="301" y="298"/>
                    </a:cubicBezTo>
                    <a:cubicBezTo>
                      <a:pt x="299" y="299"/>
                      <a:pt x="299" y="299"/>
                      <a:pt x="299" y="299"/>
                    </a:cubicBezTo>
                    <a:cubicBezTo>
                      <a:pt x="299" y="300"/>
                      <a:pt x="299" y="300"/>
                      <a:pt x="299" y="300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2"/>
                      <a:pt x="296" y="302"/>
                      <a:pt x="296" y="302"/>
                    </a:cubicBezTo>
                    <a:close/>
                    <a:moveTo>
                      <a:pt x="325" y="307"/>
                    </a:moveTo>
                    <a:cubicBezTo>
                      <a:pt x="326" y="307"/>
                      <a:pt x="326" y="307"/>
                      <a:pt x="326" y="307"/>
                    </a:cubicBezTo>
                    <a:cubicBezTo>
                      <a:pt x="327" y="307"/>
                      <a:pt x="327" y="307"/>
                      <a:pt x="327" y="307"/>
                    </a:cubicBezTo>
                    <a:cubicBezTo>
                      <a:pt x="327" y="306"/>
                      <a:pt x="327" y="306"/>
                      <a:pt x="327" y="306"/>
                    </a:cubicBezTo>
                    <a:cubicBezTo>
                      <a:pt x="326" y="306"/>
                      <a:pt x="326" y="306"/>
                      <a:pt x="326" y="306"/>
                    </a:cubicBezTo>
                    <a:cubicBezTo>
                      <a:pt x="325" y="307"/>
                      <a:pt x="325" y="307"/>
                      <a:pt x="325" y="307"/>
                    </a:cubicBezTo>
                    <a:close/>
                    <a:moveTo>
                      <a:pt x="327" y="277"/>
                    </a:moveTo>
                    <a:cubicBezTo>
                      <a:pt x="325" y="280"/>
                      <a:pt x="325" y="280"/>
                      <a:pt x="325" y="280"/>
                    </a:cubicBezTo>
                    <a:cubicBezTo>
                      <a:pt x="325" y="282"/>
                      <a:pt x="325" y="282"/>
                      <a:pt x="325" y="282"/>
                    </a:cubicBezTo>
                    <a:cubicBezTo>
                      <a:pt x="327" y="283"/>
                      <a:pt x="327" y="283"/>
                      <a:pt x="327" y="283"/>
                    </a:cubicBezTo>
                    <a:cubicBezTo>
                      <a:pt x="328" y="283"/>
                      <a:pt x="328" y="283"/>
                      <a:pt x="328" y="283"/>
                    </a:cubicBezTo>
                    <a:cubicBezTo>
                      <a:pt x="330" y="285"/>
                      <a:pt x="330" y="285"/>
                      <a:pt x="330" y="285"/>
                    </a:cubicBezTo>
                    <a:cubicBezTo>
                      <a:pt x="331" y="285"/>
                      <a:pt x="331" y="285"/>
                      <a:pt x="331" y="285"/>
                    </a:cubicBezTo>
                    <a:cubicBezTo>
                      <a:pt x="334" y="285"/>
                      <a:pt x="334" y="285"/>
                      <a:pt x="334" y="285"/>
                    </a:cubicBezTo>
                    <a:cubicBezTo>
                      <a:pt x="335" y="284"/>
                      <a:pt x="335" y="284"/>
                      <a:pt x="335" y="284"/>
                    </a:cubicBezTo>
                    <a:cubicBezTo>
                      <a:pt x="335" y="282"/>
                      <a:pt x="335" y="282"/>
                      <a:pt x="335" y="282"/>
                    </a:cubicBezTo>
                    <a:cubicBezTo>
                      <a:pt x="336" y="281"/>
                      <a:pt x="336" y="281"/>
                      <a:pt x="336" y="281"/>
                    </a:cubicBezTo>
                    <a:cubicBezTo>
                      <a:pt x="336" y="279"/>
                      <a:pt x="336" y="279"/>
                      <a:pt x="336" y="279"/>
                    </a:cubicBezTo>
                    <a:cubicBezTo>
                      <a:pt x="332" y="276"/>
                      <a:pt x="332" y="276"/>
                      <a:pt x="332" y="276"/>
                    </a:cubicBezTo>
                    <a:cubicBezTo>
                      <a:pt x="330" y="277"/>
                      <a:pt x="330" y="277"/>
                      <a:pt x="330" y="277"/>
                    </a:cubicBezTo>
                    <a:cubicBezTo>
                      <a:pt x="327" y="277"/>
                      <a:pt x="327" y="277"/>
                      <a:pt x="327" y="277"/>
                    </a:cubicBezTo>
                    <a:close/>
                    <a:moveTo>
                      <a:pt x="345" y="276"/>
                    </a:moveTo>
                    <a:cubicBezTo>
                      <a:pt x="346" y="276"/>
                      <a:pt x="346" y="276"/>
                      <a:pt x="346" y="276"/>
                    </a:cubicBezTo>
                    <a:cubicBezTo>
                      <a:pt x="348" y="274"/>
                      <a:pt x="348" y="274"/>
                      <a:pt x="348" y="274"/>
                    </a:cubicBezTo>
                    <a:cubicBezTo>
                      <a:pt x="347" y="273"/>
                      <a:pt x="347" y="273"/>
                      <a:pt x="347" y="273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5" y="276"/>
                      <a:pt x="345" y="276"/>
                      <a:pt x="345" y="276"/>
                    </a:cubicBezTo>
                    <a:close/>
                    <a:moveTo>
                      <a:pt x="337" y="265"/>
                    </a:moveTo>
                    <a:cubicBezTo>
                      <a:pt x="336" y="266"/>
                      <a:pt x="336" y="266"/>
                      <a:pt x="336" y="266"/>
                    </a:cubicBezTo>
                    <a:cubicBezTo>
                      <a:pt x="336" y="268"/>
                      <a:pt x="336" y="268"/>
                      <a:pt x="336" y="268"/>
                    </a:cubicBezTo>
                    <a:cubicBezTo>
                      <a:pt x="337" y="270"/>
                      <a:pt x="337" y="270"/>
                      <a:pt x="337" y="270"/>
                    </a:cubicBezTo>
                    <a:cubicBezTo>
                      <a:pt x="339" y="271"/>
                      <a:pt x="339" y="271"/>
                      <a:pt x="339" y="271"/>
                    </a:cubicBezTo>
                    <a:cubicBezTo>
                      <a:pt x="340" y="270"/>
                      <a:pt x="340" y="270"/>
                      <a:pt x="340" y="270"/>
                    </a:cubicBezTo>
                    <a:cubicBezTo>
                      <a:pt x="340" y="269"/>
                      <a:pt x="340" y="269"/>
                      <a:pt x="340" y="269"/>
                    </a:cubicBezTo>
                    <a:cubicBezTo>
                      <a:pt x="340" y="268"/>
                      <a:pt x="340" y="268"/>
                      <a:pt x="340" y="268"/>
                    </a:cubicBezTo>
                    <a:cubicBezTo>
                      <a:pt x="340" y="266"/>
                      <a:pt x="340" y="266"/>
                      <a:pt x="340" y="266"/>
                    </a:cubicBezTo>
                    <a:cubicBezTo>
                      <a:pt x="338" y="265"/>
                      <a:pt x="338" y="265"/>
                      <a:pt x="338" y="265"/>
                    </a:cubicBezTo>
                    <a:cubicBezTo>
                      <a:pt x="337" y="265"/>
                      <a:pt x="337" y="265"/>
                      <a:pt x="337" y="265"/>
                    </a:cubicBezTo>
                    <a:close/>
                    <a:moveTo>
                      <a:pt x="349" y="257"/>
                    </a:moveTo>
                    <a:cubicBezTo>
                      <a:pt x="349" y="261"/>
                      <a:pt x="349" y="261"/>
                      <a:pt x="349" y="261"/>
                    </a:cubicBezTo>
                    <a:cubicBezTo>
                      <a:pt x="348" y="263"/>
                      <a:pt x="348" y="263"/>
                      <a:pt x="348" y="263"/>
                    </a:cubicBezTo>
                    <a:cubicBezTo>
                      <a:pt x="349" y="265"/>
                      <a:pt x="349" y="265"/>
                      <a:pt x="349" y="265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3" y="266"/>
                      <a:pt x="353" y="266"/>
                      <a:pt x="353" y="266"/>
                    </a:cubicBezTo>
                    <a:cubicBezTo>
                      <a:pt x="355" y="266"/>
                      <a:pt x="355" y="266"/>
                      <a:pt x="355" y="266"/>
                    </a:cubicBezTo>
                    <a:cubicBezTo>
                      <a:pt x="355" y="265"/>
                      <a:pt x="355" y="265"/>
                      <a:pt x="355" y="265"/>
                    </a:cubicBezTo>
                    <a:cubicBezTo>
                      <a:pt x="356" y="267"/>
                      <a:pt x="356" y="267"/>
                      <a:pt x="356" y="267"/>
                    </a:cubicBezTo>
                    <a:cubicBezTo>
                      <a:pt x="357" y="267"/>
                      <a:pt x="357" y="267"/>
                      <a:pt x="357" y="267"/>
                    </a:cubicBezTo>
                    <a:cubicBezTo>
                      <a:pt x="358" y="265"/>
                      <a:pt x="358" y="265"/>
                      <a:pt x="358" y="265"/>
                    </a:cubicBezTo>
                    <a:cubicBezTo>
                      <a:pt x="359" y="265"/>
                      <a:pt x="359" y="265"/>
                      <a:pt x="359" y="265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8" y="261"/>
                      <a:pt x="358" y="261"/>
                      <a:pt x="358" y="261"/>
                    </a:cubicBezTo>
                    <a:cubicBezTo>
                      <a:pt x="357" y="262"/>
                      <a:pt x="357" y="262"/>
                      <a:pt x="357" y="262"/>
                    </a:cubicBezTo>
                    <a:cubicBezTo>
                      <a:pt x="357" y="264"/>
                      <a:pt x="357" y="264"/>
                      <a:pt x="357" y="264"/>
                    </a:cubicBezTo>
                    <a:cubicBezTo>
                      <a:pt x="356" y="263"/>
                      <a:pt x="356" y="263"/>
                      <a:pt x="356" y="263"/>
                    </a:cubicBezTo>
                    <a:cubicBezTo>
                      <a:pt x="355" y="261"/>
                      <a:pt x="355" y="261"/>
                      <a:pt x="355" y="261"/>
                    </a:cubicBezTo>
                    <a:cubicBezTo>
                      <a:pt x="355" y="260"/>
                      <a:pt x="355" y="260"/>
                      <a:pt x="355" y="260"/>
                    </a:cubicBezTo>
                    <a:cubicBezTo>
                      <a:pt x="354" y="258"/>
                      <a:pt x="354" y="258"/>
                      <a:pt x="354" y="258"/>
                    </a:cubicBezTo>
                    <a:cubicBezTo>
                      <a:pt x="355" y="257"/>
                      <a:pt x="355" y="257"/>
                      <a:pt x="355" y="257"/>
                    </a:cubicBezTo>
                    <a:cubicBezTo>
                      <a:pt x="355" y="257"/>
                      <a:pt x="355" y="257"/>
                      <a:pt x="355" y="257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4" y="255"/>
                      <a:pt x="354" y="255"/>
                      <a:pt x="354" y="255"/>
                    </a:cubicBezTo>
                    <a:cubicBezTo>
                      <a:pt x="353" y="257"/>
                      <a:pt x="353" y="257"/>
                      <a:pt x="353" y="257"/>
                    </a:cubicBezTo>
                    <a:cubicBezTo>
                      <a:pt x="351" y="256"/>
                      <a:pt x="351" y="256"/>
                      <a:pt x="351" y="256"/>
                    </a:cubicBezTo>
                    <a:cubicBezTo>
                      <a:pt x="350" y="257"/>
                      <a:pt x="350" y="257"/>
                      <a:pt x="350" y="257"/>
                    </a:cubicBezTo>
                    <a:cubicBezTo>
                      <a:pt x="349" y="257"/>
                      <a:pt x="349" y="257"/>
                      <a:pt x="349" y="257"/>
                    </a:cubicBezTo>
                    <a:close/>
                    <a:moveTo>
                      <a:pt x="351" y="225"/>
                    </a:moveTo>
                    <a:cubicBezTo>
                      <a:pt x="350" y="227"/>
                      <a:pt x="350" y="227"/>
                      <a:pt x="350" y="227"/>
                    </a:cubicBezTo>
                    <a:cubicBezTo>
                      <a:pt x="350" y="227"/>
                      <a:pt x="350" y="227"/>
                      <a:pt x="350" y="227"/>
                    </a:cubicBezTo>
                    <a:cubicBezTo>
                      <a:pt x="351" y="228"/>
                      <a:pt x="351" y="228"/>
                      <a:pt x="351" y="228"/>
                    </a:cubicBezTo>
                    <a:cubicBezTo>
                      <a:pt x="351" y="230"/>
                      <a:pt x="351" y="230"/>
                      <a:pt x="351" y="230"/>
                    </a:cubicBezTo>
                    <a:cubicBezTo>
                      <a:pt x="351" y="231"/>
                      <a:pt x="351" y="231"/>
                      <a:pt x="351" y="231"/>
                    </a:cubicBezTo>
                    <a:cubicBezTo>
                      <a:pt x="351" y="233"/>
                      <a:pt x="351" y="233"/>
                      <a:pt x="351" y="233"/>
                    </a:cubicBezTo>
                    <a:cubicBezTo>
                      <a:pt x="352" y="235"/>
                      <a:pt x="352" y="235"/>
                      <a:pt x="352" y="235"/>
                    </a:cubicBezTo>
                    <a:cubicBezTo>
                      <a:pt x="352" y="238"/>
                      <a:pt x="352" y="238"/>
                      <a:pt x="352" y="238"/>
                    </a:cubicBezTo>
                    <a:cubicBezTo>
                      <a:pt x="351" y="241"/>
                      <a:pt x="351" y="241"/>
                      <a:pt x="351" y="241"/>
                    </a:cubicBezTo>
                    <a:cubicBezTo>
                      <a:pt x="351" y="243"/>
                      <a:pt x="351" y="243"/>
                      <a:pt x="351" y="243"/>
                    </a:cubicBezTo>
                    <a:cubicBezTo>
                      <a:pt x="352" y="244"/>
                      <a:pt x="352" y="244"/>
                      <a:pt x="352" y="244"/>
                    </a:cubicBezTo>
                    <a:cubicBezTo>
                      <a:pt x="353" y="243"/>
                      <a:pt x="353" y="243"/>
                      <a:pt x="353" y="243"/>
                    </a:cubicBezTo>
                    <a:cubicBezTo>
                      <a:pt x="353" y="240"/>
                      <a:pt x="353" y="240"/>
                      <a:pt x="353" y="240"/>
                    </a:cubicBezTo>
                    <a:cubicBezTo>
                      <a:pt x="354" y="239"/>
                      <a:pt x="354" y="239"/>
                      <a:pt x="354" y="239"/>
                    </a:cubicBezTo>
                    <a:cubicBezTo>
                      <a:pt x="354" y="236"/>
                      <a:pt x="354" y="236"/>
                      <a:pt x="354" y="236"/>
                    </a:cubicBezTo>
                    <a:cubicBezTo>
                      <a:pt x="352" y="234"/>
                      <a:pt x="352" y="234"/>
                      <a:pt x="352" y="234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3" y="228"/>
                      <a:pt x="353" y="228"/>
                      <a:pt x="353" y="228"/>
                    </a:cubicBezTo>
                    <a:cubicBezTo>
                      <a:pt x="352" y="227"/>
                      <a:pt x="352" y="227"/>
                      <a:pt x="352" y="227"/>
                    </a:cubicBezTo>
                    <a:cubicBezTo>
                      <a:pt x="351" y="225"/>
                      <a:pt x="351" y="225"/>
                      <a:pt x="351" y="225"/>
                    </a:cubicBezTo>
                    <a:close/>
                    <a:moveTo>
                      <a:pt x="337" y="230"/>
                    </a:moveTo>
                    <a:cubicBezTo>
                      <a:pt x="336" y="232"/>
                      <a:pt x="336" y="232"/>
                      <a:pt x="336" y="232"/>
                    </a:cubicBezTo>
                    <a:cubicBezTo>
                      <a:pt x="337" y="232"/>
                      <a:pt x="337" y="232"/>
                      <a:pt x="337" y="232"/>
                    </a:cubicBezTo>
                    <a:cubicBezTo>
                      <a:pt x="339" y="232"/>
                      <a:pt x="339" y="232"/>
                      <a:pt x="339" y="232"/>
                    </a:cubicBezTo>
                    <a:cubicBezTo>
                      <a:pt x="340" y="231"/>
                      <a:pt x="340" y="231"/>
                      <a:pt x="340" y="231"/>
                    </a:cubicBezTo>
                    <a:cubicBezTo>
                      <a:pt x="339" y="230"/>
                      <a:pt x="339" y="230"/>
                      <a:pt x="339" y="230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30"/>
                      <a:pt x="337" y="230"/>
                      <a:pt x="337" y="230"/>
                    </a:cubicBezTo>
                    <a:close/>
                    <a:moveTo>
                      <a:pt x="335" y="227"/>
                    </a:moveTo>
                    <a:cubicBezTo>
                      <a:pt x="335" y="228"/>
                      <a:pt x="335" y="228"/>
                      <a:pt x="335" y="228"/>
                    </a:cubicBezTo>
                    <a:cubicBezTo>
                      <a:pt x="337" y="228"/>
                      <a:pt x="337" y="228"/>
                      <a:pt x="337" y="228"/>
                    </a:cubicBezTo>
                    <a:cubicBezTo>
                      <a:pt x="336" y="226"/>
                      <a:pt x="336" y="226"/>
                      <a:pt x="336" y="226"/>
                    </a:cubicBezTo>
                    <a:cubicBezTo>
                      <a:pt x="335" y="227"/>
                      <a:pt x="335" y="227"/>
                      <a:pt x="335" y="227"/>
                    </a:cubicBezTo>
                    <a:cubicBezTo>
                      <a:pt x="335" y="227"/>
                      <a:pt x="335" y="227"/>
                      <a:pt x="335" y="227"/>
                    </a:cubicBezTo>
                    <a:close/>
                    <a:moveTo>
                      <a:pt x="347" y="194"/>
                    </a:moveTo>
                    <a:cubicBezTo>
                      <a:pt x="348" y="197"/>
                      <a:pt x="348" y="197"/>
                      <a:pt x="348" y="197"/>
                    </a:cubicBezTo>
                    <a:cubicBezTo>
                      <a:pt x="350" y="198"/>
                      <a:pt x="350" y="198"/>
                      <a:pt x="350" y="198"/>
                    </a:cubicBezTo>
                    <a:cubicBezTo>
                      <a:pt x="351" y="198"/>
                      <a:pt x="351" y="198"/>
                      <a:pt x="351" y="198"/>
                    </a:cubicBezTo>
                    <a:cubicBezTo>
                      <a:pt x="351" y="197"/>
                      <a:pt x="351" y="197"/>
                      <a:pt x="351" y="197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7" y="194"/>
                      <a:pt x="347" y="194"/>
                      <a:pt x="347" y="194"/>
                    </a:cubicBezTo>
                    <a:close/>
                    <a:moveTo>
                      <a:pt x="359" y="202"/>
                    </a:moveTo>
                    <a:cubicBezTo>
                      <a:pt x="359" y="202"/>
                      <a:pt x="360" y="203"/>
                      <a:pt x="360" y="203"/>
                    </a:cubicBezTo>
                    <a:cubicBezTo>
                      <a:pt x="361" y="203"/>
                      <a:pt x="361" y="203"/>
                      <a:pt x="361" y="203"/>
                    </a:cubicBezTo>
                    <a:cubicBezTo>
                      <a:pt x="362" y="202"/>
                      <a:pt x="362" y="202"/>
                      <a:pt x="362" y="202"/>
                    </a:cubicBezTo>
                    <a:cubicBezTo>
                      <a:pt x="361" y="201"/>
                      <a:pt x="361" y="201"/>
                      <a:pt x="361" y="201"/>
                    </a:cubicBezTo>
                    <a:cubicBezTo>
                      <a:pt x="362" y="199"/>
                      <a:pt x="362" y="199"/>
                      <a:pt x="362" y="199"/>
                    </a:cubicBezTo>
                    <a:cubicBezTo>
                      <a:pt x="363" y="198"/>
                      <a:pt x="363" y="198"/>
                      <a:pt x="363" y="198"/>
                    </a:cubicBezTo>
                    <a:cubicBezTo>
                      <a:pt x="362" y="196"/>
                      <a:pt x="362" y="196"/>
                      <a:pt x="362" y="196"/>
                    </a:cubicBezTo>
                    <a:cubicBezTo>
                      <a:pt x="361" y="198"/>
                      <a:pt x="361" y="198"/>
                      <a:pt x="361" y="198"/>
                    </a:cubicBezTo>
                    <a:cubicBezTo>
                      <a:pt x="360" y="200"/>
                      <a:pt x="360" y="200"/>
                      <a:pt x="360" y="200"/>
                    </a:cubicBezTo>
                    <a:cubicBezTo>
                      <a:pt x="359" y="202"/>
                      <a:pt x="359" y="202"/>
                      <a:pt x="359" y="202"/>
                    </a:cubicBezTo>
                    <a:close/>
                    <a:moveTo>
                      <a:pt x="354" y="191"/>
                    </a:moveTo>
                    <a:cubicBezTo>
                      <a:pt x="354" y="191"/>
                      <a:pt x="354" y="191"/>
                      <a:pt x="354" y="191"/>
                    </a:cubicBezTo>
                    <a:cubicBezTo>
                      <a:pt x="355" y="191"/>
                      <a:pt x="355" y="191"/>
                      <a:pt x="355" y="191"/>
                    </a:cubicBezTo>
                    <a:cubicBezTo>
                      <a:pt x="356" y="189"/>
                      <a:pt x="356" y="189"/>
                      <a:pt x="356" y="189"/>
                    </a:cubicBezTo>
                    <a:cubicBezTo>
                      <a:pt x="355" y="188"/>
                      <a:pt x="355" y="188"/>
                      <a:pt x="355" y="188"/>
                    </a:cubicBezTo>
                    <a:cubicBezTo>
                      <a:pt x="355" y="188"/>
                      <a:pt x="355" y="188"/>
                      <a:pt x="355" y="188"/>
                    </a:cubicBezTo>
                    <a:cubicBezTo>
                      <a:pt x="354" y="191"/>
                      <a:pt x="354" y="191"/>
                      <a:pt x="354" y="191"/>
                    </a:cubicBezTo>
                    <a:close/>
                    <a:moveTo>
                      <a:pt x="355" y="184"/>
                    </a:moveTo>
                    <a:cubicBezTo>
                      <a:pt x="355" y="184"/>
                      <a:pt x="355" y="184"/>
                      <a:pt x="355" y="184"/>
                    </a:cubicBezTo>
                    <a:cubicBezTo>
                      <a:pt x="355" y="185"/>
                      <a:pt x="355" y="185"/>
                      <a:pt x="355" y="185"/>
                    </a:cubicBezTo>
                    <a:cubicBezTo>
                      <a:pt x="356" y="184"/>
                      <a:pt x="356" y="184"/>
                      <a:pt x="356" y="184"/>
                    </a:cubicBezTo>
                    <a:cubicBezTo>
                      <a:pt x="356" y="184"/>
                      <a:pt x="356" y="184"/>
                      <a:pt x="356" y="184"/>
                    </a:cubicBezTo>
                    <a:cubicBezTo>
                      <a:pt x="355" y="184"/>
                      <a:pt x="355" y="184"/>
                      <a:pt x="355" y="184"/>
                    </a:cubicBezTo>
                    <a:close/>
                    <a:moveTo>
                      <a:pt x="363" y="162"/>
                    </a:moveTo>
                    <a:cubicBezTo>
                      <a:pt x="364" y="164"/>
                      <a:pt x="364" y="164"/>
                      <a:pt x="364" y="164"/>
                    </a:cubicBezTo>
                    <a:cubicBezTo>
                      <a:pt x="364" y="165"/>
                      <a:pt x="364" y="165"/>
                      <a:pt x="364" y="165"/>
                    </a:cubicBezTo>
                    <a:cubicBezTo>
                      <a:pt x="366" y="164"/>
                      <a:pt x="366" y="164"/>
                      <a:pt x="366" y="164"/>
                    </a:cubicBezTo>
                    <a:cubicBezTo>
                      <a:pt x="367" y="161"/>
                      <a:pt x="367" y="161"/>
                      <a:pt x="367" y="161"/>
                    </a:cubicBez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7" y="158"/>
                      <a:pt x="367" y="158"/>
                      <a:pt x="367" y="158"/>
                    </a:cubicBezTo>
                    <a:cubicBezTo>
                      <a:pt x="366" y="157"/>
                      <a:pt x="366" y="157"/>
                      <a:pt x="366" y="157"/>
                    </a:cubicBezTo>
                    <a:cubicBezTo>
                      <a:pt x="365" y="158"/>
                      <a:pt x="365" y="158"/>
                      <a:pt x="365" y="158"/>
                    </a:cubicBezTo>
                    <a:cubicBezTo>
                      <a:pt x="365" y="160"/>
                      <a:pt x="365" y="160"/>
                      <a:pt x="365" y="160"/>
                    </a:cubicBezTo>
                    <a:cubicBezTo>
                      <a:pt x="363" y="162"/>
                      <a:pt x="363" y="162"/>
                      <a:pt x="363" y="162"/>
                    </a:cubicBezTo>
                    <a:close/>
                    <a:moveTo>
                      <a:pt x="358" y="133"/>
                    </a:moveTo>
                    <a:cubicBezTo>
                      <a:pt x="359" y="133"/>
                      <a:pt x="359" y="133"/>
                      <a:pt x="359" y="133"/>
                    </a:cubicBezTo>
                    <a:cubicBezTo>
                      <a:pt x="359" y="133"/>
                      <a:pt x="359" y="133"/>
                      <a:pt x="359" y="133"/>
                    </a:cubicBezTo>
                    <a:cubicBezTo>
                      <a:pt x="362" y="133"/>
                      <a:pt x="362" y="133"/>
                      <a:pt x="362" y="133"/>
                    </a:cubicBezTo>
                    <a:cubicBezTo>
                      <a:pt x="363" y="131"/>
                      <a:pt x="363" y="131"/>
                      <a:pt x="363" y="131"/>
                    </a:cubicBezTo>
                    <a:cubicBezTo>
                      <a:pt x="363" y="129"/>
                      <a:pt x="363" y="129"/>
                      <a:pt x="363" y="129"/>
                    </a:cubicBezTo>
                    <a:cubicBezTo>
                      <a:pt x="362" y="128"/>
                      <a:pt x="362" y="128"/>
                      <a:pt x="362" y="128"/>
                    </a:cubicBezTo>
                    <a:cubicBezTo>
                      <a:pt x="358" y="129"/>
                      <a:pt x="358" y="129"/>
                      <a:pt x="358" y="129"/>
                    </a:cubicBezTo>
                    <a:cubicBezTo>
                      <a:pt x="358" y="132"/>
                      <a:pt x="358" y="132"/>
                      <a:pt x="358" y="132"/>
                    </a:cubicBezTo>
                    <a:cubicBezTo>
                      <a:pt x="358" y="133"/>
                      <a:pt x="358" y="133"/>
                      <a:pt x="358" y="133"/>
                    </a:cubicBezTo>
                    <a:close/>
                    <a:moveTo>
                      <a:pt x="378" y="79"/>
                    </a:moveTo>
                    <a:cubicBezTo>
                      <a:pt x="378" y="78"/>
                      <a:pt x="378" y="78"/>
                      <a:pt x="378" y="78"/>
                    </a:cubicBezTo>
                    <a:cubicBezTo>
                      <a:pt x="379" y="76"/>
                      <a:pt x="379" y="76"/>
                      <a:pt x="379" y="76"/>
                    </a:cubicBezTo>
                    <a:cubicBezTo>
                      <a:pt x="378" y="73"/>
                      <a:pt x="378" y="73"/>
                      <a:pt x="378" y="73"/>
                    </a:cubicBezTo>
                    <a:cubicBezTo>
                      <a:pt x="379" y="72"/>
                      <a:pt x="379" y="72"/>
                      <a:pt x="379" y="72"/>
                    </a:cubicBezTo>
                    <a:cubicBezTo>
                      <a:pt x="378" y="70"/>
                      <a:pt x="378" y="70"/>
                      <a:pt x="378" y="70"/>
                    </a:cubicBezTo>
                    <a:cubicBezTo>
                      <a:pt x="377" y="70"/>
                      <a:pt x="377" y="70"/>
                      <a:pt x="377" y="70"/>
                    </a:cubicBezTo>
                    <a:cubicBezTo>
                      <a:pt x="377" y="72"/>
                      <a:pt x="377" y="72"/>
                      <a:pt x="377" y="72"/>
                    </a:cubicBezTo>
                    <a:cubicBezTo>
                      <a:pt x="377" y="72"/>
                      <a:pt x="377" y="72"/>
                      <a:pt x="377" y="72"/>
                    </a:cubicBezTo>
                    <a:cubicBezTo>
                      <a:pt x="377" y="74"/>
                      <a:pt x="377" y="74"/>
                      <a:pt x="377" y="74"/>
                    </a:cubicBezTo>
                    <a:cubicBezTo>
                      <a:pt x="377" y="76"/>
                      <a:pt x="377" y="76"/>
                      <a:pt x="377" y="76"/>
                    </a:cubicBezTo>
                    <a:cubicBezTo>
                      <a:pt x="378" y="79"/>
                      <a:pt x="378" y="79"/>
                      <a:pt x="378" y="79"/>
                    </a:cubicBezTo>
                    <a:close/>
                    <a:moveTo>
                      <a:pt x="372" y="85"/>
                    </a:moveTo>
                    <a:cubicBezTo>
                      <a:pt x="372" y="85"/>
                      <a:pt x="373" y="85"/>
                      <a:pt x="373" y="85"/>
                    </a:cubicBezTo>
                    <a:cubicBezTo>
                      <a:pt x="373" y="84"/>
                      <a:pt x="373" y="84"/>
                      <a:pt x="373" y="84"/>
                    </a:cubicBezTo>
                    <a:cubicBezTo>
                      <a:pt x="373" y="81"/>
                      <a:pt x="373" y="81"/>
                      <a:pt x="373" y="81"/>
                    </a:cubicBezTo>
                    <a:cubicBezTo>
                      <a:pt x="373" y="80"/>
                      <a:pt x="373" y="80"/>
                      <a:pt x="373" y="80"/>
                    </a:cubicBezTo>
                    <a:cubicBezTo>
                      <a:pt x="371" y="81"/>
                      <a:pt x="371" y="81"/>
                      <a:pt x="371" y="81"/>
                    </a:cubicBezTo>
                    <a:cubicBezTo>
                      <a:pt x="371" y="83"/>
                      <a:pt x="371" y="83"/>
                      <a:pt x="371" y="83"/>
                    </a:cubicBezTo>
                    <a:cubicBezTo>
                      <a:pt x="372" y="85"/>
                      <a:pt x="372" y="85"/>
                      <a:pt x="372" y="85"/>
                    </a:cubicBezTo>
                    <a:close/>
                    <a:moveTo>
                      <a:pt x="368" y="79"/>
                    </a:moveTo>
                    <a:cubicBezTo>
                      <a:pt x="369" y="80"/>
                      <a:pt x="369" y="80"/>
                      <a:pt x="369" y="80"/>
                    </a:cubicBezTo>
                    <a:cubicBezTo>
                      <a:pt x="370" y="79"/>
                      <a:pt x="370" y="79"/>
                      <a:pt x="370" y="79"/>
                    </a:cubicBezTo>
                    <a:cubicBezTo>
                      <a:pt x="371" y="77"/>
                      <a:pt x="371" y="77"/>
                      <a:pt x="371" y="77"/>
                    </a:cubicBezTo>
                    <a:cubicBezTo>
                      <a:pt x="371" y="76"/>
                      <a:pt x="371" y="76"/>
                      <a:pt x="371" y="76"/>
                    </a:cubicBezTo>
                    <a:cubicBezTo>
                      <a:pt x="371" y="74"/>
                      <a:pt x="371" y="74"/>
                      <a:pt x="371" y="74"/>
                    </a:cubicBezTo>
                    <a:cubicBezTo>
                      <a:pt x="371" y="73"/>
                      <a:pt x="371" y="73"/>
                      <a:pt x="371" y="73"/>
                    </a:cubicBezTo>
                    <a:cubicBezTo>
                      <a:pt x="369" y="74"/>
                      <a:pt x="369" y="74"/>
                      <a:pt x="369" y="74"/>
                    </a:cubicBezTo>
                    <a:cubicBezTo>
                      <a:pt x="368" y="76"/>
                      <a:pt x="368" y="76"/>
                      <a:pt x="368" y="76"/>
                    </a:cubicBezTo>
                    <a:cubicBezTo>
                      <a:pt x="369" y="77"/>
                      <a:pt x="369" y="77"/>
                      <a:pt x="369" y="77"/>
                    </a:cubicBezTo>
                    <a:cubicBezTo>
                      <a:pt x="368" y="79"/>
                      <a:pt x="368" y="79"/>
                      <a:pt x="368" y="79"/>
                    </a:cubicBezTo>
                    <a:close/>
                    <a:moveTo>
                      <a:pt x="267" y="7"/>
                    </a:moveTo>
                    <a:cubicBezTo>
                      <a:pt x="267" y="7"/>
                      <a:pt x="267" y="7"/>
                      <a:pt x="267" y="7"/>
                    </a:cubicBezTo>
                    <a:cubicBezTo>
                      <a:pt x="268" y="6"/>
                      <a:pt x="268" y="6"/>
                      <a:pt x="268" y="6"/>
                    </a:cubicBezTo>
                    <a:cubicBezTo>
                      <a:pt x="268" y="4"/>
                      <a:pt x="268" y="4"/>
                      <a:pt x="268" y="4"/>
                    </a:cubicBezTo>
                    <a:cubicBezTo>
                      <a:pt x="268" y="3"/>
                      <a:pt x="268" y="3"/>
                      <a:pt x="268" y="3"/>
                    </a:cubicBezTo>
                    <a:cubicBezTo>
                      <a:pt x="267" y="3"/>
                      <a:pt x="267" y="3"/>
                      <a:pt x="267" y="3"/>
                    </a:cubicBezTo>
                    <a:cubicBezTo>
                      <a:pt x="266" y="5"/>
                      <a:pt x="266" y="5"/>
                      <a:pt x="266" y="5"/>
                    </a:cubicBezTo>
                    <a:cubicBezTo>
                      <a:pt x="267" y="7"/>
                      <a:pt x="267" y="7"/>
                      <a:pt x="267" y="7"/>
                    </a:cubicBezTo>
                    <a:close/>
                    <a:moveTo>
                      <a:pt x="267" y="10"/>
                    </a:moveTo>
                    <a:cubicBezTo>
                      <a:pt x="267" y="11"/>
                      <a:pt x="267" y="11"/>
                      <a:pt x="267" y="11"/>
                    </a:cubicBezTo>
                    <a:cubicBezTo>
                      <a:pt x="269" y="11"/>
                      <a:pt x="269" y="11"/>
                      <a:pt x="269" y="11"/>
                    </a:cubicBezTo>
                    <a:cubicBezTo>
                      <a:pt x="270" y="9"/>
                      <a:pt x="270" y="9"/>
                      <a:pt x="270" y="9"/>
                    </a:cubicBezTo>
                    <a:cubicBezTo>
                      <a:pt x="270" y="8"/>
                      <a:pt x="270" y="8"/>
                      <a:pt x="270" y="8"/>
                    </a:cubicBezTo>
                    <a:cubicBezTo>
                      <a:pt x="269" y="8"/>
                      <a:pt x="269" y="8"/>
                      <a:pt x="269" y="8"/>
                    </a:cubicBezTo>
                    <a:cubicBezTo>
                      <a:pt x="267" y="9"/>
                      <a:pt x="267" y="9"/>
                      <a:pt x="267" y="9"/>
                    </a:cubicBezTo>
                    <a:cubicBezTo>
                      <a:pt x="267" y="10"/>
                      <a:pt x="267" y="10"/>
                      <a:pt x="267" y="10"/>
                    </a:cubicBezTo>
                    <a:close/>
                    <a:moveTo>
                      <a:pt x="259" y="10"/>
                    </a:moveTo>
                    <a:cubicBezTo>
                      <a:pt x="260" y="12"/>
                      <a:pt x="260" y="12"/>
                      <a:pt x="260" y="12"/>
                    </a:cubicBezTo>
                    <a:cubicBezTo>
                      <a:pt x="261" y="14"/>
                      <a:pt x="261" y="14"/>
                      <a:pt x="261" y="14"/>
                    </a:cubicBezTo>
                    <a:cubicBezTo>
                      <a:pt x="262" y="14"/>
                      <a:pt x="262" y="14"/>
                      <a:pt x="262" y="14"/>
                    </a:cubicBezTo>
                    <a:cubicBezTo>
                      <a:pt x="263" y="12"/>
                      <a:pt x="263" y="12"/>
                      <a:pt x="263" y="12"/>
                    </a:cubicBezTo>
                    <a:cubicBezTo>
                      <a:pt x="264" y="12"/>
                      <a:pt x="264" y="12"/>
                      <a:pt x="264" y="12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61" y="8"/>
                      <a:pt x="261" y="8"/>
                      <a:pt x="261" y="8"/>
                    </a:cubicBezTo>
                    <a:cubicBezTo>
                      <a:pt x="260" y="7"/>
                      <a:pt x="260" y="7"/>
                      <a:pt x="260" y="7"/>
                    </a:cubicBezTo>
                    <a:cubicBezTo>
                      <a:pt x="259" y="7"/>
                      <a:pt x="259" y="7"/>
                      <a:pt x="259" y="7"/>
                    </a:cubicBezTo>
                    <a:cubicBezTo>
                      <a:pt x="259" y="9"/>
                      <a:pt x="259" y="9"/>
                      <a:pt x="259" y="9"/>
                    </a:cubicBezTo>
                    <a:cubicBezTo>
                      <a:pt x="258" y="9"/>
                      <a:pt x="258" y="9"/>
                      <a:pt x="258" y="9"/>
                    </a:cubicBezTo>
                    <a:cubicBezTo>
                      <a:pt x="259" y="10"/>
                      <a:pt x="259" y="10"/>
                      <a:pt x="259" y="10"/>
                    </a:cubicBezTo>
                    <a:close/>
                    <a:moveTo>
                      <a:pt x="254" y="12"/>
                    </a:moveTo>
                    <a:cubicBezTo>
                      <a:pt x="254" y="14"/>
                      <a:pt x="254" y="14"/>
                      <a:pt x="254" y="14"/>
                    </a:cubicBezTo>
                    <a:cubicBezTo>
                      <a:pt x="255" y="14"/>
                      <a:pt x="255" y="14"/>
                      <a:pt x="255" y="14"/>
                    </a:cubicBezTo>
                    <a:cubicBezTo>
                      <a:pt x="256" y="14"/>
                      <a:pt x="256" y="14"/>
                      <a:pt x="256" y="14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4" y="12"/>
                      <a:pt x="254" y="12"/>
                      <a:pt x="254" y="12"/>
                    </a:cubicBezTo>
                    <a:cubicBezTo>
                      <a:pt x="254" y="12"/>
                      <a:pt x="254" y="12"/>
                      <a:pt x="254" y="12"/>
                    </a:cubicBezTo>
                    <a:close/>
                    <a:moveTo>
                      <a:pt x="225" y="20"/>
                    </a:moveTo>
                    <a:cubicBezTo>
                      <a:pt x="226" y="22"/>
                      <a:pt x="226" y="22"/>
                      <a:pt x="226" y="22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31" y="26"/>
                      <a:pt x="231" y="26"/>
                      <a:pt x="231" y="26"/>
                    </a:cubicBezTo>
                    <a:cubicBezTo>
                      <a:pt x="232" y="23"/>
                      <a:pt x="232" y="23"/>
                      <a:pt x="232" y="23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32" y="19"/>
                      <a:pt x="232" y="19"/>
                      <a:pt x="232" y="19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29" y="17"/>
                      <a:pt x="229" y="17"/>
                      <a:pt x="229" y="17"/>
                    </a:cubicBezTo>
                    <a:cubicBezTo>
                      <a:pt x="228" y="17"/>
                      <a:pt x="228" y="17"/>
                      <a:pt x="228" y="17"/>
                    </a:cubicBezTo>
                    <a:cubicBezTo>
                      <a:pt x="227" y="17"/>
                      <a:pt x="227" y="17"/>
                      <a:pt x="227" y="17"/>
                    </a:cubicBezTo>
                    <a:cubicBezTo>
                      <a:pt x="227" y="19"/>
                      <a:pt x="227" y="19"/>
                      <a:pt x="227" y="19"/>
                    </a:cubicBezTo>
                    <a:cubicBezTo>
                      <a:pt x="228" y="20"/>
                      <a:pt x="228" y="20"/>
                      <a:pt x="228" y="20"/>
                    </a:cubicBezTo>
                    <a:cubicBezTo>
                      <a:pt x="227" y="21"/>
                      <a:pt x="227" y="21"/>
                      <a:pt x="227" y="21"/>
                    </a:cubicBezTo>
                    <a:cubicBezTo>
                      <a:pt x="226" y="20"/>
                      <a:pt x="226" y="20"/>
                      <a:pt x="226" y="20"/>
                    </a:cubicBezTo>
                    <a:cubicBezTo>
                      <a:pt x="225" y="20"/>
                      <a:pt x="225" y="20"/>
                      <a:pt x="225" y="20"/>
                    </a:cubicBezTo>
                    <a:close/>
                    <a:moveTo>
                      <a:pt x="223" y="22"/>
                    </a:moveTo>
                    <a:cubicBezTo>
                      <a:pt x="224" y="25"/>
                      <a:pt x="224" y="25"/>
                      <a:pt x="224" y="25"/>
                    </a:cubicBezTo>
                    <a:cubicBezTo>
                      <a:pt x="225" y="25"/>
                      <a:pt x="225" y="25"/>
                      <a:pt x="225" y="25"/>
                    </a:cubicBezTo>
                    <a:cubicBezTo>
                      <a:pt x="225" y="22"/>
                      <a:pt x="225" y="22"/>
                      <a:pt x="225" y="22"/>
                    </a:cubicBezTo>
                    <a:cubicBezTo>
                      <a:pt x="224" y="21"/>
                      <a:pt x="224" y="21"/>
                      <a:pt x="224" y="21"/>
                    </a:cubicBezTo>
                    <a:cubicBezTo>
                      <a:pt x="223" y="22"/>
                      <a:pt x="223" y="22"/>
                      <a:pt x="223" y="22"/>
                    </a:cubicBezTo>
                    <a:close/>
                    <a:moveTo>
                      <a:pt x="214" y="21"/>
                    </a:moveTo>
                    <a:cubicBezTo>
                      <a:pt x="214" y="23"/>
                      <a:pt x="214" y="23"/>
                      <a:pt x="214" y="23"/>
                    </a:cubicBezTo>
                    <a:cubicBezTo>
                      <a:pt x="216" y="23"/>
                      <a:pt x="216" y="23"/>
                      <a:pt x="216" y="23"/>
                    </a:cubicBezTo>
                    <a:cubicBezTo>
                      <a:pt x="217" y="24"/>
                      <a:pt x="217" y="24"/>
                      <a:pt x="217" y="24"/>
                    </a:cubicBezTo>
                    <a:cubicBezTo>
                      <a:pt x="219" y="24"/>
                      <a:pt x="219" y="24"/>
                      <a:pt x="219" y="24"/>
                    </a:cubicBezTo>
                    <a:cubicBezTo>
                      <a:pt x="219" y="23"/>
                      <a:pt x="219" y="23"/>
                      <a:pt x="219" y="23"/>
                    </a:cubicBezTo>
                    <a:cubicBezTo>
                      <a:pt x="217" y="22"/>
                      <a:pt x="217" y="22"/>
                      <a:pt x="217" y="22"/>
                    </a:cubicBezTo>
                    <a:cubicBezTo>
                      <a:pt x="216" y="22"/>
                      <a:pt x="216" y="22"/>
                      <a:pt x="216" y="22"/>
                    </a:cubicBezTo>
                    <a:cubicBezTo>
                      <a:pt x="216" y="20"/>
                      <a:pt x="216" y="20"/>
                      <a:pt x="216" y="20"/>
                    </a:cubicBezTo>
                    <a:cubicBezTo>
                      <a:pt x="215" y="19"/>
                      <a:pt x="215" y="19"/>
                      <a:pt x="215" y="19"/>
                    </a:cubicBezTo>
                    <a:cubicBezTo>
                      <a:pt x="214" y="20"/>
                      <a:pt x="214" y="20"/>
                      <a:pt x="214" y="20"/>
                    </a:cubicBezTo>
                    <a:cubicBezTo>
                      <a:pt x="214" y="21"/>
                      <a:pt x="214" y="21"/>
                      <a:pt x="214" y="21"/>
                    </a:cubicBezTo>
                    <a:close/>
                    <a:moveTo>
                      <a:pt x="208" y="40"/>
                    </a:moveTo>
                    <a:cubicBezTo>
                      <a:pt x="209" y="40"/>
                      <a:pt x="209" y="40"/>
                      <a:pt x="209" y="40"/>
                    </a:cubicBezTo>
                    <a:cubicBezTo>
                      <a:pt x="210" y="40"/>
                      <a:pt x="210" y="40"/>
                      <a:pt x="210" y="40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09" y="37"/>
                      <a:pt x="209" y="37"/>
                      <a:pt x="209" y="37"/>
                    </a:cubicBezTo>
                    <a:cubicBezTo>
                      <a:pt x="209" y="34"/>
                      <a:pt x="209" y="34"/>
                      <a:pt x="209" y="34"/>
                    </a:cubicBezTo>
                    <a:cubicBezTo>
                      <a:pt x="207" y="33"/>
                      <a:pt x="207" y="33"/>
                      <a:pt x="207" y="33"/>
                    </a:cubicBezTo>
                    <a:cubicBezTo>
                      <a:pt x="206" y="33"/>
                      <a:pt x="206" y="33"/>
                      <a:pt x="206" y="33"/>
                    </a:cubicBezTo>
                    <a:cubicBezTo>
                      <a:pt x="206" y="35"/>
                      <a:pt x="206" y="35"/>
                      <a:pt x="206" y="35"/>
                    </a:cubicBezTo>
                    <a:cubicBezTo>
                      <a:pt x="207" y="36"/>
                      <a:pt x="207" y="36"/>
                      <a:pt x="207" y="36"/>
                    </a:cubicBezTo>
                    <a:cubicBezTo>
                      <a:pt x="207" y="39"/>
                      <a:pt x="207" y="39"/>
                      <a:pt x="207" y="39"/>
                    </a:cubicBezTo>
                    <a:cubicBezTo>
                      <a:pt x="208" y="40"/>
                      <a:pt x="208" y="40"/>
                      <a:pt x="208" y="40"/>
                    </a:cubicBezTo>
                    <a:close/>
                    <a:moveTo>
                      <a:pt x="211" y="59"/>
                    </a:moveTo>
                    <a:cubicBezTo>
                      <a:pt x="213" y="58"/>
                      <a:pt x="213" y="58"/>
                      <a:pt x="213" y="58"/>
                    </a:cubicBezTo>
                    <a:cubicBezTo>
                      <a:pt x="214" y="57"/>
                      <a:pt x="214" y="57"/>
                      <a:pt x="214" y="57"/>
                    </a:cubicBezTo>
                    <a:cubicBezTo>
                      <a:pt x="214" y="56"/>
                      <a:pt x="214" y="56"/>
                      <a:pt x="214" y="56"/>
                    </a:cubicBezTo>
                    <a:cubicBezTo>
                      <a:pt x="212" y="55"/>
                      <a:pt x="212" y="55"/>
                      <a:pt x="212" y="55"/>
                    </a:cubicBezTo>
                    <a:cubicBezTo>
                      <a:pt x="212" y="53"/>
                      <a:pt x="212" y="53"/>
                      <a:pt x="212" y="53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0" y="53"/>
                      <a:pt x="210" y="53"/>
                      <a:pt x="210" y="53"/>
                    </a:cubicBezTo>
                    <a:cubicBezTo>
                      <a:pt x="209" y="55"/>
                      <a:pt x="209" y="55"/>
                      <a:pt x="209" y="55"/>
                    </a:cubicBezTo>
                    <a:cubicBezTo>
                      <a:pt x="209" y="56"/>
                      <a:pt x="209" y="56"/>
                      <a:pt x="209" y="56"/>
                    </a:cubicBezTo>
                    <a:cubicBezTo>
                      <a:pt x="210" y="58"/>
                      <a:pt x="210" y="58"/>
                      <a:pt x="210" y="58"/>
                    </a:cubicBezTo>
                    <a:cubicBezTo>
                      <a:pt x="211" y="59"/>
                      <a:pt x="211" y="59"/>
                      <a:pt x="211" y="59"/>
                    </a:cubicBezTo>
                    <a:close/>
                    <a:moveTo>
                      <a:pt x="211" y="61"/>
                    </a:moveTo>
                    <a:cubicBezTo>
                      <a:pt x="210" y="63"/>
                      <a:pt x="210" y="63"/>
                      <a:pt x="210" y="63"/>
                    </a:cubicBezTo>
                    <a:cubicBezTo>
                      <a:pt x="211" y="64"/>
                      <a:pt x="211" y="64"/>
                      <a:pt x="211" y="64"/>
                    </a:cubicBezTo>
                    <a:cubicBezTo>
                      <a:pt x="210" y="66"/>
                      <a:pt x="210" y="66"/>
                      <a:pt x="210" y="66"/>
                    </a:cubicBezTo>
                    <a:cubicBezTo>
                      <a:pt x="213" y="68"/>
                      <a:pt x="213" y="68"/>
                      <a:pt x="213" y="68"/>
                    </a:cubicBezTo>
                    <a:cubicBezTo>
                      <a:pt x="214" y="67"/>
                      <a:pt x="214" y="67"/>
                      <a:pt x="214" y="67"/>
                    </a:cubicBezTo>
                    <a:cubicBezTo>
                      <a:pt x="214" y="63"/>
                      <a:pt x="214" y="63"/>
                      <a:pt x="214" y="63"/>
                    </a:cubicBezTo>
                    <a:cubicBezTo>
                      <a:pt x="213" y="61"/>
                      <a:pt x="213" y="61"/>
                      <a:pt x="213" y="61"/>
                    </a:cubicBezTo>
                    <a:cubicBezTo>
                      <a:pt x="212" y="60"/>
                      <a:pt x="212" y="60"/>
                      <a:pt x="212" y="60"/>
                    </a:cubicBezTo>
                    <a:cubicBezTo>
                      <a:pt x="211" y="61"/>
                      <a:pt x="211" y="61"/>
                      <a:pt x="211" y="61"/>
                    </a:cubicBezTo>
                    <a:close/>
                    <a:moveTo>
                      <a:pt x="184" y="42"/>
                    </a:moveTo>
                    <a:cubicBezTo>
                      <a:pt x="184" y="41"/>
                      <a:pt x="184" y="41"/>
                      <a:pt x="184" y="41"/>
                    </a:cubicBezTo>
                    <a:cubicBezTo>
                      <a:pt x="184" y="41"/>
                      <a:pt x="184" y="41"/>
                      <a:pt x="184" y="41"/>
                    </a:cubicBezTo>
                    <a:cubicBezTo>
                      <a:pt x="184" y="39"/>
                      <a:pt x="184" y="39"/>
                      <a:pt x="184" y="39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2" y="39"/>
                      <a:pt x="182" y="39"/>
                      <a:pt x="182" y="39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84" y="42"/>
                      <a:pt x="184" y="42"/>
                      <a:pt x="184" y="42"/>
                    </a:cubicBezTo>
                    <a:close/>
                    <a:moveTo>
                      <a:pt x="180" y="54"/>
                    </a:moveTo>
                    <a:cubicBezTo>
                      <a:pt x="180" y="55"/>
                      <a:pt x="180" y="55"/>
                      <a:pt x="180" y="55"/>
                    </a:cubicBezTo>
                    <a:cubicBezTo>
                      <a:pt x="181" y="53"/>
                      <a:pt x="181" y="53"/>
                      <a:pt x="181" y="53"/>
                    </a:cubicBezTo>
                    <a:cubicBezTo>
                      <a:pt x="181" y="51"/>
                      <a:pt x="181" y="51"/>
                      <a:pt x="181" y="51"/>
                    </a:cubicBezTo>
                    <a:cubicBezTo>
                      <a:pt x="179" y="48"/>
                      <a:pt x="179" y="48"/>
                      <a:pt x="179" y="48"/>
                    </a:cubicBezTo>
                    <a:cubicBezTo>
                      <a:pt x="179" y="45"/>
                      <a:pt x="179" y="45"/>
                      <a:pt x="179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39"/>
                      <a:pt x="180" y="39"/>
                      <a:pt x="180" y="39"/>
                    </a:cubicBezTo>
                    <a:cubicBezTo>
                      <a:pt x="179" y="37"/>
                      <a:pt x="179" y="37"/>
                      <a:pt x="179" y="37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78" y="33"/>
                      <a:pt x="178" y="33"/>
                      <a:pt x="178" y="33"/>
                    </a:cubicBezTo>
                    <a:cubicBezTo>
                      <a:pt x="176" y="35"/>
                      <a:pt x="176" y="35"/>
                      <a:pt x="176" y="35"/>
                    </a:cubicBezTo>
                    <a:cubicBezTo>
                      <a:pt x="176" y="40"/>
                      <a:pt x="176" y="40"/>
                      <a:pt x="176" y="40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5" y="44"/>
                      <a:pt x="175" y="44"/>
                      <a:pt x="175" y="44"/>
                    </a:cubicBezTo>
                    <a:cubicBezTo>
                      <a:pt x="177" y="48"/>
                      <a:pt x="177" y="48"/>
                      <a:pt x="177" y="48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80" y="54"/>
                      <a:pt x="180" y="54"/>
                      <a:pt x="180" y="54"/>
                    </a:cubicBezTo>
                    <a:close/>
                    <a:moveTo>
                      <a:pt x="75" y="71"/>
                    </a:moveTo>
                    <a:cubicBezTo>
                      <a:pt x="76" y="72"/>
                      <a:pt x="76" y="72"/>
                      <a:pt x="76" y="72"/>
                    </a:cubicBezTo>
                    <a:cubicBezTo>
                      <a:pt x="76" y="73"/>
                      <a:pt x="76" y="73"/>
                      <a:pt x="76" y="73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8" y="72"/>
                      <a:pt x="78" y="72"/>
                      <a:pt x="78" y="72"/>
                    </a:cubicBezTo>
                    <a:cubicBezTo>
                      <a:pt x="77" y="70"/>
                      <a:pt x="77" y="70"/>
                      <a:pt x="77" y="70"/>
                    </a:cubicBezTo>
                    <a:cubicBezTo>
                      <a:pt x="75" y="71"/>
                      <a:pt x="75" y="71"/>
                      <a:pt x="75" y="71"/>
                    </a:cubicBezTo>
                    <a:close/>
                    <a:moveTo>
                      <a:pt x="9" y="157"/>
                    </a:moveTo>
                    <a:cubicBezTo>
                      <a:pt x="10" y="158"/>
                      <a:pt x="10" y="158"/>
                      <a:pt x="10" y="158"/>
                    </a:cubicBezTo>
                    <a:cubicBezTo>
                      <a:pt x="13" y="159"/>
                      <a:pt x="13" y="159"/>
                      <a:pt x="13" y="159"/>
                    </a:cubicBezTo>
                    <a:cubicBezTo>
                      <a:pt x="14" y="159"/>
                      <a:pt x="14" y="159"/>
                      <a:pt x="14" y="159"/>
                    </a:cubicBezTo>
                    <a:cubicBezTo>
                      <a:pt x="16" y="159"/>
                      <a:pt x="16" y="159"/>
                      <a:pt x="16" y="159"/>
                    </a:cubicBezTo>
                    <a:cubicBezTo>
                      <a:pt x="15" y="158"/>
                      <a:pt x="15" y="158"/>
                      <a:pt x="15" y="158"/>
                    </a:cubicBezTo>
                    <a:cubicBezTo>
                      <a:pt x="14" y="158"/>
                      <a:pt x="14" y="158"/>
                      <a:pt x="14" y="158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1" y="156"/>
                      <a:pt x="11" y="156"/>
                      <a:pt x="11" y="156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9" y="157"/>
                      <a:pt x="9" y="157"/>
                      <a:pt x="9" y="157"/>
                    </a:cubicBezTo>
                    <a:close/>
                    <a:moveTo>
                      <a:pt x="0" y="157"/>
                    </a:moveTo>
                    <a:cubicBezTo>
                      <a:pt x="2" y="159"/>
                      <a:pt x="2" y="159"/>
                      <a:pt x="2" y="159"/>
                    </a:cubicBezTo>
                    <a:cubicBezTo>
                      <a:pt x="4" y="159"/>
                      <a:pt x="4" y="159"/>
                      <a:pt x="4" y="159"/>
                    </a:cubicBezTo>
                    <a:cubicBezTo>
                      <a:pt x="5" y="160"/>
                      <a:pt x="5" y="160"/>
                      <a:pt x="5" y="160"/>
                    </a:cubicBezTo>
                    <a:cubicBezTo>
                      <a:pt x="8" y="159"/>
                      <a:pt x="8" y="159"/>
                      <a:pt x="8" y="159"/>
                    </a:cubicBezTo>
                    <a:cubicBezTo>
                      <a:pt x="5" y="157"/>
                      <a:pt x="5" y="157"/>
                      <a:pt x="5" y="157"/>
                    </a:cubicBezTo>
                    <a:cubicBezTo>
                      <a:pt x="3" y="156"/>
                      <a:pt x="3" y="156"/>
                      <a:pt x="3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57"/>
                      <a:pt x="0" y="157"/>
                      <a:pt x="0" y="157"/>
                    </a:cubicBezTo>
                    <a:close/>
                    <a:moveTo>
                      <a:pt x="74" y="239"/>
                    </a:moveTo>
                    <a:cubicBezTo>
                      <a:pt x="73" y="240"/>
                      <a:pt x="73" y="240"/>
                      <a:pt x="73" y="240"/>
                    </a:cubicBezTo>
                    <a:cubicBezTo>
                      <a:pt x="74" y="241"/>
                      <a:pt x="74" y="241"/>
                      <a:pt x="74" y="241"/>
                    </a:cubicBezTo>
                    <a:cubicBezTo>
                      <a:pt x="75" y="240"/>
                      <a:pt x="75" y="240"/>
                      <a:pt x="75" y="240"/>
                    </a:cubicBezTo>
                    <a:cubicBezTo>
                      <a:pt x="74" y="239"/>
                      <a:pt x="74" y="239"/>
                      <a:pt x="74" y="239"/>
                    </a:cubicBezTo>
                    <a:cubicBezTo>
                      <a:pt x="74" y="239"/>
                      <a:pt x="74" y="239"/>
                      <a:pt x="74" y="239"/>
                    </a:cubicBezTo>
                    <a:close/>
                    <a:moveTo>
                      <a:pt x="74" y="248"/>
                    </a:moveTo>
                    <a:cubicBezTo>
                      <a:pt x="75" y="248"/>
                      <a:pt x="75" y="248"/>
                      <a:pt x="75" y="248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80" y="248"/>
                      <a:pt x="80" y="248"/>
                      <a:pt x="80" y="248"/>
                    </a:cubicBezTo>
                    <a:cubicBezTo>
                      <a:pt x="81" y="249"/>
                      <a:pt x="81" y="249"/>
                      <a:pt x="81" y="249"/>
                    </a:cubicBezTo>
                    <a:cubicBezTo>
                      <a:pt x="81" y="250"/>
                      <a:pt x="81" y="250"/>
                      <a:pt x="81" y="250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1" y="247"/>
                      <a:pt x="81" y="247"/>
                      <a:pt x="81" y="247"/>
                    </a:cubicBezTo>
                    <a:cubicBezTo>
                      <a:pt x="78" y="247"/>
                      <a:pt x="78" y="247"/>
                      <a:pt x="78" y="247"/>
                    </a:cubicBezTo>
                    <a:cubicBezTo>
                      <a:pt x="77" y="247"/>
                      <a:pt x="77" y="247"/>
                      <a:pt x="77" y="247"/>
                    </a:cubicBezTo>
                    <a:cubicBezTo>
                      <a:pt x="76" y="246"/>
                      <a:pt x="76" y="246"/>
                      <a:pt x="76" y="246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74" y="247"/>
                      <a:pt x="74" y="247"/>
                      <a:pt x="74" y="247"/>
                    </a:cubicBezTo>
                    <a:cubicBezTo>
                      <a:pt x="74" y="248"/>
                      <a:pt x="74" y="248"/>
                      <a:pt x="74" y="248"/>
                    </a:cubicBezTo>
                    <a:close/>
                    <a:moveTo>
                      <a:pt x="76" y="251"/>
                    </a:moveTo>
                    <a:cubicBezTo>
                      <a:pt x="77" y="251"/>
                      <a:pt x="77" y="251"/>
                      <a:pt x="77" y="251"/>
                    </a:cubicBezTo>
                    <a:cubicBezTo>
                      <a:pt x="78" y="251"/>
                      <a:pt x="78" y="251"/>
                      <a:pt x="78" y="251"/>
                    </a:cubicBezTo>
                    <a:cubicBezTo>
                      <a:pt x="77" y="250"/>
                      <a:pt x="77" y="250"/>
                      <a:pt x="77" y="250"/>
                    </a:cubicBezTo>
                    <a:cubicBezTo>
                      <a:pt x="76" y="251"/>
                      <a:pt x="76" y="251"/>
                      <a:pt x="76" y="251"/>
                    </a:cubicBezTo>
                    <a:close/>
                    <a:moveTo>
                      <a:pt x="77" y="263"/>
                    </a:moveTo>
                    <a:cubicBezTo>
                      <a:pt x="77" y="264"/>
                      <a:pt x="77" y="264"/>
                      <a:pt x="77" y="264"/>
                    </a:cubicBezTo>
                    <a:cubicBezTo>
                      <a:pt x="79" y="264"/>
                      <a:pt x="79" y="264"/>
                      <a:pt x="79" y="264"/>
                    </a:cubicBezTo>
                    <a:cubicBezTo>
                      <a:pt x="80" y="265"/>
                      <a:pt x="80" y="265"/>
                      <a:pt x="80" y="265"/>
                    </a:cubicBezTo>
                    <a:cubicBezTo>
                      <a:pt x="81" y="265"/>
                      <a:pt x="81" y="265"/>
                      <a:pt x="81" y="265"/>
                    </a:cubicBezTo>
                    <a:cubicBezTo>
                      <a:pt x="80" y="264"/>
                      <a:pt x="80" y="264"/>
                      <a:pt x="80" y="264"/>
                    </a:cubicBezTo>
                    <a:cubicBezTo>
                      <a:pt x="78" y="263"/>
                      <a:pt x="78" y="263"/>
                      <a:pt x="78" y="263"/>
                    </a:cubicBezTo>
                    <a:cubicBezTo>
                      <a:pt x="77" y="263"/>
                      <a:pt x="77" y="263"/>
                      <a:pt x="77" y="263"/>
                    </a:cubicBezTo>
                    <a:cubicBezTo>
                      <a:pt x="77" y="263"/>
                      <a:pt x="77" y="263"/>
                      <a:pt x="77" y="263"/>
                    </a:cubicBezTo>
                    <a:close/>
                    <a:moveTo>
                      <a:pt x="75" y="268"/>
                    </a:moveTo>
                    <a:cubicBezTo>
                      <a:pt x="76" y="269"/>
                      <a:pt x="76" y="269"/>
                      <a:pt x="76" y="269"/>
                    </a:cubicBezTo>
                    <a:cubicBezTo>
                      <a:pt x="77" y="269"/>
                      <a:pt x="77" y="269"/>
                      <a:pt x="77" y="269"/>
                    </a:cubicBezTo>
                    <a:cubicBezTo>
                      <a:pt x="78" y="268"/>
                      <a:pt x="78" y="268"/>
                      <a:pt x="78" y="268"/>
                    </a:cubicBezTo>
                    <a:cubicBezTo>
                      <a:pt x="76" y="268"/>
                      <a:pt x="76" y="268"/>
                      <a:pt x="76" y="268"/>
                    </a:cubicBezTo>
                    <a:cubicBezTo>
                      <a:pt x="76" y="267"/>
                      <a:pt x="76" y="267"/>
                      <a:pt x="76" y="267"/>
                    </a:cubicBezTo>
                    <a:cubicBezTo>
                      <a:pt x="75" y="268"/>
                      <a:pt x="75" y="268"/>
                      <a:pt x="75" y="268"/>
                    </a:cubicBezTo>
                    <a:close/>
                    <a:moveTo>
                      <a:pt x="78" y="276"/>
                    </a:moveTo>
                    <a:cubicBezTo>
                      <a:pt x="78" y="276"/>
                      <a:pt x="78" y="276"/>
                      <a:pt x="78" y="276"/>
                    </a:cubicBezTo>
                    <a:cubicBezTo>
                      <a:pt x="79" y="275"/>
                      <a:pt x="79" y="275"/>
                      <a:pt x="79" y="275"/>
                    </a:cubicBezTo>
                    <a:cubicBezTo>
                      <a:pt x="78" y="274"/>
                      <a:pt x="78" y="274"/>
                      <a:pt x="78" y="274"/>
                    </a:cubicBezTo>
                    <a:cubicBezTo>
                      <a:pt x="78" y="273"/>
                      <a:pt x="78" y="273"/>
                      <a:pt x="78" y="273"/>
                    </a:cubicBezTo>
                    <a:cubicBezTo>
                      <a:pt x="78" y="274"/>
                      <a:pt x="78" y="274"/>
                      <a:pt x="78" y="274"/>
                    </a:cubicBezTo>
                    <a:cubicBezTo>
                      <a:pt x="78" y="276"/>
                      <a:pt x="78" y="276"/>
                      <a:pt x="78" y="276"/>
                    </a:cubicBezTo>
                    <a:close/>
                    <a:moveTo>
                      <a:pt x="80" y="278"/>
                    </a:moveTo>
                    <a:cubicBezTo>
                      <a:pt x="81" y="279"/>
                      <a:pt x="81" y="279"/>
                      <a:pt x="81" y="279"/>
                    </a:cubicBezTo>
                    <a:cubicBezTo>
                      <a:pt x="81" y="279"/>
                      <a:pt x="81" y="279"/>
                      <a:pt x="81" y="279"/>
                    </a:cubicBezTo>
                    <a:cubicBezTo>
                      <a:pt x="81" y="278"/>
                      <a:pt x="81" y="278"/>
                      <a:pt x="81" y="278"/>
                    </a:cubicBezTo>
                    <a:cubicBezTo>
                      <a:pt x="80" y="278"/>
                      <a:pt x="80" y="278"/>
                      <a:pt x="80" y="278"/>
                    </a:cubicBezTo>
                    <a:close/>
                    <a:moveTo>
                      <a:pt x="75" y="279"/>
                    </a:moveTo>
                    <a:cubicBezTo>
                      <a:pt x="75" y="279"/>
                      <a:pt x="75" y="279"/>
                      <a:pt x="75" y="279"/>
                    </a:cubicBezTo>
                    <a:cubicBezTo>
                      <a:pt x="75" y="278"/>
                      <a:pt x="75" y="278"/>
                      <a:pt x="75" y="278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75" y="279"/>
                      <a:pt x="75" y="279"/>
                      <a:pt x="75" y="279"/>
                    </a:cubicBezTo>
                    <a:close/>
                    <a:moveTo>
                      <a:pt x="77" y="279"/>
                    </a:moveTo>
                    <a:cubicBezTo>
                      <a:pt x="78" y="279"/>
                      <a:pt x="78" y="279"/>
                      <a:pt x="78" y="279"/>
                    </a:cubicBezTo>
                    <a:cubicBezTo>
                      <a:pt x="78" y="279"/>
                      <a:pt x="78" y="279"/>
                      <a:pt x="78" y="279"/>
                    </a:cubicBezTo>
                    <a:cubicBezTo>
                      <a:pt x="77" y="278"/>
                      <a:pt x="77" y="278"/>
                      <a:pt x="77" y="278"/>
                    </a:cubicBezTo>
                    <a:cubicBezTo>
                      <a:pt x="77" y="279"/>
                      <a:pt x="77" y="279"/>
                      <a:pt x="77" y="279"/>
                    </a:cubicBezTo>
                    <a:close/>
                    <a:moveTo>
                      <a:pt x="76" y="281"/>
                    </a:moveTo>
                    <a:cubicBezTo>
                      <a:pt x="77" y="281"/>
                      <a:pt x="77" y="281"/>
                      <a:pt x="77" y="281"/>
                    </a:cubicBezTo>
                    <a:cubicBezTo>
                      <a:pt x="77" y="280"/>
                      <a:pt x="77" y="280"/>
                      <a:pt x="77" y="280"/>
                    </a:cubicBezTo>
                    <a:cubicBezTo>
                      <a:pt x="77" y="280"/>
                      <a:pt x="77" y="280"/>
                      <a:pt x="77" y="280"/>
                    </a:cubicBezTo>
                    <a:cubicBezTo>
                      <a:pt x="76" y="281"/>
                      <a:pt x="76" y="281"/>
                      <a:pt x="76" y="281"/>
                    </a:cubicBezTo>
                    <a:close/>
                    <a:moveTo>
                      <a:pt x="78" y="285"/>
                    </a:moveTo>
                    <a:cubicBezTo>
                      <a:pt x="78" y="284"/>
                      <a:pt x="78" y="284"/>
                      <a:pt x="78" y="284"/>
                    </a:cubicBezTo>
                    <a:cubicBezTo>
                      <a:pt x="77" y="284"/>
                      <a:pt x="77" y="284"/>
                      <a:pt x="77" y="284"/>
                    </a:cubicBezTo>
                    <a:cubicBezTo>
                      <a:pt x="76" y="284"/>
                      <a:pt x="76" y="284"/>
                      <a:pt x="76" y="284"/>
                    </a:cubicBezTo>
                    <a:cubicBezTo>
                      <a:pt x="76" y="285"/>
                      <a:pt x="76" y="285"/>
                      <a:pt x="76" y="285"/>
                    </a:cubicBezTo>
                    <a:cubicBezTo>
                      <a:pt x="78" y="285"/>
                      <a:pt x="78" y="285"/>
                      <a:pt x="78" y="285"/>
                    </a:cubicBezTo>
                    <a:close/>
                    <a:moveTo>
                      <a:pt x="79" y="286"/>
                    </a:moveTo>
                    <a:cubicBezTo>
                      <a:pt x="80" y="286"/>
                      <a:pt x="80" y="286"/>
                      <a:pt x="80" y="286"/>
                    </a:cubicBezTo>
                    <a:cubicBezTo>
                      <a:pt x="81" y="285"/>
                      <a:pt x="81" y="285"/>
                      <a:pt x="81" y="285"/>
                    </a:cubicBezTo>
                    <a:cubicBezTo>
                      <a:pt x="80" y="285"/>
                      <a:pt x="80" y="285"/>
                      <a:pt x="80" y="285"/>
                    </a:cubicBezTo>
                    <a:cubicBezTo>
                      <a:pt x="78" y="286"/>
                      <a:pt x="78" y="286"/>
                      <a:pt x="78" y="286"/>
                    </a:cubicBezTo>
                    <a:cubicBezTo>
                      <a:pt x="78" y="286"/>
                      <a:pt x="79" y="286"/>
                      <a:pt x="79" y="286"/>
                    </a:cubicBezTo>
                    <a:close/>
                    <a:moveTo>
                      <a:pt x="73" y="291"/>
                    </a:moveTo>
                    <a:cubicBezTo>
                      <a:pt x="75" y="291"/>
                      <a:pt x="75" y="291"/>
                      <a:pt x="75" y="291"/>
                    </a:cubicBezTo>
                    <a:cubicBezTo>
                      <a:pt x="75" y="291"/>
                      <a:pt x="75" y="291"/>
                      <a:pt x="75" y="291"/>
                    </a:cubicBezTo>
                    <a:cubicBezTo>
                      <a:pt x="75" y="290"/>
                      <a:pt x="75" y="290"/>
                      <a:pt x="75" y="290"/>
                    </a:cubicBezTo>
                    <a:cubicBezTo>
                      <a:pt x="73" y="290"/>
                      <a:pt x="73" y="290"/>
                      <a:pt x="73" y="290"/>
                    </a:cubicBezTo>
                    <a:cubicBezTo>
                      <a:pt x="72" y="291"/>
                      <a:pt x="72" y="291"/>
                      <a:pt x="72" y="291"/>
                    </a:cubicBezTo>
                    <a:cubicBezTo>
                      <a:pt x="73" y="291"/>
                      <a:pt x="73" y="291"/>
                      <a:pt x="73" y="291"/>
                    </a:cubicBezTo>
                    <a:close/>
                    <a:moveTo>
                      <a:pt x="76" y="295"/>
                    </a:moveTo>
                    <a:cubicBezTo>
                      <a:pt x="79" y="292"/>
                      <a:pt x="79" y="292"/>
                      <a:pt x="79" y="292"/>
                    </a:cubicBezTo>
                    <a:cubicBezTo>
                      <a:pt x="81" y="290"/>
                      <a:pt x="81" y="290"/>
                      <a:pt x="81" y="290"/>
                    </a:cubicBezTo>
                    <a:cubicBezTo>
                      <a:pt x="81" y="289"/>
                      <a:pt x="81" y="289"/>
                      <a:pt x="81" y="289"/>
                    </a:cubicBezTo>
                    <a:cubicBezTo>
                      <a:pt x="79" y="289"/>
                      <a:pt x="79" y="289"/>
                      <a:pt x="79" y="289"/>
                    </a:cubicBezTo>
                    <a:cubicBezTo>
                      <a:pt x="78" y="291"/>
                      <a:pt x="78" y="291"/>
                      <a:pt x="78" y="291"/>
                    </a:cubicBezTo>
                    <a:cubicBezTo>
                      <a:pt x="77" y="291"/>
                      <a:pt x="77" y="291"/>
                      <a:pt x="77" y="291"/>
                    </a:cubicBezTo>
                    <a:cubicBezTo>
                      <a:pt x="76" y="292"/>
                      <a:pt x="76" y="292"/>
                      <a:pt x="76" y="292"/>
                    </a:cubicBezTo>
                    <a:cubicBezTo>
                      <a:pt x="75" y="293"/>
                      <a:pt x="75" y="293"/>
                      <a:pt x="75" y="293"/>
                    </a:cubicBezTo>
                    <a:cubicBezTo>
                      <a:pt x="75" y="294"/>
                      <a:pt x="75" y="294"/>
                      <a:pt x="75" y="294"/>
                    </a:cubicBezTo>
                    <a:cubicBezTo>
                      <a:pt x="75" y="295"/>
                      <a:pt x="75" y="295"/>
                      <a:pt x="75" y="295"/>
                    </a:cubicBezTo>
                    <a:cubicBezTo>
                      <a:pt x="76" y="295"/>
                      <a:pt x="76" y="295"/>
                      <a:pt x="76" y="295"/>
                    </a:cubicBezTo>
                    <a:cubicBezTo>
                      <a:pt x="76" y="295"/>
                      <a:pt x="76" y="295"/>
                      <a:pt x="76" y="295"/>
                    </a:cubicBezTo>
                    <a:close/>
                    <a:moveTo>
                      <a:pt x="79" y="294"/>
                    </a:moveTo>
                    <a:cubicBezTo>
                      <a:pt x="80" y="294"/>
                      <a:pt x="80" y="294"/>
                      <a:pt x="80" y="294"/>
                    </a:cubicBezTo>
                    <a:cubicBezTo>
                      <a:pt x="81" y="293"/>
                      <a:pt x="81" y="293"/>
                      <a:pt x="81" y="293"/>
                    </a:cubicBezTo>
                    <a:cubicBezTo>
                      <a:pt x="81" y="293"/>
                      <a:pt x="81" y="293"/>
                      <a:pt x="81" y="293"/>
                    </a:cubicBezTo>
                    <a:cubicBezTo>
                      <a:pt x="79" y="294"/>
                      <a:pt x="79" y="294"/>
                      <a:pt x="79" y="294"/>
                    </a:cubicBezTo>
                    <a:close/>
                    <a:moveTo>
                      <a:pt x="78" y="296"/>
                    </a:moveTo>
                    <a:cubicBezTo>
                      <a:pt x="79" y="296"/>
                      <a:pt x="79" y="296"/>
                      <a:pt x="79" y="296"/>
                    </a:cubicBezTo>
                    <a:cubicBezTo>
                      <a:pt x="79" y="295"/>
                      <a:pt x="79" y="295"/>
                      <a:pt x="79" y="295"/>
                    </a:cubicBezTo>
                    <a:cubicBezTo>
                      <a:pt x="78" y="295"/>
                      <a:pt x="78" y="295"/>
                      <a:pt x="78" y="295"/>
                    </a:cubicBezTo>
                    <a:cubicBezTo>
                      <a:pt x="78" y="296"/>
                      <a:pt x="78" y="296"/>
                      <a:pt x="78" y="296"/>
                    </a:cubicBezTo>
                    <a:close/>
                    <a:moveTo>
                      <a:pt x="75" y="297"/>
                    </a:moveTo>
                    <a:cubicBezTo>
                      <a:pt x="76" y="296"/>
                      <a:pt x="76" y="296"/>
                      <a:pt x="76" y="296"/>
                    </a:cubicBezTo>
                    <a:cubicBezTo>
                      <a:pt x="76" y="295"/>
                      <a:pt x="76" y="295"/>
                      <a:pt x="76" y="295"/>
                    </a:cubicBezTo>
                    <a:cubicBezTo>
                      <a:pt x="75" y="296"/>
                      <a:pt x="75" y="296"/>
                      <a:pt x="75" y="296"/>
                    </a:cubicBezTo>
                    <a:cubicBezTo>
                      <a:pt x="75" y="297"/>
                      <a:pt x="75" y="297"/>
                      <a:pt x="75" y="297"/>
                    </a:cubicBezTo>
                    <a:cubicBezTo>
                      <a:pt x="75" y="297"/>
                      <a:pt x="75" y="297"/>
                      <a:pt x="75" y="297"/>
                    </a:cubicBezTo>
                    <a:close/>
                    <a:moveTo>
                      <a:pt x="72" y="303"/>
                    </a:moveTo>
                    <a:cubicBezTo>
                      <a:pt x="72" y="305"/>
                      <a:pt x="72" y="305"/>
                      <a:pt x="72" y="305"/>
                    </a:cubicBezTo>
                    <a:cubicBezTo>
                      <a:pt x="73" y="305"/>
                      <a:pt x="73" y="305"/>
                      <a:pt x="73" y="305"/>
                    </a:cubicBezTo>
                    <a:cubicBezTo>
                      <a:pt x="75" y="303"/>
                      <a:pt x="75" y="303"/>
                      <a:pt x="75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6" y="301"/>
                      <a:pt x="76" y="301"/>
                      <a:pt x="76" y="301"/>
                    </a:cubicBezTo>
                    <a:cubicBezTo>
                      <a:pt x="75" y="302"/>
                      <a:pt x="75" y="302"/>
                      <a:pt x="75" y="302"/>
                    </a:cubicBezTo>
                    <a:cubicBezTo>
                      <a:pt x="73" y="302"/>
                      <a:pt x="73" y="302"/>
                      <a:pt x="73" y="302"/>
                    </a:cubicBezTo>
                    <a:cubicBezTo>
                      <a:pt x="73" y="303"/>
                      <a:pt x="73" y="303"/>
                      <a:pt x="73" y="303"/>
                    </a:cubicBezTo>
                    <a:cubicBezTo>
                      <a:pt x="73" y="303"/>
                      <a:pt x="72" y="304"/>
                      <a:pt x="72" y="303"/>
                    </a:cubicBezTo>
                    <a:close/>
                    <a:moveTo>
                      <a:pt x="71" y="309"/>
                    </a:moveTo>
                    <a:cubicBezTo>
                      <a:pt x="71" y="311"/>
                      <a:pt x="71" y="311"/>
                      <a:pt x="71" y="311"/>
                    </a:cubicBezTo>
                    <a:cubicBezTo>
                      <a:pt x="72" y="311"/>
                      <a:pt x="72" y="311"/>
                      <a:pt x="72" y="311"/>
                    </a:cubicBezTo>
                    <a:cubicBezTo>
                      <a:pt x="73" y="310"/>
                      <a:pt x="73" y="310"/>
                      <a:pt x="73" y="310"/>
                    </a:cubicBezTo>
                    <a:cubicBezTo>
                      <a:pt x="72" y="309"/>
                      <a:pt x="72" y="309"/>
                      <a:pt x="72" y="309"/>
                    </a:cubicBezTo>
                    <a:cubicBezTo>
                      <a:pt x="71" y="309"/>
                      <a:pt x="71" y="309"/>
                      <a:pt x="71" y="309"/>
                    </a:cubicBezTo>
                    <a:close/>
                    <a:moveTo>
                      <a:pt x="113" y="538"/>
                    </a:moveTo>
                    <a:cubicBezTo>
                      <a:pt x="115" y="537"/>
                      <a:pt x="115" y="537"/>
                      <a:pt x="115" y="537"/>
                    </a:cubicBezTo>
                    <a:cubicBezTo>
                      <a:pt x="116" y="536"/>
                      <a:pt x="116" y="536"/>
                      <a:pt x="116" y="536"/>
                    </a:cubicBezTo>
                    <a:cubicBezTo>
                      <a:pt x="117" y="537"/>
                      <a:pt x="117" y="537"/>
                      <a:pt x="117" y="537"/>
                    </a:cubicBezTo>
                    <a:cubicBezTo>
                      <a:pt x="116" y="538"/>
                      <a:pt x="116" y="538"/>
                      <a:pt x="116" y="538"/>
                    </a:cubicBezTo>
                    <a:cubicBezTo>
                      <a:pt x="115" y="538"/>
                      <a:pt x="115" y="538"/>
                      <a:pt x="115" y="538"/>
                    </a:cubicBezTo>
                    <a:cubicBezTo>
                      <a:pt x="114" y="539"/>
                      <a:pt x="114" y="539"/>
                      <a:pt x="114" y="539"/>
                    </a:cubicBezTo>
                    <a:cubicBezTo>
                      <a:pt x="113" y="538"/>
                      <a:pt x="113" y="538"/>
                      <a:pt x="113" y="538"/>
                    </a:cubicBezTo>
                    <a:close/>
                    <a:moveTo>
                      <a:pt x="103" y="532"/>
                    </a:moveTo>
                    <a:cubicBezTo>
                      <a:pt x="104" y="532"/>
                      <a:pt x="104" y="532"/>
                      <a:pt x="104" y="532"/>
                    </a:cubicBezTo>
                    <a:cubicBezTo>
                      <a:pt x="104" y="531"/>
                      <a:pt x="104" y="531"/>
                      <a:pt x="104" y="531"/>
                    </a:cubicBezTo>
                    <a:cubicBezTo>
                      <a:pt x="105" y="530"/>
                      <a:pt x="105" y="530"/>
                      <a:pt x="105" y="530"/>
                    </a:cubicBezTo>
                    <a:cubicBezTo>
                      <a:pt x="105" y="529"/>
                      <a:pt x="105" y="529"/>
                      <a:pt x="105" y="529"/>
                    </a:cubicBezTo>
                    <a:cubicBezTo>
                      <a:pt x="104" y="529"/>
                      <a:pt x="104" y="529"/>
                      <a:pt x="104" y="529"/>
                    </a:cubicBezTo>
                    <a:cubicBezTo>
                      <a:pt x="104" y="529"/>
                      <a:pt x="104" y="529"/>
                      <a:pt x="104" y="529"/>
                    </a:cubicBezTo>
                    <a:cubicBezTo>
                      <a:pt x="103" y="530"/>
                      <a:pt x="103" y="530"/>
                      <a:pt x="103" y="530"/>
                    </a:cubicBezTo>
                    <a:cubicBezTo>
                      <a:pt x="103" y="532"/>
                      <a:pt x="103" y="532"/>
                      <a:pt x="103" y="532"/>
                    </a:cubicBezTo>
                    <a:close/>
                    <a:moveTo>
                      <a:pt x="96" y="519"/>
                    </a:moveTo>
                    <a:cubicBezTo>
                      <a:pt x="96" y="519"/>
                      <a:pt x="96" y="519"/>
                      <a:pt x="96" y="519"/>
                    </a:cubicBezTo>
                    <a:cubicBezTo>
                      <a:pt x="97" y="519"/>
                      <a:pt x="97" y="519"/>
                      <a:pt x="97" y="519"/>
                    </a:cubicBezTo>
                    <a:cubicBezTo>
                      <a:pt x="99" y="519"/>
                      <a:pt x="99" y="519"/>
                      <a:pt x="99" y="519"/>
                    </a:cubicBezTo>
                    <a:cubicBezTo>
                      <a:pt x="98" y="518"/>
                      <a:pt x="98" y="518"/>
                      <a:pt x="98" y="518"/>
                    </a:cubicBezTo>
                    <a:cubicBezTo>
                      <a:pt x="97" y="518"/>
                      <a:pt x="97" y="518"/>
                      <a:pt x="97" y="518"/>
                    </a:cubicBezTo>
                    <a:cubicBezTo>
                      <a:pt x="96" y="519"/>
                      <a:pt x="96" y="519"/>
                      <a:pt x="96" y="519"/>
                    </a:cubicBezTo>
                    <a:close/>
                    <a:moveTo>
                      <a:pt x="92" y="519"/>
                    </a:moveTo>
                    <a:cubicBezTo>
                      <a:pt x="92" y="520"/>
                      <a:pt x="92" y="520"/>
                      <a:pt x="92" y="520"/>
                    </a:cubicBezTo>
                    <a:cubicBezTo>
                      <a:pt x="94" y="520"/>
                      <a:pt x="94" y="520"/>
                      <a:pt x="94" y="520"/>
                    </a:cubicBezTo>
                    <a:cubicBezTo>
                      <a:pt x="94" y="519"/>
                      <a:pt x="94" y="519"/>
                      <a:pt x="94" y="519"/>
                    </a:cubicBezTo>
                    <a:cubicBezTo>
                      <a:pt x="93" y="518"/>
                      <a:pt x="93" y="518"/>
                      <a:pt x="93" y="518"/>
                    </a:cubicBezTo>
                    <a:cubicBezTo>
                      <a:pt x="92" y="519"/>
                      <a:pt x="92" y="519"/>
                      <a:pt x="92" y="519"/>
                    </a:cubicBezTo>
                    <a:close/>
                    <a:moveTo>
                      <a:pt x="82" y="520"/>
                    </a:moveTo>
                    <a:cubicBezTo>
                      <a:pt x="82" y="520"/>
                      <a:pt x="82" y="520"/>
                      <a:pt x="82" y="520"/>
                    </a:cubicBezTo>
                    <a:cubicBezTo>
                      <a:pt x="83" y="521"/>
                      <a:pt x="83" y="521"/>
                      <a:pt x="83" y="521"/>
                    </a:cubicBezTo>
                    <a:cubicBezTo>
                      <a:pt x="83" y="522"/>
                      <a:pt x="83" y="522"/>
                      <a:pt x="83" y="522"/>
                    </a:cubicBezTo>
                    <a:cubicBezTo>
                      <a:pt x="84" y="521"/>
                      <a:pt x="84" y="521"/>
                      <a:pt x="84" y="521"/>
                    </a:cubicBezTo>
                    <a:cubicBezTo>
                      <a:pt x="84" y="520"/>
                      <a:pt x="84" y="520"/>
                      <a:pt x="84" y="520"/>
                    </a:cubicBezTo>
                    <a:cubicBezTo>
                      <a:pt x="82" y="519"/>
                      <a:pt x="82" y="519"/>
                      <a:pt x="82" y="519"/>
                    </a:cubicBezTo>
                    <a:cubicBezTo>
                      <a:pt x="82" y="520"/>
                      <a:pt x="82" y="520"/>
                      <a:pt x="82" y="520"/>
                    </a:cubicBezTo>
                    <a:close/>
                    <a:moveTo>
                      <a:pt x="68" y="459"/>
                    </a:moveTo>
                    <a:cubicBezTo>
                      <a:pt x="69" y="459"/>
                      <a:pt x="69" y="459"/>
                      <a:pt x="69" y="459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56"/>
                      <a:pt x="72" y="456"/>
                      <a:pt x="72" y="456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70" y="457"/>
                      <a:pt x="70" y="457"/>
                      <a:pt x="70" y="457"/>
                    </a:cubicBezTo>
                    <a:cubicBezTo>
                      <a:pt x="68" y="459"/>
                      <a:pt x="68" y="459"/>
                      <a:pt x="68" y="459"/>
                    </a:cubicBezTo>
                    <a:close/>
                    <a:moveTo>
                      <a:pt x="68" y="457"/>
                    </a:moveTo>
                    <a:cubicBezTo>
                      <a:pt x="68" y="457"/>
                      <a:pt x="68" y="458"/>
                      <a:pt x="68" y="458"/>
                    </a:cubicBezTo>
                    <a:cubicBezTo>
                      <a:pt x="69" y="457"/>
                      <a:pt x="69" y="457"/>
                      <a:pt x="69" y="457"/>
                    </a:cubicBezTo>
                    <a:cubicBezTo>
                      <a:pt x="70" y="457"/>
                      <a:pt x="70" y="457"/>
                      <a:pt x="70" y="457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68" y="457"/>
                      <a:pt x="68" y="457"/>
                      <a:pt x="68" y="457"/>
                    </a:cubicBezTo>
                    <a:close/>
                    <a:moveTo>
                      <a:pt x="60" y="437"/>
                    </a:moveTo>
                    <a:cubicBezTo>
                      <a:pt x="59" y="438"/>
                      <a:pt x="59" y="438"/>
                      <a:pt x="59" y="438"/>
                    </a:cubicBezTo>
                    <a:cubicBezTo>
                      <a:pt x="60" y="438"/>
                      <a:pt x="60" y="438"/>
                      <a:pt x="60" y="438"/>
                    </a:cubicBezTo>
                    <a:cubicBezTo>
                      <a:pt x="62" y="438"/>
                      <a:pt x="62" y="438"/>
                      <a:pt x="62" y="438"/>
                    </a:cubicBezTo>
                    <a:cubicBezTo>
                      <a:pt x="61" y="437"/>
                      <a:pt x="61" y="437"/>
                      <a:pt x="61" y="437"/>
                    </a:cubicBezTo>
                    <a:cubicBezTo>
                      <a:pt x="61" y="437"/>
                      <a:pt x="61" y="437"/>
                      <a:pt x="61" y="437"/>
                    </a:cubicBezTo>
                    <a:cubicBezTo>
                      <a:pt x="60" y="437"/>
                      <a:pt x="60" y="437"/>
                      <a:pt x="60" y="437"/>
                    </a:cubicBezTo>
                    <a:close/>
                    <a:moveTo>
                      <a:pt x="59" y="434"/>
                    </a:moveTo>
                    <a:cubicBezTo>
                      <a:pt x="60" y="435"/>
                      <a:pt x="60" y="435"/>
                      <a:pt x="60" y="435"/>
                    </a:cubicBezTo>
                    <a:cubicBezTo>
                      <a:pt x="61" y="436"/>
                      <a:pt x="61" y="436"/>
                      <a:pt x="61" y="436"/>
                    </a:cubicBezTo>
                    <a:cubicBezTo>
                      <a:pt x="61" y="434"/>
                      <a:pt x="61" y="434"/>
                      <a:pt x="61" y="434"/>
                    </a:cubicBezTo>
                    <a:cubicBezTo>
                      <a:pt x="60" y="434"/>
                      <a:pt x="60" y="434"/>
                      <a:pt x="60" y="434"/>
                    </a:cubicBezTo>
                    <a:cubicBezTo>
                      <a:pt x="59" y="434"/>
                      <a:pt x="59" y="434"/>
                      <a:pt x="59" y="434"/>
                    </a:cubicBezTo>
                    <a:close/>
                    <a:moveTo>
                      <a:pt x="60" y="415"/>
                    </a:moveTo>
                    <a:cubicBezTo>
                      <a:pt x="62" y="415"/>
                      <a:pt x="62" y="415"/>
                      <a:pt x="62" y="415"/>
                    </a:cubicBezTo>
                    <a:cubicBezTo>
                      <a:pt x="63" y="415"/>
                      <a:pt x="63" y="415"/>
                      <a:pt x="63" y="415"/>
                    </a:cubicBezTo>
                    <a:cubicBezTo>
                      <a:pt x="62" y="414"/>
                      <a:pt x="62" y="414"/>
                      <a:pt x="62" y="414"/>
                    </a:cubicBezTo>
                    <a:cubicBezTo>
                      <a:pt x="60" y="415"/>
                      <a:pt x="60" y="415"/>
                      <a:pt x="60" y="415"/>
                    </a:cubicBezTo>
                    <a:close/>
                    <a:moveTo>
                      <a:pt x="61" y="413"/>
                    </a:moveTo>
                    <a:cubicBezTo>
                      <a:pt x="62" y="414"/>
                      <a:pt x="62" y="414"/>
                      <a:pt x="62" y="414"/>
                    </a:cubicBezTo>
                    <a:cubicBezTo>
                      <a:pt x="63" y="414"/>
                      <a:pt x="63" y="414"/>
                      <a:pt x="63" y="414"/>
                    </a:cubicBezTo>
                    <a:cubicBezTo>
                      <a:pt x="65" y="413"/>
                      <a:pt x="65" y="413"/>
                      <a:pt x="65" y="413"/>
                    </a:cubicBezTo>
                    <a:cubicBezTo>
                      <a:pt x="63" y="412"/>
                      <a:pt x="63" y="412"/>
                      <a:pt x="63" y="412"/>
                    </a:cubicBezTo>
                    <a:cubicBezTo>
                      <a:pt x="61" y="413"/>
                      <a:pt x="61" y="413"/>
                      <a:pt x="61" y="413"/>
                    </a:cubicBezTo>
                    <a:cubicBezTo>
                      <a:pt x="61" y="413"/>
                      <a:pt x="61" y="413"/>
                      <a:pt x="61" y="413"/>
                    </a:cubicBezTo>
                    <a:close/>
                    <a:moveTo>
                      <a:pt x="58" y="412"/>
                    </a:moveTo>
                    <a:cubicBezTo>
                      <a:pt x="58" y="413"/>
                      <a:pt x="58" y="413"/>
                      <a:pt x="58" y="413"/>
                    </a:cubicBezTo>
                    <a:cubicBezTo>
                      <a:pt x="59" y="413"/>
                      <a:pt x="59" y="413"/>
                      <a:pt x="59" y="413"/>
                    </a:cubicBezTo>
                    <a:cubicBezTo>
                      <a:pt x="59" y="412"/>
                      <a:pt x="59" y="412"/>
                      <a:pt x="59" y="412"/>
                    </a:cubicBezTo>
                    <a:cubicBezTo>
                      <a:pt x="58" y="412"/>
                      <a:pt x="58" y="412"/>
                      <a:pt x="58" y="412"/>
                    </a:cubicBezTo>
                    <a:cubicBezTo>
                      <a:pt x="58" y="412"/>
                      <a:pt x="58" y="412"/>
                      <a:pt x="58" y="412"/>
                    </a:cubicBezTo>
                    <a:close/>
                    <a:moveTo>
                      <a:pt x="63" y="395"/>
                    </a:moveTo>
                    <a:cubicBezTo>
                      <a:pt x="62" y="396"/>
                      <a:pt x="62" y="396"/>
                      <a:pt x="62" y="396"/>
                    </a:cubicBezTo>
                    <a:cubicBezTo>
                      <a:pt x="63" y="396"/>
                      <a:pt x="63" y="396"/>
                      <a:pt x="63" y="396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5"/>
                      <a:pt x="65" y="395"/>
                      <a:pt x="65" y="395"/>
                    </a:cubicBezTo>
                    <a:cubicBezTo>
                      <a:pt x="65" y="394"/>
                      <a:pt x="65" y="394"/>
                      <a:pt x="65" y="394"/>
                    </a:cubicBezTo>
                    <a:cubicBezTo>
                      <a:pt x="64" y="394"/>
                      <a:pt x="64" y="394"/>
                      <a:pt x="64" y="394"/>
                    </a:cubicBezTo>
                    <a:cubicBezTo>
                      <a:pt x="63" y="395"/>
                      <a:pt x="63" y="395"/>
                      <a:pt x="63" y="395"/>
                    </a:cubicBezTo>
                    <a:close/>
                    <a:moveTo>
                      <a:pt x="78" y="388"/>
                    </a:moveTo>
                    <a:cubicBezTo>
                      <a:pt x="80" y="389"/>
                      <a:pt x="80" y="389"/>
                      <a:pt x="80" y="389"/>
                    </a:cubicBezTo>
                    <a:cubicBezTo>
                      <a:pt x="82" y="389"/>
                      <a:pt x="82" y="389"/>
                      <a:pt x="82" y="389"/>
                    </a:cubicBezTo>
                    <a:cubicBezTo>
                      <a:pt x="82" y="388"/>
                      <a:pt x="82" y="388"/>
                      <a:pt x="82" y="388"/>
                    </a:cubicBezTo>
                    <a:cubicBezTo>
                      <a:pt x="80" y="387"/>
                      <a:pt x="80" y="387"/>
                      <a:pt x="80" y="387"/>
                    </a:cubicBezTo>
                    <a:cubicBezTo>
                      <a:pt x="78" y="388"/>
                      <a:pt x="78" y="388"/>
                      <a:pt x="78" y="388"/>
                    </a:cubicBezTo>
                    <a:cubicBezTo>
                      <a:pt x="78" y="388"/>
                      <a:pt x="78" y="388"/>
                      <a:pt x="78" y="388"/>
                    </a:cubicBezTo>
                    <a:close/>
                    <a:moveTo>
                      <a:pt x="72" y="379"/>
                    </a:moveTo>
                    <a:cubicBezTo>
                      <a:pt x="72" y="380"/>
                      <a:pt x="72" y="380"/>
                      <a:pt x="72" y="380"/>
                    </a:cubicBezTo>
                    <a:cubicBezTo>
                      <a:pt x="72" y="381"/>
                      <a:pt x="72" y="381"/>
                      <a:pt x="72" y="381"/>
                    </a:cubicBezTo>
                    <a:cubicBezTo>
                      <a:pt x="75" y="380"/>
                      <a:pt x="75" y="380"/>
                      <a:pt x="75" y="380"/>
                    </a:cubicBezTo>
                    <a:cubicBezTo>
                      <a:pt x="75" y="379"/>
                      <a:pt x="75" y="379"/>
                      <a:pt x="75" y="379"/>
                    </a:cubicBezTo>
                    <a:cubicBezTo>
                      <a:pt x="73" y="379"/>
                      <a:pt x="73" y="379"/>
                      <a:pt x="73" y="379"/>
                    </a:cubicBezTo>
                    <a:cubicBezTo>
                      <a:pt x="72" y="379"/>
                      <a:pt x="72" y="379"/>
                      <a:pt x="72" y="379"/>
                    </a:cubicBezTo>
                    <a:close/>
                    <a:moveTo>
                      <a:pt x="80" y="379"/>
                    </a:moveTo>
                    <a:cubicBezTo>
                      <a:pt x="80" y="380"/>
                      <a:pt x="80" y="380"/>
                      <a:pt x="80" y="380"/>
                    </a:cubicBezTo>
                    <a:cubicBezTo>
                      <a:pt x="82" y="380"/>
                      <a:pt x="82" y="380"/>
                      <a:pt x="82" y="380"/>
                    </a:cubicBezTo>
                    <a:cubicBezTo>
                      <a:pt x="83" y="379"/>
                      <a:pt x="83" y="379"/>
                      <a:pt x="83" y="379"/>
                    </a:cubicBezTo>
                    <a:cubicBezTo>
                      <a:pt x="81" y="378"/>
                      <a:pt x="81" y="378"/>
                      <a:pt x="81" y="378"/>
                    </a:cubicBezTo>
                    <a:cubicBezTo>
                      <a:pt x="80" y="379"/>
                      <a:pt x="80" y="379"/>
                      <a:pt x="80" y="379"/>
                    </a:cubicBezTo>
                    <a:close/>
                    <a:moveTo>
                      <a:pt x="75" y="378"/>
                    </a:moveTo>
                    <a:cubicBezTo>
                      <a:pt x="78" y="379"/>
                      <a:pt x="78" y="379"/>
                      <a:pt x="78" y="379"/>
                    </a:cubicBezTo>
                    <a:cubicBezTo>
                      <a:pt x="79" y="378"/>
                      <a:pt x="79" y="378"/>
                      <a:pt x="79" y="378"/>
                    </a:cubicBezTo>
                    <a:cubicBezTo>
                      <a:pt x="80" y="377"/>
                      <a:pt x="80" y="377"/>
                      <a:pt x="80" y="377"/>
                    </a:cubicBezTo>
                    <a:cubicBezTo>
                      <a:pt x="79" y="377"/>
                      <a:pt x="79" y="377"/>
                      <a:pt x="79" y="377"/>
                    </a:cubicBezTo>
                    <a:cubicBezTo>
                      <a:pt x="77" y="376"/>
                      <a:pt x="77" y="376"/>
                      <a:pt x="77" y="376"/>
                    </a:cubicBezTo>
                    <a:cubicBezTo>
                      <a:pt x="76" y="377"/>
                      <a:pt x="76" y="377"/>
                      <a:pt x="76" y="377"/>
                    </a:cubicBezTo>
                    <a:cubicBezTo>
                      <a:pt x="75" y="378"/>
                      <a:pt x="75" y="378"/>
                      <a:pt x="75" y="378"/>
                    </a:cubicBezTo>
                    <a:close/>
                    <a:moveTo>
                      <a:pt x="92" y="339"/>
                    </a:moveTo>
                    <a:cubicBezTo>
                      <a:pt x="93" y="340"/>
                      <a:pt x="93" y="340"/>
                      <a:pt x="93" y="340"/>
                    </a:cubicBezTo>
                    <a:cubicBezTo>
                      <a:pt x="94" y="341"/>
                      <a:pt x="94" y="341"/>
                      <a:pt x="94" y="341"/>
                    </a:cubicBezTo>
                    <a:cubicBezTo>
                      <a:pt x="94" y="340"/>
                      <a:pt x="94" y="340"/>
                      <a:pt x="94" y="340"/>
                    </a:cubicBezTo>
                    <a:cubicBezTo>
                      <a:pt x="93" y="339"/>
                      <a:pt x="93" y="339"/>
                      <a:pt x="93" y="339"/>
                    </a:cubicBezTo>
                    <a:cubicBezTo>
                      <a:pt x="92" y="339"/>
                      <a:pt x="92" y="339"/>
                      <a:pt x="92" y="339"/>
                    </a:cubicBezTo>
                    <a:close/>
                    <a:moveTo>
                      <a:pt x="91" y="334"/>
                    </a:moveTo>
                    <a:cubicBezTo>
                      <a:pt x="91" y="335"/>
                      <a:pt x="91" y="335"/>
                      <a:pt x="91" y="335"/>
                    </a:cubicBezTo>
                    <a:cubicBezTo>
                      <a:pt x="93" y="337"/>
                      <a:pt x="93" y="337"/>
                      <a:pt x="93" y="337"/>
                    </a:cubicBezTo>
                    <a:cubicBezTo>
                      <a:pt x="93" y="336"/>
                      <a:pt x="93" y="336"/>
                      <a:pt x="93" y="336"/>
                    </a:cubicBezTo>
                    <a:cubicBezTo>
                      <a:pt x="93" y="335"/>
                      <a:pt x="93" y="335"/>
                      <a:pt x="93" y="335"/>
                    </a:cubicBezTo>
                    <a:cubicBezTo>
                      <a:pt x="93" y="335"/>
                      <a:pt x="91" y="334"/>
                      <a:pt x="91" y="334"/>
                    </a:cubicBezTo>
                    <a:close/>
                    <a:moveTo>
                      <a:pt x="86" y="321"/>
                    </a:moveTo>
                    <a:cubicBezTo>
                      <a:pt x="87" y="321"/>
                      <a:pt x="87" y="321"/>
                      <a:pt x="87" y="321"/>
                    </a:cubicBezTo>
                    <a:cubicBezTo>
                      <a:pt x="89" y="320"/>
                      <a:pt x="89" y="320"/>
                      <a:pt x="89" y="320"/>
                    </a:cubicBezTo>
                    <a:cubicBezTo>
                      <a:pt x="90" y="319"/>
                      <a:pt x="90" y="319"/>
                      <a:pt x="90" y="319"/>
                    </a:cubicBezTo>
                    <a:cubicBezTo>
                      <a:pt x="90" y="318"/>
                      <a:pt x="90" y="318"/>
                      <a:pt x="90" y="318"/>
                    </a:cubicBezTo>
                    <a:cubicBezTo>
                      <a:pt x="88" y="318"/>
                      <a:pt x="88" y="318"/>
                      <a:pt x="88" y="318"/>
                    </a:cubicBezTo>
                    <a:cubicBezTo>
                      <a:pt x="87" y="317"/>
                      <a:pt x="87" y="317"/>
                      <a:pt x="87" y="317"/>
                    </a:cubicBezTo>
                    <a:cubicBezTo>
                      <a:pt x="86" y="318"/>
                      <a:pt x="86" y="318"/>
                      <a:pt x="86" y="318"/>
                    </a:cubicBezTo>
                    <a:cubicBezTo>
                      <a:pt x="85" y="320"/>
                      <a:pt x="85" y="320"/>
                      <a:pt x="85" y="320"/>
                    </a:cubicBezTo>
                    <a:cubicBezTo>
                      <a:pt x="86" y="321"/>
                      <a:pt x="86" y="321"/>
                      <a:pt x="86" y="321"/>
                    </a:cubicBezTo>
                    <a:close/>
                    <a:moveTo>
                      <a:pt x="86" y="329"/>
                    </a:moveTo>
                    <a:cubicBezTo>
                      <a:pt x="87" y="329"/>
                      <a:pt x="87" y="329"/>
                      <a:pt x="87" y="329"/>
                    </a:cubicBezTo>
                    <a:cubicBezTo>
                      <a:pt x="89" y="329"/>
                      <a:pt x="89" y="329"/>
                      <a:pt x="89" y="329"/>
                    </a:cubicBezTo>
                    <a:cubicBezTo>
                      <a:pt x="90" y="327"/>
                      <a:pt x="90" y="327"/>
                      <a:pt x="90" y="327"/>
                    </a:cubicBezTo>
                    <a:cubicBezTo>
                      <a:pt x="90" y="325"/>
                      <a:pt x="90" y="325"/>
                      <a:pt x="90" y="325"/>
                    </a:cubicBezTo>
                    <a:cubicBezTo>
                      <a:pt x="88" y="325"/>
                      <a:pt x="88" y="325"/>
                      <a:pt x="88" y="325"/>
                    </a:cubicBezTo>
                    <a:cubicBezTo>
                      <a:pt x="87" y="325"/>
                      <a:pt x="87" y="325"/>
                      <a:pt x="87" y="325"/>
                    </a:cubicBezTo>
                    <a:cubicBezTo>
                      <a:pt x="86" y="329"/>
                      <a:pt x="86" y="329"/>
                      <a:pt x="86" y="329"/>
                    </a:cubicBezTo>
                    <a:close/>
                    <a:moveTo>
                      <a:pt x="80" y="329"/>
                    </a:moveTo>
                    <a:cubicBezTo>
                      <a:pt x="82" y="330"/>
                      <a:pt x="82" y="330"/>
                      <a:pt x="82" y="330"/>
                    </a:cubicBezTo>
                    <a:cubicBezTo>
                      <a:pt x="83" y="328"/>
                      <a:pt x="83" y="328"/>
                      <a:pt x="83" y="328"/>
                    </a:cubicBezTo>
                    <a:cubicBezTo>
                      <a:pt x="83" y="327"/>
                      <a:pt x="83" y="327"/>
                      <a:pt x="83" y="327"/>
                    </a:cubicBezTo>
                    <a:cubicBezTo>
                      <a:pt x="83" y="324"/>
                      <a:pt x="83" y="324"/>
                      <a:pt x="83" y="324"/>
                    </a:cubicBezTo>
                    <a:cubicBezTo>
                      <a:pt x="81" y="326"/>
                      <a:pt x="81" y="326"/>
                      <a:pt x="81" y="326"/>
                    </a:cubicBezTo>
                    <a:cubicBezTo>
                      <a:pt x="80" y="327"/>
                      <a:pt x="80" y="327"/>
                      <a:pt x="80" y="327"/>
                    </a:cubicBezTo>
                    <a:cubicBezTo>
                      <a:pt x="80" y="329"/>
                      <a:pt x="80" y="329"/>
                      <a:pt x="80" y="329"/>
                    </a:cubicBezTo>
                    <a:close/>
                    <a:moveTo>
                      <a:pt x="68" y="338"/>
                    </a:moveTo>
                    <a:cubicBezTo>
                      <a:pt x="68" y="339"/>
                      <a:pt x="68" y="339"/>
                      <a:pt x="68" y="339"/>
                    </a:cubicBezTo>
                    <a:cubicBezTo>
                      <a:pt x="69" y="341"/>
                      <a:pt x="69" y="341"/>
                      <a:pt x="69" y="341"/>
                    </a:cubicBezTo>
                    <a:cubicBezTo>
                      <a:pt x="70" y="341"/>
                      <a:pt x="70" y="341"/>
                      <a:pt x="70" y="341"/>
                    </a:cubicBezTo>
                    <a:cubicBezTo>
                      <a:pt x="70" y="340"/>
                      <a:pt x="70" y="340"/>
                      <a:pt x="70" y="340"/>
                    </a:cubicBezTo>
                    <a:cubicBezTo>
                      <a:pt x="69" y="338"/>
                      <a:pt x="69" y="338"/>
                      <a:pt x="69" y="338"/>
                    </a:cubicBezTo>
                    <a:cubicBezTo>
                      <a:pt x="68" y="338"/>
                      <a:pt x="68" y="338"/>
                      <a:pt x="68" y="338"/>
                    </a:cubicBezTo>
                    <a:close/>
                    <a:moveTo>
                      <a:pt x="91" y="357"/>
                    </a:moveTo>
                    <a:cubicBezTo>
                      <a:pt x="91" y="358"/>
                      <a:pt x="91" y="358"/>
                      <a:pt x="91" y="358"/>
                    </a:cubicBezTo>
                    <a:cubicBezTo>
                      <a:pt x="92" y="358"/>
                      <a:pt x="92" y="358"/>
                      <a:pt x="92" y="358"/>
                    </a:cubicBezTo>
                    <a:cubicBezTo>
                      <a:pt x="92" y="359"/>
                      <a:pt x="92" y="359"/>
                      <a:pt x="92" y="359"/>
                    </a:cubicBezTo>
                    <a:cubicBezTo>
                      <a:pt x="92" y="361"/>
                      <a:pt x="92" y="361"/>
                      <a:pt x="92" y="361"/>
                    </a:cubicBezTo>
                    <a:cubicBezTo>
                      <a:pt x="92" y="362"/>
                      <a:pt x="92" y="362"/>
                      <a:pt x="92" y="362"/>
                    </a:cubicBezTo>
                    <a:cubicBezTo>
                      <a:pt x="93" y="361"/>
                      <a:pt x="93" y="361"/>
                      <a:pt x="93" y="361"/>
                    </a:cubicBezTo>
                    <a:cubicBezTo>
                      <a:pt x="94" y="358"/>
                      <a:pt x="94" y="358"/>
                      <a:pt x="94" y="358"/>
                    </a:cubicBezTo>
                    <a:cubicBezTo>
                      <a:pt x="96" y="356"/>
                      <a:pt x="96" y="356"/>
                      <a:pt x="96" y="356"/>
                    </a:cubicBezTo>
                    <a:cubicBezTo>
                      <a:pt x="95" y="356"/>
                      <a:pt x="95" y="356"/>
                      <a:pt x="95" y="356"/>
                    </a:cubicBezTo>
                    <a:cubicBezTo>
                      <a:pt x="94" y="356"/>
                      <a:pt x="94" y="356"/>
                      <a:pt x="94" y="356"/>
                    </a:cubicBezTo>
                    <a:cubicBezTo>
                      <a:pt x="92" y="356"/>
                      <a:pt x="92" y="356"/>
                      <a:pt x="92" y="356"/>
                    </a:cubicBezTo>
                    <a:cubicBezTo>
                      <a:pt x="91" y="357"/>
                      <a:pt x="91" y="357"/>
                      <a:pt x="91" y="357"/>
                    </a:cubicBezTo>
                    <a:close/>
                    <a:moveTo>
                      <a:pt x="68" y="364"/>
                    </a:moveTo>
                    <a:cubicBezTo>
                      <a:pt x="69" y="364"/>
                      <a:pt x="69" y="364"/>
                      <a:pt x="69" y="364"/>
                    </a:cubicBezTo>
                    <a:cubicBezTo>
                      <a:pt x="72" y="365"/>
                      <a:pt x="72" y="365"/>
                      <a:pt x="72" y="365"/>
                    </a:cubicBezTo>
                    <a:cubicBezTo>
                      <a:pt x="72" y="366"/>
                      <a:pt x="72" y="366"/>
                      <a:pt x="72" y="366"/>
                    </a:cubicBezTo>
                    <a:cubicBezTo>
                      <a:pt x="74" y="367"/>
                      <a:pt x="74" y="367"/>
                      <a:pt x="74" y="367"/>
                    </a:cubicBezTo>
                    <a:cubicBezTo>
                      <a:pt x="75" y="366"/>
                      <a:pt x="75" y="366"/>
                      <a:pt x="75" y="366"/>
                    </a:cubicBezTo>
                    <a:cubicBezTo>
                      <a:pt x="81" y="365"/>
                      <a:pt x="81" y="365"/>
                      <a:pt x="81" y="365"/>
                    </a:cubicBezTo>
                    <a:cubicBezTo>
                      <a:pt x="83" y="365"/>
                      <a:pt x="83" y="365"/>
                      <a:pt x="83" y="365"/>
                    </a:cubicBezTo>
                    <a:cubicBezTo>
                      <a:pt x="87" y="362"/>
                      <a:pt x="87" y="362"/>
                      <a:pt x="87" y="362"/>
                    </a:cubicBezTo>
                    <a:cubicBezTo>
                      <a:pt x="86" y="359"/>
                      <a:pt x="86" y="359"/>
                      <a:pt x="86" y="359"/>
                    </a:cubicBezTo>
                    <a:cubicBezTo>
                      <a:pt x="85" y="356"/>
                      <a:pt x="85" y="356"/>
                      <a:pt x="85" y="356"/>
                    </a:cubicBezTo>
                    <a:cubicBezTo>
                      <a:pt x="83" y="356"/>
                      <a:pt x="83" y="356"/>
                      <a:pt x="83" y="356"/>
                    </a:cubicBezTo>
                    <a:cubicBezTo>
                      <a:pt x="81" y="355"/>
                      <a:pt x="81" y="355"/>
                      <a:pt x="81" y="355"/>
                    </a:cubicBezTo>
                    <a:cubicBezTo>
                      <a:pt x="80" y="351"/>
                      <a:pt x="80" y="351"/>
                      <a:pt x="80" y="351"/>
                    </a:cubicBezTo>
                    <a:cubicBezTo>
                      <a:pt x="78" y="347"/>
                      <a:pt x="78" y="347"/>
                      <a:pt x="78" y="347"/>
                    </a:cubicBezTo>
                    <a:cubicBezTo>
                      <a:pt x="75" y="347"/>
                      <a:pt x="75" y="347"/>
                      <a:pt x="75" y="347"/>
                    </a:cubicBezTo>
                    <a:cubicBezTo>
                      <a:pt x="74" y="345"/>
                      <a:pt x="74" y="345"/>
                      <a:pt x="74" y="345"/>
                    </a:cubicBezTo>
                    <a:cubicBezTo>
                      <a:pt x="71" y="344"/>
                      <a:pt x="71" y="344"/>
                      <a:pt x="71" y="344"/>
                    </a:cubicBezTo>
                    <a:cubicBezTo>
                      <a:pt x="69" y="343"/>
                      <a:pt x="69" y="343"/>
                      <a:pt x="69" y="343"/>
                    </a:cubicBezTo>
                    <a:cubicBezTo>
                      <a:pt x="68" y="345"/>
                      <a:pt x="68" y="345"/>
                      <a:pt x="68" y="345"/>
                    </a:cubicBezTo>
                    <a:cubicBezTo>
                      <a:pt x="66" y="347"/>
                      <a:pt x="66" y="347"/>
                      <a:pt x="66" y="347"/>
                    </a:cubicBezTo>
                    <a:cubicBezTo>
                      <a:pt x="66" y="349"/>
                      <a:pt x="66" y="349"/>
                      <a:pt x="66" y="349"/>
                    </a:cubicBezTo>
                    <a:cubicBezTo>
                      <a:pt x="68" y="350"/>
                      <a:pt x="68" y="350"/>
                      <a:pt x="68" y="350"/>
                    </a:cubicBezTo>
                    <a:cubicBezTo>
                      <a:pt x="69" y="352"/>
                      <a:pt x="69" y="352"/>
                      <a:pt x="69" y="352"/>
                    </a:cubicBezTo>
                    <a:cubicBezTo>
                      <a:pt x="67" y="351"/>
                      <a:pt x="67" y="351"/>
                      <a:pt x="67" y="351"/>
                    </a:cubicBezTo>
                    <a:cubicBezTo>
                      <a:pt x="66" y="352"/>
                      <a:pt x="66" y="352"/>
                      <a:pt x="66" y="352"/>
                    </a:cubicBezTo>
                    <a:cubicBezTo>
                      <a:pt x="66" y="353"/>
                      <a:pt x="66" y="353"/>
                      <a:pt x="66" y="353"/>
                    </a:cubicBezTo>
                    <a:cubicBezTo>
                      <a:pt x="65" y="355"/>
                      <a:pt x="65" y="355"/>
                      <a:pt x="65" y="355"/>
                    </a:cubicBezTo>
                    <a:cubicBezTo>
                      <a:pt x="68" y="356"/>
                      <a:pt x="68" y="356"/>
                      <a:pt x="68" y="356"/>
                    </a:cubicBezTo>
                    <a:cubicBezTo>
                      <a:pt x="66" y="357"/>
                      <a:pt x="66" y="357"/>
                      <a:pt x="66" y="357"/>
                    </a:cubicBezTo>
                    <a:cubicBezTo>
                      <a:pt x="65" y="358"/>
                      <a:pt x="65" y="358"/>
                      <a:pt x="65" y="358"/>
                    </a:cubicBezTo>
                    <a:cubicBezTo>
                      <a:pt x="66" y="359"/>
                      <a:pt x="66" y="359"/>
                      <a:pt x="66" y="359"/>
                    </a:cubicBezTo>
                    <a:cubicBezTo>
                      <a:pt x="71" y="360"/>
                      <a:pt x="71" y="360"/>
                      <a:pt x="71" y="360"/>
                    </a:cubicBezTo>
                    <a:cubicBezTo>
                      <a:pt x="72" y="361"/>
                      <a:pt x="72" y="361"/>
                      <a:pt x="72" y="361"/>
                    </a:cubicBezTo>
                    <a:cubicBezTo>
                      <a:pt x="73" y="362"/>
                      <a:pt x="73" y="362"/>
                      <a:pt x="73" y="362"/>
                    </a:cubicBezTo>
                    <a:cubicBezTo>
                      <a:pt x="76" y="360"/>
                      <a:pt x="76" y="360"/>
                      <a:pt x="76" y="360"/>
                    </a:cubicBezTo>
                    <a:cubicBezTo>
                      <a:pt x="74" y="363"/>
                      <a:pt x="74" y="363"/>
                      <a:pt x="74" y="363"/>
                    </a:cubicBezTo>
                    <a:cubicBezTo>
                      <a:pt x="72" y="363"/>
                      <a:pt x="72" y="363"/>
                      <a:pt x="72" y="363"/>
                    </a:cubicBezTo>
                    <a:cubicBezTo>
                      <a:pt x="69" y="362"/>
                      <a:pt x="69" y="362"/>
                      <a:pt x="69" y="362"/>
                    </a:cubicBezTo>
                    <a:cubicBezTo>
                      <a:pt x="68" y="362"/>
                      <a:pt x="68" y="362"/>
                      <a:pt x="68" y="362"/>
                    </a:cubicBezTo>
                    <a:lnTo>
                      <a:pt x="68" y="36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xmlns="" id="{27303D33-6F8C-4689-BC46-F053BFB098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1" y="0"/>
                <a:ext cx="1375" cy="1304"/>
              </a:xfrm>
              <a:custGeom>
                <a:avLst/>
                <a:gdLst>
                  <a:gd name="T0" fmla="*/ 616 w 842"/>
                  <a:gd name="T1" fmla="*/ 55 h 798"/>
                  <a:gd name="T2" fmla="*/ 617 w 842"/>
                  <a:gd name="T3" fmla="*/ 135 h 798"/>
                  <a:gd name="T4" fmla="*/ 615 w 842"/>
                  <a:gd name="T5" fmla="*/ 149 h 798"/>
                  <a:gd name="T6" fmla="*/ 657 w 842"/>
                  <a:gd name="T7" fmla="*/ 93 h 798"/>
                  <a:gd name="T8" fmla="*/ 659 w 842"/>
                  <a:gd name="T9" fmla="*/ 53 h 798"/>
                  <a:gd name="T10" fmla="*/ 712 w 842"/>
                  <a:gd name="T11" fmla="*/ 23 h 798"/>
                  <a:gd name="T12" fmla="*/ 828 w 842"/>
                  <a:gd name="T13" fmla="*/ 30 h 798"/>
                  <a:gd name="T14" fmla="*/ 722 w 842"/>
                  <a:gd name="T15" fmla="*/ 114 h 798"/>
                  <a:gd name="T16" fmla="*/ 648 w 842"/>
                  <a:gd name="T17" fmla="*/ 166 h 798"/>
                  <a:gd name="T18" fmla="*/ 673 w 842"/>
                  <a:gd name="T19" fmla="*/ 372 h 798"/>
                  <a:gd name="T20" fmla="*/ 590 w 842"/>
                  <a:gd name="T21" fmla="*/ 154 h 798"/>
                  <a:gd name="T22" fmla="*/ 527 w 842"/>
                  <a:gd name="T23" fmla="*/ 106 h 798"/>
                  <a:gd name="T24" fmla="*/ 440 w 842"/>
                  <a:gd name="T25" fmla="*/ 97 h 798"/>
                  <a:gd name="T26" fmla="*/ 575 w 842"/>
                  <a:gd name="T27" fmla="*/ 176 h 798"/>
                  <a:gd name="T28" fmla="*/ 597 w 842"/>
                  <a:gd name="T29" fmla="*/ 241 h 798"/>
                  <a:gd name="T30" fmla="*/ 362 w 842"/>
                  <a:gd name="T31" fmla="*/ 128 h 798"/>
                  <a:gd name="T32" fmla="*/ 523 w 842"/>
                  <a:gd name="T33" fmla="*/ 199 h 798"/>
                  <a:gd name="T34" fmla="*/ 486 w 842"/>
                  <a:gd name="T35" fmla="*/ 175 h 798"/>
                  <a:gd name="T36" fmla="*/ 467 w 842"/>
                  <a:gd name="T37" fmla="*/ 182 h 798"/>
                  <a:gd name="T38" fmla="*/ 441 w 842"/>
                  <a:gd name="T39" fmla="*/ 155 h 798"/>
                  <a:gd name="T40" fmla="*/ 318 w 842"/>
                  <a:gd name="T41" fmla="*/ 172 h 798"/>
                  <a:gd name="T42" fmla="*/ 453 w 842"/>
                  <a:gd name="T43" fmla="*/ 249 h 798"/>
                  <a:gd name="T44" fmla="*/ 484 w 842"/>
                  <a:gd name="T45" fmla="*/ 260 h 798"/>
                  <a:gd name="T46" fmla="*/ 607 w 842"/>
                  <a:gd name="T47" fmla="*/ 277 h 798"/>
                  <a:gd name="T48" fmla="*/ 582 w 842"/>
                  <a:gd name="T49" fmla="*/ 358 h 798"/>
                  <a:gd name="T50" fmla="*/ 418 w 842"/>
                  <a:gd name="T51" fmla="*/ 364 h 798"/>
                  <a:gd name="T52" fmla="*/ 411 w 842"/>
                  <a:gd name="T53" fmla="*/ 268 h 798"/>
                  <a:gd name="T54" fmla="*/ 354 w 842"/>
                  <a:gd name="T55" fmla="*/ 214 h 798"/>
                  <a:gd name="T56" fmla="*/ 310 w 842"/>
                  <a:gd name="T57" fmla="*/ 320 h 798"/>
                  <a:gd name="T58" fmla="*/ 399 w 842"/>
                  <a:gd name="T59" fmla="*/ 343 h 798"/>
                  <a:gd name="T60" fmla="*/ 606 w 842"/>
                  <a:gd name="T61" fmla="*/ 480 h 798"/>
                  <a:gd name="T62" fmla="*/ 613 w 842"/>
                  <a:gd name="T63" fmla="*/ 379 h 798"/>
                  <a:gd name="T64" fmla="*/ 529 w 842"/>
                  <a:gd name="T65" fmla="*/ 333 h 798"/>
                  <a:gd name="T66" fmla="*/ 565 w 842"/>
                  <a:gd name="T67" fmla="*/ 295 h 798"/>
                  <a:gd name="T68" fmla="*/ 629 w 842"/>
                  <a:gd name="T69" fmla="*/ 296 h 798"/>
                  <a:gd name="T70" fmla="*/ 648 w 842"/>
                  <a:gd name="T71" fmla="*/ 353 h 798"/>
                  <a:gd name="T72" fmla="*/ 667 w 842"/>
                  <a:gd name="T73" fmla="*/ 389 h 798"/>
                  <a:gd name="T74" fmla="*/ 699 w 842"/>
                  <a:gd name="T75" fmla="*/ 437 h 798"/>
                  <a:gd name="T76" fmla="*/ 670 w 842"/>
                  <a:gd name="T77" fmla="*/ 439 h 798"/>
                  <a:gd name="T78" fmla="*/ 652 w 842"/>
                  <a:gd name="T79" fmla="*/ 499 h 798"/>
                  <a:gd name="T80" fmla="*/ 528 w 842"/>
                  <a:gd name="T81" fmla="*/ 457 h 798"/>
                  <a:gd name="T82" fmla="*/ 618 w 842"/>
                  <a:gd name="T83" fmla="*/ 543 h 798"/>
                  <a:gd name="T84" fmla="*/ 501 w 842"/>
                  <a:gd name="T85" fmla="*/ 604 h 798"/>
                  <a:gd name="T86" fmla="*/ 666 w 842"/>
                  <a:gd name="T87" fmla="*/ 732 h 798"/>
                  <a:gd name="T88" fmla="*/ 712 w 842"/>
                  <a:gd name="T89" fmla="*/ 733 h 798"/>
                  <a:gd name="T90" fmla="*/ 695 w 842"/>
                  <a:gd name="T91" fmla="*/ 686 h 798"/>
                  <a:gd name="T92" fmla="*/ 78 w 842"/>
                  <a:gd name="T93" fmla="*/ 661 h 798"/>
                  <a:gd name="T94" fmla="*/ 45 w 842"/>
                  <a:gd name="T95" fmla="*/ 592 h 798"/>
                  <a:gd name="T96" fmla="*/ 144 w 842"/>
                  <a:gd name="T97" fmla="*/ 275 h 798"/>
                  <a:gd name="T98" fmla="*/ 61 w 842"/>
                  <a:gd name="T99" fmla="*/ 604 h 798"/>
                  <a:gd name="T100" fmla="*/ 148 w 842"/>
                  <a:gd name="T101" fmla="*/ 285 h 798"/>
                  <a:gd name="T102" fmla="*/ 245 w 842"/>
                  <a:gd name="T103" fmla="*/ 288 h 798"/>
                  <a:gd name="T104" fmla="*/ 370 w 842"/>
                  <a:gd name="T105" fmla="*/ 338 h 798"/>
                  <a:gd name="T106" fmla="*/ 439 w 842"/>
                  <a:gd name="T107" fmla="*/ 386 h 798"/>
                  <a:gd name="T108" fmla="*/ 493 w 842"/>
                  <a:gd name="T109" fmla="*/ 326 h 798"/>
                  <a:gd name="T110" fmla="*/ 564 w 842"/>
                  <a:gd name="T111" fmla="*/ 365 h 798"/>
                  <a:gd name="T112" fmla="*/ 473 w 842"/>
                  <a:gd name="T113" fmla="*/ 455 h 798"/>
                  <a:gd name="T114" fmla="*/ 390 w 842"/>
                  <a:gd name="T115" fmla="*/ 577 h 798"/>
                  <a:gd name="T116" fmla="*/ 538 w 842"/>
                  <a:gd name="T117" fmla="*/ 547 h 798"/>
                  <a:gd name="T118" fmla="*/ 641 w 842"/>
                  <a:gd name="T119" fmla="*/ 552 h 798"/>
                  <a:gd name="T120" fmla="*/ 683 w 842"/>
                  <a:gd name="T121" fmla="*/ 636 h 798"/>
                  <a:gd name="T122" fmla="*/ 601 w 842"/>
                  <a:gd name="T123" fmla="*/ 694 h 798"/>
                  <a:gd name="T124" fmla="*/ 614 w 842"/>
                  <a:gd name="T125" fmla="*/ 762 h 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42" h="798">
                    <a:moveTo>
                      <a:pt x="609" y="140"/>
                    </a:moveTo>
                    <a:cubicBezTo>
                      <a:pt x="610" y="139"/>
                      <a:pt x="610" y="139"/>
                      <a:pt x="610" y="139"/>
                    </a:cubicBezTo>
                    <a:cubicBezTo>
                      <a:pt x="611" y="137"/>
                      <a:pt x="611" y="137"/>
                      <a:pt x="611" y="137"/>
                    </a:cubicBezTo>
                    <a:cubicBezTo>
                      <a:pt x="614" y="133"/>
                      <a:pt x="614" y="133"/>
                      <a:pt x="614" y="133"/>
                    </a:cubicBezTo>
                    <a:cubicBezTo>
                      <a:pt x="616" y="128"/>
                      <a:pt x="616" y="128"/>
                      <a:pt x="616" y="128"/>
                    </a:cubicBezTo>
                    <a:cubicBezTo>
                      <a:pt x="617" y="128"/>
                      <a:pt x="617" y="128"/>
                      <a:pt x="617" y="128"/>
                    </a:cubicBezTo>
                    <a:cubicBezTo>
                      <a:pt x="617" y="129"/>
                      <a:pt x="617" y="129"/>
                      <a:pt x="617" y="129"/>
                    </a:cubicBezTo>
                    <a:cubicBezTo>
                      <a:pt x="616" y="132"/>
                      <a:pt x="616" y="132"/>
                      <a:pt x="616" y="132"/>
                    </a:cubicBezTo>
                    <a:cubicBezTo>
                      <a:pt x="616" y="133"/>
                      <a:pt x="616" y="133"/>
                      <a:pt x="6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cubicBezTo>
                      <a:pt x="620" y="131"/>
                      <a:pt x="620" y="131"/>
                      <a:pt x="620" y="131"/>
                    </a:cubicBezTo>
                    <a:cubicBezTo>
                      <a:pt x="622" y="130"/>
                      <a:pt x="622" y="130"/>
                      <a:pt x="622" y="130"/>
                    </a:cubicBezTo>
                    <a:cubicBezTo>
                      <a:pt x="621" y="128"/>
                      <a:pt x="621" y="128"/>
                      <a:pt x="621" y="128"/>
                    </a:cubicBezTo>
                    <a:cubicBezTo>
                      <a:pt x="620" y="128"/>
                      <a:pt x="620" y="128"/>
                      <a:pt x="620" y="128"/>
                    </a:cubicBezTo>
                    <a:cubicBezTo>
                      <a:pt x="620" y="127"/>
                      <a:pt x="620" y="127"/>
                      <a:pt x="620" y="127"/>
                    </a:cubicBezTo>
                    <a:cubicBezTo>
                      <a:pt x="622" y="126"/>
                      <a:pt x="622" y="126"/>
                      <a:pt x="622" y="126"/>
                    </a:cubicBezTo>
                    <a:cubicBezTo>
                      <a:pt x="622" y="124"/>
                      <a:pt x="622" y="124"/>
                      <a:pt x="622" y="124"/>
                    </a:cubicBezTo>
                    <a:cubicBezTo>
                      <a:pt x="621" y="122"/>
                      <a:pt x="621" y="122"/>
                      <a:pt x="621" y="122"/>
                    </a:cubicBezTo>
                    <a:cubicBezTo>
                      <a:pt x="621" y="121"/>
                      <a:pt x="621" y="121"/>
                      <a:pt x="621" y="121"/>
                    </a:cubicBezTo>
                    <a:cubicBezTo>
                      <a:pt x="624" y="119"/>
                      <a:pt x="624" y="119"/>
                      <a:pt x="624" y="119"/>
                    </a:cubicBezTo>
                    <a:cubicBezTo>
                      <a:pt x="624" y="115"/>
                      <a:pt x="624" y="115"/>
                      <a:pt x="624" y="115"/>
                    </a:cubicBezTo>
                    <a:cubicBezTo>
                      <a:pt x="626" y="115"/>
                      <a:pt x="626" y="115"/>
                      <a:pt x="626" y="115"/>
                    </a:cubicBezTo>
                    <a:cubicBezTo>
                      <a:pt x="627" y="113"/>
                      <a:pt x="627" y="113"/>
                      <a:pt x="627" y="113"/>
                    </a:cubicBezTo>
                    <a:cubicBezTo>
                      <a:pt x="627" y="115"/>
                      <a:pt x="627" y="115"/>
                      <a:pt x="627" y="115"/>
                    </a:cubicBezTo>
                    <a:cubicBezTo>
                      <a:pt x="627" y="116"/>
                      <a:pt x="627" y="116"/>
                      <a:pt x="627" y="116"/>
                    </a:cubicBezTo>
                    <a:cubicBezTo>
                      <a:pt x="626" y="116"/>
                      <a:pt x="626" y="116"/>
                      <a:pt x="626" y="116"/>
                    </a:cubicBezTo>
                    <a:cubicBezTo>
                      <a:pt x="625" y="120"/>
                      <a:pt x="625" y="120"/>
                      <a:pt x="625" y="120"/>
                    </a:cubicBezTo>
                    <a:cubicBezTo>
                      <a:pt x="623" y="122"/>
                      <a:pt x="623" y="122"/>
                      <a:pt x="623" y="122"/>
                    </a:cubicBezTo>
                    <a:cubicBezTo>
                      <a:pt x="623" y="125"/>
                      <a:pt x="623" y="125"/>
                      <a:pt x="623" y="125"/>
                    </a:cubicBezTo>
                    <a:cubicBezTo>
                      <a:pt x="624" y="126"/>
                      <a:pt x="624" y="126"/>
                      <a:pt x="624" y="126"/>
                    </a:cubicBezTo>
                    <a:cubicBezTo>
                      <a:pt x="624" y="129"/>
                      <a:pt x="624" y="129"/>
                      <a:pt x="624" y="129"/>
                    </a:cubicBezTo>
                    <a:cubicBezTo>
                      <a:pt x="625" y="128"/>
                      <a:pt x="625" y="128"/>
                      <a:pt x="625" y="128"/>
                    </a:cubicBezTo>
                    <a:cubicBezTo>
                      <a:pt x="627" y="124"/>
                      <a:pt x="627" y="124"/>
                      <a:pt x="627" y="124"/>
                    </a:cubicBezTo>
                    <a:cubicBezTo>
                      <a:pt x="630" y="121"/>
                      <a:pt x="630" y="121"/>
                      <a:pt x="630" y="121"/>
                    </a:cubicBezTo>
                    <a:cubicBezTo>
                      <a:pt x="632" y="119"/>
                      <a:pt x="632" y="119"/>
                      <a:pt x="632" y="119"/>
                    </a:cubicBezTo>
                    <a:cubicBezTo>
                      <a:pt x="632" y="116"/>
                      <a:pt x="632" y="116"/>
                      <a:pt x="632" y="116"/>
                    </a:cubicBezTo>
                    <a:cubicBezTo>
                      <a:pt x="633" y="114"/>
                      <a:pt x="633" y="114"/>
                      <a:pt x="633" y="114"/>
                    </a:cubicBezTo>
                    <a:cubicBezTo>
                      <a:pt x="634" y="114"/>
                      <a:pt x="634" y="114"/>
                      <a:pt x="634" y="114"/>
                    </a:cubicBezTo>
                    <a:cubicBezTo>
                      <a:pt x="634" y="115"/>
                      <a:pt x="634" y="115"/>
                      <a:pt x="634" y="115"/>
                    </a:cubicBezTo>
                    <a:cubicBezTo>
                      <a:pt x="634" y="116"/>
                      <a:pt x="634" y="116"/>
                      <a:pt x="634" y="116"/>
                    </a:cubicBezTo>
                    <a:cubicBezTo>
                      <a:pt x="634" y="118"/>
                      <a:pt x="634" y="118"/>
                      <a:pt x="634" y="118"/>
                    </a:cubicBezTo>
                    <a:cubicBezTo>
                      <a:pt x="635" y="118"/>
                      <a:pt x="635" y="118"/>
                      <a:pt x="635" y="118"/>
                    </a:cubicBezTo>
                    <a:cubicBezTo>
                      <a:pt x="637" y="115"/>
                      <a:pt x="637" y="115"/>
                      <a:pt x="637" y="115"/>
                    </a:cubicBezTo>
                    <a:cubicBezTo>
                      <a:pt x="639" y="115"/>
                      <a:pt x="639" y="115"/>
                      <a:pt x="639" y="115"/>
                    </a:cubicBezTo>
                    <a:cubicBezTo>
                      <a:pt x="642" y="115"/>
                      <a:pt x="642" y="115"/>
                      <a:pt x="642" y="115"/>
                    </a:cubicBezTo>
                    <a:cubicBezTo>
                      <a:pt x="645" y="114"/>
                      <a:pt x="645" y="114"/>
                      <a:pt x="645" y="114"/>
                    </a:cubicBezTo>
                    <a:cubicBezTo>
                      <a:pt x="647" y="114"/>
                      <a:pt x="647" y="114"/>
                      <a:pt x="647" y="114"/>
                    </a:cubicBezTo>
                    <a:cubicBezTo>
                      <a:pt x="648" y="112"/>
                      <a:pt x="648" y="112"/>
                      <a:pt x="648" y="112"/>
                    </a:cubicBezTo>
                    <a:cubicBezTo>
                      <a:pt x="650" y="112"/>
                      <a:pt x="650" y="112"/>
                      <a:pt x="650" y="112"/>
                    </a:cubicBezTo>
                    <a:cubicBezTo>
                      <a:pt x="651" y="110"/>
                      <a:pt x="651" y="110"/>
                      <a:pt x="651" y="110"/>
                    </a:cubicBezTo>
                    <a:cubicBezTo>
                      <a:pt x="651" y="109"/>
                      <a:pt x="651" y="109"/>
                      <a:pt x="651" y="109"/>
                    </a:cubicBezTo>
                    <a:cubicBezTo>
                      <a:pt x="651" y="107"/>
                      <a:pt x="651" y="107"/>
                      <a:pt x="651" y="107"/>
                    </a:cubicBezTo>
                    <a:cubicBezTo>
                      <a:pt x="650" y="106"/>
                      <a:pt x="650" y="106"/>
                      <a:pt x="650" y="106"/>
                    </a:cubicBezTo>
                    <a:cubicBezTo>
                      <a:pt x="650" y="103"/>
                      <a:pt x="650" y="103"/>
                      <a:pt x="650" y="103"/>
                    </a:cubicBezTo>
                    <a:cubicBezTo>
                      <a:pt x="650" y="99"/>
                      <a:pt x="650" y="99"/>
                      <a:pt x="650" y="99"/>
                    </a:cubicBezTo>
                    <a:cubicBezTo>
                      <a:pt x="650" y="99"/>
                      <a:pt x="650" y="99"/>
                      <a:pt x="650" y="99"/>
                    </a:cubicBezTo>
                    <a:cubicBezTo>
                      <a:pt x="648" y="102"/>
                      <a:pt x="648" y="102"/>
                      <a:pt x="648" y="102"/>
                    </a:cubicBezTo>
                    <a:cubicBezTo>
                      <a:pt x="646" y="104"/>
                      <a:pt x="646" y="104"/>
                      <a:pt x="646" y="104"/>
                    </a:cubicBezTo>
                    <a:cubicBezTo>
                      <a:pt x="645" y="104"/>
                      <a:pt x="645" y="104"/>
                      <a:pt x="645" y="104"/>
                    </a:cubicBezTo>
                    <a:cubicBezTo>
                      <a:pt x="645" y="103"/>
                      <a:pt x="645" y="103"/>
                      <a:pt x="645" y="103"/>
                    </a:cubicBezTo>
                    <a:cubicBezTo>
                      <a:pt x="647" y="101"/>
                      <a:pt x="647" y="101"/>
                      <a:pt x="647" y="101"/>
                    </a:cubicBezTo>
                    <a:cubicBezTo>
                      <a:pt x="648" y="100"/>
                      <a:pt x="648" y="100"/>
                      <a:pt x="648" y="100"/>
                    </a:cubicBezTo>
                    <a:cubicBezTo>
                      <a:pt x="649" y="98"/>
                      <a:pt x="649" y="98"/>
                      <a:pt x="649" y="98"/>
                    </a:cubicBezTo>
                    <a:cubicBezTo>
                      <a:pt x="647" y="96"/>
                      <a:pt x="647" y="96"/>
                      <a:pt x="647" y="96"/>
                    </a:cubicBezTo>
                    <a:cubicBezTo>
                      <a:pt x="646" y="95"/>
                      <a:pt x="646" y="95"/>
                      <a:pt x="646" y="95"/>
                    </a:cubicBezTo>
                    <a:cubicBezTo>
                      <a:pt x="645" y="95"/>
                      <a:pt x="645" y="95"/>
                      <a:pt x="645" y="95"/>
                    </a:cubicBezTo>
                    <a:cubicBezTo>
                      <a:pt x="644" y="95"/>
                      <a:pt x="644" y="95"/>
                      <a:pt x="644" y="95"/>
                    </a:cubicBezTo>
                    <a:cubicBezTo>
                      <a:pt x="644" y="97"/>
                      <a:pt x="644" y="97"/>
                      <a:pt x="644" y="97"/>
                    </a:cubicBezTo>
                    <a:cubicBezTo>
                      <a:pt x="643" y="96"/>
                      <a:pt x="643" y="96"/>
                      <a:pt x="643" y="96"/>
                    </a:cubicBezTo>
                    <a:cubicBezTo>
                      <a:pt x="641" y="96"/>
                      <a:pt x="641" y="96"/>
                      <a:pt x="641" y="96"/>
                    </a:cubicBezTo>
                    <a:cubicBezTo>
                      <a:pt x="639" y="97"/>
                      <a:pt x="639" y="97"/>
                      <a:pt x="639" y="97"/>
                    </a:cubicBezTo>
                    <a:cubicBezTo>
                      <a:pt x="638" y="97"/>
                      <a:pt x="638" y="97"/>
                      <a:pt x="638" y="97"/>
                    </a:cubicBezTo>
                    <a:cubicBezTo>
                      <a:pt x="638" y="96"/>
                      <a:pt x="638" y="96"/>
                      <a:pt x="638" y="96"/>
                    </a:cubicBezTo>
                    <a:cubicBezTo>
                      <a:pt x="643" y="94"/>
                      <a:pt x="643" y="94"/>
                      <a:pt x="643" y="94"/>
                    </a:cubicBezTo>
                    <a:cubicBezTo>
                      <a:pt x="645" y="93"/>
                      <a:pt x="645" y="93"/>
                      <a:pt x="645" y="93"/>
                    </a:cubicBezTo>
                    <a:cubicBezTo>
                      <a:pt x="648" y="90"/>
                      <a:pt x="648" y="90"/>
                      <a:pt x="648" y="90"/>
                    </a:cubicBezTo>
                    <a:cubicBezTo>
                      <a:pt x="649" y="89"/>
                      <a:pt x="649" y="89"/>
                      <a:pt x="649" y="89"/>
                    </a:cubicBezTo>
                    <a:cubicBezTo>
                      <a:pt x="651" y="85"/>
                      <a:pt x="651" y="85"/>
                      <a:pt x="651" y="85"/>
                    </a:cubicBezTo>
                    <a:cubicBezTo>
                      <a:pt x="652" y="82"/>
                      <a:pt x="652" y="82"/>
                      <a:pt x="652" y="82"/>
                    </a:cubicBezTo>
                    <a:cubicBezTo>
                      <a:pt x="652" y="81"/>
                      <a:pt x="652" y="81"/>
                      <a:pt x="652" y="81"/>
                    </a:cubicBezTo>
                    <a:cubicBezTo>
                      <a:pt x="650" y="82"/>
                      <a:pt x="650" y="82"/>
                      <a:pt x="650" y="82"/>
                    </a:cubicBezTo>
                    <a:cubicBezTo>
                      <a:pt x="649" y="83"/>
                      <a:pt x="649" y="83"/>
                      <a:pt x="649" y="83"/>
                    </a:cubicBezTo>
                    <a:cubicBezTo>
                      <a:pt x="648" y="82"/>
                      <a:pt x="648" y="82"/>
                      <a:pt x="648" y="82"/>
                    </a:cubicBezTo>
                    <a:cubicBezTo>
                      <a:pt x="649" y="80"/>
                      <a:pt x="649" y="80"/>
                      <a:pt x="649" y="80"/>
                    </a:cubicBezTo>
                    <a:cubicBezTo>
                      <a:pt x="650" y="80"/>
                      <a:pt x="650" y="80"/>
                      <a:pt x="650" y="80"/>
                    </a:cubicBezTo>
                    <a:cubicBezTo>
                      <a:pt x="651" y="80"/>
                      <a:pt x="651" y="80"/>
                      <a:pt x="651" y="80"/>
                    </a:cubicBezTo>
                    <a:cubicBezTo>
                      <a:pt x="652" y="79"/>
                      <a:pt x="652" y="79"/>
                      <a:pt x="652" y="79"/>
                    </a:cubicBezTo>
                    <a:cubicBezTo>
                      <a:pt x="652" y="77"/>
                      <a:pt x="652" y="77"/>
                      <a:pt x="652" y="77"/>
                    </a:cubicBezTo>
                    <a:cubicBezTo>
                      <a:pt x="654" y="75"/>
                      <a:pt x="654" y="75"/>
                      <a:pt x="654" y="75"/>
                    </a:cubicBezTo>
                    <a:cubicBezTo>
                      <a:pt x="654" y="72"/>
                      <a:pt x="654" y="72"/>
                      <a:pt x="654" y="72"/>
                    </a:cubicBezTo>
                    <a:cubicBezTo>
                      <a:pt x="654" y="72"/>
                      <a:pt x="654" y="72"/>
                      <a:pt x="654" y="72"/>
                    </a:cubicBezTo>
                    <a:cubicBezTo>
                      <a:pt x="654" y="70"/>
                      <a:pt x="654" y="70"/>
                      <a:pt x="654" y="70"/>
                    </a:cubicBezTo>
                    <a:cubicBezTo>
                      <a:pt x="652" y="70"/>
                      <a:pt x="652" y="70"/>
                      <a:pt x="652" y="70"/>
                    </a:cubicBezTo>
                    <a:cubicBezTo>
                      <a:pt x="650" y="70"/>
                      <a:pt x="650" y="70"/>
                      <a:pt x="650" y="70"/>
                    </a:cubicBezTo>
                    <a:cubicBezTo>
                      <a:pt x="648" y="75"/>
                      <a:pt x="648" y="75"/>
                      <a:pt x="648" y="75"/>
                    </a:cubicBezTo>
                    <a:cubicBezTo>
                      <a:pt x="648" y="77"/>
                      <a:pt x="648" y="77"/>
                      <a:pt x="648" y="77"/>
                    </a:cubicBezTo>
                    <a:cubicBezTo>
                      <a:pt x="649" y="78"/>
                      <a:pt x="649" y="78"/>
                      <a:pt x="649" y="78"/>
                    </a:cubicBezTo>
                    <a:cubicBezTo>
                      <a:pt x="647" y="80"/>
                      <a:pt x="647" y="80"/>
                      <a:pt x="647" y="80"/>
                    </a:cubicBezTo>
                    <a:cubicBezTo>
                      <a:pt x="646" y="80"/>
                      <a:pt x="646" y="80"/>
                      <a:pt x="646" y="80"/>
                    </a:cubicBezTo>
                    <a:cubicBezTo>
                      <a:pt x="646" y="80"/>
                      <a:pt x="646" y="80"/>
                      <a:pt x="646" y="80"/>
                    </a:cubicBezTo>
                    <a:cubicBezTo>
                      <a:pt x="646" y="79"/>
                      <a:pt x="646" y="79"/>
                      <a:pt x="646" y="79"/>
                    </a:cubicBezTo>
                    <a:cubicBezTo>
                      <a:pt x="645" y="78"/>
                      <a:pt x="645" y="78"/>
                      <a:pt x="645" y="78"/>
                    </a:cubicBezTo>
                    <a:cubicBezTo>
                      <a:pt x="645" y="76"/>
                      <a:pt x="645" y="76"/>
                      <a:pt x="645" y="76"/>
                    </a:cubicBezTo>
                    <a:cubicBezTo>
                      <a:pt x="647" y="73"/>
                      <a:pt x="647" y="73"/>
                      <a:pt x="647" y="73"/>
                    </a:cubicBezTo>
                    <a:cubicBezTo>
                      <a:pt x="646" y="71"/>
                      <a:pt x="646" y="71"/>
                      <a:pt x="646" y="71"/>
                    </a:cubicBezTo>
                    <a:cubicBezTo>
                      <a:pt x="647" y="70"/>
                      <a:pt x="647" y="70"/>
                      <a:pt x="647" y="70"/>
                    </a:cubicBezTo>
                    <a:cubicBezTo>
                      <a:pt x="648" y="71"/>
                      <a:pt x="648" y="71"/>
                      <a:pt x="648" y="71"/>
                    </a:cubicBezTo>
                    <a:cubicBezTo>
                      <a:pt x="649" y="70"/>
                      <a:pt x="649" y="70"/>
                      <a:pt x="649" y="70"/>
                    </a:cubicBezTo>
                    <a:cubicBezTo>
                      <a:pt x="648" y="68"/>
                      <a:pt x="648" y="68"/>
                      <a:pt x="648" y="68"/>
                    </a:cubicBezTo>
                    <a:cubicBezTo>
                      <a:pt x="647" y="65"/>
                      <a:pt x="647" y="65"/>
                      <a:pt x="647" y="65"/>
                    </a:cubicBezTo>
                    <a:cubicBezTo>
                      <a:pt x="645" y="65"/>
                      <a:pt x="645" y="65"/>
                      <a:pt x="645" y="65"/>
                    </a:cubicBezTo>
                    <a:cubicBezTo>
                      <a:pt x="643" y="66"/>
                      <a:pt x="643" y="66"/>
                      <a:pt x="643" y="66"/>
                    </a:cubicBezTo>
                    <a:cubicBezTo>
                      <a:pt x="642" y="68"/>
                      <a:pt x="642" y="68"/>
                      <a:pt x="642" y="68"/>
                    </a:cubicBezTo>
                    <a:cubicBezTo>
                      <a:pt x="642" y="67"/>
                      <a:pt x="642" y="67"/>
                      <a:pt x="642" y="67"/>
                    </a:cubicBezTo>
                    <a:cubicBezTo>
                      <a:pt x="641" y="66"/>
                      <a:pt x="641" y="66"/>
                      <a:pt x="641" y="66"/>
                    </a:cubicBezTo>
                    <a:cubicBezTo>
                      <a:pt x="642" y="63"/>
                      <a:pt x="642" y="63"/>
                      <a:pt x="642" y="63"/>
                    </a:cubicBezTo>
                    <a:cubicBezTo>
                      <a:pt x="640" y="61"/>
                      <a:pt x="640" y="61"/>
                      <a:pt x="640" y="61"/>
                    </a:cubicBezTo>
                    <a:cubicBezTo>
                      <a:pt x="641" y="57"/>
                      <a:pt x="641" y="57"/>
                      <a:pt x="641" y="57"/>
                    </a:cubicBezTo>
                    <a:cubicBezTo>
                      <a:pt x="641" y="53"/>
                      <a:pt x="641" y="53"/>
                      <a:pt x="641" y="53"/>
                    </a:cubicBezTo>
                    <a:cubicBezTo>
                      <a:pt x="642" y="51"/>
                      <a:pt x="642" y="51"/>
                      <a:pt x="642" y="51"/>
                    </a:cubicBezTo>
                    <a:cubicBezTo>
                      <a:pt x="642" y="48"/>
                      <a:pt x="642" y="48"/>
                      <a:pt x="642" y="48"/>
                    </a:cubicBezTo>
                    <a:cubicBezTo>
                      <a:pt x="642" y="46"/>
                      <a:pt x="642" y="46"/>
                      <a:pt x="642" y="46"/>
                    </a:cubicBezTo>
                    <a:cubicBezTo>
                      <a:pt x="643" y="42"/>
                      <a:pt x="643" y="42"/>
                      <a:pt x="643" y="42"/>
                    </a:cubicBezTo>
                    <a:cubicBezTo>
                      <a:pt x="644" y="40"/>
                      <a:pt x="644" y="40"/>
                      <a:pt x="644" y="40"/>
                    </a:cubicBezTo>
                    <a:cubicBezTo>
                      <a:pt x="642" y="38"/>
                      <a:pt x="642" y="38"/>
                      <a:pt x="642" y="38"/>
                    </a:cubicBezTo>
                    <a:cubicBezTo>
                      <a:pt x="641" y="36"/>
                      <a:pt x="641" y="36"/>
                      <a:pt x="641" y="36"/>
                    </a:cubicBezTo>
                    <a:cubicBezTo>
                      <a:pt x="639" y="33"/>
                      <a:pt x="639" y="33"/>
                      <a:pt x="639" y="33"/>
                    </a:cubicBezTo>
                    <a:cubicBezTo>
                      <a:pt x="638" y="32"/>
                      <a:pt x="638" y="32"/>
                      <a:pt x="638" y="32"/>
                    </a:cubicBezTo>
                    <a:cubicBezTo>
                      <a:pt x="635" y="30"/>
                      <a:pt x="635" y="30"/>
                      <a:pt x="635" y="30"/>
                    </a:cubicBezTo>
                    <a:cubicBezTo>
                      <a:pt x="634" y="31"/>
                      <a:pt x="634" y="31"/>
                      <a:pt x="634" y="31"/>
                    </a:cubicBezTo>
                    <a:cubicBezTo>
                      <a:pt x="634" y="32"/>
                      <a:pt x="634" y="32"/>
                      <a:pt x="634" y="32"/>
                    </a:cubicBezTo>
                    <a:cubicBezTo>
                      <a:pt x="634" y="33"/>
                      <a:pt x="634" y="33"/>
                      <a:pt x="634" y="33"/>
                    </a:cubicBezTo>
                    <a:cubicBezTo>
                      <a:pt x="631" y="30"/>
                      <a:pt x="631" y="30"/>
                      <a:pt x="631" y="30"/>
                    </a:cubicBezTo>
                    <a:cubicBezTo>
                      <a:pt x="629" y="31"/>
                      <a:pt x="629" y="31"/>
                      <a:pt x="629" y="31"/>
                    </a:cubicBezTo>
                    <a:cubicBezTo>
                      <a:pt x="629" y="33"/>
                      <a:pt x="629" y="33"/>
                      <a:pt x="629" y="33"/>
                    </a:cubicBezTo>
                    <a:cubicBezTo>
                      <a:pt x="628" y="35"/>
                      <a:pt x="628" y="35"/>
                      <a:pt x="628" y="35"/>
                    </a:cubicBezTo>
                    <a:cubicBezTo>
                      <a:pt x="629" y="37"/>
                      <a:pt x="629" y="37"/>
                      <a:pt x="629" y="37"/>
                    </a:cubicBezTo>
                    <a:cubicBezTo>
                      <a:pt x="631" y="37"/>
                      <a:pt x="631" y="37"/>
                      <a:pt x="631" y="37"/>
                    </a:cubicBezTo>
                    <a:cubicBezTo>
                      <a:pt x="633" y="36"/>
                      <a:pt x="633" y="36"/>
                      <a:pt x="633" y="36"/>
                    </a:cubicBezTo>
                    <a:cubicBezTo>
                      <a:pt x="635" y="37"/>
                      <a:pt x="635" y="37"/>
                      <a:pt x="635" y="37"/>
                    </a:cubicBezTo>
                    <a:cubicBezTo>
                      <a:pt x="636" y="39"/>
                      <a:pt x="636" y="39"/>
                      <a:pt x="636" y="39"/>
                    </a:cubicBezTo>
                    <a:cubicBezTo>
                      <a:pt x="637" y="39"/>
                      <a:pt x="637" y="39"/>
                      <a:pt x="637" y="39"/>
                    </a:cubicBezTo>
                    <a:cubicBezTo>
                      <a:pt x="637" y="40"/>
                      <a:pt x="637" y="40"/>
                      <a:pt x="637" y="40"/>
                    </a:cubicBezTo>
                    <a:cubicBezTo>
                      <a:pt x="634" y="43"/>
                      <a:pt x="634" y="43"/>
                      <a:pt x="634" y="43"/>
                    </a:cubicBezTo>
                    <a:cubicBezTo>
                      <a:pt x="633" y="43"/>
                      <a:pt x="633" y="43"/>
                      <a:pt x="633" y="43"/>
                    </a:cubicBezTo>
                    <a:cubicBezTo>
                      <a:pt x="631" y="42"/>
                      <a:pt x="631" y="42"/>
                      <a:pt x="631" y="42"/>
                    </a:cubicBezTo>
                    <a:cubicBezTo>
                      <a:pt x="629" y="42"/>
                      <a:pt x="629" y="42"/>
                      <a:pt x="629" y="42"/>
                    </a:cubicBezTo>
                    <a:cubicBezTo>
                      <a:pt x="627" y="42"/>
                      <a:pt x="627" y="42"/>
                      <a:pt x="627" y="42"/>
                    </a:cubicBezTo>
                    <a:cubicBezTo>
                      <a:pt x="628" y="43"/>
                      <a:pt x="628" y="43"/>
                      <a:pt x="628" y="43"/>
                    </a:cubicBezTo>
                    <a:cubicBezTo>
                      <a:pt x="629" y="43"/>
                      <a:pt x="629" y="43"/>
                      <a:pt x="629" y="43"/>
                    </a:cubicBezTo>
                    <a:cubicBezTo>
                      <a:pt x="628" y="45"/>
                      <a:pt x="628" y="45"/>
                      <a:pt x="628" y="45"/>
                    </a:cubicBezTo>
                    <a:cubicBezTo>
                      <a:pt x="626" y="46"/>
                      <a:pt x="626" y="46"/>
                      <a:pt x="626" y="46"/>
                    </a:cubicBezTo>
                    <a:cubicBezTo>
                      <a:pt x="624" y="43"/>
                      <a:pt x="624" y="43"/>
                      <a:pt x="624" y="43"/>
                    </a:cubicBezTo>
                    <a:cubicBezTo>
                      <a:pt x="621" y="44"/>
                      <a:pt x="621" y="44"/>
                      <a:pt x="621" y="44"/>
                    </a:cubicBezTo>
                    <a:cubicBezTo>
                      <a:pt x="620" y="47"/>
                      <a:pt x="620" y="47"/>
                      <a:pt x="620" y="47"/>
                    </a:cubicBezTo>
                    <a:cubicBezTo>
                      <a:pt x="619" y="48"/>
                      <a:pt x="619" y="48"/>
                      <a:pt x="619" y="48"/>
                    </a:cubicBezTo>
                    <a:cubicBezTo>
                      <a:pt x="619" y="49"/>
                      <a:pt x="619" y="49"/>
                      <a:pt x="619" y="49"/>
                    </a:cubicBezTo>
                    <a:cubicBezTo>
                      <a:pt x="620" y="50"/>
                      <a:pt x="620" y="50"/>
                      <a:pt x="620" y="50"/>
                    </a:cubicBezTo>
                    <a:cubicBezTo>
                      <a:pt x="621" y="52"/>
                      <a:pt x="621" y="52"/>
                      <a:pt x="621" y="52"/>
                    </a:cubicBezTo>
                    <a:cubicBezTo>
                      <a:pt x="623" y="53"/>
                      <a:pt x="623" y="53"/>
                      <a:pt x="623" y="53"/>
                    </a:cubicBezTo>
                    <a:cubicBezTo>
                      <a:pt x="623" y="54"/>
                      <a:pt x="623" y="54"/>
                      <a:pt x="623" y="54"/>
                    </a:cubicBezTo>
                    <a:cubicBezTo>
                      <a:pt x="622" y="54"/>
                      <a:pt x="622" y="54"/>
                      <a:pt x="622" y="54"/>
                    </a:cubicBezTo>
                    <a:cubicBezTo>
                      <a:pt x="621" y="56"/>
                      <a:pt x="621" y="56"/>
                      <a:pt x="621" y="56"/>
                    </a:cubicBezTo>
                    <a:cubicBezTo>
                      <a:pt x="622" y="57"/>
                      <a:pt x="622" y="57"/>
                      <a:pt x="622" y="57"/>
                    </a:cubicBezTo>
                    <a:cubicBezTo>
                      <a:pt x="622" y="58"/>
                      <a:pt x="622" y="58"/>
                      <a:pt x="622" y="58"/>
                    </a:cubicBezTo>
                    <a:cubicBezTo>
                      <a:pt x="621" y="58"/>
                      <a:pt x="621" y="58"/>
                      <a:pt x="621" y="58"/>
                    </a:cubicBezTo>
                    <a:cubicBezTo>
                      <a:pt x="620" y="57"/>
                      <a:pt x="620" y="57"/>
                      <a:pt x="620" y="57"/>
                    </a:cubicBezTo>
                    <a:cubicBezTo>
                      <a:pt x="618" y="57"/>
                      <a:pt x="618" y="57"/>
                      <a:pt x="618" y="57"/>
                    </a:cubicBezTo>
                    <a:cubicBezTo>
                      <a:pt x="616" y="55"/>
                      <a:pt x="616" y="55"/>
                      <a:pt x="616" y="55"/>
                    </a:cubicBezTo>
                    <a:cubicBezTo>
                      <a:pt x="614" y="55"/>
                      <a:pt x="614" y="55"/>
                      <a:pt x="614" y="55"/>
                    </a:cubicBezTo>
                    <a:cubicBezTo>
                      <a:pt x="613" y="56"/>
                      <a:pt x="613" y="56"/>
                      <a:pt x="613" y="56"/>
                    </a:cubicBezTo>
                    <a:cubicBezTo>
                      <a:pt x="612" y="58"/>
                      <a:pt x="612" y="58"/>
                      <a:pt x="612" y="58"/>
                    </a:cubicBezTo>
                    <a:cubicBezTo>
                      <a:pt x="613" y="60"/>
                      <a:pt x="613" y="60"/>
                      <a:pt x="613" y="60"/>
                    </a:cubicBezTo>
                    <a:cubicBezTo>
                      <a:pt x="613" y="61"/>
                      <a:pt x="613" y="61"/>
                      <a:pt x="613" y="61"/>
                    </a:cubicBezTo>
                    <a:cubicBezTo>
                      <a:pt x="612" y="61"/>
                      <a:pt x="612" y="61"/>
                      <a:pt x="612" y="61"/>
                    </a:cubicBezTo>
                    <a:cubicBezTo>
                      <a:pt x="612" y="59"/>
                      <a:pt x="612" y="59"/>
                      <a:pt x="612" y="59"/>
                    </a:cubicBezTo>
                    <a:cubicBezTo>
                      <a:pt x="610" y="58"/>
                      <a:pt x="610" y="58"/>
                      <a:pt x="610" y="58"/>
                    </a:cubicBezTo>
                    <a:cubicBezTo>
                      <a:pt x="608" y="57"/>
                      <a:pt x="608" y="57"/>
                      <a:pt x="608" y="57"/>
                    </a:cubicBezTo>
                    <a:cubicBezTo>
                      <a:pt x="607" y="58"/>
                      <a:pt x="607" y="58"/>
                      <a:pt x="607" y="58"/>
                    </a:cubicBezTo>
                    <a:cubicBezTo>
                      <a:pt x="606" y="56"/>
                      <a:pt x="606" y="56"/>
                      <a:pt x="606" y="56"/>
                    </a:cubicBezTo>
                    <a:cubicBezTo>
                      <a:pt x="605" y="56"/>
                      <a:pt x="605" y="56"/>
                      <a:pt x="605" y="56"/>
                    </a:cubicBezTo>
                    <a:cubicBezTo>
                      <a:pt x="604" y="57"/>
                      <a:pt x="604" y="57"/>
                      <a:pt x="604" y="57"/>
                    </a:cubicBezTo>
                    <a:cubicBezTo>
                      <a:pt x="605" y="59"/>
                      <a:pt x="605" y="59"/>
                      <a:pt x="605" y="59"/>
                    </a:cubicBezTo>
                    <a:cubicBezTo>
                      <a:pt x="605" y="62"/>
                      <a:pt x="605" y="62"/>
                      <a:pt x="605" y="62"/>
                    </a:cubicBezTo>
                    <a:cubicBezTo>
                      <a:pt x="606" y="64"/>
                      <a:pt x="606" y="64"/>
                      <a:pt x="606" y="64"/>
                    </a:cubicBezTo>
                    <a:cubicBezTo>
                      <a:pt x="607" y="65"/>
                      <a:pt x="607" y="65"/>
                      <a:pt x="607" y="65"/>
                    </a:cubicBezTo>
                    <a:cubicBezTo>
                      <a:pt x="610" y="66"/>
                      <a:pt x="610" y="66"/>
                      <a:pt x="610" y="66"/>
                    </a:cubicBezTo>
                    <a:cubicBezTo>
                      <a:pt x="611" y="67"/>
                      <a:pt x="611" y="67"/>
                      <a:pt x="611" y="67"/>
                    </a:cubicBezTo>
                    <a:cubicBezTo>
                      <a:pt x="610" y="67"/>
                      <a:pt x="610" y="67"/>
                      <a:pt x="610" y="67"/>
                    </a:cubicBezTo>
                    <a:cubicBezTo>
                      <a:pt x="608" y="67"/>
                      <a:pt x="608" y="67"/>
                      <a:pt x="608" y="67"/>
                    </a:cubicBezTo>
                    <a:cubicBezTo>
                      <a:pt x="610" y="68"/>
                      <a:pt x="610" y="68"/>
                      <a:pt x="610" y="68"/>
                    </a:cubicBezTo>
                    <a:cubicBezTo>
                      <a:pt x="611" y="70"/>
                      <a:pt x="611" y="70"/>
                      <a:pt x="611" y="70"/>
                    </a:cubicBezTo>
                    <a:cubicBezTo>
                      <a:pt x="612" y="71"/>
                      <a:pt x="612" y="71"/>
                      <a:pt x="612" y="71"/>
                    </a:cubicBezTo>
                    <a:cubicBezTo>
                      <a:pt x="615" y="71"/>
                      <a:pt x="615" y="71"/>
                      <a:pt x="615" y="71"/>
                    </a:cubicBezTo>
                    <a:cubicBezTo>
                      <a:pt x="616" y="70"/>
                      <a:pt x="616" y="70"/>
                      <a:pt x="616" y="70"/>
                    </a:cubicBezTo>
                    <a:cubicBezTo>
                      <a:pt x="617" y="70"/>
                      <a:pt x="617" y="70"/>
                      <a:pt x="617" y="70"/>
                    </a:cubicBezTo>
                    <a:cubicBezTo>
                      <a:pt x="617" y="71"/>
                      <a:pt x="617" y="71"/>
                      <a:pt x="617" y="71"/>
                    </a:cubicBezTo>
                    <a:cubicBezTo>
                      <a:pt x="616" y="72"/>
                      <a:pt x="616" y="72"/>
                      <a:pt x="616" y="72"/>
                    </a:cubicBezTo>
                    <a:cubicBezTo>
                      <a:pt x="615" y="75"/>
                      <a:pt x="615" y="75"/>
                      <a:pt x="615" y="75"/>
                    </a:cubicBezTo>
                    <a:cubicBezTo>
                      <a:pt x="614" y="76"/>
                      <a:pt x="614" y="76"/>
                      <a:pt x="614" y="76"/>
                    </a:cubicBezTo>
                    <a:cubicBezTo>
                      <a:pt x="611" y="73"/>
                      <a:pt x="611" y="73"/>
                      <a:pt x="611" y="73"/>
                    </a:cubicBezTo>
                    <a:cubicBezTo>
                      <a:pt x="606" y="72"/>
                      <a:pt x="606" y="72"/>
                      <a:pt x="606" y="72"/>
                    </a:cubicBezTo>
                    <a:cubicBezTo>
                      <a:pt x="604" y="70"/>
                      <a:pt x="604" y="70"/>
                      <a:pt x="604" y="70"/>
                    </a:cubicBezTo>
                    <a:cubicBezTo>
                      <a:pt x="603" y="69"/>
                      <a:pt x="603" y="69"/>
                      <a:pt x="603" y="69"/>
                    </a:cubicBezTo>
                    <a:cubicBezTo>
                      <a:pt x="602" y="68"/>
                      <a:pt x="602" y="68"/>
                      <a:pt x="602" y="68"/>
                    </a:cubicBezTo>
                    <a:cubicBezTo>
                      <a:pt x="602" y="68"/>
                      <a:pt x="602" y="68"/>
                      <a:pt x="602" y="68"/>
                    </a:cubicBezTo>
                    <a:cubicBezTo>
                      <a:pt x="601" y="70"/>
                      <a:pt x="601" y="70"/>
                      <a:pt x="601" y="70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600" y="72"/>
                      <a:pt x="600" y="72"/>
                      <a:pt x="600" y="72"/>
                    </a:cubicBezTo>
                    <a:cubicBezTo>
                      <a:pt x="601" y="75"/>
                      <a:pt x="601" y="75"/>
                      <a:pt x="601" y="75"/>
                    </a:cubicBezTo>
                    <a:cubicBezTo>
                      <a:pt x="600" y="76"/>
                      <a:pt x="600" y="76"/>
                      <a:pt x="600" y="76"/>
                    </a:cubicBezTo>
                    <a:cubicBezTo>
                      <a:pt x="598" y="75"/>
                      <a:pt x="598" y="75"/>
                      <a:pt x="598" y="75"/>
                    </a:cubicBezTo>
                    <a:cubicBezTo>
                      <a:pt x="598" y="78"/>
                      <a:pt x="598" y="78"/>
                      <a:pt x="598" y="78"/>
                    </a:cubicBezTo>
                    <a:cubicBezTo>
                      <a:pt x="597" y="79"/>
                      <a:pt x="597" y="79"/>
                      <a:pt x="597" y="79"/>
                    </a:cubicBezTo>
                    <a:cubicBezTo>
                      <a:pt x="597" y="83"/>
                      <a:pt x="597" y="83"/>
                      <a:pt x="597" y="83"/>
                    </a:cubicBezTo>
                    <a:cubicBezTo>
                      <a:pt x="599" y="84"/>
                      <a:pt x="599" y="84"/>
                      <a:pt x="599" y="84"/>
                    </a:cubicBezTo>
                    <a:cubicBezTo>
                      <a:pt x="601" y="84"/>
                      <a:pt x="601" y="84"/>
                      <a:pt x="601" y="84"/>
                    </a:cubicBezTo>
                    <a:cubicBezTo>
                      <a:pt x="603" y="85"/>
                      <a:pt x="603" y="85"/>
                      <a:pt x="603" y="85"/>
                    </a:cubicBezTo>
                    <a:cubicBezTo>
                      <a:pt x="605" y="85"/>
                      <a:pt x="605" y="85"/>
                      <a:pt x="605" y="85"/>
                    </a:cubicBezTo>
                    <a:cubicBezTo>
                      <a:pt x="605" y="85"/>
                      <a:pt x="605" y="85"/>
                      <a:pt x="605" y="85"/>
                    </a:cubicBezTo>
                    <a:cubicBezTo>
                      <a:pt x="604" y="86"/>
                      <a:pt x="604" y="86"/>
                      <a:pt x="604" y="86"/>
                    </a:cubicBezTo>
                    <a:cubicBezTo>
                      <a:pt x="602" y="86"/>
                      <a:pt x="602" y="86"/>
                      <a:pt x="602" y="86"/>
                    </a:cubicBezTo>
                    <a:cubicBezTo>
                      <a:pt x="599" y="86"/>
                      <a:pt x="599" y="86"/>
                      <a:pt x="599" y="86"/>
                    </a:cubicBezTo>
                    <a:cubicBezTo>
                      <a:pt x="598" y="85"/>
                      <a:pt x="598" y="85"/>
                      <a:pt x="598" y="85"/>
                    </a:cubicBezTo>
                    <a:cubicBezTo>
                      <a:pt x="596" y="85"/>
                      <a:pt x="596" y="85"/>
                      <a:pt x="596" y="85"/>
                    </a:cubicBezTo>
                    <a:cubicBezTo>
                      <a:pt x="593" y="89"/>
                      <a:pt x="593" y="89"/>
                      <a:pt x="593" y="89"/>
                    </a:cubicBezTo>
                    <a:cubicBezTo>
                      <a:pt x="593" y="90"/>
                      <a:pt x="593" y="90"/>
                      <a:pt x="593" y="90"/>
                    </a:cubicBezTo>
                    <a:cubicBezTo>
                      <a:pt x="594" y="91"/>
                      <a:pt x="594" y="91"/>
                      <a:pt x="594" y="91"/>
                    </a:cubicBezTo>
                    <a:cubicBezTo>
                      <a:pt x="594" y="93"/>
                      <a:pt x="594" y="93"/>
                      <a:pt x="594" y="93"/>
                    </a:cubicBezTo>
                    <a:cubicBezTo>
                      <a:pt x="593" y="93"/>
                      <a:pt x="593" y="93"/>
                      <a:pt x="593" y="93"/>
                    </a:cubicBezTo>
                    <a:cubicBezTo>
                      <a:pt x="593" y="95"/>
                      <a:pt x="593" y="95"/>
                      <a:pt x="593" y="95"/>
                    </a:cubicBezTo>
                    <a:cubicBezTo>
                      <a:pt x="594" y="96"/>
                      <a:pt x="594" y="96"/>
                      <a:pt x="594" y="96"/>
                    </a:cubicBezTo>
                    <a:cubicBezTo>
                      <a:pt x="595" y="95"/>
                      <a:pt x="595" y="95"/>
                      <a:pt x="595" y="95"/>
                    </a:cubicBezTo>
                    <a:cubicBezTo>
                      <a:pt x="597" y="95"/>
                      <a:pt x="597" y="95"/>
                      <a:pt x="597" y="95"/>
                    </a:cubicBezTo>
                    <a:cubicBezTo>
                      <a:pt x="599" y="93"/>
                      <a:pt x="599" y="93"/>
                      <a:pt x="599" y="93"/>
                    </a:cubicBezTo>
                    <a:cubicBezTo>
                      <a:pt x="600" y="94"/>
                      <a:pt x="600" y="94"/>
                      <a:pt x="600" y="94"/>
                    </a:cubicBezTo>
                    <a:cubicBezTo>
                      <a:pt x="599" y="96"/>
                      <a:pt x="599" y="96"/>
                      <a:pt x="599" y="96"/>
                    </a:cubicBezTo>
                    <a:cubicBezTo>
                      <a:pt x="598" y="96"/>
                      <a:pt x="598" y="96"/>
                      <a:pt x="598" y="96"/>
                    </a:cubicBezTo>
                    <a:cubicBezTo>
                      <a:pt x="597" y="98"/>
                      <a:pt x="597" y="98"/>
                      <a:pt x="597" y="98"/>
                    </a:cubicBezTo>
                    <a:cubicBezTo>
                      <a:pt x="597" y="99"/>
                      <a:pt x="597" y="99"/>
                      <a:pt x="597" y="99"/>
                    </a:cubicBezTo>
                    <a:cubicBezTo>
                      <a:pt x="599" y="99"/>
                      <a:pt x="599" y="99"/>
                      <a:pt x="599" y="99"/>
                    </a:cubicBezTo>
                    <a:cubicBezTo>
                      <a:pt x="600" y="97"/>
                      <a:pt x="600" y="97"/>
                      <a:pt x="600" y="97"/>
                    </a:cubicBezTo>
                    <a:cubicBezTo>
                      <a:pt x="602" y="97"/>
                      <a:pt x="602" y="97"/>
                      <a:pt x="602" y="97"/>
                    </a:cubicBezTo>
                    <a:cubicBezTo>
                      <a:pt x="603" y="96"/>
                      <a:pt x="603" y="96"/>
                      <a:pt x="603" y="96"/>
                    </a:cubicBezTo>
                    <a:cubicBezTo>
                      <a:pt x="603" y="97"/>
                      <a:pt x="603" y="97"/>
                      <a:pt x="603" y="97"/>
                    </a:cubicBezTo>
                    <a:cubicBezTo>
                      <a:pt x="602" y="98"/>
                      <a:pt x="602" y="98"/>
                      <a:pt x="602" y="98"/>
                    </a:cubicBezTo>
                    <a:cubicBezTo>
                      <a:pt x="604" y="99"/>
                      <a:pt x="604" y="99"/>
                      <a:pt x="604" y="99"/>
                    </a:cubicBezTo>
                    <a:cubicBezTo>
                      <a:pt x="606" y="99"/>
                      <a:pt x="606" y="99"/>
                      <a:pt x="606" y="99"/>
                    </a:cubicBezTo>
                    <a:cubicBezTo>
                      <a:pt x="607" y="100"/>
                      <a:pt x="607" y="100"/>
                      <a:pt x="607" y="100"/>
                    </a:cubicBezTo>
                    <a:cubicBezTo>
                      <a:pt x="605" y="100"/>
                      <a:pt x="605" y="100"/>
                      <a:pt x="605" y="100"/>
                    </a:cubicBezTo>
                    <a:cubicBezTo>
                      <a:pt x="605" y="102"/>
                      <a:pt x="605" y="102"/>
                      <a:pt x="605" y="102"/>
                    </a:cubicBezTo>
                    <a:cubicBezTo>
                      <a:pt x="607" y="102"/>
                      <a:pt x="607" y="102"/>
                      <a:pt x="607" y="102"/>
                    </a:cubicBezTo>
                    <a:cubicBezTo>
                      <a:pt x="609" y="101"/>
                      <a:pt x="609" y="101"/>
                      <a:pt x="609" y="101"/>
                    </a:cubicBezTo>
                    <a:cubicBezTo>
                      <a:pt x="611" y="103"/>
                      <a:pt x="611" y="103"/>
                      <a:pt x="611" y="103"/>
                    </a:cubicBezTo>
                    <a:cubicBezTo>
                      <a:pt x="616" y="104"/>
                      <a:pt x="616" y="104"/>
                      <a:pt x="616" y="104"/>
                    </a:cubicBezTo>
                    <a:cubicBezTo>
                      <a:pt x="616" y="105"/>
                      <a:pt x="616" y="105"/>
                      <a:pt x="616" y="105"/>
                    </a:cubicBezTo>
                    <a:cubicBezTo>
                      <a:pt x="612" y="105"/>
                      <a:pt x="612" y="105"/>
                      <a:pt x="612" y="105"/>
                    </a:cubicBezTo>
                    <a:cubicBezTo>
                      <a:pt x="610" y="105"/>
                      <a:pt x="610" y="105"/>
                      <a:pt x="610" y="105"/>
                    </a:cubicBezTo>
                    <a:cubicBezTo>
                      <a:pt x="608" y="103"/>
                      <a:pt x="608" y="103"/>
                      <a:pt x="608" y="103"/>
                    </a:cubicBezTo>
                    <a:cubicBezTo>
                      <a:pt x="605" y="104"/>
                      <a:pt x="605" y="104"/>
                      <a:pt x="605" y="104"/>
                    </a:cubicBezTo>
                    <a:cubicBezTo>
                      <a:pt x="605" y="105"/>
                      <a:pt x="605" y="105"/>
                      <a:pt x="605" y="105"/>
                    </a:cubicBezTo>
                    <a:cubicBezTo>
                      <a:pt x="608" y="107"/>
                      <a:pt x="608" y="107"/>
                      <a:pt x="608" y="107"/>
                    </a:cubicBezTo>
                    <a:cubicBezTo>
                      <a:pt x="612" y="107"/>
                      <a:pt x="612" y="107"/>
                      <a:pt x="612" y="107"/>
                    </a:cubicBezTo>
                    <a:cubicBezTo>
                      <a:pt x="615" y="107"/>
                      <a:pt x="615" y="107"/>
                      <a:pt x="615" y="107"/>
                    </a:cubicBezTo>
                    <a:cubicBezTo>
                      <a:pt x="617" y="108"/>
                      <a:pt x="617" y="108"/>
                      <a:pt x="617" y="108"/>
                    </a:cubicBezTo>
                    <a:cubicBezTo>
                      <a:pt x="612" y="109"/>
                      <a:pt x="612" y="109"/>
                      <a:pt x="612" y="109"/>
                    </a:cubicBezTo>
                    <a:cubicBezTo>
                      <a:pt x="611" y="108"/>
                      <a:pt x="611" y="108"/>
                      <a:pt x="611" y="108"/>
                    </a:cubicBezTo>
                    <a:cubicBezTo>
                      <a:pt x="607" y="108"/>
                      <a:pt x="607" y="108"/>
                      <a:pt x="607" y="108"/>
                    </a:cubicBezTo>
                    <a:cubicBezTo>
                      <a:pt x="605" y="108"/>
                      <a:pt x="605" y="108"/>
                      <a:pt x="605" y="108"/>
                    </a:cubicBezTo>
                    <a:cubicBezTo>
                      <a:pt x="604" y="106"/>
                      <a:pt x="604" y="106"/>
                      <a:pt x="604" y="106"/>
                    </a:cubicBezTo>
                    <a:cubicBezTo>
                      <a:pt x="602" y="105"/>
                      <a:pt x="602" y="105"/>
                      <a:pt x="602" y="105"/>
                    </a:cubicBezTo>
                    <a:cubicBezTo>
                      <a:pt x="599" y="103"/>
                      <a:pt x="599" y="103"/>
                      <a:pt x="599" y="103"/>
                    </a:cubicBezTo>
                    <a:cubicBezTo>
                      <a:pt x="598" y="104"/>
                      <a:pt x="598" y="104"/>
                      <a:pt x="598" y="104"/>
                    </a:cubicBezTo>
                    <a:cubicBezTo>
                      <a:pt x="597" y="105"/>
                      <a:pt x="597" y="105"/>
                      <a:pt x="597" y="105"/>
                    </a:cubicBezTo>
                    <a:cubicBezTo>
                      <a:pt x="594" y="105"/>
                      <a:pt x="594" y="105"/>
                      <a:pt x="594" y="105"/>
                    </a:cubicBezTo>
                    <a:cubicBezTo>
                      <a:pt x="593" y="107"/>
                      <a:pt x="593" y="107"/>
                      <a:pt x="593" y="107"/>
                    </a:cubicBezTo>
                    <a:cubicBezTo>
                      <a:pt x="592" y="110"/>
                      <a:pt x="592" y="110"/>
                      <a:pt x="592" y="110"/>
                    </a:cubicBezTo>
                    <a:cubicBezTo>
                      <a:pt x="594" y="112"/>
                      <a:pt x="594" y="112"/>
                      <a:pt x="594" y="112"/>
                    </a:cubicBezTo>
                    <a:cubicBezTo>
                      <a:pt x="594" y="114"/>
                      <a:pt x="594" y="114"/>
                      <a:pt x="594" y="114"/>
                    </a:cubicBezTo>
                    <a:cubicBezTo>
                      <a:pt x="593" y="115"/>
                      <a:pt x="593" y="115"/>
                      <a:pt x="593" y="115"/>
                    </a:cubicBezTo>
                    <a:cubicBezTo>
                      <a:pt x="592" y="112"/>
                      <a:pt x="592" y="112"/>
                      <a:pt x="592" y="112"/>
                    </a:cubicBezTo>
                    <a:cubicBezTo>
                      <a:pt x="591" y="112"/>
                      <a:pt x="591" y="112"/>
                      <a:pt x="591" y="112"/>
                    </a:cubicBezTo>
                    <a:cubicBezTo>
                      <a:pt x="590" y="116"/>
                      <a:pt x="590" y="116"/>
                      <a:pt x="590" y="116"/>
                    </a:cubicBezTo>
                    <a:cubicBezTo>
                      <a:pt x="590" y="119"/>
                      <a:pt x="590" y="119"/>
                      <a:pt x="590" y="119"/>
                    </a:cubicBezTo>
                    <a:cubicBezTo>
                      <a:pt x="592" y="119"/>
                      <a:pt x="592" y="119"/>
                      <a:pt x="592" y="119"/>
                    </a:cubicBezTo>
                    <a:cubicBezTo>
                      <a:pt x="592" y="118"/>
                      <a:pt x="592" y="118"/>
                      <a:pt x="592" y="118"/>
                    </a:cubicBezTo>
                    <a:cubicBezTo>
                      <a:pt x="593" y="119"/>
                      <a:pt x="593" y="119"/>
                      <a:pt x="593" y="119"/>
                    </a:cubicBezTo>
                    <a:cubicBezTo>
                      <a:pt x="595" y="121"/>
                      <a:pt x="595" y="121"/>
                      <a:pt x="595" y="121"/>
                    </a:cubicBezTo>
                    <a:cubicBezTo>
                      <a:pt x="596" y="121"/>
                      <a:pt x="596" y="121"/>
                      <a:pt x="596" y="121"/>
                    </a:cubicBezTo>
                    <a:cubicBezTo>
                      <a:pt x="595" y="122"/>
                      <a:pt x="595" y="122"/>
                      <a:pt x="595" y="122"/>
                    </a:cubicBezTo>
                    <a:cubicBezTo>
                      <a:pt x="594" y="122"/>
                      <a:pt x="594" y="122"/>
                      <a:pt x="594" y="122"/>
                    </a:cubicBezTo>
                    <a:cubicBezTo>
                      <a:pt x="592" y="121"/>
                      <a:pt x="592" y="121"/>
                      <a:pt x="592" y="121"/>
                    </a:cubicBezTo>
                    <a:cubicBezTo>
                      <a:pt x="589" y="121"/>
                      <a:pt x="589" y="121"/>
                      <a:pt x="589" y="121"/>
                    </a:cubicBezTo>
                    <a:cubicBezTo>
                      <a:pt x="589" y="124"/>
                      <a:pt x="589" y="124"/>
                      <a:pt x="589" y="124"/>
                    </a:cubicBezTo>
                    <a:cubicBezTo>
                      <a:pt x="590" y="126"/>
                      <a:pt x="590" y="126"/>
                      <a:pt x="590" y="126"/>
                    </a:cubicBezTo>
                    <a:cubicBezTo>
                      <a:pt x="591" y="125"/>
                      <a:pt x="591" y="125"/>
                      <a:pt x="591" y="125"/>
                    </a:cubicBezTo>
                    <a:cubicBezTo>
                      <a:pt x="590" y="126"/>
                      <a:pt x="590" y="126"/>
                      <a:pt x="590" y="126"/>
                    </a:cubicBezTo>
                    <a:cubicBezTo>
                      <a:pt x="590" y="131"/>
                      <a:pt x="590" y="131"/>
                      <a:pt x="590" y="131"/>
                    </a:cubicBezTo>
                    <a:cubicBezTo>
                      <a:pt x="592" y="130"/>
                      <a:pt x="592" y="130"/>
                      <a:pt x="592" y="130"/>
                    </a:cubicBezTo>
                    <a:cubicBezTo>
                      <a:pt x="593" y="130"/>
                      <a:pt x="593" y="130"/>
                      <a:pt x="593" y="130"/>
                    </a:cubicBezTo>
                    <a:cubicBezTo>
                      <a:pt x="593" y="133"/>
                      <a:pt x="593" y="133"/>
                      <a:pt x="593" y="133"/>
                    </a:cubicBezTo>
                    <a:cubicBezTo>
                      <a:pt x="596" y="134"/>
                      <a:pt x="596" y="134"/>
                      <a:pt x="596" y="134"/>
                    </a:cubicBezTo>
                    <a:cubicBezTo>
                      <a:pt x="600" y="137"/>
                      <a:pt x="600" y="137"/>
                      <a:pt x="600" y="137"/>
                    </a:cubicBezTo>
                    <a:cubicBezTo>
                      <a:pt x="601" y="136"/>
                      <a:pt x="601" y="136"/>
                      <a:pt x="601" y="136"/>
                    </a:cubicBezTo>
                    <a:cubicBezTo>
                      <a:pt x="602" y="134"/>
                      <a:pt x="602" y="134"/>
                      <a:pt x="602" y="134"/>
                    </a:cubicBezTo>
                    <a:cubicBezTo>
                      <a:pt x="602" y="132"/>
                      <a:pt x="602" y="132"/>
                      <a:pt x="602" y="132"/>
                    </a:cubicBezTo>
                    <a:cubicBezTo>
                      <a:pt x="604" y="133"/>
                      <a:pt x="604" y="133"/>
                      <a:pt x="604" y="133"/>
                    </a:cubicBezTo>
                    <a:cubicBezTo>
                      <a:pt x="605" y="134"/>
                      <a:pt x="605" y="134"/>
                      <a:pt x="605" y="134"/>
                    </a:cubicBezTo>
                    <a:cubicBezTo>
                      <a:pt x="604" y="136"/>
                      <a:pt x="604" y="136"/>
                      <a:pt x="604" y="136"/>
                    </a:cubicBezTo>
                    <a:cubicBezTo>
                      <a:pt x="605" y="138"/>
                      <a:pt x="605" y="138"/>
                      <a:pt x="605" y="138"/>
                    </a:cubicBezTo>
                    <a:cubicBezTo>
                      <a:pt x="606" y="138"/>
                      <a:pt x="606" y="138"/>
                      <a:pt x="606" y="138"/>
                    </a:cubicBezTo>
                    <a:cubicBezTo>
                      <a:pt x="607" y="133"/>
                      <a:pt x="607" y="133"/>
                      <a:pt x="607" y="133"/>
                    </a:cubicBezTo>
                    <a:cubicBezTo>
                      <a:pt x="607" y="129"/>
                      <a:pt x="607" y="129"/>
                      <a:pt x="607" y="129"/>
                    </a:cubicBezTo>
                    <a:cubicBezTo>
                      <a:pt x="608" y="126"/>
                      <a:pt x="608" y="126"/>
                      <a:pt x="608" y="126"/>
                    </a:cubicBezTo>
                    <a:cubicBezTo>
                      <a:pt x="610" y="124"/>
                      <a:pt x="610" y="124"/>
                      <a:pt x="610" y="124"/>
                    </a:cubicBezTo>
                    <a:cubicBezTo>
                      <a:pt x="611" y="122"/>
                      <a:pt x="611" y="122"/>
                      <a:pt x="611" y="122"/>
                    </a:cubicBezTo>
                    <a:cubicBezTo>
                      <a:pt x="611" y="124"/>
                      <a:pt x="611" y="124"/>
                      <a:pt x="611" y="124"/>
                    </a:cubicBezTo>
                    <a:cubicBezTo>
                      <a:pt x="609" y="128"/>
                      <a:pt x="609" y="128"/>
                      <a:pt x="609" y="128"/>
                    </a:cubicBezTo>
                    <a:cubicBezTo>
                      <a:pt x="608" y="131"/>
                      <a:pt x="608" y="131"/>
                      <a:pt x="608" y="131"/>
                    </a:cubicBezTo>
                    <a:cubicBezTo>
                      <a:pt x="609" y="132"/>
                      <a:pt x="609" y="132"/>
                      <a:pt x="609" y="132"/>
                    </a:cubicBezTo>
                    <a:cubicBezTo>
                      <a:pt x="608" y="136"/>
                      <a:pt x="608" y="136"/>
                      <a:pt x="608" y="136"/>
                    </a:cubicBezTo>
                    <a:cubicBezTo>
                      <a:pt x="609" y="138"/>
                      <a:pt x="609" y="138"/>
                      <a:pt x="609" y="138"/>
                    </a:cubicBezTo>
                    <a:cubicBezTo>
                      <a:pt x="609" y="139"/>
                      <a:pt x="609" y="139"/>
                      <a:pt x="609" y="139"/>
                    </a:cubicBezTo>
                    <a:cubicBezTo>
                      <a:pt x="609" y="140"/>
                      <a:pt x="609" y="140"/>
                      <a:pt x="609" y="140"/>
                    </a:cubicBezTo>
                    <a:close/>
                    <a:moveTo>
                      <a:pt x="614" y="53"/>
                    </a:moveTo>
                    <a:cubicBezTo>
                      <a:pt x="614" y="52"/>
                      <a:pt x="614" y="52"/>
                      <a:pt x="614" y="52"/>
                    </a:cubicBezTo>
                    <a:cubicBezTo>
                      <a:pt x="616" y="52"/>
                      <a:pt x="616" y="52"/>
                      <a:pt x="616" y="52"/>
                    </a:cubicBezTo>
                    <a:cubicBezTo>
                      <a:pt x="616" y="53"/>
                      <a:pt x="616" y="53"/>
                      <a:pt x="616" y="53"/>
                    </a:cubicBezTo>
                    <a:cubicBezTo>
                      <a:pt x="618" y="53"/>
                      <a:pt x="618" y="53"/>
                      <a:pt x="618" y="53"/>
                    </a:cubicBezTo>
                    <a:cubicBezTo>
                      <a:pt x="618" y="54"/>
                      <a:pt x="618" y="54"/>
                      <a:pt x="618" y="54"/>
                    </a:cubicBezTo>
                    <a:cubicBezTo>
                      <a:pt x="617" y="54"/>
                      <a:pt x="617" y="54"/>
                      <a:pt x="617" y="54"/>
                    </a:cubicBezTo>
                    <a:cubicBezTo>
                      <a:pt x="616" y="54"/>
                      <a:pt x="616" y="54"/>
                      <a:pt x="616" y="54"/>
                    </a:cubicBezTo>
                    <a:cubicBezTo>
                      <a:pt x="614" y="53"/>
                      <a:pt x="614" y="53"/>
                      <a:pt x="614" y="53"/>
                    </a:cubicBezTo>
                    <a:cubicBezTo>
                      <a:pt x="614" y="53"/>
                      <a:pt x="614" y="53"/>
                      <a:pt x="614" y="53"/>
                    </a:cubicBezTo>
                    <a:close/>
                    <a:moveTo>
                      <a:pt x="615" y="139"/>
                    </a:moveTo>
                    <a:cubicBezTo>
                      <a:pt x="615" y="137"/>
                      <a:pt x="615" y="137"/>
                      <a:pt x="615" y="137"/>
                    </a:cubicBezTo>
                    <a:cubicBezTo>
                      <a:pt x="617" y="136"/>
                      <a:pt x="617" y="136"/>
                      <a:pt x="617" y="136"/>
                    </a:cubicBezTo>
                    <a:cubicBezTo>
                      <a:pt x="617" y="135"/>
                      <a:pt x="617" y="135"/>
                      <a:pt x="617" y="135"/>
                    </a:cubicBezTo>
                    <a:cubicBezTo>
                      <a:pt x="618" y="134"/>
                      <a:pt x="618" y="134"/>
                      <a:pt x="618" y="134"/>
                    </a:cubicBezTo>
                    <a:cubicBezTo>
                      <a:pt x="619" y="135"/>
                      <a:pt x="619" y="135"/>
                      <a:pt x="619" y="135"/>
                    </a:cubicBezTo>
                    <a:cubicBezTo>
                      <a:pt x="618" y="136"/>
                      <a:pt x="618" y="136"/>
                      <a:pt x="618" y="136"/>
                    </a:cubicBezTo>
                    <a:cubicBezTo>
                      <a:pt x="618" y="137"/>
                      <a:pt x="618" y="137"/>
                      <a:pt x="618" y="137"/>
                    </a:cubicBezTo>
                    <a:cubicBezTo>
                      <a:pt x="616" y="139"/>
                      <a:pt x="616" y="139"/>
                      <a:pt x="616" y="139"/>
                    </a:cubicBezTo>
                    <a:cubicBezTo>
                      <a:pt x="615" y="139"/>
                      <a:pt x="615" y="139"/>
                      <a:pt x="615" y="139"/>
                    </a:cubicBezTo>
                    <a:close/>
                    <a:moveTo>
                      <a:pt x="635" y="120"/>
                    </a:moveTo>
                    <a:cubicBezTo>
                      <a:pt x="637" y="117"/>
                      <a:pt x="637" y="117"/>
                      <a:pt x="637" y="117"/>
                    </a:cubicBezTo>
                    <a:cubicBezTo>
                      <a:pt x="639" y="117"/>
                      <a:pt x="639" y="117"/>
                      <a:pt x="639" y="117"/>
                    </a:cubicBezTo>
                    <a:cubicBezTo>
                      <a:pt x="641" y="116"/>
                      <a:pt x="641" y="116"/>
                      <a:pt x="641" y="116"/>
                    </a:cubicBezTo>
                    <a:cubicBezTo>
                      <a:pt x="642" y="117"/>
                      <a:pt x="642" y="117"/>
                      <a:pt x="642" y="117"/>
                    </a:cubicBezTo>
                    <a:cubicBezTo>
                      <a:pt x="644" y="119"/>
                      <a:pt x="644" y="119"/>
                      <a:pt x="644" y="119"/>
                    </a:cubicBezTo>
                    <a:cubicBezTo>
                      <a:pt x="644" y="120"/>
                      <a:pt x="644" y="120"/>
                      <a:pt x="644" y="120"/>
                    </a:cubicBezTo>
                    <a:cubicBezTo>
                      <a:pt x="641" y="120"/>
                      <a:pt x="641" y="120"/>
                      <a:pt x="641" y="120"/>
                    </a:cubicBezTo>
                    <a:cubicBezTo>
                      <a:pt x="640" y="121"/>
                      <a:pt x="640" y="121"/>
                      <a:pt x="640" y="121"/>
                    </a:cubicBezTo>
                    <a:cubicBezTo>
                      <a:pt x="637" y="122"/>
                      <a:pt x="637" y="122"/>
                      <a:pt x="637" y="122"/>
                    </a:cubicBezTo>
                    <a:cubicBezTo>
                      <a:pt x="636" y="121"/>
                      <a:pt x="636" y="121"/>
                      <a:pt x="636" y="121"/>
                    </a:cubicBezTo>
                    <a:cubicBezTo>
                      <a:pt x="635" y="120"/>
                      <a:pt x="635" y="120"/>
                      <a:pt x="635" y="120"/>
                    </a:cubicBezTo>
                    <a:close/>
                    <a:moveTo>
                      <a:pt x="781" y="4"/>
                    </a:moveTo>
                    <a:cubicBezTo>
                      <a:pt x="782" y="2"/>
                      <a:pt x="782" y="2"/>
                      <a:pt x="782" y="2"/>
                    </a:cubicBezTo>
                    <a:cubicBezTo>
                      <a:pt x="783" y="2"/>
                      <a:pt x="783" y="2"/>
                      <a:pt x="783" y="2"/>
                    </a:cubicBezTo>
                    <a:cubicBezTo>
                      <a:pt x="784" y="3"/>
                      <a:pt x="784" y="3"/>
                      <a:pt x="784" y="3"/>
                    </a:cubicBezTo>
                    <a:cubicBezTo>
                      <a:pt x="782" y="4"/>
                      <a:pt x="782" y="4"/>
                      <a:pt x="782" y="4"/>
                    </a:cubicBezTo>
                    <a:cubicBezTo>
                      <a:pt x="781" y="4"/>
                      <a:pt x="781" y="4"/>
                      <a:pt x="781" y="4"/>
                    </a:cubicBezTo>
                    <a:close/>
                    <a:moveTo>
                      <a:pt x="711" y="143"/>
                    </a:moveTo>
                    <a:cubicBezTo>
                      <a:pt x="710" y="144"/>
                      <a:pt x="710" y="144"/>
                      <a:pt x="710" y="144"/>
                    </a:cubicBezTo>
                    <a:cubicBezTo>
                      <a:pt x="711" y="145"/>
                      <a:pt x="711" y="145"/>
                      <a:pt x="711" y="145"/>
                    </a:cubicBezTo>
                    <a:cubicBezTo>
                      <a:pt x="713" y="145"/>
                      <a:pt x="713" y="145"/>
                      <a:pt x="713" y="145"/>
                    </a:cubicBezTo>
                    <a:cubicBezTo>
                      <a:pt x="713" y="144"/>
                      <a:pt x="713" y="144"/>
                      <a:pt x="713" y="144"/>
                    </a:cubicBezTo>
                    <a:cubicBezTo>
                      <a:pt x="712" y="143"/>
                      <a:pt x="712" y="143"/>
                      <a:pt x="712" y="143"/>
                    </a:cubicBezTo>
                    <a:cubicBezTo>
                      <a:pt x="712" y="143"/>
                      <a:pt x="711" y="143"/>
                      <a:pt x="711" y="143"/>
                    </a:cubicBezTo>
                    <a:close/>
                    <a:moveTo>
                      <a:pt x="676" y="165"/>
                    </a:moveTo>
                    <a:cubicBezTo>
                      <a:pt x="677" y="166"/>
                      <a:pt x="677" y="166"/>
                      <a:pt x="677" y="166"/>
                    </a:cubicBezTo>
                    <a:cubicBezTo>
                      <a:pt x="679" y="166"/>
                      <a:pt x="679" y="166"/>
                      <a:pt x="679" y="166"/>
                    </a:cubicBezTo>
                    <a:cubicBezTo>
                      <a:pt x="678" y="165"/>
                      <a:pt x="678" y="165"/>
                      <a:pt x="678" y="165"/>
                    </a:cubicBezTo>
                    <a:cubicBezTo>
                      <a:pt x="676" y="165"/>
                      <a:pt x="676" y="165"/>
                      <a:pt x="676" y="165"/>
                    </a:cubicBezTo>
                    <a:close/>
                    <a:moveTo>
                      <a:pt x="627" y="164"/>
                    </a:moveTo>
                    <a:cubicBezTo>
                      <a:pt x="626" y="162"/>
                      <a:pt x="626" y="162"/>
                      <a:pt x="626" y="162"/>
                    </a:cubicBezTo>
                    <a:cubicBezTo>
                      <a:pt x="626" y="161"/>
                      <a:pt x="626" y="161"/>
                      <a:pt x="626" y="161"/>
                    </a:cubicBezTo>
                    <a:cubicBezTo>
                      <a:pt x="627" y="161"/>
                      <a:pt x="627" y="161"/>
                      <a:pt x="627" y="161"/>
                    </a:cubicBezTo>
                    <a:cubicBezTo>
                      <a:pt x="628" y="162"/>
                      <a:pt x="628" y="162"/>
                      <a:pt x="628" y="162"/>
                    </a:cubicBezTo>
                    <a:cubicBezTo>
                      <a:pt x="628" y="164"/>
                      <a:pt x="628" y="164"/>
                      <a:pt x="628" y="164"/>
                    </a:cubicBezTo>
                    <a:cubicBezTo>
                      <a:pt x="627" y="164"/>
                      <a:pt x="627" y="164"/>
                      <a:pt x="627" y="164"/>
                    </a:cubicBezTo>
                    <a:cubicBezTo>
                      <a:pt x="627" y="164"/>
                      <a:pt x="627" y="164"/>
                      <a:pt x="627" y="164"/>
                    </a:cubicBezTo>
                    <a:close/>
                    <a:moveTo>
                      <a:pt x="613" y="194"/>
                    </a:moveTo>
                    <a:cubicBezTo>
                      <a:pt x="613" y="193"/>
                      <a:pt x="613" y="193"/>
                      <a:pt x="613" y="193"/>
                    </a:cubicBezTo>
                    <a:cubicBezTo>
                      <a:pt x="613" y="191"/>
                      <a:pt x="613" y="191"/>
                      <a:pt x="613" y="191"/>
                    </a:cubicBezTo>
                    <a:cubicBezTo>
                      <a:pt x="612" y="189"/>
                      <a:pt x="612" y="189"/>
                      <a:pt x="612" y="189"/>
                    </a:cubicBezTo>
                    <a:cubicBezTo>
                      <a:pt x="612" y="188"/>
                      <a:pt x="612" y="188"/>
                      <a:pt x="612" y="188"/>
                    </a:cubicBezTo>
                    <a:cubicBezTo>
                      <a:pt x="611" y="189"/>
                      <a:pt x="611" y="189"/>
                      <a:pt x="611" y="189"/>
                    </a:cubicBezTo>
                    <a:cubicBezTo>
                      <a:pt x="610" y="191"/>
                      <a:pt x="610" y="191"/>
                      <a:pt x="610" y="191"/>
                    </a:cubicBezTo>
                    <a:cubicBezTo>
                      <a:pt x="611" y="195"/>
                      <a:pt x="611" y="195"/>
                      <a:pt x="611" y="195"/>
                    </a:cubicBezTo>
                    <a:cubicBezTo>
                      <a:pt x="612" y="197"/>
                      <a:pt x="612" y="197"/>
                      <a:pt x="612" y="197"/>
                    </a:cubicBezTo>
                    <a:cubicBezTo>
                      <a:pt x="612" y="198"/>
                      <a:pt x="612" y="198"/>
                      <a:pt x="612" y="198"/>
                    </a:cubicBezTo>
                    <a:cubicBezTo>
                      <a:pt x="611" y="198"/>
                      <a:pt x="611" y="198"/>
                      <a:pt x="611" y="198"/>
                    </a:cubicBezTo>
                    <a:cubicBezTo>
                      <a:pt x="609" y="198"/>
                      <a:pt x="609" y="198"/>
                      <a:pt x="609" y="198"/>
                    </a:cubicBezTo>
                    <a:cubicBezTo>
                      <a:pt x="606" y="198"/>
                      <a:pt x="606" y="198"/>
                      <a:pt x="606" y="198"/>
                    </a:cubicBezTo>
                    <a:cubicBezTo>
                      <a:pt x="606" y="196"/>
                      <a:pt x="606" y="196"/>
                      <a:pt x="606" y="196"/>
                    </a:cubicBezTo>
                    <a:cubicBezTo>
                      <a:pt x="605" y="196"/>
                      <a:pt x="605" y="196"/>
                      <a:pt x="605" y="196"/>
                    </a:cubicBezTo>
                    <a:cubicBezTo>
                      <a:pt x="602" y="194"/>
                      <a:pt x="602" y="194"/>
                      <a:pt x="602" y="194"/>
                    </a:cubicBezTo>
                    <a:cubicBezTo>
                      <a:pt x="601" y="194"/>
                      <a:pt x="601" y="194"/>
                      <a:pt x="601" y="194"/>
                    </a:cubicBezTo>
                    <a:cubicBezTo>
                      <a:pt x="600" y="193"/>
                      <a:pt x="600" y="193"/>
                      <a:pt x="600" y="193"/>
                    </a:cubicBezTo>
                    <a:cubicBezTo>
                      <a:pt x="599" y="193"/>
                      <a:pt x="599" y="193"/>
                      <a:pt x="599" y="193"/>
                    </a:cubicBezTo>
                    <a:cubicBezTo>
                      <a:pt x="598" y="193"/>
                      <a:pt x="598" y="193"/>
                      <a:pt x="598" y="193"/>
                    </a:cubicBezTo>
                    <a:cubicBezTo>
                      <a:pt x="598" y="192"/>
                      <a:pt x="598" y="192"/>
                      <a:pt x="598" y="192"/>
                    </a:cubicBezTo>
                    <a:cubicBezTo>
                      <a:pt x="599" y="190"/>
                      <a:pt x="599" y="190"/>
                      <a:pt x="599" y="190"/>
                    </a:cubicBezTo>
                    <a:cubicBezTo>
                      <a:pt x="600" y="190"/>
                      <a:pt x="600" y="190"/>
                      <a:pt x="600" y="190"/>
                    </a:cubicBezTo>
                    <a:cubicBezTo>
                      <a:pt x="601" y="188"/>
                      <a:pt x="601" y="188"/>
                      <a:pt x="601" y="188"/>
                    </a:cubicBezTo>
                    <a:cubicBezTo>
                      <a:pt x="601" y="187"/>
                      <a:pt x="601" y="187"/>
                      <a:pt x="601" y="187"/>
                    </a:cubicBezTo>
                    <a:cubicBezTo>
                      <a:pt x="600" y="184"/>
                      <a:pt x="600" y="184"/>
                      <a:pt x="600" y="184"/>
                    </a:cubicBezTo>
                    <a:cubicBezTo>
                      <a:pt x="599" y="184"/>
                      <a:pt x="599" y="184"/>
                      <a:pt x="599" y="184"/>
                    </a:cubicBezTo>
                    <a:cubicBezTo>
                      <a:pt x="599" y="185"/>
                      <a:pt x="599" y="185"/>
                      <a:pt x="599" y="185"/>
                    </a:cubicBezTo>
                    <a:cubicBezTo>
                      <a:pt x="600" y="186"/>
                      <a:pt x="600" y="186"/>
                      <a:pt x="600" y="186"/>
                    </a:cubicBezTo>
                    <a:cubicBezTo>
                      <a:pt x="600" y="188"/>
                      <a:pt x="600" y="188"/>
                      <a:pt x="600" y="188"/>
                    </a:cubicBezTo>
                    <a:cubicBezTo>
                      <a:pt x="599" y="189"/>
                      <a:pt x="599" y="189"/>
                      <a:pt x="599" y="189"/>
                    </a:cubicBezTo>
                    <a:cubicBezTo>
                      <a:pt x="598" y="189"/>
                      <a:pt x="598" y="189"/>
                      <a:pt x="598" y="189"/>
                    </a:cubicBezTo>
                    <a:cubicBezTo>
                      <a:pt x="597" y="189"/>
                      <a:pt x="597" y="189"/>
                      <a:pt x="597" y="189"/>
                    </a:cubicBezTo>
                    <a:cubicBezTo>
                      <a:pt x="597" y="190"/>
                      <a:pt x="597" y="190"/>
                      <a:pt x="597" y="190"/>
                    </a:cubicBezTo>
                    <a:cubicBezTo>
                      <a:pt x="598" y="191"/>
                      <a:pt x="598" y="191"/>
                      <a:pt x="598" y="191"/>
                    </a:cubicBezTo>
                    <a:cubicBezTo>
                      <a:pt x="597" y="192"/>
                      <a:pt x="597" y="192"/>
                      <a:pt x="597" y="192"/>
                    </a:cubicBezTo>
                    <a:cubicBezTo>
                      <a:pt x="596" y="192"/>
                      <a:pt x="596" y="192"/>
                      <a:pt x="596" y="192"/>
                    </a:cubicBezTo>
                    <a:cubicBezTo>
                      <a:pt x="594" y="190"/>
                      <a:pt x="594" y="190"/>
                      <a:pt x="594" y="190"/>
                    </a:cubicBezTo>
                    <a:cubicBezTo>
                      <a:pt x="594" y="189"/>
                      <a:pt x="594" y="189"/>
                      <a:pt x="594" y="189"/>
                    </a:cubicBezTo>
                    <a:cubicBezTo>
                      <a:pt x="594" y="188"/>
                      <a:pt x="594" y="188"/>
                      <a:pt x="594" y="188"/>
                    </a:cubicBezTo>
                    <a:cubicBezTo>
                      <a:pt x="595" y="185"/>
                      <a:pt x="595" y="185"/>
                      <a:pt x="595" y="185"/>
                    </a:cubicBezTo>
                    <a:cubicBezTo>
                      <a:pt x="595" y="184"/>
                      <a:pt x="595" y="184"/>
                      <a:pt x="595" y="184"/>
                    </a:cubicBezTo>
                    <a:cubicBezTo>
                      <a:pt x="595" y="183"/>
                      <a:pt x="595" y="183"/>
                      <a:pt x="595" y="183"/>
                    </a:cubicBezTo>
                    <a:cubicBezTo>
                      <a:pt x="594" y="184"/>
                      <a:pt x="594" y="184"/>
                      <a:pt x="594" y="184"/>
                    </a:cubicBezTo>
                    <a:cubicBezTo>
                      <a:pt x="593" y="186"/>
                      <a:pt x="593" y="186"/>
                      <a:pt x="593" y="186"/>
                    </a:cubicBezTo>
                    <a:cubicBezTo>
                      <a:pt x="593" y="187"/>
                      <a:pt x="593" y="187"/>
                      <a:pt x="593" y="187"/>
                    </a:cubicBezTo>
                    <a:cubicBezTo>
                      <a:pt x="593" y="188"/>
                      <a:pt x="593" y="188"/>
                      <a:pt x="593" y="188"/>
                    </a:cubicBezTo>
                    <a:cubicBezTo>
                      <a:pt x="592" y="190"/>
                      <a:pt x="592" y="190"/>
                      <a:pt x="592" y="190"/>
                    </a:cubicBezTo>
                    <a:cubicBezTo>
                      <a:pt x="591" y="189"/>
                      <a:pt x="591" y="189"/>
                      <a:pt x="591" y="189"/>
                    </a:cubicBezTo>
                    <a:cubicBezTo>
                      <a:pt x="589" y="188"/>
                      <a:pt x="589" y="188"/>
                      <a:pt x="589" y="188"/>
                    </a:cubicBezTo>
                    <a:cubicBezTo>
                      <a:pt x="588" y="188"/>
                      <a:pt x="588" y="188"/>
                      <a:pt x="588" y="188"/>
                    </a:cubicBezTo>
                    <a:cubicBezTo>
                      <a:pt x="588" y="187"/>
                      <a:pt x="588" y="187"/>
                      <a:pt x="588" y="187"/>
                    </a:cubicBezTo>
                    <a:cubicBezTo>
                      <a:pt x="589" y="186"/>
                      <a:pt x="589" y="186"/>
                      <a:pt x="589" y="186"/>
                    </a:cubicBezTo>
                    <a:cubicBezTo>
                      <a:pt x="589" y="184"/>
                      <a:pt x="589" y="184"/>
                      <a:pt x="589" y="184"/>
                    </a:cubicBezTo>
                    <a:cubicBezTo>
                      <a:pt x="589" y="183"/>
                      <a:pt x="589" y="183"/>
                      <a:pt x="589" y="183"/>
                    </a:cubicBezTo>
                    <a:cubicBezTo>
                      <a:pt x="589" y="181"/>
                      <a:pt x="589" y="181"/>
                      <a:pt x="589" y="181"/>
                    </a:cubicBezTo>
                    <a:cubicBezTo>
                      <a:pt x="591" y="177"/>
                      <a:pt x="591" y="177"/>
                      <a:pt x="591" y="177"/>
                    </a:cubicBezTo>
                    <a:cubicBezTo>
                      <a:pt x="590" y="178"/>
                      <a:pt x="590" y="178"/>
                      <a:pt x="590" y="178"/>
                    </a:cubicBezTo>
                    <a:cubicBezTo>
                      <a:pt x="589" y="179"/>
                      <a:pt x="589" y="179"/>
                      <a:pt x="589" y="179"/>
                    </a:cubicBezTo>
                    <a:cubicBezTo>
                      <a:pt x="588" y="182"/>
                      <a:pt x="588" y="182"/>
                      <a:pt x="588" y="182"/>
                    </a:cubicBezTo>
                    <a:cubicBezTo>
                      <a:pt x="588" y="185"/>
                      <a:pt x="588" y="185"/>
                      <a:pt x="588" y="185"/>
                    </a:cubicBezTo>
                    <a:cubicBezTo>
                      <a:pt x="587" y="187"/>
                      <a:pt x="587" y="187"/>
                      <a:pt x="587" y="187"/>
                    </a:cubicBezTo>
                    <a:cubicBezTo>
                      <a:pt x="586" y="186"/>
                      <a:pt x="586" y="186"/>
                      <a:pt x="586" y="186"/>
                    </a:cubicBezTo>
                    <a:cubicBezTo>
                      <a:pt x="587" y="184"/>
                      <a:pt x="587" y="184"/>
                      <a:pt x="587" y="184"/>
                    </a:cubicBezTo>
                    <a:cubicBezTo>
                      <a:pt x="587" y="184"/>
                      <a:pt x="587" y="184"/>
                      <a:pt x="587" y="184"/>
                    </a:cubicBezTo>
                    <a:cubicBezTo>
                      <a:pt x="586" y="184"/>
                      <a:pt x="586" y="184"/>
                      <a:pt x="586" y="184"/>
                    </a:cubicBezTo>
                    <a:cubicBezTo>
                      <a:pt x="585" y="186"/>
                      <a:pt x="585" y="186"/>
                      <a:pt x="585" y="186"/>
                    </a:cubicBezTo>
                    <a:cubicBezTo>
                      <a:pt x="583" y="186"/>
                      <a:pt x="583" y="186"/>
                      <a:pt x="583" y="186"/>
                    </a:cubicBezTo>
                    <a:cubicBezTo>
                      <a:pt x="583" y="185"/>
                      <a:pt x="583" y="185"/>
                      <a:pt x="583" y="185"/>
                    </a:cubicBezTo>
                    <a:cubicBezTo>
                      <a:pt x="583" y="183"/>
                      <a:pt x="583" y="183"/>
                      <a:pt x="583" y="183"/>
                    </a:cubicBezTo>
                    <a:cubicBezTo>
                      <a:pt x="582" y="182"/>
                      <a:pt x="582" y="182"/>
                      <a:pt x="582" y="182"/>
                    </a:cubicBezTo>
                    <a:cubicBezTo>
                      <a:pt x="583" y="180"/>
                      <a:pt x="583" y="180"/>
                      <a:pt x="583" y="180"/>
                    </a:cubicBezTo>
                    <a:cubicBezTo>
                      <a:pt x="585" y="179"/>
                      <a:pt x="585" y="179"/>
                      <a:pt x="585" y="179"/>
                    </a:cubicBezTo>
                    <a:cubicBezTo>
                      <a:pt x="585" y="177"/>
                      <a:pt x="585" y="177"/>
                      <a:pt x="585" y="177"/>
                    </a:cubicBezTo>
                    <a:cubicBezTo>
                      <a:pt x="585" y="176"/>
                      <a:pt x="585" y="176"/>
                      <a:pt x="585" y="176"/>
                    </a:cubicBezTo>
                    <a:cubicBezTo>
                      <a:pt x="586" y="175"/>
                      <a:pt x="586" y="175"/>
                      <a:pt x="586" y="175"/>
                    </a:cubicBezTo>
                    <a:cubicBezTo>
                      <a:pt x="587" y="173"/>
                      <a:pt x="587" y="173"/>
                      <a:pt x="587" y="173"/>
                    </a:cubicBezTo>
                    <a:cubicBezTo>
                      <a:pt x="588" y="173"/>
                      <a:pt x="588" y="173"/>
                      <a:pt x="588" y="173"/>
                    </a:cubicBezTo>
                    <a:cubicBezTo>
                      <a:pt x="589" y="172"/>
                      <a:pt x="589" y="172"/>
                      <a:pt x="589" y="172"/>
                    </a:cubicBezTo>
                    <a:cubicBezTo>
                      <a:pt x="592" y="172"/>
                      <a:pt x="592" y="172"/>
                      <a:pt x="592" y="172"/>
                    </a:cubicBezTo>
                    <a:cubicBezTo>
                      <a:pt x="593" y="171"/>
                      <a:pt x="593" y="171"/>
                      <a:pt x="593" y="171"/>
                    </a:cubicBezTo>
                    <a:cubicBezTo>
                      <a:pt x="595" y="170"/>
                      <a:pt x="595" y="170"/>
                      <a:pt x="595" y="170"/>
                    </a:cubicBezTo>
                    <a:cubicBezTo>
                      <a:pt x="596" y="170"/>
                      <a:pt x="596" y="170"/>
                      <a:pt x="596" y="170"/>
                    </a:cubicBezTo>
                    <a:cubicBezTo>
                      <a:pt x="596" y="169"/>
                      <a:pt x="596" y="169"/>
                      <a:pt x="596" y="169"/>
                    </a:cubicBezTo>
                    <a:cubicBezTo>
                      <a:pt x="597" y="168"/>
                      <a:pt x="597" y="168"/>
                      <a:pt x="597" y="168"/>
                    </a:cubicBezTo>
                    <a:cubicBezTo>
                      <a:pt x="598" y="168"/>
                      <a:pt x="598" y="168"/>
                      <a:pt x="598" y="168"/>
                    </a:cubicBezTo>
                    <a:cubicBezTo>
                      <a:pt x="601" y="169"/>
                      <a:pt x="601" y="169"/>
                      <a:pt x="601" y="169"/>
                    </a:cubicBezTo>
                    <a:cubicBezTo>
                      <a:pt x="604" y="169"/>
                      <a:pt x="604" y="169"/>
                      <a:pt x="604" y="169"/>
                    </a:cubicBezTo>
                    <a:cubicBezTo>
                      <a:pt x="605" y="168"/>
                      <a:pt x="605" y="168"/>
                      <a:pt x="605" y="168"/>
                    </a:cubicBezTo>
                    <a:cubicBezTo>
                      <a:pt x="607" y="169"/>
                      <a:pt x="607" y="169"/>
                      <a:pt x="607" y="169"/>
                    </a:cubicBezTo>
                    <a:cubicBezTo>
                      <a:pt x="608" y="170"/>
                      <a:pt x="608" y="170"/>
                      <a:pt x="608" y="170"/>
                    </a:cubicBezTo>
                    <a:cubicBezTo>
                      <a:pt x="609" y="170"/>
                      <a:pt x="609" y="170"/>
                      <a:pt x="609" y="170"/>
                    </a:cubicBezTo>
                    <a:cubicBezTo>
                      <a:pt x="609" y="169"/>
                      <a:pt x="609" y="169"/>
                      <a:pt x="609" y="169"/>
                    </a:cubicBezTo>
                    <a:cubicBezTo>
                      <a:pt x="610" y="169"/>
                      <a:pt x="610" y="169"/>
                      <a:pt x="610" y="169"/>
                    </a:cubicBezTo>
                    <a:cubicBezTo>
                      <a:pt x="612" y="171"/>
                      <a:pt x="612" y="171"/>
                      <a:pt x="612" y="171"/>
                    </a:cubicBezTo>
                    <a:cubicBezTo>
                      <a:pt x="613" y="170"/>
                      <a:pt x="613" y="170"/>
                      <a:pt x="613" y="170"/>
                    </a:cubicBezTo>
                    <a:cubicBezTo>
                      <a:pt x="615" y="170"/>
                      <a:pt x="615" y="170"/>
                      <a:pt x="615" y="170"/>
                    </a:cubicBezTo>
                    <a:cubicBezTo>
                      <a:pt x="615" y="169"/>
                      <a:pt x="615" y="169"/>
                      <a:pt x="615" y="169"/>
                    </a:cubicBezTo>
                    <a:cubicBezTo>
                      <a:pt x="615" y="169"/>
                      <a:pt x="615" y="169"/>
                      <a:pt x="615" y="169"/>
                    </a:cubicBezTo>
                    <a:cubicBezTo>
                      <a:pt x="613" y="169"/>
                      <a:pt x="613" y="169"/>
                      <a:pt x="613" y="169"/>
                    </a:cubicBezTo>
                    <a:cubicBezTo>
                      <a:pt x="612" y="168"/>
                      <a:pt x="612" y="168"/>
                      <a:pt x="612" y="168"/>
                    </a:cubicBezTo>
                    <a:cubicBezTo>
                      <a:pt x="611" y="168"/>
                      <a:pt x="611" y="168"/>
                      <a:pt x="611" y="168"/>
                    </a:cubicBezTo>
                    <a:cubicBezTo>
                      <a:pt x="611" y="167"/>
                      <a:pt x="611" y="167"/>
                      <a:pt x="611" y="167"/>
                    </a:cubicBezTo>
                    <a:cubicBezTo>
                      <a:pt x="613" y="166"/>
                      <a:pt x="613" y="166"/>
                      <a:pt x="613" y="166"/>
                    </a:cubicBezTo>
                    <a:cubicBezTo>
                      <a:pt x="613" y="165"/>
                      <a:pt x="613" y="165"/>
                      <a:pt x="613" y="165"/>
                    </a:cubicBezTo>
                    <a:cubicBezTo>
                      <a:pt x="611" y="165"/>
                      <a:pt x="611" y="165"/>
                      <a:pt x="611" y="165"/>
                    </a:cubicBezTo>
                    <a:cubicBezTo>
                      <a:pt x="611" y="164"/>
                      <a:pt x="611" y="164"/>
                      <a:pt x="611" y="164"/>
                    </a:cubicBezTo>
                    <a:cubicBezTo>
                      <a:pt x="613" y="164"/>
                      <a:pt x="613" y="164"/>
                      <a:pt x="613" y="164"/>
                    </a:cubicBezTo>
                    <a:cubicBezTo>
                      <a:pt x="614" y="164"/>
                      <a:pt x="614" y="164"/>
                      <a:pt x="614" y="164"/>
                    </a:cubicBezTo>
                    <a:cubicBezTo>
                      <a:pt x="612" y="163"/>
                      <a:pt x="612" y="163"/>
                      <a:pt x="612" y="163"/>
                    </a:cubicBezTo>
                    <a:cubicBezTo>
                      <a:pt x="611" y="163"/>
                      <a:pt x="611" y="163"/>
                      <a:pt x="611" y="163"/>
                    </a:cubicBezTo>
                    <a:cubicBezTo>
                      <a:pt x="610" y="164"/>
                      <a:pt x="610" y="164"/>
                      <a:pt x="610" y="164"/>
                    </a:cubicBezTo>
                    <a:cubicBezTo>
                      <a:pt x="609" y="162"/>
                      <a:pt x="609" y="162"/>
                      <a:pt x="609" y="162"/>
                    </a:cubicBezTo>
                    <a:cubicBezTo>
                      <a:pt x="609" y="161"/>
                      <a:pt x="609" y="161"/>
                      <a:pt x="609" y="161"/>
                    </a:cubicBezTo>
                    <a:cubicBezTo>
                      <a:pt x="611" y="159"/>
                      <a:pt x="611" y="159"/>
                      <a:pt x="611" y="159"/>
                    </a:cubicBezTo>
                    <a:cubicBezTo>
                      <a:pt x="611" y="158"/>
                      <a:pt x="611" y="158"/>
                      <a:pt x="611" y="158"/>
                    </a:cubicBezTo>
                    <a:cubicBezTo>
                      <a:pt x="610" y="158"/>
                      <a:pt x="610" y="158"/>
                      <a:pt x="610" y="158"/>
                    </a:cubicBezTo>
                    <a:cubicBezTo>
                      <a:pt x="609" y="157"/>
                      <a:pt x="609" y="157"/>
                      <a:pt x="609" y="157"/>
                    </a:cubicBezTo>
                    <a:cubicBezTo>
                      <a:pt x="609" y="154"/>
                      <a:pt x="609" y="154"/>
                      <a:pt x="609" y="154"/>
                    </a:cubicBezTo>
                    <a:cubicBezTo>
                      <a:pt x="610" y="153"/>
                      <a:pt x="610" y="153"/>
                      <a:pt x="610" y="153"/>
                    </a:cubicBezTo>
                    <a:cubicBezTo>
                      <a:pt x="610" y="151"/>
                      <a:pt x="610" y="151"/>
                      <a:pt x="610" y="151"/>
                    </a:cubicBezTo>
                    <a:cubicBezTo>
                      <a:pt x="610" y="149"/>
                      <a:pt x="610" y="149"/>
                      <a:pt x="610" y="149"/>
                    </a:cubicBezTo>
                    <a:cubicBezTo>
                      <a:pt x="611" y="149"/>
                      <a:pt x="611" y="149"/>
                      <a:pt x="611" y="149"/>
                    </a:cubicBezTo>
                    <a:cubicBezTo>
                      <a:pt x="613" y="149"/>
                      <a:pt x="613" y="149"/>
                      <a:pt x="613" y="149"/>
                    </a:cubicBezTo>
                    <a:cubicBezTo>
                      <a:pt x="615" y="149"/>
                      <a:pt x="615" y="149"/>
                      <a:pt x="615" y="149"/>
                    </a:cubicBezTo>
                    <a:cubicBezTo>
                      <a:pt x="616" y="148"/>
                      <a:pt x="616" y="148"/>
                      <a:pt x="616" y="148"/>
                    </a:cubicBezTo>
                    <a:cubicBezTo>
                      <a:pt x="618" y="149"/>
                      <a:pt x="618" y="149"/>
                      <a:pt x="618" y="149"/>
                    </a:cubicBezTo>
                    <a:cubicBezTo>
                      <a:pt x="620" y="149"/>
                      <a:pt x="620" y="149"/>
                      <a:pt x="620" y="149"/>
                    </a:cubicBezTo>
                    <a:cubicBezTo>
                      <a:pt x="622" y="152"/>
                      <a:pt x="622" y="152"/>
                      <a:pt x="622" y="152"/>
                    </a:cubicBezTo>
                    <a:cubicBezTo>
                      <a:pt x="623" y="156"/>
                      <a:pt x="623" y="156"/>
                      <a:pt x="623" y="156"/>
                    </a:cubicBezTo>
                    <a:cubicBezTo>
                      <a:pt x="623" y="161"/>
                      <a:pt x="623" y="161"/>
                      <a:pt x="623" y="161"/>
                    </a:cubicBezTo>
                    <a:cubicBezTo>
                      <a:pt x="622" y="164"/>
                      <a:pt x="622" y="164"/>
                      <a:pt x="622" y="164"/>
                    </a:cubicBezTo>
                    <a:cubicBezTo>
                      <a:pt x="623" y="165"/>
                      <a:pt x="623" y="165"/>
                      <a:pt x="623" y="165"/>
                    </a:cubicBezTo>
                    <a:cubicBezTo>
                      <a:pt x="624" y="164"/>
                      <a:pt x="624" y="164"/>
                      <a:pt x="624" y="164"/>
                    </a:cubicBezTo>
                    <a:cubicBezTo>
                      <a:pt x="627" y="166"/>
                      <a:pt x="627" y="166"/>
                      <a:pt x="627" y="166"/>
                    </a:cubicBezTo>
                    <a:cubicBezTo>
                      <a:pt x="629" y="168"/>
                      <a:pt x="629" y="168"/>
                      <a:pt x="629" y="168"/>
                    </a:cubicBezTo>
                    <a:cubicBezTo>
                      <a:pt x="630" y="169"/>
                      <a:pt x="630" y="169"/>
                      <a:pt x="630" y="169"/>
                    </a:cubicBezTo>
                    <a:cubicBezTo>
                      <a:pt x="630" y="167"/>
                      <a:pt x="630" y="167"/>
                      <a:pt x="630" y="167"/>
                    </a:cubicBezTo>
                    <a:cubicBezTo>
                      <a:pt x="634" y="167"/>
                      <a:pt x="634" y="167"/>
                      <a:pt x="634" y="167"/>
                    </a:cubicBezTo>
                    <a:cubicBezTo>
                      <a:pt x="636" y="170"/>
                      <a:pt x="636" y="170"/>
                      <a:pt x="636" y="170"/>
                    </a:cubicBezTo>
                    <a:cubicBezTo>
                      <a:pt x="637" y="169"/>
                      <a:pt x="637" y="169"/>
                      <a:pt x="637" y="169"/>
                    </a:cubicBezTo>
                    <a:cubicBezTo>
                      <a:pt x="636" y="168"/>
                      <a:pt x="636" y="168"/>
                      <a:pt x="636" y="168"/>
                    </a:cubicBezTo>
                    <a:cubicBezTo>
                      <a:pt x="638" y="166"/>
                      <a:pt x="638" y="166"/>
                      <a:pt x="638" y="166"/>
                    </a:cubicBezTo>
                    <a:cubicBezTo>
                      <a:pt x="641" y="165"/>
                      <a:pt x="641" y="165"/>
                      <a:pt x="641" y="165"/>
                    </a:cubicBezTo>
                    <a:cubicBezTo>
                      <a:pt x="642" y="162"/>
                      <a:pt x="642" y="162"/>
                      <a:pt x="642" y="162"/>
                    </a:cubicBezTo>
                    <a:cubicBezTo>
                      <a:pt x="646" y="160"/>
                      <a:pt x="646" y="160"/>
                      <a:pt x="646" y="160"/>
                    </a:cubicBezTo>
                    <a:cubicBezTo>
                      <a:pt x="649" y="156"/>
                      <a:pt x="649" y="156"/>
                      <a:pt x="649" y="156"/>
                    </a:cubicBezTo>
                    <a:cubicBezTo>
                      <a:pt x="649" y="155"/>
                      <a:pt x="649" y="155"/>
                      <a:pt x="649" y="155"/>
                    </a:cubicBezTo>
                    <a:cubicBezTo>
                      <a:pt x="651" y="153"/>
                      <a:pt x="651" y="153"/>
                      <a:pt x="651" y="153"/>
                    </a:cubicBezTo>
                    <a:cubicBezTo>
                      <a:pt x="649" y="153"/>
                      <a:pt x="649" y="153"/>
                      <a:pt x="649" y="153"/>
                    </a:cubicBezTo>
                    <a:cubicBezTo>
                      <a:pt x="648" y="155"/>
                      <a:pt x="648" y="155"/>
                      <a:pt x="648" y="155"/>
                    </a:cubicBezTo>
                    <a:cubicBezTo>
                      <a:pt x="648" y="156"/>
                      <a:pt x="648" y="156"/>
                      <a:pt x="648" y="156"/>
                    </a:cubicBezTo>
                    <a:cubicBezTo>
                      <a:pt x="645" y="159"/>
                      <a:pt x="645" y="159"/>
                      <a:pt x="645" y="159"/>
                    </a:cubicBezTo>
                    <a:cubicBezTo>
                      <a:pt x="643" y="161"/>
                      <a:pt x="643" y="161"/>
                      <a:pt x="643" y="161"/>
                    </a:cubicBezTo>
                    <a:cubicBezTo>
                      <a:pt x="643" y="161"/>
                      <a:pt x="643" y="161"/>
                      <a:pt x="643" y="161"/>
                    </a:cubicBezTo>
                    <a:cubicBezTo>
                      <a:pt x="640" y="164"/>
                      <a:pt x="640" y="164"/>
                      <a:pt x="640" y="164"/>
                    </a:cubicBezTo>
                    <a:cubicBezTo>
                      <a:pt x="637" y="165"/>
                      <a:pt x="637" y="165"/>
                      <a:pt x="637" y="165"/>
                    </a:cubicBezTo>
                    <a:cubicBezTo>
                      <a:pt x="636" y="164"/>
                      <a:pt x="636" y="164"/>
                      <a:pt x="636" y="164"/>
                    </a:cubicBezTo>
                    <a:cubicBezTo>
                      <a:pt x="634" y="164"/>
                      <a:pt x="634" y="164"/>
                      <a:pt x="634" y="164"/>
                    </a:cubicBezTo>
                    <a:cubicBezTo>
                      <a:pt x="634" y="165"/>
                      <a:pt x="634" y="165"/>
                      <a:pt x="634" y="165"/>
                    </a:cubicBezTo>
                    <a:cubicBezTo>
                      <a:pt x="632" y="165"/>
                      <a:pt x="632" y="165"/>
                      <a:pt x="632" y="165"/>
                    </a:cubicBezTo>
                    <a:cubicBezTo>
                      <a:pt x="629" y="163"/>
                      <a:pt x="629" y="163"/>
                      <a:pt x="629" y="163"/>
                    </a:cubicBezTo>
                    <a:cubicBezTo>
                      <a:pt x="630" y="162"/>
                      <a:pt x="630" y="162"/>
                      <a:pt x="630" y="162"/>
                    </a:cubicBezTo>
                    <a:cubicBezTo>
                      <a:pt x="631" y="161"/>
                      <a:pt x="631" y="161"/>
                      <a:pt x="631" y="161"/>
                    </a:cubicBezTo>
                    <a:cubicBezTo>
                      <a:pt x="633" y="160"/>
                      <a:pt x="633" y="160"/>
                      <a:pt x="633" y="160"/>
                    </a:cubicBezTo>
                    <a:cubicBezTo>
                      <a:pt x="633" y="158"/>
                      <a:pt x="633" y="158"/>
                      <a:pt x="633" y="158"/>
                    </a:cubicBezTo>
                    <a:cubicBezTo>
                      <a:pt x="631" y="160"/>
                      <a:pt x="631" y="160"/>
                      <a:pt x="631" y="160"/>
                    </a:cubicBezTo>
                    <a:cubicBezTo>
                      <a:pt x="630" y="161"/>
                      <a:pt x="630" y="161"/>
                      <a:pt x="630" y="161"/>
                    </a:cubicBezTo>
                    <a:cubicBezTo>
                      <a:pt x="629" y="161"/>
                      <a:pt x="629" y="161"/>
                      <a:pt x="629" y="161"/>
                    </a:cubicBezTo>
                    <a:cubicBezTo>
                      <a:pt x="628" y="158"/>
                      <a:pt x="628" y="158"/>
                      <a:pt x="628" y="158"/>
                    </a:cubicBezTo>
                    <a:cubicBezTo>
                      <a:pt x="628" y="157"/>
                      <a:pt x="628" y="157"/>
                      <a:pt x="628" y="157"/>
                    </a:cubicBezTo>
                    <a:cubicBezTo>
                      <a:pt x="629" y="157"/>
                      <a:pt x="629" y="157"/>
                      <a:pt x="629" y="157"/>
                    </a:cubicBezTo>
                    <a:cubicBezTo>
                      <a:pt x="630" y="156"/>
                      <a:pt x="630" y="156"/>
                      <a:pt x="630" y="156"/>
                    </a:cubicBezTo>
                    <a:cubicBezTo>
                      <a:pt x="631" y="156"/>
                      <a:pt x="631" y="156"/>
                      <a:pt x="631" y="156"/>
                    </a:cubicBezTo>
                    <a:cubicBezTo>
                      <a:pt x="629" y="156"/>
                      <a:pt x="629" y="156"/>
                      <a:pt x="629" y="156"/>
                    </a:cubicBezTo>
                    <a:cubicBezTo>
                      <a:pt x="629" y="155"/>
                      <a:pt x="629" y="155"/>
                      <a:pt x="629" y="155"/>
                    </a:cubicBezTo>
                    <a:cubicBezTo>
                      <a:pt x="630" y="154"/>
                      <a:pt x="630" y="154"/>
                      <a:pt x="630" y="154"/>
                    </a:cubicBezTo>
                    <a:cubicBezTo>
                      <a:pt x="631" y="155"/>
                      <a:pt x="631" y="155"/>
                      <a:pt x="631" y="155"/>
                    </a:cubicBezTo>
                    <a:cubicBezTo>
                      <a:pt x="633" y="154"/>
                      <a:pt x="633" y="154"/>
                      <a:pt x="633" y="154"/>
                    </a:cubicBezTo>
                    <a:cubicBezTo>
                      <a:pt x="633" y="153"/>
                      <a:pt x="633" y="153"/>
                      <a:pt x="633" y="153"/>
                    </a:cubicBezTo>
                    <a:cubicBezTo>
                      <a:pt x="631" y="153"/>
                      <a:pt x="631" y="153"/>
                      <a:pt x="631" y="153"/>
                    </a:cubicBezTo>
                    <a:cubicBezTo>
                      <a:pt x="630" y="153"/>
                      <a:pt x="630" y="153"/>
                      <a:pt x="630" y="153"/>
                    </a:cubicBezTo>
                    <a:cubicBezTo>
                      <a:pt x="629" y="154"/>
                      <a:pt x="629" y="154"/>
                      <a:pt x="629" y="154"/>
                    </a:cubicBezTo>
                    <a:cubicBezTo>
                      <a:pt x="628" y="154"/>
                      <a:pt x="628" y="154"/>
                      <a:pt x="628" y="154"/>
                    </a:cubicBezTo>
                    <a:cubicBezTo>
                      <a:pt x="627" y="152"/>
                      <a:pt x="627" y="152"/>
                      <a:pt x="627" y="152"/>
                    </a:cubicBezTo>
                    <a:cubicBezTo>
                      <a:pt x="628" y="151"/>
                      <a:pt x="628" y="151"/>
                      <a:pt x="628" y="151"/>
                    </a:cubicBezTo>
                    <a:cubicBezTo>
                      <a:pt x="629" y="151"/>
                      <a:pt x="629" y="151"/>
                      <a:pt x="629" y="151"/>
                    </a:cubicBezTo>
                    <a:cubicBezTo>
                      <a:pt x="631" y="150"/>
                      <a:pt x="631" y="150"/>
                      <a:pt x="631" y="150"/>
                    </a:cubicBezTo>
                    <a:cubicBezTo>
                      <a:pt x="633" y="150"/>
                      <a:pt x="633" y="150"/>
                      <a:pt x="633" y="150"/>
                    </a:cubicBezTo>
                    <a:cubicBezTo>
                      <a:pt x="635" y="151"/>
                      <a:pt x="635" y="151"/>
                      <a:pt x="635" y="151"/>
                    </a:cubicBezTo>
                    <a:cubicBezTo>
                      <a:pt x="636" y="150"/>
                      <a:pt x="636" y="150"/>
                      <a:pt x="636" y="150"/>
                    </a:cubicBezTo>
                    <a:cubicBezTo>
                      <a:pt x="634" y="150"/>
                      <a:pt x="634" y="150"/>
                      <a:pt x="634" y="150"/>
                    </a:cubicBezTo>
                    <a:cubicBezTo>
                      <a:pt x="634" y="149"/>
                      <a:pt x="634" y="149"/>
                      <a:pt x="634" y="149"/>
                    </a:cubicBezTo>
                    <a:cubicBezTo>
                      <a:pt x="635" y="147"/>
                      <a:pt x="635" y="147"/>
                      <a:pt x="635" y="147"/>
                    </a:cubicBezTo>
                    <a:cubicBezTo>
                      <a:pt x="637" y="147"/>
                      <a:pt x="637" y="147"/>
                      <a:pt x="637" y="147"/>
                    </a:cubicBezTo>
                    <a:cubicBezTo>
                      <a:pt x="637" y="146"/>
                      <a:pt x="637" y="146"/>
                      <a:pt x="637" y="146"/>
                    </a:cubicBezTo>
                    <a:cubicBezTo>
                      <a:pt x="636" y="146"/>
                      <a:pt x="636" y="146"/>
                      <a:pt x="636" y="146"/>
                    </a:cubicBezTo>
                    <a:cubicBezTo>
                      <a:pt x="636" y="145"/>
                      <a:pt x="636" y="145"/>
                      <a:pt x="636" y="145"/>
                    </a:cubicBezTo>
                    <a:cubicBezTo>
                      <a:pt x="637" y="143"/>
                      <a:pt x="637" y="143"/>
                      <a:pt x="637" y="143"/>
                    </a:cubicBezTo>
                    <a:cubicBezTo>
                      <a:pt x="639" y="143"/>
                      <a:pt x="639" y="143"/>
                      <a:pt x="639" y="143"/>
                    </a:cubicBezTo>
                    <a:cubicBezTo>
                      <a:pt x="638" y="141"/>
                      <a:pt x="638" y="141"/>
                      <a:pt x="638" y="141"/>
                    </a:cubicBezTo>
                    <a:cubicBezTo>
                      <a:pt x="640" y="138"/>
                      <a:pt x="640" y="138"/>
                      <a:pt x="640" y="138"/>
                    </a:cubicBezTo>
                    <a:cubicBezTo>
                      <a:pt x="642" y="137"/>
                      <a:pt x="642" y="137"/>
                      <a:pt x="642" y="137"/>
                    </a:cubicBezTo>
                    <a:cubicBezTo>
                      <a:pt x="642" y="135"/>
                      <a:pt x="642" y="135"/>
                      <a:pt x="642" y="135"/>
                    </a:cubicBezTo>
                    <a:cubicBezTo>
                      <a:pt x="641" y="136"/>
                      <a:pt x="641" y="136"/>
                      <a:pt x="641" y="136"/>
                    </a:cubicBezTo>
                    <a:cubicBezTo>
                      <a:pt x="638" y="139"/>
                      <a:pt x="638" y="139"/>
                      <a:pt x="638" y="139"/>
                    </a:cubicBezTo>
                    <a:cubicBezTo>
                      <a:pt x="636" y="143"/>
                      <a:pt x="636" y="143"/>
                      <a:pt x="636" y="143"/>
                    </a:cubicBezTo>
                    <a:cubicBezTo>
                      <a:pt x="633" y="145"/>
                      <a:pt x="633" y="145"/>
                      <a:pt x="633" y="145"/>
                    </a:cubicBezTo>
                    <a:cubicBezTo>
                      <a:pt x="631" y="148"/>
                      <a:pt x="631" y="148"/>
                      <a:pt x="631" y="148"/>
                    </a:cubicBezTo>
                    <a:cubicBezTo>
                      <a:pt x="629" y="147"/>
                      <a:pt x="629" y="147"/>
                      <a:pt x="629" y="147"/>
                    </a:cubicBezTo>
                    <a:cubicBezTo>
                      <a:pt x="626" y="147"/>
                      <a:pt x="626" y="147"/>
                      <a:pt x="626" y="147"/>
                    </a:cubicBezTo>
                    <a:cubicBezTo>
                      <a:pt x="626" y="146"/>
                      <a:pt x="626" y="146"/>
                      <a:pt x="626" y="146"/>
                    </a:cubicBezTo>
                    <a:cubicBezTo>
                      <a:pt x="628" y="144"/>
                      <a:pt x="628" y="144"/>
                      <a:pt x="628" y="144"/>
                    </a:cubicBezTo>
                    <a:cubicBezTo>
                      <a:pt x="630" y="143"/>
                      <a:pt x="630" y="143"/>
                      <a:pt x="630" y="143"/>
                    </a:cubicBezTo>
                    <a:cubicBezTo>
                      <a:pt x="630" y="141"/>
                      <a:pt x="630" y="141"/>
                      <a:pt x="630" y="141"/>
                    </a:cubicBezTo>
                    <a:cubicBezTo>
                      <a:pt x="627" y="143"/>
                      <a:pt x="627" y="143"/>
                      <a:pt x="627" y="143"/>
                    </a:cubicBezTo>
                    <a:cubicBezTo>
                      <a:pt x="624" y="143"/>
                      <a:pt x="624" y="143"/>
                      <a:pt x="624" y="143"/>
                    </a:cubicBezTo>
                    <a:cubicBezTo>
                      <a:pt x="624" y="144"/>
                      <a:pt x="624" y="144"/>
                      <a:pt x="624" y="144"/>
                    </a:cubicBezTo>
                    <a:cubicBezTo>
                      <a:pt x="623" y="146"/>
                      <a:pt x="623" y="146"/>
                      <a:pt x="623" y="146"/>
                    </a:cubicBezTo>
                    <a:cubicBezTo>
                      <a:pt x="620" y="145"/>
                      <a:pt x="620" y="145"/>
                      <a:pt x="620" y="145"/>
                    </a:cubicBezTo>
                    <a:cubicBezTo>
                      <a:pt x="618" y="143"/>
                      <a:pt x="618" y="143"/>
                      <a:pt x="618" y="143"/>
                    </a:cubicBezTo>
                    <a:cubicBezTo>
                      <a:pt x="619" y="142"/>
                      <a:pt x="619" y="142"/>
                      <a:pt x="619" y="142"/>
                    </a:cubicBezTo>
                    <a:cubicBezTo>
                      <a:pt x="621" y="142"/>
                      <a:pt x="621" y="142"/>
                      <a:pt x="621" y="142"/>
                    </a:cubicBezTo>
                    <a:cubicBezTo>
                      <a:pt x="620" y="141"/>
                      <a:pt x="620" y="141"/>
                      <a:pt x="620" y="141"/>
                    </a:cubicBezTo>
                    <a:cubicBezTo>
                      <a:pt x="619" y="141"/>
                      <a:pt x="619" y="141"/>
                      <a:pt x="619" y="141"/>
                    </a:cubicBezTo>
                    <a:cubicBezTo>
                      <a:pt x="619" y="139"/>
                      <a:pt x="619" y="139"/>
                      <a:pt x="619" y="139"/>
                    </a:cubicBezTo>
                    <a:cubicBezTo>
                      <a:pt x="622" y="137"/>
                      <a:pt x="622" y="137"/>
                      <a:pt x="622" y="137"/>
                    </a:cubicBezTo>
                    <a:cubicBezTo>
                      <a:pt x="622" y="135"/>
                      <a:pt x="622" y="135"/>
                      <a:pt x="622" y="135"/>
                    </a:cubicBezTo>
                    <a:cubicBezTo>
                      <a:pt x="624" y="134"/>
                      <a:pt x="624" y="134"/>
                      <a:pt x="624" y="134"/>
                    </a:cubicBezTo>
                    <a:cubicBezTo>
                      <a:pt x="626" y="133"/>
                      <a:pt x="626" y="133"/>
                      <a:pt x="626" y="133"/>
                    </a:cubicBezTo>
                    <a:cubicBezTo>
                      <a:pt x="628" y="133"/>
                      <a:pt x="628" y="133"/>
                      <a:pt x="628" y="133"/>
                    </a:cubicBezTo>
                    <a:cubicBezTo>
                      <a:pt x="628" y="130"/>
                      <a:pt x="628" y="130"/>
                      <a:pt x="628" y="130"/>
                    </a:cubicBezTo>
                    <a:cubicBezTo>
                      <a:pt x="629" y="128"/>
                      <a:pt x="629" y="128"/>
                      <a:pt x="629" y="128"/>
                    </a:cubicBezTo>
                    <a:cubicBezTo>
                      <a:pt x="632" y="125"/>
                      <a:pt x="632" y="125"/>
                      <a:pt x="632" y="125"/>
                    </a:cubicBezTo>
                    <a:cubicBezTo>
                      <a:pt x="633" y="125"/>
                      <a:pt x="633" y="125"/>
                      <a:pt x="633" y="125"/>
                    </a:cubicBezTo>
                    <a:cubicBezTo>
                      <a:pt x="637" y="124"/>
                      <a:pt x="637" y="124"/>
                      <a:pt x="637" y="124"/>
                    </a:cubicBezTo>
                    <a:cubicBezTo>
                      <a:pt x="640" y="125"/>
                      <a:pt x="640" y="125"/>
                      <a:pt x="640" y="125"/>
                    </a:cubicBezTo>
                    <a:cubicBezTo>
                      <a:pt x="641" y="124"/>
                      <a:pt x="641" y="124"/>
                      <a:pt x="641" y="124"/>
                    </a:cubicBezTo>
                    <a:cubicBezTo>
                      <a:pt x="643" y="124"/>
                      <a:pt x="643" y="124"/>
                      <a:pt x="643" y="124"/>
                    </a:cubicBezTo>
                    <a:cubicBezTo>
                      <a:pt x="645" y="123"/>
                      <a:pt x="645" y="123"/>
                      <a:pt x="645" y="123"/>
                    </a:cubicBezTo>
                    <a:cubicBezTo>
                      <a:pt x="646" y="123"/>
                      <a:pt x="646" y="123"/>
                      <a:pt x="646" y="123"/>
                    </a:cubicBezTo>
                    <a:cubicBezTo>
                      <a:pt x="647" y="123"/>
                      <a:pt x="647" y="123"/>
                      <a:pt x="647" y="123"/>
                    </a:cubicBezTo>
                    <a:cubicBezTo>
                      <a:pt x="649" y="126"/>
                      <a:pt x="649" y="126"/>
                      <a:pt x="649" y="126"/>
                    </a:cubicBezTo>
                    <a:cubicBezTo>
                      <a:pt x="650" y="126"/>
                      <a:pt x="650" y="126"/>
                      <a:pt x="650" y="126"/>
                    </a:cubicBezTo>
                    <a:cubicBezTo>
                      <a:pt x="654" y="129"/>
                      <a:pt x="654" y="129"/>
                      <a:pt x="654" y="129"/>
                    </a:cubicBezTo>
                    <a:cubicBezTo>
                      <a:pt x="655" y="130"/>
                      <a:pt x="655" y="130"/>
                      <a:pt x="655" y="130"/>
                    </a:cubicBezTo>
                    <a:cubicBezTo>
                      <a:pt x="656" y="132"/>
                      <a:pt x="656" y="132"/>
                      <a:pt x="656" y="132"/>
                    </a:cubicBezTo>
                    <a:cubicBezTo>
                      <a:pt x="657" y="132"/>
                      <a:pt x="657" y="132"/>
                      <a:pt x="657" y="132"/>
                    </a:cubicBezTo>
                    <a:cubicBezTo>
                      <a:pt x="660" y="136"/>
                      <a:pt x="660" y="136"/>
                      <a:pt x="660" y="136"/>
                    </a:cubicBezTo>
                    <a:cubicBezTo>
                      <a:pt x="660" y="133"/>
                      <a:pt x="660" y="133"/>
                      <a:pt x="660" y="133"/>
                    </a:cubicBezTo>
                    <a:cubicBezTo>
                      <a:pt x="662" y="133"/>
                      <a:pt x="662" y="133"/>
                      <a:pt x="662" y="133"/>
                    </a:cubicBezTo>
                    <a:cubicBezTo>
                      <a:pt x="661" y="132"/>
                      <a:pt x="661" y="132"/>
                      <a:pt x="661" y="132"/>
                    </a:cubicBezTo>
                    <a:cubicBezTo>
                      <a:pt x="659" y="132"/>
                      <a:pt x="659" y="132"/>
                      <a:pt x="659" y="132"/>
                    </a:cubicBezTo>
                    <a:cubicBezTo>
                      <a:pt x="658" y="131"/>
                      <a:pt x="658" y="131"/>
                      <a:pt x="658" y="131"/>
                    </a:cubicBezTo>
                    <a:cubicBezTo>
                      <a:pt x="658" y="130"/>
                      <a:pt x="658" y="130"/>
                      <a:pt x="658" y="130"/>
                    </a:cubicBezTo>
                    <a:cubicBezTo>
                      <a:pt x="660" y="129"/>
                      <a:pt x="660" y="129"/>
                      <a:pt x="660" y="129"/>
                    </a:cubicBezTo>
                    <a:cubicBezTo>
                      <a:pt x="664" y="129"/>
                      <a:pt x="664" y="129"/>
                      <a:pt x="664" y="129"/>
                    </a:cubicBezTo>
                    <a:cubicBezTo>
                      <a:pt x="666" y="130"/>
                      <a:pt x="666" y="130"/>
                      <a:pt x="666" y="130"/>
                    </a:cubicBezTo>
                    <a:cubicBezTo>
                      <a:pt x="667" y="129"/>
                      <a:pt x="667" y="129"/>
                      <a:pt x="667" y="129"/>
                    </a:cubicBezTo>
                    <a:cubicBezTo>
                      <a:pt x="667" y="127"/>
                      <a:pt x="667" y="127"/>
                      <a:pt x="667" y="127"/>
                    </a:cubicBezTo>
                    <a:cubicBezTo>
                      <a:pt x="668" y="125"/>
                      <a:pt x="668" y="125"/>
                      <a:pt x="668" y="125"/>
                    </a:cubicBezTo>
                    <a:cubicBezTo>
                      <a:pt x="668" y="124"/>
                      <a:pt x="668" y="124"/>
                      <a:pt x="668" y="124"/>
                    </a:cubicBezTo>
                    <a:cubicBezTo>
                      <a:pt x="666" y="124"/>
                      <a:pt x="666" y="124"/>
                      <a:pt x="666" y="124"/>
                    </a:cubicBezTo>
                    <a:cubicBezTo>
                      <a:pt x="666" y="126"/>
                      <a:pt x="666" y="126"/>
                      <a:pt x="666" y="126"/>
                    </a:cubicBezTo>
                    <a:cubicBezTo>
                      <a:pt x="664" y="127"/>
                      <a:pt x="664" y="127"/>
                      <a:pt x="664" y="127"/>
                    </a:cubicBezTo>
                    <a:cubicBezTo>
                      <a:pt x="663" y="128"/>
                      <a:pt x="663" y="128"/>
                      <a:pt x="663" y="128"/>
                    </a:cubicBezTo>
                    <a:cubicBezTo>
                      <a:pt x="659" y="127"/>
                      <a:pt x="659" y="127"/>
                      <a:pt x="659" y="127"/>
                    </a:cubicBezTo>
                    <a:cubicBezTo>
                      <a:pt x="656" y="127"/>
                      <a:pt x="656" y="127"/>
                      <a:pt x="656" y="127"/>
                    </a:cubicBezTo>
                    <a:cubicBezTo>
                      <a:pt x="655" y="125"/>
                      <a:pt x="655" y="125"/>
                      <a:pt x="655" y="125"/>
                    </a:cubicBezTo>
                    <a:cubicBezTo>
                      <a:pt x="654" y="125"/>
                      <a:pt x="654" y="125"/>
                      <a:pt x="654" y="125"/>
                    </a:cubicBezTo>
                    <a:cubicBezTo>
                      <a:pt x="651" y="125"/>
                      <a:pt x="651" y="125"/>
                      <a:pt x="651" y="125"/>
                    </a:cubicBezTo>
                    <a:cubicBezTo>
                      <a:pt x="648" y="120"/>
                      <a:pt x="648" y="120"/>
                      <a:pt x="648" y="120"/>
                    </a:cubicBezTo>
                    <a:cubicBezTo>
                      <a:pt x="648" y="117"/>
                      <a:pt x="648" y="117"/>
                      <a:pt x="648" y="117"/>
                    </a:cubicBezTo>
                    <a:cubicBezTo>
                      <a:pt x="649" y="116"/>
                      <a:pt x="649" y="116"/>
                      <a:pt x="649" y="116"/>
                    </a:cubicBezTo>
                    <a:cubicBezTo>
                      <a:pt x="651" y="117"/>
                      <a:pt x="651" y="117"/>
                      <a:pt x="651" y="117"/>
                    </a:cubicBezTo>
                    <a:cubicBezTo>
                      <a:pt x="652" y="119"/>
                      <a:pt x="652" y="119"/>
                      <a:pt x="652" y="119"/>
                    </a:cubicBezTo>
                    <a:cubicBezTo>
                      <a:pt x="653" y="120"/>
                      <a:pt x="653" y="120"/>
                      <a:pt x="653" y="120"/>
                    </a:cubicBezTo>
                    <a:cubicBezTo>
                      <a:pt x="654" y="118"/>
                      <a:pt x="654" y="118"/>
                      <a:pt x="654" y="118"/>
                    </a:cubicBezTo>
                    <a:cubicBezTo>
                      <a:pt x="655" y="116"/>
                      <a:pt x="655" y="116"/>
                      <a:pt x="655" y="116"/>
                    </a:cubicBezTo>
                    <a:cubicBezTo>
                      <a:pt x="653" y="116"/>
                      <a:pt x="653" y="116"/>
                      <a:pt x="653" y="116"/>
                    </a:cubicBezTo>
                    <a:cubicBezTo>
                      <a:pt x="653" y="115"/>
                      <a:pt x="653" y="115"/>
                      <a:pt x="653" y="115"/>
                    </a:cubicBezTo>
                    <a:cubicBezTo>
                      <a:pt x="652" y="113"/>
                      <a:pt x="652" y="113"/>
                      <a:pt x="652" y="113"/>
                    </a:cubicBezTo>
                    <a:cubicBezTo>
                      <a:pt x="654" y="110"/>
                      <a:pt x="654" y="110"/>
                      <a:pt x="654" y="110"/>
                    </a:cubicBezTo>
                    <a:cubicBezTo>
                      <a:pt x="654" y="108"/>
                      <a:pt x="654" y="108"/>
                      <a:pt x="654" y="108"/>
                    </a:cubicBezTo>
                    <a:cubicBezTo>
                      <a:pt x="655" y="105"/>
                      <a:pt x="655" y="105"/>
                      <a:pt x="655" y="105"/>
                    </a:cubicBezTo>
                    <a:cubicBezTo>
                      <a:pt x="655" y="99"/>
                      <a:pt x="655" y="99"/>
                      <a:pt x="655" y="99"/>
                    </a:cubicBezTo>
                    <a:cubicBezTo>
                      <a:pt x="654" y="96"/>
                      <a:pt x="654" y="96"/>
                      <a:pt x="654" y="96"/>
                    </a:cubicBezTo>
                    <a:cubicBezTo>
                      <a:pt x="653" y="96"/>
                      <a:pt x="653" y="96"/>
                      <a:pt x="653" y="96"/>
                    </a:cubicBezTo>
                    <a:cubicBezTo>
                      <a:pt x="652" y="94"/>
                      <a:pt x="652" y="94"/>
                      <a:pt x="652" y="94"/>
                    </a:cubicBezTo>
                    <a:cubicBezTo>
                      <a:pt x="652" y="92"/>
                      <a:pt x="652" y="92"/>
                      <a:pt x="652" y="92"/>
                    </a:cubicBezTo>
                    <a:cubicBezTo>
                      <a:pt x="654" y="92"/>
                      <a:pt x="654" y="92"/>
                      <a:pt x="654" y="92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6" y="92"/>
                      <a:pt x="656" y="92"/>
                      <a:pt x="656" y="92"/>
                    </a:cubicBezTo>
                    <a:cubicBezTo>
                      <a:pt x="657" y="93"/>
                      <a:pt x="657" y="93"/>
                      <a:pt x="657" y="93"/>
                    </a:cubicBezTo>
                    <a:cubicBezTo>
                      <a:pt x="658" y="95"/>
                      <a:pt x="658" y="95"/>
                      <a:pt x="658" y="95"/>
                    </a:cubicBezTo>
                    <a:cubicBezTo>
                      <a:pt x="659" y="94"/>
                      <a:pt x="659" y="94"/>
                      <a:pt x="659" y="94"/>
                    </a:cubicBezTo>
                    <a:cubicBezTo>
                      <a:pt x="659" y="93"/>
                      <a:pt x="659" y="93"/>
                      <a:pt x="659" y="93"/>
                    </a:cubicBezTo>
                    <a:cubicBezTo>
                      <a:pt x="658" y="91"/>
                      <a:pt x="658" y="91"/>
                      <a:pt x="658" y="91"/>
                    </a:cubicBezTo>
                    <a:cubicBezTo>
                      <a:pt x="656" y="90"/>
                      <a:pt x="656" y="90"/>
                      <a:pt x="656" y="90"/>
                    </a:cubicBezTo>
                    <a:cubicBezTo>
                      <a:pt x="655" y="89"/>
                      <a:pt x="655" y="89"/>
                      <a:pt x="655" y="89"/>
                    </a:cubicBezTo>
                    <a:cubicBezTo>
                      <a:pt x="655" y="87"/>
                      <a:pt x="655" y="87"/>
                      <a:pt x="655" y="87"/>
                    </a:cubicBezTo>
                    <a:cubicBezTo>
                      <a:pt x="655" y="85"/>
                      <a:pt x="655" y="85"/>
                      <a:pt x="655" y="85"/>
                    </a:cubicBezTo>
                    <a:cubicBezTo>
                      <a:pt x="661" y="78"/>
                      <a:pt x="661" y="78"/>
                      <a:pt x="661" y="78"/>
                    </a:cubicBezTo>
                    <a:cubicBezTo>
                      <a:pt x="664" y="78"/>
                      <a:pt x="664" y="78"/>
                      <a:pt x="664" y="78"/>
                    </a:cubicBezTo>
                    <a:cubicBezTo>
                      <a:pt x="666" y="78"/>
                      <a:pt x="666" y="78"/>
                      <a:pt x="666" y="78"/>
                    </a:cubicBezTo>
                    <a:cubicBezTo>
                      <a:pt x="666" y="80"/>
                      <a:pt x="666" y="80"/>
                      <a:pt x="666" y="80"/>
                    </a:cubicBezTo>
                    <a:cubicBezTo>
                      <a:pt x="669" y="82"/>
                      <a:pt x="669" y="82"/>
                      <a:pt x="669" y="82"/>
                    </a:cubicBezTo>
                    <a:cubicBezTo>
                      <a:pt x="670" y="82"/>
                      <a:pt x="670" y="82"/>
                      <a:pt x="670" y="82"/>
                    </a:cubicBezTo>
                    <a:cubicBezTo>
                      <a:pt x="675" y="85"/>
                      <a:pt x="675" y="85"/>
                      <a:pt x="675" y="85"/>
                    </a:cubicBezTo>
                    <a:cubicBezTo>
                      <a:pt x="675" y="87"/>
                      <a:pt x="675" y="87"/>
                      <a:pt x="675" y="87"/>
                    </a:cubicBezTo>
                    <a:cubicBezTo>
                      <a:pt x="677" y="90"/>
                      <a:pt x="677" y="90"/>
                      <a:pt x="677" y="90"/>
                    </a:cubicBezTo>
                    <a:cubicBezTo>
                      <a:pt x="678" y="94"/>
                      <a:pt x="678" y="94"/>
                      <a:pt x="678" y="94"/>
                    </a:cubicBezTo>
                    <a:cubicBezTo>
                      <a:pt x="678" y="98"/>
                      <a:pt x="678" y="98"/>
                      <a:pt x="678" y="98"/>
                    </a:cubicBezTo>
                    <a:cubicBezTo>
                      <a:pt x="678" y="101"/>
                      <a:pt x="678" y="101"/>
                      <a:pt x="678" y="101"/>
                    </a:cubicBezTo>
                    <a:cubicBezTo>
                      <a:pt x="679" y="103"/>
                      <a:pt x="679" y="103"/>
                      <a:pt x="679" y="103"/>
                    </a:cubicBezTo>
                    <a:cubicBezTo>
                      <a:pt x="680" y="102"/>
                      <a:pt x="680" y="102"/>
                      <a:pt x="680" y="102"/>
                    </a:cubicBezTo>
                    <a:cubicBezTo>
                      <a:pt x="681" y="102"/>
                      <a:pt x="681" y="102"/>
                      <a:pt x="681" y="102"/>
                    </a:cubicBezTo>
                    <a:cubicBezTo>
                      <a:pt x="683" y="104"/>
                      <a:pt x="683" y="104"/>
                      <a:pt x="683" y="104"/>
                    </a:cubicBezTo>
                    <a:cubicBezTo>
                      <a:pt x="683" y="105"/>
                      <a:pt x="683" y="105"/>
                      <a:pt x="683" y="105"/>
                    </a:cubicBezTo>
                    <a:cubicBezTo>
                      <a:pt x="683" y="104"/>
                      <a:pt x="683" y="104"/>
                      <a:pt x="683" y="104"/>
                    </a:cubicBezTo>
                    <a:cubicBezTo>
                      <a:pt x="685" y="103"/>
                      <a:pt x="685" y="103"/>
                      <a:pt x="685" y="103"/>
                    </a:cubicBezTo>
                    <a:cubicBezTo>
                      <a:pt x="687" y="104"/>
                      <a:pt x="687" y="104"/>
                      <a:pt x="687" y="104"/>
                    </a:cubicBezTo>
                    <a:cubicBezTo>
                      <a:pt x="685" y="103"/>
                      <a:pt x="685" y="103"/>
                      <a:pt x="685" y="103"/>
                    </a:cubicBezTo>
                    <a:cubicBezTo>
                      <a:pt x="683" y="102"/>
                      <a:pt x="683" y="102"/>
                      <a:pt x="683" y="102"/>
                    </a:cubicBezTo>
                    <a:cubicBezTo>
                      <a:pt x="682" y="100"/>
                      <a:pt x="682" y="100"/>
                      <a:pt x="682" y="100"/>
                    </a:cubicBezTo>
                    <a:cubicBezTo>
                      <a:pt x="680" y="100"/>
                      <a:pt x="680" y="100"/>
                      <a:pt x="680" y="100"/>
                    </a:cubicBezTo>
                    <a:cubicBezTo>
                      <a:pt x="680" y="98"/>
                      <a:pt x="680" y="98"/>
                      <a:pt x="680" y="98"/>
                    </a:cubicBezTo>
                    <a:cubicBezTo>
                      <a:pt x="682" y="96"/>
                      <a:pt x="682" y="96"/>
                      <a:pt x="682" y="96"/>
                    </a:cubicBezTo>
                    <a:cubicBezTo>
                      <a:pt x="682" y="95"/>
                      <a:pt x="682" y="95"/>
                      <a:pt x="682" y="95"/>
                    </a:cubicBezTo>
                    <a:cubicBezTo>
                      <a:pt x="682" y="88"/>
                      <a:pt x="682" y="88"/>
                      <a:pt x="682" y="88"/>
                    </a:cubicBezTo>
                    <a:cubicBezTo>
                      <a:pt x="681" y="86"/>
                      <a:pt x="681" y="86"/>
                      <a:pt x="681" y="86"/>
                    </a:cubicBezTo>
                    <a:cubicBezTo>
                      <a:pt x="682" y="84"/>
                      <a:pt x="682" y="84"/>
                      <a:pt x="682" y="84"/>
                    </a:cubicBezTo>
                    <a:cubicBezTo>
                      <a:pt x="685" y="84"/>
                      <a:pt x="685" y="84"/>
                      <a:pt x="685" y="84"/>
                    </a:cubicBezTo>
                    <a:cubicBezTo>
                      <a:pt x="687" y="85"/>
                      <a:pt x="687" y="85"/>
                      <a:pt x="687" y="85"/>
                    </a:cubicBezTo>
                    <a:cubicBezTo>
                      <a:pt x="689" y="85"/>
                      <a:pt x="689" y="85"/>
                      <a:pt x="689" y="85"/>
                    </a:cubicBezTo>
                    <a:cubicBezTo>
                      <a:pt x="692" y="85"/>
                      <a:pt x="692" y="85"/>
                      <a:pt x="692" y="85"/>
                    </a:cubicBezTo>
                    <a:cubicBezTo>
                      <a:pt x="695" y="87"/>
                      <a:pt x="695" y="87"/>
                      <a:pt x="695" y="87"/>
                    </a:cubicBezTo>
                    <a:cubicBezTo>
                      <a:pt x="699" y="87"/>
                      <a:pt x="699" y="87"/>
                      <a:pt x="699" y="87"/>
                    </a:cubicBezTo>
                    <a:cubicBezTo>
                      <a:pt x="702" y="85"/>
                      <a:pt x="702" y="85"/>
                      <a:pt x="702" y="85"/>
                    </a:cubicBezTo>
                    <a:cubicBezTo>
                      <a:pt x="703" y="85"/>
                      <a:pt x="703" y="85"/>
                      <a:pt x="703" y="85"/>
                    </a:cubicBezTo>
                    <a:cubicBezTo>
                      <a:pt x="705" y="87"/>
                      <a:pt x="705" y="87"/>
                      <a:pt x="705" y="87"/>
                    </a:cubicBezTo>
                    <a:cubicBezTo>
                      <a:pt x="709" y="87"/>
                      <a:pt x="709" y="87"/>
                      <a:pt x="709" y="87"/>
                    </a:cubicBezTo>
                    <a:cubicBezTo>
                      <a:pt x="711" y="89"/>
                      <a:pt x="711" y="89"/>
                      <a:pt x="711" y="89"/>
                    </a:cubicBezTo>
                    <a:cubicBezTo>
                      <a:pt x="713" y="88"/>
                      <a:pt x="713" y="88"/>
                      <a:pt x="713" y="88"/>
                    </a:cubicBezTo>
                    <a:cubicBezTo>
                      <a:pt x="713" y="87"/>
                      <a:pt x="713" y="87"/>
                      <a:pt x="713" y="87"/>
                    </a:cubicBezTo>
                    <a:cubicBezTo>
                      <a:pt x="711" y="86"/>
                      <a:pt x="711" y="86"/>
                      <a:pt x="711" y="86"/>
                    </a:cubicBezTo>
                    <a:cubicBezTo>
                      <a:pt x="709" y="86"/>
                      <a:pt x="709" y="86"/>
                      <a:pt x="709" y="86"/>
                    </a:cubicBezTo>
                    <a:cubicBezTo>
                      <a:pt x="706" y="85"/>
                      <a:pt x="706" y="85"/>
                      <a:pt x="706" y="85"/>
                    </a:cubicBezTo>
                    <a:cubicBezTo>
                      <a:pt x="705" y="84"/>
                      <a:pt x="705" y="84"/>
                      <a:pt x="705" y="84"/>
                    </a:cubicBezTo>
                    <a:cubicBezTo>
                      <a:pt x="705" y="83"/>
                      <a:pt x="705" y="83"/>
                      <a:pt x="705" y="83"/>
                    </a:cubicBezTo>
                    <a:cubicBezTo>
                      <a:pt x="707" y="83"/>
                      <a:pt x="707" y="83"/>
                      <a:pt x="707" y="83"/>
                    </a:cubicBezTo>
                    <a:cubicBezTo>
                      <a:pt x="709" y="82"/>
                      <a:pt x="709" y="82"/>
                      <a:pt x="709" y="82"/>
                    </a:cubicBezTo>
                    <a:cubicBezTo>
                      <a:pt x="716" y="81"/>
                      <a:pt x="716" y="81"/>
                      <a:pt x="716" y="81"/>
                    </a:cubicBezTo>
                    <a:cubicBezTo>
                      <a:pt x="720" y="81"/>
                      <a:pt x="720" y="81"/>
                      <a:pt x="720" y="81"/>
                    </a:cubicBezTo>
                    <a:cubicBezTo>
                      <a:pt x="724" y="82"/>
                      <a:pt x="724" y="82"/>
                      <a:pt x="724" y="82"/>
                    </a:cubicBezTo>
                    <a:cubicBezTo>
                      <a:pt x="726" y="84"/>
                      <a:pt x="726" y="84"/>
                      <a:pt x="726" y="84"/>
                    </a:cubicBezTo>
                    <a:cubicBezTo>
                      <a:pt x="728" y="83"/>
                      <a:pt x="728" y="83"/>
                      <a:pt x="728" y="83"/>
                    </a:cubicBezTo>
                    <a:cubicBezTo>
                      <a:pt x="730" y="83"/>
                      <a:pt x="730" y="83"/>
                      <a:pt x="730" y="83"/>
                    </a:cubicBezTo>
                    <a:cubicBezTo>
                      <a:pt x="729" y="82"/>
                      <a:pt x="729" y="82"/>
                      <a:pt x="729" y="82"/>
                    </a:cubicBezTo>
                    <a:cubicBezTo>
                      <a:pt x="728" y="82"/>
                      <a:pt x="728" y="82"/>
                      <a:pt x="728" y="82"/>
                    </a:cubicBezTo>
                    <a:cubicBezTo>
                      <a:pt x="726" y="81"/>
                      <a:pt x="726" y="81"/>
                      <a:pt x="726" y="81"/>
                    </a:cubicBezTo>
                    <a:cubicBezTo>
                      <a:pt x="726" y="80"/>
                      <a:pt x="726" y="80"/>
                      <a:pt x="726" y="80"/>
                    </a:cubicBezTo>
                    <a:cubicBezTo>
                      <a:pt x="724" y="79"/>
                      <a:pt x="724" y="79"/>
                      <a:pt x="724" y="79"/>
                    </a:cubicBezTo>
                    <a:cubicBezTo>
                      <a:pt x="722" y="79"/>
                      <a:pt x="722" y="79"/>
                      <a:pt x="722" y="79"/>
                    </a:cubicBezTo>
                    <a:cubicBezTo>
                      <a:pt x="721" y="78"/>
                      <a:pt x="721" y="78"/>
                      <a:pt x="721" y="78"/>
                    </a:cubicBezTo>
                    <a:cubicBezTo>
                      <a:pt x="716" y="78"/>
                      <a:pt x="716" y="78"/>
                      <a:pt x="716" y="78"/>
                    </a:cubicBezTo>
                    <a:cubicBezTo>
                      <a:pt x="716" y="77"/>
                      <a:pt x="716" y="77"/>
                      <a:pt x="716" y="77"/>
                    </a:cubicBezTo>
                    <a:cubicBezTo>
                      <a:pt x="717" y="77"/>
                      <a:pt x="717" y="77"/>
                      <a:pt x="717" y="77"/>
                    </a:cubicBezTo>
                    <a:cubicBezTo>
                      <a:pt x="718" y="74"/>
                      <a:pt x="718" y="74"/>
                      <a:pt x="718" y="74"/>
                    </a:cubicBezTo>
                    <a:cubicBezTo>
                      <a:pt x="720" y="74"/>
                      <a:pt x="720" y="74"/>
                      <a:pt x="720" y="74"/>
                    </a:cubicBezTo>
                    <a:cubicBezTo>
                      <a:pt x="722" y="72"/>
                      <a:pt x="722" y="72"/>
                      <a:pt x="722" y="72"/>
                    </a:cubicBezTo>
                    <a:cubicBezTo>
                      <a:pt x="723" y="69"/>
                      <a:pt x="723" y="69"/>
                      <a:pt x="723" y="69"/>
                    </a:cubicBezTo>
                    <a:cubicBezTo>
                      <a:pt x="728" y="66"/>
                      <a:pt x="728" y="66"/>
                      <a:pt x="728" y="66"/>
                    </a:cubicBezTo>
                    <a:cubicBezTo>
                      <a:pt x="731" y="66"/>
                      <a:pt x="731" y="66"/>
                      <a:pt x="731" y="66"/>
                    </a:cubicBezTo>
                    <a:cubicBezTo>
                      <a:pt x="736" y="64"/>
                      <a:pt x="736" y="64"/>
                      <a:pt x="736" y="64"/>
                    </a:cubicBezTo>
                    <a:cubicBezTo>
                      <a:pt x="736" y="62"/>
                      <a:pt x="736" y="62"/>
                      <a:pt x="736" y="62"/>
                    </a:cubicBezTo>
                    <a:cubicBezTo>
                      <a:pt x="730" y="65"/>
                      <a:pt x="730" y="65"/>
                      <a:pt x="730" y="65"/>
                    </a:cubicBezTo>
                    <a:cubicBezTo>
                      <a:pt x="727" y="65"/>
                      <a:pt x="727" y="65"/>
                      <a:pt x="727" y="65"/>
                    </a:cubicBezTo>
                    <a:cubicBezTo>
                      <a:pt x="721" y="69"/>
                      <a:pt x="721" y="69"/>
                      <a:pt x="721" y="69"/>
                    </a:cubicBezTo>
                    <a:cubicBezTo>
                      <a:pt x="721" y="71"/>
                      <a:pt x="721" y="71"/>
                      <a:pt x="721" y="71"/>
                    </a:cubicBezTo>
                    <a:cubicBezTo>
                      <a:pt x="720" y="71"/>
                      <a:pt x="720" y="71"/>
                      <a:pt x="720" y="71"/>
                    </a:cubicBezTo>
                    <a:cubicBezTo>
                      <a:pt x="720" y="69"/>
                      <a:pt x="720" y="69"/>
                      <a:pt x="720" y="69"/>
                    </a:cubicBezTo>
                    <a:cubicBezTo>
                      <a:pt x="719" y="69"/>
                      <a:pt x="719" y="69"/>
                      <a:pt x="719" y="69"/>
                    </a:cubicBezTo>
                    <a:cubicBezTo>
                      <a:pt x="718" y="71"/>
                      <a:pt x="718" y="71"/>
                      <a:pt x="718" y="71"/>
                    </a:cubicBezTo>
                    <a:cubicBezTo>
                      <a:pt x="716" y="71"/>
                      <a:pt x="716" y="71"/>
                      <a:pt x="716" y="71"/>
                    </a:cubicBezTo>
                    <a:cubicBezTo>
                      <a:pt x="713" y="74"/>
                      <a:pt x="713" y="74"/>
                      <a:pt x="713" y="74"/>
                    </a:cubicBezTo>
                    <a:cubicBezTo>
                      <a:pt x="714" y="74"/>
                      <a:pt x="714" y="74"/>
                      <a:pt x="714" y="74"/>
                    </a:cubicBezTo>
                    <a:cubicBezTo>
                      <a:pt x="715" y="75"/>
                      <a:pt x="715" y="75"/>
                      <a:pt x="715" y="75"/>
                    </a:cubicBezTo>
                    <a:cubicBezTo>
                      <a:pt x="711" y="78"/>
                      <a:pt x="711" y="78"/>
                      <a:pt x="711" y="78"/>
                    </a:cubicBezTo>
                    <a:cubicBezTo>
                      <a:pt x="709" y="78"/>
                      <a:pt x="709" y="78"/>
                      <a:pt x="709" y="78"/>
                    </a:cubicBezTo>
                    <a:cubicBezTo>
                      <a:pt x="702" y="81"/>
                      <a:pt x="702" y="81"/>
                      <a:pt x="702" y="81"/>
                    </a:cubicBezTo>
                    <a:cubicBezTo>
                      <a:pt x="700" y="82"/>
                      <a:pt x="700" y="82"/>
                      <a:pt x="700" y="82"/>
                    </a:cubicBezTo>
                    <a:cubicBezTo>
                      <a:pt x="698" y="81"/>
                      <a:pt x="698" y="81"/>
                      <a:pt x="698" y="81"/>
                    </a:cubicBezTo>
                    <a:cubicBezTo>
                      <a:pt x="693" y="81"/>
                      <a:pt x="693" y="81"/>
                      <a:pt x="693" y="81"/>
                    </a:cubicBezTo>
                    <a:cubicBezTo>
                      <a:pt x="690" y="79"/>
                      <a:pt x="690" y="79"/>
                      <a:pt x="690" y="79"/>
                    </a:cubicBezTo>
                    <a:cubicBezTo>
                      <a:pt x="688" y="79"/>
                      <a:pt x="688" y="79"/>
                      <a:pt x="688" y="79"/>
                    </a:cubicBezTo>
                    <a:cubicBezTo>
                      <a:pt x="686" y="79"/>
                      <a:pt x="686" y="79"/>
                      <a:pt x="686" y="79"/>
                    </a:cubicBezTo>
                    <a:cubicBezTo>
                      <a:pt x="686" y="77"/>
                      <a:pt x="686" y="77"/>
                      <a:pt x="686" y="77"/>
                    </a:cubicBezTo>
                    <a:cubicBezTo>
                      <a:pt x="688" y="75"/>
                      <a:pt x="688" y="75"/>
                      <a:pt x="688" y="75"/>
                    </a:cubicBezTo>
                    <a:cubicBezTo>
                      <a:pt x="691" y="75"/>
                      <a:pt x="691" y="75"/>
                      <a:pt x="691" y="75"/>
                    </a:cubicBezTo>
                    <a:cubicBezTo>
                      <a:pt x="693" y="74"/>
                      <a:pt x="693" y="74"/>
                      <a:pt x="693" y="74"/>
                    </a:cubicBezTo>
                    <a:cubicBezTo>
                      <a:pt x="696" y="74"/>
                      <a:pt x="696" y="74"/>
                      <a:pt x="696" y="74"/>
                    </a:cubicBezTo>
                    <a:cubicBezTo>
                      <a:pt x="698" y="72"/>
                      <a:pt x="698" y="72"/>
                      <a:pt x="698" y="72"/>
                    </a:cubicBezTo>
                    <a:cubicBezTo>
                      <a:pt x="696" y="72"/>
                      <a:pt x="696" y="72"/>
                      <a:pt x="696" y="72"/>
                    </a:cubicBezTo>
                    <a:cubicBezTo>
                      <a:pt x="694" y="73"/>
                      <a:pt x="694" y="73"/>
                      <a:pt x="694" y="73"/>
                    </a:cubicBezTo>
                    <a:cubicBezTo>
                      <a:pt x="692" y="72"/>
                      <a:pt x="692" y="72"/>
                      <a:pt x="692" y="72"/>
                    </a:cubicBezTo>
                    <a:cubicBezTo>
                      <a:pt x="689" y="73"/>
                      <a:pt x="689" y="73"/>
                      <a:pt x="689" y="73"/>
                    </a:cubicBezTo>
                    <a:cubicBezTo>
                      <a:pt x="687" y="73"/>
                      <a:pt x="687" y="73"/>
                      <a:pt x="687" y="73"/>
                    </a:cubicBezTo>
                    <a:cubicBezTo>
                      <a:pt x="687" y="71"/>
                      <a:pt x="687" y="71"/>
                      <a:pt x="687" y="71"/>
                    </a:cubicBezTo>
                    <a:cubicBezTo>
                      <a:pt x="690" y="70"/>
                      <a:pt x="690" y="70"/>
                      <a:pt x="690" y="70"/>
                    </a:cubicBezTo>
                    <a:cubicBezTo>
                      <a:pt x="688" y="70"/>
                      <a:pt x="688" y="70"/>
                      <a:pt x="688" y="70"/>
                    </a:cubicBezTo>
                    <a:cubicBezTo>
                      <a:pt x="685" y="71"/>
                      <a:pt x="685" y="71"/>
                      <a:pt x="685" y="71"/>
                    </a:cubicBezTo>
                    <a:cubicBezTo>
                      <a:pt x="685" y="74"/>
                      <a:pt x="685" y="74"/>
                      <a:pt x="685" y="74"/>
                    </a:cubicBezTo>
                    <a:cubicBezTo>
                      <a:pt x="682" y="76"/>
                      <a:pt x="682" y="76"/>
                      <a:pt x="682" y="76"/>
                    </a:cubicBezTo>
                    <a:cubicBezTo>
                      <a:pt x="679" y="77"/>
                      <a:pt x="679" y="77"/>
                      <a:pt x="679" y="77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1" y="75"/>
                      <a:pt x="671" y="75"/>
                      <a:pt x="671" y="75"/>
                    </a:cubicBezTo>
                    <a:cubicBezTo>
                      <a:pt x="669" y="73"/>
                      <a:pt x="669" y="73"/>
                      <a:pt x="669" y="73"/>
                    </a:cubicBezTo>
                    <a:cubicBezTo>
                      <a:pt x="669" y="72"/>
                      <a:pt x="669" y="72"/>
                      <a:pt x="669" y="72"/>
                    </a:cubicBezTo>
                    <a:cubicBezTo>
                      <a:pt x="667" y="72"/>
                      <a:pt x="667" y="72"/>
                      <a:pt x="667" y="72"/>
                    </a:cubicBezTo>
                    <a:cubicBezTo>
                      <a:pt x="665" y="70"/>
                      <a:pt x="665" y="70"/>
                      <a:pt x="665" y="70"/>
                    </a:cubicBezTo>
                    <a:cubicBezTo>
                      <a:pt x="665" y="69"/>
                      <a:pt x="665" y="69"/>
                      <a:pt x="665" y="69"/>
                    </a:cubicBezTo>
                    <a:cubicBezTo>
                      <a:pt x="667" y="68"/>
                      <a:pt x="667" y="68"/>
                      <a:pt x="667" y="68"/>
                    </a:cubicBezTo>
                    <a:cubicBezTo>
                      <a:pt x="668" y="65"/>
                      <a:pt x="668" y="65"/>
                      <a:pt x="668" y="65"/>
                    </a:cubicBezTo>
                    <a:cubicBezTo>
                      <a:pt x="671" y="64"/>
                      <a:pt x="671" y="64"/>
                      <a:pt x="671" y="64"/>
                    </a:cubicBezTo>
                    <a:cubicBezTo>
                      <a:pt x="673" y="61"/>
                      <a:pt x="673" y="61"/>
                      <a:pt x="673" y="61"/>
                    </a:cubicBezTo>
                    <a:cubicBezTo>
                      <a:pt x="675" y="60"/>
                      <a:pt x="675" y="60"/>
                      <a:pt x="675" y="60"/>
                    </a:cubicBezTo>
                    <a:cubicBezTo>
                      <a:pt x="677" y="58"/>
                      <a:pt x="677" y="58"/>
                      <a:pt x="677" y="58"/>
                    </a:cubicBezTo>
                    <a:cubicBezTo>
                      <a:pt x="679" y="59"/>
                      <a:pt x="679" y="59"/>
                      <a:pt x="679" y="59"/>
                    </a:cubicBezTo>
                    <a:cubicBezTo>
                      <a:pt x="682" y="59"/>
                      <a:pt x="682" y="59"/>
                      <a:pt x="682" y="59"/>
                    </a:cubicBezTo>
                    <a:cubicBezTo>
                      <a:pt x="684" y="59"/>
                      <a:pt x="684" y="59"/>
                      <a:pt x="684" y="59"/>
                    </a:cubicBezTo>
                    <a:cubicBezTo>
                      <a:pt x="686" y="59"/>
                      <a:pt x="686" y="59"/>
                      <a:pt x="686" y="59"/>
                    </a:cubicBezTo>
                    <a:cubicBezTo>
                      <a:pt x="689" y="61"/>
                      <a:pt x="689" y="61"/>
                      <a:pt x="689" y="61"/>
                    </a:cubicBezTo>
                    <a:cubicBezTo>
                      <a:pt x="692" y="61"/>
                      <a:pt x="692" y="61"/>
                      <a:pt x="692" y="61"/>
                    </a:cubicBezTo>
                    <a:cubicBezTo>
                      <a:pt x="694" y="62"/>
                      <a:pt x="694" y="62"/>
                      <a:pt x="694" y="62"/>
                    </a:cubicBezTo>
                    <a:cubicBezTo>
                      <a:pt x="697" y="61"/>
                      <a:pt x="697" y="61"/>
                      <a:pt x="697" y="61"/>
                    </a:cubicBezTo>
                    <a:cubicBezTo>
                      <a:pt x="698" y="61"/>
                      <a:pt x="698" y="61"/>
                      <a:pt x="698" y="61"/>
                    </a:cubicBezTo>
                    <a:cubicBezTo>
                      <a:pt x="696" y="60"/>
                      <a:pt x="696" y="60"/>
                      <a:pt x="696" y="60"/>
                    </a:cubicBezTo>
                    <a:cubicBezTo>
                      <a:pt x="693" y="60"/>
                      <a:pt x="693" y="60"/>
                      <a:pt x="693" y="60"/>
                    </a:cubicBezTo>
                    <a:cubicBezTo>
                      <a:pt x="688" y="59"/>
                      <a:pt x="688" y="59"/>
                      <a:pt x="688" y="59"/>
                    </a:cubicBezTo>
                    <a:cubicBezTo>
                      <a:pt x="686" y="58"/>
                      <a:pt x="686" y="58"/>
                      <a:pt x="686" y="58"/>
                    </a:cubicBezTo>
                    <a:cubicBezTo>
                      <a:pt x="683" y="58"/>
                      <a:pt x="683" y="58"/>
                      <a:pt x="683" y="58"/>
                    </a:cubicBezTo>
                    <a:cubicBezTo>
                      <a:pt x="680" y="58"/>
                      <a:pt x="680" y="58"/>
                      <a:pt x="680" y="58"/>
                    </a:cubicBezTo>
                    <a:cubicBezTo>
                      <a:pt x="676" y="57"/>
                      <a:pt x="676" y="57"/>
                      <a:pt x="676" y="57"/>
                    </a:cubicBezTo>
                    <a:cubicBezTo>
                      <a:pt x="675" y="57"/>
                      <a:pt x="675" y="57"/>
                      <a:pt x="675" y="57"/>
                    </a:cubicBezTo>
                    <a:cubicBezTo>
                      <a:pt x="674" y="58"/>
                      <a:pt x="674" y="58"/>
                      <a:pt x="674" y="58"/>
                    </a:cubicBezTo>
                    <a:cubicBezTo>
                      <a:pt x="672" y="60"/>
                      <a:pt x="672" y="60"/>
                      <a:pt x="672" y="60"/>
                    </a:cubicBezTo>
                    <a:cubicBezTo>
                      <a:pt x="668" y="63"/>
                      <a:pt x="668" y="63"/>
                      <a:pt x="668" y="63"/>
                    </a:cubicBezTo>
                    <a:cubicBezTo>
                      <a:pt x="665" y="64"/>
                      <a:pt x="665" y="64"/>
                      <a:pt x="665" y="64"/>
                    </a:cubicBezTo>
                    <a:cubicBezTo>
                      <a:pt x="662" y="67"/>
                      <a:pt x="662" y="67"/>
                      <a:pt x="662" y="67"/>
                    </a:cubicBezTo>
                    <a:cubicBezTo>
                      <a:pt x="662" y="68"/>
                      <a:pt x="662" y="68"/>
                      <a:pt x="662" y="68"/>
                    </a:cubicBezTo>
                    <a:cubicBezTo>
                      <a:pt x="660" y="67"/>
                      <a:pt x="660" y="67"/>
                      <a:pt x="660" y="67"/>
                    </a:cubicBezTo>
                    <a:cubicBezTo>
                      <a:pt x="657" y="63"/>
                      <a:pt x="657" y="63"/>
                      <a:pt x="657" y="63"/>
                    </a:cubicBezTo>
                    <a:cubicBezTo>
                      <a:pt x="656" y="63"/>
                      <a:pt x="656" y="63"/>
                      <a:pt x="656" y="63"/>
                    </a:cubicBezTo>
                    <a:cubicBezTo>
                      <a:pt x="655" y="62"/>
                      <a:pt x="655" y="62"/>
                      <a:pt x="655" y="62"/>
                    </a:cubicBezTo>
                    <a:cubicBezTo>
                      <a:pt x="654" y="60"/>
                      <a:pt x="654" y="60"/>
                      <a:pt x="654" y="60"/>
                    </a:cubicBezTo>
                    <a:cubicBezTo>
                      <a:pt x="654" y="57"/>
                      <a:pt x="654" y="57"/>
                      <a:pt x="654" y="57"/>
                    </a:cubicBezTo>
                    <a:cubicBezTo>
                      <a:pt x="653" y="56"/>
                      <a:pt x="653" y="56"/>
                      <a:pt x="653" y="56"/>
                    </a:cubicBezTo>
                    <a:cubicBezTo>
                      <a:pt x="653" y="53"/>
                      <a:pt x="653" y="53"/>
                      <a:pt x="653" y="53"/>
                    </a:cubicBezTo>
                    <a:cubicBezTo>
                      <a:pt x="654" y="52"/>
                      <a:pt x="654" y="52"/>
                      <a:pt x="654" y="52"/>
                    </a:cubicBezTo>
                    <a:cubicBezTo>
                      <a:pt x="656" y="53"/>
                      <a:pt x="656" y="53"/>
                      <a:pt x="656" y="53"/>
                    </a:cubicBezTo>
                    <a:cubicBezTo>
                      <a:pt x="658" y="52"/>
                      <a:pt x="658" y="52"/>
                      <a:pt x="658" y="52"/>
                    </a:cubicBezTo>
                    <a:cubicBezTo>
                      <a:pt x="659" y="53"/>
                      <a:pt x="659" y="53"/>
                      <a:pt x="659" y="53"/>
                    </a:cubicBezTo>
                    <a:cubicBezTo>
                      <a:pt x="665" y="53"/>
                      <a:pt x="665" y="53"/>
                      <a:pt x="665" y="53"/>
                    </a:cubicBezTo>
                    <a:cubicBezTo>
                      <a:pt x="668" y="55"/>
                      <a:pt x="668" y="55"/>
                      <a:pt x="668" y="55"/>
                    </a:cubicBezTo>
                    <a:cubicBezTo>
                      <a:pt x="669" y="55"/>
                      <a:pt x="669" y="55"/>
                      <a:pt x="669" y="55"/>
                    </a:cubicBezTo>
                    <a:cubicBezTo>
                      <a:pt x="670" y="56"/>
                      <a:pt x="670" y="56"/>
                      <a:pt x="670" y="56"/>
                    </a:cubicBezTo>
                    <a:cubicBezTo>
                      <a:pt x="672" y="56"/>
                      <a:pt x="672" y="56"/>
                      <a:pt x="672" y="56"/>
                    </a:cubicBezTo>
                    <a:cubicBezTo>
                      <a:pt x="674" y="55"/>
                      <a:pt x="674" y="55"/>
                      <a:pt x="674" y="55"/>
                    </a:cubicBezTo>
                    <a:cubicBezTo>
                      <a:pt x="677" y="55"/>
                      <a:pt x="677" y="55"/>
                      <a:pt x="677" y="55"/>
                    </a:cubicBezTo>
                    <a:cubicBezTo>
                      <a:pt x="677" y="55"/>
                      <a:pt x="677" y="55"/>
                      <a:pt x="677" y="55"/>
                    </a:cubicBezTo>
                    <a:cubicBezTo>
                      <a:pt x="679" y="54"/>
                      <a:pt x="679" y="54"/>
                      <a:pt x="679" y="54"/>
                    </a:cubicBezTo>
                    <a:cubicBezTo>
                      <a:pt x="680" y="54"/>
                      <a:pt x="680" y="54"/>
                      <a:pt x="680" y="54"/>
                    </a:cubicBezTo>
                    <a:cubicBezTo>
                      <a:pt x="684" y="53"/>
                      <a:pt x="684" y="53"/>
                      <a:pt x="684" y="53"/>
                    </a:cubicBezTo>
                    <a:cubicBezTo>
                      <a:pt x="688" y="52"/>
                      <a:pt x="688" y="52"/>
                      <a:pt x="688" y="52"/>
                    </a:cubicBezTo>
                    <a:cubicBezTo>
                      <a:pt x="688" y="51"/>
                      <a:pt x="688" y="51"/>
                      <a:pt x="688" y="51"/>
                    </a:cubicBezTo>
                    <a:cubicBezTo>
                      <a:pt x="688" y="50"/>
                      <a:pt x="688" y="50"/>
                      <a:pt x="688" y="50"/>
                    </a:cubicBezTo>
                    <a:cubicBezTo>
                      <a:pt x="687" y="50"/>
                      <a:pt x="687" y="50"/>
                      <a:pt x="687" y="50"/>
                    </a:cubicBezTo>
                    <a:cubicBezTo>
                      <a:pt x="686" y="50"/>
                      <a:pt x="686" y="50"/>
                      <a:pt x="686" y="50"/>
                    </a:cubicBezTo>
                    <a:cubicBezTo>
                      <a:pt x="685" y="51"/>
                      <a:pt x="685" y="51"/>
                      <a:pt x="685" y="51"/>
                    </a:cubicBezTo>
                    <a:cubicBezTo>
                      <a:pt x="682" y="52"/>
                      <a:pt x="682" y="52"/>
                      <a:pt x="682" y="52"/>
                    </a:cubicBezTo>
                    <a:cubicBezTo>
                      <a:pt x="678" y="52"/>
                      <a:pt x="678" y="52"/>
                      <a:pt x="678" y="52"/>
                    </a:cubicBezTo>
                    <a:cubicBezTo>
                      <a:pt x="675" y="53"/>
                      <a:pt x="675" y="53"/>
                      <a:pt x="675" y="53"/>
                    </a:cubicBezTo>
                    <a:cubicBezTo>
                      <a:pt x="674" y="54"/>
                      <a:pt x="674" y="54"/>
                      <a:pt x="674" y="54"/>
                    </a:cubicBezTo>
                    <a:cubicBezTo>
                      <a:pt x="671" y="53"/>
                      <a:pt x="671" y="53"/>
                      <a:pt x="671" y="53"/>
                    </a:cubicBezTo>
                    <a:cubicBezTo>
                      <a:pt x="670" y="54"/>
                      <a:pt x="670" y="54"/>
                      <a:pt x="670" y="54"/>
                    </a:cubicBezTo>
                    <a:cubicBezTo>
                      <a:pt x="669" y="54"/>
                      <a:pt x="669" y="54"/>
                      <a:pt x="669" y="54"/>
                    </a:cubicBezTo>
                    <a:cubicBezTo>
                      <a:pt x="667" y="52"/>
                      <a:pt x="667" y="52"/>
                      <a:pt x="667" y="52"/>
                    </a:cubicBezTo>
                    <a:cubicBezTo>
                      <a:pt x="665" y="52"/>
                      <a:pt x="665" y="52"/>
                      <a:pt x="665" y="52"/>
                    </a:cubicBezTo>
                    <a:cubicBezTo>
                      <a:pt x="664" y="51"/>
                      <a:pt x="664" y="51"/>
                      <a:pt x="664" y="51"/>
                    </a:cubicBezTo>
                    <a:cubicBezTo>
                      <a:pt x="662" y="51"/>
                      <a:pt x="662" y="51"/>
                      <a:pt x="662" y="51"/>
                    </a:cubicBezTo>
                    <a:cubicBezTo>
                      <a:pt x="659" y="49"/>
                      <a:pt x="659" y="49"/>
                      <a:pt x="659" y="49"/>
                    </a:cubicBezTo>
                    <a:cubicBezTo>
                      <a:pt x="657" y="50"/>
                      <a:pt x="657" y="50"/>
                      <a:pt x="657" y="50"/>
                    </a:cubicBezTo>
                    <a:cubicBezTo>
                      <a:pt x="655" y="49"/>
                      <a:pt x="655" y="49"/>
                      <a:pt x="655" y="49"/>
                    </a:cubicBezTo>
                    <a:cubicBezTo>
                      <a:pt x="654" y="48"/>
                      <a:pt x="654" y="48"/>
                      <a:pt x="654" y="48"/>
                    </a:cubicBezTo>
                    <a:cubicBezTo>
                      <a:pt x="655" y="47"/>
                      <a:pt x="655" y="47"/>
                      <a:pt x="655" y="47"/>
                    </a:cubicBezTo>
                    <a:cubicBezTo>
                      <a:pt x="655" y="44"/>
                      <a:pt x="655" y="44"/>
                      <a:pt x="655" y="44"/>
                    </a:cubicBezTo>
                    <a:cubicBezTo>
                      <a:pt x="657" y="43"/>
                      <a:pt x="657" y="43"/>
                      <a:pt x="657" y="43"/>
                    </a:cubicBezTo>
                    <a:cubicBezTo>
                      <a:pt x="658" y="43"/>
                      <a:pt x="658" y="43"/>
                      <a:pt x="658" y="43"/>
                    </a:cubicBezTo>
                    <a:cubicBezTo>
                      <a:pt x="659" y="45"/>
                      <a:pt x="659" y="45"/>
                      <a:pt x="659" y="45"/>
                    </a:cubicBezTo>
                    <a:cubicBezTo>
                      <a:pt x="662" y="45"/>
                      <a:pt x="662" y="45"/>
                      <a:pt x="662" y="45"/>
                    </a:cubicBezTo>
                    <a:cubicBezTo>
                      <a:pt x="663" y="44"/>
                      <a:pt x="663" y="44"/>
                      <a:pt x="663" y="44"/>
                    </a:cubicBezTo>
                    <a:cubicBezTo>
                      <a:pt x="661" y="43"/>
                      <a:pt x="661" y="43"/>
                      <a:pt x="661" y="43"/>
                    </a:cubicBezTo>
                    <a:cubicBezTo>
                      <a:pt x="660" y="43"/>
                      <a:pt x="660" y="43"/>
                      <a:pt x="660" y="43"/>
                    </a:cubicBezTo>
                    <a:cubicBezTo>
                      <a:pt x="658" y="41"/>
                      <a:pt x="658" y="41"/>
                      <a:pt x="658" y="41"/>
                    </a:cubicBezTo>
                    <a:cubicBezTo>
                      <a:pt x="659" y="40"/>
                      <a:pt x="659" y="40"/>
                      <a:pt x="659" y="40"/>
                    </a:cubicBezTo>
                    <a:cubicBezTo>
                      <a:pt x="662" y="40"/>
                      <a:pt x="662" y="40"/>
                      <a:pt x="662" y="40"/>
                    </a:cubicBezTo>
                    <a:cubicBezTo>
                      <a:pt x="664" y="38"/>
                      <a:pt x="664" y="38"/>
                      <a:pt x="664" y="38"/>
                    </a:cubicBezTo>
                    <a:cubicBezTo>
                      <a:pt x="667" y="38"/>
                      <a:pt x="667" y="38"/>
                      <a:pt x="667" y="38"/>
                    </a:cubicBezTo>
                    <a:cubicBezTo>
                      <a:pt x="669" y="37"/>
                      <a:pt x="669" y="37"/>
                      <a:pt x="669" y="37"/>
                    </a:cubicBezTo>
                    <a:cubicBezTo>
                      <a:pt x="671" y="37"/>
                      <a:pt x="671" y="37"/>
                      <a:pt x="671" y="37"/>
                    </a:cubicBezTo>
                    <a:cubicBezTo>
                      <a:pt x="672" y="38"/>
                      <a:pt x="672" y="38"/>
                      <a:pt x="672" y="38"/>
                    </a:cubicBezTo>
                    <a:cubicBezTo>
                      <a:pt x="673" y="37"/>
                      <a:pt x="673" y="37"/>
                      <a:pt x="673" y="37"/>
                    </a:cubicBezTo>
                    <a:cubicBezTo>
                      <a:pt x="673" y="36"/>
                      <a:pt x="673" y="36"/>
                      <a:pt x="673" y="36"/>
                    </a:cubicBezTo>
                    <a:cubicBezTo>
                      <a:pt x="672" y="35"/>
                      <a:pt x="672" y="35"/>
                      <a:pt x="672" y="35"/>
                    </a:cubicBezTo>
                    <a:cubicBezTo>
                      <a:pt x="668" y="36"/>
                      <a:pt x="668" y="36"/>
                      <a:pt x="668" y="36"/>
                    </a:cubicBezTo>
                    <a:cubicBezTo>
                      <a:pt x="665" y="36"/>
                      <a:pt x="665" y="36"/>
                      <a:pt x="665" y="36"/>
                    </a:cubicBezTo>
                    <a:cubicBezTo>
                      <a:pt x="662" y="37"/>
                      <a:pt x="662" y="37"/>
                      <a:pt x="662" y="37"/>
                    </a:cubicBezTo>
                    <a:cubicBezTo>
                      <a:pt x="661" y="38"/>
                      <a:pt x="661" y="38"/>
                      <a:pt x="661" y="38"/>
                    </a:cubicBezTo>
                    <a:cubicBezTo>
                      <a:pt x="659" y="39"/>
                      <a:pt x="659" y="39"/>
                      <a:pt x="659" y="39"/>
                    </a:cubicBezTo>
                    <a:cubicBezTo>
                      <a:pt x="658" y="39"/>
                      <a:pt x="658" y="39"/>
                      <a:pt x="658" y="39"/>
                    </a:cubicBezTo>
                    <a:cubicBezTo>
                      <a:pt x="658" y="37"/>
                      <a:pt x="658" y="37"/>
                      <a:pt x="658" y="37"/>
                    </a:cubicBezTo>
                    <a:cubicBezTo>
                      <a:pt x="657" y="35"/>
                      <a:pt x="657" y="35"/>
                      <a:pt x="657" y="35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3" y="32"/>
                      <a:pt x="663" y="32"/>
                      <a:pt x="663" y="32"/>
                    </a:cubicBezTo>
                    <a:cubicBezTo>
                      <a:pt x="666" y="32"/>
                      <a:pt x="666" y="32"/>
                      <a:pt x="666" y="32"/>
                    </a:cubicBezTo>
                    <a:cubicBezTo>
                      <a:pt x="667" y="31"/>
                      <a:pt x="667" y="31"/>
                      <a:pt x="667" y="31"/>
                    </a:cubicBezTo>
                    <a:cubicBezTo>
                      <a:pt x="665" y="31"/>
                      <a:pt x="665" y="31"/>
                      <a:pt x="665" y="31"/>
                    </a:cubicBezTo>
                    <a:cubicBezTo>
                      <a:pt x="664" y="30"/>
                      <a:pt x="664" y="30"/>
                      <a:pt x="664" y="30"/>
                    </a:cubicBezTo>
                    <a:cubicBezTo>
                      <a:pt x="664" y="27"/>
                      <a:pt x="664" y="27"/>
                      <a:pt x="664" y="27"/>
                    </a:cubicBezTo>
                    <a:cubicBezTo>
                      <a:pt x="664" y="28"/>
                      <a:pt x="664" y="28"/>
                      <a:pt x="664" y="28"/>
                    </a:cubicBezTo>
                    <a:cubicBezTo>
                      <a:pt x="663" y="30"/>
                      <a:pt x="663" y="30"/>
                      <a:pt x="663" y="30"/>
                    </a:cubicBezTo>
                    <a:cubicBezTo>
                      <a:pt x="662" y="30"/>
                      <a:pt x="662" y="30"/>
                      <a:pt x="662" y="30"/>
                    </a:cubicBezTo>
                    <a:cubicBezTo>
                      <a:pt x="662" y="29"/>
                      <a:pt x="662" y="29"/>
                      <a:pt x="662" y="29"/>
                    </a:cubicBezTo>
                    <a:cubicBezTo>
                      <a:pt x="660" y="29"/>
                      <a:pt x="660" y="29"/>
                      <a:pt x="660" y="29"/>
                    </a:cubicBezTo>
                    <a:cubicBezTo>
                      <a:pt x="660" y="30"/>
                      <a:pt x="660" y="30"/>
                      <a:pt x="660" y="30"/>
                    </a:cubicBezTo>
                    <a:cubicBezTo>
                      <a:pt x="658" y="30"/>
                      <a:pt x="658" y="30"/>
                      <a:pt x="658" y="30"/>
                    </a:cubicBezTo>
                    <a:cubicBezTo>
                      <a:pt x="658" y="32"/>
                      <a:pt x="658" y="32"/>
                      <a:pt x="658" y="32"/>
                    </a:cubicBezTo>
                    <a:cubicBezTo>
                      <a:pt x="657" y="33"/>
                      <a:pt x="657" y="33"/>
                      <a:pt x="657" y="33"/>
                    </a:cubicBezTo>
                    <a:cubicBezTo>
                      <a:pt x="654" y="33"/>
                      <a:pt x="654" y="33"/>
                      <a:pt x="654" y="33"/>
                    </a:cubicBezTo>
                    <a:cubicBezTo>
                      <a:pt x="654" y="32"/>
                      <a:pt x="654" y="32"/>
                      <a:pt x="654" y="32"/>
                    </a:cubicBezTo>
                    <a:cubicBezTo>
                      <a:pt x="654" y="30"/>
                      <a:pt x="654" y="30"/>
                      <a:pt x="654" y="30"/>
                    </a:cubicBezTo>
                    <a:cubicBezTo>
                      <a:pt x="654" y="29"/>
                      <a:pt x="654" y="29"/>
                      <a:pt x="654" y="29"/>
                    </a:cubicBezTo>
                    <a:cubicBezTo>
                      <a:pt x="653" y="28"/>
                      <a:pt x="653" y="28"/>
                      <a:pt x="653" y="28"/>
                    </a:cubicBezTo>
                    <a:cubicBezTo>
                      <a:pt x="654" y="27"/>
                      <a:pt x="654" y="27"/>
                      <a:pt x="654" y="27"/>
                    </a:cubicBezTo>
                    <a:cubicBezTo>
                      <a:pt x="655" y="28"/>
                      <a:pt x="655" y="28"/>
                      <a:pt x="655" y="28"/>
                    </a:cubicBezTo>
                    <a:cubicBezTo>
                      <a:pt x="655" y="25"/>
                      <a:pt x="655" y="25"/>
                      <a:pt x="655" y="25"/>
                    </a:cubicBezTo>
                    <a:cubicBezTo>
                      <a:pt x="657" y="25"/>
                      <a:pt x="657" y="25"/>
                      <a:pt x="657" y="25"/>
                    </a:cubicBezTo>
                    <a:cubicBezTo>
                      <a:pt x="659" y="25"/>
                      <a:pt x="659" y="25"/>
                      <a:pt x="659" y="25"/>
                    </a:cubicBezTo>
                    <a:cubicBezTo>
                      <a:pt x="660" y="23"/>
                      <a:pt x="660" y="23"/>
                      <a:pt x="660" y="23"/>
                    </a:cubicBezTo>
                    <a:cubicBezTo>
                      <a:pt x="662" y="22"/>
                      <a:pt x="662" y="22"/>
                      <a:pt x="662" y="22"/>
                    </a:cubicBezTo>
                    <a:cubicBezTo>
                      <a:pt x="664" y="22"/>
                      <a:pt x="664" y="22"/>
                      <a:pt x="664" y="22"/>
                    </a:cubicBezTo>
                    <a:cubicBezTo>
                      <a:pt x="667" y="20"/>
                      <a:pt x="667" y="20"/>
                      <a:pt x="667" y="20"/>
                    </a:cubicBezTo>
                    <a:cubicBezTo>
                      <a:pt x="671" y="20"/>
                      <a:pt x="671" y="20"/>
                      <a:pt x="671" y="20"/>
                    </a:cubicBezTo>
                    <a:cubicBezTo>
                      <a:pt x="672" y="19"/>
                      <a:pt x="672" y="19"/>
                      <a:pt x="672" y="19"/>
                    </a:cubicBezTo>
                    <a:cubicBezTo>
                      <a:pt x="673" y="20"/>
                      <a:pt x="673" y="20"/>
                      <a:pt x="673" y="20"/>
                    </a:cubicBezTo>
                    <a:cubicBezTo>
                      <a:pt x="674" y="21"/>
                      <a:pt x="674" y="21"/>
                      <a:pt x="674" y="21"/>
                    </a:cubicBezTo>
                    <a:cubicBezTo>
                      <a:pt x="673" y="22"/>
                      <a:pt x="673" y="22"/>
                      <a:pt x="673" y="22"/>
                    </a:cubicBezTo>
                    <a:cubicBezTo>
                      <a:pt x="673" y="27"/>
                      <a:pt x="673" y="27"/>
                      <a:pt x="673" y="27"/>
                    </a:cubicBezTo>
                    <a:cubicBezTo>
                      <a:pt x="674" y="27"/>
                      <a:pt x="674" y="27"/>
                      <a:pt x="674" y="27"/>
                    </a:cubicBezTo>
                    <a:cubicBezTo>
                      <a:pt x="675" y="24"/>
                      <a:pt x="675" y="24"/>
                      <a:pt x="675" y="24"/>
                    </a:cubicBezTo>
                    <a:cubicBezTo>
                      <a:pt x="676" y="23"/>
                      <a:pt x="676" y="23"/>
                      <a:pt x="676" y="23"/>
                    </a:cubicBezTo>
                    <a:cubicBezTo>
                      <a:pt x="677" y="23"/>
                      <a:pt x="677" y="23"/>
                      <a:pt x="677" y="23"/>
                    </a:cubicBezTo>
                    <a:cubicBezTo>
                      <a:pt x="676" y="24"/>
                      <a:pt x="676" y="24"/>
                      <a:pt x="676" y="24"/>
                    </a:cubicBezTo>
                    <a:cubicBezTo>
                      <a:pt x="676" y="26"/>
                      <a:pt x="676" y="26"/>
                      <a:pt x="676" y="26"/>
                    </a:cubicBezTo>
                    <a:cubicBezTo>
                      <a:pt x="678" y="25"/>
                      <a:pt x="678" y="25"/>
                      <a:pt x="678" y="25"/>
                    </a:cubicBezTo>
                    <a:cubicBezTo>
                      <a:pt x="678" y="23"/>
                      <a:pt x="678" y="23"/>
                      <a:pt x="678" y="23"/>
                    </a:cubicBezTo>
                    <a:cubicBezTo>
                      <a:pt x="678" y="22"/>
                      <a:pt x="678" y="22"/>
                      <a:pt x="678" y="22"/>
                    </a:cubicBezTo>
                    <a:cubicBezTo>
                      <a:pt x="678" y="21"/>
                      <a:pt x="678" y="21"/>
                      <a:pt x="678" y="21"/>
                    </a:cubicBezTo>
                    <a:cubicBezTo>
                      <a:pt x="678" y="19"/>
                      <a:pt x="678" y="19"/>
                      <a:pt x="678" y="19"/>
                    </a:cubicBezTo>
                    <a:cubicBezTo>
                      <a:pt x="680" y="18"/>
                      <a:pt x="680" y="18"/>
                      <a:pt x="680" y="18"/>
                    </a:cubicBezTo>
                    <a:cubicBezTo>
                      <a:pt x="682" y="16"/>
                      <a:pt x="682" y="16"/>
                      <a:pt x="682" y="16"/>
                    </a:cubicBezTo>
                    <a:cubicBezTo>
                      <a:pt x="683" y="16"/>
                      <a:pt x="683" y="16"/>
                      <a:pt x="683" y="16"/>
                    </a:cubicBezTo>
                    <a:cubicBezTo>
                      <a:pt x="683" y="18"/>
                      <a:pt x="683" y="18"/>
                      <a:pt x="683" y="18"/>
                    </a:cubicBezTo>
                    <a:cubicBezTo>
                      <a:pt x="683" y="21"/>
                      <a:pt x="683" y="21"/>
                      <a:pt x="683" y="21"/>
                    </a:cubicBezTo>
                    <a:cubicBezTo>
                      <a:pt x="685" y="22"/>
                      <a:pt x="685" y="22"/>
                      <a:pt x="685" y="22"/>
                    </a:cubicBezTo>
                    <a:cubicBezTo>
                      <a:pt x="685" y="24"/>
                      <a:pt x="685" y="24"/>
                      <a:pt x="685" y="24"/>
                    </a:cubicBezTo>
                    <a:cubicBezTo>
                      <a:pt x="685" y="25"/>
                      <a:pt x="685" y="25"/>
                      <a:pt x="685" y="25"/>
                    </a:cubicBezTo>
                    <a:cubicBezTo>
                      <a:pt x="685" y="27"/>
                      <a:pt x="685" y="27"/>
                      <a:pt x="685" y="27"/>
                    </a:cubicBezTo>
                    <a:cubicBezTo>
                      <a:pt x="685" y="28"/>
                      <a:pt x="685" y="28"/>
                      <a:pt x="685" y="28"/>
                    </a:cubicBezTo>
                    <a:cubicBezTo>
                      <a:pt x="687" y="30"/>
                      <a:pt x="687" y="30"/>
                      <a:pt x="687" y="30"/>
                    </a:cubicBezTo>
                    <a:cubicBezTo>
                      <a:pt x="687" y="29"/>
                      <a:pt x="687" y="29"/>
                      <a:pt x="687" y="29"/>
                    </a:cubicBezTo>
                    <a:cubicBezTo>
                      <a:pt x="686" y="27"/>
                      <a:pt x="686" y="27"/>
                      <a:pt x="686" y="27"/>
                    </a:cubicBezTo>
                    <a:cubicBezTo>
                      <a:pt x="686" y="25"/>
                      <a:pt x="686" y="25"/>
                      <a:pt x="686" y="25"/>
                    </a:cubicBezTo>
                    <a:cubicBezTo>
                      <a:pt x="688" y="25"/>
                      <a:pt x="688" y="25"/>
                      <a:pt x="688" y="25"/>
                    </a:cubicBezTo>
                    <a:cubicBezTo>
                      <a:pt x="690" y="21"/>
                      <a:pt x="690" y="21"/>
                      <a:pt x="690" y="21"/>
                    </a:cubicBezTo>
                    <a:cubicBezTo>
                      <a:pt x="691" y="21"/>
                      <a:pt x="691" y="21"/>
                      <a:pt x="691" y="21"/>
                    </a:cubicBezTo>
                    <a:cubicBezTo>
                      <a:pt x="692" y="24"/>
                      <a:pt x="692" y="24"/>
                      <a:pt x="692" y="24"/>
                    </a:cubicBezTo>
                    <a:cubicBezTo>
                      <a:pt x="692" y="27"/>
                      <a:pt x="692" y="27"/>
                      <a:pt x="692" y="27"/>
                    </a:cubicBezTo>
                    <a:cubicBezTo>
                      <a:pt x="692" y="29"/>
                      <a:pt x="692" y="29"/>
                      <a:pt x="692" y="29"/>
                    </a:cubicBezTo>
                    <a:cubicBezTo>
                      <a:pt x="693" y="30"/>
                      <a:pt x="693" y="30"/>
                      <a:pt x="693" y="30"/>
                    </a:cubicBezTo>
                    <a:cubicBezTo>
                      <a:pt x="693" y="31"/>
                      <a:pt x="693" y="31"/>
                      <a:pt x="693" y="31"/>
                    </a:cubicBezTo>
                    <a:cubicBezTo>
                      <a:pt x="694" y="30"/>
                      <a:pt x="694" y="30"/>
                      <a:pt x="694" y="30"/>
                    </a:cubicBezTo>
                    <a:cubicBezTo>
                      <a:pt x="694" y="27"/>
                      <a:pt x="694" y="27"/>
                      <a:pt x="694" y="27"/>
                    </a:cubicBezTo>
                    <a:cubicBezTo>
                      <a:pt x="695" y="27"/>
                      <a:pt x="695" y="27"/>
                      <a:pt x="695" y="27"/>
                    </a:cubicBezTo>
                    <a:cubicBezTo>
                      <a:pt x="696" y="26"/>
                      <a:pt x="696" y="26"/>
                      <a:pt x="696" y="26"/>
                    </a:cubicBezTo>
                    <a:cubicBezTo>
                      <a:pt x="697" y="27"/>
                      <a:pt x="697" y="27"/>
                      <a:pt x="697" y="27"/>
                    </a:cubicBezTo>
                    <a:cubicBezTo>
                      <a:pt x="696" y="28"/>
                      <a:pt x="696" y="28"/>
                      <a:pt x="696" y="28"/>
                    </a:cubicBezTo>
                    <a:cubicBezTo>
                      <a:pt x="696" y="30"/>
                      <a:pt x="696" y="30"/>
                      <a:pt x="696" y="30"/>
                    </a:cubicBezTo>
                    <a:cubicBezTo>
                      <a:pt x="697" y="31"/>
                      <a:pt x="697" y="31"/>
                      <a:pt x="697" y="31"/>
                    </a:cubicBezTo>
                    <a:cubicBezTo>
                      <a:pt x="699" y="29"/>
                      <a:pt x="699" y="29"/>
                      <a:pt x="699" y="29"/>
                    </a:cubicBezTo>
                    <a:cubicBezTo>
                      <a:pt x="700" y="29"/>
                      <a:pt x="700" y="29"/>
                      <a:pt x="700" y="29"/>
                    </a:cubicBezTo>
                    <a:cubicBezTo>
                      <a:pt x="699" y="31"/>
                      <a:pt x="699" y="31"/>
                      <a:pt x="699" y="31"/>
                    </a:cubicBezTo>
                    <a:cubicBezTo>
                      <a:pt x="700" y="30"/>
                      <a:pt x="700" y="30"/>
                      <a:pt x="700" y="30"/>
                    </a:cubicBezTo>
                    <a:cubicBezTo>
                      <a:pt x="700" y="28"/>
                      <a:pt x="700" y="28"/>
                      <a:pt x="700" y="28"/>
                    </a:cubicBezTo>
                    <a:cubicBezTo>
                      <a:pt x="699" y="25"/>
                      <a:pt x="699" y="25"/>
                      <a:pt x="699" y="25"/>
                    </a:cubicBezTo>
                    <a:cubicBezTo>
                      <a:pt x="698" y="25"/>
                      <a:pt x="698" y="25"/>
                      <a:pt x="698" y="25"/>
                    </a:cubicBezTo>
                    <a:cubicBezTo>
                      <a:pt x="697" y="23"/>
                      <a:pt x="697" y="23"/>
                      <a:pt x="697" y="23"/>
                    </a:cubicBezTo>
                    <a:cubicBezTo>
                      <a:pt x="697" y="21"/>
                      <a:pt x="697" y="21"/>
                      <a:pt x="697" y="21"/>
                    </a:cubicBezTo>
                    <a:cubicBezTo>
                      <a:pt x="695" y="20"/>
                      <a:pt x="695" y="20"/>
                      <a:pt x="695" y="20"/>
                    </a:cubicBezTo>
                    <a:cubicBezTo>
                      <a:pt x="695" y="18"/>
                      <a:pt x="695" y="18"/>
                      <a:pt x="695" y="18"/>
                    </a:cubicBezTo>
                    <a:cubicBezTo>
                      <a:pt x="694" y="17"/>
                      <a:pt x="694" y="17"/>
                      <a:pt x="694" y="17"/>
                    </a:cubicBezTo>
                    <a:cubicBezTo>
                      <a:pt x="694" y="15"/>
                      <a:pt x="694" y="15"/>
                      <a:pt x="694" y="15"/>
                    </a:cubicBezTo>
                    <a:cubicBezTo>
                      <a:pt x="696" y="15"/>
                      <a:pt x="696" y="15"/>
                      <a:pt x="696" y="15"/>
                    </a:cubicBezTo>
                    <a:cubicBezTo>
                      <a:pt x="697" y="16"/>
                      <a:pt x="697" y="16"/>
                      <a:pt x="697" y="16"/>
                    </a:cubicBezTo>
                    <a:cubicBezTo>
                      <a:pt x="699" y="16"/>
                      <a:pt x="699" y="16"/>
                      <a:pt x="699" y="16"/>
                    </a:cubicBezTo>
                    <a:cubicBezTo>
                      <a:pt x="701" y="16"/>
                      <a:pt x="701" y="16"/>
                      <a:pt x="701" y="16"/>
                    </a:cubicBezTo>
                    <a:cubicBezTo>
                      <a:pt x="702" y="15"/>
                      <a:pt x="702" y="15"/>
                      <a:pt x="702" y="15"/>
                    </a:cubicBezTo>
                    <a:cubicBezTo>
                      <a:pt x="702" y="12"/>
                      <a:pt x="702" y="12"/>
                      <a:pt x="702" y="12"/>
                    </a:cubicBezTo>
                    <a:cubicBezTo>
                      <a:pt x="701" y="10"/>
                      <a:pt x="701" y="10"/>
                      <a:pt x="701" y="10"/>
                    </a:cubicBezTo>
                    <a:cubicBezTo>
                      <a:pt x="701" y="8"/>
                      <a:pt x="701" y="8"/>
                      <a:pt x="701" y="8"/>
                    </a:cubicBezTo>
                    <a:cubicBezTo>
                      <a:pt x="704" y="8"/>
                      <a:pt x="704" y="8"/>
                      <a:pt x="704" y="8"/>
                    </a:cubicBezTo>
                    <a:cubicBezTo>
                      <a:pt x="704" y="8"/>
                      <a:pt x="704" y="8"/>
                      <a:pt x="704" y="8"/>
                    </a:cubicBezTo>
                    <a:cubicBezTo>
                      <a:pt x="708" y="9"/>
                      <a:pt x="708" y="9"/>
                      <a:pt x="708" y="9"/>
                    </a:cubicBezTo>
                    <a:cubicBezTo>
                      <a:pt x="709" y="10"/>
                      <a:pt x="709" y="10"/>
                      <a:pt x="709" y="10"/>
                    </a:cubicBezTo>
                    <a:cubicBezTo>
                      <a:pt x="709" y="11"/>
                      <a:pt x="709" y="11"/>
                      <a:pt x="709" y="11"/>
                    </a:cubicBezTo>
                    <a:cubicBezTo>
                      <a:pt x="708" y="13"/>
                      <a:pt x="708" y="13"/>
                      <a:pt x="708" y="13"/>
                    </a:cubicBezTo>
                    <a:cubicBezTo>
                      <a:pt x="708" y="14"/>
                      <a:pt x="708" y="14"/>
                      <a:pt x="708" y="14"/>
                    </a:cubicBezTo>
                    <a:cubicBezTo>
                      <a:pt x="712" y="15"/>
                      <a:pt x="712" y="15"/>
                      <a:pt x="712" y="15"/>
                    </a:cubicBezTo>
                    <a:cubicBezTo>
                      <a:pt x="712" y="16"/>
                      <a:pt x="712" y="16"/>
                      <a:pt x="712" y="16"/>
                    </a:cubicBezTo>
                    <a:cubicBezTo>
                      <a:pt x="711" y="19"/>
                      <a:pt x="711" y="19"/>
                      <a:pt x="711" y="19"/>
                    </a:cubicBezTo>
                    <a:cubicBezTo>
                      <a:pt x="712" y="23"/>
                      <a:pt x="712" y="23"/>
                      <a:pt x="712" y="23"/>
                    </a:cubicBezTo>
                    <a:cubicBezTo>
                      <a:pt x="713" y="23"/>
                      <a:pt x="713" y="23"/>
                      <a:pt x="713" y="23"/>
                    </a:cubicBezTo>
                    <a:cubicBezTo>
                      <a:pt x="714" y="20"/>
                      <a:pt x="714" y="20"/>
                      <a:pt x="714" y="20"/>
                    </a:cubicBezTo>
                    <a:cubicBezTo>
                      <a:pt x="715" y="20"/>
                      <a:pt x="715" y="20"/>
                      <a:pt x="715" y="20"/>
                    </a:cubicBezTo>
                    <a:cubicBezTo>
                      <a:pt x="715" y="22"/>
                      <a:pt x="715" y="22"/>
                      <a:pt x="715" y="22"/>
                    </a:cubicBezTo>
                    <a:cubicBezTo>
                      <a:pt x="716" y="23"/>
                      <a:pt x="716" y="23"/>
                      <a:pt x="716" y="23"/>
                    </a:cubicBezTo>
                    <a:cubicBezTo>
                      <a:pt x="717" y="22"/>
                      <a:pt x="717" y="22"/>
                      <a:pt x="717" y="22"/>
                    </a:cubicBezTo>
                    <a:cubicBezTo>
                      <a:pt x="718" y="21"/>
                      <a:pt x="718" y="21"/>
                      <a:pt x="718" y="21"/>
                    </a:cubicBezTo>
                    <a:cubicBezTo>
                      <a:pt x="720" y="20"/>
                      <a:pt x="720" y="20"/>
                      <a:pt x="720" y="20"/>
                    </a:cubicBezTo>
                    <a:cubicBezTo>
                      <a:pt x="721" y="19"/>
                      <a:pt x="721" y="19"/>
                      <a:pt x="721" y="19"/>
                    </a:cubicBezTo>
                    <a:cubicBezTo>
                      <a:pt x="720" y="15"/>
                      <a:pt x="720" y="15"/>
                      <a:pt x="720" y="15"/>
                    </a:cubicBezTo>
                    <a:cubicBezTo>
                      <a:pt x="721" y="14"/>
                      <a:pt x="721" y="14"/>
                      <a:pt x="721" y="14"/>
                    </a:cubicBezTo>
                    <a:cubicBezTo>
                      <a:pt x="722" y="14"/>
                      <a:pt x="722" y="14"/>
                      <a:pt x="722" y="14"/>
                    </a:cubicBezTo>
                    <a:cubicBezTo>
                      <a:pt x="723" y="14"/>
                      <a:pt x="723" y="14"/>
                      <a:pt x="723" y="14"/>
                    </a:cubicBezTo>
                    <a:cubicBezTo>
                      <a:pt x="726" y="15"/>
                      <a:pt x="726" y="15"/>
                      <a:pt x="726" y="15"/>
                    </a:cubicBezTo>
                    <a:cubicBezTo>
                      <a:pt x="726" y="13"/>
                      <a:pt x="726" y="13"/>
                      <a:pt x="726" y="13"/>
                    </a:cubicBezTo>
                    <a:cubicBezTo>
                      <a:pt x="723" y="11"/>
                      <a:pt x="723" y="11"/>
                      <a:pt x="723" y="11"/>
                    </a:cubicBezTo>
                    <a:cubicBezTo>
                      <a:pt x="722" y="9"/>
                      <a:pt x="722" y="9"/>
                      <a:pt x="722" y="9"/>
                    </a:cubicBezTo>
                    <a:cubicBezTo>
                      <a:pt x="723" y="8"/>
                      <a:pt x="723" y="8"/>
                      <a:pt x="723" y="8"/>
                    </a:cubicBezTo>
                    <a:cubicBezTo>
                      <a:pt x="724" y="6"/>
                      <a:pt x="724" y="6"/>
                      <a:pt x="724" y="6"/>
                    </a:cubicBezTo>
                    <a:cubicBezTo>
                      <a:pt x="725" y="5"/>
                      <a:pt x="725" y="5"/>
                      <a:pt x="725" y="5"/>
                    </a:cubicBezTo>
                    <a:cubicBezTo>
                      <a:pt x="728" y="8"/>
                      <a:pt x="728" y="8"/>
                      <a:pt x="728" y="8"/>
                    </a:cubicBezTo>
                    <a:cubicBezTo>
                      <a:pt x="729" y="10"/>
                      <a:pt x="729" y="10"/>
                      <a:pt x="729" y="10"/>
                    </a:cubicBezTo>
                    <a:cubicBezTo>
                      <a:pt x="729" y="12"/>
                      <a:pt x="729" y="12"/>
                      <a:pt x="729" y="12"/>
                    </a:cubicBezTo>
                    <a:cubicBezTo>
                      <a:pt x="729" y="15"/>
                      <a:pt x="729" y="15"/>
                      <a:pt x="729" y="15"/>
                    </a:cubicBezTo>
                    <a:cubicBezTo>
                      <a:pt x="730" y="16"/>
                      <a:pt x="730" y="16"/>
                      <a:pt x="730" y="16"/>
                    </a:cubicBezTo>
                    <a:cubicBezTo>
                      <a:pt x="731" y="19"/>
                      <a:pt x="731" y="19"/>
                      <a:pt x="731" y="19"/>
                    </a:cubicBezTo>
                    <a:cubicBezTo>
                      <a:pt x="731" y="21"/>
                      <a:pt x="731" y="21"/>
                      <a:pt x="731" y="21"/>
                    </a:cubicBezTo>
                    <a:cubicBezTo>
                      <a:pt x="732" y="20"/>
                      <a:pt x="732" y="20"/>
                      <a:pt x="732" y="20"/>
                    </a:cubicBezTo>
                    <a:cubicBezTo>
                      <a:pt x="732" y="18"/>
                      <a:pt x="732" y="18"/>
                      <a:pt x="732" y="18"/>
                    </a:cubicBezTo>
                    <a:cubicBezTo>
                      <a:pt x="732" y="16"/>
                      <a:pt x="732" y="16"/>
                      <a:pt x="732" y="16"/>
                    </a:cubicBezTo>
                    <a:cubicBezTo>
                      <a:pt x="732" y="13"/>
                      <a:pt x="732" y="13"/>
                      <a:pt x="732" y="13"/>
                    </a:cubicBezTo>
                    <a:cubicBezTo>
                      <a:pt x="731" y="11"/>
                      <a:pt x="731" y="11"/>
                      <a:pt x="731" y="11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4"/>
                      <a:pt x="731" y="4"/>
                      <a:pt x="731" y="4"/>
                    </a:cubicBezTo>
                    <a:cubicBezTo>
                      <a:pt x="732" y="2"/>
                      <a:pt x="732" y="2"/>
                      <a:pt x="732" y="2"/>
                    </a:cubicBezTo>
                    <a:cubicBezTo>
                      <a:pt x="733" y="2"/>
                      <a:pt x="733" y="2"/>
                      <a:pt x="733" y="2"/>
                    </a:cubicBezTo>
                    <a:cubicBezTo>
                      <a:pt x="735" y="3"/>
                      <a:pt x="735" y="3"/>
                      <a:pt x="735" y="3"/>
                    </a:cubicBezTo>
                    <a:cubicBezTo>
                      <a:pt x="736" y="3"/>
                      <a:pt x="736" y="3"/>
                      <a:pt x="736" y="3"/>
                    </a:cubicBezTo>
                    <a:cubicBezTo>
                      <a:pt x="737" y="4"/>
                      <a:pt x="737" y="4"/>
                      <a:pt x="737" y="4"/>
                    </a:cubicBezTo>
                    <a:cubicBezTo>
                      <a:pt x="737" y="7"/>
                      <a:pt x="737" y="7"/>
                      <a:pt x="737" y="7"/>
                    </a:cubicBezTo>
                    <a:cubicBezTo>
                      <a:pt x="738" y="9"/>
                      <a:pt x="738" y="9"/>
                      <a:pt x="738" y="9"/>
                    </a:cubicBezTo>
                    <a:cubicBezTo>
                      <a:pt x="737" y="11"/>
                      <a:pt x="737" y="11"/>
                      <a:pt x="737" y="11"/>
                    </a:cubicBezTo>
                    <a:cubicBezTo>
                      <a:pt x="738" y="14"/>
                      <a:pt x="738" y="14"/>
                      <a:pt x="738" y="14"/>
                    </a:cubicBezTo>
                    <a:cubicBezTo>
                      <a:pt x="739" y="15"/>
                      <a:pt x="739" y="15"/>
                      <a:pt x="739" y="15"/>
                    </a:cubicBezTo>
                    <a:cubicBezTo>
                      <a:pt x="739" y="13"/>
                      <a:pt x="739" y="13"/>
                      <a:pt x="739" y="13"/>
                    </a:cubicBezTo>
                    <a:cubicBezTo>
                      <a:pt x="739" y="12"/>
                      <a:pt x="739" y="12"/>
                      <a:pt x="739" y="12"/>
                    </a:cubicBezTo>
                    <a:cubicBezTo>
                      <a:pt x="740" y="12"/>
                      <a:pt x="740" y="12"/>
                      <a:pt x="740" y="12"/>
                    </a:cubicBezTo>
                    <a:cubicBezTo>
                      <a:pt x="743" y="16"/>
                      <a:pt x="743" y="16"/>
                      <a:pt x="743" y="16"/>
                    </a:cubicBezTo>
                    <a:cubicBezTo>
                      <a:pt x="744" y="15"/>
                      <a:pt x="744" y="15"/>
                      <a:pt x="744" y="15"/>
                    </a:cubicBezTo>
                    <a:cubicBezTo>
                      <a:pt x="745" y="14"/>
                      <a:pt x="745" y="14"/>
                      <a:pt x="745" y="14"/>
                    </a:cubicBezTo>
                    <a:cubicBezTo>
                      <a:pt x="745" y="14"/>
                      <a:pt x="745" y="14"/>
                      <a:pt x="745" y="14"/>
                    </a:cubicBezTo>
                    <a:cubicBezTo>
                      <a:pt x="744" y="13"/>
                      <a:pt x="744" y="13"/>
                      <a:pt x="744" y="13"/>
                    </a:cubicBezTo>
                    <a:cubicBezTo>
                      <a:pt x="742" y="11"/>
                      <a:pt x="742" y="11"/>
                      <a:pt x="742" y="11"/>
                    </a:cubicBezTo>
                    <a:cubicBezTo>
                      <a:pt x="743" y="10"/>
                      <a:pt x="743" y="10"/>
                      <a:pt x="743" y="10"/>
                    </a:cubicBezTo>
                    <a:cubicBezTo>
                      <a:pt x="743" y="9"/>
                      <a:pt x="743" y="9"/>
                      <a:pt x="743" y="9"/>
                    </a:cubicBezTo>
                    <a:cubicBezTo>
                      <a:pt x="741" y="7"/>
                      <a:pt x="741" y="7"/>
                      <a:pt x="741" y="7"/>
                    </a:cubicBezTo>
                    <a:cubicBezTo>
                      <a:pt x="740" y="6"/>
                      <a:pt x="740" y="6"/>
                      <a:pt x="740" y="6"/>
                    </a:cubicBezTo>
                    <a:cubicBezTo>
                      <a:pt x="741" y="5"/>
                      <a:pt x="741" y="5"/>
                      <a:pt x="741" y="5"/>
                    </a:cubicBezTo>
                    <a:cubicBezTo>
                      <a:pt x="743" y="5"/>
                      <a:pt x="743" y="5"/>
                      <a:pt x="743" y="5"/>
                    </a:cubicBezTo>
                    <a:cubicBezTo>
                      <a:pt x="742" y="4"/>
                      <a:pt x="742" y="4"/>
                      <a:pt x="742" y="4"/>
                    </a:cubicBezTo>
                    <a:cubicBezTo>
                      <a:pt x="741" y="4"/>
                      <a:pt x="741" y="4"/>
                      <a:pt x="741" y="4"/>
                    </a:cubicBezTo>
                    <a:cubicBezTo>
                      <a:pt x="739" y="2"/>
                      <a:pt x="739" y="2"/>
                      <a:pt x="739" y="2"/>
                    </a:cubicBezTo>
                    <a:cubicBezTo>
                      <a:pt x="741" y="2"/>
                      <a:pt x="741" y="2"/>
                      <a:pt x="741" y="2"/>
                    </a:cubicBezTo>
                    <a:cubicBezTo>
                      <a:pt x="742" y="2"/>
                      <a:pt x="742" y="2"/>
                      <a:pt x="742" y="2"/>
                    </a:cubicBezTo>
                    <a:cubicBezTo>
                      <a:pt x="744" y="0"/>
                      <a:pt x="744" y="0"/>
                      <a:pt x="744" y="0"/>
                    </a:cubicBezTo>
                    <a:cubicBezTo>
                      <a:pt x="748" y="0"/>
                      <a:pt x="748" y="0"/>
                      <a:pt x="748" y="0"/>
                    </a:cubicBezTo>
                    <a:cubicBezTo>
                      <a:pt x="749" y="1"/>
                      <a:pt x="749" y="1"/>
                      <a:pt x="749" y="1"/>
                    </a:cubicBezTo>
                    <a:cubicBezTo>
                      <a:pt x="749" y="4"/>
                      <a:pt x="749" y="4"/>
                      <a:pt x="749" y="4"/>
                    </a:cubicBezTo>
                    <a:cubicBezTo>
                      <a:pt x="748" y="5"/>
                      <a:pt x="748" y="5"/>
                      <a:pt x="748" y="5"/>
                    </a:cubicBezTo>
                    <a:cubicBezTo>
                      <a:pt x="748" y="6"/>
                      <a:pt x="748" y="6"/>
                      <a:pt x="748" y="6"/>
                    </a:cubicBezTo>
                    <a:cubicBezTo>
                      <a:pt x="750" y="6"/>
                      <a:pt x="750" y="6"/>
                      <a:pt x="750" y="6"/>
                    </a:cubicBezTo>
                    <a:cubicBezTo>
                      <a:pt x="751" y="4"/>
                      <a:pt x="751" y="4"/>
                      <a:pt x="751" y="4"/>
                    </a:cubicBezTo>
                    <a:cubicBezTo>
                      <a:pt x="752" y="3"/>
                      <a:pt x="752" y="3"/>
                      <a:pt x="752" y="3"/>
                    </a:cubicBezTo>
                    <a:cubicBezTo>
                      <a:pt x="753" y="4"/>
                      <a:pt x="753" y="4"/>
                      <a:pt x="753" y="4"/>
                    </a:cubicBezTo>
                    <a:cubicBezTo>
                      <a:pt x="752" y="7"/>
                      <a:pt x="752" y="7"/>
                      <a:pt x="752" y="7"/>
                    </a:cubicBezTo>
                    <a:cubicBezTo>
                      <a:pt x="753" y="8"/>
                      <a:pt x="753" y="8"/>
                      <a:pt x="753" y="8"/>
                    </a:cubicBezTo>
                    <a:cubicBezTo>
                      <a:pt x="754" y="7"/>
                      <a:pt x="754" y="7"/>
                      <a:pt x="754" y="7"/>
                    </a:cubicBezTo>
                    <a:cubicBezTo>
                      <a:pt x="754" y="6"/>
                      <a:pt x="754" y="6"/>
                      <a:pt x="754" y="6"/>
                    </a:cubicBezTo>
                    <a:cubicBezTo>
                      <a:pt x="757" y="4"/>
                      <a:pt x="757" y="4"/>
                      <a:pt x="757" y="4"/>
                    </a:cubicBezTo>
                    <a:cubicBezTo>
                      <a:pt x="758" y="5"/>
                      <a:pt x="758" y="5"/>
                      <a:pt x="758" y="5"/>
                    </a:cubicBezTo>
                    <a:cubicBezTo>
                      <a:pt x="757" y="7"/>
                      <a:pt x="757" y="7"/>
                      <a:pt x="757" y="7"/>
                    </a:cubicBezTo>
                    <a:cubicBezTo>
                      <a:pt x="756" y="9"/>
                      <a:pt x="756" y="9"/>
                      <a:pt x="756" y="9"/>
                    </a:cubicBezTo>
                    <a:cubicBezTo>
                      <a:pt x="757" y="12"/>
                      <a:pt x="757" y="12"/>
                      <a:pt x="757" y="12"/>
                    </a:cubicBezTo>
                    <a:cubicBezTo>
                      <a:pt x="756" y="14"/>
                      <a:pt x="756" y="14"/>
                      <a:pt x="756" y="14"/>
                    </a:cubicBezTo>
                    <a:cubicBezTo>
                      <a:pt x="757" y="15"/>
                      <a:pt x="757" y="15"/>
                      <a:pt x="757" y="15"/>
                    </a:cubicBezTo>
                    <a:cubicBezTo>
                      <a:pt x="759" y="14"/>
                      <a:pt x="759" y="14"/>
                      <a:pt x="759" y="14"/>
                    </a:cubicBezTo>
                    <a:cubicBezTo>
                      <a:pt x="760" y="14"/>
                      <a:pt x="760" y="14"/>
                      <a:pt x="760" y="14"/>
                    </a:cubicBezTo>
                    <a:cubicBezTo>
                      <a:pt x="761" y="14"/>
                      <a:pt x="761" y="14"/>
                      <a:pt x="761" y="14"/>
                    </a:cubicBezTo>
                    <a:cubicBezTo>
                      <a:pt x="761" y="11"/>
                      <a:pt x="761" y="11"/>
                      <a:pt x="761" y="11"/>
                    </a:cubicBezTo>
                    <a:cubicBezTo>
                      <a:pt x="762" y="7"/>
                      <a:pt x="762" y="7"/>
                      <a:pt x="762" y="7"/>
                    </a:cubicBezTo>
                    <a:cubicBezTo>
                      <a:pt x="761" y="3"/>
                      <a:pt x="761" y="3"/>
                      <a:pt x="761" y="3"/>
                    </a:cubicBezTo>
                    <a:cubicBezTo>
                      <a:pt x="761" y="0"/>
                      <a:pt x="761" y="0"/>
                      <a:pt x="761" y="0"/>
                    </a:cubicBezTo>
                    <a:cubicBezTo>
                      <a:pt x="763" y="0"/>
                      <a:pt x="763" y="0"/>
                      <a:pt x="763" y="0"/>
                    </a:cubicBezTo>
                    <a:cubicBezTo>
                      <a:pt x="764" y="1"/>
                      <a:pt x="764" y="1"/>
                      <a:pt x="764" y="1"/>
                    </a:cubicBezTo>
                    <a:cubicBezTo>
                      <a:pt x="765" y="1"/>
                      <a:pt x="765" y="1"/>
                      <a:pt x="765" y="1"/>
                    </a:cubicBezTo>
                    <a:cubicBezTo>
                      <a:pt x="767" y="1"/>
                      <a:pt x="767" y="1"/>
                      <a:pt x="767" y="1"/>
                    </a:cubicBezTo>
                    <a:cubicBezTo>
                      <a:pt x="769" y="0"/>
                      <a:pt x="769" y="0"/>
                      <a:pt x="769" y="0"/>
                    </a:cubicBezTo>
                    <a:cubicBezTo>
                      <a:pt x="772" y="1"/>
                      <a:pt x="772" y="1"/>
                      <a:pt x="772" y="1"/>
                    </a:cubicBezTo>
                    <a:cubicBezTo>
                      <a:pt x="772" y="3"/>
                      <a:pt x="772" y="3"/>
                      <a:pt x="772" y="3"/>
                    </a:cubicBezTo>
                    <a:cubicBezTo>
                      <a:pt x="775" y="3"/>
                      <a:pt x="775" y="3"/>
                      <a:pt x="775" y="3"/>
                    </a:cubicBezTo>
                    <a:cubicBezTo>
                      <a:pt x="777" y="3"/>
                      <a:pt x="777" y="3"/>
                      <a:pt x="777" y="3"/>
                    </a:cubicBezTo>
                    <a:cubicBezTo>
                      <a:pt x="780" y="4"/>
                      <a:pt x="780" y="4"/>
                      <a:pt x="780" y="4"/>
                    </a:cubicBezTo>
                    <a:cubicBezTo>
                      <a:pt x="780" y="6"/>
                      <a:pt x="780" y="6"/>
                      <a:pt x="780" y="6"/>
                    </a:cubicBezTo>
                    <a:cubicBezTo>
                      <a:pt x="781" y="7"/>
                      <a:pt x="781" y="7"/>
                      <a:pt x="781" y="7"/>
                    </a:cubicBezTo>
                    <a:cubicBezTo>
                      <a:pt x="781" y="9"/>
                      <a:pt x="781" y="9"/>
                      <a:pt x="781" y="9"/>
                    </a:cubicBezTo>
                    <a:cubicBezTo>
                      <a:pt x="780" y="12"/>
                      <a:pt x="780" y="12"/>
                      <a:pt x="780" y="12"/>
                    </a:cubicBezTo>
                    <a:cubicBezTo>
                      <a:pt x="781" y="13"/>
                      <a:pt x="781" y="13"/>
                      <a:pt x="781" y="13"/>
                    </a:cubicBezTo>
                    <a:cubicBezTo>
                      <a:pt x="782" y="12"/>
                      <a:pt x="782" y="12"/>
                      <a:pt x="782" y="12"/>
                    </a:cubicBezTo>
                    <a:cubicBezTo>
                      <a:pt x="784" y="10"/>
                      <a:pt x="784" y="10"/>
                      <a:pt x="784" y="10"/>
                    </a:cubicBezTo>
                    <a:cubicBezTo>
                      <a:pt x="787" y="8"/>
                      <a:pt x="787" y="8"/>
                      <a:pt x="787" y="8"/>
                    </a:cubicBezTo>
                    <a:cubicBezTo>
                      <a:pt x="788" y="6"/>
                      <a:pt x="788" y="6"/>
                      <a:pt x="788" y="6"/>
                    </a:cubicBezTo>
                    <a:cubicBezTo>
                      <a:pt x="790" y="6"/>
                      <a:pt x="790" y="6"/>
                      <a:pt x="790" y="6"/>
                    </a:cubicBezTo>
                    <a:cubicBezTo>
                      <a:pt x="792" y="7"/>
                      <a:pt x="792" y="7"/>
                      <a:pt x="792" y="7"/>
                    </a:cubicBezTo>
                    <a:cubicBezTo>
                      <a:pt x="795" y="7"/>
                      <a:pt x="795" y="7"/>
                      <a:pt x="795" y="7"/>
                    </a:cubicBezTo>
                    <a:cubicBezTo>
                      <a:pt x="795" y="9"/>
                      <a:pt x="795" y="9"/>
                      <a:pt x="795" y="9"/>
                    </a:cubicBezTo>
                    <a:cubicBezTo>
                      <a:pt x="793" y="11"/>
                      <a:pt x="793" y="11"/>
                      <a:pt x="793" y="11"/>
                    </a:cubicBezTo>
                    <a:cubicBezTo>
                      <a:pt x="794" y="13"/>
                      <a:pt x="794" y="13"/>
                      <a:pt x="794" y="13"/>
                    </a:cubicBezTo>
                    <a:cubicBezTo>
                      <a:pt x="795" y="12"/>
                      <a:pt x="795" y="12"/>
                      <a:pt x="795" y="12"/>
                    </a:cubicBezTo>
                    <a:cubicBezTo>
                      <a:pt x="795" y="10"/>
                      <a:pt x="795" y="10"/>
                      <a:pt x="795" y="10"/>
                    </a:cubicBezTo>
                    <a:cubicBezTo>
                      <a:pt x="797" y="9"/>
                      <a:pt x="797" y="9"/>
                      <a:pt x="797" y="9"/>
                    </a:cubicBezTo>
                    <a:cubicBezTo>
                      <a:pt x="799" y="8"/>
                      <a:pt x="799" y="8"/>
                      <a:pt x="799" y="8"/>
                    </a:cubicBezTo>
                    <a:cubicBezTo>
                      <a:pt x="802" y="9"/>
                      <a:pt x="802" y="9"/>
                      <a:pt x="802" y="9"/>
                    </a:cubicBezTo>
                    <a:cubicBezTo>
                      <a:pt x="806" y="10"/>
                      <a:pt x="806" y="10"/>
                      <a:pt x="806" y="10"/>
                    </a:cubicBezTo>
                    <a:cubicBezTo>
                      <a:pt x="807" y="11"/>
                      <a:pt x="807" y="11"/>
                      <a:pt x="807" y="11"/>
                    </a:cubicBezTo>
                    <a:cubicBezTo>
                      <a:pt x="806" y="12"/>
                      <a:pt x="806" y="12"/>
                      <a:pt x="806" y="12"/>
                    </a:cubicBezTo>
                    <a:cubicBezTo>
                      <a:pt x="805" y="13"/>
                      <a:pt x="805" y="13"/>
                      <a:pt x="805" y="13"/>
                    </a:cubicBezTo>
                    <a:cubicBezTo>
                      <a:pt x="805" y="14"/>
                      <a:pt x="805" y="14"/>
                      <a:pt x="805" y="14"/>
                    </a:cubicBezTo>
                    <a:cubicBezTo>
                      <a:pt x="804" y="15"/>
                      <a:pt x="804" y="15"/>
                      <a:pt x="804" y="15"/>
                    </a:cubicBezTo>
                    <a:cubicBezTo>
                      <a:pt x="805" y="17"/>
                      <a:pt x="805" y="17"/>
                      <a:pt x="805" y="17"/>
                    </a:cubicBezTo>
                    <a:cubicBezTo>
                      <a:pt x="806" y="16"/>
                      <a:pt x="806" y="16"/>
                      <a:pt x="806" y="16"/>
                    </a:cubicBezTo>
                    <a:cubicBezTo>
                      <a:pt x="808" y="15"/>
                      <a:pt x="808" y="15"/>
                      <a:pt x="808" y="15"/>
                    </a:cubicBezTo>
                    <a:cubicBezTo>
                      <a:pt x="808" y="17"/>
                      <a:pt x="808" y="17"/>
                      <a:pt x="808" y="17"/>
                    </a:cubicBezTo>
                    <a:cubicBezTo>
                      <a:pt x="810" y="17"/>
                      <a:pt x="810" y="17"/>
                      <a:pt x="810" y="17"/>
                    </a:cubicBezTo>
                    <a:cubicBezTo>
                      <a:pt x="811" y="16"/>
                      <a:pt x="811" y="16"/>
                      <a:pt x="811" y="16"/>
                    </a:cubicBezTo>
                    <a:cubicBezTo>
                      <a:pt x="814" y="15"/>
                      <a:pt x="814" y="15"/>
                      <a:pt x="814" y="15"/>
                    </a:cubicBezTo>
                    <a:cubicBezTo>
                      <a:pt x="814" y="17"/>
                      <a:pt x="814" y="17"/>
                      <a:pt x="814" y="17"/>
                    </a:cubicBezTo>
                    <a:cubicBezTo>
                      <a:pt x="813" y="18"/>
                      <a:pt x="813" y="18"/>
                      <a:pt x="813" y="18"/>
                    </a:cubicBezTo>
                    <a:cubicBezTo>
                      <a:pt x="813" y="20"/>
                      <a:pt x="813" y="20"/>
                      <a:pt x="813" y="20"/>
                    </a:cubicBezTo>
                    <a:cubicBezTo>
                      <a:pt x="814" y="20"/>
                      <a:pt x="814" y="20"/>
                      <a:pt x="814" y="20"/>
                    </a:cubicBezTo>
                    <a:cubicBezTo>
                      <a:pt x="815" y="19"/>
                      <a:pt x="815" y="19"/>
                      <a:pt x="815" y="19"/>
                    </a:cubicBezTo>
                    <a:cubicBezTo>
                      <a:pt x="817" y="18"/>
                      <a:pt x="817" y="18"/>
                      <a:pt x="817" y="18"/>
                    </a:cubicBezTo>
                    <a:cubicBezTo>
                      <a:pt x="818" y="18"/>
                      <a:pt x="818" y="18"/>
                      <a:pt x="818" y="18"/>
                    </a:cubicBezTo>
                    <a:cubicBezTo>
                      <a:pt x="818" y="19"/>
                      <a:pt x="818" y="19"/>
                      <a:pt x="818" y="19"/>
                    </a:cubicBezTo>
                    <a:cubicBezTo>
                      <a:pt x="822" y="21"/>
                      <a:pt x="822" y="21"/>
                      <a:pt x="822" y="21"/>
                    </a:cubicBezTo>
                    <a:cubicBezTo>
                      <a:pt x="824" y="21"/>
                      <a:pt x="824" y="21"/>
                      <a:pt x="824" y="21"/>
                    </a:cubicBezTo>
                    <a:cubicBezTo>
                      <a:pt x="824" y="22"/>
                      <a:pt x="824" y="22"/>
                      <a:pt x="824" y="22"/>
                    </a:cubicBezTo>
                    <a:cubicBezTo>
                      <a:pt x="823" y="23"/>
                      <a:pt x="823" y="23"/>
                      <a:pt x="823" y="23"/>
                    </a:cubicBezTo>
                    <a:cubicBezTo>
                      <a:pt x="820" y="25"/>
                      <a:pt x="820" y="25"/>
                      <a:pt x="820" y="25"/>
                    </a:cubicBezTo>
                    <a:cubicBezTo>
                      <a:pt x="818" y="27"/>
                      <a:pt x="818" y="27"/>
                      <a:pt x="818" y="27"/>
                    </a:cubicBezTo>
                    <a:cubicBezTo>
                      <a:pt x="816" y="28"/>
                      <a:pt x="816" y="28"/>
                      <a:pt x="816" y="28"/>
                    </a:cubicBezTo>
                    <a:cubicBezTo>
                      <a:pt x="813" y="29"/>
                      <a:pt x="813" y="29"/>
                      <a:pt x="813" y="29"/>
                    </a:cubicBezTo>
                    <a:cubicBezTo>
                      <a:pt x="811" y="29"/>
                      <a:pt x="811" y="29"/>
                      <a:pt x="811" y="29"/>
                    </a:cubicBezTo>
                    <a:cubicBezTo>
                      <a:pt x="810" y="29"/>
                      <a:pt x="810" y="29"/>
                      <a:pt x="810" y="29"/>
                    </a:cubicBezTo>
                    <a:cubicBezTo>
                      <a:pt x="809" y="30"/>
                      <a:pt x="809" y="30"/>
                      <a:pt x="809" y="30"/>
                    </a:cubicBezTo>
                    <a:cubicBezTo>
                      <a:pt x="806" y="31"/>
                      <a:pt x="806" y="31"/>
                      <a:pt x="806" y="31"/>
                    </a:cubicBezTo>
                    <a:cubicBezTo>
                      <a:pt x="810" y="30"/>
                      <a:pt x="810" y="30"/>
                      <a:pt x="810" y="30"/>
                    </a:cubicBezTo>
                    <a:cubicBezTo>
                      <a:pt x="814" y="31"/>
                      <a:pt x="814" y="31"/>
                      <a:pt x="814" y="31"/>
                    </a:cubicBezTo>
                    <a:cubicBezTo>
                      <a:pt x="815" y="32"/>
                      <a:pt x="815" y="32"/>
                      <a:pt x="815" y="32"/>
                    </a:cubicBezTo>
                    <a:cubicBezTo>
                      <a:pt x="817" y="32"/>
                      <a:pt x="817" y="32"/>
                      <a:pt x="817" y="32"/>
                    </a:cubicBezTo>
                    <a:cubicBezTo>
                      <a:pt x="818" y="30"/>
                      <a:pt x="818" y="30"/>
                      <a:pt x="818" y="30"/>
                    </a:cubicBezTo>
                    <a:cubicBezTo>
                      <a:pt x="819" y="29"/>
                      <a:pt x="819" y="29"/>
                      <a:pt x="819" y="29"/>
                    </a:cubicBezTo>
                    <a:cubicBezTo>
                      <a:pt x="821" y="29"/>
                      <a:pt x="821" y="29"/>
                      <a:pt x="821" y="29"/>
                    </a:cubicBezTo>
                    <a:cubicBezTo>
                      <a:pt x="822" y="27"/>
                      <a:pt x="822" y="27"/>
                      <a:pt x="822" y="27"/>
                    </a:cubicBezTo>
                    <a:cubicBezTo>
                      <a:pt x="825" y="26"/>
                      <a:pt x="825" y="26"/>
                      <a:pt x="825" y="26"/>
                    </a:cubicBezTo>
                    <a:cubicBezTo>
                      <a:pt x="827" y="26"/>
                      <a:pt x="827" y="26"/>
                      <a:pt x="827" y="26"/>
                    </a:cubicBezTo>
                    <a:cubicBezTo>
                      <a:pt x="827" y="27"/>
                      <a:pt x="827" y="27"/>
                      <a:pt x="827" y="27"/>
                    </a:cubicBezTo>
                    <a:cubicBezTo>
                      <a:pt x="826" y="29"/>
                      <a:pt x="826" y="29"/>
                      <a:pt x="826" y="29"/>
                    </a:cubicBezTo>
                    <a:cubicBezTo>
                      <a:pt x="827" y="31"/>
                      <a:pt x="827" y="31"/>
                      <a:pt x="827" y="31"/>
                    </a:cubicBezTo>
                    <a:cubicBezTo>
                      <a:pt x="828" y="30"/>
                      <a:pt x="828" y="30"/>
                      <a:pt x="828" y="30"/>
                    </a:cubicBezTo>
                    <a:cubicBezTo>
                      <a:pt x="829" y="28"/>
                      <a:pt x="829" y="28"/>
                      <a:pt x="829" y="28"/>
                    </a:cubicBezTo>
                    <a:cubicBezTo>
                      <a:pt x="831" y="26"/>
                      <a:pt x="831" y="26"/>
                      <a:pt x="831" y="26"/>
                    </a:cubicBezTo>
                    <a:cubicBezTo>
                      <a:pt x="832" y="27"/>
                      <a:pt x="832" y="27"/>
                      <a:pt x="832" y="27"/>
                    </a:cubicBezTo>
                    <a:cubicBezTo>
                      <a:pt x="831" y="29"/>
                      <a:pt x="831" y="29"/>
                      <a:pt x="831" y="29"/>
                    </a:cubicBezTo>
                    <a:cubicBezTo>
                      <a:pt x="831" y="30"/>
                      <a:pt x="831" y="30"/>
                      <a:pt x="831" y="30"/>
                    </a:cubicBezTo>
                    <a:cubicBezTo>
                      <a:pt x="830" y="31"/>
                      <a:pt x="830" y="31"/>
                      <a:pt x="830" y="31"/>
                    </a:cubicBezTo>
                    <a:cubicBezTo>
                      <a:pt x="831" y="32"/>
                      <a:pt x="831" y="32"/>
                      <a:pt x="831" y="32"/>
                    </a:cubicBezTo>
                    <a:cubicBezTo>
                      <a:pt x="832" y="32"/>
                      <a:pt x="832" y="32"/>
                      <a:pt x="832" y="32"/>
                    </a:cubicBezTo>
                    <a:cubicBezTo>
                      <a:pt x="833" y="31"/>
                      <a:pt x="833" y="31"/>
                      <a:pt x="833" y="31"/>
                    </a:cubicBezTo>
                    <a:cubicBezTo>
                      <a:pt x="833" y="29"/>
                      <a:pt x="833" y="29"/>
                      <a:pt x="833" y="29"/>
                    </a:cubicBezTo>
                    <a:cubicBezTo>
                      <a:pt x="835" y="29"/>
                      <a:pt x="835" y="29"/>
                      <a:pt x="835" y="29"/>
                    </a:cubicBezTo>
                    <a:cubicBezTo>
                      <a:pt x="837" y="29"/>
                      <a:pt x="837" y="29"/>
                      <a:pt x="837" y="29"/>
                    </a:cubicBezTo>
                    <a:cubicBezTo>
                      <a:pt x="836" y="33"/>
                      <a:pt x="836" y="33"/>
                      <a:pt x="836" y="33"/>
                    </a:cubicBezTo>
                    <a:cubicBezTo>
                      <a:pt x="835" y="34"/>
                      <a:pt x="835" y="34"/>
                      <a:pt x="835" y="34"/>
                    </a:cubicBezTo>
                    <a:cubicBezTo>
                      <a:pt x="836" y="34"/>
                      <a:pt x="836" y="34"/>
                      <a:pt x="836" y="34"/>
                    </a:cubicBezTo>
                    <a:cubicBezTo>
                      <a:pt x="836" y="37"/>
                      <a:pt x="836" y="37"/>
                      <a:pt x="836" y="37"/>
                    </a:cubicBezTo>
                    <a:cubicBezTo>
                      <a:pt x="836" y="39"/>
                      <a:pt x="836" y="39"/>
                      <a:pt x="836" y="39"/>
                    </a:cubicBezTo>
                    <a:cubicBezTo>
                      <a:pt x="834" y="40"/>
                      <a:pt x="834" y="40"/>
                      <a:pt x="834" y="40"/>
                    </a:cubicBezTo>
                    <a:cubicBezTo>
                      <a:pt x="834" y="42"/>
                      <a:pt x="834" y="42"/>
                      <a:pt x="834" y="42"/>
                    </a:cubicBezTo>
                    <a:cubicBezTo>
                      <a:pt x="832" y="45"/>
                      <a:pt x="832" y="45"/>
                      <a:pt x="832" y="45"/>
                    </a:cubicBezTo>
                    <a:cubicBezTo>
                      <a:pt x="832" y="46"/>
                      <a:pt x="832" y="46"/>
                      <a:pt x="832" y="46"/>
                    </a:cubicBezTo>
                    <a:cubicBezTo>
                      <a:pt x="834" y="45"/>
                      <a:pt x="834" y="45"/>
                      <a:pt x="834" y="45"/>
                    </a:cubicBezTo>
                    <a:cubicBezTo>
                      <a:pt x="835" y="43"/>
                      <a:pt x="835" y="43"/>
                      <a:pt x="835" y="43"/>
                    </a:cubicBezTo>
                    <a:cubicBezTo>
                      <a:pt x="837" y="43"/>
                      <a:pt x="837" y="43"/>
                      <a:pt x="837" y="43"/>
                    </a:cubicBezTo>
                    <a:cubicBezTo>
                      <a:pt x="837" y="43"/>
                      <a:pt x="837" y="43"/>
                      <a:pt x="837" y="43"/>
                    </a:cubicBezTo>
                    <a:cubicBezTo>
                      <a:pt x="838" y="43"/>
                      <a:pt x="838" y="43"/>
                      <a:pt x="838" y="43"/>
                    </a:cubicBezTo>
                    <a:cubicBezTo>
                      <a:pt x="841" y="44"/>
                      <a:pt x="841" y="44"/>
                      <a:pt x="841" y="44"/>
                    </a:cubicBezTo>
                    <a:cubicBezTo>
                      <a:pt x="842" y="46"/>
                      <a:pt x="842" y="46"/>
                      <a:pt x="842" y="46"/>
                    </a:cubicBezTo>
                    <a:cubicBezTo>
                      <a:pt x="842" y="49"/>
                      <a:pt x="842" y="49"/>
                      <a:pt x="842" y="49"/>
                    </a:cubicBezTo>
                    <a:cubicBezTo>
                      <a:pt x="841" y="54"/>
                      <a:pt x="841" y="54"/>
                      <a:pt x="841" y="54"/>
                    </a:cubicBezTo>
                    <a:cubicBezTo>
                      <a:pt x="839" y="58"/>
                      <a:pt x="839" y="58"/>
                      <a:pt x="839" y="58"/>
                    </a:cubicBezTo>
                    <a:cubicBezTo>
                      <a:pt x="835" y="61"/>
                      <a:pt x="835" y="61"/>
                      <a:pt x="835" y="61"/>
                    </a:cubicBezTo>
                    <a:cubicBezTo>
                      <a:pt x="834" y="61"/>
                      <a:pt x="834" y="61"/>
                      <a:pt x="834" y="61"/>
                    </a:cubicBezTo>
                    <a:cubicBezTo>
                      <a:pt x="832" y="61"/>
                      <a:pt x="832" y="61"/>
                      <a:pt x="832" y="61"/>
                    </a:cubicBezTo>
                    <a:cubicBezTo>
                      <a:pt x="831" y="62"/>
                      <a:pt x="831" y="62"/>
                      <a:pt x="831" y="62"/>
                    </a:cubicBezTo>
                    <a:cubicBezTo>
                      <a:pt x="831" y="63"/>
                      <a:pt x="831" y="63"/>
                      <a:pt x="831" y="63"/>
                    </a:cubicBezTo>
                    <a:cubicBezTo>
                      <a:pt x="830" y="64"/>
                      <a:pt x="830" y="64"/>
                      <a:pt x="830" y="64"/>
                    </a:cubicBezTo>
                    <a:cubicBezTo>
                      <a:pt x="824" y="67"/>
                      <a:pt x="824" y="67"/>
                      <a:pt x="824" y="67"/>
                    </a:cubicBezTo>
                    <a:cubicBezTo>
                      <a:pt x="822" y="68"/>
                      <a:pt x="822" y="68"/>
                      <a:pt x="822" y="68"/>
                    </a:cubicBezTo>
                    <a:cubicBezTo>
                      <a:pt x="820" y="69"/>
                      <a:pt x="820" y="69"/>
                      <a:pt x="820" y="69"/>
                    </a:cubicBezTo>
                    <a:cubicBezTo>
                      <a:pt x="817" y="70"/>
                      <a:pt x="817" y="70"/>
                      <a:pt x="817" y="70"/>
                    </a:cubicBezTo>
                    <a:cubicBezTo>
                      <a:pt x="814" y="70"/>
                      <a:pt x="814" y="70"/>
                      <a:pt x="814" y="70"/>
                    </a:cubicBezTo>
                    <a:cubicBezTo>
                      <a:pt x="813" y="68"/>
                      <a:pt x="813" y="68"/>
                      <a:pt x="813" y="68"/>
                    </a:cubicBezTo>
                    <a:cubicBezTo>
                      <a:pt x="812" y="70"/>
                      <a:pt x="812" y="70"/>
                      <a:pt x="812" y="70"/>
                    </a:cubicBezTo>
                    <a:cubicBezTo>
                      <a:pt x="811" y="71"/>
                      <a:pt x="811" y="71"/>
                      <a:pt x="811" y="71"/>
                    </a:cubicBezTo>
                    <a:cubicBezTo>
                      <a:pt x="809" y="69"/>
                      <a:pt x="809" y="69"/>
                      <a:pt x="809" y="69"/>
                    </a:cubicBezTo>
                    <a:cubicBezTo>
                      <a:pt x="807" y="68"/>
                      <a:pt x="807" y="68"/>
                      <a:pt x="807" y="68"/>
                    </a:cubicBezTo>
                    <a:cubicBezTo>
                      <a:pt x="804" y="68"/>
                      <a:pt x="804" y="68"/>
                      <a:pt x="804" y="68"/>
                    </a:cubicBezTo>
                    <a:cubicBezTo>
                      <a:pt x="804" y="69"/>
                      <a:pt x="804" y="69"/>
                      <a:pt x="804" y="69"/>
                    </a:cubicBezTo>
                    <a:cubicBezTo>
                      <a:pt x="806" y="70"/>
                      <a:pt x="806" y="70"/>
                      <a:pt x="806" y="70"/>
                    </a:cubicBezTo>
                    <a:cubicBezTo>
                      <a:pt x="807" y="70"/>
                      <a:pt x="807" y="70"/>
                      <a:pt x="807" y="70"/>
                    </a:cubicBezTo>
                    <a:cubicBezTo>
                      <a:pt x="806" y="71"/>
                      <a:pt x="806" y="71"/>
                      <a:pt x="806" y="71"/>
                    </a:cubicBezTo>
                    <a:cubicBezTo>
                      <a:pt x="803" y="71"/>
                      <a:pt x="803" y="71"/>
                      <a:pt x="803" y="71"/>
                    </a:cubicBezTo>
                    <a:cubicBezTo>
                      <a:pt x="802" y="71"/>
                      <a:pt x="802" y="71"/>
                      <a:pt x="802" y="71"/>
                    </a:cubicBezTo>
                    <a:cubicBezTo>
                      <a:pt x="800" y="70"/>
                      <a:pt x="800" y="70"/>
                      <a:pt x="800" y="70"/>
                    </a:cubicBezTo>
                    <a:cubicBezTo>
                      <a:pt x="797" y="70"/>
                      <a:pt x="797" y="70"/>
                      <a:pt x="797" y="70"/>
                    </a:cubicBezTo>
                    <a:cubicBezTo>
                      <a:pt x="796" y="68"/>
                      <a:pt x="796" y="68"/>
                      <a:pt x="796" y="68"/>
                    </a:cubicBezTo>
                    <a:cubicBezTo>
                      <a:pt x="795" y="69"/>
                      <a:pt x="795" y="69"/>
                      <a:pt x="795" y="69"/>
                    </a:cubicBezTo>
                    <a:cubicBezTo>
                      <a:pt x="794" y="69"/>
                      <a:pt x="794" y="69"/>
                      <a:pt x="794" y="69"/>
                    </a:cubicBezTo>
                    <a:cubicBezTo>
                      <a:pt x="791" y="66"/>
                      <a:pt x="791" y="66"/>
                      <a:pt x="791" y="66"/>
                    </a:cubicBezTo>
                    <a:cubicBezTo>
                      <a:pt x="789" y="63"/>
                      <a:pt x="789" y="63"/>
                      <a:pt x="789" y="63"/>
                    </a:cubicBezTo>
                    <a:cubicBezTo>
                      <a:pt x="789" y="66"/>
                      <a:pt x="789" y="66"/>
                      <a:pt x="789" y="66"/>
                    </a:cubicBezTo>
                    <a:cubicBezTo>
                      <a:pt x="791" y="68"/>
                      <a:pt x="791" y="68"/>
                      <a:pt x="791" y="68"/>
                    </a:cubicBezTo>
                    <a:cubicBezTo>
                      <a:pt x="792" y="69"/>
                      <a:pt x="792" y="69"/>
                      <a:pt x="792" y="69"/>
                    </a:cubicBezTo>
                    <a:cubicBezTo>
                      <a:pt x="790" y="69"/>
                      <a:pt x="790" y="69"/>
                      <a:pt x="790" y="69"/>
                    </a:cubicBezTo>
                    <a:cubicBezTo>
                      <a:pt x="787" y="68"/>
                      <a:pt x="787" y="68"/>
                      <a:pt x="787" y="68"/>
                    </a:cubicBezTo>
                    <a:cubicBezTo>
                      <a:pt x="788" y="70"/>
                      <a:pt x="788" y="70"/>
                      <a:pt x="788" y="70"/>
                    </a:cubicBezTo>
                    <a:cubicBezTo>
                      <a:pt x="795" y="71"/>
                      <a:pt x="795" y="71"/>
                      <a:pt x="795" y="71"/>
                    </a:cubicBezTo>
                    <a:cubicBezTo>
                      <a:pt x="798" y="71"/>
                      <a:pt x="798" y="71"/>
                      <a:pt x="798" y="71"/>
                    </a:cubicBezTo>
                    <a:cubicBezTo>
                      <a:pt x="799" y="73"/>
                      <a:pt x="799" y="73"/>
                      <a:pt x="799" y="73"/>
                    </a:cubicBezTo>
                    <a:cubicBezTo>
                      <a:pt x="798" y="74"/>
                      <a:pt x="798" y="74"/>
                      <a:pt x="798" y="74"/>
                    </a:cubicBezTo>
                    <a:cubicBezTo>
                      <a:pt x="790" y="77"/>
                      <a:pt x="790" y="77"/>
                      <a:pt x="790" y="77"/>
                    </a:cubicBezTo>
                    <a:cubicBezTo>
                      <a:pt x="784" y="78"/>
                      <a:pt x="784" y="78"/>
                      <a:pt x="784" y="78"/>
                    </a:cubicBezTo>
                    <a:cubicBezTo>
                      <a:pt x="782" y="78"/>
                      <a:pt x="782" y="78"/>
                      <a:pt x="782" y="78"/>
                    </a:cubicBezTo>
                    <a:cubicBezTo>
                      <a:pt x="779" y="79"/>
                      <a:pt x="779" y="79"/>
                      <a:pt x="779" y="79"/>
                    </a:cubicBezTo>
                    <a:cubicBezTo>
                      <a:pt x="777" y="78"/>
                      <a:pt x="777" y="78"/>
                      <a:pt x="777" y="78"/>
                    </a:cubicBezTo>
                    <a:cubicBezTo>
                      <a:pt x="776" y="77"/>
                      <a:pt x="776" y="77"/>
                      <a:pt x="776" y="77"/>
                    </a:cubicBezTo>
                    <a:cubicBezTo>
                      <a:pt x="774" y="78"/>
                      <a:pt x="774" y="78"/>
                      <a:pt x="774" y="78"/>
                    </a:cubicBezTo>
                    <a:cubicBezTo>
                      <a:pt x="773" y="78"/>
                      <a:pt x="773" y="78"/>
                      <a:pt x="773" y="78"/>
                    </a:cubicBezTo>
                    <a:cubicBezTo>
                      <a:pt x="771" y="78"/>
                      <a:pt x="771" y="78"/>
                      <a:pt x="771" y="78"/>
                    </a:cubicBezTo>
                    <a:cubicBezTo>
                      <a:pt x="770" y="80"/>
                      <a:pt x="770" y="80"/>
                      <a:pt x="770" y="80"/>
                    </a:cubicBezTo>
                    <a:cubicBezTo>
                      <a:pt x="772" y="80"/>
                      <a:pt x="772" y="80"/>
                      <a:pt x="772" y="80"/>
                    </a:cubicBezTo>
                    <a:cubicBezTo>
                      <a:pt x="772" y="81"/>
                      <a:pt x="772" y="81"/>
                      <a:pt x="772" y="81"/>
                    </a:cubicBezTo>
                    <a:cubicBezTo>
                      <a:pt x="775" y="80"/>
                      <a:pt x="775" y="80"/>
                      <a:pt x="775" y="80"/>
                    </a:cubicBezTo>
                    <a:cubicBezTo>
                      <a:pt x="780" y="80"/>
                      <a:pt x="780" y="80"/>
                      <a:pt x="780" y="80"/>
                    </a:cubicBezTo>
                    <a:cubicBezTo>
                      <a:pt x="783" y="80"/>
                      <a:pt x="783" y="80"/>
                      <a:pt x="783" y="80"/>
                    </a:cubicBezTo>
                    <a:cubicBezTo>
                      <a:pt x="790" y="80"/>
                      <a:pt x="790" y="80"/>
                      <a:pt x="790" y="80"/>
                    </a:cubicBezTo>
                    <a:cubicBezTo>
                      <a:pt x="795" y="79"/>
                      <a:pt x="795" y="79"/>
                      <a:pt x="795" y="79"/>
                    </a:cubicBezTo>
                    <a:cubicBezTo>
                      <a:pt x="798" y="76"/>
                      <a:pt x="798" y="76"/>
                      <a:pt x="798" y="76"/>
                    </a:cubicBezTo>
                    <a:cubicBezTo>
                      <a:pt x="800" y="76"/>
                      <a:pt x="800" y="76"/>
                      <a:pt x="800" y="76"/>
                    </a:cubicBezTo>
                    <a:cubicBezTo>
                      <a:pt x="802" y="76"/>
                      <a:pt x="802" y="76"/>
                      <a:pt x="802" y="76"/>
                    </a:cubicBezTo>
                    <a:cubicBezTo>
                      <a:pt x="804" y="76"/>
                      <a:pt x="804" y="76"/>
                      <a:pt x="804" y="76"/>
                    </a:cubicBezTo>
                    <a:cubicBezTo>
                      <a:pt x="807" y="76"/>
                      <a:pt x="807" y="76"/>
                      <a:pt x="807" y="76"/>
                    </a:cubicBezTo>
                    <a:cubicBezTo>
                      <a:pt x="806" y="79"/>
                      <a:pt x="806" y="79"/>
                      <a:pt x="806" y="79"/>
                    </a:cubicBezTo>
                    <a:cubicBezTo>
                      <a:pt x="804" y="81"/>
                      <a:pt x="804" y="81"/>
                      <a:pt x="804" y="81"/>
                    </a:cubicBezTo>
                    <a:cubicBezTo>
                      <a:pt x="801" y="83"/>
                      <a:pt x="801" y="83"/>
                      <a:pt x="801" y="83"/>
                    </a:cubicBezTo>
                    <a:cubicBezTo>
                      <a:pt x="800" y="84"/>
                      <a:pt x="800" y="84"/>
                      <a:pt x="800" y="84"/>
                    </a:cubicBezTo>
                    <a:cubicBezTo>
                      <a:pt x="796" y="85"/>
                      <a:pt x="796" y="85"/>
                      <a:pt x="796" y="85"/>
                    </a:cubicBezTo>
                    <a:cubicBezTo>
                      <a:pt x="795" y="87"/>
                      <a:pt x="795" y="87"/>
                      <a:pt x="795" y="87"/>
                    </a:cubicBezTo>
                    <a:cubicBezTo>
                      <a:pt x="793" y="87"/>
                      <a:pt x="793" y="87"/>
                      <a:pt x="793" y="87"/>
                    </a:cubicBezTo>
                    <a:cubicBezTo>
                      <a:pt x="791" y="89"/>
                      <a:pt x="791" y="89"/>
                      <a:pt x="791" y="89"/>
                    </a:cubicBezTo>
                    <a:cubicBezTo>
                      <a:pt x="788" y="91"/>
                      <a:pt x="788" y="91"/>
                      <a:pt x="788" y="91"/>
                    </a:cubicBezTo>
                    <a:cubicBezTo>
                      <a:pt x="786" y="91"/>
                      <a:pt x="786" y="91"/>
                      <a:pt x="786" y="91"/>
                    </a:cubicBezTo>
                    <a:cubicBezTo>
                      <a:pt x="785" y="91"/>
                      <a:pt x="785" y="91"/>
                      <a:pt x="785" y="91"/>
                    </a:cubicBezTo>
                    <a:cubicBezTo>
                      <a:pt x="783" y="91"/>
                      <a:pt x="783" y="91"/>
                      <a:pt x="783" y="91"/>
                    </a:cubicBezTo>
                    <a:cubicBezTo>
                      <a:pt x="781" y="93"/>
                      <a:pt x="781" y="93"/>
                      <a:pt x="781" y="93"/>
                    </a:cubicBezTo>
                    <a:cubicBezTo>
                      <a:pt x="777" y="94"/>
                      <a:pt x="777" y="94"/>
                      <a:pt x="777" y="94"/>
                    </a:cubicBezTo>
                    <a:cubicBezTo>
                      <a:pt x="776" y="96"/>
                      <a:pt x="776" y="96"/>
                      <a:pt x="776" y="96"/>
                    </a:cubicBezTo>
                    <a:cubicBezTo>
                      <a:pt x="772" y="96"/>
                      <a:pt x="772" y="96"/>
                      <a:pt x="772" y="96"/>
                    </a:cubicBezTo>
                    <a:cubicBezTo>
                      <a:pt x="771" y="97"/>
                      <a:pt x="771" y="97"/>
                      <a:pt x="771" y="97"/>
                    </a:cubicBezTo>
                    <a:cubicBezTo>
                      <a:pt x="769" y="97"/>
                      <a:pt x="769" y="97"/>
                      <a:pt x="769" y="97"/>
                    </a:cubicBezTo>
                    <a:cubicBezTo>
                      <a:pt x="768" y="98"/>
                      <a:pt x="768" y="98"/>
                      <a:pt x="768" y="98"/>
                    </a:cubicBezTo>
                    <a:cubicBezTo>
                      <a:pt x="766" y="98"/>
                      <a:pt x="766" y="98"/>
                      <a:pt x="766" y="98"/>
                    </a:cubicBezTo>
                    <a:cubicBezTo>
                      <a:pt x="765" y="99"/>
                      <a:pt x="765" y="99"/>
                      <a:pt x="765" y="99"/>
                    </a:cubicBezTo>
                    <a:cubicBezTo>
                      <a:pt x="765" y="101"/>
                      <a:pt x="765" y="101"/>
                      <a:pt x="765" y="101"/>
                    </a:cubicBezTo>
                    <a:cubicBezTo>
                      <a:pt x="763" y="103"/>
                      <a:pt x="763" y="103"/>
                      <a:pt x="763" y="103"/>
                    </a:cubicBezTo>
                    <a:cubicBezTo>
                      <a:pt x="762" y="104"/>
                      <a:pt x="762" y="104"/>
                      <a:pt x="762" y="104"/>
                    </a:cubicBezTo>
                    <a:cubicBezTo>
                      <a:pt x="758" y="104"/>
                      <a:pt x="758" y="104"/>
                      <a:pt x="758" y="104"/>
                    </a:cubicBezTo>
                    <a:cubicBezTo>
                      <a:pt x="757" y="105"/>
                      <a:pt x="757" y="105"/>
                      <a:pt x="757" y="105"/>
                    </a:cubicBezTo>
                    <a:cubicBezTo>
                      <a:pt x="755" y="105"/>
                      <a:pt x="755" y="105"/>
                      <a:pt x="755" y="105"/>
                    </a:cubicBezTo>
                    <a:cubicBezTo>
                      <a:pt x="755" y="104"/>
                      <a:pt x="755" y="104"/>
                      <a:pt x="755" y="104"/>
                    </a:cubicBezTo>
                    <a:cubicBezTo>
                      <a:pt x="756" y="103"/>
                      <a:pt x="756" y="103"/>
                      <a:pt x="756" y="103"/>
                    </a:cubicBezTo>
                    <a:cubicBezTo>
                      <a:pt x="756" y="101"/>
                      <a:pt x="756" y="101"/>
                      <a:pt x="756" y="101"/>
                    </a:cubicBezTo>
                    <a:cubicBezTo>
                      <a:pt x="754" y="100"/>
                      <a:pt x="754" y="100"/>
                      <a:pt x="754" y="100"/>
                    </a:cubicBezTo>
                    <a:cubicBezTo>
                      <a:pt x="755" y="102"/>
                      <a:pt x="755" y="102"/>
                      <a:pt x="755" y="102"/>
                    </a:cubicBezTo>
                    <a:cubicBezTo>
                      <a:pt x="754" y="104"/>
                      <a:pt x="754" y="104"/>
                      <a:pt x="754" y="104"/>
                    </a:cubicBezTo>
                    <a:cubicBezTo>
                      <a:pt x="753" y="105"/>
                      <a:pt x="753" y="105"/>
                      <a:pt x="753" y="105"/>
                    </a:cubicBezTo>
                    <a:cubicBezTo>
                      <a:pt x="755" y="106"/>
                      <a:pt x="755" y="106"/>
                      <a:pt x="755" y="106"/>
                    </a:cubicBezTo>
                    <a:cubicBezTo>
                      <a:pt x="756" y="108"/>
                      <a:pt x="756" y="108"/>
                      <a:pt x="756" y="108"/>
                    </a:cubicBezTo>
                    <a:cubicBezTo>
                      <a:pt x="754" y="110"/>
                      <a:pt x="754" y="110"/>
                      <a:pt x="754" y="110"/>
                    </a:cubicBezTo>
                    <a:cubicBezTo>
                      <a:pt x="753" y="110"/>
                      <a:pt x="753" y="110"/>
                      <a:pt x="753" y="110"/>
                    </a:cubicBezTo>
                    <a:cubicBezTo>
                      <a:pt x="751" y="109"/>
                      <a:pt x="751" y="109"/>
                      <a:pt x="751" y="109"/>
                    </a:cubicBezTo>
                    <a:cubicBezTo>
                      <a:pt x="750" y="109"/>
                      <a:pt x="750" y="109"/>
                      <a:pt x="750" y="109"/>
                    </a:cubicBezTo>
                    <a:cubicBezTo>
                      <a:pt x="746" y="108"/>
                      <a:pt x="746" y="108"/>
                      <a:pt x="746" y="108"/>
                    </a:cubicBezTo>
                    <a:cubicBezTo>
                      <a:pt x="745" y="109"/>
                      <a:pt x="745" y="109"/>
                      <a:pt x="745" y="109"/>
                    </a:cubicBezTo>
                    <a:cubicBezTo>
                      <a:pt x="744" y="109"/>
                      <a:pt x="744" y="109"/>
                      <a:pt x="744" y="109"/>
                    </a:cubicBezTo>
                    <a:cubicBezTo>
                      <a:pt x="744" y="108"/>
                      <a:pt x="744" y="108"/>
                      <a:pt x="744" y="108"/>
                    </a:cubicBezTo>
                    <a:cubicBezTo>
                      <a:pt x="743" y="107"/>
                      <a:pt x="743" y="107"/>
                      <a:pt x="743" y="107"/>
                    </a:cubicBezTo>
                    <a:cubicBezTo>
                      <a:pt x="742" y="109"/>
                      <a:pt x="742" y="109"/>
                      <a:pt x="742" y="109"/>
                    </a:cubicBezTo>
                    <a:cubicBezTo>
                      <a:pt x="741" y="109"/>
                      <a:pt x="741" y="109"/>
                      <a:pt x="741" y="109"/>
                    </a:cubicBezTo>
                    <a:cubicBezTo>
                      <a:pt x="740" y="110"/>
                      <a:pt x="740" y="110"/>
                      <a:pt x="740" y="110"/>
                    </a:cubicBezTo>
                    <a:cubicBezTo>
                      <a:pt x="744" y="111"/>
                      <a:pt x="744" y="111"/>
                      <a:pt x="744" y="111"/>
                    </a:cubicBezTo>
                    <a:cubicBezTo>
                      <a:pt x="749" y="111"/>
                      <a:pt x="749" y="111"/>
                      <a:pt x="749" y="111"/>
                    </a:cubicBezTo>
                    <a:cubicBezTo>
                      <a:pt x="750" y="112"/>
                      <a:pt x="750" y="112"/>
                      <a:pt x="750" y="112"/>
                    </a:cubicBezTo>
                    <a:cubicBezTo>
                      <a:pt x="750" y="114"/>
                      <a:pt x="750" y="114"/>
                      <a:pt x="750" y="114"/>
                    </a:cubicBezTo>
                    <a:cubicBezTo>
                      <a:pt x="748" y="115"/>
                      <a:pt x="748" y="115"/>
                      <a:pt x="748" y="115"/>
                    </a:cubicBezTo>
                    <a:cubicBezTo>
                      <a:pt x="745" y="115"/>
                      <a:pt x="745" y="115"/>
                      <a:pt x="745" y="115"/>
                    </a:cubicBezTo>
                    <a:cubicBezTo>
                      <a:pt x="743" y="115"/>
                      <a:pt x="743" y="115"/>
                      <a:pt x="743" y="115"/>
                    </a:cubicBezTo>
                    <a:cubicBezTo>
                      <a:pt x="742" y="116"/>
                      <a:pt x="742" y="116"/>
                      <a:pt x="742" y="116"/>
                    </a:cubicBezTo>
                    <a:cubicBezTo>
                      <a:pt x="743" y="117"/>
                      <a:pt x="743" y="117"/>
                      <a:pt x="743" y="117"/>
                    </a:cubicBezTo>
                    <a:cubicBezTo>
                      <a:pt x="744" y="116"/>
                      <a:pt x="744" y="116"/>
                      <a:pt x="744" y="116"/>
                    </a:cubicBezTo>
                    <a:cubicBezTo>
                      <a:pt x="745" y="117"/>
                      <a:pt x="745" y="117"/>
                      <a:pt x="745" y="117"/>
                    </a:cubicBezTo>
                    <a:cubicBezTo>
                      <a:pt x="745" y="119"/>
                      <a:pt x="745" y="119"/>
                      <a:pt x="745" y="119"/>
                    </a:cubicBezTo>
                    <a:cubicBezTo>
                      <a:pt x="742" y="122"/>
                      <a:pt x="742" y="122"/>
                      <a:pt x="742" y="122"/>
                    </a:cubicBezTo>
                    <a:cubicBezTo>
                      <a:pt x="739" y="122"/>
                      <a:pt x="739" y="122"/>
                      <a:pt x="739" y="122"/>
                    </a:cubicBezTo>
                    <a:cubicBezTo>
                      <a:pt x="734" y="122"/>
                      <a:pt x="734" y="122"/>
                      <a:pt x="734" y="122"/>
                    </a:cubicBezTo>
                    <a:cubicBezTo>
                      <a:pt x="734" y="121"/>
                      <a:pt x="734" y="121"/>
                      <a:pt x="734" y="121"/>
                    </a:cubicBezTo>
                    <a:cubicBezTo>
                      <a:pt x="732" y="120"/>
                      <a:pt x="732" y="120"/>
                      <a:pt x="732" y="120"/>
                    </a:cubicBezTo>
                    <a:cubicBezTo>
                      <a:pt x="731" y="119"/>
                      <a:pt x="731" y="119"/>
                      <a:pt x="731" y="119"/>
                    </a:cubicBezTo>
                    <a:cubicBezTo>
                      <a:pt x="731" y="116"/>
                      <a:pt x="731" y="116"/>
                      <a:pt x="731" y="116"/>
                    </a:cubicBezTo>
                    <a:cubicBezTo>
                      <a:pt x="728" y="116"/>
                      <a:pt x="728" y="116"/>
                      <a:pt x="728" y="116"/>
                    </a:cubicBezTo>
                    <a:cubicBezTo>
                      <a:pt x="727" y="115"/>
                      <a:pt x="727" y="115"/>
                      <a:pt x="727" y="115"/>
                    </a:cubicBezTo>
                    <a:cubicBezTo>
                      <a:pt x="727" y="113"/>
                      <a:pt x="727" y="113"/>
                      <a:pt x="727" y="113"/>
                    </a:cubicBezTo>
                    <a:cubicBezTo>
                      <a:pt x="726" y="112"/>
                      <a:pt x="726" y="112"/>
                      <a:pt x="726" y="112"/>
                    </a:cubicBezTo>
                    <a:cubicBezTo>
                      <a:pt x="725" y="112"/>
                      <a:pt x="725" y="112"/>
                      <a:pt x="725" y="112"/>
                    </a:cubicBezTo>
                    <a:cubicBezTo>
                      <a:pt x="724" y="112"/>
                      <a:pt x="724" y="112"/>
                      <a:pt x="724" y="112"/>
                    </a:cubicBezTo>
                    <a:cubicBezTo>
                      <a:pt x="721" y="112"/>
                      <a:pt x="721" y="112"/>
                      <a:pt x="721" y="112"/>
                    </a:cubicBezTo>
                    <a:cubicBezTo>
                      <a:pt x="720" y="113"/>
                      <a:pt x="720" y="113"/>
                      <a:pt x="720" y="113"/>
                    </a:cubicBezTo>
                    <a:cubicBezTo>
                      <a:pt x="722" y="114"/>
                      <a:pt x="722" y="114"/>
                      <a:pt x="722" y="114"/>
                    </a:cubicBezTo>
                    <a:cubicBezTo>
                      <a:pt x="722" y="113"/>
                      <a:pt x="722" y="113"/>
                      <a:pt x="722" y="113"/>
                    </a:cubicBezTo>
                    <a:cubicBezTo>
                      <a:pt x="724" y="113"/>
                      <a:pt x="724" y="113"/>
                      <a:pt x="724" y="113"/>
                    </a:cubicBezTo>
                    <a:cubicBezTo>
                      <a:pt x="728" y="118"/>
                      <a:pt x="728" y="118"/>
                      <a:pt x="728" y="118"/>
                    </a:cubicBezTo>
                    <a:cubicBezTo>
                      <a:pt x="728" y="123"/>
                      <a:pt x="728" y="123"/>
                      <a:pt x="728" y="123"/>
                    </a:cubicBezTo>
                    <a:cubicBezTo>
                      <a:pt x="727" y="124"/>
                      <a:pt x="727" y="124"/>
                      <a:pt x="727" y="124"/>
                    </a:cubicBezTo>
                    <a:cubicBezTo>
                      <a:pt x="725" y="124"/>
                      <a:pt x="725" y="124"/>
                      <a:pt x="725" y="124"/>
                    </a:cubicBezTo>
                    <a:cubicBezTo>
                      <a:pt x="724" y="122"/>
                      <a:pt x="724" y="122"/>
                      <a:pt x="724" y="122"/>
                    </a:cubicBezTo>
                    <a:cubicBezTo>
                      <a:pt x="722" y="122"/>
                      <a:pt x="722" y="122"/>
                      <a:pt x="722" y="122"/>
                    </a:cubicBezTo>
                    <a:cubicBezTo>
                      <a:pt x="722" y="124"/>
                      <a:pt x="722" y="124"/>
                      <a:pt x="722" y="124"/>
                    </a:cubicBezTo>
                    <a:cubicBezTo>
                      <a:pt x="722" y="125"/>
                      <a:pt x="722" y="125"/>
                      <a:pt x="722" y="125"/>
                    </a:cubicBezTo>
                    <a:cubicBezTo>
                      <a:pt x="720" y="123"/>
                      <a:pt x="720" y="123"/>
                      <a:pt x="720" y="123"/>
                    </a:cubicBezTo>
                    <a:cubicBezTo>
                      <a:pt x="718" y="123"/>
                      <a:pt x="718" y="123"/>
                      <a:pt x="718" y="123"/>
                    </a:cubicBezTo>
                    <a:cubicBezTo>
                      <a:pt x="717" y="124"/>
                      <a:pt x="717" y="124"/>
                      <a:pt x="717" y="124"/>
                    </a:cubicBezTo>
                    <a:cubicBezTo>
                      <a:pt x="716" y="124"/>
                      <a:pt x="716" y="124"/>
                      <a:pt x="716" y="124"/>
                    </a:cubicBezTo>
                    <a:cubicBezTo>
                      <a:pt x="715" y="123"/>
                      <a:pt x="715" y="123"/>
                      <a:pt x="715" y="123"/>
                    </a:cubicBezTo>
                    <a:cubicBezTo>
                      <a:pt x="713" y="122"/>
                      <a:pt x="713" y="122"/>
                      <a:pt x="713" y="122"/>
                    </a:cubicBezTo>
                    <a:cubicBezTo>
                      <a:pt x="712" y="120"/>
                      <a:pt x="712" y="120"/>
                      <a:pt x="712" y="120"/>
                    </a:cubicBezTo>
                    <a:cubicBezTo>
                      <a:pt x="711" y="121"/>
                      <a:pt x="711" y="121"/>
                      <a:pt x="711" y="121"/>
                    </a:cubicBezTo>
                    <a:cubicBezTo>
                      <a:pt x="710" y="119"/>
                      <a:pt x="710" y="119"/>
                      <a:pt x="710" y="119"/>
                    </a:cubicBezTo>
                    <a:cubicBezTo>
                      <a:pt x="709" y="118"/>
                      <a:pt x="709" y="118"/>
                      <a:pt x="709" y="118"/>
                    </a:cubicBezTo>
                    <a:cubicBezTo>
                      <a:pt x="707" y="118"/>
                      <a:pt x="707" y="118"/>
                      <a:pt x="707" y="118"/>
                    </a:cubicBezTo>
                    <a:cubicBezTo>
                      <a:pt x="705" y="116"/>
                      <a:pt x="705" y="116"/>
                      <a:pt x="705" y="116"/>
                    </a:cubicBezTo>
                    <a:cubicBezTo>
                      <a:pt x="705" y="117"/>
                      <a:pt x="705" y="117"/>
                      <a:pt x="705" y="117"/>
                    </a:cubicBezTo>
                    <a:cubicBezTo>
                      <a:pt x="705" y="118"/>
                      <a:pt x="705" y="118"/>
                      <a:pt x="705" y="118"/>
                    </a:cubicBezTo>
                    <a:cubicBezTo>
                      <a:pt x="707" y="120"/>
                      <a:pt x="707" y="120"/>
                      <a:pt x="707" y="120"/>
                    </a:cubicBezTo>
                    <a:cubicBezTo>
                      <a:pt x="709" y="120"/>
                      <a:pt x="709" y="120"/>
                      <a:pt x="709" y="120"/>
                    </a:cubicBezTo>
                    <a:cubicBezTo>
                      <a:pt x="711" y="124"/>
                      <a:pt x="711" y="124"/>
                      <a:pt x="711" y="124"/>
                    </a:cubicBezTo>
                    <a:cubicBezTo>
                      <a:pt x="711" y="125"/>
                      <a:pt x="711" y="125"/>
                      <a:pt x="711" y="125"/>
                    </a:cubicBezTo>
                    <a:cubicBezTo>
                      <a:pt x="705" y="124"/>
                      <a:pt x="705" y="124"/>
                      <a:pt x="705" y="124"/>
                    </a:cubicBezTo>
                    <a:cubicBezTo>
                      <a:pt x="704" y="123"/>
                      <a:pt x="704" y="123"/>
                      <a:pt x="704" y="123"/>
                    </a:cubicBezTo>
                    <a:cubicBezTo>
                      <a:pt x="704" y="121"/>
                      <a:pt x="704" y="121"/>
                      <a:pt x="704" y="121"/>
                    </a:cubicBezTo>
                    <a:cubicBezTo>
                      <a:pt x="702" y="119"/>
                      <a:pt x="702" y="119"/>
                      <a:pt x="702" y="119"/>
                    </a:cubicBezTo>
                    <a:cubicBezTo>
                      <a:pt x="702" y="120"/>
                      <a:pt x="702" y="120"/>
                      <a:pt x="702" y="120"/>
                    </a:cubicBezTo>
                    <a:cubicBezTo>
                      <a:pt x="702" y="121"/>
                      <a:pt x="702" y="121"/>
                      <a:pt x="702" y="121"/>
                    </a:cubicBezTo>
                    <a:cubicBezTo>
                      <a:pt x="702" y="122"/>
                      <a:pt x="702" y="122"/>
                      <a:pt x="702" y="122"/>
                    </a:cubicBezTo>
                    <a:cubicBezTo>
                      <a:pt x="700" y="122"/>
                      <a:pt x="700" y="122"/>
                      <a:pt x="700" y="122"/>
                    </a:cubicBezTo>
                    <a:cubicBezTo>
                      <a:pt x="699" y="121"/>
                      <a:pt x="699" y="121"/>
                      <a:pt x="699" y="121"/>
                    </a:cubicBezTo>
                    <a:cubicBezTo>
                      <a:pt x="697" y="121"/>
                      <a:pt x="697" y="121"/>
                      <a:pt x="697" y="121"/>
                    </a:cubicBezTo>
                    <a:cubicBezTo>
                      <a:pt x="697" y="123"/>
                      <a:pt x="697" y="123"/>
                      <a:pt x="697" y="123"/>
                    </a:cubicBezTo>
                    <a:cubicBezTo>
                      <a:pt x="700" y="124"/>
                      <a:pt x="700" y="124"/>
                      <a:pt x="700" y="124"/>
                    </a:cubicBezTo>
                    <a:cubicBezTo>
                      <a:pt x="700" y="125"/>
                      <a:pt x="700" y="125"/>
                      <a:pt x="700" y="125"/>
                    </a:cubicBezTo>
                    <a:cubicBezTo>
                      <a:pt x="701" y="125"/>
                      <a:pt x="701" y="125"/>
                      <a:pt x="701" y="125"/>
                    </a:cubicBezTo>
                    <a:cubicBezTo>
                      <a:pt x="702" y="125"/>
                      <a:pt x="702" y="125"/>
                      <a:pt x="702" y="125"/>
                    </a:cubicBezTo>
                    <a:cubicBezTo>
                      <a:pt x="703" y="125"/>
                      <a:pt x="703" y="125"/>
                      <a:pt x="703" y="125"/>
                    </a:cubicBezTo>
                    <a:cubicBezTo>
                      <a:pt x="705" y="126"/>
                      <a:pt x="705" y="126"/>
                      <a:pt x="705" y="126"/>
                    </a:cubicBezTo>
                    <a:cubicBezTo>
                      <a:pt x="707" y="127"/>
                      <a:pt x="707" y="127"/>
                      <a:pt x="707" y="127"/>
                    </a:cubicBezTo>
                    <a:cubicBezTo>
                      <a:pt x="708" y="128"/>
                      <a:pt x="708" y="128"/>
                      <a:pt x="708" y="128"/>
                    </a:cubicBezTo>
                    <a:cubicBezTo>
                      <a:pt x="710" y="128"/>
                      <a:pt x="710" y="128"/>
                      <a:pt x="710" y="128"/>
                    </a:cubicBezTo>
                    <a:cubicBezTo>
                      <a:pt x="711" y="128"/>
                      <a:pt x="711" y="128"/>
                      <a:pt x="711" y="128"/>
                    </a:cubicBezTo>
                    <a:cubicBezTo>
                      <a:pt x="716" y="129"/>
                      <a:pt x="716" y="129"/>
                      <a:pt x="716" y="129"/>
                    </a:cubicBezTo>
                    <a:cubicBezTo>
                      <a:pt x="718" y="130"/>
                      <a:pt x="718" y="130"/>
                      <a:pt x="718" y="130"/>
                    </a:cubicBezTo>
                    <a:cubicBezTo>
                      <a:pt x="716" y="132"/>
                      <a:pt x="716" y="132"/>
                      <a:pt x="716" y="132"/>
                    </a:cubicBezTo>
                    <a:cubicBezTo>
                      <a:pt x="716" y="133"/>
                      <a:pt x="716" y="133"/>
                      <a:pt x="716" y="133"/>
                    </a:cubicBezTo>
                    <a:cubicBezTo>
                      <a:pt x="716" y="135"/>
                      <a:pt x="716" y="135"/>
                      <a:pt x="716" y="135"/>
                    </a:cubicBezTo>
                    <a:cubicBezTo>
                      <a:pt x="717" y="136"/>
                      <a:pt x="717" y="136"/>
                      <a:pt x="717" y="136"/>
                    </a:cubicBezTo>
                    <a:cubicBezTo>
                      <a:pt x="715" y="138"/>
                      <a:pt x="715" y="138"/>
                      <a:pt x="715" y="138"/>
                    </a:cubicBezTo>
                    <a:cubicBezTo>
                      <a:pt x="714" y="137"/>
                      <a:pt x="714" y="137"/>
                      <a:pt x="714" y="137"/>
                    </a:cubicBezTo>
                    <a:cubicBezTo>
                      <a:pt x="713" y="136"/>
                      <a:pt x="713" y="136"/>
                      <a:pt x="713" y="136"/>
                    </a:cubicBezTo>
                    <a:cubicBezTo>
                      <a:pt x="711" y="135"/>
                      <a:pt x="711" y="135"/>
                      <a:pt x="711" y="135"/>
                    </a:cubicBezTo>
                    <a:cubicBezTo>
                      <a:pt x="708" y="133"/>
                      <a:pt x="708" y="133"/>
                      <a:pt x="708" y="133"/>
                    </a:cubicBezTo>
                    <a:cubicBezTo>
                      <a:pt x="707" y="132"/>
                      <a:pt x="707" y="132"/>
                      <a:pt x="707" y="132"/>
                    </a:cubicBezTo>
                    <a:cubicBezTo>
                      <a:pt x="708" y="130"/>
                      <a:pt x="708" y="130"/>
                      <a:pt x="708" y="130"/>
                    </a:cubicBezTo>
                    <a:cubicBezTo>
                      <a:pt x="707" y="128"/>
                      <a:pt x="707" y="128"/>
                      <a:pt x="707" y="128"/>
                    </a:cubicBezTo>
                    <a:cubicBezTo>
                      <a:pt x="704" y="128"/>
                      <a:pt x="704" y="128"/>
                      <a:pt x="704" y="128"/>
                    </a:cubicBezTo>
                    <a:cubicBezTo>
                      <a:pt x="700" y="127"/>
                      <a:pt x="700" y="127"/>
                      <a:pt x="700" y="127"/>
                    </a:cubicBezTo>
                    <a:cubicBezTo>
                      <a:pt x="698" y="126"/>
                      <a:pt x="698" y="126"/>
                      <a:pt x="698" y="126"/>
                    </a:cubicBezTo>
                    <a:cubicBezTo>
                      <a:pt x="696" y="126"/>
                      <a:pt x="696" y="126"/>
                      <a:pt x="696" y="126"/>
                    </a:cubicBezTo>
                    <a:cubicBezTo>
                      <a:pt x="696" y="127"/>
                      <a:pt x="696" y="127"/>
                      <a:pt x="696" y="127"/>
                    </a:cubicBezTo>
                    <a:cubicBezTo>
                      <a:pt x="698" y="128"/>
                      <a:pt x="698" y="128"/>
                      <a:pt x="698" y="128"/>
                    </a:cubicBezTo>
                    <a:cubicBezTo>
                      <a:pt x="702" y="128"/>
                      <a:pt x="702" y="128"/>
                      <a:pt x="702" y="128"/>
                    </a:cubicBezTo>
                    <a:cubicBezTo>
                      <a:pt x="706" y="130"/>
                      <a:pt x="706" y="130"/>
                      <a:pt x="706" y="130"/>
                    </a:cubicBezTo>
                    <a:cubicBezTo>
                      <a:pt x="706" y="132"/>
                      <a:pt x="706" y="132"/>
                      <a:pt x="706" y="132"/>
                    </a:cubicBezTo>
                    <a:cubicBezTo>
                      <a:pt x="705" y="132"/>
                      <a:pt x="705" y="132"/>
                      <a:pt x="705" y="132"/>
                    </a:cubicBezTo>
                    <a:cubicBezTo>
                      <a:pt x="703" y="131"/>
                      <a:pt x="703" y="131"/>
                      <a:pt x="703" y="131"/>
                    </a:cubicBezTo>
                    <a:cubicBezTo>
                      <a:pt x="700" y="131"/>
                      <a:pt x="700" y="131"/>
                      <a:pt x="700" y="131"/>
                    </a:cubicBezTo>
                    <a:cubicBezTo>
                      <a:pt x="697" y="132"/>
                      <a:pt x="697" y="132"/>
                      <a:pt x="697" y="132"/>
                    </a:cubicBezTo>
                    <a:cubicBezTo>
                      <a:pt x="697" y="131"/>
                      <a:pt x="697" y="131"/>
                      <a:pt x="697" y="131"/>
                    </a:cubicBezTo>
                    <a:cubicBezTo>
                      <a:pt x="696" y="129"/>
                      <a:pt x="696" y="129"/>
                      <a:pt x="696" y="129"/>
                    </a:cubicBezTo>
                    <a:cubicBezTo>
                      <a:pt x="693" y="129"/>
                      <a:pt x="693" y="129"/>
                      <a:pt x="693" y="129"/>
                    </a:cubicBezTo>
                    <a:cubicBezTo>
                      <a:pt x="691" y="128"/>
                      <a:pt x="691" y="128"/>
                      <a:pt x="691" y="128"/>
                    </a:cubicBezTo>
                    <a:cubicBezTo>
                      <a:pt x="691" y="129"/>
                      <a:pt x="691" y="129"/>
                      <a:pt x="691" y="129"/>
                    </a:cubicBezTo>
                    <a:cubicBezTo>
                      <a:pt x="695" y="131"/>
                      <a:pt x="695" y="131"/>
                      <a:pt x="695" y="131"/>
                    </a:cubicBezTo>
                    <a:cubicBezTo>
                      <a:pt x="694" y="132"/>
                      <a:pt x="694" y="132"/>
                      <a:pt x="694" y="132"/>
                    </a:cubicBezTo>
                    <a:cubicBezTo>
                      <a:pt x="694" y="133"/>
                      <a:pt x="694" y="133"/>
                      <a:pt x="694" y="133"/>
                    </a:cubicBezTo>
                    <a:cubicBezTo>
                      <a:pt x="696" y="133"/>
                      <a:pt x="696" y="133"/>
                      <a:pt x="696" y="133"/>
                    </a:cubicBezTo>
                    <a:cubicBezTo>
                      <a:pt x="696" y="133"/>
                      <a:pt x="696" y="133"/>
                      <a:pt x="696" y="133"/>
                    </a:cubicBezTo>
                    <a:cubicBezTo>
                      <a:pt x="697" y="133"/>
                      <a:pt x="697" y="133"/>
                      <a:pt x="697" y="133"/>
                    </a:cubicBezTo>
                    <a:cubicBezTo>
                      <a:pt x="699" y="133"/>
                      <a:pt x="699" y="133"/>
                      <a:pt x="699" y="133"/>
                    </a:cubicBezTo>
                    <a:cubicBezTo>
                      <a:pt x="699" y="132"/>
                      <a:pt x="699" y="132"/>
                      <a:pt x="699" y="132"/>
                    </a:cubicBezTo>
                    <a:cubicBezTo>
                      <a:pt x="700" y="133"/>
                      <a:pt x="700" y="133"/>
                      <a:pt x="700" y="133"/>
                    </a:cubicBezTo>
                    <a:cubicBezTo>
                      <a:pt x="702" y="132"/>
                      <a:pt x="702" y="132"/>
                      <a:pt x="702" y="132"/>
                    </a:cubicBezTo>
                    <a:cubicBezTo>
                      <a:pt x="703" y="133"/>
                      <a:pt x="703" y="133"/>
                      <a:pt x="703" y="133"/>
                    </a:cubicBezTo>
                    <a:cubicBezTo>
                      <a:pt x="706" y="136"/>
                      <a:pt x="706" y="136"/>
                      <a:pt x="706" y="136"/>
                    </a:cubicBezTo>
                    <a:cubicBezTo>
                      <a:pt x="706" y="137"/>
                      <a:pt x="706" y="137"/>
                      <a:pt x="706" y="137"/>
                    </a:cubicBezTo>
                    <a:cubicBezTo>
                      <a:pt x="704" y="137"/>
                      <a:pt x="704" y="137"/>
                      <a:pt x="704" y="137"/>
                    </a:cubicBezTo>
                    <a:cubicBezTo>
                      <a:pt x="702" y="138"/>
                      <a:pt x="702" y="138"/>
                      <a:pt x="702" y="138"/>
                    </a:cubicBezTo>
                    <a:cubicBezTo>
                      <a:pt x="701" y="139"/>
                      <a:pt x="701" y="139"/>
                      <a:pt x="701" y="139"/>
                    </a:cubicBezTo>
                    <a:cubicBezTo>
                      <a:pt x="703" y="138"/>
                      <a:pt x="703" y="138"/>
                      <a:pt x="703" y="138"/>
                    </a:cubicBezTo>
                    <a:cubicBezTo>
                      <a:pt x="705" y="138"/>
                      <a:pt x="705" y="138"/>
                      <a:pt x="705" y="138"/>
                    </a:cubicBezTo>
                    <a:cubicBezTo>
                      <a:pt x="706" y="138"/>
                      <a:pt x="706" y="138"/>
                      <a:pt x="706" y="138"/>
                    </a:cubicBezTo>
                    <a:cubicBezTo>
                      <a:pt x="708" y="140"/>
                      <a:pt x="708" y="140"/>
                      <a:pt x="708" y="140"/>
                    </a:cubicBezTo>
                    <a:cubicBezTo>
                      <a:pt x="710" y="141"/>
                      <a:pt x="710" y="141"/>
                      <a:pt x="710" y="141"/>
                    </a:cubicBezTo>
                    <a:cubicBezTo>
                      <a:pt x="710" y="142"/>
                      <a:pt x="710" y="142"/>
                      <a:pt x="710" y="142"/>
                    </a:cubicBezTo>
                    <a:cubicBezTo>
                      <a:pt x="708" y="146"/>
                      <a:pt x="708" y="146"/>
                      <a:pt x="708" y="146"/>
                    </a:cubicBezTo>
                    <a:cubicBezTo>
                      <a:pt x="707" y="149"/>
                      <a:pt x="707" y="149"/>
                      <a:pt x="707" y="149"/>
                    </a:cubicBezTo>
                    <a:cubicBezTo>
                      <a:pt x="706" y="149"/>
                      <a:pt x="706" y="149"/>
                      <a:pt x="706" y="149"/>
                    </a:cubicBezTo>
                    <a:cubicBezTo>
                      <a:pt x="703" y="151"/>
                      <a:pt x="703" y="151"/>
                      <a:pt x="703" y="151"/>
                    </a:cubicBezTo>
                    <a:cubicBezTo>
                      <a:pt x="702" y="151"/>
                      <a:pt x="702" y="151"/>
                      <a:pt x="702" y="151"/>
                    </a:cubicBezTo>
                    <a:cubicBezTo>
                      <a:pt x="701" y="151"/>
                      <a:pt x="701" y="151"/>
                      <a:pt x="701" y="151"/>
                    </a:cubicBezTo>
                    <a:cubicBezTo>
                      <a:pt x="699" y="150"/>
                      <a:pt x="699" y="150"/>
                      <a:pt x="699" y="150"/>
                    </a:cubicBezTo>
                    <a:cubicBezTo>
                      <a:pt x="699" y="149"/>
                      <a:pt x="699" y="149"/>
                      <a:pt x="699" y="149"/>
                    </a:cubicBezTo>
                    <a:cubicBezTo>
                      <a:pt x="697" y="148"/>
                      <a:pt x="697" y="148"/>
                      <a:pt x="697" y="148"/>
                    </a:cubicBezTo>
                    <a:cubicBezTo>
                      <a:pt x="695" y="148"/>
                      <a:pt x="695" y="148"/>
                      <a:pt x="695" y="148"/>
                    </a:cubicBezTo>
                    <a:cubicBezTo>
                      <a:pt x="695" y="149"/>
                      <a:pt x="695" y="149"/>
                      <a:pt x="695" y="149"/>
                    </a:cubicBezTo>
                    <a:cubicBezTo>
                      <a:pt x="697" y="150"/>
                      <a:pt x="697" y="150"/>
                      <a:pt x="697" y="150"/>
                    </a:cubicBezTo>
                    <a:cubicBezTo>
                      <a:pt x="698" y="151"/>
                      <a:pt x="698" y="151"/>
                      <a:pt x="698" y="151"/>
                    </a:cubicBezTo>
                    <a:cubicBezTo>
                      <a:pt x="699" y="151"/>
                      <a:pt x="699" y="151"/>
                      <a:pt x="699" y="151"/>
                    </a:cubicBezTo>
                    <a:cubicBezTo>
                      <a:pt x="702" y="153"/>
                      <a:pt x="702" y="153"/>
                      <a:pt x="702" y="153"/>
                    </a:cubicBezTo>
                    <a:cubicBezTo>
                      <a:pt x="702" y="155"/>
                      <a:pt x="702" y="155"/>
                      <a:pt x="702" y="155"/>
                    </a:cubicBezTo>
                    <a:cubicBezTo>
                      <a:pt x="701" y="156"/>
                      <a:pt x="701" y="156"/>
                      <a:pt x="701" y="156"/>
                    </a:cubicBezTo>
                    <a:cubicBezTo>
                      <a:pt x="700" y="157"/>
                      <a:pt x="700" y="157"/>
                      <a:pt x="700" y="157"/>
                    </a:cubicBezTo>
                    <a:cubicBezTo>
                      <a:pt x="697" y="159"/>
                      <a:pt x="697" y="159"/>
                      <a:pt x="697" y="159"/>
                    </a:cubicBezTo>
                    <a:cubicBezTo>
                      <a:pt x="696" y="159"/>
                      <a:pt x="696" y="159"/>
                      <a:pt x="696" y="159"/>
                    </a:cubicBezTo>
                    <a:cubicBezTo>
                      <a:pt x="693" y="156"/>
                      <a:pt x="693" y="156"/>
                      <a:pt x="693" y="156"/>
                    </a:cubicBezTo>
                    <a:cubicBezTo>
                      <a:pt x="692" y="157"/>
                      <a:pt x="692" y="157"/>
                      <a:pt x="692" y="157"/>
                    </a:cubicBezTo>
                    <a:cubicBezTo>
                      <a:pt x="691" y="156"/>
                      <a:pt x="691" y="156"/>
                      <a:pt x="691" y="156"/>
                    </a:cubicBezTo>
                    <a:cubicBezTo>
                      <a:pt x="689" y="156"/>
                      <a:pt x="689" y="156"/>
                      <a:pt x="689" y="156"/>
                    </a:cubicBezTo>
                    <a:cubicBezTo>
                      <a:pt x="687" y="156"/>
                      <a:pt x="687" y="156"/>
                      <a:pt x="687" y="156"/>
                    </a:cubicBezTo>
                    <a:cubicBezTo>
                      <a:pt x="688" y="158"/>
                      <a:pt x="688" y="158"/>
                      <a:pt x="688" y="158"/>
                    </a:cubicBezTo>
                    <a:cubicBezTo>
                      <a:pt x="694" y="161"/>
                      <a:pt x="694" y="161"/>
                      <a:pt x="694" y="161"/>
                    </a:cubicBezTo>
                    <a:cubicBezTo>
                      <a:pt x="696" y="161"/>
                      <a:pt x="696" y="161"/>
                      <a:pt x="696" y="161"/>
                    </a:cubicBezTo>
                    <a:cubicBezTo>
                      <a:pt x="696" y="162"/>
                      <a:pt x="696" y="162"/>
                      <a:pt x="696" y="162"/>
                    </a:cubicBezTo>
                    <a:cubicBezTo>
                      <a:pt x="694" y="163"/>
                      <a:pt x="694" y="163"/>
                      <a:pt x="694" y="163"/>
                    </a:cubicBezTo>
                    <a:cubicBezTo>
                      <a:pt x="693" y="165"/>
                      <a:pt x="693" y="165"/>
                      <a:pt x="693" y="165"/>
                    </a:cubicBezTo>
                    <a:cubicBezTo>
                      <a:pt x="691" y="165"/>
                      <a:pt x="691" y="165"/>
                      <a:pt x="691" y="165"/>
                    </a:cubicBezTo>
                    <a:cubicBezTo>
                      <a:pt x="689" y="164"/>
                      <a:pt x="689" y="164"/>
                      <a:pt x="689" y="164"/>
                    </a:cubicBezTo>
                    <a:cubicBezTo>
                      <a:pt x="688" y="164"/>
                      <a:pt x="688" y="164"/>
                      <a:pt x="688" y="164"/>
                    </a:cubicBezTo>
                    <a:cubicBezTo>
                      <a:pt x="686" y="165"/>
                      <a:pt x="686" y="165"/>
                      <a:pt x="686" y="165"/>
                    </a:cubicBezTo>
                    <a:cubicBezTo>
                      <a:pt x="683" y="165"/>
                      <a:pt x="683" y="165"/>
                      <a:pt x="683" y="165"/>
                    </a:cubicBezTo>
                    <a:cubicBezTo>
                      <a:pt x="682" y="163"/>
                      <a:pt x="682" y="163"/>
                      <a:pt x="682" y="163"/>
                    </a:cubicBezTo>
                    <a:cubicBezTo>
                      <a:pt x="678" y="162"/>
                      <a:pt x="678" y="162"/>
                      <a:pt x="678" y="162"/>
                    </a:cubicBezTo>
                    <a:cubicBezTo>
                      <a:pt x="676" y="163"/>
                      <a:pt x="676" y="163"/>
                      <a:pt x="676" y="163"/>
                    </a:cubicBezTo>
                    <a:cubicBezTo>
                      <a:pt x="675" y="167"/>
                      <a:pt x="675" y="167"/>
                      <a:pt x="675" y="167"/>
                    </a:cubicBezTo>
                    <a:cubicBezTo>
                      <a:pt x="673" y="169"/>
                      <a:pt x="673" y="169"/>
                      <a:pt x="673" y="169"/>
                    </a:cubicBezTo>
                    <a:cubicBezTo>
                      <a:pt x="675" y="168"/>
                      <a:pt x="675" y="168"/>
                      <a:pt x="675" y="168"/>
                    </a:cubicBezTo>
                    <a:cubicBezTo>
                      <a:pt x="676" y="169"/>
                      <a:pt x="676" y="169"/>
                      <a:pt x="676" y="169"/>
                    </a:cubicBezTo>
                    <a:cubicBezTo>
                      <a:pt x="676" y="171"/>
                      <a:pt x="676" y="171"/>
                      <a:pt x="676" y="171"/>
                    </a:cubicBezTo>
                    <a:cubicBezTo>
                      <a:pt x="673" y="172"/>
                      <a:pt x="673" y="172"/>
                      <a:pt x="673" y="172"/>
                    </a:cubicBezTo>
                    <a:cubicBezTo>
                      <a:pt x="673" y="175"/>
                      <a:pt x="673" y="175"/>
                      <a:pt x="673" y="175"/>
                    </a:cubicBezTo>
                    <a:cubicBezTo>
                      <a:pt x="671" y="176"/>
                      <a:pt x="671" y="176"/>
                      <a:pt x="671" y="176"/>
                    </a:cubicBezTo>
                    <a:cubicBezTo>
                      <a:pt x="670" y="175"/>
                      <a:pt x="670" y="175"/>
                      <a:pt x="670" y="175"/>
                    </a:cubicBezTo>
                    <a:cubicBezTo>
                      <a:pt x="669" y="176"/>
                      <a:pt x="669" y="176"/>
                      <a:pt x="669" y="176"/>
                    </a:cubicBezTo>
                    <a:cubicBezTo>
                      <a:pt x="669" y="177"/>
                      <a:pt x="669" y="177"/>
                      <a:pt x="669" y="177"/>
                    </a:cubicBezTo>
                    <a:cubicBezTo>
                      <a:pt x="667" y="178"/>
                      <a:pt x="667" y="178"/>
                      <a:pt x="667" y="178"/>
                    </a:cubicBezTo>
                    <a:cubicBezTo>
                      <a:pt x="666" y="177"/>
                      <a:pt x="666" y="177"/>
                      <a:pt x="666" y="177"/>
                    </a:cubicBezTo>
                    <a:cubicBezTo>
                      <a:pt x="667" y="176"/>
                      <a:pt x="667" y="176"/>
                      <a:pt x="667" y="176"/>
                    </a:cubicBezTo>
                    <a:cubicBezTo>
                      <a:pt x="666" y="176"/>
                      <a:pt x="666" y="176"/>
                      <a:pt x="666" y="176"/>
                    </a:cubicBezTo>
                    <a:cubicBezTo>
                      <a:pt x="665" y="177"/>
                      <a:pt x="665" y="177"/>
                      <a:pt x="665" y="177"/>
                    </a:cubicBezTo>
                    <a:cubicBezTo>
                      <a:pt x="663" y="180"/>
                      <a:pt x="663" y="180"/>
                      <a:pt x="663" y="180"/>
                    </a:cubicBezTo>
                    <a:cubicBezTo>
                      <a:pt x="662" y="181"/>
                      <a:pt x="662" y="181"/>
                      <a:pt x="662" y="181"/>
                    </a:cubicBezTo>
                    <a:cubicBezTo>
                      <a:pt x="658" y="178"/>
                      <a:pt x="658" y="178"/>
                      <a:pt x="658" y="178"/>
                    </a:cubicBezTo>
                    <a:cubicBezTo>
                      <a:pt x="655" y="178"/>
                      <a:pt x="655" y="178"/>
                      <a:pt x="655" y="178"/>
                    </a:cubicBezTo>
                    <a:cubicBezTo>
                      <a:pt x="655" y="179"/>
                      <a:pt x="655" y="179"/>
                      <a:pt x="655" y="179"/>
                    </a:cubicBezTo>
                    <a:cubicBezTo>
                      <a:pt x="652" y="179"/>
                      <a:pt x="652" y="179"/>
                      <a:pt x="652" y="179"/>
                    </a:cubicBezTo>
                    <a:cubicBezTo>
                      <a:pt x="648" y="173"/>
                      <a:pt x="648" y="173"/>
                      <a:pt x="648" y="173"/>
                    </a:cubicBezTo>
                    <a:cubicBezTo>
                      <a:pt x="647" y="169"/>
                      <a:pt x="647" y="169"/>
                      <a:pt x="647" y="169"/>
                    </a:cubicBezTo>
                    <a:cubicBezTo>
                      <a:pt x="648" y="168"/>
                      <a:pt x="648" y="168"/>
                      <a:pt x="648" y="168"/>
                    </a:cubicBezTo>
                    <a:cubicBezTo>
                      <a:pt x="649" y="167"/>
                      <a:pt x="649" y="167"/>
                      <a:pt x="649" y="167"/>
                    </a:cubicBezTo>
                    <a:cubicBezTo>
                      <a:pt x="648" y="166"/>
                      <a:pt x="648" y="166"/>
                      <a:pt x="648" y="166"/>
                    </a:cubicBezTo>
                    <a:cubicBezTo>
                      <a:pt x="648" y="164"/>
                      <a:pt x="648" y="164"/>
                      <a:pt x="648" y="164"/>
                    </a:cubicBezTo>
                    <a:cubicBezTo>
                      <a:pt x="647" y="166"/>
                      <a:pt x="647" y="166"/>
                      <a:pt x="647" y="166"/>
                    </a:cubicBezTo>
                    <a:cubicBezTo>
                      <a:pt x="647" y="168"/>
                      <a:pt x="647" y="168"/>
                      <a:pt x="647" y="168"/>
                    </a:cubicBezTo>
                    <a:cubicBezTo>
                      <a:pt x="646" y="171"/>
                      <a:pt x="646" y="171"/>
                      <a:pt x="646" y="171"/>
                    </a:cubicBezTo>
                    <a:cubicBezTo>
                      <a:pt x="645" y="172"/>
                      <a:pt x="645" y="172"/>
                      <a:pt x="645" y="172"/>
                    </a:cubicBezTo>
                    <a:cubicBezTo>
                      <a:pt x="647" y="174"/>
                      <a:pt x="647" y="174"/>
                      <a:pt x="647" y="174"/>
                    </a:cubicBezTo>
                    <a:cubicBezTo>
                      <a:pt x="646" y="175"/>
                      <a:pt x="646" y="175"/>
                      <a:pt x="646" y="175"/>
                    </a:cubicBezTo>
                    <a:cubicBezTo>
                      <a:pt x="645" y="175"/>
                      <a:pt x="645" y="175"/>
                      <a:pt x="645" y="175"/>
                    </a:cubicBezTo>
                    <a:cubicBezTo>
                      <a:pt x="643" y="175"/>
                      <a:pt x="643" y="175"/>
                      <a:pt x="643" y="175"/>
                    </a:cubicBezTo>
                    <a:cubicBezTo>
                      <a:pt x="642" y="175"/>
                      <a:pt x="642" y="175"/>
                      <a:pt x="642" y="175"/>
                    </a:cubicBezTo>
                    <a:cubicBezTo>
                      <a:pt x="640" y="175"/>
                      <a:pt x="640" y="175"/>
                      <a:pt x="640" y="175"/>
                    </a:cubicBezTo>
                    <a:cubicBezTo>
                      <a:pt x="642" y="177"/>
                      <a:pt x="642" y="177"/>
                      <a:pt x="642" y="177"/>
                    </a:cubicBezTo>
                    <a:cubicBezTo>
                      <a:pt x="641" y="180"/>
                      <a:pt x="641" y="180"/>
                      <a:pt x="641" y="180"/>
                    </a:cubicBezTo>
                    <a:cubicBezTo>
                      <a:pt x="642" y="180"/>
                      <a:pt x="642" y="180"/>
                      <a:pt x="642" y="180"/>
                    </a:cubicBezTo>
                    <a:cubicBezTo>
                      <a:pt x="645" y="177"/>
                      <a:pt x="645" y="177"/>
                      <a:pt x="645" y="177"/>
                    </a:cubicBezTo>
                    <a:cubicBezTo>
                      <a:pt x="646" y="177"/>
                      <a:pt x="646" y="177"/>
                      <a:pt x="646" y="177"/>
                    </a:cubicBezTo>
                    <a:cubicBezTo>
                      <a:pt x="646" y="177"/>
                      <a:pt x="646" y="177"/>
                      <a:pt x="646" y="177"/>
                    </a:cubicBezTo>
                    <a:cubicBezTo>
                      <a:pt x="648" y="176"/>
                      <a:pt x="648" y="176"/>
                      <a:pt x="648" y="176"/>
                    </a:cubicBezTo>
                    <a:cubicBezTo>
                      <a:pt x="650" y="178"/>
                      <a:pt x="650" y="178"/>
                      <a:pt x="650" y="178"/>
                    </a:cubicBezTo>
                    <a:cubicBezTo>
                      <a:pt x="651" y="180"/>
                      <a:pt x="651" y="180"/>
                      <a:pt x="651" y="180"/>
                    </a:cubicBezTo>
                    <a:cubicBezTo>
                      <a:pt x="650" y="182"/>
                      <a:pt x="650" y="182"/>
                      <a:pt x="650" y="182"/>
                    </a:cubicBezTo>
                    <a:cubicBezTo>
                      <a:pt x="653" y="180"/>
                      <a:pt x="653" y="180"/>
                      <a:pt x="653" y="180"/>
                    </a:cubicBezTo>
                    <a:cubicBezTo>
                      <a:pt x="656" y="179"/>
                      <a:pt x="656" y="179"/>
                      <a:pt x="656" y="179"/>
                    </a:cubicBezTo>
                    <a:cubicBezTo>
                      <a:pt x="659" y="181"/>
                      <a:pt x="659" y="181"/>
                      <a:pt x="659" y="181"/>
                    </a:cubicBezTo>
                    <a:cubicBezTo>
                      <a:pt x="659" y="182"/>
                      <a:pt x="659" y="182"/>
                      <a:pt x="659" y="182"/>
                    </a:cubicBezTo>
                    <a:cubicBezTo>
                      <a:pt x="658" y="184"/>
                      <a:pt x="658" y="184"/>
                      <a:pt x="658" y="184"/>
                    </a:cubicBezTo>
                    <a:cubicBezTo>
                      <a:pt x="657" y="187"/>
                      <a:pt x="657" y="187"/>
                      <a:pt x="657" y="187"/>
                    </a:cubicBezTo>
                    <a:cubicBezTo>
                      <a:pt x="656" y="187"/>
                      <a:pt x="656" y="187"/>
                      <a:pt x="656" y="187"/>
                    </a:cubicBezTo>
                    <a:cubicBezTo>
                      <a:pt x="655" y="188"/>
                      <a:pt x="655" y="188"/>
                      <a:pt x="655" y="188"/>
                    </a:cubicBezTo>
                    <a:cubicBezTo>
                      <a:pt x="656" y="189"/>
                      <a:pt x="656" y="189"/>
                      <a:pt x="656" y="189"/>
                    </a:cubicBezTo>
                    <a:cubicBezTo>
                      <a:pt x="658" y="189"/>
                      <a:pt x="658" y="189"/>
                      <a:pt x="658" y="189"/>
                    </a:cubicBezTo>
                    <a:cubicBezTo>
                      <a:pt x="657" y="190"/>
                      <a:pt x="657" y="190"/>
                      <a:pt x="657" y="190"/>
                    </a:cubicBezTo>
                    <a:cubicBezTo>
                      <a:pt x="656" y="192"/>
                      <a:pt x="656" y="192"/>
                      <a:pt x="656" y="192"/>
                    </a:cubicBezTo>
                    <a:cubicBezTo>
                      <a:pt x="658" y="192"/>
                      <a:pt x="658" y="192"/>
                      <a:pt x="658" y="192"/>
                    </a:cubicBezTo>
                    <a:cubicBezTo>
                      <a:pt x="658" y="191"/>
                      <a:pt x="658" y="191"/>
                      <a:pt x="658" y="191"/>
                    </a:cubicBezTo>
                    <a:cubicBezTo>
                      <a:pt x="661" y="189"/>
                      <a:pt x="661" y="189"/>
                      <a:pt x="661" y="189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63" y="189"/>
                      <a:pt x="663" y="189"/>
                      <a:pt x="663" y="189"/>
                    </a:cubicBezTo>
                    <a:cubicBezTo>
                      <a:pt x="664" y="189"/>
                      <a:pt x="664" y="189"/>
                      <a:pt x="664" y="189"/>
                    </a:cubicBezTo>
                    <a:cubicBezTo>
                      <a:pt x="663" y="191"/>
                      <a:pt x="663" y="191"/>
                      <a:pt x="663" y="191"/>
                    </a:cubicBezTo>
                    <a:cubicBezTo>
                      <a:pt x="664" y="192"/>
                      <a:pt x="664" y="192"/>
                      <a:pt x="664" y="192"/>
                    </a:cubicBezTo>
                    <a:cubicBezTo>
                      <a:pt x="663" y="196"/>
                      <a:pt x="663" y="196"/>
                      <a:pt x="663" y="196"/>
                    </a:cubicBezTo>
                    <a:cubicBezTo>
                      <a:pt x="661" y="200"/>
                      <a:pt x="661" y="200"/>
                      <a:pt x="661" y="200"/>
                    </a:cubicBezTo>
                    <a:cubicBezTo>
                      <a:pt x="659" y="200"/>
                      <a:pt x="659" y="200"/>
                      <a:pt x="659" y="200"/>
                    </a:cubicBezTo>
                    <a:cubicBezTo>
                      <a:pt x="657" y="201"/>
                      <a:pt x="657" y="201"/>
                      <a:pt x="657" y="201"/>
                    </a:cubicBezTo>
                    <a:cubicBezTo>
                      <a:pt x="656" y="203"/>
                      <a:pt x="656" y="203"/>
                      <a:pt x="656" y="203"/>
                    </a:cubicBezTo>
                    <a:cubicBezTo>
                      <a:pt x="654" y="204"/>
                      <a:pt x="654" y="204"/>
                      <a:pt x="654" y="204"/>
                    </a:cubicBezTo>
                    <a:cubicBezTo>
                      <a:pt x="654" y="204"/>
                      <a:pt x="654" y="204"/>
                      <a:pt x="654" y="204"/>
                    </a:cubicBezTo>
                    <a:cubicBezTo>
                      <a:pt x="654" y="202"/>
                      <a:pt x="654" y="202"/>
                      <a:pt x="654" y="202"/>
                    </a:cubicBezTo>
                    <a:cubicBezTo>
                      <a:pt x="655" y="199"/>
                      <a:pt x="655" y="199"/>
                      <a:pt x="655" y="199"/>
                    </a:cubicBezTo>
                    <a:cubicBezTo>
                      <a:pt x="654" y="199"/>
                      <a:pt x="654" y="199"/>
                      <a:pt x="654" y="199"/>
                    </a:cubicBezTo>
                    <a:cubicBezTo>
                      <a:pt x="653" y="200"/>
                      <a:pt x="653" y="200"/>
                      <a:pt x="653" y="200"/>
                    </a:cubicBezTo>
                    <a:cubicBezTo>
                      <a:pt x="652" y="202"/>
                      <a:pt x="652" y="202"/>
                      <a:pt x="652" y="202"/>
                    </a:cubicBezTo>
                    <a:cubicBezTo>
                      <a:pt x="650" y="203"/>
                      <a:pt x="650" y="203"/>
                      <a:pt x="650" y="203"/>
                    </a:cubicBezTo>
                    <a:cubicBezTo>
                      <a:pt x="647" y="205"/>
                      <a:pt x="647" y="205"/>
                      <a:pt x="647" y="205"/>
                    </a:cubicBezTo>
                    <a:cubicBezTo>
                      <a:pt x="647" y="205"/>
                      <a:pt x="647" y="205"/>
                      <a:pt x="647" y="205"/>
                    </a:cubicBezTo>
                    <a:cubicBezTo>
                      <a:pt x="645" y="205"/>
                      <a:pt x="645" y="205"/>
                      <a:pt x="645" y="205"/>
                    </a:cubicBezTo>
                    <a:cubicBezTo>
                      <a:pt x="642" y="207"/>
                      <a:pt x="642" y="207"/>
                      <a:pt x="642" y="207"/>
                    </a:cubicBezTo>
                    <a:cubicBezTo>
                      <a:pt x="641" y="207"/>
                      <a:pt x="641" y="207"/>
                      <a:pt x="641" y="207"/>
                    </a:cubicBezTo>
                    <a:cubicBezTo>
                      <a:pt x="639" y="207"/>
                      <a:pt x="639" y="207"/>
                      <a:pt x="639" y="207"/>
                    </a:cubicBezTo>
                    <a:cubicBezTo>
                      <a:pt x="637" y="207"/>
                      <a:pt x="637" y="207"/>
                      <a:pt x="637" y="207"/>
                    </a:cubicBezTo>
                    <a:cubicBezTo>
                      <a:pt x="637" y="206"/>
                      <a:pt x="637" y="206"/>
                      <a:pt x="637" y="206"/>
                    </a:cubicBezTo>
                    <a:cubicBezTo>
                      <a:pt x="636" y="205"/>
                      <a:pt x="636" y="205"/>
                      <a:pt x="636" y="205"/>
                    </a:cubicBezTo>
                    <a:cubicBezTo>
                      <a:pt x="637" y="204"/>
                      <a:pt x="637" y="204"/>
                      <a:pt x="637" y="204"/>
                    </a:cubicBezTo>
                    <a:cubicBezTo>
                      <a:pt x="639" y="202"/>
                      <a:pt x="639" y="202"/>
                      <a:pt x="639" y="202"/>
                    </a:cubicBezTo>
                    <a:cubicBezTo>
                      <a:pt x="639" y="201"/>
                      <a:pt x="639" y="201"/>
                      <a:pt x="639" y="201"/>
                    </a:cubicBezTo>
                    <a:cubicBezTo>
                      <a:pt x="637" y="198"/>
                      <a:pt x="637" y="198"/>
                      <a:pt x="637" y="198"/>
                    </a:cubicBezTo>
                    <a:cubicBezTo>
                      <a:pt x="635" y="199"/>
                      <a:pt x="635" y="199"/>
                      <a:pt x="635" y="199"/>
                    </a:cubicBezTo>
                    <a:cubicBezTo>
                      <a:pt x="633" y="198"/>
                      <a:pt x="633" y="198"/>
                      <a:pt x="633" y="198"/>
                    </a:cubicBezTo>
                    <a:cubicBezTo>
                      <a:pt x="632" y="197"/>
                      <a:pt x="632" y="197"/>
                      <a:pt x="632" y="197"/>
                    </a:cubicBezTo>
                    <a:cubicBezTo>
                      <a:pt x="633" y="194"/>
                      <a:pt x="633" y="194"/>
                      <a:pt x="633" y="194"/>
                    </a:cubicBezTo>
                    <a:cubicBezTo>
                      <a:pt x="635" y="194"/>
                      <a:pt x="635" y="194"/>
                      <a:pt x="635" y="194"/>
                    </a:cubicBezTo>
                    <a:cubicBezTo>
                      <a:pt x="634" y="193"/>
                      <a:pt x="634" y="193"/>
                      <a:pt x="634" y="193"/>
                    </a:cubicBezTo>
                    <a:cubicBezTo>
                      <a:pt x="632" y="193"/>
                      <a:pt x="632" y="193"/>
                      <a:pt x="632" y="193"/>
                    </a:cubicBezTo>
                    <a:cubicBezTo>
                      <a:pt x="631" y="190"/>
                      <a:pt x="631" y="190"/>
                      <a:pt x="631" y="190"/>
                    </a:cubicBezTo>
                    <a:cubicBezTo>
                      <a:pt x="632" y="189"/>
                      <a:pt x="632" y="189"/>
                      <a:pt x="632" y="189"/>
                    </a:cubicBezTo>
                    <a:cubicBezTo>
                      <a:pt x="632" y="187"/>
                      <a:pt x="632" y="187"/>
                      <a:pt x="632" y="187"/>
                    </a:cubicBezTo>
                    <a:cubicBezTo>
                      <a:pt x="631" y="185"/>
                      <a:pt x="631" y="185"/>
                      <a:pt x="631" y="185"/>
                    </a:cubicBezTo>
                    <a:cubicBezTo>
                      <a:pt x="631" y="187"/>
                      <a:pt x="631" y="187"/>
                      <a:pt x="631" y="187"/>
                    </a:cubicBezTo>
                    <a:cubicBezTo>
                      <a:pt x="630" y="190"/>
                      <a:pt x="630" y="190"/>
                      <a:pt x="630" y="190"/>
                    </a:cubicBezTo>
                    <a:cubicBezTo>
                      <a:pt x="631" y="193"/>
                      <a:pt x="631" y="193"/>
                      <a:pt x="631" y="193"/>
                    </a:cubicBezTo>
                    <a:cubicBezTo>
                      <a:pt x="631" y="195"/>
                      <a:pt x="631" y="195"/>
                      <a:pt x="631" y="195"/>
                    </a:cubicBezTo>
                    <a:cubicBezTo>
                      <a:pt x="630" y="196"/>
                      <a:pt x="630" y="196"/>
                      <a:pt x="630" y="196"/>
                    </a:cubicBezTo>
                    <a:cubicBezTo>
                      <a:pt x="630" y="198"/>
                      <a:pt x="630" y="198"/>
                      <a:pt x="630" y="198"/>
                    </a:cubicBezTo>
                    <a:cubicBezTo>
                      <a:pt x="629" y="199"/>
                      <a:pt x="629" y="199"/>
                      <a:pt x="629" y="199"/>
                    </a:cubicBezTo>
                    <a:cubicBezTo>
                      <a:pt x="628" y="198"/>
                      <a:pt x="628" y="198"/>
                      <a:pt x="628" y="198"/>
                    </a:cubicBezTo>
                    <a:cubicBezTo>
                      <a:pt x="626" y="199"/>
                      <a:pt x="626" y="199"/>
                      <a:pt x="626" y="199"/>
                    </a:cubicBezTo>
                    <a:cubicBezTo>
                      <a:pt x="625" y="197"/>
                      <a:pt x="625" y="197"/>
                      <a:pt x="625" y="197"/>
                    </a:cubicBezTo>
                    <a:cubicBezTo>
                      <a:pt x="624" y="196"/>
                      <a:pt x="624" y="196"/>
                      <a:pt x="624" y="196"/>
                    </a:cubicBezTo>
                    <a:cubicBezTo>
                      <a:pt x="626" y="192"/>
                      <a:pt x="626" y="192"/>
                      <a:pt x="626" y="192"/>
                    </a:cubicBezTo>
                    <a:cubicBezTo>
                      <a:pt x="625" y="191"/>
                      <a:pt x="625" y="191"/>
                      <a:pt x="625" y="191"/>
                    </a:cubicBezTo>
                    <a:cubicBezTo>
                      <a:pt x="625" y="189"/>
                      <a:pt x="625" y="189"/>
                      <a:pt x="625" y="189"/>
                    </a:cubicBezTo>
                    <a:cubicBezTo>
                      <a:pt x="627" y="187"/>
                      <a:pt x="627" y="187"/>
                      <a:pt x="627" y="187"/>
                    </a:cubicBezTo>
                    <a:cubicBezTo>
                      <a:pt x="625" y="187"/>
                      <a:pt x="625" y="187"/>
                      <a:pt x="625" y="187"/>
                    </a:cubicBezTo>
                    <a:cubicBezTo>
                      <a:pt x="624" y="189"/>
                      <a:pt x="624" y="189"/>
                      <a:pt x="624" y="189"/>
                    </a:cubicBezTo>
                    <a:cubicBezTo>
                      <a:pt x="623" y="191"/>
                      <a:pt x="623" y="191"/>
                      <a:pt x="623" y="191"/>
                    </a:cubicBezTo>
                    <a:cubicBezTo>
                      <a:pt x="624" y="193"/>
                      <a:pt x="624" y="193"/>
                      <a:pt x="624" y="193"/>
                    </a:cubicBezTo>
                    <a:cubicBezTo>
                      <a:pt x="623" y="196"/>
                      <a:pt x="623" y="196"/>
                      <a:pt x="623" y="196"/>
                    </a:cubicBezTo>
                    <a:cubicBezTo>
                      <a:pt x="621" y="197"/>
                      <a:pt x="621" y="197"/>
                      <a:pt x="621" y="197"/>
                    </a:cubicBezTo>
                    <a:cubicBezTo>
                      <a:pt x="619" y="196"/>
                      <a:pt x="619" y="196"/>
                      <a:pt x="619" y="196"/>
                    </a:cubicBezTo>
                    <a:cubicBezTo>
                      <a:pt x="619" y="194"/>
                      <a:pt x="619" y="194"/>
                      <a:pt x="619" y="194"/>
                    </a:cubicBezTo>
                    <a:cubicBezTo>
                      <a:pt x="619" y="193"/>
                      <a:pt x="619" y="193"/>
                      <a:pt x="619" y="193"/>
                    </a:cubicBezTo>
                    <a:cubicBezTo>
                      <a:pt x="619" y="192"/>
                      <a:pt x="619" y="192"/>
                      <a:pt x="619" y="192"/>
                    </a:cubicBezTo>
                    <a:cubicBezTo>
                      <a:pt x="620" y="190"/>
                      <a:pt x="620" y="190"/>
                      <a:pt x="620" y="190"/>
                    </a:cubicBezTo>
                    <a:cubicBezTo>
                      <a:pt x="620" y="189"/>
                      <a:pt x="620" y="189"/>
                      <a:pt x="620" y="189"/>
                    </a:cubicBezTo>
                    <a:cubicBezTo>
                      <a:pt x="619" y="187"/>
                      <a:pt x="619" y="187"/>
                      <a:pt x="619" y="187"/>
                    </a:cubicBezTo>
                    <a:cubicBezTo>
                      <a:pt x="619" y="187"/>
                      <a:pt x="619" y="187"/>
                      <a:pt x="619" y="187"/>
                    </a:cubicBezTo>
                    <a:cubicBezTo>
                      <a:pt x="618" y="188"/>
                      <a:pt x="618" y="188"/>
                      <a:pt x="618" y="188"/>
                    </a:cubicBezTo>
                    <a:cubicBezTo>
                      <a:pt x="618" y="190"/>
                      <a:pt x="618" y="190"/>
                      <a:pt x="618" y="190"/>
                    </a:cubicBezTo>
                    <a:cubicBezTo>
                      <a:pt x="617" y="191"/>
                      <a:pt x="617" y="191"/>
                      <a:pt x="617" y="191"/>
                    </a:cubicBezTo>
                    <a:cubicBezTo>
                      <a:pt x="617" y="192"/>
                      <a:pt x="617" y="192"/>
                      <a:pt x="617" y="192"/>
                    </a:cubicBezTo>
                    <a:cubicBezTo>
                      <a:pt x="616" y="193"/>
                      <a:pt x="616" y="193"/>
                      <a:pt x="616" y="193"/>
                    </a:cubicBezTo>
                    <a:cubicBezTo>
                      <a:pt x="615" y="193"/>
                      <a:pt x="615" y="193"/>
                      <a:pt x="615" y="193"/>
                    </a:cubicBezTo>
                    <a:cubicBezTo>
                      <a:pt x="614" y="194"/>
                      <a:pt x="614" y="194"/>
                      <a:pt x="614" y="194"/>
                    </a:cubicBezTo>
                    <a:cubicBezTo>
                      <a:pt x="613" y="194"/>
                      <a:pt x="613" y="194"/>
                      <a:pt x="613" y="194"/>
                    </a:cubicBezTo>
                    <a:close/>
                    <a:moveTo>
                      <a:pt x="665" y="488"/>
                    </a:moveTo>
                    <a:cubicBezTo>
                      <a:pt x="665" y="491"/>
                      <a:pt x="665" y="491"/>
                      <a:pt x="665" y="491"/>
                    </a:cubicBezTo>
                    <a:cubicBezTo>
                      <a:pt x="665" y="493"/>
                      <a:pt x="665" y="493"/>
                      <a:pt x="665" y="493"/>
                    </a:cubicBezTo>
                    <a:cubicBezTo>
                      <a:pt x="665" y="495"/>
                      <a:pt x="665" y="495"/>
                      <a:pt x="665" y="495"/>
                    </a:cubicBezTo>
                    <a:cubicBezTo>
                      <a:pt x="666" y="494"/>
                      <a:pt x="666" y="494"/>
                      <a:pt x="666" y="494"/>
                    </a:cubicBezTo>
                    <a:cubicBezTo>
                      <a:pt x="666" y="493"/>
                      <a:pt x="666" y="493"/>
                      <a:pt x="666" y="493"/>
                    </a:cubicBezTo>
                    <a:cubicBezTo>
                      <a:pt x="666" y="491"/>
                      <a:pt x="666" y="491"/>
                      <a:pt x="666" y="491"/>
                    </a:cubicBezTo>
                    <a:cubicBezTo>
                      <a:pt x="666" y="489"/>
                      <a:pt x="666" y="489"/>
                      <a:pt x="666" y="489"/>
                    </a:cubicBezTo>
                    <a:cubicBezTo>
                      <a:pt x="665" y="488"/>
                      <a:pt x="665" y="488"/>
                      <a:pt x="665" y="488"/>
                    </a:cubicBezTo>
                    <a:close/>
                    <a:moveTo>
                      <a:pt x="664" y="477"/>
                    </a:moveTo>
                    <a:cubicBezTo>
                      <a:pt x="663" y="476"/>
                      <a:pt x="663" y="476"/>
                      <a:pt x="663" y="476"/>
                    </a:cubicBezTo>
                    <a:cubicBezTo>
                      <a:pt x="664" y="476"/>
                      <a:pt x="664" y="476"/>
                      <a:pt x="664" y="476"/>
                    </a:cubicBezTo>
                    <a:cubicBezTo>
                      <a:pt x="664" y="476"/>
                      <a:pt x="664" y="476"/>
                      <a:pt x="664" y="476"/>
                    </a:cubicBezTo>
                    <a:cubicBezTo>
                      <a:pt x="664" y="478"/>
                      <a:pt x="664" y="478"/>
                      <a:pt x="664" y="478"/>
                    </a:cubicBezTo>
                    <a:cubicBezTo>
                      <a:pt x="664" y="477"/>
                      <a:pt x="664" y="477"/>
                      <a:pt x="664" y="477"/>
                    </a:cubicBezTo>
                    <a:close/>
                    <a:moveTo>
                      <a:pt x="661" y="471"/>
                    </a:moveTo>
                    <a:cubicBezTo>
                      <a:pt x="662" y="469"/>
                      <a:pt x="662" y="469"/>
                      <a:pt x="662" y="469"/>
                    </a:cubicBezTo>
                    <a:cubicBezTo>
                      <a:pt x="663" y="468"/>
                      <a:pt x="663" y="468"/>
                      <a:pt x="663" y="468"/>
                    </a:cubicBezTo>
                    <a:cubicBezTo>
                      <a:pt x="664" y="469"/>
                      <a:pt x="664" y="469"/>
                      <a:pt x="664" y="469"/>
                    </a:cubicBezTo>
                    <a:cubicBezTo>
                      <a:pt x="662" y="471"/>
                      <a:pt x="662" y="471"/>
                      <a:pt x="662" y="471"/>
                    </a:cubicBezTo>
                    <a:cubicBezTo>
                      <a:pt x="662" y="471"/>
                      <a:pt x="662" y="471"/>
                      <a:pt x="662" y="471"/>
                    </a:cubicBezTo>
                    <a:cubicBezTo>
                      <a:pt x="661" y="471"/>
                      <a:pt x="661" y="471"/>
                      <a:pt x="661" y="471"/>
                    </a:cubicBezTo>
                    <a:close/>
                    <a:moveTo>
                      <a:pt x="645" y="323"/>
                    </a:moveTo>
                    <a:cubicBezTo>
                      <a:pt x="645" y="322"/>
                      <a:pt x="645" y="322"/>
                      <a:pt x="645" y="322"/>
                    </a:cubicBezTo>
                    <a:cubicBezTo>
                      <a:pt x="646" y="321"/>
                      <a:pt x="646" y="321"/>
                      <a:pt x="646" y="321"/>
                    </a:cubicBezTo>
                    <a:cubicBezTo>
                      <a:pt x="646" y="323"/>
                      <a:pt x="646" y="323"/>
                      <a:pt x="646" y="323"/>
                    </a:cubicBezTo>
                    <a:cubicBezTo>
                      <a:pt x="645" y="323"/>
                      <a:pt x="645" y="323"/>
                      <a:pt x="645" y="323"/>
                    </a:cubicBezTo>
                    <a:close/>
                    <a:moveTo>
                      <a:pt x="648" y="325"/>
                    </a:moveTo>
                    <a:cubicBezTo>
                      <a:pt x="648" y="324"/>
                      <a:pt x="648" y="324"/>
                      <a:pt x="648" y="324"/>
                    </a:cubicBezTo>
                    <a:cubicBezTo>
                      <a:pt x="648" y="323"/>
                      <a:pt x="648" y="323"/>
                      <a:pt x="648" y="323"/>
                    </a:cubicBezTo>
                    <a:cubicBezTo>
                      <a:pt x="649" y="322"/>
                      <a:pt x="649" y="322"/>
                      <a:pt x="649" y="322"/>
                    </a:cubicBezTo>
                    <a:cubicBezTo>
                      <a:pt x="649" y="323"/>
                      <a:pt x="649" y="323"/>
                      <a:pt x="649" y="323"/>
                    </a:cubicBezTo>
                    <a:cubicBezTo>
                      <a:pt x="649" y="325"/>
                      <a:pt x="649" y="325"/>
                      <a:pt x="649" y="325"/>
                    </a:cubicBezTo>
                    <a:cubicBezTo>
                      <a:pt x="648" y="325"/>
                      <a:pt x="648" y="325"/>
                      <a:pt x="648" y="325"/>
                    </a:cubicBezTo>
                    <a:close/>
                    <a:moveTo>
                      <a:pt x="645" y="330"/>
                    </a:moveTo>
                    <a:cubicBezTo>
                      <a:pt x="644" y="329"/>
                      <a:pt x="644" y="329"/>
                      <a:pt x="644" y="329"/>
                    </a:cubicBezTo>
                    <a:cubicBezTo>
                      <a:pt x="645" y="328"/>
                      <a:pt x="645" y="328"/>
                      <a:pt x="645" y="328"/>
                    </a:cubicBezTo>
                    <a:cubicBezTo>
                      <a:pt x="644" y="326"/>
                      <a:pt x="644" y="326"/>
                      <a:pt x="644" y="326"/>
                    </a:cubicBezTo>
                    <a:cubicBezTo>
                      <a:pt x="645" y="325"/>
                      <a:pt x="645" y="325"/>
                      <a:pt x="645" y="325"/>
                    </a:cubicBezTo>
                    <a:cubicBezTo>
                      <a:pt x="646" y="326"/>
                      <a:pt x="646" y="326"/>
                      <a:pt x="646" y="326"/>
                    </a:cubicBezTo>
                    <a:cubicBezTo>
                      <a:pt x="647" y="326"/>
                      <a:pt x="647" y="326"/>
                      <a:pt x="647" y="326"/>
                    </a:cubicBezTo>
                    <a:cubicBezTo>
                      <a:pt x="648" y="327"/>
                      <a:pt x="648" y="327"/>
                      <a:pt x="648" y="327"/>
                    </a:cubicBezTo>
                    <a:cubicBezTo>
                      <a:pt x="646" y="328"/>
                      <a:pt x="646" y="328"/>
                      <a:pt x="646" y="328"/>
                    </a:cubicBezTo>
                    <a:cubicBezTo>
                      <a:pt x="645" y="330"/>
                      <a:pt x="645" y="330"/>
                      <a:pt x="645" y="330"/>
                    </a:cubicBezTo>
                    <a:cubicBezTo>
                      <a:pt x="645" y="330"/>
                      <a:pt x="645" y="330"/>
                      <a:pt x="645" y="330"/>
                    </a:cubicBezTo>
                    <a:close/>
                    <a:moveTo>
                      <a:pt x="674" y="374"/>
                    </a:moveTo>
                    <a:cubicBezTo>
                      <a:pt x="675" y="373"/>
                      <a:pt x="675" y="373"/>
                      <a:pt x="675" y="373"/>
                    </a:cubicBezTo>
                    <a:cubicBezTo>
                      <a:pt x="677" y="374"/>
                      <a:pt x="677" y="374"/>
                      <a:pt x="677" y="374"/>
                    </a:cubicBezTo>
                    <a:cubicBezTo>
                      <a:pt x="676" y="375"/>
                      <a:pt x="676" y="375"/>
                      <a:pt x="676" y="375"/>
                    </a:cubicBezTo>
                    <a:cubicBezTo>
                      <a:pt x="674" y="375"/>
                      <a:pt x="674" y="375"/>
                      <a:pt x="674" y="375"/>
                    </a:cubicBezTo>
                    <a:cubicBezTo>
                      <a:pt x="674" y="374"/>
                      <a:pt x="674" y="374"/>
                      <a:pt x="674" y="374"/>
                    </a:cubicBezTo>
                    <a:close/>
                    <a:moveTo>
                      <a:pt x="671" y="374"/>
                    </a:moveTo>
                    <a:cubicBezTo>
                      <a:pt x="671" y="372"/>
                      <a:pt x="671" y="372"/>
                      <a:pt x="671" y="372"/>
                    </a:cubicBezTo>
                    <a:cubicBezTo>
                      <a:pt x="673" y="372"/>
                      <a:pt x="673" y="372"/>
                      <a:pt x="673" y="372"/>
                    </a:cubicBezTo>
                    <a:cubicBezTo>
                      <a:pt x="673" y="371"/>
                      <a:pt x="673" y="371"/>
                      <a:pt x="673" y="371"/>
                    </a:cubicBezTo>
                    <a:cubicBezTo>
                      <a:pt x="674" y="372"/>
                      <a:pt x="674" y="372"/>
                      <a:pt x="674" y="372"/>
                    </a:cubicBezTo>
                    <a:cubicBezTo>
                      <a:pt x="672" y="374"/>
                      <a:pt x="672" y="374"/>
                      <a:pt x="672" y="374"/>
                    </a:cubicBezTo>
                    <a:cubicBezTo>
                      <a:pt x="671" y="374"/>
                      <a:pt x="671" y="374"/>
                      <a:pt x="671" y="374"/>
                    </a:cubicBezTo>
                    <a:cubicBezTo>
                      <a:pt x="671" y="374"/>
                      <a:pt x="671" y="374"/>
                      <a:pt x="671" y="374"/>
                    </a:cubicBezTo>
                    <a:close/>
                    <a:moveTo>
                      <a:pt x="665" y="394"/>
                    </a:moveTo>
                    <a:cubicBezTo>
                      <a:pt x="666" y="395"/>
                      <a:pt x="666" y="395"/>
                      <a:pt x="666" y="395"/>
                    </a:cubicBezTo>
                    <a:cubicBezTo>
                      <a:pt x="667" y="394"/>
                      <a:pt x="667" y="394"/>
                      <a:pt x="667" y="394"/>
                    </a:cubicBezTo>
                    <a:cubicBezTo>
                      <a:pt x="666" y="394"/>
                      <a:pt x="666" y="394"/>
                      <a:pt x="666" y="394"/>
                    </a:cubicBezTo>
                    <a:cubicBezTo>
                      <a:pt x="665" y="394"/>
                      <a:pt x="665" y="394"/>
                      <a:pt x="665" y="394"/>
                    </a:cubicBezTo>
                    <a:close/>
                    <a:moveTo>
                      <a:pt x="673" y="403"/>
                    </a:moveTo>
                    <a:cubicBezTo>
                      <a:pt x="675" y="404"/>
                      <a:pt x="675" y="404"/>
                      <a:pt x="675" y="404"/>
                    </a:cubicBezTo>
                    <a:cubicBezTo>
                      <a:pt x="675" y="404"/>
                      <a:pt x="675" y="404"/>
                      <a:pt x="675" y="404"/>
                    </a:cubicBezTo>
                    <a:cubicBezTo>
                      <a:pt x="675" y="402"/>
                      <a:pt x="675" y="402"/>
                      <a:pt x="675" y="402"/>
                    </a:cubicBezTo>
                    <a:cubicBezTo>
                      <a:pt x="674" y="402"/>
                      <a:pt x="674" y="402"/>
                      <a:pt x="674" y="402"/>
                    </a:cubicBezTo>
                    <a:cubicBezTo>
                      <a:pt x="674" y="402"/>
                      <a:pt x="673" y="403"/>
                      <a:pt x="673" y="403"/>
                    </a:cubicBezTo>
                    <a:close/>
                    <a:moveTo>
                      <a:pt x="688" y="418"/>
                    </a:moveTo>
                    <a:cubicBezTo>
                      <a:pt x="687" y="416"/>
                      <a:pt x="687" y="416"/>
                      <a:pt x="687" y="416"/>
                    </a:cubicBezTo>
                    <a:cubicBezTo>
                      <a:pt x="688" y="415"/>
                      <a:pt x="688" y="415"/>
                      <a:pt x="688" y="415"/>
                    </a:cubicBezTo>
                    <a:cubicBezTo>
                      <a:pt x="690" y="416"/>
                      <a:pt x="690" y="416"/>
                      <a:pt x="690" y="416"/>
                    </a:cubicBezTo>
                    <a:cubicBezTo>
                      <a:pt x="690" y="418"/>
                      <a:pt x="690" y="418"/>
                      <a:pt x="690" y="418"/>
                    </a:cubicBezTo>
                    <a:cubicBezTo>
                      <a:pt x="689" y="418"/>
                      <a:pt x="689" y="418"/>
                      <a:pt x="689" y="418"/>
                    </a:cubicBezTo>
                    <a:cubicBezTo>
                      <a:pt x="688" y="418"/>
                      <a:pt x="688" y="418"/>
                      <a:pt x="688" y="418"/>
                    </a:cubicBezTo>
                    <a:close/>
                    <a:moveTo>
                      <a:pt x="695" y="427"/>
                    </a:moveTo>
                    <a:cubicBezTo>
                      <a:pt x="695" y="426"/>
                      <a:pt x="695" y="426"/>
                      <a:pt x="695" y="426"/>
                    </a:cubicBezTo>
                    <a:cubicBezTo>
                      <a:pt x="697" y="425"/>
                      <a:pt x="697" y="425"/>
                      <a:pt x="697" y="425"/>
                    </a:cubicBezTo>
                    <a:cubicBezTo>
                      <a:pt x="698" y="424"/>
                      <a:pt x="698" y="424"/>
                      <a:pt x="698" y="424"/>
                    </a:cubicBezTo>
                    <a:cubicBezTo>
                      <a:pt x="698" y="425"/>
                      <a:pt x="698" y="425"/>
                      <a:pt x="698" y="425"/>
                    </a:cubicBezTo>
                    <a:cubicBezTo>
                      <a:pt x="697" y="427"/>
                      <a:pt x="697" y="427"/>
                      <a:pt x="697" y="427"/>
                    </a:cubicBezTo>
                    <a:cubicBezTo>
                      <a:pt x="696" y="427"/>
                      <a:pt x="696" y="427"/>
                      <a:pt x="696" y="427"/>
                    </a:cubicBezTo>
                    <a:cubicBezTo>
                      <a:pt x="696" y="427"/>
                      <a:pt x="695" y="428"/>
                      <a:pt x="695" y="427"/>
                    </a:cubicBezTo>
                    <a:close/>
                    <a:moveTo>
                      <a:pt x="642" y="216"/>
                    </a:moveTo>
                    <a:cubicBezTo>
                      <a:pt x="642" y="214"/>
                      <a:pt x="642" y="214"/>
                      <a:pt x="642" y="214"/>
                    </a:cubicBezTo>
                    <a:cubicBezTo>
                      <a:pt x="643" y="213"/>
                      <a:pt x="643" y="213"/>
                      <a:pt x="643" y="213"/>
                    </a:cubicBezTo>
                    <a:cubicBezTo>
                      <a:pt x="644" y="211"/>
                      <a:pt x="644" y="211"/>
                      <a:pt x="644" y="211"/>
                    </a:cubicBezTo>
                    <a:cubicBezTo>
                      <a:pt x="648" y="209"/>
                      <a:pt x="648" y="209"/>
                      <a:pt x="648" y="209"/>
                    </a:cubicBezTo>
                    <a:cubicBezTo>
                      <a:pt x="650" y="208"/>
                      <a:pt x="650" y="208"/>
                      <a:pt x="650" y="208"/>
                    </a:cubicBezTo>
                    <a:cubicBezTo>
                      <a:pt x="649" y="210"/>
                      <a:pt x="649" y="210"/>
                      <a:pt x="649" y="210"/>
                    </a:cubicBezTo>
                    <a:cubicBezTo>
                      <a:pt x="646" y="212"/>
                      <a:pt x="646" y="212"/>
                      <a:pt x="646" y="212"/>
                    </a:cubicBezTo>
                    <a:cubicBezTo>
                      <a:pt x="645" y="214"/>
                      <a:pt x="645" y="214"/>
                      <a:pt x="645" y="214"/>
                    </a:cubicBezTo>
                    <a:cubicBezTo>
                      <a:pt x="646" y="215"/>
                      <a:pt x="646" y="215"/>
                      <a:pt x="646" y="215"/>
                    </a:cubicBezTo>
                    <a:cubicBezTo>
                      <a:pt x="646" y="216"/>
                      <a:pt x="646" y="216"/>
                      <a:pt x="646" y="216"/>
                    </a:cubicBezTo>
                    <a:cubicBezTo>
                      <a:pt x="645" y="216"/>
                      <a:pt x="645" y="216"/>
                      <a:pt x="645" y="216"/>
                    </a:cubicBezTo>
                    <a:cubicBezTo>
                      <a:pt x="644" y="215"/>
                      <a:pt x="644" y="215"/>
                      <a:pt x="644" y="215"/>
                    </a:cubicBezTo>
                    <a:cubicBezTo>
                      <a:pt x="643" y="215"/>
                      <a:pt x="643" y="215"/>
                      <a:pt x="643" y="215"/>
                    </a:cubicBezTo>
                    <a:cubicBezTo>
                      <a:pt x="643" y="216"/>
                      <a:pt x="643" y="216"/>
                      <a:pt x="643" y="216"/>
                    </a:cubicBezTo>
                    <a:cubicBezTo>
                      <a:pt x="642" y="216"/>
                      <a:pt x="642" y="216"/>
                      <a:pt x="642" y="216"/>
                    </a:cubicBezTo>
                    <a:close/>
                    <a:moveTo>
                      <a:pt x="632" y="207"/>
                    </a:moveTo>
                    <a:cubicBezTo>
                      <a:pt x="632" y="207"/>
                      <a:pt x="633" y="208"/>
                      <a:pt x="633" y="208"/>
                    </a:cubicBezTo>
                    <a:cubicBezTo>
                      <a:pt x="634" y="208"/>
                      <a:pt x="634" y="208"/>
                      <a:pt x="634" y="208"/>
                    </a:cubicBezTo>
                    <a:cubicBezTo>
                      <a:pt x="635" y="207"/>
                      <a:pt x="635" y="207"/>
                      <a:pt x="635" y="207"/>
                    </a:cubicBezTo>
                    <a:cubicBezTo>
                      <a:pt x="634" y="206"/>
                      <a:pt x="634" y="206"/>
                      <a:pt x="634" y="206"/>
                    </a:cubicBezTo>
                    <a:cubicBezTo>
                      <a:pt x="632" y="207"/>
                      <a:pt x="632" y="207"/>
                      <a:pt x="632" y="207"/>
                    </a:cubicBezTo>
                    <a:close/>
                    <a:moveTo>
                      <a:pt x="580" y="183"/>
                    </a:moveTo>
                    <a:cubicBezTo>
                      <a:pt x="578" y="182"/>
                      <a:pt x="578" y="182"/>
                      <a:pt x="578" y="182"/>
                    </a:cubicBezTo>
                    <a:cubicBezTo>
                      <a:pt x="577" y="180"/>
                      <a:pt x="577" y="180"/>
                      <a:pt x="577" y="180"/>
                    </a:cubicBezTo>
                    <a:cubicBezTo>
                      <a:pt x="578" y="177"/>
                      <a:pt x="578" y="177"/>
                      <a:pt x="578" y="177"/>
                    </a:cubicBezTo>
                    <a:cubicBezTo>
                      <a:pt x="577" y="176"/>
                      <a:pt x="577" y="176"/>
                      <a:pt x="577" y="176"/>
                    </a:cubicBezTo>
                    <a:cubicBezTo>
                      <a:pt x="577" y="173"/>
                      <a:pt x="577" y="173"/>
                      <a:pt x="577" y="173"/>
                    </a:cubicBezTo>
                    <a:cubicBezTo>
                      <a:pt x="577" y="173"/>
                      <a:pt x="577" y="173"/>
                      <a:pt x="577" y="173"/>
                    </a:cubicBezTo>
                    <a:cubicBezTo>
                      <a:pt x="579" y="172"/>
                      <a:pt x="579" y="172"/>
                      <a:pt x="579" y="172"/>
                    </a:cubicBezTo>
                    <a:cubicBezTo>
                      <a:pt x="581" y="173"/>
                      <a:pt x="581" y="173"/>
                      <a:pt x="581" y="173"/>
                    </a:cubicBezTo>
                    <a:cubicBezTo>
                      <a:pt x="582" y="176"/>
                      <a:pt x="582" y="176"/>
                      <a:pt x="582" y="176"/>
                    </a:cubicBezTo>
                    <a:cubicBezTo>
                      <a:pt x="580" y="180"/>
                      <a:pt x="580" y="180"/>
                      <a:pt x="580" y="180"/>
                    </a:cubicBezTo>
                    <a:cubicBezTo>
                      <a:pt x="580" y="181"/>
                      <a:pt x="580" y="181"/>
                      <a:pt x="580" y="181"/>
                    </a:cubicBezTo>
                    <a:cubicBezTo>
                      <a:pt x="581" y="181"/>
                      <a:pt x="581" y="181"/>
                      <a:pt x="581" y="181"/>
                    </a:cubicBezTo>
                    <a:cubicBezTo>
                      <a:pt x="581" y="183"/>
                      <a:pt x="581" y="183"/>
                      <a:pt x="581" y="183"/>
                    </a:cubicBezTo>
                    <a:cubicBezTo>
                      <a:pt x="580" y="183"/>
                      <a:pt x="580" y="183"/>
                      <a:pt x="580" y="183"/>
                    </a:cubicBezTo>
                    <a:close/>
                    <a:moveTo>
                      <a:pt x="579" y="74"/>
                    </a:moveTo>
                    <a:cubicBezTo>
                      <a:pt x="581" y="71"/>
                      <a:pt x="581" y="71"/>
                      <a:pt x="581" y="71"/>
                    </a:cubicBezTo>
                    <a:cubicBezTo>
                      <a:pt x="583" y="69"/>
                      <a:pt x="583" y="69"/>
                      <a:pt x="583" y="69"/>
                    </a:cubicBezTo>
                    <a:cubicBezTo>
                      <a:pt x="583" y="67"/>
                      <a:pt x="583" y="67"/>
                      <a:pt x="583" y="67"/>
                    </a:cubicBezTo>
                    <a:cubicBezTo>
                      <a:pt x="585" y="65"/>
                      <a:pt x="585" y="65"/>
                      <a:pt x="585" y="65"/>
                    </a:cubicBezTo>
                    <a:cubicBezTo>
                      <a:pt x="586" y="63"/>
                      <a:pt x="586" y="63"/>
                      <a:pt x="586" y="63"/>
                    </a:cubicBezTo>
                    <a:cubicBezTo>
                      <a:pt x="586" y="61"/>
                      <a:pt x="586" y="61"/>
                      <a:pt x="586" y="61"/>
                    </a:cubicBezTo>
                    <a:cubicBezTo>
                      <a:pt x="584" y="61"/>
                      <a:pt x="584" y="61"/>
                      <a:pt x="584" y="61"/>
                    </a:cubicBezTo>
                    <a:cubicBezTo>
                      <a:pt x="582" y="61"/>
                      <a:pt x="582" y="61"/>
                      <a:pt x="582" y="61"/>
                    </a:cubicBezTo>
                    <a:cubicBezTo>
                      <a:pt x="583" y="59"/>
                      <a:pt x="583" y="59"/>
                      <a:pt x="583" y="59"/>
                    </a:cubicBezTo>
                    <a:cubicBezTo>
                      <a:pt x="582" y="59"/>
                      <a:pt x="582" y="59"/>
                      <a:pt x="582" y="59"/>
                    </a:cubicBezTo>
                    <a:cubicBezTo>
                      <a:pt x="580" y="61"/>
                      <a:pt x="580" y="61"/>
                      <a:pt x="580" y="61"/>
                    </a:cubicBezTo>
                    <a:cubicBezTo>
                      <a:pt x="577" y="62"/>
                      <a:pt x="577" y="62"/>
                      <a:pt x="577" y="62"/>
                    </a:cubicBezTo>
                    <a:cubicBezTo>
                      <a:pt x="577" y="63"/>
                      <a:pt x="577" y="63"/>
                      <a:pt x="577" y="63"/>
                    </a:cubicBezTo>
                    <a:cubicBezTo>
                      <a:pt x="576" y="64"/>
                      <a:pt x="576" y="64"/>
                      <a:pt x="576" y="64"/>
                    </a:cubicBezTo>
                    <a:cubicBezTo>
                      <a:pt x="576" y="66"/>
                      <a:pt x="576" y="66"/>
                      <a:pt x="576" y="66"/>
                    </a:cubicBezTo>
                    <a:cubicBezTo>
                      <a:pt x="578" y="67"/>
                      <a:pt x="578" y="67"/>
                      <a:pt x="578" y="67"/>
                    </a:cubicBezTo>
                    <a:cubicBezTo>
                      <a:pt x="580" y="66"/>
                      <a:pt x="580" y="66"/>
                      <a:pt x="580" y="66"/>
                    </a:cubicBezTo>
                    <a:cubicBezTo>
                      <a:pt x="580" y="68"/>
                      <a:pt x="580" y="68"/>
                      <a:pt x="580" y="68"/>
                    </a:cubicBezTo>
                    <a:cubicBezTo>
                      <a:pt x="578" y="70"/>
                      <a:pt x="578" y="70"/>
                      <a:pt x="578" y="70"/>
                    </a:cubicBezTo>
                    <a:cubicBezTo>
                      <a:pt x="578" y="71"/>
                      <a:pt x="578" y="71"/>
                      <a:pt x="578" y="71"/>
                    </a:cubicBezTo>
                    <a:cubicBezTo>
                      <a:pt x="579" y="72"/>
                      <a:pt x="579" y="72"/>
                      <a:pt x="579" y="72"/>
                    </a:cubicBezTo>
                    <a:cubicBezTo>
                      <a:pt x="579" y="74"/>
                      <a:pt x="579" y="74"/>
                      <a:pt x="579" y="74"/>
                    </a:cubicBezTo>
                    <a:close/>
                    <a:moveTo>
                      <a:pt x="554" y="133"/>
                    </a:moveTo>
                    <a:cubicBezTo>
                      <a:pt x="554" y="131"/>
                      <a:pt x="554" y="131"/>
                      <a:pt x="554" y="131"/>
                    </a:cubicBezTo>
                    <a:cubicBezTo>
                      <a:pt x="555" y="129"/>
                      <a:pt x="555" y="129"/>
                      <a:pt x="555" y="129"/>
                    </a:cubicBezTo>
                    <a:cubicBezTo>
                      <a:pt x="555" y="128"/>
                      <a:pt x="555" y="128"/>
                      <a:pt x="555" y="128"/>
                    </a:cubicBezTo>
                    <a:cubicBezTo>
                      <a:pt x="554" y="126"/>
                      <a:pt x="554" y="126"/>
                      <a:pt x="554" y="126"/>
                    </a:cubicBezTo>
                    <a:cubicBezTo>
                      <a:pt x="553" y="125"/>
                      <a:pt x="553" y="125"/>
                      <a:pt x="553" y="125"/>
                    </a:cubicBezTo>
                    <a:cubicBezTo>
                      <a:pt x="553" y="123"/>
                      <a:pt x="553" y="123"/>
                      <a:pt x="553" y="123"/>
                    </a:cubicBezTo>
                    <a:cubicBezTo>
                      <a:pt x="554" y="122"/>
                      <a:pt x="554" y="122"/>
                      <a:pt x="554" y="122"/>
                    </a:cubicBezTo>
                    <a:cubicBezTo>
                      <a:pt x="556" y="122"/>
                      <a:pt x="556" y="122"/>
                      <a:pt x="556" y="122"/>
                    </a:cubicBezTo>
                    <a:cubicBezTo>
                      <a:pt x="558" y="124"/>
                      <a:pt x="558" y="124"/>
                      <a:pt x="558" y="124"/>
                    </a:cubicBezTo>
                    <a:cubicBezTo>
                      <a:pt x="559" y="124"/>
                      <a:pt x="559" y="124"/>
                      <a:pt x="559" y="124"/>
                    </a:cubicBezTo>
                    <a:cubicBezTo>
                      <a:pt x="559" y="122"/>
                      <a:pt x="559" y="122"/>
                      <a:pt x="559" y="122"/>
                    </a:cubicBezTo>
                    <a:cubicBezTo>
                      <a:pt x="557" y="119"/>
                      <a:pt x="557" y="119"/>
                      <a:pt x="557" y="119"/>
                    </a:cubicBezTo>
                    <a:cubicBezTo>
                      <a:pt x="555" y="118"/>
                      <a:pt x="555" y="118"/>
                      <a:pt x="555" y="118"/>
                    </a:cubicBezTo>
                    <a:cubicBezTo>
                      <a:pt x="555" y="117"/>
                      <a:pt x="555" y="117"/>
                      <a:pt x="555" y="117"/>
                    </a:cubicBezTo>
                    <a:cubicBezTo>
                      <a:pt x="557" y="117"/>
                      <a:pt x="557" y="117"/>
                      <a:pt x="557" y="117"/>
                    </a:cubicBezTo>
                    <a:cubicBezTo>
                      <a:pt x="556" y="115"/>
                      <a:pt x="556" y="115"/>
                      <a:pt x="556" y="115"/>
                    </a:cubicBezTo>
                    <a:cubicBezTo>
                      <a:pt x="557" y="113"/>
                      <a:pt x="557" y="113"/>
                      <a:pt x="557" y="113"/>
                    </a:cubicBezTo>
                    <a:cubicBezTo>
                      <a:pt x="557" y="110"/>
                      <a:pt x="557" y="110"/>
                      <a:pt x="557" y="110"/>
                    </a:cubicBezTo>
                    <a:cubicBezTo>
                      <a:pt x="558" y="108"/>
                      <a:pt x="558" y="108"/>
                      <a:pt x="558" y="108"/>
                    </a:cubicBezTo>
                    <a:cubicBezTo>
                      <a:pt x="559" y="108"/>
                      <a:pt x="559" y="108"/>
                      <a:pt x="559" y="108"/>
                    </a:cubicBezTo>
                    <a:cubicBezTo>
                      <a:pt x="561" y="107"/>
                      <a:pt x="561" y="107"/>
                      <a:pt x="561" y="107"/>
                    </a:cubicBezTo>
                    <a:cubicBezTo>
                      <a:pt x="561" y="104"/>
                      <a:pt x="561" y="104"/>
                      <a:pt x="561" y="104"/>
                    </a:cubicBezTo>
                    <a:cubicBezTo>
                      <a:pt x="562" y="103"/>
                      <a:pt x="562" y="103"/>
                      <a:pt x="562" y="103"/>
                    </a:cubicBezTo>
                    <a:cubicBezTo>
                      <a:pt x="564" y="100"/>
                      <a:pt x="564" y="100"/>
                      <a:pt x="564" y="100"/>
                    </a:cubicBezTo>
                    <a:cubicBezTo>
                      <a:pt x="566" y="101"/>
                      <a:pt x="566" y="101"/>
                      <a:pt x="566" y="101"/>
                    </a:cubicBezTo>
                    <a:cubicBezTo>
                      <a:pt x="569" y="104"/>
                      <a:pt x="569" y="104"/>
                      <a:pt x="569" y="104"/>
                    </a:cubicBezTo>
                    <a:cubicBezTo>
                      <a:pt x="570" y="106"/>
                      <a:pt x="570" y="106"/>
                      <a:pt x="570" y="106"/>
                    </a:cubicBezTo>
                    <a:cubicBezTo>
                      <a:pt x="569" y="107"/>
                      <a:pt x="569" y="107"/>
                      <a:pt x="569" y="107"/>
                    </a:cubicBezTo>
                    <a:cubicBezTo>
                      <a:pt x="570" y="109"/>
                      <a:pt x="570" y="109"/>
                      <a:pt x="570" y="109"/>
                    </a:cubicBezTo>
                    <a:cubicBezTo>
                      <a:pt x="571" y="109"/>
                      <a:pt x="571" y="109"/>
                      <a:pt x="571" y="109"/>
                    </a:cubicBezTo>
                    <a:cubicBezTo>
                      <a:pt x="571" y="111"/>
                      <a:pt x="571" y="111"/>
                      <a:pt x="571" y="111"/>
                    </a:cubicBezTo>
                    <a:cubicBezTo>
                      <a:pt x="572" y="112"/>
                      <a:pt x="572" y="112"/>
                      <a:pt x="572" y="112"/>
                    </a:cubicBezTo>
                    <a:cubicBezTo>
                      <a:pt x="572" y="113"/>
                      <a:pt x="572" y="113"/>
                      <a:pt x="572" y="113"/>
                    </a:cubicBezTo>
                    <a:cubicBezTo>
                      <a:pt x="573" y="115"/>
                      <a:pt x="573" y="115"/>
                      <a:pt x="573" y="115"/>
                    </a:cubicBezTo>
                    <a:cubicBezTo>
                      <a:pt x="575" y="115"/>
                      <a:pt x="575" y="115"/>
                      <a:pt x="575" y="115"/>
                    </a:cubicBezTo>
                    <a:cubicBezTo>
                      <a:pt x="575" y="116"/>
                      <a:pt x="575" y="116"/>
                      <a:pt x="575" y="116"/>
                    </a:cubicBezTo>
                    <a:cubicBezTo>
                      <a:pt x="576" y="118"/>
                      <a:pt x="576" y="118"/>
                      <a:pt x="576" y="118"/>
                    </a:cubicBezTo>
                    <a:cubicBezTo>
                      <a:pt x="577" y="122"/>
                      <a:pt x="577" y="122"/>
                      <a:pt x="577" y="122"/>
                    </a:cubicBezTo>
                    <a:cubicBezTo>
                      <a:pt x="575" y="123"/>
                      <a:pt x="575" y="123"/>
                      <a:pt x="575" y="123"/>
                    </a:cubicBezTo>
                    <a:cubicBezTo>
                      <a:pt x="574" y="124"/>
                      <a:pt x="574" y="124"/>
                      <a:pt x="574" y="124"/>
                    </a:cubicBezTo>
                    <a:cubicBezTo>
                      <a:pt x="572" y="124"/>
                      <a:pt x="572" y="124"/>
                      <a:pt x="572" y="124"/>
                    </a:cubicBezTo>
                    <a:cubicBezTo>
                      <a:pt x="571" y="125"/>
                      <a:pt x="571" y="125"/>
                      <a:pt x="571" y="125"/>
                    </a:cubicBezTo>
                    <a:cubicBezTo>
                      <a:pt x="572" y="126"/>
                      <a:pt x="572" y="126"/>
                      <a:pt x="572" y="126"/>
                    </a:cubicBezTo>
                    <a:cubicBezTo>
                      <a:pt x="573" y="126"/>
                      <a:pt x="573" y="126"/>
                      <a:pt x="573" y="126"/>
                    </a:cubicBezTo>
                    <a:cubicBezTo>
                      <a:pt x="573" y="129"/>
                      <a:pt x="573" y="129"/>
                      <a:pt x="573" y="129"/>
                    </a:cubicBezTo>
                    <a:cubicBezTo>
                      <a:pt x="573" y="131"/>
                      <a:pt x="573" y="131"/>
                      <a:pt x="573" y="131"/>
                    </a:cubicBezTo>
                    <a:cubicBezTo>
                      <a:pt x="570" y="133"/>
                      <a:pt x="570" y="133"/>
                      <a:pt x="570" y="133"/>
                    </a:cubicBezTo>
                    <a:cubicBezTo>
                      <a:pt x="569" y="134"/>
                      <a:pt x="569" y="134"/>
                      <a:pt x="569" y="134"/>
                    </a:cubicBezTo>
                    <a:cubicBezTo>
                      <a:pt x="567" y="134"/>
                      <a:pt x="567" y="134"/>
                      <a:pt x="567" y="134"/>
                    </a:cubicBezTo>
                    <a:cubicBezTo>
                      <a:pt x="567" y="132"/>
                      <a:pt x="567" y="132"/>
                      <a:pt x="567" y="132"/>
                    </a:cubicBezTo>
                    <a:cubicBezTo>
                      <a:pt x="566" y="131"/>
                      <a:pt x="566" y="131"/>
                      <a:pt x="566" y="131"/>
                    </a:cubicBezTo>
                    <a:cubicBezTo>
                      <a:pt x="564" y="133"/>
                      <a:pt x="564" y="133"/>
                      <a:pt x="564" y="133"/>
                    </a:cubicBezTo>
                    <a:cubicBezTo>
                      <a:pt x="563" y="132"/>
                      <a:pt x="563" y="132"/>
                      <a:pt x="563" y="132"/>
                    </a:cubicBezTo>
                    <a:cubicBezTo>
                      <a:pt x="560" y="133"/>
                      <a:pt x="560" y="133"/>
                      <a:pt x="560" y="133"/>
                    </a:cubicBezTo>
                    <a:cubicBezTo>
                      <a:pt x="559" y="133"/>
                      <a:pt x="559" y="133"/>
                      <a:pt x="559" y="133"/>
                    </a:cubicBezTo>
                    <a:cubicBezTo>
                      <a:pt x="558" y="131"/>
                      <a:pt x="558" y="131"/>
                      <a:pt x="558" y="131"/>
                    </a:cubicBezTo>
                    <a:cubicBezTo>
                      <a:pt x="557" y="131"/>
                      <a:pt x="557" y="131"/>
                      <a:pt x="557" y="131"/>
                    </a:cubicBezTo>
                    <a:cubicBezTo>
                      <a:pt x="556" y="132"/>
                      <a:pt x="556" y="132"/>
                      <a:pt x="556" y="132"/>
                    </a:cubicBezTo>
                    <a:cubicBezTo>
                      <a:pt x="554" y="133"/>
                      <a:pt x="554" y="133"/>
                      <a:pt x="554" y="133"/>
                    </a:cubicBezTo>
                    <a:close/>
                    <a:moveTo>
                      <a:pt x="577" y="130"/>
                    </a:moveTo>
                    <a:cubicBezTo>
                      <a:pt x="577" y="130"/>
                      <a:pt x="577" y="130"/>
                      <a:pt x="577" y="130"/>
                    </a:cubicBezTo>
                    <a:cubicBezTo>
                      <a:pt x="578" y="128"/>
                      <a:pt x="578" y="128"/>
                      <a:pt x="578" y="128"/>
                    </a:cubicBezTo>
                    <a:cubicBezTo>
                      <a:pt x="578" y="125"/>
                      <a:pt x="578" y="125"/>
                      <a:pt x="578" y="125"/>
                    </a:cubicBezTo>
                    <a:cubicBezTo>
                      <a:pt x="576" y="125"/>
                      <a:pt x="576" y="125"/>
                      <a:pt x="576" y="125"/>
                    </a:cubicBezTo>
                    <a:cubicBezTo>
                      <a:pt x="576" y="126"/>
                      <a:pt x="576" y="126"/>
                      <a:pt x="576" y="126"/>
                    </a:cubicBezTo>
                    <a:cubicBezTo>
                      <a:pt x="576" y="128"/>
                      <a:pt x="576" y="128"/>
                      <a:pt x="576" y="128"/>
                    </a:cubicBezTo>
                    <a:cubicBezTo>
                      <a:pt x="577" y="130"/>
                      <a:pt x="577" y="130"/>
                      <a:pt x="577" y="130"/>
                    </a:cubicBezTo>
                    <a:close/>
                    <a:moveTo>
                      <a:pt x="584" y="160"/>
                    </a:moveTo>
                    <a:cubicBezTo>
                      <a:pt x="584" y="161"/>
                      <a:pt x="584" y="161"/>
                      <a:pt x="584" y="161"/>
                    </a:cubicBezTo>
                    <a:cubicBezTo>
                      <a:pt x="585" y="163"/>
                      <a:pt x="585" y="163"/>
                      <a:pt x="585" y="163"/>
                    </a:cubicBezTo>
                    <a:cubicBezTo>
                      <a:pt x="587" y="163"/>
                      <a:pt x="587" y="163"/>
                      <a:pt x="587" y="163"/>
                    </a:cubicBezTo>
                    <a:cubicBezTo>
                      <a:pt x="590" y="162"/>
                      <a:pt x="590" y="162"/>
                      <a:pt x="590" y="162"/>
                    </a:cubicBezTo>
                    <a:cubicBezTo>
                      <a:pt x="591" y="159"/>
                      <a:pt x="591" y="159"/>
                      <a:pt x="591" y="159"/>
                    </a:cubicBezTo>
                    <a:cubicBezTo>
                      <a:pt x="592" y="157"/>
                      <a:pt x="592" y="157"/>
                      <a:pt x="592" y="157"/>
                    </a:cubicBezTo>
                    <a:cubicBezTo>
                      <a:pt x="591" y="157"/>
                      <a:pt x="591" y="157"/>
                      <a:pt x="591" y="157"/>
                    </a:cubicBezTo>
                    <a:cubicBezTo>
                      <a:pt x="591" y="156"/>
                      <a:pt x="591" y="156"/>
                      <a:pt x="591" y="156"/>
                    </a:cubicBezTo>
                    <a:cubicBezTo>
                      <a:pt x="590" y="154"/>
                      <a:pt x="590" y="154"/>
                      <a:pt x="590" y="154"/>
                    </a:cubicBezTo>
                    <a:cubicBezTo>
                      <a:pt x="589" y="154"/>
                      <a:pt x="589" y="154"/>
                      <a:pt x="589" y="154"/>
                    </a:cubicBezTo>
                    <a:cubicBezTo>
                      <a:pt x="588" y="152"/>
                      <a:pt x="588" y="152"/>
                      <a:pt x="588" y="152"/>
                    </a:cubicBezTo>
                    <a:cubicBezTo>
                      <a:pt x="586" y="152"/>
                      <a:pt x="586" y="152"/>
                      <a:pt x="586" y="152"/>
                    </a:cubicBezTo>
                    <a:cubicBezTo>
                      <a:pt x="584" y="154"/>
                      <a:pt x="584" y="154"/>
                      <a:pt x="584" y="154"/>
                    </a:cubicBezTo>
                    <a:cubicBezTo>
                      <a:pt x="584" y="156"/>
                      <a:pt x="584" y="156"/>
                      <a:pt x="584" y="156"/>
                    </a:cubicBezTo>
                    <a:cubicBezTo>
                      <a:pt x="583" y="158"/>
                      <a:pt x="583" y="158"/>
                      <a:pt x="583" y="158"/>
                    </a:cubicBezTo>
                    <a:cubicBezTo>
                      <a:pt x="584" y="160"/>
                      <a:pt x="584" y="160"/>
                      <a:pt x="584" y="160"/>
                    </a:cubicBezTo>
                    <a:close/>
                    <a:moveTo>
                      <a:pt x="581" y="161"/>
                    </a:moveTo>
                    <a:cubicBezTo>
                      <a:pt x="581" y="162"/>
                      <a:pt x="581" y="162"/>
                      <a:pt x="581" y="162"/>
                    </a:cubicBezTo>
                    <a:cubicBezTo>
                      <a:pt x="581" y="163"/>
                      <a:pt x="581" y="163"/>
                      <a:pt x="581" y="163"/>
                    </a:cubicBezTo>
                    <a:cubicBezTo>
                      <a:pt x="582" y="164"/>
                      <a:pt x="582" y="164"/>
                      <a:pt x="582" y="164"/>
                    </a:cubicBezTo>
                    <a:cubicBezTo>
                      <a:pt x="583" y="163"/>
                      <a:pt x="583" y="163"/>
                      <a:pt x="583" y="163"/>
                    </a:cubicBezTo>
                    <a:cubicBezTo>
                      <a:pt x="583" y="162"/>
                      <a:pt x="583" y="162"/>
                      <a:pt x="583" y="162"/>
                    </a:cubicBezTo>
                    <a:cubicBezTo>
                      <a:pt x="582" y="162"/>
                      <a:pt x="582" y="162"/>
                      <a:pt x="582" y="162"/>
                    </a:cubicBezTo>
                    <a:cubicBezTo>
                      <a:pt x="582" y="160"/>
                      <a:pt x="582" y="160"/>
                      <a:pt x="582" y="160"/>
                    </a:cubicBezTo>
                    <a:cubicBezTo>
                      <a:pt x="581" y="161"/>
                      <a:pt x="581" y="161"/>
                      <a:pt x="581" y="161"/>
                    </a:cubicBezTo>
                    <a:close/>
                    <a:moveTo>
                      <a:pt x="553" y="145"/>
                    </a:moveTo>
                    <a:cubicBezTo>
                      <a:pt x="553" y="142"/>
                      <a:pt x="553" y="142"/>
                      <a:pt x="553" y="142"/>
                    </a:cubicBezTo>
                    <a:cubicBezTo>
                      <a:pt x="554" y="139"/>
                      <a:pt x="554" y="139"/>
                      <a:pt x="554" y="139"/>
                    </a:cubicBezTo>
                    <a:cubicBezTo>
                      <a:pt x="555" y="138"/>
                      <a:pt x="555" y="138"/>
                      <a:pt x="555" y="138"/>
                    </a:cubicBezTo>
                    <a:cubicBezTo>
                      <a:pt x="557" y="138"/>
                      <a:pt x="557" y="138"/>
                      <a:pt x="557" y="138"/>
                    </a:cubicBezTo>
                    <a:cubicBezTo>
                      <a:pt x="558" y="137"/>
                      <a:pt x="558" y="137"/>
                      <a:pt x="558" y="137"/>
                    </a:cubicBezTo>
                    <a:cubicBezTo>
                      <a:pt x="560" y="138"/>
                      <a:pt x="560" y="138"/>
                      <a:pt x="560" y="138"/>
                    </a:cubicBezTo>
                    <a:cubicBezTo>
                      <a:pt x="561" y="138"/>
                      <a:pt x="561" y="138"/>
                      <a:pt x="561" y="138"/>
                    </a:cubicBezTo>
                    <a:cubicBezTo>
                      <a:pt x="562" y="138"/>
                      <a:pt x="562" y="138"/>
                      <a:pt x="562" y="138"/>
                    </a:cubicBezTo>
                    <a:cubicBezTo>
                      <a:pt x="563" y="139"/>
                      <a:pt x="563" y="139"/>
                      <a:pt x="563" y="139"/>
                    </a:cubicBezTo>
                    <a:cubicBezTo>
                      <a:pt x="564" y="139"/>
                      <a:pt x="564" y="139"/>
                      <a:pt x="564" y="139"/>
                    </a:cubicBezTo>
                    <a:cubicBezTo>
                      <a:pt x="565" y="139"/>
                      <a:pt x="565" y="139"/>
                      <a:pt x="565" y="139"/>
                    </a:cubicBezTo>
                    <a:cubicBezTo>
                      <a:pt x="566" y="139"/>
                      <a:pt x="566" y="139"/>
                      <a:pt x="566" y="139"/>
                    </a:cubicBezTo>
                    <a:cubicBezTo>
                      <a:pt x="568" y="140"/>
                      <a:pt x="568" y="140"/>
                      <a:pt x="568" y="140"/>
                    </a:cubicBezTo>
                    <a:cubicBezTo>
                      <a:pt x="570" y="142"/>
                      <a:pt x="570" y="142"/>
                      <a:pt x="570" y="142"/>
                    </a:cubicBezTo>
                    <a:cubicBezTo>
                      <a:pt x="571" y="143"/>
                      <a:pt x="571" y="143"/>
                      <a:pt x="571" y="143"/>
                    </a:cubicBezTo>
                    <a:cubicBezTo>
                      <a:pt x="570" y="144"/>
                      <a:pt x="570" y="144"/>
                      <a:pt x="570" y="144"/>
                    </a:cubicBezTo>
                    <a:cubicBezTo>
                      <a:pt x="571" y="145"/>
                      <a:pt x="571" y="145"/>
                      <a:pt x="571" y="145"/>
                    </a:cubicBezTo>
                    <a:cubicBezTo>
                      <a:pt x="572" y="145"/>
                      <a:pt x="572" y="145"/>
                      <a:pt x="572" y="145"/>
                    </a:cubicBezTo>
                    <a:cubicBezTo>
                      <a:pt x="574" y="144"/>
                      <a:pt x="574" y="144"/>
                      <a:pt x="574" y="144"/>
                    </a:cubicBezTo>
                    <a:cubicBezTo>
                      <a:pt x="575" y="145"/>
                      <a:pt x="575" y="145"/>
                      <a:pt x="575" y="145"/>
                    </a:cubicBezTo>
                    <a:cubicBezTo>
                      <a:pt x="576" y="146"/>
                      <a:pt x="576" y="146"/>
                      <a:pt x="576" y="146"/>
                    </a:cubicBezTo>
                    <a:cubicBezTo>
                      <a:pt x="576" y="148"/>
                      <a:pt x="576" y="148"/>
                      <a:pt x="576" y="148"/>
                    </a:cubicBezTo>
                    <a:cubicBezTo>
                      <a:pt x="576" y="149"/>
                      <a:pt x="576" y="149"/>
                      <a:pt x="576" y="149"/>
                    </a:cubicBezTo>
                    <a:cubicBezTo>
                      <a:pt x="575" y="149"/>
                      <a:pt x="575" y="149"/>
                      <a:pt x="575" y="149"/>
                    </a:cubicBezTo>
                    <a:cubicBezTo>
                      <a:pt x="573" y="149"/>
                      <a:pt x="573" y="149"/>
                      <a:pt x="573" y="149"/>
                    </a:cubicBezTo>
                    <a:cubicBezTo>
                      <a:pt x="571" y="151"/>
                      <a:pt x="571" y="151"/>
                      <a:pt x="571" y="151"/>
                    </a:cubicBezTo>
                    <a:cubicBezTo>
                      <a:pt x="569" y="151"/>
                      <a:pt x="569" y="151"/>
                      <a:pt x="569" y="151"/>
                    </a:cubicBezTo>
                    <a:cubicBezTo>
                      <a:pt x="567" y="150"/>
                      <a:pt x="567" y="150"/>
                      <a:pt x="567" y="150"/>
                    </a:cubicBezTo>
                    <a:cubicBezTo>
                      <a:pt x="564" y="150"/>
                      <a:pt x="564" y="150"/>
                      <a:pt x="564" y="150"/>
                    </a:cubicBezTo>
                    <a:cubicBezTo>
                      <a:pt x="561" y="148"/>
                      <a:pt x="561" y="148"/>
                      <a:pt x="561" y="148"/>
                    </a:cubicBezTo>
                    <a:cubicBezTo>
                      <a:pt x="559" y="148"/>
                      <a:pt x="559" y="148"/>
                      <a:pt x="559" y="148"/>
                    </a:cubicBezTo>
                    <a:cubicBezTo>
                      <a:pt x="557" y="147"/>
                      <a:pt x="557" y="147"/>
                      <a:pt x="557" y="147"/>
                    </a:cubicBezTo>
                    <a:cubicBezTo>
                      <a:pt x="556" y="145"/>
                      <a:pt x="556" y="145"/>
                      <a:pt x="556" y="145"/>
                    </a:cubicBezTo>
                    <a:cubicBezTo>
                      <a:pt x="554" y="145"/>
                      <a:pt x="554" y="145"/>
                      <a:pt x="554" y="145"/>
                    </a:cubicBezTo>
                    <a:cubicBezTo>
                      <a:pt x="553" y="145"/>
                      <a:pt x="553" y="145"/>
                      <a:pt x="553" y="145"/>
                    </a:cubicBezTo>
                    <a:close/>
                    <a:moveTo>
                      <a:pt x="529" y="112"/>
                    </a:moveTo>
                    <a:cubicBezTo>
                      <a:pt x="530" y="112"/>
                      <a:pt x="530" y="112"/>
                      <a:pt x="530" y="112"/>
                    </a:cubicBezTo>
                    <a:cubicBezTo>
                      <a:pt x="531" y="111"/>
                      <a:pt x="531" y="111"/>
                      <a:pt x="531" y="111"/>
                    </a:cubicBezTo>
                    <a:cubicBezTo>
                      <a:pt x="531" y="111"/>
                      <a:pt x="531" y="111"/>
                      <a:pt x="531" y="111"/>
                    </a:cubicBezTo>
                    <a:cubicBezTo>
                      <a:pt x="531" y="113"/>
                      <a:pt x="531" y="113"/>
                      <a:pt x="531" y="113"/>
                    </a:cubicBezTo>
                    <a:cubicBezTo>
                      <a:pt x="530" y="113"/>
                      <a:pt x="530" y="113"/>
                      <a:pt x="530" y="113"/>
                    </a:cubicBezTo>
                    <a:cubicBezTo>
                      <a:pt x="529" y="112"/>
                      <a:pt x="529" y="112"/>
                      <a:pt x="529" y="112"/>
                    </a:cubicBezTo>
                    <a:close/>
                    <a:moveTo>
                      <a:pt x="531" y="124"/>
                    </a:moveTo>
                    <a:cubicBezTo>
                      <a:pt x="532" y="127"/>
                      <a:pt x="532" y="127"/>
                      <a:pt x="532" y="127"/>
                    </a:cubicBezTo>
                    <a:cubicBezTo>
                      <a:pt x="533" y="128"/>
                      <a:pt x="533" y="128"/>
                      <a:pt x="533" y="128"/>
                    </a:cubicBezTo>
                    <a:cubicBezTo>
                      <a:pt x="534" y="128"/>
                      <a:pt x="534" y="128"/>
                      <a:pt x="534" y="128"/>
                    </a:cubicBezTo>
                    <a:cubicBezTo>
                      <a:pt x="536" y="128"/>
                      <a:pt x="536" y="128"/>
                      <a:pt x="536" y="128"/>
                    </a:cubicBezTo>
                    <a:cubicBezTo>
                      <a:pt x="537" y="129"/>
                      <a:pt x="537" y="129"/>
                      <a:pt x="537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41" y="127"/>
                      <a:pt x="541" y="127"/>
                      <a:pt x="541" y="127"/>
                    </a:cubicBezTo>
                    <a:cubicBezTo>
                      <a:pt x="541" y="126"/>
                      <a:pt x="541" y="126"/>
                      <a:pt x="541" y="126"/>
                    </a:cubicBezTo>
                    <a:cubicBezTo>
                      <a:pt x="542" y="125"/>
                      <a:pt x="542" y="125"/>
                      <a:pt x="542" y="125"/>
                    </a:cubicBezTo>
                    <a:cubicBezTo>
                      <a:pt x="544" y="123"/>
                      <a:pt x="544" y="123"/>
                      <a:pt x="544" y="123"/>
                    </a:cubicBezTo>
                    <a:cubicBezTo>
                      <a:pt x="544" y="120"/>
                      <a:pt x="544" y="120"/>
                      <a:pt x="544" y="120"/>
                    </a:cubicBezTo>
                    <a:cubicBezTo>
                      <a:pt x="545" y="117"/>
                      <a:pt x="545" y="117"/>
                      <a:pt x="545" y="117"/>
                    </a:cubicBezTo>
                    <a:cubicBezTo>
                      <a:pt x="546" y="115"/>
                      <a:pt x="546" y="115"/>
                      <a:pt x="546" y="115"/>
                    </a:cubicBezTo>
                    <a:cubicBezTo>
                      <a:pt x="545" y="114"/>
                      <a:pt x="545" y="114"/>
                      <a:pt x="545" y="114"/>
                    </a:cubicBezTo>
                    <a:cubicBezTo>
                      <a:pt x="545" y="113"/>
                      <a:pt x="545" y="113"/>
                      <a:pt x="545" y="113"/>
                    </a:cubicBezTo>
                    <a:cubicBezTo>
                      <a:pt x="546" y="112"/>
                      <a:pt x="546" y="112"/>
                      <a:pt x="546" y="112"/>
                    </a:cubicBezTo>
                    <a:cubicBezTo>
                      <a:pt x="548" y="109"/>
                      <a:pt x="548" y="109"/>
                      <a:pt x="548" y="109"/>
                    </a:cubicBezTo>
                    <a:cubicBezTo>
                      <a:pt x="549" y="109"/>
                      <a:pt x="549" y="109"/>
                      <a:pt x="549" y="109"/>
                    </a:cubicBezTo>
                    <a:cubicBezTo>
                      <a:pt x="550" y="108"/>
                      <a:pt x="550" y="108"/>
                      <a:pt x="550" y="108"/>
                    </a:cubicBezTo>
                    <a:cubicBezTo>
                      <a:pt x="553" y="106"/>
                      <a:pt x="553" y="106"/>
                      <a:pt x="553" y="106"/>
                    </a:cubicBezTo>
                    <a:cubicBezTo>
                      <a:pt x="553" y="103"/>
                      <a:pt x="553" y="103"/>
                      <a:pt x="553" y="103"/>
                    </a:cubicBezTo>
                    <a:cubicBezTo>
                      <a:pt x="553" y="102"/>
                      <a:pt x="553" y="102"/>
                      <a:pt x="553" y="102"/>
                    </a:cubicBezTo>
                    <a:cubicBezTo>
                      <a:pt x="555" y="100"/>
                      <a:pt x="555" y="100"/>
                      <a:pt x="555" y="100"/>
                    </a:cubicBezTo>
                    <a:cubicBezTo>
                      <a:pt x="555" y="99"/>
                      <a:pt x="555" y="99"/>
                      <a:pt x="555" y="99"/>
                    </a:cubicBezTo>
                    <a:cubicBezTo>
                      <a:pt x="554" y="97"/>
                      <a:pt x="554" y="97"/>
                      <a:pt x="554" y="97"/>
                    </a:cubicBezTo>
                    <a:cubicBezTo>
                      <a:pt x="553" y="95"/>
                      <a:pt x="553" y="95"/>
                      <a:pt x="553" y="95"/>
                    </a:cubicBezTo>
                    <a:cubicBezTo>
                      <a:pt x="552" y="95"/>
                      <a:pt x="552" y="95"/>
                      <a:pt x="552" y="95"/>
                    </a:cubicBezTo>
                    <a:cubicBezTo>
                      <a:pt x="551" y="94"/>
                      <a:pt x="551" y="94"/>
                      <a:pt x="551" y="94"/>
                    </a:cubicBezTo>
                    <a:cubicBezTo>
                      <a:pt x="549" y="94"/>
                      <a:pt x="549" y="94"/>
                      <a:pt x="549" y="94"/>
                    </a:cubicBezTo>
                    <a:cubicBezTo>
                      <a:pt x="548" y="93"/>
                      <a:pt x="548" y="93"/>
                      <a:pt x="548" y="93"/>
                    </a:cubicBezTo>
                    <a:cubicBezTo>
                      <a:pt x="549" y="92"/>
                      <a:pt x="549" y="92"/>
                      <a:pt x="549" y="92"/>
                    </a:cubicBezTo>
                    <a:cubicBezTo>
                      <a:pt x="552" y="90"/>
                      <a:pt x="552" y="90"/>
                      <a:pt x="552" y="90"/>
                    </a:cubicBezTo>
                    <a:cubicBezTo>
                      <a:pt x="552" y="89"/>
                      <a:pt x="552" y="89"/>
                      <a:pt x="552" y="89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1" y="85"/>
                      <a:pt x="551" y="85"/>
                      <a:pt x="551" y="85"/>
                    </a:cubicBezTo>
                    <a:cubicBezTo>
                      <a:pt x="551" y="84"/>
                      <a:pt x="551" y="84"/>
                      <a:pt x="551" y="84"/>
                    </a:cubicBezTo>
                    <a:cubicBezTo>
                      <a:pt x="549" y="82"/>
                      <a:pt x="549" y="82"/>
                      <a:pt x="549" y="82"/>
                    </a:cubicBezTo>
                    <a:cubicBezTo>
                      <a:pt x="548" y="82"/>
                      <a:pt x="548" y="82"/>
                      <a:pt x="548" y="82"/>
                    </a:cubicBezTo>
                    <a:cubicBezTo>
                      <a:pt x="546" y="83"/>
                      <a:pt x="546" y="83"/>
                      <a:pt x="546" y="83"/>
                    </a:cubicBezTo>
                    <a:cubicBezTo>
                      <a:pt x="543" y="84"/>
                      <a:pt x="543" y="84"/>
                      <a:pt x="543" y="84"/>
                    </a:cubicBezTo>
                    <a:cubicBezTo>
                      <a:pt x="543" y="85"/>
                      <a:pt x="543" y="85"/>
                      <a:pt x="543" y="85"/>
                    </a:cubicBezTo>
                    <a:cubicBezTo>
                      <a:pt x="541" y="87"/>
                      <a:pt x="541" y="87"/>
                      <a:pt x="541" y="87"/>
                    </a:cubicBezTo>
                    <a:cubicBezTo>
                      <a:pt x="540" y="87"/>
                      <a:pt x="540" y="87"/>
                      <a:pt x="540" y="87"/>
                    </a:cubicBezTo>
                    <a:cubicBezTo>
                      <a:pt x="539" y="85"/>
                      <a:pt x="539" y="85"/>
                      <a:pt x="539" y="85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2" y="83"/>
                      <a:pt x="542" y="83"/>
                      <a:pt x="542" y="83"/>
                    </a:cubicBezTo>
                    <a:cubicBezTo>
                      <a:pt x="542" y="80"/>
                      <a:pt x="542" y="80"/>
                      <a:pt x="542" y="80"/>
                    </a:cubicBezTo>
                    <a:cubicBezTo>
                      <a:pt x="543" y="76"/>
                      <a:pt x="543" y="76"/>
                      <a:pt x="543" y="76"/>
                    </a:cubicBezTo>
                    <a:cubicBezTo>
                      <a:pt x="543" y="74"/>
                      <a:pt x="543" y="74"/>
                      <a:pt x="543" y="74"/>
                    </a:cubicBezTo>
                    <a:cubicBezTo>
                      <a:pt x="541" y="73"/>
                      <a:pt x="541" y="73"/>
                      <a:pt x="541" y="73"/>
                    </a:cubicBezTo>
                    <a:cubicBezTo>
                      <a:pt x="541" y="72"/>
                      <a:pt x="541" y="72"/>
                      <a:pt x="541" y="72"/>
                    </a:cubicBezTo>
                    <a:cubicBezTo>
                      <a:pt x="538" y="70"/>
                      <a:pt x="538" y="70"/>
                      <a:pt x="538" y="70"/>
                    </a:cubicBezTo>
                    <a:cubicBezTo>
                      <a:pt x="537" y="71"/>
                      <a:pt x="537" y="71"/>
                      <a:pt x="537" y="71"/>
                    </a:cubicBezTo>
                    <a:cubicBezTo>
                      <a:pt x="534" y="70"/>
                      <a:pt x="534" y="70"/>
                      <a:pt x="534" y="70"/>
                    </a:cubicBezTo>
                    <a:cubicBezTo>
                      <a:pt x="532" y="72"/>
                      <a:pt x="532" y="72"/>
                      <a:pt x="532" y="72"/>
                    </a:cubicBezTo>
                    <a:cubicBezTo>
                      <a:pt x="531" y="72"/>
                      <a:pt x="531" y="72"/>
                      <a:pt x="531" y="72"/>
                    </a:cubicBezTo>
                    <a:cubicBezTo>
                      <a:pt x="530" y="69"/>
                      <a:pt x="530" y="69"/>
                      <a:pt x="530" y="69"/>
                    </a:cubicBezTo>
                    <a:cubicBezTo>
                      <a:pt x="530" y="68"/>
                      <a:pt x="530" y="68"/>
                      <a:pt x="530" y="68"/>
                    </a:cubicBezTo>
                    <a:cubicBezTo>
                      <a:pt x="528" y="70"/>
                      <a:pt x="528" y="70"/>
                      <a:pt x="528" y="70"/>
                    </a:cubicBezTo>
                    <a:cubicBezTo>
                      <a:pt x="528" y="71"/>
                      <a:pt x="528" y="71"/>
                      <a:pt x="528" y="71"/>
                    </a:cubicBezTo>
                    <a:cubicBezTo>
                      <a:pt x="526" y="72"/>
                      <a:pt x="526" y="72"/>
                      <a:pt x="526" y="72"/>
                    </a:cubicBezTo>
                    <a:cubicBezTo>
                      <a:pt x="525" y="74"/>
                      <a:pt x="525" y="74"/>
                      <a:pt x="525" y="74"/>
                    </a:cubicBezTo>
                    <a:cubicBezTo>
                      <a:pt x="523" y="77"/>
                      <a:pt x="523" y="77"/>
                      <a:pt x="523" y="77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25" y="80"/>
                      <a:pt x="525" y="80"/>
                      <a:pt x="525" y="80"/>
                    </a:cubicBezTo>
                    <a:cubicBezTo>
                      <a:pt x="526" y="79"/>
                      <a:pt x="526" y="79"/>
                      <a:pt x="526" y="79"/>
                    </a:cubicBezTo>
                    <a:cubicBezTo>
                      <a:pt x="528" y="78"/>
                      <a:pt x="528" y="78"/>
                      <a:pt x="528" y="78"/>
                    </a:cubicBezTo>
                    <a:cubicBezTo>
                      <a:pt x="528" y="79"/>
                      <a:pt x="528" y="79"/>
                      <a:pt x="528" y="79"/>
                    </a:cubicBezTo>
                    <a:cubicBezTo>
                      <a:pt x="526" y="81"/>
                      <a:pt x="526" y="81"/>
                      <a:pt x="526" y="81"/>
                    </a:cubicBezTo>
                    <a:cubicBezTo>
                      <a:pt x="524" y="83"/>
                      <a:pt x="524" y="83"/>
                      <a:pt x="524" y="83"/>
                    </a:cubicBezTo>
                    <a:cubicBezTo>
                      <a:pt x="522" y="85"/>
                      <a:pt x="522" y="85"/>
                      <a:pt x="522" y="85"/>
                    </a:cubicBezTo>
                    <a:cubicBezTo>
                      <a:pt x="522" y="86"/>
                      <a:pt x="522" y="86"/>
                      <a:pt x="522" y="86"/>
                    </a:cubicBezTo>
                    <a:cubicBezTo>
                      <a:pt x="525" y="85"/>
                      <a:pt x="525" y="85"/>
                      <a:pt x="525" y="85"/>
                    </a:cubicBezTo>
                    <a:cubicBezTo>
                      <a:pt x="528" y="83"/>
                      <a:pt x="528" y="83"/>
                      <a:pt x="528" y="83"/>
                    </a:cubicBezTo>
                    <a:cubicBezTo>
                      <a:pt x="529" y="83"/>
                      <a:pt x="529" y="83"/>
                      <a:pt x="529" y="83"/>
                    </a:cubicBezTo>
                    <a:cubicBezTo>
                      <a:pt x="530" y="82"/>
                      <a:pt x="530" y="82"/>
                      <a:pt x="530" y="82"/>
                    </a:cubicBezTo>
                    <a:cubicBezTo>
                      <a:pt x="531" y="83"/>
                      <a:pt x="531" y="83"/>
                      <a:pt x="531" y="83"/>
                    </a:cubicBezTo>
                    <a:cubicBezTo>
                      <a:pt x="530" y="86"/>
                      <a:pt x="530" y="86"/>
                      <a:pt x="530" y="86"/>
                    </a:cubicBezTo>
                    <a:cubicBezTo>
                      <a:pt x="529" y="86"/>
                      <a:pt x="529" y="86"/>
                      <a:pt x="529" y="86"/>
                    </a:cubicBezTo>
                    <a:cubicBezTo>
                      <a:pt x="527" y="87"/>
                      <a:pt x="527" y="87"/>
                      <a:pt x="527" y="87"/>
                    </a:cubicBezTo>
                    <a:cubicBezTo>
                      <a:pt x="526" y="89"/>
                      <a:pt x="526" y="89"/>
                      <a:pt x="526" y="89"/>
                    </a:cubicBezTo>
                    <a:cubicBezTo>
                      <a:pt x="527" y="90"/>
                      <a:pt x="527" y="90"/>
                      <a:pt x="527" y="90"/>
                    </a:cubicBezTo>
                    <a:cubicBezTo>
                      <a:pt x="530" y="90"/>
                      <a:pt x="530" y="90"/>
                      <a:pt x="530" y="90"/>
                    </a:cubicBezTo>
                    <a:cubicBezTo>
                      <a:pt x="531" y="91"/>
                      <a:pt x="531" y="91"/>
                      <a:pt x="531" y="91"/>
                    </a:cubicBezTo>
                    <a:cubicBezTo>
                      <a:pt x="529" y="92"/>
                      <a:pt x="529" y="92"/>
                      <a:pt x="529" y="92"/>
                    </a:cubicBezTo>
                    <a:cubicBezTo>
                      <a:pt x="526" y="93"/>
                      <a:pt x="526" y="93"/>
                      <a:pt x="526" y="93"/>
                    </a:cubicBezTo>
                    <a:cubicBezTo>
                      <a:pt x="525" y="93"/>
                      <a:pt x="525" y="93"/>
                      <a:pt x="525" y="93"/>
                    </a:cubicBezTo>
                    <a:cubicBezTo>
                      <a:pt x="525" y="94"/>
                      <a:pt x="525" y="94"/>
                      <a:pt x="525" y="94"/>
                    </a:cubicBezTo>
                    <a:cubicBezTo>
                      <a:pt x="527" y="95"/>
                      <a:pt x="527" y="95"/>
                      <a:pt x="527" y="95"/>
                    </a:cubicBezTo>
                    <a:cubicBezTo>
                      <a:pt x="527" y="96"/>
                      <a:pt x="527" y="96"/>
                      <a:pt x="527" y="96"/>
                    </a:cubicBezTo>
                    <a:cubicBezTo>
                      <a:pt x="524" y="99"/>
                      <a:pt x="524" y="99"/>
                      <a:pt x="524" y="99"/>
                    </a:cubicBezTo>
                    <a:cubicBezTo>
                      <a:pt x="523" y="99"/>
                      <a:pt x="523" y="99"/>
                      <a:pt x="523" y="99"/>
                    </a:cubicBezTo>
                    <a:cubicBezTo>
                      <a:pt x="522" y="96"/>
                      <a:pt x="522" y="96"/>
                      <a:pt x="522" y="96"/>
                    </a:cubicBezTo>
                    <a:cubicBezTo>
                      <a:pt x="520" y="95"/>
                      <a:pt x="520" y="95"/>
                      <a:pt x="520" y="95"/>
                    </a:cubicBezTo>
                    <a:cubicBezTo>
                      <a:pt x="519" y="93"/>
                      <a:pt x="519" y="93"/>
                      <a:pt x="519" y="93"/>
                    </a:cubicBezTo>
                    <a:cubicBezTo>
                      <a:pt x="515" y="95"/>
                      <a:pt x="515" y="95"/>
                      <a:pt x="515" y="95"/>
                    </a:cubicBezTo>
                    <a:cubicBezTo>
                      <a:pt x="515" y="96"/>
                      <a:pt x="515" y="96"/>
                      <a:pt x="515" y="96"/>
                    </a:cubicBezTo>
                    <a:cubicBezTo>
                      <a:pt x="513" y="99"/>
                      <a:pt x="513" y="99"/>
                      <a:pt x="513" y="99"/>
                    </a:cubicBezTo>
                    <a:cubicBezTo>
                      <a:pt x="515" y="102"/>
                      <a:pt x="515" y="102"/>
                      <a:pt x="515" y="102"/>
                    </a:cubicBezTo>
                    <a:cubicBezTo>
                      <a:pt x="515" y="104"/>
                      <a:pt x="515" y="104"/>
                      <a:pt x="515" y="104"/>
                    </a:cubicBezTo>
                    <a:cubicBezTo>
                      <a:pt x="516" y="104"/>
                      <a:pt x="516" y="104"/>
                      <a:pt x="516" y="104"/>
                    </a:cubicBezTo>
                    <a:cubicBezTo>
                      <a:pt x="518" y="103"/>
                      <a:pt x="518" y="103"/>
                      <a:pt x="518" y="103"/>
                    </a:cubicBezTo>
                    <a:cubicBezTo>
                      <a:pt x="519" y="103"/>
                      <a:pt x="519" y="103"/>
                      <a:pt x="519" y="103"/>
                    </a:cubicBezTo>
                    <a:cubicBezTo>
                      <a:pt x="522" y="104"/>
                      <a:pt x="522" y="104"/>
                      <a:pt x="522" y="104"/>
                    </a:cubicBezTo>
                    <a:cubicBezTo>
                      <a:pt x="525" y="104"/>
                      <a:pt x="525" y="104"/>
                      <a:pt x="525" y="104"/>
                    </a:cubicBezTo>
                    <a:cubicBezTo>
                      <a:pt x="526" y="105"/>
                      <a:pt x="526" y="105"/>
                      <a:pt x="526" y="105"/>
                    </a:cubicBezTo>
                    <a:cubicBezTo>
                      <a:pt x="529" y="104"/>
                      <a:pt x="529" y="104"/>
                      <a:pt x="529" y="104"/>
                    </a:cubicBezTo>
                    <a:cubicBezTo>
                      <a:pt x="529" y="105"/>
                      <a:pt x="529" y="105"/>
                      <a:pt x="529" y="105"/>
                    </a:cubicBezTo>
                    <a:cubicBezTo>
                      <a:pt x="527" y="106"/>
                      <a:pt x="527" y="106"/>
                      <a:pt x="527" y="106"/>
                    </a:cubicBezTo>
                    <a:cubicBezTo>
                      <a:pt x="526" y="107"/>
                      <a:pt x="526" y="107"/>
                      <a:pt x="526" y="107"/>
                    </a:cubicBezTo>
                    <a:cubicBezTo>
                      <a:pt x="527" y="109"/>
                      <a:pt x="527" y="109"/>
                      <a:pt x="527" y="109"/>
                    </a:cubicBezTo>
                    <a:cubicBezTo>
                      <a:pt x="529" y="108"/>
                      <a:pt x="529" y="108"/>
                      <a:pt x="529" y="108"/>
                    </a:cubicBezTo>
                    <a:cubicBezTo>
                      <a:pt x="531" y="110"/>
                      <a:pt x="531" y="110"/>
                      <a:pt x="531" y="110"/>
                    </a:cubicBezTo>
                    <a:cubicBezTo>
                      <a:pt x="533" y="113"/>
                      <a:pt x="533" y="113"/>
                      <a:pt x="533" y="113"/>
                    </a:cubicBezTo>
                    <a:cubicBezTo>
                      <a:pt x="534" y="113"/>
                      <a:pt x="534" y="113"/>
                      <a:pt x="534" y="113"/>
                    </a:cubicBezTo>
                    <a:cubicBezTo>
                      <a:pt x="535" y="114"/>
                      <a:pt x="535" y="114"/>
                      <a:pt x="535" y="114"/>
                    </a:cubicBezTo>
                    <a:cubicBezTo>
                      <a:pt x="534" y="115"/>
                      <a:pt x="534" y="115"/>
                      <a:pt x="534" y="115"/>
                    </a:cubicBezTo>
                    <a:cubicBezTo>
                      <a:pt x="534" y="118"/>
                      <a:pt x="534" y="118"/>
                      <a:pt x="534" y="118"/>
                    </a:cubicBezTo>
                    <a:cubicBezTo>
                      <a:pt x="531" y="124"/>
                      <a:pt x="531" y="124"/>
                      <a:pt x="531" y="124"/>
                    </a:cubicBezTo>
                    <a:close/>
                    <a:moveTo>
                      <a:pt x="521" y="109"/>
                    </a:moveTo>
                    <a:cubicBezTo>
                      <a:pt x="521" y="107"/>
                      <a:pt x="521" y="107"/>
                      <a:pt x="521" y="107"/>
                    </a:cubicBezTo>
                    <a:cubicBezTo>
                      <a:pt x="523" y="106"/>
                      <a:pt x="523" y="106"/>
                      <a:pt x="523" y="106"/>
                    </a:cubicBezTo>
                    <a:cubicBezTo>
                      <a:pt x="525" y="106"/>
                      <a:pt x="525" y="106"/>
                      <a:pt x="525" y="106"/>
                    </a:cubicBezTo>
                    <a:cubicBezTo>
                      <a:pt x="524" y="107"/>
                      <a:pt x="524" y="107"/>
                      <a:pt x="524" y="107"/>
                    </a:cubicBezTo>
                    <a:cubicBezTo>
                      <a:pt x="524" y="108"/>
                      <a:pt x="524" y="108"/>
                      <a:pt x="524" y="108"/>
                    </a:cubicBezTo>
                    <a:cubicBezTo>
                      <a:pt x="522" y="109"/>
                      <a:pt x="522" y="109"/>
                      <a:pt x="522" y="109"/>
                    </a:cubicBezTo>
                    <a:cubicBezTo>
                      <a:pt x="521" y="109"/>
                      <a:pt x="521" y="109"/>
                      <a:pt x="521" y="109"/>
                    </a:cubicBezTo>
                    <a:close/>
                    <a:moveTo>
                      <a:pt x="517" y="120"/>
                    </a:moveTo>
                    <a:cubicBezTo>
                      <a:pt x="517" y="118"/>
                      <a:pt x="517" y="118"/>
                      <a:pt x="517" y="118"/>
                    </a:cubicBezTo>
                    <a:cubicBezTo>
                      <a:pt x="521" y="118"/>
                      <a:pt x="521" y="118"/>
                      <a:pt x="521" y="118"/>
                    </a:cubicBezTo>
                    <a:cubicBezTo>
                      <a:pt x="523" y="119"/>
                      <a:pt x="523" y="119"/>
                      <a:pt x="523" y="119"/>
                    </a:cubicBezTo>
                    <a:cubicBezTo>
                      <a:pt x="526" y="122"/>
                      <a:pt x="526" y="122"/>
                      <a:pt x="526" y="122"/>
                    </a:cubicBezTo>
                    <a:cubicBezTo>
                      <a:pt x="526" y="124"/>
                      <a:pt x="526" y="124"/>
                      <a:pt x="526" y="124"/>
                    </a:cubicBezTo>
                    <a:cubicBezTo>
                      <a:pt x="526" y="127"/>
                      <a:pt x="526" y="127"/>
                      <a:pt x="526" y="127"/>
                    </a:cubicBezTo>
                    <a:cubicBezTo>
                      <a:pt x="525" y="127"/>
                      <a:pt x="525" y="127"/>
                      <a:pt x="525" y="127"/>
                    </a:cubicBezTo>
                    <a:cubicBezTo>
                      <a:pt x="523" y="126"/>
                      <a:pt x="523" y="126"/>
                      <a:pt x="523" y="126"/>
                    </a:cubicBezTo>
                    <a:cubicBezTo>
                      <a:pt x="521" y="127"/>
                      <a:pt x="521" y="127"/>
                      <a:pt x="521" y="127"/>
                    </a:cubicBezTo>
                    <a:cubicBezTo>
                      <a:pt x="520" y="127"/>
                      <a:pt x="520" y="127"/>
                      <a:pt x="520" y="127"/>
                    </a:cubicBezTo>
                    <a:cubicBezTo>
                      <a:pt x="519" y="125"/>
                      <a:pt x="519" y="125"/>
                      <a:pt x="519" y="125"/>
                    </a:cubicBezTo>
                    <a:cubicBezTo>
                      <a:pt x="516" y="123"/>
                      <a:pt x="516" y="123"/>
                      <a:pt x="516" y="123"/>
                    </a:cubicBezTo>
                    <a:cubicBezTo>
                      <a:pt x="517" y="120"/>
                      <a:pt x="517" y="120"/>
                      <a:pt x="517" y="120"/>
                    </a:cubicBezTo>
                    <a:close/>
                    <a:moveTo>
                      <a:pt x="492" y="137"/>
                    </a:moveTo>
                    <a:cubicBezTo>
                      <a:pt x="494" y="136"/>
                      <a:pt x="494" y="136"/>
                      <a:pt x="494" y="136"/>
                    </a:cubicBezTo>
                    <a:cubicBezTo>
                      <a:pt x="496" y="136"/>
                      <a:pt x="496" y="136"/>
                      <a:pt x="496" y="136"/>
                    </a:cubicBezTo>
                    <a:cubicBezTo>
                      <a:pt x="496" y="137"/>
                      <a:pt x="496" y="137"/>
                      <a:pt x="496" y="137"/>
                    </a:cubicBezTo>
                    <a:cubicBezTo>
                      <a:pt x="493" y="138"/>
                      <a:pt x="493" y="138"/>
                      <a:pt x="493" y="138"/>
                    </a:cubicBezTo>
                    <a:cubicBezTo>
                      <a:pt x="492" y="137"/>
                      <a:pt x="492" y="137"/>
                      <a:pt x="492" y="137"/>
                    </a:cubicBezTo>
                    <a:close/>
                    <a:moveTo>
                      <a:pt x="491" y="134"/>
                    </a:moveTo>
                    <a:cubicBezTo>
                      <a:pt x="490" y="132"/>
                      <a:pt x="490" y="132"/>
                      <a:pt x="490" y="132"/>
                    </a:cubicBezTo>
                    <a:cubicBezTo>
                      <a:pt x="491" y="130"/>
                      <a:pt x="491" y="130"/>
                      <a:pt x="491" y="130"/>
                    </a:cubicBezTo>
                    <a:cubicBezTo>
                      <a:pt x="491" y="127"/>
                      <a:pt x="491" y="127"/>
                      <a:pt x="491" y="127"/>
                    </a:cubicBezTo>
                    <a:cubicBezTo>
                      <a:pt x="491" y="125"/>
                      <a:pt x="491" y="125"/>
                      <a:pt x="491" y="125"/>
                    </a:cubicBezTo>
                    <a:cubicBezTo>
                      <a:pt x="493" y="124"/>
                      <a:pt x="493" y="124"/>
                      <a:pt x="493" y="124"/>
                    </a:cubicBezTo>
                    <a:cubicBezTo>
                      <a:pt x="493" y="122"/>
                      <a:pt x="493" y="122"/>
                      <a:pt x="493" y="122"/>
                    </a:cubicBezTo>
                    <a:cubicBezTo>
                      <a:pt x="494" y="122"/>
                      <a:pt x="494" y="122"/>
                      <a:pt x="494" y="122"/>
                    </a:cubicBezTo>
                    <a:cubicBezTo>
                      <a:pt x="494" y="120"/>
                      <a:pt x="494" y="120"/>
                      <a:pt x="494" y="120"/>
                    </a:cubicBezTo>
                    <a:cubicBezTo>
                      <a:pt x="495" y="118"/>
                      <a:pt x="495" y="118"/>
                      <a:pt x="495" y="118"/>
                    </a:cubicBezTo>
                    <a:cubicBezTo>
                      <a:pt x="495" y="116"/>
                      <a:pt x="495" y="116"/>
                      <a:pt x="495" y="116"/>
                    </a:cubicBezTo>
                    <a:cubicBezTo>
                      <a:pt x="496" y="115"/>
                      <a:pt x="496" y="115"/>
                      <a:pt x="496" y="115"/>
                    </a:cubicBezTo>
                    <a:cubicBezTo>
                      <a:pt x="498" y="116"/>
                      <a:pt x="498" y="116"/>
                      <a:pt x="498" y="116"/>
                    </a:cubicBezTo>
                    <a:cubicBezTo>
                      <a:pt x="498" y="118"/>
                      <a:pt x="498" y="118"/>
                      <a:pt x="498" y="118"/>
                    </a:cubicBezTo>
                    <a:cubicBezTo>
                      <a:pt x="499" y="120"/>
                      <a:pt x="499" y="120"/>
                      <a:pt x="499" y="120"/>
                    </a:cubicBezTo>
                    <a:cubicBezTo>
                      <a:pt x="497" y="123"/>
                      <a:pt x="497" y="123"/>
                      <a:pt x="497" y="123"/>
                    </a:cubicBezTo>
                    <a:cubicBezTo>
                      <a:pt x="497" y="125"/>
                      <a:pt x="497" y="125"/>
                      <a:pt x="497" y="125"/>
                    </a:cubicBezTo>
                    <a:cubicBezTo>
                      <a:pt x="496" y="127"/>
                      <a:pt x="496" y="127"/>
                      <a:pt x="496" y="127"/>
                    </a:cubicBezTo>
                    <a:cubicBezTo>
                      <a:pt x="497" y="129"/>
                      <a:pt x="497" y="129"/>
                      <a:pt x="497" y="129"/>
                    </a:cubicBezTo>
                    <a:cubicBezTo>
                      <a:pt x="496" y="133"/>
                      <a:pt x="496" y="133"/>
                      <a:pt x="496" y="133"/>
                    </a:cubicBezTo>
                    <a:cubicBezTo>
                      <a:pt x="493" y="135"/>
                      <a:pt x="493" y="135"/>
                      <a:pt x="493" y="135"/>
                    </a:cubicBezTo>
                    <a:cubicBezTo>
                      <a:pt x="491" y="134"/>
                      <a:pt x="491" y="134"/>
                      <a:pt x="491" y="134"/>
                    </a:cubicBezTo>
                    <a:close/>
                    <a:moveTo>
                      <a:pt x="469" y="89"/>
                    </a:moveTo>
                    <a:cubicBezTo>
                      <a:pt x="468" y="87"/>
                      <a:pt x="468" y="87"/>
                      <a:pt x="468" y="87"/>
                    </a:cubicBezTo>
                    <a:cubicBezTo>
                      <a:pt x="467" y="85"/>
                      <a:pt x="467" y="85"/>
                      <a:pt x="467" y="85"/>
                    </a:cubicBezTo>
                    <a:cubicBezTo>
                      <a:pt x="468" y="84"/>
                      <a:pt x="468" y="84"/>
                      <a:pt x="468" y="84"/>
                    </a:cubicBezTo>
                    <a:cubicBezTo>
                      <a:pt x="467" y="83"/>
                      <a:pt x="467" y="83"/>
                      <a:pt x="467" y="83"/>
                    </a:cubicBezTo>
                    <a:cubicBezTo>
                      <a:pt x="465" y="83"/>
                      <a:pt x="465" y="83"/>
                      <a:pt x="465" y="83"/>
                    </a:cubicBezTo>
                    <a:cubicBezTo>
                      <a:pt x="464" y="82"/>
                      <a:pt x="464" y="82"/>
                      <a:pt x="464" y="82"/>
                    </a:cubicBezTo>
                    <a:cubicBezTo>
                      <a:pt x="462" y="83"/>
                      <a:pt x="462" y="83"/>
                      <a:pt x="462" y="83"/>
                    </a:cubicBezTo>
                    <a:cubicBezTo>
                      <a:pt x="460" y="83"/>
                      <a:pt x="460" y="83"/>
                      <a:pt x="460" y="83"/>
                    </a:cubicBezTo>
                    <a:cubicBezTo>
                      <a:pt x="459" y="83"/>
                      <a:pt x="459" y="83"/>
                      <a:pt x="459" y="83"/>
                    </a:cubicBezTo>
                    <a:cubicBezTo>
                      <a:pt x="459" y="82"/>
                      <a:pt x="459" y="82"/>
                      <a:pt x="459" y="82"/>
                    </a:cubicBezTo>
                    <a:cubicBezTo>
                      <a:pt x="460" y="80"/>
                      <a:pt x="460" y="80"/>
                      <a:pt x="460" y="80"/>
                    </a:cubicBezTo>
                    <a:cubicBezTo>
                      <a:pt x="461" y="78"/>
                      <a:pt x="461" y="78"/>
                      <a:pt x="461" y="78"/>
                    </a:cubicBezTo>
                    <a:cubicBezTo>
                      <a:pt x="463" y="78"/>
                      <a:pt x="463" y="78"/>
                      <a:pt x="463" y="78"/>
                    </a:cubicBezTo>
                    <a:cubicBezTo>
                      <a:pt x="465" y="78"/>
                      <a:pt x="465" y="78"/>
                      <a:pt x="465" y="78"/>
                    </a:cubicBezTo>
                    <a:cubicBezTo>
                      <a:pt x="470" y="77"/>
                      <a:pt x="470" y="77"/>
                      <a:pt x="470" y="77"/>
                    </a:cubicBezTo>
                    <a:cubicBezTo>
                      <a:pt x="472" y="77"/>
                      <a:pt x="472" y="77"/>
                      <a:pt x="472" y="77"/>
                    </a:cubicBezTo>
                    <a:cubicBezTo>
                      <a:pt x="474" y="78"/>
                      <a:pt x="474" y="78"/>
                      <a:pt x="474" y="78"/>
                    </a:cubicBezTo>
                    <a:cubicBezTo>
                      <a:pt x="475" y="78"/>
                      <a:pt x="475" y="78"/>
                      <a:pt x="475" y="78"/>
                    </a:cubicBezTo>
                    <a:cubicBezTo>
                      <a:pt x="477" y="78"/>
                      <a:pt x="477" y="78"/>
                      <a:pt x="477" y="78"/>
                    </a:cubicBezTo>
                    <a:cubicBezTo>
                      <a:pt x="480" y="76"/>
                      <a:pt x="480" y="76"/>
                      <a:pt x="480" y="76"/>
                    </a:cubicBezTo>
                    <a:cubicBezTo>
                      <a:pt x="483" y="76"/>
                      <a:pt x="483" y="76"/>
                      <a:pt x="483" y="76"/>
                    </a:cubicBezTo>
                    <a:cubicBezTo>
                      <a:pt x="484" y="76"/>
                      <a:pt x="484" y="76"/>
                      <a:pt x="484" y="76"/>
                    </a:cubicBezTo>
                    <a:cubicBezTo>
                      <a:pt x="485" y="75"/>
                      <a:pt x="485" y="75"/>
                      <a:pt x="485" y="75"/>
                    </a:cubicBezTo>
                    <a:cubicBezTo>
                      <a:pt x="486" y="76"/>
                      <a:pt x="486" y="76"/>
                      <a:pt x="486" y="76"/>
                    </a:cubicBezTo>
                    <a:cubicBezTo>
                      <a:pt x="486" y="77"/>
                      <a:pt x="486" y="77"/>
                      <a:pt x="486" y="77"/>
                    </a:cubicBezTo>
                    <a:cubicBezTo>
                      <a:pt x="487" y="79"/>
                      <a:pt x="487" y="79"/>
                      <a:pt x="487" y="79"/>
                    </a:cubicBezTo>
                    <a:cubicBezTo>
                      <a:pt x="487" y="81"/>
                      <a:pt x="487" y="81"/>
                      <a:pt x="487" y="81"/>
                    </a:cubicBezTo>
                    <a:cubicBezTo>
                      <a:pt x="485" y="84"/>
                      <a:pt x="485" y="84"/>
                      <a:pt x="485" y="84"/>
                    </a:cubicBezTo>
                    <a:cubicBezTo>
                      <a:pt x="487" y="86"/>
                      <a:pt x="487" y="86"/>
                      <a:pt x="487" y="86"/>
                    </a:cubicBezTo>
                    <a:cubicBezTo>
                      <a:pt x="485" y="90"/>
                      <a:pt x="485" y="90"/>
                      <a:pt x="485" y="90"/>
                    </a:cubicBezTo>
                    <a:cubicBezTo>
                      <a:pt x="483" y="91"/>
                      <a:pt x="483" y="91"/>
                      <a:pt x="483" y="91"/>
                    </a:cubicBezTo>
                    <a:cubicBezTo>
                      <a:pt x="481" y="93"/>
                      <a:pt x="481" y="93"/>
                      <a:pt x="481" y="93"/>
                    </a:cubicBezTo>
                    <a:cubicBezTo>
                      <a:pt x="480" y="93"/>
                      <a:pt x="480" y="93"/>
                      <a:pt x="480" y="93"/>
                    </a:cubicBezTo>
                    <a:cubicBezTo>
                      <a:pt x="478" y="93"/>
                      <a:pt x="478" y="93"/>
                      <a:pt x="478" y="93"/>
                    </a:cubicBezTo>
                    <a:cubicBezTo>
                      <a:pt x="477" y="92"/>
                      <a:pt x="477" y="92"/>
                      <a:pt x="477" y="92"/>
                    </a:cubicBezTo>
                    <a:cubicBezTo>
                      <a:pt x="475" y="92"/>
                      <a:pt x="475" y="92"/>
                      <a:pt x="475" y="92"/>
                    </a:cubicBezTo>
                    <a:cubicBezTo>
                      <a:pt x="473" y="89"/>
                      <a:pt x="473" y="89"/>
                      <a:pt x="473" y="89"/>
                    </a:cubicBezTo>
                    <a:cubicBezTo>
                      <a:pt x="473" y="87"/>
                      <a:pt x="473" y="87"/>
                      <a:pt x="473" y="87"/>
                    </a:cubicBezTo>
                    <a:cubicBezTo>
                      <a:pt x="471" y="85"/>
                      <a:pt x="471" y="85"/>
                      <a:pt x="471" y="85"/>
                    </a:cubicBezTo>
                    <a:cubicBezTo>
                      <a:pt x="470" y="86"/>
                      <a:pt x="470" y="86"/>
                      <a:pt x="470" y="86"/>
                    </a:cubicBezTo>
                    <a:cubicBezTo>
                      <a:pt x="471" y="87"/>
                      <a:pt x="471" y="87"/>
                      <a:pt x="471" y="87"/>
                    </a:cubicBezTo>
                    <a:cubicBezTo>
                      <a:pt x="469" y="89"/>
                      <a:pt x="469" y="89"/>
                      <a:pt x="469" y="89"/>
                    </a:cubicBezTo>
                    <a:close/>
                    <a:moveTo>
                      <a:pt x="442" y="104"/>
                    </a:moveTo>
                    <a:cubicBezTo>
                      <a:pt x="444" y="102"/>
                      <a:pt x="444" y="102"/>
                      <a:pt x="444" y="102"/>
                    </a:cubicBezTo>
                    <a:cubicBezTo>
                      <a:pt x="444" y="101"/>
                      <a:pt x="444" y="101"/>
                      <a:pt x="444" y="101"/>
                    </a:cubicBezTo>
                    <a:cubicBezTo>
                      <a:pt x="446" y="99"/>
                      <a:pt x="446" y="99"/>
                      <a:pt x="446" y="99"/>
                    </a:cubicBezTo>
                    <a:cubicBezTo>
                      <a:pt x="446" y="97"/>
                      <a:pt x="446" y="97"/>
                      <a:pt x="446" y="97"/>
                    </a:cubicBezTo>
                    <a:cubicBezTo>
                      <a:pt x="448" y="96"/>
                      <a:pt x="448" y="96"/>
                      <a:pt x="448" y="96"/>
                    </a:cubicBezTo>
                    <a:cubicBezTo>
                      <a:pt x="450" y="94"/>
                      <a:pt x="450" y="94"/>
                      <a:pt x="450" y="94"/>
                    </a:cubicBezTo>
                    <a:cubicBezTo>
                      <a:pt x="451" y="94"/>
                      <a:pt x="451" y="94"/>
                      <a:pt x="451" y="94"/>
                    </a:cubicBezTo>
                    <a:cubicBezTo>
                      <a:pt x="456" y="93"/>
                      <a:pt x="456" y="93"/>
                      <a:pt x="456" y="93"/>
                    </a:cubicBezTo>
                    <a:cubicBezTo>
                      <a:pt x="457" y="94"/>
                      <a:pt x="457" y="94"/>
                      <a:pt x="457" y="94"/>
                    </a:cubicBezTo>
                    <a:cubicBezTo>
                      <a:pt x="459" y="94"/>
                      <a:pt x="459" y="94"/>
                      <a:pt x="459" y="94"/>
                    </a:cubicBezTo>
                    <a:cubicBezTo>
                      <a:pt x="460" y="95"/>
                      <a:pt x="460" y="95"/>
                      <a:pt x="460" y="95"/>
                    </a:cubicBezTo>
                    <a:cubicBezTo>
                      <a:pt x="462" y="95"/>
                      <a:pt x="462" y="95"/>
                      <a:pt x="462" y="95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6" y="95"/>
                      <a:pt x="466" y="95"/>
                      <a:pt x="466" y="95"/>
                    </a:cubicBezTo>
                    <a:cubicBezTo>
                      <a:pt x="466" y="96"/>
                      <a:pt x="466" y="96"/>
                      <a:pt x="466" y="96"/>
                    </a:cubicBezTo>
                    <a:cubicBezTo>
                      <a:pt x="469" y="96"/>
                      <a:pt x="469" y="96"/>
                      <a:pt x="469" y="96"/>
                    </a:cubicBezTo>
                    <a:cubicBezTo>
                      <a:pt x="471" y="96"/>
                      <a:pt x="471" y="96"/>
                      <a:pt x="471" y="96"/>
                    </a:cubicBezTo>
                    <a:cubicBezTo>
                      <a:pt x="472" y="97"/>
                      <a:pt x="472" y="97"/>
                      <a:pt x="472" y="97"/>
                    </a:cubicBezTo>
                    <a:cubicBezTo>
                      <a:pt x="474" y="97"/>
                      <a:pt x="474" y="97"/>
                      <a:pt x="474" y="97"/>
                    </a:cubicBezTo>
                    <a:cubicBezTo>
                      <a:pt x="475" y="98"/>
                      <a:pt x="475" y="98"/>
                      <a:pt x="475" y="98"/>
                    </a:cubicBezTo>
                    <a:cubicBezTo>
                      <a:pt x="473" y="102"/>
                      <a:pt x="473" y="102"/>
                      <a:pt x="473" y="102"/>
                    </a:cubicBezTo>
                    <a:cubicBezTo>
                      <a:pt x="471" y="101"/>
                      <a:pt x="471" y="101"/>
                      <a:pt x="471" y="101"/>
                    </a:cubicBezTo>
                    <a:cubicBezTo>
                      <a:pt x="467" y="103"/>
                      <a:pt x="467" y="103"/>
                      <a:pt x="467" y="103"/>
                    </a:cubicBezTo>
                    <a:cubicBezTo>
                      <a:pt x="465" y="103"/>
                      <a:pt x="465" y="103"/>
                      <a:pt x="465" y="103"/>
                    </a:cubicBezTo>
                    <a:cubicBezTo>
                      <a:pt x="463" y="105"/>
                      <a:pt x="463" y="105"/>
                      <a:pt x="463" y="105"/>
                    </a:cubicBezTo>
                    <a:cubicBezTo>
                      <a:pt x="463" y="106"/>
                      <a:pt x="463" y="106"/>
                      <a:pt x="463" y="106"/>
                    </a:cubicBezTo>
                    <a:cubicBezTo>
                      <a:pt x="465" y="106"/>
                      <a:pt x="465" y="106"/>
                      <a:pt x="465" y="106"/>
                    </a:cubicBezTo>
                    <a:cubicBezTo>
                      <a:pt x="465" y="106"/>
                      <a:pt x="465" y="106"/>
                      <a:pt x="465" y="106"/>
                    </a:cubicBezTo>
                    <a:cubicBezTo>
                      <a:pt x="466" y="108"/>
                      <a:pt x="466" y="108"/>
                      <a:pt x="466" y="108"/>
                    </a:cubicBezTo>
                    <a:cubicBezTo>
                      <a:pt x="463" y="110"/>
                      <a:pt x="463" y="110"/>
                      <a:pt x="463" y="110"/>
                    </a:cubicBezTo>
                    <a:cubicBezTo>
                      <a:pt x="463" y="112"/>
                      <a:pt x="463" y="112"/>
                      <a:pt x="463" y="112"/>
                    </a:cubicBezTo>
                    <a:cubicBezTo>
                      <a:pt x="461" y="112"/>
                      <a:pt x="461" y="112"/>
                      <a:pt x="461" y="112"/>
                    </a:cubicBezTo>
                    <a:cubicBezTo>
                      <a:pt x="461" y="113"/>
                      <a:pt x="461" y="113"/>
                      <a:pt x="461" y="113"/>
                    </a:cubicBezTo>
                    <a:cubicBezTo>
                      <a:pt x="460" y="115"/>
                      <a:pt x="460" y="115"/>
                      <a:pt x="460" y="115"/>
                    </a:cubicBezTo>
                    <a:cubicBezTo>
                      <a:pt x="458" y="115"/>
                      <a:pt x="458" y="115"/>
                      <a:pt x="458" y="115"/>
                    </a:cubicBezTo>
                    <a:cubicBezTo>
                      <a:pt x="456" y="116"/>
                      <a:pt x="456" y="116"/>
                      <a:pt x="456" y="116"/>
                    </a:cubicBezTo>
                    <a:cubicBezTo>
                      <a:pt x="454" y="116"/>
                      <a:pt x="454" y="116"/>
                      <a:pt x="454" y="116"/>
                    </a:cubicBezTo>
                    <a:cubicBezTo>
                      <a:pt x="452" y="114"/>
                      <a:pt x="452" y="114"/>
                      <a:pt x="452" y="114"/>
                    </a:cubicBezTo>
                    <a:cubicBezTo>
                      <a:pt x="451" y="115"/>
                      <a:pt x="451" y="115"/>
                      <a:pt x="451" y="115"/>
                    </a:cubicBezTo>
                    <a:cubicBezTo>
                      <a:pt x="449" y="115"/>
                      <a:pt x="449" y="115"/>
                      <a:pt x="449" y="115"/>
                    </a:cubicBezTo>
                    <a:cubicBezTo>
                      <a:pt x="447" y="115"/>
                      <a:pt x="447" y="115"/>
                      <a:pt x="447" y="115"/>
                    </a:cubicBezTo>
                    <a:cubicBezTo>
                      <a:pt x="446" y="114"/>
                      <a:pt x="446" y="114"/>
                      <a:pt x="446" y="114"/>
                    </a:cubicBezTo>
                    <a:cubicBezTo>
                      <a:pt x="447" y="113"/>
                      <a:pt x="447" y="113"/>
                      <a:pt x="447" y="113"/>
                    </a:cubicBezTo>
                    <a:cubicBezTo>
                      <a:pt x="446" y="110"/>
                      <a:pt x="446" y="110"/>
                      <a:pt x="446" y="110"/>
                    </a:cubicBezTo>
                    <a:cubicBezTo>
                      <a:pt x="444" y="109"/>
                      <a:pt x="444" y="109"/>
                      <a:pt x="444" y="109"/>
                    </a:cubicBezTo>
                    <a:cubicBezTo>
                      <a:pt x="443" y="109"/>
                      <a:pt x="443" y="109"/>
                      <a:pt x="443" y="109"/>
                    </a:cubicBezTo>
                    <a:cubicBezTo>
                      <a:pt x="442" y="106"/>
                      <a:pt x="442" y="106"/>
                      <a:pt x="442" y="106"/>
                    </a:cubicBezTo>
                    <a:cubicBezTo>
                      <a:pt x="442" y="104"/>
                      <a:pt x="442" y="104"/>
                      <a:pt x="442" y="104"/>
                    </a:cubicBezTo>
                    <a:close/>
                    <a:moveTo>
                      <a:pt x="440" y="97"/>
                    </a:moveTo>
                    <a:cubicBezTo>
                      <a:pt x="441" y="98"/>
                      <a:pt x="441" y="98"/>
                      <a:pt x="441" y="98"/>
                    </a:cubicBezTo>
                    <a:cubicBezTo>
                      <a:pt x="443" y="97"/>
                      <a:pt x="443" y="97"/>
                      <a:pt x="443" y="97"/>
                    </a:cubicBezTo>
                    <a:cubicBezTo>
                      <a:pt x="445" y="95"/>
                      <a:pt x="445" y="95"/>
                      <a:pt x="445" y="95"/>
                    </a:cubicBezTo>
                    <a:cubicBezTo>
                      <a:pt x="445" y="93"/>
                      <a:pt x="445" y="93"/>
                      <a:pt x="445" y="93"/>
                    </a:cubicBezTo>
                    <a:cubicBezTo>
                      <a:pt x="445" y="91"/>
                      <a:pt x="445" y="91"/>
                      <a:pt x="445" y="91"/>
                    </a:cubicBezTo>
                    <a:cubicBezTo>
                      <a:pt x="445" y="90"/>
                      <a:pt x="445" y="90"/>
                      <a:pt x="445" y="90"/>
                    </a:cubicBezTo>
                    <a:cubicBezTo>
                      <a:pt x="446" y="87"/>
                      <a:pt x="446" y="87"/>
                      <a:pt x="446" y="87"/>
                    </a:cubicBezTo>
                    <a:cubicBezTo>
                      <a:pt x="444" y="88"/>
                      <a:pt x="444" y="88"/>
                      <a:pt x="444" y="88"/>
                    </a:cubicBezTo>
                    <a:cubicBezTo>
                      <a:pt x="443" y="88"/>
                      <a:pt x="443" y="88"/>
                      <a:pt x="443" y="88"/>
                    </a:cubicBezTo>
                    <a:cubicBezTo>
                      <a:pt x="442" y="87"/>
                      <a:pt x="442" y="87"/>
                      <a:pt x="442" y="87"/>
                    </a:cubicBezTo>
                    <a:cubicBezTo>
                      <a:pt x="440" y="88"/>
                      <a:pt x="440" y="88"/>
                      <a:pt x="440" y="88"/>
                    </a:cubicBezTo>
                    <a:cubicBezTo>
                      <a:pt x="439" y="88"/>
                      <a:pt x="439" y="88"/>
                      <a:pt x="439" y="88"/>
                    </a:cubicBezTo>
                    <a:cubicBezTo>
                      <a:pt x="438" y="90"/>
                      <a:pt x="438" y="90"/>
                      <a:pt x="438" y="90"/>
                    </a:cubicBezTo>
                    <a:cubicBezTo>
                      <a:pt x="439" y="92"/>
                      <a:pt x="439" y="92"/>
                      <a:pt x="439" y="92"/>
                    </a:cubicBezTo>
                    <a:cubicBezTo>
                      <a:pt x="438" y="94"/>
                      <a:pt x="438" y="94"/>
                      <a:pt x="438" y="94"/>
                    </a:cubicBezTo>
                    <a:cubicBezTo>
                      <a:pt x="440" y="97"/>
                      <a:pt x="440" y="97"/>
                      <a:pt x="440" y="97"/>
                    </a:cubicBezTo>
                    <a:close/>
                    <a:moveTo>
                      <a:pt x="603" y="243"/>
                    </a:moveTo>
                    <a:cubicBezTo>
                      <a:pt x="603" y="243"/>
                      <a:pt x="605" y="244"/>
                      <a:pt x="605" y="244"/>
                    </a:cubicBezTo>
                    <a:cubicBezTo>
                      <a:pt x="607" y="243"/>
                      <a:pt x="607" y="243"/>
                      <a:pt x="607" y="243"/>
                    </a:cubicBezTo>
                    <a:cubicBezTo>
                      <a:pt x="607" y="245"/>
                      <a:pt x="607" y="245"/>
                      <a:pt x="607" y="245"/>
                    </a:cubicBezTo>
                    <a:cubicBezTo>
                      <a:pt x="609" y="245"/>
                      <a:pt x="609" y="245"/>
                      <a:pt x="609" y="245"/>
                    </a:cubicBezTo>
                    <a:cubicBezTo>
                      <a:pt x="609" y="246"/>
                      <a:pt x="609" y="246"/>
                      <a:pt x="609" y="246"/>
                    </a:cubicBezTo>
                    <a:cubicBezTo>
                      <a:pt x="611" y="246"/>
                      <a:pt x="611" y="246"/>
                      <a:pt x="611" y="246"/>
                    </a:cubicBezTo>
                    <a:cubicBezTo>
                      <a:pt x="614" y="244"/>
                      <a:pt x="614" y="244"/>
                      <a:pt x="614" y="244"/>
                    </a:cubicBezTo>
                    <a:cubicBezTo>
                      <a:pt x="616" y="243"/>
                      <a:pt x="616" y="243"/>
                      <a:pt x="616" y="243"/>
                    </a:cubicBezTo>
                    <a:cubicBezTo>
                      <a:pt x="619" y="245"/>
                      <a:pt x="619" y="245"/>
                      <a:pt x="619" y="245"/>
                    </a:cubicBezTo>
                    <a:cubicBezTo>
                      <a:pt x="621" y="245"/>
                      <a:pt x="621" y="245"/>
                      <a:pt x="621" y="245"/>
                    </a:cubicBezTo>
                    <a:cubicBezTo>
                      <a:pt x="622" y="245"/>
                      <a:pt x="622" y="245"/>
                      <a:pt x="622" y="245"/>
                    </a:cubicBezTo>
                    <a:cubicBezTo>
                      <a:pt x="623" y="244"/>
                      <a:pt x="623" y="244"/>
                      <a:pt x="623" y="244"/>
                    </a:cubicBezTo>
                    <a:cubicBezTo>
                      <a:pt x="623" y="243"/>
                      <a:pt x="623" y="243"/>
                      <a:pt x="623" y="243"/>
                    </a:cubicBezTo>
                    <a:cubicBezTo>
                      <a:pt x="624" y="241"/>
                      <a:pt x="624" y="241"/>
                      <a:pt x="624" y="241"/>
                    </a:cubicBezTo>
                    <a:cubicBezTo>
                      <a:pt x="625" y="241"/>
                      <a:pt x="625" y="241"/>
                      <a:pt x="625" y="241"/>
                    </a:cubicBezTo>
                    <a:cubicBezTo>
                      <a:pt x="625" y="239"/>
                      <a:pt x="625" y="239"/>
                      <a:pt x="625" y="239"/>
                    </a:cubicBezTo>
                    <a:cubicBezTo>
                      <a:pt x="624" y="237"/>
                      <a:pt x="624" y="237"/>
                      <a:pt x="624" y="237"/>
                    </a:cubicBezTo>
                    <a:cubicBezTo>
                      <a:pt x="624" y="235"/>
                      <a:pt x="624" y="235"/>
                      <a:pt x="624" y="235"/>
                    </a:cubicBezTo>
                    <a:cubicBezTo>
                      <a:pt x="626" y="236"/>
                      <a:pt x="626" y="236"/>
                      <a:pt x="626" y="236"/>
                    </a:cubicBezTo>
                    <a:cubicBezTo>
                      <a:pt x="625" y="238"/>
                      <a:pt x="625" y="238"/>
                      <a:pt x="625" y="238"/>
                    </a:cubicBezTo>
                    <a:cubicBezTo>
                      <a:pt x="627" y="240"/>
                      <a:pt x="627" y="240"/>
                      <a:pt x="627" y="240"/>
                    </a:cubicBezTo>
                    <a:cubicBezTo>
                      <a:pt x="628" y="239"/>
                      <a:pt x="628" y="239"/>
                      <a:pt x="628" y="239"/>
                    </a:cubicBezTo>
                    <a:cubicBezTo>
                      <a:pt x="629" y="239"/>
                      <a:pt x="629" y="239"/>
                      <a:pt x="629" y="239"/>
                    </a:cubicBezTo>
                    <a:cubicBezTo>
                      <a:pt x="630" y="238"/>
                      <a:pt x="630" y="238"/>
                      <a:pt x="630" y="238"/>
                    </a:cubicBezTo>
                    <a:cubicBezTo>
                      <a:pt x="631" y="239"/>
                      <a:pt x="631" y="239"/>
                      <a:pt x="631" y="239"/>
                    </a:cubicBezTo>
                    <a:cubicBezTo>
                      <a:pt x="632" y="238"/>
                      <a:pt x="632" y="238"/>
                      <a:pt x="632" y="238"/>
                    </a:cubicBezTo>
                    <a:cubicBezTo>
                      <a:pt x="631" y="236"/>
                      <a:pt x="631" y="236"/>
                      <a:pt x="631" y="236"/>
                    </a:cubicBezTo>
                    <a:cubicBezTo>
                      <a:pt x="631" y="234"/>
                      <a:pt x="631" y="234"/>
                      <a:pt x="631" y="234"/>
                    </a:cubicBezTo>
                    <a:cubicBezTo>
                      <a:pt x="630" y="234"/>
                      <a:pt x="630" y="234"/>
                      <a:pt x="630" y="234"/>
                    </a:cubicBezTo>
                    <a:cubicBezTo>
                      <a:pt x="628" y="234"/>
                      <a:pt x="628" y="234"/>
                      <a:pt x="628" y="234"/>
                    </a:cubicBezTo>
                    <a:cubicBezTo>
                      <a:pt x="626" y="234"/>
                      <a:pt x="626" y="234"/>
                      <a:pt x="626" y="234"/>
                    </a:cubicBezTo>
                    <a:cubicBezTo>
                      <a:pt x="625" y="233"/>
                      <a:pt x="625" y="233"/>
                      <a:pt x="625" y="233"/>
                    </a:cubicBezTo>
                    <a:cubicBezTo>
                      <a:pt x="626" y="232"/>
                      <a:pt x="626" y="232"/>
                      <a:pt x="626" y="232"/>
                    </a:cubicBezTo>
                    <a:cubicBezTo>
                      <a:pt x="627" y="233"/>
                      <a:pt x="627" y="233"/>
                      <a:pt x="627" y="233"/>
                    </a:cubicBezTo>
                    <a:cubicBezTo>
                      <a:pt x="629" y="232"/>
                      <a:pt x="629" y="232"/>
                      <a:pt x="629" y="232"/>
                    </a:cubicBezTo>
                    <a:cubicBezTo>
                      <a:pt x="630" y="230"/>
                      <a:pt x="630" y="230"/>
                      <a:pt x="630" y="230"/>
                    </a:cubicBezTo>
                    <a:cubicBezTo>
                      <a:pt x="632" y="231"/>
                      <a:pt x="632" y="231"/>
                      <a:pt x="632" y="231"/>
                    </a:cubicBezTo>
                    <a:cubicBezTo>
                      <a:pt x="633" y="231"/>
                      <a:pt x="633" y="231"/>
                      <a:pt x="633" y="231"/>
                    </a:cubicBezTo>
                    <a:cubicBezTo>
                      <a:pt x="634" y="229"/>
                      <a:pt x="634" y="229"/>
                      <a:pt x="634" y="229"/>
                    </a:cubicBezTo>
                    <a:cubicBezTo>
                      <a:pt x="633" y="228"/>
                      <a:pt x="633" y="228"/>
                      <a:pt x="633" y="228"/>
                    </a:cubicBezTo>
                    <a:cubicBezTo>
                      <a:pt x="634" y="226"/>
                      <a:pt x="634" y="226"/>
                      <a:pt x="634" y="226"/>
                    </a:cubicBezTo>
                    <a:cubicBezTo>
                      <a:pt x="634" y="225"/>
                      <a:pt x="634" y="225"/>
                      <a:pt x="634" y="225"/>
                    </a:cubicBezTo>
                    <a:cubicBezTo>
                      <a:pt x="635" y="225"/>
                      <a:pt x="635" y="225"/>
                      <a:pt x="635" y="225"/>
                    </a:cubicBezTo>
                    <a:cubicBezTo>
                      <a:pt x="635" y="224"/>
                      <a:pt x="635" y="224"/>
                      <a:pt x="635" y="224"/>
                    </a:cubicBezTo>
                    <a:cubicBezTo>
                      <a:pt x="633" y="223"/>
                      <a:pt x="633" y="223"/>
                      <a:pt x="633" y="223"/>
                    </a:cubicBezTo>
                    <a:cubicBezTo>
                      <a:pt x="631" y="223"/>
                      <a:pt x="631" y="223"/>
                      <a:pt x="631" y="223"/>
                    </a:cubicBezTo>
                    <a:cubicBezTo>
                      <a:pt x="632" y="222"/>
                      <a:pt x="632" y="222"/>
                      <a:pt x="632" y="222"/>
                    </a:cubicBezTo>
                    <a:cubicBezTo>
                      <a:pt x="633" y="221"/>
                      <a:pt x="633" y="221"/>
                      <a:pt x="633" y="221"/>
                    </a:cubicBezTo>
                    <a:cubicBezTo>
                      <a:pt x="633" y="220"/>
                      <a:pt x="633" y="220"/>
                      <a:pt x="633" y="220"/>
                    </a:cubicBezTo>
                    <a:cubicBezTo>
                      <a:pt x="632" y="218"/>
                      <a:pt x="632" y="218"/>
                      <a:pt x="632" y="218"/>
                    </a:cubicBezTo>
                    <a:cubicBezTo>
                      <a:pt x="628" y="219"/>
                      <a:pt x="628" y="219"/>
                      <a:pt x="628" y="219"/>
                    </a:cubicBezTo>
                    <a:cubicBezTo>
                      <a:pt x="627" y="217"/>
                      <a:pt x="627" y="217"/>
                      <a:pt x="627" y="217"/>
                    </a:cubicBezTo>
                    <a:cubicBezTo>
                      <a:pt x="627" y="216"/>
                      <a:pt x="627" y="216"/>
                      <a:pt x="627" y="216"/>
                    </a:cubicBezTo>
                    <a:cubicBezTo>
                      <a:pt x="628" y="216"/>
                      <a:pt x="628" y="216"/>
                      <a:pt x="628" y="216"/>
                    </a:cubicBezTo>
                    <a:cubicBezTo>
                      <a:pt x="628" y="214"/>
                      <a:pt x="628" y="214"/>
                      <a:pt x="628" y="214"/>
                    </a:cubicBezTo>
                    <a:cubicBezTo>
                      <a:pt x="625" y="211"/>
                      <a:pt x="625" y="211"/>
                      <a:pt x="625" y="211"/>
                    </a:cubicBezTo>
                    <a:cubicBezTo>
                      <a:pt x="623" y="211"/>
                      <a:pt x="623" y="211"/>
                      <a:pt x="623" y="211"/>
                    </a:cubicBezTo>
                    <a:cubicBezTo>
                      <a:pt x="622" y="212"/>
                      <a:pt x="622" y="212"/>
                      <a:pt x="622" y="212"/>
                    </a:cubicBezTo>
                    <a:cubicBezTo>
                      <a:pt x="619" y="212"/>
                      <a:pt x="619" y="212"/>
                      <a:pt x="619" y="212"/>
                    </a:cubicBezTo>
                    <a:cubicBezTo>
                      <a:pt x="616" y="213"/>
                      <a:pt x="616" y="213"/>
                      <a:pt x="616" y="213"/>
                    </a:cubicBezTo>
                    <a:cubicBezTo>
                      <a:pt x="613" y="211"/>
                      <a:pt x="613" y="211"/>
                      <a:pt x="613" y="211"/>
                    </a:cubicBezTo>
                    <a:cubicBezTo>
                      <a:pt x="612" y="209"/>
                      <a:pt x="612" y="209"/>
                      <a:pt x="612" y="209"/>
                    </a:cubicBezTo>
                    <a:cubicBezTo>
                      <a:pt x="611" y="209"/>
                      <a:pt x="611" y="209"/>
                      <a:pt x="611" y="209"/>
                    </a:cubicBezTo>
                    <a:cubicBezTo>
                      <a:pt x="610" y="210"/>
                      <a:pt x="610" y="210"/>
                      <a:pt x="610" y="210"/>
                    </a:cubicBezTo>
                    <a:cubicBezTo>
                      <a:pt x="608" y="210"/>
                      <a:pt x="608" y="210"/>
                      <a:pt x="608" y="210"/>
                    </a:cubicBezTo>
                    <a:cubicBezTo>
                      <a:pt x="607" y="210"/>
                      <a:pt x="607" y="210"/>
                      <a:pt x="607" y="210"/>
                    </a:cubicBezTo>
                    <a:cubicBezTo>
                      <a:pt x="605" y="210"/>
                      <a:pt x="605" y="210"/>
                      <a:pt x="605" y="210"/>
                    </a:cubicBezTo>
                    <a:cubicBezTo>
                      <a:pt x="604" y="212"/>
                      <a:pt x="604" y="212"/>
                      <a:pt x="604" y="212"/>
                    </a:cubicBezTo>
                    <a:cubicBezTo>
                      <a:pt x="603" y="211"/>
                      <a:pt x="603" y="211"/>
                      <a:pt x="603" y="211"/>
                    </a:cubicBezTo>
                    <a:cubicBezTo>
                      <a:pt x="602" y="210"/>
                      <a:pt x="602" y="210"/>
                      <a:pt x="602" y="210"/>
                    </a:cubicBezTo>
                    <a:cubicBezTo>
                      <a:pt x="600" y="211"/>
                      <a:pt x="600" y="211"/>
                      <a:pt x="600" y="211"/>
                    </a:cubicBezTo>
                    <a:cubicBezTo>
                      <a:pt x="598" y="211"/>
                      <a:pt x="598" y="211"/>
                      <a:pt x="598" y="211"/>
                    </a:cubicBezTo>
                    <a:cubicBezTo>
                      <a:pt x="598" y="212"/>
                      <a:pt x="598" y="212"/>
                      <a:pt x="598" y="212"/>
                    </a:cubicBezTo>
                    <a:cubicBezTo>
                      <a:pt x="597" y="213"/>
                      <a:pt x="597" y="213"/>
                      <a:pt x="597" y="213"/>
                    </a:cubicBezTo>
                    <a:cubicBezTo>
                      <a:pt x="597" y="212"/>
                      <a:pt x="597" y="212"/>
                      <a:pt x="597" y="212"/>
                    </a:cubicBezTo>
                    <a:cubicBezTo>
                      <a:pt x="596" y="211"/>
                      <a:pt x="596" y="211"/>
                      <a:pt x="596" y="211"/>
                    </a:cubicBezTo>
                    <a:cubicBezTo>
                      <a:pt x="594" y="211"/>
                      <a:pt x="594" y="211"/>
                      <a:pt x="594" y="211"/>
                    </a:cubicBezTo>
                    <a:cubicBezTo>
                      <a:pt x="590" y="211"/>
                      <a:pt x="590" y="211"/>
                      <a:pt x="590" y="211"/>
                    </a:cubicBezTo>
                    <a:cubicBezTo>
                      <a:pt x="590" y="211"/>
                      <a:pt x="590" y="211"/>
                      <a:pt x="590" y="211"/>
                    </a:cubicBezTo>
                    <a:cubicBezTo>
                      <a:pt x="591" y="213"/>
                      <a:pt x="591" y="213"/>
                      <a:pt x="591" y="213"/>
                    </a:cubicBezTo>
                    <a:cubicBezTo>
                      <a:pt x="591" y="214"/>
                      <a:pt x="591" y="214"/>
                      <a:pt x="591" y="214"/>
                    </a:cubicBezTo>
                    <a:cubicBezTo>
                      <a:pt x="592" y="216"/>
                      <a:pt x="592" y="216"/>
                      <a:pt x="592" y="216"/>
                    </a:cubicBezTo>
                    <a:cubicBezTo>
                      <a:pt x="590" y="215"/>
                      <a:pt x="590" y="215"/>
                      <a:pt x="590" y="215"/>
                    </a:cubicBezTo>
                    <a:cubicBezTo>
                      <a:pt x="590" y="214"/>
                      <a:pt x="590" y="214"/>
                      <a:pt x="590" y="214"/>
                    </a:cubicBezTo>
                    <a:cubicBezTo>
                      <a:pt x="588" y="213"/>
                      <a:pt x="588" y="213"/>
                      <a:pt x="588" y="213"/>
                    </a:cubicBezTo>
                    <a:cubicBezTo>
                      <a:pt x="586" y="214"/>
                      <a:pt x="586" y="214"/>
                      <a:pt x="586" y="214"/>
                    </a:cubicBezTo>
                    <a:cubicBezTo>
                      <a:pt x="585" y="213"/>
                      <a:pt x="585" y="213"/>
                      <a:pt x="585" y="213"/>
                    </a:cubicBezTo>
                    <a:cubicBezTo>
                      <a:pt x="587" y="213"/>
                      <a:pt x="587" y="213"/>
                      <a:pt x="587" y="213"/>
                    </a:cubicBezTo>
                    <a:cubicBezTo>
                      <a:pt x="587" y="211"/>
                      <a:pt x="587" y="211"/>
                      <a:pt x="587" y="211"/>
                    </a:cubicBezTo>
                    <a:cubicBezTo>
                      <a:pt x="585" y="209"/>
                      <a:pt x="585" y="209"/>
                      <a:pt x="585" y="209"/>
                    </a:cubicBezTo>
                    <a:cubicBezTo>
                      <a:pt x="585" y="208"/>
                      <a:pt x="585" y="208"/>
                      <a:pt x="585" y="208"/>
                    </a:cubicBezTo>
                    <a:cubicBezTo>
                      <a:pt x="584" y="207"/>
                      <a:pt x="584" y="207"/>
                      <a:pt x="584" y="207"/>
                    </a:cubicBezTo>
                    <a:cubicBezTo>
                      <a:pt x="582" y="208"/>
                      <a:pt x="582" y="208"/>
                      <a:pt x="582" y="208"/>
                    </a:cubicBezTo>
                    <a:cubicBezTo>
                      <a:pt x="582" y="209"/>
                      <a:pt x="582" y="209"/>
                      <a:pt x="582" y="209"/>
                    </a:cubicBezTo>
                    <a:cubicBezTo>
                      <a:pt x="582" y="210"/>
                      <a:pt x="582" y="210"/>
                      <a:pt x="582" y="210"/>
                    </a:cubicBezTo>
                    <a:cubicBezTo>
                      <a:pt x="580" y="210"/>
                      <a:pt x="580" y="210"/>
                      <a:pt x="580" y="210"/>
                    </a:cubicBezTo>
                    <a:cubicBezTo>
                      <a:pt x="581" y="209"/>
                      <a:pt x="581" y="209"/>
                      <a:pt x="581" y="209"/>
                    </a:cubicBezTo>
                    <a:cubicBezTo>
                      <a:pt x="581" y="207"/>
                      <a:pt x="581" y="207"/>
                      <a:pt x="581" y="207"/>
                    </a:cubicBezTo>
                    <a:cubicBezTo>
                      <a:pt x="579" y="207"/>
                      <a:pt x="579" y="207"/>
                      <a:pt x="579" y="207"/>
                    </a:cubicBezTo>
                    <a:cubicBezTo>
                      <a:pt x="578" y="208"/>
                      <a:pt x="578" y="208"/>
                      <a:pt x="578" y="208"/>
                    </a:cubicBezTo>
                    <a:cubicBezTo>
                      <a:pt x="577" y="208"/>
                      <a:pt x="577" y="208"/>
                      <a:pt x="577" y="208"/>
                    </a:cubicBezTo>
                    <a:cubicBezTo>
                      <a:pt x="577" y="206"/>
                      <a:pt x="577" y="206"/>
                      <a:pt x="577" y="206"/>
                    </a:cubicBezTo>
                    <a:cubicBezTo>
                      <a:pt x="577" y="205"/>
                      <a:pt x="577" y="205"/>
                      <a:pt x="577" y="205"/>
                    </a:cubicBezTo>
                    <a:cubicBezTo>
                      <a:pt x="577" y="203"/>
                      <a:pt x="577" y="203"/>
                      <a:pt x="577" y="203"/>
                    </a:cubicBezTo>
                    <a:cubicBezTo>
                      <a:pt x="575" y="204"/>
                      <a:pt x="575" y="204"/>
                      <a:pt x="575" y="204"/>
                    </a:cubicBezTo>
                    <a:cubicBezTo>
                      <a:pt x="573" y="206"/>
                      <a:pt x="573" y="206"/>
                      <a:pt x="573" y="206"/>
                    </a:cubicBezTo>
                    <a:cubicBezTo>
                      <a:pt x="573" y="208"/>
                      <a:pt x="573" y="208"/>
                      <a:pt x="573" y="208"/>
                    </a:cubicBezTo>
                    <a:cubicBezTo>
                      <a:pt x="572" y="208"/>
                      <a:pt x="572" y="208"/>
                      <a:pt x="572" y="208"/>
                    </a:cubicBezTo>
                    <a:cubicBezTo>
                      <a:pt x="571" y="206"/>
                      <a:pt x="571" y="206"/>
                      <a:pt x="571" y="206"/>
                    </a:cubicBezTo>
                    <a:cubicBezTo>
                      <a:pt x="572" y="205"/>
                      <a:pt x="572" y="205"/>
                      <a:pt x="572" y="205"/>
                    </a:cubicBezTo>
                    <a:cubicBezTo>
                      <a:pt x="572" y="204"/>
                      <a:pt x="572" y="204"/>
                      <a:pt x="572" y="204"/>
                    </a:cubicBezTo>
                    <a:cubicBezTo>
                      <a:pt x="573" y="201"/>
                      <a:pt x="573" y="201"/>
                      <a:pt x="573" y="201"/>
                    </a:cubicBezTo>
                    <a:cubicBezTo>
                      <a:pt x="572" y="199"/>
                      <a:pt x="572" y="199"/>
                      <a:pt x="572" y="199"/>
                    </a:cubicBezTo>
                    <a:cubicBezTo>
                      <a:pt x="569" y="200"/>
                      <a:pt x="569" y="200"/>
                      <a:pt x="569" y="200"/>
                    </a:cubicBezTo>
                    <a:cubicBezTo>
                      <a:pt x="569" y="199"/>
                      <a:pt x="569" y="199"/>
                      <a:pt x="569" y="199"/>
                    </a:cubicBezTo>
                    <a:cubicBezTo>
                      <a:pt x="571" y="198"/>
                      <a:pt x="571" y="198"/>
                      <a:pt x="571" y="198"/>
                    </a:cubicBezTo>
                    <a:cubicBezTo>
                      <a:pt x="572" y="196"/>
                      <a:pt x="572" y="196"/>
                      <a:pt x="572" y="196"/>
                    </a:cubicBezTo>
                    <a:cubicBezTo>
                      <a:pt x="572" y="195"/>
                      <a:pt x="572" y="195"/>
                      <a:pt x="572" y="195"/>
                    </a:cubicBezTo>
                    <a:cubicBezTo>
                      <a:pt x="570" y="195"/>
                      <a:pt x="570" y="195"/>
                      <a:pt x="570" y="195"/>
                    </a:cubicBezTo>
                    <a:cubicBezTo>
                      <a:pt x="569" y="195"/>
                      <a:pt x="569" y="195"/>
                      <a:pt x="569" y="195"/>
                    </a:cubicBezTo>
                    <a:cubicBezTo>
                      <a:pt x="568" y="195"/>
                      <a:pt x="568" y="195"/>
                      <a:pt x="568" y="195"/>
                    </a:cubicBezTo>
                    <a:cubicBezTo>
                      <a:pt x="566" y="195"/>
                      <a:pt x="566" y="195"/>
                      <a:pt x="566" y="195"/>
                    </a:cubicBezTo>
                    <a:cubicBezTo>
                      <a:pt x="567" y="195"/>
                      <a:pt x="567" y="195"/>
                      <a:pt x="567" y="195"/>
                    </a:cubicBezTo>
                    <a:cubicBezTo>
                      <a:pt x="567" y="194"/>
                      <a:pt x="567" y="194"/>
                      <a:pt x="567" y="194"/>
                    </a:cubicBezTo>
                    <a:cubicBezTo>
                      <a:pt x="565" y="194"/>
                      <a:pt x="565" y="194"/>
                      <a:pt x="565" y="194"/>
                    </a:cubicBezTo>
                    <a:cubicBezTo>
                      <a:pt x="564" y="195"/>
                      <a:pt x="564" y="195"/>
                      <a:pt x="564" y="195"/>
                    </a:cubicBezTo>
                    <a:cubicBezTo>
                      <a:pt x="562" y="195"/>
                      <a:pt x="562" y="195"/>
                      <a:pt x="562" y="195"/>
                    </a:cubicBezTo>
                    <a:cubicBezTo>
                      <a:pt x="562" y="194"/>
                      <a:pt x="562" y="194"/>
                      <a:pt x="562" y="194"/>
                    </a:cubicBezTo>
                    <a:cubicBezTo>
                      <a:pt x="563" y="194"/>
                      <a:pt x="563" y="194"/>
                      <a:pt x="563" y="194"/>
                    </a:cubicBezTo>
                    <a:cubicBezTo>
                      <a:pt x="564" y="192"/>
                      <a:pt x="564" y="192"/>
                      <a:pt x="564" y="192"/>
                    </a:cubicBezTo>
                    <a:cubicBezTo>
                      <a:pt x="564" y="191"/>
                      <a:pt x="564" y="191"/>
                      <a:pt x="564" y="191"/>
                    </a:cubicBezTo>
                    <a:cubicBezTo>
                      <a:pt x="566" y="191"/>
                      <a:pt x="566" y="191"/>
                      <a:pt x="566" y="191"/>
                    </a:cubicBezTo>
                    <a:cubicBezTo>
                      <a:pt x="567" y="192"/>
                      <a:pt x="567" y="192"/>
                      <a:pt x="567" y="192"/>
                    </a:cubicBezTo>
                    <a:cubicBezTo>
                      <a:pt x="570" y="192"/>
                      <a:pt x="570" y="192"/>
                      <a:pt x="570" y="192"/>
                    </a:cubicBezTo>
                    <a:cubicBezTo>
                      <a:pt x="570" y="191"/>
                      <a:pt x="570" y="191"/>
                      <a:pt x="570" y="191"/>
                    </a:cubicBezTo>
                    <a:cubicBezTo>
                      <a:pt x="568" y="189"/>
                      <a:pt x="568" y="189"/>
                      <a:pt x="568" y="189"/>
                    </a:cubicBezTo>
                    <a:cubicBezTo>
                      <a:pt x="566" y="189"/>
                      <a:pt x="566" y="189"/>
                      <a:pt x="566" y="189"/>
                    </a:cubicBezTo>
                    <a:cubicBezTo>
                      <a:pt x="567" y="188"/>
                      <a:pt x="567" y="188"/>
                      <a:pt x="567" y="188"/>
                    </a:cubicBezTo>
                    <a:cubicBezTo>
                      <a:pt x="565" y="186"/>
                      <a:pt x="565" y="186"/>
                      <a:pt x="565" y="186"/>
                    </a:cubicBezTo>
                    <a:cubicBezTo>
                      <a:pt x="563" y="185"/>
                      <a:pt x="563" y="185"/>
                      <a:pt x="563" y="185"/>
                    </a:cubicBezTo>
                    <a:cubicBezTo>
                      <a:pt x="564" y="185"/>
                      <a:pt x="564" y="185"/>
                      <a:pt x="564" y="185"/>
                    </a:cubicBezTo>
                    <a:cubicBezTo>
                      <a:pt x="564" y="183"/>
                      <a:pt x="564" y="183"/>
                      <a:pt x="564" y="183"/>
                    </a:cubicBezTo>
                    <a:cubicBezTo>
                      <a:pt x="565" y="183"/>
                      <a:pt x="565" y="183"/>
                      <a:pt x="565" y="183"/>
                    </a:cubicBezTo>
                    <a:cubicBezTo>
                      <a:pt x="566" y="185"/>
                      <a:pt x="566" y="185"/>
                      <a:pt x="566" y="185"/>
                    </a:cubicBezTo>
                    <a:cubicBezTo>
                      <a:pt x="568" y="187"/>
                      <a:pt x="568" y="187"/>
                      <a:pt x="568" y="187"/>
                    </a:cubicBezTo>
                    <a:cubicBezTo>
                      <a:pt x="570" y="188"/>
                      <a:pt x="570" y="188"/>
                      <a:pt x="570" y="188"/>
                    </a:cubicBezTo>
                    <a:cubicBezTo>
                      <a:pt x="572" y="190"/>
                      <a:pt x="572" y="190"/>
                      <a:pt x="572" y="190"/>
                    </a:cubicBezTo>
                    <a:cubicBezTo>
                      <a:pt x="573" y="188"/>
                      <a:pt x="573" y="188"/>
                      <a:pt x="573" y="188"/>
                    </a:cubicBezTo>
                    <a:cubicBezTo>
                      <a:pt x="574" y="190"/>
                      <a:pt x="574" y="190"/>
                      <a:pt x="574" y="190"/>
                    </a:cubicBezTo>
                    <a:cubicBezTo>
                      <a:pt x="577" y="191"/>
                      <a:pt x="577" y="191"/>
                      <a:pt x="577" y="191"/>
                    </a:cubicBezTo>
                    <a:cubicBezTo>
                      <a:pt x="579" y="191"/>
                      <a:pt x="579" y="191"/>
                      <a:pt x="579" y="191"/>
                    </a:cubicBezTo>
                    <a:cubicBezTo>
                      <a:pt x="580" y="189"/>
                      <a:pt x="580" y="189"/>
                      <a:pt x="580" y="189"/>
                    </a:cubicBezTo>
                    <a:cubicBezTo>
                      <a:pt x="579" y="187"/>
                      <a:pt x="579" y="187"/>
                      <a:pt x="579" y="187"/>
                    </a:cubicBezTo>
                    <a:cubicBezTo>
                      <a:pt x="575" y="184"/>
                      <a:pt x="575" y="184"/>
                      <a:pt x="575" y="184"/>
                    </a:cubicBezTo>
                    <a:cubicBezTo>
                      <a:pt x="574" y="182"/>
                      <a:pt x="574" y="182"/>
                      <a:pt x="574" y="182"/>
                    </a:cubicBezTo>
                    <a:cubicBezTo>
                      <a:pt x="572" y="182"/>
                      <a:pt x="572" y="182"/>
                      <a:pt x="572" y="182"/>
                    </a:cubicBezTo>
                    <a:cubicBezTo>
                      <a:pt x="572" y="180"/>
                      <a:pt x="572" y="180"/>
                      <a:pt x="572" y="180"/>
                    </a:cubicBezTo>
                    <a:cubicBezTo>
                      <a:pt x="570" y="179"/>
                      <a:pt x="570" y="179"/>
                      <a:pt x="570" y="179"/>
                    </a:cubicBezTo>
                    <a:cubicBezTo>
                      <a:pt x="569" y="178"/>
                      <a:pt x="569" y="178"/>
                      <a:pt x="569" y="178"/>
                    </a:cubicBezTo>
                    <a:cubicBezTo>
                      <a:pt x="568" y="177"/>
                      <a:pt x="568" y="177"/>
                      <a:pt x="568" y="177"/>
                    </a:cubicBezTo>
                    <a:cubicBezTo>
                      <a:pt x="569" y="176"/>
                      <a:pt x="569" y="176"/>
                      <a:pt x="569" y="176"/>
                    </a:cubicBezTo>
                    <a:cubicBezTo>
                      <a:pt x="570" y="177"/>
                      <a:pt x="570" y="177"/>
                      <a:pt x="570" y="177"/>
                    </a:cubicBezTo>
                    <a:cubicBezTo>
                      <a:pt x="572" y="178"/>
                      <a:pt x="572" y="178"/>
                      <a:pt x="572" y="178"/>
                    </a:cubicBezTo>
                    <a:cubicBezTo>
                      <a:pt x="573" y="178"/>
                      <a:pt x="573" y="178"/>
                      <a:pt x="573" y="178"/>
                    </a:cubicBezTo>
                    <a:cubicBezTo>
                      <a:pt x="574" y="180"/>
                      <a:pt x="574" y="180"/>
                      <a:pt x="574" y="180"/>
                    </a:cubicBezTo>
                    <a:cubicBezTo>
                      <a:pt x="575" y="180"/>
                      <a:pt x="575" y="180"/>
                      <a:pt x="575" y="180"/>
                    </a:cubicBezTo>
                    <a:cubicBezTo>
                      <a:pt x="575" y="179"/>
                      <a:pt x="575" y="179"/>
                      <a:pt x="575" y="179"/>
                    </a:cubicBezTo>
                    <a:cubicBezTo>
                      <a:pt x="575" y="176"/>
                      <a:pt x="575" y="176"/>
                      <a:pt x="575" y="176"/>
                    </a:cubicBezTo>
                    <a:cubicBezTo>
                      <a:pt x="572" y="173"/>
                      <a:pt x="572" y="173"/>
                      <a:pt x="572" y="173"/>
                    </a:cubicBezTo>
                    <a:cubicBezTo>
                      <a:pt x="571" y="173"/>
                      <a:pt x="571" y="173"/>
                      <a:pt x="571" y="173"/>
                    </a:cubicBezTo>
                    <a:cubicBezTo>
                      <a:pt x="570" y="173"/>
                      <a:pt x="570" y="173"/>
                      <a:pt x="570" y="173"/>
                    </a:cubicBezTo>
                    <a:cubicBezTo>
                      <a:pt x="568" y="173"/>
                      <a:pt x="568" y="173"/>
                      <a:pt x="568" y="173"/>
                    </a:cubicBezTo>
                    <a:cubicBezTo>
                      <a:pt x="566" y="174"/>
                      <a:pt x="566" y="174"/>
                      <a:pt x="566" y="174"/>
                    </a:cubicBezTo>
                    <a:cubicBezTo>
                      <a:pt x="564" y="174"/>
                      <a:pt x="564" y="174"/>
                      <a:pt x="564" y="174"/>
                    </a:cubicBezTo>
                    <a:cubicBezTo>
                      <a:pt x="563" y="173"/>
                      <a:pt x="563" y="173"/>
                      <a:pt x="563" y="173"/>
                    </a:cubicBezTo>
                    <a:cubicBezTo>
                      <a:pt x="561" y="173"/>
                      <a:pt x="561" y="173"/>
                      <a:pt x="561" y="173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58" y="174"/>
                      <a:pt x="558" y="174"/>
                      <a:pt x="558" y="174"/>
                    </a:cubicBezTo>
                    <a:cubicBezTo>
                      <a:pt x="556" y="176"/>
                      <a:pt x="556" y="176"/>
                      <a:pt x="556" y="176"/>
                    </a:cubicBezTo>
                    <a:cubicBezTo>
                      <a:pt x="555" y="177"/>
                      <a:pt x="555" y="177"/>
                      <a:pt x="555" y="177"/>
                    </a:cubicBezTo>
                    <a:cubicBezTo>
                      <a:pt x="554" y="178"/>
                      <a:pt x="554" y="178"/>
                      <a:pt x="554" y="178"/>
                    </a:cubicBezTo>
                    <a:cubicBezTo>
                      <a:pt x="554" y="177"/>
                      <a:pt x="554" y="177"/>
                      <a:pt x="554" y="177"/>
                    </a:cubicBezTo>
                    <a:cubicBezTo>
                      <a:pt x="555" y="175"/>
                      <a:pt x="555" y="175"/>
                      <a:pt x="555" y="175"/>
                    </a:cubicBezTo>
                    <a:cubicBezTo>
                      <a:pt x="556" y="175"/>
                      <a:pt x="556" y="175"/>
                      <a:pt x="556" y="175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60" y="170"/>
                      <a:pt x="560" y="170"/>
                      <a:pt x="560" y="170"/>
                    </a:cubicBezTo>
                    <a:cubicBezTo>
                      <a:pt x="560" y="168"/>
                      <a:pt x="560" y="168"/>
                      <a:pt x="560" y="168"/>
                    </a:cubicBezTo>
                    <a:cubicBezTo>
                      <a:pt x="560" y="163"/>
                      <a:pt x="560" y="163"/>
                      <a:pt x="560" y="163"/>
                    </a:cubicBezTo>
                    <a:cubicBezTo>
                      <a:pt x="560" y="163"/>
                      <a:pt x="560" y="163"/>
                      <a:pt x="560" y="163"/>
                    </a:cubicBezTo>
                    <a:cubicBezTo>
                      <a:pt x="559" y="161"/>
                      <a:pt x="559" y="161"/>
                      <a:pt x="559" y="161"/>
                    </a:cubicBezTo>
                    <a:cubicBezTo>
                      <a:pt x="558" y="162"/>
                      <a:pt x="558" y="162"/>
                      <a:pt x="558" y="162"/>
                    </a:cubicBezTo>
                    <a:cubicBezTo>
                      <a:pt x="556" y="162"/>
                      <a:pt x="556" y="162"/>
                      <a:pt x="556" y="162"/>
                    </a:cubicBezTo>
                    <a:cubicBezTo>
                      <a:pt x="555" y="161"/>
                      <a:pt x="555" y="161"/>
                      <a:pt x="555" y="161"/>
                    </a:cubicBezTo>
                    <a:cubicBezTo>
                      <a:pt x="555" y="159"/>
                      <a:pt x="555" y="159"/>
                      <a:pt x="555" y="159"/>
                    </a:cubicBezTo>
                    <a:cubicBezTo>
                      <a:pt x="555" y="158"/>
                      <a:pt x="555" y="158"/>
                      <a:pt x="555" y="158"/>
                    </a:cubicBezTo>
                    <a:cubicBezTo>
                      <a:pt x="551" y="157"/>
                      <a:pt x="551" y="157"/>
                      <a:pt x="551" y="157"/>
                    </a:cubicBezTo>
                    <a:cubicBezTo>
                      <a:pt x="550" y="155"/>
                      <a:pt x="550" y="155"/>
                      <a:pt x="550" y="155"/>
                    </a:cubicBezTo>
                    <a:cubicBezTo>
                      <a:pt x="548" y="155"/>
                      <a:pt x="548" y="155"/>
                      <a:pt x="548" y="155"/>
                    </a:cubicBezTo>
                    <a:cubicBezTo>
                      <a:pt x="546" y="154"/>
                      <a:pt x="546" y="154"/>
                      <a:pt x="546" y="154"/>
                    </a:cubicBezTo>
                    <a:cubicBezTo>
                      <a:pt x="545" y="155"/>
                      <a:pt x="545" y="155"/>
                      <a:pt x="545" y="155"/>
                    </a:cubicBezTo>
                    <a:cubicBezTo>
                      <a:pt x="541" y="155"/>
                      <a:pt x="541" y="155"/>
                      <a:pt x="541" y="155"/>
                    </a:cubicBezTo>
                    <a:cubicBezTo>
                      <a:pt x="541" y="156"/>
                      <a:pt x="541" y="156"/>
                      <a:pt x="541" y="156"/>
                    </a:cubicBezTo>
                    <a:cubicBezTo>
                      <a:pt x="540" y="156"/>
                      <a:pt x="540" y="156"/>
                      <a:pt x="540" y="156"/>
                    </a:cubicBezTo>
                    <a:cubicBezTo>
                      <a:pt x="539" y="158"/>
                      <a:pt x="539" y="158"/>
                      <a:pt x="539" y="158"/>
                    </a:cubicBezTo>
                    <a:cubicBezTo>
                      <a:pt x="541" y="160"/>
                      <a:pt x="541" y="160"/>
                      <a:pt x="541" y="160"/>
                    </a:cubicBezTo>
                    <a:cubicBezTo>
                      <a:pt x="541" y="161"/>
                      <a:pt x="541" y="161"/>
                      <a:pt x="541" y="161"/>
                    </a:cubicBezTo>
                    <a:cubicBezTo>
                      <a:pt x="540" y="161"/>
                      <a:pt x="540" y="161"/>
                      <a:pt x="540" y="161"/>
                    </a:cubicBezTo>
                    <a:cubicBezTo>
                      <a:pt x="538" y="158"/>
                      <a:pt x="538" y="158"/>
                      <a:pt x="538" y="158"/>
                    </a:cubicBezTo>
                    <a:cubicBezTo>
                      <a:pt x="537" y="160"/>
                      <a:pt x="537" y="160"/>
                      <a:pt x="537" y="160"/>
                    </a:cubicBezTo>
                    <a:cubicBezTo>
                      <a:pt x="538" y="162"/>
                      <a:pt x="538" y="162"/>
                      <a:pt x="538" y="162"/>
                    </a:cubicBezTo>
                    <a:cubicBezTo>
                      <a:pt x="540" y="163"/>
                      <a:pt x="540" y="163"/>
                      <a:pt x="540" y="163"/>
                    </a:cubicBezTo>
                    <a:cubicBezTo>
                      <a:pt x="542" y="166"/>
                      <a:pt x="542" y="166"/>
                      <a:pt x="542" y="166"/>
                    </a:cubicBezTo>
                    <a:cubicBezTo>
                      <a:pt x="544" y="166"/>
                      <a:pt x="544" y="166"/>
                      <a:pt x="544" y="166"/>
                    </a:cubicBezTo>
                    <a:cubicBezTo>
                      <a:pt x="543" y="167"/>
                      <a:pt x="543" y="167"/>
                      <a:pt x="543" y="167"/>
                    </a:cubicBezTo>
                    <a:cubicBezTo>
                      <a:pt x="541" y="167"/>
                      <a:pt x="541" y="167"/>
                      <a:pt x="541" y="167"/>
                    </a:cubicBezTo>
                    <a:cubicBezTo>
                      <a:pt x="541" y="169"/>
                      <a:pt x="541" y="169"/>
                      <a:pt x="541" y="169"/>
                    </a:cubicBezTo>
                    <a:cubicBezTo>
                      <a:pt x="543" y="173"/>
                      <a:pt x="543" y="173"/>
                      <a:pt x="543" y="173"/>
                    </a:cubicBezTo>
                    <a:cubicBezTo>
                      <a:pt x="545" y="173"/>
                      <a:pt x="545" y="173"/>
                      <a:pt x="545" y="173"/>
                    </a:cubicBezTo>
                    <a:cubicBezTo>
                      <a:pt x="545" y="175"/>
                      <a:pt x="545" y="175"/>
                      <a:pt x="545" y="175"/>
                    </a:cubicBezTo>
                    <a:cubicBezTo>
                      <a:pt x="544" y="174"/>
                      <a:pt x="544" y="174"/>
                      <a:pt x="544" y="174"/>
                    </a:cubicBezTo>
                    <a:cubicBezTo>
                      <a:pt x="541" y="174"/>
                      <a:pt x="541" y="174"/>
                      <a:pt x="541" y="174"/>
                    </a:cubicBezTo>
                    <a:cubicBezTo>
                      <a:pt x="541" y="175"/>
                      <a:pt x="541" y="175"/>
                      <a:pt x="541" y="175"/>
                    </a:cubicBezTo>
                    <a:cubicBezTo>
                      <a:pt x="540" y="175"/>
                      <a:pt x="540" y="175"/>
                      <a:pt x="540" y="175"/>
                    </a:cubicBezTo>
                    <a:cubicBezTo>
                      <a:pt x="539" y="177"/>
                      <a:pt x="539" y="177"/>
                      <a:pt x="539" y="177"/>
                    </a:cubicBezTo>
                    <a:cubicBezTo>
                      <a:pt x="542" y="176"/>
                      <a:pt x="542" y="176"/>
                      <a:pt x="542" y="176"/>
                    </a:cubicBezTo>
                    <a:cubicBezTo>
                      <a:pt x="543" y="177"/>
                      <a:pt x="543" y="177"/>
                      <a:pt x="543" y="177"/>
                    </a:cubicBezTo>
                    <a:cubicBezTo>
                      <a:pt x="546" y="176"/>
                      <a:pt x="546" y="176"/>
                      <a:pt x="546" y="176"/>
                    </a:cubicBezTo>
                    <a:cubicBezTo>
                      <a:pt x="547" y="177"/>
                      <a:pt x="547" y="177"/>
                      <a:pt x="547" y="177"/>
                    </a:cubicBezTo>
                    <a:cubicBezTo>
                      <a:pt x="549" y="178"/>
                      <a:pt x="549" y="178"/>
                      <a:pt x="549" y="178"/>
                    </a:cubicBezTo>
                    <a:cubicBezTo>
                      <a:pt x="549" y="179"/>
                      <a:pt x="549" y="179"/>
                      <a:pt x="549" y="179"/>
                    </a:cubicBezTo>
                    <a:cubicBezTo>
                      <a:pt x="552" y="181"/>
                      <a:pt x="552" y="181"/>
                      <a:pt x="552" y="181"/>
                    </a:cubicBezTo>
                    <a:cubicBezTo>
                      <a:pt x="553" y="181"/>
                      <a:pt x="553" y="181"/>
                      <a:pt x="553" y="181"/>
                    </a:cubicBezTo>
                    <a:cubicBezTo>
                      <a:pt x="553" y="180"/>
                      <a:pt x="553" y="180"/>
                      <a:pt x="553" y="180"/>
                    </a:cubicBezTo>
                    <a:cubicBezTo>
                      <a:pt x="553" y="180"/>
                      <a:pt x="553" y="180"/>
                      <a:pt x="553" y="180"/>
                    </a:cubicBezTo>
                    <a:cubicBezTo>
                      <a:pt x="555" y="179"/>
                      <a:pt x="555" y="179"/>
                      <a:pt x="555" y="179"/>
                    </a:cubicBezTo>
                    <a:cubicBezTo>
                      <a:pt x="557" y="180"/>
                      <a:pt x="557" y="180"/>
                      <a:pt x="557" y="180"/>
                    </a:cubicBezTo>
                    <a:cubicBezTo>
                      <a:pt x="557" y="181"/>
                      <a:pt x="557" y="181"/>
                      <a:pt x="557" y="181"/>
                    </a:cubicBezTo>
                    <a:cubicBezTo>
                      <a:pt x="556" y="183"/>
                      <a:pt x="556" y="183"/>
                      <a:pt x="556" y="183"/>
                    </a:cubicBezTo>
                    <a:cubicBezTo>
                      <a:pt x="556" y="186"/>
                      <a:pt x="556" y="186"/>
                      <a:pt x="556" y="186"/>
                    </a:cubicBezTo>
                    <a:cubicBezTo>
                      <a:pt x="555" y="189"/>
                      <a:pt x="555" y="189"/>
                      <a:pt x="555" y="189"/>
                    </a:cubicBezTo>
                    <a:cubicBezTo>
                      <a:pt x="555" y="190"/>
                      <a:pt x="555" y="190"/>
                      <a:pt x="555" y="190"/>
                    </a:cubicBezTo>
                    <a:cubicBezTo>
                      <a:pt x="557" y="192"/>
                      <a:pt x="557" y="192"/>
                      <a:pt x="557" y="192"/>
                    </a:cubicBezTo>
                    <a:cubicBezTo>
                      <a:pt x="556" y="195"/>
                      <a:pt x="556" y="195"/>
                      <a:pt x="556" y="195"/>
                    </a:cubicBezTo>
                    <a:cubicBezTo>
                      <a:pt x="556" y="196"/>
                      <a:pt x="556" y="196"/>
                      <a:pt x="556" y="196"/>
                    </a:cubicBezTo>
                    <a:cubicBezTo>
                      <a:pt x="555" y="198"/>
                      <a:pt x="555" y="198"/>
                      <a:pt x="555" y="198"/>
                    </a:cubicBezTo>
                    <a:cubicBezTo>
                      <a:pt x="553" y="200"/>
                      <a:pt x="553" y="200"/>
                      <a:pt x="553" y="200"/>
                    </a:cubicBezTo>
                    <a:cubicBezTo>
                      <a:pt x="550" y="201"/>
                      <a:pt x="550" y="201"/>
                      <a:pt x="550" y="201"/>
                    </a:cubicBezTo>
                    <a:cubicBezTo>
                      <a:pt x="550" y="202"/>
                      <a:pt x="550" y="202"/>
                      <a:pt x="550" y="202"/>
                    </a:cubicBezTo>
                    <a:cubicBezTo>
                      <a:pt x="548" y="205"/>
                      <a:pt x="548" y="205"/>
                      <a:pt x="548" y="205"/>
                    </a:cubicBezTo>
                    <a:cubicBezTo>
                      <a:pt x="548" y="206"/>
                      <a:pt x="548" y="206"/>
                      <a:pt x="548" y="206"/>
                    </a:cubicBezTo>
                    <a:cubicBezTo>
                      <a:pt x="546" y="207"/>
                      <a:pt x="546" y="207"/>
                      <a:pt x="546" y="207"/>
                    </a:cubicBezTo>
                    <a:cubicBezTo>
                      <a:pt x="545" y="209"/>
                      <a:pt x="545" y="209"/>
                      <a:pt x="545" y="209"/>
                    </a:cubicBezTo>
                    <a:cubicBezTo>
                      <a:pt x="545" y="211"/>
                      <a:pt x="545" y="211"/>
                      <a:pt x="545" y="211"/>
                    </a:cubicBezTo>
                    <a:cubicBezTo>
                      <a:pt x="547" y="212"/>
                      <a:pt x="547" y="212"/>
                      <a:pt x="547" y="212"/>
                    </a:cubicBezTo>
                    <a:cubicBezTo>
                      <a:pt x="547" y="213"/>
                      <a:pt x="547" y="213"/>
                      <a:pt x="547" y="213"/>
                    </a:cubicBezTo>
                    <a:cubicBezTo>
                      <a:pt x="545" y="214"/>
                      <a:pt x="545" y="214"/>
                      <a:pt x="545" y="214"/>
                    </a:cubicBezTo>
                    <a:cubicBezTo>
                      <a:pt x="545" y="215"/>
                      <a:pt x="545" y="215"/>
                      <a:pt x="545" y="215"/>
                    </a:cubicBezTo>
                    <a:cubicBezTo>
                      <a:pt x="546" y="216"/>
                      <a:pt x="546" y="216"/>
                      <a:pt x="546" y="216"/>
                    </a:cubicBezTo>
                    <a:cubicBezTo>
                      <a:pt x="544" y="218"/>
                      <a:pt x="544" y="218"/>
                      <a:pt x="544" y="218"/>
                    </a:cubicBezTo>
                    <a:cubicBezTo>
                      <a:pt x="544" y="220"/>
                      <a:pt x="544" y="220"/>
                      <a:pt x="544" y="220"/>
                    </a:cubicBezTo>
                    <a:cubicBezTo>
                      <a:pt x="545" y="222"/>
                      <a:pt x="545" y="222"/>
                      <a:pt x="545" y="222"/>
                    </a:cubicBezTo>
                    <a:cubicBezTo>
                      <a:pt x="546" y="222"/>
                      <a:pt x="546" y="222"/>
                      <a:pt x="546" y="222"/>
                    </a:cubicBezTo>
                    <a:cubicBezTo>
                      <a:pt x="546" y="223"/>
                      <a:pt x="546" y="223"/>
                      <a:pt x="546" y="223"/>
                    </a:cubicBezTo>
                    <a:cubicBezTo>
                      <a:pt x="547" y="225"/>
                      <a:pt x="547" y="225"/>
                      <a:pt x="547" y="225"/>
                    </a:cubicBezTo>
                    <a:cubicBezTo>
                      <a:pt x="548" y="225"/>
                      <a:pt x="548" y="225"/>
                      <a:pt x="548" y="225"/>
                    </a:cubicBezTo>
                    <a:cubicBezTo>
                      <a:pt x="549" y="223"/>
                      <a:pt x="549" y="223"/>
                      <a:pt x="549" y="223"/>
                    </a:cubicBezTo>
                    <a:cubicBezTo>
                      <a:pt x="549" y="222"/>
                      <a:pt x="549" y="222"/>
                      <a:pt x="549" y="222"/>
                    </a:cubicBezTo>
                    <a:cubicBezTo>
                      <a:pt x="550" y="222"/>
                      <a:pt x="550" y="222"/>
                      <a:pt x="550" y="222"/>
                    </a:cubicBezTo>
                    <a:cubicBezTo>
                      <a:pt x="551" y="222"/>
                      <a:pt x="551" y="222"/>
                      <a:pt x="551" y="222"/>
                    </a:cubicBezTo>
                    <a:cubicBezTo>
                      <a:pt x="553" y="220"/>
                      <a:pt x="553" y="220"/>
                      <a:pt x="553" y="220"/>
                    </a:cubicBezTo>
                    <a:cubicBezTo>
                      <a:pt x="553" y="221"/>
                      <a:pt x="553" y="221"/>
                      <a:pt x="553" y="221"/>
                    </a:cubicBezTo>
                    <a:cubicBezTo>
                      <a:pt x="552" y="223"/>
                      <a:pt x="552" y="223"/>
                      <a:pt x="552" y="223"/>
                    </a:cubicBezTo>
                    <a:cubicBezTo>
                      <a:pt x="551" y="224"/>
                      <a:pt x="551" y="224"/>
                      <a:pt x="551" y="224"/>
                    </a:cubicBezTo>
                    <a:cubicBezTo>
                      <a:pt x="550" y="225"/>
                      <a:pt x="550" y="225"/>
                      <a:pt x="550" y="225"/>
                    </a:cubicBezTo>
                    <a:cubicBezTo>
                      <a:pt x="551" y="226"/>
                      <a:pt x="551" y="226"/>
                      <a:pt x="551" y="226"/>
                    </a:cubicBezTo>
                    <a:cubicBezTo>
                      <a:pt x="551" y="227"/>
                      <a:pt x="551" y="227"/>
                      <a:pt x="551" y="227"/>
                    </a:cubicBezTo>
                    <a:cubicBezTo>
                      <a:pt x="553" y="229"/>
                      <a:pt x="553" y="229"/>
                      <a:pt x="553" y="229"/>
                    </a:cubicBezTo>
                    <a:cubicBezTo>
                      <a:pt x="555" y="228"/>
                      <a:pt x="555" y="228"/>
                      <a:pt x="555" y="228"/>
                    </a:cubicBezTo>
                    <a:cubicBezTo>
                      <a:pt x="555" y="229"/>
                      <a:pt x="555" y="229"/>
                      <a:pt x="555" y="229"/>
                    </a:cubicBezTo>
                    <a:cubicBezTo>
                      <a:pt x="558" y="230"/>
                      <a:pt x="558" y="230"/>
                      <a:pt x="558" y="230"/>
                    </a:cubicBezTo>
                    <a:cubicBezTo>
                      <a:pt x="559" y="228"/>
                      <a:pt x="559" y="228"/>
                      <a:pt x="559" y="228"/>
                    </a:cubicBezTo>
                    <a:cubicBezTo>
                      <a:pt x="561" y="228"/>
                      <a:pt x="561" y="228"/>
                      <a:pt x="561" y="228"/>
                    </a:cubicBezTo>
                    <a:cubicBezTo>
                      <a:pt x="561" y="225"/>
                      <a:pt x="561" y="225"/>
                      <a:pt x="561" y="225"/>
                    </a:cubicBezTo>
                    <a:cubicBezTo>
                      <a:pt x="562" y="225"/>
                      <a:pt x="562" y="225"/>
                      <a:pt x="562" y="225"/>
                    </a:cubicBezTo>
                    <a:cubicBezTo>
                      <a:pt x="563" y="224"/>
                      <a:pt x="563" y="224"/>
                      <a:pt x="563" y="224"/>
                    </a:cubicBezTo>
                    <a:cubicBezTo>
                      <a:pt x="563" y="226"/>
                      <a:pt x="563" y="226"/>
                      <a:pt x="563" y="226"/>
                    </a:cubicBezTo>
                    <a:cubicBezTo>
                      <a:pt x="563" y="226"/>
                      <a:pt x="563" y="226"/>
                      <a:pt x="563" y="226"/>
                    </a:cubicBezTo>
                    <a:cubicBezTo>
                      <a:pt x="563" y="228"/>
                      <a:pt x="563" y="228"/>
                      <a:pt x="563" y="228"/>
                    </a:cubicBezTo>
                    <a:cubicBezTo>
                      <a:pt x="564" y="227"/>
                      <a:pt x="564" y="227"/>
                      <a:pt x="564" y="227"/>
                    </a:cubicBezTo>
                    <a:cubicBezTo>
                      <a:pt x="565" y="224"/>
                      <a:pt x="565" y="224"/>
                      <a:pt x="565" y="224"/>
                    </a:cubicBezTo>
                    <a:cubicBezTo>
                      <a:pt x="566" y="224"/>
                      <a:pt x="566" y="224"/>
                      <a:pt x="566" y="224"/>
                    </a:cubicBezTo>
                    <a:cubicBezTo>
                      <a:pt x="567" y="225"/>
                      <a:pt x="567" y="225"/>
                      <a:pt x="567" y="225"/>
                    </a:cubicBezTo>
                    <a:cubicBezTo>
                      <a:pt x="566" y="227"/>
                      <a:pt x="566" y="227"/>
                      <a:pt x="566" y="227"/>
                    </a:cubicBezTo>
                    <a:cubicBezTo>
                      <a:pt x="564" y="230"/>
                      <a:pt x="564" y="230"/>
                      <a:pt x="564" y="230"/>
                    </a:cubicBezTo>
                    <a:cubicBezTo>
                      <a:pt x="563" y="232"/>
                      <a:pt x="563" y="232"/>
                      <a:pt x="563" y="232"/>
                    </a:cubicBezTo>
                    <a:cubicBezTo>
                      <a:pt x="563" y="233"/>
                      <a:pt x="563" y="233"/>
                      <a:pt x="563" y="233"/>
                    </a:cubicBezTo>
                    <a:cubicBezTo>
                      <a:pt x="565" y="234"/>
                      <a:pt x="565" y="234"/>
                      <a:pt x="565" y="234"/>
                    </a:cubicBezTo>
                    <a:cubicBezTo>
                      <a:pt x="566" y="235"/>
                      <a:pt x="566" y="235"/>
                      <a:pt x="566" y="235"/>
                    </a:cubicBezTo>
                    <a:cubicBezTo>
                      <a:pt x="568" y="235"/>
                      <a:pt x="568" y="235"/>
                      <a:pt x="568" y="235"/>
                    </a:cubicBezTo>
                    <a:cubicBezTo>
                      <a:pt x="568" y="236"/>
                      <a:pt x="568" y="236"/>
                      <a:pt x="568" y="236"/>
                    </a:cubicBezTo>
                    <a:cubicBezTo>
                      <a:pt x="570" y="236"/>
                      <a:pt x="570" y="236"/>
                      <a:pt x="570" y="236"/>
                    </a:cubicBezTo>
                    <a:cubicBezTo>
                      <a:pt x="571" y="234"/>
                      <a:pt x="571" y="234"/>
                      <a:pt x="571" y="234"/>
                    </a:cubicBezTo>
                    <a:cubicBezTo>
                      <a:pt x="573" y="235"/>
                      <a:pt x="573" y="235"/>
                      <a:pt x="573" y="235"/>
                    </a:cubicBezTo>
                    <a:cubicBezTo>
                      <a:pt x="572" y="236"/>
                      <a:pt x="572" y="236"/>
                      <a:pt x="572" y="236"/>
                    </a:cubicBezTo>
                    <a:cubicBezTo>
                      <a:pt x="573" y="237"/>
                      <a:pt x="573" y="237"/>
                      <a:pt x="573" y="237"/>
                    </a:cubicBezTo>
                    <a:cubicBezTo>
                      <a:pt x="574" y="237"/>
                      <a:pt x="574" y="237"/>
                      <a:pt x="574" y="237"/>
                    </a:cubicBezTo>
                    <a:cubicBezTo>
                      <a:pt x="575" y="238"/>
                      <a:pt x="575" y="238"/>
                      <a:pt x="575" y="238"/>
                    </a:cubicBezTo>
                    <a:cubicBezTo>
                      <a:pt x="576" y="237"/>
                      <a:pt x="576" y="237"/>
                      <a:pt x="576" y="237"/>
                    </a:cubicBezTo>
                    <a:cubicBezTo>
                      <a:pt x="576" y="236"/>
                      <a:pt x="576" y="236"/>
                      <a:pt x="576" y="236"/>
                    </a:cubicBezTo>
                    <a:cubicBezTo>
                      <a:pt x="576" y="235"/>
                      <a:pt x="576" y="235"/>
                      <a:pt x="576" y="235"/>
                    </a:cubicBezTo>
                    <a:cubicBezTo>
                      <a:pt x="577" y="233"/>
                      <a:pt x="577" y="233"/>
                      <a:pt x="577" y="233"/>
                    </a:cubicBezTo>
                    <a:cubicBezTo>
                      <a:pt x="578" y="234"/>
                      <a:pt x="578" y="234"/>
                      <a:pt x="578" y="234"/>
                    </a:cubicBezTo>
                    <a:cubicBezTo>
                      <a:pt x="577" y="236"/>
                      <a:pt x="577" y="236"/>
                      <a:pt x="577" y="236"/>
                    </a:cubicBezTo>
                    <a:cubicBezTo>
                      <a:pt x="578" y="238"/>
                      <a:pt x="578" y="238"/>
                      <a:pt x="578" y="238"/>
                    </a:cubicBezTo>
                    <a:cubicBezTo>
                      <a:pt x="579" y="238"/>
                      <a:pt x="579" y="238"/>
                      <a:pt x="579" y="238"/>
                    </a:cubicBezTo>
                    <a:cubicBezTo>
                      <a:pt x="579" y="236"/>
                      <a:pt x="579" y="236"/>
                      <a:pt x="579" y="236"/>
                    </a:cubicBezTo>
                    <a:cubicBezTo>
                      <a:pt x="580" y="235"/>
                      <a:pt x="580" y="235"/>
                      <a:pt x="580" y="235"/>
                    </a:cubicBezTo>
                    <a:cubicBezTo>
                      <a:pt x="581" y="235"/>
                      <a:pt x="581" y="235"/>
                      <a:pt x="581" y="235"/>
                    </a:cubicBezTo>
                    <a:cubicBezTo>
                      <a:pt x="581" y="236"/>
                      <a:pt x="581" y="236"/>
                      <a:pt x="581" y="236"/>
                    </a:cubicBezTo>
                    <a:cubicBezTo>
                      <a:pt x="580" y="237"/>
                      <a:pt x="580" y="237"/>
                      <a:pt x="580" y="237"/>
                    </a:cubicBezTo>
                    <a:cubicBezTo>
                      <a:pt x="581" y="238"/>
                      <a:pt x="581" y="238"/>
                      <a:pt x="581" y="238"/>
                    </a:cubicBezTo>
                    <a:cubicBezTo>
                      <a:pt x="583" y="238"/>
                      <a:pt x="583" y="238"/>
                      <a:pt x="583" y="238"/>
                    </a:cubicBezTo>
                    <a:cubicBezTo>
                      <a:pt x="585" y="237"/>
                      <a:pt x="585" y="237"/>
                      <a:pt x="585" y="237"/>
                    </a:cubicBezTo>
                    <a:cubicBezTo>
                      <a:pt x="586" y="234"/>
                      <a:pt x="586" y="234"/>
                      <a:pt x="586" y="234"/>
                    </a:cubicBezTo>
                    <a:cubicBezTo>
                      <a:pt x="586" y="236"/>
                      <a:pt x="586" y="236"/>
                      <a:pt x="586" y="236"/>
                    </a:cubicBezTo>
                    <a:cubicBezTo>
                      <a:pt x="585" y="237"/>
                      <a:pt x="585" y="237"/>
                      <a:pt x="585" y="237"/>
                    </a:cubicBezTo>
                    <a:cubicBezTo>
                      <a:pt x="585" y="238"/>
                      <a:pt x="585" y="238"/>
                      <a:pt x="585" y="238"/>
                    </a:cubicBezTo>
                    <a:cubicBezTo>
                      <a:pt x="588" y="238"/>
                      <a:pt x="588" y="238"/>
                      <a:pt x="588" y="238"/>
                    </a:cubicBezTo>
                    <a:cubicBezTo>
                      <a:pt x="588" y="235"/>
                      <a:pt x="588" y="235"/>
                      <a:pt x="588" y="235"/>
                    </a:cubicBezTo>
                    <a:cubicBezTo>
                      <a:pt x="589" y="234"/>
                      <a:pt x="589" y="234"/>
                      <a:pt x="589" y="234"/>
                    </a:cubicBezTo>
                    <a:cubicBezTo>
                      <a:pt x="589" y="238"/>
                      <a:pt x="589" y="238"/>
                      <a:pt x="589" y="238"/>
                    </a:cubicBezTo>
                    <a:cubicBezTo>
                      <a:pt x="589" y="240"/>
                      <a:pt x="589" y="240"/>
                      <a:pt x="589" y="240"/>
                    </a:cubicBezTo>
                    <a:cubicBezTo>
                      <a:pt x="591" y="240"/>
                      <a:pt x="591" y="240"/>
                      <a:pt x="591" y="240"/>
                    </a:cubicBezTo>
                    <a:cubicBezTo>
                      <a:pt x="593" y="241"/>
                      <a:pt x="593" y="241"/>
                      <a:pt x="593" y="241"/>
                    </a:cubicBezTo>
                    <a:cubicBezTo>
                      <a:pt x="595" y="241"/>
                      <a:pt x="595" y="241"/>
                      <a:pt x="595" y="241"/>
                    </a:cubicBezTo>
                    <a:cubicBezTo>
                      <a:pt x="596" y="240"/>
                      <a:pt x="596" y="240"/>
                      <a:pt x="596" y="240"/>
                    </a:cubicBezTo>
                    <a:cubicBezTo>
                      <a:pt x="597" y="241"/>
                      <a:pt x="597" y="241"/>
                      <a:pt x="597" y="241"/>
                    </a:cubicBezTo>
                    <a:cubicBezTo>
                      <a:pt x="599" y="241"/>
                      <a:pt x="599" y="241"/>
                      <a:pt x="599" y="241"/>
                    </a:cubicBezTo>
                    <a:cubicBezTo>
                      <a:pt x="600" y="240"/>
                      <a:pt x="600" y="240"/>
                      <a:pt x="600" y="240"/>
                    </a:cubicBezTo>
                    <a:cubicBezTo>
                      <a:pt x="600" y="238"/>
                      <a:pt x="600" y="238"/>
                      <a:pt x="600" y="238"/>
                    </a:cubicBezTo>
                    <a:cubicBezTo>
                      <a:pt x="602" y="236"/>
                      <a:pt x="602" y="236"/>
                      <a:pt x="602" y="236"/>
                    </a:cubicBezTo>
                    <a:cubicBezTo>
                      <a:pt x="603" y="235"/>
                      <a:pt x="603" y="235"/>
                      <a:pt x="603" y="235"/>
                    </a:cubicBezTo>
                    <a:cubicBezTo>
                      <a:pt x="602" y="233"/>
                      <a:pt x="602" y="233"/>
                      <a:pt x="602" y="233"/>
                    </a:cubicBezTo>
                    <a:cubicBezTo>
                      <a:pt x="603" y="231"/>
                      <a:pt x="603" y="231"/>
                      <a:pt x="603" y="231"/>
                    </a:cubicBezTo>
                    <a:cubicBezTo>
                      <a:pt x="604" y="232"/>
                      <a:pt x="604" y="232"/>
                      <a:pt x="604" y="232"/>
                    </a:cubicBezTo>
                    <a:cubicBezTo>
                      <a:pt x="604" y="234"/>
                      <a:pt x="604" y="234"/>
                      <a:pt x="604" y="234"/>
                    </a:cubicBezTo>
                    <a:cubicBezTo>
                      <a:pt x="605" y="234"/>
                      <a:pt x="605" y="234"/>
                      <a:pt x="605" y="234"/>
                    </a:cubicBezTo>
                    <a:cubicBezTo>
                      <a:pt x="605" y="235"/>
                      <a:pt x="605" y="235"/>
                      <a:pt x="605" y="235"/>
                    </a:cubicBezTo>
                    <a:cubicBezTo>
                      <a:pt x="604" y="236"/>
                      <a:pt x="604" y="236"/>
                      <a:pt x="604" y="236"/>
                    </a:cubicBezTo>
                    <a:cubicBezTo>
                      <a:pt x="603" y="239"/>
                      <a:pt x="603" y="239"/>
                      <a:pt x="603" y="239"/>
                    </a:cubicBezTo>
                    <a:cubicBezTo>
                      <a:pt x="603" y="243"/>
                      <a:pt x="603" y="243"/>
                      <a:pt x="603" y="243"/>
                    </a:cubicBezTo>
                    <a:close/>
                    <a:moveTo>
                      <a:pt x="537" y="154"/>
                    </a:moveTo>
                    <a:cubicBezTo>
                      <a:pt x="538" y="153"/>
                      <a:pt x="538" y="153"/>
                      <a:pt x="538" y="153"/>
                    </a:cubicBezTo>
                    <a:cubicBezTo>
                      <a:pt x="538" y="152"/>
                      <a:pt x="538" y="152"/>
                      <a:pt x="538" y="152"/>
                    </a:cubicBezTo>
                    <a:cubicBezTo>
                      <a:pt x="537" y="152"/>
                      <a:pt x="537" y="152"/>
                      <a:pt x="537" y="152"/>
                    </a:cubicBezTo>
                    <a:cubicBezTo>
                      <a:pt x="536" y="153"/>
                      <a:pt x="536" y="153"/>
                      <a:pt x="536" y="153"/>
                    </a:cubicBezTo>
                    <a:cubicBezTo>
                      <a:pt x="537" y="154"/>
                      <a:pt x="537" y="154"/>
                      <a:pt x="537" y="154"/>
                    </a:cubicBezTo>
                    <a:close/>
                    <a:moveTo>
                      <a:pt x="533" y="166"/>
                    </a:moveTo>
                    <a:cubicBezTo>
                      <a:pt x="534" y="164"/>
                      <a:pt x="534" y="164"/>
                      <a:pt x="534" y="164"/>
                    </a:cubicBezTo>
                    <a:cubicBezTo>
                      <a:pt x="535" y="163"/>
                      <a:pt x="535" y="163"/>
                      <a:pt x="535" y="163"/>
                    </a:cubicBezTo>
                    <a:cubicBezTo>
                      <a:pt x="535" y="164"/>
                      <a:pt x="535" y="164"/>
                      <a:pt x="535" y="164"/>
                    </a:cubicBezTo>
                    <a:cubicBezTo>
                      <a:pt x="534" y="165"/>
                      <a:pt x="534" y="165"/>
                      <a:pt x="534" y="165"/>
                    </a:cubicBezTo>
                    <a:cubicBezTo>
                      <a:pt x="533" y="166"/>
                      <a:pt x="533" y="166"/>
                      <a:pt x="533" y="166"/>
                    </a:cubicBezTo>
                    <a:close/>
                    <a:moveTo>
                      <a:pt x="487" y="183"/>
                    </a:moveTo>
                    <a:cubicBezTo>
                      <a:pt x="486" y="184"/>
                      <a:pt x="486" y="184"/>
                      <a:pt x="486" y="184"/>
                    </a:cubicBezTo>
                    <a:cubicBezTo>
                      <a:pt x="487" y="184"/>
                      <a:pt x="487" y="184"/>
                      <a:pt x="487" y="184"/>
                    </a:cubicBezTo>
                    <a:cubicBezTo>
                      <a:pt x="487" y="183"/>
                      <a:pt x="487" y="183"/>
                      <a:pt x="487" y="183"/>
                    </a:cubicBezTo>
                    <a:cubicBezTo>
                      <a:pt x="487" y="183"/>
                      <a:pt x="487" y="183"/>
                      <a:pt x="487" y="183"/>
                    </a:cubicBezTo>
                    <a:close/>
                    <a:moveTo>
                      <a:pt x="517" y="153"/>
                    </a:moveTo>
                    <a:cubicBezTo>
                      <a:pt x="517" y="154"/>
                      <a:pt x="517" y="154"/>
                      <a:pt x="517" y="154"/>
                    </a:cubicBezTo>
                    <a:cubicBezTo>
                      <a:pt x="518" y="155"/>
                      <a:pt x="518" y="155"/>
                      <a:pt x="518" y="155"/>
                    </a:cubicBezTo>
                    <a:cubicBezTo>
                      <a:pt x="518" y="156"/>
                      <a:pt x="518" y="156"/>
                      <a:pt x="518" y="156"/>
                    </a:cubicBezTo>
                    <a:cubicBezTo>
                      <a:pt x="519" y="156"/>
                      <a:pt x="519" y="156"/>
                      <a:pt x="519" y="156"/>
                    </a:cubicBezTo>
                    <a:cubicBezTo>
                      <a:pt x="519" y="154"/>
                      <a:pt x="519" y="154"/>
                      <a:pt x="519" y="154"/>
                    </a:cubicBezTo>
                    <a:cubicBezTo>
                      <a:pt x="518" y="153"/>
                      <a:pt x="518" y="153"/>
                      <a:pt x="518" y="153"/>
                    </a:cubicBezTo>
                    <a:cubicBezTo>
                      <a:pt x="517" y="153"/>
                      <a:pt x="517" y="153"/>
                      <a:pt x="517" y="153"/>
                    </a:cubicBezTo>
                    <a:close/>
                    <a:moveTo>
                      <a:pt x="502" y="153"/>
                    </a:moveTo>
                    <a:cubicBezTo>
                      <a:pt x="502" y="155"/>
                      <a:pt x="502" y="155"/>
                      <a:pt x="502" y="155"/>
                    </a:cubicBezTo>
                    <a:cubicBezTo>
                      <a:pt x="503" y="155"/>
                      <a:pt x="503" y="155"/>
                      <a:pt x="503" y="155"/>
                    </a:cubicBezTo>
                    <a:cubicBezTo>
                      <a:pt x="504" y="155"/>
                      <a:pt x="504" y="155"/>
                      <a:pt x="504" y="155"/>
                    </a:cubicBezTo>
                    <a:cubicBezTo>
                      <a:pt x="506" y="154"/>
                      <a:pt x="506" y="154"/>
                      <a:pt x="506" y="154"/>
                    </a:cubicBezTo>
                    <a:cubicBezTo>
                      <a:pt x="508" y="155"/>
                      <a:pt x="508" y="155"/>
                      <a:pt x="508" y="155"/>
                    </a:cubicBezTo>
                    <a:cubicBezTo>
                      <a:pt x="511" y="153"/>
                      <a:pt x="511" y="153"/>
                      <a:pt x="511" y="153"/>
                    </a:cubicBezTo>
                    <a:cubicBezTo>
                      <a:pt x="512" y="153"/>
                      <a:pt x="512" y="153"/>
                      <a:pt x="512" y="153"/>
                    </a:cubicBezTo>
                    <a:cubicBezTo>
                      <a:pt x="514" y="152"/>
                      <a:pt x="514" y="152"/>
                      <a:pt x="514" y="152"/>
                    </a:cubicBezTo>
                    <a:cubicBezTo>
                      <a:pt x="513" y="151"/>
                      <a:pt x="513" y="151"/>
                      <a:pt x="513" y="151"/>
                    </a:cubicBezTo>
                    <a:cubicBezTo>
                      <a:pt x="510" y="151"/>
                      <a:pt x="510" y="151"/>
                      <a:pt x="510" y="151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53"/>
                      <a:pt x="507" y="153"/>
                    </a:cubicBezTo>
                    <a:cubicBezTo>
                      <a:pt x="506" y="153"/>
                      <a:pt x="505" y="152"/>
                      <a:pt x="505" y="152"/>
                    </a:cubicBezTo>
                    <a:cubicBezTo>
                      <a:pt x="503" y="153"/>
                      <a:pt x="503" y="153"/>
                      <a:pt x="503" y="153"/>
                    </a:cubicBezTo>
                    <a:cubicBezTo>
                      <a:pt x="502" y="153"/>
                      <a:pt x="502" y="153"/>
                      <a:pt x="502" y="153"/>
                    </a:cubicBezTo>
                    <a:close/>
                    <a:moveTo>
                      <a:pt x="487" y="159"/>
                    </a:moveTo>
                    <a:cubicBezTo>
                      <a:pt x="486" y="158"/>
                      <a:pt x="486" y="158"/>
                      <a:pt x="486" y="158"/>
                    </a:cubicBezTo>
                    <a:cubicBezTo>
                      <a:pt x="484" y="157"/>
                      <a:pt x="484" y="157"/>
                      <a:pt x="484" y="157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1" y="154"/>
                      <a:pt x="481" y="154"/>
                      <a:pt x="481" y="154"/>
                    </a:cubicBezTo>
                    <a:cubicBezTo>
                      <a:pt x="483" y="153"/>
                      <a:pt x="483" y="153"/>
                      <a:pt x="483" y="153"/>
                    </a:cubicBezTo>
                    <a:cubicBezTo>
                      <a:pt x="483" y="151"/>
                      <a:pt x="483" y="151"/>
                      <a:pt x="483" y="151"/>
                    </a:cubicBezTo>
                    <a:cubicBezTo>
                      <a:pt x="483" y="150"/>
                      <a:pt x="483" y="150"/>
                      <a:pt x="483" y="150"/>
                    </a:cubicBezTo>
                    <a:cubicBezTo>
                      <a:pt x="483" y="148"/>
                      <a:pt x="483" y="148"/>
                      <a:pt x="483" y="148"/>
                    </a:cubicBezTo>
                    <a:cubicBezTo>
                      <a:pt x="484" y="147"/>
                      <a:pt x="484" y="147"/>
                      <a:pt x="484" y="147"/>
                    </a:cubicBezTo>
                    <a:cubicBezTo>
                      <a:pt x="486" y="147"/>
                      <a:pt x="486" y="147"/>
                      <a:pt x="486" y="147"/>
                    </a:cubicBezTo>
                    <a:cubicBezTo>
                      <a:pt x="487" y="148"/>
                      <a:pt x="487" y="148"/>
                      <a:pt x="487" y="148"/>
                    </a:cubicBezTo>
                    <a:cubicBezTo>
                      <a:pt x="488" y="148"/>
                      <a:pt x="488" y="148"/>
                      <a:pt x="488" y="148"/>
                    </a:cubicBezTo>
                    <a:cubicBezTo>
                      <a:pt x="488" y="149"/>
                      <a:pt x="488" y="149"/>
                      <a:pt x="488" y="149"/>
                    </a:cubicBezTo>
                    <a:cubicBezTo>
                      <a:pt x="487" y="150"/>
                      <a:pt x="487" y="150"/>
                      <a:pt x="487" y="150"/>
                    </a:cubicBezTo>
                    <a:cubicBezTo>
                      <a:pt x="487" y="151"/>
                      <a:pt x="487" y="151"/>
                      <a:pt x="487" y="151"/>
                    </a:cubicBezTo>
                    <a:cubicBezTo>
                      <a:pt x="488" y="151"/>
                      <a:pt x="488" y="151"/>
                      <a:pt x="488" y="151"/>
                    </a:cubicBezTo>
                    <a:cubicBezTo>
                      <a:pt x="489" y="151"/>
                      <a:pt x="489" y="151"/>
                      <a:pt x="489" y="151"/>
                    </a:cubicBezTo>
                    <a:cubicBezTo>
                      <a:pt x="489" y="152"/>
                      <a:pt x="489" y="152"/>
                      <a:pt x="489" y="152"/>
                    </a:cubicBezTo>
                    <a:cubicBezTo>
                      <a:pt x="489" y="153"/>
                      <a:pt x="489" y="153"/>
                      <a:pt x="489" y="153"/>
                    </a:cubicBezTo>
                    <a:cubicBezTo>
                      <a:pt x="489" y="155"/>
                      <a:pt x="489" y="155"/>
                      <a:pt x="489" y="155"/>
                    </a:cubicBezTo>
                    <a:cubicBezTo>
                      <a:pt x="489" y="157"/>
                      <a:pt x="489" y="157"/>
                      <a:pt x="489" y="157"/>
                    </a:cubicBezTo>
                    <a:cubicBezTo>
                      <a:pt x="489" y="158"/>
                      <a:pt x="489" y="158"/>
                      <a:pt x="489" y="158"/>
                    </a:cubicBezTo>
                    <a:cubicBezTo>
                      <a:pt x="487" y="159"/>
                      <a:pt x="487" y="159"/>
                      <a:pt x="487" y="159"/>
                    </a:cubicBezTo>
                    <a:close/>
                    <a:moveTo>
                      <a:pt x="485" y="166"/>
                    </a:moveTo>
                    <a:cubicBezTo>
                      <a:pt x="489" y="166"/>
                      <a:pt x="489" y="166"/>
                      <a:pt x="489" y="166"/>
                    </a:cubicBezTo>
                    <a:cubicBezTo>
                      <a:pt x="490" y="165"/>
                      <a:pt x="490" y="165"/>
                      <a:pt x="490" y="165"/>
                    </a:cubicBezTo>
                    <a:cubicBezTo>
                      <a:pt x="491" y="162"/>
                      <a:pt x="491" y="162"/>
                      <a:pt x="491" y="162"/>
                    </a:cubicBezTo>
                    <a:cubicBezTo>
                      <a:pt x="490" y="161"/>
                      <a:pt x="490" y="161"/>
                      <a:pt x="490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86" y="160"/>
                      <a:pt x="486" y="160"/>
                      <a:pt x="486" y="160"/>
                    </a:cubicBezTo>
                    <a:cubicBezTo>
                      <a:pt x="483" y="160"/>
                      <a:pt x="483" y="160"/>
                      <a:pt x="483" y="160"/>
                    </a:cubicBezTo>
                    <a:cubicBezTo>
                      <a:pt x="482" y="159"/>
                      <a:pt x="482" y="159"/>
                      <a:pt x="482" y="159"/>
                    </a:cubicBezTo>
                    <a:cubicBezTo>
                      <a:pt x="480" y="159"/>
                      <a:pt x="480" y="159"/>
                      <a:pt x="480" y="159"/>
                    </a:cubicBezTo>
                    <a:cubicBezTo>
                      <a:pt x="479" y="160"/>
                      <a:pt x="479" y="160"/>
                      <a:pt x="479" y="160"/>
                    </a:cubicBezTo>
                    <a:cubicBezTo>
                      <a:pt x="478" y="161"/>
                      <a:pt x="478" y="161"/>
                      <a:pt x="478" y="161"/>
                    </a:cubicBezTo>
                    <a:cubicBezTo>
                      <a:pt x="478" y="162"/>
                      <a:pt x="478" y="162"/>
                      <a:pt x="478" y="162"/>
                    </a:cubicBezTo>
                    <a:cubicBezTo>
                      <a:pt x="478" y="163"/>
                      <a:pt x="478" y="163"/>
                      <a:pt x="478" y="163"/>
                    </a:cubicBezTo>
                    <a:cubicBezTo>
                      <a:pt x="479" y="163"/>
                      <a:pt x="479" y="163"/>
                      <a:pt x="479" y="163"/>
                    </a:cubicBezTo>
                    <a:cubicBezTo>
                      <a:pt x="480" y="164"/>
                      <a:pt x="480" y="164"/>
                      <a:pt x="480" y="164"/>
                    </a:cubicBezTo>
                    <a:cubicBezTo>
                      <a:pt x="481" y="165"/>
                      <a:pt x="481" y="165"/>
                      <a:pt x="481" y="165"/>
                    </a:cubicBezTo>
                    <a:cubicBezTo>
                      <a:pt x="483" y="166"/>
                      <a:pt x="483" y="166"/>
                      <a:pt x="483" y="166"/>
                    </a:cubicBezTo>
                    <a:cubicBezTo>
                      <a:pt x="485" y="166"/>
                      <a:pt x="485" y="166"/>
                      <a:pt x="485" y="166"/>
                    </a:cubicBezTo>
                    <a:close/>
                    <a:moveTo>
                      <a:pt x="478" y="169"/>
                    </a:moveTo>
                    <a:cubicBezTo>
                      <a:pt x="482" y="170"/>
                      <a:pt x="482" y="170"/>
                      <a:pt x="482" y="170"/>
                    </a:cubicBezTo>
                    <a:cubicBezTo>
                      <a:pt x="484" y="169"/>
                      <a:pt x="484" y="169"/>
                      <a:pt x="484" y="169"/>
                    </a:cubicBezTo>
                    <a:cubicBezTo>
                      <a:pt x="486" y="169"/>
                      <a:pt x="486" y="169"/>
                      <a:pt x="486" y="169"/>
                    </a:cubicBezTo>
                    <a:cubicBezTo>
                      <a:pt x="486" y="170"/>
                      <a:pt x="486" y="170"/>
                      <a:pt x="486" y="170"/>
                    </a:cubicBezTo>
                    <a:cubicBezTo>
                      <a:pt x="488" y="169"/>
                      <a:pt x="488" y="169"/>
                      <a:pt x="488" y="169"/>
                    </a:cubicBezTo>
                    <a:cubicBezTo>
                      <a:pt x="489" y="169"/>
                      <a:pt x="489" y="169"/>
                      <a:pt x="489" y="169"/>
                    </a:cubicBezTo>
                    <a:cubicBezTo>
                      <a:pt x="489" y="168"/>
                      <a:pt x="489" y="168"/>
                      <a:pt x="489" y="168"/>
                    </a:cubicBezTo>
                    <a:cubicBezTo>
                      <a:pt x="488" y="167"/>
                      <a:pt x="488" y="167"/>
                      <a:pt x="488" y="167"/>
                    </a:cubicBezTo>
                    <a:cubicBezTo>
                      <a:pt x="484" y="168"/>
                      <a:pt x="484" y="168"/>
                      <a:pt x="484" y="168"/>
                    </a:cubicBezTo>
                    <a:cubicBezTo>
                      <a:pt x="482" y="168"/>
                      <a:pt x="482" y="168"/>
                      <a:pt x="482" y="168"/>
                    </a:cubicBezTo>
                    <a:cubicBezTo>
                      <a:pt x="481" y="167"/>
                      <a:pt x="481" y="167"/>
                      <a:pt x="481" y="167"/>
                    </a:cubicBezTo>
                    <a:cubicBezTo>
                      <a:pt x="479" y="167"/>
                      <a:pt x="479" y="167"/>
                      <a:pt x="479" y="167"/>
                    </a:cubicBezTo>
                    <a:cubicBezTo>
                      <a:pt x="477" y="168"/>
                      <a:pt x="477" y="168"/>
                      <a:pt x="477" y="168"/>
                    </a:cubicBezTo>
                    <a:cubicBezTo>
                      <a:pt x="478" y="169"/>
                      <a:pt x="478" y="169"/>
                      <a:pt x="478" y="169"/>
                    </a:cubicBezTo>
                    <a:close/>
                    <a:moveTo>
                      <a:pt x="477" y="174"/>
                    </a:moveTo>
                    <a:cubicBezTo>
                      <a:pt x="478" y="173"/>
                      <a:pt x="478" y="173"/>
                      <a:pt x="478" y="173"/>
                    </a:cubicBezTo>
                    <a:cubicBezTo>
                      <a:pt x="480" y="173"/>
                      <a:pt x="480" y="173"/>
                      <a:pt x="480" y="173"/>
                    </a:cubicBezTo>
                    <a:cubicBezTo>
                      <a:pt x="482" y="172"/>
                      <a:pt x="482" y="172"/>
                      <a:pt x="482" y="172"/>
                    </a:cubicBezTo>
                    <a:cubicBezTo>
                      <a:pt x="486" y="171"/>
                      <a:pt x="486" y="171"/>
                      <a:pt x="486" y="171"/>
                    </a:cubicBezTo>
                    <a:cubicBezTo>
                      <a:pt x="487" y="171"/>
                      <a:pt x="487" y="171"/>
                      <a:pt x="487" y="171"/>
                    </a:cubicBezTo>
                    <a:cubicBezTo>
                      <a:pt x="488" y="171"/>
                      <a:pt x="488" y="171"/>
                      <a:pt x="488" y="171"/>
                    </a:cubicBezTo>
                    <a:cubicBezTo>
                      <a:pt x="489" y="171"/>
                      <a:pt x="489" y="171"/>
                      <a:pt x="489" y="171"/>
                    </a:cubicBezTo>
                    <a:cubicBezTo>
                      <a:pt x="490" y="172"/>
                      <a:pt x="490" y="172"/>
                      <a:pt x="490" y="172"/>
                    </a:cubicBezTo>
                    <a:cubicBezTo>
                      <a:pt x="488" y="173"/>
                      <a:pt x="488" y="173"/>
                      <a:pt x="488" y="173"/>
                    </a:cubicBezTo>
                    <a:cubicBezTo>
                      <a:pt x="487" y="173"/>
                      <a:pt x="487" y="173"/>
                      <a:pt x="487" y="173"/>
                    </a:cubicBezTo>
                    <a:cubicBezTo>
                      <a:pt x="485" y="173"/>
                      <a:pt x="485" y="173"/>
                      <a:pt x="485" y="173"/>
                    </a:cubicBezTo>
                    <a:cubicBezTo>
                      <a:pt x="484" y="174"/>
                      <a:pt x="484" y="174"/>
                      <a:pt x="484" y="174"/>
                    </a:cubicBezTo>
                    <a:cubicBezTo>
                      <a:pt x="482" y="176"/>
                      <a:pt x="482" y="176"/>
                      <a:pt x="482" y="176"/>
                    </a:cubicBezTo>
                    <a:cubicBezTo>
                      <a:pt x="480" y="175"/>
                      <a:pt x="480" y="175"/>
                      <a:pt x="480" y="175"/>
                    </a:cubicBezTo>
                    <a:cubicBezTo>
                      <a:pt x="478" y="174"/>
                      <a:pt x="478" y="174"/>
                      <a:pt x="478" y="174"/>
                    </a:cubicBezTo>
                    <a:cubicBezTo>
                      <a:pt x="478" y="175"/>
                      <a:pt x="478" y="175"/>
                      <a:pt x="478" y="175"/>
                    </a:cubicBezTo>
                    <a:cubicBezTo>
                      <a:pt x="477" y="175"/>
                      <a:pt x="477" y="175"/>
                      <a:pt x="477" y="175"/>
                    </a:cubicBezTo>
                    <a:cubicBezTo>
                      <a:pt x="477" y="174"/>
                      <a:pt x="477" y="174"/>
                      <a:pt x="477" y="174"/>
                    </a:cubicBezTo>
                    <a:close/>
                    <a:moveTo>
                      <a:pt x="432" y="114"/>
                    </a:moveTo>
                    <a:cubicBezTo>
                      <a:pt x="431" y="114"/>
                      <a:pt x="431" y="114"/>
                      <a:pt x="431" y="114"/>
                    </a:cubicBezTo>
                    <a:cubicBezTo>
                      <a:pt x="431" y="112"/>
                      <a:pt x="431" y="112"/>
                      <a:pt x="431" y="112"/>
                    </a:cubicBezTo>
                    <a:cubicBezTo>
                      <a:pt x="434" y="112"/>
                      <a:pt x="434" y="112"/>
                      <a:pt x="434" y="112"/>
                    </a:cubicBezTo>
                    <a:cubicBezTo>
                      <a:pt x="433" y="114"/>
                      <a:pt x="433" y="114"/>
                      <a:pt x="433" y="114"/>
                    </a:cubicBezTo>
                    <a:cubicBezTo>
                      <a:pt x="432" y="114"/>
                      <a:pt x="432" y="114"/>
                      <a:pt x="432" y="114"/>
                    </a:cubicBezTo>
                    <a:close/>
                    <a:moveTo>
                      <a:pt x="419" y="120"/>
                    </a:moveTo>
                    <a:cubicBezTo>
                      <a:pt x="420" y="120"/>
                      <a:pt x="420" y="120"/>
                      <a:pt x="420" y="120"/>
                    </a:cubicBezTo>
                    <a:cubicBezTo>
                      <a:pt x="421" y="119"/>
                      <a:pt x="421" y="119"/>
                      <a:pt x="421" y="119"/>
                    </a:cubicBezTo>
                    <a:cubicBezTo>
                      <a:pt x="424" y="120"/>
                      <a:pt x="424" y="120"/>
                      <a:pt x="424" y="120"/>
                    </a:cubicBezTo>
                    <a:cubicBezTo>
                      <a:pt x="425" y="120"/>
                      <a:pt x="425" y="120"/>
                      <a:pt x="425" y="120"/>
                    </a:cubicBezTo>
                    <a:cubicBezTo>
                      <a:pt x="427" y="121"/>
                      <a:pt x="427" y="121"/>
                      <a:pt x="427" y="121"/>
                    </a:cubicBezTo>
                    <a:cubicBezTo>
                      <a:pt x="427" y="122"/>
                      <a:pt x="427" y="122"/>
                      <a:pt x="427" y="122"/>
                    </a:cubicBezTo>
                    <a:cubicBezTo>
                      <a:pt x="428" y="123"/>
                      <a:pt x="428" y="123"/>
                      <a:pt x="428" y="123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5" y="125"/>
                      <a:pt x="425" y="125"/>
                      <a:pt x="425" y="125"/>
                    </a:cubicBezTo>
                    <a:cubicBezTo>
                      <a:pt x="423" y="125"/>
                      <a:pt x="423" y="125"/>
                      <a:pt x="423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1" y="123"/>
                      <a:pt x="421" y="123"/>
                      <a:pt x="421" y="123"/>
                    </a:cubicBezTo>
                    <a:cubicBezTo>
                      <a:pt x="420" y="121"/>
                      <a:pt x="420" y="121"/>
                      <a:pt x="420" y="121"/>
                    </a:cubicBezTo>
                    <a:cubicBezTo>
                      <a:pt x="419" y="121"/>
                      <a:pt x="419" y="121"/>
                      <a:pt x="419" y="121"/>
                    </a:cubicBezTo>
                    <a:cubicBezTo>
                      <a:pt x="419" y="121"/>
                      <a:pt x="419" y="120"/>
                      <a:pt x="419" y="120"/>
                    </a:cubicBezTo>
                    <a:close/>
                    <a:moveTo>
                      <a:pt x="351" y="124"/>
                    </a:moveTo>
                    <a:cubicBezTo>
                      <a:pt x="349" y="123"/>
                      <a:pt x="349" y="123"/>
                      <a:pt x="349" y="123"/>
                    </a:cubicBezTo>
                    <a:cubicBezTo>
                      <a:pt x="348" y="122"/>
                      <a:pt x="348" y="122"/>
                      <a:pt x="348" y="122"/>
                    </a:cubicBezTo>
                    <a:cubicBezTo>
                      <a:pt x="349" y="122"/>
                      <a:pt x="349" y="122"/>
                      <a:pt x="349" y="122"/>
                    </a:cubicBezTo>
                    <a:cubicBezTo>
                      <a:pt x="351" y="122"/>
                      <a:pt x="351" y="122"/>
                      <a:pt x="351" y="122"/>
                    </a:cubicBezTo>
                    <a:cubicBezTo>
                      <a:pt x="351" y="123"/>
                      <a:pt x="351" y="123"/>
                      <a:pt x="351" y="123"/>
                    </a:cubicBezTo>
                    <a:cubicBezTo>
                      <a:pt x="351" y="124"/>
                      <a:pt x="351" y="124"/>
                      <a:pt x="351" y="124"/>
                    </a:cubicBezTo>
                    <a:close/>
                    <a:moveTo>
                      <a:pt x="358" y="134"/>
                    </a:moveTo>
                    <a:cubicBezTo>
                      <a:pt x="360" y="132"/>
                      <a:pt x="360" y="132"/>
                      <a:pt x="360" y="132"/>
                    </a:cubicBezTo>
                    <a:cubicBezTo>
                      <a:pt x="360" y="133"/>
                      <a:pt x="360" y="133"/>
                      <a:pt x="360" y="133"/>
                    </a:cubicBezTo>
                    <a:cubicBezTo>
                      <a:pt x="358" y="134"/>
                      <a:pt x="358" y="134"/>
                      <a:pt x="358" y="134"/>
                    </a:cubicBezTo>
                    <a:cubicBezTo>
                      <a:pt x="358" y="134"/>
                      <a:pt x="358" y="134"/>
                      <a:pt x="358" y="134"/>
                    </a:cubicBezTo>
                    <a:close/>
                    <a:moveTo>
                      <a:pt x="361" y="131"/>
                    </a:moveTo>
                    <a:cubicBezTo>
                      <a:pt x="362" y="130"/>
                      <a:pt x="362" y="130"/>
                      <a:pt x="362" y="130"/>
                    </a:cubicBezTo>
                    <a:cubicBezTo>
                      <a:pt x="362" y="128"/>
                      <a:pt x="362" y="128"/>
                      <a:pt x="362" y="128"/>
                    </a:cubicBezTo>
                    <a:cubicBezTo>
                      <a:pt x="363" y="128"/>
                      <a:pt x="363" y="128"/>
                      <a:pt x="363" y="128"/>
                    </a:cubicBezTo>
                    <a:cubicBezTo>
                      <a:pt x="364" y="125"/>
                      <a:pt x="364" y="125"/>
                      <a:pt x="364" y="125"/>
                    </a:cubicBezTo>
                    <a:cubicBezTo>
                      <a:pt x="365" y="125"/>
                      <a:pt x="365" y="125"/>
                      <a:pt x="365" y="125"/>
                    </a:cubicBezTo>
                    <a:cubicBezTo>
                      <a:pt x="367" y="124"/>
                      <a:pt x="367" y="124"/>
                      <a:pt x="367" y="124"/>
                    </a:cubicBezTo>
                    <a:cubicBezTo>
                      <a:pt x="368" y="124"/>
                      <a:pt x="368" y="124"/>
                      <a:pt x="368" y="124"/>
                    </a:cubicBezTo>
                    <a:cubicBezTo>
                      <a:pt x="368" y="126"/>
                      <a:pt x="368" y="126"/>
                      <a:pt x="368" y="126"/>
                    </a:cubicBezTo>
                    <a:cubicBezTo>
                      <a:pt x="366" y="127"/>
                      <a:pt x="366" y="127"/>
                      <a:pt x="366" y="127"/>
                    </a:cubicBezTo>
                    <a:cubicBezTo>
                      <a:pt x="365" y="129"/>
                      <a:pt x="365" y="129"/>
                      <a:pt x="365" y="129"/>
                    </a:cubicBezTo>
                    <a:cubicBezTo>
                      <a:pt x="366" y="131"/>
                      <a:pt x="366" y="131"/>
                      <a:pt x="366" y="131"/>
                    </a:cubicBezTo>
                    <a:cubicBezTo>
                      <a:pt x="364" y="132"/>
                      <a:pt x="364" y="132"/>
                      <a:pt x="364" y="132"/>
                    </a:cubicBezTo>
                    <a:cubicBezTo>
                      <a:pt x="364" y="134"/>
                      <a:pt x="364" y="134"/>
                      <a:pt x="364" y="134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4"/>
                      <a:pt x="365" y="134"/>
                      <a:pt x="365" y="134"/>
                    </a:cubicBezTo>
                    <a:cubicBezTo>
                      <a:pt x="367" y="134"/>
                      <a:pt x="367" y="134"/>
                      <a:pt x="367" y="134"/>
                    </a:cubicBezTo>
                    <a:cubicBezTo>
                      <a:pt x="367" y="135"/>
                      <a:pt x="367" y="135"/>
                      <a:pt x="367" y="135"/>
                    </a:cubicBezTo>
                    <a:cubicBezTo>
                      <a:pt x="367" y="135"/>
                      <a:pt x="367" y="135"/>
                      <a:pt x="367" y="135"/>
                    </a:cubicBezTo>
                    <a:cubicBezTo>
                      <a:pt x="371" y="133"/>
                      <a:pt x="371" y="133"/>
                      <a:pt x="371" y="133"/>
                    </a:cubicBezTo>
                    <a:cubicBezTo>
                      <a:pt x="372" y="132"/>
                      <a:pt x="372" y="132"/>
                      <a:pt x="372" y="132"/>
                    </a:cubicBezTo>
                    <a:cubicBezTo>
                      <a:pt x="373" y="132"/>
                      <a:pt x="373" y="132"/>
                      <a:pt x="373" y="132"/>
                    </a:cubicBezTo>
                    <a:cubicBezTo>
                      <a:pt x="374" y="130"/>
                      <a:pt x="374" y="130"/>
                      <a:pt x="374" y="130"/>
                    </a:cubicBezTo>
                    <a:cubicBezTo>
                      <a:pt x="374" y="128"/>
                      <a:pt x="374" y="128"/>
                      <a:pt x="374" y="128"/>
                    </a:cubicBezTo>
                    <a:cubicBezTo>
                      <a:pt x="375" y="128"/>
                      <a:pt x="375" y="128"/>
                      <a:pt x="375" y="128"/>
                    </a:cubicBezTo>
                    <a:cubicBezTo>
                      <a:pt x="377" y="126"/>
                      <a:pt x="377" y="126"/>
                      <a:pt x="377" y="126"/>
                    </a:cubicBezTo>
                    <a:cubicBezTo>
                      <a:pt x="377" y="124"/>
                      <a:pt x="377" y="124"/>
                      <a:pt x="377" y="124"/>
                    </a:cubicBezTo>
                    <a:cubicBezTo>
                      <a:pt x="377" y="123"/>
                      <a:pt x="377" y="123"/>
                      <a:pt x="377" y="123"/>
                    </a:cubicBezTo>
                    <a:cubicBezTo>
                      <a:pt x="378" y="124"/>
                      <a:pt x="378" y="124"/>
                      <a:pt x="378" y="124"/>
                    </a:cubicBezTo>
                    <a:cubicBezTo>
                      <a:pt x="378" y="126"/>
                      <a:pt x="378" y="126"/>
                      <a:pt x="378" y="126"/>
                    </a:cubicBezTo>
                    <a:cubicBezTo>
                      <a:pt x="378" y="127"/>
                      <a:pt x="378" y="127"/>
                      <a:pt x="378" y="127"/>
                    </a:cubicBezTo>
                    <a:cubicBezTo>
                      <a:pt x="377" y="129"/>
                      <a:pt x="377" y="129"/>
                      <a:pt x="377" y="129"/>
                    </a:cubicBezTo>
                    <a:cubicBezTo>
                      <a:pt x="378" y="131"/>
                      <a:pt x="378" y="131"/>
                      <a:pt x="378" y="131"/>
                    </a:cubicBezTo>
                    <a:cubicBezTo>
                      <a:pt x="379" y="131"/>
                      <a:pt x="379" y="131"/>
                      <a:pt x="379" y="131"/>
                    </a:cubicBezTo>
                    <a:cubicBezTo>
                      <a:pt x="381" y="129"/>
                      <a:pt x="381" y="129"/>
                      <a:pt x="381" y="129"/>
                    </a:cubicBezTo>
                    <a:cubicBezTo>
                      <a:pt x="381" y="127"/>
                      <a:pt x="381" y="127"/>
                      <a:pt x="381" y="127"/>
                    </a:cubicBezTo>
                    <a:cubicBezTo>
                      <a:pt x="381" y="126"/>
                      <a:pt x="381" y="126"/>
                      <a:pt x="381" y="126"/>
                    </a:cubicBezTo>
                    <a:cubicBezTo>
                      <a:pt x="383" y="126"/>
                      <a:pt x="383" y="126"/>
                      <a:pt x="383" y="126"/>
                    </a:cubicBezTo>
                    <a:cubicBezTo>
                      <a:pt x="385" y="123"/>
                      <a:pt x="385" y="123"/>
                      <a:pt x="385" y="123"/>
                    </a:cubicBezTo>
                    <a:cubicBezTo>
                      <a:pt x="385" y="121"/>
                      <a:pt x="385" y="121"/>
                      <a:pt x="385" y="121"/>
                    </a:cubicBezTo>
                    <a:cubicBezTo>
                      <a:pt x="385" y="119"/>
                      <a:pt x="385" y="119"/>
                      <a:pt x="385" y="119"/>
                    </a:cubicBezTo>
                    <a:cubicBezTo>
                      <a:pt x="386" y="117"/>
                      <a:pt x="386" y="117"/>
                      <a:pt x="386" y="117"/>
                    </a:cubicBezTo>
                    <a:cubicBezTo>
                      <a:pt x="387" y="119"/>
                      <a:pt x="387" y="119"/>
                      <a:pt x="387" y="119"/>
                    </a:cubicBezTo>
                    <a:cubicBezTo>
                      <a:pt x="390" y="117"/>
                      <a:pt x="390" y="117"/>
                      <a:pt x="390" y="117"/>
                    </a:cubicBezTo>
                    <a:cubicBezTo>
                      <a:pt x="391" y="114"/>
                      <a:pt x="391" y="114"/>
                      <a:pt x="391" y="114"/>
                    </a:cubicBezTo>
                    <a:cubicBezTo>
                      <a:pt x="392" y="112"/>
                      <a:pt x="392" y="112"/>
                      <a:pt x="392" y="112"/>
                    </a:cubicBezTo>
                    <a:cubicBezTo>
                      <a:pt x="393" y="112"/>
                      <a:pt x="393" y="112"/>
                      <a:pt x="393" y="112"/>
                    </a:cubicBezTo>
                    <a:cubicBezTo>
                      <a:pt x="394" y="111"/>
                      <a:pt x="394" y="111"/>
                      <a:pt x="394" y="111"/>
                    </a:cubicBezTo>
                    <a:cubicBezTo>
                      <a:pt x="396" y="112"/>
                      <a:pt x="396" y="112"/>
                      <a:pt x="396" y="112"/>
                    </a:cubicBezTo>
                    <a:cubicBezTo>
                      <a:pt x="397" y="111"/>
                      <a:pt x="397" y="111"/>
                      <a:pt x="397" y="111"/>
                    </a:cubicBezTo>
                    <a:cubicBezTo>
                      <a:pt x="398" y="111"/>
                      <a:pt x="398" y="111"/>
                      <a:pt x="398" y="111"/>
                    </a:cubicBezTo>
                    <a:cubicBezTo>
                      <a:pt x="397" y="115"/>
                      <a:pt x="397" y="115"/>
                      <a:pt x="397" y="115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4" y="120"/>
                      <a:pt x="394" y="120"/>
                      <a:pt x="394" y="120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3" y="122"/>
                      <a:pt x="393" y="122"/>
                      <a:pt x="393" y="122"/>
                    </a:cubicBezTo>
                    <a:cubicBezTo>
                      <a:pt x="391" y="123"/>
                      <a:pt x="391" y="123"/>
                      <a:pt x="391" y="123"/>
                    </a:cubicBezTo>
                    <a:cubicBezTo>
                      <a:pt x="389" y="127"/>
                      <a:pt x="389" y="127"/>
                      <a:pt x="389" y="127"/>
                    </a:cubicBezTo>
                    <a:cubicBezTo>
                      <a:pt x="389" y="128"/>
                      <a:pt x="389" y="128"/>
                      <a:pt x="389" y="128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9" y="131"/>
                      <a:pt x="389" y="131"/>
                      <a:pt x="389" y="131"/>
                    </a:cubicBezTo>
                    <a:cubicBezTo>
                      <a:pt x="391" y="132"/>
                      <a:pt x="391" y="132"/>
                      <a:pt x="391" y="132"/>
                    </a:cubicBezTo>
                    <a:cubicBezTo>
                      <a:pt x="393" y="132"/>
                      <a:pt x="393" y="132"/>
                      <a:pt x="393" y="132"/>
                    </a:cubicBezTo>
                    <a:cubicBezTo>
                      <a:pt x="394" y="131"/>
                      <a:pt x="394" y="131"/>
                      <a:pt x="394" y="131"/>
                    </a:cubicBezTo>
                    <a:cubicBezTo>
                      <a:pt x="396" y="130"/>
                      <a:pt x="396" y="130"/>
                      <a:pt x="396" y="130"/>
                    </a:cubicBezTo>
                    <a:cubicBezTo>
                      <a:pt x="396" y="129"/>
                      <a:pt x="396" y="129"/>
                      <a:pt x="396" y="129"/>
                    </a:cubicBezTo>
                    <a:cubicBezTo>
                      <a:pt x="396" y="127"/>
                      <a:pt x="396" y="127"/>
                      <a:pt x="396" y="127"/>
                    </a:cubicBezTo>
                    <a:cubicBezTo>
                      <a:pt x="397" y="125"/>
                      <a:pt x="397" y="125"/>
                      <a:pt x="397" y="125"/>
                    </a:cubicBezTo>
                    <a:cubicBezTo>
                      <a:pt x="398" y="124"/>
                      <a:pt x="398" y="124"/>
                      <a:pt x="398" y="124"/>
                    </a:cubicBezTo>
                    <a:cubicBezTo>
                      <a:pt x="400" y="124"/>
                      <a:pt x="400" y="124"/>
                      <a:pt x="400" y="124"/>
                    </a:cubicBezTo>
                    <a:cubicBezTo>
                      <a:pt x="401" y="123"/>
                      <a:pt x="401" y="123"/>
                      <a:pt x="401" y="123"/>
                    </a:cubicBezTo>
                    <a:cubicBezTo>
                      <a:pt x="402" y="124"/>
                      <a:pt x="402" y="124"/>
                      <a:pt x="402" y="124"/>
                    </a:cubicBezTo>
                    <a:cubicBezTo>
                      <a:pt x="403" y="124"/>
                      <a:pt x="403" y="124"/>
                      <a:pt x="403" y="124"/>
                    </a:cubicBezTo>
                    <a:cubicBezTo>
                      <a:pt x="405" y="123"/>
                      <a:pt x="405" y="123"/>
                      <a:pt x="405" y="123"/>
                    </a:cubicBezTo>
                    <a:cubicBezTo>
                      <a:pt x="408" y="123"/>
                      <a:pt x="408" y="123"/>
                      <a:pt x="408" y="123"/>
                    </a:cubicBezTo>
                    <a:cubicBezTo>
                      <a:pt x="409" y="121"/>
                      <a:pt x="409" y="121"/>
                      <a:pt x="409" y="121"/>
                    </a:cubicBezTo>
                    <a:cubicBezTo>
                      <a:pt x="410" y="118"/>
                      <a:pt x="410" y="118"/>
                      <a:pt x="410" y="118"/>
                    </a:cubicBezTo>
                    <a:cubicBezTo>
                      <a:pt x="411" y="115"/>
                      <a:pt x="411" y="115"/>
                      <a:pt x="411" y="115"/>
                    </a:cubicBezTo>
                    <a:cubicBezTo>
                      <a:pt x="411" y="113"/>
                      <a:pt x="411" y="113"/>
                      <a:pt x="411" y="113"/>
                    </a:cubicBezTo>
                    <a:cubicBezTo>
                      <a:pt x="412" y="112"/>
                      <a:pt x="412" y="112"/>
                      <a:pt x="412" y="112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5" y="115"/>
                      <a:pt x="415" y="115"/>
                      <a:pt x="415" y="115"/>
                    </a:cubicBezTo>
                    <a:cubicBezTo>
                      <a:pt x="416" y="114"/>
                      <a:pt x="416" y="114"/>
                      <a:pt x="416" y="114"/>
                    </a:cubicBezTo>
                    <a:cubicBezTo>
                      <a:pt x="415" y="113"/>
                      <a:pt x="415" y="113"/>
                      <a:pt x="415" y="113"/>
                    </a:cubicBezTo>
                    <a:cubicBezTo>
                      <a:pt x="414" y="110"/>
                      <a:pt x="414" y="110"/>
                      <a:pt x="414" y="110"/>
                    </a:cubicBezTo>
                    <a:cubicBezTo>
                      <a:pt x="414" y="109"/>
                      <a:pt x="414" y="109"/>
                      <a:pt x="414" y="109"/>
                    </a:cubicBezTo>
                    <a:cubicBezTo>
                      <a:pt x="416" y="107"/>
                      <a:pt x="416" y="107"/>
                      <a:pt x="416" y="107"/>
                    </a:cubicBezTo>
                    <a:cubicBezTo>
                      <a:pt x="418" y="107"/>
                      <a:pt x="418" y="107"/>
                      <a:pt x="418" y="107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1" y="106"/>
                      <a:pt x="421" y="106"/>
                      <a:pt x="421" y="106"/>
                    </a:cubicBezTo>
                    <a:cubicBezTo>
                      <a:pt x="422" y="106"/>
                      <a:pt x="422" y="106"/>
                      <a:pt x="422" y="106"/>
                    </a:cubicBezTo>
                    <a:cubicBezTo>
                      <a:pt x="424" y="104"/>
                      <a:pt x="424" y="104"/>
                      <a:pt x="424" y="104"/>
                    </a:cubicBezTo>
                    <a:cubicBezTo>
                      <a:pt x="423" y="102"/>
                      <a:pt x="423" y="102"/>
                      <a:pt x="423" y="102"/>
                    </a:cubicBezTo>
                    <a:cubicBezTo>
                      <a:pt x="423" y="98"/>
                      <a:pt x="423" y="98"/>
                      <a:pt x="423" y="98"/>
                    </a:cubicBezTo>
                    <a:cubicBezTo>
                      <a:pt x="423" y="97"/>
                      <a:pt x="423" y="97"/>
                      <a:pt x="423" y="97"/>
                    </a:cubicBezTo>
                    <a:cubicBezTo>
                      <a:pt x="423" y="96"/>
                      <a:pt x="423" y="96"/>
                      <a:pt x="423" y="96"/>
                    </a:cubicBezTo>
                    <a:cubicBezTo>
                      <a:pt x="423" y="94"/>
                      <a:pt x="423" y="94"/>
                      <a:pt x="423" y="94"/>
                    </a:cubicBezTo>
                    <a:cubicBezTo>
                      <a:pt x="422" y="93"/>
                      <a:pt x="422" y="93"/>
                      <a:pt x="422" y="93"/>
                    </a:cubicBezTo>
                    <a:cubicBezTo>
                      <a:pt x="420" y="94"/>
                      <a:pt x="420" y="94"/>
                      <a:pt x="420" y="94"/>
                    </a:cubicBezTo>
                    <a:cubicBezTo>
                      <a:pt x="418" y="95"/>
                      <a:pt x="418" y="95"/>
                      <a:pt x="418" y="95"/>
                    </a:cubicBezTo>
                    <a:cubicBezTo>
                      <a:pt x="418" y="98"/>
                      <a:pt x="418" y="98"/>
                      <a:pt x="418" y="98"/>
                    </a:cubicBezTo>
                    <a:cubicBezTo>
                      <a:pt x="418" y="99"/>
                      <a:pt x="418" y="99"/>
                      <a:pt x="418" y="99"/>
                    </a:cubicBezTo>
                    <a:cubicBezTo>
                      <a:pt x="418" y="100"/>
                      <a:pt x="418" y="100"/>
                      <a:pt x="418" y="100"/>
                    </a:cubicBezTo>
                    <a:cubicBezTo>
                      <a:pt x="416" y="101"/>
                      <a:pt x="416" y="101"/>
                      <a:pt x="416" y="101"/>
                    </a:cubicBezTo>
                    <a:cubicBezTo>
                      <a:pt x="416" y="99"/>
                      <a:pt x="416" y="99"/>
                      <a:pt x="416" y="99"/>
                    </a:cubicBezTo>
                    <a:cubicBezTo>
                      <a:pt x="415" y="99"/>
                      <a:pt x="415" y="99"/>
                      <a:pt x="415" y="99"/>
                    </a:cubicBezTo>
                    <a:cubicBezTo>
                      <a:pt x="415" y="100"/>
                      <a:pt x="415" y="100"/>
                      <a:pt x="415" y="100"/>
                    </a:cubicBezTo>
                    <a:cubicBezTo>
                      <a:pt x="414" y="101"/>
                      <a:pt x="414" y="101"/>
                      <a:pt x="414" y="101"/>
                    </a:cubicBezTo>
                    <a:cubicBezTo>
                      <a:pt x="413" y="100"/>
                      <a:pt x="413" y="100"/>
                      <a:pt x="413" y="100"/>
                    </a:cubicBezTo>
                    <a:cubicBezTo>
                      <a:pt x="413" y="97"/>
                      <a:pt x="413" y="97"/>
                      <a:pt x="413" y="97"/>
                    </a:cubicBezTo>
                    <a:cubicBezTo>
                      <a:pt x="411" y="95"/>
                      <a:pt x="411" y="95"/>
                      <a:pt x="411" y="95"/>
                    </a:cubicBezTo>
                    <a:cubicBezTo>
                      <a:pt x="410" y="95"/>
                      <a:pt x="410" y="95"/>
                      <a:pt x="410" y="95"/>
                    </a:cubicBezTo>
                    <a:cubicBezTo>
                      <a:pt x="409" y="96"/>
                      <a:pt x="409" y="96"/>
                      <a:pt x="409" y="96"/>
                    </a:cubicBezTo>
                    <a:cubicBezTo>
                      <a:pt x="407" y="96"/>
                      <a:pt x="407" y="96"/>
                      <a:pt x="407" y="96"/>
                    </a:cubicBezTo>
                    <a:cubicBezTo>
                      <a:pt x="405" y="95"/>
                      <a:pt x="405" y="95"/>
                      <a:pt x="405" y="95"/>
                    </a:cubicBezTo>
                    <a:cubicBezTo>
                      <a:pt x="404" y="95"/>
                      <a:pt x="404" y="95"/>
                      <a:pt x="404" y="95"/>
                    </a:cubicBezTo>
                    <a:cubicBezTo>
                      <a:pt x="400" y="95"/>
                      <a:pt x="400" y="95"/>
                      <a:pt x="400" y="95"/>
                    </a:cubicBezTo>
                    <a:cubicBezTo>
                      <a:pt x="398" y="96"/>
                      <a:pt x="398" y="96"/>
                      <a:pt x="398" y="96"/>
                    </a:cubicBezTo>
                    <a:cubicBezTo>
                      <a:pt x="397" y="98"/>
                      <a:pt x="397" y="98"/>
                      <a:pt x="397" y="98"/>
                    </a:cubicBezTo>
                    <a:cubicBezTo>
                      <a:pt x="396" y="99"/>
                      <a:pt x="396" y="99"/>
                      <a:pt x="396" y="99"/>
                    </a:cubicBezTo>
                    <a:cubicBezTo>
                      <a:pt x="395" y="98"/>
                      <a:pt x="395" y="98"/>
                      <a:pt x="395" y="98"/>
                    </a:cubicBezTo>
                    <a:cubicBezTo>
                      <a:pt x="394" y="98"/>
                      <a:pt x="394" y="98"/>
                      <a:pt x="394" y="98"/>
                    </a:cubicBezTo>
                    <a:cubicBezTo>
                      <a:pt x="390" y="102"/>
                      <a:pt x="390" y="102"/>
                      <a:pt x="390" y="102"/>
                    </a:cubicBezTo>
                    <a:cubicBezTo>
                      <a:pt x="388" y="103"/>
                      <a:pt x="388" y="103"/>
                      <a:pt x="388" y="103"/>
                    </a:cubicBezTo>
                    <a:cubicBezTo>
                      <a:pt x="387" y="103"/>
                      <a:pt x="387" y="103"/>
                      <a:pt x="387" y="103"/>
                    </a:cubicBezTo>
                    <a:cubicBezTo>
                      <a:pt x="384" y="105"/>
                      <a:pt x="384" y="105"/>
                      <a:pt x="384" y="105"/>
                    </a:cubicBezTo>
                    <a:cubicBezTo>
                      <a:pt x="383" y="106"/>
                      <a:pt x="383" y="106"/>
                      <a:pt x="383" y="106"/>
                    </a:cubicBezTo>
                    <a:cubicBezTo>
                      <a:pt x="381" y="107"/>
                      <a:pt x="381" y="107"/>
                      <a:pt x="381" y="107"/>
                    </a:cubicBezTo>
                    <a:cubicBezTo>
                      <a:pt x="381" y="108"/>
                      <a:pt x="381" y="108"/>
                      <a:pt x="381" y="108"/>
                    </a:cubicBezTo>
                    <a:cubicBezTo>
                      <a:pt x="378" y="108"/>
                      <a:pt x="378" y="108"/>
                      <a:pt x="378" y="108"/>
                    </a:cubicBezTo>
                    <a:cubicBezTo>
                      <a:pt x="377" y="109"/>
                      <a:pt x="377" y="109"/>
                      <a:pt x="377" y="109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4" y="109"/>
                      <a:pt x="374" y="109"/>
                      <a:pt x="374" y="109"/>
                    </a:cubicBezTo>
                    <a:cubicBezTo>
                      <a:pt x="372" y="109"/>
                      <a:pt x="372" y="109"/>
                      <a:pt x="372" y="109"/>
                    </a:cubicBezTo>
                    <a:cubicBezTo>
                      <a:pt x="369" y="112"/>
                      <a:pt x="369" y="112"/>
                      <a:pt x="369" y="112"/>
                    </a:cubicBezTo>
                    <a:cubicBezTo>
                      <a:pt x="367" y="113"/>
                      <a:pt x="367" y="113"/>
                      <a:pt x="367" y="113"/>
                    </a:cubicBezTo>
                    <a:cubicBezTo>
                      <a:pt x="365" y="112"/>
                      <a:pt x="365" y="112"/>
                      <a:pt x="365" y="112"/>
                    </a:cubicBezTo>
                    <a:cubicBezTo>
                      <a:pt x="363" y="113"/>
                      <a:pt x="363" y="113"/>
                      <a:pt x="363" y="113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57" y="117"/>
                      <a:pt x="357" y="117"/>
                      <a:pt x="357" y="117"/>
                    </a:cubicBezTo>
                    <a:cubicBezTo>
                      <a:pt x="355" y="117"/>
                      <a:pt x="355" y="117"/>
                      <a:pt x="355" y="117"/>
                    </a:cubicBezTo>
                    <a:cubicBezTo>
                      <a:pt x="353" y="118"/>
                      <a:pt x="353" y="118"/>
                      <a:pt x="353" y="118"/>
                    </a:cubicBezTo>
                    <a:cubicBezTo>
                      <a:pt x="352" y="120"/>
                      <a:pt x="352" y="120"/>
                      <a:pt x="352" y="120"/>
                    </a:cubicBezTo>
                    <a:cubicBezTo>
                      <a:pt x="353" y="120"/>
                      <a:pt x="353" y="120"/>
                      <a:pt x="353" y="120"/>
                    </a:cubicBezTo>
                    <a:cubicBezTo>
                      <a:pt x="354" y="121"/>
                      <a:pt x="354" y="121"/>
                      <a:pt x="354" y="121"/>
                    </a:cubicBezTo>
                    <a:cubicBezTo>
                      <a:pt x="353" y="121"/>
                      <a:pt x="353" y="121"/>
                      <a:pt x="353" y="121"/>
                    </a:cubicBezTo>
                    <a:cubicBezTo>
                      <a:pt x="352" y="122"/>
                      <a:pt x="352" y="122"/>
                      <a:pt x="352" y="122"/>
                    </a:cubicBezTo>
                    <a:cubicBezTo>
                      <a:pt x="353" y="123"/>
                      <a:pt x="353" y="123"/>
                      <a:pt x="353" y="123"/>
                    </a:cubicBezTo>
                    <a:cubicBezTo>
                      <a:pt x="353" y="124"/>
                      <a:pt x="353" y="124"/>
                      <a:pt x="353" y="124"/>
                    </a:cubicBezTo>
                    <a:cubicBezTo>
                      <a:pt x="350" y="125"/>
                      <a:pt x="350" y="125"/>
                      <a:pt x="350" y="125"/>
                    </a:cubicBezTo>
                    <a:cubicBezTo>
                      <a:pt x="350" y="126"/>
                      <a:pt x="350" y="126"/>
                      <a:pt x="350" y="126"/>
                    </a:cubicBezTo>
                    <a:cubicBezTo>
                      <a:pt x="352" y="127"/>
                      <a:pt x="352" y="127"/>
                      <a:pt x="352" y="127"/>
                    </a:cubicBezTo>
                    <a:cubicBezTo>
                      <a:pt x="354" y="126"/>
                      <a:pt x="354" y="126"/>
                      <a:pt x="354" y="126"/>
                    </a:cubicBezTo>
                    <a:cubicBezTo>
                      <a:pt x="355" y="125"/>
                      <a:pt x="355" y="125"/>
                      <a:pt x="355" y="125"/>
                    </a:cubicBezTo>
                    <a:cubicBezTo>
                      <a:pt x="356" y="124"/>
                      <a:pt x="356" y="124"/>
                      <a:pt x="356" y="124"/>
                    </a:cubicBezTo>
                    <a:cubicBezTo>
                      <a:pt x="358" y="125"/>
                      <a:pt x="358" y="125"/>
                      <a:pt x="358" y="125"/>
                    </a:cubicBezTo>
                    <a:cubicBezTo>
                      <a:pt x="359" y="128"/>
                      <a:pt x="359" y="128"/>
                      <a:pt x="359" y="128"/>
                    </a:cubicBezTo>
                    <a:cubicBezTo>
                      <a:pt x="360" y="130"/>
                      <a:pt x="360" y="130"/>
                      <a:pt x="360" y="130"/>
                    </a:cubicBezTo>
                    <a:cubicBezTo>
                      <a:pt x="361" y="131"/>
                      <a:pt x="361" y="131"/>
                      <a:pt x="361" y="131"/>
                    </a:cubicBezTo>
                    <a:close/>
                    <a:moveTo>
                      <a:pt x="546" y="242"/>
                    </a:moveTo>
                    <a:cubicBezTo>
                      <a:pt x="546" y="241"/>
                      <a:pt x="546" y="241"/>
                      <a:pt x="546" y="241"/>
                    </a:cubicBezTo>
                    <a:cubicBezTo>
                      <a:pt x="549" y="242"/>
                      <a:pt x="549" y="242"/>
                      <a:pt x="549" y="242"/>
                    </a:cubicBezTo>
                    <a:cubicBezTo>
                      <a:pt x="549" y="242"/>
                      <a:pt x="549" y="242"/>
                      <a:pt x="549" y="242"/>
                    </a:cubicBezTo>
                    <a:cubicBezTo>
                      <a:pt x="548" y="243"/>
                      <a:pt x="548" y="243"/>
                      <a:pt x="548" y="243"/>
                    </a:cubicBezTo>
                    <a:cubicBezTo>
                      <a:pt x="547" y="243"/>
                      <a:pt x="547" y="243"/>
                      <a:pt x="547" y="243"/>
                    </a:cubicBezTo>
                    <a:cubicBezTo>
                      <a:pt x="546" y="242"/>
                      <a:pt x="546" y="242"/>
                      <a:pt x="546" y="242"/>
                    </a:cubicBezTo>
                    <a:close/>
                    <a:moveTo>
                      <a:pt x="524" y="198"/>
                    </a:moveTo>
                    <a:cubicBezTo>
                      <a:pt x="523" y="197"/>
                      <a:pt x="523" y="197"/>
                      <a:pt x="523" y="197"/>
                    </a:cubicBezTo>
                    <a:cubicBezTo>
                      <a:pt x="521" y="197"/>
                      <a:pt x="521" y="197"/>
                      <a:pt x="521" y="197"/>
                    </a:cubicBezTo>
                    <a:cubicBezTo>
                      <a:pt x="521" y="198"/>
                      <a:pt x="521" y="198"/>
                      <a:pt x="521" y="198"/>
                    </a:cubicBezTo>
                    <a:cubicBezTo>
                      <a:pt x="522" y="198"/>
                      <a:pt x="522" y="198"/>
                      <a:pt x="522" y="198"/>
                    </a:cubicBezTo>
                    <a:cubicBezTo>
                      <a:pt x="523" y="199"/>
                      <a:pt x="523" y="199"/>
                      <a:pt x="523" y="199"/>
                    </a:cubicBezTo>
                    <a:cubicBezTo>
                      <a:pt x="523" y="200"/>
                      <a:pt x="523" y="200"/>
                      <a:pt x="523" y="200"/>
                    </a:cubicBezTo>
                    <a:cubicBezTo>
                      <a:pt x="520" y="200"/>
                      <a:pt x="520" y="200"/>
                      <a:pt x="520" y="200"/>
                    </a:cubicBezTo>
                    <a:cubicBezTo>
                      <a:pt x="519" y="201"/>
                      <a:pt x="519" y="201"/>
                      <a:pt x="519" y="201"/>
                    </a:cubicBezTo>
                    <a:cubicBezTo>
                      <a:pt x="520" y="202"/>
                      <a:pt x="520" y="202"/>
                      <a:pt x="520" y="202"/>
                    </a:cubicBezTo>
                    <a:cubicBezTo>
                      <a:pt x="521" y="203"/>
                      <a:pt x="521" y="203"/>
                      <a:pt x="521" y="203"/>
                    </a:cubicBezTo>
                    <a:cubicBezTo>
                      <a:pt x="521" y="203"/>
                      <a:pt x="521" y="203"/>
                      <a:pt x="521" y="203"/>
                    </a:cubicBezTo>
                    <a:cubicBezTo>
                      <a:pt x="519" y="203"/>
                      <a:pt x="519" y="203"/>
                      <a:pt x="519" y="203"/>
                    </a:cubicBezTo>
                    <a:cubicBezTo>
                      <a:pt x="516" y="203"/>
                      <a:pt x="516" y="203"/>
                      <a:pt x="516" y="203"/>
                    </a:cubicBezTo>
                    <a:cubicBezTo>
                      <a:pt x="515" y="205"/>
                      <a:pt x="515" y="205"/>
                      <a:pt x="515" y="205"/>
                    </a:cubicBezTo>
                    <a:cubicBezTo>
                      <a:pt x="514" y="206"/>
                      <a:pt x="514" y="206"/>
                      <a:pt x="514" y="206"/>
                    </a:cubicBezTo>
                    <a:cubicBezTo>
                      <a:pt x="514" y="207"/>
                      <a:pt x="514" y="207"/>
                      <a:pt x="514" y="207"/>
                    </a:cubicBezTo>
                    <a:cubicBezTo>
                      <a:pt x="514" y="208"/>
                      <a:pt x="514" y="208"/>
                      <a:pt x="514" y="208"/>
                    </a:cubicBezTo>
                    <a:cubicBezTo>
                      <a:pt x="515" y="208"/>
                      <a:pt x="515" y="208"/>
                      <a:pt x="515" y="208"/>
                    </a:cubicBezTo>
                    <a:cubicBezTo>
                      <a:pt x="514" y="209"/>
                      <a:pt x="514" y="209"/>
                      <a:pt x="514" y="209"/>
                    </a:cubicBezTo>
                    <a:cubicBezTo>
                      <a:pt x="514" y="210"/>
                      <a:pt x="514" y="210"/>
                      <a:pt x="514" y="210"/>
                    </a:cubicBezTo>
                    <a:cubicBezTo>
                      <a:pt x="515" y="210"/>
                      <a:pt x="515" y="210"/>
                      <a:pt x="515" y="210"/>
                    </a:cubicBezTo>
                    <a:cubicBezTo>
                      <a:pt x="516" y="209"/>
                      <a:pt x="516" y="209"/>
                      <a:pt x="516" y="209"/>
                    </a:cubicBezTo>
                    <a:cubicBezTo>
                      <a:pt x="516" y="209"/>
                      <a:pt x="516" y="209"/>
                      <a:pt x="516" y="209"/>
                    </a:cubicBezTo>
                    <a:cubicBezTo>
                      <a:pt x="516" y="211"/>
                      <a:pt x="516" y="211"/>
                      <a:pt x="516" y="211"/>
                    </a:cubicBezTo>
                    <a:cubicBezTo>
                      <a:pt x="516" y="212"/>
                      <a:pt x="516" y="212"/>
                      <a:pt x="516" y="212"/>
                    </a:cubicBezTo>
                    <a:cubicBezTo>
                      <a:pt x="517" y="213"/>
                      <a:pt x="517" y="213"/>
                      <a:pt x="517" y="213"/>
                    </a:cubicBezTo>
                    <a:cubicBezTo>
                      <a:pt x="518" y="212"/>
                      <a:pt x="518" y="212"/>
                      <a:pt x="518" y="212"/>
                    </a:cubicBezTo>
                    <a:cubicBezTo>
                      <a:pt x="519" y="213"/>
                      <a:pt x="519" y="213"/>
                      <a:pt x="519" y="213"/>
                    </a:cubicBezTo>
                    <a:cubicBezTo>
                      <a:pt x="519" y="215"/>
                      <a:pt x="519" y="215"/>
                      <a:pt x="519" y="215"/>
                    </a:cubicBezTo>
                    <a:cubicBezTo>
                      <a:pt x="520" y="214"/>
                      <a:pt x="520" y="214"/>
                      <a:pt x="520" y="214"/>
                    </a:cubicBezTo>
                    <a:cubicBezTo>
                      <a:pt x="520" y="213"/>
                      <a:pt x="520" y="213"/>
                      <a:pt x="520" y="213"/>
                    </a:cubicBezTo>
                    <a:cubicBezTo>
                      <a:pt x="521" y="214"/>
                      <a:pt x="521" y="214"/>
                      <a:pt x="521" y="214"/>
                    </a:cubicBezTo>
                    <a:cubicBezTo>
                      <a:pt x="521" y="216"/>
                      <a:pt x="521" y="216"/>
                      <a:pt x="521" y="216"/>
                    </a:cubicBezTo>
                    <a:cubicBezTo>
                      <a:pt x="522" y="217"/>
                      <a:pt x="522" y="217"/>
                      <a:pt x="522" y="217"/>
                    </a:cubicBezTo>
                    <a:cubicBezTo>
                      <a:pt x="523" y="217"/>
                      <a:pt x="523" y="217"/>
                      <a:pt x="523" y="217"/>
                    </a:cubicBezTo>
                    <a:cubicBezTo>
                      <a:pt x="524" y="219"/>
                      <a:pt x="524" y="219"/>
                      <a:pt x="524" y="219"/>
                    </a:cubicBezTo>
                    <a:cubicBezTo>
                      <a:pt x="526" y="219"/>
                      <a:pt x="526" y="219"/>
                      <a:pt x="526" y="219"/>
                    </a:cubicBezTo>
                    <a:cubicBezTo>
                      <a:pt x="528" y="220"/>
                      <a:pt x="528" y="220"/>
                      <a:pt x="528" y="220"/>
                    </a:cubicBezTo>
                    <a:cubicBezTo>
                      <a:pt x="530" y="220"/>
                      <a:pt x="530" y="220"/>
                      <a:pt x="530" y="220"/>
                    </a:cubicBezTo>
                    <a:cubicBezTo>
                      <a:pt x="530" y="221"/>
                      <a:pt x="530" y="221"/>
                      <a:pt x="530" y="221"/>
                    </a:cubicBezTo>
                    <a:cubicBezTo>
                      <a:pt x="531" y="220"/>
                      <a:pt x="531" y="220"/>
                      <a:pt x="531" y="220"/>
                    </a:cubicBezTo>
                    <a:cubicBezTo>
                      <a:pt x="530" y="219"/>
                      <a:pt x="530" y="219"/>
                      <a:pt x="530" y="219"/>
                    </a:cubicBezTo>
                    <a:cubicBezTo>
                      <a:pt x="532" y="218"/>
                      <a:pt x="532" y="218"/>
                      <a:pt x="532" y="218"/>
                    </a:cubicBezTo>
                    <a:cubicBezTo>
                      <a:pt x="533" y="216"/>
                      <a:pt x="533" y="216"/>
                      <a:pt x="533" y="216"/>
                    </a:cubicBezTo>
                    <a:cubicBezTo>
                      <a:pt x="533" y="214"/>
                      <a:pt x="533" y="214"/>
                      <a:pt x="533" y="214"/>
                    </a:cubicBezTo>
                    <a:cubicBezTo>
                      <a:pt x="534" y="211"/>
                      <a:pt x="534" y="211"/>
                      <a:pt x="534" y="211"/>
                    </a:cubicBezTo>
                    <a:cubicBezTo>
                      <a:pt x="535" y="210"/>
                      <a:pt x="535" y="210"/>
                      <a:pt x="535" y="210"/>
                    </a:cubicBezTo>
                    <a:cubicBezTo>
                      <a:pt x="536" y="207"/>
                      <a:pt x="536" y="207"/>
                      <a:pt x="536" y="207"/>
                    </a:cubicBezTo>
                    <a:cubicBezTo>
                      <a:pt x="536" y="204"/>
                      <a:pt x="536" y="204"/>
                      <a:pt x="536" y="204"/>
                    </a:cubicBezTo>
                    <a:cubicBezTo>
                      <a:pt x="536" y="204"/>
                      <a:pt x="536" y="204"/>
                      <a:pt x="536" y="204"/>
                    </a:cubicBezTo>
                    <a:cubicBezTo>
                      <a:pt x="536" y="202"/>
                      <a:pt x="536" y="202"/>
                      <a:pt x="536" y="202"/>
                    </a:cubicBezTo>
                    <a:cubicBezTo>
                      <a:pt x="534" y="200"/>
                      <a:pt x="534" y="200"/>
                      <a:pt x="534" y="200"/>
                    </a:cubicBezTo>
                    <a:cubicBezTo>
                      <a:pt x="534" y="198"/>
                      <a:pt x="534" y="198"/>
                      <a:pt x="534" y="198"/>
                    </a:cubicBezTo>
                    <a:cubicBezTo>
                      <a:pt x="534" y="197"/>
                      <a:pt x="534" y="197"/>
                      <a:pt x="534" y="197"/>
                    </a:cubicBezTo>
                    <a:cubicBezTo>
                      <a:pt x="533" y="196"/>
                      <a:pt x="533" y="196"/>
                      <a:pt x="533" y="196"/>
                    </a:cubicBezTo>
                    <a:cubicBezTo>
                      <a:pt x="531" y="195"/>
                      <a:pt x="531" y="195"/>
                      <a:pt x="531" y="195"/>
                    </a:cubicBezTo>
                    <a:cubicBezTo>
                      <a:pt x="529" y="195"/>
                      <a:pt x="529" y="195"/>
                      <a:pt x="529" y="195"/>
                    </a:cubicBezTo>
                    <a:cubicBezTo>
                      <a:pt x="527" y="195"/>
                      <a:pt x="527" y="195"/>
                      <a:pt x="527" y="195"/>
                    </a:cubicBezTo>
                    <a:cubicBezTo>
                      <a:pt x="525" y="195"/>
                      <a:pt x="525" y="195"/>
                      <a:pt x="525" y="195"/>
                    </a:cubicBezTo>
                    <a:cubicBezTo>
                      <a:pt x="524" y="196"/>
                      <a:pt x="524" y="196"/>
                      <a:pt x="524" y="196"/>
                    </a:cubicBezTo>
                    <a:cubicBezTo>
                      <a:pt x="525" y="197"/>
                      <a:pt x="525" y="197"/>
                      <a:pt x="525" y="197"/>
                    </a:cubicBezTo>
                    <a:cubicBezTo>
                      <a:pt x="525" y="198"/>
                      <a:pt x="525" y="198"/>
                      <a:pt x="525" y="198"/>
                    </a:cubicBezTo>
                    <a:cubicBezTo>
                      <a:pt x="524" y="198"/>
                      <a:pt x="524" y="198"/>
                      <a:pt x="524" y="198"/>
                    </a:cubicBezTo>
                    <a:close/>
                    <a:moveTo>
                      <a:pt x="537" y="183"/>
                    </a:moveTo>
                    <a:cubicBezTo>
                      <a:pt x="536" y="182"/>
                      <a:pt x="536" y="182"/>
                      <a:pt x="536" y="182"/>
                    </a:cubicBezTo>
                    <a:cubicBezTo>
                      <a:pt x="536" y="181"/>
                      <a:pt x="536" y="181"/>
                      <a:pt x="536" y="181"/>
                    </a:cubicBezTo>
                    <a:cubicBezTo>
                      <a:pt x="538" y="181"/>
                      <a:pt x="538" y="181"/>
                      <a:pt x="538" y="181"/>
                    </a:cubicBezTo>
                    <a:cubicBezTo>
                      <a:pt x="538" y="181"/>
                      <a:pt x="537" y="183"/>
                      <a:pt x="537" y="183"/>
                    </a:cubicBezTo>
                    <a:close/>
                    <a:moveTo>
                      <a:pt x="535" y="193"/>
                    </a:moveTo>
                    <a:cubicBezTo>
                      <a:pt x="534" y="191"/>
                      <a:pt x="534" y="191"/>
                      <a:pt x="534" y="191"/>
                    </a:cubicBezTo>
                    <a:cubicBezTo>
                      <a:pt x="534" y="191"/>
                      <a:pt x="534" y="191"/>
                      <a:pt x="534" y="191"/>
                    </a:cubicBezTo>
                    <a:cubicBezTo>
                      <a:pt x="534" y="190"/>
                      <a:pt x="534" y="190"/>
                      <a:pt x="534" y="190"/>
                    </a:cubicBezTo>
                    <a:cubicBezTo>
                      <a:pt x="534" y="189"/>
                      <a:pt x="534" y="189"/>
                      <a:pt x="534" y="189"/>
                    </a:cubicBezTo>
                    <a:cubicBezTo>
                      <a:pt x="534" y="187"/>
                      <a:pt x="534" y="187"/>
                      <a:pt x="534" y="187"/>
                    </a:cubicBezTo>
                    <a:cubicBezTo>
                      <a:pt x="535" y="186"/>
                      <a:pt x="535" y="186"/>
                      <a:pt x="535" y="186"/>
                    </a:cubicBezTo>
                    <a:cubicBezTo>
                      <a:pt x="537" y="186"/>
                      <a:pt x="537" y="186"/>
                      <a:pt x="537" y="186"/>
                    </a:cubicBezTo>
                    <a:cubicBezTo>
                      <a:pt x="536" y="190"/>
                      <a:pt x="536" y="190"/>
                      <a:pt x="536" y="190"/>
                    </a:cubicBezTo>
                    <a:cubicBezTo>
                      <a:pt x="535" y="192"/>
                      <a:pt x="535" y="192"/>
                      <a:pt x="535" y="192"/>
                    </a:cubicBezTo>
                    <a:cubicBezTo>
                      <a:pt x="535" y="192"/>
                      <a:pt x="535" y="193"/>
                      <a:pt x="535" y="193"/>
                    </a:cubicBezTo>
                    <a:close/>
                    <a:moveTo>
                      <a:pt x="521" y="188"/>
                    </a:moveTo>
                    <a:cubicBezTo>
                      <a:pt x="521" y="188"/>
                      <a:pt x="521" y="188"/>
                      <a:pt x="521" y="188"/>
                    </a:cubicBezTo>
                    <a:cubicBezTo>
                      <a:pt x="521" y="187"/>
                      <a:pt x="521" y="187"/>
                      <a:pt x="521" y="187"/>
                    </a:cubicBezTo>
                    <a:cubicBezTo>
                      <a:pt x="523" y="186"/>
                      <a:pt x="523" y="186"/>
                      <a:pt x="523" y="186"/>
                    </a:cubicBezTo>
                    <a:cubicBezTo>
                      <a:pt x="524" y="187"/>
                      <a:pt x="524" y="187"/>
                      <a:pt x="524" y="187"/>
                    </a:cubicBezTo>
                    <a:cubicBezTo>
                      <a:pt x="523" y="187"/>
                      <a:pt x="523" y="187"/>
                      <a:pt x="523" y="187"/>
                    </a:cubicBezTo>
                    <a:cubicBezTo>
                      <a:pt x="522" y="188"/>
                      <a:pt x="522" y="188"/>
                      <a:pt x="522" y="188"/>
                    </a:cubicBezTo>
                    <a:cubicBezTo>
                      <a:pt x="521" y="188"/>
                      <a:pt x="521" y="188"/>
                      <a:pt x="521" y="188"/>
                    </a:cubicBezTo>
                    <a:close/>
                    <a:moveTo>
                      <a:pt x="518" y="191"/>
                    </a:moveTo>
                    <a:cubicBezTo>
                      <a:pt x="517" y="190"/>
                      <a:pt x="517" y="190"/>
                      <a:pt x="517" y="190"/>
                    </a:cubicBezTo>
                    <a:cubicBezTo>
                      <a:pt x="519" y="189"/>
                      <a:pt x="519" y="189"/>
                      <a:pt x="519" y="189"/>
                    </a:cubicBezTo>
                    <a:cubicBezTo>
                      <a:pt x="519" y="189"/>
                      <a:pt x="519" y="189"/>
                      <a:pt x="519" y="189"/>
                    </a:cubicBezTo>
                    <a:cubicBezTo>
                      <a:pt x="519" y="191"/>
                      <a:pt x="519" y="191"/>
                      <a:pt x="519" y="191"/>
                    </a:cubicBezTo>
                    <a:cubicBezTo>
                      <a:pt x="518" y="191"/>
                      <a:pt x="518" y="191"/>
                      <a:pt x="518" y="191"/>
                    </a:cubicBezTo>
                    <a:close/>
                    <a:moveTo>
                      <a:pt x="520" y="195"/>
                    </a:moveTo>
                    <a:cubicBezTo>
                      <a:pt x="521" y="194"/>
                      <a:pt x="521" y="194"/>
                      <a:pt x="521" y="194"/>
                    </a:cubicBezTo>
                    <a:cubicBezTo>
                      <a:pt x="520" y="193"/>
                      <a:pt x="520" y="193"/>
                      <a:pt x="520" y="193"/>
                    </a:cubicBezTo>
                    <a:cubicBezTo>
                      <a:pt x="520" y="192"/>
                      <a:pt x="520" y="192"/>
                      <a:pt x="520" y="192"/>
                    </a:cubicBezTo>
                    <a:cubicBezTo>
                      <a:pt x="521" y="192"/>
                      <a:pt x="521" y="192"/>
                      <a:pt x="521" y="192"/>
                    </a:cubicBezTo>
                    <a:cubicBezTo>
                      <a:pt x="522" y="192"/>
                      <a:pt x="522" y="192"/>
                      <a:pt x="522" y="192"/>
                    </a:cubicBezTo>
                    <a:cubicBezTo>
                      <a:pt x="523" y="194"/>
                      <a:pt x="523" y="194"/>
                      <a:pt x="523" y="194"/>
                    </a:cubicBezTo>
                    <a:cubicBezTo>
                      <a:pt x="521" y="195"/>
                      <a:pt x="521" y="195"/>
                      <a:pt x="521" y="195"/>
                    </a:cubicBezTo>
                    <a:cubicBezTo>
                      <a:pt x="520" y="195"/>
                      <a:pt x="520" y="195"/>
                      <a:pt x="520" y="195"/>
                    </a:cubicBezTo>
                    <a:close/>
                    <a:moveTo>
                      <a:pt x="517" y="197"/>
                    </a:moveTo>
                    <a:cubicBezTo>
                      <a:pt x="515" y="196"/>
                      <a:pt x="515" y="196"/>
                      <a:pt x="515" y="196"/>
                    </a:cubicBezTo>
                    <a:cubicBezTo>
                      <a:pt x="515" y="194"/>
                      <a:pt x="515" y="194"/>
                      <a:pt x="515" y="194"/>
                    </a:cubicBezTo>
                    <a:cubicBezTo>
                      <a:pt x="516" y="193"/>
                      <a:pt x="516" y="193"/>
                      <a:pt x="516" y="193"/>
                    </a:cubicBezTo>
                    <a:cubicBezTo>
                      <a:pt x="517" y="193"/>
                      <a:pt x="517" y="193"/>
                      <a:pt x="517" y="193"/>
                    </a:cubicBezTo>
                    <a:cubicBezTo>
                      <a:pt x="518" y="192"/>
                      <a:pt x="518" y="192"/>
                      <a:pt x="518" y="192"/>
                    </a:cubicBezTo>
                    <a:cubicBezTo>
                      <a:pt x="519" y="193"/>
                      <a:pt x="519" y="193"/>
                      <a:pt x="519" y="193"/>
                    </a:cubicBezTo>
                    <a:cubicBezTo>
                      <a:pt x="519" y="194"/>
                      <a:pt x="519" y="194"/>
                      <a:pt x="519" y="194"/>
                    </a:cubicBezTo>
                    <a:cubicBezTo>
                      <a:pt x="519" y="195"/>
                      <a:pt x="519" y="195"/>
                      <a:pt x="519" y="195"/>
                    </a:cubicBezTo>
                    <a:cubicBezTo>
                      <a:pt x="519" y="196"/>
                      <a:pt x="519" y="196"/>
                      <a:pt x="519" y="196"/>
                    </a:cubicBezTo>
                    <a:cubicBezTo>
                      <a:pt x="518" y="196"/>
                      <a:pt x="518" y="196"/>
                      <a:pt x="518" y="196"/>
                    </a:cubicBezTo>
                    <a:cubicBezTo>
                      <a:pt x="517" y="197"/>
                      <a:pt x="517" y="197"/>
                      <a:pt x="517" y="197"/>
                    </a:cubicBezTo>
                    <a:cubicBezTo>
                      <a:pt x="517" y="197"/>
                      <a:pt x="517" y="197"/>
                      <a:pt x="517" y="197"/>
                    </a:cubicBezTo>
                    <a:close/>
                    <a:moveTo>
                      <a:pt x="512" y="198"/>
                    </a:moveTo>
                    <a:cubicBezTo>
                      <a:pt x="511" y="197"/>
                      <a:pt x="511" y="197"/>
                      <a:pt x="511" y="197"/>
                    </a:cubicBezTo>
                    <a:cubicBezTo>
                      <a:pt x="512" y="196"/>
                      <a:pt x="512" y="196"/>
                      <a:pt x="512" y="196"/>
                    </a:cubicBezTo>
                    <a:cubicBezTo>
                      <a:pt x="512" y="197"/>
                      <a:pt x="512" y="197"/>
                      <a:pt x="512" y="197"/>
                    </a:cubicBezTo>
                    <a:cubicBezTo>
                      <a:pt x="512" y="198"/>
                      <a:pt x="512" y="198"/>
                      <a:pt x="512" y="198"/>
                    </a:cubicBezTo>
                    <a:cubicBezTo>
                      <a:pt x="512" y="198"/>
                      <a:pt x="512" y="198"/>
                      <a:pt x="512" y="198"/>
                    </a:cubicBezTo>
                    <a:close/>
                    <a:moveTo>
                      <a:pt x="492" y="201"/>
                    </a:moveTo>
                    <a:cubicBezTo>
                      <a:pt x="491" y="200"/>
                      <a:pt x="491" y="200"/>
                      <a:pt x="491" y="200"/>
                    </a:cubicBezTo>
                    <a:cubicBezTo>
                      <a:pt x="489" y="200"/>
                      <a:pt x="489" y="200"/>
                      <a:pt x="489" y="200"/>
                    </a:cubicBezTo>
                    <a:cubicBezTo>
                      <a:pt x="488" y="199"/>
                      <a:pt x="488" y="199"/>
                      <a:pt x="488" y="199"/>
                    </a:cubicBezTo>
                    <a:cubicBezTo>
                      <a:pt x="488" y="197"/>
                      <a:pt x="488" y="197"/>
                      <a:pt x="488" y="197"/>
                    </a:cubicBezTo>
                    <a:cubicBezTo>
                      <a:pt x="488" y="196"/>
                      <a:pt x="488" y="196"/>
                      <a:pt x="488" y="196"/>
                    </a:cubicBezTo>
                    <a:cubicBezTo>
                      <a:pt x="488" y="195"/>
                      <a:pt x="488" y="195"/>
                      <a:pt x="488" y="195"/>
                    </a:cubicBezTo>
                    <a:cubicBezTo>
                      <a:pt x="489" y="193"/>
                      <a:pt x="489" y="193"/>
                      <a:pt x="489" y="193"/>
                    </a:cubicBezTo>
                    <a:cubicBezTo>
                      <a:pt x="490" y="193"/>
                      <a:pt x="490" y="193"/>
                      <a:pt x="490" y="193"/>
                    </a:cubicBezTo>
                    <a:cubicBezTo>
                      <a:pt x="491" y="195"/>
                      <a:pt x="491" y="195"/>
                      <a:pt x="491" y="195"/>
                    </a:cubicBezTo>
                    <a:cubicBezTo>
                      <a:pt x="491" y="195"/>
                      <a:pt x="491" y="195"/>
                      <a:pt x="491" y="195"/>
                    </a:cubicBezTo>
                    <a:cubicBezTo>
                      <a:pt x="490" y="193"/>
                      <a:pt x="490" y="193"/>
                      <a:pt x="490" y="193"/>
                    </a:cubicBezTo>
                    <a:cubicBezTo>
                      <a:pt x="491" y="192"/>
                      <a:pt x="491" y="192"/>
                      <a:pt x="491" y="192"/>
                    </a:cubicBezTo>
                    <a:cubicBezTo>
                      <a:pt x="489" y="192"/>
                      <a:pt x="489" y="192"/>
                      <a:pt x="489" y="192"/>
                    </a:cubicBezTo>
                    <a:cubicBezTo>
                      <a:pt x="488" y="191"/>
                      <a:pt x="488" y="191"/>
                      <a:pt x="488" y="191"/>
                    </a:cubicBezTo>
                    <a:cubicBezTo>
                      <a:pt x="488" y="190"/>
                      <a:pt x="488" y="190"/>
                      <a:pt x="488" y="190"/>
                    </a:cubicBezTo>
                    <a:cubicBezTo>
                      <a:pt x="488" y="189"/>
                      <a:pt x="488" y="189"/>
                      <a:pt x="488" y="189"/>
                    </a:cubicBezTo>
                    <a:cubicBezTo>
                      <a:pt x="489" y="189"/>
                      <a:pt x="489" y="189"/>
                      <a:pt x="489" y="189"/>
                    </a:cubicBezTo>
                    <a:cubicBezTo>
                      <a:pt x="490" y="190"/>
                      <a:pt x="490" y="190"/>
                      <a:pt x="490" y="190"/>
                    </a:cubicBezTo>
                    <a:cubicBezTo>
                      <a:pt x="490" y="189"/>
                      <a:pt x="490" y="189"/>
                      <a:pt x="490" y="189"/>
                    </a:cubicBezTo>
                    <a:cubicBezTo>
                      <a:pt x="490" y="188"/>
                      <a:pt x="490" y="188"/>
                      <a:pt x="490" y="188"/>
                    </a:cubicBezTo>
                    <a:cubicBezTo>
                      <a:pt x="491" y="187"/>
                      <a:pt x="491" y="187"/>
                      <a:pt x="491" y="187"/>
                    </a:cubicBezTo>
                    <a:cubicBezTo>
                      <a:pt x="493" y="188"/>
                      <a:pt x="493" y="188"/>
                      <a:pt x="493" y="188"/>
                    </a:cubicBezTo>
                    <a:cubicBezTo>
                      <a:pt x="496" y="189"/>
                      <a:pt x="496" y="189"/>
                      <a:pt x="496" y="189"/>
                    </a:cubicBezTo>
                    <a:cubicBezTo>
                      <a:pt x="497" y="188"/>
                      <a:pt x="497" y="188"/>
                      <a:pt x="497" y="188"/>
                    </a:cubicBezTo>
                    <a:cubicBezTo>
                      <a:pt x="496" y="187"/>
                      <a:pt x="496" y="187"/>
                      <a:pt x="496" y="187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5" y="187"/>
                      <a:pt x="495" y="187"/>
                      <a:pt x="495" y="187"/>
                    </a:cubicBezTo>
                    <a:cubicBezTo>
                      <a:pt x="498" y="187"/>
                      <a:pt x="498" y="187"/>
                      <a:pt x="498" y="187"/>
                    </a:cubicBezTo>
                    <a:cubicBezTo>
                      <a:pt x="500" y="185"/>
                      <a:pt x="500" y="185"/>
                      <a:pt x="500" y="185"/>
                    </a:cubicBezTo>
                    <a:cubicBezTo>
                      <a:pt x="502" y="185"/>
                      <a:pt x="502" y="185"/>
                      <a:pt x="502" y="185"/>
                    </a:cubicBezTo>
                    <a:cubicBezTo>
                      <a:pt x="504" y="186"/>
                      <a:pt x="504" y="186"/>
                      <a:pt x="504" y="186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5" y="184"/>
                      <a:pt x="505" y="184"/>
                      <a:pt x="505" y="184"/>
                    </a:cubicBezTo>
                    <a:cubicBezTo>
                      <a:pt x="497" y="182"/>
                      <a:pt x="497" y="182"/>
                      <a:pt x="497" y="182"/>
                    </a:cubicBezTo>
                    <a:cubicBezTo>
                      <a:pt x="495" y="183"/>
                      <a:pt x="495" y="183"/>
                      <a:pt x="495" y="183"/>
                    </a:cubicBezTo>
                    <a:cubicBezTo>
                      <a:pt x="493" y="182"/>
                      <a:pt x="493" y="182"/>
                      <a:pt x="493" y="182"/>
                    </a:cubicBezTo>
                    <a:cubicBezTo>
                      <a:pt x="491" y="182"/>
                      <a:pt x="491" y="182"/>
                      <a:pt x="491" y="182"/>
                    </a:cubicBezTo>
                    <a:cubicBezTo>
                      <a:pt x="489" y="181"/>
                      <a:pt x="489" y="181"/>
                      <a:pt x="489" y="181"/>
                    </a:cubicBezTo>
                    <a:cubicBezTo>
                      <a:pt x="488" y="181"/>
                      <a:pt x="488" y="181"/>
                      <a:pt x="488" y="181"/>
                    </a:cubicBezTo>
                    <a:cubicBezTo>
                      <a:pt x="486" y="181"/>
                      <a:pt x="486" y="181"/>
                      <a:pt x="486" y="181"/>
                    </a:cubicBezTo>
                    <a:cubicBezTo>
                      <a:pt x="485" y="181"/>
                      <a:pt x="485" y="181"/>
                      <a:pt x="485" y="181"/>
                    </a:cubicBezTo>
                    <a:cubicBezTo>
                      <a:pt x="484" y="181"/>
                      <a:pt x="484" y="181"/>
                      <a:pt x="484" y="181"/>
                    </a:cubicBezTo>
                    <a:cubicBezTo>
                      <a:pt x="483" y="181"/>
                      <a:pt x="483" y="181"/>
                      <a:pt x="483" y="181"/>
                    </a:cubicBezTo>
                    <a:cubicBezTo>
                      <a:pt x="482" y="181"/>
                      <a:pt x="482" y="181"/>
                      <a:pt x="482" y="181"/>
                    </a:cubicBezTo>
                    <a:cubicBezTo>
                      <a:pt x="481" y="180"/>
                      <a:pt x="481" y="180"/>
                      <a:pt x="481" y="180"/>
                    </a:cubicBezTo>
                    <a:cubicBezTo>
                      <a:pt x="481" y="178"/>
                      <a:pt x="481" y="178"/>
                      <a:pt x="481" y="178"/>
                    </a:cubicBezTo>
                    <a:cubicBezTo>
                      <a:pt x="482" y="178"/>
                      <a:pt x="482" y="178"/>
                      <a:pt x="482" y="178"/>
                    </a:cubicBezTo>
                    <a:cubicBezTo>
                      <a:pt x="483" y="177"/>
                      <a:pt x="483" y="177"/>
                      <a:pt x="483" y="177"/>
                    </a:cubicBezTo>
                    <a:cubicBezTo>
                      <a:pt x="485" y="178"/>
                      <a:pt x="485" y="178"/>
                      <a:pt x="485" y="178"/>
                    </a:cubicBezTo>
                    <a:cubicBezTo>
                      <a:pt x="486" y="178"/>
                      <a:pt x="486" y="178"/>
                      <a:pt x="486" y="178"/>
                    </a:cubicBezTo>
                    <a:cubicBezTo>
                      <a:pt x="485" y="177"/>
                      <a:pt x="485" y="177"/>
                      <a:pt x="485" y="177"/>
                    </a:cubicBezTo>
                    <a:cubicBezTo>
                      <a:pt x="486" y="175"/>
                      <a:pt x="486" y="175"/>
                      <a:pt x="486" y="175"/>
                    </a:cubicBezTo>
                    <a:cubicBezTo>
                      <a:pt x="487" y="174"/>
                      <a:pt x="487" y="174"/>
                      <a:pt x="487" y="174"/>
                    </a:cubicBezTo>
                    <a:cubicBezTo>
                      <a:pt x="488" y="174"/>
                      <a:pt x="488" y="174"/>
                      <a:pt x="488" y="174"/>
                    </a:cubicBezTo>
                    <a:cubicBezTo>
                      <a:pt x="489" y="174"/>
                      <a:pt x="489" y="174"/>
                      <a:pt x="489" y="174"/>
                    </a:cubicBezTo>
                    <a:cubicBezTo>
                      <a:pt x="490" y="176"/>
                      <a:pt x="490" y="176"/>
                      <a:pt x="490" y="176"/>
                    </a:cubicBezTo>
                    <a:cubicBezTo>
                      <a:pt x="491" y="176"/>
                      <a:pt x="491" y="176"/>
                      <a:pt x="491" y="176"/>
                    </a:cubicBezTo>
                    <a:cubicBezTo>
                      <a:pt x="491" y="179"/>
                      <a:pt x="491" y="179"/>
                      <a:pt x="491" y="179"/>
                    </a:cubicBezTo>
                    <a:cubicBezTo>
                      <a:pt x="491" y="179"/>
                      <a:pt x="491" y="179"/>
                      <a:pt x="491" y="179"/>
                    </a:cubicBezTo>
                    <a:cubicBezTo>
                      <a:pt x="492" y="178"/>
                      <a:pt x="492" y="178"/>
                      <a:pt x="492" y="178"/>
                    </a:cubicBezTo>
                    <a:cubicBezTo>
                      <a:pt x="492" y="176"/>
                      <a:pt x="492" y="176"/>
                      <a:pt x="492" y="176"/>
                    </a:cubicBezTo>
                    <a:cubicBezTo>
                      <a:pt x="491" y="175"/>
                      <a:pt x="491" y="175"/>
                      <a:pt x="491" y="175"/>
                    </a:cubicBezTo>
                    <a:cubicBezTo>
                      <a:pt x="492" y="173"/>
                      <a:pt x="492" y="173"/>
                      <a:pt x="492" y="173"/>
                    </a:cubicBezTo>
                    <a:cubicBezTo>
                      <a:pt x="494" y="173"/>
                      <a:pt x="494" y="173"/>
                      <a:pt x="494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1"/>
                      <a:pt x="492" y="171"/>
                      <a:pt x="492" y="171"/>
                    </a:cubicBezTo>
                    <a:cubicBezTo>
                      <a:pt x="493" y="168"/>
                      <a:pt x="493" y="168"/>
                      <a:pt x="493" y="168"/>
                    </a:cubicBezTo>
                    <a:cubicBezTo>
                      <a:pt x="495" y="168"/>
                      <a:pt x="495" y="168"/>
                      <a:pt x="495" y="168"/>
                    </a:cubicBezTo>
                    <a:cubicBezTo>
                      <a:pt x="495" y="166"/>
                      <a:pt x="495" y="166"/>
                      <a:pt x="495" y="166"/>
                    </a:cubicBezTo>
                    <a:cubicBezTo>
                      <a:pt x="497" y="166"/>
                      <a:pt x="497" y="166"/>
                      <a:pt x="497" y="166"/>
                    </a:cubicBezTo>
                    <a:cubicBezTo>
                      <a:pt x="496" y="164"/>
                      <a:pt x="496" y="164"/>
                      <a:pt x="496" y="164"/>
                    </a:cubicBezTo>
                    <a:cubicBezTo>
                      <a:pt x="495" y="165"/>
                      <a:pt x="495" y="165"/>
                      <a:pt x="495" y="165"/>
                    </a:cubicBezTo>
                    <a:cubicBezTo>
                      <a:pt x="494" y="164"/>
                      <a:pt x="494" y="164"/>
                      <a:pt x="494" y="164"/>
                    </a:cubicBezTo>
                    <a:cubicBezTo>
                      <a:pt x="494" y="163"/>
                      <a:pt x="494" y="163"/>
                      <a:pt x="494" y="163"/>
                    </a:cubicBezTo>
                    <a:cubicBezTo>
                      <a:pt x="496" y="162"/>
                      <a:pt x="496" y="162"/>
                      <a:pt x="496" y="162"/>
                    </a:cubicBezTo>
                    <a:cubicBezTo>
                      <a:pt x="496" y="161"/>
                      <a:pt x="496" y="161"/>
                      <a:pt x="496" y="161"/>
                    </a:cubicBezTo>
                    <a:cubicBezTo>
                      <a:pt x="498" y="160"/>
                      <a:pt x="498" y="160"/>
                      <a:pt x="498" y="160"/>
                    </a:cubicBezTo>
                    <a:cubicBezTo>
                      <a:pt x="499" y="161"/>
                      <a:pt x="499" y="161"/>
                      <a:pt x="499" y="161"/>
                    </a:cubicBezTo>
                    <a:cubicBezTo>
                      <a:pt x="500" y="162"/>
                      <a:pt x="500" y="162"/>
                      <a:pt x="500" y="162"/>
                    </a:cubicBezTo>
                    <a:cubicBezTo>
                      <a:pt x="500" y="163"/>
                      <a:pt x="500" y="163"/>
                      <a:pt x="500" y="163"/>
                    </a:cubicBezTo>
                    <a:cubicBezTo>
                      <a:pt x="501" y="165"/>
                      <a:pt x="501" y="165"/>
                      <a:pt x="501" y="165"/>
                    </a:cubicBezTo>
                    <a:cubicBezTo>
                      <a:pt x="500" y="165"/>
                      <a:pt x="500" y="165"/>
                      <a:pt x="500" y="165"/>
                    </a:cubicBezTo>
                    <a:cubicBezTo>
                      <a:pt x="501" y="167"/>
                      <a:pt x="501" y="167"/>
                      <a:pt x="501" y="167"/>
                    </a:cubicBezTo>
                    <a:cubicBezTo>
                      <a:pt x="502" y="168"/>
                      <a:pt x="502" y="168"/>
                      <a:pt x="502" y="168"/>
                    </a:cubicBezTo>
                    <a:cubicBezTo>
                      <a:pt x="502" y="174"/>
                      <a:pt x="502" y="174"/>
                      <a:pt x="502" y="174"/>
                    </a:cubicBezTo>
                    <a:cubicBezTo>
                      <a:pt x="502" y="175"/>
                      <a:pt x="502" y="175"/>
                      <a:pt x="502" y="175"/>
                    </a:cubicBezTo>
                    <a:cubicBezTo>
                      <a:pt x="502" y="176"/>
                      <a:pt x="502" y="176"/>
                      <a:pt x="502" y="176"/>
                    </a:cubicBezTo>
                    <a:cubicBezTo>
                      <a:pt x="504" y="177"/>
                      <a:pt x="504" y="177"/>
                      <a:pt x="504" y="177"/>
                    </a:cubicBezTo>
                    <a:cubicBezTo>
                      <a:pt x="506" y="176"/>
                      <a:pt x="506" y="176"/>
                      <a:pt x="506" y="176"/>
                    </a:cubicBezTo>
                    <a:cubicBezTo>
                      <a:pt x="505" y="175"/>
                      <a:pt x="505" y="175"/>
                      <a:pt x="505" y="175"/>
                    </a:cubicBezTo>
                    <a:cubicBezTo>
                      <a:pt x="505" y="172"/>
                      <a:pt x="505" y="172"/>
                      <a:pt x="505" y="172"/>
                    </a:cubicBezTo>
                    <a:cubicBezTo>
                      <a:pt x="507" y="171"/>
                      <a:pt x="507" y="171"/>
                      <a:pt x="507" y="171"/>
                    </a:cubicBezTo>
                    <a:cubicBezTo>
                      <a:pt x="507" y="170"/>
                      <a:pt x="507" y="170"/>
                      <a:pt x="507" y="170"/>
                    </a:cubicBezTo>
                    <a:cubicBezTo>
                      <a:pt x="504" y="168"/>
                      <a:pt x="504" y="168"/>
                      <a:pt x="504" y="168"/>
                    </a:cubicBezTo>
                    <a:cubicBezTo>
                      <a:pt x="504" y="167"/>
                      <a:pt x="504" y="167"/>
                      <a:pt x="504" y="167"/>
                    </a:cubicBezTo>
                    <a:cubicBezTo>
                      <a:pt x="506" y="167"/>
                      <a:pt x="506" y="167"/>
                      <a:pt x="506" y="167"/>
                    </a:cubicBezTo>
                    <a:cubicBezTo>
                      <a:pt x="507" y="168"/>
                      <a:pt x="507" y="168"/>
                      <a:pt x="507" y="168"/>
                    </a:cubicBezTo>
                    <a:cubicBezTo>
                      <a:pt x="507" y="167"/>
                      <a:pt x="507" y="167"/>
                      <a:pt x="507" y="167"/>
                    </a:cubicBezTo>
                    <a:cubicBezTo>
                      <a:pt x="505" y="165"/>
                      <a:pt x="505" y="165"/>
                      <a:pt x="505" y="165"/>
                    </a:cubicBezTo>
                    <a:cubicBezTo>
                      <a:pt x="505" y="162"/>
                      <a:pt x="505" y="162"/>
                      <a:pt x="505" y="162"/>
                    </a:cubicBezTo>
                    <a:cubicBezTo>
                      <a:pt x="505" y="161"/>
                      <a:pt x="505" y="161"/>
                      <a:pt x="505" y="161"/>
                    </a:cubicBezTo>
                    <a:cubicBezTo>
                      <a:pt x="505" y="158"/>
                      <a:pt x="505" y="158"/>
                      <a:pt x="505" y="158"/>
                    </a:cubicBezTo>
                    <a:cubicBezTo>
                      <a:pt x="507" y="158"/>
                      <a:pt x="507" y="158"/>
                      <a:pt x="507" y="158"/>
                    </a:cubicBezTo>
                    <a:cubicBezTo>
                      <a:pt x="508" y="157"/>
                      <a:pt x="508" y="157"/>
                      <a:pt x="508" y="157"/>
                    </a:cubicBezTo>
                    <a:cubicBezTo>
                      <a:pt x="509" y="156"/>
                      <a:pt x="509" y="156"/>
                      <a:pt x="509" y="156"/>
                    </a:cubicBezTo>
                    <a:cubicBezTo>
                      <a:pt x="511" y="157"/>
                      <a:pt x="511" y="157"/>
                      <a:pt x="511" y="157"/>
                    </a:cubicBezTo>
                    <a:cubicBezTo>
                      <a:pt x="511" y="157"/>
                      <a:pt x="512" y="155"/>
                      <a:pt x="513" y="155"/>
                    </a:cubicBezTo>
                    <a:cubicBezTo>
                      <a:pt x="513" y="155"/>
                      <a:pt x="514" y="155"/>
                      <a:pt x="514" y="155"/>
                    </a:cubicBezTo>
                    <a:cubicBezTo>
                      <a:pt x="514" y="157"/>
                      <a:pt x="514" y="157"/>
                      <a:pt x="514" y="157"/>
                    </a:cubicBezTo>
                    <a:cubicBezTo>
                      <a:pt x="516" y="158"/>
                      <a:pt x="516" y="158"/>
                      <a:pt x="516" y="158"/>
                    </a:cubicBezTo>
                    <a:cubicBezTo>
                      <a:pt x="517" y="157"/>
                      <a:pt x="517" y="157"/>
                      <a:pt x="517" y="157"/>
                    </a:cubicBezTo>
                    <a:cubicBezTo>
                      <a:pt x="518" y="158"/>
                      <a:pt x="518" y="158"/>
                      <a:pt x="518" y="158"/>
                    </a:cubicBezTo>
                    <a:cubicBezTo>
                      <a:pt x="517" y="162"/>
                      <a:pt x="517" y="162"/>
                      <a:pt x="517" y="162"/>
                    </a:cubicBezTo>
                    <a:cubicBezTo>
                      <a:pt x="516" y="164"/>
                      <a:pt x="516" y="164"/>
                      <a:pt x="516" y="164"/>
                    </a:cubicBezTo>
                    <a:cubicBezTo>
                      <a:pt x="516" y="165"/>
                      <a:pt x="516" y="165"/>
                      <a:pt x="516" y="165"/>
                    </a:cubicBezTo>
                    <a:cubicBezTo>
                      <a:pt x="517" y="165"/>
                      <a:pt x="517" y="165"/>
                      <a:pt x="517" y="165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9" y="164"/>
                      <a:pt x="519" y="164"/>
                      <a:pt x="519" y="164"/>
                    </a:cubicBezTo>
                    <a:cubicBezTo>
                      <a:pt x="520" y="163"/>
                      <a:pt x="520" y="163"/>
                      <a:pt x="520" y="163"/>
                    </a:cubicBezTo>
                    <a:cubicBezTo>
                      <a:pt x="520" y="160"/>
                      <a:pt x="520" y="160"/>
                      <a:pt x="520" y="160"/>
                    </a:cubicBezTo>
                    <a:cubicBezTo>
                      <a:pt x="521" y="159"/>
                      <a:pt x="521" y="159"/>
                      <a:pt x="521" y="159"/>
                    </a:cubicBezTo>
                    <a:cubicBezTo>
                      <a:pt x="523" y="160"/>
                      <a:pt x="523" y="160"/>
                      <a:pt x="523" y="160"/>
                    </a:cubicBezTo>
                    <a:cubicBezTo>
                      <a:pt x="524" y="160"/>
                      <a:pt x="524" y="160"/>
                      <a:pt x="524" y="160"/>
                    </a:cubicBezTo>
                    <a:cubicBezTo>
                      <a:pt x="524" y="158"/>
                      <a:pt x="524" y="158"/>
                      <a:pt x="524" y="158"/>
                    </a:cubicBezTo>
                    <a:cubicBezTo>
                      <a:pt x="524" y="157"/>
                      <a:pt x="524" y="157"/>
                      <a:pt x="524" y="157"/>
                    </a:cubicBezTo>
                    <a:cubicBezTo>
                      <a:pt x="525" y="157"/>
                      <a:pt x="525" y="157"/>
                      <a:pt x="525" y="157"/>
                    </a:cubicBezTo>
                    <a:cubicBezTo>
                      <a:pt x="526" y="159"/>
                      <a:pt x="526" y="159"/>
                      <a:pt x="526" y="159"/>
                    </a:cubicBezTo>
                    <a:cubicBezTo>
                      <a:pt x="526" y="160"/>
                      <a:pt x="526" y="160"/>
                      <a:pt x="526" y="160"/>
                    </a:cubicBezTo>
                    <a:cubicBezTo>
                      <a:pt x="526" y="161"/>
                      <a:pt x="526" y="161"/>
                      <a:pt x="526" y="161"/>
                    </a:cubicBezTo>
                    <a:cubicBezTo>
                      <a:pt x="525" y="162"/>
                      <a:pt x="525" y="162"/>
                      <a:pt x="525" y="162"/>
                    </a:cubicBezTo>
                    <a:cubicBezTo>
                      <a:pt x="524" y="162"/>
                      <a:pt x="524" y="162"/>
                      <a:pt x="524" y="162"/>
                    </a:cubicBezTo>
                    <a:cubicBezTo>
                      <a:pt x="525" y="164"/>
                      <a:pt x="525" y="164"/>
                      <a:pt x="525" y="164"/>
                    </a:cubicBezTo>
                    <a:cubicBezTo>
                      <a:pt x="527" y="164"/>
                      <a:pt x="527" y="164"/>
                      <a:pt x="527" y="164"/>
                    </a:cubicBezTo>
                    <a:cubicBezTo>
                      <a:pt x="528" y="166"/>
                      <a:pt x="528" y="166"/>
                      <a:pt x="528" y="166"/>
                    </a:cubicBezTo>
                    <a:cubicBezTo>
                      <a:pt x="527" y="168"/>
                      <a:pt x="527" y="168"/>
                      <a:pt x="527" y="168"/>
                    </a:cubicBezTo>
                    <a:cubicBezTo>
                      <a:pt x="526" y="169"/>
                      <a:pt x="526" y="169"/>
                      <a:pt x="526" y="169"/>
                    </a:cubicBezTo>
                    <a:cubicBezTo>
                      <a:pt x="524" y="172"/>
                      <a:pt x="524" y="172"/>
                      <a:pt x="524" y="172"/>
                    </a:cubicBezTo>
                    <a:cubicBezTo>
                      <a:pt x="524" y="174"/>
                      <a:pt x="524" y="174"/>
                      <a:pt x="524" y="174"/>
                    </a:cubicBezTo>
                    <a:cubicBezTo>
                      <a:pt x="524" y="176"/>
                      <a:pt x="524" y="176"/>
                      <a:pt x="524" y="176"/>
                    </a:cubicBezTo>
                    <a:cubicBezTo>
                      <a:pt x="522" y="177"/>
                      <a:pt x="522" y="177"/>
                      <a:pt x="522" y="177"/>
                    </a:cubicBezTo>
                    <a:cubicBezTo>
                      <a:pt x="520" y="179"/>
                      <a:pt x="520" y="179"/>
                      <a:pt x="520" y="179"/>
                    </a:cubicBezTo>
                    <a:cubicBezTo>
                      <a:pt x="519" y="180"/>
                      <a:pt x="519" y="180"/>
                      <a:pt x="519" y="180"/>
                    </a:cubicBezTo>
                    <a:cubicBezTo>
                      <a:pt x="517" y="182"/>
                      <a:pt x="517" y="182"/>
                      <a:pt x="517" y="182"/>
                    </a:cubicBezTo>
                    <a:cubicBezTo>
                      <a:pt x="517" y="183"/>
                      <a:pt x="517" y="183"/>
                      <a:pt x="517" y="183"/>
                    </a:cubicBezTo>
                    <a:cubicBezTo>
                      <a:pt x="517" y="185"/>
                      <a:pt x="517" y="185"/>
                      <a:pt x="517" y="185"/>
                    </a:cubicBezTo>
                    <a:cubicBezTo>
                      <a:pt x="515" y="185"/>
                      <a:pt x="515" y="185"/>
                      <a:pt x="515" y="185"/>
                    </a:cubicBezTo>
                    <a:cubicBezTo>
                      <a:pt x="514" y="185"/>
                      <a:pt x="514" y="185"/>
                      <a:pt x="514" y="185"/>
                    </a:cubicBezTo>
                    <a:cubicBezTo>
                      <a:pt x="513" y="185"/>
                      <a:pt x="513" y="185"/>
                      <a:pt x="513" y="185"/>
                    </a:cubicBezTo>
                    <a:cubicBezTo>
                      <a:pt x="514" y="186"/>
                      <a:pt x="514" y="186"/>
                      <a:pt x="514" y="186"/>
                    </a:cubicBezTo>
                    <a:cubicBezTo>
                      <a:pt x="516" y="188"/>
                      <a:pt x="516" y="188"/>
                      <a:pt x="516" y="188"/>
                    </a:cubicBezTo>
                    <a:cubicBezTo>
                      <a:pt x="516" y="189"/>
                      <a:pt x="516" y="189"/>
                      <a:pt x="516" y="189"/>
                    </a:cubicBezTo>
                    <a:cubicBezTo>
                      <a:pt x="513" y="192"/>
                      <a:pt x="513" y="192"/>
                      <a:pt x="513" y="192"/>
                    </a:cubicBezTo>
                    <a:cubicBezTo>
                      <a:pt x="513" y="193"/>
                      <a:pt x="513" y="193"/>
                      <a:pt x="513" y="193"/>
                    </a:cubicBezTo>
                    <a:cubicBezTo>
                      <a:pt x="513" y="192"/>
                      <a:pt x="513" y="192"/>
                      <a:pt x="513" y="192"/>
                    </a:cubicBezTo>
                    <a:cubicBezTo>
                      <a:pt x="513" y="190"/>
                      <a:pt x="513" y="190"/>
                      <a:pt x="513" y="190"/>
                    </a:cubicBezTo>
                    <a:cubicBezTo>
                      <a:pt x="511" y="190"/>
                      <a:pt x="511" y="190"/>
                      <a:pt x="511" y="190"/>
                    </a:cubicBezTo>
                    <a:cubicBezTo>
                      <a:pt x="510" y="191"/>
                      <a:pt x="510" y="191"/>
                      <a:pt x="510" y="191"/>
                    </a:cubicBezTo>
                    <a:cubicBezTo>
                      <a:pt x="510" y="192"/>
                      <a:pt x="510" y="192"/>
                      <a:pt x="510" y="192"/>
                    </a:cubicBezTo>
                    <a:cubicBezTo>
                      <a:pt x="509" y="193"/>
                      <a:pt x="509" y="193"/>
                      <a:pt x="509" y="193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06" y="194"/>
                      <a:pt x="506" y="194"/>
                      <a:pt x="506" y="194"/>
                    </a:cubicBezTo>
                    <a:cubicBezTo>
                      <a:pt x="506" y="196"/>
                      <a:pt x="506" y="196"/>
                      <a:pt x="506" y="196"/>
                    </a:cubicBezTo>
                    <a:cubicBezTo>
                      <a:pt x="507" y="196"/>
                      <a:pt x="507" y="196"/>
                      <a:pt x="507" y="196"/>
                    </a:cubicBezTo>
                    <a:cubicBezTo>
                      <a:pt x="508" y="196"/>
                      <a:pt x="508" y="196"/>
                      <a:pt x="508" y="196"/>
                    </a:cubicBezTo>
                    <a:cubicBezTo>
                      <a:pt x="508" y="197"/>
                      <a:pt x="508" y="197"/>
                      <a:pt x="508" y="197"/>
                    </a:cubicBezTo>
                    <a:cubicBezTo>
                      <a:pt x="507" y="198"/>
                      <a:pt x="507" y="198"/>
                      <a:pt x="507" y="198"/>
                    </a:cubicBezTo>
                    <a:cubicBezTo>
                      <a:pt x="507" y="199"/>
                      <a:pt x="507" y="199"/>
                      <a:pt x="507" y="199"/>
                    </a:cubicBezTo>
                    <a:cubicBezTo>
                      <a:pt x="507" y="201"/>
                      <a:pt x="507" y="201"/>
                      <a:pt x="507" y="201"/>
                    </a:cubicBezTo>
                    <a:cubicBezTo>
                      <a:pt x="507" y="202"/>
                      <a:pt x="507" y="202"/>
                      <a:pt x="507" y="202"/>
                    </a:cubicBezTo>
                    <a:cubicBezTo>
                      <a:pt x="505" y="200"/>
                      <a:pt x="505" y="200"/>
                      <a:pt x="505" y="200"/>
                    </a:cubicBezTo>
                    <a:cubicBezTo>
                      <a:pt x="505" y="198"/>
                      <a:pt x="505" y="198"/>
                      <a:pt x="505" y="198"/>
                    </a:cubicBezTo>
                    <a:cubicBezTo>
                      <a:pt x="505" y="197"/>
                      <a:pt x="505" y="197"/>
                      <a:pt x="505" y="197"/>
                    </a:cubicBezTo>
                    <a:cubicBezTo>
                      <a:pt x="504" y="198"/>
                      <a:pt x="504" y="198"/>
                      <a:pt x="504" y="198"/>
                    </a:cubicBezTo>
                    <a:cubicBezTo>
                      <a:pt x="504" y="199"/>
                      <a:pt x="504" y="199"/>
                      <a:pt x="504" y="199"/>
                    </a:cubicBezTo>
                    <a:cubicBezTo>
                      <a:pt x="504" y="201"/>
                      <a:pt x="504" y="201"/>
                      <a:pt x="504" y="201"/>
                    </a:cubicBezTo>
                    <a:cubicBezTo>
                      <a:pt x="503" y="203"/>
                      <a:pt x="503" y="203"/>
                      <a:pt x="503" y="203"/>
                    </a:cubicBezTo>
                    <a:cubicBezTo>
                      <a:pt x="498" y="202"/>
                      <a:pt x="498" y="202"/>
                      <a:pt x="498" y="202"/>
                    </a:cubicBezTo>
                    <a:cubicBezTo>
                      <a:pt x="498" y="201"/>
                      <a:pt x="498" y="201"/>
                      <a:pt x="498" y="201"/>
                    </a:cubicBezTo>
                    <a:cubicBezTo>
                      <a:pt x="497" y="200"/>
                      <a:pt x="497" y="200"/>
                      <a:pt x="497" y="200"/>
                    </a:cubicBezTo>
                    <a:cubicBezTo>
                      <a:pt x="496" y="201"/>
                      <a:pt x="496" y="201"/>
                      <a:pt x="496" y="201"/>
                    </a:cubicBezTo>
                    <a:cubicBezTo>
                      <a:pt x="494" y="201"/>
                      <a:pt x="494" y="201"/>
                      <a:pt x="494" y="201"/>
                    </a:cubicBezTo>
                    <a:cubicBezTo>
                      <a:pt x="494" y="200"/>
                      <a:pt x="494" y="200"/>
                      <a:pt x="494" y="200"/>
                    </a:cubicBezTo>
                    <a:cubicBezTo>
                      <a:pt x="495" y="198"/>
                      <a:pt x="495" y="198"/>
                      <a:pt x="495" y="198"/>
                    </a:cubicBezTo>
                    <a:cubicBezTo>
                      <a:pt x="493" y="199"/>
                      <a:pt x="493" y="199"/>
                      <a:pt x="493" y="199"/>
                    </a:cubicBezTo>
                    <a:cubicBezTo>
                      <a:pt x="492" y="201"/>
                      <a:pt x="492" y="201"/>
                      <a:pt x="492" y="201"/>
                    </a:cubicBezTo>
                    <a:cubicBezTo>
                      <a:pt x="492" y="201"/>
                      <a:pt x="492" y="201"/>
                      <a:pt x="492" y="201"/>
                    </a:cubicBezTo>
                    <a:close/>
                    <a:moveTo>
                      <a:pt x="366" y="147"/>
                    </a:moveTo>
                    <a:cubicBezTo>
                      <a:pt x="365" y="146"/>
                      <a:pt x="365" y="146"/>
                      <a:pt x="365" y="146"/>
                    </a:cubicBezTo>
                    <a:cubicBezTo>
                      <a:pt x="366" y="144"/>
                      <a:pt x="366" y="144"/>
                      <a:pt x="366" y="144"/>
                    </a:cubicBezTo>
                    <a:cubicBezTo>
                      <a:pt x="370" y="140"/>
                      <a:pt x="370" y="140"/>
                      <a:pt x="370" y="140"/>
                    </a:cubicBezTo>
                    <a:cubicBezTo>
                      <a:pt x="372" y="140"/>
                      <a:pt x="372" y="140"/>
                      <a:pt x="372" y="140"/>
                    </a:cubicBezTo>
                    <a:cubicBezTo>
                      <a:pt x="374" y="138"/>
                      <a:pt x="374" y="138"/>
                      <a:pt x="374" y="138"/>
                    </a:cubicBezTo>
                    <a:cubicBezTo>
                      <a:pt x="375" y="138"/>
                      <a:pt x="375" y="138"/>
                      <a:pt x="375" y="138"/>
                    </a:cubicBezTo>
                    <a:cubicBezTo>
                      <a:pt x="378" y="136"/>
                      <a:pt x="378" y="136"/>
                      <a:pt x="378" y="136"/>
                    </a:cubicBezTo>
                    <a:cubicBezTo>
                      <a:pt x="381" y="136"/>
                      <a:pt x="381" y="136"/>
                      <a:pt x="381" y="136"/>
                    </a:cubicBezTo>
                    <a:cubicBezTo>
                      <a:pt x="382" y="135"/>
                      <a:pt x="382" y="135"/>
                      <a:pt x="382" y="135"/>
                    </a:cubicBezTo>
                    <a:cubicBezTo>
                      <a:pt x="383" y="135"/>
                      <a:pt x="383" y="135"/>
                      <a:pt x="383" y="135"/>
                    </a:cubicBezTo>
                    <a:cubicBezTo>
                      <a:pt x="386" y="134"/>
                      <a:pt x="386" y="134"/>
                      <a:pt x="386" y="134"/>
                    </a:cubicBezTo>
                    <a:cubicBezTo>
                      <a:pt x="387" y="134"/>
                      <a:pt x="387" y="134"/>
                      <a:pt x="387" y="134"/>
                    </a:cubicBezTo>
                    <a:cubicBezTo>
                      <a:pt x="387" y="136"/>
                      <a:pt x="387" y="136"/>
                      <a:pt x="387" y="136"/>
                    </a:cubicBezTo>
                    <a:cubicBezTo>
                      <a:pt x="384" y="138"/>
                      <a:pt x="384" y="138"/>
                      <a:pt x="384" y="138"/>
                    </a:cubicBezTo>
                    <a:cubicBezTo>
                      <a:pt x="381" y="140"/>
                      <a:pt x="381" y="140"/>
                      <a:pt x="381" y="140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3" y="147"/>
                      <a:pt x="373" y="147"/>
                      <a:pt x="373" y="147"/>
                    </a:cubicBezTo>
                    <a:cubicBezTo>
                      <a:pt x="372" y="147"/>
                      <a:pt x="372" y="147"/>
                      <a:pt x="372" y="147"/>
                    </a:cubicBezTo>
                    <a:cubicBezTo>
                      <a:pt x="371" y="147"/>
                      <a:pt x="371" y="147"/>
                      <a:pt x="371" y="147"/>
                    </a:cubicBezTo>
                    <a:cubicBezTo>
                      <a:pt x="370" y="149"/>
                      <a:pt x="370" y="149"/>
                      <a:pt x="370" y="149"/>
                    </a:cubicBezTo>
                    <a:cubicBezTo>
                      <a:pt x="369" y="149"/>
                      <a:pt x="369" y="149"/>
                      <a:pt x="369" y="149"/>
                    </a:cubicBezTo>
                    <a:cubicBezTo>
                      <a:pt x="368" y="147"/>
                      <a:pt x="368" y="147"/>
                      <a:pt x="368" y="147"/>
                    </a:cubicBezTo>
                    <a:cubicBezTo>
                      <a:pt x="367" y="146"/>
                      <a:pt x="367" y="146"/>
                      <a:pt x="367" y="146"/>
                    </a:cubicBezTo>
                    <a:cubicBezTo>
                      <a:pt x="366" y="147"/>
                      <a:pt x="366" y="147"/>
                      <a:pt x="366" y="147"/>
                    </a:cubicBezTo>
                    <a:close/>
                    <a:moveTo>
                      <a:pt x="459" y="187"/>
                    </a:moveTo>
                    <a:cubicBezTo>
                      <a:pt x="459" y="186"/>
                      <a:pt x="459" y="186"/>
                      <a:pt x="459" y="186"/>
                    </a:cubicBezTo>
                    <a:cubicBezTo>
                      <a:pt x="459" y="186"/>
                      <a:pt x="459" y="186"/>
                      <a:pt x="459" y="186"/>
                    </a:cubicBezTo>
                    <a:cubicBezTo>
                      <a:pt x="461" y="185"/>
                      <a:pt x="461" y="185"/>
                      <a:pt x="461" y="185"/>
                    </a:cubicBezTo>
                    <a:cubicBezTo>
                      <a:pt x="462" y="183"/>
                      <a:pt x="462" y="183"/>
                      <a:pt x="462" y="183"/>
                    </a:cubicBezTo>
                    <a:cubicBezTo>
                      <a:pt x="462" y="182"/>
                      <a:pt x="462" y="182"/>
                      <a:pt x="462" y="182"/>
                    </a:cubicBezTo>
                    <a:cubicBezTo>
                      <a:pt x="465" y="181"/>
                      <a:pt x="465" y="181"/>
                      <a:pt x="465" y="181"/>
                    </a:cubicBezTo>
                    <a:cubicBezTo>
                      <a:pt x="465" y="180"/>
                      <a:pt x="465" y="180"/>
                      <a:pt x="465" y="180"/>
                    </a:cubicBezTo>
                    <a:cubicBezTo>
                      <a:pt x="467" y="180"/>
                      <a:pt x="467" y="180"/>
                      <a:pt x="467" y="180"/>
                    </a:cubicBezTo>
                    <a:cubicBezTo>
                      <a:pt x="467" y="182"/>
                      <a:pt x="467" y="182"/>
                      <a:pt x="467" y="182"/>
                    </a:cubicBezTo>
                    <a:cubicBezTo>
                      <a:pt x="467" y="183"/>
                      <a:pt x="467" y="183"/>
                      <a:pt x="467" y="183"/>
                    </a:cubicBezTo>
                    <a:cubicBezTo>
                      <a:pt x="467" y="186"/>
                      <a:pt x="467" y="186"/>
                      <a:pt x="467" y="186"/>
                    </a:cubicBezTo>
                    <a:cubicBezTo>
                      <a:pt x="467" y="187"/>
                      <a:pt x="467" y="187"/>
                      <a:pt x="467" y="187"/>
                    </a:cubicBezTo>
                    <a:cubicBezTo>
                      <a:pt x="465" y="189"/>
                      <a:pt x="465" y="189"/>
                      <a:pt x="465" y="189"/>
                    </a:cubicBezTo>
                    <a:cubicBezTo>
                      <a:pt x="463" y="189"/>
                      <a:pt x="463" y="189"/>
                      <a:pt x="463" y="189"/>
                    </a:cubicBezTo>
                    <a:cubicBezTo>
                      <a:pt x="462" y="189"/>
                      <a:pt x="462" y="189"/>
                      <a:pt x="462" y="189"/>
                    </a:cubicBezTo>
                    <a:cubicBezTo>
                      <a:pt x="461" y="189"/>
                      <a:pt x="461" y="189"/>
                      <a:pt x="461" y="189"/>
                    </a:cubicBezTo>
                    <a:cubicBezTo>
                      <a:pt x="460" y="188"/>
                      <a:pt x="460" y="188"/>
                      <a:pt x="460" y="188"/>
                    </a:cubicBezTo>
                    <a:cubicBezTo>
                      <a:pt x="459" y="187"/>
                      <a:pt x="459" y="187"/>
                      <a:pt x="459" y="187"/>
                    </a:cubicBezTo>
                    <a:close/>
                    <a:moveTo>
                      <a:pt x="384" y="184"/>
                    </a:moveTo>
                    <a:cubicBezTo>
                      <a:pt x="385" y="182"/>
                      <a:pt x="385" y="182"/>
                      <a:pt x="385" y="182"/>
                    </a:cubicBezTo>
                    <a:cubicBezTo>
                      <a:pt x="385" y="181"/>
                      <a:pt x="385" y="181"/>
                      <a:pt x="385" y="181"/>
                    </a:cubicBezTo>
                    <a:cubicBezTo>
                      <a:pt x="385" y="177"/>
                      <a:pt x="385" y="177"/>
                      <a:pt x="385" y="177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91" y="178"/>
                      <a:pt x="391" y="178"/>
                      <a:pt x="391" y="178"/>
                    </a:cubicBezTo>
                    <a:cubicBezTo>
                      <a:pt x="392" y="177"/>
                      <a:pt x="392" y="177"/>
                      <a:pt x="392" y="177"/>
                    </a:cubicBezTo>
                    <a:cubicBezTo>
                      <a:pt x="394" y="177"/>
                      <a:pt x="394" y="177"/>
                      <a:pt x="394" y="177"/>
                    </a:cubicBezTo>
                    <a:cubicBezTo>
                      <a:pt x="396" y="177"/>
                      <a:pt x="396" y="177"/>
                      <a:pt x="396" y="177"/>
                    </a:cubicBezTo>
                    <a:cubicBezTo>
                      <a:pt x="399" y="176"/>
                      <a:pt x="399" y="176"/>
                      <a:pt x="399" y="176"/>
                    </a:cubicBezTo>
                    <a:cubicBezTo>
                      <a:pt x="402" y="176"/>
                      <a:pt x="402" y="176"/>
                      <a:pt x="402" y="176"/>
                    </a:cubicBezTo>
                    <a:cubicBezTo>
                      <a:pt x="405" y="177"/>
                      <a:pt x="405" y="177"/>
                      <a:pt x="405" y="177"/>
                    </a:cubicBezTo>
                    <a:cubicBezTo>
                      <a:pt x="407" y="177"/>
                      <a:pt x="407" y="177"/>
                      <a:pt x="407" y="177"/>
                    </a:cubicBezTo>
                    <a:cubicBezTo>
                      <a:pt x="408" y="177"/>
                      <a:pt x="408" y="177"/>
                      <a:pt x="408" y="177"/>
                    </a:cubicBezTo>
                    <a:cubicBezTo>
                      <a:pt x="410" y="176"/>
                      <a:pt x="410" y="176"/>
                      <a:pt x="410" y="176"/>
                    </a:cubicBezTo>
                    <a:cubicBezTo>
                      <a:pt x="415" y="176"/>
                      <a:pt x="415" y="176"/>
                      <a:pt x="415" y="176"/>
                    </a:cubicBezTo>
                    <a:cubicBezTo>
                      <a:pt x="415" y="174"/>
                      <a:pt x="415" y="174"/>
                      <a:pt x="415" y="174"/>
                    </a:cubicBezTo>
                    <a:cubicBezTo>
                      <a:pt x="416" y="173"/>
                      <a:pt x="416" y="173"/>
                      <a:pt x="416" y="173"/>
                    </a:cubicBezTo>
                    <a:cubicBezTo>
                      <a:pt x="416" y="172"/>
                      <a:pt x="416" y="172"/>
                      <a:pt x="416" y="172"/>
                    </a:cubicBezTo>
                    <a:cubicBezTo>
                      <a:pt x="414" y="174"/>
                      <a:pt x="414" y="174"/>
                      <a:pt x="414" y="174"/>
                    </a:cubicBezTo>
                    <a:cubicBezTo>
                      <a:pt x="412" y="174"/>
                      <a:pt x="412" y="174"/>
                      <a:pt x="412" y="174"/>
                    </a:cubicBezTo>
                    <a:cubicBezTo>
                      <a:pt x="411" y="173"/>
                      <a:pt x="411" y="173"/>
                      <a:pt x="411" y="173"/>
                    </a:cubicBezTo>
                    <a:cubicBezTo>
                      <a:pt x="409" y="174"/>
                      <a:pt x="409" y="174"/>
                      <a:pt x="409" y="174"/>
                    </a:cubicBezTo>
                    <a:cubicBezTo>
                      <a:pt x="406" y="174"/>
                      <a:pt x="406" y="174"/>
                      <a:pt x="406" y="174"/>
                    </a:cubicBezTo>
                    <a:cubicBezTo>
                      <a:pt x="406" y="172"/>
                      <a:pt x="406" y="172"/>
                      <a:pt x="406" y="172"/>
                    </a:cubicBezTo>
                    <a:cubicBezTo>
                      <a:pt x="405" y="171"/>
                      <a:pt x="405" y="171"/>
                      <a:pt x="405" y="171"/>
                    </a:cubicBezTo>
                    <a:cubicBezTo>
                      <a:pt x="404" y="173"/>
                      <a:pt x="404" y="173"/>
                      <a:pt x="404" y="173"/>
                    </a:cubicBezTo>
                    <a:cubicBezTo>
                      <a:pt x="402" y="173"/>
                      <a:pt x="402" y="173"/>
                      <a:pt x="402" y="173"/>
                    </a:cubicBezTo>
                    <a:cubicBezTo>
                      <a:pt x="400" y="173"/>
                      <a:pt x="400" y="173"/>
                      <a:pt x="400" y="173"/>
                    </a:cubicBezTo>
                    <a:cubicBezTo>
                      <a:pt x="399" y="173"/>
                      <a:pt x="399" y="173"/>
                      <a:pt x="399" y="173"/>
                    </a:cubicBezTo>
                    <a:cubicBezTo>
                      <a:pt x="397" y="173"/>
                      <a:pt x="397" y="173"/>
                      <a:pt x="397" y="173"/>
                    </a:cubicBezTo>
                    <a:cubicBezTo>
                      <a:pt x="395" y="172"/>
                      <a:pt x="395" y="172"/>
                      <a:pt x="395" y="172"/>
                    </a:cubicBezTo>
                    <a:cubicBezTo>
                      <a:pt x="395" y="171"/>
                      <a:pt x="395" y="171"/>
                      <a:pt x="395" y="171"/>
                    </a:cubicBezTo>
                    <a:cubicBezTo>
                      <a:pt x="397" y="169"/>
                      <a:pt x="397" y="169"/>
                      <a:pt x="397" y="169"/>
                    </a:cubicBezTo>
                    <a:cubicBezTo>
                      <a:pt x="399" y="167"/>
                      <a:pt x="399" y="167"/>
                      <a:pt x="399" y="167"/>
                    </a:cubicBezTo>
                    <a:cubicBezTo>
                      <a:pt x="398" y="167"/>
                      <a:pt x="398" y="167"/>
                      <a:pt x="398" y="167"/>
                    </a:cubicBezTo>
                    <a:cubicBezTo>
                      <a:pt x="396" y="168"/>
                      <a:pt x="396" y="168"/>
                      <a:pt x="396" y="168"/>
                    </a:cubicBezTo>
                    <a:cubicBezTo>
                      <a:pt x="395" y="169"/>
                      <a:pt x="395" y="169"/>
                      <a:pt x="395" y="169"/>
                    </a:cubicBezTo>
                    <a:cubicBezTo>
                      <a:pt x="394" y="167"/>
                      <a:pt x="394" y="167"/>
                      <a:pt x="394" y="167"/>
                    </a:cubicBezTo>
                    <a:cubicBezTo>
                      <a:pt x="393" y="168"/>
                      <a:pt x="393" y="168"/>
                      <a:pt x="393" y="168"/>
                    </a:cubicBezTo>
                    <a:cubicBezTo>
                      <a:pt x="393" y="170"/>
                      <a:pt x="393" y="170"/>
                      <a:pt x="393" y="170"/>
                    </a:cubicBezTo>
                    <a:cubicBezTo>
                      <a:pt x="389" y="171"/>
                      <a:pt x="389" y="171"/>
                      <a:pt x="389" y="171"/>
                    </a:cubicBezTo>
                    <a:cubicBezTo>
                      <a:pt x="389" y="173"/>
                      <a:pt x="389" y="173"/>
                      <a:pt x="389" y="173"/>
                    </a:cubicBezTo>
                    <a:cubicBezTo>
                      <a:pt x="387" y="173"/>
                      <a:pt x="387" y="173"/>
                      <a:pt x="387" y="173"/>
                    </a:cubicBezTo>
                    <a:cubicBezTo>
                      <a:pt x="385" y="172"/>
                      <a:pt x="385" y="172"/>
                      <a:pt x="385" y="172"/>
                    </a:cubicBezTo>
                    <a:cubicBezTo>
                      <a:pt x="385" y="170"/>
                      <a:pt x="385" y="170"/>
                      <a:pt x="385" y="170"/>
                    </a:cubicBezTo>
                    <a:cubicBezTo>
                      <a:pt x="386" y="169"/>
                      <a:pt x="386" y="169"/>
                      <a:pt x="386" y="169"/>
                    </a:cubicBezTo>
                    <a:cubicBezTo>
                      <a:pt x="384" y="169"/>
                      <a:pt x="384" y="169"/>
                      <a:pt x="384" y="169"/>
                    </a:cubicBezTo>
                    <a:cubicBezTo>
                      <a:pt x="384" y="168"/>
                      <a:pt x="384" y="168"/>
                      <a:pt x="384" y="168"/>
                    </a:cubicBezTo>
                    <a:cubicBezTo>
                      <a:pt x="383" y="171"/>
                      <a:pt x="383" y="171"/>
                      <a:pt x="383" y="171"/>
                    </a:cubicBezTo>
                    <a:cubicBezTo>
                      <a:pt x="382" y="172"/>
                      <a:pt x="382" y="172"/>
                      <a:pt x="382" y="172"/>
                    </a:cubicBezTo>
                    <a:cubicBezTo>
                      <a:pt x="380" y="171"/>
                      <a:pt x="380" y="171"/>
                      <a:pt x="380" y="171"/>
                    </a:cubicBezTo>
                    <a:cubicBezTo>
                      <a:pt x="380" y="168"/>
                      <a:pt x="380" y="168"/>
                      <a:pt x="380" y="168"/>
                    </a:cubicBezTo>
                    <a:cubicBezTo>
                      <a:pt x="378" y="167"/>
                      <a:pt x="378" y="167"/>
                      <a:pt x="378" y="167"/>
                    </a:cubicBezTo>
                    <a:cubicBezTo>
                      <a:pt x="379" y="165"/>
                      <a:pt x="379" y="165"/>
                      <a:pt x="379" y="165"/>
                    </a:cubicBezTo>
                    <a:cubicBezTo>
                      <a:pt x="378" y="165"/>
                      <a:pt x="378" y="165"/>
                      <a:pt x="378" y="165"/>
                    </a:cubicBezTo>
                    <a:cubicBezTo>
                      <a:pt x="377" y="167"/>
                      <a:pt x="377" y="167"/>
                      <a:pt x="377" y="167"/>
                    </a:cubicBezTo>
                    <a:cubicBezTo>
                      <a:pt x="376" y="167"/>
                      <a:pt x="376" y="167"/>
                      <a:pt x="376" y="167"/>
                    </a:cubicBezTo>
                    <a:cubicBezTo>
                      <a:pt x="374" y="164"/>
                      <a:pt x="374" y="164"/>
                      <a:pt x="374" y="164"/>
                    </a:cubicBezTo>
                    <a:cubicBezTo>
                      <a:pt x="371" y="162"/>
                      <a:pt x="371" y="162"/>
                      <a:pt x="371" y="162"/>
                    </a:cubicBezTo>
                    <a:cubicBezTo>
                      <a:pt x="371" y="161"/>
                      <a:pt x="371" y="161"/>
                      <a:pt x="371" y="161"/>
                    </a:cubicBezTo>
                    <a:cubicBezTo>
                      <a:pt x="373" y="161"/>
                      <a:pt x="373" y="161"/>
                      <a:pt x="373" y="161"/>
                    </a:cubicBezTo>
                    <a:cubicBezTo>
                      <a:pt x="373" y="159"/>
                      <a:pt x="373" y="159"/>
                      <a:pt x="373" y="159"/>
                    </a:cubicBezTo>
                    <a:cubicBezTo>
                      <a:pt x="372" y="158"/>
                      <a:pt x="372" y="158"/>
                      <a:pt x="372" y="158"/>
                    </a:cubicBezTo>
                    <a:cubicBezTo>
                      <a:pt x="376" y="155"/>
                      <a:pt x="376" y="155"/>
                      <a:pt x="376" y="155"/>
                    </a:cubicBezTo>
                    <a:cubicBezTo>
                      <a:pt x="378" y="154"/>
                      <a:pt x="378" y="154"/>
                      <a:pt x="378" y="154"/>
                    </a:cubicBezTo>
                    <a:cubicBezTo>
                      <a:pt x="379" y="155"/>
                      <a:pt x="379" y="155"/>
                      <a:pt x="379" y="155"/>
                    </a:cubicBezTo>
                    <a:cubicBezTo>
                      <a:pt x="383" y="155"/>
                      <a:pt x="383" y="155"/>
                      <a:pt x="383" y="155"/>
                    </a:cubicBezTo>
                    <a:cubicBezTo>
                      <a:pt x="385" y="156"/>
                      <a:pt x="385" y="156"/>
                      <a:pt x="385" y="156"/>
                    </a:cubicBezTo>
                    <a:cubicBezTo>
                      <a:pt x="387" y="157"/>
                      <a:pt x="387" y="157"/>
                      <a:pt x="387" y="157"/>
                    </a:cubicBezTo>
                    <a:cubicBezTo>
                      <a:pt x="389" y="156"/>
                      <a:pt x="389" y="156"/>
                      <a:pt x="389" y="156"/>
                    </a:cubicBezTo>
                    <a:cubicBezTo>
                      <a:pt x="391" y="155"/>
                      <a:pt x="391" y="155"/>
                      <a:pt x="391" y="155"/>
                    </a:cubicBezTo>
                    <a:cubicBezTo>
                      <a:pt x="393" y="154"/>
                      <a:pt x="393" y="154"/>
                      <a:pt x="393" y="154"/>
                    </a:cubicBezTo>
                    <a:cubicBezTo>
                      <a:pt x="392" y="153"/>
                      <a:pt x="392" y="153"/>
                      <a:pt x="392" y="153"/>
                    </a:cubicBezTo>
                    <a:cubicBezTo>
                      <a:pt x="391" y="152"/>
                      <a:pt x="391" y="152"/>
                      <a:pt x="391" y="152"/>
                    </a:cubicBezTo>
                    <a:cubicBezTo>
                      <a:pt x="389" y="152"/>
                      <a:pt x="389" y="152"/>
                      <a:pt x="389" y="152"/>
                    </a:cubicBezTo>
                    <a:cubicBezTo>
                      <a:pt x="387" y="153"/>
                      <a:pt x="387" y="153"/>
                      <a:pt x="387" y="153"/>
                    </a:cubicBezTo>
                    <a:cubicBezTo>
                      <a:pt x="384" y="151"/>
                      <a:pt x="384" y="151"/>
                      <a:pt x="384" y="151"/>
                    </a:cubicBezTo>
                    <a:cubicBezTo>
                      <a:pt x="382" y="151"/>
                      <a:pt x="382" y="151"/>
                      <a:pt x="382" y="151"/>
                    </a:cubicBezTo>
                    <a:cubicBezTo>
                      <a:pt x="381" y="151"/>
                      <a:pt x="381" y="151"/>
                      <a:pt x="381" y="151"/>
                    </a:cubicBezTo>
                    <a:cubicBezTo>
                      <a:pt x="384" y="148"/>
                      <a:pt x="384" y="148"/>
                      <a:pt x="384" y="148"/>
                    </a:cubicBezTo>
                    <a:cubicBezTo>
                      <a:pt x="386" y="145"/>
                      <a:pt x="386" y="145"/>
                      <a:pt x="386" y="145"/>
                    </a:cubicBezTo>
                    <a:cubicBezTo>
                      <a:pt x="388" y="145"/>
                      <a:pt x="388" y="145"/>
                      <a:pt x="388" y="145"/>
                    </a:cubicBezTo>
                    <a:cubicBezTo>
                      <a:pt x="389" y="145"/>
                      <a:pt x="389" y="145"/>
                      <a:pt x="389" y="145"/>
                    </a:cubicBezTo>
                    <a:cubicBezTo>
                      <a:pt x="393" y="145"/>
                      <a:pt x="393" y="145"/>
                      <a:pt x="393" y="145"/>
                    </a:cubicBezTo>
                    <a:cubicBezTo>
                      <a:pt x="397" y="145"/>
                      <a:pt x="397" y="145"/>
                      <a:pt x="397" y="145"/>
                    </a:cubicBezTo>
                    <a:cubicBezTo>
                      <a:pt x="400" y="146"/>
                      <a:pt x="400" y="146"/>
                      <a:pt x="400" y="146"/>
                    </a:cubicBezTo>
                    <a:cubicBezTo>
                      <a:pt x="401" y="145"/>
                      <a:pt x="401" y="145"/>
                      <a:pt x="401" y="145"/>
                    </a:cubicBezTo>
                    <a:cubicBezTo>
                      <a:pt x="400" y="144"/>
                      <a:pt x="400" y="144"/>
                      <a:pt x="400" y="144"/>
                    </a:cubicBezTo>
                    <a:cubicBezTo>
                      <a:pt x="399" y="144"/>
                      <a:pt x="399" y="144"/>
                      <a:pt x="399" y="144"/>
                    </a:cubicBezTo>
                    <a:cubicBezTo>
                      <a:pt x="397" y="143"/>
                      <a:pt x="397" y="143"/>
                      <a:pt x="397" y="143"/>
                    </a:cubicBezTo>
                    <a:cubicBezTo>
                      <a:pt x="395" y="143"/>
                      <a:pt x="395" y="143"/>
                      <a:pt x="395" y="143"/>
                    </a:cubicBezTo>
                    <a:cubicBezTo>
                      <a:pt x="391" y="142"/>
                      <a:pt x="391" y="142"/>
                      <a:pt x="391" y="142"/>
                    </a:cubicBezTo>
                    <a:cubicBezTo>
                      <a:pt x="390" y="140"/>
                      <a:pt x="390" y="140"/>
                      <a:pt x="390" y="140"/>
                    </a:cubicBezTo>
                    <a:cubicBezTo>
                      <a:pt x="392" y="139"/>
                      <a:pt x="392" y="139"/>
                      <a:pt x="392" y="139"/>
                    </a:cubicBezTo>
                    <a:cubicBezTo>
                      <a:pt x="393" y="137"/>
                      <a:pt x="393" y="137"/>
                      <a:pt x="393" y="137"/>
                    </a:cubicBezTo>
                    <a:cubicBezTo>
                      <a:pt x="394" y="136"/>
                      <a:pt x="394" y="136"/>
                      <a:pt x="394" y="136"/>
                    </a:cubicBezTo>
                    <a:cubicBezTo>
                      <a:pt x="396" y="136"/>
                      <a:pt x="396" y="136"/>
                      <a:pt x="396" y="136"/>
                    </a:cubicBezTo>
                    <a:cubicBezTo>
                      <a:pt x="398" y="135"/>
                      <a:pt x="398" y="135"/>
                      <a:pt x="398" y="135"/>
                    </a:cubicBezTo>
                    <a:cubicBezTo>
                      <a:pt x="400" y="135"/>
                      <a:pt x="400" y="135"/>
                      <a:pt x="400" y="135"/>
                    </a:cubicBezTo>
                    <a:cubicBezTo>
                      <a:pt x="400" y="136"/>
                      <a:pt x="400" y="136"/>
                      <a:pt x="400" y="136"/>
                    </a:cubicBezTo>
                    <a:cubicBezTo>
                      <a:pt x="402" y="136"/>
                      <a:pt x="402" y="136"/>
                      <a:pt x="402" y="136"/>
                    </a:cubicBezTo>
                    <a:cubicBezTo>
                      <a:pt x="404" y="138"/>
                      <a:pt x="404" y="138"/>
                      <a:pt x="404" y="138"/>
                    </a:cubicBezTo>
                    <a:cubicBezTo>
                      <a:pt x="405" y="138"/>
                      <a:pt x="405" y="138"/>
                      <a:pt x="405" y="138"/>
                    </a:cubicBezTo>
                    <a:cubicBezTo>
                      <a:pt x="404" y="136"/>
                      <a:pt x="404" y="136"/>
                      <a:pt x="404" y="136"/>
                    </a:cubicBezTo>
                    <a:cubicBezTo>
                      <a:pt x="402" y="135"/>
                      <a:pt x="402" y="135"/>
                      <a:pt x="402" y="135"/>
                    </a:cubicBezTo>
                    <a:cubicBezTo>
                      <a:pt x="402" y="133"/>
                      <a:pt x="402" y="133"/>
                      <a:pt x="402" y="133"/>
                    </a:cubicBezTo>
                    <a:cubicBezTo>
                      <a:pt x="401" y="132"/>
                      <a:pt x="401" y="132"/>
                      <a:pt x="401" y="132"/>
                    </a:cubicBezTo>
                    <a:cubicBezTo>
                      <a:pt x="402" y="131"/>
                      <a:pt x="402" y="131"/>
                      <a:pt x="402" y="131"/>
                    </a:cubicBezTo>
                    <a:cubicBezTo>
                      <a:pt x="408" y="130"/>
                      <a:pt x="408" y="130"/>
                      <a:pt x="408" y="130"/>
                    </a:cubicBezTo>
                    <a:cubicBezTo>
                      <a:pt x="409" y="130"/>
                      <a:pt x="409" y="130"/>
                      <a:pt x="409" y="130"/>
                    </a:cubicBezTo>
                    <a:cubicBezTo>
                      <a:pt x="412" y="130"/>
                      <a:pt x="412" y="130"/>
                      <a:pt x="412" y="130"/>
                    </a:cubicBezTo>
                    <a:cubicBezTo>
                      <a:pt x="414" y="132"/>
                      <a:pt x="414" y="132"/>
                      <a:pt x="414" y="132"/>
                    </a:cubicBezTo>
                    <a:cubicBezTo>
                      <a:pt x="415" y="135"/>
                      <a:pt x="415" y="135"/>
                      <a:pt x="415" y="135"/>
                    </a:cubicBezTo>
                    <a:cubicBezTo>
                      <a:pt x="414" y="136"/>
                      <a:pt x="414" y="136"/>
                      <a:pt x="414" y="136"/>
                    </a:cubicBezTo>
                    <a:cubicBezTo>
                      <a:pt x="412" y="138"/>
                      <a:pt x="412" y="138"/>
                      <a:pt x="412" y="138"/>
                    </a:cubicBezTo>
                    <a:cubicBezTo>
                      <a:pt x="413" y="140"/>
                      <a:pt x="413" y="140"/>
                      <a:pt x="413" y="140"/>
                    </a:cubicBezTo>
                    <a:cubicBezTo>
                      <a:pt x="416" y="140"/>
                      <a:pt x="416" y="140"/>
                      <a:pt x="416" y="140"/>
                    </a:cubicBezTo>
                    <a:cubicBezTo>
                      <a:pt x="417" y="139"/>
                      <a:pt x="417" y="139"/>
                      <a:pt x="417" y="139"/>
                    </a:cubicBezTo>
                    <a:cubicBezTo>
                      <a:pt x="419" y="140"/>
                      <a:pt x="419" y="140"/>
                      <a:pt x="419" y="140"/>
                    </a:cubicBezTo>
                    <a:cubicBezTo>
                      <a:pt x="420" y="140"/>
                      <a:pt x="420" y="140"/>
                      <a:pt x="420" y="140"/>
                    </a:cubicBezTo>
                    <a:cubicBezTo>
                      <a:pt x="420" y="141"/>
                      <a:pt x="420" y="141"/>
                      <a:pt x="420" y="141"/>
                    </a:cubicBezTo>
                    <a:cubicBezTo>
                      <a:pt x="421" y="142"/>
                      <a:pt x="421" y="142"/>
                      <a:pt x="421" y="142"/>
                    </a:cubicBezTo>
                    <a:cubicBezTo>
                      <a:pt x="422" y="143"/>
                      <a:pt x="422" y="143"/>
                      <a:pt x="422" y="143"/>
                    </a:cubicBezTo>
                    <a:cubicBezTo>
                      <a:pt x="422" y="145"/>
                      <a:pt x="422" y="145"/>
                      <a:pt x="422" y="145"/>
                    </a:cubicBezTo>
                    <a:cubicBezTo>
                      <a:pt x="421" y="145"/>
                      <a:pt x="421" y="145"/>
                      <a:pt x="421" y="145"/>
                    </a:cubicBezTo>
                    <a:cubicBezTo>
                      <a:pt x="420" y="147"/>
                      <a:pt x="420" y="147"/>
                      <a:pt x="420" y="147"/>
                    </a:cubicBezTo>
                    <a:cubicBezTo>
                      <a:pt x="422" y="149"/>
                      <a:pt x="422" y="149"/>
                      <a:pt x="422" y="149"/>
                    </a:cubicBezTo>
                    <a:cubicBezTo>
                      <a:pt x="422" y="153"/>
                      <a:pt x="422" y="153"/>
                      <a:pt x="422" y="153"/>
                    </a:cubicBezTo>
                    <a:cubicBezTo>
                      <a:pt x="421" y="154"/>
                      <a:pt x="421" y="154"/>
                      <a:pt x="421" y="154"/>
                    </a:cubicBezTo>
                    <a:cubicBezTo>
                      <a:pt x="419" y="154"/>
                      <a:pt x="419" y="154"/>
                      <a:pt x="419" y="154"/>
                    </a:cubicBezTo>
                    <a:cubicBezTo>
                      <a:pt x="417" y="154"/>
                      <a:pt x="417" y="154"/>
                      <a:pt x="417" y="154"/>
                    </a:cubicBezTo>
                    <a:cubicBezTo>
                      <a:pt x="418" y="156"/>
                      <a:pt x="418" y="156"/>
                      <a:pt x="418" y="156"/>
                    </a:cubicBezTo>
                    <a:cubicBezTo>
                      <a:pt x="420" y="155"/>
                      <a:pt x="420" y="155"/>
                      <a:pt x="420" y="155"/>
                    </a:cubicBezTo>
                    <a:cubicBezTo>
                      <a:pt x="422" y="156"/>
                      <a:pt x="422" y="156"/>
                      <a:pt x="422" y="156"/>
                    </a:cubicBezTo>
                    <a:cubicBezTo>
                      <a:pt x="423" y="156"/>
                      <a:pt x="423" y="156"/>
                      <a:pt x="423" y="156"/>
                    </a:cubicBezTo>
                    <a:cubicBezTo>
                      <a:pt x="422" y="160"/>
                      <a:pt x="422" y="160"/>
                      <a:pt x="422" y="160"/>
                    </a:cubicBezTo>
                    <a:cubicBezTo>
                      <a:pt x="420" y="161"/>
                      <a:pt x="420" y="161"/>
                      <a:pt x="420" y="161"/>
                    </a:cubicBezTo>
                    <a:cubicBezTo>
                      <a:pt x="420" y="165"/>
                      <a:pt x="420" y="165"/>
                      <a:pt x="420" y="165"/>
                    </a:cubicBezTo>
                    <a:cubicBezTo>
                      <a:pt x="421" y="166"/>
                      <a:pt x="421" y="166"/>
                      <a:pt x="421" y="166"/>
                    </a:cubicBezTo>
                    <a:cubicBezTo>
                      <a:pt x="423" y="165"/>
                      <a:pt x="423" y="165"/>
                      <a:pt x="423" y="165"/>
                    </a:cubicBezTo>
                    <a:cubicBezTo>
                      <a:pt x="425" y="164"/>
                      <a:pt x="425" y="164"/>
                      <a:pt x="425" y="164"/>
                    </a:cubicBezTo>
                    <a:cubicBezTo>
                      <a:pt x="425" y="165"/>
                      <a:pt x="425" y="165"/>
                      <a:pt x="425" y="165"/>
                    </a:cubicBezTo>
                    <a:cubicBezTo>
                      <a:pt x="426" y="166"/>
                      <a:pt x="426" y="166"/>
                      <a:pt x="426" y="166"/>
                    </a:cubicBezTo>
                    <a:cubicBezTo>
                      <a:pt x="428" y="166"/>
                      <a:pt x="428" y="166"/>
                      <a:pt x="428" y="166"/>
                    </a:cubicBezTo>
                    <a:cubicBezTo>
                      <a:pt x="429" y="166"/>
                      <a:pt x="429" y="166"/>
                      <a:pt x="429" y="166"/>
                    </a:cubicBezTo>
                    <a:cubicBezTo>
                      <a:pt x="433" y="167"/>
                      <a:pt x="433" y="167"/>
                      <a:pt x="433" y="167"/>
                    </a:cubicBezTo>
                    <a:cubicBezTo>
                      <a:pt x="434" y="169"/>
                      <a:pt x="434" y="169"/>
                      <a:pt x="434" y="169"/>
                    </a:cubicBezTo>
                    <a:cubicBezTo>
                      <a:pt x="435" y="169"/>
                      <a:pt x="435" y="169"/>
                      <a:pt x="435" y="169"/>
                    </a:cubicBezTo>
                    <a:cubicBezTo>
                      <a:pt x="435" y="167"/>
                      <a:pt x="435" y="167"/>
                      <a:pt x="435" y="167"/>
                    </a:cubicBezTo>
                    <a:cubicBezTo>
                      <a:pt x="434" y="167"/>
                      <a:pt x="434" y="167"/>
                      <a:pt x="434" y="167"/>
                    </a:cubicBezTo>
                    <a:cubicBezTo>
                      <a:pt x="437" y="165"/>
                      <a:pt x="437" y="165"/>
                      <a:pt x="437" y="165"/>
                    </a:cubicBezTo>
                    <a:cubicBezTo>
                      <a:pt x="436" y="162"/>
                      <a:pt x="436" y="162"/>
                      <a:pt x="436" y="162"/>
                    </a:cubicBezTo>
                    <a:cubicBezTo>
                      <a:pt x="435" y="160"/>
                      <a:pt x="435" y="160"/>
                      <a:pt x="435" y="160"/>
                    </a:cubicBezTo>
                    <a:cubicBezTo>
                      <a:pt x="435" y="159"/>
                      <a:pt x="435" y="159"/>
                      <a:pt x="435" y="159"/>
                    </a:cubicBezTo>
                    <a:cubicBezTo>
                      <a:pt x="434" y="157"/>
                      <a:pt x="434" y="157"/>
                      <a:pt x="434" y="157"/>
                    </a:cubicBezTo>
                    <a:cubicBezTo>
                      <a:pt x="435" y="156"/>
                      <a:pt x="435" y="156"/>
                      <a:pt x="435" y="156"/>
                    </a:cubicBezTo>
                    <a:cubicBezTo>
                      <a:pt x="436" y="156"/>
                      <a:pt x="436" y="156"/>
                      <a:pt x="436" y="156"/>
                    </a:cubicBezTo>
                    <a:cubicBezTo>
                      <a:pt x="439" y="155"/>
                      <a:pt x="439" y="155"/>
                      <a:pt x="439" y="155"/>
                    </a:cubicBezTo>
                    <a:cubicBezTo>
                      <a:pt x="441" y="155"/>
                      <a:pt x="441" y="155"/>
                      <a:pt x="441" y="155"/>
                    </a:cubicBezTo>
                    <a:cubicBezTo>
                      <a:pt x="442" y="152"/>
                      <a:pt x="442" y="152"/>
                      <a:pt x="442" y="152"/>
                    </a:cubicBezTo>
                    <a:cubicBezTo>
                      <a:pt x="440" y="149"/>
                      <a:pt x="440" y="149"/>
                      <a:pt x="440" y="149"/>
                    </a:cubicBezTo>
                    <a:cubicBezTo>
                      <a:pt x="439" y="148"/>
                      <a:pt x="439" y="148"/>
                      <a:pt x="439" y="148"/>
                    </a:cubicBezTo>
                    <a:cubicBezTo>
                      <a:pt x="440" y="146"/>
                      <a:pt x="440" y="146"/>
                      <a:pt x="440" y="146"/>
                    </a:cubicBezTo>
                    <a:cubicBezTo>
                      <a:pt x="439" y="144"/>
                      <a:pt x="439" y="144"/>
                      <a:pt x="439" y="144"/>
                    </a:cubicBezTo>
                    <a:cubicBezTo>
                      <a:pt x="440" y="141"/>
                      <a:pt x="440" y="141"/>
                      <a:pt x="440" y="141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3" y="141"/>
                      <a:pt x="443" y="141"/>
                      <a:pt x="443" y="141"/>
                    </a:cubicBezTo>
                    <a:cubicBezTo>
                      <a:pt x="445" y="141"/>
                      <a:pt x="445" y="141"/>
                      <a:pt x="445" y="141"/>
                    </a:cubicBezTo>
                    <a:cubicBezTo>
                      <a:pt x="444" y="140"/>
                      <a:pt x="444" y="140"/>
                      <a:pt x="444" y="140"/>
                    </a:cubicBezTo>
                    <a:cubicBezTo>
                      <a:pt x="445" y="138"/>
                      <a:pt x="445" y="138"/>
                      <a:pt x="445" y="138"/>
                    </a:cubicBezTo>
                    <a:cubicBezTo>
                      <a:pt x="447" y="137"/>
                      <a:pt x="447" y="137"/>
                      <a:pt x="447" y="137"/>
                    </a:cubicBezTo>
                    <a:cubicBezTo>
                      <a:pt x="452" y="133"/>
                      <a:pt x="452" y="133"/>
                      <a:pt x="452" y="133"/>
                    </a:cubicBezTo>
                    <a:cubicBezTo>
                      <a:pt x="453" y="133"/>
                      <a:pt x="453" y="133"/>
                      <a:pt x="453" y="133"/>
                    </a:cubicBezTo>
                    <a:cubicBezTo>
                      <a:pt x="456" y="134"/>
                      <a:pt x="456" y="134"/>
                      <a:pt x="456" y="134"/>
                    </a:cubicBezTo>
                    <a:cubicBezTo>
                      <a:pt x="455" y="136"/>
                      <a:pt x="455" y="136"/>
                      <a:pt x="455" y="136"/>
                    </a:cubicBezTo>
                    <a:cubicBezTo>
                      <a:pt x="456" y="137"/>
                      <a:pt x="456" y="137"/>
                      <a:pt x="456" y="137"/>
                    </a:cubicBezTo>
                    <a:cubicBezTo>
                      <a:pt x="456" y="138"/>
                      <a:pt x="456" y="138"/>
                      <a:pt x="456" y="138"/>
                    </a:cubicBezTo>
                    <a:cubicBezTo>
                      <a:pt x="454" y="138"/>
                      <a:pt x="454" y="138"/>
                      <a:pt x="454" y="138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3" y="141"/>
                      <a:pt x="453" y="141"/>
                      <a:pt x="453" y="141"/>
                    </a:cubicBezTo>
                    <a:cubicBezTo>
                      <a:pt x="452" y="143"/>
                      <a:pt x="452" y="143"/>
                      <a:pt x="452" y="143"/>
                    </a:cubicBezTo>
                    <a:cubicBezTo>
                      <a:pt x="452" y="146"/>
                      <a:pt x="452" y="146"/>
                      <a:pt x="452" y="146"/>
                    </a:cubicBezTo>
                    <a:cubicBezTo>
                      <a:pt x="453" y="146"/>
                      <a:pt x="453" y="146"/>
                      <a:pt x="453" y="146"/>
                    </a:cubicBezTo>
                    <a:cubicBezTo>
                      <a:pt x="453" y="151"/>
                      <a:pt x="453" y="151"/>
                      <a:pt x="453" y="151"/>
                    </a:cubicBezTo>
                    <a:cubicBezTo>
                      <a:pt x="452" y="152"/>
                      <a:pt x="452" y="152"/>
                      <a:pt x="452" y="152"/>
                    </a:cubicBezTo>
                    <a:cubicBezTo>
                      <a:pt x="451" y="152"/>
                      <a:pt x="451" y="152"/>
                      <a:pt x="451" y="152"/>
                    </a:cubicBezTo>
                    <a:cubicBezTo>
                      <a:pt x="448" y="154"/>
                      <a:pt x="448" y="154"/>
                      <a:pt x="448" y="154"/>
                    </a:cubicBezTo>
                    <a:cubicBezTo>
                      <a:pt x="447" y="155"/>
                      <a:pt x="447" y="155"/>
                      <a:pt x="447" y="155"/>
                    </a:cubicBezTo>
                    <a:cubicBezTo>
                      <a:pt x="447" y="156"/>
                      <a:pt x="447" y="156"/>
                      <a:pt x="447" y="156"/>
                    </a:cubicBezTo>
                    <a:cubicBezTo>
                      <a:pt x="448" y="156"/>
                      <a:pt x="448" y="156"/>
                      <a:pt x="448" y="156"/>
                    </a:cubicBezTo>
                    <a:cubicBezTo>
                      <a:pt x="449" y="156"/>
                      <a:pt x="449" y="156"/>
                      <a:pt x="449" y="156"/>
                    </a:cubicBezTo>
                    <a:cubicBezTo>
                      <a:pt x="452" y="156"/>
                      <a:pt x="452" y="156"/>
                      <a:pt x="452" y="156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1" y="159"/>
                      <a:pt x="451" y="159"/>
                      <a:pt x="451" y="159"/>
                    </a:cubicBezTo>
                    <a:cubicBezTo>
                      <a:pt x="448" y="161"/>
                      <a:pt x="448" y="161"/>
                      <a:pt x="448" y="161"/>
                    </a:cubicBezTo>
                    <a:cubicBezTo>
                      <a:pt x="445" y="163"/>
                      <a:pt x="445" y="163"/>
                      <a:pt x="445" y="163"/>
                    </a:cubicBezTo>
                    <a:cubicBezTo>
                      <a:pt x="445" y="165"/>
                      <a:pt x="445" y="165"/>
                      <a:pt x="445" y="165"/>
                    </a:cubicBezTo>
                    <a:cubicBezTo>
                      <a:pt x="446" y="166"/>
                      <a:pt x="446" y="166"/>
                      <a:pt x="446" y="166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50" y="163"/>
                      <a:pt x="450" y="163"/>
                      <a:pt x="450" y="163"/>
                    </a:cubicBezTo>
                    <a:cubicBezTo>
                      <a:pt x="451" y="161"/>
                      <a:pt x="451" y="161"/>
                      <a:pt x="451" y="161"/>
                    </a:cubicBezTo>
                    <a:cubicBezTo>
                      <a:pt x="452" y="161"/>
                      <a:pt x="452" y="161"/>
                      <a:pt x="452" y="161"/>
                    </a:cubicBezTo>
                    <a:cubicBezTo>
                      <a:pt x="455" y="162"/>
                      <a:pt x="455" y="162"/>
                      <a:pt x="455" y="162"/>
                    </a:cubicBezTo>
                    <a:cubicBezTo>
                      <a:pt x="455" y="165"/>
                      <a:pt x="455" y="165"/>
                      <a:pt x="455" y="165"/>
                    </a:cubicBezTo>
                    <a:cubicBezTo>
                      <a:pt x="453" y="168"/>
                      <a:pt x="453" y="168"/>
                      <a:pt x="453" y="168"/>
                    </a:cubicBezTo>
                    <a:cubicBezTo>
                      <a:pt x="453" y="169"/>
                      <a:pt x="453" y="169"/>
                      <a:pt x="453" y="169"/>
                    </a:cubicBezTo>
                    <a:cubicBezTo>
                      <a:pt x="455" y="167"/>
                      <a:pt x="455" y="167"/>
                      <a:pt x="455" y="167"/>
                    </a:cubicBezTo>
                    <a:cubicBezTo>
                      <a:pt x="457" y="167"/>
                      <a:pt x="457" y="167"/>
                      <a:pt x="457" y="167"/>
                    </a:cubicBezTo>
                    <a:cubicBezTo>
                      <a:pt x="457" y="166"/>
                      <a:pt x="457" y="166"/>
                      <a:pt x="457" y="166"/>
                    </a:cubicBezTo>
                    <a:cubicBezTo>
                      <a:pt x="457" y="165"/>
                      <a:pt x="457" y="165"/>
                      <a:pt x="457" y="165"/>
                    </a:cubicBezTo>
                    <a:cubicBezTo>
                      <a:pt x="458" y="163"/>
                      <a:pt x="458" y="163"/>
                      <a:pt x="458" y="163"/>
                    </a:cubicBezTo>
                    <a:cubicBezTo>
                      <a:pt x="458" y="161"/>
                      <a:pt x="458" y="161"/>
                      <a:pt x="458" y="161"/>
                    </a:cubicBezTo>
                    <a:cubicBezTo>
                      <a:pt x="461" y="159"/>
                      <a:pt x="461" y="159"/>
                      <a:pt x="461" y="159"/>
                    </a:cubicBezTo>
                    <a:cubicBezTo>
                      <a:pt x="462" y="159"/>
                      <a:pt x="462" y="159"/>
                      <a:pt x="462" y="159"/>
                    </a:cubicBezTo>
                    <a:cubicBezTo>
                      <a:pt x="465" y="161"/>
                      <a:pt x="465" y="161"/>
                      <a:pt x="465" y="161"/>
                    </a:cubicBezTo>
                    <a:cubicBezTo>
                      <a:pt x="466" y="164"/>
                      <a:pt x="466" y="164"/>
                      <a:pt x="466" y="164"/>
                    </a:cubicBezTo>
                    <a:cubicBezTo>
                      <a:pt x="467" y="165"/>
                      <a:pt x="467" y="165"/>
                      <a:pt x="467" y="165"/>
                    </a:cubicBezTo>
                    <a:cubicBezTo>
                      <a:pt x="466" y="168"/>
                      <a:pt x="466" y="168"/>
                      <a:pt x="466" y="168"/>
                    </a:cubicBezTo>
                    <a:cubicBezTo>
                      <a:pt x="464" y="173"/>
                      <a:pt x="464" y="173"/>
                      <a:pt x="464" y="173"/>
                    </a:cubicBezTo>
                    <a:cubicBezTo>
                      <a:pt x="461" y="175"/>
                      <a:pt x="461" y="175"/>
                      <a:pt x="461" y="175"/>
                    </a:cubicBezTo>
                    <a:cubicBezTo>
                      <a:pt x="460" y="176"/>
                      <a:pt x="460" y="176"/>
                      <a:pt x="460" y="176"/>
                    </a:cubicBezTo>
                    <a:cubicBezTo>
                      <a:pt x="458" y="176"/>
                      <a:pt x="458" y="176"/>
                      <a:pt x="458" y="176"/>
                    </a:cubicBezTo>
                    <a:cubicBezTo>
                      <a:pt x="458" y="177"/>
                      <a:pt x="458" y="177"/>
                      <a:pt x="458" y="177"/>
                    </a:cubicBezTo>
                    <a:cubicBezTo>
                      <a:pt x="458" y="178"/>
                      <a:pt x="458" y="178"/>
                      <a:pt x="458" y="178"/>
                    </a:cubicBezTo>
                    <a:cubicBezTo>
                      <a:pt x="456" y="181"/>
                      <a:pt x="456" y="181"/>
                      <a:pt x="456" y="181"/>
                    </a:cubicBezTo>
                    <a:cubicBezTo>
                      <a:pt x="455" y="181"/>
                      <a:pt x="455" y="181"/>
                      <a:pt x="455" y="181"/>
                    </a:cubicBezTo>
                    <a:cubicBezTo>
                      <a:pt x="453" y="182"/>
                      <a:pt x="453" y="182"/>
                      <a:pt x="453" y="182"/>
                    </a:cubicBezTo>
                    <a:cubicBezTo>
                      <a:pt x="453" y="184"/>
                      <a:pt x="453" y="184"/>
                      <a:pt x="453" y="184"/>
                    </a:cubicBezTo>
                    <a:cubicBezTo>
                      <a:pt x="452" y="185"/>
                      <a:pt x="452" y="185"/>
                      <a:pt x="452" y="185"/>
                    </a:cubicBezTo>
                    <a:cubicBezTo>
                      <a:pt x="451" y="185"/>
                      <a:pt x="451" y="185"/>
                      <a:pt x="451" y="185"/>
                    </a:cubicBezTo>
                    <a:cubicBezTo>
                      <a:pt x="450" y="186"/>
                      <a:pt x="450" y="186"/>
                      <a:pt x="450" y="186"/>
                    </a:cubicBezTo>
                    <a:cubicBezTo>
                      <a:pt x="450" y="187"/>
                      <a:pt x="450" y="187"/>
                      <a:pt x="450" y="187"/>
                    </a:cubicBezTo>
                    <a:cubicBezTo>
                      <a:pt x="449" y="187"/>
                      <a:pt x="449" y="187"/>
                      <a:pt x="449" y="187"/>
                    </a:cubicBezTo>
                    <a:cubicBezTo>
                      <a:pt x="448" y="186"/>
                      <a:pt x="448" y="186"/>
                      <a:pt x="448" y="186"/>
                    </a:cubicBezTo>
                    <a:cubicBezTo>
                      <a:pt x="446" y="187"/>
                      <a:pt x="446" y="187"/>
                      <a:pt x="446" y="187"/>
                    </a:cubicBezTo>
                    <a:cubicBezTo>
                      <a:pt x="445" y="186"/>
                      <a:pt x="445" y="186"/>
                      <a:pt x="445" y="186"/>
                    </a:cubicBezTo>
                    <a:cubicBezTo>
                      <a:pt x="442" y="188"/>
                      <a:pt x="442" y="188"/>
                      <a:pt x="442" y="188"/>
                    </a:cubicBezTo>
                    <a:cubicBezTo>
                      <a:pt x="439" y="188"/>
                      <a:pt x="439" y="188"/>
                      <a:pt x="439" y="188"/>
                    </a:cubicBezTo>
                    <a:cubicBezTo>
                      <a:pt x="437" y="187"/>
                      <a:pt x="437" y="187"/>
                      <a:pt x="437" y="187"/>
                    </a:cubicBezTo>
                    <a:cubicBezTo>
                      <a:pt x="436" y="186"/>
                      <a:pt x="436" y="186"/>
                      <a:pt x="436" y="186"/>
                    </a:cubicBezTo>
                    <a:cubicBezTo>
                      <a:pt x="437" y="185"/>
                      <a:pt x="437" y="185"/>
                      <a:pt x="437" y="185"/>
                    </a:cubicBezTo>
                    <a:cubicBezTo>
                      <a:pt x="437" y="183"/>
                      <a:pt x="437" y="183"/>
                      <a:pt x="437" y="183"/>
                    </a:cubicBezTo>
                    <a:cubicBezTo>
                      <a:pt x="436" y="183"/>
                      <a:pt x="436" y="183"/>
                      <a:pt x="436" y="183"/>
                    </a:cubicBezTo>
                    <a:cubicBezTo>
                      <a:pt x="434" y="184"/>
                      <a:pt x="434" y="184"/>
                      <a:pt x="434" y="184"/>
                    </a:cubicBezTo>
                    <a:cubicBezTo>
                      <a:pt x="434" y="185"/>
                      <a:pt x="434" y="185"/>
                      <a:pt x="434" y="185"/>
                    </a:cubicBezTo>
                    <a:cubicBezTo>
                      <a:pt x="432" y="186"/>
                      <a:pt x="432" y="186"/>
                      <a:pt x="432" y="186"/>
                    </a:cubicBezTo>
                    <a:cubicBezTo>
                      <a:pt x="430" y="185"/>
                      <a:pt x="430" y="185"/>
                      <a:pt x="430" y="185"/>
                    </a:cubicBezTo>
                    <a:cubicBezTo>
                      <a:pt x="430" y="184"/>
                      <a:pt x="430" y="184"/>
                      <a:pt x="430" y="184"/>
                    </a:cubicBezTo>
                    <a:cubicBezTo>
                      <a:pt x="431" y="183"/>
                      <a:pt x="431" y="183"/>
                      <a:pt x="431" y="183"/>
                    </a:cubicBezTo>
                    <a:cubicBezTo>
                      <a:pt x="430" y="182"/>
                      <a:pt x="430" y="182"/>
                      <a:pt x="430" y="182"/>
                    </a:cubicBezTo>
                    <a:cubicBezTo>
                      <a:pt x="429" y="181"/>
                      <a:pt x="429" y="181"/>
                      <a:pt x="429" y="181"/>
                    </a:cubicBezTo>
                    <a:cubicBezTo>
                      <a:pt x="429" y="182"/>
                      <a:pt x="429" y="182"/>
                      <a:pt x="429" y="182"/>
                    </a:cubicBezTo>
                    <a:cubicBezTo>
                      <a:pt x="428" y="183"/>
                      <a:pt x="428" y="183"/>
                      <a:pt x="428" y="183"/>
                    </a:cubicBezTo>
                    <a:cubicBezTo>
                      <a:pt x="426" y="183"/>
                      <a:pt x="426" y="183"/>
                      <a:pt x="426" y="183"/>
                    </a:cubicBezTo>
                    <a:cubicBezTo>
                      <a:pt x="423" y="184"/>
                      <a:pt x="423" y="184"/>
                      <a:pt x="423" y="184"/>
                    </a:cubicBezTo>
                    <a:cubicBezTo>
                      <a:pt x="422" y="185"/>
                      <a:pt x="422" y="185"/>
                      <a:pt x="422" y="185"/>
                    </a:cubicBezTo>
                    <a:cubicBezTo>
                      <a:pt x="420" y="185"/>
                      <a:pt x="420" y="185"/>
                      <a:pt x="420" y="185"/>
                    </a:cubicBezTo>
                    <a:cubicBezTo>
                      <a:pt x="420" y="184"/>
                      <a:pt x="420" y="184"/>
                      <a:pt x="420" y="184"/>
                    </a:cubicBezTo>
                    <a:cubicBezTo>
                      <a:pt x="417" y="185"/>
                      <a:pt x="417" y="185"/>
                      <a:pt x="417" y="185"/>
                    </a:cubicBezTo>
                    <a:cubicBezTo>
                      <a:pt x="416" y="184"/>
                      <a:pt x="416" y="184"/>
                      <a:pt x="416" y="184"/>
                    </a:cubicBezTo>
                    <a:cubicBezTo>
                      <a:pt x="415" y="185"/>
                      <a:pt x="415" y="185"/>
                      <a:pt x="415" y="185"/>
                    </a:cubicBezTo>
                    <a:cubicBezTo>
                      <a:pt x="414" y="185"/>
                      <a:pt x="414" y="185"/>
                      <a:pt x="414" y="185"/>
                    </a:cubicBezTo>
                    <a:cubicBezTo>
                      <a:pt x="412" y="186"/>
                      <a:pt x="412" y="186"/>
                      <a:pt x="412" y="186"/>
                    </a:cubicBezTo>
                    <a:cubicBezTo>
                      <a:pt x="412" y="187"/>
                      <a:pt x="412" y="187"/>
                      <a:pt x="412" y="187"/>
                    </a:cubicBezTo>
                    <a:cubicBezTo>
                      <a:pt x="411" y="188"/>
                      <a:pt x="411" y="188"/>
                      <a:pt x="411" y="188"/>
                    </a:cubicBezTo>
                    <a:cubicBezTo>
                      <a:pt x="409" y="188"/>
                      <a:pt x="409" y="188"/>
                      <a:pt x="409" y="188"/>
                    </a:cubicBezTo>
                    <a:cubicBezTo>
                      <a:pt x="408" y="189"/>
                      <a:pt x="408" y="189"/>
                      <a:pt x="408" y="189"/>
                    </a:cubicBezTo>
                    <a:cubicBezTo>
                      <a:pt x="406" y="190"/>
                      <a:pt x="406" y="190"/>
                      <a:pt x="406" y="190"/>
                    </a:cubicBezTo>
                    <a:cubicBezTo>
                      <a:pt x="406" y="189"/>
                      <a:pt x="406" y="189"/>
                      <a:pt x="406" y="189"/>
                    </a:cubicBezTo>
                    <a:cubicBezTo>
                      <a:pt x="404" y="190"/>
                      <a:pt x="404" y="190"/>
                      <a:pt x="404" y="190"/>
                    </a:cubicBezTo>
                    <a:cubicBezTo>
                      <a:pt x="402" y="190"/>
                      <a:pt x="402" y="190"/>
                      <a:pt x="402" y="190"/>
                    </a:cubicBezTo>
                    <a:cubicBezTo>
                      <a:pt x="401" y="189"/>
                      <a:pt x="401" y="189"/>
                      <a:pt x="401" y="189"/>
                    </a:cubicBezTo>
                    <a:cubicBezTo>
                      <a:pt x="398" y="189"/>
                      <a:pt x="398" y="189"/>
                      <a:pt x="398" y="189"/>
                    </a:cubicBezTo>
                    <a:cubicBezTo>
                      <a:pt x="396" y="190"/>
                      <a:pt x="396" y="190"/>
                      <a:pt x="396" y="190"/>
                    </a:cubicBezTo>
                    <a:cubicBezTo>
                      <a:pt x="393" y="190"/>
                      <a:pt x="393" y="190"/>
                      <a:pt x="393" y="190"/>
                    </a:cubicBezTo>
                    <a:cubicBezTo>
                      <a:pt x="390" y="189"/>
                      <a:pt x="390" y="189"/>
                      <a:pt x="390" y="189"/>
                    </a:cubicBezTo>
                    <a:cubicBezTo>
                      <a:pt x="387" y="188"/>
                      <a:pt x="387" y="188"/>
                      <a:pt x="387" y="188"/>
                    </a:cubicBezTo>
                    <a:cubicBezTo>
                      <a:pt x="386" y="186"/>
                      <a:pt x="386" y="186"/>
                      <a:pt x="386" y="186"/>
                    </a:cubicBezTo>
                    <a:cubicBezTo>
                      <a:pt x="384" y="184"/>
                      <a:pt x="384" y="184"/>
                      <a:pt x="384" y="184"/>
                    </a:cubicBezTo>
                    <a:close/>
                    <a:moveTo>
                      <a:pt x="269" y="246"/>
                    </a:moveTo>
                    <a:cubicBezTo>
                      <a:pt x="269" y="242"/>
                      <a:pt x="269" y="242"/>
                      <a:pt x="269" y="242"/>
                    </a:cubicBezTo>
                    <a:cubicBezTo>
                      <a:pt x="271" y="239"/>
                      <a:pt x="271" y="239"/>
                      <a:pt x="271" y="239"/>
                    </a:cubicBezTo>
                    <a:cubicBezTo>
                      <a:pt x="270" y="237"/>
                      <a:pt x="270" y="237"/>
                      <a:pt x="270" y="237"/>
                    </a:cubicBezTo>
                    <a:cubicBezTo>
                      <a:pt x="271" y="234"/>
                      <a:pt x="271" y="234"/>
                      <a:pt x="271" y="234"/>
                    </a:cubicBezTo>
                    <a:cubicBezTo>
                      <a:pt x="271" y="232"/>
                      <a:pt x="271" y="232"/>
                      <a:pt x="271" y="232"/>
                    </a:cubicBezTo>
                    <a:cubicBezTo>
                      <a:pt x="270" y="231"/>
                      <a:pt x="270" y="231"/>
                      <a:pt x="270" y="231"/>
                    </a:cubicBezTo>
                    <a:cubicBezTo>
                      <a:pt x="268" y="225"/>
                      <a:pt x="268" y="225"/>
                      <a:pt x="268" y="225"/>
                    </a:cubicBezTo>
                    <a:cubicBezTo>
                      <a:pt x="270" y="226"/>
                      <a:pt x="270" y="226"/>
                      <a:pt x="270" y="226"/>
                    </a:cubicBezTo>
                    <a:cubicBezTo>
                      <a:pt x="270" y="224"/>
                      <a:pt x="270" y="224"/>
                      <a:pt x="270" y="224"/>
                    </a:cubicBezTo>
                    <a:cubicBezTo>
                      <a:pt x="267" y="224"/>
                      <a:pt x="267" y="224"/>
                      <a:pt x="267" y="224"/>
                    </a:cubicBezTo>
                    <a:cubicBezTo>
                      <a:pt x="264" y="223"/>
                      <a:pt x="264" y="223"/>
                      <a:pt x="264" y="223"/>
                    </a:cubicBezTo>
                    <a:cubicBezTo>
                      <a:pt x="264" y="222"/>
                      <a:pt x="264" y="222"/>
                      <a:pt x="264" y="222"/>
                    </a:cubicBezTo>
                    <a:cubicBezTo>
                      <a:pt x="265" y="222"/>
                      <a:pt x="265" y="222"/>
                      <a:pt x="265" y="222"/>
                    </a:cubicBezTo>
                    <a:cubicBezTo>
                      <a:pt x="267" y="221"/>
                      <a:pt x="267" y="221"/>
                      <a:pt x="267" y="221"/>
                    </a:cubicBezTo>
                    <a:cubicBezTo>
                      <a:pt x="270" y="219"/>
                      <a:pt x="270" y="219"/>
                      <a:pt x="270" y="219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71" y="218"/>
                      <a:pt x="271" y="218"/>
                      <a:pt x="271" y="218"/>
                    </a:cubicBezTo>
                    <a:cubicBezTo>
                      <a:pt x="273" y="216"/>
                      <a:pt x="273" y="216"/>
                      <a:pt x="273" y="216"/>
                    </a:cubicBezTo>
                    <a:cubicBezTo>
                      <a:pt x="274" y="216"/>
                      <a:pt x="274" y="216"/>
                      <a:pt x="274" y="216"/>
                    </a:cubicBezTo>
                    <a:cubicBezTo>
                      <a:pt x="275" y="213"/>
                      <a:pt x="275" y="213"/>
                      <a:pt x="275" y="213"/>
                    </a:cubicBezTo>
                    <a:cubicBezTo>
                      <a:pt x="279" y="212"/>
                      <a:pt x="279" y="212"/>
                      <a:pt x="279" y="212"/>
                    </a:cubicBezTo>
                    <a:cubicBezTo>
                      <a:pt x="279" y="211"/>
                      <a:pt x="279" y="211"/>
                      <a:pt x="279" y="211"/>
                    </a:cubicBezTo>
                    <a:cubicBezTo>
                      <a:pt x="280" y="210"/>
                      <a:pt x="280" y="210"/>
                      <a:pt x="280" y="210"/>
                    </a:cubicBezTo>
                    <a:cubicBezTo>
                      <a:pt x="282" y="208"/>
                      <a:pt x="282" y="208"/>
                      <a:pt x="282" y="208"/>
                    </a:cubicBezTo>
                    <a:cubicBezTo>
                      <a:pt x="282" y="205"/>
                      <a:pt x="282" y="205"/>
                      <a:pt x="282" y="205"/>
                    </a:cubicBezTo>
                    <a:cubicBezTo>
                      <a:pt x="283" y="206"/>
                      <a:pt x="283" y="206"/>
                      <a:pt x="283" y="206"/>
                    </a:cubicBezTo>
                    <a:cubicBezTo>
                      <a:pt x="288" y="206"/>
                      <a:pt x="288" y="206"/>
                      <a:pt x="288" y="206"/>
                    </a:cubicBezTo>
                    <a:cubicBezTo>
                      <a:pt x="288" y="204"/>
                      <a:pt x="288" y="204"/>
                      <a:pt x="288" y="204"/>
                    </a:cubicBezTo>
                    <a:cubicBezTo>
                      <a:pt x="287" y="201"/>
                      <a:pt x="287" y="201"/>
                      <a:pt x="287" y="201"/>
                    </a:cubicBezTo>
                    <a:cubicBezTo>
                      <a:pt x="287" y="199"/>
                      <a:pt x="287" y="199"/>
                      <a:pt x="287" y="199"/>
                    </a:cubicBezTo>
                    <a:cubicBezTo>
                      <a:pt x="289" y="199"/>
                      <a:pt x="289" y="199"/>
                      <a:pt x="289" y="199"/>
                    </a:cubicBezTo>
                    <a:cubicBezTo>
                      <a:pt x="294" y="195"/>
                      <a:pt x="294" y="195"/>
                      <a:pt x="294" y="195"/>
                    </a:cubicBezTo>
                    <a:cubicBezTo>
                      <a:pt x="295" y="193"/>
                      <a:pt x="295" y="193"/>
                      <a:pt x="295" y="193"/>
                    </a:cubicBezTo>
                    <a:cubicBezTo>
                      <a:pt x="299" y="191"/>
                      <a:pt x="299" y="191"/>
                      <a:pt x="299" y="191"/>
                    </a:cubicBezTo>
                    <a:cubicBezTo>
                      <a:pt x="300" y="189"/>
                      <a:pt x="300" y="189"/>
                      <a:pt x="300" y="189"/>
                    </a:cubicBezTo>
                    <a:cubicBezTo>
                      <a:pt x="303" y="187"/>
                      <a:pt x="303" y="187"/>
                      <a:pt x="303" y="187"/>
                    </a:cubicBezTo>
                    <a:cubicBezTo>
                      <a:pt x="305" y="187"/>
                      <a:pt x="305" y="187"/>
                      <a:pt x="305" y="187"/>
                    </a:cubicBezTo>
                    <a:cubicBezTo>
                      <a:pt x="306" y="185"/>
                      <a:pt x="306" y="185"/>
                      <a:pt x="306" y="185"/>
                    </a:cubicBezTo>
                    <a:cubicBezTo>
                      <a:pt x="305" y="183"/>
                      <a:pt x="305" y="183"/>
                      <a:pt x="305" y="183"/>
                    </a:cubicBezTo>
                    <a:cubicBezTo>
                      <a:pt x="305" y="179"/>
                      <a:pt x="305" y="179"/>
                      <a:pt x="305" y="179"/>
                    </a:cubicBezTo>
                    <a:cubicBezTo>
                      <a:pt x="305" y="177"/>
                      <a:pt x="305" y="177"/>
                      <a:pt x="305" y="177"/>
                    </a:cubicBezTo>
                    <a:cubicBezTo>
                      <a:pt x="306" y="175"/>
                      <a:pt x="306" y="175"/>
                      <a:pt x="306" y="175"/>
                    </a:cubicBezTo>
                    <a:cubicBezTo>
                      <a:pt x="306" y="174"/>
                      <a:pt x="306" y="174"/>
                      <a:pt x="306" y="174"/>
                    </a:cubicBezTo>
                    <a:cubicBezTo>
                      <a:pt x="306" y="172"/>
                      <a:pt x="306" y="172"/>
                      <a:pt x="306" y="172"/>
                    </a:cubicBezTo>
                    <a:cubicBezTo>
                      <a:pt x="309" y="171"/>
                      <a:pt x="309" y="171"/>
                      <a:pt x="309" y="171"/>
                    </a:cubicBezTo>
                    <a:cubicBezTo>
                      <a:pt x="311" y="172"/>
                      <a:pt x="311" y="172"/>
                      <a:pt x="311" y="172"/>
                    </a:cubicBezTo>
                    <a:cubicBezTo>
                      <a:pt x="317" y="171"/>
                      <a:pt x="317" y="171"/>
                      <a:pt x="317" y="171"/>
                    </a:cubicBezTo>
                    <a:cubicBezTo>
                      <a:pt x="318" y="172"/>
                      <a:pt x="318" y="172"/>
                      <a:pt x="318" y="172"/>
                    </a:cubicBezTo>
                    <a:cubicBezTo>
                      <a:pt x="324" y="172"/>
                      <a:pt x="324" y="172"/>
                      <a:pt x="324" y="172"/>
                    </a:cubicBezTo>
                    <a:cubicBezTo>
                      <a:pt x="329" y="170"/>
                      <a:pt x="329" y="170"/>
                      <a:pt x="329" y="170"/>
                    </a:cubicBezTo>
                    <a:cubicBezTo>
                      <a:pt x="334" y="172"/>
                      <a:pt x="334" y="172"/>
                      <a:pt x="334" y="172"/>
                    </a:cubicBezTo>
                    <a:cubicBezTo>
                      <a:pt x="334" y="174"/>
                      <a:pt x="334" y="174"/>
                      <a:pt x="334" y="174"/>
                    </a:cubicBezTo>
                    <a:cubicBezTo>
                      <a:pt x="335" y="175"/>
                      <a:pt x="335" y="175"/>
                      <a:pt x="335" y="175"/>
                    </a:cubicBezTo>
                    <a:cubicBezTo>
                      <a:pt x="336" y="177"/>
                      <a:pt x="336" y="177"/>
                      <a:pt x="336" y="177"/>
                    </a:cubicBezTo>
                    <a:cubicBezTo>
                      <a:pt x="341" y="180"/>
                      <a:pt x="341" y="180"/>
                      <a:pt x="341" y="180"/>
                    </a:cubicBezTo>
                    <a:cubicBezTo>
                      <a:pt x="341" y="181"/>
                      <a:pt x="341" y="181"/>
                      <a:pt x="341" y="181"/>
                    </a:cubicBezTo>
                    <a:cubicBezTo>
                      <a:pt x="340" y="183"/>
                      <a:pt x="340" y="183"/>
                      <a:pt x="340" y="183"/>
                    </a:cubicBezTo>
                    <a:cubicBezTo>
                      <a:pt x="342" y="183"/>
                      <a:pt x="342" y="183"/>
                      <a:pt x="342" y="183"/>
                    </a:cubicBezTo>
                    <a:cubicBezTo>
                      <a:pt x="343" y="182"/>
                      <a:pt x="343" y="182"/>
                      <a:pt x="343" y="182"/>
                    </a:cubicBezTo>
                    <a:cubicBezTo>
                      <a:pt x="345" y="183"/>
                      <a:pt x="345" y="183"/>
                      <a:pt x="345" y="183"/>
                    </a:cubicBezTo>
                    <a:cubicBezTo>
                      <a:pt x="345" y="185"/>
                      <a:pt x="345" y="185"/>
                      <a:pt x="345" y="185"/>
                    </a:cubicBezTo>
                    <a:cubicBezTo>
                      <a:pt x="342" y="188"/>
                      <a:pt x="342" y="188"/>
                      <a:pt x="342" y="188"/>
                    </a:cubicBezTo>
                    <a:cubicBezTo>
                      <a:pt x="342" y="189"/>
                      <a:pt x="342" y="189"/>
                      <a:pt x="342" y="189"/>
                    </a:cubicBezTo>
                    <a:cubicBezTo>
                      <a:pt x="346" y="187"/>
                      <a:pt x="346" y="187"/>
                      <a:pt x="346" y="187"/>
                    </a:cubicBezTo>
                    <a:cubicBezTo>
                      <a:pt x="346" y="185"/>
                      <a:pt x="346" y="185"/>
                      <a:pt x="346" y="185"/>
                    </a:cubicBezTo>
                    <a:cubicBezTo>
                      <a:pt x="347" y="183"/>
                      <a:pt x="347" y="183"/>
                      <a:pt x="347" y="183"/>
                    </a:cubicBezTo>
                    <a:cubicBezTo>
                      <a:pt x="350" y="184"/>
                      <a:pt x="350" y="184"/>
                      <a:pt x="350" y="184"/>
                    </a:cubicBezTo>
                    <a:cubicBezTo>
                      <a:pt x="352" y="183"/>
                      <a:pt x="352" y="183"/>
                      <a:pt x="352" y="183"/>
                    </a:cubicBezTo>
                    <a:cubicBezTo>
                      <a:pt x="354" y="183"/>
                      <a:pt x="354" y="183"/>
                      <a:pt x="354" y="183"/>
                    </a:cubicBezTo>
                    <a:cubicBezTo>
                      <a:pt x="354" y="185"/>
                      <a:pt x="354" y="185"/>
                      <a:pt x="354" y="185"/>
                    </a:cubicBezTo>
                    <a:cubicBezTo>
                      <a:pt x="358" y="189"/>
                      <a:pt x="358" y="189"/>
                      <a:pt x="358" y="189"/>
                    </a:cubicBezTo>
                    <a:cubicBezTo>
                      <a:pt x="358" y="194"/>
                      <a:pt x="358" y="194"/>
                      <a:pt x="358" y="194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59" y="199"/>
                      <a:pt x="359" y="199"/>
                      <a:pt x="359" y="199"/>
                    </a:cubicBezTo>
                    <a:cubicBezTo>
                      <a:pt x="359" y="202"/>
                      <a:pt x="359" y="202"/>
                      <a:pt x="359" y="202"/>
                    </a:cubicBezTo>
                    <a:cubicBezTo>
                      <a:pt x="358" y="203"/>
                      <a:pt x="358" y="203"/>
                      <a:pt x="358" y="203"/>
                    </a:cubicBezTo>
                    <a:cubicBezTo>
                      <a:pt x="359" y="204"/>
                      <a:pt x="359" y="204"/>
                      <a:pt x="359" y="204"/>
                    </a:cubicBezTo>
                    <a:cubicBezTo>
                      <a:pt x="359" y="206"/>
                      <a:pt x="359" y="206"/>
                      <a:pt x="359" y="206"/>
                    </a:cubicBezTo>
                    <a:cubicBezTo>
                      <a:pt x="359" y="208"/>
                      <a:pt x="359" y="208"/>
                      <a:pt x="359" y="208"/>
                    </a:cubicBezTo>
                    <a:cubicBezTo>
                      <a:pt x="358" y="210"/>
                      <a:pt x="358" y="210"/>
                      <a:pt x="358" y="210"/>
                    </a:cubicBezTo>
                    <a:cubicBezTo>
                      <a:pt x="354" y="211"/>
                      <a:pt x="354" y="211"/>
                      <a:pt x="354" y="211"/>
                    </a:cubicBezTo>
                    <a:cubicBezTo>
                      <a:pt x="353" y="212"/>
                      <a:pt x="353" y="212"/>
                      <a:pt x="353" y="212"/>
                    </a:cubicBezTo>
                    <a:cubicBezTo>
                      <a:pt x="349" y="212"/>
                      <a:pt x="349" y="212"/>
                      <a:pt x="349" y="212"/>
                    </a:cubicBezTo>
                    <a:cubicBezTo>
                      <a:pt x="346" y="212"/>
                      <a:pt x="346" y="212"/>
                      <a:pt x="346" y="212"/>
                    </a:cubicBezTo>
                    <a:cubicBezTo>
                      <a:pt x="340" y="215"/>
                      <a:pt x="340" y="215"/>
                      <a:pt x="340" y="215"/>
                    </a:cubicBezTo>
                    <a:cubicBezTo>
                      <a:pt x="337" y="215"/>
                      <a:pt x="337" y="215"/>
                      <a:pt x="337" y="215"/>
                    </a:cubicBezTo>
                    <a:cubicBezTo>
                      <a:pt x="333" y="217"/>
                      <a:pt x="333" y="217"/>
                      <a:pt x="333" y="217"/>
                    </a:cubicBezTo>
                    <a:cubicBezTo>
                      <a:pt x="331" y="217"/>
                      <a:pt x="331" y="217"/>
                      <a:pt x="331" y="217"/>
                    </a:cubicBezTo>
                    <a:cubicBezTo>
                      <a:pt x="329" y="218"/>
                      <a:pt x="329" y="218"/>
                      <a:pt x="329" y="218"/>
                    </a:cubicBezTo>
                    <a:cubicBezTo>
                      <a:pt x="326" y="219"/>
                      <a:pt x="326" y="219"/>
                      <a:pt x="326" y="219"/>
                    </a:cubicBezTo>
                    <a:cubicBezTo>
                      <a:pt x="324" y="219"/>
                      <a:pt x="324" y="219"/>
                      <a:pt x="324" y="219"/>
                    </a:cubicBezTo>
                    <a:cubicBezTo>
                      <a:pt x="323" y="218"/>
                      <a:pt x="323" y="218"/>
                      <a:pt x="323" y="218"/>
                    </a:cubicBezTo>
                    <a:cubicBezTo>
                      <a:pt x="322" y="219"/>
                      <a:pt x="322" y="219"/>
                      <a:pt x="322" y="219"/>
                    </a:cubicBezTo>
                    <a:cubicBezTo>
                      <a:pt x="319" y="220"/>
                      <a:pt x="319" y="220"/>
                      <a:pt x="319" y="220"/>
                    </a:cubicBezTo>
                    <a:cubicBezTo>
                      <a:pt x="318" y="222"/>
                      <a:pt x="318" y="222"/>
                      <a:pt x="318" y="222"/>
                    </a:cubicBezTo>
                    <a:cubicBezTo>
                      <a:pt x="316" y="224"/>
                      <a:pt x="316" y="224"/>
                      <a:pt x="316" y="224"/>
                    </a:cubicBezTo>
                    <a:cubicBezTo>
                      <a:pt x="315" y="224"/>
                      <a:pt x="315" y="224"/>
                      <a:pt x="315" y="224"/>
                    </a:cubicBezTo>
                    <a:cubicBezTo>
                      <a:pt x="314" y="227"/>
                      <a:pt x="314" y="227"/>
                      <a:pt x="314" y="227"/>
                    </a:cubicBezTo>
                    <a:cubicBezTo>
                      <a:pt x="312" y="228"/>
                      <a:pt x="312" y="228"/>
                      <a:pt x="312" y="228"/>
                    </a:cubicBezTo>
                    <a:cubicBezTo>
                      <a:pt x="310" y="230"/>
                      <a:pt x="310" y="230"/>
                      <a:pt x="310" y="230"/>
                    </a:cubicBezTo>
                    <a:cubicBezTo>
                      <a:pt x="307" y="229"/>
                      <a:pt x="307" y="229"/>
                      <a:pt x="307" y="229"/>
                    </a:cubicBezTo>
                    <a:cubicBezTo>
                      <a:pt x="305" y="227"/>
                      <a:pt x="305" y="227"/>
                      <a:pt x="305" y="227"/>
                    </a:cubicBezTo>
                    <a:cubicBezTo>
                      <a:pt x="304" y="229"/>
                      <a:pt x="304" y="229"/>
                      <a:pt x="304" y="229"/>
                    </a:cubicBezTo>
                    <a:cubicBezTo>
                      <a:pt x="304" y="231"/>
                      <a:pt x="304" y="231"/>
                      <a:pt x="304" y="231"/>
                    </a:cubicBezTo>
                    <a:cubicBezTo>
                      <a:pt x="302" y="232"/>
                      <a:pt x="302" y="232"/>
                      <a:pt x="302" y="232"/>
                    </a:cubicBezTo>
                    <a:cubicBezTo>
                      <a:pt x="299" y="235"/>
                      <a:pt x="299" y="235"/>
                      <a:pt x="299" y="235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97" y="239"/>
                      <a:pt x="297" y="239"/>
                      <a:pt x="297" y="239"/>
                    </a:cubicBezTo>
                    <a:cubicBezTo>
                      <a:pt x="297" y="240"/>
                      <a:pt x="297" y="240"/>
                      <a:pt x="297" y="240"/>
                    </a:cubicBezTo>
                    <a:cubicBezTo>
                      <a:pt x="294" y="243"/>
                      <a:pt x="294" y="243"/>
                      <a:pt x="294" y="243"/>
                    </a:cubicBezTo>
                    <a:cubicBezTo>
                      <a:pt x="292" y="245"/>
                      <a:pt x="292" y="245"/>
                      <a:pt x="292" y="245"/>
                    </a:cubicBezTo>
                    <a:cubicBezTo>
                      <a:pt x="290" y="245"/>
                      <a:pt x="290" y="245"/>
                      <a:pt x="290" y="245"/>
                    </a:cubicBezTo>
                    <a:cubicBezTo>
                      <a:pt x="287" y="246"/>
                      <a:pt x="287" y="246"/>
                      <a:pt x="287" y="246"/>
                    </a:cubicBezTo>
                    <a:cubicBezTo>
                      <a:pt x="285" y="246"/>
                      <a:pt x="285" y="246"/>
                      <a:pt x="285" y="246"/>
                    </a:cubicBezTo>
                    <a:cubicBezTo>
                      <a:pt x="284" y="244"/>
                      <a:pt x="284" y="244"/>
                      <a:pt x="284" y="244"/>
                    </a:cubicBezTo>
                    <a:cubicBezTo>
                      <a:pt x="286" y="243"/>
                      <a:pt x="286" y="243"/>
                      <a:pt x="286" y="243"/>
                    </a:cubicBezTo>
                    <a:cubicBezTo>
                      <a:pt x="286" y="241"/>
                      <a:pt x="286" y="241"/>
                      <a:pt x="286" y="241"/>
                    </a:cubicBezTo>
                    <a:cubicBezTo>
                      <a:pt x="285" y="239"/>
                      <a:pt x="285" y="239"/>
                      <a:pt x="285" y="239"/>
                    </a:cubicBezTo>
                    <a:cubicBezTo>
                      <a:pt x="283" y="241"/>
                      <a:pt x="283" y="241"/>
                      <a:pt x="283" y="241"/>
                    </a:cubicBezTo>
                    <a:cubicBezTo>
                      <a:pt x="283" y="242"/>
                      <a:pt x="283" y="242"/>
                      <a:pt x="283" y="242"/>
                    </a:cubicBezTo>
                    <a:cubicBezTo>
                      <a:pt x="282" y="242"/>
                      <a:pt x="282" y="242"/>
                      <a:pt x="282" y="242"/>
                    </a:cubicBezTo>
                    <a:cubicBezTo>
                      <a:pt x="279" y="245"/>
                      <a:pt x="279" y="245"/>
                      <a:pt x="279" y="245"/>
                    </a:cubicBezTo>
                    <a:cubicBezTo>
                      <a:pt x="277" y="246"/>
                      <a:pt x="277" y="246"/>
                      <a:pt x="277" y="246"/>
                    </a:cubicBezTo>
                    <a:cubicBezTo>
                      <a:pt x="275" y="245"/>
                      <a:pt x="275" y="245"/>
                      <a:pt x="275" y="245"/>
                    </a:cubicBezTo>
                    <a:cubicBezTo>
                      <a:pt x="273" y="246"/>
                      <a:pt x="273" y="246"/>
                      <a:pt x="273" y="246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70" y="247"/>
                      <a:pt x="270" y="247"/>
                      <a:pt x="270" y="247"/>
                    </a:cubicBezTo>
                    <a:cubicBezTo>
                      <a:pt x="269" y="247"/>
                      <a:pt x="269" y="247"/>
                      <a:pt x="269" y="247"/>
                    </a:cubicBezTo>
                    <a:cubicBezTo>
                      <a:pt x="269" y="246"/>
                      <a:pt x="269" y="246"/>
                      <a:pt x="269" y="246"/>
                    </a:cubicBezTo>
                    <a:close/>
                    <a:moveTo>
                      <a:pt x="515" y="216"/>
                    </a:moveTo>
                    <a:cubicBezTo>
                      <a:pt x="516" y="217"/>
                      <a:pt x="516" y="217"/>
                      <a:pt x="516" y="217"/>
                    </a:cubicBezTo>
                    <a:cubicBezTo>
                      <a:pt x="517" y="218"/>
                      <a:pt x="517" y="218"/>
                      <a:pt x="517" y="218"/>
                    </a:cubicBezTo>
                    <a:cubicBezTo>
                      <a:pt x="516" y="220"/>
                      <a:pt x="516" y="220"/>
                      <a:pt x="516" y="220"/>
                    </a:cubicBezTo>
                    <a:cubicBezTo>
                      <a:pt x="516" y="221"/>
                      <a:pt x="516" y="221"/>
                      <a:pt x="516" y="221"/>
                    </a:cubicBezTo>
                    <a:cubicBezTo>
                      <a:pt x="515" y="220"/>
                      <a:pt x="515" y="220"/>
                      <a:pt x="515" y="220"/>
                    </a:cubicBezTo>
                    <a:cubicBezTo>
                      <a:pt x="515" y="218"/>
                      <a:pt x="515" y="218"/>
                      <a:pt x="515" y="218"/>
                    </a:cubicBezTo>
                    <a:cubicBezTo>
                      <a:pt x="515" y="216"/>
                      <a:pt x="515" y="216"/>
                      <a:pt x="515" y="216"/>
                    </a:cubicBezTo>
                    <a:close/>
                    <a:moveTo>
                      <a:pt x="496" y="217"/>
                    </a:moveTo>
                    <a:cubicBezTo>
                      <a:pt x="498" y="215"/>
                      <a:pt x="498" y="215"/>
                      <a:pt x="498" y="215"/>
                    </a:cubicBezTo>
                    <a:cubicBezTo>
                      <a:pt x="500" y="214"/>
                      <a:pt x="500" y="214"/>
                      <a:pt x="500" y="214"/>
                    </a:cubicBezTo>
                    <a:cubicBezTo>
                      <a:pt x="501" y="215"/>
                      <a:pt x="501" y="215"/>
                      <a:pt x="501" y="215"/>
                    </a:cubicBezTo>
                    <a:cubicBezTo>
                      <a:pt x="501" y="216"/>
                      <a:pt x="501" y="216"/>
                      <a:pt x="501" y="216"/>
                    </a:cubicBezTo>
                    <a:cubicBezTo>
                      <a:pt x="499" y="216"/>
                      <a:pt x="499" y="216"/>
                      <a:pt x="499" y="216"/>
                    </a:cubicBezTo>
                    <a:cubicBezTo>
                      <a:pt x="498" y="217"/>
                      <a:pt x="498" y="217"/>
                      <a:pt x="498" y="217"/>
                    </a:cubicBezTo>
                    <a:cubicBezTo>
                      <a:pt x="496" y="217"/>
                      <a:pt x="496" y="217"/>
                      <a:pt x="496" y="217"/>
                    </a:cubicBezTo>
                    <a:close/>
                    <a:moveTo>
                      <a:pt x="478" y="228"/>
                    </a:moveTo>
                    <a:cubicBezTo>
                      <a:pt x="479" y="229"/>
                      <a:pt x="479" y="229"/>
                      <a:pt x="479" y="229"/>
                    </a:cubicBezTo>
                    <a:cubicBezTo>
                      <a:pt x="481" y="230"/>
                      <a:pt x="481" y="230"/>
                      <a:pt x="481" y="230"/>
                    </a:cubicBezTo>
                    <a:cubicBezTo>
                      <a:pt x="484" y="231"/>
                      <a:pt x="484" y="231"/>
                      <a:pt x="484" y="231"/>
                    </a:cubicBezTo>
                    <a:cubicBezTo>
                      <a:pt x="485" y="230"/>
                      <a:pt x="485" y="230"/>
                      <a:pt x="485" y="230"/>
                    </a:cubicBezTo>
                    <a:cubicBezTo>
                      <a:pt x="486" y="231"/>
                      <a:pt x="486" y="231"/>
                      <a:pt x="486" y="231"/>
                    </a:cubicBezTo>
                    <a:cubicBezTo>
                      <a:pt x="489" y="230"/>
                      <a:pt x="489" y="230"/>
                      <a:pt x="489" y="230"/>
                    </a:cubicBezTo>
                    <a:cubicBezTo>
                      <a:pt x="490" y="230"/>
                      <a:pt x="490" y="230"/>
                      <a:pt x="490" y="230"/>
                    </a:cubicBezTo>
                    <a:cubicBezTo>
                      <a:pt x="491" y="230"/>
                      <a:pt x="491" y="230"/>
                      <a:pt x="491" y="230"/>
                    </a:cubicBezTo>
                    <a:cubicBezTo>
                      <a:pt x="493" y="229"/>
                      <a:pt x="493" y="229"/>
                      <a:pt x="493" y="229"/>
                    </a:cubicBezTo>
                    <a:cubicBezTo>
                      <a:pt x="495" y="229"/>
                      <a:pt x="495" y="229"/>
                      <a:pt x="495" y="229"/>
                    </a:cubicBezTo>
                    <a:cubicBezTo>
                      <a:pt x="495" y="227"/>
                      <a:pt x="495" y="227"/>
                      <a:pt x="495" y="227"/>
                    </a:cubicBezTo>
                    <a:cubicBezTo>
                      <a:pt x="492" y="226"/>
                      <a:pt x="492" y="226"/>
                      <a:pt x="492" y="226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88" y="227"/>
                      <a:pt x="488" y="227"/>
                      <a:pt x="488" y="227"/>
                    </a:cubicBezTo>
                    <a:cubicBezTo>
                      <a:pt x="487" y="226"/>
                      <a:pt x="487" y="226"/>
                      <a:pt x="487" y="226"/>
                    </a:cubicBezTo>
                    <a:cubicBezTo>
                      <a:pt x="485" y="227"/>
                      <a:pt x="485" y="227"/>
                      <a:pt x="485" y="227"/>
                    </a:cubicBezTo>
                    <a:cubicBezTo>
                      <a:pt x="483" y="226"/>
                      <a:pt x="483" y="226"/>
                      <a:pt x="483" y="226"/>
                    </a:cubicBezTo>
                    <a:cubicBezTo>
                      <a:pt x="481" y="228"/>
                      <a:pt x="481" y="228"/>
                      <a:pt x="481" y="228"/>
                    </a:cubicBezTo>
                    <a:cubicBezTo>
                      <a:pt x="479" y="227"/>
                      <a:pt x="479" y="227"/>
                      <a:pt x="479" y="227"/>
                    </a:cubicBezTo>
                    <a:cubicBezTo>
                      <a:pt x="478" y="228"/>
                      <a:pt x="478" y="228"/>
                      <a:pt x="478" y="228"/>
                    </a:cubicBezTo>
                    <a:close/>
                    <a:moveTo>
                      <a:pt x="467" y="297"/>
                    </a:move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67" y="295"/>
                      <a:pt x="467" y="295"/>
                      <a:pt x="467" y="295"/>
                    </a:cubicBezTo>
                    <a:cubicBezTo>
                      <a:pt x="468" y="295"/>
                      <a:pt x="468" y="295"/>
                      <a:pt x="468" y="295"/>
                    </a:cubicBezTo>
                    <a:cubicBezTo>
                      <a:pt x="468" y="296"/>
                      <a:pt x="468" y="296"/>
                      <a:pt x="468" y="296"/>
                    </a:cubicBezTo>
                    <a:cubicBezTo>
                      <a:pt x="467" y="297"/>
                      <a:pt x="467" y="297"/>
                      <a:pt x="467" y="297"/>
                    </a:cubicBezTo>
                    <a:close/>
                    <a:moveTo>
                      <a:pt x="456" y="295"/>
                    </a:moveTo>
                    <a:cubicBezTo>
                      <a:pt x="455" y="294"/>
                      <a:pt x="455" y="294"/>
                      <a:pt x="455" y="294"/>
                    </a:cubicBezTo>
                    <a:cubicBezTo>
                      <a:pt x="454" y="292"/>
                      <a:pt x="454" y="292"/>
                      <a:pt x="454" y="292"/>
                    </a:cubicBezTo>
                    <a:cubicBezTo>
                      <a:pt x="454" y="291"/>
                      <a:pt x="454" y="291"/>
                      <a:pt x="454" y="291"/>
                    </a:cubicBezTo>
                    <a:cubicBezTo>
                      <a:pt x="452" y="292"/>
                      <a:pt x="452" y="292"/>
                      <a:pt x="452" y="292"/>
                    </a:cubicBezTo>
                    <a:cubicBezTo>
                      <a:pt x="452" y="291"/>
                      <a:pt x="452" y="291"/>
                      <a:pt x="452" y="291"/>
                    </a:cubicBezTo>
                    <a:cubicBezTo>
                      <a:pt x="453" y="289"/>
                      <a:pt x="453" y="289"/>
                      <a:pt x="453" y="289"/>
                    </a:cubicBezTo>
                    <a:cubicBezTo>
                      <a:pt x="452" y="287"/>
                      <a:pt x="452" y="287"/>
                      <a:pt x="452" y="287"/>
                    </a:cubicBezTo>
                    <a:cubicBezTo>
                      <a:pt x="451" y="285"/>
                      <a:pt x="451" y="285"/>
                      <a:pt x="451" y="285"/>
                    </a:cubicBezTo>
                    <a:cubicBezTo>
                      <a:pt x="452" y="283"/>
                      <a:pt x="452" y="283"/>
                      <a:pt x="452" y="283"/>
                    </a:cubicBezTo>
                    <a:cubicBezTo>
                      <a:pt x="452" y="280"/>
                      <a:pt x="452" y="280"/>
                      <a:pt x="452" y="280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51" y="278"/>
                      <a:pt x="451" y="278"/>
                      <a:pt x="451" y="278"/>
                    </a:cubicBezTo>
                    <a:cubicBezTo>
                      <a:pt x="450" y="277"/>
                      <a:pt x="450" y="277"/>
                      <a:pt x="450" y="277"/>
                    </a:cubicBezTo>
                    <a:cubicBezTo>
                      <a:pt x="450" y="275"/>
                      <a:pt x="450" y="275"/>
                      <a:pt x="450" y="275"/>
                    </a:cubicBezTo>
                    <a:cubicBezTo>
                      <a:pt x="448" y="273"/>
                      <a:pt x="448" y="273"/>
                      <a:pt x="448" y="273"/>
                    </a:cubicBezTo>
                    <a:cubicBezTo>
                      <a:pt x="448" y="270"/>
                      <a:pt x="448" y="270"/>
                      <a:pt x="448" y="270"/>
                    </a:cubicBezTo>
                    <a:cubicBezTo>
                      <a:pt x="447" y="267"/>
                      <a:pt x="447" y="267"/>
                      <a:pt x="447" y="267"/>
                    </a:cubicBezTo>
                    <a:cubicBezTo>
                      <a:pt x="446" y="267"/>
                      <a:pt x="446" y="267"/>
                      <a:pt x="446" y="267"/>
                    </a:cubicBezTo>
                    <a:cubicBezTo>
                      <a:pt x="446" y="267"/>
                      <a:pt x="446" y="267"/>
                      <a:pt x="446" y="267"/>
                    </a:cubicBezTo>
                    <a:cubicBezTo>
                      <a:pt x="446" y="264"/>
                      <a:pt x="446" y="264"/>
                      <a:pt x="446" y="264"/>
                    </a:cubicBezTo>
                    <a:cubicBezTo>
                      <a:pt x="445" y="264"/>
                      <a:pt x="445" y="264"/>
                      <a:pt x="445" y="264"/>
                    </a:cubicBezTo>
                    <a:cubicBezTo>
                      <a:pt x="443" y="265"/>
                      <a:pt x="443" y="265"/>
                      <a:pt x="443" y="265"/>
                    </a:cubicBezTo>
                    <a:cubicBezTo>
                      <a:pt x="442" y="264"/>
                      <a:pt x="442" y="264"/>
                      <a:pt x="442" y="264"/>
                    </a:cubicBezTo>
                    <a:cubicBezTo>
                      <a:pt x="441" y="264"/>
                      <a:pt x="441" y="264"/>
                      <a:pt x="441" y="264"/>
                    </a:cubicBezTo>
                    <a:cubicBezTo>
                      <a:pt x="440" y="263"/>
                      <a:pt x="440" y="263"/>
                      <a:pt x="440" y="263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2" y="260"/>
                      <a:pt x="442" y="260"/>
                      <a:pt x="442" y="260"/>
                    </a:cubicBezTo>
                    <a:cubicBezTo>
                      <a:pt x="442" y="257"/>
                      <a:pt x="442" y="257"/>
                      <a:pt x="442" y="257"/>
                    </a:cubicBezTo>
                    <a:cubicBezTo>
                      <a:pt x="441" y="256"/>
                      <a:pt x="441" y="256"/>
                      <a:pt x="441" y="256"/>
                    </a:cubicBezTo>
                    <a:cubicBezTo>
                      <a:pt x="442" y="255"/>
                      <a:pt x="442" y="255"/>
                      <a:pt x="442" y="255"/>
                    </a:cubicBezTo>
                    <a:cubicBezTo>
                      <a:pt x="442" y="251"/>
                      <a:pt x="442" y="251"/>
                      <a:pt x="442" y="251"/>
                    </a:cubicBezTo>
                    <a:cubicBezTo>
                      <a:pt x="441" y="250"/>
                      <a:pt x="441" y="250"/>
                      <a:pt x="441" y="250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445" y="246"/>
                      <a:pt x="445" y="246"/>
                      <a:pt x="445" y="246"/>
                    </a:cubicBezTo>
                    <a:cubicBezTo>
                      <a:pt x="446" y="245"/>
                      <a:pt x="446" y="245"/>
                      <a:pt x="446" y="245"/>
                    </a:cubicBezTo>
                    <a:cubicBezTo>
                      <a:pt x="447" y="245"/>
                      <a:pt x="447" y="245"/>
                      <a:pt x="447" y="245"/>
                    </a:cubicBezTo>
                    <a:cubicBezTo>
                      <a:pt x="448" y="246"/>
                      <a:pt x="448" y="246"/>
                      <a:pt x="448" y="246"/>
                    </a:cubicBezTo>
                    <a:cubicBezTo>
                      <a:pt x="451" y="245"/>
                      <a:pt x="451" y="245"/>
                      <a:pt x="451" y="245"/>
                    </a:cubicBezTo>
                    <a:cubicBezTo>
                      <a:pt x="452" y="245"/>
                      <a:pt x="452" y="245"/>
                      <a:pt x="452" y="245"/>
                    </a:cubicBezTo>
                    <a:cubicBezTo>
                      <a:pt x="453" y="247"/>
                      <a:pt x="453" y="247"/>
                      <a:pt x="453" y="247"/>
                    </a:cubicBezTo>
                    <a:cubicBezTo>
                      <a:pt x="452" y="247"/>
                      <a:pt x="452" y="247"/>
                      <a:pt x="452" y="247"/>
                    </a:cubicBezTo>
                    <a:cubicBezTo>
                      <a:pt x="451" y="248"/>
                      <a:pt x="451" y="248"/>
                      <a:pt x="451" y="248"/>
                    </a:cubicBezTo>
                    <a:cubicBezTo>
                      <a:pt x="451" y="249"/>
                      <a:pt x="451" y="249"/>
                      <a:pt x="451" y="249"/>
                    </a:cubicBezTo>
                    <a:cubicBezTo>
                      <a:pt x="453" y="249"/>
                      <a:pt x="453" y="249"/>
                      <a:pt x="453" y="249"/>
                    </a:cubicBezTo>
                    <a:cubicBezTo>
                      <a:pt x="453" y="250"/>
                      <a:pt x="453" y="250"/>
                      <a:pt x="453" y="250"/>
                    </a:cubicBezTo>
                    <a:cubicBezTo>
                      <a:pt x="453" y="252"/>
                      <a:pt x="453" y="252"/>
                      <a:pt x="453" y="252"/>
                    </a:cubicBezTo>
                    <a:cubicBezTo>
                      <a:pt x="456" y="255"/>
                      <a:pt x="456" y="255"/>
                      <a:pt x="456" y="255"/>
                    </a:cubicBezTo>
                    <a:cubicBezTo>
                      <a:pt x="456" y="256"/>
                      <a:pt x="456" y="256"/>
                      <a:pt x="456" y="256"/>
                    </a:cubicBezTo>
                    <a:cubicBezTo>
                      <a:pt x="457" y="258"/>
                      <a:pt x="457" y="258"/>
                      <a:pt x="457" y="258"/>
                    </a:cubicBezTo>
                    <a:cubicBezTo>
                      <a:pt x="459" y="258"/>
                      <a:pt x="459" y="258"/>
                      <a:pt x="459" y="258"/>
                    </a:cubicBezTo>
                    <a:cubicBezTo>
                      <a:pt x="459" y="257"/>
                      <a:pt x="459" y="257"/>
                      <a:pt x="459" y="257"/>
                    </a:cubicBezTo>
                    <a:cubicBezTo>
                      <a:pt x="459" y="256"/>
                      <a:pt x="459" y="256"/>
                      <a:pt x="459" y="256"/>
                    </a:cubicBezTo>
                    <a:cubicBezTo>
                      <a:pt x="460" y="255"/>
                      <a:pt x="460" y="255"/>
                      <a:pt x="460" y="255"/>
                    </a:cubicBezTo>
                    <a:cubicBezTo>
                      <a:pt x="461" y="253"/>
                      <a:pt x="461" y="253"/>
                      <a:pt x="461" y="253"/>
                    </a:cubicBezTo>
                    <a:cubicBezTo>
                      <a:pt x="461" y="252"/>
                      <a:pt x="461" y="252"/>
                      <a:pt x="461" y="252"/>
                    </a:cubicBezTo>
                    <a:cubicBezTo>
                      <a:pt x="462" y="250"/>
                      <a:pt x="462" y="250"/>
                      <a:pt x="462" y="250"/>
                    </a:cubicBezTo>
                    <a:cubicBezTo>
                      <a:pt x="463" y="249"/>
                      <a:pt x="463" y="249"/>
                      <a:pt x="463" y="249"/>
                    </a:cubicBezTo>
                    <a:cubicBezTo>
                      <a:pt x="462" y="247"/>
                      <a:pt x="462" y="247"/>
                      <a:pt x="462" y="247"/>
                    </a:cubicBezTo>
                    <a:cubicBezTo>
                      <a:pt x="463" y="246"/>
                      <a:pt x="463" y="246"/>
                      <a:pt x="463" y="246"/>
                    </a:cubicBezTo>
                    <a:cubicBezTo>
                      <a:pt x="464" y="246"/>
                      <a:pt x="464" y="246"/>
                      <a:pt x="464" y="246"/>
                    </a:cubicBezTo>
                    <a:cubicBezTo>
                      <a:pt x="466" y="246"/>
                      <a:pt x="466" y="246"/>
                      <a:pt x="466" y="246"/>
                    </a:cubicBezTo>
                    <a:cubicBezTo>
                      <a:pt x="466" y="248"/>
                      <a:pt x="466" y="248"/>
                      <a:pt x="466" y="248"/>
                    </a:cubicBezTo>
                    <a:cubicBezTo>
                      <a:pt x="468" y="248"/>
                      <a:pt x="468" y="248"/>
                      <a:pt x="468" y="248"/>
                    </a:cubicBezTo>
                    <a:cubicBezTo>
                      <a:pt x="468" y="247"/>
                      <a:pt x="468" y="247"/>
                      <a:pt x="468" y="247"/>
                    </a:cubicBezTo>
                    <a:cubicBezTo>
                      <a:pt x="466" y="245"/>
                      <a:pt x="466" y="245"/>
                      <a:pt x="466" y="245"/>
                    </a:cubicBezTo>
                    <a:cubicBezTo>
                      <a:pt x="466" y="243"/>
                      <a:pt x="466" y="243"/>
                      <a:pt x="466" y="243"/>
                    </a:cubicBezTo>
                    <a:cubicBezTo>
                      <a:pt x="465" y="243"/>
                      <a:pt x="465" y="243"/>
                      <a:pt x="465" y="243"/>
                    </a:cubicBezTo>
                    <a:cubicBezTo>
                      <a:pt x="464" y="245"/>
                      <a:pt x="464" y="245"/>
                      <a:pt x="464" y="245"/>
                    </a:cubicBezTo>
                    <a:cubicBezTo>
                      <a:pt x="462" y="245"/>
                      <a:pt x="462" y="245"/>
                      <a:pt x="462" y="245"/>
                    </a:cubicBezTo>
                    <a:cubicBezTo>
                      <a:pt x="460" y="243"/>
                      <a:pt x="460" y="243"/>
                      <a:pt x="460" y="243"/>
                    </a:cubicBezTo>
                    <a:cubicBezTo>
                      <a:pt x="460" y="241"/>
                      <a:pt x="460" y="241"/>
                      <a:pt x="460" y="241"/>
                    </a:cubicBezTo>
                    <a:cubicBezTo>
                      <a:pt x="459" y="239"/>
                      <a:pt x="459" y="239"/>
                      <a:pt x="459" y="239"/>
                    </a:cubicBezTo>
                    <a:cubicBezTo>
                      <a:pt x="459" y="237"/>
                      <a:pt x="459" y="237"/>
                      <a:pt x="459" y="237"/>
                    </a:cubicBezTo>
                    <a:cubicBezTo>
                      <a:pt x="460" y="236"/>
                      <a:pt x="460" y="236"/>
                      <a:pt x="460" y="236"/>
                    </a:cubicBezTo>
                    <a:cubicBezTo>
                      <a:pt x="462" y="236"/>
                      <a:pt x="462" y="236"/>
                      <a:pt x="462" y="236"/>
                    </a:cubicBezTo>
                    <a:cubicBezTo>
                      <a:pt x="462" y="234"/>
                      <a:pt x="462" y="234"/>
                      <a:pt x="462" y="234"/>
                    </a:cubicBezTo>
                    <a:cubicBezTo>
                      <a:pt x="463" y="235"/>
                      <a:pt x="463" y="235"/>
                      <a:pt x="463" y="235"/>
                    </a:cubicBezTo>
                    <a:cubicBezTo>
                      <a:pt x="464" y="237"/>
                      <a:pt x="464" y="237"/>
                      <a:pt x="464" y="237"/>
                    </a:cubicBezTo>
                    <a:cubicBezTo>
                      <a:pt x="465" y="241"/>
                      <a:pt x="465" y="241"/>
                      <a:pt x="465" y="241"/>
                    </a:cubicBezTo>
                    <a:cubicBezTo>
                      <a:pt x="465" y="241"/>
                      <a:pt x="465" y="241"/>
                      <a:pt x="465" y="241"/>
                    </a:cubicBezTo>
                    <a:cubicBezTo>
                      <a:pt x="466" y="239"/>
                      <a:pt x="466" y="239"/>
                      <a:pt x="466" y="239"/>
                    </a:cubicBezTo>
                    <a:cubicBezTo>
                      <a:pt x="467" y="238"/>
                      <a:pt x="467" y="238"/>
                      <a:pt x="467" y="238"/>
                    </a:cubicBezTo>
                    <a:cubicBezTo>
                      <a:pt x="466" y="236"/>
                      <a:pt x="466" y="236"/>
                      <a:pt x="466" y="236"/>
                    </a:cubicBezTo>
                    <a:cubicBezTo>
                      <a:pt x="465" y="235"/>
                      <a:pt x="465" y="235"/>
                      <a:pt x="465" y="235"/>
                    </a:cubicBezTo>
                    <a:cubicBezTo>
                      <a:pt x="465" y="233"/>
                      <a:pt x="465" y="233"/>
                      <a:pt x="465" y="233"/>
                    </a:cubicBezTo>
                    <a:cubicBezTo>
                      <a:pt x="464" y="231"/>
                      <a:pt x="464" y="231"/>
                      <a:pt x="464" y="231"/>
                    </a:cubicBezTo>
                    <a:cubicBezTo>
                      <a:pt x="465" y="231"/>
                      <a:pt x="465" y="231"/>
                      <a:pt x="465" y="231"/>
                    </a:cubicBezTo>
                    <a:cubicBezTo>
                      <a:pt x="466" y="229"/>
                      <a:pt x="466" y="229"/>
                      <a:pt x="466" y="229"/>
                    </a:cubicBezTo>
                    <a:cubicBezTo>
                      <a:pt x="468" y="228"/>
                      <a:pt x="468" y="228"/>
                      <a:pt x="468" y="228"/>
                    </a:cubicBezTo>
                    <a:cubicBezTo>
                      <a:pt x="468" y="228"/>
                      <a:pt x="468" y="228"/>
                      <a:pt x="468" y="228"/>
                    </a:cubicBezTo>
                    <a:cubicBezTo>
                      <a:pt x="469" y="228"/>
                      <a:pt x="469" y="228"/>
                      <a:pt x="469" y="228"/>
                    </a:cubicBezTo>
                    <a:cubicBezTo>
                      <a:pt x="471" y="230"/>
                      <a:pt x="471" y="230"/>
                      <a:pt x="471" y="230"/>
                    </a:cubicBezTo>
                    <a:cubicBezTo>
                      <a:pt x="473" y="231"/>
                      <a:pt x="473" y="231"/>
                      <a:pt x="473" y="231"/>
                    </a:cubicBezTo>
                    <a:cubicBezTo>
                      <a:pt x="474" y="229"/>
                      <a:pt x="474" y="229"/>
                      <a:pt x="474" y="229"/>
                    </a:cubicBezTo>
                    <a:cubicBezTo>
                      <a:pt x="472" y="229"/>
                      <a:pt x="472" y="229"/>
                      <a:pt x="472" y="229"/>
                    </a:cubicBezTo>
                    <a:cubicBezTo>
                      <a:pt x="471" y="228"/>
                      <a:pt x="471" y="228"/>
                      <a:pt x="471" y="228"/>
                    </a:cubicBezTo>
                    <a:cubicBezTo>
                      <a:pt x="472" y="227"/>
                      <a:pt x="472" y="227"/>
                      <a:pt x="472" y="227"/>
                    </a:cubicBezTo>
                    <a:cubicBezTo>
                      <a:pt x="474" y="227"/>
                      <a:pt x="474" y="227"/>
                      <a:pt x="474" y="227"/>
                    </a:cubicBezTo>
                    <a:cubicBezTo>
                      <a:pt x="476" y="227"/>
                      <a:pt x="476" y="227"/>
                      <a:pt x="476" y="227"/>
                    </a:cubicBezTo>
                    <a:cubicBezTo>
                      <a:pt x="477" y="228"/>
                      <a:pt x="477" y="228"/>
                      <a:pt x="477" y="228"/>
                    </a:cubicBezTo>
                    <a:cubicBezTo>
                      <a:pt x="476" y="229"/>
                      <a:pt x="476" y="229"/>
                      <a:pt x="476" y="229"/>
                    </a:cubicBezTo>
                    <a:cubicBezTo>
                      <a:pt x="476" y="230"/>
                      <a:pt x="476" y="230"/>
                      <a:pt x="476" y="230"/>
                    </a:cubicBezTo>
                    <a:cubicBezTo>
                      <a:pt x="477" y="231"/>
                      <a:pt x="477" y="231"/>
                      <a:pt x="477" y="231"/>
                    </a:cubicBezTo>
                    <a:cubicBezTo>
                      <a:pt x="479" y="233"/>
                      <a:pt x="479" y="233"/>
                      <a:pt x="479" y="233"/>
                    </a:cubicBezTo>
                    <a:cubicBezTo>
                      <a:pt x="480" y="232"/>
                      <a:pt x="480" y="232"/>
                      <a:pt x="480" y="232"/>
                    </a:cubicBezTo>
                    <a:cubicBezTo>
                      <a:pt x="482" y="233"/>
                      <a:pt x="482" y="233"/>
                      <a:pt x="482" y="233"/>
                    </a:cubicBezTo>
                    <a:cubicBezTo>
                      <a:pt x="484" y="233"/>
                      <a:pt x="484" y="233"/>
                      <a:pt x="484" y="233"/>
                    </a:cubicBezTo>
                    <a:cubicBezTo>
                      <a:pt x="485" y="232"/>
                      <a:pt x="485" y="232"/>
                      <a:pt x="485" y="232"/>
                    </a:cubicBezTo>
                    <a:cubicBezTo>
                      <a:pt x="487" y="233"/>
                      <a:pt x="487" y="233"/>
                      <a:pt x="487" y="233"/>
                    </a:cubicBezTo>
                    <a:cubicBezTo>
                      <a:pt x="492" y="233"/>
                      <a:pt x="492" y="233"/>
                      <a:pt x="492" y="233"/>
                    </a:cubicBezTo>
                    <a:cubicBezTo>
                      <a:pt x="493" y="234"/>
                      <a:pt x="493" y="234"/>
                      <a:pt x="493" y="234"/>
                    </a:cubicBezTo>
                    <a:cubicBezTo>
                      <a:pt x="494" y="234"/>
                      <a:pt x="494" y="234"/>
                      <a:pt x="494" y="234"/>
                    </a:cubicBezTo>
                    <a:cubicBezTo>
                      <a:pt x="495" y="235"/>
                      <a:pt x="495" y="235"/>
                      <a:pt x="495" y="235"/>
                    </a:cubicBezTo>
                    <a:cubicBezTo>
                      <a:pt x="494" y="236"/>
                      <a:pt x="494" y="236"/>
                      <a:pt x="494" y="236"/>
                    </a:cubicBezTo>
                    <a:cubicBezTo>
                      <a:pt x="495" y="238"/>
                      <a:pt x="495" y="238"/>
                      <a:pt x="495" y="238"/>
                    </a:cubicBezTo>
                    <a:cubicBezTo>
                      <a:pt x="494" y="239"/>
                      <a:pt x="494" y="239"/>
                      <a:pt x="494" y="239"/>
                    </a:cubicBezTo>
                    <a:cubicBezTo>
                      <a:pt x="491" y="241"/>
                      <a:pt x="491" y="241"/>
                      <a:pt x="491" y="241"/>
                    </a:cubicBezTo>
                    <a:cubicBezTo>
                      <a:pt x="490" y="240"/>
                      <a:pt x="490" y="240"/>
                      <a:pt x="490" y="240"/>
                    </a:cubicBezTo>
                    <a:cubicBezTo>
                      <a:pt x="490" y="239"/>
                      <a:pt x="490" y="239"/>
                      <a:pt x="490" y="239"/>
                    </a:cubicBezTo>
                    <a:cubicBezTo>
                      <a:pt x="489" y="240"/>
                      <a:pt x="489" y="240"/>
                      <a:pt x="489" y="240"/>
                    </a:cubicBezTo>
                    <a:cubicBezTo>
                      <a:pt x="487" y="241"/>
                      <a:pt x="487" y="241"/>
                      <a:pt x="487" y="241"/>
                    </a:cubicBezTo>
                    <a:cubicBezTo>
                      <a:pt x="488" y="242"/>
                      <a:pt x="488" y="242"/>
                      <a:pt x="488" y="242"/>
                    </a:cubicBezTo>
                    <a:cubicBezTo>
                      <a:pt x="490" y="243"/>
                      <a:pt x="490" y="243"/>
                      <a:pt x="490" y="243"/>
                    </a:cubicBezTo>
                    <a:cubicBezTo>
                      <a:pt x="489" y="244"/>
                      <a:pt x="489" y="244"/>
                      <a:pt x="489" y="244"/>
                    </a:cubicBezTo>
                    <a:cubicBezTo>
                      <a:pt x="489" y="247"/>
                      <a:pt x="489" y="247"/>
                      <a:pt x="489" y="247"/>
                    </a:cubicBezTo>
                    <a:cubicBezTo>
                      <a:pt x="488" y="247"/>
                      <a:pt x="488" y="247"/>
                      <a:pt x="488" y="247"/>
                    </a:cubicBezTo>
                    <a:cubicBezTo>
                      <a:pt x="487" y="247"/>
                      <a:pt x="487" y="247"/>
                      <a:pt x="487" y="247"/>
                    </a:cubicBezTo>
                    <a:cubicBezTo>
                      <a:pt x="486" y="247"/>
                      <a:pt x="486" y="247"/>
                      <a:pt x="486" y="247"/>
                    </a:cubicBezTo>
                    <a:cubicBezTo>
                      <a:pt x="484" y="247"/>
                      <a:pt x="484" y="247"/>
                      <a:pt x="484" y="247"/>
                    </a:cubicBezTo>
                    <a:cubicBezTo>
                      <a:pt x="483" y="248"/>
                      <a:pt x="483" y="248"/>
                      <a:pt x="483" y="248"/>
                    </a:cubicBezTo>
                    <a:cubicBezTo>
                      <a:pt x="479" y="249"/>
                      <a:pt x="479" y="249"/>
                      <a:pt x="479" y="249"/>
                    </a:cubicBezTo>
                    <a:cubicBezTo>
                      <a:pt x="477" y="251"/>
                      <a:pt x="477" y="251"/>
                      <a:pt x="477" y="251"/>
                    </a:cubicBezTo>
                    <a:cubicBezTo>
                      <a:pt x="476" y="251"/>
                      <a:pt x="476" y="251"/>
                      <a:pt x="476" y="251"/>
                    </a:cubicBezTo>
                    <a:cubicBezTo>
                      <a:pt x="474" y="254"/>
                      <a:pt x="474" y="254"/>
                      <a:pt x="474" y="254"/>
                    </a:cubicBezTo>
                    <a:cubicBezTo>
                      <a:pt x="475" y="255"/>
                      <a:pt x="475" y="255"/>
                      <a:pt x="475" y="255"/>
                    </a:cubicBezTo>
                    <a:cubicBezTo>
                      <a:pt x="476" y="255"/>
                      <a:pt x="476" y="255"/>
                      <a:pt x="476" y="255"/>
                    </a:cubicBezTo>
                    <a:cubicBezTo>
                      <a:pt x="476" y="254"/>
                      <a:pt x="476" y="254"/>
                      <a:pt x="476" y="254"/>
                    </a:cubicBezTo>
                    <a:cubicBezTo>
                      <a:pt x="479" y="253"/>
                      <a:pt x="479" y="253"/>
                      <a:pt x="479" y="253"/>
                    </a:cubicBezTo>
                    <a:cubicBezTo>
                      <a:pt x="480" y="253"/>
                      <a:pt x="480" y="253"/>
                      <a:pt x="480" y="253"/>
                    </a:cubicBezTo>
                    <a:cubicBezTo>
                      <a:pt x="483" y="254"/>
                      <a:pt x="483" y="254"/>
                      <a:pt x="483" y="254"/>
                    </a:cubicBezTo>
                    <a:cubicBezTo>
                      <a:pt x="484" y="256"/>
                      <a:pt x="484" y="256"/>
                      <a:pt x="484" y="256"/>
                    </a:cubicBezTo>
                    <a:cubicBezTo>
                      <a:pt x="483" y="257"/>
                      <a:pt x="483" y="257"/>
                      <a:pt x="483" y="257"/>
                    </a:cubicBezTo>
                    <a:cubicBezTo>
                      <a:pt x="482" y="257"/>
                      <a:pt x="482" y="257"/>
                      <a:pt x="482" y="257"/>
                    </a:cubicBezTo>
                    <a:cubicBezTo>
                      <a:pt x="483" y="258"/>
                      <a:pt x="483" y="258"/>
                      <a:pt x="483" y="258"/>
                    </a:cubicBezTo>
                    <a:cubicBezTo>
                      <a:pt x="483" y="259"/>
                      <a:pt x="483" y="259"/>
                      <a:pt x="483" y="259"/>
                    </a:cubicBezTo>
                    <a:cubicBezTo>
                      <a:pt x="483" y="261"/>
                      <a:pt x="483" y="261"/>
                      <a:pt x="483" y="261"/>
                    </a:cubicBezTo>
                    <a:cubicBezTo>
                      <a:pt x="482" y="262"/>
                      <a:pt x="482" y="262"/>
                      <a:pt x="482" y="262"/>
                    </a:cubicBezTo>
                    <a:cubicBezTo>
                      <a:pt x="482" y="264"/>
                      <a:pt x="482" y="264"/>
                      <a:pt x="482" y="264"/>
                    </a:cubicBezTo>
                    <a:cubicBezTo>
                      <a:pt x="482" y="265"/>
                      <a:pt x="482" y="265"/>
                      <a:pt x="482" y="265"/>
                    </a:cubicBezTo>
                    <a:cubicBezTo>
                      <a:pt x="483" y="263"/>
                      <a:pt x="483" y="263"/>
                      <a:pt x="483" y="263"/>
                    </a:cubicBezTo>
                    <a:cubicBezTo>
                      <a:pt x="485" y="262"/>
                      <a:pt x="485" y="262"/>
                      <a:pt x="485" y="262"/>
                    </a:cubicBezTo>
                    <a:cubicBezTo>
                      <a:pt x="486" y="261"/>
                      <a:pt x="486" y="261"/>
                      <a:pt x="486" y="261"/>
                    </a:cubicBezTo>
                    <a:cubicBezTo>
                      <a:pt x="487" y="261"/>
                      <a:pt x="487" y="261"/>
                      <a:pt x="487" y="261"/>
                    </a:cubicBezTo>
                    <a:cubicBezTo>
                      <a:pt x="486" y="263"/>
                      <a:pt x="486" y="263"/>
                      <a:pt x="486" y="263"/>
                    </a:cubicBezTo>
                    <a:cubicBezTo>
                      <a:pt x="486" y="265"/>
                      <a:pt x="486" y="265"/>
                      <a:pt x="486" y="265"/>
                    </a:cubicBezTo>
                    <a:cubicBezTo>
                      <a:pt x="485" y="268"/>
                      <a:pt x="485" y="268"/>
                      <a:pt x="485" y="268"/>
                    </a:cubicBezTo>
                    <a:cubicBezTo>
                      <a:pt x="485" y="270"/>
                      <a:pt x="485" y="270"/>
                      <a:pt x="485" y="270"/>
                    </a:cubicBezTo>
                    <a:cubicBezTo>
                      <a:pt x="482" y="272"/>
                      <a:pt x="482" y="272"/>
                      <a:pt x="482" y="272"/>
                    </a:cubicBezTo>
                    <a:cubicBezTo>
                      <a:pt x="481" y="272"/>
                      <a:pt x="481" y="272"/>
                      <a:pt x="481" y="272"/>
                    </a:cubicBezTo>
                    <a:cubicBezTo>
                      <a:pt x="480" y="273"/>
                      <a:pt x="480" y="273"/>
                      <a:pt x="480" y="273"/>
                    </a:cubicBezTo>
                    <a:cubicBezTo>
                      <a:pt x="481" y="274"/>
                      <a:pt x="481" y="274"/>
                      <a:pt x="481" y="274"/>
                    </a:cubicBezTo>
                    <a:cubicBezTo>
                      <a:pt x="480" y="277"/>
                      <a:pt x="480" y="277"/>
                      <a:pt x="480" y="277"/>
                    </a:cubicBezTo>
                    <a:cubicBezTo>
                      <a:pt x="479" y="277"/>
                      <a:pt x="479" y="277"/>
                      <a:pt x="479" y="277"/>
                    </a:cubicBezTo>
                    <a:cubicBezTo>
                      <a:pt x="478" y="276"/>
                      <a:pt x="478" y="276"/>
                      <a:pt x="478" y="276"/>
                    </a:cubicBezTo>
                    <a:cubicBezTo>
                      <a:pt x="477" y="277"/>
                      <a:pt x="477" y="277"/>
                      <a:pt x="477" y="277"/>
                    </a:cubicBezTo>
                    <a:cubicBezTo>
                      <a:pt x="477" y="278"/>
                      <a:pt x="477" y="278"/>
                      <a:pt x="477" y="278"/>
                    </a:cubicBezTo>
                    <a:cubicBezTo>
                      <a:pt x="480" y="279"/>
                      <a:pt x="480" y="279"/>
                      <a:pt x="480" y="279"/>
                    </a:cubicBezTo>
                    <a:cubicBezTo>
                      <a:pt x="479" y="280"/>
                      <a:pt x="479" y="280"/>
                      <a:pt x="479" y="280"/>
                    </a:cubicBezTo>
                    <a:cubicBezTo>
                      <a:pt x="477" y="280"/>
                      <a:pt x="477" y="280"/>
                      <a:pt x="477" y="280"/>
                    </a:cubicBezTo>
                    <a:cubicBezTo>
                      <a:pt x="478" y="282"/>
                      <a:pt x="478" y="282"/>
                      <a:pt x="478" y="282"/>
                    </a:cubicBezTo>
                    <a:cubicBezTo>
                      <a:pt x="476" y="284"/>
                      <a:pt x="476" y="284"/>
                      <a:pt x="476" y="284"/>
                    </a:cubicBezTo>
                    <a:cubicBezTo>
                      <a:pt x="475" y="283"/>
                      <a:pt x="475" y="283"/>
                      <a:pt x="475" y="283"/>
                    </a:cubicBezTo>
                    <a:cubicBezTo>
                      <a:pt x="474" y="284"/>
                      <a:pt x="474" y="284"/>
                      <a:pt x="474" y="284"/>
                    </a:cubicBezTo>
                    <a:cubicBezTo>
                      <a:pt x="472" y="284"/>
                      <a:pt x="472" y="284"/>
                      <a:pt x="472" y="284"/>
                    </a:cubicBezTo>
                    <a:cubicBezTo>
                      <a:pt x="470" y="285"/>
                      <a:pt x="470" y="285"/>
                      <a:pt x="470" y="285"/>
                    </a:cubicBezTo>
                    <a:cubicBezTo>
                      <a:pt x="470" y="287"/>
                      <a:pt x="470" y="287"/>
                      <a:pt x="470" y="287"/>
                    </a:cubicBezTo>
                    <a:cubicBezTo>
                      <a:pt x="467" y="288"/>
                      <a:pt x="467" y="288"/>
                      <a:pt x="467" y="288"/>
                    </a:cubicBezTo>
                    <a:cubicBezTo>
                      <a:pt x="465" y="286"/>
                      <a:pt x="465" y="286"/>
                      <a:pt x="465" y="286"/>
                    </a:cubicBezTo>
                    <a:cubicBezTo>
                      <a:pt x="463" y="287"/>
                      <a:pt x="463" y="287"/>
                      <a:pt x="463" y="287"/>
                    </a:cubicBezTo>
                    <a:cubicBezTo>
                      <a:pt x="462" y="287"/>
                      <a:pt x="462" y="287"/>
                      <a:pt x="462" y="287"/>
                    </a:cubicBezTo>
                    <a:cubicBezTo>
                      <a:pt x="461" y="283"/>
                      <a:pt x="461" y="283"/>
                      <a:pt x="461" y="283"/>
                    </a:cubicBezTo>
                    <a:cubicBezTo>
                      <a:pt x="463" y="280"/>
                      <a:pt x="463" y="280"/>
                      <a:pt x="463" y="280"/>
                    </a:cubicBezTo>
                    <a:cubicBezTo>
                      <a:pt x="463" y="279"/>
                      <a:pt x="463" y="279"/>
                      <a:pt x="463" y="279"/>
                    </a:cubicBezTo>
                    <a:cubicBezTo>
                      <a:pt x="460" y="282"/>
                      <a:pt x="460" y="282"/>
                      <a:pt x="460" y="282"/>
                    </a:cubicBezTo>
                    <a:cubicBezTo>
                      <a:pt x="460" y="284"/>
                      <a:pt x="460" y="284"/>
                      <a:pt x="460" y="284"/>
                    </a:cubicBezTo>
                    <a:cubicBezTo>
                      <a:pt x="461" y="288"/>
                      <a:pt x="461" y="288"/>
                      <a:pt x="461" y="288"/>
                    </a:cubicBezTo>
                    <a:cubicBezTo>
                      <a:pt x="462" y="289"/>
                      <a:pt x="462" y="289"/>
                      <a:pt x="462" y="289"/>
                    </a:cubicBezTo>
                    <a:cubicBezTo>
                      <a:pt x="461" y="290"/>
                      <a:pt x="461" y="290"/>
                      <a:pt x="461" y="290"/>
                    </a:cubicBezTo>
                    <a:cubicBezTo>
                      <a:pt x="459" y="292"/>
                      <a:pt x="459" y="292"/>
                      <a:pt x="459" y="292"/>
                    </a:cubicBezTo>
                    <a:cubicBezTo>
                      <a:pt x="458" y="294"/>
                      <a:pt x="458" y="294"/>
                      <a:pt x="458" y="294"/>
                    </a:cubicBezTo>
                    <a:cubicBezTo>
                      <a:pt x="458" y="294"/>
                      <a:pt x="456" y="295"/>
                      <a:pt x="456" y="295"/>
                    </a:cubicBezTo>
                    <a:close/>
                    <a:moveTo>
                      <a:pt x="488" y="249"/>
                    </a:moveTo>
                    <a:cubicBezTo>
                      <a:pt x="488" y="250"/>
                      <a:pt x="488" y="250"/>
                      <a:pt x="488" y="250"/>
                    </a:cubicBezTo>
                    <a:cubicBezTo>
                      <a:pt x="489" y="250"/>
                      <a:pt x="489" y="250"/>
                      <a:pt x="489" y="250"/>
                    </a:cubicBezTo>
                    <a:cubicBezTo>
                      <a:pt x="489" y="249"/>
                      <a:pt x="489" y="249"/>
                      <a:pt x="489" y="249"/>
                    </a:cubicBezTo>
                    <a:cubicBezTo>
                      <a:pt x="488" y="249"/>
                      <a:pt x="488" y="249"/>
                      <a:pt x="488" y="249"/>
                    </a:cubicBezTo>
                    <a:close/>
                    <a:moveTo>
                      <a:pt x="487" y="257"/>
                    </a:moveTo>
                    <a:cubicBezTo>
                      <a:pt x="488" y="256"/>
                      <a:pt x="488" y="256"/>
                      <a:pt x="488" y="256"/>
                    </a:cubicBezTo>
                    <a:cubicBezTo>
                      <a:pt x="489" y="254"/>
                      <a:pt x="489" y="254"/>
                      <a:pt x="489" y="254"/>
                    </a:cubicBezTo>
                    <a:cubicBezTo>
                      <a:pt x="489" y="253"/>
                      <a:pt x="489" y="253"/>
                      <a:pt x="489" y="253"/>
                    </a:cubicBezTo>
                    <a:cubicBezTo>
                      <a:pt x="489" y="252"/>
                      <a:pt x="489" y="252"/>
                      <a:pt x="489" y="252"/>
                    </a:cubicBezTo>
                    <a:cubicBezTo>
                      <a:pt x="488" y="251"/>
                      <a:pt x="488" y="251"/>
                      <a:pt x="488" y="251"/>
                    </a:cubicBezTo>
                    <a:cubicBezTo>
                      <a:pt x="487" y="251"/>
                      <a:pt x="487" y="251"/>
                      <a:pt x="487" y="251"/>
                    </a:cubicBezTo>
                    <a:cubicBezTo>
                      <a:pt x="487" y="253"/>
                      <a:pt x="487" y="253"/>
                      <a:pt x="487" y="253"/>
                    </a:cubicBezTo>
                    <a:cubicBezTo>
                      <a:pt x="486" y="253"/>
                      <a:pt x="486" y="253"/>
                      <a:pt x="486" y="253"/>
                    </a:cubicBezTo>
                    <a:cubicBezTo>
                      <a:pt x="486" y="256"/>
                      <a:pt x="486" y="256"/>
                      <a:pt x="486" y="256"/>
                    </a:cubicBezTo>
                    <a:cubicBezTo>
                      <a:pt x="487" y="257"/>
                      <a:pt x="487" y="257"/>
                      <a:pt x="487" y="257"/>
                    </a:cubicBezTo>
                    <a:close/>
                    <a:moveTo>
                      <a:pt x="486" y="261"/>
                    </a:moveTo>
                    <a:cubicBezTo>
                      <a:pt x="486" y="260"/>
                      <a:pt x="486" y="260"/>
                      <a:pt x="486" y="260"/>
                    </a:cubicBezTo>
                    <a:cubicBezTo>
                      <a:pt x="487" y="258"/>
                      <a:pt x="487" y="258"/>
                      <a:pt x="487" y="258"/>
                    </a:cubicBezTo>
                    <a:cubicBezTo>
                      <a:pt x="486" y="258"/>
                      <a:pt x="486" y="258"/>
                      <a:pt x="486" y="258"/>
                    </a:cubicBezTo>
                    <a:cubicBezTo>
                      <a:pt x="485" y="259"/>
                      <a:pt x="485" y="259"/>
                      <a:pt x="485" y="259"/>
                    </a:cubicBezTo>
                    <a:cubicBezTo>
                      <a:pt x="484" y="260"/>
                      <a:pt x="484" y="260"/>
                      <a:pt x="484" y="260"/>
                    </a:cubicBezTo>
                    <a:cubicBezTo>
                      <a:pt x="486" y="261"/>
                      <a:pt x="486" y="261"/>
                      <a:pt x="486" y="261"/>
                    </a:cubicBezTo>
                    <a:close/>
                    <a:moveTo>
                      <a:pt x="412" y="219"/>
                    </a:moveTo>
                    <a:cubicBezTo>
                      <a:pt x="412" y="220"/>
                      <a:pt x="412" y="220"/>
                      <a:pt x="412" y="220"/>
                    </a:cubicBezTo>
                    <a:cubicBezTo>
                      <a:pt x="412" y="220"/>
                      <a:pt x="412" y="220"/>
                      <a:pt x="412" y="220"/>
                    </a:cubicBezTo>
                    <a:cubicBezTo>
                      <a:pt x="413" y="220"/>
                      <a:pt x="413" y="220"/>
                      <a:pt x="413" y="220"/>
                    </a:cubicBezTo>
                    <a:cubicBezTo>
                      <a:pt x="415" y="221"/>
                      <a:pt x="415" y="221"/>
                      <a:pt x="415" y="221"/>
                    </a:cubicBezTo>
                    <a:cubicBezTo>
                      <a:pt x="415" y="220"/>
                      <a:pt x="415" y="220"/>
                      <a:pt x="415" y="220"/>
                    </a:cubicBezTo>
                    <a:cubicBezTo>
                      <a:pt x="415" y="219"/>
                      <a:pt x="415" y="219"/>
                      <a:pt x="415" y="219"/>
                    </a:cubicBezTo>
                    <a:cubicBezTo>
                      <a:pt x="412" y="218"/>
                      <a:pt x="412" y="218"/>
                      <a:pt x="412" y="218"/>
                    </a:cubicBezTo>
                    <a:cubicBezTo>
                      <a:pt x="412" y="219"/>
                      <a:pt x="412" y="219"/>
                      <a:pt x="412" y="219"/>
                    </a:cubicBezTo>
                    <a:close/>
                    <a:moveTo>
                      <a:pt x="424" y="243"/>
                    </a:moveTo>
                    <a:cubicBezTo>
                      <a:pt x="423" y="242"/>
                      <a:pt x="423" y="242"/>
                      <a:pt x="423" y="242"/>
                    </a:cubicBezTo>
                    <a:cubicBezTo>
                      <a:pt x="423" y="238"/>
                      <a:pt x="423" y="238"/>
                      <a:pt x="423" y="238"/>
                    </a:cubicBezTo>
                    <a:cubicBezTo>
                      <a:pt x="421" y="236"/>
                      <a:pt x="421" y="236"/>
                      <a:pt x="421" y="236"/>
                    </a:cubicBezTo>
                    <a:cubicBezTo>
                      <a:pt x="421" y="234"/>
                      <a:pt x="421" y="234"/>
                      <a:pt x="421" y="234"/>
                    </a:cubicBezTo>
                    <a:cubicBezTo>
                      <a:pt x="422" y="233"/>
                      <a:pt x="422" y="233"/>
                      <a:pt x="422" y="233"/>
                    </a:cubicBezTo>
                    <a:cubicBezTo>
                      <a:pt x="421" y="231"/>
                      <a:pt x="421" y="231"/>
                      <a:pt x="421" y="231"/>
                    </a:cubicBezTo>
                    <a:cubicBezTo>
                      <a:pt x="421" y="228"/>
                      <a:pt x="421" y="228"/>
                      <a:pt x="421" y="228"/>
                    </a:cubicBezTo>
                    <a:cubicBezTo>
                      <a:pt x="420" y="226"/>
                      <a:pt x="420" y="226"/>
                      <a:pt x="420" y="226"/>
                    </a:cubicBezTo>
                    <a:cubicBezTo>
                      <a:pt x="418" y="225"/>
                      <a:pt x="418" y="225"/>
                      <a:pt x="418" y="225"/>
                    </a:cubicBezTo>
                    <a:cubicBezTo>
                      <a:pt x="418" y="223"/>
                      <a:pt x="418" y="223"/>
                      <a:pt x="418" y="223"/>
                    </a:cubicBezTo>
                    <a:cubicBezTo>
                      <a:pt x="421" y="221"/>
                      <a:pt x="421" y="221"/>
                      <a:pt x="421" y="221"/>
                    </a:cubicBezTo>
                    <a:cubicBezTo>
                      <a:pt x="423" y="220"/>
                      <a:pt x="423" y="220"/>
                      <a:pt x="423" y="220"/>
                    </a:cubicBezTo>
                    <a:cubicBezTo>
                      <a:pt x="424" y="219"/>
                      <a:pt x="424" y="219"/>
                      <a:pt x="424" y="219"/>
                    </a:cubicBezTo>
                    <a:cubicBezTo>
                      <a:pt x="427" y="218"/>
                      <a:pt x="427" y="218"/>
                      <a:pt x="427" y="218"/>
                    </a:cubicBezTo>
                    <a:cubicBezTo>
                      <a:pt x="428" y="220"/>
                      <a:pt x="428" y="220"/>
                      <a:pt x="428" y="220"/>
                    </a:cubicBezTo>
                    <a:cubicBezTo>
                      <a:pt x="430" y="220"/>
                      <a:pt x="430" y="220"/>
                      <a:pt x="430" y="220"/>
                    </a:cubicBezTo>
                    <a:cubicBezTo>
                      <a:pt x="431" y="221"/>
                      <a:pt x="431" y="221"/>
                      <a:pt x="431" y="221"/>
                    </a:cubicBezTo>
                    <a:cubicBezTo>
                      <a:pt x="432" y="220"/>
                      <a:pt x="432" y="220"/>
                      <a:pt x="432" y="220"/>
                    </a:cubicBezTo>
                    <a:cubicBezTo>
                      <a:pt x="434" y="221"/>
                      <a:pt x="434" y="221"/>
                      <a:pt x="434" y="221"/>
                    </a:cubicBezTo>
                    <a:cubicBezTo>
                      <a:pt x="435" y="221"/>
                      <a:pt x="435" y="221"/>
                      <a:pt x="435" y="221"/>
                    </a:cubicBezTo>
                    <a:cubicBezTo>
                      <a:pt x="437" y="221"/>
                      <a:pt x="437" y="221"/>
                      <a:pt x="437" y="221"/>
                    </a:cubicBezTo>
                    <a:cubicBezTo>
                      <a:pt x="439" y="223"/>
                      <a:pt x="439" y="223"/>
                      <a:pt x="439" y="223"/>
                    </a:cubicBezTo>
                    <a:cubicBezTo>
                      <a:pt x="439" y="225"/>
                      <a:pt x="439" y="225"/>
                      <a:pt x="439" y="225"/>
                    </a:cubicBezTo>
                    <a:cubicBezTo>
                      <a:pt x="438" y="226"/>
                      <a:pt x="438" y="226"/>
                      <a:pt x="438" y="226"/>
                    </a:cubicBezTo>
                    <a:cubicBezTo>
                      <a:pt x="439" y="228"/>
                      <a:pt x="439" y="228"/>
                      <a:pt x="439" y="228"/>
                    </a:cubicBezTo>
                    <a:cubicBezTo>
                      <a:pt x="439" y="229"/>
                      <a:pt x="439" y="229"/>
                      <a:pt x="439" y="229"/>
                    </a:cubicBezTo>
                    <a:cubicBezTo>
                      <a:pt x="438" y="230"/>
                      <a:pt x="438" y="230"/>
                      <a:pt x="438" y="230"/>
                    </a:cubicBezTo>
                    <a:cubicBezTo>
                      <a:pt x="438" y="231"/>
                      <a:pt x="438" y="231"/>
                      <a:pt x="438" y="231"/>
                    </a:cubicBezTo>
                    <a:cubicBezTo>
                      <a:pt x="436" y="234"/>
                      <a:pt x="436" y="234"/>
                      <a:pt x="436" y="234"/>
                    </a:cubicBezTo>
                    <a:cubicBezTo>
                      <a:pt x="435" y="234"/>
                      <a:pt x="435" y="234"/>
                      <a:pt x="435" y="234"/>
                    </a:cubicBezTo>
                    <a:cubicBezTo>
                      <a:pt x="432" y="236"/>
                      <a:pt x="432" y="236"/>
                      <a:pt x="432" y="236"/>
                    </a:cubicBezTo>
                    <a:cubicBezTo>
                      <a:pt x="430" y="238"/>
                      <a:pt x="430" y="238"/>
                      <a:pt x="430" y="238"/>
                    </a:cubicBezTo>
                    <a:cubicBezTo>
                      <a:pt x="428" y="241"/>
                      <a:pt x="428" y="241"/>
                      <a:pt x="428" y="241"/>
                    </a:cubicBezTo>
                    <a:cubicBezTo>
                      <a:pt x="426" y="241"/>
                      <a:pt x="426" y="241"/>
                      <a:pt x="426" y="241"/>
                    </a:cubicBezTo>
                    <a:cubicBezTo>
                      <a:pt x="425" y="241"/>
                      <a:pt x="425" y="241"/>
                      <a:pt x="425" y="241"/>
                    </a:cubicBezTo>
                    <a:cubicBezTo>
                      <a:pt x="425" y="243"/>
                      <a:pt x="425" y="243"/>
                      <a:pt x="425" y="243"/>
                    </a:cubicBezTo>
                    <a:cubicBezTo>
                      <a:pt x="424" y="243"/>
                      <a:pt x="424" y="243"/>
                      <a:pt x="424" y="243"/>
                    </a:cubicBezTo>
                    <a:close/>
                    <a:moveTo>
                      <a:pt x="494" y="284"/>
                    </a:moveTo>
                    <a:cubicBezTo>
                      <a:pt x="491" y="281"/>
                      <a:pt x="491" y="281"/>
                      <a:pt x="491" y="281"/>
                    </a:cubicBezTo>
                    <a:cubicBezTo>
                      <a:pt x="489" y="282"/>
                      <a:pt x="489" y="282"/>
                      <a:pt x="489" y="282"/>
                    </a:cubicBezTo>
                    <a:cubicBezTo>
                      <a:pt x="486" y="282"/>
                      <a:pt x="486" y="282"/>
                      <a:pt x="486" y="282"/>
                    </a:cubicBezTo>
                    <a:cubicBezTo>
                      <a:pt x="487" y="279"/>
                      <a:pt x="487" y="279"/>
                      <a:pt x="487" y="279"/>
                    </a:cubicBezTo>
                    <a:cubicBezTo>
                      <a:pt x="489" y="279"/>
                      <a:pt x="489" y="279"/>
                      <a:pt x="489" y="279"/>
                    </a:cubicBezTo>
                    <a:cubicBezTo>
                      <a:pt x="490" y="279"/>
                      <a:pt x="490" y="279"/>
                      <a:pt x="490" y="279"/>
                    </a:cubicBezTo>
                    <a:cubicBezTo>
                      <a:pt x="491" y="279"/>
                      <a:pt x="491" y="279"/>
                      <a:pt x="491" y="279"/>
                    </a:cubicBezTo>
                    <a:cubicBezTo>
                      <a:pt x="490" y="278"/>
                      <a:pt x="490" y="278"/>
                      <a:pt x="490" y="278"/>
                    </a:cubicBezTo>
                    <a:cubicBezTo>
                      <a:pt x="489" y="278"/>
                      <a:pt x="489" y="278"/>
                      <a:pt x="489" y="278"/>
                    </a:cubicBezTo>
                    <a:cubicBezTo>
                      <a:pt x="488" y="277"/>
                      <a:pt x="488" y="277"/>
                      <a:pt x="488" y="277"/>
                    </a:cubicBezTo>
                    <a:cubicBezTo>
                      <a:pt x="490" y="274"/>
                      <a:pt x="490" y="274"/>
                      <a:pt x="490" y="274"/>
                    </a:cubicBezTo>
                    <a:cubicBezTo>
                      <a:pt x="492" y="271"/>
                      <a:pt x="492" y="271"/>
                      <a:pt x="492" y="271"/>
                    </a:cubicBezTo>
                    <a:cubicBezTo>
                      <a:pt x="491" y="269"/>
                      <a:pt x="491" y="269"/>
                      <a:pt x="491" y="269"/>
                    </a:cubicBezTo>
                    <a:cubicBezTo>
                      <a:pt x="492" y="268"/>
                      <a:pt x="492" y="268"/>
                      <a:pt x="492" y="268"/>
                    </a:cubicBezTo>
                    <a:cubicBezTo>
                      <a:pt x="492" y="267"/>
                      <a:pt x="492" y="267"/>
                      <a:pt x="492" y="267"/>
                    </a:cubicBezTo>
                    <a:cubicBezTo>
                      <a:pt x="491" y="266"/>
                      <a:pt x="491" y="266"/>
                      <a:pt x="491" y="266"/>
                    </a:cubicBezTo>
                    <a:cubicBezTo>
                      <a:pt x="492" y="264"/>
                      <a:pt x="492" y="264"/>
                      <a:pt x="492" y="264"/>
                    </a:cubicBezTo>
                    <a:cubicBezTo>
                      <a:pt x="492" y="262"/>
                      <a:pt x="492" y="262"/>
                      <a:pt x="492" y="262"/>
                    </a:cubicBezTo>
                    <a:cubicBezTo>
                      <a:pt x="494" y="258"/>
                      <a:pt x="494" y="258"/>
                      <a:pt x="494" y="258"/>
                    </a:cubicBezTo>
                    <a:cubicBezTo>
                      <a:pt x="495" y="257"/>
                      <a:pt x="495" y="257"/>
                      <a:pt x="495" y="257"/>
                    </a:cubicBezTo>
                    <a:cubicBezTo>
                      <a:pt x="495" y="256"/>
                      <a:pt x="495" y="256"/>
                      <a:pt x="495" y="256"/>
                    </a:cubicBezTo>
                    <a:cubicBezTo>
                      <a:pt x="497" y="254"/>
                      <a:pt x="497" y="254"/>
                      <a:pt x="497" y="254"/>
                    </a:cubicBezTo>
                    <a:cubicBezTo>
                      <a:pt x="498" y="252"/>
                      <a:pt x="498" y="252"/>
                      <a:pt x="498" y="252"/>
                    </a:cubicBezTo>
                    <a:cubicBezTo>
                      <a:pt x="498" y="251"/>
                      <a:pt x="498" y="251"/>
                      <a:pt x="498" y="251"/>
                    </a:cubicBezTo>
                    <a:cubicBezTo>
                      <a:pt x="498" y="249"/>
                      <a:pt x="498" y="249"/>
                      <a:pt x="498" y="249"/>
                    </a:cubicBezTo>
                    <a:cubicBezTo>
                      <a:pt x="501" y="246"/>
                      <a:pt x="501" y="246"/>
                      <a:pt x="501" y="246"/>
                    </a:cubicBezTo>
                    <a:cubicBezTo>
                      <a:pt x="501" y="243"/>
                      <a:pt x="501" y="243"/>
                      <a:pt x="501" y="243"/>
                    </a:cubicBezTo>
                    <a:cubicBezTo>
                      <a:pt x="503" y="243"/>
                      <a:pt x="503" y="243"/>
                      <a:pt x="503" y="243"/>
                    </a:cubicBezTo>
                    <a:cubicBezTo>
                      <a:pt x="503" y="242"/>
                      <a:pt x="503" y="242"/>
                      <a:pt x="503" y="242"/>
                    </a:cubicBezTo>
                    <a:cubicBezTo>
                      <a:pt x="503" y="241"/>
                      <a:pt x="503" y="241"/>
                      <a:pt x="503" y="241"/>
                    </a:cubicBezTo>
                    <a:cubicBezTo>
                      <a:pt x="504" y="239"/>
                      <a:pt x="504" y="239"/>
                      <a:pt x="504" y="239"/>
                    </a:cubicBezTo>
                    <a:cubicBezTo>
                      <a:pt x="505" y="239"/>
                      <a:pt x="505" y="239"/>
                      <a:pt x="505" y="239"/>
                    </a:cubicBezTo>
                    <a:cubicBezTo>
                      <a:pt x="507" y="241"/>
                      <a:pt x="507" y="241"/>
                      <a:pt x="507" y="241"/>
                    </a:cubicBezTo>
                    <a:cubicBezTo>
                      <a:pt x="507" y="243"/>
                      <a:pt x="507" y="243"/>
                      <a:pt x="507" y="243"/>
                    </a:cubicBezTo>
                    <a:cubicBezTo>
                      <a:pt x="509" y="243"/>
                      <a:pt x="509" y="243"/>
                      <a:pt x="509" y="243"/>
                    </a:cubicBezTo>
                    <a:cubicBezTo>
                      <a:pt x="509" y="241"/>
                      <a:pt x="509" y="241"/>
                      <a:pt x="509" y="241"/>
                    </a:cubicBezTo>
                    <a:cubicBezTo>
                      <a:pt x="508" y="240"/>
                      <a:pt x="508" y="240"/>
                      <a:pt x="508" y="240"/>
                    </a:cubicBezTo>
                    <a:cubicBezTo>
                      <a:pt x="508" y="239"/>
                      <a:pt x="508" y="239"/>
                      <a:pt x="508" y="239"/>
                    </a:cubicBezTo>
                    <a:cubicBezTo>
                      <a:pt x="509" y="238"/>
                      <a:pt x="509" y="238"/>
                      <a:pt x="509" y="238"/>
                    </a:cubicBezTo>
                    <a:cubicBezTo>
                      <a:pt x="508" y="236"/>
                      <a:pt x="508" y="236"/>
                      <a:pt x="508" y="236"/>
                    </a:cubicBezTo>
                    <a:cubicBezTo>
                      <a:pt x="509" y="234"/>
                      <a:pt x="509" y="234"/>
                      <a:pt x="509" y="234"/>
                    </a:cubicBezTo>
                    <a:cubicBezTo>
                      <a:pt x="514" y="233"/>
                      <a:pt x="514" y="233"/>
                      <a:pt x="514" y="233"/>
                    </a:cubicBezTo>
                    <a:cubicBezTo>
                      <a:pt x="516" y="233"/>
                      <a:pt x="516" y="233"/>
                      <a:pt x="516" y="233"/>
                    </a:cubicBezTo>
                    <a:cubicBezTo>
                      <a:pt x="518" y="232"/>
                      <a:pt x="518" y="232"/>
                      <a:pt x="518" y="232"/>
                    </a:cubicBezTo>
                    <a:cubicBezTo>
                      <a:pt x="519" y="233"/>
                      <a:pt x="519" y="233"/>
                      <a:pt x="519" y="233"/>
                    </a:cubicBezTo>
                    <a:cubicBezTo>
                      <a:pt x="521" y="233"/>
                      <a:pt x="521" y="233"/>
                      <a:pt x="521" y="233"/>
                    </a:cubicBezTo>
                    <a:cubicBezTo>
                      <a:pt x="521" y="234"/>
                      <a:pt x="521" y="234"/>
                      <a:pt x="521" y="234"/>
                    </a:cubicBezTo>
                    <a:cubicBezTo>
                      <a:pt x="523" y="233"/>
                      <a:pt x="523" y="233"/>
                      <a:pt x="523" y="233"/>
                    </a:cubicBezTo>
                    <a:cubicBezTo>
                      <a:pt x="525" y="233"/>
                      <a:pt x="525" y="233"/>
                      <a:pt x="525" y="233"/>
                    </a:cubicBezTo>
                    <a:cubicBezTo>
                      <a:pt x="526" y="235"/>
                      <a:pt x="526" y="235"/>
                      <a:pt x="526" y="235"/>
                    </a:cubicBezTo>
                    <a:cubicBezTo>
                      <a:pt x="528" y="236"/>
                      <a:pt x="528" y="236"/>
                      <a:pt x="528" y="236"/>
                    </a:cubicBezTo>
                    <a:cubicBezTo>
                      <a:pt x="529" y="236"/>
                      <a:pt x="529" y="236"/>
                      <a:pt x="529" y="236"/>
                    </a:cubicBezTo>
                    <a:cubicBezTo>
                      <a:pt x="529" y="236"/>
                      <a:pt x="529" y="236"/>
                      <a:pt x="529" y="236"/>
                    </a:cubicBezTo>
                    <a:cubicBezTo>
                      <a:pt x="531" y="238"/>
                      <a:pt x="531" y="238"/>
                      <a:pt x="531" y="238"/>
                    </a:cubicBezTo>
                    <a:cubicBezTo>
                      <a:pt x="530" y="240"/>
                      <a:pt x="530" y="240"/>
                      <a:pt x="530" y="240"/>
                    </a:cubicBezTo>
                    <a:cubicBezTo>
                      <a:pt x="531" y="240"/>
                      <a:pt x="531" y="240"/>
                      <a:pt x="531" y="240"/>
                    </a:cubicBezTo>
                    <a:cubicBezTo>
                      <a:pt x="532" y="240"/>
                      <a:pt x="532" y="240"/>
                      <a:pt x="532" y="240"/>
                    </a:cubicBezTo>
                    <a:cubicBezTo>
                      <a:pt x="535" y="240"/>
                      <a:pt x="535" y="240"/>
                      <a:pt x="535" y="240"/>
                    </a:cubicBezTo>
                    <a:cubicBezTo>
                      <a:pt x="540" y="241"/>
                      <a:pt x="540" y="241"/>
                      <a:pt x="540" y="241"/>
                    </a:cubicBezTo>
                    <a:cubicBezTo>
                      <a:pt x="542" y="242"/>
                      <a:pt x="542" y="242"/>
                      <a:pt x="542" y="242"/>
                    </a:cubicBezTo>
                    <a:cubicBezTo>
                      <a:pt x="542" y="244"/>
                      <a:pt x="542" y="244"/>
                      <a:pt x="542" y="244"/>
                    </a:cubicBezTo>
                    <a:cubicBezTo>
                      <a:pt x="543" y="245"/>
                      <a:pt x="543" y="245"/>
                      <a:pt x="543" y="245"/>
                    </a:cubicBezTo>
                    <a:cubicBezTo>
                      <a:pt x="544" y="246"/>
                      <a:pt x="544" y="246"/>
                      <a:pt x="544" y="246"/>
                    </a:cubicBezTo>
                    <a:cubicBezTo>
                      <a:pt x="543" y="246"/>
                      <a:pt x="543" y="246"/>
                      <a:pt x="543" y="246"/>
                    </a:cubicBezTo>
                    <a:cubicBezTo>
                      <a:pt x="542" y="246"/>
                      <a:pt x="542" y="246"/>
                      <a:pt x="542" y="246"/>
                    </a:cubicBezTo>
                    <a:cubicBezTo>
                      <a:pt x="541" y="248"/>
                      <a:pt x="541" y="248"/>
                      <a:pt x="541" y="248"/>
                    </a:cubicBezTo>
                    <a:cubicBezTo>
                      <a:pt x="539" y="251"/>
                      <a:pt x="539" y="251"/>
                      <a:pt x="539" y="251"/>
                    </a:cubicBezTo>
                    <a:cubicBezTo>
                      <a:pt x="537" y="253"/>
                      <a:pt x="537" y="253"/>
                      <a:pt x="537" y="253"/>
                    </a:cubicBezTo>
                    <a:cubicBezTo>
                      <a:pt x="535" y="253"/>
                      <a:pt x="535" y="253"/>
                      <a:pt x="535" y="253"/>
                    </a:cubicBezTo>
                    <a:cubicBezTo>
                      <a:pt x="535" y="254"/>
                      <a:pt x="535" y="254"/>
                      <a:pt x="535" y="254"/>
                    </a:cubicBezTo>
                    <a:cubicBezTo>
                      <a:pt x="531" y="257"/>
                      <a:pt x="531" y="257"/>
                      <a:pt x="531" y="257"/>
                    </a:cubicBezTo>
                    <a:cubicBezTo>
                      <a:pt x="529" y="260"/>
                      <a:pt x="529" y="260"/>
                      <a:pt x="529" y="260"/>
                    </a:cubicBezTo>
                    <a:cubicBezTo>
                      <a:pt x="527" y="260"/>
                      <a:pt x="527" y="260"/>
                      <a:pt x="527" y="260"/>
                    </a:cubicBezTo>
                    <a:cubicBezTo>
                      <a:pt x="527" y="261"/>
                      <a:pt x="527" y="261"/>
                      <a:pt x="527" y="261"/>
                    </a:cubicBezTo>
                    <a:cubicBezTo>
                      <a:pt x="528" y="262"/>
                      <a:pt x="528" y="262"/>
                      <a:pt x="528" y="262"/>
                    </a:cubicBezTo>
                    <a:cubicBezTo>
                      <a:pt x="527" y="263"/>
                      <a:pt x="527" y="263"/>
                      <a:pt x="527" y="263"/>
                    </a:cubicBezTo>
                    <a:cubicBezTo>
                      <a:pt x="524" y="265"/>
                      <a:pt x="524" y="265"/>
                      <a:pt x="524" y="265"/>
                    </a:cubicBezTo>
                    <a:cubicBezTo>
                      <a:pt x="521" y="268"/>
                      <a:pt x="521" y="268"/>
                      <a:pt x="521" y="268"/>
                    </a:cubicBezTo>
                    <a:cubicBezTo>
                      <a:pt x="518" y="270"/>
                      <a:pt x="518" y="270"/>
                      <a:pt x="518" y="270"/>
                    </a:cubicBezTo>
                    <a:cubicBezTo>
                      <a:pt x="516" y="271"/>
                      <a:pt x="516" y="271"/>
                      <a:pt x="516" y="271"/>
                    </a:cubicBezTo>
                    <a:cubicBezTo>
                      <a:pt x="514" y="271"/>
                      <a:pt x="514" y="271"/>
                      <a:pt x="514" y="271"/>
                    </a:cubicBezTo>
                    <a:cubicBezTo>
                      <a:pt x="514" y="270"/>
                      <a:pt x="514" y="270"/>
                      <a:pt x="514" y="270"/>
                    </a:cubicBezTo>
                    <a:cubicBezTo>
                      <a:pt x="513" y="270"/>
                      <a:pt x="513" y="270"/>
                      <a:pt x="513" y="270"/>
                    </a:cubicBezTo>
                    <a:cubicBezTo>
                      <a:pt x="510" y="268"/>
                      <a:pt x="510" y="268"/>
                      <a:pt x="510" y="268"/>
                    </a:cubicBezTo>
                    <a:cubicBezTo>
                      <a:pt x="510" y="266"/>
                      <a:pt x="510" y="266"/>
                      <a:pt x="510" y="266"/>
                    </a:cubicBezTo>
                    <a:cubicBezTo>
                      <a:pt x="509" y="265"/>
                      <a:pt x="509" y="265"/>
                      <a:pt x="509" y="265"/>
                    </a:cubicBezTo>
                    <a:cubicBezTo>
                      <a:pt x="507" y="266"/>
                      <a:pt x="507" y="266"/>
                      <a:pt x="507" y="266"/>
                    </a:cubicBezTo>
                    <a:cubicBezTo>
                      <a:pt x="505" y="266"/>
                      <a:pt x="505" y="266"/>
                      <a:pt x="505" y="266"/>
                    </a:cubicBezTo>
                    <a:cubicBezTo>
                      <a:pt x="504" y="266"/>
                      <a:pt x="504" y="266"/>
                      <a:pt x="504" y="266"/>
                    </a:cubicBezTo>
                    <a:cubicBezTo>
                      <a:pt x="503" y="265"/>
                      <a:pt x="503" y="265"/>
                      <a:pt x="503" y="265"/>
                    </a:cubicBezTo>
                    <a:cubicBezTo>
                      <a:pt x="501" y="265"/>
                      <a:pt x="501" y="265"/>
                      <a:pt x="501" y="265"/>
                    </a:cubicBezTo>
                    <a:cubicBezTo>
                      <a:pt x="501" y="266"/>
                      <a:pt x="501" y="266"/>
                      <a:pt x="501" y="266"/>
                    </a:cubicBezTo>
                    <a:cubicBezTo>
                      <a:pt x="502" y="267"/>
                      <a:pt x="502" y="267"/>
                      <a:pt x="502" y="267"/>
                    </a:cubicBezTo>
                    <a:cubicBezTo>
                      <a:pt x="505" y="267"/>
                      <a:pt x="505" y="267"/>
                      <a:pt x="505" y="267"/>
                    </a:cubicBezTo>
                    <a:cubicBezTo>
                      <a:pt x="505" y="269"/>
                      <a:pt x="505" y="269"/>
                      <a:pt x="505" y="269"/>
                    </a:cubicBezTo>
                    <a:cubicBezTo>
                      <a:pt x="503" y="270"/>
                      <a:pt x="503" y="270"/>
                      <a:pt x="503" y="270"/>
                    </a:cubicBezTo>
                    <a:cubicBezTo>
                      <a:pt x="504" y="271"/>
                      <a:pt x="504" y="271"/>
                      <a:pt x="504" y="271"/>
                    </a:cubicBezTo>
                    <a:cubicBezTo>
                      <a:pt x="504" y="273"/>
                      <a:pt x="504" y="273"/>
                      <a:pt x="504" y="273"/>
                    </a:cubicBezTo>
                    <a:cubicBezTo>
                      <a:pt x="503" y="275"/>
                      <a:pt x="503" y="275"/>
                      <a:pt x="503" y="275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01" y="277"/>
                      <a:pt x="501" y="277"/>
                      <a:pt x="501" y="277"/>
                    </a:cubicBezTo>
                    <a:cubicBezTo>
                      <a:pt x="499" y="277"/>
                      <a:pt x="499" y="277"/>
                      <a:pt x="499" y="277"/>
                    </a:cubicBezTo>
                    <a:cubicBezTo>
                      <a:pt x="498" y="278"/>
                      <a:pt x="498" y="278"/>
                      <a:pt x="498" y="278"/>
                    </a:cubicBezTo>
                    <a:cubicBezTo>
                      <a:pt x="497" y="280"/>
                      <a:pt x="497" y="280"/>
                      <a:pt x="497" y="280"/>
                    </a:cubicBezTo>
                    <a:cubicBezTo>
                      <a:pt x="496" y="282"/>
                      <a:pt x="496" y="282"/>
                      <a:pt x="496" y="282"/>
                    </a:cubicBezTo>
                    <a:cubicBezTo>
                      <a:pt x="494" y="281"/>
                      <a:pt x="494" y="281"/>
                      <a:pt x="494" y="281"/>
                    </a:cubicBezTo>
                    <a:cubicBezTo>
                      <a:pt x="494" y="283"/>
                      <a:pt x="494" y="283"/>
                      <a:pt x="494" y="283"/>
                    </a:cubicBezTo>
                    <a:cubicBezTo>
                      <a:pt x="494" y="283"/>
                      <a:pt x="494" y="284"/>
                      <a:pt x="494" y="284"/>
                    </a:cubicBezTo>
                    <a:close/>
                    <a:moveTo>
                      <a:pt x="613" y="292"/>
                    </a:moveTo>
                    <a:cubicBezTo>
                      <a:pt x="610" y="291"/>
                      <a:pt x="610" y="291"/>
                      <a:pt x="610" y="291"/>
                    </a:cubicBezTo>
                    <a:cubicBezTo>
                      <a:pt x="608" y="290"/>
                      <a:pt x="608" y="290"/>
                      <a:pt x="608" y="290"/>
                    </a:cubicBezTo>
                    <a:cubicBezTo>
                      <a:pt x="607" y="288"/>
                      <a:pt x="607" y="288"/>
                      <a:pt x="607" y="288"/>
                    </a:cubicBezTo>
                    <a:cubicBezTo>
                      <a:pt x="606" y="287"/>
                      <a:pt x="606" y="287"/>
                      <a:pt x="606" y="287"/>
                    </a:cubicBezTo>
                    <a:cubicBezTo>
                      <a:pt x="605" y="285"/>
                      <a:pt x="605" y="285"/>
                      <a:pt x="605" y="285"/>
                    </a:cubicBezTo>
                    <a:cubicBezTo>
                      <a:pt x="606" y="283"/>
                      <a:pt x="606" y="283"/>
                      <a:pt x="606" y="283"/>
                    </a:cubicBezTo>
                    <a:cubicBezTo>
                      <a:pt x="608" y="282"/>
                      <a:pt x="608" y="282"/>
                      <a:pt x="608" y="282"/>
                    </a:cubicBezTo>
                    <a:cubicBezTo>
                      <a:pt x="608" y="280"/>
                      <a:pt x="608" y="280"/>
                      <a:pt x="608" y="280"/>
                    </a:cubicBezTo>
                    <a:cubicBezTo>
                      <a:pt x="609" y="279"/>
                      <a:pt x="609" y="279"/>
                      <a:pt x="609" y="279"/>
                    </a:cubicBezTo>
                    <a:cubicBezTo>
                      <a:pt x="608" y="277"/>
                      <a:pt x="608" y="277"/>
                      <a:pt x="608" y="277"/>
                    </a:cubicBezTo>
                    <a:cubicBezTo>
                      <a:pt x="607" y="277"/>
                      <a:pt x="607" y="277"/>
                      <a:pt x="607" y="277"/>
                    </a:cubicBezTo>
                    <a:cubicBezTo>
                      <a:pt x="605" y="276"/>
                      <a:pt x="605" y="276"/>
                      <a:pt x="605" y="276"/>
                    </a:cubicBezTo>
                    <a:cubicBezTo>
                      <a:pt x="607" y="271"/>
                      <a:pt x="607" y="271"/>
                      <a:pt x="607" y="271"/>
                    </a:cubicBezTo>
                    <a:cubicBezTo>
                      <a:pt x="608" y="272"/>
                      <a:pt x="608" y="272"/>
                      <a:pt x="608" y="272"/>
                    </a:cubicBezTo>
                    <a:cubicBezTo>
                      <a:pt x="609" y="270"/>
                      <a:pt x="609" y="270"/>
                      <a:pt x="609" y="270"/>
                    </a:cubicBezTo>
                    <a:cubicBezTo>
                      <a:pt x="608" y="269"/>
                      <a:pt x="608" y="269"/>
                      <a:pt x="608" y="269"/>
                    </a:cubicBezTo>
                    <a:cubicBezTo>
                      <a:pt x="609" y="267"/>
                      <a:pt x="609" y="267"/>
                      <a:pt x="609" y="267"/>
                    </a:cubicBezTo>
                    <a:cubicBezTo>
                      <a:pt x="610" y="264"/>
                      <a:pt x="610" y="264"/>
                      <a:pt x="610" y="264"/>
                    </a:cubicBezTo>
                    <a:cubicBezTo>
                      <a:pt x="612" y="264"/>
                      <a:pt x="612" y="264"/>
                      <a:pt x="612" y="264"/>
                    </a:cubicBezTo>
                    <a:cubicBezTo>
                      <a:pt x="613" y="265"/>
                      <a:pt x="613" y="265"/>
                      <a:pt x="613" y="265"/>
                    </a:cubicBezTo>
                    <a:cubicBezTo>
                      <a:pt x="613" y="267"/>
                      <a:pt x="613" y="267"/>
                      <a:pt x="613" y="267"/>
                    </a:cubicBezTo>
                    <a:cubicBezTo>
                      <a:pt x="617" y="268"/>
                      <a:pt x="617" y="268"/>
                      <a:pt x="617" y="268"/>
                    </a:cubicBezTo>
                    <a:cubicBezTo>
                      <a:pt x="618" y="269"/>
                      <a:pt x="618" y="269"/>
                      <a:pt x="618" y="269"/>
                    </a:cubicBezTo>
                    <a:cubicBezTo>
                      <a:pt x="621" y="270"/>
                      <a:pt x="621" y="270"/>
                      <a:pt x="621" y="270"/>
                    </a:cubicBezTo>
                    <a:cubicBezTo>
                      <a:pt x="621" y="269"/>
                      <a:pt x="621" y="269"/>
                      <a:pt x="621" y="269"/>
                    </a:cubicBezTo>
                    <a:cubicBezTo>
                      <a:pt x="625" y="270"/>
                      <a:pt x="625" y="270"/>
                      <a:pt x="625" y="270"/>
                    </a:cubicBezTo>
                    <a:cubicBezTo>
                      <a:pt x="628" y="270"/>
                      <a:pt x="628" y="270"/>
                      <a:pt x="628" y="270"/>
                    </a:cubicBezTo>
                    <a:cubicBezTo>
                      <a:pt x="629" y="271"/>
                      <a:pt x="629" y="271"/>
                      <a:pt x="629" y="271"/>
                    </a:cubicBezTo>
                    <a:cubicBezTo>
                      <a:pt x="629" y="273"/>
                      <a:pt x="629" y="273"/>
                      <a:pt x="629" y="273"/>
                    </a:cubicBezTo>
                    <a:cubicBezTo>
                      <a:pt x="632" y="275"/>
                      <a:pt x="632" y="275"/>
                      <a:pt x="632" y="275"/>
                    </a:cubicBezTo>
                    <a:cubicBezTo>
                      <a:pt x="633" y="277"/>
                      <a:pt x="633" y="277"/>
                      <a:pt x="633" y="277"/>
                    </a:cubicBezTo>
                    <a:cubicBezTo>
                      <a:pt x="632" y="279"/>
                      <a:pt x="632" y="279"/>
                      <a:pt x="632" y="279"/>
                    </a:cubicBezTo>
                    <a:cubicBezTo>
                      <a:pt x="632" y="280"/>
                      <a:pt x="632" y="280"/>
                      <a:pt x="632" y="280"/>
                    </a:cubicBezTo>
                    <a:cubicBezTo>
                      <a:pt x="634" y="281"/>
                      <a:pt x="634" y="281"/>
                      <a:pt x="634" y="281"/>
                    </a:cubicBezTo>
                    <a:cubicBezTo>
                      <a:pt x="633" y="282"/>
                      <a:pt x="633" y="282"/>
                      <a:pt x="633" y="282"/>
                    </a:cubicBezTo>
                    <a:cubicBezTo>
                      <a:pt x="634" y="284"/>
                      <a:pt x="634" y="284"/>
                      <a:pt x="634" y="284"/>
                    </a:cubicBezTo>
                    <a:cubicBezTo>
                      <a:pt x="634" y="285"/>
                      <a:pt x="634" y="285"/>
                      <a:pt x="634" y="285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4" y="289"/>
                      <a:pt x="634" y="289"/>
                      <a:pt x="634" y="289"/>
                    </a:cubicBezTo>
                    <a:cubicBezTo>
                      <a:pt x="633" y="290"/>
                      <a:pt x="633" y="290"/>
                      <a:pt x="633" y="290"/>
                    </a:cubicBezTo>
                    <a:cubicBezTo>
                      <a:pt x="636" y="291"/>
                      <a:pt x="636" y="291"/>
                      <a:pt x="636" y="291"/>
                    </a:cubicBezTo>
                    <a:cubicBezTo>
                      <a:pt x="636" y="292"/>
                      <a:pt x="636" y="292"/>
                      <a:pt x="636" y="292"/>
                    </a:cubicBezTo>
                    <a:cubicBezTo>
                      <a:pt x="635" y="293"/>
                      <a:pt x="635" y="293"/>
                      <a:pt x="635" y="293"/>
                    </a:cubicBezTo>
                    <a:cubicBezTo>
                      <a:pt x="634" y="294"/>
                      <a:pt x="634" y="294"/>
                      <a:pt x="634" y="294"/>
                    </a:cubicBezTo>
                    <a:cubicBezTo>
                      <a:pt x="630" y="293"/>
                      <a:pt x="630" y="293"/>
                      <a:pt x="630" y="293"/>
                    </a:cubicBezTo>
                    <a:cubicBezTo>
                      <a:pt x="630" y="293"/>
                      <a:pt x="630" y="293"/>
                      <a:pt x="630" y="293"/>
                    </a:cubicBezTo>
                    <a:cubicBezTo>
                      <a:pt x="626" y="292"/>
                      <a:pt x="626" y="292"/>
                      <a:pt x="626" y="292"/>
                    </a:cubicBezTo>
                    <a:cubicBezTo>
                      <a:pt x="625" y="291"/>
                      <a:pt x="625" y="291"/>
                      <a:pt x="625" y="291"/>
                    </a:cubicBezTo>
                    <a:cubicBezTo>
                      <a:pt x="623" y="290"/>
                      <a:pt x="623" y="290"/>
                      <a:pt x="623" y="290"/>
                    </a:cubicBezTo>
                    <a:cubicBezTo>
                      <a:pt x="622" y="290"/>
                      <a:pt x="622" y="290"/>
                      <a:pt x="622" y="290"/>
                    </a:cubicBezTo>
                    <a:cubicBezTo>
                      <a:pt x="620" y="289"/>
                      <a:pt x="620" y="289"/>
                      <a:pt x="620" y="289"/>
                    </a:cubicBezTo>
                    <a:cubicBezTo>
                      <a:pt x="617" y="290"/>
                      <a:pt x="617" y="290"/>
                      <a:pt x="617" y="290"/>
                    </a:cubicBezTo>
                    <a:cubicBezTo>
                      <a:pt x="616" y="290"/>
                      <a:pt x="616" y="290"/>
                      <a:pt x="616" y="290"/>
                    </a:cubicBezTo>
                    <a:cubicBezTo>
                      <a:pt x="614" y="292"/>
                      <a:pt x="614" y="292"/>
                      <a:pt x="614" y="292"/>
                    </a:cubicBezTo>
                    <a:cubicBezTo>
                      <a:pt x="613" y="292"/>
                      <a:pt x="613" y="292"/>
                      <a:pt x="613" y="292"/>
                    </a:cubicBezTo>
                    <a:close/>
                    <a:moveTo>
                      <a:pt x="602" y="295"/>
                    </a:moveTo>
                    <a:cubicBezTo>
                      <a:pt x="601" y="293"/>
                      <a:pt x="601" y="293"/>
                      <a:pt x="601" y="293"/>
                    </a:cubicBezTo>
                    <a:cubicBezTo>
                      <a:pt x="602" y="292"/>
                      <a:pt x="602" y="292"/>
                      <a:pt x="602" y="292"/>
                    </a:cubicBezTo>
                    <a:cubicBezTo>
                      <a:pt x="603" y="293"/>
                      <a:pt x="603" y="293"/>
                      <a:pt x="603" y="293"/>
                    </a:cubicBezTo>
                    <a:cubicBezTo>
                      <a:pt x="603" y="294"/>
                      <a:pt x="603" y="294"/>
                      <a:pt x="603" y="294"/>
                    </a:cubicBezTo>
                    <a:cubicBezTo>
                      <a:pt x="602" y="295"/>
                      <a:pt x="602" y="295"/>
                      <a:pt x="602" y="295"/>
                    </a:cubicBezTo>
                    <a:close/>
                    <a:moveTo>
                      <a:pt x="605" y="297"/>
                    </a:moveTo>
                    <a:cubicBezTo>
                      <a:pt x="604" y="296"/>
                      <a:pt x="604" y="296"/>
                      <a:pt x="604" y="296"/>
                    </a:cubicBezTo>
                    <a:cubicBezTo>
                      <a:pt x="605" y="295"/>
                      <a:pt x="605" y="295"/>
                      <a:pt x="605" y="295"/>
                    </a:cubicBezTo>
                    <a:cubicBezTo>
                      <a:pt x="605" y="295"/>
                      <a:pt x="605" y="295"/>
                      <a:pt x="605" y="295"/>
                    </a:cubicBezTo>
                    <a:cubicBezTo>
                      <a:pt x="606" y="297"/>
                      <a:pt x="606" y="297"/>
                      <a:pt x="606" y="297"/>
                    </a:cubicBezTo>
                    <a:cubicBezTo>
                      <a:pt x="605" y="297"/>
                      <a:pt x="605" y="297"/>
                      <a:pt x="605" y="297"/>
                    </a:cubicBezTo>
                    <a:close/>
                    <a:moveTo>
                      <a:pt x="610" y="297"/>
                    </a:moveTo>
                    <a:cubicBezTo>
                      <a:pt x="608" y="297"/>
                      <a:pt x="608" y="297"/>
                      <a:pt x="608" y="297"/>
                    </a:cubicBezTo>
                    <a:cubicBezTo>
                      <a:pt x="608" y="296"/>
                      <a:pt x="608" y="296"/>
                      <a:pt x="608" y="296"/>
                    </a:cubicBezTo>
                    <a:cubicBezTo>
                      <a:pt x="609" y="295"/>
                      <a:pt x="609" y="295"/>
                      <a:pt x="609" y="295"/>
                    </a:cubicBezTo>
                    <a:cubicBezTo>
                      <a:pt x="610" y="297"/>
                      <a:pt x="610" y="297"/>
                      <a:pt x="610" y="297"/>
                    </a:cubicBezTo>
                    <a:cubicBezTo>
                      <a:pt x="610" y="297"/>
                      <a:pt x="610" y="297"/>
                      <a:pt x="610" y="297"/>
                    </a:cubicBezTo>
                    <a:close/>
                    <a:moveTo>
                      <a:pt x="490" y="339"/>
                    </a:moveTo>
                    <a:cubicBezTo>
                      <a:pt x="489" y="338"/>
                      <a:pt x="489" y="338"/>
                      <a:pt x="489" y="338"/>
                    </a:cubicBezTo>
                    <a:cubicBezTo>
                      <a:pt x="490" y="337"/>
                      <a:pt x="490" y="337"/>
                      <a:pt x="490" y="337"/>
                    </a:cubicBezTo>
                    <a:cubicBezTo>
                      <a:pt x="491" y="337"/>
                      <a:pt x="491" y="337"/>
                      <a:pt x="491" y="337"/>
                    </a:cubicBezTo>
                    <a:cubicBezTo>
                      <a:pt x="492" y="338"/>
                      <a:pt x="492" y="338"/>
                      <a:pt x="492" y="338"/>
                    </a:cubicBezTo>
                    <a:cubicBezTo>
                      <a:pt x="491" y="339"/>
                      <a:pt x="491" y="339"/>
                      <a:pt x="491" y="339"/>
                    </a:cubicBezTo>
                    <a:cubicBezTo>
                      <a:pt x="490" y="339"/>
                      <a:pt x="490" y="339"/>
                      <a:pt x="490" y="339"/>
                    </a:cubicBezTo>
                    <a:cubicBezTo>
                      <a:pt x="490" y="339"/>
                      <a:pt x="490" y="339"/>
                      <a:pt x="490" y="339"/>
                    </a:cubicBezTo>
                    <a:close/>
                    <a:moveTo>
                      <a:pt x="495" y="349"/>
                    </a:moveTo>
                    <a:cubicBezTo>
                      <a:pt x="495" y="351"/>
                      <a:pt x="495" y="351"/>
                      <a:pt x="495" y="351"/>
                    </a:cubicBezTo>
                    <a:cubicBezTo>
                      <a:pt x="496" y="350"/>
                      <a:pt x="496" y="350"/>
                      <a:pt x="496" y="350"/>
                    </a:cubicBezTo>
                    <a:cubicBezTo>
                      <a:pt x="497" y="350"/>
                      <a:pt x="497" y="350"/>
                      <a:pt x="497" y="350"/>
                    </a:cubicBezTo>
                    <a:cubicBezTo>
                      <a:pt x="497" y="349"/>
                      <a:pt x="497" y="349"/>
                      <a:pt x="497" y="349"/>
                    </a:cubicBezTo>
                    <a:cubicBezTo>
                      <a:pt x="496" y="348"/>
                      <a:pt x="496" y="348"/>
                      <a:pt x="496" y="348"/>
                    </a:cubicBezTo>
                    <a:cubicBezTo>
                      <a:pt x="495" y="349"/>
                      <a:pt x="495" y="349"/>
                      <a:pt x="495" y="349"/>
                    </a:cubicBezTo>
                    <a:close/>
                    <a:moveTo>
                      <a:pt x="493" y="349"/>
                    </a:moveTo>
                    <a:cubicBezTo>
                      <a:pt x="493" y="350"/>
                      <a:pt x="493" y="350"/>
                      <a:pt x="493" y="350"/>
                    </a:cubicBezTo>
                    <a:cubicBezTo>
                      <a:pt x="494" y="351"/>
                      <a:pt x="494" y="351"/>
                      <a:pt x="494" y="351"/>
                    </a:cubicBezTo>
                    <a:cubicBezTo>
                      <a:pt x="494" y="352"/>
                      <a:pt x="494" y="352"/>
                      <a:pt x="494" y="352"/>
                    </a:cubicBezTo>
                    <a:cubicBezTo>
                      <a:pt x="494" y="353"/>
                      <a:pt x="494" y="353"/>
                      <a:pt x="494" y="353"/>
                    </a:cubicBezTo>
                    <a:cubicBezTo>
                      <a:pt x="495" y="352"/>
                      <a:pt x="495" y="352"/>
                      <a:pt x="495" y="352"/>
                    </a:cubicBezTo>
                    <a:cubicBezTo>
                      <a:pt x="495" y="350"/>
                      <a:pt x="495" y="350"/>
                      <a:pt x="495" y="350"/>
                    </a:cubicBezTo>
                    <a:cubicBezTo>
                      <a:pt x="494" y="349"/>
                      <a:pt x="494" y="349"/>
                      <a:pt x="494" y="349"/>
                    </a:cubicBezTo>
                    <a:cubicBezTo>
                      <a:pt x="493" y="349"/>
                      <a:pt x="493" y="349"/>
                      <a:pt x="493" y="349"/>
                    </a:cubicBezTo>
                    <a:close/>
                    <a:moveTo>
                      <a:pt x="531" y="342"/>
                    </a:moveTo>
                    <a:cubicBezTo>
                      <a:pt x="530" y="341"/>
                      <a:pt x="530" y="341"/>
                      <a:pt x="530" y="341"/>
                    </a:cubicBezTo>
                    <a:cubicBezTo>
                      <a:pt x="529" y="341"/>
                      <a:pt x="529" y="341"/>
                      <a:pt x="529" y="341"/>
                    </a:cubicBezTo>
                    <a:cubicBezTo>
                      <a:pt x="528" y="340"/>
                      <a:pt x="528" y="340"/>
                      <a:pt x="528" y="340"/>
                    </a:cubicBezTo>
                    <a:cubicBezTo>
                      <a:pt x="527" y="341"/>
                      <a:pt x="527" y="341"/>
                      <a:pt x="527" y="341"/>
                    </a:cubicBezTo>
                    <a:cubicBezTo>
                      <a:pt x="526" y="341"/>
                      <a:pt x="526" y="341"/>
                      <a:pt x="526" y="341"/>
                    </a:cubicBezTo>
                    <a:cubicBezTo>
                      <a:pt x="526" y="339"/>
                      <a:pt x="526" y="339"/>
                      <a:pt x="526" y="339"/>
                    </a:cubicBezTo>
                    <a:cubicBezTo>
                      <a:pt x="525" y="338"/>
                      <a:pt x="525" y="338"/>
                      <a:pt x="525" y="338"/>
                    </a:cubicBezTo>
                    <a:cubicBezTo>
                      <a:pt x="527" y="338"/>
                      <a:pt x="527" y="338"/>
                      <a:pt x="527" y="338"/>
                    </a:cubicBezTo>
                    <a:cubicBezTo>
                      <a:pt x="528" y="337"/>
                      <a:pt x="528" y="337"/>
                      <a:pt x="528" y="337"/>
                    </a:cubicBezTo>
                    <a:cubicBezTo>
                      <a:pt x="529" y="337"/>
                      <a:pt x="529" y="337"/>
                      <a:pt x="529" y="337"/>
                    </a:cubicBezTo>
                    <a:cubicBezTo>
                      <a:pt x="530" y="339"/>
                      <a:pt x="530" y="339"/>
                      <a:pt x="530" y="339"/>
                    </a:cubicBezTo>
                    <a:cubicBezTo>
                      <a:pt x="532" y="339"/>
                      <a:pt x="532" y="339"/>
                      <a:pt x="532" y="339"/>
                    </a:cubicBezTo>
                    <a:cubicBezTo>
                      <a:pt x="532" y="341"/>
                      <a:pt x="532" y="341"/>
                      <a:pt x="532" y="341"/>
                    </a:cubicBezTo>
                    <a:cubicBezTo>
                      <a:pt x="532" y="342"/>
                      <a:pt x="532" y="342"/>
                      <a:pt x="532" y="342"/>
                    </a:cubicBezTo>
                    <a:cubicBezTo>
                      <a:pt x="532" y="342"/>
                      <a:pt x="531" y="342"/>
                      <a:pt x="531" y="342"/>
                    </a:cubicBezTo>
                    <a:close/>
                    <a:moveTo>
                      <a:pt x="552" y="351"/>
                    </a:moveTo>
                    <a:cubicBezTo>
                      <a:pt x="551" y="351"/>
                      <a:pt x="551" y="351"/>
                      <a:pt x="551" y="351"/>
                    </a:cubicBezTo>
                    <a:cubicBezTo>
                      <a:pt x="550" y="349"/>
                      <a:pt x="550" y="349"/>
                      <a:pt x="550" y="349"/>
                    </a:cubicBezTo>
                    <a:cubicBezTo>
                      <a:pt x="551" y="349"/>
                      <a:pt x="551" y="349"/>
                      <a:pt x="551" y="349"/>
                    </a:cubicBezTo>
                    <a:cubicBezTo>
                      <a:pt x="552" y="349"/>
                      <a:pt x="552" y="349"/>
                      <a:pt x="552" y="349"/>
                    </a:cubicBezTo>
                    <a:cubicBezTo>
                      <a:pt x="552" y="351"/>
                      <a:pt x="552" y="351"/>
                      <a:pt x="552" y="351"/>
                    </a:cubicBezTo>
                    <a:cubicBezTo>
                      <a:pt x="552" y="351"/>
                      <a:pt x="552" y="351"/>
                      <a:pt x="552" y="351"/>
                    </a:cubicBezTo>
                    <a:close/>
                    <a:moveTo>
                      <a:pt x="554" y="351"/>
                    </a:moveTo>
                    <a:cubicBezTo>
                      <a:pt x="556" y="352"/>
                      <a:pt x="556" y="352"/>
                      <a:pt x="556" y="352"/>
                    </a:cubicBezTo>
                    <a:cubicBezTo>
                      <a:pt x="555" y="351"/>
                      <a:pt x="555" y="351"/>
                      <a:pt x="555" y="351"/>
                    </a:cubicBezTo>
                    <a:cubicBezTo>
                      <a:pt x="554" y="351"/>
                      <a:pt x="554" y="351"/>
                      <a:pt x="554" y="351"/>
                    </a:cubicBezTo>
                    <a:close/>
                    <a:moveTo>
                      <a:pt x="557" y="352"/>
                    </a:moveTo>
                    <a:cubicBezTo>
                      <a:pt x="558" y="352"/>
                      <a:pt x="558" y="352"/>
                      <a:pt x="558" y="352"/>
                    </a:cubicBezTo>
                    <a:cubicBezTo>
                      <a:pt x="559" y="353"/>
                      <a:pt x="559" y="353"/>
                      <a:pt x="559" y="353"/>
                    </a:cubicBezTo>
                    <a:cubicBezTo>
                      <a:pt x="560" y="353"/>
                      <a:pt x="560" y="353"/>
                      <a:pt x="560" y="353"/>
                    </a:cubicBezTo>
                    <a:cubicBezTo>
                      <a:pt x="560" y="352"/>
                      <a:pt x="560" y="352"/>
                      <a:pt x="560" y="352"/>
                    </a:cubicBezTo>
                    <a:cubicBezTo>
                      <a:pt x="559" y="351"/>
                      <a:pt x="559" y="351"/>
                      <a:pt x="559" y="351"/>
                    </a:cubicBezTo>
                    <a:cubicBezTo>
                      <a:pt x="559" y="351"/>
                      <a:pt x="559" y="351"/>
                      <a:pt x="559" y="351"/>
                    </a:cubicBezTo>
                    <a:cubicBezTo>
                      <a:pt x="557" y="351"/>
                      <a:pt x="557" y="351"/>
                      <a:pt x="557" y="351"/>
                    </a:cubicBezTo>
                    <a:cubicBezTo>
                      <a:pt x="557" y="352"/>
                      <a:pt x="557" y="352"/>
                      <a:pt x="557" y="352"/>
                    </a:cubicBezTo>
                    <a:cubicBezTo>
                      <a:pt x="557" y="352"/>
                      <a:pt x="557" y="352"/>
                      <a:pt x="557" y="352"/>
                    </a:cubicBezTo>
                    <a:close/>
                    <a:moveTo>
                      <a:pt x="580" y="383"/>
                    </a:moveTo>
                    <a:cubicBezTo>
                      <a:pt x="580" y="382"/>
                      <a:pt x="580" y="382"/>
                      <a:pt x="580" y="382"/>
                    </a:cubicBezTo>
                    <a:cubicBezTo>
                      <a:pt x="580" y="381"/>
                      <a:pt x="580" y="381"/>
                      <a:pt x="580" y="381"/>
                    </a:cubicBezTo>
                    <a:cubicBezTo>
                      <a:pt x="580" y="379"/>
                      <a:pt x="580" y="379"/>
                      <a:pt x="580" y="379"/>
                    </a:cubicBezTo>
                    <a:cubicBezTo>
                      <a:pt x="581" y="380"/>
                      <a:pt x="581" y="380"/>
                      <a:pt x="581" y="380"/>
                    </a:cubicBezTo>
                    <a:cubicBezTo>
                      <a:pt x="582" y="381"/>
                      <a:pt x="582" y="381"/>
                      <a:pt x="582" y="381"/>
                    </a:cubicBezTo>
                    <a:cubicBezTo>
                      <a:pt x="581" y="382"/>
                      <a:pt x="581" y="382"/>
                      <a:pt x="581" y="382"/>
                    </a:cubicBezTo>
                    <a:cubicBezTo>
                      <a:pt x="581" y="383"/>
                      <a:pt x="581" y="383"/>
                      <a:pt x="581" y="383"/>
                    </a:cubicBezTo>
                    <a:cubicBezTo>
                      <a:pt x="580" y="383"/>
                      <a:pt x="580" y="383"/>
                      <a:pt x="580" y="383"/>
                    </a:cubicBezTo>
                    <a:close/>
                    <a:moveTo>
                      <a:pt x="578" y="389"/>
                    </a:moveTo>
                    <a:cubicBezTo>
                      <a:pt x="577" y="387"/>
                      <a:pt x="577" y="387"/>
                      <a:pt x="577" y="387"/>
                    </a:cubicBezTo>
                    <a:cubicBezTo>
                      <a:pt x="578" y="385"/>
                      <a:pt x="578" y="385"/>
                      <a:pt x="578" y="385"/>
                    </a:cubicBezTo>
                    <a:cubicBezTo>
                      <a:pt x="578" y="386"/>
                      <a:pt x="578" y="386"/>
                      <a:pt x="578" y="386"/>
                    </a:cubicBezTo>
                    <a:cubicBezTo>
                      <a:pt x="580" y="386"/>
                      <a:pt x="580" y="386"/>
                      <a:pt x="580" y="386"/>
                    </a:cubicBezTo>
                    <a:cubicBezTo>
                      <a:pt x="580" y="387"/>
                      <a:pt x="580" y="387"/>
                      <a:pt x="580" y="387"/>
                    </a:cubicBezTo>
                    <a:cubicBezTo>
                      <a:pt x="579" y="387"/>
                      <a:pt x="579" y="387"/>
                      <a:pt x="579" y="387"/>
                    </a:cubicBezTo>
                    <a:cubicBezTo>
                      <a:pt x="578" y="389"/>
                      <a:pt x="578" y="389"/>
                      <a:pt x="578" y="389"/>
                    </a:cubicBezTo>
                    <a:cubicBezTo>
                      <a:pt x="578" y="389"/>
                      <a:pt x="578" y="389"/>
                      <a:pt x="578" y="389"/>
                    </a:cubicBezTo>
                    <a:close/>
                    <a:moveTo>
                      <a:pt x="564" y="359"/>
                    </a:moveTo>
                    <a:cubicBezTo>
                      <a:pt x="564" y="358"/>
                      <a:pt x="564" y="358"/>
                      <a:pt x="564" y="358"/>
                    </a:cubicBezTo>
                    <a:cubicBezTo>
                      <a:pt x="565" y="359"/>
                      <a:pt x="565" y="359"/>
                      <a:pt x="565" y="359"/>
                    </a:cubicBezTo>
                    <a:cubicBezTo>
                      <a:pt x="564" y="359"/>
                      <a:pt x="564" y="359"/>
                      <a:pt x="564" y="359"/>
                    </a:cubicBezTo>
                    <a:close/>
                    <a:moveTo>
                      <a:pt x="562" y="360"/>
                    </a:moveTo>
                    <a:cubicBezTo>
                      <a:pt x="561" y="358"/>
                      <a:pt x="561" y="358"/>
                      <a:pt x="561" y="358"/>
                    </a:cubicBezTo>
                    <a:cubicBezTo>
                      <a:pt x="562" y="358"/>
                      <a:pt x="562" y="358"/>
                      <a:pt x="562" y="358"/>
                    </a:cubicBezTo>
                    <a:cubicBezTo>
                      <a:pt x="562" y="359"/>
                      <a:pt x="562" y="359"/>
                      <a:pt x="562" y="359"/>
                    </a:cubicBezTo>
                    <a:cubicBezTo>
                      <a:pt x="562" y="360"/>
                      <a:pt x="562" y="360"/>
                      <a:pt x="562" y="360"/>
                    </a:cubicBezTo>
                    <a:close/>
                    <a:moveTo>
                      <a:pt x="562" y="361"/>
                    </a:moveTo>
                    <a:cubicBezTo>
                      <a:pt x="563" y="362"/>
                      <a:pt x="563" y="362"/>
                      <a:pt x="563" y="362"/>
                    </a:cubicBezTo>
                    <a:cubicBezTo>
                      <a:pt x="564" y="362"/>
                      <a:pt x="564" y="362"/>
                      <a:pt x="564" y="362"/>
                    </a:cubicBezTo>
                    <a:cubicBezTo>
                      <a:pt x="565" y="362"/>
                      <a:pt x="565" y="362"/>
                      <a:pt x="565" y="362"/>
                    </a:cubicBezTo>
                    <a:cubicBezTo>
                      <a:pt x="565" y="361"/>
                      <a:pt x="565" y="361"/>
                      <a:pt x="565" y="361"/>
                    </a:cubicBezTo>
                    <a:cubicBezTo>
                      <a:pt x="564" y="360"/>
                      <a:pt x="564" y="360"/>
                      <a:pt x="564" y="360"/>
                    </a:cubicBezTo>
                    <a:cubicBezTo>
                      <a:pt x="563" y="360"/>
                      <a:pt x="563" y="360"/>
                      <a:pt x="563" y="360"/>
                    </a:cubicBezTo>
                    <a:cubicBezTo>
                      <a:pt x="562" y="361"/>
                      <a:pt x="562" y="361"/>
                      <a:pt x="562" y="361"/>
                    </a:cubicBezTo>
                    <a:close/>
                    <a:moveTo>
                      <a:pt x="575" y="356"/>
                    </a:moveTo>
                    <a:cubicBezTo>
                      <a:pt x="576" y="356"/>
                      <a:pt x="576" y="356"/>
                      <a:pt x="576" y="356"/>
                    </a:cubicBezTo>
                    <a:cubicBezTo>
                      <a:pt x="576" y="357"/>
                      <a:pt x="576" y="357"/>
                      <a:pt x="576" y="357"/>
                    </a:cubicBezTo>
                    <a:cubicBezTo>
                      <a:pt x="577" y="358"/>
                      <a:pt x="577" y="358"/>
                      <a:pt x="577" y="358"/>
                    </a:cubicBezTo>
                    <a:cubicBezTo>
                      <a:pt x="577" y="359"/>
                      <a:pt x="577" y="359"/>
                      <a:pt x="577" y="359"/>
                    </a:cubicBezTo>
                    <a:cubicBezTo>
                      <a:pt x="577" y="359"/>
                      <a:pt x="577" y="359"/>
                      <a:pt x="577" y="359"/>
                    </a:cubicBezTo>
                    <a:cubicBezTo>
                      <a:pt x="578" y="359"/>
                      <a:pt x="578" y="359"/>
                      <a:pt x="578" y="359"/>
                    </a:cubicBezTo>
                    <a:cubicBezTo>
                      <a:pt x="578" y="358"/>
                      <a:pt x="578" y="358"/>
                      <a:pt x="578" y="358"/>
                    </a:cubicBezTo>
                    <a:cubicBezTo>
                      <a:pt x="580" y="358"/>
                      <a:pt x="580" y="358"/>
                      <a:pt x="580" y="358"/>
                    </a:cubicBezTo>
                    <a:cubicBezTo>
                      <a:pt x="581" y="358"/>
                      <a:pt x="581" y="358"/>
                      <a:pt x="581" y="358"/>
                    </a:cubicBezTo>
                    <a:cubicBezTo>
                      <a:pt x="582" y="358"/>
                      <a:pt x="582" y="358"/>
                      <a:pt x="582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2" y="356"/>
                      <a:pt x="582" y="356"/>
                      <a:pt x="582" y="356"/>
                    </a:cubicBezTo>
                    <a:cubicBezTo>
                      <a:pt x="579" y="355"/>
                      <a:pt x="579" y="355"/>
                      <a:pt x="579" y="355"/>
                    </a:cubicBezTo>
                    <a:cubicBezTo>
                      <a:pt x="578" y="354"/>
                      <a:pt x="578" y="354"/>
                      <a:pt x="578" y="354"/>
                    </a:cubicBezTo>
                    <a:cubicBezTo>
                      <a:pt x="576" y="354"/>
                      <a:pt x="576" y="354"/>
                      <a:pt x="576" y="354"/>
                    </a:cubicBezTo>
                    <a:cubicBezTo>
                      <a:pt x="576" y="355"/>
                      <a:pt x="576" y="355"/>
                      <a:pt x="576" y="355"/>
                    </a:cubicBezTo>
                    <a:cubicBezTo>
                      <a:pt x="576" y="355"/>
                      <a:pt x="575" y="356"/>
                      <a:pt x="575" y="356"/>
                    </a:cubicBezTo>
                    <a:close/>
                    <a:moveTo>
                      <a:pt x="596" y="354"/>
                    </a:moveTo>
                    <a:cubicBezTo>
                      <a:pt x="597" y="353"/>
                      <a:pt x="597" y="353"/>
                      <a:pt x="597" y="353"/>
                    </a:cubicBezTo>
                    <a:cubicBezTo>
                      <a:pt x="598" y="353"/>
                      <a:pt x="598" y="353"/>
                      <a:pt x="598" y="353"/>
                    </a:cubicBezTo>
                    <a:cubicBezTo>
                      <a:pt x="597" y="354"/>
                      <a:pt x="597" y="354"/>
                      <a:pt x="597" y="354"/>
                    </a:cubicBezTo>
                    <a:cubicBezTo>
                      <a:pt x="596" y="354"/>
                      <a:pt x="596" y="354"/>
                      <a:pt x="596" y="354"/>
                    </a:cubicBezTo>
                    <a:close/>
                    <a:moveTo>
                      <a:pt x="589" y="363"/>
                    </a:moveTo>
                    <a:cubicBezTo>
                      <a:pt x="590" y="362"/>
                      <a:pt x="590" y="362"/>
                      <a:pt x="590" y="362"/>
                    </a:cubicBezTo>
                    <a:cubicBezTo>
                      <a:pt x="591" y="360"/>
                      <a:pt x="591" y="360"/>
                      <a:pt x="591" y="360"/>
                    </a:cubicBezTo>
                    <a:cubicBezTo>
                      <a:pt x="593" y="360"/>
                      <a:pt x="593" y="360"/>
                      <a:pt x="593" y="360"/>
                    </a:cubicBezTo>
                    <a:cubicBezTo>
                      <a:pt x="593" y="359"/>
                      <a:pt x="593" y="359"/>
                      <a:pt x="593" y="359"/>
                    </a:cubicBezTo>
                    <a:cubicBezTo>
                      <a:pt x="594" y="359"/>
                      <a:pt x="594" y="359"/>
                      <a:pt x="594" y="359"/>
                    </a:cubicBezTo>
                    <a:cubicBezTo>
                      <a:pt x="595" y="360"/>
                      <a:pt x="595" y="360"/>
                      <a:pt x="595" y="360"/>
                    </a:cubicBezTo>
                    <a:cubicBezTo>
                      <a:pt x="595" y="361"/>
                      <a:pt x="595" y="361"/>
                      <a:pt x="595" y="361"/>
                    </a:cubicBezTo>
                    <a:cubicBezTo>
                      <a:pt x="593" y="362"/>
                      <a:pt x="593" y="362"/>
                      <a:pt x="593" y="362"/>
                    </a:cubicBezTo>
                    <a:cubicBezTo>
                      <a:pt x="591" y="363"/>
                      <a:pt x="591" y="363"/>
                      <a:pt x="591" y="363"/>
                    </a:cubicBezTo>
                    <a:cubicBezTo>
                      <a:pt x="590" y="363"/>
                      <a:pt x="590" y="363"/>
                      <a:pt x="590" y="363"/>
                    </a:cubicBezTo>
                    <a:cubicBezTo>
                      <a:pt x="589" y="363"/>
                      <a:pt x="589" y="363"/>
                      <a:pt x="589" y="363"/>
                    </a:cubicBezTo>
                    <a:close/>
                    <a:moveTo>
                      <a:pt x="582" y="375"/>
                    </a:moveTo>
                    <a:cubicBezTo>
                      <a:pt x="585" y="372"/>
                      <a:pt x="585" y="372"/>
                      <a:pt x="585" y="372"/>
                    </a:cubicBezTo>
                    <a:cubicBezTo>
                      <a:pt x="586" y="371"/>
                      <a:pt x="586" y="371"/>
                      <a:pt x="586" y="371"/>
                    </a:cubicBezTo>
                    <a:cubicBezTo>
                      <a:pt x="587" y="371"/>
                      <a:pt x="587" y="371"/>
                      <a:pt x="587" y="371"/>
                    </a:cubicBezTo>
                    <a:cubicBezTo>
                      <a:pt x="589" y="369"/>
                      <a:pt x="589" y="369"/>
                      <a:pt x="589" y="369"/>
                    </a:cubicBezTo>
                    <a:cubicBezTo>
                      <a:pt x="590" y="368"/>
                      <a:pt x="590" y="368"/>
                      <a:pt x="590" y="368"/>
                    </a:cubicBezTo>
                    <a:cubicBezTo>
                      <a:pt x="590" y="366"/>
                      <a:pt x="590" y="366"/>
                      <a:pt x="590" y="366"/>
                    </a:cubicBezTo>
                    <a:cubicBezTo>
                      <a:pt x="589" y="366"/>
                      <a:pt x="589" y="366"/>
                      <a:pt x="589" y="366"/>
                    </a:cubicBezTo>
                    <a:cubicBezTo>
                      <a:pt x="588" y="366"/>
                      <a:pt x="588" y="366"/>
                      <a:pt x="588" y="366"/>
                    </a:cubicBezTo>
                    <a:cubicBezTo>
                      <a:pt x="588" y="368"/>
                      <a:pt x="588" y="368"/>
                      <a:pt x="588" y="368"/>
                    </a:cubicBezTo>
                    <a:cubicBezTo>
                      <a:pt x="587" y="368"/>
                      <a:pt x="587" y="368"/>
                      <a:pt x="587" y="368"/>
                    </a:cubicBezTo>
                    <a:cubicBezTo>
                      <a:pt x="585" y="369"/>
                      <a:pt x="585" y="369"/>
                      <a:pt x="585" y="369"/>
                    </a:cubicBezTo>
                    <a:cubicBezTo>
                      <a:pt x="583" y="370"/>
                      <a:pt x="583" y="370"/>
                      <a:pt x="583" y="370"/>
                    </a:cubicBezTo>
                    <a:cubicBezTo>
                      <a:pt x="581" y="370"/>
                      <a:pt x="581" y="370"/>
                      <a:pt x="581" y="370"/>
                    </a:cubicBezTo>
                    <a:cubicBezTo>
                      <a:pt x="580" y="371"/>
                      <a:pt x="580" y="371"/>
                      <a:pt x="580" y="371"/>
                    </a:cubicBezTo>
                    <a:cubicBezTo>
                      <a:pt x="579" y="372"/>
                      <a:pt x="579" y="372"/>
                      <a:pt x="579" y="372"/>
                    </a:cubicBezTo>
                    <a:cubicBezTo>
                      <a:pt x="577" y="373"/>
                      <a:pt x="577" y="373"/>
                      <a:pt x="577" y="373"/>
                    </a:cubicBezTo>
                    <a:cubicBezTo>
                      <a:pt x="578" y="376"/>
                      <a:pt x="578" y="376"/>
                      <a:pt x="578" y="376"/>
                    </a:cubicBezTo>
                    <a:cubicBezTo>
                      <a:pt x="579" y="375"/>
                      <a:pt x="579" y="375"/>
                      <a:pt x="579" y="375"/>
                    </a:cubicBezTo>
                    <a:cubicBezTo>
                      <a:pt x="581" y="375"/>
                      <a:pt x="581" y="375"/>
                      <a:pt x="581" y="375"/>
                    </a:cubicBezTo>
                    <a:cubicBezTo>
                      <a:pt x="582" y="375"/>
                      <a:pt x="582" y="375"/>
                      <a:pt x="582" y="375"/>
                    </a:cubicBezTo>
                    <a:close/>
                    <a:moveTo>
                      <a:pt x="597" y="374"/>
                    </a:moveTo>
                    <a:cubicBezTo>
                      <a:pt x="597" y="371"/>
                      <a:pt x="597" y="371"/>
                      <a:pt x="597" y="371"/>
                    </a:cubicBezTo>
                    <a:cubicBezTo>
                      <a:pt x="598" y="370"/>
                      <a:pt x="598" y="370"/>
                      <a:pt x="598" y="370"/>
                    </a:cubicBezTo>
                    <a:cubicBezTo>
                      <a:pt x="599" y="368"/>
                      <a:pt x="599" y="368"/>
                      <a:pt x="599" y="368"/>
                    </a:cubicBezTo>
                    <a:cubicBezTo>
                      <a:pt x="600" y="368"/>
                      <a:pt x="600" y="368"/>
                      <a:pt x="600" y="368"/>
                    </a:cubicBezTo>
                    <a:cubicBezTo>
                      <a:pt x="602" y="368"/>
                      <a:pt x="602" y="368"/>
                      <a:pt x="602" y="368"/>
                    </a:cubicBezTo>
                    <a:cubicBezTo>
                      <a:pt x="602" y="370"/>
                      <a:pt x="602" y="370"/>
                      <a:pt x="602" y="370"/>
                    </a:cubicBezTo>
                    <a:cubicBezTo>
                      <a:pt x="601" y="372"/>
                      <a:pt x="601" y="372"/>
                      <a:pt x="601" y="372"/>
                    </a:cubicBezTo>
                    <a:cubicBezTo>
                      <a:pt x="600" y="372"/>
                      <a:pt x="600" y="372"/>
                      <a:pt x="600" y="372"/>
                    </a:cubicBezTo>
                    <a:cubicBezTo>
                      <a:pt x="599" y="374"/>
                      <a:pt x="599" y="374"/>
                      <a:pt x="599" y="374"/>
                    </a:cubicBezTo>
                    <a:cubicBezTo>
                      <a:pt x="597" y="374"/>
                      <a:pt x="597" y="374"/>
                      <a:pt x="597" y="374"/>
                    </a:cubicBezTo>
                    <a:close/>
                    <a:moveTo>
                      <a:pt x="610" y="390"/>
                    </a:moveTo>
                    <a:cubicBezTo>
                      <a:pt x="610" y="387"/>
                      <a:pt x="610" y="387"/>
                      <a:pt x="610" y="387"/>
                    </a:cubicBezTo>
                    <a:cubicBezTo>
                      <a:pt x="610" y="384"/>
                      <a:pt x="610" y="384"/>
                      <a:pt x="610" y="384"/>
                    </a:cubicBezTo>
                    <a:cubicBezTo>
                      <a:pt x="609" y="383"/>
                      <a:pt x="609" y="383"/>
                      <a:pt x="609" y="383"/>
                    </a:cubicBezTo>
                    <a:cubicBezTo>
                      <a:pt x="608" y="383"/>
                      <a:pt x="608" y="383"/>
                      <a:pt x="608" y="383"/>
                    </a:cubicBezTo>
                    <a:cubicBezTo>
                      <a:pt x="608" y="385"/>
                      <a:pt x="608" y="385"/>
                      <a:pt x="608" y="385"/>
                    </a:cubicBezTo>
                    <a:cubicBezTo>
                      <a:pt x="607" y="387"/>
                      <a:pt x="607" y="387"/>
                      <a:pt x="607" y="387"/>
                    </a:cubicBezTo>
                    <a:cubicBezTo>
                      <a:pt x="607" y="388"/>
                      <a:pt x="607" y="388"/>
                      <a:pt x="607" y="388"/>
                    </a:cubicBezTo>
                    <a:cubicBezTo>
                      <a:pt x="608" y="389"/>
                      <a:pt x="608" y="389"/>
                      <a:pt x="608" y="389"/>
                    </a:cubicBezTo>
                    <a:cubicBezTo>
                      <a:pt x="608" y="391"/>
                      <a:pt x="608" y="391"/>
                      <a:pt x="608" y="391"/>
                    </a:cubicBezTo>
                    <a:cubicBezTo>
                      <a:pt x="609" y="390"/>
                      <a:pt x="609" y="390"/>
                      <a:pt x="609" y="390"/>
                    </a:cubicBezTo>
                    <a:cubicBezTo>
                      <a:pt x="610" y="390"/>
                      <a:pt x="610" y="390"/>
                      <a:pt x="610" y="390"/>
                    </a:cubicBezTo>
                    <a:close/>
                    <a:moveTo>
                      <a:pt x="611" y="388"/>
                    </a:moveTo>
                    <a:cubicBezTo>
                      <a:pt x="611" y="387"/>
                      <a:pt x="611" y="387"/>
                      <a:pt x="611" y="387"/>
                    </a:cubicBezTo>
                    <a:cubicBezTo>
                      <a:pt x="612" y="385"/>
                      <a:pt x="612" y="385"/>
                      <a:pt x="612" y="385"/>
                    </a:cubicBezTo>
                    <a:cubicBezTo>
                      <a:pt x="612" y="386"/>
                      <a:pt x="612" y="386"/>
                      <a:pt x="612" y="386"/>
                    </a:cubicBezTo>
                    <a:cubicBezTo>
                      <a:pt x="613" y="388"/>
                      <a:pt x="613" y="388"/>
                      <a:pt x="613" y="388"/>
                    </a:cubicBezTo>
                    <a:cubicBezTo>
                      <a:pt x="612" y="388"/>
                      <a:pt x="612" y="388"/>
                      <a:pt x="612" y="388"/>
                    </a:cubicBezTo>
                    <a:cubicBezTo>
                      <a:pt x="611" y="388"/>
                      <a:pt x="611" y="388"/>
                      <a:pt x="611" y="388"/>
                    </a:cubicBezTo>
                    <a:close/>
                    <a:moveTo>
                      <a:pt x="614" y="392"/>
                    </a:moveTo>
                    <a:cubicBezTo>
                      <a:pt x="613" y="391"/>
                      <a:pt x="613" y="391"/>
                      <a:pt x="613" y="391"/>
                    </a:cubicBezTo>
                    <a:cubicBezTo>
                      <a:pt x="614" y="390"/>
                      <a:pt x="614" y="390"/>
                      <a:pt x="614" y="390"/>
                    </a:cubicBezTo>
                    <a:cubicBezTo>
                      <a:pt x="615" y="390"/>
                      <a:pt x="615" y="390"/>
                      <a:pt x="615" y="390"/>
                    </a:cubicBezTo>
                    <a:cubicBezTo>
                      <a:pt x="615" y="392"/>
                      <a:pt x="615" y="392"/>
                      <a:pt x="615" y="392"/>
                    </a:cubicBezTo>
                    <a:cubicBezTo>
                      <a:pt x="614" y="392"/>
                      <a:pt x="614" y="392"/>
                      <a:pt x="614" y="392"/>
                    </a:cubicBezTo>
                    <a:close/>
                    <a:moveTo>
                      <a:pt x="608" y="396"/>
                    </a:moveTo>
                    <a:cubicBezTo>
                      <a:pt x="607" y="397"/>
                      <a:pt x="607" y="397"/>
                      <a:pt x="607" y="397"/>
                    </a:cubicBezTo>
                    <a:cubicBezTo>
                      <a:pt x="608" y="399"/>
                      <a:pt x="608" y="399"/>
                      <a:pt x="608" y="399"/>
                    </a:cubicBezTo>
                    <a:cubicBezTo>
                      <a:pt x="608" y="401"/>
                      <a:pt x="608" y="401"/>
                      <a:pt x="608" y="401"/>
                    </a:cubicBezTo>
                    <a:cubicBezTo>
                      <a:pt x="609" y="402"/>
                      <a:pt x="609" y="402"/>
                      <a:pt x="609" y="402"/>
                    </a:cubicBezTo>
                    <a:cubicBezTo>
                      <a:pt x="610" y="401"/>
                      <a:pt x="610" y="401"/>
                      <a:pt x="610" y="401"/>
                    </a:cubicBezTo>
                    <a:cubicBezTo>
                      <a:pt x="612" y="402"/>
                      <a:pt x="612" y="402"/>
                      <a:pt x="612" y="402"/>
                    </a:cubicBezTo>
                    <a:cubicBezTo>
                      <a:pt x="613" y="402"/>
                      <a:pt x="613" y="402"/>
                      <a:pt x="613" y="402"/>
                    </a:cubicBezTo>
                    <a:cubicBezTo>
                      <a:pt x="614" y="402"/>
                      <a:pt x="614" y="402"/>
                      <a:pt x="614" y="402"/>
                    </a:cubicBezTo>
                    <a:cubicBezTo>
                      <a:pt x="616" y="403"/>
                      <a:pt x="616" y="403"/>
                      <a:pt x="616" y="403"/>
                    </a:cubicBezTo>
                    <a:cubicBezTo>
                      <a:pt x="617" y="401"/>
                      <a:pt x="617" y="401"/>
                      <a:pt x="617" y="401"/>
                    </a:cubicBezTo>
                    <a:cubicBezTo>
                      <a:pt x="616" y="400"/>
                      <a:pt x="616" y="400"/>
                      <a:pt x="616" y="400"/>
                    </a:cubicBezTo>
                    <a:cubicBezTo>
                      <a:pt x="616" y="398"/>
                      <a:pt x="616" y="398"/>
                      <a:pt x="616" y="398"/>
                    </a:cubicBezTo>
                    <a:cubicBezTo>
                      <a:pt x="614" y="398"/>
                      <a:pt x="614" y="398"/>
                      <a:pt x="614" y="398"/>
                    </a:cubicBezTo>
                    <a:cubicBezTo>
                      <a:pt x="614" y="397"/>
                      <a:pt x="614" y="397"/>
                      <a:pt x="614" y="397"/>
                    </a:cubicBezTo>
                    <a:cubicBezTo>
                      <a:pt x="612" y="397"/>
                      <a:pt x="612" y="397"/>
                      <a:pt x="612" y="397"/>
                    </a:cubicBezTo>
                    <a:cubicBezTo>
                      <a:pt x="611" y="397"/>
                      <a:pt x="611" y="397"/>
                      <a:pt x="611" y="397"/>
                    </a:cubicBezTo>
                    <a:cubicBezTo>
                      <a:pt x="611" y="396"/>
                      <a:pt x="611" y="396"/>
                      <a:pt x="611" y="396"/>
                    </a:cubicBezTo>
                    <a:cubicBezTo>
                      <a:pt x="611" y="395"/>
                      <a:pt x="611" y="395"/>
                      <a:pt x="611" y="395"/>
                    </a:cubicBezTo>
                    <a:cubicBezTo>
                      <a:pt x="611" y="395"/>
                      <a:pt x="611" y="395"/>
                      <a:pt x="611" y="395"/>
                    </a:cubicBezTo>
                    <a:cubicBezTo>
                      <a:pt x="610" y="396"/>
                      <a:pt x="610" y="396"/>
                      <a:pt x="610" y="396"/>
                    </a:cubicBezTo>
                    <a:cubicBezTo>
                      <a:pt x="609" y="396"/>
                      <a:pt x="609" y="396"/>
                      <a:pt x="609" y="396"/>
                    </a:cubicBezTo>
                    <a:cubicBezTo>
                      <a:pt x="608" y="396"/>
                      <a:pt x="608" y="396"/>
                      <a:pt x="608" y="396"/>
                    </a:cubicBezTo>
                    <a:close/>
                    <a:moveTo>
                      <a:pt x="557" y="469"/>
                    </a:moveTo>
                    <a:cubicBezTo>
                      <a:pt x="559" y="469"/>
                      <a:pt x="559" y="469"/>
                      <a:pt x="559" y="469"/>
                    </a:cubicBezTo>
                    <a:cubicBezTo>
                      <a:pt x="560" y="469"/>
                      <a:pt x="560" y="469"/>
                      <a:pt x="560" y="469"/>
                    </a:cubicBezTo>
                    <a:cubicBezTo>
                      <a:pt x="559" y="468"/>
                      <a:pt x="559" y="468"/>
                      <a:pt x="559" y="468"/>
                    </a:cubicBezTo>
                    <a:cubicBezTo>
                      <a:pt x="558" y="468"/>
                      <a:pt x="558" y="468"/>
                      <a:pt x="558" y="468"/>
                    </a:cubicBezTo>
                    <a:cubicBezTo>
                      <a:pt x="557" y="469"/>
                      <a:pt x="557" y="469"/>
                      <a:pt x="557" y="469"/>
                    </a:cubicBezTo>
                    <a:close/>
                    <a:moveTo>
                      <a:pt x="529" y="421"/>
                    </a:moveTo>
                    <a:cubicBezTo>
                      <a:pt x="530" y="422"/>
                      <a:pt x="530" y="422"/>
                      <a:pt x="530" y="422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0" y="421"/>
                      <a:pt x="530" y="421"/>
                      <a:pt x="530" y="421"/>
                    </a:cubicBezTo>
                    <a:cubicBezTo>
                      <a:pt x="529" y="421"/>
                      <a:pt x="529" y="421"/>
                      <a:pt x="529" y="421"/>
                    </a:cubicBezTo>
                    <a:cubicBezTo>
                      <a:pt x="529" y="421"/>
                      <a:pt x="529" y="421"/>
                      <a:pt x="529" y="421"/>
                    </a:cubicBezTo>
                    <a:close/>
                    <a:moveTo>
                      <a:pt x="522" y="432"/>
                    </a:moveTo>
                    <a:cubicBezTo>
                      <a:pt x="522" y="431"/>
                      <a:pt x="522" y="431"/>
                      <a:pt x="522" y="431"/>
                    </a:cubicBezTo>
                    <a:cubicBezTo>
                      <a:pt x="521" y="429"/>
                      <a:pt x="521" y="429"/>
                      <a:pt x="521" y="429"/>
                    </a:cubicBezTo>
                    <a:cubicBezTo>
                      <a:pt x="519" y="428"/>
                      <a:pt x="519" y="428"/>
                      <a:pt x="519" y="428"/>
                    </a:cubicBezTo>
                    <a:cubicBezTo>
                      <a:pt x="520" y="427"/>
                      <a:pt x="520" y="427"/>
                      <a:pt x="520" y="427"/>
                    </a:cubicBezTo>
                    <a:cubicBezTo>
                      <a:pt x="519" y="425"/>
                      <a:pt x="519" y="425"/>
                      <a:pt x="519" y="425"/>
                    </a:cubicBezTo>
                    <a:cubicBezTo>
                      <a:pt x="518" y="424"/>
                      <a:pt x="518" y="424"/>
                      <a:pt x="518" y="424"/>
                    </a:cubicBezTo>
                    <a:cubicBezTo>
                      <a:pt x="518" y="422"/>
                      <a:pt x="518" y="422"/>
                      <a:pt x="518" y="422"/>
                    </a:cubicBezTo>
                    <a:cubicBezTo>
                      <a:pt x="519" y="421"/>
                      <a:pt x="519" y="421"/>
                      <a:pt x="519" y="421"/>
                    </a:cubicBezTo>
                    <a:cubicBezTo>
                      <a:pt x="519" y="423"/>
                      <a:pt x="519" y="423"/>
                      <a:pt x="519" y="423"/>
                    </a:cubicBezTo>
                    <a:cubicBezTo>
                      <a:pt x="521" y="424"/>
                      <a:pt x="521" y="424"/>
                      <a:pt x="521" y="424"/>
                    </a:cubicBezTo>
                    <a:cubicBezTo>
                      <a:pt x="521" y="425"/>
                      <a:pt x="521" y="425"/>
                      <a:pt x="521" y="425"/>
                    </a:cubicBezTo>
                    <a:cubicBezTo>
                      <a:pt x="523" y="426"/>
                      <a:pt x="523" y="426"/>
                      <a:pt x="523" y="426"/>
                    </a:cubicBezTo>
                    <a:cubicBezTo>
                      <a:pt x="523" y="429"/>
                      <a:pt x="523" y="429"/>
                      <a:pt x="523" y="429"/>
                    </a:cubicBezTo>
                    <a:cubicBezTo>
                      <a:pt x="525" y="430"/>
                      <a:pt x="525" y="430"/>
                      <a:pt x="525" y="430"/>
                    </a:cubicBezTo>
                    <a:cubicBezTo>
                      <a:pt x="526" y="430"/>
                      <a:pt x="526" y="430"/>
                      <a:pt x="526" y="430"/>
                    </a:cubicBezTo>
                    <a:cubicBezTo>
                      <a:pt x="526" y="432"/>
                      <a:pt x="526" y="432"/>
                      <a:pt x="526" y="432"/>
                    </a:cubicBezTo>
                    <a:cubicBezTo>
                      <a:pt x="524" y="432"/>
                      <a:pt x="524" y="432"/>
                      <a:pt x="524" y="432"/>
                    </a:cubicBezTo>
                    <a:cubicBezTo>
                      <a:pt x="522" y="432"/>
                      <a:pt x="522" y="432"/>
                      <a:pt x="522" y="432"/>
                    </a:cubicBezTo>
                    <a:close/>
                    <a:moveTo>
                      <a:pt x="511" y="431"/>
                    </a:moveTo>
                    <a:cubicBezTo>
                      <a:pt x="511" y="430"/>
                      <a:pt x="511" y="430"/>
                      <a:pt x="511" y="430"/>
                    </a:cubicBezTo>
                    <a:cubicBezTo>
                      <a:pt x="511" y="428"/>
                      <a:pt x="511" y="428"/>
                      <a:pt x="511" y="428"/>
                    </a:cubicBezTo>
                    <a:cubicBezTo>
                      <a:pt x="511" y="427"/>
                      <a:pt x="511" y="427"/>
                      <a:pt x="511" y="427"/>
                    </a:cubicBezTo>
                    <a:cubicBezTo>
                      <a:pt x="511" y="424"/>
                      <a:pt x="511" y="424"/>
                      <a:pt x="511" y="424"/>
                    </a:cubicBezTo>
                    <a:cubicBezTo>
                      <a:pt x="512" y="423"/>
                      <a:pt x="512" y="423"/>
                      <a:pt x="512" y="423"/>
                    </a:cubicBezTo>
                    <a:cubicBezTo>
                      <a:pt x="513" y="423"/>
                      <a:pt x="513" y="423"/>
                      <a:pt x="513" y="423"/>
                    </a:cubicBezTo>
                    <a:cubicBezTo>
                      <a:pt x="513" y="425"/>
                      <a:pt x="513" y="425"/>
                      <a:pt x="513" y="425"/>
                    </a:cubicBezTo>
                    <a:cubicBezTo>
                      <a:pt x="513" y="425"/>
                      <a:pt x="513" y="425"/>
                      <a:pt x="513" y="425"/>
                    </a:cubicBezTo>
                    <a:cubicBezTo>
                      <a:pt x="513" y="426"/>
                      <a:pt x="513" y="426"/>
                      <a:pt x="513" y="426"/>
                    </a:cubicBezTo>
                    <a:cubicBezTo>
                      <a:pt x="514" y="428"/>
                      <a:pt x="514" y="428"/>
                      <a:pt x="514" y="428"/>
                    </a:cubicBezTo>
                    <a:cubicBezTo>
                      <a:pt x="512" y="431"/>
                      <a:pt x="512" y="431"/>
                      <a:pt x="512" y="431"/>
                    </a:cubicBezTo>
                    <a:cubicBezTo>
                      <a:pt x="511" y="431"/>
                      <a:pt x="511" y="431"/>
                      <a:pt x="511" y="431"/>
                    </a:cubicBezTo>
                    <a:close/>
                    <a:moveTo>
                      <a:pt x="510" y="384"/>
                    </a:moveTo>
                    <a:cubicBezTo>
                      <a:pt x="510" y="386"/>
                      <a:pt x="510" y="386"/>
                      <a:pt x="510" y="386"/>
                    </a:cubicBezTo>
                    <a:cubicBezTo>
                      <a:pt x="511" y="387"/>
                      <a:pt x="511" y="387"/>
                      <a:pt x="511" y="387"/>
                    </a:cubicBezTo>
                    <a:cubicBezTo>
                      <a:pt x="513" y="387"/>
                      <a:pt x="513" y="387"/>
                      <a:pt x="513" y="387"/>
                    </a:cubicBezTo>
                    <a:cubicBezTo>
                      <a:pt x="514" y="385"/>
                      <a:pt x="514" y="385"/>
                      <a:pt x="514" y="385"/>
                    </a:cubicBezTo>
                    <a:cubicBezTo>
                      <a:pt x="514" y="385"/>
                      <a:pt x="514" y="385"/>
                      <a:pt x="514" y="385"/>
                    </a:cubicBezTo>
                    <a:cubicBezTo>
                      <a:pt x="512" y="384"/>
                      <a:pt x="512" y="384"/>
                      <a:pt x="512" y="384"/>
                    </a:cubicBezTo>
                    <a:cubicBezTo>
                      <a:pt x="510" y="384"/>
                      <a:pt x="510" y="384"/>
                      <a:pt x="510" y="384"/>
                    </a:cubicBezTo>
                    <a:close/>
                    <a:moveTo>
                      <a:pt x="511" y="384"/>
                    </a:moveTo>
                    <a:cubicBezTo>
                      <a:pt x="512" y="382"/>
                      <a:pt x="512" y="382"/>
                      <a:pt x="512" y="382"/>
                    </a:cubicBezTo>
                    <a:cubicBezTo>
                      <a:pt x="512" y="380"/>
                      <a:pt x="512" y="380"/>
                      <a:pt x="512" y="380"/>
                    </a:cubicBezTo>
                    <a:cubicBezTo>
                      <a:pt x="514" y="378"/>
                      <a:pt x="514" y="378"/>
                      <a:pt x="514" y="378"/>
                    </a:cubicBezTo>
                    <a:cubicBezTo>
                      <a:pt x="515" y="377"/>
                      <a:pt x="515" y="377"/>
                      <a:pt x="515" y="377"/>
                    </a:cubicBezTo>
                    <a:cubicBezTo>
                      <a:pt x="515" y="377"/>
                      <a:pt x="515" y="377"/>
                      <a:pt x="515" y="377"/>
                    </a:cubicBezTo>
                    <a:cubicBezTo>
                      <a:pt x="515" y="379"/>
                      <a:pt x="515" y="379"/>
                      <a:pt x="515" y="379"/>
                    </a:cubicBezTo>
                    <a:cubicBezTo>
                      <a:pt x="515" y="381"/>
                      <a:pt x="515" y="381"/>
                      <a:pt x="515" y="381"/>
                    </a:cubicBezTo>
                    <a:cubicBezTo>
                      <a:pt x="515" y="383"/>
                      <a:pt x="515" y="383"/>
                      <a:pt x="515" y="383"/>
                    </a:cubicBezTo>
                    <a:cubicBezTo>
                      <a:pt x="513" y="384"/>
                      <a:pt x="513" y="384"/>
                      <a:pt x="513" y="384"/>
                    </a:cubicBezTo>
                    <a:cubicBezTo>
                      <a:pt x="511" y="384"/>
                      <a:pt x="511" y="384"/>
                      <a:pt x="511" y="384"/>
                    </a:cubicBezTo>
                    <a:close/>
                    <a:moveTo>
                      <a:pt x="418" y="364"/>
                    </a:moveTo>
                    <a:cubicBezTo>
                      <a:pt x="419" y="363"/>
                      <a:pt x="419" y="363"/>
                      <a:pt x="419" y="363"/>
                    </a:cubicBezTo>
                    <a:cubicBezTo>
                      <a:pt x="419" y="362"/>
                      <a:pt x="419" y="362"/>
                      <a:pt x="419" y="362"/>
                    </a:cubicBezTo>
                    <a:cubicBezTo>
                      <a:pt x="417" y="362"/>
                      <a:pt x="417" y="362"/>
                      <a:pt x="417" y="362"/>
                    </a:cubicBezTo>
                    <a:cubicBezTo>
                      <a:pt x="417" y="363"/>
                      <a:pt x="417" y="363"/>
                      <a:pt x="417" y="363"/>
                    </a:cubicBezTo>
                    <a:cubicBezTo>
                      <a:pt x="418" y="364"/>
                      <a:pt x="418" y="364"/>
                      <a:pt x="418" y="364"/>
                    </a:cubicBezTo>
                    <a:close/>
                    <a:moveTo>
                      <a:pt x="338" y="341"/>
                    </a:moveTo>
                    <a:cubicBezTo>
                      <a:pt x="339" y="340"/>
                      <a:pt x="339" y="340"/>
                      <a:pt x="339" y="340"/>
                    </a:cubicBezTo>
                    <a:cubicBezTo>
                      <a:pt x="341" y="340"/>
                      <a:pt x="341" y="340"/>
                      <a:pt x="341" y="340"/>
                    </a:cubicBezTo>
                    <a:cubicBezTo>
                      <a:pt x="340" y="341"/>
                      <a:pt x="340" y="341"/>
                      <a:pt x="340" y="341"/>
                    </a:cubicBezTo>
                    <a:cubicBezTo>
                      <a:pt x="340" y="341"/>
                      <a:pt x="338" y="341"/>
                      <a:pt x="338" y="341"/>
                    </a:cubicBezTo>
                    <a:close/>
                    <a:moveTo>
                      <a:pt x="332" y="344"/>
                    </a:moveTo>
                    <a:cubicBezTo>
                      <a:pt x="334" y="344"/>
                      <a:pt x="334" y="344"/>
                      <a:pt x="334" y="344"/>
                    </a:cubicBezTo>
                    <a:cubicBezTo>
                      <a:pt x="334" y="343"/>
                      <a:pt x="334" y="343"/>
                      <a:pt x="334" y="343"/>
                    </a:cubicBezTo>
                    <a:cubicBezTo>
                      <a:pt x="333" y="343"/>
                      <a:pt x="333" y="343"/>
                      <a:pt x="333" y="343"/>
                    </a:cubicBezTo>
                    <a:cubicBezTo>
                      <a:pt x="332" y="344"/>
                      <a:pt x="332" y="344"/>
                      <a:pt x="332" y="344"/>
                    </a:cubicBezTo>
                    <a:close/>
                    <a:moveTo>
                      <a:pt x="335" y="351"/>
                    </a:moveTo>
                    <a:cubicBezTo>
                      <a:pt x="335" y="350"/>
                      <a:pt x="335" y="350"/>
                      <a:pt x="335" y="350"/>
                    </a:cubicBezTo>
                    <a:cubicBezTo>
                      <a:pt x="335" y="350"/>
                      <a:pt x="335" y="350"/>
                      <a:pt x="335" y="350"/>
                    </a:cubicBezTo>
                    <a:cubicBezTo>
                      <a:pt x="336" y="351"/>
                      <a:pt x="336" y="351"/>
                      <a:pt x="336" y="351"/>
                    </a:cubicBezTo>
                    <a:cubicBezTo>
                      <a:pt x="335" y="351"/>
                      <a:pt x="335" y="351"/>
                      <a:pt x="335" y="351"/>
                    </a:cubicBezTo>
                    <a:close/>
                    <a:moveTo>
                      <a:pt x="335" y="352"/>
                    </a:moveTo>
                    <a:cubicBezTo>
                      <a:pt x="334" y="350"/>
                      <a:pt x="334" y="350"/>
                      <a:pt x="334" y="350"/>
                    </a:cubicBezTo>
                    <a:cubicBezTo>
                      <a:pt x="333" y="350"/>
                      <a:pt x="333" y="350"/>
                      <a:pt x="333" y="350"/>
                    </a:cubicBezTo>
                    <a:cubicBezTo>
                      <a:pt x="334" y="351"/>
                      <a:pt x="334" y="351"/>
                      <a:pt x="334" y="351"/>
                    </a:cubicBezTo>
                    <a:cubicBezTo>
                      <a:pt x="335" y="352"/>
                      <a:pt x="335" y="352"/>
                      <a:pt x="335" y="352"/>
                    </a:cubicBezTo>
                    <a:close/>
                    <a:moveTo>
                      <a:pt x="338" y="357"/>
                    </a:moveTo>
                    <a:cubicBezTo>
                      <a:pt x="339" y="359"/>
                      <a:pt x="339" y="359"/>
                      <a:pt x="339" y="359"/>
                    </a:cubicBezTo>
                    <a:cubicBezTo>
                      <a:pt x="340" y="359"/>
                      <a:pt x="340" y="359"/>
                      <a:pt x="340" y="359"/>
                    </a:cubicBezTo>
                    <a:cubicBezTo>
                      <a:pt x="341" y="358"/>
                      <a:pt x="341" y="358"/>
                      <a:pt x="341" y="358"/>
                    </a:cubicBezTo>
                    <a:cubicBezTo>
                      <a:pt x="340" y="357"/>
                      <a:pt x="340" y="357"/>
                      <a:pt x="340" y="357"/>
                    </a:cubicBezTo>
                    <a:cubicBezTo>
                      <a:pt x="341" y="356"/>
                      <a:pt x="341" y="356"/>
                      <a:pt x="341" y="356"/>
                    </a:cubicBezTo>
                    <a:cubicBezTo>
                      <a:pt x="340" y="356"/>
                      <a:pt x="340" y="356"/>
                      <a:pt x="340" y="356"/>
                    </a:cubicBezTo>
                    <a:cubicBezTo>
                      <a:pt x="339" y="357"/>
                      <a:pt x="339" y="357"/>
                      <a:pt x="339" y="357"/>
                    </a:cubicBezTo>
                    <a:cubicBezTo>
                      <a:pt x="339" y="356"/>
                      <a:pt x="339" y="356"/>
                      <a:pt x="339" y="356"/>
                    </a:cubicBezTo>
                    <a:cubicBezTo>
                      <a:pt x="338" y="357"/>
                      <a:pt x="338" y="357"/>
                      <a:pt x="338" y="357"/>
                    </a:cubicBezTo>
                    <a:close/>
                    <a:moveTo>
                      <a:pt x="335" y="369"/>
                    </a:moveTo>
                    <a:cubicBezTo>
                      <a:pt x="335" y="365"/>
                      <a:pt x="335" y="365"/>
                      <a:pt x="335" y="365"/>
                    </a:cubicBezTo>
                    <a:cubicBezTo>
                      <a:pt x="336" y="364"/>
                      <a:pt x="336" y="364"/>
                      <a:pt x="336" y="364"/>
                    </a:cubicBezTo>
                    <a:cubicBezTo>
                      <a:pt x="336" y="363"/>
                      <a:pt x="336" y="363"/>
                      <a:pt x="336" y="363"/>
                    </a:cubicBezTo>
                    <a:cubicBezTo>
                      <a:pt x="337" y="361"/>
                      <a:pt x="337" y="361"/>
                      <a:pt x="337" y="361"/>
                    </a:cubicBezTo>
                    <a:cubicBezTo>
                      <a:pt x="338" y="362"/>
                      <a:pt x="338" y="362"/>
                      <a:pt x="338" y="362"/>
                    </a:cubicBezTo>
                    <a:cubicBezTo>
                      <a:pt x="337" y="363"/>
                      <a:pt x="337" y="363"/>
                      <a:pt x="337" y="363"/>
                    </a:cubicBezTo>
                    <a:cubicBezTo>
                      <a:pt x="338" y="364"/>
                      <a:pt x="338" y="364"/>
                      <a:pt x="338" y="364"/>
                    </a:cubicBezTo>
                    <a:cubicBezTo>
                      <a:pt x="337" y="365"/>
                      <a:pt x="337" y="365"/>
                      <a:pt x="337" y="365"/>
                    </a:cubicBezTo>
                    <a:cubicBezTo>
                      <a:pt x="338" y="366"/>
                      <a:pt x="338" y="366"/>
                      <a:pt x="338" y="366"/>
                    </a:cubicBezTo>
                    <a:cubicBezTo>
                      <a:pt x="337" y="367"/>
                      <a:pt x="337" y="367"/>
                      <a:pt x="337" y="367"/>
                    </a:cubicBezTo>
                    <a:cubicBezTo>
                      <a:pt x="336" y="368"/>
                      <a:pt x="336" y="368"/>
                      <a:pt x="336" y="368"/>
                    </a:cubicBezTo>
                    <a:cubicBezTo>
                      <a:pt x="335" y="369"/>
                      <a:pt x="335" y="369"/>
                      <a:pt x="335" y="369"/>
                    </a:cubicBezTo>
                    <a:close/>
                    <a:moveTo>
                      <a:pt x="407" y="323"/>
                    </a:moveTo>
                    <a:cubicBezTo>
                      <a:pt x="407" y="323"/>
                      <a:pt x="407" y="323"/>
                      <a:pt x="407" y="323"/>
                    </a:cubicBezTo>
                    <a:cubicBezTo>
                      <a:pt x="408" y="322"/>
                      <a:pt x="408" y="322"/>
                      <a:pt x="408" y="322"/>
                    </a:cubicBezTo>
                    <a:cubicBezTo>
                      <a:pt x="408" y="323"/>
                      <a:pt x="408" y="323"/>
                      <a:pt x="408" y="323"/>
                    </a:cubicBezTo>
                    <a:cubicBezTo>
                      <a:pt x="408" y="324"/>
                      <a:pt x="408" y="324"/>
                      <a:pt x="408" y="324"/>
                    </a:cubicBezTo>
                    <a:cubicBezTo>
                      <a:pt x="407" y="323"/>
                      <a:pt x="407" y="323"/>
                      <a:pt x="407" y="323"/>
                    </a:cubicBezTo>
                    <a:close/>
                    <a:moveTo>
                      <a:pt x="431" y="309"/>
                    </a:moveTo>
                    <a:cubicBezTo>
                      <a:pt x="431" y="306"/>
                      <a:pt x="431" y="306"/>
                      <a:pt x="431" y="306"/>
                    </a:cubicBezTo>
                    <a:cubicBezTo>
                      <a:pt x="430" y="305"/>
                      <a:pt x="430" y="305"/>
                      <a:pt x="430" y="305"/>
                    </a:cubicBezTo>
                    <a:cubicBezTo>
                      <a:pt x="431" y="303"/>
                      <a:pt x="431" y="303"/>
                      <a:pt x="431" y="303"/>
                    </a:cubicBezTo>
                    <a:cubicBezTo>
                      <a:pt x="432" y="303"/>
                      <a:pt x="432" y="303"/>
                      <a:pt x="432" y="303"/>
                    </a:cubicBezTo>
                    <a:cubicBezTo>
                      <a:pt x="432" y="303"/>
                      <a:pt x="432" y="303"/>
                      <a:pt x="432" y="303"/>
                    </a:cubicBezTo>
                    <a:cubicBezTo>
                      <a:pt x="432" y="304"/>
                      <a:pt x="432" y="304"/>
                      <a:pt x="432" y="304"/>
                    </a:cubicBezTo>
                    <a:cubicBezTo>
                      <a:pt x="433" y="305"/>
                      <a:pt x="433" y="305"/>
                      <a:pt x="433" y="305"/>
                    </a:cubicBezTo>
                    <a:cubicBezTo>
                      <a:pt x="432" y="306"/>
                      <a:pt x="432" y="306"/>
                      <a:pt x="432" y="306"/>
                    </a:cubicBezTo>
                    <a:cubicBezTo>
                      <a:pt x="432" y="308"/>
                      <a:pt x="432" y="308"/>
                      <a:pt x="432" y="308"/>
                    </a:cubicBezTo>
                    <a:cubicBezTo>
                      <a:pt x="431" y="309"/>
                      <a:pt x="431" y="309"/>
                      <a:pt x="431" y="309"/>
                    </a:cubicBezTo>
                    <a:close/>
                    <a:moveTo>
                      <a:pt x="404" y="338"/>
                    </a:moveTo>
                    <a:cubicBezTo>
                      <a:pt x="405" y="338"/>
                      <a:pt x="405" y="338"/>
                      <a:pt x="405" y="338"/>
                    </a:cubicBezTo>
                    <a:cubicBezTo>
                      <a:pt x="404" y="336"/>
                      <a:pt x="404" y="336"/>
                      <a:pt x="404" y="336"/>
                    </a:cubicBezTo>
                    <a:cubicBezTo>
                      <a:pt x="405" y="335"/>
                      <a:pt x="405" y="335"/>
                      <a:pt x="405" y="335"/>
                    </a:cubicBezTo>
                    <a:cubicBezTo>
                      <a:pt x="405" y="334"/>
                      <a:pt x="405" y="334"/>
                      <a:pt x="405" y="334"/>
                    </a:cubicBezTo>
                    <a:cubicBezTo>
                      <a:pt x="406" y="333"/>
                      <a:pt x="406" y="333"/>
                      <a:pt x="406" y="333"/>
                    </a:cubicBezTo>
                    <a:cubicBezTo>
                      <a:pt x="406" y="332"/>
                      <a:pt x="406" y="332"/>
                      <a:pt x="406" y="332"/>
                    </a:cubicBezTo>
                    <a:cubicBezTo>
                      <a:pt x="405" y="332"/>
                      <a:pt x="405" y="332"/>
                      <a:pt x="405" y="332"/>
                    </a:cubicBezTo>
                    <a:cubicBezTo>
                      <a:pt x="404" y="330"/>
                      <a:pt x="404" y="330"/>
                      <a:pt x="404" y="330"/>
                    </a:cubicBezTo>
                    <a:cubicBezTo>
                      <a:pt x="405" y="329"/>
                      <a:pt x="405" y="329"/>
                      <a:pt x="405" y="329"/>
                    </a:cubicBezTo>
                    <a:cubicBezTo>
                      <a:pt x="406" y="328"/>
                      <a:pt x="406" y="328"/>
                      <a:pt x="406" y="328"/>
                    </a:cubicBezTo>
                    <a:cubicBezTo>
                      <a:pt x="407" y="327"/>
                      <a:pt x="407" y="327"/>
                      <a:pt x="407" y="327"/>
                    </a:cubicBezTo>
                    <a:cubicBezTo>
                      <a:pt x="405" y="326"/>
                      <a:pt x="405" y="326"/>
                      <a:pt x="405" y="326"/>
                    </a:cubicBezTo>
                    <a:cubicBezTo>
                      <a:pt x="403" y="326"/>
                      <a:pt x="403" y="326"/>
                      <a:pt x="403" y="326"/>
                    </a:cubicBezTo>
                    <a:cubicBezTo>
                      <a:pt x="403" y="327"/>
                      <a:pt x="403" y="327"/>
                      <a:pt x="403" y="327"/>
                    </a:cubicBezTo>
                    <a:cubicBezTo>
                      <a:pt x="403" y="328"/>
                      <a:pt x="403" y="328"/>
                      <a:pt x="403" y="328"/>
                    </a:cubicBezTo>
                    <a:cubicBezTo>
                      <a:pt x="401" y="327"/>
                      <a:pt x="401" y="327"/>
                      <a:pt x="401" y="327"/>
                    </a:cubicBezTo>
                    <a:cubicBezTo>
                      <a:pt x="399" y="327"/>
                      <a:pt x="399" y="327"/>
                      <a:pt x="399" y="327"/>
                    </a:cubicBezTo>
                    <a:cubicBezTo>
                      <a:pt x="397" y="330"/>
                      <a:pt x="397" y="330"/>
                      <a:pt x="397" y="330"/>
                    </a:cubicBezTo>
                    <a:cubicBezTo>
                      <a:pt x="395" y="331"/>
                      <a:pt x="395" y="331"/>
                      <a:pt x="395" y="331"/>
                    </a:cubicBezTo>
                    <a:cubicBezTo>
                      <a:pt x="395" y="330"/>
                      <a:pt x="395" y="330"/>
                      <a:pt x="395" y="330"/>
                    </a:cubicBezTo>
                    <a:cubicBezTo>
                      <a:pt x="397" y="329"/>
                      <a:pt x="397" y="329"/>
                      <a:pt x="397" y="329"/>
                    </a:cubicBezTo>
                    <a:cubicBezTo>
                      <a:pt x="398" y="327"/>
                      <a:pt x="398" y="327"/>
                      <a:pt x="398" y="327"/>
                    </a:cubicBezTo>
                    <a:cubicBezTo>
                      <a:pt x="398" y="325"/>
                      <a:pt x="398" y="325"/>
                      <a:pt x="398" y="325"/>
                    </a:cubicBezTo>
                    <a:cubicBezTo>
                      <a:pt x="397" y="326"/>
                      <a:pt x="397" y="326"/>
                      <a:pt x="397" y="326"/>
                    </a:cubicBezTo>
                    <a:cubicBezTo>
                      <a:pt x="396" y="326"/>
                      <a:pt x="396" y="326"/>
                      <a:pt x="396" y="326"/>
                    </a:cubicBezTo>
                    <a:cubicBezTo>
                      <a:pt x="396" y="324"/>
                      <a:pt x="396" y="324"/>
                      <a:pt x="396" y="324"/>
                    </a:cubicBezTo>
                    <a:cubicBezTo>
                      <a:pt x="398" y="323"/>
                      <a:pt x="398" y="323"/>
                      <a:pt x="398" y="323"/>
                    </a:cubicBezTo>
                    <a:cubicBezTo>
                      <a:pt x="397" y="321"/>
                      <a:pt x="397" y="321"/>
                      <a:pt x="397" y="321"/>
                    </a:cubicBezTo>
                    <a:cubicBezTo>
                      <a:pt x="398" y="319"/>
                      <a:pt x="398" y="319"/>
                      <a:pt x="398" y="319"/>
                    </a:cubicBezTo>
                    <a:cubicBezTo>
                      <a:pt x="399" y="319"/>
                      <a:pt x="399" y="319"/>
                      <a:pt x="399" y="319"/>
                    </a:cubicBezTo>
                    <a:cubicBezTo>
                      <a:pt x="399" y="320"/>
                      <a:pt x="399" y="320"/>
                      <a:pt x="399" y="320"/>
                    </a:cubicBezTo>
                    <a:cubicBezTo>
                      <a:pt x="400" y="323"/>
                      <a:pt x="400" y="323"/>
                      <a:pt x="400" y="323"/>
                    </a:cubicBezTo>
                    <a:cubicBezTo>
                      <a:pt x="401" y="324"/>
                      <a:pt x="401" y="324"/>
                      <a:pt x="401" y="324"/>
                    </a:cubicBezTo>
                    <a:cubicBezTo>
                      <a:pt x="402" y="324"/>
                      <a:pt x="402" y="324"/>
                      <a:pt x="402" y="324"/>
                    </a:cubicBezTo>
                    <a:cubicBezTo>
                      <a:pt x="404" y="324"/>
                      <a:pt x="404" y="324"/>
                      <a:pt x="404" y="324"/>
                    </a:cubicBezTo>
                    <a:cubicBezTo>
                      <a:pt x="405" y="322"/>
                      <a:pt x="405" y="322"/>
                      <a:pt x="405" y="322"/>
                    </a:cubicBezTo>
                    <a:cubicBezTo>
                      <a:pt x="404" y="321"/>
                      <a:pt x="404" y="321"/>
                      <a:pt x="404" y="321"/>
                    </a:cubicBezTo>
                    <a:cubicBezTo>
                      <a:pt x="404" y="320"/>
                      <a:pt x="404" y="320"/>
                      <a:pt x="404" y="320"/>
                    </a:cubicBezTo>
                    <a:cubicBezTo>
                      <a:pt x="405" y="320"/>
                      <a:pt x="405" y="320"/>
                      <a:pt x="405" y="320"/>
                    </a:cubicBezTo>
                    <a:cubicBezTo>
                      <a:pt x="406" y="321"/>
                      <a:pt x="406" y="321"/>
                      <a:pt x="406" y="321"/>
                    </a:cubicBezTo>
                    <a:cubicBezTo>
                      <a:pt x="407" y="320"/>
                      <a:pt x="407" y="320"/>
                      <a:pt x="407" y="320"/>
                    </a:cubicBezTo>
                    <a:cubicBezTo>
                      <a:pt x="408" y="319"/>
                      <a:pt x="408" y="319"/>
                      <a:pt x="408" y="319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09" y="319"/>
                      <a:pt x="409" y="319"/>
                      <a:pt x="409" y="319"/>
                    </a:cubicBezTo>
                    <a:cubicBezTo>
                      <a:pt x="410" y="319"/>
                      <a:pt x="410" y="319"/>
                      <a:pt x="410" y="319"/>
                    </a:cubicBezTo>
                    <a:cubicBezTo>
                      <a:pt x="412" y="317"/>
                      <a:pt x="412" y="317"/>
                      <a:pt x="412" y="317"/>
                    </a:cubicBezTo>
                    <a:cubicBezTo>
                      <a:pt x="410" y="320"/>
                      <a:pt x="410" y="320"/>
                      <a:pt x="410" y="320"/>
                    </a:cubicBezTo>
                    <a:cubicBezTo>
                      <a:pt x="410" y="323"/>
                      <a:pt x="410" y="323"/>
                      <a:pt x="410" y="323"/>
                    </a:cubicBezTo>
                    <a:cubicBezTo>
                      <a:pt x="411" y="322"/>
                      <a:pt x="411" y="322"/>
                      <a:pt x="411" y="322"/>
                    </a:cubicBezTo>
                    <a:cubicBezTo>
                      <a:pt x="412" y="323"/>
                      <a:pt x="412" y="323"/>
                      <a:pt x="412" y="323"/>
                    </a:cubicBezTo>
                    <a:cubicBezTo>
                      <a:pt x="411" y="324"/>
                      <a:pt x="411" y="324"/>
                      <a:pt x="411" y="324"/>
                    </a:cubicBezTo>
                    <a:cubicBezTo>
                      <a:pt x="412" y="324"/>
                      <a:pt x="412" y="324"/>
                      <a:pt x="412" y="324"/>
                    </a:cubicBezTo>
                    <a:cubicBezTo>
                      <a:pt x="413" y="322"/>
                      <a:pt x="413" y="322"/>
                      <a:pt x="413" y="322"/>
                    </a:cubicBezTo>
                    <a:cubicBezTo>
                      <a:pt x="414" y="321"/>
                      <a:pt x="414" y="321"/>
                      <a:pt x="414" y="321"/>
                    </a:cubicBezTo>
                    <a:cubicBezTo>
                      <a:pt x="416" y="319"/>
                      <a:pt x="416" y="319"/>
                      <a:pt x="416" y="319"/>
                    </a:cubicBezTo>
                    <a:cubicBezTo>
                      <a:pt x="417" y="318"/>
                      <a:pt x="417" y="318"/>
                      <a:pt x="417" y="318"/>
                    </a:cubicBezTo>
                    <a:cubicBezTo>
                      <a:pt x="416" y="320"/>
                      <a:pt x="416" y="320"/>
                      <a:pt x="416" y="320"/>
                    </a:cubicBezTo>
                    <a:cubicBezTo>
                      <a:pt x="415" y="322"/>
                      <a:pt x="415" y="322"/>
                      <a:pt x="415" y="322"/>
                    </a:cubicBezTo>
                    <a:cubicBezTo>
                      <a:pt x="415" y="325"/>
                      <a:pt x="415" y="325"/>
                      <a:pt x="415" y="325"/>
                    </a:cubicBezTo>
                    <a:cubicBezTo>
                      <a:pt x="417" y="325"/>
                      <a:pt x="417" y="325"/>
                      <a:pt x="417" y="325"/>
                    </a:cubicBezTo>
                    <a:cubicBezTo>
                      <a:pt x="418" y="326"/>
                      <a:pt x="418" y="326"/>
                      <a:pt x="418" y="326"/>
                    </a:cubicBezTo>
                    <a:cubicBezTo>
                      <a:pt x="419" y="325"/>
                      <a:pt x="419" y="325"/>
                      <a:pt x="419" y="325"/>
                    </a:cubicBezTo>
                    <a:cubicBezTo>
                      <a:pt x="421" y="323"/>
                      <a:pt x="421" y="323"/>
                      <a:pt x="421" y="323"/>
                    </a:cubicBezTo>
                    <a:cubicBezTo>
                      <a:pt x="421" y="320"/>
                      <a:pt x="421" y="320"/>
                      <a:pt x="421" y="320"/>
                    </a:cubicBezTo>
                    <a:cubicBezTo>
                      <a:pt x="422" y="318"/>
                      <a:pt x="422" y="318"/>
                      <a:pt x="422" y="318"/>
                    </a:cubicBezTo>
                    <a:cubicBezTo>
                      <a:pt x="422" y="316"/>
                      <a:pt x="422" y="316"/>
                      <a:pt x="422" y="316"/>
                    </a:cubicBezTo>
                    <a:cubicBezTo>
                      <a:pt x="423" y="315"/>
                      <a:pt x="423" y="315"/>
                      <a:pt x="423" y="315"/>
                    </a:cubicBezTo>
                    <a:cubicBezTo>
                      <a:pt x="422" y="314"/>
                      <a:pt x="422" y="314"/>
                      <a:pt x="422" y="314"/>
                    </a:cubicBezTo>
                    <a:cubicBezTo>
                      <a:pt x="421" y="314"/>
                      <a:pt x="421" y="314"/>
                      <a:pt x="421" y="314"/>
                    </a:cubicBezTo>
                    <a:cubicBezTo>
                      <a:pt x="420" y="313"/>
                      <a:pt x="420" y="313"/>
                      <a:pt x="420" y="313"/>
                    </a:cubicBezTo>
                    <a:cubicBezTo>
                      <a:pt x="419" y="314"/>
                      <a:pt x="419" y="314"/>
                      <a:pt x="419" y="314"/>
                    </a:cubicBezTo>
                    <a:cubicBezTo>
                      <a:pt x="419" y="312"/>
                      <a:pt x="419" y="312"/>
                      <a:pt x="419" y="312"/>
                    </a:cubicBezTo>
                    <a:cubicBezTo>
                      <a:pt x="420" y="312"/>
                      <a:pt x="420" y="312"/>
                      <a:pt x="420" y="312"/>
                    </a:cubicBezTo>
                    <a:cubicBezTo>
                      <a:pt x="419" y="311"/>
                      <a:pt x="419" y="311"/>
                      <a:pt x="419" y="311"/>
                    </a:cubicBezTo>
                    <a:cubicBezTo>
                      <a:pt x="417" y="311"/>
                      <a:pt x="417" y="311"/>
                      <a:pt x="417" y="311"/>
                    </a:cubicBezTo>
                    <a:cubicBezTo>
                      <a:pt x="417" y="310"/>
                      <a:pt x="417" y="310"/>
                      <a:pt x="417" y="310"/>
                    </a:cubicBezTo>
                    <a:cubicBezTo>
                      <a:pt x="415" y="308"/>
                      <a:pt x="415" y="308"/>
                      <a:pt x="415" y="308"/>
                    </a:cubicBezTo>
                    <a:cubicBezTo>
                      <a:pt x="415" y="307"/>
                      <a:pt x="415" y="307"/>
                      <a:pt x="415" y="307"/>
                    </a:cubicBezTo>
                    <a:cubicBezTo>
                      <a:pt x="414" y="304"/>
                      <a:pt x="414" y="304"/>
                      <a:pt x="414" y="304"/>
                    </a:cubicBezTo>
                    <a:cubicBezTo>
                      <a:pt x="414" y="302"/>
                      <a:pt x="414" y="302"/>
                      <a:pt x="414" y="302"/>
                    </a:cubicBezTo>
                    <a:cubicBezTo>
                      <a:pt x="415" y="299"/>
                      <a:pt x="415" y="299"/>
                      <a:pt x="415" y="299"/>
                    </a:cubicBezTo>
                    <a:cubicBezTo>
                      <a:pt x="414" y="297"/>
                      <a:pt x="414" y="297"/>
                      <a:pt x="414" y="297"/>
                    </a:cubicBezTo>
                    <a:cubicBezTo>
                      <a:pt x="413" y="299"/>
                      <a:pt x="413" y="299"/>
                      <a:pt x="413" y="299"/>
                    </a:cubicBezTo>
                    <a:cubicBezTo>
                      <a:pt x="413" y="301"/>
                      <a:pt x="413" y="301"/>
                      <a:pt x="413" y="301"/>
                    </a:cubicBezTo>
                    <a:cubicBezTo>
                      <a:pt x="411" y="299"/>
                      <a:pt x="411" y="299"/>
                      <a:pt x="411" y="299"/>
                    </a:cubicBezTo>
                    <a:cubicBezTo>
                      <a:pt x="409" y="298"/>
                      <a:pt x="409" y="298"/>
                      <a:pt x="409" y="298"/>
                    </a:cubicBezTo>
                    <a:cubicBezTo>
                      <a:pt x="409" y="293"/>
                      <a:pt x="409" y="293"/>
                      <a:pt x="409" y="293"/>
                    </a:cubicBezTo>
                    <a:cubicBezTo>
                      <a:pt x="408" y="293"/>
                      <a:pt x="408" y="293"/>
                      <a:pt x="408" y="293"/>
                    </a:cubicBezTo>
                    <a:cubicBezTo>
                      <a:pt x="407" y="290"/>
                      <a:pt x="407" y="290"/>
                      <a:pt x="407" y="290"/>
                    </a:cubicBezTo>
                    <a:cubicBezTo>
                      <a:pt x="406" y="288"/>
                      <a:pt x="406" y="288"/>
                      <a:pt x="406" y="288"/>
                    </a:cubicBezTo>
                    <a:cubicBezTo>
                      <a:pt x="406" y="286"/>
                      <a:pt x="406" y="286"/>
                      <a:pt x="406" y="286"/>
                    </a:cubicBezTo>
                    <a:cubicBezTo>
                      <a:pt x="405" y="285"/>
                      <a:pt x="405" y="285"/>
                      <a:pt x="405" y="285"/>
                    </a:cubicBezTo>
                    <a:cubicBezTo>
                      <a:pt x="405" y="283"/>
                      <a:pt x="405" y="283"/>
                      <a:pt x="405" y="283"/>
                    </a:cubicBezTo>
                    <a:cubicBezTo>
                      <a:pt x="407" y="283"/>
                      <a:pt x="407" y="283"/>
                      <a:pt x="407" y="283"/>
                    </a:cubicBezTo>
                    <a:cubicBezTo>
                      <a:pt x="408" y="281"/>
                      <a:pt x="408" y="281"/>
                      <a:pt x="408" y="281"/>
                    </a:cubicBezTo>
                    <a:cubicBezTo>
                      <a:pt x="409" y="281"/>
                      <a:pt x="409" y="281"/>
                      <a:pt x="409" y="281"/>
                    </a:cubicBezTo>
                    <a:cubicBezTo>
                      <a:pt x="409" y="281"/>
                      <a:pt x="409" y="281"/>
                      <a:pt x="409" y="281"/>
                    </a:cubicBezTo>
                    <a:cubicBezTo>
                      <a:pt x="411" y="281"/>
                      <a:pt x="411" y="281"/>
                      <a:pt x="411" y="281"/>
                    </a:cubicBezTo>
                    <a:cubicBezTo>
                      <a:pt x="411" y="279"/>
                      <a:pt x="411" y="279"/>
                      <a:pt x="411" y="279"/>
                    </a:cubicBezTo>
                    <a:cubicBezTo>
                      <a:pt x="412" y="275"/>
                      <a:pt x="412" y="275"/>
                      <a:pt x="412" y="275"/>
                    </a:cubicBezTo>
                    <a:cubicBezTo>
                      <a:pt x="412" y="272"/>
                      <a:pt x="412" y="272"/>
                      <a:pt x="412" y="272"/>
                    </a:cubicBezTo>
                    <a:cubicBezTo>
                      <a:pt x="413" y="271"/>
                      <a:pt x="413" y="271"/>
                      <a:pt x="413" y="271"/>
                    </a:cubicBezTo>
                    <a:cubicBezTo>
                      <a:pt x="411" y="268"/>
                      <a:pt x="411" y="268"/>
                      <a:pt x="411" y="268"/>
                    </a:cubicBezTo>
                    <a:cubicBezTo>
                      <a:pt x="412" y="266"/>
                      <a:pt x="412" y="266"/>
                      <a:pt x="412" y="266"/>
                    </a:cubicBezTo>
                    <a:cubicBezTo>
                      <a:pt x="413" y="266"/>
                      <a:pt x="413" y="266"/>
                      <a:pt x="413" y="266"/>
                    </a:cubicBezTo>
                    <a:cubicBezTo>
                      <a:pt x="414" y="263"/>
                      <a:pt x="414" y="263"/>
                      <a:pt x="414" y="263"/>
                    </a:cubicBezTo>
                    <a:cubicBezTo>
                      <a:pt x="415" y="260"/>
                      <a:pt x="415" y="260"/>
                      <a:pt x="415" y="260"/>
                    </a:cubicBezTo>
                    <a:cubicBezTo>
                      <a:pt x="416" y="259"/>
                      <a:pt x="416" y="259"/>
                      <a:pt x="416" y="259"/>
                    </a:cubicBezTo>
                    <a:cubicBezTo>
                      <a:pt x="417" y="257"/>
                      <a:pt x="417" y="257"/>
                      <a:pt x="417" y="257"/>
                    </a:cubicBezTo>
                    <a:cubicBezTo>
                      <a:pt x="417" y="253"/>
                      <a:pt x="417" y="253"/>
                      <a:pt x="417" y="253"/>
                    </a:cubicBezTo>
                    <a:cubicBezTo>
                      <a:pt x="418" y="253"/>
                      <a:pt x="418" y="253"/>
                      <a:pt x="418" y="253"/>
                    </a:cubicBezTo>
                    <a:cubicBezTo>
                      <a:pt x="418" y="251"/>
                      <a:pt x="418" y="251"/>
                      <a:pt x="418" y="251"/>
                    </a:cubicBezTo>
                    <a:cubicBezTo>
                      <a:pt x="420" y="249"/>
                      <a:pt x="420" y="249"/>
                      <a:pt x="420" y="249"/>
                    </a:cubicBezTo>
                    <a:cubicBezTo>
                      <a:pt x="420" y="247"/>
                      <a:pt x="420" y="247"/>
                      <a:pt x="420" y="247"/>
                    </a:cubicBezTo>
                    <a:cubicBezTo>
                      <a:pt x="420" y="245"/>
                      <a:pt x="420" y="245"/>
                      <a:pt x="420" y="245"/>
                    </a:cubicBezTo>
                    <a:cubicBezTo>
                      <a:pt x="421" y="245"/>
                      <a:pt x="421" y="245"/>
                      <a:pt x="421" y="245"/>
                    </a:cubicBezTo>
                    <a:cubicBezTo>
                      <a:pt x="421" y="243"/>
                      <a:pt x="421" y="243"/>
                      <a:pt x="421" y="243"/>
                    </a:cubicBezTo>
                    <a:cubicBezTo>
                      <a:pt x="420" y="241"/>
                      <a:pt x="420" y="241"/>
                      <a:pt x="420" y="241"/>
                    </a:cubicBezTo>
                    <a:cubicBezTo>
                      <a:pt x="421" y="240"/>
                      <a:pt x="421" y="240"/>
                      <a:pt x="421" y="240"/>
                    </a:cubicBezTo>
                    <a:cubicBezTo>
                      <a:pt x="421" y="238"/>
                      <a:pt x="421" y="238"/>
                      <a:pt x="421" y="238"/>
                    </a:cubicBezTo>
                    <a:cubicBezTo>
                      <a:pt x="419" y="237"/>
                      <a:pt x="419" y="237"/>
                      <a:pt x="419" y="237"/>
                    </a:cubicBezTo>
                    <a:cubicBezTo>
                      <a:pt x="418" y="234"/>
                      <a:pt x="418" y="234"/>
                      <a:pt x="418" y="234"/>
                    </a:cubicBezTo>
                    <a:cubicBezTo>
                      <a:pt x="419" y="233"/>
                      <a:pt x="419" y="233"/>
                      <a:pt x="419" y="233"/>
                    </a:cubicBezTo>
                    <a:cubicBezTo>
                      <a:pt x="417" y="230"/>
                      <a:pt x="417" y="230"/>
                      <a:pt x="417" y="230"/>
                    </a:cubicBezTo>
                    <a:cubicBezTo>
                      <a:pt x="416" y="230"/>
                      <a:pt x="416" y="230"/>
                      <a:pt x="416" y="230"/>
                    </a:cubicBezTo>
                    <a:cubicBezTo>
                      <a:pt x="415" y="229"/>
                      <a:pt x="415" y="229"/>
                      <a:pt x="415" y="229"/>
                    </a:cubicBezTo>
                    <a:cubicBezTo>
                      <a:pt x="414" y="229"/>
                      <a:pt x="414" y="229"/>
                      <a:pt x="414" y="229"/>
                    </a:cubicBezTo>
                    <a:cubicBezTo>
                      <a:pt x="414" y="232"/>
                      <a:pt x="414" y="232"/>
                      <a:pt x="414" y="232"/>
                    </a:cubicBezTo>
                    <a:cubicBezTo>
                      <a:pt x="413" y="231"/>
                      <a:pt x="413" y="231"/>
                      <a:pt x="413" y="231"/>
                    </a:cubicBezTo>
                    <a:cubicBezTo>
                      <a:pt x="411" y="228"/>
                      <a:pt x="411" y="228"/>
                      <a:pt x="411" y="228"/>
                    </a:cubicBezTo>
                    <a:cubicBezTo>
                      <a:pt x="410" y="227"/>
                      <a:pt x="410" y="227"/>
                      <a:pt x="410" y="227"/>
                    </a:cubicBezTo>
                    <a:cubicBezTo>
                      <a:pt x="408" y="226"/>
                      <a:pt x="408" y="226"/>
                      <a:pt x="408" y="226"/>
                    </a:cubicBezTo>
                    <a:cubicBezTo>
                      <a:pt x="407" y="227"/>
                      <a:pt x="407" y="227"/>
                      <a:pt x="407" y="227"/>
                    </a:cubicBezTo>
                    <a:cubicBezTo>
                      <a:pt x="407" y="229"/>
                      <a:pt x="407" y="229"/>
                      <a:pt x="407" y="229"/>
                    </a:cubicBezTo>
                    <a:cubicBezTo>
                      <a:pt x="407" y="230"/>
                      <a:pt x="407" y="230"/>
                      <a:pt x="407" y="230"/>
                    </a:cubicBezTo>
                    <a:cubicBezTo>
                      <a:pt x="405" y="229"/>
                      <a:pt x="405" y="229"/>
                      <a:pt x="405" y="229"/>
                    </a:cubicBezTo>
                    <a:cubicBezTo>
                      <a:pt x="404" y="232"/>
                      <a:pt x="404" y="232"/>
                      <a:pt x="404" y="232"/>
                    </a:cubicBezTo>
                    <a:cubicBezTo>
                      <a:pt x="404" y="233"/>
                      <a:pt x="404" y="233"/>
                      <a:pt x="404" y="233"/>
                    </a:cubicBezTo>
                    <a:cubicBezTo>
                      <a:pt x="403" y="234"/>
                      <a:pt x="403" y="234"/>
                      <a:pt x="403" y="234"/>
                    </a:cubicBezTo>
                    <a:cubicBezTo>
                      <a:pt x="402" y="238"/>
                      <a:pt x="402" y="238"/>
                      <a:pt x="402" y="238"/>
                    </a:cubicBezTo>
                    <a:cubicBezTo>
                      <a:pt x="402" y="240"/>
                      <a:pt x="402" y="240"/>
                      <a:pt x="402" y="240"/>
                    </a:cubicBezTo>
                    <a:cubicBezTo>
                      <a:pt x="401" y="242"/>
                      <a:pt x="401" y="242"/>
                      <a:pt x="401" y="242"/>
                    </a:cubicBezTo>
                    <a:cubicBezTo>
                      <a:pt x="401" y="244"/>
                      <a:pt x="401" y="244"/>
                      <a:pt x="401" y="244"/>
                    </a:cubicBezTo>
                    <a:cubicBezTo>
                      <a:pt x="400" y="245"/>
                      <a:pt x="400" y="245"/>
                      <a:pt x="400" y="245"/>
                    </a:cubicBezTo>
                    <a:cubicBezTo>
                      <a:pt x="400" y="246"/>
                      <a:pt x="400" y="246"/>
                      <a:pt x="400" y="246"/>
                    </a:cubicBezTo>
                    <a:cubicBezTo>
                      <a:pt x="398" y="247"/>
                      <a:pt x="398" y="247"/>
                      <a:pt x="398" y="247"/>
                    </a:cubicBezTo>
                    <a:cubicBezTo>
                      <a:pt x="398" y="251"/>
                      <a:pt x="398" y="251"/>
                      <a:pt x="398" y="251"/>
                    </a:cubicBezTo>
                    <a:cubicBezTo>
                      <a:pt x="397" y="252"/>
                      <a:pt x="397" y="252"/>
                      <a:pt x="397" y="252"/>
                    </a:cubicBezTo>
                    <a:cubicBezTo>
                      <a:pt x="396" y="252"/>
                      <a:pt x="396" y="252"/>
                      <a:pt x="396" y="252"/>
                    </a:cubicBezTo>
                    <a:cubicBezTo>
                      <a:pt x="395" y="255"/>
                      <a:pt x="395" y="255"/>
                      <a:pt x="395" y="255"/>
                    </a:cubicBezTo>
                    <a:cubicBezTo>
                      <a:pt x="395" y="256"/>
                      <a:pt x="395" y="256"/>
                      <a:pt x="395" y="256"/>
                    </a:cubicBezTo>
                    <a:cubicBezTo>
                      <a:pt x="395" y="258"/>
                      <a:pt x="395" y="258"/>
                      <a:pt x="395" y="258"/>
                    </a:cubicBezTo>
                    <a:cubicBezTo>
                      <a:pt x="394" y="260"/>
                      <a:pt x="394" y="260"/>
                      <a:pt x="394" y="260"/>
                    </a:cubicBezTo>
                    <a:cubicBezTo>
                      <a:pt x="393" y="262"/>
                      <a:pt x="393" y="262"/>
                      <a:pt x="393" y="262"/>
                    </a:cubicBezTo>
                    <a:cubicBezTo>
                      <a:pt x="394" y="264"/>
                      <a:pt x="394" y="264"/>
                      <a:pt x="394" y="264"/>
                    </a:cubicBezTo>
                    <a:cubicBezTo>
                      <a:pt x="394" y="265"/>
                      <a:pt x="394" y="265"/>
                      <a:pt x="394" y="265"/>
                    </a:cubicBezTo>
                    <a:cubicBezTo>
                      <a:pt x="392" y="265"/>
                      <a:pt x="392" y="265"/>
                      <a:pt x="392" y="265"/>
                    </a:cubicBezTo>
                    <a:cubicBezTo>
                      <a:pt x="392" y="266"/>
                      <a:pt x="392" y="266"/>
                      <a:pt x="392" y="266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94" y="268"/>
                      <a:pt x="394" y="268"/>
                      <a:pt x="394" y="268"/>
                    </a:cubicBezTo>
                    <a:cubicBezTo>
                      <a:pt x="393" y="268"/>
                      <a:pt x="393" y="268"/>
                      <a:pt x="393" y="268"/>
                    </a:cubicBezTo>
                    <a:cubicBezTo>
                      <a:pt x="392" y="268"/>
                      <a:pt x="392" y="268"/>
                      <a:pt x="392" y="268"/>
                    </a:cubicBezTo>
                    <a:cubicBezTo>
                      <a:pt x="390" y="269"/>
                      <a:pt x="390" y="269"/>
                      <a:pt x="390" y="269"/>
                    </a:cubicBezTo>
                    <a:cubicBezTo>
                      <a:pt x="389" y="269"/>
                      <a:pt x="389" y="269"/>
                      <a:pt x="389" y="269"/>
                    </a:cubicBezTo>
                    <a:cubicBezTo>
                      <a:pt x="388" y="270"/>
                      <a:pt x="388" y="270"/>
                      <a:pt x="388" y="270"/>
                    </a:cubicBezTo>
                    <a:cubicBezTo>
                      <a:pt x="388" y="272"/>
                      <a:pt x="388" y="272"/>
                      <a:pt x="388" y="272"/>
                    </a:cubicBezTo>
                    <a:cubicBezTo>
                      <a:pt x="387" y="272"/>
                      <a:pt x="387" y="272"/>
                      <a:pt x="387" y="272"/>
                    </a:cubicBezTo>
                    <a:cubicBezTo>
                      <a:pt x="386" y="272"/>
                      <a:pt x="386" y="272"/>
                      <a:pt x="386" y="272"/>
                    </a:cubicBezTo>
                    <a:cubicBezTo>
                      <a:pt x="386" y="270"/>
                      <a:pt x="386" y="270"/>
                      <a:pt x="386" y="270"/>
                    </a:cubicBezTo>
                    <a:cubicBezTo>
                      <a:pt x="386" y="268"/>
                      <a:pt x="386" y="268"/>
                      <a:pt x="386" y="268"/>
                    </a:cubicBezTo>
                    <a:cubicBezTo>
                      <a:pt x="385" y="267"/>
                      <a:pt x="385" y="267"/>
                      <a:pt x="385" y="267"/>
                    </a:cubicBezTo>
                    <a:cubicBezTo>
                      <a:pt x="385" y="264"/>
                      <a:pt x="385" y="264"/>
                      <a:pt x="385" y="264"/>
                    </a:cubicBezTo>
                    <a:cubicBezTo>
                      <a:pt x="387" y="261"/>
                      <a:pt x="387" y="261"/>
                      <a:pt x="387" y="261"/>
                    </a:cubicBezTo>
                    <a:cubicBezTo>
                      <a:pt x="387" y="259"/>
                      <a:pt x="387" y="259"/>
                      <a:pt x="387" y="259"/>
                    </a:cubicBezTo>
                    <a:cubicBezTo>
                      <a:pt x="388" y="258"/>
                      <a:pt x="388" y="258"/>
                      <a:pt x="388" y="258"/>
                    </a:cubicBezTo>
                    <a:cubicBezTo>
                      <a:pt x="389" y="256"/>
                      <a:pt x="389" y="256"/>
                      <a:pt x="389" y="256"/>
                    </a:cubicBezTo>
                    <a:cubicBezTo>
                      <a:pt x="389" y="254"/>
                      <a:pt x="389" y="254"/>
                      <a:pt x="389" y="254"/>
                    </a:cubicBezTo>
                    <a:cubicBezTo>
                      <a:pt x="390" y="250"/>
                      <a:pt x="390" y="250"/>
                      <a:pt x="390" y="250"/>
                    </a:cubicBezTo>
                    <a:cubicBezTo>
                      <a:pt x="392" y="249"/>
                      <a:pt x="392" y="249"/>
                      <a:pt x="392" y="249"/>
                    </a:cubicBezTo>
                    <a:cubicBezTo>
                      <a:pt x="393" y="247"/>
                      <a:pt x="393" y="247"/>
                      <a:pt x="393" y="247"/>
                    </a:cubicBezTo>
                    <a:cubicBezTo>
                      <a:pt x="391" y="247"/>
                      <a:pt x="391" y="247"/>
                      <a:pt x="391" y="247"/>
                    </a:cubicBezTo>
                    <a:cubicBezTo>
                      <a:pt x="390" y="247"/>
                      <a:pt x="390" y="247"/>
                      <a:pt x="390" y="247"/>
                    </a:cubicBezTo>
                    <a:cubicBezTo>
                      <a:pt x="391" y="245"/>
                      <a:pt x="391" y="245"/>
                      <a:pt x="391" y="245"/>
                    </a:cubicBezTo>
                    <a:cubicBezTo>
                      <a:pt x="392" y="244"/>
                      <a:pt x="392" y="244"/>
                      <a:pt x="392" y="244"/>
                    </a:cubicBezTo>
                    <a:cubicBezTo>
                      <a:pt x="392" y="240"/>
                      <a:pt x="392" y="240"/>
                      <a:pt x="392" y="240"/>
                    </a:cubicBezTo>
                    <a:cubicBezTo>
                      <a:pt x="391" y="239"/>
                      <a:pt x="391" y="239"/>
                      <a:pt x="391" y="239"/>
                    </a:cubicBezTo>
                    <a:cubicBezTo>
                      <a:pt x="390" y="237"/>
                      <a:pt x="390" y="237"/>
                      <a:pt x="390" y="237"/>
                    </a:cubicBezTo>
                    <a:cubicBezTo>
                      <a:pt x="391" y="236"/>
                      <a:pt x="391" y="236"/>
                      <a:pt x="391" y="236"/>
                    </a:cubicBezTo>
                    <a:cubicBezTo>
                      <a:pt x="391" y="234"/>
                      <a:pt x="391" y="234"/>
                      <a:pt x="391" y="234"/>
                    </a:cubicBezTo>
                    <a:cubicBezTo>
                      <a:pt x="390" y="233"/>
                      <a:pt x="390" y="233"/>
                      <a:pt x="390" y="233"/>
                    </a:cubicBezTo>
                    <a:cubicBezTo>
                      <a:pt x="388" y="231"/>
                      <a:pt x="388" y="231"/>
                      <a:pt x="388" y="231"/>
                    </a:cubicBezTo>
                    <a:cubicBezTo>
                      <a:pt x="385" y="232"/>
                      <a:pt x="385" y="232"/>
                      <a:pt x="385" y="232"/>
                    </a:cubicBezTo>
                    <a:cubicBezTo>
                      <a:pt x="385" y="234"/>
                      <a:pt x="385" y="234"/>
                      <a:pt x="385" y="234"/>
                    </a:cubicBezTo>
                    <a:cubicBezTo>
                      <a:pt x="386" y="235"/>
                      <a:pt x="386" y="235"/>
                      <a:pt x="386" y="235"/>
                    </a:cubicBezTo>
                    <a:cubicBezTo>
                      <a:pt x="386" y="237"/>
                      <a:pt x="386" y="237"/>
                      <a:pt x="386" y="237"/>
                    </a:cubicBezTo>
                    <a:cubicBezTo>
                      <a:pt x="387" y="238"/>
                      <a:pt x="387" y="238"/>
                      <a:pt x="387" y="238"/>
                    </a:cubicBezTo>
                    <a:cubicBezTo>
                      <a:pt x="387" y="240"/>
                      <a:pt x="387" y="240"/>
                      <a:pt x="387" y="240"/>
                    </a:cubicBezTo>
                    <a:cubicBezTo>
                      <a:pt x="386" y="240"/>
                      <a:pt x="386" y="240"/>
                      <a:pt x="386" y="240"/>
                    </a:cubicBezTo>
                    <a:cubicBezTo>
                      <a:pt x="385" y="238"/>
                      <a:pt x="385" y="238"/>
                      <a:pt x="385" y="238"/>
                    </a:cubicBezTo>
                    <a:cubicBezTo>
                      <a:pt x="384" y="238"/>
                      <a:pt x="384" y="238"/>
                      <a:pt x="384" y="238"/>
                    </a:cubicBezTo>
                    <a:cubicBezTo>
                      <a:pt x="383" y="240"/>
                      <a:pt x="383" y="240"/>
                      <a:pt x="383" y="240"/>
                    </a:cubicBezTo>
                    <a:cubicBezTo>
                      <a:pt x="384" y="241"/>
                      <a:pt x="384" y="241"/>
                      <a:pt x="384" y="241"/>
                    </a:cubicBezTo>
                    <a:cubicBezTo>
                      <a:pt x="385" y="242"/>
                      <a:pt x="385" y="242"/>
                      <a:pt x="385" y="242"/>
                    </a:cubicBezTo>
                    <a:cubicBezTo>
                      <a:pt x="385" y="245"/>
                      <a:pt x="385" y="245"/>
                      <a:pt x="385" y="245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83" y="244"/>
                      <a:pt x="383" y="244"/>
                      <a:pt x="383" y="244"/>
                    </a:cubicBezTo>
                    <a:cubicBezTo>
                      <a:pt x="383" y="246"/>
                      <a:pt x="383" y="246"/>
                      <a:pt x="383" y="246"/>
                    </a:cubicBezTo>
                    <a:cubicBezTo>
                      <a:pt x="381" y="245"/>
                      <a:pt x="381" y="245"/>
                      <a:pt x="381" y="245"/>
                    </a:cubicBezTo>
                    <a:cubicBezTo>
                      <a:pt x="381" y="243"/>
                      <a:pt x="381" y="243"/>
                      <a:pt x="381" y="243"/>
                    </a:cubicBezTo>
                    <a:cubicBezTo>
                      <a:pt x="380" y="243"/>
                      <a:pt x="380" y="243"/>
                      <a:pt x="380" y="243"/>
                    </a:cubicBezTo>
                    <a:cubicBezTo>
                      <a:pt x="379" y="245"/>
                      <a:pt x="379" y="245"/>
                      <a:pt x="379" y="245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378" y="243"/>
                      <a:pt x="378" y="243"/>
                      <a:pt x="378" y="243"/>
                    </a:cubicBezTo>
                    <a:cubicBezTo>
                      <a:pt x="379" y="242"/>
                      <a:pt x="379" y="242"/>
                      <a:pt x="379" y="242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76" y="242"/>
                      <a:pt x="376" y="242"/>
                      <a:pt x="376" y="242"/>
                    </a:cubicBezTo>
                    <a:cubicBezTo>
                      <a:pt x="374" y="244"/>
                      <a:pt x="374" y="244"/>
                      <a:pt x="374" y="244"/>
                    </a:cubicBezTo>
                    <a:cubicBezTo>
                      <a:pt x="373" y="242"/>
                      <a:pt x="373" y="242"/>
                      <a:pt x="373" y="242"/>
                    </a:cubicBezTo>
                    <a:cubicBezTo>
                      <a:pt x="372" y="242"/>
                      <a:pt x="372" y="242"/>
                      <a:pt x="372" y="242"/>
                    </a:cubicBezTo>
                    <a:cubicBezTo>
                      <a:pt x="370" y="243"/>
                      <a:pt x="370" y="243"/>
                      <a:pt x="370" y="243"/>
                    </a:cubicBezTo>
                    <a:cubicBezTo>
                      <a:pt x="368" y="243"/>
                      <a:pt x="368" y="243"/>
                      <a:pt x="368" y="243"/>
                    </a:cubicBezTo>
                    <a:cubicBezTo>
                      <a:pt x="368" y="242"/>
                      <a:pt x="368" y="242"/>
                      <a:pt x="368" y="242"/>
                    </a:cubicBezTo>
                    <a:cubicBezTo>
                      <a:pt x="366" y="243"/>
                      <a:pt x="366" y="243"/>
                      <a:pt x="366" y="243"/>
                    </a:cubicBezTo>
                    <a:cubicBezTo>
                      <a:pt x="365" y="242"/>
                      <a:pt x="365" y="242"/>
                      <a:pt x="365" y="242"/>
                    </a:cubicBezTo>
                    <a:cubicBezTo>
                      <a:pt x="366" y="240"/>
                      <a:pt x="366" y="240"/>
                      <a:pt x="366" y="240"/>
                    </a:cubicBezTo>
                    <a:cubicBezTo>
                      <a:pt x="369" y="240"/>
                      <a:pt x="369" y="240"/>
                      <a:pt x="369" y="240"/>
                    </a:cubicBezTo>
                    <a:cubicBezTo>
                      <a:pt x="370" y="241"/>
                      <a:pt x="370" y="241"/>
                      <a:pt x="370" y="241"/>
                    </a:cubicBezTo>
                    <a:cubicBezTo>
                      <a:pt x="372" y="240"/>
                      <a:pt x="372" y="240"/>
                      <a:pt x="372" y="240"/>
                    </a:cubicBezTo>
                    <a:cubicBezTo>
                      <a:pt x="372" y="239"/>
                      <a:pt x="372" y="239"/>
                      <a:pt x="372" y="239"/>
                    </a:cubicBezTo>
                    <a:cubicBezTo>
                      <a:pt x="374" y="238"/>
                      <a:pt x="374" y="238"/>
                      <a:pt x="374" y="238"/>
                    </a:cubicBezTo>
                    <a:cubicBezTo>
                      <a:pt x="375" y="239"/>
                      <a:pt x="375" y="239"/>
                      <a:pt x="375" y="239"/>
                    </a:cubicBezTo>
                    <a:cubicBezTo>
                      <a:pt x="377" y="237"/>
                      <a:pt x="377" y="237"/>
                      <a:pt x="377" y="237"/>
                    </a:cubicBezTo>
                    <a:cubicBezTo>
                      <a:pt x="377" y="235"/>
                      <a:pt x="377" y="235"/>
                      <a:pt x="377" y="235"/>
                    </a:cubicBezTo>
                    <a:cubicBezTo>
                      <a:pt x="377" y="234"/>
                      <a:pt x="377" y="234"/>
                      <a:pt x="377" y="234"/>
                    </a:cubicBezTo>
                    <a:cubicBezTo>
                      <a:pt x="376" y="233"/>
                      <a:pt x="376" y="233"/>
                      <a:pt x="376" y="233"/>
                    </a:cubicBezTo>
                    <a:cubicBezTo>
                      <a:pt x="374" y="230"/>
                      <a:pt x="374" y="230"/>
                      <a:pt x="374" y="230"/>
                    </a:cubicBezTo>
                    <a:cubicBezTo>
                      <a:pt x="372" y="229"/>
                      <a:pt x="372" y="229"/>
                      <a:pt x="372" y="229"/>
                    </a:cubicBezTo>
                    <a:cubicBezTo>
                      <a:pt x="372" y="228"/>
                      <a:pt x="372" y="228"/>
                      <a:pt x="372" y="228"/>
                    </a:cubicBezTo>
                    <a:cubicBezTo>
                      <a:pt x="369" y="225"/>
                      <a:pt x="369" y="225"/>
                      <a:pt x="369" y="225"/>
                    </a:cubicBezTo>
                    <a:cubicBezTo>
                      <a:pt x="369" y="224"/>
                      <a:pt x="369" y="224"/>
                      <a:pt x="369" y="224"/>
                    </a:cubicBezTo>
                    <a:cubicBezTo>
                      <a:pt x="367" y="224"/>
                      <a:pt x="367" y="224"/>
                      <a:pt x="367" y="224"/>
                    </a:cubicBezTo>
                    <a:cubicBezTo>
                      <a:pt x="365" y="226"/>
                      <a:pt x="365" y="226"/>
                      <a:pt x="365" y="226"/>
                    </a:cubicBezTo>
                    <a:cubicBezTo>
                      <a:pt x="364" y="226"/>
                      <a:pt x="364" y="226"/>
                      <a:pt x="364" y="226"/>
                    </a:cubicBezTo>
                    <a:cubicBezTo>
                      <a:pt x="360" y="229"/>
                      <a:pt x="360" y="229"/>
                      <a:pt x="360" y="229"/>
                    </a:cubicBezTo>
                    <a:cubicBezTo>
                      <a:pt x="361" y="230"/>
                      <a:pt x="361" y="230"/>
                      <a:pt x="361" y="230"/>
                    </a:cubicBezTo>
                    <a:cubicBezTo>
                      <a:pt x="361" y="231"/>
                      <a:pt x="361" y="231"/>
                      <a:pt x="361" y="231"/>
                    </a:cubicBezTo>
                    <a:cubicBezTo>
                      <a:pt x="360" y="231"/>
                      <a:pt x="360" y="231"/>
                      <a:pt x="360" y="231"/>
                    </a:cubicBezTo>
                    <a:cubicBezTo>
                      <a:pt x="359" y="232"/>
                      <a:pt x="359" y="232"/>
                      <a:pt x="359" y="232"/>
                    </a:cubicBezTo>
                    <a:cubicBezTo>
                      <a:pt x="359" y="231"/>
                      <a:pt x="359" y="231"/>
                      <a:pt x="359" y="231"/>
                    </a:cubicBezTo>
                    <a:cubicBezTo>
                      <a:pt x="357" y="231"/>
                      <a:pt x="357" y="231"/>
                      <a:pt x="357" y="231"/>
                    </a:cubicBezTo>
                    <a:cubicBezTo>
                      <a:pt x="356" y="230"/>
                      <a:pt x="356" y="230"/>
                      <a:pt x="356" y="230"/>
                    </a:cubicBezTo>
                    <a:cubicBezTo>
                      <a:pt x="354" y="231"/>
                      <a:pt x="354" y="231"/>
                      <a:pt x="354" y="231"/>
                    </a:cubicBezTo>
                    <a:cubicBezTo>
                      <a:pt x="353" y="231"/>
                      <a:pt x="353" y="231"/>
                      <a:pt x="353" y="231"/>
                    </a:cubicBezTo>
                    <a:cubicBezTo>
                      <a:pt x="351" y="231"/>
                      <a:pt x="351" y="231"/>
                      <a:pt x="351" y="231"/>
                    </a:cubicBezTo>
                    <a:cubicBezTo>
                      <a:pt x="350" y="231"/>
                      <a:pt x="350" y="231"/>
                      <a:pt x="350" y="231"/>
                    </a:cubicBezTo>
                    <a:cubicBezTo>
                      <a:pt x="351" y="230"/>
                      <a:pt x="351" y="230"/>
                      <a:pt x="351" y="230"/>
                    </a:cubicBezTo>
                    <a:cubicBezTo>
                      <a:pt x="354" y="229"/>
                      <a:pt x="354" y="229"/>
                      <a:pt x="354" y="229"/>
                    </a:cubicBezTo>
                    <a:cubicBezTo>
                      <a:pt x="354" y="227"/>
                      <a:pt x="354" y="227"/>
                      <a:pt x="354" y="227"/>
                    </a:cubicBezTo>
                    <a:cubicBezTo>
                      <a:pt x="356" y="227"/>
                      <a:pt x="356" y="227"/>
                      <a:pt x="356" y="227"/>
                    </a:cubicBezTo>
                    <a:cubicBezTo>
                      <a:pt x="357" y="227"/>
                      <a:pt x="357" y="227"/>
                      <a:pt x="357" y="227"/>
                    </a:cubicBezTo>
                    <a:cubicBezTo>
                      <a:pt x="359" y="225"/>
                      <a:pt x="359" y="225"/>
                      <a:pt x="359" y="225"/>
                    </a:cubicBezTo>
                    <a:cubicBezTo>
                      <a:pt x="359" y="223"/>
                      <a:pt x="359" y="223"/>
                      <a:pt x="359" y="223"/>
                    </a:cubicBezTo>
                    <a:cubicBezTo>
                      <a:pt x="360" y="222"/>
                      <a:pt x="360" y="222"/>
                      <a:pt x="360" y="222"/>
                    </a:cubicBezTo>
                    <a:cubicBezTo>
                      <a:pt x="361" y="222"/>
                      <a:pt x="361" y="222"/>
                      <a:pt x="361" y="222"/>
                    </a:cubicBezTo>
                    <a:cubicBezTo>
                      <a:pt x="363" y="219"/>
                      <a:pt x="363" y="219"/>
                      <a:pt x="363" y="219"/>
                    </a:cubicBezTo>
                    <a:cubicBezTo>
                      <a:pt x="362" y="216"/>
                      <a:pt x="362" y="216"/>
                      <a:pt x="362" y="216"/>
                    </a:cubicBezTo>
                    <a:cubicBezTo>
                      <a:pt x="363" y="215"/>
                      <a:pt x="363" y="215"/>
                      <a:pt x="363" y="215"/>
                    </a:cubicBezTo>
                    <a:cubicBezTo>
                      <a:pt x="362" y="213"/>
                      <a:pt x="362" y="213"/>
                      <a:pt x="362" y="213"/>
                    </a:cubicBezTo>
                    <a:cubicBezTo>
                      <a:pt x="361" y="213"/>
                      <a:pt x="361" y="213"/>
                      <a:pt x="361" y="213"/>
                    </a:cubicBezTo>
                    <a:cubicBezTo>
                      <a:pt x="358" y="214"/>
                      <a:pt x="358" y="214"/>
                      <a:pt x="358" y="214"/>
                    </a:cubicBezTo>
                    <a:cubicBezTo>
                      <a:pt x="354" y="214"/>
                      <a:pt x="354" y="214"/>
                      <a:pt x="354" y="214"/>
                    </a:cubicBezTo>
                    <a:cubicBezTo>
                      <a:pt x="350" y="216"/>
                      <a:pt x="350" y="216"/>
                      <a:pt x="350" y="216"/>
                    </a:cubicBezTo>
                    <a:cubicBezTo>
                      <a:pt x="343" y="217"/>
                      <a:pt x="343" y="217"/>
                      <a:pt x="343" y="217"/>
                    </a:cubicBezTo>
                    <a:cubicBezTo>
                      <a:pt x="335" y="220"/>
                      <a:pt x="335" y="220"/>
                      <a:pt x="335" y="220"/>
                    </a:cubicBezTo>
                    <a:cubicBezTo>
                      <a:pt x="333" y="222"/>
                      <a:pt x="333" y="222"/>
                      <a:pt x="333" y="222"/>
                    </a:cubicBezTo>
                    <a:cubicBezTo>
                      <a:pt x="327" y="224"/>
                      <a:pt x="327" y="224"/>
                      <a:pt x="327" y="224"/>
                    </a:cubicBezTo>
                    <a:cubicBezTo>
                      <a:pt x="320" y="227"/>
                      <a:pt x="320" y="227"/>
                      <a:pt x="320" y="227"/>
                    </a:cubicBezTo>
                    <a:cubicBezTo>
                      <a:pt x="318" y="229"/>
                      <a:pt x="318" y="229"/>
                      <a:pt x="318" y="229"/>
                    </a:cubicBezTo>
                    <a:cubicBezTo>
                      <a:pt x="318" y="231"/>
                      <a:pt x="318" y="231"/>
                      <a:pt x="318" y="231"/>
                    </a:cubicBezTo>
                    <a:cubicBezTo>
                      <a:pt x="319" y="231"/>
                      <a:pt x="319" y="231"/>
                      <a:pt x="319" y="231"/>
                    </a:cubicBezTo>
                    <a:cubicBezTo>
                      <a:pt x="320" y="232"/>
                      <a:pt x="320" y="232"/>
                      <a:pt x="320" y="232"/>
                    </a:cubicBezTo>
                    <a:cubicBezTo>
                      <a:pt x="318" y="233"/>
                      <a:pt x="318" y="233"/>
                      <a:pt x="318" y="233"/>
                    </a:cubicBezTo>
                    <a:cubicBezTo>
                      <a:pt x="316" y="233"/>
                      <a:pt x="316" y="233"/>
                      <a:pt x="316" y="233"/>
                    </a:cubicBezTo>
                    <a:cubicBezTo>
                      <a:pt x="313" y="236"/>
                      <a:pt x="313" y="236"/>
                      <a:pt x="313" y="236"/>
                    </a:cubicBezTo>
                    <a:cubicBezTo>
                      <a:pt x="311" y="236"/>
                      <a:pt x="311" y="236"/>
                      <a:pt x="311" y="236"/>
                    </a:cubicBezTo>
                    <a:cubicBezTo>
                      <a:pt x="309" y="237"/>
                      <a:pt x="309" y="237"/>
                      <a:pt x="309" y="237"/>
                    </a:cubicBezTo>
                    <a:cubicBezTo>
                      <a:pt x="309" y="239"/>
                      <a:pt x="309" y="239"/>
                      <a:pt x="309" y="239"/>
                    </a:cubicBezTo>
                    <a:cubicBezTo>
                      <a:pt x="306" y="241"/>
                      <a:pt x="306" y="241"/>
                      <a:pt x="306" y="241"/>
                    </a:cubicBezTo>
                    <a:cubicBezTo>
                      <a:pt x="305" y="243"/>
                      <a:pt x="305" y="243"/>
                      <a:pt x="305" y="243"/>
                    </a:cubicBezTo>
                    <a:cubicBezTo>
                      <a:pt x="305" y="245"/>
                      <a:pt x="305" y="245"/>
                      <a:pt x="305" y="245"/>
                    </a:cubicBezTo>
                    <a:cubicBezTo>
                      <a:pt x="306" y="244"/>
                      <a:pt x="306" y="244"/>
                      <a:pt x="306" y="244"/>
                    </a:cubicBezTo>
                    <a:cubicBezTo>
                      <a:pt x="308" y="246"/>
                      <a:pt x="308" y="246"/>
                      <a:pt x="308" y="246"/>
                    </a:cubicBezTo>
                    <a:cubicBezTo>
                      <a:pt x="307" y="247"/>
                      <a:pt x="307" y="247"/>
                      <a:pt x="307" y="247"/>
                    </a:cubicBezTo>
                    <a:cubicBezTo>
                      <a:pt x="308" y="247"/>
                      <a:pt x="308" y="247"/>
                      <a:pt x="308" y="247"/>
                    </a:cubicBezTo>
                    <a:cubicBezTo>
                      <a:pt x="309" y="247"/>
                      <a:pt x="309" y="247"/>
                      <a:pt x="309" y="247"/>
                    </a:cubicBezTo>
                    <a:cubicBezTo>
                      <a:pt x="310" y="246"/>
                      <a:pt x="310" y="246"/>
                      <a:pt x="310" y="246"/>
                    </a:cubicBezTo>
                    <a:cubicBezTo>
                      <a:pt x="312" y="246"/>
                      <a:pt x="312" y="246"/>
                      <a:pt x="312" y="246"/>
                    </a:cubicBezTo>
                    <a:cubicBezTo>
                      <a:pt x="314" y="247"/>
                      <a:pt x="314" y="247"/>
                      <a:pt x="314" y="247"/>
                    </a:cubicBezTo>
                    <a:cubicBezTo>
                      <a:pt x="313" y="249"/>
                      <a:pt x="313" y="249"/>
                      <a:pt x="313" y="249"/>
                    </a:cubicBezTo>
                    <a:cubicBezTo>
                      <a:pt x="311" y="250"/>
                      <a:pt x="311" y="250"/>
                      <a:pt x="311" y="250"/>
                    </a:cubicBezTo>
                    <a:cubicBezTo>
                      <a:pt x="309" y="248"/>
                      <a:pt x="309" y="248"/>
                      <a:pt x="309" y="248"/>
                    </a:cubicBezTo>
                    <a:cubicBezTo>
                      <a:pt x="307" y="249"/>
                      <a:pt x="307" y="249"/>
                      <a:pt x="307" y="249"/>
                    </a:cubicBezTo>
                    <a:cubicBezTo>
                      <a:pt x="308" y="251"/>
                      <a:pt x="308" y="251"/>
                      <a:pt x="308" y="251"/>
                    </a:cubicBezTo>
                    <a:cubicBezTo>
                      <a:pt x="311" y="253"/>
                      <a:pt x="311" y="253"/>
                      <a:pt x="311" y="253"/>
                    </a:cubicBezTo>
                    <a:cubicBezTo>
                      <a:pt x="312" y="252"/>
                      <a:pt x="312" y="252"/>
                      <a:pt x="312" y="252"/>
                    </a:cubicBezTo>
                    <a:cubicBezTo>
                      <a:pt x="312" y="251"/>
                      <a:pt x="312" y="251"/>
                      <a:pt x="312" y="251"/>
                    </a:cubicBezTo>
                    <a:cubicBezTo>
                      <a:pt x="314" y="251"/>
                      <a:pt x="314" y="251"/>
                      <a:pt x="314" y="251"/>
                    </a:cubicBezTo>
                    <a:cubicBezTo>
                      <a:pt x="314" y="252"/>
                      <a:pt x="314" y="252"/>
                      <a:pt x="314" y="252"/>
                    </a:cubicBezTo>
                    <a:cubicBezTo>
                      <a:pt x="313" y="253"/>
                      <a:pt x="313" y="253"/>
                      <a:pt x="313" y="253"/>
                    </a:cubicBezTo>
                    <a:cubicBezTo>
                      <a:pt x="315" y="253"/>
                      <a:pt x="315" y="253"/>
                      <a:pt x="315" y="253"/>
                    </a:cubicBezTo>
                    <a:cubicBezTo>
                      <a:pt x="318" y="253"/>
                      <a:pt x="318" y="253"/>
                      <a:pt x="318" y="253"/>
                    </a:cubicBezTo>
                    <a:cubicBezTo>
                      <a:pt x="321" y="252"/>
                      <a:pt x="321" y="252"/>
                      <a:pt x="321" y="252"/>
                    </a:cubicBezTo>
                    <a:cubicBezTo>
                      <a:pt x="323" y="252"/>
                      <a:pt x="323" y="252"/>
                      <a:pt x="323" y="252"/>
                    </a:cubicBezTo>
                    <a:cubicBezTo>
                      <a:pt x="326" y="254"/>
                      <a:pt x="326" y="254"/>
                      <a:pt x="326" y="254"/>
                    </a:cubicBezTo>
                    <a:cubicBezTo>
                      <a:pt x="328" y="253"/>
                      <a:pt x="328" y="253"/>
                      <a:pt x="328" y="253"/>
                    </a:cubicBezTo>
                    <a:cubicBezTo>
                      <a:pt x="330" y="254"/>
                      <a:pt x="330" y="254"/>
                      <a:pt x="330" y="254"/>
                    </a:cubicBezTo>
                    <a:cubicBezTo>
                      <a:pt x="331" y="256"/>
                      <a:pt x="331" y="256"/>
                      <a:pt x="331" y="256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32" y="257"/>
                      <a:pt x="332" y="257"/>
                      <a:pt x="332" y="257"/>
                    </a:cubicBezTo>
                    <a:cubicBezTo>
                      <a:pt x="330" y="257"/>
                      <a:pt x="330" y="257"/>
                      <a:pt x="330" y="257"/>
                    </a:cubicBezTo>
                    <a:cubicBezTo>
                      <a:pt x="328" y="255"/>
                      <a:pt x="328" y="255"/>
                      <a:pt x="328" y="255"/>
                    </a:cubicBezTo>
                    <a:cubicBezTo>
                      <a:pt x="324" y="255"/>
                      <a:pt x="324" y="255"/>
                      <a:pt x="324" y="255"/>
                    </a:cubicBezTo>
                    <a:cubicBezTo>
                      <a:pt x="323" y="256"/>
                      <a:pt x="323" y="256"/>
                      <a:pt x="323" y="256"/>
                    </a:cubicBezTo>
                    <a:cubicBezTo>
                      <a:pt x="326" y="257"/>
                      <a:pt x="326" y="257"/>
                      <a:pt x="326" y="257"/>
                    </a:cubicBezTo>
                    <a:cubicBezTo>
                      <a:pt x="326" y="258"/>
                      <a:pt x="326" y="258"/>
                      <a:pt x="326" y="258"/>
                    </a:cubicBezTo>
                    <a:cubicBezTo>
                      <a:pt x="323" y="258"/>
                      <a:pt x="323" y="258"/>
                      <a:pt x="323" y="258"/>
                    </a:cubicBezTo>
                    <a:cubicBezTo>
                      <a:pt x="322" y="257"/>
                      <a:pt x="322" y="257"/>
                      <a:pt x="322" y="257"/>
                    </a:cubicBezTo>
                    <a:cubicBezTo>
                      <a:pt x="317" y="257"/>
                      <a:pt x="317" y="257"/>
                      <a:pt x="317" y="257"/>
                    </a:cubicBezTo>
                    <a:cubicBezTo>
                      <a:pt x="316" y="258"/>
                      <a:pt x="316" y="258"/>
                      <a:pt x="316" y="258"/>
                    </a:cubicBezTo>
                    <a:cubicBezTo>
                      <a:pt x="315" y="257"/>
                      <a:pt x="315" y="257"/>
                      <a:pt x="315" y="257"/>
                    </a:cubicBezTo>
                    <a:cubicBezTo>
                      <a:pt x="314" y="257"/>
                      <a:pt x="314" y="257"/>
                      <a:pt x="314" y="257"/>
                    </a:cubicBezTo>
                    <a:cubicBezTo>
                      <a:pt x="312" y="258"/>
                      <a:pt x="312" y="258"/>
                      <a:pt x="312" y="258"/>
                    </a:cubicBezTo>
                    <a:cubicBezTo>
                      <a:pt x="311" y="258"/>
                      <a:pt x="311" y="258"/>
                      <a:pt x="311" y="258"/>
                    </a:cubicBezTo>
                    <a:cubicBezTo>
                      <a:pt x="306" y="258"/>
                      <a:pt x="306" y="258"/>
                      <a:pt x="306" y="258"/>
                    </a:cubicBezTo>
                    <a:cubicBezTo>
                      <a:pt x="306" y="259"/>
                      <a:pt x="306" y="259"/>
                      <a:pt x="306" y="259"/>
                    </a:cubicBezTo>
                    <a:cubicBezTo>
                      <a:pt x="302" y="259"/>
                      <a:pt x="302" y="259"/>
                      <a:pt x="302" y="259"/>
                    </a:cubicBezTo>
                    <a:cubicBezTo>
                      <a:pt x="301" y="261"/>
                      <a:pt x="301" y="261"/>
                      <a:pt x="301" y="261"/>
                    </a:cubicBezTo>
                    <a:cubicBezTo>
                      <a:pt x="302" y="267"/>
                      <a:pt x="302" y="267"/>
                      <a:pt x="302" y="267"/>
                    </a:cubicBezTo>
                    <a:cubicBezTo>
                      <a:pt x="302" y="268"/>
                      <a:pt x="302" y="268"/>
                      <a:pt x="302" y="268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2"/>
                      <a:pt x="302" y="272"/>
                      <a:pt x="302" y="272"/>
                    </a:cubicBezTo>
                    <a:cubicBezTo>
                      <a:pt x="303" y="273"/>
                      <a:pt x="303" y="273"/>
                      <a:pt x="303" y="273"/>
                    </a:cubicBezTo>
                    <a:cubicBezTo>
                      <a:pt x="304" y="272"/>
                      <a:pt x="304" y="272"/>
                      <a:pt x="304" y="272"/>
                    </a:cubicBezTo>
                    <a:cubicBezTo>
                      <a:pt x="305" y="272"/>
                      <a:pt x="305" y="272"/>
                      <a:pt x="305" y="272"/>
                    </a:cubicBezTo>
                    <a:cubicBezTo>
                      <a:pt x="306" y="273"/>
                      <a:pt x="306" y="273"/>
                      <a:pt x="306" y="273"/>
                    </a:cubicBezTo>
                    <a:cubicBezTo>
                      <a:pt x="308" y="273"/>
                      <a:pt x="308" y="273"/>
                      <a:pt x="308" y="273"/>
                    </a:cubicBezTo>
                    <a:cubicBezTo>
                      <a:pt x="309" y="272"/>
                      <a:pt x="309" y="272"/>
                      <a:pt x="309" y="272"/>
                    </a:cubicBezTo>
                    <a:cubicBezTo>
                      <a:pt x="309" y="272"/>
                      <a:pt x="309" y="272"/>
                      <a:pt x="309" y="272"/>
                    </a:cubicBezTo>
                    <a:cubicBezTo>
                      <a:pt x="310" y="273"/>
                      <a:pt x="310" y="273"/>
                      <a:pt x="310" y="273"/>
                    </a:cubicBezTo>
                    <a:cubicBezTo>
                      <a:pt x="311" y="274"/>
                      <a:pt x="311" y="274"/>
                      <a:pt x="311" y="274"/>
                    </a:cubicBezTo>
                    <a:cubicBezTo>
                      <a:pt x="312" y="273"/>
                      <a:pt x="312" y="273"/>
                      <a:pt x="312" y="273"/>
                    </a:cubicBezTo>
                    <a:cubicBezTo>
                      <a:pt x="313" y="274"/>
                      <a:pt x="313" y="274"/>
                      <a:pt x="313" y="274"/>
                    </a:cubicBezTo>
                    <a:cubicBezTo>
                      <a:pt x="313" y="275"/>
                      <a:pt x="313" y="275"/>
                      <a:pt x="313" y="275"/>
                    </a:cubicBezTo>
                    <a:cubicBezTo>
                      <a:pt x="314" y="276"/>
                      <a:pt x="314" y="276"/>
                      <a:pt x="314" y="276"/>
                    </a:cubicBezTo>
                    <a:cubicBezTo>
                      <a:pt x="316" y="275"/>
                      <a:pt x="316" y="275"/>
                      <a:pt x="316" y="275"/>
                    </a:cubicBezTo>
                    <a:cubicBezTo>
                      <a:pt x="317" y="275"/>
                      <a:pt x="317" y="275"/>
                      <a:pt x="317" y="275"/>
                    </a:cubicBezTo>
                    <a:cubicBezTo>
                      <a:pt x="318" y="276"/>
                      <a:pt x="318" y="276"/>
                      <a:pt x="318" y="276"/>
                    </a:cubicBezTo>
                    <a:cubicBezTo>
                      <a:pt x="320" y="276"/>
                      <a:pt x="320" y="276"/>
                      <a:pt x="320" y="276"/>
                    </a:cubicBezTo>
                    <a:cubicBezTo>
                      <a:pt x="321" y="276"/>
                      <a:pt x="321" y="276"/>
                      <a:pt x="321" y="276"/>
                    </a:cubicBezTo>
                    <a:cubicBezTo>
                      <a:pt x="323" y="277"/>
                      <a:pt x="323" y="277"/>
                      <a:pt x="323" y="277"/>
                    </a:cubicBezTo>
                    <a:cubicBezTo>
                      <a:pt x="325" y="276"/>
                      <a:pt x="325" y="276"/>
                      <a:pt x="325" y="276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8" y="277"/>
                      <a:pt x="328" y="277"/>
                      <a:pt x="328" y="277"/>
                    </a:cubicBezTo>
                    <a:cubicBezTo>
                      <a:pt x="330" y="276"/>
                      <a:pt x="330" y="276"/>
                      <a:pt x="330" y="276"/>
                    </a:cubicBezTo>
                    <a:cubicBezTo>
                      <a:pt x="332" y="277"/>
                      <a:pt x="332" y="277"/>
                      <a:pt x="332" y="277"/>
                    </a:cubicBezTo>
                    <a:cubicBezTo>
                      <a:pt x="332" y="278"/>
                      <a:pt x="332" y="278"/>
                      <a:pt x="332" y="278"/>
                    </a:cubicBezTo>
                    <a:cubicBezTo>
                      <a:pt x="333" y="277"/>
                      <a:pt x="333" y="277"/>
                      <a:pt x="333" y="277"/>
                    </a:cubicBezTo>
                    <a:cubicBezTo>
                      <a:pt x="334" y="279"/>
                      <a:pt x="334" y="279"/>
                      <a:pt x="334" y="279"/>
                    </a:cubicBezTo>
                    <a:cubicBezTo>
                      <a:pt x="335" y="280"/>
                      <a:pt x="335" y="280"/>
                      <a:pt x="335" y="280"/>
                    </a:cubicBezTo>
                    <a:cubicBezTo>
                      <a:pt x="335" y="281"/>
                      <a:pt x="335" y="281"/>
                      <a:pt x="335" y="281"/>
                    </a:cubicBezTo>
                    <a:cubicBezTo>
                      <a:pt x="336" y="282"/>
                      <a:pt x="336" y="282"/>
                      <a:pt x="336" y="282"/>
                    </a:cubicBezTo>
                    <a:cubicBezTo>
                      <a:pt x="338" y="282"/>
                      <a:pt x="338" y="282"/>
                      <a:pt x="338" y="282"/>
                    </a:cubicBezTo>
                    <a:cubicBezTo>
                      <a:pt x="339" y="283"/>
                      <a:pt x="339" y="283"/>
                      <a:pt x="339" y="283"/>
                    </a:cubicBezTo>
                    <a:cubicBezTo>
                      <a:pt x="339" y="284"/>
                      <a:pt x="339" y="284"/>
                      <a:pt x="339" y="284"/>
                    </a:cubicBezTo>
                    <a:cubicBezTo>
                      <a:pt x="340" y="284"/>
                      <a:pt x="340" y="284"/>
                      <a:pt x="340" y="284"/>
                    </a:cubicBezTo>
                    <a:cubicBezTo>
                      <a:pt x="342" y="286"/>
                      <a:pt x="342" y="286"/>
                      <a:pt x="342" y="286"/>
                    </a:cubicBezTo>
                    <a:cubicBezTo>
                      <a:pt x="341" y="286"/>
                      <a:pt x="341" y="286"/>
                      <a:pt x="341" y="286"/>
                    </a:cubicBezTo>
                    <a:cubicBezTo>
                      <a:pt x="341" y="288"/>
                      <a:pt x="341" y="288"/>
                      <a:pt x="341" y="288"/>
                    </a:cubicBezTo>
                    <a:cubicBezTo>
                      <a:pt x="343" y="289"/>
                      <a:pt x="343" y="289"/>
                      <a:pt x="343" y="289"/>
                    </a:cubicBezTo>
                    <a:cubicBezTo>
                      <a:pt x="345" y="291"/>
                      <a:pt x="345" y="291"/>
                      <a:pt x="345" y="291"/>
                    </a:cubicBezTo>
                    <a:cubicBezTo>
                      <a:pt x="345" y="292"/>
                      <a:pt x="345" y="292"/>
                      <a:pt x="345" y="292"/>
                    </a:cubicBezTo>
                    <a:cubicBezTo>
                      <a:pt x="345" y="293"/>
                      <a:pt x="345" y="293"/>
                      <a:pt x="345" y="293"/>
                    </a:cubicBezTo>
                    <a:cubicBezTo>
                      <a:pt x="345" y="294"/>
                      <a:pt x="345" y="294"/>
                      <a:pt x="345" y="294"/>
                    </a:cubicBezTo>
                    <a:cubicBezTo>
                      <a:pt x="344" y="293"/>
                      <a:pt x="344" y="293"/>
                      <a:pt x="344" y="293"/>
                    </a:cubicBezTo>
                    <a:cubicBezTo>
                      <a:pt x="341" y="292"/>
                      <a:pt x="341" y="292"/>
                      <a:pt x="341" y="292"/>
                    </a:cubicBezTo>
                    <a:cubicBezTo>
                      <a:pt x="338" y="292"/>
                      <a:pt x="338" y="292"/>
                      <a:pt x="338" y="292"/>
                    </a:cubicBezTo>
                    <a:cubicBezTo>
                      <a:pt x="337" y="292"/>
                      <a:pt x="337" y="292"/>
                      <a:pt x="337" y="292"/>
                    </a:cubicBezTo>
                    <a:cubicBezTo>
                      <a:pt x="335" y="292"/>
                      <a:pt x="335" y="292"/>
                      <a:pt x="335" y="292"/>
                    </a:cubicBezTo>
                    <a:cubicBezTo>
                      <a:pt x="335" y="292"/>
                      <a:pt x="335" y="292"/>
                      <a:pt x="335" y="292"/>
                    </a:cubicBezTo>
                    <a:cubicBezTo>
                      <a:pt x="334" y="292"/>
                      <a:pt x="334" y="292"/>
                      <a:pt x="334" y="292"/>
                    </a:cubicBezTo>
                    <a:cubicBezTo>
                      <a:pt x="332" y="290"/>
                      <a:pt x="332" y="290"/>
                      <a:pt x="332" y="290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30" y="289"/>
                      <a:pt x="330" y="289"/>
                      <a:pt x="330" y="289"/>
                    </a:cubicBezTo>
                    <a:cubicBezTo>
                      <a:pt x="329" y="288"/>
                      <a:pt x="329" y="288"/>
                      <a:pt x="329" y="288"/>
                    </a:cubicBezTo>
                    <a:cubicBezTo>
                      <a:pt x="327" y="289"/>
                      <a:pt x="327" y="289"/>
                      <a:pt x="327" y="289"/>
                    </a:cubicBezTo>
                    <a:cubicBezTo>
                      <a:pt x="326" y="288"/>
                      <a:pt x="326" y="288"/>
                      <a:pt x="326" y="288"/>
                    </a:cubicBezTo>
                    <a:cubicBezTo>
                      <a:pt x="325" y="288"/>
                      <a:pt x="325" y="288"/>
                      <a:pt x="325" y="288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23" y="285"/>
                      <a:pt x="323" y="285"/>
                      <a:pt x="323" y="285"/>
                    </a:cubicBezTo>
                    <a:cubicBezTo>
                      <a:pt x="322" y="285"/>
                      <a:pt x="322" y="285"/>
                      <a:pt x="322" y="285"/>
                    </a:cubicBezTo>
                    <a:cubicBezTo>
                      <a:pt x="321" y="285"/>
                      <a:pt x="321" y="285"/>
                      <a:pt x="321" y="285"/>
                    </a:cubicBezTo>
                    <a:cubicBezTo>
                      <a:pt x="319" y="285"/>
                      <a:pt x="319" y="285"/>
                      <a:pt x="319" y="285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3" y="285"/>
                      <a:pt x="313" y="285"/>
                      <a:pt x="313" y="285"/>
                    </a:cubicBezTo>
                    <a:cubicBezTo>
                      <a:pt x="311" y="284"/>
                      <a:pt x="311" y="284"/>
                      <a:pt x="311" y="284"/>
                    </a:cubicBezTo>
                    <a:cubicBezTo>
                      <a:pt x="309" y="284"/>
                      <a:pt x="309" y="284"/>
                      <a:pt x="309" y="284"/>
                    </a:cubicBezTo>
                    <a:cubicBezTo>
                      <a:pt x="301" y="284"/>
                      <a:pt x="301" y="284"/>
                      <a:pt x="301" y="284"/>
                    </a:cubicBezTo>
                    <a:cubicBezTo>
                      <a:pt x="300" y="284"/>
                      <a:pt x="300" y="284"/>
                      <a:pt x="300" y="284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7" y="286"/>
                      <a:pt x="297" y="286"/>
                      <a:pt x="297" y="286"/>
                    </a:cubicBezTo>
                    <a:cubicBezTo>
                      <a:pt x="297" y="289"/>
                      <a:pt x="297" y="289"/>
                      <a:pt x="297" y="289"/>
                    </a:cubicBezTo>
                    <a:cubicBezTo>
                      <a:pt x="295" y="292"/>
                      <a:pt x="295" y="292"/>
                      <a:pt x="295" y="292"/>
                    </a:cubicBezTo>
                    <a:cubicBezTo>
                      <a:pt x="296" y="295"/>
                      <a:pt x="296" y="295"/>
                      <a:pt x="296" y="295"/>
                    </a:cubicBezTo>
                    <a:cubicBezTo>
                      <a:pt x="295" y="296"/>
                      <a:pt x="295" y="296"/>
                      <a:pt x="295" y="296"/>
                    </a:cubicBezTo>
                    <a:cubicBezTo>
                      <a:pt x="295" y="297"/>
                      <a:pt x="295" y="297"/>
                      <a:pt x="295" y="297"/>
                    </a:cubicBezTo>
                    <a:cubicBezTo>
                      <a:pt x="297" y="298"/>
                      <a:pt x="297" y="298"/>
                      <a:pt x="297" y="298"/>
                    </a:cubicBezTo>
                    <a:cubicBezTo>
                      <a:pt x="296" y="299"/>
                      <a:pt x="296" y="299"/>
                      <a:pt x="296" y="299"/>
                    </a:cubicBezTo>
                    <a:cubicBezTo>
                      <a:pt x="296" y="299"/>
                      <a:pt x="296" y="299"/>
                      <a:pt x="296" y="299"/>
                    </a:cubicBez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8" y="305"/>
                      <a:pt x="298" y="305"/>
                      <a:pt x="298" y="305"/>
                    </a:cubicBezTo>
                    <a:cubicBezTo>
                      <a:pt x="299" y="306"/>
                      <a:pt x="299" y="306"/>
                      <a:pt x="299" y="306"/>
                    </a:cubicBezTo>
                    <a:cubicBezTo>
                      <a:pt x="302" y="307"/>
                      <a:pt x="302" y="307"/>
                      <a:pt x="302" y="307"/>
                    </a:cubicBezTo>
                    <a:cubicBezTo>
                      <a:pt x="302" y="308"/>
                      <a:pt x="302" y="308"/>
                      <a:pt x="302" y="308"/>
                    </a:cubicBezTo>
                    <a:cubicBezTo>
                      <a:pt x="304" y="308"/>
                      <a:pt x="304" y="308"/>
                      <a:pt x="304" y="308"/>
                    </a:cubicBezTo>
                    <a:cubicBezTo>
                      <a:pt x="305" y="309"/>
                      <a:pt x="305" y="309"/>
                      <a:pt x="305" y="309"/>
                    </a:cubicBezTo>
                    <a:cubicBezTo>
                      <a:pt x="306" y="309"/>
                      <a:pt x="306" y="309"/>
                      <a:pt x="306" y="309"/>
                    </a:cubicBezTo>
                    <a:cubicBezTo>
                      <a:pt x="308" y="308"/>
                      <a:pt x="308" y="308"/>
                      <a:pt x="308" y="308"/>
                    </a:cubicBezTo>
                    <a:cubicBezTo>
                      <a:pt x="310" y="308"/>
                      <a:pt x="310" y="308"/>
                      <a:pt x="310" y="308"/>
                    </a:cubicBezTo>
                    <a:cubicBezTo>
                      <a:pt x="311" y="310"/>
                      <a:pt x="311" y="310"/>
                      <a:pt x="311" y="310"/>
                    </a:cubicBezTo>
                    <a:cubicBezTo>
                      <a:pt x="313" y="310"/>
                      <a:pt x="313" y="310"/>
                      <a:pt x="313" y="310"/>
                    </a:cubicBezTo>
                    <a:cubicBezTo>
                      <a:pt x="314" y="312"/>
                      <a:pt x="314" y="312"/>
                      <a:pt x="314" y="312"/>
                    </a:cubicBezTo>
                    <a:cubicBezTo>
                      <a:pt x="315" y="312"/>
                      <a:pt x="315" y="312"/>
                      <a:pt x="315" y="312"/>
                    </a:cubicBezTo>
                    <a:cubicBezTo>
                      <a:pt x="316" y="314"/>
                      <a:pt x="316" y="314"/>
                      <a:pt x="316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5"/>
                      <a:pt x="314" y="315"/>
                      <a:pt x="314" y="315"/>
                    </a:cubicBezTo>
                    <a:cubicBezTo>
                      <a:pt x="313" y="316"/>
                      <a:pt x="313" y="316"/>
                      <a:pt x="313" y="316"/>
                    </a:cubicBezTo>
                    <a:cubicBezTo>
                      <a:pt x="313" y="317"/>
                      <a:pt x="313" y="317"/>
                      <a:pt x="313" y="317"/>
                    </a:cubicBezTo>
                    <a:cubicBezTo>
                      <a:pt x="312" y="319"/>
                      <a:pt x="312" y="319"/>
                      <a:pt x="312" y="319"/>
                    </a:cubicBezTo>
                    <a:cubicBezTo>
                      <a:pt x="310" y="320"/>
                      <a:pt x="310" y="320"/>
                      <a:pt x="310" y="320"/>
                    </a:cubicBezTo>
                    <a:cubicBezTo>
                      <a:pt x="310" y="321"/>
                      <a:pt x="310" y="321"/>
                      <a:pt x="310" y="321"/>
                    </a:cubicBezTo>
                    <a:cubicBezTo>
                      <a:pt x="309" y="322"/>
                      <a:pt x="309" y="322"/>
                      <a:pt x="309" y="322"/>
                    </a:cubicBezTo>
                    <a:cubicBezTo>
                      <a:pt x="311" y="323"/>
                      <a:pt x="311" y="323"/>
                      <a:pt x="311" y="323"/>
                    </a:cubicBezTo>
                    <a:cubicBezTo>
                      <a:pt x="311" y="325"/>
                      <a:pt x="311" y="325"/>
                      <a:pt x="311" y="325"/>
                    </a:cubicBezTo>
                    <a:cubicBezTo>
                      <a:pt x="312" y="328"/>
                      <a:pt x="312" y="328"/>
                      <a:pt x="312" y="328"/>
                    </a:cubicBezTo>
                    <a:cubicBezTo>
                      <a:pt x="312" y="329"/>
                      <a:pt x="312" y="329"/>
                      <a:pt x="312" y="329"/>
                    </a:cubicBezTo>
                    <a:cubicBezTo>
                      <a:pt x="309" y="329"/>
                      <a:pt x="309" y="329"/>
                      <a:pt x="309" y="329"/>
                    </a:cubicBezTo>
                    <a:cubicBezTo>
                      <a:pt x="310" y="330"/>
                      <a:pt x="310" y="330"/>
                      <a:pt x="310" y="330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5" y="331"/>
                      <a:pt x="315" y="331"/>
                      <a:pt x="315" y="331"/>
                    </a:cubicBezTo>
                    <a:cubicBezTo>
                      <a:pt x="315" y="331"/>
                      <a:pt x="315" y="331"/>
                      <a:pt x="315" y="331"/>
                    </a:cubicBezTo>
                    <a:cubicBezTo>
                      <a:pt x="316" y="331"/>
                      <a:pt x="316" y="331"/>
                      <a:pt x="316" y="331"/>
                    </a:cubicBezTo>
                    <a:cubicBezTo>
                      <a:pt x="317" y="330"/>
                      <a:pt x="317" y="330"/>
                      <a:pt x="317" y="330"/>
                    </a:cubicBezTo>
                    <a:cubicBezTo>
                      <a:pt x="318" y="330"/>
                      <a:pt x="318" y="330"/>
                      <a:pt x="318" y="330"/>
                    </a:cubicBezTo>
                    <a:cubicBezTo>
                      <a:pt x="319" y="331"/>
                      <a:pt x="319" y="331"/>
                      <a:pt x="319" y="331"/>
                    </a:cubicBezTo>
                    <a:cubicBezTo>
                      <a:pt x="321" y="331"/>
                      <a:pt x="321" y="331"/>
                      <a:pt x="321" y="331"/>
                    </a:cubicBezTo>
                    <a:cubicBezTo>
                      <a:pt x="324" y="332"/>
                      <a:pt x="324" y="332"/>
                      <a:pt x="324" y="332"/>
                    </a:cubicBezTo>
                    <a:cubicBezTo>
                      <a:pt x="325" y="331"/>
                      <a:pt x="325" y="331"/>
                      <a:pt x="325" y="331"/>
                    </a:cubicBezTo>
                    <a:cubicBezTo>
                      <a:pt x="328" y="331"/>
                      <a:pt x="328" y="331"/>
                      <a:pt x="328" y="331"/>
                    </a:cubicBezTo>
                    <a:cubicBezTo>
                      <a:pt x="328" y="332"/>
                      <a:pt x="328" y="332"/>
                      <a:pt x="328" y="332"/>
                    </a:cubicBezTo>
                    <a:cubicBezTo>
                      <a:pt x="329" y="332"/>
                      <a:pt x="329" y="332"/>
                      <a:pt x="329" y="332"/>
                    </a:cubicBezTo>
                    <a:cubicBezTo>
                      <a:pt x="330" y="331"/>
                      <a:pt x="330" y="331"/>
                      <a:pt x="330" y="331"/>
                    </a:cubicBezTo>
                    <a:cubicBezTo>
                      <a:pt x="331" y="331"/>
                      <a:pt x="331" y="331"/>
                      <a:pt x="331" y="331"/>
                    </a:cubicBezTo>
                    <a:cubicBezTo>
                      <a:pt x="332" y="331"/>
                      <a:pt x="332" y="331"/>
                      <a:pt x="332" y="331"/>
                    </a:cubicBezTo>
                    <a:cubicBezTo>
                      <a:pt x="332" y="333"/>
                      <a:pt x="332" y="333"/>
                      <a:pt x="332" y="333"/>
                    </a:cubicBezTo>
                    <a:cubicBezTo>
                      <a:pt x="333" y="332"/>
                      <a:pt x="333" y="332"/>
                      <a:pt x="333" y="332"/>
                    </a:cubicBezTo>
                    <a:cubicBezTo>
                      <a:pt x="334" y="332"/>
                      <a:pt x="334" y="332"/>
                      <a:pt x="334" y="332"/>
                    </a:cubicBezTo>
                    <a:cubicBezTo>
                      <a:pt x="335" y="332"/>
                      <a:pt x="335" y="332"/>
                      <a:pt x="335" y="332"/>
                    </a:cubicBezTo>
                    <a:cubicBezTo>
                      <a:pt x="335" y="334"/>
                      <a:pt x="335" y="334"/>
                      <a:pt x="335" y="334"/>
                    </a:cubicBezTo>
                    <a:cubicBezTo>
                      <a:pt x="336" y="334"/>
                      <a:pt x="336" y="334"/>
                      <a:pt x="336" y="334"/>
                    </a:cubicBezTo>
                    <a:cubicBezTo>
                      <a:pt x="337" y="333"/>
                      <a:pt x="337" y="333"/>
                      <a:pt x="337" y="333"/>
                    </a:cubicBezTo>
                    <a:cubicBezTo>
                      <a:pt x="339" y="333"/>
                      <a:pt x="339" y="333"/>
                      <a:pt x="339" y="333"/>
                    </a:cubicBezTo>
                    <a:cubicBezTo>
                      <a:pt x="340" y="332"/>
                      <a:pt x="340" y="332"/>
                      <a:pt x="340" y="332"/>
                    </a:cubicBezTo>
                    <a:cubicBezTo>
                      <a:pt x="342" y="331"/>
                      <a:pt x="342" y="331"/>
                      <a:pt x="342" y="331"/>
                    </a:cubicBezTo>
                    <a:cubicBezTo>
                      <a:pt x="343" y="331"/>
                      <a:pt x="343" y="331"/>
                      <a:pt x="343" y="331"/>
                    </a:cubicBezTo>
                    <a:cubicBezTo>
                      <a:pt x="345" y="329"/>
                      <a:pt x="345" y="329"/>
                      <a:pt x="345" y="329"/>
                    </a:cubicBezTo>
                    <a:cubicBezTo>
                      <a:pt x="348" y="328"/>
                      <a:pt x="348" y="328"/>
                      <a:pt x="348" y="328"/>
                    </a:cubicBezTo>
                    <a:cubicBezTo>
                      <a:pt x="349" y="328"/>
                      <a:pt x="349" y="328"/>
                      <a:pt x="349" y="328"/>
                    </a:cubicBezTo>
                    <a:cubicBezTo>
                      <a:pt x="350" y="327"/>
                      <a:pt x="350" y="327"/>
                      <a:pt x="350" y="327"/>
                    </a:cubicBezTo>
                    <a:cubicBezTo>
                      <a:pt x="351" y="327"/>
                      <a:pt x="351" y="327"/>
                      <a:pt x="351" y="327"/>
                    </a:cubicBezTo>
                    <a:cubicBezTo>
                      <a:pt x="353" y="327"/>
                      <a:pt x="353" y="327"/>
                      <a:pt x="353" y="327"/>
                    </a:cubicBezTo>
                    <a:cubicBezTo>
                      <a:pt x="354" y="327"/>
                      <a:pt x="354" y="327"/>
                      <a:pt x="354" y="327"/>
                    </a:cubicBezTo>
                    <a:cubicBezTo>
                      <a:pt x="356" y="328"/>
                      <a:pt x="356" y="328"/>
                      <a:pt x="356" y="328"/>
                    </a:cubicBezTo>
                    <a:cubicBezTo>
                      <a:pt x="359" y="328"/>
                      <a:pt x="359" y="328"/>
                      <a:pt x="359" y="328"/>
                    </a:cubicBezTo>
                    <a:cubicBezTo>
                      <a:pt x="363" y="325"/>
                      <a:pt x="363" y="325"/>
                      <a:pt x="363" y="325"/>
                    </a:cubicBezTo>
                    <a:cubicBezTo>
                      <a:pt x="364" y="324"/>
                      <a:pt x="364" y="324"/>
                      <a:pt x="364" y="324"/>
                    </a:cubicBezTo>
                    <a:cubicBezTo>
                      <a:pt x="364" y="324"/>
                      <a:pt x="364" y="324"/>
                      <a:pt x="364" y="324"/>
                    </a:cubicBezTo>
                    <a:cubicBezTo>
                      <a:pt x="365" y="324"/>
                      <a:pt x="365" y="324"/>
                      <a:pt x="365" y="324"/>
                    </a:cubicBezTo>
                    <a:cubicBezTo>
                      <a:pt x="366" y="323"/>
                      <a:pt x="366" y="323"/>
                      <a:pt x="366" y="323"/>
                    </a:cubicBezTo>
                    <a:cubicBezTo>
                      <a:pt x="367" y="323"/>
                      <a:pt x="367" y="323"/>
                      <a:pt x="367" y="323"/>
                    </a:cubicBezTo>
                    <a:cubicBezTo>
                      <a:pt x="367" y="321"/>
                      <a:pt x="367" y="321"/>
                      <a:pt x="367" y="321"/>
                    </a:cubicBezTo>
                    <a:cubicBezTo>
                      <a:pt x="368" y="321"/>
                      <a:pt x="368" y="321"/>
                      <a:pt x="368" y="321"/>
                    </a:cubicBezTo>
                    <a:cubicBezTo>
                      <a:pt x="368" y="321"/>
                      <a:pt x="368" y="321"/>
                      <a:pt x="368" y="321"/>
                    </a:cubicBezTo>
                    <a:cubicBezTo>
                      <a:pt x="369" y="321"/>
                      <a:pt x="369" y="321"/>
                      <a:pt x="369" y="321"/>
                    </a:cubicBezTo>
                    <a:cubicBezTo>
                      <a:pt x="370" y="320"/>
                      <a:pt x="370" y="320"/>
                      <a:pt x="370" y="320"/>
                    </a:cubicBezTo>
                    <a:cubicBezTo>
                      <a:pt x="370" y="319"/>
                      <a:pt x="370" y="319"/>
                      <a:pt x="370" y="319"/>
                    </a:cubicBezTo>
                    <a:cubicBezTo>
                      <a:pt x="371" y="319"/>
                      <a:pt x="371" y="319"/>
                      <a:pt x="371" y="319"/>
                    </a:cubicBezTo>
                    <a:cubicBezTo>
                      <a:pt x="372" y="319"/>
                      <a:pt x="372" y="319"/>
                      <a:pt x="372" y="319"/>
                    </a:cubicBezTo>
                    <a:cubicBezTo>
                      <a:pt x="372" y="320"/>
                      <a:pt x="372" y="320"/>
                      <a:pt x="372" y="320"/>
                    </a:cubicBezTo>
                    <a:cubicBezTo>
                      <a:pt x="372" y="321"/>
                      <a:pt x="372" y="321"/>
                      <a:pt x="372" y="321"/>
                    </a:cubicBezTo>
                    <a:cubicBezTo>
                      <a:pt x="373" y="322"/>
                      <a:pt x="373" y="322"/>
                      <a:pt x="373" y="322"/>
                    </a:cubicBezTo>
                    <a:cubicBezTo>
                      <a:pt x="372" y="323"/>
                      <a:pt x="372" y="323"/>
                      <a:pt x="372" y="323"/>
                    </a:cubicBezTo>
                    <a:cubicBezTo>
                      <a:pt x="372" y="324"/>
                      <a:pt x="372" y="324"/>
                      <a:pt x="372" y="324"/>
                    </a:cubicBezTo>
                    <a:cubicBezTo>
                      <a:pt x="371" y="325"/>
                      <a:pt x="371" y="325"/>
                      <a:pt x="371" y="325"/>
                    </a:cubicBezTo>
                    <a:cubicBezTo>
                      <a:pt x="370" y="326"/>
                      <a:pt x="370" y="326"/>
                      <a:pt x="370" y="326"/>
                    </a:cubicBezTo>
                    <a:cubicBezTo>
                      <a:pt x="370" y="327"/>
                      <a:pt x="370" y="327"/>
                      <a:pt x="370" y="327"/>
                    </a:cubicBezTo>
                    <a:cubicBezTo>
                      <a:pt x="371" y="327"/>
                      <a:pt x="371" y="327"/>
                      <a:pt x="371" y="327"/>
                    </a:cubicBezTo>
                    <a:cubicBezTo>
                      <a:pt x="373" y="328"/>
                      <a:pt x="373" y="328"/>
                      <a:pt x="373" y="328"/>
                    </a:cubicBezTo>
                    <a:cubicBezTo>
                      <a:pt x="373" y="328"/>
                      <a:pt x="373" y="328"/>
                      <a:pt x="373" y="328"/>
                    </a:cubicBezTo>
                    <a:cubicBezTo>
                      <a:pt x="374" y="327"/>
                      <a:pt x="374" y="327"/>
                      <a:pt x="374" y="327"/>
                    </a:cubicBezTo>
                    <a:cubicBezTo>
                      <a:pt x="376" y="328"/>
                      <a:pt x="376" y="328"/>
                      <a:pt x="376" y="328"/>
                    </a:cubicBezTo>
                    <a:cubicBezTo>
                      <a:pt x="377" y="330"/>
                      <a:pt x="377" y="330"/>
                      <a:pt x="377" y="330"/>
                    </a:cubicBezTo>
                    <a:cubicBezTo>
                      <a:pt x="377" y="331"/>
                      <a:pt x="377" y="331"/>
                      <a:pt x="377" y="331"/>
                    </a:cubicBezTo>
                    <a:cubicBezTo>
                      <a:pt x="378" y="330"/>
                      <a:pt x="378" y="330"/>
                      <a:pt x="378" y="330"/>
                    </a:cubicBezTo>
                    <a:cubicBezTo>
                      <a:pt x="378" y="329"/>
                      <a:pt x="378" y="329"/>
                      <a:pt x="378" y="329"/>
                    </a:cubicBezTo>
                    <a:cubicBezTo>
                      <a:pt x="379" y="330"/>
                      <a:pt x="379" y="330"/>
                      <a:pt x="379" y="330"/>
                    </a:cubicBezTo>
                    <a:cubicBezTo>
                      <a:pt x="379" y="331"/>
                      <a:pt x="379" y="331"/>
                      <a:pt x="379" y="331"/>
                    </a:cubicBezTo>
                    <a:cubicBezTo>
                      <a:pt x="378" y="332"/>
                      <a:pt x="378" y="332"/>
                      <a:pt x="378" y="332"/>
                    </a:cubicBezTo>
                    <a:cubicBezTo>
                      <a:pt x="377" y="332"/>
                      <a:pt x="377" y="332"/>
                      <a:pt x="377" y="332"/>
                    </a:cubicBezTo>
                    <a:cubicBezTo>
                      <a:pt x="376" y="334"/>
                      <a:pt x="376" y="334"/>
                      <a:pt x="376" y="334"/>
                    </a:cubicBezTo>
                    <a:cubicBezTo>
                      <a:pt x="376" y="335"/>
                      <a:pt x="376" y="335"/>
                      <a:pt x="376" y="335"/>
                    </a:cubicBezTo>
                    <a:cubicBezTo>
                      <a:pt x="377" y="335"/>
                      <a:pt x="377" y="335"/>
                      <a:pt x="377" y="335"/>
                    </a:cubicBezTo>
                    <a:cubicBezTo>
                      <a:pt x="378" y="335"/>
                      <a:pt x="378" y="335"/>
                      <a:pt x="378" y="335"/>
                    </a:cubicBezTo>
                    <a:cubicBezTo>
                      <a:pt x="380" y="336"/>
                      <a:pt x="380" y="336"/>
                      <a:pt x="380" y="336"/>
                    </a:cubicBezTo>
                    <a:cubicBezTo>
                      <a:pt x="381" y="336"/>
                      <a:pt x="381" y="336"/>
                      <a:pt x="381" y="336"/>
                    </a:cubicBezTo>
                    <a:cubicBezTo>
                      <a:pt x="382" y="334"/>
                      <a:pt x="382" y="334"/>
                      <a:pt x="382" y="334"/>
                    </a:cubicBezTo>
                    <a:cubicBezTo>
                      <a:pt x="383" y="334"/>
                      <a:pt x="383" y="334"/>
                      <a:pt x="383" y="334"/>
                    </a:cubicBezTo>
                    <a:cubicBezTo>
                      <a:pt x="383" y="335"/>
                      <a:pt x="383" y="335"/>
                      <a:pt x="383" y="335"/>
                    </a:cubicBezTo>
                    <a:cubicBezTo>
                      <a:pt x="384" y="337"/>
                      <a:pt x="384" y="337"/>
                      <a:pt x="384" y="337"/>
                    </a:cubicBezTo>
                    <a:cubicBezTo>
                      <a:pt x="385" y="338"/>
                      <a:pt x="385" y="338"/>
                      <a:pt x="385" y="338"/>
                    </a:cubicBezTo>
                    <a:cubicBezTo>
                      <a:pt x="386" y="337"/>
                      <a:pt x="386" y="337"/>
                      <a:pt x="386" y="337"/>
                    </a:cubicBezTo>
                    <a:cubicBezTo>
                      <a:pt x="387" y="337"/>
                      <a:pt x="387" y="337"/>
                      <a:pt x="387" y="337"/>
                    </a:cubicBezTo>
                    <a:cubicBezTo>
                      <a:pt x="388" y="339"/>
                      <a:pt x="388" y="339"/>
                      <a:pt x="388" y="339"/>
                    </a:cubicBezTo>
                    <a:cubicBezTo>
                      <a:pt x="390" y="339"/>
                      <a:pt x="390" y="339"/>
                      <a:pt x="390" y="339"/>
                    </a:cubicBezTo>
                    <a:cubicBezTo>
                      <a:pt x="390" y="340"/>
                      <a:pt x="390" y="340"/>
                      <a:pt x="390" y="340"/>
                    </a:cubicBezTo>
                    <a:cubicBezTo>
                      <a:pt x="391" y="340"/>
                      <a:pt x="391" y="340"/>
                      <a:pt x="391" y="340"/>
                    </a:cubicBezTo>
                    <a:cubicBezTo>
                      <a:pt x="391" y="338"/>
                      <a:pt x="391" y="338"/>
                      <a:pt x="391" y="338"/>
                    </a:cubicBezTo>
                    <a:cubicBezTo>
                      <a:pt x="392" y="338"/>
                      <a:pt x="392" y="338"/>
                      <a:pt x="392" y="338"/>
                    </a:cubicBezTo>
                    <a:cubicBezTo>
                      <a:pt x="393" y="338"/>
                      <a:pt x="393" y="338"/>
                      <a:pt x="393" y="338"/>
                    </a:cubicBezTo>
                    <a:cubicBezTo>
                      <a:pt x="394" y="338"/>
                      <a:pt x="394" y="338"/>
                      <a:pt x="394" y="338"/>
                    </a:cubicBezTo>
                    <a:cubicBezTo>
                      <a:pt x="394" y="340"/>
                      <a:pt x="394" y="340"/>
                      <a:pt x="394" y="340"/>
                    </a:cubicBezTo>
                    <a:cubicBezTo>
                      <a:pt x="395" y="340"/>
                      <a:pt x="395" y="340"/>
                      <a:pt x="395" y="340"/>
                    </a:cubicBezTo>
                    <a:cubicBezTo>
                      <a:pt x="396" y="340"/>
                      <a:pt x="396" y="340"/>
                      <a:pt x="396" y="340"/>
                    </a:cubicBezTo>
                    <a:cubicBezTo>
                      <a:pt x="397" y="338"/>
                      <a:pt x="397" y="338"/>
                      <a:pt x="397" y="338"/>
                    </a:cubicBezTo>
                    <a:cubicBezTo>
                      <a:pt x="398" y="339"/>
                      <a:pt x="398" y="339"/>
                      <a:pt x="398" y="339"/>
                    </a:cubicBezTo>
                    <a:cubicBezTo>
                      <a:pt x="398" y="340"/>
                      <a:pt x="398" y="340"/>
                      <a:pt x="398" y="340"/>
                    </a:cubicBezTo>
                    <a:cubicBezTo>
                      <a:pt x="399" y="340"/>
                      <a:pt x="399" y="340"/>
                      <a:pt x="399" y="340"/>
                    </a:cubicBezTo>
                    <a:cubicBezTo>
                      <a:pt x="400" y="339"/>
                      <a:pt x="400" y="339"/>
                      <a:pt x="400" y="339"/>
                    </a:cubicBezTo>
                    <a:cubicBezTo>
                      <a:pt x="400" y="339"/>
                      <a:pt x="400" y="339"/>
                      <a:pt x="400" y="339"/>
                    </a:cubicBezTo>
                    <a:cubicBezTo>
                      <a:pt x="401" y="338"/>
                      <a:pt x="401" y="338"/>
                      <a:pt x="401" y="338"/>
                    </a:cubicBezTo>
                    <a:cubicBezTo>
                      <a:pt x="402" y="338"/>
                      <a:pt x="402" y="338"/>
                      <a:pt x="402" y="338"/>
                    </a:cubicBezTo>
                    <a:cubicBezTo>
                      <a:pt x="403" y="338"/>
                      <a:pt x="403" y="338"/>
                      <a:pt x="403" y="338"/>
                    </a:cubicBezTo>
                    <a:cubicBezTo>
                      <a:pt x="404" y="339"/>
                      <a:pt x="404" y="339"/>
                      <a:pt x="404" y="339"/>
                    </a:cubicBezTo>
                    <a:cubicBezTo>
                      <a:pt x="404" y="338"/>
                      <a:pt x="404" y="338"/>
                      <a:pt x="404" y="338"/>
                    </a:cubicBezTo>
                    <a:close/>
                    <a:moveTo>
                      <a:pt x="585" y="408"/>
                    </a:moveTo>
                    <a:cubicBezTo>
                      <a:pt x="586" y="406"/>
                      <a:pt x="586" y="406"/>
                      <a:pt x="586" y="406"/>
                    </a:cubicBezTo>
                    <a:cubicBezTo>
                      <a:pt x="585" y="405"/>
                      <a:pt x="585" y="405"/>
                      <a:pt x="585" y="405"/>
                    </a:cubicBezTo>
                    <a:cubicBezTo>
                      <a:pt x="585" y="403"/>
                      <a:pt x="585" y="403"/>
                      <a:pt x="585" y="403"/>
                    </a:cubicBezTo>
                    <a:cubicBezTo>
                      <a:pt x="586" y="401"/>
                      <a:pt x="586" y="401"/>
                      <a:pt x="586" y="401"/>
                    </a:cubicBezTo>
                    <a:cubicBezTo>
                      <a:pt x="588" y="398"/>
                      <a:pt x="588" y="398"/>
                      <a:pt x="588" y="398"/>
                    </a:cubicBezTo>
                    <a:cubicBezTo>
                      <a:pt x="589" y="396"/>
                      <a:pt x="589" y="396"/>
                      <a:pt x="589" y="396"/>
                    </a:cubicBezTo>
                    <a:cubicBezTo>
                      <a:pt x="591" y="395"/>
                      <a:pt x="591" y="395"/>
                      <a:pt x="591" y="395"/>
                    </a:cubicBezTo>
                    <a:cubicBezTo>
                      <a:pt x="593" y="391"/>
                      <a:pt x="593" y="391"/>
                      <a:pt x="593" y="391"/>
                    </a:cubicBezTo>
                    <a:cubicBezTo>
                      <a:pt x="595" y="390"/>
                      <a:pt x="595" y="390"/>
                      <a:pt x="595" y="390"/>
                    </a:cubicBezTo>
                    <a:cubicBezTo>
                      <a:pt x="596" y="390"/>
                      <a:pt x="596" y="390"/>
                      <a:pt x="596" y="390"/>
                    </a:cubicBezTo>
                    <a:cubicBezTo>
                      <a:pt x="597" y="389"/>
                      <a:pt x="597" y="389"/>
                      <a:pt x="597" y="389"/>
                    </a:cubicBezTo>
                    <a:cubicBezTo>
                      <a:pt x="598" y="389"/>
                      <a:pt x="598" y="389"/>
                      <a:pt x="598" y="389"/>
                    </a:cubicBezTo>
                    <a:cubicBezTo>
                      <a:pt x="600" y="388"/>
                      <a:pt x="600" y="388"/>
                      <a:pt x="600" y="388"/>
                    </a:cubicBezTo>
                    <a:cubicBezTo>
                      <a:pt x="602" y="389"/>
                      <a:pt x="602" y="389"/>
                      <a:pt x="602" y="389"/>
                    </a:cubicBezTo>
                    <a:cubicBezTo>
                      <a:pt x="603" y="390"/>
                      <a:pt x="603" y="390"/>
                      <a:pt x="603" y="390"/>
                    </a:cubicBezTo>
                    <a:cubicBezTo>
                      <a:pt x="604" y="390"/>
                      <a:pt x="604" y="390"/>
                      <a:pt x="604" y="390"/>
                    </a:cubicBezTo>
                    <a:cubicBezTo>
                      <a:pt x="605" y="392"/>
                      <a:pt x="605" y="392"/>
                      <a:pt x="605" y="392"/>
                    </a:cubicBezTo>
                    <a:cubicBezTo>
                      <a:pt x="606" y="394"/>
                      <a:pt x="606" y="394"/>
                      <a:pt x="606" y="394"/>
                    </a:cubicBezTo>
                    <a:cubicBezTo>
                      <a:pt x="606" y="395"/>
                      <a:pt x="606" y="395"/>
                      <a:pt x="606" y="395"/>
                    </a:cubicBezTo>
                    <a:cubicBezTo>
                      <a:pt x="604" y="397"/>
                      <a:pt x="604" y="397"/>
                      <a:pt x="604" y="397"/>
                    </a:cubicBezTo>
                    <a:cubicBezTo>
                      <a:pt x="603" y="398"/>
                      <a:pt x="603" y="398"/>
                      <a:pt x="603" y="398"/>
                    </a:cubicBezTo>
                    <a:cubicBezTo>
                      <a:pt x="603" y="400"/>
                      <a:pt x="603" y="400"/>
                      <a:pt x="603" y="400"/>
                    </a:cubicBezTo>
                    <a:cubicBezTo>
                      <a:pt x="601" y="404"/>
                      <a:pt x="601" y="404"/>
                      <a:pt x="601" y="404"/>
                    </a:cubicBezTo>
                    <a:cubicBezTo>
                      <a:pt x="600" y="406"/>
                      <a:pt x="600" y="406"/>
                      <a:pt x="600" y="406"/>
                    </a:cubicBezTo>
                    <a:cubicBezTo>
                      <a:pt x="598" y="406"/>
                      <a:pt x="598" y="406"/>
                      <a:pt x="598" y="406"/>
                    </a:cubicBezTo>
                    <a:cubicBezTo>
                      <a:pt x="596" y="408"/>
                      <a:pt x="596" y="408"/>
                      <a:pt x="596" y="408"/>
                    </a:cubicBezTo>
                    <a:cubicBezTo>
                      <a:pt x="595" y="408"/>
                      <a:pt x="595" y="408"/>
                      <a:pt x="595" y="408"/>
                    </a:cubicBezTo>
                    <a:cubicBezTo>
                      <a:pt x="594" y="409"/>
                      <a:pt x="594" y="409"/>
                      <a:pt x="594" y="409"/>
                    </a:cubicBezTo>
                    <a:cubicBezTo>
                      <a:pt x="592" y="409"/>
                      <a:pt x="592" y="409"/>
                      <a:pt x="592" y="409"/>
                    </a:cubicBezTo>
                    <a:cubicBezTo>
                      <a:pt x="591" y="409"/>
                      <a:pt x="591" y="409"/>
                      <a:pt x="591" y="409"/>
                    </a:cubicBezTo>
                    <a:cubicBezTo>
                      <a:pt x="588" y="409"/>
                      <a:pt x="588" y="409"/>
                      <a:pt x="588" y="409"/>
                    </a:cubicBezTo>
                    <a:cubicBezTo>
                      <a:pt x="587" y="409"/>
                      <a:pt x="587" y="409"/>
                      <a:pt x="587" y="409"/>
                    </a:cubicBezTo>
                    <a:cubicBezTo>
                      <a:pt x="585" y="409"/>
                      <a:pt x="585" y="409"/>
                      <a:pt x="585" y="409"/>
                    </a:cubicBezTo>
                    <a:cubicBezTo>
                      <a:pt x="585" y="408"/>
                      <a:pt x="585" y="408"/>
                      <a:pt x="585" y="408"/>
                    </a:cubicBezTo>
                    <a:close/>
                    <a:moveTo>
                      <a:pt x="413" y="332"/>
                    </a:moveTo>
                    <a:cubicBezTo>
                      <a:pt x="413" y="331"/>
                      <a:pt x="413" y="331"/>
                      <a:pt x="413" y="331"/>
                    </a:cubicBezTo>
                    <a:cubicBezTo>
                      <a:pt x="413" y="330"/>
                      <a:pt x="413" y="330"/>
                      <a:pt x="413" y="330"/>
                    </a:cubicBezTo>
                    <a:cubicBezTo>
                      <a:pt x="415" y="330"/>
                      <a:pt x="415" y="330"/>
                      <a:pt x="415" y="330"/>
                    </a:cubicBezTo>
                    <a:cubicBezTo>
                      <a:pt x="414" y="328"/>
                      <a:pt x="414" y="328"/>
                      <a:pt x="414" y="328"/>
                    </a:cubicBezTo>
                    <a:cubicBezTo>
                      <a:pt x="414" y="327"/>
                      <a:pt x="414" y="327"/>
                      <a:pt x="414" y="327"/>
                    </a:cubicBezTo>
                    <a:cubicBezTo>
                      <a:pt x="415" y="327"/>
                      <a:pt x="415" y="327"/>
                      <a:pt x="415" y="327"/>
                    </a:cubicBezTo>
                    <a:cubicBezTo>
                      <a:pt x="415" y="328"/>
                      <a:pt x="415" y="328"/>
                      <a:pt x="415" y="328"/>
                    </a:cubicBezTo>
                    <a:cubicBezTo>
                      <a:pt x="416" y="329"/>
                      <a:pt x="416" y="329"/>
                      <a:pt x="416" y="329"/>
                    </a:cubicBezTo>
                    <a:cubicBezTo>
                      <a:pt x="416" y="330"/>
                      <a:pt x="416" y="330"/>
                      <a:pt x="416" y="330"/>
                    </a:cubicBezTo>
                    <a:cubicBezTo>
                      <a:pt x="415" y="331"/>
                      <a:pt x="415" y="331"/>
                      <a:pt x="415" y="331"/>
                    </a:cubicBezTo>
                    <a:cubicBezTo>
                      <a:pt x="415" y="331"/>
                      <a:pt x="415" y="331"/>
                      <a:pt x="415" y="331"/>
                    </a:cubicBezTo>
                    <a:cubicBezTo>
                      <a:pt x="414" y="332"/>
                      <a:pt x="414" y="332"/>
                      <a:pt x="414" y="332"/>
                    </a:cubicBezTo>
                    <a:cubicBezTo>
                      <a:pt x="413" y="332"/>
                      <a:pt x="413" y="332"/>
                      <a:pt x="413" y="332"/>
                    </a:cubicBezTo>
                    <a:close/>
                    <a:moveTo>
                      <a:pt x="397" y="347"/>
                    </a:moveTo>
                    <a:cubicBezTo>
                      <a:pt x="398" y="347"/>
                      <a:pt x="398" y="347"/>
                      <a:pt x="398" y="347"/>
                    </a:cubicBezTo>
                    <a:cubicBezTo>
                      <a:pt x="399" y="345"/>
                      <a:pt x="399" y="345"/>
                      <a:pt x="399" y="345"/>
                    </a:cubicBezTo>
                    <a:cubicBezTo>
                      <a:pt x="399" y="344"/>
                      <a:pt x="399" y="344"/>
                      <a:pt x="399" y="344"/>
                    </a:cubicBezTo>
                    <a:cubicBezTo>
                      <a:pt x="399" y="343"/>
                      <a:pt x="399" y="343"/>
                      <a:pt x="399" y="343"/>
                    </a:cubicBezTo>
                    <a:cubicBezTo>
                      <a:pt x="399" y="343"/>
                      <a:pt x="399" y="343"/>
                      <a:pt x="399" y="343"/>
                    </a:cubicBezTo>
                    <a:cubicBezTo>
                      <a:pt x="397" y="344"/>
                      <a:pt x="397" y="344"/>
                      <a:pt x="397" y="344"/>
                    </a:cubicBezTo>
                    <a:cubicBezTo>
                      <a:pt x="397" y="344"/>
                      <a:pt x="397" y="344"/>
                      <a:pt x="397" y="344"/>
                    </a:cubicBezTo>
                    <a:cubicBezTo>
                      <a:pt x="395" y="344"/>
                      <a:pt x="395" y="344"/>
                      <a:pt x="395" y="344"/>
                    </a:cubicBezTo>
                    <a:cubicBezTo>
                      <a:pt x="395" y="345"/>
                      <a:pt x="395" y="345"/>
                      <a:pt x="395" y="345"/>
                    </a:cubicBezTo>
                    <a:cubicBezTo>
                      <a:pt x="396" y="347"/>
                      <a:pt x="396" y="347"/>
                      <a:pt x="396" y="347"/>
                    </a:cubicBezTo>
                    <a:cubicBezTo>
                      <a:pt x="397" y="347"/>
                      <a:pt x="397" y="347"/>
                      <a:pt x="397" y="347"/>
                    </a:cubicBezTo>
                    <a:close/>
                    <a:moveTo>
                      <a:pt x="416" y="344"/>
                    </a:moveTo>
                    <a:cubicBezTo>
                      <a:pt x="414" y="345"/>
                      <a:pt x="414" y="345"/>
                      <a:pt x="414" y="345"/>
                    </a:cubicBezTo>
                    <a:cubicBezTo>
                      <a:pt x="414" y="346"/>
                      <a:pt x="414" y="346"/>
                      <a:pt x="414" y="346"/>
                    </a:cubicBezTo>
                    <a:cubicBezTo>
                      <a:pt x="413" y="347"/>
                      <a:pt x="413" y="347"/>
                      <a:pt x="413" y="347"/>
                    </a:cubicBezTo>
                    <a:cubicBezTo>
                      <a:pt x="412" y="345"/>
                      <a:pt x="412" y="345"/>
                      <a:pt x="412" y="345"/>
                    </a:cubicBezTo>
                    <a:cubicBezTo>
                      <a:pt x="412" y="344"/>
                      <a:pt x="412" y="344"/>
                      <a:pt x="412" y="344"/>
                    </a:cubicBezTo>
                    <a:cubicBezTo>
                      <a:pt x="414" y="341"/>
                      <a:pt x="414" y="341"/>
                      <a:pt x="414" y="341"/>
                    </a:cubicBezTo>
                    <a:cubicBezTo>
                      <a:pt x="414" y="340"/>
                      <a:pt x="414" y="340"/>
                      <a:pt x="414" y="340"/>
                    </a:cubicBezTo>
                    <a:cubicBezTo>
                      <a:pt x="415" y="339"/>
                      <a:pt x="415" y="339"/>
                      <a:pt x="415" y="339"/>
                    </a:cubicBezTo>
                    <a:cubicBezTo>
                      <a:pt x="416" y="339"/>
                      <a:pt x="416" y="339"/>
                      <a:pt x="416" y="339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17" y="342"/>
                      <a:pt x="417" y="342"/>
                      <a:pt x="417" y="342"/>
                    </a:cubicBezTo>
                    <a:cubicBezTo>
                      <a:pt x="416" y="344"/>
                      <a:pt x="416" y="344"/>
                      <a:pt x="416" y="344"/>
                    </a:cubicBezTo>
                    <a:close/>
                    <a:moveTo>
                      <a:pt x="419" y="341"/>
                    </a:moveTo>
                    <a:cubicBezTo>
                      <a:pt x="418" y="340"/>
                      <a:pt x="418" y="340"/>
                      <a:pt x="418" y="340"/>
                    </a:cubicBezTo>
                    <a:cubicBezTo>
                      <a:pt x="418" y="339"/>
                      <a:pt x="418" y="339"/>
                      <a:pt x="418" y="339"/>
                    </a:cubicBezTo>
                    <a:cubicBezTo>
                      <a:pt x="419" y="337"/>
                      <a:pt x="419" y="337"/>
                      <a:pt x="419" y="337"/>
                    </a:cubicBezTo>
                    <a:cubicBezTo>
                      <a:pt x="420" y="337"/>
                      <a:pt x="420" y="337"/>
                      <a:pt x="420" y="337"/>
                    </a:cubicBezTo>
                    <a:cubicBezTo>
                      <a:pt x="421" y="338"/>
                      <a:pt x="421" y="338"/>
                      <a:pt x="421" y="338"/>
                    </a:cubicBezTo>
                    <a:cubicBezTo>
                      <a:pt x="420" y="340"/>
                      <a:pt x="420" y="340"/>
                      <a:pt x="420" y="340"/>
                    </a:cubicBezTo>
                    <a:cubicBezTo>
                      <a:pt x="420" y="341"/>
                      <a:pt x="420" y="341"/>
                      <a:pt x="420" y="341"/>
                    </a:cubicBezTo>
                    <a:cubicBezTo>
                      <a:pt x="420" y="341"/>
                      <a:pt x="419" y="341"/>
                      <a:pt x="419" y="341"/>
                    </a:cubicBezTo>
                    <a:close/>
                    <a:moveTo>
                      <a:pt x="454" y="342"/>
                    </a:moveTo>
                    <a:cubicBezTo>
                      <a:pt x="455" y="339"/>
                      <a:pt x="455" y="339"/>
                      <a:pt x="455" y="339"/>
                    </a:cubicBezTo>
                    <a:cubicBezTo>
                      <a:pt x="457" y="337"/>
                      <a:pt x="457" y="337"/>
                      <a:pt x="457" y="337"/>
                    </a:cubicBezTo>
                    <a:cubicBezTo>
                      <a:pt x="460" y="338"/>
                      <a:pt x="460" y="338"/>
                      <a:pt x="460" y="338"/>
                    </a:cubicBezTo>
                    <a:cubicBezTo>
                      <a:pt x="460" y="339"/>
                      <a:pt x="460" y="339"/>
                      <a:pt x="460" y="339"/>
                    </a:cubicBezTo>
                    <a:cubicBezTo>
                      <a:pt x="458" y="343"/>
                      <a:pt x="458" y="343"/>
                      <a:pt x="458" y="343"/>
                    </a:cubicBezTo>
                    <a:cubicBezTo>
                      <a:pt x="456" y="343"/>
                      <a:pt x="456" y="343"/>
                      <a:pt x="456" y="343"/>
                    </a:cubicBezTo>
                    <a:cubicBezTo>
                      <a:pt x="457" y="342"/>
                      <a:pt x="457" y="342"/>
                      <a:pt x="457" y="342"/>
                    </a:cubicBezTo>
                    <a:cubicBezTo>
                      <a:pt x="457" y="340"/>
                      <a:pt x="457" y="340"/>
                      <a:pt x="457" y="340"/>
                    </a:cubicBezTo>
                    <a:cubicBezTo>
                      <a:pt x="456" y="341"/>
                      <a:pt x="456" y="341"/>
                      <a:pt x="456" y="341"/>
                    </a:cubicBezTo>
                    <a:cubicBezTo>
                      <a:pt x="456" y="342"/>
                      <a:pt x="456" y="342"/>
                      <a:pt x="456" y="342"/>
                    </a:cubicBezTo>
                    <a:cubicBezTo>
                      <a:pt x="456" y="342"/>
                      <a:pt x="454" y="342"/>
                      <a:pt x="454" y="342"/>
                    </a:cubicBezTo>
                    <a:close/>
                    <a:moveTo>
                      <a:pt x="453" y="340"/>
                    </a:moveTo>
                    <a:cubicBezTo>
                      <a:pt x="454" y="340"/>
                      <a:pt x="454" y="340"/>
                      <a:pt x="454" y="340"/>
                    </a:cubicBezTo>
                    <a:cubicBezTo>
                      <a:pt x="455" y="338"/>
                      <a:pt x="455" y="338"/>
                      <a:pt x="455" y="338"/>
                    </a:cubicBezTo>
                    <a:cubicBezTo>
                      <a:pt x="454" y="335"/>
                      <a:pt x="454" y="335"/>
                      <a:pt x="454" y="335"/>
                    </a:cubicBezTo>
                    <a:cubicBezTo>
                      <a:pt x="453" y="337"/>
                      <a:pt x="453" y="337"/>
                      <a:pt x="453" y="337"/>
                    </a:cubicBezTo>
                    <a:cubicBezTo>
                      <a:pt x="453" y="340"/>
                      <a:pt x="453" y="340"/>
                      <a:pt x="453" y="340"/>
                    </a:cubicBezTo>
                    <a:close/>
                    <a:moveTo>
                      <a:pt x="452" y="357"/>
                    </a:moveTo>
                    <a:cubicBezTo>
                      <a:pt x="452" y="356"/>
                      <a:pt x="452" y="356"/>
                      <a:pt x="452" y="356"/>
                    </a:cubicBezTo>
                    <a:cubicBezTo>
                      <a:pt x="455" y="354"/>
                      <a:pt x="455" y="354"/>
                      <a:pt x="455" y="354"/>
                    </a:cubicBezTo>
                    <a:cubicBezTo>
                      <a:pt x="455" y="352"/>
                      <a:pt x="455" y="352"/>
                      <a:pt x="455" y="352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2" y="352"/>
                      <a:pt x="452" y="352"/>
                      <a:pt x="452" y="352"/>
                    </a:cubicBezTo>
                    <a:cubicBezTo>
                      <a:pt x="454" y="348"/>
                      <a:pt x="454" y="348"/>
                      <a:pt x="454" y="348"/>
                    </a:cubicBezTo>
                    <a:cubicBezTo>
                      <a:pt x="455" y="346"/>
                      <a:pt x="455" y="346"/>
                      <a:pt x="455" y="346"/>
                    </a:cubicBezTo>
                    <a:cubicBezTo>
                      <a:pt x="452" y="347"/>
                      <a:pt x="452" y="347"/>
                      <a:pt x="452" y="347"/>
                    </a:cubicBezTo>
                    <a:cubicBezTo>
                      <a:pt x="451" y="350"/>
                      <a:pt x="451" y="350"/>
                      <a:pt x="451" y="350"/>
                    </a:cubicBezTo>
                    <a:cubicBezTo>
                      <a:pt x="451" y="348"/>
                      <a:pt x="451" y="348"/>
                      <a:pt x="451" y="348"/>
                    </a:cubicBezTo>
                    <a:cubicBezTo>
                      <a:pt x="452" y="343"/>
                      <a:pt x="452" y="343"/>
                      <a:pt x="452" y="343"/>
                    </a:cubicBezTo>
                    <a:cubicBezTo>
                      <a:pt x="451" y="337"/>
                      <a:pt x="451" y="337"/>
                      <a:pt x="451" y="337"/>
                    </a:cubicBezTo>
                    <a:cubicBezTo>
                      <a:pt x="449" y="335"/>
                      <a:pt x="449" y="335"/>
                      <a:pt x="449" y="335"/>
                    </a:cubicBezTo>
                    <a:cubicBezTo>
                      <a:pt x="449" y="333"/>
                      <a:pt x="449" y="333"/>
                      <a:pt x="449" y="333"/>
                    </a:cubicBezTo>
                    <a:cubicBezTo>
                      <a:pt x="447" y="333"/>
                      <a:pt x="447" y="333"/>
                      <a:pt x="447" y="333"/>
                    </a:cubicBezTo>
                    <a:cubicBezTo>
                      <a:pt x="446" y="335"/>
                      <a:pt x="446" y="335"/>
                      <a:pt x="446" y="335"/>
                    </a:cubicBezTo>
                    <a:cubicBezTo>
                      <a:pt x="446" y="333"/>
                      <a:pt x="446" y="333"/>
                      <a:pt x="446" y="333"/>
                    </a:cubicBezTo>
                    <a:cubicBezTo>
                      <a:pt x="447" y="331"/>
                      <a:pt x="447" y="331"/>
                      <a:pt x="447" y="331"/>
                    </a:cubicBezTo>
                    <a:cubicBezTo>
                      <a:pt x="446" y="329"/>
                      <a:pt x="446" y="329"/>
                      <a:pt x="446" y="329"/>
                    </a:cubicBezTo>
                    <a:cubicBezTo>
                      <a:pt x="447" y="328"/>
                      <a:pt x="447" y="328"/>
                      <a:pt x="447" y="328"/>
                    </a:cubicBezTo>
                    <a:cubicBezTo>
                      <a:pt x="447" y="326"/>
                      <a:pt x="447" y="326"/>
                      <a:pt x="447" y="326"/>
                    </a:cubicBezTo>
                    <a:cubicBezTo>
                      <a:pt x="444" y="326"/>
                      <a:pt x="444" y="326"/>
                      <a:pt x="444" y="326"/>
                    </a:cubicBezTo>
                    <a:cubicBezTo>
                      <a:pt x="441" y="329"/>
                      <a:pt x="441" y="329"/>
                      <a:pt x="441" y="329"/>
                    </a:cubicBezTo>
                    <a:cubicBezTo>
                      <a:pt x="440" y="332"/>
                      <a:pt x="440" y="332"/>
                      <a:pt x="440" y="332"/>
                    </a:cubicBezTo>
                    <a:cubicBezTo>
                      <a:pt x="440" y="335"/>
                      <a:pt x="440" y="335"/>
                      <a:pt x="440" y="335"/>
                    </a:cubicBezTo>
                    <a:cubicBezTo>
                      <a:pt x="439" y="335"/>
                      <a:pt x="439" y="335"/>
                      <a:pt x="439" y="335"/>
                    </a:cubicBezTo>
                    <a:cubicBezTo>
                      <a:pt x="438" y="332"/>
                      <a:pt x="438" y="332"/>
                      <a:pt x="438" y="332"/>
                    </a:cubicBezTo>
                    <a:cubicBezTo>
                      <a:pt x="437" y="332"/>
                      <a:pt x="437" y="332"/>
                      <a:pt x="437" y="332"/>
                    </a:cubicBezTo>
                    <a:cubicBezTo>
                      <a:pt x="437" y="334"/>
                      <a:pt x="437" y="334"/>
                      <a:pt x="437" y="334"/>
                    </a:cubicBezTo>
                    <a:cubicBezTo>
                      <a:pt x="436" y="334"/>
                      <a:pt x="436" y="334"/>
                      <a:pt x="436" y="334"/>
                    </a:cubicBezTo>
                    <a:cubicBezTo>
                      <a:pt x="437" y="336"/>
                      <a:pt x="437" y="336"/>
                      <a:pt x="437" y="336"/>
                    </a:cubicBezTo>
                    <a:cubicBezTo>
                      <a:pt x="436" y="338"/>
                      <a:pt x="436" y="338"/>
                      <a:pt x="436" y="338"/>
                    </a:cubicBezTo>
                    <a:cubicBezTo>
                      <a:pt x="434" y="338"/>
                      <a:pt x="434" y="338"/>
                      <a:pt x="434" y="338"/>
                    </a:cubicBezTo>
                    <a:cubicBezTo>
                      <a:pt x="433" y="340"/>
                      <a:pt x="433" y="340"/>
                      <a:pt x="433" y="340"/>
                    </a:cubicBezTo>
                    <a:cubicBezTo>
                      <a:pt x="430" y="339"/>
                      <a:pt x="430" y="339"/>
                      <a:pt x="430" y="339"/>
                    </a:cubicBezTo>
                    <a:cubicBezTo>
                      <a:pt x="429" y="340"/>
                      <a:pt x="429" y="340"/>
                      <a:pt x="429" y="340"/>
                    </a:cubicBezTo>
                    <a:cubicBezTo>
                      <a:pt x="427" y="340"/>
                      <a:pt x="427" y="340"/>
                      <a:pt x="427" y="340"/>
                    </a:cubicBezTo>
                    <a:cubicBezTo>
                      <a:pt x="423" y="342"/>
                      <a:pt x="423" y="342"/>
                      <a:pt x="423" y="342"/>
                    </a:cubicBezTo>
                    <a:cubicBezTo>
                      <a:pt x="423" y="344"/>
                      <a:pt x="423" y="344"/>
                      <a:pt x="423" y="344"/>
                    </a:cubicBezTo>
                    <a:cubicBezTo>
                      <a:pt x="425" y="347"/>
                      <a:pt x="425" y="347"/>
                      <a:pt x="425" y="347"/>
                    </a:cubicBezTo>
                    <a:cubicBezTo>
                      <a:pt x="427" y="346"/>
                      <a:pt x="427" y="346"/>
                      <a:pt x="427" y="346"/>
                    </a:cubicBezTo>
                    <a:cubicBezTo>
                      <a:pt x="427" y="345"/>
                      <a:pt x="427" y="345"/>
                      <a:pt x="427" y="345"/>
                    </a:cubicBezTo>
                    <a:cubicBezTo>
                      <a:pt x="427" y="343"/>
                      <a:pt x="427" y="343"/>
                      <a:pt x="427" y="343"/>
                    </a:cubicBezTo>
                    <a:cubicBezTo>
                      <a:pt x="429" y="345"/>
                      <a:pt x="429" y="345"/>
                      <a:pt x="429" y="345"/>
                    </a:cubicBezTo>
                    <a:cubicBezTo>
                      <a:pt x="428" y="348"/>
                      <a:pt x="428" y="348"/>
                      <a:pt x="428" y="348"/>
                    </a:cubicBezTo>
                    <a:cubicBezTo>
                      <a:pt x="430" y="349"/>
                      <a:pt x="430" y="349"/>
                      <a:pt x="430" y="349"/>
                    </a:cubicBezTo>
                    <a:cubicBezTo>
                      <a:pt x="431" y="347"/>
                      <a:pt x="431" y="347"/>
                      <a:pt x="431" y="347"/>
                    </a:cubicBezTo>
                    <a:cubicBezTo>
                      <a:pt x="432" y="349"/>
                      <a:pt x="432" y="349"/>
                      <a:pt x="432" y="349"/>
                    </a:cubicBezTo>
                    <a:cubicBezTo>
                      <a:pt x="431" y="350"/>
                      <a:pt x="431" y="350"/>
                      <a:pt x="431" y="350"/>
                    </a:cubicBezTo>
                    <a:cubicBezTo>
                      <a:pt x="434" y="353"/>
                      <a:pt x="434" y="353"/>
                      <a:pt x="434" y="353"/>
                    </a:cubicBezTo>
                    <a:cubicBezTo>
                      <a:pt x="436" y="353"/>
                      <a:pt x="436" y="353"/>
                      <a:pt x="436" y="353"/>
                    </a:cubicBezTo>
                    <a:cubicBezTo>
                      <a:pt x="436" y="356"/>
                      <a:pt x="436" y="356"/>
                      <a:pt x="436" y="356"/>
                    </a:cubicBezTo>
                    <a:cubicBezTo>
                      <a:pt x="438" y="358"/>
                      <a:pt x="438" y="358"/>
                      <a:pt x="438" y="358"/>
                    </a:cubicBezTo>
                    <a:cubicBezTo>
                      <a:pt x="439" y="355"/>
                      <a:pt x="439" y="355"/>
                      <a:pt x="439" y="355"/>
                    </a:cubicBezTo>
                    <a:cubicBezTo>
                      <a:pt x="439" y="357"/>
                      <a:pt x="439" y="357"/>
                      <a:pt x="439" y="357"/>
                    </a:cubicBezTo>
                    <a:cubicBezTo>
                      <a:pt x="442" y="359"/>
                      <a:pt x="442" y="359"/>
                      <a:pt x="442" y="359"/>
                    </a:cubicBezTo>
                    <a:cubicBezTo>
                      <a:pt x="443" y="359"/>
                      <a:pt x="443" y="359"/>
                      <a:pt x="443" y="359"/>
                    </a:cubicBezTo>
                    <a:cubicBezTo>
                      <a:pt x="445" y="359"/>
                      <a:pt x="445" y="359"/>
                      <a:pt x="445" y="359"/>
                    </a:cubicBezTo>
                    <a:cubicBezTo>
                      <a:pt x="447" y="357"/>
                      <a:pt x="447" y="357"/>
                      <a:pt x="447" y="357"/>
                    </a:cubicBezTo>
                    <a:cubicBezTo>
                      <a:pt x="448" y="357"/>
                      <a:pt x="448" y="357"/>
                      <a:pt x="448" y="357"/>
                    </a:cubicBezTo>
                    <a:cubicBezTo>
                      <a:pt x="451" y="355"/>
                      <a:pt x="451" y="355"/>
                      <a:pt x="451" y="355"/>
                    </a:cubicBezTo>
                    <a:cubicBezTo>
                      <a:pt x="452" y="357"/>
                      <a:pt x="452" y="357"/>
                      <a:pt x="452" y="357"/>
                    </a:cubicBezTo>
                    <a:close/>
                    <a:moveTo>
                      <a:pt x="650" y="343"/>
                    </a:moveTo>
                    <a:cubicBezTo>
                      <a:pt x="649" y="342"/>
                      <a:pt x="649" y="342"/>
                      <a:pt x="649" y="342"/>
                    </a:cubicBezTo>
                    <a:cubicBezTo>
                      <a:pt x="649" y="341"/>
                      <a:pt x="649" y="341"/>
                      <a:pt x="649" y="341"/>
                    </a:cubicBezTo>
                    <a:cubicBezTo>
                      <a:pt x="650" y="339"/>
                      <a:pt x="650" y="339"/>
                      <a:pt x="650" y="339"/>
                    </a:cubicBezTo>
                    <a:cubicBezTo>
                      <a:pt x="651" y="338"/>
                      <a:pt x="651" y="338"/>
                      <a:pt x="651" y="338"/>
                    </a:cubicBezTo>
                    <a:cubicBezTo>
                      <a:pt x="653" y="338"/>
                      <a:pt x="653" y="338"/>
                      <a:pt x="653" y="338"/>
                    </a:cubicBezTo>
                    <a:cubicBezTo>
                      <a:pt x="653" y="340"/>
                      <a:pt x="653" y="340"/>
                      <a:pt x="653" y="340"/>
                    </a:cubicBezTo>
                    <a:cubicBezTo>
                      <a:pt x="654" y="340"/>
                      <a:pt x="654" y="340"/>
                      <a:pt x="654" y="340"/>
                    </a:cubicBezTo>
                    <a:cubicBezTo>
                      <a:pt x="655" y="340"/>
                      <a:pt x="655" y="340"/>
                      <a:pt x="655" y="340"/>
                    </a:cubicBezTo>
                    <a:cubicBezTo>
                      <a:pt x="654" y="342"/>
                      <a:pt x="654" y="342"/>
                      <a:pt x="654" y="342"/>
                    </a:cubicBezTo>
                    <a:cubicBezTo>
                      <a:pt x="653" y="342"/>
                      <a:pt x="653" y="342"/>
                      <a:pt x="653" y="342"/>
                    </a:cubicBezTo>
                    <a:cubicBezTo>
                      <a:pt x="652" y="342"/>
                      <a:pt x="652" y="342"/>
                      <a:pt x="652" y="342"/>
                    </a:cubicBezTo>
                    <a:cubicBezTo>
                      <a:pt x="651" y="342"/>
                      <a:pt x="651" y="342"/>
                      <a:pt x="651" y="342"/>
                    </a:cubicBezTo>
                    <a:cubicBezTo>
                      <a:pt x="650" y="343"/>
                      <a:pt x="650" y="343"/>
                      <a:pt x="650" y="343"/>
                    </a:cubicBezTo>
                    <a:cubicBezTo>
                      <a:pt x="650" y="343"/>
                      <a:pt x="649" y="343"/>
                      <a:pt x="650" y="343"/>
                    </a:cubicBezTo>
                    <a:close/>
                    <a:moveTo>
                      <a:pt x="645" y="517"/>
                    </a:moveTo>
                    <a:cubicBezTo>
                      <a:pt x="643" y="517"/>
                      <a:pt x="643" y="517"/>
                      <a:pt x="643" y="517"/>
                    </a:cubicBezTo>
                    <a:cubicBezTo>
                      <a:pt x="642" y="516"/>
                      <a:pt x="642" y="516"/>
                      <a:pt x="642" y="516"/>
                    </a:cubicBezTo>
                    <a:cubicBezTo>
                      <a:pt x="639" y="514"/>
                      <a:pt x="639" y="514"/>
                      <a:pt x="639" y="514"/>
                    </a:cubicBezTo>
                    <a:cubicBezTo>
                      <a:pt x="637" y="513"/>
                      <a:pt x="637" y="513"/>
                      <a:pt x="637" y="513"/>
                    </a:cubicBezTo>
                    <a:cubicBezTo>
                      <a:pt x="636" y="513"/>
                      <a:pt x="636" y="513"/>
                      <a:pt x="636" y="513"/>
                    </a:cubicBezTo>
                    <a:cubicBezTo>
                      <a:pt x="634" y="511"/>
                      <a:pt x="634" y="511"/>
                      <a:pt x="634" y="511"/>
                    </a:cubicBezTo>
                    <a:cubicBezTo>
                      <a:pt x="633" y="510"/>
                      <a:pt x="633" y="510"/>
                      <a:pt x="633" y="510"/>
                    </a:cubicBezTo>
                    <a:cubicBezTo>
                      <a:pt x="632" y="509"/>
                      <a:pt x="632" y="509"/>
                      <a:pt x="632" y="509"/>
                    </a:cubicBezTo>
                    <a:cubicBezTo>
                      <a:pt x="631" y="509"/>
                      <a:pt x="631" y="509"/>
                      <a:pt x="631" y="509"/>
                    </a:cubicBezTo>
                    <a:cubicBezTo>
                      <a:pt x="629" y="509"/>
                      <a:pt x="629" y="509"/>
                      <a:pt x="629" y="509"/>
                    </a:cubicBezTo>
                    <a:cubicBezTo>
                      <a:pt x="629" y="509"/>
                      <a:pt x="629" y="509"/>
                      <a:pt x="629" y="509"/>
                    </a:cubicBezTo>
                    <a:cubicBezTo>
                      <a:pt x="626" y="508"/>
                      <a:pt x="626" y="508"/>
                      <a:pt x="626" y="508"/>
                    </a:cubicBezTo>
                    <a:cubicBezTo>
                      <a:pt x="625" y="507"/>
                      <a:pt x="625" y="507"/>
                      <a:pt x="625" y="507"/>
                    </a:cubicBezTo>
                    <a:cubicBezTo>
                      <a:pt x="624" y="506"/>
                      <a:pt x="624" y="506"/>
                      <a:pt x="624" y="506"/>
                    </a:cubicBezTo>
                    <a:cubicBezTo>
                      <a:pt x="623" y="506"/>
                      <a:pt x="623" y="506"/>
                      <a:pt x="623" y="506"/>
                    </a:cubicBezTo>
                    <a:cubicBezTo>
                      <a:pt x="621" y="504"/>
                      <a:pt x="621" y="504"/>
                      <a:pt x="621" y="504"/>
                    </a:cubicBezTo>
                    <a:cubicBezTo>
                      <a:pt x="621" y="502"/>
                      <a:pt x="621" y="502"/>
                      <a:pt x="621" y="502"/>
                    </a:cubicBezTo>
                    <a:cubicBezTo>
                      <a:pt x="620" y="502"/>
                      <a:pt x="620" y="502"/>
                      <a:pt x="620" y="502"/>
                    </a:cubicBezTo>
                    <a:cubicBezTo>
                      <a:pt x="619" y="502"/>
                      <a:pt x="619" y="502"/>
                      <a:pt x="619" y="502"/>
                    </a:cubicBezTo>
                    <a:cubicBezTo>
                      <a:pt x="618" y="500"/>
                      <a:pt x="618" y="500"/>
                      <a:pt x="618" y="500"/>
                    </a:cubicBezTo>
                    <a:cubicBezTo>
                      <a:pt x="619" y="499"/>
                      <a:pt x="619" y="499"/>
                      <a:pt x="619" y="499"/>
                    </a:cubicBezTo>
                    <a:cubicBezTo>
                      <a:pt x="620" y="498"/>
                      <a:pt x="620" y="498"/>
                      <a:pt x="620" y="498"/>
                    </a:cubicBezTo>
                    <a:cubicBezTo>
                      <a:pt x="618" y="498"/>
                      <a:pt x="618" y="498"/>
                      <a:pt x="618" y="498"/>
                    </a:cubicBezTo>
                    <a:cubicBezTo>
                      <a:pt x="618" y="498"/>
                      <a:pt x="618" y="498"/>
                      <a:pt x="618" y="498"/>
                    </a:cubicBezTo>
                    <a:cubicBezTo>
                      <a:pt x="617" y="499"/>
                      <a:pt x="617" y="499"/>
                      <a:pt x="617" y="499"/>
                    </a:cubicBezTo>
                    <a:cubicBezTo>
                      <a:pt x="616" y="498"/>
                      <a:pt x="616" y="498"/>
                      <a:pt x="616" y="498"/>
                    </a:cubicBezTo>
                    <a:cubicBezTo>
                      <a:pt x="616" y="497"/>
                      <a:pt x="616" y="497"/>
                      <a:pt x="616" y="497"/>
                    </a:cubicBezTo>
                    <a:cubicBezTo>
                      <a:pt x="615" y="497"/>
                      <a:pt x="615" y="497"/>
                      <a:pt x="615" y="497"/>
                    </a:cubicBezTo>
                    <a:cubicBezTo>
                      <a:pt x="612" y="495"/>
                      <a:pt x="612" y="495"/>
                      <a:pt x="612" y="495"/>
                    </a:cubicBezTo>
                    <a:cubicBezTo>
                      <a:pt x="610" y="495"/>
                      <a:pt x="610" y="495"/>
                      <a:pt x="610" y="495"/>
                    </a:cubicBezTo>
                    <a:cubicBezTo>
                      <a:pt x="609" y="494"/>
                      <a:pt x="609" y="494"/>
                      <a:pt x="609" y="494"/>
                    </a:cubicBezTo>
                    <a:cubicBezTo>
                      <a:pt x="608" y="493"/>
                      <a:pt x="608" y="493"/>
                      <a:pt x="608" y="493"/>
                    </a:cubicBezTo>
                    <a:cubicBezTo>
                      <a:pt x="608" y="492"/>
                      <a:pt x="608" y="492"/>
                      <a:pt x="608" y="492"/>
                    </a:cubicBezTo>
                    <a:cubicBezTo>
                      <a:pt x="606" y="492"/>
                      <a:pt x="606" y="492"/>
                      <a:pt x="606" y="492"/>
                    </a:cubicBezTo>
                    <a:cubicBezTo>
                      <a:pt x="605" y="490"/>
                      <a:pt x="605" y="490"/>
                      <a:pt x="605" y="490"/>
                    </a:cubicBezTo>
                    <a:cubicBezTo>
                      <a:pt x="604" y="489"/>
                      <a:pt x="604" y="489"/>
                      <a:pt x="604" y="489"/>
                    </a:cubicBezTo>
                    <a:cubicBezTo>
                      <a:pt x="604" y="486"/>
                      <a:pt x="604" y="486"/>
                      <a:pt x="604" y="486"/>
                    </a:cubicBezTo>
                    <a:cubicBezTo>
                      <a:pt x="602" y="485"/>
                      <a:pt x="602" y="485"/>
                      <a:pt x="602" y="485"/>
                    </a:cubicBezTo>
                    <a:cubicBezTo>
                      <a:pt x="603" y="485"/>
                      <a:pt x="603" y="485"/>
                      <a:pt x="603" y="485"/>
                    </a:cubicBezTo>
                    <a:cubicBezTo>
                      <a:pt x="605" y="485"/>
                      <a:pt x="605" y="485"/>
                      <a:pt x="605" y="485"/>
                    </a:cubicBezTo>
                    <a:cubicBezTo>
                      <a:pt x="609" y="482"/>
                      <a:pt x="609" y="482"/>
                      <a:pt x="609" y="482"/>
                    </a:cubicBezTo>
                    <a:cubicBezTo>
                      <a:pt x="610" y="481"/>
                      <a:pt x="610" y="481"/>
                      <a:pt x="610" y="481"/>
                    </a:cubicBezTo>
                    <a:cubicBezTo>
                      <a:pt x="607" y="482"/>
                      <a:pt x="607" y="482"/>
                      <a:pt x="607" y="482"/>
                    </a:cubicBezTo>
                    <a:cubicBezTo>
                      <a:pt x="606" y="480"/>
                      <a:pt x="606" y="480"/>
                      <a:pt x="606" y="480"/>
                    </a:cubicBezTo>
                    <a:cubicBezTo>
                      <a:pt x="605" y="477"/>
                      <a:pt x="605" y="477"/>
                      <a:pt x="605" y="477"/>
                    </a:cubicBezTo>
                    <a:cubicBezTo>
                      <a:pt x="605" y="477"/>
                      <a:pt x="605" y="477"/>
                      <a:pt x="605" y="477"/>
                    </a:cubicBezTo>
                    <a:cubicBezTo>
                      <a:pt x="604" y="477"/>
                      <a:pt x="604" y="477"/>
                      <a:pt x="604" y="477"/>
                    </a:cubicBezTo>
                    <a:cubicBezTo>
                      <a:pt x="603" y="479"/>
                      <a:pt x="603" y="479"/>
                      <a:pt x="603" y="479"/>
                    </a:cubicBezTo>
                    <a:cubicBezTo>
                      <a:pt x="603" y="480"/>
                      <a:pt x="603" y="480"/>
                      <a:pt x="603" y="480"/>
                    </a:cubicBezTo>
                    <a:cubicBezTo>
                      <a:pt x="602" y="479"/>
                      <a:pt x="602" y="479"/>
                      <a:pt x="602" y="479"/>
                    </a:cubicBezTo>
                    <a:cubicBezTo>
                      <a:pt x="603" y="477"/>
                      <a:pt x="603" y="477"/>
                      <a:pt x="603" y="477"/>
                    </a:cubicBezTo>
                    <a:cubicBezTo>
                      <a:pt x="603" y="474"/>
                      <a:pt x="603" y="474"/>
                      <a:pt x="603" y="474"/>
                    </a:cubicBezTo>
                    <a:cubicBezTo>
                      <a:pt x="602" y="476"/>
                      <a:pt x="602" y="476"/>
                      <a:pt x="602" y="476"/>
                    </a:cubicBezTo>
                    <a:cubicBezTo>
                      <a:pt x="601" y="476"/>
                      <a:pt x="601" y="476"/>
                      <a:pt x="601" y="476"/>
                    </a:cubicBezTo>
                    <a:cubicBezTo>
                      <a:pt x="601" y="473"/>
                      <a:pt x="601" y="473"/>
                      <a:pt x="601" y="473"/>
                    </a:cubicBezTo>
                    <a:cubicBezTo>
                      <a:pt x="599" y="474"/>
                      <a:pt x="599" y="474"/>
                      <a:pt x="599" y="474"/>
                    </a:cubicBezTo>
                    <a:cubicBezTo>
                      <a:pt x="599" y="472"/>
                      <a:pt x="599" y="472"/>
                      <a:pt x="599" y="472"/>
                    </a:cubicBezTo>
                    <a:cubicBezTo>
                      <a:pt x="599" y="470"/>
                      <a:pt x="599" y="470"/>
                      <a:pt x="599" y="470"/>
                    </a:cubicBezTo>
                    <a:cubicBezTo>
                      <a:pt x="598" y="468"/>
                      <a:pt x="598" y="468"/>
                      <a:pt x="598" y="468"/>
                    </a:cubicBezTo>
                    <a:cubicBezTo>
                      <a:pt x="597" y="467"/>
                      <a:pt x="597" y="467"/>
                      <a:pt x="597" y="467"/>
                    </a:cubicBezTo>
                    <a:cubicBezTo>
                      <a:pt x="597" y="465"/>
                      <a:pt x="597" y="465"/>
                      <a:pt x="597" y="465"/>
                    </a:cubicBezTo>
                    <a:cubicBezTo>
                      <a:pt x="599" y="463"/>
                      <a:pt x="599" y="463"/>
                      <a:pt x="599" y="463"/>
                    </a:cubicBezTo>
                    <a:cubicBezTo>
                      <a:pt x="598" y="462"/>
                      <a:pt x="598" y="462"/>
                      <a:pt x="598" y="462"/>
                    </a:cubicBezTo>
                    <a:cubicBezTo>
                      <a:pt x="595" y="465"/>
                      <a:pt x="595" y="465"/>
                      <a:pt x="595" y="465"/>
                    </a:cubicBezTo>
                    <a:cubicBezTo>
                      <a:pt x="595" y="467"/>
                      <a:pt x="595" y="467"/>
                      <a:pt x="595" y="467"/>
                    </a:cubicBezTo>
                    <a:cubicBezTo>
                      <a:pt x="594" y="466"/>
                      <a:pt x="594" y="466"/>
                      <a:pt x="594" y="466"/>
                    </a:cubicBezTo>
                    <a:cubicBezTo>
                      <a:pt x="596" y="463"/>
                      <a:pt x="596" y="463"/>
                      <a:pt x="596" y="463"/>
                    </a:cubicBezTo>
                    <a:cubicBezTo>
                      <a:pt x="594" y="463"/>
                      <a:pt x="594" y="463"/>
                      <a:pt x="594" y="463"/>
                    </a:cubicBezTo>
                    <a:cubicBezTo>
                      <a:pt x="593" y="463"/>
                      <a:pt x="593" y="463"/>
                      <a:pt x="593" y="463"/>
                    </a:cubicBezTo>
                    <a:cubicBezTo>
                      <a:pt x="593" y="463"/>
                      <a:pt x="593" y="463"/>
                      <a:pt x="593" y="463"/>
                    </a:cubicBezTo>
                    <a:cubicBezTo>
                      <a:pt x="592" y="466"/>
                      <a:pt x="592" y="466"/>
                      <a:pt x="592" y="466"/>
                    </a:cubicBezTo>
                    <a:cubicBezTo>
                      <a:pt x="590" y="467"/>
                      <a:pt x="590" y="467"/>
                      <a:pt x="590" y="467"/>
                    </a:cubicBezTo>
                    <a:cubicBezTo>
                      <a:pt x="590" y="465"/>
                      <a:pt x="590" y="465"/>
                      <a:pt x="590" y="465"/>
                    </a:cubicBezTo>
                    <a:cubicBezTo>
                      <a:pt x="591" y="463"/>
                      <a:pt x="591" y="463"/>
                      <a:pt x="591" y="463"/>
                    </a:cubicBezTo>
                    <a:cubicBezTo>
                      <a:pt x="591" y="462"/>
                      <a:pt x="591" y="462"/>
                      <a:pt x="591" y="462"/>
                    </a:cubicBezTo>
                    <a:cubicBezTo>
                      <a:pt x="591" y="460"/>
                      <a:pt x="591" y="460"/>
                      <a:pt x="591" y="460"/>
                    </a:cubicBezTo>
                    <a:cubicBezTo>
                      <a:pt x="590" y="461"/>
                      <a:pt x="590" y="461"/>
                      <a:pt x="590" y="461"/>
                    </a:cubicBezTo>
                    <a:cubicBezTo>
                      <a:pt x="588" y="462"/>
                      <a:pt x="588" y="462"/>
                      <a:pt x="588" y="462"/>
                    </a:cubicBezTo>
                    <a:cubicBezTo>
                      <a:pt x="587" y="462"/>
                      <a:pt x="587" y="462"/>
                      <a:pt x="587" y="462"/>
                    </a:cubicBezTo>
                    <a:cubicBezTo>
                      <a:pt x="586" y="464"/>
                      <a:pt x="586" y="464"/>
                      <a:pt x="586" y="464"/>
                    </a:cubicBezTo>
                    <a:cubicBezTo>
                      <a:pt x="586" y="465"/>
                      <a:pt x="586" y="465"/>
                      <a:pt x="586" y="465"/>
                    </a:cubicBezTo>
                    <a:cubicBezTo>
                      <a:pt x="583" y="465"/>
                      <a:pt x="583" y="465"/>
                      <a:pt x="583" y="465"/>
                    </a:cubicBezTo>
                    <a:cubicBezTo>
                      <a:pt x="582" y="463"/>
                      <a:pt x="582" y="463"/>
                      <a:pt x="582" y="463"/>
                    </a:cubicBezTo>
                    <a:cubicBezTo>
                      <a:pt x="581" y="463"/>
                      <a:pt x="581" y="463"/>
                      <a:pt x="581" y="463"/>
                    </a:cubicBezTo>
                    <a:cubicBezTo>
                      <a:pt x="579" y="460"/>
                      <a:pt x="579" y="460"/>
                      <a:pt x="579" y="460"/>
                    </a:cubicBezTo>
                    <a:cubicBezTo>
                      <a:pt x="578" y="460"/>
                      <a:pt x="578" y="460"/>
                      <a:pt x="578" y="460"/>
                    </a:cubicBezTo>
                    <a:cubicBezTo>
                      <a:pt x="578" y="461"/>
                      <a:pt x="578" y="461"/>
                      <a:pt x="578" y="461"/>
                    </a:cubicBezTo>
                    <a:cubicBezTo>
                      <a:pt x="578" y="463"/>
                      <a:pt x="578" y="463"/>
                      <a:pt x="578" y="463"/>
                    </a:cubicBezTo>
                    <a:cubicBezTo>
                      <a:pt x="577" y="464"/>
                      <a:pt x="577" y="464"/>
                      <a:pt x="577" y="464"/>
                    </a:cubicBezTo>
                    <a:cubicBezTo>
                      <a:pt x="575" y="464"/>
                      <a:pt x="575" y="464"/>
                      <a:pt x="575" y="464"/>
                    </a:cubicBezTo>
                    <a:cubicBezTo>
                      <a:pt x="574" y="464"/>
                      <a:pt x="574" y="464"/>
                      <a:pt x="574" y="464"/>
                    </a:cubicBezTo>
                    <a:cubicBezTo>
                      <a:pt x="572" y="464"/>
                      <a:pt x="572" y="464"/>
                      <a:pt x="572" y="464"/>
                    </a:cubicBezTo>
                    <a:cubicBezTo>
                      <a:pt x="571" y="465"/>
                      <a:pt x="571" y="465"/>
                      <a:pt x="571" y="465"/>
                    </a:cubicBezTo>
                    <a:cubicBezTo>
                      <a:pt x="569" y="465"/>
                      <a:pt x="569" y="465"/>
                      <a:pt x="569" y="465"/>
                    </a:cubicBezTo>
                    <a:cubicBezTo>
                      <a:pt x="569" y="466"/>
                      <a:pt x="569" y="466"/>
                      <a:pt x="569" y="466"/>
                    </a:cubicBezTo>
                    <a:cubicBezTo>
                      <a:pt x="567" y="465"/>
                      <a:pt x="567" y="465"/>
                      <a:pt x="567" y="465"/>
                    </a:cubicBezTo>
                    <a:cubicBezTo>
                      <a:pt x="564" y="465"/>
                      <a:pt x="564" y="465"/>
                      <a:pt x="564" y="465"/>
                    </a:cubicBezTo>
                    <a:cubicBezTo>
                      <a:pt x="564" y="464"/>
                      <a:pt x="564" y="464"/>
                      <a:pt x="564" y="464"/>
                    </a:cubicBezTo>
                    <a:cubicBezTo>
                      <a:pt x="562" y="462"/>
                      <a:pt x="562" y="462"/>
                      <a:pt x="562" y="462"/>
                    </a:cubicBezTo>
                    <a:cubicBezTo>
                      <a:pt x="561" y="462"/>
                      <a:pt x="561" y="462"/>
                      <a:pt x="561" y="462"/>
                    </a:cubicBezTo>
                    <a:cubicBezTo>
                      <a:pt x="560" y="461"/>
                      <a:pt x="560" y="461"/>
                      <a:pt x="560" y="461"/>
                    </a:cubicBezTo>
                    <a:cubicBezTo>
                      <a:pt x="558" y="457"/>
                      <a:pt x="558" y="457"/>
                      <a:pt x="558" y="457"/>
                    </a:cubicBezTo>
                    <a:cubicBezTo>
                      <a:pt x="559" y="455"/>
                      <a:pt x="559" y="455"/>
                      <a:pt x="559" y="455"/>
                    </a:cubicBezTo>
                    <a:cubicBezTo>
                      <a:pt x="561" y="454"/>
                      <a:pt x="561" y="454"/>
                      <a:pt x="561" y="454"/>
                    </a:cubicBezTo>
                    <a:cubicBezTo>
                      <a:pt x="561" y="452"/>
                      <a:pt x="561" y="452"/>
                      <a:pt x="561" y="452"/>
                    </a:cubicBezTo>
                    <a:cubicBezTo>
                      <a:pt x="562" y="450"/>
                      <a:pt x="562" y="450"/>
                      <a:pt x="562" y="450"/>
                    </a:cubicBezTo>
                    <a:cubicBezTo>
                      <a:pt x="564" y="450"/>
                      <a:pt x="564" y="450"/>
                      <a:pt x="564" y="450"/>
                    </a:cubicBezTo>
                    <a:cubicBezTo>
                      <a:pt x="565" y="449"/>
                      <a:pt x="565" y="449"/>
                      <a:pt x="565" y="449"/>
                    </a:cubicBezTo>
                    <a:cubicBezTo>
                      <a:pt x="567" y="448"/>
                      <a:pt x="567" y="448"/>
                      <a:pt x="567" y="448"/>
                    </a:cubicBezTo>
                    <a:cubicBezTo>
                      <a:pt x="568" y="449"/>
                      <a:pt x="568" y="449"/>
                      <a:pt x="568" y="449"/>
                    </a:cubicBezTo>
                    <a:cubicBezTo>
                      <a:pt x="568" y="447"/>
                      <a:pt x="568" y="447"/>
                      <a:pt x="568" y="447"/>
                    </a:cubicBezTo>
                    <a:cubicBezTo>
                      <a:pt x="567" y="446"/>
                      <a:pt x="567" y="446"/>
                      <a:pt x="567" y="446"/>
                    </a:cubicBezTo>
                    <a:cubicBezTo>
                      <a:pt x="567" y="445"/>
                      <a:pt x="567" y="445"/>
                      <a:pt x="567" y="445"/>
                    </a:cubicBezTo>
                    <a:cubicBezTo>
                      <a:pt x="568" y="444"/>
                      <a:pt x="568" y="444"/>
                      <a:pt x="568" y="444"/>
                    </a:cubicBezTo>
                    <a:cubicBezTo>
                      <a:pt x="569" y="445"/>
                      <a:pt x="569" y="445"/>
                      <a:pt x="569" y="445"/>
                    </a:cubicBezTo>
                    <a:cubicBezTo>
                      <a:pt x="569" y="444"/>
                      <a:pt x="569" y="444"/>
                      <a:pt x="569" y="444"/>
                    </a:cubicBezTo>
                    <a:cubicBezTo>
                      <a:pt x="569" y="442"/>
                      <a:pt x="569" y="442"/>
                      <a:pt x="569" y="442"/>
                    </a:cubicBezTo>
                    <a:cubicBezTo>
                      <a:pt x="570" y="442"/>
                      <a:pt x="570" y="442"/>
                      <a:pt x="570" y="442"/>
                    </a:cubicBezTo>
                    <a:cubicBezTo>
                      <a:pt x="572" y="445"/>
                      <a:pt x="572" y="445"/>
                      <a:pt x="572" y="445"/>
                    </a:cubicBezTo>
                    <a:cubicBezTo>
                      <a:pt x="574" y="445"/>
                      <a:pt x="574" y="445"/>
                      <a:pt x="574" y="445"/>
                    </a:cubicBezTo>
                    <a:cubicBezTo>
                      <a:pt x="576" y="447"/>
                      <a:pt x="576" y="447"/>
                      <a:pt x="576" y="447"/>
                    </a:cubicBezTo>
                    <a:cubicBezTo>
                      <a:pt x="577" y="448"/>
                      <a:pt x="577" y="448"/>
                      <a:pt x="577" y="448"/>
                    </a:cubicBezTo>
                    <a:cubicBezTo>
                      <a:pt x="578" y="448"/>
                      <a:pt x="578" y="448"/>
                      <a:pt x="578" y="448"/>
                    </a:cubicBezTo>
                    <a:cubicBezTo>
                      <a:pt x="580" y="450"/>
                      <a:pt x="580" y="450"/>
                      <a:pt x="580" y="450"/>
                    </a:cubicBezTo>
                    <a:cubicBezTo>
                      <a:pt x="581" y="448"/>
                      <a:pt x="581" y="448"/>
                      <a:pt x="581" y="448"/>
                    </a:cubicBezTo>
                    <a:cubicBezTo>
                      <a:pt x="583" y="448"/>
                      <a:pt x="583" y="448"/>
                      <a:pt x="583" y="448"/>
                    </a:cubicBezTo>
                    <a:cubicBezTo>
                      <a:pt x="583" y="450"/>
                      <a:pt x="583" y="450"/>
                      <a:pt x="583" y="450"/>
                    </a:cubicBezTo>
                    <a:cubicBezTo>
                      <a:pt x="585" y="450"/>
                      <a:pt x="585" y="450"/>
                      <a:pt x="585" y="450"/>
                    </a:cubicBezTo>
                    <a:cubicBezTo>
                      <a:pt x="587" y="450"/>
                      <a:pt x="587" y="450"/>
                      <a:pt x="587" y="450"/>
                    </a:cubicBezTo>
                    <a:cubicBezTo>
                      <a:pt x="588" y="449"/>
                      <a:pt x="588" y="449"/>
                      <a:pt x="588" y="449"/>
                    </a:cubicBezTo>
                    <a:cubicBezTo>
                      <a:pt x="589" y="447"/>
                      <a:pt x="589" y="447"/>
                      <a:pt x="589" y="447"/>
                    </a:cubicBezTo>
                    <a:cubicBezTo>
                      <a:pt x="592" y="447"/>
                      <a:pt x="592" y="447"/>
                      <a:pt x="592" y="447"/>
                    </a:cubicBezTo>
                    <a:cubicBezTo>
                      <a:pt x="592" y="447"/>
                      <a:pt x="592" y="447"/>
                      <a:pt x="592" y="447"/>
                    </a:cubicBezTo>
                    <a:cubicBezTo>
                      <a:pt x="591" y="448"/>
                      <a:pt x="591" y="448"/>
                      <a:pt x="591" y="448"/>
                    </a:cubicBezTo>
                    <a:cubicBezTo>
                      <a:pt x="592" y="449"/>
                      <a:pt x="592" y="449"/>
                      <a:pt x="592" y="449"/>
                    </a:cubicBezTo>
                    <a:cubicBezTo>
                      <a:pt x="594" y="447"/>
                      <a:pt x="594" y="447"/>
                      <a:pt x="594" y="447"/>
                    </a:cubicBezTo>
                    <a:cubicBezTo>
                      <a:pt x="595" y="446"/>
                      <a:pt x="595" y="446"/>
                      <a:pt x="595" y="446"/>
                    </a:cubicBezTo>
                    <a:cubicBezTo>
                      <a:pt x="597" y="445"/>
                      <a:pt x="597" y="445"/>
                      <a:pt x="597" y="445"/>
                    </a:cubicBezTo>
                    <a:cubicBezTo>
                      <a:pt x="597" y="446"/>
                      <a:pt x="597" y="446"/>
                      <a:pt x="597" y="446"/>
                    </a:cubicBezTo>
                    <a:cubicBezTo>
                      <a:pt x="598" y="448"/>
                      <a:pt x="598" y="448"/>
                      <a:pt x="598" y="448"/>
                    </a:cubicBezTo>
                    <a:cubicBezTo>
                      <a:pt x="598" y="450"/>
                      <a:pt x="598" y="450"/>
                      <a:pt x="598" y="450"/>
                    </a:cubicBezTo>
                    <a:cubicBezTo>
                      <a:pt x="598" y="448"/>
                      <a:pt x="598" y="448"/>
                      <a:pt x="598" y="448"/>
                    </a:cubicBezTo>
                    <a:cubicBezTo>
                      <a:pt x="600" y="447"/>
                      <a:pt x="600" y="447"/>
                      <a:pt x="600" y="447"/>
                    </a:cubicBezTo>
                    <a:cubicBezTo>
                      <a:pt x="600" y="448"/>
                      <a:pt x="600" y="448"/>
                      <a:pt x="600" y="448"/>
                    </a:cubicBezTo>
                    <a:cubicBezTo>
                      <a:pt x="601" y="447"/>
                      <a:pt x="601" y="447"/>
                      <a:pt x="601" y="447"/>
                    </a:cubicBezTo>
                    <a:cubicBezTo>
                      <a:pt x="601" y="442"/>
                      <a:pt x="601" y="442"/>
                      <a:pt x="601" y="442"/>
                    </a:cubicBezTo>
                    <a:cubicBezTo>
                      <a:pt x="599" y="439"/>
                      <a:pt x="599" y="439"/>
                      <a:pt x="599" y="439"/>
                    </a:cubicBezTo>
                    <a:cubicBezTo>
                      <a:pt x="599" y="438"/>
                      <a:pt x="599" y="438"/>
                      <a:pt x="599" y="438"/>
                    </a:cubicBezTo>
                    <a:cubicBezTo>
                      <a:pt x="598" y="436"/>
                      <a:pt x="598" y="436"/>
                      <a:pt x="598" y="436"/>
                    </a:cubicBezTo>
                    <a:cubicBezTo>
                      <a:pt x="598" y="434"/>
                      <a:pt x="598" y="434"/>
                      <a:pt x="598" y="434"/>
                    </a:cubicBezTo>
                    <a:cubicBezTo>
                      <a:pt x="599" y="433"/>
                      <a:pt x="599" y="433"/>
                      <a:pt x="599" y="433"/>
                    </a:cubicBezTo>
                    <a:cubicBezTo>
                      <a:pt x="600" y="433"/>
                      <a:pt x="600" y="433"/>
                      <a:pt x="600" y="433"/>
                    </a:cubicBezTo>
                    <a:cubicBezTo>
                      <a:pt x="603" y="430"/>
                      <a:pt x="603" y="430"/>
                      <a:pt x="603" y="430"/>
                    </a:cubicBezTo>
                    <a:cubicBezTo>
                      <a:pt x="606" y="428"/>
                      <a:pt x="606" y="428"/>
                      <a:pt x="606" y="428"/>
                    </a:cubicBezTo>
                    <a:cubicBezTo>
                      <a:pt x="608" y="428"/>
                      <a:pt x="608" y="428"/>
                      <a:pt x="608" y="428"/>
                    </a:cubicBezTo>
                    <a:cubicBezTo>
                      <a:pt x="610" y="425"/>
                      <a:pt x="610" y="425"/>
                      <a:pt x="610" y="425"/>
                    </a:cubicBezTo>
                    <a:cubicBezTo>
                      <a:pt x="611" y="425"/>
                      <a:pt x="611" y="425"/>
                      <a:pt x="611" y="425"/>
                    </a:cubicBezTo>
                    <a:cubicBezTo>
                      <a:pt x="612" y="426"/>
                      <a:pt x="612" y="426"/>
                      <a:pt x="612" y="426"/>
                    </a:cubicBezTo>
                    <a:cubicBezTo>
                      <a:pt x="614" y="426"/>
                      <a:pt x="614" y="426"/>
                      <a:pt x="614" y="426"/>
                    </a:cubicBezTo>
                    <a:cubicBezTo>
                      <a:pt x="614" y="425"/>
                      <a:pt x="614" y="425"/>
                      <a:pt x="614" y="425"/>
                    </a:cubicBezTo>
                    <a:cubicBezTo>
                      <a:pt x="612" y="424"/>
                      <a:pt x="612" y="424"/>
                      <a:pt x="612" y="424"/>
                    </a:cubicBezTo>
                    <a:cubicBezTo>
                      <a:pt x="612" y="423"/>
                      <a:pt x="612" y="423"/>
                      <a:pt x="612" y="423"/>
                    </a:cubicBezTo>
                    <a:cubicBezTo>
                      <a:pt x="615" y="420"/>
                      <a:pt x="615" y="420"/>
                      <a:pt x="615" y="420"/>
                    </a:cubicBezTo>
                    <a:cubicBezTo>
                      <a:pt x="616" y="418"/>
                      <a:pt x="616" y="418"/>
                      <a:pt x="616" y="418"/>
                    </a:cubicBezTo>
                    <a:cubicBezTo>
                      <a:pt x="617" y="418"/>
                      <a:pt x="617" y="418"/>
                      <a:pt x="617" y="418"/>
                    </a:cubicBezTo>
                    <a:cubicBezTo>
                      <a:pt x="620" y="418"/>
                      <a:pt x="620" y="418"/>
                      <a:pt x="620" y="418"/>
                    </a:cubicBezTo>
                    <a:cubicBezTo>
                      <a:pt x="622" y="417"/>
                      <a:pt x="622" y="417"/>
                      <a:pt x="622" y="417"/>
                    </a:cubicBezTo>
                    <a:cubicBezTo>
                      <a:pt x="623" y="416"/>
                      <a:pt x="623" y="416"/>
                      <a:pt x="623" y="416"/>
                    </a:cubicBezTo>
                    <a:cubicBezTo>
                      <a:pt x="622" y="414"/>
                      <a:pt x="622" y="414"/>
                      <a:pt x="622" y="414"/>
                    </a:cubicBezTo>
                    <a:cubicBezTo>
                      <a:pt x="623" y="413"/>
                      <a:pt x="623" y="413"/>
                      <a:pt x="623" y="413"/>
                    </a:cubicBezTo>
                    <a:cubicBezTo>
                      <a:pt x="623" y="409"/>
                      <a:pt x="623" y="409"/>
                      <a:pt x="623" y="409"/>
                    </a:cubicBezTo>
                    <a:cubicBezTo>
                      <a:pt x="623" y="408"/>
                      <a:pt x="623" y="408"/>
                      <a:pt x="623" y="408"/>
                    </a:cubicBezTo>
                    <a:cubicBezTo>
                      <a:pt x="623" y="408"/>
                      <a:pt x="623" y="408"/>
                      <a:pt x="623" y="408"/>
                    </a:cubicBezTo>
                    <a:cubicBezTo>
                      <a:pt x="623" y="406"/>
                      <a:pt x="623" y="406"/>
                      <a:pt x="623" y="406"/>
                    </a:cubicBezTo>
                    <a:cubicBezTo>
                      <a:pt x="624" y="404"/>
                      <a:pt x="624" y="404"/>
                      <a:pt x="624" y="404"/>
                    </a:cubicBezTo>
                    <a:cubicBezTo>
                      <a:pt x="624" y="403"/>
                      <a:pt x="624" y="403"/>
                      <a:pt x="624" y="403"/>
                    </a:cubicBezTo>
                    <a:cubicBezTo>
                      <a:pt x="623" y="402"/>
                      <a:pt x="623" y="402"/>
                      <a:pt x="623" y="402"/>
                    </a:cubicBezTo>
                    <a:cubicBezTo>
                      <a:pt x="623" y="401"/>
                      <a:pt x="623" y="401"/>
                      <a:pt x="623" y="401"/>
                    </a:cubicBezTo>
                    <a:cubicBezTo>
                      <a:pt x="623" y="399"/>
                      <a:pt x="623" y="399"/>
                      <a:pt x="623" y="399"/>
                    </a:cubicBezTo>
                    <a:cubicBezTo>
                      <a:pt x="625" y="398"/>
                      <a:pt x="625" y="398"/>
                      <a:pt x="625" y="398"/>
                    </a:cubicBezTo>
                    <a:cubicBezTo>
                      <a:pt x="625" y="397"/>
                      <a:pt x="625" y="397"/>
                      <a:pt x="625" y="397"/>
                    </a:cubicBezTo>
                    <a:cubicBezTo>
                      <a:pt x="626" y="395"/>
                      <a:pt x="626" y="395"/>
                      <a:pt x="626" y="395"/>
                    </a:cubicBezTo>
                    <a:cubicBezTo>
                      <a:pt x="626" y="394"/>
                      <a:pt x="626" y="394"/>
                      <a:pt x="626" y="394"/>
                    </a:cubicBezTo>
                    <a:cubicBezTo>
                      <a:pt x="625" y="394"/>
                      <a:pt x="625" y="394"/>
                      <a:pt x="625" y="394"/>
                    </a:cubicBezTo>
                    <a:cubicBezTo>
                      <a:pt x="624" y="396"/>
                      <a:pt x="624" y="396"/>
                      <a:pt x="624" y="396"/>
                    </a:cubicBezTo>
                    <a:cubicBezTo>
                      <a:pt x="624" y="397"/>
                      <a:pt x="624" y="397"/>
                      <a:pt x="624" y="397"/>
                    </a:cubicBezTo>
                    <a:cubicBezTo>
                      <a:pt x="623" y="397"/>
                      <a:pt x="623" y="397"/>
                      <a:pt x="623" y="397"/>
                    </a:cubicBezTo>
                    <a:cubicBezTo>
                      <a:pt x="623" y="396"/>
                      <a:pt x="623" y="396"/>
                      <a:pt x="623" y="396"/>
                    </a:cubicBezTo>
                    <a:cubicBezTo>
                      <a:pt x="623" y="394"/>
                      <a:pt x="623" y="394"/>
                      <a:pt x="623" y="394"/>
                    </a:cubicBezTo>
                    <a:cubicBezTo>
                      <a:pt x="622" y="394"/>
                      <a:pt x="622" y="394"/>
                      <a:pt x="622" y="394"/>
                    </a:cubicBezTo>
                    <a:cubicBezTo>
                      <a:pt x="618" y="393"/>
                      <a:pt x="618" y="393"/>
                      <a:pt x="618" y="393"/>
                    </a:cubicBezTo>
                    <a:cubicBezTo>
                      <a:pt x="617" y="392"/>
                      <a:pt x="617" y="392"/>
                      <a:pt x="617" y="392"/>
                    </a:cubicBezTo>
                    <a:cubicBezTo>
                      <a:pt x="618" y="391"/>
                      <a:pt x="618" y="391"/>
                      <a:pt x="618" y="391"/>
                    </a:cubicBezTo>
                    <a:cubicBezTo>
                      <a:pt x="620" y="390"/>
                      <a:pt x="620" y="390"/>
                      <a:pt x="620" y="390"/>
                    </a:cubicBezTo>
                    <a:cubicBezTo>
                      <a:pt x="620" y="389"/>
                      <a:pt x="620" y="389"/>
                      <a:pt x="620" y="389"/>
                    </a:cubicBezTo>
                    <a:cubicBezTo>
                      <a:pt x="619" y="389"/>
                      <a:pt x="619" y="389"/>
                      <a:pt x="619" y="389"/>
                    </a:cubicBezTo>
                    <a:cubicBezTo>
                      <a:pt x="620" y="387"/>
                      <a:pt x="620" y="387"/>
                      <a:pt x="620" y="387"/>
                    </a:cubicBezTo>
                    <a:cubicBezTo>
                      <a:pt x="620" y="385"/>
                      <a:pt x="620" y="385"/>
                      <a:pt x="620" y="385"/>
                    </a:cubicBezTo>
                    <a:cubicBezTo>
                      <a:pt x="617" y="384"/>
                      <a:pt x="617" y="384"/>
                      <a:pt x="617" y="384"/>
                    </a:cubicBezTo>
                    <a:cubicBezTo>
                      <a:pt x="617" y="384"/>
                      <a:pt x="617" y="384"/>
                      <a:pt x="617" y="384"/>
                    </a:cubicBezTo>
                    <a:cubicBezTo>
                      <a:pt x="616" y="385"/>
                      <a:pt x="616" y="385"/>
                      <a:pt x="616" y="385"/>
                    </a:cubicBezTo>
                    <a:cubicBezTo>
                      <a:pt x="617" y="387"/>
                      <a:pt x="617" y="387"/>
                      <a:pt x="617" y="387"/>
                    </a:cubicBezTo>
                    <a:cubicBezTo>
                      <a:pt x="617" y="388"/>
                      <a:pt x="617" y="388"/>
                      <a:pt x="617" y="388"/>
                    </a:cubicBezTo>
                    <a:cubicBezTo>
                      <a:pt x="614" y="388"/>
                      <a:pt x="614" y="388"/>
                      <a:pt x="614" y="388"/>
                    </a:cubicBezTo>
                    <a:cubicBezTo>
                      <a:pt x="614" y="386"/>
                      <a:pt x="614" y="386"/>
                      <a:pt x="614" y="386"/>
                    </a:cubicBezTo>
                    <a:cubicBezTo>
                      <a:pt x="613" y="386"/>
                      <a:pt x="613" y="386"/>
                      <a:pt x="613" y="386"/>
                    </a:cubicBezTo>
                    <a:cubicBezTo>
                      <a:pt x="612" y="384"/>
                      <a:pt x="612" y="384"/>
                      <a:pt x="612" y="384"/>
                    </a:cubicBezTo>
                    <a:cubicBezTo>
                      <a:pt x="614" y="382"/>
                      <a:pt x="614" y="382"/>
                      <a:pt x="614" y="382"/>
                    </a:cubicBezTo>
                    <a:cubicBezTo>
                      <a:pt x="614" y="381"/>
                      <a:pt x="614" y="381"/>
                      <a:pt x="614" y="381"/>
                    </a:cubicBezTo>
                    <a:cubicBezTo>
                      <a:pt x="611" y="381"/>
                      <a:pt x="611" y="381"/>
                      <a:pt x="611" y="381"/>
                    </a:cubicBezTo>
                    <a:cubicBezTo>
                      <a:pt x="611" y="381"/>
                      <a:pt x="611" y="381"/>
                      <a:pt x="611" y="381"/>
                    </a:cubicBezTo>
                    <a:cubicBezTo>
                      <a:pt x="613" y="380"/>
                      <a:pt x="613" y="380"/>
                      <a:pt x="613" y="380"/>
                    </a:cubicBezTo>
                    <a:cubicBezTo>
                      <a:pt x="613" y="379"/>
                      <a:pt x="613" y="379"/>
                      <a:pt x="613" y="379"/>
                    </a:cubicBezTo>
                    <a:cubicBezTo>
                      <a:pt x="612" y="379"/>
                      <a:pt x="612" y="379"/>
                      <a:pt x="612" y="379"/>
                    </a:cubicBezTo>
                    <a:cubicBezTo>
                      <a:pt x="613" y="378"/>
                      <a:pt x="613" y="378"/>
                      <a:pt x="613" y="378"/>
                    </a:cubicBezTo>
                    <a:cubicBezTo>
                      <a:pt x="615" y="377"/>
                      <a:pt x="615" y="377"/>
                      <a:pt x="615" y="377"/>
                    </a:cubicBezTo>
                    <a:cubicBezTo>
                      <a:pt x="615" y="376"/>
                      <a:pt x="615" y="376"/>
                      <a:pt x="615" y="376"/>
                    </a:cubicBezTo>
                    <a:cubicBezTo>
                      <a:pt x="614" y="376"/>
                      <a:pt x="614" y="376"/>
                      <a:pt x="614" y="376"/>
                    </a:cubicBezTo>
                    <a:cubicBezTo>
                      <a:pt x="612" y="377"/>
                      <a:pt x="612" y="377"/>
                      <a:pt x="612" y="377"/>
                    </a:cubicBezTo>
                    <a:cubicBezTo>
                      <a:pt x="611" y="379"/>
                      <a:pt x="611" y="379"/>
                      <a:pt x="611" y="379"/>
                    </a:cubicBezTo>
                    <a:cubicBezTo>
                      <a:pt x="609" y="380"/>
                      <a:pt x="609" y="380"/>
                      <a:pt x="609" y="380"/>
                    </a:cubicBezTo>
                    <a:cubicBezTo>
                      <a:pt x="609" y="379"/>
                      <a:pt x="609" y="379"/>
                      <a:pt x="609" y="379"/>
                    </a:cubicBezTo>
                    <a:cubicBezTo>
                      <a:pt x="609" y="377"/>
                      <a:pt x="609" y="377"/>
                      <a:pt x="609" y="377"/>
                    </a:cubicBezTo>
                    <a:cubicBezTo>
                      <a:pt x="608" y="378"/>
                      <a:pt x="608" y="378"/>
                      <a:pt x="608" y="378"/>
                    </a:cubicBezTo>
                    <a:cubicBezTo>
                      <a:pt x="607" y="379"/>
                      <a:pt x="607" y="379"/>
                      <a:pt x="607" y="379"/>
                    </a:cubicBezTo>
                    <a:cubicBezTo>
                      <a:pt x="605" y="379"/>
                      <a:pt x="605" y="379"/>
                      <a:pt x="605" y="379"/>
                    </a:cubicBezTo>
                    <a:cubicBezTo>
                      <a:pt x="604" y="380"/>
                      <a:pt x="604" y="380"/>
                      <a:pt x="604" y="380"/>
                    </a:cubicBezTo>
                    <a:cubicBezTo>
                      <a:pt x="602" y="380"/>
                      <a:pt x="602" y="380"/>
                      <a:pt x="602" y="380"/>
                    </a:cubicBezTo>
                    <a:cubicBezTo>
                      <a:pt x="601" y="381"/>
                      <a:pt x="601" y="381"/>
                      <a:pt x="601" y="381"/>
                    </a:cubicBezTo>
                    <a:cubicBezTo>
                      <a:pt x="601" y="381"/>
                      <a:pt x="601" y="381"/>
                      <a:pt x="601" y="381"/>
                    </a:cubicBezTo>
                    <a:cubicBezTo>
                      <a:pt x="600" y="381"/>
                      <a:pt x="600" y="381"/>
                      <a:pt x="600" y="381"/>
                    </a:cubicBezTo>
                    <a:cubicBezTo>
                      <a:pt x="600" y="380"/>
                      <a:pt x="600" y="380"/>
                      <a:pt x="600" y="380"/>
                    </a:cubicBezTo>
                    <a:cubicBezTo>
                      <a:pt x="601" y="379"/>
                      <a:pt x="601" y="379"/>
                      <a:pt x="601" y="379"/>
                    </a:cubicBezTo>
                    <a:cubicBezTo>
                      <a:pt x="600" y="378"/>
                      <a:pt x="600" y="378"/>
                      <a:pt x="600" y="378"/>
                    </a:cubicBezTo>
                    <a:cubicBezTo>
                      <a:pt x="600" y="378"/>
                      <a:pt x="600" y="378"/>
                      <a:pt x="600" y="378"/>
                    </a:cubicBezTo>
                    <a:cubicBezTo>
                      <a:pt x="601" y="376"/>
                      <a:pt x="601" y="376"/>
                      <a:pt x="601" y="376"/>
                    </a:cubicBezTo>
                    <a:cubicBezTo>
                      <a:pt x="602" y="375"/>
                      <a:pt x="602" y="375"/>
                      <a:pt x="602" y="375"/>
                    </a:cubicBezTo>
                    <a:cubicBezTo>
                      <a:pt x="603" y="376"/>
                      <a:pt x="603" y="376"/>
                      <a:pt x="603" y="376"/>
                    </a:cubicBezTo>
                    <a:cubicBezTo>
                      <a:pt x="604" y="377"/>
                      <a:pt x="604" y="377"/>
                      <a:pt x="604" y="377"/>
                    </a:cubicBezTo>
                    <a:cubicBezTo>
                      <a:pt x="605" y="376"/>
                      <a:pt x="605" y="376"/>
                      <a:pt x="605" y="376"/>
                    </a:cubicBezTo>
                    <a:cubicBezTo>
                      <a:pt x="606" y="376"/>
                      <a:pt x="606" y="376"/>
                      <a:pt x="606" y="376"/>
                    </a:cubicBezTo>
                    <a:cubicBezTo>
                      <a:pt x="608" y="374"/>
                      <a:pt x="608" y="374"/>
                      <a:pt x="608" y="374"/>
                    </a:cubicBezTo>
                    <a:cubicBezTo>
                      <a:pt x="608" y="373"/>
                      <a:pt x="608" y="373"/>
                      <a:pt x="608" y="373"/>
                    </a:cubicBezTo>
                    <a:cubicBezTo>
                      <a:pt x="608" y="372"/>
                      <a:pt x="608" y="372"/>
                      <a:pt x="608" y="372"/>
                    </a:cubicBezTo>
                    <a:cubicBezTo>
                      <a:pt x="607" y="370"/>
                      <a:pt x="607" y="370"/>
                      <a:pt x="607" y="370"/>
                    </a:cubicBezTo>
                    <a:cubicBezTo>
                      <a:pt x="605" y="370"/>
                      <a:pt x="605" y="370"/>
                      <a:pt x="605" y="370"/>
                    </a:cubicBezTo>
                    <a:cubicBezTo>
                      <a:pt x="604" y="368"/>
                      <a:pt x="604" y="368"/>
                      <a:pt x="604" y="368"/>
                    </a:cubicBezTo>
                    <a:cubicBezTo>
                      <a:pt x="604" y="367"/>
                      <a:pt x="604" y="367"/>
                      <a:pt x="604" y="367"/>
                    </a:cubicBezTo>
                    <a:cubicBezTo>
                      <a:pt x="603" y="366"/>
                      <a:pt x="603" y="366"/>
                      <a:pt x="603" y="366"/>
                    </a:cubicBezTo>
                    <a:cubicBezTo>
                      <a:pt x="603" y="365"/>
                      <a:pt x="603" y="365"/>
                      <a:pt x="603" y="365"/>
                    </a:cubicBezTo>
                    <a:cubicBezTo>
                      <a:pt x="602" y="365"/>
                      <a:pt x="602" y="365"/>
                      <a:pt x="602" y="365"/>
                    </a:cubicBezTo>
                    <a:cubicBezTo>
                      <a:pt x="601" y="364"/>
                      <a:pt x="601" y="364"/>
                      <a:pt x="601" y="364"/>
                    </a:cubicBezTo>
                    <a:cubicBezTo>
                      <a:pt x="600" y="364"/>
                      <a:pt x="600" y="364"/>
                      <a:pt x="600" y="364"/>
                    </a:cubicBezTo>
                    <a:cubicBezTo>
                      <a:pt x="600" y="362"/>
                      <a:pt x="600" y="362"/>
                      <a:pt x="600" y="362"/>
                    </a:cubicBezTo>
                    <a:cubicBezTo>
                      <a:pt x="601" y="362"/>
                      <a:pt x="601" y="362"/>
                      <a:pt x="601" y="362"/>
                    </a:cubicBezTo>
                    <a:cubicBezTo>
                      <a:pt x="602" y="363"/>
                      <a:pt x="602" y="363"/>
                      <a:pt x="602" y="363"/>
                    </a:cubicBezTo>
                    <a:cubicBezTo>
                      <a:pt x="603" y="362"/>
                      <a:pt x="603" y="362"/>
                      <a:pt x="603" y="362"/>
                    </a:cubicBezTo>
                    <a:cubicBezTo>
                      <a:pt x="603" y="361"/>
                      <a:pt x="603" y="361"/>
                      <a:pt x="603" y="361"/>
                    </a:cubicBezTo>
                    <a:cubicBezTo>
                      <a:pt x="605" y="360"/>
                      <a:pt x="605" y="360"/>
                      <a:pt x="605" y="360"/>
                    </a:cubicBezTo>
                    <a:cubicBezTo>
                      <a:pt x="602" y="360"/>
                      <a:pt x="602" y="360"/>
                      <a:pt x="602" y="360"/>
                    </a:cubicBezTo>
                    <a:cubicBezTo>
                      <a:pt x="601" y="359"/>
                      <a:pt x="601" y="359"/>
                      <a:pt x="601" y="359"/>
                    </a:cubicBezTo>
                    <a:cubicBezTo>
                      <a:pt x="600" y="359"/>
                      <a:pt x="600" y="359"/>
                      <a:pt x="600" y="359"/>
                    </a:cubicBezTo>
                    <a:cubicBezTo>
                      <a:pt x="600" y="358"/>
                      <a:pt x="600" y="358"/>
                      <a:pt x="600" y="358"/>
                    </a:cubicBezTo>
                    <a:cubicBezTo>
                      <a:pt x="598" y="358"/>
                      <a:pt x="598" y="358"/>
                      <a:pt x="598" y="358"/>
                    </a:cubicBezTo>
                    <a:cubicBezTo>
                      <a:pt x="597" y="359"/>
                      <a:pt x="597" y="359"/>
                      <a:pt x="597" y="359"/>
                    </a:cubicBezTo>
                    <a:cubicBezTo>
                      <a:pt x="597" y="359"/>
                      <a:pt x="597" y="359"/>
                      <a:pt x="597" y="359"/>
                    </a:cubicBezTo>
                    <a:cubicBezTo>
                      <a:pt x="597" y="358"/>
                      <a:pt x="597" y="358"/>
                      <a:pt x="597" y="358"/>
                    </a:cubicBezTo>
                    <a:cubicBezTo>
                      <a:pt x="598" y="355"/>
                      <a:pt x="598" y="355"/>
                      <a:pt x="598" y="355"/>
                    </a:cubicBezTo>
                    <a:cubicBezTo>
                      <a:pt x="600" y="353"/>
                      <a:pt x="600" y="353"/>
                      <a:pt x="600" y="353"/>
                    </a:cubicBezTo>
                    <a:cubicBezTo>
                      <a:pt x="600" y="352"/>
                      <a:pt x="600" y="352"/>
                      <a:pt x="600" y="352"/>
                    </a:cubicBezTo>
                    <a:cubicBezTo>
                      <a:pt x="601" y="349"/>
                      <a:pt x="601" y="349"/>
                      <a:pt x="601" y="349"/>
                    </a:cubicBezTo>
                    <a:cubicBezTo>
                      <a:pt x="601" y="347"/>
                      <a:pt x="601" y="347"/>
                      <a:pt x="601" y="347"/>
                    </a:cubicBezTo>
                    <a:cubicBezTo>
                      <a:pt x="602" y="346"/>
                      <a:pt x="602" y="346"/>
                      <a:pt x="602" y="346"/>
                    </a:cubicBezTo>
                    <a:cubicBezTo>
                      <a:pt x="601" y="345"/>
                      <a:pt x="601" y="345"/>
                      <a:pt x="601" y="345"/>
                    </a:cubicBezTo>
                    <a:cubicBezTo>
                      <a:pt x="599" y="346"/>
                      <a:pt x="599" y="346"/>
                      <a:pt x="599" y="346"/>
                    </a:cubicBezTo>
                    <a:cubicBezTo>
                      <a:pt x="598" y="345"/>
                      <a:pt x="598" y="345"/>
                      <a:pt x="598" y="345"/>
                    </a:cubicBezTo>
                    <a:cubicBezTo>
                      <a:pt x="598" y="346"/>
                      <a:pt x="598" y="346"/>
                      <a:pt x="598" y="346"/>
                    </a:cubicBezTo>
                    <a:cubicBezTo>
                      <a:pt x="597" y="347"/>
                      <a:pt x="597" y="347"/>
                      <a:pt x="597" y="347"/>
                    </a:cubicBezTo>
                    <a:cubicBezTo>
                      <a:pt x="596" y="347"/>
                      <a:pt x="596" y="347"/>
                      <a:pt x="596" y="347"/>
                    </a:cubicBezTo>
                    <a:cubicBezTo>
                      <a:pt x="594" y="344"/>
                      <a:pt x="594" y="344"/>
                      <a:pt x="594" y="344"/>
                    </a:cubicBezTo>
                    <a:cubicBezTo>
                      <a:pt x="594" y="343"/>
                      <a:pt x="594" y="343"/>
                      <a:pt x="594" y="343"/>
                    </a:cubicBezTo>
                    <a:cubicBezTo>
                      <a:pt x="593" y="342"/>
                      <a:pt x="593" y="342"/>
                      <a:pt x="593" y="342"/>
                    </a:cubicBezTo>
                    <a:cubicBezTo>
                      <a:pt x="592" y="341"/>
                      <a:pt x="592" y="341"/>
                      <a:pt x="592" y="341"/>
                    </a:cubicBezTo>
                    <a:cubicBezTo>
                      <a:pt x="593" y="339"/>
                      <a:pt x="593" y="339"/>
                      <a:pt x="593" y="339"/>
                    </a:cubicBezTo>
                    <a:cubicBezTo>
                      <a:pt x="594" y="338"/>
                      <a:pt x="594" y="338"/>
                      <a:pt x="594" y="338"/>
                    </a:cubicBezTo>
                    <a:cubicBezTo>
                      <a:pt x="595" y="337"/>
                      <a:pt x="595" y="337"/>
                      <a:pt x="595" y="337"/>
                    </a:cubicBezTo>
                    <a:cubicBezTo>
                      <a:pt x="594" y="336"/>
                      <a:pt x="594" y="336"/>
                      <a:pt x="594" y="336"/>
                    </a:cubicBezTo>
                    <a:cubicBezTo>
                      <a:pt x="594" y="334"/>
                      <a:pt x="594" y="334"/>
                      <a:pt x="594" y="334"/>
                    </a:cubicBezTo>
                    <a:cubicBezTo>
                      <a:pt x="593" y="334"/>
                      <a:pt x="593" y="334"/>
                      <a:pt x="593" y="334"/>
                    </a:cubicBezTo>
                    <a:cubicBezTo>
                      <a:pt x="592" y="336"/>
                      <a:pt x="592" y="336"/>
                      <a:pt x="592" y="336"/>
                    </a:cubicBezTo>
                    <a:cubicBezTo>
                      <a:pt x="592" y="338"/>
                      <a:pt x="592" y="338"/>
                      <a:pt x="592" y="338"/>
                    </a:cubicBezTo>
                    <a:cubicBezTo>
                      <a:pt x="591" y="340"/>
                      <a:pt x="591" y="340"/>
                      <a:pt x="591" y="340"/>
                    </a:cubicBezTo>
                    <a:cubicBezTo>
                      <a:pt x="590" y="338"/>
                      <a:pt x="590" y="338"/>
                      <a:pt x="590" y="338"/>
                    </a:cubicBezTo>
                    <a:cubicBezTo>
                      <a:pt x="589" y="337"/>
                      <a:pt x="589" y="337"/>
                      <a:pt x="589" y="337"/>
                    </a:cubicBezTo>
                    <a:cubicBezTo>
                      <a:pt x="589" y="338"/>
                      <a:pt x="589" y="338"/>
                      <a:pt x="589" y="338"/>
                    </a:cubicBezTo>
                    <a:cubicBezTo>
                      <a:pt x="589" y="339"/>
                      <a:pt x="589" y="339"/>
                      <a:pt x="589" y="339"/>
                    </a:cubicBezTo>
                    <a:cubicBezTo>
                      <a:pt x="588" y="339"/>
                      <a:pt x="588" y="339"/>
                      <a:pt x="588" y="339"/>
                    </a:cubicBezTo>
                    <a:cubicBezTo>
                      <a:pt x="587" y="341"/>
                      <a:pt x="587" y="341"/>
                      <a:pt x="587" y="341"/>
                    </a:cubicBezTo>
                    <a:cubicBezTo>
                      <a:pt x="589" y="344"/>
                      <a:pt x="589" y="344"/>
                      <a:pt x="589" y="344"/>
                    </a:cubicBezTo>
                    <a:cubicBezTo>
                      <a:pt x="590" y="343"/>
                      <a:pt x="590" y="343"/>
                      <a:pt x="590" y="343"/>
                    </a:cubicBezTo>
                    <a:cubicBezTo>
                      <a:pt x="592" y="347"/>
                      <a:pt x="592" y="347"/>
                      <a:pt x="592" y="347"/>
                    </a:cubicBezTo>
                    <a:cubicBezTo>
                      <a:pt x="593" y="348"/>
                      <a:pt x="593" y="348"/>
                      <a:pt x="593" y="348"/>
                    </a:cubicBezTo>
                    <a:cubicBezTo>
                      <a:pt x="592" y="350"/>
                      <a:pt x="592" y="350"/>
                      <a:pt x="592" y="350"/>
                    </a:cubicBezTo>
                    <a:cubicBezTo>
                      <a:pt x="592" y="351"/>
                      <a:pt x="592" y="351"/>
                      <a:pt x="592" y="351"/>
                    </a:cubicBezTo>
                    <a:cubicBezTo>
                      <a:pt x="591" y="354"/>
                      <a:pt x="591" y="354"/>
                      <a:pt x="591" y="354"/>
                    </a:cubicBezTo>
                    <a:cubicBezTo>
                      <a:pt x="589" y="354"/>
                      <a:pt x="589" y="354"/>
                      <a:pt x="589" y="354"/>
                    </a:cubicBezTo>
                    <a:cubicBezTo>
                      <a:pt x="585" y="354"/>
                      <a:pt x="585" y="354"/>
                      <a:pt x="585" y="354"/>
                    </a:cubicBezTo>
                    <a:cubicBezTo>
                      <a:pt x="584" y="354"/>
                      <a:pt x="584" y="354"/>
                      <a:pt x="584" y="354"/>
                    </a:cubicBezTo>
                    <a:cubicBezTo>
                      <a:pt x="583" y="354"/>
                      <a:pt x="583" y="354"/>
                      <a:pt x="583" y="354"/>
                    </a:cubicBezTo>
                    <a:cubicBezTo>
                      <a:pt x="581" y="353"/>
                      <a:pt x="581" y="353"/>
                      <a:pt x="581" y="353"/>
                    </a:cubicBezTo>
                    <a:cubicBezTo>
                      <a:pt x="581" y="352"/>
                      <a:pt x="581" y="352"/>
                      <a:pt x="581" y="352"/>
                    </a:cubicBezTo>
                    <a:cubicBezTo>
                      <a:pt x="581" y="350"/>
                      <a:pt x="581" y="350"/>
                      <a:pt x="581" y="350"/>
                    </a:cubicBezTo>
                    <a:cubicBezTo>
                      <a:pt x="578" y="350"/>
                      <a:pt x="578" y="350"/>
                      <a:pt x="578" y="350"/>
                    </a:cubicBezTo>
                    <a:cubicBezTo>
                      <a:pt x="575" y="349"/>
                      <a:pt x="575" y="349"/>
                      <a:pt x="575" y="349"/>
                    </a:cubicBezTo>
                    <a:cubicBezTo>
                      <a:pt x="572" y="348"/>
                      <a:pt x="572" y="348"/>
                      <a:pt x="572" y="348"/>
                    </a:cubicBezTo>
                    <a:cubicBezTo>
                      <a:pt x="574" y="352"/>
                      <a:pt x="574" y="352"/>
                      <a:pt x="574" y="352"/>
                    </a:cubicBezTo>
                    <a:cubicBezTo>
                      <a:pt x="575" y="354"/>
                      <a:pt x="575" y="354"/>
                      <a:pt x="575" y="354"/>
                    </a:cubicBezTo>
                    <a:cubicBezTo>
                      <a:pt x="574" y="355"/>
                      <a:pt x="574" y="355"/>
                      <a:pt x="574" y="355"/>
                    </a:cubicBezTo>
                    <a:cubicBezTo>
                      <a:pt x="573" y="354"/>
                      <a:pt x="573" y="354"/>
                      <a:pt x="573" y="354"/>
                    </a:cubicBezTo>
                    <a:cubicBezTo>
                      <a:pt x="572" y="353"/>
                      <a:pt x="572" y="353"/>
                      <a:pt x="572" y="353"/>
                    </a:cubicBezTo>
                    <a:cubicBezTo>
                      <a:pt x="570" y="351"/>
                      <a:pt x="570" y="351"/>
                      <a:pt x="570" y="351"/>
                    </a:cubicBezTo>
                    <a:cubicBezTo>
                      <a:pt x="569" y="350"/>
                      <a:pt x="569" y="350"/>
                      <a:pt x="569" y="350"/>
                    </a:cubicBezTo>
                    <a:cubicBezTo>
                      <a:pt x="569" y="349"/>
                      <a:pt x="569" y="349"/>
                      <a:pt x="569" y="349"/>
                    </a:cubicBezTo>
                    <a:cubicBezTo>
                      <a:pt x="567" y="347"/>
                      <a:pt x="567" y="347"/>
                      <a:pt x="567" y="347"/>
                    </a:cubicBezTo>
                    <a:cubicBezTo>
                      <a:pt x="566" y="345"/>
                      <a:pt x="566" y="345"/>
                      <a:pt x="566" y="345"/>
                    </a:cubicBezTo>
                    <a:cubicBezTo>
                      <a:pt x="565" y="344"/>
                      <a:pt x="565" y="344"/>
                      <a:pt x="565" y="344"/>
                    </a:cubicBezTo>
                    <a:cubicBezTo>
                      <a:pt x="564" y="344"/>
                      <a:pt x="564" y="344"/>
                      <a:pt x="564" y="344"/>
                    </a:cubicBezTo>
                    <a:cubicBezTo>
                      <a:pt x="563" y="342"/>
                      <a:pt x="563" y="342"/>
                      <a:pt x="563" y="342"/>
                    </a:cubicBezTo>
                    <a:cubicBezTo>
                      <a:pt x="561" y="341"/>
                      <a:pt x="561" y="341"/>
                      <a:pt x="561" y="341"/>
                    </a:cubicBezTo>
                    <a:cubicBezTo>
                      <a:pt x="561" y="341"/>
                      <a:pt x="561" y="341"/>
                      <a:pt x="561" y="341"/>
                    </a:cubicBezTo>
                    <a:cubicBezTo>
                      <a:pt x="559" y="340"/>
                      <a:pt x="559" y="340"/>
                      <a:pt x="559" y="340"/>
                    </a:cubicBezTo>
                    <a:cubicBezTo>
                      <a:pt x="560" y="341"/>
                      <a:pt x="560" y="341"/>
                      <a:pt x="560" y="341"/>
                    </a:cubicBezTo>
                    <a:cubicBezTo>
                      <a:pt x="563" y="344"/>
                      <a:pt x="563" y="344"/>
                      <a:pt x="563" y="344"/>
                    </a:cubicBezTo>
                    <a:cubicBezTo>
                      <a:pt x="564" y="346"/>
                      <a:pt x="564" y="346"/>
                      <a:pt x="564" y="346"/>
                    </a:cubicBezTo>
                    <a:cubicBezTo>
                      <a:pt x="565" y="347"/>
                      <a:pt x="565" y="347"/>
                      <a:pt x="565" y="347"/>
                    </a:cubicBezTo>
                    <a:cubicBezTo>
                      <a:pt x="567" y="348"/>
                      <a:pt x="567" y="348"/>
                      <a:pt x="567" y="348"/>
                    </a:cubicBezTo>
                    <a:cubicBezTo>
                      <a:pt x="567" y="350"/>
                      <a:pt x="567" y="350"/>
                      <a:pt x="567" y="350"/>
                    </a:cubicBezTo>
                    <a:cubicBezTo>
                      <a:pt x="567" y="351"/>
                      <a:pt x="567" y="351"/>
                      <a:pt x="567" y="351"/>
                    </a:cubicBezTo>
                    <a:cubicBezTo>
                      <a:pt x="566" y="351"/>
                      <a:pt x="566" y="351"/>
                      <a:pt x="566" y="351"/>
                    </a:cubicBezTo>
                    <a:cubicBezTo>
                      <a:pt x="565" y="352"/>
                      <a:pt x="565" y="352"/>
                      <a:pt x="565" y="352"/>
                    </a:cubicBezTo>
                    <a:cubicBezTo>
                      <a:pt x="562" y="350"/>
                      <a:pt x="562" y="350"/>
                      <a:pt x="562" y="350"/>
                    </a:cubicBezTo>
                    <a:cubicBezTo>
                      <a:pt x="561" y="350"/>
                      <a:pt x="561" y="350"/>
                      <a:pt x="561" y="350"/>
                    </a:cubicBezTo>
                    <a:cubicBezTo>
                      <a:pt x="560" y="349"/>
                      <a:pt x="560" y="349"/>
                      <a:pt x="560" y="349"/>
                    </a:cubicBezTo>
                    <a:cubicBezTo>
                      <a:pt x="558" y="348"/>
                      <a:pt x="558" y="348"/>
                      <a:pt x="558" y="348"/>
                    </a:cubicBezTo>
                    <a:cubicBezTo>
                      <a:pt x="558" y="346"/>
                      <a:pt x="558" y="346"/>
                      <a:pt x="558" y="346"/>
                    </a:cubicBezTo>
                    <a:cubicBezTo>
                      <a:pt x="555" y="347"/>
                      <a:pt x="555" y="347"/>
                      <a:pt x="555" y="347"/>
                    </a:cubicBezTo>
                    <a:cubicBezTo>
                      <a:pt x="553" y="348"/>
                      <a:pt x="553" y="348"/>
                      <a:pt x="553" y="348"/>
                    </a:cubicBezTo>
                    <a:cubicBezTo>
                      <a:pt x="552" y="346"/>
                      <a:pt x="552" y="346"/>
                      <a:pt x="552" y="346"/>
                    </a:cubicBezTo>
                    <a:cubicBezTo>
                      <a:pt x="549" y="346"/>
                      <a:pt x="549" y="346"/>
                      <a:pt x="549" y="346"/>
                    </a:cubicBezTo>
                    <a:cubicBezTo>
                      <a:pt x="548" y="346"/>
                      <a:pt x="548" y="346"/>
                      <a:pt x="548" y="346"/>
                    </a:cubicBezTo>
                    <a:cubicBezTo>
                      <a:pt x="547" y="345"/>
                      <a:pt x="547" y="345"/>
                      <a:pt x="547" y="345"/>
                    </a:cubicBezTo>
                    <a:cubicBezTo>
                      <a:pt x="545" y="343"/>
                      <a:pt x="545" y="343"/>
                      <a:pt x="545" y="343"/>
                    </a:cubicBezTo>
                    <a:cubicBezTo>
                      <a:pt x="544" y="342"/>
                      <a:pt x="544" y="342"/>
                      <a:pt x="544" y="342"/>
                    </a:cubicBezTo>
                    <a:cubicBezTo>
                      <a:pt x="547" y="339"/>
                      <a:pt x="547" y="339"/>
                      <a:pt x="547" y="339"/>
                    </a:cubicBezTo>
                    <a:cubicBezTo>
                      <a:pt x="548" y="339"/>
                      <a:pt x="548" y="339"/>
                      <a:pt x="548" y="339"/>
                    </a:cubicBezTo>
                    <a:cubicBezTo>
                      <a:pt x="548" y="338"/>
                      <a:pt x="548" y="338"/>
                      <a:pt x="548" y="338"/>
                    </a:cubicBezTo>
                    <a:cubicBezTo>
                      <a:pt x="547" y="338"/>
                      <a:pt x="547" y="338"/>
                      <a:pt x="547" y="338"/>
                    </a:cubicBezTo>
                    <a:cubicBezTo>
                      <a:pt x="545" y="340"/>
                      <a:pt x="545" y="340"/>
                      <a:pt x="545" y="340"/>
                    </a:cubicBezTo>
                    <a:cubicBezTo>
                      <a:pt x="544" y="342"/>
                      <a:pt x="544" y="342"/>
                      <a:pt x="544" y="342"/>
                    </a:cubicBezTo>
                    <a:cubicBezTo>
                      <a:pt x="543" y="342"/>
                      <a:pt x="543" y="342"/>
                      <a:pt x="543" y="342"/>
                    </a:cubicBezTo>
                    <a:cubicBezTo>
                      <a:pt x="541" y="341"/>
                      <a:pt x="541" y="341"/>
                      <a:pt x="541" y="341"/>
                    </a:cubicBezTo>
                    <a:cubicBezTo>
                      <a:pt x="540" y="340"/>
                      <a:pt x="540" y="340"/>
                      <a:pt x="540" y="340"/>
                    </a:cubicBezTo>
                    <a:cubicBezTo>
                      <a:pt x="539" y="341"/>
                      <a:pt x="539" y="341"/>
                      <a:pt x="539" y="341"/>
                    </a:cubicBezTo>
                    <a:cubicBezTo>
                      <a:pt x="540" y="342"/>
                      <a:pt x="540" y="342"/>
                      <a:pt x="540" y="342"/>
                    </a:cubicBezTo>
                    <a:cubicBezTo>
                      <a:pt x="540" y="342"/>
                      <a:pt x="540" y="342"/>
                      <a:pt x="540" y="342"/>
                    </a:cubicBezTo>
                    <a:cubicBezTo>
                      <a:pt x="537" y="342"/>
                      <a:pt x="537" y="342"/>
                      <a:pt x="537" y="342"/>
                    </a:cubicBezTo>
                    <a:cubicBezTo>
                      <a:pt x="535" y="340"/>
                      <a:pt x="535" y="340"/>
                      <a:pt x="535" y="340"/>
                    </a:cubicBezTo>
                    <a:cubicBezTo>
                      <a:pt x="534" y="338"/>
                      <a:pt x="534" y="338"/>
                      <a:pt x="534" y="338"/>
                    </a:cubicBezTo>
                    <a:cubicBezTo>
                      <a:pt x="533" y="336"/>
                      <a:pt x="533" y="336"/>
                      <a:pt x="533" y="336"/>
                    </a:cubicBezTo>
                    <a:cubicBezTo>
                      <a:pt x="533" y="335"/>
                      <a:pt x="533" y="335"/>
                      <a:pt x="533" y="335"/>
                    </a:cubicBezTo>
                    <a:cubicBezTo>
                      <a:pt x="536" y="333"/>
                      <a:pt x="536" y="333"/>
                      <a:pt x="536" y="333"/>
                    </a:cubicBezTo>
                    <a:cubicBezTo>
                      <a:pt x="537" y="332"/>
                      <a:pt x="537" y="332"/>
                      <a:pt x="537" y="332"/>
                    </a:cubicBezTo>
                    <a:cubicBezTo>
                      <a:pt x="536" y="331"/>
                      <a:pt x="536" y="331"/>
                      <a:pt x="536" y="331"/>
                    </a:cubicBezTo>
                    <a:cubicBezTo>
                      <a:pt x="535" y="332"/>
                      <a:pt x="535" y="332"/>
                      <a:pt x="535" y="332"/>
                    </a:cubicBezTo>
                    <a:cubicBezTo>
                      <a:pt x="533" y="333"/>
                      <a:pt x="533" y="333"/>
                      <a:pt x="533" y="333"/>
                    </a:cubicBezTo>
                    <a:cubicBezTo>
                      <a:pt x="532" y="335"/>
                      <a:pt x="532" y="335"/>
                      <a:pt x="532" y="335"/>
                    </a:cubicBezTo>
                    <a:cubicBezTo>
                      <a:pt x="531" y="335"/>
                      <a:pt x="531" y="335"/>
                      <a:pt x="531" y="335"/>
                    </a:cubicBezTo>
                    <a:cubicBezTo>
                      <a:pt x="530" y="334"/>
                      <a:pt x="530" y="334"/>
                      <a:pt x="530" y="334"/>
                    </a:cubicBezTo>
                    <a:cubicBezTo>
                      <a:pt x="531" y="332"/>
                      <a:pt x="531" y="332"/>
                      <a:pt x="531" y="332"/>
                    </a:cubicBezTo>
                    <a:cubicBezTo>
                      <a:pt x="530" y="331"/>
                      <a:pt x="530" y="331"/>
                      <a:pt x="530" y="331"/>
                    </a:cubicBezTo>
                    <a:cubicBezTo>
                      <a:pt x="529" y="332"/>
                      <a:pt x="529" y="332"/>
                      <a:pt x="529" y="332"/>
                    </a:cubicBezTo>
                    <a:cubicBezTo>
                      <a:pt x="529" y="333"/>
                      <a:pt x="529" y="333"/>
                      <a:pt x="529" y="333"/>
                    </a:cubicBezTo>
                    <a:cubicBezTo>
                      <a:pt x="529" y="334"/>
                      <a:pt x="529" y="334"/>
                      <a:pt x="529" y="334"/>
                    </a:cubicBezTo>
                    <a:cubicBezTo>
                      <a:pt x="529" y="335"/>
                      <a:pt x="529" y="335"/>
                      <a:pt x="529" y="335"/>
                    </a:cubicBezTo>
                    <a:cubicBezTo>
                      <a:pt x="527" y="334"/>
                      <a:pt x="527" y="334"/>
                      <a:pt x="527" y="334"/>
                    </a:cubicBezTo>
                    <a:cubicBezTo>
                      <a:pt x="526" y="333"/>
                      <a:pt x="526" y="333"/>
                      <a:pt x="526" y="333"/>
                    </a:cubicBezTo>
                    <a:cubicBezTo>
                      <a:pt x="524" y="333"/>
                      <a:pt x="524" y="333"/>
                      <a:pt x="524" y="333"/>
                    </a:cubicBezTo>
                    <a:cubicBezTo>
                      <a:pt x="523" y="333"/>
                      <a:pt x="523" y="333"/>
                      <a:pt x="523" y="333"/>
                    </a:cubicBezTo>
                    <a:cubicBezTo>
                      <a:pt x="523" y="334"/>
                      <a:pt x="523" y="334"/>
                      <a:pt x="523" y="334"/>
                    </a:cubicBezTo>
                    <a:cubicBezTo>
                      <a:pt x="522" y="334"/>
                      <a:pt x="522" y="334"/>
                      <a:pt x="522" y="334"/>
                    </a:cubicBezTo>
                    <a:cubicBezTo>
                      <a:pt x="521" y="333"/>
                      <a:pt x="521" y="333"/>
                      <a:pt x="521" y="333"/>
                    </a:cubicBezTo>
                    <a:cubicBezTo>
                      <a:pt x="520" y="331"/>
                      <a:pt x="520" y="331"/>
                      <a:pt x="520" y="331"/>
                    </a:cubicBezTo>
                    <a:cubicBezTo>
                      <a:pt x="521" y="331"/>
                      <a:pt x="521" y="331"/>
                      <a:pt x="521" y="331"/>
                    </a:cubicBezTo>
                    <a:cubicBezTo>
                      <a:pt x="522" y="332"/>
                      <a:pt x="522" y="332"/>
                      <a:pt x="522" y="332"/>
                    </a:cubicBezTo>
                    <a:cubicBezTo>
                      <a:pt x="522" y="331"/>
                      <a:pt x="522" y="331"/>
                      <a:pt x="522" y="331"/>
                    </a:cubicBezTo>
                    <a:cubicBezTo>
                      <a:pt x="520" y="330"/>
                      <a:pt x="520" y="330"/>
                      <a:pt x="520" y="330"/>
                    </a:cubicBezTo>
                    <a:cubicBezTo>
                      <a:pt x="518" y="328"/>
                      <a:pt x="518" y="328"/>
                      <a:pt x="518" y="328"/>
                    </a:cubicBezTo>
                    <a:cubicBezTo>
                      <a:pt x="517" y="327"/>
                      <a:pt x="517" y="327"/>
                      <a:pt x="517" y="327"/>
                    </a:cubicBezTo>
                    <a:cubicBezTo>
                      <a:pt x="518" y="324"/>
                      <a:pt x="518" y="324"/>
                      <a:pt x="518" y="324"/>
                    </a:cubicBezTo>
                    <a:cubicBezTo>
                      <a:pt x="517" y="322"/>
                      <a:pt x="517" y="322"/>
                      <a:pt x="517" y="322"/>
                    </a:cubicBezTo>
                    <a:cubicBezTo>
                      <a:pt x="517" y="319"/>
                      <a:pt x="517" y="319"/>
                      <a:pt x="517" y="319"/>
                    </a:cubicBezTo>
                    <a:cubicBezTo>
                      <a:pt x="517" y="318"/>
                      <a:pt x="517" y="318"/>
                      <a:pt x="517" y="318"/>
                    </a:cubicBezTo>
                    <a:cubicBezTo>
                      <a:pt x="518" y="318"/>
                      <a:pt x="518" y="318"/>
                      <a:pt x="518" y="318"/>
                    </a:cubicBezTo>
                    <a:cubicBezTo>
                      <a:pt x="518" y="316"/>
                      <a:pt x="518" y="316"/>
                      <a:pt x="518" y="316"/>
                    </a:cubicBezTo>
                    <a:cubicBezTo>
                      <a:pt x="518" y="314"/>
                      <a:pt x="518" y="314"/>
                      <a:pt x="518" y="314"/>
                    </a:cubicBezTo>
                    <a:cubicBezTo>
                      <a:pt x="518" y="313"/>
                      <a:pt x="518" y="313"/>
                      <a:pt x="518" y="313"/>
                    </a:cubicBezTo>
                    <a:cubicBezTo>
                      <a:pt x="520" y="314"/>
                      <a:pt x="520" y="314"/>
                      <a:pt x="520" y="314"/>
                    </a:cubicBezTo>
                    <a:cubicBezTo>
                      <a:pt x="520" y="315"/>
                      <a:pt x="520" y="315"/>
                      <a:pt x="520" y="315"/>
                    </a:cubicBezTo>
                    <a:cubicBezTo>
                      <a:pt x="524" y="315"/>
                      <a:pt x="524" y="315"/>
                      <a:pt x="524" y="315"/>
                    </a:cubicBezTo>
                    <a:cubicBezTo>
                      <a:pt x="525" y="316"/>
                      <a:pt x="525" y="316"/>
                      <a:pt x="525" y="316"/>
                    </a:cubicBezTo>
                    <a:cubicBezTo>
                      <a:pt x="526" y="318"/>
                      <a:pt x="526" y="318"/>
                      <a:pt x="526" y="318"/>
                    </a:cubicBezTo>
                    <a:cubicBezTo>
                      <a:pt x="529" y="320"/>
                      <a:pt x="529" y="320"/>
                      <a:pt x="529" y="320"/>
                    </a:cubicBezTo>
                    <a:cubicBezTo>
                      <a:pt x="532" y="320"/>
                      <a:pt x="532" y="320"/>
                      <a:pt x="532" y="320"/>
                    </a:cubicBezTo>
                    <a:cubicBezTo>
                      <a:pt x="533" y="319"/>
                      <a:pt x="533" y="319"/>
                      <a:pt x="533" y="319"/>
                    </a:cubicBezTo>
                    <a:cubicBezTo>
                      <a:pt x="536" y="319"/>
                      <a:pt x="536" y="319"/>
                      <a:pt x="536" y="319"/>
                    </a:cubicBezTo>
                    <a:cubicBezTo>
                      <a:pt x="535" y="318"/>
                      <a:pt x="535" y="318"/>
                      <a:pt x="535" y="318"/>
                    </a:cubicBezTo>
                    <a:cubicBezTo>
                      <a:pt x="534" y="317"/>
                      <a:pt x="534" y="317"/>
                      <a:pt x="534" y="317"/>
                    </a:cubicBezTo>
                    <a:cubicBezTo>
                      <a:pt x="532" y="315"/>
                      <a:pt x="532" y="315"/>
                      <a:pt x="532" y="315"/>
                    </a:cubicBezTo>
                    <a:cubicBezTo>
                      <a:pt x="532" y="313"/>
                      <a:pt x="532" y="313"/>
                      <a:pt x="532" y="313"/>
                    </a:cubicBezTo>
                    <a:cubicBezTo>
                      <a:pt x="529" y="313"/>
                      <a:pt x="529" y="313"/>
                      <a:pt x="529" y="313"/>
                    </a:cubicBezTo>
                    <a:cubicBezTo>
                      <a:pt x="527" y="311"/>
                      <a:pt x="527" y="311"/>
                      <a:pt x="527" y="311"/>
                    </a:cubicBezTo>
                    <a:cubicBezTo>
                      <a:pt x="525" y="311"/>
                      <a:pt x="525" y="311"/>
                      <a:pt x="525" y="311"/>
                    </a:cubicBezTo>
                    <a:cubicBezTo>
                      <a:pt x="523" y="310"/>
                      <a:pt x="523" y="310"/>
                      <a:pt x="523" y="310"/>
                    </a:cubicBezTo>
                    <a:cubicBezTo>
                      <a:pt x="521" y="310"/>
                      <a:pt x="521" y="310"/>
                      <a:pt x="521" y="310"/>
                    </a:cubicBezTo>
                    <a:cubicBezTo>
                      <a:pt x="518" y="308"/>
                      <a:pt x="518" y="308"/>
                      <a:pt x="518" y="308"/>
                    </a:cubicBezTo>
                    <a:cubicBezTo>
                      <a:pt x="517" y="306"/>
                      <a:pt x="517" y="306"/>
                      <a:pt x="517" y="306"/>
                    </a:cubicBezTo>
                    <a:cubicBezTo>
                      <a:pt x="518" y="303"/>
                      <a:pt x="518" y="303"/>
                      <a:pt x="518" y="303"/>
                    </a:cubicBezTo>
                    <a:cubicBezTo>
                      <a:pt x="519" y="302"/>
                      <a:pt x="519" y="302"/>
                      <a:pt x="519" y="302"/>
                    </a:cubicBezTo>
                    <a:cubicBezTo>
                      <a:pt x="519" y="300"/>
                      <a:pt x="519" y="300"/>
                      <a:pt x="519" y="300"/>
                    </a:cubicBezTo>
                    <a:cubicBezTo>
                      <a:pt x="520" y="298"/>
                      <a:pt x="520" y="298"/>
                      <a:pt x="520" y="298"/>
                    </a:cubicBezTo>
                    <a:cubicBezTo>
                      <a:pt x="521" y="298"/>
                      <a:pt x="521" y="298"/>
                      <a:pt x="521" y="298"/>
                    </a:cubicBezTo>
                    <a:cubicBezTo>
                      <a:pt x="522" y="296"/>
                      <a:pt x="522" y="296"/>
                      <a:pt x="522" y="296"/>
                    </a:cubicBezTo>
                    <a:cubicBezTo>
                      <a:pt x="522" y="293"/>
                      <a:pt x="522" y="293"/>
                      <a:pt x="522" y="293"/>
                    </a:cubicBezTo>
                    <a:cubicBezTo>
                      <a:pt x="523" y="291"/>
                      <a:pt x="523" y="291"/>
                      <a:pt x="523" y="291"/>
                    </a:cubicBezTo>
                    <a:cubicBezTo>
                      <a:pt x="524" y="291"/>
                      <a:pt x="524" y="291"/>
                      <a:pt x="524" y="291"/>
                    </a:cubicBezTo>
                    <a:cubicBezTo>
                      <a:pt x="525" y="289"/>
                      <a:pt x="525" y="289"/>
                      <a:pt x="525" y="289"/>
                    </a:cubicBezTo>
                    <a:cubicBezTo>
                      <a:pt x="527" y="288"/>
                      <a:pt x="527" y="288"/>
                      <a:pt x="527" y="288"/>
                    </a:cubicBezTo>
                    <a:cubicBezTo>
                      <a:pt x="529" y="287"/>
                      <a:pt x="529" y="287"/>
                      <a:pt x="529" y="287"/>
                    </a:cubicBezTo>
                    <a:cubicBezTo>
                      <a:pt x="529" y="286"/>
                      <a:pt x="529" y="286"/>
                      <a:pt x="529" y="286"/>
                    </a:cubicBezTo>
                    <a:cubicBezTo>
                      <a:pt x="529" y="286"/>
                      <a:pt x="529" y="286"/>
                      <a:pt x="529" y="286"/>
                    </a:cubicBezTo>
                    <a:cubicBezTo>
                      <a:pt x="528" y="287"/>
                      <a:pt x="528" y="287"/>
                      <a:pt x="528" y="287"/>
                    </a:cubicBezTo>
                    <a:cubicBezTo>
                      <a:pt x="528" y="285"/>
                      <a:pt x="528" y="285"/>
                      <a:pt x="528" y="285"/>
                    </a:cubicBezTo>
                    <a:cubicBezTo>
                      <a:pt x="530" y="282"/>
                      <a:pt x="530" y="282"/>
                      <a:pt x="530" y="282"/>
                    </a:cubicBezTo>
                    <a:cubicBezTo>
                      <a:pt x="531" y="279"/>
                      <a:pt x="531" y="279"/>
                      <a:pt x="531" y="279"/>
                    </a:cubicBezTo>
                    <a:cubicBezTo>
                      <a:pt x="532" y="278"/>
                      <a:pt x="532" y="278"/>
                      <a:pt x="532" y="278"/>
                    </a:cubicBezTo>
                    <a:cubicBezTo>
                      <a:pt x="533" y="276"/>
                      <a:pt x="533" y="276"/>
                      <a:pt x="533" y="276"/>
                    </a:cubicBezTo>
                    <a:cubicBezTo>
                      <a:pt x="535" y="276"/>
                      <a:pt x="535" y="276"/>
                      <a:pt x="535" y="276"/>
                    </a:cubicBezTo>
                    <a:cubicBezTo>
                      <a:pt x="535" y="277"/>
                      <a:pt x="535" y="277"/>
                      <a:pt x="535" y="277"/>
                    </a:cubicBezTo>
                    <a:cubicBezTo>
                      <a:pt x="536" y="274"/>
                      <a:pt x="536" y="274"/>
                      <a:pt x="536" y="274"/>
                    </a:cubicBezTo>
                    <a:cubicBezTo>
                      <a:pt x="537" y="274"/>
                      <a:pt x="537" y="274"/>
                      <a:pt x="537" y="274"/>
                    </a:cubicBezTo>
                    <a:cubicBezTo>
                      <a:pt x="538" y="275"/>
                      <a:pt x="538" y="275"/>
                      <a:pt x="538" y="275"/>
                    </a:cubicBezTo>
                    <a:cubicBezTo>
                      <a:pt x="539" y="274"/>
                      <a:pt x="539" y="274"/>
                      <a:pt x="539" y="274"/>
                    </a:cubicBezTo>
                    <a:cubicBezTo>
                      <a:pt x="538" y="273"/>
                      <a:pt x="538" y="273"/>
                      <a:pt x="538" y="273"/>
                    </a:cubicBezTo>
                    <a:cubicBezTo>
                      <a:pt x="540" y="269"/>
                      <a:pt x="540" y="269"/>
                      <a:pt x="540" y="269"/>
                    </a:cubicBezTo>
                    <a:cubicBezTo>
                      <a:pt x="542" y="269"/>
                      <a:pt x="542" y="269"/>
                      <a:pt x="542" y="269"/>
                    </a:cubicBezTo>
                    <a:cubicBezTo>
                      <a:pt x="542" y="267"/>
                      <a:pt x="542" y="267"/>
                      <a:pt x="542" y="267"/>
                    </a:cubicBezTo>
                    <a:cubicBezTo>
                      <a:pt x="543" y="265"/>
                      <a:pt x="543" y="265"/>
                      <a:pt x="543" y="265"/>
                    </a:cubicBezTo>
                    <a:cubicBezTo>
                      <a:pt x="545" y="265"/>
                      <a:pt x="545" y="265"/>
                      <a:pt x="545" y="265"/>
                    </a:cubicBezTo>
                    <a:cubicBezTo>
                      <a:pt x="546" y="263"/>
                      <a:pt x="546" y="263"/>
                      <a:pt x="546" y="263"/>
                    </a:cubicBezTo>
                    <a:cubicBezTo>
                      <a:pt x="548" y="263"/>
                      <a:pt x="548" y="263"/>
                      <a:pt x="548" y="263"/>
                    </a:cubicBezTo>
                    <a:cubicBezTo>
                      <a:pt x="549" y="264"/>
                      <a:pt x="549" y="264"/>
                      <a:pt x="549" y="264"/>
                    </a:cubicBezTo>
                    <a:cubicBezTo>
                      <a:pt x="549" y="262"/>
                      <a:pt x="549" y="262"/>
                      <a:pt x="549" y="262"/>
                    </a:cubicBezTo>
                    <a:cubicBezTo>
                      <a:pt x="549" y="260"/>
                      <a:pt x="549" y="260"/>
                      <a:pt x="549" y="260"/>
                    </a:cubicBezTo>
                    <a:cubicBezTo>
                      <a:pt x="552" y="259"/>
                      <a:pt x="552" y="259"/>
                      <a:pt x="552" y="259"/>
                    </a:cubicBezTo>
                    <a:cubicBezTo>
                      <a:pt x="556" y="256"/>
                      <a:pt x="556" y="256"/>
                      <a:pt x="556" y="256"/>
                    </a:cubicBezTo>
                    <a:cubicBezTo>
                      <a:pt x="561" y="254"/>
                      <a:pt x="561" y="254"/>
                      <a:pt x="561" y="254"/>
                    </a:cubicBezTo>
                    <a:cubicBezTo>
                      <a:pt x="564" y="254"/>
                      <a:pt x="564" y="254"/>
                      <a:pt x="564" y="254"/>
                    </a:cubicBezTo>
                    <a:cubicBezTo>
                      <a:pt x="566" y="253"/>
                      <a:pt x="566" y="253"/>
                      <a:pt x="566" y="253"/>
                    </a:cubicBezTo>
                    <a:cubicBezTo>
                      <a:pt x="568" y="254"/>
                      <a:pt x="568" y="254"/>
                      <a:pt x="568" y="254"/>
                    </a:cubicBezTo>
                    <a:cubicBezTo>
                      <a:pt x="570" y="253"/>
                      <a:pt x="570" y="253"/>
                      <a:pt x="570" y="253"/>
                    </a:cubicBezTo>
                    <a:cubicBezTo>
                      <a:pt x="571" y="254"/>
                      <a:pt x="571" y="254"/>
                      <a:pt x="571" y="254"/>
                    </a:cubicBezTo>
                    <a:cubicBezTo>
                      <a:pt x="574" y="254"/>
                      <a:pt x="574" y="254"/>
                      <a:pt x="574" y="254"/>
                    </a:cubicBezTo>
                    <a:cubicBezTo>
                      <a:pt x="576" y="255"/>
                      <a:pt x="576" y="255"/>
                      <a:pt x="576" y="255"/>
                    </a:cubicBezTo>
                    <a:cubicBezTo>
                      <a:pt x="580" y="257"/>
                      <a:pt x="580" y="257"/>
                      <a:pt x="580" y="257"/>
                    </a:cubicBezTo>
                    <a:cubicBezTo>
                      <a:pt x="580" y="258"/>
                      <a:pt x="580" y="258"/>
                      <a:pt x="580" y="258"/>
                    </a:cubicBezTo>
                    <a:cubicBezTo>
                      <a:pt x="580" y="260"/>
                      <a:pt x="580" y="260"/>
                      <a:pt x="580" y="260"/>
                    </a:cubicBezTo>
                    <a:cubicBezTo>
                      <a:pt x="577" y="261"/>
                      <a:pt x="577" y="261"/>
                      <a:pt x="577" y="261"/>
                    </a:cubicBezTo>
                    <a:cubicBezTo>
                      <a:pt x="574" y="262"/>
                      <a:pt x="574" y="262"/>
                      <a:pt x="574" y="262"/>
                    </a:cubicBezTo>
                    <a:cubicBezTo>
                      <a:pt x="572" y="262"/>
                      <a:pt x="572" y="262"/>
                      <a:pt x="572" y="262"/>
                    </a:cubicBezTo>
                    <a:cubicBezTo>
                      <a:pt x="571" y="264"/>
                      <a:pt x="571" y="264"/>
                      <a:pt x="571" y="264"/>
                    </a:cubicBezTo>
                    <a:cubicBezTo>
                      <a:pt x="570" y="266"/>
                      <a:pt x="570" y="266"/>
                      <a:pt x="570" y="266"/>
                    </a:cubicBezTo>
                    <a:cubicBezTo>
                      <a:pt x="568" y="266"/>
                      <a:pt x="568" y="266"/>
                      <a:pt x="568" y="266"/>
                    </a:cubicBezTo>
                    <a:cubicBezTo>
                      <a:pt x="564" y="270"/>
                      <a:pt x="564" y="270"/>
                      <a:pt x="564" y="270"/>
                    </a:cubicBezTo>
                    <a:cubicBezTo>
                      <a:pt x="561" y="274"/>
                      <a:pt x="561" y="274"/>
                      <a:pt x="561" y="274"/>
                    </a:cubicBezTo>
                    <a:cubicBezTo>
                      <a:pt x="558" y="276"/>
                      <a:pt x="558" y="276"/>
                      <a:pt x="558" y="276"/>
                    </a:cubicBezTo>
                    <a:cubicBezTo>
                      <a:pt x="557" y="277"/>
                      <a:pt x="557" y="277"/>
                      <a:pt x="557" y="277"/>
                    </a:cubicBezTo>
                    <a:cubicBezTo>
                      <a:pt x="555" y="281"/>
                      <a:pt x="555" y="281"/>
                      <a:pt x="555" y="281"/>
                    </a:cubicBezTo>
                    <a:cubicBezTo>
                      <a:pt x="555" y="283"/>
                      <a:pt x="555" y="283"/>
                      <a:pt x="555" y="283"/>
                    </a:cubicBezTo>
                    <a:cubicBezTo>
                      <a:pt x="555" y="285"/>
                      <a:pt x="555" y="285"/>
                      <a:pt x="555" y="285"/>
                    </a:cubicBezTo>
                    <a:cubicBezTo>
                      <a:pt x="557" y="286"/>
                      <a:pt x="557" y="286"/>
                      <a:pt x="557" y="286"/>
                    </a:cubicBezTo>
                    <a:cubicBezTo>
                      <a:pt x="557" y="288"/>
                      <a:pt x="557" y="288"/>
                      <a:pt x="557" y="288"/>
                    </a:cubicBezTo>
                    <a:cubicBezTo>
                      <a:pt x="555" y="289"/>
                      <a:pt x="555" y="289"/>
                      <a:pt x="555" y="289"/>
                    </a:cubicBezTo>
                    <a:cubicBezTo>
                      <a:pt x="554" y="291"/>
                      <a:pt x="554" y="291"/>
                      <a:pt x="554" y="291"/>
                    </a:cubicBezTo>
                    <a:cubicBezTo>
                      <a:pt x="552" y="293"/>
                      <a:pt x="552" y="293"/>
                      <a:pt x="552" y="293"/>
                    </a:cubicBezTo>
                    <a:cubicBezTo>
                      <a:pt x="552" y="295"/>
                      <a:pt x="552" y="295"/>
                      <a:pt x="552" y="295"/>
                    </a:cubicBezTo>
                    <a:cubicBezTo>
                      <a:pt x="550" y="297"/>
                      <a:pt x="550" y="297"/>
                      <a:pt x="550" y="297"/>
                    </a:cubicBezTo>
                    <a:cubicBezTo>
                      <a:pt x="549" y="298"/>
                      <a:pt x="549" y="298"/>
                      <a:pt x="549" y="298"/>
                    </a:cubicBezTo>
                    <a:cubicBezTo>
                      <a:pt x="549" y="299"/>
                      <a:pt x="549" y="299"/>
                      <a:pt x="549" y="299"/>
                    </a:cubicBezTo>
                    <a:cubicBezTo>
                      <a:pt x="550" y="301"/>
                      <a:pt x="550" y="301"/>
                      <a:pt x="550" y="301"/>
                    </a:cubicBezTo>
                    <a:cubicBezTo>
                      <a:pt x="551" y="304"/>
                      <a:pt x="551" y="304"/>
                      <a:pt x="551" y="304"/>
                    </a:cubicBezTo>
                    <a:cubicBezTo>
                      <a:pt x="551" y="305"/>
                      <a:pt x="551" y="305"/>
                      <a:pt x="551" y="305"/>
                    </a:cubicBezTo>
                    <a:cubicBezTo>
                      <a:pt x="551" y="308"/>
                      <a:pt x="551" y="308"/>
                      <a:pt x="551" y="308"/>
                    </a:cubicBezTo>
                    <a:cubicBezTo>
                      <a:pt x="553" y="310"/>
                      <a:pt x="553" y="310"/>
                      <a:pt x="553" y="310"/>
                    </a:cubicBezTo>
                    <a:cubicBezTo>
                      <a:pt x="553" y="311"/>
                      <a:pt x="553" y="311"/>
                      <a:pt x="553" y="311"/>
                    </a:cubicBezTo>
                    <a:cubicBezTo>
                      <a:pt x="555" y="312"/>
                      <a:pt x="555" y="312"/>
                      <a:pt x="555" y="312"/>
                    </a:cubicBezTo>
                    <a:cubicBezTo>
                      <a:pt x="555" y="314"/>
                      <a:pt x="555" y="314"/>
                      <a:pt x="555" y="314"/>
                    </a:cubicBezTo>
                    <a:cubicBezTo>
                      <a:pt x="554" y="316"/>
                      <a:pt x="554" y="316"/>
                      <a:pt x="554" y="316"/>
                    </a:cubicBezTo>
                    <a:cubicBezTo>
                      <a:pt x="554" y="314"/>
                      <a:pt x="554" y="314"/>
                      <a:pt x="554" y="314"/>
                    </a:cubicBezTo>
                    <a:cubicBezTo>
                      <a:pt x="553" y="314"/>
                      <a:pt x="553" y="314"/>
                      <a:pt x="553" y="314"/>
                    </a:cubicBezTo>
                    <a:cubicBezTo>
                      <a:pt x="553" y="315"/>
                      <a:pt x="553" y="315"/>
                      <a:pt x="553" y="315"/>
                    </a:cubicBezTo>
                    <a:cubicBezTo>
                      <a:pt x="552" y="315"/>
                      <a:pt x="552" y="315"/>
                      <a:pt x="552" y="315"/>
                    </a:cubicBezTo>
                    <a:cubicBezTo>
                      <a:pt x="550" y="316"/>
                      <a:pt x="550" y="316"/>
                      <a:pt x="550" y="316"/>
                    </a:cubicBezTo>
                    <a:cubicBezTo>
                      <a:pt x="549" y="316"/>
                      <a:pt x="549" y="316"/>
                      <a:pt x="549" y="316"/>
                    </a:cubicBezTo>
                    <a:cubicBezTo>
                      <a:pt x="550" y="317"/>
                      <a:pt x="550" y="317"/>
                      <a:pt x="550" y="317"/>
                    </a:cubicBezTo>
                    <a:cubicBezTo>
                      <a:pt x="551" y="318"/>
                      <a:pt x="551" y="318"/>
                      <a:pt x="551" y="318"/>
                    </a:cubicBezTo>
                    <a:cubicBezTo>
                      <a:pt x="553" y="318"/>
                      <a:pt x="553" y="318"/>
                      <a:pt x="553" y="318"/>
                    </a:cubicBezTo>
                    <a:cubicBezTo>
                      <a:pt x="553" y="318"/>
                      <a:pt x="553" y="318"/>
                      <a:pt x="553" y="318"/>
                    </a:cubicBezTo>
                    <a:cubicBezTo>
                      <a:pt x="554" y="318"/>
                      <a:pt x="554" y="318"/>
                      <a:pt x="554" y="318"/>
                    </a:cubicBezTo>
                    <a:cubicBezTo>
                      <a:pt x="552" y="320"/>
                      <a:pt x="552" y="320"/>
                      <a:pt x="552" y="320"/>
                    </a:cubicBezTo>
                    <a:cubicBezTo>
                      <a:pt x="551" y="323"/>
                      <a:pt x="551" y="323"/>
                      <a:pt x="551" y="323"/>
                    </a:cubicBezTo>
                    <a:cubicBezTo>
                      <a:pt x="551" y="324"/>
                      <a:pt x="551" y="324"/>
                      <a:pt x="551" y="324"/>
                    </a:cubicBezTo>
                    <a:cubicBezTo>
                      <a:pt x="551" y="326"/>
                      <a:pt x="551" y="326"/>
                      <a:pt x="551" y="326"/>
                    </a:cubicBezTo>
                    <a:cubicBezTo>
                      <a:pt x="553" y="323"/>
                      <a:pt x="553" y="323"/>
                      <a:pt x="553" y="323"/>
                    </a:cubicBezTo>
                    <a:cubicBezTo>
                      <a:pt x="553" y="322"/>
                      <a:pt x="553" y="322"/>
                      <a:pt x="553" y="322"/>
                    </a:cubicBezTo>
                    <a:cubicBezTo>
                      <a:pt x="555" y="318"/>
                      <a:pt x="555" y="318"/>
                      <a:pt x="555" y="318"/>
                    </a:cubicBezTo>
                    <a:cubicBezTo>
                      <a:pt x="556" y="317"/>
                      <a:pt x="556" y="317"/>
                      <a:pt x="556" y="317"/>
                    </a:cubicBezTo>
                    <a:cubicBezTo>
                      <a:pt x="557" y="314"/>
                      <a:pt x="557" y="314"/>
                      <a:pt x="557" y="314"/>
                    </a:cubicBezTo>
                    <a:cubicBezTo>
                      <a:pt x="558" y="312"/>
                      <a:pt x="558" y="312"/>
                      <a:pt x="558" y="312"/>
                    </a:cubicBezTo>
                    <a:cubicBezTo>
                      <a:pt x="559" y="311"/>
                      <a:pt x="559" y="311"/>
                      <a:pt x="559" y="311"/>
                    </a:cubicBezTo>
                    <a:cubicBezTo>
                      <a:pt x="559" y="309"/>
                      <a:pt x="559" y="309"/>
                      <a:pt x="559" y="309"/>
                    </a:cubicBezTo>
                    <a:cubicBezTo>
                      <a:pt x="559" y="308"/>
                      <a:pt x="559" y="308"/>
                      <a:pt x="559" y="308"/>
                    </a:cubicBezTo>
                    <a:cubicBezTo>
                      <a:pt x="559" y="307"/>
                      <a:pt x="559" y="307"/>
                      <a:pt x="559" y="307"/>
                    </a:cubicBezTo>
                    <a:cubicBezTo>
                      <a:pt x="558" y="306"/>
                      <a:pt x="558" y="306"/>
                      <a:pt x="558" y="306"/>
                    </a:cubicBezTo>
                    <a:cubicBezTo>
                      <a:pt x="557" y="306"/>
                      <a:pt x="557" y="306"/>
                      <a:pt x="557" y="306"/>
                    </a:cubicBezTo>
                    <a:cubicBezTo>
                      <a:pt x="557" y="303"/>
                      <a:pt x="557" y="303"/>
                      <a:pt x="557" y="303"/>
                    </a:cubicBezTo>
                    <a:cubicBezTo>
                      <a:pt x="556" y="303"/>
                      <a:pt x="556" y="303"/>
                      <a:pt x="556" y="303"/>
                    </a:cubicBezTo>
                    <a:cubicBezTo>
                      <a:pt x="556" y="300"/>
                      <a:pt x="556" y="300"/>
                      <a:pt x="556" y="300"/>
                    </a:cubicBezTo>
                    <a:cubicBezTo>
                      <a:pt x="555" y="298"/>
                      <a:pt x="555" y="298"/>
                      <a:pt x="555" y="298"/>
                    </a:cubicBezTo>
                    <a:cubicBezTo>
                      <a:pt x="555" y="296"/>
                      <a:pt x="555" y="296"/>
                      <a:pt x="555" y="296"/>
                    </a:cubicBezTo>
                    <a:cubicBezTo>
                      <a:pt x="556" y="296"/>
                      <a:pt x="556" y="296"/>
                      <a:pt x="556" y="296"/>
                    </a:cubicBezTo>
                    <a:cubicBezTo>
                      <a:pt x="556" y="297"/>
                      <a:pt x="556" y="297"/>
                      <a:pt x="556" y="297"/>
                    </a:cubicBezTo>
                    <a:cubicBezTo>
                      <a:pt x="557" y="296"/>
                      <a:pt x="557" y="296"/>
                      <a:pt x="557" y="296"/>
                    </a:cubicBezTo>
                    <a:cubicBezTo>
                      <a:pt x="559" y="296"/>
                      <a:pt x="559" y="296"/>
                      <a:pt x="559" y="296"/>
                    </a:cubicBezTo>
                    <a:cubicBezTo>
                      <a:pt x="560" y="294"/>
                      <a:pt x="560" y="294"/>
                      <a:pt x="560" y="294"/>
                    </a:cubicBezTo>
                    <a:cubicBezTo>
                      <a:pt x="560" y="293"/>
                      <a:pt x="560" y="293"/>
                      <a:pt x="560" y="293"/>
                    </a:cubicBezTo>
                    <a:cubicBezTo>
                      <a:pt x="561" y="292"/>
                      <a:pt x="561" y="292"/>
                      <a:pt x="561" y="292"/>
                    </a:cubicBezTo>
                    <a:cubicBezTo>
                      <a:pt x="562" y="292"/>
                      <a:pt x="562" y="292"/>
                      <a:pt x="562" y="292"/>
                    </a:cubicBezTo>
                    <a:cubicBezTo>
                      <a:pt x="563" y="295"/>
                      <a:pt x="563" y="295"/>
                      <a:pt x="563" y="295"/>
                    </a:cubicBezTo>
                    <a:cubicBezTo>
                      <a:pt x="563" y="296"/>
                      <a:pt x="563" y="296"/>
                      <a:pt x="563" y="296"/>
                    </a:cubicBezTo>
                    <a:cubicBezTo>
                      <a:pt x="564" y="296"/>
                      <a:pt x="564" y="296"/>
                      <a:pt x="564" y="296"/>
                    </a:cubicBezTo>
                    <a:cubicBezTo>
                      <a:pt x="565" y="295"/>
                      <a:pt x="565" y="295"/>
                      <a:pt x="565" y="295"/>
                    </a:cubicBezTo>
                    <a:cubicBezTo>
                      <a:pt x="565" y="293"/>
                      <a:pt x="565" y="293"/>
                      <a:pt x="565" y="293"/>
                    </a:cubicBezTo>
                    <a:cubicBezTo>
                      <a:pt x="566" y="292"/>
                      <a:pt x="566" y="292"/>
                      <a:pt x="566" y="292"/>
                    </a:cubicBezTo>
                    <a:cubicBezTo>
                      <a:pt x="568" y="292"/>
                      <a:pt x="568" y="292"/>
                      <a:pt x="568" y="292"/>
                    </a:cubicBezTo>
                    <a:cubicBezTo>
                      <a:pt x="567" y="290"/>
                      <a:pt x="567" y="290"/>
                      <a:pt x="567" y="290"/>
                    </a:cubicBezTo>
                    <a:cubicBezTo>
                      <a:pt x="568" y="290"/>
                      <a:pt x="568" y="290"/>
                      <a:pt x="568" y="290"/>
                    </a:cubicBezTo>
                    <a:cubicBezTo>
                      <a:pt x="570" y="289"/>
                      <a:pt x="570" y="289"/>
                      <a:pt x="570" y="289"/>
                    </a:cubicBezTo>
                    <a:cubicBezTo>
                      <a:pt x="569" y="288"/>
                      <a:pt x="569" y="288"/>
                      <a:pt x="569" y="288"/>
                    </a:cubicBezTo>
                    <a:cubicBezTo>
                      <a:pt x="568" y="288"/>
                      <a:pt x="568" y="288"/>
                      <a:pt x="568" y="288"/>
                    </a:cubicBezTo>
                    <a:cubicBezTo>
                      <a:pt x="565" y="290"/>
                      <a:pt x="565" y="290"/>
                      <a:pt x="565" y="290"/>
                    </a:cubicBezTo>
                    <a:cubicBezTo>
                      <a:pt x="564" y="290"/>
                      <a:pt x="564" y="290"/>
                      <a:pt x="564" y="290"/>
                    </a:cubicBezTo>
                    <a:cubicBezTo>
                      <a:pt x="563" y="288"/>
                      <a:pt x="563" y="288"/>
                      <a:pt x="563" y="288"/>
                    </a:cubicBezTo>
                    <a:cubicBezTo>
                      <a:pt x="562" y="287"/>
                      <a:pt x="562" y="287"/>
                      <a:pt x="562" y="287"/>
                    </a:cubicBezTo>
                    <a:cubicBezTo>
                      <a:pt x="562" y="286"/>
                      <a:pt x="562" y="286"/>
                      <a:pt x="562" y="286"/>
                    </a:cubicBezTo>
                    <a:cubicBezTo>
                      <a:pt x="564" y="285"/>
                      <a:pt x="564" y="285"/>
                      <a:pt x="564" y="285"/>
                    </a:cubicBezTo>
                    <a:cubicBezTo>
                      <a:pt x="563" y="284"/>
                      <a:pt x="563" y="284"/>
                      <a:pt x="563" y="284"/>
                    </a:cubicBezTo>
                    <a:cubicBezTo>
                      <a:pt x="564" y="281"/>
                      <a:pt x="564" y="281"/>
                      <a:pt x="564" y="281"/>
                    </a:cubicBezTo>
                    <a:cubicBezTo>
                      <a:pt x="565" y="278"/>
                      <a:pt x="565" y="278"/>
                      <a:pt x="565" y="278"/>
                    </a:cubicBezTo>
                    <a:cubicBezTo>
                      <a:pt x="565" y="277"/>
                      <a:pt x="565" y="277"/>
                      <a:pt x="565" y="277"/>
                    </a:cubicBezTo>
                    <a:cubicBezTo>
                      <a:pt x="567" y="275"/>
                      <a:pt x="567" y="275"/>
                      <a:pt x="567" y="275"/>
                    </a:cubicBezTo>
                    <a:cubicBezTo>
                      <a:pt x="569" y="276"/>
                      <a:pt x="569" y="276"/>
                      <a:pt x="569" y="276"/>
                    </a:cubicBezTo>
                    <a:cubicBezTo>
                      <a:pt x="571" y="277"/>
                      <a:pt x="571" y="277"/>
                      <a:pt x="571" y="277"/>
                    </a:cubicBezTo>
                    <a:cubicBezTo>
                      <a:pt x="571" y="279"/>
                      <a:pt x="571" y="279"/>
                      <a:pt x="571" y="279"/>
                    </a:cubicBezTo>
                    <a:cubicBezTo>
                      <a:pt x="573" y="280"/>
                      <a:pt x="573" y="280"/>
                      <a:pt x="573" y="280"/>
                    </a:cubicBezTo>
                    <a:cubicBezTo>
                      <a:pt x="575" y="282"/>
                      <a:pt x="575" y="282"/>
                      <a:pt x="575" y="282"/>
                    </a:cubicBezTo>
                    <a:cubicBezTo>
                      <a:pt x="576" y="282"/>
                      <a:pt x="576" y="282"/>
                      <a:pt x="576" y="282"/>
                    </a:cubicBezTo>
                    <a:cubicBezTo>
                      <a:pt x="575" y="281"/>
                      <a:pt x="575" y="281"/>
                      <a:pt x="575" y="281"/>
                    </a:cubicBezTo>
                    <a:cubicBezTo>
                      <a:pt x="575" y="279"/>
                      <a:pt x="575" y="279"/>
                      <a:pt x="575" y="279"/>
                    </a:cubicBezTo>
                    <a:cubicBezTo>
                      <a:pt x="572" y="277"/>
                      <a:pt x="572" y="277"/>
                      <a:pt x="572" y="277"/>
                    </a:cubicBezTo>
                    <a:cubicBezTo>
                      <a:pt x="571" y="275"/>
                      <a:pt x="571" y="275"/>
                      <a:pt x="571" y="275"/>
                    </a:cubicBezTo>
                    <a:cubicBezTo>
                      <a:pt x="571" y="274"/>
                      <a:pt x="571" y="274"/>
                      <a:pt x="571" y="274"/>
                    </a:cubicBezTo>
                    <a:cubicBezTo>
                      <a:pt x="569" y="274"/>
                      <a:pt x="569" y="274"/>
                      <a:pt x="569" y="274"/>
                    </a:cubicBezTo>
                    <a:cubicBezTo>
                      <a:pt x="568" y="273"/>
                      <a:pt x="568" y="273"/>
                      <a:pt x="568" y="273"/>
                    </a:cubicBezTo>
                    <a:cubicBezTo>
                      <a:pt x="569" y="273"/>
                      <a:pt x="569" y="273"/>
                      <a:pt x="569" y="273"/>
                    </a:cubicBezTo>
                    <a:cubicBezTo>
                      <a:pt x="572" y="273"/>
                      <a:pt x="572" y="273"/>
                      <a:pt x="572" y="273"/>
                    </a:cubicBezTo>
                    <a:cubicBezTo>
                      <a:pt x="572" y="272"/>
                      <a:pt x="572" y="272"/>
                      <a:pt x="572" y="272"/>
                    </a:cubicBezTo>
                    <a:cubicBezTo>
                      <a:pt x="573" y="272"/>
                      <a:pt x="573" y="272"/>
                      <a:pt x="573" y="272"/>
                    </a:cubicBezTo>
                    <a:cubicBezTo>
                      <a:pt x="576" y="275"/>
                      <a:pt x="576" y="275"/>
                      <a:pt x="576" y="275"/>
                    </a:cubicBezTo>
                    <a:cubicBezTo>
                      <a:pt x="579" y="277"/>
                      <a:pt x="579" y="277"/>
                      <a:pt x="579" y="277"/>
                    </a:cubicBezTo>
                    <a:cubicBezTo>
                      <a:pt x="580" y="277"/>
                      <a:pt x="580" y="277"/>
                      <a:pt x="580" y="277"/>
                    </a:cubicBezTo>
                    <a:cubicBezTo>
                      <a:pt x="577" y="275"/>
                      <a:pt x="577" y="275"/>
                      <a:pt x="577" y="275"/>
                    </a:cubicBezTo>
                    <a:cubicBezTo>
                      <a:pt x="576" y="273"/>
                      <a:pt x="576" y="273"/>
                      <a:pt x="576" y="273"/>
                    </a:cubicBezTo>
                    <a:cubicBezTo>
                      <a:pt x="573" y="271"/>
                      <a:pt x="573" y="271"/>
                      <a:pt x="573" y="271"/>
                    </a:cubicBezTo>
                    <a:cubicBezTo>
                      <a:pt x="573" y="270"/>
                      <a:pt x="573" y="270"/>
                      <a:pt x="573" y="270"/>
                    </a:cubicBezTo>
                    <a:cubicBezTo>
                      <a:pt x="574" y="268"/>
                      <a:pt x="574" y="268"/>
                      <a:pt x="574" y="268"/>
                    </a:cubicBezTo>
                    <a:cubicBezTo>
                      <a:pt x="577" y="267"/>
                      <a:pt x="577" y="267"/>
                      <a:pt x="577" y="267"/>
                    </a:cubicBezTo>
                    <a:cubicBezTo>
                      <a:pt x="578" y="268"/>
                      <a:pt x="578" y="268"/>
                      <a:pt x="578" y="268"/>
                    </a:cubicBezTo>
                    <a:cubicBezTo>
                      <a:pt x="578" y="269"/>
                      <a:pt x="578" y="269"/>
                      <a:pt x="578" y="269"/>
                    </a:cubicBezTo>
                    <a:cubicBezTo>
                      <a:pt x="578" y="271"/>
                      <a:pt x="578" y="271"/>
                      <a:pt x="578" y="271"/>
                    </a:cubicBezTo>
                    <a:cubicBezTo>
                      <a:pt x="579" y="270"/>
                      <a:pt x="579" y="270"/>
                      <a:pt x="579" y="270"/>
                    </a:cubicBezTo>
                    <a:cubicBezTo>
                      <a:pt x="579" y="269"/>
                      <a:pt x="579" y="269"/>
                      <a:pt x="579" y="269"/>
                    </a:cubicBezTo>
                    <a:cubicBezTo>
                      <a:pt x="580" y="267"/>
                      <a:pt x="580" y="267"/>
                      <a:pt x="580" y="267"/>
                    </a:cubicBezTo>
                    <a:cubicBezTo>
                      <a:pt x="582" y="267"/>
                      <a:pt x="582" y="267"/>
                      <a:pt x="582" y="267"/>
                    </a:cubicBezTo>
                    <a:cubicBezTo>
                      <a:pt x="583" y="269"/>
                      <a:pt x="583" y="269"/>
                      <a:pt x="583" y="269"/>
                    </a:cubicBezTo>
                    <a:cubicBezTo>
                      <a:pt x="584" y="270"/>
                      <a:pt x="584" y="270"/>
                      <a:pt x="584" y="270"/>
                    </a:cubicBezTo>
                    <a:cubicBezTo>
                      <a:pt x="585" y="273"/>
                      <a:pt x="585" y="273"/>
                      <a:pt x="585" y="273"/>
                    </a:cubicBezTo>
                    <a:cubicBezTo>
                      <a:pt x="585" y="271"/>
                      <a:pt x="585" y="271"/>
                      <a:pt x="585" y="271"/>
                    </a:cubicBezTo>
                    <a:cubicBezTo>
                      <a:pt x="585" y="270"/>
                      <a:pt x="585" y="270"/>
                      <a:pt x="585" y="270"/>
                    </a:cubicBezTo>
                    <a:cubicBezTo>
                      <a:pt x="584" y="268"/>
                      <a:pt x="584" y="268"/>
                      <a:pt x="584" y="268"/>
                    </a:cubicBezTo>
                    <a:cubicBezTo>
                      <a:pt x="584" y="267"/>
                      <a:pt x="584" y="267"/>
                      <a:pt x="584" y="267"/>
                    </a:cubicBezTo>
                    <a:cubicBezTo>
                      <a:pt x="589" y="265"/>
                      <a:pt x="589" y="265"/>
                      <a:pt x="589" y="265"/>
                    </a:cubicBezTo>
                    <a:cubicBezTo>
                      <a:pt x="592" y="264"/>
                      <a:pt x="592" y="264"/>
                      <a:pt x="592" y="264"/>
                    </a:cubicBezTo>
                    <a:cubicBezTo>
                      <a:pt x="594" y="264"/>
                      <a:pt x="594" y="264"/>
                      <a:pt x="594" y="264"/>
                    </a:cubicBez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9" y="263"/>
                      <a:pt x="599" y="263"/>
                      <a:pt x="599" y="263"/>
                    </a:cubicBezTo>
                    <a:cubicBezTo>
                      <a:pt x="602" y="264"/>
                      <a:pt x="602" y="264"/>
                      <a:pt x="602" y="264"/>
                    </a:cubicBezTo>
                    <a:cubicBezTo>
                      <a:pt x="605" y="264"/>
                      <a:pt x="605" y="264"/>
                      <a:pt x="605" y="264"/>
                    </a:cubicBezTo>
                    <a:cubicBezTo>
                      <a:pt x="605" y="265"/>
                      <a:pt x="605" y="265"/>
                      <a:pt x="605" y="265"/>
                    </a:cubicBezTo>
                    <a:cubicBezTo>
                      <a:pt x="605" y="266"/>
                      <a:pt x="605" y="266"/>
                      <a:pt x="605" y="266"/>
                    </a:cubicBezTo>
                    <a:cubicBezTo>
                      <a:pt x="604" y="271"/>
                      <a:pt x="604" y="271"/>
                      <a:pt x="604" y="271"/>
                    </a:cubicBezTo>
                    <a:cubicBezTo>
                      <a:pt x="604" y="272"/>
                      <a:pt x="604" y="272"/>
                      <a:pt x="604" y="272"/>
                    </a:cubicBezTo>
                    <a:cubicBezTo>
                      <a:pt x="603" y="273"/>
                      <a:pt x="603" y="273"/>
                      <a:pt x="603" y="273"/>
                    </a:cubicBezTo>
                    <a:cubicBezTo>
                      <a:pt x="601" y="276"/>
                      <a:pt x="601" y="276"/>
                      <a:pt x="601" y="276"/>
                    </a:cubicBezTo>
                    <a:cubicBezTo>
                      <a:pt x="602" y="277"/>
                      <a:pt x="602" y="277"/>
                      <a:pt x="602" y="277"/>
                    </a:cubicBezTo>
                    <a:cubicBezTo>
                      <a:pt x="604" y="277"/>
                      <a:pt x="604" y="277"/>
                      <a:pt x="604" y="277"/>
                    </a:cubicBezTo>
                    <a:cubicBezTo>
                      <a:pt x="604" y="279"/>
                      <a:pt x="604" y="279"/>
                      <a:pt x="604" y="279"/>
                    </a:cubicBezTo>
                    <a:cubicBezTo>
                      <a:pt x="604" y="280"/>
                      <a:pt x="604" y="280"/>
                      <a:pt x="604" y="280"/>
                    </a:cubicBezTo>
                    <a:cubicBezTo>
                      <a:pt x="601" y="283"/>
                      <a:pt x="601" y="283"/>
                      <a:pt x="601" y="283"/>
                    </a:cubicBezTo>
                    <a:cubicBezTo>
                      <a:pt x="601" y="284"/>
                      <a:pt x="601" y="284"/>
                      <a:pt x="601" y="284"/>
                    </a:cubicBezTo>
                    <a:cubicBezTo>
                      <a:pt x="601" y="286"/>
                      <a:pt x="601" y="286"/>
                      <a:pt x="601" y="286"/>
                    </a:cubicBezTo>
                    <a:cubicBezTo>
                      <a:pt x="602" y="288"/>
                      <a:pt x="602" y="288"/>
                      <a:pt x="602" y="288"/>
                    </a:cubicBezTo>
                    <a:cubicBezTo>
                      <a:pt x="602" y="289"/>
                      <a:pt x="602" y="289"/>
                      <a:pt x="602" y="289"/>
                    </a:cubicBezTo>
                    <a:cubicBezTo>
                      <a:pt x="601" y="291"/>
                      <a:pt x="601" y="291"/>
                      <a:pt x="601" y="291"/>
                    </a:cubicBezTo>
                    <a:cubicBezTo>
                      <a:pt x="599" y="291"/>
                      <a:pt x="599" y="291"/>
                      <a:pt x="599" y="291"/>
                    </a:cubicBezTo>
                    <a:cubicBezTo>
                      <a:pt x="598" y="292"/>
                      <a:pt x="598" y="292"/>
                      <a:pt x="598" y="292"/>
                    </a:cubicBezTo>
                    <a:cubicBezTo>
                      <a:pt x="596" y="293"/>
                      <a:pt x="596" y="293"/>
                      <a:pt x="596" y="293"/>
                    </a:cubicBezTo>
                    <a:cubicBezTo>
                      <a:pt x="595" y="294"/>
                      <a:pt x="595" y="294"/>
                      <a:pt x="595" y="294"/>
                    </a:cubicBezTo>
                    <a:cubicBezTo>
                      <a:pt x="594" y="296"/>
                      <a:pt x="594" y="296"/>
                      <a:pt x="594" y="296"/>
                    </a:cubicBezTo>
                    <a:cubicBezTo>
                      <a:pt x="593" y="297"/>
                      <a:pt x="593" y="297"/>
                      <a:pt x="593" y="297"/>
                    </a:cubicBezTo>
                    <a:cubicBezTo>
                      <a:pt x="594" y="297"/>
                      <a:pt x="594" y="297"/>
                      <a:pt x="594" y="297"/>
                    </a:cubicBezTo>
                    <a:cubicBezTo>
                      <a:pt x="596" y="295"/>
                      <a:pt x="596" y="295"/>
                      <a:pt x="596" y="295"/>
                    </a:cubicBezTo>
                    <a:cubicBezTo>
                      <a:pt x="598" y="293"/>
                      <a:pt x="598" y="293"/>
                      <a:pt x="598" y="293"/>
                    </a:cubicBezTo>
                    <a:cubicBezTo>
                      <a:pt x="599" y="293"/>
                      <a:pt x="599" y="293"/>
                      <a:pt x="599" y="293"/>
                    </a:cubicBezTo>
                    <a:cubicBezTo>
                      <a:pt x="600" y="293"/>
                      <a:pt x="600" y="293"/>
                      <a:pt x="600" y="293"/>
                    </a:cubicBezTo>
                    <a:cubicBezTo>
                      <a:pt x="599" y="295"/>
                      <a:pt x="599" y="295"/>
                      <a:pt x="599" y="295"/>
                    </a:cubicBezTo>
                    <a:cubicBezTo>
                      <a:pt x="599" y="296"/>
                      <a:pt x="599" y="296"/>
                      <a:pt x="599" y="296"/>
                    </a:cubicBezTo>
                    <a:cubicBezTo>
                      <a:pt x="596" y="299"/>
                      <a:pt x="596" y="299"/>
                      <a:pt x="596" y="299"/>
                    </a:cubicBezTo>
                    <a:cubicBezTo>
                      <a:pt x="594" y="300"/>
                      <a:pt x="594" y="300"/>
                      <a:pt x="594" y="300"/>
                    </a:cubicBezTo>
                    <a:cubicBezTo>
                      <a:pt x="594" y="300"/>
                      <a:pt x="594" y="300"/>
                      <a:pt x="594" y="300"/>
                    </a:cubicBezTo>
                    <a:cubicBezTo>
                      <a:pt x="594" y="301"/>
                      <a:pt x="594" y="301"/>
                      <a:pt x="594" y="301"/>
                    </a:cubicBezTo>
                    <a:cubicBezTo>
                      <a:pt x="594" y="302"/>
                      <a:pt x="594" y="302"/>
                      <a:pt x="594" y="302"/>
                    </a:cubicBezTo>
                    <a:cubicBezTo>
                      <a:pt x="593" y="302"/>
                      <a:pt x="593" y="302"/>
                      <a:pt x="593" y="302"/>
                    </a:cubicBezTo>
                    <a:cubicBezTo>
                      <a:pt x="592" y="302"/>
                      <a:pt x="592" y="302"/>
                      <a:pt x="592" y="302"/>
                    </a:cubicBezTo>
                    <a:cubicBezTo>
                      <a:pt x="592" y="303"/>
                      <a:pt x="592" y="303"/>
                      <a:pt x="592" y="303"/>
                    </a:cubicBezTo>
                    <a:cubicBezTo>
                      <a:pt x="592" y="303"/>
                      <a:pt x="592" y="303"/>
                      <a:pt x="592" y="303"/>
                    </a:cubicBezTo>
                    <a:cubicBezTo>
                      <a:pt x="593" y="304"/>
                      <a:pt x="593" y="304"/>
                      <a:pt x="593" y="304"/>
                    </a:cubicBezTo>
                    <a:cubicBezTo>
                      <a:pt x="593" y="305"/>
                      <a:pt x="593" y="305"/>
                      <a:pt x="593" y="305"/>
                    </a:cubicBezTo>
                    <a:cubicBezTo>
                      <a:pt x="592" y="306"/>
                      <a:pt x="592" y="306"/>
                      <a:pt x="592" y="306"/>
                    </a:cubicBezTo>
                    <a:cubicBezTo>
                      <a:pt x="593" y="306"/>
                      <a:pt x="593" y="306"/>
                      <a:pt x="593" y="306"/>
                    </a:cubicBezTo>
                    <a:cubicBezTo>
                      <a:pt x="594" y="305"/>
                      <a:pt x="594" y="305"/>
                      <a:pt x="594" y="305"/>
                    </a:cubicBezTo>
                    <a:cubicBezTo>
                      <a:pt x="595" y="305"/>
                      <a:pt x="595" y="305"/>
                      <a:pt x="595" y="305"/>
                    </a:cubicBezTo>
                    <a:cubicBezTo>
                      <a:pt x="597" y="303"/>
                      <a:pt x="597" y="303"/>
                      <a:pt x="597" y="303"/>
                    </a:cubicBezTo>
                    <a:cubicBezTo>
                      <a:pt x="597" y="302"/>
                      <a:pt x="597" y="302"/>
                      <a:pt x="597" y="302"/>
                    </a:cubicBezTo>
                    <a:cubicBezTo>
                      <a:pt x="598" y="301"/>
                      <a:pt x="598" y="301"/>
                      <a:pt x="598" y="301"/>
                    </a:cubicBezTo>
                    <a:cubicBezTo>
                      <a:pt x="599" y="299"/>
                      <a:pt x="599" y="299"/>
                      <a:pt x="599" y="299"/>
                    </a:cubicBezTo>
                    <a:cubicBezTo>
                      <a:pt x="600" y="300"/>
                      <a:pt x="600" y="300"/>
                      <a:pt x="600" y="300"/>
                    </a:cubicBezTo>
                    <a:cubicBezTo>
                      <a:pt x="600" y="302"/>
                      <a:pt x="600" y="302"/>
                      <a:pt x="600" y="302"/>
                    </a:cubicBezTo>
                    <a:cubicBezTo>
                      <a:pt x="601" y="303"/>
                      <a:pt x="601" y="303"/>
                      <a:pt x="601" y="303"/>
                    </a:cubicBezTo>
                    <a:cubicBezTo>
                      <a:pt x="601" y="301"/>
                      <a:pt x="601" y="301"/>
                      <a:pt x="601" y="301"/>
                    </a:cubicBezTo>
                    <a:cubicBezTo>
                      <a:pt x="600" y="299"/>
                      <a:pt x="600" y="299"/>
                      <a:pt x="600" y="299"/>
                    </a:cubicBezTo>
                    <a:cubicBezTo>
                      <a:pt x="601" y="297"/>
                      <a:pt x="601" y="297"/>
                      <a:pt x="601" y="297"/>
                    </a:cubicBezTo>
                    <a:cubicBezTo>
                      <a:pt x="601" y="297"/>
                      <a:pt x="601" y="297"/>
                      <a:pt x="601" y="297"/>
                    </a:cubicBezTo>
                    <a:cubicBezTo>
                      <a:pt x="603" y="297"/>
                      <a:pt x="603" y="297"/>
                      <a:pt x="603" y="297"/>
                    </a:cubicBezTo>
                    <a:cubicBezTo>
                      <a:pt x="603" y="299"/>
                      <a:pt x="603" y="299"/>
                      <a:pt x="603" y="299"/>
                    </a:cubicBezTo>
                    <a:cubicBezTo>
                      <a:pt x="604" y="300"/>
                      <a:pt x="604" y="300"/>
                      <a:pt x="604" y="300"/>
                    </a:cubicBezTo>
                    <a:cubicBezTo>
                      <a:pt x="605" y="299"/>
                      <a:pt x="605" y="299"/>
                      <a:pt x="605" y="299"/>
                    </a:cubicBezTo>
                    <a:cubicBezTo>
                      <a:pt x="607" y="297"/>
                      <a:pt x="607" y="297"/>
                      <a:pt x="607" y="297"/>
                    </a:cubicBezTo>
                    <a:cubicBezTo>
                      <a:pt x="607" y="299"/>
                      <a:pt x="607" y="299"/>
                      <a:pt x="607" y="299"/>
                    </a:cubicBezTo>
                    <a:cubicBezTo>
                      <a:pt x="608" y="300"/>
                      <a:pt x="608" y="300"/>
                      <a:pt x="608" y="300"/>
                    </a:cubicBezTo>
                    <a:cubicBezTo>
                      <a:pt x="608" y="302"/>
                      <a:pt x="608" y="302"/>
                      <a:pt x="608" y="302"/>
                    </a:cubicBezTo>
                    <a:cubicBezTo>
                      <a:pt x="606" y="305"/>
                      <a:pt x="606" y="305"/>
                      <a:pt x="606" y="305"/>
                    </a:cubicBezTo>
                    <a:cubicBezTo>
                      <a:pt x="604" y="307"/>
                      <a:pt x="604" y="307"/>
                      <a:pt x="604" y="307"/>
                    </a:cubicBezTo>
                    <a:cubicBezTo>
                      <a:pt x="603" y="308"/>
                      <a:pt x="603" y="308"/>
                      <a:pt x="603" y="308"/>
                    </a:cubicBezTo>
                    <a:cubicBezTo>
                      <a:pt x="605" y="309"/>
                      <a:pt x="605" y="309"/>
                      <a:pt x="605" y="309"/>
                    </a:cubicBezTo>
                    <a:cubicBezTo>
                      <a:pt x="606" y="310"/>
                      <a:pt x="606" y="310"/>
                      <a:pt x="606" y="310"/>
                    </a:cubicBezTo>
                    <a:cubicBezTo>
                      <a:pt x="607" y="309"/>
                      <a:pt x="607" y="309"/>
                      <a:pt x="607" y="309"/>
                    </a:cubicBezTo>
                    <a:cubicBezTo>
                      <a:pt x="606" y="307"/>
                      <a:pt x="606" y="307"/>
                      <a:pt x="606" y="307"/>
                    </a:cubicBezTo>
                    <a:cubicBezTo>
                      <a:pt x="607" y="305"/>
                      <a:pt x="607" y="305"/>
                      <a:pt x="607" y="305"/>
                    </a:cubicBezTo>
                    <a:cubicBezTo>
                      <a:pt x="609" y="304"/>
                      <a:pt x="609" y="304"/>
                      <a:pt x="609" y="304"/>
                    </a:cubicBezTo>
                    <a:cubicBezTo>
                      <a:pt x="610" y="306"/>
                      <a:pt x="610" y="306"/>
                      <a:pt x="610" y="306"/>
                    </a:cubicBezTo>
                    <a:cubicBezTo>
                      <a:pt x="610" y="308"/>
                      <a:pt x="610" y="308"/>
                      <a:pt x="610" y="308"/>
                    </a:cubicBezTo>
                    <a:cubicBezTo>
                      <a:pt x="611" y="307"/>
                      <a:pt x="611" y="307"/>
                      <a:pt x="611" y="307"/>
                    </a:cubicBezTo>
                    <a:cubicBezTo>
                      <a:pt x="610" y="304"/>
                      <a:pt x="610" y="304"/>
                      <a:pt x="610" y="304"/>
                    </a:cubicBezTo>
                    <a:cubicBezTo>
                      <a:pt x="609" y="302"/>
                      <a:pt x="609" y="302"/>
                      <a:pt x="609" y="302"/>
                    </a:cubicBezTo>
                    <a:cubicBezTo>
                      <a:pt x="609" y="299"/>
                      <a:pt x="609" y="299"/>
                      <a:pt x="609" y="299"/>
                    </a:cubicBezTo>
                    <a:cubicBezTo>
                      <a:pt x="610" y="298"/>
                      <a:pt x="610" y="298"/>
                      <a:pt x="610" y="298"/>
                    </a:cubicBezTo>
                    <a:cubicBezTo>
                      <a:pt x="612" y="299"/>
                      <a:pt x="612" y="299"/>
                      <a:pt x="612" y="299"/>
                    </a:cubicBezTo>
                    <a:cubicBezTo>
                      <a:pt x="612" y="301"/>
                      <a:pt x="612" y="301"/>
                      <a:pt x="612" y="301"/>
                    </a:cubicBezTo>
                    <a:cubicBezTo>
                      <a:pt x="611" y="303"/>
                      <a:pt x="611" y="303"/>
                      <a:pt x="611" y="303"/>
                    </a:cubicBezTo>
                    <a:cubicBezTo>
                      <a:pt x="612" y="302"/>
                      <a:pt x="612" y="302"/>
                      <a:pt x="612" y="302"/>
                    </a:cubicBezTo>
                    <a:cubicBezTo>
                      <a:pt x="614" y="302"/>
                      <a:pt x="614" y="302"/>
                      <a:pt x="614" y="302"/>
                    </a:cubicBezTo>
                    <a:cubicBezTo>
                      <a:pt x="617" y="305"/>
                      <a:pt x="617" y="305"/>
                      <a:pt x="617" y="305"/>
                    </a:cubicBezTo>
                    <a:cubicBezTo>
                      <a:pt x="617" y="306"/>
                      <a:pt x="617" y="306"/>
                      <a:pt x="617" y="306"/>
                    </a:cubicBezTo>
                    <a:cubicBezTo>
                      <a:pt x="619" y="306"/>
                      <a:pt x="619" y="306"/>
                      <a:pt x="619" y="306"/>
                    </a:cubicBezTo>
                    <a:cubicBezTo>
                      <a:pt x="620" y="307"/>
                      <a:pt x="620" y="307"/>
                      <a:pt x="620" y="307"/>
                    </a:cubicBezTo>
                    <a:cubicBezTo>
                      <a:pt x="621" y="307"/>
                      <a:pt x="621" y="307"/>
                      <a:pt x="621" y="307"/>
                    </a:cubicBezTo>
                    <a:cubicBezTo>
                      <a:pt x="620" y="305"/>
                      <a:pt x="620" y="305"/>
                      <a:pt x="620" y="305"/>
                    </a:cubicBezTo>
                    <a:cubicBezTo>
                      <a:pt x="619" y="305"/>
                      <a:pt x="619" y="305"/>
                      <a:pt x="619" y="305"/>
                    </a:cubicBezTo>
                    <a:cubicBezTo>
                      <a:pt x="618" y="304"/>
                      <a:pt x="618" y="304"/>
                      <a:pt x="618" y="304"/>
                    </a:cubicBezTo>
                    <a:cubicBezTo>
                      <a:pt x="615" y="301"/>
                      <a:pt x="615" y="301"/>
                      <a:pt x="615" y="301"/>
                    </a:cubicBezTo>
                    <a:cubicBezTo>
                      <a:pt x="614" y="300"/>
                      <a:pt x="614" y="300"/>
                      <a:pt x="614" y="300"/>
                    </a:cubicBezTo>
                    <a:cubicBezTo>
                      <a:pt x="613" y="299"/>
                      <a:pt x="613" y="299"/>
                      <a:pt x="613" y="299"/>
                    </a:cubicBezTo>
                    <a:cubicBezTo>
                      <a:pt x="615" y="296"/>
                      <a:pt x="615" y="296"/>
                      <a:pt x="615" y="296"/>
                    </a:cubicBezTo>
                    <a:cubicBezTo>
                      <a:pt x="617" y="296"/>
                      <a:pt x="617" y="296"/>
                      <a:pt x="617" y="296"/>
                    </a:cubicBezTo>
                    <a:cubicBezTo>
                      <a:pt x="619" y="294"/>
                      <a:pt x="619" y="294"/>
                      <a:pt x="619" y="294"/>
                    </a:cubicBezTo>
                    <a:cubicBezTo>
                      <a:pt x="622" y="294"/>
                      <a:pt x="622" y="294"/>
                      <a:pt x="622" y="294"/>
                    </a:cubicBezTo>
                    <a:cubicBezTo>
                      <a:pt x="624" y="294"/>
                      <a:pt x="624" y="294"/>
                      <a:pt x="624" y="294"/>
                    </a:cubicBezTo>
                    <a:cubicBezTo>
                      <a:pt x="625" y="295"/>
                      <a:pt x="625" y="295"/>
                      <a:pt x="625" y="295"/>
                    </a:cubicBezTo>
                    <a:cubicBezTo>
                      <a:pt x="626" y="295"/>
                      <a:pt x="626" y="295"/>
                      <a:pt x="626" y="295"/>
                    </a:cubicBezTo>
                    <a:cubicBezTo>
                      <a:pt x="629" y="296"/>
                      <a:pt x="629" y="296"/>
                      <a:pt x="629" y="296"/>
                    </a:cubicBezTo>
                    <a:cubicBezTo>
                      <a:pt x="629" y="297"/>
                      <a:pt x="629" y="297"/>
                      <a:pt x="629" y="297"/>
                    </a:cubicBezTo>
                    <a:cubicBezTo>
                      <a:pt x="630" y="299"/>
                      <a:pt x="630" y="299"/>
                      <a:pt x="630" y="299"/>
                    </a:cubicBezTo>
                    <a:cubicBezTo>
                      <a:pt x="631" y="299"/>
                      <a:pt x="631" y="299"/>
                      <a:pt x="631" y="299"/>
                    </a:cubicBezTo>
                    <a:cubicBezTo>
                      <a:pt x="632" y="301"/>
                      <a:pt x="632" y="301"/>
                      <a:pt x="632" y="301"/>
                    </a:cubicBezTo>
                    <a:cubicBezTo>
                      <a:pt x="633" y="301"/>
                      <a:pt x="633" y="301"/>
                      <a:pt x="633" y="301"/>
                    </a:cubicBezTo>
                    <a:cubicBezTo>
                      <a:pt x="633" y="300"/>
                      <a:pt x="633" y="300"/>
                      <a:pt x="633" y="300"/>
                    </a:cubicBezTo>
                    <a:cubicBezTo>
                      <a:pt x="635" y="300"/>
                      <a:pt x="635" y="300"/>
                      <a:pt x="635" y="300"/>
                    </a:cubicBezTo>
                    <a:cubicBezTo>
                      <a:pt x="635" y="302"/>
                      <a:pt x="635" y="302"/>
                      <a:pt x="635" y="302"/>
                    </a:cubicBezTo>
                    <a:cubicBezTo>
                      <a:pt x="637" y="303"/>
                      <a:pt x="637" y="303"/>
                      <a:pt x="637" y="303"/>
                    </a:cubicBezTo>
                    <a:cubicBezTo>
                      <a:pt x="637" y="304"/>
                      <a:pt x="637" y="304"/>
                      <a:pt x="637" y="304"/>
                    </a:cubicBezTo>
                    <a:cubicBezTo>
                      <a:pt x="637" y="306"/>
                      <a:pt x="637" y="306"/>
                      <a:pt x="637" y="306"/>
                    </a:cubicBezTo>
                    <a:cubicBezTo>
                      <a:pt x="638" y="307"/>
                      <a:pt x="638" y="307"/>
                      <a:pt x="638" y="307"/>
                    </a:cubicBezTo>
                    <a:cubicBezTo>
                      <a:pt x="638" y="308"/>
                      <a:pt x="638" y="308"/>
                      <a:pt x="638" y="308"/>
                    </a:cubicBezTo>
                    <a:cubicBezTo>
                      <a:pt x="636" y="310"/>
                      <a:pt x="636" y="310"/>
                      <a:pt x="636" y="310"/>
                    </a:cubicBezTo>
                    <a:cubicBezTo>
                      <a:pt x="635" y="310"/>
                      <a:pt x="635" y="310"/>
                      <a:pt x="635" y="310"/>
                    </a:cubicBezTo>
                    <a:cubicBezTo>
                      <a:pt x="633" y="309"/>
                      <a:pt x="633" y="309"/>
                      <a:pt x="633" y="309"/>
                    </a:cubicBezTo>
                    <a:cubicBezTo>
                      <a:pt x="630" y="310"/>
                      <a:pt x="630" y="310"/>
                      <a:pt x="630" y="310"/>
                    </a:cubicBezTo>
                    <a:cubicBezTo>
                      <a:pt x="627" y="313"/>
                      <a:pt x="627" y="313"/>
                      <a:pt x="627" y="313"/>
                    </a:cubicBezTo>
                    <a:cubicBezTo>
                      <a:pt x="631" y="310"/>
                      <a:pt x="631" y="310"/>
                      <a:pt x="631" y="310"/>
                    </a:cubicBezTo>
                    <a:cubicBezTo>
                      <a:pt x="634" y="310"/>
                      <a:pt x="634" y="310"/>
                      <a:pt x="634" y="310"/>
                    </a:cubicBezTo>
                    <a:cubicBezTo>
                      <a:pt x="634" y="311"/>
                      <a:pt x="634" y="311"/>
                      <a:pt x="634" y="311"/>
                    </a:cubicBezTo>
                    <a:cubicBezTo>
                      <a:pt x="633" y="313"/>
                      <a:pt x="633" y="313"/>
                      <a:pt x="633" y="313"/>
                    </a:cubicBezTo>
                    <a:cubicBezTo>
                      <a:pt x="631" y="314"/>
                      <a:pt x="631" y="314"/>
                      <a:pt x="631" y="314"/>
                    </a:cubicBezTo>
                    <a:cubicBezTo>
                      <a:pt x="629" y="317"/>
                      <a:pt x="629" y="317"/>
                      <a:pt x="629" y="317"/>
                    </a:cubicBezTo>
                    <a:cubicBezTo>
                      <a:pt x="627" y="318"/>
                      <a:pt x="627" y="318"/>
                      <a:pt x="627" y="318"/>
                    </a:cubicBezTo>
                    <a:cubicBezTo>
                      <a:pt x="626" y="319"/>
                      <a:pt x="626" y="319"/>
                      <a:pt x="626" y="319"/>
                    </a:cubicBezTo>
                    <a:cubicBezTo>
                      <a:pt x="626" y="320"/>
                      <a:pt x="626" y="320"/>
                      <a:pt x="626" y="320"/>
                    </a:cubicBezTo>
                    <a:cubicBezTo>
                      <a:pt x="627" y="320"/>
                      <a:pt x="627" y="320"/>
                      <a:pt x="627" y="320"/>
                    </a:cubicBezTo>
                    <a:cubicBezTo>
                      <a:pt x="630" y="316"/>
                      <a:pt x="630" y="316"/>
                      <a:pt x="630" y="316"/>
                    </a:cubicBezTo>
                    <a:cubicBezTo>
                      <a:pt x="632" y="314"/>
                      <a:pt x="632" y="314"/>
                      <a:pt x="632" y="314"/>
                    </a:cubicBezTo>
                    <a:cubicBezTo>
                      <a:pt x="634" y="313"/>
                      <a:pt x="634" y="313"/>
                      <a:pt x="634" y="313"/>
                    </a:cubicBezTo>
                    <a:cubicBezTo>
                      <a:pt x="636" y="311"/>
                      <a:pt x="636" y="311"/>
                      <a:pt x="636" y="311"/>
                    </a:cubicBezTo>
                    <a:cubicBezTo>
                      <a:pt x="638" y="312"/>
                      <a:pt x="638" y="312"/>
                      <a:pt x="638" y="312"/>
                    </a:cubicBezTo>
                    <a:cubicBezTo>
                      <a:pt x="639" y="313"/>
                      <a:pt x="639" y="313"/>
                      <a:pt x="639" y="313"/>
                    </a:cubicBezTo>
                    <a:cubicBezTo>
                      <a:pt x="641" y="313"/>
                      <a:pt x="641" y="313"/>
                      <a:pt x="641" y="313"/>
                    </a:cubicBezTo>
                    <a:cubicBezTo>
                      <a:pt x="641" y="314"/>
                      <a:pt x="641" y="314"/>
                      <a:pt x="641" y="314"/>
                    </a:cubicBezTo>
                    <a:cubicBezTo>
                      <a:pt x="640" y="316"/>
                      <a:pt x="640" y="316"/>
                      <a:pt x="640" y="316"/>
                    </a:cubicBezTo>
                    <a:cubicBezTo>
                      <a:pt x="640" y="317"/>
                      <a:pt x="640" y="317"/>
                      <a:pt x="640" y="317"/>
                    </a:cubicBezTo>
                    <a:cubicBezTo>
                      <a:pt x="638" y="318"/>
                      <a:pt x="638" y="318"/>
                      <a:pt x="638" y="318"/>
                    </a:cubicBezTo>
                    <a:cubicBezTo>
                      <a:pt x="637" y="320"/>
                      <a:pt x="637" y="320"/>
                      <a:pt x="637" y="320"/>
                    </a:cubicBezTo>
                    <a:cubicBezTo>
                      <a:pt x="635" y="320"/>
                      <a:pt x="635" y="320"/>
                      <a:pt x="635" y="320"/>
                    </a:cubicBezTo>
                    <a:cubicBezTo>
                      <a:pt x="634" y="319"/>
                      <a:pt x="634" y="319"/>
                      <a:pt x="634" y="319"/>
                    </a:cubicBezTo>
                    <a:cubicBezTo>
                      <a:pt x="632" y="319"/>
                      <a:pt x="632" y="319"/>
                      <a:pt x="632" y="319"/>
                    </a:cubicBezTo>
                    <a:cubicBezTo>
                      <a:pt x="631" y="321"/>
                      <a:pt x="631" y="321"/>
                      <a:pt x="631" y="321"/>
                    </a:cubicBezTo>
                    <a:cubicBezTo>
                      <a:pt x="633" y="321"/>
                      <a:pt x="633" y="321"/>
                      <a:pt x="633" y="321"/>
                    </a:cubicBezTo>
                    <a:cubicBezTo>
                      <a:pt x="634" y="322"/>
                      <a:pt x="634" y="322"/>
                      <a:pt x="634" y="322"/>
                    </a:cubicBezTo>
                    <a:cubicBezTo>
                      <a:pt x="630" y="324"/>
                      <a:pt x="630" y="324"/>
                      <a:pt x="630" y="324"/>
                    </a:cubicBezTo>
                    <a:cubicBezTo>
                      <a:pt x="632" y="324"/>
                      <a:pt x="632" y="324"/>
                      <a:pt x="632" y="324"/>
                    </a:cubicBezTo>
                    <a:cubicBezTo>
                      <a:pt x="633" y="323"/>
                      <a:pt x="633" y="323"/>
                      <a:pt x="633" y="323"/>
                    </a:cubicBezTo>
                    <a:cubicBezTo>
                      <a:pt x="635" y="322"/>
                      <a:pt x="635" y="322"/>
                      <a:pt x="635" y="322"/>
                    </a:cubicBezTo>
                    <a:cubicBezTo>
                      <a:pt x="636" y="321"/>
                      <a:pt x="636" y="321"/>
                      <a:pt x="636" y="321"/>
                    </a:cubicBezTo>
                    <a:cubicBezTo>
                      <a:pt x="636" y="322"/>
                      <a:pt x="636" y="322"/>
                      <a:pt x="636" y="322"/>
                    </a:cubicBezTo>
                    <a:cubicBezTo>
                      <a:pt x="635" y="323"/>
                      <a:pt x="635" y="323"/>
                      <a:pt x="635" y="323"/>
                    </a:cubicBezTo>
                    <a:cubicBezTo>
                      <a:pt x="633" y="324"/>
                      <a:pt x="633" y="324"/>
                      <a:pt x="633" y="324"/>
                    </a:cubicBezTo>
                    <a:cubicBezTo>
                      <a:pt x="632" y="325"/>
                      <a:pt x="632" y="325"/>
                      <a:pt x="632" y="325"/>
                    </a:cubicBezTo>
                    <a:cubicBezTo>
                      <a:pt x="633" y="325"/>
                      <a:pt x="633" y="325"/>
                      <a:pt x="633" y="325"/>
                    </a:cubicBezTo>
                    <a:cubicBezTo>
                      <a:pt x="633" y="326"/>
                      <a:pt x="633" y="326"/>
                      <a:pt x="633" y="326"/>
                    </a:cubicBezTo>
                    <a:cubicBezTo>
                      <a:pt x="632" y="327"/>
                      <a:pt x="632" y="327"/>
                      <a:pt x="632" y="327"/>
                    </a:cubicBezTo>
                    <a:cubicBezTo>
                      <a:pt x="630" y="329"/>
                      <a:pt x="630" y="329"/>
                      <a:pt x="630" y="329"/>
                    </a:cubicBezTo>
                    <a:cubicBezTo>
                      <a:pt x="629" y="330"/>
                      <a:pt x="629" y="330"/>
                      <a:pt x="629" y="330"/>
                    </a:cubicBezTo>
                    <a:cubicBezTo>
                      <a:pt x="630" y="331"/>
                      <a:pt x="630" y="331"/>
                      <a:pt x="630" y="331"/>
                    </a:cubicBezTo>
                    <a:cubicBezTo>
                      <a:pt x="633" y="329"/>
                      <a:pt x="633" y="329"/>
                      <a:pt x="633" y="329"/>
                    </a:cubicBezTo>
                    <a:cubicBezTo>
                      <a:pt x="634" y="326"/>
                      <a:pt x="634" y="326"/>
                      <a:pt x="634" y="326"/>
                    </a:cubicBezTo>
                    <a:cubicBezTo>
                      <a:pt x="635" y="324"/>
                      <a:pt x="635" y="324"/>
                      <a:pt x="635" y="324"/>
                    </a:cubicBezTo>
                    <a:cubicBezTo>
                      <a:pt x="638" y="322"/>
                      <a:pt x="638" y="322"/>
                      <a:pt x="638" y="322"/>
                    </a:cubicBezTo>
                    <a:cubicBezTo>
                      <a:pt x="639" y="323"/>
                      <a:pt x="639" y="323"/>
                      <a:pt x="639" y="323"/>
                    </a:cubicBezTo>
                    <a:cubicBezTo>
                      <a:pt x="639" y="324"/>
                      <a:pt x="639" y="324"/>
                      <a:pt x="639" y="324"/>
                    </a:cubicBezTo>
                    <a:cubicBezTo>
                      <a:pt x="640" y="323"/>
                      <a:pt x="640" y="323"/>
                      <a:pt x="640" y="323"/>
                    </a:cubicBezTo>
                    <a:cubicBezTo>
                      <a:pt x="641" y="322"/>
                      <a:pt x="641" y="322"/>
                      <a:pt x="641" y="322"/>
                    </a:cubicBezTo>
                    <a:cubicBezTo>
                      <a:pt x="643" y="320"/>
                      <a:pt x="643" y="320"/>
                      <a:pt x="643" y="320"/>
                    </a:cubicBezTo>
                    <a:cubicBezTo>
                      <a:pt x="644" y="320"/>
                      <a:pt x="644" y="320"/>
                      <a:pt x="644" y="320"/>
                    </a:cubicBezTo>
                    <a:cubicBezTo>
                      <a:pt x="644" y="322"/>
                      <a:pt x="644" y="322"/>
                      <a:pt x="644" y="322"/>
                    </a:cubicBezTo>
                    <a:cubicBezTo>
                      <a:pt x="641" y="324"/>
                      <a:pt x="641" y="324"/>
                      <a:pt x="641" y="324"/>
                    </a:cubicBezTo>
                    <a:cubicBezTo>
                      <a:pt x="638" y="326"/>
                      <a:pt x="638" y="326"/>
                      <a:pt x="638" y="326"/>
                    </a:cubicBezTo>
                    <a:cubicBezTo>
                      <a:pt x="637" y="327"/>
                      <a:pt x="637" y="327"/>
                      <a:pt x="637" y="327"/>
                    </a:cubicBezTo>
                    <a:cubicBezTo>
                      <a:pt x="637" y="328"/>
                      <a:pt x="637" y="328"/>
                      <a:pt x="637" y="328"/>
                    </a:cubicBezTo>
                    <a:cubicBezTo>
                      <a:pt x="637" y="328"/>
                      <a:pt x="637" y="328"/>
                      <a:pt x="637" y="328"/>
                    </a:cubicBezTo>
                    <a:cubicBezTo>
                      <a:pt x="636" y="330"/>
                      <a:pt x="636" y="330"/>
                      <a:pt x="636" y="330"/>
                    </a:cubicBezTo>
                    <a:cubicBezTo>
                      <a:pt x="636" y="332"/>
                      <a:pt x="636" y="332"/>
                      <a:pt x="636" y="332"/>
                    </a:cubicBezTo>
                    <a:cubicBezTo>
                      <a:pt x="637" y="332"/>
                      <a:pt x="637" y="332"/>
                      <a:pt x="637" y="332"/>
                    </a:cubicBezTo>
                    <a:cubicBezTo>
                      <a:pt x="638" y="330"/>
                      <a:pt x="638" y="330"/>
                      <a:pt x="638" y="330"/>
                    </a:cubicBezTo>
                    <a:cubicBezTo>
                      <a:pt x="638" y="328"/>
                      <a:pt x="638" y="328"/>
                      <a:pt x="638" y="328"/>
                    </a:cubicBezTo>
                    <a:cubicBezTo>
                      <a:pt x="641" y="326"/>
                      <a:pt x="641" y="326"/>
                      <a:pt x="641" y="326"/>
                    </a:cubicBezTo>
                    <a:cubicBezTo>
                      <a:pt x="643" y="325"/>
                      <a:pt x="643" y="325"/>
                      <a:pt x="643" y="325"/>
                    </a:cubicBezTo>
                    <a:cubicBezTo>
                      <a:pt x="643" y="326"/>
                      <a:pt x="643" y="326"/>
                      <a:pt x="643" y="326"/>
                    </a:cubicBezTo>
                    <a:cubicBezTo>
                      <a:pt x="643" y="327"/>
                      <a:pt x="643" y="327"/>
                      <a:pt x="643" y="327"/>
                    </a:cubicBezTo>
                    <a:cubicBezTo>
                      <a:pt x="642" y="329"/>
                      <a:pt x="642" y="329"/>
                      <a:pt x="642" y="329"/>
                    </a:cubicBezTo>
                    <a:cubicBezTo>
                      <a:pt x="640" y="331"/>
                      <a:pt x="640" y="331"/>
                      <a:pt x="640" y="331"/>
                    </a:cubicBezTo>
                    <a:cubicBezTo>
                      <a:pt x="639" y="332"/>
                      <a:pt x="639" y="332"/>
                      <a:pt x="639" y="332"/>
                    </a:cubicBezTo>
                    <a:cubicBezTo>
                      <a:pt x="638" y="335"/>
                      <a:pt x="638" y="335"/>
                      <a:pt x="638" y="335"/>
                    </a:cubicBezTo>
                    <a:cubicBezTo>
                      <a:pt x="637" y="336"/>
                      <a:pt x="637" y="336"/>
                      <a:pt x="637" y="336"/>
                    </a:cubicBezTo>
                    <a:cubicBezTo>
                      <a:pt x="637" y="336"/>
                      <a:pt x="637" y="336"/>
                      <a:pt x="637" y="336"/>
                    </a:cubicBezTo>
                    <a:cubicBezTo>
                      <a:pt x="639" y="336"/>
                      <a:pt x="639" y="336"/>
                      <a:pt x="639" y="336"/>
                    </a:cubicBezTo>
                    <a:cubicBezTo>
                      <a:pt x="639" y="334"/>
                      <a:pt x="639" y="334"/>
                      <a:pt x="639" y="334"/>
                    </a:cubicBezTo>
                    <a:cubicBezTo>
                      <a:pt x="642" y="331"/>
                      <a:pt x="642" y="331"/>
                      <a:pt x="642" y="331"/>
                    </a:cubicBezTo>
                    <a:cubicBezTo>
                      <a:pt x="643" y="330"/>
                      <a:pt x="643" y="330"/>
                      <a:pt x="643" y="330"/>
                    </a:cubicBezTo>
                    <a:cubicBezTo>
                      <a:pt x="644" y="331"/>
                      <a:pt x="644" y="331"/>
                      <a:pt x="644" y="331"/>
                    </a:cubicBezTo>
                    <a:cubicBezTo>
                      <a:pt x="645" y="332"/>
                      <a:pt x="645" y="332"/>
                      <a:pt x="645" y="332"/>
                    </a:cubicBezTo>
                    <a:cubicBezTo>
                      <a:pt x="645" y="333"/>
                      <a:pt x="645" y="333"/>
                      <a:pt x="645" y="333"/>
                    </a:cubicBezTo>
                    <a:cubicBezTo>
                      <a:pt x="643" y="333"/>
                      <a:pt x="643" y="333"/>
                      <a:pt x="643" y="333"/>
                    </a:cubicBezTo>
                    <a:cubicBezTo>
                      <a:pt x="642" y="336"/>
                      <a:pt x="642" y="336"/>
                      <a:pt x="642" y="336"/>
                    </a:cubicBezTo>
                    <a:cubicBezTo>
                      <a:pt x="641" y="338"/>
                      <a:pt x="641" y="338"/>
                      <a:pt x="641" y="338"/>
                    </a:cubicBezTo>
                    <a:cubicBezTo>
                      <a:pt x="642" y="339"/>
                      <a:pt x="642" y="339"/>
                      <a:pt x="642" y="339"/>
                    </a:cubicBezTo>
                    <a:cubicBezTo>
                      <a:pt x="643" y="337"/>
                      <a:pt x="643" y="337"/>
                      <a:pt x="643" y="337"/>
                    </a:cubicBezTo>
                    <a:cubicBezTo>
                      <a:pt x="643" y="336"/>
                      <a:pt x="643" y="336"/>
                      <a:pt x="643" y="336"/>
                    </a:cubicBezTo>
                    <a:cubicBezTo>
                      <a:pt x="644" y="334"/>
                      <a:pt x="644" y="334"/>
                      <a:pt x="644" y="334"/>
                    </a:cubicBezTo>
                    <a:cubicBezTo>
                      <a:pt x="646" y="333"/>
                      <a:pt x="646" y="333"/>
                      <a:pt x="646" y="333"/>
                    </a:cubicBezTo>
                    <a:cubicBezTo>
                      <a:pt x="646" y="331"/>
                      <a:pt x="646" y="331"/>
                      <a:pt x="646" y="331"/>
                    </a:cubicBezTo>
                    <a:cubicBezTo>
                      <a:pt x="647" y="330"/>
                      <a:pt x="647" y="330"/>
                      <a:pt x="647" y="330"/>
                    </a:cubicBezTo>
                    <a:cubicBezTo>
                      <a:pt x="648" y="329"/>
                      <a:pt x="648" y="329"/>
                      <a:pt x="648" y="329"/>
                    </a:cubicBezTo>
                    <a:cubicBezTo>
                      <a:pt x="649" y="327"/>
                      <a:pt x="649" y="327"/>
                      <a:pt x="649" y="327"/>
                    </a:cubicBezTo>
                    <a:cubicBezTo>
                      <a:pt x="649" y="326"/>
                      <a:pt x="649" y="326"/>
                      <a:pt x="649" y="326"/>
                    </a:cubicBezTo>
                    <a:cubicBezTo>
                      <a:pt x="650" y="326"/>
                      <a:pt x="650" y="326"/>
                      <a:pt x="650" y="326"/>
                    </a:cubicBezTo>
                    <a:cubicBezTo>
                      <a:pt x="651" y="325"/>
                      <a:pt x="651" y="325"/>
                      <a:pt x="651" y="325"/>
                    </a:cubicBezTo>
                    <a:cubicBezTo>
                      <a:pt x="651" y="323"/>
                      <a:pt x="651" y="323"/>
                      <a:pt x="651" y="323"/>
                    </a:cubicBezTo>
                    <a:cubicBezTo>
                      <a:pt x="652" y="323"/>
                      <a:pt x="652" y="323"/>
                      <a:pt x="652" y="323"/>
                    </a:cubicBezTo>
                    <a:cubicBezTo>
                      <a:pt x="653" y="326"/>
                      <a:pt x="653" y="326"/>
                      <a:pt x="653" y="326"/>
                    </a:cubicBezTo>
                    <a:cubicBezTo>
                      <a:pt x="655" y="327"/>
                      <a:pt x="655" y="327"/>
                      <a:pt x="655" y="327"/>
                    </a:cubicBezTo>
                    <a:cubicBezTo>
                      <a:pt x="656" y="328"/>
                      <a:pt x="656" y="328"/>
                      <a:pt x="656" y="328"/>
                    </a:cubicBezTo>
                    <a:cubicBezTo>
                      <a:pt x="657" y="330"/>
                      <a:pt x="657" y="330"/>
                      <a:pt x="657" y="330"/>
                    </a:cubicBezTo>
                    <a:cubicBezTo>
                      <a:pt x="657" y="332"/>
                      <a:pt x="657" y="332"/>
                      <a:pt x="657" y="332"/>
                    </a:cubicBezTo>
                    <a:cubicBezTo>
                      <a:pt x="659" y="334"/>
                      <a:pt x="659" y="334"/>
                      <a:pt x="659" y="334"/>
                    </a:cubicBezTo>
                    <a:cubicBezTo>
                      <a:pt x="659" y="335"/>
                      <a:pt x="659" y="335"/>
                      <a:pt x="659" y="335"/>
                    </a:cubicBezTo>
                    <a:cubicBezTo>
                      <a:pt x="658" y="336"/>
                      <a:pt x="658" y="336"/>
                      <a:pt x="658" y="336"/>
                    </a:cubicBezTo>
                    <a:cubicBezTo>
                      <a:pt x="656" y="339"/>
                      <a:pt x="656" y="339"/>
                      <a:pt x="656" y="339"/>
                    </a:cubicBezTo>
                    <a:cubicBezTo>
                      <a:pt x="655" y="339"/>
                      <a:pt x="655" y="339"/>
                      <a:pt x="655" y="339"/>
                    </a:cubicBezTo>
                    <a:cubicBezTo>
                      <a:pt x="654" y="338"/>
                      <a:pt x="654" y="338"/>
                      <a:pt x="654" y="338"/>
                    </a:cubicBezTo>
                    <a:cubicBezTo>
                      <a:pt x="652" y="336"/>
                      <a:pt x="652" y="336"/>
                      <a:pt x="652" y="336"/>
                    </a:cubicBezTo>
                    <a:cubicBezTo>
                      <a:pt x="651" y="336"/>
                      <a:pt x="651" y="336"/>
                      <a:pt x="651" y="336"/>
                    </a:cubicBezTo>
                    <a:cubicBezTo>
                      <a:pt x="650" y="337"/>
                      <a:pt x="650" y="337"/>
                      <a:pt x="650" y="337"/>
                    </a:cubicBezTo>
                    <a:cubicBezTo>
                      <a:pt x="649" y="337"/>
                      <a:pt x="649" y="337"/>
                      <a:pt x="649" y="337"/>
                    </a:cubicBezTo>
                    <a:cubicBezTo>
                      <a:pt x="648" y="339"/>
                      <a:pt x="648" y="339"/>
                      <a:pt x="648" y="339"/>
                    </a:cubicBezTo>
                    <a:cubicBezTo>
                      <a:pt x="647" y="340"/>
                      <a:pt x="647" y="340"/>
                      <a:pt x="647" y="340"/>
                    </a:cubicBezTo>
                    <a:cubicBezTo>
                      <a:pt x="646" y="340"/>
                      <a:pt x="646" y="340"/>
                      <a:pt x="646" y="340"/>
                    </a:cubicBezTo>
                    <a:cubicBezTo>
                      <a:pt x="645" y="341"/>
                      <a:pt x="645" y="341"/>
                      <a:pt x="645" y="341"/>
                    </a:cubicBezTo>
                    <a:cubicBezTo>
                      <a:pt x="647" y="341"/>
                      <a:pt x="647" y="341"/>
                      <a:pt x="647" y="341"/>
                    </a:cubicBezTo>
                    <a:cubicBezTo>
                      <a:pt x="648" y="341"/>
                      <a:pt x="648" y="341"/>
                      <a:pt x="648" y="341"/>
                    </a:cubicBezTo>
                    <a:cubicBezTo>
                      <a:pt x="648" y="342"/>
                      <a:pt x="648" y="342"/>
                      <a:pt x="648" y="342"/>
                    </a:cubicBezTo>
                    <a:cubicBezTo>
                      <a:pt x="647" y="344"/>
                      <a:pt x="647" y="344"/>
                      <a:pt x="647" y="344"/>
                    </a:cubicBezTo>
                    <a:cubicBezTo>
                      <a:pt x="645" y="345"/>
                      <a:pt x="645" y="345"/>
                      <a:pt x="645" y="345"/>
                    </a:cubicBezTo>
                    <a:cubicBezTo>
                      <a:pt x="643" y="345"/>
                      <a:pt x="643" y="345"/>
                      <a:pt x="643" y="345"/>
                    </a:cubicBezTo>
                    <a:cubicBezTo>
                      <a:pt x="646" y="346"/>
                      <a:pt x="646" y="346"/>
                      <a:pt x="646" y="346"/>
                    </a:cubicBezTo>
                    <a:cubicBezTo>
                      <a:pt x="647" y="345"/>
                      <a:pt x="647" y="345"/>
                      <a:pt x="647" y="345"/>
                    </a:cubicBezTo>
                    <a:cubicBezTo>
                      <a:pt x="649" y="344"/>
                      <a:pt x="649" y="344"/>
                      <a:pt x="649" y="344"/>
                    </a:cubicBezTo>
                    <a:cubicBezTo>
                      <a:pt x="651" y="345"/>
                      <a:pt x="651" y="345"/>
                      <a:pt x="651" y="345"/>
                    </a:cubicBezTo>
                    <a:cubicBezTo>
                      <a:pt x="652" y="343"/>
                      <a:pt x="652" y="343"/>
                      <a:pt x="652" y="343"/>
                    </a:cubicBezTo>
                    <a:cubicBezTo>
                      <a:pt x="654" y="343"/>
                      <a:pt x="654" y="343"/>
                      <a:pt x="654" y="343"/>
                    </a:cubicBezTo>
                    <a:cubicBezTo>
                      <a:pt x="655" y="344"/>
                      <a:pt x="655" y="344"/>
                      <a:pt x="655" y="344"/>
                    </a:cubicBezTo>
                    <a:cubicBezTo>
                      <a:pt x="655" y="345"/>
                      <a:pt x="655" y="345"/>
                      <a:pt x="655" y="345"/>
                    </a:cubicBezTo>
                    <a:cubicBezTo>
                      <a:pt x="655" y="346"/>
                      <a:pt x="655" y="346"/>
                      <a:pt x="655" y="346"/>
                    </a:cubicBezTo>
                    <a:cubicBezTo>
                      <a:pt x="656" y="345"/>
                      <a:pt x="656" y="345"/>
                      <a:pt x="656" y="345"/>
                    </a:cubicBezTo>
                    <a:cubicBezTo>
                      <a:pt x="656" y="343"/>
                      <a:pt x="656" y="343"/>
                      <a:pt x="656" y="343"/>
                    </a:cubicBezTo>
                    <a:cubicBezTo>
                      <a:pt x="656" y="341"/>
                      <a:pt x="656" y="341"/>
                      <a:pt x="656" y="341"/>
                    </a:cubicBezTo>
                    <a:cubicBezTo>
                      <a:pt x="657" y="340"/>
                      <a:pt x="657" y="340"/>
                      <a:pt x="657" y="340"/>
                    </a:cubicBezTo>
                    <a:cubicBezTo>
                      <a:pt x="660" y="339"/>
                      <a:pt x="660" y="339"/>
                      <a:pt x="660" y="339"/>
                    </a:cubicBezTo>
                    <a:cubicBezTo>
                      <a:pt x="661" y="339"/>
                      <a:pt x="661" y="339"/>
                      <a:pt x="661" y="339"/>
                    </a:cubicBezTo>
                    <a:cubicBezTo>
                      <a:pt x="660" y="340"/>
                      <a:pt x="660" y="340"/>
                      <a:pt x="660" y="340"/>
                    </a:cubicBezTo>
                    <a:cubicBezTo>
                      <a:pt x="661" y="342"/>
                      <a:pt x="661" y="342"/>
                      <a:pt x="661" y="342"/>
                    </a:cubicBezTo>
                    <a:cubicBezTo>
                      <a:pt x="660" y="344"/>
                      <a:pt x="660" y="344"/>
                      <a:pt x="660" y="344"/>
                    </a:cubicBezTo>
                    <a:cubicBezTo>
                      <a:pt x="658" y="346"/>
                      <a:pt x="658" y="346"/>
                      <a:pt x="658" y="346"/>
                    </a:cubicBezTo>
                    <a:cubicBezTo>
                      <a:pt x="656" y="347"/>
                      <a:pt x="656" y="347"/>
                      <a:pt x="656" y="347"/>
                    </a:cubicBezTo>
                    <a:cubicBezTo>
                      <a:pt x="655" y="348"/>
                      <a:pt x="655" y="348"/>
                      <a:pt x="655" y="348"/>
                    </a:cubicBezTo>
                    <a:cubicBezTo>
                      <a:pt x="655" y="349"/>
                      <a:pt x="655" y="349"/>
                      <a:pt x="655" y="349"/>
                    </a:cubicBezTo>
                    <a:cubicBezTo>
                      <a:pt x="653" y="349"/>
                      <a:pt x="653" y="349"/>
                      <a:pt x="653" y="349"/>
                    </a:cubicBezTo>
                    <a:cubicBezTo>
                      <a:pt x="652" y="348"/>
                      <a:pt x="652" y="348"/>
                      <a:pt x="652" y="348"/>
                    </a:cubicBezTo>
                    <a:cubicBezTo>
                      <a:pt x="651" y="348"/>
                      <a:pt x="651" y="348"/>
                      <a:pt x="651" y="348"/>
                    </a:cubicBezTo>
                    <a:cubicBezTo>
                      <a:pt x="650" y="350"/>
                      <a:pt x="650" y="350"/>
                      <a:pt x="650" y="350"/>
                    </a:cubicBezTo>
                    <a:cubicBezTo>
                      <a:pt x="649" y="351"/>
                      <a:pt x="649" y="351"/>
                      <a:pt x="649" y="351"/>
                    </a:cubicBezTo>
                    <a:cubicBezTo>
                      <a:pt x="648" y="353"/>
                      <a:pt x="648" y="353"/>
                      <a:pt x="648" y="353"/>
                    </a:cubicBezTo>
                    <a:cubicBezTo>
                      <a:pt x="647" y="354"/>
                      <a:pt x="647" y="354"/>
                      <a:pt x="647" y="354"/>
                    </a:cubicBezTo>
                    <a:cubicBezTo>
                      <a:pt x="647" y="355"/>
                      <a:pt x="647" y="355"/>
                      <a:pt x="647" y="355"/>
                    </a:cubicBezTo>
                    <a:cubicBezTo>
                      <a:pt x="648" y="355"/>
                      <a:pt x="648" y="355"/>
                      <a:pt x="648" y="355"/>
                    </a:cubicBezTo>
                    <a:cubicBezTo>
                      <a:pt x="650" y="352"/>
                      <a:pt x="650" y="352"/>
                      <a:pt x="650" y="352"/>
                    </a:cubicBezTo>
                    <a:cubicBezTo>
                      <a:pt x="652" y="350"/>
                      <a:pt x="652" y="350"/>
                      <a:pt x="652" y="350"/>
                    </a:cubicBezTo>
                    <a:cubicBezTo>
                      <a:pt x="653" y="349"/>
                      <a:pt x="653" y="349"/>
                      <a:pt x="653" y="349"/>
                    </a:cubicBezTo>
                    <a:cubicBezTo>
                      <a:pt x="653" y="350"/>
                      <a:pt x="653" y="350"/>
                      <a:pt x="653" y="350"/>
                    </a:cubicBezTo>
                    <a:cubicBezTo>
                      <a:pt x="654" y="350"/>
                      <a:pt x="654" y="350"/>
                      <a:pt x="654" y="350"/>
                    </a:cubicBezTo>
                    <a:cubicBezTo>
                      <a:pt x="654" y="351"/>
                      <a:pt x="654" y="351"/>
                      <a:pt x="654" y="351"/>
                    </a:cubicBezTo>
                    <a:cubicBezTo>
                      <a:pt x="653" y="352"/>
                      <a:pt x="653" y="352"/>
                      <a:pt x="653" y="352"/>
                    </a:cubicBezTo>
                    <a:cubicBezTo>
                      <a:pt x="652" y="354"/>
                      <a:pt x="652" y="354"/>
                      <a:pt x="652" y="354"/>
                    </a:cubicBezTo>
                    <a:cubicBezTo>
                      <a:pt x="650" y="356"/>
                      <a:pt x="650" y="356"/>
                      <a:pt x="650" y="356"/>
                    </a:cubicBezTo>
                    <a:cubicBezTo>
                      <a:pt x="648" y="358"/>
                      <a:pt x="648" y="358"/>
                      <a:pt x="648" y="358"/>
                    </a:cubicBezTo>
                    <a:cubicBezTo>
                      <a:pt x="648" y="358"/>
                      <a:pt x="648" y="358"/>
                      <a:pt x="648" y="358"/>
                    </a:cubicBezTo>
                    <a:cubicBezTo>
                      <a:pt x="651" y="357"/>
                      <a:pt x="651" y="357"/>
                      <a:pt x="651" y="357"/>
                    </a:cubicBezTo>
                    <a:cubicBezTo>
                      <a:pt x="654" y="353"/>
                      <a:pt x="654" y="353"/>
                      <a:pt x="654" y="353"/>
                    </a:cubicBezTo>
                    <a:cubicBezTo>
                      <a:pt x="656" y="350"/>
                      <a:pt x="656" y="350"/>
                      <a:pt x="656" y="350"/>
                    </a:cubicBezTo>
                    <a:cubicBezTo>
                      <a:pt x="656" y="349"/>
                      <a:pt x="656" y="349"/>
                      <a:pt x="656" y="349"/>
                    </a:cubicBezTo>
                    <a:cubicBezTo>
                      <a:pt x="657" y="348"/>
                      <a:pt x="657" y="348"/>
                      <a:pt x="657" y="348"/>
                    </a:cubicBezTo>
                    <a:cubicBezTo>
                      <a:pt x="658" y="348"/>
                      <a:pt x="658" y="348"/>
                      <a:pt x="658" y="348"/>
                    </a:cubicBezTo>
                    <a:cubicBezTo>
                      <a:pt x="661" y="346"/>
                      <a:pt x="661" y="346"/>
                      <a:pt x="661" y="346"/>
                    </a:cubicBezTo>
                    <a:cubicBezTo>
                      <a:pt x="663" y="345"/>
                      <a:pt x="663" y="345"/>
                      <a:pt x="663" y="345"/>
                    </a:cubicBezTo>
                    <a:cubicBezTo>
                      <a:pt x="664" y="344"/>
                      <a:pt x="664" y="344"/>
                      <a:pt x="664" y="344"/>
                    </a:cubicBezTo>
                    <a:cubicBezTo>
                      <a:pt x="665" y="345"/>
                      <a:pt x="665" y="345"/>
                      <a:pt x="665" y="345"/>
                    </a:cubicBezTo>
                    <a:cubicBezTo>
                      <a:pt x="664" y="346"/>
                      <a:pt x="664" y="346"/>
                      <a:pt x="664" y="346"/>
                    </a:cubicBezTo>
                    <a:cubicBezTo>
                      <a:pt x="662" y="348"/>
                      <a:pt x="662" y="348"/>
                      <a:pt x="662" y="348"/>
                    </a:cubicBezTo>
                    <a:cubicBezTo>
                      <a:pt x="660" y="348"/>
                      <a:pt x="660" y="348"/>
                      <a:pt x="660" y="348"/>
                    </a:cubicBezTo>
                    <a:cubicBezTo>
                      <a:pt x="659" y="349"/>
                      <a:pt x="659" y="349"/>
                      <a:pt x="659" y="349"/>
                    </a:cubicBezTo>
                    <a:cubicBezTo>
                      <a:pt x="659" y="351"/>
                      <a:pt x="659" y="351"/>
                      <a:pt x="659" y="351"/>
                    </a:cubicBezTo>
                    <a:cubicBezTo>
                      <a:pt x="659" y="351"/>
                      <a:pt x="659" y="351"/>
                      <a:pt x="659" y="351"/>
                    </a:cubicBezTo>
                    <a:cubicBezTo>
                      <a:pt x="660" y="350"/>
                      <a:pt x="660" y="350"/>
                      <a:pt x="660" y="350"/>
                    </a:cubicBezTo>
                    <a:cubicBezTo>
                      <a:pt x="662" y="350"/>
                      <a:pt x="662" y="350"/>
                      <a:pt x="662" y="350"/>
                    </a:cubicBezTo>
                    <a:cubicBezTo>
                      <a:pt x="664" y="348"/>
                      <a:pt x="664" y="348"/>
                      <a:pt x="664" y="348"/>
                    </a:cubicBezTo>
                    <a:cubicBezTo>
                      <a:pt x="665" y="348"/>
                      <a:pt x="665" y="348"/>
                      <a:pt x="665" y="348"/>
                    </a:cubicBezTo>
                    <a:cubicBezTo>
                      <a:pt x="666" y="347"/>
                      <a:pt x="666" y="347"/>
                      <a:pt x="666" y="347"/>
                    </a:cubicBezTo>
                    <a:cubicBezTo>
                      <a:pt x="668" y="346"/>
                      <a:pt x="668" y="346"/>
                      <a:pt x="668" y="346"/>
                    </a:cubicBezTo>
                    <a:cubicBezTo>
                      <a:pt x="669" y="346"/>
                      <a:pt x="669" y="346"/>
                      <a:pt x="669" y="346"/>
                    </a:cubicBezTo>
                    <a:cubicBezTo>
                      <a:pt x="670" y="348"/>
                      <a:pt x="670" y="348"/>
                      <a:pt x="670" y="348"/>
                    </a:cubicBezTo>
                    <a:cubicBezTo>
                      <a:pt x="672" y="350"/>
                      <a:pt x="672" y="350"/>
                      <a:pt x="672" y="350"/>
                    </a:cubicBezTo>
                    <a:cubicBezTo>
                      <a:pt x="673" y="352"/>
                      <a:pt x="673" y="352"/>
                      <a:pt x="673" y="352"/>
                    </a:cubicBezTo>
                    <a:cubicBezTo>
                      <a:pt x="674" y="353"/>
                      <a:pt x="674" y="353"/>
                      <a:pt x="674" y="353"/>
                    </a:cubicBezTo>
                    <a:cubicBezTo>
                      <a:pt x="675" y="354"/>
                      <a:pt x="675" y="354"/>
                      <a:pt x="675" y="354"/>
                    </a:cubicBezTo>
                    <a:cubicBezTo>
                      <a:pt x="674" y="355"/>
                      <a:pt x="674" y="355"/>
                      <a:pt x="674" y="355"/>
                    </a:cubicBezTo>
                    <a:cubicBezTo>
                      <a:pt x="673" y="357"/>
                      <a:pt x="673" y="357"/>
                      <a:pt x="673" y="357"/>
                    </a:cubicBezTo>
                    <a:cubicBezTo>
                      <a:pt x="672" y="357"/>
                      <a:pt x="672" y="357"/>
                      <a:pt x="672" y="357"/>
                    </a:cubicBezTo>
                    <a:cubicBezTo>
                      <a:pt x="672" y="355"/>
                      <a:pt x="672" y="355"/>
                      <a:pt x="672" y="355"/>
                    </a:cubicBezTo>
                    <a:cubicBezTo>
                      <a:pt x="671" y="355"/>
                      <a:pt x="671" y="355"/>
                      <a:pt x="671" y="355"/>
                    </a:cubicBezTo>
                    <a:cubicBezTo>
                      <a:pt x="670" y="356"/>
                      <a:pt x="670" y="356"/>
                      <a:pt x="670" y="356"/>
                    </a:cubicBezTo>
                    <a:cubicBezTo>
                      <a:pt x="670" y="357"/>
                      <a:pt x="670" y="357"/>
                      <a:pt x="670" y="357"/>
                    </a:cubicBezTo>
                    <a:cubicBezTo>
                      <a:pt x="668" y="358"/>
                      <a:pt x="668" y="358"/>
                      <a:pt x="668" y="358"/>
                    </a:cubicBezTo>
                    <a:cubicBezTo>
                      <a:pt x="665" y="359"/>
                      <a:pt x="665" y="359"/>
                      <a:pt x="665" y="359"/>
                    </a:cubicBezTo>
                    <a:cubicBezTo>
                      <a:pt x="664" y="359"/>
                      <a:pt x="664" y="359"/>
                      <a:pt x="664" y="359"/>
                    </a:cubicBezTo>
                    <a:cubicBezTo>
                      <a:pt x="662" y="359"/>
                      <a:pt x="662" y="359"/>
                      <a:pt x="662" y="359"/>
                    </a:cubicBezTo>
                    <a:cubicBezTo>
                      <a:pt x="659" y="361"/>
                      <a:pt x="659" y="361"/>
                      <a:pt x="659" y="361"/>
                    </a:cubicBezTo>
                    <a:cubicBezTo>
                      <a:pt x="658" y="361"/>
                      <a:pt x="658" y="361"/>
                      <a:pt x="658" y="361"/>
                    </a:cubicBezTo>
                    <a:cubicBezTo>
                      <a:pt x="655" y="363"/>
                      <a:pt x="655" y="363"/>
                      <a:pt x="655" y="363"/>
                    </a:cubicBezTo>
                    <a:cubicBezTo>
                      <a:pt x="657" y="362"/>
                      <a:pt x="657" y="362"/>
                      <a:pt x="657" y="362"/>
                    </a:cubicBezTo>
                    <a:cubicBezTo>
                      <a:pt x="658" y="363"/>
                      <a:pt x="658" y="363"/>
                      <a:pt x="658" y="363"/>
                    </a:cubicBezTo>
                    <a:cubicBezTo>
                      <a:pt x="657" y="364"/>
                      <a:pt x="657" y="364"/>
                      <a:pt x="657" y="364"/>
                    </a:cubicBezTo>
                    <a:cubicBezTo>
                      <a:pt x="655" y="365"/>
                      <a:pt x="655" y="365"/>
                      <a:pt x="655" y="365"/>
                    </a:cubicBezTo>
                    <a:cubicBezTo>
                      <a:pt x="654" y="366"/>
                      <a:pt x="654" y="366"/>
                      <a:pt x="654" y="366"/>
                    </a:cubicBezTo>
                    <a:cubicBezTo>
                      <a:pt x="657" y="365"/>
                      <a:pt x="657" y="365"/>
                      <a:pt x="657" y="365"/>
                    </a:cubicBezTo>
                    <a:cubicBezTo>
                      <a:pt x="659" y="363"/>
                      <a:pt x="659" y="363"/>
                      <a:pt x="659" y="363"/>
                    </a:cubicBezTo>
                    <a:cubicBezTo>
                      <a:pt x="662" y="361"/>
                      <a:pt x="662" y="361"/>
                      <a:pt x="662" y="361"/>
                    </a:cubicBezTo>
                    <a:cubicBezTo>
                      <a:pt x="664" y="360"/>
                      <a:pt x="664" y="360"/>
                      <a:pt x="664" y="360"/>
                    </a:cubicBezTo>
                    <a:cubicBezTo>
                      <a:pt x="666" y="361"/>
                      <a:pt x="666" y="361"/>
                      <a:pt x="666" y="361"/>
                    </a:cubicBezTo>
                    <a:cubicBezTo>
                      <a:pt x="667" y="360"/>
                      <a:pt x="667" y="360"/>
                      <a:pt x="667" y="360"/>
                    </a:cubicBezTo>
                    <a:cubicBezTo>
                      <a:pt x="668" y="360"/>
                      <a:pt x="668" y="360"/>
                      <a:pt x="668" y="360"/>
                    </a:cubicBezTo>
                    <a:cubicBezTo>
                      <a:pt x="668" y="361"/>
                      <a:pt x="668" y="361"/>
                      <a:pt x="668" y="361"/>
                    </a:cubicBezTo>
                    <a:cubicBezTo>
                      <a:pt x="668" y="363"/>
                      <a:pt x="668" y="363"/>
                      <a:pt x="668" y="363"/>
                    </a:cubicBezTo>
                    <a:cubicBezTo>
                      <a:pt x="667" y="364"/>
                      <a:pt x="667" y="364"/>
                      <a:pt x="667" y="364"/>
                    </a:cubicBezTo>
                    <a:cubicBezTo>
                      <a:pt x="665" y="365"/>
                      <a:pt x="665" y="365"/>
                      <a:pt x="665" y="365"/>
                    </a:cubicBezTo>
                    <a:cubicBezTo>
                      <a:pt x="664" y="365"/>
                      <a:pt x="664" y="365"/>
                      <a:pt x="664" y="365"/>
                    </a:cubicBezTo>
                    <a:cubicBezTo>
                      <a:pt x="663" y="366"/>
                      <a:pt x="663" y="366"/>
                      <a:pt x="663" y="366"/>
                    </a:cubicBezTo>
                    <a:cubicBezTo>
                      <a:pt x="662" y="367"/>
                      <a:pt x="662" y="367"/>
                      <a:pt x="662" y="367"/>
                    </a:cubicBezTo>
                    <a:cubicBezTo>
                      <a:pt x="660" y="368"/>
                      <a:pt x="660" y="368"/>
                      <a:pt x="660" y="368"/>
                    </a:cubicBezTo>
                    <a:cubicBezTo>
                      <a:pt x="658" y="367"/>
                      <a:pt x="658" y="367"/>
                      <a:pt x="658" y="367"/>
                    </a:cubicBezTo>
                    <a:cubicBezTo>
                      <a:pt x="657" y="368"/>
                      <a:pt x="657" y="368"/>
                      <a:pt x="657" y="368"/>
                    </a:cubicBezTo>
                    <a:cubicBezTo>
                      <a:pt x="656" y="369"/>
                      <a:pt x="656" y="369"/>
                      <a:pt x="656" y="369"/>
                    </a:cubicBezTo>
                    <a:cubicBezTo>
                      <a:pt x="657" y="369"/>
                      <a:pt x="657" y="369"/>
                      <a:pt x="657" y="369"/>
                    </a:cubicBezTo>
                    <a:cubicBezTo>
                      <a:pt x="658" y="369"/>
                      <a:pt x="658" y="369"/>
                      <a:pt x="658" y="369"/>
                    </a:cubicBezTo>
                    <a:cubicBezTo>
                      <a:pt x="660" y="369"/>
                      <a:pt x="660" y="369"/>
                      <a:pt x="660" y="369"/>
                    </a:cubicBezTo>
                    <a:cubicBezTo>
                      <a:pt x="661" y="369"/>
                      <a:pt x="661" y="369"/>
                      <a:pt x="661" y="369"/>
                    </a:cubicBezTo>
                    <a:cubicBezTo>
                      <a:pt x="663" y="368"/>
                      <a:pt x="663" y="368"/>
                      <a:pt x="663" y="368"/>
                    </a:cubicBezTo>
                    <a:cubicBezTo>
                      <a:pt x="664" y="366"/>
                      <a:pt x="664" y="366"/>
                      <a:pt x="664" y="366"/>
                    </a:cubicBezTo>
                    <a:cubicBezTo>
                      <a:pt x="666" y="366"/>
                      <a:pt x="666" y="366"/>
                      <a:pt x="666" y="366"/>
                    </a:cubicBezTo>
                    <a:cubicBezTo>
                      <a:pt x="667" y="366"/>
                      <a:pt x="667" y="366"/>
                      <a:pt x="667" y="366"/>
                    </a:cubicBezTo>
                    <a:cubicBezTo>
                      <a:pt x="668" y="366"/>
                      <a:pt x="668" y="366"/>
                      <a:pt x="668" y="366"/>
                    </a:cubicBezTo>
                    <a:cubicBezTo>
                      <a:pt x="670" y="365"/>
                      <a:pt x="670" y="365"/>
                      <a:pt x="670" y="365"/>
                    </a:cubicBezTo>
                    <a:cubicBezTo>
                      <a:pt x="672" y="364"/>
                      <a:pt x="672" y="364"/>
                      <a:pt x="672" y="364"/>
                    </a:cubicBezTo>
                    <a:cubicBezTo>
                      <a:pt x="672" y="363"/>
                      <a:pt x="672" y="363"/>
                      <a:pt x="672" y="363"/>
                    </a:cubicBezTo>
                    <a:cubicBezTo>
                      <a:pt x="672" y="362"/>
                      <a:pt x="672" y="362"/>
                      <a:pt x="672" y="362"/>
                    </a:cubicBezTo>
                    <a:cubicBezTo>
                      <a:pt x="672" y="362"/>
                      <a:pt x="672" y="362"/>
                      <a:pt x="672" y="362"/>
                    </a:cubicBezTo>
                    <a:cubicBezTo>
                      <a:pt x="673" y="360"/>
                      <a:pt x="673" y="360"/>
                      <a:pt x="673" y="360"/>
                    </a:cubicBezTo>
                    <a:cubicBezTo>
                      <a:pt x="673" y="359"/>
                      <a:pt x="673" y="359"/>
                      <a:pt x="673" y="359"/>
                    </a:cubicBezTo>
                    <a:cubicBezTo>
                      <a:pt x="674" y="359"/>
                      <a:pt x="674" y="359"/>
                      <a:pt x="674" y="359"/>
                    </a:cubicBezTo>
                    <a:cubicBezTo>
                      <a:pt x="674" y="359"/>
                      <a:pt x="674" y="359"/>
                      <a:pt x="674" y="359"/>
                    </a:cubicBezTo>
                    <a:cubicBezTo>
                      <a:pt x="675" y="359"/>
                      <a:pt x="675" y="359"/>
                      <a:pt x="675" y="359"/>
                    </a:cubicBezTo>
                    <a:cubicBezTo>
                      <a:pt x="676" y="361"/>
                      <a:pt x="676" y="361"/>
                      <a:pt x="676" y="361"/>
                    </a:cubicBezTo>
                    <a:cubicBezTo>
                      <a:pt x="677" y="365"/>
                      <a:pt x="677" y="365"/>
                      <a:pt x="677" y="365"/>
                    </a:cubicBezTo>
                    <a:cubicBezTo>
                      <a:pt x="678" y="367"/>
                      <a:pt x="678" y="367"/>
                      <a:pt x="678" y="367"/>
                    </a:cubicBezTo>
                    <a:cubicBezTo>
                      <a:pt x="679" y="369"/>
                      <a:pt x="679" y="369"/>
                      <a:pt x="679" y="369"/>
                    </a:cubicBezTo>
                    <a:cubicBezTo>
                      <a:pt x="679" y="370"/>
                      <a:pt x="679" y="370"/>
                      <a:pt x="679" y="370"/>
                    </a:cubicBezTo>
                    <a:cubicBezTo>
                      <a:pt x="678" y="371"/>
                      <a:pt x="678" y="371"/>
                      <a:pt x="678" y="371"/>
                    </a:cubicBezTo>
                    <a:cubicBezTo>
                      <a:pt x="676" y="371"/>
                      <a:pt x="676" y="371"/>
                      <a:pt x="676" y="371"/>
                    </a:cubicBezTo>
                    <a:cubicBezTo>
                      <a:pt x="674" y="370"/>
                      <a:pt x="674" y="370"/>
                      <a:pt x="674" y="370"/>
                    </a:cubicBezTo>
                    <a:cubicBezTo>
                      <a:pt x="672" y="370"/>
                      <a:pt x="672" y="370"/>
                      <a:pt x="672" y="370"/>
                    </a:cubicBezTo>
                    <a:cubicBezTo>
                      <a:pt x="670" y="371"/>
                      <a:pt x="670" y="371"/>
                      <a:pt x="670" y="371"/>
                    </a:cubicBezTo>
                    <a:cubicBezTo>
                      <a:pt x="669" y="372"/>
                      <a:pt x="669" y="372"/>
                      <a:pt x="669" y="372"/>
                    </a:cubicBezTo>
                    <a:cubicBezTo>
                      <a:pt x="668" y="372"/>
                      <a:pt x="668" y="372"/>
                      <a:pt x="668" y="372"/>
                    </a:cubicBezTo>
                    <a:cubicBezTo>
                      <a:pt x="667" y="372"/>
                      <a:pt x="667" y="372"/>
                      <a:pt x="667" y="372"/>
                    </a:cubicBezTo>
                    <a:cubicBezTo>
                      <a:pt x="666" y="372"/>
                      <a:pt x="666" y="372"/>
                      <a:pt x="666" y="372"/>
                    </a:cubicBezTo>
                    <a:cubicBezTo>
                      <a:pt x="664" y="373"/>
                      <a:pt x="664" y="373"/>
                      <a:pt x="664" y="373"/>
                    </a:cubicBezTo>
                    <a:cubicBezTo>
                      <a:pt x="662" y="373"/>
                      <a:pt x="662" y="373"/>
                      <a:pt x="662" y="373"/>
                    </a:cubicBezTo>
                    <a:cubicBezTo>
                      <a:pt x="663" y="374"/>
                      <a:pt x="663" y="374"/>
                      <a:pt x="663" y="374"/>
                    </a:cubicBezTo>
                    <a:cubicBezTo>
                      <a:pt x="666" y="373"/>
                      <a:pt x="666" y="373"/>
                      <a:pt x="666" y="373"/>
                    </a:cubicBezTo>
                    <a:cubicBezTo>
                      <a:pt x="668" y="374"/>
                      <a:pt x="668" y="374"/>
                      <a:pt x="668" y="374"/>
                    </a:cubicBezTo>
                    <a:cubicBezTo>
                      <a:pt x="670" y="376"/>
                      <a:pt x="670" y="376"/>
                      <a:pt x="670" y="376"/>
                    </a:cubicBezTo>
                    <a:cubicBezTo>
                      <a:pt x="672" y="377"/>
                      <a:pt x="672" y="377"/>
                      <a:pt x="672" y="377"/>
                    </a:cubicBezTo>
                    <a:cubicBezTo>
                      <a:pt x="673" y="376"/>
                      <a:pt x="673" y="376"/>
                      <a:pt x="673" y="376"/>
                    </a:cubicBezTo>
                    <a:cubicBezTo>
                      <a:pt x="674" y="376"/>
                      <a:pt x="674" y="376"/>
                      <a:pt x="674" y="376"/>
                    </a:cubicBezTo>
                    <a:cubicBezTo>
                      <a:pt x="675" y="377"/>
                      <a:pt x="675" y="377"/>
                      <a:pt x="675" y="377"/>
                    </a:cubicBezTo>
                    <a:cubicBezTo>
                      <a:pt x="676" y="378"/>
                      <a:pt x="676" y="378"/>
                      <a:pt x="676" y="378"/>
                    </a:cubicBezTo>
                    <a:cubicBezTo>
                      <a:pt x="678" y="379"/>
                      <a:pt x="678" y="379"/>
                      <a:pt x="678" y="379"/>
                    </a:cubicBezTo>
                    <a:cubicBezTo>
                      <a:pt x="679" y="380"/>
                      <a:pt x="679" y="380"/>
                      <a:pt x="679" y="380"/>
                    </a:cubicBezTo>
                    <a:cubicBezTo>
                      <a:pt x="679" y="382"/>
                      <a:pt x="679" y="382"/>
                      <a:pt x="679" y="382"/>
                    </a:cubicBezTo>
                    <a:cubicBezTo>
                      <a:pt x="680" y="384"/>
                      <a:pt x="680" y="384"/>
                      <a:pt x="680" y="384"/>
                    </a:cubicBezTo>
                    <a:cubicBezTo>
                      <a:pt x="679" y="384"/>
                      <a:pt x="679" y="384"/>
                      <a:pt x="679" y="384"/>
                    </a:cubicBezTo>
                    <a:cubicBezTo>
                      <a:pt x="677" y="384"/>
                      <a:pt x="677" y="384"/>
                      <a:pt x="677" y="384"/>
                    </a:cubicBezTo>
                    <a:cubicBezTo>
                      <a:pt x="677" y="383"/>
                      <a:pt x="677" y="383"/>
                      <a:pt x="677" y="383"/>
                    </a:cubicBezTo>
                    <a:cubicBezTo>
                      <a:pt x="676" y="383"/>
                      <a:pt x="676" y="383"/>
                      <a:pt x="676" y="383"/>
                    </a:cubicBezTo>
                    <a:cubicBezTo>
                      <a:pt x="675" y="384"/>
                      <a:pt x="675" y="384"/>
                      <a:pt x="675" y="384"/>
                    </a:cubicBezTo>
                    <a:cubicBezTo>
                      <a:pt x="674" y="383"/>
                      <a:pt x="674" y="383"/>
                      <a:pt x="674" y="383"/>
                    </a:cubicBezTo>
                    <a:cubicBezTo>
                      <a:pt x="674" y="382"/>
                      <a:pt x="674" y="382"/>
                      <a:pt x="674" y="382"/>
                    </a:cubicBezTo>
                    <a:cubicBezTo>
                      <a:pt x="673" y="383"/>
                      <a:pt x="673" y="383"/>
                      <a:pt x="673" y="383"/>
                    </a:cubicBezTo>
                    <a:cubicBezTo>
                      <a:pt x="671" y="383"/>
                      <a:pt x="671" y="383"/>
                      <a:pt x="671" y="383"/>
                    </a:cubicBezTo>
                    <a:cubicBezTo>
                      <a:pt x="669" y="380"/>
                      <a:pt x="669" y="380"/>
                      <a:pt x="669" y="380"/>
                    </a:cubicBezTo>
                    <a:cubicBezTo>
                      <a:pt x="668" y="380"/>
                      <a:pt x="668" y="380"/>
                      <a:pt x="668" y="380"/>
                    </a:cubicBezTo>
                    <a:cubicBezTo>
                      <a:pt x="667" y="380"/>
                      <a:pt x="667" y="380"/>
                      <a:pt x="667" y="380"/>
                    </a:cubicBezTo>
                    <a:cubicBezTo>
                      <a:pt x="665" y="380"/>
                      <a:pt x="665" y="380"/>
                      <a:pt x="665" y="380"/>
                    </a:cubicBezTo>
                    <a:cubicBezTo>
                      <a:pt x="664" y="379"/>
                      <a:pt x="664" y="379"/>
                      <a:pt x="664" y="379"/>
                    </a:cubicBezTo>
                    <a:cubicBezTo>
                      <a:pt x="664" y="380"/>
                      <a:pt x="664" y="380"/>
                      <a:pt x="664" y="380"/>
                    </a:cubicBezTo>
                    <a:cubicBezTo>
                      <a:pt x="666" y="381"/>
                      <a:pt x="666" y="381"/>
                      <a:pt x="666" y="381"/>
                    </a:cubicBezTo>
                    <a:cubicBezTo>
                      <a:pt x="668" y="381"/>
                      <a:pt x="668" y="381"/>
                      <a:pt x="668" y="381"/>
                    </a:cubicBezTo>
                    <a:cubicBezTo>
                      <a:pt x="667" y="382"/>
                      <a:pt x="667" y="382"/>
                      <a:pt x="667" y="382"/>
                    </a:cubicBezTo>
                    <a:cubicBezTo>
                      <a:pt x="665" y="382"/>
                      <a:pt x="665" y="382"/>
                      <a:pt x="665" y="382"/>
                    </a:cubicBezTo>
                    <a:cubicBezTo>
                      <a:pt x="664" y="383"/>
                      <a:pt x="664" y="383"/>
                      <a:pt x="664" y="383"/>
                    </a:cubicBezTo>
                    <a:cubicBezTo>
                      <a:pt x="662" y="383"/>
                      <a:pt x="662" y="383"/>
                      <a:pt x="662" y="383"/>
                    </a:cubicBezTo>
                    <a:cubicBezTo>
                      <a:pt x="660" y="384"/>
                      <a:pt x="660" y="384"/>
                      <a:pt x="660" y="384"/>
                    </a:cubicBezTo>
                    <a:cubicBezTo>
                      <a:pt x="661" y="385"/>
                      <a:pt x="661" y="385"/>
                      <a:pt x="661" y="385"/>
                    </a:cubicBezTo>
                    <a:cubicBezTo>
                      <a:pt x="662" y="385"/>
                      <a:pt x="662" y="385"/>
                      <a:pt x="662" y="385"/>
                    </a:cubicBezTo>
                    <a:cubicBezTo>
                      <a:pt x="662" y="384"/>
                      <a:pt x="662" y="384"/>
                      <a:pt x="662" y="384"/>
                    </a:cubicBezTo>
                    <a:cubicBezTo>
                      <a:pt x="664" y="384"/>
                      <a:pt x="664" y="384"/>
                      <a:pt x="664" y="384"/>
                    </a:cubicBezTo>
                    <a:cubicBezTo>
                      <a:pt x="666" y="383"/>
                      <a:pt x="666" y="383"/>
                      <a:pt x="666" y="383"/>
                    </a:cubicBezTo>
                    <a:cubicBezTo>
                      <a:pt x="667" y="383"/>
                      <a:pt x="667" y="383"/>
                      <a:pt x="667" y="383"/>
                    </a:cubicBezTo>
                    <a:cubicBezTo>
                      <a:pt x="668" y="384"/>
                      <a:pt x="668" y="384"/>
                      <a:pt x="668" y="384"/>
                    </a:cubicBezTo>
                    <a:cubicBezTo>
                      <a:pt x="668" y="385"/>
                      <a:pt x="668" y="385"/>
                      <a:pt x="668" y="385"/>
                    </a:cubicBezTo>
                    <a:cubicBezTo>
                      <a:pt x="670" y="385"/>
                      <a:pt x="670" y="385"/>
                      <a:pt x="670" y="385"/>
                    </a:cubicBezTo>
                    <a:cubicBezTo>
                      <a:pt x="670" y="386"/>
                      <a:pt x="670" y="386"/>
                      <a:pt x="670" y="386"/>
                    </a:cubicBezTo>
                    <a:cubicBezTo>
                      <a:pt x="669" y="386"/>
                      <a:pt x="669" y="386"/>
                      <a:pt x="669" y="386"/>
                    </a:cubicBezTo>
                    <a:cubicBezTo>
                      <a:pt x="667" y="386"/>
                      <a:pt x="667" y="386"/>
                      <a:pt x="667" y="386"/>
                    </a:cubicBezTo>
                    <a:cubicBezTo>
                      <a:pt x="667" y="387"/>
                      <a:pt x="667" y="387"/>
                      <a:pt x="667" y="387"/>
                    </a:cubicBezTo>
                    <a:cubicBezTo>
                      <a:pt x="666" y="387"/>
                      <a:pt x="666" y="387"/>
                      <a:pt x="666" y="387"/>
                    </a:cubicBezTo>
                    <a:cubicBezTo>
                      <a:pt x="665" y="386"/>
                      <a:pt x="665" y="386"/>
                      <a:pt x="665" y="386"/>
                    </a:cubicBezTo>
                    <a:cubicBezTo>
                      <a:pt x="664" y="386"/>
                      <a:pt x="664" y="386"/>
                      <a:pt x="664" y="386"/>
                    </a:cubicBezTo>
                    <a:cubicBezTo>
                      <a:pt x="664" y="386"/>
                      <a:pt x="664" y="386"/>
                      <a:pt x="664" y="386"/>
                    </a:cubicBezTo>
                    <a:cubicBezTo>
                      <a:pt x="665" y="387"/>
                      <a:pt x="665" y="387"/>
                      <a:pt x="665" y="387"/>
                    </a:cubicBezTo>
                    <a:cubicBezTo>
                      <a:pt x="667" y="388"/>
                      <a:pt x="667" y="388"/>
                      <a:pt x="667" y="388"/>
                    </a:cubicBezTo>
                    <a:cubicBezTo>
                      <a:pt x="667" y="389"/>
                      <a:pt x="667" y="389"/>
                      <a:pt x="667" y="389"/>
                    </a:cubicBezTo>
                    <a:cubicBezTo>
                      <a:pt x="667" y="390"/>
                      <a:pt x="667" y="390"/>
                      <a:pt x="667" y="390"/>
                    </a:cubicBezTo>
                    <a:cubicBezTo>
                      <a:pt x="668" y="391"/>
                      <a:pt x="668" y="391"/>
                      <a:pt x="668" y="391"/>
                    </a:cubicBezTo>
                    <a:cubicBezTo>
                      <a:pt x="667" y="391"/>
                      <a:pt x="667" y="391"/>
                      <a:pt x="667" y="391"/>
                    </a:cubicBezTo>
                    <a:cubicBezTo>
                      <a:pt x="663" y="390"/>
                      <a:pt x="663" y="390"/>
                      <a:pt x="663" y="390"/>
                    </a:cubicBezTo>
                    <a:cubicBezTo>
                      <a:pt x="661" y="390"/>
                      <a:pt x="661" y="390"/>
                      <a:pt x="661" y="390"/>
                    </a:cubicBezTo>
                    <a:cubicBezTo>
                      <a:pt x="657" y="389"/>
                      <a:pt x="657" y="389"/>
                      <a:pt x="657" y="389"/>
                    </a:cubicBezTo>
                    <a:cubicBezTo>
                      <a:pt x="656" y="389"/>
                      <a:pt x="656" y="389"/>
                      <a:pt x="656" y="389"/>
                    </a:cubicBezTo>
                    <a:cubicBezTo>
                      <a:pt x="656" y="389"/>
                      <a:pt x="656" y="389"/>
                      <a:pt x="656" y="389"/>
                    </a:cubicBezTo>
                    <a:cubicBezTo>
                      <a:pt x="658" y="390"/>
                      <a:pt x="658" y="390"/>
                      <a:pt x="658" y="390"/>
                    </a:cubicBezTo>
                    <a:cubicBezTo>
                      <a:pt x="663" y="392"/>
                      <a:pt x="663" y="392"/>
                      <a:pt x="663" y="392"/>
                    </a:cubicBezTo>
                    <a:cubicBezTo>
                      <a:pt x="664" y="393"/>
                      <a:pt x="664" y="393"/>
                      <a:pt x="664" y="393"/>
                    </a:cubicBezTo>
                    <a:cubicBezTo>
                      <a:pt x="663" y="394"/>
                      <a:pt x="663" y="394"/>
                      <a:pt x="663" y="394"/>
                    </a:cubicBezTo>
                    <a:cubicBezTo>
                      <a:pt x="660" y="392"/>
                      <a:pt x="660" y="392"/>
                      <a:pt x="660" y="392"/>
                    </a:cubicBezTo>
                    <a:cubicBezTo>
                      <a:pt x="659" y="392"/>
                      <a:pt x="659" y="392"/>
                      <a:pt x="659" y="392"/>
                    </a:cubicBezTo>
                    <a:cubicBezTo>
                      <a:pt x="658" y="394"/>
                      <a:pt x="658" y="394"/>
                      <a:pt x="658" y="394"/>
                    </a:cubicBezTo>
                    <a:cubicBezTo>
                      <a:pt x="659" y="394"/>
                      <a:pt x="659" y="394"/>
                      <a:pt x="659" y="394"/>
                    </a:cubicBezTo>
                    <a:cubicBezTo>
                      <a:pt x="660" y="394"/>
                      <a:pt x="660" y="394"/>
                      <a:pt x="660" y="394"/>
                    </a:cubicBezTo>
                    <a:cubicBezTo>
                      <a:pt x="661" y="395"/>
                      <a:pt x="661" y="395"/>
                      <a:pt x="661" y="395"/>
                    </a:cubicBezTo>
                    <a:cubicBezTo>
                      <a:pt x="662" y="395"/>
                      <a:pt x="662" y="395"/>
                      <a:pt x="662" y="395"/>
                    </a:cubicBezTo>
                    <a:cubicBezTo>
                      <a:pt x="663" y="395"/>
                      <a:pt x="663" y="395"/>
                      <a:pt x="663" y="395"/>
                    </a:cubicBezTo>
                    <a:cubicBezTo>
                      <a:pt x="663" y="396"/>
                      <a:pt x="663" y="396"/>
                      <a:pt x="663" y="396"/>
                    </a:cubicBezTo>
                    <a:cubicBezTo>
                      <a:pt x="663" y="397"/>
                      <a:pt x="663" y="397"/>
                      <a:pt x="663" y="397"/>
                    </a:cubicBezTo>
                    <a:cubicBezTo>
                      <a:pt x="664" y="397"/>
                      <a:pt x="664" y="397"/>
                      <a:pt x="664" y="397"/>
                    </a:cubicBezTo>
                    <a:cubicBezTo>
                      <a:pt x="664" y="396"/>
                      <a:pt x="664" y="396"/>
                      <a:pt x="664" y="396"/>
                    </a:cubicBezTo>
                    <a:cubicBezTo>
                      <a:pt x="666" y="396"/>
                      <a:pt x="666" y="396"/>
                      <a:pt x="666" y="396"/>
                    </a:cubicBezTo>
                    <a:cubicBezTo>
                      <a:pt x="666" y="397"/>
                      <a:pt x="666" y="397"/>
                      <a:pt x="666" y="397"/>
                    </a:cubicBezTo>
                    <a:cubicBezTo>
                      <a:pt x="665" y="398"/>
                      <a:pt x="665" y="398"/>
                      <a:pt x="665" y="398"/>
                    </a:cubicBezTo>
                    <a:cubicBezTo>
                      <a:pt x="665" y="398"/>
                      <a:pt x="665" y="398"/>
                      <a:pt x="665" y="398"/>
                    </a:cubicBezTo>
                    <a:cubicBezTo>
                      <a:pt x="666" y="398"/>
                      <a:pt x="666" y="398"/>
                      <a:pt x="666" y="398"/>
                    </a:cubicBezTo>
                    <a:cubicBezTo>
                      <a:pt x="666" y="397"/>
                      <a:pt x="666" y="397"/>
                      <a:pt x="666" y="397"/>
                    </a:cubicBezTo>
                    <a:cubicBezTo>
                      <a:pt x="667" y="397"/>
                      <a:pt x="667" y="397"/>
                      <a:pt x="667" y="397"/>
                    </a:cubicBezTo>
                    <a:cubicBezTo>
                      <a:pt x="669" y="398"/>
                      <a:pt x="669" y="398"/>
                      <a:pt x="669" y="398"/>
                    </a:cubicBezTo>
                    <a:cubicBezTo>
                      <a:pt x="671" y="398"/>
                      <a:pt x="671" y="398"/>
                      <a:pt x="671" y="398"/>
                    </a:cubicBezTo>
                    <a:cubicBezTo>
                      <a:pt x="673" y="398"/>
                      <a:pt x="673" y="398"/>
                      <a:pt x="673" y="398"/>
                    </a:cubicBezTo>
                    <a:cubicBezTo>
                      <a:pt x="672" y="400"/>
                      <a:pt x="672" y="400"/>
                      <a:pt x="672" y="400"/>
                    </a:cubicBezTo>
                    <a:cubicBezTo>
                      <a:pt x="672" y="401"/>
                      <a:pt x="672" y="401"/>
                      <a:pt x="672" y="401"/>
                    </a:cubicBezTo>
                    <a:cubicBezTo>
                      <a:pt x="670" y="400"/>
                      <a:pt x="670" y="400"/>
                      <a:pt x="670" y="400"/>
                    </a:cubicBezTo>
                    <a:cubicBezTo>
                      <a:pt x="669" y="399"/>
                      <a:pt x="669" y="399"/>
                      <a:pt x="669" y="399"/>
                    </a:cubicBezTo>
                    <a:cubicBezTo>
                      <a:pt x="667" y="400"/>
                      <a:pt x="667" y="400"/>
                      <a:pt x="667" y="400"/>
                    </a:cubicBezTo>
                    <a:cubicBezTo>
                      <a:pt x="664" y="401"/>
                      <a:pt x="664" y="401"/>
                      <a:pt x="664" y="401"/>
                    </a:cubicBezTo>
                    <a:cubicBezTo>
                      <a:pt x="664" y="402"/>
                      <a:pt x="664" y="402"/>
                      <a:pt x="664" y="402"/>
                    </a:cubicBezTo>
                    <a:cubicBezTo>
                      <a:pt x="665" y="401"/>
                      <a:pt x="665" y="401"/>
                      <a:pt x="665" y="401"/>
                    </a:cubicBezTo>
                    <a:cubicBezTo>
                      <a:pt x="667" y="401"/>
                      <a:pt x="667" y="401"/>
                      <a:pt x="667" y="401"/>
                    </a:cubicBezTo>
                    <a:cubicBezTo>
                      <a:pt x="669" y="402"/>
                      <a:pt x="669" y="402"/>
                      <a:pt x="669" y="402"/>
                    </a:cubicBezTo>
                    <a:cubicBezTo>
                      <a:pt x="667" y="402"/>
                      <a:pt x="667" y="402"/>
                      <a:pt x="667" y="402"/>
                    </a:cubicBezTo>
                    <a:cubicBezTo>
                      <a:pt x="667" y="403"/>
                      <a:pt x="667" y="403"/>
                      <a:pt x="667" y="403"/>
                    </a:cubicBezTo>
                    <a:cubicBezTo>
                      <a:pt x="668" y="403"/>
                      <a:pt x="668" y="403"/>
                      <a:pt x="668" y="403"/>
                    </a:cubicBezTo>
                    <a:cubicBezTo>
                      <a:pt x="670" y="403"/>
                      <a:pt x="670" y="403"/>
                      <a:pt x="670" y="403"/>
                    </a:cubicBezTo>
                    <a:cubicBezTo>
                      <a:pt x="671" y="403"/>
                      <a:pt x="671" y="403"/>
                      <a:pt x="671" y="403"/>
                    </a:cubicBezTo>
                    <a:cubicBezTo>
                      <a:pt x="671" y="404"/>
                      <a:pt x="671" y="404"/>
                      <a:pt x="671" y="404"/>
                    </a:cubicBezTo>
                    <a:cubicBezTo>
                      <a:pt x="672" y="405"/>
                      <a:pt x="672" y="405"/>
                      <a:pt x="672" y="405"/>
                    </a:cubicBezTo>
                    <a:cubicBezTo>
                      <a:pt x="673" y="406"/>
                      <a:pt x="673" y="406"/>
                      <a:pt x="673" y="406"/>
                    </a:cubicBezTo>
                    <a:cubicBezTo>
                      <a:pt x="673" y="407"/>
                      <a:pt x="673" y="407"/>
                      <a:pt x="673" y="407"/>
                    </a:cubicBezTo>
                    <a:cubicBezTo>
                      <a:pt x="672" y="409"/>
                      <a:pt x="672" y="409"/>
                      <a:pt x="672" y="409"/>
                    </a:cubicBezTo>
                    <a:cubicBezTo>
                      <a:pt x="672" y="410"/>
                      <a:pt x="672" y="410"/>
                      <a:pt x="672" y="410"/>
                    </a:cubicBezTo>
                    <a:cubicBezTo>
                      <a:pt x="672" y="410"/>
                      <a:pt x="672" y="410"/>
                      <a:pt x="672" y="410"/>
                    </a:cubicBezTo>
                    <a:cubicBezTo>
                      <a:pt x="673" y="408"/>
                      <a:pt x="673" y="408"/>
                      <a:pt x="673" y="408"/>
                    </a:cubicBezTo>
                    <a:cubicBezTo>
                      <a:pt x="674" y="407"/>
                      <a:pt x="674" y="407"/>
                      <a:pt x="674" y="407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6" y="408"/>
                      <a:pt x="676" y="408"/>
                      <a:pt x="676" y="408"/>
                    </a:cubicBezTo>
                    <a:cubicBezTo>
                      <a:pt x="675" y="410"/>
                      <a:pt x="675" y="410"/>
                      <a:pt x="675" y="410"/>
                    </a:cubicBezTo>
                    <a:cubicBezTo>
                      <a:pt x="673" y="413"/>
                      <a:pt x="673" y="413"/>
                      <a:pt x="673" y="413"/>
                    </a:cubicBezTo>
                    <a:cubicBezTo>
                      <a:pt x="672" y="414"/>
                      <a:pt x="672" y="414"/>
                      <a:pt x="672" y="414"/>
                    </a:cubicBezTo>
                    <a:cubicBezTo>
                      <a:pt x="672" y="416"/>
                      <a:pt x="672" y="416"/>
                      <a:pt x="672" y="416"/>
                    </a:cubicBezTo>
                    <a:cubicBezTo>
                      <a:pt x="673" y="415"/>
                      <a:pt x="673" y="415"/>
                      <a:pt x="673" y="415"/>
                    </a:cubicBezTo>
                    <a:cubicBezTo>
                      <a:pt x="675" y="413"/>
                      <a:pt x="675" y="413"/>
                      <a:pt x="675" y="413"/>
                    </a:cubicBezTo>
                    <a:cubicBezTo>
                      <a:pt x="675" y="412"/>
                      <a:pt x="675" y="412"/>
                      <a:pt x="675" y="412"/>
                    </a:cubicBezTo>
                    <a:cubicBezTo>
                      <a:pt x="675" y="411"/>
                      <a:pt x="675" y="411"/>
                      <a:pt x="675" y="411"/>
                    </a:cubicBezTo>
                    <a:cubicBezTo>
                      <a:pt x="677" y="410"/>
                      <a:pt x="677" y="410"/>
                      <a:pt x="677" y="410"/>
                    </a:cubicBezTo>
                    <a:cubicBezTo>
                      <a:pt x="677" y="409"/>
                      <a:pt x="677" y="409"/>
                      <a:pt x="677" y="409"/>
                    </a:cubicBezTo>
                    <a:cubicBezTo>
                      <a:pt x="678" y="408"/>
                      <a:pt x="678" y="408"/>
                      <a:pt x="678" y="408"/>
                    </a:cubicBezTo>
                    <a:cubicBezTo>
                      <a:pt x="679" y="407"/>
                      <a:pt x="679" y="407"/>
                      <a:pt x="679" y="407"/>
                    </a:cubicBezTo>
                    <a:cubicBezTo>
                      <a:pt x="680" y="407"/>
                      <a:pt x="680" y="407"/>
                      <a:pt x="680" y="407"/>
                    </a:cubicBezTo>
                    <a:cubicBezTo>
                      <a:pt x="679" y="409"/>
                      <a:pt x="679" y="409"/>
                      <a:pt x="679" y="409"/>
                    </a:cubicBezTo>
                    <a:cubicBezTo>
                      <a:pt x="677" y="411"/>
                      <a:pt x="677" y="411"/>
                      <a:pt x="677" y="411"/>
                    </a:cubicBezTo>
                    <a:cubicBezTo>
                      <a:pt x="676" y="412"/>
                      <a:pt x="676" y="412"/>
                      <a:pt x="676" y="412"/>
                    </a:cubicBezTo>
                    <a:cubicBezTo>
                      <a:pt x="676" y="414"/>
                      <a:pt x="676" y="414"/>
                      <a:pt x="676" y="414"/>
                    </a:cubicBezTo>
                    <a:cubicBezTo>
                      <a:pt x="677" y="416"/>
                      <a:pt x="677" y="416"/>
                      <a:pt x="677" y="416"/>
                    </a:cubicBezTo>
                    <a:cubicBezTo>
                      <a:pt x="677" y="415"/>
                      <a:pt x="677" y="415"/>
                      <a:pt x="677" y="415"/>
                    </a:cubicBezTo>
                    <a:cubicBezTo>
                      <a:pt x="677" y="414"/>
                      <a:pt x="677" y="414"/>
                      <a:pt x="677" y="414"/>
                    </a:cubicBezTo>
                    <a:cubicBezTo>
                      <a:pt x="677" y="413"/>
                      <a:pt x="677" y="413"/>
                      <a:pt x="677" y="413"/>
                    </a:cubicBezTo>
                    <a:cubicBezTo>
                      <a:pt x="679" y="411"/>
                      <a:pt x="679" y="411"/>
                      <a:pt x="679" y="411"/>
                    </a:cubicBezTo>
                    <a:cubicBezTo>
                      <a:pt x="680" y="410"/>
                      <a:pt x="680" y="410"/>
                      <a:pt x="680" y="410"/>
                    </a:cubicBezTo>
                    <a:cubicBezTo>
                      <a:pt x="682" y="408"/>
                      <a:pt x="682" y="408"/>
                      <a:pt x="682" y="408"/>
                    </a:cubicBezTo>
                    <a:cubicBezTo>
                      <a:pt x="683" y="407"/>
                      <a:pt x="683" y="407"/>
                      <a:pt x="683" y="407"/>
                    </a:cubicBezTo>
                    <a:cubicBezTo>
                      <a:pt x="684" y="408"/>
                      <a:pt x="684" y="408"/>
                      <a:pt x="684" y="408"/>
                    </a:cubicBezTo>
                    <a:cubicBezTo>
                      <a:pt x="684" y="410"/>
                      <a:pt x="684" y="410"/>
                      <a:pt x="684" y="410"/>
                    </a:cubicBezTo>
                    <a:cubicBezTo>
                      <a:pt x="683" y="411"/>
                      <a:pt x="683" y="411"/>
                      <a:pt x="683" y="411"/>
                    </a:cubicBezTo>
                    <a:cubicBezTo>
                      <a:pt x="681" y="411"/>
                      <a:pt x="681" y="411"/>
                      <a:pt x="681" y="411"/>
                    </a:cubicBezTo>
                    <a:cubicBezTo>
                      <a:pt x="681" y="413"/>
                      <a:pt x="681" y="413"/>
                      <a:pt x="681" y="413"/>
                    </a:cubicBezTo>
                    <a:cubicBezTo>
                      <a:pt x="680" y="414"/>
                      <a:pt x="680" y="414"/>
                      <a:pt x="680" y="414"/>
                    </a:cubicBezTo>
                    <a:cubicBezTo>
                      <a:pt x="680" y="415"/>
                      <a:pt x="680" y="415"/>
                      <a:pt x="680" y="415"/>
                    </a:cubicBezTo>
                    <a:cubicBezTo>
                      <a:pt x="681" y="414"/>
                      <a:pt x="681" y="414"/>
                      <a:pt x="681" y="414"/>
                    </a:cubicBezTo>
                    <a:cubicBezTo>
                      <a:pt x="682" y="415"/>
                      <a:pt x="682" y="415"/>
                      <a:pt x="682" y="415"/>
                    </a:cubicBezTo>
                    <a:cubicBezTo>
                      <a:pt x="683" y="414"/>
                      <a:pt x="683" y="414"/>
                      <a:pt x="683" y="414"/>
                    </a:cubicBezTo>
                    <a:cubicBezTo>
                      <a:pt x="685" y="413"/>
                      <a:pt x="685" y="413"/>
                      <a:pt x="685" y="413"/>
                    </a:cubicBezTo>
                    <a:cubicBezTo>
                      <a:pt x="686" y="414"/>
                      <a:pt x="686" y="414"/>
                      <a:pt x="686" y="414"/>
                    </a:cubicBezTo>
                    <a:cubicBezTo>
                      <a:pt x="686" y="417"/>
                      <a:pt x="686" y="417"/>
                      <a:pt x="686" y="417"/>
                    </a:cubicBezTo>
                    <a:cubicBezTo>
                      <a:pt x="686" y="418"/>
                      <a:pt x="686" y="418"/>
                      <a:pt x="686" y="418"/>
                    </a:cubicBezTo>
                    <a:cubicBezTo>
                      <a:pt x="685" y="418"/>
                      <a:pt x="685" y="418"/>
                      <a:pt x="685" y="418"/>
                    </a:cubicBezTo>
                    <a:cubicBezTo>
                      <a:pt x="685" y="419"/>
                      <a:pt x="685" y="419"/>
                      <a:pt x="685" y="419"/>
                    </a:cubicBezTo>
                    <a:cubicBezTo>
                      <a:pt x="686" y="419"/>
                      <a:pt x="686" y="419"/>
                      <a:pt x="686" y="419"/>
                    </a:cubicBezTo>
                    <a:cubicBezTo>
                      <a:pt x="687" y="421"/>
                      <a:pt x="687" y="421"/>
                      <a:pt x="687" y="421"/>
                    </a:cubicBezTo>
                    <a:cubicBezTo>
                      <a:pt x="685" y="421"/>
                      <a:pt x="685" y="421"/>
                      <a:pt x="685" y="421"/>
                    </a:cubicBezTo>
                    <a:cubicBezTo>
                      <a:pt x="684" y="421"/>
                      <a:pt x="684" y="421"/>
                      <a:pt x="684" y="421"/>
                    </a:cubicBezTo>
                    <a:cubicBezTo>
                      <a:pt x="685" y="422"/>
                      <a:pt x="685" y="422"/>
                      <a:pt x="685" y="422"/>
                    </a:cubicBezTo>
                    <a:cubicBezTo>
                      <a:pt x="687" y="423"/>
                      <a:pt x="687" y="423"/>
                      <a:pt x="687" y="423"/>
                    </a:cubicBezTo>
                    <a:cubicBezTo>
                      <a:pt x="683" y="423"/>
                      <a:pt x="683" y="423"/>
                      <a:pt x="683" y="423"/>
                    </a:cubicBezTo>
                    <a:cubicBezTo>
                      <a:pt x="681" y="423"/>
                      <a:pt x="681" y="423"/>
                      <a:pt x="681" y="423"/>
                    </a:cubicBezTo>
                    <a:cubicBezTo>
                      <a:pt x="682" y="424"/>
                      <a:pt x="682" y="424"/>
                      <a:pt x="682" y="424"/>
                    </a:cubicBezTo>
                    <a:cubicBezTo>
                      <a:pt x="684" y="424"/>
                      <a:pt x="684" y="424"/>
                      <a:pt x="684" y="424"/>
                    </a:cubicBezTo>
                    <a:cubicBezTo>
                      <a:pt x="687" y="425"/>
                      <a:pt x="687" y="425"/>
                      <a:pt x="687" y="425"/>
                    </a:cubicBezTo>
                    <a:cubicBezTo>
                      <a:pt x="687" y="424"/>
                      <a:pt x="687" y="424"/>
                      <a:pt x="687" y="424"/>
                    </a:cubicBezTo>
                    <a:cubicBezTo>
                      <a:pt x="689" y="423"/>
                      <a:pt x="689" y="423"/>
                      <a:pt x="689" y="423"/>
                    </a:cubicBezTo>
                    <a:cubicBezTo>
                      <a:pt x="690" y="424"/>
                      <a:pt x="690" y="424"/>
                      <a:pt x="690" y="424"/>
                    </a:cubicBezTo>
                    <a:cubicBezTo>
                      <a:pt x="688" y="426"/>
                      <a:pt x="688" y="426"/>
                      <a:pt x="688" y="426"/>
                    </a:cubicBezTo>
                    <a:cubicBezTo>
                      <a:pt x="687" y="427"/>
                      <a:pt x="687" y="427"/>
                      <a:pt x="687" y="427"/>
                    </a:cubicBezTo>
                    <a:cubicBezTo>
                      <a:pt x="689" y="426"/>
                      <a:pt x="689" y="426"/>
                      <a:pt x="689" y="426"/>
                    </a:cubicBezTo>
                    <a:cubicBezTo>
                      <a:pt x="690" y="425"/>
                      <a:pt x="690" y="425"/>
                      <a:pt x="690" y="425"/>
                    </a:cubicBezTo>
                    <a:cubicBezTo>
                      <a:pt x="692" y="424"/>
                      <a:pt x="692" y="424"/>
                      <a:pt x="692" y="424"/>
                    </a:cubicBezTo>
                    <a:cubicBezTo>
                      <a:pt x="693" y="423"/>
                      <a:pt x="693" y="423"/>
                      <a:pt x="693" y="423"/>
                    </a:cubicBezTo>
                    <a:cubicBezTo>
                      <a:pt x="695" y="423"/>
                      <a:pt x="695" y="423"/>
                      <a:pt x="695" y="423"/>
                    </a:cubicBezTo>
                    <a:cubicBezTo>
                      <a:pt x="694" y="424"/>
                      <a:pt x="694" y="424"/>
                      <a:pt x="694" y="424"/>
                    </a:cubicBezTo>
                    <a:cubicBezTo>
                      <a:pt x="693" y="425"/>
                      <a:pt x="693" y="425"/>
                      <a:pt x="693" y="425"/>
                    </a:cubicBezTo>
                    <a:cubicBezTo>
                      <a:pt x="693" y="425"/>
                      <a:pt x="693" y="425"/>
                      <a:pt x="693" y="425"/>
                    </a:cubicBezTo>
                    <a:cubicBezTo>
                      <a:pt x="692" y="427"/>
                      <a:pt x="692" y="427"/>
                      <a:pt x="692" y="427"/>
                    </a:cubicBezTo>
                    <a:cubicBezTo>
                      <a:pt x="691" y="429"/>
                      <a:pt x="691" y="429"/>
                      <a:pt x="691" y="429"/>
                    </a:cubicBezTo>
                    <a:cubicBezTo>
                      <a:pt x="689" y="430"/>
                      <a:pt x="689" y="430"/>
                      <a:pt x="689" y="430"/>
                    </a:cubicBezTo>
                    <a:cubicBezTo>
                      <a:pt x="688" y="431"/>
                      <a:pt x="688" y="431"/>
                      <a:pt x="688" y="431"/>
                    </a:cubicBezTo>
                    <a:cubicBezTo>
                      <a:pt x="688" y="432"/>
                      <a:pt x="688" y="432"/>
                      <a:pt x="688" y="432"/>
                    </a:cubicBezTo>
                    <a:cubicBezTo>
                      <a:pt x="689" y="433"/>
                      <a:pt x="689" y="433"/>
                      <a:pt x="689" y="433"/>
                    </a:cubicBezTo>
                    <a:cubicBezTo>
                      <a:pt x="690" y="431"/>
                      <a:pt x="690" y="431"/>
                      <a:pt x="690" y="431"/>
                    </a:cubicBezTo>
                    <a:cubicBezTo>
                      <a:pt x="690" y="430"/>
                      <a:pt x="690" y="430"/>
                      <a:pt x="690" y="430"/>
                    </a:cubicBezTo>
                    <a:cubicBezTo>
                      <a:pt x="692" y="428"/>
                      <a:pt x="692" y="428"/>
                      <a:pt x="692" y="428"/>
                    </a:cubicBezTo>
                    <a:cubicBezTo>
                      <a:pt x="694" y="427"/>
                      <a:pt x="694" y="427"/>
                      <a:pt x="694" y="427"/>
                    </a:cubicBezTo>
                    <a:cubicBezTo>
                      <a:pt x="694" y="429"/>
                      <a:pt x="694" y="429"/>
                      <a:pt x="694" y="429"/>
                    </a:cubicBezTo>
                    <a:cubicBezTo>
                      <a:pt x="693" y="431"/>
                      <a:pt x="693" y="431"/>
                      <a:pt x="693" y="431"/>
                    </a:cubicBezTo>
                    <a:cubicBezTo>
                      <a:pt x="692" y="433"/>
                      <a:pt x="692" y="433"/>
                      <a:pt x="692" y="433"/>
                    </a:cubicBezTo>
                    <a:cubicBezTo>
                      <a:pt x="692" y="434"/>
                      <a:pt x="692" y="434"/>
                      <a:pt x="692" y="434"/>
                    </a:cubicBezTo>
                    <a:cubicBezTo>
                      <a:pt x="693" y="434"/>
                      <a:pt x="693" y="434"/>
                      <a:pt x="693" y="434"/>
                    </a:cubicBezTo>
                    <a:cubicBezTo>
                      <a:pt x="694" y="431"/>
                      <a:pt x="694" y="431"/>
                      <a:pt x="694" y="431"/>
                    </a:cubicBezTo>
                    <a:cubicBezTo>
                      <a:pt x="694" y="430"/>
                      <a:pt x="694" y="430"/>
                      <a:pt x="694" y="430"/>
                    </a:cubicBezTo>
                    <a:cubicBezTo>
                      <a:pt x="695" y="430"/>
                      <a:pt x="695" y="430"/>
                      <a:pt x="695" y="430"/>
                    </a:cubicBezTo>
                    <a:cubicBezTo>
                      <a:pt x="696" y="430"/>
                      <a:pt x="696" y="430"/>
                      <a:pt x="696" y="430"/>
                    </a:cubicBezTo>
                    <a:cubicBezTo>
                      <a:pt x="696" y="433"/>
                      <a:pt x="696" y="433"/>
                      <a:pt x="696" y="433"/>
                    </a:cubicBezTo>
                    <a:cubicBezTo>
                      <a:pt x="697" y="434"/>
                      <a:pt x="697" y="434"/>
                      <a:pt x="697" y="434"/>
                    </a:cubicBezTo>
                    <a:cubicBezTo>
                      <a:pt x="697" y="433"/>
                      <a:pt x="697" y="433"/>
                      <a:pt x="697" y="433"/>
                    </a:cubicBezTo>
                    <a:cubicBezTo>
                      <a:pt x="697" y="431"/>
                      <a:pt x="697" y="431"/>
                      <a:pt x="697" y="431"/>
                    </a:cubicBezTo>
                    <a:cubicBezTo>
                      <a:pt x="698" y="430"/>
                      <a:pt x="698" y="430"/>
                      <a:pt x="698" y="430"/>
                    </a:cubicBezTo>
                    <a:cubicBezTo>
                      <a:pt x="700" y="429"/>
                      <a:pt x="700" y="429"/>
                      <a:pt x="700" y="429"/>
                    </a:cubicBezTo>
                    <a:cubicBezTo>
                      <a:pt x="701" y="430"/>
                      <a:pt x="701" y="430"/>
                      <a:pt x="701" y="430"/>
                    </a:cubicBezTo>
                    <a:cubicBezTo>
                      <a:pt x="700" y="431"/>
                      <a:pt x="700" y="431"/>
                      <a:pt x="700" y="431"/>
                    </a:cubicBezTo>
                    <a:cubicBezTo>
                      <a:pt x="700" y="431"/>
                      <a:pt x="700" y="431"/>
                      <a:pt x="700" y="431"/>
                    </a:cubicBezTo>
                    <a:cubicBezTo>
                      <a:pt x="702" y="431"/>
                      <a:pt x="702" y="431"/>
                      <a:pt x="702" y="431"/>
                    </a:cubicBezTo>
                    <a:cubicBezTo>
                      <a:pt x="703" y="432"/>
                      <a:pt x="703" y="432"/>
                      <a:pt x="703" y="432"/>
                    </a:cubicBezTo>
                    <a:cubicBezTo>
                      <a:pt x="702" y="434"/>
                      <a:pt x="702" y="434"/>
                      <a:pt x="702" y="434"/>
                    </a:cubicBezTo>
                    <a:cubicBezTo>
                      <a:pt x="704" y="434"/>
                      <a:pt x="704" y="434"/>
                      <a:pt x="704" y="434"/>
                    </a:cubicBezTo>
                    <a:cubicBezTo>
                      <a:pt x="704" y="435"/>
                      <a:pt x="704" y="435"/>
                      <a:pt x="704" y="435"/>
                    </a:cubicBezTo>
                    <a:cubicBezTo>
                      <a:pt x="704" y="436"/>
                      <a:pt x="704" y="436"/>
                      <a:pt x="704" y="436"/>
                    </a:cubicBezTo>
                    <a:cubicBezTo>
                      <a:pt x="706" y="437"/>
                      <a:pt x="706" y="437"/>
                      <a:pt x="706" y="437"/>
                    </a:cubicBezTo>
                    <a:cubicBezTo>
                      <a:pt x="706" y="438"/>
                      <a:pt x="706" y="438"/>
                      <a:pt x="706" y="438"/>
                    </a:cubicBezTo>
                    <a:cubicBezTo>
                      <a:pt x="705" y="439"/>
                      <a:pt x="705" y="439"/>
                      <a:pt x="705" y="439"/>
                    </a:cubicBezTo>
                    <a:cubicBezTo>
                      <a:pt x="705" y="439"/>
                      <a:pt x="705" y="439"/>
                      <a:pt x="705" y="439"/>
                    </a:cubicBezTo>
                    <a:cubicBezTo>
                      <a:pt x="703" y="439"/>
                      <a:pt x="703" y="439"/>
                      <a:pt x="703" y="439"/>
                    </a:cubicBezTo>
                    <a:cubicBezTo>
                      <a:pt x="703" y="438"/>
                      <a:pt x="703" y="438"/>
                      <a:pt x="703" y="438"/>
                    </a:cubicBezTo>
                    <a:cubicBezTo>
                      <a:pt x="702" y="437"/>
                      <a:pt x="702" y="437"/>
                      <a:pt x="702" y="437"/>
                    </a:cubicBezTo>
                    <a:cubicBezTo>
                      <a:pt x="701" y="436"/>
                      <a:pt x="701" y="436"/>
                      <a:pt x="701" y="436"/>
                    </a:cubicBezTo>
                    <a:cubicBezTo>
                      <a:pt x="700" y="436"/>
                      <a:pt x="700" y="436"/>
                      <a:pt x="700" y="436"/>
                    </a:cubicBezTo>
                    <a:cubicBezTo>
                      <a:pt x="699" y="437"/>
                      <a:pt x="699" y="437"/>
                      <a:pt x="699" y="437"/>
                    </a:cubicBezTo>
                    <a:cubicBezTo>
                      <a:pt x="698" y="438"/>
                      <a:pt x="698" y="438"/>
                      <a:pt x="698" y="438"/>
                    </a:cubicBezTo>
                    <a:cubicBezTo>
                      <a:pt x="700" y="437"/>
                      <a:pt x="700" y="437"/>
                      <a:pt x="700" y="437"/>
                    </a:cubicBezTo>
                    <a:cubicBezTo>
                      <a:pt x="701" y="438"/>
                      <a:pt x="701" y="438"/>
                      <a:pt x="701" y="438"/>
                    </a:cubicBezTo>
                    <a:cubicBezTo>
                      <a:pt x="701" y="438"/>
                      <a:pt x="701" y="438"/>
                      <a:pt x="701" y="438"/>
                    </a:cubicBezTo>
                    <a:cubicBezTo>
                      <a:pt x="701" y="439"/>
                      <a:pt x="701" y="439"/>
                      <a:pt x="701" y="439"/>
                    </a:cubicBezTo>
                    <a:cubicBezTo>
                      <a:pt x="701" y="439"/>
                      <a:pt x="701" y="439"/>
                      <a:pt x="701" y="439"/>
                    </a:cubicBezTo>
                    <a:cubicBezTo>
                      <a:pt x="702" y="440"/>
                      <a:pt x="702" y="440"/>
                      <a:pt x="702" y="440"/>
                    </a:cubicBezTo>
                    <a:cubicBezTo>
                      <a:pt x="701" y="441"/>
                      <a:pt x="701" y="441"/>
                      <a:pt x="701" y="441"/>
                    </a:cubicBezTo>
                    <a:cubicBezTo>
                      <a:pt x="700" y="440"/>
                      <a:pt x="700" y="440"/>
                      <a:pt x="700" y="440"/>
                    </a:cubicBezTo>
                    <a:cubicBezTo>
                      <a:pt x="699" y="441"/>
                      <a:pt x="699" y="441"/>
                      <a:pt x="699" y="441"/>
                    </a:cubicBezTo>
                    <a:cubicBezTo>
                      <a:pt x="699" y="442"/>
                      <a:pt x="699" y="442"/>
                      <a:pt x="699" y="442"/>
                    </a:cubicBezTo>
                    <a:cubicBezTo>
                      <a:pt x="702" y="442"/>
                      <a:pt x="702" y="442"/>
                      <a:pt x="702" y="442"/>
                    </a:cubicBezTo>
                    <a:cubicBezTo>
                      <a:pt x="702" y="442"/>
                      <a:pt x="702" y="442"/>
                      <a:pt x="702" y="442"/>
                    </a:cubicBezTo>
                    <a:cubicBezTo>
                      <a:pt x="703" y="442"/>
                      <a:pt x="703" y="442"/>
                      <a:pt x="703" y="442"/>
                    </a:cubicBezTo>
                    <a:cubicBezTo>
                      <a:pt x="702" y="444"/>
                      <a:pt x="702" y="444"/>
                      <a:pt x="702" y="444"/>
                    </a:cubicBezTo>
                    <a:cubicBezTo>
                      <a:pt x="700" y="444"/>
                      <a:pt x="700" y="444"/>
                      <a:pt x="700" y="444"/>
                    </a:cubicBezTo>
                    <a:cubicBezTo>
                      <a:pt x="699" y="444"/>
                      <a:pt x="699" y="444"/>
                      <a:pt x="699" y="444"/>
                    </a:cubicBezTo>
                    <a:cubicBezTo>
                      <a:pt x="697" y="444"/>
                      <a:pt x="697" y="444"/>
                      <a:pt x="697" y="444"/>
                    </a:cubicBezTo>
                    <a:cubicBezTo>
                      <a:pt x="695" y="443"/>
                      <a:pt x="695" y="443"/>
                      <a:pt x="695" y="443"/>
                    </a:cubicBezTo>
                    <a:cubicBezTo>
                      <a:pt x="696" y="442"/>
                      <a:pt x="696" y="442"/>
                      <a:pt x="696" y="442"/>
                    </a:cubicBezTo>
                    <a:cubicBezTo>
                      <a:pt x="696" y="441"/>
                      <a:pt x="696" y="441"/>
                      <a:pt x="696" y="441"/>
                    </a:cubicBezTo>
                    <a:cubicBezTo>
                      <a:pt x="694" y="440"/>
                      <a:pt x="694" y="440"/>
                      <a:pt x="694" y="440"/>
                    </a:cubicBezTo>
                    <a:cubicBezTo>
                      <a:pt x="694" y="440"/>
                      <a:pt x="694" y="440"/>
                      <a:pt x="694" y="440"/>
                    </a:cubicBezTo>
                    <a:cubicBezTo>
                      <a:pt x="693" y="440"/>
                      <a:pt x="693" y="440"/>
                      <a:pt x="693" y="440"/>
                    </a:cubicBezTo>
                    <a:cubicBezTo>
                      <a:pt x="693" y="441"/>
                      <a:pt x="693" y="441"/>
                      <a:pt x="693" y="441"/>
                    </a:cubicBezTo>
                    <a:cubicBezTo>
                      <a:pt x="694" y="441"/>
                      <a:pt x="694" y="441"/>
                      <a:pt x="694" y="441"/>
                    </a:cubicBezTo>
                    <a:cubicBezTo>
                      <a:pt x="695" y="443"/>
                      <a:pt x="695" y="443"/>
                      <a:pt x="695" y="443"/>
                    </a:cubicBezTo>
                    <a:cubicBezTo>
                      <a:pt x="694" y="444"/>
                      <a:pt x="694" y="444"/>
                      <a:pt x="694" y="444"/>
                    </a:cubicBezTo>
                    <a:cubicBezTo>
                      <a:pt x="693" y="444"/>
                      <a:pt x="693" y="444"/>
                      <a:pt x="693" y="444"/>
                    </a:cubicBezTo>
                    <a:cubicBezTo>
                      <a:pt x="692" y="443"/>
                      <a:pt x="692" y="443"/>
                      <a:pt x="692" y="443"/>
                    </a:cubicBezTo>
                    <a:cubicBezTo>
                      <a:pt x="691" y="442"/>
                      <a:pt x="691" y="442"/>
                      <a:pt x="691" y="442"/>
                    </a:cubicBezTo>
                    <a:cubicBezTo>
                      <a:pt x="691" y="444"/>
                      <a:pt x="691" y="444"/>
                      <a:pt x="691" y="444"/>
                    </a:cubicBezTo>
                    <a:cubicBezTo>
                      <a:pt x="692" y="445"/>
                      <a:pt x="692" y="445"/>
                      <a:pt x="692" y="445"/>
                    </a:cubicBezTo>
                    <a:cubicBezTo>
                      <a:pt x="694" y="445"/>
                      <a:pt x="694" y="445"/>
                      <a:pt x="694" y="445"/>
                    </a:cubicBezTo>
                    <a:cubicBezTo>
                      <a:pt x="695" y="446"/>
                      <a:pt x="695" y="446"/>
                      <a:pt x="695" y="446"/>
                    </a:cubicBezTo>
                    <a:cubicBezTo>
                      <a:pt x="696" y="446"/>
                      <a:pt x="696" y="446"/>
                      <a:pt x="696" y="446"/>
                    </a:cubicBezTo>
                    <a:cubicBezTo>
                      <a:pt x="696" y="447"/>
                      <a:pt x="696" y="447"/>
                      <a:pt x="696" y="447"/>
                    </a:cubicBezTo>
                    <a:cubicBezTo>
                      <a:pt x="696" y="449"/>
                      <a:pt x="696" y="449"/>
                      <a:pt x="696" y="449"/>
                    </a:cubicBezTo>
                    <a:cubicBezTo>
                      <a:pt x="693" y="448"/>
                      <a:pt x="693" y="448"/>
                      <a:pt x="693" y="448"/>
                    </a:cubicBezTo>
                    <a:cubicBezTo>
                      <a:pt x="692" y="447"/>
                      <a:pt x="692" y="447"/>
                      <a:pt x="692" y="447"/>
                    </a:cubicBezTo>
                    <a:cubicBezTo>
                      <a:pt x="691" y="446"/>
                      <a:pt x="691" y="446"/>
                      <a:pt x="691" y="446"/>
                    </a:cubicBezTo>
                    <a:cubicBezTo>
                      <a:pt x="690" y="445"/>
                      <a:pt x="690" y="445"/>
                      <a:pt x="690" y="445"/>
                    </a:cubicBezTo>
                    <a:cubicBezTo>
                      <a:pt x="689" y="445"/>
                      <a:pt x="689" y="445"/>
                      <a:pt x="689" y="445"/>
                    </a:cubicBezTo>
                    <a:cubicBezTo>
                      <a:pt x="690" y="446"/>
                      <a:pt x="690" y="446"/>
                      <a:pt x="690" y="446"/>
                    </a:cubicBezTo>
                    <a:cubicBezTo>
                      <a:pt x="692" y="448"/>
                      <a:pt x="692" y="448"/>
                      <a:pt x="692" y="448"/>
                    </a:cubicBezTo>
                    <a:cubicBezTo>
                      <a:pt x="692" y="449"/>
                      <a:pt x="692" y="449"/>
                      <a:pt x="692" y="449"/>
                    </a:cubicBezTo>
                    <a:cubicBezTo>
                      <a:pt x="692" y="451"/>
                      <a:pt x="692" y="451"/>
                      <a:pt x="692" y="451"/>
                    </a:cubicBezTo>
                    <a:cubicBezTo>
                      <a:pt x="692" y="452"/>
                      <a:pt x="692" y="452"/>
                      <a:pt x="692" y="452"/>
                    </a:cubicBezTo>
                    <a:cubicBezTo>
                      <a:pt x="691" y="452"/>
                      <a:pt x="691" y="452"/>
                      <a:pt x="691" y="452"/>
                    </a:cubicBezTo>
                    <a:cubicBezTo>
                      <a:pt x="690" y="451"/>
                      <a:pt x="690" y="451"/>
                      <a:pt x="690" y="451"/>
                    </a:cubicBezTo>
                    <a:cubicBezTo>
                      <a:pt x="689" y="450"/>
                      <a:pt x="689" y="450"/>
                      <a:pt x="689" y="450"/>
                    </a:cubicBezTo>
                    <a:cubicBezTo>
                      <a:pt x="688" y="449"/>
                      <a:pt x="688" y="449"/>
                      <a:pt x="688" y="449"/>
                    </a:cubicBezTo>
                    <a:cubicBezTo>
                      <a:pt x="688" y="450"/>
                      <a:pt x="688" y="450"/>
                      <a:pt x="688" y="450"/>
                    </a:cubicBezTo>
                    <a:cubicBezTo>
                      <a:pt x="689" y="451"/>
                      <a:pt x="689" y="451"/>
                      <a:pt x="689" y="451"/>
                    </a:cubicBezTo>
                    <a:cubicBezTo>
                      <a:pt x="689" y="452"/>
                      <a:pt x="689" y="452"/>
                      <a:pt x="689" y="452"/>
                    </a:cubicBezTo>
                    <a:cubicBezTo>
                      <a:pt x="689" y="455"/>
                      <a:pt x="689" y="455"/>
                      <a:pt x="689" y="455"/>
                    </a:cubicBezTo>
                    <a:cubicBezTo>
                      <a:pt x="688" y="455"/>
                      <a:pt x="688" y="455"/>
                      <a:pt x="688" y="455"/>
                    </a:cubicBezTo>
                    <a:cubicBezTo>
                      <a:pt x="687" y="455"/>
                      <a:pt x="687" y="455"/>
                      <a:pt x="687" y="455"/>
                    </a:cubicBezTo>
                    <a:cubicBezTo>
                      <a:pt x="687" y="454"/>
                      <a:pt x="687" y="454"/>
                      <a:pt x="687" y="454"/>
                    </a:cubicBezTo>
                    <a:cubicBezTo>
                      <a:pt x="687" y="453"/>
                      <a:pt x="687" y="453"/>
                      <a:pt x="687" y="453"/>
                    </a:cubicBezTo>
                    <a:cubicBezTo>
                      <a:pt x="686" y="453"/>
                      <a:pt x="686" y="453"/>
                      <a:pt x="686" y="453"/>
                    </a:cubicBezTo>
                    <a:cubicBezTo>
                      <a:pt x="686" y="454"/>
                      <a:pt x="686" y="454"/>
                      <a:pt x="686" y="454"/>
                    </a:cubicBezTo>
                    <a:cubicBezTo>
                      <a:pt x="685" y="454"/>
                      <a:pt x="685" y="454"/>
                      <a:pt x="685" y="454"/>
                    </a:cubicBezTo>
                    <a:cubicBezTo>
                      <a:pt x="684" y="454"/>
                      <a:pt x="684" y="454"/>
                      <a:pt x="684" y="454"/>
                    </a:cubicBezTo>
                    <a:cubicBezTo>
                      <a:pt x="684" y="453"/>
                      <a:pt x="684" y="453"/>
                      <a:pt x="684" y="453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683" y="450"/>
                      <a:pt x="683" y="450"/>
                      <a:pt x="683" y="450"/>
                    </a:cubicBezTo>
                    <a:cubicBezTo>
                      <a:pt x="683" y="449"/>
                      <a:pt x="683" y="449"/>
                      <a:pt x="683" y="449"/>
                    </a:cubicBezTo>
                    <a:cubicBezTo>
                      <a:pt x="683" y="450"/>
                      <a:pt x="683" y="450"/>
                      <a:pt x="683" y="450"/>
                    </a:cubicBezTo>
                    <a:cubicBezTo>
                      <a:pt x="683" y="453"/>
                      <a:pt x="683" y="453"/>
                      <a:pt x="683" y="453"/>
                    </a:cubicBezTo>
                    <a:cubicBezTo>
                      <a:pt x="682" y="453"/>
                      <a:pt x="682" y="453"/>
                      <a:pt x="682" y="453"/>
                    </a:cubicBezTo>
                    <a:cubicBezTo>
                      <a:pt x="680" y="453"/>
                      <a:pt x="680" y="453"/>
                      <a:pt x="680" y="453"/>
                    </a:cubicBezTo>
                    <a:cubicBezTo>
                      <a:pt x="681" y="454"/>
                      <a:pt x="681" y="454"/>
                      <a:pt x="681" y="454"/>
                    </a:cubicBezTo>
                    <a:cubicBezTo>
                      <a:pt x="682" y="454"/>
                      <a:pt x="682" y="454"/>
                      <a:pt x="682" y="454"/>
                    </a:cubicBezTo>
                    <a:cubicBezTo>
                      <a:pt x="682" y="455"/>
                      <a:pt x="682" y="455"/>
                      <a:pt x="682" y="455"/>
                    </a:cubicBezTo>
                    <a:cubicBezTo>
                      <a:pt x="681" y="456"/>
                      <a:pt x="681" y="456"/>
                      <a:pt x="681" y="456"/>
                    </a:cubicBezTo>
                    <a:cubicBezTo>
                      <a:pt x="680" y="456"/>
                      <a:pt x="680" y="456"/>
                      <a:pt x="680" y="456"/>
                    </a:cubicBezTo>
                    <a:cubicBezTo>
                      <a:pt x="680" y="455"/>
                      <a:pt x="680" y="455"/>
                      <a:pt x="680" y="455"/>
                    </a:cubicBezTo>
                    <a:cubicBezTo>
                      <a:pt x="680" y="456"/>
                      <a:pt x="680" y="456"/>
                      <a:pt x="680" y="456"/>
                    </a:cubicBezTo>
                    <a:cubicBezTo>
                      <a:pt x="681" y="457"/>
                      <a:pt x="681" y="457"/>
                      <a:pt x="681" y="457"/>
                    </a:cubicBezTo>
                    <a:cubicBezTo>
                      <a:pt x="681" y="457"/>
                      <a:pt x="681" y="457"/>
                      <a:pt x="681" y="457"/>
                    </a:cubicBezTo>
                    <a:cubicBezTo>
                      <a:pt x="682" y="458"/>
                      <a:pt x="682" y="458"/>
                      <a:pt x="682" y="458"/>
                    </a:cubicBezTo>
                    <a:cubicBezTo>
                      <a:pt x="681" y="459"/>
                      <a:pt x="681" y="459"/>
                      <a:pt x="681" y="459"/>
                    </a:cubicBezTo>
                    <a:cubicBezTo>
                      <a:pt x="681" y="459"/>
                      <a:pt x="681" y="459"/>
                      <a:pt x="681" y="459"/>
                    </a:cubicBezTo>
                    <a:cubicBezTo>
                      <a:pt x="681" y="460"/>
                      <a:pt x="681" y="460"/>
                      <a:pt x="681" y="460"/>
                    </a:cubicBezTo>
                    <a:cubicBezTo>
                      <a:pt x="681" y="461"/>
                      <a:pt x="681" y="461"/>
                      <a:pt x="681" y="461"/>
                    </a:cubicBezTo>
                    <a:cubicBezTo>
                      <a:pt x="681" y="462"/>
                      <a:pt x="681" y="462"/>
                      <a:pt x="681" y="462"/>
                    </a:cubicBezTo>
                    <a:cubicBezTo>
                      <a:pt x="681" y="462"/>
                      <a:pt x="681" y="462"/>
                      <a:pt x="681" y="462"/>
                    </a:cubicBezTo>
                    <a:cubicBezTo>
                      <a:pt x="680" y="462"/>
                      <a:pt x="680" y="462"/>
                      <a:pt x="680" y="462"/>
                    </a:cubicBezTo>
                    <a:cubicBezTo>
                      <a:pt x="679" y="462"/>
                      <a:pt x="679" y="462"/>
                      <a:pt x="679" y="462"/>
                    </a:cubicBezTo>
                    <a:cubicBezTo>
                      <a:pt x="681" y="463"/>
                      <a:pt x="681" y="463"/>
                      <a:pt x="681" y="463"/>
                    </a:cubicBezTo>
                    <a:cubicBezTo>
                      <a:pt x="681" y="464"/>
                      <a:pt x="681" y="464"/>
                      <a:pt x="681" y="464"/>
                    </a:cubicBezTo>
                    <a:cubicBezTo>
                      <a:pt x="681" y="466"/>
                      <a:pt x="681" y="466"/>
                      <a:pt x="681" y="466"/>
                    </a:cubicBezTo>
                    <a:cubicBezTo>
                      <a:pt x="679" y="467"/>
                      <a:pt x="679" y="467"/>
                      <a:pt x="679" y="467"/>
                    </a:cubicBezTo>
                    <a:cubicBezTo>
                      <a:pt x="678" y="467"/>
                      <a:pt x="678" y="467"/>
                      <a:pt x="678" y="467"/>
                    </a:cubicBezTo>
                    <a:cubicBezTo>
                      <a:pt x="677" y="467"/>
                      <a:pt x="677" y="467"/>
                      <a:pt x="677" y="467"/>
                    </a:cubicBezTo>
                    <a:cubicBezTo>
                      <a:pt x="677" y="466"/>
                      <a:pt x="677" y="466"/>
                      <a:pt x="677" y="466"/>
                    </a:cubicBezTo>
                    <a:cubicBezTo>
                      <a:pt x="677" y="466"/>
                      <a:pt x="677" y="466"/>
                      <a:pt x="677" y="466"/>
                    </a:cubicBezTo>
                    <a:cubicBezTo>
                      <a:pt x="677" y="465"/>
                      <a:pt x="677" y="465"/>
                      <a:pt x="677" y="465"/>
                    </a:cubicBezTo>
                    <a:cubicBezTo>
                      <a:pt x="676" y="465"/>
                      <a:pt x="676" y="465"/>
                      <a:pt x="676" y="465"/>
                    </a:cubicBezTo>
                    <a:cubicBezTo>
                      <a:pt x="676" y="464"/>
                      <a:pt x="676" y="464"/>
                      <a:pt x="676" y="464"/>
                    </a:cubicBezTo>
                    <a:cubicBezTo>
                      <a:pt x="676" y="463"/>
                      <a:pt x="676" y="463"/>
                      <a:pt x="676" y="463"/>
                    </a:cubicBezTo>
                    <a:cubicBezTo>
                      <a:pt x="676" y="462"/>
                      <a:pt x="676" y="462"/>
                      <a:pt x="676" y="462"/>
                    </a:cubicBezTo>
                    <a:cubicBezTo>
                      <a:pt x="676" y="462"/>
                      <a:pt x="676" y="462"/>
                      <a:pt x="676" y="462"/>
                    </a:cubicBezTo>
                    <a:cubicBezTo>
                      <a:pt x="675" y="463"/>
                      <a:pt x="675" y="463"/>
                      <a:pt x="675" y="463"/>
                    </a:cubicBezTo>
                    <a:cubicBezTo>
                      <a:pt x="674" y="464"/>
                      <a:pt x="674" y="464"/>
                      <a:pt x="674" y="464"/>
                    </a:cubicBezTo>
                    <a:cubicBezTo>
                      <a:pt x="673" y="464"/>
                      <a:pt x="673" y="464"/>
                      <a:pt x="673" y="464"/>
                    </a:cubicBezTo>
                    <a:cubicBezTo>
                      <a:pt x="673" y="463"/>
                      <a:pt x="673" y="463"/>
                      <a:pt x="673" y="463"/>
                    </a:cubicBezTo>
                    <a:cubicBezTo>
                      <a:pt x="673" y="462"/>
                      <a:pt x="673" y="462"/>
                      <a:pt x="673" y="462"/>
                    </a:cubicBezTo>
                    <a:cubicBezTo>
                      <a:pt x="673" y="461"/>
                      <a:pt x="673" y="461"/>
                      <a:pt x="673" y="461"/>
                    </a:cubicBezTo>
                    <a:cubicBezTo>
                      <a:pt x="673" y="460"/>
                      <a:pt x="673" y="460"/>
                      <a:pt x="673" y="460"/>
                    </a:cubicBezTo>
                    <a:cubicBezTo>
                      <a:pt x="673" y="460"/>
                      <a:pt x="673" y="460"/>
                      <a:pt x="673" y="460"/>
                    </a:cubicBezTo>
                    <a:cubicBezTo>
                      <a:pt x="673" y="459"/>
                      <a:pt x="673" y="459"/>
                      <a:pt x="673" y="459"/>
                    </a:cubicBezTo>
                    <a:cubicBezTo>
                      <a:pt x="674" y="458"/>
                      <a:pt x="674" y="458"/>
                      <a:pt x="674" y="458"/>
                    </a:cubicBezTo>
                    <a:cubicBezTo>
                      <a:pt x="673" y="458"/>
                      <a:pt x="673" y="458"/>
                      <a:pt x="673" y="458"/>
                    </a:cubicBezTo>
                    <a:cubicBezTo>
                      <a:pt x="672" y="459"/>
                      <a:pt x="672" y="459"/>
                      <a:pt x="672" y="459"/>
                    </a:cubicBezTo>
                    <a:cubicBezTo>
                      <a:pt x="671" y="461"/>
                      <a:pt x="671" y="461"/>
                      <a:pt x="671" y="461"/>
                    </a:cubicBezTo>
                    <a:cubicBezTo>
                      <a:pt x="670" y="462"/>
                      <a:pt x="670" y="462"/>
                      <a:pt x="670" y="462"/>
                    </a:cubicBezTo>
                    <a:cubicBezTo>
                      <a:pt x="670" y="462"/>
                      <a:pt x="670" y="462"/>
                      <a:pt x="670" y="462"/>
                    </a:cubicBezTo>
                    <a:cubicBezTo>
                      <a:pt x="670" y="460"/>
                      <a:pt x="670" y="460"/>
                      <a:pt x="670" y="460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70" y="457"/>
                      <a:pt x="670" y="457"/>
                      <a:pt x="670" y="457"/>
                    </a:cubicBezTo>
                    <a:cubicBezTo>
                      <a:pt x="671" y="457"/>
                      <a:pt x="671" y="457"/>
                      <a:pt x="671" y="457"/>
                    </a:cubicBezTo>
                    <a:cubicBezTo>
                      <a:pt x="671" y="456"/>
                      <a:pt x="671" y="456"/>
                      <a:pt x="671" y="456"/>
                    </a:cubicBezTo>
                    <a:cubicBezTo>
                      <a:pt x="672" y="456"/>
                      <a:pt x="672" y="456"/>
                      <a:pt x="672" y="456"/>
                    </a:cubicBezTo>
                    <a:cubicBezTo>
                      <a:pt x="672" y="455"/>
                      <a:pt x="672" y="455"/>
                      <a:pt x="672" y="455"/>
                    </a:cubicBezTo>
                    <a:cubicBezTo>
                      <a:pt x="671" y="455"/>
                      <a:pt x="671" y="455"/>
                      <a:pt x="671" y="455"/>
                    </a:cubicBezTo>
                    <a:cubicBezTo>
                      <a:pt x="669" y="455"/>
                      <a:pt x="669" y="455"/>
                      <a:pt x="669" y="455"/>
                    </a:cubicBezTo>
                    <a:cubicBezTo>
                      <a:pt x="668" y="455"/>
                      <a:pt x="668" y="455"/>
                      <a:pt x="668" y="455"/>
                    </a:cubicBezTo>
                    <a:cubicBezTo>
                      <a:pt x="668" y="454"/>
                      <a:pt x="668" y="454"/>
                      <a:pt x="668" y="454"/>
                    </a:cubicBezTo>
                    <a:cubicBezTo>
                      <a:pt x="668" y="454"/>
                      <a:pt x="668" y="454"/>
                      <a:pt x="668" y="454"/>
                    </a:cubicBezTo>
                    <a:cubicBezTo>
                      <a:pt x="670" y="453"/>
                      <a:pt x="670" y="453"/>
                      <a:pt x="670" y="453"/>
                    </a:cubicBezTo>
                    <a:cubicBezTo>
                      <a:pt x="671" y="452"/>
                      <a:pt x="671" y="452"/>
                      <a:pt x="671" y="452"/>
                    </a:cubicBezTo>
                    <a:cubicBezTo>
                      <a:pt x="670" y="452"/>
                      <a:pt x="670" y="452"/>
                      <a:pt x="670" y="452"/>
                    </a:cubicBezTo>
                    <a:cubicBezTo>
                      <a:pt x="669" y="452"/>
                      <a:pt x="669" y="452"/>
                      <a:pt x="669" y="452"/>
                    </a:cubicBezTo>
                    <a:cubicBezTo>
                      <a:pt x="668" y="452"/>
                      <a:pt x="668" y="452"/>
                      <a:pt x="668" y="452"/>
                    </a:cubicBezTo>
                    <a:cubicBezTo>
                      <a:pt x="668" y="451"/>
                      <a:pt x="668" y="451"/>
                      <a:pt x="668" y="451"/>
                    </a:cubicBezTo>
                    <a:cubicBezTo>
                      <a:pt x="669" y="451"/>
                      <a:pt x="669" y="451"/>
                      <a:pt x="669" y="451"/>
                    </a:cubicBezTo>
                    <a:cubicBezTo>
                      <a:pt x="670" y="450"/>
                      <a:pt x="670" y="450"/>
                      <a:pt x="670" y="450"/>
                    </a:cubicBezTo>
                    <a:cubicBezTo>
                      <a:pt x="672" y="450"/>
                      <a:pt x="672" y="450"/>
                      <a:pt x="672" y="450"/>
                    </a:cubicBezTo>
                    <a:cubicBezTo>
                      <a:pt x="670" y="449"/>
                      <a:pt x="670" y="449"/>
                      <a:pt x="670" y="449"/>
                    </a:cubicBezTo>
                    <a:cubicBezTo>
                      <a:pt x="669" y="449"/>
                      <a:pt x="669" y="449"/>
                      <a:pt x="669" y="449"/>
                    </a:cubicBezTo>
                    <a:cubicBezTo>
                      <a:pt x="668" y="450"/>
                      <a:pt x="668" y="450"/>
                      <a:pt x="668" y="450"/>
                    </a:cubicBezTo>
                    <a:cubicBezTo>
                      <a:pt x="667" y="449"/>
                      <a:pt x="667" y="449"/>
                      <a:pt x="667" y="449"/>
                    </a:cubicBezTo>
                    <a:cubicBezTo>
                      <a:pt x="668" y="449"/>
                      <a:pt x="668" y="449"/>
                      <a:pt x="668" y="449"/>
                    </a:cubicBezTo>
                    <a:cubicBezTo>
                      <a:pt x="669" y="446"/>
                      <a:pt x="669" y="446"/>
                      <a:pt x="669" y="446"/>
                    </a:cubicBezTo>
                    <a:cubicBezTo>
                      <a:pt x="670" y="446"/>
                      <a:pt x="670" y="446"/>
                      <a:pt x="670" y="446"/>
                    </a:cubicBezTo>
                    <a:cubicBezTo>
                      <a:pt x="672" y="446"/>
                      <a:pt x="672" y="446"/>
                      <a:pt x="672" y="446"/>
                    </a:cubicBezTo>
                    <a:cubicBezTo>
                      <a:pt x="673" y="444"/>
                      <a:pt x="673" y="444"/>
                      <a:pt x="673" y="444"/>
                    </a:cubicBezTo>
                    <a:cubicBezTo>
                      <a:pt x="675" y="444"/>
                      <a:pt x="675" y="444"/>
                      <a:pt x="675" y="444"/>
                    </a:cubicBezTo>
                    <a:cubicBezTo>
                      <a:pt x="675" y="442"/>
                      <a:pt x="675" y="442"/>
                      <a:pt x="675" y="442"/>
                    </a:cubicBezTo>
                    <a:cubicBezTo>
                      <a:pt x="677" y="440"/>
                      <a:pt x="677" y="440"/>
                      <a:pt x="677" y="440"/>
                    </a:cubicBezTo>
                    <a:cubicBezTo>
                      <a:pt x="678" y="440"/>
                      <a:pt x="678" y="440"/>
                      <a:pt x="678" y="440"/>
                    </a:cubicBezTo>
                    <a:cubicBezTo>
                      <a:pt x="677" y="439"/>
                      <a:pt x="677" y="439"/>
                      <a:pt x="677" y="439"/>
                    </a:cubicBezTo>
                    <a:cubicBezTo>
                      <a:pt x="677" y="439"/>
                      <a:pt x="677" y="439"/>
                      <a:pt x="677" y="439"/>
                    </a:cubicBezTo>
                    <a:cubicBezTo>
                      <a:pt x="675" y="441"/>
                      <a:pt x="675" y="441"/>
                      <a:pt x="675" y="441"/>
                    </a:cubicBezTo>
                    <a:cubicBezTo>
                      <a:pt x="674" y="441"/>
                      <a:pt x="674" y="441"/>
                      <a:pt x="674" y="441"/>
                    </a:cubicBezTo>
                    <a:cubicBezTo>
                      <a:pt x="673" y="443"/>
                      <a:pt x="673" y="443"/>
                      <a:pt x="673" y="443"/>
                    </a:cubicBezTo>
                    <a:cubicBezTo>
                      <a:pt x="671" y="444"/>
                      <a:pt x="671" y="444"/>
                      <a:pt x="671" y="444"/>
                    </a:cubicBezTo>
                    <a:cubicBezTo>
                      <a:pt x="670" y="444"/>
                      <a:pt x="670" y="444"/>
                      <a:pt x="670" y="444"/>
                    </a:cubicBezTo>
                    <a:cubicBezTo>
                      <a:pt x="667" y="446"/>
                      <a:pt x="667" y="446"/>
                      <a:pt x="667" y="446"/>
                    </a:cubicBezTo>
                    <a:cubicBezTo>
                      <a:pt x="665" y="446"/>
                      <a:pt x="665" y="446"/>
                      <a:pt x="665" y="446"/>
                    </a:cubicBezTo>
                    <a:cubicBezTo>
                      <a:pt x="664" y="445"/>
                      <a:pt x="664" y="445"/>
                      <a:pt x="664" y="445"/>
                    </a:cubicBezTo>
                    <a:cubicBezTo>
                      <a:pt x="664" y="445"/>
                      <a:pt x="664" y="445"/>
                      <a:pt x="664" y="445"/>
                    </a:cubicBezTo>
                    <a:cubicBezTo>
                      <a:pt x="667" y="442"/>
                      <a:pt x="667" y="442"/>
                      <a:pt x="667" y="442"/>
                    </a:cubicBezTo>
                    <a:cubicBezTo>
                      <a:pt x="669" y="441"/>
                      <a:pt x="669" y="441"/>
                      <a:pt x="669" y="441"/>
                    </a:cubicBezTo>
                    <a:cubicBezTo>
                      <a:pt x="669" y="440"/>
                      <a:pt x="669" y="440"/>
                      <a:pt x="669" y="440"/>
                    </a:cubicBezTo>
                    <a:cubicBezTo>
                      <a:pt x="670" y="439"/>
                      <a:pt x="670" y="439"/>
                      <a:pt x="670" y="439"/>
                    </a:cubicBezTo>
                    <a:cubicBezTo>
                      <a:pt x="670" y="438"/>
                      <a:pt x="670" y="438"/>
                      <a:pt x="670" y="438"/>
                    </a:cubicBezTo>
                    <a:cubicBezTo>
                      <a:pt x="668" y="440"/>
                      <a:pt x="668" y="440"/>
                      <a:pt x="668" y="440"/>
                    </a:cubicBezTo>
                    <a:cubicBezTo>
                      <a:pt x="665" y="442"/>
                      <a:pt x="665" y="442"/>
                      <a:pt x="665" y="442"/>
                    </a:cubicBezTo>
                    <a:cubicBezTo>
                      <a:pt x="664" y="443"/>
                      <a:pt x="664" y="443"/>
                      <a:pt x="664" y="443"/>
                    </a:cubicBezTo>
                    <a:cubicBezTo>
                      <a:pt x="663" y="442"/>
                      <a:pt x="663" y="442"/>
                      <a:pt x="663" y="442"/>
                    </a:cubicBezTo>
                    <a:cubicBezTo>
                      <a:pt x="662" y="442"/>
                      <a:pt x="662" y="442"/>
                      <a:pt x="662" y="442"/>
                    </a:cubicBezTo>
                    <a:cubicBezTo>
                      <a:pt x="662" y="440"/>
                      <a:pt x="662" y="440"/>
                      <a:pt x="662" y="440"/>
                    </a:cubicBezTo>
                    <a:cubicBezTo>
                      <a:pt x="662" y="440"/>
                      <a:pt x="662" y="440"/>
                      <a:pt x="662" y="440"/>
                    </a:cubicBezTo>
                    <a:cubicBezTo>
                      <a:pt x="661" y="440"/>
                      <a:pt x="661" y="440"/>
                      <a:pt x="661" y="440"/>
                    </a:cubicBezTo>
                    <a:cubicBezTo>
                      <a:pt x="660" y="439"/>
                      <a:pt x="660" y="439"/>
                      <a:pt x="660" y="439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1" y="438"/>
                      <a:pt x="661" y="438"/>
                      <a:pt x="661" y="438"/>
                    </a:cubicBezTo>
                    <a:cubicBezTo>
                      <a:pt x="661" y="437"/>
                      <a:pt x="661" y="437"/>
                      <a:pt x="661" y="437"/>
                    </a:cubicBezTo>
                    <a:cubicBezTo>
                      <a:pt x="661" y="437"/>
                      <a:pt x="661" y="437"/>
                      <a:pt x="661" y="437"/>
                    </a:cubicBezTo>
                    <a:cubicBezTo>
                      <a:pt x="660" y="437"/>
                      <a:pt x="660" y="437"/>
                      <a:pt x="660" y="437"/>
                    </a:cubicBezTo>
                    <a:cubicBezTo>
                      <a:pt x="660" y="436"/>
                      <a:pt x="660" y="436"/>
                      <a:pt x="660" y="436"/>
                    </a:cubicBezTo>
                    <a:cubicBezTo>
                      <a:pt x="660" y="435"/>
                      <a:pt x="660" y="435"/>
                      <a:pt x="660" y="435"/>
                    </a:cubicBezTo>
                    <a:cubicBezTo>
                      <a:pt x="661" y="434"/>
                      <a:pt x="661" y="434"/>
                      <a:pt x="661" y="434"/>
                    </a:cubicBezTo>
                    <a:cubicBezTo>
                      <a:pt x="661" y="433"/>
                      <a:pt x="661" y="433"/>
                      <a:pt x="661" y="433"/>
                    </a:cubicBezTo>
                    <a:cubicBezTo>
                      <a:pt x="660" y="433"/>
                      <a:pt x="660" y="433"/>
                      <a:pt x="660" y="433"/>
                    </a:cubicBezTo>
                    <a:cubicBezTo>
                      <a:pt x="659" y="432"/>
                      <a:pt x="659" y="432"/>
                      <a:pt x="659" y="432"/>
                    </a:cubicBezTo>
                    <a:cubicBezTo>
                      <a:pt x="658" y="432"/>
                      <a:pt x="658" y="432"/>
                      <a:pt x="658" y="432"/>
                    </a:cubicBezTo>
                    <a:cubicBezTo>
                      <a:pt x="658" y="433"/>
                      <a:pt x="658" y="433"/>
                      <a:pt x="658" y="433"/>
                    </a:cubicBezTo>
                    <a:cubicBezTo>
                      <a:pt x="659" y="434"/>
                      <a:pt x="659" y="434"/>
                      <a:pt x="659" y="434"/>
                    </a:cubicBezTo>
                    <a:cubicBezTo>
                      <a:pt x="657" y="435"/>
                      <a:pt x="657" y="435"/>
                      <a:pt x="657" y="435"/>
                    </a:cubicBezTo>
                    <a:cubicBezTo>
                      <a:pt x="656" y="434"/>
                      <a:pt x="656" y="434"/>
                      <a:pt x="656" y="434"/>
                    </a:cubicBezTo>
                    <a:cubicBezTo>
                      <a:pt x="655" y="433"/>
                      <a:pt x="655" y="433"/>
                      <a:pt x="655" y="433"/>
                    </a:cubicBezTo>
                    <a:cubicBezTo>
                      <a:pt x="654" y="433"/>
                      <a:pt x="654" y="433"/>
                      <a:pt x="654" y="433"/>
                    </a:cubicBezTo>
                    <a:cubicBezTo>
                      <a:pt x="656" y="434"/>
                      <a:pt x="656" y="434"/>
                      <a:pt x="656" y="434"/>
                    </a:cubicBezTo>
                    <a:cubicBezTo>
                      <a:pt x="657" y="436"/>
                      <a:pt x="657" y="436"/>
                      <a:pt x="657" y="436"/>
                    </a:cubicBezTo>
                    <a:cubicBezTo>
                      <a:pt x="657" y="437"/>
                      <a:pt x="657" y="437"/>
                      <a:pt x="657" y="437"/>
                    </a:cubicBezTo>
                    <a:cubicBezTo>
                      <a:pt x="656" y="437"/>
                      <a:pt x="656" y="437"/>
                      <a:pt x="656" y="437"/>
                    </a:cubicBezTo>
                    <a:cubicBezTo>
                      <a:pt x="655" y="438"/>
                      <a:pt x="655" y="438"/>
                      <a:pt x="655" y="438"/>
                    </a:cubicBezTo>
                    <a:cubicBezTo>
                      <a:pt x="656" y="438"/>
                      <a:pt x="656" y="438"/>
                      <a:pt x="656" y="438"/>
                    </a:cubicBezTo>
                    <a:cubicBezTo>
                      <a:pt x="654" y="438"/>
                      <a:pt x="654" y="438"/>
                      <a:pt x="654" y="438"/>
                    </a:cubicBezTo>
                    <a:cubicBezTo>
                      <a:pt x="653" y="437"/>
                      <a:pt x="653" y="437"/>
                      <a:pt x="653" y="437"/>
                    </a:cubicBezTo>
                    <a:cubicBezTo>
                      <a:pt x="653" y="435"/>
                      <a:pt x="653" y="435"/>
                      <a:pt x="653" y="435"/>
                    </a:cubicBezTo>
                    <a:cubicBezTo>
                      <a:pt x="652" y="435"/>
                      <a:pt x="652" y="435"/>
                      <a:pt x="652" y="435"/>
                    </a:cubicBezTo>
                    <a:cubicBezTo>
                      <a:pt x="652" y="435"/>
                      <a:pt x="652" y="435"/>
                      <a:pt x="652" y="435"/>
                    </a:cubicBezTo>
                    <a:cubicBezTo>
                      <a:pt x="653" y="436"/>
                      <a:pt x="653" y="436"/>
                      <a:pt x="653" y="436"/>
                    </a:cubicBezTo>
                    <a:cubicBezTo>
                      <a:pt x="653" y="438"/>
                      <a:pt x="653" y="438"/>
                      <a:pt x="653" y="438"/>
                    </a:cubicBezTo>
                    <a:cubicBezTo>
                      <a:pt x="652" y="439"/>
                      <a:pt x="652" y="439"/>
                      <a:pt x="652" y="439"/>
                    </a:cubicBezTo>
                    <a:cubicBezTo>
                      <a:pt x="653" y="439"/>
                      <a:pt x="653" y="439"/>
                      <a:pt x="653" y="439"/>
                    </a:cubicBezTo>
                    <a:cubicBezTo>
                      <a:pt x="655" y="441"/>
                      <a:pt x="655" y="441"/>
                      <a:pt x="655" y="441"/>
                    </a:cubicBezTo>
                    <a:cubicBezTo>
                      <a:pt x="655" y="442"/>
                      <a:pt x="655" y="442"/>
                      <a:pt x="655" y="442"/>
                    </a:cubicBezTo>
                    <a:cubicBezTo>
                      <a:pt x="655" y="444"/>
                      <a:pt x="655" y="444"/>
                      <a:pt x="655" y="444"/>
                    </a:cubicBezTo>
                    <a:cubicBezTo>
                      <a:pt x="656" y="444"/>
                      <a:pt x="656" y="444"/>
                      <a:pt x="656" y="444"/>
                    </a:cubicBezTo>
                    <a:cubicBezTo>
                      <a:pt x="656" y="445"/>
                      <a:pt x="656" y="445"/>
                      <a:pt x="656" y="445"/>
                    </a:cubicBezTo>
                    <a:cubicBezTo>
                      <a:pt x="655" y="445"/>
                      <a:pt x="655" y="445"/>
                      <a:pt x="655" y="445"/>
                    </a:cubicBezTo>
                    <a:cubicBezTo>
                      <a:pt x="653" y="445"/>
                      <a:pt x="653" y="445"/>
                      <a:pt x="653" y="445"/>
                    </a:cubicBezTo>
                    <a:cubicBezTo>
                      <a:pt x="652" y="444"/>
                      <a:pt x="652" y="444"/>
                      <a:pt x="652" y="444"/>
                    </a:cubicBezTo>
                    <a:cubicBezTo>
                      <a:pt x="651" y="446"/>
                      <a:pt x="651" y="446"/>
                      <a:pt x="651" y="446"/>
                    </a:cubicBezTo>
                    <a:cubicBezTo>
                      <a:pt x="651" y="446"/>
                      <a:pt x="651" y="446"/>
                      <a:pt x="651" y="446"/>
                    </a:cubicBezTo>
                    <a:cubicBezTo>
                      <a:pt x="649" y="443"/>
                      <a:pt x="649" y="443"/>
                      <a:pt x="649" y="443"/>
                    </a:cubicBezTo>
                    <a:cubicBezTo>
                      <a:pt x="648" y="442"/>
                      <a:pt x="648" y="442"/>
                      <a:pt x="648" y="442"/>
                    </a:cubicBezTo>
                    <a:cubicBezTo>
                      <a:pt x="649" y="441"/>
                      <a:pt x="649" y="441"/>
                      <a:pt x="649" y="441"/>
                    </a:cubicBezTo>
                    <a:cubicBezTo>
                      <a:pt x="649" y="440"/>
                      <a:pt x="649" y="440"/>
                      <a:pt x="649" y="440"/>
                    </a:cubicBezTo>
                    <a:cubicBezTo>
                      <a:pt x="647" y="439"/>
                      <a:pt x="647" y="439"/>
                      <a:pt x="647" y="439"/>
                    </a:cubicBezTo>
                    <a:cubicBezTo>
                      <a:pt x="646" y="439"/>
                      <a:pt x="646" y="439"/>
                      <a:pt x="646" y="439"/>
                    </a:cubicBezTo>
                    <a:cubicBezTo>
                      <a:pt x="645" y="438"/>
                      <a:pt x="645" y="438"/>
                      <a:pt x="645" y="438"/>
                    </a:cubicBezTo>
                    <a:cubicBezTo>
                      <a:pt x="645" y="437"/>
                      <a:pt x="645" y="437"/>
                      <a:pt x="645" y="437"/>
                    </a:cubicBezTo>
                    <a:cubicBezTo>
                      <a:pt x="644" y="437"/>
                      <a:pt x="644" y="437"/>
                      <a:pt x="644" y="437"/>
                    </a:cubicBezTo>
                    <a:cubicBezTo>
                      <a:pt x="642" y="438"/>
                      <a:pt x="642" y="438"/>
                      <a:pt x="642" y="438"/>
                    </a:cubicBezTo>
                    <a:cubicBezTo>
                      <a:pt x="640" y="438"/>
                      <a:pt x="640" y="438"/>
                      <a:pt x="640" y="438"/>
                    </a:cubicBezTo>
                    <a:cubicBezTo>
                      <a:pt x="641" y="439"/>
                      <a:pt x="641" y="439"/>
                      <a:pt x="641" y="439"/>
                    </a:cubicBezTo>
                    <a:cubicBezTo>
                      <a:pt x="643" y="439"/>
                      <a:pt x="643" y="439"/>
                      <a:pt x="643" y="439"/>
                    </a:cubicBezTo>
                    <a:cubicBezTo>
                      <a:pt x="645" y="439"/>
                      <a:pt x="645" y="439"/>
                      <a:pt x="645" y="439"/>
                    </a:cubicBezTo>
                    <a:cubicBezTo>
                      <a:pt x="647" y="440"/>
                      <a:pt x="647" y="440"/>
                      <a:pt x="647" y="440"/>
                    </a:cubicBezTo>
                    <a:cubicBezTo>
                      <a:pt x="647" y="442"/>
                      <a:pt x="647" y="442"/>
                      <a:pt x="647" y="442"/>
                    </a:cubicBezTo>
                    <a:cubicBezTo>
                      <a:pt x="645" y="443"/>
                      <a:pt x="645" y="443"/>
                      <a:pt x="645" y="443"/>
                    </a:cubicBezTo>
                    <a:cubicBezTo>
                      <a:pt x="646" y="445"/>
                      <a:pt x="646" y="445"/>
                      <a:pt x="646" y="445"/>
                    </a:cubicBezTo>
                    <a:cubicBezTo>
                      <a:pt x="647" y="444"/>
                      <a:pt x="647" y="444"/>
                      <a:pt x="647" y="444"/>
                    </a:cubicBezTo>
                    <a:cubicBezTo>
                      <a:pt x="647" y="445"/>
                      <a:pt x="647" y="445"/>
                      <a:pt x="647" y="445"/>
                    </a:cubicBezTo>
                    <a:cubicBezTo>
                      <a:pt x="647" y="446"/>
                      <a:pt x="647" y="446"/>
                      <a:pt x="647" y="446"/>
                    </a:cubicBezTo>
                    <a:cubicBezTo>
                      <a:pt x="647" y="447"/>
                      <a:pt x="647" y="447"/>
                      <a:pt x="647" y="447"/>
                    </a:cubicBezTo>
                    <a:cubicBezTo>
                      <a:pt x="649" y="447"/>
                      <a:pt x="649" y="447"/>
                      <a:pt x="649" y="447"/>
                    </a:cubicBezTo>
                    <a:cubicBezTo>
                      <a:pt x="649" y="447"/>
                      <a:pt x="649" y="447"/>
                      <a:pt x="649" y="447"/>
                    </a:cubicBezTo>
                    <a:cubicBezTo>
                      <a:pt x="648" y="449"/>
                      <a:pt x="648" y="449"/>
                      <a:pt x="648" y="449"/>
                    </a:cubicBezTo>
                    <a:cubicBezTo>
                      <a:pt x="645" y="451"/>
                      <a:pt x="645" y="451"/>
                      <a:pt x="645" y="451"/>
                    </a:cubicBezTo>
                    <a:cubicBezTo>
                      <a:pt x="644" y="453"/>
                      <a:pt x="644" y="453"/>
                      <a:pt x="644" y="453"/>
                    </a:cubicBezTo>
                    <a:cubicBezTo>
                      <a:pt x="647" y="452"/>
                      <a:pt x="647" y="452"/>
                      <a:pt x="647" y="452"/>
                    </a:cubicBezTo>
                    <a:cubicBezTo>
                      <a:pt x="648" y="451"/>
                      <a:pt x="648" y="451"/>
                      <a:pt x="648" y="451"/>
                    </a:cubicBezTo>
                    <a:cubicBezTo>
                      <a:pt x="649" y="450"/>
                      <a:pt x="649" y="450"/>
                      <a:pt x="649" y="450"/>
                    </a:cubicBezTo>
                    <a:cubicBezTo>
                      <a:pt x="651" y="450"/>
                      <a:pt x="651" y="450"/>
                      <a:pt x="651" y="450"/>
                    </a:cubicBezTo>
                    <a:cubicBezTo>
                      <a:pt x="652" y="451"/>
                      <a:pt x="652" y="451"/>
                      <a:pt x="652" y="451"/>
                    </a:cubicBezTo>
                    <a:cubicBezTo>
                      <a:pt x="652" y="451"/>
                      <a:pt x="652" y="451"/>
                      <a:pt x="652" y="451"/>
                    </a:cubicBezTo>
                    <a:cubicBezTo>
                      <a:pt x="650" y="452"/>
                      <a:pt x="650" y="452"/>
                      <a:pt x="650" y="452"/>
                    </a:cubicBezTo>
                    <a:cubicBezTo>
                      <a:pt x="650" y="453"/>
                      <a:pt x="650" y="453"/>
                      <a:pt x="650" y="453"/>
                    </a:cubicBezTo>
                    <a:cubicBezTo>
                      <a:pt x="650" y="454"/>
                      <a:pt x="650" y="454"/>
                      <a:pt x="650" y="454"/>
                    </a:cubicBezTo>
                    <a:cubicBezTo>
                      <a:pt x="652" y="454"/>
                      <a:pt x="652" y="454"/>
                      <a:pt x="652" y="454"/>
                    </a:cubicBezTo>
                    <a:cubicBezTo>
                      <a:pt x="653" y="455"/>
                      <a:pt x="653" y="455"/>
                      <a:pt x="653" y="455"/>
                    </a:cubicBezTo>
                    <a:cubicBezTo>
                      <a:pt x="652" y="456"/>
                      <a:pt x="652" y="456"/>
                      <a:pt x="652" y="456"/>
                    </a:cubicBezTo>
                    <a:cubicBezTo>
                      <a:pt x="650" y="456"/>
                      <a:pt x="650" y="456"/>
                      <a:pt x="650" y="456"/>
                    </a:cubicBezTo>
                    <a:cubicBezTo>
                      <a:pt x="650" y="457"/>
                      <a:pt x="650" y="457"/>
                      <a:pt x="650" y="457"/>
                    </a:cubicBezTo>
                    <a:cubicBezTo>
                      <a:pt x="651" y="457"/>
                      <a:pt x="651" y="457"/>
                      <a:pt x="651" y="457"/>
                    </a:cubicBezTo>
                    <a:cubicBezTo>
                      <a:pt x="651" y="458"/>
                      <a:pt x="651" y="458"/>
                      <a:pt x="651" y="458"/>
                    </a:cubicBezTo>
                    <a:cubicBezTo>
                      <a:pt x="651" y="459"/>
                      <a:pt x="651" y="459"/>
                      <a:pt x="651" y="459"/>
                    </a:cubicBezTo>
                    <a:cubicBezTo>
                      <a:pt x="651" y="459"/>
                      <a:pt x="651" y="459"/>
                      <a:pt x="651" y="459"/>
                    </a:cubicBezTo>
                    <a:cubicBezTo>
                      <a:pt x="652" y="459"/>
                      <a:pt x="652" y="459"/>
                      <a:pt x="652" y="459"/>
                    </a:cubicBezTo>
                    <a:cubicBezTo>
                      <a:pt x="651" y="461"/>
                      <a:pt x="651" y="461"/>
                      <a:pt x="651" y="461"/>
                    </a:cubicBezTo>
                    <a:cubicBezTo>
                      <a:pt x="652" y="461"/>
                      <a:pt x="652" y="461"/>
                      <a:pt x="652" y="461"/>
                    </a:cubicBezTo>
                    <a:cubicBezTo>
                      <a:pt x="653" y="462"/>
                      <a:pt x="653" y="462"/>
                      <a:pt x="653" y="462"/>
                    </a:cubicBezTo>
                    <a:cubicBezTo>
                      <a:pt x="653" y="465"/>
                      <a:pt x="653" y="465"/>
                      <a:pt x="653" y="465"/>
                    </a:cubicBezTo>
                    <a:cubicBezTo>
                      <a:pt x="653" y="465"/>
                      <a:pt x="653" y="465"/>
                      <a:pt x="653" y="465"/>
                    </a:cubicBezTo>
                    <a:cubicBezTo>
                      <a:pt x="654" y="464"/>
                      <a:pt x="654" y="464"/>
                      <a:pt x="654" y="464"/>
                    </a:cubicBezTo>
                    <a:cubicBezTo>
                      <a:pt x="654" y="462"/>
                      <a:pt x="654" y="462"/>
                      <a:pt x="654" y="462"/>
                    </a:cubicBezTo>
                    <a:cubicBezTo>
                      <a:pt x="655" y="462"/>
                      <a:pt x="655" y="462"/>
                      <a:pt x="655" y="462"/>
                    </a:cubicBezTo>
                    <a:cubicBezTo>
                      <a:pt x="656" y="463"/>
                      <a:pt x="656" y="463"/>
                      <a:pt x="656" y="463"/>
                    </a:cubicBezTo>
                    <a:cubicBezTo>
                      <a:pt x="656" y="465"/>
                      <a:pt x="656" y="465"/>
                      <a:pt x="656" y="465"/>
                    </a:cubicBezTo>
                    <a:cubicBezTo>
                      <a:pt x="657" y="466"/>
                      <a:pt x="657" y="466"/>
                      <a:pt x="657" y="466"/>
                    </a:cubicBezTo>
                    <a:cubicBezTo>
                      <a:pt x="656" y="466"/>
                      <a:pt x="656" y="466"/>
                      <a:pt x="656" y="466"/>
                    </a:cubicBezTo>
                    <a:cubicBezTo>
                      <a:pt x="655" y="467"/>
                      <a:pt x="655" y="467"/>
                      <a:pt x="655" y="467"/>
                    </a:cubicBezTo>
                    <a:cubicBezTo>
                      <a:pt x="655" y="468"/>
                      <a:pt x="655" y="468"/>
                      <a:pt x="655" y="468"/>
                    </a:cubicBezTo>
                    <a:cubicBezTo>
                      <a:pt x="658" y="468"/>
                      <a:pt x="658" y="468"/>
                      <a:pt x="658" y="468"/>
                    </a:cubicBezTo>
                    <a:cubicBezTo>
                      <a:pt x="658" y="467"/>
                      <a:pt x="658" y="467"/>
                      <a:pt x="658" y="467"/>
                    </a:cubicBezTo>
                    <a:cubicBezTo>
                      <a:pt x="658" y="468"/>
                      <a:pt x="658" y="468"/>
                      <a:pt x="658" y="468"/>
                    </a:cubicBezTo>
                    <a:cubicBezTo>
                      <a:pt x="659" y="467"/>
                      <a:pt x="659" y="467"/>
                      <a:pt x="659" y="467"/>
                    </a:cubicBezTo>
                    <a:cubicBezTo>
                      <a:pt x="659" y="466"/>
                      <a:pt x="659" y="466"/>
                      <a:pt x="659" y="466"/>
                    </a:cubicBezTo>
                    <a:cubicBezTo>
                      <a:pt x="660" y="466"/>
                      <a:pt x="660" y="466"/>
                      <a:pt x="660" y="466"/>
                    </a:cubicBezTo>
                    <a:cubicBezTo>
                      <a:pt x="661" y="468"/>
                      <a:pt x="661" y="468"/>
                      <a:pt x="661" y="468"/>
                    </a:cubicBezTo>
                    <a:cubicBezTo>
                      <a:pt x="661" y="469"/>
                      <a:pt x="661" y="469"/>
                      <a:pt x="661" y="469"/>
                    </a:cubicBezTo>
                    <a:cubicBezTo>
                      <a:pt x="660" y="470"/>
                      <a:pt x="660" y="470"/>
                      <a:pt x="660" y="470"/>
                    </a:cubicBezTo>
                    <a:cubicBezTo>
                      <a:pt x="659" y="472"/>
                      <a:pt x="659" y="472"/>
                      <a:pt x="659" y="472"/>
                    </a:cubicBezTo>
                    <a:cubicBezTo>
                      <a:pt x="659" y="472"/>
                      <a:pt x="659" y="472"/>
                      <a:pt x="659" y="472"/>
                    </a:cubicBezTo>
                    <a:cubicBezTo>
                      <a:pt x="660" y="473"/>
                      <a:pt x="660" y="473"/>
                      <a:pt x="660" y="473"/>
                    </a:cubicBezTo>
                    <a:cubicBezTo>
                      <a:pt x="662" y="473"/>
                      <a:pt x="662" y="473"/>
                      <a:pt x="662" y="473"/>
                    </a:cubicBezTo>
                    <a:cubicBezTo>
                      <a:pt x="663" y="472"/>
                      <a:pt x="663" y="472"/>
                      <a:pt x="663" y="472"/>
                    </a:cubicBezTo>
                    <a:cubicBezTo>
                      <a:pt x="664" y="473"/>
                      <a:pt x="664" y="473"/>
                      <a:pt x="664" y="473"/>
                    </a:cubicBezTo>
                    <a:cubicBezTo>
                      <a:pt x="663" y="474"/>
                      <a:pt x="663" y="474"/>
                      <a:pt x="663" y="474"/>
                    </a:cubicBezTo>
                    <a:cubicBezTo>
                      <a:pt x="662" y="475"/>
                      <a:pt x="662" y="475"/>
                      <a:pt x="662" y="475"/>
                    </a:cubicBezTo>
                    <a:cubicBezTo>
                      <a:pt x="660" y="475"/>
                      <a:pt x="660" y="475"/>
                      <a:pt x="660" y="475"/>
                    </a:cubicBezTo>
                    <a:cubicBezTo>
                      <a:pt x="661" y="476"/>
                      <a:pt x="661" y="476"/>
                      <a:pt x="661" y="476"/>
                    </a:cubicBezTo>
                    <a:cubicBezTo>
                      <a:pt x="662" y="479"/>
                      <a:pt x="662" y="479"/>
                      <a:pt x="662" y="479"/>
                    </a:cubicBezTo>
                    <a:cubicBezTo>
                      <a:pt x="662" y="480"/>
                      <a:pt x="662" y="480"/>
                      <a:pt x="662" y="480"/>
                    </a:cubicBezTo>
                    <a:cubicBezTo>
                      <a:pt x="663" y="480"/>
                      <a:pt x="663" y="480"/>
                      <a:pt x="663" y="480"/>
                    </a:cubicBezTo>
                    <a:cubicBezTo>
                      <a:pt x="663" y="483"/>
                      <a:pt x="663" y="483"/>
                      <a:pt x="663" y="483"/>
                    </a:cubicBezTo>
                    <a:cubicBezTo>
                      <a:pt x="665" y="486"/>
                      <a:pt x="665" y="486"/>
                      <a:pt x="665" y="486"/>
                    </a:cubicBezTo>
                    <a:cubicBezTo>
                      <a:pt x="666" y="487"/>
                      <a:pt x="666" y="487"/>
                      <a:pt x="666" y="487"/>
                    </a:cubicBezTo>
                    <a:cubicBezTo>
                      <a:pt x="665" y="487"/>
                      <a:pt x="665" y="487"/>
                      <a:pt x="665" y="487"/>
                    </a:cubicBezTo>
                    <a:cubicBezTo>
                      <a:pt x="664" y="490"/>
                      <a:pt x="664" y="490"/>
                      <a:pt x="664" y="490"/>
                    </a:cubicBezTo>
                    <a:cubicBezTo>
                      <a:pt x="663" y="492"/>
                      <a:pt x="663" y="492"/>
                      <a:pt x="663" y="492"/>
                    </a:cubicBezTo>
                    <a:cubicBezTo>
                      <a:pt x="664" y="494"/>
                      <a:pt x="664" y="494"/>
                      <a:pt x="664" y="494"/>
                    </a:cubicBezTo>
                    <a:cubicBezTo>
                      <a:pt x="663" y="495"/>
                      <a:pt x="663" y="495"/>
                      <a:pt x="663" y="495"/>
                    </a:cubicBezTo>
                    <a:cubicBezTo>
                      <a:pt x="661" y="492"/>
                      <a:pt x="661" y="492"/>
                      <a:pt x="661" y="492"/>
                    </a:cubicBezTo>
                    <a:cubicBezTo>
                      <a:pt x="660" y="490"/>
                      <a:pt x="660" y="490"/>
                      <a:pt x="660" y="490"/>
                    </a:cubicBezTo>
                    <a:cubicBezTo>
                      <a:pt x="661" y="488"/>
                      <a:pt x="661" y="488"/>
                      <a:pt x="661" y="488"/>
                    </a:cubicBezTo>
                    <a:cubicBezTo>
                      <a:pt x="660" y="485"/>
                      <a:pt x="660" y="485"/>
                      <a:pt x="660" y="485"/>
                    </a:cubicBezTo>
                    <a:cubicBezTo>
                      <a:pt x="660" y="487"/>
                      <a:pt x="660" y="487"/>
                      <a:pt x="660" y="487"/>
                    </a:cubicBezTo>
                    <a:cubicBezTo>
                      <a:pt x="659" y="490"/>
                      <a:pt x="659" y="490"/>
                      <a:pt x="659" y="490"/>
                    </a:cubicBezTo>
                    <a:cubicBezTo>
                      <a:pt x="661" y="493"/>
                      <a:pt x="661" y="493"/>
                      <a:pt x="661" y="493"/>
                    </a:cubicBezTo>
                    <a:cubicBezTo>
                      <a:pt x="660" y="497"/>
                      <a:pt x="660" y="497"/>
                      <a:pt x="660" y="497"/>
                    </a:cubicBezTo>
                    <a:cubicBezTo>
                      <a:pt x="660" y="498"/>
                      <a:pt x="660" y="498"/>
                      <a:pt x="660" y="498"/>
                    </a:cubicBezTo>
                    <a:cubicBezTo>
                      <a:pt x="661" y="500"/>
                      <a:pt x="661" y="500"/>
                      <a:pt x="661" y="500"/>
                    </a:cubicBezTo>
                    <a:cubicBezTo>
                      <a:pt x="660" y="501"/>
                      <a:pt x="660" y="501"/>
                      <a:pt x="660" y="501"/>
                    </a:cubicBezTo>
                    <a:cubicBezTo>
                      <a:pt x="659" y="500"/>
                      <a:pt x="659" y="500"/>
                      <a:pt x="659" y="500"/>
                    </a:cubicBezTo>
                    <a:cubicBezTo>
                      <a:pt x="658" y="499"/>
                      <a:pt x="658" y="499"/>
                      <a:pt x="658" y="499"/>
                    </a:cubicBezTo>
                    <a:cubicBezTo>
                      <a:pt x="656" y="499"/>
                      <a:pt x="656" y="499"/>
                      <a:pt x="656" y="499"/>
                    </a:cubicBezTo>
                    <a:cubicBezTo>
                      <a:pt x="657" y="502"/>
                      <a:pt x="657" y="502"/>
                      <a:pt x="657" y="502"/>
                    </a:cubicBezTo>
                    <a:cubicBezTo>
                      <a:pt x="657" y="505"/>
                      <a:pt x="657" y="505"/>
                      <a:pt x="657" y="505"/>
                    </a:cubicBezTo>
                    <a:cubicBezTo>
                      <a:pt x="658" y="505"/>
                      <a:pt x="658" y="505"/>
                      <a:pt x="658" y="505"/>
                    </a:cubicBezTo>
                    <a:cubicBezTo>
                      <a:pt x="658" y="507"/>
                      <a:pt x="658" y="507"/>
                      <a:pt x="658" y="507"/>
                    </a:cubicBezTo>
                    <a:cubicBezTo>
                      <a:pt x="656" y="506"/>
                      <a:pt x="656" y="506"/>
                      <a:pt x="656" y="506"/>
                    </a:cubicBezTo>
                    <a:cubicBezTo>
                      <a:pt x="655" y="505"/>
                      <a:pt x="655" y="505"/>
                      <a:pt x="655" y="505"/>
                    </a:cubicBezTo>
                    <a:cubicBezTo>
                      <a:pt x="654" y="502"/>
                      <a:pt x="654" y="502"/>
                      <a:pt x="654" y="502"/>
                    </a:cubicBezTo>
                    <a:cubicBezTo>
                      <a:pt x="655" y="501"/>
                      <a:pt x="655" y="501"/>
                      <a:pt x="655" y="501"/>
                    </a:cubicBezTo>
                    <a:cubicBezTo>
                      <a:pt x="655" y="499"/>
                      <a:pt x="655" y="499"/>
                      <a:pt x="655" y="499"/>
                    </a:cubicBezTo>
                    <a:cubicBezTo>
                      <a:pt x="654" y="500"/>
                      <a:pt x="654" y="500"/>
                      <a:pt x="654" y="500"/>
                    </a:cubicBezTo>
                    <a:cubicBezTo>
                      <a:pt x="653" y="501"/>
                      <a:pt x="653" y="501"/>
                      <a:pt x="653" y="501"/>
                    </a:cubicBezTo>
                    <a:cubicBezTo>
                      <a:pt x="652" y="499"/>
                      <a:pt x="652" y="499"/>
                      <a:pt x="652" y="499"/>
                    </a:cubicBezTo>
                    <a:cubicBezTo>
                      <a:pt x="652" y="497"/>
                      <a:pt x="652" y="497"/>
                      <a:pt x="652" y="497"/>
                    </a:cubicBezTo>
                    <a:cubicBezTo>
                      <a:pt x="651" y="497"/>
                      <a:pt x="651" y="497"/>
                      <a:pt x="651" y="497"/>
                    </a:cubicBezTo>
                    <a:cubicBezTo>
                      <a:pt x="651" y="499"/>
                      <a:pt x="651" y="499"/>
                      <a:pt x="651" y="499"/>
                    </a:cubicBezTo>
                    <a:cubicBezTo>
                      <a:pt x="650" y="498"/>
                      <a:pt x="650" y="498"/>
                      <a:pt x="650" y="498"/>
                    </a:cubicBezTo>
                    <a:cubicBezTo>
                      <a:pt x="650" y="497"/>
                      <a:pt x="650" y="497"/>
                      <a:pt x="650" y="497"/>
                    </a:cubicBezTo>
                    <a:cubicBezTo>
                      <a:pt x="650" y="495"/>
                      <a:pt x="650" y="495"/>
                      <a:pt x="650" y="495"/>
                    </a:cubicBezTo>
                    <a:cubicBezTo>
                      <a:pt x="649" y="495"/>
                      <a:pt x="649" y="495"/>
                      <a:pt x="649" y="495"/>
                    </a:cubicBezTo>
                    <a:cubicBezTo>
                      <a:pt x="649" y="496"/>
                      <a:pt x="649" y="496"/>
                      <a:pt x="649" y="496"/>
                    </a:cubicBezTo>
                    <a:cubicBezTo>
                      <a:pt x="649" y="496"/>
                      <a:pt x="649" y="496"/>
                      <a:pt x="649" y="496"/>
                    </a:cubicBezTo>
                    <a:cubicBezTo>
                      <a:pt x="649" y="498"/>
                      <a:pt x="649" y="498"/>
                      <a:pt x="649" y="498"/>
                    </a:cubicBezTo>
                    <a:cubicBezTo>
                      <a:pt x="648" y="497"/>
                      <a:pt x="648" y="497"/>
                      <a:pt x="648" y="497"/>
                    </a:cubicBezTo>
                    <a:cubicBezTo>
                      <a:pt x="647" y="496"/>
                      <a:pt x="647" y="496"/>
                      <a:pt x="647" y="496"/>
                    </a:cubicBezTo>
                    <a:cubicBezTo>
                      <a:pt x="646" y="495"/>
                      <a:pt x="646" y="495"/>
                      <a:pt x="646" y="495"/>
                    </a:cubicBezTo>
                    <a:cubicBezTo>
                      <a:pt x="647" y="493"/>
                      <a:pt x="647" y="493"/>
                      <a:pt x="647" y="493"/>
                    </a:cubicBezTo>
                    <a:cubicBezTo>
                      <a:pt x="646" y="490"/>
                      <a:pt x="646" y="490"/>
                      <a:pt x="646" y="490"/>
                    </a:cubicBezTo>
                    <a:cubicBezTo>
                      <a:pt x="646" y="489"/>
                      <a:pt x="646" y="489"/>
                      <a:pt x="646" y="489"/>
                    </a:cubicBezTo>
                    <a:cubicBezTo>
                      <a:pt x="645" y="491"/>
                      <a:pt x="645" y="491"/>
                      <a:pt x="645" y="491"/>
                    </a:cubicBezTo>
                    <a:cubicBezTo>
                      <a:pt x="645" y="494"/>
                      <a:pt x="645" y="494"/>
                      <a:pt x="645" y="494"/>
                    </a:cubicBezTo>
                    <a:cubicBezTo>
                      <a:pt x="646" y="495"/>
                      <a:pt x="646" y="495"/>
                      <a:pt x="646" y="495"/>
                    </a:cubicBezTo>
                    <a:cubicBezTo>
                      <a:pt x="645" y="497"/>
                      <a:pt x="645" y="497"/>
                      <a:pt x="645" y="497"/>
                    </a:cubicBezTo>
                    <a:cubicBezTo>
                      <a:pt x="643" y="493"/>
                      <a:pt x="643" y="493"/>
                      <a:pt x="643" y="493"/>
                    </a:cubicBezTo>
                    <a:cubicBezTo>
                      <a:pt x="642" y="492"/>
                      <a:pt x="642" y="492"/>
                      <a:pt x="642" y="492"/>
                    </a:cubicBezTo>
                    <a:cubicBezTo>
                      <a:pt x="642" y="491"/>
                      <a:pt x="642" y="491"/>
                      <a:pt x="642" y="491"/>
                    </a:cubicBezTo>
                    <a:cubicBezTo>
                      <a:pt x="641" y="491"/>
                      <a:pt x="641" y="491"/>
                      <a:pt x="641" y="491"/>
                    </a:cubicBezTo>
                    <a:cubicBezTo>
                      <a:pt x="640" y="488"/>
                      <a:pt x="640" y="488"/>
                      <a:pt x="640" y="488"/>
                    </a:cubicBezTo>
                    <a:cubicBezTo>
                      <a:pt x="639" y="487"/>
                      <a:pt x="639" y="487"/>
                      <a:pt x="639" y="487"/>
                    </a:cubicBezTo>
                    <a:cubicBezTo>
                      <a:pt x="639" y="486"/>
                      <a:pt x="639" y="486"/>
                      <a:pt x="639" y="486"/>
                    </a:cubicBezTo>
                    <a:cubicBezTo>
                      <a:pt x="638" y="485"/>
                      <a:pt x="638" y="485"/>
                      <a:pt x="638" y="485"/>
                    </a:cubicBezTo>
                    <a:cubicBezTo>
                      <a:pt x="637" y="485"/>
                      <a:pt x="637" y="485"/>
                      <a:pt x="637" y="485"/>
                    </a:cubicBezTo>
                    <a:cubicBezTo>
                      <a:pt x="637" y="486"/>
                      <a:pt x="637" y="486"/>
                      <a:pt x="637" y="486"/>
                    </a:cubicBezTo>
                    <a:cubicBezTo>
                      <a:pt x="638" y="488"/>
                      <a:pt x="638" y="488"/>
                      <a:pt x="638" y="488"/>
                    </a:cubicBezTo>
                    <a:cubicBezTo>
                      <a:pt x="638" y="490"/>
                      <a:pt x="638" y="490"/>
                      <a:pt x="638" y="490"/>
                    </a:cubicBezTo>
                    <a:cubicBezTo>
                      <a:pt x="637" y="489"/>
                      <a:pt x="637" y="489"/>
                      <a:pt x="637" y="489"/>
                    </a:cubicBezTo>
                    <a:cubicBezTo>
                      <a:pt x="637" y="488"/>
                      <a:pt x="637" y="488"/>
                      <a:pt x="637" y="488"/>
                    </a:cubicBezTo>
                    <a:cubicBezTo>
                      <a:pt x="636" y="487"/>
                      <a:pt x="636" y="487"/>
                      <a:pt x="636" y="487"/>
                    </a:cubicBezTo>
                    <a:cubicBezTo>
                      <a:pt x="634" y="486"/>
                      <a:pt x="634" y="486"/>
                      <a:pt x="634" y="486"/>
                    </a:cubicBezTo>
                    <a:cubicBezTo>
                      <a:pt x="633" y="483"/>
                      <a:pt x="633" y="483"/>
                      <a:pt x="633" y="483"/>
                    </a:cubicBezTo>
                    <a:cubicBezTo>
                      <a:pt x="633" y="481"/>
                      <a:pt x="633" y="481"/>
                      <a:pt x="633" y="481"/>
                    </a:cubicBezTo>
                    <a:cubicBezTo>
                      <a:pt x="631" y="481"/>
                      <a:pt x="631" y="481"/>
                      <a:pt x="631" y="481"/>
                    </a:cubicBezTo>
                    <a:cubicBezTo>
                      <a:pt x="630" y="482"/>
                      <a:pt x="630" y="482"/>
                      <a:pt x="630" y="482"/>
                    </a:cubicBezTo>
                    <a:cubicBezTo>
                      <a:pt x="629" y="482"/>
                      <a:pt x="629" y="482"/>
                      <a:pt x="629" y="482"/>
                    </a:cubicBezTo>
                    <a:cubicBezTo>
                      <a:pt x="628" y="483"/>
                      <a:pt x="628" y="483"/>
                      <a:pt x="628" y="483"/>
                    </a:cubicBezTo>
                    <a:cubicBezTo>
                      <a:pt x="629" y="486"/>
                      <a:pt x="629" y="486"/>
                      <a:pt x="629" y="486"/>
                    </a:cubicBezTo>
                    <a:cubicBezTo>
                      <a:pt x="632" y="488"/>
                      <a:pt x="632" y="488"/>
                      <a:pt x="632" y="488"/>
                    </a:cubicBezTo>
                    <a:cubicBezTo>
                      <a:pt x="632" y="489"/>
                      <a:pt x="632" y="489"/>
                      <a:pt x="632" y="489"/>
                    </a:cubicBezTo>
                    <a:cubicBezTo>
                      <a:pt x="632" y="490"/>
                      <a:pt x="632" y="490"/>
                      <a:pt x="632" y="490"/>
                    </a:cubicBezTo>
                    <a:cubicBezTo>
                      <a:pt x="632" y="493"/>
                      <a:pt x="632" y="493"/>
                      <a:pt x="632" y="493"/>
                    </a:cubicBezTo>
                    <a:cubicBezTo>
                      <a:pt x="633" y="492"/>
                      <a:pt x="633" y="492"/>
                      <a:pt x="633" y="492"/>
                    </a:cubicBezTo>
                    <a:cubicBezTo>
                      <a:pt x="635" y="493"/>
                      <a:pt x="635" y="493"/>
                      <a:pt x="635" y="493"/>
                    </a:cubicBezTo>
                    <a:cubicBezTo>
                      <a:pt x="636" y="494"/>
                      <a:pt x="636" y="494"/>
                      <a:pt x="636" y="494"/>
                    </a:cubicBezTo>
                    <a:cubicBezTo>
                      <a:pt x="636" y="496"/>
                      <a:pt x="636" y="496"/>
                      <a:pt x="636" y="496"/>
                    </a:cubicBezTo>
                    <a:cubicBezTo>
                      <a:pt x="637" y="495"/>
                      <a:pt x="637" y="495"/>
                      <a:pt x="637" y="495"/>
                    </a:cubicBezTo>
                    <a:cubicBezTo>
                      <a:pt x="638" y="496"/>
                      <a:pt x="638" y="496"/>
                      <a:pt x="638" y="496"/>
                    </a:cubicBezTo>
                    <a:cubicBezTo>
                      <a:pt x="637" y="497"/>
                      <a:pt x="637" y="497"/>
                      <a:pt x="637" y="497"/>
                    </a:cubicBezTo>
                    <a:cubicBezTo>
                      <a:pt x="639" y="497"/>
                      <a:pt x="639" y="497"/>
                      <a:pt x="639" y="497"/>
                    </a:cubicBezTo>
                    <a:cubicBezTo>
                      <a:pt x="639" y="498"/>
                      <a:pt x="639" y="498"/>
                      <a:pt x="639" y="498"/>
                    </a:cubicBezTo>
                    <a:cubicBezTo>
                      <a:pt x="640" y="500"/>
                      <a:pt x="640" y="500"/>
                      <a:pt x="640" y="500"/>
                    </a:cubicBezTo>
                    <a:cubicBezTo>
                      <a:pt x="640" y="502"/>
                      <a:pt x="640" y="502"/>
                      <a:pt x="640" y="502"/>
                    </a:cubicBezTo>
                    <a:cubicBezTo>
                      <a:pt x="641" y="502"/>
                      <a:pt x="641" y="502"/>
                      <a:pt x="641" y="502"/>
                    </a:cubicBezTo>
                    <a:cubicBezTo>
                      <a:pt x="642" y="502"/>
                      <a:pt x="642" y="502"/>
                      <a:pt x="642" y="502"/>
                    </a:cubicBezTo>
                    <a:cubicBezTo>
                      <a:pt x="643" y="504"/>
                      <a:pt x="643" y="504"/>
                      <a:pt x="643" y="504"/>
                    </a:cubicBezTo>
                    <a:cubicBezTo>
                      <a:pt x="641" y="506"/>
                      <a:pt x="641" y="506"/>
                      <a:pt x="641" y="506"/>
                    </a:cubicBezTo>
                    <a:cubicBezTo>
                      <a:pt x="642" y="506"/>
                      <a:pt x="642" y="506"/>
                      <a:pt x="642" y="506"/>
                    </a:cubicBezTo>
                    <a:cubicBezTo>
                      <a:pt x="643" y="507"/>
                      <a:pt x="643" y="507"/>
                      <a:pt x="643" y="507"/>
                    </a:cubicBezTo>
                    <a:cubicBezTo>
                      <a:pt x="643" y="508"/>
                      <a:pt x="643" y="508"/>
                      <a:pt x="643" y="508"/>
                    </a:cubicBezTo>
                    <a:cubicBezTo>
                      <a:pt x="644" y="507"/>
                      <a:pt x="644" y="507"/>
                      <a:pt x="644" y="507"/>
                    </a:cubicBezTo>
                    <a:cubicBezTo>
                      <a:pt x="645" y="507"/>
                      <a:pt x="645" y="507"/>
                      <a:pt x="645" y="507"/>
                    </a:cubicBezTo>
                    <a:cubicBezTo>
                      <a:pt x="645" y="509"/>
                      <a:pt x="645" y="509"/>
                      <a:pt x="645" y="509"/>
                    </a:cubicBezTo>
                    <a:cubicBezTo>
                      <a:pt x="645" y="510"/>
                      <a:pt x="645" y="510"/>
                      <a:pt x="645" y="510"/>
                    </a:cubicBezTo>
                    <a:cubicBezTo>
                      <a:pt x="646" y="510"/>
                      <a:pt x="646" y="510"/>
                      <a:pt x="646" y="510"/>
                    </a:cubicBezTo>
                    <a:cubicBezTo>
                      <a:pt x="647" y="511"/>
                      <a:pt x="647" y="511"/>
                      <a:pt x="647" y="511"/>
                    </a:cubicBezTo>
                    <a:cubicBezTo>
                      <a:pt x="646" y="512"/>
                      <a:pt x="646" y="512"/>
                      <a:pt x="646" y="512"/>
                    </a:cubicBezTo>
                    <a:cubicBezTo>
                      <a:pt x="645" y="512"/>
                      <a:pt x="645" y="512"/>
                      <a:pt x="645" y="512"/>
                    </a:cubicBezTo>
                    <a:cubicBezTo>
                      <a:pt x="644" y="512"/>
                      <a:pt x="644" y="512"/>
                      <a:pt x="644" y="512"/>
                    </a:cubicBezTo>
                    <a:cubicBezTo>
                      <a:pt x="645" y="514"/>
                      <a:pt x="645" y="514"/>
                      <a:pt x="645" y="514"/>
                    </a:cubicBezTo>
                    <a:cubicBezTo>
                      <a:pt x="646" y="515"/>
                      <a:pt x="646" y="515"/>
                      <a:pt x="646" y="515"/>
                    </a:cubicBezTo>
                    <a:cubicBezTo>
                      <a:pt x="646" y="516"/>
                      <a:pt x="646" y="516"/>
                      <a:pt x="646" y="516"/>
                    </a:cubicBezTo>
                    <a:cubicBezTo>
                      <a:pt x="645" y="517"/>
                      <a:pt x="645" y="517"/>
                      <a:pt x="645" y="517"/>
                    </a:cubicBezTo>
                    <a:close/>
                    <a:moveTo>
                      <a:pt x="483" y="468"/>
                    </a:moveTo>
                    <a:cubicBezTo>
                      <a:pt x="483" y="468"/>
                      <a:pt x="484" y="468"/>
                      <a:pt x="484" y="468"/>
                    </a:cubicBezTo>
                    <a:cubicBezTo>
                      <a:pt x="485" y="466"/>
                      <a:pt x="485" y="466"/>
                      <a:pt x="485" y="466"/>
                    </a:cubicBezTo>
                    <a:cubicBezTo>
                      <a:pt x="486" y="466"/>
                      <a:pt x="486" y="466"/>
                      <a:pt x="486" y="466"/>
                    </a:cubicBezTo>
                    <a:cubicBezTo>
                      <a:pt x="486" y="466"/>
                      <a:pt x="486" y="466"/>
                      <a:pt x="486" y="466"/>
                    </a:cubicBezTo>
                    <a:cubicBezTo>
                      <a:pt x="487" y="467"/>
                      <a:pt x="487" y="467"/>
                      <a:pt x="487" y="467"/>
                    </a:cubicBezTo>
                    <a:cubicBezTo>
                      <a:pt x="489" y="467"/>
                      <a:pt x="489" y="467"/>
                      <a:pt x="489" y="467"/>
                    </a:cubicBezTo>
                    <a:cubicBezTo>
                      <a:pt x="490" y="466"/>
                      <a:pt x="490" y="466"/>
                      <a:pt x="490" y="466"/>
                    </a:cubicBezTo>
                    <a:cubicBezTo>
                      <a:pt x="491" y="466"/>
                      <a:pt x="491" y="466"/>
                      <a:pt x="491" y="466"/>
                    </a:cubicBezTo>
                    <a:cubicBezTo>
                      <a:pt x="492" y="467"/>
                      <a:pt x="492" y="467"/>
                      <a:pt x="492" y="467"/>
                    </a:cubicBezTo>
                    <a:cubicBezTo>
                      <a:pt x="492" y="468"/>
                      <a:pt x="492" y="468"/>
                      <a:pt x="492" y="468"/>
                    </a:cubicBezTo>
                    <a:cubicBezTo>
                      <a:pt x="490" y="470"/>
                      <a:pt x="490" y="470"/>
                      <a:pt x="490" y="470"/>
                    </a:cubicBezTo>
                    <a:cubicBezTo>
                      <a:pt x="491" y="472"/>
                      <a:pt x="491" y="472"/>
                      <a:pt x="491" y="472"/>
                    </a:cubicBezTo>
                    <a:cubicBezTo>
                      <a:pt x="490" y="473"/>
                      <a:pt x="490" y="473"/>
                      <a:pt x="490" y="473"/>
                    </a:cubicBezTo>
                    <a:cubicBezTo>
                      <a:pt x="490" y="476"/>
                      <a:pt x="490" y="476"/>
                      <a:pt x="490" y="476"/>
                    </a:cubicBezTo>
                    <a:cubicBezTo>
                      <a:pt x="490" y="477"/>
                      <a:pt x="490" y="477"/>
                      <a:pt x="490" y="477"/>
                    </a:cubicBezTo>
                    <a:cubicBezTo>
                      <a:pt x="491" y="476"/>
                      <a:pt x="491" y="476"/>
                      <a:pt x="491" y="476"/>
                    </a:cubicBezTo>
                    <a:cubicBezTo>
                      <a:pt x="492" y="477"/>
                      <a:pt x="492" y="477"/>
                      <a:pt x="492" y="477"/>
                    </a:cubicBezTo>
                    <a:cubicBezTo>
                      <a:pt x="493" y="477"/>
                      <a:pt x="493" y="477"/>
                      <a:pt x="493" y="477"/>
                    </a:cubicBezTo>
                    <a:cubicBezTo>
                      <a:pt x="494" y="476"/>
                      <a:pt x="494" y="476"/>
                      <a:pt x="494" y="476"/>
                    </a:cubicBezTo>
                    <a:cubicBezTo>
                      <a:pt x="496" y="476"/>
                      <a:pt x="496" y="476"/>
                      <a:pt x="496" y="476"/>
                    </a:cubicBezTo>
                    <a:cubicBezTo>
                      <a:pt x="496" y="475"/>
                      <a:pt x="496" y="475"/>
                      <a:pt x="496" y="475"/>
                    </a:cubicBezTo>
                    <a:cubicBezTo>
                      <a:pt x="498" y="475"/>
                      <a:pt x="498" y="475"/>
                      <a:pt x="498" y="475"/>
                    </a:cubicBezTo>
                    <a:cubicBezTo>
                      <a:pt x="499" y="475"/>
                      <a:pt x="499" y="475"/>
                      <a:pt x="499" y="475"/>
                    </a:cubicBezTo>
                    <a:cubicBezTo>
                      <a:pt x="501" y="473"/>
                      <a:pt x="501" y="473"/>
                      <a:pt x="501" y="473"/>
                    </a:cubicBezTo>
                    <a:cubicBezTo>
                      <a:pt x="501" y="471"/>
                      <a:pt x="501" y="471"/>
                      <a:pt x="501" y="471"/>
                    </a:cubicBezTo>
                    <a:cubicBezTo>
                      <a:pt x="502" y="470"/>
                      <a:pt x="502" y="470"/>
                      <a:pt x="502" y="470"/>
                    </a:cubicBezTo>
                    <a:cubicBezTo>
                      <a:pt x="503" y="468"/>
                      <a:pt x="503" y="468"/>
                      <a:pt x="503" y="468"/>
                    </a:cubicBezTo>
                    <a:cubicBezTo>
                      <a:pt x="504" y="468"/>
                      <a:pt x="504" y="468"/>
                      <a:pt x="504" y="468"/>
                    </a:cubicBezTo>
                    <a:cubicBezTo>
                      <a:pt x="505" y="469"/>
                      <a:pt x="505" y="469"/>
                      <a:pt x="505" y="469"/>
                    </a:cubicBezTo>
                    <a:cubicBezTo>
                      <a:pt x="506" y="468"/>
                      <a:pt x="506" y="468"/>
                      <a:pt x="506" y="468"/>
                    </a:cubicBezTo>
                    <a:cubicBezTo>
                      <a:pt x="507" y="468"/>
                      <a:pt x="507" y="468"/>
                      <a:pt x="507" y="468"/>
                    </a:cubicBezTo>
                    <a:cubicBezTo>
                      <a:pt x="509" y="468"/>
                      <a:pt x="509" y="468"/>
                      <a:pt x="509" y="468"/>
                    </a:cubicBezTo>
                    <a:cubicBezTo>
                      <a:pt x="509" y="465"/>
                      <a:pt x="509" y="465"/>
                      <a:pt x="509" y="465"/>
                    </a:cubicBezTo>
                    <a:cubicBezTo>
                      <a:pt x="509" y="463"/>
                      <a:pt x="509" y="463"/>
                      <a:pt x="509" y="463"/>
                    </a:cubicBezTo>
                    <a:cubicBezTo>
                      <a:pt x="511" y="462"/>
                      <a:pt x="511" y="462"/>
                      <a:pt x="511" y="462"/>
                    </a:cubicBezTo>
                    <a:cubicBezTo>
                      <a:pt x="511" y="460"/>
                      <a:pt x="511" y="460"/>
                      <a:pt x="511" y="460"/>
                    </a:cubicBezTo>
                    <a:cubicBezTo>
                      <a:pt x="513" y="460"/>
                      <a:pt x="513" y="460"/>
                      <a:pt x="513" y="460"/>
                    </a:cubicBezTo>
                    <a:cubicBezTo>
                      <a:pt x="513" y="461"/>
                      <a:pt x="513" y="461"/>
                      <a:pt x="513" y="461"/>
                    </a:cubicBezTo>
                    <a:cubicBezTo>
                      <a:pt x="514" y="460"/>
                      <a:pt x="514" y="460"/>
                      <a:pt x="514" y="460"/>
                    </a:cubicBezTo>
                    <a:cubicBezTo>
                      <a:pt x="515" y="460"/>
                      <a:pt x="515" y="460"/>
                      <a:pt x="515" y="460"/>
                    </a:cubicBezTo>
                    <a:cubicBezTo>
                      <a:pt x="516" y="460"/>
                      <a:pt x="516" y="460"/>
                      <a:pt x="516" y="460"/>
                    </a:cubicBezTo>
                    <a:cubicBezTo>
                      <a:pt x="517" y="462"/>
                      <a:pt x="517" y="462"/>
                      <a:pt x="517" y="462"/>
                    </a:cubicBezTo>
                    <a:cubicBezTo>
                      <a:pt x="515" y="463"/>
                      <a:pt x="515" y="463"/>
                      <a:pt x="515" y="463"/>
                    </a:cubicBezTo>
                    <a:cubicBezTo>
                      <a:pt x="515" y="464"/>
                      <a:pt x="515" y="464"/>
                      <a:pt x="515" y="464"/>
                    </a:cubicBezTo>
                    <a:cubicBezTo>
                      <a:pt x="516" y="465"/>
                      <a:pt x="516" y="465"/>
                      <a:pt x="516" y="465"/>
                    </a:cubicBezTo>
                    <a:cubicBezTo>
                      <a:pt x="519" y="465"/>
                      <a:pt x="519" y="465"/>
                      <a:pt x="519" y="465"/>
                    </a:cubicBezTo>
                    <a:cubicBezTo>
                      <a:pt x="520" y="465"/>
                      <a:pt x="520" y="465"/>
                      <a:pt x="520" y="465"/>
                    </a:cubicBezTo>
                    <a:cubicBezTo>
                      <a:pt x="521" y="467"/>
                      <a:pt x="521" y="467"/>
                      <a:pt x="521" y="467"/>
                    </a:cubicBezTo>
                    <a:cubicBezTo>
                      <a:pt x="519" y="469"/>
                      <a:pt x="519" y="469"/>
                      <a:pt x="519" y="469"/>
                    </a:cubicBezTo>
                    <a:cubicBezTo>
                      <a:pt x="518" y="469"/>
                      <a:pt x="518" y="469"/>
                      <a:pt x="518" y="469"/>
                    </a:cubicBezTo>
                    <a:cubicBezTo>
                      <a:pt x="518" y="471"/>
                      <a:pt x="518" y="471"/>
                      <a:pt x="518" y="471"/>
                    </a:cubicBezTo>
                    <a:cubicBezTo>
                      <a:pt x="519" y="472"/>
                      <a:pt x="519" y="472"/>
                      <a:pt x="519" y="472"/>
                    </a:cubicBezTo>
                    <a:cubicBezTo>
                      <a:pt x="520" y="471"/>
                      <a:pt x="520" y="471"/>
                      <a:pt x="520" y="471"/>
                    </a:cubicBezTo>
                    <a:cubicBezTo>
                      <a:pt x="521" y="471"/>
                      <a:pt x="521" y="471"/>
                      <a:pt x="521" y="471"/>
                    </a:cubicBezTo>
                    <a:cubicBezTo>
                      <a:pt x="522" y="472"/>
                      <a:pt x="522" y="472"/>
                      <a:pt x="522" y="472"/>
                    </a:cubicBezTo>
                    <a:cubicBezTo>
                      <a:pt x="523" y="472"/>
                      <a:pt x="523" y="472"/>
                      <a:pt x="523" y="472"/>
                    </a:cubicBezTo>
                    <a:cubicBezTo>
                      <a:pt x="524" y="473"/>
                      <a:pt x="524" y="473"/>
                      <a:pt x="524" y="473"/>
                    </a:cubicBezTo>
                    <a:cubicBezTo>
                      <a:pt x="525" y="473"/>
                      <a:pt x="525" y="473"/>
                      <a:pt x="525" y="473"/>
                    </a:cubicBezTo>
                    <a:cubicBezTo>
                      <a:pt x="526" y="474"/>
                      <a:pt x="526" y="474"/>
                      <a:pt x="526" y="474"/>
                    </a:cubicBezTo>
                    <a:cubicBezTo>
                      <a:pt x="527" y="474"/>
                      <a:pt x="527" y="474"/>
                      <a:pt x="527" y="474"/>
                    </a:cubicBezTo>
                    <a:cubicBezTo>
                      <a:pt x="530" y="475"/>
                      <a:pt x="530" y="475"/>
                      <a:pt x="530" y="475"/>
                    </a:cubicBezTo>
                    <a:cubicBezTo>
                      <a:pt x="531" y="475"/>
                      <a:pt x="531" y="475"/>
                      <a:pt x="531" y="475"/>
                    </a:cubicBezTo>
                    <a:cubicBezTo>
                      <a:pt x="532" y="473"/>
                      <a:pt x="532" y="473"/>
                      <a:pt x="532" y="473"/>
                    </a:cubicBezTo>
                    <a:cubicBezTo>
                      <a:pt x="533" y="472"/>
                      <a:pt x="533" y="472"/>
                      <a:pt x="533" y="472"/>
                    </a:cubicBezTo>
                    <a:cubicBezTo>
                      <a:pt x="534" y="471"/>
                      <a:pt x="534" y="471"/>
                      <a:pt x="534" y="471"/>
                    </a:cubicBezTo>
                    <a:cubicBezTo>
                      <a:pt x="536" y="471"/>
                      <a:pt x="536" y="471"/>
                      <a:pt x="536" y="471"/>
                    </a:cubicBezTo>
                    <a:cubicBezTo>
                      <a:pt x="536" y="470"/>
                      <a:pt x="536" y="470"/>
                      <a:pt x="536" y="470"/>
                    </a:cubicBezTo>
                    <a:cubicBezTo>
                      <a:pt x="535" y="469"/>
                      <a:pt x="535" y="469"/>
                      <a:pt x="535" y="469"/>
                    </a:cubicBezTo>
                    <a:cubicBezTo>
                      <a:pt x="534" y="468"/>
                      <a:pt x="534" y="468"/>
                      <a:pt x="534" y="468"/>
                    </a:cubicBezTo>
                    <a:cubicBezTo>
                      <a:pt x="535" y="467"/>
                      <a:pt x="535" y="467"/>
                      <a:pt x="535" y="467"/>
                    </a:cubicBezTo>
                    <a:cubicBezTo>
                      <a:pt x="536" y="466"/>
                      <a:pt x="536" y="466"/>
                      <a:pt x="536" y="466"/>
                    </a:cubicBezTo>
                    <a:cubicBezTo>
                      <a:pt x="535" y="466"/>
                      <a:pt x="535" y="466"/>
                      <a:pt x="535" y="466"/>
                    </a:cubicBezTo>
                    <a:cubicBezTo>
                      <a:pt x="534" y="464"/>
                      <a:pt x="534" y="464"/>
                      <a:pt x="534" y="464"/>
                    </a:cubicBezTo>
                    <a:cubicBezTo>
                      <a:pt x="533" y="465"/>
                      <a:pt x="533" y="465"/>
                      <a:pt x="533" y="465"/>
                    </a:cubicBezTo>
                    <a:cubicBezTo>
                      <a:pt x="533" y="466"/>
                      <a:pt x="533" y="466"/>
                      <a:pt x="533" y="466"/>
                    </a:cubicBezTo>
                    <a:cubicBezTo>
                      <a:pt x="533" y="466"/>
                      <a:pt x="533" y="466"/>
                      <a:pt x="533" y="466"/>
                    </a:cubicBezTo>
                    <a:cubicBezTo>
                      <a:pt x="532" y="466"/>
                      <a:pt x="532" y="466"/>
                      <a:pt x="532" y="466"/>
                    </a:cubicBezTo>
                    <a:cubicBezTo>
                      <a:pt x="530" y="465"/>
                      <a:pt x="530" y="465"/>
                      <a:pt x="530" y="465"/>
                    </a:cubicBezTo>
                    <a:cubicBezTo>
                      <a:pt x="530" y="464"/>
                      <a:pt x="530" y="464"/>
                      <a:pt x="530" y="464"/>
                    </a:cubicBezTo>
                    <a:cubicBezTo>
                      <a:pt x="529" y="464"/>
                      <a:pt x="529" y="464"/>
                      <a:pt x="529" y="464"/>
                    </a:cubicBezTo>
                    <a:cubicBezTo>
                      <a:pt x="528" y="465"/>
                      <a:pt x="528" y="465"/>
                      <a:pt x="528" y="465"/>
                    </a:cubicBezTo>
                    <a:cubicBezTo>
                      <a:pt x="525" y="465"/>
                      <a:pt x="525" y="465"/>
                      <a:pt x="525" y="465"/>
                    </a:cubicBezTo>
                    <a:cubicBezTo>
                      <a:pt x="524" y="464"/>
                      <a:pt x="524" y="464"/>
                      <a:pt x="524" y="464"/>
                    </a:cubicBezTo>
                    <a:cubicBezTo>
                      <a:pt x="526" y="463"/>
                      <a:pt x="526" y="463"/>
                      <a:pt x="526" y="463"/>
                    </a:cubicBezTo>
                    <a:cubicBezTo>
                      <a:pt x="527" y="463"/>
                      <a:pt x="527" y="463"/>
                      <a:pt x="527" y="463"/>
                    </a:cubicBezTo>
                    <a:cubicBezTo>
                      <a:pt x="528" y="462"/>
                      <a:pt x="528" y="462"/>
                      <a:pt x="528" y="462"/>
                    </a:cubicBezTo>
                    <a:cubicBezTo>
                      <a:pt x="528" y="461"/>
                      <a:pt x="528" y="461"/>
                      <a:pt x="528" y="461"/>
                    </a:cubicBezTo>
                    <a:cubicBezTo>
                      <a:pt x="528" y="460"/>
                      <a:pt x="528" y="460"/>
                      <a:pt x="528" y="460"/>
                    </a:cubicBezTo>
                    <a:cubicBezTo>
                      <a:pt x="528" y="458"/>
                      <a:pt x="528" y="458"/>
                      <a:pt x="528" y="458"/>
                    </a:cubicBezTo>
                    <a:cubicBezTo>
                      <a:pt x="528" y="457"/>
                      <a:pt x="528" y="457"/>
                      <a:pt x="528" y="457"/>
                    </a:cubicBezTo>
                    <a:cubicBezTo>
                      <a:pt x="528" y="456"/>
                      <a:pt x="528" y="456"/>
                      <a:pt x="528" y="456"/>
                    </a:cubicBezTo>
                    <a:cubicBezTo>
                      <a:pt x="527" y="455"/>
                      <a:pt x="527" y="455"/>
                      <a:pt x="527" y="455"/>
                    </a:cubicBezTo>
                    <a:cubicBezTo>
                      <a:pt x="527" y="454"/>
                      <a:pt x="527" y="454"/>
                      <a:pt x="527" y="454"/>
                    </a:cubicBezTo>
                    <a:cubicBezTo>
                      <a:pt x="525" y="451"/>
                      <a:pt x="525" y="451"/>
                      <a:pt x="525" y="451"/>
                    </a:cubicBezTo>
                    <a:cubicBezTo>
                      <a:pt x="522" y="450"/>
                      <a:pt x="522" y="450"/>
                      <a:pt x="522" y="450"/>
                    </a:cubicBezTo>
                    <a:cubicBezTo>
                      <a:pt x="522" y="449"/>
                      <a:pt x="522" y="449"/>
                      <a:pt x="522" y="449"/>
                    </a:cubicBezTo>
                    <a:cubicBezTo>
                      <a:pt x="521" y="447"/>
                      <a:pt x="521" y="447"/>
                      <a:pt x="521" y="447"/>
                    </a:cubicBezTo>
                    <a:cubicBezTo>
                      <a:pt x="520" y="447"/>
                      <a:pt x="520" y="447"/>
                      <a:pt x="520" y="447"/>
                    </a:cubicBezTo>
                    <a:cubicBezTo>
                      <a:pt x="520" y="445"/>
                      <a:pt x="520" y="445"/>
                      <a:pt x="520" y="445"/>
                    </a:cubicBezTo>
                    <a:cubicBezTo>
                      <a:pt x="520" y="443"/>
                      <a:pt x="520" y="443"/>
                      <a:pt x="520" y="443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17" y="442"/>
                      <a:pt x="517" y="442"/>
                      <a:pt x="517" y="442"/>
                    </a:cubicBezTo>
                    <a:cubicBezTo>
                      <a:pt x="514" y="440"/>
                      <a:pt x="514" y="440"/>
                      <a:pt x="514" y="440"/>
                    </a:cubicBezTo>
                    <a:cubicBezTo>
                      <a:pt x="513" y="439"/>
                      <a:pt x="513" y="439"/>
                      <a:pt x="513" y="439"/>
                    </a:cubicBezTo>
                    <a:cubicBezTo>
                      <a:pt x="514" y="438"/>
                      <a:pt x="514" y="438"/>
                      <a:pt x="514" y="438"/>
                    </a:cubicBezTo>
                    <a:cubicBezTo>
                      <a:pt x="514" y="437"/>
                      <a:pt x="514" y="437"/>
                      <a:pt x="514" y="437"/>
                    </a:cubicBezTo>
                    <a:cubicBezTo>
                      <a:pt x="512" y="435"/>
                      <a:pt x="512" y="435"/>
                      <a:pt x="512" y="435"/>
                    </a:cubicBezTo>
                    <a:cubicBezTo>
                      <a:pt x="512" y="434"/>
                      <a:pt x="512" y="434"/>
                      <a:pt x="512" y="434"/>
                    </a:cubicBezTo>
                    <a:cubicBezTo>
                      <a:pt x="511" y="434"/>
                      <a:pt x="511" y="434"/>
                      <a:pt x="511" y="434"/>
                    </a:cubicBezTo>
                    <a:cubicBezTo>
                      <a:pt x="510" y="436"/>
                      <a:pt x="510" y="436"/>
                      <a:pt x="510" y="436"/>
                    </a:cubicBezTo>
                    <a:cubicBezTo>
                      <a:pt x="509" y="438"/>
                      <a:pt x="509" y="438"/>
                      <a:pt x="509" y="438"/>
                    </a:cubicBezTo>
                    <a:cubicBezTo>
                      <a:pt x="508" y="439"/>
                      <a:pt x="508" y="439"/>
                      <a:pt x="508" y="439"/>
                    </a:cubicBezTo>
                    <a:cubicBezTo>
                      <a:pt x="507" y="438"/>
                      <a:pt x="507" y="438"/>
                      <a:pt x="507" y="438"/>
                    </a:cubicBezTo>
                    <a:cubicBezTo>
                      <a:pt x="507" y="435"/>
                      <a:pt x="507" y="435"/>
                      <a:pt x="507" y="435"/>
                    </a:cubicBezTo>
                    <a:cubicBezTo>
                      <a:pt x="507" y="434"/>
                      <a:pt x="507" y="434"/>
                      <a:pt x="507" y="434"/>
                    </a:cubicBezTo>
                    <a:cubicBezTo>
                      <a:pt x="507" y="432"/>
                      <a:pt x="507" y="432"/>
                      <a:pt x="507" y="432"/>
                    </a:cubicBezTo>
                    <a:cubicBezTo>
                      <a:pt x="508" y="433"/>
                      <a:pt x="508" y="433"/>
                      <a:pt x="508" y="433"/>
                    </a:cubicBezTo>
                    <a:cubicBezTo>
                      <a:pt x="509" y="433"/>
                      <a:pt x="509" y="433"/>
                      <a:pt x="509" y="433"/>
                    </a:cubicBezTo>
                    <a:cubicBezTo>
                      <a:pt x="509" y="431"/>
                      <a:pt x="509" y="431"/>
                      <a:pt x="509" y="431"/>
                    </a:cubicBezTo>
                    <a:cubicBezTo>
                      <a:pt x="509" y="430"/>
                      <a:pt x="509" y="430"/>
                      <a:pt x="509" y="430"/>
                    </a:cubicBezTo>
                    <a:cubicBezTo>
                      <a:pt x="509" y="428"/>
                      <a:pt x="509" y="428"/>
                      <a:pt x="509" y="428"/>
                    </a:cubicBezTo>
                    <a:cubicBezTo>
                      <a:pt x="507" y="428"/>
                      <a:pt x="507" y="428"/>
                      <a:pt x="507" y="428"/>
                    </a:cubicBezTo>
                    <a:cubicBezTo>
                      <a:pt x="507" y="427"/>
                      <a:pt x="507" y="427"/>
                      <a:pt x="507" y="427"/>
                    </a:cubicBezTo>
                    <a:cubicBezTo>
                      <a:pt x="508" y="425"/>
                      <a:pt x="508" y="425"/>
                      <a:pt x="508" y="425"/>
                    </a:cubicBezTo>
                    <a:cubicBezTo>
                      <a:pt x="507" y="425"/>
                      <a:pt x="507" y="425"/>
                      <a:pt x="507" y="425"/>
                    </a:cubicBezTo>
                    <a:cubicBezTo>
                      <a:pt x="504" y="427"/>
                      <a:pt x="504" y="427"/>
                      <a:pt x="504" y="427"/>
                    </a:cubicBezTo>
                    <a:cubicBezTo>
                      <a:pt x="502" y="428"/>
                      <a:pt x="502" y="428"/>
                      <a:pt x="502" y="428"/>
                    </a:cubicBezTo>
                    <a:cubicBezTo>
                      <a:pt x="500" y="432"/>
                      <a:pt x="500" y="432"/>
                      <a:pt x="500" y="432"/>
                    </a:cubicBezTo>
                    <a:cubicBezTo>
                      <a:pt x="499" y="435"/>
                      <a:pt x="499" y="435"/>
                      <a:pt x="499" y="435"/>
                    </a:cubicBezTo>
                    <a:cubicBezTo>
                      <a:pt x="499" y="436"/>
                      <a:pt x="499" y="436"/>
                      <a:pt x="499" y="436"/>
                    </a:cubicBezTo>
                    <a:cubicBezTo>
                      <a:pt x="497" y="438"/>
                      <a:pt x="497" y="438"/>
                      <a:pt x="497" y="438"/>
                    </a:cubicBezTo>
                    <a:cubicBezTo>
                      <a:pt x="497" y="439"/>
                      <a:pt x="497" y="439"/>
                      <a:pt x="497" y="439"/>
                    </a:cubicBezTo>
                    <a:cubicBezTo>
                      <a:pt x="495" y="442"/>
                      <a:pt x="495" y="442"/>
                      <a:pt x="495" y="442"/>
                    </a:cubicBezTo>
                    <a:cubicBezTo>
                      <a:pt x="496" y="443"/>
                      <a:pt x="496" y="443"/>
                      <a:pt x="496" y="443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5" y="446"/>
                      <a:pt x="495" y="446"/>
                      <a:pt x="495" y="446"/>
                    </a:cubicBezTo>
                    <a:cubicBezTo>
                      <a:pt x="494" y="447"/>
                      <a:pt x="494" y="447"/>
                      <a:pt x="494" y="447"/>
                    </a:cubicBezTo>
                    <a:cubicBezTo>
                      <a:pt x="492" y="449"/>
                      <a:pt x="492" y="449"/>
                      <a:pt x="492" y="449"/>
                    </a:cubicBezTo>
                    <a:cubicBezTo>
                      <a:pt x="491" y="451"/>
                      <a:pt x="491" y="451"/>
                      <a:pt x="491" y="451"/>
                    </a:cubicBezTo>
                    <a:cubicBezTo>
                      <a:pt x="491" y="454"/>
                      <a:pt x="491" y="454"/>
                      <a:pt x="491" y="454"/>
                    </a:cubicBezTo>
                    <a:cubicBezTo>
                      <a:pt x="491" y="455"/>
                      <a:pt x="491" y="455"/>
                      <a:pt x="491" y="455"/>
                    </a:cubicBezTo>
                    <a:cubicBezTo>
                      <a:pt x="491" y="458"/>
                      <a:pt x="491" y="458"/>
                      <a:pt x="491" y="458"/>
                    </a:cubicBezTo>
                    <a:cubicBezTo>
                      <a:pt x="490" y="459"/>
                      <a:pt x="490" y="459"/>
                      <a:pt x="490" y="459"/>
                    </a:cubicBezTo>
                    <a:cubicBezTo>
                      <a:pt x="487" y="459"/>
                      <a:pt x="487" y="459"/>
                      <a:pt x="487" y="459"/>
                    </a:cubicBezTo>
                    <a:cubicBezTo>
                      <a:pt x="484" y="460"/>
                      <a:pt x="484" y="460"/>
                      <a:pt x="484" y="460"/>
                    </a:cubicBezTo>
                    <a:cubicBezTo>
                      <a:pt x="484" y="462"/>
                      <a:pt x="484" y="462"/>
                      <a:pt x="484" y="462"/>
                    </a:cubicBezTo>
                    <a:cubicBezTo>
                      <a:pt x="483" y="466"/>
                      <a:pt x="483" y="466"/>
                      <a:pt x="483" y="466"/>
                    </a:cubicBezTo>
                    <a:cubicBezTo>
                      <a:pt x="483" y="468"/>
                      <a:pt x="483" y="468"/>
                      <a:pt x="483" y="468"/>
                    </a:cubicBezTo>
                    <a:close/>
                    <a:moveTo>
                      <a:pt x="499" y="496"/>
                    </a:moveTo>
                    <a:cubicBezTo>
                      <a:pt x="499" y="497"/>
                      <a:pt x="500" y="497"/>
                      <a:pt x="500" y="497"/>
                    </a:cubicBezTo>
                    <a:cubicBezTo>
                      <a:pt x="500" y="497"/>
                      <a:pt x="500" y="497"/>
                      <a:pt x="500" y="497"/>
                    </a:cubicBezTo>
                    <a:cubicBezTo>
                      <a:pt x="502" y="495"/>
                      <a:pt x="502" y="495"/>
                      <a:pt x="502" y="495"/>
                    </a:cubicBezTo>
                    <a:cubicBezTo>
                      <a:pt x="503" y="494"/>
                      <a:pt x="503" y="494"/>
                      <a:pt x="503" y="494"/>
                    </a:cubicBezTo>
                    <a:cubicBezTo>
                      <a:pt x="504" y="495"/>
                      <a:pt x="504" y="495"/>
                      <a:pt x="504" y="495"/>
                    </a:cubicBezTo>
                    <a:cubicBezTo>
                      <a:pt x="504" y="496"/>
                      <a:pt x="504" y="496"/>
                      <a:pt x="504" y="496"/>
                    </a:cubicBezTo>
                    <a:cubicBezTo>
                      <a:pt x="506" y="496"/>
                      <a:pt x="506" y="496"/>
                      <a:pt x="506" y="496"/>
                    </a:cubicBezTo>
                    <a:cubicBezTo>
                      <a:pt x="508" y="493"/>
                      <a:pt x="508" y="493"/>
                      <a:pt x="508" y="493"/>
                    </a:cubicBezTo>
                    <a:cubicBezTo>
                      <a:pt x="510" y="493"/>
                      <a:pt x="510" y="493"/>
                      <a:pt x="510" y="493"/>
                    </a:cubicBezTo>
                    <a:cubicBezTo>
                      <a:pt x="512" y="492"/>
                      <a:pt x="512" y="492"/>
                      <a:pt x="512" y="492"/>
                    </a:cubicBezTo>
                    <a:cubicBezTo>
                      <a:pt x="513" y="490"/>
                      <a:pt x="513" y="490"/>
                      <a:pt x="513" y="490"/>
                    </a:cubicBezTo>
                    <a:cubicBezTo>
                      <a:pt x="515" y="490"/>
                      <a:pt x="515" y="490"/>
                      <a:pt x="515" y="490"/>
                    </a:cubicBezTo>
                    <a:cubicBezTo>
                      <a:pt x="517" y="488"/>
                      <a:pt x="517" y="488"/>
                      <a:pt x="517" y="488"/>
                    </a:cubicBezTo>
                    <a:cubicBezTo>
                      <a:pt x="517" y="487"/>
                      <a:pt x="517" y="487"/>
                      <a:pt x="517" y="487"/>
                    </a:cubicBezTo>
                    <a:cubicBezTo>
                      <a:pt x="519" y="485"/>
                      <a:pt x="519" y="485"/>
                      <a:pt x="519" y="485"/>
                    </a:cubicBezTo>
                    <a:cubicBezTo>
                      <a:pt x="518" y="484"/>
                      <a:pt x="518" y="484"/>
                      <a:pt x="518" y="484"/>
                    </a:cubicBezTo>
                    <a:cubicBezTo>
                      <a:pt x="516" y="484"/>
                      <a:pt x="516" y="484"/>
                      <a:pt x="516" y="484"/>
                    </a:cubicBezTo>
                    <a:cubicBezTo>
                      <a:pt x="515" y="484"/>
                      <a:pt x="515" y="484"/>
                      <a:pt x="515" y="484"/>
                    </a:cubicBezTo>
                    <a:cubicBezTo>
                      <a:pt x="514" y="484"/>
                      <a:pt x="514" y="484"/>
                      <a:pt x="514" y="484"/>
                    </a:cubicBezTo>
                    <a:cubicBezTo>
                      <a:pt x="512" y="484"/>
                      <a:pt x="512" y="484"/>
                      <a:pt x="512" y="484"/>
                    </a:cubicBezTo>
                    <a:cubicBezTo>
                      <a:pt x="512" y="484"/>
                      <a:pt x="512" y="484"/>
                      <a:pt x="512" y="484"/>
                    </a:cubicBezTo>
                    <a:cubicBezTo>
                      <a:pt x="511" y="484"/>
                      <a:pt x="511" y="484"/>
                      <a:pt x="511" y="484"/>
                    </a:cubicBezTo>
                    <a:cubicBezTo>
                      <a:pt x="510" y="486"/>
                      <a:pt x="510" y="486"/>
                      <a:pt x="510" y="486"/>
                    </a:cubicBezTo>
                    <a:cubicBezTo>
                      <a:pt x="508" y="485"/>
                      <a:pt x="508" y="485"/>
                      <a:pt x="508" y="485"/>
                    </a:cubicBezTo>
                    <a:cubicBezTo>
                      <a:pt x="507" y="483"/>
                      <a:pt x="507" y="483"/>
                      <a:pt x="507" y="483"/>
                    </a:cubicBezTo>
                    <a:cubicBezTo>
                      <a:pt x="507" y="483"/>
                      <a:pt x="507" y="483"/>
                      <a:pt x="507" y="483"/>
                    </a:cubicBezTo>
                    <a:cubicBezTo>
                      <a:pt x="505" y="484"/>
                      <a:pt x="505" y="484"/>
                      <a:pt x="505" y="484"/>
                    </a:cubicBezTo>
                    <a:cubicBezTo>
                      <a:pt x="503" y="486"/>
                      <a:pt x="503" y="486"/>
                      <a:pt x="503" y="486"/>
                    </a:cubicBezTo>
                    <a:cubicBezTo>
                      <a:pt x="503" y="487"/>
                      <a:pt x="503" y="487"/>
                      <a:pt x="503" y="487"/>
                    </a:cubicBezTo>
                    <a:cubicBezTo>
                      <a:pt x="502" y="488"/>
                      <a:pt x="502" y="488"/>
                      <a:pt x="502" y="488"/>
                    </a:cubicBezTo>
                    <a:cubicBezTo>
                      <a:pt x="499" y="489"/>
                      <a:pt x="499" y="489"/>
                      <a:pt x="499" y="489"/>
                    </a:cubicBezTo>
                    <a:cubicBezTo>
                      <a:pt x="498" y="491"/>
                      <a:pt x="498" y="491"/>
                      <a:pt x="498" y="491"/>
                    </a:cubicBezTo>
                    <a:cubicBezTo>
                      <a:pt x="499" y="491"/>
                      <a:pt x="499" y="491"/>
                      <a:pt x="499" y="491"/>
                    </a:cubicBezTo>
                    <a:cubicBezTo>
                      <a:pt x="500" y="493"/>
                      <a:pt x="500" y="493"/>
                      <a:pt x="500" y="493"/>
                    </a:cubicBezTo>
                    <a:cubicBezTo>
                      <a:pt x="499" y="495"/>
                      <a:pt x="499" y="495"/>
                      <a:pt x="499" y="495"/>
                    </a:cubicBezTo>
                    <a:cubicBezTo>
                      <a:pt x="499" y="496"/>
                      <a:pt x="499" y="496"/>
                      <a:pt x="499" y="496"/>
                    </a:cubicBezTo>
                    <a:close/>
                    <a:moveTo>
                      <a:pt x="655" y="509"/>
                    </a:moveTo>
                    <a:cubicBezTo>
                      <a:pt x="656" y="510"/>
                      <a:pt x="656" y="510"/>
                      <a:pt x="656" y="510"/>
                    </a:cubicBezTo>
                    <a:cubicBezTo>
                      <a:pt x="657" y="510"/>
                      <a:pt x="657" y="510"/>
                      <a:pt x="657" y="510"/>
                    </a:cubicBezTo>
                    <a:cubicBezTo>
                      <a:pt x="659" y="511"/>
                      <a:pt x="659" y="511"/>
                      <a:pt x="659" y="511"/>
                    </a:cubicBezTo>
                    <a:cubicBezTo>
                      <a:pt x="660" y="511"/>
                      <a:pt x="660" y="511"/>
                      <a:pt x="660" y="511"/>
                    </a:cubicBezTo>
                    <a:cubicBezTo>
                      <a:pt x="660" y="510"/>
                      <a:pt x="660" y="510"/>
                      <a:pt x="660" y="510"/>
                    </a:cubicBezTo>
                    <a:cubicBezTo>
                      <a:pt x="661" y="509"/>
                      <a:pt x="661" y="509"/>
                      <a:pt x="661" y="509"/>
                    </a:cubicBezTo>
                    <a:cubicBezTo>
                      <a:pt x="661" y="508"/>
                      <a:pt x="661" y="508"/>
                      <a:pt x="661" y="508"/>
                    </a:cubicBezTo>
                    <a:cubicBezTo>
                      <a:pt x="660" y="507"/>
                      <a:pt x="660" y="507"/>
                      <a:pt x="660" y="507"/>
                    </a:cubicBezTo>
                    <a:cubicBezTo>
                      <a:pt x="658" y="508"/>
                      <a:pt x="658" y="508"/>
                      <a:pt x="658" y="508"/>
                    </a:cubicBezTo>
                    <a:cubicBezTo>
                      <a:pt x="657" y="508"/>
                      <a:pt x="657" y="508"/>
                      <a:pt x="657" y="508"/>
                    </a:cubicBezTo>
                    <a:cubicBezTo>
                      <a:pt x="655" y="509"/>
                      <a:pt x="655" y="509"/>
                      <a:pt x="655" y="509"/>
                    </a:cubicBezTo>
                    <a:close/>
                    <a:moveTo>
                      <a:pt x="607" y="496"/>
                    </a:moveTo>
                    <a:cubicBezTo>
                      <a:pt x="607" y="497"/>
                      <a:pt x="607" y="497"/>
                      <a:pt x="607" y="497"/>
                    </a:cubicBezTo>
                    <a:cubicBezTo>
                      <a:pt x="609" y="497"/>
                      <a:pt x="609" y="497"/>
                      <a:pt x="609" y="497"/>
                    </a:cubicBezTo>
                    <a:cubicBezTo>
                      <a:pt x="609" y="498"/>
                      <a:pt x="609" y="498"/>
                      <a:pt x="609" y="498"/>
                    </a:cubicBezTo>
                    <a:cubicBezTo>
                      <a:pt x="609" y="499"/>
                      <a:pt x="609" y="499"/>
                      <a:pt x="609" y="499"/>
                    </a:cubicBezTo>
                    <a:cubicBezTo>
                      <a:pt x="609" y="500"/>
                      <a:pt x="609" y="500"/>
                      <a:pt x="609" y="500"/>
                    </a:cubicBezTo>
                    <a:cubicBezTo>
                      <a:pt x="610" y="501"/>
                      <a:pt x="610" y="501"/>
                      <a:pt x="610" y="501"/>
                    </a:cubicBezTo>
                    <a:cubicBezTo>
                      <a:pt x="611" y="501"/>
                      <a:pt x="611" y="501"/>
                      <a:pt x="611" y="501"/>
                    </a:cubicBezTo>
                    <a:cubicBezTo>
                      <a:pt x="612" y="501"/>
                      <a:pt x="612" y="501"/>
                      <a:pt x="612" y="501"/>
                    </a:cubicBezTo>
                    <a:cubicBezTo>
                      <a:pt x="613" y="501"/>
                      <a:pt x="613" y="501"/>
                      <a:pt x="613" y="501"/>
                    </a:cubicBezTo>
                    <a:cubicBezTo>
                      <a:pt x="613" y="500"/>
                      <a:pt x="613" y="500"/>
                      <a:pt x="613" y="500"/>
                    </a:cubicBezTo>
                    <a:cubicBezTo>
                      <a:pt x="613" y="499"/>
                      <a:pt x="613" y="499"/>
                      <a:pt x="613" y="499"/>
                    </a:cubicBezTo>
                    <a:cubicBezTo>
                      <a:pt x="612" y="498"/>
                      <a:pt x="612" y="498"/>
                      <a:pt x="612" y="498"/>
                    </a:cubicBezTo>
                    <a:cubicBezTo>
                      <a:pt x="611" y="498"/>
                      <a:pt x="611" y="498"/>
                      <a:pt x="611" y="498"/>
                    </a:cubicBezTo>
                    <a:cubicBezTo>
                      <a:pt x="610" y="497"/>
                      <a:pt x="610" y="497"/>
                      <a:pt x="610" y="497"/>
                    </a:cubicBezTo>
                    <a:cubicBezTo>
                      <a:pt x="608" y="496"/>
                      <a:pt x="608" y="496"/>
                      <a:pt x="608" y="496"/>
                    </a:cubicBezTo>
                    <a:cubicBezTo>
                      <a:pt x="607" y="496"/>
                      <a:pt x="607" y="496"/>
                      <a:pt x="607" y="496"/>
                    </a:cubicBezTo>
                    <a:cubicBezTo>
                      <a:pt x="607" y="496"/>
                      <a:pt x="607" y="496"/>
                      <a:pt x="607" y="496"/>
                    </a:cubicBezTo>
                    <a:close/>
                    <a:moveTo>
                      <a:pt x="653" y="522"/>
                    </a:moveTo>
                    <a:cubicBezTo>
                      <a:pt x="652" y="521"/>
                      <a:pt x="652" y="521"/>
                      <a:pt x="652" y="521"/>
                    </a:cubicBezTo>
                    <a:cubicBezTo>
                      <a:pt x="652" y="519"/>
                      <a:pt x="652" y="519"/>
                      <a:pt x="652" y="519"/>
                    </a:cubicBezTo>
                    <a:cubicBezTo>
                      <a:pt x="651" y="519"/>
                      <a:pt x="651" y="519"/>
                      <a:pt x="651" y="519"/>
                    </a:cubicBezTo>
                    <a:cubicBezTo>
                      <a:pt x="651" y="518"/>
                      <a:pt x="651" y="518"/>
                      <a:pt x="651" y="518"/>
                    </a:cubicBezTo>
                    <a:cubicBezTo>
                      <a:pt x="652" y="517"/>
                      <a:pt x="652" y="517"/>
                      <a:pt x="652" y="517"/>
                    </a:cubicBezTo>
                    <a:cubicBezTo>
                      <a:pt x="653" y="518"/>
                      <a:pt x="653" y="518"/>
                      <a:pt x="653" y="518"/>
                    </a:cubicBezTo>
                    <a:cubicBezTo>
                      <a:pt x="653" y="519"/>
                      <a:pt x="653" y="519"/>
                      <a:pt x="653" y="519"/>
                    </a:cubicBezTo>
                    <a:cubicBezTo>
                      <a:pt x="654" y="520"/>
                      <a:pt x="654" y="520"/>
                      <a:pt x="654" y="520"/>
                    </a:cubicBezTo>
                    <a:cubicBezTo>
                      <a:pt x="654" y="522"/>
                      <a:pt x="654" y="522"/>
                      <a:pt x="654" y="522"/>
                    </a:cubicBezTo>
                    <a:cubicBezTo>
                      <a:pt x="653" y="522"/>
                      <a:pt x="653" y="522"/>
                      <a:pt x="653" y="522"/>
                    </a:cubicBezTo>
                    <a:close/>
                    <a:moveTo>
                      <a:pt x="652" y="528"/>
                    </a:moveTo>
                    <a:cubicBezTo>
                      <a:pt x="651" y="527"/>
                      <a:pt x="651" y="527"/>
                      <a:pt x="651" y="527"/>
                    </a:cubicBezTo>
                    <a:cubicBezTo>
                      <a:pt x="651" y="526"/>
                      <a:pt x="651" y="526"/>
                      <a:pt x="651" y="526"/>
                    </a:cubicBezTo>
                    <a:cubicBezTo>
                      <a:pt x="650" y="526"/>
                      <a:pt x="650" y="526"/>
                      <a:pt x="650" y="526"/>
                    </a:cubicBezTo>
                    <a:cubicBezTo>
                      <a:pt x="649" y="525"/>
                      <a:pt x="649" y="525"/>
                      <a:pt x="649" y="525"/>
                    </a:cubicBezTo>
                    <a:cubicBezTo>
                      <a:pt x="648" y="524"/>
                      <a:pt x="648" y="524"/>
                      <a:pt x="648" y="524"/>
                    </a:cubicBezTo>
                    <a:cubicBezTo>
                      <a:pt x="648" y="523"/>
                      <a:pt x="648" y="523"/>
                      <a:pt x="648" y="523"/>
                    </a:cubicBezTo>
                    <a:cubicBezTo>
                      <a:pt x="648" y="523"/>
                      <a:pt x="648" y="523"/>
                      <a:pt x="648" y="523"/>
                    </a:cubicBezTo>
                    <a:cubicBezTo>
                      <a:pt x="649" y="522"/>
                      <a:pt x="649" y="522"/>
                      <a:pt x="649" y="522"/>
                    </a:cubicBezTo>
                    <a:cubicBezTo>
                      <a:pt x="652" y="523"/>
                      <a:pt x="652" y="523"/>
                      <a:pt x="652" y="523"/>
                    </a:cubicBezTo>
                    <a:cubicBezTo>
                      <a:pt x="654" y="524"/>
                      <a:pt x="654" y="524"/>
                      <a:pt x="654" y="524"/>
                    </a:cubicBezTo>
                    <a:cubicBezTo>
                      <a:pt x="654" y="524"/>
                      <a:pt x="654" y="524"/>
                      <a:pt x="654" y="524"/>
                    </a:cubicBezTo>
                    <a:cubicBezTo>
                      <a:pt x="653" y="525"/>
                      <a:pt x="653" y="525"/>
                      <a:pt x="653" y="525"/>
                    </a:cubicBezTo>
                    <a:cubicBezTo>
                      <a:pt x="653" y="526"/>
                      <a:pt x="653" y="526"/>
                      <a:pt x="653" y="526"/>
                    </a:cubicBezTo>
                    <a:cubicBezTo>
                      <a:pt x="652" y="527"/>
                      <a:pt x="652" y="527"/>
                      <a:pt x="652" y="527"/>
                    </a:cubicBezTo>
                    <a:cubicBezTo>
                      <a:pt x="652" y="528"/>
                      <a:pt x="652" y="528"/>
                      <a:pt x="652" y="528"/>
                    </a:cubicBezTo>
                    <a:cubicBezTo>
                      <a:pt x="652" y="528"/>
                      <a:pt x="652" y="528"/>
                      <a:pt x="652" y="528"/>
                    </a:cubicBezTo>
                    <a:close/>
                    <a:moveTo>
                      <a:pt x="603" y="558"/>
                    </a:moveTo>
                    <a:cubicBezTo>
                      <a:pt x="603" y="559"/>
                      <a:pt x="603" y="559"/>
                      <a:pt x="603" y="559"/>
                    </a:cubicBezTo>
                    <a:cubicBezTo>
                      <a:pt x="604" y="558"/>
                      <a:pt x="604" y="558"/>
                      <a:pt x="604" y="558"/>
                    </a:cubicBezTo>
                    <a:cubicBezTo>
                      <a:pt x="603" y="558"/>
                      <a:pt x="603" y="558"/>
                      <a:pt x="603" y="558"/>
                    </a:cubicBezTo>
                    <a:close/>
                    <a:moveTo>
                      <a:pt x="604" y="558"/>
                    </a:moveTo>
                    <a:cubicBezTo>
                      <a:pt x="604" y="559"/>
                      <a:pt x="604" y="559"/>
                      <a:pt x="604" y="559"/>
                    </a:cubicBezTo>
                    <a:cubicBezTo>
                      <a:pt x="604" y="559"/>
                      <a:pt x="604" y="559"/>
                      <a:pt x="604" y="559"/>
                    </a:cubicBezTo>
                    <a:cubicBezTo>
                      <a:pt x="604" y="558"/>
                      <a:pt x="604" y="558"/>
                      <a:pt x="604" y="558"/>
                    </a:cubicBezTo>
                    <a:close/>
                    <a:moveTo>
                      <a:pt x="606" y="558"/>
                    </a:moveTo>
                    <a:cubicBezTo>
                      <a:pt x="605" y="559"/>
                      <a:pt x="605" y="559"/>
                      <a:pt x="605" y="559"/>
                    </a:cubicBezTo>
                    <a:cubicBezTo>
                      <a:pt x="605" y="561"/>
                      <a:pt x="605" y="561"/>
                      <a:pt x="605" y="561"/>
                    </a:cubicBezTo>
                    <a:cubicBezTo>
                      <a:pt x="605" y="561"/>
                      <a:pt x="605" y="561"/>
                      <a:pt x="605" y="561"/>
                    </a:cubicBezTo>
                    <a:cubicBezTo>
                      <a:pt x="606" y="561"/>
                      <a:pt x="606" y="561"/>
                      <a:pt x="606" y="561"/>
                    </a:cubicBezTo>
                    <a:cubicBezTo>
                      <a:pt x="606" y="560"/>
                      <a:pt x="606" y="560"/>
                      <a:pt x="606" y="560"/>
                    </a:cubicBezTo>
                    <a:cubicBezTo>
                      <a:pt x="606" y="558"/>
                      <a:pt x="606" y="558"/>
                      <a:pt x="606" y="558"/>
                    </a:cubicBezTo>
                    <a:close/>
                    <a:moveTo>
                      <a:pt x="618" y="543"/>
                    </a:moveTo>
                    <a:cubicBezTo>
                      <a:pt x="618" y="542"/>
                      <a:pt x="618" y="542"/>
                      <a:pt x="618" y="542"/>
                    </a:cubicBezTo>
                    <a:cubicBezTo>
                      <a:pt x="619" y="540"/>
                      <a:pt x="619" y="540"/>
                      <a:pt x="619" y="540"/>
                    </a:cubicBezTo>
                    <a:cubicBezTo>
                      <a:pt x="619" y="539"/>
                      <a:pt x="619" y="539"/>
                      <a:pt x="619" y="539"/>
                    </a:cubicBezTo>
                    <a:cubicBezTo>
                      <a:pt x="620" y="538"/>
                      <a:pt x="620" y="538"/>
                      <a:pt x="620" y="538"/>
                    </a:cubicBezTo>
                    <a:cubicBezTo>
                      <a:pt x="622" y="537"/>
                      <a:pt x="622" y="537"/>
                      <a:pt x="622" y="537"/>
                    </a:cubicBezTo>
                    <a:cubicBezTo>
                      <a:pt x="624" y="537"/>
                      <a:pt x="624" y="537"/>
                      <a:pt x="624" y="537"/>
                    </a:cubicBezTo>
                    <a:cubicBezTo>
                      <a:pt x="624" y="537"/>
                      <a:pt x="624" y="537"/>
                      <a:pt x="624" y="537"/>
                    </a:cubicBezTo>
                    <a:cubicBezTo>
                      <a:pt x="624" y="538"/>
                      <a:pt x="624" y="538"/>
                      <a:pt x="624" y="538"/>
                    </a:cubicBezTo>
                    <a:cubicBezTo>
                      <a:pt x="624" y="539"/>
                      <a:pt x="624" y="539"/>
                      <a:pt x="624" y="539"/>
                    </a:cubicBezTo>
                    <a:cubicBezTo>
                      <a:pt x="624" y="540"/>
                      <a:pt x="624" y="540"/>
                      <a:pt x="624" y="540"/>
                    </a:cubicBezTo>
                    <a:cubicBezTo>
                      <a:pt x="623" y="541"/>
                      <a:pt x="623" y="541"/>
                      <a:pt x="623" y="541"/>
                    </a:cubicBezTo>
                    <a:cubicBezTo>
                      <a:pt x="622" y="542"/>
                      <a:pt x="622" y="542"/>
                      <a:pt x="622" y="542"/>
                    </a:cubicBezTo>
                    <a:cubicBezTo>
                      <a:pt x="621" y="542"/>
                      <a:pt x="621" y="542"/>
                      <a:pt x="621" y="542"/>
                    </a:cubicBezTo>
                    <a:cubicBezTo>
                      <a:pt x="619" y="543"/>
                      <a:pt x="619" y="543"/>
                      <a:pt x="619" y="543"/>
                    </a:cubicBezTo>
                    <a:cubicBezTo>
                      <a:pt x="618" y="543"/>
                      <a:pt x="618" y="543"/>
                      <a:pt x="618" y="543"/>
                    </a:cubicBezTo>
                    <a:close/>
                    <a:moveTo>
                      <a:pt x="576" y="494"/>
                    </a:moveTo>
                    <a:cubicBezTo>
                      <a:pt x="578" y="495"/>
                      <a:pt x="578" y="495"/>
                      <a:pt x="578" y="495"/>
                    </a:cubicBezTo>
                    <a:cubicBezTo>
                      <a:pt x="579" y="497"/>
                      <a:pt x="579" y="497"/>
                      <a:pt x="579" y="497"/>
                    </a:cubicBezTo>
                    <a:cubicBezTo>
                      <a:pt x="580" y="497"/>
                      <a:pt x="580" y="497"/>
                      <a:pt x="580" y="497"/>
                    </a:cubicBezTo>
                    <a:cubicBezTo>
                      <a:pt x="582" y="498"/>
                      <a:pt x="582" y="498"/>
                      <a:pt x="582" y="498"/>
                    </a:cubicBezTo>
                    <a:cubicBezTo>
                      <a:pt x="582" y="497"/>
                      <a:pt x="582" y="497"/>
                      <a:pt x="582" y="497"/>
                    </a:cubicBezTo>
                    <a:cubicBezTo>
                      <a:pt x="580" y="496"/>
                      <a:pt x="580" y="496"/>
                      <a:pt x="580" y="496"/>
                    </a:cubicBezTo>
                    <a:cubicBezTo>
                      <a:pt x="578" y="494"/>
                      <a:pt x="578" y="494"/>
                      <a:pt x="578" y="494"/>
                    </a:cubicBezTo>
                    <a:cubicBezTo>
                      <a:pt x="577" y="494"/>
                      <a:pt x="577" y="494"/>
                      <a:pt x="577" y="494"/>
                    </a:cubicBezTo>
                    <a:cubicBezTo>
                      <a:pt x="576" y="494"/>
                      <a:pt x="576" y="494"/>
                      <a:pt x="576" y="494"/>
                    </a:cubicBezTo>
                    <a:close/>
                    <a:moveTo>
                      <a:pt x="562" y="481"/>
                    </a:moveTo>
                    <a:cubicBezTo>
                      <a:pt x="562" y="481"/>
                      <a:pt x="562" y="481"/>
                      <a:pt x="562" y="481"/>
                    </a:cubicBezTo>
                    <a:cubicBezTo>
                      <a:pt x="563" y="481"/>
                      <a:pt x="563" y="481"/>
                      <a:pt x="563" y="481"/>
                    </a:cubicBezTo>
                    <a:cubicBezTo>
                      <a:pt x="564" y="482"/>
                      <a:pt x="564" y="482"/>
                      <a:pt x="564" y="482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6" y="480"/>
                      <a:pt x="566" y="480"/>
                      <a:pt x="566" y="480"/>
                    </a:cubicBezTo>
                    <a:cubicBezTo>
                      <a:pt x="565" y="479"/>
                      <a:pt x="565" y="479"/>
                      <a:pt x="565" y="479"/>
                    </a:cubicBezTo>
                    <a:cubicBezTo>
                      <a:pt x="566" y="478"/>
                      <a:pt x="566" y="478"/>
                      <a:pt x="566" y="478"/>
                    </a:cubicBezTo>
                    <a:cubicBezTo>
                      <a:pt x="566" y="478"/>
                      <a:pt x="566" y="478"/>
                      <a:pt x="566" y="478"/>
                    </a:cubicBezTo>
                    <a:cubicBezTo>
                      <a:pt x="564" y="477"/>
                      <a:pt x="564" y="477"/>
                      <a:pt x="564" y="477"/>
                    </a:cubicBezTo>
                    <a:cubicBezTo>
                      <a:pt x="562" y="476"/>
                      <a:pt x="562" y="476"/>
                      <a:pt x="562" y="476"/>
                    </a:cubicBezTo>
                    <a:cubicBezTo>
                      <a:pt x="562" y="476"/>
                      <a:pt x="562" y="476"/>
                      <a:pt x="562" y="476"/>
                    </a:cubicBezTo>
                    <a:cubicBezTo>
                      <a:pt x="562" y="475"/>
                      <a:pt x="562" y="475"/>
                      <a:pt x="562" y="475"/>
                    </a:cubicBezTo>
                    <a:cubicBezTo>
                      <a:pt x="561" y="475"/>
                      <a:pt x="561" y="475"/>
                      <a:pt x="561" y="475"/>
                    </a:cubicBezTo>
                    <a:cubicBezTo>
                      <a:pt x="560" y="475"/>
                      <a:pt x="560" y="475"/>
                      <a:pt x="560" y="475"/>
                    </a:cubicBezTo>
                    <a:cubicBezTo>
                      <a:pt x="559" y="475"/>
                      <a:pt x="559" y="475"/>
                      <a:pt x="559" y="475"/>
                    </a:cubicBezTo>
                    <a:cubicBezTo>
                      <a:pt x="558" y="476"/>
                      <a:pt x="558" y="476"/>
                      <a:pt x="558" y="476"/>
                    </a:cubicBezTo>
                    <a:cubicBezTo>
                      <a:pt x="559" y="477"/>
                      <a:pt x="559" y="477"/>
                      <a:pt x="559" y="477"/>
                    </a:cubicBezTo>
                    <a:cubicBezTo>
                      <a:pt x="559" y="477"/>
                      <a:pt x="559" y="477"/>
                      <a:pt x="559" y="477"/>
                    </a:cubicBezTo>
                    <a:cubicBezTo>
                      <a:pt x="560" y="477"/>
                      <a:pt x="560" y="477"/>
                      <a:pt x="560" y="477"/>
                    </a:cubicBezTo>
                    <a:cubicBezTo>
                      <a:pt x="561" y="478"/>
                      <a:pt x="561" y="478"/>
                      <a:pt x="561" y="478"/>
                    </a:cubicBezTo>
                    <a:cubicBezTo>
                      <a:pt x="562" y="479"/>
                      <a:pt x="562" y="479"/>
                      <a:pt x="562" y="479"/>
                    </a:cubicBezTo>
                    <a:cubicBezTo>
                      <a:pt x="562" y="481"/>
                      <a:pt x="562" y="481"/>
                      <a:pt x="562" y="481"/>
                    </a:cubicBezTo>
                    <a:close/>
                    <a:moveTo>
                      <a:pt x="552" y="486"/>
                    </a:moveTo>
                    <a:cubicBezTo>
                      <a:pt x="553" y="485"/>
                      <a:pt x="553" y="485"/>
                      <a:pt x="553" y="485"/>
                    </a:cubicBezTo>
                    <a:cubicBezTo>
                      <a:pt x="554" y="485"/>
                      <a:pt x="554" y="485"/>
                      <a:pt x="554" y="485"/>
                    </a:cubicBezTo>
                    <a:cubicBezTo>
                      <a:pt x="555" y="485"/>
                      <a:pt x="555" y="485"/>
                      <a:pt x="555" y="485"/>
                    </a:cubicBezTo>
                    <a:cubicBezTo>
                      <a:pt x="556" y="484"/>
                      <a:pt x="556" y="484"/>
                      <a:pt x="556" y="484"/>
                    </a:cubicBezTo>
                    <a:cubicBezTo>
                      <a:pt x="556" y="483"/>
                      <a:pt x="556" y="483"/>
                      <a:pt x="556" y="483"/>
                    </a:cubicBezTo>
                    <a:cubicBezTo>
                      <a:pt x="556" y="482"/>
                      <a:pt x="556" y="482"/>
                      <a:pt x="556" y="482"/>
                    </a:cubicBezTo>
                    <a:cubicBezTo>
                      <a:pt x="556" y="480"/>
                      <a:pt x="556" y="480"/>
                      <a:pt x="556" y="480"/>
                    </a:cubicBezTo>
                    <a:cubicBezTo>
                      <a:pt x="555" y="479"/>
                      <a:pt x="555" y="479"/>
                      <a:pt x="555" y="479"/>
                    </a:cubicBezTo>
                    <a:cubicBezTo>
                      <a:pt x="553" y="479"/>
                      <a:pt x="553" y="479"/>
                      <a:pt x="553" y="479"/>
                    </a:cubicBezTo>
                    <a:cubicBezTo>
                      <a:pt x="552" y="478"/>
                      <a:pt x="552" y="478"/>
                      <a:pt x="552" y="478"/>
                    </a:cubicBezTo>
                    <a:cubicBezTo>
                      <a:pt x="551" y="477"/>
                      <a:pt x="551" y="477"/>
                      <a:pt x="551" y="477"/>
                    </a:cubicBezTo>
                    <a:cubicBezTo>
                      <a:pt x="550" y="477"/>
                      <a:pt x="550" y="477"/>
                      <a:pt x="550" y="477"/>
                    </a:cubicBezTo>
                    <a:cubicBezTo>
                      <a:pt x="549" y="478"/>
                      <a:pt x="549" y="478"/>
                      <a:pt x="549" y="478"/>
                    </a:cubicBezTo>
                    <a:cubicBezTo>
                      <a:pt x="548" y="477"/>
                      <a:pt x="548" y="477"/>
                      <a:pt x="548" y="477"/>
                    </a:cubicBezTo>
                    <a:cubicBezTo>
                      <a:pt x="547" y="478"/>
                      <a:pt x="547" y="478"/>
                      <a:pt x="547" y="478"/>
                    </a:cubicBezTo>
                    <a:cubicBezTo>
                      <a:pt x="548" y="480"/>
                      <a:pt x="548" y="480"/>
                      <a:pt x="548" y="480"/>
                    </a:cubicBezTo>
                    <a:cubicBezTo>
                      <a:pt x="549" y="481"/>
                      <a:pt x="549" y="481"/>
                      <a:pt x="549" y="481"/>
                    </a:cubicBezTo>
                    <a:cubicBezTo>
                      <a:pt x="550" y="483"/>
                      <a:pt x="550" y="483"/>
                      <a:pt x="550" y="483"/>
                    </a:cubicBezTo>
                    <a:cubicBezTo>
                      <a:pt x="551" y="483"/>
                      <a:pt x="551" y="483"/>
                      <a:pt x="551" y="483"/>
                    </a:cubicBezTo>
                    <a:cubicBezTo>
                      <a:pt x="551" y="485"/>
                      <a:pt x="551" y="485"/>
                      <a:pt x="551" y="485"/>
                    </a:cubicBezTo>
                    <a:cubicBezTo>
                      <a:pt x="552" y="486"/>
                      <a:pt x="552" y="486"/>
                      <a:pt x="552" y="486"/>
                    </a:cubicBezTo>
                    <a:close/>
                    <a:moveTo>
                      <a:pt x="550" y="494"/>
                    </a:moveTo>
                    <a:cubicBezTo>
                      <a:pt x="550" y="494"/>
                      <a:pt x="550" y="494"/>
                      <a:pt x="550" y="494"/>
                    </a:cubicBezTo>
                    <a:cubicBezTo>
                      <a:pt x="548" y="493"/>
                      <a:pt x="548" y="493"/>
                      <a:pt x="548" y="493"/>
                    </a:cubicBezTo>
                    <a:cubicBezTo>
                      <a:pt x="548" y="493"/>
                      <a:pt x="548" y="493"/>
                      <a:pt x="548" y="493"/>
                    </a:cubicBezTo>
                    <a:cubicBezTo>
                      <a:pt x="548" y="494"/>
                      <a:pt x="548" y="494"/>
                      <a:pt x="548" y="494"/>
                    </a:cubicBezTo>
                    <a:cubicBezTo>
                      <a:pt x="550" y="494"/>
                      <a:pt x="550" y="494"/>
                      <a:pt x="550" y="494"/>
                    </a:cubicBezTo>
                    <a:close/>
                    <a:moveTo>
                      <a:pt x="528" y="509"/>
                    </a:moveTo>
                    <a:cubicBezTo>
                      <a:pt x="529" y="510"/>
                      <a:pt x="529" y="510"/>
                      <a:pt x="529" y="510"/>
                    </a:cubicBezTo>
                    <a:cubicBezTo>
                      <a:pt x="530" y="509"/>
                      <a:pt x="530" y="509"/>
                      <a:pt x="530" y="509"/>
                    </a:cubicBezTo>
                    <a:cubicBezTo>
                      <a:pt x="530" y="508"/>
                      <a:pt x="530" y="508"/>
                      <a:pt x="530" y="508"/>
                    </a:cubicBezTo>
                    <a:cubicBezTo>
                      <a:pt x="530" y="507"/>
                      <a:pt x="530" y="507"/>
                      <a:pt x="530" y="507"/>
                    </a:cubicBezTo>
                    <a:cubicBezTo>
                      <a:pt x="531" y="506"/>
                      <a:pt x="531" y="506"/>
                      <a:pt x="531" y="506"/>
                    </a:cubicBezTo>
                    <a:cubicBezTo>
                      <a:pt x="530" y="506"/>
                      <a:pt x="530" y="506"/>
                      <a:pt x="530" y="506"/>
                    </a:cubicBezTo>
                    <a:cubicBezTo>
                      <a:pt x="530" y="505"/>
                      <a:pt x="530" y="505"/>
                      <a:pt x="530" y="505"/>
                    </a:cubicBezTo>
                    <a:cubicBezTo>
                      <a:pt x="532" y="503"/>
                      <a:pt x="532" y="503"/>
                      <a:pt x="532" y="503"/>
                    </a:cubicBezTo>
                    <a:cubicBezTo>
                      <a:pt x="533" y="502"/>
                      <a:pt x="533" y="502"/>
                      <a:pt x="533" y="502"/>
                    </a:cubicBezTo>
                    <a:cubicBezTo>
                      <a:pt x="534" y="502"/>
                      <a:pt x="534" y="502"/>
                      <a:pt x="534" y="502"/>
                    </a:cubicBezTo>
                    <a:cubicBezTo>
                      <a:pt x="535" y="501"/>
                      <a:pt x="535" y="501"/>
                      <a:pt x="535" y="501"/>
                    </a:cubicBezTo>
                    <a:cubicBezTo>
                      <a:pt x="535" y="500"/>
                      <a:pt x="535" y="500"/>
                      <a:pt x="535" y="500"/>
                    </a:cubicBezTo>
                    <a:cubicBezTo>
                      <a:pt x="534" y="499"/>
                      <a:pt x="534" y="499"/>
                      <a:pt x="534" y="499"/>
                    </a:cubicBezTo>
                    <a:cubicBezTo>
                      <a:pt x="535" y="498"/>
                      <a:pt x="535" y="498"/>
                      <a:pt x="535" y="498"/>
                    </a:cubicBezTo>
                    <a:cubicBezTo>
                      <a:pt x="536" y="497"/>
                      <a:pt x="536" y="497"/>
                      <a:pt x="536" y="497"/>
                    </a:cubicBezTo>
                    <a:cubicBezTo>
                      <a:pt x="536" y="496"/>
                      <a:pt x="536" y="496"/>
                      <a:pt x="536" y="496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5" y="494"/>
                      <a:pt x="535" y="494"/>
                      <a:pt x="535" y="494"/>
                    </a:cubicBezTo>
                    <a:cubicBezTo>
                      <a:pt x="534" y="495"/>
                      <a:pt x="534" y="495"/>
                      <a:pt x="534" y="495"/>
                    </a:cubicBezTo>
                    <a:cubicBezTo>
                      <a:pt x="533" y="495"/>
                      <a:pt x="533" y="495"/>
                      <a:pt x="533" y="495"/>
                    </a:cubicBezTo>
                    <a:cubicBezTo>
                      <a:pt x="532" y="494"/>
                      <a:pt x="532" y="494"/>
                      <a:pt x="532" y="494"/>
                    </a:cubicBezTo>
                    <a:cubicBezTo>
                      <a:pt x="532" y="493"/>
                      <a:pt x="532" y="493"/>
                      <a:pt x="532" y="493"/>
                    </a:cubicBezTo>
                    <a:cubicBezTo>
                      <a:pt x="531" y="494"/>
                      <a:pt x="531" y="494"/>
                      <a:pt x="531" y="494"/>
                    </a:cubicBezTo>
                    <a:cubicBezTo>
                      <a:pt x="529" y="496"/>
                      <a:pt x="529" y="496"/>
                      <a:pt x="529" y="496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7" y="497"/>
                      <a:pt x="527" y="497"/>
                      <a:pt x="527" y="497"/>
                    </a:cubicBezTo>
                    <a:cubicBezTo>
                      <a:pt x="527" y="499"/>
                      <a:pt x="527" y="499"/>
                      <a:pt x="527" y="499"/>
                    </a:cubicBezTo>
                    <a:cubicBezTo>
                      <a:pt x="527" y="501"/>
                      <a:pt x="527" y="501"/>
                      <a:pt x="527" y="501"/>
                    </a:cubicBezTo>
                    <a:cubicBezTo>
                      <a:pt x="526" y="501"/>
                      <a:pt x="526" y="501"/>
                      <a:pt x="526" y="501"/>
                    </a:cubicBezTo>
                    <a:cubicBezTo>
                      <a:pt x="526" y="503"/>
                      <a:pt x="526" y="503"/>
                      <a:pt x="526" y="503"/>
                    </a:cubicBezTo>
                    <a:cubicBezTo>
                      <a:pt x="526" y="504"/>
                      <a:pt x="526" y="504"/>
                      <a:pt x="526" y="504"/>
                    </a:cubicBezTo>
                    <a:cubicBezTo>
                      <a:pt x="525" y="505"/>
                      <a:pt x="525" y="505"/>
                      <a:pt x="525" y="505"/>
                    </a:cubicBezTo>
                    <a:cubicBezTo>
                      <a:pt x="526" y="506"/>
                      <a:pt x="526" y="506"/>
                      <a:pt x="526" y="506"/>
                    </a:cubicBezTo>
                    <a:cubicBezTo>
                      <a:pt x="527" y="506"/>
                      <a:pt x="527" y="506"/>
                      <a:pt x="527" y="506"/>
                    </a:cubicBezTo>
                    <a:cubicBezTo>
                      <a:pt x="527" y="508"/>
                      <a:pt x="527" y="508"/>
                      <a:pt x="527" y="508"/>
                    </a:cubicBezTo>
                    <a:cubicBezTo>
                      <a:pt x="528" y="508"/>
                      <a:pt x="528" y="508"/>
                      <a:pt x="528" y="508"/>
                    </a:cubicBezTo>
                    <a:cubicBezTo>
                      <a:pt x="528" y="509"/>
                      <a:pt x="528" y="509"/>
                      <a:pt x="528" y="509"/>
                    </a:cubicBezTo>
                    <a:close/>
                    <a:moveTo>
                      <a:pt x="509" y="592"/>
                    </a:moveTo>
                    <a:cubicBezTo>
                      <a:pt x="509" y="593"/>
                      <a:pt x="509" y="593"/>
                      <a:pt x="509" y="593"/>
                    </a:cubicBezTo>
                    <a:cubicBezTo>
                      <a:pt x="510" y="593"/>
                      <a:pt x="510" y="593"/>
                      <a:pt x="510" y="593"/>
                    </a:cubicBezTo>
                    <a:cubicBezTo>
                      <a:pt x="510" y="592"/>
                      <a:pt x="510" y="592"/>
                      <a:pt x="510" y="592"/>
                    </a:cubicBezTo>
                    <a:cubicBezTo>
                      <a:pt x="509" y="592"/>
                      <a:pt x="509" y="592"/>
                      <a:pt x="509" y="592"/>
                    </a:cubicBezTo>
                    <a:close/>
                    <a:moveTo>
                      <a:pt x="510" y="601"/>
                    </a:moveTo>
                    <a:cubicBezTo>
                      <a:pt x="511" y="599"/>
                      <a:pt x="511" y="599"/>
                      <a:pt x="511" y="599"/>
                    </a:cubicBezTo>
                    <a:cubicBezTo>
                      <a:pt x="512" y="598"/>
                      <a:pt x="512" y="598"/>
                      <a:pt x="512" y="598"/>
                    </a:cubicBezTo>
                    <a:cubicBezTo>
                      <a:pt x="512" y="597"/>
                      <a:pt x="512" y="597"/>
                      <a:pt x="512" y="597"/>
                    </a:cubicBezTo>
                    <a:cubicBezTo>
                      <a:pt x="512" y="600"/>
                      <a:pt x="512" y="600"/>
                      <a:pt x="512" y="600"/>
                    </a:cubicBezTo>
                    <a:cubicBezTo>
                      <a:pt x="511" y="601"/>
                      <a:pt x="511" y="601"/>
                      <a:pt x="511" y="601"/>
                    </a:cubicBezTo>
                    <a:cubicBezTo>
                      <a:pt x="511" y="601"/>
                      <a:pt x="510" y="601"/>
                      <a:pt x="510" y="601"/>
                    </a:cubicBezTo>
                    <a:close/>
                    <a:moveTo>
                      <a:pt x="499" y="598"/>
                    </a:moveTo>
                    <a:cubicBezTo>
                      <a:pt x="500" y="596"/>
                      <a:pt x="500" y="596"/>
                      <a:pt x="500" y="596"/>
                    </a:cubicBezTo>
                    <a:cubicBezTo>
                      <a:pt x="501" y="596"/>
                      <a:pt x="501" y="596"/>
                      <a:pt x="501" y="596"/>
                    </a:cubicBezTo>
                    <a:cubicBezTo>
                      <a:pt x="502" y="596"/>
                      <a:pt x="502" y="596"/>
                      <a:pt x="502" y="596"/>
                    </a:cubicBezTo>
                    <a:cubicBezTo>
                      <a:pt x="502" y="596"/>
                      <a:pt x="502" y="596"/>
                      <a:pt x="502" y="596"/>
                    </a:cubicBezTo>
                    <a:cubicBezTo>
                      <a:pt x="504" y="595"/>
                      <a:pt x="504" y="595"/>
                      <a:pt x="504" y="595"/>
                    </a:cubicBezTo>
                    <a:cubicBezTo>
                      <a:pt x="505" y="594"/>
                      <a:pt x="505" y="594"/>
                      <a:pt x="505" y="594"/>
                    </a:cubicBezTo>
                    <a:cubicBezTo>
                      <a:pt x="503" y="596"/>
                      <a:pt x="503" y="596"/>
                      <a:pt x="503" y="596"/>
                    </a:cubicBezTo>
                    <a:cubicBezTo>
                      <a:pt x="501" y="598"/>
                      <a:pt x="501" y="598"/>
                      <a:pt x="501" y="598"/>
                    </a:cubicBezTo>
                    <a:cubicBezTo>
                      <a:pt x="499" y="599"/>
                      <a:pt x="499" y="599"/>
                      <a:pt x="499" y="599"/>
                    </a:cubicBezTo>
                    <a:cubicBezTo>
                      <a:pt x="499" y="598"/>
                      <a:pt x="499" y="598"/>
                      <a:pt x="499" y="598"/>
                    </a:cubicBezTo>
                    <a:close/>
                    <a:moveTo>
                      <a:pt x="507" y="602"/>
                    </a:moveTo>
                    <a:cubicBezTo>
                      <a:pt x="509" y="599"/>
                      <a:pt x="509" y="599"/>
                      <a:pt x="509" y="599"/>
                    </a:cubicBezTo>
                    <a:cubicBezTo>
                      <a:pt x="509" y="597"/>
                      <a:pt x="509" y="597"/>
                      <a:pt x="509" y="597"/>
                    </a:cubicBezTo>
                    <a:cubicBezTo>
                      <a:pt x="510" y="597"/>
                      <a:pt x="510" y="597"/>
                      <a:pt x="510" y="597"/>
                    </a:cubicBezTo>
                    <a:cubicBezTo>
                      <a:pt x="510" y="598"/>
                      <a:pt x="510" y="598"/>
                      <a:pt x="510" y="598"/>
                    </a:cubicBezTo>
                    <a:cubicBezTo>
                      <a:pt x="507" y="601"/>
                      <a:pt x="507" y="601"/>
                      <a:pt x="507" y="601"/>
                    </a:cubicBezTo>
                    <a:cubicBezTo>
                      <a:pt x="507" y="603"/>
                      <a:pt x="507" y="603"/>
                      <a:pt x="507" y="603"/>
                    </a:cubicBezTo>
                    <a:cubicBezTo>
                      <a:pt x="508" y="602"/>
                      <a:pt x="508" y="602"/>
                      <a:pt x="508" y="602"/>
                    </a:cubicBezTo>
                    <a:cubicBezTo>
                      <a:pt x="510" y="599"/>
                      <a:pt x="510" y="599"/>
                      <a:pt x="510" y="599"/>
                    </a:cubicBezTo>
                    <a:cubicBezTo>
                      <a:pt x="511" y="599"/>
                      <a:pt x="511" y="599"/>
                      <a:pt x="511" y="599"/>
                    </a:cubicBezTo>
                    <a:cubicBezTo>
                      <a:pt x="511" y="596"/>
                      <a:pt x="511" y="596"/>
                      <a:pt x="511" y="596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594"/>
                      <a:pt x="510" y="594"/>
                      <a:pt x="510" y="594"/>
                    </a:cubicBezTo>
                    <a:cubicBezTo>
                      <a:pt x="508" y="593"/>
                      <a:pt x="508" y="593"/>
                      <a:pt x="508" y="593"/>
                    </a:cubicBezTo>
                    <a:cubicBezTo>
                      <a:pt x="508" y="594"/>
                      <a:pt x="508" y="594"/>
                      <a:pt x="508" y="594"/>
                    </a:cubicBezTo>
                    <a:cubicBezTo>
                      <a:pt x="507" y="597"/>
                      <a:pt x="507" y="597"/>
                      <a:pt x="507" y="597"/>
                    </a:cubicBezTo>
                    <a:cubicBezTo>
                      <a:pt x="506" y="599"/>
                      <a:pt x="506" y="599"/>
                      <a:pt x="506" y="599"/>
                    </a:cubicBezTo>
                    <a:cubicBezTo>
                      <a:pt x="504" y="600"/>
                      <a:pt x="504" y="600"/>
                      <a:pt x="504" y="600"/>
                    </a:cubicBezTo>
                    <a:cubicBezTo>
                      <a:pt x="504" y="598"/>
                      <a:pt x="504" y="598"/>
                      <a:pt x="504" y="598"/>
                    </a:cubicBezTo>
                    <a:cubicBezTo>
                      <a:pt x="506" y="597"/>
                      <a:pt x="506" y="597"/>
                      <a:pt x="506" y="597"/>
                    </a:cubicBezTo>
                    <a:cubicBezTo>
                      <a:pt x="507" y="595"/>
                      <a:pt x="507" y="595"/>
                      <a:pt x="507" y="595"/>
                    </a:cubicBezTo>
                    <a:cubicBezTo>
                      <a:pt x="506" y="595"/>
                      <a:pt x="506" y="595"/>
                      <a:pt x="506" y="595"/>
                    </a:cubicBezTo>
                    <a:cubicBezTo>
                      <a:pt x="505" y="595"/>
                      <a:pt x="505" y="595"/>
                      <a:pt x="505" y="595"/>
                    </a:cubicBezTo>
                    <a:cubicBezTo>
                      <a:pt x="504" y="598"/>
                      <a:pt x="504" y="598"/>
                      <a:pt x="504" y="598"/>
                    </a:cubicBezTo>
                    <a:cubicBezTo>
                      <a:pt x="502" y="600"/>
                      <a:pt x="502" y="600"/>
                      <a:pt x="502" y="600"/>
                    </a:cubicBezTo>
                    <a:cubicBezTo>
                      <a:pt x="501" y="601"/>
                      <a:pt x="501" y="601"/>
                      <a:pt x="501" y="601"/>
                    </a:cubicBezTo>
                    <a:cubicBezTo>
                      <a:pt x="500" y="603"/>
                      <a:pt x="500" y="603"/>
                      <a:pt x="500" y="603"/>
                    </a:cubicBezTo>
                    <a:cubicBezTo>
                      <a:pt x="500" y="604"/>
                      <a:pt x="500" y="604"/>
                      <a:pt x="500" y="604"/>
                    </a:cubicBezTo>
                    <a:cubicBezTo>
                      <a:pt x="501" y="604"/>
                      <a:pt x="501" y="604"/>
                      <a:pt x="501" y="604"/>
                    </a:cubicBezTo>
                    <a:cubicBezTo>
                      <a:pt x="503" y="601"/>
                      <a:pt x="503" y="601"/>
                      <a:pt x="503" y="601"/>
                    </a:cubicBezTo>
                    <a:cubicBezTo>
                      <a:pt x="504" y="601"/>
                      <a:pt x="504" y="601"/>
                      <a:pt x="504" y="601"/>
                    </a:cubicBezTo>
                    <a:cubicBezTo>
                      <a:pt x="504" y="602"/>
                      <a:pt x="504" y="602"/>
                      <a:pt x="504" y="602"/>
                    </a:cubicBezTo>
                    <a:cubicBezTo>
                      <a:pt x="502" y="604"/>
                      <a:pt x="502" y="604"/>
                      <a:pt x="502" y="604"/>
                    </a:cubicBezTo>
                    <a:cubicBezTo>
                      <a:pt x="503" y="604"/>
                      <a:pt x="503" y="604"/>
                      <a:pt x="503" y="604"/>
                    </a:cubicBezTo>
                    <a:cubicBezTo>
                      <a:pt x="504" y="604"/>
                      <a:pt x="504" y="604"/>
                      <a:pt x="504" y="604"/>
                    </a:cubicBezTo>
                    <a:cubicBezTo>
                      <a:pt x="505" y="604"/>
                      <a:pt x="505" y="604"/>
                      <a:pt x="505" y="604"/>
                    </a:cubicBezTo>
                    <a:cubicBezTo>
                      <a:pt x="505" y="604"/>
                      <a:pt x="507" y="602"/>
                      <a:pt x="507" y="602"/>
                    </a:cubicBezTo>
                    <a:close/>
                    <a:moveTo>
                      <a:pt x="505" y="602"/>
                    </a:moveTo>
                    <a:cubicBezTo>
                      <a:pt x="505" y="600"/>
                      <a:pt x="505" y="600"/>
                      <a:pt x="505" y="600"/>
                    </a:cubicBezTo>
                    <a:cubicBezTo>
                      <a:pt x="508" y="598"/>
                      <a:pt x="508" y="598"/>
                      <a:pt x="508" y="598"/>
                    </a:cubicBezTo>
                    <a:cubicBezTo>
                      <a:pt x="507" y="600"/>
                      <a:pt x="507" y="600"/>
                      <a:pt x="507" y="600"/>
                    </a:cubicBezTo>
                    <a:cubicBezTo>
                      <a:pt x="505" y="602"/>
                      <a:pt x="505" y="602"/>
                      <a:pt x="505" y="602"/>
                    </a:cubicBezTo>
                    <a:cubicBezTo>
                      <a:pt x="505" y="602"/>
                      <a:pt x="505" y="602"/>
                      <a:pt x="505" y="602"/>
                    </a:cubicBezTo>
                    <a:close/>
                    <a:moveTo>
                      <a:pt x="635" y="737"/>
                    </a:moveTo>
                    <a:cubicBezTo>
                      <a:pt x="635" y="737"/>
                      <a:pt x="635" y="737"/>
                      <a:pt x="635" y="737"/>
                    </a:cubicBezTo>
                    <a:cubicBezTo>
                      <a:pt x="634" y="737"/>
                      <a:pt x="634" y="737"/>
                      <a:pt x="634" y="737"/>
                    </a:cubicBezTo>
                    <a:cubicBezTo>
                      <a:pt x="635" y="736"/>
                      <a:pt x="635" y="736"/>
                      <a:pt x="635" y="736"/>
                    </a:cubicBezTo>
                    <a:cubicBezTo>
                      <a:pt x="635" y="735"/>
                      <a:pt x="635" y="735"/>
                      <a:pt x="635" y="735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5" y="735"/>
                      <a:pt x="635" y="735"/>
                      <a:pt x="635" y="735"/>
                    </a:cubicBezTo>
                    <a:cubicBezTo>
                      <a:pt x="634" y="737"/>
                      <a:pt x="634" y="737"/>
                      <a:pt x="634" y="737"/>
                    </a:cubicBezTo>
                    <a:cubicBezTo>
                      <a:pt x="634" y="738"/>
                      <a:pt x="634" y="738"/>
                      <a:pt x="634" y="738"/>
                    </a:cubicBezTo>
                    <a:cubicBezTo>
                      <a:pt x="635" y="738"/>
                      <a:pt x="635" y="738"/>
                      <a:pt x="635" y="738"/>
                    </a:cubicBezTo>
                    <a:cubicBezTo>
                      <a:pt x="635" y="737"/>
                      <a:pt x="635" y="737"/>
                      <a:pt x="635" y="737"/>
                    </a:cubicBezTo>
                    <a:close/>
                    <a:moveTo>
                      <a:pt x="683" y="746"/>
                    </a:moveTo>
                    <a:cubicBezTo>
                      <a:pt x="683" y="745"/>
                      <a:pt x="683" y="745"/>
                      <a:pt x="683" y="745"/>
                    </a:cubicBezTo>
                    <a:cubicBezTo>
                      <a:pt x="683" y="744"/>
                      <a:pt x="683" y="744"/>
                      <a:pt x="683" y="744"/>
                    </a:cubicBezTo>
                    <a:cubicBezTo>
                      <a:pt x="683" y="742"/>
                      <a:pt x="683" y="742"/>
                      <a:pt x="683" y="742"/>
                    </a:cubicBezTo>
                    <a:cubicBezTo>
                      <a:pt x="682" y="741"/>
                      <a:pt x="682" y="741"/>
                      <a:pt x="682" y="741"/>
                    </a:cubicBezTo>
                    <a:cubicBezTo>
                      <a:pt x="683" y="740"/>
                      <a:pt x="683" y="740"/>
                      <a:pt x="683" y="740"/>
                    </a:cubicBezTo>
                    <a:cubicBezTo>
                      <a:pt x="684" y="740"/>
                      <a:pt x="684" y="740"/>
                      <a:pt x="684" y="740"/>
                    </a:cubicBezTo>
                    <a:cubicBezTo>
                      <a:pt x="683" y="740"/>
                      <a:pt x="683" y="740"/>
                      <a:pt x="683" y="740"/>
                    </a:cubicBezTo>
                    <a:cubicBezTo>
                      <a:pt x="684" y="741"/>
                      <a:pt x="684" y="741"/>
                      <a:pt x="684" y="741"/>
                    </a:cubicBezTo>
                    <a:cubicBezTo>
                      <a:pt x="684" y="742"/>
                      <a:pt x="684" y="742"/>
                      <a:pt x="684" y="742"/>
                    </a:cubicBezTo>
                    <a:cubicBezTo>
                      <a:pt x="683" y="743"/>
                      <a:pt x="683" y="743"/>
                      <a:pt x="683" y="743"/>
                    </a:cubicBezTo>
                    <a:cubicBezTo>
                      <a:pt x="683" y="744"/>
                      <a:pt x="683" y="744"/>
                      <a:pt x="683" y="744"/>
                    </a:cubicBezTo>
                    <a:cubicBezTo>
                      <a:pt x="684" y="744"/>
                      <a:pt x="684" y="744"/>
                      <a:pt x="684" y="744"/>
                    </a:cubicBezTo>
                    <a:cubicBezTo>
                      <a:pt x="684" y="745"/>
                      <a:pt x="684" y="745"/>
                      <a:pt x="684" y="745"/>
                    </a:cubicBezTo>
                    <a:cubicBezTo>
                      <a:pt x="684" y="746"/>
                      <a:pt x="684" y="746"/>
                      <a:pt x="684" y="746"/>
                    </a:cubicBezTo>
                    <a:cubicBezTo>
                      <a:pt x="683" y="746"/>
                      <a:pt x="683" y="746"/>
                      <a:pt x="683" y="746"/>
                    </a:cubicBezTo>
                    <a:close/>
                    <a:moveTo>
                      <a:pt x="685" y="747"/>
                    </a:moveTo>
                    <a:cubicBezTo>
                      <a:pt x="685" y="746"/>
                      <a:pt x="685" y="746"/>
                      <a:pt x="685" y="746"/>
                    </a:cubicBezTo>
                    <a:cubicBezTo>
                      <a:pt x="686" y="746"/>
                      <a:pt x="686" y="746"/>
                      <a:pt x="686" y="746"/>
                    </a:cubicBezTo>
                    <a:cubicBezTo>
                      <a:pt x="686" y="747"/>
                      <a:pt x="686" y="747"/>
                      <a:pt x="686" y="747"/>
                    </a:cubicBezTo>
                    <a:cubicBezTo>
                      <a:pt x="685" y="748"/>
                      <a:pt x="685" y="748"/>
                      <a:pt x="685" y="748"/>
                    </a:cubicBezTo>
                    <a:cubicBezTo>
                      <a:pt x="685" y="747"/>
                      <a:pt x="685" y="747"/>
                      <a:pt x="685" y="747"/>
                    </a:cubicBezTo>
                    <a:close/>
                    <a:moveTo>
                      <a:pt x="704" y="678"/>
                    </a:moveTo>
                    <a:cubicBezTo>
                      <a:pt x="704" y="676"/>
                      <a:pt x="704" y="676"/>
                      <a:pt x="704" y="676"/>
                    </a:cubicBezTo>
                    <a:cubicBezTo>
                      <a:pt x="706" y="675"/>
                      <a:pt x="706" y="675"/>
                      <a:pt x="706" y="675"/>
                    </a:cubicBezTo>
                    <a:cubicBezTo>
                      <a:pt x="706" y="676"/>
                      <a:pt x="706" y="676"/>
                      <a:pt x="706" y="676"/>
                    </a:cubicBezTo>
                    <a:cubicBezTo>
                      <a:pt x="705" y="677"/>
                      <a:pt x="705" y="677"/>
                      <a:pt x="705" y="677"/>
                    </a:cubicBezTo>
                    <a:cubicBezTo>
                      <a:pt x="704" y="678"/>
                      <a:pt x="704" y="678"/>
                      <a:pt x="704" y="678"/>
                    </a:cubicBezTo>
                    <a:cubicBezTo>
                      <a:pt x="704" y="678"/>
                      <a:pt x="704" y="678"/>
                      <a:pt x="704" y="678"/>
                    </a:cubicBezTo>
                    <a:close/>
                    <a:moveTo>
                      <a:pt x="698" y="692"/>
                    </a:moveTo>
                    <a:cubicBezTo>
                      <a:pt x="698" y="693"/>
                      <a:pt x="698" y="693"/>
                      <a:pt x="698" y="693"/>
                    </a:cubicBezTo>
                    <a:cubicBezTo>
                      <a:pt x="699" y="693"/>
                      <a:pt x="699" y="693"/>
                      <a:pt x="699" y="693"/>
                    </a:cubicBezTo>
                    <a:cubicBezTo>
                      <a:pt x="699" y="693"/>
                      <a:pt x="699" y="693"/>
                      <a:pt x="699" y="693"/>
                    </a:cubicBezTo>
                    <a:cubicBezTo>
                      <a:pt x="700" y="693"/>
                      <a:pt x="700" y="693"/>
                      <a:pt x="700" y="693"/>
                    </a:cubicBezTo>
                    <a:cubicBezTo>
                      <a:pt x="700" y="692"/>
                      <a:pt x="700" y="692"/>
                      <a:pt x="700" y="692"/>
                    </a:cubicBezTo>
                    <a:cubicBezTo>
                      <a:pt x="699" y="692"/>
                      <a:pt x="699" y="692"/>
                      <a:pt x="699" y="692"/>
                    </a:cubicBezTo>
                    <a:cubicBezTo>
                      <a:pt x="698" y="692"/>
                      <a:pt x="698" y="692"/>
                      <a:pt x="698" y="692"/>
                    </a:cubicBezTo>
                    <a:close/>
                    <a:moveTo>
                      <a:pt x="708" y="709"/>
                    </a:moveTo>
                    <a:cubicBezTo>
                      <a:pt x="708" y="707"/>
                      <a:pt x="708" y="707"/>
                      <a:pt x="708" y="707"/>
                    </a:cubicBezTo>
                    <a:cubicBezTo>
                      <a:pt x="707" y="706"/>
                      <a:pt x="707" y="706"/>
                      <a:pt x="707" y="706"/>
                    </a:cubicBezTo>
                    <a:cubicBezTo>
                      <a:pt x="708" y="706"/>
                      <a:pt x="708" y="706"/>
                      <a:pt x="708" y="706"/>
                    </a:cubicBezTo>
                    <a:cubicBezTo>
                      <a:pt x="709" y="707"/>
                      <a:pt x="709" y="707"/>
                      <a:pt x="709" y="707"/>
                    </a:cubicBezTo>
                    <a:cubicBezTo>
                      <a:pt x="709" y="707"/>
                      <a:pt x="709" y="707"/>
                      <a:pt x="709" y="707"/>
                    </a:cubicBezTo>
                    <a:cubicBezTo>
                      <a:pt x="710" y="707"/>
                      <a:pt x="710" y="707"/>
                      <a:pt x="710" y="707"/>
                    </a:cubicBezTo>
                    <a:cubicBezTo>
                      <a:pt x="710" y="708"/>
                      <a:pt x="710" y="708"/>
                      <a:pt x="710" y="708"/>
                    </a:cubicBezTo>
                    <a:cubicBezTo>
                      <a:pt x="709" y="709"/>
                      <a:pt x="709" y="709"/>
                      <a:pt x="709" y="709"/>
                    </a:cubicBezTo>
                    <a:cubicBezTo>
                      <a:pt x="709" y="709"/>
                      <a:pt x="708" y="709"/>
                      <a:pt x="708" y="709"/>
                    </a:cubicBezTo>
                    <a:close/>
                    <a:moveTo>
                      <a:pt x="703" y="708"/>
                    </a:moveTo>
                    <a:cubicBezTo>
                      <a:pt x="704" y="709"/>
                      <a:pt x="704" y="709"/>
                      <a:pt x="704" y="709"/>
                    </a:cubicBezTo>
                    <a:cubicBezTo>
                      <a:pt x="705" y="709"/>
                      <a:pt x="705" y="709"/>
                      <a:pt x="705" y="709"/>
                    </a:cubicBezTo>
                    <a:cubicBezTo>
                      <a:pt x="705" y="708"/>
                      <a:pt x="705" y="708"/>
                      <a:pt x="705" y="708"/>
                    </a:cubicBezTo>
                    <a:cubicBezTo>
                      <a:pt x="705" y="707"/>
                      <a:pt x="705" y="707"/>
                      <a:pt x="705" y="707"/>
                    </a:cubicBezTo>
                    <a:cubicBezTo>
                      <a:pt x="706" y="707"/>
                      <a:pt x="706" y="707"/>
                      <a:pt x="706" y="707"/>
                    </a:cubicBezTo>
                    <a:cubicBezTo>
                      <a:pt x="706" y="708"/>
                      <a:pt x="706" y="708"/>
                      <a:pt x="706" y="708"/>
                    </a:cubicBezTo>
                    <a:cubicBezTo>
                      <a:pt x="705" y="710"/>
                      <a:pt x="705" y="710"/>
                      <a:pt x="705" y="710"/>
                    </a:cubicBezTo>
                    <a:cubicBezTo>
                      <a:pt x="704" y="710"/>
                      <a:pt x="704" y="710"/>
                      <a:pt x="704" y="710"/>
                    </a:cubicBezTo>
                    <a:cubicBezTo>
                      <a:pt x="703" y="710"/>
                      <a:pt x="703" y="710"/>
                      <a:pt x="703" y="710"/>
                    </a:cubicBezTo>
                    <a:cubicBezTo>
                      <a:pt x="703" y="709"/>
                      <a:pt x="703" y="709"/>
                      <a:pt x="703" y="709"/>
                    </a:cubicBezTo>
                    <a:cubicBezTo>
                      <a:pt x="703" y="708"/>
                      <a:pt x="703" y="708"/>
                      <a:pt x="703" y="708"/>
                    </a:cubicBezTo>
                    <a:close/>
                    <a:moveTo>
                      <a:pt x="688" y="734"/>
                    </a:moveTo>
                    <a:cubicBezTo>
                      <a:pt x="688" y="733"/>
                      <a:pt x="688" y="733"/>
                      <a:pt x="688" y="733"/>
                    </a:cubicBezTo>
                    <a:cubicBezTo>
                      <a:pt x="689" y="734"/>
                      <a:pt x="689" y="734"/>
                      <a:pt x="689" y="734"/>
                    </a:cubicBezTo>
                    <a:cubicBezTo>
                      <a:pt x="688" y="734"/>
                      <a:pt x="688" y="734"/>
                      <a:pt x="688" y="734"/>
                    </a:cubicBezTo>
                    <a:cubicBezTo>
                      <a:pt x="688" y="734"/>
                      <a:pt x="688" y="734"/>
                      <a:pt x="688" y="734"/>
                    </a:cubicBezTo>
                    <a:close/>
                    <a:moveTo>
                      <a:pt x="708" y="728"/>
                    </a:moveTo>
                    <a:cubicBezTo>
                      <a:pt x="708" y="729"/>
                      <a:pt x="708" y="729"/>
                      <a:pt x="708" y="729"/>
                    </a:cubicBezTo>
                    <a:cubicBezTo>
                      <a:pt x="709" y="729"/>
                      <a:pt x="709" y="729"/>
                      <a:pt x="709" y="729"/>
                    </a:cubicBezTo>
                    <a:cubicBezTo>
                      <a:pt x="711" y="729"/>
                      <a:pt x="711" y="729"/>
                      <a:pt x="711" y="729"/>
                    </a:cubicBezTo>
                    <a:cubicBezTo>
                      <a:pt x="711" y="729"/>
                      <a:pt x="711" y="729"/>
                      <a:pt x="711" y="729"/>
                    </a:cubicBezTo>
                    <a:cubicBezTo>
                      <a:pt x="709" y="728"/>
                      <a:pt x="709" y="728"/>
                      <a:pt x="709" y="728"/>
                    </a:cubicBezTo>
                    <a:cubicBezTo>
                      <a:pt x="708" y="728"/>
                      <a:pt x="708" y="728"/>
                      <a:pt x="708" y="728"/>
                    </a:cubicBezTo>
                    <a:close/>
                    <a:moveTo>
                      <a:pt x="686" y="690"/>
                    </a:moveTo>
                    <a:cubicBezTo>
                      <a:pt x="686" y="691"/>
                      <a:pt x="686" y="691"/>
                      <a:pt x="686" y="691"/>
                    </a:cubicBezTo>
                    <a:cubicBezTo>
                      <a:pt x="684" y="693"/>
                      <a:pt x="684" y="693"/>
                      <a:pt x="684" y="693"/>
                    </a:cubicBezTo>
                    <a:cubicBezTo>
                      <a:pt x="683" y="693"/>
                      <a:pt x="683" y="693"/>
                      <a:pt x="683" y="693"/>
                    </a:cubicBezTo>
                    <a:cubicBezTo>
                      <a:pt x="683" y="694"/>
                      <a:pt x="683" y="694"/>
                      <a:pt x="683" y="694"/>
                    </a:cubicBezTo>
                    <a:cubicBezTo>
                      <a:pt x="683" y="694"/>
                      <a:pt x="683" y="694"/>
                      <a:pt x="683" y="694"/>
                    </a:cubicBezTo>
                    <a:cubicBezTo>
                      <a:pt x="682" y="695"/>
                      <a:pt x="682" y="695"/>
                      <a:pt x="682" y="695"/>
                    </a:cubicBezTo>
                    <a:cubicBezTo>
                      <a:pt x="682" y="696"/>
                      <a:pt x="682" y="696"/>
                      <a:pt x="682" y="696"/>
                    </a:cubicBezTo>
                    <a:cubicBezTo>
                      <a:pt x="683" y="696"/>
                      <a:pt x="683" y="696"/>
                      <a:pt x="683" y="696"/>
                    </a:cubicBezTo>
                    <a:cubicBezTo>
                      <a:pt x="682" y="697"/>
                      <a:pt x="682" y="697"/>
                      <a:pt x="682" y="697"/>
                    </a:cubicBezTo>
                    <a:cubicBezTo>
                      <a:pt x="681" y="697"/>
                      <a:pt x="681" y="697"/>
                      <a:pt x="681" y="697"/>
                    </a:cubicBezTo>
                    <a:cubicBezTo>
                      <a:pt x="680" y="698"/>
                      <a:pt x="680" y="698"/>
                      <a:pt x="680" y="698"/>
                    </a:cubicBezTo>
                    <a:cubicBezTo>
                      <a:pt x="680" y="699"/>
                      <a:pt x="680" y="699"/>
                      <a:pt x="680" y="699"/>
                    </a:cubicBezTo>
                    <a:cubicBezTo>
                      <a:pt x="680" y="699"/>
                      <a:pt x="680" y="699"/>
                      <a:pt x="680" y="699"/>
                    </a:cubicBezTo>
                    <a:cubicBezTo>
                      <a:pt x="681" y="699"/>
                      <a:pt x="681" y="699"/>
                      <a:pt x="681" y="699"/>
                    </a:cubicBezTo>
                    <a:cubicBezTo>
                      <a:pt x="680" y="700"/>
                      <a:pt x="680" y="700"/>
                      <a:pt x="680" y="700"/>
                    </a:cubicBezTo>
                    <a:cubicBezTo>
                      <a:pt x="679" y="700"/>
                      <a:pt x="679" y="700"/>
                      <a:pt x="679" y="700"/>
                    </a:cubicBezTo>
                    <a:cubicBezTo>
                      <a:pt x="678" y="702"/>
                      <a:pt x="678" y="702"/>
                      <a:pt x="678" y="702"/>
                    </a:cubicBezTo>
                    <a:cubicBezTo>
                      <a:pt x="677" y="703"/>
                      <a:pt x="677" y="703"/>
                      <a:pt x="677" y="703"/>
                    </a:cubicBezTo>
                    <a:cubicBezTo>
                      <a:pt x="675" y="706"/>
                      <a:pt x="675" y="706"/>
                      <a:pt x="675" y="706"/>
                    </a:cubicBezTo>
                    <a:cubicBezTo>
                      <a:pt x="675" y="707"/>
                      <a:pt x="675" y="707"/>
                      <a:pt x="675" y="707"/>
                    </a:cubicBezTo>
                    <a:cubicBezTo>
                      <a:pt x="676" y="708"/>
                      <a:pt x="676" y="708"/>
                      <a:pt x="676" y="708"/>
                    </a:cubicBezTo>
                    <a:cubicBezTo>
                      <a:pt x="676" y="709"/>
                      <a:pt x="676" y="709"/>
                      <a:pt x="676" y="709"/>
                    </a:cubicBezTo>
                    <a:cubicBezTo>
                      <a:pt x="675" y="709"/>
                      <a:pt x="675" y="709"/>
                      <a:pt x="675" y="709"/>
                    </a:cubicBezTo>
                    <a:cubicBezTo>
                      <a:pt x="675" y="708"/>
                      <a:pt x="675" y="708"/>
                      <a:pt x="675" y="708"/>
                    </a:cubicBezTo>
                    <a:cubicBezTo>
                      <a:pt x="674" y="708"/>
                      <a:pt x="674" y="708"/>
                      <a:pt x="674" y="708"/>
                    </a:cubicBezTo>
                    <a:cubicBezTo>
                      <a:pt x="673" y="709"/>
                      <a:pt x="673" y="709"/>
                      <a:pt x="673" y="709"/>
                    </a:cubicBezTo>
                    <a:cubicBezTo>
                      <a:pt x="672" y="710"/>
                      <a:pt x="672" y="710"/>
                      <a:pt x="672" y="710"/>
                    </a:cubicBezTo>
                    <a:cubicBezTo>
                      <a:pt x="672" y="711"/>
                      <a:pt x="672" y="711"/>
                      <a:pt x="672" y="711"/>
                    </a:cubicBezTo>
                    <a:cubicBezTo>
                      <a:pt x="673" y="711"/>
                      <a:pt x="673" y="711"/>
                      <a:pt x="673" y="711"/>
                    </a:cubicBezTo>
                    <a:cubicBezTo>
                      <a:pt x="674" y="712"/>
                      <a:pt x="674" y="712"/>
                      <a:pt x="674" y="712"/>
                    </a:cubicBezTo>
                    <a:cubicBezTo>
                      <a:pt x="673" y="713"/>
                      <a:pt x="673" y="713"/>
                      <a:pt x="673" y="713"/>
                    </a:cubicBezTo>
                    <a:cubicBezTo>
                      <a:pt x="673" y="714"/>
                      <a:pt x="673" y="714"/>
                      <a:pt x="673" y="714"/>
                    </a:cubicBezTo>
                    <a:cubicBezTo>
                      <a:pt x="672" y="715"/>
                      <a:pt x="672" y="715"/>
                      <a:pt x="672" y="715"/>
                    </a:cubicBezTo>
                    <a:cubicBezTo>
                      <a:pt x="670" y="714"/>
                      <a:pt x="670" y="714"/>
                      <a:pt x="670" y="714"/>
                    </a:cubicBezTo>
                    <a:cubicBezTo>
                      <a:pt x="669" y="714"/>
                      <a:pt x="669" y="714"/>
                      <a:pt x="669" y="714"/>
                    </a:cubicBezTo>
                    <a:cubicBezTo>
                      <a:pt x="669" y="715"/>
                      <a:pt x="669" y="715"/>
                      <a:pt x="669" y="715"/>
                    </a:cubicBezTo>
                    <a:cubicBezTo>
                      <a:pt x="668" y="717"/>
                      <a:pt x="668" y="717"/>
                      <a:pt x="668" y="717"/>
                    </a:cubicBezTo>
                    <a:cubicBezTo>
                      <a:pt x="667" y="719"/>
                      <a:pt x="667" y="719"/>
                      <a:pt x="667" y="719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6" y="718"/>
                      <a:pt x="666" y="718"/>
                      <a:pt x="666" y="718"/>
                    </a:cubicBezTo>
                    <a:cubicBezTo>
                      <a:pt x="665" y="720"/>
                      <a:pt x="665" y="720"/>
                      <a:pt x="665" y="720"/>
                    </a:cubicBezTo>
                    <a:cubicBezTo>
                      <a:pt x="664" y="719"/>
                      <a:pt x="664" y="719"/>
                      <a:pt x="664" y="719"/>
                    </a:cubicBezTo>
                    <a:cubicBezTo>
                      <a:pt x="664" y="718"/>
                      <a:pt x="664" y="718"/>
                      <a:pt x="664" y="718"/>
                    </a:cubicBezTo>
                    <a:cubicBezTo>
                      <a:pt x="666" y="717"/>
                      <a:pt x="666" y="717"/>
                      <a:pt x="666" y="717"/>
                    </a:cubicBezTo>
                    <a:cubicBezTo>
                      <a:pt x="666" y="716"/>
                      <a:pt x="666" y="716"/>
                      <a:pt x="666" y="716"/>
                    </a:cubicBezTo>
                    <a:cubicBezTo>
                      <a:pt x="665" y="716"/>
                      <a:pt x="665" y="716"/>
                      <a:pt x="665" y="716"/>
                    </a:cubicBezTo>
                    <a:cubicBezTo>
                      <a:pt x="664" y="717"/>
                      <a:pt x="664" y="717"/>
                      <a:pt x="664" y="717"/>
                    </a:cubicBezTo>
                    <a:cubicBezTo>
                      <a:pt x="662" y="719"/>
                      <a:pt x="662" y="719"/>
                      <a:pt x="662" y="719"/>
                    </a:cubicBezTo>
                    <a:cubicBezTo>
                      <a:pt x="661" y="721"/>
                      <a:pt x="661" y="721"/>
                      <a:pt x="661" y="721"/>
                    </a:cubicBezTo>
                    <a:cubicBezTo>
                      <a:pt x="662" y="721"/>
                      <a:pt x="662" y="721"/>
                      <a:pt x="662" y="721"/>
                    </a:cubicBezTo>
                    <a:cubicBezTo>
                      <a:pt x="663" y="721"/>
                      <a:pt x="663" y="721"/>
                      <a:pt x="663" y="721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8" y="720"/>
                      <a:pt x="668" y="720"/>
                      <a:pt x="668" y="720"/>
                    </a:cubicBezTo>
                    <a:cubicBezTo>
                      <a:pt x="667" y="722"/>
                      <a:pt x="667" y="722"/>
                      <a:pt x="667" y="722"/>
                    </a:cubicBezTo>
                    <a:cubicBezTo>
                      <a:pt x="665" y="724"/>
                      <a:pt x="665" y="724"/>
                      <a:pt x="665" y="724"/>
                    </a:cubicBezTo>
                    <a:cubicBezTo>
                      <a:pt x="664" y="726"/>
                      <a:pt x="664" y="726"/>
                      <a:pt x="664" y="726"/>
                    </a:cubicBezTo>
                    <a:cubicBezTo>
                      <a:pt x="661" y="727"/>
                      <a:pt x="661" y="727"/>
                      <a:pt x="661" y="727"/>
                    </a:cubicBezTo>
                    <a:cubicBezTo>
                      <a:pt x="660" y="729"/>
                      <a:pt x="660" y="729"/>
                      <a:pt x="660" y="729"/>
                    </a:cubicBezTo>
                    <a:cubicBezTo>
                      <a:pt x="658" y="729"/>
                      <a:pt x="658" y="729"/>
                      <a:pt x="658" y="729"/>
                    </a:cubicBezTo>
                    <a:cubicBezTo>
                      <a:pt x="658" y="730"/>
                      <a:pt x="658" y="730"/>
                      <a:pt x="658" y="730"/>
                    </a:cubicBezTo>
                    <a:cubicBezTo>
                      <a:pt x="659" y="731"/>
                      <a:pt x="659" y="731"/>
                      <a:pt x="659" y="731"/>
                    </a:cubicBezTo>
                    <a:cubicBezTo>
                      <a:pt x="658" y="732"/>
                      <a:pt x="658" y="732"/>
                      <a:pt x="658" y="732"/>
                    </a:cubicBezTo>
                    <a:cubicBezTo>
                      <a:pt x="658" y="733"/>
                      <a:pt x="658" y="733"/>
                      <a:pt x="658" y="733"/>
                    </a:cubicBezTo>
                    <a:cubicBezTo>
                      <a:pt x="660" y="733"/>
                      <a:pt x="660" y="733"/>
                      <a:pt x="660" y="733"/>
                    </a:cubicBezTo>
                    <a:cubicBezTo>
                      <a:pt x="661" y="734"/>
                      <a:pt x="661" y="734"/>
                      <a:pt x="661" y="734"/>
                    </a:cubicBezTo>
                    <a:cubicBezTo>
                      <a:pt x="664" y="733"/>
                      <a:pt x="664" y="733"/>
                      <a:pt x="664" y="733"/>
                    </a:cubicBezTo>
                    <a:cubicBezTo>
                      <a:pt x="665" y="732"/>
                      <a:pt x="665" y="732"/>
                      <a:pt x="665" y="732"/>
                    </a:cubicBezTo>
                    <a:cubicBezTo>
                      <a:pt x="666" y="732"/>
                      <a:pt x="666" y="732"/>
                      <a:pt x="666" y="732"/>
                    </a:cubicBezTo>
                    <a:cubicBezTo>
                      <a:pt x="668" y="731"/>
                      <a:pt x="668" y="731"/>
                      <a:pt x="668" y="731"/>
                    </a:cubicBezTo>
                    <a:cubicBezTo>
                      <a:pt x="668" y="730"/>
                      <a:pt x="668" y="730"/>
                      <a:pt x="668" y="730"/>
                    </a:cubicBezTo>
                    <a:cubicBezTo>
                      <a:pt x="668" y="731"/>
                      <a:pt x="668" y="731"/>
                      <a:pt x="668" y="731"/>
                    </a:cubicBezTo>
                    <a:cubicBezTo>
                      <a:pt x="667" y="732"/>
                      <a:pt x="667" y="732"/>
                      <a:pt x="667" y="732"/>
                    </a:cubicBezTo>
                    <a:cubicBezTo>
                      <a:pt x="669" y="733"/>
                      <a:pt x="669" y="733"/>
                      <a:pt x="669" y="733"/>
                    </a:cubicBezTo>
                    <a:cubicBezTo>
                      <a:pt x="671" y="732"/>
                      <a:pt x="671" y="732"/>
                      <a:pt x="671" y="732"/>
                    </a:cubicBezTo>
                    <a:cubicBezTo>
                      <a:pt x="671" y="733"/>
                      <a:pt x="671" y="733"/>
                      <a:pt x="671" y="733"/>
                    </a:cubicBezTo>
                    <a:cubicBezTo>
                      <a:pt x="674" y="733"/>
                      <a:pt x="674" y="733"/>
                      <a:pt x="674" y="733"/>
                    </a:cubicBezTo>
                    <a:cubicBezTo>
                      <a:pt x="676" y="733"/>
                      <a:pt x="676" y="733"/>
                      <a:pt x="676" y="733"/>
                    </a:cubicBezTo>
                    <a:cubicBezTo>
                      <a:pt x="676" y="733"/>
                      <a:pt x="676" y="733"/>
                      <a:pt x="676" y="733"/>
                    </a:cubicBezTo>
                    <a:cubicBezTo>
                      <a:pt x="677" y="734"/>
                      <a:pt x="677" y="734"/>
                      <a:pt x="677" y="734"/>
                    </a:cubicBezTo>
                    <a:cubicBezTo>
                      <a:pt x="678" y="734"/>
                      <a:pt x="678" y="734"/>
                      <a:pt x="678" y="734"/>
                    </a:cubicBezTo>
                    <a:cubicBezTo>
                      <a:pt x="679" y="734"/>
                      <a:pt x="679" y="734"/>
                      <a:pt x="679" y="734"/>
                    </a:cubicBezTo>
                    <a:cubicBezTo>
                      <a:pt x="679" y="735"/>
                      <a:pt x="679" y="735"/>
                      <a:pt x="679" y="735"/>
                    </a:cubicBezTo>
                    <a:cubicBezTo>
                      <a:pt x="680" y="735"/>
                      <a:pt x="680" y="735"/>
                      <a:pt x="680" y="735"/>
                    </a:cubicBezTo>
                    <a:cubicBezTo>
                      <a:pt x="681" y="734"/>
                      <a:pt x="681" y="734"/>
                      <a:pt x="681" y="734"/>
                    </a:cubicBezTo>
                    <a:cubicBezTo>
                      <a:pt x="681" y="733"/>
                      <a:pt x="681" y="733"/>
                      <a:pt x="681" y="733"/>
                    </a:cubicBezTo>
                    <a:cubicBezTo>
                      <a:pt x="683" y="733"/>
                      <a:pt x="683" y="733"/>
                      <a:pt x="683" y="733"/>
                    </a:cubicBezTo>
                    <a:cubicBezTo>
                      <a:pt x="683" y="734"/>
                      <a:pt x="683" y="734"/>
                      <a:pt x="683" y="734"/>
                    </a:cubicBezTo>
                    <a:cubicBezTo>
                      <a:pt x="684" y="734"/>
                      <a:pt x="684" y="734"/>
                      <a:pt x="684" y="734"/>
                    </a:cubicBezTo>
                    <a:cubicBezTo>
                      <a:pt x="685" y="733"/>
                      <a:pt x="685" y="733"/>
                      <a:pt x="685" y="733"/>
                    </a:cubicBezTo>
                    <a:cubicBezTo>
                      <a:pt x="685" y="733"/>
                      <a:pt x="685" y="733"/>
                      <a:pt x="685" y="733"/>
                    </a:cubicBezTo>
                    <a:cubicBezTo>
                      <a:pt x="686" y="734"/>
                      <a:pt x="686" y="734"/>
                      <a:pt x="686" y="734"/>
                    </a:cubicBezTo>
                    <a:cubicBezTo>
                      <a:pt x="687" y="733"/>
                      <a:pt x="687" y="733"/>
                      <a:pt x="687" y="733"/>
                    </a:cubicBezTo>
                    <a:cubicBezTo>
                      <a:pt x="686" y="732"/>
                      <a:pt x="686" y="732"/>
                      <a:pt x="686" y="732"/>
                    </a:cubicBezTo>
                    <a:cubicBezTo>
                      <a:pt x="687" y="731"/>
                      <a:pt x="687" y="731"/>
                      <a:pt x="687" y="731"/>
                    </a:cubicBezTo>
                    <a:cubicBezTo>
                      <a:pt x="687" y="731"/>
                      <a:pt x="687" y="731"/>
                      <a:pt x="687" y="731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7" y="732"/>
                      <a:pt x="687" y="732"/>
                      <a:pt x="687" y="732"/>
                    </a:cubicBezTo>
                    <a:cubicBezTo>
                      <a:pt x="688" y="733"/>
                      <a:pt x="688" y="733"/>
                      <a:pt x="688" y="733"/>
                    </a:cubicBezTo>
                    <a:cubicBezTo>
                      <a:pt x="688" y="732"/>
                      <a:pt x="688" y="732"/>
                      <a:pt x="688" y="732"/>
                    </a:cubicBezTo>
                    <a:cubicBezTo>
                      <a:pt x="689" y="730"/>
                      <a:pt x="689" y="730"/>
                      <a:pt x="689" y="730"/>
                    </a:cubicBezTo>
                    <a:cubicBezTo>
                      <a:pt x="690" y="730"/>
                      <a:pt x="690" y="730"/>
                      <a:pt x="690" y="730"/>
                    </a:cubicBezTo>
                    <a:cubicBezTo>
                      <a:pt x="690" y="732"/>
                      <a:pt x="690" y="732"/>
                      <a:pt x="690" y="732"/>
                    </a:cubicBezTo>
                    <a:cubicBezTo>
                      <a:pt x="689" y="733"/>
                      <a:pt x="689" y="733"/>
                      <a:pt x="689" y="733"/>
                    </a:cubicBezTo>
                    <a:cubicBezTo>
                      <a:pt x="689" y="733"/>
                      <a:pt x="689" y="733"/>
                      <a:pt x="689" y="733"/>
                    </a:cubicBezTo>
                    <a:cubicBezTo>
                      <a:pt x="690" y="733"/>
                      <a:pt x="690" y="733"/>
                      <a:pt x="690" y="733"/>
                    </a:cubicBezTo>
                    <a:cubicBezTo>
                      <a:pt x="691" y="733"/>
                      <a:pt x="691" y="733"/>
                      <a:pt x="691" y="733"/>
                    </a:cubicBezTo>
                    <a:cubicBezTo>
                      <a:pt x="691" y="733"/>
                      <a:pt x="691" y="733"/>
                      <a:pt x="691" y="733"/>
                    </a:cubicBezTo>
                    <a:cubicBezTo>
                      <a:pt x="689" y="734"/>
                      <a:pt x="689" y="734"/>
                      <a:pt x="689" y="734"/>
                    </a:cubicBezTo>
                    <a:cubicBezTo>
                      <a:pt x="687" y="735"/>
                      <a:pt x="687" y="735"/>
                      <a:pt x="687" y="735"/>
                    </a:cubicBezTo>
                    <a:cubicBezTo>
                      <a:pt x="688" y="736"/>
                      <a:pt x="688" y="736"/>
                      <a:pt x="688" y="736"/>
                    </a:cubicBezTo>
                    <a:cubicBezTo>
                      <a:pt x="688" y="735"/>
                      <a:pt x="688" y="735"/>
                      <a:pt x="688" y="735"/>
                    </a:cubicBezTo>
                    <a:cubicBezTo>
                      <a:pt x="689" y="735"/>
                      <a:pt x="689" y="735"/>
                      <a:pt x="689" y="735"/>
                    </a:cubicBezTo>
                    <a:cubicBezTo>
                      <a:pt x="690" y="736"/>
                      <a:pt x="690" y="736"/>
                      <a:pt x="690" y="736"/>
                    </a:cubicBezTo>
                    <a:cubicBezTo>
                      <a:pt x="691" y="736"/>
                      <a:pt x="691" y="736"/>
                      <a:pt x="691" y="736"/>
                    </a:cubicBezTo>
                    <a:cubicBezTo>
                      <a:pt x="691" y="736"/>
                      <a:pt x="691" y="736"/>
                      <a:pt x="691" y="736"/>
                    </a:cubicBezTo>
                    <a:cubicBezTo>
                      <a:pt x="692" y="736"/>
                      <a:pt x="692" y="736"/>
                      <a:pt x="692" y="736"/>
                    </a:cubicBezTo>
                    <a:cubicBezTo>
                      <a:pt x="693" y="736"/>
                      <a:pt x="693" y="736"/>
                      <a:pt x="693" y="736"/>
                    </a:cubicBezTo>
                    <a:cubicBezTo>
                      <a:pt x="693" y="734"/>
                      <a:pt x="693" y="734"/>
                      <a:pt x="693" y="734"/>
                    </a:cubicBezTo>
                    <a:cubicBezTo>
                      <a:pt x="693" y="733"/>
                      <a:pt x="693" y="733"/>
                      <a:pt x="693" y="733"/>
                    </a:cubicBezTo>
                    <a:cubicBezTo>
                      <a:pt x="694" y="734"/>
                      <a:pt x="694" y="734"/>
                      <a:pt x="694" y="734"/>
                    </a:cubicBezTo>
                    <a:cubicBezTo>
                      <a:pt x="696" y="734"/>
                      <a:pt x="696" y="734"/>
                      <a:pt x="696" y="734"/>
                    </a:cubicBezTo>
                    <a:cubicBezTo>
                      <a:pt x="696" y="735"/>
                      <a:pt x="696" y="735"/>
                      <a:pt x="696" y="735"/>
                    </a:cubicBezTo>
                    <a:cubicBezTo>
                      <a:pt x="697" y="735"/>
                      <a:pt x="697" y="735"/>
                      <a:pt x="697" y="735"/>
                    </a:cubicBezTo>
                    <a:cubicBezTo>
                      <a:pt x="698" y="734"/>
                      <a:pt x="698" y="734"/>
                      <a:pt x="698" y="734"/>
                    </a:cubicBezTo>
                    <a:cubicBezTo>
                      <a:pt x="700" y="734"/>
                      <a:pt x="700" y="734"/>
                      <a:pt x="700" y="734"/>
                    </a:cubicBezTo>
                    <a:cubicBezTo>
                      <a:pt x="699" y="735"/>
                      <a:pt x="699" y="735"/>
                      <a:pt x="699" y="735"/>
                    </a:cubicBezTo>
                    <a:cubicBezTo>
                      <a:pt x="698" y="736"/>
                      <a:pt x="698" y="736"/>
                      <a:pt x="698" y="736"/>
                    </a:cubicBezTo>
                    <a:cubicBezTo>
                      <a:pt x="697" y="736"/>
                      <a:pt x="697" y="736"/>
                      <a:pt x="697" y="736"/>
                    </a:cubicBezTo>
                    <a:cubicBezTo>
                      <a:pt x="695" y="736"/>
                      <a:pt x="695" y="736"/>
                      <a:pt x="695" y="736"/>
                    </a:cubicBezTo>
                    <a:cubicBezTo>
                      <a:pt x="694" y="737"/>
                      <a:pt x="694" y="737"/>
                      <a:pt x="694" y="737"/>
                    </a:cubicBezTo>
                    <a:cubicBezTo>
                      <a:pt x="694" y="738"/>
                      <a:pt x="694" y="738"/>
                      <a:pt x="694" y="738"/>
                    </a:cubicBezTo>
                    <a:cubicBezTo>
                      <a:pt x="694" y="738"/>
                      <a:pt x="694" y="738"/>
                      <a:pt x="694" y="738"/>
                    </a:cubicBezTo>
                    <a:cubicBezTo>
                      <a:pt x="693" y="739"/>
                      <a:pt x="693" y="739"/>
                      <a:pt x="693" y="739"/>
                    </a:cubicBezTo>
                    <a:cubicBezTo>
                      <a:pt x="692" y="739"/>
                      <a:pt x="692" y="739"/>
                      <a:pt x="692" y="739"/>
                    </a:cubicBezTo>
                    <a:cubicBezTo>
                      <a:pt x="691" y="740"/>
                      <a:pt x="691" y="740"/>
                      <a:pt x="691" y="740"/>
                    </a:cubicBezTo>
                    <a:cubicBezTo>
                      <a:pt x="691" y="740"/>
                      <a:pt x="691" y="740"/>
                      <a:pt x="691" y="740"/>
                    </a:cubicBezTo>
                    <a:cubicBezTo>
                      <a:pt x="690" y="741"/>
                      <a:pt x="690" y="741"/>
                      <a:pt x="690" y="741"/>
                    </a:cubicBezTo>
                    <a:cubicBezTo>
                      <a:pt x="689" y="741"/>
                      <a:pt x="689" y="741"/>
                      <a:pt x="689" y="741"/>
                    </a:cubicBezTo>
                    <a:cubicBezTo>
                      <a:pt x="687" y="742"/>
                      <a:pt x="687" y="742"/>
                      <a:pt x="687" y="742"/>
                    </a:cubicBezTo>
                    <a:cubicBezTo>
                      <a:pt x="687" y="743"/>
                      <a:pt x="687" y="743"/>
                      <a:pt x="687" y="743"/>
                    </a:cubicBezTo>
                    <a:cubicBezTo>
                      <a:pt x="688" y="744"/>
                      <a:pt x="688" y="744"/>
                      <a:pt x="688" y="744"/>
                    </a:cubicBezTo>
                    <a:cubicBezTo>
                      <a:pt x="688" y="744"/>
                      <a:pt x="688" y="744"/>
                      <a:pt x="688" y="744"/>
                    </a:cubicBezTo>
                    <a:cubicBezTo>
                      <a:pt x="689" y="744"/>
                      <a:pt x="689" y="744"/>
                      <a:pt x="689" y="744"/>
                    </a:cubicBezTo>
                    <a:cubicBezTo>
                      <a:pt x="690" y="744"/>
                      <a:pt x="690" y="744"/>
                      <a:pt x="690" y="744"/>
                    </a:cubicBezTo>
                    <a:cubicBezTo>
                      <a:pt x="690" y="743"/>
                      <a:pt x="690" y="743"/>
                      <a:pt x="690" y="743"/>
                    </a:cubicBezTo>
                    <a:cubicBezTo>
                      <a:pt x="691" y="743"/>
                      <a:pt x="691" y="743"/>
                      <a:pt x="691" y="743"/>
                    </a:cubicBezTo>
                    <a:cubicBezTo>
                      <a:pt x="691" y="744"/>
                      <a:pt x="691" y="744"/>
                      <a:pt x="691" y="744"/>
                    </a:cubicBezTo>
                    <a:cubicBezTo>
                      <a:pt x="692" y="745"/>
                      <a:pt x="692" y="745"/>
                      <a:pt x="692" y="745"/>
                    </a:cubicBezTo>
                    <a:cubicBezTo>
                      <a:pt x="693" y="744"/>
                      <a:pt x="693" y="744"/>
                      <a:pt x="693" y="744"/>
                    </a:cubicBezTo>
                    <a:cubicBezTo>
                      <a:pt x="694" y="743"/>
                      <a:pt x="694" y="743"/>
                      <a:pt x="694" y="743"/>
                    </a:cubicBezTo>
                    <a:cubicBezTo>
                      <a:pt x="694" y="742"/>
                      <a:pt x="694" y="742"/>
                      <a:pt x="694" y="742"/>
                    </a:cubicBezTo>
                    <a:cubicBezTo>
                      <a:pt x="695" y="742"/>
                      <a:pt x="695" y="742"/>
                      <a:pt x="695" y="742"/>
                    </a:cubicBezTo>
                    <a:cubicBezTo>
                      <a:pt x="695" y="741"/>
                      <a:pt x="695" y="741"/>
                      <a:pt x="695" y="741"/>
                    </a:cubicBezTo>
                    <a:cubicBezTo>
                      <a:pt x="696" y="740"/>
                      <a:pt x="696" y="740"/>
                      <a:pt x="696" y="740"/>
                    </a:cubicBezTo>
                    <a:cubicBezTo>
                      <a:pt x="696" y="739"/>
                      <a:pt x="696" y="739"/>
                      <a:pt x="696" y="739"/>
                    </a:cubicBezTo>
                    <a:cubicBezTo>
                      <a:pt x="698" y="738"/>
                      <a:pt x="698" y="738"/>
                      <a:pt x="698" y="738"/>
                    </a:cubicBezTo>
                    <a:cubicBezTo>
                      <a:pt x="699" y="737"/>
                      <a:pt x="699" y="737"/>
                      <a:pt x="699" y="737"/>
                    </a:cubicBezTo>
                    <a:cubicBezTo>
                      <a:pt x="699" y="738"/>
                      <a:pt x="699" y="738"/>
                      <a:pt x="699" y="738"/>
                    </a:cubicBezTo>
                    <a:cubicBezTo>
                      <a:pt x="701" y="738"/>
                      <a:pt x="701" y="738"/>
                      <a:pt x="701" y="738"/>
                    </a:cubicBezTo>
                    <a:cubicBezTo>
                      <a:pt x="700" y="738"/>
                      <a:pt x="700" y="738"/>
                      <a:pt x="700" y="738"/>
                    </a:cubicBezTo>
                    <a:cubicBezTo>
                      <a:pt x="701" y="738"/>
                      <a:pt x="701" y="738"/>
                      <a:pt x="701" y="738"/>
                    </a:cubicBezTo>
                    <a:cubicBezTo>
                      <a:pt x="701" y="737"/>
                      <a:pt x="701" y="737"/>
                      <a:pt x="701" y="737"/>
                    </a:cubicBezTo>
                    <a:cubicBezTo>
                      <a:pt x="702" y="735"/>
                      <a:pt x="702" y="735"/>
                      <a:pt x="702" y="735"/>
                    </a:cubicBezTo>
                    <a:cubicBezTo>
                      <a:pt x="703" y="733"/>
                      <a:pt x="703" y="733"/>
                      <a:pt x="703" y="733"/>
                    </a:cubicBezTo>
                    <a:cubicBezTo>
                      <a:pt x="703" y="731"/>
                      <a:pt x="703" y="731"/>
                      <a:pt x="703" y="731"/>
                    </a:cubicBezTo>
                    <a:cubicBezTo>
                      <a:pt x="704" y="731"/>
                      <a:pt x="704" y="731"/>
                      <a:pt x="704" y="731"/>
                    </a:cubicBezTo>
                    <a:cubicBezTo>
                      <a:pt x="704" y="731"/>
                      <a:pt x="704" y="731"/>
                      <a:pt x="704" y="731"/>
                    </a:cubicBezTo>
                    <a:cubicBezTo>
                      <a:pt x="705" y="732"/>
                      <a:pt x="705" y="732"/>
                      <a:pt x="705" y="732"/>
                    </a:cubicBezTo>
                    <a:cubicBezTo>
                      <a:pt x="705" y="732"/>
                      <a:pt x="705" y="732"/>
                      <a:pt x="705" y="732"/>
                    </a:cubicBezTo>
                    <a:cubicBezTo>
                      <a:pt x="706" y="732"/>
                      <a:pt x="706" y="732"/>
                      <a:pt x="706" y="732"/>
                    </a:cubicBezTo>
                    <a:cubicBezTo>
                      <a:pt x="706" y="734"/>
                      <a:pt x="706" y="734"/>
                      <a:pt x="706" y="734"/>
                    </a:cubicBezTo>
                    <a:cubicBezTo>
                      <a:pt x="706" y="735"/>
                      <a:pt x="706" y="735"/>
                      <a:pt x="706" y="735"/>
                    </a:cubicBezTo>
                    <a:cubicBezTo>
                      <a:pt x="706" y="737"/>
                      <a:pt x="706" y="737"/>
                      <a:pt x="706" y="737"/>
                    </a:cubicBezTo>
                    <a:cubicBezTo>
                      <a:pt x="706" y="738"/>
                      <a:pt x="706" y="738"/>
                      <a:pt x="706" y="738"/>
                    </a:cubicBezTo>
                    <a:cubicBezTo>
                      <a:pt x="706" y="739"/>
                      <a:pt x="706" y="739"/>
                      <a:pt x="706" y="739"/>
                    </a:cubicBezTo>
                    <a:cubicBezTo>
                      <a:pt x="704" y="740"/>
                      <a:pt x="704" y="740"/>
                      <a:pt x="704" y="740"/>
                    </a:cubicBezTo>
                    <a:cubicBezTo>
                      <a:pt x="703" y="743"/>
                      <a:pt x="703" y="743"/>
                      <a:pt x="703" y="743"/>
                    </a:cubicBezTo>
                    <a:cubicBezTo>
                      <a:pt x="703" y="744"/>
                      <a:pt x="703" y="744"/>
                      <a:pt x="703" y="744"/>
                    </a:cubicBezTo>
                    <a:cubicBezTo>
                      <a:pt x="703" y="745"/>
                      <a:pt x="703" y="745"/>
                      <a:pt x="703" y="745"/>
                    </a:cubicBezTo>
                    <a:cubicBezTo>
                      <a:pt x="703" y="746"/>
                      <a:pt x="703" y="746"/>
                      <a:pt x="703" y="746"/>
                    </a:cubicBezTo>
                    <a:cubicBezTo>
                      <a:pt x="704" y="746"/>
                      <a:pt x="704" y="746"/>
                      <a:pt x="704" y="746"/>
                    </a:cubicBezTo>
                    <a:cubicBezTo>
                      <a:pt x="705" y="745"/>
                      <a:pt x="705" y="745"/>
                      <a:pt x="705" y="745"/>
                    </a:cubicBezTo>
                    <a:cubicBezTo>
                      <a:pt x="706" y="743"/>
                      <a:pt x="706" y="743"/>
                      <a:pt x="706" y="743"/>
                    </a:cubicBezTo>
                    <a:cubicBezTo>
                      <a:pt x="707" y="743"/>
                      <a:pt x="707" y="743"/>
                      <a:pt x="707" y="743"/>
                    </a:cubicBezTo>
                    <a:cubicBezTo>
                      <a:pt x="708" y="741"/>
                      <a:pt x="708" y="741"/>
                      <a:pt x="708" y="741"/>
                    </a:cubicBezTo>
                    <a:cubicBezTo>
                      <a:pt x="709" y="740"/>
                      <a:pt x="709" y="740"/>
                      <a:pt x="709" y="740"/>
                    </a:cubicBezTo>
                    <a:cubicBezTo>
                      <a:pt x="709" y="741"/>
                      <a:pt x="709" y="741"/>
                      <a:pt x="709" y="741"/>
                    </a:cubicBezTo>
                    <a:cubicBezTo>
                      <a:pt x="711" y="741"/>
                      <a:pt x="711" y="741"/>
                      <a:pt x="711" y="741"/>
                    </a:cubicBezTo>
                    <a:cubicBezTo>
                      <a:pt x="711" y="741"/>
                      <a:pt x="711" y="741"/>
                      <a:pt x="711" y="741"/>
                    </a:cubicBezTo>
                    <a:cubicBezTo>
                      <a:pt x="710" y="742"/>
                      <a:pt x="710" y="742"/>
                      <a:pt x="710" y="742"/>
                    </a:cubicBezTo>
                    <a:cubicBezTo>
                      <a:pt x="708" y="743"/>
                      <a:pt x="708" y="743"/>
                      <a:pt x="708" y="743"/>
                    </a:cubicBezTo>
                    <a:cubicBezTo>
                      <a:pt x="708" y="744"/>
                      <a:pt x="708" y="744"/>
                      <a:pt x="708" y="744"/>
                    </a:cubicBezTo>
                    <a:cubicBezTo>
                      <a:pt x="708" y="746"/>
                      <a:pt x="708" y="746"/>
                      <a:pt x="708" y="746"/>
                    </a:cubicBezTo>
                    <a:cubicBezTo>
                      <a:pt x="708" y="746"/>
                      <a:pt x="708" y="746"/>
                      <a:pt x="708" y="746"/>
                    </a:cubicBezTo>
                    <a:cubicBezTo>
                      <a:pt x="708" y="748"/>
                      <a:pt x="708" y="748"/>
                      <a:pt x="708" y="748"/>
                    </a:cubicBezTo>
                    <a:cubicBezTo>
                      <a:pt x="709" y="749"/>
                      <a:pt x="709" y="749"/>
                      <a:pt x="709" y="749"/>
                    </a:cubicBezTo>
                    <a:cubicBezTo>
                      <a:pt x="710" y="748"/>
                      <a:pt x="710" y="748"/>
                      <a:pt x="710" y="748"/>
                    </a:cubicBezTo>
                    <a:cubicBezTo>
                      <a:pt x="710" y="747"/>
                      <a:pt x="710" y="747"/>
                      <a:pt x="710" y="747"/>
                    </a:cubicBezTo>
                    <a:cubicBezTo>
                      <a:pt x="710" y="747"/>
                      <a:pt x="711" y="747"/>
                      <a:pt x="711" y="747"/>
                    </a:cubicBezTo>
                    <a:cubicBezTo>
                      <a:pt x="711" y="747"/>
                      <a:pt x="712" y="748"/>
                      <a:pt x="712" y="748"/>
                    </a:cubicBezTo>
                    <a:cubicBezTo>
                      <a:pt x="713" y="748"/>
                      <a:pt x="713" y="748"/>
                      <a:pt x="713" y="748"/>
                    </a:cubicBezTo>
                    <a:cubicBezTo>
                      <a:pt x="714" y="747"/>
                      <a:pt x="714" y="747"/>
                      <a:pt x="714" y="747"/>
                    </a:cubicBezTo>
                    <a:cubicBezTo>
                      <a:pt x="714" y="747"/>
                      <a:pt x="714" y="747"/>
                      <a:pt x="714" y="747"/>
                    </a:cubicBezTo>
                    <a:cubicBezTo>
                      <a:pt x="715" y="746"/>
                      <a:pt x="715" y="746"/>
                      <a:pt x="715" y="746"/>
                    </a:cubicBezTo>
                    <a:cubicBezTo>
                      <a:pt x="715" y="745"/>
                      <a:pt x="715" y="745"/>
                      <a:pt x="715" y="745"/>
                    </a:cubicBezTo>
                    <a:cubicBezTo>
                      <a:pt x="715" y="744"/>
                      <a:pt x="715" y="744"/>
                      <a:pt x="715" y="744"/>
                    </a:cubicBezTo>
                    <a:cubicBezTo>
                      <a:pt x="716" y="744"/>
                      <a:pt x="716" y="744"/>
                      <a:pt x="716" y="744"/>
                    </a:cubicBezTo>
                    <a:cubicBezTo>
                      <a:pt x="716" y="743"/>
                      <a:pt x="716" y="743"/>
                      <a:pt x="716" y="743"/>
                    </a:cubicBezTo>
                    <a:cubicBezTo>
                      <a:pt x="715" y="742"/>
                      <a:pt x="715" y="742"/>
                      <a:pt x="715" y="742"/>
                    </a:cubicBezTo>
                    <a:cubicBezTo>
                      <a:pt x="716" y="741"/>
                      <a:pt x="716" y="741"/>
                      <a:pt x="716" y="741"/>
                    </a:cubicBezTo>
                    <a:cubicBezTo>
                      <a:pt x="717" y="738"/>
                      <a:pt x="717" y="738"/>
                      <a:pt x="717" y="738"/>
                    </a:cubicBezTo>
                    <a:cubicBezTo>
                      <a:pt x="718" y="737"/>
                      <a:pt x="718" y="737"/>
                      <a:pt x="718" y="737"/>
                    </a:cubicBezTo>
                    <a:cubicBezTo>
                      <a:pt x="718" y="734"/>
                      <a:pt x="718" y="734"/>
                      <a:pt x="718" y="734"/>
                    </a:cubicBezTo>
                    <a:cubicBezTo>
                      <a:pt x="718" y="733"/>
                      <a:pt x="718" y="733"/>
                      <a:pt x="718" y="733"/>
                    </a:cubicBezTo>
                    <a:cubicBezTo>
                      <a:pt x="717" y="733"/>
                      <a:pt x="717" y="733"/>
                      <a:pt x="717" y="733"/>
                    </a:cubicBezTo>
                    <a:cubicBezTo>
                      <a:pt x="717" y="734"/>
                      <a:pt x="717" y="734"/>
                      <a:pt x="717" y="734"/>
                    </a:cubicBezTo>
                    <a:cubicBezTo>
                      <a:pt x="717" y="735"/>
                      <a:pt x="717" y="735"/>
                      <a:pt x="717" y="735"/>
                    </a:cubicBezTo>
                    <a:cubicBezTo>
                      <a:pt x="716" y="736"/>
                      <a:pt x="716" y="736"/>
                      <a:pt x="716" y="736"/>
                    </a:cubicBezTo>
                    <a:cubicBezTo>
                      <a:pt x="714" y="737"/>
                      <a:pt x="714" y="737"/>
                      <a:pt x="714" y="737"/>
                    </a:cubicBezTo>
                    <a:cubicBezTo>
                      <a:pt x="714" y="738"/>
                      <a:pt x="714" y="738"/>
                      <a:pt x="714" y="738"/>
                    </a:cubicBezTo>
                    <a:cubicBezTo>
                      <a:pt x="713" y="736"/>
                      <a:pt x="713" y="736"/>
                      <a:pt x="713" y="736"/>
                    </a:cubicBezTo>
                    <a:cubicBezTo>
                      <a:pt x="713" y="735"/>
                      <a:pt x="713" y="735"/>
                      <a:pt x="713" y="735"/>
                    </a:cubicBezTo>
                    <a:cubicBezTo>
                      <a:pt x="713" y="733"/>
                      <a:pt x="713" y="733"/>
                      <a:pt x="713" y="733"/>
                    </a:cubicBezTo>
                    <a:cubicBezTo>
                      <a:pt x="715" y="732"/>
                      <a:pt x="715" y="732"/>
                      <a:pt x="715" y="732"/>
                    </a:cubicBezTo>
                    <a:cubicBezTo>
                      <a:pt x="715" y="731"/>
                      <a:pt x="715" y="731"/>
                      <a:pt x="715" y="731"/>
                    </a:cubicBezTo>
                    <a:cubicBezTo>
                      <a:pt x="717" y="730"/>
                      <a:pt x="717" y="730"/>
                      <a:pt x="717" y="730"/>
                    </a:cubicBezTo>
                    <a:cubicBezTo>
                      <a:pt x="717" y="730"/>
                      <a:pt x="717" y="730"/>
                      <a:pt x="717" y="730"/>
                    </a:cubicBezTo>
                    <a:cubicBezTo>
                      <a:pt x="718" y="730"/>
                      <a:pt x="718" y="730"/>
                      <a:pt x="718" y="730"/>
                    </a:cubicBezTo>
                    <a:cubicBezTo>
                      <a:pt x="717" y="729"/>
                      <a:pt x="717" y="729"/>
                      <a:pt x="717" y="729"/>
                    </a:cubicBezTo>
                    <a:cubicBezTo>
                      <a:pt x="717" y="729"/>
                      <a:pt x="717" y="729"/>
                      <a:pt x="717" y="729"/>
                    </a:cubicBezTo>
                    <a:cubicBezTo>
                      <a:pt x="716" y="730"/>
                      <a:pt x="716" y="730"/>
                      <a:pt x="716" y="730"/>
                    </a:cubicBezTo>
                    <a:cubicBezTo>
                      <a:pt x="715" y="730"/>
                      <a:pt x="715" y="730"/>
                      <a:pt x="715" y="730"/>
                    </a:cubicBezTo>
                    <a:cubicBezTo>
                      <a:pt x="714" y="730"/>
                      <a:pt x="714" y="730"/>
                      <a:pt x="714" y="730"/>
                    </a:cubicBezTo>
                    <a:cubicBezTo>
                      <a:pt x="712" y="732"/>
                      <a:pt x="712" y="732"/>
                      <a:pt x="712" y="732"/>
                    </a:cubicBezTo>
                    <a:cubicBezTo>
                      <a:pt x="712" y="733"/>
                      <a:pt x="712" y="733"/>
                      <a:pt x="712" y="733"/>
                    </a:cubicBezTo>
                    <a:cubicBezTo>
                      <a:pt x="710" y="734"/>
                      <a:pt x="710" y="734"/>
                      <a:pt x="710" y="734"/>
                    </a:cubicBezTo>
                    <a:cubicBezTo>
                      <a:pt x="710" y="735"/>
                      <a:pt x="710" y="735"/>
                      <a:pt x="710" y="735"/>
                    </a:cubicBezTo>
                    <a:cubicBezTo>
                      <a:pt x="709" y="736"/>
                      <a:pt x="709" y="736"/>
                      <a:pt x="709" y="736"/>
                    </a:cubicBezTo>
                    <a:cubicBezTo>
                      <a:pt x="708" y="734"/>
                      <a:pt x="708" y="734"/>
                      <a:pt x="708" y="734"/>
                    </a:cubicBezTo>
                    <a:cubicBezTo>
                      <a:pt x="708" y="733"/>
                      <a:pt x="708" y="733"/>
                      <a:pt x="708" y="733"/>
                    </a:cubicBezTo>
                    <a:cubicBezTo>
                      <a:pt x="707" y="732"/>
                      <a:pt x="707" y="732"/>
                      <a:pt x="707" y="732"/>
                    </a:cubicBezTo>
                    <a:cubicBezTo>
                      <a:pt x="707" y="731"/>
                      <a:pt x="707" y="731"/>
                      <a:pt x="707" y="731"/>
                    </a:cubicBezTo>
                    <a:cubicBezTo>
                      <a:pt x="708" y="732"/>
                      <a:pt x="708" y="732"/>
                      <a:pt x="708" y="732"/>
                    </a:cubicBezTo>
                    <a:cubicBezTo>
                      <a:pt x="708" y="732"/>
                      <a:pt x="708" y="732"/>
                      <a:pt x="708" y="732"/>
                    </a:cubicBezTo>
                    <a:cubicBezTo>
                      <a:pt x="710" y="730"/>
                      <a:pt x="710" y="730"/>
                      <a:pt x="710" y="730"/>
                    </a:cubicBezTo>
                    <a:cubicBezTo>
                      <a:pt x="709" y="730"/>
                      <a:pt x="709" y="730"/>
                      <a:pt x="709" y="730"/>
                    </a:cubicBezTo>
                    <a:cubicBezTo>
                      <a:pt x="707" y="730"/>
                      <a:pt x="707" y="730"/>
                      <a:pt x="707" y="730"/>
                    </a:cubicBezTo>
                    <a:cubicBezTo>
                      <a:pt x="708" y="730"/>
                      <a:pt x="708" y="730"/>
                      <a:pt x="708" y="730"/>
                    </a:cubicBezTo>
                    <a:cubicBezTo>
                      <a:pt x="710" y="730"/>
                      <a:pt x="710" y="730"/>
                      <a:pt x="710" y="730"/>
                    </a:cubicBezTo>
                    <a:cubicBezTo>
                      <a:pt x="708" y="730"/>
                      <a:pt x="708" y="730"/>
                      <a:pt x="708" y="730"/>
                    </a:cubicBezTo>
                    <a:cubicBezTo>
                      <a:pt x="708" y="729"/>
                      <a:pt x="708" y="729"/>
                      <a:pt x="708" y="729"/>
                    </a:cubicBezTo>
                    <a:cubicBezTo>
                      <a:pt x="708" y="728"/>
                      <a:pt x="708" y="728"/>
                      <a:pt x="708" y="728"/>
                    </a:cubicBezTo>
                    <a:cubicBezTo>
                      <a:pt x="708" y="727"/>
                      <a:pt x="708" y="727"/>
                      <a:pt x="708" y="727"/>
                    </a:cubicBezTo>
                    <a:cubicBezTo>
                      <a:pt x="710" y="727"/>
                      <a:pt x="710" y="727"/>
                      <a:pt x="710" y="727"/>
                    </a:cubicBezTo>
                    <a:cubicBezTo>
                      <a:pt x="710" y="727"/>
                      <a:pt x="710" y="727"/>
                      <a:pt x="710" y="727"/>
                    </a:cubicBezTo>
                    <a:cubicBezTo>
                      <a:pt x="712" y="726"/>
                      <a:pt x="712" y="726"/>
                      <a:pt x="712" y="726"/>
                    </a:cubicBezTo>
                    <a:cubicBezTo>
                      <a:pt x="712" y="724"/>
                      <a:pt x="712" y="724"/>
                      <a:pt x="712" y="724"/>
                    </a:cubicBezTo>
                    <a:cubicBezTo>
                      <a:pt x="714" y="724"/>
                      <a:pt x="714" y="724"/>
                      <a:pt x="714" y="724"/>
                    </a:cubicBezTo>
                    <a:cubicBezTo>
                      <a:pt x="714" y="725"/>
                      <a:pt x="714" y="725"/>
                      <a:pt x="714" y="725"/>
                    </a:cubicBezTo>
                    <a:cubicBezTo>
                      <a:pt x="716" y="724"/>
                      <a:pt x="716" y="724"/>
                      <a:pt x="716" y="724"/>
                    </a:cubicBezTo>
                    <a:cubicBezTo>
                      <a:pt x="717" y="722"/>
                      <a:pt x="717" y="722"/>
                      <a:pt x="717" y="722"/>
                    </a:cubicBezTo>
                    <a:cubicBezTo>
                      <a:pt x="717" y="721"/>
                      <a:pt x="717" y="721"/>
                      <a:pt x="717" y="721"/>
                    </a:cubicBezTo>
                    <a:cubicBezTo>
                      <a:pt x="716" y="720"/>
                      <a:pt x="716" y="720"/>
                      <a:pt x="716" y="720"/>
                    </a:cubicBezTo>
                    <a:cubicBezTo>
                      <a:pt x="715" y="721"/>
                      <a:pt x="715" y="721"/>
                      <a:pt x="715" y="721"/>
                    </a:cubicBezTo>
                    <a:cubicBezTo>
                      <a:pt x="714" y="722"/>
                      <a:pt x="714" y="722"/>
                      <a:pt x="714" y="722"/>
                    </a:cubicBezTo>
                    <a:cubicBezTo>
                      <a:pt x="714" y="721"/>
                      <a:pt x="714" y="721"/>
                      <a:pt x="714" y="721"/>
                    </a:cubicBezTo>
                    <a:cubicBezTo>
                      <a:pt x="713" y="721"/>
                      <a:pt x="713" y="721"/>
                      <a:pt x="713" y="721"/>
                    </a:cubicBezTo>
                    <a:cubicBezTo>
                      <a:pt x="712" y="722"/>
                      <a:pt x="712" y="722"/>
                      <a:pt x="712" y="722"/>
                    </a:cubicBezTo>
                    <a:cubicBezTo>
                      <a:pt x="712" y="723"/>
                      <a:pt x="712" y="723"/>
                      <a:pt x="712" y="723"/>
                    </a:cubicBezTo>
                    <a:cubicBezTo>
                      <a:pt x="712" y="724"/>
                      <a:pt x="712" y="724"/>
                      <a:pt x="712" y="724"/>
                    </a:cubicBezTo>
                    <a:cubicBezTo>
                      <a:pt x="711" y="724"/>
                      <a:pt x="711" y="724"/>
                      <a:pt x="711" y="724"/>
                    </a:cubicBezTo>
                    <a:cubicBezTo>
                      <a:pt x="710" y="725"/>
                      <a:pt x="710" y="725"/>
                      <a:pt x="710" y="725"/>
                    </a:cubicBezTo>
                    <a:cubicBezTo>
                      <a:pt x="709" y="725"/>
                      <a:pt x="709" y="725"/>
                      <a:pt x="709" y="725"/>
                    </a:cubicBezTo>
                    <a:cubicBezTo>
                      <a:pt x="709" y="726"/>
                      <a:pt x="709" y="726"/>
                      <a:pt x="709" y="726"/>
                    </a:cubicBezTo>
                    <a:cubicBezTo>
                      <a:pt x="708" y="726"/>
                      <a:pt x="708" y="726"/>
                      <a:pt x="708" y="726"/>
                    </a:cubicBezTo>
                    <a:cubicBezTo>
                      <a:pt x="708" y="726"/>
                      <a:pt x="708" y="726"/>
                      <a:pt x="708" y="726"/>
                    </a:cubicBezTo>
                    <a:cubicBezTo>
                      <a:pt x="708" y="724"/>
                      <a:pt x="708" y="724"/>
                      <a:pt x="708" y="724"/>
                    </a:cubicBezTo>
                    <a:cubicBezTo>
                      <a:pt x="708" y="725"/>
                      <a:pt x="708" y="725"/>
                      <a:pt x="708" y="725"/>
                    </a:cubicBezTo>
                    <a:cubicBezTo>
                      <a:pt x="707" y="725"/>
                      <a:pt x="707" y="725"/>
                      <a:pt x="707" y="725"/>
                    </a:cubicBezTo>
                    <a:cubicBezTo>
                      <a:pt x="708" y="724"/>
                      <a:pt x="708" y="724"/>
                      <a:pt x="708" y="724"/>
                    </a:cubicBezTo>
                    <a:cubicBezTo>
                      <a:pt x="709" y="723"/>
                      <a:pt x="709" y="723"/>
                      <a:pt x="709" y="723"/>
                    </a:cubicBezTo>
                    <a:cubicBezTo>
                      <a:pt x="709" y="723"/>
                      <a:pt x="709" y="723"/>
                      <a:pt x="709" y="723"/>
                    </a:cubicBezTo>
                    <a:cubicBezTo>
                      <a:pt x="708" y="722"/>
                      <a:pt x="708" y="722"/>
                      <a:pt x="708" y="722"/>
                    </a:cubicBezTo>
                    <a:cubicBezTo>
                      <a:pt x="709" y="722"/>
                      <a:pt x="709" y="722"/>
                      <a:pt x="709" y="722"/>
                    </a:cubicBezTo>
                    <a:cubicBezTo>
                      <a:pt x="710" y="720"/>
                      <a:pt x="710" y="720"/>
                      <a:pt x="710" y="720"/>
                    </a:cubicBezTo>
                    <a:cubicBezTo>
                      <a:pt x="709" y="720"/>
                      <a:pt x="709" y="720"/>
                      <a:pt x="709" y="720"/>
                    </a:cubicBezTo>
                    <a:cubicBezTo>
                      <a:pt x="708" y="721"/>
                      <a:pt x="708" y="721"/>
                      <a:pt x="708" y="721"/>
                    </a:cubicBezTo>
                    <a:cubicBezTo>
                      <a:pt x="709" y="720"/>
                      <a:pt x="709" y="720"/>
                      <a:pt x="709" y="720"/>
                    </a:cubicBezTo>
                    <a:cubicBezTo>
                      <a:pt x="709" y="719"/>
                      <a:pt x="709" y="719"/>
                      <a:pt x="709" y="719"/>
                    </a:cubicBezTo>
                    <a:cubicBezTo>
                      <a:pt x="708" y="719"/>
                      <a:pt x="708" y="719"/>
                      <a:pt x="708" y="719"/>
                    </a:cubicBezTo>
                    <a:cubicBezTo>
                      <a:pt x="707" y="719"/>
                      <a:pt x="707" y="719"/>
                      <a:pt x="707" y="719"/>
                    </a:cubicBezTo>
                    <a:cubicBezTo>
                      <a:pt x="705" y="719"/>
                      <a:pt x="705" y="719"/>
                      <a:pt x="705" y="719"/>
                    </a:cubicBezTo>
                    <a:cubicBezTo>
                      <a:pt x="707" y="719"/>
                      <a:pt x="707" y="719"/>
                      <a:pt x="707" y="719"/>
                    </a:cubicBezTo>
                    <a:cubicBezTo>
                      <a:pt x="708" y="718"/>
                      <a:pt x="708" y="718"/>
                      <a:pt x="708" y="718"/>
                    </a:cubicBezTo>
                    <a:cubicBezTo>
                      <a:pt x="709" y="718"/>
                      <a:pt x="709" y="718"/>
                      <a:pt x="709" y="718"/>
                    </a:cubicBezTo>
                    <a:cubicBezTo>
                      <a:pt x="710" y="717"/>
                      <a:pt x="710" y="717"/>
                      <a:pt x="710" y="717"/>
                    </a:cubicBezTo>
                    <a:cubicBezTo>
                      <a:pt x="711" y="716"/>
                      <a:pt x="711" y="716"/>
                      <a:pt x="711" y="716"/>
                    </a:cubicBezTo>
                    <a:cubicBezTo>
                      <a:pt x="712" y="716"/>
                      <a:pt x="712" y="716"/>
                      <a:pt x="712" y="716"/>
                    </a:cubicBezTo>
                    <a:cubicBezTo>
                      <a:pt x="713" y="716"/>
                      <a:pt x="713" y="716"/>
                      <a:pt x="713" y="716"/>
                    </a:cubicBezTo>
                    <a:cubicBezTo>
                      <a:pt x="713" y="714"/>
                      <a:pt x="713" y="714"/>
                      <a:pt x="713" y="714"/>
                    </a:cubicBezTo>
                    <a:cubicBezTo>
                      <a:pt x="714" y="714"/>
                      <a:pt x="714" y="714"/>
                      <a:pt x="714" y="714"/>
                    </a:cubicBezTo>
                    <a:cubicBezTo>
                      <a:pt x="714" y="713"/>
                      <a:pt x="714" y="713"/>
                      <a:pt x="714" y="713"/>
                    </a:cubicBezTo>
                    <a:cubicBezTo>
                      <a:pt x="713" y="712"/>
                      <a:pt x="713" y="712"/>
                      <a:pt x="713" y="712"/>
                    </a:cubicBezTo>
                    <a:cubicBezTo>
                      <a:pt x="711" y="710"/>
                      <a:pt x="711" y="710"/>
                      <a:pt x="711" y="710"/>
                    </a:cubicBezTo>
                    <a:cubicBezTo>
                      <a:pt x="710" y="710"/>
                      <a:pt x="710" y="710"/>
                      <a:pt x="710" y="710"/>
                    </a:cubicBezTo>
                    <a:cubicBezTo>
                      <a:pt x="708" y="711"/>
                      <a:pt x="708" y="711"/>
                      <a:pt x="708" y="711"/>
                    </a:cubicBezTo>
                    <a:cubicBezTo>
                      <a:pt x="707" y="711"/>
                      <a:pt x="707" y="711"/>
                      <a:pt x="707" y="711"/>
                    </a:cubicBezTo>
                    <a:cubicBezTo>
                      <a:pt x="707" y="712"/>
                      <a:pt x="707" y="712"/>
                      <a:pt x="707" y="712"/>
                    </a:cubicBezTo>
                    <a:cubicBezTo>
                      <a:pt x="706" y="713"/>
                      <a:pt x="706" y="713"/>
                      <a:pt x="706" y="713"/>
                    </a:cubicBezTo>
                    <a:cubicBezTo>
                      <a:pt x="706" y="715"/>
                      <a:pt x="706" y="715"/>
                      <a:pt x="706" y="715"/>
                    </a:cubicBezTo>
                    <a:cubicBezTo>
                      <a:pt x="705" y="715"/>
                      <a:pt x="705" y="715"/>
                      <a:pt x="705" y="715"/>
                    </a:cubicBezTo>
                    <a:cubicBezTo>
                      <a:pt x="706" y="715"/>
                      <a:pt x="706" y="715"/>
                      <a:pt x="706" y="715"/>
                    </a:cubicBezTo>
                    <a:cubicBezTo>
                      <a:pt x="706" y="713"/>
                      <a:pt x="706" y="713"/>
                      <a:pt x="706" y="713"/>
                    </a:cubicBezTo>
                    <a:cubicBezTo>
                      <a:pt x="706" y="712"/>
                      <a:pt x="706" y="712"/>
                      <a:pt x="706" y="712"/>
                    </a:cubicBezTo>
                    <a:cubicBezTo>
                      <a:pt x="706" y="711"/>
                      <a:pt x="706" y="711"/>
                      <a:pt x="706" y="711"/>
                    </a:cubicBezTo>
                    <a:cubicBezTo>
                      <a:pt x="707" y="710"/>
                      <a:pt x="707" y="710"/>
                      <a:pt x="707" y="710"/>
                    </a:cubicBezTo>
                    <a:cubicBezTo>
                      <a:pt x="706" y="710"/>
                      <a:pt x="706" y="710"/>
                      <a:pt x="706" y="710"/>
                    </a:cubicBezTo>
                    <a:cubicBezTo>
                      <a:pt x="705" y="711"/>
                      <a:pt x="705" y="711"/>
                      <a:pt x="705" y="711"/>
                    </a:cubicBezTo>
                    <a:cubicBezTo>
                      <a:pt x="704" y="712"/>
                      <a:pt x="704" y="712"/>
                      <a:pt x="704" y="712"/>
                    </a:cubicBezTo>
                    <a:cubicBezTo>
                      <a:pt x="703" y="713"/>
                      <a:pt x="703" y="713"/>
                      <a:pt x="703" y="713"/>
                    </a:cubicBezTo>
                    <a:cubicBezTo>
                      <a:pt x="702" y="712"/>
                      <a:pt x="702" y="712"/>
                      <a:pt x="702" y="712"/>
                    </a:cubicBezTo>
                    <a:cubicBezTo>
                      <a:pt x="702" y="713"/>
                      <a:pt x="702" y="713"/>
                      <a:pt x="702" y="713"/>
                    </a:cubicBezTo>
                    <a:cubicBezTo>
                      <a:pt x="701" y="713"/>
                      <a:pt x="701" y="713"/>
                      <a:pt x="701" y="713"/>
                    </a:cubicBezTo>
                    <a:cubicBezTo>
                      <a:pt x="700" y="712"/>
                      <a:pt x="700" y="712"/>
                      <a:pt x="700" y="712"/>
                    </a:cubicBezTo>
                    <a:cubicBezTo>
                      <a:pt x="699" y="713"/>
                      <a:pt x="699" y="713"/>
                      <a:pt x="699" y="713"/>
                    </a:cubicBezTo>
                    <a:cubicBezTo>
                      <a:pt x="699" y="715"/>
                      <a:pt x="699" y="715"/>
                      <a:pt x="699" y="715"/>
                    </a:cubicBezTo>
                    <a:cubicBezTo>
                      <a:pt x="697" y="716"/>
                      <a:pt x="697" y="716"/>
                      <a:pt x="697" y="716"/>
                    </a:cubicBezTo>
                    <a:cubicBezTo>
                      <a:pt x="698" y="715"/>
                      <a:pt x="698" y="715"/>
                      <a:pt x="698" y="715"/>
                    </a:cubicBezTo>
                    <a:cubicBezTo>
                      <a:pt x="699" y="713"/>
                      <a:pt x="699" y="713"/>
                      <a:pt x="699" y="713"/>
                    </a:cubicBezTo>
                    <a:cubicBezTo>
                      <a:pt x="700" y="711"/>
                      <a:pt x="700" y="711"/>
                      <a:pt x="700" y="711"/>
                    </a:cubicBezTo>
                    <a:cubicBezTo>
                      <a:pt x="699" y="711"/>
                      <a:pt x="699" y="711"/>
                      <a:pt x="699" y="711"/>
                    </a:cubicBezTo>
                    <a:cubicBezTo>
                      <a:pt x="698" y="711"/>
                      <a:pt x="698" y="711"/>
                      <a:pt x="698" y="711"/>
                    </a:cubicBezTo>
                    <a:cubicBezTo>
                      <a:pt x="698" y="712"/>
                      <a:pt x="698" y="712"/>
                      <a:pt x="698" y="712"/>
                    </a:cubicBezTo>
                    <a:cubicBezTo>
                      <a:pt x="697" y="713"/>
                      <a:pt x="697" y="713"/>
                      <a:pt x="697" y="713"/>
                    </a:cubicBezTo>
                    <a:cubicBezTo>
                      <a:pt x="696" y="712"/>
                      <a:pt x="696" y="712"/>
                      <a:pt x="696" y="712"/>
                    </a:cubicBezTo>
                    <a:cubicBezTo>
                      <a:pt x="697" y="712"/>
                      <a:pt x="697" y="712"/>
                      <a:pt x="697" y="712"/>
                    </a:cubicBezTo>
                    <a:cubicBezTo>
                      <a:pt x="697" y="711"/>
                      <a:pt x="697" y="711"/>
                      <a:pt x="697" y="711"/>
                    </a:cubicBezTo>
                    <a:cubicBezTo>
                      <a:pt x="697" y="710"/>
                      <a:pt x="697" y="710"/>
                      <a:pt x="697" y="710"/>
                    </a:cubicBezTo>
                    <a:cubicBezTo>
                      <a:pt x="696" y="711"/>
                      <a:pt x="696" y="711"/>
                      <a:pt x="696" y="711"/>
                    </a:cubicBezTo>
                    <a:cubicBezTo>
                      <a:pt x="694" y="712"/>
                      <a:pt x="694" y="712"/>
                      <a:pt x="694" y="712"/>
                    </a:cubicBezTo>
                    <a:cubicBezTo>
                      <a:pt x="694" y="712"/>
                      <a:pt x="694" y="712"/>
                      <a:pt x="694" y="712"/>
                    </a:cubicBezTo>
                    <a:cubicBezTo>
                      <a:pt x="693" y="710"/>
                      <a:pt x="693" y="710"/>
                      <a:pt x="693" y="710"/>
                    </a:cubicBezTo>
                    <a:cubicBezTo>
                      <a:pt x="693" y="710"/>
                      <a:pt x="693" y="710"/>
                      <a:pt x="693" y="710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2" y="710"/>
                      <a:pt x="692" y="710"/>
                      <a:pt x="692" y="710"/>
                    </a:cubicBezTo>
                    <a:cubicBezTo>
                      <a:pt x="693" y="708"/>
                      <a:pt x="693" y="708"/>
                      <a:pt x="693" y="708"/>
                    </a:cubicBezTo>
                    <a:cubicBezTo>
                      <a:pt x="694" y="707"/>
                      <a:pt x="694" y="707"/>
                      <a:pt x="694" y="707"/>
                    </a:cubicBezTo>
                    <a:cubicBezTo>
                      <a:pt x="693" y="707"/>
                      <a:pt x="693" y="707"/>
                      <a:pt x="693" y="707"/>
                    </a:cubicBezTo>
                    <a:cubicBezTo>
                      <a:pt x="692" y="707"/>
                      <a:pt x="692" y="707"/>
                      <a:pt x="692" y="707"/>
                    </a:cubicBezTo>
                    <a:cubicBezTo>
                      <a:pt x="691" y="708"/>
                      <a:pt x="691" y="708"/>
                      <a:pt x="691" y="708"/>
                    </a:cubicBezTo>
                    <a:cubicBezTo>
                      <a:pt x="692" y="707"/>
                      <a:pt x="692" y="707"/>
                      <a:pt x="692" y="707"/>
                    </a:cubicBezTo>
                    <a:cubicBezTo>
                      <a:pt x="693" y="706"/>
                      <a:pt x="693" y="706"/>
                      <a:pt x="693" y="706"/>
                    </a:cubicBezTo>
                    <a:cubicBezTo>
                      <a:pt x="695" y="705"/>
                      <a:pt x="695" y="705"/>
                      <a:pt x="695" y="705"/>
                    </a:cubicBezTo>
                    <a:cubicBezTo>
                      <a:pt x="695" y="705"/>
                      <a:pt x="695" y="705"/>
                      <a:pt x="695" y="705"/>
                    </a:cubicBezTo>
                    <a:cubicBezTo>
                      <a:pt x="697" y="705"/>
                      <a:pt x="697" y="705"/>
                      <a:pt x="697" y="705"/>
                    </a:cubicBezTo>
                    <a:cubicBezTo>
                      <a:pt x="698" y="704"/>
                      <a:pt x="698" y="704"/>
                      <a:pt x="698" y="704"/>
                    </a:cubicBezTo>
                    <a:cubicBezTo>
                      <a:pt x="698" y="703"/>
                      <a:pt x="698" y="703"/>
                      <a:pt x="698" y="703"/>
                    </a:cubicBezTo>
                    <a:cubicBezTo>
                      <a:pt x="697" y="703"/>
                      <a:pt x="697" y="703"/>
                      <a:pt x="697" y="703"/>
                    </a:cubicBezTo>
                    <a:cubicBezTo>
                      <a:pt x="695" y="704"/>
                      <a:pt x="695" y="704"/>
                      <a:pt x="695" y="704"/>
                    </a:cubicBezTo>
                    <a:cubicBezTo>
                      <a:pt x="694" y="703"/>
                      <a:pt x="694" y="703"/>
                      <a:pt x="694" y="703"/>
                    </a:cubicBezTo>
                    <a:cubicBezTo>
                      <a:pt x="693" y="702"/>
                      <a:pt x="693" y="702"/>
                      <a:pt x="693" y="702"/>
                    </a:cubicBezTo>
                    <a:cubicBezTo>
                      <a:pt x="692" y="702"/>
                      <a:pt x="692" y="702"/>
                      <a:pt x="692" y="702"/>
                    </a:cubicBezTo>
                    <a:cubicBezTo>
                      <a:pt x="692" y="703"/>
                      <a:pt x="692" y="703"/>
                      <a:pt x="692" y="703"/>
                    </a:cubicBezTo>
                    <a:cubicBezTo>
                      <a:pt x="692" y="701"/>
                      <a:pt x="692" y="701"/>
                      <a:pt x="692" y="701"/>
                    </a:cubicBezTo>
                    <a:cubicBezTo>
                      <a:pt x="693" y="701"/>
                      <a:pt x="693" y="701"/>
                      <a:pt x="693" y="701"/>
                    </a:cubicBezTo>
                    <a:cubicBezTo>
                      <a:pt x="693" y="700"/>
                      <a:pt x="693" y="700"/>
                      <a:pt x="693" y="700"/>
                    </a:cubicBezTo>
                    <a:cubicBezTo>
                      <a:pt x="692" y="701"/>
                      <a:pt x="692" y="701"/>
                      <a:pt x="692" y="701"/>
                    </a:cubicBezTo>
                    <a:cubicBezTo>
                      <a:pt x="690" y="702"/>
                      <a:pt x="690" y="702"/>
                      <a:pt x="690" y="702"/>
                    </a:cubicBezTo>
                    <a:cubicBezTo>
                      <a:pt x="690" y="703"/>
                      <a:pt x="690" y="703"/>
                      <a:pt x="690" y="703"/>
                    </a:cubicBezTo>
                    <a:cubicBezTo>
                      <a:pt x="689" y="704"/>
                      <a:pt x="689" y="704"/>
                      <a:pt x="689" y="704"/>
                    </a:cubicBezTo>
                    <a:cubicBezTo>
                      <a:pt x="688" y="705"/>
                      <a:pt x="688" y="705"/>
                      <a:pt x="688" y="705"/>
                    </a:cubicBezTo>
                    <a:cubicBezTo>
                      <a:pt x="687" y="706"/>
                      <a:pt x="687" y="706"/>
                      <a:pt x="687" y="706"/>
                    </a:cubicBezTo>
                    <a:cubicBezTo>
                      <a:pt x="686" y="707"/>
                      <a:pt x="686" y="707"/>
                      <a:pt x="686" y="707"/>
                    </a:cubicBezTo>
                    <a:cubicBezTo>
                      <a:pt x="685" y="708"/>
                      <a:pt x="685" y="708"/>
                      <a:pt x="685" y="708"/>
                    </a:cubicBezTo>
                    <a:cubicBezTo>
                      <a:pt x="685" y="706"/>
                      <a:pt x="685" y="706"/>
                      <a:pt x="685" y="706"/>
                    </a:cubicBezTo>
                    <a:cubicBezTo>
                      <a:pt x="685" y="705"/>
                      <a:pt x="685" y="705"/>
                      <a:pt x="685" y="705"/>
                    </a:cubicBezTo>
                    <a:cubicBezTo>
                      <a:pt x="686" y="704"/>
                      <a:pt x="686" y="704"/>
                      <a:pt x="686" y="704"/>
                    </a:cubicBezTo>
                    <a:cubicBezTo>
                      <a:pt x="686" y="703"/>
                      <a:pt x="686" y="703"/>
                      <a:pt x="686" y="703"/>
                    </a:cubicBezTo>
                    <a:cubicBezTo>
                      <a:pt x="687" y="701"/>
                      <a:pt x="687" y="701"/>
                      <a:pt x="687" y="701"/>
                    </a:cubicBezTo>
                    <a:cubicBezTo>
                      <a:pt x="688" y="700"/>
                      <a:pt x="688" y="700"/>
                      <a:pt x="688" y="700"/>
                    </a:cubicBezTo>
                    <a:cubicBezTo>
                      <a:pt x="688" y="699"/>
                      <a:pt x="688" y="699"/>
                      <a:pt x="688" y="699"/>
                    </a:cubicBezTo>
                    <a:cubicBezTo>
                      <a:pt x="689" y="698"/>
                      <a:pt x="689" y="698"/>
                      <a:pt x="689" y="698"/>
                    </a:cubicBezTo>
                    <a:cubicBezTo>
                      <a:pt x="690" y="697"/>
                      <a:pt x="690" y="697"/>
                      <a:pt x="690" y="697"/>
                    </a:cubicBezTo>
                    <a:cubicBezTo>
                      <a:pt x="690" y="696"/>
                      <a:pt x="690" y="696"/>
                      <a:pt x="690" y="696"/>
                    </a:cubicBezTo>
                    <a:cubicBezTo>
                      <a:pt x="692" y="695"/>
                      <a:pt x="692" y="695"/>
                      <a:pt x="692" y="695"/>
                    </a:cubicBezTo>
                    <a:cubicBezTo>
                      <a:pt x="692" y="694"/>
                      <a:pt x="692" y="694"/>
                      <a:pt x="692" y="694"/>
                    </a:cubicBezTo>
                    <a:cubicBezTo>
                      <a:pt x="693" y="694"/>
                      <a:pt x="693" y="694"/>
                      <a:pt x="693" y="694"/>
                    </a:cubicBezTo>
                    <a:cubicBezTo>
                      <a:pt x="693" y="693"/>
                      <a:pt x="693" y="693"/>
                      <a:pt x="693" y="693"/>
                    </a:cubicBezTo>
                    <a:cubicBezTo>
                      <a:pt x="693" y="692"/>
                      <a:pt x="693" y="692"/>
                      <a:pt x="693" y="692"/>
                    </a:cubicBezTo>
                    <a:cubicBezTo>
                      <a:pt x="694" y="691"/>
                      <a:pt x="694" y="691"/>
                      <a:pt x="694" y="691"/>
                    </a:cubicBezTo>
                    <a:cubicBezTo>
                      <a:pt x="695" y="690"/>
                      <a:pt x="695" y="690"/>
                      <a:pt x="695" y="690"/>
                    </a:cubicBezTo>
                    <a:cubicBezTo>
                      <a:pt x="694" y="691"/>
                      <a:pt x="694" y="691"/>
                      <a:pt x="694" y="691"/>
                    </a:cubicBezTo>
                    <a:cubicBezTo>
                      <a:pt x="694" y="692"/>
                      <a:pt x="694" y="692"/>
                      <a:pt x="694" y="692"/>
                    </a:cubicBezTo>
                    <a:cubicBezTo>
                      <a:pt x="695" y="693"/>
                      <a:pt x="695" y="693"/>
                      <a:pt x="695" y="693"/>
                    </a:cubicBezTo>
                    <a:cubicBezTo>
                      <a:pt x="696" y="691"/>
                      <a:pt x="696" y="691"/>
                      <a:pt x="696" y="691"/>
                    </a:cubicBezTo>
                    <a:cubicBezTo>
                      <a:pt x="698" y="689"/>
                      <a:pt x="698" y="689"/>
                      <a:pt x="698" y="689"/>
                    </a:cubicBezTo>
                    <a:cubicBezTo>
                      <a:pt x="698" y="688"/>
                      <a:pt x="698" y="688"/>
                      <a:pt x="698" y="688"/>
                    </a:cubicBezTo>
                    <a:cubicBezTo>
                      <a:pt x="697" y="687"/>
                      <a:pt x="697" y="687"/>
                      <a:pt x="697" y="687"/>
                    </a:cubicBezTo>
                    <a:cubicBezTo>
                      <a:pt x="697" y="687"/>
                      <a:pt x="697" y="687"/>
                      <a:pt x="697" y="687"/>
                    </a:cubicBezTo>
                    <a:cubicBezTo>
                      <a:pt x="696" y="688"/>
                      <a:pt x="696" y="688"/>
                      <a:pt x="696" y="688"/>
                    </a:cubicBezTo>
                    <a:cubicBezTo>
                      <a:pt x="696" y="686"/>
                      <a:pt x="696" y="686"/>
                      <a:pt x="696" y="686"/>
                    </a:cubicBezTo>
                    <a:cubicBezTo>
                      <a:pt x="695" y="686"/>
                      <a:pt x="695" y="686"/>
                      <a:pt x="695" y="686"/>
                    </a:cubicBezTo>
                    <a:cubicBezTo>
                      <a:pt x="696" y="685"/>
                      <a:pt x="696" y="685"/>
                      <a:pt x="696" y="685"/>
                    </a:cubicBezTo>
                    <a:cubicBezTo>
                      <a:pt x="697" y="685"/>
                      <a:pt x="697" y="685"/>
                      <a:pt x="697" y="685"/>
                    </a:cubicBezTo>
                    <a:cubicBezTo>
                      <a:pt x="698" y="685"/>
                      <a:pt x="698" y="685"/>
                      <a:pt x="698" y="685"/>
                    </a:cubicBezTo>
                    <a:cubicBezTo>
                      <a:pt x="699" y="686"/>
                      <a:pt x="699" y="686"/>
                      <a:pt x="699" y="686"/>
                    </a:cubicBezTo>
                    <a:cubicBezTo>
                      <a:pt x="700" y="685"/>
                      <a:pt x="700" y="685"/>
                      <a:pt x="700" y="685"/>
                    </a:cubicBezTo>
                    <a:cubicBezTo>
                      <a:pt x="701" y="684"/>
                      <a:pt x="701" y="684"/>
                      <a:pt x="701" y="684"/>
                    </a:cubicBezTo>
                    <a:cubicBezTo>
                      <a:pt x="701" y="682"/>
                      <a:pt x="701" y="682"/>
                      <a:pt x="701" y="682"/>
                    </a:cubicBezTo>
                    <a:cubicBezTo>
                      <a:pt x="700" y="682"/>
                      <a:pt x="700" y="682"/>
                      <a:pt x="700" y="682"/>
                    </a:cubicBezTo>
                    <a:cubicBezTo>
                      <a:pt x="698" y="682"/>
                      <a:pt x="698" y="682"/>
                      <a:pt x="698" y="682"/>
                    </a:cubicBezTo>
                    <a:cubicBezTo>
                      <a:pt x="699" y="683"/>
                      <a:pt x="699" y="683"/>
                      <a:pt x="699" y="683"/>
                    </a:cubicBezTo>
                    <a:cubicBezTo>
                      <a:pt x="698" y="683"/>
                      <a:pt x="698" y="683"/>
                      <a:pt x="698" y="683"/>
                    </a:cubicBezTo>
                    <a:cubicBezTo>
                      <a:pt x="698" y="682"/>
                      <a:pt x="698" y="682"/>
                      <a:pt x="698" y="682"/>
                    </a:cubicBezTo>
                    <a:cubicBezTo>
                      <a:pt x="698" y="681"/>
                      <a:pt x="698" y="681"/>
                      <a:pt x="698" y="681"/>
                    </a:cubicBezTo>
                    <a:cubicBezTo>
                      <a:pt x="697" y="682"/>
                      <a:pt x="697" y="682"/>
                      <a:pt x="697" y="682"/>
                    </a:cubicBezTo>
                    <a:cubicBezTo>
                      <a:pt x="696" y="683"/>
                      <a:pt x="696" y="683"/>
                      <a:pt x="696" y="683"/>
                    </a:cubicBezTo>
                    <a:cubicBezTo>
                      <a:pt x="695" y="683"/>
                      <a:pt x="695" y="683"/>
                      <a:pt x="695" y="683"/>
                    </a:cubicBezTo>
                    <a:cubicBezTo>
                      <a:pt x="694" y="684"/>
                      <a:pt x="694" y="684"/>
                      <a:pt x="694" y="684"/>
                    </a:cubicBezTo>
                    <a:cubicBezTo>
                      <a:pt x="693" y="685"/>
                      <a:pt x="693" y="685"/>
                      <a:pt x="693" y="685"/>
                    </a:cubicBezTo>
                    <a:cubicBezTo>
                      <a:pt x="691" y="684"/>
                      <a:pt x="691" y="684"/>
                      <a:pt x="691" y="684"/>
                    </a:cubicBezTo>
                    <a:cubicBezTo>
                      <a:pt x="690" y="686"/>
                      <a:pt x="690" y="686"/>
                      <a:pt x="690" y="686"/>
                    </a:cubicBezTo>
                    <a:cubicBezTo>
                      <a:pt x="688" y="687"/>
                      <a:pt x="688" y="687"/>
                      <a:pt x="688" y="687"/>
                    </a:cubicBezTo>
                    <a:cubicBezTo>
                      <a:pt x="688" y="688"/>
                      <a:pt x="688" y="688"/>
                      <a:pt x="688" y="688"/>
                    </a:cubicBezTo>
                    <a:cubicBezTo>
                      <a:pt x="687" y="689"/>
                      <a:pt x="687" y="689"/>
                      <a:pt x="687" y="689"/>
                    </a:cubicBezTo>
                    <a:cubicBezTo>
                      <a:pt x="686" y="688"/>
                      <a:pt x="686" y="688"/>
                      <a:pt x="686" y="688"/>
                    </a:cubicBezTo>
                    <a:cubicBezTo>
                      <a:pt x="686" y="689"/>
                      <a:pt x="686" y="689"/>
                      <a:pt x="686" y="689"/>
                    </a:cubicBezTo>
                    <a:cubicBezTo>
                      <a:pt x="686" y="689"/>
                      <a:pt x="686" y="689"/>
                      <a:pt x="686" y="689"/>
                    </a:cubicBezTo>
                    <a:cubicBezTo>
                      <a:pt x="686" y="690"/>
                      <a:pt x="686" y="690"/>
                      <a:pt x="686" y="690"/>
                    </a:cubicBezTo>
                    <a:close/>
                    <a:moveTo>
                      <a:pt x="624" y="709"/>
                    </a:moveTo>
                    <a:cubicBezTo>
                      <a:pt x="625" y="709"/>
                      <a:pt x="625" y="709"/>
                      <a:pt x="625" y="709"/>
                    </a:cubicBezTo>
                    <a:cubicBezTo>
                      <a:pt x="629" y="711"/>
                      <a:pt x="629" y="711"/>
                      <a:pt x="629" y="711"/>
                    </a:cubicBezTo>
                    <a:cubicBezTo>
                      <a:pt x="632" y="711"/>
                      <a:pt x="632" y="711"/>
                      <a:pt x="632" y="711"/>
                    </a:cubicBezTo>
                    <a:cubicBezTo>
                      <a:pt x="634" y="712"/>
                      <a:pt x="634" y="712"/>
                      <a:pt x="634" y="712"/>
                    </a:cubicBezTo>
                    <a:cubicBezTo>
                      <a:pt x="635" y="713"/>
                      <a:pt x="635" y="713"/>
                      <a:pt x="635" y="713"/>
                    </a:cubicBezTo>
                    <a:cubicBezTo>
                      <a:pt x="636" y="713"/>
                      <a:pt x="636" y="713"/>
                      <a:pt x="636" y="713"/>
                    </a:cubicBezTo>
                    <a:cubicBezTo>
                      <a:pt x="638" y="714"/>
                      <a:pt x="638" y="714"/>
                      <a:pt x="638" y="714"/>
                    </a:cubicBezTo>
                    <a:cubicBezTo>
                      <a:pt x="640" y="713"/>
                      <a:pt x="640" y="713"/>
                      <a:pt x="640" y="713"/>
                    </a:cubicBezTo>
                    <a:cubicBezTo>
                      <a:pt x="641" y="712"/>
                      <a:pt x="641" y="712"/>
                      <a:pt x="641" y="712"/>
                    </a:cubicBezTo>
                    <a:cubicBezTo>
                      <a:pt x="640" y="711"/>
                      <a:pt x="640" y="711"/>
                      <a:pt x="640" y="711"/>
                    </a:cubicBezTo>
                    <a:cubicBezTo>
                      <a:pt x="639" y="710"/>
                      <a:pt x="639" y="710"/>
                      <a:pt x="639" y="710"/>
                    </a:cubicBezTo>
                    <a:cubicBezTo>
                      <a:pt x="638" y="709"/>
                      <a:pt x="638" y="709"/>
                      <a:pt x="638" y="709"/>
                    </a:cubicBezTo>
                    <a:cubicBezTo>
                      <a:pt x="637" y="709"/>
                      <a:pt x="637" y="709"/>
                      <a:pt x="637" y="709"/>
                    </a:cubicBezTo>
                    <a:cubicBezTo>
                      <a:pt x="635" y="707"/>
                      <a:pt x="635" y="707"/>
                      <a:pt x="635" y="707"/>
                    </a:cubicBezTo>
                    <a:cubicBezTo>
                      <a:pt x="633" y="705"/>
                      <a:pt x="633" y="705"/>
                      <a:pt x="633" y="705"/>
                    </a:cubicBezTo>
                    <a:cubicBezTo>
                      <a:pt x="632" y="705"/>
                      <a:pt x="632" y="705"/>
                      <a:pt x="632" y="705"/>
                    </a:cubicBezTo>
                    <a:cubicBezTo>
                      <a:pt x="630" y="703"/>
                      <a:pt x="630" y="703"/>
                      <a:pt x="630" y="703"/>
                    </a:cubicBezTo>
                    <a:cubicBezTo>
                      <a:pt x="628" y="702"/>
                      <a:pt x="628" y="702"/>
                      <a:pt x="628" y="702"/>
                    </a:cubicBezTo>
                    <a:cubicBezTo>
                      <a:pt x="626" y="702"/>
                      <a:pt x="626" y="702"/>
                      <a:pt x="626" y="702"/>
                    </a:cubicBezTo>
                    <a:cubicBezTo>
                      <a:pt x="621" y="700"/>
                      <a:pt x="621" y="700"/>
                      <a:pt x="621" y="700"/>
                    </a:cubicBezTo>
                    <a:cubicBezTo>
                      <a:pt x="619" y="700"/>
                      <a:pt x="619" y="700"/>
                      <a:pt x="619" y="700"/>
                    </a:cubicBezTo>
                    <a:cubicBezTo>
                      <a:pt x="617" y="701"/>
                      <a:pt x="617" y="701"/>
                      <a:pt x="617" y="701"/>
                    </a:cubicBezTo>
                    <a:cubicBezTo>
                      <a:pt x="618" y="703"/>
                      <a:pt x="618" y="703"/>
                      <a:pt x="618" y="703"/>
                    </a:cubicBezTo>
                    <a:cubicBezTo>
                      <a:pt x="620" y="703"/>
                      <a:pt x="620" y="703"/>
                      <a:pt x="620" y="703"/>
                    </a:cubicBezTo>
                    <a:cubicBezTo>
                      <a:pt x="623" y="706"/>
                      <a:pt x="623" y="706"/>
                      <a:pt x="623" y="706"/>
                    </a:cubicBezTo>
                    <a:cubicBezTo>
                      <a:pt x="624" y="708"/>
                      <a:pt x="624" y="708"/>
                      <a:pt x="624" y="708"/>
                    </a:cubicBezTo>
                    <a:cubicBezTo>
                      <a:pt x="624" y="709"/>
                      <a:pt x="624" y="709"/>
                      <a:pt x="624" y="709"/>
                    </a:cubicBezTo>
                    <a:close/>
                    <a:moveTo>
                      <a:pt x="625" y="754"/>
                    </a:moveTo>
                    <a:cubicBezTo>
                      <a:pt x="623" y="753"/>
                      <a:pt x="623" y="753"/>
                      <a:pt x="623" y="753"/>
                    </a:cubicBezTo>
                    <a:cubicBezTo>
                      <a:pt x="622" y="751"/>
                      <a:pt x="622" y="751"/>
                      <a:pt x="622" y="751"/>
                    </a:cubicBezTo>
                    <a:cubicBezTo>
                      <a:pt x="618" y="750"/>
                      <a:pt x="618" y="750"/>
                      <a:pt x="618" y="750"/>
                    </a:cubicBezTo>
                    <a:cubicBezTo>
                      <a:pt x="617" y="749"/>
                      <a:pt x="617" y="749"/>
                      <a:pt x="617" y="749"/>
                    </a:cubicBezTo>
                    <a:cubicBezTo>
                      <a:pt x="616" y="748"/>
                      <a:pt x="616" y="748"/>
                      <a:pt x="616" y="748"/>
                    </a:cubicBezTo>
                    <a:cubicBezTo>
                      <a:pt x="616" y="747"/>
                      <a:pt x="616" y="747"/>
                      <a:pt x="616" y="747"/>
                    </a:cubicBezTo>
                    <a:cubicBezTo>
                      <a:pt x="615" y="747"/>
                      <a:pt x="615" y="747"/>
                      <a:pt x="615" y="747"/>
                    </a:cubicBezTo>
                    <a:cubicBezTo>
                      <a:pt x="614" y="746"/>
                      <a:pt x="614" y="746"/>
                      <a:pt x="614" y="746"/>
                    </a:cubicBezTo>
                    <a:cubicBezTo>
                      <a:pt x="613" y="746"/>
                      <a:pt x="613" y="746"/>
                      <a:pt x="613" y="746"/>
                    </a:cubicBezTo>
                    <a:cubicBezTo>
                      <a:pt x="613" y="744"/>
                      <a:pt x="613" y="744"/>
                      <a:pt x="613" y="744"/>
                    </a:cubicBezTo>
                    <a:cubicBezTo>
                      <a:pt x="612" y="743"/>
                      <a:pt x="612" y="743"/>
                      <a:pt x="612" y="743"/>
                    </a:cubicBezTo>
                    <a:cubicBezTo>
                      <a:pt x="611" y="744"/>
                      <a:pt x="611" y="744"/>
                      <a:pt x="611" y="744"/>
                    </a:cubicBezTo>
                    <a:cubicBezTo>
                      <a:pt x="610" y="743"/>
                      <a:pt x="610" y="743"/>
                      <a:pt x="610" y="743"/>
                    </a:cubicBezTo>
                    <a:cubicBezTo>
                      <a:pt x="611" y="741"/>
                      <a:pt x="611" y="741"/>
                      <a:pt x="611" y="741"/>
                    </a:cubicBezTo>
                    <a:cubicBezTo>
                      <a:pt x="615" y="739"/>
                      <a:pt x="615" y="739"/>
                      <a:pt x="615" y="739"/>
                    </a:cubicBezTo>
                    <a:cubicBezTo>
                      <a:pt x="615" y="740"/>
                      <a:pt x="615" y="740"/>
                      <a:pt x="615" y="740"/>
                    </a:cubicBezTo>
                    <a:cubicBezTo>
                      <a:pt x="614" y="742"/>
                      <a:pt x="614" y="742"/>
                      <a:pt x="614" y="742"/>
                    </a:cubicBezTo>
                    <a:cubicBezTo>
                      <a:pt x="614" y="742"/>
                      <a:pt x="614" y="742"/>
                      <a:pt x="614" y="742"/>
                    </a:cubicBezTo>
                    <a:cubicBezTo>
                      <a:pt x="615" y="743"/>
                      <a:pt x="615" y="743"/>
                      <a:pt x="615" y="743"/>
                    </a:cubicBezTo>
                    <a:cubicBezTo>
                      <a:pt x="615" y="745"/>
                      <a:pt x="615" y="745"/>
                      <a:pt x="615" y="745"/>
                    </a:cubicBezTo>
                    <a:cubicBezTo>
                      <a:pt x="616" y="746"/>
                      <a:pt x="616" y="746"/>
                      <a:pt x="616" y="746"/>
                    </a:cubicBezTo>
                    <a:cubicBezTo>
                      <a:pt x="616" y="745"/>
                      <a:pt x="616" y="745"/>
                      <a:pt x="616" y="745"/>
                    </a:cubicBezTo>
                    <a:cubicBezTo>
                      <a:pt x="618" y="745"/>
                      <a:pt x="618" y="745"/>
                      <a:pt x="618" y="745"/>
                    </a:cubicBezTo>
                    <a:cubicBezTo>
                      <a:pt x="620" y="747"/>
                      <a:pt x="620" y="747"/>
                      <a:pt x="620" y="747"/>
                    </a:cubicBezTo>
                    <a:cubicBezTo>
                      <a:pt x="621" y="747"/>
                      <a:pt x="621" y="747"/>
                      <a:pt x="621" y="747"/>
                    </a:cubicBezTo>
                    <a:cubicBezTo>
                      <a:pt x="622" y="748"/>
                      <a:pt x="622" y="748"/>
                      <a:pt x="622" y="748"/>
                    </a:cubicBezTo>
                    <a:cubicBezTo>
                      <a:pt x="625" y="747"/>
                      <a:pt x="625" y="747"/>
                      <a:pt x="625" y="747"/>
                    </a:cubicBezTo>
                    <a:cubicBezTo>
                      <a:pt x="626" y="747"/>
                      <a:pt x="626" y="747"/>
                      <a:pt x="626" y="747"/>
                    </a:cubicBezTo>
                    <a:cubicBezTo>
                      <a:pt x="628" y="747"/>
                      <a:pt x="628" y="747"/>
                      <a:pt x="628" y="747"/>
                    </a:cubicBezTo>
                    <a:cubicBezTo>
                      <a:pt x="630" y="747"/>
                      <a:pt x="630" y="747"/>
                      <a:pt x="630" y="747"/>
                    </a:cubicBezTo>
                    <a:cubicBezTo>
                      <a:pt x="629" y="748"/>
                      <a:pt x="629" y="748"/>
                      <a:pt x="629" y="748"/>
                    </a:cubicBezTo>
                    <a:cubicBezTo>
                      <a:pt x="627" y="748"/>
                      <a:pt x="627" y="748"/>
                      <a:pt x="627" y="748"/>
                    </a:cubicBezTo>
                    <a:cubicBezTo>
                      <a:pt x="627" y="750"/>
                      <a:pt x="627" y="750"/>
                      <a:pt x="627" y="750"/>
                    </a:cubicBezTo>
                    <a:cubicBezTo>
                      <a:pt x="627" y="751"/>
                      <a:pt x="627" y="751"/>
                      <a:pt x="627" y="751"/>
                    </a:cubicBezTo>
                    <a:cubicBezTo>
                      <a:pt x="626" y="753"/>
                      <a:pt x="626" y="753"/>
                      <a:pt x="626" y="753"/>
                    </a:cubicBezTo>
                    <a:cubicBezTo>
                      <a:pt x="625" y="754"/>
                      <a:pt x="625" y="754"/>
                      <a:pt x="625" y="754"/>
                    </a:cubicBezTo>
                    <a:close/>
                    <a:moveTo>
                      <a:pt x="639" y="760"/>
                    </a:moveTo>
                    <a:cubicBezTo>
                      <a:pt x="638" y="759"/>
                      <a:pt x="638" y="759"/>
                      <a:pt x="638" y="759"/>
                    </a:cubicBezTo>
                    <a:cubicBezTo>
                      <a:pt x="635" y="758"/>
                      <a:pt x="635" y="758"/>
                      <a:pt x="635" y="758"/>
                    </a:cubicBezTo>
                    <a:cubicBezTo>
                      <a:pt x="635" y="755"/>
                      <a:pt x="635" y="755"/>
                      <a:pt x="635" y="755"/>
                    </a:cubicBezTo>
                    <a:cubicBezTo>
                      <a:pt x="634" y="754"/>
                      <a:pt x="634" y="754"/>
                      <a:pt x="634" y="754"/>
                    </a:cubicBezTo>
                    <a:cubicBezTo>
                      <a:pt x="635" y="752"/>
                      <a:pt x="635" y="752"/>
                      <a:pt x="635" y="752"/>
                    </a:cubicBezTo>
                    <a:cubicBezTo>
                      <a:pt x="638" y="751"/>
                      <a:pt x="638" y="751"/>
                      <a:pt x="638" y="751"/>
                    </a:cubicBezTo>
                    <a:cubicBezTo>
                      <a:pt x="640" y="747"/>
                      <a:pt x="640" y="747"/>
                      <a:pt x="640" y="747"/>
                    </a:cubicBezTo>
                    <a:cubicBezTo>
                      <a:pt x="641" y="747"/>
                      <a:pt x="641" y="747"/>
                      <a:pt x="641" y="747"/>
                    </a:cubicBezTo>
                    <a:cubicBezTo>
                      <a:pt x="642" y="744"/>
                      <a:pt x="642" y="744"/>
                      <a:pt x="642" y="744"/>
                    </a:cubicBezTo>
                    <a:cubicBezTo>
                      <a:pt x="644" y="743"/>
                      <a:pt x="644" y="743"/>
                      <a:pt x="644" y="743"/>
                    </a:cubicBezTo>
                    <a:cubicBezTo>
                      <a:pt x="645" y="741"/>
                      <a:pt x="645" y="741"/>
                      <a:pt x="645" y="741"/>
                    </a:cubicBezTo>
                    <a:cubicBezTo>
                      <a:pt x="646" y="741"/>
                      <a:pt x="646" y="741"/>
                      <a:pt x="646" y="741"/>
                    </a:cubicBezTo>
                    <a:cubicBezTo>
                      <a:pt x="646" y="742"/>
                      <a:pt x="646" y="742"/>
                      <a:pt x="646" y="742"/>
                    </a:cubicBezTo>
                    <a:cubicBezTo>
                      <a:pt x="646" y="743"/>
                      <a:pt x="646" y="743"/>
                      <a:pt x="646" y="743"/>
                    </a:cubicBezTo>
                    <a:cubicBezTo>
                      <a:pt x="647" y="743"/>
                      <a:pt x="647" y="743"/>
                      <a:pt x="647" y="743"/>
                    </a:cubicBezTo>
                    <a:cubicBezTo>
                      <a:pt x="647" y="745"/>
                      <a:pt x="647" y="745"/>
                      <a:pt x="647" y="745"/>
                    </a:cubicBezTo>
                    <a:cubicBezTo>
                      <a:pt x="645" y="748"/>
                      <a:pt x="645" y="748"/>
                      <a:pt x="645" y="748"/>
                    </a:cubicBezTo>
                    <a:cubicBezTo>
                      <a:pt x="644" y="749"/>
                      <a:pt x="644" y="749"/>
                      <a:pt x="644" y="749"/>
                    </a:cubicBezTo>
                    <a:cubicBezTo>
                      <a:pt x="646" y="750"/>
                      <a:pt x="646" y="750"/>
                      <a:pt x="646" y="750"/>
                    </a:cubicBezTo>
                    <a:cubicBezTo>
                      <a:pt x="647" y="752"/>
                      <a:pt x="647" y="752"/>
                      <a:pt x="647" y="752"/>
                    </a:cubicBezTo>
                    <a:cubicBezTo>
                      <a:pt x="646" y="753"/>
                      <a:pt x="646" y="753"/>
                      <a:pt x="646" y="753"/>
                    </a:cubicBezTo>
                    <a:cubicBezTo>
                      <a:pt x="646" y="754"/>
                      <a:pt x="646" y="754"/>
                      <a:pt x="646" y="754"/>
                    </a:cubicBezTo>
                    <a:cubicBezTo>
                      <a:pt x="648" y="753"/>
                      <a:pt x="648" y="753"/>
                      <a:pt x="648" y="753"/>
                    </a:cubicBezTo>
                    <a:cubicBezTo>
                      <a:pt x="648" y="751"/>
                      <a:pt x="648" y="751"/>
                      <a:pt x="648" y="751"/>
                    </a:cubicBezTo>
                    <a:cubicBezTo>
                      <a:pt x="649" y="751"/>
                      <a:pt x="649" y="751"/>
                      <a:pt x="649" y="751"/>
                    </a:cubicBezTo>
                    <a:cubicBezTo>
                      <a:pt x="651" y="752"/>
                      <a:pt x="651" y="752"/>
                      <a:pt x="651" y="752"/>
                    </a:cubicBezTo>
                    <a:cubicBezTo>
                      <a:pt x="651" y="754"/>
                      <a:pt x="651" y="754"/>
                      <a:pt x="651" y="754"/>
                    </a:cubicBezTo>
                    <a:cubicBezTo>
                      <a:pt x="652" y="755"/>
                      <a:pt x="652" y="755"/>
                      <a:pt x="652" y="755"/>
                    </a:cubicBezTo>
                    <a:cubicBezTo>
                      <a:pt x="650" y="755"/>
                      <a:pt x="650" y="755"/>
                      <a:pt x="650" y="755"/>
                    </a:cubicBezTo>
                    <a:cubicBezTo>
                      <a:pt x="649" y="756"/>
                      <a:pt x="649" y="756"/>
                      <a:pt x="649" y="756"/>
                    </a:cubicBezTo>
                    <a:cubicBezTo>
                      <a:pt x="646" y="757"/>
                      <a:pt x="646" y="757"/>
                      <a:pt x="646" y="757"/>
                    </a:cubicBezTo>
                    <a:cubicBezTo>
                      <a:pt x="643" y="759"/>
                      <a:pt x="643" y="759"/>
                      <a:pt x="643" y="759"/>
                    </a:cubicBezTo>
                    <a:cubicBezTo>
                      <a:pt x="641" y="759"/>
                      <a:pt x="641" y="759"/>
                      <a:pt x="641" y="759"/>
                    </a:cubicBezTo>
                    <a:cubicBezTo>
                      <a:pt x="641" y="758"/>
                      <a:pt x="641" y="758"/>
                      <a:pt x="641" y="758"/>
                    </a:cubicBezTo>
                    <a:cubicBezTo>
                      <a:pt x="640" y="758"/>
                      <a:pt x="640" y="758"/>
                      <a:pt x="640" y="758"/>
                    </a:cubicBezTo>
                    <a:cubicBezTo>
                      <a:pt x="640" y="760"/>
                      <a:pt x="640" y="760"/>
                      <a:pt x="640" y="760"/>
                    </a:cubicBezTo>
                    <a:cubicBezTo>
                      <a:pt x="639" y="760"/>
                      <a:pt x="639" y="760"/>
                      <a:pt x="639" y="760"/>
                    </a:cubicBezTo>
                    <a:close/>
                    <a:moveTo>
                      <a:pt x="489" y="641"/>
                    </a:moveTo>
                    <a:cubicBezTo>
                      <a:pt x="489" y="643"/>
                      <a:pt x="489" y="643"/>
                      <a:pt x="489" y="643"/>
                    </a:cubicBezTo>
                    <a:cubicBezTo>
                      <a:pt x="490" y="643"/>
                      <a:pt x="490" y="643"/>
                      <a:pt x="490" y="643"/>
                    </a:cubicBezTo>
                    <a:cubicBezTo>
                      <a:pt x="490" y="643"/>
                      <a:pt x="490" y="643"/>
                      <a:pt x="490" y="643"/>
                    </a:cubicBezTo>
                    <a:cubicBezTo>
                      <a:pt x="490" y="640"/>
                      <a:pt x="490" y="640"/>
                      <a:pt x="490" y="640"/>
                    </a:cubicBezTo>
                    <a:cubicBezTo>
                      <a:pt x="490" y="641"/>
                      <a:pt x="490" y="641"/>
                      <a:pt x="490" y="641"/>
                    </a:cubicBezTo>
                    <a:cubicBezTo>
                      <a:pt x="489" y="641"/>
                      <a:pt x="489" y="641"/>
                      <a:pt x="489" y="641"/>
                    </a:cubicBezTo>
                    <a:close/>
                    <a:moveTo>
                      <a:pt x="489" y="663"/>
                    </a:moveTo>
                    <a:cubicBezTo>
                      <a:pt x="489" y="662"/>
                      <a:pt x="489" y="662"/>
                      <a:pt x="489" y="662"/>
                    </a:cubicBezTo>
                    <a:cubicBezTo>
                      <a:pt x="491" y="661"/>
                      <a:pt x="491" y="661"/>
                      <a:pt x="491" y="661"/>
                    </a:cubicBezTo>
                    <a:cubicBezTo>
                      <a:pt x="491" y="661"/>
                      <a:pt x="491" y="661"/>
                      <a:pt x="491" y="661"/>
                    </a:cubicBezTo>
                    <a:cubicBezTo>
                      <a:pt x="492" y="662"/>
                      <a:pt x="492" y="662"/>
                      <a:pt x="492" y="662"/>
                    </a:cubicBezTo>
                    <a:cubicBezTo>
                      <a:pt x="490" y="663"/>
                      <a:pt x="490" y="663"/>
                      <a:pt x="490" y="663"/>
                    </a:cubicBezTo>
                    <a:cubicBezTo>
                      <a:pt x="489" y="663"/>
                      <a:pt x="489" y="663"/>
                      <a:pt x="489" y="663"/>
                    </a:cubicBezTo>
                    <a:close/>
                    <a:moveTo>
                      <a:pt x="471" y="647"/>
                    </a:moveTo>
                    <a:cubicBezTo>
                      <a:pt x="473" y="645"/>
                      <a:pt x="473" y="645"/>
                      <a:pt x="473" y="645"/>
                    </a:cubicBezTo>
                    <a:cubicBezTo>
                      <a:pt x="474" y="645"/>
                      <a:pt x="474" y="645"/>
                      <a:pt x="474" y="645"/>
                    </a:cubicBezTo>
                    <a:cubicBezTo>
                      <a:pt x="474" y="644"/>
                      <a:pt x="474" y="644"/>
                      <a:pt x="474" y="644"/>
                    </a:cubicBezTo>
                    <a:cubicBezTo>
                      <a:pt x="475" y="643"/>
                      <a:pt x="475" y="643"/>
                      <a:pt x="475" y="643"/>
                    </a:cubicBezTo>
                    <a:cubicBezTo>
                      <a:pt x="477" y="643"/>
                      <a:pt x="477" y="643"/>
                      <a:pt x="477" y="643"/>
                    </a:cubicBezTo>
                    <a:cubicBezTo>
                      <a:pt x="478" y="644"/>
                      <a:pt x="478" y="644"/>
                      <a:pt x="478" y="644"/>
                    </a:cubicBezTo>
                    <a:cubicBezTo>
                      <a:pt x="479" y="644"/>
                      <a:pt x="479" y="644"/>
                      <a:pt x="479" y="644"/>
                    </a:cubicBezTo>
                    <a:cubicBezTo>
                      <a:pt x="481" y="646"/>
                      <a:pt x="481" y="646"/>
                      <a:pt x="481" y="646"/>
                    </a:cubicBezTo>
                    <a:cubicBezTo>
                      <a:pt x="482" y="648"/>
                      <a:pt x="482" y="648"/>
                      <a:pt x="482" y="648"/>
                    </a:cubicBezTo>
                    <a:cubicBezTo>
                      <a:pt x="482" y="649"/>
                      <a:pt x="482" y="649"/>
                      <a:pt x="482" y="649"/>
                    </a:cubicBezTo>
                    <a:cubicBezTo>
                      <a:pt x="482" y="650"/>
                      <a:pt x="482" y="650"/>
                      <a:pt x="482" y="650"/>
                    </a:cubicBezTo>
                    <a:cubicBezTo>
                      <a:pt x="477" y="649"/>
                      <a:pt x="477" y="649"/>
                      <a:pt x="477" y="649"/>
                    </a:cubicBezTo>
                    <a:cubicBezTo>
                      <a:pt x="476" y="648"/>
                      <a:pt x="476" y="648"/>
                      <a:pt x="476" y="648"/>
                    </a:cubicBezTo>
                    <a:cubicBezTo>
                      <a:pt x="474" y="648"/>
                      <a:pt x="474" y="648"/>
                      <a:pt x="474" y="648"/>
                    </a:cubicBezTo>
                    <a:cubicBezTo>
                      <a:pt x="474" y="649"/>
                      <a:pt x="474" y="649"/>
                      <a:pt x="474" y="649"/>
                    </a:cubicBezTo>
                    <a:cubicBezTo>
                      <a:pt x="474" y="650"/>
                      <a:pt x="474" y="650"/>
                      <a:pt x="474" y="650"/>
                    </a:cubicBezTo>
                    <a:cubicBezTo>
                      <a:pt x="473" y="649"/>
                      <a:pt x="473" y="649"/>
                      <a:pt x="473" y="649"/>
                    </a:cubicBezTo>
                    <a:cubicBezTo>
                      <a:pt x="473" y="648"/>
                      <a:pt x="473" y="648"/>
                      <a:pt x="473" y="648"/>
                    </a:cubicBezTo>
                    <a:cubicBezTo>
                      <a:pt x="471" y="648"/>
                      <a:pt x="471" y="648"/>
                      <a:pt x="471" y="648"/>
                    </a:cubicBezTo>
                    <a:cubicBezTo>
                      <a:pt x="471" y="647"/>
                      <a:pt x="471" y="647"/>
                      <a:pt x="471" y="647"/>
                    </a:cubicBezTo>
                    <a:close/>
                    <a:moveTo>
                      <a:pt x="74" y="655"/>
                    </a:moveTo>
                    <a:cubicBezTo>
                      <a:pt x="77" y="657"/>
                      <a:pt x="77" y="657"/>
                      <a:pt x="77" y="657"/>
                    </a:cubicBezTo>
                    <a:cubicBezTo>
                      <a:pt x="78" y="660"/>
                      <a:pt x="78" y="660"/>
                      <a:pt x="78" y="660"/>
                    </a:cubicBezTo>
                    <a:cubicBezTo>
                      <a:pt x="78" y="661"/>
                      <a:pt x="78" y="661"/>
                      <a:pt x="78" y="661"/>
                    </a:cubicBezTo>
                    <a:cubicBezTo>
                      <a:pt x="75" y="658"/>
                      <a:pt x="75" y="658"/>
                      <a:pt x="75" y="658"/>
                    </a:cubicBezTo>
                    <a:cubicBezTo>
                      <a:pt x="74" y="655"/>
                      <a:pt x="74" y="655"/>
                      <a:pt x="74" y="655"/>
                    </a:cubicBezTo>
                    <a:close/>
                    <a:moveTo>
                      <a:pt x="71" y="651"/>
                    </a:moveTo>
                    <a:cubicBezTo>
                      <a:pt x="71" y="648"/>
                      <a:pt x="71" y="648"/>
                      <a:pt x="71" y="648"/>
                    </a:cubicBezTo>
                    <a:cubicBezTo>
                      <a:pt x="72" y="648"/>
                      <a:pt x="72" y="648"/>
                      <a:pt x="72" y="648"/>
                    </a:cubicBezTo>
                    <a:cubicBezTo>
                      <a:pt x="71" y="651"/>
                      <a:pt x="71" y="651"/>
                      <a:pt x="71" y="651"/>
                    </a:cubicBezTo>
                    <a:close/>
                    <a:moveTo>
                      <a:pt x="60" y="641"/>
                    </a:moveTo>
                    <a:cubicBezTo>
                      <a:pt x="63" y="643"/>
                      <a:pt x="63" y="643"/>
                      <a:pt x="63" y="643"/>
                    </a:cubicBezTo>
                    <a:cubicBezTo>
                      <a:pt x="63" y="641"/>
                      <a:pt x="63" y="641"/>
                      <a:pt x="63" y="641"/>
                    </a:cubicBezTo>
                    <a:cubicBezTo>
                      <a:pt x="60" y="641"/>
                      <a:pt x="60" y="641"/>
                      <a:pt x="60" y="641"/>
                    </a:cubicBezTo>
                    <a:close/>
                    <a:moveTo>
                      <a:pt x="44" y="634"/>
                    </a:moveTo>
                    <a:cubicBezTo>
                      <a:pt x="45" y="637"/>
                      <a:pt x="45" y="637"/>
                      <a:pt x="45" y="637"/>
                    </a:cubicBezTo>
                    <a:cubicBezTo>
                      <a:pt x="46" y="637"/>
                      <a:pt x="46" y="637"/>
                      <a:pt x="46" y="637"/>
                    </a:cubicBezTo>
                    <a:cubicBezTo>
                      <a:pt x="47" y="639"/>
                      <a:pt x="47" y="639"/>
                      <a:pt x="47" y="639"/>
                    </a:cubicBezTo>
                    <a:cubicBezTo>
                      <a:pt x="51" y="640"/>
                      <a:pt x="51" y="640"/>
                      <a:pt x="51" y="640"/>
                    </a:cubicBezTo>
                    <a:cubicBezTo>
                      <a:pt x="49" y="641"/>
                      <a:pt x="49" y="641"/>
                      <a:pt x="49" y="641"/>
                    </a:cubicBezTo>
                    <a:cubicBezTo>
                      <a:pt x="47" y="641"/>
                      <a:pt x="47" y="641"/>
                      <a:pt x="47" y="641"/>
                    </a:cubicBezTo>
                    <a:cubicBezTo>
                      <a:pt x="46" y="643"/>
                      <a:pt x="46" y="643"/>
                      <a:pt x="46" y="643"/>
                    </a:cubicBezTo>
                    <a:cubicBezTo>
                      <a:pt x="47" y="644"/>
                      <a:pt x="47" y="644"/>
                      <a:pt x="47" y="644"/>
                    </a:cubicBezTo>
                    <a:cubicBezTo>
                      <a:pt x="46" y="646"/>
                      <a:pt x="46" y="646"/>
                      <a:pt x="46" y="646"/>
                    </a:cubicBezTo>
                    <a:cubicBezTo>
                      <a:pt x="46" y="647"/>
                      <a:pt x="46" y="647"/>
                      <a:pt x="46" y="647"/>
                    </a:cubicBezTo>
                    <a:cubicBezTo>
                      <a:pt x="49" y="646"/>
                      <a:pt x="49" y="646"/>
                      <a:pt x="49" y="646"/>
                    </a:cubicBezTo>
                    <a:cubicBezTo>
                      <a:pt x="49" y="648"/>
                      <a:pt x="49" y="648"/>
                      <a:pt x="49" y="648"/>
                    </a:cubicBezTo>
                    <a:cubicBezTo>
                      <a:pt x="51" y="648"/>
                      <a:pt x="51" y="648"/>
                      <a:pt x="51" y="648"/>
                    </a:cubicBezTo>
                    <a:cubicBezTo>
                      <a:pt x="51" y="650"/>
                      <a:pt x="51" y="650"/>
                      <a:pt x="51" y="650"/>
                    </a:cubicBezTo>
                    <a:cubicBezTo>
                      <a:pt x="53" y="651"/>
                      <a:pt x="53" y="651"/>
                      <a:pt x="53" y="651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2" y="653"/>
                      <a:pt x="52" y="653"/>
                      <a:pt x="52" y="653"/>
                    </a:cubicBezTo>
                    <a:cubicBezTo>
                      <a:pt x="53" y="655"/>
                      <a:pt x="53" y="655"/>
                      <a:pt x="53" y="655"/>
                    </a:cubicBezTo>
                    <a:cubicBezTo>
                      <a:pt x="55" y="655"/>
                      <a:pt x="55" y="655"/>
                      <a:pt x="55" y="655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8" y="652"/>
                      <a:pt x="58" y="652"/>
                      <a:pt x="58" y="652"/>
                    </a:cubicBezTo>
                    <a:cubicBezTo>
                      <a:pt x="57" y="655"/>
                      <a:pt x="57" y="655"/>
                      <a:pt x="57" y="655"/>
                    </a:cubicBezTo>
                    <a:cubicBezTo>
                      <a:pt x="55" y="656"/>
                      <a:pt x="55" y="656"/>
                      <a:pt x="55" y="656"/>
                    </a:cubicBezTo>
                    <a:cubicBezTo>
                      <a:pt x="56" y="658"/>
                      <a:pt x="56" y="658"/>
                      <a:pt x="56" y="658"/>
                    </a:cubicBezTo>
                    <a:cubicBezTo>
                      <a:pt x="56" y="658"/>
                      <a:pt x="56" y="658"/>
                      <a:pt x="56" y="658"/>
                    </a:cubicBezTo>
                    <a:cubicBezTo>
                      <a:pt x="57" y="660"/>
                      <a:pt x="57" y="660"/>
                      <a:pt x="57" y="660"/>
                    </a:cubicBezTo>
                    <a:cubicBezTo>
                      <a:pt x="60" y="660"/>
                      <a:pt x="60" y="660"/>
                      <a:pt x="60" y="660"/>
                    </a:cubicBezTo>
                    <a:cubicBezTo>
                      <a:pt x="60" y="661"/>
                      <a:pt x="60" y="661"/>
                      <a:pt x="60" y="661"/>
                    </a:cubicBezTo>
                    <a:cubicBezTo>
                      <a:pt x="61" y="661"/>
                      <a:pt x="61" y="661"/>
                      <a:pt x="61" y="661"/>
                    </a:cubicBezTo>
                    <a:cubicBezTo>
                      <a:pt x="62" y="663"/>
                      <a:pt x="62" y="663"/>
                      <a:pt x="62" y="663"/>
                    </a:cubicBezTo>
                    <a:cubicBezTo>
                      <a:pt x="62" y="665"/>
                      <a:pt x="62" y="665"/>
                      <a:pt x="62" y="665"/>
                    </a:cubicBezTo>
                    <a:cubicBezTo>
                      <a:pt x="64" y="667"/>
                      <a:pt x="64" y="667"/>
                      <a:pt x="64" y="667"/>
                    </a:cubicBezTo>
                    <a:cubicBezTo>
                      <a:pt x="65" y="666"/>
                      <a:pt x="65" y="666"/>
                      <a:pt x="65" y="666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68" y="667"/>
                      <a:pt x="68" y="667"/>
                      <a:pt x="68" y="667"/>
                    </a:cubicBezTo>
                    <a:cubicBezTo>
                      <a:pt x="65" y="670"/>
                      <a:pt x="65" y="670"/>
                      <a:pt x="65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0" y="674"/>
                      <a:pt x="70" y="674"/>
                      <a:pt x="70" y="674"/>
                    </a:cubicBezTo>
                    <a:cubicBezTo>
                      <a:pt x="71" y="675"/>
                      <a:pt x="71" y="675"/>
                      <a:pt x="71" y="675"/>
                    </a:cubicBezTo>
                    <a:cubicBezTo>
                      <a:pt x="77" y="679"/>
                      <a:pt x="77" y="679"/>
                      <a:pt x="77" y="679"/>
                    </a:cubicBezTo>
                    <a:cubicBezTo>
                      <a:pt x="78" y="678"/>
                      <a:pt x="78" y="678"/>
                      <a:pt x="78" y="678"/>
                    </a:cubicBezTo>
                    <a:cubicBezTo>
                      <a:pt x="79" y="678"/>
                      <a:pt x="79" y="678"/>
                      <a:pt x="79" y="678"/>
                    </a:cubicBezTo>
                    <a:cubicBezTo>
                      <a:pt x="78" y="673"/>
                      <a:pt x="78" y="673"/>
                      <a:pt x="78" y="673"/>
                    </a:cubicBezTo>
                    <a:cubicBezTo>
                      <a:pt x="78" y="671"/>
                      <a:pt x="78" y="671"/>
                      <a:pt x="78" y="671"/>
                    </a:cubicBezTo>
                    <a:cubicBezTo>
                      <a:pt x="78" y="669"/>
                      <a:pt x="78" y="669"/>
                      <a:pt x="78" y="669"/>
                    </a:cubicBezTo>
                    <a:cubicBezTo>
                      <a:pt x="78" y="665"/>
                      <a:pt x="78" y="665"/>
                      <a:pt x="78" y="665"/>
                    </a:cubicBezTo>
                    <a:cubicBezTo>
                      <a:pt x="77" y="663"/>
                      <a:pt x="77" y="663"/>
                      <a:pt x="77" y="663"/>
                    </a:cubicBezTo>
                    <a:cubicBezTo>
                      <a:pt x="72" y="660"/>
                      <a:pt x="72" y="660"/>
                      <a:pt x="72" y="660"/>
                    </a:cubicBezTo>
                    <a:cubicBezTo>
                      <a:pt x="72" y="654"/>
                      <a:pt x="72" y="654"/>
                      <a:pt x="72" y="654"/>
                    </a:cubicBezTo>
                    <a:cubicBezTo>
                      <a:pt x="69" y="651"/>
                      <a:pt x="69" y="651"/>
                      <a:pt x="69" y="651"/>
                    </a:cubicBezTo>
                    <a:cubicBezTo>
                      <a:pt x="69" y="647"/>
                      <a:pt x="69" y="647"/>
                      <a:pt x="69" y="647"/>
                    </a:cubicBezTo>
                    <a:cubicBezTo>
                      <a:pt x="68" y="646"/>
                      <a:pt x="68" y="646"/>
                      <a:pt x="68" y="646"/>
                    </a:cubicBezTo>
                    <a:cubicBezTo>
                      <a:pt x="66" y="646"/>
                      <a:pt x="66" y="646"/>
                      <a:pt x="66" y="646"/>
                    </a:cubicBezTo>
                    <a:cubicBezTo>
                      <a:pt x="63" y="644"/>
                      <a:pt x="63" y="644"/>
                      <a:pt x="63" y="644"/>
                    </a:cubicBezTo>
                    <a:cubicBezTo>
                      <a:pt x="61" y="644"/>
                      <a:pt x="61" y="644"/>
                      <a:pt x="61" y="644"/>
                    </a:cubicBezTo>
                    <a:cubicBezTo>
                      <a:pt x="59" y="643"/>
                      <a:pt x="59" y="643"/>
                      <a:pt x="59" y="643"/>
                    </a:cubicBezTo>
                    <a:cubicBezTo>
                      <a:pt x="58" y="641"/>
                      <a:pt x="58" y="641"/>
                      <a:pt x="58" y="641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3" y="638"/>
                      <a:pt x="53" y="638"/>
                      <a:pt x="53" y="638"/>
                    </a:cubicBezTo>
                    <a:cubicBezTo>
                      <a:pt x="53" y="636"/>
                      <a:pt x="53" y="636"/>
                      <a:pt x="53" y="636"/>
                    </a:cubicBezTo>
                    <a:cubicBezTo>
                      <a:pt x="51" y="636"/>
                      <a:pt x="51" y="636"/>
                      <a:pt x="51" y="636"/>
                    </a:cubicBezTo>
                    <a:cubicBezTo>
                      <a:pt x="50" y="634"/>
                      <a:pt x="50" y="634"/>
                      <a:pt x="50" y="634"/>
                    </a:cubicBezTo>
                    <a:cubicBezTo>
                      <a:pt x="48" y="634"/>
                      <a:pt x="48" y="634"/>
                      <a:pt x="48" y="634"/>
                    </a:cubicBezTo>
                    <a:cubicBezTo>
                      <a:pt x="47" y="634"/>
                      <a:pt x="47" y="634"/>
                      <a:pt x="47" y="634"/>
                    </a:cubicBezTo>
                    <a:cubicBezTo>
                      <a:pt x="44" y="634"/>
                      <a:pt x="44" y="634"/>
                      <a:pt x="44" y="634"/>
                    </a:cubicBezTo>
                    <a:close/>
                    <a:moveTo>
                      <a:pt x="62" y="638"/>
                    </a:moveTo>
                    <a:cubicBezTo>
                      <a:pt x="63" y="638"/>
                      <a:pt x="63" y="638"/>
                      <a:pt x="63" y="638"/>
                    </a:cubicBezTo>
                    <a:cubicBezTo>
                      <a:pt x="63" y="638"/>
                      <a:pt x="63" y="638"/>
                      <a:pt x="63" y="638"/>
                    </a:cubicBezTo>
                    <a:cubicBezTo>
                      <a:pt x="65" y="638"/>
                      <a:pt x="65" y="638"/>
                      <a:pt x="65" y="638"/>
                    </a:cubicBezTo>
                    <a:cubicBezTo>
                      <a:pt x="63" y="640"/>
                      <a:pt x="63" y="640"/>
                      <a:pt x="63" y="640"/>
                    </a:cubicBezTo>
                    <a:cubicBezTo>
                      <a:pt x="62" y="640"/>
                      <a:pt x="62" y="640"/>
                      <a:pt x="62" y="640"/>
                    </a:cubicBezTo>
                    <a:cubicBezTo>
                      <a:pt x="62" y="638"/>
                      <a:pt x="62" y="638"/>
                      <a:pt x="62" y="638"/>
                    </a:cubicBezTo>
                    <a:close/>
                    <a:moveTo>
                      <a:pt x="60" y="637"/>
                    </a:moveTo>
                    <a:cubicBezTo>
                      <a:pt x="61" y="635"/>
                      <a:pt x="61" y="635"/>
                      <a:pt x="61" y="635"/>
                    </a:cubicBezTo>
                    <a:cubicBezTo>
                      <a:pt x="62" y="637"/>
                      <a:pt x="62" y="637"/>
                      <a:pt x="62" y="637"/>
                    </a:cubicBezTo>
                    <a:cubicBezTo>
                      <a:pt x="60" y="637"/>
                      <a:pt x="60" y="637"/>
                      <a:pt x="60" y="637"/>
                    </a:cubicBezTo>
                    <a:close/>
                    <a:moveTo>
                      <a:pt x="49" y="593"/>
                    </a:moveTo>
                    <a:cubicBezTo>
                      <a:pt x="49" y="596"/>
                      <a:pt x="49" y="596"/>
                      <a:pt x="49" y="596"/>
                    </a:cubicBezTo>
                    <a:cubicBezTo>
                      <a:pt x="50" y="595"/>
                      <a:pt x="50" y="595"/>
                      <a:pt x="50" y="595"/>
                    </a:cubicBezTo>
                    <a:cubicBezTo>
                      <a:pt x="49" y="593"/>
                      <a:pt x="49" y="593"/>
                      <a:pt x="49" y="593"/>
                    </a:cubicBezTo>
                    <a:close/>
                    <a:moveTo>
                      <a:pt x="54" y="614"/>
                    </a:moveTo>
                    <a:cubicBezTo>
                      <a:pt x="54" y="612"/>
                      <a:pt x="54" y="612"/>
                      <a:pt x="54" y="612"/>
                    </a:cubicBezTo>
                    <a:cubicBezTo>
                      <a:pt x="55" y="612"/>
                      <a:pt x="55" y="612"/>
                      <a:pt x="55" y="612"/>
                    </a:cubicBezTo>
                    <a:cubicBezTo>
                      <a:pt x="55" y="612"/>
                      <a:pt x="55" y="612"/>
                      <a:pt x="55" y="612"/>
                    </a:cubicBezTo>
                    <a:cubicBezTo>
                      <a:pt x="54" y="614"/>
                      <a:pt x="54" y="614"/>
                      <a:pt x="54" y="614"/>
                    </a:cubicBezTo>
                    <a:cubicBezTo>
                      <a:pt x="54" y="614"/>
                      <a:pt x="54" y="614"/>
                      <a:pt x="54" y="614"/>
                    </a:cubicBezTo>
                    <a:close/>
                    <a:moveTo>
                      <a:pt x="53" y="620"/>
                    </a:moveTo>
                    <a:cubicBezTo>
                      <a:pt x="52" y="621"/>
                      <a:pt x="52" y="621"/>
                      <a:pt x="52" y="621"/>
                    </a:cubicBezTo>
                    <a:cubicBezTo>
                      <a:pt x="52" y="623"/>
                      <a:pt x="52" y="623"/>
                      <a:pt x="52" y="623"/>
                    </a:cubicBezTo>
                    <a:cubicBezTo>
                      <a:pt x="53" y="624"/>
                      <a:pt x="53" y="624"/>
                      <a:pt x="53" y="624"/>
                    </a:cubicBezTo>
                    <a:cubicBezTo>
                      <a:pt x="54" y="622"/>
                      <a:pt x="54" y="622"/>
                      <a:pt x="54" y="622"/>
                    </a:cubicBezTo>
                    <a:cubicBezTo>
                      <a:pt x="53" y="620"/>
                      <a:pt x="53" y="620"/>
                      <a:pt x="53" y="620"/>
                    </a:cubicBezTo>
                    <a:close/>
                    <a:moveTo>
                      <a:pt x="55" y="618"/>
                    </a:moveTo>
                    <a:cubicBezTo>
                      <a:pt x="56" y="615"/>
                      <a:pt x="56" y="615"/>
                      <a:pt x="56" y="615"/>
                    </a:cubicBezTo>
                    <a:cubicBezTo>
                      <a:pt x="56" y="614"/>
                      <a:pt x="56" y="614"/>
                      <a:pt x="56" y="614"/>
                    </a:cubicBezTo>
                    <a:cubicBezTo>
                      <a:pt x="53" y="616"/>
                      <a:pt x="53" y="616"/>
                      <a:pt x="53" y="616"/>
                    </a:cubicBezTo>
                    <a:cubicBezTo>
                      <a:pt x="53" y="618"/>
                      <a:pt x="53" y="618"/>
                      <a:pt x="53" y="618"/>
                    </a:cubicBezTo>
                    <a:cubicBezTo>
                      <a:pt x="54" y="617"/>
                      <a:pt x="54" y="617"/>
                      <a:pt x="54" y="617"/>
                    </a:cubicBezTo>
                    <a:cubicBezTo>
                      <a:pt x="54" y="617"/>
                      <a:pt x="55" y="618"/>
                      <a:pt x="55" y="618"/>
                    </a:cubicBezTo>
                    <a:close/>
                    <a:moveTo>
                      <a:pt x="57" y="616"/>
                    </a:moveTo>
                    <a:cubicBezTo>
                      <a:pt x="59" y="612"/>
                      <a:pt x="59" y="612"/>
                      <a:pt x="59" y="612"/>
                    </a:cubicBezTo>
                    <a:cubicBezTo>
                      <a:pt x="61" y="612"/>
                      <a:pt x="61" y="612"/>
                      <a:pt x="61" y="612"/>
                    </a:cubicBezTo>
                    <a:cubicBezTo>
                      <a:pt x="62" y="610"/>
                      <a:pt x="62" y="610"/>
                      <a:pt x="62" y="610"/>
                    </a:cubicBezTo>
                    <a:cubicBezTo>
                      <a:pt x="65" y="610"/>
                      <a:pt x="65" y="610"/>
                      <a:pt x="65" y="610"/>
                    </a:cubicBezTo>
                    <a:cubicBezTo>
                      <a:pt x="64" y="611"/>
                      <a:pt x="64" y="611"/>
                      <a:pt x="64" y="611"/>
                    </a:cubicBezTo>
                    <a:cubicBezTo>
                      <a:pt x="62" y="613"/>
                      <a:pt x="62" y="613"/>
                      <a:pt x="62" y="613"/>
                    </a:cubicBezTo>
                    <a:cubicBezTo>
                      <a:pt x="60" y="614"/>
                      <a:pt x="60" y="614"/>
                      <a:pt x="60" y="614"/>
                    </a:cubicBezTo>
                    <a:cubicBezTo>
                      <a:pt x="58" y="615"/>
                      <a:pt x="58" y="615"/>
                      <a:pt x="58" y="615"/>
                    </a:cubicBezTo>
                    <a:cubicBezTo>
                      <a:pt x="57" y="616"/>
                      <a:pt x="57" y="616"/>
                      <a:pt x="57" y="616"/>
                    </a:cubicBezTo>
                    <a:close/>
                    <a:moveTo>
                      <a:pt x="55" y="605"/>
                    </a:moveTo>
                    <a:cubicBezTo>
                      <a:pt x="55" y="603"/>
                      <a:pt x="55" y="603"/>
                      <a:pt x="55" y="603"/>
                    </a:cubicBezTo>
                    <a:cubicBezTo>
                      <a:pt x="57" y="601"/>
                      <a:pt x="57" y="601"/>
                      <a:pt x="57" y="601"/>
                    </a:cubicBezTo>
                    <a:cubicBezTo>
                      <a:pt x="57" y="603"/>
                      <a:pt x="57" y="603"/>
                      <a:pt x="57" y="603"/>
                    </a:cubicBezTo>
                    <a:cubicBezTo>
                      <a:pt x="56" y="604"/>
                      <a:pt x="56" y="604"/>
                      <a:pt x="56" y="604"/>
                    </a:cubicBezTo>
                    <a:cubicBezTo>
                      <a:pt x="56" y="604"/>
                      <a:pt x="56" y="604"/>
                      <a:pt x="56" y="604"/>
                    </a:cubicBezTo>
                    <a:cubicBezTo>
                      <a:pt x="55" y="605"/>
                      <a:pt x="55" y="605"/>
                      <a:pt x="55" y="605"/>
                    </a:cubicBezTo>
                    <a:close/>
                    <a:moveTo>
                      <a:pt x="51" y="604"/>
                    </a:moveTo>
                    <a:cubicBezTo>
                      <a:pt x="54" y="605"/>
                      <a:pt x="54" y="605"/>
                      <a:pt x="54" y="605"/>
                    </a:cubicBezTo>
                    <a:cubicBezTo>
                      <a:pt x="54" y="604"/>
                      <a:pt x="54" y="604"/>
                      <a:pt x="54" y="604"/>
                    </a:cubicBezTo>
                    <a:cubicBezTo>
                      <a:pt x="54" y="603"/>
                      <a:pt x="54" y="603"/>
                      <a:pt x="54" y="603"/>
                    </a:cubicBezTo>
                    <a:cubicBezTo>
                      <a:pt x="51" y="604"/>
                      <a:pt x="51" y="604"/>
                      <a:pt x="51" y="604"/>
                    </a:cubicBezTo>
                    <a:close/>
                    <a:moveTo>
                      <a:pt x="49" y="598"/>
                    </a:moveTo>
                    <a:cubicBezTo>
                      <a:pt x="48" y="602"/>
                      <a:pt x="48" y="602"/>
                      <a:pt x="48" y="602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0" y="604"/>
                      <a:pt x="50" y="604"/>
                      <a:pt x="50" y="604"/>
                    </a:cubicBezTo>
                    <a:cubicBezTo>
                      <a:pt x="51" y="603"/>
                      <a:pt x="51" y="603"/>
                      <a:pt x="51" y="603"/>
                    </a:cubicBezTo>
                    <a:cubicBezTo>
                      <a:pt x="50" y="600"/>
                      <a:pt x="50" y="600"/>
                      <a:pt x="50" y="600"/>
                    </a:cubicBezTo>
                    <a:cubicBezTo>
                      <a:pt x="49" y="598"/>
                      <a:pt x="49" y="598"/>
                      <a:pt x="49" y="598"/>
                    </a:cubicBezTo>
                    <a:close/>
                    <a:moveTo>
                      <a:pt x="50" y="597"/>
                    </a:moveTo>
                    <a:cubicBezTo>
                      <a:pt x="52" y="597"/>
                      <a:pt x="52" y="597"/>
                      <a:pt x="52" y="597"/>
                    </a:cubicBezTo>
                    <a:cubicBezTo>
                      <a:pt x="51" y="598"/>
                      <a:pt x="51" y="598"/>
                      <a:pt x="51" y="598"/>
                    </a:cubicBezTo>
                    <a:cubicBezTo>
                      <a:pt x="51" y="600"/>
                      <a:pt x="51" y="600"/>
                      <a:pt x="51" y="600"/>
                    </a:cubicBezTo>
                    <a:cubicBezTo>
                      <a:pt x="53" y="600"/>
                      <a:pt x="53" y="600"/>
                      <a:pt x="53" y="600"/>
                    </a:cubicBezTo>
                    <a:cubicBezTo>
                      <a:pt x="55" y="598"/>
                      <a:pt x="55" y="598"/>
                      <a:pt x="55" y="598"/>
                    </a:cubicBezTo>
                    <a:cubicBezTo>
                      <a:pt x="54" y="600"/>
                      <a:pt x="54" y="600"/>
                      <a:pt x="54" y="600"/>
                    </a:cubicBezTo>
                    <a:cubicBezTo>
                      <a:pt x="54" y="602"/>
                      <a:pt x="54" y="602"/>
                      <a:pt x="54" y="602"/>
                    </a:cubicBezTo>
                    <a:cubicBezTo>
                      <a:pt x="56" y="600"/>
                      <a:pt x="56" y="600"/>
                      <a:pt x="56" y="600"/>
                    </a:cubicBezTo>
                    <a:cubicBezTo>
                      <a:pt x="56" y="596"/>
                      <a:pt x="56" y="596"/>
                      <a:pt x="56" y="596"/>
                    </a:cubicBezTo>
                    <a:cubicBezTo>
                      <a:pt x="54" y="594"/>
                      <a:pt x="54" y="594"/>
                      <a:pt x="54" y="594"/>
                    </a:cubicBezTo>
                    <a:cubicBezTo>
                      <a:pt x="52" y="595"/>
                      <a:pt x="52" y="595"/>
                      <a:pt x="52" y="595"/>
                    </a:cubicBezTo>
                    <a:cubicBezTo>
                      <a:pt x="50" y="597"/>
                      <a:pt x="50" y="597"/>
                      <a:pt x="50" y="597"/>
                    </a:cubicBezTo>
                    <a:close/>
                    <a:moveTo>
                      <a:pt x="50" y="592"/>
                    </a:moveTo>
                    <a:cubicBezTo>
                      <a:pt x="51" y="594"/>
                      <a:pt x="51" y="594"/>
                      <a:pt x="51" y="594"/>
                    </a:cubicBezTo>
                    <a:cubicBezTo>
                      <a:pt x="52" y="593"/>
                      <a:pt x="52" y="593"/>
                      <a:pt x="52" y="593"/>
                    </a:cubicBezTo>
                    <a:cubicBezTo>
                      <a:pt x="51" y="592"/>
                      <a:pt x="51" y="592"/>
                      <a:pt x="51" y="592"/>
                    </a:cubicBezTo>
                    <a:cubicBezTo>
                      <a:pt x="50" y="592"/>
                      <a:pt x="50" y="592"/>
                      <a:pt x="50" y="592"/>
                    </a:cubicBezTo>
                    <a:close/>
                    <a:moveTo>
                      <a:pt x="54" y="589"/>
                    </a:moveTo>
                    <a:cubicBezTo>
                      <a:pt x="54" y="587"/>
                      <a:pt x="54" y="587"/>
                      <a:pt x="54" y="587"/>
                    </a:cubicBezTo>
                    <a:cubicBezTo>
                      <a:pt x="56" y="586"/>
                      <a:pt x="56" y="586"/>
                      <a:pt x="56" y="586"/>
                    </a:cubicBezTo>
                    <a:cubicBezTo>
                      <a:pt x="57" y="586"/>
                      <a:pt x="57" y="586"/>
                      <a:pt x="57" y="586"/>
                    </a:cubicBezTo>
                    <a:cubicBezTo>
                      <a:pt x="57" y="587"/>
                      <a:pt x="57" y="587"/>
                      <a:pt x="57" y="587"/>
                    </a:cubicBezTo>
                    <a:cubicBezTo>
                      <a:pt x="55" y="588"/>
                      <a:pt x="55" y="588"/>
                      <a:pt x="55" y="588"/>
                    </a:cubicBezTo>
                    <a:cubicBezTo>
                      <a:pt x="54" y="589"/>
                      <a:pt x="54" y="589"/>
                      <a:pt x="54" y="589"/>
                    </a:cubicBezTo>
                    <a:close/>
                    <a:moveTo>
                      <a:pt x="42" y="583"/>
                    </a:moveTo>
                    <a:cubicBezTo>
                      <a:pt x="46" y="588"/>
                      <a:pt x="46" y="588"/>
                      <a:pt x="46" y="588"/>
                    </a:cubicBezTo>
                    <a:cubicBezTo>
                      <a:pt x="47" y="591"/>
                      <a:pt x="47" y="591"/>
                      <a:pt x="47" y="591"/>
                    </a:cubicBezTo>
                    <a:cubicBezTo>
                      <a:pt x="47" y="593"/>
                      <a:pt x="47" y="593"/>
                      <a:pt x="47" y="593"/>
                    </a:cubicBezTo>
                    <a:cubicBezTo>
                      <a:pt x="45" y="592"/>
                      <a:pt x="45" y="592"/>
                      <a:pt x="45" y="592"/>
                    </a:cubicBezTo>
                    <a:cubicBezTo>
                      <a:pt x="45" y="590"/>
                      <a:pt x="45" y="590"/>
                      <a:pt x="45" y="590"/>
                    </a:cubicBezTo>
                    <a:cubicBezTo>
                      <a:pt x="42" y="587"/>
                      <a:pt x="42" y="587"/>
                      <a:pt x="42" y="587"/>
                    </a:cubicBezTo>
                    <a:cubicBezTo>
                      <a:pt x="41" y="585"/>
                      <a:pt x="41" y="585"/>
                      <a:pt x="41" y="585"/>
                    </a:cubicBezTo>
                    <a:cubicBezTo>
                      <a:pt x="41" y="585"/>
                      <a:pt x="42" y="583"/>
                      <a:pt x="42" y="583"/>
                    </a:cubicBezTo>
                    <a:close/>
                    <a:moveTo>
                      <a:pt x="46" y="581"/>
                    </a:moveTo>
                    <a:cubicBezTo>
                      <a:pt x="46" y="584"/>
                      <a:pt x="46" y="584"/>
                      <a:pt x="46" y="584"/>
                    </a:cubicBezTo>
                    <a:cubicBezTo>
                      <a:pt x="47" y="586"/>
                      <a:pt x="47" y="586"/>
                      <a:pt x="47" y="586"/>
                    </a:cubicBezTo>
                    <a:cubicBezTo>
                      <a:pt x="48" y="589"/>
                      <a:pt x="48" y="589"/>
                      <a:pt x="48" y="589"/>
                    </a:cubicBezTo>
                    <a:cubicBezTo>
                      <a:pt x="50" y="591"/>
                      <a:pt x="50" y="591"/>
                      <a:pt x="50" y="591"/>
                    </a:cubicBezTo>
                    <a:cubicBezTo>
                      <a:pt x="50" y="588"/>
                      <a:pt x="50" y="588"/>
                      <a:pt x="50" y="588"/>
                    </a:cubicBezTo>
                    <a:cubicBezTo>
                      <a:pt x="48" y="584"/>
                      <a:pt x="48" y="584"/>
                      <a:pt x="48" y="584"/>
                    </a:cubicBezTo>
                    <a:cubicBezTo>
                      <a:pt x="47" y="581"/>
                      <a:pt x="47" y="581"/>
                      <a:pt x="47" y="581"/>
                    </a:cubicBezTo>
                    <a:cubicBezTo>
                      <a:pt x="46" y="581"/>
                      <a:pt x="46" y="581"/>
                      <a:pt x="46" y="581"/>
                    </a:cubicBezTo>
                    <a:cubicBezTo>
                      <a:pt x="46" y="581"/>
                      <a:pt x="46" y="581"/>
                      <a:pt x="46" y="581"/>
                    </a:cubicBezTo>
                    <a:close/>
                    <a:moveTo>
                      <a:pt x="42" y="579"/>
                    </a:moveTo>
                    <a:cubicBezTo>
                      <a:pt x="45" y="579"/>
                      <a:pt x="45" y="579"/>
                      <a:pt x="45" y="579"/>
                    </a:cubicBezTo>
                    <a:cubicBezTo>
                      <a:pt x="45" y="580"/>
                      <a:pt x="45" y="580"/>
                      <a:pt x="45" y="580"/>
                    </a:cubicBezTo>
                    <a:cubicBezTo>
                      <a:pt x="47" y="580"/>
                      <a:pt x="47" y="580"/>
                      <a:pt x="47" y="580"/>
                    </a:cubicBezTo>
                    <a:cubicBezTo>
                      <a:pt x="47" y="578"/>
                      <a:pt x="47" y="578"/>
                      <a:pt x="47" y="578"/>
                    </a:cubicBezTo>
                    <a:cubicBezTo>
                      <a:pt x="46" y="576"/>
                      <a:pt x="46" y="576"/>
                      <a:pt x="46" y="576"/>
                    </a:cubicBezTo>
                    <a:cubicBezTo>
                      <a:pt x="43" y="577"/>
                      <a:pt x="43" y="577"/>
                      <a:pt x="43" y="577"/>
                    </a:cubicBezTo>
                    <a:cubicBezTo>
                      <a:pt x="42" y="579"/>
                      <a:pt x="42" y="579"/>
                      <a:pt x="42" y="579"/>
                    </a:cubicBezTo>
                    <a:close/>
                    <a:moveTo>
                      <a:pt x="22" y="580"/>
                    </a:moveTo>
                    <a:cubicBezTo>
                      <a:pt x="21" y="576"/>
                      <a:pt x="21" y="576"/>
                      <a:pt x="21" y="576"/>
                    </a:cubicBezTo>
                    <a:cubicBezTo>
                      <a:pt x="24" y="571"/>
                      <a:pt x="24" y="571"/>
                      <a:pt x="24" y="571"/>
                    </a:cubicBezTo>
                    <a:cubicBezTo>
                      <a:pt x="27" y="572"/>
                      <a:pt x="27" y="572"/>
                      <a:pt x="27" y="572"/>
                    </a:cubicBezTo>
                    <a:cubicBezTo>
                      <a:pt x="27" y="575"/>
                      <a:pt x="27" y="575"/>
                      <a:pt x="27" y="575"/>
                    </a:cubicBezTo>
                    <a:cubicBezTo>
                      <a:pt x="28" y="574"/>
                      <a:pt x="28" y="574"/>
                      <a:pt x="28" y="574"/>
                    </a:cubicBezTo>
                    <a:cubicBezTo>
                      <a:pt x="29" y="573"/>
                      <a:pt x="29" y="573"/>
                      <a:pt x="29" y="573"/>
                    </a:cubicBezTo>
                    <a:cubicBezTo>
                      <a:pt x="31" y="574"/>
                      <a:pt x="31" y="574"/>
                      <a:pt x="31" y="574"/>
                    </a:cubicBezTo>
                    <a:cubicBezTo>
                      <a:pt x="31" y="575"/>
                      <a:pt x="31" y="575"/>
                      <a:pt x="31" y="575"/>
                    </a:cubicBezTo>
                    <a:cubicBezTo>
                      <a:pt x="31" y="577"/>
                      <a:pt x="31" y="577"/>
                      <a:pt x="31" y="577"/>
                    </a:cubicBezTo>
                    <a:cubicBezTo>
                      <a:pt x="29" y="579"/>
                      <a:pt x="29" y="579"/>
                      <a:pt x="29" y="579"/>
                    </a:cubicBezTo>
                    <a:cubicBezTo>
                      <a:pt x="25" y="580"/>
                      <a:pt x="25" y="580"/>
                      <a:pt x="25" y="580"/>
                    </a:cubicBezTo>
                    <a:cubicBezTo>
                      <a:pt x="26" y="581"/>
                      <a:pt x="26" y="581"/>
                      <a:pt x="26" y="581"/>
                    </a:cubicBezTo>
                    <a:cubicBezTo>
                      <a:pt x="27" y="582"/>
                      <a:pt x="27" y="582"/>
                      <a:pt x="27" y="582"/>
                    </a:cubicBezTo>
                    <a:cubicBezTo>
                      <a:pt x="29" y="582"/>
                      <a:pt x="29" y="582"/>
                      <a:pt x="29" y="582"/>
                    </a:cubicBezTo>
                    <a:cubicBezTo>
                      <a:pt x="30" y="579"/>
                      <a:pt x="30" y="579"/>
                      <a:pt x="30" y="579"/>
                    </a:cubicBezTo>
                    <a:cubicBezTo>
                      <a:pt x="32" y="576"/>
                      <a:pt x="32" y="576"/>
                      <a:pt x="32" y="576"/>
                    </a:cubicBezTo>
                    <a:cubicBezTo>
                      <a:pt x="35" y="574"/>
                      <a:pt x="35" y="574"/>
                      <a:pt x="35" y="574"/>
                    </a:cubicBezTo>
                    <a:cubicBezTo>
                      <a:pt x="36" y="575"/>
                      <a:pt x="36" y="575"/>
                      <a:pt x="36" y="575"/>
                    </a:cubicBezTo>
                    <a:cubicBezTo>
                      <a:pt x="33" y="579"/>
                      <a:pt x="33" y="579"/>
                      <a:pt x="33" y="579"/>
                    </a:cubicBezTo>
                    <a:cubicBezTo>
                      <a:pt x="32" y="582"/>
                      <a:pt x="32" y="582"/>
                      <a:pt x="32" y="582"/>
                    </a:cubicBezTo>
                    <a:cubicBezTo>
                      <a:pt x="30" y="584"/>
                      <a:pt x="30" y="584"/>
                      <a:pt x="30" y="584"/>
                    </a:cubicBezTo>
                    <a:cubicBezTo>
                      <a:pt x="30" y="587"/>
                      <a:pt x="30" y="587"/>
                      <a:pt x="30" y="587"/>
                    </a:cubicBezTo>
                    <a:cubicBezTo>
                      <a:pt x="28" y="589"/>
                      <a:pt x="28" y="589"/>
                      <a:pt x="28" y="589"/>
                    </a:cubicBezTo>
                    <a:cubicBezTo>
                      <a:pt x="26" y="589"/>
                      <a:pt x="26" y="589"/>
                      <a:pt x="26" y="589"/>
                    </a:cubicBezTo>
                    <a:cubicBezTo>
                      <a:pt x="25" y="590"/>
                      <a:pt x="25" y="590"/>
                      <a:pt x="25" y="590"/>
                    </a:cubicBezTo>
                    <a:cubicBezTo>
                      <a:pt x="26" y="590"/>
                      <a:pt x="26" y="590"/>
                      <a:pt x="26" y="590"/>
                    </a:cubicBezTo>
                    <a:cubicBezTo>
                      <a:pt x="28" y="590"/>
                      <a:pt x="28" y="590"/>
                      <a:pt x="28" y="590"/>
                    </a:cubicBezTo>
                    <a:cubicBezTo>
                      <a:pt x="30" y="590"/>
                      <a:pt x="30" y="590"/>
                      <a:pt x="30" y="590"/>
                    </a:cubicBezTo>
                    <a:cubicBezTo>
                      <a:pt x="30" y="592"/>
                      <a:pt x="30" y="592"/>
                      <a:pt x="30" y="592"/>
                    </a:cubicBezTo>
                    <a:cubicBezTo>
                      <a:pt x="27" y="592"/>
                      <a:pt x="27" y="592"/>
                      <a:pt x="27" y="592"/>
                    </a:cubicBezTo>
                    <a:cubicBezTo>
                      <a:pt x="26" y="595"/>
                      <a:pt x="26" y="595"/>
                      <a:pt x="26" y="595"/>
                    </a:cubicBezTo>
                    <a:cubicBezTo>
                      <a:pt x="27" y="597"/>
                      <a:pt x="27" y="597"/>
                      <a:pt x="27" y="597"/>
                    </a:cubicBezTo>
                    <a:cubicBezTo>
                      <a:pt x="26" y="600"/>
                      <a:pt x="26" y="600"/>
                      <a:pt x="26" y="600"/>
                    </a:cubicBezTo>
                    <a:cubicBezTo>
                      <a:pt x="28" y="603"/>
                      <a:pt x="28" y="603"/>
                      <a:pt x="28" y="603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9" y="605"/>
                      <a:pt x="29" y="605"/>
                      <a:pt x="29" y="605"/>
                    </a:cubicBezTo>
                    <a:cubicBezTo>
                      <a:pt x="30" y="607"/>
                      <a:pt x="30" y="607"/>
                      <a:pt x="30" y="607"/>
                    </a:cubicBezTo>
                    <a:cubicBezTo>
                      <a:pt x="29" y="608"/>
                      <a:pt x="29" y="608"/>
                      <a:pt x="29" y="608"/>
                    </a:cubicBezTo>
                    <a:cubicBezTo>
                      <a:pt x="27" y="608"/>
                      <a:pt x="27" y="608"/>
                      <a:pt x="27" y="608"/>
                    </a:cubicBezTo>
                    <a:cubicBezTo>
                      <a:pt x="24" y="601"/>
                      <a:pt x="24" y="601"/>
                      <a:pt x="24" y="601"/>
                    </a:cubicBezTo>
                    <a:cubicBezTo>
                      <a:pt x="24" y="598"/>
                      <a:pt x="24" y="598"/>
                      <a:pt x="24" y="598"/>
                    </a:cubicBezTo>
                    <a:cubicBezTo>
                      <a:pt x="24" y="597"/>
                      <a:pt x="24" y="597"/>
                      <a:pt x="24" y="597"/>
                    </a:cubicBezTo>
                    <a:cubicBezTo>
                      <a:pt x="22" y="597"/>
                      <a:pt x="22" y="597"/>
                      <a:pt x="22" y="597"/>
                    </a:cubicBezTo>
                    <a:cubicBezTo>
                      <a:pt x="21" y="595"/>
                      <a:pt x="21" y="595"/>
                      <a:pt x="21" y="595"/>
                    </a:cubicBezTo>
                    <a:cubicBezTo>
                      <a:pt x="22" y="594"/>
                      <a:pt x="22" y="594"/>
                      <a:pt x="22" y="594"/>
                    </a:cubicBezTo>
                    <a:cubicBezTo>
                      <a:pt x="24" y="594"/>
                      <a:pt x="24" y="594"/>
                      <a:pt x="24" y="594"/>
                    </a:cubicBezTo>
                    <a:cubicBezTo>
                      <a:pt x="23" y="592"/>
                      <a:pt x="23" y="592"/>
                      <a:pt x="23" y="592"/>
                    </a:cubicBezTo>
                    <a:cubicBezTo>
                      <a:pt x="21" y="591"/>
                      <a:pt x="21" y="591"/>
                      <a:pt x="21" y="591"/>
                    </a:cubicBezTo>
                    <a:cubicBezTo>
                      <a:pt x="23" y="589"/>
                      <a:pt x="23" y="589"/>
                      <a:pt x="23" y="589"/>
                    </a:cubicBezTo>
                    <a:cubicBezTo>
                      <a:pt x="21" y="588"/>
                      <a:pt x="21" y="588"/>
                      <a:pt x="21" y="588"/>
                    </a:cubicBezTo>
                    <a:cubicBezTo>
                      <a:pt x="21" y="586"/>
                      <a:pt x="21" y="586"/>
                      <a:pt x="21" y="586"/>
                    </a:cubicBezTo>
                    <a:cubicBezTo>
                      <a:pt x="23" y="587"/>
                      <a:pt x="23" y="587"/>
                      <a:pt x="23" y="587"/>
                    </a:cubicBezTo>
                    <a:cubicBezTo>
                      <a:pt x="24" y="587"/>
                      <a:pt x="24" y="587"/>
                      <a:pt x="24" y="587"/>
                    </a:cubicBezTo>
                    <a:cubicBezTo>
                      <a:pt x="24" y="586"/>
                      <a:pt x="24" y="586"/>
                      <a:pt x="24" y="586"/>
                    </a:cubicBezTo>
                    <a:cubicBezTo>
                      <a:pt x="23" y="584"/>
                      <a:pt x="23" y="584"/>
                      <a:pt x="23" y="584"/>
                    </a:cubicBezTo>
                    <a:cubicBezTo>
                      <a:pt x="21" y="584"/>
                      <a:pt x="21" y="584"/>
                      <a:pt x="21" y="584"/>
                    </a:cubicBezTo>
                    <a:cubicBezTo>
                      <a:pt x="21" y="582"/>
                      <a:pt x="21" y="582"/>
                      <a:pt x="21" y="582"/>
                    </a:cubicBezTo>
                    <a:cubicBezTo>
                      <a:pt x="22" y="580"/>
                      <a:pt x="22" y="580"/>
                      <a:pt x="22" y="580"/>
                    </a:cubicBezTo>
                    <a:close/>
                    <a:moveTo>
                      <a:pt x="45" y="570"/>
                    </a:moveTo>
                    <a:cubicBezTo>
                      <a:pt x="45" y="568"/>
                      <a:pt x="45" y="568"/>
                      <a:pt x="45" y="568"/>
                    </a:cubicBezTo>
                    <a:cubicBezTo>
                      <a:pt x="46" y="567"/>
                      <a:pt x="46" y="567"/>
                      <a:pt x="46" y="567"/>
                    </a:cubicBezTo>
                    <a:cubicBezTo>
                      <a:pt x="46" y="569"/>
                      <a:pt x="46" y="569"/>
                      <a:pt x="46" y="569"/>
                    </a:cubicBezTo>
                    <a:cubicBezTo>
                      <a:pt x="45" y="570"/>
                      <a:pt x="45" y="570"/>
                      <a:pt x="45" y="570"/>
                    </a:cubicBezTo>
                    <a:close/>
                    <a:moveTo>
                      <a:pt x="242" y="268"/>
                    </a:moveTo>
                    <a:cubicBezTo>
                      <a:pt x="244" y="269"/>
                      <a:pt x="244" y="269"/>
                      <a:pt x="244" y="269"/>
                    </a:cubicBezTo>
                    <a:cubicBezTo>
                      <a:pt x="244" y="268"/>
                      <a:pt x="244" y="268"/>
                      <a:pt x="244" y="268"/>
                    </a:cubicBezTo>
                    <a:cubicBezTo>
                      <a:pt x="244" y="267"/>
                      <a:pt x="244" y="267"/>
                      <a:pt x="244" y="267"/>
                    </a:cubicBezTo>
                    <a:cubicBezTo>
                      <a:pt x="245" y="267"/>
                      <a:pt x="245" y="267"/>
                      <a:pt x="245" y="267"/>
                    </a:cubicBezTo>
                    <a:cubicBezTo>
                      <a:pt x="243" y="267"/>
                      <a:pt x="243" y="267"/>
                      <a:pt x="243" y="267"/>
                    </a:cubicBezTo>
                    <a:cubicBezTo>
                      <a:pt x="242" y="268"/>
                      <a:pt x="242" y="268"/>
                      <a:pt x="242" y="268"/>
                    </a:cubicBezTo>
                    <a:close/>
                    <a:moveTo>
                      <a:pt x="224" y="249"/>
                    </a:moveTo>
                    <a:cubicBezTo>
                      <a:pt x="225" y="249"/>
                      <a:pt x="225" y="249"/>
                      <a:pt x="225" y="249"/>
                    </a:cubicBezTo>
                    <a:cubicBezTo>
                      <a:pt x="227" y="248"/>
                      <a:pt x="227" y="248"/>
                      <a:pt x="227" y="248"/>
                    </a:cubicBezTo>
                    <a:cubicBezTo>
                      <a:pt x="227" y="246"/>
                      <a:pt x="227" y="246"/>
                      <a:pt x="227" y="246"/>
                    </a:cubicBezTo>
                    <a:cubicBezTo>
                      <a:pt x="225" y="247"/>
                      <a:pt x="225" y="247"/>
                      <a:pt x="225" y="247"/>
                    </a:cubicBezTo>
                    <a:cubicBezTo>
                      <a:pt x="224" y="249"/>
                      <a:pt x="224" y="249"/>
                      <a:pt x="224" y="249"/>
                    </a:cubicBezTo>
                    <a:close/>
                    <a:moveTo>
                      <a:pt x="156" y="255"/>
                    </a:moveTo>
                    <a:cubicBezTo>
                      <a:pt x="157" y="255"/>
                      <a:pt x="157" y="255"/>
                      <a:pt x="157" y="255"/>
                    </a:cubicBezTo>
                    <a:cubicBezTo>
                      <a:pt x="158" y="254"/>
                      <a:pt x="158" y="254"/>
                      <a:pt x="158" y="254"/>
                    </a:cubicBezTo>
                    <a:cubicBezTo>
                      <a:pt x="157" y="253"/>
                      <a:pt x="157" y="253"/>
                      <a:pt x="157" y="253"/>
                    </a:cubicBezTo>
                    <a:cubicBezTo>
                      <a:pt x="157" y="253"/>
                      <a:pt x="156" y="255"/>
                      <a:pt x="156" y="255"/>
                    </a:cubicBezTo>
                    <a:close/>
                    <a:moveTo>
                      <a:pt x="155" y="258"/>
                    </a:moveTo>
                    <a:cubicBezTo>
                      <a:pt x="155" y="257"/>
                      <a:pt x="155" y="257"/>
                      <a:pt x="155" y="257"/>
                    </a:cubicBezTo>
                    <a:cubicBezTo>
                      <a:pt x="156" y="257"/>
                      <a:pt x="156" y="257"/>
                      <a:pt x="156" y="257"/>
                    </a:cubicBezTo>
                    <a:cubicBezTo>
                      <a:pt x="156" y="258"/>
                      <a:pt x="156" y="258"/>
                      <a:pt x="156" y="258"/>
                    </a:cubicBezTo>
                    <a:cubicBezTo>
                      <a:pt x="155" y="258"/>
                      <a:pt x="155" y="258"/>
                      <a:pt x="155" y="258"/>
                    </a:cubicBezTo>
                    <a:close/>
                    <a:moveTo>
                      <a:pt x="152" y="264"/>
                    </a:moveTo>
                    <a:cubicBezTo>
                      <a:pt x="152" y="267"/>
                      <a:pt x="152" y="267"/>
                      <a:pt x="152" y="267"/>
                    </a:cubicBezTo>
                    <a:cubicBezTo>
                      <a:pt x="151" y="269"/>
                      <a:pt x="151" y="269"/>
                      <a:pt x="151" y="269"/>
                    </a:cubicBezTo>
                    <a:cubicBezTo>
                      <a:pt x="151" y="271"/>
                      <a:pt x="151" y="271"/>
                      <a:pt x="151" y="271"/>
                    </a:cubicBezTo>
                    <a:cubicBezTo>
                      <a:pt x="153" y="271"/>
                      <a:pt x="153" y="271"/>
                      <a:pt x="153" y="271"/>
                    </a:cubicBezTo>
                    <a:cubicBezTo>
                      <a:pt x="154" y="270"/>
                      <a:pt x="154" y="270"/>
                      <a:pt x="154" y="270"/>
                    </a:cubicBezTo>
                    <a:cubicBezTo>
                      <a:pt x="156" y="269"/>
                      <a:pt x="156" y="269"/>
                      <a:pt x="156" y="269"/>
                    </a:cubicBezTo>
                    <a:cubicBezTo>
                      <a:pt x="163" y="264"/>
                      <a:pt x="163" y="264"/>
                      <a:pt x="163" y="264"/>
                    </a:cubicBezTo>
                    <a:cubicBezTo>
                      <a:pt x="165" y="262"/>
                      <a:pt x="165" y="262"/>
                      <a:pt x="165" y="262"/>
                    </a:cubicBezTo>
                    <a:cubicBezTo>
                      <a:pt x="167" y="260"/>
                      <a:pt x="167" y="260"/>
                      <a:pt x="167" y="260"/>
                    </a:cubicBezTo>
                    <a:cubicBezTo>
                      <a:pt x="166" y="261"/>
                      <a:pt x="166" y="261"/>
                      <a:pt x="166" y="261"/>
                    </a:cubicBezTo>
                    <a:cubicBezTo>
                      <a:pt x="164" y="260"/>
                      <a:pt x="164" y="260"/>
                      <a:pt x="164" y="260"/>
                    </a:cubicBezTo>
                    <a:cubicBezTo>
                      <a:pt x="164" y="256"/>
                      <a:pt x="164" y="256"/>
                      <a:pt x="164" y="256"/>
                    </a:cubicBezTo>
                    <a:cubicBezTo>
                      <a:pt x="163" y="256"/>
                      <a:pt x="163" y="256"/>
                      <a:pt x="163" y="256"/>
                    </a:cubicBezTo>
                    <a:cubicBezTo>
                      <a:pt x="161" y="259"/>
                      <a:pt x="161" y="259"/>
                      <a:pt x="161" y="259"/>
                    </a:cubicBezTo>
                    <a:cubicBezTo>
                      <a:pt x="160" y="260"/>
                      <a:pt x="160" y="260"/>
                      <a:pt x="160" y="260"/>
                    </a:cubicBezTo>
                    <a:cubicBezTo>
                      <a:pt x="160" y="261"/>
                      <a:pt x="160" y="261"/>
                      <a:pt x="160" y="261"/>
                    </a:cubicBezTo>
                    <a:cubicBezTo>
                      <a:pt x="158" y="261"/>
                      <a:pt x="158" y="261"/>
                      <a:pt x="158" y="261"/>
                    </a:cubicBezTo>
                    <a:cubicBezTo>
                      <a:pt x="158" y="262"/>
                      <a:pt x="158" y="262"/>
                      <a:pt x="158" y="262"/>
                    </a:cubicBezTo>
                    <a:cubicBezTo>
                      <a:pt x="157" y="263"/>
                      <a:pt x="157" y="263"/>
                      <a:pt x="157" y="263"/>
                    </a:cubicBezTo>
                    <a:cubicBezTo>
                      <a:pt x="156" y="262"/>
                      <a:pt x="156" y="262"/>
                      <a:pt x="156" y="262"/>
                    </a:cubicBezTo>
                    <a:cubicBezTo>
                      <a:pt x="157" y="261"/>
                      <a:pt x="157" y="261"/>
                      <a:pt x="157" y="261"/>
                    </a:cubicBezTo>
                    <a:cubicBezTo>
                      <a:pt x="156" y="260"/>
                      <a:pt x="156" y="260"/>
                      <a:pt x="156" y="260"/>
                    </a:cubicBezTo>
                    <a:cubicBezTo>
                      <a:pt x="155" y="261"/>
                      <a:pt x="155" y="261"/>
                      <a:pt x="155" y="261"/>
                    </a:cubicBezTo>
                    <a:cubicBezTo>
                      <a:pt x="154" y="261"/>
                      <a:pt x="154" y="261"/>
                      <a:pt x="154" y="261"/>
                    </a:cubicBezTo>
                    <a:cubicBezTo>
                      <a:pt x="153" y="263"/>
                      <a:pt x="153" y="263"/>
                      <a:pt x="153" y="263"/>
                    </a:cubicBezTo>
                    <a:cubicBezTo>
                      <a:pt x="152" y="264"/>
                      <a:pt x="152" y="264"/>
                      <a:pt x="152" y="264"/>
                    </a:cubicBezTo>
                    <a:close/>
                    <a:moveTo>
                      <a:pt x="145" y="270"/>
                    </a:moveTo>
                    <a:cubicBezTo>
                      <a:pt x="146" y="268"/>
                      <a:pt x="146" y="268"/>
                      <a:pt x="146" y="268"/>
                    </a:cubicBezTo>
                    <a:cubicBezTo>
                      <a:pt x="146" y="264"/>
                      <a:pt x="146" y="264"/>
                      <a:pt x="146" y="264"/>
                    </a:cubicBezTo>
                    <a:cubicBezTo>
                      <a:pt x="144" y="266"/>
                      <a:pt x="144" y="266"/>
                      <a:pt x="144" y="266"/>
                    </a:cubicBezTo>
                    <a:cubicBezTo>
                      <a:pt x="143" y="268"/>
                      <a:pt x="143" y="268"/>
                      <a:pt x="143" y="268"/>
                    </a:cubicBezTo>
                    <a:cubicBezTo>
                      <a:pt x="142" y="269"/>
                      <a:pt x="142" y="269"/>
                      <a:pt x="142" y="269"/>
                    </a:cubicBezTo>
                    <a:cubicBezTo>
                      <a:pt x="143" y="269"/>
                      <a:pt x="143" y="269"/>
                      <a:pt x="143" y="269"/>
                    </a:cubicBezTo>
                    <a:cubicBezTo>
                      <a:pt x="143" y="269"/>
                      <a:pt x="145" y="270"/>
                      <a:pt x="145" y="270"/>
                    </a:cubicBezTo>
                    <a:close/>
                    <a:moveTo>
                      <a:pt x="145" y="272"/>
                    </a:moveTo>
                    <a:cubicBezTo>
                      <a:pt x="147" y="271"/>
                      <a:pt x="147" y="271"/>
                      <a:pt x="147" y="271"/>
                    </a:cubicBezTo>
                    <a:cubicBezTo>
                      <a:pt x="147" y="270"/>
                      <a:pt x="147" y="270"/>
                      <a:pt x="147" y="270"/>
                    </a:cubicBezTo>
                    <a:cubicBezTo>
                      <a:pt x="146" y="267"/>
                      <a:pt x="146" y="267"/>
                      <a:pt x="146" y="267"/>
                    </a:cubicBezTo>
                    <a:cubicBezTo>
                      <a:pt x="146" y="264"/>
                      <a:pt x="146" y="264"/>
                      <a:pt x="146" y="264"/>
                    </a:cubicBezTo>
                    <a:cubicBezTo>
                      <a:pt x="148" y="262"/>
                      <a:pt x="148" y="262"/>
                      <a:pt x="148" y="262"/>
                    </a:cubicBezTo>
                    <a:cubicBezTo>
                      <a:pt x="149" y="263"/>
                      <a:pt x="149" y="263"/>
                      <a:pt x="149" y="263"/>
                    </a:cubicBezTo>
                    <a:cubicBezTo>
                      <a:pt x="149" y="262"/>
                      <a:pt x="149" y="262"/>
                      <a:pt x="149" y="262"/>
                    </a:cubicBezTo>
                    <a:cubicBezTo>
                      <a:pt x="150" y="261"/>
                      <a:pt x="150" y="261"/>
                      <a:pt x="150" y="261"/>
                    </a:cubicBezTo>
                    <a:cubicBezTo>
                      <a:pt x="151" y="264"/>
                      <a:pt x="151" y="264"/>
                      <a:pt x="151" y="264"/>
                    </a:cubicBezTo>
                    <a:cubicBezTo>
                      <a:pt x="150" y="268"/>
                      <a:pt x="150" y="268"/>
                      <a:pt x="150" y="268"/>
                    </a:cubicBezTo>
                    <a:cubicBezTo>
                      <a:pt x="149" y="270"/>
                      <a:pt x="149" y="270"/>
                      <a:pt x="149" y="270"/>
                    </a:cubicBezTo>
                    <a:cubicBezTo>
                      <a:pt x="150" y="271"/>
                      <a:pt x="150" y="271"/>
                      <a:pt x="150" y="271"/>
                    </a:cubicBezTo>
                    <a:cubicBezTo>
                      <a:pt x="148" y="273"/>
                      <a:pt x="148" y="273"/>
                      <a:pt x="148" y="273"/>
                    </a:cubicBezTo>
                    <a:cubicBezTo>
                      <a:pt x="145" y="272"/>
                      <a:pt x="145" y="272"/>
                      <a:pt x="145" y="272"/>
                    </a:cubicBezTo>
                    <a:close/>
                    <a:moveTo>
                      <a:pt x="148" y="282"/>
                    </a:moveTo>
                    <a:cubicBezTo>
                      <a:pt x="149" y="280"/>
                      <a:pt x="149" y="280"/>
                      <a:pt x="149" y="280"/>
                    </a:cubicBezTo>
                    <a:cubicBezTo>
                      <a:pt x="148" y="277"/>
                      <a:pt x="148" y="277"/>
                      <a:pt x="148" y="277"/>
                    </a:cubicBezTo>
                    <a:cubicBezTo>
                      <a:pt x="148" y="274"/>
                      <a:pt x="148" y="274"/>
                      <a:pt x="148" y="274"/>
                    </a:cubicBezTo>
                    <a:cubicBezTo>
                      <a:pt x="146" y="274"/>
                      <a:pt x="146" y="274"/>
                      <a:pt x="146" y="274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3" y="271"/>
                      <a:pt x="143" y="271"/>
                      <a:pt x="143" y="271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46" y="276"/>
                      <a:pt x="146" y="276"/>
                      <a:pt x="146" y="276"/>
                    </a:cubicBezTo>
                    <a:cubicBezTo>
                      <a:pt x="144" y="275"/>
                      <a:pt x="144" y="275"/>
                      <a:pt x="144" y="275"/>
                    </a:cubicBezTo>
                    <a:cubicBezTo>
                      <a:pt x="144" y="276"/>
                      <a:pt x="144" y="276"/>
                      <a:pt x="144" y="276"/>
                    </a:cubicBezTo>
                    <a:cubicBezTo>
                      <a:pt x="146" y="278"/>
                      <a:pt x="146" y="278"/>
                      <a:pt x="146" y="278"/>
                    </a:cubicBezTo>
                    <a:cubicBezTo>
                      <a:pt x="148" y="282"/>
                      <a:pt x="148" y="282"/>
                      <a:pt x="148" y="282"/>
                    </a:cubicBezTo>
                    <a:close/>
                    <a:moveTo>
                      <a:pt x="127" y="246"/>
                    </a:moveTo>
                    <a:cubicBezTo>
                      <a:pt x="128" y="248"/>
                      <a:pt x="128" y="248"/>
                      <a:pt x="128" y="248"/>
                    </a:cubicBezTo>
                    <a:cubicBezTo>
                      <a:pt x="129" y="248"/>
                      <a:pt x="129" y="248"/>
                      <a:pt x="129" y="248"/>
                    </a:cubicBezTo>
                    <a:cubicBezTo>
                      <a:pt x="131" y="249"/>
                      <a:pt x="131" y="249"/>
                      <a:pt x="131" y="249"/>
                    </a:cubicBezTo>
                    <a:cubicBezTo>
                      <a:pt x="132" y="248"/>
                      <a:pt x="132" y="248"/>
                      <a:pt x="132" y="248"/>
                    </a:cubicBezTo>
                    <a:cubicBezTo>
                      <a:pt x="130" y="245"/>
                      <a:pt x="130" y="245"/>
                      <a:pt x="130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27" y="246"/>
                      <a:pt x="127" y="246"/>
                      <a:pt x="127" y="246"/>
                    </a:cubicBezTo>
                    <a:close/>
                    <a:moveTo>
                      <a:pt x="86" y="669"/>
                    </a:moveTo>
                    <a:cubicBezTo>
                      <a:pt x="86" y="669"/>
                      <a:pt x="86" y="669"/>
                      <a:pt x="86" y="669"/>
                    </a:cubicBezTo>
                    <a:cubicBezTo>
                      <a:pt x="85" y="668"/>
                      <a:pt x="85" y="668"/>
                      <a:pt x="85" y="668"/>
                    </a:cubicBezTo>
                    <a:cubicBezTo>
                      <a:pt x="84" y="665"/>
                      <a:pt x="84" y="665"/>
                      <a:pt x="84" y="665"/>
                    </a:cubicBezTo>
                    <a:cubicBezTo>
                      <a:pt x="86" y="661"/>
                      <a:pt x="86" y="661"/>
                      <a:pt x="86" y="661"/>
                    </a:cubicBezTo>
                    <a:cubicBezTo>
                      <a:pt x="87" y="658"/>
                      <a:pt x="87" y="658"/>
                      <a:pt x="87" y="658"/>
                    </a:cubicBezTo>
                    <a:cubicBezTo>
                      <a:pt x="85" y="660"/>
                      <a:pt x="85" y="660"/>
                      <a:pt x="85" y="660"/>
                    </a:cubicBezTo>
                    <a:cubicBezTo>
                      <a:pt x="83" y="660"/>
                      <a:pt x="83" y="660"/>
                      <a:pt x="83" y="660"/>
                    </a:cubicBezTo>
                    <a:cubicBezTo>
                      <a:pt x="81" y="662"/>
                      <a:pt x="81" y="662"/>
                      <a:pt x="81" y="662"/>
                    </a:cubicBezTo>
                    <a:cubicBezTo>
                      <a:pt x="79" y="659"/>
                      <a:pt x="79" y="659"/>
                      <a:pt x="79" y="659"/>
                    </a:cubicBezTo>
                    <a:cubicBezTo>
                      <a:pt x="79" y="657"/>
                      <a:pt x="79" y="657"/>
                      <a:pt x="79" y="657"/>
                    </a:cubicBezTo>
                    <a:cubicBezTo>
                      <a:pt x="80" y="657"/>
                      <a:pt x="80" y="657"/>
                      <a:pt x="80" y="657"/>
                    </a:cubicBezTo>
                    <a:cubicBezTo>
                      <a:pt x="81" y="659"/>
                      <a:pt x="81" y="659"/>
                      <a:pt x="81" y="659"/>
                    </a:cubicBezTo>
                    <a:cubicBezTo>
                      <a:pt x="82" y="659"/>
                      <a:pt x="82" y="659"/>
                      <a:pt x="82" y="659"/>
                    </a:cubicBezTo>
                    <a:cubicBezTo>
                      <a:pt x="82" y="658"/>
                      <a:pt x="82" y="658"/>
                      <a:pt x="82" y="658"/>
                    </a:cubicBezTo>
                    <a:cubicBezTo>
                      <a:pt x="81" y="656"/>
                      <a:pt x="81" y="656"/>
                      <a:pt x="81" y="656"/>
                    </a:cubicBezTo>
                    <a:cubicBezTo>
                      <a:pt x="80" y="655"/>
                      <a:pt x="80" y="655"/>
                      <a:pt x="80" y="655"/>
                    </a:cubicBezTo>
                    <a:cubicBezTo>
                      <a:pt x="79" y="655"/>
                      <a:pt x="79" y="655"/>
                      <a:pt x="79" y="655"/>
                    </a:cubicBezTo>
                    <a:cubicBezTo>
                      <a:pt x="78" y="656"/>
                      <a:pt x="78" y="656"/>
                      <a:pt x="78" y="656"/>
                    </a:cubicBezTo>
                    <a:cubicBezTo>
                      <a:pt x="76" y="655"/>
                      <a:pt x="76" y="655"/>
                      <a:pt x="76" y="655"/>
                    </a:cubicBezTo>
                    <a:cubicBezTo>
                      <a:pt x="74" y="652"/>
                      <a:pt x="74" y="652"/>
                      <a:pt x="74" y="652"/>
                    </a:cubicBezTo>
                    <a:cubicBezTo>
                      <a:pt x="74" y="651"/>
                      <a:pt x="74" y="651"/>
                      <a:pt x="74" y="651"/>
                    </a:cubicBezTo>
                    <a:cubicBezTo>
                      <a:pt x="77" y="649"/>
                      <a:pt x="77" y="649"/>
                      <a:pt x="77" y="649"/>
                    </a:cubicBezTo>
                    <a:cubicBezTo>
                      <a:pt x="78" y="647"/>
                      <a:pt x="78" y="647"/>
                      <a:pt x="78" y="647"/>
                    </a:cubicBezTo>
                    <a:cubicBezTo>
                      <a:pt x="79" y="646"/>
                      <a:pt x="79" y="646"/>
                      <a:pt x="79" y="646"/>
                    </a:cubicBezTo>
                    <a:cubicBezTo>
                      <a:pt x="79" y="645"/>
                      <a:pt x="79" y="645"/>
                      <a:pt x="79" y="645"/>
                    </a:cubicBezTo>
                    <a:cubicBezTo>
                      <a:pt x="77" y="646"/>
                      <a:pt x="77" y="646"/>
                      <a:pt x="77" y="646"/>
                    </a:cubicBezTo>
                    <a:cubicBezTo>
                      <a:pt x="75" y="646"/>
                      <a:pt x="75" y="646"/>
                      <a:pt x="75" y="646"/>
                    </a:cubicBezTo>
                    <a:cubicBezTo>
                      <a:pt x="74" y="645"/>
                      <a:pt x="74" y="645"/>
                      <a:pt x="74" y="645"/>
                    </a:cubicBezTo>
                    <a:cubicBezTo>
                      <a:pt x="76" y="644"/>
                      <a:pt x="76" y="644"/>
                      <a:pt x="76" y="644"/>
                    </a:cubicBezTo>
                    <a:cubicBezTo>
                      <a:pt x="77" y="641"/>
                      <a:pt x="77" y="641"/>
                      <a:pt x="77" y="641"/>
                    </a:cubicBezTo>
                    <a:cubicBezTo>
                      <a:pt x="77" y="638"/>
                      <a:pt x="77" y="638"/>
                      <a:pt x="77" y="638"/>
                    </a:cubicBezTo>
                    <a:cubicBezTo>
                      <a:pt x="78" y="637"/>
                      <a:pt x="78" y="637"/>
                      <a:pt x="78" y="637"/>
                    </a:cubicBezTo>
                    <a:cubicBezTo>
                      <a:pt x="78" y="636"/>
                      <a:pt x="78" y="636"/>
                      <a:pt x="78" y="636"/>
                    </a:cubicBezTo>
                    <a:cubicBezTo>
                      <a:pt x="77" y="636"/>
                      <a:pt x="77" y="636"/>
                      <a:pt x="77" y="636"/>
                    </a:cubicBezTo>
                    <a:cubicBezTo>
                      <a:pt x="76" y="638"/>
                      <a:pt x="76" y="638"/>
                      <a:pt x="76" y="638"/>
                    </a:cubicBezTo>
                    <a:cubicBezTo>
                      <a:pt x="76" y="641"/>
                      <a:pt x="76" y="641"/>
                      <a:pt x="76" y="641"/>
                    </a:cubicBezTo>
                    <a:cubicBezTo>
                      <a:pt x="74" y="644"/>
                      <a:pt x="74" y="644"/>
                      <a:pt x="74" y="644"/>
                    </a:cubicBezTo>
                    <a:cubicBezTo>
                      <a:pt x="73" y="645"/>
                      <a:pt x="73" y="645"/>
                      <a:pt x="73" y="645"/>
                    </a:cubicBezTo>
                    <a:cubicBezTo>
                      <a:pt x="72" y="644"/>
                      <a:pt x="72" y="644"/>
                      <a:pt x="72" y="644"/>
                    </a:cubicBezTo>
                    <a:cubicBezTo>
                      <a:pt x="70" y="643"/>
                      <a:pt x="70" y="643"/>
                      <a:pt x="70" y="643"/>
                    </a:cubicBezTo>
                    <a:cubicBezTo>
                      <a:pt x="70" y="642"/>
                      <a:pt x="70" y="642"/>
                      <a:pt x="70" y="642"/>
                    </a:cubicBezTo>
                    <a:cubicBezTo>
                      <a:pt x="71" y="642"/>
                      <a:pt x="71" y="642"/>
                      <a:pt x="71" y="642"/>
                    </a:cubicBezTo>
                    <a:cubicBezTo>
                      <a:pt x="71" y="641"/>
                      <a:pt x="71" y="641"/>
                      <a:pt x="71" y="641"/>
                    </a:cubicBezTo>
                    <a:cubicBezTo>
                      <a:pt x="70" y="642"/>
                      <a:pt x="70" y="642"/>
                      <a:pt x="70" y="642"/>
                    </a:cubicBezTo>
                    <a:cubicBezTo>
                      <a:pt x="69" y="643"/>
                      <a:pt x="69" y="643"/>
                      <a:pt x="69" y="643"/>
                    </a:cubicBezTo>
                    <a:cubicBezTo>
                      <a:pt x="68" y="643"/>
                      <a:pt x="68" y="643"/>
                      <a:pt x="68" y="643"/>
                    </a:cubicBezTo>
                    <a:cubicBezTo>
                      <a:pt x="68" y="642"/>
                      <a:pt x="68" y="642"/>
                      <a:pt x="68" y="642"/>
                    </a:cubicBezTo>
                    <a:cubicBezTo>
                      <a:pt x="67" y="642"/>
                      <a:pt x="67" y="642"/>
                      <a:pt x="67" y="642"/>
                    </a:cubicBezTo>
                    <a:cubicBezTo>
                      <a:pt x="66" y="643"/>
                      <a:pt x="66" y="643"/>
                      <a:pt x="66" y="643"/>
                    </a:cubicBezTo>
                    <a:cubicBezTo>
                      <a:pt x="64" y="642"/>
                      <a:pt x="64" y="642"/>
                      <a:pt x="64" y="642"/>
                    </a:cubicBezTo>
                    <a:cubicBezTo>
                      <a:pt x="64" y="641"/>
                      <a:pt x="64" y="641"/>
                      <a:pt x="64" y="641"/>
                    </a:cubicBezTo>
                    <a:cubicBezTo>
                      <a:pt x="66" y="640"/>
                      <a:pt x="66" y="640"/>
                      <a:pt x="66" y="640"/>
                    </a:cubicBezTo>
                    <a:cubicBezTo>
                      <a:pt x="67" y="640"/>
                      <a:pt x="67" y="640"/>
                      <a:pt x="67" y="640"/>
                    </a:cubicBezTo>
                    <a:cubicBezTo>
                      <a:pt x="69" y="639"/>
                      <a:pt x="69" y="639"/>
                      <a:pt x="69" y="639"/>
                    </a:cubicBezTo>
                    <a:cubicBezTo>
                      <a:pt x="72" y="637"/>
                      <a:pt x="72" y="637"/>
                      <a:pt x="72" y="637"/>
                    </a:cubicBezTo>
                    <a:cubicBezTo>
                      <a:pt x="73" y="636"/>
                      <a:pt x="73" y="636"/>
                      <a:pt x="73" y="636"/>
                    </a:cubicBezTo>
                    <a:cubicBezTo>
                      <a:pt x="73" y="633"/>
                      <a:pt x="73" y="633"/>
                      <a:pt x="73" y="633"/>
                    </a:cubicBezTo>
                    <a:cubicBezTo>
                      <a:pt x="72" y="635"/>
                      <a:pt x="72" y="635"/>
                      <a:pt x="72" y="635"/>
                    </a:cubicBezTo>
                    <a:cubicBezTo>
                      <a:pt x="71" y="636"/>
                      <a:pt x="71" y="636"/>
                      <a:pt x="71" y="636"/>
                    </a:cubicBezTo>
                    <a:cubicBezTo>
                      <a:pt x="70" y="638"/>
                      <a:pt x="70" y="638"/>
                      <a:pt x="70" y="638"/>
                    </a:cubicBezTo>
                    <a:cubicBezTo>
                      <a:pt x="69" y="639"/>
                      <a:pt x="69" y="639"/>
                      <a:pt x="69" y="639"/>
                    </a:cubicBezTo>
                    <a:cubicBezTo>
                      <a:pt x="66" y="638"/>
                      <a:pt x="66" y="638"/>
                      <a:pt x="66" y="638"/>
                    </a:cubicBezTo>
                    <a:cubicBezTo>
                      <a:pt x="65" y="637"/>
                      <a:pt x="65" y="637"/>
                      <a:pt x="65" y="637"/>
                    </a:cubicBezTo>
                    <a:cubicBezTo>
                      <a:pt x="64" y="637"/>
                      <a:pt x="64" y="637"/>
                      <a:pt x="64" y="637"/>
                    </a:cubicBezTo>
                    <a:cubicBezTo>
                      <a:pt x="64" y="636"/>
                      <a:pt x="64" y="636"/>
                      <a:pt x="64" y="636"/>
                    </a:cubicBezTo>
                    <a:cubicBezTo>
                      <a:pt x="65" y="635"/>
                      <a:pt x="65" y="635"/>
                      <a:pt x="65" y="635"/>
                    </a:cubicBezTo>
                    <a:cubicBezTo>
                      <a:pt x="64" y="635"/>
                      <a:pt x="64" y="635"/>
                      <a:pt x="64" y="635"/>
                    </a:cubicBezTo>
                    <a:cubicBezTo>
                      <a:pt x="62" y="635"/>
                      <a:pt x="62" y="635"/>
                      <a:pt x="62" y="635"/>
                    </a:cubicBezTo>
                    <a:cubicBezTo>
                      <a:pt x="60" y="634"/>
                      <a:pt x="60" y="634"/>
                      <a:pt x="60" y="634"/>
                    </a:cubicBezTo>
                    <a:cubicBezTo>
                      <a:pt x="59" y="634"/>
                      <a:pt x="59" y="634"/>
                      <a:pt x="59" y="634"/>
                    </a:cubicBezTo>
                    <a:cubicBezTo>
                      <a:pt x="59" y="636"/>
                      <a:pt x="59" y="636"/>
                      <a:pt x="59" y="636"/>
                    </a:cubicBezTo>
                    <a:cubicBezTo>
                      <a:pt x="56" y="634"/>
                      <a:pt x="56" y="634"/>
                      <a:pt x="56" y="634"/>
                    </a:cubicBezTo>
                    <a:cubicBezTo>
                      <a:pt x="56" y="632"/>
                      <a:pt x="56" y="632"/>
                      <a:pt x="56" y="632"/>
                    </a:cubicBezTo>
                    <a:cubicBezTo>
                      <a:pt x="56" y="632"/>
                      <a:pt x="56" y="632"/>
                      <a:pt x="56" y="632"/>
                    </a:cubicBezTo>
                    <a:cubicBezTo>
                      <a:pt x="57" y="633"/>
                      <a:pt x="57" y="633"/>
                      <a:pt x="57" y="633"/>
                    </a:cubicBezTo>
                    <a:cubicBezTo>
                      <a:pt x="60" y="633"/>
                      <a:pt x="60" y="633"/>
                      <a:pt x="60" y="633"/>
                    </a:cubicBezTo>
                    <a:cubicBezTo>
                      <a:pt x="62" y="633"/>
                      <a:pt x="62" y="633"/>
                      <a:pt x="62" y="633"/>
                    </a:cubicBezTo>
                    <a:cubicBezTo>
                      <a:pt x="62" y="632"/>
                      <a:pt x="62" y="632"/>
                      <a:pt x="62" y="632"/>
                    </a:cubicBezTo>
                    <a:cubicBezTo>
                      <a:pt x="61" y="632"/>
                      <a:pt x="61" y="632"/>
                      <a:pt x="61" y="632"/>
                    </a:cubicBezTo>
                    <a:cubicBezTo>
                      <a:pt x="58" y="632"/>
                      <a:pt x="58" y="632"/>
                      <a:pt x="58" y="632"/>
                    </a:cubicBezTo>
                    <a:cubicBezTo>
                      <a:pt x="58" y="631"/>
                      <a:pt x="58" y="631"/>
                      <a:pt x="58" y="631"/>
                    </a:cubicBezTo>
                    <a:cubicBezTo>
                      <a:pt x="58" y="631"/>
                      <a:pt x="58" y="631"/>
                      <a:pt x="58" y="631"/>
                    </a:cubicBezTo>
                    <a:cubicBezTo>
                      <a:pt x="60" y="631"/>
                      <a:pt x="60" y="631"/>
                      <a:pt x="60" y="631"/>
                    </a:cubicBezTo>
                    <a:cubicBezTo>
                      <a:pt x="62" y="631"/>
                      <a:pt x="62" y="631"/>
                      <a:pt x="62" y="631"/>
                    </a:cubicBezTo>
                    <a:cubicBezTo>
                      <a:pt x="62" y="630"/>
                      <a:pt x="62" y="630"/>
                      <a:pt x="62" y="630"/>
                    </a:cubicBezTo>
                    <a:cubicBezTo>
                      <a:pt x="59" y="630"/>
                      <a:pt x="59" y="630"/>
                      <a:pt x="59" y="630"/>
                    </a:cubicBezTo>
                    <a:cubicBezTo>
                      <a:pt x="58" y="629"/>
                      <a:pt x="58" y="629"/>
                      <a:pt x="58" y="629"/>
                    </a:cubicBezTo>
                    <a:cubicBezTo>
                      <a:pt x="56" y="630"/>
                      <a:pt x="56" y="630"/>
                      <a:pt x="56" y="630"/>
                    </a:cubicBezTo>
                    <a:cubicBezTo>
                      <a:pt x="55" y="630"/>
                      <a:pt x="55" y="630"/>
                      <a:pt x="55" y="630"/>
                    </a:cubicBezTo>
                    <a:cubicBezTo>
                      <a:pt x="54" y="629"/>
                      <a:pt x="54" y="629"/>
                      <a:pt x="54" y="629"/>
                    </a:cubicBezTo>
                    <a:cubicBezTo>
                      <a:pt x="54" y="627"/>
                      <a:pt x="54" y="627"/>
                      <a:pt x="54" y="627"/>
                    </a:cubicBezTo>
                    <a:cubicBezTo>
                      <a:pt x="56" y="627"/>
                      <a:pt x="56" y="627"/>
                      <a:pt x="56" y="627"/>
                    </a:cubicBezTo>
                    <a:cubicBezTo>
                      <a:pt x="57" y="628"/>
                      <a:pt x="57" y="628"/>
                      <a:pt x="57" y="628"/>
                    </a:cubicBezTo>
                    <a:cubicBezTo>
                      <a:pt x="59" y="628"/>
                      <a:pt x="59" y="628"/>
                      <a:pt x="59" y="628"/>
                    </a:cubicBezTo>
                    <a:cubicBezTo>
                      <a:pt x="60" y="627"/>
                      <a:pt x="60" y="627"/>
                      <a:pt x="60" y="627"/>
                    </a:cubicBezTo>
                    <a:cubicBezTo>
                      <a:pt x="58" y="627"/>
                      <a:pt x="58" y="627"/>
                      <a:pt x="58" y="627"/>
                    </a:cubicBezTo>
                    <a:cubicBezTo>
                      <a:pt x="57" y="626"/>
                      <a:pt x="57" y="626"/>
                      <a:pt x="57" y="626"/>
                    </a:cubicBezTo>
                    <a:cubicBezTo>
                      <a:pt x="55" y="626"/>
                      <a:pt x="55" y="626"/>
                      <a:pt x="55" y="626"/>
                    </a:cubicBezTo>
                    <a:cubicBezTo>
                      <a:pt x="55" y="625"/>
                      <a:pt x="55" y="625"/>
                      <a:pt x="55" y="625"/>
                    </a:cubicBezTo>
                    <a:cubicBezTo>
                      <a:pt x="58" y="625"/>
                      <a:pt x="58" y="625"/>
                      <a:pt x="58" y="625"/>
                    </a:cubicBezTo>
                    <a:cubicBezTo>
                      <a:pt x="59" y="625"/>
                      <a:pt x="59" y="625"/>
                      <a:pt x="59" y="625"/>
                    </a:cubicBezTo>
                    <a:cubicBezTo>
                      <a:pt x="60" y="625"/>
                      <a:pt x="60" y="625"/>
                      <a:pt x="60" y="625"/>
                    </a:cubicBezTo>
                    <a:cubicBezTo>
                      <a:pt x="59" y="624"/>
                      <a:pt x="59" y="624"/>
                      <a:pt x="59" y="624"/>
                    </a:cubicBezTo>
                    <a:cubicBezTo>
                      <a:pt x="59" y="623"/>
                      <a:pt x="59" y="623"/>
                      <a:pt x="59" y="623"/>
                    </a:cubicBezTo>
                    <a:cubicBezTo>
                      <a:pt x="61" y="622"/>
                      <a:pt x="61" y="622"/>
                      <a:pt x="61" y="622"/>
                    </a:cubicBezTo>
                    <a:cubicBezTo>
                      <a:pt x="63" y="622"/>
                      <a:pt x="63" y="622"/>
                      <a:pt x="63" y="622"/>
                    </a:cubicBezTo>
                    <a:cubicBezTo>
                      <a:pt x="65" y="622"/>
                      <a:pt x="65" y="622"/>
                      <a:pt x="65" y="622"/>
                    </a:cubicBezTo>
                    <a:cubicBezTo>
                      <a:pt x="65" y="621"/>
                      <a:pt x="65" y="621"/>
                      <a:pt x="65" y="621"/>
                    </a:cubicBezTo>
                    <a:cubicBezTo>
                      <a:pt x="62" y="621"/>
                      <a:pt x="62" y="621"/>
                      <a:pt x="62" y="621"/>
                    </a:cubicBezTo>
                    <a:cubicBezTo>
                      <a:pt x="61" y="620"/>
                      <a:pt x="61" y="620"/>
                      <a:pt x="61" y="620"/>
                    </a:cubicBezTo>
                    <a:cubicBezTo>
                      <a:pt x="60" y="620"/>
                      <a:pt x="60" y="620"/>
                      <a:pt x="60" y="620"/>
                    </a:cubicBezTo>
                    <a:cubicBezTo>
                      <a:pt x="59" y="621"/>
                      <a:pt x="59" y="621"/>
                      <a:pt x="59" y="621"/>
                    </a:cubicBezTo>
                    <a:cubicBezTo>
                      <a:pt x="58" y="622"/>
                      <a:pt x="58" y="622"/>
                      <a:pt x="58" y="622"/>
                    </a:cubicBezTo>
                    <a:cubicBezTo>
                      <a:pt x="56" y="623"/>
                      <a:pt x="56" y="623"/>
                      <a:pt x="56" y="623"/>
                    </a:cubicBezTo>
                    <a:cubicBezTo>
                      <a:pt x="56" y="623"/>
                      <a:pt x="56" y="623"/>
                      <a:pt x="56" y="623"/>
                    </a:cubicBezTo>
                    <a:cubicBezTo>
                      <a:pt x="56" y="621"/>
                      <a:pt x="56" y="621"/>
                      <a:pt x="56" y="621"/>
                    </a:cubicBezTo>
                    <a:cubicBezTo>
                      <a:pt x="56" y="620"/>
                      <a:pt x="56" y="620"/>
                      <a:pt x="56" y="620"/>
                    </a:cubicBezTo>
                    <a:cubicBezTo>
                      <a:pt x="56" y="618"/>
                      <a:pt x="56" y="618"/>
                      <a:pt x="56" y="618"/>
                    </a:cubicBezTo>
                    <a:cubicBezTo>
                      <a:pt x="59" y="617"/>
                      <a:pt x="59" y="617"/>
                      <a:pt x="59" y="617"/>
                    </a:cubicBezTo>
                    <a:cubicBezTo>
                      <a:pt x="60" y="616"/>
                      <a:pt x="60" y="616"/>
                      <a:pt x="60" y="616"/>
                    </a:cubicBezTo>
                    <a:cubicBezTo>
                      <a:pt x="64" y="612"/>
                      <a:pt x="64" y="612"/>
                      <a:pt x="64" y="612"/>
                    </a:cubicBezTo>
                    <a:cubicBezTo>
                      <a:pt x="66" y="611"/>
                      <a:pt x="66" y="611"/>
                      <a:pt x="66" y="611"/>
                    </a:cubicBezTo>
                    <a:cubicBezTo>
                      <a:pt x="67" y="613"/>
                      <a:pt x="67" y="613"/>
                      <a:pt x="67" y="613"/>
                    </a:cubicBezTo>
                    <a:cubicBezTo>
                      <a:pt x="67" y="615"/>
                      <a:pt x="67" y="615"/>
                      <a:pt x="67" y="615"/>
                    </a:cubicBezTo>
                    <a:cubicBezTo>
                      <a:pt x="68" y="617"/>
                      <a:pt x="68" y="617"/>
                      <a:pt x="68" y="617"/>
                    </a:cubicBezTo>
                    <a:cubicBezTo>
                      <a:pt x="68" y="616"/>
                      <a:pt x="68" y="616"/>
                      <a:pt x="68" y="616"/>
                    </a:cubicBezTo>
                    <a:cubicBezTo>
                      <a:pt x="68" y="614"/>
                      <a:pt x="68" y="614"/>
                      <a:pt x="68" y="614"/>
                    </a:cubicBezTo>
                    <a:cubicBezTo>
                      <a:pt x="68" y="611"/>
                      <a:pt x="68" y="611"/>
                      <a:pt x="68" y="611"/>
                    </a:cubicBezTo>
                    <a:cubicBezTo>
                      <a:pt x="69" y="610"/>
                      <a:pt x="69" y="610"/>
                      <a:pt x="69" y="610"/>
                    </a:cubicBezTo>
                    <a:cubicBezTo>
                      <a:pt x="72" y="610"/>
                      <a:pt x="72" y="610"/>
                      <a:pt x="72" y="610"/>
                    </a:cubicBezTo>
                    <a:cubicBezTo>
                      <a:pt x="70" y="610"/>
                      <a:pt x="70" y="610"/>
                      <a:pt x="70" y="610"/>
                    </a:cubicBezTo>
                    <a:cubicBezTo>
                      <a:pt x="68" y="610"/>
                      <a:pt x="68" y="610"/>
                      <a:pt x="68" y="610"/>
                    </a:cubicBezTo>
                    <a:cubicBezTo>
                      <a:pt x="66" y="610"/>
                      <a:pt x="66" y="610"/>
                      <a:pt x="66" y="610"/>
                    </a:cubicBezTo>
                    <a:cubicBezTo>
                      <a:pt x="65" y="609"/>
                      <a:pt x="65" y="609"/>
                      <a:pt x="65" y="609"/>
                    </a:cubicBezTo>
                    <a:cubicBezTo>
                      <a:pt x="66" y="608"/>
                      <a:pt x="66" y="608"/>
                      <a:pt x="66" y="608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70" y="606"/>
                      <a:pt x="70" y="606"/>
                      <a:pt x="70" y="606"/>
                    </a:cubicBezTo>
                    <a:cubicBezTo>
                      <a:pt x="71" y="603"/>
                      <a:pt x="71" y="603"/>
                      <a:pt x="71" y="603"/>
                    </a:cubicBezTo>
                    <a:cubicBezTo>
                      <a:pt x="71" y="602"/>
                      <a:pt x="71" y="602"/>
                      <a:pt x="71" y="602"/>
                    </a:cubicBezTo>
                    <a:cubicBezTo>
                      <a:pt x="70" y="602"/>
                      <a:pt x="70" y="602"/>
                      <a:pt x="70" y="602"/>
                    </a:cubicBezTo>
                    <a:cubicBezTo>
                      <a:pt x="70" y="604"/>
                      <a:pt x="70" y="604"/>
                      <a:pt x="70" y="604"/>
                    </a:cubicBezTo>
                    <a:cubicBezTo>
                      <a:pt x="68" y="605"/>
                      <a:pt x="68" y="605"/>
                      <a:pt x="68" y="605"/>
                    </a:cubicBezTo>
                    <a:cubicBezTo>
                      <a:pt x="66" y="605"/>
                      <a:pt x="66" y="605"/>
                      <a:pt x="66" y="605"/>
                    </a:cubicBezTo>
                    <a:cubicBezTo>
                      <a:pt x="64" y="608"/>
                      <a:pt x="64" y="608"/>
                      <a:pt x="64" y="608"/>
                    </a:cubicBezTo>
                    <a:cubicBezTo>
                      <a:pt x="62" y="610"/>
                      <a:pt x="62" y="610"/>
                      <a:pt x="62" y="610"/>
                    </a:cubicBezTo>
                    <a:cubicBezTo>
                      <a:pt x="59" y="611"/>
                      <a:pt x="59" y="611"/>
                      <a:pt x="59" y="611"/>
                    </a:cubicBezTo>
                    <a:cubicBezTo>
                      <a:pt x="58" y="609"/>
                      <a:pt x="58" y="609"/>
                      <a:pt x="58" y="609"/>
                    </a:cubicBezTo>
                    <a:cubicBezTo>
                      <a:pt x="58" y="608"/>
                      <a:pt x="58" y="608"/>
                      <a:pt x="58" y="608"/>
                    </a:cubicBezTo>
                    <a:cubicBezTo>
                      <a:pt x="59" y="608"/>
                      <a:pt x="59" y="608"/>
                      <a:pt x="59" y="608"/>
                    </a:cubicBezTo>
                    <a:cubicBezTo>
                      <a:pt x="58" y="608"/>
                      <a:pt x="58" y="608"/>
                      <a:pt x="58" y="608"/>
                    </a:cubicBezTo>
                    <a:cubicBezTo>
                      <a:pt x="55" y="609"/>
                      <a:pt x="55" y="609"/>
                      <a:pt x="55" y="609"/>
                    </a:cubicBezTo>
                    <a:cubicBezTo>
                      <a:pt x="54" y="608"/>
                      <a:pt x="54" y="608"/>
                      <a:pt x="54" y="608"/>
                    </a:cubicBezTo>
                    <a:cubicBezTo>
                      <a:pt x="55" y="607"/>
                      <a:pt x="55" y="607"/>
                      <a:pt x="55" y="607"/>
                    </a:cubicBezTo>
                    <a:cubicBezTo>
                      <a:pt x="57" y="605"/>
                      <a:pt x="57" y="605"/>
                      <a:pt x="57" y="605"/>
                    </a:cubicBezTo>
                    <a:cubicBezTo>
                      <a:pt x="59" y="604"/>
                      <a:pt x="59" y="604"/>
                      <a:pt x="59" y="604"/>
                    </a:cubicBezTo>
                    <a:cubicBezTo>
                      <a:pt x="60" y="605"/>
                      <a:pt x="60" y="605"/>
                      <a:pt x="60" y="605"/>
                    </a:cubicBezTo>
                    <a:cubicBezTo>
                      <a:pt x="61" y="604"/>
                      <a:pt x="61" y="604"/>
                      <a:pt x="61" y="604"/>
                    </a:cubicBezTo>
                    <a:cubicBezTo>
                      <a:pt x="61" y="603"/>
                      <a:pt x="61" y="603"/>
                      <a:pt x="61" y="603"/>
                    </a:cubicBezTo>
                    <a:cubicBezTo>
                      <a:pt x="60" y="602"/>
                      <a:pt x="60" y="602"/>
                      <a:pt x="60" y="602"/>
                    </a:cubicBezTo>
                    <a:cubicBezTo>
                      <a:pt x="60" y="601"/>
                      <a:pt x="60" y="601"/>
                      <a:pt x="60" y="601"/>
                    </a:cubicBezTo>
                    <a:cubicBezTo>
                      <a:pt x="61" y="600"/>
                      <a:pt x="61" y="600"/>
                      <a:pt x="61" y="600"/>
                    </a:cubicBezTo>
                    <a:cubicBezTo>
                      <a:pt x="60" y="600"/>
                      <a:pt x="60" y="600"/>
                      <a:pt x="60" y="600"/>
                    </a:cubicBezTo>
                    <a:cubicBezTo>
                      <a:pt x="59" y="600"/>
                      <a:pt x="59" y="600"/>
                      <a:pt x="59" y="600"/>
                    </a:cubicBezTo>
                    <a:cubicBezTo>
                      <a:pt x="58" y="600"/>
                      <a:pt x="58" y="600"/>
                      <a:pt x="58" y="600"/>
                    </a:cubicBezTo>
                    <a:cubicBezTo>
                      <a:pt x="57" y="599"/>
                      <a:pt x="57" y="599"/>
                      <a:pt x="57" y="599"/>
                    </a:cubicBezTo>
                    <a:cubicBezTo>
                      <a:pt x="57" y="595"/>
                      <a:pt x="57" y="595"/>
                      <a:pt x="57" y="595"/>
                    </a:cubicBezTo>
                    <a:cubicBezTo>
                      <a:pt x="56" y="593"/>
                      <a:pt x="56" y="593"/>
                      <a:pt x="56" y="593"/>
                    </a:cubicBezTo>
                    <a:cubicBezTo>
                      <a:pt x="56" y="592"/>
                      <a:pt x="56" y="592"/>
                      <a:pt x="56" y="592"/>
                    </a:cubicBezTo>
                    <a:cubicBezTo>
                      <a:pt x="57" y="590"/>
                      <a:pt x="57" y="590"/>
                      <a:pt x="57" y="590"/>
                    </a:cubicBezTo>
                    <a:cubicBezTo>
                      <a:pt x="59" y="591"/>
                      <a:pt x="59" y="591"/>
                      <a:pt x="59" y="591"/>
                    </a:cubicBezTo>
                    <a:cubicBezTo>
                      <a:pt x="61" y="591"/>
                      <a:pt x="61" y="591"/>
                      <a:pt x="61" y="591"/>
                    </a:cubicBezTo>
                    <a:cubicBezTo>
                      <a:pt x="63" y="591"/>
                      <a:pt x="63" y="591"/>
                      <a:pt x="63" y="591"/>
                    </a:cubicBezTo>
                    <a:cubicBezTo>
                      <a:pt x="65" y="592"/>
                      <a:pt x="65" y="592"/>
                      <a:pt x="65" y="592"/>
                    </a:cubicBezTo>
                    <a:cubicBezTo>
                      <a:pt x="65" y="591"/>
                      <a:pt x="65" y="591"/>
                      <a:pt x="65" y="591"/>
                    </a:cubicBezTo>
                    <a:cubicBezTo>
                      <a:pt x="63" y="591"/>
                      <a:pt x="63" y="591"/>
                      <a:pt x="63" y="591"/>
                    </a:cubicBezTo>
                    <a:cubicBezTo>
                      <a:pt x="61" y="591"/>
                      <a:pt x="61" y="591"/>
                      <a:pt x="61" y="591"/>
                    </a:cubicBezTo>
                    <a:cubicBezTo>
                      <a:pt x="60" y="589"/>
                      <a:pt x="60" y="589"/>
                      <a:pt x="60" y="589"/>
                    </a:cubicBezTo>
                    <a:cubicBezTo>
                      <a:pt x="58" y="588"/>
                      <a:pt x="58" y="588"/>
                      <a:pt x="58" y="588"/>
                    </a:cubicBezTo>
                    <a:cubicBezTo>
                      <a:pt x="58" y="587"/>
                      <a:pt x="58" y="587"/>
                      <a:pt x="58" y="587"/>
                    </a:cubicBezTo>
                    <a:cubicBezTo>
                      <a:pt x="59" y="585"/>
                      <a:pt x="59" y="585"/>
                      <a:pt x="59" y="585"/>
                    </a:cubicBezTo>
                    <a:cubicBezTo>
                      <a:pt x="61" y="585"/>
                      <a:pt x="61" y="585"/>
                      <a:pt x="61" y="585"/>
                    </a:cubicBezTo>
                    <a:cubicBezTo>
                      <a:pt x="61" y="583"/>
                      <a:pt x="61" y="583"/>
                      <a:pt x="61" y="583"/>
                    </a:cubicBezTo>
                    <a:cubicBezTo>
                      <a:pt x="61" y="581"/>
                      <a:pt x="61" y="581"/>
                      <a:pt x="61" y="581"/>
                    </a:cubicBezTo>
                    <a:cubicBezTo>
                      <a:pt x="61" y="581"/>
                      <a:pt x="61" y="581"/>
                      <a:pt x="61" y="581"/>
                    </a:cubicBezTo>
                    <a:cubicBezTo>
                      <a:pt x="59" y="583"/>
                      <a:pt x="59" y="583"/>
                      <a:pt x="59" y="583"/>
                    </a:cubicBezTo>
                    <a:cubicBezTo>
                      <a:pt x="57" y="584"/>
                      <a:pt x="57" y="584"/>
                      <a:pt x="57" y="584"/>
                    </a:cubicBezTo>
                    <a:cubicBezTo>
                      <a:pt x="54" y="585"/>
                      <a:pt x="54" y="585"/>
                      <a:pt x="54" y="585"/>
                    </a:cubicBezTo>
                    <a:cubicBezTo>
                      <a:pt x="53" y="587"/>
                      <a:pt x="53" y="587"/>
                      <a:pt x="53" y="587"/>
                    </a:cubicBezTo>
                    <a:cubicBezTo>
                      <a:pt x="52" y="588"/>
                      <a:pt x="52" y="588"/>
                      <a:pt x="52" y="588"/>
                    </a:cubicBezTo>
                    <a:cubicBezTo>
                      <a:pt x="51" y="588"/>
                      <a:pt x="51" y="588"/>
                      <a:pt x="51" y="588"/>
                    </a:cubicBezTo>
                    <a:cubicBezTo>
                      <a:pt x="50" y="585"/>
                      <a:pt x="50" y="585"/>
                      <a:pt x="50" y="585"/>
                    </a:cubicBezTo>
                    <a:cubicBezTo>
                      <a:pt x="49" y="582"/>
                      <a:pt x="49" y="582"/>
                      <a:pt x="49" y="582"/>
                    </a:cubicBezTo>
                    <a:cubicBezTo>
                      <a:pt x="49" y="577"/>
                      <a:pt x="49" y="577"/>
                      <a:pt x="49" y="577"/>
                    </a:cubicBezTo>
                    <a:cubicBezTo>
                      <a:pt x="50" y="574"/>
                      <a:pt x="50" y="574"/>
                      <a:pt x="50" y="574"/>
                    </a:cubicBezTo>
                    <a:cubicBezTo>
                      <a:pt x="50" y="573"/>
                      <a:pt x="50" y="573"/>
                      <a:pt x="50" y="573"/>
                    </a:cubicBezTo>
                    <a:cubicBezTo>
                      <a:pt x="48" y="573"/>
                      <a:pt x="48" y="573"/>
                      <a:pt x="48" y="573"/>
                    </a:cubicBezTo>
                    <a:cubicBezTo>
                      <a:pt x="48" y="570"/>
                      <a:pt x="48" y="570"/>
                      <a:pt x="48" y="570"/>
                    </a:cubicBezTo>
                    <a:cubicBezTo>
                      <a:pt x="50" y="569"/>
                      <a:pt x="50" y="569"/>
                      <a:pt x="50" y="569"/>
                    </a:cubicBezTo>
                    <a:cubicBezTo>
                      <a:pt x="50" y="570"/>
                      <a:pt x="50" y="570"/>
                      <a:pt x="50" y="570"/>
                    </a:cubicBezTo>
                    <a:cubicBezTo>
                      <a:pt x="51" y="570"/>
                      <a:pt x="51" y="570"/>
                      <a:pt x="51" y="570"/>
                    </a:cubicBezTo>
                    <a:cubicBezTo>
                      <a:pt x="51" y="568"/>
                      <a:pt x="51" y="568"/>
                      <a:pt x="51" y="568"/>
                    </a:cubicBezTo>
                    <a:cubicBezTo>
                      <a:pt x="53" y="567"/>
                      <a:pt x="53" y="567"/>
                      <a:pt x="53" y="567"/>
                    </a:cubicBezTo>
                    <a:cubicBezTo>
                      <a:pt x="54" y="564"/>
                      <a:pt x="54" y="564"/>
                      <a:pt x="54" y="564"/>
                    </a:cubicBezTo>
                    <a:cubicBezTo>
                      <a:pt x="55" y="564"/>
                      <a:pt x="55" y="564"/>
                      <a:pt x="55" y="564"/>
                    </a:cubicBezTo>
                    <a:cubicBezTo>
                      <a:pt x="58" y="564"/>
                      <a:pt x="58" y="564"/>
                      <a:pt x="58" y="564"/>
                    </a:cubicBezTo>
                    <a:cubicBezTo>
                      <a:pt x="59" y="563"/>
                      <a:pt x="59" y="563"/>
                      <a:pt x="59" y="563"/>
                    </a:cubicBezTo>
                    <a:cubicBezTo>
                      <a:pt x="57" y="563"/>
                      <a:pt x="57" y="563"/>
                      <a:pt x="57" y="563"/>
                    </a:cubicBezTo>
                    <a:cubicBezTo>
                      <a:pt x="57" y="562"/>
                      <a:pt x="57" y="562"/>
                      <a:pt x="57" y="562"/>
                    </a:cubicBezTo>
                    <a:cubicBezTo>
                      <a:pt x="60" y="559"/>
                      <a:pt x="60" y="559"/>
                      <a:pt x="60" y="559"/>
                    </a:cubicBezTo>
                    <a:cubicBezTo>
                      <a:pt x="61" y="557"/>
                      <a:pt x="61" y="557"/>
                      <a:pt x="61" y="557"/>
                    </a:cubicBezTo>
                    <a:cubicBezTo>
                      <a:pt x="63" y="556"/>
                      <a:pt x="63" y="556"/>
                      <a:pt x="63" y="556"/>
                    </a:cubicBezTo>
                    <a:cubicBezTo>
                      <a:pt x="64" y="555"/>
                      <a:pt x="64" y="555"/>
                      <a:pt x="64" y="555"/>
                    </a:cubicBezTo>
                    <a:cubicBezTo>
                      <a:pt x="62" y="555"/>
                      <a:pt x="62" y="555"/>
                      <a:pt x="62" y="555"/>
                    </a:cubicBezTo>
                    <a:cubicBezTo>
                      <a:pt x="62" y="554"/>
                      <a:pt x="62" y="554"/>
                      <a:pt x="62" y="554"/>
                    </a:cubicBezTo>
                    <a:cubicBezTo>
                      <a:pt x="60" y="556"/>
                      <a:pt x="60" y="556"/>
                      <a:pt x="60" y="556"/>
                    </a:cubicBezTo>
                    <a:cubicBezTo>
                      <a:pt x="59" y="558"/>
                      <a:pt x="59" y="558"/>
                      <a:pt x="59" y="558"/>
                    </a:cubicBezTo>
                    <a:cubicBezTo>
                      <a:pt x="56" y="561"/>
                      <a:pt x="56" y="561"/>
                      <a:pt x="56" y="561"/>
                    </a:cubicBezTo>
                    <a:cubicBezTo>
                      <a:pt x="56" y="561"/>
                      <a:pt x="56" y="561"/>
                      <a:pt x="56" y="561"/>
                    </a:cubicBezTo>
                    <a:cubicBezTo>
                      <a:pt x="56" y="560"/>
                      <a:pt x="56" y="560"/>
                      <a:pt x="56" y="560"/>
                    </a:cubicBezTo>
                    <a:cubicBezTo>
                      <a:pt x="58" y="557"/>
                      <a:pt x="58" y="557"/>
                      <a:pt x="58" y="557"/>
                    </a:cubicBezTo>
                    <a:cubicBezTo>
                      <a:pt x="58" y="554"/>
                      <a:pt x="58" y="554"/>
                      <a:pt x="58" y="554"/>
                    </a:cubicBezTo>
                    <a:cubicBezTo>
                      <a:pt x="61" y="549"/>
                      <a:pt x="61" y="549"/>
                      <a:pt x="61" y="549"/>
                    </a:cubicBezTo>
                    <a:cubicBezTo>
                      <a:pt x="62" y="547"/>
                      <a:pt x="62" y="547"/>
                      <a:pt x="62" y="547"/>
                    </a:cubicBezTo>
                    <a:cubicBezTo>
                      <a:pt x="61" y="547"/>
                      <a:pt x="61" y="547"/>
                      <a:pt x="61" y="547"/>
                    </a:cubicBezTo>
                    <a:cubicBezTo>
                      <a:pt x="61" y="546"/>
                      <a:pt x="61" y="546"/>
                      <a:pt x="61" y="546"/>
                    </a:cubicBezTo>
                    <a:cubicBezTo>
                      <a:pt x="61" y="545"/>
                      <a:pt x="61" y="545"/>
                      <a:pt x="61" y="545"/>
                    </a:cubicBezTo>
                    <a:cubicBezTo>
                      <a:pt x="62" y="544"/>
                      <a:pt x="62" y="544"/>
                      <a:pt x="62" y="544"/>
                    </a:cubicBezTo>
                    <a:cubicBezTo>
                      <a:pt x="62" y="543"/>
                      <a:pt x="62" y="543"/>
                      <a:pt x="62" y="543"/>
                    </a:cubicBezTo>
                    <a:cubicBezTo>
                      <a:pt x="62" y="543"/>
                      <a:pt x="62" y="543"/>
                      <a:pt x="62" y="543"/>
                    </a:cubicBezTo>
                    <a:cubicBezTo>
                      <a:pt x="62" y="542"/>
                      <a:pt x="62" y="542"/>
                      <a:pt x="62" y="542"/>
                    </a:cubicBezTo>
                    <a:cubicBezTo>
                      <a:pt x="61" y="541"/>
                      <a:pt x="61" y="541"/>
                      <a:pt x="61" y="541"/>
                    </a:cubicBezTo>
                    <a:cubicBezTo>
                      <a:pt x="61" y="539"/>
                      <a:pt x="61" y="539"/>
                      <a:pt x="61" y="539"/>
                    </a:cubicBezTo>
                    <a:cubicBezTo>
                      <a:pt x="60" y="537"/>
                      <a:pt x="60" y="537"/>
                      <a:pt x="60" y="537"/>
                    </a:cubicBezTo>
                    <a:cubicBezTo>
                      <a:pt x="58" y="536"/>
                      <a:pt x="58" y="536"/>
                      <a:pt x="58" y="536"/>
                    </a:cubicBezTo>
                    <a:cubicBezTo>
                      <a:pt x="56" y="535"/>
                      <a:pt x="56" y="535"/>
                      <a:pt x="56" y="535"/>
                    </a:cubicBezTo>
                    <a:cubicBezTo>
                      <a:pt x="56" y="533"/>
                      <a:pt x="56" y="533"/>
                      <a:pt x="56" y="533"/>
                    </a:cubicBezTo>
                    <a:cubicBezTo>
                      <a:pt x="54" y="531"/>
                      <a:pt x="54" y="531"/>
                      <a:pt x="54" y="531"/>
                    </a:cubicBezTo>
                    <a:cubicBezTo>
                      <a:pt x="53" y="530"/>
                      <a:pt x="53" y="530"/>
                      <a:pt x="53" y="530"/>
                    </a:cubicBezTo>
                    <a:cubicBezTo>
                      <a:pt x="51" y="530"/>
                      <a:pt x="51" y="530"/>
                      <a:pt x="51" y="530"/>
                    </a:cubicBezTo>
                    <a:cubicBezTo>
                      <a:pt x="51" y="530"/>
                      <a:pt x="51" y="530"/>
                      <a:pt x="51" y="530"/>
                    </a:cubicBezTo>
                    <a:cubicBezTo>
                      <a:pt x="52" y="529"/>
                      <a:pt x="52" y="529"/>
                      <a:pt x="52" y="529"/>
                    </a:cubicBezTo>
                    <a:cubicBezTo>
                      <a:pt x="51" y="527"/>
                      <a:pt x="51" y="527"/>
                      <a:pt x="51" y="527"/>
                    </a:cubicBezTo>
                    <a:cubicBezTo>
                      <a:pt x="51" y="526"/>
                      <a:pt x="51" y="526"/>
                      <a:pt x="51" y="526"/>
                    </a:cubicBezTo>
                    <a:cubicBezTo>
                      <a:pt x="50" y="525"/>
                      <a:pt x="50" y="525"/>
                      <a:pt x="50" y="525"/>
                    </a:cubicBezTo>
                    <a:cubicBezTo>
                      <a:pt x="51" y="524"/>
                      <a:pt x="51" y="524"/>
                      <a:pt x="51" y="524"/>
                    </a:cubicBezTo>
                    <a:cubicBezTo>
                      <a:pt x="52" y="524"/>
                      <a:pt x="52" y="524"/>
                      <a:pt x="52" y="524"/>
                    </a:cubicBezTo>
                    <a:cubicBezTo>
                      <a:pt x="52" y="523"/>
                      <a:pt x="52" y="523"/>
                      <a:pt x="52" y="523"/>
                    </a:cubicBezTo>
                    <a:cubicBezTo>
                      <a:pt x="50" y="522"/>
                      <a:pt x="50" y="522"/>
                      <a:pt x="50" y="522"/>
                    </a:cubicBezTo>
                    <a:cubicBezTo>
                      <a:pt x="49" y="522"/>
                      <a:pt x="49" y="522"/>
                      <a:pt x="49" y="522"/>
                    </a:cubicBezTo>
                    <a:cubicBezTo>
                      <a:pt x="49" y="521"/>
                      <a:pt x="49" y="521"/>
                      <a:pt x="49" y="521"/>
                    </a:cubicBezTo>
                    <a:cubicBezTo>
                      <a:pt x="51" y="520"/>
                      <a:pt x="51" y="520"/>
                      <a:pt x="51" y="520"/>
                    </a:cubicBezTo>
                    <a:cubicBezTo>
                      <a:pt x="51" y="513"/>
                      <a:pt x="51" y="513"/>
                      <a:pt x="51" y="513"/>
                    </a:cubicBezTo>
                    <a:cubicBezTo>
                      <a:pt x="51" y="506"/>
                      <a:pt x="51" y="506"/>
                      <a:pt x="51" y="506"/>
                    </a:cubicBezTo>
                    <a:cubicBezTo>
                      <a:pt x="51" y="500"/>
                      <a:pt x="51" y="500"/>
                      <a:pt x="51" y="500"/>
                    </a:cubicBezTo>
                    <a:cubicBezTo>
                      <a:pt x="51" y="498"/>
                      <a:pt x="51" y="498"/>
                      <a:pt x="51" y="498"/>
                    </a:cubicBezTo>
                    <a:cubicBezTo>
                      <a:pt x="51" y="497"/>
                      <a:pt x="51" y="497"/>
                      <a:pt x="51" y="497"/>
                    </a:cubicBezTo>
                    <a:cubicBezTo>
                      <a:pt x="52" y="495"/>
                      <a:pt x="52" y="495"/>
                      <a:pt x="52" y="495"/>
                    </a:cubicBezTo>
                    <a:cubicBezTo>
                      <a:pt x="51" y="493"/>
                      <a:pt x="51" y="493"/>
                      <a:pt x="51" y="493"/>
                    </a:cubicBezTo>
                    <a:cubicBezTo>
                      <a:pt x="50" y="491"/>
                      <a:pt x="50" y="491"/>
                      <a:pt x="50" y="491"/>
                    </a:cubicBezTo>
                    <a:cubicBezTo>
                      <a:pt x="50" y="488"/>
                      <a:pt x="50" y="488"/>
                      <a:pt x="50" y="488"/>
                    </a:cubicBezTo>
                    <a:cubicBezTo>
                      <a:pt x="48" y="485"/>
                      <a:pt x="48" y="485"/>
                      <a:pt x="48" y="485"/>
                    </a:cubicBezTo>
                    <a:cubicBezTo>
                      <a:pt x="47" y="482"/>
                      <a:pt x="47" y="482"/>
                      <a:pt x="47" y="482"/>
                    </a:cubicBezTo>
                    <a:cubicBezTo>
                      <a:pt x="48" y="480"/>
                      <a:pt x="48" y="480"/>
                      <a:pt x="48" y="480"/>
                    </a:cubicBezTo>
                    <a:cubicBezTo>
                      <a:pt x="46" y="474"/>
                      <a:pt x="46" y="474"/>
                      <a:pt x="46" y="474"/>
                    </a:cubicBezTo>
                    <a:cubicBezTo>
                      <a:pt x="46" y="473"/>
                      <a:pt x="46" y="473"/>
                      <a:pt x="46" y="473"/>
                    </a:cubicBezTo>
                    <a:cubicBezTo>
                      <a:pt x="48" y="470"/>
                      <a:pt x="48" y="470"/>
                      <a:pt x="48" y="470"/>
                    </a:cubicBezTo>
                    <a:cubicBezTo>
                      <a:pt x="47" y="469"/>
                      <a:pt x="47" y="469"/>
                      <a:pt x="47" y="469"/>
                    </a:cubicBezTo>
                    <a:cubicBezTo>
                      <a:pt x="47" y="467"/>
                      <a:pt x="47" y="467"/>
                      <a:pt x="47" y="467"/>
                    </a:cubicBezTo>
                    <a:cubicBezTo>
                      <a:pt x="45" y="465"/>
                      <a:pt x="45" y="465"/>
                      <a:pt x="45" y="465"/>
                    </a:cubicBezTo>
                    <a:cubicBezTo>
                      <a:pt x="42" y="466"/>
                      <a:pt x="42" y="466"/>
                      <a:pt x="42" y="466"/>
                    </a:cubicBezTo>
                    <a:cubicBezTo>
                      <a:pt x="39" y="467"/>
                      <a:pt x="39" y="467"/>
                      <a:pt x="39" y="467"/>
                    </a:cubicBezTo>
                    <a:cubicBezTo>
                      <a:pt x="38" y="467"/>
                      <a:pt x="38" y="467"/>
                      <a:pt x="38" y="467"/>
                    </a:cubicBezTo>
                    <a:cubicBezTo>
                      <a:pt x="34" y="468"/>
                      <a:pt x="34" y="468"/>
                      <a:pt x="34" y="468"/>
                    </a:cubicBezTo>
                    <a:cubicBezTo>
                      <a:pt x="32" y="470"/>
                      <a:pt x="32" y="470"/>
                      <a:pt x="32" y="470"/>
                    </a:cubicBezTo>
                    <a:cubicBezTo>
                      <a:pt x="30" y="475"/>
                      <a:pt x="30" y="475"/>
                      <a:pt x="30" y="475"/>
                    </a:cubicBezTo>
                    <a:cubicBezTo>
                      <a:pt x="27" y="476"/>
                      <a:pt x="27" y="476"/>
                      <a:pt x="27" y="476"/>
                    </a:cubicBezTo>
                    <a:cubicBezTo>
                      <a:pt x="24" y="476"/>
                      <a:pt x="24" y="476"/>
                      <a:pt x="24" y="476"/>
                    </a:cubicBezTo>
                    <a:cubicBezTo>
                      <a:pt x="20" y="477"/>
                      <a:pt x="20" y="477"/>
                      <a:pt x="20" y="477"/>
                    </a:cubicBezTo>
                    <a:cubicBezTo>
                      <a:pt x="20" y="477"/>
                      <a:pt x="20" y="477"/>
                      <a:pt x="20" y="477"/>
                    </a:cubicBezTo>
                    <a:cubicBezTo>
                      <a:pt x="20" y="476"/>
                      <a:pt x="20" y="476"/>
                      <a:pt x="20" y="476"/>
                    </a:cubicBezTo>
                    <a:cubicBezTo>
                      <a:pt x="21" y="473"/>
                      <a:pt x="21" y="473"/>
                      <a:pt x="21" y="473"/>
                    </a:cubicBezTo>
                    <a:cubicBezTo>
                      <a:pt x="20" y="470"/>
                      <a:pt x="20" y="470"/>
                      <a:pt x="20" y="470"/>
                    </a:cubicBezTo>
                    <a:cubicBezTo>
                      <a:pt x="18" y="459"/>
                      <a:pt x="18" y="459"/>
                      <a:pt x="18" y="459"/>
                    </a:cubicBezTo>
                    <a:cubicBezTo>
                      <a:pt x="16" y="454"/>
                      <a:pt x="16" y="454"/>
                      <a:pt x="16" y="454"/>
                    </a:cubicBezTo>
                    <a:cubicBezTo>
                      <a:pt x="15" y="451"/>
                      <a:pt x="15" y="451"/>
                      <a:pt x="15" y="451"/>
                    </a:cubicBezTo>
                    <a:cubicBezTo>
                      <a:pt x="17" y="447"/>
                      <a:pt x="17" y="447"/>
                      <a:pt x="17" y="447"/>
                    </a:cubicBezTo>
                    <a:cubicBezTo>
                      <a:pt x="12" y="446"/>
                      <a:pt x="12" y="446"/>
                      <a:pt x="12" y="446"/>
                    </a:cubicBezTo>
                    <a:cubicBezTo>
                      <a:pt x="9" y="448"/>
                      <a:pt x="9" y="448"/>
                      <a:pt x="9" y="448"/>
                    </a:cubicBezTo>
                    <a:cubicBezTo>
                      <a:pt x="7" y="447"/>
                      <a:pt x="7" y="447"/>
                      <a:pt x="7" y="447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13" y="239"/>
                      <a:pt x="113" y="239"/>
                      <a:pt x="113" y="239"/>
                    </a:cubicBezTo>
                    <a:cubicBezTo>
                      <a:pt x="114" y="239"/>
                      <a:pt x="114" y="239"/>
                      <a:pt x="114" y="239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1" y="243"/>
                      <a:pt x="121" y="243"/>
                      <a:pt x="121" y="243"/>
                    </a:cubicBezTo>
                    <a:cubicBezTo>
                      <a:pt x="123" y="245"/>
                      <a:pt x="123" y="245"/>
                      <a:pt x="123" y="245"/>
                    </a:cubicBez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6" y="248"/>
                      <a:pt x="126" y="248"/>
                      <a:pt x="126" y="248"/>
                    </a:cubicBezTo>
                    <a:cubicBezTo>
                      <a:pt x="126" y="250"/>
                      <a:pt x="126" y="250"/>
                      <a:pt x="126" y="250"/>
                    </a:cubicBezTo>
                    <a:cubicBezTo>
                      <a:pt x="128" y="252"/>
                      <a:pt x="128" y="252"/>
                      <a:pt x="128" y="252"/>
                    </a:cubicBezTo>
                    <a:cubicBezTo>
                      <a:pt x="128" y="253"/>
                      <a:pt x="128" y="253"/>
                      <a:pt x="128" y="253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7" y="256"/>
                      <a:pt x="127" y="256"/>
                      <a:pt x="127" y="256"/>
                    </a:cubicBezTo>
                    <a:cubicBezTo>
                      <a:pt x="128" y="258"/>
                      <a:pt x="128" y="258"/>
                      <a:pt x="128" y="258"/>
                    </a:cubicBezTo>
                    <a:cubicBezTo>
                      <a:pt x="129" y="258"/>
                      <a:pt x="129" y="258"/>
                      <a:pt x="129" y="258"/>
                    </a:cubicBezTo>
                    <a:cubicBezTo>
                      <a:pt x="130" y="257"/>
                      <a:pt x="130" y="257"/>
                      <a:pt x="130" y="257"/>
                    </a:cubicBezTo>
                    <a:cubicBezTo>
                      <a:pt x="130" y="258"/>
                      <a:pt x="130" y="258"/>
                      <a:pt x="130" y="258"/>
                    </a:cubicBezTo>
                    <a:cubicBezTo>
                      <a:pt x="130" y="261"/>
                      <a:pt x="130" y="261"/>
                      <a:pt x="130" y="261"/>
                    </a:cubicBezTo>
                    <a:cubicBezTo>
                      <a:pt x="131" y="264"/>
                      <a:pt x="131" y="264"/>
                      <a:pt x="131" y="264"/>
                    </a:cubicBezTo>
                    <a:cubicBezTo>
                      <a:pt x="134" y="267"/>
                      <a:pt x="134" y="267"/>
                      <a:pt x="134" y="267"/>
                    </a:cubicBezTo>
                    <a:cubicBezTo>
                      <a:pt x="136" y="269"/>
                      <a:pt x="136" y="269"/>
                      <a:pt x="136" y="269"/>
                    </a:cubicBezTo>
                    <a:cubicBezTo>
                      <a:pt x="137" y="268"/>
                      <a:pt x="137" y="268"/>
                      <a:pt x="137" y="268"/>
                    </a:cubicBezTo>
                    <a:cubicBezTo>
                      <a:pt x="138" y="269"/>
                      <a:pt x="138" y="269"/>
                      <a:pt x="138" y="269"/>
                    </a:cubicBezTo>
                    <a:cubicBezTo>
                      <a:pt x="138" y="270"/>
                      <a:pt x="138" y="270"/>
                      <a:pt x="138" y="270"/>
                    </a:cubicBezTo>
                    <a:cubicBezTo>
                      <a:pt x="140" y="271"/>
                      <a:pt x="140" y="271"/>
                      <a:pt x="140" y="271"/>
                    </a:cubicBezTo>
                    <a:cubicBezTo>
                      <a:pt x="140" y="271"/>
                      <a:pt x="140" y="271"/>
                      <a:pt x="140" y="271"/>
                    </a:cubicBezTo>
                    <a:cubicBezTo>
                      <a:pt x="142" y="274"/>
                      <a:pt x="142" y="274"/>
                      <a:pt x="142" y="274"/>
                    </a:cubicBezTo>
                    <a:cubicBezTo>
                      <a:pt x="142" y="277"/>
                      <a:pt x="142" y="277"/>
                      <a:pt x="142" y="277"/>
                    </a:cubicBezTo>
                    <a:cubicBezTo>
                      <a:pt x="143" y="277"/>
                      <a:pt x="143" y="277"/>
                      <a:pt x="143" y="277"/>
                    </a:cubicBezTo>
                    <a:cubicBezTo>
                      <a:pt x="144" y="279"/>
                      <a:pt x="144" y="279"/>
                      <a:pt x="144" y="279"/>
                    </a:cubicBezTo>
                    <a:cubicBezTo>
                      <a:pt x="146" y="279"/>
                      <a:pt x="146" y="279"/>
                      <a:pt x="146" y="279"/>
                    </a:cubicBezTo>
                    <a:cubicBezTo>
                      <a:pt x="148" y="282"/>
                      <a:pt x="148" y="282"/>
                      <a:pt x="148" y="282"/>
                    </a:cubicBezTo>
                    <a:cubicBezTo>
                      <a:pt x="148" y="283"/>
                      <a:pt x="148" y="283"/>
                      <a:pt x="148" y="283"/>
                    </a:cubicBezTo>
                    <a:cubicBezTo>
                      <a:pt x="149" y="283"/>
                      <a:pt x="149" y="283"/>
                      <a:pt x="149" y="283"/>
                    </a:cubicBezTo>
                    <a:cubicBezTo>
                      <a:pt x="148" y="285"/>
                      <a:pt x="148" y="285"/>
                      <a:pt x="148" y="285"/>
                    </a:cubicBezTo>
                    <a:cubicBezTo>
                      <a:pt x="146" y="287"/>
                      <a:pt x="146" y="287"/>
                      <a:pt x="146" y="287"/>
                    </a:cubicBezTo>
                    <a:cubicBezTo>
                      <a:pt x="145" y="289"/>
                      <a:pt x="145" y="289"/>
                      <a:pt x="145" y="289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1" y="285"/>
                      <a:pt x="151" y="285"/>
                      <a:pt x="151" y="285"/>
                    </a:cubicBezTo>
                    <a:cubicBezTo>
                      <a:pt x="152" y="285"/>
                      <a:pt x="152" y="285"/>
                      <a:pt x="152" y="285"/>
                    </a:cubicBezTo>
                    <a:cubicBezTo>
                      <a:pt x="152" y="282"/>
                      <a:pt x="152" y="282"/>
                      <a:pt x="152" y="282"/>
                    </a:cubicBezTo>
                    <a:cubicBezTo>
                      <a:pt x="152" y="277"/>
                      <a:pt x="152" y="277"/>
                      <a:pt x="152" y="277"/>
                    </a:cubicBezTo>
                    <a:cubicBezTo>
                      <a:pt x="152" y="274"/>
                      <a:pt x="152" y="274"/>
                      <a:pt x="152" y="274"/>
                    </a:cubicBezTo>
                    <a:cubicBezTo>
                      <a:pt x="153" y="272"/>
                      <a:pt x="153" y="272"/>
                      <a:pt x="153" y="272"/>
                    </a:cubicBezTo>
                    <a:cubicBezTo>
                      <a:pt x="156" y="271"/>
                      <a:pt x="156" y="271"/>
                      <a:pt x="156" y="271"/>
                    </a:cubicBezTo>
                    <a:cubicBezTo>
                      <a:pt x="159" y="269"/>
                      <a:pt x="159" y="269"/>
                      <a:pt x="159" y="269"/>
                    </a:cubicBezTo>
                    <a:cubicBezTo>
                      <a:pt x="160" y="268"/>
                      <a:pt x="160" y="268"/>
                      <a:pt x="160" y="268"/>
                    </a:cubicBezTo>
                    <a:cubicBezTo>
                      <a:pt x="162" y="267"/>
                      <a:pt x="162" y="267"/>
                      <a:pt x="162" y="267"/>
                    </a:cubicBezTo>
                    <a:cubicBezTo>
                      <a:pt x="163" y="266"/>
                      <a:pt x="163" y="266"/>
                      <a:pt x="163" y="266"/>
                    </a:cubicBezTo>
                    <a:cubicBezTo>
                      <a:pt x="164" y="266"/>
                      <a:pt x="164" y="266"/>
                      <a:pt x="164" y="266"/>
                    </a:cubicBezTo>
                    <a:cubicBezTo>
                      <a:pt x="166" y="265"/>
                      <a:pt x="166" y="265"/>
                      <a:pt x="166" y="265"/>
                    </a:cubicBezTo>
                    <a:cubicBezTo>
                      <a:pt x="168" y="265"/>
                      <a:pt x="168" y="265"/>
                      <a:pt x="168" y="265"/>
                    </a:cubicBezTo>
                    <a:cubicBezTo>
                      <a:pt x="169" y="265"/>
                      <a:pt x="169" y="265"/>
                      <a:pt x="169" y="265"/>
                    </a:cubicBezTo>
                    <a:cubicBezTo>
                      <a:pt x="170" y="265"/>
                      <a:pt x="170" y="265"/>
                      <a:pt x="170" y="265"/>
                    </a:cubicBezTo>
                    <a:cubicBezTo>
                      <a:pt x="171" y="266"/>
                      <a:pt x="171" y="266"/>
                      <a:pt x="171" y="266"/>
                    </a:cubicBezTo>
                    <a:cubicBezTo>
                      <a:pt x="174" y="263"/>
                      <a:pt x="174" y="263"/>
                      <a:pt x="174" y="263"/>
                    </a:cubicBezTo>
                    <a:cubicBezTo>
                      <a:pt x="175" y="261"/>
                      <a:pt x="175" y="261"/>
                      <a:pt x="175" y="261"/>
                    </a:cubicBezTo>
                    <a:cubicBezTo>
                      <a:pt x="176" y="261"/>
                      <a:pt x="176" y="261"/>
                      <a:pt x="176" y="261"/>
                    </a:cubicBezTo>
                    <a:cubicBezTo>
                      <a:pt x="178" y="261"/>
                      <a:pt x="178" y="261"/>
                      <a:pt x="178" y="261"/>
                    </a:cubicBezTo>
                    <a:cubicBezTo>
                      <a:pt x="179" y="261"/>
                      <a:pt x="179" y="261"/>
                      <a:pt x="179" y="261"/>
                    </a:cubicBezTo>
                    <a:cubicBezTo>
                      <a:pt x="178" y="260"/>
                      <a:pt x="178" y="260"/>
                      <a:pt x="178" y="260"/>
                    </a:cubicBezTo>
                    <a:cubicBezTo>
                      <a:pt x="180" y="260"/>
                      <a:pt x="180" y="260"/>
                      <a:pt x="180" y="260"/>
                    </a:cubicBezTo>
                    <a:cubicBezTo>
                      <a:pt x="181" y="261"/>
                      <a:pt x="181" y="261"/>
                      <a:pt x="181" y="261"/>
                    </a:cubicBezTo>
                    <a:cubicBezTo>
                      <a:pt x="186" y="260"/>
                      <a:pt x="186" y="260"/>
                      <a:pt x="186" y="260"/>
                    </a:cubicBezTo>
                    <a:cubicBezTo>
                      <a:pt x="191" y="259"/>
                      <a:pt x="191" y="259"/>
                      <a:pt x="191" y="259"/>
                    </a:cubicBezTo>
                    <a:cubicBezTo>
                      <a:pt x="192" y="258"/>
                      <a:pt x="192" y="258"/>
                      <a:pt x="192" y="258"/>
                    </a:cubicBezTo>
                    <a:cubicBezTo>
                      <a:pt x="193" y="258"/>
                      <a:pt x="193" y="258"/>
                      <a:pt x="193" y="258"/>
                    </a:cubicBezTo>
                    <a:cubicBezTo>
                      <a:pt x="194" y="259"/>
                      <a:pt x="194" y="259"/>
                      <a:pt x="194" y="259"/>
                    </a:cubicBezTo>
                    <a:cubicBezTo>
                      <a:pt x="196" y="259"/>
                      <a:pt x="196" y="259"/>
                      <a:pt x="196" y="259"/>
                    </a:cubicBezTo>
                    <a:cubicBezTo>
                      <a:pt x="196" y="257"/>
                      <a:pt x="196" y="257"/>
                      <a:pt x="196" y="257"/>
                    </a:cubicBezTo>
                    <a:cubicBezTo>
                      <a:pt x="199" y="255"/>
                      <a:pt x="199" y="255"/>
                      <a:pt x="199" y="255"/>
                    </a:cubicBezTo>
                    <a:cubicBezTo>
                      <a:pt x="201" y="255"/>
                      <a:pt x="201" y="255"/>
                      <a:pt x="201" y="255"/>
                    </a:cubicBezTo>
                    <a:cubicBezTo>
                      <a:pt x="202" y="256"/>
                      <a:pt x="202" y="256"/>
                      <a:pt x="202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7"/>
                      <a:pt x="203" y="257"/>
                      <a:pt x="203" y="257"/>
                    </a:cubicBezTo>
                    <a:cubicBezTo>
                      <a:pt x="205" y="257"/>
                      <a:pt x="205" y="257"/>
                      <a:pt x="205" y="257"/>
                    </a:cubicBezTo>
                    <a:cubicBezTo>
                      <a:pt x="205" y="255"/>
                      <a:pt x="205" y="255"/>
                      <a:pt x="205" y="255"/>
                    </a:cubicBezTo>
                    <a:cubicBezTo>
                      <a:pt x="206" y="254"/>
                      <a:pt x="206" y="254"/>
                      <a:pt x="206" y="254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7" y="257"/>
                      <a:pt x="207" y="257"/>
                      <a:pt x="207" y="257"/>
                    </a:cubicBezTo>
                    <a:cubicBezTo>
                      <a:pt x="208" y="258"/>
                      <a:pt x="208" y="258"/>
                      <a:pt x="208" y="258"/>
                    </a:cubicBezTo>
                    <a:cubicBezTo>
                      <a:pt x="207" y="259"/>
                      <a:pt x="207" y="259"/>
                      <a:pt x="207" y="259"/>
                    </a:cubicBezTo>
                    <a:cubicBezTo>
                      <a:pt x="206" y="259"/>
                      <a:pt x="206" y="259"/>
                      <a:pt x="206" y="259"/>
                    </a:cubicBezTo>
                    <a:cubicBezTo>
                      <a:pt x="206" y="261"/>
                      <a:pt x="206" y="261"/>
                      <a:pt x="206" y="261"/>
                    </a:cubicBezTo>
                    <a:cubicBezTo>
                      <a:pt x="202" y="262"/>
                      <a:pt x="202" y="262"/>
                      <a:pt x="202" y="262"/>
                    </a:cubicBezTo>
                    <a:cubicBezTo>
                      <a:pt x="198" y="263"/>
                      <a:pt x="198" y="263"/>
                      <a:pt x="198" y="263"/>
                    </a:cubicBezTo>
                    <a:cubicBezTo>
                      <a:pt x="197" y="265"/>
                      <a:pt x="197" y="265"/>
                      <a:pt x="197" y="265"/>
                    </a:cubicBezTo>
                    <a:cubicBezTo>
                      <a:pt x="194" y="265"/>
                      <a:pt x="194" y="265"/>
                      <a:pt x="194" y="265"/>
                    </a:cubicBezTo>
                    <a:cubicBezTo>
                      <a:pt x="193" y="265"/>
                      <a:pt x="193" y="265"/>
                      <a:pt x="193" y="265"/>
                    </a:cubicBezTo>
                    <a:cubicBezTo>
                      <a:pt x="191" y="266"/>
                      <a:pt x="191" y="266"/>
                      <a:pt x="191" y="266"/>
                    </a:cubicBezTo>
                    <a:cubicBezTo>
                      <a:pt x="190" y="266"/>
                      <a:pt x="190" y="266"/>
                      <a:pt x="190" y="266"/>
                    </a:cubicBezTo>
                    <a:cubicBezTo>
                      <a:pt x="190" y="265"/>
                      <a:pt x="190" y="265"/>
                      <a:pt x="190" y="265"/>
                    </a:cubicBezTo>
                    <a:cubicBezTo>
                      <a:pt x="187" y="266"/>
                      <a:pt x="187" y="266"/>
                      <a:pt x="187" y="266"/>
                    </a:cubicBezTo>
                    <a:cubicBezTo>
                      <a:pt x="184" y="266"/>
                      <a:pt x="184" y="266"/>
                      <a:pt x="184" y="266"/>
                    </a:cubicBezTo>
                    <a:cubicBezTo>
                      <a:pt x="183" y="267"/>
                      <a:pt x="183" y="267"/>
                      <a:pt x="183" y="267"/>
                    </a:cubicBezTo>
                    <a:cubicBezTo>
                      <a:pt x="180" y="267"/>
                      <a:pt x="180" y="267"/>
                      <a:pt x="180" y="267"/>
                    </a:cubicBezTo>
                    <a:cubicBezTo>
                      <a:pt x="178" y="268"/>
                      <a:pt x="178" y="268"/>
                      <a:pt x="178" y="268"/>
                    </a:cubicBezTo>
                    <a:cubicBezTo>
                      <a:pt x="176" y="270"/>
                      <a:pt x="176" y="270"/>
                      <a:pt x="176" y="270"/>
                    </a:cubicBezTo>
                    <a:cubicBezTo>
                      <a:pt x="172" y="272"/>
                      <a:pt x="172" y="272"/>
                      <a:pt x="172" y="272"/>
                    </a:cubicBezTo>
                    <a:cubicBezTo>
                      <a:pt x="172" y="271"/>
                      <a:pt x="172" y="271"/>
                      <a:pt x="172" y="271"/>
                    </a:cubicBezTo>
                    <a:cubicBezTo>
                      <a:pt x="169" y="273"/>
                      <a:pt x="169" y="273"/>
                      <a:pt x="169" y="273"/>
                    </a:cubicBezTo>
                    <a:cubicBezTo>
                      <a:pt x="169" y="274"/>
                      <a:pt x="169" y="274"/>
                      <a:pt x="169" y="274"/>
                    </a:cubicBezTo>
                    <a:cubicBezTo>
                      <a:pt x="167" y="275"/>
                      <a:pt x="167" y="275"/>
                      <a:pt x="167" y="275"/>
                    </a:cubicBezTo>
                    <a:cubicBezTo>
                      <a:pt x="166" y="274"/>
                      <a:pt x="166" y="274"/>
                      <a:pt x="166" y="274"/>
                    </a:cubicBezTo>
                    <a:cubicBezTo>
                      <a:pt x="165" y="275"/>
                      <a:pt x="165" y="275"/>
                      <a:pt x="165" y="275"/>
                    </a:cubicBezTo>
                    <a:cubicBezTo>
                      <a:pt x="163" y="277"/>
                      <a:pt x="163" y="277"/>
                      <a:pt x="163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9"/>
                      <a:pt x="161" y="279"/>
                      <a:pt x="161" y="279"/>
                    </a:cubicBezTo>
                    <a:cubicBezTo>
                      <a:pt x="163" y="281"/>
                      <a:pt x="163" y="281"/>
                      <a:pt x="163" y="281"/>
                    </a:cubicBezTo>
                    <a:cubicBezTo>
                      <a:pt x="165" y="282"/>
                      <a:pt x="165" y="282"/>
                      <a:pt x="165" y="282"/>
                    </a:cubicBezTo>
                    <a:cubicBezTo>
                      <a:pt x="163" y="280"/>
                      <a:pt x="163" y="280"/>
                      <a:pt x="163" y="280"/>
                    </a:cubicBezTo>
                    <a:cubicBezTo>
                      <a:pt x="163" y="279"/>
                      <a:pt x="163" y="279"/>
                      <a:pt x="163" y="279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6" y="279"/>
                      <a:pt x="166" y="279"/>
                      <a:pt x="166" y="279"/>
                    </a:cubicBezTo>
                    <a:cubicBezTo>
                      <a:pt x="168" y="280"/>
                      <a:pt x="168" y="280"/>
                      <a:pt x="168" y="280"/>
                    </a:cubicBezTo>
                    <a:cubicBezTo>
                      <a:pt x="167" y="278"/>
                      <a:pt x="167" y="278"/>
                      <a:pt x="167" y="278"/>
                    </a:cubicBezTo>
                    <a:cubicBezTo>
                      <a:pt x="169" y="275"/>
                      <a:pt x="169" y="275"/>
                      <a:pt x="169" y="275"/>
                    </a:cubicBezTo>
                    <a:cubicBezTo>
                      <a:pt x="172" y="275"/>
                      <a:pt x="172" y="275"/>
                      <a:pt x="172" y="275"/>
                    </a:cubicBezTo>
                    <a:cubicBezTo>
                      <a:pt x="174" y="275"/>
                      <a:pt x="174" y="275"/>
                      <a:pt x="174" y="275"/>
                    </a:cubicBezTo>
                    <a:cubicBezTo>
                      <a:pt x="179" y="271"/>
                      <a:pt x="179" y="271"/>
                      <a:pt x="179" y="271"/>
                    </a:cubicBezTo>
                    <a:cubicBezTo>
                      <a:pt x="180" y="270"/>
                      <a:pt x="180" y="270"/>
                      <a:pt x="180" y="270"/>
                    </a:cubicBezTo>
                    <a:cubicBezTo>
                      <a:pt x="181" y="269"/>
                      <a:pt x="181" y="269"/>
                      <a:pt x="181" y="269"/>
                    </a:cubicBezTo>
                    <a:cubicBezTo>
                      <a:pt x="182" y="271"/>
                      <a:pt x="182" y="271"/>
                      <a:pt x="182" y="271"/>
                    </a:cubicBezTo>
                    <a:cubicBezTo>
                      <a:pt x="184" y="270"/>
                      <a:pt x="184" y="270"/>
                      <a:pt x="184" y="270"/>
                    </a:cubicBezTo>
                    <a:cubicBezTo>
                      <a:pt x="185" y="269"/>
                      <a:pt x="185" y="269"/>
                      <a:pt x="185" y="269"/>
                    </a:cubicBezTo>
                    <a:cubicBezTo>
                      <a:pt x="185" y="270"/>
                      <a:pt x="185" y="270"/>
                      <a:pt x="185" y="270"/>
                    </a:cubicBezTo>
                    <a:cubicBezTo>
                      <a:pt x="188" y="268"/>
                      <a:pt x="188" y="268"/>
                      <a:pt x="188" y="268"/>
                    </a:cubicBezTo>
                    <a:cubicBezTo>
                      <a:pt x="189" y="269"/>
                      <a:pt x="189" y="269"/>
                      <a:pt x="189" y="269"/>
                    </a:cubicBezTo>
                    <a:cubicBezTo>
                      <a:pt x="187" y="273"/>
                      <a:pt x="187" y="273"/>
                      <a:pt x="187" y="273"/>
                    </a:cubicBezTo>
                    <a:cubicBezTo>
                      <a:pt x="187" y="274"/>
                      <a:pt x="187" y="274"/>
                      <a:pt x="187" y="274"/>
                    </a:cubicBezTo>
                    <a:cubicBezTo>
                      <a:pt x="189" y="271"/>
                      <a:pt x="189" y="271"/>
                      <a:pt x="189" y="271"/>
                    </a:cubicBezTo>
                    <a:cubicBezTo>
                      <a:pt x="192" y="270"/>
                      <a:pt x="192" y="270"/>
                      <a:pt x="192" y="270"/>
                    </a:cubicBezTo>
                    <a:cubicBezTo>
                      <a:pt x="198" y="266"/>
                      <a:pt x="198" y="266"/>
                      <a:pt x="198" y="266"/>
                    </a:cubicBezTo>
                    <a:cubicBezTo>
                      <a:pt x="201" y="266"/>
                      <a:pt x="201" y="266"/>
                      <a:pt x="201" y="266"/>
                    </a:cubicBezTo>
                    <a:cubicBezTo>
                      <a:pt x="203" y="264"/>
                      <a:pt x="203" y="264"/>
                      <a:pt x="203" y="264"/>
                    </a:cubicBezTo>
                    <a:cubicBezTo>
                      <a:pt x="206" y="264"/>
                      <a:pt x="206" y="264"/>
                      <a:pt x="206" y="264"/>
                    </a:cubicBezTo>
                    <a:cubicBezTo>
                      <a:pt x="208" y="263"/>
                      <a:pt x="208" y="263"/>
                      <a:pt x="208" y="263"/>
                    </a:cubicBezTo>
                    <a:cubicBezTo>
                      <a:pt x="210" y="263"/>
                      <a:pt x="210" y="263"/>
                      <a:pt x="210" y="263"/>
                    </a:cubicBezTo>
                    <a:cubicBezTo>
                      <a:pt x="209" y="265"/>
                      <a:pt x="209" y="265"/>
                      <a:pt x="209" y="265"/>
                    </a:cubicBezTo>
                    <a:cubicBezTo>
                      <a:pt x="207" y="266"/>
                      <a:pt x="207" y="266"/>
                      <a:pt x="207" y="266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208" y="269"/>
                      <a:pt x="208" y="269"/>
                      <a:pt x="208" y="269"/>
                    </a:cubicBezTo>
                    <a:cubicBezTo>
                      <a:pt x="211" y="266"/>
                      <a:pt x="211" y="266"/>
                      <a:pt x="211" y="266"/>
                    </a:cubicBezTo>
                    <a:cubicBezTo>
                      <a:pt x="215" y="264"/>
                      <a:pt x="215" y="264"/>
                      <a:pt x="215" y="264"/>
                    </a:cubicBezTo>
                    <a:cubicBezTo>
                      <a:pt x="216" y="264"/>
                      <a:pt x="216" y="264"/>
                      <a:pt x="216" y="264"/>
                    </a:cubicBezTo>
                    <a:cubicBezTo>
                      <a:pt x="216" y="263"/>
                      <a:pt x="216" y="263"/>
                      <a:pt x="216" y="263"/>
                    </a:cubicBezTo>
                    <a:cubicBezTo>
                      <a:pt x="218" y="261"/>
                      <a:pt x="218" y="261"/>
                      <a:pt x="218" y="261"/>
                    </a:cubicBezTo>
                    <a:cubicBezTo>
                      <a:pt x="219" y="262"/>
                      <a:pt x="219" y="262"/>
                      <a:pt x="219" y="262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59"/>
                      <a:pt x="220" y="259"/>
                      <a:pt x="220" y="259"/>
                    </a:cubicBezTo>
                    <a:cubicBezTo>
                      <a:pt x="221" y="261"/>
                      <a:pt x="221" y="261"/>
                      <a:pt x="221" y="261"/>
                    </a:cubicBezTo>
                    <a:cubicBezTo>
                      <a:pt x="223" y="261"/>
                      <a:pt x="223" y="261"/>
                      <a:pt x="223" y="261"/>
                    </a:cubicBezTo>
                    <a:cubicBezTo>
                      <a:pt x="223" y="258"/>
                      <a:pt x="223" y="258"/>
                      <a:pt x="223" y="258"/>
                    </a:cubicBezTo>
                    <a:cubicBezTo>
                      <a:pt x="222" y="256"/>
                      <a:pt x="222" y="256"/>
                      <a:pt x="222" y="256"/>
                    </a:cubicBezTo>
                    <a:cubicBezTo>
                      <a:pt x="223" y="255"/>
                      <a:pt x="223" y="255"/>
                      <a:pt x="223" y="255"/>
                    </a:cubicBezTo>
                    <a:cubicBezTo>
                      <a:pt x="222" y="253"/>
                      <a:pt x="222" y="253"/>
                      <a:pt x="222" y="253"/>
                    </a:cubicBezTo>
                    <a:cubicBezTo>
                      <a:pt x="224" y="251"/>
                      <a:pt x="224" y="251"/>
                      <a:pt x="224" y="251"/>
                    </a:cubicBezTo>
                    <a:cubicBezTo>
                      <a:pt x="227" y="250"/>
                      <a:pt x="227" y="250"/>
                      <a:pt x="227" y="250"/>
                    </a:cubicBezTo>
                    <a:cubicBezTo>
                      <a:pt x="227" y="252"/>
                      <a:pt x="227" y="252"/>
                      <a:pt x="227" y="252"/>
                    </a:cubicBezTo>
                    <a:cubicBezTo>
                      <a:pt x="227" y="260"/>
                      <a:pt x="227" y="260"/>
                      <a:pt x="227" y="260"/>
                    </a:cubicBezTo>
                    <a:cubicBezTo>
                      <a:pt x="226" y="262"/>
                      <a:pt x="226" y="262"/>
                      <a:pt x="226" y="262"/>
                    </a:cubicBezTo>
                    <a:cubicBezTo>
                      <a:pt x="226" y="268"/>
                      <a:pt x="226" y="268"/>
                      <a:pt x="226" y="268"/>
                    </a:cubicBezTo>
                    <a:cubicBezTo>
                      <a:pt x="225" y="272"/>
                      <a:pt x="225" y="272"/>
                      <a:pt x="225" y="272"/>
                    </a:cubicBezTo>
                    <a:cubicBezTo>
                      <a:pt x="225" y="281"/>
                      <a:pt x="225" y="281"/>
                      <a:pt x="225" y="281"/>
                    </a:cubicBezTo>
                    <a:cubicBezTo>
                      <a:pt x="225" y="283"/>
                      <a:pt x="225" y="283"/>
                      <a:pt x="225" y="283"/>
                    </a:cubicBezTo>
                    <a:cubicBezTo>
                      <a:pt x="227" y="284"/>
                      <a:pt x="227" y="284"/>
                      <a:pt x="227" y="284"/>
                    </a:cubicBezTo>
                    <a:cubicBezTo>
                      <a:pt x="229" y="287"/>
                      <a:pt x="229" y="287"/>
                      <a:pt x="229" y="287"/>
                    </a:cubicBezTo>
                    <a:cubicBezTo>
                      <a:pt x="232" y="285"/>
                      <a:pt x="232" y="285"/>
                      <a:pt x="232" y="285"/>
                    </a:cubicBezTo>
                    <a:cubicBezTo>
                      <a:pt x="231" y="283"/>
                      <a:pt x="231" y="283"/>
                      <a:pt x="231" y="283"/>
                    </a:cubicBezTo>
                    <a:cubicBezTo>
                      <a:pt x="229" y="283"/>
                      <a:pt x="229" y="283"/>
                      <a:pt x="229" y="283"/>
                    </a:cubicBezTo>
                    <a:cubicBezTo>
                      <a:pt x="228" y="282"/>
                      <a:pt x="228" y="282"/>
                      <a:pt x="228" y="282"/>
                    </a:cubicBezTo>
                    <a:cubicBezTo>
                      <a:pt x="230" y="281"/>
                      <a:pt x="230" y="281"/>
                      <a:pt x="230" y="281"/>
                    </a:cubicBezTo>
                    <a:cubicBezTo>
                      <a:pt x="232" y="282"/>
                      <a:pt x="232" y="282"/>
                      <a:pt x="232" y="282"/>
                    </a:cubicBezTo>
                    <a:cubicBezTo>
                      <a:pt x="233" y="280"/>
                      <a:pt x="233" y="280"/>
                      <a:pt x="233" y="280"/>
                    </a:cubicBezTo>
                    <a:cubicBezTo>
                      <a:pt x="232" y="279"/>
                      <a:pt x="232" y="279"/>
                      <a:pt x="232" y="279"/>
                    </a:cubicBezTo>
                    <a:cubicBezTo>
                      <a:pt x="233" y="277"/>
                      <a:pt x="233" y="277"/>
                      <a:pt x="233" y="277"/>
                    </a:cubicBezTo>
                    <a:cubicBezTo>
                      <a:pt x="236" y="278"/>
                      <a:pt x="236" y="278"/>
                      <a:pt x="236" y="278"/>
                    </a:cubicBezTo>
                    <a:cubicBezTo>
                      <a:pt x="236" y="279"/>
                      <a:pt x="236" y="279"/>
                      <a:pt x="236" y="279"/>
                    </a:cubicBezTo>
                    <a:cubicBezTo>
                      <a:pt x="238" y="278"/>
                      <a:pt x="238" y="278"/>
                      <a:pt x="238" y="278"/>
                    </a:cubicBezTo>
                    <a:cubicBezTo>
                      <a:pt x="236" y="274"/>
                      <a:pt x="236" y="274"/>
                      <a:pt x="236" y="274"/>
                    </a:cubicBezTo>
                    <a:cubicBezTo>
                      <a:pt x="238" y="274"/>
                      <a:pt x="238" y="274"/>
                      <a:pt x="238" y="274"/>
                    </a:cubicBezTo>
                    <a:cubicBezTo>
                      <a:pt x="241" y="272"/>
                      <a:pt x="241" y="272"/>
                      <a:pt x="241" y="272"/>
                    </a:cubicBezTo>
                    <a:cubicBezTo>
                      <a:pt x="241" y="270"/>
                      <a:pt x="241" y="270"/>
                      <a:pt x="241" y="270"/>
                    </a:cubicBezTo>
                    <a:cubicBezTo>
                      <a:pt x="244" y="270"/>
                      <a:pt x="244" y="270"/>
                      <a:pt x="244" y="270"/>
                    </a:cubicBezTo>
                    <a:cubicBezTo>
                      <a:pt x="244" y="272"/>
                      <a:pt x="244" y="272"/>
                      <a:pt x="244" y="272"/>
                    </a:cubicBezTo>
                    <a:cubicBezTo>
                      <a:pt x="244" y="274"/>
                      <a:pt x="244" y="274"/>
                      <a:pt x="244" y="274"/>
                    </a:cubicBezTo>
                    <a:cubicBezTo>
                      <a:pt x="242" y="275"/>
                      <a:pt x="242" y="275"/>
                      <a:pt x="242" y="275"/>
                    </a:cubicBezTo>
                    <a:cubicBezTo>
                      <a:pt x="242" y="276"/>
                      <a:pt x="242" y="276"/>
                      <a:pt x="242" y="276"/>
                    </a:cubicBezTo>
                    <a:cubicBezTo>
                      <a:pt x="240" y="278"/>
                      <a:pt x="240" y="278"/>
                      <a:pt x="240" y="278"/>
                    </a:cubicBezTo>
                    <a:cubicBezTo>
                      <a:pt x="240" y="279"/>
                      <a:pt x="240" y="279"/>
                      <a:pt x="240" y="279"/>
                    </a:cubicBezTo>
                    <a:cubicBezTo>
                      <a:pt x="241" y="280"/>
                      <a:pt x="241" y="280"/>
                      <a:pt x="241" y="280"/>
                    </a:cubicBezTo>
                    <a:cubicBezTo>
                      <a:pt x="242" y="280"/>
                      <a:pt x="242" y="280"/>
                      <a:pt x="242" y="280"/>
                    </a:cubicBezTo>
                    <a:cubicBezTo>
                      <a:pt x="243" y="281"/>
                      <a:pt x="243" y="281"/>
                      <a:pt x="243" y="281"/>
                    </a:cubicBezTo>
                    <a:cubicBezTo>
                      <a:pt x="242" y="281"/>
                      <a:pt x="242" y="281"/>
                      <a:pt x="242" y="281"/>
                    </a:cubicBezTo>
                    <a:cubicBezTo>
                      <a:pt x="241" y="282"/>
                      <a:pt x="241" y="282"/>
                      <a:pt x="241" y="282"/>
                    </a:cubicBezTo>
                    <a:cubicBezTo>
                      <a:pt x="239" y="284"/>
                      <a:pt x="239" y="284"/>
                      <a:pt x="239" y="284"/>
                    </a:cubicBezTo>
                    <a:cubicBezTo>
                      <a:pt x="238" y="284"/>
                      <a:pt x="238" y="284"/>
                      <a:pt x="238" y="284"/>
                    </a:cubicBezTo>
                    <a:cubicBezTo>
                      <a:pt x="237" y="285"/>
                      <a:pt x="237" y="285"/>
                      <a:pt x="237" y="285"/>
                    </a:cubicBezTo>
                    <a:cubicBezTo>
                      <a:pt x="236" y="287"/>
                      <a:pt x="236" y="287"/>
                      <a:pt x="236" y="287"/>
                    </a:cubicBezTo>
                    <a:cubicBezTo>
                      <a:pt x="237" y="288"/>
                      <a:pt x="237" y="288"/>
                      <a:pt x="237" y="288"/>
                    </a:cubicBezTo>
                    <a:cubicBezTo>
                      <a:pt x="240" y="288"/>
                      <a:pt x="240" y="288"/>
                      <a:pt x="240" y="288"/>
                    </a:cubicBezTo>
                    <a:cubicBezTo>
                      <a:pt x="241" y="289"/>
                      <a:pt x="241" y="289"/>
                      <a:pt x="241" y="289"/>
                    </a:cubicBezTo>
                    <a:cubicBezTo>
                      <a:pt x="243" y="289"/>
                      <a:pt x="243" y="289"/>
                      <a:pt x="243" y="289"/>
                    </a:cubicBezTo>
                    <a:cubicBezTo>
                      <a:pt x="245" y="288"/>
                      <a:pt x="245" y="288"/>
                      <a:pt x="245" y="288"/>
                    </a:cubicBezTo>
                    <a:cubicBezTo>
                      <a:pt x="247" y="287"/>
                      <a:pt x="247" y="287"/>
                      <a:pt x="247" y="287"/>
                    </a:cubicBezTo>
                    <a:cubicBezTo>
                      <a:pt x="249" y="284"/>
                      <a:pt x="249" y="284"/>
                      <a:pt x="249" y="284"/>
                    </a:cubicBezTo>
                    <a:cubicBezTo>
                      <a:pt x="251" y="281"/>
                      <a:pt x="251" y="281"/>
                      <a:pt x="251" y="281"/>
                    </a:cubicBezTo>
                    <a:cubicBezTo>
                      <a:pt x="253" y="281"/>
                      <a:pt x="253" y="281"/>
                      <a:pt x="253" y="281"/>
                    </a:cubicBezTo>
                    <a:cubicBezTo>
                      <a:pt x="254" y="282"/>
                      <a:pt x="254" y="282"/>
                      <a:pt x="254" y="282"/>
                    </a:cubicBezTo>
                    <a:cubicBezTo>
                      <a:pt x="256" y="282"/>
                      <a:pt x="256" y="282"/>
                      <a:pt x="256" y="282"/>
                    </a:cubicBezTo>
                    <a:cubicBezTo>
                      <a:pt x="258" y="283"/>
                      <a:pt x="258" y="283"/>
                      <a:pt x="258" y="283"/>
                    </a:cubicBezTo>
                    <a:cubicBezTo>
                      <a:pt x="260" y="283"/>
                      <a:pt x="260" y="283"/>
                      <a:pt x="260" y="283"/>
                    </a:cubicBezTo>
                    <a:cubicBezTo>
                      <a:pt x="262" y="285"/>
                      <a:pt x="262" y="285"/>
                      <a:pt x="262" y="285"/>
                    </a:cubicBezTo>
                    <a:cubicBezTo>
                      <a:pt x="264" y="285"/>
                      <a:pt x="264" y="285"/>
                      <a:pt x="264" y="285"/>
                    </a:cubicBezTo>
                    <a:cubicBezTo>
                      <a:pt x="264" y="287"/>
                      <a:pt x="264" y="287"/>
                      <a:pt x="264" y="287"/>
                    </a:cubicBezTo>
                    <a:cubicBezTo>
                      <a:pt x="265" y="292"/>
                      <a:pt x="265" y="292"/>
                      <a:pt x="265" y="292"/>
                    </a:cubicBezTo>
                    <a:cubicBezTo>
                      <a:pt x="265" y="294"/>
                      <a:pt x="265" y="294"/>
                      <a:pt x="265" y="294"/>
                    </a:cubicBezTo>
                    <a:cubicBezTo>
                      <a:pt x="268" y="298"/>
                      <a:pt x="268" y="298"/>
                      <a:pt x="268" y="298"/>
                    </a:cubicBezTo>
                    <a:cubicBezTo>
                      <a:pt x="275" y="303"/>
                      <a:pt x="275" y="303"/>
                      <a:pt x="275" y="303"/>
                    </a:cubicBezTo>
                    <a:cubicBezTo>
                      <a:pt x="276" y="305"/>
                      <a:pt x="276" y="305"/>
                      <a:pt x="276" y="305"/>
                    </a:cubicBezTo>
                    <a:cubicBezTo>
                      <a:pt x="279" y="306"/>
                      <a:pt x="279" y="306"/>
                      <a:pt x="279" y="306"/>
                    </a:cubicBezTo>
                    <a:cubicBezTo>
                      <a:pt x="281" y="309"/>
                      <a:pt x="281" y="309"/>
                      <a:pt x="281" y="309"/>
                    </a:cubicBezTo>
                    <a:cubicBezTo>
                      <a:pt x="282" y="309"/>
                      <a:pt x="282" y="309"/>
                      <a:pt x="282" y="309"/>
                    </a:cubicBezTo>
                    <a:cubicBezTo>
                      <a:pt x="284" y="310"/>
                      <a:pt x="284" y="310"/>
                      <a:pt x="284" y="310"/>
                    </a:cubicBezTo>
                    <a:cubicBezTo>
                      <a:pt x="285" y="312"/>
                      <a:pt x="285" y="312"/>
                      <a:pt x="285" y="312"/>
                    </a:cubicBezTo>
                    <a:cubicBezTo>
                      <a:pt x="286" y="313"/>
                      <a:pt x="286" y="313"/>
                      <a:pt x="286" y="313"/>
                    </a:cubicBezTo>
                    <a:cubicBezTo>
                      <a:pt x="287" y="312"/>
                      <a:pt x="287" y="312"/>
                      <a:pt x="287" y="312"/>
                    </a:cubicBezTo>
                    <a:cubicBezTo>
                      <a:pt x="288" y="313"/>
                      <a:pt x="288" y="313"/>
                      <a:pt x="288" y="313"/>
                    </a:cubicBezTo>
                    <a:cubicBezTo>
                      <a:pt x="291" y="315"/>
                      <a:pt x="291" y="315"/>
                      <a:pt x="291" y="315"/>
                    </a:cubicBezTo>
                    <a:cubicBezTo>
                      <a:pt x="292" y="315"/>
                      <a:pt x="292" y="315"/>
                      <a:pt x="292" y="315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94" y="319"/>
                      <a:pt x="294" y="319"/>
                      <a:pt x="294" y="319"/>
                    </a:cubicBezTo>
                    <a:cubicBezTo>
                      <a:pt x="294" y="317"/>
                      <a:pt x="294" y="317"/>
                      <a:pt x="294" y="317"/>
                    </a:cubicBezTo>
                    <a:cubicBezTo>
                      <a:pt x="294" y="316"/>
                      <a:pt x="294" y="316"/>
                      <a:pt x="294" y="316"/>
                    </a:cubicBezTo>
                    <a:cubicBezTo>
                      <a:pt x="294" y="315"/>
                      <a:pt x="294" y="315"/>
                      <a:pt x="294" y="315"/>
                    </a:cubicBezTo>
                    <a:cubicBezTo>
                      <a:pt x="292" y="313"/>
                      <a:pt x="292" y="313"/>
                      <a:pt x="292" y="313"/>
                    </a:cubicBezTo>
                    <a:cubicBezTo>
                      <a:pt x="292" y="312"/>
                      <a:pt x="292" y="312"/>
                      <a:pt x="292" y="312"/>
                    </a:cubicBezTo>
                    <a:cubicBezTo>
                      <a:pt x="295" y="314"/>
                      <a:pt x="295" y="314"/>
                      <a:pt x="295" y="314"/>
                    </a:cubicBezTo>
                    <a:cubicBezTo>
                      <a:pt x="296" y="315"/>
                      <a:pt x="296" y="315"/>
                      <a:pt x="296" y="315"/>
                    </a:cubicBezTo>
                    <a:cubicBezTo>
                      <a:pt x="296" y="315"/>
                      <a:pt x="296" y="315"/>
                      <a:pt x="296" y="315"/>
                    </a:cubicBezTo>
                    <a:cubicBezTo>
                      <a:pt x="297" y="314"/>
                      <a:pt x="297" y="314"/>
                      <a:pt x="297" y="314"/>
                    </a:cubicBezTo>
                    <a:cubicBezTo>
                      <a:pt x="298" y="313"/>
                      <a:pt x="298" y="313"/>
                      <a:pt x="298" y="313"/>
                    </a:cubicBezTo>
                    <a:cubicBezTo>
                      <a:pt x="300" y="316"/>
                      <a:pt x="300" y="316"/>
                      <a:pt x="300" y="316"/>
                    </a:cubicBezTo>
                    <a:cubicBezTo>
                      <a:pt x="301" y="317"/>
                      <a:pt x="301" y="317"/>
                      <a:pt x="301" y="317"/>
                    </a:cubicBezTo>
                    <a:cubicBezTo>
                      <a:pt x="302" y="318"/>
                      <a:pt x="302" y="318"/>
                      <a:pt x="302" y="318"/>
                    </a:cubicBezTo>
                    <a:cubicBezTo>
                      <a:pt x="303" y="320"/>
                      <a:pt x="303" y="320"/>
                      <a:pt x="303" y="320"/>
                    </a:cubicBezTo>
                    <a:cubicBezTo>
                      <a:pt x="304" y="322"/>
                      <a:pt x="304" y="322"/>
                      <a:pt x="304" y="322"/>
                    </a:cubicBezTo>
                    <a:cubicBezTo>
                      <a:pt x="304" y="325"/>
                      <a:pt x="304" y="325"/>
                      <a:pt x="304" y="325"/>
                    </a:cubicBezTo>
                    <a:cubicBezTo>
                      <a:pt x="305" y="327"/>
                      <a:pt x="305" y="327"/>
                      <a:pt x="305" y="327"/>
                    </a:cubicBezTo>
                    <a:cubicBezTo>
                      <a:pt x="304" y="329"/>
                      <a:pt x="304" y="329"/>
                      <a:pt x="304" y="329"/>
                    </a:cubicBezTo>
                    <a:cubicBezTo>
                      <a:pt x="304" y="331"/>
                      <a:pt x="304" y="331"/>
                      <a:pt x="304" y="331"/>
                    </a:cubicBezTo>
                    <a:cubicBezTo>
                      <a:pt x="302" y="333"/>
                      <a:pt x="302" y="333"/>
                      <a:pt x="302" y="333"/>
                    </a:cubicBezTo>
                    <a:cubicBezTo>
                      <a:pt x="298" y="331"/>
                      <a:pt x="298" y="331"/>
                      <a:pt x="298" y="331"/>
                    </a:cubicBezTo>
                    <a:cubicBezTo>
                      <a:pt x="296" y="331"/>
                      <a:pt x="296" y="331"/>
                      <a:pt x="296" y="331"/>
                    </a:cubicBezTo>
                    <a:cubicBezTo>
                      <a:pt x="296" y="332"/>
                      <a:pt x="296" y="332"/>
                      <a:pt x="296" y="332"/>
                    </a:cubicBezTo>
                    <a:cubicBezTo>
                      <a:pt x="295" y="333"/>
                      <a:pt x="295" y="333"/>
                      <a:pt x="295" y="333"/>
                    </a:cubicBezTo>
                    <a:cubicBezTo>
                      <a:pt x="293" y="332"/>
                      <a:pt x="293" y="332"/>
                      <a:pt x="293" y="332"/>
                    </a:cubicBezTo>
                    <a:cubicBezTo>
                      <a:pt x="291" y="332"/>
                      <a:pt x="291" y="332"/>
                      <a:pt x="291" y="332"/>
                    </a:cubicBezTo>
                    <a:cubicBezTo>
                      <a:pt x="291" y="333"/>
                      <a:pt x="291" y="333"/>
                      <a:pt x="291" y="333"/>
                    </a:cubicBezTo>
                    <a:cubicBezTo>
                      <a:pt x="290" y="334"/>
                      <a:pt x="290" y="334"/>
                      <a:pt x="290" y="334"/>
                    </a:cubicBezTo>
                    <a:cubicBezTo>
                      <a:pt x="290" y="336"/>
                      <a:pt x="290" y="336"/>
                      <a:pt x="290" y="336"/>
                    </a:cubicBezTo>
                    <a:cubicBezTo>
                      <a:pt x="288" y="336"/>
                      <a:pt x="288" y="336"/>
                      <a:pt x="288" y="336"/>
                    </a:cubicBezTo>
                    <a:cubicBezTo>
                      <a:pt x="286" y="337"/>
                      <a:pt x="286" y="337"/>
                      <a:pt x="286" y="337"/>
                    </a:cubicBezTo>
                    <a:cubicBezTo>
                      <a:pt x="287" y="338"/>
                      <a:pt x="287" y="338"/>
                      <a:pt x="287" y="338"/>
                    </a:cubicBezTo>
                    <a:cubicBezTo>
                      <a:pt x="288" y="339"/>
                      <a:pt x="288" y="339"/>
                      <a:pt x="288" y="339"/>
                    </a:cubicBezTo>
                    <a:cubicBezTo>
                      <a:pt x="289" y="341"/>
                      <a:pt x="289" y="341"/>
                      <a:pt x="289" y="341"/>
                    </a:cubicBezTo>
                    <a:cubicBezTo>
                      <a:pt x="291" y="342"/>
                      <a:pt x="291" y="342"/>
                      <a:pt x="291" y="342"/>
                    </a:cubicBezTo>
                    <a:cubicBezTo>
                      <a:pt x="292" y="341"/>
                      <a:pt x="292" y="341"/>
                      <a:pt x="292" y="341"/>
                    </a:cubicBez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4" y="345"/>
                      <a:pt x="294" y="345"/>
                      <a:pt x="294" y="345"/>
                    </a:cubicBezTo>
                    <a:cubicBezTo>
                      <a:pt x="297" y="345"/>
                      <a:pt x="297" y="345"/>
                      <a:pt x="297" y="345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303" y="347"/>
                      <a:pt x="303" y="347"/>
                      <a:pt x="303" y="347"/>
                    </a:cubicBezTo>
                    <a:cubicBezTo>
                      <a:pt x="307" y="349"/>
                      <a:pt x="307" y="349"/>
                      <a:pt x="307" y="349"/>
                    </a:cubicBezTo>
                    <a:cubicBezTo>
                      <a:pt x="309" y="349"/>
                      <a:pt x="309" y="349"/>
                      <a:pt x="309" y="349"/>
                    </a:cubicBezTo>
                    <a:cubicBezTo>
                      <a:pt x="309" y="348"/>
                      <a:pt x="309" y="348"/>
                      <a:pt x="309" y="348"/>
                    </a:cubicBezTo>
                    <a:cubicBezTo>
                      <a:pt x="310" y="348"/>
                      <a:pt x="310" y="348"/>
                      <a:pt x="310" y="348"/>
                    </a:cubicBezTo>
                    <a:cubicBezTo>
                      <a:pt x="312" y="349"/>
                      <a:pt x="312" y="349"/>
                      <a:pt x="312" y="349"/>
                    </a:cubicBezTo>
                    <a:cubicBezTo>
                      <a:pt x="312" y="350"/>
                      <a:pt x="312" y="350"/>
                      <a:pt x="312" y="350"/>
                    </a:cubicBezTo>
                    <a:cubicBezTo>
                      <a:pt x="315" y="348"/>
                      <a:pt x="315" y="348"/>
                      <a:pt x="315" y="348"/>
                    </a:cubicBezTo>
                    <a:cubicBezTo>
                      <a:pt x="316" y="349"/>
                      <a:pt x="316" y="349"/>
                      <a:pt x="316" y="349"/>
                    </a:cubicBezTo>
                    <a:cubicBezTo>
                      <a:pt x="317" y="349"/>
                      <a:pt x="317" y="349"/>
                      <a:pt x="317" y="349"/>
                    </a:cubicBezTo>
                    <a:cubicBezTo>
                      <a:pt x="318" y="348"/>
                      <a:pt x="318" y="348"/>
                      <a:pt x="318" y="348"/>
                    </a:cubicBezTo>
                    <a:cubicBezTo>
                      <a:pt x="319" y="348"/>
                      <a:pt x="319" y="348"/>
                      <a:pt x="319" y="348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20" y="349"/>
                      <a:pt x="320" y="349"/>
                      <a:pt x="320" y="349"/>
                    </a:cubicBezTo>
                    <a:cubicBezTo>
                      <a:pt x="323" y="347"/>
                      <a:pt x="323" y="347"/>
                      <a:pt x="323" y="347"/>
                    </a:cubicBezTo>
                    <a:cubicBezTo>
                      <a:pt x="329" y="345"/>
                      <a:pt x="329" y="345"/>
                      <a:pt x="329" y="345"/>
                    </a:cubicBezTo>
                    <a:cubicBezTo>
                      <a:pt x="330" y="345"/>
                      <a:pt x="330" y="345"/>
                      <a:pt x="330" y="345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348"/>
                      <a:pt x="330" y="348"/>
                      <a:pt x="330" y="348"/>
                    </a:cubicBezTo>
                    <a:cubicBezTo>
                      <a:pt x="330" y="349"/>
                      <a:pt x="330" y="349"/>
                      <a:pt x="330" y="349"/>
                    </a:cubicBezTo>
                    <a:cubicBezTo>
                      <a:pt x="330" y="349"/>
                      <a:pt x="330" y="349"/>
                      <a:pt x="330" y="349"/>
                    </a:cubicBezTo>
                    <a:cubicBezTo>
                      <a:pt x="331" y="351"/>
                      <a:pt x="331" y="351"/>
                      <a:pt x="331" y="351"/>
                    </a:cubicBezTo>
                    <a:cubicBezTo>
                      <a:pt x="330" y="352"/>
                      <a:pt x="330" y="352"/>
                      <a:pt x="330" y="352"/>
                    </a:cubicBezTo>
                    <a:cubicBezTo>
                      <a:pt x="331" y="353"/>
                      <a:pt x="331" y="353"/>
                      <a:pt x="331" y="353"/>
                    </a:cubicBezTo>
                    <a:cubicBezTo>
                      <a:pt x="331" y="354"/>
                      <a:pt x="331" y="354"/>
                      <a:pt x="331" y="354"/>
                    </a:cubicBezTo>
                    <a:cubicBezTo>
                      <a:pt x="333" y="352"/>
                      <a:pt x="333" y="352"/>
                      <a:pt x="333" y="352"/>
                    </a:cubicBezTo>
                    <a:cubicBezTo>
                      <a:pt x="334" y="353"/>
                      <a:pt x="334" y="353"/>
                      <a:pt x="334" y="353"/>
                    </a:cubicBezTo>
                    <a:cubicBezTo>
                      <a:pt x="333" y="355"/>
                      <a:pt x="333" y="355"/>
                      <a:pt x="333" y="355"/>
                    </a:cubicBezTo>
                    <a:cubicBezTo>
                      <a:pt x="332" y="358"/>
                      <a:pt x="332" y="358"/>
                      <a:pt x="332" y="358"/>
                    </a:cubicBezTo>
                    <a:cubicBezTo>
                      <a:pt x="333" y="360"/>
                      <a:pt x="333" y="360"/>
                      <a:pt x="333" y="360"/>
                    </a:cubicBezTo>
                    <a:cubicBezTo>
                      <a:pt x="333" y="361"/>
                      <a:pt x="333" y="361"/>
                      <a:pt x="333" y="361"/>
                    </a:cubicBezTo>
                    <a:cubicBezTo>
                      <a:pt x="335" y="359"/>
                      <a:pt x="335" y="359"/>
                      <a:pt x="335" y="359"/>
                    </a:cubicBezTo>
                    <a:cubicBezTo>
                      <a:pt x="335" y="357"/>
                      <a:pt x="335" y="357"/>
                      <a:pt x="335" y="357"/>
                    </a:cubicBezTo>
                    <a:cubicBezTo>
                      <a:pt x="336" y="356"/>
                      <a:pt x="336" y="356"/>
                      <a:pt x="336" y="356"/>
                    </a:cubicBezTo>
                    <a:cubicBezTo>
                      <a:pt x="336" y="356"/>
                      <a:pt x="336" y="356"/>
                      <a:pt x="336" y="356"/>
                    </a:cubicBezTo>
                    <a:cubicBezTo>
                      <a:pt x="336" y="358"/>
                      <a:pt x="336" y="358"/>
                      <a:pt x="336" y="358"/>
                    </a:cubicBezTo>
                    <a:cubicBezTo>
                      <a:pt x="335" y="362"/>
                      <a:pt x="335" y="362"/>
                      <a:pt x="335" y="362"/>
                    </a:cubicBezTo>
                    <a:cubicBezTo>
                      <a:pt x="333" y="364"/>
                      <a:pt x="333" y="364"/>
                      <a:pt x="333" y="364"/>
                    </a:cubicBezTo>
                    <a:cubicBezTo>
                      <a:pt x="333" y="367"/>
                      <a:pt x="333" y="367"/>
                      <a:pt x="333" y="367"/>
                    </a:cubicBezTo>
                    <a:cubicBezTo>
                      <a:pt x="334" y="369"/>
                      <a:pt x="334" y="369"/>
                      <a:pt x="334" y="369"/>
                    </a:cubicBezTo>
                    <a:cubicBezTo>
                      <a:pt x="334" y="373"/>
                      <a:pt x="334" y="373"/>
                      <a:pt x="334" y="373"/>
                    </a:cubicBezTo>
                    <a:cubicBezTo>
                      <a:pt x="334" y="375"/>
                      <a:pt x="334" y="375"/>
                      <a:pt x="334" y="375"/>
                    </a:cubicBezTo>
                    <a:cubicBezTo>
                      <a:pt x="336" y="377"/>
                      <a:pt x="336" y="377"/>
                      <a:pt x="336" y="377"/>
                    </a:cubicBezTo>
                    <a:cubicBezTo>
                      <a:pt x="336" y="378"/>
                      <a:pt x="336" y="378"/>
                      <a:pt x="336" y="378"/>
                    </a:cubicBezTo>
                    <a:cubicBezTo>
                      <a:pt x="335" y="380"/>
                      <a:pt x="335" y="380"/>
                      <a:pt x="335" y="380"/>
                    </a:cubicBezTo>
                    <a:cubicBezTo>
                      <a:pt x="336" y="381"/>
                      <a:pt x="336" y="381"/>
                      <a:pt x="336" y="381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37" y="390"/>
                      <a:pt x="337" y="390"/>
                      <a:pt x="337" y="390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36" y="379"/>
                      <a:pt x="336" y="379"/>
                      <a:pt x="336" y="379"/>
                    </a:cubicBezTo>
                    <a:cubicBezTo>
                      <a:pt x="337" y="374"/>
                      <a:pt x="337" y="374"/>
                      <a:pt x="337" y="374"/>
                    </a:cubicBezTo>
                    <a:cubicBezTo>
                      <a:pt x="339" y="370"/>
                      <a:pt x="339" y="370"/>
                      <a:pt x="339" y="370"/>
                    </a:cubicBezTo>
                    <a:cubicBezTo>
                      <a:pt x="340" y="370"/>
                      <a:pt x="340" y="370"/>
                      <a:pt x="340" y="370"/>
                    </a:cubicBezTo>
                    <a:cubicBezTo>
                      <a:pt x="340" y="372"/>
                      <a:pt x="340" y="372"/>
                      <a:pt x="340" y="372"/>
                    </a:cubicBezTo>
                    <a:cubicBezTo>
                      <a:pt x="340" y="372"/>
                      <a:pt x="340" y="372"/>
                      <a:pt x="340" y="372"/>
                    </a:cubicBezTo>
                    <a:cubicBezTo>
                      <a:pt x="339" y="374"/>
                      <a:pt x="339" y="374"/>
                      <a:pt x="339" y="374"/>
                    </a:cubicBezTo>
                    <a:cubicBezTo>
                      <a:pt x="340" y="374"/>
                      <a:pt x="340" y="374"/>
                      <a:pt x="340" y="374"/>
                    </a:cubicBezTo>
                    <a:cubicBezTo>
                      <a:pt x="341" y="374"/>
                      <a:pt x="341" y="374"/>
                      <a:pt x="341" y="374"/>
                    </a:cubicBezTo>
                    <a:cubicBezTo>
                      <a:pt x="342" y="374"/>
                      <a:pt x="342" y="374"/>
                      <a:pt x="342" y="374"/>
                    </a:cubicBezTo>
                    <a:cubicBezTo>
                      <a:pt x="343" y="373"/>
                      <a:pt x="343" y="373"/>
                      <a:pt x="343" y="373"/>
                    </a:cubicBezTo>
                    <a:cubicBezTo>
                      <a:pt x="343" y="371"/>
                      <a:pt x="343" y="371"/>
                      <a:pt x="343" y="371"/>
                    </a:cubicBezTo>
                    <a:cubicBezTo>
                      <a:pt x="342" y="370"/>
                      <a:pt x="342" y="370"/>
                      <a:pt x="342" y="370"/>
                    </a:cubicBezTo>
                    <a:cubicBezTo>
                      <a:pt x="341" y="369"/>
                      <a:pt x="341" y="369"/>
                      <a:pt x="341" y="369"/>
                    </a:cubicBezTo>
                    <a:cubicBezTo>
                      <a:pt x="343" y="368"/>
                      <a:pt x="343" y="368"/>
                      <a:pt x="343" y="368"/>
                    </a:cubicBezTo>
                    <a:cubicBezTo>
                      <a:pt x="344" y="367"/>
                      <a:pt x="344" y="367"/>
                      <a:pt x="344" y="367"/>
                    </a:cubicBezTo>
                    <a:cubicBezTo>
                      <a:pt x="342" y="366"/>
                      <a:pt x="342" y="366"/>
                      <a:pt x="342" y="366"/>
                    </a:cubicBezTo>
                    <a:cubicBezTo>
                      <a:pt x="342" y="364"/>
                      <a:pt x="342" y="364"/>
                      <a:pt x="342" y="364"/>
                    </a:cubicBezTo>
                    <a:cubicBezTo>
                      <a:pt x="343" y="361"/>
                      <a:pt x="343" y="361"/>
                      <a:pt x="343" y="361"/>
                    </a:cubicBezTo>
                    <a:cubicBezTo>
                      <a:pt x="345" y="356"/>
                      <a:pt x="345" y="356"/>
                      <a:pt x="345" y="356"/>
                    </a:cubicBezTo>
                    <a:cubicBezTo>
                      <a:pt x="344" y="354"/>
                      <a:pt x="344" y="354"/>
                      <a:pt x="344" y="354"/>
                    </a:cubicBezTo>
                    <a:cubicBezTo>
                      <a:pt x="344" y="352"/>
                      <a:pt x="344" y="352"/>
                      <a:pt x="344" y="352"/>
                    </a:cubicBezTo>
                    <a:cubicBezTo>
                      <a:pt x="346" y="351"/>
                      <a:pt x="346" y="351"/>
                      <a:pt x="346" y="351"/>
                    </a:cubicBezTo>
                    <a:cubicBezTo>
                      <a:pt x="348" y="351"/>
                      <a:pt x="348" y="351"/>
                      <a:pt x="348" y="351"/>
                    </a:cubicBezTo>
                    <a:cubicBezTo>
                      <a:pt x="348" y="350"/>
                      <a:pt x="348" y="350"/>
                      <a:pt x="348" y="350"/>
                    </a:cubicBezTo>
                    <a:cubicBezTo>
                      <a:pt x="349" y="349"/>
                      <a:pt x="349" y="349"/>
                      <a:pt x="349" y="349"/>
                    </a:cubicBezTo>
                    <a:cubicBezTo>
                      <a:pt x="351" y="349"/>
                      <a:pt x="351" y="349"/>
                      <a:pt x="351" y="349"/>
                    </a:cubicBezTo>
                    <a:cubicBezTo>
                      <a:pt x="351" y="350"/>
                      <a:pt x="351" y="350"/>
                      <a:pt x="351" y="350"/>
                    </a:cubicBezTo>
                    <a:cubicBezTo>
                      <a:pt x="353" y="349"/>
                      <a:pt x="353" y="349"/>
                      <a:pt x="353" y="349"/>
                    </a:cubicBezTo>
                    <a:cubicBezTo>
                      <a:pt x="354" y="348"/>
                      <a:pt x="354" y="348"/>
                      <a:pt x="354" y="348"/>
                    </a:cubicBezTo>
                    <a:cubicBezTo>
                      <a:pt x="355" y="348"/>
                      <a:pt x="355" y="348"/>
                      <a:pt x="355" y="348"/>
                    </a:cubicBezTo>
                    <a:cubicBezTo>
                      <a:pt x="355" y="349"/>
                      <a:pt x="355" y="349"/>
                      <a:pt x="355" y="349"/>
                    </a:cubicBezTo>
                    <a:cubicBezTo>
                      <a:pt x="356" y="349"/>
                      <a:pt x="356" y="349"/>
                      <a:pt x="356" y="349"/>
                    </a:cubicBezTo>
                    <a:cubicBezTo>
                      <a:pt x="358" y="348"/>
                      <a:pt x="358" y="348"/>
                      <a:pt x="358" y="348"/>
                    </a:cubicBezTo>
                    <a:cubicBezTo>
                      <a:pt x="359" y="346"/>
                      <a:pt x="359" y="346"/>
                      <a:pt x="359" y="346"/>
                    </a:cubicBezTo>
                    <a:cubicBezTo>
                      <a:pt x="360" y="346"/>
                      <a:pt x="360" y="346"/>
                      <a:pt x="360" y="346"/>
                    </a:cubicBezTo>
                    <a:cubicBezTo>
                      <a:pt x="361" y="348"/>
                      <a:pt x="361" y="348"/>
                      <a:pt x="361" y="348"/>
                    </a:cubicBezTo>
                    <a:cubicBezTo>
                      <a:pt x="362" y="348"/>
                      <a:pt x="362" y="348"/>
                      <a:pt x="362" y="348"/>
                    </a:cubicBezTo>
                    <a:cubicBezTo>
                      <a:pt x="362" y="351"/>
                      <a:pt x="362" y="351"/>
                      <a:pt x="362" y="351"/>
                    </a:cubicBezTo>
                    <a:cubicBezTo>
                      <a:pt x="362" y="348"/>
                      <a:pt x="362" y="348"/>
                      <a:pt x="362" y="348"/>
                    </a:cubicBezTo>
                    <a:cubicBezTo>
                      <a:pt x="361" y="346"/>
                      <a:pt x="361" y="346"/>
                      <a:pt x="361" y="346"/>
                    </a:cubicBezTo>
                    <a:cubicBezTo>
                      <a:pt x="363" y="343"/>
                      <a:pt x="363" y="343"/>
                      <a:pt x="363" y="343"/>
                    </a:cubicBezTo>
                    <a:cubicBezTo>
                      <a:pt x="364" y="343"/>
                      <a:pt x="364" y="343"/>
                      <a:pt x="364" y="343"/>
                    </a:cubicBezTo>
                    <a:cubicBezTo>
                      <a:pt x="365" y="344"/>
                      <a:pt x="365" y="344"/>
                      <a:pt x="365" y="344"/>
                    </a:cubicBezTo>
                    <a:cubicBezTo>
                      <a:pt x="367" y="343"/>
                      <a:pt x="367" y="343"/>
                      <a:pt x="367" y="343"/>
                    </a:cubicBezTo>
                    <a:cubicBezTo>
                      <a:pt x="368" y="343"/>
                      <a:pt x="368" y="343"/>
                      <a:pt x="368" y="343"/>
                    </a:cubicBezTo>
                    <a:cubicBezTo>
                      <a:pt x="369" y="344"/>
                      <a:pt x="369" y="344"/>
                      <a:pt x="369" y="344"/>
                    </a:cubicBezTo>
                    <a:cubicBezTo>
                      <a:pt x="371" y="341"/>
                      <a:pt x="371" y="341"/>
                      <a:pt x="371" y="341"/>
                    </a:cubicBezTo>
                    <a:cubicBezTo>
                      <a:pt x="371" y="340"/>
                      <a:pt x="371" y="340"/>
                      <a:pt x="371" y="340"/>
                    </a:cubicBezTo>
                    <a:cubicBezTo>
                      <a:pt x="372" y="339"/>
                      <a:pt x="372" y="339"/>
                      <a:pt x="372" y="339"/>
                    </a:cubicBezTo>
                    <a:cubicBezTo>
                      <a:pt x="370" y="338"/>
                      <a:pt x="370" y="338"/>
                      <a:pt x="370" y="338"/>
                    </a:cubicBezTo>
                    <a:cubicBezTo>
                      <a:pt x="370" y="338"/>
                      <a:pt x="370" y="338"/>
                      <a:pt x="370" y="338"/>
                    </a:cubicBezTo>
                    <a:cubicBezTo>
                      <a:pt x="368" y="338"/>
                      <a:pt x="368" y="338"/>
                      <a:pt x="368" y="338"/>
                    </a:cubicBezTo>
                    <a:cubicBezTo>
                      <a:pt x="364" y="339"/>
                      <a:pt x="364" y="339"/>
                      <a:pt x="364" y="339"/>
                    </a:cubicBezTo>
                    <a:cubicBezTo>
                      <a:pt x="363" y="339"/>
                      <a:pt x="363" y="339"/>
                      <a:pt x="363" y="339"/>
                    </a:cubicBezTo>
                    <a:cubicBezTo>
                      <a:pt x="363" y="341"/>
                      <a:pt x="363" y="341"/>
                      <a:pt x="363" y="341"/>
                    </a:cubicBezTo>
                    <a:cubicBezTo>
                      <a:pt x="361" y="341"/>
                      <a:pt x="361" y="341"/>
                      <a:pt x="361" y="341"/>
                    </a:cubicBezTo>
                    <a:cubicBezTo>
                      <a:pt x="361" y="342"/>
                      <a:pt x="361" y="342"/>
                      <a:pt x="361" y="342"/>
                    </a:cubicBezTo>
                    <a:cubicBezTo>
                      <a:pt x="361" y="343"/>
                      <a:pt x="361" y="343"/>
                      <a:pt x="361" y="343"/>
                    </a:cubicBezTo>
                    <a:cubicBezTo>
                      <a:pt x="359" y="341"/>
                      <a:pt x="359" y="341"/>
                      <a:pt x="359" y="341"/>
                    </a:cubicBezTo>
                    <a:cubicBezTo>
                      <a:pt x="359" y="339"/>
                      <a:pt x="359" y="339"/>
                      <a:pt x="359" y="339"/>
                    </a:cubicBezTo>
                    <a:cubicBezTo>
                      <a:pt x="358" y="340"/>
                      <a:pt x="358" y="340"/>
                      <a:pt x="358" y="340"/>
                    </a:cubicBezTo>
                    <a:cubicBezTo>
                      <a:pt x="358" y="342"/>
                      <a:pt x="358" y="342"/>
                      <a:pt x="358" y="342"/>
                    </a:cubicBezTo>
                    <a:cubicBezTo>
                      <a:pt x="356" y="343"/>
                      <a:pt x="356" y="343"/>
                      <a:pt x="356" y="343"/>
                    </a:cubicBezTo>
                    <a:cubicBezTo>
                      <a:pt x="355" y="341"/>
                      <a:pt x="355" y="341"/>
                      <a:pt x="355" y="341"/>
                    </a:cubicBezTo>
                    <a:cubicBezTo>
                      <a:pt x="353" y="341"/>
                      <a:pt x="353" y="341"/>
                      <a:pt x="353" y="341"/>
                    </a:cubicBezTo>
                    <a:cubicBezTo>
                      <a:pt x="353" y="340"/>
                      <a:pt x="353" y="340"/>
                      <a:pt x="353" y="340"/>
                    </a:cubicBezTo>
                    <a:cubicBezTo>
                      <a:pt x="352" y="341"/>
                      <a:pt x="352" y="341"/>
                      <a:pt x="352" y="341"/>
                    </a:cubicBezTo>
                    <a:cubicBezTo>
                      <a:pt x="351" y="342"/>
                      <a:pt x="351" y="342"/>
                      <a:pt x="351" y="342"/>
                    </a:cubicBezTo>
                    <a:cubicBezTo>
                      <a:pt x="353" y="343"/>
                      <a:pt x="353" y="343"/>
                      <a:pt x="353" y="343"/>
                    </a:cubicBezTo>
                    <a:cubicBezTo>
                      <a:pt x="353" y="344"/>
                      <a:pt x="353" y="344"/>
                      <a:pt x="353" y="344"/>
                    </a:cubicBezTo>
                    <a:cubicBezTo>
                      <a:pt x="351" y="345"/>
                      <a:pt x="351" y="345"/>
                      <a:pt x="351" y="345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48" y="344"/>
                      <a:pt x="348" y="344"/>
                      <a:pt x="348" y="344"/>
                    </a:cubicBezTo>
                    <a:cubicBezTo>
                      <a:pt x="347" y="343"/>
                      <a:pt x="347" y="343"/>
                      <a:pt x="347" y="343"/>
                    </a:cubicBezTo>
                    <a:cubicBezTo>
                      <a:pt x="348" y="342"/>
                      <a:pt x="348" y="342"/>
                      <a:pt x="348" y="342"/>
                    </a:cubicBezTo>
                    <a:cubicBezTo>
                      <a:pt x="349" y="340"/>
                      <a:pt x="349" y="340"/>
                      <a:pt x="349" y="340"/>
                    </a:cubicBezTo>
                    <a:cubicBezTo>
                      <a:pt x="348" y="340"/>
                      <a:pt x="348" y="340"/>
                      <a:pt x="348" y="340"/>
                    </a:cubicBezTo>
                    <a:cubicBezTo>
                      <a:pt x="347" y="341"/>
                      <a:pt x="347" y="341"/>
                      <a:pt x="347" y="341"/>
                    </a:cubicBezTo>
                    <a:cubicBezTo>
                      <a:pt x="346" y="340"/>
                      <a:pt x="346" y="340"/>
                      <a:pt x="346" y="340"/>
                    </a:cubicBezTo>
                    <a:cubicBezTo>
                      <a:pt x="346" y="338"/>
                      <a:pt x="346" y="338"/>
                      <a:pt x="346" y="338"/>
                    </a:cubicBezTo>
                    <a:cubicBezTo>
                      <a:pt x="348" y="337"/>
                      <a:pt x="348" y="337"/>
                      <a:pt x="348" y="337"/>
                    </a:cubicBezTo>
                    <a:cubicBezTo>
                      <a:pt x="351" y="334"/>
                      <a:pt x="351" y="334"/>
                      <a:pt x="351" y="334"/>
                    </a:cubicBezTo>
                    <a:cubicBezTo>
                      <a:pt x="352" y="334"/>
                      <a:pt x="352" y="334"/>
                      <a:pt x="352" y="334"/>
                    </a:cubicBezTo>
                    <a:cubicBezTo>
                      <a:pt x="354" y="334"/>
                      <a:pt x="354" y="334"/>
                      <a:pt x="354" y="334"/>
                    </a:cubicBezTo>
                    <a:cubicBezTo>
                      <a:pt x="361" y="334"/>
                      <a:pt x="361" y="334"/>
                      <a:pt x="361" y="334"/>
                    </a:cubicBezTo>
                    <a:cubicBezTo>
                      <a:pt x="366" y="332"/>
                      <a:pt x="366" y="332"/>
                      <a:pt x="366" y="332"/>
                    </a:cubicBezTo>
                    <a:cubicBezTo>
                      <a:pt x="368" y="333"/>
                      <a:pt x="368" y="333"/>
                      <a:pt x="368" y="333"/>
                    </a:cubicBezTo>
                    <a:cubicBezTo>
                      <a:pt x="370" y="332"/>
                      <a:pt x="370" y="332"/>
                      <a:pt x="370" y="332"/>
                    </a:cubicBezTo>
                    <a:cubicBezTo>
                      <a:pt x="371" y="333"/>
                      <a:pt x="371" y="333"/>
                      <a:pt x="371" y="333"/>
                    </a:cubicBezTo>
                    <a:cubicBezTo>
                      <a:pt x="372" y="334"/>
                      <a:pt x="372" y="334"/>
                      <a:pt x="372" y="334"/>
                    </a:cubicBezTo>
                    <a:cubicBezTo>
                      <a:pt x="373" y="334"/>
                      <a:pt x="373" y="334"/>
                      <a:pt x="373" y="334"/>
                    </a:cubicBezTo>
                    <a:cubicBezTo>
                      <a:pt x="374" y="336"/>
                      <a:pt x="374" y="336"/>
                      <a:pt x="374" y="336"/>
                    </a:cubicBezTo>
                    <a:cubicBezTo>
                      <a:pt x="373" y="340"/>
                      <a:pt x="373" y="340"/>
                      <a:pt x="373" y="340"/>
                    </a:cubicBezTo>
                    <a:cubicBezTo>
                      <a:pt x="373" y="341"/>
                      <a:pt x="373" y="341"/>
                      <a:pt x="373" y="341"/>
                    </a:cubicBezTo>
                    <a:cubicBezTo>
                      <a:pt x="374" y="342"/>
                      <a:pt x="374" y="342"/>
                      <a:pt x="374" y="342"/>
                    </a:cubicBezTo>
                    <a:cubicBezTo>
                      <a:pt x="374" y="343"/>
                      <a:pt x="374" y="343"/>
                      <a:pt x="374" y="343"/>
                    </a:cubicBezTo>
                    <a:cubicBezTo>
                      <a:pt x="372" y="344"/>
                      <a:pt x="372" y="344"/>
                      <a:pt x="372" y="344"/>
                    </a:cubicBezTo>
                    <a:cubicBezTo>
                      <a:pt x="372" y="344"/>
                      <a:pt x="372" y="344"/>
                      <a:pt x="372" y="344"/>
                    </a:cubicBezTo>
                    <a:cubicBezTo>
                      <a:pt x="373" y="345"/>
                      <a:pt x="373" y="345"/>
                      <a:pt x="373" y="345"/>
                    </a:cubicBezTo>
                    <a:cubicBezTo>
                      <a:pt x="373" y="349"/>
                      <a:pt x="373" y="349"/>
                      <a:pt x="373" y="349"/>
                    </a:cubicBezTo>
                    <a:cubicBezTo>
                      <a:pt x="375" y="349"/>
                      <a:pt x="375" y="349"/>
                      <a:pt x="375" y="349"/>
                    </a:cubicBezTo>
                    <a:cubicBezTo>
                      <a:pt x="376" y="349"/>
                      <a:pt x="376" y="349"/>
                      <a:pt x="376" y="349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4" y="351"/>
                      <a:pt x="374" y="351"/>
                      <a:pt x="374" y="351"/>
                    </a:cubicBezTo>
                    <a:cubicBezTo>
                      <a:pt x="374" y="353"/>
                      <a:pt x="374" y="353"/>
                      <a:pt x="374" y="353"/>
                    </a:cubicBezTo>
                    <a:cubicBezTo>
                      <a:pt x="374" y="354"/>
                      <a:pt x="374" y="354"/>
                      <a:pt x="374" y="354"/>
                    </a:cubicBezTo>
                    <a:cubicBezTo>
                      <a:pt x="375" y="354"/>
                      <a:pt x="375" y="354"/>
                      <a:pt x="375" y="354"/>
                    </a:cubicBezTo>
                    <a:cubicBezTo>
                      <a:pt x="377" y="355"/>
                      <a:pt x="377" y="355"/>
                      <a:pt x="377" y="355"/>
                    </a:cubicBezTo>
                    <a:cubicBezTo>
                      <a:pt x="378" y="356"/>
                      <a:pt x="378" y="356"/>
                      <a:pt x="378" y="356"/>
                    </a:cubicBezTo>
                    <a:cubicBezTo>
                      <a:pt x="378" y="355"/>
                      <a:pt x="378" y="355"/>
                      <a:pt x="378" y="355"/>
                    </a:cubicBezTo>
                    <a:cubicBezTo>
                      <a:pt x="380" y="357"/>
                      <a:pt x="380" y="357"/>
                      <a:pt x="380" y="357"/>
                    </a:cubicBezTo>
                    <a:cubicBezTo>
                      <a:pt x="382" y="357"/>
                      <a:pt x="382" y="357"/>
                      <a:pt x="382" y="357"/>
                    </a:cubicBezTo>
                    <a:cubicBezTo>
                      <a:pt x="383" y="356"/>
                      <a:pt x="383" y="356"/>
                      <a:pt x="383" y="356"/>
                    </a:cubicBezTo>
                    <a:cubicBezTo>
                      <a:pt x="384" y="356"/>
                      <a:pt x="384" y="356"/>
                      <a:pt x="384" y="356"/>
                    </a:cubicBezTo>
                    <a:cubicBezTo>
                      <a:pt x="384" y="358"/>
                      <a:pt x="384" y="358"/>
                      <a:pt x="384" y="358"/>
                    </a:cubicBezTo>
                    <a:cubicBezTo>
                      <a:pt x="384" y="358"/>
                      <a:pt x="384" y="358"/>
                      <a:pt x="384" y="358"/>
                    </a:cubicBezTo>
                    <a:cubicBezTo>
                      <a:pt x="385" y="358"/>
                      <a:pt x="385" y="358"/>
                      <a:pt x="385" y="358"/>
                    </a:cubicBezTo>
                    <a:cubicBezTo>
                      <a:pt x="386" y="359"/>
                      <a:pt x="386" y="359"/>
                      <a:pt x="386" y="359"/>
                    </a:cubicBezTo>
                    <a:cubicBezTo>
                      <a:pt x="386" y="360"/>
                      <a:pt x="386" y="360"/>
                      <a:pt x="386" y="360"/>
                    </a:cubicBezTo>
                    <a:cubicBezTo>
                      <a:pt x="386" y="361"/>
                      <a:pt x="386" y="361"/>
                      <a:pt x="386" y="361"/>
                    </a:cubicBezTo>
                    <a:cubicBezTo>
                      <a:pt x="387" y="362"/>
                      <a:pt x="387" y="362"/>
                      <a:pt x="387" y="362"/>
                    </a:cubicBezTo>
                    <a:cubicBezTo>
                      <a:pt x="387" y="363"/>
                      <a:pt x="387" y="363"/>
                      <a:pt x="387" y="363"/>
                    </a:cubicBezTo>
                    <a:cubicBezTo>
                      <a:pt x="390" y="365"/>
                      <a:pt x="390" y="365"/>
                      <a:pt x="390" y="365"/>
                    </a:cubicBezTo>
                    <a:cubicBezTo>
                      <a:pt x="390" y="367"/>
                      <a:pt x="390" y="367"/>
                      <a:pt x="390" y="367"/>
                    </a:cubicBezTo>
                    <a:cubicBezTo>
                      <a:pt x="392" y="365"/>
                      <a:pt x="392" y="365"/>
                      <a:pt x="392" y="365"/>
                    </a:cubicBezTo>
                    <a:cubicBezTo>
                      <a:pt x="392" y="366"/>
                      <a:pt x="392" y="366"/>
                      <a:pt x="392" y="366"/>
                    </a:cubicBezTo>
                    <a:cubicBezTo>
                      <a:pt x="393" y="368"/>
                      <a:pt x="393" y="368"/>
                      <a:pt x="393" y="368"/>
                    </a:cubicBezTo>
                    <a:cubicBezTo>
                      <a:pt x="393" y="368"/>
                      <a:pt x="393" y="368"/>
                      <a:pt x="393" y="368"/>
                    </a:cubicBezTo>
                    <a:cubicBezTo>
                      <a:pt x="395" y="370"/>
                      <a:pt x="395" y="370"/>
                      <a:pt x="395" y="370"/>
                    </a:cubicBezTo>
                    <a:cubicBezTo>
                      <a:pt x="397" y="368"/>
                      <a:pt x="397" y="368"/>
                      <a:pt x="397" y="368"/>
                    </a:cubicBezTo>
                    <a:cubicBezTo>
                      <a:pt x="401" y="369"/>
                      <a:pt x="401" y="369"/>
                      <a:pt x="401" y="369"/>
                    </a:cubicBezTo>
                    <a:cubicBezTo>
                      <a:pt x="402" y="367"/>
                      <a:pt x="402" y="367"/>
                      <a:pt x="402" y="367"/>
                    </a:cubicBezTo>
                    <a:cubicBezTo>
                      <a:pt x="404" y="366"/>
                      <a:pt x="404" y="366"/>
                      <a:pt x="404" y="366"/>
                    </a:cubicBezTo>
                    <a:cubicBezTo>
                      <a:pt x="405" y="366"/>
                      <a:pt x="405" y="366"/>
                      <a:pt x="405" y="366"/>
                    </a:cubicBezTo>
                    <a:cubicBezTo>
                      <a:pt x="405" y="367"/>
                      <a:pt x="405" y="367"/>
                      <a:pt x="405" y="367"/>
                    </a:cubicBezTo>
                    <a:cubicBezTo>
                      <a:pt x="409" y="367"/>
                      <a:pt x="409" y="367"/>
                      <a:pt x="409" y="367"/>
                    </a:cubicBezTo>
                    <a:cubicBezTo>
                      <a:pt x="412" y="369"/>
                      <a:pt x="412" y="369"/>
                      <a:pt x="412" y="369"/>
                    </a:cubicBezTo>
                    <a:cubicBezTo>
                      <a:pt x="414" y="370"/>
                      <a:pt x="414" y="370"/>
                      <a:pt x="414" y="370"/>
                    </a:cubicBezTo>
                    <a:cubicBezTo>
                      <a:pt x="415" y="371"/>
                      <a:pt x="415" y="371"/>
                      <a:pt x="415" y="371"/>
                    </a:cubicBezTo>
                    <a:cubicBezTo>
                      <a:pt x="416" y="370"/>
                      <a:pt x="416" y="370"/>
                      <a:pt x="416" y="370"/>
                    </a:cubicBezTo>
                    <a:cubicBezTo>
                      <a:pt x="419" y="369"/>
                      <a:pt x="419" y="369"/>
                      <a:pt x="419" y="369"/>
                    </a:cubicBezTo>
                    <a:cubicBezTo>
                      <a:pt x="421" y="371"/>
                      <a:pt x="421" y="371"/>
                      <a:pt x="421" y="371"/>
                    </a:cubicBezTo>
                    <a:cubicBezTo>
                      <a:pt x="422" y="371"/>
                      <a:pt x="422" y="371"/>
                      <a:pt x="422" y="371"/>
                    </a:cubicBezTo>
                    <a:cubicBezTo>
                      <a:pt x="421" y="368"/>
                      <a:pt x="421" y="368"/>
                      <a:pt x="421" y="368"/>
                    </a:cubicBezTo>
                    <a:cubicBezTo>
                      <a:pt x="420" y="367"/>
                      <a:pt x="420" y="367"/>
                      <a:pt x="420" y="367"/>
                    </a:cubicBezTo>
                    <a:cubicBezTo>
                      <a:pt x="419" y="364"/>
                      <a:pt x="419" y="364"/>
                      <a:pt x="419" y="364"/>
                    </a:cubicBezTo>
                    <a:cubicBezTo>
                      <a:pt x="420" y="363"/>
                      <a:pt x="420" y="363"/>
                      <a:pt x="420" y="363"/>
                    </a:cubicBezTo>
                    <a:cubicBezTo>
                      <a:pt x="421" y="363"/>
                      <a:pt x="421" y="363"/>
                      <a:pt x="421" y="363"/>
                    </a:cubicBezTo>
                    <a:cubicBezTo>
                      <a:pt x="422" y="367"/>
                      <a:pt x="422" y="367"/>
                      <a:pt x="422" y="367"/>
                    </a:cubicBezTo>
                    <a:cubicBezTo>
                      <a:pt x="423" y="369"/>
                      <a:pt x="423" y="369"/>
                      <a:pt x="423" y="369"/>
                    </a:cubicBezTo>
                    <a:cubicBezTo>
                      <a:pt x="425" y="372"/>
                      <a:pt x="425" y="372"/>
                      <a:pt x="425" y="372"/>
                    </a:cubicBezTo>
                    <a:cubicBezTo>
                      <a:pt x="427" y="373"/>
                      <a:pt x="427" y="373"/>
                      <a:pt x="427" y="373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8" y="372"/>
                      <a:pt x="428" y="372"/>
                      <a:pt x="428" y="372"/>
                    </a:cubicBezTo>
                    <a:cubicBezTo>
                      <a:pt x="427" y="370"/>
                      <a:pt x="427" y="370"/>
                      <a:pt x="427" y="370"/>
                    </a:cubicBezTo>
                    <a:cubicBezTo>
                      <a:pt x="424" y="369"/>
                      <a:pt x="424" y="369"/>
                      <a:pt x="424" y="369"/>
                    </a:cubicBezTo>
                    <a:cubicBezTo>
                      <a:pt x="423" y="366"/>
                      <a:pt x="423" y="366"/>
                      <a:pt x="423" y="366"/>
                    </a:cubicBezTo>
                    <a:cubicBezTo>
                      <a:pt x="422" y="362"/>
                      <a:pt x="422" y="362"/>
                      <a:pt x="422" y="362"/>
                    </a:cubicBezTo>
                    <a:cubicBezTo>
                      <a:pt x="423" y="361"/>
                      <a:pt x="423" y="361"/>
                      <a:pt x="423" y="361"/>
                    </a:cubicBezTo>
                    <a:cubicBezTo>
                      <a:pt x="424" y="361"/>
                      <a:pt x="424" y="361"/>
                      <a:pt x="424" y="361"/>
                    </a:cubicBezTo>
                    <a:cubicBezTo>
                      <a:pt x="424" y="362"/>
                      <a:pt x="424" y="362"/>
                      <a:pt x="424" y="362"/>
                    </a:cubicBezTo>
                    <a:cubicBezTo>
                      <a:pt x="424" y="363"/>
                      <a:pt x="424" y="363"/>
                      <a:pt x="424" y="363"/>
                    </a:cubicBezTo>
                    <a:cubicBezTo>
                      <a:pt x="425" y="362"/>
                      <a:pt x="425" y="362"/>
                      <a:pt x="425" y="362"/>
                    </a:cubicBezTo>
                    <a:cubicBezTo>
                      <a:pt x="425" y="361"/>
                      <a:pt x="425" y="361"/>
                      <a:pt x="425" y="361"/>
                    </a:cubicBezTo>
                    <a:cubicBezTo>
                      <a:pt x="425" y="359"/>
                      <a:pt x="425" y="359"/>
                      <a:pt x="425" y="359"/>
                    </a:cubicBezTo>
                    <a:cubicBezTo>
                      <a:pt x="425" y="358"/>
                      <a:pt x="425" y="358"/>
                      <a:pt x="425" y="358"/>
                    </a:cubicBezTo>
                    <a:cubicBezTo>
                      <a:pt x="425" y="357"/>
                      <a:pt x="425" y="357"/>
                      <a:pt x="425" y="357"/>
                    </a:cubicBezTo>
                    <a:cubicBezTo>
                      <a:pt x="425" y="356"/>
                      <a:pt x="425" y="356"/>
                      <a:pt x="425" y="356"/>
                    </a:cubicBezTo>
                    <a:cubicBezTo>
                      <a:pt x="426" y="356"/>
                      <a:pt x="426" y="356"/>
                      <a:pt x="426" y="356"/>
                    </a:cubicBezTo>
                    <a:cubicBezTo>
                      <a:pt x="428" y="358"/>
                      <a:pt x="428" y="358"/>
                      <a:pt x="428" y="358"/>
                    </a:cubicBezTo>
                    <a:cubicBezTo>
                      <a:pt x="427" y="359"/>
                      <a:pt x="427" y="359"/>
                      <a:pt x="427" y="359"/>
                    </a:cubicBezTo>
                    <a:cubicBezTo>
                      <a:pt x="428" y="359"/>
                      <a:pt x="428" y="359"/>
                      <a:pt x="428" y="359"/>
                    </a:cubicBezTo>
                    <a:cubicBezTo>
                      <a:pt x="429" y="359"/>
                      <a:pt x="429" y="359"/>
                      <a:pt x="429" y="359"/>
                    </a:cubicBezTo>
                    <a:cubicBezTo>
                      <a:pt x="431" y="357"/>
                      <a:pt x="431" y="357"/>
                      <a:pt x="431" y="357"/>
                    </a:cubicBezTo>
                    <a:cubicBezTo>
                      <a:pt x="431" y="356"/>
                      <a:pt x="431" y="356"/>
                      <a:pt x="431" y="356"/>
                    </a:cubicBezTo>
                    <a:cubicBezTo>
                      <a:pt x="433" y="356"/>
                      <a:pt x="433" y="356"/>
                      <a:pt x="433" y="356"/>
                    </a:cubicBezTo>
                    <a:cubicBezTo>
                      <a:pt x="434" y="357"/>
                      <a:pt x="434" y="357"/>
                      <a:pt x="434" y="357"/>
                    </a:cubicBezTo>
                    <a:cubicBezTo>
                      <a:pt x="433" y="358"/>
                      <a:pt x="433" y="358"/>
                      <a:pt x="433" y="358"/>
                    </a:cubicBezTo>
                    <a:cubicBezTo>
                      <a:pt x="433" y="359"/>
                      <a:pt x="433" y="359"/>
                      <a:pt x="433" y="359"/>
                    </a:cubicBezTo>
                    <a:cubicBezTo>
                      <a:pt x="434" y="358"/>
                      <a:pt x="434" y="358"/>
                      <a:pt x="434" y="358"/>
                    </a:cubicBezTo>
                    <a:cubicBezTo>
                      <a:pt x="435" y="358"/>
                      <a:pt x="435" y="358"/>
                      <a:pt x="435" y="358"/>
                    </a:cubicBezTo>
                    <a:cubicBezTo>
                      <a:pt x="436" y="359"/>
                      <a:pt x="436" y="359"/>
                      <a:pt x="436" y="359"/>
                    </a:cubicBezTo>
                    <a:cubicBezTo>
                      <a:pt x="436" y="361"/>
                      <a:pt x="436" y="361"/>
                      <a:pt x="436" y="361"/>
                    </a:cubicBezTo>
                    <a:cubicBezTo>
                      <a:pt x="435" y="363"/>
                      <a:pt x="435" y="363"/>
                      <a:pt x="435" y="363"/>
                    </a:cubicBezTo>
                    <a:cubicBezTo>
                      <a:pt x="436" y="364"/>
                      <a:pt x="436" y="364"/>
                      <a:pt x="436" y="364"/>
                    </a:cubicBezTo>
                    <a:cubicBezTo>
                      <a:pt x="438" y="364"/>
                      <a:pt x="438" y="364"/>
                      <a:pt x="438" y="364"/>
                    </a:cubicBezTo>
                    <a:cubicBezTo>
                      <a:pt x="439" y="364"/>
                      <a:pt x="439" y="364"/>
                      <a:pt x="439" y="364"/>
                    </a:cubicBezTo>
                    <a:cubicBezTo>
                      <a:pt x="439" y="366"/>
                      <a:pt x="439" y="366"/>
                      <a:pt x="439" y="366"/>
                    </a:cubicBezTo>
                    <a:cubicBezTo>
                      <a:pt x="436" y="367"/>
                      <a:pt x="436" y="367"/>
                      <a:pt x="436" y="367"/>
                    </a:cubicBezTo>
                    <a:cubicBezTo>
                      <a:pt x="436" y="368"/>
                      <a:pt x="436" y="368"/>
                      <a:pt x="436" y="368"/>
                    </a:cubicBezTo>
                    <a:cubicBezTo>
                      <a:pt x="437" y="368"/>
                      <a:pt x="437" y="368"/>
                      <a:pt x="437" y="368"/>
                    </a:cubicBezTo>
                    <a:cubicBezTo>
                      <a:pt x="440" y="367"/>
                      <a:pt x="440" y="367"/>
                      <a:pt x="440" y="367"/>
                    </a:cubicBezTo>
                    <a:cubicBezTo>
                      <a:pt x="441" y="365"/>
                      <a:pt x="441" y="365"/>
                      <a:pt x="441" y="365"/>
                    </a:cubicBezTo>
                    <a:cubicBezTo>
                      <a:pt x="443" y="364"/>
                      <a:pt x="443" y="364"/>
                      <a:pt x="443" y="364"/>
                    </a:cubicBezTo>
                    <a:cubicBezTo>
                      <a:pt x="445" y="364"/>
                      <a:pt x="445" y="364"/>
                      <a:pt x="445" y="364"/>
                    </a:cubicBezTo>
                    <a:cubicBezTo>
                      <a:pt x="445" y="365"/>
                      <a:pt x="445" y="365"/>
                      <a:pt x="445" y="365"/>
                    </a:cubicBezTo>
                    <a:cubicBezTo>
                      <a:pt x="444" y="365"/>
                      <a:pt x="444" y="365"/>
                      <a:pt x="444" y="365"/>
                    </a:cubicBezTo>
                    <a:cubicBezTo>
                      <a:pt x="443" y="366"/>
                      <a:pt x="443" y="366"/>
                      <a:pt x="443" y="366"/>
                    </a:cubicBezTo>
                    <a:cubicBezTo>
                      <a:pt x="442" y="369"/>
                      <a:pt x="442" y="369"/>
                      <a:pt x="442" y="369"/>
                    </a:cubicBezTo>
                    <a:cubicBezTo>
                      <a:pt x="439" y="371"/>
                      <a:pt x="439" y="371"/>
                      <a:pt x="439" y="371"/>
                    </a:cubicBezTo>
                    <a:cubicBezTo>
                      <a:pt x="439" y="372"/>
                      <a:pt x="439" y="372"/>
                      <a:pt x="439" y="372"/>
                    </a:cubicBezTo>
                    <a:cubicBezTo>
                      <a:pt x="436" y="374"/>
                      <a:pt x="436" y="374"/>
                      <a:pt x="436" y="374"/>
                    </a:cubicBezTo>
                    <a:cubicBezTo>
                      <a:pt x="436" y="376"/>
                      <a:pt x="436" y="376"/>
                      <a:pt x="436" y="376"/>
                    </a:cubicBezTo>
                    <a:cubicBezTo>
                      <a:pt x="436" y="377"/>
                      <a:pt x="436" y="377"/>
                      <a:pt x="436" y="377"/>
                    </a:cubicBezTo>
                    <a:cubicBezTo>
                      <a:pt x="435" y="375"/>
                      <a:pt x="435" y="375"/>
                      <a:pt x="435" y="375"/>
                    </a:cubicBezTo>
                    <a:cubicBezTo>
                      <a:pt x="434" y="377"/>
                      <a:pt x="434" y="377"/>
                      <a:pt x="434" y="377"/>
                    </a:cubicBezTo>
                    <a:cubicBezTo>
                      <a:pt x="433" y="380"/>
                      <a:pt x="433" y="380"/>
                      <a:pt x="433" y="380"/>
                    </a:cubicBezTo>
                    <a:cubicBezTo>
                      <a:pt x="434" y="381"/>
                      <a:pt x="434" y="381"/>
                      <a:pt x="434" y="381"/>
                    </a:cubicBezTo>
                    <a:cubicBezTo>
                      <a:pt x="435" y="381"/>
                      <a:pt x="435" y="381"/>
                      <a:pt x="435" y="381"/>
                    </a:cubicBezTo>
                    <a:cubicBezTo>
                      <a:pt x="436" y="381"/>
                      <a:pt x="436" y="381"/>
                      <a:pt x="436" y="381"/>
                    </a:cubicBezTo>
                    <a:cubicBezTo>
                      <a:pt x="436" y="382"/>
                      <a:pt x="436" y="382"/>
                      <a:pt x="436" y="382"/>
                    </a:cubicBezTo>
                    <a:cubicBezTo>
                      <a:pt x="434" y="384"/>
                      <a:pt x="434" y="384"/>
                      <a:pt x="434" y="384"/>
                    </a:cubicBezTo>
                    <a:cubicBezTo>
                      <a:pt x="434" y="385"/>
                      <a:pt x="434" y="385"/>
                      <a:pt x="434" y="385"/>
                    </a:cubicBezTo>
                    <a:cubicBezTo>
                      <a:pt x="437" y="384"/>
                      <a:pt x="437" y="384"/>
                      <a:pt x="437" y="384"/>
                    </a:cubicBezTo>
                    <a:cubicBezTo>
                      <a:pt x="438" y="383"/>
                      <a:pt x="438" y="383"/>
                      <a:pt x="438" y="383"/>
                    </a:cubicBezTo>
                    <a:cubicBezTo>
                      <a:pt x="439" y="383"/>
                      <a:pt x="439" y="383"/>
                      <a:pt x="439" y="383"/>
                    </a:cubicBezTo>
                    <a:cubicBezTo>
                      <a:pt x="438" y="385"/>
                      <a:pt x="438" y="385"/>
                      <a:pt x="438" y="385"/>
                    </a:cubicBezTo>
                    <a:cubicBezTo>
                      <a:pt x="437" y="386"/>
                      <a:pt x="437" y="386"/>
                      <a:pt x="437" y="386"/>
                    </a:cubicBezTo>
                    <a:cubicBezTo>
                      <a:pt x="438" y="386"/>
                      <a:pt x="438" y="386"/>
                      <a:pt x="438" y="386"/>
                    </a:cubicBezTo>
                    <a:cubicBezTo>
                      <a:pt x="439" y="386"/>
                      <a:pt x="439" y="386"/>
                      <a:pt x="439" y="386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8" y="390"/>
                      <a:pt x="438" y="390"/>
                      <a:pt x="438" y="390"/>
                    </a:cubicBezTo>
                    <a:cubicBezTo>
                      <a:pt x="437" y="391"/>
                      <a:pt x="437" y="391"/>
                      <a:pt x="437" y="391"/>
                    </a:cubicBezTo>
                    <a:cubicBezTo>
                      <a:pt x="435" y="390"/>
                      <a:pt x="435" y="390"/>
                      <a:pt x="435" y="390"/>
                    </a:cubicBezTo>
                    <a:cubicBezTo>
                      <a:pt x="434" y="388"/>
                      <a:pt x="434" y="388"/>
                      <a:pt x="434" y="388"/>
                    </a:cubicBezTo>
                    <a:cubicBezTo>
                      <a:pt x="432" y="389"/>
                      <a:pt x="432" y="389"/>
                      <a:pt x="432" y="389"/>
                    </a:cubicBezTo>
                    <a:cubicBezTo>
                      <a:pt x="431" y="387"/>
                      <a:pt x="431" y="387"/>
                      <a:pt x="431" y="387"/>
                    </a:cubicBezTo>
                    <a:cubicBezTo>
                      <a:pt x="430" y="387"/>
                      <a:pt x="430" y="387"/>
                      <a:pt x="430" y="387"/>
                    </a:cubicBezTo>
                    <a:cubicBezTo>
                      <a:pt x="429" y="390"/>
                      <a:pt x="429" y="390"/>
                      <a:pt x="429" y="390"/>
                    </a:cubicBezTo>
                    <a:cubicBezTo>
                      <a:pt x="431" y="391"/>
                      <a:pt x="431" y="391"/>
                      <a:pt x="431" y="391"/>
                    </a:cubicBezTo>
                    <a:cubicBezTo>
                      <a:pt x="431" y="394"/>
                      <a:pt x="431" y="394"/>
                      <a:pt x="431" y="394"/>
                    </a:cubicBezTo>
                    <a:cubicBezTo>
                      <a:pt x="431" y="398"/>
                      <a:pt x="431" y="398"/>
                      <a:pt x="431" y="398"/>
                    </a:cubicBezTo>
                    <a:cubicBezTo>
                      <a:pt x="432" y="394"/>
                      <a:pt x="432" y="394"/>
                      <a:pt x="432" y="394"/>
                    </a:cubicBezTo>
                    <a:cubicBezTo>
                      <a:pt x="432" y="391"/>
                      <a:pt x="432" y="391"/>
                      <a:pt x="432" y="391"/>
                    </a:cubicBezTo>
                    <a:cubicBezTo>
                      <a:pt x="433" y="390"/>
                      <a:pt x="433" y="390"/>
                      <a:pt x="433" y="390"/>
                    </a:cubicBezTo>
                    <a:cubicBezTo>
                      <a:pt x="434" y="391"/>
                      <a:pt x="434" y="391"/>
                      <a:pt x="434" y="391"/>
                    </a:cubicBezTo>
                    <a:cubicBezTo>
                      <a:pt x="436" y="392"/>
                      <a:pt x="436" y="392"/>
                      <a:pt x="436" y="392"/>
                    </a:cubicBezTo>
                    <a:cubicBezTo>
                      <a:pt x="438" y="393"/>
                      <a:pt x="438" y="393"/>
                      <a:pt x="438" y="393"/>
                    </a:cubicBezTo>
                    <a:cubicBezTo>
                      <a:pt x="439" y="392"/>
                      <a:pt x="439" y="392"/>
                      <a:pt x="439" y="392"/>
                    </a:cubicBezTo>
                    <a:cubicBezTo>
                      <a:pt x="440" y="389"/>
                      <a:pt x="440" y="389"/>
                      <a:pt x="440" y="389"/>
                    </a:cubicBezTo>
                    <a:cubicBezTo>
                      <a:pt x="442" y="389"/>
                      <a:pt x="442" y="389"/>
                      <a:pt x="442" y="389"/>
                    </a:cubicBezTo>
                    <a:cubicBezTo>
                      <a:pt x="444" y="387"/>
                      <a:pt x="444" y="387"/>
                      <a:pt x="444" y="387"/>
                    </a:cubicBezTo>
                    <a:cubicBezTo>
                      <a:pt x="446" y="387"/>
                      <a:pt x="446" y="387"/>
                      <a:pt x="446" y="387"/>
                    </a:cubicBezTo>
                    <a:cubicBezTo>
                      <a:pt x="447" y="385"/>
                      <a:pt x="447" y="385"/>
                      <a:pt x="447" y="385"/>
                    </a:cubicBezTo>
                    <a:cubicBezTo>
                      <a:pt x="445" y="386"/>
                      <a:pt x="445" y="386"/>
                      <a:pt x="445" y="386"/>
                    </a:cubicBezTo>
                    <a:cubicBezTo>
                      <a:pt x="443" y="386"/>
                      <a:pt x="443" y="386"/>
                      <a:pt x="443" y="386"/>
                    </a:cubicBezTo>
                    <a:cubicBezTo>
                      <a:pt x="443" y="387"/>
                      <a:pt x="443" y="387"/>
                      <a:pt x="443" y="387"/>
                    </a:cubicBezTo>
                    <a:cubicBezTo>
                      <a:pt x="441" y="388"/>
                      <a:pt x="441" y="388"/>
                      <a:pt x="441" y="388"/>
                    </a:cubicBezTo>
                    <a:cubicBezTo>
                      <a:pt x="441" y="388"/>
                      <a:pt x="441" y="388"/>
                      <a:pt x="441" y="388"/>
                    </a:cubicBezTo>
                    <a:cubicBezTo>
                      <a:pt x="442" y="386"/>
                      <a:pt x="442" y="386"/>
                      <a:pt x="442" y="386"/>
                    </a:cubicBezTo>
                    <a:cubicBezTo>
                      <a:pt x="443" y="385"/>
                      <a:pt x="443" y="385"/>
                      <a:pt x="443" y="385"/>
                    </a:cubicBezTo>
                    <a:cubicBezTo>
                      <a:pt x="442" y="383"/>
                      <a:pt x="442" y="383"/>
                      <a:pt x="442" y="383"/>
                    </a:cubicBezTo>
                    <a:cubicBezTo>
                      <a:pt x="442" y="382"/>
                      <a:pt x="442" y="382"/>
                      <a:pt x="442" y="382"/>
                    </a:cubicBezTo>
                    <a:cubicBezTo>
                      <a:pt x="443" y="379"/>
                      <a:pt x="443" y="379"/>
                      <a:pt x="443" y="379"/>
                    </a:cubicBezTo>
                    <a:cubicBezTo>
                      <a:pt x="443" y="378"/>
                      <a:pt x="443" y="378"/>
                      <a:pt x="443" y="378"/>
                    </a:cubicBezTo>
                    <a:cubicBezTo>
                      <a:pt x="442" y="377"/>
                      <a:pt x="442" y="377"/>
                      <a:pt x="442" y="377"/>
                    </a:cubicBezTo>
                    <a:cubicBezTo>
                      <a:pt x="443" y="376"/>
                      <a:pt x="443" y="376"/>
                      <a:pt x="443" y="376"/>
                    </a:cubicBezTo>
                    <a:cubicBezTo>
                      <a:pt x="444" y="373"/>
                      <a:pt x="444" y="373"/>
                      <a:pt x="444" y="373"/>
                    </a:cubicBezTo>
                    <a:cubicBezTo>
                      <a:pt x="445" y="371"/>
                      <a:pt x="445" y="371"/>
                      <a:pt x="445" y="371"/>
                    </a:cubicBezTo>
                    <a:cubicBezTo>
                      <a:pt x="447" y="369"/>
                      <a:pt x="447" y="369"/>
                      <a:pt x="447" y="369"/>
                    </a:cubicBezTo>
                    <a:cubicBezTo>
                      <a:pt x="448" y="370"/>
                      <a:pt x="448" y="370"/>
                      <a:pt x="448" y="370"/>
                    </a:cubicBezTo>
                    <a:cubicBezTo>
                      <a:pt x="447" y="371"/>
                      <a:pt x="447" y="371"/>
                      <a:pt x="447" y="371"/>
                    </a:cubicBezTo>
                    <a:cubicBezTo>
                      <a:pt x="448" y="370"/>
                      <a:pt x="448" y="370"/>
                      <a:pt x="448" y="370"/>
                    </a:cubicBezTo>
                    <a:cubicBezTo>
                      <a:pt x="449" y="369"/>
                      <a:pt x="449" y="369"/>
                      <a:pt x="449" y="369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51" y="371"/>
                      <a:pt x="451" y="371"/>
                      <a:pt x="451" y="371"/>
                    </a:cubicBezTo>
                    <a:cubicBezTo>
                      <a:pt x="453" y="370"/>
                      <a:pt x="453" y="370"/>
                      <a:pt x="453" y="370"/>
                    </a:cubicBezTo>
                    <a:cubicBezTo>
                      <a:pt x="454" y="369"/>
                      <a:pt x="454" y="369"/>
                      <a:pt x="454" y="369"/>
                    </a:cubicBezTo>
                    <a:cubicBezTo>
                      <a:pt x="458" y="367"/>
                      <a:pt x="458" y="367"/>
                      <a:pt x="458" y="367"/>
                    </a:cubicBezTo>
                    <a:cubicBezTo>
                      <a:pt x="459" y="365"/>
                      <a:pt x="459" y="365"/>
                      <a:pt x="459" y="365"/>
                    </a:cubicBezTo>
                    <a:cubicBezTo>
                      <a:pt x="459" y="364"/>
                      <a:pt x="459" y="364"/>
                      <a:pt x="459" y="364"/>
                    </a:cubicBezTo>
                    <a:cubicBezTo>
                      <a:pt x="460" y="364"/>
                      <a:pt x="460" y="364"/>
                      <a:pt x="460" y="364"/>
                    </a:cubicBezTo>
                    <a:cubicBezTo>
                      <a:pt x="462" y="362"/>
                      <a:pt x="462" y="362"/>
                      <a:pt x="462" y="362"/>
                    </a:cubicBezTo>
                    <a:cubicBezTo>
                      <a:pt x="465" y="362"/>
                      <a:pt x="465" y="362"/>
                      <a:pt x="465" y="362"/>
                    </a:cubicBezTo>
                    <a:cubicBezTo>
                      <a:pt x="466" y="360"/>
                      <a:pt x="466" y="360"/>
                      <a:pt x="466" y="360"/>
                    </a:cubicBezTo>
                    <a:cubicBezTo>
                      <a:pt x="466" y="359"/>
                      <a:pt x="466" y="359"/>
                      <a:pt x="466" y="359"/>
                    </a:cubicBezTo>
                    <a:cubicBezTo>
                      <a:pt x="467" y="356"/>
                      <a:pt x="467" y="356"/>
                      <a:pt x="467" y="356"/>
                    </a:cubicBezTo>
                    <a:cubicBezTo>
                      <a:pt x="468" y="354"/>
                      <a:pt x="468" y="354"/>
                      <a:pt x="468" y="354"/>
                    </a:cubicBezTo>
                    <a:cubicBezTo>
                      <a:pt x="468" y="352"/>
                      <a:pt x="468" y="352"/>
                      <a:pt x="468" y="352"/>
                    </a:cubicBezTo>
                    <a:cubicBezTo>
                      <a:pt x="467" y="351"/>
                      <a:pt x="467" y="351"/>
                      <a:pt x="467" y="351"/>
                    </a:cubicBezTo>
                    <a:cubicBezTo>
                      <a:pt x="466" y="352"/>
                      <a:pt x="466" y="352"/>
                      <a:pt x="466" y="352"/>
                    </a:cubicBezTo>
                    <a:cubicBezTo>
                      <a:pt x="465" y="352"/>
                      <a:pt x="465" y="352"/>
                      <a:pt x="465" y="352"/>
                    </a:cubicBezTo>
                    <a:cubicBezTo>
                      <a:pt x="465" y="353"/>
                      <a:pt x="465" y="353"/>
                      <a:pt x="465" y="353"/>
                    </a:cubicBezTo>
                    <a:cubicBezTo>
                      <a:pt x="464" y="355"/>
                      <a:pt x="464" y="355"/>
                      <a:pt x="464" y="355"/>
                    </a:cubicBezTo>
                    <a:cubicBezTo>
                      <a:pt x="462" y="355"/>
                      <a:pt x="462" y="355"/>
                      <a:pt x="462" y="355"/>
                    </a:cubicBezTo>
                    <a:cubicBezTo>
                      <a:pt x="461" y="354"/>
                      <a:pt x="461" y="354"/>
                      <a:pt x="461" y="354"/>
                    </a:cubicBezTo>
                    <a:cubicBezTo>
                      <a:pt x="460" y="354"/>
                      <a:pt x="460" y="354"/>
                      <a:pt x="460" y="354"/>
                    </a:cubicBezTo>
                    <a:cubicBezTo>
                      <a:pt x="460" y="354"/>
                      <a:pt x="460" y="354"/>
                      <a:pt x="460" y="354"/>
                    </a:cubicBezTo>
                    <a:cubicBezTo>
                      <a:pt x="461" y="351"/>
                      <a:pt x="461" y="351"/>
                      <a:pt x="461" y="351"/>
                    </a:cubicBezTo>
                    <a:cubicBezTo>
                      <a:pt x="462" y="351"/>
                      <a:pt x="462" y="351"/>
                      <a:pt x="462" y="351"/>
                    </a:cubicBezTo>
                    <a:cubicBezTo>
                      <a:pt x="463" y="350"/>
                      <a:pt x="463" y="350"/>
                      <a:pt x="463" y="350"/>
                    </a:cubicBezTo>
                    <a:cubicBezTo>
                      <a:pt x="466" y="348"/>
                      <a:pt x="466" y="348"/>
                      <a:pt x="466" y="348"/>
                    </a:cubicBezTo>
                    <a:cubicBezTo>
                      <a:pt x="466" y="347"/>
                      <a:pt x="466" y="347"/>
                      <a:pt x="466" y="347"/>
                    </a:cubicBezTo>
                    <a:cubicBezTo>
                      <a:pt x="465" y="346"/>
                      <a:pt x="465" y="346"/>
                      <a:pt x="465" y="346"/>
                    </a:cubicBezTo>
                    <a:cubicBezTo>
                      <a:pt x="467" y="344"/>
                      <a:pt x="467" y="344"/>
                      <a:pt x="467" y="344"/>
                    </a:cubicBezTo>
                    <a:cubicBezTo>
                      <a:pt x="469" y="344"/>
                      <a:pt x="469" y="344"/>
                      <a:pt x="469" y="344"/>
                    </a:cubicBezTo>
                    <a:cubicBezTo>
                      <a:pt x="471" y="344"/>
                      <a:pt x="471" y="344"/>
                      <a:pt x="471" y="344"/>
                    </a:cubicBezTo>
                    <a:cubicBezTo>
                      <a:pt x="469" y="345"/>
                      <a:pt x="469" y="345"/>
                      <a:pt x="469" y="345"/>
                    </a:cubicBezTo>
                    <a:cubicBezTo>
                      <a:pt x="469" y="347"/>
                      <a:pt x="469" y="347"/>
                      <a:pt x="469" y="347"/>
                    </a:cubicBezTo>
                    <a:cubicBezTo>
                      <a:pt x="470" y="348"/>
                      <a:pt x="470" y="348"/>
                      <a:pt x="470" y="348"/>
                    </a:cubicBezTo>
                    <a:cubicBezTo>
                      <a:pt x="472" y="347"/>
                      <a:pt x="472" y="347"/>
                      <a:pt x="472" y="347"/>
                    </a:cubicBezTo>
                    <a:cubicBezTo>
                      <a:pt x="473" y="343"/>
                      <a:pt x="473" y="343"/>
                      <a:pt x="473" y="343"/>
                    </a:cubicBezTo>
                    <a:cubicBezTo>
                      <a:pt x="473" y="342"/>
                      <a:pt x="473" y="342"/>
                      <a:pt x="473" y="342"/>
                    </a:cubicBezTo>
                    <a:cubicBezTo>
                      <a:pt x="471" y="341"/>
                      <a:pt x="471" y="341"/>
                      <a:pt x="471" y="341"/>
                    </a:cubicBezTo>
                    <a:cubicBezTo>
                      <a:pt x="470" y="341"/>
                      <a:pt x="470" y="341"/>
                      <a:pt x="470" y="341"/>
                    </a:cubicBezTo>
                    <a:cubicBezTo>
                      <a:pt x="469" y="340"/>
                      <a:pt x="469" y="340"/>
                      <a:pt x="469" y="340"/>
                    </a:cubicBezTo>
                    <a:cubicBezTo>
                      <a:pt x="466" y="340"/>
                      <a:pt x="466" y="340"/>
                      <a:pt x="466" y="340"/>
                    </a:cubicBezTo>
                    <a:cubicBezTo>
                      <a:pt x="465" y="337"/>
                      <a:pt x="465" y="337"/>
                      <a:pt x="465" y="337"/>
                    </a:cubicBezTo>
                    <a:cubicBezTo>
                      <a:pt x="465" y="335"/>
                      <a:pt x="465" y="335"/>
                      <a:pt x="465" y="335"/>
                    </a:cubicBezTo>
                    <a:cubicBezTo>
                      <a:pt x="464" y="337"/>
                      <a:pt x="464" y="337"/>
                      <a:pt x="464" y="337"/>
                    </a:cubicBezTo>
                    <a:cubicBezTo>
                      <a:pt x="463" y="337"/>
                      <a:pt x="463" y="337"/>
                      <a:pt x="463" y="337"/>
                    </a:cubicBezTo>
                    <a:cubicBezTo>
                      <a:pt x="462" y="335"/>
                      <a:pt x="462" y="335"/>
                      <a:pt x="462" y="335"/>
                    </a:cubicBezTo>
                    <a:cubicBezTo>
                      <a:pt x="460" y="334"/>
                      <a:pt x="460" y="334"/>
                      <a:pt x="460" y="334"/>
                    </a:cubicBezTo>
                    <a:cubicBezTo>
                      <a:pt x="460" y="332"/>
                      <a:pt x="460" y="332"/>
                      <a:pt x="460" y="332"/>
                    </a:cubicBezTo>
                    <a:cubicBezTo>
                      <a:pt x="459" y="331"/>
                      <a:pt x="459" y="331"/>
                      <a:pt x="459" y="331"/>
                    </a:cubicBezTo>
                    <a:cubicBezTo>
                      <a:pt x="457" y="331"/>
                      <a:pt x="457" y="331"/>
                      <a:pt x="457" y="331"/>
                    </a:cubicBezTo>
                    <a:cubicBezTo>
                      <a:pt x="457" y="330"/>
                      <a:pt x="457" y="330"/>
                      <a:pt x="457" y="330"/>
                    </a:cubicBezTo>
                    <a:cubicBezTo>
                      <a:pt x="456" y="329"/>
                      <a:pt x="456" y="329"/>
                      <a:pt x="456" y="329"/>
                    </a:cubicBezTo>
                    <a:cubicBezTo>
                      <a:pt x="457" y="327"/>
                      <a:pt x="457" y="327"/>
                      <a:pt x="457" y="327"/>
                    </a:cubicBezTo>
                    <a:cubicBezTo>
                      <a:pt x="457" y="326"/>
                      <a:pt x="457" y="326"/>
                      <a:pt x="457" y="326"/>
                    </a:cubicBezTo>
                    <a:cubicBezTo>
                      <a:pt x="456" y="324"/>
                      <a:pt x="456" y="324"/>
                      <a:pt x="456" y="324"/>
                    </a:cubicBezTo>
                    <a:cubicBezTo>
                      <a:pt x="457" y="319"/>
                      <a:pt x="457" y="319"/>
                      <a:pt x="457" y="319"/>
                    </a:cubicBezTo>
                    <a:cubicBezTo>
                      <a:pt x="458" y="317"/>
                      <a:pt x="458" y="317"/>
                      <a:pt x="458" y="317"/>
                    </a:cubicBezTo>
                    <a:cubicBezTo>
                      <a:pt x="461" y="314"/>
                      <a:pt x="461" y="314"/>
                      <a:pt x="461" y="314"/>
                    </a:cubicBezTo>
                    <a:cubicBezTo>
                      <a:pt x="463" y="314"/>
                      <a:pt x="463" y="314"/>
                      <a:pt x="463" y="314"/>
                    </a:cubicBezTo>
                    <a:cubicBezTo>
                      <a:pt x="465" y="314"/>
                      <a:pt x="465" y="314"/>
                      <a:pt x="465" y="314"/>
                    </a:cubicBezTo>
                    <a:cubicBezTo>
                      <a:pt x="465" y="313"/>
                      <a:pt x="465" y="313"/>
                      <a:pt x="465" y="313"/>
                    </a:cubicBezTo>
                    <a:cubicBezTo>
                      <a:pt x="466" y="312"/>
                      <a:pt x="466" y="312"/>
                      <a:pt x="466" y="312"/>
                    </a:cubicBezTo>
                    <a:cubicBezTo>
                      <a:pt x="467" y="311"/>
                      <a:pt x="467" y="311"/>
                      <a:pt x="467" y="311"/>
                    </a:cubicBezTo>
                    <a:cubicBezTo>
                      <a:pt x="466" y="311"/>
                      <a:pt x="466" y="311"/>
                      <a:pt x="466" y="311"/>
                    </a:cubicBezTo>
                    <a:cubicBezTo>
                      <a:pt x="464" y="312"/>
                      <a:pt x="464" y="312"/>
                      <a:pt x="464" y="312"/>
                    </a:cubicBezTo>
                    <a:cubicBezTo>
                      <a:pt x="463" y="311"/>
                      <a:pt x="463" y="311"/>
                      <a:pt x="463" y="311"/>
                    </a:cubicBezTo>
                    <a:cubicBezTo>
                      <a:pt x="463" y="310"/>
                      <a:pt x="463" y="310"/>
                      <a:pt x="463" y="310"/>
                    </a:cubicBezTo>
                    <a:cubicBezTo>
                      <a:pt x="462" y="308"/>
                      <a:pt x="462" y="308"/>
                      <a:pt x="462" y="308"/>
                    </a:cubicBezTo>
                    <a:cubicBezTo>
                      <a:pt x="463" y="306"/>
                      <a:pt x="463" y="306"/>
                      <a:pt x="463" y="306"/>
                    </a:cubicBezTo>
                    <a:cubicBezTo>
                      <a:pt x="465" y="303"/>
                      <a:pt x="465" y="303"/>
                      <a:pt x="465" y="303"/>
                    </a:cubicBezTo>
                    <a:cubicBezTo>
                      <a:pt x="467" y="300"/>
                      <a:pt x="467" y="300"/>
                      <a:pt x="467" y="300"/>
                    </a:cubicBezTo>
                    <a:cubicBezTo>
                      <a:pt x="468" y="299"/>
                      <a:pt x="468" y="299"/>
                      <a:pt x="468" y="299"/>
                    </a:cubicBezTo>
                    <a:cubicBezTo>
                      <a:pt x="469" y="297"/>
                      <a:pt x="469" y="297"/>
                      <a:pt x="469" y="297"/>
                    </a:cubicBezTo>
                    <a:cubicBezTo>
                      <a:pt x="470" y="296"/>
                      <a:pt x="470" y="296"/>
                      <a:pt x="470" y="296"/>
                    </a:cubicBezTo>
                    <a:cubicBezTo>
                      <a:pt x="472" y="294"/>
                      <a:pt x="472" y="294"/>
                      <a:pt x="472" y="294"/>
                    </a:cubicBezTo>
                    <a:cubicBezTo>
                      <a:pt x="474" y="293"/>
                      <a:pt x="474" y="293"/>
                      <a:pt x="474" y="293"/>
                    </a:cubicBezTo>
                    <a:cubicBezTo>
                      <a:pt x="475" y="294"/>
                      <a:pt x="475" y="294"/>
                      <a:pt x="475" y="294"/>
                    </a:cubicBezTo>
                    <a:cubicBezTo>
                      <a:pt x="475" y="297"/>
                      <a:pt x="475" y="297"/>
                      <a:pt x="475" y="297"/>
                    </a:cubicBezTo>
                    <a:cubicBezTo>
                      <a:pt x="476" y="298"/>
                      <a:pt x="476" y="298"/>
                      <a:pt x="476" y="298"/>
                    </a:cubicBezTo>
                    <a:cubicBezTo>
                      <a:pt x="475" y="299"/>
                      <a:pt x="475" y="299"/>
                      <a:pt x="475" y="299"/>
                    </a:cubicBezTo>
                    <a:cubicBezTo>
                      <a:pt x="477" y="298"/>
                      <a:pt x="477" y="298"/>
                      <a:pt x="477" y="298"/>
                    </a:cubicBezTo>
                    <a:cubicBezTo>
                      <a:pt x="478" y="297"/>
                      <a:pt x="478" y="297"/>
                      <a:pt x="478" y="297"/>
                    </a:cubicBezTo>
                    <a:cubicBezTo>
                      <a:pt x="480" y="293"/>
                      <a:pt x="480" y="293"/>
                      <a:pt x="480" y="293"/>
                    </a:cubicBezTo>
                    <a:cubicBezTo>
                      <a:pt x="480" y="292"/>
                      <a:pt x="480" y="292"/>
                      <a:pt x="480" y="292"/>
                    </a:cubicBezTo>
                    <a:cubicBezTo>
                      <a:pt x="478" y="292"/>
                      <a:pt x="478" y="292"/>
                      <a:pt x="478" y="292"/>
                    </a:cubicBezTo>
                    <a:cubicBezTo>
                      <a:pt x="477" y="291"/>
                      <a:pt x="477" y="291"/>
                      <a:pt x="477" y="291"/>
                    </a:cubicBezTo>
                    <a:cubicBezTo>
                      <a:pt x="475" y="290"/>
                      <a:pt x="475" y="290"/>
                      <a:pt x="475" y="290"/>
                    </a:cubicBezTo>
                    <a:cubicBezTo>
                      <a:pt x="477" y="288"/>
                      <a:pt x="477" y="288"/>
                      <a:pt x="477" y="288"/>
                    </a:cubicBezTo>
                    <a:cubicBezTo>
                      <a:pt x="480" y="288"/>
                      <a:pt x="480" y="288"/>
                      <a:pt x="480" y="288"/>
                    </a:cubicBezTo>
                    <a:cubicBezTo>
                      <a:pt x="480" y="287"/>
                      <a:pt x="480" y="287"/>
                      <a:pt x="480" y="287"/>
                    </a:cubicBezTo>
                    <a:cubicBezTo>
                      <a:pt x="483" y="285"/>
                      <a:pt x="483" y="285"/>
                      <a:pt x="483" y="285"/>
                    </a:cubicBezTo>
                    <a:cubicBezTo>
                      <a:pt x="483" y="284"/>
                      <a:pt x="483" y="284"/>
                      <a:pt x="483" y="284"/>
                    </a:cubicBezTo>
                    <a:cubicBezTo>
                      <a:pt x="484" y="283"/>
                      <a:pt x="484" y="283"/>
                      <a:pt x="484" y="283"/>
                    </a:cubicBezTo>
                    <a:cubicBezTo>
                      <a:pt x="487" y="284"/>
                      <a:pt x="487" y="284"/>
                      <a:pt x="487" y="284"/>
                    </a:cubicBezTo>
                    <a:cubicBezTo>
                      <a:pt x="490" y="284"/>
                      <a:pt x="490" y="284"/>
                      <a:pt x="490" y="284"/>
                    </a:cubicBezTo>
                    <a:cubicBezTo>
                      <a:pt x="490" y="286"/>
                      <a:pt x="490" y="286"/>
                      <a:pt x="490" y="286"/>
                    </a:cubicBezTo>
                    <a:cubicBezTo>
                      <a:pt x="489" y="287"/>
                      <a:pt x="489" y="287"/>
                      <a:pt x="489" y="287"/>
                    </a:cubicBezTo>
                    <a:cubicBezTo>
                      <a:pt x="491" y="288"/>
                      <a:pt x="491" y="288"/>
                      <a:pt x="491" y="288"/>
                    </a:cubicBezTo>
                    <a:cubicBezTo>
                      <a:pt x="492" y="289"/>
                      <a:pt x="492" y="289"/>
                      <a:pt x="492" y="289"/>
                    </a:cubicBezTo>
                    <a:cubicBezTo>
                      <a:pt x="494" y="290"/>
                      <a:pt x="494" y="290"/>
                      <a:pt x="494" y="290"/>
                    </a:cubicBezTo>
                    <a:cubicBezTo>
                      <a:pt x="493" y="292"/>
                      <a:pt x="493" y="292"/>
                      <a:pt x="493" y="292"/>
                    </a:cubicBezTo>
                    <a:cubicBezTo>
                      <a:pt x="492" y="292"/>
                      <a:pt x="492" y="292"/>
                      <a:pt x="492" y="292"/>
                    </a:cubicBezTo>
                    <a:cubicBezTo>
                      <a:pt x="492" y="294"/>
                      <a:pt x="492" y="294"/>
                      <a:pt x="492" y="294"/>
                    </a:cubicBezTo>
                    <a:cubicBezTo>
                      <a:pt x="492" y="296"/>
                      <a:pt x="492" y="296"/>
                      <a:pt x="492" y="296"/>
                    </a:cubicBezTo>
                    <a:cubicBezTo>
                      <a:pt x="494" y="297"/>
                      <a:pt x="494" y="297"/>
                      <a:pt x="494" y="297"/>
                    </a:cubicBezTo>
                    <a:cubicBezTo>
                      <a:pt x="494" y="299"/>
                      <a:pt x="494" y="299"/>
                      <a:pt x="494" y="299"/>
                    </a:cubicBezTo>
                    <a:cubicBezTo>
                      <a:pt x="494" y="302"/>
                      <a:pt x="494" y="302"/>
                      <a:pt x="494" y="302"/>
                    </a:cubicBezTo>
                    <a:cubicBezTo>
                      <a:pt x="495" y="303"/>
                      <a:pt x="495" y="303"/>
                      <a:pt x="495" y="303"/>
                    </a:cubicBezTo>
                    <a:cubicBezTo>
                      <a:pt x="495" y="304"/>
                      <a:pt x="495" y="304"/>
                      <a:pt x="495" y="304"/>
                    </a:cubicBezTo>
                    <a:cubicBezTo>
                      <a:pt x="494" y="306"/>
                      <a:pt x="494" y="306"/>
                      <a:pt x="494" y="306"/>
                    </a:cubicBezTo>
                    <a:cubicBezTo>
                      <a:pt x="494" y="307"/>
                      <a:pt x="494" y="307"/>
                      <a:pt x="494" y="307"/>
                    </a:cubicBezTo>
                    <a:cubicBezTo>
                      <a:pt x="492" y="310"/>
                      <a:pt x="492" y="310"/>
                      <a:pt x="492" y="310"/>
                    </a:cubicBezTo>
                    <a:cubicBezTo>
                      <a:pt x="492" y="312"/>
                      <a:pt x="492" y="312"/>
                      <a:pt x="492" y="312"/>
                    </a:cubicBezTo>
                    <a:cubicBezTo>
                      <a:pt x="491" y="313"/>
                      <a:pt x="491" y="313"/>
                      <a:pt x="491" y="313"/>
                    </a:cubicBezTo>
                    <a:cubicBezTo>
                      <a:pt x="492" y="315"/>
                      <a:pt x="492" y="315"/>
                      <a:pt x="492" y="315"/>
                    </a:cubicBezTo>
                    <a:cubicBezTo>
                      <a:pt x="491" y="317"/>
                      <a:pt x="491" y="317"/>
                      <a:pt x="491" y="317"/>
                    </a:cubicBezTo>
                    <a:cubicBezTo>
                      <a:pt x="493" y="319"/>
                      <a:pt x="493" y="319"/>
                      <a:pt x="493" y="319"/>
                    </a:cubicBezTo>
                    <a:cubicBezTo>
                      <a:pt x="493" y="320"/>
                      <a:pt x="493" y="320"/>
                      <a:pt x="493" y="320"/>
                    </a:cubicBezTo>
                    <a:cubicBezTo>
                      <a:pt x="493" y="321"/>
                      <a:pt x="493" y="321"/>
                      <a:pt x="493" y="321"/>
                    </a:cubicBezTo>
                    <a:cubicBezTo>
                      <a:pt x="493" y="323"/>
                      <a:pt x="493" y="323"/>
                      <a:pt x="493" y="323"/>
                    </a:cubicBezTo>
                    <a:cubicBezTo>
                      <a:pt x="493" y="325"/>
                      <a:pt x="493" y="325"/>
                      <a:pt x="493" y="325"/>
                    </a:cubicBezTo>
                    <a:cubicBezTo>
                      <a:pt x="493" y="326"/>
                      <a:pt x="493" y="326"/>
                      <a:pt x="493" y="326"/>
                    </a:cubicBezTo>
                    <a:cubicBezTo>
                      <a:pt x="494" y="326"/>
                      <a:pt x="494" y="326"/>
                      <a:pt x="494" y="326"/>
                    </a:cubicBezTo>
                    <a:cubicBezTo>
                      <a:pt x="495" y="328"/>
                      <a:pt x="495" y="328"/>
                      <a:pt x="495" y="328"/>
                    </a:cubicBezTo>
                    <a:cubicBezTo>
                      <a:pt x="495" y="330"/>
                      <a:pt x="495" y="330"/>
                      <a:pt x="495" y="330"/>
                    </a:cubicBezTo>
                    <a:cubicBezTo>
                      <a:pt x="494" y="331"/>
                      <a:pt x="494" y="331"/>
                      <a:pt x="494" y="331"/>
                    </a:cubicBezTo>
                    <a:cubicBezTo>
                      <a:pt x="492" y="330"/>
                      <a:pt x="492" y="330"/>
                      <a:pt x="492" y="330"/>
                    </a:cubicBezTo>
                    <a:cubicBezTo>
                      <a:pt x="491" y="331"/>
                      <a:pt x="491" y="331"/>
                      <a:pt x="491" y="331"/>
                    </a:cubicBezTo>
                    <a:cubicBezTo>
                      <a:pt x="490" y="329"/>
                      <a:pt x="490" y="329"/>
                      <a:pt x="490" y="329"/>
                    </a:cubicBezTo>
                    <a:cubicBezTo>
                      <a:pt x="490" y="327"/>
                      <a:pt x="490" y="327"/>
                      <a:pt x="490" y="327"/>
                    </a:cubicBezTo>
                    <a:cubicBezTo>
                      <a:pt x="488" y="328"/>
                      <a:pt x="488" y="328"/>
                      <a:pt x="488" y="328"/>
                    </a:cubicBezTo>
                    <a:cubicBezTo>
                      <a:pt x="487" y="330"/>
                      <a:pt x="487" y="330"/>
                      <a:pt x="487" y="330"/>
                    </a:cubicBezTo>
                    <a:cubicBezTo>
                      <a:pt x="486" y="331"/>
                      <a:pt x="486" y="331"/>
                      <a:pt x="486" y="331"/>
                    </a:cubicBezTo>
                    <a:cubicBezTo>
                      <a:pt x="486" y="331"/>
                      <a:pt x="486" y="331"/>
                      <a:pt x="486" y="331"/>
                    </a:cubicBezTo>
                    <a:cubicBezTo>
                      <a:pt x="488" y="331"/>
                      <a:pt x="488" y="331"/>
                      <a:pt x="488" y="331"/>
                    </a:cubicBezTo>
                    <a:cubicBezTo>
                      <a:pt x="489" y="332"/>
                      <a:pt x="489" y="332"/>
                      <a:pt x="489" y="332"/>
                    </a:cubicBezTo>
                    <a:cubicBezTo>
                      <a:pt x="489" y="333"/>
                      <a:pt x="489" y="333"/>
                      <a:pt x="489" y="333"/>
                    </a:cubicBezTo>
                    <a:cubicBezTo>
                      <a:pt x="484" y="337"/>
                      <a:pt x="484" y="337"/>
                      <a:pt x="484" y="337"/>
                    </a:cubicBezTo>
                    <a:cubicBezTo>
                      <a:pt x="483" y="337"/>
                      <a:pt x="483" y="337"/>
                      <a:pt x="483" y="337"/>
                    </a:cubicBezTo>
                    <a:cubicBezTo>
                      <a:pt x="482" y="338"/>
                      <a:pt x="482" y="338"/>
                      <a:pt x="482" y="338"/>
                    </a:cubicBezTo>
                    <a:cubicBezTo>
                      <a:pt x="481" y="339"/>
                      <a:pt x="481" y="339"/>
                      <a:pt x="481" y="339"/>
                    </a:cubicBezTo>
                    <a:cubicBezTo>
                      <a:pt x="481" y="341"/>
                      <a:pt x="481" y="341"/>
                      <a:pt x="481" y="341"/>
                    </a:cubicBezTo>
                    <a:cubicBezTo>
                      <a:pt x="482" y="342"/>
                      <a:pt x="482" y="342"/>
                      <a:pt x="482" y="342"/>
                    </a:cubicBezTo>
                    <a:cubicBezTo>
                      <a:pt x="483" y="341"/>
                      <a:pt x="483" y="341"/>
                      <a:pt x="483" y="341"/>
                    </a:cubicBezTo>
                    <a:cubicBezTo>
                      <a:pt x="485" y="342"/>
                      <a:pt x="485" y="342"/>
                      <a:pt x="485" y="342"/>
                    </a:cubicBezTo>
                    <a:cubicBezTo>
                      <a:pt x="485" y="343"/>
                      <a:pt x="485" y="343"/>
                      <a:pt x="485" y="343"/>
                    </a:cubicBezTo>
                    <a:cubicBezTo>
                      <a:pt x="487" y="345"/>
                      <a:pt x="487" y="345"/>
                      <a:pt x="487" y="345"/>
                    </a:cubicBezTo>
                    <a:cubicBezTo>
                      <a:pt x="489" y="344"/>
                      <a:pt x="489" y="344"/>
                      <a:pt x="489" y="344"/>
                    </a:cubicBezTo>
                    <a:cubicBezTo>
                      <a:pt x="489" y="343"/>
                      <a:pt x="489" y="343"/>
                      <a:pt x="489" y="343"/>
                    </a:cubicBezTo>
                    <a:cubicBezTo>
                      <a:pt x="491" y="343"/>
                      <a:pt x="491" y="343"/>
                      <a:pt x="491" y="343"/>
                    </a:cubicBezTo>
                    <a:cubicBezTo>
                      <a:pt x="491" y="343"/>
                      <a:pt x="491" y="343"/>
                      <a:pt x="491" y="343"/>
                    </a:cubicBezTo>
                    <a:cubicBezTo>
                      <a:pt x="491" y="344"/>
                      <a:pt x="491" y="344"/>
                      <a:pt x="491" y="344"/>
                    </a:cubicBezTo>
                    <a:cubicBezTo>
                      <a:pt x="491" y="345"/>
                      <a:pt x="491" y="345"/>
                      <a:pt x="491" y="345"/>
                    </a:cubicBezTo>
                    <a:cubicBezTo>
                      <a:pt x="492" y="345"/>
                      <a:pt x="492" y="345"/>
                      <a:pt x="492" y="345"/>
                    </a:cubicBezTo>
                    <a:cubicBezTo>
                      <a:pt x="493" y="347"/>
                      <a:pt x="493" y="347"/>
                      <a:pt x="493" y="347"/>
                    </a:cubicBezTo>
                    <a:cubicBezTo>
                      <a:pt x="495" y="345"/>
                      <a:pt x="495" y="345"/>
                      <a:pt x="495" y="345"/>
                    </a:cubicBezTo>
                    <a:cubicBezTo>
                      <a:pt x="497" y="346"/>
                      <a:pt x="497" y="346"/>
                      <a:pt x="497" y="346"/>
                    </a:cubicBezTo>
                    <a:cubicBezTo>
                      <a:pt x="495" y="348"/>
                      <a:pt x="495" y="348"/>
                      <a:pt x="495" y="348"/>
                    </a:cubicBezTo>
                    <a:cubicBezTo>
                      <a:pt x="493" y="348"/>
                      <a:pt x="493" y="348"/>
                      <a:pt x="493" y="348"/>
                    </a:cubicBezTo>
                    <a:cubicBezTo>
                      <a:pt x="491" y="350"/>
                      <a:pt x="491" y="350"/>
                      <a:pt x="491" y="350"/>
                    </a:cubicBezTo>
                    <a:cubicBezTo>
                      <a:pt x="491" y="351"/>
                      <a:pt x="491" y="351"/>
                      <a:pt x="491" y="351"/>
                    </a:cubicBezTo>
                    <a:cubicBezTo>
                      <a:pt x="490" y="348"/>
                      <a:pt x="490" y="348"/>
                      <a:pt x="490" y="348"/>
                    </a:cubicBezTo>
                    <a:cubicBezTo>
                      <a:pt x="489" y="348"/>
                      <a:pt x="489" y="348"/>
                      <a:pt x="489" y="348"/>
                    </a:cubicBezTo>
                    <a:cubicBezTo>
                      <a:pt x="489" y="348"/>
                      <a:pt x="489" y="348"/>
                      <a:pt x="489" y="348"/>
                    </a:cubicBezTo>
                    <a:cubicBezTo>
                      <a:pt x="489" y="349"/>
                      <a:pt x="489" y="349"/>
                      <a:pt x="489" y="349"/>
                    </a:cubicBezTo>
                    <a:cubicBezTo>
                      <a:pt x="490" y="351"/>
                      <a:pt x="490" y="351"/>
                      <a:pt x="490" y="351"/>
                    </a:cubicBezTo>
                    <a:cubicBezTo>
                      <a:pt x="490" y="352"/>
                      <a:pt x="490" y="352"/>
                      <a:pt x="490" y="352"/>
                    </a:cubicBezTo>
                    <a:cubicBezTo>
                      <a:pt x="492" y="355"/>
                      <a:pt x="492" y="355"/>
                      <a:pt x="492" y="355"/>
                    </a:cubicBezTo>
                    <a:cubicBezTo>
                      <a:pt x="491" y="357"/>
                      <a:pt x="491" y="357"/>
                      <a:pt x="491" y="357"/>
                    </a:cubicBezTo>
                    <a:cubicBezTo>
                      <a:pt x="492" y="358"/>
                      <a:pt x="492" y="358"/>
                      <a:pt x="492" y="358"/>
                    </a:cubicBezTo>
                    <a:cubicBezTo>
                      <a:pt x="491" y="360"/>
                      <a:pt x="491" y="360"/>
                      <a:pt x="491" y="360"/>
                    </a:cubicBezTo>
                    <a:cubicBezTo>
                      <a:pt x="490" y="361"/>
                      <a:pt x="490" y="361"/>
                      <a:pt x="490" y="361"/>
                    </a:cubicBezTo>
                    <a:cubicBezTo>
                      <a:pt x="490" y="362"/>
                      <a:pt x="490" y="362"/>
                      <a:pt x="490" y="362"/>
                    </a:cubicBezTo>
                    <a:cubicBezTo>
                      <a:pt x="490" y="364"/>
                      <a:pt x="490" y="364"/>
                      <a:pt x="490" y="364"/>
                    </a:cubicBezTo>
                    <a:cubicBezTo>
                      <a:pt x="488" y="367"/>
                      <a:pt x="488" y="367"/>
                      <a:pt x="488" y="367"/>
                    </a:cubicBezTo>
                    <a:cubicBezTo>
                      <a:pt x="488" y="368"/>
                      <a:pt x="488" y="368"/>
                      <a:pt x="488" y="368"/>
                    </a:cubicBezTo>
                    <a:cubicBezTo>
                      <a:pt x="488" y="370"/>
                      <a:pt x="488" y="370"/>
                      <a:pt x="488" y="370"/>
                    </a:cubicBezTo>
                    <a:cubicBezTo>
                      <a:pt x="487" y="371"/>
                      <a:pt x="487" y="371"/>
                      <a:pt x="487" y="371"/>
                    </a:cubicBezTo>
                    <a:cubicBezTo>
                      <a:pt x="487" y="372"/>
                      <a:pt x="487" y="372"/>
                      <a:pt x="487" y="372"/>
                    </a:cubicBezTo>
                    <a:cubicBezTo>
                      <a:pt x="489" y="372"/>
                      <a:pt x="489" y="372"/>
                      <a:pt x="489" y="372"/>
                    </a:cubicBezTo>
                    <a:cubicBezTo>
                      <a:pt x="490" y="370"/>
                      <a:pt x="490" y="370"/>
                      <a:pt x="490" y="370"/>
                    </a:cubicBezTo>
                    <a:cubicBezTo>
                      <a:pt x="491" y="369"/>
                      <a:pt x="491" y="369"/>
                      <a:pt x="491" y="369"/>
                    </a:cubicBezTo>
                    <a:cubicBezTo>
                      <a:pt x="493" y="367"/>
                      <a:pt x="493" y="367"/>
                      <a:pt x="493" y="367"/>
                    </a:cubicBezTo>
                    <a:cubicBezTo>
                      <a:pt x="494" y="367"/>
                      <a:pt x="494" y="367"/>
                      <a:pt x="494" y="367"/>
                    </a:cubicBezTo>
                    <a:cubicBezTo>
                      <a:pt x="493" y="366"/>
                      <a:pt x="493" y="366"/>
                      <a:pt x="493" y="366"/>
                    </a:cubicBezTo>
                    <a:cubicBezTo>
                      <a:pt x="494" y="365"/>
                      <a:pt x="494" y="365"/>
                      <a:pt x="494" y="365"/>
                    </a:cubicBezTo>
                    <a:cubicBezTo>
                      <a:pt x="496" y="366"/>
                      <a:pt x="496" y="366"/>
                      <a:pt x="496" y="366"/>
                    </a:cubicBezTo>
                    <a:cubicBezTo>
                      <a:pt x="496" y="365"/>
                      <a:pt x="496" y="365"/>
                      <a:pt x="496" y="365"/>
                    </a:cubicBezTo>
                    <a:cubicBezTo>
                      <a:pt x="496" y="361"/>
                      <a:pt x="496" y="361"/>
                      <a:pt x="496" y="361"/>
                    </a:cubicBezTo>
                    <a:cubicBezTo>
                      <a:pt x="497" y="359"/>
                      <a:pt x="497" y="359"/>
                      <a:pt x="497" y="359"/>
                    </a:cubicBezTo>
                    <a:cubicBezTo>
                      <a:pt x="499" y="357"/>
                      <a:pt x="499" y="357"/>
                      <a:pt x="499" y="357"/>
                    </a:cubicBezTo>
                    <a:cubicBezTo>
                      <a:pt x="502" y="354"/>
                      <a:pt x="502" y="354"/>
                      <a:pt x="502" y="354"/>
                    </a:cubicBezTo>
                    <a:cubicBezTo>
                      <a:pt x="502" y="352"/>
                      <a:pt x="502" y="352"/>
                      <a:pt x="502" y="352"/>
                    </a:cubicBezTo>
                    <a:cubicBezTo>
                      <a:pt x="503" y="352"/>
                      <a:pt x="503" y="352"/>
                      <a:pt x="503" y="352"/>
                    </a:cubicBezTo>
                    <a:cubicBezTo>
                      <a:pt x="504" y="352"/>
                      <a:pt x="504" y="352"/>
                      <a:pt x="504" y="352"/>
                    </a:cubicBezTo>
                    <a:cubicBezTo>
                      <a:pt x="504" y="354"/>
                      <a:pt x="504" y="354"/>
                      <a:pt x="504" y="354"/>
                    </a:cubicBezTo>
                    <a:cubicBezTo>
                      <a:pt x="506" y="358"/>
                      <a:pt x="506" y="358"/>
                      <a:pt x="506" y="358"/>
                    </a:cubicBezTo>
                    <a:cubicBezTo>
                      <a:pt x="506" y="360"/>
                      <a:pt x="506" y="360"/>
                      <a:pt x="506" y="360"/>
                    </a:cubicBezTo>
                    <a:cubicBezTo>
                      <a:pt x="508" y="362"/>
                      <a:pt x="508" y="362"/>
                      <a:pt x="508" y="362"/>
                    </a:cubicBezTo>
                    <a:cubicBezTo>
                      <a:pt x="508" y="364"/>
                      <a:pt x="508" y="364"/>
                      <a:pt x="508" y="364"/>
                    </a:cubicBezTo>
                    <a:cubicBezTo>
                      <a:pt x="507" y="366"/>
                      <a:pt x="507" y="366"/>
                      <a:pt x="507" y="366"/>
                    </a:cubicBezTo>
                    <a:cubicBezTo>
                      <a:pt x="508" y="370"/>
                      <a:pt x="508" y="370"/>
                      <a:pt x="508" y="370"/>
                    </a:cubicBezTo>
                    <a:cubicBezTo>
                      <a:pt x="507" y="372"/>
                      <a:pt x="507" y="372"/>
                      <a:pt x="507" y="372"/>
                    </a:cubicBezTo>
                    <a:cubicBezTo>
                      <a:pt x="505" y="373"/>
                      <a:pt x="505" y="373"/>
                      <a:pt x="505" y="373"/>
                    </a:cubicBezTo>
                    <a:cubicBezTo>
                      <a:pt x="504" y="372"/>
                      <a:pt x="504" y="372"/>
                      <a:pt x="504" y="372"/>
                    </a:cubicBezTo>
                    <a:cubicBezTo>
                      <a:pt x="503" y="373"/>
                      <a:pt x="503" y="373"/>
                      <a:pt x="503" y="373"/>
                    </a:cubicBezTo>
                    <a:cubicBezTo>
                      <a:pt x="502" y="375"/>
                      <a:pt x="502" y="375"/>
                      <a:pt x="502" y="375"/>
                    </a:cubicBezTo>
                    <a:cubicBezTo>
                      <a:pt x="503" y="377"/>
                      <a:pt x="503" y="377"/>
                      <a:pt x="503" y="377"/>
                    </a:cubicBezTo>
                    <a:cubicBezTo>
                      <a:pt x="501" y="379"/>
                      <a:pt x="501" y="379"/>
                      <a:pt x="501" y="379"/>
                    </a:cubicBezTo>
                    <a:cubicBezTo>
                      <a:pt x="500" y="381"/>
                      <a:pt x="500" y="381"/>
                      <a:pt x="500" y="381"/>
                    </a:cubicBezTo>
                    <a:cubicBezTo>
                      <a:pt x="501" y="382"/>
                      <a:pt x="501" y="382"/>
                      <a:pt x="501" y="382"/>
                    </a:cubicBezTo>
                    <a:cubicBezTo>
                      <a:pt x="501" y="386"/>
                      <a:pt x="501" y="386"/>
                      <a:pt x="501" y="386"/>
                    </a:cubicBezTo>
                    <a:cubicBezTo>
                      <a:pt x="503" y="392"/>
                      <a:pt x="503" y="392"/>
                      <a:pt x="503" y="392"/>
                    </a:cubicBezTo>
                    <a:cubicBezTo>
                      <a:pt x="504" y="395"/>
                      <a:pt x="504" y="395"/>
                      <a:pt x="504" y="395"/>
                    </a:cubicBezTo>
                    <a:cubicBezTo>
                      <a:pt x="503" y="397"/>
                      <a:pt x="503" y="397"/>
                      <a:pt x="503" y="397"/>
                    </a:cubicBezTo>
                    <a:cubicBezTo>
                      <a:pt x="505" y="399"/>
                      <a:pt x="505" y="399"/>
                      <a:pt x="505" y="399"/>
                    </a:cubicBezTo>
                    <a:cubicBezTo>
                      <a:pt x="506" y="399"/>
                      <a:pt x="506" y="399"/>
                      <a:pt x="506" y="399"/>
                    </a:cubicBezTo>
                    <a:cubicBezTo>
                      <a:pt x="506" y="396"/>
                      <a:pt x="506" y="396"/>
                      <a:pt x="506" y="396"/>
                    </a:cubicBezTo>
                    <a:cubicBezTo>
                      <a:pt x="505" y="396"/>
                      <a:pt x="505" y="396"/>
                      <a:pt x="505" y="396"/>
                    </a:cubicBezTo>
                    <a:cubicBezTo>
                      <a:pt x="507" y="394"/>
                      <a:pt x="507" y="394"/>
                      <a:pt x="507" y="394"/>
                    </a:cubicBezTo>
                    <a:cubicBezTo>
                      <a:pt x="508" y="394"/>
                      <a:pt x="508" y="394"/>
                      <a:pt x="508" y="394"/>
                    </a:cubicBezTo>
                    <a:cubicBezTo>
                      <a:pt x="509" y="396"/>
                      <a:pt x="509" y="396"/>
                      <a:pt x="509" y="396"/>
                    </a:cubicBezTo>
                    <a:cubicBezTo>
                      <a:pt x="510" y="396"/>
                      <a:pt x="510" y="396"/>
                      <a:pt x="510" y="396"/>
                    </a:cubicBezTo>
                    <a:cubicBezTo>
                      <a:pt x="510" y="394"/>
                      <a:pt x="510" y="394"/>
                      <a:pt x="510" y="394"/>
                    </a:cubicBezTo>
                    <a:cubicBezTo>
                      <a:pt x="512" y="392"/>
                      <a:pt x="512" y="392"/>
                      <a:pt x="512" y="392"/>
                    </a:cubicBezTo>
                    <a:cubicBezTo>
                      <a:pt x="512" y="389"/>
                      <a:pt x="512" y="389"/>
                      <a:pt x="512" y="389"/>
                    </a:cubicBezTo>
                    <a:cubicBezTo>
                      <a:pt x="514" y="389"/>
                      <a:pt x="514" y="389"/>
                      <a:pt x="514" y="389"/>
                    </a:cubicBezTo>
                    <a:cubicBezTo>
                      <a:pt x="515" y="386"/>
                      <a:pt x="515" y="386"/>
                      <a:pt x="515" y="386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7" y="384"/>
                      <a:pt x="517" y="384"/>
                      <a:pt x="517" y="384"/>
                    </a:cubicBezTo>
                    <a:cubicBezTo>
                      <a:pt x="521" y="382"/>
                      <a:pt x="521" y="382"/>
                      <a:pt x="521" y="382"/>
                    </a:cubicBezTo>
                    <a:cubicBezTo>
                      <a:pt x="523" y="378"/>
                      <a:pt x="523" y="378"/>
                      <a:pt x="523" y="378"/>
                    </a:cubicBezTo>
                    <a:cubicBezTo>
                      <a:pt x="524" y="373"/>
                      <a:pt x="524" y="373"/>
                      <a:pt x="524" y="373"/>
                    </a:cubicBezTo>
                    <a:cubicBezTo>
                      <a:pt x="526" y="370"/>
                      <a:pt x="526" y="370"/>
                      <a:pt x="526" y="370"/>
                    </a:cubicBezTo>
                    <a:cubicBezTo>
                      <a:pt x="528" y="368"/>
                      <a:pt x="528" y="368"/>
                      <a:pt x="528" y="368"/>
                    </a:cubicBezTo>
                    <a:cubicBezTo>
                      <a:pt x="529" y="371"/>
                      <a:pt x="529" y="371"/>
                      <a:pt x="529" y="371"/>
                    </a:cubicBezTo>
                    <a:cubicBezTo>
                      <a:pt x="530" y="369"/>
                      <a:pt x="530" y="369"/>
                      <a:pt x="530" y="369"/>
                    </a:cubicBezTo>
                    <a:cubicBezTo>
                      <a:pt x="532" y="370"/>
                      <a:pt x="532" y="370"/>
                      <a:pt x="532" y="370"/>
                    </a:cubicBezTo>
                    <a:cubicBezTo>
                      <a:pt x="533" y="370"/>
                      <a:pt x="533" y="370"/>
                      <a:pt x="533" y="370"/>
                    </a:cubicBezTo>
                    <a:cubicBezTo>
                      <a:pt x="533" y="369"/>
                      <a:pt x="533" y="369"/>
                      <a:pt x="533" y="369"/>
                    </a:cubicBezTo>
                    <a:cubicBezTo>
                      <a:pt x="532" y="369"/>
                      <a:pt x="532" y="369"/>
                      <a:pt x="532" y="369"/>
                    </a:cubicBezTo>
                    <a:cubicBezTo>
                      <a:pt x="531" y="367"/>
                      <a:pt x="531" y="367"/>
                      <a:pt x="531" y="367"/>
                    </a:cubicBezTo>
                    <a:cubicBezTo>
                      <a:pt x="532" y="366"/>
                      <a:pt x="532" y="366"/>
                      <a:pt x="532" y="366"/>
                    </a:cubicBezTo>
                    <a:cubicBezTo>
                      <a:pt x="534" y="366"/>
                      <a:pt x="534" y="366"/>
                      <a:pt x="534" y="366"/>
                    </a:cubicBezTo>
                    <a:cubicBezTo>
                      <a:pt x="535" y="367"/>
                      <a:pt x="535" y="367"/>
                      <a:pt x="535" y="367"/>
                    </a:cubicBezTo>
                    <a:cubicBezTo>
                      <a:pt x="535" y="366"/>
                      <a:pt x="535" y="366"/>
                      <a:pt x="535" y="366"/>
                    </a:cubicBezTo>
                    <a:cubicBezTo>
                      <a:pt x="537" y="366"/>
                      <a:pt x="537" y="366"/>
                      <a:pt x="537" y="366"/>
                    </a:cubicBezTo>
                    <a:cubicBezTo>
                      <a:pt x="538" y="365"/>
                      <a:pt x="538" y="365"/>
                      <a:pt x="538" y="365"/>
                    </a:cubicBezTo>
                    <a:cubicBezTo>
                      <a:pt x="537" y="364"/>
                      <a:pt x="537" y="364"/>
                      <a:pt x="537" y="364"/>
                    </a:cubicBezTo>
                    <a:cubicBezTo>
                      <a:pt x="536" y="363"/>
                      <a:pt x="536" y="363"/>
                      <a:pt x="536" y="363"/>
                    </a:cubicBezTo>
                    <a:cubicBezTo>
                      <a:pt x="535" y="362"/>
                      <a:pt x="535" y="362"/>
                      <a:pt x="535" y="362"/>
                    </a:cubicBezTo>
                    <a:cubicBezTo>
                      <a:pt x="534" y="362"/>
                      <a:pt x="534" y="362"/>
                      <a:pt x="534" y="362"/>
                    </a:cubicBezTo>
                    <a:cubicBezTo>
                      <a:pt x="534" y="359"/>
                      <a:pt x="534" y="359"/>
                      <a:pt x="534" y="359"/>
                    </a:cubicBezTo>
                    <a:cubicBezTo>
                      <a:pt x="535" y="357"/>
                      <a:pt x="535" y="357"/>
                      <a:pt x="535" y="357"/>
                    </a:cubicBezTo>
                    <a:cubicBezTo>
                      <a:pt x="535" y="356"/>
                      <a:pt x="535" y="356"/>
                      <a:pt x="535" y="356"/>
                    </a:cubicBezTo>
                    <a:cubicBezTo>
                      <a:pt x="537" y="356"/>
                      <a:pt x="537" y="356"/>
                      <a:pt x="537" y="356"/>
                    </a:cubicBezTo>
                    <a:cubicBezTo>
                      <a:pt x="536" y="354"/>
                      <a:pt x="536" y="354"/>
                      <a:pt x="536" y="354"/>
                    </a:cubicBezTo>
                    <a:cubicBezTo>
                      <a:pt x="536" y="353"/>
                      <a:pt x="536" y="353"/>
                      <a:pt x="536" y="353"/>
                    </a:cubicBezTo>
                    <a:cubicBezTo>
                      <a:pt x="537" y="351"/>
                      <a:pt x="537" y="351"/>
                      <a:pt x="537" y="351"/>
                    </a:cubicBezTo>
                    <a:cubicBezTo>
                      <a:pt x="537" y="351"/>
                      <a:pt x="537" y="351"/>
                      <a:pt x="537" y="351"/>
                    </a:cubicBezTo>
                    <a:cubicBezTo>
                      <a:pt x="537" y="350"/>
                      <a:pt x="537" y="350"/>
                      <a:pt x="537" y="350"/>
                    </a:cubicBezTo>
                    <a:cubicBezTo>
                      <a:pt x="538" y="350"/>
                      <a:pt x="538" y="350"/>
                      <a:pt x="538" y="350"/>
                    </a:cubicBezTo>
                    <a:cubicBezTo>
                      <a:pt x="539" y="348"/>
                      <a:pt x="539" y="348"/>
                      <a:pt x="539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7" y="346"/>
                      <a:pt x="537" y="346"/>
                      <a:pt x="537" y="346"/>
                    </a:cubicBezTo>
                    <a:cubicBezTo>
                      <a:pt x="539" y="347"/>
                      <a:pt x="539" y="347"/>
                      <a:pt x="539" y="347"/>
                    </a:cubicBezTo>
                    <a:cubicBezTo>
                      <a:pt x="540" y="348"/>
                      <a:pt x="540" y="348"/>
                      <a:pt x="540" y="348"/>
                    </a:cubicBezTo>
                    <a:cubicBezTo>
                      <a:pt x="541" y="348"/>
                      <a:pt x="541" y="348"/>
                      <a:pt x="541" y="348"/>
                    </a:cubicBezTo>
                    <a:cubicBezTo>
                      <a:pt x="543" y="347"/>
                      <a:pt x="543" y="347"/>
                      <a:pt x="543" y="347"/>
                    </a:cubicBezTo>
                    <a:cubicBezTo>
                      <a:pt x="546" y="348"/>
                      <a:pt x="546" y="348"/>
                      <a:pt x="546" y="348"/>
                    </a:cubicBezTo>
                    <a:cubicBezTo>
                      <a:pt x="548" y="350"/>
                      <a:pt x="548" y="350"/>
                      <a:pt x="548" y="350"/>
                    </a:cubicBezTo>
                    <a:cubicBezTo>
                      <a:pt x="548" y="351"/>
                      <a:pt x="548" y="351"/>
                      <a:pt x="548" y="351"/>
                    </a:cubicBezTo>
                    <a:cubicBezTo>
                      <a:pt x="549" y="352"/>
                      <a:pt x="549" y="352"/>
                      <a:pt x="549" y="352"/>
                    </a:cubicBezTo>
                    <a:cubicBezTo>
                      <a:pt x="553" y="354"/>
                      <a:pt x="553" y="354"/>
                      <a:pt x="553" y="354"/>
                    </a:cubicBezTo>
                    <a:cubicBezTo>
                      <a:pt x="555" y="352"/>
                      <a:pt x="555" y="352"/>
                      <a:pt x="555" y="352"/>
                    </a:cubicBezTo>
                    <a:cubicBezTo>
                      <a:pt x="557" y="354"/>
                      <a:pt x="557" y="354"/>
                      <a:pt x="557" y="354"/>
                    </a:cubicBezTo>
                    <a:cubicBezTo>
                      <a:pt x="559" y="355"/>
                      <a:pt x="559" y="355"/>
                      <a:pt x="559" y="355"/>
                    </a:cubicBezTo>
                    <a:cubicBezTo>
                      <a:pt x="559" y="356"/>
                      <a:pt x="559" y="356"/>
                      <a:pt x="559" y="356"/>
                    </a:cubicBezTo>
                    <a:cubicBezTo>
                      <a:pt x="558" y="356"/>
                      <a:pt x="558" y="356"/>
                      <a:pt x="558" y="356"/>
                    </a:cubicBezTo>
                    <a:cubicBezTo>
                      <a:pt x="559" y="358"/>
                      <a:pt x="559" y="358"/>
                      <a:pt x="559" y="358"/>
                    </a:cubicBezTo>
                    <a:cubicBezTo>
                      <a:pt x="558" y="358"/>
                      <a:pt x="558" y="358"/>
                      <a:pt x="558" y="358"/>
                    </a:cubicBezTo>
                    <a:cubicBezTo>
                      <a:pt x="557" y="357"/>
                      <a:pt x="557" y="357"/>
                      <a:pt x="557" y="357"/>
                    </a:cubicBezTo>
                    <a:cubicBezTo>
                      <a:pt x="555" y="357"/>
                      <a:pt x="555" y="357"/>
                      <a:pt x="555" y="357"/>
                    </a:cubicBezTo>
                    <a:cubicBezTo>
                      <a:pt x="555" y="358"/>
                      <a:pt x="555" y="358"/>
                      <a:pt x="555" y="358"/>
                    </a:cubicBezTo>
                    <a:cubicBezTo>
                      <a:pt x="559" y="361"/>
                      <a:pt x="559" y="361"/>
                      <a:pt x="559" y="361"/>
                    </a:cubicBezTo>
                    <a:cubicBezTo>
                      <a:pt x="560" y="363"/>
                      <a:pt x="560" y="363"/>
                      <a:pt x="560" y="363"/>
                    </a:cubicBezTo>
                    <a:cubicBezTo>
                      <a:pt x="558" y="363"/>
                      <a:pt x="558" y="363"/>
                      <a:pt x="558" y="363"/>
                    </a:cubicBezTo>
                    <a:cubicBezTo>
                      <a:pt x="559" y="364"/>
                      <a:pt x="559" y="364"/>
                      <a:pt x="559" y="364"/>
                    </a:cubicBezTo>
                    <a:cubicBezTo>
                      <a:pt x="561" y="363"/>
                      <a:pt x="561" y="363"/>
                      <a:pt x="561" y="363"/>
                    </a:cubicBezTo>
                    <a:cubicBezTo>
                      <a:pt x="564" y="364"/>
                      <a:pt x="564" y="364"/>
                      <a:pt x="564" y="364"/>
                    </a:cubicBezTo>
                    <a:cubicBezTo>
                      <a:pt x="564" y="365"/>
                      <a:pt x="564" y="365"/>
                      <a:pt x="564" y="365"/>
                    </a:cubicBezTo>
                    <a:cubicBezTo>
                      <a:pt x="565" y="366"/>
                      <a:pt x="565" y="366"/>
                      <a:pt x="565" y="366"/>
                    </a:cubicBezTo>
                    <a:cubicBezTo>
                      <a:pt x="566" y="367"/>
                      <a:pt x="566" y="367"/>
                      <a:pt x="566" y="367"/>
                    </a:cubicBezTo>
                    <a:cubicBezTo>
                      <a:pt x="564" y="368"/>
                      <a:pt x="564" y="368"/>
                      <a:pt x="564" y="368"/>
                    </a:cubicBezTo>
                    <a:cubicBezTo>
                      <a:pt x="561" y="371"/>
                      <a:pt x="561" y="371"/>
                      <a:pt x="561" y="371"/>
                    </a:cubicBezTo>
                    <a:cubicBezTo>
                      <a:pt x="560" y="371"/>
                      <a:pt x="560" y="371"/>
                      <a:pt x="560" y="371"/>
                    </a:cubicBezTo>
                    <a:cubicBezTo>
                      <a:pt x="558" y="372"/>
                      <a:pt x="558" y="372"/>
                      <a:pt x="558" y="372"/>
                    </a:cubicBezTo>
                    <a:cubicBezTo>
                      <a:pt x="561" y="372"/>
                      <a:pt x="561" y="372"/>
                      <a:pt x="561" y="372"/>
                    </a:cubicBezTo>
                    <a:cubicBezTo>
                      <a:pt x="562" y="373"/>
                      <a:pt x="562" y="373"/>
                      <a:pt x="562" y="373"/>
                    </a:cubicBezTo>
                    <a:cubicBezTo>
                      <a:pt x="562" y="374"/>
                      <a:pt x="562" y="374"/>
                      <a:pt x="562" y="374"/>
                    </a:cubicBezTo>
                    <a:cubicBezTo>
                      <a:pt x="563" y="374"/>
                      <a:pt x="563" y="374"/>
                      <a:pt x="563" y="374"/>
                    </a:cubicBezTo>
                    <a:cubicBezTo>
                      <a:pt x="563" y="375"/>
                      <a:pt x="563" y="375"/>
                      <a:pt x="563" y="375"/>
                    </a:cubicBezTo>
                    <a:cubicBezTo>
                      <a:pt x="562" y="376"/>
                      <a:pt x="562" y="376"/>
                      <a:pt x="562" y="376"/>
                    </a:cubicBezTo>
                    <a:cubicBezTo>
                      <a:pt x="563" y="377"/>
                      <a:pt x="563" y="377"/>
                      <a:pt x="563" y="377"/>
                    </a:cubicBezTo>
                    <a:cubicBezTo>
                      <a:pt x="560" y="379"/>
                      <a:pt x="560" y="379"/>
                      <a:pt x="560" y="379"/>
                    </a:cubicBezTo>
                    <a:cubicBezTo>
                      <a:pt x="558" y="380"/>
                      <a:pt x="558" y="380"/>
                      <a:pt x="558" y="380"/>
                    </a:cubicBezTo>
                    <a:cubicBezTo>
                      <a:pt x="556" y="379"/>
                      <a:pt x="556" y="379"/>
                      <a:pt x="556" y="379"/>
                    </a:cubicBezTo>
                    <a:cubicBezTo>
                      <a:pt x="556" y="381"/>
                      <a:pt x="556" y="381"/>
                      <a:pt x="556" y="381"/>
                    </a:cubicBezTo>
                    <a:cubicBezTo>
                      <a:pt x="554" y="380"/>
                      <a:pt x="554" y="380"/>
                      <a:pt x="554" y="380"/>
                    </a:cubicBezTo>
                    <a:cubicBezTo>
                      <a:pt x="553" y="378"/>
                      <a:pt x="553" y="378"/>
                      <a:pt x="553" y="378"/>
                    </a:cubicBezTo>
                    <a:cubicBezTo>
                      <a:pt x="551" y="378"/>
                      <a:pt x="551" y="378"/>
                      <a:pt x="551" y="378"/>
                    </a:cubicBezTo>
                    <a:cubicBezTo>
                      <a:pt x="550" y="377"/>
                      <a:pt x="550" y="377"/>
                      <a:pt x="550" y="377"/>
                    </a:cubicBezTo>
                    <a:cubicBezTo>
                      <a:pt x="549" y="377"/>
                      <a:pt x="549" y="377"/>
                      <a:pt x="549" y="377"/>
                    </a:cubicBezTo>
                    <a:cubicBezTo>
                      <a:pt x="549" y="379"/>
                      <a:pt x="549" y="379"/>
                      <a:pt x="549" y="379"/>
                    </a:cubicBezTo>
                    <a:cubicBezTo>
                      <a:pt x="548" y="379"/>
                      <a:pt x="548" y="379"/>
                      <a:pt x="548" y="379"/>
                    </a:cubicBezTo>
                    <a:cubicBezTo>
                      <a:pt x="550" y="380"/>
                      <a:pt x="550" y="380"/>
                      <a:pt x="550" y="380"/>
                    </a:cubicBezTo>
                    <a:cubicBezTo>
                      <a:pt x="551" y="381"/>
                      <a:pt x="551" y="381"/>
                      <a:pt x="551" y="381"/>
                    </a:cubicBezTo>
                    <a:cubicBezTo>
                      <a:pt x="550" y="382"/>
                      <a:pt x="550" y="382"/>
                      <a:pt x="550" y="382"/>
                    </a:cubicBezTo>
                    <a:cubicBezTo>
                      <a:pt x="549" y="383"/>
                      <a:pt x="549" y="383"/>
                      <a:pt x="549" y="383"/>
                    </a:cubicBezTo>
                    <a:cubicBezTo>
                      <a:pt x="551" y="384"/>
                      <a:pt x="551" y="384"/>
                      <a:pt x="551" y="384"/>
                    </a:cubicBezTo>
                    <a:cubicBezTo>
                      <a:pt x="550" y="385"/>
                      <a:pt x="550" y="385"/>
                      <a:pt x="550" y="385"/>
                    </a:cubicBezTo>
                    <a:cubicBezTo>
                      <a:pt x="550" y="386"/>
                      <a:pt x="550" y="386"/>
                      <a:pt x="550" y="386"/>
                    </a:cubicBezTo>
                    <a:cubicBezTo>
                      <a:pt x="551" y="387"/>
                      <a:pt x="551" y="387"/>
                      <a:pt x="551" y="387"/>
                    </a:cubicBezTo>
                    <a:cubicBezTo>
                      <a:pt x="552" y="385"/>
                      <a:pt x="552" y="385"/>
                      <a:pt x="552" y="385"/>
                    </a:cubicBezTo>
                    <a:cubicBezTo>
                      <a:pt x="552" y="385"/>
                      <a:pt x="552" y="385"/>
                      <a:pt x="552" y="385"/>
                    </a:cubicBezTo>
                    <a:cubicBezTo>
                      <a:pt x="552" y="387"/>
                      <a:pt x="552" y="387"/>
                      <a:pt x="552" y="387"/>
                    </a:cubicBezTo>
                    <a:cubicBezTo>
                      <a:pt x="550" y="388"/>
                      <a:pt x="550" y="388"/>
                      <a:pt x="550" y="388"/>
                    </a:cubicBezTo>
                    <a:cubicBezTo>
                      <a:pt x="549" y="390"/>
                      <a:pt x="549" y="390"/>
                      <a:pt x="549" y="390"/>
                    </a:cubicBezTo>
                    <a:cubicBezTo>
                      <a:pt x="549" y="392"/>
                      <a:pt x="549" y="392"/>
                      <a:pt x="549" y="392"/>
                    </a:cubicBezTo>
                    <a:cubicBezTo>
                      <a:pt x="551" y="393"/>
                      <a:pt x="551" y="393"/>
                      <a:pt x="551" y="393"/>
                    </a:cubicBezTo>
                    <a:cubicBezTo>
                      <a:pt x="551" y="395"/>
                      <a:pt x="551" y="395"/>
                      <a:pt x="551" y="395"/>
                    </a:cubicBezTo>
                    <a:cubicBezTo>
                      <a:pt x="553" y="399"/>
                      <a:pt x="553" y="399"/>
                      <a:pt x="553" y="399"/>
                    </a:cubicBezTo>
                    <a:cubicBezTo>
                      <a:pt x="553" y="401"/>
                      <a:pt x="553" y="401"/>
                      <a:pt x="553" y="401"/>
                    </a:cubicBezTo>
                    <a:cubicBezTo>
                      <a:pt x="552" y="402"/>
                      <a:pt x="552" y="402"/>
                      <a:pt x="552" y="402"/>
                    </a:cubicBezTo>
                    <a:cubicBezTo>
                      <a:pt x="552" y="403"/>
                      <a:pt x="552" y="403"/>
                      <a:pt x="552" y="403"/>
                    </a:cubicBezTo>
                    <a:cubicBezTo>
                      <a:pt x="549" y="406"/>
                      <a:pt x="549" y="406"/>
                      <a:pt x="549" y="406"/>
                    </a:cubicBezTo>
                    <a:cubicBezTo>
                      <a:pt x="550" y="407"/>
                      <a:pt x="550" y="407"/>
                      <a:pt x="550" y="407"/>
                    </a:cubicBezTo>
                    <a:cubicBezTo>
                      <a:pt x="549" y="409"/>
                      <a:pt x="549" y="409"/>
                      <a:pt x="549" y="409"/>
                    </a:cubicBezTo>
                    <a:cubicBezTo>
                      <a:pt x="547" y="408"/>
                      <a:pt x="547" y="408"/>
                      <a:pt x="547" y="408"/>
                    </a:cubicBezTo>
                    <a:cubicBezTo>
                      <a:pt x="544" y="408"/>
                      <a:pt x="544" y="408"/>
                      <a:pt x="544" y="408"/>
                    </a:cubicBezTo>
                    <a:cubicBezTo>
                      <a:pt x="543" y="409"/>
                      <a:pt x="543" y="409"/>
                      <a:pt x="543" y="409"/>
                    </a:cubicBezTo>
                    <a:cubicBezTo>
                      <a:pt x="542" y="411"/>
                      <a:pt x="542" y="411"/>
                      <a:pt x="542" y="411"/>
                    </a:cubicBezTo>
                    <a:cubicBezTo>
                      <a:pt x="540" y="412"/>
                      <a:pt x="540" y="412"/>
                      <a:pt x="540" y="412"/>
                    </a:cubicBezTo>
                    <a:cubicBezTo>
                      <a:pt x="539" y="414"/>
                      <a:pt x="539" y="414"/>
                      <a:pt x="539" y="414"/>
                    </a:cubicBezTo>
                    <a:cubicBezTo>
                      <a:pt x="538" y="414"/>
                      <a:pt x="538" y="414"/>
                      <a:pt x="538" y="414"/>
                    </a:cubicBezTo>
                    <a:cubicBezTo>
                      <a:pt x="535" y="417"/>
                      <a:pt x="535" y="417"/>
                      <a:pt x="535" y="417"/>
                    </a:cubicBezTo>
                    <a:cubicBezTo>
                      <a:pt x="534" y="416"/>
                      <a:pt x="534" y="416"/>
                      <a:pt x="534" y="416"/>
                    </a:cubicBezTo>
                    <a:cubicBezTo>
                      <a:pt x="533" y="416"/>
                      <a:pt x="533" y="416"/>
                      <a:pt x="533" y="416"/>
                    </a:cubicBezTo>
                    <a:cubicBezTo>
                      <a:pt x="532" y="418"/>
                      <a:pt x="532" y="418"/>
                      <a:pt x="532" y="418"/>
                    </a:cubicBezTo>
                    <a:cubicBezTo>
                      <a:pt x="527" y="420"/>
                      <a:pt x="527" y="420"/>
                      <a:pt x="527" y="420"/>
                    </a:cubicBezTo>
                    <a:cubicBezTo>
                      <a:pt x="526" y="419"/>
                      <a:pt x="526" y="419"/>
                      <a:pt x="526" y="419"/>
                    </a:cubicBezTo>
                    <a:cubicBezTo>
                      <a:pt x="527" y="418"/>
                      <a:pt x="527" y="418"/>
                      <a:pt x="527" y="418"/>
                    </a:cubicBezTo>
                    <a:cubicBezTo>
                      <a:pt x="526" y="415"/>
                      <a:pt x="526" y="415"/>
                      <a:pt x="526" y="415"/>
                    </a:cubicBezTo>
                    <a:cubicBezTo>
                      <a:pt x="525" y="414"/>
                      <a:pt x="525" y="414"/>
                      <a:pt x="525" y="414"/>
                    </a:cubicBezTo>
                    <a:cubicBezTo>
                      <a:pt x="525" y="413"/>
                      <a:pt x="525" y="413"/>
                      <a:pt x="525" y="413"/>
                    </a:cubicBezTo>
                    <a:cubicBezTo>
                      <a:pt x="526" y="412"/>
                      <a:pt x="526" y="412"/>
                      <a:pt x="526" y="412"/>
                    </a:cubicBezTo>
                    <a:cubicBezTo>
                      <a:pt x="526" y="411"/>
                      <a:pt x="526" y="411"/>
                      <a:pt x="526" y="411"/>
                    </a:cubicBezTo>
                    <a:cubicBezTo>
                      <a:pt x="528" y="408"/>
                      <a:pt x="528" y="408"/>
                      <a:pt x="528" y="408"/>
                    </a:cubicBezTo>
                    <a:cubicBezTo>
                      <a:pt x="526" y="410"/>
                      <a:pt x="526" y="410"/>
                      <a:pt x="526" y="410"/>
                    </a:cubicBezTo>
                    <a:cubicBezTo>
                      <a:pt x="525" y="410"/>
                      <a:pt x="525" y="410"/>
                      <a:pt x="525" y="410"/>
                    </a:cubicBezTo>
                    <a:cubicBezTo>
                      <a:pt x="525" y="406"/>
                      <a:pt x="525" y="406"/>
                      <a:pt x="525" y="406"/>
                    </a:cubicBezTo>
                    <a:cubicBezTo>
                      <a:pt x="524" y="406"/>
                      <a:pt x="524" y="406"/>
                      <a:pt x="524" y="406"/>
                    </a:cubicBezTo>
                    <a:cubicBezTo>
                      <a:pt x="523" y="404"/>
                      <a:pt x="523" y="404"/>
                      <a:pt x="523" y="404"/>
                    </a:cubicBezTo>
                    <a:cubicBezTo>
                      <a:pt x="521" y="405"/>
                      <a:pt x="521" y="405"/>
                      <a:pt x="521" y="405"/>
                    </a:cubicBezTo>
                    <a:cubicBezTo>
                      <a:pt x="520" y="404"/>
                      <a:pt x="520" y="404"/>
                      <a:pt x="520" y="404"/>
                    </a:cubicBezTo>
                    <a:cubicBezTo>
                      <a:pt x="518" y="405"/>
                      <a:pt x="518" y="405"/>
                      <a:pt x="518" y="405"/>
                    </a:cubicBezTo>
                    <a:cubicBezTo>
                      <a:pt x="517" y="407"/>
                      <a:pt x="517" y="407"/>
                      <a:pt x="517" y="407"/>
                    </a:cubicBezTo>
                    <a:cubicBezTo>
                      <a:pt x="518" y="407"/>
                      <a:pt x="518" y="407"/>
                      <a:pt x="518" y="407"/>
                    </a:cubicBezTo>
                    <a:cubicBezTo>
                      <a:pt x="520" y="406"/>
                      <a:pt x="520" y="406"/>
                      <a:pt x="520" y="406"/>
                    </a:cubicBezTo>
                    <a:cubicBezTo>
                      <a:pt x="521" y="406"/>
                      <a:pt x="521" y="406"/>
                      <a:pt x="521" y="406"/>
                    </a:cubicBezTo>
                    <a:cubicBezTo>
                      <a:pt x="521" y="408"/>
                      <a:pt x="521" y="408"/>
                      <a:pt x="521" y="408"/>
                    </a:cubicBezTo>
                    <a:cubicBezTo>
                      <a:pt x="523" y="409"/>
                      <a:pt x="523" y="409"/>
                      <a:pt x="523" y="409"/>
                    </a:cubicBezTo>
                    <a:cubicBezTo>
                      <a:pt x="524" y="412"/>
                      <a:pt x="524" y="412"/>
                      <a:pt x="524" y="412"/>
                    </a:cubicBezTo>
                    <a:cubicBezTo>
                      <a:pt x="523" y="415"/>
                      <a:pt x="523" y="415"/>
                      <a:pt x="523" y="415"/>
                    </a:cubicBezTo>
                    <a:cubicBezTo>
                      <a:pt x="524" y="415"/>
                      <a:pt x="524" y="415"/>
                      <a:pt x="524" y="415"/>
                    </a:cubicBezTo>
                    <a:cubicBezTo>
                      <a:pt x="525" y="418"/>
                      <a:pt x="525" y="418"/>
                      <a:pt x="525" y="418"/>
                    </a:cubicBezTo>
                    <a:cubicBezTo>
                      <a:pt x="524" y="419"/>
                      <a:pt x="524" y="419"/>
                      <a:pt x="524" y="419"/>
                    </a:cubicBezTo>
                    <a:cubicBezTo>
                      <a:pt x="525" y="420"/>
                      <a:pt x="525" y="420"/>
                      <a:pt x="525" y="420"/>
                    </a:cubicBezTo>
                    <a:cubicBezTo>
                      <a:pt x="524" y="421"/>
                      <a:pt x="524" y="421"/>
                      <a:pt x="524" y="421"/>
                    </a:cubicBezTo>
                    <a:cubicBezTo>
                      <a:pt x="523" y="421"/>
                      <a:pt x="523" y="421"/>
                      <a:pt x="523" y="421"/>
                    </a:cubicBezTo>
                    <a:cubicBezTo>
                      <a:pt x="520" y="419"/>
                      <a:pt x="520" y="419"/>
                      <a:pt x="520" y="419"/>
                    </a:cubicBezTo>
                    <a:cubicBezTo>
                      <a:pt x="520" y="417"/>
                      <a:pt x="520" y="417"/>
                      <a:pt x="520" y="417"/>
                    </a:cubicBezTo>
                    <a:cubicBezTo>
                      <a:pt x="519" y="417"/>
                      <a:pt x="519" y="417"/>
                      <a:pt x="519" y="417"/>
                    </a:cubicBezTo>
                    <a:cubicBezTo>
                      <a:pt x="518" y="415"/>
                      <a:pt x="518" y="415"/>
                      <a:pt x="518" y="415"/>
                    </a:cubicBezTo>
                    <a:cubicBezTo>
                      <a:pt x="517" y="417"/>
                      <a:pt x="517" y="417"/>
                      <a:pt x="517" y="417"/>
                    </a:cubicBezTo>
                    <a:cubicBezTo>
                      <a:pt x="519" y="418"/>
                      <a:pt x="519" y="418"/>
                      <a:pt x="519" y="418"/>
                    </a:cubicBezTo>
                    <a:cubicBezTo>
                      <a:pt x="519" y="420"/>
                      <a:pt x="519" y="420"/>
                      <a:pt x="519" y="420"/>
                    </a:cubicBezTo>
                    <a:cubicBezTo>
                      <a:pt x="516" y="419"/>
                      <a:pt x="516" y="419"/>
                      <a:pt x="516" y="419"/>
                    </a:cubicBezTo>
                    <a:cubicBezTo>
                      <a:pt x="515" y="418"/>
                      <a:pt x="515" y="418"/>
                      <a:pt x="515" y="418"/>
                    </a:cubicBezTo>
                    <a:cubicBezTo>
                      <a:pt x="515" y="417"/>
                      <a:pt x="515" y="417"/>
                      <a:pt x="515" y="417"/>
                    </a:cubicBezTo>
                    <a:cubicBezTo>
                      <a:pt x="513" y="418"/>
                      <a:pt x="513" y="418"/>
                      <a:pt x="513" y="418"/>
                    </a:cubicBezTo>
                    <a:cubicBezTo>
                      <a:pt x="513" y="417"/>
                      <a:pt x="513" y="417"/>
                      <a:pt x="513" y="417"/>
                    </a:cubicBezTo>
                    <a:cubicBezTo>
                      <a:pt x="514" y="414"/>
                      <a:pt x="514" y="414"/>
                      <a:pt x="514" y="414"/>
                    </a:cubicBezTo>
                    <a:cubicBezTo>
                      <a:pt x="515" y="413"/>
                      <a:pt x="515" y="413"/>
                      <a:pt x="515" y="413"/>
                    </a:cubicBezTo>
                    <a:cubicBezTo>
                      <a:pt x="513" y="413"/>
                      <a:pt x="513" y="413"/>
                      <a:pt x="513" y="413"/>
                    </a:cubicBezTo>
                    <a:cubicBezTo>
                      <a:pt x="513" y="412"/>
                      <a:pt x="513" y="412"/>
                      <a:pt x="513" y="412"/>
                    </a:cubicBezTo>
                    <a:cubicBezTo>
                      <a:pt x="511" y="413"/>
                      <a:pt x="511" y="413"/>
                      <a:pt x="511" y="413"/>
                    </a:cubicBezTo>
                    <a:cubicBezTo>
                      <a:pt x="508" y="413"/>
                      <a:pt x="508" y="413"/>
                      <a:pt x="508" y="413"/>
                    </a:cubicBezTo>
                    <a:cubicBezTo>
                      <a:pt x="507" y="412"/>
                      <a:pt x="507" y="412"/>
                      <a:pt x="507" y="412"/>
                    </a:cubicBezTo>
                    <a:cubicBezTo>
                      <a:pt x="505" y="412"/>
                      <a:pt x="505" y="412"/>
                      <a:pt x="505" y="412"/>
                    </a:cubicBezTo>
                    <a:cubicBezTo>
                      <a:pt x="503" y="411"/>
                      <a:pt x="503" y="411"/>
                      <a:pt x="503" y="411"/>
                    </a:cubicBezTo>
                    <a:cubicBezTo>
                      <a:pt x="503" y="412"/>
                      <a:pt x="503" y="412"/>
                      <a:pt x="503" y="412"/>
                    </a:cubicBezTo>
                    <a:cubicBezTo>
                      <a:pt x="503" y="413"/>
                      <a:pt x="503" y="413"/>
                      <a:pt x="503" y="413"/>
                    </a:cubicBezTo>
                    <a:cubicBezTo>
                      <a:pt x="502" y="414"/>
                      <a:pt x="502" y="414"/>
                      <a:pt x="502" y="414"/>
                    </a:cubicBezTo>
                    <a:cubicBezTo>
                      <a:pt x="503" y="416"/>
                      <a:pt x="503" y="416"/>
                      <a:pt x="503" y="416"/>
                    </a:cubicBezTo>
                    <a:cubicBezTo>
                      <a:pt x="503" y="417"/>
                      <a:pt x="503" y="417"/>
                      <a:pt x="503" y="417"/>
                    </a:cubicBezTo>
                    <a:cubicBezTo>
                      <a:pt x="506" y="418"/>
                      <a:pt x="506" y="418"/>
                      <a:pt x="506" y="418"/>
                    </a:cubicBezTo>
                    <a:cubicBezTo>
                      <a:pt x="507" y="420"/>
                      <a:pt x="507" y="420"/>
                      <a:pt x="507" y="420"/>
                    </a:cubicBezTo>
                    <a:cubicBezTo>
                      <a:pt x="505" y="422"/>
                      <a:pt x="505" y="422"/>
                      <a:pt x="505" y="422"/>
                    </a:cubicBezTo>
                    <a:cubicBezTo>
                      <a:pt x="504" y="423"/>
                      <a:pt x="504" y="423"/>
                      <a:pt x="504" y="423"/>
                    </a:cubicBezTo>
                    <a:cubicBezTo>
                      <a:pt x="500" y="426"/>
                      <a:pt x="500" y="426"/>
                      <a:pt x="500" y="426"/>
                    </a:cubicBezTo>
                    <a:cubicBezTo>
                      <a:pt x="498" y="429"/>
                      <a:pt x="498" y="429"/>
                      <a:pt x="498" y="429"/>
                    </a:cubicBezTo>
                    <a:cubicBezTo>
                      <a:pt x="495" y="432"/>
                      <a:pt x="495" y="432"/>
                      <a:pt x="495" y="432"/>
                    </a:cubicBezTo>
                    <a:cubicBezTo>
                      <a:pt x="494" y="431"/>
                      <a:pt x="494" y="431"/>
                      <a:pt x="494" y="431"/>
                    </a:cubicBezTo>
                    <a:cubicBezTo>
                      <a:pt x="492" y="432"/>
                      <a:pt x="492" y="432"/>
                      <a:pt x="492" y="432"/>
                    </a:cubicBezTo>
                    <a:cubicBezTo>
                      <a:pt x="492" y="434"/>
                      <a:pt x="492" y="434"/>
                      <a:pt x="492" y="434"/>
                    </a:cubicBezTo>
                    <a:cubicBezTo>
                      <a:pt x="490" y="435"/>
                      <a:pt x="490" y="435"/>
                      <a:pt x="490" y="435"/>
                    </a:cubicBezTo>
                    <a:cubicBezTo>
                      <a:pt x="484" y="434"/>
                      <a:pt x="484" y="434"/>
                      <a:pt x="484" y="434"/>
                    </a:cubicBezTo>
                    <a:cubicBezTo>
                      <a:pt x="483" y="432"/>
                      <a:pt x="483" y="432"/>
                      <a:pt x="483" y="432"/>
                    </a:cubicBezTo>
                    <a:cubicBezTo>
                      <a:pt x="482" y="430"/>
                      <a:pt x="482" y="430"/>
                      <a:pt x="482" y="430"/>
                    </a:cubicBezTo>
                    <a:cubicBezTo>
                      <a:pt x="479" y="428"/>
                      <a:pt x="479" y="428"/>
                      <a:pt x="479" y="428"/>
                    </a:cubicBezTo>
                    <a:cubicBezTo>
                      <a:pt x="479" y="427"/>
                      <a:pt x="479" y="427"/>
                      <a:pt x="479" y="427"/>
                    </a:cubicBezTo>
                    <a:cubicBezTo>
                      <a:pt x="480" y="427"/>
                      <a:pt x="480" y="427"/>
                      <a:pt x="480" y="427"/>
                    </a:cubicBezTo>
                    <a:cubicBezTo>
                      <a:pt x="481" y="427"/>
                      <a:pt x="481" y="427"/>
                      <a:pt x="481" y="427"/>
                    </a:cubicBezTo>
                    <a:cubicBezTo>
                      <a:pt x="480" y="426"/>
                      <a:pt x="480" y="426"/>
                      <a:pt x="480" y="426"/>
                    </a:cubicBezTo>
                    <a:cubicBezTo>
                      <a:pt x="478" y="425"/>
                      <a:pt x="478" y="425"/>
                      <a:pt x="478" y="425"/>
                    </a:cubicBezTo>
                    <a:cubicBezTo>
                      <a:pt x="476" y="421"/>
                      <a:pt x="476" y="421"/>
                      <a:pt x="476" y="421"/>
                    </a:cubicBezTo>
                    <a:cubicBezTo>
                      <a:pt x="473" y="419"/>
                      <a:pt x="473" y="419"/>
                      <a:pt x="473" y="419"/>
                    </a:cubicBezTo>
                    <a:cubicBezTo>
                      <a:pt x="469" y="419"/>
                      <a:pt x="469" y="419"/>
                      <a:pt x="469" y="419"/>
                    </a:cubicBezTo>
                    <a:cubicBezTo>
                      <a:pt x="467" y="417"/>
                      <a:pt x="467" y="417"/>
                      <a:pt x="467" y="417"/>
                    </a:cubicBezTo>
                    <a:cubicBezTo>
                      <a:pt x="462" y="417"/>
                      <a:pt x="462" y="417"/>
                      <a:pt x="462" y="417"/>
                    </a:cubicBezTo>
                    <a:cubicBezTo>
                      <a:pt x="460" y="417"/>
                      <a:pt x="460" y="417"/>
                      <a:pt x="460" y="417"/>
                    </a:cubicBezTo>
                    <a:cubicBezTo>
                      <a:pt x="460" y="418"/>
                      <a:pt x="460" y="418"/>
                      <a:pt x="460" y="418"/>
                    </a:cubicBezTo>
                    <a:cubicBezTo>
                      <a:pt x="462" y="419"/>
                      <a:pt x="462" y="419"/>
                      <a:pt x="462" y="419"/>
                    </a:cubicBezTo>
                    <a:cubicBezTo>
                      <a:pt x="462" y="418"/>
                      <a:pt x="462" y="418"/>
                      <a:pt x="462" y="418"/>
                    </a:cubicBezTo>
                    <a:cubicBezTo>
                      <a:pt x="463" y="418"/>
                      <a:pt x="463" y="418"/>
                      <a:pt x="463" y="418"/>
                    </a:cubicBezTo>
                    <a:cubicBezTo>
                      <a:pt x="468" y="420"/>
                      <a:pt x="468" y="420"/>
                      <a:pt x="468" y="420"/>
                    </a:cubicBezTo>
                    <a:cubicBezTo>
                      <a:pt x="472" y="420"/>
                      <a:pt x="472" y="420"/>
                      <a:pt x="472" y="420"/>
                    </a:cubicBezTo>
                    <a:cubicBezTo>
                      <a:pt x="473" y="421"/>
                      <a:pt x="473" y="421"/>
                      <a:pt x="473" y="421"/>
                    </a:cubicBezTo>
                    <a:cubicBezTo>
                      <a:pt x="473" y="422"/>
                      <a:pt x="473" y="422"/>
                      <a:pt x="473" y="422"/>
                    </a:cubicBezTo>
                    <a:cubicBezTo>
                      <a:pt x="472" y="422"/>
                      <a:pt x="472" y="422"/>
                      <a:pt x="472" y="422"/>
                    </a:cubicBezTo>
                    <a:cubicBezTo>
                      <a:pt x="471" y="422"/>
                      <a:pt x="471" y="422"/>
                      <a:pt x="471" y="422"/>
                    </a:cubicBezTo>
                    <a:cubicBezTo>
                      <a:pt x="472" y="423"/>
                      <a:pt x="472" y="423"/>
                      <a:pt x="472" y="423"/>
                    </a:cubicBezTo>
                    <a:cubicBezTo>
                      <a:pt x="472" y="426"/>
                      <a:pt x="472" y="426"/>
                      <a:pt x="472" y="426"/>
                    </a:cubicBezTo>
                    <a:cubicBezTo>
                      <a:pt x="473" y="426"/>
                      <a:pt x="473" y="426"/>
                      <a:pt x="473" y="426"/>
                    </a:cubicBezTo>
                    <a:cubicBezTo>
                      <a:pt x="475" y="431"/>
                      <a:pt x="475" y="431"/>
                      <a:pt x="475" y="431"/>
                    </a:cubicBezTo>
                    <a:cubicBezTo>
                      <a:pt x="476" y="433"/>
                      <a:pt x="476" y="433"/>
                      <a:pt x="476" y="433"/>
                    </a:cubicBezTo>
                    <a:cubicBezTo>
                      <a:pt x="480" y="435"/>
                      <a:pt x="480" y="435"/>
                      <a:pt x="480" y="435"/>
                    </a:cubicBezTo>
                    <a:cubicBezTo>
                      <a:pt x="484" y="435"/>
                      <a:pt x="484" y="435"/>
                      <a:pt x="484" y="435"/>
                    </a:cubicBezTo>
                    <a:cubicBezTo>
                      <a:pt x="490" y="437"/>
                      <a:pt x="490" y="437"/>
                      <a:pt x="490" y="437"/>
                    </a:cubicBezTo>
                    <a:cubicBezTo>
                      <a:pt x="491" y="440"/>
                      <a:pt x="491" y="440"/>
                      <a:pt x="491" y="440"/>
                    </a:cubicBezTo>
                    <a:cubicBezTo>
                      <a:pt x="490" y="440"/>
                      <a:pt x="490" y="440"/>
                      <a:pt x="490" y="440"/>
                    </a:cubicBezTo>
                    <a:cubicBezTo>
                      <a:pt x="488" y="442"/>
                      <a:pt x="488" y="442"/>
                      <a:pt x="488" y="442"/>
                    </a:cubicBezTo>
                    <a:cubicBezTo>
                      <a:pt x="486" y="443"/>
                      <a:pt x="486" y="443"/>
                      <a:pt x="486" y="443"/>
                    </a:cubicBezTo>
                    <a:cubicBezTo>
                      <a:pt x="483" y="447"/>
                      <a:pt x="483" y="447"/>
                      <a:pt x="483" y="447"/>
                    </a:cubicBezTo>
                    <a:cubicBezTo>
                      <a:pt x="483" y="446"/>
                      <a:pt x="483" y="446"/>
                      <a:pt x="483" y="446"/>
                    </a:cubicBezTo>
                    <a:cubicBezTo>
                      <a:pt x="482" y="446"/>
                      <a:pt x="482" y="446"/>
                      <a:pt x="482" y="446"/>
                    </a:cubicBezTo>
                    <a:cubicBezTo>
                      <a:pt x="482" y="448"/>
                      <a:pt x="482" y="448"/>
                      <a:pt x="482" y="448"/>
                    </a:cubicBezTo>
                    <a:cubicBezTo>
                      <a:pt x="476" y="454"/>
                      <a:pt x="476" y="454"/>
                      <a:pt x="476" y="454"/>
                    </a:cubicBezTo>
                    <a:cubicBezTo>
                      <a:pt x="473" y="455"/>
                      <a:pt x="473" y="455"/>
                      <a:pt x="473" y="455"/>
                    </a:cubicBezTo>
                    <a:cubicBezTo>
                      <a:pt x="471" y="458"/>
                      <a:pt x="471" y="458"/>
                      <a:pt x="471" y="458"/>
                    </a:cubicBezTo>
                    <a:cubicBezTo>
                      <a:pt x="470" y="459"/>
                      <a:pt x="470" y="459"/>
                      <a:pt x="470" y="459"/>
                    </a:cubicBezTo>
                    <a:cubicBezTo>
                      <a:pt x="469" y="458"/>
                      <a:pt x="469" y="458"/>
                      <a:pt x="469" y="458"/>
                    </a:cubicBezTo>
                    <a:cubicBezTo>
                      <a:pt x="468" y="458"/>
                      <a:pt x="468" y="458"/>
                      <a:pt x="468" y="458"/>
                    </a:cubicBezTo>
                    <a:cubicBezTo>
                      <a:pt x="467" y="459"/>
                      <a:pt x="467" y="459"/>
                      <a:pt x="467" y="459"/>
                    </a:cubicBezTo>
                    <a:cubicBezTo>
                      <a:pt x="465" y="456"/>
                      <a:pt x="465" y="456"/>
                      <a:pt x="465" y="456"/>
                    </a:cubicBezTo>
                    <a:cubicBezTo>
                      <a:pt x="463" y="456"/>
                      <a:pt x="463" y="456"/>
                      <a:pt x="463" y="456"/>
                    </a:cubicBezTo>
                    <a:cubicBezTo>
                      <a:pt x="462" y="457"/>
                      <a:pt x="462" y="457"/>
                      <a:pt x="462" y="457"/>
                    </a:cubicBezTo>
                    <a:cubicBezTo>
                      <a:pt x="462" y="456"/>
                      <a:pt x="462" y="456"/>
                      <a:pt x="462" y="456"/>
                    </a:cubicBezTo>
                    <a:cubicBezTo>
                      <a:pt x="461" y="455"/>
                      <a:pt x="461" y="455"/>
                      <a:pt x="461" y="455"/>
                    </a:cubicBezTo>
                    <a:cubicBezTo>
                      <a:pt x="462" y="453"/>
                      <a:pt x="462" y="453"/>
                      <a:pt x="462" y="453"/>
                    </a:cubicBezTo>
                    <a:cubicBezTo>
                      <a:pt x="462" y="453"/>
                      <a:pt x="462" y="453"/>
                      <a:pt x="462" y="453"/>
                    </a:cubicBezTo>
                    <a:cubicBezTo>
                      <a:pt x="461" y="452"/>
                      <a:pt x="461" y="452"/>
                      <a:pt x="461" y="452"/>
                    </a:cubicBezTo>
                    <a:cubicBezTo>
                      <a:pt x="459" y="453"/>
                      <a:pt x="459" y="453"/>
                      <a:pt x="459" y="453"/>
                    </a:cubicBezTo>
                    <a:cubicBezTo>
                      <a:pt x="458" y="457"/>
                      <a:pt x="458" y="457"/>
                      <a:pt x="458" y="457"/>
                    </a:cubicBezTo>
                    <a:cubicBezTo>
                      <a:pt x="458" y="455"/>
                      <a:pt x="458" y="455"/>
                      <a:pt x="458" y="455"/>
                    </a:cubicBezTo>
                    <a:cubicBezTo>
                      <a:pt x="457" y="452"/>
                      <a:pt x="457" y="452"/>
                      <a:pt x="457" y="452"/>
                    </a:cubicBezTo>
                    <a:cubicBezTo>
                      <a:pt x="456" y="455"/>
                      <a:pt x="456" y="455"/>
                      <a:pt x="456" y="455"/>
                    </a:cubicBezTo>
                    <a:cubicBezTo>
                      <a:pt x="457" y="456"/>
                      <a:pt x="457" y="456"/>
                      <a:pt x="457" y="456"/>
                    </a:cubicBezTo>
                    <a:cubicBezTo>
                      <a:pt x="457" y="460"/>
                      <a:pt x="457" y="460"/>
                      <a:pt x="457" y="460"/>
                    </a:cubicBezTo>
                    <a:cubicBezTo>
                      <a:pt x="454" y="463"/>
                      <a:pt x="454" y="463"/>
                      <a:pt x="454" y="463"/>
                    </a:cubicBezTo>
                    <a:cubicBezTo>
                      <a:pt x="453" y="463"/>
                      <a:pt x="453" y="463"/>
                      <a:pt x="453" y="463"/>
                    </a:cubicBezTo>
                    <a:cubicBezTo>
                      <a:pt x="453" y="461"/>
                      <a:pt x="453" y="461"/>
                      <a:pt x="453" y="461"/>
                    </a:cubicBezTo>
                    <a:cubicBezTo>
                      <a:pt x="451" y="459"/>
                      <a:pt x="451" y="459"/>
                      <a:pt x="451" y="459"/>
                    </a:cubicBezTo>
                    <a:cubicBezTo>
                      <a:pt x="451" y="461"/>
                      <a:pt x="451" y="461"/>
                      <a:pt x="451" y="461"/>
                    </a:cubicBezTo>
                    <a:cubicBezTo>
                      <a:pt x="452" y="462"/>
                      <a:pt x="452" y="462"/>
                      <a:pt x="452" y="462"/>
                    </a:cubicBezTo>
                    <a:cubicBezTo>
                      <a:pt x="450" y="463"/>
                      <a:pt x="450" y="463"/>
                      <a:pt x="450" y="463"/>
                    </a:cubicBezTo>
                    <a:cubicBezTo>
                      <a:pt x="450" y="465"/>
                      <a:pt x="450" y="465"/>
                      <a:pt x="450" y="465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7" y="464"/>
                      <a:pt x="447" y="464"/>
                      <a:pt x="447" y="464"/>
                    </a:cubicBezTo>
                    <a:cubicBezTo>
                      <a:pt x="447" y="462"/>
                      <a:pt x="447" y="462"/>
                      <a:pt x="447" y="462"/>
                    </a:cubicBezTo>
                    <a:cubicBezTo>
                      <a:pt x="445" y="461"/>
                      <a:pt x="445" y="461"/>
                      <a:pt x="445" y="461"/>
                    </a:cubicBezTo>
                    <a:cubicBezTo>
                      <a:pt x="443" y="459"/>
                      <a:pt x="443" y="459"/>
                      <a:pt x="443" y="459"/>
                    </a:cubicBezTo>
                    <a:cubicBezTo>
                      <a:pt x="440" y="457"/>
                      <a:pt x="440" y="457"/>
                      <a:pt x="440" y="457"/>
                    </a:cubicBezTo>
                    <a:cubicBezTo>
                      <a:pt x="436" y="455"/>
                      <a:pt x="436" y="455"/>
                      <a:pt x="436" y="455"/>
                    </a:cubicBezTo>
                    <a:cubicBezTo>
                      <a:pt x="435" y="452"/>
                      <a:pt x="435" y="452"/>
                      <a:pt x="435" y="452"/>
                    </a:cubicBezTo>
                    <a:cubicBezTo>
                      <a:pt x="433" y="452"/>
                      <a:pt x="433" y="452"/>
                      <a:pt x="433" y="452"/>
                    </a:cubicBezTo>
                    <a:cubicBezTo>
                      <a:pt x="431" y="449"/>
                      <a:pt x="431" y="449"/>
                      <a:pt x="431" y="449"/>
                    </a:cubicBezTo>
                    <a:cubicBezTo>
                      <a:pt x="430" y="448"/>
                      <a:pt x="430" y="448"/>
                      <a:pt x="430" y="448"/>
                    </a:cubicBezTo>
                    <a:cubicBezTo>
                      <a:pt x="430" y="451"/>
                      <a:pt x="430" y="451"/>
                      <a:pt x="430" y="451"/>
                    </a:cubicBezTo>
                    <a:cubicBezTo>
                      <a:pt x="428" y="450"/>
                      <a:pt x="428" y="450"/>
                      <a:pt x="428" y="450"/>
                    </a:cubicBezTo>
                    <a:cubicBezTo>
                      <a:pt x="429" y="453"/>
                      <a:pt x="429" y="453"/>
                      <a:pt x="429" y="453"/>
                    </a:cubicBezTo>
                    <a:cubicBezTo>
                      <a:pt x="431" y="455"/>
                      <a:pt x="431" y="455"/>
                      <a:pt x="431" y="455"/>
                    </a:cubicBezTo>
                    <a:cubicBezTo>
                      <a:pt x="431" y="454"/>
                      <a:pt x="431" y="454"/>
                      <a:pt x="431" y="454"/>
                    </a:cubicBezTo>
                    <a:cubicBezTo>
                      <a:pt x="431" y="453"/>
                      <a:pt x="431" y="453"/>
                      <a:pt x="431" y="453"/>
                    </a:cubicBezTo>
                    <a:cubicBezTo>
                      <a:pt x="431" y="452"/>
                      <a:pt x="431" y="452"/>
                      <a:pt x="431" y="452"/>
                    </a:cubicBezTo>
                    <a:cubicBezTo>
                      <a:pt x="432" y="452"/>
                      <a:pt x="432" y="452"/>
                      <a:pt x="432" y="452"/>
                    </a:cubicBezTo>
                    <a:cubicBezTo>
                      <a:pt x="436" y="456"/>
                      <a:pt x="436" y="456"/>
                      <a:pt x="436" y="456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39" y="459"/>
                      <a:pt x="439" y="459"/>
                      <a:pt x="439" y="459"/>
                    </a:cubicBezTo>
                    <a:cubicBezTo>
                      <a:pt x="437" y="461"/>
                      <a:pt x="437" y="461"/>
                      <a:pt x="437" y="461"/>
                    </a:cubicBezTo>
                    <a:cubicBezTo>
                      <a:pt x="435" y="461"/>
                      <a:pt x="435" y="461"/>
                      <a:pt x="435" y="461"/>
                    </a:cubicBezTo>
                    <a:cubicBezTo>
                      <a:pt x="434" y="461"/>
                      <a:pt x="434" y="461"/>
                      <a:pt x="434" y="461"/>
                    </a:cubicBezTo>
                    <a:cubicBezTo>
                      <a:pt x="434" y="462"/>
                      <a:pt x="434" y="462"/>
                      <a:pt x="434" y="462"/>
                    </a:cubicBezTo>
                    <a:cubicBezTo>
                      <a:pt x="434" y="462"/>
                      <a:pt x="434" y="462"/>
                      <a:pt x="434" y="462"/>
                    </a:cubicBezTo>
                    <a:cubicBezTo>
                      <a:pt x="435" y="462"/>
                      <a:pt x="435" y="462"/>
                      <a:pt x="435" y="462"/>
                    </a:cubicBezTo>
                    <a:cubicBezTo>
                      <a:pt x="439" y="462"/>
                      <a:pt x="439" y="462"/>
                      <a:pt x="439" y="462"/>
                    </a:cubicBezTo>
                    <a:cubicBezTo>
                      <a:pt x="441" y="460"/>
                      <a:pt x="441" y="460"/>
                      <a:pt x="441" y="460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3" y="461"/>
                      <a:pt x="443" y="461"/>
                      <a:pt x="443" y="461"/>
                    </a:cubicBezTo>
                    <a:cubicBezTo>
                      <a:pt x="443" y="463"/>
                      <a:pt x="443" y="463"/>
                      <a:pt x="443" y="463"/>
                    </a:cubicBezTo>
                    <a:cubicBezTo>
                      <a:pt x="447" y="468"/>
                      <a:pt x="447" y="468"/>
                      <a:pt x="447" y="468"/>
                    </a:cubicBezTo>
                    <a:cubicBezTo>
                      <a:pt x="446" y="472"/>
                      <a:pt x="446" y="472"/>
                      <a:pt x="446" y="472"/>
                    </a:cubicBezTo>
                    <a:cubicBezTo>
                      <a:pt x="444" y="475"/>
                      <a:pt x="444" y="475"/>
                      <a:pt x="444" y="475"/>
                    </a:cubicBezTo>
                    <a:cubicBezTo>
                      <a:pt x="442" y="475"/>
                      <a:pt x="442" y="475"/>
                      <a:pt x="442" y="475"/>
                    </a:cubicBezTo>
                    <a:cubicBezTo>
                      <a:pt x="441" y="476"/>
                      <a:pt x="441" y="476"/>
                      <a:pt x="441" y="476"/>
                    </a:cubicBezTo>
                    <a:cubicBezTo>
                      <a:pt x="439" y="476"/>
                      <a:pt x="439" y="476"/>
                      <a:pt x="439" y="476"/>
                    </a:cubicBezTo>
                    <a:cubicBezTo>
                      <a:pt x="437" y="475"/>
                      <a:pt x="437" y="475"/>
                      <a:pt x="437" y="475"/>
                    </a:cubicBezTo>
                    <a:cubicBezTo>
                      <a:pt x="433" y="474"/>
                      <a:pt x="433" y="474"/>
                      <a:pt x="433" y="474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0" y="467"/>
                      <a:pt x="430" y="467"/>
                      <a:pt x="430" y="467"/>
                    </a:cubicBezTo>
                    <a:cubicBezTo>
                      <a:pt x="428" y="466"/>
                      <a:pt x="428" y="466"/>
                      <a:pt x="428" y="466"/>
                    </a:cubicBezTo>
                    <a:cubicBezTo>
                      <a:pt x="428" y="467"/>
                      <a:pt x="428" y="467"/>
                      <a:pt x="428" y="467"/>
                    </a:cubicBezTo>
                    <a:cubicBezTo>
                      <a:pt x="428" y="468"/>
                      <a:pt x="428" y="468"/>
                      <a:pt x="428" y="468"/>
                    </a:cubicBezTo>
                    <a:cubicBezTo>
                      <a:pt x="428" y="470"/>
                      <a:pt x="428" y="470"/>
                      <a:pt x="428" y="470"/>
                    </a:cubicBezTo>
                    <a:cubicBezTo>
                      <a:pt x="430" y="472"/>
                      <a:pt x="430" y="472"/>
                      <a:pt x="430" y="472"/>
                    </a:cubicBezTo>
                    <a:cubicBezTo>
                      <a:pt x="431" y="476"/>
                      <a:pt x="431" y="476"/>
                      <a:pt x="431" y="476"/>
                    </a:cubicBezTo>
                    <a:cubicBezTo>
                      <a:pt x="433" y="479"/>
                      <a:pt x="433" y="479"/>
                      <a:pt x="433" y="479"/>
                    </a:cubicBezTo>
                    <a:cubicBezTo>
                      <a:pt x="432" y="480"/>
                      <a:pt x="432" y="480"/>
                      <a:pt x="432" y="480"/>
                    </a:cubicBezTo>
                    <a:cubicBezTo>
                      <a:pt x="431" y="480"/>
                      <a:pt x="431" y="480"/>
                      <a:pt x="431" y="480"/>
                    </a:cubicBezTo>
                    <a:cubicBezTo>
                      <a:pt x="429" y="480"/>
                      <a:pt x="429" y="480"/>
                      <a:pt x="429" y="480"/>
                    </a:cubicBezTo>
                    <a:cubicBezTo>
                      <a:pt x="428" y="478"/>
                      <a:pt x="428" y="478"/>
                      <a:pt x="428" y="478"/>
                    </a:cubicBezTo>
                    <a:cubicBezTo>
                      <a:pt x="428" y="479"/>
                      <a:pt x="428" y="479"/>
                      <a:pt x="428" y="479"/>
                    </a:cubicBezTo>
                    <a:cubicBezTo>
                      <a:pt x="427" y="479"/>
                      <a:pt x="427" y="479"/>
                      <a:pt x="427" y="479"/>
                    </a:cubicBezTo>
                    <a:cubicBezTo>
                      <a:pt x="428" y="481"/>
                      <a:pt x="428" y="481"/>
                      <a:pt x="428" y="481"/>
                    </a:cubicBezTo>
                    <a:cubicBezTo>
                      <a:pt x="429" y="481"/>
                      <a:pt x="429" y="481"/>
                      <a:pt x="429" y="481"/>
                    </a:cubicBezTo>
                    <a:cubicBezTo>
                      <a:pt x="430" y="483"/>
                      <a:pt x="430" y="483"/>
                      <a:pt x="430" y="483"/>
                    </a:cubicBezTo>
                    <a:cubicBezTo>
                      <a:pt x="427" y="482"/>
                      <a:pt x="427" y="482"/>
                      <a:pt x="427" y="482"/>
                    </a:cubicBezTo>
                    <a:cubicBezTo>
                      <a:pt x="426" y="481"/>
                      <a:pt x="426" y="481"/>
                      <a:pt x="426" y="481"/>
                    </a:cubicBezTo>
                    <a:cubicBezTo>
                      <a:pt x="426" y="483"/>
                      <a:pt x="426" y="483"/>
                      <a:pt x="426" y="483"/>
                    </a:cubicBezTo>
                    <a:cubicBezTo>
                      <a:pt x="427" y="484"/>
                      <a:pt x="427" y="484"/>
                      <a:pt x="427" y="484"/>
                    </a:cubicBezTo>
                    <a:cubicBezTo>
                      <a:pt x="427" y="485"/>
                      <a:pt x="427" y="485"/>
                      <a:pt x="427" y="485"/>
                    </a:cubicBezTo>
                    <a:cubicBezTo>
                      <a:pt x="425" y="487"/>
                      <a:pt x="425" y="487"/>
                      <a:pt x="425" y="487"/>
                    </a:cubicBezTo>
                    <a:cubicBezTo>
                      <a:pt x="425" y="485"/>
                      <a:pt x="425" y="485"/>
                      <a:pt x="425" y="485"/>
                    </a:cubicBezTo>
                    <a:cubicBezTo>
                      <a:pt x="424" y="485"/>
                      <a:pt x="424" y="485"/>
                      <a:pt x="424" y="485"/>
                    </a:cubicBezTo>
                    <a:cubicBezTo>
                      <a:pt x="424" y="485"/>
                      <a:pt x="424" y="485"/>
                      <a:pt x="424" y="485"/>
                    </a:cubicBezTo>
                    <a:cubicBezTo>
                      <a:pt x="424" y="487"/>
                      <a:pt x="424" y="487"/>
                      <a:pt x="424" y="487"/>
                    </a:cubicBezTo>
                    <a:cubicBezTo>
                      <a:pt x="423" y="486"/>
                      <a:pt x="423" y="486"/>
                      <a:pt x="423" y="486"/>
                    </a:cubicBezTo>
                    <a:cubicBezTo>
                      <a:pt x="421" y="486"/>
                      <a:pt x="421" y="486"/>
                      <a:pt x="421" y="486"/>
                    </a:cubicBezTo>
                    <a:cubicBezTo>
                      <a:pt x="420" y="488"/>
                      <a:pt x="420" y="488"/>
                      <a:pt x="420" y="488"/>
                    </a:cubicBezTo>
                    <a:cubicBezTo>
                      <a:pt x="417" y="489"/>
                      <a:pt x="417" y="489"/>
                      <a:pt x="417" y="489"/>
                    </a:cubicBezTo>
                    <a:cubicBezTo>
                      <a:pt x="419" y="490"/>
                      <a:pt x="419" y="490"/>
                      <a:pt x="419" y="490"/>
                    </a:cubicBezTo>
                    <a:cubicBezTo>
                      <a:pt x="419" y="491"/>
                      <a:pt x="419" y="491"/>
                      <a:pt x="419" y="491"/>
                    </a:cubicBezTo>
                    <a:cubicBezTo>
                      <a:pt x="418" y="491"/>
                      <a:pt x="418" y="491"/>
                      <a:pt x="418" y="491"/>
                    </a:cubicBezTo>
                    <a:cubicBezTo>
                      <a:pt x="418" y="491"/>
                      <a:pt x="418" y="491"/>
                      <a:pt x="418" y="491"/>
                    </a:cubicBezTo>
                    <a:cubicBezTo>
                      <a:pt x="416" y="489"/>
                      <a:pt x="416" y="489"/>
                      <a:pt x="416" y="489"/>
                    </a:cubicBezTo>
                    <a:cubicBezTo>
                      <a:pt x="414" y="489"/>
                      <a:pt x="414" y="489"/>
                      <a:pt x="414" y="489"/>
                    </a:cubicBezTo>
                    <a:cubicBezTo>
                      <a:pt x="414" y="490"/>
                      <a:pt x="414" y="490"/>
                      <a:pt x="414" y="490"/>
                    </a:cubicBezTo>
                    <a:cubicBezTo>
                      <a:pt x="413" y="490"/>
                      <a:pt x="413" y="490"/>
                      <a:pt x="413" y="490"/>
                    </a:cubicBezTo>
                    <a:cubicBezTo>
                      <a:pt x="416" y="492"/>
                      <a:pt x="416" y="492"/>
                      <a:pt x="416" y="492"/>
                    </a:cubicBezTo>
                    <a:cubicBezTo>
                      <a:pt x="415" y="493"/>
                      <a:pt x="415" y="493"/>
                      <a:pt x="415" y="493"/>
                    </a:cubicBezTo>
                    <a:cubicBezTo>
                      <a:pt x="415" y="494"/>
                      <a:pt x="415" y="494"/>
                      <a:pt x="415" y="494"/>
                    </a:cubicBezTo>
                    <a:cubicBezTo>
                      <a:pt x="413" y="494"/>
                      <a:pt x="413" y="494"/>
                      <a:pt x="413" y="494"/>
                    </a:cubicBezTo>
                    <a:cubicBezTo>
                      <a:pt x="411" y="497"/>
                      <a:pt x="411" y="497"/>
                      <a:pt x="411" y="497"/>
                    </a:cubicBezTo>
                    <a:cubicBezTo>
                      <a:pt x="409" y="498"/>
                      <a:pt x="409" y="498"/>
                      <a:pt x="409" y="498"/>
                    </a:cubicBezTo>
                    <a:cubicBezTo>
                      <a:pt x="410" y="499"/>
                      <a:pt x="410" y="499"/>
                      <a:pt x="410" y="499"/>
                    </a:cubicBezTo>
                    <a:cubicBezTo>
                      <a:pt x="409" y="501"/>
                      <a:pt x="409" y="501"/>
                      <a:pt x="409" y="501"/>
                    </a:cubicBezTo>
                    <a:cubicBezTo>
                      <a:pt x="408" y="501"/>
                      <a:pt x="408" y="501"/>
                      <a:pt x="408" y="501"/>
                    </a:cubicBezTo>
                    <a:cubicBezTo>
                      <a:pt x="407" y="502"/>
                      <a:pt x="407" y="502"/>
                      <a:pt x="407" y="502"/>
                    </a:cubicBezTo>
                    <a:cubicBezTo>
                      <a:pt x="407" y="504"/>
                      <a:pt x="407" y="504"/>
                      <a:pt x="407" y="504"/>
                    </a:cubicBezTo>
                    <a:cubicBezTo>
                      <a:pt x="406" y="504"/>
                      <a:pt x="406" y="504"/>
                      <a:pt x="406" y="504"/>
                    </a:cubicBezTo>
                    <a:cubicBezTo>
                      <a:pt x="403" y="508"/>
                      <a:pt x="403" y="508"/>
                      <a:pt x="403" y="508"/>
                    </a:cubicBezTo>
                    <a:cubicBezTo>
                      <a:pt x="401" y="508"/>
                      <a:pt x="401" y="508"/>
                      <a:pt x="401" y="508"/>
                    </a:cubicBezTo>
                    <a:cubicBezTo>
                      <a:pt x="401" y="510"/>
                      <a:pt x="401" y="510"/>
                      <a:pt x="401" y="510"/>
                    </a:cubicBezTo>
                    <a:cubicBezTo>
                      <a:pt x="399" y="512"/>
                      <a:pt x="399" y="512"/>
                      <a:pt x="399" y="512"/>
                    </a:cubicBezTo>
                    <a:cubicBezTo>
                      <a:pt x="397" y="510"/>
                      <a:pt x="397" y="510"/>
                      <a:pt x="397" y="510"/>
                    </a:cubicBezTo>
                    <a:cubicBezTo>
                      <a:pt x="396" y="512"/>
                      <a:pt x="396" y="512"/>
                      <a:pt x="396" y="512"/>
                    </a:cubicBezTo>
                    <a:cubicBezTo>
                      <a:pt x="397" y="514"/>
                      <a:pt x="397" y="514"/>
                      <a:pt x="397" y="514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5" y="519"/>
                      <a:pt x="395" y="519"/>
                      <a:pt x="395" y="519"/>
                    </a:cubicBezTo>
                    <a:cubicBezTo>
                      <a:pt x="394" y="521"/>
                      <a:pt x="394" y="521"/>
                      <a:pt x="394" y="521"/>
                    </a:cubicBezTo>
                    <a:cubicBezTo>
                      <a:pt x="393" y="524"/>
                      <a:pt x="393" y="524"/>
                      <a:pt x="393" y="524"/>
                    </a:cubicBezTo>
                    <a:cubicBezTo>
                      <a:pt x="391" y="525"/>
                      <a:pt x="391" y="525"/>
                      <a:pt x="391" y="525"/>
                    </a:cubicBezTo>
                    <a:cubicBezTo>
                      <a:pt x="390" y="529"/>
                      <a:pt x="390" y="529"/>
                      <a:pt x="390" y="529"/>
                    </a:cubicBezTo>
                    <a:cubicBezTo>
                      <a:pt x="391" y="529"/>
                      <a:pt x="391" y="529"/>
                      <a:pt x="391" y="529"/>
                    </a:cubicBezTo>
                    <a:cubicBezTo>
                      <a:pt x="391" y="532"/>
                      <a:pt x="391" y="532"/>
                      <a:pt x="391" y="532"/>
                    </a:cubicBezTo>
                    <a:cubicBezTo>
                      <a:pt x="389" y="535"/>
                      <a:pt x="389" y="535"/>
                      <a:pt x="389" y="535"/>
                    </a:cubicBezTo>
                    <a:cubicBezTo>
                      <a:pt x="388" y="537"/>
                      <a:pt x="388" y="537"/>
                      <a:pt x="388" y="537"/>
                    </a:cubicBezTo>
                    <a:cubicBezTo>
                      <a:pt x="387" y="538"/>
                      <a:pt x="387" y="538"/>
                      <a:pt x="387" y="538"/>
                    </a:cubicBezTo>
                    <a:cubicBezTo>
                      <a:pt x="386" y="539"/>
                      <a:pt x="386" y="539"/>
                      <a:pt x="386" y="539"/>
                    </a:cubicBezTo>
                    <a:cubicBezTo>
                      <a:pt x="388" y="539"/>
                      <a:pt x="388" y="539"/>
                      <a:pt x="388" y="539"/>
                    </a:cubicBezTo>
                    <a:cubicBezTo>
                      <a:pt x="388" y="540"/>
                      <a:pt x="388" y="540"/>
                      <a:pt x="388" y="540"/>
                    </a:cubicBezTo>
                    <a:cubicBezTo>
                      <a:pt x="388" y="542"/>
                      <a:pt x="388" y="542"/>
                      <a:pt x="388" y="542"/>
                    </a:cubicBezTo>
                    <a:cubicBezTo>
                      <a:pt x="389" y="543"/>
                      <a:pt x="389" y="543"/>
                      <a:pt x="389" y="543"/>
                    </a:cubicBezTo>
                    <a:cubicBezTo>
                      <a:pt x="389" y="546"/>
                      <a:pt x="389" y="546"/>
                      <a:pt x="389" y="546"/>
                    </a:cubicBezTo>
                    <a:cubicBezTo>
                      <a:pt x="389" y="546"/>
                      <a:pt x="389" y="546"/>
                      <a:pt x="389" y="546"/>
                    </a:cubicBezTo>
                    <a:cubicBezTo>
                      <a:pt x="388" y="551"/>
                      <a:pt x="388" y="551"/>
                      <a:pt x="388" y="551"/>
                    </a:cubicBezTo>
                    <a:cubicBezTo>
                      <a:pt x="385" y="554"/>
                      <a:pt x="385" y="554"/>
                      <a:pt x="385" y="554"/>
                    </a:cubicBezTo>
                    <a:cubicBezTo>
                      <a:pt x="380" y="555"/>
                      <a:pt x="380" y="555"/>
                      <a:pt x="380" y="555"/>
                    </a:cubicBezTo>
                    <a:cubicBezTo>
                      <a:pt x="379" y="557"/>
                      <a:pt x="379" y="557"/>
                      <a:pt x="379" y="557"/>
                    </a:cubicBezTo>
                    <a:cubicBezTo>
                      <a:pt x="382" y="555"/>
                      <a:pt x="382" y="555"/>
                      <a:pt x="382" y="555"/>
                    </a:cubicBezTo>
                    <a:cubicBezTo>
                      <a:pt x="386" y="554"/>
                      <a:pt x="386" y="554"/>
                      <a:pt x="386" y="554"/>
                    </a:cubicBezTo>
                    <a:cubicBezTo>
                      <a:pt x="389" y="550"/>
                      <a:pt x="389" y="550"/>
                      <a:pt x="389" y="550"/>
                    </a:cubicBezTo>
                    <a:cubicBezTo>
                      <a:pt x="392" y="545"/>
                      <a:pt x="392" y="545"/>
                      <a:pt x="392" y="545"/>
                    </a:cubicBezTo>
                    <a:cubicBezTo>
                      <a:pt x="398" y="545"/>
                      <a:pt x="398" y="545"/>
                      <a:pt x="398" y="545"/>
                    </a:cubicBezTo>
                    <a:cubicBezTo>
                      <a:pt x="399" y="545"/>
                      <a:pt x="399" y="545"/>
                      <a:pt x="399" y="545"/>
                    </a:cubicBezTo>
                    <a:cubicBezTo>
                      <a:pt x="399" y="547"/>
                      <a:pt x="399" y="547"/>
                      <a:pt x="399" y="547"/>
                    </a:cubicBezTo>
                    <a:cubicBezTo>
                      <a:pt x="398" y="549"/>
                      <a:pt x="398" y="549"/>
                      <a:pt x="398" y="549"/>
                    </a:cubicBezTo>
                    <a:cubicBezTo>
                      <a:pt x="398" y="552"/>
                      <a:pt x="398" y="552"/>
                      <a:pt x="398" y="552"/>
                    </a:cubicBezTo>
                    <a:cubicBezTo>
                      <a:pt x="400" y="554"/>
                      <a:pt x="400" y="554"/>
                      <a:pt x="400" y="554"/>
                    </a:cubicBezTo>
                    <a:cubicBezTo>
                      <a:pt x="400" y="558"/>
                      <a:pt x="400" y="558"/>
                      <a:pt x="400" y="558"/>
                    </a:cubicBezTo>
                    <a:cubicBezTo>
                      <a:pt x="398" y="562"/>
                      <a:pt x="398" y="562"/>
                      <a:pt x="398" y="562"/>
                    </a:cubicBezTo>
                    <a:cubicBezTo>
                      <a:pt x="399" y="564"/>
                      <a:pt x="399" y="564"/>
                      <a:pt x="399" y="564"/>
                    </a:cubicBezTo>
                    <a:cubicBezTo>
                      <a:pt x="400" y="568"/>
                      <a:pt x="400" y="568"/>
                      <a:pt x="400" y="568"/>
                    </a:cubicBezTo>
                    <a:cubicBezTo>
                      <a:pt x="399" y="570"/>
                      <a:pt x="399" y="570"/>
                      <a:pt x="399" y="570"/>
                    </a:cubicBezTo>
                    <a:cubicBezTo>
                      <a:pt x="393" y="576"/>
                      <a:pt x="393" y="576"/>
                      <a:pt x="393" y="576"/>
                    </a:cubicBezTo>
                    <a:cubicBezTo>
                      <a:pt x="390" y="577"/>
                      <a:pt x="390" y="577"/>
                      <a:pt x="390" y="577"/>
                    </a:cubicBezTo>
                    <a:cubicBezTo>
                      <a:pt x="388" y="576"/>
                      <a:pt x="388" y="576"/>
                      <a:pt x="388" y="576"/>
                    </a:cubicBezTo>
                    <a:cubicBezTo>
                      <a:pt x="390" y="577"/>
                      <a:pt x="390" y="577"/>
                      <a:pt x="390" y="577"/>
                    </a:cubicBezTo>
                    <a:cubicBezTo>
                      <a:pt x="393" y="577"/>
                      <a:pt x="393" y="577"/>
                      <a:pt x="393" y="577"/>
                    </a:cubicBezTo>
                    <a:cubicBezTo>
                      <a:pt x="400" y="575"/>
                      <a:pt x="400" y="575"/>
                      <a:pt x="400" y="575"/>
                    </a:cubicBezTo>
                    <a:cubicBezTo>
                      <a:pt x="407" y="573"/>
                      <a:pt x="407" y="573"/>
                      <a:pt x="407" y="573"/>
                    </a:cubicBezTo>
                    <a:cubicBezTo>
                      <a:pt x="411" y="572"/>
                      <a:pt x="411" y="572"/>
                      <a:pt x="411" y="572"/>
                    </a:cubicBezTo>
                    <a:cubicBezTo>
                      <a:pt x="415" y="575"/>
                      <a:pt x="415" y="575"/>
                      <a:pt x="415" y="575"/>
                    </a:cubicBezTo>
                    <a:cubicBezTo>
                      <a:pt x="418" y="578"/>
                      <a:pt x="418" y="578"/>
                      <a:pt x="418" y="578"/>
                    </a:cubicBezTo>
                    <a:cubicBezTo>
                      <a:pt x="422" y="579"/>
                      <a:pt x="422" y="579"/>
                      <a:pt x="422" y="579"/>
                    </a:cubicBezTo>
                    <a:cubicBezTo>
                      <a:pt x="423" y="580"/>
                      <a:pt x="423" y="580"/>
                      <a:pt x="423" y="580"/>
                    </a:cubicBezTo>
                    <a:cubicBezTo>
                      <a:pt x="425" y="581"/>
                      <a:pt x="425" y="581"/>
                      <a:pt x="425" y="581"/>
                    </a:cubicBezTo>
                    <a:cubicBezTo>
                      <a:pt x="428" y="584"/>
                      <a:pt x="428" y="584"/>
                      <a:pt x="428" y="584"/>
                    </a:cubicBezTo>
                    <a:cubicBezTo>
                      <a:pt x="430" y="584"/>
                      <a:pt x="430" y="584"/>
                      <a:pt x="430" y="584"/>
                    </a:cubicBezTo>
                    <a:cubicBezTo>
                      <a:pt x="431" y="587"/>
                      <a:pt x="431" y="587"/>
                      <a:pt x="431" y="587"/>
                    </a:cubicBezTo>
                    <a:cubicBezTo>
                      <a:pt x="433" y="588"/>
                      <a:pt x="433" y="588"/>
                      <a:pt x="433" y="588"/>
                    </a:cubicBezTo>
                    <a:cubicBezTo>
                      <a:pt x="433" y="590"/>
                      <a:pt x="433" y="590"/>
                      <a:pt x="433" y="590"/>
                    </a:cubicBezTo>
                    <a:cubicBezTo>
                      <a:pt x="434" y="592"/>
                      <a:pt x="434" y="592"/>
                      <a:pt x="434" y="592"/>
                    </a:cubicBezTo>
                    <a:cubicBezTo>
                      <a:pt x="435" y="595"/>
                      <a:pt x="435" y="595"/>
                      <a:pt x="435" y="595"/>
                    </a:cubicBezTo>
                    <a:cubicBezTo>
                      <a:pt x="435" y="596"/>
                      <a:pt x="435" y="596"/>
                      <a:pt x="435" y="596"/>
                    </a:cubicBezTo>
                    <a:cubicBezTo>
                      <a:pt x="437" y="595"/>
                      <a:pt x="437" y="595"/>
                      <a:pt x="437" y="595"/>
                    </a:cubicBezTo>
                    <a:cubicBezTo>
                      <a:pt x="438" y="596"/>
                      <a:pt x="438" y="596"/>
                      <a:pt x="438" y="596"/>
                    </a:cubicBezTo>
                    <a:cubicBezTo>
                      <a:pt x="442" y="599"/>
                      <a:pt x="442" y="599"/>
                      <a:pt x="442" y="599"/>
                    </a:cubicBezTo>
                    <a:cubicBezTo>
                      <a:pt x="443" y="599"/>
                      <a:pt x="443" y="599"/>
                      <a:pt x="443" y="599"/>
                    </a:cubicBezTo>
                    <a:cubicBezTo>
                      <a:pt x="446" y="602"/>
                      <a:pt x="446" y="602"/>
                      <a:pt x="446" y="602"/>
                    </a:cubicBezTo>
                    <a:cubicBezTo>
                      <a:pt x="447" y="602"/>
                      <a:pt x="447" y="602"/>
                      <a:pt x="447" y="602"/>
                    </a:cubicBezTo>
                    <a:cubicBezTo>
                      <a:pt x="451" y="605"/>
                      <a:pt x="451" y="605"/>
                      <a:pt x="451" y="605"/>
                    </a:cubicBezTo>
                    <a:cubicBezTo>
                      <a:pt x="451" y="606"/>
                      <a:pt x="451" y="606"/>
                      <a:pt x="451" y="606"/>
                    </a:cubicBezTo>
                    <a:cubicBezTo>
                      <a:pt x="453" y="609"/>
                      <a:pt x="453" y="609"/>
                      <a:pt x="453" y="609"/>
                    </a:cubicBezTo>
                    <a:cubicBezTo>
                      <a:pt x="453" y="610"/>
                      <a:pt x="453" y="610"/>
                      <a:pt x="453" y="610"/>
                    </a:cubicBezTo>
                    <a:cubicBezTo>
                      <a:pt x="454" y="610"/>
                      <a:pt x="454" y="610"/>
                      <a:pt x="454" y="610"/>
                    </a:cubicBezTo>
                    <a:cubicBezTo>
                      <a:pt x="457" y="611"/>
                      <a:pt x="457" y="611"/>
                      <a:pt x="457" y="611"/>
                    </a:cubicBezTo>
                    <a:cubicBezTo>
                      <a:pt x="458" y="611"/>
                      <a:pt x="458" y="611"/>
                      <a:pt x="458" y="611"/>
                    </a:cubicBezTo>
                    <a:cubicBezTo>
                      <a:pt x="460" y="610"/>
                      <a:pt x="460" y="610"/>
                      <a:pt x="460" y="610"/>
                    </a:cubicBezTo>
                    <a:cubicBezTo>
                      <a:pt x="464" y="611"/>
                      <a:pt x="464" y="611"/>
                      <a:pt x="464" y="611"/>
                    </a:cubicBezTo>
                    <a:cubicBezTo>
                      <a:pt x="465" y="611"/>
                      <a:pt x="465" y="611"/>
                      <a:pt x="465" y="611"/>
                    </a:cubicBezTo>
                    <a:cubicBezTo>
                      <a:pt x="466" y="611"/>
                      <a:pt x="466" y="611"/>
                      <a:pt x="466" y="611"/>
                    </a:cubicBezTo>
                    <a:cubicBezTo>
                      <a:pt x="469" y="612"/>
                      <a:pt x="469" y="612"/>
                      <a:pt x="469" y="612"/>
                    </a:cubicBezTo>
                    <a:cubicBezTo>
                      <a:pt x="472" y="613"/>
                      <a:pt x="472" y="613"/>
                      <a:pt x="472" y="613"/>
                    </a:cubicBezTo>
                    <a:cubicBezTo>
                      <a:pt x="474" y="612"/>
                      <a:pt x="474" y="612"/>
                      <a:pt x="474" y="612"/>
                    </a:cubicBezTo>
                    <a:cubicBezTo>
                      <a:pt x="476" y="612"/>
                      <a:pt x="476" y="612"/>
                      <a:pt x="476" y="612"/>
                    </a:cubicBezTo>
                    <a:cubicBezTo>
                      <a:pt x="476" y="613"/>
                      <a:pt x="476" y="613"/>
                      <a:pt x="476" y="613"/>
                    </a:cubicBezTo>
                    <a:cubicBezTo>
                      <a:pt x="476" y="613"/>
                      <a:pt x="476" y="613"/>
                      <a:pt x="476" y="613"/>
                    </a:cubicBezTo>
                    <a:cubicBezTo>
                      <a:pt x="477" y="613"/>
                      <a:pt x="477" y="613"/>
                      <a:pt x="477" y="613"/>
                    </a:cubicBezTo>
                    <a:cubicBezTo>
                      <a:pt x="478" y="616"/>
                      <a:pt x="478" y="616"/>
                      <a:pt x="478" y="616"/>
                    </a:cubicBezTo>
                    <a:cubicBezTo>
                      <a:pt x="475" y="620"/>
                      <a:pt x="475" y="620"/>
                      <a:pt x="475" y="620"/>
                    </a:cubicBezTo>
                    <a:cubicBezTo>
                      <a:pt x="475" y="622"/>
                      <a:pt x="475" y="622"/>
                      <a:pt x="475" y="622"/>
                    </a:cubicBezTo>
                    <a:cubicBezTo>
                      <a:pt x="474" y="624"/>
                      <a:pt x="474" y="624"/>
                      <a:pt x="474" y="624"/>
                    </a:cubicBezTo>
                    <a:cubicBezTo>
                      <a:pt x="472" y="627"/>
                      <a:pt x="472" y="627"/>
                      <a:pt x="472" y="627"/>
                    </a:cubicBezTo>
                    <a:cubicBezTo>
                      <a:pt x="473" y="629"/>
                      <a:pt x="473" y="629"/>
                      <a:pt x="473" y="629"/>
                    </a:cubicBezTo>
                    <a:cubicBezTo>
                      <a:pt x="473" y="629"/>
                      <a:pt x="473" y="629"/>
                      <a:pt x="473" y="629"/>
                    </a:cubicBezTo>
                    <a:cubicBezTo>
                      <a:pt x="473" y="634"/>
                      <a:pt x="473" y="634"/>
                      <a:pt x="473" y="634"/>
                    </a:cubicBezTo>
                    <a:cubicBezTo>
                      <a:pt x="471" y="638"/>
                      <a:pt x="471" y="638"/>
                      <a:pt x="471" y="638"/>
                    </a:cubicBezTo>
                    <a:cubicBezTo>
                      <a:pt x="471" y="639"/>
                      <a:pt x="471" y="639"/>
                      <a:pt x="471" y="639"/>
                    </a:cubicBezTo>
                    <a:cubicBezTo>
                      <a:pt x="470" y="642"/>
                      <a:pt x="470" y="642"/>
                      <a:pt x="470" y="642"/>
                    </a:cubicBezTo>
                    <a:cubicBezTo>
                      <a:pt x="468" y="644"/>
                      <a:pt x="468" y="644"/>
                      <a:pt x="468" y="644"/>
                    </a:cubicBezTo>
                    <a:cubicBezTo>
                      <a:pt x="467" y="647"/>
                      <a:pt x="467" y="647"/>
                      <a:pt x="467" y="647"/>
                    </a:cubicBezTo>
                    <a:cubicBezTo>
                      <a:pt x="468" y="649"/>
                      <a:pt x="468" y="649"/>
                      <a:pt x="468" y="649"/>
                    </a:cubicBezTo>
                    <a:cubicBezTo>
                      <a:pt x="470" y="651"/>
                      <a:pt x="470" y="651"/>
                      <a:pt x="470" y="651"/>
                    </a:cubicBezTo>
                    <a:cubicBezTo>
                      <a:pt x="470" y="653"/>
                      <a:pt x="470" y="653"/>
                      <a:pt x="470" y="653"/>
                    </a:cubicBezTo>
                    <a:cubicBezTo>
                      <a:pt x="471" y="654"/>
                      <a:pt x="471" y="654"/>
                      <a:pt x="471" y="654"/>
                    </a:cubicBezTo>
                    <a:cubicBezTo>
                      <a:pt x="472" y="656"/>
                      <a:pt x="472" y="656"/>
                      <a:pt x="472" y="656"/>
                    </a:cubicBezTo>
                    <a:cubicBezTo>
                      <a:pt x="472" y="657"/>
                      <a:pt x="472" y="657"/>
                      <a:pt x="472" y="657"/>
                    </a:cubicBezTo>
                    <a:cubicBezTo>
                      <a:pt x="472" y="658"/>
                      <a:pt x="472" y="658"/>
                      <a:pt x="472" y="658"/>
                    </a:cubicBezTo>
                    <a:cubicBezTo>
                      <a:pt x="472" y="659"/>
                      <a:pt x="472" y="659"/>
                      <a:pt x="472" y="659"/>
                    </a:cubicBezTo>
                    <a:cubicBezTo>
                      <a:pt x="474" y="660"/>
                      <a:pt x="474" y="660"/>
                      <a:pt x="474" y="660"/>
                    </a:cubicBezTo>
                    <a:cubicBezTo>
                      <a:pt x="476" y="661"/>
                      <a:pt x="476" y="661"/>
                      <a:pt x="476" y="661"/>
                    </a:cubicBezTo>
                    <a:cubicBezTo>
                      <a:pt x="477" y="661"/>
                      <a:pt x="477" y="661"/>
                      <a:pt x="477" y="661"/>
                    </a:cubicBezTo>
                    <a:cubicBezTo>
                      <a:pt x="477" y="663"/>
                      <a:pt x="477" y="663"/>
                      <a:pt x="477" y="663"/>
                    </a:cubicBezTo>
                    <a:cubicBezTo>
                      <a:pt x="478" y="664"/>
                      <a:pt x="478" y="664"/>
                      <a:pt x="478" y="664"/>
                    </a:cubicBezTo>
                    <a:cubicBezTo>
                      <a:pt x="479" y="668"/>
                      <a:pt x="479" y="668"/>
                      <a:pt x="479" y="668"/>
                    </a:cubicBezTo>
                    <a:cubicBezTo>
                      <a:pt x="479" y="669"/>
                      <a:pt x="479" y="669"/>
                      <a:pt x="479" y="669"/>
                    </a:cubicBezTo>
                    <a:cubicBezTo>
                      <a:pt x="478" y="672"/>
                      <a:pt x="478" y="672"/>
                      <a:pt x="478" y="672"/>
                    </a:cubicBezTo>
                    <a:cubicBezTo>
                      <a:pt x="475" y="675"/>
                      <a:pt x="475" y="675"/>
                      <a:pt x="475" y="675"/>
                    </a:cubicBezTo>
                    <a:cubicBezTo>
                      <a:pt x="477" y="674"/>
                      <a:pt x="477" y="674"/>
                      <a:pt x="477" y="674"/>
                    </a:cubicBezTo>
                    <a:cubicBezTo>
                      <a:pt x="480" y="672"/>
                      <a:pt x="480" y="672"/>
                      <a:pt x="480" y="672"/>
                    </a:cubicBezTo>
                    <a:cubicBezTo>
                      <a:pt x="482" y="673"/>
                      <a:pt x="482" y="673"/>
                      <a:pt x="482" y="673"/>
                    </a:cubicBezTo>
                    <a:cubicBezTo>
                      <a:pt x="484" y="674"/>
                      <a:pt x="484" y="674"/>
                      <a:pt x="484" y="674"/>
                    </a:cubicBezTo>
                    <a:cubicBezTo>
                      <a:pt x="486" y="674"/>
                      <a:pt x="486" y="674"/>
                      <a:pt x="486" y="674"/>
                    </a:cubicBezTo>
                    <a:cubicBezTo>
                      <a:pt x="486" y="673"/>
                      <a:pt x="486" y="673"/>
                      <a:pt x="486" y="673"/>
                    </a:cubicBezTo>
                    <a:cubicBezTo>
                      <a:pt x="486" y="671"/>
                      <a:pt x="486" y="671"/>
                      <a:pt x="486" y="671"/>
                    </a:cubicBezTo>
                    <a:cubicBezTo>
                      <a:pt x="489" y="667"/>
                      <a:pt x="489" y="667"/>
                      <a:pt x="489" y="667"/>
                    </a:cubicBezTo>
                    <a:cubicBezTo>
                      <a:pt x="490" y="667"/>
                      <a:pt x="490" y="667"/>
                      <a:pt x="490" y="667"/>
                    </a:cubicBezTo>
                    <a:cubicBezTo>
                      <a:pt x="490" y="669"/>
                      <a:pt x="490" y="669"/>
                      <a:pt x="490" y="669"/>
                    </a:cubicBezTo>
                    <a:cubicBezTo>
                      <a:pt x="490" y="670"/>
                      <a:pt x="490" y="670"/>
                      <a:pt x="490" y="670"/>
                    </a:cubicBezTo>
                    <a:cubicBezTo>
                      <a:pt x="491" y="670"/>
                      <a:pt x="491" y="670"/>
                      <a:pt x="491" y="670"/>
                    </a:cubicBezTo>
                    <a:cubicBezTo>
                      <a:pt x="492" y="673"/>
                      <a:pt x="492" y="673"/>
                      <a:pt x="492" y="673"/>
                    </a:cubicBezTo>
                    <a:cubicBezTo>
                      <a:pt x="492" y="676"/>
                      <a:pt x="492" y="676"/>
                      <a:pt x="492" y="676"/>
                    </a:cubicBezTo>
                    <a:cubicBezTo>
                      <a:pt x="494" y="678"/>
                      <a:pt x="494" y="678"/>
                      <a:pt x="494" y="678"/>
                    </a:cubicBezTo>
                    <a:cubicBezTo>
                      <a:pt x="497" y="678"/>
                      <a:pt x="497" y="678"/>
                      <a:pt x="497" y="678"/>
                    </a:cubicBezTo>
                    <a:cubicBezTo>
                      <a:pt x="495" y="677"/>
                      <a:pt x="495" y="677"/>
                      <a:pt x="495" y="677"/>
                    </a:cubicBezTo>
                    <a:cubicBezTo>
                      <a:pt x="493" y="675"/>
                      <a:pt x="493" y="675"/>
                      <a:pt x="493" y="675"/>
                    </a:cubicBezTo>
                    <a:cubicBezTo>
                      <a:pt x="493" y="673"/>
                      <a:pt x="493" y="673"/>
                      <a:pt x="493" y="673"/>
                    </a:cubicBezTo>
                    <a:cubicBezTo>
                      <a:pt x="493" y="670"/>
                      <a:pt x="493" y="670"/>
                      <a:pt x="493" y="670"/>
                    </a:cubicBezTo>
                    <a:cubicBezTo>
                      <a:pt x="494" y="668"/>
                      <a:pt x="494" y="668"/>
                      <a:pt x="494" y="668"/>
                    </a:cubicBezTo>
                    <a:cubicBezTo>
                      <a:pt x="493" y="667"/>
                      <a:pt x="493" y="667"/>
                      <a:pt x="493" y="667"/>
                    </a:cubicBezTo>
                    <a:cubicBezTo>
                      <a:pt x="493" y="665"/>
                      <a:pt x="493" y="665"/>
                      <a:pt x="493" y="665"/>
                    </a:cubicBezTo>
                    <a:cubicBezTo>
                      <a:pt x="494" y="666"/>
                      <a:pt x="494" y="666"/>
                      <a:pt x="494" y="666"/>
                    </a:cubicBezTo>
                    <a:cubicBezTo>
                      <a:pt x="495" y="665"/>
                      <a:pt x="495" y="665"/>
                      <a:pt x="495" y="665"/>
                    </a:cubicBezTo>
                    <a:cubicBezTo>
                      <a:pt x="496" y="663"/>
                      <a:pt x="496" y="663"/>
                      <a:pt x="496" y="663"/>
                    </a:cubicBezTo>
                    <a:cubicBezTo>
                      <a:pt x="498" y="660"/>
                      <a:pt x="498" y="660"/>
                      <a:pt x="498" y="660"/>
                    </a:cubicBezTo>
                    <a:cubicBezTo>
                      <a:pt x="498" y="659"/>
                      <a:pt x="498" y="659"/>
                      <a:pt x="498" y="659"/>
                    </a:cubicBezTo>
                    <a:cubicBezTo>
                      <a:pt x="497" y="657"/>
                      <a:pt x="497" y="657"/>
                      <a:pt x="497" y="657"/>
                    </a:cubicBezTo>
                    <a:cubicBezTo>
                      <a:pt x="496" y="656"/>
                      <a:pt x="496" y="656"/>
                      <a:pt x="496" y="656"/>
                    </a:cubicBezTo>
                    <a:cubicBezTo>
                      <a:pt x="496" y="654"/>
                      <a:pt x="496" y="654"/>
                      <a:pt x="496" y="654"/>
                    </a:cubicBezTo>
                    <a:cubicBezTo>
                      <a:pt x="498" y="652"/>
                      <a:pt x="498" y="652"/>
                      <a:pt x="498" y="652"/>
                    </a:cubicBezTo>
                    <a:cubicBezTo>
                      <a:pt x="497" y="650"/>
                      <a:pt x="497" y="650"/>
                      <a:pt x="497" y="650"/>
                    </a:cubicBezTo>
                    <a:cubicBezTo>
                      <a:pt x="497" y="649"/>
                      <a:pt x="497" y="649"/>
                      <a:pt x="497" y="649"/>
                    </a:cubicBezTo>
                    <a:cubicBezTo>
                      <a:pt x="496" y="649"/>
                      <a:pt x="496" y="649"/>
                      <a:pt x="496" y="649"/>
                    </a:cubicBezTo>
                    <a:cubicBezTo>
                      <a:pt x="496" y="648"/>
                      <a:pt x="496" y="648"/>
                      <a:pt x="496" y="648"/>
                    </a:cubicBezTo>
                    <a:cubicBezTo>
                      <a:pt x="498" y="643"/>
                      <a:pt x="498" y="643"/>
                      <a:pt x="498" y="643"/>
                    </a:cubicBezTo>
                    <a:cubicBezTo>
                      <a:pt x="497" y="641"/>
                      <a:pt x="497" y="641"/>
                      <a:pt x="497" y="641"/>
                    </a:cubicBezTo>
                    <a:cubicBezTo>
                      <a:pt x="498" y="638"/>
                      <a:pt x="498" y="638"/>
                      <a:pt x="498" y="638"/>
                    </a:cubicBezTo>
                    <a:cubicBezTo>
                      <a:pt x="499" y="637"/>
                      <a:pt x="499" y="637"/>
                      <a:pt x="499" y="637"/>
                    </a:cubicBezTo>
                    <a:cubicBezTo>
                      <a:pt x="498" y="635"/>
                      <a:pt x="498" y="635"/>
                      <a:pt x="498" y="635"/>
                    </a:cubicBezTo>
                    <a:cubicBezTo>
                      <a:pt x="499" y="634"/>
                      <a:pt x="499" y="634"/>
                      <a:pt x="499" y="634"/>
                    </a:cubicBezTo>
                    <a:cubicBezTo>
                      <a:pt x="499" y="632"/>
                      <a:pt x="499" y="632"/>
                      <a:pt x="499" y="632"/>
                    </a:cubicBezTo>
                    <a:cubicBezTo>
                      <a:pt x="500" y="632"/>
                      <a:pt x="500" y="632"/>
                      <a:pt x="500" y="632"/>
                    </a:cubicBezTo>
                    <a:cubicBezTo>
                      <a:pt x="499" y="631"/>
                      <a:pt x="499" y="631"/>
                      <a:pt x="499" y="631"/>
                    </a:cubicBezTo>
                    <a:cubicBezTo>
                      <a:pt x="498" y="630"/>
                      <a:pt x="498" y="630"/>
                      <a:pt x="498" y="630"/>
                    </a:cubicBezTo>
                    <a:cubicBezTo>
                      <a:pt x="499" y="629"/>
                      <a:pt x="499" y="629"/>
                      <a:pt x="499" y="629"/>
                    </a:cubicBezTo>
                    <a:cubicBezTo>
                      <a:pt x="498" y="628"/>
                      <a:pt x="498" y="628"/>
                      <a:pt x="498" y="628"/>
                    </a:cubicBezTo>
                    <a:cubicBezTo>
                      <a:pt x="498" y="626"/>
                      <a:pt x="498" y="626"/>
                      <a:pt x="498" y="626"/>
                    </a:cubicBezTo>
                    <a:cubicBezTo>
                      <a:pt x="497" y="625"/>
                      <a:pt x="497" y="625"/>
                      <a:pt x="497" y="625"/>
                    </a:cubicBezTo>
                    <a:cubicBezTo>
                      <a:pt x="497" y="623"/>
                      <a:pt x="497" y="623"/>
                      <a:pt x="497" y="623"/>
                    </a:cubicBezTo>
                    <a:cubicBezTo>
                      <a:pt x="497" y="622"/>
                      <a:pt x="497" y="622"/>
                      <a:pt x="497" y="622"/>
                    </a:cubicBezTo>
                    <a:cubicBezTo>
                      <a:pt x="499" y="620"/>
                      <a:pt x="499" y="620"/>
                      <a:pt x="499" y="620"/>
                    </a:cubicBezTo>
                    <a:cubicBezTo>
                      <a:pt x="503" y="620"/>
                      <a:pt x="503" y="620"/>
                      <a:pt x="503" y="620"/>
                    </a:cubicBezTo>
                    <a:cubicBezTo>
                      <a:pt x="505" y="618"/>
                      <a:pt x="505" y="618"/>
                      <a:pt x="505" y="618"/>
                    </a:cubicBezTo>
                    <a:cubicBezTo>
                      <a:pt x="507" y="618"/>
                      <a:pt x="507" y="618"/>
                      <a:pt x="507" y="618"/>
                    </a:cubicBezTo>
                    <a:cubicBezTo>
                      <a:pt x="508" y="617"/>
                      <a:pt x="508" y="617"/>
                      <a:pt x="508" y="617"/>
                    </a:cubicBezTo>
                    <a:cubicBezTo>
                      <a:pt x="512" y="615"/>
                      <a:pt x="512" y="615"/>
                      <a:pt x="512" y="615"/>
                    </a:cubicBezTo>
                    <a:cubicBezTo>
                      <a:pt x="518" y="613"/>
                      <a:pt x="518" y="613"/>
                      <a:pt x="518" y="613"/>
                    </a:cubicBezTo>
                    <a:cubicBezTo>
                      <a:pt x="518" y="612"/>
                      <a:pt x="518" y="612"/>
                      <a:pt x="518" y="612"/>
                    </a:cubicBezTo>
                    <a:cubicBezTo>
                      <a:pt x="519" y="611"/>
                      <a:pt x="519" y="611"/>
                      <a:pt x="519" y="611"/>
                    </a:cubicBezTo>
                    <a:cubicBezTo>
                      <a:pt x="524" y="609"/>
                      <a:pt x="524" y="609"/>
                      <a:pt x="524" y="609"/>
                    </a:cubicBezTo>
                    <a:cubicBezTo>
                      <a:pt x="524" y="608"/>
                      <a:pt x="524" y="608"/>
                      <a:pt x="524" y="608"/>
                    </a:cubicBezTo>
                    <a:cubicBezTo>
                      <a:pt x="526" y="606"/>
                      <a:pt x="526" y="606"/>
                      <a:pt x="526" y="606"/>
                    </a:cubicBezTo>
                    <a:cubicBezTo>
                      <a:pt x="529" y="602"/>
                      <a:pt x="529" y="602"/>
                      <a:pt x="529" y="602"/>
                    </a:cubicBezTo>
                    <a:cubicBezTo>
                      <a:pt x="530" y="602"/>
                      <a:pt x="530" y="602"/>
                      <a:pt x="530" y="602"/>
                    </a:cubicBezTo>
                    <a:cubicBezTo>
                      <a:pt x="531" y="603"/>
                      <a:pt x="531" y="603"/>
                      <a:pt x="531" y="603"/>
                    </a:cubicBezTo>
                    <a:cubicBezTo>
                      <a:pt x="533" y="603"/>
                      <a:pt x="533" y="603"/>
                      <a:pt x="533" y="603"/>
                    </a:cubicBezTo>
                    <a:cubicBezTo>
                      <a:pt x="534" y="601"/>
                      <a:pt x="534" y="601"/>
                      <a:pt x="534" y="601"/>
                    </a:cubicBezTo>
                    <a:cubicBezTo>
                      <a:pt x="533" y="599"/>
                      <a:pt x="533" y="599"/>
                      <a:pt x="533" y="599"/>
                    </a:cubicBezTo>
                    <a:cubicBezTo>
                      <a:pt x="533" y="597"/>
                      <a:pt x="533" y="597"/>
                      <a:pt x="533" y="597"/>
                    </a:cubicBezTo>
                    <a:cubicBezTo>
                      <a:pt x="531" y="598"/>
                      <a:pt x="531" y="598"/>
                      <a:pt x="531" y="598"/>
                    </a:cubicBezTo>
                    <a:cubicBezTo>
                      <a:pt x="531" y="600"/>
                      <a:pt x="531" y="600"/>
                      <a:pt x="531" y="600"/>
                    </a:cubicBezTo>
                    <a:cubicBezTo>
                      <a:pt x="530" y="600"/>
                      <a:pt x="530" y="600"/>
                      <a:pt x="530" y="600"/>
                    </a:cubicBezTo>
                    <a:cubicBezTo>
                      <a:pt x="531" y="597"/>
                      <a:pt x="531" y="597"/>
                      <a:pt x="531" y="597"/>
                    </a:cubicBezTo>
                    <a:cubicBezTo>
                      <a:pt x="533" y="593"/>
                      <a:pt x="533" y="593"/>
                      <a:pt x="533" y="593"/>
                    </a:cubicBezTo>
                    <a:cubicBezTo>
                      <a:pt x="533" y="592"/>
                      <a:pt x="533" y="592"/>
                      <a:pt x="533" y="592"/>
                    </a:cubicBezTo>
                    <a:cubicBezTo>
                      <a:pt x="533" y="588"/>
                      <a:pt x="533" y="588"/>
                      <a:pt x="533" y="588"/>
                    </a:cubicBezTo>
                    <a:cubicBezTo>
                      <a:pt x="534" y="586"/>
                      <a:pt x="534" y="586"/>
                      <a:pt x="534" y="586"/>
                    </a:cubicBezTo>
                    <a:cubicBezTo>
                      <a:pt x="532" y="583"/>
                      <a:pt x="532" y="583"/>
                      <a:pt x="532" y="583"/>
                    </a:cubicBezTo>
                    <a:cubicBezTo>
                      <a:pt x="532" y="577"/>
                      <a:pt x="532" y="577"/>
                      <a:pt x="532" y="577"/>
                    </a:cubicBezTo>
                    <a:cubicBezTo>
                      <a:pt x="532" y="572"/>
                      <a:pt x="532" y="572"/>
                      <a:pt x="532" y="572"/>
                    </a:cubicBezTo>
                    <a:cubicBezTo>
                      <a:pt x="529" y="567"/>
                      <a:pt x="529" y="567"/>
                      <a:pt x="529" y="567"/>
                    </a:cubicBezTo>
                    <a:cubicBezTo>
                      <a:pt x="527" y="566"/>
                      <a:pt x="527" y="566"/>
                      <a:pt x="527" y="566"/>
                    </a:cubicBezTo>
                    <a:cubicBezTo>
                      <a:pt x="526" y="564"/>
                      <a:pt x="526" y="564"/>
                      <a:pt x="526" y="564"/>
                    </a:cubicBezTo>
                    <a:cubicBezTo>
                      <a:pt x="524" y="563"/>
                      <a:pt x="524" y="563"/>
                      <a:pt x="524" y="563"/>
                    </a:cubicBezTo>
                    <a:cubicBezTo>
                      <a:pt x="524" y="561"/>
                      <a:pt x="524" y="561"/>
                      <a:pt x="524" y="561"/>
                    </a:cubicBezTo>
                    <a:cubicBezTo>
                      <a:pt x="525" y="558"/>
                      <a:pt x="525" y="558"/>
                      <a:pt x="525" y="558"/>
                    </a:cubicBezTo>
                    <a:cubicBezTo>
                      <a:pt x="527" y="557"/>
                      <a:pt x="527" y="557"/>
                      <a:pt x="527" y="557"/>
                    </a:cubicBezTo>
                    <a:cubicBezTo>
                      <a:pt x="532" y="551"/>
                      <a:pt x="532" y="551"/>
                      <a:pt x="532" y="551"/>
                    </a:cubicBezTo>
                    <a:cubicBezTo>
                      <a:pt x="533" y="551"/>
                      <a:pt x="533" y="551"/>
                      <a:pt x="533" y="551"/>
                    </a:cubicBezTo>
                    <a:cubicBezTo>
                      <a:pt x="535" y="550"/>
                      <a:pt x="535" y="550"/>
                      <a:pt x="535" y="550"/>
                    </a:cubicBezTo>
                    <a:cubicBezTo>
                      <a:pt x="534" y="548"/>
                      <a:pt x="534" y="548"/>
                      <a:pt x="534" y="548"/>
                    </a:cubicBezTo>
                    <a:cubicBezTo>
                      <a:pt x="534" y="548"/>
                      <a:pt x="534" y="548"/>
                      <a:pt x="534" y="548"/>
                    </a:cubicBezTo>
                    <a:cubicBezTo>
                      <a:pt x="534" y="547"/>
                      <a:pt x="534" y="547"/>
                      <a:pt x="534" y="547"/>
                    </a:cubicBezTo>
                    <a:cubicBezTo>
                      <a:pt x="536" y="544"/>
                      <a:pt x="536" y="544"/>
                      <a:pt x="536" y="544"/>
                    </a:cubicBezTo>
                    <a:cubicBezTo>
                      <a:pt x="537" y="544"/>
                      <a:pt x="537" y="544"/>
                      <a:pt x="537" y="544"/>
                    </a:cubicBezTo>
                    <a:cubicBezTo>
                      <a:pt x="538" y="547"/>
                      <a:pt x="538" y="547"/>
                      <a:pt x="538" y="547"/>
                    </a:cubicBezTo>
                    <a:cubicBezTo>
                      <a:pt x="539" y="547"/>
                      <a:pt x="539" y="547"/>
                      <a:pt x="539" y="547"/>
                    </a:cubicBezTo>
                    <a:cubicBezTo>
                      <a:pt x="539" y="546"/>
                      <a:pt x="539" y="546"/>
                      <a:pt x="539" y="546"/>
                    </a:cubicBezTo>
                    <a:cubicBezTo>
                      <a:pt x="539" y="544"/>
                      <a:pt x="539" y="544"/>
                      <a:pt x="539" y="544"/>
                    </a:cubicBezTo>
                    <a:cubicBezTo>
                      <a:pt x="541" y="543"/>
                      <a:pt x="541" y="543"/>
                      <a:pt x="541" y="543"/>
                    </a:cubicBezTo>
                    <a:cubicBezTo>
                      <a:pt x="543" y="539"/>
                      <a:pt x="543" y="539"/>
                      <a:pt x="543" y="539"/>
                    </a:cubicBezTo>
                    <a:cubicBezTo>
                      <a:pt x="542" y="538"/>
                      <a:pt x="542" y="538"/>
                      <a:pt x="542" y="538"/>
                    </a:cubicBezTo>
                    <a:cubicBezTo>
                      <a:pt x="540" y="538"/>
                      <a:pt x="540" y="538"/>
                      <a:pt x="540" y="538"/>
                    </a:cubicBezTo>
                    <a:cubicBezTo>
                      <a:pt x="540" y="537"/>
                      <a:pt x="540" y="537"/>
                      <a:pt x="540" y="537"/>
                    </a:cubicBezTo>
                    <a:cubicBezTo>
                      <a:pt x="541" y="535"/>
                      <a:pt x="541" y="535"/>
                      <a:pt x="541" y="535"/>
                    </a:cubicBezTo>
                    <a:cubicBezTo>
                      <a:pt x="540" y="534"/>
                      <a:pt x="540" y="534"/>
                      <a:pt x="540" y="534"/>
                    </a:cubicBezTo>
                    <a:cubicBezTo>
                      <a:pt x="540" y="533"/>
                      <a:pt x="540" y="533"/>
                      <a:pt x="540" y="533"/>
                    </a:cubicBezTo>
                    <a:cubicBezTo>
                      <a:pt x="541" y="531"/>
                      <a:pt x="541" y="531"/>
                      <a:pt x="541" y="531"/>
                    </a:cubicBezTo>
                    <a:cubicBezTo>
                      <a:pt x="543" y="530"/>
                      <a:pt x="543" y="530"/>
                      <a:pt x="543" y="530"/>
                    </a:cubicBezTo>
                    <a:cubicBezTo>
                      <a:pt x="541" y="530"/>
                      <a:pt x="541" y="530"/>
                      <a:pt x="541" y="530"/>
                    </a:cubicBezTo>
                    <a:cubicBezTo>
                      <a:pt x="541" y="529"/>
                      <a:pt x="541" y="529"/>
                      <a:pt x="541" y="529"/>
                    </a:cubicBezTo>
                    <a:cubicBezTo>
                      <a:pt x="541" y="526"/>
                      <a:pt x="541" y="526"/>
                      <a:pt x="541" y="526"/>
                    </a:cubicBezTo>
                    <a:cubicBezTo>
                      <a:pt x="543" y="525"/>
                      <a:pt x="543" y="525"/>
                      <a:pt x="543" y="525"/>
                    </a:cubicBezTo>
                    <a:cubicBezTo>
                      <a:pt x="542" y="525"/>
                      <a:pt x="542" y="525"/>
                      <a:pt x="542" y="525"/>
                    </a:cubicBezTo>
                    <a:cubicBezTo>
                      <a:pt x="539" y="525"/>
                      <a:pt x="539" y="525"/>
                      <a:pt x="539" y="525"/>
                    </a:cubicBezTo>
                    <a:cubicBezTo>
                      <a:pt x="538" y="525"/>
                      <a:pt x="538" y="525"/>
                      <a:pt x="538" y="525"/>
                    </a:cubicBezTo>
                    <a:cubicBezTo>
                      <a:pt x="538" y="523"/>
                      <a:pt x="538" y="523"/>
                      <a:pt x="538" y="523"/>
                    </a:cubicBezTo>
                    <a:cubicBezTo>
                      <a:pt x="542" y="520"/>
                      <a:pt x="542" y="520"/>
                      <a:pt x="542" y="520"/>
                    </a:cubicBezTo>
                    <a:cubicBezTo>
                      <a:pt x="545" y="516"/>
                      <a:pt x="545" y="516"/>
                      <a:pt x="545" y="516"/>
                    </a:cubicBezTo>
                    <a:cubicBezTo>
                      <a:pt x="545" y="514"/>
                      <a:pt x="545" y="514"/>
                      <a:pt x="545" y="514"/>
                    </a:cubicBezTo>
                    <a:cubicBezTo>
                      <a:pt x="546" y="514"/>
                      <a:pt x="546" y="514"/>
                      <a:pt x="546" y="514"/>
                    </a:cubicBezTo>
                    <a:cubicBezTo>
                      <a:pt x="547" y="513"/>
                      <a:pt x="547" y="513"/>
                      <a:pt x="547" y="513"/>
                    </a:cubicBezTo>
                    <a:cubicBezTo>
                      <a:pt x="547" y="511"/>
                      <a:pt x="547" y="511"/>
                      <a:pt x="547" y="511"/>
                    </a:cubicBezTo>
                    <a:cubicBezTo>
                      <a:pt x="546" y="510"/>
                      <a:pt x="546" y="510"/>
                      <a:pt x="546" y="510"/>
                    </a:cubicBezTo>
                    <a:cubicBezTo>
                      <a:pt x="546" y="510"/>
                      <a:pt x="546" y="510"/>
                      <a:pt x="546" y="510"/>
                    </a:cubicBezTo>
                    <a:cubicBezTo>
                      <a:pt x="545" y="509"/>
                      <a:pt x="545" y="509"/>
                      <a:pt x="545" y="509"/>
                    </a:cubicBezTo>
                    <a:cubicBezTo>
                      <a:pt x="544" y="507"/>
                      <a:pt x="544" y="507"/>
                      <a:pt x="544" y="507"/>
                    </a:cubicBezTo>
                    <a:cubicBezTo>
                      <a:pt x="544" y="504"/>
                      <a:pt x="544" y="504"/>
                      <a:pt x="544" y="504"/>
                    </a:cubicBezTo>
                    <a:cubicBezTo>
                      <a:pt x="545" y="501"/>
                      <a:pt x="545" y="501"/>
                      <a:pt x="545" y="501"/>
                    </a:cubicBezTo>
                    <a:cubicBezTo>
                      <a:pt x="545" y="498"/>
                      <a:pt x="545" y="498"/>
                      <a:pt x="545" y="498"/>
                    </a:cubicBezTo>
                    <a:cubicBezTo>
                      <a:pt x="547" y="497"/>
                      <a:pt x="547" y="497"/>
                      <a:pt x="547" y="497"/>
                    </a:cubicBezTo>
                    <a:cubicBezTo>
                      <a:pt x="547" y="498"/>
                      <a:pt x="547" y="498"/>
                      <a:pt x="547" y="498"/>
                    </a:cubicBezTo>
                    <a:cubicBezTo>
                      <a:pt x="549" y="498"/>
                      <a:pt x="549" y="498"/>
                      <a:pt x="549" y="498"/>
                    </a:cubicBezTo>
                    <a:cubicBezTo>
                      <a:pt x="549" y="497"/>
                      <a:pt x="549" y="497"/>
                      <a:pt x="549" y="497"/>
                    </a:cubicBezTo>
                    <a:cubicBezTo>
                      <a:pt x="550" y="495"/>
                      <a:pt x="550" y="495"/>
                      <a:pt x="550" y="495"/>
                    </a:cubicBezTo>
                    <a:cubicBezTo>
                      <a:pt x="551" y="495"/>
                      <a:pt x="551" y="495"/>
                      <a:pt x="551" y="495"/>
                    </a:cubicBezTo>
                    <a:cubicBezTo>
                      <a:pt x="552" y="495"/>
                      <a:pt x="552" y="495"/>
                      <a:pt x="552" y="495"/>
                    </a:cubicBezTo>
                    <a:cubicBezTo>
                      <a:pt x="553" y="495"/>
                      <a:pt x="553" y="495"/>
                      <a:pt x="553" y="495"/>
                    </a:cubicBezTo>
                    <a:cubicBezTo>
                      <a:pt x="557" y="496"/>
                      <a:pt x="557" y="496"/>
                      <a:pt x="557" y="496"/>
                    </a:cubicBezTo>
                    <a:cubicBezTo>
                      <a:pt x="560" y="497"/>
                      <a:pt x="560" y="497"/>
                      <a:pt x="560" y="497"/>
                    </a:cubicBezTo>
                    <a:cubicBezTo>
                      <a:pt x="564" y="500"/>
                      <a:pt x="564" y="500"/>
                      <a:pt x="564" y="500"/>
                    </a:cubicBezTo>
                    <a:cubicBezTo>
                      <a:pt x="567" y="500"/>
                      <a:pt x="567" y="500"/>
                      <a:pt x="567" y="500"/>
                    </a:cubicBezTo>
                    <a:cubicBezTo>
                      <a:pt x="566" y="502"/>
                      <a:pt x="566" y="502"/>
                      <a:pt x="566" y="502"/>
                    </a:cubicBezTo>
                    <a:cubicBezTo>
                      <a:pt x="564" y="503"/>
                      <a:pt x="564" y="503"/>
                      <a:pt x="564" y="503"/>
                    </a:cubicBezTo>
                    <a:cubicBezTo>
                      <a:pt x="567" y="503"/>
                      <a:pt x="567" y="503"/>
                      <a:pt x="567" y="503"/>
                    </a:cubicBezTo>
                    <a:cubicBezTo>
                      <a:pt x="569" y="501"/>
                      <a:pt x="569" y="501"/>
                      <a:pt x="569" y="501"/>
                    </a:cubicBezTo>
                    <a:cubicBezTo>
                      <a:pt x="571" y="501"/>
                      <a:pt x="571" y="501"/>
                      <a:pt x="571" y="501"/>
                    </a:cubicBezTo>
                    <a:cubicBezTo>
                      <a:pt x="572" y="502"/>
                      <a:pt x="572" y="502"/>
                      <a:pt x="572" y="502"/>
                    </a:cubicBezTo>
                    <a:cubicBezTo>
                      <a:pt x="574" y="502"/>
                      <a:pt x="574" y="502"/>
                      <a:pt x="574" y="502"/>
                    </a:cubicBezTo>
                    <a:cubicBezTo>
                      <a:pt x="575" y="504"/>
                      <a:pt x="575" y="504"/>
                      <a:pt x="575" y="504"/>
                    </a:cubicBezTo>
                    <a:cubicBezTo>
                      <a:pt x="575" y="502"/>
                      <a:pt x="575" y="502"/>
                      <a:pt x="575" y="502"/>
                    </a:cubicBezTo>
                    <a:cubicBezTo>
                      <a:pt x="577" y="503"/>
                      <a:pt x="577" y="503"/>
                      <a:pt x="577" y="503"/>
                    </a:cubicBezTo>
                    <a:cubicBezTo>
                      <a:pt x="578" y="502"/>
                      <a:pt x="578" y="502"/>
                      <a:pt x="578" y="502"/>
                    </a:cubicBezTo>
                    <a:cubicBezTo>
                      <a:pt x="580" y="501"/>
                      <a:pt x="580" y="501"/>
                      <a:pt x="580" y="501"/>
                    </a:cubicBezTo>
                    <a:cubicBezTo>
                      <a:pt x="582" y="500"/>
                      <a:pt x="582" y="500"/>
                      <a:pt x="582" y="500"/>
                    </a:cubicBezTo>
                    <a:cubicBezTo>
                      <a:pt x="586" y="503"/>
                      <a:pt x="586" y="503"/>
                      <a:pt x="586" y="503"/>
                    </a:cubicBezTo>
                    <a:cubicBezTo>
                      <a:pt x="586" y="505"/>
                      <a:pt x="586" y="505"/>
                      <a:pt x="586" y="505"/>
                    </a:cubicBezTo>
                    <a:cubicBezTo>
                      <a:pt x="588" y="506"/>
                      <a:pt x="588" y="506"/>
                      <a:pt x="588" y="506"/>
                    </a:cubicBezTo>
                    <a:cubicBezTo>
                      <a:pt x="590" y="506"/>
                      <a:pt x="590" y="506"/>
                      <a:pt x="590" y="506"/>
                    </a:cubicBezTo>
                    <a:cubicBezTo>
                      <a:pt x="590" y="510"/>
                      <a:pt x="590" y="510"/>
                      <a:pt x="590" y="510"/>
                    </a:cubicBezTo>
                    <a:cubicBezTo>
                      <a:pt x="588" y="511"/>
                      <a:pt x="588" y="511"/>
                      <a:pt x="588" y="511"/>
                    </a:cubicBezTo>
                    <a:cubicBezTo>
                      <a:pt x="588" y="513"/>
                      <a:pt x="588" y="513"/>
                      <a:pt x="588" y="513"/>
                    </a:cubicBezTo>
                    <a:cubicBezTo>
                      <a:pt x="590" y="512"/>
                      <a:pt x="590" y="512"/>
                      <a:pt x="590" y="512"/>
                    </a:cubicBezTo>
                    <a:cubicBezTo>
                      <a:pt x="592" y="514"/>
                      <a:pt x="592" y="514"/>
                      <a:pt x="592" y="514"/>
                    </a:cubicBezTo>
                    <a:cubicBezTo>
                      <a:pt x="593" y="516"/>
                      <a:pt x="593" y="516"/>
                      <a:pt x="593" y="516"/>
                    </a:cubicBezTo>
                    <a:cubicBezTo>
                      <a:pt x="591" y="516"/>
                      <a:pt x="591" y="516"/>
                      <a:pt x="591" y="516"/>
                    </a:cubicBezTo>
                    <a:cubicBezTo>
                      <a:pt x="593" y="518"/>
                      <a:pt x="593" y="518"/>
                      <a:pt x="593" y="518"/>
                    </a:cubicBezTo>
                    <a:cubicBezTo>
                      <a:pt x="594" y="516"/>
                      <a:pt x="594" y="516"/>
                      <a:pt x="594" y="516"/>
                    </a:cubicBezTo>
                    <a:cubicBezTo>
                      <a:pt x="596" y="519"/>
                      <a:pt x="596" y="519"/>
                      <a:pt x="596" y="519"/>
                    </a:cubicBezTo>
                    <a:cubicBezTo>
                      <a:pt x="596" y="520"/>
                      <a:pt x="596" y="520"/>
                      <a:pt x="596" y="520"/>
                    </a:cubicBezTo>
                    <a:cubicBezTo>
                      <a:pt x="594" y="519"/>
                      <a:pt x="594" y="519"/>
                      <a:pt x="594" y="519"/>
                    </a:cubicBezTo>
                    <a:cubicBezTo>
                      <a:pt x="593" y="520"/>
                      <a:pt x="593" y="520"/>
                      <a:pt x="593" y="520"/>
                    </a:cubicBezTo>
                    <a:cubicBezTo>
                      <a:pt x="591" y="520"/>
                      <a:pt x="591" y="520"/>
                      <a:pt x="591" y="520"/>
                    </a:cubicBezTo>
                    <a:cubicBezTo>
                      <a:pt x="594" y="523"/>
                      <a:pt x="594" y="523"/>
                      <a:pt x="594" y="523"/>
                    </a:cubicBezTo>
                    <a:cubicBezTo>
                      <a:pt x="594" y="525"/>
                      <a:pt x="594" y="525"/>
                      <a:pt x="594" y="525"/>
                    </a:cubicBezTo>
                    <a:cubicBezTo>
                      <a:pt x="596" y="523"/>
                      <a:pt x="596" y="523"/>
                      <a:pt x="596" y="523"/>
                    </a:cubicBezTo>
                    <a:cubicBezTo>
                      <a:pt x="596" y="525"/>
                      <a:pt x="596" y="525"/>
                      <a:pt x="596" y="525"/>
                    </a:cubicBezTo>
                    <a:cubicBezTo>
                      <a:pt x="597" y="524"/>
                      <a:pt x="597" y="524"/>
                      <a:pt x="597" y="524"/>
                    </a:cubicBezTo>
                    <a:cubicBezTo>
                      <a:pt x="600" y="526"/>
                      <a:pt x="600" y="526"/>
                      <a:pt x="600" y="526"/>
                    </a:cubicBezTo>
                    <a:cubicBezTo>
                      <a:pt x="601" y="526"/>
                      <a:pt x="601" y="526"/>
                      <a:pt x="601" y="526"/>
                    </a:cubicBezTo>
                    <a:cubicBezTo>
                      <a:pt x="602" y="527"/>
                      <a:pt x="602" y="527"/>
                      <a:pt x="602" y="527"/>
                    </a:cubicBezTo>
                    <a:cubicBezTo>
                      <a:pt x="604" y="526"/>
                      <a:pt x="604" y="526"/>
                      <a:pt x="604" y="526"/>
                    </a:cubicBezTo>
                    <a:cubicBezTo>
                      <a:pt x="607" y="527"/>
                      <a:pt x="607" y="527"/>
                      <a:pt x="607" y="527"/>
                    </a:cubicBezTo>
                    <a:cubicBezTo>
                      <a:pt x="606" y="530"/>
                      <a:pt x="606" y="530"/>
                      <a:pt x="606" y="530"/>
                    </a:cubicBezTo>
                    <a:cubicBezTo>
                      <a:pt x="607" y="532"/>
                      <a:pt x="607" y="532"/>
                      <a:pt x="607" y="532"/>
                    </a:cubicBezTo>
                    <a:cubicBezTo>
                      <a:pt x="609" y="530"/>
                      <a:pt x="609" y="530"/>
                      <a:pt x="609" y="530"/>
                    </a:cubicBezTo>
                    <a:cubicBezTo>
                      <a:pt x="610" y="527"/>
                      <a:pt x="610" y="527"/>
                      <a:pt x="610" y="527"/>
                    </a:cubicBezTo>
                    <a:cubicBezTo>
                      <a:pt x="611" y="527"/>
                      <a:pt x="611" y="527"/>
                      <a:pt x="611" y="527"/>
                    </a:cubicBezTo>
                    <a:cubicBezTo>
                      <a:pt x="611" y="531"/>
                      <a:pt x="611" y="531"/>
                      <a:pt x="611" y="531"/>
                    </a:cubicBezTo>
                    <a:cubicBezTo>
                      <a:pt x="611" y="534"/>
                      <a:pt x="611" y="534"/>
                      <a:pt x="611" y="534"/>
                    </a:cubicBezTo>
                    <a:cubicBezTo>
                      <a:pt x="608" y="534"/>
                      <a:pt x="608" y="534"/>
                      <a:pt x="608" y="534"/>
                    </a:cubicBezTo>
                    <a:cubicBezTo>
                      <a:pt x="607" y="537"/>
                      <a:pt x="607" y="537"/>
                      <a:pt x="607" y="537"/>
                    </a:cubicBezTo>
                    <a:cubicBezTo>
                      <a:pt x="607" y="542"/>
                      <a:pt x="607" y="542"/>
                      <a:pt x="607" y="542"/>
                    </a:cubicBezTo>
                    <a:cubicBezTo>
                      <a:pt x="606" y="544"/>
                      <a:pt x="606" y="544"/>
                      <a:pt x="606" y="544"/>
                    </a:cubicBezTo>
                    <a:cubicBezTo>
                      <a:pt x="606" y="541"/>
                      <a:pt x="606" y="541"/>
                      <a:pt x="606" y="541"/>
                    </a:cubicBezTo>
                    <a:cubicBezTo>
                      <a:pt x="605" y="542"/>
                      <a:pt x="605" y="542"/>
                      <a:pt x="605" y="542"/>
                    </a:cubicBezTo>
                    <a:cubicBezTo>
                      <a:pt x="604" y="545"/>
                      <a:pt x="604" y="545"/>
                      <a:pt x="604" y="545"/>
                    </a:cubicBezTo>
                    <a:cubicBezTo>
                      <a:pt x="600" y="545"/>
                      <a:pt x="600" y="545"/>
                      <a:pt x="600" y="545"/>
                    </a:cubicBezTo>
                    <a:cubicBezTo>
                      <a:pt x="595" y="543"/>
                      <a:pt x="595" y="543"/>
                      <a:pt x="595" y="543"/>
                    </a:cubicBezTo>
                    <a:cubicBezTo>
                      <a:pt x="600" y="546"/>
                      <a:pt x="600" y="546"/>
                      <a:pt x="600" y="546"/>
                    </a:cubicBezTo>
                    <a:cubicBezTo>
                      <a:pt x="603" y="546"/>
                      <a:pt x="603" y="546"/>
                      <a:pt x="603" y="546"/>
                    </a:cubicBezTo>
                    <a:cubicBezTo>
                      <a:pt x="606" y="549"/>
                      <a:pt x="606" y="549"/>
                      <a:pt x="606" y="549"/>
                    </a:cubicBezTo>
                    <a:cubicBezTo>
                      <a:pt x="606" y="552"/>
                      <a:pt x="606" y="552"/>
                      <a:pt x="606" y="552"/>
                    </a:cubicBezTo>
                    <a:cubicBezTo>
                      <a:pt x="604" y="555"/>
                      <a:pt x="604" y="555"/>
                      <a:pt x="604" y="555"/>
                    </a:cubicBezTo>
                    <a:cubicBezTo>
                      <a:pt x="604" y="556"/>
                      <a:pt x="604" y="556"/>
                      <a:pt x="604" y="556"/>
                    </a:cubicBezTo>
                    <a:cubicBezTo>
                      <a:pt x="602" y="558"/>
                      <a:pt x="602" y="558"/>
                      <a:pt x="602" y="558"/>
                    </a:cubicBezTo>
                    <a:cubicBezTo>
                      <a:pt x="602" y="559"/>
                      <a:pt x="602" y="559"/>
                      <a:pt x="602" y="559"/>
                    </a:cubicBezTo>
                    <a:cubicBezTo>
                      <a:pt x="605" y="563"/>
                      <a:pt x="605" y="563"/>
                      <a:pt x="605" y="563"/>
                    </a:cubicBezTo>
                    <a:cubicBezTo>
                      <a:pt x="606" y="563"/>
                      <a:pt x="606" y="563"/>
                      <a:pt x="606" y="563"/>
                    </a:cubicBezTo>
                    <a:cubicBezTo>
                      <a:pt x="605" y="564"/>
                      <a:pt x="605" y="564"/>
                      <a:pt x="605" y="564"/>
                    </a:cubicBezTo>
                    <a:cubicBezTo>
                      <a:pt x="602" y="562"/>
                      <a:pt x="602" y="562"/>
                      <a:pt x="602" y="562"/>
                    </a:cubicBezTo>
                    <a:cubicBezTo>
                      <a:pt x="604" y="565"/>
                      <a:pt x="604" y="565"/>
                      <a:pt x="604" y="565"/>
                    </a:cubicBezTo>
                    <a:cubicBezTo>
                      <a:pt x="606" y="567"/>
                      <a:pt x="606" y="567"/>
                      <a:pt x="606" y="567"/>
                    </a:cubicBezTo>
                    <a:cubicBezTo>
                      <a:pt x="606" y="567"/>
                      <a:pt x="606" y="567"/>
                      <a:pt x="606" y="567"/>
                    </a:cubicBezTo>
                    <a:cubicBezTo>
                      <a:pt x="606" y="564"/>
                      <a:pt x="606" y="564"/>
                      <a:pt x="606" y="564"/>
                    </a:cubicBezTo>
                    <a:cubicBezTo>
                      <a:pt x="608" y="564"/>
                      <a:pt x="608" y="564"/>
                      <a:pt x="608" y="564"/>
                    </a:cubicBezTo>
                    <a:cubicBezTo>
                      <a:pt x="610" y="566"/>
                      <a:pt x="610" y="566"/>
                      <a:pt x="610" y="566"/>
                    </a:cubicBezTo>
                    <a:cubicBezTo>
                      <a:pt x="611" y="568"/>
                      <a:pt x="611" y="568"/>
                      <a:pt x="611" y="568"/>
                    </a:cubicBezTo>
                    <a:cubicBezTo>
                      <a:pt x="610" y="570"/>
                      <a:pt x="610" y="570"/>
                      <a:pt x="610" y="570"/>
                    </a:cubicBezTo>
                    <a:cubicBezTo>
                      <a:pt x="610" y="572"/>
                      <a:pt x="610" y="572"/>
                      <a:pt x="610" y="572"/>
                    </a:cubicBezTo>
                    <a:cubicBezTo>
                      <a:pt x="608" y="576"/>
                      <a:pt x="608" y="576"/>
                      <a:pt x="608" y="576"/>
                    </a:cubicBezTo>
                    <a:cubicBezTo>
                      <a:pt x="608" y="578"/>
                      <a:pt x="608" y="578"/>
                      <a:pt x="608" y="578"/>
                    </a:cubicBezTo>
                    <a:cubicBezTo>
                      <a:pt x="606" y="580"/>
                      <a:pt x="606" y="580"/>
                      <a:pt x="606" y="580"/>
                    </a:cubicBezTo>
                    <a:cubicBezTo>
                      <a:pt x="608" y="579"/>
                      <a:pt x="608" y="579"/>
                      <a:pt x="608" y="579"/>
                    </a:cubicBezTo>
                    <a:cubicBezTo>
                      <a:pt x="611" y="574"/>
                      <a:pt x="611" y="574"/>
                      <a:pt x="611" y="574"/>
                    </a:cubicBezTo>
                    <a:cubicBezTo>
                      <a:pt x="613" y="571"/>
                      <a:pt x="613" y="571"/>
                      <a:pt x="613" y="571"/>
                    </a:cubicBezTo>
                    <a:cubicBezTo>
                      <a:pt x="614" y="571"/>
                      <a:pt x="614" y="571"/>
                      <a:pt x="614" y="571"/>
                    </a:cubicBezTo>
                    <a:cubicBezTo>
                      <a:pt x="614" y="573"/>
                      <a:pt x="614" y="573"/>
                      <a:pt x="614" y="573"/>
                    </a:cubicBezTo>
                    <a:cubicBezTo>
                      <a:pt x="614" y="577"/>
                      <a:pt x="614" y="577"/>
                      <a:pt x="614" y="577"/>
                    </a:cubicBezTo>
                    <a:cubicBezTo>
                      <a:pt x="613" y="578"/>
                      <a:pt x="613" y="578"/>
                      <a:pt x="613" y="578"/>
                    </a:cubicBezTo>
                    <a:cubicBezTo>
                      <a:pt x="613" y="580"/>
                      <a:pt x="613" y="580"/>
                      <a:pt x="613" y="580"/>
                    </a:cubicBezTo>
                    <a:cubicBezTo>
                      <a:pt x="613" y="581"/>
                      <a:pt x="613" y="581"/>
                      <a:pt x="613" y="581"/>
                    </a:cubicBezTo>
                    <a:cubicBezTo>
                      <a:pt x="615" y="579"/>
                      <a:pt x="615" y="579"/>
                      <a:pt x="615" y="579"/>
                    </a:cubicBezTo>
                    <a:cubicBezTo>
                      <a:pt x="615" y="577"/>
                      <a:pt x="615" y="577"/>
                      <a:pt x="615" y="577"/>
                    </a:cubicBezTo>
                    <a:cubicBezTo>
                      <a:pt x="617" y="575"/>
                      <a:pt x="617" y="575"/>
                      <a:pt x="617" y="575"/>
                    </a:cubicBezTo>
                    <a:cubicBezTo>
                      <a:pt x="619" y="575"/>
                      <a:pt x="619" y="575"/>
                      <a:pt x="619" y="575"/>
                    </a:cubicBezTo>
                    <a:cubicBezTo>
                      <a:pt x="621" y="573"/>
                      <a:pt x="621" y="573"/>
                      <a:pt x="621" y="573"/>
                    </a:cubicBezTo>
                    <a:cubicBezTo>
                      <a:pt x="622" y="573"/>
                      <a:pt x="622" y="573"/>
                      <a:pt x="622" y="573"/>
                    </a:cubicBezTo>
                    <a:cubicBezTo>
                      <a:pt x="622" y="574"/>
                      <a:pt x="622" y="574"/>
                      <a:pt x="622" y="574"/>
                    </a:cubicBezTo>
                    <a:cubicBezTo>
                      <a:pt x="623" y="573"/>
                      <a:pt x="623" y="573"/>
                      <a:pt x="623" y="573"/>
                    </a:cubicBezTo>
                    <a:cubicBezTo>
                      <a:pt x="625" y="573"/>
                      <a:pt x="625" y="573"/>
                      <a:pt x="625" y="573"/>
                    </a:cubicBezTo>
                    <a:cubicBezTo>
                      <a:pt x="625" y="571"/>
                      <a:pt x="625" y="571"/>
                      <a:pt x="625" y="571"/>
                    </a:cubicBezTo>
                    <a:cubicBezTo>
                      <a:pt x="626" y="569"/>
                      <a:pt x="626" y="569"/>
                      <a:pt x="626" y="569"/>
                    </a:cubicBezTo>
                    <a:cubicBezTo>
                      <a:pt x="629" y="567"/>
                      <a:pt x="629" y="567"/>
                      <a:pt x="629" y="567"/>
                    </a:cubicBezTo>
                    <a:cubicBezTo>
                      <a:pt x="630" y="569"/>
                      <a:pt x="630" y="569"/>
                      <a:pt x="630" y="569"/>
                    </a:cubicBezTo>
                    <a:cubicBezTo>
                      <a:pt x="631" y="571"/>
                      <a:pt x="631" y="571"/>
                      <a:pt x="631" y="571"/>
                    </a:cubicBezTo>
                    <a:cubicBezTo>
                      <a:pt x="631" y="574"/>
                      <a:pt x="631" y="574"/>
                      <a:pt x="631" y="574"/>
                    </a:cubicBezTo>
                    <a:cubicBezTo>
                      <a:pt x="632" y="571"/>
                      <a:pt x="632" y="571"/>
                      <a:pt x="632" y="571"/>
                    </a:cubicBezTo>
                    <a:cubicBezTo>
                      <a:pt x="632" y="568"/>
                      <a:pt x="632" y="568"/>
                      <a:pt x="632" y="568"/>
                    </a:cubicBezTo>
                    <a:cubicBezTo>
                      <a:pt x="633" y="568"/>
                      <a:pt x="633" y="568"/>
                      <a:pt x="633" y="568"/>
                    </a:cubicBezTo>
                    <a:cubicBezTo>
                      <a:pt x="632" y="567"/>
                      <a:pt x="632" y="567"/>
                      <a:pt x="632" y="567"/>
                    </a:cubicBezTo>
                    <a:cubicBezTo>
                      <a:pt x="633" y="565"/>
                      <a:pt x="633" y="565"/>
                      <a:pt x="633" y="565"/>
                    </a:cubicBezTo>
                    <a:cubicBezTo>
                      <a:pt x="635" y="564"/>
                      <a:pt x="635" y="564"/>
                      <a:pt x="635" y="564"/>
                    </a:cubicBezTo>
                    <a:cubicBezTo>
                      <a:pt x="636" y="562"/>
                      <a:pt x="636" y="562"/>
                      <a:pt x="636" y="562"/>
                    </a:cubicBezTo>
                    <a:cubicBezTo>
                      <a:pt x="637" y="561"/>
                      <a:pt x="637" y="561"/>
                      <a:pt x="637" y="561"/>
                    </a:cubicBezTo>
                    <a:cubicBezTo>
                      <a:pt x="638" y="559"/>
                      <a:pt x="638" y="559"/>
                      <a:pt x="638" y="559"/>
                    </a:cubicBezTo>
                    <a:cubicBezTo>
                      <a:pt x="639" y="558"/>
                      <a:pt x="639" y="558"/>
                      <a:pt x="639" y="558"/>
                    </a:cubicBezTo>
                    <a:cubicBezTo>
                      <a:pt x="640" y="558"/>
                      <a:pt x="640" y="558"/>
                      <a:pt x="640" y="558"/>
                    </a:cubicBezTo>
                    <a:cubicBezTo>
                      <a:pt x="641" y="559"/>
                      <a:pt x="641" y="559"/>
                      <a:pt x="641" y="559"/>
                    </a:cubicBezTo>
                    <a:cubicBezTo>
                      <a:pt x="642" y="558"/>
                      <a:pt x="642" y="558"/>
                      <a:pt x="642" y="558"/>
                    </a:cubicBezTo>
                    <a:cubicBezTo>
                      <a:pt x="641" y="557"/>
                      <a:pt x="641" y="557"/>
                      <a:pt x="641" y="557"/>
                    </a:cubicBezTo>
                    <a:cubicBezTo>
                      <a:pt x="639" y="557"/>
                      <a:pt x="639" y="557"/>
                      <a:pt x="639" y="557"/>
                    </a:cubicBezTo>
                    <a:cubicBezTo>
                      <a:pt x="639" y="555"/>
                      <a:pt x="639" y="555"/>
                      <a:pt x="639" y="555"/>
                    </a:cubicBezTo>
                    <a:cubicBezTo>
                      <a:pt x="640" y="552"/>
                      <a:pt x="640" y="552"/>
                      <a:pt x="640" y="552"/>
                    </a:cubicBezTo>
                    <a:cubicBezTo>
                      <a:pt x="641" y="552"/>
                      <a:pt x="641" y="552"/>
                      <a:pt x="641" y="552"/>
                    </a:cubicBezTo>
                    <a:cubicBezTo>
                      <a:pt x="642" y="553"/>
                      <a:pt x="642" y="553"/>
                      <a:pt x="642" y="553"/>
                    </a:cubicBezTo>
                    <a:cubicBezTo>
                      <a:pt x="642" y="551"/>
                      <a:pt x="642" y="551"/>
                      <a:pt x="642" y="551"/>
                    </a:cubicBezTo>
                    <a:cubicBezTo>
                      <a:pt x="643" y="550"/>
                      <a:pt x="643" y="550"/>
                      <a:pt x="643" y="550"/>
                    </a:cubicBezTo>
                    <a:cubicBezTo>
                      <a:pt x="644" y="549"/>
                      <a:pt x="644" y="549"/>
                      <a:pt x="644" y="549"/>
                    </a:cubicBezTo>
                    <a:cubicBezTo>
                      <a:pt x="646" y="547"/>
                      <a:pt x="646" y="547"/>
                      <a:pt x="646" y="547"/>
                    </a:cubicBezTo>
                    <a:cubicBezTo>
                      <a:pt x="647" y="545"/>
                      <a:pt x="647" y="545"/>
                      <a:pt x="647" y="545"/>
                    </a:cubicBezTo>
                    <a:cubicBezTo>
                      <a:pt x="646" y="544"/>
                      <a:pt x="646" y="544"/>
                      <a:pt x="646" y="544"/>
                    </a:cubicBezTo>
                    <a:cubicBezTo>
                      <a:pt x="648" y="541"/>
                      <a:pt x="648" y="541"/>
                      <a:pt x="648" y="541"/>
                    </a:cubicBezTo>
                    <a:cubicBezTo>
                      <a:pt x="650" y="541"/>
                      <a:pt x="650" y="541"/>
                      <a:pt x="650" y="541"/>
                    </a:cubicBezTo>
                    <a:cubicBezTo>
                      <a:pt x="651" y="541"/>
                      <a:pt x="651" y="541"/>
                      <a:pt x="651" y="541"/>
                    </a:cubicBezTo>
                    <a:cubicBezTo>
                      <a:pt x="649" y="543"/>
                      <a:pt x="649" y="543"/>
                      <a:pt x="649" y="543"/>
                    </a:cubicBezTo>
                    <a:cubicBezTo>
                      <a:pt x="651" y="542"/>
                      <a:pt x="651" y="542"/>
                      <a:pt x="651" y="542"/>
                    </a:cubicBezTo>
                    <a:cubicBezTo>
                      <a:pt x="651" y="543"/>
                      <a:pt x="651" y="543"/>
                      <a:pt x="651" y="543"/>
                    </a:cubicBezTo>
                    <a:cubicBezTo>
                      <a:pt x="650" y="544"/>
                      <a:pt x="650" y="544"/>
                      <a:pt x="650" y="544"/>
                    </a:cubicBezTo>
                    <a:cubicBezTo>
                      <a:pt x="650" y="545"/>
                      <a:pt x="650" y="545"/>
                      <a:pt x="650" y="545"/>
                    </a:cubicBezTo>
                    <a:cubicBezTo>
                      <a:pt x="651" y="546"/>
                      <a:pt x="651" y="546"/>
                      <a:pt x="651" y="546"/>
                    </a:cubicBezTo>
                    <a:cubicBezTo>
                      <a:pt x="650" y="548"/>
                      <a:pt x="650" y="548"/>
                      <a:pt x="650" y="548"/>
                    </a:cubicBezTo>
                    <a:cubicBezTo>
                      <a:pt x="649" y="548"/>
                      <a:pt x="649" y="548"/>
                      <a:pt x="649" y="548"/>
                    </a:cubicBezTo>
                    <a:cubicBezTo>
                      <a:pt x="649" y="548"/>
                      <a:pt x="649" y="548"/>
                      <a:pt x="649" y="548"/>
                    </a:cubicBezTo>
                    <a:cubicBezTo>
                      <a:pt x="650" y="548"/>
                      <a:pt x="650" y="548"/>
                      <a:pt x="650" y="548"/>
                    </a:cubicBezTo>
                    <a:cubicBezTo>
                      <a:pt x="651" y="549"/>
                      <a:pt x="651" y="549"/>
                      <a:pt x="651" y="549"/>
                    </a:cubicBezTo>
                    <a:cubicBezTo>
                      <a:pt x="651" y="550"/>
                      <a:pt x="651" y="550"/>
                      <a:pt x="651" y="550"/>
                    </a:cubicBezTo>
                    <a:cubicBezTo>
                      <a:pt x="650" y="551"/>
                      <a:pt x="650" y="551"/>
                      <a:pt x="650" y="551"/>
                    </a:cubicBezTo>
                    <a:cubicBezTo>
                      <a:pt x="652" y="551"/>
                      <a:pt x="652" y="551"/>
                      <a:pt x="652" y="551"/>
                    </a:cubicBezTo>
                    <a:cubicBezTo>
                      <a:pt x="652" y="553"/>
                      <a:pt x="652" y="553"/>
                      <a:pt x="652" y="553"/>
                    </a:cubicBezTo>
                    <a:cubicBezTo>
                      <a:pt x="651" y="554"/>
                      <a:pt x="651" y="554"/>
                      <a:pt x="651" y="554"/>
                    </a:cubicBezTo>
                    <a:cubicBezTo>
                      <a:pt x="651" y="556"/>
                      <a:pt x="651" y="556"/>
                      <a:pt x="651" y="556"/>
                    </a:cubicBezTo>
                    <a:cubicBezTo>
                      <a:pt x="653" y="557"/>
                      <a:pt x="653" y="557"/>
                      <a:pt x="653" y="557"/>
                    </a:cubicBezTo>
                    <a:cubicBezTo>
                      <a:pt x="653" y="560"/>
                      <a:pt x="653" y="560"/>
                      <a:pt x="653" y="560"/>
                    </a:cubicBezTo>
                    <a:cubicBezTo>
                      <a:pt x="652" y="560"/>
                      <a:pt x="652" y="560"/>
                      <a:pt x="652" y="560"/>
                    </a:cubicBezTo>
                    <a:cubicBezTo>
                      <a:pt x="651" y="560"/>
                      <a:pt x="651" y="560"/>
                      <a:pt x="651" y="560"/>
                    </a:cubicBezTo>
                    <a:cubicBezTo>
                      <a:pt x="650" y="560"/>
                      <a:pt x="650" y="560"/>
                      <a:pt x="650" y="560"/>
                    </a:cubicBezTo>
                    <a:cubicBezTo>
                      <a:pt x="651" y="561"/>
                      <a:pt x="651" y="561"/>
                      <a:pt x="651" y="561"/>
                    </a:cubicBezTo>
                    <a:cubicBezTo>
                      <a:pt x="652" y="563"/>
                      <a:pt x="652" y="563"/>
                      <a:pt x="652" y="563"/>
                    </a:cubicBezTo>
                    <a:cubicBezTo>
                      <a:pt x="652" y="563"/>
                      <a:pt x="652" y="563"/>
                      <a:pt x="652" y="563"/>
                    </a:cubicBezTo>
                    <a:cubicBezTo>
                      <a:pt x="654" y="561"/>
                      <a:pt x="654" y="561"/>
                      <a:pt x="654" y="561"/>
                    </a:cubicBezTo>
                    <a:cubicBezTo>
                      <a:pt x="654" y="563"/>
                      <a:pt x="654" y="563"/>
                      <a:pt x="654" y="563"/>
                    </a:cubicBezTo>
                    <a:cubicBezTo>
                      <a:pt x="655" y="563"/>
                      <a:pt x="655" y="563"/>
                      <a:pt x="655" y="563"/>
                    </a:cubicBezTo>
                    <a:cubicBezTo>
                      <a:pt x="654" y="566"/>
                      <a:pt x="654" y="566"/>
                      <a:pt x="654" y="566"/>
                    </a:cubicBezTo>
                    <a:cubicBezTo>
                      <a:pt x="652" y="566"/>
                      <a:pt x="652" y="566"/>
                      <a:pt x="652" y="566"/>
                    </a:cubicBezTo>
                    <a:cubicBezTo>
                      <a:pt x="650" y="566"/>
                      <a:pt x="650" y="566"/>
                      <a:pt x="650" y="566"/>
                    </a:cubicBezTo>
                    <a:cubicBezTo>
                      <a:pt x="649" y="567"/>
                      <a:pt x="649" y="567"/>
                      <a:pt x="649" y="567"/>
                    </a:cubicBezTo>
                    <a:cubicBezTo>
                      <a:pt x="651" y="568"/>
                      <a:pt x="651" y="568"/>
                      <a:pt x="651" y="568"/>
                    </a:cubicBezTo>
                    <a:cubicBezTo>
                      <a:pt x="655" y="567"/>
                      <a:pt x="655" y="567"/>
                      <a:pt x="655" y="567"/>
                    </a:cubicBezTo>
                    <a:cubicBezTo>
                      <a:pt x="656" y="567"/>
                      <a:pt x="656" y="567"/>
                      <a:pt x="656" y="567"/>
                    </a:cubicBezTo>
                    <a:cubicBezTo>
                      <a:pt x="656" y="569"/>
                      <a:pt x="656" y="569"/>
                      <a:pt x="656" y="569"/>
                    </a:cubicBezTo>
                    <a:cubicBezTo>
                      <a:pt x="654" y="571"/>
                      <a:pt x="654" y="571"/>
                      <a:pt x="654" y="571"/>
                    </a:cubicBezTo>
                    <a:cubicBezTo>
                      <a:pt x="656" y="572"/>
                      <a:pt x="656" y="572"/>
                      <a:pt x="656" y="572"/>
                    </a:cubicBezTo>
                    <a:cubicBezTo>
                      <a:pt x="657" y="571"/>
                      <a:pt x="657" y="571"/>
                      <a:pt x="657" y="571"/>
                    </a:cubicBezTo>
                    <a:cubicBezTo>
                      <a:pt x="657" y="573"/>
                      <a:pt x="657" y="573"/>
                      <a:pt x="657" y="573"/>
                    </a:cubicBezTo>
                    <a:cubicBezTo>
                      <a:pt x="656" y="575"/>
                      <a:pt x="656" y="575"/>
                      <a:pt x="656" y="575"/>
                    </a:cubicBezTo>
                    <a:cubicBezTo>
                      <a:pt x="653" y="575"/>
                      <a:pt x="653" y="575"/>
                      <a:pt x="653" y="575"/>
                    </a:cubicBezTo>
                    <a:cubicBezTo>
                      <a:pt x="651" y="574"/>
                      <a:pt x="651" y="574"/>
                      <a:pt x="651" y="574"/>
                    </a:cubicBezTo>
                    <a:cubicBezTo>
                      <a:pt x="650" y="575"/>
                      <a:pt x="650" y="575"/>
                      <a:pt x="650" y="575"/>
                    </a:cubicBezTo>
                    <a:cubicBezTo>
                      <a:pt x="651" y="577"/>
                      <a:pt x="651" y="577"/>
                      <a:pt x="651" y="577"/>
                    </a:cubicBezTo>
                    <a:cubicBezTo>
                      <a:pt x="650" y="578"/>
                      <a:pt x="650" y="578"/>
                      <a:pt x="650" y="578"/>
                    </a:cubicBezTo>
                    <a:cubicBezTo>
                      <a:pt x="653" y="577"/>
                      <a:pt x="653" y="577"/>
                      <a:pt x="653" y="577"/>
                    </a:cubicBezTo>
                    <a:cubicBezTo>
                      <a:pt x="656" y="577"/>
                      <a:pt x="656" y="577"/>
                      <a:pt x="656" y="577"/>
                    </a:cubicBezTo>
                    <a:cubicBezTo>
                      <a:pt x="658" y="576"/>
                      <a:pt x="658" y="576"/>
                      <a:pt x="658" y="576"/>
                    </a:cubicBezTo>
                    <a:cubicBezTo>
                      <a:pt x="658" y="577"/>
                      <a:pt x="658" y="577"/>
                      <a:pt x="658" y="577"/>
                    </a:cubicBezTo>
                    <a:cubicBezTo>
                      <a:pt x="657" y="578"/>
                      <a:pt x="657" y="578"/>
                      <a:pt x="657" y="578"/>
                    </a:cubicBezTo>
                    <a:cubicBezTo>
                      <a:pt x="657" y="579"/>
                      <a:pt x="657" y="579"/>
                      <a:pt x="657" y="579"/>
                    </a:cubicBezTo>
                    <a:cubicBezTo>
                      <a:pt x="656" y="580"/>
                      <a:pt x="656" y="580"/>
                      <a:pt x="656" y="580"/>
                    </a:cubicBezTo>
                    <a:cubicBezTo>
                      <a:pt x="654" y="580"/>
                      <a:pt x="654" y="580"/>
                      <a:pt x="654" y="580"/>
                    </a:cubicBezTo>
                    <a:cubicBezTo>
                      <a:pt x="651" y="584"/>
                      <a:pt x="651" y="584"/>
                      <a:pt x="651" y="584"/>
                    </a:cubicBezTo>
                    <a:cubicBezTo>
                      <a:pt x="654" y="582"/>
                      <a:pt x="654" y="582"/>
                      <a:pt x="654" y="582"/>
                    </a:cubicBezTo>
                    <a:cubicBezTo>
                      <a:pt x="656" y="582"/>
                      <a:pt x="656" y="582"/>
                      <a:pt x="656" y="582"/>
                    </a:cubicBezTo>
                    <a:cubicBezTo>
                      <a:pt x="658" y="582"/>
                      <a:pt x="658" y="582"/>
                      <a:pt x="658" y="582"/>
                    </a:cubicBezTo>
                    <a:cubicBezTo>
                      <a:pt x="659" y="582"/>
                      <a:pt x="659" y="582"/>
                      <a:pt x="659" y="582"/>
                    </a:cubicBezTo>
                    <a:cubicBezTo>
                      <a:pt x="659" y="584"/>
                      <a:pt x="659" y="584"/>
                      <a:pt x="659" y="584"/>
                    </a:cubicBezTo>
                    <a:cubicBezTo>
                      <a:pt x="658" y="584"/>
                      <a:pt x="658" y="584"/>
                      <a:pt x="658" y="584"/>
                    </a:cubicBezTo>
                    <a:cubicBezTo>
                      <a:pt x="656" y="585"/>
                      <a:pt x="656" y="585"/>
                      <a:pt x="656" y="585"/>
                    </a:cubicBezTo>
                    <a:cubicBezTo>
                      <a:pt x="655" y="587"/>
                      <a:pt x="655" y="587"/>
                      <a:pt x="655" y="587"/>
                    </a:cubicBezTo>
                    <a:cubicBezTo>
                      <a:pt x="656" y="586"/>
                      <a:pt x="656" y="586"/>
                      <a:pt x="656" y="586"/>
                    </a:cubicBezTo>
                    <a:cubicBezTo>
                      <a:pt x="658" y="587"/>
                      <a:pt x="658" y="587"/>
                      <a:pt x="658" y="587"/>
                    </a:cubicBezTo>
                    <a:cubicBezTo>
                      <a:pt x="659" y="585"/>
                      <a:pt x="659" y="585"/>
                      <a:pt x="659" y="585"/>
                    </a:cubicBezTo>
                    <a:cubicBezTo>
                      <a:pt x="661" y="587"/>
                      <a:pt x="661" y="587"/>
                      <a:pt x="661" y="587"/>
                    </a:cubicBezTo>
                    <a:cubicBezTo>
                      <a:pt x="662" y="590"/>
                      <a:pt x="662" y="590"/>
                      <a:pt x="662" y="590"/>
                    </a:cubicBezTo>
                    <a:cubicBezTo>
                      <a:pt x="660" y="592"/>
                      <a:pt x="660" y="592"/>
                      <a:pt x="660" y="592"/>
                    </a:cubicBezTo>
                    <a:cubicBezTo>
                      <a:pt x="659" y="592"/>
                      <a:pt x="659" y="592"/>
                      <a:pt x="659" y="592"/>
                    </a:cubicBezTo>
                    <a:cubicBezTo>
                      <a:pt x="658" y="592"/>
                      <a:pt x="658" y="592"/>
                      <a:pt x="658" y="592"/>
                    </a:cubicBezTo>
                    <a:cubicBezTo>
                      <a:pt x="656" y="592"/>
                      <a:pt x="656" y="592"/>
                      <a:pt x="656" y="592"/>
                    </a:cubicBezTo>
                    <a:cubicBezTo>
                      <a:pt x="657" y="594"/>
                      <a:pt x="657" y="594"/>
                      <a:pt x="657" y="594"/>
                    </a:cubicBezTo>
                    <a:cubicBezTo>
                      <a:pt x="659" y="593"/>
                      <a:pt x="659" y="593"/>
                      <a:pt x="659" y="593"/>
                    </a:cubicBezTo>
                    <a:cubicBezTo>
                      <a:pt x="659" y="594"/>
                      <a:pt x="659" y="594"/>
                      <a:pt x="659" y="594"/>
                    </a:cubicBezTo>
                    <a:cubicBezTo>
                      <a:pt x="662" y="594"/>
                      <a:pt x="662" y="594"/>
                      <a:pt x="662" y="594"/>
                    </a:cubicBezTo>
                    <a:cubicBezTo>
                      <a:pt x="662" y="595"/>
                      <a:pt x="662" y="595"/>
                      <a:pt x="662" y="595"/>
                    </a:cubicBezTo>
                    <a:cubicBezTo>
                      <a:pt x="662" y="597"/>
                      <a:pt x="662" y="597"/>
                      <a:pt x="662" y="597"/>
                    </a:cubicBezTo>
                    <a:cubicBezTo>
                      <a:pt x="660" y="597"/>
                      <a:pt x="660" y="597"/>
                      <a:pt x="660" y="597"/>
                    </a:cubicBezTo>
                    <a:cubicBezTo>
                      <a:pt x="662" y="598"/>
                      <a:pt x="662" y="598"/>
                      <a:pt x="662" y="598"/>
                    </a:cubicBezTo>
                    <a:cubicBezTo>
                      <a:pt x="664" y="598"/>
                      <a:pt x="664" y="598"/>
                      <a:pt x="664" y="598"/>
                    </a:cubicBezTo>
                    <a:cubicBezTo>
                      <a:pt x="665" y="599"/>
                      <a:pt x="665" y="599"/>
                      <a:pt x="665" y="599"/>
                    </a:cubicBezTo>
                    <a:cubicBezTo>
                      <a:pt x="665" y="601"/>
                      <a:pt x="665" y="601"/>
                      <a:pt x="665" y="601"/>
                    </a:cubicBezTo>
                    <a:cubicBezTo>
                      <a:pt x="664" y="602"/>
                      <a:pt x="664" y="602"/>
                      <a:pt x="664" y="602"/>
                    </a:cubicBezTo>
                    <a:cubicBezTo>
                      <a:pt x="661" y="604"/>
                      <a:pt x="661" y="604"/>
                      <a:pt x="661" y="604"/>
                    </a:cubicBezTo>
                    <a:cubicBezTo>
                      <a:pt x="660" y="603"/>
                      <a:pt x="660" y="603"/>
                      <a:pt x="660" y="603"/>
                    </a:cubicBezTo>
                    <a:cubicBezTo>
                      <a:pt x="659" y="604"/>
                      <a:pt x="659" y="604"/>
                      <a:pt x="659" y="604"/>
                    </a:cubicBezTo>
                    <a:cubicBezTo>
                      <a:pt x="661" y="605"/>
                      <a:pt x="661" y="605"/>
                      <a:pt x="661" y="605"/>
                    </a:cubicBezTo>
                    <a:cubicBezTo>
                      <a:pt x="661" y="606"/>
                      <a:pt x="661" y="606"/>
                      <a:pt x="661" y="606"/>
                    </a:cubicBezTo>
                    <a:cubicBezTo>
                      <a:pt x="659" y="606"/>
                      <a:pt x="659" y="606"/>
                      <a:pt x="659" y="606"/>
                    </a:cubicBezTo>
                    <a:cubicBezTo>
                      <a:pt x="656" y="605"/>
                      <a:pt x="656" y="605"/>
                      <a:pt x="656" y="605"/>
                    </a:cubicBezTo>
                    <a:cubicBezTo>
                      <a:pt x="654" y="605"/>
                      <a:pt x="654" y="605"/>
                      <a:pt x="654" y="605"/>
                    </a:cubicBezTo>
                    <a:cubicBezTo>
                      <a:pt x="656" y="606"/>
                      <a:pt x="656" y="606"/>
                      <a:pt x="656" y="606"/>
                    </a:cubicBezTo>
                    <a:cubicBezTo>
                      <a:pt x="656" y="608"/>
                      <a:pt x="656" y="608"/>
                      <a:pt x="656" y="608"/>
                    </a:cubicBezTo>
                    <a:cubicBezTo>
                      <a:pt x="658" y="610"/>
                      <a:pt x="658" y="610"/>
                      <a:pt x="658" y="610"/>
                    </a:cubicBezTo>
                    <a:cubicBezTo>
                      <a:pt x="659" y="611"/>
                      <a:pt x="659" y="611"/>
                      <a:pt x="659" y="611"/>
                    </a:cubicBezTo>
                    <a:cubicBezTo>
                      <a:pt x="659" y="612"/>
                      <a:pt x="659" y="612"/>
                      <a:pt x="659" y="612"/>
                    </a:cubicBezTo>
                    <a:cubicBezTo>
                      <a:pt x="657" y="613"/>
                      <a:pt x="657" y="613"/>
                      <a:pt x="657" y="613"/>
                    </a:cubicBezTo>
                    <a:cubicBezTo>
                      <a:pt x="656" y="614"/>
                      <a:pt x="656" y="614"/>
                      <a:pt x="656" y="614"/>
                    </a:cubicBezTo>
                    <a:cubicBezTo>
                      <a:pt x="653" y="613"/>
                      <a:pt x="653" y="613"/>
                      <a:pt x="653" y="613"/>
                    </a:cubicBezTo>
                    <a:cubicBezTo>
                      <a:pt x="657" y="614"/>
                      <a:pt x="657" y="614"/>
                      <a:pt x="657" y="614"/>
                    </a:cubicBezTo>
                    <a:cubicBezTo>
                      <a:pt x="658" y="614"/>
                      <a:pt x="658" y="614"/>
                      <a:pt x="658" y="614"/>
                    </a:cubicBezTo>
                    <a:cubicBezTo>
                      <a:pt x="658" y="613"/>
                      <a:pt x="658" y="613"/>
                      <a:pt x="658" y="613"/>
                    </a:cubicBezTo>
                    <a:cubicBezTo>
                      <a:pt x="661" y="613"/>
                      <a:pt x="661" y="613"/>
                      <a:pt x="661" y="613"/>
                    </a:cubicBezTo>
                    <a:cubicBezTo>
                      <a:pt x="662" y="613"/>
                      <a:pt x="662" y="613"/>
                      <a:pt x="662" y="613"/>
                    </a:cubicBezTo>
                    <a:cubicBezTo>
                      <a:pt x="662" y="614"/>
                      <a:pt x="662" y="614"/>
                      <a:pt x="662" y="614"/>
                    </a:cubicBezTo>
                    <a:cubicBezTo>
                      <a:pt x="663" y="615"/>
                      <a:pt x="663" y="615"/>
                      <a:pt x="663" y="615"/>
                    </a:cubicBezTo>
                    <a:cubicBezTo>
                      <a:pt x="662" y="616"/>
                      <a:pt x="662" y="616"/>
                      <a:pt x="662" y="616"/>
                    </a:cubicBezTo>
                    <a:cubicBezTo>
                      <a:pt x="663" y="616"/>
                      <a:pt x="663" y="616"/>
                      <a:pt x="663" y="616"/>
                    </a:cubicBezTo>
                    <a:cubicBezTo>
                      <a:pt x="663" y="617"/>
                      <a:pt x="663" y="617"/>
                      <a:pt x="663" y="617"/>
                    </a:cubicBezTo>
                    <a:cubicBezTo>
                      <a:pt x="663" y="618"/>
                      <a:pt x="663" y="618"/>
                      <a:pt x="663" y="618"/>
                    </a:cubicBezTo>
                    <a:cubicBezTo>
                      <a:pt x="663" y="619"/>
                      <a:pt x="663" y="619"/>
                      <a:pt x="663" y="619"/>
                    </a:cubicBezTo>
                    <a:cubicBezTo>
                      <a:pt x="665" y="618"/>
                      <a:pt x="665" y="618"/>
                      <a:pt x="665" y="618"/>
                    </a:cubicBezTo>
                    <a:cubicBezTo>
                      <a:pt x="666" y="618"/>
                      <a:pt x="666" y="618"/>
                      <a:pt x="666" y="618"/>
                    </a:cubicBezTo>
                    <a:cubicBezTo>
                      <a:pt x="667" y="619"/>
                      <a:pt x="667" y="619"/>
                      <a:pt x="667" y="619"/>
                    </a:cubicBezTo>
                    <a:cubicBezTo>
                      <a:pt x="667" y="621"/>
                      <a:pt x="667" y="621"/>
                      <a:pt x="667" y="621"/>
                    </a:cubicBezTo>
                    <a:cubicBezTo>
                      <a:pt x="666" y="622"/>
                      <a:pt x="666" y="622"/>
                      <a:pt x="666" y="622"/>
                    </a:cubicBezTo>
                    <a:cubicBezTo>
                      <a:pt x="666" y="623"/>
                      <a:pt x="666" y="623"/>
                      <a:pt x="666" y="623"/>
                    </a:cubicBezTo>
                    <a:cubicBezTo>
                      <a:pt x="667" y="623"/>
                      <a:pt x="667" y="623"/>
                      <a:pt x="667" y="623"/>
                    </a:cubicBezTo>
                    <a:cubicBezTo>
                      <a:pt x="669" y="620"/>
                      <a:pt x="669" y="620"/>
                      <a:pt x="669" y="620"/>
                    </a:cubicBezTo>
                    <a:cubicBezTo>
                      <a:pt x="670" y="621"/>
                      <a:pt x="670" y="621"/>
                      <a:pt x="670" y="621"/>
                    </a:cubicBezTo>
                    <a:cubicBezTo>
                      <a:pt x="669" y="622"/>
                      <a:pt x="669" y="622"/>
                      <a:pt x="669" y="622"/>
                    </a:cubicBezTo>
                    <a:cubicBezTo>
                      <a:pt x="670" y="624"/>
                      <a:pt x="670" y="624"/>
                      <a:pt x="670" y="624"/>
                    </a:cubicBezTo>
                    <a:cubicBezTo>
                      <a:pt x="668" y="625"/>
                      <a:pt x="668" y="625"/>
                      <a:pt x="668" y="625"/>
                    </a:cubicBezTo>
                    <a:cubicBezTo>
                      <a:pt x="665" y="629"/>
                      <a:pt x="665" y="629"/>
                      <a:pt x="665" y="629"/>
                    </a:cubicBezTo>
                    <a:cubicBezTo>
                      <a:pt x="663" y="630"/>
                      <a:pt x="663" y="630"/>
                      <a:pt x="663" y="630"/>
                    </a:cubicBezTo>
                    <a:cubicBezTo>
                      <a:pt x="661" y="630"/>
                      <a:pt x="661" y="630"/>
                      <a:pt x="661" y="630"/>
                    </a:cubicBezTo>
                    <a:cubicBezTo>
                      <a:pt x="663" y="631"/>
                      <a:pt x="663" y="631"/>
                      <a:pt x="663" y="631"/>
                    </a:cubicBezTo>
                    <a:cubicBezTo>
                      <a:pt x="665" y="631"/>
                      <a:pt x="665" y="631"/>
                      <a:pt x="665" y="631"/>
                    </a:cubicBezTo>
                    <a:cubicBezTo>
                      <a:pt x="669" y="627"/>
                      <a:pt x="669" y="627"/>
                      <a:pt x="669" y="627"/>
                    </a:cubicBezTo>
                    <a:cubicBezTo>
                      <a:pt x="670" y="627"/>
                      <a:pt x="670" y="627"/>
                      <a:pt x="670" y="627"/>
                    </a:cubicBezTo>
                    <a:cubicBezTo>
                      <a:pt x="670" y="628"/>
                      <a:pt x="670" y="628"/>
                      <a:pt x="670" y="628"/>
                    </a:cubicBezTo>
                    <a:cubicBezTo>
                      <a:pt x="668" y="629"/>
                      <a:pt x="668" y="629"/>
                      <a:pt x="668" y="629"/>
                    </a:cubicBezTo>
                    <a:cubicBezTo>
                      <a:pt x="668" y="631"/>
                      <a:pt x="668" y="631"/>
                      <a:pt x="668" y="631"/>
                    </a:cubicBezTo>
                    <a:cubicBezTo>
                      <a:pt x="668" y="631"/>
                      <a:pt x="668" y="631"/>
                      <a:pt x="668" y="631"/>
                    </a:cubicBezTo>
                    <a:cubicBezTo>
                      <a:pt x="670" y="629"/>
                      <a:pt x="670" y="629"/>
                      <a:pt x="670" y="629"/>
                    </a:cubicBezTo>
                    <a:cubicBezTo>
                      <a:pt x="672" y="627"/>
                      <a:pt x="672" y="627"/>
                      <a:pt x="672" y="627"/>
                    </a:cubicBezTo>
                    <a:cubicBezTo>
                      <a:pt x="674" y="627"/>
                      <a:pt x="674" y="627"/>
                      <a:pt x="674" y="627"/>
                    </a:cubicBezTo>
                    <a:cubicBezTo>
                      <a:pt x="674" y="628"/>
                      <a:pt x="674" y="628"/>
                      <a:pt x="674" y="628"/>
                    </a:cubicBezTo>
                    <a:cubicBezTo>
                      <a:pt x="673" y="629"/>
                      <a:pt x="673" y="629"/>
                      <a:pt x="673" y="629"/>
                    </a:cubicBezTo>
                    <a:cubicBezTo>
                      <a:pt x="672" y="629"/>
                      <a:pt x="672" y="629"/>
                      <a:pt x="672" y="629"/>
                    </a:cubicBezTo>
                    <a:cubicBezTo>
                      <a:pt x="673" y="630"/>
                      <a:pt x="673" y="630"/>
                      <a:pt x="673" y="630"/>
                    </a:cubicBezTo>
                    <a:cubicBezTo>
                      <a:pt x="675" y="629"/>
                      <a:pt x="675" y="629"/>
                      <a:pt x="675" y="629"/>
                    </a:cubicBezTo>
                    <a:cubicBezTo>
                      <a:pt x="676" y="629"/>
                      <a:pt x="676" y="629"/>
                      <a:pt x="676" y="629"/>
                    </a:cubicBezTo>
                    <a:cubicBezTo>
                      <a:pt x="673" y="632"/>
                      <a:pt x="673" y="632"/>
                      <a:pt x="673" y="632"/>
                    </a:cubicBezTo>
                    <a:cubicBezTo>
                      <a:pt x="672" y="633"/>
                      <a:pt x="672" y="633"/>
                      <a:pt x="672" y="633"/>
                    </a:cubicBezTo>
                    <a:cubicBezTo>
                      <a:pt x="673" y="633"/>
                      <a:pt x="673" y="633"/>
                      <a:pt x="673" y="633"/>
                    </a:cubicBezTo>
                    <a:cubicBezTo>
                      <a:pt x="674" y="632"/>
                      <a:pt x="674" y="632"/>
                      <a:pt x="674" y="632"/>
                    </a:cubicBezTo>
                    <a:cubicBezTo>
                      <a:pt x="678" y="629"/>
                      <a:pt x="678" y="629"/>
                      <a:pt x="678" y="629"/>
                    </a:cubicBezTo>
                    <a:cubicBezTo>
                      <a:pt x="679" y="629"/>
                      <a:pt x="679" y="629"/>
                      <a:pt x="679" y="629"/>
                    </a:cubicBezTo>
                    <a:cubicBezTo>
                      <a:pt x="678" y="630"/>
                      <a:pt x="678" y="630"/>
                      <a:pt x="678" y="630"/>
                    </a:cubicBezTo>
                    <a:cubicBezTo>
                      <a:pt x="678" y="631"/>
                      <a:pt x="678" y="631"/>
                      <a:pt x="678" y="631"/>
                    </a:cubicBezTo>
                    <a:cubicBezTo>
                      <a:pt x="680" y="629"/>
                      <a:pt x="680" y="629"/>
                      <a:pt x="680" y="629"/>
                    </a:cubicBezTo>
                    <a:cubicBezTo>
                      <a:pt x="680" y="630"/>
                      <a:pt x="680" y="630"/>
                      <a:pt x="680" y="630"/>
                    </a:cubicBezTo>
                    <a:cubicBezTo>
                      <a:pt x="680" y="633"/>
                      <a:pt x="680" y="633"/>
                      <a:pt x="680" y="633"/>
                    </a:cubicBezTo>
                    <a:cubicBezTo>
                      <a:pt x="679" y="634"/>
                      <a:pt x="679" y="634"/>
                      <a:pt x="679" y="634"/>
                    </a:cubicBezTo>
                    <a:cubicBezTo>
                      <a:pt x="679" y="635"/>
                      <a:pt x="679" y="635"/>
                      <a:pt x="679" y="635"/>
                    </a:cubicBezTo>
                    <a:cubicBezTo>
                      <a:pt x="681" y="635"/>
                      <a:pt x="681" y="635"/>
                      <a:pt x="681" y="635"/>
                    </a:cubicBezTo>
                    <a:cubicBezTo>
                      <a:pt x="683" y="636"/>
                      <a:pt x="683" y="636"/>
                      <a:pt x="683" y="636"/>
                    </a:cubicBezTo>
                    <a:cubicBezTo>
                      <a:pt x="685" y="634"/>
                      <a:pt x="685" y="634"/>
                      <a:pt x="685" y="634"/>
                    </a:cubicBezTo>
                    <a:cubicBezTo>
                      <a:pt x="688" y="633"/>
                      <a:pt x="688" y="633"/>
                      <a:pt x="688" y="633"/>
                    </a:cubicBezTo>
                    <a:cubicBezTo>
                      <a:pt x="689" y="634"/>
                      <a:pt x="689" y="634"/>
                      <a:pt x="689" y="634"/>
                    </a:cubicBezTo>
                    <a:cubicBezTo>
                      <a:pt x="688" y="636"/>
                      <a:pt x="688" y="636"/>
                      <a:pt x="688" y="636"/>
                    </a:cubicBezTo>
                    <a:cubicBezTo>
                      <a:pt x="687" y="636"/>
                      <a:pt x="687" y="636"/>
                      <a:pt x="687" y="636"/>
                    </a:cubicBezTo>
                    <a:cubicBezTo>
                      <a:pt x="686" y="637"/>
                      <a:pt x="686" y="637"/>
                      <a:pt x="686" y="637"/>
                    </a:cubicBezTo>
                    <a:cubicBezTo>
                      <a:pt x="691" y="638"/>
                      <a:pt x="691" y="638"/>
                      <a:pt x="691" y="638"/>
                    </a:cubicBezTo>
                    <a:cubicBezTo>
                      <a:pt x="692" y="639"/>
                      <a:pt x="692" y="639"/>
                      <a:pt x="692" y="639"/>
                    </a:cubicBezTo>
                    <a:cubicBezTo>
                      <a:pt x="689" y="640"/>
                      <a:pt x="689" y="640"/>
                      <a:pt x="689" y="640"/>
                    </a:cubicBezTo>
                    <a:cubicBezTo>
                      <a:pt x="689" y="641"/>
                      <a:pt x="689" y="641"/>
                      <a:pt x="689" y="641"/>
                    </a:cubicBezTo>
                    <a:cubicBezTo>
                      <a:pt x="686" y="641"/>
                      <a:pt x="686" y="641"/>
                      <a:pt x="686" y="641"/>
                    </a:cubicBezTo>
                    <a:cubicBezTo>
                      <a:pt x="685" y="641"/>
                      <a:pt x="685" y="641"/>
                      <a:pt x="685" y="641"/>
                    </a:cubicBezTo>
                    <a:cubicBezTo>
                      <a:pt x="682" y="642"/>
                      <a:pt x="682" y="642"/>
                      <a:pt x="682" y="642"/>
                    </a:cubicBezTo>
                    <a:cubicBezTo>
                      <a:pt x="680" y="644"/>
                      <a:pt x="680" y="644"/>
                      <a:pt x="680" y="644"/>
                    </a:cubicBezTo>
                    <a:cubicBezTo>
                      <a:pt x="677" y="644"/>
                      <a:pt x="677" y="644"/>
                      <a:pt x="677" y="644"/>
                    </a:cubicBezTo>
                    <a:cubicBezTo>
                      <a:pt x="671" y="645"/>
                      <a:pt x="671" y="645"/>
                      <a:pt x="671" y="645"/>
                    </a:cubicBezTo>
                    <a:cubicBezTo>
                      <a:pt x="671" y="646"/>
                      <a:pt x="671" y="646"/>
                      <a:pt x="671" y="646"/>
                    </a:cubicBezTo>
                    <a:cubicBezTo>
                      <a:pt x="675" y="645"/>
                      <a:pt x="675" y="645"/>
                      <a:pt x="675" y="645"/>
                    </a:cubicBezTo>
                    <a:cubicBezTo>
                      <a:pt x="679" y="644"/>
                      <a:pt x="679" y="644"/>
                      <a:pt x="679" y="644"/>
                    </a:cubicBezTo>
                    <a:cubicBezTo>
                      <a:pt x="680" y="644"/>
                      <a:pt x="680" y="644"/>
                      <a:pt x="680" y="644"/>
                    </a:cubicBezTo>
                    <a:cubicBezTo>
                      <a:pt x="680" y="645"/>
                      <a:pt x="680" y="645"/>
                      <a:pt x="680" y="645"/>
                    </a:cubicBezTo>
                    <a:cubicBezTo>
                      <a:pt x="676" y="646"/>
                      <a:pt x="676" y="646"/>
                      <a:pt x="676" y="646"/>
                    </a:cubicBezTo>
                    <a:cubicBezTo>
                      <a:pt x="673" y="647"/>
                      <a:pt x="673" y="647"/>
                      <a:pt x="673" y="647"/>
                    </a:cubicBezTo>
                    <a:cubicBezTo>
                      <a:pt x="670" y="648"/>
                      <a:pt x="670" y="648"/>
                      <a:pt x="670" y="648"/>
                    </a:cubicBezTo>
                    <a:cubicBezTo>
                      <a:pt x="668" y="649"/>
                      <a:pt x="668" y="649"/>
                      <a:pt x="668" y="649"/>
                    </a:cubicBezTo>
                    <a:cubicBezTo>
                      <a:pt x="666" y="650"/>
                      <a:pt x="666" y="650"/>
                      <a:pt x="666" y="650"/>
                    </a:cubicBezTo>
                    <a:cubicBezTo>
                      <a:pt x="666" y="651"/>
                      <a:pt x="666" y="651"/>
                      <a:pt x="666" y="651"/>
                    </a:cubicBezTo>
                    <a:cubicBezTo>
                      <a:pt x="665" y="652"/>
                      <a:pt x="665" y="652"/>
                      <a:pt x="665" y="652"/>
                    </a:cubicBezTo>
                    <a:cubicBezTo>
                      <a:pt x="662" y="650"/>
                      <a:pt x="662" y="650"/>
                      <a:pt x="662" y="650"/>
                    </a:cubicBezTo>
                    <a:cubicBezTo>
                      <a:pt x="660" y="646"/>
                      <a:pt x="660" y="646"/>
                      <a:pt x="660" y="646"/>
                    </a:cubicBezTo>
                    <a:cubicBezTo>
                      <a:pt x="660" y="648"/>
                      <a:pt x="660" y="648"/>
                      <a:pt x="660" y="648"/>
                    </a:cubicBezTo>
                    <a:cubicBezTo>
                      <a:pt x="659" y="649"/>
                      <a:pt x="659" y="649"/>
                      <a:pt x="659" y="649"/>
                    </a:cubicBezTo>
                    <a:cubicBezTo>
                      <a:pt x="661" y="650"/>
                      <a:pt x="661" y="650"/>
                      <a:pt x="661" y="650"/>
                    </a:cubicBezTo>
                    <a:cubicBezTo>
                      <a:pt x="661" y="651"/>
                      <a:pt x="661" y="651"/>
                      <a:pt x="661" y="651"/>
                    </a:cubicBezTo>
                    <a:cubicBezTo>
                      <a:pt x="665" y="654"/>
                      <a:pt x="665" y="654"/>
                      <a:pt x="665" y="654"/>
                    </a:cubicBezTo>
                    <a:cubicBezTo>
                      <a:pt x="664" y="655"/>
                      <a:pt x="664" y="655"/>
                      <a:pt x="664" y="655"/>
                    </a:cubicBezTo>
                    <a:cubicBezTo>
                      <a:pt x="663" y="655"/>
                      <a:pt x="663" y="655"/>
                      <a:pt x="663" y="655"/>
                    </a:cubicBezTo>
                    <a:cubicBezTo>
                      <a:pt x="662" y="656"/>
                      <a:pt x="662" y="656"/>
                      <a:pt x="662" y="656"/>
                    </a:cubicBezTo>
                    <a:cubicBezTo>
                      <a:pt x="663" y="657"/>
                      <a:pt x="663" y="657"/>
                      <a:pt x="663" y="657"/>
                    </a:cubicBezTo>
                    <a:cubicBezTo>
                      <a:pt x="664" y="658"/>
                      <a:pt x="664" y="658"/>
                      <a:pt x="664" y="658"/>
                    </a:cubicBezTo>
                    <a:cubicBezTo>
                      <a:pt x="664" y="657"/>
                      <a:pt x="664" y="657"/>
                      <a:pt x="664" y="657"/>
                    </a:cubicBezTo>
                    <a:cubicBezTo>
                      <a:pt x="666" y="657"/>
                      <a:pt x="666" y="657"/>
                      <a:pt x="666" y="657"/>
                    </a:cubicBezTo>
                    <a:cubicBezTo>
                      <a:pt x="667" y="653"/>
                      <a:pt x="667" y="653"/>
                      <a:pt x="667" y="653"/>
                    </a:cubicBezTo>
                    <a:cubicBezTo>
                      <a:pt x="670" y="653"/>
                      <a:pt x="670" y="653"/>
                      <a:pt x="670" y="653"/>
                    </a:cubicBezTo>
                    <a:cubicBezTo>
                      <a:pt x="672" y="652"/>
                      <a:pt x="672" y="652"/>
                      <a:pt x="672" y="652"/>
                    </a:cubicBezTo>
                    <a:cubicBezTo>
                      <a:pt x="674" y="652"/>
                      <a:pt x="674" y="652"/>
                      <a:pt x="674" y="652"/>
                    </a:cubicBezTo>
                    <a:cubicBezTo>
                      <a:pt x="674" y="650"/>
                      <a:pt x="674" y="650"/>
                      <a:pt x="674" y="650"/>
                    </a:cubicBezTo>
                    <a:cubicBezTo>
                      <a:pt x="676" y="648"/>
                      <a:pt x="676" y="648"/>
                      <a:pt x="676" y="648"/>
                    </a:cubicBezTo>
                    <a:cubicBezTo>
                      <a:pt x="679" y="647"/>
                      <a:pt x="679" y="647"/>
                      <a:pt x="679" y="647"/>
                    </a:cubicBezTo>
                    <a:cubicBezTo>
                      <a:pt x="682" y="646"/>
                      <a:pt x="682" y="646"/>
                      <a:pt x="682" y="646"/>
                    </a:cubicBezTo>
                    <a:cubicBezTo>
                      <a:pt x="684" y="646"/>
                      <a:pt x="684" y="646"/>
                      <a:pt x="684" y="646"/>
                    </a:cubicBezTo>
                    <a:cubicBezTo>
                      <a:pt x="686" y="646"/>
                      <a:pt x="686" y="646"/>
                      <a:pt x="686" y="646"/>
                    </a:cubicBezTo>
                    <a:cubicBezTo>
                      <a:pt x="685" y="645"/>
                      <a:pt x="685" y="645"/>
                      <a:pt x="685" y="645"/>
                    </a:cubicBezTo>
                    <a:cubicBezTo>
                      <a:pt x="683" y="645"/>
                      <a:pt x="683" y="645"/>
                      <a:pt x="683" y="645"/>
                    </a:cubicBezTo>
                    <a:cubicBezTo>
                      <a:pt x="682" y="645"/>
                      <a:pt x="682" y="645"/>
                      <a:pt x="682" y="645"/>
                    </a:cubicBezTo>
                    <a:cubicBezTo>
                      <a:pt x="684" y="644"/>
                      <a:pt x="684" y="644"/>
                      <a:pt x="684" y="644"/>
                    </a:cubicBezTo>
                    <a:cubicBezTo>
                      <a:pt x="688" y="644"/>
                      <a:pt x="688" y="644"/>
                      <a:pt x="688" y="644"/>
                    </a:cubicBezTo>
                    <a:cubicBezTo>
                      <a:pt x="691" y="645"/>
                      <a:pt x="691" y="645"/>
                      <a:pt x="691" y="645"/>
                    </a:cubicBezTo>
                    <a:cubicBezTo>
                      <a:pt x="693" y="648"/>
                      <a:pt x="693" y="648"/>
                      <a:pt x="693" y="648"/>
                    </a:cubicBezTo>
                    <a:cubicBezTo>
                      <a:pt x="692" y="650"/>
                      <a:pt x="692" y="650"/>
                      <a:pt x="692" y="650"/>
                    </a:cubicBezTo>
                    <a:cubicBezTo>
                      <a:pt x="690" y="652"/>
                      <a:pt x="690" y="652"/>
                      <a:pt x="690" y="652"/>
                    </a:cubicBezTo>
                    <a:cubicBezTo>
                      <a:pt x="689" y="652"/>
                      <a:pt x="689" y="652"/>
                      <a:pt x="689" y="652"/>
                    </a:cubicBezTo>
                    <a:cubicBezTo>
                      <a:pt x="688" y="653"/>
                      <a:pt x="688" y="653"/>
                      <a:pt x="688" y="653"/>
                    </a:cubicBezTo>
                    <a:cubicBezTo>
                      <a:pt x="690" y="653"/>
                      <a:pt x="690" y="653"/>
                      <a:pt x="690" y="653"/>
                    </a:cubicBezTo>
                    <a:cubicBezTo>
                      <a:pt x="691" y="655"/>
                      <a:pt x="691" y="655"/>
                      <a:pt x="691" y="655"/>
                    </a:cubicBezTo>
                    <a:cubicBezTo>
                      <a:pt x="692" y="654"/>
                      <a:pt x="692" y="654"/>
                      <a:pt x="692" y="654"/>
                    </a:cubicBezTo>
                    <a:cubicBezTo>
                      <a:pt x="692" y="652"/>
                      <a:pt x="692" y="652"/>
                      <a:pt x="692" y="652"/>
                    </a:cubicBezTo>
                    <a:cubicBezTo>
                      <a:pt x="695" y="651"/>
                      <a:pt x="695" y="651"/>
                      <a:pt x="695" y="651"/>
                    </a:cubicBezTo>
                    <a:cubicBezTo>
                      <a:pt x="697" y="651"/>
                      <a:pt x="697" y="651"/>
                      <a:pt x="697" y="651"/>
                    </a:cubicBezTo>
                    <a:cubicBezTo>
                      <a:pt x="698" y="652"/>
                      <a:pt x="698" y="652"/>
                      <a:pt x="698" y="652"/>
                    </a:cubicBezTo>
                    <a:cubicBezTo>
                      <a:pt x="697" y="652"/>
                      <a:pt x="697" y="652"/>
                      <a:pt x="697" y="652"/>
                    </a:cubicBezTo>
                    <a:cubicBezTo>
                      <a:pt x="697" y="653"/>
                      <a:pt x="697" y="653"/>
                      <a:pt x="697" y="653"/>
                    </a:cubicBezTo>
                    <a:cubicBezTo>
                      <a:pt x="699" y="653"/>
                      <a:pt x="699" y="653"/>
                      <a:pt x="699" y="653"/>
                    </a:cubicBezTo>
                    <a:cubicBezTo>
                      <a:pt x="702" y="654"/>
                      <a:pt x="702" y="654"/>
                      <a:pt x="702" y="654"/>
                    </a:cubicBezTo>
                    <a:cubicBezTo>
                      <a:pt x="702" y="656"/>
                      <a:pt x="702" y="656"/>
                      <a:pt x="702" y="656"/>
                    </a:cubicBezTo>
                    <a:cubicBezTo>
                      <a:pt x="700" y="655"/>
                      <a:pt x="700" y="655"/>
                      <a:pt x="700" y="655"/>
                    </a:cubicBezTo>
                    <a:cubicBezTo>
                      <a:pt x="700" y="655"/>
                      <a:pt x="700" y="655"/>
                      <a:pt x="700" y="655"/>
                    </a:cubicBezTo>
                    <a:cubicBezTo>
                      <a:pt x="700" y="657"/>
                      <a:pt x="700" y="657"/>
                      <a:pt x="700" y="657"/>
                    </a:cubicBezTo>
                    <a:cubicBezTo>
                      <a:pt x="703" y="658"/>
                      <a:pt x="703" y="658"/>
                      <a:pt x="703" y="658"/>
                    </a:cubicBezTo>
                    <a:cubicBezTo>
                      <a:pt x="703" y="659"/>
                      <a:pt x="703" y="659"/>
                      <a:pt x="703" y="659"/>
                    </a:cubicBezTo>
                    <a:cubicBezTo>
                      <a:pt x="702" y="661"/>
                      <a:pt x="702" y="661"/>
                      <a:pt x="702" y="661"/>
                    </a:cubicBezTo>
                    <a:cubicBezTo>
                      <a:pt x="700" y="660"/>
                      <a:pt x="700" y="660"/>
                      <a:pt x="700" y="660"/>
                    </a:cubicBezTo>
                    <a:cubicBezTo>
                      <a:pt x="699" y="662"/>
                      <a:pt x="699" y="662"/>
                      <a:pt x="699" y="662"/>
                    </a:cubicBezTo>
                    <a:cubicBezTo>
                      <a:pt x="701" y="662"/>
                      <a:pt x="701" y="662"/>
                      <a:pt x="701" y="662"/>
                    </a:cubicBezTo>
                    <a:cubicBezTo>
                      <a:pt x="701" y="664"/>
                      <a:pt x="701" y="664"/>
                      <a:pt x="701" y="664"/>
                    </a:cubicBezTo>
                    <a:cubicBezTo>
                      <a:pt x="699" y="665"/>
                      <a:pt x="699" y="665"/>
                      <a:pt x="699" y="665"/>
                    </a:cubicBezTo>
                    <a:cubicBezTo>
                      <a:pt x="699" y="666"/>
                      <a:pt x="699" y="666"/>
                      <a:pt x="699" y="666"/>
                    </a:cubicBezTo>
                    <a:cubicBezTo>
                      <a:pt x="697" y="667"/>
                      <a:pt x="697" y="667"/>
                      <a:pt x="697" y="667"/>
                    </a:cubicBezTo>
                    <a:cubicBezTo>
                      <a:pt x="695" y="666"/>
                      <a:pt x="695" y="666"/>
                      <a:pt x="695" y="666"/>
                    </a:cubicBezTo>
                    <a:cubicBezTo>
                      <a:pt x="696" y="667"/>
                      <a:pt x="696" y="667"/>
                      <a:pt x="696" y="667"/>
                    </a:cubicBezTo>
                    <a:cubicBezTo>
                      <a:pt x="699" y="669"/>
                      <a:pt x="699" y="669"/>
                      <a:pt x="699" y="669"/>
                    </a:cubicBezTo>
                    <a:cubicBezTo>
                      <a:pt x="700" y="668"/>
                      <a:pt x="700" y="668"/>
                      <a:pt x="700" y="668"/>
                    </a:cubicBezTo>
                    <a:cubicBezTo>
                      <a:pt x="702" y="670"/>
                      <a:pt x="702" y="670"/>
                      <a:pt x="702" y="670"/>
                    </a:cubicBezTo>
                    <a:cubicBezTo>
                      <a:pt x="700" y="670"/>
                      <a:pt x="700" y="670"/>
                      <a:pt x="700" y="670"/>
                    </a:cubicBezTo>
                    <a:cubicBezTo>
                      <a:pt x="698" y="670"/>
                      <a:pt x="698" y="670"/>
                      <a:pt x="698" y="670"/>
                    </a:cubicBezTo>
                    <a:cubicBezTo>
                      <a:pt x="697" y="670"/>
                      <a:pt x="697" y="670"/>
                      <a:pt x="697" y="670"/>
                    </a:cubicBezTo>
                    <a:cubicBezTo>
                      <a:pt x="699" y="671"/>
                      <a:pt x="699" y="671"/>
                      <a:pt x="699" y="671"/>
                    </a:cubicBezTo>
                    <a:cubicBezTo>
                      <a:pt x="700" y="671"/>
                      <a:pt x="700" y="671"/>
                      <a:pt x="700" y="671"/>
                    </a:cubicBezTo>
                    <a:cubicBezTo>
                      <a:pt x="702" y="672"/>
                      <a:pt x="702" y="672"/>
                      <a:pt x="702" y="672"/>
                    </a:cubicBezTo>
                    <a:cubicBezTo>
                      <a:pt x="701" y="673"/>
                      <a:pt x="701" y="673"/>
                      <a:pt x="701" y="673"/>
                    </a:cubicBezTo>
                    <a:cubicBezTo>
                      <a:pt x="700" y="675"/>
                      <a:pt x="700" y="675"/>
                      <a:pt x="700" y="675"/>
                    </a:cubicBezTo>
                    <a:cubicBezTo>
                      <a:pt x="699" y="675"/>
                      <a:pt x="699" y="675"/>
                      <a:pt x="699" y="675"/>
                    </a:cubicBezTo>
                    <a:cubicBezTo>
                      <a:pt x="698" y="677"/>
                      <a:pt x="698" y="677"/>
                      <a:pt x="698" y="677"/>
                    </a:cubicBezTo>
                    <a:cubicBezTo>
                      <a:pt x="696" y="679"/>
                      <a:pt x="696" y="679"/>
                      <a:pt x="696" y="679"/>
                    </a:cubicBezTo>
                    <a:cubicBezTo>
                      <a:pt x="693" y="679"/>
                      <a:pt x="693" y="679"/>
                      <a:pt x="693" y="679"/>
                    </a:cubicBezTo>
                    <a:cubicBezTo>
                      <a:pt x="692" y="681"/>
                      <a:pt x="692" y="681"/>
                      <a:pt x="692" y="681"/>
                    </a:cubicBezTo>
                    <a:cubicBezTo>
                      <a:pt x="691" y="681"/>
                      <a:pt x="691" y="681"/>
                      <a:pt x="691" y="681"/>
                    </a:cubicBezTo>
                    <a:cubicBezTo>
                      <a:pt x="689" y="682"/>
                      <a:pt x="689" y="682"/>
                      <a:pt x="689" y="682"/>
                    </a:cubicBezTo>
                    <a:cubicBezTo>
                      <a:pt x="688" y="682"/>
                      <a:pt x="688" y="682"/>
                      <a:pt x="688" y="682"/>
                    </a:cubicBezTo>
                    <a:cubicBezTo>
                      <a:pt x="688" y="683"/>
                      <a:pt x="688" y="683"/>
                      <a:pt x="688" y="683"/>
                    </a:cubicBezTo>
                    <a:cubicBezTo>
                      <a:pt x="686" y="684"/>
                      <a:pt x="686" y="684"/>
                      <a:pt x="686" y="684"/>
                    </a:cubicBezTo>
                    <a:cubicBezTo>
                      <a:pt x="685" y="683"/>
                      <a:pt x="685" y="683"/>
                      <a:pt x="685" y="683"/>
                    </a:cubicBezTo>
                    <a:cubicBezTo>
                      <a:pt x="684" y="683"/>
                      <a:pt x="684" y="683"/>
                      <a:pt x="684" y="683"/>
                    </a:cubicBezTo>
                    <a:cubicBezTo>
                      <a:pt x="682" y="683"/>
                      <a:pt x="682" y="683"/>
                      <a:pt x="682" y="683"/>
                    </a:cubicBezTo>
                    <a:cubicBezTo>
                      <a:pt x="682" y="682"/>
                      <a:pt x="682" y="682"/>
                      <a:pt x="682" y="682"/>
                    </a:cubicBezTo>
                    <a:cubicBezTo>
                      <a:pt x="680" y="684"/>
                      <a:pt x="680" y="684"/>
                      <a:pt x="680" y="684"/>
                    </a:cubicBezTo>
                    <a:cubicBezTo>
                      <a:pt x="677" y="684"/>
                      <a:pt x="677" y="684"/>
                      <a:pt x="677" y="684"/>
                    </a:cubicBezTo>
                    <a:cubicBezTo>
                      <a:pt x="677" y="682"/>
                      <a:pt x="677" y="682"/>
                      <a:pt x="677" y="682"/>
                    </a:cubicBezTo>
                    <a:cubicBezTo>
                      <a:pt x="676" y="683"/>
                      <a:pt x="676" y="683"/>
                      <a:pt x="676" y="683"/>
                    </a:cubicBezTo>
                    <a:cubicBezTo>
                      <a:pt x="676" y="684"/>
                      <a:pt x="676" y="684"/>
                      <a:pt x="676" y="684"/>
                    </a:cubicBezTo>
                    <a:cubicBezTo>
                      <a:pt x="674" y="684"/>
                      <a:pt x="674" y="684"/>
                      <a:pt x="674" y="684"/>
                    </a:cubicBezTo>
                    <a:cubicBezTo>
                      <a:pt x="672" y="684"/>
                      <a:pt x="672" y="684"/>
                      <a:pt x="672" y="684"/>
                    </a:cubicBezTo>
                    <a:cubicBezTo>
                      <a:pt x="672" y="685"/>
                      <a:pt x="672" y="685"/>
                      <a:pt x="672" y="685"/>
                    </a:cubicBezTo>
                    <a:cubicBezTo>
                      <a:pt x="672" y="685"/>
                      <a:pt x="672" y="685"/>
                      <a:pt x="672" y="685"/>
                    </a:cubicBezTo>
                    <a:cubicBezTo>
                      <a:pt x="672" y="686"/>
                      <a:pt x="672" y="686"/>
                      <a:pt x="672" y="686"/>
                    </a:cubicBezTo>
                    <a:cubicBezTo>
                      <a:pt x="671" y="688"/>
                      <a:pt x="671" y="688"/>
                      <a:pt x="671" y="688"/>
                    </a:cubicBezTo>
                    <a:cubicBezTo>
                      <a:pt x="670" y="688"/>
                      <a:pt x="670" y="688"/>
                      <a:pt x="670" y="688"/>
                    </a:cubicBezTo>
                    <a:cubicBezTo>
                      <a:pt x="670" y="689"/>
                      <a:pt x="670" y="689"/>
                      <a:pt x="670" y="689"/>
                    </a:cubicBezTo>
                    <a:cubicBezTo>
                      <a:pt x="668" y="692"/>
                      <a:pt x="668" y="692"/>
                      <a:pt x="668" y="692"/>
                    </a:cubicBezTo>
                    <a:cubicBezTo>
                      <a:pt x="667" y="692"/>
                      <a:pt x="667" y="692"/>
                      <a:pt x="667" y="692"/>
                    </a:cubicBezTo>
                    <a:cubicBezTo>
                      <a:pt x="666" y="693"/>
                      <a:pt x="666" y="693"/>
                      <a:pt x="666" y="693"/>
                    </a:cubicBezTo>
                    <a:cubicBezTo>
                      <a:pt x="664" y="694"/>
                      <a:pt x="664" y="694"/>
                      <a:pt x="664" y="694"/>
                    </a:cubicBezTo>
                    <a:cubicBezTo>
                      <a:pt x="663" y="696"/>
                      <a:pt x="663" y="696"/>
                      <a:pt x="663" y="696"/>
                    </a:cubicBezTo>
                    <a:cubicBezTo>
                      <a:pt x="662" y="695"/>
                      <a:pt x="662" y="695"/>
                      <a:pt x="662" y="695"/>
                    </a:cubicBezTo>
                    <a:cubicBezTo>
                      <a:pt x="661" y="696"/>
                      <a:pt x="661" y="696"/>
                      <a:pt x="661" y="696"/>
                    </a:cubicBezTo>
                    <a:cubicBezTo>
                      <a:pt x="659" y="696"/>
                      <a:pt x="659" y="696"/>
                      <a:pt x="659" y="696"/>
                    </a:cubicBezTo>
                    <a:cubicBezTo>
                      <a:pt x="659" y="697"/>
                      <a:pt x="659" y="697"/>
                      <a:pt x="659" y="697"/>
                    </a:cubicBezTo>
                    <a:cubicBezTo>
                      <a:pt x="657" y="698"/>
                      <a:pt x="657" y="698"/>
                      <a:pt x="657" y="698"/>
                    </a:cubicBezTo>
                    <a:cubicBezTo>
                      <a:pt x="656" y="697"/>
                      <a:pt x="656" y="697"/>
                      <a:pt x="656" y="697"/>
                    </a:cubicBezTo>
                    <a:cubicBezTo>
                      <a:pt x="653" y="697"/>
                      <a:pt x="653" y="697"/>
                      <a:pt x="653" y="697"/>
                    </a:cubicBezTo>
                    <a:cubicBezTo>
                      <a:pt x="652" y="696"/>
                      <a:pt x="652" y="696"/>
                      <a:pt x="652" y="696"/>
                    </a:cubicBezTo>
                    <a:cubicBezTo>
                      <a:pt x="650" y="697"/>
                      <a:pt x="650" y="697"/>
                      <a:pt x="650" y="697"/>
                    </a:cubicBezTo>
                    <a:cubicBezTo>
                      <a:pt x="649" y="697"/>
                      <a:pt x="649" y="697"/>
                      <a:pt x="649" y="697"/>
                    </a:cubicBezTo>
                    <a:cubicBezTo>
                      <a:pt x="644" y="699"/>
                      <a:pt x="644" y="699"/>
                      <a:pt x="644" y="699"/>
                    </a:cubicBezTo>
                    <a:cubicBezTo>
                      <a:pt x="643" y="698"/>
                      <a:pt x="643" y="698"/>
                      <a:pt x="643" y="698"/>
                    </a:cubicBezTo>
                    <a:cubicBezTo>
                      <a:pt x="643" y="697"/>
                      <a:pt x="643" y="697"/>
                      <a:pt x="643" y="697"/>
                    </a:cubicBezTo>
                    <a:cubicBezTo>
                      <a:pt x="642" y="697"/>
                      <a:pt x="642" y="697"/>
                      <a:pt x="642" y="697"/>
                    </a:cubicBezTo>
                    <a:cubicBezTo>
                      <a:pt x="640" y="697"/>
                      <a:pt x="640" y="697"/>
                      <a:pt x="640" y="697"/>
                    </a:cubicBezTo>
                    <a:cubicBezTo>
                      <a:pt x="638" y="698"/>
                      <a:pt x="638" y="698"/>
                      <a:pt x="638" y="698"/>
                    </a:cubicBezTo>
                    <a:cubicBezTo>
                      <a:pt x="636" y="696"/>
                      <a:pt x="636" y="696"/>
                      <a:pt x="636" y="696"/>
                    </a:cubicBezTo>
                    <a:cubicBezTo>
                      <a:pt x="635" y="697"/>
                      <a:pt x="635" y="697"/>
                      <a:pt x="635" y="697"/>
                    </a:cubicBezTo>
                    <a:cubicBezTo>
                      <a:pt x="632" y="696"/>
                      <a:pt x="632" y="696"/>
                      <a:pt x="632" y="696"/>
                    </a:cubicBezTo>
                    <a:cubicBezTo>
                      <a:pt x="631" y="695"/>
                      <a:pt x="631" y="695"/>
                      <a:pt x="631" y="695"/>
                    </a:cubicBezTo>
                    <a:cubicBezTo>
                      <a:pt x="630" y="695"/>
                      <a:pt x="630" y="695"/>
                      <a:pt x="630" y="695"/>
                    </a:cubicBezTo>
                    <a:cubicBezTo>
                      <a:pt x="629" y="696"/>
                      <a:pt x="629" y="696"/>
                      <a:pt x="629" y="696"/>
                    </a:cubicBezTo>
                    <a:cubicBezTo>
                      <a:pt x="626" y="696"/>
                      <a:pt x="626" y="696"/>
                      <a:pt x="626" y="696"/>
                    </a:cubicBezTo>
                    <a:cubicBezTo>
                      <a:pt x="623" y="694"/>
                      <a:pt x="623" y="694"/>
                      <a:pt x="623" y="694"/>
                    </a:cubicBezTo>
                    <a:cubicBezTo>
                      <a:pt x="622" y="695"/>
                      <a:pt x="622" y="695"/>
                      <a:pt x="622" y="695"/>
                    </a:cubicBezTo>
                    <a:cubicBezTo>
                      <a:pt x="620" y="695"/>
                      <a:pt x="620" y="695"/>
                      <a:pt x="620" y="695"/>
                    </a:cubicBezTo>
                    <a:cubicBezTo>
                      <a:pt x="619" y="694"/>
                      <a:pt x="619" y="694"/>
                      <a:pt x="619" y="694"/>
                    </a:cubicBezTo>
                    <a:cubicBezTo>
                      <a:pt x="617" y="695"/>
                      <a:pt x="617" y="695"/>
                      <a:pt x="617" y="695"/>
                    </a:cubicBezTo>
                    <a:cubicBezTo>
                      <a:pt x="615" y="695"/>
                      <a:pt x="615" y="695"/>
                      <a:pt x="615" y="695"/>
                    </a:cubicBezTo>
                    <a:cubicBezTo>
                      <a:pt x="614" y="695"/>
                      <a:pt x="614" y="695"/>
                      <a:pt x="614" y="695"/>
                    </a:cubicBezTo>
                    <a:cubicBezTo>
                      <a:pt x="611" y="694"/>
                      <a:pt x="611" y="694"/>
                      <a:pt x="611" y="694"/>
                    </a:cubicBezTo>
                    <a:cubicBezTo>
                      <a:pt x="607" y="695"/>
                      <a:pt x="607" y="695"/>
                      <a:pt x="607" y="695"/>
                    </a:cubicBezTo>
                    <a:cubicBezTo>
                      <a:pt x="605" y="694"/>
                      <a:pt x="605" y="694"/>
                      <a:pt x="605" y="694"/>
                    </a:cubicBezTo>
                    <a:cubicBezTo>
                      <a:pt x="603" y="692"/>
                      <a:pt x="603" y="692"/>
                      <a:pt x="603" y="692"/>
                    </a:cubicBezTo>
                    <a:cubicBezTo>
                      <a:pt x="602" y="693"/>
                      <a:pt x="602" y="693"/>
                      <a:pt x="602" y="693"/>
                    </a:cubicBezTo>
                    <a:cubicBezTo>
                      <a:pt x="601" y="694"/>
                      <a:pt x="601" y="694"/>
                      <a:pt x="601" y="694"/>
                    </a:cubicBezTo>
                    <a:cubicBezTo>
                      <a:pt x="602" y="695"/>
                      <a:pt x="602" y="695"/>
                      <a:pt x="602" y="695"/>
                    </a:cubicBezTo>
                    <a:cubicBezTo>
                      <a:pt x="601" y="696"/>
                      <a:pt x="601" y="696"/>
                      <a:pt x="601" y="696"/>
                    </a:cubicBezTo>
                    <a:cubicBezTo>
                      <a:pt x="599" y="696"/>
                      <a:pt x="599" y="696"/>
                      <a:pt x="599" y="696"/>
                    </a:cubicBezTo>
                    <a:cubicBezTo>
                      <a:pt x="595" y="699"/>
                      <a:pt x="595" y="699"/>
                      <a:pt x="595" y="699"/>
                    </a:cubicBezTo>
                    <a:cubicBezTo>
                      <a:pt x="593" y="700"/>
                      <a:pt x="593" y="700"/>
                      <a:pt x="593" y="700"/>
                    </a:cubicBezTo>
                    <a:cubicBezTo>
                      <a:pt x="593" y="702"/>
                      <a:pt x="593" y="702"/>
                      <a:pt x="593" y="702"/>
                    </a:cubicBezTo>
                    <a:cubicBezTo>
                      <a:pt x="592" y="703"/>
                      <a:pt x="592" y="703"/>
                      <a:pt x="592" y="703"/>
                    </a:cubicBezTo>
                    <a:cubicBezTo>
                      <a:pt x="592" y="705"/>
                      <a:pt x="592" y="705"/>
                      <a:pt x="592" y="705"/>
                    </a:cubicBezTo>
                    <a:cubicBezTo>
                      <a:pt x="591" y="707"/>
                      <a:pt x="591" y="707"/>
                      <a:pt x="591" y="707"/>
                    </a:cubicBezTo>
                    <a:cubicBezTo>
                      <a:pt x="588" y="707"/>
                      <a:pt x="588" y="707"/>
                      <a:pt x="588" y="707"/>
                    </a:cubicBezTo>
                    <a:cubicBezTo>
                      <a:pt x="586" y="708"/>
                      <a:pt x="586" y="708"/>
                      <a:pt x="586" y="708"/>
                    </a:cubicBezTo>
                    <a:cubicBezTo>
                      <a:pt x="583" y="708"/>
                      <a:pt x="583" y="708"/>
                      <a:pt x="583" y="708"/>
                    </a:cubicBezTo>
                    <a:cubicBezTo>
                      <a:pt x="581" y="710"/>
                      <a:pt x="581" y="710"/>
                      <a:pt x="581" y="710"/>
                    </a:cubicBezTo>
                    <a:cubicBezTo>
                      <a:pt x="580" y="711"/>
                      <a:pt x="580" y="711"/>
                      <a:pt x="580" y="711"/>
                    </a:cubicBezTo>
                    <a:cubicBezTo>
                      <a:pt x="580" y="710"/>
                      <a:pt x="580" y="710"/>
                      <a:pt x="580" y="710"/>
                    </a:cubicBezTo>
                    <a:cubicBezTo>
                      <a:pt x="578" y="711"/>
                      <a:pt x="578" y="711"/>
                      <a:pt x="578" y="711"/>
                    </a:cubicBezTo>
                    <a:cubicBezTo>
                      <a:pt x="577" y="713"/>
                      <a:pt x="577" y="713"/>
                      <a:pt x="577" y="713"/>
                    </a:cubicBezTo>
                    <a:cubicBezTo>
                      <a:pt x="575" y="713"/>
                      <a:pt x="575" y="713"/>
                      <a:pt x="575" y="713"/>
                    </a:cubicBezTo>
                    <a:cubicBezTo>
                      <a:pt x="573" y="715"/>
                      <a:pt x="573" y="715"/>
                      <a:pt x="573" y="715"/>
                    </a:cubicBezTo>
                    <a:cubicBezTo>
                      <a:pt x="573" y="716"/>
                      <a:pt x="573" y="716"/>
                      <a:pt x="573" y="716"/>
                    </a:cubicBezTo>
                    <a:cubicBezTo>
                      <a:pt x="572" y="716"/>
                      <a:pt x="572" y="716"/>
                      <a:pt x="572" y="716"/>
                    </a:cubicBezTo>
                    <a:cubicBezTo>
                      <a:pt x="569" y="720"/>
                      <a:pt x="569" y="720"/>
                      <a:pt x="569" y="720"/>
                    </a:cubicBezTo>
                    <a:cubicBezTo>
                      <a:pt x="566" y="722"/>
                      <a:pt x="566" y="722"/>
                      <a:pt x="566" y="722"/>
                    </a:cubicBezTo>
                    <a:cubicBezTo>
                      <a:pt x="565" y="725"/>
                      <a:pt x="565" y="725"/>
                      <a:pt x="565" y="725"/>
                    </a:cubicBezTo>
                    <a:cubicBezTo>
                      <a:pt x="562" y="727"/>
                      <a:pt x="562" y="727"/>
                      <a:pt x="562" y="727"/>
                    </a:cubicBezTo>
                    <a:cubicBezTo>
                      <a:pt x="560" y="729"/>
                      <a:pt x="560" y="729"/>
                      <a:pt x="560" y="729"/>
                    </a:cubicBezTo>
                    <a:cubicBezTo>
                      <a:pt x="558" y="729"/>
                      <a:pt x="558" y="729"/>
                      <a:pt x="558" y="729"/>
                    </a:cubicBezTo>
                    <a:cubicBezTo>
                      <a:pt x="557" y="732"/>
                      <a:pt x="557" y="732"/>
                      <a:pt x="557" y="732"/>
                    </a:cubicBezTo>
                    <a:cubicBezTo>
                      <a:pt x="556" y="734"/>
                      <a:pt x="556" y="734"/>
                      <a:pt x="556" y="734"/>
                    </a:cubicBezTo>
                    <a:cubicBezTo>
                      <a:pt x="551" y="737"/>
                      <a:pt x="551" y="737"/>
                      <a:pt x="551" y="737"/>
                    </a:cubicBezTo>
                    <a:cubicBezTo>
                      <a:pt x="551" y="738"/>
                      <a:pt x="551" y="738"/>
                      <a:pt x="551" y="738"/>
                    </a:cubicBezTo>
                    <a:cubicBezTo>
                      <a:pt x="546" y="740"/>
                      <a:pt x="546" y="740"/>
                      <a:pt x="546" y="740"/>
                    </a:cubicBezTo>
                    <a:cubicBezTo>
                      <a:pt x="543" y="741"/>
                      <a:pt x="543" y="741"/>
                      <a:pt x="543" y="741"/>
                    </a:cubicBezTo>
                    <a:cubicBezTo>
                      <a:pt x="545" y="741"/>
                      <a:pt x="545" y="741"/>
                      <a:pt x="545" y="741"/>
                    </a:cubicBezTo>
                    <a:cubicBezTo>
                      <a:pt x="550" y="739"/>
                      <a:pt x="550" y="739"/>
                      <a:pt x="550" y="739"/>
                    </a:cubicBezTo>
                    <a:cubicBezTo>
                      <a:pt x="555" y="737"/>
                      <a:pt x="555" y="737"/>
                      <a:pt x="555" y="737"/>
                    </a:cubicBezTo>
                    <a:cubicBezTo>
                      <a:pt x="558" y="735"/>
                      <a:pt x="558" y="735"/>
                      <a:pt x="558" y="735"/>
                    </a:cubicBezTo>
                    <a:cubicBezTo>
                      <a:pt x="561" y="731"/>
                      <a:pt x="561" y="731"/>
                      <a:pt x="561" y="731"/>
                    </a:cubicBezTo>
                    <a:cubicBezTo>
                      <a:pt x="563" y="729"/>
                      <a:pt x="563" y="729"/>
                      <a:pt x="563" y="729"/>
                    </a:cubicBezTo>
                    <a:cubicBezTo>
                      <a:pt x="564" y="728"/>
                      <a:pt x="564" y="728"/>
                      <a:pt x="564" y="728"/>
                    </a:cubicBezTo>
                    <a:cubicBezTo>
                      <a:pt x="569" y="724"/>
                      <a:pt x="569" y="724"/>
                      <a:pt x="569" y="724"/>
                    </a:cubicBezTo>
                    <a:cubicBezTo>
                      <a:pt x="576" y="719"/>
                      <a:pt x="576" y="719"/>
                      <a:pt x="576" y="719"/>
                    </a:cubicBezTo>
                    <a:cubicBezTo>
                      <a:pt x="580" y="716"/>
                      <a:pt x="580" y="716"/>
                      <a:pt x="580" y="716"/>
                    </a:cubicBezTo>
                    <a:cubicBezTo>
                      <a:pt x="583" y="716"/>
                      <a:pt x="583" y="716"/>
                      <a:pt x="583" y="716"/>
                    </a:cubicBezTo>
                    <a:cubicBezTo>
                      <a:pt x="585" y="714"/>
                      <a:pt x="585" y="714"/>
                      <a:pt x="585" y="714"/>
                    </a:cubicBezTo>
                    <a:cubicBezTo>
                      <a:pt x="590" y="713"/>
                      <a:pt x="590" y="713"/>
                      <a:pt x="590" y="713"/>
                    </a:cubicBezTo>
                    <a:cubicBezTo>
                      <a:pt x="596" y="711"/>
                      <a:pt x="596" y="711"/>
                      <a:pt x="596" y="711"/>
                    </a:cubicBezTo>
                    <a:cubicBezTo>
                      <a:pt x="598" y="711"/>
                      <a:pt x="598" y="711"/>
                      <a:pt x="598" y="711"/>
                    </a:cubicBezTo>
                    <a:cubicBezTo>
                      <a:pt x="600" y="710"/>
                      <a:pt x="600" y="710"/>
                      <a:pt x="600" y="710"/>
                    </a:cubicBezTo>
                    <a:cubicBezTo>
                      <a:pt x="607" y="710"/>
                      <a:pt x="607" y="710"/>
                      <a:pt x="607" y="710"/>
                    </a:cubicBezTo>
                    <a:cubicBezTo>
                      <a:pt x="610" y="712"/>
                      <a:pt x="610" y="712"/>
                      <a:pt x="610" y="712"/>
                    </a:cubicBezTo>
                    <a:cubicBezTo>
                      <a:pt x="614" y="714"/>
                      <a:pt x="614" y="714"/>
                      <a:pt x="614" y="714"/>
                    </a:cubicBezTo>
                    <a:cubicBezTo>
                      <a:pt x="614" y="715"/>
                      <a:pt x="614" y="715"/>
                      <a:pt x="614" y="715"/>
                    </a:cubicBezTo>
                    <a:cubicBezTo>
                      <a:pt x="611" y="714"/>
                      <a:pt x="611" y="714"/>
                      <a:pt x="611" y="714"/>
                    </a:cubicBezTo>
                    <a:cubicBezTo>
                      <a:pt x="611" y="715"/>
                      <a:pt x="611" y="715"/>
                      <a:pt x="611" y="715"/>
                    </a:cubicBezTo>
                    <a:cubicBezTo>
                      <a:pt x="611" y="715"/>
                      <a:pt x="611" y="715"/>
                      <a:pt x="611" y="715"/>
                    </a:cubicBezTo>
                    <a:cubicBezTo>
                      <a:pt x="613" y="715"/>
                      <a:pt x="613" y="715"/>
                      <a:pt x="613" y="715"/>
                    </a:cubicBezTo>
                    <a:cubicBezTo>
                      <a:pt x="615" y="716"/>
                      <a:pt x="615" y="716"/>
                      <a:pt x="615" y="716"/>
                    </a:cubicBezTo>
                    <a:cubicBezTo>
                      <a:pt x="616" y="717"/>
                      <a:pt x="616" y="717"/>
                      <a:pt x="616" y="717"/>
                    </a:cubicBezTo>
                    <a:cubicBezTo>
                      <a:pt x="614" y="718"/>
                      <a:pt x="614" y="718"/>
                      <a:pt x="614" y="718"/>
                    </a:cubicBezTo>
                    <a:cubicBezTo>
                      <a:pt x="615" y="719"/>
                      <a:pt x="615" y="719"/>
                      <a:pt x="615" y="719"/>
                    </a:cubicBezTo>
                    <a:cubicBezTo>
                      <a:pt x="614" y="722"/>
                      <a:pt x="614" y="722"/>
                      <a:pt x="614" y="722"/>
                    </a:cubicBezTo>
                    <a:cubicBezTo>
                      <a:pt x="612" y="722"/>
                      <a:pt x="612" y="722"/>
                      <a:pt x="612" y="722"/>
                    </a:cubicBezTo>
                    <a:cubicBezTo>
                      <a:pt x="610" y="724"/>
                      <a:pt x="610" y="724"/>
                      <a:pt x="610" y="724"/>
                    </a:cubicBezTo>
                    <a:cubicBezTo>
                      <a:pt x="608" y="724"/>
                      <a:pt x="608" y="724"/>
                      <a:pt x="608" y="724"/>
                    </a:cubicBezTo>
                    <a:cubicBezTo>
                      <a:pt x="606" y="726"/>
                      <a:pt x="606" y="726"/>
                      <a:pt x="606" y="726"/>
                    </a:cubicBezTo>
                    <a:cubicBezTo>
                      <a:pt x="604" y="726"/>
                      <a:pt x="604" y="726"/>
                      <a:pt x="604" y="726"/>
                    </a:cubicBezTo>
                    <a:cubicBezTo>
                      <a:pt x="602" y="725"/>
                      <a:pt x="602" y="725"/>
                      <a:pt x="602" y="725"/>
                    </a:cubicBezTo>
                    <a:cubicBezTo>
                      <a:pt x="600" y="724"/>
                      <a:pt x="600" y="724"/>
                      <a:pt x="600" y="724"/>
                    </a:cubicBezTo>
                    <a:cubicBezTo>
                      <a:pt x="599" y="725"/>
                      <a:pt x="599" y="725"/>
                      <a:pt x="599" y="725"/>
                    </a:cubicBezTo>
                    <a:cubicBezTo>
                      <a:pt x="596" y="725"/>
                      <a:pt x="596" y="725"/>
                      <a:pt x="596" y="725"/>
                    </a:cubicBezTo>
                    <a:cubicBezTo>
                      <a:pt x="594" y="725"/>
                      <a:pt x="594" y="725"/>
                      <a:pt x="594" y="725"/>
                    </a:cubicBezTo>
                    <a:cubicBezTo>
                      <a:pt x="592" y="726"/>
                      <a:pt x="592" y="726"/>
                      <a:pt x="592" y="726"/>
                    </a:cubicBezTo>
                    <a:cubicBezTo>
                      <a:pt x="594" y="726"/>
                      <a:pt x="594" y="726"/>
                      <a:pt x="594" y="726"/>
                    </a:cubicBezTo>
                    <a:cubicBezTo>
                      <a:pt x="597" y="726"/>
                      <a:pt x="597" y="726"/>
                      <a:pt x="597" y="726"/>
                    </a:cubicBezTo>
                    <a:cubicBezTo>
                      <a:pt x="601" y="727"/>
                      <a:pt x="601" y="727"/>
                      <a:pt x="601" y="727"/>
                    </a:cubicBezTo>
                    <a:cubicBezTo>
                      <a:pt x="601" y="729"/>
                      <a:pt x="601" y="729"/>
                      <a:pt x="601" y="729"/>
                    </a:cubicBezTo>
                    <a:cubicBezTo>
                      <a:pt x="602" y="730"/>
                      <a:pt x="602" y="730"/>
                      <a:pt x="602" y="730"/>
                    </a:cubicBezTo>
                    <a:cubicBezTo>
                      <a:pt x="604" y="729"/>
                      <a:pt x="604" y="729"/>
                      <a:pt x="604" y="729"/>
                    </a:cubicBezTo>
                    <a:cubicBezTo>
                      <a:pt x="606" y="728"/>
                      <a:pt x="606" y="728"/>
                      <a:pt x="606" y="728"/>
                    </a:cubicBezTo>
                    <a:cubicBezTo>
                      <a:pt x="608" y="728"/>
                      <a:pt x="608" y="728"/>
                      <a:pt x="608" y="728"/>
                    </a:cubicBezTo>
                    <a:cubicBezTo>
                      <a:pt x="609" y="729"/>
                      <a:pt x="609" y="729"/>
                      <a:pt x="609" y="729"/>
                    </a:cubicBezTo>
                    <a:cubicBezTo>
                      <a:pt x="610" y="729"/>
                      <a:pt x="610" y="729"/>
                      <a:pt x="610" y="729"/>
                    </a:cubicBezTo>
                    <a:cubicBezTo>
                      <a:pt x="610" y="730"/>
                      <a:pt x="610" y="730"/>
                      <a:pt x="610" y="730"/>
                    </a:cubicBezTo>
                    <a:cubicBezTo>
                      <a:pt x="609" y="732"/>
                      <a:pt x="609" y="732"/>
                      <a:pt x="609" y="732"/>
                    </a:cubicBezTo>
                    <a:cubicBezTo>
                      <a:pt x="606" y="737"/>
                      <a:pt x="606" y="737"/>
                      <a:pt x="606" y="737"/>
                    </a:cubicBezTo>
                    <a:cubicBezTo>
                      <a:pt x="605" y="737"/>
                      <a:pt x="605" y="737"/>
                      <a:pt x="605" y="737"/>
                    </a:cubicBezTo>
                    <a:cubicBezTo>
                      <a:pt x="604" y="738"/>
                      <a:pt x="604" y="738"/>
                      <a:pt x="604" y="738"/>
                    </a:cubicBezTo>
                    <a:cubicBezTo>
                      <a:pt x="607" y="738"/>
                      <a:pt x="607" y="738"/>
                      <a:pt x="607" y="738"/>
                    </a:cubicBezTo>
                    <a:cubicBezTo>
                      <a:pt x="607" y="739"/>
                      <a:pt x="607" y="739"/>
                      <a:pt x="607" y="739"/>
                    </a:cubicBezTo>
                    <a:cubicBezTo>
                      <a:pt x="606" y="741"/>
                      <a:pt x="606" y="741"/>
                      <a:pt x="606" y="741"/>
                    </a:cubicBezTo>
                    <a:cubicBezTo>
                      <a:pt x="608" y="742"/>
                      <a:pt x="608" y="742"/>
                      <a:pt x="608" y="742"/>
                    </a:cubicBezTo>
                    <a:cubicBezTo>
                      <a:pt x="607" y="744"/>
                      <a:pt x="607" y="744"/>
                      <a:pt x="607" y="744"/>
                    </a:cubicBezTo>
                    <a:cubicBezTo>
                      <a:pt x="608" y="747"/>
                      <a:pt x="608" y="747"/>
                      <a:pt x="608" y="747"/>
                    </a:cubicBezTo>
                    <a:cubicBezTo>
                      <a:pt x="608" y="747"/>
                      <a:pt x="608" y="747"/>
                      <a:pt x="608" y="747"/>
                    </a:cubicBezTo>
                    <a:cubicBezTo>
                      <a:pt x="609" y="750"/>
                      <a:pt x="609" y="750"/>
                      <a:pt x="609" y="750"/>
                    </a:cubicBezTo>
                    <a:cubicBezTo>
                      <a:pt x="611" y="750"/>
                      <a:pt x="611" y="750"/>
                      <a:pt x="611" y="750"/>
                    </a:cubicBezTo>
                    <a:cubicBezTo>
                      <a:pt x="612" y="751"/>
                      <a:pt x="612" y="751"/>
                      <a:pt x="612" y="751"/>
                    </a:cubicBezTo>
                    <a:cubicBezTo>
                      <a:pt x="615" y="751"/>
                      <a:pt x="615" y="751"/>
                      <a:pt x="615" y="751"/>
                    </a:cubicBezTo>
                    <a:cubicBezTo>
                      <a:pt x="615" y="752"/>
                      <a:pt x="615" y="752"/>
                      <a:pt x="615" y="752"/>
                    </a:cubicBezTo>
                    <a:cubicBezTo>
                      <a:pt x="612" y="753"/>
                      <a:pt x="612" y="753"/>
                      <a:pt x="612" y="753"/>
                    </a:cubicBezTo>
                    <a:cubicBezTo>
                      <a:pt x="615" y="755"/>
                      <a:pt x="615" y="755"/>
                      <a:pt x="615" y="755"/>
                    </a:cubicBezTo>
                    <a:cubicBezTo>
                      <a:pt x="618" y="755"/>
                      <a:pt x="618" y="755"/>
                      <a:pt x="618" y="755"/>
                    </a:cubicBezTo>
                    <a:cubicBezTo>
                      <a:pt x="620" y="756"/>
                      <a:pt x="620" y="756"/>
                      <a:pt x="620" y="756"/>
                    </a:cubicBezTo>
                    <a:cubicBezTo>
                      <a:pt x="621" y="755"/>
                      <a:pt x="621" y="755"/>
                      <a:pt x="621" y="755"/>
                    </a:cubicBezTo>
                    <a:cubicBezTo>
                      <a:pt x="623" y="756"/>
                      <a:pt x="623" y="756"/>
                      <a:pt x="623" y="756"/>
                    </a:cubicBezTo>
                    <a:cubicBezTo>
                      <a:pt x="624" y="757"/>
                      <a:pt x="624" y="757"/>
                      <a:pt x="624" y="757"/>
                    </a:cubicBezTo>
                    <a:cubicBezTo>
                      <a:pt x="627" y="758"/>
                      <a:pt x="627" y="758"/>
                      <a:pt x="627" y="758"/>
                    </a:cubicBezTo>
                    <a:cubicBezTo>
                      <a:pt x="628" y="757"/>
                      <a:pt x="628" y="757"/>
                      <a:pt x="628" y="757"/>
                    </a:cubicBezTo>
                    <a:cubicBezTo>
                      <a:pt x="631" y="755"/>
                      <a:pt x="631" y="755"/>
                      <a:pt x="631" y="755"/>
                    </a:cubicBezTo>
                    <a:cubicBezTo>
                      <a:pt x="631" y="756"/>
                      <a:pt x="631" y="756"/>
                      <a:pt x="631" y="756"/>
                    </a:cubicBezTo>
                    <a:cubicBezTo>
                      <a:pt x="630" y="757"/>
                      <a:pt x="630" y="757"/>
                      <a:pt x="630" y="757"/>
                    </a:cubicBezTo>
                    <a:cubicBezTo>
                      <a:pt x="633" y="758"/>
                      <a:pt x="633" y="758"/>
                      <a:pt x="633" y="758"/>
                    </a:cubicBezTo>
                    <a:cubicBezTo>
                      <a:pt x="636" y="759"/>
                      <a:pt x="636" y="759"/>
                      <a:pt x="636" y="759"/>
                    </a:cubicBezTo>
                    <a:cubicBezTo>
                      <a:pt x="636" y="760"/>
                      <a:pt x="636" y="760"/>
                      <a:pt x="636" y="760"/>
                    </a:cubicBezTo>
                    <a:cubicBezTo>
                      <a:pt x="635" y="761"/>
                      <a:pt x="635" y="761"/>
                      <a:pt x="635" y="761"/>
                    </a:cubicBezTo>
                    <a:cubicBezTo>
                      <a:pt x="634" y="761"/>
                      <a:pt x="634" y="761"/>
                      <a:pt x="634" y="761"/>
                    </a:cubicBezTo>
                    <a:cubicBezTo>
                      <a:pt x="636" y="762"/>
                      <a:pt x="636" y="762"/>
                      <a:pt x="636" y="762"/>
                    </a:cubicBezTo>
                    <a:cubicBezTo>
                      <a:pt x="638" y="762"/>
                      <a:pt x="638" y="762"/>
                      <a:pt x="638" y="762"/>
                    </a:cubicBezTo>
                    <a:cubicBezTo>
                      <a:pt x="638" y="763"/>
                      <a:pt x="638" y="763"/>
                      <a:pt x="638" y="763"/>
                    </a:cubicBezTo>
                    <a:cubicBezTo>
                      <a:pt x="637" y="764"/>
                      <a:pt x="637" y="764"/>
                      <a:pt x="637" y="764"/>
                    </a:cubicBezTo>
                    <a:cubicBezTo>
                      <a:pt x="636" y="763"/>
                      <a:pt x="636" y="763"/>
                      <a:pt x="636" y="763"/>
                    </a:cubicBezTo>
                    <a:cubicBezTo>
                      <a:pt x="634" y="763"/>
                      <a:pt x="634" y="763"/>
                      <a:pt x="634" y="763"/>
                    </a:cubicBezTo>
                    <a:cubicBezTo>
                      <a:pt x="631" y="764"/>
                      <a:pt x="631" y="764"/>
                      <a:pt x="631" y="764"/>
                    </a:cubicBezTo>
                    <a:cubicBezTo>
                      <a:pt x="627" y="767"/>
                      <a:pt x="627" y="767"/>
                      <a:pt x="627" y="767"/>
                    </a:cubicBezTo>
                    <a:cubicBezTo>
                      <a:pt x="625" y="767"/>
                      <a:pt x="625" y="767"/>
                      <a:pt x="625" y="767"/>
                    </a:cubicBezTo>
                    <a:cubicBezTo>
                      <a:pt x="622" y="768"/>
                      <a:pt x="622" y="768"/>
                      <a:pt x="622" y="768"/>
                    </a:cubicBezTo>
                    <a:cubicBezTo>
                      <a:pt x="619" y="768"/>
                      <a:pt x="619" y="768"/>
                      <a:pt x="619" y="768"/>
                    </a:cubicBezTo>
                    <a:cubicBezTo>
                      <a:pt x="616" y="770"/>
                      <a:pt x="616" y="770"/>
                      <a:pt x="616" y="770"/>
                    </a:cubicBezTo>
                    <a:cubicBezTo>
                      <a:pt x="614" y="770"/>
                      <a:pt x="614" y="770"/>
                      <a:pt x="614" y="770"/>
                    </a:cubicBezTo>
                    <a:cubicBezTo>
                      <a:pt x="614" y="771"/>
                      <a:pt x="614" y="771"/>
                      <a:pt x="614" y="771"/>
                    </a:cubicBezTo>
                    <a:cubicBezTo>
                      <a:pt x="612" y="771"/>
                      <a:pt x="612" y="771"/>
                      <a:pt x="612" y="771"/>
                    </a:cubicBezTo>
                    <a:cubicBezTo>
                      <a:pt x="611" y="769"/>
                      <a:pt x="611" y="769"/>
                      <a:pt x="611" y="769"/>
                    </a:cubicBezTo>
                    <a:cubicBezTo>
                      <a:pt x="610" y="768"/>
                      <a:pt x="610" y="768"/>
                      <a:pt x="610" y="768"/>
                    </a:cubicBezTo>
                    <a:cubicBezTo>
                      <a:pt x="609" y="770"/>
                      <a:pt x="609" y="770"/>
                      <a:pt x="609" y="770"/>
                    </a:cubicBezTo>
                    <a:cubicBezTo>
                      <a:pt x="608" y="769"/>
                      <a:pt x="608" y="769"/>
                      <a:pt x="608" y="769"/>
                    </a:cubicBezTo>
                    <a:cubicBezTo>
                      <a:pt x="607" y="772"/>
                      <a:pt x="607" y="772"/>
                      <a:pt x="607" y="772"/>
                    </a:cubicBezTo>
                    <a:cubicBezTo>
                      <a:pt x="607" y="773"/>
                      <a:pt x="607" y="773"/>
                      <a:pt x="607" y="773"/>
                    </a:cubicBezTo>
                    <a:cubicBezTo>
                      <a:pt x="605" y="775"/>
                      <a:pt x="605" y="775"/>
                      <a:pt x="605" y="775"/>
                    </a:cubicBezTo>
                    <a:cubicBezTo>
                      <a:pt x="602" y="779"/>
                      <a:pt x="602" y="779"/>
                      <a:pt x="602" y="779"/>
                    </a:cubicBezTo>
                    <a:cubicBezTo>
                      <a:pt x="600" y="779"/>
                      <a:pt x="600" y="779"/>
                      <a:pt x="600" y="779"/>
                    </a:cubicBezTo>
                    <a:cubicBezTo>
                      <a:pt x="598" y="781"/>
                      <a:pt x="598" y="781"/>
                      <a:pt x="598" y="781"/>
                    </a:cubicBezTo>
                    <a:cubicBezTo>
                      <a:pt x="597" y="781"/>
                      <a:pt x="597" y="781"/>
                      <a:pt x="597" y="781"/>
                    </a:cubicBezTo>
                    <a:cubicBezTo>
                      <a:pt x="596" y="781"/>
                      <a:pt x="596" y="781"/>
                      <a:pt x="596" y="781"/>
                    </a:cubicBezTo>
                    <a:cubicBezTo>
                      <a:pt x="596" y="783"/>
                      <a:pt x="596" y="783"/>
                      <a:pt x="596" y="783"/>
                    </a:cubicBezTo>
                    <a:cubicBezTo>
                      <a:pt x="595" y="784"/>
                      <a:pt x="595" y="784"/>
                      <a:pt x="595" y="784"/>
                    </a:cubicBezTo>
                    <a:cubicBezTo>
                      <a:pt x="594" y="783"/>
                      <a:pt x="594" y="783"/>
                      <a:pt x="594" y="783"/>
                    </a:cubicBezTo>
                    <a:cubicBezTo>
                      <a:pt x="593" y="783"/>
                      <a:pt x="593" y="783"/>
                      <a:pt x="593" y="783"/>
                    </a:cubicBezTo>
                    <a:cubicBezTo>
                      <a:pt x="591" y="782"/>
                      <a:pt x="591" y="782"/>
                      <a:pt x="591" y="782"/>
                    </a:cubicBezTo>
                    <a:cubicBezTo>
                      <a:pt x="591" y="780"/>
                      <a:pt x="591" y="780"/>
                      <a:pt x="591" y="780"/>
                    </a:cubicBezTo>
                    <a:cubicBezTo>
                      <a:pt x="590" y="779"/>
                      <a:pt x="590" y="779"/>
                      <a:pt x="590" y="779"/>
                    </a:cubicBezTo>
                    <a:cubicBezTo>
                      <a:pt x="589" y="780"/>
                      <a:pt x="589" y="780"/>
                      <a:pt x="589" y="780"/>
                    </a:cubicBezTo>
                    <a:cubicBezTo>
                      <a:pt x="589" y="778"/>
                      <a:pt x="589" y="778"/>
                      <a:pt x="589" y="778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8" y="774"/>
                      <a:pt x="588" y="774"/>
                      <a:pt x="588" y="774"/>
                    </a:cubicBezTo>
                    <a:cubicBezTo>
                      <a:pt x="590" y="771"/>
                      <a:pt x="590" y="771"/>
                      <a:pt x="590" y="771"/>
                    </a:cubicBezTo>
                    <a:cubicBezTo>
                      <a:pt x="592" y="769"/>
                      <a:pt x="592" y="769"/>
                      <a:pt x="592" y="769"/>
                    </a:cubicBezTo>
                    <a:cubicBezTo>
                      <a:pt x="593" y="767"/>
                      <a:pt x="593" y="767"/>
                      <a:pt x="593" y="767"/>
                    </a:cubicBezTo>
                    <a:cubicBezTo>
                      <a:pt x="596" y="765"/>
                      <a:pt x="596" y="765"/>
                      <a:pt x="596" y="765"/>
                    </a:cubicBezTo>
                    <a:cubicBezTo>
                      <a:pt x="600" y="764"/>
                      <a:pt x="600" y="764"/>
                      <a:pt x="600" y="764"/>
                    </a:cubicBezTo>
                    <a:cubicBezTo>
                      <a:pt x="604" y="762"/>
                      <a:pt x="604" y="762"/>
                      <a:pt x="604" y="762"/>
                    </a:cubicBezTo>
                    <a:cubicBezTo>
                      <a:pt x="607" y="761"/>
                      <a:pt x="607" y="761"/>
                      <a:pt x="607" y="761"/>
                    </a:cubicBezTo>
                    <a:cubicBezTo>
                      <a:pt x="608" y="762"/>
                      <a:pt x="608" y="762"/>
                      <a:pt x="608" y="762"/>
                    </a:cubicBezTo>
                    <a:cubicBezTo>
                      <a:pt x="608" y="763"/>
                      <a:pt x="608" y="763"/>
                      <a:pt x="608" y="763"/>
                    </a:cubicBezTo>
                    <a:cubicBezTo>
                      <a:pt x="609" y="764"/>
                      <a:pt x="609" y="764"/>
                      <a:pt x="609" y="764"/>
                    </a:cubicBezTo>
                    <a:cubicBezTo>
                      <a:pt x="609" y="763"/>
                      <a:pt x="609" y="763"/>
                      <a:pt x="609" y="763"/>
                    </a:cubicBezTo>
                    <a:cubicBezTo>
                      <a:pt x="609" y="762"/>
                      <a:pt x="609" y="762"/>
                      <a:pt x="609" y="762"/>
                    </a:cubicBezTo>
                    <a:cubicBezTo>
                      <a:pt x="611" y="762"/>
                      <a:pt x="611" y="762"/>
                      <a:pt x="611" y="762"/>
                    </a:cubicBezTo>
                    <a:cubicBezTo>
                      <a:pt x="614" y="762"/>
                      <a:pt x="614" y="762"/>
                      <a:pt x="614" y="762"/>
                    </a:cubicBezTo>
                    <a:cubicBezTo>
                      <a:pt x="616" y="760"/>
                      <a:pt x="616" y="760"/>
                      <a:pt x="616" y="760"/>
                    </a:cubicBezTo>
                    <a:cubicBezTo>
                      <a:pt x="613" y="761"/>
                      <a:pt x="613" y="761"/>
                      <a:pt x="613" y="761"/>
                    </a:cubicBezTo>
                    <a:cubicBezTo>
                      <a:pt x="609" y="760"/>
                      <a:pt x="609" y="760"/>
                      <a:pt x="609" y="760"/>
                    </a:cubicBezTo>
                    <a:cubicBezTo>
                      <a:pt x="608" y="759"/>
                      <a:pt x="608" y="759"/>
                      <a:pt x="608" y="759"/>
                    </a:cubicBezTo>
                    <a:cubicBezTo>
                      <a:pt x="606" y="759"/>
                      <a:pt x="606" y="759"/>
                      <a:pt x="606" y="759"/>
                    </a:cubicBezTo>
                    <a:cubicBezTo>
                      <a:pt x="605" y="761"/>
                      <a:pt x="605" y="761"/>
                      <a:pt x="605" y="761"/>
                    </a:cubicBezTo>
                    <a:cubicBezTo>
                      <a:pt x="602" y="760"/>
                      <a:pt x="602" y="760"/>
                      <a:pt x="602" y="760"/>
                    </a:cubicBezTo>
                    <a:cubicBezTo>
                      <a:pt x="604" y="758"/>
                      <a:pt x="604" y="758"/>
                      <a:pt x="604" y="758"/>
                    </a:cubicBezTo>
                    <a:cubicBezTo>
                      <a:pt x="606" y="757"/>
                      <a:pt x="606" y="757"/>
                      <a:pt x="606" y="757"/>
                    </a:cubicBezTo>
                    <a:cubicBezTo>
                      <a:pt x="608" y="755"/>
                      <a:pt x="608" y="755"/>
                      <a:pt x="608" y="755"/>
                    </a:cubicBezTo>
                    <a:cubicBezTo>
                      <a:pt x="608" y="754"/>
                      <a:pt x="608" y="754"/>
                      <a:pt x="608" y="754"/>
                    </a:cubicBezTo>
                    <a:cubicBezTo>
                      <a:pt x="607" y="755"/>
                      <a:pt x="607" y="755"/>
                      <a:pt x="607" y="755"/>
                    </a:cubicBezTo>
                    <a:cubicBezTo>
                      <a:pt x="607" y="754"/>
                      <a:pt x="607" y="754"/>
                      <a:pt x="607" y="754"/>
                    </a:cubicBezTo>
                    <a:cubicBezTo>
                      <a:pt x="605" y="757"/>
                      <a:pt x="605" y="757"/>
                      <a:pt x="605" y="757"/>
                    </a:cubicBezTo>
                    <a:cubicBezTo>
                      <a:pt x="603" y="757"/>
                      <a:pt x="603" y="757"/>
                      <a:pt x="603" y="757"/>
                    </a:cubicBezTo>
                    <a:cubicBezTo>
                      <a:pt x="601" y="759"/>
                      <a:pt x="601" y="759"/>
                      <a:pt x="601" y="759"/>
                    </a:cubicBezTo>
                    <a:cubicBezTo>
                      <a:pt x="599" y="760"/>
                      <a:pt x="599" y="760"/>
                      <a:pt x="599" y="760"/>
                    </a:cubicBezTo>
                    <a:cubicBezTo>
                      <a:pt x="598" y="761"/>
                      <a:pt x="598" y="761"/>
                      <a:pt x="598" y="761"/>
                    </a:cubicBezTo>
                    <a:cubicBezTo>
                      <a:pt x="594" y="762"/>
                      <a:pt x="594" y="762"/>
                      <a:pt x="594" y="762"/>
                    </a:cubicBezTo>
                    <a:cubicBezTo>
                      <a:pt x="593" y="761"/>
                      <a:pt x="593" y="761"/>
                      <a:pt x="593" y="761"/>
                    </a:cubicBezTo>
                    <a:cubicBezTo>
                      <a:pt x="593" y="760"/>
                      <a:pt x="593" y="760"/>
                      <a:pt x="593" y="760"/>
                    </a:cubicBezTo>
                    <a:cubicBezTo>
                      <a:pt x="593" y="760"/>
                      <a:pt x="593" y="760"/>
                      <a:pt x="593" y="760"/>
                    </a:cubicBezTo>
                    <a:cubicBezTo>
                      <a:pt x="594" y="758"/>
                      <a:pt x="594" y="758"/>
                      <a:pt x="594" y="758"/>
                    </a:cubicBezTo>
                    <a:cubicBezTo>
                      <a:pt x="592" y="760"/>
                      <a:pt x="592" y="760"/>
                      <a:pt x="592" y="760"/>
                    </a:cubicBezTo>
                    <a:cubicBezTo>
                      <a:pt x="591" y="762"/>
                      <a:pt x="591" y="762"/>
                      <a:pt x="591" y="762"/>
                    </a:cubicBezTo>
                    <a:cubicBezTo>
                      <a:pt x="589" y="763"/>
                      <a:pt x="589" y="763"/>
                      <a:pt x="589" y="763"/>
                    </a:cubicBezTo>
                    <a:cubicBezTo>
                      <a:pt x="587" y="762"/>
                      <a:pt x="587" y="762"/>
                      <a:pt x="587" y="762"/>
                    </a:cubicBezTo>
                    <a:cubicBezTo>
                      <a:pt x="587" y="763"/>
                      <a:pt x="587" y="763"/>
                      <a:pt x="587" y="763"/>
                    </a:cubicBezTo>
                    <a:cubicBezTo>
                      <a:pt x="585" y="763"/>
                      <a:pt x="585" y="763"/>
                      <a:pt x="585" y="763"/>
                    </a:cubicBezTo>
                    <a:cubicBezTo>
                      <a:pt x="585" y="762"/>
                      <a:pt x="585" y="762"/>
                      <a:pt x="585" y="762"/>
                    </a:cubicBezTo>
                    <a:cubicBezTo>
                      <a:pt x="583" y="762"/>
                      <a:pt x="583" y="762"/>
                      <a:pt x="583" y="762"/>
                    </a:cubicBezTo>
                    <a:cubicBezTo>
                      <a:pt x="580" y="761"/>
                      <a:pt x="580" y="761"/>
                      <a:pt x="580" y="761"/>
                    </a:cubicBezTo>
                    <a:cubicBezTo>
                      <a:pt x="580" y="761"/>
                      <a:pt x="580" y="761"/>
                      <a:pt x="580" y="761"/>
                    </a:cubicBezTo>
                    <a:cubicBezTo>
                      <a:pt x="579" y="761"/>
                      <a:pt x="579" y="761"/>
                      <a:pt x="579" y="761"/>
                    </a:cubicBezTo>
                    <a:cubicBezTo>
                      <a:pt x="580" y="760"/>
                      <a:pt x="580" y="760"/>
                      <a:pt x="580" y="760"/>
                    </a:cubicBezTo>
                    <a:cubicBezTo>
                      <a:pt x="580" y="759"/>
                      <a:pt x="580" y="759"/>
                      <a:pt x="580" y="759"/>
                    </a:cubicBezTo>
                    <a:cubicBezTo>
                      <a:pt x="580" y="758"/>
                      <a:pt x="580" y="758"/>
                      <a:pt x="580" y="758"/>
                    </a:cubicBezTo>
                    <a:cubicBezTo>
                      <a:pt x="580" y="756"/>
                      <a:pt x="580" y="756"/>
                      <a:pt x="580" y="756"/>
                    </a:cubicBezTo>
                    <a:cubicBezTo>
                      <a:pt x="579" y="755"/>
                      <a:pt x="579" y="755"/>
                      <a:pt x="579" y="755"/>
                    </a:cubicBezTo>
                    <a:cubicBezTo>
                      <a:pt x="579" y="754"/>
                      <a:pt x="579" y="754"/>
                      <a:pt x="579" y="754"/>
                    </a:cubicBezTo>
                    <a:cubicBezTo>
                      <a:pt x="578" y="754"/>
                      <a:pt x="578" y="754"/>
                      <a:pt x="578" y="754"/>
                    </a:cubicBezTo>
                    <a:cubicBezTo>
                      <a:pt x="578" y="752"/>
                      <a:pt x="578" y="752"/>
                      <a:pt x="578" y="752"/>
                    </a:cubicBezTo>
                    <a:cubicBezTo>
                      <a:pt x="580" y="740"/>
                      <a:pt x="580" y="740"/>
                      <a:pt x="580" y="740"/>
                    </a:cubicBezTo>
                    <a:cubicBezTo>
                      <a:pt x="580" y="737"/>
                      <a:pt x="580" y="737"/>
                      <a:pt x="580" y="737"/>
                    </a:cubicBezTo>
                    <a:cubicBezTo>
                      <a:pt x="576" y="733"/>
                      <a:pt x="576" y="733"/>
                      <a:pt x="576" y="733"/>
                    </a:cubicBezTo>
                    <a:cubicBezTo>
                      <a:pt x="576" y="734"/>
                      <a:pt x="576" y="734"/>
                      <a:pt x="576" y="734"/>
                    </a:cubicBezTo>
                    <a:cubicBezTo>
                      <a:pt x="573" y="733"/>
                      <a:pt x="573" y="733"/>
                      <a:pt x="573" y="733"/>
                    </a:cubicBezTo>
                    <a:cubicBezTo>
                      <a:pt x="571" y="733"/>
                      <a:pt x="571" y="733"/>
                      <a:pt x="571" y="733"/>
                    </a:cubicBezTo>
                    <a:cubicBezTo>
                      <a:pt x="569" y="732"/>
                      <a:pt x="569" y="732"/>
                      <a:pt x="569" y="732"/>
                    </a:cubicBezTo>
                    <a:cubicBezTo>
                      <a:pt x="568" y="731"/>
                      <a:pt x="568" y="731"/>
                      <a:pt x="568" y="731"/>
                    </a:cubicBezTo>
                    <a:cubicBezTo>
                      <a:pt x="568" y="732"/>
                      <a:pt x="568" y="732"/>
                      <a:pt x="568" y="732"/>
                    </a:cubicBezTo>
                    <a:cubicBezTo>
                      <a:pt x="566" y="733"/>
                      <a:pt x="566" y="733"/>
                      <a:pt x="566" y="733"/>
                    </a:cubicBezTo>
                    <a:cubicBezTo>
                      <a:pt x="565" y="735"/>
                      <a:pt x="565" y="735"/>
                      <a:pt x="565" y="735"/>
                    </a:cubicBezTo>
                    <a:cubicBezTo>
                      <a:pt x="562" y="739"/>
                      <a:pt x="562" y="739"/>
                      <a:pt x="562" y="739"/>
                    </a:cubicBezTo>
                    <a:cubicBezTo>
                      <a:pt x="560" y="741"/>
                      <a:pt x="560" y="741"/>
                      <a:pt x="560" y="741"/>
                    </a:cubicBezTo>
                    <a:cubicBezTo>
                      <a:pt x="560" y="743"/>
                      <a:pt x="560" y="743"/>
                      <a:pt x="560" y="743"/>
                    </a:cubicBezTo>
                    <a:cubicBezTo>
                      <a:pt x="558" y="744"/>
                      <a:pt x="558" y="744"/>
                      <a:pt x="558" y="744"/>
                    </a:cubicBezTo>
                    <a:cubicBezTo>
                      <a:pt x="558" y="746"/>
                      <a:pt x="558" y="746"/>
                      <a:pt x="558" y="746"/>
                    </a:cubicBezTo>
                    <a:cubicBezTo>
                      <a:pt x="557" y="748"/>
                      <a:pt x="557" y="748"/>
                      <a:pt x="557" y="748"/>
                    </a:cubicBezTo>
                    <a:cubicBezTo>
                      <a:pt x="554" y="751"/>
                      <a:pt x="554" y="751"/>
                      <a:pt x="554" y="751"/>
                    </a:cubicBezTo>
                    <a:cubicBezTo>
                      <a:pt x="553" y="752"/>
                      <a:pt x="553" y="752"/>
                      <a:pt x="553" y="752"/>
                    </a:cubicBezTo>
                    <a:cubicBezTo>
                      <a:pt x="550" y="755"/>
                      <a:pt x="550" y="755"/>
                      <a:pt x="550" y="755"/>
                    </a:cubicBezTo>
                    <a:cubicBezTo>
                      <a:pt x="549" y="757"/>
                      <a:pt x="549" y="757"/>
                      <a:pt x="549" y="757"/>
                    </a:cubicBezTo>
                    <a:cubicBezTo>
                      <a:pt x="548" y="758"/>
                      <a:pt x="548" y="758"/>
                      <a:pt x="548" y="758"/>
                    </a:cubicBezTo>
                    <a:cubicBezTo>
                      <a:pt x="547" y="757"/>
                      <a:pt x="547" y="757"/>
                      <a:pt x="547" y="757"/>
                    </a:cubicBezTo>
                    <a:cubicBezTo>
                      <a:pt x="545" y="757"/>
                      <a:pt x="545" y="757"/>
                      <a:pt x="545" y="757"/>
                    </a:cubicBezTo>
                    <a:cubicBezTo>
                      <a:pt x="544" y="758"/>
                      <a:pt x="544" y="758"/>
                      <a:pt x="544" y="758"/>
                    </a:cubicBezTo>
                    <a:cubicBezTo>
                      <a:pt x="544" y="758"/>
                      <a:pt x="544" y="758"/>
                      <a:pt x="544" y="758"/>
                    </a:cubicBezTo>
                    <a:cubicBezTo>
                      <a:pt x="541" y="760"/>
                      <a:pt x="541" y="760"/>
                      <a:pt x="541" y="760"/>
                    </a:cubicBezTo>
                    <a:cubicBezTo>
                      <a:pt x="513" y="760"/>
                      <a:pt x="513" y="760"/>
                      <a:pt x="513" y="760"/>
                    </a:cubicBezTo>
                    <a:cubicBezTo>
                      <a:pt x="510" y="760"/>
                      <a:pt x="510" y="760"/>
                      <a:pt x="510" y="760"/>
                    </a:cubicBezTo>
                    <a:cubicBezTo>
                      <a:pt x="508" y="762"/>
                      <a:pt x="508" y="762"/>
                      <a:pt x="508" y="762"/>
                    </a:cubicBezTo>
                    <a:cubicBezTo>
                      <a:pt x="506" y="763"/>
                      <a:pt x="506" y="763"/>
                      <a:pt x="506" y="763"/>
                    </a:cubicBezTo>
                    <a:cubicBezTo>
                      <a:pt x="504" y="765"/>
                      <a:pt x="504" y="765"/>
                      <a:pt x="504" y="765"/>
                    </a:cubicBezTo>
                    <a:cubicBezTo>
                      <a:pt x="500" y="769"/>
                      <a:pt x="500" y="769"/>
                      <a:pt x="500" y="769"/>
                    </a:cubicBezTo>
                    <a:cubicBezTo>
                      <a:pt x="497" y="769"/>
                      <a:pt x="497" y="769"/>
                      <a:pt x="497" y="769"/>
                    </a:cubicBezTo>
                    <a:cubicBezTo>
                      <a:pt x="495" y="771"/>
                      <a:pt x="495" y="771"/>
                      <a:pt x="495" y="771"/>
                    </a:cubicBezTo>
                    <a:cubicBezTo>
                      <a:pt x="487" y="777"/>
                      <a:pt x="487" y="777"/>
                      <a:pt x="487" y="777"/>
                    </a:cubicBezTo>
                    <a:cubicBezTo>
                      <a:pt x="469" y="782"/>
                      <a:pt x="469" y="782"/>
                      <a:pt x="469" y="782"/>
                    </a:cubicBezTo>
                    <a:cubicBezTo>
                      <a:pt x="468" y="787"/>
                      <a:pt x="468" y="787"/>
                      <a:pt x="468" y="787"/>
                    </a:cubicBezTo>
                    <a:cubicBezTo>
                      <a:pt x="464" y="788"/>
                      <a:pt x="464" y="788"/>
                      <a:pt x="464" y="788"/>
                    </a:cubicBezTo>
                    <a:cubicBezTo>
                      <a:pt x="430" y="798"/>
                      <a:pt x="430" y="798"/>
                      <a:pt x="430" y="798"/>
                    </a:cubicBezTo>
                    <a:cubicBezTo>
                      <a:pt x="429" y="795"/>
                      <a:pt x="429" y="795"/>
                      <a:pt x="429" y="795"/>
                    </a:cubicBezTo>
                    <a:cubicBezTo>
                      <a:pt x="431" y="792"/>
                      <a:pt x="431" y="792"/>
                      <a:pt x="431" y="792"/>
                    </a:cubicBezTo>
                    <a:cubicBezTo>
                      <a:pt x="434" y="790"/>
                      <a:pt x="434" y="790"/>
                      <a:pt x="434" y="790"/>
                    </a:cubicBezTo>
                    <a:cubicBezTo>
                      <a:pt x="436" y="788"/>
                      <a:pt x="436" y="788"/>
                      <a:pt x="436" y="788"/>
                    </a:cubicBezTo>
                    <a:cubicBezTo>
                      <a:pt x="437" y="786"/>
                      <a:pt x="437" y="786"/>
                      <a:pt x="437" y="786"/>
                    </a:cubicBezTo>
                    <a:cubicBezTo>
                      <a:pt x="438" y="784"/>
                      <a:pt x="438" y="784"/>
                      <a:pt x="438" y="784"/>
                    </a:cubicBezTo>
                    <a:cubicBezTo>
                      <a:pt x="439" y="770"/>
                      <a:pt x="439" y="770"/>
                      <a:pt x="439" y="770"/>
                    </a:cubicBezTo>
                    <a:cubicBezTo>
                      <a:pt x="432" y="740"/>
                      <a:pt x="432" y="740"/>
                      <a:pt x="432" y="740"/>
                    </a:cubicBezTo>
                    <a:cubicBezTo>
                      <a:pt x="427" y="735"/>
                      <a:pt x="427" y="735"/>
                      <a:pt x="427" y="735"/>
                    </a:cubicBezTo>
                    <a:cubicBezTo>
                      <a:pt x="424" y="732"/>
                      <a:pt x="424" y="732"/>
                      <a:pt x="424" y="732"/>
                    </a:cubicBezTo>
                    <a:cubicBezTo>
                      <a:pt x="385" y="714"/>
                      <a:pt x="385" y="714"/>
                      <a:pt x="385" y="714"/>
                    </a:cubicBezTo>
                    <a:cubicBezTo>
                      <a:pt x="384" y="712"/>
                      <a:pt x="384" y="712"/>
                      <a:pt x="384" y="712"/>
                    </a:cubicBezTo>
                    <a:cubicBezTo>
                      <a:pt x="382" y="712"/>
                      <a:pt x="382" y="712"/>
                      <a:pt x="382" y="712"/>
                    </a:cubicBezTo>
                    <a:cubicBezTo>
                      <a:pt x="381" y="711"/>
                      <a:pt x="381" y="711"/>
                      <a:pt x="381" y="711"/>
                    </a:cubicBezTo>
                    <a:cubicBezTo>
                      <a:pt x="376" y="711"/>
                      <a:pt x="376" y="711"/>
                      <a:pt x="376" y="711"/>
                    </a:cubicBezTo>
                    <a:cubicBezTo>
                      <a:pt x="375" y="709"/>
                      <a:pt x="375" y="709"/>
                      <a:pt x="375" y="709"/>
                    </a:cubicBezTo>
                    <a:cubicBezTo>
                      <a:pt x="374" y="708"/>
                      <a:pt x="374" y="708"/>
                      <a:pt x="374" y="708"/>
                    </a:cubicBezTo>
                    <a:cubicBezTo>
                      <a:pt x="373" y="709"/>
                      <a:pt x="373" y="709"/>
                      <a:pt x="373" y="709"/>
                    </a:cubicBezTo>
                    <a:cubicBezTo>
                      <a:pt x="370" y="709"/>
                      <a:pt x="370" y="709"/>
                      <a:pt x="370" y="709"/>
                    </a:cubicBezTo>
                    <a:cubicBezTo>
                      <a:pt x="368" y="709"/>
                      <a:pt x="368" y="709"/>
                      <a:pt x="368" y="709"/>
                    </a:cubicBezTo>
                    <a:cubicBezTo>
                      <a:pt x="367" y="707"/>
                      <a:pt x="367" y="707"/>
                      <a:pt x="367" y="707"/>
                    </a:cubicBezTo>
                    <a:cubicBezTo>
                      <a:pt x="365" y="707"/>
                      <a:pt x="365" y="707"/>
                      <a:pt x="365" y="707"/>
                    </a:cubicBezTo>
                    <a:cubicBezTo>
                      <a:pt x="361" y="705"/>
                      <a:pt x="361" y="705"/>
                      <a:pt x="361" y="705"/>
                    </a:cubicBezTo>
                    <a:cubicBezTo>
                      <a:pt x="360" y="703"/>
                      <a:pt x="360" y="703"/>
                      <a:pt x="360" y="703"/>
                    </a:cubicBezTo>
                    <a:cubicBezTo>
                      <a:pt x="359" y="703"/>
                      <a:pt x="359" y="703"/>
                      <a:pt x="359" y="703"/>
                    </a:cubicBezTo>
                    <a:cubicBezTo>
                      <a:pt x="357" y="701"/>
                      <a:pt x="357" y="701"/>
                      <a:pt x="357" y="701"/>
                    </a:cubicBezTo>
                    <a:cubicBezTo>
                      <a:pt x="355" y="702"/>
                      <a:pt x="355" y="702"/>
                      <a:pt x="355" y="702"/>
                    </a:cubicBezTo>
                    <a:cubicBezTo>
                      <a:pt x="354" y="701"/>
                      <a:pt x="354" y="701"/>
                      <a:pt x="354" y="701"/>
                    </a:cubicBezTo>
                    <a:cubicBezTo>
                      <a:pt x="352" y="702"/>
                      <a:pt x="352" y="702"/>
                      <a:pt x="352" y="702"/>
                    </a:cubicBezTo>
                    <a:cubicBezTo>
                      <a:pt x="351" y="702"/>
                      <a:pt x="351" y="702"/>
                      <a:pt x="351" y="702"/>
                    </a:cubicBezTo>
                    <a:cubicBezTo>
                      <a:pt x="350" y="700"/>
                      <a:pt x="350" y="700"/>
                      <a:pt x="350" y="700"/>
                    </a:cubicBezTo>
                    <a:cubicBezTo>
                      <a:pt x="348" y="700"/>
                      <a:pt x="348" y="700"/>
                      <a:pt x="348" y="700"/>
                    </a:cubicBezTo>
                    <a:cubicBezTo>
                      <a:pt x="348" y="699"/>
                      <a:pt x="348" y="699"/>
                      <a:pt x="348" y="699"/>
                    </a:cubicBezTo>
                    <a:cubicBezTo>
                      <a:pt x="346" y="699"/>
                      <a:pt x="346" y="699"/>
                      <a:pt x="346" y="699"/>
                    </a:cubicBezTo>
                    <a:cubicBezTo>
                      <a:pt x="345" y="698"/>
                      <a:pt x="345" y="698"/>
                      <a:pt x="345" y="698"/>
                    </a:cubicBezTo>
                    <a:cubicBezTo>
                      <a:pt x="344" y="697"/>
                      <a:pt x="344" y="697"/>
                      <a:pt x="344" y="697"/>
                    </a:cubicBezTo>
                    <a:cubicBezTo>
                      <a:pt x="344" y="696"/>
                      <a:pt x="344" y="696"/>
                      <a:pt x="344" y="696"/>
                    </a:cubicBezTo>
                    <a:cubicBezTo>
                      <a:pt x="342" y="694"/>
                      <a:pt x="342" y="694"/>
                      <a:pt x="342" y="694"/>
                    </a:cubicBezTo>
                    <a:cubicBezTo>
                      <a:pt x="340" y="695"/>
                      <a:pt x="340" y="695"/>
                      <a:pt x="340" y="695"/>
                    </a:cubicBezTo>
                    <a:cubicBezTo>
                      <a:pt x="338" y="694"/>
                      <a:pt x="338" y="694"/>
                      <a:pt x="338" y="694"/>
                    </a:cubicBezTo>
                    <a:lnTo>
                      <a:pt x="86" y="66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xmlns="" id="{FC2DD200-5851-405B-84F1-B5F3C3D57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" y="258"/>
                <a:ext cx="851" cy="665"/>
              </a:xfrm>
              <a:custGeom>
                <a:avLst/>
                <a:gdLst>
                  <a:gd name="T0" fmla="*/ 456 w 521"/>
                  <a:gd name="T1" fmla="*/ 327 h 407"/>
                  <a:gd name="T2" fmla="*/ 512 w 521"/>
                  <a:gd name="T3" fmla="*/ 69 h 407"/>
                  <a:gd name="T4" fmla="*/ 479 w 521"/>
                  <a:gd name="T5" fmla="*/ 52 h 407"/>
                  <a:gd name="T6" fmla="*/ 456 w 521"/>
                  <a:gd name="T7" fmla="*/ 25 h 407"/>
                  <a:gd name="T8" fmla="*/ 432 w 521"/>
                  <a:gd name="T9" fmla="*/ 16 h 407"/>
                  <a:gd name="T10" fmla="*/ 408 w 521"/>
                  <a:gd name="T11" fmla="*/ 5 h 407"/>
                  <a:gd name="T12" fmla="*/ 366 w 521"/>
                  <a:gd name="T13" fmla="*/ 21 h 407"/>
                  <a:gd name="T14" fmla="*/ 318 w 521"/>
                  <a:gd name="T15" fmla="*/ 90 h 407"/>
                  <a:gd name="T16" fmla="*/ 311 w 521"/>
                  <a:gd name="T17" fmla="*/ 110 h 407"/>
                  <a:gd name="T18" fmla="*/ 295 w 521"/>
                  <a:gd name="T19" fmla="*/ 98 h 407"/>
                  <a:gd name="T20" fmla="*/ 262 w 521"/>
                  <a:gd name="T21" fmla="*/ 124 h 407"/>
                  <a:gd name="T22" fmla="*/ 277 w 521"/>
                  <a:gd name="T23" fmla="*/ 147 h 407"/>
                  <a:gd name="T24" fmla="*/ 284 w 521"/>
                  <a:gd name="T25" fmla="*/ 173 h 407"/>
                  <a:gd name="T26" fmla="*/ 228 w 521"/>
                  <a:gd name="T27" fmla="*/ 193 h 407"/>
                  <a:gd name="T28" fmla="*/ 228 w 521"/>
                  <a:gd name="T29" fmla="*/ 219 h 407"/>
                  <a:gd name="T30" fmla="*/ 220 w 521"/>
                  <a:gd name="T31" fmla="*/ 250 h 407"/>
                  <a:gd name="T32" fmla="*/ 227 w 521"/>
                  <a:gd name="T33" fmla="*/ 269 h 407"/>
                  <a:gd name="T34" fmla="*/ 245 w 521"/>
                  <a:gd name="T35" fmla="*/ 280 h 407"/>
                  <a:gd name="T36" fmla="*/ 241 w 521"/>
                  <a:gd name="T37" fmla="*/ 307 h 407"/>
                  <a:gd name="T38" fmla="*/ 196 w 521"/>
                  <a:gd name="T39" fmla="*/ 333 h 407"/>
                  <a:gd name="T40" fmla="*/ 185 w 521"/>
                  <a:gd name="T41" fmla="*/ 347 h 407"/>
                  <a:gd name="T42" fmla="*/ 213 w 521"/>
                  <a:gd name="T43" fmla="*/ 339 h 407"/>
                  <a:gd name="T44" fmla="*/ 241 w 521"/>
                  <a:gd name="T45" fmla="*/ 324 h 407"/>
                  <a:gd name="T46" fmla="*/ 277 w 521"/>
                  <a:gd name="T47" fmla="*/ 302 h 407"/>
                  <a:gd name="T48" fmla="*/ 302 w 521"/>
                  <a:gd name="T49" fmla="*/ 275 h 407"/>
                  <a:gd name="T50" fmla="*/ 348 w 521"/>
                  <a:gd name="T51" fmla="*/ 246 h 407"/>
                  <a:gd name="T52" fmla="*/ 313 w 521"/>
                  <a:gd name="T53" fmla="*/ 283 h 407"/>
                  <a:gd name="T54" fmla="*/ 337 w 521"/>
                  <a:gd name="T55" fmla="*/ 278 h 407"/>
                  <a:gd name="T56" fmla="*/ 359 w 521"/>
                  <a:gd name="T57" fmla="*/ 265 h 407"/>
                  <a:gd name="T58" fmla="*/ 369 w 521"/>
                  <a:gd name="T59" fmla="*/ 274 h 407"/>
                  <a:gd name="T60" fmla="*/ 402 w 521"/>
                  <a:gd name="T61" fmla="*/ 293 h 407"/>
                  <a:gd name="T62" fmla="*/ 425 w 521"/>
                  <a:gd name="T63" fmla="*/ 311 h 407"/>
                  <a:gd name="T64" fmla="*/ 435 w 521"/>
                  <a:gd name="T65" fmla="*/ 321 h 407"/>
                  <a:gd name="T66" fmla="*/ 449 w 521"/>
                  <a:gd name="T67" fmla="*/ 325 h 407"/>
                  <a:gd name="T68" fmla="*/ 451 w 521"/>
                  <a:gd name="T69" fmla="*/ 361 h 407"/>
                  <a:gd name="T70" fmla="*/ 461 w 521"/>
                  <a:gd name="T71" fmla="*/ 386 h 407"/>
                  <a:gd name="T72" fmla="*/ 441 w 521"/>
                  <a:gd name="T73" fmla="*/ 399 h 407"/>
                  <a:gd name="T74" fmla="*/ 436 w 521"/>
                  <a:gd name="T75" fmla="*/ 399 h 407"/>
                  <a:gd name="T76" fmla="*/ 441 w 521"/>
                  <a:gd name="T77" fmla="*/ 381 h 407"/>
                  <a:gd name="T78" fmla="*/ 443 w 521"/>
                  <a:gd name="T79" fmla="*/ 405 h 407"/>
                  <a:gd name="T80" fmla="*/ 452 w 521"/>
                  <a:gd name="T81" fmla="*/ 384 h 407"/>
                  <a:gd name="T82" fmla="*/ 449 w 521"/>
                  <a:gd name="T83" fmla="*/ 371 h 407"/>
                  <a:gd name="T84" fmla="*/ 439 w 521"/>
                  <a:gd name="T85" fmla="*/ 373 h 407"/>
                  <a:gd name="T86" fmla="*/ 435 w 521"/>
                  <a:gd name="T87" fmla="*/ 357 h 407"/>
                  <a:gd name="T88" fmla="*/ 446 w 521"/>
                  <a:gd name="T89" fmla="*/ 356 h 407"/>
                  <a:gd name="T90" fmla="*/ 430 w 521"/>
                  <a:gd name="T91" fmla="*/ 351 h 407"/>
                  <a:gd name="T92" fmla="*/ 241 w 521"/>
                  <a:gd name="T93" fmla="*/ 185 h 407"/>
                  <a:gd name="T94" fmla="*/ 378 w 521"/>
                  <a:gd name="T95" fmla="*/ 287 h 407"/>
                  <a:gd name="T96" fmla="*/ 349 w 521"/>
                  <a:gd name="T97" fmla="*/ 285 h 407"/>
                  <a:gd name="T98" fmla="*/ 197 w 521"/>
                  <a:gd name="T99" fmla="*/ 153 h 407"/>
                  <a:gd name="T100" fmla="*/ 200 w 521"/>
                  <a:gd name="T101" fmla="*/ 233 h 407"/>
                  <a:gd name="T102" fmla="*/ 292 w 521"/>
                  <a:gd name="T103" fmla="*/ 299 h 407"/>
                  <a:gd name="T104" fmla="*/ 278 w 521"/>
                  <a:gd name="T105" fmla="*/ 312 h 407"/>
                  <a:gd name="T106" fmla="*/ 283 w 521"/>
                  <a:gd name="T107" fmla="*/ 316 h 407"/>
                  <a:gd name="T108" fmla="*/ 264 w 521"/>
                  <a:gd name="T109" fmla="*/ 333 h 407"/>
                  <a:gd name="T110" fmla="*/ 203 w 521"/>
                  <a:gd name="T111" fmla="*/ 350 h 407"/>
                  <a:gd name="T112" fmla="*/ 6 w 521"/>
                  <a:gd name="T113" fmla="*/ 384 h 407"/>
                  <a:gd name="T114" fmla="*/ 48 w 521"/>
                  <a:gd name="T115" fmla="*/ 384 h 407"/>
                  <a:gd name="T116" fmla="*/ 91 w 521"/>
                  <a:gd name="T117" fmla="*/ 380 h 407"/>
                  <a:gd name="T118" fmla="*/ 130 w 521"/>
                  <a:gd name="T119" fmla="*/ 367 h 407"/>
                  <a:gd name="T120" fmla="*/ 149 w 521"/>
                  <a:gd name="T121" fmla="*/ 363 h 407"/>
                  <a:gd name="T122" fmla="*/ 157 w 521"/>
                  <a:gd name="T123" fmla="*/ 350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1" h="407">
                    <a:moveTo>
                      <a:pt x="469" y="389"/>
                    </a:moveTo>
                    <a:cubicBezTo>
                      <a:pt x="469" y="388"/>
                      <a:pt x="469" y="388"/>
                      <a:pt x="469" y="388"/>
                    </a:cubicBezTo>
                    <a:cubicBezTo>
                      <a:pt x="469" y="387"/>
                      <a:pt x="469" y="387"/>
                      <a:pt x="469" y="387"/>
                    </a:cubicBezTo>
                    <a:cubicBezTo>
                      <a:pt x="470" y="386"/>
                      <a:pt x="470" y="386"/>
                      <a:pt x="470" y="386"/>
                    </a:cubicBezTo>
                    <a:cubicBezTo>
                      <a:pt x="470" y="385"/>
                      <a:pt x="470" y="385"/>
                      <a:pt x="470" y="385"/>
                    </a:cubicBezTo>
                    <a:cubicBezTo>
                      <a:pt x="470" y="385"/>
                      <a:pt x="470" y="385"/>
                      <a:pt x="470" y="385"/>
                    </a:cubicBezTo>
                    <a:cubicBezTo>
                      <a:pt x="470" y="384"/>
                      <a:pt x="470" y="384"/>
                      <a:pt x="470" y="384"/>
                    </a:cubicBezTo>
                    <a:cubicBezTo>
                      <a:pt x="469" y="383"/>
                      <a:pt x="469" y="383"/>
                      <a:pt x="469" y="383"/>
                    </a:cubicBezTo>
                    <a:cubicBezTo>
                      <a:pt x="469" y="381"/>
                      <a:pt x="469" y="381"/>
                      <a:pt x="469" y="381"/>
                    </a:cubicBezTo>
                    <a:cubicBezTo>
                      <a:pt x="468" y="379"/>
                      <a:pt x="468" y="379"/>
                      <a:pt x="468" y="379"/>
                    </a:cubicBezTo>
                    <a:cubicBezTo>
                      <a:pt x="466" y="378"/>
                      <a:pt x="466" y="378"/>
                      <a:pt x="466" y="378"/>
                    </a:cubicBezTo>
                    <a:cubicBezTo>
                      <a:pt x="464" y="377"/>
                      <a:pt x="464" y="377"/>
                      <a:pt x="464" y="377"/>
                    </a:cubicBezTo>
                    <a:cubicBezTo>
                      <a:pt x="464" y="375"/>
                      <a:pt x="464" y="375"/>
                      <a:pt x="464" y="375"/>
                    </a:cubicBezTo>
                    <a:cubicBezTo>
                      <a:pt x="462" y="373"/>
                      <a:pt x="462" y="373"/>
                      <a:pt x="462" y="373"/>
                    </a:cubicBezTo>
                    <a:cubicBezTo>
                      <a:pt x="461" y="372"/>
                      <a:pt x="461" y="372"/>
                      <a:pt x="461" y="372"/>
                    </a:cubicBezTo>
                    <a:cubicBezTo>
                      <a:pt x="459" y="372"/>
                      <a:pt x="459" y="372"/>
                      <a:pt x="459" y="372"/>
                    </a:cubicBezTo>
                    <a:cubicBezTo>
                      <a:pt x="459" y="372"/>
                      <a:pt x="459" y="372"/>
                      <a:pt x="459" y="372"/>
                    </a:cubicBezTo>
                    <a:cubicBezTo>
                      <a:pt x="460" y="371"/>
                      <a:pt x="460" y="371"/>
                      <a:pt x="460" y="371"/>
                    </a:cubicBezTo>
                    <a:cubicBezTo>
                      <a:pt x="459" y="369"/>
                      <a:pt x="459" y="369"/>
                      <a:pt x="459" y="369"/>
                    </a:cubicBezTo>
                    <a:cubicBezTo>
                      <a:pt x="459" y="368"/>
                      <a:pt x="459" y="368"/>
                      <a:pt x="459" y="368"/>
                    </a:cubicBezTo>
                    <a:cubicBezTo>
                      <a:pt x="458" y="367"/>
                      <a:pt x="458" y="367"/>
                      <a:pt x="458" y="367"/>
                    </a:cubicBezTo>
                    <a:cubicBezTo>
                      <a:pt x="459" y="366"/>
                      <a:pt x="459" y="366"/>
                      <a:pt x="459" y="366"/>
                    </a:cubicBezTo>
                    <a:cubicBezTo>
                      <a:pt x="460" y="366"/>
                      <a:pt x="460" y="366"/>
                      <a:pt x="460" y="366"/>
                    </a:cubicBezTo>
                    <a:cubicBezTo>
                      <a:pt x="460" y="365"/>
                      <a:pt x="460" y="365"/>
                      <a:pt x="460" y="365"/>
                    </a:cubicBezTo>
                    <a:cubicBezTo>
                      <a:pt x="458" y="364"/>
                      <a:pt x="458" y="364"/>
                      <a:pt x="458" y="364"/>
                    </a:cubicBezTo>
                    <a:cubicBezTo>
                      <a:pt x="457" y="364"/>
                      <a:pt x="457" y="364"/>
                      <a:pt x="457" y="364"/>
                    </a:cubicBezTo>
                    <a:cubicBezTo>
                      <a:pt x="457" y="363"/>
                      <a:pt x="457" y="363"/>
                      <a:pt x="457" y="363"/>
                    </a:cubicBezTo>
                    <a:cubicBezTo>
                      <a:pt x="459" y="362"/>
                      <a:pt x="459" y="362"/>
                      <a:pt x="459" y="362"/>
                    </a:cubicBezTo>
                    <a:cubicBezTo>
                      <a:pt x="459" y="355"/>
                      <a:pt x="459" y="355"/>
                      <a:pt x="459" y="355"/>
                    </a:cubicBezTo>
                    <a:cubicBezTo>
                      <a:pt x="459" y="348"/>
                      <a:pt x="459" y="348"/>
                      <a:pt x="459" y="348"/>
                    </a:cubicBezTo>
                    <a:cubicBezTo>
                      <a:pt x="459" y="342"/>
                      <a:pt x="459" y="342"/>
                      <a:pt x="459" y="342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39"/>
                      <a:pt x="459" y="339"/>
                      <a:pt x="459" y="339"/>
                    </a:cubicBezTo>
                    <a:cubicBezTo>
                      <a:pt x="460" y="337"/>
                      <a:pt x="460" y="337"/>
                      <a:pt x="460" y="337"/>
                    </a:cubicBezTo>
                    <a:cubicBezTo>
                      <a:pt x="459" y="335"/>
                      <a:pt x="459" y="335"/>
                      <a:pt x="459" y="335"/>
                    </a:cubicBezTo>
                    <a:cubicBezTo>
                      <a:pt x="458" y="333"/>
                      <a:pt x="458" y="333"/>
                      <a:pt x="458" y="333"/>
                    </a:cubicBezTo>
                    <a:cubicBezTo>
                      <a:pt x="458" y="330"/>
                      <a:pt x="458" y="330"/>
                      <a:pt x="458" y="330"/>
                    </a:cubicBezTo>
                    <a:cubicBezTo>
                      <a:pt x="456" y="327"/>
                      <a:pt x="456" y="327"/>
                      <a:pt x="456" y="327"/>
                    </a:cubicBezTo>
                    <a:cubicBezTo>
                      <a:pt x="455" y="324"/>
                      <a:pt x="455" y="324"/>
                      <a:pt x="455" y="324"/>
                    </a:cubicBezTo>
                    <a:cubicBezTo>
                      <a:pt x="456" y="322"/>
                      <a:pt x="456" y="322"/>
                      <a:pt x="456" y="322"/>
                    </a:cubicBezTo>
                    <a:cubicBezTo>
                      <a:pt x="454" y="316"/>
                      <a:pt x="454" y="316"/>
                      <a:pt x="454" y="316"/>
                    </a:cubicBezTo>
                    <a:cubicBezTo>
                      <a:pt x="454" y="315"/>
                      <a:pt x="454" y="315"/>
                      <a:pt x="454" y="315"/>
                    </a:cubicBezTo>
                    <a:cubicBezTo>
                      <a:pt x="456" y="312"/>
                      <a:pt x="456" y="312"/>
                      <a:pt x="456" y="312"/>
                    </a:cubicBezTo>
                    <a:cubicBezTo>
                      <a:pt x="455" y="311"/>
                      <a:pt x="455" y="311"/>
                      <a:pt x="455" y="311"/>
                    </a:cubicBezTo>
                    <a:cubicBezTo>
                      <a:pt x="455" y="309"/>
                      <a:pt x="455" y="309"/>
                      <a:pt x="455" y="309"/>
                    </a:cubicBezTo>
                    <a:cubicBezTo>
                      <a:pt x="453" y="307"/>
                      <a:pt x="453" y="307"/>
                      <a:pt x="453" y="307"/>
                    </a:cubicBezTo>
                    <a:cubicBezTo>
                      <a:pt x="450" y="308"/>
                      <a:pt x="450" y="308"/>
                      <a:pt x="450" y="308"/>
                    </a:cubicBezTo>
                    <a:cubicBezTo>
                      <a:pt x="447" y="309"/>
                      <a:pt x="447" y="309"/>
                      <a:pt x="447" y="309"/>
                    </a:cubicBezTo>
                    <a:cubicBezTo>
                      <a:pt x="446" y="309"/>
                      <a:pt x="446" y="309"/>
                      <a:pt x="446" y="309"/>
                    </a:cubicBezTo>
                    <a:cubicBezTo>
                      <a:pt x="442" y="310"/>
                      <a:pt x="442" y="310"/>
                      <a:pt x="442" y="310"/>
                    </a:cubicBezTo>
                    <a:cubicBezTo>
                      <a:pt x="440" y="312"/>
                      <a:pt x="440" y="312"/>
                      <a:pt x="440" y="312"/>
                    </a:cubicBezTo>
                    <a:cubicBezTo>
                      <a:pt x="438" y="317"/>
                      <a:pt x="438" y="317"/>
                      <a:pt x="438" y="317"/>
                    </a:cubicBezTo>
                    <a:cubicBezTo>
                      <a:pt x="435" y="318"/>
                      <a:pt x="435" y="318"/>
                      <a:pt x="435" y="318"/>
                    </a:cubicBezTo>
                    <a:cubicBezTo>
                      <a:pt x="432" y="318"/>
                      <a:pt x="432" y="318"/>
                      <a:pt x="432" y="318"/>
                    </a:cubicBezTo>
                    <a:cubicBezTo>
                      <a:pt x="428" y="319"/>
                      <a:pt x="428" y="319"/>
                      <a:pt x="428" y="319"/>
                    </a:cubicBezTo>
                    <a:cubicBezTo>
                      <a:pt x="428" y="319"/>
                      <a:pt x="428" y="319"/>
                      <a:pt x="428" y="319"/>
                    </a:cubicBezTo>
                    <a:cubicBezTo>
                      <a:pt x="428" y="318"/>
                      <a:pt x="428" y="318"/>
                      <a:pt x="428" y="318"/>
                    </a:cubicBezTo>
                    <a:cubicBezTo>
                      <a:pt x="429" y="315"/>
                      <a:pt x="429" y="315"/>
                      <a:pt x="429" y="315"/>
                    </a:cubicBezTo>
                    <a:cubicBezTo>
                      <a:pt x="428" y="312"/>
                      <a:pt x="428" y="312"/>
                      <a:pt x="428" y="312"/>
                    </a:cubicBezTo>
                    <a:cubicBezTo>
                      <a:pt x="426" y="301"/>
                      <a:pt x="426" y="301"/>
                      <a:pt x="426" y="301"/>
                    </a:cubicBezTo>
                    <a:cubicBezTo>
                      <a:pt x="424" y="296"/>
                      <a:pt x="424" y="296"/>
                      <a:pt x="424" y="296"/>
                    </a:cubicBezTo>
                    <a:cubicBezTo>
                      <a:pt x="423" y="293"/>
                      <a:pt x="423" y="293"/>
                      <a:pt x="423" y="293"/>
                    </a:cubicBezTo>
                    <a:cubicBezTo>
                      <a:pt x="425" y="289"/>
                      <a:pt x="425" y="289"/>
                      <a:pt x="425" y="289"/>
                    </a:cubicBezTo>
                    <a:cubicBezTo>
                      <a:pt x="420" y="288"/>
                      <a:pt x="420" y="288"/>
                      <a:pt x="420" y="288"/>
                    </a:cubicBezTo>
                    <a:cubicBezTo>
                      <a:pt x="417" y="290"/>
                      <a:pt x="417" y="290"/>
                      <a:pt x="417" y="290"/>
                    </a:cubicBezTo>
                    <a:cubicBezTo>
                      <a:pt x="415" y="289"/>
                      <a:pt x="415" y="289"/>
                      <a:pt x="415" y="289"/>
                    </a:cubicBezTo>
                    <a:cubicBezTo>
                      <a:pt x="408" y="289"/>
                      <a:pt x="408" y="289"/>
                      <a:pt x="408" y="289"/>
                    </a:cubicBezTo>
                    <a:cubicBezTo>
                      <a:pt x="521" y="80"/>
                      <a:pt x="521" y="80"/>
                      <a:pt x="521" y="80"/>
                    </a:cubicBezTo>
                    <a:cubicBezTo>
                      <a:pt x="520" y="79"/>
                      <a:pt x="520" y="79"/>
                      <a:pt x="520" y="79"/>
                    </a:cubicBezTo>
                    <a:cubicBezTo>
                      <a:pt x="518" y="79"/>
                      <a:pt x="518" y="79"/>
                      <a:pt x="518" y="79"/>
                    </a:cubicBezTo>
                    <a:cubicBezTo>
                      <a:pt x="517" y="79"/>
                      <a:pt x="517" y="79"/>
                      <a:pt x="517" y="79"/>
                    </a:cubicBezTo>
                    <a:cubicBezTo>
                      <a:pt x="516" y="78"/>
                      <a:pt x="516" y="78"/>
                      <a:pt x="516" y="78"/>
                    </a:cubicBezTo>
                    <a:cubicBezTo>
                      <a:pt x="515" y="74"/>
                      <a:pt x="515" y="74"/>
                      <a:pt x="515" y="74"/>
                    </a:cubicBezTo>
                    <a:cubicBezTo>
                      <a:pt x="514" y="72"/>
                      <a:pt x="514" y="72"/>
                      <a:pt x="514" y="72"/>
                    </a:cubicBezTo>
                    <a:cubicBezTo>
                      <a:pt x="513" y="71"/>
                      <a:pt x="513" y="71"/>
                      <a:pt x="513" y="71"/>
                    </a:cubicBezTo>
                    <a:cubicBezTo>
                      <a:pt x="512" y="69"/>
                      <a:pt x="512" y="69"/>
                      <a:pt x="512" y="69"/>
                    </a:cubicBezTo>
                    <a:cubicBezTo>
                      <a:pt x="511" y="66"/>
                      <a:pt x="511" y="66"/>
                      <a:pt x="511" y="66"/>
                    </a:cubicBezTo>
                    <a:cubicBezTo>
                      <a:pt x="510" y="65"/>
                      <a:pt x="510" y="65"/>
                      <a:pt x="510" y="65"/>
                    </a:cubicBezTo>
                    <a:cubicBezTo>
                      <a:pt x="507" y="65"/>
                      <a:pt x="507" y="65"/>
                      <a:pt x="507" y="65"/>
                    </a:cubicBezTo>
                    <a:cubicBezTo>
                      <a:pt x="506" y="66"/>
                      <a:pt x="506" y="66"/>
                      <a:pt x="506" y="66"/>
                    </a:cubicBezTo>
                    <a:cubicBezTo>
                      <a:pt x="503" y="65"/>
                      <a:pt x="503" y="65"/>
                      <a:pt x="503" y="65"/>
                    </a:cubicBezTo>
                    <a:cubicBezTo>
                      <a:pt x="501" y="66"/>
                      <a:pt x="501" y="66"/>
                      <a:pt x="501" y="66"/>
                    </a:cubicBezTo>
                    <a:cubicBezTo>
                      <a:pt x="500" y="65"/>
                      <a:pt x="500" y="65"/>
                      <a:pt x="500" y="65"/>
                    </a:cubicBezTo>
                    <a:cubicBezTo>
                      <a:pt x="499" y="65"/>
                      <a:pt x="499" y="65"/>
                      <a:pt x="499" y="65"/>
                    </a:cubicBezTo>
                    <a:cubicBezTo>
                      <a:pt x="498" y="65"/>
                      <a:pt x="498" y="65"/>
                      <a:pt x="498" y="65"/>
                    </a:cubicBezTo>
                    <a:cubicBezTo>
                      <a:pt x="498" y="65"/>
                      <a:pt x="498" y="65"/>
                      <a:pt x="498" y="65"/>
                    </a:cubicBezTo>
                    <a:cubicBezTo>
                      <a:pt x="496" y="65"/>
                      <a:pt x="496" y="65"/>
                      <a:pt x="496" y="65"/>
                    </a:cubicBezTo>
                    <a:cubicBezTo>
                      <a:pt x="496" y="65"/>
                      <a:pt x="496" y="65"/>
                      <a:pt x="496" y="65"/>
                    </a:cubicBezTo>
                    <a:cubicBezTo>
                      <a:pt x="497" y="65"/>
                      <a:pt x="497" y="65"/>
                      <a:pt x="497" y="65"/>
                    </a:cubicBezTo>
                    <a:cubicBezTo>
                      <a:pt x="497" y="64"/>
                      <a:pt x="497" y="64"/>
                      <a:pt x="497" y="64"/>
                    </a:cubicBezTo>
                    <a:cubicBezTo>
                      <a:pt x="496" y="62"/>
                      <a:pt x="496" y="62"/>
                      <a:pt x="496" y="62"/>
                    </a:cubicBezTo>
                    <a:cubicBezTo>
                      <a:pt x="495" y="63"/>
                      <a:pt x="495" y="63"/>
                      <a:pt x="495" y="63"/>
                    </a:cubicBezTo>
                    <a:cubicBezTo>
                      <a:pt x="493" y="63"/>
                      <a:pt x="493" y="63"/>
                      <a:pt x="493" y="63"/>
                    </a:cubicBezTo>
                    <a:cubicBezTo>
                      <a:pt x="494" y="62"/>
                      <a:pt x="494" y="62"/>
                      <a:pt x="494" y="62"/>
                    </a:cubicBezTo>
                    <a:cubicBezTo>
                      <a:pt x="494" y="61"/>
                      <a:pt x="494" y="61"/>
                      <a:pt x="494" y="61"/>
                    </a:cubicBezTo>
                    <a:cubicBezTo>
                      <a:pt x="494" y="61"/>
                      <a:pt x="494" y="61"/>
                      <a:pt x="494" y="61"/>
                    </a:cubicBezTo>
                    <a:cubicBezTo>
                      <a:pt x="493" y="61"/>
                      <a:pt x="493" y="61"/>
                      <a:pt x="493" y="61"/>
                    </a:cubicBezTo>
                    <a:cubicBezTo>
                      <a:pt x="491" y="60"/>
                      <a:pt x="491" y="60"/>
                      <a:pt x="491" y="60"/>
                    </a:cubicBezTo>
                    <a:cubicBezTo>
                      <a:pt x="491" y="59"/>
                      <a:pt x="491" y="59"/>
                      <a:pt x="491" y="59"/>
                    </a:cubicBezTo>
                    <a:cubicBezTo>
                      <a:pt x="490" y="58"/>
                      <a:pt x="490" y="58"/>
                      <a:pt x="490" y="58"/>
                    </a:cubicBezTo>
                    <a:cubicBezTo>
                      <a:pt x="487" y="56"/>
                      <a:pt x="487" y="56"/>
                      <a:pt x="487" y="56"/>
                    </a:cubicBezTo>
                    <a:cubicBezTo>
                      <a:pt x="486" y="56"/>
                      <a:pt x="486" y="56"/>
                      <a:pt x="486" y="56"/>
                    </a:cubicBezTo>
                    <a:cubicBezTo>
                      <a:pt x="486" y="55"/>
                      <a:pt x="486" y="55"/>
                      <a:pt x="486" y="55"/>
                    </a:cubicBezTo>
                    <a:cubicBezTo>
                      <a:pt x="485" y="55"/>
                      <a:pt x="485" y="55"/>
                      <a:pt x="485" y="55"/>
                    </a:cubicBezTo>
                    <a:cubicBezTo>
                      <a:pt x="484" y="56"/>
                      <a:pt x="484" y="56"/>
                      <a:pt x="484" y="56"/>
                    </a:cubicBezTo>
                    <a:cubicBezTo>
                      <a:pt x="484" y="56"/>
                      <a:pt x="484" y="56"/>
                      <a:pt x="484" y="56"/>
                    </a:cubicBezTo>
                    <a:cubicBezTo>
                      <a:pt x="484" y="55"/>
                      <a:pt x="484" y="55"/>
                      <a:pt x="484" y="55"/>
                    </a:cubicBezTo>
                    <a:cubicBezTo>
                      <a:pt x="482" y="54"/>
                      <a:pt x="482" y="54"/>
                      <a:pt x="482" y="54"/>
                    </a:cubicBezTo>
                    <a:cubicBezTo>
                      <a:pt x="481" y="56"/>
                      <a:pt x="481" y="56"/>
                      <a:pt x="481" y="56"/>
                    </a:cubicBezTo>
                    <a:cubicBezTo>
                      <a:pt x="480" y="55"/>
                      <a:pt x="480" y="55"/>
                      <a:pt x="480" y="55"/>
                    </a:cubicBezTo>
                    <a:cubicBezTo>
                      <a:pt x="480" y="54"/>
                      <a:pt x="480" y="54"/>
                      <a:pt x="480" y="54"/>
                    </a:cubicBezTo>
                    <a:cubicBezTo>
                      <a:pt x="481" y="53"/>
                      <a:pt x="481" y="53"/>
                      <a:pt x="481" y="53"/>
                    </a:cubicBezTo>
                    <a:cubicBezTo>
                      <a:pt x="481" y="53"/>
                      <a:pt x="481" y="53"/>
                      <a:pt x="481" y="53"/>
                    </a:cubicBezTo>
                    <a:cubicBezTo>
                      <a:pt x="479" y="52"/>
                      <a:pt x="479" y="52"/>
                      <a:pt x="479" y="52"/>
                    </a:cubicBezTo>
                    <a:cubicBezTo>
                      <a:pt x="478" y="52"/>
                      <a:pt x="478" y="52"/>
                      <a:pt x="478" y="52"/>
                    </a:cubicBezTo>
                    <a:cubicBezTo>
                      <a:pt x="478" y="51"/>
                      <a:pt x="478" y="51"/>
                      <a:pt x="478" y="51"/>
                    </a:cubicBezTo>
                    <a:cubicBezTo>
                      <a:pt x="478" y="51"/>
                      <a:pt x="478" y="51"/>
                      <a:pt x="478" y="51"/>
                    </a:cubicBezTo>
                    <a:cubicBezTo>
                      <a:pt x="476" y="50"/>
                      <a:pt x="476" y="50"/>
                      <a:pt x="476" y="50"/>
                    </a:cubicBezTo>
                    <a:cubicBezTo>
                      <a:pt x="475" y="48"/>
                      <a:pt x="475" y="48"/>
                      <a:pt x="475" y="48"/>
                    </a:cubicBezTo>
                    <a:cubicBezTo>
                      <a:pt x="475" y="47"/>
                      <a:pt x="475" y="47"/>
                      <a:pt x="475" y="47"/>
                    </a:cubicBezTo>
                    <a:cubicBezTo>
                      <a:pt x="475" y="47"/>
                      <a:pt x="475" y="47"/>
                      <a:pt x="475" y="47"/>
                    </a:cubicBezTo>
                    <a:cubicBezTo>
                      <a:pt x="473" y="46"/>
                      <a:pt x="473" y="46"/>
                      <a:pt x="473" y="46"/>
                    </a:cubicBezTo>
                    <a:cubicBezTo>
                      <a:pt x="473" y="47"/>
                      <a:pt x="473" y="47"/>
                      <a:pt x="473" y="47"/>
                    </a:cubicBezTo>
                    <a:cubicBezTo>
                      <a:pt x="469" y="51"/>
                      <a:pt x="469" y="51"/>
                      <a:pt x="469" y="51"/>
                    </a:cubicBezTo>
                    <a:cubicBezTo>
                      <a:pt x="465" y="53"/>
                      <a:pt x="465" y="53"/>
                      <a:pt x="465" y="53"/>
                    </a:cubicBezTo>
                    <a:cubicBezTo>
                      <a:pt x="468" y="50"/>
                      <a:pt x="468" y="50"/>
                      <a:pt x="468" y="50"/>
                    </a:cubicBezTo>
                    <a:cubicBezTo>
                      <a:pt x="471" y="47"/>
                      <a:pt x="471" y="47"/>
                      <a:pt x="471" y="47"/>
                    </a:cubicBezTo>
                    <a:cubicBezTo>
                      <a:pt x="473" y="45"/>
                      <a:pt x="473" y="45"/>
                      <a:pt x="473" y="45"/>
                    </a:cubicBezTo>
                    <a:cubicBezTo>
                      <a:pt x="473" y="42"/>
                      <a:pt x="473" y="42"/>
                      <a:pt x="473" y="42"/>
                    </a:cubicBezTo>
                    <a:cubicBezTo>
                      <a:pt x="472" y="41"/>
                      <a:pt x="472" y="41"/>
                      <a:pt x="472" y="41"/>
                    </a:cubicBezTo>
                    <a:cubicBezTo>
                      <a:pt x="469" y="39"/>
                      <a:pt x="469" y="39"/>
                      <a:pt x="469" y="39"/>
                    </a:cubicBezTo>
                    <a:cubicBezTo>
                      <a:pt x="467" y="39"/>
                      <a:pt x="467" y="39"/>
                      <a:pt x="467" y="39"/>
                    </a:cubicBezTo>
                    <a:cubicBezTo>
                      <a:pt x="465" y="40"/>
                      <a:pt x="465" y="40"/>
                      <a:pt x="465" y="40"/>
                    </a:cubicBezTo>
                    <a:cubicBezTo>
                      <a:pt x="463" y="40"/>
                      <a:pt x="463" y="40"/>
                      <a:pt x="463" y="40"/>
                    </a:cubicBezTo>
                    <a:cubicBezTo>
                      <a:pt x="462" y="41"/>
                      <a:pt x="462" y="41"/>
                      <a:pt x="462" y="41"/>
                    </a:cubicBezTo>
                    <a:cubicBezTo>
                      <a:pt x="460" y="41"/>
                      <a:pt x="460" y="41"/>
                      <a:pt x="460" y="41"/>
                    </a:cubicBezTo>
                    <a:cubicBezTo>
                      <a:pt x="457" y="44"/>
                      <a:pt x="457" y="44"/>
                      <a:pt x="457" y="44"/>
                    </a:cubicBezTo>
                    <a:cubicBezTo>
                      <a:pt x="455" y="46"/>
                      <a:pt x="455" y="46"/>
                      <a:pt x="455" y="46"/>
                    </a:cubicBezTo>
                    <a:cubicBezTo>
                      <a:pt x="457" y="44"/>
                      <a:pt x="457" y="44"/>
                      <a:pt x="457" y="44"/>
                    </a:cubicBezTo>
                    <a:cubicBezTo>
                      <a:pt x="456" y="41"/>
                      <a:pt x="456" y="41"/>
                      <a:pt x="456" y="41"/>
                    </a:cubicBezTo>
                    <a:cubicBezTo>
                      <a:pt x="457" y="39"/>
                      <a:pt x="457" y="39"/>
                      <a:pt x="457" y="39"/>
                    </a:cubicBezTo>
                    <a:cubicBezTo>
                      <a:pt x="457" y="37"/>
                      <a:pt x="457" y="37"/>
                      <a:pt x="457" y="37"/>
                    </a:cubicBezTo>
                    <a:cubicBezTo>
                      <a:pt x="453" y="35"/>
                      <a:pt x="453" y="35"/>
                      <a:pt x="453" y="35"/>
                    </a:cubicBezTo>
                    <a:cubicBezTo>
                      <a:pt x="453" y="35"/>
                      <a:pt x="453" y="35"/>
                      <a:pt x="453" y="35"/>
                    </a:cubicBezTo>
                    <a:cubicBezTo>
                      <a:pt x="455" y="34"/>
                      <a:pt x="455" y="34"/>
                      <a:pt x="455" y="34"/>
                    </a:cubicBezTo>
                    <a:cubicBezTo>
                      <a:pt x="457" y="34"/>
                      <a:pt x="457" y="34"/>
                      <a:pt x="457" y="34"/>
                    </a:cubicBezTo>
                    <a:cubicBezTo>
                      <a:pt x="457" y="33"/>
                      <a:pt x="457" y="33"/>
                      <a:pt x="457" y="33"/>
                    </a:cubicBezTo>
                    <a:cubicBezTo>
                      <a:pt x="452" y="30"/>
                      <a:pt x="452" y="30"/>
                      <a:pt x="452" y="30"/>
                    </a:cubicBezTo>
                    <a:cubicBezTo>
                      <a:pt x="452" y="29"/>
                      <a:pt x="452" y="29"/>
                      <a:pt x="452" y="29"/>
                    </a:cubicBezTo>
                    <a:cubicBezTo>
                      <a:pt x="452" y="28"/>
                      <a:pt x="452" y="28"/>
                      <a:pt x="452" y="28"/>
                    </a:cubicBezTo>
                    <a:cubicBezTo>
                      <a:pt x="455" y="26"/>
                      <a:pt x="455" y="26"/>
                      <a:pt x="455" y="26"/>
                    </a:cubicBezTo>
                    <a:cubicBezTo>
                      <a:pt x="456" y="25"/>
                      <a:pt x="456" y="25"/>
                      <a:pt x="456" y="25"/>
                    </a:cubicBezTo>
                    <a:cubicBezTo>
                      <a:pt x="455" y="24"/>
                      <a:pt x="455" y="24"/>
                      <a:pt x="455" y="24"/>
                    </a:cubicBezTo>
                    <a:cubicBezTo>
                      <a:pt x="454" y="22"/>
                      <a:pt x="454" y="22"/>
                      <a:pt x="454" y="22"/>
                    </a:cubicBezTo>
                    <a:cubicBezTo>
                      <a:pt x="454" y="22"/>
                      <a:pt x="454" y="22"/>
                      <a:pt x="454" y="22"/>
                    </a:cubicBezTo>
                    <a:cubicBezTo>
                      <a:pt x="453" y="22"/>
                      <a:pt x="453" y="22"/>
                      <a:pt x="453" y="22"/>
                    </a:cubicBezTo>
                    <a:cubicBezTo>
                      <a:pt x="452" y="21"/>
                      <a:pt x="452" y="21"/>
                      <a:pt x="452" y="21"/>
                    </a:cubicBezTo>
                    <a:cubicBezTo>
                      <a:pt x="450" y="20"/>
                      <a:pt x="450" y="20"/>
                      <a:pt x="450" y="20"/>
                    </a:cubicBezTo>
                    <a:cubicBezTo>
                      <a:pt x="448" y="20"/>
                      <a:pt x="448" y="20"/>
                      <a:pt x="448" y="20"/>
                    </a:cubicBezTo>
                    <a:cubicBezTo>
                      <a:pt x="446" y="19"/>
                      <a:pt x="446" y="19"/>
                      <a:pt x="446" y="19"/>
                    </a:cubicBezTo>
                    <a:cubicBezTo>
                      <a:pt x="445" y="19"/>
                      <a:pt x="445" y="19"/>
                      <a:pt x="445" y="19"/>
                    </a:cubicBezTo>
                    <a:cubicBezTo>
                      <a:pt x="444" y="19"/>
                      <a:pt x="444" y="19"/>
                      <a:pt x="444" y="19"/>
                    </a:cubicBezTo>
                    <a:cubicBezTo>
                      <a:pt x="442" y="19"/>
                      <a:pt x="442" y="19"/>
                      <a:pt x="442" y="19"/>
                    </a:cubicBezTo>
                    <a:cubicBezTo>
                      <a:pt x="441" y="21"/>
                      <a:pt x="441" y="21"/>
                      <a:pt x="441" y="21"/>
                    </a:cubicBezTo>
                    <a:cubicBezTo>
                      <a:pt x="441" y="22"/>
                      <a:pt x="441" y="22"/>
                      <a:pt x="441" y="22"/>
                    </a:cubicBezTo>
                    <a:cubicBezTo>
                      <a:pt x="439" y="20"/>
                      <a:pt x="439" y="20"/>
                      <a:pt x="439" y="20"/>
                    </a:cubicBezTo>
                    <a:cubicBezTo>
                      <a:pt x="440" y="19"/>
                      <a:pt x="440" y="19"/>
                      <a:pt x="440" y="19"/>
                    </a:cubicBezTo>
                    <a:cubicBezTo>
                      <a:pt x="441" y="18"/>
                      <a:pt x="441" y="18"/>
                      <a:pt x="441" y="18"/>
                    </a:cubicBezTo>
                    <a:cubicBezTo>
                      <a:pt x="441" y="16"/>
                      <a:pt x="441" y="16"/>
                      <a:pt x="441" y="16"/>
                    </a:cubicBezTo>
                    <a:cubicBezTo>
                      <a:pt x="441" y="15"/>
                      <a:pt x="441" y="15"/>
                      <a:pt x="441" y="15"/>
                    </a:cubicBezTo>
                    <a:cubicBezTo>
                      <a:pt x="442" y="14"/>
                      <a:pt x="442" y="14"/>
                      <a:pt x="442" y="14"/>
                    </a:cubicBezTo>
                    <a:cubicBezTo>
                      <a:pt x="443" y="13"/>
                      <a:pt x="443" y="13"/>
                      <a:pt x="443" y="13"/>
                    </a:cubicBezTo>
                    <a:cubicBezTo>
                      <a:pt x="443" y="11"/>
                      <a:pt x="443" y="11"/>
                      <a:pt x="443" y="11"/>
                    </a:cubicBezTo>
                    <a:cubicBezTo>
                      <a:pt x="443" y="10"/>
                      <a:pt x="443" y="10"/>
                      <a:pt x="443" y="10"/>
                    </a:cubicBezTo>
                    <a:cubicBezTo>
                      <a:pt x="442" y="10"/>
                      <a:pt x="442" y="10"/>
                      <a:pt x="442" y="10"/>
                    </a:cubicBezTo>
                    <a:cubicBezTo>
                      <a:pt x="440" y="12"/>
                      <a:pt x="440" y="12"/>
                      <a:pt x="440" y="12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37" y="13"/>
                      <a:pt x="437" y="13"/>
                      <a:pt x="437" y="13"/>
                    </a:cubicBezTo>
                    <a:cubicBezTo>
                      <a:pt x="435" y="13"/>
                      <a:pt x="435" y="13"/>
                      <a:pt x="435" y="13"/>
                    </a:cubicBezTo>
                    <a:cubicBezTo>
                      <a:pt x="435" y="14"/>
                      <a:pt x="435" y="14"/>
                      <a:pt x="435" y="14"/>
                    </a:cubicBezTo>
                    <a:cubicBezTo>
                      <a:pt x="435" y="16"/>
                      <a:pt x="435" y="16"/>
                      <a:pt x="435" y="16"/>
                    </a:cubicBezTo>
                    <a:cubicBezTo>
                      <a:pt x="434" y="18"/>
                      <a:pt x="434" y="18"/>
                      <a:pt x="434" y="18"/>
                    </a:cubicBezTo>
                    <a:cubicBezTo>
                      <a:pt x="433" y="18"/>
                      <a:pt x="433" y="18"/>
                      <a:pt x="433" y="18"/>
                    </a:cubicBezTo>
                    <a:cubicBezTo>
                      <a:pt x="433" y="17"/>
                      <a:pt x="433" y="17"/>
                      <a:pt x="433" y="17"/>
                    </a:cubicBezTo>
                    <a:cubicBezTo>
                      <a:pt x="432" y="20"/>
                      <a:pt x="432" y="20"/>
                      <a:pt x="432" y="20"/>
                    </a:cubicBezTo>
                    <a:cubicBezTo>
                      <a:pt x="432" y="22"/>
                      <a:pt x="432" y="22"/>
                      <a:pt x="432" y="22"/>
                    </a:cubicBezTo>
                    <a:cubicBezTo>
                      <a:pt x="431" y="20"/>
                      <a:pt x="431" y="20"/>
                      <a:pt x="431" y="20"/>
                    </a:cubicBezTo>
                    <a:cubicBezTo>
                      <a:pt x="431" y="18"/>
                      <a:pt x="431" y="18"/>
                      <a:pt x="431" y="18"/>
                    </a:cubicBezTo>
                    <a:cubicBezTo>
                      <a:pt x="432" y="16"/>
                      <a:pt x="432" y="16"/>
                      <a:pt x="432" y="16"/>
                    </a:cubicBezTo>
                    <a:cubicBezTo>
                      <a:pt x="431" y="16"/>
                      <a:pt x="431" y="16"/>
                      <a:pt x="431" y="16"/>
                    </a:cubicBezTo>
                    <a:cubicBezTo>
                      <a:pt x="430" y="17"/>
                      <a:pt x="430" y="17"/>
                      <a:pt x="430" y="17"/>
                    </a:cubicBezTo>
                    <a:cubicBezTo>
                      <a:pt x="429" y="18"/>
                      <a:pt x="429" y="18"/>
                      <a:pt x="429" y="18"/>
                    </a:cubicBezTo>
                    <a:cubicBezTo>
                      <a:pt x="428" y="19"/>
                      <a:pt x="428" y="19"/>
                      <a:pt x="428" y="19"/>
                    </a:cubicBezTo>
                    <a:cubicBezTo>
                      <a:pt x="429" y="16"/>
                      <a:pt x="429" y="16"/>
                      <a:pt x="429" y="16"/>
                    </a:cubicBezTo>
                    <a:cubicBezTo>
                      <a:pt x="428" y="14"/>
                      <a:pt x="428" y="14"/>
                      <a:pt x="428" y="14"/>
                    </a:cubicBezTo>
                    <a:cubicBezTo>
                      <a:pt x="426" y="14"/>
                      <a:pt x="426" y="14"/>
                      <a:pt x="426" y="14"/>
                    </a:cubicBezTo>
                    <a:cubicBezTo>
                      <a:pt x="426" y="13"/>
                      <a:pt x="426" y="13"/>
                      <a:pt x="426" y="13"/>
                    </a:cubicBezTo>
                    <a:cubicBezTo>
                      <a:pt x="429" y="11"/>
                      <a:pt x="429" y="11"/>
                      <a:pt x="429" y="11"/>
                    </a:cubicBezTo>
                    <a:cubicBezTo>
                      <a:pt x="430" y="11"/>
                      <a:pt x="430" y="11"/>
                      <a:pt x="430" y="11"/>
                    </a:cubicBezTo>
                    <a:cubicBezTo>
                      <a:pt x="433" y="12"/>
                      <a:pt x="433" y="12"/>
                      <a:pt x="433" y="12"/>
                    </a:cubicBezTo>
                    <a:cubicBezTo>
                      <a:pt x="435" y="11"/>
                      <a:pt x="435" y="11"/>
                      <a:pt x="435" y="11"/>
                    </a:cubicBezTo>
                    <a:cubicBezTo>
                      <a:pt x="437" y="11"/>
                      <a:pt x="437" y="11"/>
                      <a:pt x="437" y="11"/>
                    </a:cubicBezTo>
                    <a:cubicBezTo>
                      <a:pt x="439" y="9"/>
                      <a:pt x="439" y="9"/>
                      <a:pt x="439" y="9"/>
                    </a:cubicBezTo>
                    <a:cubicBezTo>
                      <a:pt x="439" y="8"/>
                      <a:pt x="439" y="8"/>
                      <a:pt x="439" y="8"/>
                    </a:cubicBezTo>
                    <a:cubicBezTo>
                      <a:pt x="440" y="7"/>
                      <a:pt x="440" y="7"/>
                      <a:pt x="440" y="7"/>
                    </a:cubicBezTo>
                    <a:cubicBezTo>
                      <a:pt x="439" y="6"/>
                      <a:pt x="439" y="6"/>
                      <a:pt x="439" y="6"/>
                    </a:cubicBezTo>
                    <a:cubicBezTo>
                      <a:pt x="437" y="5"/>
                      <a:pt x="437" y="5"/>
                      <a:pt x="437" y="5"/>
                    </a:cubicBezTo>
                    <a:cubicBezTo>
                      <a:pt x="436" y="5"/>
                      <a:pt x="436" y="5"/>
                      <a:pt x="436" y="5"/>
                    </a:cubicBezTo>
                    <a:cubicBezTo>
                      <a:pt x="436" y="3"/>
                      <a:pt x="436" y="3"/>
                      <a:pt x="436" y="3"/>
                    </a:cubicBezTo>
                    <a:cubicBezTo>
                      <a:pt x="435" y="3"/>
                      <a:pt x="435" y="3"/>
                      <a:pt x="435" y="3"/>
                    </a:cubicBezTo>
                    <a:cubicBezTo>
                      <a:pt x="435" y="2"/>
                      <a:pt x="435" y="2"/>
                      <a:pt x="435" y="2"/>
                    </a:cubicBezTo>
                    <a:cubicBezTo>
                      <a:pt x="435" y="1"/>
                      <a:pt x="435" y="1"/>
                      <a:pt x="435" y="1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36" y="0"/>
                      <a:pt x="436" y="0"/>
                      <a:pt x="436" y="0"/>
                    </a:cubicBezTo>
                    <a:cubicBezTo>
                      <a:pt x="435" y="0"/>
                      <a:pt x="435" y="0"/>
                      <a:pt x="435" y="0"/>
                    </a:cubicBezTo>
                    <a:cubicBezTo>
                      <a:pt x="432" y="2"/>
                      <a:pt x="432" y="2"/>
                      <a:pt x="432" y="2"/>
                    </a:cubicBezTo>
                    <a:cubicBezTo>
                      <a:pt x="431" y="3"/>
                      <a:pt x="431" y="3"/>
                      <a:pt x="431" y="3"/>
                    </a:cubicBezTo>
                    <a:cubicBezTo>
                      <a:pt x="429" y="3"/>
                      <a:pt x="429" y="3"/>
                      <a:pt x="429" y="3"/>
                    </a:cubicBezTo>
                    <a:cubicBezTo>
                      <a:pt x="426" y="4"/>
                      <a:pt x="426" y="4"/>
                      <a:pt x="426" y="4"/>
                    </a:cubicBezTo>
                    <a:cubicBezTo>
                      <a:pt x="422" y="8"/>
                      <a:pt x="422" y="8"/>
                      <a:pt x="422" y="8"/>
                    </a:cubicBezTo>
                    <a:cubicBezTo>
                      <a:pt x="420" y="9"/>
                      <a:pt x="420" y="9"/>
                      <a:pt x="420" y="9"/>
                    </a:cubicBezTo>
                    <a:cubicBezTo>
                      <a:pt x="415" y="9"/>
                      <a:pt x="415" y="9"/>
                      <a:pt x="415" y="9"/>
                    </a:cubicBezTo>
                    <a:cubicBezTo>
                      <a:pt x="413" y="7"/>
                      <a:pt x="413" y="7"/>
                      <a:pt x="413" y="7"/>
                    </a:cubicBezTo>
                    <a:cubicBezTo>
                      <a:pt x="412" y="6"/>
                      <a:pt x="412" y="6"/>
                      <a:pt x="412" y="6"/>
                    </a:cubicBezTo>
                    <a:cubicBezTo>
                      <a:pt x="412" y="7"/>
                      <a:pt x="412" y="7"/>
                      <a:pt x="412" y="7"/>
                    </a:cubicBezTo>
                    <a:cubicBezTo>
                      <a:pt x="410" y="7"/>
                      <a:pt x="410" y="7"/>
                      <a:pt x="410" y="7"/>
                    </a:cubicBezTo>
                    <a:cubicBezTo>
                      <a:pt x="408" y="5"/>
                      <a:pt x="408" y="5"/>
                      <a:pt x="408" y="5"/>
                    </a:cubicBezTo>
                    <a:cubicBezTo>
                      <a:pt x="407" y="6"/>
                      <a:pt x="407" y="6"/>
                      <a:pt x="407" y="6"/>
                    </a:cubicBezTo>
                    <a:cubicBezTo>
                      <a:pt x="406" y="8"/>
                      <a:pt x="406" y="8"/>
                      <a:pt x="406" y="8"/>
                    </a:cubicBezTo>
                    <a:cubicBezTo>
                      <a:pt x="405" y="8"/>
                      <a:pt x="405" y="8"/>
                      <a:pt x="405" y="8"/>
                    </a:cubicBezTo>
                    <a:cubicBezTo>
                      <a:pt x="405" y="6"/>
                      <a:pt x="405" y="6"/>
                      <a:pt x="405" y="6"/>
                    </a:cubicBezTo>
                    <a:cubicBezTo>
                      <a:pt x="405" y="5"/>
                      <a:pt x="405" y="5"/>
                      <a:pt x="405" y="5"/>
                    </a:cubicBezTo>
                    <a:cubicBezTo>
                      <a:pt x="407" y="5"/>
                      <a:pt x="407" y="5"/>
                      <a:pt x="407" y="5"/>
                    </a:cubicBezTo>
                    <a:cubicBezTo>
                      <a:pt x="406" y="4"/>
                      <a:pt x="406" y="4"/>
                      <a:pt x="406" y="4"/>
                    </a:cubicBezTo>
                    <a:cubicBezTo>
                      <a:pt x="404" y="4"/>
                      <a:pt x="404" y="4"/>
                      <a:pt x="404" y="4"/>
                    </a:cubicBezTo>
                    <a:cubicBezTo>
                      <a:pt x="400" y="6"/>
                      <a:pt x="400" y="6"/>
                      <a:pt x="400" y="6"/>
                    </a:cubicBezTo>
                    <a:cubicBezTo>
                      <a:pt x="397" y="8"/>
                      <a:pt x="397" y="8"/>
                      <a:pt x="397" y="8"/>
                    </a:cubicBezTo>
                    <a:cubicBezTo>
                      <a:pt x="396" y="10"/>
                      <a:pt x="396" y="10"/>
                      <a:pt x="396" y="10"/>
                    </a:cubicBezTo>
                    <a:cubicBezTo>
                      <a:pt x="397" y="12"/>
                      <a:pt x="397" y="12"/>
                      <a:pt x="397" y="12"/>
                    </a:cubicBezTo>
                    <a:cubicBezTo>
                      <a:pt x="399" y="12"/>
                      <a:pt x="399" y="12"/>
                      <a:pt x="399" y="12"/>
                    </a:cubicBezTo>
                    <a:cubicBezTo>
                      <a:pt x="398" y="13"/>
                      <a:pt x="398" y="13"/>
                      <a:pt x="398" y="13"/>
                    </a:cubicBezTo>
                    <a:cubicBezTo>
                      <a:pt x="395" y="13"/>
                      <a:pt x="395" y="13"/>
                      <a:pt x="395" y="13"/>
                    </a:cubicBezTo>
                    <a:cubicBezTo>
                      <a:pt x="393" y="15"/>
                      <a:pt x="393" y="15"/>
                      <a:pt x="393" y="15"/>
                    </a:cubicBezTo>
                    <a:cubicBezTo>
                      <a:pt x="391" y="20"/>
                      <a:pt x="391" y="20"/>
                      <a:pt x="391" y="20"/>
                    </a:cubicBezTo>
                    <a:cubicBezTo>
                      <a:pt x="390" y="23"/>
                      <a:pt x="390" y="23"/>
                      <a:pt x="390" y="23"/>
                    </a:cubicBezTo>
                    <a:cubicBezTo>
                      <a:pt x="389" y="23"/>
                      <a:pt x="389" y="23"/>
                      <a:pt x="389" y="23"/>
                    </a:cubicBezTo>
                    <a:cubicBezTo>
                      <a:pt x="388" y="23"/>
                      <a:pt x="388" y="23"/>
                      <a:pt x="388" y="23"/>
                    </a:cubicBezTo>
                    <a:cubicBezTo>
                      <a:pt x="389" y="19"/>
                      <a:pt x="389" y="19"/>
                      <a:pt x="389" y="19"/>
                    </a:cubicBezTo>
                    <a:cubicBezTo>
                      <a:pt x="392" y="15"/>
                      <a:pt x="392" y="15"/>
                      <a:pt x="392" y="15"/>
                    </a:cubicBezTo>
                    <a:cubicBezTo>
                      <a:pt x="392" y="13"/>
                      <a:pt x="392" y="13"/>
                      <a:pt x="392" y="13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86" y="16"/>
                      <a:pt x="386" y="16"/>
                      <a:pt x="386" y="16"/>
                    </a:cubicBezTo>
                    <a:cubicBezTo>
                      <a:pt x="384" y="16"/>
                      <a:pt x="384" y="16"/>
                      <a:pt x="384" y="16"/>
                    </a:cubicBezTo>
                    <a:cubicBezTo>
                      <a:pt x="383" y="15"/>
                      <a:pt x="383" y="15"/>
                      <a:pt x="383" y="15"/>
                    </a:cubicBezTo>
                    <a:cubicBezTo>
                      <a:pt x="381" y="13"/>
                      <a:pt x="381" y="13"/>
                      <a:pt x="381" y="13"/>
                    </a:cubicBezTo>
                    <a:cubicBezTo>
                      <a:pt x="379" y="12"/>
                      <a:pt x="379" y="12"/>
                      <a:pt x="379" y="12"/>
                    </a:cubicBezTo>
                    <a:cubicBezTo>
                      <a:pt x="378" y="12"/>
                      <a:pt x="378" y="12"/>
                      <a:pt x="378" y="12"/>
                    </a:cubicBezTo>
                    <a:cubicBezTo>
                      <a:pt x="378" y="13"/>
                      <a:pt x="378" y="13"/>
                      <a:pt x="378" y="13"/>
                    </a:cubicBezTo>
                    <a:cubicBezTo>
                      <a:pt x="381" y="14"/>
                      <a:pt x="381" y="14"/>
                      <a:pt x="381" y="14"/>
                    </a:cubicBezTo>
                    <a:cubicBezTo>
                      <a:pt x="382" y="16"/>
                      <a:pt x="382" y="16"/>
                      <a:pt x="382" y="16"/>
                    </a:cubicBezTo>
                    <a:cubicBezTo>
                      <a:pt x="381" y="16"/>
                      <a:pt x="381" y="16"/>
                      <a:pt x="381" y="16"/>
                    </a:cubicBezTo>
                    <a:cubicBezTo>
                      <a:pt x="378" y="16"/>
                      <a:pt x="378" y="16"/>
                      <a:pt x="378" y="16"/>
                    </a:cubicBezTo>
                    <a:cubicBezTo>
                      <a:pt x="375" y="15"/>
                      <a:pt x="375" y="15"/>
                      <a:pt x="375" y="15"/>
                    </a:cubicBezTo>
                    <a:cubicBezTo>
                      <a:pt x="371" y="17"/>
                      <a:pt x="371" y="17"/>
                      <a:pt x="371" y="17"/>
                    </a:cubicBezTo>
                    <a:cubicBezTo>
                      <a:pt x="366" y="21"/>
                      <a:pt x="366" y="21"/>
                      <a:pt x="366" y="21"/>
                    </a:cubicBezTo>
                    <a:cubicBezTo>
                      <a:pt x="360" y="24"/>
                      <a:pt x="360" y="24"/>
                      <a:pt x="360" y="24"/>
                    </a:cubicBezTo>
                    <a:cubicBezTo>
                      <a:pt x="357" y="27"/>
                      <a:pt x="357" y="27"/>
                      <a:pt x="357" y="27"/>
                    </a:cubicBezTo>
                    <a:cubicBezTo>
                      <a:pt x="353" y="31"/>
                      <a:pt x="353" y="31"/>
                      <a:pt x="353" y="31"/>
                    </a:cubicBezTo>
                    <a:cubicBezTo>
                      <a:pt x="348" y="35"/>
                      <a:pt x="348" y="35"/>
                      <a:pt x="348" y="35"/>
                    </a:cubicBezTo>
                    <a:cubicBezTo>
                      <a:pt x="344" y="36"/>
                      <a:pt x="344" y="36"/>
                      <a:pt x="344" y="36"/>
                    </a:cubicBezTo>
                    <a:cubicBezTo>
                      <a:pt x="343" y="37"/>
                      <a:pt x="343" y="37"/>
                      <a:pt x="343" y="37"/>
                    </a:cubicBezTo>
                    <a:cubicBezTo>
                      <a:pt x="340" y="38"/>
                      <a:pt x="340" y="38"/>
                      <a:pt x="340" y="38"/>
                    </a:cubicBezTo>
                    <a:cubicBezTo>
                      <a:pt x="338" y="39"/>
                      <a:pt x="338" y="39"/>
                      <a:pt x="338" y="39"/>
                    </a:cubicBezTo>
                    <a:cubicBezTo>
                      <a:pt x="335" y="41"/>
                      <a:pt x="335" y="41"/>
                      <a:pt x="335" y="41"/>
                    </a:cubicBezTo>
                    <a:cubicBezTo>
                      <a:pt x="332" y="41"/>
                      <a:pt x="332" y="41"/>
                      <a:pt x="332" y="41"/>
                    </a:cubicBezTo>
                    <a:cubicBezTo>
                      <a:pt x="330" y="40"/>
                      <a:pt x="330" y="40"/>
                      <a:pt x="330" y="40"/>
                    </a:cubicBezTo>
                    <a:cubicBezTo>
                      <a:pt x="327" y="39"/>
                      <a:pt x="327" y="39"/>
                      <a:pt x="327" y="39"/>
                    </a:cubicBezTo>
                    <a:cubicBezTo>
                      <a:pt x="325" y="38"/>
                      <a:pt x="325" y="38"/>
                      <a:pt x="325" y="38"/>
                    </a:cubicBezTo>
                    <a:cubicBezTo>
                      <a:pt x="323" y="37"/>
                      <a:pt x="323" y="37"/>
                      <a:pt x="323" y="37"/>
                    </a:cubicBezTo>
                    <a:cubicBezTo>
                      <a:pt x="320" y="35"/>
                      <a:pt x="320" y="35"/>
                      <a:pt x="320" y="35"/>
                    </a:cubicBezTo>
                    <a:cubicBezTo>
                      <a:pt x="319" y="35"/>
                      <a:pt x="319" y="35"/>
                      <a:pt x="319" y="35"/>
                    </a:cubicBezTo>
                    <a:cubicBezTo>
                      <a:pt x="317" y="38"/>
                      <a:pt x="317" y="38"/>
                      <a:pt x="317" y="38"/>
                    </a:cubicBezTo>
                    <a:cubicBezTo>
                      <a:pt x="313" y="41"/>
                      <a:pt x="313" y="41"/>
                      <a:pt x="313" y="41"/>
                    </a:cubicBezTo>
                    <a:cubicBezTo>
                      <a:pt x="312" y="44"/>
                      <a:pt x="312" y="44"/>
                      <a:pt x="312" y="44"/>
                    </a:cubicBezTo>
                    <a:cubicBezTo>
                      <a:pt x="310" y="46"/>
                      <a:pt x="310" y="46"/>
                      <a:pt x="310" y="46"/>
                    </a:cubicBezTo>
                    <a:cubicBezTo>
                      <a:pt x="309" y="48"/>
                      <a:pt x="309" y="48"/>
                      <a:pt x="309" y="48"/>
                    </a:cubicBezTo>
                    <a:cubicBezTo>
                      <a:pt x="308" y="48"/>
                      <a:pt x="308" y="48"/>
                      <a:pt x="308" y="48"/>
                    </a:cubicBezTo>
                    <a:cubicBezTo>
                      <a:pt x="307" y="47"/>
                      <a:pt x="307" y="47"/>
                      <a:pt x="307" y="47"/>
                    </a:cubicBezTo>
                    <a:cubicBezTo>
                      <a:pt x="305" y="48"/>
                      <a:pt x="305" y="48"/>
                      <a:pt x="305" y="48"/>
                    </a:cubicBezTo>
                    <a:cubicBezTo>
                      <a:pt x="307" y="52"/>
                      <a:pt x="307" y="52"/>
                      <a:pt x="307" y="52"/>
                    </a:cubicBezTo>
                    <a:cubicBezTo>
                      <a:pt x="310" y="61"/>
                      <a:pt x="310" y="61"/>
                      <a:pt x="310" y="61"/>
                    </a:cubicBezTo>
                    <a:cubicBezTo>
                      <a:pt x="312" y="67"/>
                      <a:pt x="312" y="67"/>
                      <a:pt x="312" y="67"/>
                    </a:cubicBezTo>
                    <a:cubicBezTo>
                      <a:pt x="313" y="73"/>
                      <a:pt x="313" y="73"/>
                      <a:pt x="313" y="73"/>
                    </a:cubicBezTo>
                    <a:cubicBezTo>
                      <a:pt x="312" y="79"/>
                      <a:pt x="312" y="79"/>
                      <a:pt x="312" y="79"/>
                    </a:cubicBezTo>
                    <a:cubicBezTo>
                      <a:pt x="310" y="83"/>
                      <a:pt x="310" y="83"/>
                      <a:pt x="310" y="83"/>
                    </a:cubicBezTo>
                    <a:cubicBezTo>
                      <a:pt x="308" y="85"/>
                      <a:pt x="308" y="85"/>
                      <a:pt x="308" y="85"/>
                    </a:cubicBezTo>
                    <a:cubicBezTo>
                      <a:pt x="308" y="86"/>
                      <a:pt x="308" y="86"/>
                      <a:pt x="308" y="86"/>
                    </a:cubicBezTo>
                    <a:cubicBezTo>
                      <a:pt x="312" y="91"/>
                      <a:pt x="312" y="91"/>
                      <a:pt x="312" y="91"/>
                    </a:cubicBezTo>
                    <a:cubicBezTo>
                      <a:pt x="314" y="92"/>
                      <a:pt x="314" y="92"/>
                      <a:pt x="314" y="92"/>
                    </a:cubicBezTo>
                    <a:cubicBezTo>
                      <a:pt x="314" y="90"/>
                      <a:pt x="314" y="90"/>
                      <a:pt x="314" y="90"/>
                    </a:cubicBezTo>
                    <a:cubicBezTo>
                      <a:pt x="315" y="91"/>
                      <a:pt x="315" y="91"/>
                      <a:pt x="315" y="91"/>
                    </a:cubicBezTo>
                    <a:cubicBezTo>
                      <a:pt x="317" y="90"/>
                      <a:pt x="317" y="90"/>
                      <a:pt x="317" y="90"/>
                    </a:cubicBezTo>
                    <a:cubicBezTo>
                      <a:pt x="318" y="90"/>
                      <a:pt x="318" y="90"/>
                      <a:pt x="318" y="90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16" y="92"/>
                      <a:pt x="316" y="92"/>
                      <a:pt x="316" y="92"/>
                    </a:cubicBezTo>
                    <a:cubicBezTo>
                      <a:pt x="321" y="96"/>
                      <a:pt x="321" y="96"/>
                      <a:pt x="321" y="96"/>
                    </a:cubicBezTo>
                    <a:cubicBezTo>
                      <a:pt x="320" y="97"/>
                      <a:pt x="320" y="97"/>
                      <a:pt x="320" y="97"/>
                    </a:cubicBezTo>
                    <a:cubicBezTo>
                      <a:pt x="318" y="96"/>
                      <a:pt x="318" y="96"/>
                      <a:pt x="318" y="96"/>
                    </a:cubicBezTo>
                    <a:cubicBezTo>
                      <a:pt x="317" y="98"/>
                      <a:pt x="317" y="98"/>
                      <a:pt x="317" y="98"/>
                    </a:cubicBezTo>
                    <a:cubicBezTo>
                      <a:pt x="317" y="103"/>
                      <a:pt x="317" y="103"/>
                      <a:pt x="317" y="103"/>
                    </a:cubicBezTo>
                    <a:cubicBezTo>
                      <a:pt x="317" y="105"/>
                      <a:pt x="317" y="105"/>
                      <a:pt x="317" y="105"/>
                    </a:cubicBezTo>
                    <a:cubicBezTo>
                      <a:pt x="318" y="106"/>
                      <a:pt x="318" y="106"/>
                      <a:pt x="318" y="106"/>
                    </a:cubicBezTo>
                    <a:cubicBezTo>
                      <a:pt x="320" y="105"/>
                      <a:pt x="320" y="105"/>
                      <a:pt x="320" y="105"/>
                    </a:cubicBezTo>
                    <a:cubicBezTo>
                      <a:pt x="322" y="104"/>
                      <a:pt x="322" y="104"/>
                      <a:pt x="322" y="104"/>
                    </a:cubicBezTo>
                    <a:cubicBezTo>
                      <a:pt x="323" y="105"/>
                      <a:pt x="323" y="105"/>
                      <a:pt x="323" y="105"/>
                    </a:cubicBezTo>
                    <a:cubicBezTo>
                      <a:pt x="324" y="106"/>
                      <a:pt x="324" y="106"/>
                      <a:pt x="324" y="106"/>
                    </a:cubicBezTo>
                    <a:cubicBezTo>
                      <a:pt x="327" y="105"/>
                      <a:pt x="327" y="105"/>
                      <a:pt x="327" y="105"/>
                    </a:cubicBezTo>
                    <a:cubicBezTo>
                      <a:pt x="330" y="106"/>
                      <a:pt x="330" y="106"/>
                      <a:pt x="330" y="106"/>
                    </a:cubicBezTo>
                    <a:cubicBezTo>
                      <a:pt x="332" y="108"/>
                      <a:pt x="332" y="108"/>
                      <a:pt x="332" y="108"/>
                    </a:cubicBezTo>
                    <a:cubicBezTo>
                      <a:pt x="330" y="109"/>
                      <a:pt x="330" y="109"/>
                      <a:pt x="330" y="109"/>
                    </a:cubicBezTo>
                    <a:cubicBezTo>
                      <a:pt x="330" y="111"/>
                      <a:pt x="330" y="111"/>
                      <a:pt x="330" y="111"/>
                    </a:cubicBezTo>
                    <a:cubicBezTo>
                      <a:pt x="330" y="113"/>
                      <a:pt x="330" y="113"/>
                      <a:pt x="330" y="113"/>
                    </a:cubicBezTo>
                    <a:cubicBezTo>
                      <a:pt x="326" y="114"/>
                      <a:pt x="326" y="114"/>
                      <a:pt x="326" y="114"/>
                    </a:cubicBezTo>
                    <a:cubicBezTo>
                      <a:pt x="327" y="112"/>
                      <a:pt x="327" y="112"/>
                      <a:pt x="327" y="112"/>
                    </a:cubicBezTo>
                    <a:cubicBezTo>
                      <a:pt x="325" y="111"/>
                      <a:pt x="325" y="111"/>
                      <a:pt x="325" y="111"/>
                    </a:cubicBezTo>
                    <a:cubicBezTo>
                      <a:pt x="324" y="112"/>
                      <a:pt x="324" y="112"/>
                      <a:pt x="324" y="112"/>
                    </a:cubicBezTo>
                    <a:cubicBezTo>
                      <a:pt x="321" y="112"/>
                      <a:pt x="321" y="112"/>
                      <a:pt x="321" y="112"/>
                    </a:cubicBezTo>
                    <a:cubicBezTo>
                      <a:pt x="320" y="111"/>
                      <a:pt x="320" y="111"/>
                      <a:pt x="320" y="111"/>
                    </a:cubicBezTo>
                    <a:cubicBezTo>
                      <a:pt x="319" y="108"/>
                      <a:pt x="319" y="108"/>
                      <a:pt x="319" y="108"/>
                    </a:cubicBezTo>
                    <a:cubicBezTo>
                      <a:pt x="317" y="107"/>
                      <a:pt x="317" y="107"/>
                      <a:pt x="317" y="107"/>
                    </a:cubicBezTo>
                    <a:cubicBezTo>
                      <a:pt x="317" y="107"/>
                      <a:pt x="317" y="107"/>
                      <a:pt x="317" y="107"/>
                    </a:cubicBezTo>
                    <a:cubicBezTo>
                      <a:pt x="314" y="105"/>
                      <a:pt x="314" y="105"/>
                      <a:pt x="314" y="105"/>
                    </a:cubicBezTo>
                    <a:cubicBezTo>
                      <a:pt x="315" y="102"/>
                      <a:pt x="315" y="102"/>
                      <a:pt x="315" y="102"/>
                    </a:cubicBezTo>
                    <a:cubicBezTo>
                      <a:pt x="317" y="97"/>
                      <a:pt x="317" y="97"/>
                      <a:pt x="317" y="97"/>
                    </a:cubicBezTo>
                    <a:cubicBezTo>
                      <a:pt x="316" y="95"/>
                      <a:pt x="316" y="95"/>
                      <a:pt x="316" y="95"/>
                    </a:cubicBezTo>
                    <a:cubicBezTo>
                      <a:pt x="316" y="95"/>
                      <a:pt x="316" y="95"/>
                      <a:pt x="316" y="95"/>
                    </a:cubicBezTo>
                    <a:cubicBezTo>
                      <a:pt x="314" y="96"/>
                      <a:pt x="314" y="96"/>
                      <a:pt x="314" y="96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13" y="106"/>
                      <a:pt x="313" y="106"/>
                      <a:pt x="313" y="106"/>
                    </a:cubicBezTo>
                    <a:cubicBezTo>
                      <a:pt x="311" y="108"/>
                      <a:pt x="311" y="108"/>
                      <a:pt x="311" y="108"/>
                    </a:cubicBezTo>
                    <a:cubicBezTo>
                      <a:pt x="311" y="110"/>
                      <a:pt x="311" y="110"/>
                      <a:pt x="311" y="110"/>
                    </a:cubicBezTo>
                    <a:cubicBezTo>
                      <a:pt x="312" y="108"/>
                      <a:pt x="312" y="108"/>
                      <a:pt x="312" y="108"/>
                    </a:cubicBezTo>
                    <a:cubicBezTo>
                      <a:pt x="314" y="108"/>
                      <a:pt x="314" y="108"/>
                      <a:pt x="314" y="108"/>
                    </a:cubicBezTo>
                    <a:cubicBezTo>
                      <a:pt x="315" y="108"/>
                      <a:pt x="315" y="108"/>
                      <a:pt x="315" y="108"/>
                    </a:cubicBezTo>
                    <a:cubicBezTo>
                      <a:pt x="317" y="108"/>
                      <a:pt x="317" y="108"/>
                      <a:pt x="317" y="108"/>
                    </a:cubicBezTo>
                    <a:cubicBezTo>
                      <a:pt x="318" y="111"/>
                      <a:pt x="318" y="111"/>
                      <a:pt x="318" y="111"/>
                    </a:cubicBezTo>
                    <a:cubicBezTo>
                      <a:pt x="318" y="114"/>
                      <a:pt x="318" y="114"/>
                      <a:pt x="318" y="114"/>
                    </a:cubicBezTo>
                    <a:cubicBezTo>
                      <a:pt x="316" y="116"/>
                      <a:pt x="316" y="116"/>
                      <a:pt x="316" y="116"/>
                    </a:cubicBezTo>
                    <a:cubicBezTo>
                      <a:pt x="313" y="118"/>
                      <a:pt x="313" y="118"/>
                      <a:pt x="313" y="118"/>
                    </a:cubicBezTo>
                    <a:cubicBezTo>
                      <a:pt x="316" y="114"/>
                      <a:pt x="316" y="114"/>
                      <a:pt x="316" y="114"/>
                    </a:cubicBezTo>
                    <a:cubicBezTo>
                      <a:pt x="315" y="113"/>
                      <a:pt x="315" y="113"/>
                      <a:pt x="315" y="113"/>
                    </a:cubicBezTo>
                    <a:cubicBezTo>
                      <a:pt x="314" y="112"/>
                      <a:pt x="314" y="112"/>
                      <a:pt x="314" y="112"/>
                    </a:cubicBezTo>
                    <a:cubicBezTo>
                      <a:pt x="313" y="112"/>
                      <a:pt x="313" y="112"/>
                      <a:pt x="313" y="112"/>
                    </a:cubicBezTo>
                    <a:cubicBezTo>
                      <a:pt x="312" y="113"/>
                      <a:pt x="312" y="113"/>
                      <a:pt x="312" y="113"/>
                    </a:cubicBezTo>
                    <a:cubicBezTo>
                      <a:pt x="309" y="115"/>
                      <a:pt x="309" y="115"/>
                      <a:pt x="309" y="115"/>
                    </a:cubicBezTo>
                    <a:cubicBezTo>
                      <a:pt x="309" y="117"/>
                      <a:pt x="309" y="117"/>
                      <a:pt x="309" y="117"/>
                    </a:cubicBezTo>
                    <a:cubicBezTo>
                      <a:pt x="307" y="117"/>
                      <a:pt x="307" y="117"/>
                      <a:pt x="307" y="117"/>
                    </a:cubicBezTo>
                    <a:cubicBezTo>
                      <a:pt x="306" y="118"/>
                      <a:pt x="306" y="118"/>
                      <a:pt x="306" y="118"/>
                    </a:cubicBezTo>
                    <a:cubicBezTo>
                      <a:pt x="305" y="116"/>
                      <a:pt x="305" y="116"/>
                      <a:pt x="305" y="116"/>
                    </a:cubicBezTo>
                    <a:cubicBezTo>
                      <a:pt x="304" y="116"/>
                      <a:pt x="304" y="116"/>
                      <a:pt x="304" y="116"/>
                    </a:cubicBezTo>
                    <a:cubicBezTo>
                      <a:pt x="302" y="116"/>
                      <a:pt x="302" y="116"/>
                      <a:pt x="302" y="116"/>
                    </a:cubicBezTo>
                    <a:cubicBezTo>
                      <a:pt x="301" y="116"/>
                      <a:pt x="301" y="116"/>
                      <a:pt x="301" y="116"/>
                    </a:cubicBezTo>
                    <a:cubicBezTo>
                      <a:pt x="300" y="114"/>
                      <a:pt x="300" y="114"/>
                      <a:pt x="300" y="114"/>
                    </a:cubicBezTo>
                    <a:cubicBezTo>
                      <a:pt x="299" y="113"/>
                      <a:pt x="299" y="113"/>
                      <a:pt x="299" y="113"/>
                    </a:cubicBezTo>
                    <a:cubicBezTo>
                      <a:pt x="298" y="114"/>
                      <a:pt x="298" y="114"/>
                      <a:pt x="298" y="114"/>
                    </a:cubicBezTo>
                    <a:cubicBezTo>
                      <a:pt x="296" y="114"/>
                      <a:pt x="296" y="114"/>
                      <a:pt x="296" y="114"/>
                    </a:cubicBezTo>
                    <a:cubicBezTo>
                      <a:pt x="296" y="112"/>
                      <a:pt x="296" y="112"/>
                      <a:pt x="296" y="112"/>
                    </a:cubicBezTo>
                    <a:cubicBezTo>
                      <a:pt x="295" y="111"/>
                      <a:pt x="295" y="111"/>
                      <a:pt x="295" y="111"/>
                    </a:cubicBezTo>
                    <a:cubicBezTo>
                      <a:pt x="293" y="112"/>
                      <a:pt x="293" y="112"/>
                      <a:pt x="293" y="112"/>
                    </a:cubicBezTo>
                    <a:cubicBezTo>
                      <a:pt x="293" y="112"/>
                      <a:pt x="293" y="112"/>
                      <a:pt x="293" y="112"/>
                    </a:cubicBezTo>
                    <a:cubicBezTo>
                      <a:pt x="293" y="110"/>
                      <a:pt x="293" y="110"/>
                      <a:pt x="293" y="110"/>
                    </a:cubicBezTo>
                    <a:cubicBezTo>
                      <a:pt x="292" y="108"/>
                      <a:pt x="292" y="108"/>
                      <a:pt x="292" y="108"/>
                    </a:cubicBezTo>
                    <a:cubicBezTo>
                      <a:pt x="292" y="107"/>
                      <a:pt x="292" y="107"/>
                      <a:pt x="292" y="107"/>
                    </a:cubicBezTo>
                    <a:cubicBezTo>
                      <a:pt x="294" y="106"/>
                      <a:pt x="294" y="106"/>
                      <a:pt x="294" y="106"/>
                    </a:cubicBezTo>
                    <a:cubicBezTo>
                      <a:pt x="296" y="103"/>
                      <a:pt x="296" y="103"/>
                      <a:pt x="296" y="103"/>
                    </a:cubicBezTo>
                    <a:cubicBezTo>
                      <a:pt x="297" y="103"/>
                      <a:pt x="297" y="103"/>
                      <a:pt x="297" y="103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00"/>
                      <a:pt x="298" y="100"/>
                      <a:pt x="298" y="100"/>
                    </a:cubicBezTo>
                    <a:cubicBezTo>
                      <a:pt x="295" y="98"/>
                      <a:pt x="295" y="98"/>
                      <a:pt x="295" y="98"/>
                    </a:cubicBezTo>
                    <a:cubicBezTo>
                      <a:pt x="294" y="97"/>
                      <a:pt x="294" y="97"/>
                      <a:pt x="294" y="97"/>
                    </a:cubicBezTo>
                    <a:cubicBezTo>
                      <a:pt x="292" y="97"/>
                      <a:pt x="292" y="97"/>
                      <a:pt x="292" y="97"/>
                    </a:cubicBezTo>
                    <a:cubicBezTo>
                      <a:pt x="289" y="99"/>
                      <a:pt x="289" y="99"/>
                      <a:pt x="289" y="99"/>
                    </a:cubicBezTo>
                    <a:cubicBezTo>
                      <a:pt x="287" y="99"/>
                      <a:pt x="287" y="99"/>
                      <a:pt x="287" y="99"/>
                    </a:cubicBezTo>
                    <a:cubicBezTo>
                      <a:pt x="285" y="97"/>
                      <a:pt x="285" y="97"/>
                      <a:pt x="285" y="97"/>
                    </a:cubicBezTo>
                    <a:cubicBezTo>
                      <a:pt x="284" y="98"/>
                      <a:pt x="284" y="98"/>
                      <a:pt x="284" y="98"/>
                    </a:cubicBezTo>
                    <a:cubicBezTo>
                      <a:pt x="278" y="100"/>
                      <a:pt x="278" y="100"/>
                      <a:pt x="278" y="100"/>
                    </a:cubicBezTo>
                    <a:cubicBezTo>
                      <a:pt x="278" y="101"/>
                      <a:pt x="278" y="101"/>
                      <a:pt x="278" y="101"/>
                    </a:cubicBezTo>
                    <a:cubicBezTo>
                      <a:pt x="278" y="102"/>
                      <a:pt x="278" y="102"/>
                      <a:pt x="278" y="102"/>
                    </a:cubicBezTo>
                    <a:cubicBezTo>
                      <a:pt x="281" y="104"/>
                      <a:pt x="281" y="104"/>
                      <a:pt x="281" y="104"/>
                    </a:cubicBezTo>
                    <a:cubicBezTo>
                      <a:pt x="280" y="105"/>
                      <a:pt x="280" y="105"/>
                      <a:pt x="280" y="105"/>
                    </a:cubicBezTo>
                    <a:cubicBezTo>
                      <a:pt x="279" y="104"/>
                      <a:pt x="279" y="104"/>
                      <a:pt x="279" y="104"/>
                    </a:cubicBezTo>
                    <a:cubicBezTo>
                      <a:pt x="277" y="104"/>
                      <a:pt x="277" y="104"/>
                      <a:pt x="277" y="104"/>
                    </a:cubicBezTo>
                    <a:cubicBezTo>
                      <a:pt x="276" y="103"/>
                      <a:pt x="276" y="103"/>
                      <a:pt x="276" y="103"/>
                    </a:cubicBezTo>
                    <a:cubicBezTo>
                      <a:pt x="274" y="103"/>
                      <a:pt x="274" y="103"/>
                      <a:pt x="274" y="103"/>
                    </a:cubicBezTo>
                    <a:cubicBezTo>
                      <a:pt x="271" y="102"/>
                      <a:pt x="271" y="102"/>
                      <a:pt x="271" y="102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6" y="104"/>
                      <a:pt x="266" y="104"/>
                      <a:pt x="266" y="104"/>
                    </a:cubicBezTo>
                    <a:cubicBezTo>
                      <a:pt x="266" y="105"/>
                      <a:pt x="266" y="105"/>
                      <a:pt x="266" y="105"/>
                    </a:cubicBezTo>
                    <a:cubicBezTo>
                      <a:pt x="264" y="105"/>
                      <a:pt x="264" y="105"/>
                      <a:pt x="264" y="105"/>
                    </a:cubicBezTo>
                    <a:cubicBezTo>
                      <a:pt x="264" y="104"/>
                      <a:pt x="264" y="104"/>
                      <a:pt x="264" y="104"/>
                    </a:cubicBezTo>
                    <a:cubicBezTo>
                      <a:pt x="262" y="104"/>
                      <a:pt x="262" y="104"/>
                      <a:pt x="262" y="104"/>
                    </a:cubicBezTo>
                    <a:cubicBezTo>
                      <a:pt x="259" y="106"/>
                      <a:pt x="259" y="106"/>
                      <a:pt x="259" y="106"/>
                    </a:cubicBezTo>
                    <a:cubicBezTo>
                      <a:pt x="259" y="107"/>
                      <a:pt x="259" y="107"/>
                      <a:pt x="259" y="107"/>
                    </a:cubicBezTo>
                    <a:cubicBezTo>
                      <a:pt x="258" y="107"/>
                      <a:pt x="258" y="107"/>
                      <a:pt x="258" y="107"/>
                    </a:cubicBezTo>
                    <a:cubicBezTo>
                      <a:pt x="255" y="109"/>
                      <a:pt x="255" y="109"/>
                      <a:pt x="255" y="109"/>
                    </a:cubicBezTo>
                    <a:cubicBezTo>
                      <a:pt x="253" y="110"/>
                      <a:pt x="253" y="110"/>
                      <a:pt x="253" y="110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53" y="108"/>
                      <a:pt x="253" y="108"/>
                      <a:pt x="253" y="108"/>
                    </a:cubicBezTo>
                    <a:cubicBezTo>
                      <a:pt x="251" y="109"/>
                      <a:pt x="251" y="109"/>
                      <a:pt x="251" y="109"/>
                    </a:cubicBezTo>
                    <a:cubicBezTo>
                      <a:pt x="250" y="112"/>
                      <a:pt x="250" y="112"/>
                      <a:pt x="250" y="112"/>
                    </a:cubicBezTo>
                    <a:cubicBezTo>
                      <a:pt x="250" y="112"/>
                      <a:pt x="250" y="112"/>
                      <a:pt x="250" y="112"/>
                    </a:cubicBezTo>
                    <a:cubicBezTo>
                      <a:pt x="252" y="116"/>
                      <a:pt x="252" y="116"/>
                      <a:pt x="252" y="116"/>
                    </a:cubicBezTo>
                    <a:cubicBezTo>
                      <a:pt x="255" y="120"/>
                      <a:pt x="255" y="120"/>
                      <a:pt x="255" y="120"/>
                    </a:cubicBezTo>
                    <a:cubicBezTo>
                      <a:pt x="257" y="120"/>
                      <a:pt x="257" y="120"/>
                      <a:pt x="257" y="120"/>
                    </a:cubicBezTo>
                    <a:cubicBezTo>
                      <a:pt x="259" y="123"/>
                      <a:pt x="259" y="123"/>
                      <a:pt x="259" y="123"/>
                    </a:cubicBezTo>
                    <a:cubicBezTo>
                      <a:pt x="262" y="124"/>
                      <a:pt x="262" y="124"/>
                      <a:pt x="262" y="124"/>
                    </a:cubicBezTo>
                    <a:cubicBezTo>
                      <a:pt x="262" y="127"/>
                      <a:pt x="262" y="127"/>
                      <a:pt x="262" y="127"/>
                    </a:cubicBezTo>
                    <a:cubicBezTo>
                      <a:pt x="264" y="127"/>
                      <a:pt x="264" y="127"/>
                      <a:pt x="264" y="127"/>
                    </a:cubicBezTo>
                    <a:cubicBezTo>
                      <a:pt x="267" y="128"/>
                      <a:pt x="267" y="128"/>
                      <a:pt x="267" y="128"/>
                    </a:cubicBezTo>
                    <a:cubicBezTo>
                      <a:pt x="266" y="129"/>
                      <a:pt x="266" y="129"/>
                      <a:pt x="266" y="129"/>
                    </a:cubicBezTo>
                    <a:cubicBezTo>
                      <a:pt x="263" y="129"/>
                      <a:pt x="263" y="129"/>
                      <a:pt x="263" y="129"/>
                    </a:cubicBezTo>
                    <a:cubicBezTo>
                      <a:pt x="262" y="127"/>
                      <a:pt x="262" y="127"/>
                      <a:pt x="262" y="127"/>
                    </a:cubicBezTo>
                    <a:cubicBezTo>
                      <a:pt x="260" y="125"/>
                      <a:pt x="260" y="125"/>
                      <a:pt x="260" y="125"/>
                    </a:cubicBezTo>
                    <a:cubicBezTo>
                      <a:pt x="259" y="124"/>
                      <a:pt x="259" y="124"/>
                      <a:pt x="259" y="124"/>
                    </a:cubicBezTo>
                    <a:cubicBezTo>
                      <a:pt x="258" y="125"/>
                      <a:pt x="258" y="125"/>
                      <a:pt x="258" y="125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54" y="127"/>
                      <a:pt x="254" y="127"/>
                      <a:pt x="254" y="127"/>
                    </a:cubicBezTo>
                    <a:cubicBezTo>
                      <a:pt x="253" y="125"/>
                      <a:pt x="253" y="125"/>
                      <a:pt x="253" y="125"/>
                    </a:cubicBezTo>
                    <a:cubicBezTo>
                      <a:pt x="255" y="123"/>
                      <a:pt x="255" y="123"/>
                      <a:pt x="255" y="123"/>
                    </a:cubicBezTo>
                    <a:cubicBezTo>
                      <a:pt x="255" y="122"/>
                      <a:pt x="255" y="122"/>
                      <a:pt x="255" y="122"/>
                    </a:cubicBezTo>
                    <a:cubicBezTo>
                      <a:pt x="253" y="122"/>
                      <a:pt x="253" y="122"/>
                      <a:pt x="253" y="122"/>
                    </a:cubicBezTo>
                    <a:cubicBezTo>
                      <a:pt x="252" y="124"/>
                      <a:pt x="252" y="124"/>
                      <a:pt x="252" y="124"/>
                    </a:cubicBezTo>
                    <a:cubicBezTo>
                      <a:pt x="252" y="128"/>
                      <a:pt x="252" y="128"/>
                      <a:pt x="252" y="128"/>
                    </a:cubicBezTo>
                    <a:cubicBezTo>
                      <a:pt x="253" y="129"/>
                      <a:pt x="253" y="129"/>
                      <a:pt x="253" y="129"/>
                    </a:cubicBezTo>
                    <a:cubicBezTo>
                      <a:pt x="253" y="131"/>
                      <a:pt x="253" y="131"/>
                      <a:pt x="253" y="131"/>
                    </a:cubicBezTo>
                    <a:cubicBezTo>
                      <a:pt x="251" y="133"/>
                      <a:pt x="251" y="133"/>
                      <a:pt x="251" y="133"/>
                    </a:cubicBezTo>
                    <a:cubicBezTo>
                      <a:pt x="249" y="135"/>
                      <a:pt x="249" y="135"/>
                      <a:pt x="249" y="135"/>
                    </a:cubicBezTo>
                    <a:cubicBezTo>
                      <a:pt x="249" y="138"/>
                      <a:pt x="249" y="138"/>
                      <a:pt x="249" y="138"/>
                    </a:cubicBezTo>
                    <a:cubicBezTo>
                      <a:pt x="249" y="141"/>
                      <a:pt x="249" y="141"/>
                      <a:pt x="249" y="141"/>
                    </a:cubicBezTo>
                    <a:cubicBezTo>
                      <a:pt x="252" y="144"/>
                      <a:pt x="252" y="144"/>
                      <a:pt x="252" y="144"/>
                    </a:cubicBezTo>
                    <a:cubicBezTo>
                      <a:pt x="256" y="146"/>
                      <a:pt x="256" y="146"/>
                      <a:pt x="256" y="146"/>
                    </a:cubicBezTo>
                    <a:cubicBezTo>
                      <a:pt x="258" y="148"/>
                      <a:pt x="258" y="148"/>
                      <a:pt x="258" y="148"/>
                    </a:cubicBezTo>
                    <a:cubicBezTo>
                      <a:pt x="259" y="148"/>
                      <a:pt x="259" y="148"/>
                      <a:pt x="259" y="148"/>
                    </a:cubicBezTo>
                    <a:cubicBezTo>
                      <a:pt x="261" y="146"/>
                      <a:pt x="261" y="146"/>
                      <a:pt x="261" y="146"/>
                    </a:cubicBezTo>
                    <a:cubicBezTo>
                      <a:pt x="264" y="145"/>
                      <a:pt x="264" y="145"/>
                      <a:pt x="264" y="145"/>
                    </a:cubicBezTo>
                    <a:cubicBezTo>
                      <a:pt x="266" y="147"/>
                      <a:pt x="266" y="147"/>
                      <a:pt x="266" y="147"/>
                    </a:cubicBezTo>
                    <a:cubicBezTo>
                      <a:pt x="271" y="147"/>
                      <a:pt x="271" y="147"/>
                      <a:pt x="271" y="147"/>
                    </a:cubicBezTo>
                    <a:cubicBezTo>
                      <a:pt x="272" y="148"/>
                      <a:pt x="272" y="148"/>
                      <a:pt x="272" y="148"/>
                    </a:cubicBezTo>
                    <a:cubicBezTo>
                      <a:pt x="273" y="151"/>
                      <a:pt x="273" y="151"/>
                      <a:pt x="273" y="151"/>
                    </a:cubicBezTo>
                    <a:cubicBezTo>
                      <a:pt x="274" y="151"/>
                      <a:pt x="274" y="151"/>
                      <a:pt x="274" y="151"/>
                    </a:cubicBezTo>
                    <a:cubicBezTo>
                      <a:pt x="275" y="150"/>
                      <a:pt x="275" y="150"/>
                      <a:pt x="275" y="150"/>
                    </a:cubicBezTo>
                    <a:cubicBezTo>
                      <a:pt x="275" y="148"/>
                      <a:pt x="275" y="148"/>
                      <a:pt x="275" y="148"/>
                    </a:cubicBezTo>
                    <a:cubicBezTo>
                      <a:pt x="275" y="147"/>
                      <a:pt x="275" y="147"/>
                      <a:pt x="275" y="147"/>
                    </a:cubicBezTo>
                    <a:cubicBezTo>
                      <a:pt x="277" y="147"/>
                      <a:pt x="277" y="147"/>
                      <a:pt x="277" y="147"/>
                    </a:cubicBezTo>
                    <a:cubicBezTo>
                      <a:pt x="277" y="149"/>
                      <a:pt x="277" y="149"/>
                      <a:pt x="277" y="149"/>
                    </a:cubicBezTo>
                    <a:cubicBezTo>
                      <a:pt x="275" y="151"/>
                      <a:pt x="275" y="151"/>
                      <a:pt x="275" y="151"/>
                    </a:cubicBezTo>
                    <a:cubicBezTo>
                      <a:pt x="275" y="153"/>
                      <a:pt x="275" y="153"/>
                      <a:pt x="275" y="153"/>
                    </a:cubicBezTo>
                    <a:cubicBezTo>
                      <a:pt x="276" y="153"/>
                      <a:pt x="276" y="153"/>
                      <a:pt x="276" y="153"/>
                    </a:cubicBezTo>
                    <a:cubicBezTo>
                      <a:pt x="279" y="151"/>
                      <a:pt x="279" y="151"/>
                      <a:pt x="279" y="151"/>
                    </a:cubicBezTo>
                    <a:cubicBezTo>
                      <a:pt x="279" y="150"/>
                      <a:pt x="279" y="150"/>
                      <a:pt x="279" y="150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89" y="146"/>
                      <a:pt x="289" y="146"/>
                      <a:pt x="289" y="146"/>
                    </a:cubicBezTo>
                    <a:cubicBezTo>
                      <a:pt x="291" y="144"/>
                      <a:pt x="291" y="144"/>
                      <a:pt x="291" y="144"/>
                    </a:cubicBezTo>
                    <a:cubicBezTo>
                      <a:pt x="291" y="144"/>
                      <a:pt x="291" y="144"/>
                      <a:pt x="291" y="144"/>
                    </a:cubicBezTo>
                    <a:cubicBezTo>
                      <a:pt x="292" y="145"/>
                      <a:pt x="292" y="145"/>
                      <a:pt x="292" y="145"/>
                    </a:cubicBezTo>
                    <a:cubicBezTo>
                      <a:pt x="293" y="146"/>
                      <a:pt x="293" y="146"/>
                      <a:pt x="293" y="146"/>
                    </a:cubicBezTo>
                    <a:cubicBezTo>
                      <a:pt x="296" y="144"/>
                      <a:pt x="296" y="144"/>
                      <a:pt x="296" y="144"/>
                    </a:cubicBezTo>
                    <a:cubicBezTo>
                      <a:pt x="299" y="143"/>
                      <a:pt x="299" y="143"/>
                      <a:pt x="299" y="143"/>
                    </a:cubicBezTo>
                    <a:cubicBezTo>
                      <a:pt x="300" y="143"/>
                      <a:pt x="300" y="143"/>
                      <a:pt x="300" y="143"/>
                    </a:cubicBezTo>
                    <a:cubicBezTo>
                      <a:pt x="299" y="144"/>
                      <a:pt x="299" y="144"/>
                      <a:pt x="299" y="144"/>
                    </a:cubicBezTo>
                    <a:cubicBezTo>
                      <a:pt x="297" y="146"/>
                      <a:pt x="297" y="146"/>
                      <a:pt x="297" y="146"/>
                    </a:cubicBezTo>
                    <a:cubicBezTo>
                      <a:pt x="297" y="146"/>
                      <a:pt x="297" y="146"/>
                      <a:pt x="297" y="146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6" y="150"/>
                      <a:pt x="296" y="150"/>
                      <a:pt x="296" y="150"/>
                    </a:cubicBezTo>
                    <a:cubicBezTo>
                      <a:pt x="293" y="151"/>
                      <a:pt x="293" y="151"/>
                      <a:pt x="293" y="151"/>
                    </a:cubicBezTo>
                    <a:cubicBezTo>
                      <a:pt x="292" y="150"/>
                      <a:pt x="292" y="150"/>
                      <a:pt x="292" y="150"/>
                    </a:cubicBezTo>
                    <a:cubicBezTo>
                      <a:pt x="291" y="150"/>
                      <a:pt x="291" y="150"/>
                      <a:pt x="291" y="150"/>
                    </a:cubicBezTo>
                    <a:cubicBezTo>
                      <a:pt x="288" y="152"/>
                      <a:pt x="288" y="152"/>
                      <a:pt x="288" y="152"/>
                    </a:cubicBezTo>
                    <a:cubicBezTo>
                      <a:pt x="289" y="152"/>
                      <a:pt x="289" y="152"/>
                      <a:pt x="289" y="152"/>
                    </a:cubicBezTo>
                    <a:cubicBezTo>
                      <a:pt x="291" y="153"/>
                      <a:pt x="291" y="153"/>
                      <a:pt x="291" y="153"/>
                    </a:cubicBezTo>
                    <a:cubicBezTo>
                      <a:pt x="292" y="154"/>
                      <a:pt x="292" y="154"/>
                      <a:pt x="292" y="154"/>
                    </a:cubicBezTo>
                    <a:cubicBezTo>
                      <a:pt x="292" y="157"/>
                      <a:pt x="292" y="157"/>
                      <a:pt x="292" y="157"/>
                    </a:cubicBezTo>
                    <a:cubicBezTo>
                      <a:pt x="289" y="160"/>
                      <a:pt x="289" y="160"/>
                      <a:pt x="289" y="160"/>
                    </a:cubicBezTo>
                    <a:cubicBezTo>
                      <a:pt x="288" y="162"/>
                      <a:pt x="288" y="162"/>
                      <a:pt x="288" y="162"/>
                    </a:cubicBezTo>
                    <a:cubicBezTo>
                      <a:pt x="287" y="164"/>
                      <a:pt x="287" y="164"/>
                      <a:pt x="287" y="164"/>
                    </a:cubicBezTo>
                    <a:cubicBezTo>
                      <a:pt x="287" y="165"/>
                      <a:pt x="287" y="165"/>
                      <a:pt x="287" y="165"/>
                    </a:cubicBezTo>
                    <a:cubicBezTo>
                      <a:pt x="287" y="166"/>
                      <a:pt x="287" y="166"/>
                      <a:pt x="287" y="166"/>
                    </a:cubicBezTo>
                    <a:cubicBezTo>
                      <a:pt x="288" y="168"/>
                      <a:pt x="288" y="168"/>
                      <a:pt x="288" y="168"/>
                    </a:cubicBezTo>
                    <a:cubicBezTo>
                      <a:pt x="287" y="169"/>
                      <a:pt x="287" y="169"/>
                      <a:pt x="287" y="169"/>
                    </a:cubicBezTo>
                    <a:cubicBezTo>
                      <a:pt x="285" y="172"/>
                      <a:pt x="285" y="172"/>
                      <a:pt x="285" y="172"/>
                    </a:cubicBezTo>
                    <a:cubicBezTo>
                      <a:pt x="284" y="173"/>
                      <a:pt x="284" y="173"/>
                      <a:pt x="284" y="173"/>
                    </a:cubicBezTo>
                    <a:cubicBezTo>
                      <a:pt x="282" y="173"/>
                      <a:pt x="282" y="173"/>
                      <a:pt x="282" y="173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78" y="175"/>
                      <a:pt x="278" y="175"/>
                      <a:pt x="278" y="175"/>
                    </a:cubicBezTo>
                    <a:cubicBezTo>
                      <a:pt x="277" y="176"/>
                      <a:pt x="277" y="176"/>
                      <a:pt x="277" y="176"/>
                    </a:cubicBezTo>
                    <a:cubicBezTo>
                      <a:pt x="275" y="176"/>
                      <a:pt x="275" y="176"/>
                      <a:pt x="275" y="176"/>
                    </a:cubicBezTo>
                    <a:cubicBezTo>
                      <a:pt x="272" y="174"/>
                      <a:pt x="272" y="174"/>
                      <a:pt x="272" y="174"/>
                    </a:cubicBezTo>
                    <a:cubicBezTo>
                      <a:pt x="271" y="174"/>
                      <a:pt x="271" y="174"/>
                      <a:pt x="271" y="174"/>
                    </a:cubicBezTo>
                    <a:cubicBezTo>
                      <a:pt x="270" y="173"/>
                      <a:pt x="270" y="173"/>
                      <a:pt x="270" y="173"/>
                    </a:cubicBezTo>
                    <a:cubicBezTo>
                      <a:pt x="269" y="172"/>
                      <a:pt x="269" y="172"/>
                      <a:pt x="269" y="172"/>
                    </a:cubicBezTo>
                    <a:cubicBezTo>
                      <a:pt x="268" y="172"/>
                      <a:pt x="268" y="172"/>
                      <a:pt x="268" y="172"/>
                    </a:cubicBezTo>
                    <a:cubicBezTo>
                      <a:pt x="266" y="174"/>
                      <a:pt x="266" y="174"/>
                      <a:pt x="266" y="174"/>
                    </a:cubicBezTo>
                    <a:cubicBezTo>
                      <a:pt x="264" y="176"/>
                      <a:pt x="264" y="176"/>
                      <a:pt x="264" y="176"/>
                    </a:cubicBezTo>
                    <a:cubicBezTo>
                      <a:pt x="263" y="178"/>
                      <a:pt x="263" y="178"/>
                      <a:pt x="263" y="178"/>
                    </a:cubicBezTo>
                    <a:cubicBezTo>
                      <a:pt x="259" y="179"/>
                      <a:pt x="259" y="179"/>
                      <a:pt x="259" y="179"/>
                    </a:cubicBezTo>
                    <a:cubicBezTo>
                      <a:pt x="258" y="180"/>
                      <a:pt x="258" y="180"/>
                      <a:pt x="258" y="180"/>
                    </a:cubicBezTo>
                    <a:cubicBezTo>
                      <a:pt x="256" y="180"/>
                      <a:pt x="256" y="180"/>
                      <a:pt x="256" y="180"/>
                    </a:cubicBezTo>
                    <a:cubicBezTo>
                      <a:pt x="254" y="180"/>
                      <a:pt x="254" y="180"/>
                      <a:pt x="254" y="180"/>
                    </a:cubicBezTo>
                    <a:cubicBezTo>
                      <a:pt x="251" y="180"/>
                      <a:pt x="251" y="180"/>
                      <a:pt x="251" y="180"/>
                    </a:cubicBezTo>
                    <a:cubicBezTo>
                      <a:pt x="249" y="182"/>
                      <a:pt x="249" y="182"/>
                      <a:pt x="249" y="182"/>
                    </a:cubicBezTo>
                    <a:cubicBezTo>
                      <a:pt x="247" y="182"/>
                      <a:pt x="247" y="182"/>
                      <a:pt x="247" y="182"/>
                    </a:cubicBezTo>
                    <a:cubicBezTo>
                      <a:pt x="245" y="183"/>
                      <a:pt x="245" y="183"/>
                      <a:pt x="245" y="183"/>
                    </a:cubicBezTo>
                    <a:cubicBezTo>
                      <a:pt x="245" y="185"/>
                      <a:pt x="245" y="185"/>
                      <a:pt x="245" y="185"/>
                    </a:cubicBezTo>
                    <a:cubicBezTo>
                      <a:pt x="244" y="189"/>
                      <a:pt x="244" y="189"/>
                      <a:pt x="244" y="189"/>
                    </a:cubicBezTo>
                    <a:cubicBezTo>
                      <a:pt x="243" y="190"/>
                      <a:pt x="243" y="190"/>
                      <a:pt x="243" y="190"/>
                    </a:cubicBezTo>
                    <a:cubicBezTo>
                      <a:pt x="242" y="189"/>
                      <a:pt x="242" y="189"/>
                      <a:pt x="242" y="189"/>
                    </a:cubicBezTo>
                    <a:cubicBezTo>
                      <a:pt x="240" y="186"/>
                      <a:pt x="240" y="186"/>
                      <a:pt x="240" y="186"/>
                    </a:cubicBezTo>
                    <a:cubicBezTo>
                      <a:pt x="237" y="186"/>
                      <a:pt x="237" y="186"/>
                      <a:pt x="237" y="186"/>
                    </a:cubicBezTo>
                    <a:cubicBezTo>
                      <a:pt x="236" y="187"/>
                      <a:pt x="236" y="187"/>
                      <a:pt x="236" y="187"/>
                    </a:cubicBezTo>
                    <a:cubicBezTo>
                      <a:pt x="237" y="188"/>
                      <a:pt x="237" y="188"/>
                      <a:pt x="237" y="188"/>
                    </a:cubicBezTo>
                    <a:cubicBezTo>
                      <a:pt x="238" y="189"/>
                      <a:pt x="238" y="189"/>
                      <a:pt x="238" y="189"/>
                    </a:cubicBezTo>
                    <a:cubicBezTo>
                      <a:pt x="237" y="191"/>
                      <a:pt x="237" y="191"/>
                      <a:pt x="237" y="191"/>
                    </a:cubicBezTo>
                    <a:cubicBezTo>
                      <a:pt x="236" y="191"/>
                      <a:pt x="236" y="191"/>
                      <a:pt x="236" y="191"/>
                    </a:cubicBezTo>
                    <a:cubicBezTo>
                      <a:pt x="235" y="189"/>
                      <a:pt x="235" y="189"/>
                      <a:pt x="235" y="189"/>
                    </a:cubicBezTo>
                    <a:cubicBezTo>
                      <a:pt x="234" y="187"/>
                      <a:pt x="234" y="187"/>
                      <a:pt x="234" y="187"/>
                    </a:cubicBezTo>
                    <a:cubicBezTo>
                      <a:pt x="233" y="187"/>
                      <a:pt x="233" y="187"/>
                      <a:pt x="233" y="187"/>
                    </a:cubicBezTo>
                    <a:cubicBezTo>
                      <a:pt x="230" y="190"/>
                      <a:pt x="230" y="190"/>
                      <a:pt x="230" y="190"/>
                    </a:cubicBezTo>
                    <a:cubicBezTo>
                      <a:pt x="229" y="193"/>
                      <a:pt x="229" y="193"/>
                      <a:pt x="229" y="193"/>
                    </a:cubicBezTo>
                    <a:cubicBezTo>
                      <a:pt x="228" y="193"/>
                      <a:pt x="228" y="193"/>
                      <a:pt x="228" y="193"/>
                    </a:cubicBezTo>
                    <a:cubicBezTo>
                      <a:pt x="227" y="193"/>
                      <a:pt x="227" y="193"/>
                      <a:pt x="227" y="193"/>
                    </a:cubicBezTo>
                    <a:cubicBezTo>
                      <a:pt x="222" y="197"/>
                      <a:pt x="222" y="197"/>
                      <a:pt x="222" y="197"/>
                    </a:cubicBezTo>
                    <a:cubicBezTo>
                      <a:pt x="222" y="200"/>
                      <a:pt x="222" y="200"/>
                      <a:pt x="222" y="200"/>
                    </a:cubicBezTo>
                    <a:cubicBezTo>
                      <a:pt x="221" y="201"/>
                      <a:pt x="221" y="201"/>
                      <a:pt x="221" y="201"/>
                    </a:cubicBezTo>
                    <a:cubicBezTo>
                      <a:pt x="219" y="201"/>
                      <a:pt x="219" y="201"/>
                      <a:pt x="219" y="201"/>
                    </a:cubicBezTo>
                    <a:cubicBezTo>
                      <a:pt x="217" y="201"/>
                      <a:pt x="217" y="201"/>
                      <a:pt x="217" y="201"/>
                    </a:cubicBezTo>
                    <a:cubicBezTo>
                      <a:pt x="216" y="201"/>
                      <a:pt x="216" y="201"/>
                      <a:pt x="216" y="201"/>
                    </a:cubicBezTo>
                    <a:cubicBezTo>
                      <a:pt x="218" y="203"/>
                      <a:pt x="218" y="203"/>
                      <a:pt x="218" y="203"/>
                    </a:cubicBezTo>
                    <a:cubicBezTo>
                      <a:pt x="218" y="205"/>
                      <a:pt x="218" y="205"/>
                      <a:pt x="218" y="205"/>
                    </a:cubicBezTo>
                    <a:cubicBezTo>
                      <a:pt x="217" y="205"/>
                      <a:pt x="217" y="205"/>
                      <a:pt x="217" y="205"/>
                    </a:cubicBezTo>
                    <a:cubicBezTo>
                      <a:pt x="216" y="203"/>
                      <a:pt x="216" y="203"/>
                      <a:pt x="216" y="203"/>
                    </a:cubicBezTo>
                    <a:cubicBezTo>
                      <a:pt x="215" y="203"/>
                      <a:pt x="215" y="203"/>
                      <a:pt x="215" y="203"/>
                    </a:cubicBezTo>
                    <a:cubicBezTo>
                      <a:pt x="214" y="205"/>
                      <a:pt x="214" y="205"/>
                      <a:pt x="214" y="205"/>
                    </a:cubicBezTo>
                    <a:cubicBezTo>
                      <a:pt x="212" y="208"/>
                      <a:pt x="212" y="208"/>
                      <a:pt x="212" y="208"/>
                    </a:cubicBezTo>
                    <a:cubicBezTo>
                      <a:pt x="212" y="209"/>
                      <a:pt x="212" y="209"/>
                      <a:pt x="212" y="209"/>
                    </a:cubicBezTo>
                    <a:cubicBezTo>
                      <a:pt x="213" y="212"/>
                      <a:pt x="213" y="212"/>
                      <a:pt x="213" y="212"/>
                    </a:cubicBezTo>
                    <a:cubicBezTo>
                      <a:pt x="214" y="214"/>
                      <a:pt x="214" y="214"/>
                      <a:pt x="214" y="214"/>
                    </a:cubicBezTo>
                    <a:cubicBezTo>
                      <a:pt x="213" y="216"/>
                      <a:pt x="213" y="216"/>
                      <a:pt x="213" y="216"/>
                    </a:cubicBezTo>
                    <a:cubicBezTo>
                      <a:pt x="212" y="218"/>
                      <a:pt x="212" y="218"/>
                      <a:pt x="212" y="218"/>
                    </a:cubicBezTo>
                    <a:cubicBezTo>
                      <a:pt x="213" y="219"/>
                      <a:pt x="213" y="219"/>
                      <a:pt x="213" y="219"/>
                    </a:cubicBezTo>
                    <a:cubicBezTo>
                      <a:pt x="214" y="219"/>
                      <a:pt x="214" y="219"/>
                      <a:pt x="214" y="219"/>
                    </a:cubicBezTo>
                    <a:cubicBezTo>
                      <a:pt x="215" y="217"/>
                      <a:pt x="215" y="217"/>
                      <a:pt x="215" y="217"/>
                    </a:cubicBezTo>
                    <a:cubicBezTo>
                      <a:pt x="215" y="218"/>
                      <a:pt x="215" y="218"/>
                      <a:pt x="215" y="218"/>
                    </a:cubicBezTo>
                    <a:cubicBezTo>
                      <a:pt x="216" y="221"/>
                      <a:pt x="216" y="221"/>
                      <a:pt x="216" y="221"/>
                    </a:cubicBezTo>
                    <a:cubicBezTo>
                      <a:pt x="215" y="222"/>
                      <a:pt x="215" y="222"/>
                      <a:pt x="215" y="222"/>
                    </a:cubicBezTo>
                    <a:cubicBezTo>
                      <a:pt x="214" y="223"/>
                      <a:pt x="214" y="223"/>
                      <a:pt x="214" y="223"/>
                    </a:cubicBezTo>
                    <a:cubicBezTo>
                      <a:pt x="215" y="223"/>
                      <a:pt x="215" y="223"/>
                      <a:pt x="215" y="223"/>
                    </a:cubicBezTo>
                    <a:cubicBezTo>
                      <a:pt x="216" y="223"/>
                      <a:pt x="216" y="223"/>
                      <a:pt x="216" y="223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8" y="222"/>
                      <a:pt x="218" y="222"/>
                      <a:pt x="218" y="222"/>
                    </a:cubicBezTo>
                    <a:cubicBezTo>
                      <a:pt x="219" y="223"/>
                      <a:pt x="219" y="223"/>
                      <a:pt x="219" y="223"/>
                    </a:cubicBezTo>
                    <a:cubicBezTo>
                      <a:pt x="219" y="224"/>
                      <a:pt x="219" y="224"/>
                      <a:pt x="219" y="224"/>
                    </a:cubicBezTo>
                    <a:cubicBezTo>
                      <a:pt x="221" y="224"/>
                      <a:pt x="221" y="224"/>
                      <a:pt x="221" y="224"/>
                    </a:cubicBezTo>
                    <a:cubicBezTo>
                      <a:pt x="222" y="226"/>
                      <a:pt x="222" y="226"/>
                      <a:pt x="222" y="226"/>
                    </a:cubicBezTo>
                    <a:cubicBezTo>
                      <a:pt x="224" y="225"/>
                      <a:pt x="224" y="225"/>
                      <a:pt x="224" y="225"/>
                    </a:cubicBezTo>
                    <a:cubicBezTo>
                      <a:pt x="226" y="224"/>
                      <a:pt x="226" y="224"/>
                      <a:pt x="226" y="224"/>
                    </a:cubicBezTo>
                    <a:cubicBezTo>
                      <a:pt x="227" y="220"/>
                      <a:pt x="227" y="220"/>
                      <a:pt x="227" y="220"/>
                    </a:cubicBezTo>
                    <a:cubicBezTo>
                      <a:pt x="228" y="219"/>
                      <a:pt x="228" y="219"/>
                      <a:pt x="228" y="219"/>
                    </a:cubicBezTo>
                    <a:cubicBezTo>
                      <a:pt x="232" y="219"/>
                      <a:pt x="232" y="219"/>
                      <a:pt x="232" y="219"/>
                    </a:cubicBezTo>
                    <a:cubicBezTo>
                      <a:pt x="233" y="218"/>
                      <a:pt x="233" y="218"/>
                      <a:pt x="233" y="218"/>
                    </a:cubicBezTo>
                    <a:cubicBezTo>
                      <a:pt x="231" y="220"/>
                      <a:pt x="231" y="220"/>
                      <a:pt x="231" y="220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27" y="223"/>
                      <a:pt x="227" y="223"/>
                      <a:pt x="227" y="223"/>
                    </a:cubicBezTo>
                    <a:cubicBezTo>
                      <a:pt x="226" y="225"/>
                      <a:pt x="226" y="225"/>
                      <a:pt x="226" y="225"/>
                    </a:cubicBezTo>
                    <a:cubicBezTo>
                      <a:pt x="225" y="226"/>
                      <a:pt x="225" y="226"/>
                      <a:pt x="225" y="226"/>
                    </a:cubicBezTo>
                    <a:cubicBezTo>
                      <a:pt x="227" y="229"/>
                      <a:pt x="227" y="229"/>
                      <a:pt x="227" y="229"/>
                    </a:cubicBezTo>
                    <a:cubicBezTo>
                      <a:pt x="227" y="230"/>
                      <a:pt x="227" y="230"/>
                      <a:pt x="227" y="230"/>
                    </a:cubicBezTo>
                    <a:cubicBezTo>
                      <a:pt x="224" y="231"/>
                      <a:pt x="224" y="231"/>
                      <a:pt x="224" y="231"/>
                    </a:cubicBezTo>
                    <a:cubicBezTo>
                      <a:pt x="224" y="230"/>
                      <a:pt x="224" y="230"/>
                      <a:pt x="224" y="230"/>
                    </a:cubicBezTo>
                    <a:cubicBezTo>
                      <a:pt x="224" y="229"/>
                      <a:pt x="224" y="229"/>
                      <a:pt x="224" y="229"/>
                    </a:cubicBezTo>
                    <a:cubicBezTo>
                      <a:pt x="223" y="228"/>
                      <a:pt x="223" y="228"/>
                      <a:pt x="223" y="228"/>
                    </a:cubicBezTo>
                    <a:cubicBezTo>
                      <a:pt x="221" y="228"/>
                      <a:pt x="221" y="228"/>
                      <a:pt x="221" y="228"/>
                    </a:cubicBezTo>
                    <a:cubicBezTo>
                      <a:pt x="220" y="226"/>
                      <a:pt x="220" y="226"/>
                      <a:pt x="220" y="226"/>
                    </a:cubicBezTo>
                    <a:cubicBezTo>
                      <a:pt x="217" y="226"/>
                      <a:pt x="217" y="226"/>
                      <a:pt x="217" y="226"/>
                    </a:cubicBezTo>
                    <a:cubicBezTo>
                      <a:pt x="216" y="224"/>
                      <a:pt x="216" y="224"/>
                      <a:pt x="216" y="224"/>
                    </a:cubicBezTo>
                    <a:cubicBezTo>
                      <a:pt x="215" y="225"/>
                      <a:pt x="215" y="225"/>
                      <a:pt x="215" y="225"/>
                    </a:cubicBezTo>
                    <a:cubicBezTo>
                      <a:pt x="213" y="226"/>
                      <a:pt x="213" y="226"/>
                      <a:pt x="213" y="226"/>
                    </a:cubicBezTo>
                    <a:cubicBezTo>
                      <a:pt x="213" y="227"/>
                      <a:pt x="213" y="227"/>
                      <a:pt x="213" y="227"/>
                    </a:cubicBezTo>
                    <a:cubicBezTo>
                      <a:pt x="211" y="228"/>
                      <a:pt x="211" y="228"/>
                      <a:pt x="211" y="228"/>
                    </a:cubicBezTo>
                    <a:cubicBezTo>
                      <a:pt x="209" y="228"/>
                      <a:pt x="209" y="228"/>
                      <a:pt x="209" y="228"/>
                    </a:cubicBezTo>
                    <a:cubicBezTo>
                      <a:pt x="209" y="229"/>
                      <a:pt x="209" y="229"/>
                      <a:pt x="209" y="229"/>
                    </a:cubicBezTo>
                    <a:cubicBezTo>
                      <a:pt x="210" y="231"/>
                      <a:pt x="210" y="231"/>
                      <a:pt x="210" y="231"/>
                    </a:cubicBezTo>
                    <a:cubicBezTo>
                      <a:pt x="211" y="231"/>
                      <a:pt x="211" y="231"/>
                      <a:pt x="211" y="231"/>
                    </a:cubicBezTo>
                    <a:cubicBezTo>
                      <a:pt x="210" y="232"/>
                      <a:pt x="210" y="232"/>
                      <a:pt x="210" y="232"/>
                    </a:cubicBezTo>
                    <a:cubicBezTo>
                      <a:pt x="209" y="235"/>
                      <a:pt x="209" y="235"/>
                      <a:pt x="209" y="235"/>
                    </a:cubicBezTo>
                    <a:cubicBezTo>
                      <a:pt x="210" y="237"/>
                      <a:pt x="210" y="237"/>
                      <a:pt x="210" y="237"/>
                    </a:cubicBezTo>
                    <a:cubicBezTo>
                      <a:pt x="211" y="237"/>
                      <a:pt x="211" y="237"/>
                      <a:pt x="211" y="237"/>
                    </a:cubicBezTo>
                    <a:cubicBezTo>
                      <a:pt x="212" y="240"/>
                      <a:pt x="212" y="240"/>
                      <a:pt x="212" y="240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2" y="243"/>
                      <a:pt x="212" y="243"/>
                      <a:pt x="212" y="243"/>
                    </a:cubicBezTo>
                    <a:cubicBezTo>
                      <a:pt x="214" y="245"/>
                      <a:pt x="214" y="245"/>
                      <a:pt x="214" y="245"/>
                    </a:cubicBezTo>
                    <a:cubicBezTo>
                      <a:pt x="214" y="245"/>
                      <a:pt x="214" y="245"/>
                      <a:pt x="214" y="245"/>
                    </a:cubicBezTo>
                    <a:cubicBezTo>
                      <a:pt x="211" y="246"/>
                      <a:pt x="211" y="246"/>
                      <a:pt x="211" y="246"/>
                    </a:cubicBezTo>
                    <a:cubicBezTo>
                      <a:pt x="211" y="247"/>
                      <a:pt x="211" y="247"/>
                      <a:pt x="211" y="247"/>
                    </a:cubicBezTo>
                    <a:cubicBezTo>
                      <a:pt x="217" y="250"/>
                      <a:pt x="217" y="250"/>
                      <a:pt x="217" y="250"/>
                    </a:cubicBezTo>
                    <a:cubicBezTo>
                      <a:pt x="220" y="250"/>
                      <a:pt x="220" y="250"/>
                      <a:pt x="220" y="250"/>
                    </a:cubicBezTo>
                    <a:cubicBezTo>
                      <a:pt x="223" y="248"/>
                      <a:pt x="223" y="248"/>
                      <a:pt x="223" y="248"/>
                    </a:cubicBezTo>
                    <a:cubicBezTo>
                      <a:pt x="224" y="248"/>
                      <a:pt x="224" y="248"/>
                      <a:pt x="224" y="248"/>
                    </a:cubicBezTo>
                    <a:cubicBezTo>
                      <a:pt x="225" y="248"/>
                      <a:pt x="225" y="248"/>
                      <a:pt x="225" y="248"/>
                    </a:cubicBezTo>
                    <a:cubicBezTo>
                      <a:pt x="226" y="248"/>
                      <a:pt x="226" y="248"/>
                      <a:pt x="226" y="248"/>
                    </a:cubicBezTo>
                    <a:cubicBezTo>
                      <a:pt x="229" y="245"/>
                      <a:pt x="229" y="245"/>
                      <a:pt x="229" y="245"/>
                    </a:cubicBezTo>
                    <a:cubicBezTo>
                      <a:pt x="229" y="243"/>
                      <a:pt x="229" y="243"/>
                      <a:pt x="229" y="243"/>
                    </a:cubicBezTo>
                    <a:cubicBezTo>
                      <a:pt x="228" y="242"/>
                      <a:pt x="228" y="242"/>
                      <a:pt x="228" y="242"/>
                    </a:cubicBezTo>
                    <a:cubicBezTo>
                      <a:pt x="228" y="241"/>
                      <a:pt x="228" y="241"/>
                      <a:pt x="228" y="241"/>
                    </a:cubicBezTo>
                    <a:cubicBezTo>
                      <a:pt x="231" y="239"/>
                      <a:pt x="231" y="239"/>
                      <a:pt x="231" y="239"/>
                    </a:cubicBezTo>
                    <a:cubicBezTo>
                      <a:pt x="233" y="237"/>
                      <a:pt x="233" y="237"/>
                      <a:pt x="233" y="237"/>
                    </a:cubicBezTo>
                    <a:cubicBezTo>
                      <a:pt x="238" y="234"/>
                      <a:pt x="238" y="234"/>
                      <a:pt x="238" y="234"/>
                    </a:cubicBezTo>
                    <a:cubicBezTo>
                      <a:pt x="239" y="235"/>
                      <a:pt x="239" y="235"/>
                      <a:pt x="239" y="235"/>
                    </a:cubicBezTo>
                    <a:cubicBezTo>
                      <a:pt x="238" y="235"/>
                      <a:pt x="238" y="235"/>
                      <a:pt x="238" y="235"/>
                    </a:cubicBezTo>
                    <a:cubicBezTo>
                      <a:pt x="234" y="239"/>
                      <a:pt x="234" y="239"/>
                      <a:pt x="234" y="239"/>
                    </a:cubicBezTo>
                    <a:cubicBezTo>
                      <a:pt x="231" y="241"/>
                      <a:pt x="231" y="241"/>
                      <a:pt x="231" y="241"/>
                    </a:cubicBezTo>
                    <a:cubicBezTo>
                      <a:pt x="231" y="242"/>
                      <a:pt x="231" y="242"/>
                      <a:pt x="231" y="242"/>
                    </a:cubicBezTo>
                    <a:cubicBezTo>
                      <a:pt x="232" y="243"/>
                      <a:pt x="232" y="243"/>
                      <a:pt x="232" y="243"/>
                    </a:cubicBezTo>
                    <a:cubicBezTo>
                      <a:pt x="232" y="244"/>
                      <a:pt x="232" y="244"/>
                      <a:pt x="232" y="244"/>
                    </a:cubicBezTo>
                    <a:cubicBezTo>
                      <a:pt x="231" y="247"/>
                      <a:pt x="231" y="247"/>
                      <a:pt x="231" y="247"/>
                    </a:cubicBezTo>
                    <a:cubicBezTo>
                      <a:pt x="229" y="248"/>
                      <a:pt x="229" y="248"/>
                      <a:pt x="229" y="248"/>
                    </a:cubicBezTo>
                    <a:cubicBezTo>
                      <a:pt x="228" y="250"/>
                      <a:pt x="228" y="250"/>
                      <a:pt x="228" y="250"/>
                    </a:cubicBezTo>
                    <a:cubicBezTo>
                      <a:pt x="229" y="253"/>
                      <a:pt x="229" y="253"/>
                      <a:pt x="229" y="253"/>
                    </a:cubicBezTo>
                    <a:cubicBezTo>
                      <a:pt x="228" y="255"/>
                      <a:pt x="228" y="255"/>
                      <a:pt x="228" y="255"/>
                    </a:cubicBezTo>
                    <a:cubicBezTo>
                      <a:pt x="229" y="256"/>
                      <a:pt x="229" y="256"/>
                      <a:pt x="229" y="256"/>
                    </a:cubicBezTo>
                    <a:cubicBezTo>
                      <a:pt x="228" y="258"/>
                      <a:pt x="228" y="258"/>
                      <a:pt x="228" y="258"/>
                    </a:cubicBezTo>
                    <a:cubicBezTo>
                      <a:pt x="229" y="260"/>
                      <a:pt x="229" y="260"/>
                      <a:pt x="229" y="260"/>
                    </a:cubicBezTo>
                    <a:cubicBezTo>
                      <a:pt x="226" y="261"/>
                      <a:pt x="226" y="261"/>
                      <a:pt x="226" y="261"/>
                    </a:cubicBezTo>
                    <a:cubicBezTo>
                      <a:pt x="225" y="262"/>
                      <a:pt x="225" y="262"/>
                      <a:pt x="225" y="262"/>
                    </a:cubicBezTo>
                    <a:cubicBezTo>
                      <a:pt x="224" y="263"/>
                      <a:pt x="224" y="263"/>
                      <a:pt x="224" y="263"/>
                    </a:cubicBezTo>
                    <a:cubicBezTo>
                      <a:pt x="223" y="263"/>
                      <a:pt x="223" y="263"/>
                      <a:pt x="223" y="263"/>
                    </a:cubicBezTo>
                    <a:cubicBezTo>
                      <a:pt x="223" y="263"/>
                      <a:pt x="223" y="263"/>
                      <a:pt x="223" y="263"/>
                    </a:cubicBezTo>
                    <a:cubicBezTo>
                      <a:pt x="223" y="265"/>
                      <a:pt x="223" y="265"/>
                      <a:pt x="223" y="265"/>
                    </a:cubicBezTo>
                    <a:cubicBezTo>
                      <a:pt x="223" y="267"/>
                      <a:pt x="223" y="267"/>
                      <a:pt x="223" y="267"/>
                    </a:cubicBezTo>
                    <a:cubicBezTo>
                      <a:pt x="224" y="268"/>
                      <a:pt x="224" y="268"/>
                      <a:pt x="224" y="268"/>
                    </a:cubicBezTo>
                    <a:cubicBezTo>
                      <a:pt x="226" y="267"/>
                      <a:pt x="226" y="267"/>
                      <a:pt x="226" y="267"/>
                    </a:cubicBezTo>
                    <a:cubicBezTo>
                      <a:pt x="227" y="267"/>
                      <a:pt x="227" y="267"/>
                      <a:pt x="227" y="267"/>
                    </a:cubicBezTo>
                    <a:cubicBezTo>
                      <a:pt x="228" y="268"/>
                      <a:pt x="228" y="268"/>
                      <a:pt x="228" y="268"/>
                    </a:cubicBezTo>
                    <a:cubicBezTo>
                      <a:pt x="227" y="269"/>
                      <a:pt x="227" y="269"/>
                      <a:pt x="227" y="269"/>
                    </a:cubicBezTo>
                    <a:cubicBezTo>
                      <a:pt x="225" y="269"/>
                      <a:pt x="225" y="269"/>
                      <a:pt x="225" y="269"/>
                    </a:cubicBezTo>
                    <a:cubicBezTo>
                      <a:pt x="224" y="270"/>
                      <a:pt x="224" y="270"/>
                      <a:pt x="224" y="270"/>
                    </a:cubicBezTo>
                    <a:cubicBezTo>
                      <a:pt x="224" y="271"/>
                      <a:pt x="224" y="271"/>
                      <a:pt x="224" y="271"/>
                    </a:cubicBezTo>
                    <a:cubicBezTo>
                      <a:pt x="224" y="272"/>
                      <a:pt x="224" y="272"/>
                      <a:pt x="224" y="272"/>
                    </a:cubicBezTo>
                    <a:cubicBezTo>
                      <a:pt x="224" y="274"/>
                      <a:pt x="224" y="274"/>
                      <a:pt x="224" y="274"/>
                    </a:cubicBezTo>
                    <a:cubicBezTo>
                      <a:pt x="223" y="274"/>
                      <a:pt x="223" y="274"/>
                      <a:pt x="223" y="274"/>
                    </a:cubicBezTo>
                    <a:cubicBezTo>
                      <a:pt x="222" y="275"/>
                      <a:pt x="222" y="275"/>
                      <a:pt x="222" y="275"/>
                    </a:cubicBezTo>
                    <a:cubicBezTo>
                      <a:pt x="220" y="276"/>
                      <a:pt x="220" y="276"/>
                      <a:pt x="220" y="276"/>
                    </a:cubicBezTo>
                    <a:cubicBezTo>
                      <a:pt x="219" y="276"/>
                      <a:pt x="219" y="276"/>
                      <a:pt x="219" y="276"/>
                    </a:cubicBezTo>
                    <a:cubicBezTo>
                      <a:pt x="218" y="276"/>
                      <a:pt x="218" y="276"/>
                      <a:pt x="218" y="276"/>
                    </a:cubicBezTo>
                    <a:cubicBezTo>
                      <a:pt x="219" y="277"/>
                      <a:pt x="219" y="277"/>
                      <a:pt x="219" y="277"/>
                    </a:cubicBezTo>
                    <a:cubicBezTo>
                      <a:pt x="221" y="277"/>
                      <a:pt x="221" y="277"/>
                      <a:pt x="221" y="277"/>
                    </a:cubicBezTo>
                    <a:cubicBezTo>
                      <a:pt x="222" y="278"/>
                      <a:pt x="222" y="278"/>
                      <a:pt x="222" y="278"/>
                    </a:cubicBezTo>
                    <a:cubicBezTo>
                      <a:pt x="224" y="276"/>
                      <a:pt x="224" y="276"/>
                      <a:pt x="224" y="276"/>
                    </a:cubicBezTo>
                    <a:cubicBezTo>
                      <a:pt x="228" y="273"/>
                      <a:pt x="228" y="273"/>
                      <a:pt x="228" y="273"/>
                    </a:cubicBezTo>
                    <a:cubicBezTo>
                      <a:pt x="229" y="274"/>
                      <a:pt x="229" y="274"/>
                      <a:pt x="229" y="274"/>
                    </a:cubicBezTo>
                    <a:cubicBezTo>
                      <a:pt x="231" y="274"/>
                      <a:pt x="231" y="274"/>
                      <a:pt x="231" y="274"/>
                    </a:cubicBezTo>
                    <a:cubicBezTo>
                      <a:pt x="232" y="272"/>
                      <a:pt x="232" y="272"/>
                      <a:pt x="232" y="272"/>
                    </a:cubicBezTo>
                    <a:cubicBezTo>
                      <a:pt x="235" y="271"/>
                      <a:pt x="235" y="271"/>
                      <a:pt x="235" y="271"/>
                    </a:cubicBezTo>
                    <a:cubicBezTo>
                      <a:pt x="235" y="272"/>
                      <a:pt x="235" y="272"/>
                      <a:pt x="235" y="272"/>
                    </a:cubicBezTo>
                    <a:cubicBezTo>
                      <a:pt x="233" y="273"/>
                      <a:pt x="233" y="273"/>
                      <a:pt x="233" y="273"/>
                    </a:cubicBezTo>
                    <a:cubicBezTo>
                      <a:pt x="233" y="274"/>
                      <a:pt x="233" y="274"/>
                      <a:pt x="233" y="274"/>
                    </a:cubicBezTo>
                    <a:cubicBezTo>
                      <a:pt x="235" y="275"/>
                      <a:pt x="235" y="275"/>
                      <a:pt x="235" y="275"/>
                    </a:cubicBezTo>
                    <a:cubicBezTo>
                      <a:pt x="235" y="277"/>
                      <a:pt x="235" y="277"/>
                      <a:pt x="235" y="277"/>
                    </a:cubicBezTo>
                    <a:cubicBezTo>
                      <a:pt x="235" y="278"/>
                      <a:pt x="235" y="278"/>
                      <a:pt x="235" y="278"/>
                    </a:cubicBezTo>
                    <a:cubicBezTo>
                      <a:pt x="236" y="278"/>
                      <a:pt x="236" y="278"/>
                      <a:pt x="236" y="278"/>
                    </a:cubicBezTo>
                    <a:cubicBezTo>
                      <a:pt x="238" y="277"/>
                      <a:pt x="238" y="277"/>
                      <a:pt x="238" y="277"/>
                    </a:cubicBezTo>
                    <a:cubicBezTo>
                      <a:pt x="239" y="276"/>
                      <a:pt x="239" y="276"/>
                      <a:pt x="239" y="276"/>
                    </a:cubicBezTo>
                    <a:cubicBezTo>
                      <a:pt x="239" y="277"/>
                      <a:pt x="239" y="277"/>
                      <a:pt x="239" y="277"/>
                    </a:cubicBezTo>
                    <a:cubicBezTo>
                      <a:pt x="239" y="278"/>
                      <a:pt x="239" y="278"/>
                      <a:pt x="239" y="278"/>
                    </a:cubicBezTo>
                    <a:cubicBezTo>
                      <a:pt x="240" y="280"/>
                      <a:pt x="240" y="280"/>
                      <a:pt x="240" y="280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0" y="285"/>
                      <a:pt x="240" y="285"/>
                      <a:pt x="240" y="285"/>
                    </a:cubicBezTo>
                    <a:cubicBezTo>
                      <a:pt x="241" y="287"/>
                      <a:pt x="241" y="287"/>
                      <a:pt x="241" y="287"/>
                    </a:cubicBezTo>
                    <a:cubicBezTo>
                      <a:pt x="242" y="288"/>
                      <a:pt x="242" y="288"/>
                      <a:pt x="242" y="288"/>
                    </a:cubicBezTo>
                    <a:cubicBezTo>
                      <a:pt x="243" y="285"/>
                      <a:pt x="243" y="285"/>
                      <a:pt x="243" y="285"/>
                    </a:cubicBezTo>
                    <a:cubicBezTo>
                      <a:pt x="243" y="283"/>
                      <a:pt x="243" y="283"/>
                      <a:pt x="243" y="283"/>
                    </a:cubicBezTo>
                    <a:cubicBezTo>
                      <a:pt x="245" y="280"/>
                      <a:pt x="245" y="280"/>
                      <a:pt x="245" y="280"/>
                    </a:cubicBezTo>
                    <a:cubicBezTo>
                      <a:pt x="245" y="279"/>
                      <a:pt x="245" y="279"/>
                      <a:pt x="245" y="279"/>
                    </a:cubicBezTo>
                    <a:cubicBezTo>
                      <a:pt x="247" y="277"/>
                      <a:pt x="247" y="277"/>
                      <a:pt x="247" y="277"/>
                    </a:cubicBezTo>
                    <a:cubicBezTo>
                      <a:pt x="248" y="277"/>
                      <a:pt x="248" y="277"/>
                      <a:pt x="248" y="277"/>
                    </a:cubicBezTo>
                    <a:cubicBezTo>
                      <a:pt x="250" y="275"/>
                      <a:pt x="250" y="275"/>
                      <a:pt x="250" y="275"/>
                    </a:cubicBezTo>
                    <a:cubicBezTo>
                      <a:pt x="252" y="275"/>
                      <a:pt x="252" y="275"/>
                      <a:pt x="252" y="275"/>
                    </a:cubicBezTo>
                    <a:cubicBezTo>
                      <a:pt x="250" y="276"/>
                      <a:pt x="250" y="276"/>
                      <a:pt x="250" y="276"/>
                    </a:cubicBezTo>
                    <a:cubicBezTo>
                      <a:pt x="247" y="279"/>
                      <a:pt x="247" y="279"/>
                      <a:pt x="247" y="279"/>
                    </a:cubicBezTo>
                    <a:cubicBezTo>
                      <a:pt x="247" y="280"/>
                      <a:pt x="247" y="280"/>
                      <a:pt x="247" y="280"/>
                    </a:cubicBezTo>
                    <a:cubicBezTo>
                      <a:pt x="250" y="283"/>
                      <a:pt x="250" y="283"/>
                      <a:pt x="250" y="283"/>
                    </a:cubicBezTo>
                    <a:cubicBezTo>
                      <a:pt x="251" y="284"/>
                      <a:pt x="251" y="284"/>
                      <a:pt x="251" y="284"/>
                    </a:cubicBezTo>
                    <a:cubicBezTo>
                      <a:pt x="254" y="282"/>
                      <a:pt x="254" y="282"/>
                      <a:pt x="254" y="282"/>
                    </a:cubicBezTo>
                    <a:cubicBezTo>
                      <a:pt x="257" y="282"/>
                      <a:pt x="257" y="282"/>
                      <a:pt x="257" y="282"/>
                    </a:cubicBezTo>
                    <a:cubicBezTo>
                      <a:pt x="259" y="280"/>
                      <a:pt x="259" y="280"/>
                      <a:pt x="259" y="280"/>
                    </a:cubicBezTo>
                    <a:cubicBezTo>
                      <a:pt x="260" y="280"/>
                      <a:pt x="260" y="280"/>
                      <a:pt x="260" y="280"/>
                    </a:cubicBezTo>
                    <a:cubicBezTo>
                      <a:pt x="264" y="278"/>
                      <a:pt x="264" y="278"/>
                      <a:pt x="264" y="278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4" y="279"/>
                      <a:pt x="264" y="279"/>
                      <a:pt x="264" y="279"/>
                    </a:cubicBezTo>
                    <a:cubicBezTo>
                      <a:pt x="262" y="281"/>
                      <a:pt x="262" y="281"/>
                      <a:pt x="262" y="281"/>
                    </a:cubicBezTo>
                    <a:cubicBezTo>
                      <a:pt x="262" y="283"/>
                      <a:pt x="262" y="283"/>
                      <a:pt x="262" y="283"/>
                    </a:cubicBezTo>
                    <a:cubicBezTo>
                      <a:pt x="260" y="284"/>
                      <a:pt x="260" y="284"/>
                      <a:pt x="260" y="284"/>
                    </a:cubicBezTo>
                    <a:cubicBezTo>
                      <a:pt x="255" y="287"/>
                      <a:pt x="255" y="287"/>
                      <a:pt x="255" y="287"/>
                    </a:cubicBezTo>
                    <a:cubicBezTo>
                      <a:pt x="252" y="289"/>
                      <a:pt x="252" y="289"/>
                      <a:pt x="252" y="289"/>
                    </a:cubicBezTo>
                    <a:cubicBezTo>
                      <a:pt x="251" y="292"/>
                      <a:pt x="251" y="292"/>
                      <a:pt x="251" y="292"/>
                    </a:cubicBezTo>
                    <a:cubicBezTo>
                      <a:pt x="251" y="294"/>
                      <a:pt x="251" y="294"/>
                      <a:pt x="251" y="294"/>
                    </a:cubicBezTo>
                    <a:cubicBezTo>
                      <a:pt x="251" y="295"/>
                      <a:pt x="251" y="295"/>
                      <a:pt x="251" y="295"/>
                    </a:cubicBezTo>
                    <a:cubicBezTo>
                      <a:pt x="253" y="297"/>
                      <a:pt x="253" y="297"/>
                      <a:pt x="253" y="297"/>
                    </a:cubicBezTo>
                    <a:cubicBezTo>
                      <a:pt x="250" y="296"/>
                      <a:pt x="250" y="296"/>
                      <a:pt x="250" y="296"/>
                    </a:cubicBezTo>
                    <a:cubicBezTo>
                      <a:pt x="249" y="297"/>
                      <a:pt x="249" y="297"/>
                      <a:pt x="249" y="297"/>
                    </a:cubicBezTo>
                    <a:cubicBezTo>
                      <a:pt x="247" y="299"/>
                      <a:pt x="247" y="299"/>
                      <a:pt x="247" y="299"/>
                    </a:cubicBezTo>
                    <a:cubicBezTo>
                      <a:pt x="246" y="301"/>
                      <a:pt x="246" y="301"/>
                      <a:pt x="246" y="301"/>
                    </a:cubicBezTo>
                    <a:cubicBezTo>
                      <a:pt x="244" y="304"/>
                      <a:pt x="244" y="304"/>
                      <a:pt x="244" y="304"/>
                    </a:cubicBezTo>
                    <a:cubicBezTo>
                      <a:pt x="243" y="306"/>
                      <a:pt x="243" y="306"/>
                      <a:pt x="243" y="306"/>
                    </a:cubicBezTo>
                    <a:cubicBezTo>
                      <a:pt x="243" y="307"/>
                      <a:pt x="243" y="307"/>
                      <a:pt x="243" y="307"/>
                    </a:cubicBezTo>
                    <a:cubicBezTo>
                      <a:pt x="244" y="308"/>
                      <a:pt x="244" y="308"/>
                      <a:pt x="244" y="308"/>
                    </a:cubicBezTo>
                    <a:cubicBezTo>
                      <a:pt x="244" y="309"/>
                      <a:pt x="244" y="309"/>
                      <a:pt x="244" y="309"/>
                    </a:cubicBezTo>
                    <a:cubicBezTo>
                      <a:pt x="242" y="309"/>
                      <a:pt x="242" y="309"/>
                      <a:pt x="242" y="309"/>
                    </a:cubicBezTo>
                    <a:cubicBezTo>
                      <a:pt x="242" y="308"/>
                      <a:pt x="242" y="308"/>
                      <a:pt x="242" y="308"/>
                    </a:cubicBezTo>
                    <a:cubicBezTo>
                      <a:pt x="241" y="307"/>
                      <a:pt x="241" y="307"/>
                      <a:pt x="241" y="307"/>
                    </a:cubicBezTo>
                    <a:cubicBezTo>
                      <a:pt x="239" y="309"/>
                      <a:pt x="239" y="309"/>
                      <a:pt x="239" y="309"/>
                    </a:cubicBezTo>
                    <a:cubicBezTo>
                      <a:pt x="237" y="311"/>
                      <a:pt x="237" y="311"/>
                      <a:pt x="237" y="311"/>
                    </a:cubicBezTo>
                    <a:cubicBezTo>
                      <a:pt x="237" y="312"/>
                      <a:pt x="237" y="312"/>
                      <a:pt x="237" y="312"/>
                    </a:cubicBezTo>
                    <a:cubicBezTo>
                      <a:pt x="237" y="313"/>
                      <a:pt x="237" y="313"/>
                      <a:pt x="237" y="313"/>
                    </a:cubicBezTo>
                    <a:cubicBezTo>
                      <a:pt x="235" y="313"/>
                      <a:pt x="235" y="313"/>
                      <a:pt x="235" y="313"/>
                    </a:cubicBezTo>
                    <a:cubicBezTo>
                      <a:pt x="235" y="312"/>
                      <a:pt x="235" y="312"/>
                      <a:pt x="235" y="312"/>
                    </a:cubicBezTo>
                    <a:cubicBezTo>
                      <a:pt x="234" y="313"/>
                      <a:pt x="234" y="313"/>
                      <a:pt x="234" y="313"/>
                    </a:cubicBezTo>
                    <a:cubicBezTo>
                      <a:pt x="229" y="316"/>
                      <a:pt x="229" y="316"/>
                      <a:pt x="229" y="316"/>
                    </a:cubicBezTo>
                    <a:cubicBezTo>
                      <a:pt x="228" y="318"/>
                      <a:pt x="228" y="318"/>
                      <a:pt x="228" y="318"/>
                    </a:cubicBezTo>
                    <a:cubicBezTo>
                      <a:pt x="229" y="319"/>
                      <a:pt x="229" y="319"/>
                      <a:pt x="229" y="319"/>
                    </a:cubicBezTo>
                    <a:cubicBezTo>
                      <a:pt x="228" y="320"/>
                      <a:pt x="228" y="320"/>
                      <a:pt x="228" y="320"/>
                    </a:cubicBezTo>
                    <a:cubicBezTo>
                      <a:pt x="226" y="320"/>
                      <a:pt x="226" y="320"/>
                      <a:pt x="226" y="320"/>
                    </a:cubicBezTo>
                    <a:cubicBezTo>
                      <a:pt x="226" y="318"/>
                      <a:pt x="226" y="318"/>
                      <a:pt x="226" y="318"/>
                    </a:cubicBezTo>
                    <a:cubicBezTo>
                      <a:pt x="224" y="319"/>
                      <a:pt x="224" y="319"/>
                      <a:pt x="224" y="319"/>
                    </a:cubicBezTo>
                    <a:cubicBezTo>
                      <a:pt x="221" y="321"/>
                      <a:pt x="221" y="321"/>
                      <a:pt x="221" y="321"/>
                    </a:cubicBezTo>
                    <a:cubicBezTo>
                      <a:pt x="220" y="321"/>
                      <a:pt x="220" y="321"/>
                      <a:pt x="220" y="321"/>
                    </a:cubicBezTo>
                    <a:cubicBezTo>
                      <a:pt x="219" y="323"/>
                      <a:pt x="219" y="323"/>
                      <a:pt x="219" y="323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5" y="323"/>
                      <a:pt x="215" y="323"/>
                      <a:pt x="215" y="323"/>
                    </a:cubicBezTo>
                    <a:cubicBezTo>
                      <a:pt x="213" y="326"/>
                      <a:pt x="213" y="326"/>
                      <a:pt x="213" y="326"/>
                    </a:cubicBezTo>
                    <a:cubicBezTo>
                      <a:pt x="208" y="328"/>
                      <a:pt x="208" y="328"/>
                      <a:pt x="208" y="328"/>
                    </a:cubicBezTo>
                    <a:cubicBezTo>
                      <a:pt x="205" y="330"/>
                      <a:pt x="205" y="330"/>
                      <a:pt x="205" y="330"/>
                    </a:cubicBezTo>
                    <a:cubicBezTo>
                      <a:pt x="204" y="333"/>
                      <a:pt x="204" y="333"/>
                      <a:pt x="204" y="333"/>
                    </a:cubicBezTo>
                    <a:cubicBezTo>
                      <a:pt x="204" y="334"/>
                      <a:pt x="204" y="334"/>
                      <a:pt x="204" y="334"/>
                    </a:cubicBez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04" y="337"/>
                      <a:pt x="204" y="337"/>
                      <a:pt x="204" y="337"/>
                    </a:cubicBezTo>
                    <a:cubicBezTo>
                      <a:pt x="204" y="337"/>
                      <a:pt x="204" y="337"/>
                      <a:pt x="204" y="337"/>
                    </a:cubicBezTo>
                    <a:cubicBezTo>
                      <a:pt x="203" y="336"/>
                      <a:pt x="203" y="336"/>
                      <a:pt x="203" y="336"/>
                    </a:cubicBezTo>
                    <a:cubicBezTo>
                      <a:pt x="202" y="336"/>
                      <a:pt x="202" y="336"/>
                      <a:pt x="202" y="336"/>
                    </a:cubicBezTo>
                    <a:cubicBezTo>
                      <a:pt x="201" y="337"/>
                      <a:pt x="201" y="337"/>
                      <a:pt x="201" y="337"/>
                    </a:cubicBezTo>
                    <a:cubicBezTo>
                      <a:pt x="201" y="338"/>
                      <a:pt x="201" y="338"/>
                      <a:pt x="201" y="338"/>
                    </a:cubicBezTo>
                    <a:cubicBezTo>
                      <a:pt x="201" y="339"/>
                      <a:pt x="201" y="339"/>
                      <a:pt x="201" y="339"/>
                    </a:cubicBezTo>
                    <a:cubicBezTo>
                      <a:pt x="199" y="337"/>
                      <a:pt x="199" y="337"/>
                      <a:pt x="199" y="337"/>
                    </a:cubicBezTo>
                    <a:cubicBezTo>
                      <a:pt x="199" y="335"/>
                      <a:pt x="199" y="335"/>
                      <a:pt x="199" y="335"/>
                    </a:cubicBezTo>
                    <a:cubicBezTo>
                      <a:pt x="200" y="334"/>
                      <a:pt x="200" y="334"/>
                      <a:pt x="200" y="334"/>
                    </a:cubicBezTo>
                    <a:cubicBezTo>
                      <a:pt x="199" y="333"/>
                      <a:pt x="199" y="333"/>
                      <a:pt x="199" y="333"/>
                    </a:cubicBezTo>
                    <a:cubicBezTo>
                      <a:pt x="197" y="334"/>
                      <a:pt x="197" y="334"/>
                      <a:pt x="197" y="334"/>
                    </a:cubicBezTo>
                    <a:cubicBezTo>
                      <a:pt x="196" y="333"/>
                      <a:pt x="196" y="333"/>
                      <a:pt x="196" y="333"/>
                    </a:cubicBezTo>
                    <a:cubicBezTo>
                      <a:pt x="194" y="334"/>
                      <a:pt x="194" y="334"/>
                      <a:pt x="194" y="334"/>
                    </a:cubicBezTo>
                    <a:cubicBezTo>
                      <a:pt x="191" y="334"/>
                      <a:pt x="191" y="334"/>
                      <a:pt x="191" y="334"/>
                    </a:cubicBezTo>
                    <a:cubicBezTo>
                      <a:pt x="190" y="335"/>
                      <a:pt x="190" y="335"/>
                      <a:pt x="190" y="335"/>
                    </a:cubicBezTo>
                    <a:cubicBezTo>
                      <a:pt x="188" y="336"/>
                      <a:pt x="188" y="336"/>
                      <a:pt x="188" y="336"/>
                    </a:cubicBezTo>
                    <a:cubicBezTo>
                      <a:pt x="186" y="337"/>
                      <a:pt x="186" y="337"/>
                      <a:pt x="186" y="337"/>
                    </a:cubicBezTo>
                    <a:cubicBezTo>
                      <a:pt x="184" y="339"/>
                      <a:pt x="184" y="339"/>
                      <a:pt x="184" y="339"/>
                    </a:cubicBezTo>
                    <a:cubicBezTo>
                      <a:pt x="181" y="341"/>
                      <a:pt x="181" y="341"/>
                      <a:pt x="181" y="341"/>
                    </a:cubicBezTo>
                    <a:cubicBezTo>
                      <a:pt x="182" y="342"/>
                      <a:pt x="182" y="342"/>
                      <a:pt x="182" y="342"/>
                    </a:cubicBezTo>
                    <a:cubicBezTo>
                      <a:pt x="181" y="343"/>
                      <a:pt x="181" y="343"/>
                      <a:pt x="181" y="343"/>
                    </a:cubicBezTo>
                    <a:cubicBezTo>
                      <a:pt x="180" y="343"/>
                      <a:pt x="180" y="343"/>
                      <a:pt x="180" y="343"/>
                    </a:cubicBezTo>
                    <a:cubicBezTo>
                      <a:pt x="178" y="344"/>
                      <a:pt x="178" y="344"/>
                      <a:pt x="178" y="344"/>
                    </a:cubicBezTo>
                    <a:cubicBezTo>
                      <a:pt x="176" y="345"/>
                      <a:pt x="176" y="345"/>
                      <a:pt x="176" y="345"/>
                    </a:cubicBezTo>
                    <a:cubicBezTo>
                      <a:pt x="176" y="346"/>
                      <a:pt x="176" y="346"/>
                      <a:pt x="176" y="346"/>
                    </a:cubicBezTo>
                    <a:cubicBezTo>
                      <a:pt x="175" y="346"/>
                      <a:pt x="175" y="346"/>
                      <a:pt x="175" y="346"/>
                    </a:cubicBezTo>
                    <a:cubicBezTo>
                      <a:pt x="174" y="346"/>
                      <a:pt x="174" y="346"/>
                      <a:pt x="174" y="346"/>
                    </a:cubicBezTo>
                    <a:cubicBezTo>
                      <a:pt x="172" y="346"/>
                      <a:pt x="172" y="346"/>
                      <a:pt x="172" y="346"/>
                    </a:cubicBezTo>
                    <a:cubicBezTo>
                      <a:pt x="171" y="348"/>
                      <a:pt x="171" y="348"/>
                      <a:pt x="171" y="348"/>
                    </a:cubicBezTo>
                    <a:cubicBezTo>
                      <a:pt x="171" y="350"/>
                      <a:pt x="171" y="350"/>
                      <a:pt x="171" y="350"/>
                    </a:cubicBezTo>
                    <a:cubicBezTo>
                      <a:pt x="171" y="351"/>
                      <a:pt x="171" y="351"/>
                      <a:pt x="171" y="351"/>
                    </a:cubicBezTo>
                    <a:cubicBezTo>
                      <a:pt x="173" y="350"/>
                      <a:pt x="173" y="350"/>
                      <a:pt x="173" y="350"/>
                    </a:cubicBezTo>
                    <a:cubicBezTo>
                      <a:pt x="173" y="349"/>
                      <a:pt x="173" y="349"/>
                      <a:pt x="173" y="349"/>
                    </a:cubicBezTo>
                    <a:cubicBezTo>
                      <a:pt x="173" y="348"/>
                      <a:pt x="173" y="348"/>
                      <a:pt x="173" y="348"/>
                    </a:cubicBezTo>
                    <a:cubicBezTo>
                      <a:pt x="174" y="347"/>
                      <a:pt x="174" y="347"/>
                      <a:pt x="174" y="347"/>
                    </a:cubicBezTo>
                    <a:cubicBezTo>
                      <a:pt x="175" y="348"/>
                      <a:pt x="175" y="348"/>
                      <a:pt x="175" y="348"/>
                    </a:cubicBezTo>
                    <a:cubicBezTo>
                      <a:pt x="175" y="349"/>
                      <a:pt x="175" y="349"/>
                      <a:pt x="175" y="349"/>
                    </a:cubicBezTo>
                    <a:cubicBezTo>
                      <a:pt x="175" y="350"/>
                      <a:pt x="175" y="350"/>
                      <a:pt x="175" y="350"/>
                    </a:cubicBezTo>
                    <a:cubicBezTo>
                      <a:pt x="176" y="350"/>
                      <a:pt x="176" y="350"/>
                      <a:pt x="176" y="350"/>
                    </a:cubicBezTo>
                    <a:cubicBezTo>
                      <a:pt x="178" y="347"/>
                      <a:pt x="178" y="347"/>
                      <a:pt x="178" y="347"/>
                    </a:cubicBezTo>
                    <a:cubicBezTo>
                      <a:pt x="179" y="346"/>
                      <a:pt x="179" y="346"/>
                      <a:pt x="179" y="346"/>
                    </a:cubicBezTo>
                    <a:cubicBezTo>
                      <a:pt x="180" y="347"/>
                      <a:pt x="180" y="347"/>
                      <a:pt x="180" y="347"/>
                    </a:cubicBezTo>
                    <a:cubicBezTo>
                      <a:pt x="179" y="349"/>
                      <a:pt x="179" y="349"/>
                      <a:pt x="179" y="349"/>
                    </a:cubicBezTo>
                    <a:cubicBezTo>
                      <a:pt x="180" y="349"/>
                      <a:pt x="180" y="349"/>
                      <a:pt x="180" y="349"/>
                    </a:cubicBezTo>
                    <a:cubicBezTo>
                      <a:pt x="181" y="349"/>
                      <a:pt x="181" y="349"/>
                      <a:pt x="181" y="349"/>
                    </a:cubicBezTo>
                    <a:cubicBezTo>
                      <a:pt x="182" y="347"/>
                      <a:pt x="182" y="347"/>
                      <a:pt x="182" y="347"/>
                    </a:cubicBezTo>
                    <a:cubicBezTo>
                      <a:pt x="182" y="349"/>
                      <a:pt x="182" y="349"/>
                      <a:pt x="182" y="349"/>
                    </a:cubicBezTo>
                    <a:cubicBezTo>
                      <a:pt x="183" y="349"/>
                      <a:pt x="183" y="349"/>
                      <a:pt x="183" y="349"/>
                    </a:cubicBezTo>
                    <a:cubicBezTo>
                      <a:pt x="183" y="347"/>
                      <a:pt x="183" y="347"/>
                      <a:pt x="183" y="347"/>
                    </a:cubicBezTo>
                    <a:cubicBezTo>
                      <a:pt x="185" y="347"/>
                      <a:pt x="185" y="347"/>
                      <a:pt x="185" y="347"/>
                    </a:cubicBezTo>
                    <a:cubicBezTo>
                      <a:pt x="186" y="347"/>
                      <a:pt x="186" y="347"/>
                      <a:pt x="186" y="347"/>
                    </a:cubicBezTo>
                    <a:cubicBezTo>
                      <a:pt x="188" y="346"/>
                      <a:pt x="188" y="346"/>
                      <a:pt x="188" y="346"/>
                    </a:cubicBezTo>
                    <a:cubicBezTo>
                      <a:pt x="189" y="343"/>
                      <a:pt x="189" y="343"/>
                      <a:pt x="189" y="343"/>
                    </a:cubicBezTo>
                    <a:cubicBezTo>
                      <a:pt x="189" y="342"/>
                      <a:pt x="189" y="342"/>
                      <a:pt x="189" y="342"/>
                    </a:cubicBezTo>
                    <a:cubicBezTo>
                      <a:pt x="191" y="341"/>
                      <a:pt x="191" y="341"/>
                      <a:pt x="191" y="341"/>
                    </a:cubicBezTo>
                    <a:cubicBezTo>
                      <a:pt x="192" y="339"/>
                      <a:pt x="192" y="339"/>
                      <a:pt x="192" y="339"/>
                    </a:cubicBezTo>
                    <a:cubicBezTo>
                      <a:pt x="193" y="339"/>
                      <a:pt x="193" y="339"/>
                      <a:pt x="193" y="339"/>
                    </a:cubicBezTo>
                    <a:cubicBezTo>
                      <a:pt x="195" y="341"/>
                      <a:pt x="195" y="341"/>
                      <a:pt x="195" y="341"/>
                    </a:cubicBezTo>
                    <a:cubicBezTo>
                      <a:pt x="195" y="341"/>
                      <a:pt x="195" y="341"/>
                      <a:pt x="195" y="341"/>
                    </a:cubicBezTo>
                    <a:cubicBezTo>
                      <a:pt x="193" y="342"/>
                      <a:pt x="193" y="342"/>
                      <a:pt x="193" y="342"/>
                    </a:cubicBezTo>
                    <a:cubicBezTo>
                      <a:pt x="192" y="343"/>
                      <a:pt x="192" y="343"/>
                      <a:pt x="192" y="343"/>
                    </a:cubicBezTo>
                    <a:cubicBezTo>
                      <a:pt x="192" y="345"/>
                      <a:pt x="192" y="345"/>
                      <a:pt x="192" y="345"/>
                    </a:cubicBezTo>
                    <a:cubicBezTo>
                      <a:pt x="193" y="345"/>
                      <a:pt x="193" y="345"/>
                      <a:pt x="193" y="345"/>
                    </a:cubicBezTo>
                    <a:cubicBezTo>
                      <a:pt x="195" y="344"/>
                      <a:pt x="195" y="344"/>
                      <a:pt x="195" y="344"/>
                    </a:cubicBezTo>
                    <a:cubicBezTo>
                      <a:pt x="196" y="342"/>
                      <a:pt x="196" y="342"/>
                      <a:pt x="196" y="342"/>
                    </a:cubicBezTo>
                    <a:cubicBezTo>
                      <a:pt x="197" y="342"/>
                      <a:pt x="197" y="342"/>
                      <a:pt x="197" y="342"/>
                    </a:cubicBezTo>
                    <a:cubicBezTo>
                      <a:pt x="197" y="343"/>
                      <a:pt x="197" y="343"/>
                      <a:pt x="197" y="343"/>
                    </a:cubicBezTo>
                    <a:cubicBezTo>
                      <a:pt x="198" y="341"/>
                      <a:pt x="198" y="341"/>
                      <a:pt x="198" y="341"/>
                    </a:cubicBezTo>
                    <a:cubicBezTo>
                      <a:pt x="199" y="342"/>
                      <a:pt x="199" y="342"/>
                      <a:pt x="199" y="342"/>
                    </a:cubicBezTo>
                    <a:cubicBezTo>
                      <a:pt x="199" y="343"/>
                      <a:pt x="199" y="343"/>
                      <a:pt x="199" y="343"/>
                    </a:cubicBezTo>
                    <a:cubicBezTo>
                      <a:pt x="199" y="344"/>
                      <a:pt x="199" y="344"/>
                      <a:pt x="199" y="344"/>
                    </a:cubicBezTo>
                    <a:cubicBezTo>
                      <a:pt x="199" y="344"/>
                      <a:pt x="199" y="344"/>
                      <a:pt x="199" y="344"/>
                    </a:cubicBezTo>
                    <a:cubicBezTo>
                      <a:pt x="201" y="342"/>
                      <a:pt x="201" y="342"/>
                      <a:pt x="201" y="342"/>
                    </a:cubicBezTo>
                    <a:cubicBezTo>
                      <a:pt x="202" y="342"/>
                      <a:pt x="202" y="342"/>
                      <a:pt x="202" y="342"/>
                    </a:cubicBezTo>
                    <a:cubicBezTo>
                      <a:pt x="204" y="341"/>
                      <a:pt x="204" y="341"/>
                      <a:pt x="204" y="341"/>
                    </a:cubicBezTo>
                    <a:cubicBezTo>
                      <a:pt x="205" y="341"/>
                      <a:pt x="205" y="341"/>
                      <a:pt x="205" y="341"/>
                    </a:cubicBezTo>
                    <a:cubicBezTo>
                      <a:pt x="207" y="338"/>
                      <a:pt x="207" y="338"/>
                      <a:pt x="207" y="338"/>
                    </a:cubicBezTo>
                    <a:cubicBezTo>
                      <a:pt x="209" y="337"/>
                      <a:pt x="209" y="337"/>
                      <a:pt x="209" y="337"/>
                    </a:cubicBezTo>
                    <a:cubicBezTo>
                      <a:pt x="210" y="338"/>
                      <a:pt x="210" y="338"/>
                      <a:pt x="210" y="338"/>
                    </a:cubicBezTo>
                    <a:cubicBezTo>
                      <a:pt x="210" y="339"/>
                      <a:pt x="210" y="339"/>
                      <a:pt x="210" y="339"/>
                    </a:cubicBezTo>
                    <a:cubicBezTo>
                      <a:pt x="209" y="341"/>
                      <a:pt x="209" y="341"/>
                      <a:pt x="209" y="341"/>
                    </a:cubicBezTo>
                    <a:cubicBezTo>
                      <a:pt x="208" y="343"/>
                      <a:pt x="208" y="343"/>
                      <a:pt x="208" y="343"/>
                    </a:cubicBezTo>
                    <a:cubicBezTo>
                      <a:pt x="208" y="344"/>
                      <a:pt x="208" y="344"/>
                      <a:pt x="208" y="344"/>
                    </a:cubicBezTo>
                    <a:cubicBezTo>
                      <a:pt x="209" y="344"/>
                      <a:pt x="209" y="344"/>
                      <a:pt x="209" y="344"/>
                    </a:cubicBezTo>
                    <a:cubicBezTo>
                      <a:pt x="211" y="341"/>
                      <a:pt x="211" y="341"/>
                      <a:pt x="211" y="341"/>
                    </a:cubicBezTo>
                    <a:cubicBezTo>
                      <a:pt x="211" y="338"/>
                      <a:pt x="211" y="338"/>
                      <a:pt x="211" y="338"/>
                    </a:cubicBezTo>
                    <a:cubicBezTo>
                      <a:pt x="212" y="337"/>
                      <a:pt x="212" y="337"/>
                      <a:pt x="212" y="337"/>
                    </a:cubicBezTo>
                    <a:cubicBezTo>
                      <a:pt x="213" y="339"/>
                      <a:pt x="213" y="339"/>
                      <a:pt x="213" y="339"/>
                    </a:cubicBezTo>
                    <a:cubicBezTo>
                      <a:pt x="214" y="338"/>
                      <a:pt x="214" y="338"/>
                      <a:pt x="214" y="338"/>
                    </a:cubicBezTo>
                    <a:cubicBezTo>
                      <a:pt x="215" y="338"/>
                      <a:pt x="215" y="338"/>
                      <a:pt x="215" y="338"/>
                    </a:cubicBezTo>
                    <a:cubicBezTo>
                      <a:pt x="217" y="338"/>
                      <a:pt x="217" y="338"/>
                      <a:pt x="217" y="338"/>
                    </a:cubicBezTo>
                    <a:cubicBezTo>
                      <a:pt x="219" y="336"/>
                      <a:pt x="219" y="336"/>
                      <a:pt x="219" y="336"/>
                    </a:cubicBezTo>
                    <a:cubicBezTo>
                      <a:pt x="220" y="336"/>
                      <a:pt x="220" y="336"/>
                      <a:pt x="220" y="336"/>
                    </a:cubicBezTo>
                    <a:cubicBezTo>
                      <a:pt x="220" y="336"/>
                      <a:pt x="220" y="336"/>
                      <a:pt x="220" y="336"/>
                    </a:cubicBezTo>
                    <a:cubicBezTo>
                      <a:pt x="221" y="334"/>
                      <a:pt x="221" y="334"/>
                      <a:pt x="221" y="334"/>
                    </a:cubicBezTo>
                    <a:cubicBezTo>
                      <a:pt x="222" y="333"/>
                      <a:pt x="222" y="333"/>
                      <a:pt x="222" y="333"/>
                    </a:cubicBezTo>
                    <a:cubicBezTo>
                      <a:pt x="222" y="334"/>
                      <a:pt x="222" y="334"/>
                      <a:pt x="222" y="334"/>
                    </a:cubicBezTo>
                    <a:cubicBezTo>
                      <a:pt x="222" y="335"/>
                      <a:pt x="222" y="335"/>
                      <a:pt x="222" y="335"/>
                    </a:cubicBezTo>
                    <a:cubicBezTo>
                      <a:pt x="222" y="337"/>
                      <a:pt x="222" y="337"/>
                      <a:pt x="222" y="337"/>
                    </a:cubicBezTo>
                    <a:cubicBezTo>
                      <a:pt x="223" y="336"/>
                      <a:pt x="223" y="336"/>
                      <a:pt x="223" y="336"/>
                    </a:cubicBezTo>
                    <a:cubicBezTo>
                      <a:pt x="225" y="335"/>
                      <a:pt x="225" y="335"/>
                      <a:pt x="225" y="335"/>
                    </a:cubicBezTo>
                    <a:cubicBezTo>
                      <a:pt x="224" y="334"/>
                      <a:pt x="224" y="334"/>
                      <a:pt x="224" y="334"/>
                    </a:cubicBezTo>
                    <a:cubicBezTo>
                      <a:pt x="226" y="333"/>
                      <a:pt x="226" y="333"/>
                      <a:pt x="226" y="333"/>
                    </a:cubicBezTo>
                    <a:cubicBezTo>
                      <a:pt x="225" y="332"/>
                      <a:pt x="225" y="332"/>
                      <a:pt x="225" y="332"/>
                    </a:cubicBezTo>
                    <a:cubicBezTo>
                      <a:pt x="222" y="332"/>
                      <a:pt x="222" y="332"/>
                      <a:pt x="222" y="332"/>
                    </a:cubicBezTo>
                    <a:cubicBezTo>
                      <a:pt x="222" y="332"/>
                      <a:pt x="222" y="332"/>
                      <a:pt x="222" y="332"/>
                    </a:cubicBezTo>
                    <a:cubicBezTo>
                      <a:pt x="224" y="331"/>
                      <a:pt x="224" y="331"/>
                      <a:pt x="224" y="331"/>
                    </a:cubicBezTo>
                    <a:cubicBezTo>
                      <a:pt x="227" y="329"/>
                      <a:pt x="227" y="329"/>
                      <a:pt x="227" y="329"/>
                    </a:cubicBezTo>
                    <a:cubicBezTo>
                      <a:pt x="231" y="329"/>
                      <a:pt x="231" y="329"/>
                      <a:pt x="231" y="329"/>
                    </a:cubicBezTo>
                    <a:cubicBezTo>
                      <a:pt x="232" y="328"/>
                      <a:pt x="232" y="328"/>
                      <a:pt x="232" y="328"/>
                    </a:cubicBezTo>
                    <a:cubicBezTo>
                      <a:pt x="232" y="327"/>
                      <a:pt x="232" y="327"/>
                      <a:pt x="232" y="327"/>
                    </a:cubicBezTo>
                    <a:cubicBezTo>
                      <a:pt x="231" y="327"/>
                      <a:pt x="231" y="327"/>
                      <a:pt x="231" y="327"/>
                    </a:cubicBezTo>
                    <a:cubicBezTo>
                      <a:pt x="232" y="326"/>
                      <a:pt x="232" y="326"/>
                      <a:pt x="232" y="326"/>
                    </a:cubicBezTo>
                    <a:cubicBezTo>
                      <a:pt x="233" y="326"/>
                      <a:pt x="233" y="326"/>
                      <a:pt x="233" y="326"/>
                    </a:cubicBezTo>
                    <a:cubicBezTo>
                      <a:pt x="234" y="325"/>
                      <a:pt x="234" y="325"/>
                      <a:pt x="234" y="325"/>
                    </a:cubicBezTo>
                    <a:cubicBezTo>
                      <a:pt x="235" y="325"/>
                      <a:pt x="235" y="325"/>
                      <a:pt x="235" y="325"/>
                    </a:cubicBezTo>
                    <a:cubicBezTo>
                      <a:pt x="236" y="327"/>
                      <a:pt x="236" y="327"/>
                      <a:pt x="236" y="327"/>
                    </a:cubicBezTo>
                    <a:cubicBezTo>
                      <a:pt x="237" y="327"/>
                      <a:pt x="237" y="327"/>
                      <a:pt x="237" y="327"/>
                    </a:cubicBezTo>
                    <a:cubicBezTo>
                      <a:pt x="238" y="326"/>
                      <a:pt x="238" y="326"/>
                      <a:pt x="238" y="326"/>
                    </a:cubicBezTo>
                    <a:cubicBezTo>
                      <a:pt x="237" y="325"/>
                      <a:pt x="237" y="325"/>
                      <a:pt x="237" y="325"/>
                    </a:cubicBezTo>
                    <a:cubicBezTo>
                      <a:pt x="239" y="324"/>
                      <a:pt x="239" y="324"/>
                      <a:pt x="239" y="324"/>
                    </a:cubicBezTo>
                    <a:cubicBezTo>
                      <a:pt x="239" y="322"/>
                      <a:pt x="239" y="322"/>
                      <a:pt x="239" y="322"/>
                    </a:cubicBezTo>
                    <a:cubicBezTo>
                      <a:pt x="239" y="321"/>
                      <a:pt x="239" y="321"/>
                      <a:pt x="239" y="321"/>
                    </a:cubicBezTo>
                    <a:cubicBezTo>
                      <a:pt x="240" y="322"/>
                      <a:pt x="240" y="322"/>
                      <a:pt x="240" y="322"/>
                    </a:cubicBezTo>
                    <a:cubicBezTo>
                      <a:pt x="240" y="324"/>
                      <a:pt x="240" y="324"/>
                      <a:pt x="240" y="324"/>
                    </a:cubicBezTo>
                    <a:cubicBezTo>
                      <a:pt x="241" y="324"/>
                      <a:pt x="241" y="324"/>
                      <a:pt x="241" y="324"/>
                    </a:cubicBezTo>
                    <a:cubicBezTo>
                      <a:pt x="243" y="323"/>
                      <a:pt x="243" y="323"/>
                      <a:pt x="243" y="323"/>
                    </a:cubicBezTo>
                    <a:cubicBezTo>
                      <a:pt x="244" y="321"/>
                      <a:pt x="244" y="321"/>
                      <a:pt x="244" y="321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7" y="320"/>
                      <a:pt x="247" y="320"/>
                      <a:pt x="247" y="320"/>
                    </a:cubicBezTo>
                    <a:cubicBezTo>
                      <a:pt x="247" y="319"/>
                      <a:pt x="247" y="319"/>
                      <a:pt x="247" y="319"/>
                    </a:cubicBezTo>
                    <a:cubicBezTo>
                      <a:pt x="248" y="320"/>
                      <a:pt x="248" y="320"/>
                      <a:pt x="248" y="320"/>
                    </a:cubicBezTo>
                    <a:cubicBezTo>
                      <a:pt x="250" y="320"/>
                      <a:pt x="250" y="320"/>
                      <a:pt x="250" y="320"/>
                    </a:cubicBezTo>
                    <a:cubicBezTo>
                      <a:pt x="252" y="317"/>
                      <a:pt x="252" y="317"/>
                      <a:pt x="252" y="317"/>
                    </a:cubicBezTo>
                    <a:cubicBezTo>
                      <a:pt x="252" y="316"/>
                      <a:pt x="252" y="316"/>
                      <a:pt x="252" y="316"/>
                    </a:cubicBezTo>
                    <a:cubicBezTo>
                      <a:pt x="251" y="316"/>
                      <a:pt x="251" y="316"/>
                      <a:pt x="251" y="316"/>
                    </a:cubicBezTo>
                    <a:cubicBezTo>
                      <a:pt x="250" y="316"/>
                      <a:pt x="250" y="316"/>
                      <a:pt x="250" y="316"/>
                    </a:cubicBezTo>
                    <a:cubicBezTo>
                      <a:pt x="250" y="316"/>
                      <a:pt x="250" y="316"/>
                      <a:pt x="250" y="316"/>
                    </a:cubicBezTo>
                    <a:cubicBezTo>
                      <a:pt x="252" y="314"/>
                      <a:pt x="252" y="314"/>
                      <a:pt x="252" y="314"/>
                    </a:cubicBezTo>
                    <a:cubicBezTo>
                      <a:pt x="254" y="313"/>
                      <a:pt x="254" y="313"/>
                      <a:pt x="254" y="313"/>
                    </a:cubicBezTo>
                    <a:cubicBezTo>
                      <a:pt x="256" y="311"/>
                      <a:pt x="256" y="311"/>
                      <a:pt x="256" y="311"/>
                    </a:cubicBezTo>
                    <a:cubicBezTo>
                      <a:pt x="256" y="311"/>
                      <a:pt x="256" y="311"/>
                      <a:pt x="256" y="311"/>
                    </a:cubicBezTo>
                    <a:cubicBezTo>
                      <a:pt x="257" y="312"/>
                      <a:pt x="257" y="312"/>
                      <a:pt x="257" y="312"/>
                    </a:cubicBezTo>
                    <a:cubicBezTo>
                      <a:pt x="259" y="310"/>
                      <a:pt x="259" y="310"/>
                      <a:pt x="259" y="310"/>
                    </a:cubicBezTo>
                    <a:cubicBezTo>
                      <a:pt x="261" y="309"/>
                      <a:pt x="261" y="309"/>
                      <a:pt x="261" y="309"/>
                    </a:cubicBezTo>
                    <a:cubicBezTo>
                      <a:pt x="261" y="308"/>
                      <a:pt x="261" y="308"/>
                      <a:pt x="261" y="308"/>
                    </a:cubicBezTo>
                    <a:cubicBezTo>
                      <a:pt x="262" y="307"/>
                      <a:pt x="262" y="307"/>
                      <a:pt x="262" y="307"/>
                    </a:cubicBezTo>
                    <a:cubicBezTo>
                      <a:pt x="263" y="306"/>
                      <a:pt x="263" y="306"/>
                      <a:pt x="263" y="306"/>
                    </a:cubicBezTo>
                    <a:cubicBezTo>
                      <a:pt x="264" y="306"/>
                      <a:pt x="264" y="306"/>
                      <a:pt x="264" y="306"/>
                    </a:cubicBezTo>
                    <a:cubicBezTo>
                      <a:pt x="265" y="307"/>
                      <a:pt x="265" y="307"/>
                      <a:pt x="265" y="307"/>
                    </a:cubicBezTo>
                    <a:cubicBezTo>
                      <a:pt x="266" y="308"/>
                      <a:pt x="266" y="308"/>
                      <a:pt x="266" y="308"/>
                    </a:cubicBezTo>
                    <a:cubicBezTo>
                      <a:pt x="266" y="306"/>
                      <a:pt x="266" y="306"/>
                      <a:pt x="266" y="306"/>
                    </a:cubicBezTo>
                    <a:cubicBezTo>
                      <a:pt x="268" y="306"/>
                      <a:pt x="268" y="306"/>
                      <a:pt x="268" y="306"/>
                    </a:cubicBezTo>
                    <a:cubicBezTo>
                      <a:pt x="269" y="306"/>
                      <a:pt x="269" y="306"/>
                      <a:pt x="269" y="306"/>
                    </a:cubicBezTo>
                    <a:cubicBezTo>
                      <a:pt x="269" y="305"/>
                      <a:pt x="269" y="305"/>
                      <a:pt x="269" y="305"/>
                    </a:cubicBezTo>
                    <a:cubicBezTo>
                      <a:pt x="270" y="304"/>
                      <a:pt x="270" y="304"/>
                      <a:pt x="270" y="304"/>
                    </a:cubicBezTo>
                    <a:cubicBezTo>
                      <a:pt x="271" y="303"/>
                      <a:pt x="271" y="303"/>
                      <a:pt x="271" y="303"/>
                    </a:cubicBezTo>
                    <a:cubicBezTo>
                      <a:pt x="271" y="304"/>
                      <a:pt x="271" y="304"/>
                      <a:pt x="271" y="304"/>
                    </a:cubicBezTo>
                    <a:cubicBezTo>
                      <a:pt x="274" y="304"/>
                      <a:pt x="274" y="304"/>
                      <a:pt x="274" y="304"/>
                    </a:cubicBezTo>
                    <a:cubicBezTo>
                      <a:pt x="275" y="302"/>
                      <a:pt x="275" y="302"/>
                      <a:pt x="275" y="302"/>
                    </a:cubicBezTo>
                    <a:cubicBezTo>
                      <a:pt x="275" y="302"/>
                      <a:pt x="275" y="302"/>
                      <a:pt x="275" y="302"/>
                    </a:cubicBezTo>
                    <a:cubicBezTo>
                      <a:pt x="276" y="303"/>
                      <a:pt x="276" y="303"/>
                      <a:pt x="276" y="303"/>
                    </a:cubicBezTo>
                    <a:cubicBezTo>
                      <a:pt x="276" y="303"/>
                      <a:pt x="276" y="303"/>
                      <a:pt x="276" y="303"/>
                    </a:cubicBezTo>
                    <a:cubicBezTo>
                      <a:pt x="277" y="302"/>
                      <a:pt x="277" y="302"/>
                      <a:pt x="277" y="302"/>
                    </a:cubicBezTo>
                    <a:cubicBezTo>
                      <a:pt x="278" y="303"/>
                      <a:pt x="278" y="303"/>
                      <a:pt x="278" y="303"/>
                    </a:cubicBezTo>
                    <a:cubicBezTo>
                      <a:pt x="279" y="303"/>
                      <a:pt x="279" y="303"/>
                      <a:pt x="279" y="303"/>
                    </a:cubicBezTo>
                    <a:cubicBezTo>
                      <a:pt x="280" y="300"/>
                      <a:pt x="280" y="300"/>
                      <a:pt x="280" y="300"/>
                    </a:cubicBezTo>
                    <a:cubicBezTo>
                      <a:pt x="279" y="300"/>
                      <a:pt x="279" y="300"/>
                      <a:pt x="279" y="300"/>
                    </a:cubicBezTo>
                    <a:cubicBezTo>
                      <a:pt x="278" y="300"/>
                      <a:pt x="278" y="300"/>
                      <a:pt x="278" y="300"/>
                    </a:cubicBezTo>
                    <a:cubicBezTo>
                      <a:pt x="278" y="299"/>
                      <a:pt x="278" y="299"/>
                      <a:pt x="278" y="299"/>
                    </a:cubicBezTo>
                    <a:cubicBezTo>
                      <a:pt x="280" y="297"/>
                      <a:pt x="280" y="297"/>
                      <a:pt x="280" y="297"/>
                    </a:cubicBezTo>
                    <a:cubicBezTo>
                      <a:pt x="281" y="297"/>
                      <a:pt x="281" y="297"/>
                      <a:pt x="281" y="297"/>
                    </a:cubicBezTo>
                    <a:cubicBezTo>
                      <a:pt x="282" y="298"/>
                      <a:pt x="282" y="298"/>
                      <a:pt x="282" y="298"/>
                    </a:cubicBezTo>
                    <a:cubicBezTo>
                      <a:pt x="282" y="297"/>
                      <a:pt x="282" y="297"/>
                      <a:pt x="282" y="297"/>
                    </a:cubicBezTo>
                    <a:cubicBezTo>
                      <a:pt x="282" y="296"/>
                      <a:pt x="282" y="296"/>
                      <a:pt x="282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2" y="295"/>
                      <a:pt x="282" y="295"/>
                      <a:pt x="282" y="295"/>
                    </a:cubicBezTo>
                    <a:cubicBezTo>
                      <a:pt x="283" y="296"/>
                      <a:pt x="283" y="296"/>
                      <a:pt x="283" y="296"/>
                    </a:cubicBezTo>
                    <a:cubicBezTo>
                      <a:pt x="285" y="294"/>
                      <a:pt x="285" y="294"/>
                      <a:pt x="285" y="294"/>
                    </a:cubicBezTo>
                    <a:cubicBezTo>
                      <a:pt x="288" y="294"/>
                      <a:pt x="288" y="294"/>
                      <a:pt x="288" y="294"/>
                    </a:cubicBezTo>
                    <a:cubicBezTo>
                      <a:pt x="290" y="292"/>
                      <a:pt x="290" y="292"/>
                      <a:pt x="290" y="292"/>
                    </a:cubicBezTo>
                    <a:cubicBezTo>
                      <a:pt x="291" y="292"/>
                      <a:pt x="291" y="292"/>
                      <a:pt x="291" y="292"/>
                    </a:cubicBezTo>
                    <a:cubicBezTo>
                      <a:pt x="293" y="290"/>
                      <a:pt x="293" y="290"/>
                      <a:pt x="293" y="290"/>
                    </a:cubicBezTo>
                    <a:cubicBezTo>
                      <a:pt x="293" y="287"/>
                      <a:pt x="293" y="287"/>
                      <a:pt x="293" y="287"/>
                    </a:cubicBezTo>
                    <a:cubicBezTo>
                      <a:pt x="293" y="286"/>
                      <a:pt x="293" y="286"/>
                      <a:pt x="293" y="286"/>
                    </a:cubicBezTo>
                    <a:cubicBezTo>
                      <a:pt x="292" y="286"/>
                      <a:pt x="292" y="286"/>
                      <a:pt x="292" y="286"/>
                    </a:cubicBezTo>
                    <a:cubicBezTo>
                      <a:pt x="291" y="284"/>
                      <a:pt x="291" y="284"/>
                      <a:pt x="291" y="284"/>
                    </a:cubicBezTo>
                    <a:cubicBezTo>
                      <a:pt x="290" y="283"/>
                      <a:pt x="290" y="283"/>
                      <a:pt x="290" y="283"/>
                    </a:cubicBezTo>
                    <a:cubicBezTo>
                      <a:pt x="288" y="283"/>
                      <a:pt x="288" y="283"/>
                      <a:pt x="288" y="283"/>
                    </a:cubicBezTo>
                    <a:cubicBezTo>
                      <a:pt x="288" y="281"/>
                      <a:pt x="288" y="281"/>
                      <a:pt x="288" y="281"/>
                    </a:cubicBezTo>
                    <a:cubicBezTo>
                      <a:pt x="288" y="279"/>
                      <a:pt x="288" y="279"/>
                      <a:pt x="288" y="279"/>
                    </a:cubicBezTo>
                    <a:cubicBezTo>
                      <a:pt x="291" y="278"/>
                      <a:pt x="291" y="278"/>
                      <a:pt x="291" y="278"/>
                    </a:cubicBezTo>
                    <a:cubicBezTo>
                      <a:pt x="291" y="277"/>
                      <a:pt x="291" y="277"/>
                      <a:pt x="291" y="277"/>
                    </a:cubicBezTo>
                    <a:cubicBezTo>
                      <a:pt x="292" y="277"/>
                      <a:pt x="292" y="277"/>
                      <a:pt x="292" y="277"/>
                    </a:cubicBezTo>
                    <a:cubicBezTo>
                      <a:pt x="293" y="276"/>
                      <a:pt x="293" y="276"/>
                      <a:pt x="293" y="276"/>
                    </a:cubicBezTo>
                    <a:cubicBezTo>
                      <a:pt x="292" y="276"/>
                      <a:pt x="292" y="276"/>
                      <a:pt x="292" y="276"/>
                    </a:cubicBezTo>
                    <a:cubicBezTo>
                      <a:pt x="293" y="275"/>
                      <a:pt x="293" y="275"/>
                      <a:pt x="293" y="275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8" y="274"/>
                      <a:pt x="298" y="274"/>
                      <a:pt x="298" y="274"/>
                    </a:cubicBezTo>
                    <a:cubicBezTo>
                      <a:pt x="300" y="275"/>
                      <a:pt x="300" y="275"/>
                      <a:pt x="300" y="275"/>
                    </a:cubicBezTo>
                    <a:cubicBezTo>
                      <a:pt x="302" y="274"/>
                      <a:pt x="302" y="274"/>
                      <a:pt x="302" y="274"/>
                    </a:cubicBezTo>
                    <a:cubicBezTo>
                      <a:pt x="302" y="275"/>
                      <a:pt x="302" y="275"/>
                      <a:pt x="302" y="275"/>
                    </a:cubicBezTo>
                    <a:cubicBezTo>
                      <a:pt x="302" y="276"/>
                      <a:pt x="302" y="276"/>
                      <a:pt x="302" y="276"/>
                    </a:cubicBezTo>
                    <a:cubicBezTo>
                      <a:pt x="303" y="276"/>
                      <a:pt x="303" y="276"/>
                      <a:pt x="303" y="276"/>
                    </a:cubicBezTo>
                    <a:cubicBezTo>
                      <a:pt x="305" y="274"/>
                      <a:pt x="305" y="274"/>
                      <a:pt x="305" y="274"/>
                    </a:cubicBezTo>
                    <a:cubicBezTo>
                      <a:pt x="305" y="273"/>
                      <a:pt x="305" y="273"/>
                      <a:pt x="305" y="273"/>
                    </a:cubicBezTo>
                    <a:cubicBezTo>
                      <a:pt x="304" y="273"/>
                      <a:pt x="304" y="273"/>
                      <a:pt x="304" y="273"/>
                    </a:cubicBezTo>
                    <a:cubicBezTo>
                      <a:pt x="303" y="272"/>
                      <a:pt x="303" y="272"/>
                      <a:pt x="303" y="272"/>
                    </a:cubicBezTo>
                    <a:cubicBezTo>
                      <a:pt x="304" y="271"/>
                      <a:pt x="304" y="271"/>
                      <a:pt x="304" y="271"/>
                    </a:cubicBezTo>
                    <a:cubicBezTo>
                      <a:pt x="306" y="272"/>
                      <a:pt x="306" y="272"/>
                      <a:pt x="306" y="272"/>
                    </a:cubicBezTo>
                    <a:cubicBezTo>
                      <a:pt x="310" y="271"/>
                      <a:pt x="310" y="271"/>
                      <a:pt x="310" y="271"/>
                    </a:cubicBezTo>
                    <a:cubicBezTo>
                      <a:pt x="310" y="268"/>
                      <a:pt x="310" y="268"/>
                      <a:pt x="310" y="268"/>
                    </a:cubicBezTo>
                    <a:cubicBezTo>
                      <a:pt x="310" y="266"/>
                      <a:pt x="310" y="266"/>
                      <a:pt x="310" y="266"/>
                    </a:cubicBezTo>
                    <a:cubicBezTo>
                      <a:pt x="307" y="264"/>
                      <a:pt x="307" y="264"/>
                      <a:pt x="307" y="264"/>
                    </a:cubicBezTo>
                    <a:cubicBezTo>
                      <a:pt x="306" y="264"/>
                      <a:pt x="306" y="264"/>
                      <a:pt x="306" y="264"/>
                    </a:cubicBezTo>
                    <a:cubicBezTo>
                      <a:pt x="305" y="265"/>
                      <a:pt x="305" y="265"/>
                      <a:pt x="305" y="265"/>
                    </a:cubicBezTo>
                    <a:cubicBezTo>
                      <a:pt x="305" y="265"/>
                      <a:pt x="305" y="265"/>
                      <a:pt x="305" y="265"/>
                    </a:cubicBezTo>
                    <a:cubicBezTo>
                      <a:pt x="306" y="264"/>
                      <a:pt x="306" y="264"/>
                      <a:pt x="306" y="264"/>
                    </a:cubicBezTo>
                    <a:cubicBezTo>
                      <a:pt x="308" y="263"/>
                      <a:pt x="308" y="263"/>
                      <a:pt x="308" y="263"/>
                    </a:cubicBezTo>
                    <a:cubicBezTo>
                      <a:pt x="310" y="265"/>
                      <a:pt x="310" y="265"/>
                      <a:pt x="310" y="265"/>
                    </a:cubicBezTo>
                    <a:cubicBezTo>
                      <a:pt x="312" y="264"/>
                      <a:pt x="312" y="264"/>
                      <a:pt x="312" y="264"/>
                    </a:cubicBezTo>
                    <a:cubicBezTo>
                      <a:pt x="314" y="263"/>
                      <a:pt x="314" y="263"/>
                      <a:pt x="314" y="263"/>
                    </a:cubicBezTo>
                    <a:cubicBezTo>
                      <a:pt x="314" y="261"/>
                      <a:pt x="314" y="261"/>
                      <a:pt x="314" y="261"/>
                    </a:cubicBezTo>
                    <a:cubicBezTo>
                      <a:pt x="319" y="259"/>
                      <a:pt x="319" y="259"/>
                      <a:pt x="319" y="259"/>
                    </a:cubicBezTo>
                    <a:cubicBezTo>
                      <a:pt x="321" y="257"/>
                      <a:pt x="321" y="257"/>
                      <a:pt x="321" y="257"/>
                    </a:cubicBezTo>
                    <a:cubicBezTo>
                      <a:pt x="323" y="257"/>
                      <a:pt x="323" y="257"/>
                      <a:pt x="323" y="257"/>
                    </a:cubicBezTo>
                    <a:cubicBezTo>
                      <a:pt x="324" y="256"/>
                      <a:pt x="324" y="256"/>
                      <a:pt x="324" y="256"/>
                    </a:cubicBezTo>
                    <a:cubicBezTo>
                      <a:pt x="324" y="255"/>
                      <a:pt x="324" y="255"/>
                      <a:pt x="324" y="255"/>
                    </a:cubicBezTo>
                    <a:cubicBezTo>
                      <a:pt x="328" y="252"/>
                      <a:pt x="328" y="252"/>
                      <a:pt x="328" y="252"/>
                    </a:cubicBezTo>
                    <a:cubicBezTo>
                      <a:pt x="331" y="251"/>
                      <a:pt x="331" y="251"/>
                      <a:pt x="331" y="251"/>
                    </a:cubicBezTo>
                    <a:cubicBezTo>
                      <a:pt x="335" y="248"/>
                      <a:pt x="335" y="248"/>
                      <a:pt x="335" y="248"/>
                    </a:cubicBezTo>
                    <a:cubicBezTo>
                      <a:pt x="338" y="248"/>
                      <a:pt x="338" y="248"/>
                      <a:pt x="338" y="248"/>
                    </a:cubicBezTo>
                    <a:cubicBezTo>
                      <a:pt x="341" y="243"/>
                      <a:pt x="341" y="243"/>
                      <a:pt x="341" y="243"/>
                    </a:cubicBezTo>
                    <a:cubicBezTo>
                      <a:pt x="340" y="246"/>
                      <a:pt x="340" y="246"/>
                      <a:pt x="340" y="246"/>
                    </a:cubicBezTo>
                    <a:cubicBezTo>
                      <a:pt x="341" y="248"/>
                      <a:pt x="341" y="248"/>
                      <a:pt x="341" y="248"/>
                    </a:cubicBezTo>
                    <a:cubicBezTo>
                      <a:pt x="341" y="249"/>
                      <a:pt x="341" y="249"/>
                      <a:pt x="341" y="249"/>
                    </a:cubicBezTo>
                    <a:cubicBezTo>
                      <a:pt x="343" y="249"/>
                      <a:pt x="343" y="249"/>
                      <a:pt x="343" y="249"/>
                    </a:cubicBezTo>
                    <a:cubicBezTo>
                      <a:pt x="344" y="250"/>
                      <a:pt x="344" y="250"/>
                      <a:pt x="344" y="250"/>
                    </a:cubicBezTo>
                    <a:cubicBezTo>
                      <a:pt x="346" y="247"/>
                      <a:pt x="346" y="247"/>
                      <a:pt x="346" y="247"/>
                    </a:cubicBezTo>
                    <a:cubicBezTo>
                      <a:pt x="348" y="246"/>
                      <a:pt x="348" y="246"/>
                      <a:pt x="348" y="246"/>
                    </a:cubicBezTo>
                    <a:cubicBezTo>
                      <a:pt x="352" y="245"/>
                      <a:pt x="352" y="245"/>
                      <a:pt x="352" y="245"/>
                    </a:cubicBezTo>
                    <a:cubicBezTo>
                      <a:pt x="353" y="244"/>
                      <a:pt x="353" y="244"/>
                      <a:pt x="353" y="244"/>
                    </a:cubicBezTo>
                    <a:cubicBezTo>
                      <a:pt x="352" y="246"/>
                      <a:pt x="352" y="246"/>
                      <a:pt x="352" y="246"/>
                    </a:cubicBezTo>
                    <a:cubicBezTo>
                      <a:pt x="349" y="248"/>
                      <a:pt x="349" y="248"/>
                      <a:pt x="349" y="248"/>
                    </a:cubicBezTo>
                    <a:cubicBezTo>
                      <a:pt x="347" y="248"/>
                      <a:pt x="347" y="248"/>
                      <a:pt x="347" y="248"/>
                    </a:cubicBezTo>
                    <a:cubicBezTo>
                      <a:pt x="343" y="252"/>
                      <a:pt x="343" y="252"/>
                      <a:pt x="343" y="252"/>
                    </a:cubicBezTo>
                    <a:cubicBezTo>
                      <a:pt x="342" y="254"/>
                      <a:pt x="342" y="254"/>
                      <a:pt x="342" y="254"/>
                    </a:cubicBezTo>
                    <a:cubicBezTo>
                      <a:pt x="345" y="257"/>
                      <a:pt x="345" y="257"/>
                      <a:pt x="345" y="257"/>
                    </a:cubicBezTo>
                    <a:cubicBezTo>
                      <a:pt x="345" y="259"/>
                      <a:pt x="345" y="259"/>
                      <a:pt x="345" y="259"/>
                    </a:cubicBezTo>
                    <a:cubicBezTo>
                      <a:pt x="343" y="258"/>
                      <a:pt x="343" y="258"/>
                      <a:pt x="343" y="258"/>
                    </a:cubicBezTo>
                    <a:cubicBezTo>
                      <a:pt x="342" y="257"/>
                      <a:pt x="342" y="257"/>
                      <a:pt x="342" y="257"/>
                    </a:cubicBezTo>
                    <a:cubicBezTo>
                      <a:pt x="341" y="258"/>
                      <a:pt x="341" y="258"/>
                      <a:pt x="341" y="258"/>
                    </a:cubicBezTo>
                    <a:cubicBezTo>
                      <a:pt x="339" y="258"/>
                      <a:pt x="339" y="258"/>
                      <a:pt x="339" y="258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37" y="254"/>
                      <a:pt x="337" y="254"/>
                      <a:pt x="337" y="254"/>
                    </a:cubicBezTo>
                    <a:cubicBezTo>
                      <a:pt x="334" y="255"/>
                      <a:pt x="334" y="255"/>
                      <a:pt x="334" y="255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29" y="258"/>
                      <a:pt x="329" y="258"/>
                      <a:pt x="329" y="258"/>
                    </a:cubicBezTo>
                    <a:cubicBezTo>
                      <a:pt x="327" y="258"/>
                      <a:pt x="327" y="258"/>
                      <a:pt x="327" y="258"/>
                    </a:cubicBezTo>
                    <a:cubicBezTo>
                      <a:pt x="325" y="259"/>
                      <a:pt x="325" y="259"/>
                      <a:pt x="325" y="259"/>
                    </a:cubicBezTo>
                    <a:cubicBezTo>
                      <a:pt x="325" y="261"/>
                      <a:pt x="325" y="261"/>
                      <a:pt x="325" y="261"/>
                    </a:cubicBez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3" y="265"/>
                      <a:pt x="323" y="265"/>
                      <a:pt x="323" y="265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0" y="270"/>
                      <a:pt x="320" y="270"/>
                      <a:pt x="320" y="270"/>
                    </a:cubicBezTo>
                    <a:cubicBezTo>
                      <a:pt x="315" y="274"/>
                      <a:pt x="315" y="274"/>
                      <a:pt x="315" y="274"/>
                    </a:cubicBezTo>
                    <a:cubicBezTo>
                      <a:pt x="313" y="276"/>
                      <a:pt x="313" y="276"/>
                      <a:pt x="313" y="276"/>
                    </a:cubicBezTo>
                    <a:cubicBezTo>
                      <a:pt x="314" y="278"/>
                      <a:pt x="314" y="278"/>
                      <a:pt x="314" y="278"/>
                    </a:cubicBezTo>
                    <a:cubicBezTo>
                      <a:pt x="315" y="281"/>
                      <a:pt x="315" y="281"/>
                      <a:pt x="315" y="281"/>
                    </a:cubicBezTo>
                    <a:cubicBezTo>
                      <a:pt x="316" y="279"/>
                      <a:pt x="316" y="279"/>
                      <a:pt x="316" y="279"/>
                    </a:cubicBezTo>
                    <a:cubicBezTo>
                      <a:pt x="317" y="279"/>
                      <a:pt x="317" y="279"/>
                      <a:pt x="317" y="279"/>
                    </a:cubicBezTo>
                    <a:cubicBezTo>
                      <a:pt x="319" y="278"/>
                      <a:pt x="319" y="278"/>
                      <a:pt x="319" y="278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321" y="279"/>
                      <a:pt x="321" y="279"/>
                      <a:pt x="321" y="279"/>
                    </a:cubicBezTo>
                    <a:cubicBezTo>
                      <a:pt x="317" y="282"/>
                      <a:pt x="317" y="282"/>
                      <a:pt x="317" y="282"/>
                    </a:cubicBezTo>
                    <a:cubicBezTo>
                      <a:pt x="316" y="282"/>
                      <a:pt x="316" y="282"/>
                      <a:pt x="316" y="282"/>
                    </a:cubicBezTo>
                    <a:cubicBezTo>
                      <a:pt x="315" y="284"/>
                      <a:pt x="315" y="284"/>
                      <a:pt x="315" y="284"/>
                    </a:cubicBezTo>
                    <a:cubicBezTo>
                      <a:pt x="313" y="283"/>
                      <a:pt x="313" y="283"/>
                      <a:pt x="313" y="283"/>
                    </a:cubicBezTo>
                    <a:cubicBezTo>
                      <a:pt x="312" y="283"/>
                      <a:pt x="312" y="283"/>
                      <a:pt x="312" y="283"/>
                    </a:cubicBezTo>
                    <a:cubicBezTo>
                      <a:pt x="310" y="284"/>
                      <a:pt x="310" y="284"/>
                      <a:pt x="310" y="284"/>
                    </a:cubicBezTo>
                    <a:cubicBezTo>
                      <a:pt x="310" y="285"/>
                      <a:pt x="310" y="285"/>
                      <a:pt x="310" y="285"/>
                    </a:cubicBezTo>
                    <a:cubicBezTo>
                      <a:pt x="309" y="285"/>
                      <a:pt x="309" y="285"/>
                      <a:pt x="309" y="285"/>
                    </a:cubicBezTo>
                    <a:cubicBezTo>
                      <a:pt x="307" y="285"/>
                      <a:pt x="307" y="285"/>
                      <a:pt x="307" y="285"/>
                    </a:cubicBezTo>
                    <a:cubicBezTo>
                      <a:pt x="307" y="288"/>
                      <a:pt x="307" y="288"/>
                      <a:pt x="307" y="288"/>
                    </a:cubicBezTo>
                    <a:cubicBezTo>
                      <a:pt x="310" y="291"/>
                      <a:pt x="310" y="291"/>
                      <a:pt x="310" y="291"/>
                    </a:cubicBezTo>
                    <a:cubicBezTo>
                      <a:pt x="311" y="290"/>
                      <a:pt x="311" y="290"/>
                      <a:pt x="311" y="290"/>
                    </a:cubicBezTo>
                    <a:cubicBezTo>
                      <a:pt x="312" y="289"/>
                      <a:pt x="312" y="289"/>
                      <a:pt x="312" y="289"/>
                    </a:cubicBezTo>
                    <a:cubicBezTo>
                      <a:pt x="313" y="290"/>
                      <a:pt x="313" y="290"/>
                      <a:pt x="313" y="290"/>
                    </a:cubicBezTo>
                    <a:cubicBezTo>
                      <a:pt x="314" y="288"/>
                      <a:pt x="314" y="288"/>
                      <a:pt x="314" y="288"/>
                    </a:cubicBezTo>
                    <a:cubicBezTo>
                      <a:pt x="315" y="288"/>
                      <a:pt x="315" y="288"/>
                      <a:pt x="315" y="288"/>
                    </a:cubicBezTo>
                    <a:cubicBezTo>
                      <a:pt x="315" y="290"/>
                      <a:pt x="315" y="290"/>
                      <a:pt x="315" y="290"/>
                    </a:cubicBezTo>
                    <a:cubicBezTo>
                      <a:pt x="316" y="289"/>
                      <a:pt x="316" y="289"/>
                      <a:pt x="316" y="289"/>
                    </a:cubicBezTo>
                    <a:cubicBezTo>
                      <a:pt x="316" y="288"/>
                      <a:pt x="316" y="288"/>
                      <a:pt x="316" y="288"/>
                    </a:cubicBezTo>
                    <a:cubicBezTo>
                      <a:pt x="318" y="287"/>
                      <a:pt x="318" y="287"/>
                      <a:pt x="318" y="287"/>
                    </a:cubicBezTo>
                    <a:cubicBezTo>
                      <a:pt x="320" y="285"/>
                      <a:pt x="320" y="285"/>
                      <a:pt x="320" y="285"/>
                    </a:cubicBezTo>
                    <a:cubicBezTo>
                      <a:pt x="320" y="283"/>
                      <a:pt x="320" y="283"/>
                      <a:pt x="320" y="283"/>
                    </a:cubicBezTo>
                    <a:cubicBezTo>
                      <a:pt x="321" y="282"/>
                      <a:pt x="321" y="282"/>
                      <a:pt x="321" y="282"/>
                    </a:cubicBezTo>
                    <a:cubicBezTo>
                      <a:pt x="321" y="283"/>
                      <a:pt x="321" y="283"/>
                      <a:pt x="321" y="283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2" y="285"/>
                      <a:pt x="322" y="285"/>
                      <a:pt x="322" y="285"/>
                    </a:cubicBezTo>
                    <a:cubicBezTo>
                      <a:pt x="324" y="285"/>
                      <a:pt x="324" y="285"/>
                      <a:pt x="324" y="285"/>
                    </a:cubicBezTo>
                    <a:cubicBezTo>
                      <a:pt x="327" y="283"/>
                      <a:pt x="327" y="283"/>
                      <a:pt x="327" y="283"/>
                    </a:cubicBezTo>
                    <a:cubicBezTo>
                      <a:pt x="329" y="283"/>
                      <a:pt x="329" y="283"/>
                      <a:pt x="329" y="283"/>
                    </a:cubicBezTo>
                    <a:cubicBezTo>
                      <a:pt x="329" y="284"/>
                      <a:pt x="329" y="284"/>
                      <a:pt x="329" y="284"/>
                    </a:cubicBezTo>
                    <a:cubicBezTo>
                      <a:pt x="330" y="283"/>
                      <a:pt x="330" y="283"/>
                      <a:pt x="330" y="283"/>
                    </a:cubicBezTo>
                    <a:cubicBezTo>
                      <a:pt x="331" y="279"/>
                      <a:pt x="331" y="279"/>
                      <a:pt x="331" y="279"/>
                    </a:cubicBezTo>
                    <a:cubicBezTo>
                      <a:pt x="333" y="278"/>
                      <a:pt x="333" y="278"/>
                      <a:pt x="333" y="278"/>
                    </a:cubicBezTo>
                    <a:cubicBezTo>
                      <a:pt x="334" y="278"/>
                      <a:pt x="334" y="278"/>
                      <a:pt x="334" y="278"/>
                    </a:cubicBezTo>
                    <a:cubicBezTo>
                      <a:pt x="332" y="281"/>
                      <a:pt x="332" y="281"/>
                      <a:pt x="332" y="281"/>
                    </a:cubicBezTo>
                    <a:cubicBezTo>
                      <a:pt x="332" y="282"/>
                      <a:pt x="332" y="282"/>
                      <a:pt x="332" y="282"/>
                    </a:cubicBezTo>
                    <a:cubicBezTo>
                      <a:pt x="333" y="281"/>
                      <a:pt x="333" y="281"/>
                      <a:pt x="333" y="281"/>
                    </a:cubicBezTo>
                    <a:cubicBezTo>
                      <a:pt x="335" y="279"/>
                      <a:pt x="335" y="279"/>
                      <a:pt x="335" y="279"/>
                    </a:cubicBezTo>
                    <a:cubicBezTo>
                      <a:pt x="337" y="275"/>
                      <a:pt x="337" y="275"/>
                      <a:pt x="337" y="275"/>
                    </a:cubicBezTo>
                    <a:cubicBezTo>
                      <a:pt x="338" y="274"/>
                      <a:pt x="338" y="274"/>
                      <a:pt x="338" y="274"/>
                    </a:cubicBezTo>
                    <a:cubicBezTo>
                      <a:pt x="338" y="276"/>
                      <a:pt x="338" y="276"/>
                      <a:pt x="338" y="276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37" y="279"/>
                      <a:pt x="337" y="279"/>
                      <a:pt x="337" y="279"/>
                    </a:cubicBezTo>
                    <a:cubicBezTo>
                      <a:pt x="339" y="277"/>
                      <a:pt x="339" y="277"/>
                      <a:pt x="339" y="277"/>
                    </a:cubicBezTo>
                    <a:cubicBezTo>
                      <a:pt x="340" y="278"/>
                      <a:pt x="340" y="278"/>
                      <a:pt x="340" y="278"/>
                    </a:cubicBezTo>
                    <a:cubicBezTo>
                      <a:pt x="340" y="279"/>
                      <a:pt x="340" y="279"/>
                      <a:pt x="340" y="279"/>
                    </a:cubicBezTo>
                    <a:cubicBezTo>
                      <a:pt x="342" y="279"/>
                      <a:pt x="342" y="279"/>
                      <a:pt x="342" y="279"/>
                    </a:cubicBezTo>
                    <a:cubicBezTo>
                      <a:pt x="343" y="280"/>
                      <a:pt x="343" y="280"/>
                      <a:pt x="343" y="280"/>
                    </a:cubicBezTo>
                    <a:cubicBezTo>
                      <a:pt x="344" y="279"/>
                      <a:pt x="344" y="279"/>
                      <a:pt x="344" y="279"/>
                    </a:cubicBezTo>
                    <a:cubicBezTo>
                      <a:pt x="345" y="277"/>
                      <a:pt x="345" y="277"/>
                      <a:pt x="345" y="277"/>
                    </a:cubicBezTo>
                    <a:cubicBezTo>
                      <a:pt x="348" y="276"/>
                      <a:pt x="348" y="276"/>
                      <a:pt x="348" y="276"/>
                    </a:cubicBezTo>
                    <a:cubicBezTo>
                      <a:pt x="349" y="275"/>
                      <a:pt x="349" y="275"/>
                      <a:pt x="349" y="275"/>
                    </a:cubicBezTo>
                    <a:cubicBezTo>
                      <a:pt x="348" y="275"/>
                      <a:pt x="348" y="275"/>
                      <a:pt x="348" y="275"/>
                    </a:cubicBezTo>
                    <a:cubicBezTo>
                      <a:pt x="349" y="272"/>
                      <a:pt x="349" y="272"/>
                      <a:pt x="349" y="272"/>
                    </a:cubicBezTo>
                    <a:cubicBezTo>
                      <a:pt x="352" y="271"/>
                      <a:pt x="352" y="271"/>
                      <a:pt x="352" y="271"/>
                    </a:cubicBezTo>
                    <a:cubicBezTo>
                      <a:pt x="353" y="270"/>
                      <a:pt x="353" y="270"/>
                      <a:pt x="353" y="270"/>
                    </a:cubicBezTo>
                    <a:cubicBezTo>
                      <a:pt x="353" y="268"/>
                      <a:pt x="353" y="268"/>
                      <a:pt x="353" y="268"/>
                    </a:cubicBezTo>
                    <a:cubicBezTo>
                      <a:pt x="351" y="268"/>
                      <a:pt x="351" y="268"/>
                      <a:pt x="351" y="268"/>
                    </a:cubicBezTo>
                    <a:cubicBezTo>
                      <a:pt x="350" y="267"/>
                      <a:pt x="350" y="267"/>
                      <a:pt x="350" y="267"/>
                    </a:cubicBezTo>
                    <a:cubicBezTo>
                      <a:pt x="348" y="267"/>
                      <a:pt x="348" y="267"/>
                      <a:pt x="348" y="267"/>
                    </a:cubicBezTo>
                    <a:cubicBezTo>
                      <a:pt x="349" y="266"/>
                      <a:pt x="349" y="266"/>
                      <a:pt x="349" y="266"/>
                    </a:cubicBezTo>
                    <a:cubicBezTo>
                      <a:pt x="350" y="266"/>
                      <a:pt x="350" y="266"/>
                      <a:pt x="350" y="266"/>
                    </a:cubicBezTo>
                    <a:cubicBezTo>
                      <a:pt x="352" y="266"/>
                      <a:pt x="352" y="266"/>
                      <a:pt x="352" y="266"/>
                    </a:cubicBezTo>
                    <a:cubicBezTo>
                      <a:pt x="353" y="265"/>
                      <a:pt x="353" y="265"/>
                      <a:pt x="353" y="265"/>
                    </a:cubicBezTo>
                    <a:cubicBezTo>
                      <a:pt x="353" y="264"/>
                      <a:pt x="353" y="264"/>
                      <a:pt x="353" y="264"/>
                    </a:cubicBezTo>
                    <a:cubicBezTo>
                      <a:pt x="351" y="264"/>
                      <a:pt x="351" y="264"/>
                      <a:pt x="351" y="264"/>
                    </a:cubicBezTo>
                    <a:cubicBezTo>
                      <a:pt x="349" y="263"/>
                      <a:pt x="349" y="263"/>
                      <a:pt x="349" y="263"/>
                    </a:cubicBezTo>
                    <a:cubicBezTo>
                      <a:pt x="349" y="261"/>
                      <a:pt x="349" y="261"/>
                      <a:pt x="349" y="261"/>
                    </a:cubicBezTo>
                    <a:cubicBezTo>
                      <a:pt x="351" y="261"/>
                      <a:pt x="351" y="261"/>
                      <a:pt x="351" y="261"/>
                    </a:cubicBezTo>
                    <a:cubicBezTo>
                      <a:pt x="352" y="260"/>
                      <a:pt x="352" y="260"/>
                      <a:pt x="352" y="260"/>
                    </a:cubicBezTo>
                    <a:cubicBezTo>
                      <a:pt x="353" y="261"/>
                      <a:pt x="353" y="261"/>
                      <a:pt x="353" y="261"/>
                    </a:cubicBezTo>
                    <a:cubicBezTo>
                      <a:pt x="354" y="260"/>
                      <a:pt x="354" y="260"/>
                      <a:pt x="354" y="260"/>
                    </a:cubicBezTo>
                    <a:cubicBezTo>
                      <a:pt x="353" y="258"/>
                      <a:pt x="353" y="258"/>
                      <a:pt x="353" y="258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8" y="258"/>
                      <a:pt x="358" y="258"/>
                      <a:pt x="358" y="258"/>
                    </a:cubicBezTo>
                    <a:cubicBezTo>
                      <a:pt x="359" y="257"/>
                      <a:pt x="359" y="257"/>
                      <a:pt x="359" y="257"/>
                    </a:cubicBezTo>
                    <a:cubicBezTo>
                      <a:pt x="362" y="257"/>
                      <a:pt x="362" y="257"/>
                      <a:pt x="362" y="257"/>
                    </a:cubicBezTo>
                    <a:cubicBezTo>
                      <a:pt x="358" y="260"/>
                      <a:pt x="358" y="260"/>
                      <a:pt x="358" y="260"/>
                    </a:cubicBezTo>
                    <a:cubicBezTo>
                      <a:pt x="358" y="261"/>
                      <a:pt x="358" y="261"/>
                      <a:pt x="358" y="261"/>
                    </a:cubicBezTo>
                    <a:cubicBezTo>
                      <a:pt x="359" y="265"/>
                      <a:pt x="359" y="265"/>
                      <a:pt x="359" y="265"/>
                    </a:cubicBezTo>
                    <a:cubicBezTo>
                      <a:pt x="360" y="264"/>
                      <a:pt x="360" y="264"/>
                      <a:pt x="360" y="264"/>
                    </a:cubicBezTo>
                    <a:cubicBezTo>
                      <a:pt x="361" y="261"/>
                      <a:pt x="361" y="261"/>
                      <a:pt x="361" y="261"/>
                    </a:cubicBezTo>
                    <a:cubicBezTo>
                      <a:pt x="362" y="260"/>
                      <a:pt x="362" y="260"/>
                      <a:pt x="362" y="260"/>
                    </a:cubicBezTo>
                    <a:cubicBezTo>
                      <a:pt x="363" y="260"/>
                      <a:pt x="363" y="260"/>
                      <a:pt x="363" y="260"/>
                    </a:cubicBezTo>
                    <a:cubicBezTo>
                      <a:pt x="363" y="261"/>
                      <a:pt x="363" y="261"/>
                      <a:pt x="363" y="261"/>
                    </a:cubicBezTo>
                    <a:cubicBezTo>
                      <a:pt x="362" y="262"/>
                      <a:pt x="362" y="262"/>
                      <a:pt x="362" y="262"/>
                    </a:cubicBezTo>
                    <a:cubicBezTo>
                      <a:pt x="362" y="264"/>
                      <a:pt x="362" y="264"/>
                      <a:pt x="362" y="264"/>
                    </a:cubicBezTo>
                    <a:cubicBezTo>
                      <a:pt x="364" y="262"/>
                      <a:pt x="364" y="262"/>
                      <a:pt x="364" y="262"/>
                    </a:cubicBezTo>
                    <a:cubicBezTo>
                      <a:pt x="365" y="261"/>
                      <a:pt x="365" y="261"/>
                      <a:pt x="365" y="261"/>
                    </a:cubicBezTo>
                    <a:cubicBezTo>
                      <a:pt x="366" y="262"/>
                      <a:pt x="366" y="262"/>
                      <a:pt x="366" y="262"/>
                    </a:cubicBezTo>
                    <a:cubicBezTo>
                      <a:pt x="368" y="260"/>
                      <a:pt x="368" y="260"/>
                      <a:pt x="368" y="260"/>
                    </a:cubicBezTo>
                    <a:cubicBezTo>
                      <a:pt x="369" y="260"/>
                      <a:pt x="369" y="260"/>
                      <a:pt x="369" y="260"/>
                    </a:cubicBezTo>
                    <a:cubicBezTo>
                      <a:pt x="371" y="259"/>
                      <a:pt x="371" y="259"/>
                      <a:pt x="371" y="259"/>
                    </a:cubicBezTo>
                    <a:cubicBezTo>
                      <a:pt x="373" y="259"/>
                      <a:pt x="373" y="259"/>
                      <a:pt x="373" y="259"/>
                    </a:cubicBezTo>
                    <a:cubicBezTo>
                      <a:pt x="374" y="259"/>
                      <a:pt x="374" y="259"/>
                      <a:pt x="374" y="259"/>
                    </a:cubicBezTo>
                    <a:cubicBezTo>
                      <a:pt x="374" y="260"/>
                      <a:pt x="374" y="260"/>
                      <a:pt x="374" y="260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370" y="262"/>
                      <a:pt x="370" y="262"/>
                      <a:pt x="370" y="262"/>
                    </a:cubicBezTo>
                    <a:cubicBezTo>
                      <a:pt x="369" y="262"/>
                      <a:pt x="369" y="262"/>
                      <a:pt x="369" y="262"/>
                    </a:cubicBezTo>
                    <a:cubicBezTo>
                      <a:pt x="368" y="263"/>
                      <a:pt x="368" y="263"/>
                      <a:pt x="368" y="263"/>
                    </a:cubicBezTo>
                    <a:cubicBezTo>
                      <a:pt x="369" y="265"/>
                      <a:pt x="369" y="265"/>
                      <a:pt x="369" y="265"/>
                    </a:cubicBezTo>
                    <a:cubicBezTo>
                      <a:pt x="372" y="265"/>
                      <a:pt x="372" y="265"/>
                      <a:pt x="372" y="265"/>
                    </a:cubicBezTo>
                    <a:cubicBezTo>
                      <a:pt x="373" y="267"/>
                      <a:pt x="373" y="267"/>
                      <a:pt x="373" y="267"/>
                    </a:cubicBezTo>
                    <a:cubicBezTo>
                      <a:pt x="373" y="268"/>
                      <a:pt x="373" y="268"/>
                      <a:pt x="373" y="268"/>
                    </a:cubicBezTo>
                    <a:cubicBezTo>
                      <a:pt x="371" y="266"/>
                      <a:pt x="371" y="266"/>
                      <a:pt x="371" y="266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67" y="266"/>
                      <a:pt x="367" y="266"/>
                      <a:pt x="367" y="266"/>
                    </a:cubicBezTo>
                    <a:cubicBezTo>
                      <a:pt x="367" y="268"/>
                      <a:pt x="367" y="268"/>
                      <a:pt x="367" y="268"/>
                    </a:cubicBezTo>
                    <a:cubicBezTo>
                      <a:pt x="368" y="268"/>
                      <a:pt x="368" y="268"/>
                      <a:pt x="368" y="268"/>
                    </a:cubicBezTo>
                    <a:cubicBezTo>
                      <a:pt x="370" y="268"/>
                      <a:pt x="370" y="268"/>
                      <a:pt x="370" y="268"/>
                    </a:cubicBezTo>
                    <a:cubicBezTo>
                      <a:pt x="371" y="269"/>
                      <a:pt x="371" y="269"/>
                      <a:pt x="371" y="269"/>
                    </a:cubicBezTo>
                    <a:cubicBezTo>
                      <a:pt x="370" y="269"/>
                      <a:pt x="370" y="269"/>
                      <a:pt x="370" y="269"/>
                    </a:cubicBezTo>
                    <a:cubicBezTo>
                      <a:pt x="368" y="269"/>
                      <a:pt x="368" y="269"/>
                      <a:pt x="368" y="269"/>
                    </a:cubicBezTo>
                    <a:cubicBezTo>
                      <a:pt x="369" y="271"/>
                      <a:pt x="369" y="271"/>
                      <a:pt x="369" y="271"/>
                    </a:cubicBezTo>
                    <a:cubicBezTo>
                      <a:pt x="371" y="271"/>
                      <a:pt x="371" y="271"/>
                      <a:pt x="371" y="271"/>
                    </a:cubicBezTo>
                    <a:cubicBezTo>
                      <a:pt x="372" y="273"/>
                      <a:pt x="372" y="273"/>
                      <a:pt x="372" y="273"/>
                    </a:cubicBezTo>
                    <a:cubicBezTo>
                      <a:pt x="371" y="273"/>
                      <a:pt x="371" y="273"/>
                      <a:pt x="371" y="273"/>
                    </a:cubicBezTo>
                    <a:cubicBezTo>
                      <a:pt x="369" y="274"/>
                      <a:pt x="369" y="274"/>
                      <a:pt x="369" y="274"/>
                    </a:cubicBezTo>
                    <a:cubicBezTo>
                      <a:pt x="369" y="275"/>
                      <a:pt x="369" y="275"/>
                      <a:pt x="369" y="275"/>
                    </a:cubicBezTo>
                    <a:cubicBezTo>
                      <a:pt x="371" y="275"/>
                      <a:pt x="371" y="275"/>
                      <a:pt x="371" y="275"/>
                    </a:cubicBezTo>
                    <a:cubicBezTo>
                      <a:pt x="373" y="274"/>
                      <a:pt x="373" y="274"/>
                      <a:pt x="373" y="274"/>
                    </a:cubicBezTo>
                    <a:cubicBezTo>
                      <a:pt x="375" y="275"/>
                      <a:pt x="375" y="275"/>
                      <a:pt x="375" y="275"/>
                    </a:cubicBezTo>
                    <a:cubicBezTo>
                      <a:pt x="377" y="276"/>
                      <a:pt x="377" y="276"/>
                      <a:pt x="377" y="276"/>
                    </a:cubicBezTo>
                    <a:cubicBezTo>
                      <a:pt x="379" y="275"/>
                      <a:pt x="379" y="275"/>
                      <a:pt x="379" y="275"/>
                    </a:cubicBezTo>
                    <a:cubicBezTo>
                      <a:pt x="380" y="276"/>
                      <a:pt x="380" y="276"/>
                      <a:pt x="380" y="276"/>
                    </a:cubicBezTo>
                    <a:cubicBezTo>
                      <a:pt x="380" y="277"/>
                      <a:pt x="380" y="277"/>
                      <a:pt x="380" y="277"/>
                    </a:cubicBezTo>
                    <a:cubicBezTo>
                      <a:pt x="379" y="278"/>
                      <a:pt x="379" y="278"/>
                      <a:pt x="379" y="278"/>
                    </a:cubicBezTo>
                    <a:cubicBezTo>
                      <a:pt x="379" y="279"/>
                      <a:pt x="379" y="279"/>
                      <a:pt x="379" y="279"/>
                    </a:cubicBezTo>
                    <a:cubicBezTo>
                      <a:pt x="380" y="280"/>
                      <a:pt x="380" y="280"/>
                      <a:pt x="380" y="280"/>
                    </a:cubicBezTo>
                    <a:cubicBezTo>
                      <a:pt x="380" y="281"/>
                      <a:pt x="380" y="281"/>
                      <a:pt x="380" y="281"/>
                    </a:cubicBezTo>
                    <a:cubicBezTo>
                      <a:pt x="382" y="281"/>
                      <a:pt x="382" y="281"/>
                      <a:pt x="382" y="281"/>
                    </a:cubicBezTo>
                    <a:cubicBezTo>
                      <a:pt x="383" y="279"/>
                      <a:pt x="383" y="279"/>
                      <a:pt x="383" y="279"/>
                    </a:cubicBezTo>
                    <a:cubicBezTo>
                      <a:pt x="383" y="279"/>
                      <a:pt x="383" y="279"/>
                      <a:pt x="383" y="279"/>
                    </a:cubicBezTo>
                    <a:cubicBezTo>
                      <a:pt x="383" y="278"/>
                      <a:pt x="383" y="278"/>
                      <a:pt x="383" y="278"/>
                    </a:cubicBezTo>
                    <a:cubicBezTo>
                      <a:pt x="385" y="278"/>
                      <a:pt x="385" y="278"/>
                      <a:pt x="385" y="278"/>
                    </a:cubicBezTo>
                    <a:cubicBezTo>
                      <a:pt x="384" y="280"/>
                      <a:pt x="384" y="280"/>
                      <a:pt x="384" y="280"/>
                    </a:cubicBezTo>
                    <a:cubicBezTo>
                      <a:pt x="384" y="281"/>
                      <a:pt x="384" y="281"/>
                      <a:pt x="384" y="281"/>
                    </a:cubicBezTo>
                    <a:cubicBezTo>
                      <a:pt x="382" y="283"/>
                      <a:pt x="382" y="283"/>
                      <a:pt x="382" y="283"/>
                    </a:cubicBezTo>
                    <a:cubicBezTo>
                      <a:pt x="384" y="285"/>
                      <a:pt x="384" y="285"/>
                      <a:pt x="384" y="285"/>
                    </a:cubicBezTo>
                    <a:cubicBezTo>
                      <a:pt x="383" y="286"/>
                      <a:pt x="383" y="286"/>
                      <a:pt x="383" y="286"/>
                    </a:cubicBezTo>
                    <a:cubicBezTo>
                      <a:pt x="382" y="285"/>
                      <a:pt x="382" y="285"/>
                      <a:pt x="382" y="285"/>
                    </a:cubicBezTo>
                    <a:cubicBezTo>
                      <a:pt x="381" y="286"/>
                      <a:pt x="381" y="286"/>
                      <a:pt x="381" y="286"/>
                    </a:cubicBezTo>
                    <a:cubicBezTo>
                      <a:pt x="381" y="287"/>
                      <a:pt x="381" y="287"/>
                      <a:pt x="381" y="287"/>
                    </a:cubicBezTo>
                    <a:cubicBezTo>
                      <a:pt x="386" y="288"/>
                      <a:pt x="386" y="288"/>
                      <a:pt x="386" y="288"/>
                    </a:cubicBezTo>
                    <a:cubicBezTo>
                      <a:pt x="387" y="287"/>
                      <a:pt x="387" y="287"/>
                      <a:pt x="387" y="287"/>
                    </a:cubicBezTo>
                    <a:cubicBezTo>
                      <a:pt x="389" y="288"/>
                      <a:pt x="389" y="288"/>
                      <a:pt x="389" y="288"/>
                    </a:cubicBezTo>
                    <a:cubicBezTo>
                      <a:pt x="390" y="287"/>
                      <a:pt x="390" y="287"/>
                      <a:pt x="390" y="287"/>
                    </a:cubicBezTo>
                    <a:cubicBezTo>
                      <a:pt x="393" y="288"/>
                      <a:pt x="393" y="288"/>
                      <a:pt x="393" y="288"/>
                    </a:cubicBezTo>
                    <a:cubicBezTo>
                      <a:pt x="395" y="287"/>
                      <a:pt x="395" y="287"/>
                      <a:pt x="395" y="287"/>
                    </a:cubicBezTo>
                    <a:cubicBezTo>
                      <a:pt x="396" y="287"/>
                      <a:pt x="396" y="287"/>
                      <a:pt x="396" y="287"/>
                    </a:cubicBezTo>
                    <a:cubicBezTo>
                      <a:pt x="396" y="289"/>
                      <a:pt x="396" y="289"/>
                      <a:pt x="396" y="289"/>
                    </a:cubicBezTo>
                    <a:cubicBezTo>
                      <a:pt x="397" y="289"/>
                      <a:pt x="397" y="289"/>
                      <a:pt x="397" y="289"/>
                    </a:cubicBezTo>
                    <a:cubicBezTo>
                      <a:pt x="399" y="291"/>
                      <a:pt x="399" y="291"/>
                      <a:pt x="399" y="291"/>
                    </a:cubicBezTo>
                    <a:cubicBezTo>
                      <a:pt x="400" y="292"/>
                      <a:pt x="400" y="292"/>
                      <a:pt x="400" y="292"/>
                    </a:cubicBezTo>
                    <a:cubicBezTo>
                      <a:pt x="400" y="293"/>
                      <a:pt x="400" y="293"/>
                      <a:pt x="400" y="293"/>
                    </a:cubicBezTo>
                    <a:cubicBezTo>
                      <a:pt x="402" y="293"/>
                      <a:pt x="402" y="293"/>
                      <a:pt x="402" y="293"/>
                    </a:cubicBezTo>
                    <a:cubicBezTo>
                      <a:pt x="405" y="291"/>
                      <a:pt x="405" y="291"/>
                      <a:pt x="405" y="291"/>
                    </a:cubicBezTo>
                    <a:cubicBezTo>
                      <a:pt x="405" y="291"/>
                      <a:pt x="405" y="291"/>
                      <a:pt x="405" y="291"/>
                    </a:cubicBezTo>
                    <a:cubicBezTo>
                      <a:pt x="406" y="291"/>
                      <a:pt x="406" y="291"/>
                      <a:pt x="406" y="291"/>
                    </a:cubicBezTo>
                    <a:cubicBezTo>
                      <a:pt x="406" y="293"/>
                      <a:pt x="406" y="293"/>
                      <a:pt x="406" y="293"/>
                    </a:cubicBezTo>
                    <a:cubicBezTo>
                      <a:pt x="405" y="294"/>
                      <a:pt x="405" y="294"/>
                      <a:pt x="405" y="294"/>
                    </a:cubicBezTo>
                    <a:cubicBezTo>
                      <a:pt x="403" y="294"/>
                      <a:pt x="403" y="294"/>
                      <a:pt x="403" y="294"/>
                    </a:cubicBezTo>
                    <a:cubicBezTo>
                      <a:pt x="403" y="295"/>
                      <a:pt x="403" y="295"/>
                      <a:pt x="403" y="295"/>
                    </a:cubicBezTo>
                    <a:cubicBezTo>
                      <a:pt x="406" y="296"/>
                      <a:pt x="406" y="296"/>
                      <a:pt x="406" y="296"/>
                    </a:cubicBezTo>
                    <a:cubicBezTo>
                      <a:pt x="406" y="298"/>
                      <a:pt x="406" y="298"/>
                      <a:pt x="406" y="298"/>
                    </a:cubicBezTo>
                    <a:cubicBezTo>
                      <a:pt x="408" y="299"/>
                      <a:pt x="408" y="299"/>
                      <a:pt x="408" y="299"/>
                    </a:cubicBezTo>
                    <a:cubicBezTo>
                      <a:pt x="410" y="300"/>
                      <a:pt x="410" y="300"/>
                      <a:pt x="410" y="300"/>
                    </a:cubicBezTo>
                    <a:cubicBezTo>
                      <a:pt x="414" y="299"/>
                      <a:pt x="414" y="299"/>
                      <a:pt x="414" y="299"/>
                    </a:cubicBezTo>
                    <a:cubicBezTo>
                      <a:pt x="416" y="299"/>
                      <a:pt x="416" y="299"/>
                      <a:pt x="416" y="299"/>
                    </a:cubicBezTo>
                    <a:cubicBezTo>
                      <a:pt x="416" y="300"/>
                      <a:pt x="416" y="300"/>
                      <a:pt x="416" y="300"/>
                    </a:cubicBezTo>
                    <a:cubicBezTo>
                      <a:pt x="417" y="298"/>
                      <a:pt x="417" y="298"/>
                      <a:pt x="417" y="298"/>
                    </a:cubicBezTo>
                    <a:cubicBezTo>
                      <a:pt x="420" y="296"/>
                      <a:pt x="420" y="296"/>
                      <a:pt x="420" y="296"/>
                    </a:cubicBez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20" y="297"/>
                      <a:pt x="420" y="297"/>
                      <a:pt x="420" y="297"/>
                    </a:cubicBezTo>
                    <a:cubicBezTo>
                      <a:pt x="418" y="299"/>
                      <a:pt x="418" y="299"/>
                      <a:pt x="418" y="299"/>
                    </a:cubicBezTo>
                    <a:cubicBezTo>
                      <a:pt x="418" y="302"/>
                      <a:pt x="418" y="302"/>
                      <a:pt x="418" y="302"/>
                    </a:cubicBezTo>
                    <a:cubicBezTo>
                      <a:pt x="417" y="304"/>
                      <a:pt x="417" y="304"/>
                      <a:pt x="417" y="304"/>
                    </a:cubicBezTo>
                    <a:cubicBezTo>
                      <a:pt x="416" y="305"/>
                      <a:pt x="416" y="305"/>
                      <a:pt x="416" y="305"/>
                    </a:cubicBezTo>
                    <a:cubicBezTo>
                      <a:pt x="414" y="303"/>
                      <a:pt x="414" y="303"/>
                      <a:pt x="414" y="303"/>
                    </a:cubicBezTo>
                    <a:cubicBezTo>
                      <a:pt x="413" y="304"/>
                      <a:pt x="413" y="304"/>
                      <a:pt x="413" y="304"/>
                    </a:cubicBezTo>
                    <a:cubicBezTo>
                      <a:pt x="414" y="306"/>
                      <a:pt x="414" y="306"/>
                      <a:pt x="414" y="306"/>
                    </a:cubicBezTo>
                    <a:cubicBezTo>
                      <a:pt x="415" y="308"/>
                      <a:pt x="415" y="308"/>
                      <a:pt x="415" y="308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18" y="308"/>
                      <a:pt x="418" y="308"/>
                      <a:pt x="418" y="308"/>
                    </a:cubicBezTo>
                    <a:cubicBezTo>
                      <a:pt x="419" y="309"/>
                      <a:pt x="419" y="309"/>
                      <a:pt x="419" y="309"/>
                    </a:cubicBezTo>
                    <a:cubicBezTo>
                      <a:pt x="418" y="310"/>
                      <a:pt x="418" y="310"/>
                      <a:pt x="418" y="310"/>
                    </a:cubicBezTo>
                    <a:cubicBezTo>
                      <a:pt x="417" y="310"/>
                      <a:pt x="417" y="310"/>
                      <a:pt x="417" y="310"/>
                    </a:cubicBezTo>
                    <a:cubicBezTo>
                      <a:pt x="417" y="311"/>
                      <a:pt x="417" y="311"/>
                      <a:pt x="417" y="311"/>
                    </a:cubicBezTo>
                    <a:cubicBezTo>
                      <a:pt x="420" y="314"/>
                      <a:pt x="420" y="314"/>
                      <a:pt x="420" y="314"/>
                    </a:cubicBezTo>
                    <a:cubicBezTo>
                      <a:pt x="421" y="313"/>
                      <a:pt x="421" y="313"/>
                      <a:pt x="421" y="313"/>
                    </a:cubicBezTo>
                    <a:cubicBezTo>
                      <a:pt x="423" y="313"/>
                      <a:pt x="423" y="313"/>
                      <a:pt x="423" y="313"/>
                    </a:cubicBezTo>
                    <a:cubicBezTo>
                      <a:pt x="424" y="312"/>
                      <a:pt x="424" y="312"/>
                      <a:pt x="424" y="312"/>
                    </a:cubicBezTo>
                    <a:cubicBezTo>
                      <a:pt x="426" y="307"/>
                      <a:pt x="426" y="307"/>
                      <a:pt x="426" y="307"/>
                    </a:cubicBezTo>
                    <a:cubicBezTo>
                      <a:pt x="425" y="311"/>
                      <a:pt x="425" y="311"/>
                      <a:pt x="425" y="311"/>
                    </a:cubicBezTo>
                    <a:cubicBezTo>
                      <a:pt x="425" y="313"/>
                      <a:pt x="425" y="313"/>
                      <a:pt x="425" y="313"/>
                    </a:cubicBezTo>
                    <a:cubicBezTo>
                      <a:pt x="424" y="314"/>
                      <a:pt x="424" y="314"/>
                      <a:pt x="424" y="314"/>
                    </a:cubicBezTo>
                    <a:cubicBezTo>
                      <a:pt x="423" y="315"/>
                      <a:pt x="423" y="315"/>
                      <a:pt x="423" y="315"/>
                    </a:cubicBezTo>
                    <a:cubicBezTo>
                      <a:pt x="422" y="316"/>
                      <a:pt x="422" y="316"/>
                      <a:pt x="422" y="316"/>
                    </a:cubicBezTo>
                    <a:cubicBezTo>
                      <a:pt x="422" y="318"/>
                      <a:pt x="422" y="318"/>
                      <a:pt x="422" y="318"/>
                    </a:cubicBezTo>
                    <a:cubicBezTo>
                      <a:pt x="424" y="319"/>
                      <a:pt x="424" y="319"/>
                      <a:pt x="424" y="319"/>
                    </a:cubicBezTo>
                    <a:cubicBezTo>
                      <a:pt x="423" y="320"/>
                      <a:pt x="423" y="320"/>
                      <a:pt x="423" y="320"/>
                    </a:cubicBezTo>
                    <a:cubicBezTo>
                      <a:pt x="423" y="324"/>
                      <a:pt x="423" y="324"/>
                      <a:pt x="423" y="324"/>
                    </a:cubicBezTo>
                    <a:cubicBezTo>
                      <a:pt x="424" y="325"/>
                      <a:pt x="424" y="325"/>
                      <a:pt x="424" y="325"/>
                    </a:cubicBezTo>
                    <a:cubicBezTo>
                      <a:pt x="425" y="325"/>
                      <a:pt x="425" y="325"/>
                      <a:pt x="425" y="325"/>
                    </a:cubicBezTo>
                    <a:cubicBezTo>
                      <a:pt x="425" y="327"/>
                      <a:pt x="425" y="327"/>
                      <a:pt x="425" y="327"/>
                    </a:cubicBezTo>
                    <a:cubicBezTo>
                      <a:pt x="425" y="329"/>
                      <a:pt x="425" y="329"/>
                      <a:pt x="425" y="329"/>
                    </a:cubicBezTo>
                    <a:cubicBezTo>
                      <a:pt x="428" y="332"/>
                      <a:pt x="428" y="332"/>
                      <a:pt x="428" y="332"/>
                    </a:cubicBezTo>
                    <a:cubicBezTo>
                      <a:pt x="429" y="332"/>
                      <a:pt x="429" y="332"/>
                      <a:pt x="429" y="332"/>
                    </a:cubicBezTo>
                    <a:cubicBezTo>
                      <a:pt x="430" y="334"/>
                      <a:pt x="430" y="334"/>
                      <a:pt x="430" y="334"/>
                    </a:cubicBezTo>
                    <a:cubicBezTo>
                      <a:pt x="431" y="333"/>
                      <a:pt x="431" y="333"/>
                      <a:pt x="431" y="333"/>
                    </a:cubicBezTo>
                    <a:cubicBezTo>
                      <a:pt x="432" y="334"/>
                      <a:pt x="432" y="334"/>
                      <a:pt x="432" y="334"/>
                    </a:cubicBezTo>
                    <a:cubicBezTo>
                      <a:pt x="433" y="334"/>
                      <a:pt x="433" y="334"/>
                      <a:pt x="433" y="334"/>
                    </a:cubicBezTo>
                    <a:cubicBezTo>
                      <a:pt x="432" y="333"/>
                      <a:pt x="432" y="333"/>
                      <a:pt x="432" y="333"/>
                    </a:cubicBezTo>
                    <a:cubicBezTo>
                      <a:pt x="433" y="332"/>
                      <a:pt x="433" y="332"/>
                      <a:pt x="433" y="332"/>
                    </a:cubicBezTo>
                    <a:cubicBezTo>
                      <a:pt x="434" y="333"/>
                      <a:pt x="434" y="333"/>
                      <a:pt x="434" y="333"/>
                    </a:cubicBezTo>
                    <a:cubicBezTo>
                      <a:pt x="435" y="333"/>
                      <a:pt x="435" y="333"/>
                      <a:pt x="435" y="333"/>
                    </a:cubicBezTo>
                    <a:cubicBezTo>
                      <a:pt x="436" y="331"/>
                      <a:pt x="436" y="331"/>
                      <a:pt x="436" y="331"/>
                    </a:cubicBezTo>
                    <a:cubicBezTo>
                      <a:pt x="434" y="329"/>
                      <a:pt x="434" y="329"/>
                      <a:pt x="434" y="329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2" y="329"/>
                      <a:pt x="432" y="329"/>
                      <a:pt x="432" y="329"/>
                    </a:cubicBezTo>
                    <a:cubicBezTo>
                      <a:pt x="433" y="327"/>
                      <a:pt x="433" y="327"/>
                      <a:pt x="433" y="327"/>
                    </a:cubicBezTo>
                    <a:cubicBezTo>
                      <a:pt x="433" y="325"/>
                      <a:pt x="433" y="325"/>
                      <a:pt x="433" y="325"/>
                    </a:cubicBezTo>
                    <a:cubicBezTo>
                      <a:pt x="433" y="324"/>
                      <a:pt x="433" y="324"/>
                      <a:pt x="433" y="324"/>
                    </a:cubicBezTo>
                    <a:cubicBezTo>
                      <a:pt x="431" y="324"/>
                      <a:pt x="431" y="324"/>
                      <a:pt x="431" y="324"/>
                    </a:cubicBezTo>
                    <a:cubicBezTo>
                      <a:pt x="431" y="323"/>
                      <a:pt x="431" y="323"/>
                      <a:pt x="431" y="323"/>
                    </a:cubicBezTo>
                    <a:cubicBezTo>
                      <a:pt x="432" y="322"/>
                      <a:pt x="432" y="322"/>
                      <a:pt x="432" y="322"/>
                    </a:cubicBezTo>
                    <a:cubicBezTo>
                      <a:pt x="432" y="319"/>
                      <a:pt x="432" y="319"/>
                      <a:pt x="432" y="319"/>
                    </a:cubicBezTo>
                    <a:cubicBezTo>
                      <a:pt x="433" y="320"/>
                      <a:pt x="433" y="320"/>
                      <a:pt x="433" y="320"/>
                    </a:cubicBezTo>
                    <a:cubicBezTo>
                      <a:pt x="434" y="322"/>
                      <a:pt x="434" y="322"/>
                      <a:pt x="434" y="322"/>
                    </a:cubicBezTo>
                    <a:cubicBezTo>
                      <a:pt x="434" y="323"/>
                      <a:pt x="434" y="323"/>
                      <a:pt x="434" y="323"/>
                    </a:cubicBezTo>
                    <a:cubicBezTo>
                      <a:pt x="435" y="321"/>
                      <a:pt x="435" y="321"/>
                      <a:pt x="435" y="321"/>
                    </a:cubicBezTo>
                    <a:cubicBezTo>
                      <a:pt x="436" y="322"/>
                      <a:pt x="436" y="322"/>
                      <a:pt x="436" y="322"/>
                    </a:cubicBezTo>
                    <a:cubicBezTo>
                      <a:pt x="437" y="323"/>
                      <a:pt x="437" y="323"/>
                      <a:pt x="437" y="323"/>
                    </a:cubicBezTo>
                    <a:cubicBezTo>
                      <a:pt x="436" y="325"/>
                      <a:pt x="436" y="325"/>
                      <a:pt x="436" y="325"/>
                    </a:cubicBezTo>
                    <a:cubicBezTo>
                      <a:pt x="436" y="327"/>
                      <a:pt x="436" y="327"/>
                      <a:pt x="436" y="327"/>
                    </a:cubicBezTo>
                    <a:cubicBezTo>
                      <a:pt x="437" y="327"/>
                      <a:pt x="437" y="327"/>
                      <a:pt x="437" y="327"/>
                    </a:cubicBezTo>
                    <a:cubicBezTo>
                      <a:pt x="439" y="325"/>
                      <a:pt x="439" y="325"/>
                      <a:pt x="439" y="325"/>
                    </a:cubicBezTo>
                    <a:cubicBezTo>
                      <a:pt x="440" y="325"/>
                      <a:pt x="440" y="325"/>
                      <a:pt x="440" y="325"/>
                    </a:cubicBezTo>
                    <a:cubicBezTo>
                      <a:pt x="439" y="327"/>
                      <a:pt x="439" y="327"/>
                      <a:pt x="439" y="327"/>
                    </a:cubicBezTo>
                    <a:cubicBezTo>
                      <a:pt x="438" y="328"/>
                      <a:pt x="438" y="328"/>
                      <a:pt x="438" y="328"/>
                    </a:cubicBezTo>
                    <a:cubicBezTo>
                      <a:pt x="438" y="330"/>
                      <a:pt x="438" y="330"/>
                      <a:pt x="438" y="330"/>
                    </a:cubicBezTo>
                    <a:cubicBezTo>
                      <a:pt x="438" y="331"/>
                      <a:pt x="438" y="331"/>
                      <a:pt x="438" y="331"/>
                    </a:cubicBezTo>
                    <a:cubicBezTo>
                      <a:pt x="438" y="334"/>
                      <a:pt x="438" y="334"/>
                      <a:pt x="438" y="334"/>
                    </a:cubicBezTo>
                    <a:cubicBezTo>
                      <a:pt x="438" y="335"/>
                      <a:pt x="438" y="335"/>
                      <a:pt x="438" y="335"/>
                    </a:cubicBezTo>
                    <a:cubicBezTo>
                      <a:pt x="440" y="335"/>
                      <a:pt x="440" y="335"/>
                      <a:pt x="440" y="335"/>
                    </a:cubicBezTo>
                    <a:cubicBezTo>
                      <a:pt x="441" y="334"/>
                      <a:pt x="441" y="334"/>
                      <a:pt x="441" y="334"/>
                    </a:cubicBezTo>
                    <a:cubicBezTo>
                      <a:pt x="442" y="333"/>
                      <a:pt x="442" y="333"/>
                      <a:pt x="442" y="333"/>
                    </a:cubicBezTo>
                    <a:cubicBezTo>
                      <a:pt x="442" y="334"/>
                      <a:pt x="442" y="334"/>
                      <a:pt x="442" y="334"/>
                    </a:cubicBezTo>
                    <a:cubicBezTo>
                      <a:pt x="441" y="335"/>
                      <a:pt x="441" y="335"/>
                      <a:pt x="441" y="335"/>
                    </a:cubicBezTo>
                    <a:cubicBezTo>
                      <a:pt x="442" y="337"/>
                      <a:pt x="442" y="337"/>
                      <a:pt x="442" y="337"/>
                    </a:cubicBezTo>
                    <a:cubicBezTo>
                      <a:pt x="443" y="338"/>
                      <a:pt x="443" y="338"/>
                      <a:pt x="443" y="338"/>
                    </a:cubicBezTo>
                    <a:cubicBezTo>
                      <a:pt x="445" y="335"/>
                      <a:pt x="445" y="335"/>
                      <a:pt x="445" y="335"/>
                    </a:cubicBezTo>
                    <a:cubicBezTo>
                      <a:pt x="445" y="332"/>
                      <a:pt x="445" y="332"/>
                      <a:pt x="445" y="332"/>
                    </a:cubicBezTo>
                    <a:cubicBezTo>
                      <a:pt x="446" y="331"/>
                      <a:pt x="446" y="331"/>
                      <a:pt x="446" y="331"/>
                    </a:cubicBezTo>
                    <a:cubicBezTo>
                      <a:pt x="446" y="326"/>
                      <a:pt x="446" y="326"/>
                      <a:pt x="446" y="326"/>
                    </a:cubicBezTo>
                    <a:cubicBezTo>
                      <a:pt x="447" y="322"/>
                      <a:pt x="447" y="322"/>
                      <a:pt x="447" y="322"/>
                    </a:cubicBezTo>
                    <a:cubicBezTo>
                      <a:pt x="447" y="318"/>
                      <a:pt x="447" y="318"/>
                      <a:pt x="447" y="318"/>
                    </a:cubicBezTo>
                    <a:cubicBezTo>
                      <a:pt x="447" y="315"/>
                      <a:pt x="447" y="315"/>
                      <a:pt x="447" y="315"/>
                    </a:cubicBezTo>
                    <a:cubicBezTo>
                      <a:pt x="446" y="314"/>
                      <a:pt x="446" y="314"/>
                      <a:pt x="446" y="314"/>
                    </a:cubicBezTo>
                    <a:cubicBezTo>
                      <a:pt x="446" y="313"/>
                      <a:pt x="446" y="313"/>
                      <a:pt x="446" y="313"/>
                    </a:cubicBezTo>
                    <a:cubicBezTo>
                      <a:pt x="447" y="314"/>
                      <a:pt x="447" y="314"/>
                      <a:pt x="447" y="314"/>
                    </a:cubicBezTo>
                    <a:cubicBezTo>
                      <a:pt x="448" y="316"/>
                      <a:pt x="448" y="316"/>
                      <a:pt x="448" y="316"/>
                    </a:cubicBezTo>
                    <a:cubicBezTo>
                      <a:pt x="449" y="316"/>
                      <a:pt x="449" y="316"/>
                      <a:pt x="449" y="316"/>
                    </a:cubicBezTo>
                    <a:cubicBezTo>
                      <a:pt x="450" y="314"/>
                      <a:pt x="450" y="314"/>
                      <a:pt x="450" y="314"/>
                    </a:cubicBezTo>
                    <a:cubicBezTo>
                      <a:pt x="452" y="313"/>
                      <a:pt x="452" y="313"/>
                      <a:pt x="452" y="313"/>
                    </a:cubicBezTo>
                    <a:cubicBezTo>
                      <a:pt x="451" y="315"/>
                      <a:pt x="451" y="315"/>
                      <a:pt x="451" y="315"/>
                    </a:cubicBezTo>
                    <a:cubicBezTo>
                      <a:pt x="450" y="319"/>
                      <a:pt x="450" y="319"/>
                      <a:pt x="450" y="319"/>
                    </a:cubicBezTo>
                    <a:cubicBezTo>
                      <a:pt x="450" y="321"/>
                      <a:pt x="450" y="321"/>
                      <a:pt x="450" y="321"/>
                    </a:cubicBezTo>
                    <a:cubicBezTo>
                      <a:pt x="449" y="325"/>
                      <a:pt x="449" y="325"/>
                      <a:pt x="449" y="325"/>
                    </a:cubicBezTo>
                    <a:cubicBezTo>
                      <a:pt x="448" y="327"/>
                      <a:pt x="448" y="327"/>
                      <a:pt x="448" y="327"/>
                    </a:cubicBezTo>
                    <a:cubicBezTo>
                      <a:pt x="449" y="329"/>
                      <a:pt x="449" y="329"/>
                      <a:pt x="449" y="329"/>
                    </a:cubicBezTo>
                    <a:cubicBezTo>
                      <a:pt x="448" y="330"/>
                      <a:pt x="448" y="330"/>
                      <a:pt x="448" y="330"/>
                    </a:cubicBezTo>
                    <a:cubicBezTo>
                      <a:pt x="448" y="333"/>
                      <a:pt x="448" y="333"/>
                      <a:pt x="448" y="333"/>
                    </a:cubicBezTo>
                    <a:cubicBezTo>
                      <a:pt x="448" y="334"/>
                      <a:pt x="448" y="334"/>
                      <a:pt x="448" y="334"/>
                    </a:cubicBezTo>
                    <a:cubicBezTo>
                      <a:pt x="448" y="336"/>
                      <a:pt x="448" y="336"/>
                      <a:pt x="448" y="336"/>
                    </a:cubicBezTo>
                    <a:cubicBezTo>
                      <a:pt x="450" y="338"/>
                      <a:pt x="450" y="338"/>
                      <a:pt x="450" y="338"/>
                    </a:cubicBezTo>
                    <a:cubicBezTo>
                      <a:pt x="450" y="340"/>
                      <a:pt x="450" y="340"/>
                      <a:pt x="450" y="340"/>
                    </a:cubicBezTo>
                    <a:cubicBezTo>
                      <a:pt x="451" y="340"/>
                      <a:pt x="451" y="340"/>
                      <a:pt x="451" y="340"/>
                    </a:cubicBezTo>
                    <a:cubicBezTo>
                      <a:pt x="451" y="342"/>
                      <a:pt x="451" y="342"/>
                      <a:pt x="451" y="342"/>
                    </a:cubicBezTo>
                    <a:cubicBezTo>
                      <a:pt x="453" y="344"/>
                      <a:pt x="453" y="344"/>
                      <a:pt x="453" y="344"/>
                    </a:cubicBezTo>
                    <a:cubicBezTo>
                      <a:pt x="454" y="343"/>
                      <a:pt x="454" y="343"/>
                      <a:pt x="454" y="343"/>
                    </a:cubicBezTo>
                    <a:cubicBezTo>
                      <a:pt x="455" y="344"/>
                      <a:pt x="455" y="344"/>
                      <a:pt x="455" y="344"/>
                    </a:cubicBezTo>
                    <a:cubicBezTo>
                      <a:pt x="457" y="343"/>
                      <a:pt x="457" y="343"/>
                      <a:pt x="457" y="343"/>
                    </a:cubicBezTo>
                    <a:cubicBezTo>
                      <a:pt x="459" y="343"/>
                      <a:pt x="459" y="343"/>
                      <a:pt x="459" y="343"/>
                    </a:cubicBezTo>
                    <a:cubicBezTo>
                      <a:pt x="459" y="343"/>
                      <a:pt x="459" y="343"/>
                      <a:pt x="459" y="343"/>
                    </a:cubicBezTo>
                    <a:cubicBezTo>
                      <a:pt x="456" y="345"/>
                      <a:pt x="456" y="345"/>
                      <a:pt x="456" y="345"/>
                    </a:cubicBezTo>
                    <a:cubicBezTo>
                      <a:pt x="455" y="345"/>
                      <a:pt x="455" y="345"/>
                      <a:pt x="455" y="345"/>
                    </a:cubicBezTo>
                    <a:cubicBezTo>
                      <a:pt x="455" y="346"/>
                      <a:pt x="455" y="346"/>
                      <a:pt x="455" y="346"/>
                    </a:cubicBezTo>
                    <a:cubicBezTo>
                      <a:pt x="457" y="347"/>
                      <a:pt x="457" y="347"/>
                      <a:pt x="457" y="347"/>
                    </a:cubicBezTo>
                    <a:cubicBezTo>
                      <a:pt x="456" y="348"/>
                      <a:pt x="456" y="348"/>
                      <a:pt x="456" y="348"/>
                    </a:cubicBezTo>
                    <a:cubicBezTo>
                      <a:pt x="454" y="348"/>
                      <a:pt x="454" y="348"/>
                      <a:pt x="454" y="348"/>
                    </a:cubicBezTo>
                    <a:cubicBezTo>
                      <a:pt x="454" y="349"/>
                      <a:pt x="454" y="349"/>
                      <a:pt x="454" y="349"/>
                    </a:cubicBezTo>
                    <a:cubicBezTo>
                      <a:pt x="456" y="351"/>
                      <a:pt x="456" y="351"/>
                      <a:pt x="456" y="351"/>
                    </a:cubicBezTo>
                    <a:cubicBezTo>
                      <a:pt x="456" y="353"/>
                      <a:pt x="456" y="353"/>
                      <a:pt x="456" y="353"/>
                    </a:cubicBezTo>
                    <a:cubicBezTo>
                      <a:pt x="455" y="354"/>
                      <a:pt x="455" y="354"/>
                      <a:pt x="455" y="354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3" y="351"/>
                      <a:pt x="453" y="351"/>
                      <a:pt x="453" y="351"/>
                    </a:cubicBezTo>
                    <a:cubicBezTo>
                      <a:pt x="452" y="352"/>
                      <a:pt x="452" y="352"/>
                      <a:pt x="452" y="352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2" y="354"/>
                      <a:pt x="452" y="354"/>
                      <a:pt x="452" y="354"/>
                    </a:cubicBezTo>
                    <a:cubicBezTo>
                      <a:pt x="452" y="357"/>
                      <a:pt x="452" y="357"/>
                      <a:pt x="452" y="357"/>
                    </a:cubicBezTo>
                    <a:cubicBezTo>
                      <a:pt x="452" y="357"/>
                      <a:pt x="452" y="357"/>
                      <a:pt x="452" y="357"/>
                    </a:cubicBezTo>
                    <a:cubicBezTo>
                      <a:pt x="452" y="358"/>
                      <a:pt x="452" y="358"/>
                      <a:pt x="452" y="358"/>
                    </a:cubicBezTo>
                    <a:cubicBezTo>
                      <a:pt x="450" y="358"/>
                      <a:pt x="450" y="358"/>
                      <a:pt x="450" y="358"/>
                    </a:cubicBezTo>
                    <a:cubicBezTo>
                      <a:pt x="450" y="360"/>
                      <a:pt x="450" y="360"/>
                      <a:pt x="450" y="360"/>
                    </a:cubicBezTo>
                    <a:cubicBezTo>
                      <a:pt x="450" y="361"/>
                      <a:pt x="450" y="361"/>
                      <a:pt x="450" y="361"/>
                    </a:cubicBezTo>
                    <a:cubicBezTo>
                      <a:pt x="451" y="361"/>
                      <a:pt x="451" y="361"/>
                      <a:pt x="451" y="361"/>
                    </a:cubicBezTo>
                    <a:cubicBezTo>
                      <a:pt x="452" y="361"/>
                      <a:pt x="452" y="361"/>
                      <a:pt x="452" y="361"/>
                    </a:cubicBezTo>
                    <a:cubicBezTo>
                      <a:pt x="453" y="362"/>
                      <a:pt x="453" y="362"/>
                      <a:pt x="453" y="362"/>
                    </a:cubicBezTo>
                    <a:cubicBezTo>
                      <a:pt x="454" y="364"/>
                      <a:pt x="454" y="364"/>
                      <a:pt x="454" y="364"/>
                    </a:cubicBezTo>
                    <a:cubicBezTo>
                      <a:pt x="455" y="364"/>
                      <a:pt x="455" y="364"/>
                      <a:pt x="455" y="364"/>
                    </a:cubicBezTo>
                    <a:cubicBezTo>
                      <a:pt x="456" y="364"/>
                      <a:pt x="456" y="364"/>
                      <a:pt x="456" y="364"/>
                    </a:cubicBezTo>
                    <a:cubicBezTo>
                      <a:pt x="456" y="365"/>
                      <a:pt x="456" y="365"/>
                      <a:pt x="456" y="365"/>
                    </a:cubicBezTo>
                    <a:cubicBezTo>
                      <a:pt x="454" y="365"/>
                      <a:pt x="454" y="365"/>
                      <a:pt x="454" y="365"/>
                    </a:cubicBezTo>
                    <a:cubicBezTo>
                      <a:pt x="454" y="365"/>
                      <a:pt x="454" y="365"/>
                      <a:pt x="454" y="365"/>
                    </a:cubicBezTo>
                    <a:cubicBezTo>
                      <a:pt x="454" y="366"/>
                      <a:pt x="454" y="366"/>
                      <a:pt x="454" y="366"/>
                    </a:cubicBezTo>
                    <a:cubicBezTo>
                      <a:pt x="456" y="367"/>
                      <a:pt x="456" y="367"/>
                      <a:pt x="456" y="367"/>
                    </a:cubicBezTo>
                    <a:cubicBezTo>
                      <a:pt x="456" y="369"/>
                      <a:pt x="456" y="369"/>
                      <a:pt x="456" y="369"/>
                    </a:cubicBezTo>
                    <a:cubicBezTo>
                      <a:pt x="458" y="370"/>
                      <a:pt x="458" y="370"/>
                      <a:pt x="458" y="370"/>
                    </a:cubicBezTo>
                    <a:cubicBezTo>
                      <a:pt x="459" y="370"/>
                      <a:pt x="459" y="370"/>
                      <a:pt x="459" y="370"/>
                    </a:cubicBezTo>
                    <a:cubicBezTo>
                      <a:pt x="458" y="371"/>
                      <a:pt x="458" y="371"/>
                      <a:pt x="458" y="371"/>
                    </a:cubicBezTo>
                    <a:cubicBezTo>
                      <a:pt x="456" y="371"/>
                      <a:pt x="456" y="371"/>
                      <a:pt x="456" y="371"/>
                    </a:cubicBezTo>
                    <a:cubicBezTo>
                      <a:pt x="455" y="373"/>
                      <a:pt x="455" y="373"/>
                      <a:pt x="455" y="373"/>
                    </a:cubicBezTo>
                    <a:cubicBezTo>
                      <a:pt x="456" y="375"/>
                      <a:pt x="456" y="375"/>
                      <a:pt x="456" y="375"/>
                    </a:cubicBezTo>
                    <a:cubicBezTo>
                      <a:pt x="457" y="378"/>
                      <a:pt x="457" y="378"/>
                      <a:pt x="457" y="378"/>
                    </a:cubicBezTo>
                    <a:cubicBezTo>
                      <a:pt x="459" y="379"/>
                      <a:pt x="459" y="379"/>
                      <a:pt x="459" y="379"/>
                    </a:cubicBezTo>
                    <a:cubicBezTo>
                      <a:pt x="461" y="379"/>
                      <a:pt x="461" y="379"/>
                      <a:pt x="461" y="379"/>
                    </a:cubicBezTo>
                    <a:cubicBezTo>
                      <a:pt x="462" y="379"/>
                      <a:pt x="462" y="379"/>
                      <a:pt x="462" y="379"/>
                    </a:cubicBezTo>
                    <a:cubicBezTo>
                      <a:pt x="460" y="380"/>
                      <a:pt x="460" y="380"/>
                      <a:pt x="460" y="380"/>
                    </a:cubicBezTo>
                    <a:cubicBezTo>
                      <a:pt x="458" y="380"/>
                      <a:pt x="458" y="380"/>
                      <a:pt x="458" y="380"/>
                    </a:cubicBezTo>
                    <a:cubicBezTo>
                      <a:pt x="456" y="380"/>
                      <a:pt x="456" y="380"/>
                      <a:pt x="456" y="380"/>
                    </a:cubicBezTo>
                    <a:cubicBezTo>
                      <a:pt x="455" y="383"/>
                      <a:pt x="455" y="383"/>
                      <a:pt x="455" y="383"/>
                    </a:cubicBezTo>
                    <a:cubicBezTo>
                      <a:pt x="452" y="386"/>
                      <a:pt x="452" y="386"/>
                      <a:pt x="452" y="386"/>
                    </a:cubicBezTo>
                    <a:cubicBezTo>
                      <a:pt x="450" y="388"/>
                      <a:pt x="450" y="388"/>
                      <a:pt x="450" y="388"/>
                    </a:cubicBezTo>
                    <a:cubicBezTo>
                      <a:pt x="450" y="390"/>
                      <a:pt x="450" y="390"/>
                      <a:pt x="450" y="390"/>
                    </a:cubicBezTo>
                    <a:cubicBezTo>
                      <a:pt x="451" y="392"/>
                      <a:pt x="451" y="392"/>
                      <a:pt x="451" y="392"/>
                    </a:cubicBezTo>
                    <a:cubicBezTo>
                      <a:pt x="453" y="390"/>
                      <a:pt x="453" y="390"/>
                      <a:pt x="453" y="390"/>
                    </a:cubicBezTo>
                    <a:cubicBezTo>
                      <a:pt x="454" y="387"/>
                      <a:pt x="454" y="387"/>
                      <a:pt x="454" y="387"/>
                    </a:cubicBezTo>
                    <a:cubicBezTo>
                      <a:pt x="454" y="386"/>
                      <a:pt x="454" y="386"/>
                      <a:pt x="454" y="386"/>
                    </a:cubicBezTo>
                    <a:cubicBezTo>
                      <a:pt x="456" y="386"/>
                      <a:pt x="456" y="386"/>
                      <a:pt x="456" y="386"/>
                    </a:cubicBezTo>
                    <a:cubicBezTo>
                      <a:pt x="458" y="383"/>
                      <a:pt x="458" y="383"/>
                      <a:pt x="458" y="383"/>
                    </a:cubicBezTo>
                    <a:cubicBezTo>
                      <a:pt x="458" y="384"/>
                      <a:pt x="458" y="384"/>
                      <a:pt x="458" y="384"/>
                    </a:cubicBezTo>
                    <a:cubicBezTo>
                      <a:pt x="460" y="384"/>
                      <a:pt x="460" y="384"/>
                      <a:pt x="460" y="384"/>
                    </a:cubicBezTo>
                    <a:cubicBezTo>
                      <a:pt x="462" y="384"/>
                      <a:pt x="462" y="384"/>
                      <a:pt x="462" y="384"/>
                    </a:cubicBezTo>
                    <a:cubicBezTo>
                      <a:pt x="461" y="386"/>
                      <a:pt x="461" y="386"/>
                      <a:pt x="461" y="386"/>
                    </a:cubicBezTo>
                    <a:cubicBezTo>
                      <a:pt x="461" y="386"/>
                      <a:pt x="461" y="386"/>
                      <a:pt x="461" y="386"/>
                    </a:cubicBezTo>
                    <a:cubicBezTo>
                      <a:pt x="463" y="386"/>
                      <a:pt x="463" y="386"/>
                      <a:pt x="463" y="386"/>
                    </a:cubicBezTo>
                    <a:cubicBezTo>
                      <a:pt x="463" y="387"/>
                      <a:pt x="463" y="387"/>
                      <a:pt x="463" y="387"/>
                    </a:cubicBezTo>
                    <a:cubicBezTo>
                      <a:pt x="461" y="389"/>
                      <a:pt x="461" y="389"/>
                      <a:pt x="461" y="389"/>
                    </a:cubicBezTo>
                    <a:cubicBezTo>
                      <a:pt x="461" y="391"/>
                      <a:pt x="461" y="391"/>
                      <a:pt x="461" y="391"/>
                    </a:cubicBezTo>
                    <a:cubicBezTo>
                      <a:pt x="462" y="392"/>
                      <a:pt x="462" y="392"/>
                      <a:pt x="462" y="392"/>
                    </a:cubicBezTo>
                    <a:cubicBezTo>
                      <a:pt x="460" y="394"/>
                      <a:pt x="460" y="394"/>
                      <a:pt x="460" y="394"/>
                    </a:cubicBezTo>
                    <a:cubicBezTo>
                      <a:pt x="460" y="396"/>
                      <a:pt x="460" y="396"/>
                      <a:pt x="460" y="396"/>
                    </a:cubicBezTo>
                    <a:cubicBezTo>
                      <a:pt x="460" y="397"/>
                      <a:pt x="460" y="397"/>
                      <a:pt x="460" y="397"/>
                    </a:cubicBezTo>
                    <a:cubicBezTo>
                      <a:pt x="461" y="398"/>
                      <a:pt x="461" y="398"/>
                      <a:pt x="461" y="398"/>
                    </a:cubicBezTo>
                    <a:cubicBezTo>
                      <a:pt x="459" y="397"/>
                      <a:pt x="459" y="397"/>
                      <a:pt x="459" y="397"/>
                    </a:cubicBezTo>
                    <a:cubicBezTo>
                      <a:pt x="458" y="398"/>
                      <a:pt x="458" y="398"/>
                      <a:pt x="458" y="398"/>
                    </a:cubicBezTo>
                    <a:cubicBezTo>
                      <a:pt x="456" y="399"/>
                      <a:pt x="456" y="399"/>
                      <a:pt x="456" y="399"/>
                    </a:cubicBezTo>
                    <a:cubicBezTo>
                      <a:pt x="456" y="400"/>
                      <a:pt x="456" y="400"/>
                      <a:pt x="456" y="400"/>
                    </a:cubicBezTo>
                    <a:cubicBezTo>
                      <a:pt x="458" y="400"/>
                      <a:pt x="458" y="400"/>
                      <a:pt x="458" y="400"/>
                    </a:cubicBezTo>
                    <a:cubicBezTo>
                      <a:pt x="459" y="400"/>
                      <a:pt x="459" y="400"/>
                      <a:pt x="459" y="400"/>
                    </a:cubicBezTo>
                    <a:cubicBezTo>
                      <a:pt x="461" y="400"/>
                      <a:pt x="461" y="400"/>
                      <a:pt x="461" y="400"/>
                    </a:cubicBezTo>
                    <a:cubicBezTo>
                      <a:pt x="461" y="400"/>
                      <a:pt x="461" y="400"/>
                      <a:pt x="461" y="400"/>
                    </a:cubicBezTo>
                    <a:cubicBezTo>
                      <a:pt x="459" y="402"/>
                      <a:pt x="459" y="402"/>
                      <a:pt x="459" y="402"/>
                    </a:cubicBezTo>
                    <a:cubicBezTo>
                      <a:pt x="458" y="402"/>
                      <a:pt x="458" y="402"/>
                      <a:pt x="458" y="402"/>
                    </a:cubicBezTo>
                    <a:cubicBezTo>
                      <a:pt x="457" y="402"/>
                      <a:pt x="457" y="402"/>
                      <a:pt x="457" y="402"/>
                    </a:cubicBezTo>
                    <a:cubicBezTo>
                      <a:pt x="456" y="402"/>
                      <a:pt x="456" y="402"/>
                      <a:pt x="456" y="402"/>
                    </a:cubicBezTo>
                    <a:cubicBezTo>
                      <a:pt x="455" y="405"/>
                      <a:pt x="455" y="405"/>
                      <a:pt x="455" y="405"/>
                    </a:cubicBezTo>
                    <a:cubicBezTo>
                      <a:pt x="456" y="407"/>
                      <a:pt x="456" y="407"/>
                      <a:pt x="456" y="407"/>
                    </a:cubicBezTo>
                    <a:cubicBezTo>
                      <a:pt x="458" y="406"/>
                      <a:pt x="458" y="406"/>
                      <a:pt x="458" y="406"/>
                    </a:cubicBezTo>
                    <a:cubicBezTo>
                      <a:pt x="458" y="405"/>
                      <a:pt x="458" y="405"/>
                      <a:pt x="458" y="405"/>
                    </a:cubicBezTo>
                    <a:cubicBezTo>
                      <a:pt x="459" y="405"/>
                      <a:pt x="459" y="405"/>
                      <a:pt x="459" y="405"/>
                    </a:cubicBezTo>
                    <a:cubicBezTo>
                      <a:pt x="461" y="404"/>
                      <a:pt x="461" y="404"/>
                      <a:pt x="461" y="404"/>
                    </a:cubicBezTo>
                    <a:cubicBezTo>
                      <a:pt x="463" y="401"/>
                      <a:pt x="463" y="401"/>
                      <a:pt x="463" y="401"/>
                    </a:cubicBezTo>
                    <a:cubicBezTo>
                      <a:pt x="465" y="398"/>
                      <a:pt x="465" y="398"/>
                      <a:pt x="465" y="398"/>
                    </a:cubicBezTo>
                    <a:cubicBezTo>
                      <a:pt x="466" y="394"/>
                      <a:pt x="466" y="394"/>
                      <a:pt x="466" y="394"/>
                    </a:cubicBezTo>
                    <a:cubicBezTo>
                      <a:pt x="468" y="389"/>
                      <a:pt x="468" y="389"/>
                      <a:pt x="468" y="389"/>
                    </a:cubicBezTo>
                    <a:cubicBezTo>
                      <a:pt x="469" y="389"/>
                      <a:pt x="469" y="389"/>
                      <a:pt x="469" y="389"/>
                    </a:cubicBezTo>
                    <a:cubicBezTo>
                      <a:pt x="469" y="389"/>
                      <a:pt x="469" y="389"/>
                      <a:pt x="469" y="389"/>
                    </a:cubicBezTo>
                    <a:close/>
                    <a:moveTo>
                      <a:pt x="440" y="400"/>
                    </a:moveTo>
                    <a:cubicBezTo>
                      <a:pt x="440" y="399"/>
                      <a:pt x="440" y="399"/>
                      <a:pt x="440" y="399"/>
                    </a:cubicBezTo>
                    <a:cubicBezTo>
                      <a:pt x="440" y="397"/>
                      <a:pt x="440" y="397"/>
                      <a:pt x="440" y="397"/>
                    </a:cubicBezTo>
                    <a:cubicBezTo>
                      <a:pt x="441" y="399"/>
                      <a:pt x="441" y="399"/>
                      <a:pt x="441" y="399"/>
                    </a:cubicBezTo>
                    <a:cubicBezTo>
                      <a:pt x="440" y="400"/>
                      <a:pt x="440" y="400"/>
                      <a:pt x="440" y="400"/>
                    </a:cubicBezTo>
                    <a:close/>
                    <a:moveTo>
                      <a:pt x="451" y="403"/>
                    </a:moveTo>
                    <a:cubicBezTo>
                      <a:pt x="453" y="402"/>
                      <a:pt x="453" y="402"/>
                      <a:pt x="453" y="402"/>
                    </a:cubicBezTo>
                    <a:cubicBezTo>
                      <a:pt x="454" y="403"/>
                      <a:pt x="454" y="403"/>
                      <a:pt x="454" y="403"/>
                    </a:cubicBezTo>
                    <a:cubicBezTo>
                      <a:pt x="453" y="405"/>
                      <a:pt x="453" y="405"/>
                      <a:pt x="453" y="405"/>
                    </a:cubicBezTo>
                    <a:cubicBezTo>
                      <a:pt x="451" y="403"/>
                      <a:pt x="451" y="403"/>
                      <a:pt x="451" y="403"/>
                    </a:cubicBezTo>
                    <a:close/>
                    <a:moveTo>
                      <a:pt x="452" y="398"/>
                    </a:moveTo>
                    <a:cubicBezTo>
                      <a:pt x="453" y="397"/>
                      <a:pt x="453" y="397"/>
                      <a:pt x="453" y="397"/>
                    </a:cubicBezTo>
                    <a:cubicBezTo>
                      <a:pt x="454" y="399"/>
                      <a:pt x="454" y="399"/>
                      <a:pt x="454" y="399"/>
                    </a:cubicBezTo>
                    <a:cubicBezTo>
                      <a:pt x="452" y="401"/>
                      <a:pt x="452" y="401"/>
                      <a:pt x="452" y="401"/>
                    </a:cubicBezTo>
                    <a:cubicBezTo>
                      <a:pt x="451" y="400"/>
                      <a:pt x="451" y="400"/>
                      <a:pt x="451" y="400"/>
                    </a:cubicBezTo>
                    <a:cubicBezTo>
                      <a:pt x="452" y="399"/>
                      <a:pt x="452" y="399"/>
                      <a:pt x="452" y="399"/>
                    </a:cubicBezTo>
                    <a:cubicBezTo>
                      <a:pt x="452" y="398"/>
                      <a:pt x="452" y="398"/>
                      <a:pt x="452" y="398"/>
                    </a:cubicBezTo>
                    <a:close/>
                    <a:moveTo>
                      <a:pt x="451" y="393"/>
                    </a:moveTo>
                    <a:cubicBezTo>
                      <a:pt x="453" y="396"/>
                      <a:pt x="453" y="396"/>
                      <a:pt x="453" y="396"/>
                    </a:cubicBezTo>
                    <a:cubicBezTo>
                      <a:pt x="451" y="397"/>
                      <a:pt x="451" y="397"/>
                      <a:pt x="451" y="397"/>
                    </a:cubicBezTo>
                    <a:cubicBezTo>
                      <a:pt x="451" y="395"/>
                      <a:pt x="451" y="395"/>
                      <a:pt x="451" y="395"/>
                    </a:cubicBezTo>
                    <a:cubicBezTo>
                      <a:pt x="450" y="394"/>
                      <a:pt x="450" y="394"/>
                      <a:pt x="450" y="394"/>
                    </a:cubicBezTo>
                    <a:cubicBezTo>
                      <a:pt x="451" y="393"/>
                      <a:pt x="451" y="393"/>
                      <a:pt x="451" y="393"/>
                    </a:cubicBezTo>
                    <a:close/>
                    <a:moveTo>
                      <a:pt x="453" y="393"/>
                    </a:moveTo>
                    <a:cubicBezTo>
                      <a:pt x="455" y="392"/>
                      <a:pt x="455" y="392"/>
                      <a:pt x="455" y="392"/>
                    </a:cubicBezTo>
                    <a:cubicBezTo>
                      <a:pt x="455" y="391"/>
                      <a:pt x="455" y="391"/>
                      <a:pt x="455" y="391"/>
                    </a:cubicBezTo>
                    <a:cubicBezTo>
                      <a:pt x="455" y="388"/>
                      <a:pt x="455" y="388"/>
                      <a:pt x="455" y="388"/>
                    </a:cubicBezTo>
                    <a:cubicBezTo>
                      <a:pt x="457" y="387"/>
                      <a:pt x="457" y="387"/>
                      <a:pt x="457" y="387"/>
                    </a:cubicBezTo>
                    <a:cubicBezTo>
                      <a:pt x="458" y="386"/>
                      <a:pt x="458" y="386"/>
                      <a:pt x="458" y="386"/>
                    </a:cubicBezTo>
                    <a:cubicBezTo>
                      <a:pt x="460" y="386"/>
                      <a:pt x="460" y="386"/>
                      <a:pt x="460" y="386"/>
                    </a:cubicBezTo>
                    <a:cubicBezTo>
                      <a:pt x="461" y="388"/>
                      <a:pt x="461" y="388"/>
                      <a:pt x="461" y="388"/>
                    </a:cubicBezTo>
                    <a:cubicBezTo>
                      <a:pt x="460" y="390"/>
                      <a:pt x="460" y="390"/>
                      <a:pt x="460" y="390"/>
                    </a:cubicBezTo>
                    <a:cubicBezTo>
                      <a:pt x="460" y="392"/>
                      <a:pt x="460" y="392"/>
                      <a:pt x="460" y="392"/>
                    </a:cubicBezTo>
                    <a:cubicBezTo>
                      <a:pt x="458" y="396"/>
                      <a:pt x="458" y="396"/>
                      <a:pt x="458" y="396"/>
                    </a:cubicBezTo>
                    <a:cubicBezTo>
                      <a:pt x="455" y="398"/>
                      <a:pt x="455" y="398"/>
                      <a:pt x="455" y="398"/>
                    </a:cubicBezTo>
                    <a:cubicBezTo>
                      <a:pt x="454" y="397"/>
                      <a:pt x="454" y="397"/>
                      <a:pt x="454" y="397"/>
                    </a:cubicBezTo>
                    <a:cubicBezTo>
                      <a:pt x="455" y="395"/>
                      <a:pt x="455" y="395"/>
                      <a:pt x="455" y="395"/>
                    </a:cubicBezTo>
                    <a:cubicBezTo>
                      <a:pt x="457" y="393"/>
                      <a:pt x="457" y="393"/>
                      <a:pt x="457" y="393"/>
                    </a:cubicBezTo>
                    <a:cubicBezTo>
                      <a:pt x="457" y="393"/>
                      <a:pt x="457" y="393"/>
                      <a:pt x="457" y="393"/>
                    </a:cubicBezTo>
                    <a:cubicBezTo>
                      <a:pt x="454" y="394"/>
                      <a:pt x="454" y="394"/>
                      <a:pt x="454" y="394"/>
                    </a:cubicBezTo>
                    <a:cubicBezTo>
                      <a:pt x="453" y="393"/>
                      <a:pt x="453" y="393"/>
                      <a:pt x="453" y="393"/>
                    </a:cubicBezTo>
                    <a:close/>
                    <a:moveTo>
                      <a:pt x="436" y="399"/>
                    </a:moveTo>
                    <a:cubicBezTo>
                      <a:pt x="437" y="399"/>
                      <a:pt x="437" y="399"/>
                      <a:pt x="437" y="399"/>
                    </a:cubicBezTo>
                    <a:cubicBezTo>
                      <a:pt x="438" y="400"/>
                      <a:pt x="438" y="400"/>
                      <a:pt x="438" y="400"/>
                    </a:cubicBezTo>
                    <a:cubicBezTo>
                      <a:pt x="438" y="401"/>
                      <a:pt x="438" y="401"/>
                      <a:pt x="438" y="401"/>
                    </a:cubicBezTo>
                    <a:cubicBezTo>
                      <a:pt x="439" y="403"/>
                      <a:pt x="439" y="403"/>
                      <a:pt x="439" y="403"/>
                    </a:cubicBezTo>
                    <a:cubicBezTo>
                      <a:pt x="438" y="406"/>
                      <a:pt x="438" y="406"/>
                      <a:pt x="438" y="406"/>
                    </a:cubicBezTo>
                    <a:cubicBezTo>
                      <a:pt x="437" y="405"/>
                      <a:pt x="437" y="405"/>
                      <a:pt x="437" y="405"/>
                    </a:cubicBezTo>
                    <a:cubicBezTo>
                      <a:pt x="437" y="403"/>
                      <a:pt x="437" y="403"/>
                      <a:pt x="437" y="403"/>
                    </a:cubicBezTo>
                    <a:cubicBezTo>
                      <a:pt x="435" y="401"/>
                      <a:pt x="435" y="401"/>
                      <a:pt x="435" y="401"/>
                    </a:cubicBezTo>
                    <a:cubicBezTo>
                      <a:pt x="436" y="399"/>
                      <a:pt x="436" y="399"/>
                      <a:pt x="436" y="399"/>
                    </a:cubicBezTo>
                    <a:close/>
                    <a:moveTo>
                      <a:pt x="436" y="397"/>
                    </a:moveTo>
                    <a:cubicBezTo>
                      <a:pt x="437" y="396"/>
                      <a:pt x="437" y="396"/>
                      <a:pt x="437" y="396"/>
                    </a:cubicBezTo>
                    <a:cubicBezTo>
                      <a:pt x="438" y="396"/>
                      <a:pt x="438" y="396"/>
                      <a:pt x="438" y="396"/>
                    </a:cubicBezTo>
                    <a:cubicBezTo>
                      <a:pt x="438" y="398"/>
                      <a:pt x="438" y="398"/>
                      <a:pt x="438" y="398"/>
                    </a:cubicBezTo>
                    <a:cubicBezTo>
                      <a:pt x="437" y="399"/>
                      <a:pt x="437" y="399"/>
                      <a:pt x="437" y="399"/>
                    </a:cubicBezTo>
                    <a:cubicBezTo>
                      <a:pt x="436" y="397"/>
                      <a:pt x="436" y="397"/>
                      <a:pt x="436" y="397"/>
                    </a:cubicBezTo>
                    <a:close/>
                    <a:moveTo>
                      <a:pt x="435" y="395"/>
                    </a:moveTo>
                    <a:cubicBezTo>
                      <a:pt x="437" y="393"/>
                      <a:pt x="437" y="393"/>
                      <a:pt x="437" y="393"/>
                    </a:cubicBezTo>
                    <a:cubicBezTo>
                      <a:pt x="437" y="395"/>
                      <a:pt x="437" y="395"/>
                      <a:pt x="437" y="395"/>
                    </a:cubicBezTo>
                    <a:cubicBezTo>
                      <a:pt x="435" y="395"/>
                      <a:pt x="435" y="395"/>
                      <a:pt x="435" y="395"/>
                    </a:cubicBezTo>
                    <a:close/>
                    <a:moveTo>
                      <a:pt x="434" y="392"/>
                    </a:moveTo>
                    <a:cubicBezTo>
                      <a:pt x="435" y="392"/>
                      <a:pt x="435" y="392"/>
                      <a:pt x="435" y="392"/>
                    </a:cubicBezTo>
                    <a:cubicBezTo>
                      <a:pt x="434" y="394"/>
                      <a:pt x="434" y="394"/>
                      <a:pt x="434" y="394"/>
                    </a:cubicBezTo>
                    <a:cubicBezTo>
                      <a:pt x="434" y="392"/>
                      <a:pt x="434" y="392"/>
                      <a:pt x="434" y="392"/>
                    </a:cubicBezTo>
                    <a:close/>
                    <a:moveTo>
                      <a:pt x="433" y="382"/>
                    </a:moveTo>
                    <a:cubicBezTo>
                      <a:pt x="433" y="381"/>
                      <a:pt x="433" y="381"/>
                      <a:pt x="433" y="381"/>
                    </a:cubicBezTo>
                    <a:cubicBezTo>
                      <a:pt x="434" y="381"/>
                      <a:pt x="434" y="381"/>
                      <a:pt x="434" y="381"/>
                    </a:cubicBezTo>
                    <a:cubicBezTo>
                      <a:pt x="433" y="382"/>
                      <a:pt x="433" y="382"/>
                      <a:pt x="433" y="382"/>
                    </a:cubicBezTo>
                    <a:close/>
                    <a:moveTo>
                      <a:pt x="438" y="385"/>
                    </a:moveTo>
                    <a:cubicBezTo>
                      <a:pt x="439" y="384"/>
                      <a:pt x="439" y="384"/>
                      <a:pt x="439" y="384"/>
                    </a:cubicBezTo>
                    <a:cubicBezTo>
                      <a:pt x="440" y="385"/>
                      <a:pt x="440" y="385"/>
                      <a:pt x="440" y="385"/>
                    </a:cubicBezTo>
                    <a:cubicBezTo>
                      <a:pt x="439" y="386"/>
                      <a:pt x="439" y="386"/>
                      <a:pt x="439" y="386"/>
                    </a:cubicBezTo>
                    <a:cubicBezTo>
                      <a:pt x="438" y="385"/>
                      <a:pt x="438" y="385"/>
                      <a:pt x="438" y="385"/>
                    </a:cubicBezTo>
                    <a:close/>
                    <a:moveTo>
                      <a:pt x="438" y="382"/>
                    </a:moveTo>
                    <a:cubicBezTo>
                      <a:pt x="440" y="379"/>
                      <a:pt x="440" y="379"/>
                      <a:pt x="440" y="379"/>
                    </a:cubicBezTo>
                    <a:cubicBezTo>
                      <a:pt x="442" y="379"/>
                      <a:pt x="442" y="379"/>
                      <a:pt x="442" y="379"/>
                    </a:cubicBezTo>
                    <a:cubicBezTo>
                      <a:pt x="443" y="380"/>
                      <a:pt x="443" y="380"/>
                      <a:pt x="443" y="380"/>
                    </a:cubicBezTo>
                    <a:cubicBezTo>
                      <a:pt x="442" y="381"/>
                      <a:pt x="442" y="381"/>
                      <a:pt x="442" y="381"/>
                    </a:cubicBezTo>
                    <a:cubicBezTo>
                      <a:pt x="441" y="381"/>
                      <a:pt x="441" y="381"/>
                      <a:pt x="441" y="381"/>
                    </a:cubicBezTo>
                    <a:cubicBezTo>
                      <a:pt x="439" y="382"/>
                      <a:pt x="439" y="382"/>
                      <a:pt x="439" y="382"/>
                    </a:cubicBezTo>
                    <a:cubicBezTo>
                      <a:pt x="438" y="382"/>
                      <a:pt x="438" y="382"/>
                      <a:pt x="438" y="382"/>
                    </a:cubicBezTo>
                    <a:close/>
                    <a:moveTo>
                      <a:pt x="443" y="383"/>
                    </a:moveTo>
                    <a:cubicBezTo>
                      <a:pt x="444" y="380"/>
                      <a:pt x="444" y="380"/>
                      <a:pt x="444" y="380"/>
                    </a:cubicBezTo>
                    <a:cubicBezTo>
                      <a:pt x="443" y="379"/>
                      <a:pt x="443" y="379"/>
                      <a:pt x="443" y="379"/>
                    </a:cubicBezTo>
                    <a:cubicBezTo>
                      <a:pt x="442" y="377"/>
                      <a:pt x="442" y="377"/>
                      <a:pt x="442" y="377"/>
                    </a:cubicBezTo>
                    <a:cubicBezTo>
                      <a:pt x="443" y="376"/>
                      <a:pt x="443" y="376"/>
                      <a:pt x="443" y="376"/>
                    </a:cubicBezTo>
                    <a:cubicBezTo>
                      <a:pt x="445" y="376"/>
                      <a:pt x="445" y="376"/>
                      <a:pt x="445" y="376"/>
                    </a:cubicBezTo>
                    <a:cubicBezTo>
                      <a:pt x="446" y="378"/>
                      <a:pt x="446" y="378"/>
                      <a:pt x="446" y="378"/>
                    </a:cubicBezTo>
                    <a:cubicBezTo>
                      <a:pt x="445" y="380"/>
                      <a:pt x="445" y="380"/>
                      <a:pt x="445" y="380"/>
                    </a:cubicBezTo>
                    <a:cubicBezTo>
                      <a:pt x="444" y="381"/>
                      <a:pt x="444" y="381"/>
                      <a:pt x="444" y="381"/>
                    </a:cubicBezTo>
                    <a:cubicBezTo>
                      <a:pt x="445" y="383"/>
                      <a:pt x="445" y="383"/>
                      <a:pt x="445" y="383"/>
                    </a:cubicBezTo>
                    <a:cubicBezTo>
                      <a:pt x="446" y="382"/>
                      <a:pt x="446" y="382"/>
                      <a:pt x="446" y="382"/>
                    </a:cubicBezTo>
                    <a:cubicBezTo>
                      <a:pt x="448" y="384"/>
                      <a:pt x="448" y="384"/>
                      <a:pt x="448" y="384"/>
                    </a:cubicBezTo>
                    <a:cubicBezTo>
                      <a:pt x="448" y="387"/>
                      <a:pt x="448" y="387"/>
                      <a:pt x="448" y="387"/>
                    </a:cubicBezTo>
                    <a:cubicBezTo>
                      <a:pt x="447" y="387"/>
                      <a:pt x="447" y="387"/>
                      <a:pt x="447" y="387"/>
                    </a:cubicBezTo>
                    <a:cubicBezTo>
                      <a:pt x="448" y="388"/>
                      <a:pt x="448" y="388"/>
                      <a:pt x="448" y="388"/>
                    </a:cubicBezTo>
                    <a:cubicBezTo>
                      <a:pt x="448" y="390"/>
                      <a:pt x="448" y="390"/>
                      <a:pt x="448" y="390"/>
                    </a:cubicBezTo>
                    <a:cubicBezTo>
                      <a:pt x="447" y="390"/>
                      <a:pt x="447" y="390"/>
                      <a:pt x="447" y="390"/>
                    </a:cubicBezTo>
                    <a:cubicBezTo>
                      <a:pt x="446" y="390"/>
                      <a:pt x="446" y="390"/>
                      <a:pt x="446" y="390"/>
                    </a:cubicBezTo>
                    <a:cubicBezTo>
                      <a:pt x="446" y="391"/>
                      <a:pt x="446" y="391"/>
                      <a:pt x="446" y="391"/>
                    </a:cubicBezTo>
                    <a:cubicBezTo>
                      <a:pt x="448" y="393"/>
                      <a:pt x="448" y="393"/>
                      <a:pt x="448" y="393"/>
                    </a:cubicBezTo>
                    <a:cubicBezTo>
                      <a:pt x="449" y="395"/>
                      <a:pt x="449" y="395"/>
                      <a:pt x="449" y="395"/>
                    </a:cubicBezTo>
                    <a:cubicBezTo>
                      <a:pt x="447" y="396"/>
                      <a:pt x="447" y="396"/>
                      <a:pt x="447" y="396"/>
                    </a:cubicBezTo>
                    <a:cubicBezTo>
                      <a:pt x="447" y="397"/>
                      <a:pt x="447" y="397"/>
                      <a:pt x="447" y="397"/>
                    </a:cubicBezTo>
                    <a:cubicBezTo>
                      <a:pt x="448" y="396"/>
                      <a:pt x="448" y="396"/>
                      <a:pt x="448" y="396"/>
                    </a:cubicBezTo>
                    <a:cubicBezTo>
                      <a:pt x="449" y="397"/>
                      <a:pt x="449" y="397"/>
                      <a:pt x="449" y="397"/>
                    </a:cubicBezTo>
                    <a:cubicBezTo>
                      <a:pt x="449" y="398"/>
                      <a:pt x="449" y="398"/>
                      <a:pt x="449" y="398"/>
                    </a:cubicBezTo>
                    <a:cubicBezTo>
                      <a:pt x="447" y="399"/>
                      <a:pt x="447" y="399"/>
                      <a:pt x="447" y="399"/>
                    </a:cubicBezTo>
                    <a:cubicBezTo>
                      <a:pt x="446" y="400"/>
                      <a:pt x="446" y="400"/>
                      <a:pt x="446" y="400"/>
                    </a:cubicBezTo>
                    <a:cubicBezTo>
                      <a:pt x="445" y="401"/>
                      <a:pt x="445" y="401"/>
                      <a:pt x="445" y="401"/>
                    </a:cubicBezTo>
                    <a:cubicBezTo>
                      <a:pt x="446" y="401"/>
                      <a:pt x="446" y="401"/>
                      <a:pt x="446" y="401"/>
                    </a:cubicBezTo>
                    <a:cubicBezTo>
                      <a:pt x="447" y="402"/>
                      <a:pt x="447" y="402"/>
                      <a:pt x="447" y="402"/>
                    </a:cubicBezTo>
                    <a:cubicBezTo>
                      <a:pt x="446" y="403"/>
                      <a:pt x="446" y="403"/>
                      <a:pt x="446" y="403"/>
                    </a:cubicBezTo>
                    <a:cubicBezTo>
                      <a:pt x="447" y="405"/>
                      <a:pt x="447" y="405"/>
                      <a:pt x="447" y="405"/>
                    </a:cubicBezTo>
                    <a:cubicBezTo>
                      <a:pt x="446" y="406"/>
                      <a:pt x="446" y="406"/>
                      <a:pt x="446" y="406"/>
                    </a:cubicBezTo>
                    <a:cubicBezTo>
                      <a:pt x="444" y="406"/>
                      <a:pt x="444" y="406"/>
                      <a:pt x="444" y="406"/>
                    </a:cubicBezTo>
                    <a:cubicBezTo>
                      <a:pt x="443" y="405"/>
                      <a:pt x="443" y="405"/>
                      <a:pt x="443" y="405"/>
                    </a:cubicBezTo>
                    <a:cubicBezTo>
                      <a:pt x="444" y="403"/>
                      <a:pt x="444" y="403"/>
                      <a:pt x="444" y="403"/>
                    </a:cubicBezTo>
                    <a:cubicBezTo>
                      <a:pt x="442" y="402"/>
                      <a:pt x="442" y="402"/>
                      <a:pt x="442" y="402"/>
                    </a:cubicBezTo>
                    <a:cubicBezTo>
                      <a:pt x="442" y="400"/>
                      <a:pt x="442" y="400"/>
                      <a:pt x="442" y="400"/>
                    </a:cubicBezTo>
                    <a:cubicBezTo>
                      <a:pt x="443" y="399"/>
                      <a:pt x="443" y="399"/>
                      <a:pt x="443" y="399"/>
                    </a:cubicBezTo>
                    <a:cubicBezTo>
                      <a:pt x="442" y="398"/>
                      <a:pt x="442" y="398"/>
                      <a:pt x="442" y="398"/>
                    </a:cubicBezTo>
                    <a:cubicBezTo>
                      <a:pt x="443" y="397"/>
                      <a:pt x="443" y="397"/>
                      <a:pt x="443" y="397"/>
                    </a:cubicBezTo>
                    <a:cubicBezTo>
                      <a:pt x="444" y="396"/>
                      <a:pt x="444" y="396"/>
                      <a:pt x="444" y="396"/>
                    </a:cubicBezTo>
                    <a:cubicBezTo>
                      <a:pt x="443" y="395"/>
                      <a:pt x="443" y="395"/>
                      <a:pt x="443" y="395"/>
                    </a:cubicBezTo>
                    <a:cubicBezTo>
                      <a:pt x="442" y="395"/>
                      <a:pt x="442" y="395"/>
                      <a:pt x="442" y="395"/>
                    </a:cubicBezTo>
                    <a:cubicBezTo>
                      <a:pt x="441" y="396"/>
                      <a:pt x="441" y="396"/>
                      <a:pt x="441" y="396"/>
                    </a:cubicBezTo>
                    <a:cubicBezTo>
                      <a:pt x="441" y="395"/>
                      <a:pt x="441" y="395"/>
                      <a:pt x="441" y="395"/>
                    </a:cubicBezTo>
                    <a:cubicBezTo>
                      <a:pt x="439" y="395"/>
                      <a:pt x="439" y="395"/>
                      <a:pt x="439" y="395"/>
                    </a:cubicBezTo>
                    <a:cubicBezTo>
                      <a:pt x="439" y="394"/>
                      <a:pt x="439" y="394"/>
                      <a:pt x="439" y="394"/>
                    </a:cubicBezTo>
                    <a:cubicBezTo>
                      <a:pt x="439" y="393"/>
                      <a:pt x="439" y="393"/>
                      <a:pt x="439" y="393"/>
                    </a:cubicBezTo>
                    <a:cubicBezTo>
                      <a:pt x="440" y="393"/>
                      <a:pt x="440" y="393"/>
                      <a:pt x="440" y="393"/>
                    </a:cubicBezTo>
                    <a:cubicBezTo>
                      <a:pt x="441" y="392"/>
                      <a:pt x="441" y="392"/>
                      <a:pt x="441" y="392"/>
                    </a:cubicBezTo>
                    <a:cubicBezTo>
                      <a:pt x="441" y="391"/>
                      <a:pt x="441" y="391"/>
                      <a:pt x="441" y="391"/>
                    </a:cubicBezTo>
                    <a:cubicBezTo>
                      <a:pt x="443" y="390"/>
                      <a:pt x="443" y="390"/>
                      <a:pt x="443" y="390"/>
                    </a:cubicBezTo>
                    <a:cubicBezTo>
                      <a:pt x="443" y="389"/>
                      <a:pt x="443" y="389"/>
                      <a:pt x="443" y="389"/>
                    </a:cubicBezTo>
                    <a:cubicBezTo>
                      <a:pt x="442" y="388"/>
                      <a:pt x="442" y="388"/>
                      <a:pt x="442" y="388"/>
                    </a:cubicBezTo>
                    <a:cubicBezTo>
                      <a:pt x="441" y="389"/>
                      <a:pt x="441" y="389"/>
                      <a:pt x="441" y="389"/>
                    </a:cubicBezTo>
                    <a:cubicBezTo>
                      <a:pt x="440" y="388"/>
                      <a:pt x="440" y="388"/>
                      <a:pt x="440" y="388"/>
                    </a:cubicBezTo>
                    <a:cubicBezTo>
                      <a:pt x="441" y="387"/>
                      <a:pt x="441" y="387"/>
                      <a:pt x="441" y="387"/>
                    </a:cubicBezTo>
                    <a:cubicBezTo>
                      <a:pt x="443" y="387"/>
                      <a:pt x="443" y="387"/>
                      <a:pt x="443" y="387"/>
                    </a:cubicBezTo>
                    <a:cubicBezTo>
                      <a:pt x="443" y="385"/>
                      <a:pt x="443" y="385"/>
                      <a:pt x="443" y="385"/>
                    </a:cubicBezTo>
                    <a:cubicBezTo>
                      <a:pt x="443" y="383"/>
                      <a:pt x="443" y="383"/>
                      <a:pt x="443" y="383"/>
                    </a:cubicBezTo>
                    <a:close/>
                    <a:moveTo>
                      <a:pt x="454" y="381"/>
                    </a:moveTo>
                    <a:cubicBezTo>
                      <a:pt x="453" y="380"/>
                      <a:pt x="453" y="380"/>
                      <a:pt x="453" y="380"/>
                    </a:cubicBezTo>
                    <a:cubicBezTo>
                      <a:pt x="454" y="379"/>
                      <a:pt x="454" y="379"/>
                      <a:pt x="454" y="379"/>
                    </a:cubicBezTo>
                    <a:cubicBezTo>
                      <a:pt x="455" y="377"/>
                      <a:pt x="455" y="377"/>
                      <a:pt x="455" y="377"/>
                    </a:cubicBezTo>
                    <a:cubicBezTo>
                      <a:pt x="456" y="378"/>
                      <a:pt x="456" y="378"/>
                      <a:pt x="456" y="378"/>
                    </a:cubicBezTo>
                    <a:cubicBezTo>
                      <a:pt x="456" y="380"/>
                      <a:pt x="456" y="380"/>
                      <a:pt x="456" y="380"/>
                    </a:cubicBezTo>
                    <a:cubicBezTo>
                      <a:pt x="454" y="381"/>
                      <a:pt x="454" y="381"/>
                      <a:pt x="454" y="381"/>
                    </a:cubicBezTo>
                    <a:close/>
                    <a:moveTo>
                      <a:pt x="451" y="384"/>
                    </a:moveTo>
                    <a:cubicBezTo>
                      <a:pt x="452" y="381"/>
                      <a:pt x="452" y="381"/>
                      <a:pt x="452" y="381"/>
                    </a:cubicBezTo>
                    <a:cubicBezTo>
                      <a:pt x="453" y="381"/>
                      <a:pt x="453" y="381"/>
                      <a:pt x="453" y="381"/>
                    </a:cubicBezTo>
                    <a:cubicBezTo>
                      <a:pt x="453" y="383"/>
                      <a:pt x="453" y="383"/>
                      <a:pt x="453" y="383"/>
                    </a:cubicBezTo>
                    <a:cubicBezTo>
                      <a:pt x="452" y="384"/>
                      <a:pt x="452" y="384"/>
                      <a:pt x="452" y="384"/>
                    </a:cubicBezTo>
                    <a:cubicBezTo>
                      <a:pt x="451" y="384"/>
                      <a:pt x="451" y="384"/>
                      <a:pt x="451" y="384"/>
                    </a:cubicBezTo>
                    <a:close/>
                    <a:moveTo>
                      <a:pt x="449" y="382"/>
                    </a:moveTo>
                    <a:cubicBezTo>
                      <a:pt x="450" y="380"/>
                      <a:pt x="450" y="380"/>
                      <a:pt x="450" y="380"/>
                    </a:cubicBezTo>
                    <a:cubicBezTo>
                      <a:pt x="453" y="378"/>
                      <a:pt x="453" y="378"/>
                      <a:pt x="453" y="378"/>
                    </a:cubicBezTo>
                    <a:cubicBezTo>
                      <a:pt x="453" y="379"/>
                      <a:pt x="453" y="379"/>
                      <a:pt x="453" y="379"/>
                    </a:cubicBezTo>
                    <a:cubicBezTo>
                      <a:pt x="452" y="380"/>
                      <a:pt x="452" y="380"/>
                      <a:pt x="452" y="380"/>
                    </a:cubicBezTo>
                    <a:cubicBezTo>
                      <a:pt x="451" y="382"/>
                      <a:pt x="451" y="382"/>
                      <a:pt x="451" y="382"/>
                    </a:cubicBezTo>
                    <a:cubicBezTo>
                      <a:pt x="449" y="382"/>
                      <a:pt x="449" y="382"/>
                      <a:pt x="449" y="382"/>
                    </a:cubicBezTo>
                    <a:close/>
                    <a:moveTo>
                      <a:pt x="447" y="377"/>
                    </a:moveTo>
                    <a:cubicBezTo>
                      <a:pt x="449" y="375"/>
                      <a:pt x="449" y="375"/>
                      <a:pt x="449" y="375"/>
                    </a:cubicBezTo>
                    <a:cubicBezTo>
                      <a:pt x="452" y="375"/>
                      <a:pt x="452" y="375"/>
                      <a:pt x="452" y="375"/>
                    </a:cubicBezTo>
                    <a:cubicBezTo>
                      <a:pt x="452" y="377"/>
                      <a:pt x="452" y="377"/>
                      <a:pt x="452" y="377"/>
                    </a:cubicBezTo>
                    <a:cubicBezTo>
                      <a:pt x="450" y="379"/>
                      <a:pt x="450" y="379"/>
                      <a:pt x="450" y="379"/>
                    </a:cubicBezTo>
                    <a:cubicBezTo>
                      <a:pt x="448" y="378"/>
                      <a:pt x="448" y="378"/>
                      <a:pt x="448" y="378"/>
                    </a:cubicBezTo>
                    <a:cubicBezTo>
                      <a:pt x="447" y="377"/>
                      <a:pt x="447" y="377"/>
                      <a:pt x="447" y="377"/>
                    </a:cubicBezTo>
                    <a:close/>
                    <a:moveTo>
                      <a:pt x="450" y="372"/>
                    </a:moveTo>
                    <a:cubicBezTo>
                      <a:pt x="452" y="369"/>
                      <a:pt x="452" y="369"/>
                      <a:pt x="452" y="369"/>
                    </a:cubicBezTo>
                    <a:cubicBezTo>
                      <a:pt x="453" y="368"/>
                      <a:pt x="453" y="368"/>
                      <a:pt x="453" y="368"/>
                    </a:cubicBezTo>
                    <a:cubicBezTo>
                      <a:pt x="454" y="371"/>
                      <a:pt x="454" y="371"/>
                      <a:pt x="454" y="371"/>
                    </a:cubicBezTo>
                    <a:cubicBezTo>
                      <a:pt x="453" y="373"/>
                      <a:pt x="453" y="373"/>
                      <a:pt x="453" y="373"/>
                    </a:cubicBezTo>
                    <a:cubicBezTo>
                      <a:pt x="451" y="374"/>
                      <a:pt x="451" y="374"/>
                      <a:pt x="451" y="374"/>
                    </a:cubicBezTo>
                    <a:cubicBezTo>
                      <a:pt x="450" y="373"/>
                      <a:pt x="450" y="373"/>
                      <a:pt x="450" y="373"/>
                    </a:cubicBezTo>
                    <a:cubicBezTo>
                      <a:pt x="450" y="372"/>
                      <a:pt x="450" y="372"/>
                      <a:pt x="450" y="372"/>
                    </a:cubicBezTo>
                    <a:close/>
                    <a:moveTo>
                      <a:pt x="444" y="374"/>
                    </a:moveTo>
                    <a:cubicBezTo>
                      <a:pt x="444" y="372"/>
                      <a:pt x="444" y="372"/>
                      <a:pt x="444" y="372"/>
                    </a:cubicBezTo>
                    <a:cubicBezTo>
                      <a:pt x="445" y="368"/>
                      <a:pt x="445" y="368"/>
                      <a:pt x="445" y="368"/>
                    </a:cubicBezTo>
                    <a:cubicBezTo>
                      <a:pt x="446" y="366"/>
                      <a:pt x="446" y="366"/>
                      <a:pt x="446" y="366"/>
                    </a:cubicBezTo>
                    <a:cubicBezTo>
                      <a:pt x="444" y="365"/>
                      <a:pt x="444" y="365"/>
                      <a:pt x="444" y="365"/>
                    </a:cubicBezTo>
                    <a:cubicBezTo>
                      <a:pt x="444" y="364"/>
                      <a:pt x="444" y="364"/>
                      <a:pt x="444" y="364"/>
                    </a:cubicBezTo>
                    <a:cubicBezTo>
                      <a:pt x="444" y="363"/>
                      <a:pt x="444" y="363"/>
                      <a:pt x="444" y="363"/>
                    </a:cubicBezTo>
                    <a:cubicBezTo>
                      <a:pt x="444" y="361"/>
                      <a:pt x="444" y="361"/>
                      <a:pt x="444" y="361"/>
                    </a:cubicBezTo>
                    <a:cubicBezTo>
                      <a:pt x="446" y="361"/>
                      <a:pt x="446" y="361"/>
                      <a:pt x="446" y="361"/>
                    </a:cubicBezTo>
                    <a:cubicBezTo>
                      <a:pt x="448" y="364"/>
                      <a:pt x="448" y="364"/>
                      <a:pt x="448" y="364"/>
                    </a:cubicBezTo>
                    <a:cubicBezTo>
                      <a:pt x="450" y="364"/>
                      <a:pt x="450" y="364"/>
                      <a:pt x="450" y="364"/>
                    </a:cubicBezTo>
                    <a:cubicBezTo>
                      <a:pt x="451" y="365"/>
                      <a:pt x="451" y="365"/>
                      <a:pt x="451" y="365"/>
                    </a:cubicBezTo>
                    <a:cubicBezTo>
                      <a:pt x="451" y="368"/>
                      <a:pt x="451" y="368"/>
                      <a:pt x="451" y="368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49" y="371"/>
                      <a:pt x="449" y="371"/>
                      <a:pt x="449" y="371"/>
                    </a:cubicBezTo>
                    <a:cubicBezTo>
                      <a:pt x="449" y="368"/>
                      <a:pt x="449" y="368"/>
                      <a:pt x="449" y="368"/>
                    </a:cubicBezTo>
                    <a:cubicBezTo>
                      <a:pt x="448" y="368"/>
                      <a:pt x="448" y="368"/>
                      <a:pt x="448" y="368"/>
                    </a:cubicBezTo>
                    <a:cubicBezTo>
                      <a:pt x="448" y="371"/>
                      <a:pt x="448" y="371"/>
                      <a:pt x="448" y="371"/>
                    </a:cubicBezTo>
                    <a:cubicBezTo>
                      <a:pt x="447" y="371"/>
                      <a:pt x="447" y="371"/>
                      <a:pt x="447" y="371"/>
                    </a:cubicBezTo>
                    <a:cubicBezTo>
                      <a:pt x="448" y="373"/>
                      <a:pt x="448" y="373"/>
                      <a:pt x="448" y="373"/>
                    </a:cubicBezTo>
                    <a:cubicBezTo>
                      <a:pt x="447" y="374"/>
                      <a:pt x="447" y="374"/>
                      <a:pt x="447" y="374"/>
                    </a:cubicBezTo>
                    <a:cubicBezTo>
                      <a:pt x="446" y="373"/>
                      <a:pt x="446" y="373"/>
                      <a:pt x="446" y="373"/>
                    </a:cubicBezTo>
                    <a:cubicBezTo>
                      <a:pt x="445" y="375"/>
                      <a:pt x="445" y="375"/>
                      <a:pt x="445" y="375"/>
                    </a:cubicBezTo>
                    <a:cubicBezTo>
                      <a:pt x="444" y="374"/>
                      <a:pt x="444" y="374"/>
                      <a:pt x="444" y="374"/>
                    </a:cubicBezTo>
                    <a:close/>
                    <a:moveTo>
                      <a:pt x="439" y="372"/>
                    </a:moveTo>
                    <a:cubicBezTo>
                      <a:pt x="437" y="370"/>
                      <a:pt x="437" y="370"/>
                      <a:pt x="437" y="370"/>
                    </a:cubicBezTo>
                    <a:cubicBezTo>
                      <a:pt x="439" y="368"/>
                      <a:pt x="439" y="368"/>
                      <a:pt x="439" y="368"/>
                    </a:cubicBezTo>
                    <a:cubicBezTo>
                      <a:pt x="438" y="368"/>
                      <a:pt x="438" y="368"/>
                      <a:pt x="438" y="368"/>
                    </a:cubicBezTo>
                    <a:cubicBezTo>
                      <a:pt x="438" y="366"/>
                      <a:pt x="438" y="366"/>
                      <a:pt x="438" y="366"/>
                    </a:cubicBezTo>
                    <a:cubicBezTo>
                      <a:pt x="439" y="364"/>
                      <a:pt x="439" y="364"/>
                      <a:pt x="439" y="364"/>
                    </a:cubicBezTo>
                    <a:cubicBezTo>
                      <a:pt x="440" y="365"/>
                      <a:pt x="440" y="365"/>
                      <a:pt x="440" y="365"/>
                    </a:cubicBezTo>
                    <a:cubicBezTo>
                      <a:pt x="440" y="363"/>
                      <a:pt x="440" y="363"/>
                      <a:pt x="440" y="363"/>
                    </a:cubicBezTo>
                    <a:cubicBezTo>
                      <a:pt x="441" y="363"/>
                      <a:pt x="441" y="363"/>
                      <a:pt x="441" y="363"/>
                    </a:cubicBezTo>
                    <a:cubicBezTo>
                      <a:pt x="443" y="365"/>
                      <a:pt x="443" y="365"/>
                      <a:pt x="443" y="365"/>
                    </a:cubicBezTo>
                    <a:cubicBezTo>
                      <a:pt x="442" y="367"/>
                      <a:pt x="442" y="367"/>
                      <a:pt x="442" y="367"/>
                    </a:cubicBezTo>
                    <a:cubicBezTo>
                      <a:pt x="442" y="368"/>
                      <a:pt x="442" y="368"/>
                      <a:pt x="442" y="368"/>
                    </a:cubicBezTo>
                    <a:cubicBezTo>
                      <a:pt x="443" y="367"/>
                      <a:pt x="443" y="367"/>
                      <a:pt x="443" y="367"/>
                    </a:cubicBezTo>
                    <a:cubicBezTo>
                      <a:pt x="444" y="368"/>
                      <a:pt x="444" y="368"/>
                      <a:pt x="444" y="368"/>
                    </a:cubicBezTo>
                    <a:cubicBezTo>
                      <a:pt x="442" y="372"/>
                      <a:pt x="442" y="372"/>
                      <a:pt x="442" y="372"/>
                    </a:cubicBezTo>
                    <a:cubicBezTo>
                      <a:pt x="440" y="375"/>
                      <a:pt x="440" y="375"/>
                      <a:pt x="440" y="375"/>
                    </a:cubicBezTo>
                    <a:cubicBezTo>
                      <a:pt x="440" y="377"/>
                      <a:pt x="440" y="377"/>
                      <a:pt x="440" y="377"/>
                    </a:cubicBezTo>
                    <a:cubicBezTo>
                      <a:pt x="439" y="378"/>
                      <a:pt x="439" y="378"/>
                      <a:pt x="439" y="378"/>
                    </a:cubicBezTo>
                    <a:cubicBezTo>
                      <a:pt x="437" y="379"/>
                      <a:pt x="437" y="379"/>
                      <a:pt x="437" y="379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6"/>
                      <a:pt x="437" y="376"/>
                      <a:pt x="437" y="376"/>
                    </a:cubicBezTo>
                    <a:cubicBezTo>
                      <a:pt x="436" y="379"/>
                      <a:pt x="436" y="379"/>
                      <a:pt x="436" y="379"/>
                    </a:cubicBezTo>
                    <a:cubicBezTo>
                      <a:pt x="435" y="378"/>
                      <a:pt x="435" y="378"/>
                      <a:pt x="435" y="378"/>
                    </a:cubicBezTo>
                    <a:cubicBezTo>
                      <a:pt x="435" y="377"/>
                      <a:pt x="435" y="377"/>
                      <a:pt x="435" y="377"/>
                    </a:cubicBezTo>
                    <a:cubicBezTo>
                      <a:pt x="436" y="376"/>
                      <a:pt x="436" y="376"/>
                      <a:pt x="436" y="376"/>
                    </a:cubicBezTo>
                    <a:cubicBezTo>
                      <a:pt x="436" y="374"/>
                      <a:pt x="436" y="374"/>
                      <a:pt x="436" y="374"/>
                    </a:cubicBezTo>
                    <a:cubicBezTo>
                      <a:pt x="437" y="373"/>
                      <a:pt x="437" y="373"/>
                      <a:pt x="437" y="373"/>
                    </a:cubicBezTo>
                    <a:cubicBezTo>
                      <a:pt x="438" y="374"/>
                      <a:pt x="438" y="374"/>
                      <a:pt x="438" y="374"/>
                    </a:cubicBezTo>
                    <a:cubicBezTo>
                      <a:pt x="439" y="373"/>
                      <a:pt x="439" y="373"/>
                      <a:pt x="439" y="373"/>
                    </a:cubicBezTo>
                    <a:cubicBezTo>
                      <a:pt x="439" y="372"/>
                      <a:pt x="439" y="372"/>
                      <a:pt x="439" y="372"/>
                    </a:cubicBezTo>
                    <a:close/>
                    <a:moveTo>
                      <a:pt x="437" y="354"/>
                    </a:moveTo>
                    <a:cubicBezTo>
                      <a:pt x="439" y="354"/>
                      <a:pt x="439" y="354"/>
                      <a:pt x="439" y="354"/>
                    </a:cubicBezTo>
                    <a:cubicBezTo>
                      <a:pt x="438" y="356"/>
                      <a:pt x="438" y="356"/>
                      <a:pt x="438" y="356"/>
                    </a:cubicBezTo>
                    <a:cubicBezTo>
                      <a:pt x="437" y="354"/>
                      <a:pt x="437" y="354"/>
                      <a:pt x="437" y="354"/>
                    </a:cubicBezTo>
                    <a:close/>
                    <a:moveTo>
                      <a:pt x="433" y="355"/>
                    </a:moveTo>
                    <a:cubicBezTo>
                      <a:pt x="435" y="354"/>
                      <a:pt x="435" y="354"/>
                      <a:pt x="435" y="354"/>
                    </a:cubicBezTo>
                    <a:cubicBezTo>
                      <a:pt x="435" y="353"/>
                      <a:pt x="435" y="353"/>
                      <a:pt x="435" y="353"/>
                    </a:cubicBezTo>
                    <a:cubicBezTo>
                      <a:pt x="436" y="354"/>
                      <a:pt x="436" y="354"/>
                      <a:pt x="436" y="354"/>
                    </a:cubicBezTo>
                    <a:cubicBezTo>
                      <a:pt x="437" y="356"/>
                      <a:pt x="437" y="356"/>
                      <a:pt x="437" y="356"/>
                    </a:cubicBezTo>
                    <a:cubicBezTo>
                      <a:pt x="437" y="360"/>
                      <a:pt x="437" y="360"/>
                      <a:pt x="437" y="360"/>
                    </a:cubicBezTo>
                    <a:cubicBezTo>
                      <a:pt x="437" y="363"/>
                      <a:pt x="437" y="363"/>
                      <a:pt x="437" y="363"/>
                    </a:cubicBezTo>
                    <a:cubicBezTo>
                      <a:pt x="436" y="364"/>
                      <a:pt x="436" y="364"/>
                      <a:pt x="436" y="364"/>
                    </a:cubicBezTo>
                    <a:cubicBezTo>
                      <a:pt x="435" y="367"/>
                      <a:pt x="435" y="367"/>
                      <a:pt x="435" y="367"/>
                    </a:cubicBezTo>
                    <a:cubicBezTo>
                      <a:pt x="434" y="368"/>
                      <a:pt x="434" y="368"/>
                      <a:pt x="434" y="368"/>
                    </a:cubicBezTo>
                    <a:cubicBezTo>
                      <a:pt x="434" y="371"/>
                      <a:pt x="434" y="371"/>
                      <a:pt x="434" y="371"/>
                    </a:cubicBezTo>
                    <a:cubicBezTo>
                      <a:pt x="433" y="373"/>
                      <a:pt x="433" y="373"/>
                      <a:pt x="433" y="373"/>
                    </a:cubicBezTo>
                    <a:cubicBezTo>
                      <a:pt x="433" y="375"/>
                      <a:pt x="433" y="375"/>
                      <a:pt x="433" y="375"/>
                    </a:cubicBezTo>
                    <a:cubicBezTo>
                      <a:pt x="432" y="375"/>
                      <a:pt x="432" y="375"/>
                      <a:pt x="432" y="375"/>
                    </a:cubicBezTo>
                    <a:cubicBezTo>
                      <a:pt x="432" y="374"/>
                      <a:pt x="432" y="374"/>
                      <a:pt x="432" y="374"/>
                    </a:cubicBezTo>
                    <a:cubicBezTo>
                      <a:pt x="432" y="372"/>
                      <a:pt x="432" y="372"/>
                      <a:pt x="432" y="372"/>
                    </a:cubicBezTo>
                    <a:cubicBezTo>
                      <a:pt x="431" y="372"/>
                      <a:pt x="431" y="372"/>
                      <a:pt x="431" y="372"/>
                    </a:cubicBezTo>
                    <a:cubicBezTo>
                      <a:pt x="431" y="369"/>
                      <a:pt x="431" y="369"/>
                      <a:pt x="431" y="369"/>
                    </a:cubicBezTo>
                    <a:cubicBezTo>
                      <a:pt x="431" y="368"/>
                      <a:pt x="431" y="368"/>
                      <a:pt x="431" y="368"/>
                    </a:cubicBezTo>
                    <a:cubicBezTo>
                      <a:pt x="433" y="367"/>
                      <a:pt x="433" y="367"/>
                      <a:pt x="433" y="367"/>
                    </a:cubicBezTo>
                    <a:cubicBezTo>
                      <a:pt x="434" y="367"/>
                      <a:pt x="434" y="367"/>
                      <a:pt x="434" y="367"/>
                    </a:cubicBezTo>
                    <a:cubicBezTo>
                      <a:pt x="433" y="366"/>
                      <a:pt x="433" y="366"/>
                      <a:pt x="433" y="366"/>
                    </a:cubicBez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1" y="366"/>
                      <a:pt x="431" y="366"/>
                      <a:pt x="431" y="366"/>
                    </a:cubicBezTo>
                    <a:cubicBezTo>
                      <a:pt x="431" y="365"/>
                      <a:pt x="431" y="365"/>
                      <a:pt x="431" y="365"/>
                    </a:cubicBezTo>
                    <a:cubicBezTo>
                      <a:pt x="432" y="365"/>
                      <a:pt x="432" y="365"/>
                      <a:pt x="432" y="365"/>
                    </a:cubicBezTo>
                    <a:cubicBezTo>
                      <a:pt x="433" y="364"/>
                      <a:pt x="433" y="364"/>
                      <a:pt x="433" y="364"/>
                    </a:cubicBezTo>
                    <a:cubicBezTo>
                      <a:pt x="430" y="363"/>
                      <a:pt x="430" y="363"/>
                      <a:pt x="430" y="363"/>
                    </a:cubicBezTo>
                    <a:cubicBezTo>
                      <a:pt x="431" y="362"/>
                      <a:pt x="431" y="362"/>
                      <a:pt x="431" y="362"/>
                    </a:cubicBezTo>
                    <a:cubicBezTo>
                      <a:pt x="432" y="362"/>
                      <a:pt x="432" y="362"/>
                      <a:pt x="432" y="362"/>
                    </a:cubicBezTo>
                    <a:cubicBezTo>
                      <a:pt x="433" y="361"/>
                      <a:pt x="433" y="361"/>
                      <a:pt x="433" y="361"/>
                    </a:cubicBezTo>
                    <a:cubicBezTo>
                      <a:pt x="433" y="359"/>
                      <a:pt x="433" y="359"/>
                      <a:pt x="433" y="359"/>
                    </a:cubicBezTo>
                    <a:cubicBezTo>
                      <a:pt x="435" y="357"/>
                      <a:pt x="435" y="357"/>
                      <a:pt x="435" y="357"/>
                    </a:cubicBezTo>
                    <a:cubicBezTo>
                      <a:pt x="433" y="356"/>
                      <a:pt x="433" y="356"/>
                      <a:pt x="433" y="356"/>
                    </a:cubicBezTo>
                    <a:cubicBezTo>
                      <a:pt x="433" y="355"/>
                      <a:pt x="433" y="355"/>
                      <a:pt x="433" y="355"/>
                    </a:cubicBezTo>
                    <a:close/>
                    <a:moveTo>
                      <a:pt x="429" y="355"/>
                    </a:moveTo>
                    <a:cubicBezTo>
                      <a:pt x="431" y="354"/>
                      <a:pt x="431" y="354"/>
                      <a:pt x="431" y="354"/>
                    </a:cubicBezTo>
                    <a:cubicBezTo>
                      <a:pt x="431" y="356"/>
                      <a:pt x="431" y="356"/>
                      <a:pt x="431" y="356"/>
                    </a:cubicBezTo>
                    <a:cubicBezTo>
                      <a:pt x="431" y="357"/>
                      <a:pt x="431" y="357"/>
                      <a:pt x="431" y="357"/>
                    </a:cubicBezTo>
                    <a:cubicBezTo>
                      <a:pt x="430" y="359"/>
                      <a:pt x="430" y="359"/>
                      <a:pt x="430" y="359"/>
                    </a:cubicBezTo>
                    <a:cubicBezTo>
                      <a:pt x="429" y="360"/>
                      <a:pt x="429" y="360"/>
                      <a:pt x="429" y="360"/>
                    </a:cubicBezTo>
                    <a:cubicBezTo>
                      <a:pt x="428" y="359"/>
                      <a:pt x="428" y="359"/>
                      <a:pt x="428" y="359"/>
                    </a:cubicBezTo>
                    <a:cubicBezTo>
                      <a:pt x="429" y="357"/>
                      <a:pt x="429" y="357"/>
                      <a:pt x="429" y="357"/>
                    </a:cubicBezTo>
                    <a:cubicBezTo>
                      <a:pt x="429" y="357"/>
                      <a:pt x="429" y="357"/>
                      <a:pt x="429" y="357"/>
                    </a:cubicBezTo>
                    <a:cubicBezTo>
                      <a:pt x="429" y="355"/>
                      <a:pt x="429" y="355"/>
                      <a:pt x="429" y="355"/>
                    </a:cubicBezTo>
                    <a:close/>
                    <a:moveTo>
                      <a:pt x="438" y="360"/>
                    </a:moveTo>
                    <a:cubicBezTo>
                      <a:pt x="440" y="358"/>
                      <a:pt x="440" y="358"/>
                      <a:pt x="440" y="358"/>
                    </a:cubicBezTo>
                    <a:cubicBezTo>
                      <a:pt x="440" y="356"/>
                      <a:pt x="440" y="356"/>
                      <a:pt x="440" y="356"/>
                    </a:cubicBezTo>
                    <a:cubicBezTo>
                      <a:pt x="441" y="354"/>
                      <a:pt x="441" y="354"/>
                      <a:pt x="441" y="354"/>
                    </a:cubicBezTo>
                    <a:cubicBezTo>
                      <a:pt x="443" y="355"/>
                      <a:pt x="443" y="355"/>
                      <a:pt x="443" y="355"/>
                    </a:cubicBezTo>
                    <a:cubicBezTo>
                      <a:pt x="442" y="353"/>
                      <a:pt x="442" y="353"/>
                      <a:pt x="442" y="353"/>
                    </a:cubicBezTo>
                    <a:cubicBezTo>
                      <a:pt x="443" y="352"/>
                      <a:pt x="443" y="352"/>
                      <a:pt x="443" y="352"/>
                    </a:cubicBezTo>
                    <a:cubicBezTo>
                      <a:pt x="442" y="351"/>
                      <a:pt x="442" y="351"/>
                      <a:pt x="442" y="351"/>
                    </a:cubicBezTo>
                    <a:cubicBezTo>
                      <a:pt x="442" y="348"/>
                      <a:pt x="442" y="348"/>
                      <a:pt x="442" y="348"/>
                    </a:cubicBezTo>
                    <a:cubicBezTo>
                      <a:pt x="444" y="345"/>
                      <a:pt x="444" y="345"/>
                      <a:pt x="444" y="345"/>
                    </a:cubicBezTo>
                    <a:cubicBezTo>
                      <a:pt x="444" y="339"/>
                      <a:pt x="444" y="339"/>
                      <a:pt x="444" y="339"/>
                    </a:cubicBezTo>
                    <a:cubicBezTo>
                      <a:pt x="446" y="337"/>
                      <a:pt x="446" y="337"/>
                      <a:pt x="446" y="337"/>
                    </a:cubicBezTo>
                    <a:cubicBezTo>
                      <a:pt x="446" y="338"/>
                      <a:pt x="446" y="338"/>
                      <a:pt x="446" y="338"/>
                    </a:cubicBezTo>
                    <a:cubicBezTo>
                      <a:pt x="446" y="339"/>
                      <a:pt x="446" y="339"/>
                      <a:pt x="446" y="339"/>
                    </a:cubicBezTo>
                    <a:cubicBezTo>
                      <a:pt x="449" y="341"/>
                      <a:pt x="449" y="341"/>
                      <a:pt x="449" y="341"/>
                    </a:cubicBezTo>
                    <a:cubicBezTo>
                      <a:pt x="450" y="343"/>
                      <a:pt x="450" y="343"/>
                      <a:pt x="450" y="343"/>
                    </a:cubicBezTo>
                    <a:cubicBezTo>
                      <a:pt x="450" y="350"/>
                      <a:pt x="450" y="350"/>
                      <a:pt x="450" y="350"/>
                    </a:cubicBezTo>
                    <a:cubicBezTo>
                      <a:pt x="449" y="353"/>
                      <a:pt x="449" y="353"/>
                      <a:pt x="449" y="353"/>
                    </a:cubicBezTo>
                    <a:cubicBezTo>
                      <a:pt x="449" y="352"/>
                      <a:pt x="449" y="352"/>
                      <a:pt x="449" y="352"/>
                    </a:cubicBezTo>
                    <a:cubicBezTo>
                      <a:pt x="449" y="348"/>
                      <a:pt x="449" y="348"/>
                      <a:pt x="449" y="348"/>
                    </a:cubicBezTo>
                    <a:cubicBezTo>
                      <a:pt x="448" y="344"/>
                      <a:pt x="448" y="344"/>
                      <a:pt x="448" y="344"/>
                    </a:cubicBezTo>
                    <a:cubicBezTo>
                      <a:pt x="448" y="345"/>
                      <a:pt x="448" y="345"/>
                      <a:pt x="448" y="345"/>
                    </a:cubicBezTo>
                    <a:cubicBezTo>
                      <a:pt x="448" y="352"/>
                      <a:pt x="448" y="352"/>
                      <a:pt x="448" y="352"/>
                    </a:cubicBezTo>
                    <a:cubicBezTo>
                      <a:pt x="447" y="353"/>
                      <a:pt x="447" y="353"/>
                      <a:pt x="447" y="353"/>
                    </a:cubicBezTo>
                    <a:cubicBezTo>
                      <a:pt x="447" y="355"/>
                      <a:pt x="447" y="355"/>
                      <a:pt x="447" y="355"/>
                    </a:cubicBezTo>
                    <a:cubicBezTo>
                      <a:pt x="446" y="356"/>
                      <a:pt x="446" y="356"/>
                      <a:pt x="446" y="356"/>
                    </a:cubicBezTo>
                    <a:cubicBezTo>
                      <a:pt x="444" y="355"/>
                      <a:pt x="444" y="355"/>
                      <a:pt x="444" y="355"/>
                    </a:cubicBezTo>
                    <a:cubicBezTo>
                      <a:pt x="444" y="358"/>
                      <a:pt x="444" y="358"/>
                      <a:pt x="444" y="358"/>
                    </a:cubicBezTo>
                    <a:cubicBezTo>
                      <a:pt x="441" y="360"/>
                      <a:pt x="441" y="360"/>
                      <a:pt x="441" y="360"/>
                    </a:cubicBezTo>
                    <a:cubicBezTo>
                      <a:pt x="439" y="361"/>
                      <a:pt x="439" y="361"/>
                      <a:pt x="439" y="361"/>
                    </a:cubicBezTo>
                    <a:cubicBezTo>
                      <a:pt x="438" y="360"/>
                      <a:pt x="438" y="360"/>
                      <a:pt x="438" y="360"/>
                    </a:cubicBezTo>
                    <a:close/>
                    <a:moveTo>
                      <a:pt x="434" y="337"/>
                    </a:moveTo>
                    <a:cubicBezTo>
                      <a:pt x="436" y="337"/>
                      <a:pt x="436" y="337"/>
                      <a:pt x="436" y="337"/>
                    </a:cubicBezTo>
                    <a:cubicBezTo>
                      <a:pt x="438" y="338"/>
                      <a:pt x="438" y="338"/>
                      <a:pt x="438" y="338"/>
                    </a:cubicBezTo>
                    <a:cubicBezTo>
                      <a:pt x="438" y="339"/>
                      <a:pt x="438" y="339"/>
                      <a:pt x="438" y="339"/>
                    </a:cubicBezTo>
                    <a:cubicBezTo>
                      <a:pt x="437" y="341"/>
                      <a:pt x="437" y="341"/>
                      <a:pt x="437" y="341"/>
                    </a:cubicBezTo>
                    <a:cubicBezTo>
                      <a:pt x="438" y="342"/>
                      <a:pt x="438" y="342"/>
                      <a:pt x="438" y="342"/>
                    </a:cubicBezTo>
                    <a:cubicBezTo>
                      <a:pt x="439" y="341"/>
                      <a:pt x="439" y="341"/>
                      <a:pt x="439" y="341"/>
                    </a:cubicBezTo>
                    <a:cubicBezTo>
                      <a:pt x="440" y="340"/>
                      <a:pt x="440" y="340"/>
                      <a:pt x="440" y="340"/>
                    </a:cubicBezTo>
                    <a:cubicBezTo>
                      <a:pt x="442" y="342"/>
                      <a:pt x="442" y="342"/>
                      <a:pt x="442" y="342"/>
                    </a:cubicBezTo>
                    <a:cubicBezTo>
                      <a:pt x="442" y="343"/>
                      <a:pt x="442" y="343"/>
                      <a:pt x="442" y="343"/>
                    </a:cubicBezTo>
                    <a:cubicBezTo>
                      <a:pt x="441" y="344"/>
                      <a:pt x="441" y="344"/>
                      <a:pt x="441" y="344"/>
                    </a:cubicBezTo>
                    <a:cubicBezTo>
                      <a:pt x="441" y="345"/>
                      <a:pt x="441" y="345"/>
                      <a:pt x="441" y="345"/>
                    </a:cubicBezTo>
                    <a:cubicBezTo>
                      <a:pt x="440" y="346"/>
                      <a:pt x="440" y="346"/>
                      <a:pt x="440" y="346"/>
                    </a:cubicBezTo>
                    <a:cubicBezTo>
                      <a:pt x="439" y="346"/>
                      <a:pt x="439" y="346"/>
                      <a:pt x="439" y="346"/>
                    </a:cubicBezTo>
                    <a:cubicBezTo>
                      <a:pt x="437" y="344"/>
                      <a:pt x="437" y="344"/>
                      <a:pt x="437" y="344"/>
                    </a:cubicBezTo>
                    <a:cubicBezTo>
                      <a:pt x="435" y="341"/>
                      <a:pt x="435" y="341"/>
                      <a:pt x="435" y="341"/>
                    </a:cubicBezTo>
                    <a:cubicBezTo>
                      <a:pt x="435" y="342"/>
                      <a:pt x="435" y="342"/>
                      <a:pt x="435" y="342"/>
                    </a:cubicBezTo>
                    <a:cubicBezTo>
                      <a:pt x="437" y="346"/>
                      <a:pt x="437" y="346"/>
                      <a:pt x="437" y="346"/>
                    </a:cubicBezTo>
                    <a:cubicBezTo>
                      <a:pt x="437" y="347"/>
                      <a:pt x="437" y="347"/>
                      <a:pt x="437" y="347"/>
                    </a:cubicBezTo>
                    <a:cubicBezTo>
                      <a:pt x="439" y="348"/>
                      <a:pt x="439" y="348"/>
                      <a:pt x="439" y="348"/>
                    </a:cubicBezTo>
                    <a:cubicBezTo>
                      <a:pt x="440" y="349"/>
                      <a:pt x="440" y="349"/>
                      <a:pt x="440" y="349"/>
                    </a:cubicBezTo>
                    <a:cubicBezTo>
                      <a:pt x="439" y="350"/>
                      <a:pt x="439" y="350"/>
                      <a:pt x="439" y="350"/>
                    </a:cubicBezTo>
                    <a:cubicBezTo>
                      <a:pt x="439" y="353"/>
                      <a:pt x="439" y="353"/>
                      <a:pt x="439" y="353"/>
                    </a:cubicBezTo>
                    <a:cubicBezTo>
                      <a:pt x="438" y="353"/>
                      <a:pt x="438" y="353"/>
                      <a:pt x="438" y="353"/>
                    </a:cubicBezTo>
                    <a:cubicBezTo>
                      <a:pt x="436" y="351"/>
                      <a:pt x="436" y="351"/>
                      <a:pt x="436" y="351"/>
                    </a:cubicBezTo>
                    <a:cubicBezTo>
                      <a:pt x="436" y="349"/>
                      <a:pt x="436" y="349"/>
                      <a:pt x="436" y="349"/>
                    </a:cubicBezTo>
                    <a:cubicBezTo>
                      <a:pt x="434" y="345"/>
                      <a:pt x="434" y="345"/>
                      <a:pt x="434" y="345"/>
                    </a:cubicBezTo>
                    <a:cubicBezTo>
                      <a:pt x="433" y="347"/>
                      <a:pt x="433" y="347"/>
                      <a:pt x="433" y="347"/>
                    </a:cubicBezTo>
                    <a:cubicBezTo>
                      <a:pt x="435" y="350"/>
                      <a:pt x="435" y="350"/>
                      <a:pt x="435" y="350"/>
                    </a:cubicBezTo>
                    <a:cubicBezTo>
                      <a:pt x="435" y="352"/>
                      <a:pt x="435" y="352"/>
                      <a:pt x="435" y="352"/>
                    </a:cubicBezTo>
                    <a:cubicBezTo>
                      <a:pt x="433" y="353"/>
                      <a:pt x="433" y="353"/>
                      <a:pt x="433" y="353"/>
                    </a:cubicBezTo>
                    <a:cubicBezTo>
                      <a:pt x="432" y="353"/>
                      <a:pt x="432" y="353"/>
                      <a:pt x="432" y="353"/>
                    </a:cubicBezTo>
                    <a:cubicBezTo>
                      <a:pt x="430" y="351"/>
                      <a:pt x="430" y="351"/>
                      <a:pt x="430" y="351"/>
                    </a:cubicBezTo>
                    <a:cubicBezTo>
                      <a:pt x="431" y="350"/>
                      <a:pt x="431" y="350"/>
                      <a:pt x="431" y="350"/>
                    </a:cubicBezTo>
                    <a:cubicBezTo>
                      <a:pt x="430" y="349"/>
                      <a:pt x="430" y="349"/>
                      <a:pt x="430" y="349"/>
                    </a:cubicBezTo>
                    <a:cubicBezTo>
                      <a:pt x="431" y="347"/>
                      <a:pt x="431" y="347"/>
                      <a:pt x="431" y="347"/>
                    </a:cubicBezTo>
                    <a:cubicBezTo>
                      <a:pt x="429" y="344"/>
                      <a:pt x="429" y="344"/>
                      <a:pt x="429" y="344"/>
                    </a:cubicBezTo>
                    <a:cubicBezTo>
                      <a:pt x="430" y="342"/>
                      <a:pt x="430" y="342"/>
                      <a:pt x="430" y="342"/>
                    </a:cubicBezTo>
                    <a:cubicBezTo>
                      <a:pt x="431" y="343"/>
                      <a:pt x="431" y="343"/>
                      <a:pt x="431" y="343"/>
                    </a:cubicBezTo>
                    <a:cubicBezTo>
                      <a:pt x="432" y="342"/>
                      <a:pt x="432" y="342"/>
                      <a:pt x="432" y="342"/>
                    </a:cubicBezTo>
                    <a:cubicBezTo>
                      <a:pt x="431" y="341"/>
                      <a:pt x="431" y="341"/>
                      <a:pt x="431" y="341"/>
                    </a:cubicBezTo>
                    <a:cubicBezTo>
                      <a:pt x="431" y="339"/>
                      <a:pt x="431" y="339"/>
                      <a:pt x="431" y="339"/>
                    </a:cubicBezTo>
                    <a:cubicBezTo>
                      <a:pt x="432" y="337"/>
                      <a:pt x="432" y="337"/>
                      <a:pt x="432" y="337"/>
                    </a:cubicBezTo>
                    <a:cubicBezTo>
                      <a:pt x="432" y="339"/>
                      <a:pt x="432" y="339"/>
                      <a:pt x="432" y="339"/>
                    </a:cubicBezTo>
                    <a:cubicBezTo>
                      <a:pt x="433" y="338"/>
                      <a:pt x="433" y="338"/>
                      <a:pt x="433" y="338"/>
                    </a:cubicBezTo>
                    <a:cubicBezTo>
                      <a:pt x="434" y="337"/>
                      <a:pt x="434" y="337"/>
                      <a:pt x="434" y="337"/>
                    </a:cubicBezTo>
                    <a:close/>
                    <a:moveTo>
                      <a:pt x="434" y="335"/>
                    </a:moveTo>
                    <a:cubicBezTo>
                      <a:pt x="436" y="334"/>
                      <a:pt x="436" y="334"/>
                      <a:pt x="436" y="334"/>
                    </a:cubicBezTo>
                    <a:cubicBezTo>
                      <a:pt x="437" y="335"/>
                      <a:pt x="437" y="335"/>
                      <a:pt x="437" y="335"/>
                    </a:cubicBezTo>
                    <a:cubicBezTo>
                      <a:pt x="435" y="336"/>
                      <a:pt x="435" y="336"/>
                      <a:pt x="435" y="336"/>
                    </a:cubicBezTo>
                    <a:cubicBezTo>
                      <a:pt x="434" y="335"/>
                      <a:pt x="434" y="335"/>
                      <a:pt x="434" y="335"/>
                    </a:cubicBezTo>
                    <a:close/>
                    <a:moveTo>
                      <a:pt x="144" y="213"/>
                    </a:moveTo>
                    <a:cubicBezTo>
                      <a:pt x="144" y="212"/>
                      <a:pt x="144" y="212"/>
                      <a:pt x="144" y="212"/>
                    </a:cubicBezTo>
                    <a:cubicBezTo>
                      <a:pt x="145" y="211"/>
                      <a:pt x="145" y="211"/>
                      <a:pt x="145" y="211"/>
                    </a:cubicBezTo>
                    <a:cubicBezTo>
                      <a:pt x="145" y="213"/>
                      <a:pt x="145" y="213"/>
                      <a:pt x="145" y="213"/>
                    </a:cubicBezTo>
                    <a:cubicBezTo>
                      <a:pt x="144" y="213"/>
                      <a:pt x="144" y="213"/>
                      <a:pt x="144" y="213"/>
                    </a:cubicBezTo>
                    <a:close/>
                    <a:moveTo>
                      <a:pt x="144" y="214"/>
                    </a:moveTo>
                    <a:cubicBezTo>
                      <a:pt x="145" y="215"/>
                      <a:pt x="145" y="215"/>
                      <a:pt x="145" y="215"/>
                    </a:cubicBezTo>
                    <a:cubicBezTo>
                      <a:pt x="145" y="217"/>
                      <a:pt x="145" y="217"/>
                      <a:pt x="145" y="217"/>
                    </a:cubicBezTo>
                    <a:cubicBezTo>
                      <a:pt x="148" y="220"/>
                      <a:pt x="148" y="220"/>
                      <a:pt x="148" y="220"/>
                    </a:cubicBezTo>
                    <a:cubicBezTo>
                      <a:pt x="148" y="221"/>
                      <a:pt x="148" y="221"/>
                      <a:pt x="148" y="221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143" y="215"/>
                      <a:pt x="143" y="215"/>
                      <a:pt x="143" y="215"/>
                    </a:cubicBezTo>
                    <a:cubicBezTo>
                      <a:pt x="143" y="215"/>
                      <a:pt x="144" y="214"/>
                      <a:pt x="144" y="214"/>
                    </a:cubicBezTo>
                    <a:close/>
                    <a:moveTo>
                      <a:pt x="245" y="181"/>
                    </a:moveTo>
                    <a:cubicBezTo>
                      <a:pt x="244" y="183"/>
                      <a:pt x="244" y="183"/>
                      <a:pt x="244" y="183"/>
                    </a:cubicBezTo>
                    <a:cubicBezTo>
                      <a:pt x="243" y="188"/>
                      <a:pt x="243" y="188"/>
                      <a:pt x="243" y="188"/>
                    </a:cubicBezTo>
                    <a:cubicBezTo>
                      <a:pt x="242" y="187"/>
                      <a:pt x="242" y="187"/>
                      <a:pt x="242" y="187"/>
                    </a:cubicBezTo>
                    <a:cubicBezTo>
                      <a:pt x="242" y="185"/>
                      <a:pt x="242" y="185"/>
                      <a:pt x="242" y="185"/>
                    </a:cubicBezTo>
                    <a:cubicBezTo>
                      <a:pt x="241" y="185"/>
                      <a:pt x="241" y="185"/>
                      <a:pt x="241" y="185"/>
                    </a:cubicBezTo>
                    <a:cubicBezTo>
                      <a:pt x="238" y="185"/>
                      <a:pt x="238" y="185"/>
                      <a:pt x="238" y="185"/>
                    </a:cubicBezTo>
                    <a:cubicBezTo>
                      <a:pt x="236" y="184"/>
                      <a:pt x="236" y="184"/>
                      <a:pt x="236" y="184"/>
                    </a:cubicBezTo>
                    <a:cubicBezTo>
                      <a:pt x="237" y="183"/>
                      <a:pt x="237" y="183"/>
                      <a:pt x="237" y="183"/>
                    </a:cubicBezTo>
                    <a:cubicBezTo>
                      <a:pt x="242" y="177"/>
                      <a:pt x="242" y="177"/>
                      <a:pt x="242" y="177"/>
                    </a:cubicBezTo>
                    <a:cubicBezTo>
                      <a:pt x="244" y="176"/>
                      <a:pt x="244" y="176"/>
                      <a:pt x="244" y="176"/>
                    </a:cubicBezTo>
                    <a:cubicBezTo>
                      <a:pt x="245" y="177"/>
                      <a:pt x="245" y="177"/>
                      <a:pt x="245" y="177"/>
                    </a:cubicBezTo>
                    <a:cubicBezTo>
                      <a:pt x="245" y="181"/>
                      <a:pt x="245" y="181"/>
                      <a:pt x="245" y="181"/>
                    </a:cubicBezTo>
                    <a:close/>
                    <a:moveTo>
                      <a:pt x="246" y="181"/>
                    </a:moveTo>
                    <a:cubicBezTo>
                      <a:pt x="246" y="181"/>
                      <a:pt x="247" y="180"/>
                      <a:pt x="247" y="180"/>
                    </a:cubicBezTo>
                    <a:cubicBezTo>
                      <a:pt x="248" y="179"/>
                      <a:pt x="248" y="179"/>
                      <a:pt x="248" y="179"/>
                    </a:cubicBezTo>
                    <a:cubicBezTo>
                      <a:pt x="246" y="178"/>
                      <a:pt x="246" y="178"/>
                      <a:pt x="246" y="178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5" y="174"/>
                      <a:pt x="245" y="174"/>
                      <a:pt x="245" y="174"/>
                    </a:cubicBezTo>
                    <a:cubicBezTo>
                      <a:pt x="246" y="173"/>
                      <a:pt x="246" y="173"/>
                      <a:pt x="246" y="173"/>
                    </a:cubicBezTo>
                    <a:cubicBezTo>
                      <a:pt x="250" y="173"/>
                      <a:pt x="250" y="173"/>
                      <a:pt x="250" y="173"/>
                    </a:cubicBezTo>
                    <a:cubicBezTo>
                      <a:pt x="253" y="175"/>
                      <a:pt x="253" y="175"/>
                      <a:pt x="253" y="175"/>
                    </a:cubicBezTo>
                    <a:cubicBezTo>
                      <a:pt x="254" y="177"/>
                      <a:pt x="254" y="177"/>
                      <a:pt x="254" y="177"/>
                    </a:cubicBezTo>
                    <a:cubicBezTo>
                      <a:pt x="252" y="178"/>
                      <a:pt x="252" y="178"/>
                      <a:pt x="252" y="178"/>
                    </a:cubicBezTo>
                    <a:cubicBezTo>
                      <a:pt x="248" y="181"/>
                      <a:pt x="248" y="181"/>
                      <a:pt x="248" y="181"/>
                    </a:cubicBezTo>
                    <a:cubicBezTo>
                      <a:pt x="246" y="181"/>
                      <a:pt x="246" y="181"/>
                      <a:pt x="246" y="181"/>
                    </a:cubicBezTo>
                    <a:close/>
                    <a:moveTo>
                      <a:pt x="265" y="168"/>
                    </a:moveTo>
                    <a:cubicBezTo>
                      <a:pt x="266" y="168"/>
                      <a:pt x="266" y="168"/>
                      <a:pt x="266" y="168"/>
                    </a:cubicBezTo>
                    <a:cubicBezTo>
                      <a:pt x="268" y="167"/>
                      <a:pt x="268" y="167"/>
                      <a:pt x="268" y="167"/>
                    </a:cubicBezTo>
                    <a:cubicBezTo>
                      <a:pt x="269" y="169"/>
                      <a:pt x="269" y="169"/>
                      <a:pt x="269" y="169"/>
                    </a:cubicBezTo>
                    <a:cubicBezTo>
                      <a:pt x="269" y="170"/>
                      <a:pt x="269" y="170"/>
                      <a:pt x="269" y="170"/>
                    </a:cubicBezTo>
                    <a:cubicBezTo>
                      <a:pt x="267" y="171"/>
                      <a:pt x="267" y="171"/>
                      <a:pt x="267" y="171"/>
                    </a:cubicBezTo>
                    <a:cubicBezTo>
                      <a:pt x="265" y="168"/>
                      <a:pt x="265" y="168"/>
                      <a:pt x="265" y="168"/>
                    </a:cubicBezTo>
                    <a:close/>
                    <a:moveTo>
                      <a:pt x="364" y="264"/>
                    </a:moveTo>
                    <a:cubicBezTo>
                      <a:pt x="365" y="263"/>
                      <a:pt x="365" y="263"/>
                      <a:pt x="365" y="263"/>
                    </a:cubicBezTo>
                    <a:cubicBezTo>
                      <a:pt x="366" y="263"/>
                      <a:pt x="366" y="263"/>
                      <a:pt x="366" y="263"/>
                    </a:cubicBezTo>
                    <a:cubicBezTo>
                      <a:pt x="365" y="264"/>
                      <a:pt x="365" y="264"/>
                      <a:pt x="365" y="264"/>
                    </a:cubicBezTo>
                    <a:cubicBezTo>
                      <a:pt x="364" y="264"/>
                      <a:pt x="364" y="264"/>
                      <a:pt x="364" y="264"/>
                    </a:cubicBezTo>
                    <a:close/>
                    <a:moveTo>
                      <a:pt x="354" y="293"/>
                    </a:moveTo>
                    <a:cubicBezTo>
                      <a:pt x="356" y="292"/>
                      <a:pt x="356" y="292"/>
                      <a:pt x="356" y="292"/>
                    </a:cubicBezTo>
                    <a:cubicBezTo>
                      <a:pt x="357" y="293"/>
                      <a:pt x="357" y="293"/>
                      <a:pt x="357" y="293"/>
                    </a:cubicBezTo>
                    <a:cubicBezTo>
                      <a:pt x="354" y="293"/>
                      <a:pt x="354" y="293"/>
                      <a:pt x="354" y="293"/>
                    </a:cubicBezTo>
                    <a:close/>
                    <a:moveTo>
                      <a:pt x="376" y="288"/>
                    </a:moveTo>
                    <a:cubicBezTo>
                      <a:pt x="378" y="287"/>
                      <a:pt x="378" y="287"/>
                      <a:pt x="378" y="287"/>
                    </a:cubicBezTo>
                    <a:cubicBezTo>
                      <a:pt x="379" y="287"/>
                      <a:pt x="379" y="287"/>
                      <a:pt x="379" y="287"/>
                    </a:cubicBezTo>
                    <a:cubicBezTo>
                      <a:pt x="377" y="289"/>
                      <a:pt x="377" y="289"/>
                      <a:pt x="377" y="289"/>
                    </a:cubicBezTo>
                    <a:cubicBezTo>
                      <a:pt x="376" y="290"/>
                      <a:pt x="376" y="290"/>
                      <a:pt x="376" y="290"/>
                    </a:cubicBezTo>
                    <a:cubicBezTo>
                      <a:pt x="376" y="288"/>
                      <a:pt x="376" y="288"/>
                      <a:pt x="376" y="288"/>
                    </a:cubicBezTo>
                    <a:close/>
                    <a:moveTo>
                      <a:pt x="360" y="268"/>
                    </a:moveTo>
                    <a:cubicBezTo>
                      <a:pt x="360" y="266"/>
                      <a:pt x="360" y="266"/>
                      <a:pt x="360" y="266"/>
                    </a:cubicBezTo>
                    <a:cubicBezTo>
                      <a:pt x="362" y="267"/>
                      <a:pt x="362" y="267"/>
                      <a:pt x="362" y="267"/>
                    </a:cubicBezTo>
                    <a:cubicBezTo>
                      <a:pt x="362" y="268"/>
                      <a:pt x="362" y="268"/>
                      <a:pt x="362" y="268"/>
                    </a:cubicBezTo>
                    <a:cubicBezTo>
                      <a:pt x="360" y="268"/>
                      <a:pt x="360" y="268"/>
                      <a:pt x="360" y="268"/>
                    </a:cubicBezTo>
                    <a:close/>
                    <a:moveTo>
                      <a:pt x="363" y="276"/>
                    </a:moveTo>
                    <a:cubicBezTo>
                      <a:pt x="363" y="273"/>
                      <a:pt x="363" y="273"/>
                      <a:pt x="363" y="273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365" y="272"/>
                      <a:pt x="365" y="272"/>
                      <a:pt x="365" y="272"/>
                    </a:cubicBezTo>
                    <a:cubicBezTo>
                      <a:pt x="365" y="274"/>
                      <a:pt x="365" y="274"/>
                      <a:pt x="365" y="274"/>
                    </a:cubicBezTo>
                    <a:cubicBezTo>
                      <a:pt x="366" y="274"/>
                      <a:pt x="366" y="274"/>
                      <a:pt x="366" y="274"/>
                    </a:cubicBezTo>
                    <a:cubicBezTo>
                      <a:pt x="367" y="275"/>
                      <a:pt x="367" y="275"/>
                      <a:pt x="367" y="275"/>
                    </a:cubicBezTo>
                    <a:cubicBezTo>
                      <a:pt x="365" y="276"/>
                      <a:pt x="365" y="276"/>
                      <a:pt x="365" y="276"/>
                    </a:cubicBezTo>
                    <a:cubicBezTo>
                      <a:pt x="363" y="276"/>
                      <a:pt x="363" y="276"/>
                      <a:pt x="363" y="276"/>
                    </a:cubicBezTo>
                    <a:close/>
                    <a:moveTo>
                      <a:pt x="347" y="284"/>
                    </a:moveTo>
                    <a:cubicBezTo>
                      <a:pt x="349" y="283"/>
                      <a:pt x="349" y="283"/>
                      <a:pt x="349" y="283"/>
                    </a:cubicBezTo>
                    <a:cubicBezTo>
                      <a:pt x="349" y="283"/>
                      <a:pt x="349" y="283"/>
                      <a:pt x="349" y="283"/>
                    </a:cubicBezTo>
                    <a:cubicBezTo>
                      <a:pt x="350" y="282"/>
                      <a:pt x="350" y="282"/>
                      <a:pt x="350" y="282"/>
                    </a:cubicBezTo>
                    <a:cubicBezTo>
                      <a:pt x="353" y="279"/>
                      <a:pt x="353" y="279"/>
                      <a:pt x="353" y="279"/>
                    </a:cubicBezTo>
                    <a:cubicBezTo>
                      <a:pt x="355" y="278"/>
                      <a:pt x="355" y="278"/>
                      <a:pt x="355" y="278"/>
                    </a:cubicBezTo>
                    <a:cubicBezTo>
                      <a:pt x="357" y="276"/>
                      <a:pt x="357" y="276"/>
                      <a:pt x="357" y="276"/>
                    </a:cubicBezTo>
                    <a:cubicBezTo>
                      <a:pt x="358" y="276"/>
                      <a:pt x="358" y="276"/>
                      <a:pt x="358" y="276"/>
                    </a:cubicBezTo>
                    <a:cubicBezTo>
                      <a:pt x="359" y="273"/>
                      <a:pt x="359" y="273"/>
                      <a:pt x="359" y="273"/>
                    </a:cubicBezTo>
                    <a:cubicBezTo>
                      <a:pt x="360" y="274"/>
                      <a:pt x="360" y="274"/>
                      <a:pt x="360" y="274"/>
                    </a:cubicBezTo>
                    <a:cubicBezTo>
                      <a:pt x="359" y="275"/>
                      <a:pt x="359" y="275"/>
                      <a:pt x="359" y="275"/>
                    </a:cubicBezTo>
                    <a:cubicBezTo>
                      <a:pt x="360" y="276"/>
                      <a:pt x="360" y="276"/>
                      <a:pt x="360" y="276"/>
                    </a:cubicBezTo>
                    <a:cubicBezTo>
                      <a:pt x="359" y="277"/>
                      <a:pt x="359" y="277"/>
                      <a:pt x="359" y="277"/>
                    </a:cubicBezTo>
                    <a:cubicBezTo>
                      <a:pt x="357" y="278"/>
                      <a:pt x="357" y="278"/>
                      <a:pt x="357" y="278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52" y="282"/>
                      <a:pt x="352" y="282"/>
                      <a:pt x="352" y="282"/>
                    </a:cubicBezTo>
                    <a:cubicBezTo>
                      <a:pt x="353" y="283"/>
                      <a:pt x="353" y="283"/>
                      <a:pt x="353" y="283"/>
                    </a:cubicBezTo>
                    <a:cubicBezTo>
                      <a:pt x="352" y="284"/>
                      <a:pt x="352" y="284"/>
                      <a:pt x="352" y="284"/>
                    </a:cubicBezTo>
                    <a:cubicBezTo>
                      <a:pt x="350" y="284"/>
                      <a:pt x="350" y="284"/>
                      <a:pt x="350" y="284"/>
                    </a:cubicBezTo>
                    <a:cubicBezTo>
                      <a:pt x="349" y="285"/>
                      <a:pt x="349" y="285"/>
                      <a:pt x="349" y="285"/>
                    </a:cubicBezTo>
                    <a:cubicBezTo>
                      <a:pt x="347" y="285"/>
                      <a:pt x="347" y="285"/>
                      <a:pt x="347" y="285"/>
                    </a:cubicBezTo>
                    <a:cubicBezTo>
                      <a:pt x="347" y="284"/>
                      <a:pt x="347" y="284"/>
                      <a:pt x="347" y="284"/>
                    </a:cubicBezTo>
                    <a:close/>
                    <a:moveTo>
                      <a:pt x="347" y="280"/>
                    </a:moveTo>
                    <a:cubicBezTo>
                      <a:pt x="349" y="278"/>
                      <a:pt x="349" y="278"/>
                      <a:pt x="349" y="278"/>
                    </a:cubicBezTo>
                    <a:cubicBezTo>
                      <a:pt x="349" y="279"/>
                      <a:pt x="349" y="279"/>
                      <a:pt x="349" y="279"/>
                    </a:cubicBezTo>
                    <a:cubicBezTo>
                      <a:pt x="348" y="280"/>
                      <a:pt x="348" y="280"/>
                      <a:pt x="348" y="280"/>
                    </a:cubicBezTo>
                    <a:cubicBezTo>
                      <a:pt x="348" y="280"/>
                      <a:pt x="347" y="280"/>
                      <a:pt x="347" y="280"/>
                    </a:cubicBezTo>
                    <a:close/>
                    <a:moveTo>
                      <a:pt x="352" y="275"/>
                    </a:moveTo>
                    <a:cubicBezTo>
                      <a:pt x="354" y="272"/>
                      <a:pt x="354" y="272"/>
                      <a:pt x="354" y="272"/>
                    </a:cubicBezTo>
                    <a:cubicBezTo>
                      <a:pt x="354" y="271"/>
                      <a:pt x="354" y="271"/>
                      <a:pt x="354" y="271"/>
                    </a:cubicBezTo>
                    <a:cubicBezTo>
                      <a:pt x="356" y="270"/>
                      <a:pt x="356" y="270"/>
                      <a:pt x="356" y="270"/>
                    </a:cubicBezTo>
                    <a:cubicBezTo>
                      <a:pt x="357" y="270"/>
                      <a:pt x="357" y="270"/>
                      <a:pt x="357" y="270"/>
                    </a:cubicBezTo>
                    <a:cubicBezTo>
                      <a:pt x="357" y="271"/>
                      <a:pt x="357" y="271"/>
                      <a:pt x="357" y="271"/>
                    </a:cubicBezTo>
                    <a:cubicBezTo>
                      <a:pt x="356" y="272"/>
                      <a:pt x="356" y="272"/>
                      <a:pt x="356" y="272"/>
                    </a:cubicBezTo>
                    <a:cubicBezTo>
                      <a:pt x="355" y="274"/>
                      <a:pt x="355" y="274"/>
                      <a:pt x="355" y="274"/>
                    </a:cubicBezTo>
                    <a:cubicBezTo>
                      <a:pt x="353" y="275"/>
                      <a:pt x="353" y="275"/>
                      <a:pt x="353" y="275"/>
                    </a:cubicBezTo>
                    <a:cubicBezTo>
                      <a:pt x="353" y="276"/>
                      <a:pt x="353" y="276"/>
                      <a:pt x="353" y="276"/>
                    </a:cubicBezTo>
                    <a:cubicBezTo>
                      <a:pt x="352" y="276"/>
                      <a:pt x="352" y="276"/>
                      <a:pt x="352" y="276"/>
                    </a:cubicBezTo>
                    <a:cubicBezTo>
                      <a:pt x="352" y="275"/>
                      <a:pt x="352" y="275"/>
                      <a:pt x="352" y="275"/>
                    </a:cubicBezTo>
                    <a:close/>
                    <a:moveTo>
                      <a:pt x="354" y="263"/>
                    </a:moveTo>
                    <a:cubicBezTo>
                      <a:pt x="355" y="261"/>
                      <a:pt x="355" y="261"/>
                      <a:pt x="355" y="261"/>
                    </a:cubicBezTo>
                    <a:cubicBezTo>
                      <a:pt x="357" y="262"/>
                      <a:pt x="357" y="262"/>
                      <a:pt x="357" y="262"/>
                    </a:cubicBezTo>
                    <a:cubicBezTo>
                      <a:pt x="356" y="263"/>
                      <a:pt x="356" y="263"/>
                      <a:pt x="356" y="263"/>
                    </a:cubicBezTo>
                    <a:cubicBezTo>
                      <a:pt x="357" y="264"/>
                      <a:pt x="357" y="264"/>
                      <a:pt x="357" y="264"/>
                    </a:cubicBezTo>
                    <a:cubicBezTo>
                      <a:pt x="356" y="265"/>
                      <a:pt x="356" y="265"/>
                      <a:pt x="356" y="265"/>
                    </a:cubicBezTo>
                    <a:cubicBezTo>
                      <a:pt x="354" y="263"/>
                      <a:pt x="354" y="263"/>
                      <a:pt x="354" y="263"/>
                    </a:cubicBezTo>
                    <a:close/>
                    <a:moveTo>
                      <a:pt x="238" y="125"/>
                    </a:moveTo>
                    <a:cubicBezTo>
                      <a:pt x="238" y="125"/>
                      <a:pt x="239" y="124"/>
                      <a:pt x="239" y="124"/>
                    </a:cubicBezTo>
                    <a:cubicBezTo>
                      <a:pt x="241" y="125"/>
                      <a:pt x="241" y="125"/>
                      <a:pt x="241" y="125"/>
                    </a:cubicBezTo>
                    <a:cubicBezTo>
                      <a:pt x="239" y="126"/>
                      <a:pt x="239" y="126"/>
                      <a:pt x="239" y="126"/>
                    </a:cubicBezTo>
                    <a:cubicBezTo>
                      <a:pt x="238" y="125"/>
                      <a:pt x="238" y="125"/>
                      <a:pt x="238" y="125"/>
                    </a:cubicBezTo>
                    <a:close/>
                    <a:moveTo>
                      <a:pt x="200" y="166"/>
                    </a:move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01" y="161"/>
                      <a:pt x="201" y="161"/>
                      <a:pt x="201" y="161"/>
                    </a:cubicBezTo>
                    <a:cubicBezTo>
                      <a:pt x="199" y="160"/>
                      <a:pt x="199" y="160"/>
                      <a:pt x="199" y="160"/>
                    </a:cubicBezTo>
                    <a:cubicBezTo>
                      <a:pt x="200" y="158"/>
                      <a:pt x="200" y="158"/>
                      <a:pt x="200" y="158"/>
                    </a:cubicBezTo>
                    <a:cubicBezTo>
                      <a:pt x="199" y="154"/>
                      <a:pt x="199" y="154"/>
                      <a:pt x="199" y="154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4" y="153"/>
                      <a:pt x="194" y="153"/>
                      <a:pt x="194" y="153"/>
                    </a:cubicBezTo>
                    <a:cubicBezTo>
                      <a:pt x="193" y="154"/>
                      <a:pt x="193" y="154"/>
                      <a:pt x="193" y="154"/>
                    </a:cubicBezTo>
                    <a:cubicBezTo>
                      <a:pt x="191" y="154"/>
                      <a:pt x="191" y="154"/>
                      <a:pt x="191" y="154"/>
                    </a:cubicBezTo>
                    <a:cubicBezTo>
                      <a:pt x="189" y="152"/>
                      <a:pt x="189" y="152"/>
                      <a:pt x="189" y="152"/>
                    </a:cubicBezTo>
                    <a:cubicBezTo>
                      <a:pt x="189" y="149"/>
                      <a:pt x="189" y="149"/>
                      <a:pt x="189" y="149"/>
                    </a:cubicBezTo>
                    <a:cubicBezTo>
                      <a:pt x="194" y="145"/>
                      <a:pt x="194" y="145"/>
                      <a:pt x="194" y="145"/>
                    </a:cubicBezTo>
                    <a:cubicBezTo>
                      <a:pt x="195" y="141"/>
                      <a:pt x="195" y="141"/>
                      <a:pt x="195" y="141"/>
                    </a:cubicBezTo>
                    <a:cubicBezTo>
                      <a:pt x="196" y="141"/>
                      <a:pt x="196" y="141"/>
                      <a:pt x="196" y="141"/>
                    </a:cubicBezTo>
                    <a:cubicBezTo>
                      <a:pt x="196" y="145"/>
                      <a:pt x="196" y="145"/>
                      <a:pt x="196" y="145"/>
                    </a:cubicBezTo>
                    <a:cubicBezTo>
                      <a:pt x="195" y="146"/>
                      <a:pt x="195" y="146"/>
                      <a:pt x="195" y="146"/>
                    </a:cubicBezTo>
                    <a:cubicBezTo>
                      <a:pt x="198" y="147"/>
                      <a:pt x="198" y="147"/>
                      <a:pt x="198" y="147"/>
                    </a:cubicBezTo>
                    <a:cubicBezTo>
                      <a:pt x="198" y="149"/>
                      <a:pt x="198" y="149"/>
                      <a:pt x="198" y="149"/>
                    </a:cubicBezTo>
                    <a:cubicBezTo>
                      <a:pt x="200" y="149"/>
                      <a:pt x="200" y="149"/>
                      <a:pt x="200" y="149"/>
                    </a:cubicBezTo>
                    <a:cubicBezTo>
                      <a:pt x="201" y="148"/>
                      <a:pt x="201" y="148"/>
                      <a:pt x="201" y="148"/>
                    </a:cubicBezTo>
                    <a:cubicBezTo>
                      <a:pt x="205" y="148"/>
                      <a:pt x="205" y="148"/>
                      <a:pt x="205" y="148"/>
                    </a:cubicBezTo>
                    <a:cubicBezTo>
                      <a:pt x="207" y="150"/>
                      <a:pt x="207" y="150"/>
                      <a:pt x="207" y="150"/>
                    </a:cubicBezTo>
                    <a:cubicBezTo>
                      <a:pt x="206" y="151"/>
                      <a:pt x="206" y="151"/>
                      <a:pt x="206" y="151"/>
                    </a:cubicBezTo>
                    <a:cubicBezTo>
                      <a:pt x="205" y="152"/>
                      <a:pt x="205" y="152"/>
                      <a:pt x="205" y="152"/>
                    </a:cubicBezTo>
                    <a:cubicBezTo>
                      <a:pt x="206" y="155"/>
                      <a:pt x="206" y="155"/>
                      <a:pt x="206" y="155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12" y="162"/>
                      <a:pt x="212" y="162"/>
                      <a:pt x="212" y="162"/>
                    </a:cubicBezTo>
                    <a:cubicBezTo>
                      <a:pt x="212" y="164"/>
                      <a:pt x="212" y="164"/>
                      <a:pt x="212" y="164"/>
                    </a:cubicBezTo>
                    <a:cubicBezTo>
                      <a:pt x="211" y="165"/>
                      <a:pt x="211" y="165"/>
                      <a:pt x="211" y="165"/>
                    </a:cubicBezTo>
                    <a:cubicBezTo>
                      <a:pt x="208" y="163"/>
                      <a:pt x="208" y="163"/>
                      <a:pt x="208" y="163"/>
                    </a:cubicBezTo>
                    <a:cubicBezTo>
                      <a:pt x="207" y="164"/>
                      <a:pt x="207" y="164"/>
                      <a:pt x="207" y="164"/>
                    </a:cubicBezTo>
                    <a:cubicBezTo>
                      <a:pt x="206" y="165"/>
                      <a:pt x="206" y="165"/>
                      <a:pt x="206" y="165"/>
                    </a:cubicBezTo>
                    <a:cubicBezTo>
                      <a:pt x="205" y="165"/>
                      <a:pt x="205" y="165"/>
                      <a:pt x="205" y="165"/>
                    </a:cubicBezTo>
                    <a:cubicBezTo>
                      <a:pt x="202" y="167"/>
                      <a:pt x="202" y="167"/>
                      <a:pt x="202" y="167"/>
                    </a:cubicBezTo>
                    <a:cubicBezTo>
                      <a:pt x="200" y="166"/>
                      <a:pt x="200" y="166"/>
                      <a:pt x="200" y="166"/>
                    </a:cubicBezTo>
                    <a:close/>
                    <a:moveTo>
                      <a:pt x="187" y="233"/>
                    </a:moveTo>
                    <a:cubicBezTo>
                      <a:pt x="190" y="233"/>
                      <a:pt x="190" y="233"/>
                      <a:pt x="190" y="233"/>
                    </a:cubicBezTo>
                    <a:cubicBezTo>
                      <a:pt x="192" y="234"/>
                      <a:pt x="192" y="234"/>
                      <a:pt x="192" y="234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5" y="235"/>
                      <a:pt x="195" y="235"/>
                    </a:cubicBezTo>
                    <a:cubicBezTo>
                      <a:pt x="198" y="232"/>
                      <a:pt x="198" y="232"/>
                      <a:pt x="198" y="232"/>
                    </a:cubicBezTo>
                    <a:cubicBezTo>
                      <a:pt x="200" y="232"/>
                      <a:pt x="200" y="232"/>
                      <a:pt x="200" y="232"/>
                    </a:cubicBezTo>
                    <a:cubicBezTo>
                      <a:pt x="200" y="233"/>
                      <a:pt x="200" y="233"/>
                      <a:pt x="200" y="233"/>
                    </a:cubicBezTo>
                    <a:cubicBezTo>
                      <a:pt x="202" y="235"/>
                      <a:pt x="202" y="235"/>
                      <a:pt x="202" y="235"/>
                    </a:cubicBezTo>
                    <a:cubicBezTo>
                      <a:pt x="202" y="237"/>
                      <a:pt x="202" y="237"/>
                      <a:pt x="202" y="237"/>
                    </a:cubicBezTo>
                    <a:cubicBezTo>
                      <a:pt x="201" y="239"/>
                      <a:pt x="201" y="239"/>
                      <a:pt x="201" y="239"/>
                    </a:cubicBezTo>
                    <a:cubicBezTo>
                      <a:pt x="200" y="242"/>
                      <a:pt x="200" y="242"/>
                      <a:pt x="200" y="242"/>
                    </a:cubicBezTo>
                    <a:cubicBezTo>
                      <a:pt x="197" y="242"/>
                      <a:pt x="197" y="242"/>
                      <a:pt x="197" y="242"/>
                    </a:cubicBezTo>
                    <a:cubicBezTo>
                      <a:pt x="196" y="241"/>
                      <a:pt x="196" y="241"/>
                      <a:pt x="196" y="241"/>
                    </a:cubicBezTo>
                    <a:cubicBezTo>
                      <a:pt x="194" y="242"/>
                      <a:pt x="194" y="242"/>
                      <a:pt x="194" y="242"/>
                    </a:cubicBezTo>
                    <a:cubicBezTo>
                      <a:pt x="192" y="241"/>
                      <a:pt x="192" y="241"/>
                      <a:pt x="192" y="241"/>
                    </a:cubicBezTo>
                    <a:cubicBezTo>
                      <a:pt x="190" y="241"/>
                      <a:pt x="190" y="241"/>
                      <a:pt x="190" y="241"/>
                    </a:cubicBezTo>
                    <a:cubicBezTo>
                      <a:pt x="188" y="237"/>
                      <a:pt x="188" y="237"/>
                      <a:pt x="188" y="237"/>
                    </a:cubicBezTo>
                    <a:cubicBezTo>
                      <a:pt x="187" y="233"/>
                      <a:pt x="187" y="233"/>
                      <a:pt x="187" y="233"/>
                    </a:cubicBezTo>
                    <a:close/>
                    <a:moveTo>
                      <a:pt x="316" y="264"/>
                    </a:moveTo>
                    <a:cubicBezTo>
                      <a:pt x="318" y="261"/>
                      <a:pt x="318" y="261"/>
                      <a:pt x="318" y="261"/>
                    </a:cubicBezTo>
                    <a:cubicBezTo>
                      <a:pt x="320" y="261"/>
                      <a:pt x="320" y="261"/>
                      <a:pt x="320" y="261"/>
                    </a:cubicBezTo>
                    <a:cubicBezTo>
                      <a:pt x="320" y="262"/>
                      <a:pt x="320" y="262"/>
                      <a:pt x="320" y="262"/>
                    </a:cubicBezTo>
                    <a:cubicBezTo>
                      <a:pt x="317" y="264"/>
                      <a:pt x="317" y="264"/>
                      <a:pt x="317" y="264"/>
                    </a:cubicBezTo>
                    <a:cubicBezTo>
                      <a:pt x="316" y="264"/>
                      <a:pt x="316" y="264"/>
                      <a:pt x="316" y="264"/>
                    </a:cubicBezTo>
                    <a:close/>
                    <a:moveTo>
                      <a:pt x="295" y="278"/>
                    </a:moveTo>
                    <a:cubicBezTo>
                      <a:pt x="297" y="277"/>
                      <a:pt x="297" y="277"/>
                      <a:pt x="297" y="277"/>
                    </a:cubicBezTo>
                    <a:cubicBezTo>
                      <a:pt x="298" y="278"/>
                      <a:pt x="298" y="278"/>
                      <a:pt x="298" y="278"/>
                    </a:cubicBezTo>
                    <a:cubicBezTo>
                      <a:pt x="297" y="279"/>
                      <a:pt x="297" y="279"/>
                      <a:pt x="297" y="279"/>
                    </a:cubicBezTo>
                    <a:cubicBezTo>
                      <a:pt x="295" y="278"/>
                      <a:pt x="295" y="278"/>
                      <a:pt x="295" y="278"/>
                    </a:cubicBezTo>
                    <a:close/>
                    <a:moveTo>
                      <a:pt x="296" y="295"/>
                    </a:moveTo>
                    <a:cubicBezTo>
                      <a:pt x="296" y="294"/>
                      <a:pt x="296" y="294"/>
                      <a:pt x="296" y="294"/>
                    </a:cubicBezTo>
                    <a:cubicBezTo>
                      <a:pt x="298" y="295"/>
                      <a:pt x="298" y="295"/>
                      <a:pt x="298" y="295"/>
                    </a:cubicBezTo>
                    <a:cubicBezTo>
                      <a:pt x="298" y="296"/>
                      <a:pt x="298" y="296"/>
                      <a:pt x="298" y="296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295" y="296"/>
                      <a:pt x="295" y="296"/>
                      <a:pt x="295" y="296"/>
                    </a:cubicBezTo>
                    <a:cubicBezTo>
                      <a:pt x="296" y="295"/>
                      <a:pt x="296" y="295"/>
                      <a:pt x="296" y="295"/>
                    </a:cubicBezTo>
                    <a:close/>
                    <a:moveTo>
                      <a:pt x="288" y="304"/>
                    </a:moveTo>
                    <a:cubicBezTo>
                      <a:pt x="287" y="303"/>
                      <a:pt x="287" y="303"/>
                      <a:pt x="287" y="303"/>
                    </a:cubicBezTo>
                    <a:cubicBezTo>
                      <a:pt x="288" y="302"/>
                      <a:pt x="288" y="302"/>
                      <a:pt x="288" y="302"/>
                    </a:cubicBezTo>
                    <a:cubicBezTo>
                      <a:pt x="289" y="303"/>
                      <a:pt x="289" y="303"/>
                      <a:pt x="289" y="303"/>
                    </a:cubicBezTo>
                    <a:cubicBezTo>
                      <a:pt x="290" y="302"/>
                      <a:pt x="290" y="302"/>
                      <a:pt x="290" y="302"/>
                    </a:cubicBezTo>
                    <a:cubicBezTo>
                      <a:pt x="291" y="303"/>
                      <a:pt x="291" y="303"/>
                      <a:pt x="291" y="303"/>
                    </a:cubicBezTo>
                    <a:cubicBezTo>
                      <a:pt x="292" y="301"/>
                      <a:pt x="292" y="301"/>
                      <a:pt x="292" y="301"/>
                    </a:cubicBezTo>
                    <a:cubicBezTo>
                      <a:pt x="292" y="300"/>
                      <a:pt x="292" y="300"/>
                      <a:pt x="292" y="300"/>
                    </a:cubicBezTo>
                    <a:cubicBezTo>
                      <a:pt x="292" y="299"/>
                      <a:pt x="292" y="299"/>
                      <a:pt x="292" y="299"/>
                    </a:cubicBezTo>
                    <a:cubicBezTo>
                      <a:pt x="294" y="298"/>
                      <a:pt x="294" y="298"/>
                      <a:pt x="294" y="298"/>
                    </a:cubicBezTo>
                    <a:cubicBezTo>
                      <a:pt x="295" y="299"/>
                      <a:pt x="295" y="299"/>
                      <a:pt x="295" y="299"/>
                    </a:cubicBezTo>
                    <a:cubicBezTo>
                      <a:pt x="295" y="300"/>
                      <a:pt x="295" y="300"/>
                      <a:pt x="295" y="300"/>
                    </a:cubicBezTo>
                    <a:cubicBezTo>
                      <a:pt x="296" y="301"/>
                      <a:pt x="296" y="301"/>
                      <a:pt x="296" y="301"/>
                    </a:cubicBez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8" y="299"/>
                      <a:pt x="298" y="299"/>
                      <a:pt x="298" y="299"/>
                    </a:cubicBezTo>
                    <a:cubicBezTo>
                      <a:pt x="298" y="301"/>
                      <a:pt x="298" y="301"/>
                      <a:pt x="298" y="301"/>
                    </a:cubicBezTo>
                    <a:cubicBezTo>
                      <a:pt x="297" y="302"/>
                      <a:pt x="297" y="302"/>
                      <a:pt x="297" y="302"/>
                    </a:cubicBez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8" y="304"/>
                      <a:pt x="298" y="304"/>
                      <a:pt x="298" y="304"/>
                    </a:cubicBezTo>
                    <a:cubicBezTo>
                      <a:pt x="298" y="305"/>
                      <a:pt x="298" y="305"/>
                      <a:pt x="298" y="305"/>
                    </a:cubicBezTo>
                    <a:cubicBezTo>
                      <a:pt x="297" y="305"/>
                      <a:pt x="297" y="305"/>
                      <a:pt x="297" y="305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4" y="306"/>
                      <a:pt x="294" y="306"/>
                      <a:pt x="294" y="306"/>
                    </a:cubicBezTo>
                    <a:cubicBezTo>
                      <a:pt x="293" y="306"/>
                      <a:pt x="293" y="306"/>
                      <a:pt x="293" y="306"/>
                    </a:cubicBezTo>
                    <a:cubicBezTo>
                      <a:pt x="293" y="305"/>
                      <a:pt x="293" y="305"/>
                      <a:pt x="293" y="305"/>
                    </a:cubicBezTo>
                    <a:cubicBezTo>
                      <a:pt x="291" y="306"/>
                      <a:pt x="291" y="306"/>
                      <a:pt x="291" y="306"/>
                    </a:cubicBezTo>
                    <a:cubicBezTo>
                      <a:pt x="290" y="306"/>
                      <a:pt x="290" y="306"/>
                      <a:pt x="290" y="306"/>
                    </a:cubicBezTo>
                    <a:cubicBezTo>
                      <a:pt x="288" y="304"/>
                      <a:pt x="288" y="304"/>
                      <a:pt x="288" y="304"/>
                    </a:cubicBezTo>
                    <a:close/>
                    <a:moveTo>
                      <a:pt x="267" y="325"/>
                    </a:moveTo>
                    <a:cubicBezTo>
                      <a:pt x="267" y="326"/>
                      <a:pt x="267" y="326"/>
                      <a:pt x="267" y="326"/>
                    </a:cubicBezTo>
                    <a:cubicBezTo>
                      <a:pt x="266" y="326"/>
                      <a:pt x="266" y="326"/>
                      <a:pt x="266" y="326"/>
                    </a:cubicBezTo>
                    <a:cubicBezTo>
                      <a:pt x="265" y="326"/>
                      <a:pt x="265" y="326"/>
                      <a:pt x="265" y="326"/>
                    </a:cubicBezTo>
                    <a:cubicBezTo>
                      <a:pt x="264" y="324"/>
                      <a:pt x="264" y="324"/>
                      <a:pt x="264" y="324"/>
                    </a:cubicBezTo>
                    <a:cubicBezTo>
                      <a:pt x="265" y="322"/>
                      <a:pt x="265" y="322"/>
                      <a:pt x="265" y="322"/>
                    </a:cubicBezTo>
                    <a:cubicBezTo>
                      <a:pt x="266" y="320"/>
                      <a:pt x="266" y="320"/>
                      <a:pt x="266" y="320"/>
                    </a:cubicBezTo>
                    <a:cubicBezTo>
                      <a:pt x="266" y="318"/>
                      <a:pt x="266" y="318"/>
                      <a:pt x="266" y="318"/>
                    </a:cubicBezTo>
                    <a:cubicBezTo>
                      <a:pt x="265" y="317"/>
                      <a:pt x="265" y="317"/>
                      <a:pt x="265" y="317"/>
                    </a:cubicBezTo>
                    <a:cubicBezTo>
                      <a:pt x="266" y="316"/>
                      <a:pt x="266" y="316"/>
                      <a:pt x="266" y="316"/>
                    </a:cubicBezTo>
                    <a:cubicBezTo>
                      <a:pt x="268" y="314"/>
                      <a:pt x="268" y="314"/>
                      <a:pt x="268" y="314"/>
                    </a:cubicBezTo>
                    <a:cubicBezTo>
                      <a:pt x="272" y="312"/>
                      <a:pt x="272" y="312"/>
                      <a:pt x="272" y="312"/>
                    </a:cubicBezTo>
                    <a:cubicBezTo>
                      <a:pt x="275" y="311"/>
                      <a:pt x="275" y="311"/>
                      <a:pt x="275" y="311"/>
                    </a:cubicBezTo>
                    <a:cubicBezTo>
                      <a:pt x="275" y="312"/>
                      <a:pt x="275" y="312"/>
                      <a:pt x="275" y="312"/>
                    </a:cubicBezTo>
                    <a:cubicBezTo>
                      <a:pt x="276" y="316"/>
                      <a:pt x="276" y="316"/>
                      <a:pt x="276" y="316"/>
                    </a:cubicBezTo>
                    <a:cubicBezTo>
                      <a:pt x="276" y="316"/>
                      <a:pt x="276" y="316"/>
                      <a:pt x="276" y="316"/>
                    </a:cubicBezTo>
                    <a:cubicBezTo>
                      <a:pt x="278" y="314"/>
                      <a:pt x="278" y="314"/>
                      <a:pt x="278" y="314"/>
                    </a:cubicBezTo>
                    <a:cubicBezTo>
                      <a:pt x="277" y="312"/>
                      <a:pt x="277" y="312"/>
                      <a:pt x="277" y="312"/>
                    </a:cubicBezTo>
                    <a:cubicBezTo>
                      <a:pt x="278" y="312"/>
                      <a:pt x="278" y="312"/>
                      <a:pt x="278" y="312"/>
                    </a:cubicBezTo>
                    <a:cubicBezTo>
                      <a:pt x="279" y="313"/>
                      <a:pt x="279" y="313"/>
                      <a:pt x="279" y="313"/>
                    </a:cubicBezTo>
                    <a:cubicBezTo>
                      <a:pt x="280" y="311"/>
                      <a:pt x="280" y="311"/>
                      <a:pt x="280" y="311"/>
                    </a:cubicBezTo>
                    <a:cubicBezTo>
                      <a:pt x="278" y="310"/>
                      <a:pt x="278" y="310"/>
                      <a:pt x="278" y="310"/>
                    </a:cubicBezTo>
                    <a:cubicBezTo>
                      <a:pt x="278" y="309"/>
                      <a:pt x="278" y="309"/>
                      <a:pt x="278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81" y="307"/>
                      <a:pt x="281" y="307"/>
                      <a:pt x="281" y="307"/>
                    </a:cubicBezTo>
                    <a:cubicBezTo>
                      <a:pt x="282" y="308"/>
                      <a:pt x="282" y="308"/>
                      <a:pt x="282" y="308"/>
                    </a:cubicBezTo>
                    <a:cubicBezTo>
                      <a:pt x="282" y="310"/>
                      <a:pt x="282" y="310"/>
                      <a:pt x="282" y="310"/>
                    </a:cubicBezTo>
                    <a:cubicBezTo>
                      <a:pt x="281" y="311"/>
                      <a:pt x="281" y="311"/>
                      <a:pt x="281" y="311"/>
                    </a:cubicBezTo>
                    <a:cubicBezTo>
                      <a:pt x="281" y="312"/>
                      <a:pt x="281" y="312"/>
                      <a:pt x="281" y="312"/>
                    </a:cubicBezTo>
                    <a:cubicBezTo>
                      <a:pt x="282" y="312"/>
                      <a:pt x="282" y="312"/>
                      <a:pt x="282" y="312"/>
                    </a:cubicBezTo>
                    <a:cubicBezTo>
                      <a:pt x="283" y="310"/>
                      <a:pt x="283" y="310"/>
                      <a:pt x="283" y="310"/>
                    </a:cubicBezTo>
                    <a:cubicBezTo>
                      <a:pt x="284" y="310"/>
                      <a:pt x="284" y="310"/>
                      <a:pt x="284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5" y="309"/>
                      <a:pt x="285" y="309"/>
                      <a:pt x="285" y="309"/>
                    </a:cubicBezTo>
                    <a:cubicBezTo>
                      <a:pt x="285" y="307"/>
                      <a:pt x="285" y="307"/>
                      <a:pt x="285" y="307"/>
                    </a:cubicBezTo>
                    <a:cubicBezTo>
                      <a:pt x="286" y="307"/>
                      <a:pt x="286" y="307"/>
                      <a:pt x="286" y="307"/>
                    </a:cubicBezTo>
                    <a:cubicBezTo>
                      <a:pt x="287" y="308"/>
                      <a:pt x="287" y="308"/>
                      <a:pt x="287" y="308"/>
                    </a:cubicBezTo>
                    <a:cubicBezTo>
                      <a:pt x="287" y="309"/>
                      <a:pt x="287" y="309"/>
                      <a:pt x="287" y="309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6" y="311"/>
                      <a:pt x="286" y="311"/>
                      <a:pt x="286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ubicBezTo>
                      <a:pt x="289" y="309"/>
                      <a:pt x="289" y="309"/>
                      <a:pt x="289" y="309"/>
                    </a:cubicBezTo>
                    <a:cubicBezTo>
                      <a:pt x="291" y="309"/>
                      <a:pt x="291" y="309"/>
                      <a:pt x="291" y="309"/>
                    </a:cubicBezTo>
                    <a:cubicBezTo>
                      <a:pt x="292" y="309"/>
                      <a:pt x="292" y="309"/>
                      <a:pt x="292" y="309"/>
                    </a:cubicBezTo>
                    <a:cubicBezTo>
                      <a:pt x="293" y="311"/>
                      <a:pt x="293" y="311"/>
                      <a:pt x="293" y="311"/>
                    </a:cubicBezTo>
                    <a:cubicBezTo>
                      <a:pt x="291" y="312"/>
                      <a:pt x="291" y="312"/>
                      <a:pt x="291" y="312"/>
                    </a:cubicBezTo>
                    <a:cubicBezTo>
                      <a:pt x="290" y="312"/>
                      <a:pt x="290" y="312"/>
                      <a:pt x="290" y="312"/>
                    </a:cubicBezTo>
                    <a:cubicBezTo>
                      <a:pt x="290" y="313"/>
                      <a:pt x="290" y="313"/>
                      <a:pt x="290" y="313"/>
                    </a:cubicBezTo>
                    <a:cubicBezTo>
                      <a:pt x="290" y="313"/>
                      <a:pt x="290" y="313"/>
                      <a:pt x="290" y="313"/>
                    </a:cubicBezTo>
                    <a:cubicBezTo>
                      <a:pt x="291" y="315"/>
                      <a:pt x="291" y="315"/>
                      <a:pt x="291" y="315"/>
                    </a:cubicBezTo>
                    <a:cubicBezTo>
                      <a:pt x="290" y="317"/>
                      <a:pt x="290" y="317"/>
                      <a:pt x="290" y="317"/>
                    </a:cubicBezTo>
                    <a:cubicBezTo>
                      <a:pt x="288" y="316"/>
                      <a:pt x="288" y="316"/>
                      <a:pt x="288" y="316"/>
                    </a:cubicBezTo>
                    <a:cubicBezTo>
                      <a:pt x="288" y="316"/>
                      <a:pt x="288" y="316"/>
                      <a:pt x="288" y="316"/>
                    </a:cubicBezTo>
                    <a:cubicBezTo>
                      <a:pt x="287" y="316"/>
                      <a:pt x="287" y="316"/>
                      <a:pt x="287" y="316"/>
                    </a:cubicBezTo>
                    <a:cubicBezTo>
                      <a:pt x="285" y="315"/>
                      <a:pt x="285" y="315"/>
                      <a:pt x="285" y="315"/>
                    </a:cubicBezTo>
                    <a:cubicBezTo>
                      <a:pt x="284" y="316"/>
                      <a:pt x="284" y="316"/>
                      <a:pt x="284" y="316"/>
                    </a:cubicBezTo>
                    <a:cubicBezTo>
                      <a:pt x="283" y="316"/>
                      <a:pt x="283" y="316"/>
                      <a:pt x="283" y="316"/>
                    </a:cubicBezTo>
                    <a:cubicBezTo>
                      <a:pt x="285" y="317"/>
                      <a:pt x="285" y="317"/>
                      <a:pt x="285" y="317"/>
                    </a:cubicBezTo>
                    <a:cubicBezTo>
                      <a:pt x="286" y="319"/>
                      <a:pt x="286" y="319"/>
                      <a:pt x="286" y="319"/>
                    </a:cubicBezTo>
                    <a:cubicBezTo>
                      <a:pt x="285" y="321"/>
                      <a:pt x="285" y="321"/>
                      <a:pt x="285" y="321"/>
                    </a:cubicBezTo>
                    <a:cubicBezTo>
                      <a:pt x="283" y="321"/>
                      <a:pt x="283" y="321"/>
                      <a:pt x="283" y="321"/>
                    </a:cubicBezTo>
                    <a:cubicBezTo>
                      <a:pt x="282" y="319"/>
                      <a:pt x="282" y="319"/>
                      <a:pt x="282" y="319"/>
                    </a:cubicBezTo>
                    <a:cubicBezTo>
                      <a:pt x="280" y="318"/>
                      <a:pt x="280" y="318"/>
                      <a:pt x="280" y="318"/>
                    </a:cubicBezTo>
                    <a:cubicBezTo>
                      <a:pt x="278" y="319"/>
                      <a:pt x="278" y="319"/>
                      <a:pt x="278" y="319"/>
                    </a:cubicBezTo>
                    <a:cubicBezTo>
                      <a:pt x="280" y="320"/>
                      <a:pt x="280" y="320"/>
                      <a:pt x="280" y="320"/>
                    </a:cubicBezTo>
                    <a:cubicBezTo>
                      <a:pt x="281" y="321"/>
                      <a:pt x="281" y="321"/>
                      <a:pt x="281" y="321"/>
                    </a:cubicBezTo>
                    <a:cubicBezTo>
                      <a:pt x="280" y="322"/>
                      <a:pt x="280" y="322"/>
                      <a:pt x="280" y="322"/>
                    </a:cubicBezTo>
                    <a:cubicBezTo>
                      <a:pt x="278" y="322"/>
                      <a:pt x="278" y="322"/>
                      <a:pt x="278" y="322"/>
                    </a:cubicBezTo>
                    <a:cubicBezTo>
                      <a:pt x="276" y="322"/>
                      <a:pt x="276" y="322"/>
                      <a:pt x="276" y="322"/>
                    </a:cubicBezTo>
                    <a:cubicBezTo>
                      <a:pt x="275" y="322"/>
                      <a:pt x="275" y="322"/>
                      <a:pt x="275" y="322"/>
                    </a:cubicBezTo>
                    <a:cubicBezTo>
                      <a:pt x="274" y="324"/>
                      <a:pt x="274" y="324"/>
                      <a:pt x="274" y="324"/>
                    </a:cubicBezTo>
                    <a:cubicBezTo>
                      <a:pt x="273" y="324"/>
                      <a:pt x="273" y="324"/>
                      <a:pt x="273" y="324"/>
                    </a:cubicBezTo>
                    <a:cubicBezTo>
                      <a:pt x="272" y="325"/>
                      <a:pt x="272" y="325"/>
                      <a:pt x="272" y="325"/>
                    </a:cubicBezTo>
                    <a:cubicBezTo>
                      <a:pt x="273" y="326"/>
                      <a:pt x="273" y="326"/>
                      <a:pt x="273" y="326"/>
                    </a:cubicBezTo>
                    <a:cubicBezTo>
                      <a:pt x="271" y="327"/>
                      <a:pt x="271" y="327"/>
                      <a:pt x="271" y="327"/>
                    </a:cubicBezTo>
                    <a:cubicBezTo>
                      <a:pt x="271" y="329"/>
                      <a:pt x="271" y="329"/>
                      <a:pt x="271" y="329"/>
                    </a:cubicBezTo>
                    <a:cubicBezTo>
                      <a:pt x="269" y="329"/>
                      <a:pt x="269" y="329"/>
                      <a:pt x="269" y="329"/>
                    </a:cubicBezTo>
                    <a:cubicBezTo>
                      <a:pt x="269" y="330"/>
                      <a:pt x="269" y="330"/>
                      <a:pt x="269" y="330"/>
                    </a:cubicBezTo>
                    <a:cubicBezTo>
                      <a:pt x="267" y="330"/>
                      <a:pt x="267" y="330"/>
                      <a:pt x="267" y="330"/>
                    </a:cubicBezTo>
                    <a:cubicBezTo>
                      <a:pt x="267" y="329"/>
                      <a:pt x="267" y="329"/>
                      <a:pt x="267" y="329"/>
                    </a:cubicBezTo>
                    <a:cubicBezTo>
                      <a:pt x="270" y="326"/>
                      <a:pt x="270" y="326"/>
                      <a:pt x="270" y="326"/>
                    </a:cubicBezTo>
                    <a:cubicBezTo>
                      <a:pt x="270" y="325"/>
                      <a:pt x="270" y="325"/>
                      <a:pt x="270" y="325"/>
                    </a:cubicBezTo>
                    <a:cubicBezTo>
                      <a:pt x="272" y="324"/>
                      <a:pt x="272" y="324"/>
                      <a:pt x="272" y="324"/>
                    </a:cubicBezTo>
                    <a:cubicBezTo>
                      <a:pt x="271" y="323"/>
                      <a:pt x="271" y="323"/>
                      <a:pt x="271" y="323"/>
                    </a:cubicBezTo>
                    <a:cubicBezTo>
                      <a:pt x="269" y="325"/>
                      <a:pt x="269" y="325"/>
                      <a:pt x="269" y="325"/>
                    </a:cubicBezTo>
                    <a:cubicBezTo>
                      <a:pt x="269" y="324"/>
                      <a:pt x="269" y="324"/>
                      <a:pt x="269" y="324"/>
                    </a:cubicBezTo>
                    <a:cubicBezTo>
                      <a:pt x="269" y="323"/>
                      <a:pt x="269" y="323"/>
                      <a:pt x="269" y="323"/>
                    </a:cubicBezTo>
                    <a:cubicBezTo>
                      <a:pt x="267" y="323"/>
                      <a:pt x="267" y="323"/>
                      <a:pt x="267" y="323"/>
                    </a:cubicBezTo>
                    <a:cubicBezTo>
                      <a:pt x="266" y="324"/>
                      <a:pt x="266" y="324"/>
                      <a:pt x="266" y="324"/>
                    </a:cubicBezTo>
                    <a:cubicBezTo>
                      <a:pt x="267" y="324"/>
                      <a:pt x="267" y="324"/>
                      <a:pt x="267" y="324"/>
                    </a:cubicBezTo>
                    <a:cubicBezTo>
                      <a:pt x="267" y="325"/>
                      <a:pt x="267" y="325"/>
                      <a:pt x="267" y="325"/>
                    </a:cubicBezTo>
                    <a:close/>
                    <a:moveTo>
                      <a:pt x="264" y="333"/>
                    </a:moveTo>
                    <a:cubicBezTo>
                      <a:pt x="265" y="332"/>
                      <a:pt x="265" y="332"/>
                      <a:pt x="265" y="332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264" y="333"/>
                      <a:pt x="264" y="333"/>
                      <a:pt x="264" y="333"/>
                    </a:cubicBezTo>
                    <a:close/>
                    <a:moveTo>
                      <a:pt x="258" y="335"/>
                    </a:moveTo>
                    <a:cubicBezTo>
                      <a:pt x="260" y="332"/>
                      <a:pt x="260" y="332"/>
                      <a:pt x="260" y="332"/>
                    </a:cubicBezTo>
                    <a:cubicBezTo>
                      <a:pt x="264" y="331"/>
                      <a:pt x="264" y="331"/>
                      <a:pt x="264" y="331"/>
                    </a:cubicBezTo>
                    <a:cubicBezTo>
                      <a:pt x="260" y="335"/>
                      <a:pt x="260" y="335"/>
                      <a:pt x="260" y="335"/>
                    </a:cubicBezTo>
                    <a:cubicBezTo>
                      <a:pt x="258" y="335"/>
                      <a:pt x="258" y="335"/>
                      <a:pt x="258" y="335"/>
                    </a:cubicBezTo>
                    <a:close/>
                    <a:moveTo>
                      <a:pt x="245" y="346"/>
                    </a:moveTo>
                    <a:cubicBezTo>
                      <a:pt x="244" y="346"/>
                      <a:pt x="244" y="346"/>
                      <a:pt x="244" y="346"/>
                    </a:cubicBezTo>
                    <a:cubicBezTo>
                      <a:pt x="244" y="345"/>
                      <a:pt x="244" y="345"/>
                      <a:pt x="244" y="345"/>
                    </a:cubicBezTo>
                    <a:cubicBezTo>
                      <a:pt x="247" y="344"/>
                      <a:pt x="247" y="344"/>
                      <a:pt x="247" y="344"/>
                    </a:cubicBezTo>
                    <a:cubicBezTo>
                      <a:pt x="246" y="345"/>
                      <a:pt x="246" y="345"/>
                      <a:pt x="246" y="345"/>
                    </a:cubicBezTo>
                    <a:cubicBezTo>
                      <a:pt x="245" y="346"/>
                      <a:pt x="245" y="346"/>
                      <a:pt x="245" y="346"/>
                    </a:cubicBezTo>
                    <a:close/>
                    <a:moveTo>
                      <a:pt x="238" y="328"/>
                    </a:moveTo>
                    <a:cubicBezTo>
                      <a:pt x="240" y="328"/>
                      <a:pt x="240" y="328"/>
                      <a:pt x="240" y="328"/>
                    </a:cubicBezTo>
                    <a:cubicBezTo>
                      <a:pt x="241" y="329"/>
                      <a:pt x="241" y="329"/>
                      <a:pt x="241" y="329"/>
                    </a:cubicBezTo>
                    <a:cubicBezTo>
                      <a:pt x="239" y="330"/>
                      <a:pt x="239" y="330"/>
                      <a:pt x="239" y="330"/>
                    </a:cubicBezTo>
                    <a:cubicBezTo>
                      <a:pt x="238" y="328"/>
                      <a:pt x="238" y="328"/>
                      <a:pt x="238" y="328"/>
                    </a:cubicBezTo>
                    <a:close/>
                    <a:moveTo>
                      <a:pt x="200" y="346"/>
                    </a:moveTo>
                    <a:cubicBezTo>
                      <a:pt x="200" y="346"/>
                      <a:pt x="201" y="345"/>
                      <a:pt x="201" y="345"/>
                    </a:cubicBezTo>
                    <a:cubicBezTo>
                      <a:pt x="201" y="346"/>
                      <a:pt x="201" y="346"/>
                      <a:pt x="201" y="346"/>
                    </a:cubicBezTo>
                    <a:cubicBezTo>
                      <a:pt x="200" y="346"/>
                      <a:pt x="200" y="346"/>
                      <a:pt x="200" y="346"/>
                    </a:cubicBezTo>
                    <a:close/>
                    <a:moveTo>
                      <a:pt x="198" y="346"/>
                    </a:moveTo>
                    <a:cubicBezTo>
                      <a:pt x="199" y="347"/>
                      <a:pt x="199" y="347"/>
                      <a:pt x="199" y="347"/>
                    </a:cubicBezTo>
                    <a:cubicBezTo>
                      <a:pt x="198" y="348"/>
                      <a:pt x="198" y="348"/>
                      <a:pt x="198" y="348"/>
                    </a:cubicBezTo>
                    <a:cubicBezTo>
                      <a:pt x="198" y="346"/>
                      <a:pt x="198" y="346"/>
                      <a:pt x="198" y="346"/>
                    </a:cubicBezTo>
                    <a:close/>
                    <a:moveTo>
                      <a:pt x="207" y="354"/>
                    </a:moveTo>
                    <a:cubicBezTo>
                      <a:pt x="207" y="355"/>
                      <a:pt x="207" y="355"/>
                      <a:pt x="207" y="355"/>
                    </a:cubicBezTo>
                    <a:cubicBezTo>
                      <a:pt x="206" y="356"/>
                      <a:pt x="206" y="356"/>
                      <a:pt x="206" y="356"/>
                    </a:cubicBezTo>
                    <a:cubicBezTo>
                      <a:pt x="206" y="355"/>
                      <a:pt x="206" y="355"/>
                      <a:pt x="206" y="355"/>
                    </a:cubicBezTo>
                    <a:cubicBezTo>
                      <a:pt x="207" y="354"/>
                      <a:pt x="207" y="354"/>
                      <a:pt x="207" y="354"/>
                    </a:cubicBezTo>
                    <a:close/>
                    <a:moveTo>
                      <a:pt x="205" y="353"/>
                    </a:moveTo>
                    <a:cubicBezTo>
                      <a:pt x="206" y="351"/>
                      <a:pt x="206" y="351"/>
                      <a:pt x="206" y="351"/>
                    </a:cubicBezTo>
                    <a:cubicBezTo>
                      <a:pt x="206" y="352"/>
                      <a:pt x="206" y="352"/>
                      <a:pt x="206" y="352"/>
                    </a:cubicBezTo>
                    <a:cubicBezTo>
                      <a:pt x="206" y="352"/>
                      <a:pt x="205" y="353"/>
                      <a:pt x="205" y="353"/>
                    </a:cubicBezTo>
                    <a:close/>
                    <a:moveTo>
                      <a:pt x="197" y="355"/>
                    </a:moveTo>
                    <a:cubicBezTo>
                      <a:pt x="198" y="353"/>
                      <a:pt x="198" y="353"/>
                      <a:pt x="198" y="353"/>
                    </a:cubicBezTo>
                    <a:cubicBezTo>
                      <a:pt x="200" y="351"/>
                      <a:pt x="200" y="351"/>
                      <a:pt x="200" y="351"/>
                    </a:cubicBezTo>
                    <a:cubicBezTo>
                      <a:pt x="200" y="350"/>
                      <a:pt x="200" y="350"/>
                      <a:pt x="200" y="350"/>
                    </a:cubicBezTo>
                    <a:cubicBezTo>
                      <a:pt x="203" y="350"/>
                      <a:pt x="203" y="350"/>
                      <a:pt x="203" y="350"/>
                    </a:cubicBezTo>
                    <a:cubicBezTo>
                      <a:pt x="201" y="351"/>
                      <a:pt x="201" y="351"/>
                      <a:pt x="201" y="351"/>
                    </a:cubicBezTo>
                    <a:cubicBezTo>
                      <a:pt x="201" y="353"/>
                      <a:pt x="201" y="353"/>
                      <a:pt x="201" y="353"/>
                    </a:cubicBezTo>
                    <a:cubicBezTo>
                      <a:pt x="198" y="354"/>
                      <a:pt x="198" y="354"/>
                      <a:pt x="198" y="354"/>
                    </a:cubicBezTo>
                    <a:cubicBezTo>
                      <a:pt x="197" y="355"/>
                      <a:pt x="197" y="355"/>
                      <a:pt x="197" y="355"/>
                    </a:cubicBezTo>
                    <a:close/>
                    <a:moveTo>
                      <a:pt x="195" y="349"/>
                    </a:moveTo>
                    <a:cubicBezTo>
                      <a:pt x="194" y="348"/>
                      <a:pt x="194" y="348"/>
                      <a:pt x="194" y="348"/>
                    </a:cubicBezTo>
                    <a:cubicBezTo>
                      <a:pt x="194" y="346"/>
                      <a:pt x="194" y="346"/>
                      <a:pt x="194" y="346"/>
                    </a:cubicBezTo>
                    <a:cubicBezTo>
                      <a:pt x="196" y="346"/>
                      <a:pt x="196" y="346"/>
                      <a:pt x="196" y="346"/>
                    </a:cubicBezTo>
                    <a:cubicBezTo>
                      <a:pt x="197" y="347"/>
                      <a:pt x="197" y="347"/>
                      <a:pt x="197" y="347"/>
                    </a:cubicBezTo>
                    <a:cubicBezTo>
                      <a:pt x="196" y="348"/>
                      <a:pt x="196" y="348"/>
                      <a:pt x="196" y="348"/>
                    </a:cubicBezTo>
                    <a:cubicBezTo>
                      <a:pt x="196" y="349"/>
                      <a:pt x="196" y="349"/>
                      <a:pt x="196" y="349"/>
                    </a:cubicBezTo>
                    <a:cubicBezTo>
                      <a:pt x="195" y="349"/>
                      <a:pt x="195" y="349"/>
                      <a:pt x="195" y="349"/>
                    </a:cubicBezTo>
                    <a:close/>
                    <a:moveTo>
                      <a:pt x="185" y="348"/>
                    </a:moveTo>
                    <a:cubicBezTo>
                      <a:pt x="186" y="348"/>
                      <a:pt x="186" y="348"/>
                      <a:pt x="186" y="348"/>
                    </a:cubicBezTo>
                    <a:cubicBezTo>
                      <a:pt x="187" y="349"/>
                      <a:pt x="187" y="349"/>
                      <a:pt x="187" y="349"/>
                    </a:cubicBezTo>
                    <a:cubicBezTo>
                      <a:pt x="186" y="350"/>
                      <a:pt x="186" y="350"/>
                      <a:pt x="186" y="350"/>
                    </a:cubicBezTo>
                    <a:cubicBezTo>
                      <a:pt x="185" y="348"/>
                      <a:pt x="185" y="348"/>
                      <a:pt x="185" y="348"/>
                    </a:cubicBezTo>
                    <a:close/>
                    <a:moveTo>
                      <a:pt x="179" y="353"/>
                    </a:moveTo>
                    <a:cubicBezTo>
                      <a:pt x="178" y="352"/>
                      <a:pt x="178" y="352"/>
                      <a:pt x="178" y="352"/>
                    </a:cubicBezTo>
                    <a:cubicBezTo>
                      <a:pt x="180" y="350"/>
                      <a:pt x="180" y="350"/>
                      <a:pt x="180" y="350"/>
                    </a:cubicBezTo>
                    <a:cubicBezTo>
                      <a:pt x="180" y="352"/>
                      <a:pt x="180" y="352"/>
                      <a:pt x="180" y="352"/>
                    </a:cubicBezTo>
                    <a:cubicBezTo>
                      <a:pt x="179" y="353"/>
                      <a:pt x="179" y="353"/>
                      <a:pt x="179" y="353"/>
                    </a:cubicBezTo>
                    <a:close/>
                    <a:moveTo>
                      <a:pt x="172" y="358"/>
                    </a:moveTo>
                    <a:cubicBezTo>
                      <a:pt x="174" y="360"/>
                      <a:pt x="174" y="360"/>
                      <a:pt x="174" y="360"/>
                    </a:cubicBezTo>
                    <a:cubicBezTo>
                      <a:pt x="172" y="360"/>
                      <a:pt x="172" y="360"/>
                      <a:pt x="172" y="360"/>
                    </a:cubicBezTo>
                    <a:cubicBezTo>
                      <a:pt x="171" y="359"/>
                      <a:pt x="171" y="359"/>
                      <a:pt x="171" y="359"/>
                    </a:cubicBezTo>
                    <a:cubicBezTo>
                      <a:pt x="172" y="358"/>
                      <a:pt x="172" y="358"/>
                      <a:pt x="172" y="358"/>
                    </a:cubicBezTo>
                    <a:close/>
                    <a:moveTo>
                      <a:pt x="1" y="392"/>
                    </a:moveTo>
                    <a:cubicBezTo>
                      <a:pt x="0" y="394"/>
                      <a:pt x="0" y="394"/>
                      <a:pt x="0" y="394"/>
                    </a:cubicBezTo>
                    <a:cubicBezTo>
                      <a:pt x="2" y="393"/>
                      <a:pt x="2" y="393"/>
                      <a:pt x="2" y="393"/>
                    </a:cubicBezTo>
                    <a:cubicBezTo>
                      <a:pt x="1" y="392"/>
                      <a:pt x="1" y="392"/>
                      <a:pt x="1" y="392"/>
                    </a:cubicBezTo>
                    <a:close/>
                    <a:moveTo>
                      <a:pt x="2" y="388"/>
                    </a:moveTo>
                    <a:cubicBezTo>
                      <a:pt x="1" y="388"/>
                      <a:pt x="1" y="388"/>
                      <a:pt x="1" y="388"/>
                    </a:cubicBezTo>
                    <a:cubicBezTo>
                      <a:pt x="2" y="390"/>
                      <a:pt x="2" y="390"/>
                      <a:pt x="2" y="390"/>
                    </a:cubicBezTo>
                    <a:cubicBezTo>
                      <a:pt x="4" y="388"/>
                      <a:pt x="4" y="388"/>
                      <a:pt x="4" y="388"/>
                    </a:cubicBezTo>
                    <a:cubicBezTo>
                      <a:pt x="2" y="388"/>
                      <a:pt x="2" y="388"/>
                      <a:pt x="2" y="388"/>
                    </a:cubicBezTo>
                    <a:close/>
                    <a:moveTo>
                      <a:pt x="5" y="383"/>
                    </a:moveTo>
                    <a:cubicBezTo>
                      <a:pt x="6" y="384"/>
                      <a:pt x="6" y="384"/>
                      <a:pt x="6" y="384"/>
                    </a:cubicBezTo>
                    <a:cubicBezTo>
                      <a:pt x="6" y="382"/>
                      <a:pt x="6" y="382"/>
                      <a:pt x="6" y="382"/>
                    </a:cubicBezTo>
                    <a:cubicBezTo>
                      <a:pt x="5" y="383"/>
                      <a:pt x="5" y="383"/>
                      <a:pt x="5" y="383"/>
                    </a:cubicBezTo>
                    <a:close/>
                    <a:moveTo>
                      <a:pt x="17" y="384"/>
                    </a:moveTo>
                    <a:cubicBezTo>
                      <a:pt x="15" y="382"/>
                      <a:pt x="15" y="382"/>
                      <a:pt x="15" y="382"/>
                    </a:cubicBezTo>
                    <a:cubicBezTo>
                      <a:pt x="13" y="382"/>
                      <a:pt x="13" y="382"/>
                      <a:pt x="13" y="382"/>
                    </a:cubicBezTo>
                    <a:cubicBezTo>
                      <a:pt x="12" y="383"/>
                      <a:pt x="12" y="383"/>
                      <a:pt x="12" y="383"/>
                    </a:cubicBezTo>
                    <a:cubicBezTo>
                      <a:pt x="12" y="384"/>
                      <a:pt x="12" y="384"/>
                      <a:pt x="12" y="384"/>
                    </a:cubicBezTo>
                    <a:cubicBezTo>
                      <a:pt x="14" y="385"/>
                      <a:pt x="14" y="385"/>
                      <a:pt x="14" y="385"/>
                    </a:cubicBezTo>
                    <a:cubicBezTo>
                      <a:pt x="13" y="385"/>
                      <a:pt x="13" y="385"/>
                      <a:pt x="13" y="385"/>
                    </a:cubicBezTo>
                    <a:cubicBezTo>
                      <a:pt x="13" y="387"/>
                      <a:pt x="13" y="387"/>
                      <a:pt x="13" y="387"/>
                    </a:cubicBezTo>
                    <a:cubicBezTo>
                      <a:pt x="14" y="387"/>
                      <a:pt x="14" y="387"/>
                      <a:pt x="14" y="387"/>
                    </a:cubicBezTo>
                    <a:cubicBezTo>
                      <a:pt x="16" y="385"/>
                      <a:pt x="16" y="385"/>
                      <a:pt x="16" y="385"/>
                    </a:cubicBezTo>
                    <a:cubicBezTo>
                      <a:pt x="17" y="384"/>
                      <a:pt x="17" y="384"/>
                      <a:pt x="17" y="384"/>
                    </a:cubicBezTo>
                    <a:close/>
                    <a:moveTo>
                      <a:pt x="18" y="388"/>
                    </a:moveTo>
                    <a:cubicBezTo>
                      <a:pt x="19" y="389"/>
                      <a:pt x="19" y="389"/>
                      <a:pt x="19" y="389"/>
                    </a:cubicBezTo>
                    <a:cubicBezTo>
                      <a:pt x="21" y="387"/>
                      <a:pt x="21" y="387"/>
                      <a:pt x="21" y="387"/>
                    </a:cubicBezTo>
                    <a:cubicBezTo>
                      <a:pt x="22" y="386"/>
                      <a:pt x="22" y="386"/>
                      <a:pt x="22" y="386"/>
                    </a:cubicBezTo>
                    <a:cubicBezTo>
                      <a:pt x="23" y="384"/>
                      <a:pt x="23" y="384"/>
                      <a:pt x="23" y="384"/>
                    </a:cubicBezTo>
                    <a:cubicBezTo>
                      <a:pt x="22" y="384"/>
                      <a:pt x="22" y="384"/>
                      <a:pt x="22" y="384"/>
                    </a:cubicBezTo>
                    <a:cubicBezTo>
                      <a:pt x="20" y="385"/>
                      <a:pt x="20" y="385"/>
                      <a:pt x="20" y="385"/>
                    </a:cubicBezTo>
                    <a:cubicBezTo>
                      <a:pt x="20" y="387"/>
                      <a:pt x="20" y="387"/>
                      <a:pt x="20" y="387"/>
                    </a:cubicBezTo>
                    <a:cubicBezTo>
                      <a:pt x="18" y="388"/>
                      <a:pt x="18" y="388"/>
                      <a:pt x="18" y="388"/>
                    </a:cubicBezTo>
                    <a:close/>
                    <a:moveTo>
                      <a:pt x="28" y="387"/>
                    </a:moveTo>
                    <a:cubicBezTo>
                      <a:pt x="27" y="384"/>
                      <a:pt x="27" y="384"/>
                      <a:pt x="27" y="384"/>
                    </a:cubicBezTo>
                    <a:cubicBezTo>
                      <a:pt x="26" y="384"/>
                      <a:pt x="26" y="384"/>
                      <a:pt x="26" y="384"/>
                    </a:cubicBezTo>
                    <a:cubicBezTo>
                      <a:pt x="26" y="386"/>
                      <a:pt x="26" y="386"/>
                      <a:pt x="26" y="386"/>
                    </a:cubicBezTo>
                    <a:cubicBezTo>
                      <a:pt x="25" y="387"/>
                      <a:pt x="25" y="387"/>
                      <a:pt x="25" y="387"/>
                    </a:cubicBezTo>
                    <a:cubicBezTo>
                      <a:pt x="24" y="389"/>
                      <a:pt x="24" y="389"/>
                      <a:pt x="24" y="389"/>
                    </a:cubicBezTo>
                    <a:cubicBezTo>
                      <a:pt x="26" y="389"/>
                      <a:pt x="26" y="389"/>
                      <a:pt x="26" y="389"/>
                    </a:cubicBezTo>
                    <a:cubicBezTo>
                      <a:pt x="28" y="387"/>
                      <a:pt x="28" y="387"/>
                      <a:pt x="28" y="387"/>
                    </a:cubicBezTo>
                    <a:close/>
                    <a:moveTo>
                      <a:pt x="51" y="386"/>
                    </a:moveTo>
                    <a:cubicBezTo>
                      <a:pt x="51" y="384"/>
                      <a:pt x="51" y="384"/>
                      <a:pt x="51" y="384"/>
                    </a:cubicBezTo>
                    <a:cubicBezTo>
                      <a:pt x="53" y="383"/>
                      <a:pt x="53" y="383"/>
                      <a:pt x="53" y="383"/>
                    </a:cubicBezTo>
                    <a:cubicBezTo>
                      <a:pt x="52" y="381"/>
                      <a:pt x="52" y="381"/>
                      <a:pt x="52" y="381"/>
                    </a:cubicBezTo>
                    <a:cubicBezTo>
                      <a:pt x="51" y="381"/>
                      <a:pt x="51" y="381"/>
                      <a:pt x="51" y="381"/>
                    </a:cubicBezTo>
                    <a:cubicBezTo>
                      <a:pt x="49" y="382"/>
                      <a:pt x="49" y="382"/>
                      <a:pt x="49" y="382"/>
                    </a:cubicBezTo>
                    <a:cubicBezTo>
                      <a:pt x="49" y="384"/>
                      <a:pt x="49" y="384"/>
                      <a:pt x="49" y="384"/>
                    </a:cubicBezTo>
                    <a:cubicBezTo>
                      <a:pt x="48" y="384"/>
                      <a:pt x="48" y="384"/>
                      <a:pt x="48" y="384"/>
                    </a:cubicBezTo>
                    <a:cubicBezTo>
                      <a:pt x="47" y="384"/>
                      <a:pt x="47" y="384"/>
                      <a:pt x="47" y="384"/>
                    </a:cubicBezTo>
                    <a:cubicBezTo>
                      <a:pt x="46" y="385"/>
                      <a:pt x="46" y="385"/>
                      <a:pt x="46" y="385"/>
                    </a:cubicBezTo>
                    <a:cubicBezTo>
                      <a:pt x="44" y="385"/>
                      <a:pt x="44" y="385"/>
                      <a:pt x="44" y="385"/>
                    </a:cubicBezTo>
                    <a:cubicBezTo>
                      <a:pt x="43" y="385"/>
                      <a:pt x="43" y="385"/>
                      <a:pt x="43" y="385"/>
                    </a:cubicBezTo>
                    <a:cubicBezTo>
                      <a:pt x="42" y="386"/>
                      <a:pt x="42" y="386"/>
                      <a:pt x="42" y="386"/>
                    </a:cubicBezTo>
                    <a:cubicBezTo>
                      <a:pt x="44" y="387"/>
                      <a:pt x="44" y="387"/>
                      <a:pt x="44" y="387"/>
                    </a:cubicBezTo>
                    <a:cubicBezTo>
                      <a:pt x="45" y="386"/>
                      <a:pt x="45" y="386"/>
                      <a:pt x="45" y="386"/>
                    </a:cubicBezTo>
                    <a:cubicBezTo>
                      <a:pt x="47" y="387"/>
                      <a:pt x="47" y="387"/>
                      <a:pt x="47" y="387"/>
                    </a:cubicBezTo>
                    <a:cubicBezTo>
                      <a:pt x="49" y="386"/>
                      <a:pt x="49" y="386"/>
                      <a:pt x="49" y="386"/>
                    </a:cubicBezTo>
                    <a:cubicBezTo>
                      <a:pt x="51" y="386"/>
                      <a:pt x="51" y="386"/>
                      <a:pt x="51" y="386"/>
                    </a:cubicBezTo>
                    <a:close/>
                    <a:moveTo>
                      <a:pt x="54" y="387"/>
                    </a:moveTo>
                    <a:cubicBezTo>
                      <a:pt x="59" y="388"/>
                      <a:pt x="59" y="388"/>
                      <a:pt x="59" y="388"/>
                    </a:cubicBezTo>
                    <a:cubicBezTo>
                      <a:pt x="60" y="387"/>
                      <a:pt x="60" y="387"/>
                      <a:pt x="60" y="387"/>
                    </a:cubicBezTo>
                    <a:cubicBezTo>
                      <a:pt x="62" y="389"/>
                      <a:pt x="62" y="389"/>
                      <a:pt x="62" y="389"/>
                    </a:cubicBezTo>
                    <a:cubicBezTo>
                      <a:pt x="60" y="389"/>
                      <a:pt x="60" y="389"/>
                      <a:pt x="60" y="389"/>
                    </a:cubicBezTo>
                    <a:cubicBezTo>
                      <a:pt x="55" y="388"/>
                      <a:pt x="55" y="388"/>
                      <a:pt x="55" y="388"/>
                    </a:cubicBezTo>
                    <a:cubicBezTo>
                      <a:pt x="54" y="388"/>
                      <a:pt x="54" y="388"/>
                      <a:pt x="54" y="388"/>
                    </a:cubicBezTo>
                    <a:cubicBezTo>
                      <a:pt x="53" y="387"/>
                      <a:pt x="53" y="387"/>
                      <a:pt x="53" y="387"/>
                    </a:cubicBezTo>
                    <a:cubicBezTo>
                      <a:pt x="53" y="387"/>
                      <a:pt x="54" y="387"/>
                      <a:pt x="54" y="387"/>
                    </a:cubicBezTo>
                    <a:close/>
                    <a:moveTo>
                      <a:pt x="71" y="384"/>
                    </a:moveTo>
                    <a:cubicBezTo>
                      <a:pt x="69" y="383"/>
                      <a:pt x="69" y="383"/>
                      <a:pt x="69" y="383"/>
                    </a:cubicBezTo>
                    <a:cubicBezTo>
                      <a:pt x="66" y="383"/>
                      <a:pt x="66" y="383"/>
                      <a:pt x="66" y="383"/>
                    </a:cubicBezTo>
                    <a:cubicBezTo>
                      <a:pt x="66" y="385"/>
                      <a:pt x="66" y="385"/>
                      <a:pt x="66" y="385"/>
                    </a:cubicBezTo>
                    <a:cubicBezTo>
                      <a:pt x="68" y="385"/>
                      <a:pt x="68" y="385"/>
                      <a:pt x="68" y="385"/>
                    </a:cubicBezTo>
                    <a:cubicBezTo>
                      <a:pt x="71" y="384"/>
                      <a:pt x="71" y="384"/>
                      <a:pt x="71" y="384"/>
                    </a:cubicBezTo>
                    <a:close/>
                    <a:moveTo>
                      <a:pt x="81" y="384"/>
                    </a:moveTo>
                    <a:cubicBezTo>
                      <a:pt x="80" y="381"/>
                      <a:pt x="80" y="381"/>
                      <a:pt x="80" y="381"/>
                    </a:cubicBezTo>
                    <a:cubicBezTo>
                      <a:pt x="80" y="383"/>
                      <a:pt x="80" y="383"/>
                      <a:pt x="80" y="383"/>
                    </a:cubicBezTo>
                    <a:cubicBezTo>
                      <a:pt x="81" y="384"/>
                      <a:pt x="81" y="384"/>
                      <a:pt x="81" y="384"/>
                    </a:cubicBezTo>
                    <a:close/>
                    <a:moveTo>
                      <a:pt x="88" y="380"/>
                    </a:moveTo>
                    <a:cubicBezTo>
                      <a:pt x="87" y="379"/>
                      <a:pt x="87" y="379"/>
                      <a:pt x="87" y="379"/>
                    </a:cubicBezTo>
                    <a:cubicBezTo>
                      <a:pt x="85" y="380"/>
                      <a:pt x="85" y="380"/>
                      <a:pt x="85" y="380"/>
                    </a:cubicBezTo>
                    <a:cubicBezTo>
                      <a:pt x="85" y="382"/>
                      <a:pt x="85" y="382"/>
                      <a:pt x="85" y="382"/>
                    </a:cubicBezTo>
                    <a:cubicBezTo>
                      <a:pt x="87" y="380"/>
                      <a:pt x="87" y="380"/>
                      <a:pt x="87" y="380"/>
                    </a:cubicBezTo>
                    <a:cubicBezTo>
                      <a:pt x="88" y="380"/>
                      <a:pt x="88" y="380"/>
                      <a:pt x="88" y="380"/>
                    </a:cubicBezTo>
                    <a:close/>
                    <a:moveTo>
                      <a:pt x="93" y="380"/>
                    </a:moveTo>
                    <a:cubicBezTo>
                      <a:pt x="92" y="379"/>
                      <a:pt x="92" y="379"/>
                      <a:pt x="92" y="379"/>
                    </a:cubicBezTo>
                    <a:cubicBezTo>
                      <a:pt x="91" y="380"/>
                      <a:pt x="91" y="380"/>
                      <a:pt x="91" y="380"/>
                    </a:cubicBezTo>
                    <a:cubicBezTo>
                      <a:pt x="92" y="381"/>
                      <a:pt x="92" y="381"/>
                      <a:pt x="92" y="381"/>
                    </a:cubicBezTo>
                    <a:cubicBezTo>
                      <a:pt x="93" y="380"/>
                      <a:pt x="93" y="380"/>
                      <a:pt x="93" y="380"/>
                    </a:cubicBezTo>
                    <a:close/>
                    <a:moveTo>
                      <a:pt x="94" y="377"/>
                    </a:moveTo>
                    <a:cubicBezTo>
                      <a:pt x="93" y="376"/>
                      <a:pt x="93" y="376"/>
                      <a:pt x="93" y="376"/>
                    </a:cubicBezTo>
                    <a:cubicBezTo>
                      <a:pt x="92" y="377"/>
                      <a:pt x="92" y="377"/>
                      <a:pt x="92" y="377"/>
                    </a:cubicBezTo>
                    <a:cubicBezTo>
                      <a:pt x="94" y="377"/>
                      <a:pt x="94" y="377"/>
                      <a:pt x="94" y="377"/>
                    </a:cubicBezTo>
                    <a:close/>
                    <a:moveTo>
                      <a:pt x="94" y="378"/>
                    </a:moveTo>
                    <a:cubicBezTo>
                      <a:pt x="96" y="379"/>
                      <a:pt x="96" y="379"/>
                      <a:pt x="96" y="379"/>
                    </a:cubicBezTo>
                    <a:cubicBezTo>
                      <a:pt x="97" y="378"/>
                      <a:pt x="97" y="378"/>
                      <a:pt x="97" y="378"/>
                    </a:cubicBezTo>
                    <a:cubicBezTo>
                      <a:pt x="96" y="377"/>
                      <a:pt x="96" y="377"/>
                      <a:pt x="96" y="377"/>
                    </a:cubicBezTo>
                    <a:cubicBezTo>
                      <a:pt x="94" y="378"/>
                      <a:pt x="94" y="378"/>
                      <a:pt x="94" y="378"/>
                    </a:cubicBezTo>
                    <a:close/>
                    <a:moveTo>
                      <a:pt x="117" y="368"/>
                    </a:moveTo>
                    <a:cubicBezTo>
                      <a:pt x="117" y="370"/>
                      <a:pt x="117" y="370"/>
                      <a:pt x="117" y="370"/>
                    </a:cubicBezTo>
                    <a:cubicBezTo>
                      <a:pt x="119" y="370"/>
                      <a:pt x="119" y="370"/>
                      <a:pt x="119" y="370"/>
                    </a:cubicBezTo>
                    <a:cubicBezTo>
                      <a:pt x="117" y="371"/>
                      <a:pt x="117" y="371"/>
                      <a:pt x="117" y="371"/>
                    </a:cubicBezTo>
                    <a:cubicBezTo>
                      <a:pt x="116" y="373"/>
                      <a:pt x="116" y="373"/>
                      <a:pt x="116" y="373"/>
                    </a:cubicBezTo>
                    <a:cubicBezTo>
                      <a:pt x="113" y="374"/>
                      <a:pt x="113" y="374"/>
                      <a:pt x="113" y="374"/>
                    </a:cubicBezTo>
                    <a:cubicBezTo>
                      <a:pt x="110" y="377"/>
                      <a:pt x="110" y="377"/>
                      <a:pt x="110" y="377"/>
                    </a:cubicBezTo>
                    <a:cubicBezTo>
                      <a:pt x="108" y="377"/>
                      <a:pt x="108" y="377"/>
                      <a:pt x="108" y="377"/>
                    </a:cubicBezTo>
                    <a:cubicBezTo>
                      <a:pt x="105" y="380"/>
                      <a:pt x="105" y="380"/>
                      <a:pt x="105" y="380"/>
                    </a:cubicBezTo>
                    <a:cubicBezTo>
                      <a:pt x="102" y="380"/>
                      <a:pt x="102" y="380"/>
                      <a:pt x="102" y="380"/>
                    </a:cubicBezTo>
                    <a:cubicBezTo>
                      <a:pt x="104" y="378"/>
                      <a:pt x="104" y="378"/>
                      <a:pt x="104" y="378"/>
                    </a:cubicBezTo>
                    <a:cubicBezTo>
                      <a:pt x="105" y="378"/>
                      <a:pt x="105" y="378"/>
                      <a:pt x="105" y="378"/>
                    </a:cubicBezTo>
                    <a:cubicBezTo>
                      <a:pt x="106" y="376"/>
                      <a:pt x="106" y="376"/>
                      <a:pt x="106" y="376"/>
                    </a:cubicBezTo>
                    <a:cubicBezTo>
                      <a:pt x="107" y="375"/>
                      <a:pt x="107" y="375"/>
                      <a:pt x="107" y="375"/>
                    </a:cubicBezTo>
                    <a:cubicBezTo>
                      <a:pt x="107" y="374"/>
                      <a:pt x="107" y="374"/>
                      <a:pt x="107" y="374"/>
                    </a:cubicBezTo>
                    <a:cubicBezTo>
                      <a:pt x="110" y="372"/>
                      <a:pt x="110" y="372"/>
                      <a:pt x="110" y="372"/>
                    </a:cubicBezTo>
                    <a:cubicBezTo>
                      <a:pt x="112" y="372"/>
                      <a:pt x="112" y="372"/>
                      <a:pt x="112" y="372"/>
                    </a:cubicBezTo>
                    <a:cubicBezTo>
                      <a:pt x="112" y="370"/>
                      <a:pt x="112" y="370"/>
                      <a:pt x="112" y="370"/>
                    </a:cubicBezTo>
                    <a:cubicBezTo>
                      <a:pt x="112" y="369"/>
                      <a:pt x="112" y="369"/>
                      <a:pt x="112" y="369"/>
                    </a:cubicBezTo>
                    <a:cubicBezTo>
                      <a:pt x="115" y="369"/>
                      <a:pt x="115" y="369"/>
                      <a:pt x="115" y="369"/>
                    </a:cubicBezTo>
                    <a:cubicBezTo>
                      <a:pt x="115" y="369"/>
                      <a:pt x="117" y="368"/>
                      <a:pt x="117" y="368"/>
                    </a:cubicBezTo>
                    <a:close/>
                    <a:moveTo>
                      <a:pt x="133" y="361"/>
                    </a:moveTo>
                    <a:cubicBezTo>
                      <a:pt x="131" y="361"/>
                      <a:pt x="131" y="361"/>
                      <a:pt x="131" y="361"/>
                    </a:cubicBezTo>
                    <a:cubicBezTo>
                      <a:pt x="129" y="363"/>
                      <a:pt x="129" y="363"/>
                      <a:pt x="129" y="363"/>
                    </a:cubicBezTo>
                    <a:cubicBezTo>
                      <a:pt x="129" y="364"/>
                      <a:pt x="129" y="364"/>
                      <a:pt x="129" y="364"/>
                    </a:cubicBezTo>
                    <a:cubicBezTo>
                      <a:pt x="131" y="366"/>
                      <a:pt x="131" y="366"/>
                      <a:pt x="131" y="366"/>
                    </a:cubicBezTo>
                    <a:cubicBezTo>
                      <a:pt x="130" y="367"/>
                      <a:pt x="130" y="367"/>
                      <a:pt x="130" y="367"/>
                    </a:cubicBezTo>
                    <a:cubicBezTo>
                      <a:pt x="128" y="366"/>
                      <a:pt x="128" y="366"/>
                      <a:pt x="128" y="366"/>
                    </a:cubicBezTo>
                    <a:cubicBezTo>
                      <a:pt x="127" y="367"/>
                      <a:pt x="127" y="367"/>
                      <a:pt x="127" y="367"/>
                    </a:cubicBezTo>
                    <a:cubicBezTo>
                      <a:pt x="127" y="368"/>
                      <a:pt x="127" y="368"/>
                      <a:pt x="127" y="368"/>
                    </a:cubicBezTo>
                    <a:cubicBezTo>
                      <a:pt x="126" y="369"/>
                      <a:pt x="126" y="369"/>
                      <a:pt x="126" y="369"/>
                    </a:cubicBezTo>
                    <a:cubicBezTo>
                      <a:pt x="124" y="371"/>
                      <a:pt x="124" y="371"/>
                      <a:pt x="124" y="371"/>
                    </a:cubicBezTo>
                    <a:cubicBezTo>
                      <a:pt x="123" y="371"/>
                      <a:pt x="123" y="371"/>
                      <a:pt x="123" y="371"/>
                    </a:cubicBezTo>
                    <a:cubicBezTo>
                      <a:pt x="121" y="372"/>
                      <a:pt x="121" y="372"/>
                      <a:pt x="121" y="372"/>
                    </a:cubicBezTo>
                    <a:cubicBezTo>
                      <a:pt x="119" y="372"/>
                      <a:pt x="119" y="372"/>
                      <a:pt x="119" y="372"/>
                    </a:cubicBezTo>
                    <a:cubicBezTo>
                      <a:pt x="118" y="373"/>
                      <a:pt x="118" y="373"/>
                      <a:pt x="118" y="373"/>
                    </a:cubicBezTo>
                    <a:cubicBezTo>
                      <a:pt x="119" y="374"/>
                      <a:pt x="119" y="374"/>
                      <a:pt x="119" y="374"/>
                    </a:cubicBezTo>
                    <a:cubicBezTo>
                      <a:pt x="122" y="374"/>
                      <a:pt x="122" y="374"/>
                      <a:pt x="122" y="374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7" y="371"/>
                      <a:pt x="127" y="371"/>
                      <a:pt x="127" y="371"/>
                    </a:cubicBezTo>
                    <a:cubicBezTo>
                      <a:pt x="127" y="372"/>
                      <a:pt x="127" y="372"/>
                      <a:pt x="127" y="372"/>
                    </a:cubicBezTo>
                    <a:cubicBezTo>
                      <a:pt x="128" y="373"/>
                      <a:pt x="128" y="373"/>
                      <a:pt x="128" y="373"/>
                    </a:cubicBezTo>
                    <a:cubicBezTo>
                      <a:pt x="129" y="371"/>
                      <a:pt x="129" y="371"/>
                      <a:pt x="129" y="371"/>
                    </a:cubicBezTo>
                    <a:cubicBezTo>
                      <a:pt x="129" y="369"/>
                      <a:pt x="129" y="369"/>
                      <a:pt x="129" y="369"/>
                    </a:cubicBezTo>
                    <a:cubicBezTo>
                      <a:pt x="130" y="370"/>
                      <a:pt x="130" y="370"/>
                      <a:pt x="130" y="370"/>
                    </a:cubicBezTo>
                    <a:cubicBezTo>
                      <a:pt x="131" y="371"/>
                      <a:pt x="131" y="371"/>
                      <a:pt x="131" y="371"/>
                    </a:cubicBezTo>
                    <a:cubicBezTo>
                      <a:pt x="132" y="371"/>
                      <a:pt x="132" y="371"/>
                      <a:pt x="132" y="371"/>
                    </a:cubicBezTo>
                    <a:cubicBezTo>
                      <a:pt x="133" y="369"/>
                      <a:pt x="133" y="369"/>
                      <a:pt x="133" y="369"/>
                    </a:cubicBezTo>
                    <a:cubicBezTo>
                      <a:pt x="136" y="367"/>
                      <a:pt x="136" y="367"/>
                      <a:pt x="136" y="367"/>
                    </a:cubicBezTo>
                    <a:cubicBezTo>
                      <a:pt x="136" y="367"/>
                      <a:pt x="136" y="367"/>
                      <a:pt x="136" y="367"/>
                    </a:cubicBezTo>
                    <a:cubicBezTo>
                      <a:pt x="134" y="366"/>
                      <a:pt x="134" y="366"/>
                      <a:pt x="134" y="366"/>
                    </a:cubicBezTo>
                    <a:cubicBezTo>
                      <a:pt x="136" y="365"/>
                      <a:pt x="136" y="365"/>
                      <a:pt x="136" y="365"/>
                    </a:cubicBezTo>
                    <a:cubicBezTo>
                      <a:pt x="136" y="363"/>
                      <a:pt x="136" y="363"/>
                      <a:pt x="136" y="363"/>
                    </a:cubicBezTo>
                    <a:cubicBezTo>
                      <a:pt x="134" y="362"/>
                      <a:pt x="134" y="362"/>
                      <a:pt x="134" y="362"/>
                    </a:cubicBezTo>
                    <a:cubicBezTo>
                      <a:pt x="133" y="361"/>
                      <a:pt x="133" y="361"/>
                      <a:pt x="133" y="361"/>
                    </a:cubicBezTo>
                    <a:close/>
                    <a:moveTo>
                      <a:pt x="139" y="364"/>
                    </a:moveTo>
                    <a:cubicBezTo>
                      <a:pt x="139" y="363"/>
                      <a:pt x="139" y="363"/>
                      <a:pt x="139" y="363"/>
                    </a:cubicBezTo>
                    <a:cubicBezTo>
                      <a:pt x="138" y="362"/>
                      <a:pt x="138" y="362"/>
                      <a:pt x="138" y="362"/>
                    </a:cubicBezTo>
                    <a:cubicBezTo>
                      <a:pt x="137" y="363"/>
                      <a:pt x="137" y="363"/>
                      <a:pt x="137" y="363"/>
                    </a:cubicBezTo>
                    <a:cubicBezTo>
                      <a:pt x="139" y="364"/>
                      <a:pt x="139" y="364"/>
                      <a:pt x="139" y="364"/>
                    </a:cubicBezTo>
                    <a:close/>
                    <a:moveTo>
                      <a:pt x="149" y="362"/>
                    </a:moveTo>
                    <a:cubicBezTo>
                      <a:pt x="149" y="361"/>
                      <a:pt x="149" y="361"/>
                      <a:pt x="149" y="361"/>
                    </a:cubicBezTo>
                    <a:cubicBezTo>
                      <a:pt x="150" y="361"/>
                      <a:pt x="150" y="361"/>
                      <a:pt x="150" y="361"/>
                    </a:cubicBezTo>
                    <a:cubicBezTo>
                      <a:pt x="151" y="362"/>
                      <a:pt x="151" y="362"/>
                      <a:pt x="151" y="362"/>
                    </a:cubicBezTo>
                    <a:cubicBezTo>
                      <a:pt x="149" y="363"/>
                      <a:pt x="149" y="363"/>
                      <a:pt x="149" y="363"/>
                    </a:cubicBezTo>
                    <a:cubicBezTo>
                      <a:pt x="149" y="362"/>
                      <a:pt x="149" y="362"/>
                      <a:pt x="149" y="362"/>
                    </a:cubicBezTo>
                    <a:close/>
                    <a:moveTo>
                      <a:pt x="146" y="363"/>
                    </a:moveTo>
                    <a:cubicBezTo>
                      <a:pt x="147" y="362"/>
                      <a:pt x="147" y="362"/>
                      <a:pt x="147" y="362"/>
                    </a:cubicBezTo>
                    <a:cubicBezTo>
                      <a:pt x="148" y="363"/>
                      <a:pt x="148" y="363"/>
                      <a:pt x="148" y="363"/>
                    </a:cubicBezTo>
                    <a:cubicBezTo>
                      <a:pt x="146" y="363"/>
                      <a:pt x="146" y="363"/>
                      <a:pt x="146" y="363"/>
                    </a:cubicBezTo>
                    <a:close/>
                    <a:moveTo>
                      <a:pt x="144" y="361"/>
                    </a:moveTo>
                    <a:cubicBezTo>
                      <a:pt x="145" y="359"/>
                      <a:pt x="145" y="359"/>
                      <a:pt x="145" y="359"/>
                    </a:cubicBezTo>
                    <a:cubicBezTo>
                      <a:pt x="145" y="358"/>
                      <a:pt x="145" y="358"/>
                      <a:pt x="145" y="358"/>
                    </a:cubicBezTo>
                    <a:cubicBezTo>
                      <a:pt x="146" y="358"/>
                      <a:pt x="146" y="358"/>
                      <a:pt x="146" y="358"/>
                    </a:cubicBezTo>
                    <a:cubicBezTo>
                      <a:pt x="146" y="360"/>
                      <a:pt x="146" y="360"/>
                      <a:pt x="146" y="360"/>
                    </a:cubicBezTo>
                    <a:cubicBezTo>
                      <a:pt x="144" y="361"/>
                      <a:pt x="144" y="361"/>
                      <a:pt x="144" y="361"/>
                    </a:cubicBezTo>
                    <a:close/>
                    <a:moveTo>
                      <a:pt x="141" y="359"/>
                    </a:moveTo>
                    <a:cubicBezTo>
                      <a:pt x="139" y="360"/>
                      <a:pt x="139" y="360"/>
                      <a:pt x="139" y="360"/>
                    </a:cubicBezTo>
                    <a:cubicBezTo>
                      <a:pt x="140" y="361"/>
                      <a:pt x="140" y="361"/>
                      <a:pt x="140" y="361"/>
                    </a:cubicBezTo>
                    <a:cubicBezTo>
                      <a:pt x="141" y="362"/>
                      <a:pt x="141" y="362"/>
                      <a:pt x="141" y="362"/>
                    </a:cubicBezTo>
                    <a:cubicBezTo>
                      <a:pt x="143" y="362"/>
                      <a:pt x="143" y="362"/>
                      <a:pt x="143" y="362"/>
                    </a:cubicBezTo>
                    <a:cubicBezTo>
                      <a:pt x="143" y="361"/>
                      <a:pt x="143" y="361"/>
                      <a:pt x="143" y="361"/>
                    </a:cubicBezTo>
                    <a:cubicBezTo>
                      <a:pt x="142" y="360"/>
                      <a:pt x="142" y="360"/>
                      <a:pt x="142" y="360"/>
                    </a:cubicBezTo>
                    <a:cubicBezTo>
                      <a:pt x="141" y="359"/>
                      <a:pt x="141" y="359"/>
                      <a:pt x="141" y="359"/>
                    </a:cubicBezTo>
                    <a:close/>
                    <a:moveTo>
                      <a:pt x="231" y="278"/>
                    </a:moveTo>
                    <a:cubicBezTo>
                      <a:pt x="230" y="278"/>
                      <a:pt x="230" y="278"/>
                      <a:pt x="230" y="278"/>
                    </a:cubicBezTo>
                    <a:cubicBezTo>
                      <a:pt x="232" y="277"/>
                      <a:pt x="232" y="277"/>
                      <a:pt x="232" y="277"/>
                    </a:cubicBezTo>
                    <a:cubicBezTo>
                      <a:pt x="231" y="278"/>
                      <a:pt x="231" y="278"/>
                      <a:pt x="231" y="278"/>
                    </a:cubicBezTo>
                    <a:cubicBezTo>
                      <a:pt x="231" y="278"/>
                      <a:pt x="231" y="278"/>
                      <a:pt x="231" y="278"/>
                    </a:cubicBezTo>
                    <a:close/>
                    <a:moveTo>
                      <a:pt x="227" y="279"/>
                    </a:move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7"/>
                      <a:pt x="226" y="277"/>
                      <a:pt x="226" y="277"/>
                    </a:cubicBezTo>
                    <a:cubicBezTo>
                      <a:pt x="228" y="276"/>
                      <a:pt x="228" y="276"/>
                      <a:pt x="228" y="276"/>
                    </a:cubicBezTo>
                    <a:cubicBezTo>
                      <a:pt x="230" y="275"/>
                      <a:pt x="230" y="275"/>
                      <a:pt x="230" y="275"/>
                    </a:cubicBezTo>
                    <a:cubicBezTo>
                      <a:pt x="230" y="276"/>
                      <a:pt x="230" y="276"/>
                      <a:pt x="230" y="276"/>
                    </a:cubicBezTo>
                    <a:cubicBezTo>
                      <a:pt x="228" y="278"/>
                      <a:pt x="228" y="278"/>
                      <a:pt x="228" y="278"/>
                    </a:cubicBezTo>
                    <a:cubicBezTo>
                      <a:pt x="227" y="279"/>
                      <a:pt x="227" y="279"/>
                      <a:pt x="227" y="279"/>
                    </a:cubicBezTo>
                    <a:close/>
                    <a:moveTo>
                      <a:pt x="153" y="354"/>
                    </a:moveTo>
                    <a:cubicBezTo>
                      <a:pt x="153" y="353"/>
                      <a:pt x="153" y="353"/>
                      <a:pt x="153" y="353"/>
                    </a:cubicBezTo>
                    <a:cubicBezTo>
                      <a:pt x="154" y="352"/>
                      <a:pt x="154" y="352"/>
                      <a:pt x="154" y="352"/>
                    </a:cubicBezTo>
                    <a:cubicBezTo>
                      <a:pt x="155" y="352"/>
                      <a:pt x="155" y="352"/>
                      <a:pt x="155" y="352"/>
                    </a:cubicBezTo>
                    <a:cubicBezTo>
                      <a:pt x="157" y="351"/>
                      <a:pt x="157" y="351"/>
                      <a:pt x="157" y="351"/>
                    </a:cubicBezTo>
                    <a:cubicBezTo>
                      <a:pt x="157" y="350"/>
                      <a:pt x="157" y="350"/>
                      <a:pt x="157" y="350"/>
                    </a:cubicBezTo>
                    <a:cubicBezTo>
                      <a:pt x="159" y="347"/>
                      <a:pt x="159" y="347"/>
                      <a:pt x="159" y="347"/>
                    </a:cubicBezTo>
                    <a:cubicBezTo>
                      <a:pt x="160" y="347"/>
                      <a:pt x="160" y="347"/>
                      <a:pt x="160" y="347"/>
                    </a:cubicBezTo>
                    <a:cubicBezTo>
                      <a:pt x="161" y="349"/>
                      <a:pt x="161" y="349"/>
                      <a:pt x="161" y="349"/>
                    </a:cubicBezTo>
                    <a:cubicBezTo>
                      <a:pt x="162" y="348"/>
                      <a:pt x="162" y="348"/>
                      <a:pt x="162" y="348"/>
                    </a:cubicBezTo>
                    <a:cubicBezTo>
                      <a:pt x="164" y="348"/>
                      <a:pt x="164" y="348"/>
                      <a:pt x="164" y="348"/>
                    </a:cubicBezTo>
                    <a:cubicBezTo>
                      <a:pt x="166" y="347"/>
                      <a:pt x="166" y="347"/>
                      <a:pt x="166" y="347"/>
                    </a:cubicBezTo>
                    <a:cubicBezTo>
                      <a:pt x="166" y="347"/>
                      <a:pt x="166" y="347"/>
                      <a:pt x="166" y="347"/>
                    </a:cubicBezTo>
                    <a:cubicBezTo>
                      <a:pt x="169" y="347"/>
                      <a:pt x="169" y="347"/>
                      <a:pt x="169" y="347"/>
                    </a:cubicBezTo>
                    <a:cubicBezTo>
                      <a:pt x="170" y="349"/>
                      <a:pt x="170" y="349"/>
                      <a:pt x="170" y="349"/>
                    </a:cubicBezTo>
                    <a:cubicBezTo>
                      <a:pt x="169" y="350"/>
                      <a:pt x="169" y="350"/>
                      <a:pt x="169" y="350"/>
                    </a:cubicBezTo>
                    <a:cubicBezTo>
                      <a:pt x="172" y="353"/>
                      <a:pt x="172" y="353"/>
                      <a:pt x="172" y="353"/>
                    </a:cubicBezTo>
                    <a:cubicBezTo>
                      <a:pt x="172" y="354"/>
                      <a:pt x="172" y="354"/>
                      <a:pt x="172" y="354"/>
                    </a:cubicBezTo>
                    <a:cubicBezTo>
                      <a:pt x="169" y="353"/>
                      <a:pt x="169" y="353"/>
                      <a:pt x="169" y="353"/>
                    </a:cubicBezTo>
                    <a:cubicBezTo>
                      <a:pt x="168" y="355"/>
                      <a:pt x="168" y="355"/>
                      <a:pt x="168" y="355"/>
                    </a:cubicBezTo>
                    <a:cubicBezTo>
                      <a:pt x="165" y="355"/>
                      <a:pt x="165" y="355"/>
                      <a:pt x="165" y="355"/>
                    </a:cubicBezTo>
                    <a:cubicBezTo>
                      <a:pt x="163" y="354"/>
                      <a:pt x="163" y="354"/>
                      <a:pt x="163" y="354"/>
                    </a:cubicBezTo>
                    <a:cubicBezTo>
                      <a:pt x="159" y="354"/>
                      <a:pt x="159" y="354"/>
                      <a:pt x="159" y="354"/>
                    </a:cubicBezTo>
                    <a:cubicBezTo>
                      <a:pt x="157" y="357"/>
                      <a:pt x="157" y="357"/>
                      <a:pt x="157" y="357"/>
                    </a:cubicBezTo>
                    <a:cubicBezTo>
                      <a:pt x="156" y="357"/>
                      <a:pt x="156" y="357"/>
                      <a:pt x="156" y="357"/>
                    </a:cubicBezTo>
                    <a:cubicBezTo>
                      <a:pt x="155" y="357"/>
                      <a:pt x="155" y="357"/>
                      <a:pt x="155" y="357"/>
                    </a:cubicBezTo>
                    <a:cubicBezTo>
                      <a:pt x="153" y="356"/>
                      <a:pt x="153" y="356"/>
                      <a:pt x="153" y="356"/>
                    </a:cubicBezTo>
                    <a:lnTo>
                      <a:pt x="153" y="35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8" name="Rectangle 317">
                <a:extLst>
                  <a:ext uri="{FF2B5EF4-FFF2-40B4-BE49-F238E27FC236}">
                    <a16:creationId xmlns:a16="http://schemas.microsoft.com/office/drawing/2014/main" xmlns="" id="{7FC86916-1D8F-4F10-8BE3-06E68E960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2" y="1735"/>
                <a:ext cx="3" cy="4"/>
              </a:xfrm>
              <a:prstGeom prst="rect">
                <a:avLst/>
              </a:pr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xmlns="" id="{D474D77C-B1A6-4D67-B6DF-8B8803DBB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9" y="1750"/>
                <a:ext cx="36" cy="15"/>
              </a:xfrm>
              <a:custGeom>
                <a:avLst/>
                <a:gdLst>
                  <a:gd name="T0" fmla="*/ 5 w 36"/>
                  <a:gd name="T1" fmla="*/ 2 h 15"/>
                  <a:gd name="T2" fmla="*/ 8 w 36"/>
                  <a:gd name="T3" fmla="*/ 2 h 15"/>
                  <a:gd name="T4" fmla="*/ 13 w 36"/>
                  <a:gd name="T5" fmla="*/ 0 h 15"/>
                  <a:gd name="T6" fmla="*/ 26 w 36"/>
                  <a:gd name="T7" fmla="*/ 2 h 15"/>
                  <a:gd name="T8" fmla="*/ 30 w 36"/>
                  <a:gd name="T9" fmla="*/ 6 h 15"/>
                  <a:gd name="T10" fmla="*/ 33 w 36"/>
                  <a:gd name="T11" fmla="*/ 6 h 15"/>
                  <a:gd name="T12" fmla="*/ 36 w 36"/>
                  <a:gd name="T13" fmla="*/ 10 h 15"/>
                  <a:gd name="T14" fmla="*/ 34 w 36"/>
                  <a:gd name="T15" fmla="*/ 11 h 15"/>
                  <a:gd name="T16" fmla="*/ 30 w 36"/>
                  <a:gd name="T17" fmla="*/ 11 h 15"/>
                  <a:gd name="T18" fmla="*/ 28 w 36"/>
                  <a:gd name="T19" fmla="*/ 10 h 15"/>
                  <a:gd name="T20" fmla="*/ 26 w 36"/>
                  <a:gd name="T21" fmla="*/ 13 h 15"/>
                  <a:gd name="T22" fmla="*/ 25 w 36"/>
                  <a:gd name="T23" fmla="*/ 13 h 15"/>
                  <a:gd name="T24" fmla="*/ 23 w 36"/>
                  <a:gd name="T25" fmla="*/ 11 h 15"/>
                  <a:gd name="T26" fmla="*/ 21 w 36"/>
                  <a:gd name="T27" fmla="*/ 11 h 15"/>
                  <a:gd name="T28" fmla="*/ 21 w 36"/>
                  <a:gd name="T29" fmla="*/ 15 h 15"/>
                  <a:gd name="T30" fmla="*/ 16 w 36"/>
                  <a:gd name="T31" fmla="*/ 15 h 15"/>
                  <a:gd name="T32" fmla="*/ 15 w 36"/>
                  <a:gd name="T33" fmla="*/ 13 h 15"/>
                  <a:gd name="T34" fmla="*/ 10 w 36"/>
                  <a:gd name="T35" fmla="*/ 13 h 15"/>
                  <a:gd name="T36" fmla="*/ 8 w 36"/>
                  <a:gd name="T37" fmla="*/ 11 h 15"/>
                  <a:gd name="T38" fmla="*/ 7 w 36"/>
                  <a:gd name="T39" fmla="*/ 6 h 15"/>
                  <a:gd name="T40" fmla="*/ 5 w 36"/>
                  <a:gd name="T41" fmla="*/ 6 h 15"/>
                  <a:gd name="T42" fmla="*/ 3 w 36"/>
                  <a:gd name="T43" fmla="*/ 6 h 15"/>
                  <a:gd name="T44" fmla="*/ 0 w 36"/>
                  <a:gd name="T45" fmla="*/ 5 h 15"/>
                  <a:gd name="T46" fmla="*/ 2 w 36"/>
                  <a:gd name="T47" fmla="*/ 2 h 15"/>
                  <a:gd name="T48" fmla="*/ 5 w 36"/>
                  <a:gd name="T4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15">
                    <a:moveTo>
                      <a:pt x="5" y="2"/>
                    </a:moveTo>
                    <a:lnTo>
                      <a:pt x="8" y="2"/>
                    </a:lnTo>
                    <a:lnTo>
                      <a:pt x="13" y="0"/>
                    </a:lnTo>
                    <a:lnTo>
                      <a:pt x="26" y="2"/>
                    </a:lnTo>
                    <a:lnTo>
                      <a:pt x="30" y="6"/>
                    </a:lnTo>
                    <a:lnTo>
                      <a:pt x="33" y="6"/>
                    </a:lnTo>
                    <a:lnTo>
                      <a:pt x="36" y="10"/>
                    </a:lnTo>
                    <a:lnTo>
                      <a:pt x="34" y="11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6" y="13"/>
                    </a:lnTo>
                    <a:lnTo>
                      <a:pt x="25" y="13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1" y="15"/>
                    </a:lnTo>
                    <a:lnTo>
                      <a:pt x="16" y="15"/>
                    </a:lnTo>
                    <a:lnTo>
                      <a:pt x="15" y="13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7" y="6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xmlns="" id="{E155E533-18CD-4634-A0D7-F458AFD850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1" y="1721"/>
                <a:ext cx="44" cy="39"/>
              </a:xfrm>
              <a:custGeom>
                <a:avLst/>
                <a:gdLst>
                  <a:gd name="T0" fmla="*/ 23 w 27"/>
                  <a:gd name="T1" fmla="*/ 21 h 24"/>
                  <a:gd name="T2" fmla="*/ 25 w 27"/>
                  <a:gd name="T3" fmla="*/ 18 h 24"/>
                  <a:gd name="T4" fmla="*/ 25 w 27"/>
                  <a:gd name="T5" fmla="*/ 14 h 24"/>
                  <a:gd name="T6" fmla="*/ 26 w 27"/>
                  <a:gd name="T7" fmla="*/ 12 h 24"/>
                  <a:gd name="T8" fmla="*/ 26 w 27"/>
                  <a:gd name="T9" fmla="*/ 9 h 24"/>
                  <a:gd name="T10" fmla="*/ 27 w 27"/>
                  <a:gd name="T11" fmla="*/ 6 h 24"/>
                  <a:gd name="T12" fmla="*/ 25 w 27"/>
                  <a:gd name="T13" fmla="*/ 5 h 24"/>
                  <a:gd name="T14" fmla="*/ 22 w 27"/>
                  <a:gd name="T15" fmla="*/ 4 h 24"/>
                  <a:gd name="T16" fmla="*/ 16 w 27"/>
                  <a:gd name="T17" fmla="*/ 4 h 24"/>
                  <a:gd name="T18" fmla="*/ 11 w 27"/>
                  <a:gd name="T19" fmla="*/ 4 h 24"/>
                  <a:gd name="T20" fmla="*/ 13 w 27"/>
                  <a:gd name="T21" fmla="*/ 6 h 24"/>
                  <a:gd name="T22" fmla="*/ 17 w 27"/>
                  <a:gd name="T23" fmla="*/ 9 h 24"/>
                  <a:gd name="T24" fmla="*/ 17 w 27"/>
                  <a:gd name="T25" fmla="*/ 13 h 24"/>
                  <a:gd name="T26" fmla="*/ 20 w 27"/>
                  <a:gd name="T27" fmla="*/ 15 h 24"/>
                  <a:gd name="T28" fmla="*/ 22 w 27"/>
                  <a:gd name="T29" fmla="*/ 18 h 24"/>
                  <a:gd name="T30" fmla="*/ 17 w 27"/>
                  <a:gd name="T31" fmla="*/ 19 h 24"/>
                  <a:gd name="T32" fmla="*/ 13 w 27"/>
                  <a:gd name="T33" fmla="*/ 18 h 24"/>
                  <a:gd name="T34" fmla="*/ 8 w 27"/>
                  <a:gd name="T35" fmla="*/ 18 h 24"/>
                  <a:gd name="T36" fmla="*/ 7 w 27"/>
                  <a:gd name="T37" fmla="*/ 17 h 24"/>
                  <a:gd name="T38" fmla="*/ 3 w 27"/>
                  <a:gd name="T39" fmla="*/ 16 h 24"/>
                  <a:gd name="T40" fmla="*/ 0 w 27"/>
                  <a:gd name="T41" fmla="*/ 19 h 24"/>
                  <a:gd name="T42" fmla="*/ 3 w 27"/>
                  <a:gd name="T43" fmla="*/ 20 h 24"/>
                  <a:gd name="T44" fmla="*/ 6 w 27"/>
                  <a:gd name="T45" fmla="*/ 24 h 24"/>
                  <a:gd name="T46" fmla="*/ 8 w 27"/>
                  <a:gd name="T47" fmla="*/ 21 h 24"/>
                  <a:gd name="T48" fmla="*/ 14 w 27"/>
                  <a:gd name="T49" fmla="*/ 22 h 24"/>
                  <a:gd name="T50" fmla="*/ 20 w 27"/>
                  <a:gd name="T51" fmla="*/ 22 h 24"/>
                  <a:gd name="T52" fmla="*/ 23 w 27"/>
                  <a:gd name="T53" fmla="*/ 22 h 24"/>
                  <a:gd name="T54" fmla="*/ 17 w 27"/>
                  <a:gd name="T55" fmla="*/ 0 h 24"/>
                  <a:gd name="T56" fmla="*/ 17 w 27"/>
                  <a:gd name="T57" fmla="*/ 3 h 24"/>
                  <a:gd name="T58" fmla="*/ 12 w 27"/>
                  <a:gd name="T59" fmla="*/ 14 h 24"/>
                  <a:gd name="T60" fmla="*/ 16 w 27"/>
                  <a:gd name="T61" fmla="*/ 14 h 24"/>
                  <a:gd name="T62" fmla="*/ 13 w 27"/>
                  <a:gd name="T63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" h="24">
                    <a:moveTo>
                      <a:pt x="23" y="22"/>
                    </a:moveTo>
                    <a:cubicBezTo>
                      <a:pt x="23" y="21"/>
                      <a:pt x="23" y="21"/>
                      <a:pt x="23" y="21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3" y="6"/>
                      <a:pt x="13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3" y="22"/>
                      <a:pt x="23" y="22"/>
                      <a:pt x="23" y="22"/>
                    </a:cubicBezTo>
                    <a:close/>
                    <a:moveTo>
                      <a:pt x="16" y="1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1"/>
                      <a:pt x="16" y="1"/>
                      <a:pt x="16" y="1"/>
                    </a:cubicBezTo>
                    <a:close/>
                    <a:moveTo>
                      <a:pt x="12" y="14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2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xmlns="" id="{DA3130FC-6D74-4D59-9A8F-22F4BD529A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0" y="1667"/>
                <a:ext cx="168" cy="62"/>
              </a:xfrm>
              <a:custGeom>
                <a:avLst/>
                <a:gdLst>
                  <a:gd name="T0" fmla="*/ 34 w 168"/>
                  <a:gd name="T1" fmla="*/ 24 h 62"/>
                  <a:gd name="T2" fmla="*/ 32 w 168"/>
                  <a:gd name="T3" fmla="*/ 31 h 62"/>
                  <a:gd name="T4" fmla="*/ 31 w 168"/>
                  <a:gd name="T5" fmla="*/ 29 h 62"/>
                  <a:gd name="T6" fmla="*/ 32 w 168"/>
                  <a:gd name="T7" fmla="*/ 27 h 62"/>
                  <a:gd name="T8" fmla="*/ 8 w 168"/>
                  <a:gd name="T9" fmla="*/ 18 h 62"/>
                  <a:gd name="T10" fmla="*/ 6 w 168"/>
                  <a:gd name="T11" fmla="*/ 19 h 62"/>
                  <a:gd name="T12" fmla="*/ 0 w 168"/>
                  <a:gd name="T13" fmla="*/ 24 h 62"/>
                  <a:gd name="T14" fmla="*/ 6 w 168"/>
                  <a:gd name="T15" fmla="*/ 22 h 62"/>
                  <a:gd name="T16" fmla="*/ 13 w 168"/>
                  <a:gd name="T17" fmla="*/ 22 h 62"/>
                  <a:gd name="T18" fmla="*/ 22 w 168"/>
                  <a:gd name="T19" fmla="*/ 18 h 62"/>
                  <a:gd name="T20" fmla="*/ 32 w 168"/>
                  <a:gd name="T21" fmla="*/ 13 h 62"/>
                  <a:gd name="T22" fmla="*/ 40 w 168"/>
                  <a:gd name="T23" fmla="*/ 11 h 62"/>
                  <a:gd name="T24" fmla="*/ 52 w 168"/>
                  <a:gd name="T25" fmla="*/ 13 h 62"/>
                  <a:gd name="T26" fmla="*/ 45 w 168"/>
                  <a:gd name="T27" fmla="*/ 16 h 62"/>
                  <a:gd name="T28" fmla="*/ 58 w 168"/>
                  <a:gd name="T29" fmla="*/ 19 h 62"/>
                  <a:gd name="T30" fmla="*/ 68 w 168"/>
                  <a:gd name="T31" fmla="*/ 21 h 62"/>
                  <a:gd name="T32" fmla="*/ 73 w 168"/>
                  <a:gd name="T33" fmla="*/ 21 h 62"/>
                  <a:gd name="T34" fmla="*/ 83 w 168"/>
                  <a:gd name="T35" fmla="*/ 27 h 62"/>
                  <a:gd name="T36" fmla="*/ 91 w 168"/>
                  <a:gd name="T37" fmla="*/ 29 h 62"/>
                  <a:gd name="T38" fmla="*/ 99 w 168"/>
                  <a:gd name="T39" fmla="*/ 29 h 62"/>
                  <a:gd name="T40" fmla="*/ 109 w 168"/>
                  <a:gd name="T41" fmla="*/ 45 h 62"/>
                  <a:gd name="T42" fmla="*/ 120 w 168"/>
                  <a:gd name="T43" fmla="*/ 45 h 62"/>
                  <a:gd name="T44" fmla="*/ 122 w 168"/>
                  <a:gd name="T45" fmla="*/ 52 h 62"/>
                  <a:gd name="T46" fmla="*/ 114 w 168"/>
                  <a:gd name="T47" fmla="*/ 60 h 62"/>
                  <a:gd name="T48" fmla="*/ 125 w 168"/>
                  <a:gd name="T49" fmla="*/ 60 h 62"/>
                  <a:gd name="T50" fmla="*/ 143 w 168"/>
                  <a:gd name="T51" fmla="*/ 62 h 62"/>
                  <a:gd name="T52" fmla="*/ 153 w 168"/>
                  <a:gd name="T53" fmla="*/ 58 h 62"/>
                  <a:gd name="T54" fmla="*/ 166 w 168"/>
                  <a:gd name="T55" fmla="*/ 57 h 62"/>
                  <a:gd name="T56" fmla="*/ 163 w 168"/>
                  <a:gd name="T57" fmla="*/ 52 h 62"/>
                  <a:gd name="T58" fmla="*/ 147 w 168"/>
                  <a:gd name="T59" fmla="*/ 44 h 62"/>
                  <a:gd name="T60" fmla="*/ 147 w 168"/>
                  <a:gd name="T61" fmla="*/ 37 h 62"/>
                  <a:gd name="T62" fmla="*/ 138 w 168"/>
                  <a:gd name="T63" fmla="*/ 37 h 62"/>
                  <a:gd name="T64" fmla="*/ 129 w 168"/>
                  <a:gd name="T65" fmla="*/ 32 h 62"/>
                  <a:gd name="T66" fmla="*/ 122 w 168"/>
                  <a:gd name="T67" fmla="*/ 31 h 62"/>
                  <a:gd name="T68" fmla="*/ 119 w 168"/>
                  <a:gd name="T69" fmla="*/ 29 h 62"/>
                  <a:gd name="T70" fmla="*/ 107 w 168"/>
                  <a:gd name="T71" fmla="*/ 22 h 62"/>
                  <a:gd name="T72" fmla="*/ 91 w 168"/>
                  <a:gd name="T73" fmla="*/ 16 h 62"/>
                  <a:gd name="T74" fmla="*/ 83 w 168"/>
                  <a:gd name="T75" fmla="*/ 8 h 62"/>
                  <a:gd name="T76" fmla="*/ 66 w 168"/>
                  <a:gd name="T77" fmla="*/ 5 h 62"/>
                  <a:gd name="T78" fmla="*/ 55 w 168"/>
                  <a:gd name="T79" fmla="*/ 1 h 62"/>
                  <a:gd name="T80" fmla="*/ 39 w 168"/>
                  <a:gd name="T81" fmla="*/ 3 h 62"/>
                  <a:gd name="T82" fmla="*/ 21 w 168"/>
                  <a:gd name="T83" fmla="*/ 8 h 62"/>
                  <a:gd name="T84" fmla="*/ 9 w 168"/>
                  <a:gd name="T85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8" h="62">
                    <a:moveTo>
                      <a:pt x="31" y="26"/>
                    </a:moveTo>
                    <a:lnTo>
                      <a:pt x="32" y="22"/>
                    </a:lnTo>
                    <a:lnTo>
                      <a:pt x="34" y="24"/>
                    </a:lnTo>
                    <a:lnTo>
                      <a:pt x="37" y="27"/>
                    </a:lnTo>
                    <a:lnTo>
                      <a:pt x="37" y="31"/>
                    </a:lnTo>
                    <a:lnTo>
                      <a:pt x="32" y="31"/>
                    </a:lnTo>
                    <a:lnTo>
                      <a:pt x="29" y="31"/>
                    </a:lnTo>
                    <a:lnTo>
                      <a:pt x="29" y="27"/>
                    </a:lnTo>
                    <a:lnTo>
                      <a:pt x="31" y="29"/>
                    </a:lnTo>
                    <a:lnTo>
                      <a:pt x="32" y="29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6"/>
                    </a:lnTo>
                    <a:close/>
                    <a:moveTo>
                      <a:pt x="8" y="18"/>
                    </a:moveTo>
                    <a:lnTo>
                      <a:pt x="11" y="19"/>
                    </a:lnTo>
                    <a:lnTo>
                      <a:pt x="9" y="21"/>
                    </a:lnTo>
                    <a:lnTo>
                      <a:pt x="6" y="19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1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6" y="18"/>
                    </a:lnTo>
                    <a:lnTo>
                      <a:pt x="21" y="19"/>
                    </a:lnTo>
                    <a:lnTo>
                      <a:pt x="22" y="18"/>
                    </a:lnTo>
                    <a:lnTo>
                      <a:pt x="24" y="19"/>
                    </a:lnTo>
                    <a:lnTo>
                      <a:pt x="27" y="19"/>
                    </a:lnTo>
                    <a:lnTo>
                      <a:pt x="32" y="13"/>
                    </a:lnTo>
                    <a:lnTo>
                      <a:pt x="34" y="13"/>
                    </a:lnTo>
                    <a:lnTo>
                      <a:pt x="35" y="9"/>
                    </a:lnTo>
                    <a:lnTo>
                      <a:pt x="40" y="11"/>
                    </a:lnTo>
                    <a:lnTo>
                      <a:pt x="44" y="11"/>
                    </a:lnTo>
                    <a:lnTo>
                      <a:pt x="50" y="11"/>
                    </a:lnTo>
                    <a:lnTo>
                      <a:pt x="52" y="13"/>
                    </a:lnTo>
                    <a:lnTo>
                      <a:pt x="50" y="14"/>
                    </a:lnTo>
                    <a:lnTo>
                      <a:pt x="47" y="14"/>
                    </a:lnTo>
                    <a:lnTo>
                      <a:pt x="45" y="16"/>
                    </a:lnTo>
                    <a:lnTo>
                      <a:pt x="47" y="18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2" y="19"/>
                    </a:lnTo>
                    <a:lnTo>
                      <a:pt x="63" y="21"/>
                    </a:lnTo>
                    <a:lnTo>
                      <a:pt x="68" y="21"/>
                    </a:lnTo>
                    <a:lnTo>
                      <a:pt x="70" y="21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3" y="22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6"/>
                    </a:lnTo>
                    <a:lnTo>
                      <a:pt x="88" y="29"/>
                    </a:lnTo>
                    <a:lnTo>
                      <a:pt x="91" y="29"/>
                    </a:lnTo>
                    <a:lnTo>
                      <a:pt x="93" y="29"/>
                    </a:lnTo>
                    <a:lnTo>
                      <a:pt x="98" y="27"/>
                    </a:lnTo>
                    <a:lnTo>
                      <a:pt x="99" y="29"/>
                    </a:lnTo>
                    <a:lnTo>
                      <a:pt x="101" y="39"/>
                    </a:lnTo>
                    <a:lnTo>
                      <a:pt x="107" y="45"/>
                    </a:lnTo>
                    <a:lnTo>
                      <a:pt x="109" y="45"/>
                    </a:lnTo>
                    <a:lnTo>
                      <a:pt x="111" y="44"/>
                    </a:lnTo>
                    <a:lnTo>
                      <a:pt x="114" y="45"/>
                    </a:lnTo>
                    <a:lnTo>
                      <a:pt x="120" y="45"/>
                    </a:lnTo>
                    <a:lnTo>
                      <a:pt x="120" y="47"/>
                    </a:lnTo>
                    <a:lnTo>
                      <a:pt x="124" y="49"/>
                    </a:lnTo>
                    <a:lnTo>
                      <a:pt x="122" y="52"/>
                    </a:lnTo>
                    <a:lnTo>
                      <a:pt x="119" y="52"/>
                    </a:lnTo>
                    <a:lnTo>
                      <a:pt x="114" y="57"/>
                    </a:lnTo>
                    <a:lnTo>
                      <a:pt x="114" y="60"/>
                    </a:lnTo>
                    <a:lnTo>
                      <a:pt x="119" y="62"/>
                    </a:lnTo>
                    <a:lnTo>
                      <a:pt x="122" y="60"/>
                    </a:lnTo>
                    <a:lnTo>
                      <a:pt x="125" y="60"/>
                    </a:lnTo>
                    <a:lnTo>
                      <a:pt x="133" y="58"/>
                    </a:lnTo>
                    <a:lnTo>
                      <a:pt x="137" y="60"/>
                    </a:lnTo>
                    <a:lnTo>
                      <a:pt x="143" y="62"/>
                    </a:lnTo>
                    <a:lnTo>
                      <a:pt x="151" y="60"/>
                    </a:lnTo>
                    <a:lnTo>
                      <a:pt x="151" y="58"/>
                    </a:lnTo>
                    <a:lnTo>
                      <a:pt x="153" y="58"/>
                    </a:lnTo>
                    <a:lnTo>
                      <a:pt x="156" y="57"/>
                    </a:lnTo>
                    <a:lnTo>
                      <a:pt x="161" y="57"/>
                    </a:lnTo>
                    <a:lnTo>
                      <a:pt x="166" y="57"/>
                    </a:lnTo>
                    <a:lnTo>
                      <a:pt x="168" y="54"/>
                    </a:lnTo>
                    <a:lnTo>
                      <a:pt x="166" y="52"/>
                    </a:lnTo>
                    <a:lnTo>
                      <a:pt x="163" y="52"/>
                    </a:lnTo>
                    <a:lnTo>
                      <a:pt x="161" y="47"/>
                    </a:lnTo>
                    <a:lnTo>
                      <a:pt x="155" y="44"/>
                    </a:lnTo>
                    <a:lnTo>
                      <a:pt x="147" y="44"/>
                    </a:lnTo>
                    <a:lnTo>
                      <a:pt x="143" y="44"/>
                    </a:lnTo>
                    <a:lnTo>
                      <a:pt x="145" y="42"/>
                    </a:lnTo>
                    <a:lnTo>
                      <a:pt x="147" y="37"/>
                    </a:lnTo>
                    <a:lnTo>
                      <a:pt x="145" y="37"/>
                    </a:lnTo>
                    <a:lnTo>
                      <a:pt x="142" y="37"/>
                    </a:lnTo>
                    <a:lnTo>
                      <a:pt x="138" y="37"/>
                    </a:lnTo>
                    <a:lnTo>
                      <a:pt x="133" y="34"/>
                    </a:lnTo>
                    <a:lnTo>
                      <a:pt x="132" y="34"/>
                    </a:lnTo>
                    <a:lnTo>
                      <a:pt x="129" y="32"/>
                    </a:lnTo>
                    <a:lnTo>
                      <a:pt x="125" y="29"/>
                    </a:lnTo>
                    <a:lnTo>
                      <a:pt x="122" y="32"/>
                    </a:lnTo>
                    <a:lnTo>
                      <a:pt x="122" y="31"/>
                    </a:lnTo>
                    <a:lnTo>
                      <a:pt x="122" y="29"/>
                    </a:lnTo>
                    <a:lnTo>
                      <a:pt x="120" y="27"/>
                    </a:lnTo>
                    <a:lnTo>
                      <a:pt x="119" y="29"/>
                    </a:lnTo>
                    <a:lnTo>
                      <a:pt x="117" y="27"/>
                    </a:lnTo>
                    <a:lnTo>
                      <a:pt x="111" y="26"/>
                    </a:lnTo>
                    <a:lnTo>
                      <a:pt x="107" y="22"/>
                    </a:lnTo>
                    <a:lnTo>
                      <a:pt x="104" y="19"/>
                    </a:lnTo>
                    <a:lnTo>
                      <a:pt x="99" y="18"/>
                    </a:lnTo>
                    <a:lnTo>
                      <a:pt x="91" y="16"/>
                    </a:lnTo>
                    <a:lnTo>
                      <a:pt x="88" y="14"/>
                    </a:lnTo>
                    <a:lnTo>
                      <a:pt x="86" y="11"/>
                    </a:lnTo>
                    <a:lnTo>
                      <a:pt x="83" y="8"/>
                    </a:lnTo>
                    <a:lnTo>
                      <a:pt x="80" y="8"/>
                    </a:lnTo>
                    <a:lnTo>
                      <a:pt x="78" y="6"/>
                    </a:lnTo>
                    <a:lnTo>
                      <a:pt x="66" y="5"/>
                    </a:lnTo>
                    <a:lnTo>
                      <a:pt x="63" y="6"/>
                    </a:lnTo>
                    <a:lnTo>
                      <a:pt x="58" y="5"/>
                    </a:lnTo>
                    <a:lnTo>
                      <a:pt x="55" y="1"/>
                    </a:lnTo>
                    <a:lnTo>
                      <a:pt x="49" y="0"/>
                    </a:lnTo>
                    <a:lnTo>
                      <a:pt x="42" y="0"/>
                    </a:lnTo>
                    <a:lnTo>
                      <a:pt x="39" y="3"/>
                    </a:lnTo>
                    <a:lnTo>
                      <a:pt x="29" y="3"/>
                    </a:lnTo>
                    <a:lnTo>
                      <a:pt x="22" y="5"/>
                    </a:lnTo>
                    <a:lnTo>
                      <a:pt x="21" y="8"/>
                    </a:lnTo>
                    <a:lnTo>
                      <a:pt x="14" y="9"/>
                    </a:lnTo>
                    <a:lnTo>
                      <a:pt x="11" y="13"/>
                    </a:lnTo>
                    <a:lnTo>
                      <a:pt x="9" y="14"/>
                    </a:lnTo>
                    <a:lnTo>
                      <a:pt x="8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xmlns="" id="{1C6660CD-9B32-4E3B-999E-48DBCAAA3A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2" y="1601"/>
                <a:ext cx="90" cy="108"/>
              </a:xfrm>
              <a:custGeom>
                <a:avLst/>
                <a:gdLst>
                  <a:gd name="T0" fmla="*/ 85 w 90"/>
                  <a:gd name="T1" fmla="*/ 95 h 108"/>
                  <a:gd name="T2" fmla="*/ 74 w 90"/>
                  <a:gd name="T3" fmla="*/ 108 h 108"/>
                  <a:gd name="T4" fmla="*/ 84 w 90"/>
                  <a:gd name="T5" fmla="*/ 100 h 108"/>
                  <a:gd name="T6" fmla="*/ 79 w 90"/>
                  <a:gd name="T7" fmla="*/ 102 h 108"/>
                  <a:gd name="T8" fmla="*/ 74 w 90"/>
                  <a:gd name="T9" fmla="*/ 108 h 108"/>
                  <a:gd name="T10" fmla="*/ 90 w 90"/>
                  <a:gd name="T11" fmla="*/ 84 h 108"/>
                  <a:gd name="T12" fmla="*/ 84 w 90"/>
                  <a:gd name="T13" fmla="*/ 84 h 108"/>
                  <a:gd name="T14" fmla="*/ 74 w 90"/>
                  <a:gd name="T15" fmla="*/ 74 h 108"/>
                  <a:gd name="T16" fmla="*/ 67 w 90"/>
                  <a:gd name="T17" fmla="*/ 82 h 108"/>
                  <a:gd name="T18" fmla="*/ 67 w 90"/>
                  <a:gd name="T19" fmla="*/ 84 h 108"/>
                  <a:gd name="T20" fmla="*/ 74 w 90"/>
                  <a:gd name="T21" fmla="*/ 74 h 108"/>
                  <a:gd name="T22" fmla="*/ 69 w 90"/>
                  <a:gd name="T23" fmla="*/ 74 h 108"/>
                  <a:gd name="T24" fmla="*/ 64 w 90"/>
                  <a:gd name="T25" fmla="*/ 74 h 108"/>
                  <a:gd name="T26" fmla="*/ 53 w 90"/>
                  <a:gd name="T27" fmla="*/ 59 h 108"/>
                  <a:gd name="T28" fmla="*/ 59 w 90"/>
                  <a:gd name="T29" fmla="*/ 72 h 108"/>
                  <a:gd name="T30" fmla="*/ 53 w 90"/>
                  <a:gd name="T31" fmla="*/ 66 h 108"/>
                  <a:gd name="T32" fmla="*/ 53 w 90"/>
                  <a:gd name="T33" fmla="*/ 59 h 108"/>
                  <a:gd name="T34" fmla="*/ 41 w 90"/>
                  <a:gd name="T35" fmla="*/ 59 h 108"/>
                  <a:gd name="T36" fmla="*/ 41 w 90"/>
                  <a:gd name="T37" fmla="*/ 57 h 108"/>
                  <a:gd name="T38" fmla="*/ 66 w 90"/>
                  <a:gd name="T39" fmla="*/ 56 h 108"/>
                  <a:gd name="T40" fmla="*/ 66 w 90"/>
                  <a:gd name="T41" fmla="*/ 51 h 108"/>
                  <a:gd name="T42" fmla="*/ 51 w 90"/>
                  <a:gd name="T43" fmla="*/ 46 h 108"/>
                  <a:gd name="T44" fmla="*/ 51 w 90"/>
                  <a:gd name="T45" fmla="*/ 54 h 108"/>
                  <a:gd name="T46" fmla="*/ 53 w 90"/>
                  <a:gd name="T47" fmla="*/ 48 h 108"/>
                  <a:gd name="T48" fmla="*/ 49 w 90"/>
                  <a:gd name="T49" fmla="*/ 41 h 108"/>
                  <a:gd name="T50" fmla="*/ 43 w 90"/>
                  <a:gd name="T51" fmla="*/ 35 h 108"/>
                  <a:gd name="T52" fmla="*/ 38 w 90"/>
                  <a:gd name="T53" fmla="*/ 38 h 108"/>
                  <a:gd name="T54" fmla="*/ 40 w 90"/>
                  <a:gd name="T55" fmla="*/ 31 h 108"/>
                  <a:gd name="T56" fmla="*/ 36 w 90"/>
                  <a:gd name="T57" fmla="*/ 28 h 108"/>
                  <a:gd name="T58" fmla="*/ 28 w 90"/>
                  <a:gd name="T59" fmla="*/ 4 h 108"/>
                  <a:gd name="T60" fmla="*/ 31 w 90"/>
                  <a:gd name="T61" fmla="*/ 12 h 108"/>
                  <a:gd name="T62" fmla="*/ 27 w 90"/>
                  <a:gd name="T63" fmla="*/ 20 h 108"/>
                  <a:gd name="T64" fmla="*/ 28 w 90"/>
                  <a:gd name="T65" fmla="*/ 8 h 108"/>
                  <a:gd name="T66" fmla="*/ 20 w 90"/>
                  <a:gd name="T67" fmla="*/ 0 h 108"/>
                  <a:gd name="T68" fmla="*/ 4 w 90"/>
                  <a:gd name="T69" fmla="*/ 4 h 108"/>
                  <a:gd name="T70" fmla="*/ 15 w 90"/>
                  <a:gd name="T71" fmla="*/ 2 h 108"/>
                  <a:gd name="T72" fmla="*/ 13 w 90"/>
                  <a:gd name="T73" fmla="*/ 4 h 108"/>
                  <a:gd name="T74" fmla="*/ 0 w 90"/>
                  <a:gd name="T75" fmla="*/ 4 h 108"/>
                  <a:gd name="T76" fmla="*/ 23 w 90"/>
                  <a:gd name="T77" fmla="*/ 31 h 108"/>
                  <a:gd name="T78" fmla="*/ 22 w 90"/>
                  <a:gd name="T79" fmla="*/ 35 h 108"/>
                  <a:gd name="T80" fmla="*/ 15 w 90"/>
                  <a:gd name="T81" fmla="*/ 49 h 108"/>
                  <a:gd name="T82" fmla="*/ 15 w 90"/>
                  <a:gd name="T83" fmla="*/ 49 h 108"/>
                  <a:gd name="T84" fmla="*/ 13 w 90"/>
                  <a:gd name="T85" fmla="*/ 49 h 108"/>
                  <a:gd name="T86" fmla="*/ 12 w 90"/>
                  <a:gd name="T87" fmla="*/ 49 h 108"/>
                  <a:gd name="T88" fmla="*/ 13 w 90"/>
                  <a:gd name="T89" fmla="*/ 38 h 108"/>
                  <a:gd name="T90" fmla="*/ 10 w 90"/>
                  <a:gd name="T91" fmla="*/ 38 h 108"/>
                  <a:gd name="T92" fmla="*/ 12 w 90"/>
                  <a:gd name="T93" fmla="*/ 43 h 108"/>
                  <a:gd name="T94" fmla="*/ 18 w 90"/>
                  <a:gd name="T95" fmla="*/ 49 h 108"/>
                  <a:gd name="T96" fmla="*/ 15 w 90"/>
                  <a:gd name="T97" fmla="*/ 59 h 108"/>
                  <a:gd name="T98" fmla="*/ 18 w 90"/>
                  <a:gd name="T99" fmla="*/ 5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0" h="108">
                    <a:moveTo>
                      <a:pt x="84" y="98"/>
                    </a:moveTo>
                    <a:lnTo>
                      <a:pt x="85" y="98"/>
                    </a:lnTo>
                    <a:lnTo>
                      <a:pt x="85" y="95"/>
                    </a:lnTo>
                    <a:lnTo>
                      <a:pt x="84" y="98"/>
                    </a:lnTo>
                    <a:lnTo>
                      <a:pt x="84" y="98"/>
                    </a:lnTo>
                    <a:close/>
                    <a:moveTo>
                      <a:pt x="74" y="108"/>
                    </a:moveTo>
                    <a:lnTo>
                      <a:pt x="82" y="108"/>
                    </a:lnTo>
                    <a:lnTo>
                      <a:pt x="84" y="105"/>
                    </a:lnTo>
                    <a:lnTo>
                      <a:pt x="84" y="100"/>
                    </a:lnTo>
                    <a:lnTo>
                      <a:pt x="84" y="102"/>
                    </a:lnTo>
                    <a:lnTo>
                      <a:pt x="82" y="103"/>
                    </a:lnTo>
                    <a:lnTo>
                      <a:pt x="79" y="102"/>
                    </a:lnTo>
                    <a:lnTo>
                      <a:pt x="74" y="103"/>
                    </a:lnTo>
                    <a:lnTo>
                      <a:pt x="74" y="108"/>
                    </a:lnTo>
                    <a:lnTo>
                      <a:pt x="74" y="108"/>
                    </a:lnTo>
                    <a:close/>
                    <a:moveTo>
                      <a:pt x="82" y="82"/>
                    </a:moveTo>
                    <a:lnTo>
                      <a:pt x="85" y="80"/>
                    </a:lnTo>
                    <a:lnTo>
                      <a:pt x="90" y="84"/>
                    </a:lnTo>
                    <a:lnTo>
                      <a:pt x="90" y="85"/>
                    </a:lnTo>
                    <a:lnTo>
                      <a:pt x="87" y="84"/>
                    </a:lnTo>
                    <a:lnTo>
                      <a:pt x="84" y="84"/>
                    </a:lnTo>
                    <a:lnTo>
                      <a:pt x="82" y="82"/>
                    </a:lnTo>
                    <a:lnTo>
                      <a:pt x="82" y="82"/>
                    </a:lnTo>
                    <a:close/>
                    <a:moveTo>
                      <a:pt x="74" y="74"/>
                    </a:moveTo>
                    <a:lnTo>
                      <a:pt x="71" y="75"/>
                    </a:lnTo>
                    <a:lnTo>
                      <a:pt x="71" y="77"/>
                    </a:lnTo>
                    <a:lnTo>
                      <a:pt x="67" y="82"/>
                    </a:lnTo>
                    <a:lnTo>
                      <a:pt x="66" y="82"/>
                    </a:lnTo>
                    <a:lnTo>
                      <a:pt x="66" y="84"/>
                    </a:lnTo>
                    <a:lnTo>
                      <a:pt x="67" y="84"/>
                    </a:lnTo>
                    <a:lnTo>
                      <a:pt x="74" y="79"/>
                    </a:lnTo>
                    <a:lnTo>
                      <a:pt x="74" y="75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66" y="71"/>
                    </a:moveTo>
                    <a:lnTo>
                      <a:pt x="69" y="74"/>
                    </a:lnTo>
                    <a:lnTo>
                      <a:pt x="69" y="75"/>
                    </a:lnTo>
                    <a:lnTo>
                      <a:pt x="67" y="75"/>
                    </a:lnTo>
                    <a:lnTo>
                      <a:pt x="64" y="74"/>
                    </a:lnTo>
                    <a:lnTo>
                      <a:pt x="66" y="71"/>
                    </a:lnTo>
                    <a:lnTo>
                      <a:pt x="66" y="71"/>
                    </a:lnTo>
                    <a:close/>
                    <a:moveTo>
                      <a:pt x="53" y="59"/>
                    </a:moveTo>
                    <a:lnTo>
                      <a:pt x="56" y="64"/>
                    </a:lnTo>
                    <a:lnTo>
                      <a:pt x="56" y="67"/>
                    </a:lnTo>
                    <a:lnTo>
                      <a:pt x="59" y="72"/>
                    </a:lnTo>
                    <a:lnTo>
                      <a:pt x="58" y="72"/>
                    </a:lnTo>
                    <a:lnTo>
                      <a:pt x="56" y="71"/>
                    </a:lnTo>
                    <a:lnTo>
                      <a:pt x="53" y="66"/>
                    </a:lnTo>
                    <a:lnTo>
                      <a:pt x="54" y="64"/>
                    </a:lnTo>
                    <a:lnTo>
                      <a:pt x="53" y="61"/>
                    </a:lnTo>
                    <a:lnTo>
                      <a:pt x="53" y="59"/>
                    </a:lnTo>
                    <a:lnTo>
                      <a:pt x="53" y="59"/>
                    </a:lnTo>
                    <a:close/>
                    <a:moveTo>
                      <a:pt x="41" y="57"/>
                    </a:moveTo>
                    <a:lnTo>
                      <a:pt x="41" y="59"/>
                    </a:lnTo>
                    <a:lnTo>
                      <a:pt x="43" y="59"/>
                    </a:lnTo>
                    <a:lnTo>
                      <a:pt x="41" y="57"/>
                    </a:lnTo>
                    <a:lnTo>
                      <a:pt x="41" y="57"/>
                    </a:lnTo>
                    <a:close/>
                    <a:moveTo>
                      <a:pt x="66" y="51"/>
                    </a:moveTo>
                    <a:lnTo>
                      <a:pt x="64" y="54"/>
                    </a:lnTo>
                    <a:lnTo>
                      <a:pt x="66" y="56"/>
                    </a:lnTo>
                    <a:lnTo>
                      <a:pt x="67" y="53"/>
                    </a:lnTo>
                    <a:lnTo>
                      <a:pt x="66" y="51"/>
                    </a:lnTo>
                    <a:lnTo>
                      <a:pt x="66" y="51"/>
                    </a:lnTo>
                    <a:close/>
                    <a:moveTo>
                      <a:pt x="49" y="41"/>
                    </a:moveTo>
                    <a:lnTo>
                      <a:pt x="48" y="43"/>
                    </a:lnTo>
                    <a:lnTo>
                      <a:pt x="51" y="46"/>
                    </a:lnTo>
                    <a:lnTo>
                      <a:pt x="51" y="51"/>
                    </a:lnTo>
                    <a:lnTo>
                      <a:pt x="49" y="53"/>
                    </a:lnTo>
                    <a:lnTo>
                      <a:pt x="51" y="54"/>
                    </a:lnTo>
                    <a:lnTo>
                      <a:pt x="54" y="54"/>
                    </a:lnTo>
                    <a:lnTo>
                      <a:pt x="54" y="53"/>
                    </a:lnTo>
                    <a:lnTo>
                      <a:pt x="53" y="48"/>
                    </a:lnTo>
                    <a:lnTo>
                      <a:pt x="51" y="44"/>
                    </a:lnTo>
                    <a:lnTo>
                      <a:pt x="49" y="41"/>
                    </a:lnTo>
                    <a:lnTo>
                      <a:pt x="49" y="41"/>
                    </a:lnTo>
                    <a:close/>
                    <a:moveTo>
                      <a:pt x="36" y="28"/>
                    </a:moveTo>
                    <a:lnTo>
                      <a:pt x="40" y="30"/>
                    </a:lnTo>
                    <a:lnTo>
                      <a:pt x="43" y="35"/>
                    </a:lnTo>
                    <a:lnTo>
                      <a:pt x="41" y="39"/>
                    </a:lnTo>
                    <a:lnTo>
                      <a:pt x="40" y="39"/>
                    </a:lnTo>
                    <a:lnTo>
                      <a:pt x="38" y="38"/>
                    </a:lnTo>
                    <a:lnTo>
                      <a:pt x="41" y="38"/>
                    </a:lnTo>
                    <a:lnTo>
                      <a:pt x="41" y="35"/>
                    </a:lnTo>
                    <a:lnTo>
                      <a:pt x="40" y="31"/>
                    </a:lnTo>
                    <a:lnTo>
                      <a:pt x="36" y="30"/>
                    </a:lnTo>
                    <a:lnTo>
                      <a:pt x="36" y="28"/>
                    </a:lnTo>
                    <a:lnTo>
                      <a:pt x="36" y="28"/>
                    </a:lnTo>
                    <a:close/>
                    <a:moveTo>
                      <a:pt x="20" y="0"/>
                    </a:moveTo>
                    <a:lnTo>
                      <a:pt x="23" y="0"/>
                    </a:lnTo>
                    <a:lnTo>
                      <a:pt x="28" y="4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1" y="12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7" y="20"/>
                    </a:lnTo>
                    <a:lnTo>
                      <a:pt x="27" y="15"/>
                    </a:lnTo>
                    <a:lnTo>
                      <a:pt x="27" y="12"/>
                    </a:lnTo>
                    <a:lnTo>
                      <a:pt x="28" y="8"/>
                    </a:lnTo>
                    <a:lnTo>
                      <a:pt x="25" y="5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  <a:moveTo>
                      <a:pt x="0" y="4"/>
                    </a:moveTo>
                    <a:lnTo>
                      <a:pt x="4" y="4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5" y="2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3" y="4"/>
                    </a:lnTo>
                    <a:lnTo>
                      <a:pt x="7" y="8"/>
                    </a:lnTo>
                    <a:lnTo>
                      <a:pt x="4" y="7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20" y="33"/>
                    </a:moveTo>
                    <a:lnTo>
                      <a:pt x="23" y="31"/>
                    </a:lnTo>
                    <a:lnTo>
                      <a:pt x="28" y="33"/>
                    </a:lnTo>
                    <a:lnTo>
                      <a:pt x="27" y="35"/>
                    </a:lnTo>
                    <a:lnTo>
                      <a:pt x="22" y="35"/>
                    </a:lnTo>
                    <a:lnTo>
                      <a:pt x="20" y="33"/>
                    </a:lnTo>
                    <a:lnTo>
                      <a:pt x="20" y="33"/>
                    </a:lnTo>
                    <a:close/>
                    <a:moveTo>
                      <a:pt x="15" y="49"/>
                    </a:moveTo>
                    <a:lnTo>
                      <a:pt x="15" y="48"/>
                    </a:lnTo>
                    <a:lnTo>
                      <a:pt x="17" y="46"/>
                    </a:lnTo>
                    <a:lnTo>
                      <a:pt x="15" y="49"/>
                    </a:lnTo>
                    <a:lnTo>
                      <a:pt x="15" y="49"/>
                    </a:lnTo>
                    <a:close/>
                    <a:moveTo>
                      <a:pt x="12" y="49"/>
                    </a:moveTo>
                    <a:lnTo>
                      <a:pt x="13" y="49"/>
                    </a:lnTo>
                    <a:lnTo>
                      <a:pt x="13" y="51"/>
                    </a:lnTo>
                    <a:lnTo>
                      <a:pt x="12" y="49"/>
                    </a:lnTo>
                    <a:lnTo>
                      <a:pt x="12" y="49"/>
                    </a:lnTo>
                    <a:close/>
                    <a:moveTo>
                      <a:pt x="13" y="46"/>
                    </a:moveTo>
                    <a:lnTo>
                      <a:pt x="17" y="43"/>
                    </a:lnTo>
                    <a:lnTo>
                      <a:pt x="13" y="38"/>
                    </a:lnTo>
                    <a:lnTo>
                      <a:pt x="13" y="35"/>
                    </a:lnTo>
                    <a:lnTo>
                      <a:pt x="12" y="33"/>
                    </a:lnTo>
                    <a:lnTo>
                      <a:pt x="10" y="38"/>
                    </a:lnTo>
                    <a:lnTo>
                      <a:pt x="7" y="41"/>
                    </a:lnTo>
                    <a:lnTo>
                      <a:pt x="10" y="44"/>
                    </a:lnTo>
                    <a:lnTo>
                      <a:pt x="12" y="43"/>
                    </a:lnTo>
                    <a:lnTo>
                      <a:pt x="13" y="46"/>
                    </a:lnTo>
                    <a:lnTo>
                      <a:pt x="13" y="46"/>
                    </a:lnTo>
                    <a:close/>
                    <a:moveTo>
                      <a:pt x="18" y="49"/>
                    </a:moveTo>
                    <a:lnTo>
                      <a:pt x="13" y="53"/>
                    </a:lnTo>
                    <a:lnTo>
                      <a:pt x="13" y="54"/>
                    </a:lnTo>
                    <a:lnTo>
                      <a:pt x="15" y="59"/>
                    </a:lnTo>
                    <a:lnTo>
                      <a:pt x="18" y="59"/>
                    </a:lnTo>
                    <a:lnTo>
                      <a:pt x="20" y="56"/>
                    </a:lnTo>
                    <a:lnTo>
                      <a:pt x="18" y="54"/>
                    </a:lnTo>
                    <a:lnTo>
                      <a:pt x="18" y="51"/>
                    </a:lnTo>
                    <a:lnTo>
                      <a:pt x="18" y="4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xmlns="" id="{E03937BF-B4B1-483F-B0FF-8C5C3B9B4E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3" y="1093"/>
                <a:ext cx="896" cy="539"/>
              </a:xfrm>
              <a:custGeom>
                <a:avLst/>
                <a:gdLst>
                  <a:gd name="T0" fmla="*/ 319 w 549"/>
                  <a:gd name="T1" fmla="*/ 32 h 330"/>
                  <a:gd name="T2" fmla="*/ 386 w 549"/>
                  <a:gd name="T3" fmla="*/ 63 h 330"/>
                  <a:gd name="T4" fmla="*/ 459 w 549"/>
                  <a:gd name="T5" fmla="*/ 100 h 330"/>
                  <a:gd name="T6" fmla="*/ 516 w 549"/>
                  <a:gd name="T7" fmla="*/ 82 h 330"/>
                  <a:gd name="T8" fmla="*/ 542 w 549"/>
                  <a:gd name="T9" fmla="*/ 68 h 330"/>
                  <a:gd name="T10" fmla="*/ 546 w 549"/>
                  <a:gd name="T11" fmla="*/ 98 h 330"/>
                  <a:gd name="T12" fmla="*/ 528 w 549"/>
                  <a:gd name="T13" fmla="*/ 103 h 330"/>
                  <a:gd name="T14" fmla="*/ 513 w 549"/>
                  <a:gd name="T15" fmla="*/ 112 h 330"/>
                  <a:gd name="T16" fmla="*/ 510 w 549"/>
                  <a:gd name="T17" fmla="*/ 131 h 330"/>
                  <a:gd name="T18" fmla="*/ 498 w 549"/>
                  <a:gd name="T19" fmla="*/ 140 h 330"/>
                  <a:gd name="T20" fmla="*/ 471 w 549"/>
                  <a:gd name="T21" fmla="*/ 152 h 330"/>
                  <a:gd name="T22" fmla="*/ 461 w 549"/>
                  <a:gd name="T23" fmla="*/ 169 h 330"/>
                  <a:gd name="T24" fmla="*/ 458 w 549"/>
                  <a:gd name="T25" fmla="*/ 173 h 330"/>
                  <a:gd name="T26" fmla="*/ 449 w 549"/>
                  <a:gd name="T27" fmla="*/ 185 h 330"/>
                  <a:gd name="T28" fmla="*/ 447 w 549"/>
                  <a:gd name="T29" fmla="*/ 166 h 330"/>
                  <a:gd name="T30" fmla="*/ 444 w 549"/>
                  <a:gd name="T31" fmla="*/ 180 h 330"/>
                  <a:gd name="T32" fmla="*/ 444 w 549"/>
                  <a:gd name="T33" fmla="*/ 186 h 330"/>
                  <a:gd name="T34" fmla="*/ 439 w 549"/>
                  <a:gd name="T35" fmla="*/ 192 h 330"/>
                  <a:gd name="T36" fmla="*/ 441 w 549"/>
                  <a:gd name="T37" fmla="*/ 205 h 330"/>
                  <a:gd name="T38" fmla="*/ 447 w 549"/>
                  <a:gd name="T39" fmla="*/ 211 h 330"/>
                  <a:gd name="T40" fmla="*/ 438 w 549"/>
                  <a:gd name="T41" fmla="*/ 218 h 330"/>
                  <a:gd name="T42" fmla="*/ 422 w 549"/>
                  <a:gd name="T43" fmla="*/ 232 h 330"/>
                  <a:gd name="T44" fmla="*/ 399 w 549"/>
                  <a:gd name="T45" fmla="*/ 246 h 330"/>
                  <a:gd name="T46" fmla="*/ 386 w 549"/>
                  <a:gd name="T47" fmla="*/ 273 h 330"/>
                  <a:gd name="T48" fmla="*/ 393 w 549"/>
                  <a:gd name="T49" fmla="*/ 316 h 330"/>
                  <a:gd name="T50" fmla="*/ 377 w 549"/>
                  <a:gd name="T51" fmla="*/ 322 h 330"/>
                  <a:gd name="T52" fmla="*/ 370 w 549"/>
                  <a:gd name="T53" fmla="*/ 308 h 330"/>
                  <a:gd name="T54" fmla="*/ 368 w 549"/>
                  <a:gd name="T55" fmla="*/ 285 h 330"/>
                  <a:gd name="T56" fmla="*/ 351 w 549"/>
                  <a:gd name="T57" fmla="*/ 278 h 330"/>
                  <a:gd name="T58" fmla="*/ 342 w 549"/>
                  <a:gd name="T59" fmla="*/ 272 h 330"/>
                  <a:gd name="T60" fmla="*/ 325 w 549"/>
                  <a:gd name="T61" fmla="*/ 271 h 330"/>
                  <a:gd name="T62" fmla="*/ 303 w 549"/>
                  <a:gd name="T63" fmla="*/ 277 h 330"/>
                  <a:gd name="T64" fmla="*/ 305 w 549"/>
                  <a:gd name="T65" fmla="*/ 285 h 330"/>
                  <a:gd name="T66" fmla="*/ 289 w 549"/>
                  <a:gd name="T67" fmla="*/ 283 h 330"/>
                  <a:gd name="T68" fmla="*/ 274 w 549"/>
                  <a:gd name="T69" fmla="*/ 278 h 330"/>
                  <a:gd name="T70" fmla="*/ 254 w 549"/>
                  <a:gd name="T71" fmla="*/ 279 h 330"/>
                  <a:gd name="T72" fmla="*/ 236 w 549"/>
                  <a:gd name="T73" fmla="*/ 291 h 330"/>
                  <a:gd name="T74" fmla="*/ 226 w 549"/>
                  <a:gd name="T75" fmla="*/ 319 h 330"/>
                  <a:gd name="T76" fmla="*/ 209 w 549"/>
                  <a:gd name="T77" fmla="*/ 304 h 330"/>
                  <a:gd name="T78" fmla="*/ 198 w 549"/>
                  <a:gd name="T79" fmla="*/ 278 h 330"/>
                  <a:gd name="T80" fmla="*/ 180 w 549"/>
                  <a:gd name="T81" fmla="*/ 279 h 330"/>
                  <a:gd name="T82" fmla="*/ 167 w 549"/>
                  <a:gd name="T83" fmla="*/ 278 h 330"/>
                  <a:gd name="T84" fmla="*/ 160 w 549"/>
                  <a:gd name="T85" fmla="*/ 266 h 330"/>
                  <a:gd name="T86" fmla="*/ 147 w 549"/>
                  <a:gd name="T87" fmla="*/ 249 h 330"/>
                  <a:gd name="T88" fmla="*/ 39 w 549"/>
                  <a:gd name="T89" fmla="*/ 218 h 330"/>
                  <a:gd name="T90" fmla="*/ 20 w 549"/>
                  <a:gd name="T91" fmla="*/ 203 h 330"/>
                  <a:gd name="T92" fmla="*/ 14 w 549"/>
                  <a:gd name="T93" fmla="*/ 177 h 330"/>
                  <a:gd name="T94" fmla="*/ 13 w 549"/>
                  <a:gd name="T95" fmla="*/ 164 h 330"/>
                  <a:gd name="T96" fmla="*/ 9 w 549"/>
                  <a:gd name="T97" fmla="*/ 164 h 330"/>
                  <a:gd name="T98" fmla="*/ 2 w 549"/>
                  <a:gd name="T99" fmla="*/ 129 h 330"/>
                  <a:gd name="T100" fmla="*/ 7 w 549"/>
                  <a:gd name="T101" fmla="*/ 95 h 330"/>
                  <a:gd name="T102" fmla="*/ 24 w 549"/>
                  <a:gd name="T103" fmla="*/ 47 h 330"/>
                  <a:gd name="T104" fmla="*/ 26 w 549"/>
                  <a:gd name="T105" fmla="*/ 40 h 330"/>
                  <a:gd name="T106" fmla="*/ 28 w 549"/>
                  <a:gd name="T107" fmla="*/ 18 h 330"/>
                  <a:gd name="T108" fmla="*/ 41 w 549"/>
                  <a:gd name="T109" fmla="*/ 20 h 330"/>
                  <a:gd name="T110" fmla="*/ 42 w 549"/>
                  <a:gd name="T111" fmla="*/ 29 h 330"/>
                  <a:gd name="T112" fmla="*/ 51 w 549"/>
                  <a:gd name="T113" fmla="*/ 6 h 330"/>
                  <a:gd name="T114" fmla="*/ 475 w 549"/>
                  <a:gd name="T115" fmla="*/ 148 h 330"/>
                  <a:gd name="T116" fmla="*/ 486 w 549"/>
                  <a:gd name="T117" fmla="*/ 144 h 330"/>
                  <a:gd name="T118" fmla="*/ 49 w 549"/>
                  <a:gd name="T119" fmla="*/ 10 h 330"/>
                  <a:gd name="T120" fmla="*/ 230 w 549"/>
                  <a:gd name="T121" fmla="*/ 305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9" h="330">
                    <a:moveTo>
                      <a:pt x="48" y="0"/>
                    </a:moveTo>
                    <a:cubicBezTo>
                      <a:pt x="300" y="25"/>
                      <a:pt x="300" y="25"/>
                      <a:pt x="300" y="25"/>
                    </a:cubicBezTo>
                    <a:cubicBezTo>
                      <a:pt x="302" y="26"/>
                      <a:pt x="302" y="26"/>
                      <a:pt x="302" y="26"/>
                    </a:cubicBezTo>
                    <a:cubicBezTo>
                      <a:pt x="304" y="25"/>
                      <a:pt x="304" y="25"/>
                      <a:pt x="304" y="25"/>
                    </a:cubicBezTo>
                    <a:cubicBezTo>
                      <a:pt x="306" y="27"/>
                      <a:pt x="306" y="27"/>
                      <a:pt x="306" y="27"/>
                    </a:cubicBezTo>
                    <a:cubicBezTo>
                      <a:pt x="306" y="28"/>
                      <a:pt x="306" y="28"/>
                      <a:pt x="306" y="28"/>
                    </a:cubicBezTo>
                    <a:cubicBezTo>
                      <a:pt x="307" y="29"/>
                      <a:pt x="307" y="29"/>
                      <a:pt x="307" y="29"/>
                    </a:cubicBezTo>
                    <a:cubicBezTo>
                      <a:pt x="308" y="30"/>
                      <a:pt x="308" y="30"/>
                      <a:pt x="308" y="30"/>
                    </a:cubicBezTo>
                    <a:cubicBezTo>
                      <a:pt x="310" y="30"/>
                      <a:pt x="310" y="30"/>
                      <a:pt x="310" y="30"/>
                    </a:cubicBezTo>
                    <a:cubicBezTo>
                      <a:pt x="310" y="31"/>
                      <a:pt x="310" y="31"/>
                      <a:pt x="310" y="31"/>
                    </a:cubicBezTo>
                    <a:cubicBezTo>
                      <a:pt x="312" y="31"/>
                      <a:pt x="312" y="31"/>
                      <a:pt x="312" y="31"/>
                    </a:cubicBezTo>
                    <a:cubicBezTo>
                      <a:pt x="313" y="33"/>
                      <a:pt x="313" y="33"/>
                      <a:pt x="313" y="33"/>
                    </a:cubicBezTo>
                    <a:cubicBezTo>
                      <a:pt x="314" y="33"/>
                      <a:pt x="314" y="33"/>
                      <a:pt x="314" y="33"/>
                    </a:cubicBezTo>
                    <a:cubicBezTo>
                      <a:pt x="316" y="32"/>
                      <a:pt x="316" y="32"/>
                      <a:pt x="316" y="32"/>
                    </a:cubicBezTo>
                    <a:cubicBezTo>
                      <a:pt x="317" y="33"/>
                      <a:pt x="317" y="33"/>
                      <a:pt x="317" y="33"/>
                    </a:cubicBezTo>
                    <a:cubicBezTo>
                      <a:pt x="319" y="32"/>
                      <a:pt x="319" y="32"/>
                      <a:pt x="319" y="32"/>
                    </a:cubicBezTo>
                    <a:cubicBezTo>
                      <a:pt x="321" y="34"/>
                      <a:pt x="321" y="34"/>
                      <a:pt x="321" y="34"/>
                    </a:cubicBezTo>
                    <a:cubicBezTo>
                      <a:pt x="322" y="34"/>
                      <a:pt x="322" y="34"/>
                      <a:pt x="322" y="34"/>
                    </a:cubicBezTo>
                    <a:cubicBezTo>
                      <a:pt x="323" y="36"/>
                      <a:pt x="323" y="36"/>
                      <a:pt x="323" y="36"/>
                    </a:cubicBezTo>
                    <a:cubicBezTo>
                      <a:pt x="327" y="38"/>
                      <a:pt x="327" y="38"/>
                      <a:pt x="327" y="38"/>
                    </a:cubicBezTo>
                    <a:cubicBezTo>
                      <a:pt x="329" y="38"/>
                      <a:pt x="329" y="38"/>
                      <a:pt x="329" y="38"/>
                    </a:cubicBezTo>
                    <a:cubicBezTo>
                      <a:pt x="330" y="40"/>
                      <a:pt x="330" y="40"/>
                      <a:pt x="330" y="40"/>
                    </a:cubicBezTo>
                    <a:cubicBezTo>
                      <a:pt x="332" y="40"/>
                      <a:pt x="332" y="40"/>
                      <a:pt x="332" y="40"/>
                    </a:cubicBezTo>
                    <a:cubicBezTo>
                      <a:pt x="335" y="40"/>
                      <a:pt x="335" y="40"/>
                      <a:pt x="335" y="40"/>
                    </a:cubicBezTo>
                    <a:cubicBezTo>
                      <a:pt x="336" y="39"/>
                      <a:pt x="336" y="39"/>
                      <a:pt x="336" y="39"/>
                    </a:cubicBezTo>
                    <a:cubicBezTo>
                      <a:pt x="337" y="40"/>
                      <a:pt x="337" y="40"/>
                      <a:pt x="337" y="40"/>
                    </a:cubicBezTo>
                    <a:cubicBezTo>
                      <a:pt x="338" y="42"/>
                      <a:pt x="338" y="42"/>
                      <a:pt x="338" y="42"/>
                    </a:cubicBezTo>
                    <a:cubicBezTo>
                      <a:pt x="343" y="42"/>
                      <a:pt x="343" y="42"/>
                      <a:pt x="343" y="42"/>
                    </a:cubicBezTo>
                    <a:cubicBezTo>
                      <a:pt x="344" y="43"/>
                      <a:pt x="344" y="43"/>
                      <a:pt x="344" y="43"/>
                    </a:cubicBezTo>
                    <a:cubicBezTo>
                      <a:pt x="346" y="43"/>
                      <a:pt x="346" y="43"/>
                      <a:pt x="346" y="43"/>
                    </a:cubicBezTo>
                    <a:cubicBezTo>
                      <a:pt x="347" y="45"/>
                      <a:pt x="347" y="45"/>
                      <a:pt x="347" y="45"/>
                    </a:cubicBezTo>
                    <a:cubicBezTo>
                      <a:pt x="386" y="63"/>
                      <a:pt x="386" y="63"/>
                      <a:pt x="386" y="63"/>
                    </a:cubicBezTo>
                    <a:cubicBezTo>
                      <a:pt x="389" y="66"/>
                      <a:pt x="389" y="66"/>
                      <a:pt x="389" y="66"/>
                    </a:cubicBezTo>
                    <a:cubicBezTo>
                      <a:pt x="394" y="71"/>
                      <a:pt x="394" y="71"/>
                      <a:pt x="394" y="71"/>
                    </a:cubicBezTo>
                    <a:cubicBezTo>
                      <a:pt x="401" y="101"/>
                      <a:pt x="401" y="101"/>
                      <a:pt x="401" y="101"/>
                    </a:cubicBezTo>
                    <a:cubicBezTo>
                      <a:pt x="400" y="115"/>
                      <a:pt x="400" y="115"/>
                      <a:pt x="400" y="115"/>
                    </a:cubicBezTo>
                    <a:cubicBezTo>
                      <a:pt x="399" y="117"/>
                      <a:pt x="399" y="117"/>
                      <a:pt x="399" y="117"/>
                    </a:cubicBezTo>
                    <a:cubicBezTo>
                      <a:pt x="398" y="119"/>
                      <a:pt x="398" y="119"/>
                      <a:pt x="398" y="119"/>
                    </a:cubicBezTo>
                    <a:cubicBezTo>
                      <a:pt x="396" y="121"/>
                      <a:pt x="396" y="121"/>
                      <a:pt x="396" y="121"/>
                    </a:cubicBezTo>
                    <a:cubicBezTo>
                      <a:pt x="393" y="123"/>
                      <a:pt x="393" y="123"/>
                      <a:pt x="393" y="123"/>
                    </a:cubicBezTo>
                    <a:cubicBezTo>
                      <a:pt x="391" y="126"/>
                      <a:pt x="391" y="126"/>
                      <a:pt x="391" y="126"/>
                    </a:cubicBezTo>
                    <a:cubicBezTo>
                      <a:pt x="392" y="129"/>
                      <a:pt x="392" y="129"/>
                      <a:pt x="392" y="129"/>
                    </a:cubicBezTo>
                    <a:cubicBezTo>
                      <a:pt x="426" y="119"/>
                      <a:pt x="426" y="119"/>
                      <a:pt x="426" y="119"/>
                    </a:cubicBezTo>
                    <a:cubicBezTo>
                      <a:pt x="430" y="118"/>
                      <a:pt x="430" y="118"/>
                      <a:pt x="430" y="118"/>
                    </a:cubicBezTo>
                    <a:cubicBezTo>
                      <a:pt x="431" y="113"/>
                      <a:pt x="431" y="113"/>
                      <a:pt x="431" y="113"/>
                    </a:cubicBezTo>
                    <a:cubicBezTo>
                      <a:pt x="449" y="108"/>
                      <a:pt x="449" y="108"/>
                      <a:pt x="449" y="108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9" y="100"/>
                      <a:pt x="459" y="100"/>
                      <a:pt x="459" y="100"/>
                    </a:cubicBezTo>
                    <a:cubicBezTo>
                      <a:pt x="462" y="100"/>
                      <a:pt x="462" y="100"/>
                      <a:pt x="462" y="100"/>
                    </a:cubicBezTo>
                    <a:cubicBezTo>
                      <a:pt x="466" y="96"/>
                      <a:pt x="466" y="96"/>
                      <a:pt x="466" y="96"/>
                    </a:cubicBezTo>
                    <a:cubicBezTo>
                      <a:pt x="468" y="94"/>
                      <a:pt x="468" y="94"/>
                      <a:pt x="468" y="94"/>
                    </a:cubicBezTo>
                    <a:cubicBezTo>
                      <a:pt x="470" y="93"/>
                      <a:pt x="470" y="93"/>
                      <a:pt x="470" y="93"/>
                    </a:cubicBezTo>
                    <a:cubicBezTo>
                      <a:pt x="472" y="91"/>
                      <a:pt x="472" y="91"/>
                      <a:pt x="472" y="91"/>
                    </a:cubicBezTo>
                    <a:cubicBezTo>
                      <a:pt x="475" y="91"/>
                      <a:pt x="475" y="91"/>
                      <a:pt x="475" y="91"/>
                    </a:cubicBezTo>
                    <a:cubicBezTo>
                      <a:pt x="503" y="91"/>
                      <a:pt x="503" y="91"/>
                      <a:pt x="503" y="91"/>
                    </a:cubicBezTo>
                    <a:cubicBezTo>
                      <a:pt x="506" y="89"/>
                      <a:pt x="506" y="89"/>
                      <a:pt x="506" y="89"/>
                    </a:cubicBezTo>
                    <a:cubicBezTo>
                      <a:pt x="506" y="89"/>
                      <a:pt x="506" y="89"/>
                      <a:pt x="506" y="89"/>
                    </a:cubicBezTo>
                    <a:cubicBezTo>
                      <a:pt x="507" y="88"/>
                      <a:pt x="507" y="88"/>
                      <a:pt x="507" y="88"/>
                    </a:cubicBezTo>
                    <a:cubicBezTo>
                      <a:pt x="509" y="88"/>
                      <a:pt x="509" y="88"/>
                      <a:pt x="509" y="88"/>
                    </a:cubicBezTo>
                    <a:cubicBezTo>
                      <a:pt x="510" y="89"/>
                      <a:pt x="510" y="89"/>
                      <a:pt x="510" y="89"/>
                    </a:cubicBezTo>
                    <a:cubicBezTo>
                      <a:pt x="511" y="88"/>
                      <a:pt x="511" y="88"/>
                      <a:pt x="511" y="88"/>
                    </a:cubicBezTo>
                    <a:cubicBezTo>
                      <a:pt x="512" y="86"/>
                      <a:pt x="512" y="86"/>
                      <a:pt x="512" y="86"/>
                    </a:cubicBezTo>
                    <a:cubicBezTo>
                      <a:pt x="515" y="83"/>
                      <a:pt x="515" y="83"/>
                      <a:pt x="515" y="83"/>
                    </a:cubicBezTo>
                    <a:cubicBezTo>
                      <a:pt x="516" y="82"/>
                      <a:pt x="516" y="82"/>
                      <a:pt x="516" y="82"/>
                    </a:cubicBezTo>
                    <a:cubicBezTo>
                      <a:pt x="519" y="79"/>
                      <a:pt x="519" y="79"/>
                      <a:pt x="519" y="79"/>
                    </a:cubicBezTo>
                    <a:cubicBezTo>
                      <a:pt x="520" y="77"/>
                      <a:pt x="520" y="77"/>
                      <a:pt x="520" y="77"/>
                    </a:cubicBezTo>
                    <a:cubicBezTo>
                      <a:pt x="520" y="75"/>
                      <a:pt x="520" y="75"/>
                      <a:pt x="520" y="75"/>
                    </a:cubicBezTo>
                    <a:cubicBezTo>
                      <a:pt x="522" y="74"/>
                      <a:pt x="522" y="74"/>
                      <a:pt x="522" y="74"/>
                    </a:cubicBezTo>
                    <a:cubicBezTo>
                      <a:pt x="522" y="72"/>
                      <a:pt x="522" y="72"/>
                      <a:pt x="522" y="72"/>
                    </a:cubicBezTo>
                    <a:cubicBezTo>
                      <a:pt x="524" y="70"/>
                      <a:pt x="524" y="70"/>
                      <a:pt x="524" y="70"/>
                    </a:cubicBezTo>
                    <a:cubicBezTo>
                      <a:pt x="527" y="66"/>
                      <a:pt x="527" y="66"/>
                      <a:pt x="527" y="66"/>
                    </a:cubicBezTo>
                    <a:cubicBezTo>
                      <a:pt x="528" y="64"/>
                      <a:pt x="528" y="64"/>
                      <a:pt x="528" y="64"/>
                    </a:cubicBezTo>
                    <a:cubicBezTo>
                      <a:pt x="530" y="63"/>
                      <a:pt x="530" y="63"/>
                      <a:pt x="530" y="63"/>
                    </a:cubicBezTo>
                    <a:cubicBezTo>
                      <a:pt x="530" y="62"/>
                      <a:pt x="530" y="62"/>
                      <a:pt x="530" y="62"/>
                    </a:cubicBezTo>
                    <a:cubicBezTo>
                      <a:pt x="531" y="63"/>
                      <a:pt x="531" y="63"/>
                      <a:pt x="531" y="63"/>
                    </a:cubicBezTo>
                    <a:cubicBezTo>
                      <a:pt x="533" y="64"/>
                      <a:pt x="533" y="64"/>
                      <a:pt x="533" y="64"/>
                    </a:cubicBezTo>
                    <a:cubicBezTo>
                      <a:pt x="535" y="64"/>
                      <a:pt x="535" y="64"/>
                      <a:pt x="535" y="64"/>
                    </a:cubicBezTo>
                    <a:cubicBezTo>
                      <a:pt x="538" y="65"/>
                      <a:pt x="538" y="65"/>
                      <a:pt x="538" y="65"/>
                    </a:cubicBezTo>
                    <a:cubicBezTo>
                      <a:pt x="538" y="64"/>
                      <a:pt x="538" y="64"/>
                      <a:pt x="538" y="64"/>
                    </a:cubicBezTo>
                    <a:cubicBezTo>
                      <a:pt x="542" y="68"/>
                      <a:pt x="542" y="68"/>
                      <a:pt x="542" y="68"/>
                    </a:cubicBezTo>
                    <a:cubicBezTo>
                      <a:pt x="542" y="71"/>
                      <a:pt x="542" y="71"/>
                      <a:pt x="542" y="71"/>
                    </a:cubicBezTo>
                    <a:cubicBezTo>
                      <a:pt x="540" y="83"/>
                      <a:pt x="540" y="83"/>
                      <a:pt x="540" y="83"/>
                    </a:cubicBezTo>
                    <a:cubicBezTo>
                      <a:pt x="540" y="85"/>
                      <a:pt x="540" y="85"/>
                      <a:pt x="540" y="85"/>
                    </a:cubicBezTo>
                    <a:cubicBezTo>
                      <a:pt x="541" y="85"/>
                      <a:pt x="541" y="85"/>
                      <a:pt x="541" y="85"/>
                    </a:cubicBezTo>
                    <a:cubicBezTo>
                      <a:pt x="541" y="86"/>
                      <a:pt x="541" y="86"/>
                      <a:pt x="541" y="86"/>
                    </a:cubicBezTo>
                    <a:cubicBezTo>
                      <a:pt x="542" y="87"/>
                      <a:pt x="542" y="87"/>
                      <a:pt x="542" y="87"/>
                    </a:cubicBezTo>
                    <a:cubicBezTo>
                      <a:pt x="542" y="89"/>
                      <a:pt x="542" y="89"/>
                      <a:pt x="542" y="89"/>
                    </a:cubicBezTo>
                    <a:cubicBezTo>
                      <a:pt x="542" y="90"/>
                      <a:pt x="542" y="90"/>
                      <a:pt x="542" y="90"/>
                    </a:cubicBezTo>
                    <a:cubicBezTo>
                      <a:pt x="542" y="91"/>
                      <a:pt x="542" y="91"/>
                      <a:pt x="542" y="91"/>
                    </a:cubicBezTo>
                    <a:cubicBezTo>
                      <a:pt x="541" y="92"/>
                      <a:pt x="541" y="92"/>
                      <a:pt x="541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6" y="94"/>
                      <a:pt x="546" y="94"/>
                      <a:pt x="546" y="94"/>
                    </a:cubicBezTo>
                    <a:cubicBezTo>
                      <a:pt x="545" y="97"/>
                      <a:pt x="545" y="97"/>
                      <a:pt x="545" y="97"/>
                    </a:cubicBezTo>
                    <a:cubicBezTo>
                      <a:pt x="546" y="98"/>
                      <a:pt x="546" y="98"/>
                      <a:pt x="546" y="98"/>
                    </a:cubicBezTo>
                    <a:cubicBezTo>
                      <a:pt x="547" y="97"/>
                      <a:pt x="547" y="97"/>
                      <a:pt x="547" y="97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8" y="99"/>
                      <a:pt x="548" y="99"/>
                      <a:pt x="548" y="99"/>
                    </a:cubicBezTo>
                    <a:cubicBezTo>
                      <a:pt x="546" y="100"/>
                      <a:pt x="546" y="100"/>
                      <a:pt x="546" y="100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3" y="100"/>
                      <a:pt x="543" y="100"/>
                      <a:pt x="543" y="100"/>
                    </a:cubicBezTo>
                    <a:cubicBezTo>
                      <a:pt x="541" y="100"/>
                      <a:pt x="541" y="100"/>
                      <a:pt x="541" y="100"/>
                    </a:cubicBezTo>
                    <a:cubicBezTo>
                      <a:pt x="540" y="101"/>
                      <a:pt x="540" y="101"/>
                      <a:pt x="540" y="101"/>
                    </a:cubicBezTo>
                    <a:cubicBezTo>
                      <a:pt x="539" y="102"/>
                      <a:pt x="539" y="102"/>
                      <a:pt x="539" y="102"/>
                    </a:cubicBezTo>
                    <a:cubicBezTo>
                      <a:pt x="537" y="101"/>
                      <a:pt x="537" y="101"/>
                      <a:pt x="537" y="101"/>
                    </a:cubicBezTo>
                    <a:cubicBezTo>
                      <a:pt x="536" y="103"/>
                      <a:pt x="536" y="103"/>
                      <a:pt x="536" y="103"/>
                    </a:cubicBezTo>
                    <a:cubicBezTo>
                      <a:pt x="534" y="103"/>
                      <a:pt x="534" y="103"/>
                      <a:pt x="534" y="103"/>
                    </a:cubicBezTo>
                    <a:cubicBezTo>
                      <a:pt x="534" y="101"/>
                      <a:pt x="534" y="101"/>
                      <a:pt x="534" y="101"/>
                    </a:cubicBezTo>
                    <a:cubicBezTo>
                      <a:pt x="532" y="101"/>
                      <a:pt x="532" y="101"/>
                      <a:pt x="532" y="101"/>
                    </a:cubicBezTo>
                    <a:cubicBezTo>
                      <a:pt x="530" y="103"/>
                      <a:pt x="530" y="103"/>
                      <a:pt x="530" y="103"/>
                    </a:cubicBezTo>
                    <a:cubicBezTo>
                      <a:pt x="528" y="103"/>
                      <a:pt x="528" y="103"/>
                      <a:pt x="528" y="103"/>
                    </a:cubicBezTo>
                    <a:cubicBezTo>
                      <a:pt x="528" y="101"/>
                      <a:pt x="528" y="101"/>
                      <a:pt x="528" y="101"/>
                    </a:cubicBezTo>
                    <a:cubicBezTo>
                      <a:pt x="528" y="100"/>
                      <a:pt x="528" y="100"/>
                      <a:pt x="528" y="100"/>
                    </a:cubicBezTo>
                    <a:cubicBezTo>
                      <a:pt x="526" y="103"/>
                      <a:pt x="526" y="103"/>
                      <a:pt x="526" y="103"/>
                    </a:cubicBezTo>
                    <a:cubicBezTo>
                      <a:pt x="524" y="106"/>
                      <a:pt x="524" y="106"/>
                      <a:pt x="524" y="106"/>
                    </a:cubicBezTo>
                    <a:cubicBezTo>
                      <a:pt x="523" y="107"/>
                      <a:pt x="523" y="107"/>
                      <a:pt x="523" y="107"/>
                    </a:cubicBezTo>
                    <a:cubicBezTo>
                      <a:pt x="522" y="106"/>
                      <a:pt x="522" y="106"/>
                      <a:pt x="522" y="106"/>
                    </a:cubicBezTo>
                    <a:cubicBezTo>
                      <a:pt x="521" y="108"/>
                      <a:pt x="521" y="108"/>
                      <a:pt x="521" y="108"/>
                    </a:cubicBezTo>
                    <a:cubicBezTo>
                      <a:pt x="520" y="108"/>
                      <a:pt x="520" y="108"/>
                      <a:pt x="520" y="108"/>
                    </a:cubicBezTo>
                    <a:cubicBezTo>
                      <a:pt x="520" y="106"/>
                      <a:pt x="520" y="106"/>
                      <a:pt x="520" y="106"/>
                    </a:cubicBezTo>
                    <a:cubicBezTo>
                      <a:pt x="519" y="108"/>
                      <a:pt x="519" y="108"/>
                      <a:pt x="519" y="108"/>
                    </a:cubicBezTo>
                    <a:cubicBezTo>
                      <a:pt x="518" y="109"/>
                      <a:pt x="518" y="109"/>
                      <a:pt x="518" y="109"/>
                    </a:cubicBezTo>
                    <a:cubicBezTo>
                      <a:pt x="516" y="109"/>
                      <a:pt x="516" y="109"/>
                      <a:pt x="516" y="109"/>
                    </a:cubicBezTo>
                    <a:cubicBezTo>
                      <a:pt x="516" y="107"/>
                      <a:pt x="516" y="107"/>
                      <a:pt x="516" y="107"/>
                    </a:cubicBezTo>
                    <a:cubicBezTo>
                      <a:pt x="515" y="109"/>
                      <a:pt x="515" y="109"/>
                      <a:pt x="515" y="109"/>
                    </a:cubicBezTo>
                    <a:cubicBezTo>
                      <a:pt x="514" y="109"/>
                      <a:pt x="514" y="109"/>
                      <a:pt x="514" y="109"/>
                    </a:cubicBezTo>
                    <a:cubicBezTo>
                      <a:pt x="513" y="112"/>
                      <a:pt x="513" y="112"/>
                      <a:pt x="513" y="112"/>
                    </a:cubicBezTo>
                    <a:cubicBezTo>
                      <a:pt x="509" y="115"/>
                      <a:pt x="509" y="115"/>
                      <a:pt x="509" y="115"/>
                    </a:cubicBezTo>
                    <a:cubicBezTo>
                      <a:pt x="508" y="118"/>
                      <a:pt x="508" y="118"/>
                      <a:pt x="508" y="118"/>
                    </a:cubicBezTo>
                    <a:cubicBezTo>
                      <a:pt x="507" y="120"/>
                      <a:pt x="507" y="120"/>
                      <a:pt x="507" y="120"/>
                    </a:cubicBezTo>
                    <a:cubicBezTo>
                      <a:pt x="506" y="121"/>
                      <a:pt x="506" y="121"/>
                      <a:pt x="506" y="121"/>
                    </a:cubicBezTo>
                    <a:cubicBezTo>
                      <a:pt x="505" y="122"/>
                      <a:pt x="505" y="122"/>
                      <a:pt x="505" y="122"/>
                    </a:cubicBezTo>
                    <a:cubicBezTo>
                      <a:pt x="505" y="123"/>
                      <a:pt x="505" y="123"/>
                      <a:pt x="505" y="123"/>
                    </a:cubicBezTo>
                    <a:cubicBezTo>
                      <a:pt x="507" y="123"/>
                      <a:pt x="507" y="123"/>
                      <a:pt x="507" y="123"/>
                    </a:cubicBezTo>
                    <a:cubicBezTo>
                      <a:pt x="507" y="125"/>
                      <a:pt x="507" y="125"/>
                      <a:pt x="507" y="125"/>
                    </a:cubicBezTo>
                    <a:cubicBezTo>
                      <a:pt x="503" y="128"/>
                      <a:pt x="503" y="128"/>
                      <a:pt x="503" y="128"/>
                    </a:cubicBezTo>
                    <a:cubicBezTo>
                      <a:pt x="503" y="129"/>
                      <a:pt x="503" y="129"/>
                      <a:pt x="503" y="129"/>
                    </a:cubicBezTo>
                    <a:cubicBezTo>
                      <a:pt x="506" y="130"/>
                      <a:pt x="506" y="130"/>
                      <a:pt x="506" y="130"/>
                    </a:cubicBezTo>
                    <a:cubicBezTo>
                      <a:pt x="507" y="133"/>
                      <a:pt x="507" y="133"/>
                      <a:pt x="507" y="133"/>
                    </a:cubicBezTo>
                    <a:cubicBezTo>
                      <a:pt x="507" y="135"/>
                      <a:pt x="507" y="135"/>
                      <a:pt x="507" y="135"/>
                    </a:cubicBezTo>
                    <a:cubicBezTo>
                      <a:pt x="510" y="135"/>
                      <a:pt x="510" y="135"/>
                      <a:pt x="510" y="135"/>
                    </a:cubicBezTo>
                    <a:cubicBezTo>
                      <a:pt x="511" y="133"/>
                      <a:pt x="511" y="133"/>
                      <a:pt x="511" y="133"/>
                    </a:cubicBezTo>
                    <a:cubicBezTo>
                      <a:pt x="510" y="131"/>
                      <a:pt x="510" y="131"/>
                      <a:pt x="510" y="131"/>
                    </a:cubicBezTo>
                    <a:cubicBezTo>
                      <a:pt x="511" y="131"/>
                      <a:pt x="511" y="131"/>
                      <a:pt x="511" y="131"/>
                    </a:cubicBezTo>
                    <a:cubicBezTo>
                      <a:pt x="512" y="134"/>
                      <a:pt x="512" y="134"/>
                      <a:pt x="512" y="134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06" y="138"/>
                      <a:pt x="506" y="138"/>
                      <a:pt x="506" y="138"/>
                    </a:cubicBezTo>
                    <a:cubicBezTo>
                      <a:pt x="505" y="138"/>
                      <a:pt x="505" y="138"/>
                      <a:pt x="505" y="138"/>
                    </a:cubicBezTo>
                    <a:cubicBezTo>
                      <a:pt x="505" y="137"/>
                      <a:pt x="505" y="137"/>
                      <a:pt x="505" y="137"/>
                    </a:cubicBezTo>
                    <a:cubicBezTo>
                      <a:pt x="504" y="135"/>
                      <a:pt x="504" y="135"/>
                      <a:pt x="504" y="135"/>
                    </a:cubicBezTo>
                    <a:cubicBezTo>
                      <a:pt x="503" y="138"/>
                      <a:pt x="503" y="138"/>
                      <a:pt x="503" y="138"/>
                    </a:cubicBezTo>
                    <a:cubicBezTo>
                      <a:pt x="501" y="140"/>
                      <a:pt x="501" y="140"/>
                      <a:pt x="501" y="140"/>
                    </a:cubicBezTo>
                    <a:cubicBezTo>
                      <a:pt x="500" y="140"/>
                      <a:pt x="500" y="140"/>
                      <a:pt x="500" y="140"/>
                    </a:cubicBezTo>
                    <a:cubicBezTo>
                      <a:pt x="500" y="138"/>
                      <a:pt x="500" y="138"/>
                      <a:pt x="500" y="138"/>
                    </a:cubicBezTo>
                    <a:cubicBezTo>
                      <a:pt x="500" y="136"/>
                      <a:pt x="500" y="136"/>
                      <a:pt x="500" y="136"/>
                    </a:cubicBezTo>
                    <a:cubicBezTo>
                      <a:pt x="498" y="134"/>
                      <a:pt x="498" y="134"/>
                      <a:pt x="498" y="134"/>
                    </a:cubicBezTo>
                    <a:cubicBezTo>
                      <a:pt x="498" y="137"/>
                      <a:pt x="498" y="137"/>
                      <a:pt x="498" y="137"/>
                    </a:cubicBezTo>
                    <a:cubicBezTo>
                      <a:pt x="498" y="139"/>
                      <a:pt x="498" y="139"/>
                      <a:pt x="498" y="139"/>
                    </a:cubicBezTo>
                    <a:cubicBezTo>
                      <a:pt x="498" y="140"/>
                      <a:pt x="498" y="140"/>
                      <a:pt x="498" y="140"/>
                    </a:cubicBezTo>
                    <a:cubicBezTo>
                      <a:pt x="497" y="141"/>
                      <a:pt x="497" y="141"/>
                      <a:pt x="497" y="141"/>
                    </a:cubicBezTo>
                    <a:cubicBezTo>
                      <a:pt x="493" y="141"/>
                      <a:pt x="493" y="141"/>
                      <a:pt x="493" y="141"/>
                    </a:cubicBezTo>
                    <a:cubicBezTo>
                      <a:pt x="491" y="141"/>
                      <a:pt x="491" y="141"/>
                      <a:pt x="491" y="141"/>
                    </a:cubicBezTo>
                    <a:cubicBezTo>
                      <a:pt x="489" y="141"/>
                      <a:pt x="489" y="141"/>
                      <a:pt x="489" y="141"/>
                    </a:cubicBezTo>
                    <a:cubicBezTo>
                      <a:pt x="485" y="141"/>
                      <a:pt x="485" y="141"/>
                      <a:pt x="485" y="141"/>
                    </a:cubicBezTo>
                    <a:cubicBezTo>
                      <a:pt x="484" y="141"/>
                      <a:pt x="484" y="141"/>
                      <a:pt x="484" y="141"/>
                    </a:cubicBezTo>
                    <a:cubicBezTo>
                      <a:pt x="483" y="141"/>
                      <a:pt x="483" y="141"/>
                      <a:pt x="483" y="141"/>
                    </a:cubicBezTo>
                    <a:cubicBezTo>
                      <a:pt x="480" y="143"/>
                      <a:pt x="480" y="143"/>
                      <a:pt x="480" y="143"/>
                    </a:cubicBezTo>
                    <a:cubicBezTo>
                      <a:pt x="478" y="143"/>
                      <a:pt x="478" y="143"/>
                      <a:pt x="478" y="143"/>
                    </a:cubicBezTo>
                    <a:cubicBezTo>
                      <a:pt x="475" y="145"/>
                      <a:pt x="475" y="145"/>
                      <a:pt x="475" y="145"/>
                    </a:cubicBezTo>
                    <a:cubicBezTo>
                      <a:pt x="473" y="145"/>
                      <a:pt x="473" y="145"/>
                      <a:pt x="473" y="145"/>
                    </a:cubicBezTo>
                    <a:cubicBezTo>
                      <a:pt x="472" y="146"/>
                      <a:pt x="472" y="146"/>
                      <a:pt x="472" y="146"/>
                    </a:cubicBezTo>
                    <a:cubicBezTo>
                      <a:pt x="472" y="148"/>
                      <a:pt x="472" y="148"/>
                      <a:pt x="472" y="148"/>
                    </a:cubicBezTo>
                    <a:cubicBezTo>
                      <a:pt x="469" y="149"/>
                      <a:pt x="469" y="149"/>
                      <a:pt x="469" y="149"/>
                    </a:cubicBezTo>
                    <a:cubicBezTo>
                      <a:pt x="470" y="151"/>
                      <a:pt x="470" y="151"/>
                      <a:pt x="470" y="151"/>
                    </a:cubicBezTo>
                    <a:cubicBezTo>
                      <a:pt x="471" y="152"/>
                      <a:pt x="471" y="152"/>
                      <a:pt x="471" y="152"/>
                    </a:cubicBezTo>
                    <a:cubicBezTo>
                      <a:pt x="471" y="153"/>
                      <a:pt x="471" y="153"/>
                      <a:pt x="471" y="153"/>
                    </a:cubicBezTo>
                    <a:cubicBezTo>
                      <a:pt x="470" y="154"/>
                      <a:pt x="470" y="154"/>
                      <a:pt x="470" y="154"/>
                    </a:cubicBezTo>
                    <a:cubicBezTo>
                      <a:pt x="470" y="155"/>
                      <a:pt x="470" y="155"/>
                      <a:pt x="470" y="155"/>
                    </a:cubicBezTo>
                    <a:cubicBezTo>
                      <a:pt x="470" y="157"/>
                      <a:pt x="470" y="157"/>
                      <a:pt x="470" y="157"/>
                    </a:cubicBezTo>
                    <a:cubicBezTo>
                      <a:pt x="470" y="158"/>
                      <a:pt x="470" y="158"/>
                      <a:pt x="470" y="158"/>
                    </a:cubicBezTo>
                    <a:cubicBezTo>
                      <a:pt x="469" y="159"/>
                      <a:pt x="469" y="159"/>
                      <a:pt x="469" y="159"/>
                    </a:cubicBezTo>
                    <a:cubicBezTo>
                      <a:pt x="468" y="161"/>
                      <a:pt x="468" y="161"/>
                      <a:pt x="468" y="161"/>
                    </a:cubicBezTo>
                    <a:cubicBezTo>
                      <a:pt x="468" y="161"/>
                      <a:pt x="468" y="161"/>
                      <a:pt x="468" y="161"/>
                    </a:cubicBezTo>
                    <a:cubicBezTo>
                      <a:pt x="467" y="162"/>
                      <a:pt x="467" y="162"/>
                      <a:pt x="467" y="162"/>
                    </a:cubicBezTo>
                    <a:cubicBezTo>
                      <a:pt x="466" y="165"/>
                      <a:pt x="466" y="165"/>
                      <a:pt x="466" y="165"/>
                    </a:cubicBezTo>
                    <a:cubicBezTo>
                      <a:pt x="464" y="166"/>
                      <a:pt x="464" y="166"/>
                      <a:pt x="464" y="166"/>
                    </a:cubicBezTo>
                    <a:cubicBezTo>
                      <a:pt x="464" y="167"/>
                      <a:pt x="464" y="167"/>
                      <a:pt x="464" y="167"/>
                    </a:cubicBezTo>
                    <a:cubicBezTo>
                      <a:pt x="463" y="167"/>
                      <a:pt x="463" y="167"/>
                      <a:pt x="463" y="167"/>
                    </a:cubicBezTo>
                    <a:cubicBezTo>
                      <a:pt x="463" y="168"/>
                      <a:pt x="463" y="168"/>
                      <a:pt x="463" y="168"/>
                    </a:cubicBezTo>
                    <a:cubicBezTo>
                      <a:pt x="461" y="170"/>
                      <a:pt x="461" y="170"/>
                      <a:pt x="461" y="170"/>
                    </a:cubicBezTo>
                    <a:cubicBezTo>
                      <a:pt x="461" y="169"/>
                      <a:pt x="461" y="169"/>
                      <a:pt x="461" y="169"/>
                    </a:cubicBezTo>
                    <a:cubicBezTo>
                      <a:pt x="459" y="170"/>
                      <a:pt x="459" y="170"/>
                      <a:pt x="459" y="170"/>
                    </a:cubicBezTo>
                    <a:cubicBezTo>
                      <a:pt x="461" y="168"/>
                      <a:pt x="461" y="168"/>
                      <a:pt x="461" y="168"/>
                    </a:cubicBezTo>
                    <a:cubicBezTo>
                      <a:pt x="460" y="167"/>
                      <a:pt x="460" y="167"/>
                      <a:pt x="460" y="167"/>
                    </a:cubicBezTo>
                    <a:cubicBezTo>
                      <a:pt x="458" y="167"/>
                      <a:pt x="458" y="167"/>
                      <a:pt x="458" y="167"/>
                    </a:cubicBezTo>
                    <a:cubicBezTo>
                      <a:pt x="456" y="165"/>
                      <a:pt x="456" y="165"/>
                      <a:pt x="456" y="165"/>
                    </a:cubicBezTo>
                    <a:cubicBezTo>
                      <a:pt x="455" y="164"/>
                      <a:pt x="455" y="164"/>
                      <a:pt x="455" y="164"/>
                    </a:cubicBezTo>
                    <a:cubicBezTo>
                      <a:pt x="456" y="162"/>
                      <a:pt x="456" y="162"/>
                      <a:pt x="456" y="162"/>
                    </a:cubicBezTo>
                    <a:cubicBezTo>
                      <a:pt x="459" y="159"/>
                      <a:pt x="459" y="159"/>
                      <a:pt x="459" y="159"/>
                    </a:cubicBezTo>
                    <a:cubicBezTo>
                      <a:pt x="457" y="160"/>
                      <a:pt x="457" y="160"/>
                      <a:pt x="457" y="160"/>
                    </a:cubicBezTo>
                    <a:cubicBezTo>
                      <a:pt x="455" y="161"/>
                      <a:pt x="455" y="161"/>
                      <a:pt x="455" y="161"/>
                    </a:cubicBezTo>
                    <a:cubicBezTo>
                      <a:pt x="454" y="163"/>
                      <a:pt x="454" y="163"/>
                      <a:pt x="454" y="163"/>
                    </a:cubicBezTo>
                    <a:cubicBezTo>
                      <a:pt x="454" y="165"/>
                      <a:pt x="454" y="165"/>
                      <a:pt x="454" y="165"/>
                    </a:cubicBezTo>
                    <a:cubicBezTo>
                      <a:pt x="455" y="166"/>
                      <a:pt x="455" y="166"/>
                      <a:pt x="455" y="166"/>
                    </a:cubicBezTo>
                    <a:cubicBezTo>
                      <a:pt x="456" y="169"/>
                      <a:pt x="456" y="169"/>
                      <a:pt x="456" y="169"/>
                    </a:cubicBezTo>
                    <a:cubicBezTo>
                      <a:pt x="457" y="170"/>
                      <a:pt x="457" y="170"/>
                      <a:pt x="457" y="170"/>
                    </a:cubicBezTo>
                    <a:cubicBezTo>
                      <a:pt x="458" y="173"/>
                      <a:pt x="458" y="173"/>
                      <a:pt x="458" y="173"/>
                    </a:cubicBezTo>
                    <a:cubicBezTo>
                      <a:pt x="458" y="176"/>
                      <a:pt x="458" y="176"/>
                      <a:pt x="458" y="176"/>
                    </a:cubicBezTo>
                    <a:cubicBezTo>
                      <a:pt x="456" y="179"/>
                      <a:pt x="456" y="179"/>
                      <a:pt x="456" y="179"/>
                    </a:cubicBezTo>
                    <a:cubicBezTo>
                      <a:pt x="454" y="181"/>
                      <a:pt x="454" y="181"/>
                      <a:pt x="454" y="181"/>
                    </a:cubicBezTo>
                    <a:cubicBezTo>
                      <a:pt x="452" y="185"/>
                      <a:pt x="452" y="185"/>
                      <a:pt x="452" y="185"/>
                    </a:cubicBezTo>
                    <a:cubicBezTo>
                      <a:pt x="451" y="187"/>
                      <a:pt x="451" y="187"/>
                      <a:pt x="451" y="187"/>
                    </a:cubicBezTo>
                    <a:cubicBezTo>
                      <a:pt x="451" y="188"/>
                      <a:pt x="451" y="188"/>
                      <a:pt x="451" y="188"/>
                    </a:cubicBezTo>
                    <a:cubicBezTo>
                      <a:pt x="451" y="189"/>
                      <a:pt x="451" y="189"/>
                      <a:pt x="451" y="189"/>
                    </a:cubicBezTo>
                    <a:cubicBezTo>
                      <a:pt x="451" y="188"/>
                      <a:pt x="451" y="188"/>
                      <a:pt x="451" y="188"/>
                    </a:cubicBezTo>
                    <a:cubicBezTo>
                      <a:pt x="450" y="187"/>
                      <a:pt x="450" y="187"/>
                      <a:pt x="450" y="187"/>
                    </a:cubicBezTo>
                    <a:cubicBezTo>
                      <a:pt x="448" y="191"/>
                      <a:pt x="448" y="191"/>
                      <a:pt x="448" y="191"/>
                    </a:cubicBezTo>
                    <a:cubicBezTo>
                      <a:pt x="448" y="192"/>
                      <a:pt x="448" y="192"/>
                      <a:pt x="448" y="192"/>
                    </a:cubicBezTo>
                    <a:cubicBezTo>
                      <a:pt x="448" y="192"/>
                      <a:pt x="448" y="192"/>
                      <a:pt x="448" y="192"/>
                    </a:cubicBezTo>
                    <a:cubicBezTo>
                      <a:pt x="448" y="190"/>
                      <a:pt x="448" y="190"/>
                      <a:pt x="448" y="190"/>
                    </a:cubicBezTo>
                    <a:cubicBezTo>
                      <a:pt x="448" y="188"/>
                      <a:pt x="448" y="188"/>
                      <a:pt x="448" y="188"/>
                    </a:cubicBezTo>
                    <a:cubicBezTo>
                      <a:pt x="449" y="186"/>
                      <a:pt x="449" y="186"/>
                      <a:pt x="449" y="186"/>
                    </a:cubicBezTo>
                    <a:cubicBezTo>
                      <a:pt x="449" y="185"/>
                      <a:pt x="449" y="185"/>
                      <a:pt x="449" y="185"/>
                    </a:cubicBezTo>
                    <a:cubicBezTo>
                      <a:pt x="450" y="184"/>
                      <a:pt x="450" y="184"/>
                      <a:pt x="450" y="184"/>
                    </a:cubicBezTo>
                    <a:cubicBezTo>
                      <a:pt x="450" y="183"/>
                      <a:pt x="450" y="183"/>
                      <a:pt x="450" y="183"/>
                    </a:cubicBezTo>
                    <a:cubicBezTo>
                      <a:pt x="451" y="182"/>
                      <a:pt x="451" y="182"/>
                      <a:pt x="451" y="182"/>
                    </a:cubicBezTo>
                    <a:cubicBezTo>
                      <a:pt x="449" y="182"/>
                      <a:pt x="449" y="182"/>
                      <a:pt x="449" y="182"/>
                    </a:cubicBezTo>
                    <a:cubicBezTo>
                      <a:pt x="448" y="181"/>
                      <a:pt x="448" y="181"/>
                      <a:pt x="448" y="181"/>
                    </a:cubicBezTo>
                    <a:cubicBezTo>
                      <a:pt x="449" y="180"/>
                      <a:pt x="449" y="180"/>
                      <a:pt x="449" y="180"/>
                    </a:cubicBezTo>
                    <a:cubicBezTo>
                      <a:pt x="449" y="179"/>
                      <a:pt x="449" y="179"/>
                      <a:pt x="449" y="179"/>
                    </a:cubicBezTo>
                    <a:cubicBezTo>
                      <a:pt x="448" y="180"/>
                      <a:pt x="448" y="180"/>
                      <a:pt x="448" y="180"/>
                    </a:cubicBezTo>
                    <a:cubicBezTo>
                      <a:pt x="448" y="179"/>
                      <a:pt x="448" y="179"/>
                      <a:pt x="448" y="179"/>
                    </a:cubicBezTo>
                    <a:cubicBezTo>
                      <a:pt x="447" y="179"/>
                      <a:pt x="447" y="179"/>
                      <a:pt x="447" y="179"/>
                    </a:cubicBezTo>
                    <a:cubicBezTo>
                      <a:pt x="446" y="177"/>
                      <a:pt x="446" y="177"/>
                      <a:pt x="446" y="177"/>
                    </a:cubicBezTo>
                    <a:cubicBezTo>
                      <a:pt x="446" y="176"/>
                      <a:pt x="446" y="176"/>
                      <a:pt x="446" y="176"/>
                    </a:cubicBezTo>
                    <a:cubicBezTo>
                      <a:pt x="447" y="174"/>
                      <a:pt x="447" y="174"/>
                      <a:pt x="447" y="174"/>
                    </a:cubicBezTo>
                    <a:cubicBezTo>
                      <a:pt x="447" y="171"/>
                      <a:pt x="447" y="171"/>
                      <a:pt x="447" y="171"/>
                    </a:cubicBezTo>
                    <a:cubicBezTo>
                      <a:pt x="446" y="168"/>
                      <a:pt x="446" y="168"/>
                      <a:pt x="446" y="168"/>
                    </a:cubicBezTo>
                    <a:cubicBezTo>
                      <a:pt x="447" y="166"/>
                      <a:pt x="447" y="166"/>
                      <a:pt x="447" y="166"/>
                    </a:cubicBezTo>
                    <a:cubicBezTo>
                      <a:pt x="449" y="165"/>
                      <a:pt x="449" y="165"/>
                      <a:pt x="449" y="165"/>
                    </a:cubicBezTo>
                    <a:cubicBezTo>
                      <a:pt x="448" y="164"/>
                      <a:pt x="448" y="164"/>
                      <a:pt x="448" y="164"/>
                    </a:cubicBezTo>
                    <a:cubicBezTo>
                      <a:pt x="449" y="162"/>
                      <a:pt x="449" y="162"/>
                      <a:pt x="449" y="162"/>
                    </a:cubicBezTo>
                    <a:cubicBezTo>
                      <a:pt x="448" y="162"/>
                      <a:pt x="448" y="162"/>
                      <a:pt x="448" y="162"/>
                    </a:cubicBezTo>
                    <a:cubicBezTo>
                      <a:pt x="448" y="162"/>
                      <a:pt x="448" y="162"/>
                      <a:pt x="448" y="162"/>
                    </a:cubicBezTo>
                    <a:cubicBezTo>
                      <a:pt x="448" y="164"/>
                      <a:pt x="448" y="164"/>
                      <a:pt x="448" y="164"/>
                    </a:cubicBezTo>
                    <a:cubicBezTo>
                      <a:pt x="446" y="166"/>
                      <a:pt x="446" y="166"/>
                      <a:pt x="446" y="166"/>
                    </a:cubicBezTo>
                    <a:cubicBezTo>
                      <a:pt x="444" y="167"/>
                      <a:pt x="444" y="167"/>
                      <a:pt x="444" y="167"/>
                    </a:cubicBezTo>
                    <a:cubicBezTo>
                      <a:pt x="444" y="167"/>
                      <a:pt x="444" y="167"/>
                      <a:pt x="444" y="167"/>
                    </a:cubicBezTo>
                    <a:cubicBezTo>
                      <a:pt x="445" y="168"/>
                      <a:pt x="445" y="168"/>
                      <a:pt x="445" y="168"/>
                    </a:cubicBezTo>
                    <a:cubicBezTo>
                      <a:pt x="444" y="169"/>
                      <a:pt x="444" y="169"/>
                      <a:pt x="444" y="169"/>
                    </a:cubicBezTo>
                    <a:cubicBezTo>
                      <a:pt x="444" y="172"/>
                      <a:pt x="444" y="172"/>
                      <a:pt x="444" y="172"/>
                    </a:cubicBezTo>
                    <a:cubicBezTo>
                      <a:pt x="444" y="173"/>
                      <a:pt x="444" y="173"/>
                      <a:pt x="444" y="173"/>
                    </a:cubicBezTo>
                    <a:cubicBezTo>
                      <a:pt x="444" y="174"/>
                      <a:pt x="444" y="174"/>
                      <a:pt x="444" y="174"/>
                    </a:cubicBezTo>
                    <a:cubicBezTo>
                      <a:pt x="444" y="176"/>
                      <a:pt x="444" y="176"/>
                      <a:pt x="444" y="176"/>
                    </a:cubicBezTo>
                    <a:cubicBezTo>
                      <a:pt x="444" y="180"/>
                      <a:pt x="444" y="180"/>
                      <a:pt x="444" y="180"/>
                    </a:cubicBezTo>
                    <a:cubicBezTo>
                      <a:pt x="443" y="180"/>
                      <a:pt x="443" y="180"/>
                      <a:pt x="443" y="180"/>
                    </a:cubicBezTo>
                    <a:cubicBezTo>
                      <a:pt x="441" y="178"/>
                      <a:pt x="441" y="178"/>
                      <a:pt x="441" y="178"/>
                    </a:cubicBezTo>
                    <a:cubicBezTo>
                      <a:pt x="439" y="177"/>
                      <a:pt x="439" y="177"/>
                      <a:pt x="439" y="177"/>
                    </a:cubicBezTo>
                    <a:cubicBezTo>
                      <a:pt x="438" y="175"/>
                      <a:pt x="438" y="175"/>
                      <a:pt x="438" y="175"/>
                    </a:cubicBezTo>
                    <a:cubicBezTo>
                      <a:pt x="437" y="175"/>
                      <a:pt x="437" y="175"/>
                      <a:pt x="437" y="175"/>
                    </a:cubicBezTo>
                    <a:cubicBezTo>
                      <a:pt x="437" y="174"/>
                      <a:pt x="437" y="174"/>
                      <a:pt x="437" y="174"/>
                    </a:cubicBezTo>
                    <a:cubicBezTo>
                      <a:pt x="438" y="172"/>
                      <a:pt x="438" y="172"/>
                      <a:pt x="438" y="172"/>
                    </a:cubicBezTo>
                    <a:cubicBezTo>
                      <a:pt x="436" y="174"/>
                      <a:pt x="436" y="174"/>
                      <a:pt x="436" y="174"/>
                    </a:cubicBezTo>
                    <a:cubicBezTo>
                      <a:pt x="436" y="176"/>
                      <a:pt x="436" y="176"/>
                      <a:pt x="436" y="176"/>
                    </a:cubicBezTo>
                    <a:cubicBezTo>
                      <a:pt x="438" y="176"/>
                      <a:pt x="438" y="176"/>
                      <a:pt x="438" y="176"/>
                    </a:cubicBezTo>
                    <a:cubicBezTo>
                      <a:pt x="439" y="178"/>
                      <a:pt x="439" y="178"/>
                      <a:pt x="439" y="178"/>
                    </a:cubicBezTo>
                    <a:cubicBezTo>
                      <a:pt x="441" y="179"/>
                      <a:pt x="441" y="179"/>
                      <a:pt x="441" y="179"/>
                    </a:cubicBezTo>
                    <a:cubicBezTo>
                      <a:pt x="443" y="182"/>
                      <a:pt x="443" y="182"/>
                      <a:pt x="443" y="182"/>
                    </a:cubicBezTo>
                    <a:cubicBezTo>
                      <a:pt x="444" y="183"/>
                      <a:pt x="444" y="183"/>
                      <a:pt x="444" y="183"/>
                    </a:cubicBezTo>
                    <a:cubicBezTo>
                      <a:pt x="445" y="184"/>
                      <a:pt x="445" y="184"/>
                      <a:pt x="445" y="184"/>
                    </a:cubicBezTo>
                    <a:cubicBezTo>
                      <a:pt x="444" y="186"/>
                      <a:pt x="444" y="186"/>
                      <a:pt x="444" y="186"/>
                    </a:cubicBezTo>
                    <a:cubicBezTo>
                      <a:pt x="443" y="186"/>
                      <a:pt x="443" y="186"/>
                      <a:pt x="443" y="186"/>
                    </a:cubicBezTo>
                    <a:cubicBezTo>
                      <a:pt x="442" y="184"/>
                      <a:pt x="442" y="184"/>
                      <a:pt x="442" y="184"/>
                    </a:cubicBezTo>
                    <a:cubicBezTo>
                      <a:pt x="441" y="184"/>
                      <a:pt x="441" y="184"/>
                      <a:pt x="441" y="184"/>
                    </a:cubicBezTo>
                    <a:cubicBezTo>
                      <a:pt x="442" y="186"/>
                      <a:pt x="442" y="186"/>
                      <a:pt x="442" y="186"/>
                    </a:cubicBezTo>
                    <a:cubicBezTo>
                      <a:pt x="444" y="188"/>
                      <a:pt x="444" y="188"/>
                      <a:pt x="444" y="188"/>
                    </a:cubicBezTo>
                    <a:cubicBezTo>
                      <a:pt x="445" y="189"/>
                      <a:pt x="445" y="189"/>
                      <a:pt x="445" y="189"/>
                    </a:cubicBezTo>
                    <a:cubicBezTo>
                      <a:pt x="444" y="190"/>
                      <a:pt x="444" y="190"/>
                      <a:pt x="444" y="190"/>
                    </a:cubicBezTo>
                    <a:cubicBezTo>
                      <a:pt x="444" y="191"/>
                      <a:pt x="444" y="191"/>
                      <a:pt x="444" y="191"/>
                    </a:cubicBezTo>
                    <a:cubicBezTo>
                      <a:pt x="442" y="190"/>
                      <a:pt x="442" y="190"/>
                      <a:pt x="442" y="190"/>
                    </a:cubicBezTo>
                    <a:cubicBezTo>
                      <a:pt x="444" y="192"/>
                      <a:pt x="444" y="192"/>
                      <a:pt x="444" y="192"/>
                    </a:cubicBezTo>
                    <a:cubicBezTo>
                      <a:pt x="444" y="194"/>
                      <a:pt x="444" y="194"/>
                      <a:pt x="444" y="194"/>
                    </a:cubicBezTo>
                    <a:cubicBezTo>
                      <a:pt x="442" y="193"/>
                      <a:pt x="442" y="193"/>
                      <a:pt x="442" y="193"/>
                    </a:cubicBezTo>
                    <a:cubicBezTo>
                      <a:pt x="441" y="191"/>
                      <a:pt x="441" y="191"/>
                      <a:pt x="441" y="191"/>
                    </a:cubicBezTo>
                    <a:cubicBezTo>
                      <a:pt x="439" y="191"/>
                      <a:pt x="439" y="191"/>
                      <a:pt x="439" y="191"/>
                    </a:cubicBezTo>
                    <a:cubicBezTo>
                      <a:pt x="437" y="191"/>
                      <a:pt x="437" y="191"/>
                      <a:pt x="437" y="191"/>
                    </a:cubicBezTo>
                    <a:cubicBezTo>
                      <a:pt x="439" y="192"/>
                      <a:pt x="439" y="192"/>
                      <a:pt x="439" y="192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1" y="193"/>
                      <a:pt x="441" y="193"/>
                      <a:pt x="441" y="193"/>
                    </a:cubicBezTo>
                    <a:cubicBezTo>
                      <a:pt x="442" y="195"/>
                      <a:pt x="442" y="195"/>
                      <a:pt x="442" y="195"/>
                    </a:cubicBezTo>
                    <a:cubicBezTo>
                      <a:pt x="444" y="196"/>
                      <a:pt x="444" y="196"/>
                      <a:pt x="444" y="196"/>
                    </a:cubicBezTo>
                    <a:cubicBezTo>
                      <a:pt x="445" y="195"/>
                      <a:pt x="445" y="195"/>
                      <a:pt x="445" y="195"/>
                    </a:cubicBezTo>
                    <a:cubicBezTo>
                      <a:pt x="446" y="196"/>
                      <a:pt x="446" y="196"/>
                      <a:pt x="446" y="196"/>
                    </a:cubicBezTo>
                    <a:cubicBezTo>
                      <a:pt x="447" y="198"/>
                      <a:pt x="447" y="198"/>
                      <a:pt x="447" y="198"/>
                    </a:cubicBezTo>
                    <a:cubicBezTo>
                      <a:pt x="446" y="200"/>
                      <a:pt x="446" y="200"/>
                      <a:pt x="446" y="200"/>
                    </a:cubicBezTo>
                    <a:cubicBezTo>
                      <a:pt x="445" y="199"/>
                      <a:pt x="445" y="199"/>
                      <a:pt x="445" y="199"/>
                    </a:cubicBezTo>
                    <a:cubicBezTo>
                      <a:pt x="445" y="200"/>
                      <a:pt x="445" y="200"/>
                      <a:pt x="445" y="200"/>
                    </a:cubicBezTo>
                    <a:cubicBezTo>
                      <a:pt x="446" y="201"/>
                      <a:pt x="446" y="201"/>
                      <a:pt x="446" y="201"/>
                    </a:cubicBezTo>
                    <a:cubicBezTo>
                      <a:pt x="446" y="203"/>
                      <a:pt x="446" y="203"/>
                      <a:pt x="446" y="203"/>
                    </a:cubicBezTo>
                    <a:cubicBezTo>
                      <a:pt x="445" y="204"/>
                      <a:pt x="445" y="204"/>
                      <a:pt x="445" y="204"/>
                    </a:cubicBezTo>
                    <a:cubicBezTo>
                      <a:pt x="444" y="204"/>
                      <a:pt x="444" y="204"/>
                      <a:pt x="444" y="204"/>
                    </a:cubicBezTo>
                    <a:cubicBezTo>
                      <a:pt x="444" y="205"/>
                      <a:pt x="444" y="205"/>
                      <a:pt x="444" y="205"/>
                    </a:cubicBezTo>
                    <a:cubicBezTo>
                      <a:pt x="441" y="205"/>
                      <a:pt x="441" y="205"/>
                      <a:pt x="441" y="205"/>
                    </a:cubicBezTo>
                    <a:cubicBezTo>
                      <a:pt x="440" y="206"/>
                      <a:pt x="440" y="206"/>
                      <a:pt x="440" y="206"/>
                    </a:cubicBezTo>
                    <a:cubicBezTo>
                      <a:pt x="439" y="206"/>
                      <a:pt x="439" y="206"/>
                      <a:pt x="439" y="206"/>
                    </a:cubicBezTo>
                    <a:cubicBezTo>
                      <a:pt x="438" y="204"/>
                      <a:pt x="438" y="204"/>
                      <a:pt x="438" y="204"/>
                    </a:cubicBezTo>
                    <a:cubicBezTo>
                      <a:pt x="437" y="204"/>
                      <a:pt x="437" y="204"/>
                      <a:pt x="437" y="204"/>
                    </a:cubicBezTo>
                    <a:cubicBezTo>
                      <a:pt x="437" y="207"/>
                      <a:pt x="437" y="207"/>
                      <a:pt x="437" y="207"/>
                    </a:cubicBezTo>
                    <a:cubicBezTo>
                      <a:pt x="437" y="208"/>
                      <a:pt x="437" y="208"/>
                      <a:pt x="437" y="208"/>
                    </a:cubicBezTo>
                    <a:cubicBezTo>
                      <a:pt x="439" y="208"/>
                      <a:pt x="439" y="208"/>
                      <a:pt x="439" y="208"/>
                    </a:cubicBezTo>
                    <a:cubicBezTo>
                      <a:pt x="443" y="207"/>
                      <a:pt x="443" y="207"/>
                      <a:pt x="443" y="207"/>
                    </a:cubicBezTo>
                    <a:cubicBezTo>
                      <a:pt x="443" y="208"/>
                      <a:pt x="443" y="208"/>
                      <a:pt x="443" y="208"/>
                    </a:cubicBezTo>
                    <a:cubicBezTo>
                      <a:pt x="444" y="211"/>
                      <a:pt x="444" y="211"/>
                      <a:pt x="444" y="211"/>
                    </a:cubicBezTo>
                    <a:cubicBezTo>
                      <a:pt x="445" y="211"/>
                      <a:pt x="445" y="211"/>
                      <a:pt x="445" y="211"/>
                    </a:cubicBezTo>
                    <a:cubicBezTo>
                      <a:pt x="445" y="210"/>
                      <a:pt x="445" y="210"/>
                      <a:pt x="445" y="210"/>
                    </a:cubicBezTo>
                    <a:cubicBezTo>
                      <a:pt x="446" y="208"/>
                      <a:pt x="446" y="208"/>
                      <a:pt x="446" y="208"/>
                    </a:cubicBezTo>
                    <a:cubicBezTo>
                      <a:pt x="446" y="208"/>
                      <a:pt x="446" y="208"/>
                      <a:pt x="446" y="208"/>
                    </a:cubicBezTo>
                    <a:cubicBezTo>
                      <a:pt x="447" y="209"/>
                      <a:pt x="447" y="209"/>
                      <a:pt x="447" y="209"/>
                    </a:cubicBezTo>
                    <a:cubicBezTo>
                      <a:pt x="447" y="211"/>
                      <a:pt x="447" y="211"/>
                      <a:pt x="447" y="211"/>
                    </a:cubicBezTo>
                    <a:cubicBezTo>
                      <a:pt x="446" y="211"/>
                      <a:pt x="446" y="211"/>
                      <a:pt x="446" y="211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3" y="215"/>
                      <a:pt x="443" y="215"/>
                      <a:pt x="443" y="215"/>
                    </a:cubicBezTo>
                    <a:cubicBezTo>
                      <a:pt x="442" y="215"/>
                      <a:pt x="442" y="215"/>
                      <a:pt x="442" y="215"/>
                    </a:cubicBezTo>
                    <a:cubicBezTo>
                      <a:pt x="441" y="214"/>
                      <a:pt x="441" y="214"/>
                      <a:pt x="441" y="214"/>
                    </a:cubicBezTo>
                    <a:cubicBezTo>
                      <a:pt x="440" y="215"/>
                      <a:pt x="440" y="215"/>
                      <a:pt x="440" y="215"/>
                    </a:cubicBezTo>
                    <a:cubicBezTo>
                      <a:pt x="439" y="213"/>
                      <a:pt x="439" y="213"/>
                      <a:pt x="439" y="213"/>
                    </a:cubicBezTo>
                    <a:cubicBezTo>
                      <a:pt x="439" y="214"/>
                      <a:pt x="439" y="214"/>
                      <a:pt x="439" y="214"/>
                    </a:cubicBezTo>
                    <a:cubicBezTo>
                      <a:pt x="437" y="214"/>
                      <a:pt x="437" y="214"/>
                      <a:pt x="437" y="214"/>
                    </a:cubicBezTo>
                    <a:cubicBezTo>
                      <a:pt x="436" y="214"/>
                      <a:pt x="436" y="214"/>
                      <a:pt x="436" y="214"/>
                    </a:cubicBezTo>
                    <a:cubicBezTo>
                      <a:pt x="435" y="214"/>
                      <a:pt x="435" y="214"/>
                      <a:pt x="435" y="214"/>
                    </a:cubicBezTo>
                    <a:cubicBezTo>
                      <a:pt x="436" y="215"/>
                      <a:pt x="436" y="215"/>
                      <a:pt x="436" y="215"/>
                    </a:cubicBezTo>
                    <a:cubicBezTo>
                      <a:pt x="438" y="215"/>
                      <a:pt x="438" y="215"/>
                      <a:pt x="438" y="215"/>
                    </a:cubicBezTo>
                    <a:cubicBezTo>
                      <a:pt x="439" y="216"/>
                      <a:pt x="439" y="216"/>
                      <a:pt x="439" y="216"/>
                    </a:cubicBezTo>
                    <a:cubicBezTo>
                      <a:pt x="438" y="217"/>
                      <a:pt x="438" y="217"/>
                      <a:pt x="438" y="217"/>
                    </a:cubicBezTo>
                    <a:cubicBezTo>
                      <a:pt x="438" y="218"/>
                      <a:pt x="438" y="218"/>
                      <a:pt x="438" y="218"/>
                    </a:cubicBezTo>
                    <a:cubicBezTo>
                      <a:pt x="436" y="219"/>
                      <a:pt x="436" y="219"/>
                      <a:pt x="436" y="219"/>
                    </a:cubicBezTo>
                    <a:cubicBezTo>
                      <a:pt x="434" y="218"/>
                      <a:pt x="434" y="218"/>
                      <a:pt x="434" y="218"/>
                    </a:cubicBezTo>
                    <a:cubicBezTo>
                      <a:pt x="435" y="220"/>
                      <a:pt x="435" y="220"/>
                      <a:pt x="435" y="220"/>
                    </a:cubicBezTo>
                    <a:cubicBezTo>
                      <a:pt x="438" y="220"/>
                      <a:pt x="438" y="220"/>
                      <a:pt x="438" y="220"/>
                    </a:cubicBezTo>
                    <a:cubicBezTo>
                      <a:pt x="440" y="218"/>
                      <a:pt x="440" y="218"/>
                      <a:pt x="440" y="218"/>
                    </a:cubicBezTo>
                    <a:cubicBezTo>
                      <a:pt x="440" y="219"/>
                      <a:pt x="440" y="219"/>
                      <a:pt x="440" y="219"/>
                    </a:cubicBezTo>
                    <a:cubicBezTo>
                      <a:pt x="441" y="219"/>
                      <a:pt x="441" y="219"/>
                      <a:pt x="441" y="219"/>
                    </a:cubicBezTo>
                    <a:cubicBezTo>
                      <a:pt x="439" y="222"/>
                      <a:pt x="439" y="222"/>
                      <a:pt x="439" y="222"/>
                    </a:cubicBezTo>
                    <a:cubicBezTo>
                      <a:pt x="437" y="222"/>
                      <a:pt x="437" y="222"/>
                      <a:pt x="437" y="222"/>
                    </a:cubicBezTo>
                    <a:cubicBezTo>
                      <a:pt x="437" y="221"/>
                      <a:pt x="437" y="221"/>
                      <a:pt x="437" y="221"/>
                    </a:cubicBezTo>
                    <a:cubicBezTo>
                      <a:pt x="436" y="221"/>
                      <a:pt x="436" y="221"/>
                      <a:pt x="436" y="221"/>
                    </a:cubicBezTo>
                    <a:cubicBezTo>
                      <a:pt x="435" y="222"/>
                      <a:pt x="435" y="222"/>
                      <a:pt x="435" y="222"/>
                    </a:cubicBezTo>
                    <a:cubicBezTo>
                      <a:pt x="433" y="222"/>
                      <a:pt x="433" y="222"/>
                      <a:pt x="433" y="222"/>
                    </a:cubicBezTo>
                    <a:cubicBezTo>
                      <a:pt x="428" y="225"/>
                      <a:pt x="428" y="225"/>
                      <a:pt x="428" y="225"/>
                    </a:cubicBezTo>
                    <a:cubicBezTo>
                      <a:pt x="423" y="229"/>
                      <a:pt x="423" y="229"/>
                      <a:pt x="423" y="229"/>
                    </a:cubicBezTo>
                    <a:cubicBezTo>
                      <a:pt x="422" y="232"/>
                      <a:pt x="422" y="232"/>
                      <a:pt x="422" y="232"/>
                    </a:cubicBezTo>
                    <a:cubicBezTo>
                      <a:pt x="421" y="232"/>
                      <a:pt x="421" y="232"/>
                      <a:pt x="421" y="232"/>
                    </a:cubicBezTo>
                    <a:cubicBezTo>
                      <a:pt x="420" y="231"/>
                      <a:pt x="420" y="231"/>
                      <a:pt x="420" y="231"/>
                    </a:cubicBezTo>
                    <a:cubicBezTo>
                      <a:pt x="417" y="232"/>
                      <a:pt x="417" y="232"/>
                      <a:pt x="417" y="232"/>
                    </a:cubicBezTo>
                    <a:cubicBezTo>
                      <a:pt x="415" y="233"/>
                      <a:pt x="415" y="233"/>
                      <a:pt x="415" y="233"/>
                    </a:cubicBezTo>
                    <a:cubicBezTo>
                      <a:pt x="412" y="238"/>
                      <a:pt x="412" y="238"/>
                      <a:pt x="412" y="238"/>
                    </a:cubicBezTo>
                    <a:cubicBezTo>
                      <a:pt x="412" y="239"/>
                      <a:pt x="412" y="239"/>
                      <a:pt x="412" y="239"/>
                    </a:cubicBezTo>
                    <a:cubicBezTo>
                      <a:pt x="410" y="241"/>
                      <a:pt x="410" y="241"/>
                      <a:pt x="410" y="241"/>
                    </a:cubicBezTo>
                    <a:cubicBezTo>
                      <a:pt x="409" y="241"/>
                      <a:pt x="409" y="241"/>
                      <a:pt x="409" y="241"/>
                    </a:cubicBezTo>
                    <a:cubicBezTo>
                      <a:pt x="409" y="242"/>
                      <a:pt x="409" y="242"/>
                      <a:pt x="409" y="242"/>
                    </a:cubicBezTo>
                    <a:cubicBezTo>
                      <a:pt x="407" y="244"/>
                      <a:pt x="407" y="244"/>
                      <a:pt x="407" y="244"/>
                    </a:cubicBezTo>
                    <a:cubicBezTo>
                      <a:pt x="406" y="243"/>
                      <a:pt x="406" y="243"/>
                      <a:pt x="406" y="243"/>
                    </a:cubicBezTo>
                    <a:cubicBezTo>
                      <a:pt x="405" y="244"/>
                      <a:pt x="405" y="244"/>
                      <a:pt x="405" y="244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03" y="244"/>
                      <a:pt x="403" y="244"/>
                      <a:pt x="403" y="244"/>
                    </a:cubicBezTo>
                    <a:cubicBezTo>
                      <a:pt x="402" y="246"/>
                      <a:pt x="402" y="246"/>
                      <a:pt x="402" y="246"/>
                    </a:cubicBezTo>
                    <a:cubicBezTo>
                      <a:pt x="399" y="246"/>
                      <a:pt x="399" y="246"/>
                      <a:pt x="399" y="246"/>
                    </a:cubicBezTo>
                    <a:cubicBezTo>
                      <a:pt x="398" y="247"/>
                      <a:pt x="398" y="247"/>
                      <a:pt x="398" y="247"/>
                    </a:cubicBezTo>
                    <a:cubicBezTo>
                      <a:pt x="396" y="247"/>
                      <a:pt x="396" y="247"/>
                      <a:pt x="396" y="247"/>
                    </a:cubicBezTo>
                    <a:cubicBezTo>
                      <a:pt x="396" y="248"/>
                      <a:pt x="396" y="248"/>
                      <a:pt x="396" y="248"/>
                    </a:cubicBezTo>
                    <a:cubicBezTo>
                      <a:pt x="394" y="248"/>
                      <a:pt x="394" y="248"/>
                      <a:pt x="394" y="248"/>
                    </a:cubicBezTo>
                    <a:cubicBezTo>
                      <a:pt x="393" y="249"/>
                      <a:pt x="393" y="249"/>
                      <a:pt x="393" y="249"/>
                    </a:cubicBezTo>
                    <a:cubicBezTo>
                      <a:pt x="394" y="249"/>
                      <a:pt x="394" y="249"/>
                      <a:pt x="394" y="249"/>
                    </a:cubicBezTo>
                    <a:cubicBezTo>
                      <a:pt x="394" y="251"/>
                      <a:pt x="394" y="251"/>
                      <a:pt x="394" y="251"/>
                    </a:cubicBezTo>
                    <a:cubicBezTo>
                      <a:pt x="392" y="253"/>
                      <a:pt x="392" y="253"/>
                      <a:pt x="392" y="253"/>
                    </a:cubicBezTo>
                    <a:cubicBezTo>
                      <a:pt x="391" y="253"/>
                      <a:pt x="391" y="253"/>
                      <a:pt x="391" y="253"/>
                    </a:cubicBezTo>
                    <a:cubicBezTo>
                      <a:pt x="391" y="254"/>
                      <a:pt x="391" y="254"/>
                      <a:pt x="391" y="254"/>
                    </a:cubicBezTo>
                    <a:cubicBezTo>
                      <a:pt x="389" y="255"/>
                      <a:pt x="389" y="255"/>
                      <a:pt x="389" y="255"/>
                    </a:cubicBezTo>
                    <a:cubicBezTo>
                      <a:pt x="387" y="257"/>
                      <a:pt x="387" y="257"/>
                      <a:pt x="387" y="257"/>
                    </a:cubicBezTo>
                    <a:cubicBezTo>
                      <a:pt x="386" y="260"/>
                      <a:pt x="386" y="260"/>
                      <a:pt x="386" y="260"/>
                    </a:cubicBezTo>
                    <a:cubicBezTo>
                      <a:pt x="386" y="264"/>
                      <a:pt x="386" y="264"/>
                      <a:pt x="386" y="264"/>
                    </a:cubicBezTo>
                    <a:cubicBezTo>
                      <a:pt x="385" y="270"/>
                      <a:pt x="385" y="270"/>
                      <a:pt x="385" y="270"/>
                    </a:cubicBezTo>
                    <a:cubicBezTo>
                      <a:pt x="386" y="273"/>
                      <a:pt x="386" y="273"/>
                      <a:pt x="386" y="273"/>
                    </a:cubicBezTo>
                    <a:cubicBezTo>
                      <a:pt x="385" y="277"/>
                      <a:pt x="385" y="277"/>
                      <a:pt x="385" y="277"/>
                    </a:cubicBezTo>
                    <a:cubicBezTo>
                      <a:pt x="386" y="280"/>
                      <a:pt x="386" y="280"/>
                      <a:pt x="386" y="280"/>
                    </a:cubicBezTo>
                    <a:cubicBezTo>
                      <a:pt x="387" y="284"/>
                      <a:pt x="387" y="284"/>
                      <a:pt x="387" y="284"/>
                    </a:cubicBezTo>
                    <a:cubicBezTo>
                      <a:pt x="387" y="286"/>
                      <a:pt x="387" y="286"/>
                      <a:pt x="387" y="286"/>
                    </a:cubicBezTo>
                    <a:cubicBezTo>
                      <a:pt x="388" y="290"/>
                      <a:pt x="388" y="290"/>
                      <a:pt x="388" y="290"/>
                    </a:cubicBezTo>
                    <a:cubicBezTo>
                      <a:pt x="390" y="292"/>
                      <a:pt x="390" y="292"/>
                      <a:pt x="390" y="292"/>
                    </a:cubicBezTo>
                    <a:cubicBezTo>
                      <a:pt x="390" y="294"/>
                      <a:pt x="390" y="294"/>
                      <a:pt x="390" y="294"/>
                    </a:cubicBezTo>
                    <a:cubicBezTo>
                      <a:pt x="390" y="296"/>
                      <a:pt x="390" y="296"/>
                      <a:pt x="390" y="296"/>
                    </a:cubicBezTo>
                    <a:cubicBezTo>
                      <a:pt x="389" y="299"/>
                      <a:pt x="389" y="299"/>
                      <a:pt x="389" y="299"/>
                    </a:cubicBezTo>
                    <a:cubicBezTo>
                      <a:pt x="390" y="300"/>
                      <a:pt x="390" y="300"/>
                      <a:pt x="390" y="300"/>
                    </a:cubicBezTo>
                    <a:cubicBezTo>
                      <a:pt x="391" y="307"/>
                      <a:pt x="391" y="307"/>
                      <a:pt x="391" y="307"/>
                    </a:cubicBezTo>
                    <a:cubicBezTo>
                      <a:pt x="393" y="308"/>
                      <a:pt x="393" y="308"/>
                      <a:pt x="393" y="308"/>
                    </a:cubicBezTo>
                    <a:cubicBezTo>
                      <a:pt x="394" y="311"/>
                      <a:pt x="394" y="311"/>
                      <a:pt x="394" y="311"/>
                    </a:cubicBezTo>
                    <a:cubicBezTo>
                      <a:pt x="392" y="312"/>
                      <a:pt x="392" y="312"/>
                      <a:pt x="392" y="312"/>
                    </a:cubicBezTo>
                    <a:cubicBezTo>
                      <a:pt x="393" y="313"/>
                      <a:pt x="393" y="313"/>
                      <a:pt x="393" y="313"/>
                    </a:cubicBezTo>
                    <a:cubicBezTo>
                      <a:pt x="393" y="316"/>
                      <a:pt x="393" y="316"/>
                      <a:pt x="393" y="316"/>
                    </a:cubicBezTo>
                    <a:cubicBezTo>
                      <a:pt x="392" y="317"/>
                      <a:pt x="392" y="317"/>
                      <a:pt x="392" y="317"/>
                    </a:cubicBezTo>
                    <a:cubicBezTo>
                      <a:pt x="392" y="319"/>
                      <a:pt x="392" y="319"/>
                      <a:pt x="392" y="319"/>
                    </a:cubicBezTo>
                    <a:cubicBezTo>
                      <a:pt x="391" y="322"/>
                      <a:pt x="391" y="322"/>
                      <a:pt x="391" y="322"/>
                    </a:cubicBezTo>
                    <a:cubicBezTo>
                      <a:pt x="390" y="325"/>
                      <a:pt x="390" y="325"/>
                      <a:pt x="390" y="325"/>
                    </a:cubicBezTo>
                    <a:cubicBezTo>
                      <a:pt x="389" y="326"/>
                      <a:pt x="389" y="326"/>
                      <a:pt x="389" y="326"/>
                    </a:cubicBezTo>
                    <a:cubicBezTo>
                      <a:pt x="388" y="329"/>
                      <a:pt x="388" y="329"/>
                      <a:pt x="388" y="329"/>
                    </a:cubicBezTo>
                    <a:cubicBezTo>
                      <a:pt x="387" y="329"/>
                      <a:pt x="387" y="329"/>
                      <a:pt x="387" y="329"/>
                    </a:cubicBezTo>
                    <a:cubicBezTo>
                      <a:pt x="385" y="330"/>
                      <a:pt x="385" y="330"/>
                      <a:pt x="385" y="330"/>
                    </a:cubicBezTo>
                    <a:cubicBezTo>
                      <a:pt x="383" y="330"/>
                      <a:pt x="383" y="330"/>
                      <a:pt x="383" y="330"/>
                    </a:cubicBezTo>
                    <a:cubicBezTo>
                      <a:pt x="382" y="328"/>
                      <a:pt x="382" y="328"/>
                      <a:pt x="382" y="328"/>
                    </a:cubicBezTo>
                    <a:cubicBezTo>
                      <a:pt x="380" y="328"/>
                      <a:pt x="380" y="328"/>
                      <a:pt x="380" y="328"/>
                    </a:cubicBezTo>
                    <a:cubicBezTo>
                      <a:pt x="381" y="327"/>
                      <a:pt x="381" y="327"/>
                      <a:pt x="381" y="327"/>
                    </a:cubicBezTo>
                    <a:cubicBezTo>
                      <a:pt x="379" y="325"/>
                      <a:pt x="379" y="325"/>
                      <a:pt x="379" y="325"/>
                    </a:cubicBezTo>
                    <a:cubicBezTo>
                      <a:pt x="379" y="324"/>
                      <a:pt x="379" y="324"/>
                      <a:pt x="379" y="324"/>
                    </a:cubicBezTo>
                    <a:cubicBezTo>
                      <a:pt x="378" y="322"/>
                      <a:pt x="378" y="322"/>
                      <a:pt x="378" y="322"/>
                    </a:cubicBezTo>
                    <a:cubicBezTo>
                      <a:pt x="377" y="322"/>
                      <a:pt x="377" y="322"/>
                      <a:pt x="377" y="322"/>
                    </a:cubicBezTo>
                    <a:cubicBezTo>
                      <a:pt x="376" y="322"/>
                      <a:pt x="376" y="322"/>
                      <a:pt x="376" y="322"/>
                    </a:cubicBezTo>
                    <a:cubicBezTo>
                      <a:pt x="376" y="319"/>
                      <a:pt x="376" y="319"/>
                      <a:pt x="376" y="319"/>
                    </a:cubicBezTo>
                    <a:cubicBezTo>
                      <a:pt x="376" y="317"/>
                      <a:pt x="376" y="317"/>
                      <a:pt x="376" y="317"/>
                    </a:cubicBezTo>
                    <a:cubicBezTo>
                      <a:pt x="373" y="315"/>
                      <a:pt x="373" y="315"/>
                      <a:pt x="373" y="315"/>
                    </a:cubicBezTo>
                    <a:cubicBezTo>
                      <a:pt x="373" y="314"/>
                      <a:pt x="373" y="314"/>
                      <a:pt x="373" y="314"/>
                    </a:cubicBezTo>
                    <a:cubicBezTo>
                      <a:pt x="374" y="313"/>
                      <a:pt x="374" y="313"/>
                      <a:pt x="374" y="313"/>
                    </a:cubicBezTo>
                    <a:cubicBezTo>
                      <a:pt x="374" y="311"/>
                      <a:pt x="374" y="311"/>
                      <a:pt x="374" y="311"/>
                    </a:cubicBezTo>
                    <a:cubicBezTo>
                      <a:pt x="376" y="310"/>
                      <a:pt x="376" y="310"/>
                      <a:pt x="376" y="310"/>
                    </a:cubicBezTo>
                    <a:cubicBezTo>
                      <a:pt x="374" y="310"/>
                      <a:pt x="374" y="310"/>
                      <a:pt x="374" y="310"/>
                    </a:cubicBezTo>
                    <a:cubicBezTo>
                      <a:pt x="373" y="310"/>
                      <a:pt x="373" y="310"/>
                      <a:pt x="373" y="310"/>
                    </a:cubicBezTo>
                    <a:cubicBezTo>
                      <a:pt x="373" y="311"/>
                      <a:pt x="373" y="311"/>
                      <a:pt x="373" y="311"/>
                    </a:cubicBezTo>
                    <a:cubicBezTo>
                      <a:pt x="373" y="312"/>
                      <a:pt x="373" y="312"/>
                      <a:pt x="373" y="312"/>
                    </a:cubicBezTo>
                    <a:cubicBezTo>
                      <a:pt x="372" y="310"/>
                      <a:pt x="372" y="310"/>
                      <a:pt x="372" y="310"/>
                    </a:cubicBezTo>
                    <a:cubicBezTo>
                      <a:pt x="371" y="310"/>
                      <a:pt x="371" y="310"/>
                      <a:pt x="371" y="310"/>
                    </a:cubicBezTo>
                    <a:cubicBezTo>
                      <a:pt x="371" y="309"/>
                      <a:pt x="371" y="309"/>
                      <a:pt x="371" y="309"/>
                    </a:cubicBezTo>
                    <a:cubicBezTo>
                      <a:pt x="370" y="308"/>
                      <a:pt x="370" y="308"/>
                      <a:pt x="370" y="308"/>
                    </a:cubicBezTo>
                    <a:cubicBezTo>
                      <a:pt x="370" y="306"/>
                      <a:pt x="370" y="306"/>
                      <a:pt x="370" y="306"/>
                    </a:cubicBezTo>
                    <a:cubicBezTo>
                      <a:pt x="369" y="304"/>
                      <a:pt x="369" y="304"/>
                      <a:pt x="369" y="304"/>
                    </a:cubicBezTo>
                    <a:cubicBezTo>
                      <a:pt x="371" y="301"/>
                      <a:pt x="371" y="301"/>
                      <a:pt x="371" y="301"/>
                    </a:cubicBezTo>
                    <a:cubicBezTo>
                      <a:pt x="371" y="299"/>
                      <a:pt x="371" y="299"/>
                      <a:pt x="371" y="299"/>
                    </a:cubicBezTo>
                    <a:cubicBezTo>
                      <a:pt x="370" y="299"/>
                      <a:pt x="370" y="299"/>
                      <a:pt x="370" y="299"/>
                    </a:cubicBezTo>
                    <a:cubicBezTo>
                      <a:pt x="369" y="299"/>
                      <a:pt x="369" y="299"/>
                      <a:pt x="369" y="299"/>
                    </a:cubicBez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68" y="302"/>
                      <a:pt x="368" y="302"/>
                      <a:pt x="368" y="302"/>
                    </a:cubicBezTo>
                    <a:cubicBezTo>
                      <a:pt x="367" y="300"/>
                      <a:pt x="367" y="300"/>
                      <a:pt x="367" y="300"/>
                    </a:cubicBezTo>
                    <a:cubicBezTo>
                      <a:pt x="367" y="299"/>
                      <a:pt x="367" y="299"/>
                      <a:pt x="367" y="299"/>
                    </a:cubicBezTo>
                    <a:cubicBezTo>
                      <a:pt x="369" y="295"/>
                      <a:pt x="369" y="295"/>
                      <a:pt x="369" y="295"/>
                    </a:cubicBezTo>
                    <a:cubicBezTo>
                      <a:pt x="370" y="290"/>
                      <a:pt x="370" y="290"/>
                      <a:pt x="370" y="290"/>
                    </a:cubicBezTo>
                    <a:cubicBezTo>
                      <a:pt x="370" y="288"/>
                      <a:pt x="370" y="288"/>
                      <a:pt x="370" y="288"/>
                    </a:cubicBezTo>
                    <a:cubicBezTo>
                      <a:pt x="369" y="286"/>
                      <a:pt x="369" y="286"/>
                      <a:pt x="369" y="286"/>
                    </a:cubicBezTo>
                    <a:cubicBezTo>
                      <a:pt x="368" y="285"/>
                      <a:pt x="368" y="285"/>
                      <a:pt x="368" y="285"/>
                    </a:cubicBezTo>
                    <a:cubicBezTo>
                      <a:pt x="367" y="284"/>
                      <a:pt x="367" y="284"/>
                      <a:pt x="367" y="284"/>
                    </a:cubicBezTo>
                    <a:cubicBezTo>
                      <a:pt x="367" y="283"/>
                      <a:pt x="367" y="283"/>
                      <a:pt x="367" y="283"/>
                    </a:cubicBezTo>
                    <a:cubicBezTo>
                      <a:pt x="366" y="283"/>
                      <a:pt x="366" y="283"/>
                      <a:pt x="366" y="283"/>
                    </a:cubicBezTo>
                    <a:cubicBezTo>
                      <a:pt x="365" y="282"/>
                      <a:pt x="365" y="282"/>
                      <a:pt x="365" y="282"/>
                    </a:cubicBezTo>
                    <a:cubicBezTo>
                      <a:pt x="364" y="280"/>
                      <a:pt x="364" y="280"/>
                      <a:pt x="364" y="280"/>
                    </a:cubicBezTo>
                    <a:cubicBezTo>
                      <a:pt x="364" y="280"/>
                      <a:pt x="364" y="280"/>
                      <a:pt x="364" y="280"/>
                    </a:cubicBezTo>
                    <a:cubicBezTo>
                      <a:pt x="363" y="279"/>
                      <a:pt x="363" y="279"/>
                      <a:pt x="363" y="279"/>
                    </a:cubicBezTo>
                    <a:cubicBezTo>
                      <a:pt x="362" y="276"/>
                      <a:pt x="362" y="276"/>
                      <a:pt x="362" y="276"/>
                    </a:cubicBezTo>
                    <a:cubicBezTo>
                      <a:pt x="359" y="275"/>
                      <a:pt x="359" y="275"/>
                      <a:pt x="359" y="275"/>
                    </a:cubicBezTo>
                    <a:cubicBezTo>
                      <a:pt x="358" y="274"/>
                      <a:pt x="358" y="274"/>
                      <a:pt x="358" y="274"/>
                    </a:cubicBezTo>
                    <a:cubicBezTo>
                      <a:pt x="356" y="274"/>
                      <a:pt x="356" y="274"/>
                      <a:pt x="356" y="274"/>
                    </a:cubicBezTo>
                    <a:cubicBezTo>
                      <a:pt x="355" y="275"/>
                      <a:pt x="355" y="275"/>
                      <a:pt x="355" y="275"/>
                    </a:cubicBezTo>
                    <a:cubicBezTo>
                      <a:pt x="355" y="276"/>
                      <a:pt x="355" y="276"/>
                      <a:pt x="355" y="276"/>
                    </a:cubicBezTo>
                    <a:cubicBezTo>
                      <a:pt x="355" y="276"/>
                      <a:pt x="355" y="276"/>
                      <a:pt x="355" y="276"/>
                    </a:cubicBezTo>
                    <a:cubicBezTo>
                      <a:pt x="354" y="276"/>
                      <a:pt x="354" y="276"/>
                      <a:pt x="354" y="276"/>
                    </a:cubicBezTo>
                    <a:cubicBezTo>
                      <a:pt x="351" y="278"/>
                      <a:pt x="351" y="278"/>
                      <a:pt x="351" y="278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347" y="279"/>
                      <a:pt x="347" y="279"/>
                      <a:pt x="347" y="279"/>
                    </a:cubicBezTo>
                    <a:cubicBezTo>
                      <a:pt x="346" y="278"/>
                      <a:pt x="346" y="278"/>
                      <a:pt x="346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7"/>
                      <a:pt x="347" y="277"/>
                      <a:pt x="347" y="277"/>
                    </a:cubicBezTo>
                    <a:cubicBezTo>
                      <a:pt x="346" y="276"/>
                      <a:pt x="346" y="276"/>
                      <a:pt x="346" y="276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4" y="274"/>
                      <a:pt x="344" y="274"/>
                      <a:pt x="344" y="274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4" y="272"/>
                      <a:pt x="344" y="272"/>
                      <a:pt x="344" y="272"/>
                    </a:cubicBezTo>
                    <a:cubicBezTo>
                      <a:pt x="343" y="271"/>
                      <a:pt x="343" y="271"/>
                      <a:pt x="343" y="271"/>
                    </a:cubicBezTo>
                    <a:cubicBezTo>
                      <a:pt x="342" y="271"/>
                      <a:pt x="342" y="271"/>
                      <a:pt x="342" y="271"/>
                    </a:cubicBezTo>
                    <a:cubicBezTo>
                      <a:pt x="342" y="272"/>
                      <a:pt x="342" y="272"/>
                      <a:pt x="342" y="272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2" y="273"/>
                      <a:pt x="342" y="273"/>
                      <a:pt x="342" y="273"/>
                    </a:cubicBezTo>
                    <a:cubicBezTo>
                      <a:pt x="340" y="271"/>
                      <a:pt x="340" y="271"/>
                      <a:pt x="340" y="271"/>
                    </a:cubicBezTo>
                    <a:cubicBezTo>
                      <a:pt x="338" y="271"/>
                      <a:pt x="338" y="271"/>
                      <a:pt x="338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8" y="271"/>
                      <a:pt x="338" y="271"/>
                      <a:pt x="338" y="271"/>
                    </a:cubicBezTo>
                    <a:cubicBezTo>
                      <a:pt x="339" y="270"/>
                      <a:pt x="339" y="270"/>
                      <a:pt x="339" y="270"/>
                    </a:cubicBezTo>
                    <a:cubicBezTo>
                      <a:pt x="338" y="270"/>
                      <a:pt x="338" y="270"/>
                      <a:pt x="338" y="270"/>
                    </a:cubicBezTo>
                    <a:cubicBezTo>
                      <a:pt x="336" y="270"/>
                      <a:pt x="336" y="270"/>
                      <a:pt x="336" y="270"/>
                    </a:cubicBezTo>
                    <a:cubicBezTo>
                      <a:pt x="334" y="271"/>
                      <a:pt x="334" y="271"/>
                      <a:pt x="334" y="271"/>
                    </a:cubicBezTo>
                    <a:cubicBezTo>
                      <a:pt x="333" y="271"/>
                      <a:pt x="333" y="271"/>
                      <a:pt x="333" y="271"/>
                    </a:cubicBezTo>
                    <a:cubicBezTo>
                      <a:pt x="330" y="271"/>
                      <a:pt x="330" y="271"/>
                      <a:pt x="330" y="271"/>
                    </a:cubicBezTo>
                    <a:cubicBezTo>
                      <a:pt x="329" y="270"/>
                      <a:pt x="329" y="270"/>
                      <a:pt x="329" y="270"/>
                    </a:cubicBezTo>
                    <a:cubicBezTo>
                      <a:pt x="328" y="271"/>
                      <a:pt x="328" y="271"/>
                      <a:pt x="328" y="271"/>
                    </a:cubicBezTo>
                    <a:cubicBezTo>
                      <a:pt x="325" y="271"/>
                      <a:pt x="325" y="271"/>
                      <a:pt x="325" y="271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2" y="270"/>
                      <a:pt x="322" y="270"/>
                      <a:pt x="322" y="270"/>
                    </a:cubicBezTo>
                    <a:cubicBezTo>
                      <a:pt x="322" y="268"/>
                      <a:pt x="322" y="268"/>
                      <a:pt x="322" y="268"/>
                    </a:cubicBezTo>
                    <a:cubicBezTo>
                      <a:pt x="322" y="267"/>
                      <a:pt x="322" y="267"/>
                      <a:pt x="322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0" y="269"/>
                      <a:pt x="320" y="269"/>
                      <a:pt x="320" y="269"/>
                    </a:cubicBezTo>
                    <a:cubicBezTo>
                      <a:pt x="319" y="270"/>
                      <a:pt x="319" y="270"/>
                      <a:pt x="319" y="270"/>
                    </a:cubicBezTo>
                    <a:cubicBezTo>
                      <a:pt x="318" y="270"/>
                      <a:pt x="318" y="270"/>
                      <a:pt x="318" y="270"/>
                    </a:cubicBezTo>
                    <a:cubicBezTo>
                      <a:pt x="316" y="270"/>
                      <a:pt x="316" y="270"/>
                      <a:pt x="316" y="270"/>
                    </a:cubicBezTo>
                    <a:cubicBezTo>
                      <a:pt x="314" y="270"/>
                      <a:pt x="314" y="270"/>
                      <a:pt x="314" y="270"/>
                    </a:cubicBezTo>
                    <a:cubicBezTo>
                      <a:pt x="309" y="271"/>
                      <a:pt x="309" y="271"/>
                      <a:pt x="309" y="271"/>
                    </a:cubicBezTo>
                    <a:cubicBezTo>
                      <a:pt x="307" y="273"/>
                      <a:pt x="307" y="273"/>
                      <a:pt x="307" y="273"/>
                    </a:cubicBezTo>
                    <a:cubicBezTo>
                      <a:pt x="304" y="274"/>
                      <a:pt x="304" y="274"/>
                      <a:pt x="304" y="274"/>
                    </a:cubicBezTo>
                    <a:cubicBezTo>
                      <a:pt x="302" y="276"/>
                      <a:pt x="302" y="276"/>
                      <a:pt x="302" y="276"/>
                    </a:cubicBezTo>
                    <a:cubicBezTo>
                      <a:pt x="302" y="277"/>
                      <a:pt x="302" y="277"/>
                      <a:pt x="302" y="277"/>
                    </a:cubicBezTo>
                    <a:cubicBezTo>
                      <a:pt x="303" y="277"/>
                      <a:pt x="303" y="277"/>
                      <a:pt x="303" y="277"/>
                    </a:cubicBezTo>
                    <a:cubicBezTo>
                      <a:pt x="304" y="275"/>
                      <a:pt x="304" y="275"/>
                      <a:pt x="304" y="275"/>
                    </a:cubicBezTo>
                    <a:cubicBezTo>
                      <a:pt x="305" y="276"/>
                      <a:pt x="305" y="276"/>
                      <a:pt x="305" y="276"/>
                    </a:cubicBezTo>
                    <a:cubicBezTo>
                      <a:pt x="306" y="277"/>
                      <a:pt x="306" y="277"/>
                      <a:pt x="306" y="277"/>
                    </a:cubicBezTo>
                    <a:cubicBezTo>
                      <a:pt x="307" y="277"/>
                      <a:pt x="307" y="277"/>
                      <a:pt x="307" y="277"/>
                    </a:cubicBezTo>
                    <a:cubicBezTo>
                      <a:pt x="307" y="278"/>
                      <a:pt x="307" y="278"/>
                      <a:pt x="307" y="278"/>
                    </a:cubicBezTo>
                    <a:cubicBezTo>
                      <a:pt x="304" y="279"/>
                      <a:pt x="304" y="279"/>
                      <a:pt x="304" y="279"/>
                    </a:cubicBezTo>
                    <a:cubicBezTo>
                      <a:pt x="304" y="281"/>
                      <a:pt x="304" y="281"/>
                      <a:pt x="304" y="281"/>
                    </a:cubicBezTo>
                    <a:cubicBezTo>
                      <a:pt x="304" y="282"/>
                      <a:pt x="304" y="282"/>
                      <a:pt x="304" y="282"/>
                    </a:cubicBezTo>
                    <a:cubicBezTo>
                      <a:pt x="307" y="283"/>
                      <a:pt x="307" y="283"/>
                      <a:pt x="307" y="283"/>
                    </a:cubicBezTo>
                    <a:cubicBezTo>
                      <a:pt x="310" y="285"/>
                      <a:pt x="310" y="285"/>
                      <a:pt x="310" y="285"/>
                    </a:cubicBezTo>
                    <a:cubicBezTo>
                      <a:pt x="310" y="286"/>
                      <a:pt x="310" y="286"/>
                      <a:pt x="310" y="286"/>
                    </a:cubicBezTo>
                    <a:cubicBezTo>
                      <a:pt x="308" y="286"/>
                      <a:pt x="308" y="286"/>
                      <a:pt x="308" y="286"/>
                    </a:cubicBezTo>
                    <a:cubicBezTo>
                      <a:pt x="307" y="287"/>
                      <a:pt x="307" y="287"/>
                      <a:pt x="307" y="287"/>
                    </a:cubicBezTo>
                    <a:cubicBezTo>
                      <a:pt x="307" y="286"/>
                      <a:pt x="307" y="286"/>
                      <a:pt x="307" y="286"/>
                    </a:cubicBezTo>
                    <a:cubicBezTo>
                      <a:pt x="306" y="285"/>
                      <a:pt x="306" y="285"/>
                      <a:pt x="306" y="285"/>
                    </a:cubicBezTo>
                    <a:cubicBezTo>
                      <a:pt x="305" y="285"/>
                      <a:pt x="305" y="285"/>
                      <a:pt x="305" y="285"/>
                    </a:cubicBezTo>
                    <a:cubicBezTo>
                      <a:pt x="304" y="284"/>
                      <a:pt x="304" y="284"/>
                      <a:pt x="304" y="284"/>
                    </a:cubicBezTo>
                    <a:cubicBezTo>
                      <a:pt x="303" y="283"/>
                      <a:pt x="303" y="283"/>
                      <a:pt x="303" y="283"/>
                    </a:cubicBezTo>
                    <a:cubicBezTo>
                      <a:pt x="302" y="281"/>
                      <a:pt x="302" y="281"/>
                      <a:pt x="302" y="281"/>
                    </a:cubicBezTo>
                    <a:cubicBezTo>
                      <a:pt x="300" y="281"/>
                      <a:pt x="300" y="281"/>
                      <a:pt x="300" y="281"/>
                    </a:cubicBezTo>
                    <a:cubicBezTo>
                      <a:pt x="301" y="283"/>
                      <a:pt x="301" y="283"/>
                      <a:pt x="301" y="283"/>
                    </a:cubicBezTo>
                    <a:cubicBezTo>
                      <a:pt x="301" y="285"/>
                      <a:pt x="301" y="285"/>
                      <a:pt x="301" y="285"/>
                    </a:cubicBezTo>
                    <a:cubicBezTo>
                      <a:pt x="299" y="286"/>
                      <a:pt x="299" y="286"/>
                      <a:pt x="299" y="286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7" y="284"/>
                      <a:pt x="297" y="284"/>
                      <a:pt x="297" y="284"/>
                    </a:cubicBezTo>
                    <a:cubicBezTo>
                      <a:pt x="295" y="285"/>
                      <a:pt x="295" y="285"/>
                      <a:pt x="295" y="285"/>
                    </a:cubicBezTo>
                    <a:cubicBezTo>
                      <a:pt x="294" y="286"/>
                      <a:pt x="294" y="286"/>
                      <a:pt x="294" y="286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91" y="284"/>
                      <a:pt x="291" y="284"/>
                      <a:pt x="291" y="284"/>
                    </a:cubicBezTo>
                    <a:cubicBezTo>
                      <a:pt x="289" y="285"/>
                      <a:pt x="289" y="285"/>
                      <a:pt x="289" y="285"/>
                    </a:cubicBezTo>
                    <a:cubicBezTo>
                      <a:pt x="288" y="284"/>
                      <a:pt x="288" y="284"/>
                      <a:pt x="288" y="284"/>
                    </a:cubicBezTo>
                    <a:cubicBezTo>
                      <a:pt x="289" y="283"/>
                      <a:pt x="289" y="283"/>
                      <a:pt x="289" y="283"/>
                    </a:cubicBezTo>
                    <a:cubicBezTo>
                      <a:pt x="290" y="282"/>
                      <a:pt x="290" y="282"/>
                      <a:pt x="290" y="282"/>
                    </a:cubicBezTo>
                    <a:cubicBezTo>
                      <a:pt x="289" y="281"/>
                      <a:pt x="289" y="281"/>
                      <a:pt x="289" y="281"/>
                    </a:cubicBezTo>
                    <a:cubicBezTo>
                      <a:pt x="287" y="281"/>
                      <a:pt x="287" y="281"/>
                      <a:pt x="287" y="281"/>
                    </a:cubicBezTo>
                    <a:cubicBezTo>
                      <a:pt x="287" y="280"/>
                      <a:pt x="287" y="280"/>
                      <a:pt x="287" y="280"/>
                    </a:cubicBezTo>
                    <a:cubicBezTo>
                      <a:pt x="287" y="279"/>
                      <a:pt x="287" y="279"/>
                      <a:pt x="287" y="279"/>
                    </a:cubicBezTo>
                    <a:cubicBezTo>
                      <a:pt x="286" y="278"/>
                      <a:pt x="286" y="278"/>
                      <a:pt x="286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cubicBezTo>
                      <a:pt x="284" y="278"/>
                      <a:pt x="284" y="278"/>
                      <a:pt x="284" y="278"/>
                    </a:cubicBezTo>
                    <a:cubicBezTo>
                      <a:pt x="285" y="277"/>
                      <a:pt x="285" y="277"/>
                      <a:pt x="285" y="277"/>
                    </a:cubicBezTo>
                    <a:cubicBezTo>
                      <a:pt x="283" y="277"/>
                      <a:pt x="283" y="277"/>
                      <a:pt x="283" y="277"/>
                    </a:cubicBezTo>
                    <a:cubicBezTo>
                      <a:pt x="282" y="278"/>
                      <a:pt x="282" y="278"/>
                      <a:pt x="282" y="278"/>
                    </a:cubicBezTo>
                    <a:cubicBezTo>
                      <a:pt x="281" y="279"/>
                      <a:pt x="281" y="279"/>
                      <a:pt x="281" y="279"/>
                    </a:cubicBezTo>
                    <a:cubicBezTo>
                      <a:pt x="282" y="280"/>
                      <a:pt x="282" y="280"/>
                      <a:pt x="282" y="280"/>
                    </a:cubicBezTo>
                    <a:cubicBezTo>
                      <a:pt x="280" y="280"/>
                      <a:pt x="280" y="280"/>
                      <a:pt x="280" y="280"/>
                    </a:cubicBezTo>
                    <a:cubicBezTo>
                      <a:pt x="274" y="279"/>
                      <a:pt x="274" y="279"/>
                      <a:pt x="274" y="279"/>
                    </a:cubicBezTo>
                    <a:cubicBezTo>
                      <a:pt x="274" y="278"/>
                      <a:pt x="274" y="278"/>
                      <a:pt x="274" y="278"/>
                    </a:cubicBezTo>
                    <a:cubicBezTo>
                      <a:pt x="269" y="277"/>
                      <a:pt x="269" y="277"/>
                      <a:pt x="269" y="277"/>
                    </a:cubicBezTo>
                    <a:cubicBezTo>
                      <a:pt x="267" y="277"/>
                      <a:pt x="267" y="277"/>
                      <a:pt x="267" y="277"/>
                    </a:cubicBezTo>
                    <a:cubicBezTo>
                      <a:pt x="263" y="278"/>
                      <a:pt x="263" y="278"/>
                      <a:pt x="263" y="278"/>
                    </a:cubicBezTo>
                    <a:cubicBezTo>
                      <a:pt x="262" y="279"/>
                      <a:pt x="262" y="279"/>
                      <a:pt x="262" y="279"/>
                    </a:cubicBezTo>
                    <a:cubicBezTo>
                      <a:pt x="261" y="279"/>
                      <a:pt x="261" y="279"/>
                      <a:pt x="261" y="279"/>
                    </a:cubicBezTo>
                    <a:cubicBezTo>
                      <a:pt x="259" y="281"/>
                      <a:pt x="259" y="281"/>
                      <a:pt x="259" y="281"/>
                    </a:cubicBezTo>
                    <a:cubicBezTo>
                      <a:pt x="257" y="282"/>
                      <a:pt x="257" y="282"/>
                      <a:pt x="257" y="282"/>
                    </a:cubicBezTo>
                    <a:cubicBezTo>
                      <a:pt x="257" y="280"/>
                      <a:pt x="257" y="280"/>
                      <a:pt x="257" y="280"/>
                    </a:cubicBezTo>
                    <a:cubicBezTo>
                      <a:pt x="257" y="278"/>
                      <a:pt x="257" y="278"/>
                      <a:pt x="257" y="278"/>
                    </a:cubicBezTo>
                    <a:cubicBezTo>
                      <a:pt x="258" y="277"/>
                      <a:pt x="258" y="277"/>
                      <a:pt x="258" y="277"/>
                    </a:cubicBezTo>
                    <a:cubicBezTo>
                      <a:pt x="257" y="275"/>
                      <a:pt x="257" y="275"/>
                      <a:pt x="257" y="275"/>
                    </a:cubicBezTo>
                    <a:cubicBezTo>
                      <a:pt x="257" y="276"/>
                      <a:pt x="257" y="276"/>
                      <a:pt x="257" y="276"/>
                    </a:cubicBezTo>
                    <a:cubicBezTo>
                      <a:pt x="255" y="278"/>
                      <a:pt x="255" y="278"/>
                      <a:pt x="255" y="278"/>
                    </a:cubicBezTo>
                    <a:cubicBezTo>
                      <a:pt x="254" y="278"/>
                      <a:pt x="254" y="278"/>
                      <a:pt x="254" y="278"/>
                    </a:cubicBezTo>
                    <a:cubicBezTo>
                      <a:pt x="253" y="276"/>
                      <a:pt x="253" y="276"/>
                      <a:pt x="253" y="276"/>
                    </a:cubicBezTo>
                    <a:cubicBezTo>
                      <a:pt x="254" y="279"/>
                      <a:pt x="254" y="279"/>
                      <a:pt x="254" y="279"/>
                    </a:cubicBezTo>
                    <a:cubicBezTo>
                      <a:pt x="254" y="281"/>
                      <a:pt x="254" y="281"/>
                      <a:pt x="254" y="281"/>
                    </a:cubicBezTo>
                    <a:cubicBezTo>
                      <a:pt x="255" y="283"/>
                      <a:pt x="255" y="283"/>
                      <a:pt x="255" y="283"/>
                    </a:cubicBezTo>
                    <a:cubicBezTo>
                      <a:pt x="253" y="284"/>
                      <a:pt x="253" y="284"/>
                      <a:pt x="253" y="284"/>
                    </a:cubicBezTo>
                    <a:cubicBezTo>
                      <a:pt x="252" y="284"/>
                      <a:pt x="252" y="284"/>
                      <a:pt x="252" y="284"/>
                    </a:cubicBezTo>
                    <a:cubicBezTo>
                      <a:pt x="249" y="287"/>
                      <a:pt x="249" y="287"/>
                      <a:pt x="249" y="287"/>
                    </a:cubicBezTo>
                    <a:cubicBezTo>
                      <a:pt x="245" y="289"/>
                      <a:pt x="245" y="289"/>
                      <a:pt x="245" y="289"/>
                    </a:cubicBezTo>
                    <a:cubicBezTo>
                      <a:pt x="244" y="289"/>
                      <a:pt x="244" y="289"/>
                      <a:pt x="244" y="289"/>
                    </a:cubicBezTo>
                    <a:cubicBezTo>
                      <a:pt x="242" y="291"/>
                      <a:pt x="242" y="291"/>
                      <a:pt x="242" y="291"/>
                    </a:cubicBezTo>
                    <a:cubicBezTo>
                      <a:pt x="240" y="291"/>
                      <a:pt x="240" y="291"/>
                      <a:pt x="240" y="291"/>
                    </a:cubicBezTo>
                    <a:cubicBezTo>
                      <a:pt x="242" y="289"/>
                      <a:pt x="242" y="289"/>
                      <a:pt x="242" y="289"/>
                    </a:cubicBezTo>
                    <a:cubicBezTo>
                      <a:pt x="241" y="288"/>
                      <a:pt x="241" y="288"/>
                      <a:pt x="241" y="288"/>
                    </a:cubicBezTo>
                    <a:cubicBezTo>
                      <a:pt x="240" y="289"/>
                      <a:pt x="240" y="289"/>
                      <a:pt x="240" y="289"/>
                    </a:cubicBezTo>
                    <a:cubicBezTo>
                      <a:pt x="239" y="288"/>
                      <a:pt x="239" y="288"/>
                      <a:pt x="239" y="288"/>
                    </a:cubicBezTo>
                    <a:cubicBezTo>
                      <a:pt x="237" y="289"/>
                      <a:pt x="237" y="289"/>
                      <a:pt x="237" y="289"/>
                    </a:cubicBezTo>
                    <a:cubicBezTo>
                      <a:pt x="238" y="290"/>
                      <a:pt x="238" y="290"/>
                      <a:pt x="238" y="290"/>
                    </a:cubicBezTo>
                    <a:cubicBezTo>
                      <a:pt x="236" y="291"/>
                      <a:pt x="236" y="291"/>
                      <a:pt x="236" y="291"/>
                    </a:cubicBezTo>
                    <a:cubicBezTo>
                      <a:pt x="235" y="290"/>
                      <a:pt x="235" y="290"/>
                      <a:pt x="235" y="290"/>
                    </a:cubicBezTo>
                    <a:cubicBezTo>
                      <a:pt x="235" y="293"/>
                      <a:pt x="235" y="293"/>
                      <a:pt x="235" y="293"/>
                    </a:cubicBezTo>
                    <a:cubicBezTo>
                      <a:pt x="234" y="294"/>
                      <a:pt x="234" y="294"/>
                      <a:pt x="234" y="294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1" y="295"/>
                      <a:pt x="231" y="295"/>
                      <a:pt x="231" y="295"/>
                    </a:cubicBezTo>
                    <a:cubicBezTo>
                      <a:pt x="232" y="296"/>
                      <a:pt x="232" y="296"/>
                      <a:pt x="232" y="296"/>
                    </a:cubicBezTo>
                    <a:cubicBezTo>
                      <a:pt x="230" y="298"/>
                      <a:pt x="230" y="298"/>
                      <a:pt x="230" y="298"/>
                    </a:cubicBezTo>
                    <a:cubicBezTo>
                      <a:pt x="229" y="299"/>
                      <a:pt x="229" y="299"/>
                      <a:pt x="229" y="299"/>
                    </a:cubicBezTo>
                    <a:cubicBezTo>
                      <a:pt x="229" y="302"/>
                      <a:pt x="229" y="302"/>
                      <a:pt x="229" y="302"/>
                    </a:cubicBezTo>
                    <a:cubicBezTo>
                      <a:pt x="228" y="304"/>
                      <a:pt x="228" y="304"/>
                      <a:pt x="228" y="304"/>
                    </a:cubicBezTo>
                    <a:cubicBezTo>
                      <a:pt x="227" y="307"/>
                      <a:pt x="227" y="307"/>
                      <a:pt x="227" y="307"/>
                    </a:cubicBezTo>
                    <a:cubicBezTo>
                      <a:pt x="226" y="310"/>
                      <a:pt x="226" y="310"/>
                      <a:pt x="226" y="310"/>
                    </a:cubicBezTo>
                    <a:cubicBezTo>
                      <a:pt x="227" y="311"/>
                      <a:pt x="227" y="311"/>
                      <a:pt x="227" y="311"/>
                    </a:cubicBezTo>
                    <a:cubicBezTo>
                      <a:pt x="227" y="315"/>
                      <a:pt x="227" y="315"/>
                      <a:pt x="227" y="315"/>
                    </a:cubicBezTo>
                    <a:cubicBezTo>
                      <a:pt x="227" y="317"/>
                      <a:pt x="227" y="317"/>
                      <a:pt x="227" y="317"/>
                    </a:cubicBezTo>
                    <a:cubicBezTo>
                      <a:pt x="226" y="319"/>
                      <a:pt x="226" y="319"/>
                      <a:pt x="226" y="319"/>
                    </a:cubicBezTo>
                    <a:cubicBezTo>
                      <a:pt x="225" y="322"/>
                      <a:pt x="225" y="322"/>
                      <a:pt x="225" y="322"/>
                    </a:cubicBezTo>
                    <a:cubicBezTo>
                      <a:pt x="225" y="321"/>
                      <a:pt x="225" y="321"/>
                      <a:pt x="225" y="321"/>
                    </a:cubicBezTo>
                    <a:cubicBezTo>
                      <a:pt x="224" y="320"/>
                      <a:pt x="224" y="320"/>
                      <a:pt x="224" y="320"/>
                    </a:cubicBezTo>
                    <a:cubicBezTo>
                      <a:pt x="222" y="320"/>
                      <a:pt x="222" y="320"/>
                      <a:pt x="222" y="320"/>
                    </a:cubicBezTo>
                    <a:cubicBezTo>
                      <a:pt x="220" y="319"/>
                      <a:pt x="220" y="319"/>
                      <a:pt x="220" y="319"/>
                    </a:cubicBezTo>
                    <a:cubicBezTo>
                      <a:pt x="217" y="318"/>
                      <a:pt x="217" y="318"/>
                      <a:pt x="217" y="318"/>
                    </a:cubicBezTo>
                    <a:cubicBezTo>
                      <a:pt x="216" y="316"/>
                      <a:pt x="216" y="316"/>
                      <a:pt x="216" y="316"/>
                    </a:cubicBezTo>
                    <a:cubicBezTo>
                      <a:pt x="214" y="315"/>
                      <a:pt x="214" y="315"/>
                      <a:pt x="214" y="315"/>
                    </a:cubicBezTo>
                    <a:cubicBezTo>
                      <a:pt x="213" y="316"/>
                      <a:pt x="213" y="316"/>
                      <a:pt x="213" y="316"/>
                    </a:cubicBezTo>
                    <a:cubicBezTo>
                      <a:pt x="212" y="315"/>
                      <a:pt x="212" y="315"/>
                      <a:pt x="212" y="315"/>
                    </a:cubicBezTo>
                    <a:cubicBezTo>
                      <a:pt x="212" y="315"/>
                      <a:pt x="212" y="315"/>
                      <a:pt x="212" y="315"/>
                    </a:cubicBezTo>
                    <a:cubicBezTo>
                      <a:pt x="211" y="314"/>
                      <a:pt x="211" y="314"/>
                      <a:pt x="211" y="314"/>
                    </a:cubicBezTo>
                    <a:cubicBezTo>
                      <a:pt x="211" y="311"/>
                      <a:pt x="211" y="311"/>
                      <a:pt x="211" y="311"/>
                    </a:cubicBezTo>
                    <a:cubicBezTo>
                      <a:pt x="209" y="306"/>
                      <a:pt x="209" y="306"/>
                      <a:pt x="209" y="306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3"/>
                      <a:pt x="209" y="303"/>
                      <a:pt x="209" y="303"/>
                    </a:cubicBezTo>
                    <a:cubicBezTo>
                      <a:pt x="209" y="301"/>
                      <a:pt x="209" y="301"/>
                      <a:pt x="209" y="301"/>
                    </a:cubicBezTo>
                    <a:cubicBezTo>
                      <a:pt x="208" y="299"/>
                      <a:pt x="208" y="299"/>
                      <a:pt x="208" y="299"/>
                    </a:cubicBezTo>
                    <a:cubicBezTo>
                      <a:pt x="207" y="298"/>
                      <a:pt x="207" y="298"/>
                      <a:pt x="207" y="298"/>
                    </a:cubicBezTo>
                    <a:cubicBezTo>
                      <a:pt x="206" y="296"/>
                      <a:pt x="206" y="296"/>
                      <a:pt x="206" y="296"/>
                    </a:cubicBezTo>
                    <a:cubicBezTo>
                      <a:pt x="205" y="295"/>
                      <a:pt x="205" y="295"/>
                      <a:pt x="205" y="295"/>
                    </a:cubicBezTo>
                    <a:cubicBezTo>
                      <a:pt x="205" y="293"/>
                      <a:pt x="205" y="293"/>
                      <a:pt x="205" y="293"/>
                    </a:cubicBezTo>
                    <a:cubicBezTo>
                      <a:pt x="204" y="293"/>
                      <a:pt x="204" y="293"/>
                      <a:pt x="204" y="293"/>
                    </a:cubicBezTo>
                    <a:cubicBezTo>
                      <a:pt x="202" y="289"/>
                      <a:pt x="202" y="289"/>
                      <a:pt x="202" y="289"/>
                    </a:cubicBezTo>
                    <a:cubicBezTo>
                      <a:pt x="202" y="288"/>
                      <a:pt x="202" y="288"/>
                      <a:pt x="202" y="288"/>
                    </a:cubicBezTo>
                    <a:cubicBezTo>
                      <a:pt x="201" y="287"/>
                      <a:pt x="201" y="287"/>
                      <a:pt x="201" y="287"/>
                    </a:cubicBezTo>
                    <a:cubicBezTo>
                      <a:pt x="201" y="285"/>
                      <a:pt x="201" y="285"/>
                      <a:pt x="201" y="285"/>
                    </a:cubicBezTo>
                    <a:cubicBezTo>
                      <a:pt x="201" y="284"/>
                      <a:pt x="201" y="284"/>
                      <a:pt x="201" y="284"/>
                    </a:cubicBezTo>
                    <a:cubicBezTo>
                      <a:pt x="200" y="283"/>
                      <a:pt x="200" y="283"/>
                      <a:pt x="200" y="283"/>
                    </a:cubicBezTo>
                    <a:cubicBezTo>
                      <a:pt x="199" y="281"/>
                      <a:pt x="199" y="281"/>
                      <a:pt x="199" y="281"/>
                    </a:cubicBezTo>
                    <a:cubicBezTo>
                      <a:pt x="198" y="278"/>
                      <a:pt x="198" y="278"/>
                      <a:pt x="198" y="278"/>
                    </a:cubicBezTo>
                    <a:cubicBezTo>
                      <a:pt x="196" y="277"/>
                      <a:pt x="196" y="277"/>
                      <a:pt x="196" y="277"/>
                    </a:cubicBezTo>
                    <a:cubicBezTo>
                      <a:pt x="195" y="275"/>
                      <a:pt x="195" y="275"/>
                      <a:pt x="195" y="275"/>
                    </a:cubicBezTo>
                    <a:cubicBezTo>
                      <a:pt x="194" y="275"/>
                      <a:pt x="194" y="275"/>
                      <a:pt x="194" y="275"/>
                    </a:cubicBezTo>
                    <a:cubicBezTo>
                      <a:pt x="193" y="275"/>
                      <a:pt x="193" y="275"/>
                      <a:pt x="193" y="275"/>
                    </a:cubicBezTo>
                    <a:cubicBezTo>
                      <a:pt x="192" y="274"/>
                      <a:pt x="192" y="274"/>
                      <a:pt x="192" y="274"/>
                    </a:cubicBezTo>
                    <a:cubicBezTo>
                      <a:pt x="191" y="274"/>
                      <a:pt x="191" y="274"/>
                      <a:pt x="191" y="274"/>
                    </a:cubicBezTo>
                    <a:cubicBezTo>
                      <a:pt x="190" y="274"/>
                      <a:pt x="190" y="274"/>
                      <a:pt x="190" y="274"/>
                    </a:cubicBezTo>
                    <a:cubicBezTo>
                      <a:pt x="188" y="274"/>
                      <a:pt x="188" y="274"/>
                      <a:pt x="188" y="274"/>
                    </a:cubicBezTo>
                    <a:cubicBezTo>
                      <a:pt x="186" y="274"/>
                      <a:pt x="186" y="274"/>
                      <a:pt x="186" y="274"/>
                    </a:cubicBezTo>
                    <a:cubicBezTo>
                      <a:pt x="186" y="275"/>
                      <a:pt x="186" y="275"/>
                      <a:pt x="186" y="275"/>
                    </a:cubicBezTo>
                    <a:cubicBezTo>
                      <a:pt x="185" y="275"/>
                      <a:pt x="185" y="275"/>
                      <a:pt x="185" y="275"/>
                    </a:cubicBezTo>
                    <a:cubicBezTo>
                      <a:pt x="185" y="275"/>
                      <a:pt x="185" y="275"/>
                      <a:pt x="185" y="275"/>
                    </a:cubicBezTo>
                    <a:cubicBezTo>
                      <a:pt x="184" y="275"/>
                      <a:pt x="184" y="275"/>
                      <a:pt x="184" y="275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82" y="276"/>
                      <a:pt x="182" y="276"/>
                      <a:pt x="182" y="276"/>
                    </a:cubicBezTo>
                    <a:cubicBezTo>
                      <a:pt x="180" y="279"/>
                      <a:pt x="180" y="279"/>
                      <a:pt x="180" y="279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0" y="281"/>
                      <a:pt x="180" y="281"/>
                      <a:pt x="180" y="281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83"/>
                      <a:pt x="177" y="283"/>
                      <a:pt x="177" y="283"/>
                    </a:cubicBezTo>
                    <a:cubicBezTo>
                      <a:pt x="177" y="283"/>
                      <a:pt x="177" y="283"/>
                      <a:pt x="177" y="283"/>
                    </a:cubicBezTo>
                    <a:cubicBezTo>
                      <a:pt x="176" y="284"/>
                      <a:pt x="176" y="284"/>
                      <a:pt x="176" y="284"/>
                    </a:cubicBezTo>
                    <a:cubicBezTo>
                      <a:pt x="175" y="283"/>
                      <a:pt x="175" y="283"/>
                      <a:pt x="175" y="283"/>
                    </a:cubicBezTo>
                    <a:cubicBezTo>
                      <a:pt x="175" y="283"/>
                      <a:pt x="175" y="283"/>
                      <a:pt x="175" y="283"/>
                    </a:cubicBezTo>
                    <a:cubicBezTo>
                      <a:pt x="173" y="282"/>
                      <a:pt x="173" y="282"/>
                      <a:pt x="173" y="282"/>
                    </a:cubicBezTo>
                    <a:cubicBezTo>
                      <a:pt x="171" y="281"/>
                      <a:pt x="171" y="281"/>
                      <a:pt x="171" y="281"/>
                    </a:cubicBezTo>
                    <a:cubicBezTo>
                      <a:pt x="171" y="280"/>
                      <a:pt x="171" y="280"/>
                      <a:pt x="171" y="280"/>
                    </a:cubicBezTo>
                    <a:cubicBezTo>
                      <a:pt x="169" y="279"/>
                      <a:pt x="169" y="279"/>
                      <a:pt x="169" y="279"/>
                    </a:cubicBezTo>
                    <a:cubicBezTo>
                      <a:pt x="168" y="279"/>
                      <a:pt x="168" y="279"/>
                      <a:pt x="168" y="279"/>
                    </a:cubicBezTo>
                    <a:cubicBezTo>
                      <a:pt x="167" y="279"/>
                      <a:pt x="167" y="279"/>
                      <a:pt x="167" y="279"/>
                    </a:cubicBezTo>
                    <a:cubicBezTo>
                      <a:pt x="167" y="278"/>
                      <a:pt x="167" y="278"/>
                      <a:pt x="167" y="278"/>
                    </a:cubicBezTo>
                    <a:cubicBezTo>
                      <a:pt x="167" y="277"/>
                      <a:pt x="167" y="277"/>
                      <a:pt x="167" y="277"/>
                    </a:cubicBezTo>
                    <a:cubicBezTo>
                      <a:pt x="166" y="277"/>
                      <a:pt x="166" y="277"/>
                      <a:pt x="166" y="277"/>
                    </a:cubicBezTo>
                    <a:cubicBezTo>
                      <a:pt x="165" y="277"/>
                      <a:pt x="165" y="277"/>
                      <a:pt x="165" y="277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3" y="274"/>
                      <a:pt x="163" y="274"/>
                      <a:pt x="163" y="274"/>
                    </a:cubicBezTo>
                    <a:cubicBezTo>
                      <a:pt x="162" y="273"/>
                      <a:pt x="162" y="273"/>
                      <a:pt x="162" y="273"/>
                    </a:cubicBezTo>
                    <a:cubicBezTo>
                      <a:pt x="160" y="271"/>
                      <a:pt x="160" y="271"/>
                      <a:pt x="160" y="271"/>
                    </a:cubicBezTo>
                    <a:cubicBezTo>
                      <a:pt x="160" y="270"/>
                      <a:pt x="160" y="270"/>
                      <a:pt x="160" y="270"/>
                    </a:cubicBezTo>
                    <a:cubicBezTo>
                      <a:pt x="161" y="270"/>
                      <a:pt x="161" y="270"/>
                      <a:pt x="161" y="270"/>
                    </a:cubicBezTo>
                    <a:cubicBezTo>
                      <a:pt x="162" y="269"/>
                      <a:pt x="162" y="269"/>
                      <a:pt x="162" y="269"/>
                    </a:cubicBezTo>
                    <a:cubicBezTo>
                      <a:pt x="162" y="268"/>
                      <a:pt x="162" y="268"/>
                      <a:pt x="162" y="268"/>
                    </a:cubicBezTo>
                    <a:cubicBezTo>
                      <a:pt x="161" y="267"/>
                      <a:pt x="161" y="267"/>
                      <a:pt x="161" y="267"/>
                    </a:cubicBezTo>
                    <a:cubicBezTo>
                      <a:pt x="161" y="266"/>
                      <a:pt x="161" y="266"/>
                      <a:pt x="161" y="266"/>
                    </a:cubicBezTo>
                    <a:cubicBezTo>
                      <a:pt x="160" y="266"/>
                      <a:pt x="160" y="266"/>
                      <a:pt x="160" y="266"/>
                    </a:cubicBezTo>
                    <a:cubicBezTo>
                      <a:pt x="159" y="265"/>
                      <a:pt x="159" y="265"/>
                      <a:pt x="159" y="265"/>
                    </a:cubicBezTo>
                    <a:cubicBezTo>
                      <a:pt x="159" y="263"/>
                      <a:pt x="159" y="263"/>
                      <a:pt x="159" y="263"/>
                    </a:cubicBezTo>
                    <a:cubicBezTo>
                      <a:pt x="158" y="261"/>
                      <a:pt x="158" y="261"/>
                      <a:pt x="158" y="261"/>
                    </a:cubicBezTo>
                    <a:cubicBezTo>
                      <a:pt x="157" y="260"/>
                      <a:pt x="157" y="260"/>
                      <a:pt x="157" y="260"/>
                    </a:cubicBezTo>
                    <a:cubicBezTo>
                      <a:pt x="156" y="260"/>
                      <a:pt x="156" y="260"/>
                      <a:pt x="156" y="260"/>
                    </a:cubicBezTo>
                    <a:cubicBezTo>
                      <a:pt x="156" y="259"/>
                      <a:pt x="156" y="259"/>
                      <a:pt x="156" y="259"/>
                    </a:cubicBezTo>
                    <a:cubicBezTo>
                      <a:pt x="156" y="258"/>
                      <a:pt x="156" y="258"/>
                      <a:pt x="156" y="258"/>
                    </a:cubicBezTo>
                    <a:cubicBezTo>
                      <a:pt x="155" y="257"/>
                      <a:pt x="155" y="257"/>
                      <a:pt x="155" y="257"/>
                    </a:cubicBezTo>
                    <a:cubicBezTo>
                      <a:pt x="153" y="257"/>
                      <a:pt x="153" y="257"/>
                      <a:pt x="153" y="257"/>
                    </a:cubicBezTo>
                    <a:cubicBezTo>
                      <a:pt x="154" y="256"/>
                      <a:pt x="154" y="256"/>
                      <a:pt x="154" y="256"/>
                    </a:cubicBezTo>
                    <a:cubicBezTo>
                      <a:pt x="153" y="254"/>
                      <a:pt x="153" y="254"/>
                      <a:pt x="153" y="254"/>
                    </a:cubicBezTo>
                    <a:cubicBezTo>
                      <a:pt x="152" y="254"/>
                      <a:pt x="152" y="254"/>
                      <a:pt x="152" y="254"/>
                    </a:cubicBezTo>
                    <a:cubicBezTo>
                      <a:pt x="152" y="253"/>
                      <a:pt x="152" y="253"/>
                      <a:pt x="152" y="253"/>
                    </a:cubicBezTo>
                    <a:cubicBezTo>
                      <a:pt x="151" y="252"/>
                      <a:pt x="151" y="252"/>
                      <a:pt x="151" y="252"/>
                    </a:cubicBezTo>
                    <a:cubicBezTo>
                      <a:pt x="149" y="250"/>
                      <a:pt x="149" y="250"/>
                      <a:pt x="149" y="250"/>
                    </a:cubicBezTo>
                    <a:cubicBezTo>
                      <a:pt x="147" y="249"/>
                      <a:pt x="147" y="249"/>
                      <a:pt x="147" y="249"/>
                    </a:cubicBezTo>
                    <a:cubicBezTo>
                      <a:pt x="132" y="248"/>
                      <a:pt x="132" y="248"/>
                      <a:pt x="132" y="248"/>
                    </a:cubicBezTo>
                    <a:cubicBezTo>
                      <a:pt x="132" y="252"/>
                      <a:pt x="132" y="252"/>
                      <a:pt x="132" y="252"/>
                    </a:cubicBezTo>
                    <a:cubicBezTo>
                      <a:pt x="104" y="251"/>
                      <a:pt x="104" y="251"/>
                      <a:pt x="104" y="251"/>
                    </a:cubicBezTo>
                    <a:cubicBezTo>
                      <a:pt x="71" y="236"/>
                      <a:pt x="71" y="236"/>
                      <a:pt x="71" y="236"/>
                    </a:cubicBezTo>
                    <a:cubicBezTo>
                      <a:pt x="71" y="235"/>
                      <a:pt x="71" y="235"/>
                      <a:pt x="71" y="235"/>
                    </a:cubicBezTo>
                    <a:cubicBezTo>
                      <a:pt x="71" y="234"/>
                      <a:pt x="71" y="234"/>
                      <a:pt x="71" y="234"/>
                    </a:cubicBezTo>
                    <a:cubicBezTo>
                      <a:pt x="48" y="235"/>
                      <a:pt x="48" y="235"/>
                      <a:pt x="48" y="235"/>
                    </a:cubicBezTo>
                    <a:cubicBezTo>
                      <a:pt x="47" y="233"/>
                      <a:pt x="47" y="233"/>
                      <a:pt x="47" y="233"/>
                    </a:cubicBezTo>
                    <a:cubicBezTo>
                      <a:pt x="48" y="231"/>
                      <a:pt x="48" y="231"/>
                      <a:pt x="48" y="231"/>
                    </a:cubicBezTo>
                    <a:cubicBezTo>
                      <a:pt x="47" y="228"/>
                      <a:pt x="47" y="228"/>
                      <a:pt x="47" y="228"/>
                    </a:cubicBezTo>
                    <a:cubicBezTo>
                      <a:pt x="44" y="222"/>
                      <a:pt x="44" y="222"/>
                      <a:pt x="44" y="222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41" y="220"/>
                      <a:pt x="41" y="220"/>
                      <a:pt x="41" y="220"/>
                    </a:cubicBezTo>
                    <a:cubicBezTo>
                      <a:pt x="40" y="220"/>
                      <a:pt x="40" y="220"/>
                      <a:pt x="40" y="220"/>
                    </a:cubicBezTo>
                    <a:cubicBezTo>
                      <a:pt x="39" y="220"/>
                      <a:pt x="39" y="220"/>
                      <a:pt x="39" y="220"/>
                    </a:cubicBezTo>
                    <a:cubicBezTo>
                      <a:pt x="39" y="218"/>
                      <a:pt x="39" y="218"/>
                      <a:pt x="39" y="218"/>
                    </a:cubicBezTo>
                    <a:cubicBezTo>
                      <a:pt x="39" y="217"/>
                      <a:pt x="39" y="217"/>
                      <a:pt x="39" y="217"/>
                    </a:cubicBezTo>
                    <a:cubicBezTo>
                      <a:pt x="36" y="217"/>
                      <a:pt x="36" y="217"/>
                      <a:pt x="36" y="217"/>
                    </a:cubicBezTo>
                    <a:cubicBezTo>
                      <a:pt x="35" y="217"/>
                      <a:pt x="35" y="217"/>
                      <a:pt x="35" y="217"/>
                    </a:cubicBezTo>
                    <a:cubicBezTo>
                      <a:pt x="32" y="215"/>
                      <a:pt x="32" y="215"/>
                      <a:pt x="32" y="215"/>
                    </a:cubicBezTo>
                    <a:cubicBezTo>
                      <a:pt x="32" y="213"/>
                      <a:pt x="32" y="213"/>
                      <a:pt x="32" y="213"/>
                    </a:cubicBezTo>
                    <a:cubicBezTo>
                      <a:pt x="31" y="212"/>
                      <a:pt x="31" y="212"/>
                      <a:pt x="31" y="212"/>
                    </a:cubicBezTo>
                    <a:cubicBezTo>
                      <a:pt x="28" y="212"/>
                      <a:pt x="28" y="212"/>
                      <a:pt x="28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5" y="211"/>
                      <a:pt x="25" y="211"/>
                      <a:pt x="25" y="211"/>
                    </a:cubicBezTo>
                    <a:cubicBezTo>
                      <a:pt x="23" y="210"/>
                      <a:pt x="23" y="210"/>
                      <a:pt x="23" y="210"/>
                    </a:cubicBezTo>
                    <a:cubicBezTo>
                      <a:pt x="20" y="210"/>
                      <a:pt x="20" y="210"/>
                      <a:pt x="20" y="210"/>
                    </a:cubicBezTo>
                    <a:cubicBezTo>
                      <a:pt x="19" y="210"/>
                      <a:pt x="19" y="210"/>
                      <a:pt x="19" y="210"/>
                    </a:cubicBezTo>
                    <a:cubicBezTo>
                      <a:pt x="19" y="208"/>
                      <a:pt x="19" y="208"/>
                      <a:pt x="19" y="208"/>
                    </a:cubicBezTo>
                    <a:cubicBezTo>
                      <a:pt x="19" y="208"/>
                      <a:pt x="19" y="208"/>
                      <a:pt x="19" y="208"/>
                    </a:cubicBezTo>
                    <a:cubicBezTo>
                      <a:pt x="20" y="206"/>
                      <a:pt x="20" y="206"/>
                      <a:pt x="20" y="206"/>
                    </a:cubicBezTo>
                    <a:cubicBezTo>
                      <a:pt x="20" y="203"/>
                      <a:pt x="20" y="203"/>
                      <a:pt x="20" y="203"/>
                    </a:cubicBezTo>
                    <a:cubicBezTo>
                      <a:pt x="20" y="201"/>
                      <a:pt x="20" y="201"/>
                      <a:pt x="20" y="201"/>
                    </a:cubicBezTo>
                    <a:cubicBezTo>
                      <a:pt x="18" y="199"/>
                      <a:pt x="18" y="199"/>
                      <a:pt x="18" y="199"/>
                    </a:cubicBezTo>
                    <a:cubicBezTo>
                      <a:pt x="18" y="199"/>
                      <a:pt x="18" y="199"/>
                      <a:pt x="18" y="199"/>
                    </a:cubicBezTo>
                    <a:cubicBezTo>
                      <a:pt x="18" y="198"/>
                      <a:pt x="18" y="198"/>
                      <a:pt x="18" y="198"/>
                    </a:cubicBezTo>
                    <a:cubicBezTo>
                      <a:pt x="18" y="197"/>
                      <a:pt x="18" y="197"/>
                      <a:pt x="18" y="197"/>
                    </a:cubicBezTo>
                    <a:cubicBezTo>
                      <a:pt x="16" y="195"/>
                      <a:pt x="16" y="195"/>
                      <a:pt x="16" y="195"/>
                    </a:cubicBezTo>
                    <a:cubicBezTo>
                      <a:pt x="14" y="191"/>
                      <a:pt x="14" y="191"/>
                      <a:pt x="14" y="191"/>
                    </a:cubicBezTo>
                    <a:cubicBezTo>
                      <a:pt x="14" y="187"/>
                      <a:pt x="14" y="187"/>
                      <a:pt x="14" y="187"/>
                    </a:cubicBezTo>
                    <a:cubicBezTo>
                      <a:pt x="12" y="186"/>
                      <a:pt x="12" y="186"/>
                      <a:pt x="12" y="186"/>
                    </a:cubicBezTo>
                    <a:cubicBezTo>
                      <a:pt x="12" y="185"/>
                      <a:pt x="12" y="185"/>
                      <a:pt x="12" y="185"/>
                    </a:cubicBezTo>
                    <a:cubicBezTo>
                      <a:pt x="12" y="183"/>
                      <a:pt x="12" y="183"/>
                      <a:pt x="12" y="183"/>
                    </a:cubicBezTo>
                    <a:cubicBezTo>
                      <a:pt x="11" y="181"/>
                      <a:pt x="11" y="181"/>
                      <a:pt x="11" y="181"/>
                    </a:cubicBezTo>
                    <a:cubicBezTo>
                      <a:pt x="12" y="180"/>
                      <a:pt x="12" y="180"/>
                      <a:pt x="12" y="180"/>
                    </a:cubicBezTo>
                    <a:cubicBezTo>
                      <a:pt x="12" y="180"/>
                      <a:pt x="12" y="180"/>
                      <a:pt x="12" y="180"/>
                    </a:cubicBezTo>
                    <a:cubicBezTo>
                      <a:pt x="14" y="179"/>
                      <a:pt x="14" y="179"/>
                      <a:pt x="14" y="179"/>
                    </a:cubicBezTo>
                    <a:cubicBezTo>
                      <a:pt x="14" y="177"/>
                      <a:pt x="14" y="177"/>
                      <a:pt x="14" y="177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11" y="175"/>
                      <a:pt x="11" y="175"/>
                      <a:pt x="11" y="175"/>
                    </a:cubicBezTo>
                    <a:cubicBezTo>
                      <a:pt x="11" y="173"/>
                      <a:pt x="11" y="173"/>
                      <a:pt x="11" y="173"/>
                    </a:cubicBezTo>
                    <a:cubicBezTo>
                      <a:pt x="10" y="173"/>
                      <a:pt x="10" y="173"/>
                      <a:pt x="10" y="173"/>
                    </a:cubicBezTo>
                    <a:cubicBezTo>
                      <a:pt x="9" y="171"/>
                      <a:pt x="9" y="171"/>
                      <a:pt x="9" y="171"/>
                    </a:cubicBezTo>
                    <a:cubicBezTo>
                      <a:pt x="10" y="170"/>
                      <a:pt x="10" y="170"/>
                      <a:pt x="10" y="170"/>
                    </a:cubicBezTo>
                    <a:cubicBezTo>
                      <a:pt x="10" y="169"/>
                      <a:pt x="10" y="169"/>
                      <a:pt x="10" y="169"/>
                    </a:cubicBezTo>
                    <a:cubicBezTo>
                      <a:pt x="11" y="168"/>
                      <a:pt x="11" y="168"/>
                      <a:pt x="11" y="168"/>
                    </a:cubicBezTo>
                    <a:cubicBezTo>
                      <a:pt x="10" y="167"/>
                      <a:pt x="10" y="167"/>
                      <a:pt x="10" y="167"/>
                    </a:cubicBezTo>
                    <a:cubicBezTo>
                      <a:pt x="11" y="166"/>
                      <a:pt x="11" y="166"/>
                      <a:pt x="11" y="166"/>
                    </a:cubicBezTo>
                    <a:cubicBezTo>
                      <a:pt x="12" y="166"/>
                      <a:pt x="12" y="166"/>
                      <a:pt x="12" y="166"/>
                    </a:cubicBezTo>
                    <a:cubicBezTo>
                      <a:pt x="13" y="168"/>
                      <a:pt x="13" y="168"/>
                      <a:pt x="13" y="168"/>
                    </a:cubicBezTo>
                    <a:cubicBezTo>
                      <a:pt x="14" y="169"/>
                      <a:pt x="14" y="169"/>
                      <a:pt x="14" y="169"/>
                    </a:cubicBezTo>
                    <a:cubicBezTo>
                      <a:pt x="14" y="168"/>
                      <a:pt x="14" y="168"/>
                      <a:pt x="14" y="168"/>
                    </a:cubicBezTo>
                    <a:cubicBezTo>
                      <a:pt x="13" y="166"/>
                      <a:pt x="13" y="166"/>
                      <a:pt x="13" y="166"/>
                    </a:cubicBezTo>
                    <a:cubicBezTo>
                      <a:pt x="13" y="164"/>
                      <a:pt x="13" y="164"/>
                      <a:pt x="13" y="164"/>
                    </a:cubicBezTo>
                    <a:cubicBezTo>
                      <a:pt x="12" y="163"/>
                      <a:pt x="12" y="163"/>
                      <a:pt x="12" y="163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4" y="163"/>
                      <a:pt x="14" y="163"/>
                      <a:pt x="14" y="163"/>
                    </a:cubicBezTo>
                    <a:cubicBezTo>
                      <a:pt x="15" y="162"/>
                      <a:pt x="15" y="162"/>
                      <a:pt x="15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5" y="161"/>
                      <a:pt x="15" y="161"/>
                      <a:pt x="15" y="161"/>
                    </a:cubicBezTo>
                    <a:cubicBezTo>
                      <a:pt x="14" y="161"/>
                      <a:pt x="14" y="161"/>
                      <a:pt x="14" y="161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1" y="159"/>
                      <a:pt x="11" y="159"/>
                      <a:pt x="11" y="159"/>
                    </a:cubicBezTo>
                    <a:cubicBezTo>
                      <a:pt x="11" y="162"/>
                      <a:pt x="11" y="162"/>
                      <a:pt x="11" y="162"/>
                    </a:cubicBezTo>
                    <a:cubicBezTo>
                      <a:pt x="11" y="164"/>
                      <a:pt x="11" y="164"/>
                      <a:pt x="11" y="164"/>
                    </a:cubicBezTo>
                    <a:cubicBezTo>
                      <a:pt x="10" y="163"/>
                      <a:pt x="10" y="163"/>
                      <a:pt x="10" y="163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9" y="163"/>
                      <a:pt x="9" y="163"/>
                      <a:pt x="9" y="163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6" y="159"/>
                      <a:pt x="6" y="159"/>
                      <a:pt x="6" y="159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6"/>
                      <a:pt x="7" y="156"/>
                      <a:pt x="7" y="156"/>
                    </a:cubicBezTo>
                    <a:cubicBezTo>
                      <a:pt x="3" y="149"/>
                      <a:pt x="3" y="149"/>
                      <a:pt x="3" y="149"/>
                    </a:cubicBezTo>
                    <a:cubicBezTo>
                      <a:pt x="2" y="148"/>
                      <a:pt x="2" y="148"/>
                      <a:pt x="2" y="148"/>
                    </a:cubicBezTo>
                    <a:cubicBezTo>
                      <a:pt x="3" y="147"/>
                      <a:pt x="3" y="147"/>
                      <a:pt x="3" y="147"/>
                    </a:cubicBezTo>
                    <a:cubicBezTo>
                      <a:pt x="3" y="146"/>
                      <a:pt x="3" y="146"/>
                      <a:pt x="3" y="146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2" y="142"/>
                      <a:pt x="2" y="142"/>
                      <a:pt x="2" y="142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4" y="137"/>
                      <a:pt x="4" y="137"/>
                      <a:pt x="4" y="137"/>
                    </a:cubicBezTo>
                    <a:cubicBezTo>
                      <a:pt x="4" y="133"/>
                      <a:pt x="4" y="133"/>
                      <a:pt x="4" y="133"/>
                    </a:cubicBezTo>
                    <a:cubicBezTo>
                      <a:pt x="2" y="129"/>
                      <a:pt x="2" y="129"/>
                      <a:pt x="2" y="12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2" y="122"/>
                      <a:pt x="2" y="122"/>
                      <a:pt x="2" y="122"/>
                    </a:cubicBezTo>
                    <a:cubicBezTo>
                      <a:pt x="4" y="120"/>
                      <a:pt x="4" y="120"/>
                      <a:pt x="4" y="120"/>
                    </a:cubicBezTo>
                    <a:cubicBezTo>
                      <a:pt x="5" y="118"/>
                      <a:pt x="5" y="118"/>
                      <a:pt x="5" y="118"/>
                    </a:cubicBezTo>
                    <a:cubicBezTo>
                      <a:pt x="5" y="117"/>
                      <a:pt x="5" y="117"/>
                      <a:pt x="5" y="117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09"/>
                      <a:pt x="7" y="109"/>
                      <a:pt x="7" y="109"/>
                    </a:cubicBezTo>
                    <a:cubicBezTo>
                      <a:pt x="6" y="106"/>
                      <a:pt x="6" y="106"/>
                      <a:pt x="6" y="106"/>
                    </a:cubicBezTo>
                    <a:cubicBezTo>
                      <a:pt x="6" y="105"/>
                      <a:pt x="6" y="105"/>
                      <a:pt x="6" y="105"/>
                    </a:cubicBezTo>
                    <a:cubicBezTo>
                      <a:pt x="7" y="104"/>
                      <a:pt x="7" y="104"/>
                      <a:pt x="7" y="104"/>
                    </a:cubicBezTo>
                    <a:cubicBezTo>
                      <a:pt x="6" y="101"/>
                      <a:pt x="6" y="101"/>
                      <a:pt x="6" y="101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7" y="95"/>
                      <a:pt x="7" y="95"/>
                      <a:pt x="7" y="95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4" y="78"/>
                      <a:pt x="14" y="78"/>
                      <a:pt x="14" y="78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24" y="50"/>
                      <a:pt x="24" y="50"/>
                      <a:pt x="24" y="50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4" y="47"/>
                      <a:pt x="24" y="47"/>
                      <a:pt x="24" y="47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4" y="44"/>
                      <a:pt x="34" y="44"/>
                      <a:pt x="34" y="44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9" y="35"/>
                      <a:pt x="29" y="35"/>
                      <a:pt x="29" y="35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7" y="33"/>
                      <a:pt x="27" y="33"/>
                      <a:pt x="27" y="33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5" y="21"/>
                      <a:pt x="45" y="21"/>
                      <a:pt x="45" y="2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2" y="26"/>
                      <a:pt x="42" y="26"/>
                      <a:pt x="42" y="26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8" y="0"/>
                      <a:pt x="48" y="0"/>
                      <a:pt x="48" y="0"/>
                    </a:cubicBezTo>
                    <a:close/>
                    <a:moveTo>
                      <a:pt x="504" y="140"/>
                    </a:moveTo>
                    <a:cubicBezTo>
                      <a:pt x="504" y="141"/>
                      <a:pt x="504" y="141"/>
                      <a:pt x="504" y="141"/>
                    </a:cubicBezTo>
                    <a:cubicBezTo>
                      <a:pt x="505" y="141"/>
                      <a:pt x="505" y="141"/>
                      <a:pt x="505" y="141"/>
                    </a:cubicBezTo>
                    <a:cubicBezTo>
                      <a:pt x="506" y="140"/>
                      <a:pt x="506" y="140"/>
                      <a:pt x="506" y="140"/>
                    </a:cubicBezTo>
                    <a:cubicBezTo>
                      <a:pt x="507" y="140"/>
                      <a:pt x="507" y="140"/>
                      <a:pt x="507" y="140"/>
                    </a:cubicBezTo>
                    <a:cubicBezTo>
                      <a:pt x="506" y="139"/>
                      <a:pt x="506" y="139"/>
                      <a:pt x="506" y="139"/>
                    </a:cubicBezTo>
                    <a:cubicBezTo>
                      <a:pt x="505" y="139"/>
                      <a:pt x="505" y="139"/>
                      <a:pt x="505" y="139"/>
                    </a:cubicBezTo>
                    <a:cubicBezTo>
                      <a:pt x="504" y="140"/>
                      <a:pt x="504" y="140"/>
                      <a:pt x="504" y="140"/>
                    </a:cubicBezTo>
                    <a:cubicBezTo>
                      <a:pt x="504" y="140"/>
                      <a:pt x="504" y="140"/>
                      <a:pt x="504" y="140"/>
                    </a:cubicBezTo>
                    <a:close/>
                    <a:moveTo>
                      <a:pt x="474" y="149"/>
                    </a:moveTo>
                    <a:cubicBezTo>
                      <a:pt x="473" y="149"/>
                      <a:pt x="473" y="149"/>
                      <a:pt x="473" y="149"/>
                    </a:cubicBezTo>
                    <a:cubicBezTo>
                      <a:pt x="475" y="149"/>
                      <a:pt x="475" y="149"/>
                      <a:pt x="475" y="149"/>
                    </a:cubicBezTo>
                    <a:cubicBezTo>
                      <a:pt x="475" y="148"/>
                      <a:pt x="475" y="148"/>
                      <a:pt x="475" y="148"/>
                    </a:cubicBezTo>
                    <a:cubicBezTo>
                      <a:pt x="478" y="148"/>
                      <a:pt x="478" y="148"/>
                      <a:pt x="478" y="148"/>
                    </a:cubicBezTo>
                    <a:cubicBezTo>
                      <a:pt x="480" y="147"/>
                      <a:pt x="480" y="147"/>
                      <a:pt x="480" y="147"/>
                    </a:cubicBezTo>
                    <a:cubicBezTo>
                      <a:pt x="483" y="147"/>
                      <a:pt x="483" y="147"/>
                      <a:pt x="483" y="147"/>
                    </a:cubicBezTo>
                    <a:cubicBezTo>
                      <a:pt x="484" y="147"/>
                      <a:pt x="484" y="147"/>
                      <a:pt x="484" y="147"/>
                    </a:cubicBezTo>
                    <a:cubicBezTo>
                      <a:pt x="487" y="147"/>
                      <a:pt x="487" y="147"/>
                      <a:pt x="487" y="147"/>
                    </a:cubicBezTo>
                    <a:cubicBezTo>
                      <a:pt x="488" y="146"/>
                      <a:pt x="488" y="146"/>
                      <a:pt x="488" y="146"/>
                    </a:cubicBezTo>
                    <a:cubicBezTo>
                      <a:pt x="488" y="146"/>
                      <a:pt x="488" y="146"/>
                      <a:pt x="488" y="146"/>
                    </a:cubicBezTo>
                    <a:cubicBezTo>
                      <a:pt x="491" y="145"/>
                      <a:pt x="491" y="145"/>
                      <a:pt x="491" y="145"/>
                    </a:cubicBezTo>
                    <a:cubicBezTo>
                      <a:pt x="492" y="144"/>
                      <a:pt x="492" y="144"/>
                      <a:pt x="492" y="144"/>
                    </a:cubicBezTo>
                    <a:cubicBezTo>
                      <a:pt x="490" y="145"/>
                      <a:pt x="490" y="145"/>
                      <a:pt x="490" y="145"/>
                    </a:cubicBezTo>
                    <a:cubicBezTo>
                      <a:pt x="489" y="144"/>
                      <a:pt x="489" y="144"/>
                      <a:pt x="489" y="144"/>
                    </a:cubicBezTo>
                    <a:cubicBezTo>
                      <a:pt x="488" y="145"/>
                      <a:pt x="488" y="145"/>
                      <a:pt x="488" y="145"/>
                    </a:cubicBez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89" y="143"/>
                      <a:pt x="489" y="143"/>
                      <a:pt x="489" y="143"/>
                    </a:cubicBezTo>
                    <a:cubicBezTo>
                      <a:pt x="489" y="143"/>
                      <a:pt x="489" y="143"/>
                      <a:pt x="489" y="143"/>
                    </a:cubicBezTo>
                    <a:cubicBezTo>
                      <a:pt x="486" y="144"/>
                      <a:pt x="486" y="144"/>
                      <a:pt x="486" y="144"/>
                    </a:cubicBezTo>
                    <a:cubicBezTo>
                      <a:pt x="483" y="144"/>
                      <a:pt x="483" y="144"/>
                      <a:pt x="483" y="144"/>
                    </a:cubicBezTo>
                    <a:cubicBezTo>
                      <a:pt x="481" y="145"/>
                      <a:pt x="481" y="145"/>
                      <a:pt x="481" y="145"/>
                    </a:cubicBezTo>
                    <a:cubicBezTo>
                      <a:pt x="479" y="145"/>
                      <a:pt x="479" y="145"/>
                      <a:pt x="479" y="145"/>
                    </a:cubicBezTo>
                    <a:cubicBezTo>
                      <a:pt x="476" y="146"/>
                      <a:pt x="476" y="146"/>
                      <a:pt x="476" y="146"/>
                    </a:cubicBezTo>
                    <a:cubicBezTo>
                      <a:pt x="474" y="146"/>
                      <a:pt x="474" y="146"/>
                      <a:pt x="474" y="146"/>
                    </a:cubicBezTo>
                    <a:cubicBezTo>
                      <a:pt x="473" y="148"/>
                      <a:pt x="473" y="148"/>
                      <a:pt x="473" y="148"/>
                    </a:cubicBezTo>
                    <a:cubicBezTo>
                      <a:pt x="473" y="148"/>
                      <a:pt x="473" y="148"/>
                      <a:pt x="473" y="148"/>
                    </a:cubicBezTo>
                    <a:cubicBezTo>
                      <a:pt x="474" y="149"/>
                      <a:pt x="474" y="149"/>
                      <a:pt x="474" y="149"/>
                    </a:cubicBezTo>
                    <a:close/>
                    <a:moveTo>
                      <a:pt x="48" y="10"/>
                    </a:move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10"/>
                      <a:pt x="48" y="10"/>
                      <a:pt x="48" y="10"/>
                    </a:cubicBezTo>
                    <a:close/>
                    <a:moveTo>
                      <a:pt x="232" y="298"/>
                    </a:moveTo>
                    <a:cubicBezTo>
                      <a:pt x="233" y="298"/>
                      <a:pt x="233" y="298"/>
                      <a:pt x="233" y="298"/>
                    </a:cubicBezTo>
                    <a:cubicBezTo>
                      <a:pt x="235" y="295"/>
                      <a:pt x="235" y="295"/>
                      <a:pt x="235" y="295"/>
                    </a:cubicBezTo>
                    <a:cubicBezTo>
                      <a:pt x="236" y="293"/>
                      <a:pt x="236" y="293"/>
                      <a:pt x="236" y="293"/>
                    </a:cubicBezTo>
                    <a:cubicBezTo>
                      <a:pt x="234" y="295"/>
                      <a:pt x="234" y="295"/>
                      <a:pt x="234" y="295"/>
                    </a:cubicBezTo>
                    <a:cubicBezTo>
                      <a:pt x="232" y="298"/>
                      <a:pt x="232" y="298"/>
                      <a:pt x="232" y="298"/>
                    </a:cubicBezTo>
                    <a:close/>
                    <a:moveTo>
                      <a:pt x="230" y="304"/>
                    </a:moveTo>
                    <a:cubicBezTo>
                      <a:pt x="230" y="303"/>
                      <a:pt x="230" y="303"/>
                      <a:pt x="230" y="303"/>
                    </a:cubicBezTo>
                    <a:cubicBezTo>
                      <a:pt x="231" y="301"/>
                      <a:pt x="231" y="301"/>
                      <a:pt x="231" y="301"/>
                    </a:cubicBezTo>
                    <a:cubicBezTo>
                      <a:pt x="231" y="300"/>
                      <a:pt x="231" y="300"/>
                      <a:pt x="231" y="300"/>
                    </a:cubicBezTo>
                    <a:cubicBezTo>
                      <a:pt x="230" y="304"/>
                      <a:pt x="230" y="304"/>
                      <a:pt x="230" y="304"/>
                    </a:cubicBezTo>
                    <a:close/>
                    <a:moveTo>
                      <a:pt x="229" y="317"/>
                    </a:moveTo>
                    <a:cubicBezTo>
                      <a:pt x="228" y="314"/>
                      <a:pt x="228" y="314"/>
                      <a:pt x="228" y="314"/>
                    </a:cubicBezTo>
                    <a:cubicBezTo>
                      <a:pt x="228" y="309"/>
                      <a:pt x="228" y="309"/>
                      <a:pt x="228" y="309"/>
                    </a:cubicBezTo>
                    <a:cubicBezTo>
                      <a:pt x="230" y="305"/>
                      <a:pt x="230" y="305"/>
                      <a:pt x="230" y="305"/>
                    </a:cubicBezTo>
                    <a:cubicBezTo>
                      <a:pt x="228" y="309"/>
                      <a:pt x="228" y="309"/>
                      <a:pt x="228" y="309"/>
                    </a:cubicBezTo>
                    <a:cubicBezTo>
                      <a:pt x="228" y="314"/>
                      <a:pt x="228" y="314"/>
                      <a:pt x="228" y="314"/>
                    </a:cubicBezTo>
                    <a:cubicBezTo>
                      <a:pt x="228" y="314"/>
                      <a:pt x="229" y="317"/>
                      <a:pt x="229" y="317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xmlns="" id="{893781AC-110C-402D-ACE4-6CDC3E61E8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0" y="3000"/>
                <a:ext cx="364" cy="67"/>
              </a:xfrm>
              <a:custGeom>
                <a:avLst/>
                <a:gdLst>
                  <a:gd name="T0" fmla="*/ 218 w 223"/>
                  <a:gd name="T1" fmla="*/ 38 h 41"/>
                  <a:gd name="T2" fmla="*/ 216 w 223"/>
                  <a:gd name="T3" fmla="*/ 35 h 41"/>
                  <a:gd name="T4" fmla="*/ 214 w 223"/>
                  <a:gd name="T5" fmla="*/ 33 h 41"/>
                  <a:gd name="T6" fmla="*/ 212 w 223"/>
                  <a:gd name="T7" fmla="*/ 32 h 41"/>
                  <a:gd name="T8" fmla="*/ 216 w 223"/>
                  <a:gd name="T9" fmla="*/ 33 h 41"/>
                  <a:gd name="T10" fmla="*/ 217 w 223"/>
                  <a:gd name="T11" fmla="*/ 34 h 41"/>
                  <a:gd name="T12" fmla="*/ 220 w 223"/>
                  <a:gd name="T13" fmla="*/ 36 h 41"/>
                  <a:gd name="T14" fmla="*/ 222 w 223"/>
                  <a:gd name="T15" fmla="*/ 38 h 41"/>
                  <a:gd name="T16" fmla="*/ 222 w 223"/>
                  <a:gd name="T17" fmla="*/ 40 h 41"/>
                  <a:gd name="T18" fmla="*/ 220 w 223"/>
                  <a:gd name="T19" fmla="*/ 41 h 41"/>
                  <a:gd name="T20" fmla="*/ 218 w 223"/>
                  <a:gd name="T21" fmla="*/ 40 h 41"/>
                  <a:gd name="T22" fmla="*/ 12 w 223"/>
                  <a:gd name="T23" fmla="*/ 0 h 41"/>
                  <a:gd name="T24" fmla="*/ 10 w 223"/>
                  <a:gd name="T25" fmla="*/ 0 h 41"/>
                  <a:gd name="T26" fmla="*/ 7 w 223"/>
                  <a:gd name="T27" fmla="*/ 2 h 41"/>
                  <a:gd name="T28" fmla="*/ 7 w 223"/>
                  <a:gd name="T29" fmla="*/ 1 h 41"/>
                  <a:gd name="T30" fmla="*/ 1 w 223"/>
                  <a:gd name="T31" fmla="*/ 8 h 41"/>
                  <a:gd name="T32" fmla="*/ 3 w 223"/>
                  <a:gd name="T33" fmla="*/ 9 h 41"/>
                  <a:gd name="T34" fmla="*/ 0 w 223"/>
                  <a:gd name="T35" fmla="*/ 9 h 41"/>
                  <a:gd name="T36" fmla="*/ 15 w 223"/>
                  <a:gd name="T37" fmla="*/ 13 h 41"/>
                  <a:gd name="T38" fmla="*/ 18 w 223"/>
                  <a:gd name="T39" fmla="*/ 15 h 41"/>
                  <a:gd name="T40" fmla="*/ 16 w 223"/>
                  <a:gd name="T41" fmla="*/ 13 h 41"/>
                  <a:gd name="T42" fmla="*/ 19 w 223"/>
                  <a:gd name="T43" fmla="*/ 13 h 41"/>
                  <a:gd name="T44" fmla="*/ 19 w 223"/>
                  <a:gd name="T45" fmla="*/ 12 h 41"/>
                  <a:gd name="T46" fmla="*/ 21 w 223"/>
                  <a:gd name="T47" fmla="*/ 11 h 41"/>
                  <a:gd name="T48" fmla="*/ 22 w 223"/>
                  <a:gd name="T49" fmla="*/ 10 h 41"/>
                  <a:gd name="T50" fmla="*/ 20 w 223"/>
                  <a:gd name="T51" fmla="*/ 9 h 41"/>
                  <a:gd name="T52" fmla="*/ 22 w 223"/>
                  <a:gd name="T53" fmla="*/ 9 h 41"/>
                  <a:gd name="T54" fmla="*/ 26 w 223"/>
                  <a:gd name="T55" fmla="*/ 7 h 41"/>
                  <a:gd name="T56" fmla="*/ 28 w 223"/>
                  <a:gd name="T57" fmla="*/ 5 h 41"/>
                  <a:gd name="T58" fmla="*/ 27 w 223"/>
                  <a:gd name="T59" fmla="*/ 4 h 41"/>
                  <a:gd name="T60" fmla="*/ 29 w 223"/>
                  <a:gd name="T61" fmla="*/ 4 h 41"/>
                  <a:gd name="T62" fmla="*/ 26 w 223"/>
                  <a:gd name="T63" fmla="*/ 2 h 41"/>
                  <a:gd name="T64" fmla="*/ 25 w 223"/>
                  <a:gd name="T65" fmla="*/ 4 h 41"/>
                  <a:gd name="T66" fmla="*/ 22 w 223"/>
                  <a:gd name="T67" fmla="*/ 2 h 41"/>
                  <a:gd name="T68" fmla="*/ 20 w 223"/>
                  <a:gd name="T69" fmla="*/ 0 h 41"/>
                  <a:gd name="T70" fmla="*/ 18 w 223"/>
                  <a:gd name="T71" fmla="*/ 3 h 41"/>
                  <a:gd name="T72" fmla="*/ 18 w 223"/>
                  <a:gd name="T73" fmla="*/ 5 h 41"/>
                  <a:gd name="T74" fmla="*/ 19 w 223"/>
                  <a:gd name="T75" fmla="*/ 8 h 41"/>
                  <a:gd name="T76" fmla="*/ 17 w 223"/>
                  <a:gd name="T77" fmla="*/ 8 h 41"/>
                  <a:gd name="T78" fmla="*/ 11 w 223"/>
                  <a:gd name="T79" fmla="*/ 2 h 41"/>
                  <a:gd name="T80" fmla="*/ 13 w 223"/>
                  <a:gd name="T81" fmla="*/ 4 h 41"/>
                  <a:gd name="T82" fmla="*/ 15 w 223"/>
                  <a:gd name="T83" fmla="*/ 2 h 41"/>
                  <a:gd name="T84" fmla="*/ 15 w 223"/>
                  <a:gd name="T85" fmla="*/ 6 h 41"/>
                  <a:gd name="T86" fmla="*/ 13 w 223"/>
                  <a:gd name="T87" fmla="*/ 10 h 41"/>
                  <a:gd name="T88" fmla="*/ 8 w 223"/>
                  <a:gd name="T89" fmla="*/ 10 h 41"/>
                  <a:gd name="T90" fmla="*/ 8 w 223"/>
                  <a:gd name="T91" fmla="*/ 12 h 41"/>
                  <a:gd name="T92" fmla="*/ 5 w 223"/>
                  <a:gd name="T93" fmla="*/ 13 h 41"/>
                  <a:gd name="T94" fmla="*/ 2 w 223"/>
                  <a:gd name="T95" fmla="*/ 13 h 41"/>
                  <a:gd name="T96" fmla="*/ 4 w 223"/>
                  <a:gd name="T97" fmla="*/ 12 h 41"/>
                  <a:gd name="T98" fmla="*/ 5 w 223"/>
                  <a:gd name="T99" fmla="*/ 9 h 41"/>
                  <a:gd name="T100" fmla="*/ 9 w 223"/>
                  <a:gd name="T101" fmla="*/ 8 h 41"/>
                  <a:gd name="T102" fmla="*/ 6 w 223"/>
                  <a:gd name="T103" fmla="*/ 7 h 41"/>
                  <a:gd name="T104" fmla="*/ 5 w 223"/>
                  <a:gd name="T105" fmla="*/ 3 h 41"/>
                  <a:gd name="T106" fmla="*/ 9 w 223"/>
                  <a:gd name="T107" fmla="*/ 5 h 41"/>
                  <a:gd name="T108" fmla="*/ 11 w 223"/>
                  <a:gd name="T109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3" h="41">
                    <a:moveTo>
                      <a:pt x="218" y="40"/>
                    </a:moveTo>
                    <a:cubicBezTo>
                      <a:pt x="218" y="38"/>
                      <a:pt x="218" y="38"/>
                      <a:pt x="218" y="38"/>
                    </a:cubicBezTo>
                    <a:cubicBezTo>
                      <a:pt x="216" y="37"/>
                      <a:pt x="216" y="37"/>
                      <a:pt x="216" y="37"/>
                    </a:cubicBezTo>
                    <a:cubicBezTo>
                      <a:pt x="216" y="35"/>
                      <a:pt x="216" y="35"/>
                      <a:pt x="216" y="35"/>
                    </a:cubicBezTo>
                    <a:cubicBezTo>
                      <a:pt x="214" y="35"/>
                      <a:pt x="214" y="35"/>
                      <a:pt x="214" y="35"/>
                    </a:cubicBezTo>
                    <a:cubicBezTo>
                      <a:pt x="214" y="33"/>
                      <a:pt x="214" y="33"/>
                      <a:pt x="214" y="33"/>
                    </a:cubicBezTo>
                    <a:cubicBezTo>
                      <a:pt x="212" y="33"/>
                      <a:pt x="212" y="33"/>
                      <a:pt x="212" y="33"/>
                    </a:cubicBezTo>
                    <a:cubicBezTo>
                      <a:pt x="212" y="32"/>
                      <a:pt x="212" y="32"/>
                      <a:pt x="212" y="32"/>
                    </a:cubicBezTo>
                    <a:cubicBezTo>
                      <a:pt x="214" y="32"/>
                      <a:pt x="214" y="32"/>
                      <a:pt x="214" y="32"/>
                    </a:cubicBezTo>
                    <a:cubicBezTo>
                      <a:pt x="216" y="33"/>
                      <a:pt x="216" y="33"/>
                      <a:pt x="216" y="33"/>
                    </a:cubicBezTo>
                    <a:cubicBezTo>
                      <a:pt x="216" y="34"/>
                      <a:pt x="216" y="34"/>
                      <a:pt x="216" y="34"/>
                    </a:cubicBezTo>
                    <a:cubicBezTo>
                      <a:pt x="216" y="34"/>
                      <a:pt x="217" y="34"/>
                      <a:pt x="217" y="34"/>
                    </a:cubicBezTo>
                    <a:cubicBezTo>
                      <a:pt x="217" y="34"/>
                      <a:pt x="219" y="36"/>
                      <a:pt x="219" y="36"/>
                    </a:cubicBezTo>
                    <a:cubicBezTo>
                      <a:pt x="220" y="36"/>
                      <a:pt x="220" y="36"/>
                      <a:pt x="220" y="36"/>
                    </a:cubicBezTo>
                    <a:cubicBezTo>
                      <a:pt x="220" y="38"/>
                      <a:pt x="220" y="38"/>
                      <a:pt x="220" y="38"/>
                    </a:cubicBezTo>
                    <a:cubicBezTo>
                      <a:pt x="222" y="38"/>
                      <a:pt x="222" y="38"/>
                      <a:pt x="222" y="38"/>
                    </a:cubicBezTo>
                    <a:cubicBezTo>
                      <a:pt x="223" y="39"/>
                      <a:pt x="223" y="39"/>
                      <a:pt x="223" y="39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220" y="41"/>
                      <a:pt x="220" y="41"/>
                      <a:pt x="220" y="41"/>
                    </a:cubicBezTo>
                    <a:cubicBezTo>
                      <a:pt x="219" y="41"/>
                      <a:pt x="219" y="41"/>
                      <a:pt x="219" y="41"/>
                    </a:cubicBezTo>
                    <a:cubicBezTo>
                      <a:pt x="218" y="40"/>
                      <a:pt x="218" y="40"/>
                      <a:pt x="218" y="40"/>
                    </a:cubicBezTo>
                    <a:close/>
                    <a:moveTo>
                      <a:pt x="1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7" y="1"/>
                      <a:pt x="7" y="1"/>
                      <a:pt x="7" y="1"/>
                    </a:cubicBezTo>
                    <a:close/>
                    <a:moveTo>
                      <a:pt x="0" y="9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  <a:moveTo>
                      <a:pt x="13" y="12"/>
                    </a:moveTo>
                    <a:cubicBezTo>
                      <a:pt x="15" y="13"/>
                      <a:pt x="15" y="13"/>
                      <a:pt x="15" y="13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3" y="12"/>
                      <a:pt x="13" y="12"/>
                      <a:pt x="13" y="12"/>
                    </a:cubicBezTo>
                    <a:close/>
                    <a:moveTo>
                      <a:pt x="11" y="2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3"/>
                      <a:pt x="9" y="3"/>
                      <a:pt x="9" y="3"/>
                    </a:cubicBez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xmlns="" id="{3FAA66BC-5F32-4752-A24D-CCC3CC56C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1900"/>
                <a:ext cx="87" cy="41"/>
              </a:xfrm>
              <a:custGeom>
                <a:avLst/>
                <a:gdLst>
                  <a:gd name="T0" fmla="*/ 76 w 87"/>
                  <a:gd name="T1" fmla="*/ 36 h 41"/>
                  <a:gd name="T2" fmla="*/ 71 w 87"/>
                  <a:gd name="T3" fmla="*/ 26 h 41"/>
                  <a:gd name="T4" fmla="*/ 74 w 87"/>
                  <a:gd name="T5" fmla="*/ 22 h 41"/>
                  <a:gd name="T6" fmla="*/ 77 w 87"/>
                  <a:gd name="T7" fmla="*/ 20 h 41"/>
                  <a:gd name="T8" fmla="*/ 76 w 87"/>
                  <a:gd name="T9" fmla="*/ 18 h 41"/>
                  <a:gd name="T10" fmla="*/ 72 w 87"/>
                  <a:gd name="T11" fmla="*/ 22 h 41"/>
                  <a:gd name="T12" fmla="*/ 69 w 87"/>
                  <a:gd name="T13" fmla="*/ 17 h 41"/>
                  <a:gd name="T14" fmla="*/ 64 w 87"/>
                  <a:gd name="T15" fmla="*/ 12 h 41"/>
                  <a:gd name="T16" fmla="*/ 59 w 87"/>
                  <a:gd name="T17" fmla="*/ 8 h 41"/>
                  <a:gd name="T18" fmla="*/ 51 w 87"/>
                  <a:gd name="T19" fmla="*/ 12 h 41"/>
                  <a:gd name="T20" fmla="*/ 51 w 87"/>
                  <a:gd name="T21" fmla="*/ 15 h 41"/>
                  <a:gd name="T22" fmla="*/ 48 w 87"/>
                  <a:gd name="T23" fmla="*/ 22 h 41"/>
                  <a:gd name="T24" fmla="*/ 40 w 87"/>
                  <a:gd name="T25" fmla="*/ 23 h 41"/>
                  <a:gd name="T26" fmla="*/ 40 w 87"/>
                  <a:gd name="T27" fmla="*/ 28 h 41"/>
                  <a:gd name="T28" fmla="*/ 44 w 87"/>
                  <a:gd name="T29" fmla="*/ 31 h 41"/>
                  <a:gd name="T30" fmla="*/ 43 w 87"/>
                  <a:gd name="T31" fmla="*/ 36 h 41"/>
                  <a:gd name="T32" fmla="*/ 38 w 87"/>
                  <a:gd name="T33" fmla="*/ 38 h 41"/>
                  <a:gd name="T34" fmla="*/ 31 w 87"/>
                  <a:gd name="T35" fmla="*/ 39 h 41"/>
                  <a:gd name="T36" fmla="*/ 31 w 87"/>
                  <a:gd name="T37" fmla="*/ 36 h 41"/>
                  <a:gd name="T38" fmla="*/ 31 w 87"/>
                  <a:gd name="T39" fmla="*/ 31 h 41"/>
                  <a:gd name="T40" fmla="*/ 28 w 87"/>
                  <a:gd name="T41" fmla="*/ 30 h 41"/>
                  <a:gd name="T42" fmla="*/ 28 w 87"/>
                  <a:gd name="T43" fmla="*/ 31 h 41"/>
                  <a:gd name="T44" fmla="*/ 25 w 87"/>
                  <a:gd name="T45" fmla="*/ 35 h 41"/>
                  <a:gd name="T46" fmla="*/ 20 w 87"/>
                  <a:gd name="T47" fmla="*/ 28 h 41"/>
                  <a:gd name="T48" fmla="*/ 13 w 87"/>
                  <a:gd name="T49" fmla="*/ 23 h 41"/>
                  <a:gd name="T50" fmla="*/ 12 w 87"/>
                  <a:gd name="T51" fmla="*/ 22 h 41"/>
                  <a:gd name="T52" fmla="*/ 9 w 87"/>
                  <a:gd name="T53" fmla="*/ 22 h 41"/>
                  <a:gd name="T54" fmla="*/ 4 w 87"/>
                  <a:gd name="T55" fmla="*/ 22 h 41"/>
                  <a:gd name="T56" fmla="*/ 0 w 87"/>
                  <a:gd name="T57" fmla="*/ 20 h 41"/>
                  <a:gd name="T58" fmla="*/ 0 w 87"/>
                  <a:gd name="T59" fmla="*/ 15 h 41"/>
                  <a:gd name="T60" fmla="*/ 2 w 87"/>
                  <a:gd name="T61" fmla="*/ 12 h 41"/>
                  <a:gd name="T62" fmla="*/ 0 w 87"/>
                  <a:gd name="T63" fmla="*/ 8 h 41"/>
                  <a:gd name="T64" fmla="*/ 2 w 87"/>
                  <a:gd name="T65" fmla="*/ 4 h 41"/>
                  <a:gd name="T66" fmla="*/ 7 w 87"/>
                  <a:gd name="T67" fmla="*/ 2 h 41"/>
                  <a:gd name="T68" fmla="*/ 9 w 87"/>
                  <a:gd name="T69" fmla="*/ 5 h 41"/>
                  <a:gd name="T70" fmla="*/ 12 w 87"/>
                  <a:gd name="T71" fmla="*/ 7 h 41"/>
                  <a:gd name="T72" fmla="*/ 12 w 87"/>
                  <a:gd name="T73" fmla="*/ 7 h 41"/>
                  <a:gd name="T74" fmla="*/ 12 w 87"/>
                  <a:gd name="T75" fmla="*/ 10 h 41"/>
                  <a:gd name="T76" fmla="*/ 17 w 87"/>
                  <a:gd name="T77" fmla="*/ 10 h 41"/>
                  <a:gd name="T78" fmla="*/ 15 w 87"/>
                  <a:gd name="T79" fmla="*/ 7 h 41"/>
                  <a:gd name="T80" fmla="*/ 20 w 87"/>
                  <a:gd name="T81" fmla="*/ 8 h 41"/>
                  <a:gd name="T82" fmla="*/ 30 w 87"/>
                  <a:gd name="T83" fmla="*/ 12 h 41"/>
                  <a:gd name="T84" fmla="*/ 36 w 87"/>
                  <a:gd name="T85" fmla="*/ 10 h 41"/>
                  <a:gd name="T86" fmla="*/ 51 w 87"/>
                  <a:gd name="T87" fmla="*/ 4 h 41"/>
                  <a:gd name="T88" fmla="*/ 56 w 87"/>
                  <a:gd name="T89" fmla="*/ 0 h 41"/>
                  <a:gd name="T90" fmla="*/ 59 w 87"/>
                  <a:gd name="T91" fmla="*/ 2 h 41"/>
                  <a:gd name="T92" fmla="*/ 69 w 87"/>
                  <a:gd name="T93" fmla="*/ 4 h 41"/>
                  <a:gd name="T94" fmla="*/ 79 w 87"/>
                  <a:gd name="T95" fmla="*/ 8 h 41"/>
                  <a:gd name="T96" fmla="*/ 82 w 87"/>
                  <a:gd name="T97" fmla="*/ 13 h 41"/>
                  <a:gd name="T98" fmla="*/ 87 w 87"/>
                  <a:gd name="T99" fmla="*/ 15 h 41"/>
                  <a:gd name="T100" fmla="*/ 85 w 87"/>
                  <a:gd name="T101" fmla="*/ 20 h 41"/>
                  <a:gd name="T102" fmla="*/ 85 w 87"/>
                  <a:gd name="T103" fmla="*/ 28 h 41"/>
                  <a:gd name="T104" fmla="*/ 82 w 87"/>
                  <a:gd name="T105" fmla="*/ 35 h 41"/>
                  <a:gd name="T106" fmla="*/ 79 w 87"/>
                  <a:gd name="T107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7" h="41">
                    <a:moveTo>
                      <a:pt x="79" y="39"/>
                    </a:moveTo>
                    <a:lnTo>
                      <a:pt x="76" y="36"/>
                    </a:lnTo>
                    <a:lnTo>
                      <a:pt x="72" y="31"/>
                    </a:lnTo>
                    <a:lnTo>
                      <a:pt x="71" y="26"/>
                    </a:lnTo>
                    <a:lnTo>
                      <a:pt x="72" y="25"/>
                    </a:lnTo>
                    <a:lnTo>
                      <a:pt x="74" y="22"/>
                    </a:lnTo>
                    <a:lnTo>
                      <a:pt x="76" y="22"/>
                    </a:lnTo>
                    <a:lnTo>
                      <a:pt x="77" y="20"/>
                    </a:lnTo>
                    <a:lnTo>
                      <a:pt x="77" y="18"/>
                    </a:lnTo>
                    <a:lnTo>
                      <a:pt x="76" y="18"/>
                    </a:lnTo>
                    <a:lnTo>
                      <a:pt x="72" y="20"/>
                    </a:lnTo>
                    <a:lnTo>
                      <a:pt x="72" y="22"/>
                    </a:lnTo>
                    <a:lnTo>
                      <a:pt x="71" y="20"/>
                    </a:lnTo>
                    <a:lnTo>
                      <a:pt x="69" y="17"/>
                    </a:lnTo>
                    <a:lnTo>
                      <a:pt x="66" y="13"/>
                    </a:lnTo>
                    <a:lnTo>
                      <a:pt x="64" y="12"/>
                    </a:lnTo>
                    <a:lnTo>
                      <a:pt x="61" y="10"/>
                    </a:lnTo>
                    <a:lnTo>
                      <a:pt x="59" y="8"/>
                    </a:lnTo>
                    <a:lnTo>
                      <a:pt x="56" y="8"/>
                    </a:lnTo>
                    <a:lnTo>
                      <a:pt x="51" y="12"/>
                    </a:lnTo>
                    <a:lnTo>
                      <a:pt x="51" y="15"/>
                    </a:lnTo>
                    <a:lnTo>
                      <a:pt x="51" y="15"/>
                    </a:lnTo>
                    <a:lnTo>
                      <a:pt x="51" y="17"/>
                    </a:lnTo>
                    <a:lnTo>
                      <a:pt x="48" y="22"/>
                    </a:lnTo>
                    <a:lnTo>
                      <a:pt x="43" y="22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40" y="28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3" y="36"/>
                    </a:lnTo>
                    <a:lnTo>
                      <a:pt x="41" y="35"/>
                    </a:lnTo>
                    <a:lnTo>
                      <a:pt x="38" y="38"/>
                    </a:lnTo>
                    <a:lnTo>
                      <a:pt x="36" y="41"/>
                    </a:lnTo>
                    <a:lnTo>
                      <a:pt x="31" y="39"/>
                    </a:lnTo>
                    <a:lnTo>
                      <a:pt x="31" y="38"/>
                    </a:lnTo>
                    <a:lnTo>
                      <a:pt x="31" y="36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2" y="33"/>
                    </a:lnTo>
                    <a:lnTo>
                      <a:pt x="20" y="28"/>
                    </a:lnTo>
                    <a:lnTo>
                      <a:pt x="20" y="25"/>
                    </a:lnTo>
                    <a:lnTo>
                      <a:pt x="13" y="23"/>
                    </a:lnTo>
                    <a:lnTo>
                      <a:pt x="12" y="23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9" y="22"/>
                    </a:lnTo>
                    <a:lnTo>
                      <a:pt x="7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9" y="5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2" y="7"/>
                    </a:lnTo>
                    <a:lnTo>
                      <a:pt x="10" y="8"/>
                    </a:lnTo>
                    <a:lnTo>
                      <a:pt x="12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5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25" y="12"/>
                    </a:lnTo>
                    <a:lnTo>
                      <a:pt x="30" y="12"/>
                    </a:lnTo>
                    <a:lnTo>
                      <a:pt x="33" y="12"/>
                    </a:lnTo>
                    <a:lnTo>
                      <a:pt x="36" y="10"/>
                    </a:lnTo>
                    <a:lnTo>
                      <a:pt x="46" y="4"/>
                    </a:lnTo>
                    <a:lnTo>
                      <a:pt x="51" y="4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9" y="0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9" y="4"/>
                    </a:lnTo>
                    <a:lnTo>
                      <a:pt x="72" y="4"/>
                    </a:lnTo>
                    <a:lnTo>
                      <a:pt x="79" y="8"/>
                    </a:lnTo>
                    <a:lnTo>
                      <a:pt x="82" y="12"/>
                    </a:lnTo>
                    <a:lnTo>
                      <a:pt x="82" y="13"/>
                    </a:lnTo>
                    <a:lnTo>
                      <a:pt x="85" y="13"/>
                    </a:lnTo>
                    <a:lnTo>
                      <a:pt x="87" y="15"/>
                    </a:lnTo>
                    <a:lnTo>
                      <a:pt x="85" y="18"/>
                    </a:lnTo>
                    <a:lnTo>
                      <a:pt x="85" y="20"/>
                    </a:lnTo>
                    <a:lnTo>
                      <a:pt x="87" y="25"/>
                    </a:lnTo>
                    <a:lnTo>
                      <a:pt x="85" y="28"/>
                    </a:lnTo>
                    <a:lnTo>
                      <a:pt x="84" y="33"/>
                    </a:lnTo>
                    <a:lnTo>
                      <a:pt x="82" y="35"/>
                    </a:lnTo>
                    <a:lnTo>
                      <a:pt x="80" y="35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xmlns="" id="{0021BBA5-EF05-4EA0-884B-416421EBE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5" y="1872"/>
                <a:ext cx="54" cy="53"/>
              </a:xfrm>
              <a:custGeom>
                <a:avLst/>
                <a:gdLst>
                  <a:gd name="T0" fmla="*/ 47 w 54"/>
                  <a:gd name="T1" fmla="*/ 48 h 53"/>
                  <a:gd name="T2" fmla="*/ 47 w 54"/>
                  <a:gd name="T3" fmla="*/ 50 h 53"/>
                  <a:gd name="T4" fmla="*/ 47 w 54"/>
                  <a:gd name="T5" fmla="*/ 53 h 53"/>
                  <a:gd name="T6" fmla="*/ 44 w 54"/>
                  <a:gd name="T7" fmla="*/ 51 h 53"/>
                  <a:gd name="T8" fmla="*/ 42 w 54"/>
                  <a:gd name="T9" fmla="*/ 51 h 53"/>
                  <a:gd name="T10" fmla="*/ 39 w 54"/>
                  <a:gd name="T11" fmla="*/ 45 h 53"/>
                  <a:gd name="T12" fmla="*/ 38 w 54"/>
                  <a:gd name="T13" fmla="*/ 43 h 53"/>
                  <a:gd name="T14" fmla="*/ 39 w 54"/>
                  <a:gd name="T15" fmla="*/ 46 h 53"/>
                  <a:gd name="T16" fmla="*/ 41 w 54"/>
                  <a:gd name="T17" fmla="*/ 51 h 53"/>
                  <a:gd name="T18" fmla="*/ 38 w 54"/>
                  <a:gd name="T19" fmla="*/ 50 h 53"/>
                  <a:gd name="T20" fmla="*/ 33 w 54"/>
                  <a:gd name="T21" fmla="*/ 46 h 53"/>
                  <a:gd name="T22" fmla="*/ 34 w 54"/>
                  <a:gd name="T23" fmla="*/ 41 h 53"/>
                  <a:gd name="T24" fmla="*/ 29 w 54"/>
                  <a:gd name="T25" fmla="*/ 35 h 53"/>
                  <a:gd name="T26" fmla="*/ 26 w 54"/>
                  <a:gd name="T27" fmla="*/ 32 h 53"/>
                  <a:gd name="T28" fmla="*/ 21 w 54"/>
                  <a:gd name="T29" fmla="*/ 27 h 53"/>
                  <a:gd name="T30" fmla="*/ 18 w 54"/>
                  <a:gd name="T31" fmla="*/ 22 h 53"/>
                  <a:gd name="T32" fmla="*/ 11 w 54"/>
                  <a:gd name="T33" fmla="*/ 17 h 53"/>
                  <a:gd name="T34" fmla="*/ 11 w 54"/>
                  <a:gd name="T35" fmla="*/ 20 h 53"/>
                  <a:gd name="T36" fmla="*/ 16 w 54"/>
                  <a:gd name="T37" fmla="*/ 27 h 53"/>
                  <a:gd name="T38" fmla="*/ 13 w 54"/>
                  <a:gd name="T39" fmla="*/ 30 h 53"/>
                  <a:gd name="T40" fmla="*/ 10 w 54"/>
                  <a:gd name="T41" fmla="*/ 25 h 53"/>
                  <a:gd name="T42" fmla="*/ 0 w 54"/>
                  <a:gd name="T43" fmla="*/ 22 h 53"/>
                  <a:gd name="T44" fmla="*/ 2 w 54"/>
                  <a:gd name="T45" fmla="*/ 15 h 53"/>
                  <a:gd name="T46" fmla="*/ 3 w 54"/>
                  <a:gd name="T47" fmla="*/ 10 h 53"/>
                  <a:gd name="T48" fmla="*/ 0 w 54"/>
                  <a:gd name="T49" fmla="*/ 9 h 53"/>
                  <a:gd name="T50" fmla="*/ 2 w 54"/>
                  <a:gd name="T51" fmla="*/ 4 h 53"/>
                  <a:gd name="T52" fmla="*/ 3 w 54"/>
                  <a:gd name="T53" fmla="*/ 4 h 53"/>
                  <a:gd name="T54" fmla="*/ 8 w 54"/>
                  <a:gd name="T55" fmla="*/ 0 h 53"/>
                  <a:gd name="T56" fmla="*/ 20 w 54"/>
                  <a:gd name="T57" fmla="*/ 4 h 53"/>
                  <a:gd name="T58" fmla="*/ 26 w 54"/>
                  <a:gd name="T59" fmla="*/ 5 h 53"/>
                  <a:gd name="T60" fmla="*/ 28 w 54"/>
                  <a:gd name="T61" fmla="*/ 7 h 53"/>
                  <a:gd name="T62" fmla="*/ 33 w 54"/>
                  <a:gd name="T63" fmla="*/ 10 h 53"/>
                  <a:gd name="T64" fmla="*/ 34 w 54"/>
                  <a:gd name="T65" fmla="*/ 10 h 53"/>
                  <a:gd name="T66" fmla="*/ 38 w 54"/>
                  <a:gd name="T67" fmla="*/ 9 h 53"/>
                  <a:gd name="T68" fmla="*/ 39 w 54"/>
                  <a:gd name="T69" fmla="*/ 12 h 53"/>
                  <a:gd name="T70" fmla="*/ 42 w 54"/>
                  <a:gd name="T71" fmla="*/ 18 h 53"/>
                  <a:gd name="T72" fmla="*/ 46 w 54"/>
                  <a:gd name="T73" fmla="*/ 25 h 53"/>
                  <a:gd name="T74" fmla="*/ 51 w 54"/>
                  <a:gd name="T75" fmla="*/ 27 h 53"/>
                  <a:gd name="T76" fmla="*/ 54 w 54"/>
                  <a:gd name="T77" fmla="*/ 30 h 53"/>
                  <a:gd name="T78" fmla="*/ 49 w 54"/>
                  <a:gd name="T79" fmla="*/ 32 h 53"/>
                  <a:gd name="T80" fmla="*/ 47 w 54"/>
                  <a:gd name="T81" fmla="*/ 36 h 53"/>
                  <a:gd name="T82" fmla="*/ 49 w 54"/>
                  <a:gd name="T83" fmla="*/ 40 h 53"/>
                  <a:gd name="T84" fmla="*/ 47 w 54"/>
                  <a:gd name="T85" fmla="*/ 43 h 53"/>
                  <a:gd name="T86" fmla="*/ 47 w 54"/>
                  <a:gd name="T87" fmla="*/ 48 h 53"/>
                  <a:gd name="T88" fmla="*/ 47 w 54"/>
                  <a:gd name="T89" fmla="*/ 4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4" h="53">
                    <a:moveTo>
                      <a:pt x="47" y="48"/>
                    </a:moveTo>
                    <a:lnTo>
                      <a:pt x="47" y="48"/>
                    </a:lnTo>
                    <a:lnTo>
                      <a:pt x="49" y="50"/>
                    </a:lnTo>
                    <a:lnTo>
                      <a:pt x="47" y="50"/>
                    </a:lnTo>
                    <a:lnTo>
                      <a:pt x="47" y="51"/>
                    </a:lnTo>
                    <a:lnTo>
                      <a:pt x="47" y="53"/>
                    </a:lnTo>
                    <a:lnTo>
                      <a:pt x="46" y="53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48"/>
                    </a:lnTo>
                    <a:lnTo>
                      <a:pt x="39" y="45"/>
                    </a:lnTo>
                    <a:lnTo>
                      <a:pt x="38" y="43"/>
                    </a:lnTo>
                    <a:lnTo>
                      <a:pt x="38" y="43"/>
                    </a:lnTo>
                    <a:lnTo>
                      <a:pt x="38" y="45"/>
                    </a:lnTo>
                    <a:lnTo>
                      <a:pt x="39" y="46"/>
                    </a:lnTo>
                    <a:lnTo>
                      <a:pt x="41" y="48"/>
                    </a:lnTo>
                    <a:lnTo>
                      <a:pt x="41" y="51"/>
                    </a:lnTo>
                    <a:lnTo>
                      <a:pt x="39" y="51"/>
                    </a:lnTo>
                    <a:lnTo>
                      <a:pt x="38" y="50"/>
                    </a:lnTo>
                    <a:lnTo>
                      <a:pt x="33" y="48"/>
                    </a:lnTo>
                    <a:lnTo>
                      <a:pt x="33" y="46"/>
                    </a:lnTo>
                    <a:lnTo>
                      <a:pt x="33" y="43"/>
                    </a:lnTo>
                    <a:lnTo>
                      <a:pt x="34" y="41"/>
                    </a:lnTo>
                    <a:lnTo>
                      <a:pt x="34" y="40"/>
                    </a:lnTo>
                    <a:lnTo>
                      <a:pt x="29" y="35"/>
                    </a:lnTo>
                    <a:lnTo>
                      <a:pt x="28" y="35"/>
                    </a:lnTo>
                    <a:lnTo>
                      <a:pt x="26" y="32"/>
                    </a:lnTo>
                    <a:lnTo>
                      <a:pt x="21" y="30"/>
                    </a:lnTo>
                    <a:lnTo>
                      <a:pt x="21" y="27"/>
                    </a:lnTo>
                    <a:lnTo>
                      <a:pt x="18" y="23"/>
                    </a:lnTo>
                    <a:lnTo>
                      <a:pt x="18" y="22"/>
                    </a:lnTo>
                    <a:lnTo>
                      <a:pt x="15" y="20"/>
                    </a:lnTo>
                    <a:lnTo>
                      <a:pt x="11" y="17"/>
                    </a:lnTo>
                    <a:lnTo>
                      <a:pt x="10" y="18"/>
                    </a:lnTo>
                    <a:lnTo>
                      <a:pt x="11" y="20"/>
                    </a:lnTo>
                    <a:lnTo>
                      <a:pt x="16" y="23"/>
                    </a:lnTo>
                    <a:lnTo>
                      <a:pt x="16" y="27"/>
                    </a:lnTo>
                    <a:lnTo>
                      <a:pt x="15" y="30"/>
                    </a:lnTo>
                    <a:lnTo>
                      <a:pt x="13" y="30"/>
                    </a:lnTo>
                    <a:lnTo>
                      <a:pt x="11" y="27"/>
                    </a:lnTo>
                    <a:lnTo>
                      <a:pt x="10" y="25"/>
                    </a:lnTo>
                    <a:lnTo>
                      <a:pt x="5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3" y="10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5" y="4"/>
                    </a:lnTo>
                    <a:lnTo>
                      <a:pt x="26" y="5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31" y="10"/>
                    </a:lnTo>
                    <a:lnTo>
                      <a:pt x="33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1" y="15"/>
                    </a:lnTo>
                    <a:lnTo>
                      <a:pt x="42" y="18"/>
                    </a:lnTo>
                    <a:lnTo>
                      <a:pt x="46" y="22"/>
                    </a:lnTo>
                    <a:lnTo>
                      <a:pt x="46" y="25"/>
                    </a:lnTo>
                    <a:lnTo>
                      <a:pt x="47" y="27"/>
                    </a:lnTo>
                    <a:lnTo>
                      <a:pt x="51" y="27"/>
                    </a:lnTo>
                    <a:lnTo>
                      <a:pt x="52" y="28"/>
                    </a:lnTo>
                    <a:lnTo>
                      <a:pt x="54" y="30"/>
                    </a:lnTo>
                    <a:lnTo>
                      <a:pt x="51" y="30"/>
                    </a:lnTo>
                    <a:lnTo>
                      <a:pt x="49" y="32"/>
                    </a:lnTo>
                    <a:lnTo>
                      <a:pt x="49" y="33"/>
                    </a:lnTo>
                    <a:lnTo>
                      <a:pt x="47" y="36"/>
                    </a:lnTo>
                    <a:lnTo>
                      <a:pt x="47" y="38"/>
                    </a:lnTo>
                    <a:lnTo>
                      <a:pt x="49" y="40"/>
                    </a:lnTo>
                    <a:lnTo>
                      <a:pt x="51" y="41"/>
                    </a:lnTo>
                    <a:lnTo>
                      <a:pt x="47" y="43"/>
                    </a:lnTo>
                    <a:lnTo>
                      <a:pt x="47" y="46"/>
                    </a:lnTo>
                    <a:lnTo>
                      <a:pt x="47" y="48"/>
                    </a:lnTo>
                    <a:lnTo>
                      <a:pt x="47" y="48"/>
                    </a:lnTo>
                    <a:lnTo>
                      <a:pt x="47" y="4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xmlns="" id="{8F876D40-B0B8-4C30-8A05-56C922C5D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1809"/>
                <a:ext cx="73" cy="73"/>
              </a:xfrm>
              <a:custGeom>
                <a:avLst/>
                <a:gdLst>
                  <a:gd name="T0" fmla="*/ 18 w 45"/>
                  <a:gd name="T1" fmla="*/ 41 h 45"/>
                  <a:gd name="T2" fmla="*/ 21 w 45"/>
                  <a:gd name="T3" fmla="*/ 39 h 45"/>
                  <a:gd name="T4" fmla="*/ 28 w 45"/>
                  <a:gd name="T5" fmla="*/ 41 h 45"/>
                  <a:gd name="T6" fmla="*/ 32 w 45"/>
                  <a:gd name="T7" fmla="*/ 42 h 45"/>
                  <a:gd name="T8" fmla="*/ 33 w 45"/>
                  <a:gd name="T9" fmla="*/ 43 h 45"/>
                  <a:gd name="T10" fmla="*/ 36 w 45"/>
                  <a:gd name="T11" fmla="*/ 45 h 45"/>
                  <a:gd name="T12" fmla="*/ 37 w 45"/>
                  <a:gd name="T13" fmla="*/ 44 h 45"/>
                  <a:gd name="T14" fmla="*/ 38 w 45"/>
                  <a:gd name="T15" fmla="*/ 42 h 45"/>
                  <a:gd name="T16" fmla="*/ 36 w 45"/>
                  <a:gd name="T17" fmla="*/ 39 h 45"/>
                  <a:gd name="T18" fmla="*/ 38 w 45"/>
                  <a:gd name="T19" fmla="*/ 35 h 45"/>
                  <a:gd name="T20" fmla="*/ 38 w 45"/>
                  <a:gd name="T21" fmla="*/ 34 h 45"/>
                  <a:gd name="T22" fmla="*/ 36 w 45"/>
                  <a:gd name="T23" fmla="*/ 36 h 45"/>
                  <a:gd name="T24" fmla="*/ 37 w 45"/>
                  <a:gd name="T25" fmla="*/ 33 h 45"/>
                  <a:gd name="T26" fmla="*/ 37 w 45"/>
                  <a:gd name="T27" fmla="*/ 29 h 45"/>
                  <a:gd name="T28" fmla="*/ 39 w 45"/>
                  <a:gd name="T29" fmla="*/ 25 h 45"/>
                  <a:gd name="T30" fmla="*/ 39 w 45"/>
                  <a:gd name="T31" fmla="*/ 26 h 45"/>
                  <a:gd name="T32" fmla="*/ 39 w 45"/>
                  <a:gd name="T33" fmla="*/ 30 h 45"/>
                  <a:gd name="T34" fmla="*/ 40 w 45"/>
                  <a:gd name="T35" fmla="*/ 28 h 45"/>
                  <a:gd name="T36" fmla="*/ 41 w 45"/>
                  <a:gd name="T37" fmla="*/ 20 h 45"/>
                  <a:gd name="T38" fmla="*/ 40 w 45"/>
                  <a:gd name="T39" fmla="*/ 18 h 45"/>
                  <a:gd name="T40" fmla="*/ 40 w 45"/>
                  <a:gd name="T41" fmla="*/ 17 h 45"/>
                  <a:gd name="T42" fmla="*/ 41 w 45"/>
                  <a:gd name="T43" fmla="*/ 16 h 45"/>
                  <a:gd name="T44" fmla="*/ 42 w 45"/>
                  <a:gd name="T45" fmla="*/ 14 h 45"/>
                  <a:gd name="T46" fmla="*/ 44 w 45"/>
                  <a:gd name="T47" fmla="*/ 11 h 45"/>
                  <a:gd name="T48" fmla="*/ 43 w 45"/>
                  <a:gd name="T49" fmla="*/ 9 h 45"/>
                  <a:gd name="T50" fmla="*/ 44 w 45"/>
                  <a:gd name="T51" fmla="*/ 7 h 45"/>
                  <a:gd name="T52" fmla="*/ 44 w 45"/>
                  <a:gd name="T53" fmla="*/ 3 h 45"/>
                  <a:gd name="T54" fmla="*/ 45 w 45"/>
                  <a:gd name="T55" fmla="*/ 1 h 45"/>
                  <a:gd name="T56" fmla="*/ 42 w 45"/>
                  <a:gd name="T57" fmla="*/ 1 h 45"/>
                  <a:gd name="T58" fmla="*/ 41 w 45"/>
                  <a:gd name="T59" fmla="*/ 0 h 45"/>
                  <a:gd name="T60" fmla="*/ 40 w 45"/>
                  <a:gd name="T61" fmla="*/ 2 h 45"/>
                  <a:gd name="T62" fmla="*/ 37 w 45"/>
                  <a:gd name="T63" fmla="*/ 4 h 45"/>
                  <a:gd name="T64" fmla="*/ 35 w 45"/>
                  <a:gd name="T65" fmla="*/ 5 h 45"/>
                  <a:gd name="T66" fmla="*/ 32 w 45"/>
                  <a:gd name="T67" fmla="*/ 5 h 45"/>
                  <a:gd name="T68" fmla="*/ 30 w 45"/>
                  <a:gd name="T69" fmla="*/ 3 h 45"/>
                  <a:gd name="T70" fmla="*/ 29 w 45"/>
                  <a:gd name="T71" fmla="*/ 5 h 45"/>
                  <a:gd name="T72" fmla="*/ 26 w 45"/>
                  <a:gd name="T73" fmla="*/ 8 h 45"/>
                  <a:gd name="T74" fmla="*/ 24 w 45"/>
                  <a:gd name="T75" fmla="*/ 9 h 45"/>
                  <a:gd name="T76" fmla="*/ 21 w 45"/>
                  <a:gd name="T77" fmla="*/ 12 h 45"/>
                  <a:gd name="T78" fmla="*/ 19 w 45"/>
                  <a:gd name="T79" fmla="*/ 13 h 45"/>
                  <a:gd name="T80" fmla="*/ 17 w 45"/>
                  <a:gd name="T81" fmla="*/ 12 h 45"/>
                  <a:gd name="T82" fmla="*/ 11 w 45"/>
                  <a:gd name="T83" fmla="*/ 13 h 45"/>
                  <a:gd name="T84" fmla="*/ 8 w 45"/>
                  <a:gd name="T85" fmla="*/ 15 h 45"/>
                  <a:gd name="T86" fmla="*/ 8 w 45"/>
                  <a:gd name="T87" fmla="*/ 19 h 45"/>
                  <a:gd name="T88" fmla="*/ 5 w 45"/>
                  <a:gd name="T89" fmla="*/ 21 h 45"/>
                  <a:gd name="T90" fmla="*/ 3 w 45"/>
                  <a:gd name="T91" fmla="*/ 22 h 45"/>
                  <a:gd name="T92" fmla="*/ 1 w 45"/>
                  <a:gd name="T93" fmla="*/ 22 h 45"/>
                  <a:gd name="T94" fmla="*/ 4 w 45"/>
                  <a:gd name="T95" fmla="*/ 27 h 45"/>
                  <a:gd name="T96" fmla="*/ 5 w 45"/>
                  <a:gd name="T97" fmla="*/ 29 h 45"/>
                  <a:gd name="T98" fmla="*/ 11 w 45"/>
                  <a:gd name="T99" fmla="*/ 35 h 45"/>
                  <a:gd name="T100" fmla="*/ 16 w 45"/>
                  <a:gd name="T101" fmla="*/ 4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5" h="45">
                    <a:moveTo>
                      <a:pt x="17" y="41"/>
                    </a:moveTo>
                    <a:cubicBezTo>
                      <a:pt x="18" y="41"/>
                      <a:pt x="18" y="41"/>
                      <a:pt x="18" y="41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37" y="45"/>
                      <a:pt x="37" y="45"/>
                      <a:pt x="37" y="45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38" y="44"/>
                      <a:pt x="38" y="44"/>
                      <a:pt x="38" y="44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5"/>
                      <a:pt x="38" y="35"/>
                      <a:pt x="38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7" y="35"/>
                      <a:pt x="37" y="35"/>
                      <a:pt x="37" y="35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39" y="26"/>
                      <a:pt x="39" y="27"/>
                      <a:pt x="39" y="28"/>
                    </a:cubicBezTo>
                    <a:cubicBezTo>
                      <a:pt x="39" y="28"/>
                      <a:pt x="39" y="30"/>
                      <a:pt x="39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40" y="17"/>
                      <a:pt x="40" y="17"/>
                      <a:pt x="40" y="17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6" y="40"/>
                      <a:pt x="16" y="40"/>
                      <a:pt x="16" y="40"/>
                    </a:cubicBezTo>
                    <a:lnTo>
                      <a:pt x="17" y="4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xmlns="" id="{C8B9BD45-2FFA-4E12-B1DB-120EC69F1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1791"/>
                <a:ext cx="106" cy="52"/>
              </a:xfrm>
              <a:custGeom>
                <a:avLst/>
                <a:gdLst>
                  <a:gd name="T0" fmla="*/ 39 w 106"/>
                  <a:gd name="T1" fmla="*/ 52 h 52"/>
                  <a:gd name="T2" fmla="*/ 44 w 106"/>
                  <a:gd name="T3" fmla="*/ 49 h 52"/>
                  <a:gd name="T4" fmla="*/ 44 w 106"/>
                  <a:gd name="T5" fmla="*/ 42 h 52"/>
                  <a:gd name="T6" fmla="*/ 49 w 106"/>
                  <a:gd name="T7" fmla="*/ 39 h 52"/>
                  <a:gd name="T8" fmla="*/ 59 w 106"/>
                  <a:gd name="T9" fmla="*/ 37 h 52"/>
                  <a:gd name="T10" fmla="*/ 62 w 106"/>
                  <a:gd name="T11" fmla="*/ 39 h 52"/>
                  <a:gd name="T12" fmla="*/ 65 w 106"/>
                  <a:gd name="T13" fmla="*/ 37 h 52"/>
                  <a:gd name="T14" fmla="*/ 70 w 106"/>
                  <a:gd name="T15" fmla="*/ 32 h 52"/>
                  <a:gd name="T16" fmla="*/ 73 w 106"/>
                  <a:gd name="T17" fmla="*/ 31 h 52"/>
                  <a:gd name="T18" fmla="*/ 78 w 106"/>
                  <a:gd name="T19" fmla="*/ 26 h 52"/>
                  <a:gd name="T20" fmla="*/ 80 w 106"/>
                  <a:gd name="T21" fmla="*/ 23 h 52"/>
                  <a:gd name="T22" fmla="*/ 83 w 106"/>
                  <a:gd name="T23" fmla="*/ 26 h 52"/>
                  <a:gd name="T24" fmla="*/ 88 w 106"/>
                  <a:gd name="T25" fmla="*/ 26 h 52"/>
                  <a:gd name="T26" fmla="*/ 91 w 106"/>
                  <a:gd name="T27" fmla="*/ 24 h 52"/>
                  <a:gd name="T28" fmla="*/ 96 w 106"/>
                  <a:gd name="T29" fmla="*/ 21 h 52"/>
                  <a:gd name="T30" fmla="*/ 98 w 106"/>
                  <a:gd name="T31" fmla="*/ 18 h 52"/>
                  <a:gd name="T32" fmla="*/ 99 w 106"/>
                  <a:gd name="T33" fmla="*/ 19 h 52"/>
                  <a:gd name="T34" fmla="*/ 104 w 106"/>
                  <a:gd name="T35" fmla="*/ 19 h 52"/>
                  <a:gd name="T36" fmla="*/ 104 w 106"/>
                  <a:gd name="T37" fmla="*/ 16 h 52"/>
                  <a:gd name="T38" fmla="*/ 98 w 106"/>
                  <a:gd name="T39" fmla="*/ 11 h 52"/>
                  <a:gd name="T40" fmla="*/ 98 w 106"/>
                  <a:gd name="T41" fmla="*/ 15 h 52"/>
                  <a:gd name="T42" fmla="*/ 91 w 106"/>
                  <a:gd name="T43" fmla="*/ 15 h 52"/>
                  <a:gd name="T44" fmla="*/ 86 w 106"/>
                  <a:gd name="T45" fmla="*/ 13 h 52"/>
                  <a:gd name="T46" fmla="*/ 85 w 106"/>
                  <a:gd name="T47" fmla="*/ 11 h 52"/>
                  <a:gd name="T48" fmla="*/ 86 w 106"/>
                  <a:gd name="T49" fmla="*/ 10 h 52"/>
                  <a:gd name="T50" fmla="*/ 90 w 106"/>
                  <a:gd name="T51" fmla="*/ 10 h 52"/>
                  <a:gd name="T52" fmla="*/ 95 w 106"/>
                  <a:gd name="T53" fmla="*/ 11 h 52"/>
                  <a:gd name="T54" fmla="*/ 88 w 106"/>
                  <a:gd name="T55" fmla="*/ 6 h 52"/>
                  <a:gd name="T56" fmla="*/ 83 w 106"/>
                  <a:gd name="T57" fmla="*/ 6 h 52"/>
                  <a:gd name="T58" fmla="*/ 80 w 106"/>
                  <a:gd name="T59" fmla="*/ 8 h 52"/>
                  <a:gd name="T60" fmla="*/ 72 w 106"/>
                  <a:gd name="T61" fmla="*/ 5 h 52"/>
                  <a:gd name="T62" fmla="*/ 60 w 106"/>
                  <a:gd name="T63" fmla="*/ 1 h 52"/>
                  <a:gd name="T64" fmla="*/ 57 w 106"/>
                  <a:gd name="T65" fmla="*/ 1 h 52"/>
                  <a:gd name="T66" fmla="*/ 55 w 106"/>
                  <a:gd name="T67" fmla="*/ 5 h 52"/>
                  <a:gd name="T68" fmla="*/ 52 w 106"/>
                  <a:gd name="T69" fmla="*/ 5 h 52"/>
                  <a:gd name="T70" fmla="*/ 39 w 106"/>
                  <a:gd name="T71" fmla="*/ 5 h 52"/>
                  <a:gd name="T72" fmla="*/ 26 w 106"/>
                  <a:gd name="T73" fmla="*/ 8 h 52"/>
                  <a:gd name="T74" fmla="*/ 24 w 106"/>
                  <a:gd name="T75" fmla="*/ 8 h 52"/>
                  <a:gd name="T76" fmla="*/ 21 w 106"/>
                  <a:gd name="T77" fmla="*/ 11 h 52"/>
                  <a:gd name="T78" fmla="*/ 15 w 106"/>
                  <a:gd name="T79" fmla="*/ 15 h 52"/>
                  <a:gd name="T80" fmla="*/ 6 w 106"/>
                  <a:gd name="T81" fmla="*/ 21 h 52"/>
                  <a:gd name="T82" fmla="*/ 6 w 106"/>
                  <a:gd name="T83" fmla="*/ 29 h 52"/>
                  <a:gd name="T84" fmla="*/ 2 w 106"/>
                  <a:gd name="T85" fmla="*/ 32 h 52"/>
                  <a:gd name="T86" fmla="*/ 2 w 106"/>
                  <a:gd name="T87" fmla="*/ 34 h 52"/>
                  <a:gd name="T88" fmla="*/ 2 w 106"/>
                  <a:gd name="T89" fmla="*/ 46 h 52"/>
                  <a:gd name="T90" fmla="*/ 8 w 106"/>
                  <a:gd name="T91" fmla="*/ 49 h 52"/>
                  <a:gd name="T92" fmla="*/ 15 w 106"/>
                  <a:gd name="T93" fmla="*/ 49 h 52"/>
                  <a:gd name="T94" fmla="*/ 13 w 106"/>
                  <a:gd name="T95" fmla="*/ 47 h 52"/>
                  <a:gd name="T96" fmla="*/ 18 w 106"/>
                  <a:gd name="T97" fmla="*/ 50 h 52"/>
                  <a:gd name="T98" fmla="*/ 28 w 106"/>
                  <a:gd name="T99" fmla="*/ 52 h 52"/>
                  <a:gd name="T100" fmla="*/ 29 w 106"/>
                  <a:gd name="T101" fmla="*/ 49 h 52"/>
                  <a:gd name="T102" fmla="*/ 31 w 106"/>
                  <a:gd name="T103" fmla="*/ 49 h 52"/>
                  <a:gd name="T104" fmla="*/ 34 w 106"/>
                  <a:gd name="T105" fmla="*/ 49 h 52"/>
                  <a:gd name="T106" fmla="*/ 36 w 106"/>
                  <a:gd name="T107" fmla="*/ 49 h 52"/>
                  <a:gd name="T108" fmla="*/ 36 w 106"/>
                  <a:gd name="T10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6" h="52">
                    <a:moveTo>
                      <a:pt x="36" y="52"/>
                    </a:moveTo>
                    <a:lnTo>
                      <a:pt x="39" y="52"/>
                    </a:lnTo>
                    <a:lnTo>
                      <a:pt x="42" y="52"/>
                    </a:lnTo>
                    <a:lnTo>
                      <a:pt x="44" y="49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1"/>
                    </a:lnTo>
                    <a:lnTo>
                      <a:pt x="49" y="39"/>
                    </a:lnTo>
                    <a:lnTo>
                      <a:pt x="54" y="36"/>
                    </a:lnTo>
                    <a:lnTo>
                      <a:pt x="59" y="37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4" y="39"/>
                    </a:lnTo>
                    <a:lnTo>
                      <a:pt x="65" y="37"/>
                    </a:lnTo>
                    <a:lnTo>
                      <a:pt x="68" y="36"/>
                    </a:lnTo>
                    <a:lnTo>
                      <a:pt x="70" y="32"/>
                    </a:lnTo>
                    <a:lnTo>
                      <a:pt x="72" y="32"/>
                    </a:lnTo>
                    <a:lnTo>
                      <a:pt x="73" y="31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78" y="23"/>
                    </a:lnTo>
                    <a:lnTo>
                      <a:pt x="80" y="23"/>
                    </a:lnTo>
                    <a:lnTo>
                      <a:pt x="82" y="24"/>
                    </a:lnTo>
                    <a:lnTo>
                      <a:pt x="83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4"/>
                    </a:lnTo>
                    <a:lnTo>
                      <a:pt x="91" y="24"/>
                    </a:lnTo>
                    <a:lnTo>
                      <a:pt x="93" y="23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8" y="18"/>
                    </a:lnTo>
                    <a:lnTo>
                      <a:pt x="99" y="18"/>
                    </a:lnTo>
                    <a:lnTo>
                      <a:pt x="99" y="19"/>
                    </a:lnTo>
                    <a:lnTo>
                      <a:pt x="103" y="19"/>
                    </a:lnTo>
                    <a:lnTo>
                      <a:pt x="104" y="19"/>
                    </a:lnTo>
                    <a:lnTo>
                      <a:pt x="106" y="18"/>
                    </a:lnTo>
                    <a:lnTo>
                      <a:pt x="104" y="16"/>
                    </a:lnTo>
                    <a:lnTo>
                      <a:pt x="101" y="13"/>
                    </a:lnTo>
                    <a:lnTo>
                      <a:pt x="98" y="11"/>
                    </a:lnTo>
                    <a:lnTo>
                      <a:pt x="98" y="13"/>
                    </a:lnTo>
                    <a:lnTo>
                      <a:pt x="98" y="15"/>
                    </a:lnTo>
                    <a:lnTo>
                      <a:pt x="95" y="15"/>
                    </a:lnTo>
                    <a:lnTo>
                      <a:pt x="91" y="15"/>
                    </a:lnTo>
                    <a:lnTo>
                      <a:pt x="90" y="13"/>
                    </a:lnTo>
                    <a:lnTo>
                      <a:pt x="86" y="13"/>
                    </a:lnTo>
                    <a:lnTo>
                      <a:pt x="83" y="13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90" y="10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1" y="8"/>
                    </a:lnTo>
                    <a:lnTo>
                      <a:pt x="88" y="6"/>
                    </a:lnTo>
                    <a:lnTo>
                      <a:pt x="85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0" y="8"/>
                    </a:lnTo>
                    <a:lnTo>
                      <a:pt x="78" y="6"/>
                    </a:lnTo>
                    <a:lnTo>
                      <a:pt x="72" y="5"/>
                    </a:lnTo>
                    <a:lnTo>
                      <a:pt x="65" y="5"/>
                    </a:lnTo>
                    <a:lnTo>
                      <a:pt x="60" y="1"/>
                    </a:lnTo>
                    <a:lnTo>
                      <a:pt x="57" y="0"/>
                    </a:lnTo>
                    <a:lnTo>
                      <a:pt x="57" y="1"/>
                    </a:lnTo>
                    <a:lnTo>
                      <a:pt x="59" y="3"/>
                    </a:lnTo>
                    <a:lnTo>
                      <a:pt x="55" y="5"/>
                    </a:lnTo>
                    <a:lnTo>
                      <a:pt x="54" y="5"/>
                    </a:lnTo>
                    <a:lnTo>
                      <a:pt x="52" y="5"/>
                    </a:lnTo>
                    <a:lnTo>
                      <a:pt x="46" y="6"/>
                    </a:lnTo>
                    <a:lnTo>
                      <a:pt x="39" y="5"/>
                    </a:lnTo>
                    <a:lnTo>
                      <a:pt x="31" y="5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1" y="10"/>
                    </a:lnTo>
                    <a:lnTo>
                      <a:pt x="21" y="11"/>
                    </a:lnTo>
                    <a:lnTo>
                      <a:pt x="16" y="15"/>
                    </a:lnTo>
                    <a:lnTo>
                      <a:pt x="15" y="15"/>
                    </a:lnTo>
                    <a:lnTo>
                      <a:pt x="10" y="19"/>
                    </a:lnTo>
                    <a:lnTo>
                      <a:pt x="6" y="21"/>
                    </a:lnTo>
                    <a:lnTo>
                      <a:pt x="8" y="24"/>
                    </a:lnTo>
                    <a:lnTo>
                      <a:pt x="6" y="29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2"/>
                    </a:lnTo>
                    <a:lnTo>
                      <a:pt x="2" y="46"/>
                    </a:lnTo>
                    <a:lnTo>
                      <a:pt x="3" y="46"/>
                    </a:lnTo>
                    <a:lnTo>
                      <a:pt x="8" y="49"/>
                    </a:lnTo>
                    <a:lnTo>
                      <a:pt x="15" y="50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6" y="47"/>
                    </a:lnTo>
                    <a:lnTo>
                      <a:pt x="18" y="50"/>
                    </a:lnTo>
                    <a:lnTo>
                      <a:pt x="19" y="52"/>
                    </a:lnTo>
                    <a:lnTo>
                      <a:pt x="28" y="52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9" y="47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4" y="49"/>
                    </a:lnTo>
                    <a:lnTo>
                      <a:pt x="34" y="49"/>
                    </a:lnTo>
                    <a:lnTo>
                      <a:pt x="36" y="49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xmlns="" id="{EC65EA2B-F1B0-45B9-B69F-DA585A3C3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820"/>
                <a:ext cx="39" cy="23"/>
              </a:xfrm>
              <a:custGeom>
                <a:avLst/>
                <a:gdLst>
                  <a:gd name="T0" fmla="*/ 14 w 39"/>
                  <a:gd name="T1" fmla="*/ 0 h 23"/>
                  <a:gd name="T2" fmla="*/ 16 w 39"/>
                  <a:gd name="T3" fmla="*/ 0 h 23"/>
                  <a:gd name="T4" fmla="*/ 16 w 39"/>
                  <a:gd name="T5" fmla="*/ 2 h 23"/>
                  <a:gd name="T6" fmla="*/ 19 w 39"/>
                  <a:gd name="T7" fmla="*/ 2 h 23"/>
                  <a:gd name="T8" fmla="*/ 19 w 39"/>
                  <a:gd name="T9" fmla="*/ 3 h 23"/>
                  <a:gd name="T10" fmla="*/ 23 w 39"/>
                  <a:gd name="T11" fmla="*/ 3 h 23"/>
                  <a:gd name="T12" fmla="*/ 26 w 39"/>
                  <a:gd name="T13" fmla="*/ 3 h 23"/>
                  <a:gd name="T14" fmla="*/ 27 w 39"/>
                  <a:gd name="T15" fmla="*/ 7 h 23"/>
                  <a:gd name="T16" fmla="*/ 29 w 39"/>
                  <a:gd name="T17" fmla="*/ 8 h 23"/>
                  <a:gd name="T18" fmla="*/ 31 w 39"/>
                  <a:gd name="T19" fmla="*/ 10 h 23"/>
                  <a:gd name="T20" fmla="*/ 31 w 39"/>
                  <a:gd name="T21" fmla="*/ 8 h 23"/>
                  <a:gd name="T22" fmla="*/ 32 w 39"/>
                  <a:gd name="T23" fmla="*/ 7 h 23"/>
                  <a:gd name="T24" fmla="*/ 34 w 39"/>
                  <a:gd name="T25" fmla="*/ 7 h 23"/>
                  <a:gd name="T26" fmla="*/ 36 w 39"/>
                  <a:gd name="T27" fmla="*/ 7 h 23"/>
                  <a:gd name="T28" fmla="*/ 39 w 39"/>
                  <a:gd name="T29" fmla="*/ 7 h 23"/>
                  <a:gd name="T30" fmla="*/ 39 w 39"/>
                  <a:gd name="T31" fmla="*/ 10 h 23"/>
                  <a:gd name="T32" fmla="*/ 37 w 39"/>
                  <a:gd name="T33" fmla="*/ 13 h 23"/>
                  <a:gd name="T34" fmla="*/ 37 w 39"/>
                  <a:gd name="T35" fmla="*/ 15 h 23"/>
                  <a:gd name="T36" fmla="*/ 37 w 39"/>
                  <a:gd name="T37" fmla="*/ 17 h 23"/>
                  <a:gd name="T38" fmla="*/ 37 w 39"/>
                  <a:gd name="T39" fmla="*/ 18 h 23"/>
                  <a:gd name="T40" fmla="*/ 37 w 39"/>
                  <a:gd name="T41" fmla="*/ 20 h 23"/>
                  <a:gd name="T42" fmla="*/ 37 w 39"/>
                  <a:gd name="T43" fmla="*/ 21 h 23"/>
                  <a:gd name="T44" fmla="*/ 36 w 39"/>
                  <a:gd name="T45" fmla="*/ 23 h 23"/>
                  <a:gd name="T46" fmla="*/ 27 w 39"/>
                  <a:gd name="T47" fmla="*/ 23 h 23"/>
                  <a:gd name="T48" fmla="*/ 26 w 39"/>
                  <a:gd name="T49" fmla="*/ 21 h 23"/>
                  <a:gd name="T50" fmla="*/ 24 w 39"/>
                  <a:gd name="T51" fmla="*/ 18 h 23"/>
                  <a:gd name="T52" fmla="*/ 21 w 39"/>
                  <a:gd name="T53" fmla="*/ 18 h 23"/>
                  <a:gd name="T54" fmla="*/ 21 w 39"/>
                  <a:gd name="T55" fmla="*/ 20 h 23"/>
                  <a:gd name="T56" fmla="*/ 23 w 39"/>
                  <a:gd name="T57" fmla="*/ 20 h 23"/>
                  <a:gd name="T58" fmla="*/ 23 w 39"/>
                  <a:gd name="T59" fmla="*/ 21 h 23"/>
                  <a:gd name="T60" fmla="*/ 16 w 39"/>
                  <a:gd name="T61" fmla="*/ 20 h 23"/>
                  <a:gd name="T62" fmla="*/ 11 w 39"/>
                  <a:gd name="T63" fmla="*/ 17 h 23"/>
                  <a:gd name="T64" fmla="*/ 10 w 39"/>
                  <a:gd name="T65" fmla="*/ 17 h 23"/>
                  <a:gd name="T66" fmla="*/ 6 w 39"/>
                  <a:gd name="T67" fmla="*/ 17 h 23"/>
                  <a:gd name="T68" fmla="*/ 3 w 39"/>
                  <a:gd name="T69" fmla="*/ 13 h 23"/>
                  <a:gd name="T70" fmla="*/ 0 w 39"/>
                  <a:gd name="T71" fmla="*/ 13 h 23"/>
                  <a:gd name="T72" fmla="*/ 0 w 39"/>
                  <a:gd name="T73" fmla="*/ 13 h 23"/>
                  <a:gd name="T74" fmla="*/ 0 w 39"/>
                  <a:gd name="T75" fmla="*/ 12 h 23"/>
                  <a:gd name="T76" fmla="*/ 0 w 39"/>
                  <a:gd name="T77" fmla="*/ 10 h 23"/>
                  <a:gd name="T78" fmla="*/ 3 w 39"/>
                  <a:gd name="T79" fmla="*/ 7 h 23"/>
                  <a:gd name="T80" fmla="*/ 6 w 39"/>
                  <a:gd name="T81" fmla="*/ 5 h 23"/>
                  <a:gd name="T82" fmla="*/ 10 w 39"/>
                  <a:gd name="T83" fmla="*/ 5 h 23"/>
                  <a:gd name="T84" fmla="*/ 10 w 39"/>
                  <a:gd name="T85" fmla="*/ 3 h 23"/>
                  <a:gd name="T86" fmla="*/ 14 w 39"/>
                  <a:gd name="T8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" h="23">
                    <a:moveTo>
                      <a:pt x="14" y="0"/>
                    </a:moveTo>
                    <a:lnTo>
                      <a:pt x="16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19" y="3"/>
                    </a:lnTo>
                    <a:lnTo>
                      <a:pt x="23" y="3"/>
                    </a:lnTo>
                    <a:lnTo>
                      <a:pt x="26" y="3"/>
                    </a:lnTo>
                    <a:lnTo>
                      <a:pt x="27" y="7"/>
                    </a:lnTo>
                    <a:lnTo>
                      <a:pt x="29" y="8"/>
                    </a:lnTo>
                    <a:lnTo>
                      <a:pt x="31" y="10"/>
                    </a:lnTo>
                    <a:lnTo>
                      <a:pt x="31" y="8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9" y="7"/>
                    </a:lnTo>
                    <a:lnTo>
                      <a:pt x="39" y="10"/>
                    </a:lnTo>
                    <a:lnTo>
                      <a:pt x="37" y="13"/>
                    </a:lnTo>
                    <a:lnTo>
                      <a:pt x="37" y="15"/>
                    </a:lnTo>
                    <a:lnTo>
                      <a:pt x="37" y="17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3"/>
                    </a:lnTo>
                    <a:lnTo>
                      <a:pt x="27" y="23"/>
                    </a:lnTo>
                    <a:lnTo>
                      <a:pt x="26" y="21"/>
                    </a:lnTo>
                    <a:lnTo>
                      <a:pt x="24" y="18"/>
                    </a:lnTo>
                    <a:lnTo>
                      <a:pt x="21" y="18"/>
                    </a:lnTo>
                    <a:lnTo>
                      <a:pt x="21" y="20"/>
                    </a:lnTo>
                    <a:lnTo>
                      <a:pt x="23" y="20"/>
                    </a:lnTo>
                    <a:lnTo>
                      <a:pt x="23" y="21"/>
                    </a:lnTo>
                    <a:lnTo>
                      <a:pt x="16" y="20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xmlns="" id="{A13A2B60-88A1-47FD-8039-68C9C7258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6" y="1753"/>
                <a:ext cx="20" cy="41"/>
              </a:xfrm>
              <a:custGeom>
                <a:avLst/>
                <a:gdLst>
                  <a:gd name="T0" fmla="*/ 2 w 20"/>
                  <a:gd name="T1" fmla="*/ 10 h 41"/>
                  <a:gd name="T2" fmla="*/ 2 w 20"/>
                  <a:gd name="T3" fmla="*/ 10 h 41"/>
                  <a:gd name="T4" fmla="*/ 2 w 20"/>
                  <a:gd name="T5" fmla="*/ 8 h 41"/>
                  <a:gd name="T6" fmla="*/ 3 w 20"/>
                  <a:gd name="T7" fmla="*/ 7 h 41"/>
                  <a:gd name="T8" fmla="*/ 5 w 20"/>
                  <a:gd name="T9" fmla="*/ 7 h 41"/>
                  <a:gd name="T10" fmla="*/ 5 w 20"/>
                  <a:gd name="T11" fmla="*/ 8 h 41"/>
                  <a:gd name="T12" fmla="*/ 7 w 20"/>
                  <a:gd name="T13" fmla="*/ 8 h 41"/>
                  <a:gd name="T14" fmla="*/ 7 w 20"/>
                  <a:gd name="T15" fmla="*/ 8 h 41"/>
                  <a:gd name="T16" fmla="*/ 8 w 20"/>
                  <a:gd name="T17" fmla="*/ 8 h 41"/>
                  <a:gd name="T18" fmla="*/ 8 w 20"/>
                  <a:gd name="T19" fmla="*/ 7 h 41"/>
                  <a:gd name="T20" fmla="*/ 10 w 20"/>
                  <a:gd name="T21" fmla="*/ 3 h 41"/>
                  <a:gd name="T22" fmla="*/ 11 w 20"/>
                  <a:gd name="T23" fmla="*/ 2 h 41"/>
                  <a:gd name="T24" fmla="*/ 11 w 20"/>
                  <a:gd name="T25" fmla="*/ 0 h 41"/>
                  <a:gd name="T26" fmla="*/ 13 w 20"/>
                  <a:gd name="T27" fmla="*/ 0 h 41"/>
                  <a:gd name="T28" fmla="*/ 15 w 20"/>
                  <a:gd name="T29" fmla="*/ 0 h 41"/>
                  <a:gd name="T30" fmla="*/ 15 w 20"/>
                  <a:gd name="T31" fmla="*/ 2 h 41"/>
                  <a:gd name="T32" fmla="*/ 16 w 20"/>
                  <a:gd name="T33" fmla="*/ 0 h 41"/>
                  <a:gd name="T34" fmla="*/ 20 w 20"/>
                  <a:gd name="T35" fmla="*/ 0 h 41"/>
                  <a:gd name="T36" fmla="*/ 20 w 20"/>
                  <a:gd name="T37" fmla="*/ 2 h 41"/>
                  <a:gd name="T38" fmla="*/ 18 w 20"/>
                  <a:gd name="T39" fmla="*/ 3 h 41"/>
                  <a:gd name="T40" fmla="*/ 18 w 20"/>
                  <a:gd name="T41" fmla="*/ 12 h 41"/>
                  <a:gd name="T42" fmla="*/ 16 w 20"/>
                  <a:gd name="T43" fmla="*/ 15 h 41"/>
                  <a:gd name="T44" fmla="*/ 16 w 20"/>
                  <a:gd name="T45" fmla="*/ 20 h 41"/>
                  <a:gd name="T46" fmla="*/ 18 w 20"/>
                  <a:gd name="T47" fmla="*/ 21 h 41"/>
                  <a:gd name="T48" fmla="*/ 18 w 20"/>
                  <a:gd name="T49" fmla="*/ 26 h 41"/>
                  <a:gd name="T50" fmla="*/ 16 w 20"/>
                  <a:gd name="T51" fmla="*/ 31 h 41"/>
                  <a:gd name="T52" fmla="*/ 11 w 20"/>
                  <a:gd name="T53" fmla="*/ 36 h 41"/>
                  <a:gd name="T54" fmla="*/ 10 w 20"/>
                  <a:gd name="T55" fmla="*/ 35 h 41"/>
                  <a:gd name="T56" fmla="*/ 7 w 20"/>
                  <a:gd name="T57" fmla="*/ 38 h 41"/>
                  <a:gd name="T58" fmla="*/ 5 w 20"/>
                  <a:gd name="T59" fmla="*/ 41 h 41"/>
                  <a:gd name="T60" fmla="*/ 5 w 20"/>
                  <a:gd name="T61" fmla="*/ 41 h 41"/>
                  <a:gd name="T62" fmla="*/ 3 w 20"/>
                  <a:gd name="T63" fmla="*/ 41 h 41"/>
                  <a:gd name="T64" fmla="*/ 3 w 20"/>
                  <a:gd name="T65" fmla="*/ 41 h 41"/>
                  <a:gd name="T66" fmla="*/ 0 w 20"/>
                  <a:gd name="T67" fmla="*/ 41 h 41"/>
                  <a:gd name="T68" fmla="*/ 2 w 20"/>
                  <a:gd name="T69" fmla="*/ 10 h 41"/>
                  <a:gd name="T70" fmla="*/ 2 w 20"/>
                  <a:gd name="T71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41">
                    <a:moveTo>
                      <a:pt x="2" y="10"/>
                    </a:moveTo>
                    <a:lnTo>
                      <a:pt x="2" y="10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3"/>
                    </a:lnTo>
                    <a:lnTo>
                      <a:pt x="18" y="12"/>
                    </a:lnTo>
                    <a:lnTo>
                      <a:pt x="16" y="15"/>
                    </a:lnTo>
                    <a:lnTo>
                      <a:pt x="16" y="20"/>
                    </a:lnTo>
                    <a:lnTo>
                      <a:pt x="18" y="21"/>
                    </a:lnTo>
                    <a:lnTo>
                      <a:pt x="18" y="26"/>
                    </a:lnTo>
                    <a:lnTo>
                      <a:pt x="16" y="31"/>
                    </a:lnTo>
                    <a:lnTo>
                      <a:pt x="11" y="36"/>
                    </a:lnTo>
                    <a:lnTo>
                      <a:pt x="10" y="35"/>
                    </a:lnTo>
                    <a:lnTo>
                      <a:pt x="7" y="38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0" y="41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xmlns="" id="{AE271111-6797-4053-B24C-1592CFDDA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7" y="1763"/>
                <a:ext cx="65" cy="70"/>
              </a:xfrm>
              <a:custGeom>
                <a:avLst/>
                <a:gdLst>
                  <a:gd name="T0" fmla="*/ 33 w 65"/>
                  <a:gd name="T1" fmla="*/ 70 h 70"/>
                  <a:gd name="T2" fmla="*/ 33 w 65"/>
                  <a:gd name="T3" fmla="*/ 69 h 70"/>
                  <a:gd name="T4" fmla="*/ 33 w 65"/>
                  <a:gd name="T5" fmla="*/ 67 h 70"/>
                  <a:gd name="T6" fmla="*/ 36 w 65"/>
                  <a:gd name="T7" fmla="*/ 64 h 70"/>
                  <a:gd name="T8" fmla="*/ 39 w 65"/>
                  <a:gd name="T9" fmla="*/ 62 h 70"/>
                  <a:gd name="T10" fmla="*/ 43 w 65"/>
                  <a:gd name="T11" fmla="*/ 62 h 70"/>
                  <a:gd name="T12" fmla="*/ 43 w 65"/>
                  <a:gd name="T13" fmla="*/ 60 h 70"/>
                  <a:gd name="T14" fmla="*/ 47 w 65"/>
                  <a:gd name="T15" fmla="*/ 57 h 70"/>
                  <a:gd name="T16" fmla="*/ 49 w 65"/>
                  <a:gd name="T17" fmla="*/ 52 h 70"/>
                  <a:gd name="T18" fmla="*/ 47 w 65"/>
                  <a:gd name="T19" fmla="*/ 49 h 70"/>
                  <a:gd name="T20" fmla="*/ 51 w 65"/>
                  <a:gd name="T21" fmla="*/ 47 h 70"/>
                  <a:gd name="T22" fmla="*/ 56 w 65"/>
                  <a:gd name="T23" fmla="*/ 43 h 70"/>
                  <a:gd name="T24" fmla="*/ 57 w 65"/>
                  <a:gd name="T25" fmla="*/ 43 h 70"/>
                  <a:gd name="T26" fmla="*/ 62 w 65"/>
                  <a:gd name="T27" fmla="*/ 39 h 70"/>
                  <a:gd name="T28" fmla="*/ 62 w 65"/>
                  <a:gd name="T29" fmla="*/ 38 h 70"/>
                  <a:gd name="T30" fmla="*/ 65 w 65"/>
                  <a:gd name="T31" fmla="*/ 36 h 70"/>
                  <a:gd name="T32" fmla="*/ 65 w 65"/>
                  <a:gd name="T33" fmla="*/ 34 h 70"/>
                  <a:gd name="T34" fmla="*/ 64 w 65"/>
                  <a:gd name="T35" fmla="*/ 33 h 70"/>
                  <a:gd name="T36" fmla="*/ 60 w 65"/>
                  <a:gd name="T37" fmla="*/ 33 h 70"/>
                  <a:gd name="T38" fmla="*/ 60 w 65"/>
                  <a:gd name="T39" fmla="*/ 34 h 70"/>
                  <a:gd name="T40" fmla="*/ 57 w 65"/>
                  <a:gd name="T41" fmla="*/ 33 h 70"/>
                  <a:gd name="T42" fmla="*/ 56 w 65"/>
                  <a:gd name="T43" fmla="*/ 33 h 70"/>
                  <a:gd name="T44" fmla="*/ 54 w 65"/>
                  <a:gd name="T45" fmla="*/ 31 h 70"/>
                  <a:gd name="T46" fmla="*/ 52 w 65"/>
                  <a:gd name="T47" fmla="*/ 31 h 70"/>
                  <a:gd name="T48" fmla="*/ 52 w 65"/>
                  <a:gd name="T49" fmla="*/ 31 h 70"/>
                  <a:gd name="T50" fmla="*/ 49 w 65"/>
                  <a:gd name="T51" fmla="*/ 31 h 70"/>
                  <a:gd name="T52" fmla="*/ 51 w 65"/>
                  <a:gd name="T53" fmla="*/ 0 h 70"/>
                  <a:gd name="T54" fmla="*/ 51 w 65"/>
                  <a:gd name="T55" fmla="*/ 0 h 70"/>
                  <a:gd name="T56" fmla="*/ 23 w 65"/>
                  <a:gd name="T57" fmla="*/ 0 h 70"/>
                  <a:gd name="T58" fmla="*/ 21 w 65"/>
                  <a:gd name="T59" fmla="*/ 8 h 70"/>
                  <a:gd name="T60" fmla="*/ 15 w 65"/>
                  <a:gd name="T61" fmla="*/ 10 h 70"/>
                  <a:gd name="T62" fmla="*/ 18 w 65"/>
                  <a:gd name="T63" fmla="*/ 11 h 70"/>
                  <a:gd name="T64" fmla="*/ 18 w 65"/>
                  <a:gd name="T65" fmla="*/ 13 h 70"/>
                  <a:gd name="T66" fmla="*/ 21 w 65"/>
                  <a:gd name="T67" fmla="*/ 16 h 70"/>
                  <a:gd name="T68" fmla="*/ 23 w 65"/>
                  <a:gd name="T69" fmla="*/ 18 h 70"/>
                  <a:gd name="T70" fmla="*/ 25 w 65"/>
                  <a:gd name="T71" fmla="*/ 18 h 70"/>
                  <a:gd name="T72" fmla="*/ 26 w 65"/>
                  <a:gd name="T73" fmla="*/ 20 h 70"/>
                  <a:gd name="T74" fmla="*/ 26 w 65"/>
                  <a:gd name="T75" fmla="*/ 23 h 70"/>
                  <a:gd name="T76" fmla="*/ 28 w 65"/>
                  <a:gd name="T77" fmla="*/ 23 h 70"/>
                  <a:gd name="T78" fmla="*/ 31 w 65"/>
                  <a:gd name="T79" fmla="*/ 23 h 70"/>
                  <a:gd name="T80" fmla="*/ 33 w 65"/>
                  <a:gd name="T81" fmla="*/ 25 h 70"/>
                  <a:gd name="T82" fmla="*/ 33 w 65"/>
                  <a:gd name="T83" fmla="*/ 26 h 70"/>
                  <a:gd name="T84" fmla="*/ 31 w 65"/>
                  <a:gd name="T85" fmla="*/ 29 h 70"/>
                  <a:gd name="T86" fmla="*/ 10 w 65"/>
                  <a:gd name="T87" fmla="*/ 29 h 70"/>
                  <a:gd name="T88" fmla="*/ 2 w 65"/>
                  <a:gd name="T89" fmla="*/ 44 h 70"/>
                  <a:gd name="T90" fmla="*/ 2 w 65"/>
                  <a:gd name="T91" fmla="*/ 47 h 70"/>
                  <a:gd name="T92" fmla="*/ 2 w 65"/>
                  <a:gd name="T93" fmla="*/ 47 h 70"/>
                  <a:gd name="T94" fmla="*/ 2 w 65"/>
                  <a:gd name="T95" fmla="*/ 49 h 70"/>
                  <a:gd name="T96" fmla="*/ 2 w 65"/>
                  <a:gd name="T97" fmla="*/ 51 h 70"/>
                  <a:gd name="T98" fmla="*/ 3 w 65"/>
                  <a:gd name="T99" fmla="*/ 51 h 70"/>
                  <a:gd name="T100" fmla="*/ 2 w 65"/>
                  <a:gd name="T101" fmla="*/ 52 h 70"/>
                  <a:gd name="T102" fmla="*/ 2 w 65"/>
                  <a:gd name="T103" fmla="*/ 54 h 70"/>
                  <a:gd name="T104" fmla="*/ 0 w 65"/>
                  <a:gd name="T105" fmla="*/ 56 h 70"/>
                  <a:gd name="T106" fmla="*/ 0 w 65"/>
                  <a:gd name="T107" fmla="*/ 56 h 70"/>
                  <a:gd name="T108" fmla="*/ 2 w 65"/>
                  <a:gd name="T109" fmla="*/ 59 h 70"/>
                  <a:gd name="T110" fmla="*/ 5 w 65"/>
                  <a:gd name="T111" fmla="*/ 62 h 70"/>
                  <a:gd name="T112" fmla="*/ 7 w 65"/>
                  <a:gd name="T113" fmla="*/ 62 h 70"/>
                  <a:gd name="T114" fmla="*/ 8 w 65"/>
                  <a:gd name="T115" fmla="*/ 65 h 70"/>
                  <a:gd name="T116" fmla="*/ 16 w 65"/>
                  <a:gd name="T117" fmla="*/ 69 h 70"/>
                  <a:gd name="T118" fmla="*/ 21 w 65"/>
                  <a:gd name="T119" fmla="*/ 69 h 70"/>
                  <a:gd name="T120" fmla="*/ 26 w 65"/>
                  <a:gd name="T121" fmla="*/ 69 h 70"/>
                  <a:gd name="T122" fmla="*/ 33 w 65"/>
                  <a:gd name="T12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5" h="70">
                    <a:moveTo>
                      <a:pt x="33" y="70"/>
                    </a:moveTo>
                    <a:lnTo>
                      <a:pt x="33" y="69"/>
                    </a:lnTo>
                    <a:lnTo>
                      <a:pt x="33" y="67"/>
                    </a:lnTo>
                    <a:lnTo>
                      <a:pt x="36" y="64"/>
                    </a:lnTo>
                    <a:lnTo>
                      <a:pt x="39" y="62"/>
                    </a:lnTo>
                    <a:lnTo>
                      <a:pt x="43" y="62"/>
                    </a:lnTo>
                    <a:lnTo>
                      <a:pt x="43" y="60"/>
                    </a:lnTo>
                    <a:lnTo>
                      <a:pt x="47" y="57"/>
                    </a:lnTo>
                    <a:lnTo>
                      <a:pt x="49" y="52"/>
                    </a:lnTo>
                    <a:lnTo>
                      <a:pt x="47" y="49"/>
                    </a:lnTo>
                    <a:lnTo>
                      <a:pt x="51" y="47"/>
                    </a:lnTo>
                    <a:lnTo>
                      <a:pt x="56" y="43"/>
                    </a:lnTo>
                    <a:lnTo>
                      <a:pt x="57" y="43"/>
                    </a:lnTo>
                    <a:lnTo>
                      <a:pt x="62" y="39"/>
                    </a:lnTo>
                    <a:lnTo>
                      <a:pt x="62" y="38"/>
                    </a:lnTo>
                    <a:lnTo>
                      <a:pt x="65" y="36"/>
                    </a:lnTo>
                    <a:lnTo>
                      <a:pt x="65" y="34"/>
                    </a:lnTo>
                    <a:lnTo>
                      <a:pt x="64" y="33"/>
                    </a:lnTo>
                    <a:lnTo>
                      <a:pt x="60" y="33"/>
                    </a:lnTo>
                    <a:lnTo>
                      <a:pt x="60" y="34"/>
                    </a:lnTo>
                    <a:lnTo>
                      <a:pt x="57" y="33"/>
                    </a:lnTo>
                    <a:lnTo>
                      <a:pt x="56" y="33"/>
                    </a:lnTo>
                    <a:lnTo>
                      <a:pt x="54" y="31"/>
                    </a:lnTo>
                    <a:lnTo>
                      <a:pt x="52" y="31"/>
                    </a:lnTo>
                    <a:lnTo>
                      <a:pt x="52" y="31"/>
                    </a:lnTo>
                    <a:lnTo>
                      <a:pt x="49" y="31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23" y="0"/>
                    </a:lnTo>
                    <a:lnTo>
                      <a:pt x="21" y="8"/>
                    </a:lnTo>
                    <a:lnTo>
                      <a:pt x="15" y="10"/>
                    </a:lnTo>
                    <a:lnTo>
                      <a:pt x="18" y="11"/>
                    </a:lnTo>
                    <a:lnTo>
                      <a:pt x="18" y="13"/>
                    </a:lnTo>
                    <a:lnTo>
                      <a:pt x="21" y="16"/>
                    </a:lnTo>
                    <a:lnTo>
                      <a:pt x="23" y="18"/>
                    </a:lnTo>
                    <a:lnTo>
                      <a:pt x="25" y="18"/>
                    </a:lnTo>
                    <a:lnTo>
                      <a:pt x="26" y="20"/>
                    </a:lnTo>
                    <a:lnTo>
                      <a:pt x="26" y="23"/>
                    </a:lnTo>
                    <a:lnTo>
                      <a:pt x="2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6"/>
                    </a:lnTo>
                    <a:lnTo>
                      <a:pt x="31" y="29"/>
                    </a:lnTo>
                    <a:lnTo>
                      <a:pt x="10" y="29"/>
                    </a:lnTo>
                    <a:lnTo>
                      <a:pt x="2" y="44"/>
                    </a:lnTo>
                    <a:lnTo>
                      <a:pt x="2" y="47"/>
                    </a:lnTo>
                    <a:lnTo>
                      <a:pt x="2" y="47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9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8" y="65"/>
                    </a:lnTo>
                    <a:lnTo>
                      <a:pt x="16" y="69"/>
                    </a:lnTo>
                    <a:lnTo>
                      <a:pt x="21" y="69"/>
                    </a:lnTo>
                    <a:lnTo>
                      <a:pt x="26" y="69"/>
                    </a:lnTo>
                    <a:lnTo>
                      <a:pt x="33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xmlns="" id="{A0DAB66E-7577-45ED-A4B4-43F3411A4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1" y="1475"/>
                <a:ext cx="452" cy="344"/>
              </a:xfrm>
              <a:custGeom>
                <a:avLst/>
                <a:gdLst>
                  <a:gd name="T0" fmla="*/ 170 w 452"/>
                  <a:gd name="T1" fmla="*/ 32 h 344"/>
                  <a:gd name="T2" fmla="*/ 181 w 452"/>
                  <a:gd name="T3" fmla="*/ 48 h 344"/>
                  <a:gd name="T4" fmla="*/ 188 w 452"/>
                  <a:gd name="T5" fmla="*/ 66 h 344"/>
                  <a:gd name="T6" fmla="*/ 201 w 452"/>
                  <a:gd name="T7" fmla="*/ 76 h 344"/>
                  <a:gd name="T8" fmla="*/ 216 w 452"/>
                  <a:gd name="T9" fmla="*/ 76 h 344"/>
                  <a:gd name="T10" fmla="*/ 234 w 452"/>
                  <a:gd name="T11" fmla="*/ 66 h 344"/>
                  <a:gd name="T12" fmla="*/ 250 w 452"/>
                  <a:gd name="T13" fmla="*/ 87 h 344"/>
                  <a:gd name="T14" fmla="*/ 263 w 452"/>
                  <a:gd name="T15" fmla="*/ 115 h 344"/>
                  <a:gd name="T16" fmla="*/ 281 w 452"/>
                  <a:gd name="T17" fmla="*/ 139 h 344"/>
                  <a:gd name="T18" fmla="*/ 292 w 452"/>
                  <a:gd name="T19" fmla="*/ 146 h 344"/>
                  <a:gd name="T20" fmla="*/ 284 w 452"/>
                  <a:gd name="T21" fmla="*/ 161 h 344"/>
                  <a:gd name="T22" fmla="*/ 279 w 452"/>
                  <a:gd name="T23" fmla="*/ 203 h 344"/>
                  <a:gd name="T24" fmla="*/ 283 w 452"/>
                  <a:gd name="T25" fmla="*/ 229 h 344"/>
                  <a:gd name="T26" fmla="*/ 309 w 452"/>
                  <a:gd name="T27" fmla="*/ 270 h 344"/>
                  <a:gd name="T28" fmla="*/ 343 w 452"/>
                  <a:gd name="T29" fmla="*/ 277 h 344"/>
                  <a:gd name="T30" fmla="*/ 371 w 452"/>
                  <a:gd name="T31" fmla="*/ 280 h 344"/>
                  <a:gd name="T32" fmla="*/ 385 w 452"/>
                  <a:gd name="T33" fmla="*/ 255 h 344"/>
                  <a:gd name="T34" fmla="*/ 426 w 452"/>
                  <a:gd name="T35" fmla="*/ 224 h 344"/>
                  <a:gd name="T36" fmla="*/ 446 w 452"/>
                  <a:gd name="T37" fmla="*/ 239 h 344"/>
                  <a:gd name="T38" fmla="*/ 434 w 452"/>
                  <a:gd name="T39" fmla="*/ 265 h 344"/>
                  <a:gd name="T40" fmla="*/ 428 w 452"/>
                  <a:gd name="T41" fmla="*/ 270 h 344"/>
                  <a:gd name="T42" fmla="*/ 412 w 452"/>
                  <a:gd name="T43" fmla="*/ 286 h 344"/>
                  <a:gd name="T44" fmla="*/ 374 w 452"/>
                  <a:gd name="T45" fmla="*/ 301 h 344"/>
                  <a:gd name="T46" fmla="*/ 366 w 452"/>
                  <a:gd name="T47" fmla="*/ 317 h 344"/>
                  <a:gd name="T48" fmla="*/ 353 w 452"/>
                  <a:gd name="T49" fmla="*/ 340 h 344"/>
                  <a:gd name="T50" fmla="*/ 322 w 452"/>
                  <a:gd name="T51" fmla="*/ 314 h 344"/>
                  <a:gd name="T52" fmla="*/ 320 w 452"/>
                  <a:gd name="T53" fmla="*/ 316 h 344"/>
                  <a:gd name="T54" fmla="*/ 315 w 452"/>
                  <a:gd name="T55" fmla="*/ 317 h 344"/>
                  <a:gd name="T56" fmla="*/ 263 w 452"/>
                  <a:gd name="T57" fmla="*/ 316 h 344"/>
                  <a:gd name="T58" fmla="*/ 229 w 452"/>
                  <a:gd name="T59" fmla="*/ 301 h 344"/>
                  <a:gd name="T60" fmla="*/ 189 w 452"/>
                  <a:gd name="T61" fmla="*/ 281 h 344"/>
                  <a:gd name="T62" fmla="*/ 163 w 452"/>
                  <a:gd name="T63" fmla="*/ 264 h 344"/>
                  <a:gd name="T64" fmla="*/ 155 w 452"/>
                  <a:gd name="T65" fmla="*/ 239 h 344"/>
                  <a:gd name="T66" fmla="*/ 154 w 452"/>
                  <a:gd name="T67" fmla="*/ 205 h 344"/>
                  <a:gd name="T68" fmla="*/ 121 w 452"/>
                  <a:gd name="T69" fmla="*/ 162 h 344"/>
                  <a:gd name="T70" fmla="*/ 105 w 452"/>
                  <a:gd name="T71" fmla="*/ 143 h 344"/>
                  <a:gd name="T72" fmla="*/ 106 w 452"/>
                  <a:gd name="T73" fmla="*/ 126 h 344"/>
                  <a:gd name="T74" fmla="*/ 88 w 452"/>
                  <a:gd name="T75" fmla="*/ 103 h 344"/>
                  <a:gd name="T76" fmla="*/ 72 w 452"/>
                  <a:gd name="T77" fmla="*/ 85 h 344"/>
                  <a:gd name="T78" fmla="*/ 60 w 452"/>
                  <a:gd name="T79" fmla="*/ 58 h 344"/>
                  <a:gd name="T80" fmla="*/ 51 w 452"/>
                  <a:gd name="T81" fmla="*/ 30 h 344"/>
                  <a:gd name="T82" fmla="*/ 33 w 452"/>
                  <a:gd name="T83" fmla="*/ 32 h 344"/>
                  <a:gd name="T84" fmla="*/ 44 w 452"/>
                  <a:gd name="T85" fmla="*/ 74 h 344"/>
                  <a:gd name="T86" fmla="*/ 59 w 452"/>
                  <a:gd name="T87" fmla="*/ 102 h 344"/>
                  <a:gd name="T88" fmla="*/ 70 w 452"/>
                  <a:gd name="T89" fmla="*/ 118 h 344"/>
                  <a:gd name="T90" fmla="*/ 77 w 452"/>
                  <a:gd name="T91" fmla="*/ 149 h 344"/>
                  <a:gd name="T92" fmla="*/ 85 w 452"/>
                  <a:gd name="T93" fmla="*/ 167 h 344"/>
                  <a:gd name="T94" fmla="*/ 90 w 452"/>
                  <a:gd name="T95" fmla="*/ 193 h 344"/>
                  <a:gd name="T96" fmla="*/ 67 w 452"/>
                  <a:gd name="T97" fmla="*/ 165 h 344"/>
                  <a:gd name="T98" fmla="*/ 56 w 452"/>
                  <a:gd name="T99" fmla="*/ 130 h 344"/>
                  <a:gd name="T100" fmla="*/ 38 w 452"/>
                  <a:gd name="T101" fmla="*/ 116 h 344"/>
                  <a:gd name="T102" fmla="*/ 25 w 452"/>
                  <a:gd name="T103" fmla="*/ 98 h 344"/>
                  <a:gd name="T104" fmla="*/ 34 w 452"/>
                  <a:gd name="T105" fmla="*/ 90 h 344"/>
                  <a:gd name="T106" fmla="*/ 15 w 452"/>
                  <a:gd name="T107" fmla="*/ 61 h 344"/>
                  <a:gd name="T108" fmla="*/ 10 w 452"/>
                  <a:gd name="T109" fmla="*/ 32 h 344"/>
                  <a:gd name="T110" fmla="*/ 83 w 452"/>
                  <a:gd name="T111" fmla="*/ 156 h 344"/>
                  <a:gd name="T112" fmla="*/ 83 w 452"/>
                  <a:gd name="T113" fmla="*/ 164 h 344"/>
                  <a:gd name="T114" fmla="*/ 286 w 452"/>
                  <a:gd name="T115" fmla="*/ 16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2" h="344">
                    <a:moveTo>
                      <a:pt x="0" y="2"/>
                    </a:moveTo>
                    <a:lnTo>
                      <a:pt x="38" y="0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91" y="28"/>
                    </a:lnTo>
                    <a:lnTo>
                      <a:pt x="137" y="30"/>
                    </a:lnTo>
                    <a:lnTo>
                      <a:pt x="137" y="23"/>
                    </a:lnTo>
                    <a:lnTo>
                      <a:pt x="162" y="25"/>
                    </a:lnTo>
                    <a:lnTo>
                      <a:pt x="165" y="27"/>
                    </a:lnTo>
                    <a:lnTo>
                      <a:pt x="168" y="30"/>
                    </a:lnTo>
                    <a:lnTo>
                      <a:pt x="170" y="32"/>
                    </a:lnTo>
                    <a:lnTo>
                      <a:pt x="170" y="33"/>
                    </a:lnTo>
                    <a:lnTo>
                      <a:pt x="171" y="33"/>
                    </a:lnTo>
                    <a:lnTo>
                      <a:pt x="173" y="36"/>
                    </a:lnTo>
                    <a:lnTo>
                      <a:pt x="171" y="38"/>
                    </a:lnTo>
                    <a:lnTo>
                      <a:pt x="175" y="38"/>
                    </a:lnTo>
                    <a:lnTo>
                      <a:pt x="176" y="40"/>
                    </a:lnTo>
                    <a:lnTo>
                      <a:pt x="176" y="41"/>
                    </a:lnTo>
                    <a:lnTo>
                      <a:pt x="176" y="43"/>
                    </a:lnTo>
                    <a:lnTo>
                      <a:pt x="178" y="43"/>
                    </a:lnTo>
                    <a:lnTo>
                      <a:pt x="180" y="45"/>
                    </a:lnTo>
                    <a:lnTo>
                      <a:pt x="181" y="48"/>
                    </a:lnTo>
                    <a:lnTo>
                      <a:pt x="181" y="51"/>
                    </a:lnTo>
                    <a:lnTo>
                      <a:pt x="183" y="53"/>
                    </a:lnTo>
                    <a:lnTo>
                      <a:pt x="185" y="53"/>
                    </a:lnTo>
                    <a:lnTo>
                      <a:pt x="185" y="54"/>
                    </a:lnTo>
                    <a:lnTo>
                      <a:pt x="186" y="56"/>
                    </a:lnTo>
                    <a:lnTo>
                      <a:pt x="186" y="58"/>
                    </a:lnTo>
                    <a:lnTo>
                      <a:pt x="185" y="59"/>
                    </a:lnTo>
                    <a:lnTo>
                      <a:pt x="183" y="59"/>
                    </a:lnTo>
                    <a:lnTo>
                      <a:pt x="183" y="61"/>
                    </a:lnTo>
                    <a:lnTo>
                      <a:pt x="186" y="64"/>
                    </a:lnTo>
                    <a:lnTo>
                      <a:pt x="188" y="66"/>
                    </a:lnTo>
                    <a:lnTo>
                      <a:pt x="189" y="69"/>
                    </a:lnTo>
                    <a:lnTo>
                      <a:pt x="189" y="69"/>
                    </a:lnTo>
                    <a:lnTo>
                      <a:pt x="189" y="69"/>
                    </a:lnTo>
                    <a:lnTo>
                      <a:pt x="191" y="71"/>
                    </a:lnTo>
                    <a:lnTo>
                      <a:pt x="193" y="71"/>
                    </a:lnTo>
                    <a:lnTo>
                      <a:pt x="194" y="71"/>
                    </a:lnTo>
                    <a:lnTo>
                      <a:pt x="194" y="72"/>
                    </a:lnTo>
                    <a:lnTo>
                      <a:pt x="194" y="74"/>
                    </a:lnTo>
                    <a:lnTo>
                      <a:pt x="196" y="74"/>
                    </a:lnTo>
                    <a:lnTo>
                      <a:pt x="198" y="74"/>
                    </a:lnTo>
                    <a:lnTo>
                      <a:pt x="201" y="76"/>
                    </a:lnTo>
                    <a:lnTo>
                      <a:pt x="201" y="77"/>
                    </a:lnTo>
                    <a:lnTo>
                      <a:pt x="204" y="79"/>
                    </a:lnTo>
                    <a:lnTo>
                      <a:pt x="207" y="81"/>
                    </a:lnTo>
                    <a:lnTo>
                      <a:pt x="207" y="81"/>
                    </a:lnTo>
                    <a:lnTo>
                      <a:pt x="209" y="82"/>
                    </a:lnTo>
                    <a:lnTo>
                      <a:pt x="211" y="81"/>
                    </a:lnTo>
                    <a:lnTo>
                      <a:pt x="211" y="81"/>
                    </a:lnTo>
                    <a:lnTo>
                      <a:pt x="214" y="77"/>
                    </a:lnTo>
                    <a:lnTo>
                      <a:pt x="216" y="77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6" y="74"/>
                    </a:lnTo>
                    <a:lnTo>
                      <a:pt x="219" y="69"/>
                    </a:lnTo>
                    <a:lnTo>
                      <a:pt x="220" y="67"/>
                    </a:lnTo>
                    <a:lnTo>
                      <a:pt x="222" y="67"/>
                    </a:lnTo>
                    <a:lnTo>
                      <a:pt x="224" y="67"/>
                    </a:lnTo>
                    <a:lnTo>
                      <a:pt x="224" y="67"/>
                    </a:lnTo>
                    <a:lnTo>
                      <a:pt x="225" y="67"/>
                    </a:lnTo>
                    <a:lnTo>
                      <a:pt x="225" y="66"/>
                    </a:lnTo>
                    <a:lnTo>
                      <a:pt x="229" y="66"/>
                    </a:lnTo>
                    <a:lnTo>
                      <a:pt x="232" y="66"/>
                    </a:lnTo>
                    <a:lnTo>
                      <a:pt x="234" y="66"/>
                    </a:lnTo>
                    <a:lnTo>
                      <a:pt x="235" y="66"/>
                    </a:lnTo>
                    <a:lnTo>
                      <a:pt x="237" y="67"/>
                    </a:lnTo>
                    <a:lnTo>
                      <a:pt x="238" y="67"/>
                    </a:lnTo>
                    <a:lnTo>
                      <a:pt x="240" y="67"/>
                    </a:lnTo>
                    <a:lnTo>
                      <a:pt x="242" y="71"/>
                    </a:lnTo>
                    <a:lnTo>
                      <a:pt x="245" y="72"/>
                    </a:lnTo>
                    <a:lnTo>
                      <a:pt x="247" y="77"/>
                    </a:lnTo>
                    <a:lnTo>
                      <a:pt x="248" y="81"/>
                    </a:lnTo>
                    <a:lnTo>
                      <a:pt x="250" y="82"/>
                    </a:lnTo>
                    <a:lnTo>
                      <a:pt x="250" y="84"/>
                    </a:lnTo>
                    <a:lnTo>
                      <a:pt x="250" y="87"/>
                    </a:lnTo>
                    <a:lnTo>
                      <a:pt x="252" y="89"/>
                    </a:lnTo>
                    <a:lnTo>
                      <a:pt x="252" y="90"/>
                    </a:lnTo>
                    <a:lnTo>
                      <a:pt x="255" y="97"/>
                    </a:lnTo>
                    <a:lnTo>
                      <a:pt x="256" y="97"/>
                    </a:lnTo>
                    <a:lnTo>
                      <a:pt x="256" y="100"/>
                    </a:lnTo>
                    <a:lnTo>
                      <a:pt x="258" y="102"/>
                    </a:lnTo>
                    <a:lnTo>
                      <a:pt x="260" y="105"/>
                    </a:lnTo>
                    <a:lnTo>
                      <a:pt x="261" y="107"/>
                    </a:lnTo>
                    <a:lnTo>
                      <a:pt x="263" y="110"/>
                    </a:lnTo>
                    <a:lnTo>
                      <a:pt x="263" y="113"/>
                    </a:lnTo>
                    <a:lnTo>
                      <a:pt x="263" y="115"/>
                    </a:lnTo>
                    <a:lnTo>
                      <a:pt x="263" y="116"/>
                    </a:lnTo>
                    <a:lnTo>
                      <a:pt x="263" y="118"/>
                    </a:lnTo>
                    <a:lnTo>
                      <a:pt x="266" y="126"/>
                    </a:lnTo>
                    <a:lnTo>
                      <a:pt x="266" y="131"/>
                    </a:lnTo>
                    <a:lnTo>
                      <a:pt x="268" y="133"/>
                    </a:lnTo>
                    <a:lnTo>
                      <a:pt x="268" y="133"/>
                    </a:lnTo>
                    <a:lnTo>
                      <a:pt x="269" y="134"/>
                    </a:lnTo>
                    <a:lnTo>
                      <a:pt x="271" y="133"/>
                    </a:lnTo>
                    <a:lnTo>
                      <a:pt x="274" y="134"/>
                    </a:lnTo>
                    <a:lnTo>
                      <a:pt x="276" y="138"/>
                    </a:lnTo>
                    <a:lnTo>
                      <a:pt x="281" y="139"/>
                    </a:lnTo>
                    <a:lnTo>
                      <a:pt x="284" y="141"/>
                    </a:lnTo>
                    <a:lnTo>
                      <a:pt x="287" y="141"/>
                    </a:lnTo>
                    <a:lnTo>
                      <a:pt x="289" y="143"/>
                    </a:lnTo>
                    <a:lnTo>
                      <a:pt x="289" y="144"/>
                    </a:lnTo>
                    <a:lnTo>
                      <a:pt x="289" y="146"/>
                    </a:lnTo>
                    <a:lnTo>
                      <a:pt x="292" y="144"/>
                    </a:lnTo>
                    <a:lnTo>
                      <a:pt x="292" y="139"/>
                    </a:lnTo>
                    <a:lnTo>
                      <a:pt x="296" y="138"/>
                    </a:lnTo>
                    <a:lnTo>
                      <a:pt x="294" y="139"/>
                    </a:lnTo>
                    <a:lnTo>
                      <a:pt x="294" y="144"/>
                    </a:lnTo>
                    <a:lnTo>
                      <a:pt x="292" y="146"/>
                    </a:lnTo>
                    <a:lnTo>
                      <a:pt x="292" y="149"/>
                    </a:lnTo>
                    <a:lnTo>
                      <a:pt x="289" y="152"/>
                    </a:lnTo>
                    <a:lnTo>
                      <a:pt x="289" y="156"/>
                    </a:lnTo>
                    <a:lnTo>
                      <a:pt x="287" y="156"/>
                    </a:lnTo>
                    <a:lnTo>
                      <a:pt x="287" y="154"/>
                    </a:lnTo>
                    <a:lnTo>
                      <a:pt x="287" y="151"/>
                    </a:lnTo>
                    <a:lnTo>
                      <a:pt x="286" y="151"/>
                    </a:lnTo>
                    <a:lnTo>
                      <a:pt x="286" y="156"/>
                    </a:lnTo>
                    <a:lnTo>
                      <a:pt x="284" y="157"/>
                    </a:lnTo>
                    <a:lnTo>
                      <a:pt x="286" y="159"/>
                    </a:lnTo>
                    <a:lnTo>
                      <a:pt x="284" y="161"/>
                    </a:lnTo>
                    <a:lnTo>
                      <a:pt x="284" y="165"/>
                    </a:lnTo>
                    <a:lnTo>
                      <a:pt x="283" y="167"/>
                    </a:lnTo>
                    <a:lnTo>
                      <a:pt x="283" y="170"/>
                    </a:lnTo>
                    <a:lnTo>
                      <a:pt x="283" y="172"/>
                    </a:lnTo>
                    <a:lnTo>
                      <a:pt x="283" y="174"/>
                    </a:lnTo>
                    <a:lnTo>
                      <a:pt x="283" y="177"/>
                    </a:lnTo>
                    <a:lnTo>
                      <a:pt x="281" y="185"/>
                    </a:lnTo>
                    <a:lnTo>
                      <a:pt x="281" y="190"/>
                    </a:lnTo>
                    <a:lnTo>
                      <a:pt x="281" y="198"/>
                    </a:lnTo>
                    <a:lnTo>
                      <a:pt x="278" y="201"/>
                    </a:lnTo>
                    <a:lnTo>
                      <a:pt x="279" y="203"/>
                    </a:lnTo>
                    <a:lnTo>
                      <a:pt x="279" y="210"/>
                    </a:lnTo>
                    <a:lnTo>
                      <a:pt x="279" y="213"/>
                    </a:lnTo>
                    <a:lnTo>
                      <a:pt x="284" y="219"/>
                    </a:lnTo>
                    <a:lnTo>
                      <a:pt x="284" y="224"/>
                    </a:lnTo>
                    <a:lnTo>
                      <a:pt x="283" y="226"/>
                    </a:lnTo>
                    <a:lnTo>
                      <a:pt x="283" y="219"/>
                    </a:lnTo>
                    <a:lnTo>
                      <a:pt x="279" y="214"/>
                    </a:lnTo>
                    <a:lnTo>
                      <a:pt x="278" y="218"/>
                    </a:lnTo>
                    <a:lnTo>
                      <a:pt x="281" y="221"/>
                    </a:lnTo>
                    <a:lnTo>
                      <a:pt x="283" y="228"/>
                    </a:lnTo>
                    <a:lnTo>
                      <a:pt x="283" y="229"/>
                    </a:lnTo>
                    <a:lnTo>
                      <a:pt x="283" y="232"/>
                    </a:lnTo>
                    <a:lnTo>
                      <a:pt x="284" y="234"/>
                    </a:lnTo>
                    <a:lnTo>
                      <a:pt x="284" y="237"/>
                    </a:lnTo>
                    <a:lnTo>
                      <a:pt x="294" y="247"/>
                    </a:lnTo>
                    <a:lnTo>
                      <a:pt x="294" y="250"/>
                    </a:lnTo>
                    <a:lnTo>
                      <a:pt x="297" y="255"/>
                    </a:lnTo>
                    <a:lnTo>
                      <a:pt x="297" y="257"/>
                    </a:lnTo>
                    <a:lnTo>
                      <a:pt x="299" y="260"/>
                    </a:lnTo>
                    <a:lnTo>
                      <a:pt x="305" y="268"/>
                    </a:lnTo>
                    <a:lnTo>
                      <a:pt x="307" y="270"/>
                    </a:lnTo>
                    <a:lnTo>
                      <a:pt x="309" y="270"/>
                    </a:lnTo>
                    <a:lnTo>
                      <a:pt x="314" y="270"/>
                    </a:lnTo>
                    <a:lnTo>
                      <a:pt x="314" y="272"/>
                    </a:lnTo>
                    <a:lnTo>
                      <a:pt x="318" y="273"/>
                    </a:lnTo>
                    <a:lnTo>
                      <a:pt x="322" y="278"/>
                    </a:lnTo>
                    <a:lnTo>
                      <a:pt x="323" y="283"/>
                    </a:lnTo>
                    <a:lnTo>
                      <a:pt x="327" y="281"/>
                    </a:lnTo>
                    <a:lnTo>
                      <a:pt x="333" y="280"/>
                    </a:lnTo>
                    <a:lnTo>
                      <a:pt x="333" y="281"/>
                    </a:lnTo>
                    <a:lnTo>
                      <a:pt x="335" y="281"/>
                    </a:lnTo>
                    <a:lnTo>
                      <a:pt x="343" y="278"/>
                    </a:lnTo>
                    <a:lnTo>
                      <a:pt x="343" y="277"/>
                    </a:lnTo>
                    <a:lnTo>
                      <a:pt x="348" y="275"/>
                    </a:lnTo>
                    <a:lnTo>
                      <a:pt x="353" y="275"/>
                    </a:lnTo>
                    <a:lnTo>
                      <a:pt x="354" y="273"/>
                    </a:lnTo>
                    <a:lnTo>
                      <a:pt x="359" y="273"/>
                    </a:lnTo>
                    <a:lnTo>
                      <a:pt x="363" y="273"/>
                    </a:lnTo>
                    <a:lnTo>
                      <a:pt x="364" y="272"/>
                    </a:lnTo>
                    <a:lnTo>
                      <a:pt x="369" y="273"/>
                    </a:lnTo>
                    <a:lnTo>
                      <a:pt x="366" y="275"/>
                    </a:lnTo>
                    <a:lnTo>
                      <a:pt x="364" y="277"/>
                    </a:lnTo>
                    <a:lnTo>
                      <a:pt x="369" y="278"/>
                    </a:lnTo>
                    <a:lnTo>
                      <a:pt x="371" y="280"/>
                    </a:lnTo>
                    <a:lnTo>
                      <a:pt x="371" y="278"/>
                    </a:lnTo>
                    <a:lnTo>
                      <a:pt x="372" y="278"/>
                    </a:lnTo>
                    <a:lnTo>
                      <a:pt x="376" y="275"/>
                    </a:lnTo>
                    <a:lnTo>
                      <a:pt x="376" y="270"/>
                    </a:lnTo>
                    <a:lnTo>
                      <a:pt x="377" y="267"/>
                    </a:lnTo>
                    <a:lnTo>
                      <a:pt x="374" y="270"/>
                    </a:lnTo>
                    <a:lnTo>
                      <a:pt x="372" y="268"/>
                    </a:lnTo>
                    <a:lnTo>
                      <a:pt x="381" y="265"/>
                    </a:lnTo>
                    <a:lnTo>
                      <a:pt x="382" y="265"/>
                    </a:lnTo>
                    <a:lnTo>
                      <a:pt x="385" y="260"/>
                    </a:lnTo>
                    <a:lnTo>
                      <a:pt x="385" y="255"/>
                    </a:lnTo>
                    <a:lnTo>
                      <a:pt x="392" y="249"/>
                    </a:lnTo>
                    <a:lnTo>
                      <a:pt x="390" y="247"/>
                    </a:lnTo>
                    <a:lnTo>
                      <a:pt x="392" y="237"/>
                    </a:lnTo>
                    <a:lnTo>
                      <a:pt x="397" y="231"/>
                    </a:lnTo>
                    <a:lnTo>
                      <a:pt x="395" y="231"/>
                    </a:lnTo>
                    <a:lnTo>
                      <a:pt x="395" y="229"/>
                    </a:lnTo>
                    <a:lnTo>
                      <a:pt x="405" y="226"/>
                    </a:lnTo>
                    <a:lnTo>
                      <a:pt x="418" y="226"/>
                    </a:lnTo>
                    <a:lnTo>
                      <a:pt x="421" y="223"/>
                    </a:lnTo>
                    <a:lnTo>
                      <a:pt x="425" y="223"/>
                    </a:lnTo>
                    <a:lnTo>
                      <a:pt x="426" y="224"/>
                    </a:lnTo>
                    <a:lnTo>
                      <a:pt x="430" y="223"/>
                    </a:lnTo>
                    <a:lnTo>
                      <a:pt x="430" y="221"/>
                    </a:lnTo>
                    <a:lnTo>
                      <a:pt x="436" y="219"/>
                    </a:lnTo>
                    <a:lnTo>
                      <a:pt x="443" y="223"/>
                    </a:lnTo>
                    <a:lnTo>
                      <a:pt x="444" y="221"/>
                    </a:lnTo>
                    <a:lnTo>
                      <a:pt x="444" y="219"/>
                    </a:lnTo>
                    <a:lnTo>
                      <a:pt x="447" y="219"/>
                    </a:lnTo>
                    <a:lnTo>
                      <a:pt x="452" y="224"/>
                    </a:lnTo>
                    <a:lnTo>
                      <a:pt x="452" y="229"/>
                    </a:lnTo>
                    <a:lnTo>
                      <a:pt x="449" y="232"/>
                    </a:lnTo>
                    <a:lnTo>
                      <a:pt x="446" y="239"/>
                    </a:lnTo>
                    <a:lnTo>
                      <a:pt x="439" y="246"/>
                    </a:lnTo>
                    <a:lnTo>
                      <a:pt x="438" y="247"/>
                    </a:lnTo>
                    <a:lnTo>
                      <a:pt x="438" y="252"/>
                    </a:lnTo>
                    <a:lnTo>
                      <a:pt x="434" y="254"/>
                    </a:lnTo>
                    <a:lnTo>
                      <a:pt x="433" y="255"/>
                    </a:lnTo>
                    <a:lnTo>
                      <a:pt x="436" y="257"/>
                    </a:lnTo>
                    <a:lnTo>
                      <a:pt x="438" y="257"/>
                    </a:lnTo>
                    <a:lnTo>
                      <a:pt x="438" y="259"/>
                    </a:lnTo>
                    <a:lnTo>
                      <a:pt x="434" y="264"/>
                    </a:lnTo>
                    <a:lnTo>
                      <a:pt x="434" y="264"/>
                    </a:lnTo>
                    <a:lnTo>
                      <a:pt x="434" y="265"/>
                    </a:lnTo>
                    <a:lnTo>
                      <a:pt x="436" y="264"/>
                    </a:lnTo>
                    <a:lnTo>
                      <a:pt x="438" y="264"/>
                    </a:lnTo>
                    <a:lnTo>
                      <a:pt x="436" y="265"/>
                    </a:lnTo>
                    <a:lnTo>
                      <a:pt x="434" y="277"/>
                    </a:lnTo>
                    <a:lnTo>
                      <a:pt x="431" y="281"/>
                    </a:lnTo>
                    <a:lnTo>
                      <a:pt x="431" y="281"/>
                    </a:lnTo>
                    <a:lnTo>
                      <a:pt x="430" y="278"/>
                    </a:lnTo>
                    <a:lnTo>
                      <a:pt x="426" y="277"/>
                    </a:lnTo>
                    <a:lnTo>
                      <a:pt x="426" y="275"/>
                    </a:lnTo>
                    <a:lnTo>
                      <a:pt x="426" y="273"/>
                    </a:lnTo>
                    <a:lnTo>
                      <a:pt x="428" y="270"/>
                    </a:lnTo>
                    <a:lnTo>
                      <a:pt x="426" y="272"/>
                    </a:lnTo>
                    <a:lnTo>
                      <a:pt x="421" y="275"/>
                    </a:lnTo>
                    <a:lnTo>
                      <a:pt x="420" y="278"/>
                    </a:lnTo>
                    <a:lnTo>
                      <a:pt x="420" y="278"/>
                    </a:lnTo>
                    <a:lnTo>
                      <a:pt x="418" y="278"/>
                    </a:lnTo>
                    <a:lnTo>
                      <a:pt x="416" y="278"/>
                    </a:lnTo>
                    <a:lnTo>
                      <a:pt x="416" y="280"/>
                    </a:lnTo>
                    <a:lnTo>
                      <a:pt x="415" y="281"/>
                    </a:lnTo>
                    <a:lnTo>
                      <a:pt x="413" y="285"/>
                    </a:lnTo>
                    <a:lnTo>
                      <a:pt x="413" y="286"/>
                    </a:lnTo>
                    <a:lnTo>
                      <a:pt x="412" y="286"/>
                    </a:lnTo>
                    <a:lnTo>
                      <a:pt x="412" y="286"/>
                    </a:lnTo>
                    <a:lnTo>
                      <a:pt x="410" y="286"/>
                    </a:lnTo>
                    <a:lnTo>
                      <a:pt x="410" y="285"/>
                    </a:lnTo>
                    <a:lnTo>
                      <a:pt x="408" y="285"/>
                    </a:lnTo>
                    <a:lnTo>
                      <a:pt x="407" y="286"/>
                    </a:lnTo>
                    <a:lnTo>
                      <a:pt x="407" y="288"/>
                    </a:lnTo>
                    <a:lnTo>
                      <a:pt x="379" y="288"/>
                    </a:lnTo>
                    <a:lnTo>
                      <a:pt x="377" y="296"/>
                    </a:lnTo>
                    <a:lnTo>
                      <a:pt x="371" y="298"/>
                    </a:lnTo>
                    <a:lnTo>
                      <a:pt x="374" y="299"/>
                    </a:lnTo>
                    <a:lnTo>
                      <a:pt x="374" y="301"/>
                    </a:lnTo>
                    <a:lnTo>
                      <a:pt x="377" y="304"/>
                    </a:lnTo>
                    <a:lnTo>
                      <a:pt x="379" y="306"/>
                    </a:lnTo>
                    <a:lnTo>
                      <a:pt x="381" y="306"/>
                    </a:lnTo>
                    <a:lnTo>
                      <a:pt x="382" y="308"/>
                    </a:lnTo>
                    <a:lnTo>
                      <a:pt x="382" y="311"/>
                    </a:lnTo>
                    <a:lnTo>
                      <a:pt x="384" y="311"/>
                    </a:lnTo>
                    <a:lnTo>
                      <a:pt x="387" y="311"/>
                    </a:lnTo>
                    <a:lnTo>
                      <a:pt x="389" y="313"/>
                    </a:lnTo>
                    <a:lnTo>
                      <a:pt x="389" y="314"/>
                    </a:lnTo>
                    <a:lnTo>
                      <a:pt x="387" y="317"/>
                    </a:lnTo>
                    <a:lnTo>
                      <a:pt x="366" y="317"/>
                    </a:lnTo>
                    <a:lnTo>
                      <a:pt x="358" y="332"/>
                    </a:lnTo>
                    <a:lnTo>
                      <a:pt x="358" y="335"/>
                    </a:lnTo>
                    <a:lnTo>
                      <a:pt x="358" y="335"/>
                    </a:lnTo>
                    <a:lnTo>
                      <a:pt x="358" y="337"/>
                    </a:lnTo>
                    <a:lnTo>
                      <a:pt x="358" y="339"/>
                    </a:lnTo>
                    <a:lnTo>
                      <a:pt x="359" y="339"/>
                    </a:lnTo>
                    <a:lnTo>
                      <a:pt x="358" y="340"/>
                    </a:lnTo>
                    <a:lnTo>
                      <a:pt x="358" y="342"/>
                    </a:lnTo>
                    <a:lnTo>
                      <a:pt x="356" y="344"/>
                    </a:lnTo>
                    <a:lnTo>
                      <a:pt x="356" y="344"/>
                    </a:lnTo>
                    <a:lnTo>
                      <a:pt x="353" y="340"/>
                    </a:lnTo>
                    <a:lnTo>
                      <a:pt x="350" y="337"/>
                    </a:lnTo>
                    <a:lnTo>
                      <a:pt x="348" y="335"/>
                    </a:lnTo>
                    <a:lnTo>
                      <a:pt x="345" y="334"/>
                    </a:lnTo>
                    <a:lnTo>
                      <a:pt x="335" y="324"/>
                    </a:lnTo>
                    <a:lnTo>
                      <a:pt x="333" y="322"/>
                    </a:lnTo>
                    <a:lnTo>
                      <a:pt x="333" y="321"/>
                    </a:lnTo>
                    <a:lnTo>
                      <a:pt x="330" y="317"/>
                    </a:lnTo>
                    <a:lnTo>
                      <a:pt x="327" y="316"/>
                    </a:lnTo>
                    <a:lnTo>
                      <a:pt x="323" y="316"/>
                    </a:lnTo>
                    <a:lnTo>
                      <a:pt x="323" y="314"/>
                    </a:lnTo>
                    <a:lnTo>
                      <a:pt x="322" y="314"/>
                    </a:lnTo>
                    <a:lnTo>
                      <a:pt x="323" y="316"/>
                    </a:lnTo>
                    <a:lnTo>
                      <a:pt x="328" y="317"/>
                    </a:lnTo>
                    <a:lnTo>
                      <a:pt x="332" y="321"/>
                    </a:lnTo>
                    <a:lnTo>
                      <a:pt x="332" y="322"/>
                    </a:lnTo>
                    <a:lnTo>
                      <a:pt x="330" y="321"/>
                    </a:lnTo>
                    <a:lnTo>
                      <a:pt x="325" y="317"/>
                    </a:lnTo>
                    <a:lnTo>
                      <a:pt x="322" y="316"/>
                    </a:lnTo>
                    <a:lnTo>
                      <a:pt x="320" y="316"/>
                    </a:lnTo>
                    <a:lnTo>
                      <a:pt x="318" y="316"/>
                    </a:lnTo>
                    <a:lnTo>
                      <a:pt x="318" y="316"/>
                    </a:lnTo>
                    <a:lnTo>
                      <a:pt x="320" y="316"/>
                    </a:lnTo>
                    <a:lnTo>
                      <a:pt x="320" y="314"/>
                    </a:lnTo>
                    <a:lnTo>
                      <a:pt x="318" y="314"/>
                    </a:lnTo>
                    <a:lnTo>
                      <a:pt x="317" y="314"/>
                    </a:lnTo>
                    <a:lnTo>
                      <a:pt x="317" y="313"/>
                    </a:lnTo>
                    <a:lnTo>
                      <a:pt x="315" y="313"/>
                    </a:lnTo>
                    <a:lnTo>
                      <a:pt x="312" y="314"/>
                    </a:lnTo>
                    <a:lnTo>
                      <a:pt x="312" y="316"/>
                    </a:lnTo>
                    <a:lnTo>
                      <a:pt x="314" y="316"/>
                    </a:lnTo>
                    <a:lnTo>
                      <a:pt x="317" y="316"/>
                    </a:lnTo>
                    <a:lnTo>
                      <a:pt x="317" y="317"/>
                    </a:lnTo>
                    <a:lnTo>
                      <a:pt x="315" y="317"/>
                    </a:lnTo>
                    <a:lnTo>
                      <a:pt x="312" y="317"/>
                    </a:lnTo>
                    <a:lnTo>
                      <a:pt x="309" y="317"/>
                    </a:lnTo>
                    <a:lnTo>
                      <a:pt x="304" y="321"/>
                    </a:lnTo>
                    <a:lnTo>
                      <a:pt x="301" y="321"/>
                    </a:lnTo>
                    <a:lnTo>
                      <a:pt x="292" y="324"/>
                    </a:lnTo>
                    <a:lnTo>
                      <a:pt x="289" y="326"/>
                    </a:lnTo>
                    <a:lnTo>
                      <a:pt x="283" y="322"/>
                    </a:lnTo>
                    <a:lnTo>
                      <a:pt x="278" y="319"/>
                    </a:lnTo>
                    <a:lnTo>
                      <a:pt x="273" y="319"/>
                    </a:lnTo>
                    <a:lnTo>
                      <a:pt x="266" y="317"/>
                    </a:lnTo>
                    <a:lnTo>
                      <a:pt x="263" y="316"/>
                    </a:lnTo>
                    <a:lnTo>
                      <a:pt x="261" y="316"/>
                    </a:lnTo>
                    <a:lnTo>
                      <a:pt x="260" y="316"/>
                    </a:lnTo>
                    <a:lnTo>
                      <a:pt x="255" y="314"/>
                    </a:lnTo>
                    <a:lnTo>
                      <a:pt x="253" y="311"/>
                    </a:lnTo>
                    <a:lnTo>
                      <a:pt x="253" y="309"/>
                    </a:lnTo>
                    <a:lnTo>
                      <a:pt x="250" y="311"/>
                    </a:lnTo>
                    <a:lnTo>
                      <a:pt x="247" y="308"/>
                    </a:lnTo>
                    <a:lnTo>
                      <a:pt x="242" y="308"/>
                    </a:lnTo>
                    <a:lnTo>
                      <a:pt x="240" y="304"/>
                    </a:lnTo>
                    <a:lnTo>
                      <a:pt x="235" y="303"/>
                    </a:lnTo>
                    <a:lnTo>
                      <a:pt x="229" y="301"/>
                    </a:lnTo>
                    <a:lnTo>
                      <a:pt x="220" y="299"/>
                    </a:lnTo>
                    <a:lnTo>
                      <a:pt x="217" y="295"/>
                    </a:lnTo>
                    <a:lnTo>
                      <a:pt x="214" y="293"/>
                    </a:lnTo>
                    <a:lnTo>
                      <a:pt x="207" y="286"/>
                    </a:lnTo>
                    <a:lnTo>
                      <a:pt x="206" y="285"/>
                    </a:lnTo>
                    <a:lnTo>
                      <a:pt x="204" y="285"/>
                    </a:lnTo>
                    <a:lnTo>
                      <a:pt x="203" y="285"/>
                    </a:lnTo>
                    <a:lnTo>
                      <a:pt x="201" y="285"/>
                    </a:lnTo>
                    <a:lnTo>
                      <a:pt x="194" y="283"/>
                    </a:lnTo>
                    <a:lnTo>
                      <a:pt x="193" y="283"/>
                    </a:lnTo>
                    <a:lnTo>
                      <a:pt x="189" y="281"/>
                    </a:lnTo>
                    <a:lnTo>
                      <a:pt x="188" y="281"/>
                    </a:lnTo>
                    <a:lnTo>
                      <a:pt x="185" y="280"/>
                    </a:lnTo>
                    <a:lnTo>
                      <a:pt x="183" y="277"/>
                    </a:lnTo>
                    <a:lnTo>
                      <a:pt x="180" y="273"/>
                    </a:lnTo>
                    <a:lnTo>
                      <a:pt x="176" y="268"/>
                    </a:lnTo>
                    <a:lnTo>
                      <a:pt x="171" y="267"/>
                    </a:lnTo>
                    <a:lnTo>
                      <a:pt x="171" y="265"/>
                    </a:lnTo>
                    <a:lnTo>
                      <a:pt x="173" y="264"/>
                    </a:lnTo>
                    <a:lnTo>
                      <a:pt x="171" y="264"/>
                    </a:lnTo>
                    <a:lnTo>
                      <a:pt x="168" y="264"/>
                    </a:lnTo>
                    <a:lnTo>
                      <a:pt x="163" y="264"/>
                    </a:lnTo>
                    <a:lnTo>
                      <a:pt x="162" y="262"/>
                    </a:lnTo>
                    <a:lnTo>
                      <a:pt x="160" y="262"/>
                    </a:lnTo>
                    <a:lnTo>
                      <a:pt x="158" y="260"/>
                    </a:lnTo>
                    <a:lnTo>
                      <a:pt x="157" y="255"/>
                    </a:lnTo>
                    <a:lnTo>
                      <a:pt x="154" y="252"/>
                    </a:lnTo>
                    <a:lnTo>
                      <a:pt x="154" y="249"/>
                    </a:lnTo>
                    <a:lnTo>
                      <a:pt x="152" y="247"/>
                    </a:lnTo>
                    <a:lnTo>
                      <a:pt x="150" y="242"/>
                    </a:lnTo>
                    <a:lnTo>
                      <a:pt x="150" y="241"/>
                    </a:lnTo>
                    <a:lnTo>
                      <a:pt x="152" y="239"/>
                    </a:lnTo>
                    <a:lnTo>
                      <a:pt x="155" y="239"/>
                    </a:lnTo>
                    <a:lnTo>
                      <a:pt x="157" y="237"/>
                    </a:lnTo>
                    <a:lnTo>
                      <a:pt x="155" y="236"/>
                    </a:lnTo>
                    <a:lnTo>
                      <a:pt x="154" y="236"/>
                    </a:lnTo>
                    <a:lnTo>
                      <a:pt x="154" y="234"/>
                    </a:lnTo>
                    <a:lnTo>
                      <a:pt x="157" y="231"/>
                    </a:lnTo>
                    <a:lnTo>
                      <a:pt x="158" y="228"/>
                    </a:lnTo>
                    <a:lnTo>
                      <a:pt x="158" y="224"/>
                    </a:lnTo>
                    <a:lnTo>
                      <a:pt x="155" y="214"/>
                    </a:lnTo>
                    <a:lnTo>
                      <a:pt x="154" y="211"/>
                    </a:lnTo>
                    <a:lnTo>
                      <a:pt x="152" y="208"/>
                    </a:lnTo>
                    <a:lnTo>
                      <a:pt x="154" y="205"/>
                    </a:lnTo>
                    <a:lnTo>
                      <a:pt x="154" y="201"/>
                    </a:lnTo>
                    <a:lnTo>
                      <a:pt x="147" y="195"/>
                    </a:lnTo>
                    <a:lnTo>
                      <a:pt x="147" y="192"/>
                    </a:lnTo>
                    <a:lnTo>
                      <a:pt x="142" y="187"/>
                    </a:lnTo>
                    <a:lnTo>
                      <a:pt x="139" y="179"/>
                    </a:lnTo>
                    <a:lnTo>
                      <a:pt x="134" y="174"/>
                    </a:lnTo>
                    <a:lnTo>
                      <a:pt x="129" y="169"/>
                    </a:lnTo>
                    <a:lnTo>
                      <a:pt x="127" y="169"/>
                    </a:lnTo>
                    <a:lnTo>
                      <a:pt x="127" y="165"/>
                    </a:lnTo>
                    <a:lnTo>
                      <a:pt x="122" y="164"/>
                    </a:lnTo>
                    <a:lnTo>
                      <a:pt x="121" y="162"/>
                    </a:lnTo>
                    <a:lnTo>
                      <a:pt x="121" y="162"/>
                    </a:lnTo>
                    <a:lnTo>
                      <a:pt x="122" y="161"/>
                    </a:lnTo>
                    <a:lnTo>
                      <a:pt x="124" y="157"/>
                    </a:lnTo>
                    <a:lnTo>
                      <a:pt x="122" y="156"/>
                    </a:lnTo>
                    <a:lnTo>
                      <a:pt x="121" y="152"/>
                    </a:lnTo>
                    <a:lnTo>
                      <a:pt x="121" y="151"/>
                    </a:lnTo>
                    <a:lnTo>
                      <a:pt x="119" y="151"/>
                    </a:lnTo>
                    <a:lnTo>
                      <a:pt x="114" y="151"/>
                    </a:lnTo>
                    <a:lnTo>
                      <a:pt x="108" y="144"/>
                    </a:lnTo>
                    <a:lnTo>
                      <a:pt x="106" y="143"/>
                    </a:lnTo>
                    <a:lnTo>
                      <a:pt x="105" y="143"/>
                    </a:lnTo>
                    <a:lnTo>
                      <a:pt x="101" y="141"/>
                    </a:lnTo>
                    <a:lnTo>
                      <a:pt x="101" y="138"/>
                    </a:lnTo>
                    <a:lnTo>
                      <a:pt x="103" y="133"/>
                    </a:lnTo>
                    <a:lnTo>
                      <a:pt x="105" y="131"/>
                    </a:lnTo>
                    <a:lnTo>
                      <a:pt x="108" y="130"/>
                    </a:lnTo>
                    <a:lnTo>
                      <a:pt x="109" y="131"/>
                    </a:lnTo>
                    <a:lnTo>
                      <a:pt x="109" y="130"/>
                    </a:lnTo>
                    <a:lnTo>
                      <a:pt x="109" y="128"/>
                    </a:lnTo>
                    <a:lnTo>
                      <a:pt x="109" y="126"/>
                    </a:lnTo>
                    <a:lnTo>
                      <a:pt x="108" y="128"/>
                    </a:lnTo>
                    <a:lnTo>
                      <a:pt x="106" y="126"/>
                    </a:lnTo>
                    <a:lnTo>
                      <a:pt x="105" y="125"/>
                    </a:lnTo>
                    <a:lnTo>
                      <a:pt x="103" y="121"/>
                    </a:lnTo>
                    <a:lnTo>
                      <a:pt x="100" y="121"/>
                    </a:lnTo>
                    <a:lnTo>
                      <a:pt x="98" y="120"/>
                    </a:lnTo>
                    <a:lnTo>
                      <a:pt x="96" y="118"/>
                    </a:lnTo>
                    <a:lnTo>
                      <a:pt x="96" y="115"/>
                    </a:lnTo>
                    <a:lnTo>
                      <a:pt x="95" y="115"/>
                    </a:lnTo>
                    <a:lnTo>
                      <a:pt x="93" y="115"/>
                    </a:lnTo>
                    <a:lnTo>
                      <a:pt x="87" y="110"/>
                    </a:lnTo>
                    <a:lnTo>
                      <a:pt x="87" y="105"/>
                    </a:lnTo>
                    <a:lnTo>
                      <a:pt x="88" y="103"/>
                    </a:lnTo>
                    <a:lnTo>
                      <a:pt x="88" y="98"/>
                    </a:lnTo>
                    <a:lnTo>
                      <a:pt x="87" y="98"/>
                    </a:lnTo>
                    <a:lnTo>
                      <a:pt x="83" y="98"/>
                    </a:lnTo>
                    <a:lnTo>
                      <a:pt x="83" y="98"/>
                    </a:lnTo>
                    <a:lnTo>
                      <a:pt x="82" y="98"/>
                    </a:lnTo>
                    <a:lnTo>
                      <a:pt x="80" y="97"/>
                    </a:lnTo>
                    <a:lnTo>
                      <a:pt x="78" y="95"/>
                    </a:lnTo>
                    <a:lnTo>
                      <a:pt x="77" y="92"/>
                    </a:lnTo>
                    <a:lnTo>
                      <a:pt x="75" y="89"/>
                    </a:lnTo>
                    <a:lnTo>
                      <a:pt x="74" y="87"/>
                    </a:lnTo>
                    <a:lnTo>
                      <a:pt x="72" y="85"/>
                    </a:lnTo>
                    <a:lnTo>
                      <a:pt x="72" y="82"/>
                    </a:lnTo>
                    <a:lnTo>
                      <a:pt x="70" y="79"/>
                    </a:lnTo>
                    <a:lnTo>
                      <a:pt x="69" y="79"/>
                    </a:lnTo>
                    <a:lnTo>
                      <a:pt x="67" y="74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4" y="69"/>
                    </a:lnTo>
                    <a:lnTo>
                      <a:pt x="65" y="67"/>
                    </a:lnTo>
                    <a:lnTo>
                      <a:pt x="65" y="66"/>
                    </a:lnTo>
                    <a:lnTo>
                      <a:pt x="60" y="61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1"/>
                    </a:lnTo>
                    <a:lnTo>
                      <a:pt x="59" y="49"/>
                    </a:lnTo>
                    <a:lnTo>
                      <a:pt x="57" y="43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6" y="32"/>
                    </a:lnTo>
                    <a:lnTo>
                      <a:pt x="52" y="32"/>
                    </a:lnTo>
                    <a:lnTo>
                      <a:pt x="51" y="30"/>
                    </a:lnTo>
                    <a:lnTo>
                      <a:pt x="49" y="27"/>
                    </a:lnTo>
                    <a:lnTo>
                      <a:pt x="47" y="28"/>
                    </a:lnTo>
                    <a:lnTo>
                      <a:pt x="44" y="28"/>
                    </a:lnTo>
                    <a:lnTo>
                      <a:pt x="42" y="27"/>
                    </a:lnTo>
                    <a:lnTo>
                      <a:pt x="39" y="22"/>
                    </a:lnTo>
                    <a:lnTo>
                      <a:pt x="36" y="20"/>
                    </a:lnTo>
                    <a:lnTo>
                      <a:pt x="33" y="17"/>
                    </a:lnTo>
                    <a:lnTo>
                      <a:pt x="34" y="20"/>
                    </a:lnTo>
                    <a:lnTo>
                      <a:pt x="34" y="23"/>
                    </a:lnTo>
                    <a:lnTo>
                      <a:pt x="34" y="28"/>
                    </a:lnTo>
                    <a:lnTo>
                      <a:pt x="33" y="32"/>
                    </a:lnTo>
                    <a:lnTo>
                      <a:pt x="33" y="40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4" y="54"/>
                    </a:lnTo>
                    <a:lnTo>
                      <a:pt x="36" y="59"/>
                    </a:lnTo>
                    <a:lnTo>
                      <a:pt x="36" y="63"/>
                    </a:lnTo>
                    <a:lnTo>
                      <a:pt x="38" y="63"/>
                    </a:lnTo>
                    <a:lnTo>
                      <a:pt x="39" y="66"/>
                    </a:lnTo>
                    <a:lnTo>
                      <a:pt x="44" y="67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4" y="77"/>
                    </a:lnTo>
                    <a:lnTo>
                      <a:pt x="47" y="79"/>
                    </a:lnTo>
                    <a:lnTo>
                      <a:pt x="49" y="81"/>
                    </a:lnTo>
                    <a:lnTo>
                      <a:pt x="49" y="84"/>
                    </a:lnTo>
                    <a:lnTo>
                      <a:pt x="51" y="85"/>
                    </a:lnTo>
                    <a:lnTo>
                      <a:pt x="52" y="87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6" y="98"/>
                    </a:lnTo>
                    <a:lnTo>
                      <a:pt x="59" y="100"/>
                    </a:lnTo>
                    <a:lnTo>
                      <a:pt x="59" y="102"/>
                    </a:lnTo>
                    <a:lnTo>
                      <a:pt x="62" y="105"/>
                    </a:lnTo>
                    <a:lnTo>
                      <a:pt x="64" y="112"/>
                    </a:lnTo>
                    <a:lnTo>
                      <a:pt x="64" y="112"/>
                    </a:lnTo>
                    <a:lnTo>
                      <a:pt x="65" y="113"/>
                    </a:lnTo>
                    <a:lnTo>
                      <a:pt x="64" y="116"/>
                    </a:lnTo>
                    <a:lnTo>
                      <a:pt x="64" y="118"/>
                    </a:lnTo>
                    <a:lnTo>
                      <a:pt x="67" y="123"/>
                    </a:lnTo>
                    <a:lnTo>
                      <a:pt x="69" y="121"/>
                    </a:lnTo>
                    <a:lnTo>
                      <a:pt x="69" y="120"/>
                    </a:lnTo>
                    <a:lnTo>
                      <a:pt x="69" y="118"/>
                    </a:lnTo>
                    <a:lnTo>
                      <a:pt x="70" y="118"/>
                    </a:lnTo>
                    <a:lnTo>
                      <a:pt x="70" y="121"/>
                    </a:lnTo>
                    <a:lnTo>
                      <a:pt x="72" y="125"/>
                    </a:lnTo>
                    <a:lnTo>
                      <a:pt x="74" y="130"/>
                    </a:lnTo>
                    <a:lnTo>
                      <a:pt x="72" y="133"/>
                    </a:lnTo>
                    <a:lnTo>
                      <a:pt x="74" y="136"/>
                    </a:lnTo>
                    <a:lnTo>
                      <a:pt x="74" y="138"/>
                    </a:lnTo>
                    <a:lnTo>
                      <a:pt x="74" y="141"/>
                    </a:lnTo>
                    <a:lnTo>
                      <a:pt x="75" y="143"/>
                    </a:lnTo>
                    <a:lnTo>
                      <a:pt x="75" y="146"/>
                    </a:lnTo>
                    <a:lnTo>
                      <a:pt x="77" y="148"/>
                    </a:lnTo>
                    <a:lnTo>
                      <a:pt x="77" y="149"/>
                    </a:lnTo>
                    <a:lnTo>
                      <a:pt x="77" y="152"/>
                    </a:lnTo>
                    <a:lnTo>
                      <a:pt x="78" y="156"/>
                    </a:lnTo>
                    <a:lnTo>
                      <a:pt x="78" y="159"/>
                    </a:lnTo>
                    <a:lnTo>
                      <a:pt x="77" y="162"/>
                    </a:lnTo>
                    <a:lnTo>
                      <a:pt x="78" y="164"/>
                    </a:lnTo>
                    <a:lnTo>
                      <a:pt x="80" y="167"/>
                    </a:lnTo>
                    <a:lnTo>
                      <a:pt x="83" y="169"/>
                    </a:lnTo>
                    <a:lnTo>
                      <a:pt x="83" y="170"/>
                    </a:lnTo>
                    <a:lnTo>
                      <a:pt x="85" y="170"/>
                    </a:lnTo>
                    <a:lnTo>
                      <a:pt x="85" y="169"/>
                    </a:lnTo>
                    <a:lnTo>
                      <a:pt x="85" y="167"/>
                    </a:lnTo>
                    <a:lnTo>
                      <a:pt x="87" y="169"/>
                    </a:lnTo>
                    <a:lnTo>
                      <a:pt x="88" y="170"/>
                    </a:lnTo>
                    <a:lnTo>
                      <a:pt x="90" y="172"/>
                    </a:lnTo>
                    <a:lnTo>
                      <a:pt x="91" y="174"/>
                    </a:lnTo>
                    <a:lnTo>
                      <a:pt x="93" y="177"/>
                    </a:lnTo>
                    <a:lnTo>
                      <a:pt x="95" y="179"/>
                    </a:lnTo>
                    <a:lnTo>
                      <a:pt x="95" y="182"/>
                    </a:lnTo>
                    <a:lnTo>
                      <a:pt x="98" y="182"/>
                    </a:lnTo>
                    <a:lnTo>
                      <a:pt x="96" y="187"/>
                    </a:lnTo>
                    <a:lnTo>
                      <a:pt x="95" y="192"/>
                    </a:lnTo>
                    <a:lnTo>
                      <a:pt x="90" y="193"/>
                    </a:lnTo>
                    <a:lnTo>
                      <a:pt x="88" y="193"/>
                    </a:lnTo>
                    <a:lnTo>
                      <a:pt x="87" y="190"/>
                    </a:lnTo>
                    <a:lnTo>
                      <a:pt x="87" y="187"/>
                    </a:lnTo>
                    <a:lnTo>
                      <a:pt x="83" y="185"/>
                    </a:lnTo>
                    <a:lnTo>
                      <a:pt x="83" y="182"/>
                    </a:lnTo>
                    <a:lnTo>
                      <a:pt x="82" y="179"/>
                    </a:lnTo>
                    <a:lnTo>
                      <a:pt x="78" y="179"/>
                    </a:lnTo>
                    <a:lnTo>
                      <a:pt x="77" y="175"/>
                    </a:lnTo>
                    <a:lnTo>
                      <a:pt x="75" y="174"/>
                    </a:lnTo>
                    <a:lnTo>
                      <a:pt x="74" y="172"/>
                    </a:lnTo>
                    <a:lnTo>
                      <a:pt x="67" y="165"/>
                    </a:lnTo>
                    <a:lnTo>
                      <a:pt x="65" y="162"/>
                    </a:lnTo>
                    <a:lnTo>
                      <a:pt x="62" y="161"/>
                    </a:lnTo>
                    <a:lnTo>
                      <a:pt x="60" y="159"/>
                    </a:lnTo>
                    <a:lnTo>
                      <a:pt x="59" y="159"/>
                    </a:lnTo>
                    <a:lnTo>
                      <a:pt x="57" y="157"/>
                    </a:lnTo>
                    <a:lnTo>
                      <a:pt x="56" y="154"/>
                    </a:lnTo>
                    <a:lnTo>
                      <a:pt x="59" y="149"/>
                    </a:lnTo>
                    <a:lnTo>
                      <a:pt x="59" y="144"/>
                    </a:lnTo>
                    <a:lnTo>
                      <a:pt x="59" y="138"/>
                    </a:lnTo>
                    <a:lnTo>
                      <a:pt x="57" y="131"/>
                    </a:lnTo>
                    <a:lnTo>
                      <a:pt x="56" y="130"/>
                    </a:lnTo>
                    <a:lnTo>
                      <a:pt x="54" y="130"/>
                    </a:lnTo>
                    <a:lnTo>
                      <a:pt x="52" y="128"/>
                    </a:lnTo>
                    <a:lnTo>
                      <a:pt x="46" y="123"/>
                    </a:lnTo>
                    <a:lnTo>
                      <a:pt x="46" y="118"/>
                    </a:lnTo>
                    <a:lnTo>
                      <a:pt x="46" y="115"/>
                    </a:lnTo>
                    <a:lnTo>
                      <a:pt x="46" y="115"/>
                    </a:lnTo>
                    <a:lnTo>
                      <a:pt x="42" y="118"/>
                    </a:lnTo>
                    <a:lnTo>
                      <a:pt x="41" y="118"/>
                    </a:lnTo>
                    <a:lnTo>
                      <a:pt x="39" y="120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6" y="115"/>
                    </a:lnTo>
                    <a:lnTo>
                      <a:pt x="34" y="115"/>
                    </a:lnTo>
                    <a:lnTo>
                      <a:pt x="34" y="113"/>
                    </a:lnTo>
                    <a:lnTo>
                      <a:pt x="29" y="112"/>
                    </a:lnTo>
                    <a:lnTo>
                      <a:pt x="28" y="112"/>
                    </a:lnTo>
                    <a:lnTo>
                      <a:pt x="26" y="108"/>
                    </a:lnTo>
                    <a:lnTo>
                      <a:pt x="26" y="105"/>
                    </a:lnTo>
                    <a:lnTo>
                      <a:pt x="23" y="103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25" y="98"/>
                    </a:lnTo>
                    <a:lnTo>
                      <a:pt x="26" y="98"/>
                    </a:lnTo>
                    <a:lnTo>
                      <a:pt x="31" y="100"/>
                    </a:lnTo>
                    <a:lnTo>
                      <a:pt x="33" y="100"/>
                    </a:lnTo>
                    <a:lnTo>
                      <a:pt x="34" y="98"/>
                    </a:lnTo>
                    <a:lnTo>
                      <a:pt x="34" y="97"/>
                    </a:lnTo>
                    <a:lnTo>
                      <a:pt x="31" y="97"/>
                    </a:lnTo>
                    <a:lnTo>
                      <a:pt x="31" y="95"/>
                    </a:lnTo>
                    <a:lnTo>
                      <a:pt x="33" y="94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4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77"/>
                    </a:lnTo>
                    <a:lnTo>
                      <a:pt x="28" y="74"/>
                    </a:lnTo>
                    <a:lnTo>
                      <a:pt x="26" y="71"/>
                    </a:lnTo>
                    <a:lnTo>
                      <a:pt x="25" y="67"/>
                    </a:lnTo>
                    <a:lnTo>
                      <a:pt x="20" y="63"/>
                    </a:lnTo>
                    <a:lnTo>
                      <a:pt x="18" y="63"/>
                    </a:lnTo>
                    <a:lnTo>
                      <a:pt x="15" y="61"/>
                    </a:lnTo>
                    <a:lnTo>
                      <a:pt x="15" y="56"/>
                    </a:lnTo>
                    <a:lnTo>
                      <a:pt x="15" y="51"/>
                    </a:lnTo>
                    <a:lnTo>
                      <a:pt x="13" y="49"/>
                    </a:lnTo>
                    <a:lnTo>
                      <a:pt x="11" y="46"/>
                    </a:lnTo>
                    <a:lnTo>
                      <a:pt x="11" y="43"/>
                    </a:lnTo>
                    <a:lnTo>
                      <a:pt x="13" y="43"/>
                    </a:lnTo>
                    <a:lnTo>
                      <a:pt x="11" y="40"/>
                    </a:lnTo>
                    <a:lnTo>
                      <a:pt x="8" y="36"/>
                    </a:lnTo>
                    <a:lnTo>
                      <a:pt x="8" y="35"/>
                    </a:lnTo>
                    <a:lnTo>
                      <a:pt x="8" y="33"/>
                    </a:lnTo>
                    <a:lnTo>
                      <a:pt x="10" y="32"/>
                    </a:lnTo>
                    <a:lnTo>
                      <a:pt x="5" y="27"/>
                    </a:lnTo>
                    <a:lnTo>
                      <a:pt x="3" y="23"/>
                    </a:lnTo>
                    <a:lnTo>
                      <a:pt x="5" y="20"/>
                    </a:lnTo>
                    <a:lnTo>
                      <a:pt x="5" y="20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  <a:moveTo>
                      <a:pt x="82" y="157"/>
                    </a:moveTo>
                    <a:lnTo>
                      <a:pt x="83" y="156"/>
                    </a:lnTo>
                    <a:lnTo>
                      <a:pt x="82" y="154"/>
                    </a:lnTo>
                    <a:lnTo>
                      <a:pt x="80" y="151"/>
                    </a:lnTo>
                    <a:lnTo>
                      <a:pt x="80" y="152"/>
                    </a:lnTo>
                    <a:lnTo>
                      <a:pt x="80" y="154"/>
                    </a:lnTo>
                    <a:lnTo>
                      <a:pt x="82" y="157"/>
                    </a:lnTo>
                    <a:lnTo>
                      <a:pt x="82" y="157"/>
                    </a:lnTo>
                    <a:close/>
                    <a:moveTo>
                      <a:pt x="83" y="164"/>
                    </a:moveTo>
                    <a:lnTo>
                      <a:pt x="83" y="165"/>
                    </a:lnTo>
                    <a:lnTo>
                      <a:pt x="85" y="165"/>
                    </a:lnTo>
                    <a:lnTo>
                      <a:pt x="85" y="164"/>
                    </a:lnTo>
                    <a:lnTo>
                      <a:pt x="83" y="164"/>
                    </a:lnTo>
                    <a:lnTo>
                      <a:pt x="83" y="164"/>
                    </a:lnTo>
                    <a:close/>
                    <a:moveTo>
                      <a:pt x="286" y="159"/>
                    </a:moveTo>
                    <a:lnTo>
                      <a:pt x="287" y="159"/>
                    </a:lnTo>
                    <a:lnTo>
                      <a:pt x="287" y="157"/>
                    </a:lnTo>
                    <a:lnTo>
                      <a:pt x="287" y="157"/>
                    </a:lnTo>
                    <a:lnTo>
                      <a:pt x="286" y="159"/>
                    </a:lnTo>
                    <a:lnTo>
                      <a:pt x="286" y="159"/>
                    </a:lnTo>
                    <a:close/>
                    <a:moveTo>
                      <a:pt x="286" y="164"/>
                    </a:moveTo>
                    <a:lnTo>
                      <a:pt x="286" y="164"/>
                    </a:lnTo>
                    <a:lnTo>
                      <a:pt x="287" y="161"/>
                    </a:lnTo>
                    <a:lnTo>
                      <a:pt x="286" y="161"/>
                    </a:lnTo>
                    <a:lnTo>
                      <a:pt x="286" y="164"/>
                    </a:lnTo>
                    <a:lnTo>
                      <a:pt x="286" y="164"/>
                    </a:lnTo>
                    <a:close/>
                    <a:moveTo>
                      <a:pt x="284" y="170"/>
                    </a:moveTo>
                    <a:lnTo>
                      <a:pt x="286" y="167"/>
                    </a:lnTo>
                    <a:lnTo>
                      <a:pt x="286" y="165"/>
                    </a:lnTo>
                    <a:lnTo>
                      <a:pt x="284" y="1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xmlns="" id="{1A12A2F0-D8FD-411C-9B98-4995184FD4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3" y="1972"/>
                <a:ext cx="620" cy="665"/>
              </a:xfrm>
              <a:custGeom>
                <a:avLst/>
                <a:gdLst>
                  <a:gd name="T0" fmla="*/ 226 w 380"/>
                  <a:gd name="T1" fmla="*/ 55 h 407"/>
                  <a:gd name="T2" fmla="*/ 229 w 380"/>
                  <a:gd name="T3" fmla="*/ 53 h 407"/>
                  <a:gd name="T4" fmla="*/ 233 w 380"/>
                  <a:gd name="T5" fmla="*/ 53 h 407"/>
                  <a:gd name="T6" fmla="*/ 238 w 380"/>
                  <a:gd name="T7" fmla="*/ 55 h 407"/>
                  <a:gd name="T8" fmla="*/ 219 w 380"/>
                  <a:gd name="T9" fmla="*/ 12 h 407"/>
                  <a:gd name="T10" fmla="*/ 205 w 380"/>
                  <a:gd name="T11" fmla="*/ 30 h 407"/>
                  <a:gd name="T12" fmla="*/ 192 w 380"/>
                  <a:gd name="T13" fmla="*/ 34 h 407"/>
                  <a:gd name="T14" fmla="*/ 173 w 380"/>
                  <a:gd name="T15" fmla="*/ 29 h 407"/>
                  <a:gd name="T16" fmla="*/ 165 w 380"/>
                  <a:gd name="T17" fmla="*/ 34 h 407"/>
                  <a:gd name="T18" fmla="*/ 141 w 380"/>
                  <a:gd name="T19" fmla="*/ 38 h 407"/>
                  <a:gd name="T20" fmla="*/ 140 w 380"/>
                  <a:gd name="T21" fmla="*/ 13 h 407"/>
                  <a:gd name="T22" fmla="*/ 130 w 380"/>
                  <a:gd name="T23" fmla="*/ 0 h 407"/>
                  <a:gd name="T24" fmla="*/ 96 w 380"/>
                  <a:gd name="T25" fmla="*/ 14 h 407"/>
                  <a:gd name="T26" fmla="*/ 102 w 380"/>
                  <a:gd name="T27" fmla="*/ 29 h 407"/>
                  <a:gd name="T28" fmla="*/ 67 w 380"/>
                  <a:gd name="T29" fmla="*/ 41 h 407"/>
                  <a:gd name="T30" fmla="*/ 40 w 380"/>
                  <a:gd name="T31" fmla="*/ 40 h 407"/>
                  <a:gd name="T32" fmla="*/ 45 w 380"/>
                  <a:gd name="T33" fmla="*/ 69 h 407"/>
                  <a:gd name="T34" fmla="*/ 22 w 380"/>
                  <a:gd name="T35" fmla="*/ 100 h 407"/>
                  <a:gd name="T36" fmla="*/ 6 w 380"/>
                  <a:gd name="T37" fmla="*/ 122 h 407"/>
                  <a:gd name="T38" fmla="*/ 12 w 380"/>
                  <a:gd name="T39" fmla="*/ 148 h 407"/>
                  <a:gd name="T40" fmla="*/ 34 w 380"/>
                  <a:gd name="T41" fmla="*/ 165 h 407"/>
                  <a:gd name="T42" fmla="*/ 59 w 380"/>
                  <a:gd name="T43" fmla="*/ 163 h 407"/>
                  <a:gd name="T44" fmla="*/ 83 w 380"/>
                  <a:gd name="T45" fmla="*/ 162 h 407"/>
                  <a:gd name="T46" fmla="*/ 110 w 380"/>
                  <a:gd name="T47" fmla="*/ 186 h 407"/>
                  <a:gd name="T48" fmla="*/ 137 w 380"/>
                  <a:gd name="T49" fmla="*/ 213 h 407"/>
                  <a:gd name="T50" fmla="*/ 161 w 380"/>
                  <a:gd name="T51" fmla="*/ 262 h 407"/>
                  <a:gd name="T52" fmla="*/ 184 w 380"/>
                  <a:gd name="T53" fmla="*/ 282 h 407"/>
                  <a:gd name="T54" fmla="*/ 198 w 380"/>
                  <a:gd name="T55" fmla="*/ 313 h 407"/>
                  <a:gd name="T56" fmla="*/ 201 w 380"/>
                  <a:gd name="T57" fmla="*/ 335 h 407"/>
                  <a:gd name="T58" fmla="*/ 181 w 380"/>
                  <a:gd name="T59" fmla="*/ 354 h 407"/>
                  <a:gd name="T60" fmla="*/ 184 w 380"/>
                  <a:gd name="T61" fmla="*/ 370 h 407"/>
                  <a:gd name="T62" fmla="*/ 209 w 380"/>
                  <a:gd name="T63" fmla="*/ 388 h 407"/>
                  <a:gd name="T64" fmla="*/ 223 w 380"/>
                  <a:gd name="T65" fmla="*/ 394 h 407"/>
                  <a:gd name="T66" fmla="*/ 231 w 380"/>
                  <a:gd name="T67" fmla="*/ 375 h 407"/>
                  <a:gd name="T68" fmla="*/ 237 w 380"/>
                  <a:gd name="T69" fmla="*/ 368 h 407"/>
                  <a:gd name="T70" fmla="*/ 227 w 380"/>
                  <a:gd name="T71" fmla="*/ 385 h 407"/>
                  <a:gd name="T72" fmla="*/ 253 w 380"/>
                  <a:gd name="T73" fmla="*/ 346 h 407"/>
                  <a:gd name="T74" fmla="*/ 253 w 380"/>
                  <a:gd name="T75" fmla="*/ 328 h 407"/>
                  <a:gd name="T76" fmla="*/ 260 w 380"/>
                  <a:gd name="T77" fmla="*/ 311 h 407"/>
                  <a:gd name="T78" fmla="*/ 285 w 380"/>
                  <a:gd name="T79" fmla="*/ 293 h 407"/>
                  <a:gd name="T80" fmla="*/ 298 w 380"/>
                  <a:gd name="T81" fmla="*/ 285 h 407"/>
                  <a:gd name="T82" fmla="*/ 308 w 380"/>
                  <a:gd name="T83" fmla="*/ 286 h 407"/>
                  <a:gd name="T84" fmla="*/ 325 w 380"/>
                  <a:gd name="T85" fmla="*/ 269 h 407"/>
                  <a:gd name="T86" fmla="*/ 336 w 380"/>
                  <a:gd name="T87" fmla="*/ 237 h 407"/>
                  <a:gd name="T88" fmla="*/ 341 w 380"/>
                  <a:gd name="T89" fmla="*/ 193 h 407"/>
                  <a:gd name="T90" fmla="*/ 339 w 380"/>
                  <a:gd name="T91" fmla="*/ 180 h 407"/>
                  <a:gd name="T92" fmla="*/ 352 w 380"/>
                  <a:gd name="T93" fmla="*/ 177 h 407"/>
                  <a:gd name="T94" fmla="*/ 377 w 380"/>
                  <a:gd name="T95" fmla="*/ 139 h 407"/>
                  <a:gd name="T96" fmla="*/ 367 w 380"/>
                  <a:gd name="T97" fmla="*/ 104 h 407"/>
                  <a:gd name="T98" fmla="*/ 331 w 380"/>
                  <a:gd name="T99" fmla="*/ 82 h 407"/>
                  <a:gd name="T100" fmla="*/ 310 w 380"/>
                  <a:gd name="T101" fmla="*/ 82 h 407"/>
                  <a:gd name="T102" fmla="*/ 293 w 380"/>
                  <a:gd name="T103" fmla="*/ 79 h 407"/>
                  <a:gd name="T104" fmla="*/ 284 w 380"/>
                  <a:gd name="T105" fmla="*/ 86 h 407"/>
                  <a:gd name="T106" fmla="*/ 276 w 380"/>
                  <a:gd name="T107" fmla="*/ 71 h 407"/>
                  <a:gd name="T108" fmla="*/ 263 w 380"/>
                  <a:gd name="T109" fmla="*/ 63 h 407"/>
                  <a:gd name="T110" fmla="*/ 247 w 380"/>
                  <a:gd name="T111" fmla="*/ 67 h 407"/>
                  <a:gd name="T112" fmla="*/ 234 w 380"/>
                  <a:gd name="T113" fmla="*/ 83 h 407"/>
                  <a:gd name="T114" fmla="*/ 229 w 380"/>
                  <a:gd name="T115" fmla="*/ 72 h 407"/>
                  <a:gd name="T116" fmla="*/ 247 w 380"/>
                  <a:gd name="T117" fmla="*/ 59 h 407"/>
                  <a:gd name="T118" fmla="*/ 226 w 380"/>
                  <a:gd name="T119" fmla="*/ 61 h 407"/>
                  <a:gd name="T120" fmla="*/ 216 w 380"/>
                  <a:gd name="T121" fmla="*/ 63 h 407"/>
                  <a:gd name="T122" fmla="*/ 231 w 380"/>
                  <a:gd name="T123" fmla="*/ 44 h 407"/>
                  <a:gd name="T124" fmla="*/ 222 w 380"/>
                  <a:gd name="T125" fmla="*/ 22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80" h="407">
                    <a:moveTo>
                      <a:pt x="222" y="60"/>
                    </a:moveTo>
                    <a:cubicBezTo>
                      <a:pt x="223" y="59"/>
                      <a:pt x="223" y="59"/>
                      <a:pt x="223" y="59"/>
                    </a:cubicBezTo>
                    <a:cubicBezTo>
                      <a:pt x="224" y="58"/>
                      <a:pt x="224" y="58"/>
                      <a:pt x="224" y="58"/>
                    </a:cubicBezTo>
                    <a:cubicBezTo>
                      <a:pt x="225" y="59"/>
                      <a:pt x="225" y="59"/>
                      <a:pt x="225" y="59"/>
                    </a:cubicBezTo>
                    <a:cubicBezTo>
                      <a:pt x="224" y="60"/>
                      <a:pt x="224" y="60"/>
                      <a:pt x="224" y="60"/>
                    </a:cubicBezTo>
                    <a:cubicBezTo>
                      <a:pt x="223" y="60"/>
                      <a:pt x="223" y="60"/>
                      <a:pt x="223" y="60"/>
                    </a:cubicBezTo>
                    <a:cubicBezTo>
                      <a:pt x="222" y="60"/>
                      <a:pt x="222" y="60"/>
                      <a:pt x="222" y="60"/>
                    </a:cubicBezTo>
                    <a:close/>
                    <a:moveTo>
                      <a:pt x="220" y="60"/>
                    </a:moveTo>
                    <a:cubicBezTo>
                      <a:pt x="221" y="60"/>
                      <a:pt x="221" y="60"/>
                      <a:pt x="221" y="60"/>
                    </a:cubicBezTo>
                    <a:cubicBezTo>
                      <a:pt x="221" y="59"/>
                      <a:pt x="221" y="59"/>
                      <a:pt x="221" y="59"/>
                    </a:cubicBezTo>
                    <a:cubicBezTo>
                      <a:pt x="223" y="57"/>
                      <a:pt x="223" y="57"/>
                      <a:pt x="223" y="57"/>
                    </a:cubicBezTo>
                    <a:cubicBezTo>
                      <a:pt x="224" y="57"/>
                      <a:pt x="224" y="57"/>
                      <a:pt x="224" y="57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226" y="54"/>
                      <a:pt x="226" y="54"/>
                      <a:pt x="226" y="54"/>
                    </a:cubicBezTo>
                    <a:cubicBezTo>
                      <a:pt x="225" y="55"/>
                      <a:pt x="225" y="55"/>
                      <a:pt x="225" y="55"/>
                    </a:cubicBezTo>
                    <a:cubicBezTo>
                      <a:pt x="224" y="55"/>
                      <a:pt x="224" y="55"/>
                      <a:pt x="224" y="55"/>
                    </a:cubicBezTo>
                    <a:cubicBezTo>
                      <a:pt x="223" y="55"/>
                      <a:pt x="223" y="55"/>
                      <a:pt x="223" y="55"/>
                    </a:cubicBezTo>
                    <a:cubicBezTo>
                      <a:pt x="221" y="57"/>
                      <a:pt x="221" y="57"/>
                      <a:pt x="221" y="57"/>
                    </a:cubicBezTo>
                    <a:cubicBezTo>
                      <a:pt x="220" y="60"/>
                      <a:pt x="220" y="60"/>
                      <a:pt x="220" y="60"/>
                    </a:cubicBezTo>
                    <a:close/>
                    <a:moveTo>
                      <a:pt x="229" y="53"/>
                    </a:moveTo>
                    <a:cubicBezTo>
                      <a:pt x="228" y="52"/>
                      <a:pt x="228" y="52"/>
                      <a:pt x="228" y="52"/>
                    </a:cubicBezTo>
                    <a:cubicBezTo>
                      <a:pt x="227" y="52"/>
                      <a:pt x="227" y="52"/>
                      <a:pt x="227" y="52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28" y="54"/>
                      <a:pt x="228" y="54"/>
                      <a:pt x="228" y="54"/>
                    </a:cubicBezTo>
                    <a:cubicBezTo>
                      <a:pt x="229" y="54"/>
                      <a:pt x="229" y="54"/>
                      <a:pt x="229" y="54"/>
                    </a:cubicBezTo>
                    <a:cubicBezTo>
                      <a:pt x="229" y="53"/>
                      <a:pt x="229" y="53"/>
                      <a:pt x="229" y="53"/>
                    </a:cubicBezTo>
                    <a:close/>
                    <a:moveTo>
                      <a:pt x="229" y="51"/>
                    </a:moveTo>
                    <a:cubicBezTo>
                      <a:pt x="228" y="49"/>
                      <a:pt x="228" y="49"/>
                      <a:pt x="228" y="49"/>
                    </a:cubicBezTo>
                    <a:cubicBezTo>
                      <a:pt x="229" y="48"/>
                      <a:pt x="229" y="48"/>
                      <a:pt x="229" y="48"/>
                    </a:cubicBezTo>
                    <a:cubicBezTo>
                      <a:pt x="230" y="48"/>
                      <a:pt x="230" y="48"/>
                      <a:pt x="230" y="48"/>
                    </a:cubicBezTo>
                    <a:cubicBezTo>
                      <a:pt x="232" y="47"/>
                      <a:pt x="232" y="47"/>
                      <a:pt x="232" y="47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31" y="48"/>
                      <a:pt x="231" y="48"/>
                      <a:pt x="231" y="48"/>
                    </a:cubicBezTo>
                    <a:cubicBezTo>
                      <a:pt x="230" y="50"/>
                      <a:pt x="230" y="50"/>
                      <a:pt x="230" y="50"/>
                    </a:cubicBezTo>
                    <a:cubicBezTo>
                      <a:pt x="229" y="51"/>
                      <a:pt x="229" y="51"/>
                      <a:pt x="229" y="51"/>
                    </a:cubicBezTo>
                    <a:close/>
                    <a:moveTo>
                      <a:pt x="229" y="52"/>
                    </a:moveTo>
                    <a:cubicBezTo>
                      <a:pt x="230" y="53"/>
                      <a:pt x="230" y="53"/>
                      <a:pt x="230" y="53"/>
                    </a:cubicBezTo>
                    <a:cubicBezTo>
                      <a:pt x="233" y="53"/>
                      <a:pt x="233" y="53"/>
                      <a:pt x="233" y="53"/>
                    </a:cubicBezTo>
                    <a:cubicBezTo>
                      <a:pt x="233" y="53"/>
                      <a:pt x="233" y="53"/>
                      <a:pt x="233" y="53"/>
                    </a:cubicBezTo>
                    <a:cubicBezTo>
                      <a:pt x="235" y="53"/>
                      <a:pt x="235" y="53"/>
                      <a:pt x="235" y="53"/>
                    </a:cubicBezTo>
                    <a:cubicBezTo>
                      <a:pt x="235" y="52"/>
                      <a:pt x="235" y="52"/>
                      <a:pt x="235" y="52"/>
                    </a:cubicBezTo>
                    <a:cubicBezTo>
                      <a:pt x="234" y="51"/>
                      <a:pt x="234" y="51"/>
                      <a:pt x="234" y="51"/>
                    </a:cubicBezTo>
                    <a:cubicBezTo>
                      <a:pt x="231" y="51"/>
                      <a:pt x="231" y="51"/>
                      <a:pt x="231" y="51"/>
                    </a:cubicBezTo>
                    <a:cubicBezTo>
                      <a:pt x="230" y="51"/>
                      <a:pt x="230" y="51"/>
                      <a:pt x="230" y="51"/>
                    </a:cubicBezTo>
                    <a:cubicBezTo>
                      <a:pt x="229" y="52"/>
                      <a:pt x="229" y="52"/>
                      <a:pt x="229" y="52"/>
                    </a:cubicBezTo>
                    <a:close/>
                    <a:moveTo>
                      <a:pt x="235" y="55"/>
                    </a:moveTo>
                    <a:cubicBezTo>
                      <a:pt x="236" y="54"/>
                      <a:pt x="236" y="54"/>
                      <a:pt x="236" y="54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9" y="54"/>
                      <a:pt x="239" y="54"/>
                      <a:pt x="239" y="54"/>
                    </a:cubicBezTo>
                    <a:cubicBezTo>
                      <a:pt x="238" y="55"/>
                      <a:pt x="238" y="55"/>
                      <a:pt x="238" y="55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5" y="55"/>
                      <a:pt x="235" y="55"/>
                      <a:pt x="235" y="55"/>
                    </a:cubicBezTo>
                    <a:close/>
                    <a:moveTo>
                      <a:pt x="229" y="34"/>
                    </a:moveTo>
                    <a:cubicBezTo>
                      <a:pt x="228" y="33"/>
                      <a:pt x="228" y="33"/>
                      <a:pt x="228" y="33"/>
                    </a:cubicBezTo>
                    <a:cubicBezTo>
                      <a:pt x="227" y="30"/>
                      <a:pt x="227" y="30"/>
                      <a:pt x="227" y="30"/>
                    </a:cubicBezTo>
                    <a:cubicBezTo>
                      <a:pt x="227" y="29"/>
                      <a:pt x="227" y="29"/>
                      <a:pt x="227" y="29"/>
                    </a:cubicBezTo>
                    <a:cubicBezTo>
                      <a:pt x="229" y="30"/>
                      <a:pt x="229" y="30"/>
                      <a:pt x="229" y="30"/>
                    </a:cubicBezTo>
                    <a:cubicBezTo>
                      <a:pt x="230" y="33"/>
                      <a:pt x="230" y="33"/>
                      <a:pt x="230" y="33"/>
                    </a:cubicBezTo>
                    <a:cubicBezTo>
                      <a:pt x="230" y="34"/>
                      <a:pt x="230" y="34"/>
                      <a:pt x="230" y="34"/>
                    </a:cubicBezTo>
                    <a:cubicBezTo>
                      <a:pt x="230" y="34"/>
                      <a:pt x="229" y="34"/>
                      <a:pt x="229" y="34"/>
                    </a:cubicBezTo>
                    <a:close/>
                    <a:moveTo>
                      <a:pt x="220" y="14"/>
                    </a:moveTo>
                    <a:cubicBezTo>
                      <a:pt x="219" y="14"/>
                      <a:pt x="219" y="14"/>
                      <a:pt x="219" y="14"/>
                    </a:cubicBezTo>
                    <a:cubicBezTo>
                      <a:pt x="219" y="12"/>
                      <a:pt x="219" y="12"/>
                      <a:pt x="219" y="12"/>
                    </a:cubicBezTo>
                    <a:cubicBezTo>
                      <a:pt x="218" y="9"/>
                      <a:pt x="218" y="9"/>
                      <a:pt x="218" y="9"/>
                    </a:cubicBezTo>
                    <a:cubicBezTo>
                      <a:pt x="217" y="10"/>
                      <a:pt x="217" y="10"/>
                      <a:pt x="217" y="10"/>
                    </a:cubicBezTo>
                    <a:cubicBezTo>
                      <a:pt x="218" y="11"/>
                      <a:pt x="218" y="11"/>
                      <a:pt x="218" y="11"/>
                    </a:cubicBezTo>
                    <a:cubicBezTo>
                      <a:pt x="217" y="13"/>
                      <a:pt x="217" y="13"/>
                      <a:pt x="217" y="13"/>
                    </a:cubicBezTo>
                    <a:cubicBezTo>
                      <a:pt x="215" y="14"/>
                      <a:pt x="215" y="14"/>
                      <a:pt x="215" y="14"/>
                    </a:cubicBezTo>
                    <a:cubicBezTo>
                      <a:pt x="215" y="14"/>
                      <a:pt x="215" y="14"/>
                      <a:pt x="215" y="14"/>
                    </a:cubicBezTo>
                    <a:cubicBezTo>
                      <a:pt x="214" y="14"/>
                      <a:pt x="214" y="14"/>
                      <a:pt x="214" y="14"/>
                    </a:cubicBezTo>
                    <a:cubicBezTo>
                      <a:pt x="214" y="15"/>
                      <a:pt x="214" y="15"/>
                      <a:pt x="214" y="15"/>
                    </a:cubicBezTo>
                    <a:cubicBezTo>
                      <a:pt x="211" y="18"/>
                      <a:pt x="211" y="18"/>
                      <a:pt x="211" y="18"/>
                    </a:cubicBezTo>
                    <a:cubicBezTo>
                      <a:pt x="209" y="22"/>
                      <a:pt x="209" y="22"/>
                      <a:pt x="209" y="22"/>
                    </a:cubicBezTo>
                    <a:cubicBezTo>
                      <a:pt x="209" y="23"/>
                      <a:pt x="209" y="23"/>
                      <a:pt x="209" y="23"/>
                    </a:cubicBezTo>
                    <a:cubicBezTo>
                      <a:pt x="207" y="27"/>
                      <a:pt x="207" y="27"/>
                      <a:pt x="207" y="27"/>
                    </a:cubicBezTo>
                    <a:cubicBezTo>
                      <a:pt x="205" y="30"/>
                      <a:pt x="205" y="30"/>
                      <a:pt x="205" y="30"/>
                    </a:cubicBezTo>
                    <a:cubicBezTo>
                      <a:pt x="204" y="32"/>
                      <a:pt x="204" y="32"/>
                      <a:pt x="204" y="32"/>
                    </a:cubicBezTo>
                    <a:cubicBezTo>
                      <a:pt x="202" y="33"/>
                      <a:pt x="202" y="33"/>
                      <a:pt x="202" y="33"/>
                    </a:cubicBezTo>
                    <a:cubicBezTo>
                      <a:pt x="201" y="34"/>
                      <a:pt x="201" y="34"/>
                      <a:pt x="201" y="34"/>
                    </a:cubicBezTo>
                    <a:cubicBezTo>
                      <a:pt x="201" y="35"/>
                      <a:pt x="201" y="35"/>
                      <a:pt x="201" y="35"/>
                    </a:cubicBezTo>
                    <a:cubicBezTo>
                      <a:pt x="199" y="36"/>
                      <a:pt x="199" y="36"/>
                      <a:pt x="199" y="36"/>
                    </a:cubicBezTo>
                    <a:cubicBezTo>
                      <a:pt x="198" y="36"/>
                      <a:pt x="198" y="36"/>
                      <a:pt x="198" y="36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6" y="32"/>
                      <a:pt x="196" y="32"/>
                      <a:pt x="196" y="32"/>
                    </a:cubicBezTo>
                    <a:cubicBezTo>
                      <a:pt x="195" y="33"/>
                      <a:pt x="195" y="33"/>
                      <a:pt x="195" y="33"/>
                    </a:cubicBezTo>
                    <a:cubicBezTo>
                      <a:pt x="194" y="34"/>
                      <a:pt x="194" y="34"/>
                      <a:pt x="194" y="34"/>
                    </a:cubicBezTo>
                    <a:cubicBezTo>
                      <a:pt x="192" y="34"/>
                      <a:pt x="192" y="34"/>
                      <a:pt x="192" y="34"/>
                    </a:cubicBezTo>
                    <a:cubicBezTo>
                      <a:pt x="191" y="32"/>
                      <a:pt x="191" y="32"/>
                      <a:pt x="191" y="32"/>
                    </a:cubicBezTo>
                    <a:cubicBezTo>
                      <a:pt x="191" y="31"/>
                      <a:pt x="191" y="31"/>
                      <a:pt x="191" y="31"/>
                    </a:cubicBezTo>
                    <a:cubicBezTo>
                      <a:pt x="190" y="31"/>
                      <a:pt x="190" y="31"/>
                      <a:pt x="190" y="31"/>
                    </a:cubicBezTo>
                    <a:cubicBezTo>
                      <a:pt x="190" y="29"/>
                      <a:pt x="190" y="29"/>
                      <a:pt x="190" y="29"/>
                    </a:cubicBezTo>
                    <a:cubicBezTo>
                      <a:pt x="189" y="28"/>
                      <a:pt x="189" y="28"/>
                      <a:pt x="189" y="28"/>
                    </a:cubicBezTo>
                    <a:cubicBezTo>
                      <a:pt x="188" y="28"/>
                      <a:pt x="188" y="28"/>
                      <a:pt x="188" y="28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82" y="27"/>
                      <a:pt x="182" y="27"/>
                      <a:pt x="182" y="27"/>
                    </a:cubicBezTo>
                    <a:cubicBezTo>
                      <a:pt x="178" y="27"/>
                      <a:pt x="178" y="27"/>
                      <a:pt x="178" y="27"/>
                    </a:cubicBezTo>
                    <a:cubicBezTo>
                      <a:pt x="175" y="26"/>
                      <a:pt x="175" y="26"/>
                      <a:pt x="175" y="26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5" y="31"/>
                      <a:pt x="175" y="31"/>
                      <a:pt x="175" y="31"/>
                    </a:cubicBezTo>
                    <a:cubicBezTo>
                      <a:pt x="176" y="32"/>
                      <a:pt x="176" y="32"/>
                      <a:pt x="176" y="32"/>
                    </a:cubicBezTo>
                    <a:cubicBezTo>
                      <a:pt x="176" y="34"/>
                      <a:pt x="176" y="34"/>
                      <a:pt x="176" y="34"/>
                    </a:cubicBezTo>
                    <a:cubicBezTo>
                      <a:pt x="176" y="35"/>
                      <a:pt x="176" y="35"/>
                      <a:pt x="176" y="35"/>
                    </a:cubicBezTo>
                    <a:cubicBezTo>
                      <a:pt x="174" y="35"/>
                      <a:pt x="174" y="35"/>
                      <a:pt x="174" y="35"/>
                    </a:cubicBezTo>
                    <a:cubicBezTo>
                      <a:pt x="172" y="35"/>
                      <a:pt x="172" y="35"/>
                      <a:pt x="172" y="35"/>
                    </a:cubicBezTo>
                    <a:cubicBezTo>
                      <a:pt x="171" y="34"/>
                      <a:pt x="171" y="34"/>
                      <a:pt x="171" y="34"/>
                    </a:cubicBezTo>
                    <a:cubicBezTo>
                      <a:pt x="171" y="34"/>
                      <a:pt x="171" y="34"/>
                      <a:pt x="171" y="34"/>
                    </a:cubicBezTo>
                    <a:cubicBezTo>
                      <a:pt x="170" y="34"/>
                      <a:pt x="170" y="34"/>
                      <a:pt x="170" y="34"/>
                    </a:cubicBezTo>
                    <a:cubicBezTo>
                      <a:pt x="170" y="34"/>
                      <a:pt x="170" y="34"/>
                      <a:pt x="170" y="34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4"/>
                      <a:pt x="166" y="34"/>
                      <a:pt x="166" y="34"/>
                    </a:cubicBezTo>
                    <a:cubicBezTo>
                      <a:pt x="165" y="34"/>
                      <a:pt x="165" y="34"/>
                      <a:pt x="165" y="34"/>
                    </a:cubicBezTo>
                    <a:cubicBezTo>
                      <a:pt x="162" y="34"/>
                      <a:pt x="162" y="34"/>
                      <a:pt x="162" y="34"/>
                    </a:cubicBezTo>
                    <a:cubicBezTo>
                      <a:pt x="160" y="35"/>
                      <a:pt x="160" y="35"/>
                      <a:pt x="160" y="35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55" y="38"/>
                      <a:pt x="155" y="38"/>
                      <a:pt x="155" y="38"/>
                    </a:cubicBezTo>
                    <a:cubicBezTo>
                      <a:pt x="153" y="38"/>
                      <a:pt x="153" y="38"/>
                      <a:pt x="153" y="38"/>
                    </a:cubicBezTo>
                    <a:cubicBezTo>
                      <a:pt x="153" y="39"/>
                      <a:pt x="153" y="39"/>
                      <a:pt x="153" y="39"/>
                    </a:cubicBezTo>
                    <a:cubicBezTo>
                      <a:pt x="151" y="41"/>
                      <a:pt x="151" y="41"/>
                      <a:pt x="151" y="41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46" y="42"/>
                      <a:pt x="146" y="42"/>
                      <a:pt x="146" y="42"/>
                    </a:cubicBezTo>
                    <a:cubicBezTo>
                      <a:pt x="145" y="42"/>
                      <a:pt x="145" y="42"/>
                      <a:pt x="145" y="42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6"/>
                      <a:pt x="139" y="36"/>
                      <a:pt x="139" y="36"/>
                    </a:cubicBezTo>
                    <a:cubicBezTo>
                      <a:pt x="139" y="35"/>
                      <a:pt x="139" y="35"/>
                      <a:pt x="139" y="35"/>
                    </a:cubicBezTo>
                    <a:cubicBezTo>
                      <a:pt x="137" y="33"/>
                      <a:pt x="137" y="33"/>
                      <a:pt x="137" y="33"/>
                    </a:cubicBezTo>
                    <a:cubicBezTo>
                      <a:pt x="136" y="31"/>
                      <a:pt x="136" y="31"/>
                      <a:pt x="136" y="31"/>
                    </a:cubicBezTo>
                    <a:cubicBezTo>
                      <a:pt x="135" y="29"/>
                      <a:pt x="135" y="29"/>
                      <a:pt x="135" y="29"/>
                    </a:cubicBezTo>
                    <a:cubicBezTo>
                      <a:pt x="136" y="28"/>
                      <a:pt x="136" y="28"/>
                      <a:pt x="136" y="28"/>
                    </a:cubicBezTo>
                    <a:cubicBezTo>
                      <a:pt x="135" y="27"/>
                      <a:pt x="135" y="27"/>
                      <a:pt x="135" y="27"/>
                    </a:cubicBezTo>
                    <a:cubicBezTo>
                      <a:pt x="136" y="25"/>
                      <a:pt x="136" y="25"/>
                      <a:pt x="136" y="25"/>
                    </a:cubicBezTo>
                    <a:cubicBezTo>
                      <a:pt x="136" y="23"/>
                      <a:pt x="136" y="23"/>
                      <a:pt x="136" y="23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18"/>
                      <a:pt x="138" y="18"/>
                      <a:pt x="138" y="18"/>
                    </a:cubicBezTo>
                    <a:cubicBezTo>
                      <a:pt x="139" y="15"/>
                      <a:pt x="139" y="15"/>
                      <a:pt x="139" y="15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0" y="12"/>
                      <a:pt x="140" y="12"/>
                      <a:pt x="140" y="12"/>
                    </a:cubicBezTo>
                    <a:cubicBezTo>
                      <a:pt x="138" y="12"/>
                      <a:pt x="138" y="12"/>
                      <a:pt x="138" y="12"/>
                    </a:cubicBezTo>
                    <a:cubicBezTo>
                      <a:pt x="138" y="11"/>
                      <a:pt x="138" y="11"/>
                      <a:pt x="138" y="11"/>
                    </a:cubicBezTo>
                    <a:cubicBezTo>
                      <a:pt x="137" y="9"/>
                      <a:pt x="137" y="9"/>
                      <a:pt x="137" y="9"/>
                    </a:cubicBezTo>
                    <a:cubicBezTo>
                      <a:pt x="135" y="9"/>
                      <a:pt x="135" y="9"/>
                      <a:pt x="135" y="9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4" y="7"/>
                      <a:pt x="134" y="7"/>
                      <a:pt x="134" y="7"/>
                    </a:cubicBezTo>
                    <a:cubicBezTo>
                      <a:pt x="135" y="5"/>
                      <a:pt x="135" y="5"/>
                      <a:pt x="135" y="5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4" y="1"/>
                      <a:pt x="134" y="1"/>
                      <a:pt x="134" y="1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"/>
                      <a:pt x="129" y="2"/>
                      <a:pt x="129" y="2"/>
                    </a:cubicBezTo>
                    <a:cubicBezTo>
                      <a:pt x="128" y="5"/>
                      <a:pt x="128" y="5"/>
                      <a:pt x="128" y="5"/>
                    </a:cubicBezTo>
                    <a:cubicBezTo>
                      <a:pt x="123" y="8"/>
                      <a:pt x="123" y="8"/>
                      <a:pt x="123" y="8"/>
                    </a:cubicBezTo>
                    <a:cubicBezTo>
                      <a:pt x="120" y="9"/>
                      <a:pt x="120" y="9"/>
                      <a:pt x="120" y="9"/>
                    </a:cubicBezTo>
                    <a:cubicBezTo>
                      <a:pt x="116" y="10"/>
                      <a:pt x="116" y="10"/>
                      <a:pt x="116" y="10"/>
                    </a:cubicBezTo>
                    <a:cubicBezTo>
                      <a:pt x="114" y="10"/>
                      <a:pt x="114" y="10"/>
                      <a:pt x="114" y="1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4"/>
                      <a:pt x="100" y="14"/>
                      <a:pt x="100" y="14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3" y="12"/>
                      <a:pt x="93" y="12"/>
                      <a:pt x="93" y="12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91" y="14"/>
                      <a:pt x="91" y="14"/>
                      <a:pt x="91" y="14"/>
                    </a:cubicBezTo>
                    <a:cubicBezTo>
                      <a:pt x="93" y="16"/>
                      <a:pt x="93" y="16"/>
                      <a:pt x="93" y="16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2" y="24"/>
                      <a:pt x="92" y="24"/>
                      <a:pt x="92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6" y="29"/>
                      <a:pt x="96" y="29"/>
                      <a:pt x="96" y="29"/>
                    </a:cubicBezTo>
                    <a:cubicBezTo>
                      <a:pt x="99" y="29"/>
                      <a:pt x="99" y="29"/>
                      <a:pt x="99" y="29"/>
                    </a:cubicBezTo>
                    <a:cubicBezTo>
                      <a:pt x="102" y="29"/>
                      <a:pt x="102" y="29"/>
                      <a:pt x="102" y="29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95" y="33"/>
                      <a:pt x="95" y="33"/>
                      <a:pt x="95" y="33"/>
                    </a:cubicBezTo>
                    <a:cubicBezTo>
                      <a:pt x="94" y="35"/>
                      <a:pt x="94" y="35"/>
                      <a:pt x="94" y="35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83" y="44"/>
                      <a:pt x="83" y="44"/>
                      <a:pt x="83" y="44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77" y="47"/>
                      <a:pt x="77" y="47"/>
                      <a:pt x="77" y="47"/>
                    </a:cubicBezTo>
                    <a:cubicBezTo>
                      <a:pt x="74" y="47"/>
                      <a:pt x="74" y="47"/>
                      <a:pt x="74" y="47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37"/>
                      <a:pt x="64" y="37"/>
                      <a:pt x="64" y="37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5"/>
                      <a:pt x="55" y="35"/>
                      <a:pt x="55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37" y="51"/>
                      <a:pt x="37" y="51"/>
                      <a:pt x="37" y="51"/>
                    </a:cubicBezTo>
                    <a:cubicBezTo>
                      <a:pt x="37" y="56"/>
                      <a:pt x="37" y="56"/>
                      <a:pt x="37" y="56"/>
                    </a:cubicBezTo>
                    <a:cubicBezTo>
                      <a:pt x="39" y="58"/>
                      <a:pt x="39" y="58"/>
                      <a:pt x="39" y="58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5" y="66"/>
                      <a:pt x="45" y="66"/>
                      <a:pt x="45" y="66"/>
                    </a:cubicBezTo>
                    <a:cubicBezTo>
                      <a:pt x="45" y="69"/>
                      <a:pt x="45" y="69"/>
                      <a:pt x="45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39" y="91"/>
                      <a:pt x="39" y="91"/>
                      <a:pt x="39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3" y="96"/>
                      <a:pt x="33" y="96"/>
                      <a:pt x="33" y="96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29" y="98"/>
                      <a:pt x="29" y="98"/>
                      <a:pt x="29" y="98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11" y="106"/>
                      <a:pt x="11" y="106"/>
                      <a:pt x="11" y="106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9" y="110"/>
                      <a:pt x="9" y="110"/>
                      <a:pt x="9" y="110"/>
                    </a:cubicBezTo>
                    <a:cubicBezTo>
                      <a:pt x="8" y="111"/>
                      <a:pt x="8" y="111"/>
                      <a:pt x="8" y="111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9"/>
                      <a:pt x="7" y="119"/>
                      <a:pt x="7" y="119"/>
                    </a:cubicBezTo>
                    <a:cubicBezTo>
                      <a:pt x="8" y="121"/>
                      <a:pt x="8" y="121"/>
                      <a:pt x="8" y="121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2" y="124"/>
                      <a:pt x="2" y="124"/>
                      <a:pt x="2" y="124"/>
                    </a:cubicBezTo>
                    <a:cubicBezTo>
                      <a:pt x="2" y="126"/>
                      <a:pt x="2" y="126"/>
                      <a:pt x="2" y="12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8"/>
                      <a:pt x="2" y="128"/>
                      <a:pt x="2" y="128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3" y="138"/>
                      <a:pt x="3" y="138"/>
                      <a:pt x="3" y="138"/>
                    </a:cubicBezTo>
                    <a:cubicBezTo>
                      <a:pt x="8" y="146"/>
                      <a:pt x="8" y="146"/>
                      <a:pt x="8" y="146"/>
                    </a:cubicBezTo>
                    <a:cubicBezTo>
                      <a:pt x="6" y="149"/>
                      <a:pt x="6" y="149"/>
                      <a:pt x="6" y="149"/>
                    </a:cubicBezTo>
                    <a:cubicBezTo>
                      <a:pt x="12" y="148"/>
                      <a:pt x="12" y="148"/>
                      <a:pt x="12" y="148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7" y="152"/>
                      <a:pt x="17" y="152"/>
                      <a:pt x="17" y="152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21" y="155"/>
                      <a:pt x="21" y="155"/>
                      <a:pt x="21" y="155"/>
                    </a:cubicBezTo>
                    <a:cubicBezTo>
                      <a:pt x="26" y="155"/>
                      <a:pt x="26" y="155"/>
                      <a:pt x="26" y="155"/>
                    </a:cubicBezTo>
                    <a:cubicBezTo>
                      <a:pt x="30" y="151"/>
                      <a:pt x="30" y="151"/>
                      <a:pt x="30" y="151"/>
                    </a:cubicBezTo>
                    <a:cubicBezTo>
                      <a:pt x="34" y="149"/>
                      <a:pt x="34" y="149"/>
                      <a:pt x="34" y="149"/>
                    </a:cubicBezTo>
                    <a:cubicBezTo>
                      <a:pt x="35" y="150"/>
                      <a:pt x="35" y="150"/>
                      <a:pt x="35" y="150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7"/>
                      <a:pt x="34" y="157"/>
                      <a:pt x="34" y="157"/>
                    </a:cubicBezTo>
                    <a:cubicBezTo>
                      <a:pt x="34" y="163"/>
                      <a:pt x="34" y="163"/>
                      <a:pt x="34" y="163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35" y="166"/>
                      <a:pt x="35" y="166"/>
                      <a:pt x="35" y="166"/>
                    </a:cubicBezTo>
                    <a:cubicBezTo>
                      <a:pt x="37" y="166"/>
                      <a:pt x="37" y="166"/>
                      <a:pt x="37" y="166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43" y="166"/>
                      <a:pt x="43" y="166"/>
                      <a:pt x="43" y="166"/>
                    </a:cubicBezTo>
                    <a:cubicBezTo>
                      <a:pt x="44" y="166"/>
                      <a:pt x="44" y="166"/>
                      <a:pt x="44" y="166"/>
                    </a:cubicBezTo>
                    <a:cubicBezTo>
                      <a:pt x="44" y="166"/>
                      <a:pt x="44" y="166"/>
                      <a:pt x="44" y="166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3" y="166"/>
                      <a:pt x="53" y="166"/>
                      <a:pt x="53" y="166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7" y="164"/>
                      <a:pt x="57" y="164"/>
                      <a:pt x="57" y="164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61" y="163"/>
                      <a:pt x="61" y="163"/>
                      <a:pt x="61" y="163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6" y="157"/>
                      <a:pt x="66" y="157"/>
                      <a:pt x="66" y="157"/>
                    </a:cubicBezTo>
                    <a:cubicBezTo>
                      <a:pt x="70" y="154"/>
                      <a:pt x="70" y="154"/>
                      <a:pt x="70" y="154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7" y="152"/>
                      <a:pt x="77" y="152"/>
                      <a:pt x="77" y="152"/>
                    </a:cubicBezTo>
                    <a:cubicBezTo>
                      <a:pt x="79" y="152"/>
                      <a:pt x="79" y="152"/>
                      <a:pt x="79" y="152"/>
                    </a:cubicBezTo>
                    <a:cubicBezTo>
                      <a:pt x="81" y="154"/>
                      <a:pt x="81" y="154"/>
                      <a:pt x="81" y="154"/>
                    </a:cubicBezTo>
                    <a:cubicBezTo>
                      <a:pt x="83" y="152"/>
                      <a:pt x="83" y="152"/>
                      <a:pt x="83" y="152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5" y="159"/>
                      <a:pt x="85" y="159"/>
                      <a:pt x="85" y="159"/>
                    </a:cubicBezTo>
                    <a:cubicBezTo>
                      <a:pt x="83" y="162"/>
                      <a:pt x="83" y="162"/>
                      <a:pt x="83" y="162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4" y="168"/>
                      <a:pt x="84" y="168"/>
                      <a:pt x="84" y="168"/>
                    </a:cubicBezTo>
                    <a:cubicBezTo>
                      <a:pt x="85" y="172"/>
                      <a:pt x="85" y="172"/>
                      <a:pt x="85" y="172"/>
                    </a:cubicBezTo>
                    <a:cubicBezTo>
                      <a:pt x="88" y="173"/>
                      <a:pt x="88" y="173"/>
                      <a:pt x="88" y="173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91" y="177"/>
                      <a:pt x="91" y="177"/>
                      <a:pt x="91" y="177"/>
                    </a:cubicBezTo>
                    <a:cubicBezTo>
                      <a:pt x="94" y="179"/>
                      <a:pt x="94" y="179"/>
                      <a:pt x="94" y="179"/>
                    </a:cubicBezTo>
                    <a:cubicBezTo>
                      <a:pt x="96" y="181"/>
                      <a:pt x="96" y="181"/>
                      <a:pt x="96" y="181"/>
                    </a:cubicBezTo>
                    <a:cubicBezTo>
                      <a:pt x="97" y="180"/>
                      <a:pt x="97" y="180"/>
                      <a:pt x="97" y="180"/>
                    </a:cubicBezTo>
                    <a:cubicBezTo>
                      <a:pt x="101" y="179"/>
                      <a:pt x="101" y="179"/>
                      <a:pt x="101" y="179"/>
                    </a:cubicBezTo>
                    <a:cubicBezTo>
                      <a:pt x="104" y="183"/>
                      <a:pt x="104" y="183"/>
                      <a:pt x="104" y="183"/>
                    </a:cubicBezTo>
                    <a:cubicBezTo>
                      <a:pt x="107" y="182"/>
                      <a:pt x="107" y="182"/>
                      <a:pt x="107" y="182"/>
                    </a:cubicBezTo>
                    <a:cubicBezTo>
                      <a:pt x="110" y="186"/>
                      <a:pt x="110" y="186"/>
                      <a:pt x="110" y="186"/>
                    </a:cubicBezTo>
                    <a:cubicBezTo>
                      <a:pt x="112" y="186"/>
                      <a:pt x="112" y="186"/>
                      <a:pt x="112" y="186"/>
                    </a:cubicBezTo>
                    <a:cubicBezTo>
                      <a:pt x="116" y="187"/>
                      <a:pt x="116" y="187"/>
                      <a:pt x="116" y="187"/>
                    </a:cubicBezTo>
                    <a:cubicBezTo>
                      <a:pt x="118" y="188"/>
                      <a:pt x="118" y="188"/>
                      <a:pt x="118" y="188"/>
                    </a:cubicBezTo>
                    <a:cubicBezTo>
                      <a:pt x="119" y="191"/>
                      <a:pt x="119" y="191"/>
                      <a:pt x="119" y="191"/>
                    </a:cubicBezTo>
                    <a:cubicBezTo>
                      <a:pt x="121" y="192"/>
                      <a:pt x="121" y="192"/>
                      <a:pt x="121" y="192"/>
                    </a:cubicBezTo>
                    <a:cubicBezTo>
                      <a:pt x="124" y="193"/>
                      <a:pt x="124" y="193"/>
                      <a:pt x="124" y="193"/>
                    </a:cubicBez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33" y="195"/>
                      <a:pt x="133" y="195"/>
                      <a:pt x="133" y="195"/>
                    </a:cubicBezTo>
                    <a:cubicBezTo>
                      <a:pt x="134" y="196"/>
                      <a:pt x="134" y="196"/>
                      <a:pt x="134" y="196"/>
                    </a:cubicBezTo>
                    <a:cubicBezTo>
                      <a:pt x="133" y="201"/>
                      <a:pt x="133" y="201"/>
                      <a:pt x="133" y="201"/>
                    </a:cubicBezTo>
                    <a:cubicBezTo>
                      <a:pt x="134" y="205"/>
                      <a:pt x="134" y="205"/>
                      <a:pt x="134" y="205"/>
                    </a:cubicBezTo>
                    <a:cubicBezTo>
                      <a:pt x="133" y="207"/>
                      <a:pt x="133" y="207"/>
                      <a:pt x="133" y="207"/>
                    </a:cubicBezTo>
                    <a:cubicBezTo>
                      <a:pt x="137" y="213"/>
                      <a:pt x="137" y="213"/>
                      <a:pt x="137" y="213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54" y="224"/>
                      <a:pt x="154" y="224"/>
                      <a:pt x="154" y="224"/>
                    </a:cubicBezTo>
                    <a:cubicBezTo>
                      <a:pt x="154" y="228"/>
                      <a:pt x="154" y="228"/>
                      <a:pt x="154" y="228"/>
                    </a:cubicBezTo>
                    <a:cubicBezTo>
                      <a:pt x="159" y="230"/>
                      <a:pt x="159" y="230"/>
                      <a:pt x="159" y="230"/>
                    </a:cubicBezTo>
                    <a:cubicBezTo>
                      <a:pt x="164" y="239"/>
                      <a:pt x="164" y="239"/>
                      <a:pt x="164" y="239"/>
                    </a:cubicBezTo>
                    <a:cubicBezTo>
                      <a:pt x="164" y="244"/>
                      <a:pt x="164" y="244"/>
                      <a:pt x="164" y="244"/>
                    </a:cubicBezTo>
                    <a:cubicBezTo>
                      <a:pt x="160" y="253"/>
                      <a:pt x="160" y="253"/>
                      <a:pt x="160" y="253"/>
                    </a:cubicBezTo>
                    <a:cubicBezTo>
                      <a:pt x="160" y="255"/>
                      <a:pt x="160" y="255"/>
                      <a:pt x="160" y="255"/>
                    </a:cubicBezTo>
                    <a:cubicBezTo>
                      <a:pt x="159" y="257"/>
                      <a:pt x="159" y="257"/>
                      <a:pt x="159" y="257"/>
                    </a:cubicBezTo>
                    <a:cubicBezTo>
                      <a:pt x="159" y="258"/>
                      <a:pt x="159" y="258"/>
                      <a:pt x="159" y="258"/>
                    </a:cubicBezTo>
                    <a:cubicBezTo>
                      <a:pt x="159" y="260"/>
                      <a:pt x="159" y="260"/>
                      <a:pt x="159" y="260"/>
                    </a:cubicBezTo>
                    <a:cubicBezTo>
                      <a:pt x="161" y="262"/>
                      <a:pt x="161" y="262"/>
                      <a:pt x="161" y="262"/>
                    </a:cubicBezTo>
                    <a:cubicBezTo>
                      <a:pt x="161" y="265"/>
                      <a:pt x="161" y="265"/>
                      <a:pt x="161" y="265"/>
                    </a:cubicBezTo>
                    <a:cubicBezTo>
                      <a:pt x="163" y="268"/>
                      <a:pt x="163" y="268"/>
                      <a:pt x="163" y="268"/>
                    </a:cubicBezTo>
                    <a:cubicBezTo>
                      <a:pt x="162" y="274"/>
                      <a:pt x="162" y="274"/>
                      <a:pt x="162" y="274"/>
                    </a:cubicBezTo>
                    <a:cubicBezTo>
                      <a:pt x="163" y="276"/>
                      <a:pt x="163" y="276"/>
                      <a:pt x="163" y="276"/>
                    </a:cubicBezTo>
                    <a:cubicBezTo>
                      <a:pt x="162" y="278"/>
                      <a:pt x="162" y="278"/>
                      <a:pt x="162" y="278"/>
                    </a:cubicBezTo>
                    <a:cubicBezTo>
                      <a:pt x="163" y="280"/>
                      <a:pt x="163" y="280"/>
                      <a:pt x="163" y="280"/>
                    </a:cubicBezTo>
                    <a:cubicBezTo>
                      <a:pt x="167" y="280"/>
                      <a:pt x="167" y="280"/>
                      <a:pt x="167" y="280"/>
                    </a:cubicBezTo>
                    <a:cubicBezTo>
                      <a:pt x="168" y="281"/>
                      <a:pt x="168" y="281"/>
                      <a:pt x="168" y="281"/>
                    </a:cubicBezTo>
                    <a:cubicBezTo>
                      <a:pt x="173" y="280"/>
                      <a:pt x="173" y="280"/>
                      <a:pt x="173" y="280"/>
                    </a:cubicBezTo>
                    <a:cubicBezTo>
                      <a:pt x="175" y="281"/>
                      <a:pt x="175" y="281"/>
                      <a:pt x="175" y="281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2" y="281"/>
                      <a:pt x="182" y="281"/>
                      <a:pt x="182" y="281"/>
                    </a:cubicBezTo>
                    <a:cubicBezTo>
                      <a:pt x="184" y="282"/>
                      <a:pt x="184" y="282"/>
                      <a:pt x="184" y="282"/>
                    </a:cubicBezTo>
                    <a:cubicBezTo>
                      <a:pt x="185" y="284"/>
                      <a:pt x="185" y="284"/>
                      <a:pt x="185" y="284"/>
                    </a:cubicBezTo>
                    <a:cubicBezTo>
                      <a:pt x="187" y="295"/>
                      <a:pt x="187" y="295"/>
                      <a:pt x="187" y="295"/>
                    </a:cubicBezTo>
                    <a:cubicBezTo>
                      <a:pt x="189" y="299"/>
                      <a:pt x="189" y="299"/>
                      <a:pt x="189" y="299"/>
                    </a:cubicBezTo>
                    <a:cubicBezTo>
                      <a:pt x="191" y="299"/>
                      <a:pt x="191" y="299"/>
                      <a:pt x="191" y="299"/>
                    </a:cubicBezTo>
                    <a:cubicBezTo>
                      <a:pt x="194" y="297"/>
                      <a:pt x="194" y="297"/>
                      <a:pt x="194" y="297"/>
                    </a:cubicBezTo>
                    <a:cubicBezTo>
                      <a:pt x="197" y="298"/>
                      <a:pt x="197" y="298"/>
                      <a:pt x="197" y="298"/>
                    </a:cubicBezTo>
                    <a:cubicBezTo>
                      <a:pt x="198" y="299"/>
                      <a:pt x="198" y="299"/>
                      <a:pt x="198" y="299"/>
                    </a:cubicBezTo>
                    <a:cubicBezTo>
                      <a:pt x="199" y="300"/>
                      <a:pt x="199" y="300"/>
                      <a:pt x="199" y="300"/>
                    </a:cubicBezTo>
                    <a:cubicBezTo>
                      <a:pt x="198" y="301"/>
                      <a:pt x="198" y="301"/>
                      <a:pt x="198" y="301"/>
                    </a:cubicBezTo>
                    <a:cubicBezTo>
                      <a:pt x="198" y="310"/>
                      <a:pt x="198" y="310"/>
                      <a:pt x="198" y="310"/>
                    </a:cubicBezTo>
                    <a:cubicBezTo>
                      <a:pt x="198" y="312"/>
                      <a:pt x="198" y="312"/>
                      <a:pt x="198" y="312"/>
                    </a:cubicBezTo>
                    <a:cubicBezTo>
                      <a:pt x="198" y="312"/>
                      <a:pt x="198" y="312"/>
                      <a:pt x="198" y="312"/>
                    </a:cubicBezTo>
                    <a:cubicBezTo>
                      <a:pt x="198" y="313"/>
                      <a:pt x="198" y="313"/>
                      <a:pt x="198" y="313"/>
                    </a:cubicBezTo>
                    <a:cubicBezTo>
                      <a:pt x="197" y="314"/>
                      <a:pt x="197" y="314"/>
                      <a:pt x="197" y="314"/>
                    </a:cubicBezTo>
                    <a:cubicBezTo>
                      <a:pt x="197" y="315"/>
                      <a:pt x="197" y="315"/>
                      <a:pt x="197" y="315"/>
                    </a:cubicBezTo>
                    <a:cubicBezTo>
                      <a:pt x="199" y="314"/>
                      <a:pt x="199" y="314"/>
                      <a:pt x="199" y="314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204" y="317"/>
                      <a:pt x="204" y="317"/>
                      <a:pt x="204" y="317"/>
                    </a:cubicBezTo>
                    <a:cubicBezTo>
                      <a:pt x="205" y="321"/>
                      <a:pt x="205" y="321"/>
                      <a:pt x="205" y="321"/>
                    </a:cubicBezTo>
                    <a:cubicBezTo>
                      <a:pt x="205" y="324"/>
                      <a:pt x="205" y="324"/>
                      <a:pt x="205" y="324"/>
                    </a:cubicBezTo>
                    <a:cubicBezTo>
                      <a:pt x="206" y="328"/>
                      <a:pt x="206" y="328"/>
                      <a:pt x="206" y="328"/>
                    </a:cubicBezTo>
                    <a:cubicBezTo>
                      <a:pt x="206" y="332"/>
                      <a:pt x="206" y="332"/>
                      <a:pt x="206" y="332"/>
                    </a:cubicBezTo>
                    <a:cubicBezTo>
                      <a:pt x="205" y="333"/>
                      <a:pt x="205" y="333"/>
                      <a:pt x="205" y="333"/>
                    </a:cubicBezTo>
                    <a:cubicBezTo>
                      <a:pt x="203" y="333"/>
                      <a:pt x="203" y="333"/>
                      <a:pt x="203" y="333"/>
                    </a:cubicBezTo>
                    <a:cubicBezTo>
                      <a:pt x="201" y="335"/>
                      <a:pt x="201" y="335"/>
                      <a:pt x="201" y="335"/>
                    </a:cubicBezTo>
                    <a:cubicBezTo>
                      <a:pt x="201" y="335"/>
                      <a:pt x="201" y="335"/>
                      <a:pt x="201" y="335"/>
                    </a:cubicBezTo>
                    <a:cubicBezTo>
                      <a:pt x="199" y="337"/>
                      <a:pt x="199" y="337"/>
                      <a:pt x="199" y="337"/>
                    </a:cubicBezTo>
                    <a:cubicBezTo>
                      <a:pt x="199" y="336"/>
                      <a:pt x="199" y="336"/>
                      <a:pt x="199" y="336"/>
                    </a:cubicBezTo>
                    <a:cubicBezTo>
                      <a:pt x="195" y="339"/>
                      <a:pt x="195" y="339"/>
                      <a:pt x="195" y="339"/>
                    </a:cubicBezTo>
                    <a:cubicBezTo>
                      <a:pt x="194" y="340"/>
                      <a:pt x="194" y="340"/>
                      <a:pt x="194" y="340"/>
                    </a:cubicBezTo>
                    <a:cubicBezTo>
                      <a:pt x="192" y="341"/>
                      <a:pt x="192" y="341"/>
                      <a:pt x="192" y="341"/>
                    </a:cubicBezTo>
                    <a:cubicBezTo>
                      <a:pt x="189" y="344"/>
                      <a:pt x="189" y="344"/>
                      <a:pt x="189" y="344"/>
                    </a:cubicBezTo>
                    <a:cubicBezTo>
                      <a:pt x="188" y="344"/>
                      <a:pt x="188" y="344"/>
                      <a:pt x="188" y="344"/>
                    </a:cubicBezTo>
                    <a:cubicBezTo>
                      <a:pt x="188" y="347"/>
                      <a:pt x="188" y="347"/>
                      <a:pt x="188" y="347"/>
                    </a:cubicBezTo>
                    <a:cubicBezTo>
                      <a:pt x="186" y="347"/>
                      <a:pt x="186" y="347"/>
                      <a:pt x="186" y="347"/>
                    </a:cubicBezTo>
                    <a:cubicBezTo>
                      <a:pt x="185" y="347"/>
                      <a:pt x="185" y="347"/>
                      <a:pt x="185" y="347"/>
                    </a:cubicBezTo>
                    <a:cubicBezTo>
                      <a:pt x="182" y="351"/>
                      <a:pt x="182" y="351"/>
                      <a:pt x="182" y="351"/>
                    </a:cubicBezTo>
                    <a:cubicBezTo>
                      <a:pt x="181" y="352"/>
                      <a:pt x="181" y="352"/>
                      <a:pt x="181" y="352"/>
                    </a:cubicBezTo>
                    <a:cubicBezTo>
                      <a:pt x="181" y="354"/>
                      <a:pt x="181" y="354"/>
                      <a:pt x="181" y="354"/>
                    </a:cubicBezTo>
                    <a:cubicBezTo>
                      <a:pt x="180" y="355"/>
                      <a:pt x="180" y="355"/>
                      <a:pt x="180" y="355"/>
                    </a:cubicBezTo>
                    <a:cubicBezTo>
                      <a:pt x="179" y="356"/>
                      <a:pt x="179" y="356"/>
                      <a:pt x="179" y="356"/>
                    </a:cubicBezTo>
                    <a:cubicBezTo>
                      <a:pt x="177" y="360"/>
                      <a:pt x="177" y="360"/>
                      <a:pt x="177" y="360"/>
                    </a:cubicBezTo>
                    <a:cubicBezTo>
                      <a:pt x="176" y="361"/>
                      <a:pt x="176" y="361"/>
                      <a:pt x="176" y="361"/>
                    </a:cubicBezTo>
                    <a:cubicBezTo>
                      <a:pt x="174" y="364"/>
                      <a:pt x="174" y="364"/>
                      <a:pt x="174" y="364"/>
                    </a:cubicBezTo>
                    <a:cubicBezTo>
                      <a:pt x="174" y="365"/>
                      <a:pt x="174" y="365"/>
                      <a:pt x="174" y="365"/>
                    </a:cubicBezTo>
                    <a:cubicBezTo>
                      <a:pt x="173" y="366"/>
                      <a:pt x="173" y="366"/>
                      <a:pt x="173" y="366"/>
                    </a:cubicBezTo>
                    <a:cubicBezTo>
                      <a:pt x="172" y="367"/>
                      <a:pt x="172" y="367"/>
                      <a:pt x="172" y="367"/>
                    </a:cubicBezTo>
                    <a:cubicBezTo>
                      <a:pt x="174" y="367"/>
                      <a:pt x="174" y="367"/>
                      <a:pt x="174" y="367"/>
                    </a:cubicBezTo>
                    <a:cubicBezTo>
                      <a:pt x="175" y="367"/>
                      <a:pt x="175" y="367"/>
                      <a:pt x="175" y="367"/>
                    </a:cubicBezTo>
                    <a:cubicBezTo>
                      <a:pt x="180" y="366"/>
                      <a:pt x="180" y="366"/>
                      <a:pt x="180" y="366"/>
                    </a:cubicBezTo>
                    <a:cubicBezTo>
                      <a:pt x="182" y="367"/>
                      <a:pt x="182" y="367"/>
                      <a:pt x="182" y="367"/>
                    </a:cubicBezTo>
                    <a:cubicBezTo>
                      <a:pt x="184" y="370"/>
                      <a:pt x="184" y="370"/>
                      <a:pt x="184" y="370"/>
                    </a:cubicBezTo>
                    <a:cubicBezTo>
                      <a:pt x="186" y="371"/>
                      <a:pt x="186" y="371"/>
                      <a:pt x="186" y="371"/>
                    </a:cubicBezTo>
                    <a:cubicBezTo>
                      <a:pt x="187" y="374"/>
                      <a:pt x="187" y="374"/>
                      <a:pt x="187" y="374"/>
                    </a:cubicBezTo>
                    <a:cubicBezTo>
                      <a:pt x="189" y="378"/>
                      <a:pt x="189" y="378"/>
                      <a:pt x="189" y="378"/>
                    </a:cubicBezTo>
                    <a:cubicBezTo>
                      <a:pt x="190" y="378"/>
                      <a:pt x="190" y="378"/>
                      <a:pt x="190" y="378"/>
                    </a:cubicBezTo>
                    <a:cubicBezTo>
                      <a:pt x="192" y="376"/>
                      <a:pt x="192" y="376"/>
                      <a:pt x="192" y="376"/>
                    </a:cubicBezTo>
                    <a:cubicBezTo>
                      <a:pt x="193" y="376"/>
                      <a:pt x="193" y="376"/>
                      <a:pt x="193" y="376"/>
                    </a:cubicBezTo>
                    <a:cubicBezTo>
                      <a:pt x="196" y="380"/>
                      <a:pt x="196" y="380"/>
                      <a:pt x="196" y="380"/>
                    </a:cubicBezTo>
                    <a:cubicBezTo>
                      <a:pt x="198" y="381"/>
                      <a:pt x="198" y="381"/>
                      <a:pt x="198" y="381"/>
                    </a:cubicBezTo>
                    <a:cubicBezTo>
                      <a:pt x="200" y="381"/>
                      <a:pt x="200" y="381"/>
                      <a:pt x="200" y="381"/>
                    </a:cubicBezTo>
                    <a:cubicBezTo>
                      <a:pt x="203" y="384"/>
                      <a:pt x="203" y="384"/>
                      <a:pt x="203" y="384"/>
                    </a:cubicBezTo>
                    <a:cubicBezTo>
                      <a:pt x="203" y="386"/>
                      <a:pt x="203" y="386"/>
                      <a:pt x="203" y="386"/>
                    </a:cubicBezTo>
                    <a:cubicBezTo>
                      <a:pt x="205" y="386"/>
                      <a:pt x="205" y="386"/>
                      <a:pt x="205" y="386"/>
                    </a:cubicBezTo>
                    <a:cubicBezTo>
                      <a:pt x="209" y="388"/>
                      <a:pt x="209" y="388"/>
                      <a:pt x="209" y="388"/>
                    </a:cubicBezTo>
                    <a:cubicBezTo>
                      <a:pt x="211" y="391"/>
                      <a:pt x="211" y="391"/>
                      <a:pt x="211" y="391"/>
                    </a:cubicBezTo>
                    <a:cubicBezTo>
                      <a:pt x="213" y="394"/>
                      <a:pt x="213" y="394"/>
                      <a:pt x="213" y="394"/>
                    </a:cubicBezTo>
                    <a:cubicBezTo>
                      <a:pt x="215" y="396"/>
                      <a:pt x="215" y="396"/>
                      <a:pt x="215" y="396"/>
                    </a:cubicBezTo>
                    <a:cubicBezTo>
                      <a:pt x="215" y="399"/>
                      <a:pt x="215" y="399"/>
                      <a:pt x="215" y="399"/>
                    </a:cubicBezTo>
                    <a:cubicBezTo>
                      <a:pt x="213" y="401"/>
                      <a:pt x="213" y="401"/>
                      <a:pt x="213" y="401"/>
                    </a:cubicBezTo>
                    <a:cubicBezTo>
                      <a:pt x="214" y="404"/>
                      <a:pt x="214" y="404"/>
                      <a:pt x="214" y="404"/>
                    </a:cubicBezTo>
                    <a:cubicBezTo>
                      <a:pt x="214" y="405"/>
                      <a:pt x="214" y="405"/>
                      <a:pt x="214" y="405"/>
                    </a:cubicBezTo>
                    <a:cubicBezTo>
                      <a:pt x="215" y="405"/>
                      <a:pt x="215" y="405"/>
                      <a:pt x="215" y="405"/>
                    </a:cubicBezTo>
                    <a:cubicBezTo>
                      <a:pt x="216" y="407"/>
                      <a:pt x="216" y="407"/>
                      <a:pt x="216" y="407"/>
                    </a:cubicBezTo>
                    <a:cubicBezTo>
                      <a:pt x="216" y="407"/>
                      <a:pt x="216" y="407"/>
                      <a:pt x="216" y="407"/>
                    </a:cubicBezTo>
                    <a:cubicBezTo>
                      <a:pt x="220" y="404"/>
                      <a:pt x="220" y="404"/>
                      <a:pt x="220" y="404"/>
                    </a:cubicBezTo>
                    <a:cubicBezTo>
                      <a:pt x="221" y="401"/>
                      <a:pt x="221" y="401"/>
                      <a:pt x="221" y="401"/>
                    </a:cubicBezTo>
                    <a:cubicBezTo>
                      <a:pt x="223" y="394"/>
                      <a:pt x="223" y="394"/>
                      <a:pt x="223" y="394"/>
                    </a:cubicBezTo>
                    <a:cubicBezTo>
                      <a:pt x="224" y="390"/>
                      <a:pt x="224" y="390"/>
                      <a:pt x="224" y="390"/>
                    </a:cubicBezTo>
                    <a:cubicBezTo>
                      <a:pt x="225" y="389"/>
                      <a:pt x="225" y="389"/>
                      <a:pt x="225" y="389"/>
                    </a:cubicBezTo>
                    <a:cubicBezTo>
                      <a:pt x="224" y="388"/>
                      <a:pt x="224" y="388"/>
                      <a:pt x="224" y="388"/>
                    </a:cubicBezTo>
                    <a:cubicBezTo>
                      <a:pt x="223" y="385"/>
                      <a:pt x="223" y="385"/>
                      <a:pt x="223" y="385"/>
                    </a:cubicBezTo>
                    <a:cubicBezTo>
                      <a:pt x="223" y="383"/>
                      <a:pt x="223" y="383"/>
                      <a:pt x="223" y="383"/>
                    </a:cubicBezTo>
                    <a:cubicBezTo>
                      <a:pt x="225" y="383"/>
                      <a:pt x="225" y="383"/>
                      <a:pt x="225" y="383"/>
                    </a:cubicBezTo>
                    <a:cubicBezTo>
                      <a:pt x="225" y="381"/>
                      <a:pt x="225" y="381"/>
                      <a:pt x="225" y="381"/>
                    </a:cubicBezTo>
                    <a:cubicBezTo>
                      <a:pt x="226" y="379"/>
                      <a:pt x="226" y="379"/>
                      <a:pt x="226" y="379"/>
                    </a:cubicBezTo>
                    <a:cubicBezTo>
                      <a:pt x="226" y="378"/>
                      <a:pt x="226" y="378"/>
                      <a:pt x="226" y="378"/>
                    </a:cubicBezTo>
                    <a:cubicBezTo>
                      <a:pt x="227" y="379"/>
                      <a:pt x="227" y="379"/>
                      <a:pt x="227" y="379"/>
                    </a:cubicBezTo>
                    <a:cubicBezTo>
                      <a:pt x="229" y="379"/>
                      <a:pt x="229" y="379"/>
                      <a:pt x="229" y="379"/>
                    </a:cubicBezTo>
                    <a:cubicBezTo>
                      <a:pt x="230" y="377"/>
                      <a:pt x="230" y="377"/>
                      <a:pt x="230" y="377"/>
                    </a:cubicBezTo>
                    <a:cubicBezTo>
                      <a:pt x="231" y="375"/>
                      <a:pt x="231" y="375"/>
                      <a:pt x="231" y="375"/>
                    </a:cubicBezTo>
                    <a:cubicBezTo>
                      <a:pt x="231" y="374"/>
                      <a:pt x="231" y="374"/>
                      <a:pt x="231" y="374"/>
                    </a:cubicBezTo>
                    <a:cubicBezTo>
                      <a:pt x="231" y="372"/>
                      <a:pt x="231" y="372"/>
                      <a:pt x="231" y="372"/>
                    </a:cubicBezTo>
                    <a:cubicBezTo>
                      <a:pt x="232" y="371"/>
                      <a:pt x="232" y="371"/>
                      <a:pt x="232" y="371"/>
                    </a:cubicBezTo>
                    <a:cubicBezTo>
                      <a:pt x="233" y="371"/>
                      <a:pt x="233" y="371"/>
                      <a:pt x="233" y="371"/>
                    </a:cubicBezTo>
                    <a:cubicBezTo>
                      <a:pt x="234" y="369"/>
                      <a:pt x="234" y="369"/>
                      <a:pt x="234" y="369"/>
                    </a:cubicBezTo>
                    <a:cubicBezTo>
                      <a:pt x="233" y="368"/>
                      <a:pt x="233" y="368"/>
                      <a:pt x="233" y="368"/>
                    </a:cubicBezTo>
                    <a:cubicBezTo>
                      <a:pt x="232" y="367"/>
                      <a:pt x="232" y="367"/>
                      <a:pt x="232" y="367"/>
                    </a:cubicBezTo>
                    <a:cubicBezTo>
                      <a:pt x="232" y="364"/>
                      <a:pt x="232" y="364"/>
                      <a:pt x="232" y="364"/>
                    </a:cubicBezTo>
                    <a:cubicBezTo>
                      <a:pt x="231" y="363"/>
                      <a:pt x="231" y="363"/>
                      <a:pt x="231" y="363"/>
                    </a:cubicBezTo>
                    <a:cubicBezTo>
                      <a:pt x="232" y="363"/>
                      <a:pt x="232" y="363"/>
                      <a:pt x="232" y="363"/>
                    </a:cubicBezTo>
                    <a:cubicBezTo>
                      <a:pt x="234" y="366"/>
                      <a:pt x="234" y="366"/>
                      <a:pt x="234" y="366"/>
                    </a:cubicBezTo>
                    <a:cubicBezTo>
                      <a:pt x="236" y="368"/>
                      <a:pt x="236" y="368"/>
                      <a:pt x="236" y="368"/>
                    </a:cubicBezTo>
                    <a:cubicBezTo>
                      <a:pt x="237" y="368"/>
                      <a:pt x="237" y="368"/>
                      <a:pt x="237" y="368"/>
                    </a:cubicBezTo>
                    <a:cubicBezTo>
                      <a:pt x="238" y="368"/>
                      <a:pt x="238" y="368"/>
                      <a:pt x="238" y="368"/>
                    </a:cubicBezTo>
                    <a:cubicBezTo>
                      <a:pt x="238" y="368"/>
                      <a:pt x="238" y="368"/>
                      <a:pt x="238" y="368"/>
                    </a:cubicBezTo>
                    <a:cubicBezTo>
                      <a:pt x="239" y="370"/>
                      <a:pt x="239" y="370"/>
                      <a:pt x="239" y="370"/>
                    </a:cubicBezTo>
                    <a:cubicBezTo>
                      <a:pt x="238" y="370"/>
                      <a:pt x="238" y="370"/>
                      <a:pt x="238" y="370"/>
                    </a:cubicBezTo>
                    <a:cubicBezTo>
                      <a:pt x="237" y="374"/>
                      <a:pt x="237" y="374"/>
                      <a:pt x="237" y="374"/>
                    </a:cubicBezTo>
                    <a:cubicBezTo>
                      <a:pt x="235" y="377"/>
                      <a:pt x="235" y="377"/>
                      <a:pt x="235" y="377"/>
                    </a:cubicBezTo>
                    <a:cubicBezTo>
                      <a:pt x="233" y="378"/>
                      <a:pt x="233" y="378"/>
                      <a:pt x="233" y="378"/>
                    </a:cubicBezTo>
                    <a:cubicBezTo>
                      <a:pt x="232" y="380"/>
                      <a:pt x="232" y="380"/>
                      <a:pt x="232" y="380"/>
                    </a:cubicBezTo>
                    <a:cubicBezTo>
                      <a:pt x="232" y="381"/>
                      <a:pt x="232" y="381"/>
                      <a:pt x="232" y="381"/>
                    </a:cubicBezTo>
                    <a:cubicBezTo>
                      <a:pt x="231" y="381"/>
                      <a:pt x="231" y="381"/>
                      <a:pt x="231" y="381"/>
                    </a:cubicBezTo>
                    <a:cubicBezTo>
                      <a:pt x="229" y="382"/>
                      <a:pt x="229" y="382"/>
                      <a:pt x="229" y="382"/>
                    </a:cubicBezTo>
                    <a:cubicBezTo>
                      <a:pt x="228" y="384"/>
                      <a:pt x="228" y="384"/>
                      <a:pt x="228" y="384"/>
                    </a:cubicBezTo>
                    <a:cubicBezTo>
                      <a:pt x="227" y="385"/>
                      <a:pt x="227" y="385"/>
                      <a:pt x="227" y="385"/>
                    </a:cubicBezTo>
                    <a:cubicBezTo>
                      <a:pt x="226" y="385"/>
                      <a:pt x="226" y="385"/>
                      <a:pt x="226" y="385"/>
                    </a:cubicBezTo>
                    <a:cubicBezTo>
                      <a:pt x="225" y="386"/>
                      <a:pt x="225" y="386"/>
                      <a:pt x="225" y="386"/>
                    </a:cubicBezTo>
                    <a:cubicBezTo>
                      <a:pt x="225" y="387"/>
                      <a:pt x="225" y="387"/>
                      <a:pt x="225" y="387"/>
                    </a:cubicBezTo>
                    <a:cubicBezTo>
                      <a:pt x="227" y="387"/>
                      <a:pt x="227" y="387"/>
                      <a:pt x="227" y="387"/>
                    </a:cubicBezTo>
                    <a:cubicBezTo>
                      <a:pt x="233" y="382"/>
                      <a:pt x="233" y="382"/>
                      <a:pt x="233" y="382"/>
                    </a:cubicBezTo>
                    <a:cubicBezTo>
                      <a:pt x="236" y="379"/>
                      <a:pt x="236" y="379"/>
                      <a:pt x="236" y="379"/>
                    </a:cubicBezTo>
                    <a:cubicBezTo>
                      <a:pt x="241" y="371"/>
                      <a:pt x="241" y="371"/>
                      <a:pt x="241" y="371"/>
                    </a:cubicBezTo>
                    <a:cubicBezTo>
                      <a:pt x="242" y="367"/>
                      <a:pt x="242" y="367"/>
                      <a:pt x="242" y="367"/>
                    </a:cubicBezTo>
                    <a:cubicBezTo>
                      <a:pt x="244" y="362"/>
                      <a:pt x="244" y="362"/>
                      <a:pt x="244" y="362"/>
                    </a:cubicBezTo>
                    <a:cubicBezTo>
                      <a:pt x="249" y="353"/>
                      <a:pt x="249" y="353"/>
                      <a:pt x="249" y="353"/>
                    </a:cubicBezTo>
                    <a:cubicBezTo>
                      <a:pt x="253" y="348"/>
                      <a:pt x="253" y="348"/>
                      <a:pt x="253" y="348"/>
                    </a:cubicBezTo>
                    <a:cubicBezTo>
                      <a:pt x="254" y="346"/>
                      <a:pt x="254" y="346"/>
                      <a:pt x="254" y="346"/>
                    </a:cubicBezTo>
                    <a:cubicBezTo>
                      <a:pt x="253" y="346"/>
                      <a:pt x="253" y="346"/>
                      <a:pt x="253" y="346"/>
                    </a:cubicBezTo>
                    <a:cubicBezTo>
                      <a:pt x="253" y="344"/>
                      <a:pt x="253" y="344"/>
                      <a:pt x="253" y="344"/>
                    </a:cubicBezTo>
                    <a:cubicBezTo>
                      <a:pt x="254" y="344"/>
                      <a:pt x="254" y="344"/>
                      <a:pt x="254" y="344"/>
                    </a:cubicBezTo>
                    <a:cubicBezTo>
                      <a:pt x="255" y="342"/>
                      <a:pt x="255" y="342"/>
                      <a:pt x="255" y="342"/>
                    </a:cubicBezTo>
                    <a:cubicBezTo>
                      <a:pt x="256" y="341"/>
                      <a:pt x="256" y="341"/>
                      <a:pt x="256" y="341"/>
                    </a:cubicBezTo>
                    <a:cubicBezTo>
                      <a:pt x="256" y="339"/>
                      <a:pt x="256" y="339"/>
                      <a:pt x="256" y="339"/>
                    </a:cubicBezTo>
                    <a:cubicBezTo>
                      <a:pt x="256" y="338"/>
                      <a:pt x="256" y="338"/>
                      <a:pt x="256" y="338"/>
                    </a:cubicBezTo>
                    <a:cubicBezTo>
                      <a:pt x="256" y="338"/>
                      <a:pt x="256" y="338"/>
                      <a:pt x="256" y="338"/>
                    </a:cubicBezTo>
                    <a:cubicBezTo>
                      <a:pt x="255" y="337"/>
                      <a:pt x="255" y="337"/>
                      <a:pt x="255" y="337"/>
                    </a:cubicBezTo>
                    <a:cubicBezTo>
                      <a:pt x="255" y="335"/>
                      <a:pt x="255" y="335"/>
                      <a:pt x="255" y="335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31"/>
                      <a:pt x="253" y="331"/>
                      <a:pt x="253" y="331"/>
                    </a:cubicBezTo>
                    <a:cubicBezTo>
                      <a:pt x="254" y="330"/>
                      <a:pt x="254" y="330"/>
                      <a:pt x="254" y="330"/>
                    </a:cubicBezTo>
                    <a:cubicBezTo>
                      <a:pt x="253" y="328"/>
                      <a:pt x="253" y="328"/>
                      <a:pt x="253" y="328"/>
                    </a:cubicBezTo>
                    <a:cubicBezTo>
                      <a:pt x="253" y="326"/>
                      <a:pt x="253" y="326"/>
                      <a:pt x="253" y="326"/>
                    </a:cubicBezTo>
                    <a:cubicBezTo>
                      <a:pt x="252" y="323"/>
                      <a:pt x="252" y="323"/>
                      <a:pt x="252" y="323"/>
                    </a:cubicBezTo>
                    <a:cubicBezTo>
                      <a:pt x="253" y="322"/>
                      <a:pt x="253" y="322"/>
                      <a:pt x="253" y="322"/>
                    </a:cubicBezTo>
                    <a:cubicBezTo>
                      <a:pt x="255" y="321"/>
                      <a:pt x="255" y="321"/>
                      <a:pt x="255" y="321"/>
                    </a:cubicBezTo>
                    <a:cubicBezTo>
                      <a:pt x="254" y="320"/>
                      <a:pt x="254" y="320"/>
                      <a:pt x="254" y="320"/>
                    </a:cubicBezTo>
                    <a:cubicBezTo>
                      <a:pt x="253" y="319"/>
                      <a:pt x="253" y="319"/>
                      <a:pt x="253" y="319"/>
                    </a:cubicBezTo>
                    <a:cubicBezTo>
                      <a:pt x="255" y="318"/>
                      <a:pt x="255" y="318"/>
                      <a:pt x="255" y="318"/>
                    </a:cubicBezTo>
                    <a:cubicBezTo>
                      <a:pt x="256" y="317"/>
                      <a:pt x="256" y="317"/>
                      <a:pt x="256" y="317"/>
                    </a:cubicBezTo>
                    <a:cubicBezTo>
                      <a:pt x="253" y="315"/>
                      <a:pt x="253" y="315"/>
                      <a:pt x="253" y="315"/>
                    </a:cubicBezTo>
                    <a:cubicBezTo>
                      <a:pt x="255" y="315"/>
                      <a:pt x="255" y="315"/>
                      <a:pt x="255" y="315"/>
                    </a:cubicBezTo>
                    <a:cubicBezTo>
                      <a:pt x="256" y="313"/>
                      <a:pt x="256" y="313"/>
                      <a:pt x="256" y="313"/>
                    </a:cubicBezTo>
                    <a:cubicBezTo>
                      <a:pt x="257" y="314"/>
                      <a:pt x="257" y="314"/>
                      <a:pt x="257" y="314"/>
                    </a:cubicBezTo>
                    <a:cubicBezTo>
                      <a:pt x="260" y="311"/>
                      <a:pt x="260" y="311"/>
                      <a:pt x="260" y="311"/>
                    </a:cubicBezTo>
                    <a:cubicBezTo>
                      <a:pt x="262" y="310"/>
                      <a:pt x="262" y="310"/>
                      <a:pt x="262" y="310"/>
                    </a:cubicBezTo>
                    <a:cubicBezTo>
                      <a:pt x="262" y="309"/>
                      <a:pt x="262" y="309"/>
                      <a:pt x="262" y="309"/>
                    </a:cubicBezTo>
                    <a:cubicBezTo>
                      <a:pt x="265" y="306"/>
                      <a:pt x="265" y="306"/>
                      <a:pt x="265" y="306"/>
                    </a:cubicBezTo>
                    <a:cubicBezTo>
                      <a:pt x="268" y="304"/>
                      <a:pt x="268" y="304"/>
                      <a:pt x="268" y="304"/>
                    </a:cubicBezTo>
                    <a:cubicBezTo>
                      <a:pt x="272" y="300"/>
                      <a:pt x="272" y="300"/>
                      <a:pt x="272" y="300"/>
                    </a:cubicBezTo>
                    <a:cubicBezTo>
                      <a:pt x="275" y="299"/>
                      <a:pt x="275" y="299"/>
                      <a:pt x="275" y="299"/>
                    </a:cubicBezTo>
                    <a:cubicBezTo>
                      <a:pt x="277" y="297"/>
                      <a:pt x="277" y="297"/>
                      <a:pt x="277" y="297"/>
                    </a:cubicBezTo>
                    <a:cubicBezTo>
                      <a:pt x="279" y="296"/>
                      <a:pt x="279" y="296"/>
                      <a:pt x="279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2" y="297"/>
                      <a:pt x="282" y="297"/>
                      <a:pt x="282" y="297"/>
                    </a:cubicBezTo>
                    <a:cubicBezTo>
                      <a:pt x="284" y="297"/>
                      <a:pt x="284" y="297"/>
                      <a:pt x="284" y="297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3"/>
                      <a:pt x="285" y="293"/>
                      <a:pt x="285" y="293"/>
                    </a:cubicBezTo>
                    <a:cubicBezTo>
                      <a:pt x="290" y="290"/>
                      <a:pt x="290" y="290"/>
                      <a:pt x="290" y="290"/>
                    </a:cubicBezTo>
                    <a:cubicBezTo>
                      <a:pt x="291" y="290"/>
                      <a:pt x="291" y="290"/>
                      <a:pt x="291" y="290"/>
                    </a:cubicBezTo>
                    <a:cubicBezTo>
                      <a:pt x="291" y="289"/>
                      <a:pt x="291" y="289"/>
                      <a:pt x="291" y="289"/>
                    </a:cubicBezTo>
                    <a:cubicBezTo>
                      <a:pt x="290" y="289"/>
                      <a:pt x="290" y="289"/>
                      <a:pt x="290" y="289"/>
                    </a:cubicBezTo>
                    <a:cubicBezTo>
                      <a:pt x="289" y="288"/>
                      <a:pt x="289" y="288"/>
                      <a:pt x="289" y="288"/>
                    </a:cubicBezTo>
                    <a:cubicBezTo>
                      <a:pt x="288" y="287"/>
                      <a:pt x="288" y="287"/>
                      <a:pt x="288" y="287"/>
                    </a:cubicBezTo>
                    <a:cubicBezTo>
                      <a:pt x="290" y="287"/>
                      <a:pt x="290" y="287"/>
                      <a:pt x="290" y="287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94" y="286"/>
                      <a:pt x="294" y="286"/>
                      <a:pt x="294" y="286"/>
                    </a:cubicBezTo>
                    <a:cubicBezTo>
                      <a:pt x="295" y="285"/>
                      <a:pt x="295" y="285"/>
                      <a:pt x="295" y="285"/>
                    </a:cubicBezTo>
                    <a:cubicBezTo>
                      <a:pt x="296" y="284"/>
                      <a:pt x="296" y="284"/>
                      <a:pt x="296" y="284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6" y="287"/>
                      <a:pt x="296" y="287"/>
                      <a:pt x="296" y="287"/>
                    </a:cubicBezTo>
                    <a:cubicBezTo>
                      <a:pt x="293" y="287"/>
                      <a:pt x="293" y="287"/>
                      <a:pt x="293" y="287"/>
                    </a:cubicBezTo>
                    <a:cubicBezTo>
                      <a:pt x="293" y="288"/>
                      <a:pt x="293" y="288"/>
                      <a:pt x="293" y="288"/>
                    </a:cubicBezTo>
                    <a:cubicBezTo>
                      <a:pt x="294" y="288"/>
                      <a:pt x="294" y="288"/>
                      <a:pt x="294" y="288"/>
                    </a:cubicBezTo>
                    <a:cubicBezTo>
                      <a:pt x="297" y="287"/>
                      <a:pt x="297" y="287"/>
                      <a:pt x="297" y="287"/>
                    </a:cubicBezTo>
                    <a:cubicBezTo>
                      <a:pt x="302" y="285"/>
                      <a:pt x="302" y="285"/>
                      <a:pt x="302" y="285"/>
                    </a:cubicBezTo>
                    <a:cubicBezTo>
                      <a:pt x="301" y="284"/>
                      <a:pt x="301" y="284"/>
                      <a:pt x="301" y="284"/>
                    </a:cubicBezTo>
                    <a:cubicBezTo>
                      <a:pt x="303" y="283"/>
                      <a:pt x="303" y="283"/>
                      <a:pt x="303" y="283"/>
                    </a:cubicBezTo>
                    <a:cubicBezTo>
                      <a:pt x="304" y="284"/>
                      <a:pt x="304" y="284"/>
                      <a:pt x="304" y="284"/>
                    </a:cubicBezTo>
                    <a:cubicBezTo>
                      <a:pt x="303" y="285"/>
                      <a:pt x="303" y="285"/>
                      <a:pt x="303" y="285"/>
                    </a:cubicBezTo>
                    <a:cubicBezTo>
                      <a:pt x="303" y="285"/>
                      <a:pt x="303" y="286"/>
                      <a:pt x="304" y="286"/>
                    </a:cubicBezTo>
                    <a:cubicBezTo>
                      <a:pt x="304" y="286"/>
                      <a:pt x="306" y="287"/>
                      <a:pt x="306" y="287"/>
                    </a:cubicBezTo>
                    <a:cubicBezTo>
                      <a:pt x="308" y="286"/>
                      <a:pt x="308" y="286"/>
                      <a:pt x="308" y="286"/>
                    </a:cubicBezTo>
                    <a:cubicBezTo>
                      <a:pt x="311" y="286"/>
                      <a:pt x="311" y="286"/>
                      <a:pt x="311" y="286"/>
                    </a:cubicBezTo>
                    <a:cubicBezTo>
                      <a:pt x="314" y="286"/>
                      <a:pt x="314" y="286"/>
                      <a:pt x="314" y="286"/>
                    </a:cubicBezTo>
                    <a:cubicBezTo>
                      <a:pt x="316" y="285"/>
                      <a:pt x="316" y="285"/>
                      <a:pt x="316" y="285"/>
                    </a:cubicBezTo>
                    <a:cubicBezTo>
                      <a:pt x="316" y="284"/>
                      <a:pt x="316" y="284"/>
                      <a:pt x="316" y="284"/>
                    </a:cubicBezTo>
                    <a:cubicBezTo>
                      <a:pt x="315" y="283"/>
                      <a:pt x="315" y="283"/>
                      <a:pt x="315" y="283"/>
                    </a:cubicBezTo>
                    <a:cubicBezTo>
                      <a:pt x="316" y="282"/>
                      <a:pt x="316" y="282"/>
                      <a:pt x="316" y="282"/>
                    </a:cubicBezTo>
                    <a:cubicBezTo>
                      <a:pt x="320" y="279"/>
                      <a:pt x="320" y="279"/>
                      <a:pt x="320" y="279"/>
                    </a:cubicBezTo>
                    <a:cubicBezTo>
                      <a:pt x="324" y="278"/>
                      <a:pt x="324" y="278"/>
                      <a:pt x="324" y="278"/>
                    </a:cubicBezTo>
                    <a:cubicBezTo>
                      <a:pt x="326" y="277"/>
                      <a:pt x="326" y="277"/>
                      <a:pt x="326" y="277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5"/>
                      <a:pt x="326" y="275"/>
                      <a:pt x="326" y="275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5" y="269"/>
                      <a:pt x="325" y="269"/>
                      <a:pt x="325" y="269"/>
                    </a:cubicBezTo>
                    <a:cubicBezTo>
                      <a:pt x="327" y="267"/>
                      <a:pt x="327" y="267"/>
                      <a:pt x="327" y="267"/>
                    </a:cubicBezTo>
                    <a:cubicBezTo>
                      <a:pt x="327" y="265"/>
                      <a:pt x="327" y="265"/>
                      <a:pt x="327" y="265"/>
                    </a:cubicBezTo>
                    <a:cubicBezTo>
                      <a:pt x="328" y="264"/>
                      <a:pt x="328" y="264"/>
                      <a:pt x="328" y="264"/>
                    </a:cubicBezTo>
                    <a:cubicBezTo>
                      <a:pt x="329" y="263"/>
                      <a:pt x="329" y="263"/>
                      <a:pt x="329" y="263"/>
                    </a:cubicBezTo>
                    <a:cubicBezTo>
                      <a:pt x="329" y="261"/>
                      <a:pt x="329" y="261"/>
                      <a:pt x="329" y="261"/>
                    </a:cubicBezTo>
                    <a:cubicBezTo>
                      <a:pt x="329" y="261"/>
                      <a:pt x="329" y="261"/>
                      <a:pt x="329" y="261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35" y="252"/>
                      <a:pt x="335" y="252"/>
                      <a:pt x="335" y="252"/>
                    </a:cubicBezTo>
                    <a:cubicBezTo>
                      <a:pt x="335" y="250"/>
                      <a:pt x="335" y="250"/>
                      <a:pt x="335" y="250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4" y="242"/>
                      <a:pt x="334" y="242"/>
                      <a:pt x="334" y="242"/>
                    </a:cubicBezTo>
                    <a:cubicBezTo>
                      <a:pt x="335" y="239"/>
                      <a:pt x="335" y="239"/>
                      <a:pt x="335" y="239"/>
                    </a:cubicBezTo>
                    <a:cubicBezTo>
                      <a:pt x="336" y="237"/>
                      <a:pt x="336" y="237"/>
                      <a:pt x="336" y="237"/>
                    </a:cubicBezTo>
                    <a:cubicBezTo>
                      <a:pt x="336" y="236"/>
                      <a:pt x="336" y="236"/>
                      <a:pt x="336" y="236"/>
                    </a:cubicBezTo>
                    <a:cubicBezTo>
                      <a:pt x="339" y="233"/>
                      <a:pt x="339" y="233"/>
                      <a:pt x="339" y="233"/>
                    </a:cubicBezTo>
                    <a:cubicBezTo>
                      <a:pt x="340" y="232"/>
                      <a:pt x="340" y="232"/>
                      <a:pt x="340" y="232"/>
                    </a:cubicBezTo>
                    <a:cubicBezTo>
                      <a:pt x="339" y="229"/>
                      <a:pt x="339" y="229"/>
                      <a:pt x="339" y="229"/>
                    </a:cubicBezTo>
                    <a:cubicBezTo>
                      <a:pt x="341" y="224"/>
                      <a:pt x="341" y="224"/>
                      <a:pt x="341" y="224"/>
                    </a:cubicBezTo>
                    <a:cubicBezTo>
                      <a:pt x="340" y="221"/>
                      <a:pt x="340" y="221"/>
                      <a:pt x="340" y="221"/>
                    </a:cubicBezTo>
                    <a:cubicBezTo>
                      <a:pt x="341" y="218"/>
                      <a:pt x="341" y="218"/>
                      <a:pt x="341" y="218"/>
                    </a:cubicBezTo>
                    <a:cubicBezTo>
                      <a:pt x="341" y="217"/>
                      <a:pt x="341" y="217"/>
                      <a:pt x="341" y="217"/>
                    </a:cubicBezTo>
                    <a:cubicBezTo>
                      <a:pt x="341" y="213"/>
                      <a:pt x="341" y="213"/>
                      <a:pt x="341" y="213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40" y="197"/>
                      <a:pt x="340" y="197"/>
                      <a:pt x="340" y="197"/>
                    </a:cubicBezTo>
                    <a:cubicBezTo>
                      <a:pt x="341" y="195"/>
                      <a:pt x="341" y="195"/>
                      <a:pt x="341" y="195"/>
                    </a:cubicBezTo>
                    <a:cubicBezTo>
                      <a:pt x="341" y="193"/>
                      <a:pt x="341" y="193"/>
                      <a:pt x="341" y="193"/>
                    </a:cubicBezTo>
                    <a:cubicBezTo>
                      <a:pt x="340" y="194"/>
                      <a:pt x="340" y="194"/>
                      <a:pt x="340" y="194"/>
                    </a:cubicBezTo>
                    <a:cubicBezTo>
                      <a:pt x="339" y="193"/>
                      <a:pt x="339" y="193"/>
                      <a:pt x="339" y="193"/>
                    </a:cubicBezTo>
                    <a:cubicBezTo>
                      <a:pt x="339" y="192"/>
                      <a:pt x="339" y="192"/>
                      <a:pt x="339" y="192"/>
                    </a:cubicBezTo>
                    <a:cubicBezTo>
                      <a:pt x="340" y="190"/>
                      <a:pt x="340" y="190"/>
                      <a:pt x="340" y="190"/>
                    </a:cubicBezTo>
                    <a:cubicBezTo>
                      <a:pt x="340" y="188"/>
                      <a:pt x="340" y="188"/>
                      <a:pt x="340" y="188"/>
                    </a:cubicBezTo>
                    <a:cubicBezTo>
                      <a:pt x="340" y="186"/>
                      <a:pt x="340" y="186"/>
                      <a:pt x="340" y="186"/>
                    </a:cubicBezTo>
                    <a:cubicBezTo>
                      <a:pt x="341" y="186"/>
                      <a:pt x="341" y="186"/>
                      <a:pt x="341" y="186"/>
                    </a:cubicBezTo>
                    <a:cubicBezTo>
                      <a:pt x="342" y="183"/>
                      <a:pt x="342" y="183"/>
                      <a:pt x="342" y="183"/>
                    </a:cubicBezTo>
                    <a:cubicBezTo>
                      <a:pt x="340" y="181"/>
                      <a:pt x="340" y="181"/>
                      <a:pt x="340" y="181"/>
                    </a:cubicBezTo>
                    <a:cubicBezTo>
                      <a:pt x="338" y="180"/>
                      <a:pt x="338" y="180"/>
                      <a:pt x="338" y="180"/>
                    </a:cubicBezTo>
                    <a:cubicBezTo>
                      <a:pt x="338" y="180"/>
                      <a:pt x="338" y="180"/>
                      <a:pt x="338" y="180"/>
                    </a:cubicBezTo>
                    <a:cubicBezTo>
                      <a:pt x="339" y="179"/>
                      <a:pt x="339" y="179"/>
                      <a:pt x="339" y="179"/>
                    </a:cubicBezTo>
                    <a:cubicBezTo>
                      <a:pt x="339" y="180"/>
                      <a:pt x="339" y="180"/>
                      <a:pt x="339" y="180"/>
                    </a:cubicBezTo>
                    <a:cubicBezTo>
                      <a:pt x="341" y="181"/>
                      <a:pt x="341" y="181"/>
                      <a:pt x="341" y="181"/>
                    </a:cubicBezTo>
                    <a:cubicBezTo>
                      <a:pt x="342" y="181"/>
                      <a:pt x="342" y="181"/>
                      <a:pt x="342" y="181"/>
                    </a:cubicBezTo>
                    <a:cubicBezTo>
                      <a:pt x="343" y="179"/>
                      <a:pt x="343" y="179"/>
                      <a:pt x="343" y="179"/>
                    </a:cubicBezTo>
                    <a:cubicBezTo>
                      <a:pt x="344" y="179"/>
                      <a:pt x="344" y="179"/>
                      <a:pt x="344" y="179"/>
                    </a:cubicBezTo>
                    <a:cubicBezTo>
                      <a:pt x="345" y="181"/>
                      <a:pt x="345" y="181"/>
                      <a:pt x="345" y="181"/>
                    </a:cubicBezTo>
                    <a:cubicBezTo>
                      <a:pt x="346" y="181"/>
                      <a:pt x="346" y="181"/>
                      <a:pt x="346" y="181"/>
                    </a:cubicBezTo>
                    <a:cubicBezTo>
                      <a:pt x="345" y="183"/>
                      <a:pt x="345" y="183"/>
                      <a:pt x="345" y="183"/>
                    </a:cubicBezTo>
                    <a:cubicBezTo>
                      <a:pt x="343" y="184"/>
                      <a:pt x="343" y="184"/>
                      <a:pt x="343" y="184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4" y="185"/>
                      <a:pt x="344" y="185"/>
                      <a:pt x="344" y="185"/>
                    </a:cubicBezTo>
                    <a:cubicBezTo>
                      <a:pt x="346" y="183"/>
                      <a:pt x="346" y="183"/>
                      <a:pt x="346" y="183"/>
                    </a:cubicBezTo>
                    <a:cubicBezTo>
                      <a:pt x="348" y="182"/>
                      <a:pt x="348" y="182"/>
                      <a:pt x="348" y="182"/>
                    </a:cubicBezTo>
                    <a:cubicBezTo>
                      <a:pt x="352" y="177"/>
                      <a:pt x="352" y="177"/>
                      <a:pt x="352" y="177"/>
                    </a:cubicBezTo>
                    <a:cubicBezTo>
                      <a:pt x="353" y="173"/>
                      <a:pt x="353" y="173"/>
                      <a:pt x="353" y="173"/>
                    </a:cubicBezTo>
                    <a:cubicBezTo>
                      <a:pt x="354" y="171"/>
                      <a:pt x="354" y="171"/>
                      <a:pt x="354" y="171"/>
                    </a:cubicBezTo>
                    <a:cubicBezTo>
                      <a:pt x="355" y="169"/>
                      <a:pt x="355" y="169"/>
                      <a:pt x="355" y="169"/>
                    </a:cubicBezTo>
                    <a:cubicBezTo>
                      <a:pt x="356" y="166"/>
                      <a:pt x="356" y="166"/>
                      <a:pt x="356" y="166"/>
                    </a:cubicBezTo>
                    <a:cubicBezTo>
                      <a:pt x="357" y="163"/>
                      <a:pt x="357" y="163"/>
                      <a:pt x="357" y="163"/>
                    </a:cubicBezTo>
                    <a:cubicBezTo>
                      <a:pt x="363" y="160"/>
                      <a:pt x="363" y="160"/>
                      <a:pt x="363" y="160"/>
                    </a:cubicBezTo>
                    <a:cubicBezTo>
                      <a:pt x="363" y="158"/>
                      <a:pt x="363" y="158"/>
                      <a:pt x="363" y="158"/>
                    </a:cubicBezTo>
                    <a:cubicBezTo>
                      <a:pt x="365" y="157"/>
                      <a:pt x="365" y="157"/>
                      <a:pt x="365" y="157"/>
                    </a:cubicBezTo>
                    <a:cubicBezTo>
                      <a:pt x="366" y="155"/>
                      <a:pt x="366" y="155"/>
                      <a:pt x="366" y="155"/>
                    </a:cubicBezTo>
                    <a:cubicBezTo>
                      <a:pt x="370" y="151"/>
                      <a:pt x="370" y="151"/>
                      <a:pt x="370" y="151"/>
                    </a:cubicBezTo>
                    <a:cubicBezTo>
                      <a:pt x="374" y="146"/>
                      <a:pt x="374" y="146"/>
                      <a:pt x="374" y="146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7" y="139"/>
                      <a:pt x="377" y="139"/>
                      <a:pt x="377" y="139"/>
                    </a:cubicBezTo>
                    <a:cubicBezTo>
                      <a:pt x="378" y="137"/>
                      <a:pt x="378" y="137"/>
                      <a:pt x="378" y="137"/>
                    </a:cubicBezTo>
                    <a:cubicBezTo>
                      <a:pt x="379" y="135"/>
                      <a:pt x="379" y="135"/>
                      <a:pt x="379" y="135"/>
                    </a:cubicBezTo>
                    <a:cubicBezTo>
                      <a:pt x="379" y="134"/>
                      <a:pt x="379" y="134"/>
                      <a:pt x="379" y="134"/>
                    </a:cubicBezTo>
                    <a:cubicBezTo>
                      <a:pt x="378" y="132"/>
                      <a:pt x="378" y="132"/>
                      <a:pt x="378" y="132"/>
                    </a:cubicBezTo>
                    <a:cubicBezTo>
                      <a:pt x="378" y="130"/>
                      <a:pt x="378" y="130"/>
                      <a:pt x="378" y="130"/>
                    </a:cubicBezTo>
                    <a:cubicBezTo>
                      <a:pt x="380" y="129"/>
                      <a:pt x="380" y="129"/>
                      <a:pt x="380" y="129"/>
                    </a:cubicBezTo>
                    <a:cubicBezTo>
                      <a:pt x="379" y="124"/>
                      <a:pt x="379" y="124"/>
                      <a:pt x="379" y="124"/>
                    </a:cubicBezTo>
                    <a:cubicBezTo>
                      <a:pt x="378" y="123"/>
                      <a:pt x="378" y="123"/>
                      <a:pt x="378" y="123"/>
                    </a:cubicBezTo>
                    <a:cubicBezTo>
                      <a:pt x="378" y="121"/>
                      <a:pt x="378" y="121"/>
                      <a:pt x="378" y="121"/>
                    </a:cubicBezTo>
                    <a:cubicBezTo>
                      <a:pt x="374" y="113"/>
                      <a:pt x="374" y="113"/>
                      <a:pt x="374" y="113"/>
                    </a:cubicBezTo>
                    <a:cubicBezTo>
                      <a:pt x="374" y="110"/>
                      <a:pt x="374" y="110"/>
                      <a:pt x="374" y="110"/>
                    </a:cubicBezTo>
                    <a:cubicBezTo>
                      <a:pt x="374" y="107"/>
                      <a:pt x="374" y="107"/>
                      <a:pt x="374" y="107"/>
                    </a:cubicBezTo>
                    <a:cubicBezTo>
                      <a:pt x="367" y="104"/>
                      <a:pt x="367" y="104"/>
                      <a:pt x="367" y="104"/>
                    </a:cubicBezTo>
                    <a:cubicBezTo>
                      <a:pt x="364" y="105"/>
                      <a:pt x="364" y="105"/>
                      <a:pt x="364" y="105"/>
                    </a:cubicBezTo>
                    <a:cubicBezTo>
                      <a:pt x="361" y="106"/>
                      <a:pt x="361" y="106"/>
                      <a:pt x="361" y="106"/>
                    </a:cubicBezTo>
                    <a:cubicBezTo>
                      <a:pt x="359" y="103"/>
                      <a:pt x="359" y="103"/>
                      <a:pt x="359" y="103"/>
                    </a:cubicBezTo>
                    <a:cubicBezTo>
                      <a:pt x="357" y="103"/>
                      <a:pt x="357" y="103"/>
                      <a:pt x="357" y="103"/>
                    </a:cubicBezTo>
                    <a:cubicBezTo>
                      <a:pt x="355" y="100"/>
                      <a:pt x="355" y="100"/>
                      <a:pt x="355" y="100"/>
                    </a:cubicBezTo>
                    <a:cubicBezTo>
                      <a:pt x="352" y="99"/>
                      <a:pt x="352" y="99"/>
                      <a:pt x="352" y="99"/>
                    </a:cubicBezTo>
                    <a:cubicBezTo>
                      <a:pt x="350" y="99"/>
                      <a:pt x="350" y="99"/>
                      <a:pt x="350" y="99"/>
                    </a:cubicBezTo>
                    <a:cubicBezTo>
                      <a:pt x="346" y="94"/>
                      <a:pt x="346" y="94"/>
                      <a:pt x="346" y="94"/>
                    </a:cubicBezTo>
                    <a:cubicBezTo>
                      <a:pt x="343" y="89"/>
                      <a:pt x="343" y="89"/>
                      <a:pt x="343" y="89"/>
                    </a:cubicBezTo>
                    <a:cubicBezTo>
                      <a:pt x="341" y="88"/>
                      <a:pt x="341" y="88"/>
                      <a:pt x="341" y="88"/>
                    </a:cubicBezTo>
                    <a:cubicBezTo>
                      <a:pt x="339" y="86"/>
                      <a:pt x="339" y="86"/>
                      <a:pt x="339" y="86"/>
                    </a:cubicBezTo>
                    <a:cubicBezTo>
                      <a:pt x="336" y="86"/>
                      <a:pt x="336" y="86"/>
                      <a:pt x="336" y="86"/>
                    </a:cubicBezTo>
                    <a:cubicBezTo>
                      <a:pt x="331" y="82"/>
                      <a:pt x="331" y="82"/>
                      <a:pt x="331" y="82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5" y="81"/>
                      <a:pt x="325" y="81"/>
                      <a:pt x="325" y="81"/>
                    </a:cubicBezTo>
                    <a:cubicBezTo>
                      <a:pt x="323" y="82"/>
                      <a:pt x="323" y="82"/>
                      <a:pt x="323" y="82"/>
                    </a:cubicBezTo>
                    <a:cubicBezTo>
                      <a:pt x="320" y="82"/>
                      <a:pt x="320" y="82"/>
                      <a:pt x="320" y="82"/>
                    </a:cubicBezTo>
                    <a:cubicBezTo>
                      <a:pt x="319" y="81"/>
                      <a:pt x="319" y="81"/>
                      <a:pt x="319" y="81"/>
                    </a:cubicBezTo>
                    <a:cubicBezTo>
                      <a:pt x="317" y="82"/>
                      <a:pt x="317" y="82"/>
                      <a:pt x="317" y="82"/>
                    </a:cubicBezTo>
                    <a:cubicBezTo>
                      <a:pt x="316" y="83"/>
                      <a:pt x="316" y="83"/>
                      <a:pt x="316" y="83"/>
                    </a:cubicBezTo>
                    <a:cubicBezTo>
                      <a:pt x="315" y="82"/>
                      <a:pt x="315" y="82"/>
                      <a:pt x="315" y="82"/>
                    </a:cubicBezTo>
                    <a:cubicBezTo>
                      <a:pt x="312" y="80"/>
                      <a:pt x="312" y="80"/>
                      <a:pt x="312" y="80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0" y="81"/>
                      <a:pt x="310" y="81"/>
                      <a:pt x="310" y="81"/>
                    </a:cubicBez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1"/>
                      <a:pt x="309" y="81"/>
                      <a:pt x="309" y="81"/>
                    </a:cubicBezTo>
                    <a:cubicBezTo>
                      <a:pt x="309" y="80"/>
                      <a:pt x="309" y="80"/>
                      <a:pt x="309" y="80"/>
                    </a:cubicBezTo>
                    <a:cubicBezTo>
                      <a:pt x="307" y="79"/>
                      <a:pt x="307" y="79"/>
                      <a:pt x="307" y="79"/>
                    </a:cubicBezTo>
                    <a:cubicBezTo>
                      <a:pt x="308" y="80"/>
                      <a:pt x="308" y="80"/>
                      <a:pt x="308" y="80"/>
                    </a:cubicBezTo>
                    <a:cubicBezTo>
                      <a:pt x="307" y="81"/>
                      <a:pt x="307" y="81"/>
                      <a:pt x="307" y="81"/>
                    </a:cubicBezTo>
                    <a:cubicBezTo>
                      <a:pt x="304" y="80"/>
                      <a:pt x="304" y="80"/>
                      <a:pt x="304" y="80"/>
                    </a:cubicBezTo>
                    <a:cubicBezTo>
                      <a:pt x="303" y="80"/>
                      <a:pt x="303" y="80"/>
                      <a:pt x="303" y="80"/>
                    </a:cubicBezTo>
                    <a:cubicBezTo>
                      <a:pt x="301" y="79"/>
                      <a:pt x="301" y="79"/>
                      <a:pt x="301" y="79"/>
                    </a:cubicBezTo>
                    <a:cubicBezTo>
                      <a:pt x="296" y="77"/>
                      <a:pt x="296" y="77"/>
                      <a:pt x="296" y="77"/>
                    </a:cubicBezTo>
                    <a:cubicBezTo>
                      <a:pt x="294" y="77"/>
                      <a:pt x="294" y="77"/>
                      <a:pt x="294" y="77"/>
                    </a:cubicBezTo>
                    <a:cubicBezTo>
                      <a:pt x="293" y="78"/>
                      <a:pt x="293" y="78"/>
                      <a:pt x="293" y="78"/>
                    </a:cubicBezTo>
                    <a:cubicBezTo>
                      <a:pt x="294" y="79"/>
                      <a:pt x="294" y="79"/>
                      <a:pt x="294" y="79"/>
                    </a:cubicBezTo>
                    <a:cubicBezTo>
                      <a:pt x="293" y="79"/>
                      <a:pt x="293" y="79"/>
                      <a:pt x="293" y="79"/>
                    </a:cubicBezTo>
                    <a:cubicBezTo>
                      <a:pt x="292" y="79"/>
                      <a:pt x="292" y="79"/>
                      <a:pt x="292" y="79"/>
                    </a:cubicBezTo>
                    <a:cubicBezTo>
                      <a:pt x="292" y="79"/>
                      <a:pt x="292" y="79"/>
                      <a:pt x="292" y="79"/>
                    </a:cubicBezTo>
                    <a:cubicBezTo>
                      <a:pt x="292" y="80"/>
                      <a:pt x="292" y="80"/>
                      <a:pt x="292" y="80"/>
                    </a:cubicBezTo>
                    <a:cubicBezTo>
                      <a:pt x="290" y="81"/>
                      <a:pt x="290" y="81"/>
                      <a:pt x="290" y="81"/>
                    </a:cubicBezTo>
                    <a:cubicBezTo>
                      <a:pt x="289" y="82"/>
                      <a:pt x="289" y="82"/>
                      <a:pt x="289" y="82"/>
                    </a:cubicBezTo>
                    <a:cubicBezTo>
                      <a:pt x="289" y="84"/>
                      <a:pt x="289" y="84"/>
                      <a:pt x="289" y="84"/>
                    </a:cubicBezTo>
                    <a:cubicBezTo>
                      <a:pt x="288" y="82"/>
                      <a:pt x="288" y="82"/>
                      <a:pt x="288" y="82"/>
                    </a:cubicBezTo>
                    <a:cubicBezTo>
                      <a:pt x="287" y="81"/>
                      <a:pt x="287" y="81"/>
                      <a:pt x="287" y="81"/>
                    </a:cubicBezTo>
                    <a:cubicBezTo>
                      <a:pt x="286" y="81"/>
                      <a:pt x="286" y="81"/>
                      <a:pt x="286" y="81"/>
                    </a:cubicBezTo>
                    <a:cubicBezTo>
                      <a:pt x="286" y="83"/>
                      <a:pt x="286" y="83"/>
                      <a:pt x="286" y="83"/>
                    </a:cubicBezTo>
                    <a:cubicBezTo>
                      <a:pt x="285" y="86"/>
                      <a:pt x="285" y="86"/>
                      <a:pt x="285" y="86"/>
                    </a:cubicBezTo>
                    <a:cubicBezTo>
                      <a:pt x="285" y="89"/>
                      <a:pt x="285" y="89"/>
                      <a:pt x="285" y="89"/>
                    </a:cubicBezTo>
                    <a:cubicBezTo>
                      <a:pt x="284" y="86"/>
                      <a:pt x="284" y="86"/>
                      <a:pt x="284" y="86"/>
                    </a:cubicBezTo>
                    <a:cubicBezTo>
                      <a:pt x="285" y="84"/>
                      <a:pt x="285" y="84"/>
                      <a:pt x="285" y="84"/>
                    </a:cubicBezTo>
                    <a:cubicBezTo>
                      <a:pt x="284" y="82"/>
                      <a:pt x="284" y="82"/>
                      <a:pt x="284" y="82"/>
                    </a:cubicBezTo>
                    <a:cubicBezTo>
                      <a:pt x="285" y="78"/>
                      <a:pt x="285" y="78"/>
                      <a:pt x="285" y="78"/>
                    </a:cubicBezTo>
                    <a:cubicBezTo>
                      <a:pt x="286" y="78"/>
                      <a:pt x="286" y="78"/>
                      <a:pt x="286" y="78"/>
                    </a:cubicBezTo>
                    <a:cubicBezTo>
                      <a:pt x="286" y="77"/>
                      <a:pt x="286" y="77"/>
                      <a:pt x="286" y="77"/>
                    </a:cubicBezTo>
                    <a:cubicBezTo>
                      <a:pt x="284" y="77"/>
                      <a:pt x="284" y="77"/>
                      <a:pt x="284" y="77"/>
                    </a:cubicBezTo>
                    <a:cubicBezTo>
                      <a:pt x="286" y="74"/>
                      <a:pt x="286" y="74"/>
                      <a:pt x="286" y="74"/>
                    </a:cubicBezTo>
                    <a:cubicBezTo>
                      <a:pt x="283" y="72"/>
                      <a:pt x="283" y="72"/>
                      <a:pt x="283" y="72"/>
                    </a:cubicBezTo>
                    <a:cubicBezTo>
                      <a:pt x="282" y="69"/>
                      <a:pt x="282" y="69"/>
                      <a:pt x="282" y="69"/>
                    </a:cubicBezTo>
                    <a:cubicBezTo>
                      <a:pt x="280" y="69"/>
                      <a:pt x="280" y="69"/>
                      <a:pt x="280" y="69"/>
                    </a:cubicBezTo>
                    <a:cubicBezTo>
                      <a:pt x="278" y="69"/>
                      <a:pt x="278" y="69"/>
                      <a:pt x="278" y="69"/>
                    </a:cubicBezTo>
                    <a:cubicBezTo>
                      <a:pt x="277" y="70"/>
                      <a:pt x="277" y="70"/>
                      <a:pt x="277" y="70"/>
                    </a:cubicBezTo>
                    <a:cubicBezTo>
                      <a:pt x="276" y="71"/>
                      <a:pt x="276" y="71"/>
                      <a:pt x="276" y="71"/>
                    </a:cubicBezTo>
                    <a:cubicBezTo>
                      <a:pt x="275" y="70"/>
                      <a:pt x="275" y="70"/>
                      <a:pt x="275" y="70"/>
                    </a:cubicBezTo>
                    <a:cubicBezTo>
                      <a:pt x="274" y="69"/>
                      <a:pt x="274" y="69"/>
                      <a:pt x="274" y="69"/>
                    </a:cubicBezTo>
                    <a:cubicBezTo>
                      <a:pt x="274" y="68"/>
                      <a:pt x="274" y="68"/>
                      <a:pt x="274" y="68"/>
                    </a:cubicBezTo>
                    <a:cubicBezTo>
                      <a:pt x="273" y="67"/>
                      <a:pt x="273" y="67"/>
                      <a:pt x="273" y="67"/>
                    </a:cubicBezTo>
                    <a:cubicBezTo>
                      <a:pt x="271" y="67"/>
                      <a:pt x="271" y="67"/>
                      <a:pt x="271" y="67"/>
                    </a:cubicBezTo>
                    <a:cubicBezTo>
                      <a:pt x="270" y="66"/>
                      <a:pt x="270" y="66"/>
                      <a:pt x="270" y="66"/>
                    </a:cubicBezTo>
                    <a:cubicBezTo>
                      <a:pt x="269" y="65"/>
                      <a:pt x="269" y="65"/>
                      <a:pt x="269" y="65"/>
                    </a:cubicBezTo>
                    <a:cubicBezTo>
                      <a:pt x="268" y="66"/>
                      <a:pt x="268" y="66"/>
                      <a:pt x="268" y="66"/>
                    </a:cubicBezTo>
                    <a:cubicBezTo>
                      <a:pt x="268" y="65"/>
                      <a:pt x="268" y="65"/>
                      <a:pt x="268" y="65"/>
                    </a:cubicBezTo>
                    <a:cubicBezTo>
                      <a:pt x="267" y="65"/>
                      <a:pt x="267" y="65"/>
                      <a:pt x="267" y="65"/>
                    </a:cubicBezTo>
                    <a:cubicBezTo>
                      <a:pt x="267" y="63"/>
                      <a:pt x="267" y="63"/>
                      <a:pt x="267" y="63"/>
                    </a:cubicBezTo>
                    <a:cubicBezTo>
                      <a:pt x="265" y="64"/>
                      <a:pt x="265" y="64"/>
                      <a:pt x="265" y="64"/>
                    </a:cubicBezTo>
                    <a:cubicBezTo>
                      <a:pt x="263" y="63"/>
                      <a:pt x="263" y="63"/>
                      <a:pt x="263" y="63"/>
                    </a:cubicBezTo>
                    <a:cubicBezTo>
                      <a:pt x="260" y="62"/>
                      <a:pt x="260" y="62"/>
                      <a:pt x="260" y="62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9" y="62"/>
                      <a:pt x="259" y="62"/>
                      <a:pt x="259" y="62"/>
                    </a:cubicBezTo>
                    <a:cubicBezTo>
                      <a:pt x="257" y="61"/>
                      <a:pt x="257" y="61"/>
                      <a:pt x="257" y="61"/>
                    </a:cubicBezTo>
                    <a:cubicBezTo>
                      <a:pt x="256" y="61"/>
                      <a:pt x="256" y="61"/>
                      <a:pt x="256" y="61"/>
                    </a:cubicBezTo>
                    <a:cubicBezTo>
                      <a:pt x="256" y="62"/>
                      <a:pt x="256" y="62"/>
                      <a:pt x="256" y="62"/>
                    </a:cubicBezTo>
                    <a:cubicBezTo>
                      <a:pt x="255" y="62"/>
                      <a:pt x="255" y="62"/>
                      <a:pt x="255" y="62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2" y="61"/>
                      <a:pt x="252" y="61"/>
                      <a:pt x="252" y="61"/>
                    </a:cubicBezTo>
                    <a:cubicBezTo>
                      <a:pt x="250" y="62"/>
                      <a:pt x="250" y="62"/>
                      <a:pt x="250" y="62"/>
                    </a:cubicBezTo>
                    <a:cubicBezTo>
                      <a:pt x="249" y="64"/>
                      <a:pt x="249" y="64"/>
                      <a:pt x="249" y="64"/>
                    </a:cubicBezTo>
                    <a:cubicBezTo>
                      <a:pt x="249" y="65"/>
                      <a:pt x="249" y="65"/>
                      <a:pt x="249" y="65"/>
                    </a:cubicBezTo>
                    <a:cubicBezTo>
                      <a:pt x="247" y="67"/>
                      <a:pt x="247" y="67"/>
                      <a:pt x="247" y="67"/>
                    </a:cubicBezTo>
                    <a:cubicBezTo>
                      <a:pt x="245" y="69"/>
                      <a:pt x="245" y="69"/>
                      <a:pt x="245" y="69"/>
                    </a:cubicBezTo>
                    <a:cubicBezTo>
                      <a:pt x="241" y="71"/>
                      <a:pt x="241" y="71"/>
                      <a:pt x="241" y="71"/>
                    </a:cubicBezTo>
                    <a:cubicBezTo>
                      <a:pt x="239" y="73"/>
                      <a:pt x="239" y="73"/>
                      <a:pt x="239" y="73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8" y="79"/>
                      <a:pt x="238" y="79"/>
                      <a:pt x="238" y="79"/>
                    </a:cubicBezTo>
                    <a:cubicBezTo>
                      <a:pt x="237" y="80"/>
                      <a:pt x="237" y="80"/>
                      <a:pt x="237" y="80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6" y="83"/>
                      <a:pt x="236" y="83"/>
                      <a:pt x="236" y="83"/>
                    </a:cubicBez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89"/>
                      <a:pt x="236" y="89"/>
                      <a:pt x="236" y="89"/>
                    </a:cubicBezTo>
                    <a:cubicBezTo>
                      <a:pt x="235" y="87"/>
                      <a:pt x="235" y="87"/>
                      <a:pt x="235" y="87"/>
                    </a:cubicBezTo>
                    <a:cubicBezTo>
                      <a:pt x="234" y="84"/>
                      <a:pt x="234" y="84"/>
                      <a:pt x="234" y="84"/>
                    </a:cubicBezTo>
                    <a:cubicBezTo>
                      <a:pt x="234" y="83"/>
                      <a:pt x="234" y="83"/>
                      <a:pt x="234" y="83"/>
                    </a:cubicBezTo>
                    <a:cubicBezTo>
                      <a:pt x="235" y="81"/>
                      <a:pt x="235" y="81"/>
                      <a:pt x="235" y="81"/>
                    </a:cubicBezTo>
                    <a:cubicBezTo>
                      <a:pt x="237" y="80"/>
                      <a:pt x="237" y="80"/>
                      <a:pt x="237" y="80"/>
                    </a:cubicBezTo>
                    <a:cubicBezTo>
                      <a:pt x="236" y="77"/>
                      <a:pt x="236" y="77"/>
                      <a:pt x="236" y="77"/>
                    </a:cubicBezTo>
                    <a:cubicBezTo>
                      <a:pt x="237" y="75"/>
                      <a:pt x="237" y="75"/>
                      <a:pt x="237" y="75"/>
                    </a:cubicBezTo>
                    <a:cubicBezTo>
                      <a:pt x="237" y="73"/>
                      <a:pt x="237" y="73"/>
                      <a:pt x="237" y="73"/>
                    </a:cubicBezTo>
                    <a:cubicBezTo>
                      <a:pt x="236" y="73"/>
                      <a:pt x="236" y="73"/>
                      <a:pt x="236" y="73"/>
                    </a:cubicBezTo>
                    <a:cubicBezTo>
                      <a:pt x="234" y="74"/>
                      <a:pt x="234" y="74"/>
                      <a:pt x="234" y="74"/>
                    </a:cubicBezTo>
                    <a:cubicBezTo>
                      <a:pt x="231" y="73"/>
                      <a:pt x="231" y="73"/>
                      <a:pt x="231" y="73"/>
                    </a:cubicBezTo>
                    <a:cubicBezTo>
                      <a:pt x="229" y="74"/>
                      <a:pt x="229" y="74"/>
                      <a:pt x="229" y="74"/>
                    </a:cubicBezTo>
                    <a:cubicBezTo>
                      <a:pt x="227" y="74"/>
                      <a:pt x="227" y="74"/>
                      <a:pt x="227" y="74"/>
                    </a:cubicBezTo>
                    <a:cubicBezTo>
                      <a:pt x="226" y="73"/>
                      <a:pt x="226" y="73"/>
                      <a:pt x="226" y="73"/>
                    </a:cubicBezTo>
                    <a:cubicBezTo>
                      <a:pt x="227" y="73"/>
                      <a:pt x="227" y="73"/>
                      <a:pt x="227" y="73"/>
                    </a:cubicBezTo>
                    <a:cubicBezTo>
                      <a:pt x="229" y="72"/>
                      <a:pt x="229" y="72"/>
                      <a:pt x="229" y="72"/>
                    </a:cubicBezTo>
                    <a:cubicBezTo>
                      <a:pt x="231" y="71"/>
                      <a:pt x="231" y="71"/>
                      <a:pt x="231" y="7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5" y="72"/>
                      <a:pt x="235" y="72"/>
                      <a:pt x="235" y="72"/>
                    </a:cubicBezTo>
                    <a:cubicBezTo>
                      <a:pt x="237" y="70"/>
                      <a:pt x="237" y="70"/>
                      <a:pt x="237" y="70"/>
                    </a:cubicBezTo>
                    <a:cubicBezTo>
                      <a:pt x="237" y="70"/>
                      <a:pt x="237" y="70"/>
                      <a:pt x="237" y="70"/>
                    </a:cubicBezTo>
                    <a:cubicBezTo>
                      <a:pt x="238" y="70"/>
                      <a:pt x="238" y="70"/>
                      <a:pt x="238" y="70"/>
                    </a:cubicBezTo>
                    <a:cubicBezTo>
                      <a:pt x="239" y="70"/>
                      <a:pt x="239" y="70"/>
                      <a:pt x="239" y="70"/>
                    </a:cubicBezTo>
                    <a:cubicBezTo>
                      <a:pt x="241" y="69"/>
                      <a:pt x="241" y="69"/>
                      <a:pt x="241" y="69"/>
                    </a:cubicBezTo>
                    <a:cubicBezTo>
                      <a:pt x="244" y="68"/>
                      <a:pt x="244" y="68"/>
                      <a:pt x="244" y="68"/>
                    </a:cubicBezTo>
                    <a:cubicBezTo>
                      <a:pt x="244" y="66"/>
                      <a:pt x="244" y="66"/>
                      <a:pt x="244" y="66"/>
                    </a:cubicBezTo>
                    <a:cubicBezTo>
                      <a:pt x="246" y="63"/>
                      <a:pt x="246" y="63"/>
                      <a:pt x="246" y="63"/>
                    </a:cubicBezTo>
                    <a:cubicBezTo>
                      <a:pt x="246" y="61"/>
                      <a:pt x="246" y="61"/>
                      <a:pt x="246" y="61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247" y="57"/>
                      <a:pt x="247" y="57"/>
                      <a:pt x="247" y="57"/>
                    </a:cubicBezTo>
                    <a:cubicBezTo>
                      <a:pt x="245" y="57"/>
                      <a:pt x="245" y="57"/>
                      <a:pt x="245" y="57"/>
                    </a:cubicBezTo>
                    <a:cubicBezTo>
                      <a:pt x="243" y="55"/>
                      <a:pt x="243" y="55"/>
                      <a:pt x="243" y="55"/>
                    </a:cubicBezTo>
                    <a:cubicBezTo>
                      <a:pt x="241" y="55"/>
                      <a:pt x="241" y="55"/>
                      <a:pt x="241" y="55"/>
                    </a:cubicBezTo>
                    <a:cubicBezTo>
                      <a:pt x="238" y="57"/>
                      <a:pt x="238" y="57"/>
                      <a:pt x="238" y="57"/>
                    </a:cubicBezTo>
                    <a:cubicBezTo>
                      <a:pt x="236" y="57"/>
                      <a:pt x="236" y="57"/>
                      <a:pt x="236" y="57"/>
                    </a:cubicBezTo>
                    <a:cubicBezTo>
                      <a:pt x="232" y="56"/>
                      <a:pt x="232" y="56"/>
                      <a:pt x="232" y="56"/>
                    </a:cubicBezTo>
                    <a:cubicBezTo>
                      <a:pt x="229" y="55"/>
                      <a:pt x="229" y="55"/>
                      <a:pt x="229" y="55"/>
                    </a:cubicBezTo>
                    <a:cubicBezTo>
                      <a:pt x="226" y="58"/>
                      <a:pt x="226" y="58"/>
                      <a:pt x="226" y="58"/>
                    </a:cubicBezTo>
                    <a:cubicBezTo>
                      <a:pt x="226" y="59"/>
                      <a:pt x="226" y="59"/>
                      <a:pt x="226" y="59"/>
                    </a:cubicBezTo>
                    <a:cubicBezTo>
                      <a:pt x="227" y="60"/>
                      <a:pt x="227" y="60"/>
                      <a:pt x="227" y="60"/>
                    </a:cubicBezTo>
                    <a:cubicBezTo>
                      <a:pt x="228" y="61"/>
                      <a:pt x="228" y="61"/>
                      <a:pt x="228" y="61"/>
                    </a:cubicBezTo>
                    <a:cubicBezTo>
                      <a:pt x="226" y="61"/>
                      <a:pt x="226" y="61"/>
                      <a:pt x="226" y="61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25" y="63"/>
                      <a:pt x="225" y="63"/>
                      <a:pt x="225" y="63"/>
                    </a:cubicBezTo>
                    <a:cubicBezTo>
                      <a:pt x="224" y="62"/>
                      <a:pt x="224" y="62"/>
                      <a:pt x="224" y="62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1" y="62"/>
                      <a:pt x="221" y="62"/>
                      <a:pt x="221" y="62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9"/>
                      <a:pt x="216" y="69"/>
                      <a:pt x="216" y="69"/>
                    </a:cubicBezTo>
                    <a:cubicBezTo>
                      <a:pt x="218" y="66"/>
                      <a:pt x="218" y="66"/>
                      <a:pt x="218" y="66"/>
                    </a:cubicBezTo>
                    <a:cubicBezTo>
                      <a:pt x="218" y="64"/>
                      <a:pt x="218" y="64"/>
                      <a:pt x="218" y="64"/>
                    </a:cubicBezTo>
                    <a:cubicBezTo>
                      <a:pt x="219" y="62"/>
                      <a:pt x="219" y="62"/>
                      <a:pt x="219" y="62"/>
                    </a:cubicBezTo>
                    <a:cubicBezTo>
                      <a:pt x="219" y="61"/>
                      <a:pt x="219" y="61"/>
                      <a:pt x="219" y="61"/>
                    </a:cubicBezTo>
                    <a:cubicBezTo>
                      <a:pt x="218" y="61"/>
                      <a:pt x="218" y="61"/>
                      <a:pt x="218" y="61"/>
                    </a:cubicBezTo>
                    <a:cubicBezTo>
                      <a:pt x="216" y="63"/>
                      <a:pt x="216" y="63"/>
                      <a:pt x="216" y="63"/>
                    </a:cubicBezTo>
                    <a:cubicBezTo>
                      <a:pt x="215" y="65"/>
                      <a:pt x="215" y="65"/>
                      <a:pt x="215" y="65"/>
                    </a:cubicBezTo>
                    <a:cubicBezTo>
                      <a:pt x="214" y="68"/>
                      <a:pt x="214" y="68"/>
                      <a:pt x="214" y="68"/>
                    </a:cubicBezTo>
                    <a:cubicBezTo>
                      <a:pt x="212" y="69"/>
                      <a:pt x="212" y="69"/>
                      <a:pt x="212" y="69"/>
                    </a:cubicBezTo>
                    <a:cubicBezTo>
                      <a:pt x="214" y="66"/>
                      <a:pt x="214" y="66"/>
                      <a:pt x="214" y="66"/>
                    </a:cubicBezTo>
                    <a:cubicBezTo>
                      <a:pt x="214" y="63"/>
                      <a:pt x="214" y="63"/>
                      <a:pt x="214" y="63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9" y="56"/>
                      <a:pt x="219" y="56"/>
                      <a:pt x="219" y="56"/>
                    </a:cubicBezTo>
                    <a:cubicBezTo>
                      <a:pt x="220" y="54"/>
                      <a:pt x="220" y="54"/>
                      <a:pt x="220" y="54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24" y="52"/>
                      <a:pt x="224" y="52"/>
                      <a:pt x="224" y="52"/>
                    </a:cubicBezTo>
                    <a:cubicBezTo>
                      <a:pt x="225" y="51"/>
                      <a:pt x="225" y="51"/>
                      <a:pt x="225" y="51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31" y="44"/>
                      <a:pt x="231" y="44"/>
                      <a:pt x="231" y="44"/>
                    </a:cubicBezTo>
                    <a:cubicBezTo>
                      <a:pt x="232" y="42"/>
                      <a:pt x="232" y="42"/>
                      <a:pt x="232" y="42"/>
                    </a:cubicBezTo>
                    <a:cubicBezTo>
                      <a:pt x="233" y="42"/>
                      <a:pt x="233" y="42"/>
                      <a:pt x="233" y="42"/>
                    </a:cubicBezTo>
                    <a:cubicBezTo>
                      <a:pt x="232" y="40"/>
                      <a:pt x="232" y="40"/>
                      <a:pt x="232" y="40"/>
                    </a:cubicBezTo>
                    <a:cubicBezTo>
                      <a:pt x="232" y="39"/>
                      <a:pt x="232" y="39"/>
                      <a:pt x="232" y="39"/>
                    </a:cubicBezTo>
                    <a:cubicBezTo>
                      <a:pt x="233" y="38"/>
                      <a:pt x="233" y="38"/>
                      <a:pt x="233" y="38"/>
                    </a:cubicBezTo>
                    <a:cubicBezTo>
                      <a:pt x="233" y="37"/>
                      <a:pt x="233" y="37"/>
                      <a:pt x="233" y="37"/>
                    </a:cubicBezTo>
                    <a:cubicBezTo>
                      <a:pt x="231" y="35"/>
                      <a:pt x="231" y="35"/>
                      <a:pt x="231" y="35"/>
                    </a:cubicBezTo>
                    <a:cubicBezTo>
                      <a:pt x="229" y="35"/>
                      <a:pt x="229" y="35"/>
                      <a:pt x="229" y="35"/>
                    </a:cubicBezTo>
                    <a:cubicBezTo>
                      <a:pt x="228" y="36"/>
                      <a:pt x="228" y="36"/>
                      <a:pt x="228" y="36"/>
                    </a:cubicBezTo>
                    <a:cubicBezTo>
                      <a:pt x="227" y="34"/>
                      <a:pt x="227" y="34"/>
                      <a:pt x="227" y="34"/>
                    </a:cubicBezTo>
                    <a:cubicBezTo>
                      <a:pt x="226" y="31"/>
                      <a:pt x="226" y="31"/>
                      <a:pt x="226" y="31"/>
                    </a:cubicBezTo>
                    <a:cubicBezTo>
                      <a:pt x="224" y="25"/>
                      <a:pt x="224" y="25"/>
                      <a:pt x="224" y="25"/>
                    </a:cubicBezTo>
                    <a:cubicBezTo>
                      <a:pt x="222" y="22"/>
                      <a:pt x="222" y="22"/>
                      <a:pt x="222" y="22"/>
                    </a:cubicBezTo>
                    <a:cubicBezTo>
                      <a:pt x="221" y="19"/>
                      <a:pt x="221" y="19"/>
                      <a:pt x="221" y="19"/>
                    </a:cubicBezTo>
                    <a:cubicBezTo>
                      <a:pt x="221" y="17"/>
                      <a:pt x="221" y="17"/>
                      <a:pt x="221" y="17"/>
                    </a:cubicBezTo>
                    <a:lnTo>
                      <a:pt x="220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xmlns="" id="{6A6D4BFE-72A0-4E58-9752-123617B33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" y="1966"/>
                <a:ext cx="44" cy="65"/>
              </a:xfrm>
              <a:custGeom>
                <a:avLst/>
                <a:gdLst>
                  <a:gd name="T0" fmla="*/ 0 w 44"/>
                  <a:gd name="T1" fmla="*/ 52 h 65"/>
                  <a:gd name="T2" fmla="*/ 1 w 44"/>
                  <a:gd name="T3" fmla="*/ 54 h 65"/>
                  <a:gd name="T4" fmla="*/ 1 w 44"/>
                  <a:gd name="T5" fmla="*/ 57 h 65"/>
                  <a:gd name="T6" fmla="*/ 3 w 44"/>
                  <a:gd name="T7" fmla="*/ 57 h 65"/>
                  <a:gd name="T8" fmla="*/ 3 w 44"/>
                  <a:gd name="T9" fmla="*/ 58 h 65"/>
                  <a:gd name="T10" fmla="*/ 4 w 44"/>
                  <a:gd name="T11" fmla="*/ 62 h 65"/>
                  <a:gd name="T12" fmla="*/ 8 w 44"/>
                  <a:gd name="T13" fmla="*/ 62 h 65"/>
                  <a:gd name="T14" fmla="*/ 9 w 44"/>
                  <a:gd name="T15" fmla="*/ 60 h 65"/>
                  <a:gd name="T16" fmla="*/ 11 w 44"/>
                  <a:gd name="T17" fmla="*/ 58 h 65"/>
                  <a:gd name="T18" fmla="*/ 13 w 44"/>
                  <a:gd name="T19" fmla="*/ 58 h 65"/>
                  <a:gd name="T20" fmla="*/ 13 w 44"/>
                  <a:gd name="T21" fmla="*/ 60 h 65"/>
                  <a:gd name="T22" fmla="*/ 14 w 44"/>
                  <a:gd name="T23" fmla="*/ 60 h 65"/>
                  <a:gd name="T24" fmla="*/ 14 w 44"/>
                  <a:gd name="T25" fmla="*/ 65 h 65"/>
                  <a:gd name="T26" fmla="*/ 16 w 44"/>
                  <a:gd name="T27" fmla="*/ 65 h 65"/>
                  <a:gd name="T28" fmla="*/ 19 w 44"/>
                  <a:gd name="T29" fmla="*/ 63 h 65"/>
                  <a:gd name="T30" fmla="*/ 19 w 44"/>
                  <a:gd name="T31" fmla="*/ 62 h 65"/>
                  <a:gd name="T32" fmla="*/ 21 w 44"/>
                  <a:gd name="T33" fmla="*/ 60 h 65"/>
                  <a:gd name="T34" fmla="*/ 24 w 44"/>
                  <a:gd name="T35" fmla="*/ 58 h 65"/>
                  <a:gd name="T36" fmla="*/ 26 w 44"/>
                  <a:gd name="T37" fmla="*/ 55 h 65"/>
                  <a:gd name="T38" fmla="*/ 29 w 44"/>
                  <a:gd name="T39" fmla="*/ 50 h 65"/>
                  <a:gd name="T40" fmla="*/ 32 w 44"/>
                  <a:gd name="T41" fmla="*/ 44 h 65"/>
                  <a:gd name="T42" fmla="*/ 32 w 44"/>
                  <a:gd name="T43" fmla="*/ 42 h 65"/>
                  <a:gd name="T44" fmla="*/ 35 w 44"/>
                  <a:gd name="T45" fmla="*/ 36 h 65"/>
                  <a:gd name="T46" fmla="*/ 40 w 44"/>
                  <a:gd name="T47" fmla="*/ 31 h 65"/>
                  <a:gd name="T48" fmla="*/ 40 w 44"/>
                  <a:gd name="T49" fmla="*/ 29 h 65"/>
                  <a:gd name="T50" fmla="*/ 42 w 44"/>
                  <a:gd name="T51" fmla="*/ 29 h 65"/>
                  <a:gd name="T52" fmla="*/ 44 w 44"/>
                  <a:gd name="T53" fmla="*/ 26 h 65"/>
                  <a:gd name="T54" fmla="*/ 44 w 44"/>
                  <a:gd name="T55" fmla="*/ 21 h 65"/>
                  <a:gd name="T56" fmla="*/ 40 w 44"/>
                  <a:gd name="T57" fmla="*/ 18 h 65"/>
                  <a:gd name="T58" fmla="*/ 39 w 44"/>
                  <a:gd name="T59" fmla="*/ 19 h 65"/>
                  <a:gd name="T60" fmla="*/ 37 w 44"/>
                  <a:gd name="T61" fmla="*/ 18 h 65"/>
                  <a:gd name="T62" fmla="*/ 37 w 44"/>
                  <a:gd name="T63" fmla="*/ 16 h 65"/>
                  <a:gd name="T64" fmla="*/ 32 w 44"/>
                  <a:gd name="T65" fmla="*/ 9 h 65"/>
                  <a:gd name="T66" fmla="*/ 31 w 44"/>
                  <a:gd name="T67" fmla="*/ 8 h 65"/>
                  <a:gd name="T68" fmla="*/ 27 w 44"/>
                  <a:gd name="T69" fmla="*/ 5 h 65"/>
                  <a:gd name="T70" fmla="*/ 17 w 44"/>
                  <a:gd name="T71" fmla="*/ 3 h 65"/>
                  <a:gd name="T72" fmla="*/ 14 w 44"/>
                  <a:gd name="T73" fmla="*/ 0 h 65"/>
                  <a:gd name="T74" fmla="*/ 9 w 44"/>
                  <a:gd name="T75" fmla="*/ 0 h 65"/>
                  <a:gd name="T76" fmla="*/ 6 w 44"/>
                  <a:gd name="T77" fmla="*/ 1 h 65"/>
                  <a:gd name="T78" fmla="*/ 3 w 44"/>
                  <a:gd name="T79" fmla="*/ 3 h 65"/>
                  <a:gd name="T80" fmla="*/ 3 w 44"/>
                  <a:gd name="T81" fmla="*/ 3 h 65"/>
                  <a:gd name="T82" fmla="*/ 3 w 44"/>
                  <a:gd name="T83" fmla="*/ 3 h 65"/>
                  <a:gd name="T84" fmla="*/ 1 w 44"/>
                  <a:gd name="T85" fmla="*/ 5 h 65"/>
                  <a:gd name="T86" fmla="*/ 0 w 44"/>
                  <a:gd name="T87" fmla="*/ 8 h 65"/>
                  <a:gd name="T88" fmla="*/ 0 w 44"/>
                  <a:gd name="T89" fmla="*/ 13 h 65"/>
                  <a:gd name="T90" fmla="*/ 1 w 44"/>
                  <a:gd name="T91" fmla="*/ 16 h 65"/>
                  <a:gd name="T92" fmla="*/ 1 w 44"/>
                  <a:gd name="T93" fmla="*/ 19 h 65"/>
                  <a:gd name="T94" fmla="*/ 1 w 44"/>
                  <a:gd name="T95" fmla="*/ 23 h 65"/>
                  <a:gd name="T96" fmla="*/ 3 w 44"/>
                  <a:gd name="T97" fmla="*/ 24 h 65"/>
                  <a:gd name="T98" fmla="*/ 4 w 44"/>
                  <a:gd name="T99" fmla="*/ 27 h 65"/>
                  <a:gd name="T100" fmla="*/ 6 w 44"/>
                  <a:gd name="T101" fmla="*/ 29 h 65"/>
                  <a:gd name="T102" fmla="*/ 8 w 44"/>
                  <a:gd name="T103" fmla="*/ 32 h 65"/>
                  <a:gd name="T104" fmla="*/ 8 w 44"/>
                  <a:gd name="T105" fmla="*/ 34 h 65"/>
                  <a:gd name="T106" fmla="*/ 8 w 44"/>
                  <a:gd name="T107" fmla="*/ 37 h 65"/>
                  <a:gd name="T108" fmla="*/ 4 w 44"/>
                  <a:gd name="T109" fmla="*/ 40 h 65"/>
                  <a:gd name="T110" fmla="*/ 4 w 44"/>
                  <a:gd name="T111" fmla="*/ 44 h 65"/>
                  <a:gd name="T112" fmla="*/ 6 w 44"/>
                  <a:gd name="T113" fmla="*/ 45 h 65"/>
                  <a:gd name="T114" fmla="*/ 4 w 44"/>
                  <a:gd name="T115" fmla="*/ 50 h 65"/>
                  <a:gd name="T116" fmla="*/ 1 w 44"/>
                  <a:gd name="T117" fmla="*/ 52 h 65"/>
                  <a:gd name="T118" fmla="*/ 0 w 44"/>
                  <a:gd name="T119" fmla="*/ 5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65">
                    <a:moveTo>
                      <a:pt x="0" y="52"/>
                    </a:moveTo>
                    <a:lnTo>
                      <a:pt x="1" y="54"/>
                    </a:lnTo>
                    <a:lnTo>
                      <a:pt x="1" y="57"/>
                    </a:lnTo>
                    <a:lnTo>
                      <a:pt x="3" y="57"/>
                    </a:lnTo>
                    <a:lnTo>
                      <a:pt x="3" y="58"/>
                    </a:lnTo>
                    <a:lnTo>
                      <a:pt x="4" y="62"/>
                    </a:lnTo>
                    <a:lnTo>
                      <a:pt x="8" y="62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60"/>
                    </a:lnTo>
                    <a:lnTo>
                      <a:pt x="14" y="60"/>
                    </a:lnTo>
                    <a:lnTo>
                      <a:pt x="14" y="65"/>
                    </a:lnTo>
                    <a:lnTo>
                      <a:pt x="16" y="65"/>
                    </a:lnTo>
                    <a:lnTo>
                      <a:pt x="19" y="63"/>
                    </a:lnTo>
                    <a:lnTo>
                      <a:pt x="19" y="62"/>
                    </a:lnTo>
                    <a:lnTo>
                      <a:pt x="21" y="60"/>
                    </a:lnTo>
                    <a:lnTo>
                      <a:pt x="24" y="58"/>
                    </a:lnTo>
                    <a:lnTo>
                      <a:pt x="26" y="55"/>
                    </a:lnTo>
                    <a:lnTo>
                      <a:pt x="29" y="50"/>
                    </a:lnTo>
                    <a:lnTo>
                      <a:pt x="32" y="44"/>
                    </a:lnTo>
                    <a:lnTo>
                      <a:pt x="32" y="42"/>
                    </a:lnTo>
                    <a:lnTo>
                      <a:pt x="35" y="36"/>
                    </a:lnTo>
                    <a:lnTo>
                      <a:pt x="40" y="31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4" y="26"/>
                    </a:lnTo>
                    <a:lnTo>
                      <a:pt x="44" y="21"/>
                    </a:lnTo>
                    <a:lnTo>
                      <a:pt x="40" y="18"/>
                    </a:lnTo>
                    <a:lnTo>
                      <a:pt x="39" y="19"/>
                    </a:lnTo>
                    <a:lnTo>
                      <a:pt x="37" y="18"/>
                    </a:lnTo>
                    <a:lnTo>
                      <a:pt x="37" y="16"/>
                    </a:lnTo>
                    <a:lnTo>
                      <a:pt x="32" y="9"/>
                    </a:lnTo>
                    <a:lnTo>
                      <a:pt x="31" y="8"/>
                    </a:lnTo>
                    <a:lnTo>
                      <a:pt x="27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3"/>
                    </a:lnTo>
                    <a:lnTo>
                      <a:pt x="3" y="24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7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6" y="45"/>
                    </a:lnTo>
                    <a:lnTo>
                      <a:pt x="4" y="50"/>
                    </a:lnTo>
                    <a:lnTo>
                      <a:pt x="1" y="52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xmlns="" id="{96756CBE-908B-4C59-BB27-BEA9B6860E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1959"/>
                <a:ext cx="64" cy="70"/>
              </a:xfrm>
              <a:custGeom>
                <a:avLst/>
                <a:gdLst>
                  <a:gd name="T0" fmla="*/ 26 w 64"/>
                  <a:gd name="T1" fmla="*/ 69 h 70"/>
                  <a:gd name="T2" fmla="*/ 28 w 64"/>
                  <a:gd name="T3" fmla="*/ 70 h 70"/>
                  <a:gd name="T4" fmla="*/ 34 w 64"/>
                  <a:gd name="T5" fmla="*/ 70 h 70"/>
                  <a:gd name="T6" fmla="*/ 34 w 64"/>
                  <a:gd name="T7" fmla="*/ 65 h 70"/>
                  <a:gd name="T8" fmla="*/ 29 w 64"/>
                  <a:gd name="T9" fmla="*/ 61 h 70"/>
                  <a:gd name="T10" fmla="*/ 33 w 64"/>
                  <a:gd name="T11" fmla="*/ 56 h 70"/>
                  <a:gd name="T12" fmla="*/ 44 w 64"/>
                  <a:gd name="T13" fmla="*/ 57 h 70"/>
                  <a:gd name="T14" fmla="*/ 51 w 64"/>
                  <a:gd name="T15" fmla="*/ 56 h 70"/>
                  <a:gd name="T16" fmla="*/ 57 w 64"/>
                  <a:gd name="T17" fmla="*/ 59 h 70"/>
                  <a:gd name="T18" fmla="*/ 62 w 64"/>
                  <a:gd name="T19" fmla="*/ 52 h 70"/>
                  <a:gd name="T20" fmla="*/ 60 w 64"/>
                  <a:gd name="T21" fmla="*/ 47 h 70"/>
                  <a:gd name="T22" fmla="*/ 64 w 64"/>
                  <a:gd name="T23" fmla="*/ 41 h 70"/>
                  <a:gd name="T24" fmla="*/ 62 w 64"/>
                  <a:gd name="T25" fmla="*/ 36 h 70"/>
                  <a:gd name="T26" fmla="*/ 59 w 64"/>
                  <a:gd name="T27" fmla="*/ 31 h 70"/>
                  <a:gd name="T28" fmla="*/ 57 w 64"/>
                  <a:gd name="T29" fmla="*/ 26 h 70"/>
                  <a:gd name="T30" fmla="*/ 56 w 64"/>
                  <a:gd name="T31" fmla="*/ 20 h 70"/>
                  <a:gd name="T32" fmla="*/ 57 w 64"/>
                  <a:gd name="T33" fmla="*/ 12 h 70"/>
                  <a:gd name="T34" fmla="*/ 59 w 64"/>
                  <a:gd name="T35" fmla="*/ 10 h 70"/>
                  <a:gd name="T36" fmla="*/ 62 w 64"/>
                  <a:gd name="T37" fmla="*/ 5 h 70"/>
                  <a:gd name="T38" fmla="*/ 54 w 64"/>
                  <a:gd name="T39" fmla="*/ 2 h 70"/>
                  <a:gd name="T40" fmla="*/ 46 w 64"/>
                  <a:gd name="T41" fmla="*/ 0 h 70"/>
                  <a:gd name="T42" fmla="*/ 38 w 64"/>
                  <a:gd name="T43" fmla="*/ 0 h 70"/>
                  <a:gd name="T44" fmla="*/ 26 w 64"/>
                  <a:gd name="T45" fmla="*/ 0 h 70"/>
                  <a:gd name="T46" fmla="*/ 15 w 64"/>
                  <a:gd name="T47" fmla="*/ 2 h 70"/>
                  <a:gd name="T48" fmla="*/ 15 w 64"/>
                  <a:gd name="T49" fmla="*/ 7 h 70"/>
                  <a:gd name="T50" fmla="*/ 13 w 64"/>
                  <a:gd name="T51" fmla="*/ 12 h 70"/>
                  <a:gd name="T52" fmla="*/ 8 w 64"/>
                  <a:gd name="T53" fmla="*/ 16 h 70"/>
                  <a:gd name="T54" fmla="*/ 3 w 64"/>
                  <a:gd name="T55" fmla="*/ 20 h 70"/>
                  <a:gd name="T56" fmla="*/ 0 w 64"/>
                  <a:gd name="T57" fmla="*/ 30 h 70"/>
                  <a:gd name="T58" fmla="*/ 3 w 64"/>
                  <a:gd name="T59" fmla="*/ 34 h 70"/>
                  <a:gd name="T60" fmla="*/ 5 w 64"/>
                  <a:gd name="T61" fmla="*/ 38 h 70"/>
                  <a:gd name="T62" fmla="*/ 8 w 64"/>
                  <a:gd name="T63" fmla="*/ 43 h 70"/>
                  <a:gd name="T64" fmla="*/ 11 w 64"/>
                  <a:gd name="T65" fmla="*/ 44 h 70"/>
                  <a:gd name="T66" fmla="*/ 13 w 64"/>
                  <a:gd name="T67" fmla="*/ 47 h 70"/>
                  <a:gd name="T68" fmla="*/ 15 w 64"/>
                  <a:gd name="T69" fmla="*/ 56 h 70"/>
                  <a:gd name="T70" fmla="*/ 18 w 64"/>
                  <a:gd name="T71" fmla="*/ 59 h 70"/>
                  <a:gd name="T72" fmla="*/ 23 w 64"/>
                  <a:gd name="T73" fmla="*/ 64 h 70"/>
                  <a:gd name="T74" fmla="*/ 23 w 64"/>
                  <a:gd name="T75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4" h="70">
                    <a:moveTo>
                      <a:pt x="24" y="69"/>
                    </a:moveTo>
                    <a:lnTo>
                      <a:pt x="26" y="69"/>
                    </a:lnTo>
                    <a:lnTo>
                      <a:pt x="26" y="69"/>
                    </a:lnTo>
                    <a:lnTo>
                      <a:pt x="28" y="70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69"/>
                    </a:lnTo>
                    <a:lnTo>
                      <a:pt x="34" y="65"/>
                    </a:lnTo>
                    <a:lnTo>
                      <a:pt x="33" y="64"/>
                    </a:lnTo>
                    <a:lnTo>
                      <a:pt x="29" y="61"/>
                    </a:lnTo>
                    <a:lnTo>
                      <a:pt x="31" y="59"/>
                    </a:lnTo>
                    <a:lnTo>
                      <a:pt x="33" y="56"/>
                    </a:lnTo>
                    <a:lnTo>
                      <a:pt x="38" y="57"/>
                    </a:lnTo>
                    <a:lnTo>
                      <a:pt x="44" y="57"/>
                    </a:lnTo>
                    <a:lnTo>
                      <a:pt x="47" y="56"/>
                    </a:lnTo>
                    <a:lnTo>
                      <a:pt x="51" y="56"/>
                    </a:lnTo>
                    <a:lnTo>
                      <a:pt x="54" y="59"/>
                    </a:lnTo>
                    <a:lnTo>
                      <a:pt x="57" y="59"/>
                    </a:lnTo>
                    <a:lnTo>
                      <a:pt x="60" y="57"/>
                    </a:lnTo>
                    <a:lnTo>
                      <a:pt x="62" y="52"/>
                    </a:lnTo>
                    <a:lnTo>
                      <a:pt x="60" y="51"/>
                    </a:lnTo>
                    <a:lnTo>
                      <a:pt x="60" y="47"/>
                    </a:lnTo>
                    <a:lnTo>
                      <a:pt x="64" y="44"/>
                    </a:lnTo>
                    <a:lnTo>
                      <a:pt x="64" y="41"/>
                    </a:lnTo>
                    <a:lnTo>
                      <a:pt x="64" y="39"/>
                    </a:lnTo>
                    <a:lnTo>
                      <a:pt x="62" y="36"/>
                    </a:lnTo>
                    <a:lnTo>
                      <a:pt x="60" y="34"/>
                    </a:lnTo>
                    <a:lnTo>
                      <a:pt x="59" y="31"/>
                    </a:lnTo>
                    <a:lnTo>
                      <a:pt x="57" y="30"/>
                    </a:lnTo>
                    <a:lnTo>
                      <a:pt x="57" y="26"/>
                    </a:lnTo>
                    <a:lnTo>
                      <a:pt x="57" y="23"/>
                    </a:lnTo>
                    <a:lnTo>
                      <a:pt x="56" y="20"/>
                    </a:lnTo>
                    <a:lnTo>
                      <a:pt x="56" y="15"/>
                    </a:lnTo>
                    <a:lnTo>
                      <a:pt x="57" y="12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62" y="7"/>
                    </a:lnTo>
                    <a:lnTo>
                      <a:pt x="62" y="5"/>
                    </a:lnTo>
                    <a:lnTo>
                      <a:pt x="59" y="3"/>
                    </a:lnTo>
                    <a:lnTo>
                      <a:pt x="54" y="2"/>
                    </a:lnTo>
                    <a:lnTo>
                      <a:pt x="47" y="0"/>
                    </a:lnTo>
                    <a:lnTo>
                      <a:pt x="46" y="0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1" y="2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15" y="5"/>
                    </a:lnTo>
                    <a:lnTo>
                      <a:pt x="15" y="7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5" y="16"/>
                    </a:lnTo>
                    <a:lnTo>
                      <a:pt x="3" y="20"/>
                    </a:lnTo>
                    <a:lnTo>
                      <a:pt x="3" y="23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5" y="38"/>
                    </a:lnTo>
                    <a:lnTo>
                      <a:pt x="7" y="39"/>
                    </a:lnTo>
                    <a:lnTo>
                      <a:pt x="8" y="43"/>
                    </a:lnTo>
                    <a:lnTo>
                      <a:pt x="10" y="44"/>
                    </a:lnTo>
                    <a:lnTo>
                      <a:pt x="11" y="44"/>
                    </a:lnTo>
                    <a:lnTo>
                      <a:pt x="13" y="44"/>
                    </a:lnTo>
                    <a:lnTo>
                      <a:pt x="13" y="47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6" y="57"/>
                    </a:lnTo>
                    <a:lnTo>
                      <a:pt x="18" y="59"/>
                    </a:lnTo>
                    <a:lnTo>
                      <a:pt x="20" y="62"/>
                    </a:lnTo>
                    <a:lnTo>
                      <a:pt x="23" y="64"/>
                    </a:lnTo>
                    <a:lnTo>
                      <a:pt x="23" y="65"/>
                    </a:lnTo>
                    <a:lnTo>
                      <a:pt x="23" y="67"/>
                    </a:lnTo>
                    <a:lnTo>
                      <a:pt x="24" y="6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xmlns="" id="{16FF894C-FB15-450B-BD90-B03F361EB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" y="1918"/>
                <a:ext cx="78" cy="123"/>
              </a:xfrm>
              <a:custGeom>
                <a:avLst/>
                <a:gdLst>
                  <a:gd name="T0" fmla="*/ 13 w 78"/>
                  <a:gd name="T1" fmla="*/ 54 h 123"/>
                  <a:gd name="T2" fmla="*/ 15 w 78"/>
                  <a:gd name="T3" fmla="*/ 54 h 123"/>
                  <a:gd name="T4" fmla="*/ 21 w 78"/>
                  <a:gd name="T5" fmla="*/ 59 h 123"/>
                  <a:gd name="T6" fmla="*/ 20 w 78"/>
                  <a:gd name="T7" fmla="*/ 66 h 123"/>
                  <a:gd name="T8" fmla="*/ 21 w 78"/>
                  <a:gd name="T9" fmla="*/ 69 h 123"/>
                  <a:gd name="T10" fmla="*/ 26 w 78"/>
                  <a:gd name="T11" fmla="*/ 72 h 123"/>
                  <a:gd name="T12" fmla="*/ 29 w 78"/>
                  <a:gd name="T13" fmla="*/ 74 h 123"/>
                  <a:gd name="T14" fmla="*/ 28 w 78"/>
                  <a:gd name="T15" fmla="*/ 79 h 123"/>
                  <a:gd name="T16" fmla="*/ 23 w 78"/>
                  <a:gd name="T17" fmla="*/ 88 h 123"/>
                  <a:gd name="T18" fmla="*/ 23 w 78"/>
                  <a:gd name="T19" fmla="*/ 95 h 123"/>
                  <a:gd name="T20" fmla="*/ 23 w 78"/>
                  <a:gd name="T21" fmla="*/ 100 h 123"/>
                  <a:gd name="T22" fmla="*/ 23 w 78"/>
                  <a:gd name="T23" fmla="*/ 105 h 123"/>
                  <a:gd name="T24" fmla="*/ 28 w 78"/>
                  <a:gd name="T25" fmla="*/ 111 h 123"/>
                  <a:gd name="T26" fmla="*/ 31 w 78"/>
                  <a:gd name="T27" fmla="*/ 116 h 123"/>
                  <a:gd name="T28" fmla="*/ 39 w 78"/>
                  <a:gd name="T29" fmla="*/ 123 h 123"/>
                  <a:gd name="T30" fmla="*/ 44 w 78"/>
                  <a:gd name="T31" fmla="*/ 120 h 123"/>
                  <a:gd name="T32" fmla="*/ 47 w 78"/>
                  <a:gd name="T33" fmla="*/ 121 h 123"/>
                  <a:gd name="T34" fmla="*/ 51 w 78"/>
                  <a:gd name="T35" fmla="*/ 116 h 123"/>
                  <a:gd name="T36" fmla="*/ 61 w 78"/>
                  <a:gd name="T37" fmla="*/ 116 h 123"/>
                  <a:gd name="T38" fmla="*/ 65 w 78"/>
                  <a:gd name="T39" fmla="*/ 110 h 123"/>
                  <a:gd name="T40" fmla="*/ 72 w 78"/>
                  <a:gd name="T41" fmla="*/ 110 h 123"/>
                  <a:gd name="T42" fmla="*/ 78 w 78"/>
                  <a:gd name="T43" fmla="*/ 110 h 123"/>
                  <a:gd name="T44" fmla="*/ 77 w 78"/>
                  <a:gd name="T45" fmla="*/ 106 h 123"/>
                  <a:gd name="T46" fmla="*/ 74 w 78"/>
                  <a:gd name="T47" fmla="*/ 103 h 123"/>
                  <a:gd name="T48" fmla="*/ 70 w 78"/>
                  <a:gd name="T49" fmla="*/ 98 h 123"/>
                  <a:gd name="T50" fmla="*/ 69 w 78"/>
                  <a:gd name="T51" fmla="*/ 93 h 123"/>
                  <a:gd name="T52" fmla="*/ 67 w 78"/>
                  <a:gd name="T53" fmla="*/ 85 h 123"/>
                  <a:gd name="T54" fmla="*/ 64 w 78"/>
                  <a:gd name="T55" fmla="*/ 85 h 123"/>
                  <a:gd name="T56" fmla="*/ 61 w 78"/>
                  <a:gd name="T57" fmla="*/ 80 h 123"/>
                  <a:gd name="T58" fmla="*/ 59 w 78"/>
                  <a:gd name="T59" fmla="*/ 77 h 123"/>
                  <a:gd name="T60" fmla="*/ 54 w 78"/>
                  <a:gd name="T61" fmla="*/ 74 h 123"/>
                  <a:gd name="T62" fmla="*/ 57 w 78"/>
                  <a:gd name="T63" fmla="*/ 64 h 123"/>
                  <a:gd name="T64" fmla="*/ 59 w 78"/>
                  <a:gd name="T65" fmla="*/ 57 h 123"/>
                  <a:gd name="T66" fmla="*/ 65 w 78"/>
                  <a:gd name="T67" fmla="*/ 56 h 123"/>
                  <a:gd name="T68" fmla="*/ 67 w 78"/>
                  <a:gd name="T69" fmla="*/ 51 h 123"/>
                  <a:gd name="T70" fmla="*/ 69 w 78"/>
                  <a:gd name="T71" fmla="*/ 46 h 123"/>
                  <a:gd name="T72" fmla="*/ 67 w 78"/>
                  <a:gd name="T73" fmla="*/ 43 h 123"/>
                  <a:gd name="T74" fmla="*/ 67 w 78"/>
                  <a:gd name="T75" fmla="*/ 38 h 123"/>
                  <a:gd name="T76" fmla="*/ 56 w 78"/>
                  <a:gd name="T77" fmla="*/ 30 h 123"/>
                  <a:gd name="T78" fmla="*/ 51 w 78"/>
                  <a:gd name="T79" fmla="*/ 28 h 123"/>
                  <a:gd name="T80" fmla="*/ 46 w 78"/>
                  <a:gd name="T81" fmla="*/ 33 h 123"/>
                  <a:gd name="T82" fmla="*/ 44 w 78"/>
                  <a:gd name="T83" fmla="*/ 31 h 123"/>
                  <a:gd name="T84" fmla="*/ 46 w 78"/>
                  <a:gd name="T85" fmla="*/ 23 h 123"/>
                  <a:gd name="T86" fmla="*/ 41 w 78"/>
                  <a:gd name="T87" fmla="*/ 17 h 123"/>
                  <a:gd name="T88" fmla="*/ 31 w 78"/>
                  <a:gd name="T89" fmla="*/ 7 h 123"/>
                  <a:gd name="T90" fmla="*/ 28 w 78"/>
                  <a:gd name="T91" fmla="*/ 2 h 123"/>
                  <a:gd name="T92" fmla="*/ 25 w 78"/>
                  <a:gd name="T93" fmla="*/ 0 h 123"/>
                  <a:gd name="T94" fmla="*/ 18 w 78"/>
                  <a:gd name="T95" fmla="*/ 8 h 123"/>
                  <a:gd name="T96" fmla="*/ 13 w 78"/>
                  <a:gd name="T97" fmla="*/ 10 h 123"/>
                  <a:gd name="T98" fmla="*/ 10 w 78"/>
                  <a:gd name="T99" fmla="*/ 18 h 123"/>
                  <a:gd name="T100" fmla="*/ 15 w 78"/>
                  <a:gd name="T101" fmla="*/ 21 h 123"/>
                  <a:gd name="T102" fmla="*/ 18 w 78"/>
                  <a:gd name="T103" fmla="*/ 28 h 123"/>
                  <a:gd name="T104" fmla="*/ 10 w 78"/>
                  <a:gd name="T105" fmla="*/ 28 h 123"/>
                  <a:gd name="T106" fmla="*/ 5 w 78"/>
                  <a:gd name="T107" fmla="*/ 28 h 123"/>
                  <a:gd name="T108" fmla="*/ 3 w 78"/>
                  <a:gd name="T109" fmla="*/ 36 h 123"/>
                  <a:gd name="T110" fmla="*/ 2 w 78"/>
                  <a:gd name="T111" fmla="*/ 43 h 123"/>
                  <a:gd name="T112" fmla="*/ 12 w 78"/>
                  <a:gd name="T113" fmla="*/ 5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8" h="123">
                    <a:moveTo>
                      <a:pt x="12" y="54"/>
                    </a:moveTo>
                    <a:lnTo>
                      <a:pt x="13" y="54"/>
                    </a:lnTo>
                    <a:lnTo>
                      <a:pt x="13" y="56"/>
                    </a:lnTo>
                    <a:lnTo>
                      <a:pt x="15" y="54"/>
                    </a:lnTo>
                    <a:lnTo>
                      <a:pt x="20" y="56"/>
                    </a:lnTo>
                    <a:lnTo>
                      <a:pt x="21" y="59"/>
                    </a:lnTo>
                    <a:lnTo>
                      <a:pt x="21" y="62"/>
                    </a:lnTo>
                    <a:lnTo>
                      <a:pt x="20" y="66"/>
                    </a:lnTo>
                    <a:lnTo>
                      <a:pt x="18" y="69"/>
                    </a:lnTo>
                    <a:lnTo>
                      <a:pt x="21" y="69"/>
                    </a:lnTo>
                    <a:lnTo>
                      <a:pt x="25" y="69"/>
                    </a:lnTo>
                    <a:lnTo>
                      <a:pt x="26" y="72"/>
                    </a:lnTo>
                    <a:lnTo>
                      <a:pt x="26" y="74"/>
                    </a:lnTo>
                    <a:lnTo>
                      <a:pt x="29" y="74"/>
                    </a:lnTo>
                    <a:lnTo>
                      <a:pt x="29" y="75"/>
                    </a:lnTo>
                    <a:lnTo>
                      <a:pt x="28" y="79"/>
                    </a:lnTo>
                    <a:lnTo>
                      <a:pt x="26" y="84"/>
                    </a:lnTo>
                    <a:lnTo>
                      <a:pt x="23" y="88"/>
                    </a:lnTo>
                    <a:lnTo>
                      <a:pt x="23" y="92"/>
                    </a:lnTo>
                    <a:lnTo>
                      <a:pt x="23" y="95"/>
                    </a:lnTo>
                    <a:lnTo>
                      <a:pt x="21" y="98"/>
                    </a:lnTo>
                    <a:lnTo>
                      <a:pt x="23" y="100"/>
                    </a:lnTo>
                    <a:lnTo>
                      <a:pt x="21" y="102"/>
                    </a:lnTo>
                    <a:lnTo>
                      <a:pt x="23" y="105"/>
                    </a:lnTo>
                    <a:lnTo>
                      <a:pt x="25" y="108"/>
                    </a:lnTo>
                    <a:lnTo>
                      <a:pt x="28" y="111"/>
                    </a:lnTo>
                    <a:lnTo>
                      <a:pt x="28" y="113"/>
                    </a:lnTo>
                    <a:lnTo>
                      <a:pt x="31" y="116"/>
                    </a:lnTo>
                    <a:lnTo>
                      <a:pt x="38" y="123"/>
                    </a:lnTo>
                    <a:lnTo>
                      <a:pt x="39" y="123"/>
                    </a:lnTo>
                    <a:lnTo>
                      <a:pt x="41" y="121"/>
                    </a:lnTo>
                    <a:lnTo>
                      <a:pt x="44" y="120"/>
                    </a:lnTo>
                    <a:lnTo>
                      <a:pt x="44" y="121"/>
                    </a:lnTo>
                    <a:lnTo>
                      <a:pt x="47" y="121"/>
                    </a:lnTo>
                    <a:lnTo>
                      <a:pt x="51" y="118"/>
                    </a:lnTo>
                    <a:lnTo>
                      <a:pt x="51" y="116"/>
                    </a:lnTo>
                    <a:lnTo>
                      <a:pt x="54" y="116"/>
                    </a:lnTo>
                    <a:lnTo>
                      <a:pt x="61" y="116"/>
                    </a:lnTo>
                    <a:lnTo>
                      <a:pt x="62" y="111"/>
                    </a:lnTo>
                    <a:lnTo>
                      <a:pt x="65" y="110"/>
                    </a:lnTo>
                    <a:lnTo>
                      <a:pt x="70" y="110"/>
                    </a:lnTo>
                    <a:lnTo>
                      <a:pt x="72" y="110"/>
                    </a:lnTo>
                    <a:lnTo>
                      <a:pt x="74" y="110"/>
                    </a:lnTo>
                    <a:lnTo>
                      <a:pt x="78" y="110"/>
                    </a:lnTo>
                    <a:lnTo>
                      <a:pt x="77" y="108"/>
                    </a:lnTo>
                    <a:lnTo>
                      <a:pt x="77" y="106"/>
                    </a:lnTo>
                    <a:lnTo>
                      <a:pt x="77" y="105"/>
                    </a:lnTo>
                    <a:lnTo>
                      <a:pt x="74" y="103"/>
                    </a:lnTo>
                    <a:lnTo>
                      <a:pt x="72" y="100"/>
                    </a:lnTo>
                    <a:lnTo>
                      <a:pt x="70" y="98"/>
                    </a:lnTo>
                    <a:lnTo>
                      <a:pt x="69" y="97"/>
                    </a:lnTo>
                    <a:lnTo>
                      <a:pt x="69" y="93"/>
                    </a:lnTo>
                    <a:lnTo>
                      <a:pt x="67" y="88"/>
                    </a:lnTo>
                    <a:lnTo>
                      <a:pt x="67" y="85"/>
                    </a:lnTo>
                    <a:lnTo>
                      <a:pt x="65" y="85"/>
                    </a:lnTo>
                    <a:lnTo>
                      <a:pt x="64" y="85"/>
                    </a:lnTo>
                    <a:lnTo>
                      <a:pt x="62" y="84"/>
                    </a:lnTo>
                    <a:lnTo>
                      <a:pt x="61" y="80"/>
                    </a:lnTo>
                    <a:lnTo>
                      <a:pt x="59" y="79"/>
                    </a:lnTo>
                    <a:lnTo>
                      <a:pt x="59" y="77"/>
                    </a:lnTo>
                    <a:lnTo>
                      <a:pt x="57" y="75"/>
                    </a:lnTo>
                    <a:lnTo>
                      <a:pt x="54" y="74"/>
                    </a:lnTo>
                    <a:lnTo>
                      <a:pt x="54" y="71"/>
                    </a:lnTo>
                    <a:lnTo>
                      <a:pt x="57" y="64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7"/>
                    </a:lnTo>
                    <a:lnTo>
                      <a:pt x="65" y="56"/>
                    </a:lnTo>
                    <a:lnTo>
                      <a:pt x="67" y="53"/>
                    </a:lnTo>
                    <a:lnTo>
                      <a:pt x="67" y="51"/>
                    </a:lnTo>
                    <a:lnTo>
                      <a:pt x="69" y="48"/>
                    </a:lnTo>
                    <a:lnTo>
                      <a:pt x="69" y="46"/>
                    </a:lnTo>
                    <a:lnTo>
                      <a:pt x="69" y="46"/>
                    </a:lnTo>
                    <a:lnTo>
                      <a:pt x="67" y="43"/>
                    </a:lnTo>
                    <a:lnTo>
                      <a:pt x="67" y="39"/>
                    </a:lnTo>
                    <a:lnTo>
                      <a:pt x="67" y="38"/>
                    </a:lnTo>
                    <a:lnTo>
                      <a:pt x="61" y="36"/>
                    </a:lnTo>
                    <a:lnTo>
                      <a:pt x="56" y="30"/>
                    </a:lnTo>
                    <a:lnTo>
                      <a:pt x="52" y="28"/>
                    </a:lnTo>
                    <a:lnTo>
                      <a:pt x="51" y="28"/>
                    </a:lnTo>
                    <a:lnTo>
                      <a:pt x="47" y="30"/>
                    </a:lnTo>
                    <a:lnTo>
                      <a:pt x="46" y="33"/>
                    </a:lnTo>
                    <a:lnTo>
                      <a:pt x="44" y="35"/>
                    </a:lnTo>
                    <a:lnTo>
                      <a:pt x="44" y="31"/>
                    </a:lnTo>
                    <a:lnTo>
                      <a:pt x="44" y="26"/>
                    </a:lnTo>
                    <a:lnTo>
                      <a:pt x="46" y="23"/>
                    </a:lnTo>
                    <a:lnTo>
                      <a:pt x="44" y="18"/>
                    </a:lnTo>
                    <a:lnTo>
                      <a:pt x="41" y="17"/>
                    </a:lnTo>
                    <a:lnTo>
                      <a:pt x="36" y="12"/>
                    </a:lnTo>
                    <a:lnTo>
                      <a:pt x="31" y="7"/>
                    </a:lnTo>
                    <a:lnTo>
                      <a:pt x="31" y="5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18" y="8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8" y="15"/>
                    </a:lnTo>
                    <a:lnTo>
                      <a:pt x="10" y="18"/>
                    </a:lnTo>
                    <a:lnTo>
                      <a:pt x="12" y="21"/>
                    </a:lnTo>
                    <a:lnTo>
                      <a:pt x="15" y="21"/>
                    </a:lnTo>
                    <a:lnTo>
                      <a:pt x="18" y="23"/>
                    </a:lnTo>
                    <a:lnTo>
                      <a:pt x="18" y="28"/>
                    </a:lnTo>
                    <a:lnTo>
                      <a:pt x="13" y="30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5" y="28"/>
                    </a:lnTo>
                    <a:lnTo>
                      <a:pt x="3" y="31"/>
                    </a:lnTo>
                    <a:lnTo>
                      <a:pt x="3" y="36"/>
                    </a:lnTo>
                    <a:lnTo>
                      <a:pt x="0" y="39"/>
                    </a:lnTo>
                    <a:lnTo>
                      <a:pt x="2" y="43"/>
                    </a:lnTo>
                    <a:lnTo>
                      <a:pt x="5" y="49"/>
                    </a:lnTo>
                    <a:lnTo>
                      <a:pt x="12" y="54"/>
                    </a:lnTo>
                    <a:lnTo>
                      <a:pt x="12" y="5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xmlns="" id="{B44566BF-54AB-4B6D-9833-9563131EFF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4" y="1850"/>
                <a:ext cx="213" cy="199"/>
              </a:xfrm>
              <a:custGeom>
                <a:avLst/>
                <a:gdLst>
                  <a:gd name="T0" fmla="*/ 74 w 130"/>
                  <a:gd name="T1" fmla="*/ 122 h 122"/>
                  <a:gd name="T2" fmla="*/ 87 w 130"/>
                  <a:gd name="T3" fmla="*/ 110 h 122"/>
                  <a:gd name="T4" fmla="*/ 92 w 130"/>
                  <a:gd name="T5" fmla="*/ 104 h 122"/>
                  <a:gd name="T6" fmla="*/ 87 w 130"/>
                  <a:gd name="T7" fmla="*/ 93 h 122"/>
                  <a:gd name="T8" fmla="*/ 83 w 130"/>
                  <a:gd name="T9" fmla="*/ 87 h 122"/>
                  <a:gd name="T10" fmla="*/ 98 w 130"/>
                  <a:gd name="T11" fmla="*/ 89 h 122"/>
                  <a:gd name="T12" fmla="*/ 113 w 130"/>
                  <a:gd name="T13" fmla="*/ 84 h 122"/>
                  <a:gd name="T14" fmla="*/ 118 w 130"/>
                  <a:gd name="T15" fmla="*/ 72 h 122"/>
                  <a:gd name="T16" fmla="*/ 118 w 130"/>
                  <a:gd name="T17" fmla="*/ 59 h 122"/>
                  <a:gd name="T18" fmla="*/ 126 w 130"/>
                  <a:gd name="T19" fmla="*/ 56 h 122"/>
                  <a:gd name="T20" fmla="*/ 123 w 130"/>
                  <a:gd name="T21" fmla="*/ 48 h 122"/>
                  <a:gd name="T22" fmla="*/ 129 w 130"/>
                  <a:gd name="T23" fmla="*/ 42 h 122"/>
                  <a:gd name="T24" fmla="*/ 120 w 130"/>
                  <a:gd name="T25" fmla="*/ 40 h 122"/>
                  <a:gd name="T26" fmla="*/ 114 w 130"/>
                  <a:gd name="T27" fmla="*/ 41 h 122"/>
                  <a:gd name="T28" fmla="*/ 119 w 130"/>
                  <a:gd name="T29" fmla="*/ 36 h 122"/>
                  <a:gd name="T30" fmla="*/ 112 w 130"/>
                  <a:gd name="T31" fmla="*/ 30 h 122"/>
                  <a:gd name="T32" fmla="*/ 105 w 130"/>
                  <a:gd name="T33" fmla="*/ 27 h 122"/>
                  <a:gd name="T34" fmla="*/ 100 w 130"/>
                  <a:gd name="T35" fmla="*/ 24 h 122"/>
                  <a:gd name="T36" fmla="*/ 109 w 130"/>
                  <a:gd name="T37" fmla="*/ 21 h 122"/>
                  <a:gd name="T38" fmla="*/ 98 w 130"/>
                  <a:gd name="T39" fmla="*/ 19 h 122"/>
                  <a:gd name="T40" fmla="*/ 85 w 130"/>
                  <a:gd name="T41" fmla="*/ 23 h 122"/>
                  <a:gd name="T42" fmla="*/ 77 w 130"/>
                  <a:gd name="T43" fmla="*/ 26 h 122"/>
                  <a:gd name="T44" fmla="*/ 56 w 130"/>
                  <a:gd name="T45" fmla="*/ 23 h 122"/>
                  <a:gd name="T46" fmla="*/ 51 w 130"/>
                  <a:gd name="T47" fmla="*/ 19 h 122"/>
                  <a:gd name="T48" fmla="*/ 40 w 130"/>
                  <a:gd name="T49" fmla="*/ 13 h 122"/>
                  <a:gd name="T50" fmla="*/ 35 w 130"/>
                  <a:gd name="T51" fmla="*/ 4 h 122"/>
                  <a:gd name="T52" fmla="*/ 30 w 130"/>
                  <a:gd name="T53" fmla="*/ 11 h 122"/>
                  <a:gd name="T54" fmla="*/ 33 w 130"/>
                  <a:gd name="T55" fmla="*/ 14 h 122"/>
                  <a:gd name="T56" fmla="*/ 28 w 130"/>
                  <a:gd name="T57" fmla="*/ 15 h 122"/>
                  <a:gd name="T58" fmla="*/ 19 w 130"/>
                  <a:gd name="T59" fmla="*/ 23 h 122"/>
                  <a:gd name="T60" fmla="*/ 15 w 130"/>
                  <a:gd name="T61" fmla="*/ 37 h 122"/>
                  <a:gd name="T62" fmla="*/ 13 w 130"/>
                  <a:gd name="T63" fmla="*/ 28 h 122"/>
                  <a:gd name="T64" fmla="*/ 16 w 130"/>
                  <a:gd name="T65" fmla="*/ 17 h 122"/>
                  <a:gd name="T66" fmla="*/ 16 w 130"/>
                  <a:gd name="T67" fmla="*/ 11 h 122"/>
                  <a:gd name="T68" fmla="*/ 14 w 130"/>
                  <a:gd name="T69" fmla="*/ 10 h 122"/>
                  <a:gd name="T70" fmla="*/ 5 w 130"/>
                  <a:gd name="T71" fmla="*/ 20 h 122"/>
                  <a:gd name="T72" fmla="*/ 1 w 130"/>
                  <a:gd name="T73" fmla="*/ 34 h 122"/>
                  <a:gd name="T74" fmla="*/ 9 w 130"/>
                  <a:gd name="T75" fmla="*/ 45 h 122"/>
                  <a:gd name="T76" fmla="*/ 8 w 130"/>
                  <a:gd name="T77" fmla="*/ 53 h 122"/>
                  <a:gd name="T78" fmla="*/ 18 w 130"/>
                  <a:gd name="T79" fmla="*/ 57 h 122"/>
                  <a:gd name="T80" fmla="*/ 30 w 130"/>
                  <a:gd name="T81" fmla="*/ 57 h 122"/>
                  <a:gd name="T82" fmla="*/ 43 w 130"/>
                  <a:gd name="T83" fmla="*/ 65 h 122"/>
                  <a:gd name="T84" fmla="*/ 52 w 130"/>
                  <a:gd name="T85" fmla="*/ 65 h 122"/>
                  <a:gd name="T86" fmla="*/ 56 w 130"/>
                  <a:gd name="T87" fmla="*/ 71 h 122"/>
                  <a:gd name="T88" fmla="*/ 53 w 130"/>
                  <a:gd name="T89" fmla="*/ 80 h 122"/>
                  <a:gd name="T90" fmla="*/ 53 w 130"/>
                  <a:gd name="T91" fmla="*/ 89 h 122"/>
                  <a:gd name="T92" fmla="*/ 54 w 130"/>
                  <a:gd name="T93" fmla="*/ 101 h 122"/>
                  <a:gd name="T94" fmla="*/ 57 w 130"/>
                  <a:gd name="T95" fmla="*/ 107 h 122"/>
                  <a:gd name="T96" fmla="*/ 47 w 130"/>
                  <a:gd name="T97" fmla="*/ 3 h 122"/>
                  <a:gd name="T98" fmla="*/ 48 w 130"/>
                  <a:gd name="T99" fmla="*/ 5 h 122"/>
                  <a:gd name="T100" fmla="*/ 43 w 130"/>
                  <a:gd name="T101" fmla="*/ 6 h 122"/>
                  <a:gd name="T102" fmla="*/ 33 w 130"/>
                  <a:gd name="T103" fmla="*/ 2 h 122"/>
                  <a:gd name="T104" fmla="*/ 88 w 130"/>
                  <a:gd name="T105" fmla="*/ 16 h 122"/>
                  <a:gd name="T106" fmla="*/ 89 w 130"/>
                  <a:gd name="T107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0" h="122">
                    <a:moveTo>
                      <a:pt x="60" y="116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7" y="122"/>
                      <a:pt x="67" y="122"/>
                      <a:pt x="67" y="122"/>
                    </a:cubicBezTo>
                    <a:cubicBezTo>
                      <a:pt x="70" y="122"/>
                      <a:pt x="70" y="122"/>
                      <a:pt x="70" y="122"/>
                    </a:cubicBezTo>
                    <a:cubicBezTo>
                      <a:pt x="74" y="122"/>
                      <a:pt x="74" y="122"/>
                      <a:pt x="74" y="122"/>
                    </a:cubicBezTo>
                    <a:cubicBezTo>
                      <a:pt x="76" y="119"/>
                      <a:pt x="76" y="119"/>
                      <a:pt x="76" y="119"/>
                    </a:cubicBezTo>
                    <a:cubicBezTo>
                      <a:pt x="79" y="117"/>
                      <a:pt x="79" y="117"/>
                      <a:pt x="79" y="117"/>
                    </a:cubicBezTo>
                    <a:cubicBezTo>
                      <a:pt x="81" y="115"/>
                      <a:pt x="81" y="115"/>
                      <a:pt x="81" y="115"/>
                    </a:cubicBezTo>
                    <a:cubicBezTo>
                      <a:pt x="86" y="113"/>
                      <a:pt x="86" y="113"/>
                      <a:pt x="86" y="113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88" y="108"/>
                      <a:pt x="88" y="108"/>
                      <a:pt x="88" y="108"/>
                    </a:cubicBezTo>
                    <a:cubicBezTo>
                      <a:pt x="93" y="107"/>
                      <a:pt x="93" y="107"/>
                      <a:pt x="93" y="107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4"/>
                      <a:pt x="95" y="104"/>
                      <a:pt x="95" y="104"/>
                    </a:cubicBezTo>
                    <a:cubicBezTo>
                      <a:pt x="92" y="104"/>
                      <a:pt x="92" y="104"/>
                      <a:pt x="92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5" y="99"/>
                      <a:pt x="85" y="99"/>
                      <a:pt x="85" y="99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7" y="93"/>
                      <a:pt x="87" y="93"/>
                      <a:pt x="87" y="93"/>
                    </a:cubicBezTo>
                    <a:cubicBezTo>
                      <a:pt x="86" y="91"/>
                      <a:pt x="86" y="91"/>
                      <a:pt x="86" y="91"/>
                    </a:cubicBezTo>
                    <a:cubicBezTo>
                      <a:pt x="84" y="89"/>
                      <a:pt x="84" y="89"/>
                      <a:pt x="84" y="89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0" y="86"/>
                      <a:pt x="80" y="86"/>
                      <a:pt x="80" y="86"/>
                    </a:cubicBezTo>
                    <a:cubicBezTo>
                      <a:pt x="83" y="87"/>
                      <a:pt x="83" y="87"/>
                      <a:pt x="83" y="87"/>
                    </a:cubicBezTo>
                    <a:cubicBezTo>
                      <a:pt x="86" y="87"/>
                      <a:pt x="86" y="87"/>
                      <a:pt x="86" y="87"/>
                    </a:cubicBezTo>
                    <a:cubicBezTo>
                      <a:pt x="89" y="89"/>
                      <a:pt x="89" y="89"/>
                      <a:pt x="89" y="89"/>
                    </a:cubicBezTo>
                    <a:cubicBezTo>
                      <a:pt x="93" y="89"/>
                      <a:pt x="93" y="89"/>
                      <a:pt x="93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8" y="89"/>
                      <a:pt x="98" y="89"/>
                      <a:pt x="98" y="89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4" y="85"/>
                      <a:pt x="104" y="85"/>
                      <a:pt x="104" y="85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13" y="84"/>
                      <a:pt x="113" y="84"/>
                      <a:pt x="113" y="84"/>
                    </a:cubicBezTo>
                    <a:cubicBezTo>
                      <a:pt x="116" y="83"/>
                      <a:pt x="116" y="83"/>
                      <a:pt x="116" y="83"/>
                    </a:cubicBezTo>
                    <a:cubicBezTo>
                      <a:pt x="121" y="80"/>
                      <a:pt x="121" y="80"/>
                      <a:pt x="121" y="80"/>
                    </a:cubicBezTo>
                    <a:cubicBezTo>
                      <a:pt x="122" y="77"/>
                      <a:pt x="122" y="77"/>
                      <a:pt x="122" y="77"/>
                    </a:cubicBezTo>
                    <a:cubicBezTo>
                      <a:pt x="122" y="75"/>
                      <a:pt x="122" y="75"/>
                      <a:pt x="122" y="75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5" y="66"/>
                      <a:pt x="115" y="66"/>
                      <a:pt x="115" y="66"/>
                    </a:cubicBezTo>
                    <a:cubicBezTo>
                      <a:pt x="117" y="64"/>
                      <a:pt x="117" y="64"/>
                      <a:pt x="117" y="64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8" y="59"/>
                      <a:pt x="118" y="59"/>
                      <a:pt x="118" y="59"/>
                    </a:cubicBezTo>
                    <a:cubicBezTo>
                      <a:pt x="120" y="60"/>
                      <a:pt x="120" y="60"/>
                      <a:pt x="120" y="60"/>
                    </a:cubicBezTo>
                    <a:cubicBezTo>
                      <a:pt x="121" y="59"/>
                      <a:pt x="121" y="59"/>
                      <a:pt x="121" y="59"/>
                    </a:cubicBezTo>
                    <a:cubicBezTo>
                      <a:pt x="123" y="60"/>
                      <a:pt x="123" y="60"/>
                      <a:pt x="123" y="60"/>
                    </a:cubicBezTo>
                    <a:cubicBezTo>
                      <a:pt x="126" y="59"/>
                      <a:pt x="126" y="59"/>
                      <a:pt x="126" y="59"/>
                    </a:cubicBezTo>
                    <a:cubicBezTo>
                      <a:pt x="126" y="56"/>
                      <a:pt x="126" y="56"/>
                      <a:pt x="126" y="56"/>
                    </a:cubicBezTo>
                    <a:cubicBezTo>
                      <a:pt x="124" y="55"/>
                      <a:pt x="124" y="55"/>
                      <a:pt x="124" y="55"/>
                    </a:cubicBezTo>
                    <a:cubicBezTo>
                      <a:pt x="122" y="55"/>
                      <a:pt x="122" y="55"/>
                      <a:pt x="122" y="55"/>
                    </a:cubicBezTo>
                    <a:cubicBezTo>
                      <a:pt x="121" y="53"/>
                      <a:pt x="121" y="53"/>
                      <a:pt x="121" y="53"/>
                    </a:cubicBezTo>
                    <a:cubicBezTo>
                      <a:pt x="120" y="51"/>
                      <a:pt x="120" y="51"/>
                      <a:pt x="120" y="51"/>
                    </a:cubicBezTo>
                    <a:cubicBezTo>
                      <a:pt x="123" y="48"/>
                      <a:pt x="123" y="48"/>
                      <a:pt x="123" y="48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6" y="47"/>
                      <a:pt x="126" y="47"/>
                      <a:pt x="126" y="47"/>
                    </a:cubicBezTo>
                    <a:cubicBezTo>
                      <a:pt x="129" y="43"/>
                      <a:pt x="129" y="43"/>
                      <a:pt x="129" y="43"/>
                    </a:cubicBezTo>
                    <a:cubicBezTo>
                      <a:pt x="130" y="42"/>
                      <a:pt x="130" y="42"/>
                      <a:pt x="130" y="42"/>
                    </a:cubicBezTo>
                    <a:cubicBezTo>
                      <a:pt x="129" y="42"/>
                      <a:pt x="129" y="42"/>
                      <a:pt x="129" y="42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124" y="40"/>
                      <a:pt x="124" y="40"/>
                      <a:pt x="124" y="40"/>
                    </a:cubicBezTo>
                    <a:cubicBezTo>
                      <a:pt x="123" y="41"/>
                      <a:pt x="123" y="41"/>
                      <a:pt x="123" y="41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0" y="40"/>
                      <a:pt x="120" y="40"/>
                      <a:pt x="120" y="40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3" y="41"/>
                      <a:pt x="113" y="41"/>
                      <a:pt x="113" y="41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14" y="41"/>
                      <a:pt x="114" y="41"/>
                      <a:pt x="114" y="41"/>
                    </a:cubicBezTo>
                    <a:cubicBezTo>
                      <a:pt x="115" y="41"/>
                      <a:pt x="115" y="41"/>
                      <a:pt x="115" y="41"/>
                    </a:cubicBezTo>
                    <a:cubicBezTo>
                      <a:pt x="116" y="40"/>
                      <a:pt x="116" y="40"/>
                      <a:pt x="116" y="40"/>
                    </a:cubicBezTo>
                    <a:cubicBezTo>
                      <a:pt x="117" y="38"/>
                      <a:pt x="117" y="38"/>
                      <a:pt x="117" y="38"/>
                    </a:cubicBezTo>
                    <a:cubicBezTo>
                      <a:pt x="119" y="37"/>
                      <a:pt x="119" y="37"/>
                      <a:pt x="119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18" y="35"/>
                      <a:pt x="118" y="35"/>
                      <a:pt x="118" y="35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8" y="33"/>
                      <a:pt x="118" y="33"/>
                      <a:pt x="118" y="33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2" y="30"/>
                      <a:pt x="112" y="30"/>
                      <a:pt x="112" y="30"/>
                    </a:cubicBezTo>
                    <a:cubicBezTo>
                      <a:pt x="111" y="29"/>
                      <a:pt x="111" y="29"/>
                      <a:pt x="111" y="29"/>
                    </a:cubicBezTo>
                    <a:cubicBezTo>
                      <a:pt x="110" y="29"/>
                      <a:pt x="110" y="29"/>
                      <a:pt x="110" y="29"/>
                    </a:cubicBezTo>
                    <a:cubicBezTo>
                      <a:pt x="108" y="29"/>
                      <a:pt x="108" y="29"/>
                      <a:pt x="108" y="29"/>
                    </a:cubicBezTo>
                    <a:cubicBezTo>
                      <a:pt x="107" y="28"/>
                      <a:pt x="107" y="28"/>
                      <a:pt x="107" y="28"/>
                    </a:cubicBezTo>
                    <a:cubicBezTo>
                      <a:pt x="105" y="27"/>
                      <a:pt x="105" y="27"/>
                      <a:pt x="105" y="27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104" y="29"/>
                      <a:pt x="104" y="29"/>
                      <a:pt x="104" y="29"/>
                    </a:cubicBezTo>
                    <a:cubicBezTo>
                      <a:pt x="103" y="27"/>
                      <a:pt x="103" y="27"/>
                      <a:pt x="103" y="27"/>
                    </a:cubicBezTo>
                    <a:cubicBezTo>
                      <a:pt x="102" y="25"/>
                      <a:pt x="102" y="25"/>
                      <a:pt x="102" y="25"/>
                    </a:cubicBezTo>
                    <a:cubicBezTo>
                      <a:pt x="100" y="24"/>
                      <a:pt x="100" y="24"/>
                      <a:pt x="100" y="24"/>
                    </a:cubicBezTo>
                    <a:cubicBezTo>
                      <a:pt x="100" y="23"/>
                      <a:pt x="100" y="23"/>
                      <a:pt x="100" y="23"/>
                    </a:cubicBezTo>
                    <a:cubicBezTo>
                      <a:pt x="101" y="22"/>
                      <a:pt x="101" y="22"/>
                      <a:pt x="101" y="22"/>
                    </a:cubicBezTo>
                    <a:cubicBezTo>
                      <a:pt x="105" y="22"/>
                      <a:pt x="105" y="22"/>
                      <a:pt x="105" y="22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7" y="20"/>
                      <a:pt x="107" y="20"/>
                      <a:pt x="107" y="2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0"/>
                      <a:pt x="92" y="20"/>
                      <a:pt x="92" y="20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7" y="23"/>
                      <a:pt x="87" y="23"/>
                      <a:pt x="87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3" y="24"/>
                      <a:pt x="83" y="24"/>
                      <a:pt x="83" y="24"/>
                    </a:cubicBezTo>
                    <a:cubicBezTo>
                      <a:pt x="82" y="25"/>
                      <a:pt x="82" y="25"/>
                      <a:pt x="82" y="25"/>
                    </a:cubicBezTo>
                    <a:cubicBezTo>
                      <a:pt x="79" y="26"/>
                      <a:pt x="79" y="26"/>
                      <a:pt x="79" y="26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7" y="26"/>
                      <a:pt x="77" y="26"/>
                      <a:pt x="77" y="26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8" y="13"/>
                      <a:pt x="38" y="13"/>
                      <a:pt x="38" y="13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9" y="45"/>
                      <a:pt x="9" y="45"/>
                      <a:pt x="9" y="45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8" y="57"/>
                      <a:pt x="18" y="57"/>
                      <a:pt x="18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24" y="57"/>
                      <a:pt x="24" y="57"/>
                      <a:pt x="24" y="57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3" y="65"/>
                      <a:pt x="43" y="65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65"/>
                      <a:pt x="50" y="65"/>
                      <a:pt x="50" y="65"/>
                    </a:cubicBezTo>
                    <a:cubicBezTo>
                      <a:pt x="52" y="65"/>
                      <a:pt x="52" y="65"/>
                      <a:pt x="52" y="65"/>
                    </a:cubicBezTo>
                    <a:cubicBezTo>
                      <a:pt x="53" y="65"/>
                      <a:pt x="53" y="65"/>
                      <a:pt x="53" y="65"/>
                    </a:cubicBezTo>
                    <a:cubicBezTo>
                      <a:pt x="55" y="65"/>
                      <a:pt x="55" y="65"/>
                      <a:pt x="55" y="65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56" y="71"/>
                      <a:pt x="56" y="71"/>
                      <a:pt x="56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3" y="80"/>
                      <a:pt x="53" y="80"/>
                      <a:pt x="53" y="80"/>
                    </a:cubicBezTo>
                    <a:cubicBezTo>
                      <a:pt x="53" y="81"/>
                      <a:pt x="53" y="81"/>
                      <a:pt x="53" y="81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3" y="88"/>
                      <a:pt x="53" y="88"/>
                      <a:pt x="53" y="88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94"/>
                      <a:pt x="55" y="94"/>
                      <a:pt x="55" y="94"/>
                    </a:cubicBezTo>
                    <a:cubicBezTo>
                      <a:pt x="52" y="100"/>
                      <a:pt x="52" y="100"/>
                      <a:pt x="52" y="100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54" y="101"/>
                      <a:pt x="54" y="101"/>
                      <a:pt x="54" y="101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55" y="103"/>
                      <a:pt x="55" y="103"/>
                      <a:pt x="55" y="103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7"/>
                      <a:pt x="57" y="107"/>
                      <a:pt x="57" y="107"/>
                    </a:cubicBezTo>
                    <a:cubicBezTo>
                      <a:pt x="58" y="110"/>
                      <a:pt x="58" y="110"/>
                      <a:pt x="58" y="110"/>
                    </a:cubicBezTo>
                    <a:cubicBezTo>
                      <a:pt x="60" y="115"/>
                      <a:pt x="60" y="115"/>
                      <a:pt x="60" y="115"/>
                    </a:cubicBezTo>
                    <a:cubicBezTo>
                      <a:pt x="60" y="116"/>
                      <a:pt x="60" y="116"/>
                      <a:pt x="60" y="116"/>
                    </a:cubicBezTo>
                    <a:cubicBezTo>
                      <a:pt x="60" y="116"/>
                      <a:pt x="60" y="116"/>
                      <a:pt x="60" y="116"/>
                    </a:cubicBezTo>
                    <a:close/>
                    <a:moveTo>
                      <a:pt x="47" y="3"/>
                    </a:moveTo>
                    <a:cubicBezTo>
                      <a:pt x="49" y="3"/>
                      <a:pt x="49" y="3"/>
                      <a:pt x="49" y="3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7" y="3"/>
                      <a:pt x="47" y="3"/>
                      <a:pt x="47" y="3"/>
                    </a:cubicBezTo>
                    <a:close/>
                    <a:moveTo>
                      <a:pt x="41" y="3"/>
                    </a:moveTo>
                    <a:cubicBezTo>
                      <a:pt x="42" y="5"/>
                      <a:pt x="42" y="5"/>
                      <a:pt x="4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1" y="3"/>
                      <a:pt x="41" y="3"/>
                      <a:pt x="41" y="3"/>
                    </a:cubicBezTo>
                    <a:close/>
                    <a:moveTo>
                      <a:pt x="31" y="0"/>
                    </a:move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1" y="0"/>
                      <a:pt x="31" y="0"/>
                      <a:pt x="31" y="0"/>
                    </a:cubicBezTo>
                    <a:close/>
                    <a:moveTo>
                      <a:pt x="86" y="17"/>
                    </a:moveTo>
                    <a:cubicBezTo>
                      <a:pt x="88" y="16"/>
                      <a:pt x="88" y="16"/>
                      <a:pt x="88" y="16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8"/>
                      <a:pt x="89" y="18"/>
                      <a:pt x="89" y="18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7" y="18"/>
                      <a:pt x="86" y="17"/>
                      <a:pt x="86" y="17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xmlns="" id="{639855A5-54CF-4D1F-A41F-10022C574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3" y="1853"/>
                <a:ext cx="189" cy="278"/>
              </a:xfrm>
              <a:custGeom>
                <a:avLst/>
                <a:gdLst>
                  <a:gd name="T0" fmla="*/ 153 w 189"/>
                  <a:gd name="T1" fmla="*/ 227 h 278"/>
                  <a:gd name="T2" fmla="*/ 152 w 189"/>
                  <a:gd name="T3" fmla="*/ 199 h 278"/>
                  <a:gd name="T4" fmla="*/ 153 w 189"/>
                  <a:gd name="T5" fmla="*/ 189 h 278"/>
                  <a:gd name="T6" fmla="*/ 166 w 189"/>
                  <a:gd name="T7" fmla="*/ 176 h 278"/>
                  <a:gd name="T8" fmla="*/ 181 w 189"/>
                  <a:gd name="T9" fmla="*/ 173 h 278"/>
                  <a:gd name="T10" fmla="*/ 189 w 189"/>
                  <a:gd name="T11" fmla="*/ 186 h 278"/>
                  <a:gd name="T12" fmla="*/ 183 w 189"/>
                  <a:gd name="T13" fmla="*/ 167 h 278"/>
                  <a:gd name="T14" fmla="*/ 176 w 189"/>
                  <a:gd name="T15" fmla="*/ 163 h 278"/>
                  <a:gd name="T16" fmla="*/ 176 w 189"/>
                  <a:gd name="T17" fmla="*/ 137 h 278"/>
                  <a:gd name="T18" fmla="*/ 178 w 189"/>
                  <a:gd name="T19" fmla="*/ 119 h 278"/>
                  <a:gd name="T20" fmla="*/ 183 w 189"/>
                  <a:gd name="T21" fmla="*/ 104 h 278"/>
                  <a:gd name="T22" fmla="*/ 170 w 189"/>
                  <a:gd name="T23" fmla="*/ 103 h 278"/>
                  <a:gd name="T24" fmla="*/ 158 w 189"/>
                  <a:gd name="T25" fmla="*/ 101 h 278"/>
                  <a:gd name="T26" fmla="*/ 130 w 189"/>
                  <a:gd name="T27" fmla="*/ 90 h 278"/>
                  <a:gd name="T28" fmla="*/ 116 w 189"/>
                  <a:gd name="T29" fmla="*/ 88 h 278"/>
                  <a:gd name="T30" fmla="*/ 106 w 189"/>
                  <a:gd name="T31" fmla="*/ 80 h 278"/>
                  <a:gd name="T32" fmla="*/ 96 w 189"/>
                  <a:gd name="T33" fmla="*/ 54 h 278"/>
                  <a:gd name="T34" fmla="*/ 95 w 189"/>
                  <a:gd name="T35" fmla="*/ 42 h 278"/>
                  <a:gd name="T36" fmla="*/ 104 w 189"/>
                  <a:gd name="T37" fmla="*/ 23 h 278"/>
                  <a:gd name="T38" fmla="*/ 122 w 189"/>
                  <a:gd name="T39" fmla="*/ 10 h 278"/>
                  <a:gd name="T40" fmla="*/ 126 w 189"/>
                  <a:gd name="T41" fmla="*/ 3 h 278"/>
                  <a:gd name="T42" fmla="*/ 114 w 189"/>
                  <a:gd name="T43" fmla="*/ 3 h 278"/>
                  <a:gd name="T44" fmla="*/ 108 w 189"/>
                  <a:gd name="T45" fmla="*/ 8 h 278"/>
                  <a:gd name="T46" fmla="*/ 90 w 189"/>
                  <a:gd name="T47" fmla="*/ 18 h 278"/>
                  <a:gd name="T48" fmla="*/ 78 w 189"/>
                  <a:gd name="T49" fmla="*/ 24 h 278"/>
                  <a:gd name="T50" fmla="*/ 73 w 189"/>
                  <a:gd name="T51" fmla="*/ 24 h 278"/>
                  <a:gd name="T52" fmla="*/ 62 w 189"/>
                  <a:gd name="T53" fmla="*/ 26 h 278"/>
                  <a:gd name="T54" fmla="*/ 54 w 189"/>
                  <a:gd name="T55" fmla="*/ 42 h 278"/>
                  <a:gd name="T56" fmla="*/ 49 w 189"/>
                  <a:gd name="T57" fmla="*/ 51 h 278"/>
                  <a:gd name="T58" fmla="*/ 36 w 189"/>
                  <a:gd name="T59" fmla="*/ 62 h 278"/>
                  <a:gd name="T60" fmla="*/ 36 w 189"/>
                  <a:gd name="T61" fmla="*/ 75 h 278"/>
                  <a:gd name="T62" fmla="*/ 29 w 189"/>
                  <a:gd name="T63" fmla="*/ 69 h 278"/>
                  <a:gd name="T64" fmla="*/ 26 w 189"/>
                  <a:gd name="T65" fmla="*/ 72 h 278"/>
                  <a:gd name="T66" fmla="*/ 18 w 189"/>
                  <a:gd name="T67" fmla="*/ 86 h 278"/>
                  <a:gd name="T68" fmla="*/ 24 w 189"/>
                  <a:gd name="T69" fmla="*/ 98 h 278"/>
                  <a:gd name="T70" fmla="*/ 24 w 189"/>
                  <a:gd name="T71" fmla="*/ 106 h 278"/>
                  <a:gd name="T72" fmla="*/ 24 w 189"/>
                  <a:gd name="T73" fmla="*/ 116 h 278"/>
                  <a:gd name="T74" fmla="*/ 23 w 189"/>
                  <a:gd name="T75" fmla="*/ 137 h 278"/>
                  <a:gd name="T76" fmla="*/ 31 w 189"/>
                  <a:gd name="T77" fmla="*/ 144 h 278"/>
                  <a:gd name="T78" fmla="*/ 19 w 189"/>
                  <a:gd name="T79" fmla="*/ 160 h 278"/>
                  <a:gd name="T80" fmla="*/ 0 w 189"/>
                  <a:gd name="T81" fmla="*/ 181 h 278"/>
                  <a:gd name="T82" fmla="*/ 19 w 189"/>
                  <a:gd name="T83" fmla="*/ 194 h 278"/>
                  <a:gd name="T84" fmla="*/ 32 w 189"/>
                  <a:gd name="T85" fmla="*/ 206 h 278"/>
                  <a:gd name="T86" fmla="*/ 44 w 189"/>
                  <a:gd name="T87" fmla="*/ 201 h 278"/>
                  <a:gd name="T88" fmla="*/ 55 w 189"/>
                  <a:gd name="T89" fmla="*/ 207 h 278"/>
                  <a:gd name="T90" fmla="*/ 68 w 189"/>
                  <a:gd name="T91" fmla="*/ 212 h 278"/>
                  <a:gd name="T92" fmla="*/ 78 w 189"/>
                  <a:gd name="T93" fmla="*/ 227 h 278"/>
                  <a:gd name="T94" fmla="*/ 91 w 189"/>
                  <a:gd name="T95" fmla="*/ 238 h 278"/>
                  <a:gd name="T96" fmla="*/ 99 w 189"/>
                  <a:gd name="T97" fmla="*/ 248 h 278"/>
                  <a:gd name="T98" fmla="*/ 117 w 189"/>
                  <a:gd name="T99" fmla="*/ 245 h 278"/>
                  <a:gd name="T100" fmla="*/ 132 w 189"/>
                  <a:gd name="T101" fmla="*/ 247 h 278"/>
                  <a:gd name="T102" fmla="*/ 130 w 189"/>
                  <a:gd name="T103" fmla="*/ 269 h 278"/>
                  <a:gd name="T104" fmla="*/ 142 w 189"/>
                  <a:gd name="T105" fmla="*/ 278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9" h="278">
                    <a:moveTo>
                      <a:pt x="142" y="278"/>
                    </a:moveTo>
                    <a:lnTo>
                      <a:pt x="144" y="268"/>
                    </a:lnTo>
                    <a:lnTo>
                      <a:pt x="153" y="234"/>
                    </a:lnTo>
                    <a:lnTo>
                      <a:pt x="153" y="232"/>
                    </a:lnTo>
                    <a:lnTo>
                      <a:pt x="153" y="227"/>
                    </a:lnTo>
                    <a:lnTo>
                      <a:pt x="150" y="219"/>
                    </a:lnTo>
                    <a:lnTo>
                      <a:pt x="144" y="214"/>
                    </a:lnTo>
                    <a:lnTo>
                      <a:pt x="140" y="211"/>
                    </a:lnTo>
                    <a:lnTo>
                      <a:pt x="140" y="202"/>
                    </a:lnTo>
                    <a:lnTo>
                      <a:pt x="152" y="199"/>
                    </a:lnTo>
                    <a:lnTo>
                      <a:pt x="155" y="201"/>
                    </a:lnTo>
                    <a:lnTo>
                      <a:pt x="155" y="198"/>
                    </a:lnTo>
                    <a:lnTo>
                      <a:pt x="153" y="196"/>
                    </a:lnTo>
                    <a:lnTo>
                      <a:pt x="155" y="194"/>
                    </a:lnTo>
                    <a:lnTo>
                      <a:pt x="153" y="189"/>
                    </a:lnTo>
                    <a:lnTo>
                      <a:pt x="147" y="188"/>
                    </a:lnTo>
                    <a:lnTo>
                      <a:pt x="145" y="185"/>
                    </a:lnTo>
                    <a:lnTo>
                      <a:pt x="147" y="180"/>
                    </a:lnTo>
                    <a:lnTo>
                      <a:pt x="165" y="180"/>
                    </a:lnTo>
                    <a:lnTo>
                      <a:pt x="166" y="176"/>
                    </a:lnTo>
                    <a:lnTo>
                      <a:pt x="170" y="176"/>
                    </a:lnTo>
                    <a:lnTo>
                      <a:pt x="171" y="178"/>
                    </a:lnTo>
                    <a:lnTo>
                      <a:pt x="173" y="178"/>
                    </a:lnTo>
                    <a:lnTo>
                      <a:pt x="176" y="175"/>
                    </a:lnTo>
                    <a:lnTo>
                      <a:pt x="181" y="173"/>
                    </a:lnTo>
                    <a:lnTo>
                      <a:pt x="181" y="176"/>
                    </a:lnTo>
                    <a:lnTo>
                      <a:pt x="184" y="180"/>
                    </a:lnTo>
                    <a:lnTo>
                      <a:pt x="184" y="183"/>
                    </a:lnTo>
                    <a:lnTo>
                      <a:pt x="184" y="188"/>
                    </a:lnTo>
                    <a:lnTo>
                      <a:pt x="189" y="186"/>
                    </a:lnTo>
                    <a:lnTo>
                      <a:pt x="189" y="185"/>
                    </a:lnTo>
                    <a:lnTo>
                      <a:pt x="186" y="176"/>
                    </a:lnTo>
                    <a:lnTo>
                      <a:pt x="184" y="171"/>
                    </a:lnTo>
                    <a:lnTo>
                      <a:pt x="184" y="170"/>
                    </a:lnTo>
                    <a:lnTo>
                      <a:pt x="183" y="167"/>
                    </a:lnTo>
                    <a:lnTo>
                      <a:pt x="181" y="165"/>
                    </a:lnTo>
                    <a:lnTo>
                      <a:pt x="181" y="163"/>
                    </a:lnTo>
                    <a:lnTo>
                      <a:pt x="179" y="162"/>
                    </a:lnTo>
                    <a:lnTo>
                      <a:pt x="178" y="163"/>
                    </a:lnTo>
                    <a:lnTo>
                      <a:pt x="176" y="163"/>
                    </a:lnTo>
                    <a:lnTo>
                      <a:pt x="176" y="160"/>
                    </a:lnTo>
                    <a:lnTo>
                      <a:pt x="181" y="150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6" y="137"/>
                    </a:lnTo>
                    <a:lnTo>
                      <a:pt x="176" y="132"/>
                    </a:lnTo>
                    <a:lnTo>
                      <a:pt x="178" y="129"/>
                    </a:lnTo>
                    <a:lnTo>
                      <a:pt x="178" y="127"/>
                    </a:lnTo>
                    <a:lnTo>
                      <a:pt x="176" y="121"/>
                    </a:lnTo>
                    <a:lnTo>
                      <a:pt x="178" y="119"/>
                    </a:lnTo>
                    <a:lnTo>
                      <a:pt x="181" y="118"/>
                    </a:lnTo>
                    <a:lnTo>
                      <a:pt x="183" y="116"/>
                    </a:lnTo>
                    <a:lnTo>
                      <a:pt x="183" y="113"/>
                    </a:lnTo>
                    <a:lnTo>
                      <a:pt x="184" y="109"/>
                    </a:lnTo>
                    <a:lnTo>
                      <a:pt x="183" y="104"/>
                    </a:lnTo>
                    <a:lnTo>
                      <a:pt x="181" y="103"/>
                    </a:lnTo>
                    <a:lnTo>
                      <a:pt x="178" y="103"/>
                    </a:lnTo>
                    <a:lnTo>
                      <a:pt x="176" y="103"/>
                    </a:lnTo>
                    <a:lnTo>
                      <a:pt x="173" y="103"/>
                    </a:lnTo>
                    <a:lnTo>
                      <a:pt x="170" y="103"/>
                    </a:lnTo>
                    <a:lnTo>
                      <a:pt x="166" y="104"/>
                    </a:lnTo>
                    <a:lnTo>
                      <a:pt x="165" y="103"/>
                    </a:lnTo>
                    <a:lnTo>
                      <a:pt x="162" y="103"/>
                    </a:lnTo>
                    <a:lnTo>
                      <a:pt x="160" y="103"/>
                    </a:lnTo>
                    <a:lnTo>
                      <a:pt x="158" y="101"/>
                    </a:lnTo>
                    <a:lnTo>
                      <a:pt x="155" y="103"/>
                    </a:lnTo>
                    <a:lnTo>
                      <a:pt x="142" y="91"/>
                    </a:lnTo>
                    <a:lnTo>
                      <a:pt x="140" y="90"/>
                    </a:lnTo>
                    <a:lnTo>
                      <a:pt x="135" y="88"/>
                    </a:lnTo>
                    <a:lnTo>
                      <a:pt x="130" y="90"/>
                    </a:lnTo>
                    <a:lnTo>
                      <a:pt x="129" y="90"/>
                    </a:lnTo>
                    <a:lnTo>
                      <a:pt x="126" y="90"/>
                    </a:lnTo>
                    <a:lnTo>
                      <a:pt x="121" y="90"/>
                    </a:lnTo>
                    <a:lnTo>
                      <a:pt x="119" y="90"/>
                    </a:lnTo>
                    <a:lnTo>
                      <a:pt x="116" y="88"/>
                    </a:lnTo>
                    <a:lnTo>
                      <a:pt x="113" y="88"/>
                    </a:lnTo>
                    <a:lnTo>
                      <a:pt x="108" y="86"/>
                    </a:lnTo>
                    <a:lnTo>
                      <a:pt x="104" y="83"/>
                    </a:lnTo>
                    <a:lnTo>
                      <a:pt x="104" y="82"/>
                    </a:lnTo>
                    <a:lnTo>
                      <a:pt x="106" y="80"/>
                    </a:lnTo>
                    <a:lnTo>
                      <a:pt x="104" y="77"/>
                    </a:lnTo>
                    <a:lnTo>
                      <a:pt x="106" y="73"/>
                    </a:lnTo>
                    <a:lnTo>
                      <a:pt x="106" y="70"/>
                    </a:lnTo>
                    <a:lnTo>
                      <a:pt x="103" y="67"/>
                    </a:lnTo>
                    <a:lnTo>
                      <a:pt x="96" y="54"/>
                    </a:lnTo>
                    <a:lnTo>
                      <a:pt x="95" y="54"/>
                    </a:lnTo>
                    <a:lnTo>
                      <a:pt x="91" y="54"/>
                    </a:lnTo>
                    <a:lnTo>
                      <a:pt x="93" y="52"/>
                    </a:lnTo>
                    <a:lnTo>
                      <a:pt x="95" y="47"/>
                    </a:lnTo>
                    <a:lnTo>
                      <a:pt x="95" y="42"/>
                    </a:lnTo>
                    <a:lnTo>
                      <a:pt x="95" y="39"/>
                    </a:lnTo>
                    <a:lnTo>
                      <a:pt x="95" y="36"/>
                    </a:lnTo>
                    <a:lnTo>
                      <a:pt x="99" y="29"/>
                    </a:lnTo>
                    <a:lnTo>
                      <a:pt x="103" y="26"/>
                    </a:lnTo>
                    <a:lnTo>
                      <a:pt x="104" y="23"/>
                    </a:lnTo>
                    <a:lnTo>
                      <a:pt x="108" y="23"/>
                    </a:lnTo>
                    <a:lnTo>
                      <a:pt x="109" y="21"/>
                    </a:lnTo>
                    <a:lnTo>
                      <a:pt x="114" y="13"/>
                    </a:lnTo>
                    <a:lnTo>
                      <a:pt x="122" y="10"/>
                    </a:lnTo>
                    <a:lnTo>
                      <a:pt x="122" y="10"/>
                    </a:lnTo>
                    <a:lnTo>
                      <a:pt x="124" y="10"/>
                    </a:lnTo>
                    <a:lnTo>
                      <a:pt x="126" y="8"/>
                    </a:lnTo>
                    <a:lnTo>
                      <a:pt x="127" y="8"/>
                    </a:lnTo>
                    <a:lnTo>
                      <a:pt x="127" y="5"/>
                    </a:lnTo>
                    <a:lnTo>
                      <a:pt x="126" y="3"/>
                    </a:lnTo>
                    <a:lnTo>
                      <a:pt x="121" y="0"/>
                    </a:lnTo>
                    <a:lnTo>
                      <a:pt x="117" y="0"/>
                    </a:lnTo>
                    <a:lnTo>
                      <a:pt x="117" y="2"/>
                    </a:lnTo>
                    <a:lnTo>
                      <a:pt x="117" y="3"/>
                    </a:lnTo>
                    <a:lnTo>
                      <a:pt x="114" y="3"/>
                    </a:lnTo>
                    <a:lnTo>
                      <a:pt x="113" y="5"/>
                    </a:lnTo>
                    <a:lnTo>
                      <a:pt x="111" y="3"/>
                    </a:lnTo>
                    <a:lnTo>
                      <a:pt x="108" y="5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03" y="11"/>
                    </a:lnTo>
                    <a:lnTo>
                      <a:pt x="98" y="15"/>
                    </a:lnTo>
                    <a:lnTo>
                      <a:pt x="95" y="18"/>
                    </a:lnTo>
                    <a:lnTo>
                      <a:pt x="90" y="18"/>
                    </a:lnTo>
                    <a:lnTo>
                      <a:pt x="85" y="19"/>
                    </a:lnTo>
                    <a:lnTo>
                      <a:pt x="80" y="18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8" y="24"/>
                    </a:lnTo>
                    <a:lnTo>
                      <a:pt x="78" y="28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75" y="26"/>
                    </a:lnTo>
                    <a:lnTo>
                      <a:pt x="73" y="24"/>
                    </a:lnTo>
                    <a:lnTo>
                      <a:pt x="77" y="24"/>
                    </a:lnTo>
                    <a:lnTo>
                      <a:pt x="73" y="24"/>
                    </a:lnTo>
                    <a:lnTo>
                      <a:pt x="68" y="23"/>
                    </a:lnTo>
                    <a:lnTo>
                      <a:pt x="67" y="23"/>
                    </a:lnTo>
                    <a:lnTo>
                      <a:pt x="62" y="26"/>
                    </a:lnTo>
                    <a:lnTo>
                      <a:pt x="60" y="28"/>
                    </a:lnTo>
                    <a:lnTo>
                      <a:pt x="57" y="33"/>
                    </a:lnTo>
                    <a:lnTo>
                      <a:pt x="52" y="41"/>
                    </a:lnTo>
                    <a:lnTo>
                      <a:pt x="52" y="42"/>
                    </a:lnTo>
                    <a:lnTo>
                      <a:pt x="54" y="42"/>
                    </a:lnTo>
                    <a:lnTo>
                      <a:pt x="55" y="42"/>
                    </a:lnTo>
                    <a:lnTo>
                      <a:pt x="55" y="46"/>
                    </a:lnTo>
                    <a:lnTo>
                      <a:pt x="54" y="49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7" y="52"/>
                    </a:lnTo>
                    <a:lnTo>
                      <a:pt x="42" y="55"/>
                    </a:lnTo>
                    <a:lnTo>
                      <a:pt x="41" y="57"/>
                    </a:lnTo>
                    <a:lnTo>
                      <a:pt x="37" y="60"/>
                    </a:lnTo>
                    <a:lnTo>
                      <a:pt x="36" y="62"/>
                    </a:lnTo>
                    <a:lnTo>
                      <a:pt x="32" y="62"/>
                    </a:lnTo>
                    <a:lnTo>
                      <a:pt x="34" y="65"/>
                    </a:lnTo>
                    <a:lnTo>
                      <a:pt x="37" y="67"/>
                    </a:lnTo>
                    <a:lnTo>
                      <a:pt x="37" y="72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2" y="70"/>
                    </a:lnTo>
                    <a:lnTo>
                      <a:pt x="29" y="69"/>
                    </a:lnTo>
                    <a:lnTo>
                      <a:pt x="29" y="65"/>
                    </a:lnTo>
                    <a:lnTo>
                      <a:pt x="26" y="62"/>
                    </a:lnTo>
                    <a:lnTo>
                      <a:pt x="24" y="65"/>
                    </a:lnTo>
                    <a:lnTo>
                      <a:pt x="24" y="67"/>
                    </a:lnTo>
                    <a:lnTo>
                      <a:pt x="26" y="72"/>
                    </a:lnTo>
                    <a:lnTo>
                      <a:pt x="24" y="75"/>
                    </a:lnTo>
                    <a:lnTo>
                      <a:pt x="23" y="80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9" y="90"/>
                    </a:lnTo>
                    <a:lnTo>
                      <a:pt x="19" y="95"/>
                    </a:lnTo>
                    <a:lnTo>
                      <a:pt x="23" y="98"/>
                    </a:lnTo>
                    <a:lnTo>
                      <a:pt x="24" y="98"/>
                    </a:lnTo>
                    <a:lnTo>
                      <a:pt x="24" y="96"/>
                    </a:lnTo>
                    <a:lnTo>
                      <a:pt x="26" y="98"/>
                    </a:lnTo>
                    <a:lnTo>
                      <a:pt x="26" y="101"/>
                    </a:lnTo>
                    <a:lnTo>
                      <a:pt x="24" y="104"/>
                    </a:lnTo>
                    <a:lnTo>
                      <a:pt x="24" y="106"/>
                    </a:lnTo>
                    <a:lnTo>
                      <a:pt x="26" y="108"/>
                    </a:lnTo>
                    <a:lnTo>
                      <a:pt x="26" y="113"/>
                    </a:lnTo>
                    <a:lnTo>
                      <a:pt x="24" y="114"/>
                    </a:lnTo>
                    <a:lnTo>
                      <a:pt x="23" y="116"/>
                    </a:lnTo>
                    <a:lnTo>
                      <a:pt x="24" y="116"/>
                    </a:lnTo>
                    <a:lnTo>
                      <a:pt x="26" y="119"/>
                    </a:lnTo>
                    <a:lnTo>
                      <a:pt x="24" y="126"/>
                    </a:lnTo>
                    <a:lnTo>
                      <a:pt x="26" y="132"/>
                    </a:lnTo>
                    <a:lnTo>
                      <a:pt x="23" y="136"/>
                    </a:lnTo>
                    <a:lnTo>
                      <a:pt x="23" y="137"/>
                    </a:lnTo>
                    <a:lnTo>
                      <a:pt x="24" y="140"/>
                    </a:lnTo>
                    <a:lnTo>
                      <a:pt x="28" y="139"/>
                    </a:lnTo>
                    <a:lnTo>
                      <a:pt x="28" y="140"/>
                    </a:lnTo>
                    <a:lnTo>
                      <a:pt x="29" y="144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29" y="147"/>
                    </a:lnTo>
                    <a:lnTo>
                      <a:pt x="28" y="150"/>
                    </a:lnTo>
                    <a:lnTo>
                      <a:pt x="21" y="157"/>
                    </a:lnTo>
                    <a:lnTo>
                      <a:pt x="19" y="160"/>
                    </a:lnTo>
                    <a:lnTo>
                      <a:pt x="16" y="163"/>
                    </a:lnTo>
                    <a:lnTo>
                      <a:pt x="10" y="165"/>
                    </a:lnTo>
                    <a:lnTo>
                      <a:pt x="5" y="168"/>
                    </a:lnTo>
                    <a:lnTo>
                      <a:pt x="0" y="176"/>
                    </a:lnTo>
                    <a:lnTo>
                      <a:pt x="0" y="181"/>
                    </a:lnTo>
                    <a:lnTo>
                      <a:pt x="0" y="185"/>
                    </a:lnTo>
                    <a:lnTo>
                      <a:pt x="3" y="186"/>
                    </a:lnTo>
                    <a:lnTo>
                      <a:pt x="10" y="189"/>
                    </a:lnTo>
                    <a:lnTo>
                      <a:pt x="16" y="194"/>
                    </a:lnTo>
                    <a:lnTo>
                      <a:pt x="19" y="194"/>
                    </a:lnTo>
                    <a:lnTo>
                      <a:pt x="23" y="198"/>
                    </a:lnTo>
                    <a:lnTo>
                      <a:pt x="23" y="201"/>
                    </a:lnTo>
                    <a:lnTo>
                      <a:pt x="23" y="202"/>
                    </a:lnTo>
                    <a:lnTo>
                      <a:pt x="28" y="202"/>
                    </a:lnTo>
                    <a:lnTo>
                      <a:pt x="32" y="206"/>
                    </a:lnTo>
                    <a:lnTo>
                      <a:pt x="36" y="207"/>
                    </a:lnTo>
                    <a:lnTo>
                      <a:pt x="41" y="209"/>
                    </a:lnTo>
                    <a:lnTo>
                      <a:pt x="42" y="206"/>
                    </a:lnTo>
                    <a:lnTo>
                      <a:pt x="42" y="202"/>
                    </a:lnTo>
                    <a:lnTo>
                      <a:pt x="44" y="201"/>
                    </a:lnTo>
                    <a:lnTo>
                      <a:pt x="46" y="201"/>
                    </a:lnTo>
                    <a:lnTo>
                      <a:pt x="50" y="202"/>
                    </a:lnTo>
                    <a:lnTo>
                      <a:pt x="52" y="204"/>
                    </a:lnTo>
                    <a:lnTo>
                      <a:pt x="54" y="207"/>
                    </a:lnTo>
                    <a:lnTo>
                      <a:pt x="55" y="207"/>
                    </a:lnTo>
                    <a:lnTo>
                      <a:pt x="55" y="207"/>
                    </a:lnTo>
                    <a:lnTo>
                      <a:pt x="57" y="207"/>
                    </a:lnTo>
                    <a:lnTo>
                      <a:pt x="59" y="211"/>
                    </a:lnTo>
                    <a:lnTo>
                      <a:pt x="64" y="211"/>
                    </a:lnTo>
                    <a:lnTo>
                      <a:pt x="68" y="212"/>
                    </a:lnTo>
                    <a:lnTo>
                      <a:pt x="68" y="214"/>
                    </a:lnTo>
                    <a:lnTo>
                      <a:pt x="72" y="219"/>
                    </a:lnTo>
                    <a:lnTo>
                      <a:pt x="73" y="222"/>
                    </a:lnTo>
                    <a:lnTo>
                      <a:pt x="75" y="227"/>
                    </a:lnTo>
                    <a:lnTo>
                      <a:pt x="78" y="227"/>
                    </a:lnTo>
                    <a:lnTo>
                      <a:pt x="85" y="229"/>
                    </a:lnTo>
                    <a:lnTo>
                      <a:pt x="88" y="234"/>
                    </a:lnTo>
                    <a:lnTo>
                      <a:pt x="88" y="237"/>
                    </a:lnTo>
                    <a:lnTo>
                      <a:pt x="90" y="238"/>
                    </a:lnTo>
                    <a:lnTo>
                      <a:pt x="91" y="238"/>
                    </a:lnTo>
                    <a:lnTo>
                      <a:pt x="93" y="243"/>
                    </a:lnTo>
                    <a:lnTo>
                      <a:pt x="93" y="245"/>
                    </a:lnTo>
                    <a:lnTo>
                      <a:pt x="93" y="247"/>
                    </a:lnTo>
                    <a:lnTo>
                      <a:pt x="96" y="248"/>
                    </a:lnTo>
                    <a:lnTo>
                      <a:pt x="99" y="248"/>
                    </a:lnTo>
                    <a:lnTo>
                      <a:pt x="103" y="248"/>
                    </a:lnTo>
                    <a:lnTo>
                      <a:pt x="106" y="248"/>
                    </a:lnTo>
                    <a:lnTo>
                      <a:pt x="108" y="247"/>
                    </a:lnTo>
                    <a:lnTo>
                      <a:pt x="113" y="245"/>
                    </a:lnTo>
                    <a:lnTo>
                      <a:pt x="117" y="245"/>
                    </a:lnTo>
                    <a:lnTo>
                      <a:pt x="121" y="247"/>
                    </a:lnTo>
                    <a:lnTo>
                      <a:pt x="126" y="245"/>
                    </a:lnTo>
                    <a:lnTo>
                      <a:pt x="129" y="245"/>
                    </a:lnTo>
                    <a:lnTo>
                      <a:pt x="130" y="247"/>
                    </a:lnTo>
                    <a:lnTo>
                      <a:pt x="132" y="247"/>
                    </a:lnTo>
                    <a:lnTo>
                      <a:pt x="135" y="248"/>
                    </a:lnTo>
                    <a:lnTo>
                      <a:pt x="137" y="250"/>
                    </a:lnTo>
                    <a:lnTo>
                      <a:pt x="140" y="250"/>
                    </a:lnTo>
                    <a:lnTo>
                      <a:pt x="140" y="252"/>
                    </a:lnTo>
                    <a:lnTo>
                      <a:pt x="130" y="269"/>
                    </a:lnTo>
                    <a:lnTo>
                      <a:pt x="130" y="271"/>
                    </a:lnTo>
                    <a:lnTo>
                      <a:pt x="134" y="271"/>
                    </a:lnTo>
                    <a:lnTo>
                      <a:pt x="139" y="271"/>
                    </a:lnTo>
                    <a:lnTo>
                      <a:pt x="140" y="273"/>
                    </a:lnTo>
                    <a:lnTo>
                      <a:pt x="142" y="27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xmlns="" id="{8CF31066-34BD-4AB1-B404-4E94619116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9" y="2038"/>
                <a:ext cx="94" cy="104"/>
              </a:xfrm>
              <a:custGeom>
                <a:avLst/>
                <a:gdLst>
                  <a:gd name="T0" fmla="*/ 89 w 94"/>
                  <a:gd name="T1" fmla="*/ 22 h 104"/>
                  <a:gd name="T2" fmla="*/ 86 w 94"/>
                  <a:gd name="T3" fmla="*/ 19 h 104"/>
                  <a:gd name="T4" fmla="*/ 80 w 94"/>
                  <a:gd name="T5" fmla="*/ 16 h 104"/>
                  <a:gd name="T6" fmla="*/ 76 w 94"/>
                  <a:gd name="T7" fmla="*/ 17 h 104"/>
                  <a:gd name="T8" fmla="*/ 75 w 94"/>
                  <a:gd name="T9" fmla="*/ 24 h 104"/>
                  <a:gd name="T10" fmla="*/ 66 w 94"/>
                  <a:gd name="T11" fmla="*/ 21 h 104"/>
                  <a:gd name="T12" fmla="*/ 57 w 94"/>
                  <a:gd name="T13" fmla="*/ 17 h 104"/>
                  <a:gd name="T14" fmla="*/ 57 w 94"/>
                  <a:gd name="T15" fmla="*/ 13 h 104"/>
                  <a:gd name="T16" fmla="*/ 50 w 94"/>
                  <a:gd name="T17" fmla="*/ 9 h 104"/>
                  <a:gd name="T18" fmla="*/ 37 w 94"/>
                  <a:gd name="T19" fmla="*/ 1 h 104"/>
                  <a:gd name="T20" fmla="*/ 32 w 94"/>
                  <a:gd name="T21" fmla="*/ 3 h 104"/>
                  <a:gd name="T22" fmla="*/ 21 w 94"/>
                  <a:gd name="T23" fmla="*/ 8 h 104"/>
                  <a:gd name="T24" fmla="*/ 13 w 94"/>
                  <a:gd name="T25" fmla="*/ 11 h 104"/>
                  <a:gd name="T26" fmla="*/ 14 w 94"/>
                  <a:gd name="T27" fmla="*/ 17 h 104"/>
                  <a:gd name="T28" fmla="*/ 14 w 94"/>
                  <a:gd name="T29" fmla="*/ 24 h 104"/>
                  <a:gd name="T30" fmla="*/ 9 w 94"/>
                  <a:gd name="T31" fmla="*/ 32 h 104"/>
                  <a:gd name="T32" fmla="*/ 8 w 94"/>
                  <a:gd name="T33" fmla="*/ 39 h 104"/>
                  <a:gd name="T34" fmla="*/ 1 w 94"/>
                  <a:gd name="T35" fmla="*/ 44 h 104"/>
                  <a:gd name="T36" fmla="*/ 3 w 94"/>
                  <a:gd name="T37" fmla="*/ 50 h 104"/>
                  <a:gd name="T38" fmla="*/ 3 w 94"/>
                  <a:gd name="T39" fmla="*/ 57 h 104"/>
                  <a:gd name="T40" fmla="*/ 0 w 94"/>
                  <a:gd name="T41" fmla="*/ 62 h 104"/>
                  <a:gd name="T42" fmla="*/ 6 w 94"/>
                  <a:gd name="T43" fmla="*/ 65 h 104"/>
                  <a:gd name="T44" fmla="*/ 11 w 94"/>
                  <a:gd name="T45" fmla="*/ 70 h 104"/>
                  <a:gd name="T46" fmla="*/ 14 w 94"/>
                  <a:gd name="T47" fmla="*/ 65 h 104"/>
                  <a:gd name="T48" fmla="*/ 17 w 94"/>
                  <a:gd name="T49" fmla="*/ 62 h 104"/>
                  <a:gd name="T50" fmla="*/ 17 w 94"/>
                  <a:gd name="T51" fmla="*/ 67 h 104"/>
                  <a:gd name="T52" fmla="*/ 17 w 94"/>
                  <a:gd name="T53" fmla="*/ 63 h 104"/>
                  <a:gd name="T54" fmla="*/ 21 w 94"/>
                  <a:gd name="T55" fmla="*/ 67 h 104"/>
                  <a:gd name="T56" fmla="*/ 19 w 94"/>
                  <a:gd name="T57" fmla="*/ 75 h 104"/>
                  <a:gd name="T58" fmla="*/ 14 w 94"/>
                  <a:gd name="T59" fmla="*/ 81 h 104"/>
                  <a:gd name="T60" fmla="*/ 17 w 94"/>
                  <a:gd name="T61" fmla="*/ 86 h 104"/>
                  <a:gd name="T62" fmla="*/ 11 w 94"/>
                  <a:gd name="T63" fmla="*/ 91 h 104"/>
                  <a:gd name="T64" fmla="*/ 14 w 94"/>
                  <a:gd name="T65" fmla="*/ 94 h 104"/>
                  <a:gd name="T66" fmla="*/ 19 w 94"/>
                  <a:gd name="T67" fmla="*/ 96 h 104"/>
                  <a:gd name="T68" fmla="*/ 27 w 94"/>
                  <a:gd name="T69" fmla="*/ 98 h 104"/>
                  <a:gd name="T70" fmla="*/ 34 w 94"/>
                  <a:gd name="T71" fmla="*/ 104 h 104"/>
                  <a:gd name="T72" fmla="*/ 49 w 94"/>
                  <a:gd name="T73" fmla="*/ 75 h 104"/>
                  <a:gd name="T74" fmla="*/ 68 w 94"/>
                  <a:gd name="T75" fmla="*/ 68 h 104"/>
                  <a:gd name="T76" fmla="*/ 84 w 94"/>
                  <a:gd name="T77" fmla="*/ 52 h 104"/>
                  <a:gd name="T78" fmla="*/ 93 w 94"/>
                  <a:gd name="T79" fmla="*/ 42 h 104"/>
                  <a:gd name="T80" fmla="*/ 94 w 94"/>
                  <a:gd name="T81" fmla="*/ 37 h 104"/>
                  <a:gd name="T82" fmla="*/ 91 w 94"/>
                  <a:gd name="T83" fmla="*/ 27 h 104"/>
                  <a:gd name="T84" fmla="*/ 89 w 94"/>
                  <a:gd name="T85" fmla="*/ 22 h 104"/>
                  <a:gd name="T86" fmla="*/ 89 w 94"/>
                  <a:gd name="T87" fmla="*/ 22 h 104"/>
                  <a:gd name="T88" fmla="*/ 11 w 94"/>
                  <a:gd name="T89" fmla="*/ 75 h 104"/>
                  <a:gd name="T90" fmla="*/ 16 w 94"/>
                  <a:gd name="T91" fmla="*/ 68 h 104"/>
                  <a:gd name="T92" fmla="*/ 14 w 94"/>
                  <a:gd name="T93" fmla="*/ 71 h 104"/>
                  <a:gd name="T94" fmla="*/ 14 w 94"/>
                  <a:gd name="T95" fmla="*/ 76 h 104"/>
                  <a:gd name="T96" fmla="*/ 11 w 94"/>
                  <a:gd name="T97" fmla="*/ 7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4" h="104">
                    <a:moveTo>
                      <a:pt x="89" y="22"/>
                    </a:moveTo>
                    <a:lnTo>
                      <a:pt x="89" y="22"/>
                    </a:lnTo>
                    <a:lnTo>
                      <a:pt x="88" y="22"/>
                    </a:lnTo>
                    <a:lnTo>
                      <a:pt x="86" y="19"/>
                    </a:lnTo>
                    <a:lnTo>
                      <a:pt x="84" y="17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6" y="17"/>
                    </a:lnTo>
                    <a:lnTo>
                      <a:pt x="76" y="21"/>
                    </a:lnTo>
                    <a:lnTo>
                      <a:pt x="75" y="24"/>
                    </a:lnTo>
                    <a:lnTo>
                      <a:pt x="70" y="22"/>
                    </a:lnTo>
                    <a:lnTo>
                      <a:pt x="66" y="21"/>
                    </a:lnTo>
                    <a:lnTo>
                      <a:pt x="62" y="17"/>
                    </a:lnTo>
                    <a:lnTo>
                      <a:pt x="57" y="17"/>
                    </a:lnTo>
                    <a:lnTo>
                      <a:pt x="57" y="16"/>
                    </a:lnTo>
                    <a:lnTo>
                      <a:pt x="57" y="13"/>
                    </a:lnTo>
                    <a:lnTo>
                      <a:pt x="53" y="9"/>
                    </a:lnTo>
                    <a:lnTo>
                      <a:pt x="50" y="9"/>
                    </a:lnTo>
                    <a:lnTo>
                      <a:pt x="44" y="4"/>
                    </a:lnTo>
                    <a:lnTo>
                      <a:pt x="37" y="1"/>
                    </a:lnTo>
                    <a:lnTo>
                      <a:pt x="34" y="0"/>
                    </a:lnTo>
                    <a:lnTo>
                      <a:pt x="32" y="3"/>
                    </a:lnTo>
                    <a:lnTo>
                      <a:pt x="27" y="3"/>
                    </a:lnTo>
                    <a:lnTo>
                      <a:pt x="21" y="8"/>
                    </a:lnTo>
                    <a:lnTo>
                      <a:pt x="16" y="9"/>
                    </a:lnTo>
                    <a:lnTo>
                      <a:pt x="13" y="11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14" y="24"/>
                    </a:lnTo>
                    <a:lnTo>
                      <a:pt x="9" y="31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8" y="39"/>
                    </a:lnTo>
                    <a:lnTo>
                      <a:pt x="3" y="40"/>
                    </a:lnTo>
                    <a:lnTo>
                      <a:pt x="1" y="44"/>
                    </a:lnTo>
                    <a:lnTo>
                      <a:pt x="3" y="47"/>
                    </a:lnTo>
                    <a:lnTo>
                      <a:pt x="3" y="50"/>
                    </a:lnTo>
                    <a:lnTo>
                      <a:pt x="3" y="52"/>
                    </a:lnTo>
                    <a:lnTo>
                      <a:pt x="3" y="57"/>
                    </a:lnTo>
                    <a:lnTo>
                      <a:pt x="1" y="60"/>
                    </a:lnTo>
                    <a:lnTo>
                      <a:pt x="0" y="62"/>
                    </a:lnTo>
                    <a:lnTo>
                      <a:pt x="1" y="63"/>
                    </a:lnTo>
                    <a:lnTo>
                      <a:pt x="6" y="65"/>
                    </a:lnTo>
                    <a:lnTo>
                      <a:pt x="9" y="68"/>
                    </a:lnTo>
                    <a:lnTo>
                      <a:pt x="11" y="70"/>
                    </a:lnTo>
                    <a:lnTo>
                      <a:pt x="13" y="70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7" y="62"/>
                    </a:lnTo>
                    <a:lnTo>
                      <a:pt x="17" y="65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21" y="67"/>
                    </a:lnTo>
                    <a:lnTo>
                      <a:pt x="19" y="71"/>
                    </a:lnTo>
                    <a:lnTo>
                      <a:pt x="19" y="75"/>
                    </a:lnTo>
                    <a:lnTo>
                      <a:pt x="17" y="78"/>
                    </a:lnTo>
                    <a:lnTo>
                      <a:pt x="14" y="81"/>
                    </a:lnTo>
                    <a:lnTo>
                      <a:pt x="16" y="83"/>
                    </a:lnTo>
                    <a:lnTo>
                      <a:pt x="17" y="86"/>
                    </a:lnTo>
                    <a:lnTo>
                      <a:pt x="13" y="88"/>
                    </a:lnTo>
                    <a:lnTo>
                      <a:pt x="11" y="91"/>
                    </a:lnTo>
                    <a:lnTo>
                      <a:pt x="11" y="94"/>
                    </a:lnTo>
                    <a:lnTo>
                      <a:pt x="14" y="94"/>
                    </a:lnTo>
                    <a:lnTo>
                      <a:pt x="17" y="93"/>
                    </a:lnTo>
                    <a:lnTo>
                      <a:pt x="19" y="96"/>
                    </a:lnTo>
                    <a:lnTo>
                      <a:pt x="24" y="96"/>
                    </a:lnTo>
                    <a:lnTo>
                      <a:pt x="27" y="98"/>
                    </a:lnTo>
                    <a:lnTo>
                      <a:pt x="32" y="104"/>
                    </a:lnTo>
                    <a:lnTo>
                      <a:pt x="34" y="104"/>
                    </a:lnTo>
                    <a:lnTo>
                      <a:pt x="37" y="101"/>
                    </a:lnTo>
                    <a:lnTo>
                      <a:pt x="49" y="75"/>
                    </a:lnTo>
                    <a:lnTo>
                      <a:pt x="52" y="73"/>
                    </a:lnTo>
                    <a:lnTo>
                      <a:pt x="68" y="68"/>
                    </a:lnTo>
                    <a:lnTo>
                      <a:pt x="75" y="63"/>
                    </a:lnTo>
                    <a:lnTo>
                      <a:pt x="84" y="52"/>
                    </a:lnTo>
                    <a:lnTo>
                      <a:pt x="89" y="42"/>
                    </a:lnTo>
                    <a:lnTo>
                      <a:pt x="93" y="42"/>
                    </a:lnTo>
                    <a:lnTo>
                      <a:pt x="93" y="40"/>
                    </a:lnTo>
                    <a:lnTo>
                      <a:pt x="94" y="37"/>
                    </a:lnTo>
                    <a:lnTo>
                      <a:pt x="94" y="34"/>
                    </a:lnTo>
                    <a:lnTo>
                      <a:pt x="91" y="27"/>
                    </a:lnTo>
                    <a:lnTo>
                      <a:pt x="91" y="26"/>
                    </a:lnTo>
                    <a:lnTo>
                      <a:pt x="89" y="22"/>
                    </a:lnTo>
                    <a:lnTo>
                      <a:pt x="89" y="22"/>
                    </a:lnTo>
                    <a:lnTo>
                      <a:pt x="89" y="22"/>
                    </a:lnTo>
                    <a:close/>
                    <a:moveTo>
                      <a:pt x="11" y="75"/>
                    </a:moveTo>
                    <a:lnTo>
                      <a:pt x="11" y="75"/>
                    </a:lnTo>
                    <a:lnTo>
                      <a:pt x="13" y="71"/>
                    </a:lnTo>
                    <a:lnTo>
                      <a:pt x="16" y="68"/>
                    </a:lnTo>
                    <a:lnTo>
                      <a:pt x="16" y="70"/>
                    </a:lnTo>
                    <a:lnTo>
                      <a:pt x="14" y="71"/>
                    </a:lnTo>
                    <a:lnTo>
                      <a:pt x="16" y="73"/>
                    </a:lnTo>
                    <a:lnTo>
                      <a:pt x="14" y="76"/>
                    </a:lnTo>
                    <a:lnTo>
                      <a:pt x="13" y="76"/>
                    </a:lnTo>
                    <a:lnTo>
                      <a:pt x="11" y="7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xmlns="" id="{B6CCBF21-1455-4F71-80AE-77863C908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" y="2060"/>
                <a:ext cx="205" cy="309"/>
              </a:xfrm>
              <a:custGeom>
                <a:avLst/>
                <a:gdLst>
                  <a:gd name="T0" fmla="*/ 186 w 205"/>
                  <a:gd name="T1" fmla="*/ 182 h 309"/>
                  <a:gd name="T2" fmla="*/ 174 w 205"/>
                  <a:gd name="T3" fmla="*/ 182 h 309"/>
                  <a:gd name="T4" fmla="*/ 174 w 205"/>
                  <a:gd name="T5" fmla="*/ 162 h 309"/>
                  <a:gd name="T6" fmla="*/ 161 w 205"/>
                  <a:gd name="T7" fmla="*/ 165 h 309"/>
                  <a:gd name="T8" fmla="*/ 142 w 205"/>
                  <a:gd name="T9" fmla="*/ 156 h 309"/>
                  <a:gd name="T10" fmla="*/ 124 w 205"/>
                  <a:gd name="T11" fmla="*/ 138 h 309"/>
                  <a:gd name="T12" fmla="*/ 120 w 205"/>
                  <a:gd name="T13" fmla="*/ 125 h 309"/>
                  <a:gd name="T14" fmla="*/ 122 w 205"/>
                  <a:gd name="T15" fmla="*/ 115 h 309"/>
                  <a:gd name="T16" fmla="*/ 130 w 205"/>
                  <a:gd name="T17" fmla="*/ 107 h 309"/>
                  <a:gd name="T18" fmla="*/ 134 w 205"/>
                  <a:gd name="T19" fmla="*/ 92 h 309"/>
                  <a:gd name="T20" fmla="*/ 143 w 205"/>
                  <a:gd name="T21" fmla="*/ 80 h 309"/>
                  <a:gd name="T22" fmla="*/ 166 w 205"/>
                  <a:gd name="T23" fmla="*/ 72 h 309"/>
                  <a:gd name="T24" fmla="*/ 173 w 205"/>
                  <a:gd name="T25" fmla="*/ 69 h 309"/>
                  <a:gd name="T26" fmla="*/ 181 w 205"/>
                  <a:gd name="T27" fmla="*/ 72 h 309"/>
                  <a:gd name="T28" fmla="*/ 169 w 205"/>
                  <a:gd name="T29" fmla="*/ 64 h 309"/>
                  <a:gd name="T30" fmla="*/ 176 w 205"/>
                  <a:gd name="T31" fmla="*/ 43 h 309"/>
                  <a:gd name="T32" fmla="*/ 168 w 205"/>
                  <a:gd name="T33" fmla="*/ 38 h 309"/>
                  <a:gd name="T34" fmla="*/ 152 w 205"/>
                  <a:gd name="T35" fmla="*/ 38 h 309"/>
                  <a:gd name="T36" fmla="*/ 138 w 205"/>
                  <a:gd name="T37" fmla="*/ 41 h 309"/>
                  <a:gd name="T38" fmla="*/ 132 w 205"/>
                  <a:gd name="T39" fmla="*/ 36 h 309"/>
                  <a:gd name="T40" fmla="*/ 127 w 205"/>
                  <a:gd name="T41" fmla="*/ 27 h 309"/>
                  <a:gd name="T42" fmla="*/ 112 w 205"/>
                  <a:gd name="T43" fmla="*/ 15 h 309"/>
                  <a:gd name="T44" fmla="*/ 103 w 205"/>
                  <a:gd name="T45" fmla="*/ 4 h 309"/>
                  <a:gd name="T46" fmla="*/ 96 w 205"/>
                  <a:gd name="T47" fmla="*/ 4 h 309"/>
                  <a:gd name="T48" fmla="*/ 98 w 205"/>
                  <a:gd name="T49" fmla="*/ 18 h 309"/>
                  <a:gd name="T50" fmla="*/ 80 w 205"/>
                  <a:gd name="T51" fmla="*/ 41 h 309"/>
                  <a:gd name="T52" fmla="*/ 42 w 205"/>
                  <a:gd name="T53" fmla="*/ 79 h 309"/>
                  <a:gd name="T54" fmla="*/ 29 w 205"/>
                  <a:gd name="T55" fmla="*/ 74 h 309"/>
                  <a:gd name="T56" fmla="*/ 16 w 205"/>
                  <a:gd name="T57" fmla="*/ 72 h 309"/>
                  <a:gd name="T58" fmla="*/ 21 w 205"/>
                  <a:gd name="T59" fmla="*/ 61 h 309"/>
                  <a:gd name="T60" fmla="*/ 8 w 205"/>
                  <a:gd name="T61" fmla="*/ 66 h 309"/>
                  <a:gd name="T62" fmla="*/ 1 w 205"/>
                  <a:gd name="T63" fmla="*/ 80 h 309"/>
                  <a:gd name="T64" fmla="*/ 1 w 205"/>
                  <a:gd name="T65" fmla="*/ 87 h 309"/>
                  <a:gd name="T66" fmla="*/ 5 w 205"/>
                  <a:gd name="T67" fmla="*/ 98 h 309"/>
                  <a:gd name="T68" fmla="*/ 6 w 205"/>
                  <a:gd name="T69" fmla="*/ 105 h 309"/>
                  <a:gd name="T70" fmla="*/ 26 w 205"/>
                  <a:gd name="T71" fmla="*/ 116 h 309"/>
                  <a:gd name="T72" fmla="*/ 32 w 205"/>
                  <a:gd name="T73" fmla="*/ 131 h 309"/>
                  <a:gd name="T74" fmla="*/ 44 w 205"/>
                  <a:gd name="T75" fmla="*/ 147 h 309"/>
                  <a:gd name="T76" fmla="*/ 52 w 205"/>
                  <a:gd name="T77" fmla="*/ 162 h 309"/>
                  <a:gd name="T78" fmla="*/ 58 w 205"/>
                  <a:gd name="T79" fmla="*/ 180 h 309"/>
                  <a:gd name="T80" fmla="*/ 63 w 205"/>
                  <a:gd name="T81" fmla="*/ 188 h 309"/>
                  <a:gd name="T82" fmla="*/ 71 w 205"/>
                  <a:gd name="T83" fmla="*/ 203 h 309"/>
                  <a:gd name="T84" fmla="*/ 83 w 205"/>
                  <a:gd name="T85" fmla="*/ 219 h 309"/>
                  <a:gd name="T86" fmla="*/ 85 w 205"/>
                  <a:gd name="T87" fmla="*/ 229 h 309"/>
                  <a:gd name="T88" fmla="*/ 88 w 205"/>
                  <a:gd name="T89" fmla="*/ 236 h 309"/>
                  <a:gd name="T90" fmla="*/ 94 w 205"/>
                  <a:gd name="T91" fmla="*/ 245 h 309"/>
                  <a:gd name="T92" fmla="*/ 104 w 205"/>
                  <a:gd name="T93" fmla="*/ 254 h 309"/>
                  <a:gd name="T94" fmla="*/ 114 w 205"/>
                  <a:gd name="T95" fmla="*/ 259 h 309"/>
                  <a:gd name="T96" fmla="*/ 122 w 205"/>
                  <a:gd name="T97" fmla="*/ 265 h 309"/>
                  <a:gd name="T98" fmla="*/ 132 w 205"/>
                  <a:gd name="T99" fmla="*/ 273 h 309"/>
                  <a:gd name="T100" fmla="*/ 145 w 205"/>
                  <a:gd name="T101" fmla="*/ 278 h 309"/>
                  <a:gd name="T102" fmla="*/ 155 w 205"/>
                  <a:gd name="T103" fmla="*/ 285 h 309"/>
                  <a:gd name="T104" fmla="*/ 165 w 205"/>
                  <a:gd name="T105" fmla="*/ 293 h 309"/>
                  <a:gd name="T106" fmla="*/ 171 w 205"/>
                  <a:gd name="T107" fmla="*/ 299 h 309"/>
                  <a:gd name="T108" fmla="*/ 183 w 205"/>
                  <a:gd name="T109" fmla="*/ 309 h 309"/>
                  <a:gd name="T110" fmla="*/ 196 w 205"/>
                  <a:gd name="T111" fmla="*/ 303 h 309"/>
                  <a:gd name="T112" fmla="*/ 196 w 205"/>
                  <a:gd name="T113" fmla="*/ 293 h 309"/>
                  <a:gd name="T114" fmla="*/ 194 w 205"/>
                  <a:gd name="T115" fmla="*/ 290 h 309"/>
                  <a:gd name="T116" fmla="*/ 204 w 205"/>
                  <a:gd name="T117" fmla="*/ 273 h 309"/>
                  <a:gd name="T118" fmla="*/ 201 w 205"/>
                  <a:gd name="T119" fmla="*/ 254 h 309"/>
                  <a:gd name="T120" fmla="*/ 202 w 205"/>
                  <a:gd name="T121" fmla="*/ 232 h 309"/>
                  <a:gd name="T122" fmla="*/ 205 w 205"/>
                  <a:gd name="T123" fmla="*/ 2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5" h="309">
                    <a:moveTo>
                      <a:pt x="191" y="183"/>
                    </a:moveTo>
                    <a:lnTo>
                      <a:pt x="189" y="183"/>
                    </a:lnTo>
                    <a:lnTo>
                      <a:pt x="187" y="182"/>
                    </a:lnTo>
                    <a:lnTo>
                      <a:pt x="186" y="182"/>
                    </a:lnTo>
                    <a:lnTo>
                      <a:pt x="183" y="182"/>
                    </a:lnTo>
                    <a:lnTo>
                      <a:pt x="179" y="183"/>
                    </a:lnTo>
                    <a:lnTo>
                      <a:pt x="176" y="183"/>
                    </a:lnTo>
                    <a:lnTo>
                      <a:pt x="174" y="182"/>
                    </a:lnTo>
                    <a:lnTo>
                      <a:pt x="174" y="178"/>
                    </a:lnTo>
                    <a:lnTo>
                      <a:pt x="174" y="169"/>
                    </a:lnTo>
                    <a:lnTo>
                      <a:pt x="174" y="162"/>
                    </a:lnTo>
                    <a:lnTo>
                      <a:pt x="174" y="162"/>
                    </a:lnTo>
                    <a:lnTo>
                      <a:pt x="176" y="157"/>
                    </a:lnTo>
                    <a:lnTo>
                      <a:pt x="174" y="156"/>
                    </a:lnTo>
                    <a:lnTo>
                      <a:pt x="168" y="159"/>
                    </a:lnTo>
                    <a:lnTo>
                      <a:pt x="161" y="165"/>
                    </a:lnTo>
                    <a:lnTo>
                      <a:pt x="153" y="165"/>
                    </a:lnTo>
                    <a:lnTo>
                      <a:pt x="147" y="165"/>
                    </a:lnTo>
                    <a:lnTo>
                      <a:pt x="147" y="161"/>
                    </a:lnTo>
                    <a:lnTo>
                      <a:pt x="142" y="156"/>
                    </a:lnTo>
                    <a:lnTo>
                      <a:pt x="138" y="154"/>
                    </a:lnTo>
                    <a:lnTo>
                      <a:pt x="129" y="156"/>
                    </a:lnTo>
                    <a:lnTo>
                      <a:pt x="132" y="151"/>
                    </a:lnTo>
                    <a:lnTo>
                      <a:pt x="124" y="138"/>
                    </a:lnTo>
                    <a:lnTo>
                      <a:pt x="120" y="133"/>
                    </a:lnTo>
                    <a:lnTo>
                      <a:pt x="120" y="131"/>
                    </a:lnTo>
                    <a:lnTo>
                      <a:pt x="119" y="128"/>
                    </a:lnTo>
                    <a:lnTo>
                      <a:pt x="120" y="125"/>
                    </a:lnTo>
                    <a:lnTo>
                      <a:pt x="122" y="121"/>
                    </a:lnTo>
                    <a:lnTo>
                      <a:pt x="120" y="120"/>
                    </a:lnTo>
                    <a:lnTo>
                      <a:pt x="122" y="118"/>
                    </a:lnTo>
                    <a:lnTo>
                      <a:pt x="122" y="115"/>
                    </a:lnTo>
                    <a:lnTo>
                      <a:pt x="127" y="112"/>
                    </a:lnTo>
                    <a:lnTo>
                      <a:pt x="129" y="112"/>
                    </a:lnTo>
                    <a:lnTo>
                      <a:pt x="132" y="110"/>
                    </a:lnTo>
                    <a:lnTo>
                      <a:pt x="130" y="107"/>
                    </a:lnTo>
                    <a:lnTo>
                      <a:pt x="129" y="100"/>
                    </a:lnTo>
                    <a:lnTo>
                      <a:pt x="134" y="97"/>
                    </a:lnTo>
                    <a:lnTo>
                      <a:pt x="132" y="94"/>
                    </a:lnTo>
                    <a:lnTo>
                      <a:pt x="134" y="92"/>
                    </a:lnTo>
                    <a:lnTo>
                      <a:pt x="134" y="87"/>
                    </a:lnTo>
                    <a:lnTo>
                      <a:pt x="137" y="85"/>
                    </a:lnTo>
                    <a:lnTo>
                      <a:pt x="140" y="84"/>
                    </a:lnTo>
                    <a:lnTo>
                      <a:pt x="143" y="80"/>
                    </a:lnTo>
                    <a:lnTo>
                      <a:pt x="145" y="79"/>
                    </a:lnTo>
                    <a:lnTo>
                      <a:pt x="147" y="77"/>
                    </a:lnTo>
                    <a:lnTo>
                      <a:pt x="155" y="76"/>
                    </a:lnTo>
                    <a:lnTo>
                      <a:pt x="166" y="72"/>
                    </a:lnTo>
                    <a:lnTo>
                      <a:pt x="168" y="69"/>
                    </a:lnTo>
                    <a:lnTo>
                      <a:pt x="168" y="71"/>
                    </a:lnTo>
                    <a:lnTo>
                      <a:pt x="171" y="71"/>
                    </a:lnTo>
                    <a:lnTo>
                      <a:pt x="173" y="69"/>
                    </a:lnTo>
                    <a:lnTo>
                      <a:pt x="176" y="72"/>
                    </a:lnTo>
                    <a:lnTo>
                      <a:pt x="176" y="72"/>
                    </a:lnTo>
                    <a:lnTo>
                      <a:pt x="179" y="74"/>
                    </a:lnTo>
                    <a:lnTo>
                      <a:pt x="181" y="72"/>
                    </a:lnTo>
                    <a:lnTo>
                      <a:pt x="179" y="66"/>
                    </a:lnTo>
                    <a:lnTo>
                      <a:pt x="178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9" y="62"/>
                    </a:lnTo>
                    <a:lnTo>
                      <a:pt x="179" y="45"/>
                    </a:lnTo>
                    <a:lnTo>
                      <a:pt x="179" y="43"/>
                    </a:lnTo>
                    <a:lnTo>
                      <a:pt x="176" y="43"/>
                    </a:lnTo>
                    <a:lnTo>
                      <a:pt x="174" y="41"/>
                    </a:lnTo>
                    <a:lnTo>
                      <a:pt x="171" y="40"/>
                    </a:lnTo>
                    <a:lnTo>
                      <a:pt x="169" y="40"/>
                    </a:lnTo>
                    <a:lnTo>
                      <a:pt x="168" y="38"/>
                    </a:lnTo>
                    <a:lnTo>
                      <a:pt x="165" y="38"/>
                    </a:lnTo>
                    <a:lnTo>
                      <a:pt x="160" y="40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7" y="40"/>
                    </a:lnTo>
                    <a:lnTo>
                      <a:pt x="145" y="41"/>
                    </a:lnTo>
                    <a:lnTo>
                      <a:pt x="142" y="41"/>
                    </a:lnTo>
                    <a:lnTo>
                      <a:pt x="138" y="41"/>
                    </a:lnTo>
                    <a:lnTo>
                      <a:pt x="135" y="41"/>
                    </a:lnTo>
                    <a:lnTo>
                      <a:pt x="132" y="40"/>
                    </a:lnTo>
                    <a:lnTo>
                      <a:pt x="132" y="38"/>
                    </a:lnTo>
                    <a:lnTo>
                      <a:pt x="132" y="36"/>
                    </a:lnTo>
                    <a:lnTo>
                      <a:pt x="130" y="31"/>
                    </a:lnTo>
                    <a:lnTo>
                      <a:pt x="129" y="31"/>
                    </a:lnTo>
                    <a:lnTo>
                      <a:pt x="127" y="30"/>
                    </a:lnTo>
                    <a:lnTo>
                      <a:pt x="127" y="27"/>
                    </a:lnTo>
                    <a:lnTo>
                      <a:pt x="124" y="22"/>
                    </a:lnTo>
                    <a:lnTo>
                      <a:pt x="117" y="20"/>
                    </a:lnTo>
                    <a:lnTo>
                      <a:pt x="114" y="20"/>
                    </a:lnTo>
                    <a:lnTo>
                      <a:pt x="112" y="15"/>
                    </a:lnTo>
                    <a:lnTo>
                      <a:pt x="111" y="12"/>
                    </a:lnTo>
                    <a:lnTo>
                      <a:pt x="107" y="7"/>
                    </a:lnTo>
                    <a:lnTo>
                      <a:pt x="107" y="5"/>
                    </a:lnTo>
                    <a:lnTo>
                      <a:pt x="103" y="4"/>
                    </a:lnTo>
                    <a:lnTo>
                      <a:pt x="98" y="4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9" y="12"/>
                    </a:lnTo>
                    <a:lnTo>
                      <a:pt x="99" y="15"/>
                    </a:lnTo>
                    <a:lnTo>
                      <a:pt x="98" y="18"/>
                    </a:lnTo>
                    <a:lnTo>
                      <a:pt x="98" y="20"/>
                    </a:lnTo>
                    <a:lnTo>
                      <a:pt x="94" y="20"/>
                    </a:lnTo>
                    <a:lnTo>
                      <a:pt x="89" y="30"/>
                    </a:lnTo>
                    <a:lnTo>
                      <a:pt x="80" y="41"/>
                    </a:lnTo>
                    <a:lnTo>
                      <a:pt x="73" y="46"/>
                    </a:lnTo>
                    <a:lnTo>
                      <a:pt x="57" y="51"/>
                    </a:lnTo>
                    <a:lnTo>
                      <a:pt x="54" y="53"/>
                    </a:lnTo>
                    <a:lnTo>
                      <a:pt x="42" y="79"/>
                    </a:lnTo>
                    <a:lnTo>
                      <a:pt x="39" y="82"/>
                    </a:lnTo>
                    <a:lnTo>
                      <a:pt x="37" y="82"/>
                    </a:lnTo>
                    <a:lnTo>
                      <a:pt x="32" y="76"/>
                    </a:lnTo>
                    <a:lnTo>
                      <a:pt x="29" y="74"/>
                    </a:lnTo>
                    <a:lnTo>
                      <a:pt x="24" y="74"/>
                    </a:lnTo>
                    <a:lnTo>
                      <a:pt x="22" y="71"/>
                    </a:lnTo>
                    <a:lnTo>
                      <a:pt x="19" y="72"/>
                    </a:lnTo>
                    <a:lnTo>
                      <a:pt x="16" y="72"/>
                    </a:lnTo>
                    <a:lnTo>
                      <a:pt x="16" y="69"/>
                    </a:lnTo>
                    <a:lnTo>
                      <a:pt x="18" y="66"/>
                    </a:lnTo>
                    <a:lnTo>
                      <a:pt x="22" y="64"/>
                    </a:lnTo>
                    <a:lnTo>
                      <a:pt x="21" y="61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11" y="62"/>
                    </a:lnTo>
                    <a:lnTo>
                      <a:pt x="8" y="66"/>
                    </a:lnTo>
                    <a:lnTo>
                      <a:pt x="3" y="71"/>
                    </a:lnTo>
                    <a:lnTo>
                      <a:pt x="1" y="76"/>
                    </a:lnTo>
                    <a:lnTo>
                      <a:pt x="0" y="79"/>
                    </a:lnTo>
                    <a:lnTo>
                      <a:pt x="1" y="80"/>
                    </a:lnTo>
                    <a:lnTo>
                      <a:pt x="3" y="82"/>
                    </a:lnTo>
                    <a:lnTo>
                      <a:pt x="3" y="85"/>
                    </a:lnTo>
                    <a:lnTo>
                      <a:pt x="1" y="85"/>
                    </a:lnTo>
                    <a:lnTo>
                      <a:pt x="1" y="87"/>
                    </a:lnTo>
                    <a:lnTo>
                      <a:pt x="5" y="90"/>
                    </a:lnTo>
                    <a:lnTo>
                      <a:pt x="6" y="95"/>
                    </a:lnTo>
                    <a:lnTo>
                      <a:pt x="6" y="98"/>
                    </a:lnTo>
                    <a:lnTo>
                      <a:pt x="5" y="98"/>
                    </a:lnTo>
                    <a:lnTo>
                      <a:pt x="1" y="100"/>
                    </a:lnTo>
                    <a:lnTo>
                      <a:pt x="1" y="102"/>
                    </a:lnTo>
                    <a:lnTo>
                      <a:pt x="3" y="105"/>
                    </a:lnTo>
                    <a:lnTo>
                      <a:pt x="6" y="105"/>
                    </a:lnTo>
                    <a:lnTo>
                      <a:pt x="11" y="110"/>
                    </a:lnTo>
                    <a:lnTo>
                      <a:pt x="16" y="110"/>
                    </a:lnTo>
                    <a:lnTo>
                      <a:pt x="22" y="115"/>
                    </a:lnTo>
                    <a:lnTo>
                      <a:pt x="26" y="116"/>
                    </a:lnTo>
                    <a:lnTo>
                      <a:pt x="26" y="118"/>
                    </a:lnTo>
                    <a:lnTo>
                      <a:pt x="29" y="123"/>
                    </a:lnTo>
                    <a:lnTo>
                      <a:pt x="31" y="128"/>
                    </a:lnTo>
                    <a:lnTo>
                      <a:pt x="32" y="131"/>
                    </a:lnTo>
                    <a:lnTo>
                      <a:pt x="39" y="134"/>
                    </a:lnTo>
                    <a:lnTo>
                      <a:pt x="40" y="139"/>
                    </a:lnTo>
                    <a:lnTo>
                      <a:pt x="42" y="144"/>
                    </a:lnTo>
                    <a:lnTo>
                      <a:pt x="44" y="147"/>
                    </a:lnTo>
                    <a:lnTo>
                      <a:pt x="44" y="152"/>
                    </a:lnTo>
                    <a:lnTo>
                      <a:pt x="47" y="156"/>
                    </a:lnTo>
                    <a:lnTo>
                      <a:pt x="49" y="157"/>
                    </a:lnTo>
                    <a:lnTo>
                      <a:pt x="52" y="162"/>
                    </a:lnTo>
                    <a:lnTo>
                      <a:pt x="52" y="167"/>
                    </a:lnTo>
                    <a:lnTo>
                      <a:pt x="52" y="169"/>
                    </a:lnTo>
                    <a:lnTo>
                      <a:pt x="54" y="174"/>
                    </a:lnTo>
                    <a:lnTo>
                      <a:pt x="58" y="180"/>
                    </a:lnTo>
                    <a:lnTo>
                      <a:pt x="62" y="183"/>
                    </a:lnTo>
                    <a:lnTo>
                      <a:pt x="60" y="187"/>
                    </a:lnTo>
                    <a:lnTo>
                      <a:pt x="60" y="188"/>
                    </a:lnTo>
                    <a:lnTo>
                      <a:pt x="63" y="188"/>
                    </a:lnTo>
                    <a:lnTo>
                      <a:pt x="68" y="193"/>
                    </a:lnTo>
                    <a:lnTo>
                      <a:pt x="70" y="196"/>
                    </a:lnTo>
                    <a:lnTo>
                      <a:pt x="70" y="201"/>
                    </a:lnTo>
                    <a:lnTo>
                      <a:pt x="71" y="203"/>
                    </a:lnTo>
                    <a:lnTo>
                      <a:pt x="76" y="205"/>
                    </a:lnTo>
                    <a:lnTo>
                      <a:pt x="76" y="208"/>
                    </a:lnTo>
                    <a:lnTo>
                      <a:pt x="81" y="216"/>
                    </a:lnTo>
                    <a:lnTo>
                      <a:pt x="83" y="219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86" y="231"/>
                    </a:lnTo>
                    <a:lnTo>
                      <a:pt x="85" y="229"/>
                    </a:lnTo>
                    <a:lnTo>
                      <a:pt x="85" y="231"/>
                    </a:lnTo>
                    <a:lnTo>
                      <a:pt x="85" y="234"/>
                    </a:lnTo>
                    <a:lnTo>
                      <a:pt x="85" y="237"/>
                    </a:lnTo>
                    <a:lnTo>
                      <a:pt x="88" y="236"/>
                    </a:lnTo>
                    <a:lnTo>
                      <a:pt x="89" y="237"/>
                    </a:lnTo>
                    <a:lnTo>
                      <a:pt x="89" y="241"/>
                    </a:lnTo>
                    <a:lnTo>
                      <a:pt x="89" y="242"/>
                    </a:lnTo>
                    <a:lnTo>
                      <a:pt x="94" y="245"/>
                    </a:lnTo>
                    <a:lnTo>
                      <a:pt x="99" y="247"/>
                    </a:lnTo>
                    <a:lnTo>
                      <a:pt x="99" y="250"/>
                    </a:lnTo>
                    <a:lnTo>
                      <a:pt x="103" y="254"/>
                    </a:lnTo>
                    <a:lnTo>
                      <a:pt x="104" y="254"/>
                    </a:lnTo>
                    <a:lnTo>
                      <a:pt x="106" y="255"/>
                    </a:lnTo>
                    <a:lnTo>
                      <a:pt x="107" y="257"/>
                    </a:lnTo>
                    <a:lnTo>
                      <a:pt x="109" y="259"/>
                    </a:lnTo>
                    <a:lnTo>
                      <a:pt x="114" y="259"/>
                    </a:lnTo>
                    <a:lnTo>
                      <a:pt x="116" y="257"/>
                    </a:lnTo>
                    <a:lnTo>
                      <a:pt x="114" y="260"/>
                    </a:lnTo>
                    <a:lnTo>
                      <a:pt x="117" y="263"/>
                    </a:lnTo>
                    <a:lnTo>
                      <a:pt x="122" y="265"/>
                    </a:lnTo>
                    <a:lnTo>
                      <a:pt x="124" y="268"/>
                    </a:lnTo>
                    <a:lnTo>
                      <a:pt x="125" y="270"/>
                    </a:lnTo>
                    <a:lnTo>
                      <a:pt x="127" y="272"/>
                    </a:lnTo>
                    <a:lnTo>
                      <a:pt x="132" y="273"/>
                    </a:lnTo>
                    <a:lnTo>
                      <a:pt x="132" y="273"/>
                    </a:lnTo>
                    <a:lnTo>
                      <a:pt x="135" y="273"/>
                    </a:lnTo>
                    <a:lnTo>
                      <a:pt x="142" y="277"/>
                    </a:lnTo>
                    <a:lnTo>
                      <a:pt x="145" y="278"/>
                    </a:lnTo>
                    <a:lnTo>
                      <a:pt x="148" y="278"/>
                    </a:lnTo>
                    <a:lnTo>
                      <a:pt x="150" y="280"/>
                    </a:lnTo>
                    <a:lnTo>
                      <a:pt x="152" y="281"/>
                    </a:lnTo>
                    <a:lnTo>
                      <a:pt x="155" y="285"/>
                    </a:lnTo>
                    <a:lnTo>
                      <a:pt x="158" y="286"/>
                    </a:lnTo>
                    <a:lnTo>
                      <a:pt x="161" y="290"/>
                    </a:lnTo>
                    <a:lnTo>
                      <a:pt x="163" y="291"/>
                    </a:lnTo>
                    <a:lnTo>
                      <a:pt x="165" y="293"/>
                    </a:lnTo>
                    <a:lnTo>
                      <a:pt x="165" y="294"/>
                    </a:lnTo>
                    <a:lnTo>
                      <a:pt x="165" y="296"/>
                    </a:lnTo>
                    <a:lnTo>
                      <a:pt x="168" y="298"/>
                    </a:lnTo>
                    <a:lnTo>
                      <a:pt x="171" y="299"/>
                    </a:lnTo>
                    <a:lnTo>
                      <a:pt x="176" y="304"/>
                    </a:lnTo>
                    <a:lnTo>
                      <a:pt x="179" y="308"/>
                    </a:lnTo>
                    <a:lnTo>
                      <a:pt x="183" y="308"/>
                    </a:lnTo>
                    <a:lnTo>
                      <a:pt x="183" y="309"/>
                    </a:lnTo>
                    <a:lnTo>
                      <a:pt x="187" y="308"/>
                    </a:lnTo>
                    <a:lnTo>
                      <a:pt x="191" y="304"/>
                    </a:lnTo>
                    <a:lnTo>
                      <a:pt x="192" y="304"/>
                    </a:lnTo>
                    <a:lnTo>
                      <a:pt x="196" y="303"/>
                    </a:lnTo>
                    <a:lnTo>
                      <a:pt x="196" y="301"/>
                    </a:lnTo>
                    <a:lnTo>
                      <a:pt x="194" y="298"/>
                    </a:lnTo>
                    <a:lnTo>
                      <a:pt x="194" y="294"/>
                    </a:lnTo>
                    <a:lnTo>
                      <a:pt x="196" y="293"/>
                    </a:lnTo>
                    <a:lnTo>
                      <a:pt x="199" y="293"/>
                    </a:lnTo>
                    <a:lnTo>
                      <a:pt x="197" y="291"/>
                    </a:lnTo>
                    <a:lnTo>
                      <a:pt x="196" y="290"/>
                    </a:lnTo>
                    <a:lnTo>
                      <a:pt x="194" y="290"/>
                    </a:lnTo>
                    <a:lnTo>
                      <a:pt x="197" y="283"/>
                    </a:lnTo>
                    <a:lnTo>
                      <a:pt x="201" y="281"/>
                    </a:lnTo>
                    <a:lnTo>
                      <a:pt x="204" y="277"/>
                    </a:lnTo>
                    <a:lnTo>
                      <a:pt x="204" y="273"/>
                    </a:lnTo>
                    <a:lnTo>
                      <a:pt x="199" y="262"/>
                    </a:lnTo>
                    <a:lnTo>
                      <a:pt x="201" y="260"/>
                    </a:lnTo>
                    <a:lnTo>
                      <a:pt x="201" y="255"/>
                    </a:lnTo>
                    <a:lnTo>
                      <a:pt x="201" y="254"/>
                    </a:lnTo>
                    <a:lnTo>
                      <a:pt x="199" y="250"/>
                    </a:lnTo>
                    <a:lnTo>
                      <a:pt x="201" y="247"/>
                    </a:lnTo>
                    <a:lnTo>
                      <a:pt x="202" y="242"/>
                    </a:lnTo>
                    <a:lnTo>
                      <a:pt x="202" y="232"/>
                    </a:lnTo>
                    <a:lnTo>
                      <a:pt x="201" y="228"/>
                    </a:lnTo>
                    <a:lnTo>
                      <a:pt x="202" y="223"/>
                    </a:lnTo>
                    <a:lnTo>
                      <a:pt x="202" y="211"/>
                    </a:lnTo>
                    <a:lnTo>
                      <a:pt x="205" y="206"/>
                    </a:lnTo>
                    <a:lnTo>
                      <a:pt x="204" y="205"/>
                    </a:lnTo>
                    <a:lnTo>
                      <a:pt x="191" y="18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xmlns="" id="{17F08D8E-D130-4D16-BD00-305113C27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5" y="2221"/>
                <a:ext cx="196" cy="225"/>
              </a:xfrm>
              <a:custGeom>
                <a:avLst/>
                <a:gdLst>
                  <a:gd name="T0" fmla="*/ 189 w 196"/>
                  <a:gd name="T1" fmla="*/ 165 h 225"/>
                  <a:gd name="T2" fmla="*/ 188 w 196"/>
                  <a:gd name="T3" fmla="*/ 127 h 225"/>
                  <a:gd name="T4" fmla="*/ 178 w 196"/>
                  <a:gd name="T5" fmla="*/ 107 h 225"/>
                  <a:gd name="T6" fmla="*/ 145 w 196"/>
                  <a:gd name="T7" fmla="*/ 89 h 225"/>
                  <a:gd name="T8" fmla="*/ 147 w 196"/>
                  <a:gd name="T9" fmla="*/ 71 h 225"/>
                  <a:gd name="T10" fmla="*/ 130 w 196"/>
                  <a:gd name="T11" fmla="*/ 67 h 225"/>
                  <a:gd name="T12" fmla="*/ 121 w 196"/>
                  <a:gd name="T13" fmla="*/ 58 h 225"/>
                  <a:gd name="T14" fmla="*/ 107 w 196"/>
                  <a:gd name="T15" fmla="*/ 55 h 225"/>
                  <a:gd name="T16" fmla="*/ 93 w 196"/>
                  <a:gd name="T17" fmla="*/ 44 h 225"/>
                  <a:gd name="T18" fmla="*/ 81 w 196"/>
                  <a:gd name="T19" fmla="*/ 44 h 225"/>
                  <a:gd name="T20" fmla="*/ 72 w 196"/>
                  <a:gd name="T21" fmla="*/ 34 h 225"/>
                  <a:gd name="T22" fmla="*/ 67 w 196"/>
                  <a:gd name="T23" fmla="*/ 22 h 225"/>
                  <a:gd name="T24" fmla="*/ 65 w 196"/>
                  <a:gd name="T25" fmla="*/ 4 h 225"/>
                  <a:gd name="T26" fmla="*/ 60 w 196"/>
                  <a:gd name="T27" fmla="*/ 3 h 225"/>
                  <a:gd name="T28" fmla="*/ 49 w 196"/>
                  <a:gd name="T29" fmla="*/ 3 h 225"/>
                  <a:gd name="T30" fmla="*/ 32 w 196"/>
                  <a:gd name="T31" fmla="*/ 16 h 225"/>
                  <a:gd name="T32" fmla="*/ 21 w 196"/>
                  <a:gd name="T33" fmla="*/ 19 h 225"/>
                  <a:gd name="T34" fmla="*/ 10 w 196"/>
                  <a:gd name="T35" fmla="*/ 22 h 225"/>
                  <a:gd name="T36" fmla="*/ 14 w 196"/>
                  <a:gd name="T37" fmla="*/ 45 h 225"/>
                  <a:gd name="T38" fmla="*/ 10 w 196"/>
                  <a:gd name="T39" fmla="*/ 67 h 225"/>
                  <a:gd name="T40" fmla="*/ 10 w 196"/>
                  <a:gd name="T41" fmla="*/ 86 h 225"/>
                  <a:gd name="T42" fmla="*/ 10 w 196"/>
                  <a:gd name="T43" fmla="*/ 94 h 225"/>
                  <a:gd name="T44" fmla="*/ 13 w 196"/>
                  <a:gd name="T45" fmla="*/ 112 h 225"/>
                  <a:gd name="T46" fmla="*/ 6 w 196"/>
                  <a:gd name="T47" fmla="*/ 122 h 225"/>
                  <a:gd name="T48" fmla="*/ 6 w 196"/>
                  <a:gd name="T49" fmla="*/ 130 h 225"/>
                  <a:gd name="T50" fmla="*/ 8 w 196"/>
                  <a:gd name="T51" fmla="*/ 137 h 225"/>
                  <a:gd name="T52" fmla="*/ 14 w 196"/>
                  <a:gd name="T53" fmla="*/ 143 h 225"/>
                  <a:gd name="T54" fmla="*/ 14 w 196"/>
                  <a:gd name="T55" fmla="*/ 153 h 225"/>
                  <a:gd name="T56" fmla="*/ 24 w 196"/>
                  <a:gd name="T57" fmla="*/ 166 h 225"/>
                  <a:gd name="T58" fmla="*/ 21 w 196"/>
                  <a:gd name="T59" fmla="*/ 183 h 225"/>
                  <a:gd name="T60" fmla="*/ 42 w 196"/>
                  <a:gd name="T61" fmla="*/ 225 h 225"/>
                  <a:gd name="T62" fmla="*/ 50 w 196"/>
                  <a:gd name="T63" fmla="*/ 223 h 225"/>
                  <a:gd name="T64" fmla="*/ 55 w 196"/>
                  <a:gd name="T65" fmla="*/ 214 h 225"/>
                  <a:gd name="T66" fmla="*/ 68 w 196"/>
                  <a:gd name="T67" fmla="*/ 210 h 225"/>
                  <a:gd name="T68" fmla="*/ 80 w 196"/>
                  <a:gd name="T69" fmla="*/ 210 h 225"/>
                  <a:gd name="T70" fmla="*/ 90 w 196"/>
                  <a:gd name="T71" fmla="*/ 214 h 225"/>
                  <a:gd name="T72" fmla="*/ 94 w 196"/>
                  <a:gd name="T73" fmla="*/ 220 h 225"/>
                  <a:gd name="T74" fmla="*/ 96 w 196"/>
                  <a:gd name="T75" fmla="*/ 210 h 225"/>
                  <a:gd name="T76" fmla="*/ 116 w 196"/>
                  <a:gd name="T77" fmla="*/ 207 h 225"/>
                  <a:gd name="T78" fmla="*/ 124 w 196"/>
                  <a:gd name="T79" fmla="*/ 196 h 225"/>
                  <a:gd name="T80" fmla="*/ 122 w 196"/>
                  <a:gd name="T81" fmla="*/ 184 h 225"/>
                  <a:gd name="T82" fmla="*/ 129 w 196"/>
                  <a:gd name="T83" fmla="*/ 168 h 225"/>
                  <a:gd name="T84" fmla="*/ 171 w 196"/>
                  <a:gd name="T85" fmla="*/ 160 h 225"/>
                  <a:gd name="T86" fmla="*/ 188 w 196"/>
                  <a:gd name="T87" fmla="*/ 17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6" h="225">
                    <a:moveTo>
                      <a:pt x="188" y="171"/>
                    </a:moveTo>
                    <a:lnTo>
                      <a:pt x="189" y="168"/>
                    </a:lnTo>
                    <a:lnTo>
                      <a:pt x="189" y="165"/>
                    </a:lnTo>
                    <a:lnTo>
                      <a:pt x="196" y="150"/>
                    </a:lnTo>
                    <a:lnTo>
                      <a:pt x="196" y="142"/>
                    </a:lnTo>
                    <a:lnTo>
                      <a:pt x="188" y="127"/>
                    </a:lnTo>
                    <a:lnTo>
                      <a:pt x="179" y="124"/>
                    </a:lnTo>
                    <a:lnTo>
                      <a:pt x="179" y="117"/>
                    </a:lnTo>
                    <a:lnTo>
                      <a:pt x="178" y="107"/>
                    </a:lnTo>
                    <a:lnTo>
                      <a:pt x="150" y="107"/>
                    </a:lnTo>
                    <a:lnTo>
                      <a:pt x="152" y="99"/>
                    </a:lnTo>
                    <a:lnTo>
                      <a:pt x="145" y="89"/>
                    </a:lnTo>
                    <a:lnTo>
                      <a:pt x="147" y="86"/>
                    </a:lnTo>
                    <a:lnTo>
                      <a:pt x="145" y="80"/>
                    </a:lnTo>
                    <a:lnTo>
                      <a:pt x="147" y="71"/>
                    </a:lnTo>
                    <a:lnTo>
                      <a:pt x="145" y="70"/>
                    </a:lnTo>
                    <a:lnTo>
                      <a:pt x="139" y="65"/>
                    </a:lnTo>
                    <a:lnTo>
                      <a:pt x="130" y="67"/>
                    </a:lnTo>
                    <a:lnTo>
                      <a:pt x="125" y="65"/>
                    </a:lnTo>
                    <a:lnTo>
                      <a:pt x="122" y="63"/>
                    </a:lnTo>
                    <a:lnTo>
                      <a:pt x="121" y="58"/>
                    </a:lnTo>
                    <a:lnTo>
                      <a:pt x="117" y="57"/>
                    </a:lnTo>
                    <a:lnTo>
                      <a:pt x="111" y="55"/>
                    </a:lnTo>
                    <a:lnTo>
                      <a:pt x="107" y="55"/>
                    </a:lnTo>
                    <a:lnTo>
                      <a:pt x="103" y="49"/>
                    </a:lnTo>
                    <a:lnTo>
                      <a:pt x="98" y="50"/>
                    </a:lnTo>
                    <a:lnTo>
                      <a:pt x="93" y="44"/>
                    </a:lnTo>
                    <a:lnTo>
                      <a:pt x="86" y="45"/>
                    </a:lnTo>
                    <a:lnTo>
                      <a:pt x="85" y="47"/>
                    </a:lnTo>
                    <a:lnTo>
                      <a:pt x="81" y="44"/>
                    </a:lnTo>
                    <a:lnTo>
                      <a:pt x="76" y="40"/>
                    </a:lnTo>
                    <a:lnTo>
                      <a:pt x="72" y="39"/>
                    </a:lnTo>
                    <a:lnTo>
                      <a:pt x="72" y="34"/>
                    </a:lnTo>
                    <a:lnTo>
                      <a:pt x="67" y="32"/>
                    </a:lnTo>
                    <a:lnTo>
                      <a:pt x="65" y="26"/>
                    </a:lnTo>
                    <a:lnTo>
                      <a:pt x="67" y="22"/>
                    </a:lnTo>
                    <a:lnTo>
                      <a:pt x="63" y="16"/>
                    </a:lnTo>
                    <a:lnTo>
                      <a:pt x="67" y="11"/>
                    </a:lnTo>
                    <a:lnTo>
                      <a:pt x="65" y="4"/>
                    </a:lnTo>
                    <a:lnTo>
                      <a:pt x="65" y="1"/>
                    </a:lnTo>
                    <a:lnTo>
                      <a:pt x="63" y="0"/>
                    </a:lnTo>
                    <a:lnTo>
                      <a:pt x="60" y="3"/>
                    </a:lnTo>
                    <a:lnTo>
                      <a:pt x="57" y="0"/>
                    </a:lnTo>
                    <a:lnTo>
                      <a:pt x="54" y="0"/>
                    </a:lnTo>
                    <a:lnTo>
                      <a:pt x="49" y="3"/>
                    </a:lnTo>
                    <a:lnTo>
                      <a:pt x="42" y="3"/>
                    </a:lnTo>
                    <a:lnTo>
                      <a:pt x="36" y="8"/>
                    </a:lnTo>
                    <a:lnTo>
                      <a:pt x="32" y="16"/>
                    </a:lnTo>
                    <a:lnTo>
                      <a:pt x="27" y="17"/>
                    </a:lnTo>
                    <a:lnTo>
                      <a:pt x="24" y="17"/>
                    </a:lnTo>
                    <a:lnTo>
                      <a:pt x="21" y="19"/>
                    </a:lnTo>
                    <a:lnTo>
                      <a:pt x="18" y="19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0" y="22"/>
                    </a:lnTo>
                    <a:lnTo>
                      <a:pt x="13" y="44"/>
                    </a:lnTo>
                    <a:lnTo>
                      <a:pt x="14" y="45"/>
                    </a:lnTo>
                    <a:lnTo>
                      <a:pt x="11" y="50"/>
                    </a:lnTo>
                    <a:lnTo>
                      <a:pt x="11" y="62"/>
                    </a:lnTo>
                    <a:lnTo>
                      <a:pt x="10" y="67"/>
                    </a:lnTo>
                    <a:lnTo>
                      <a:pt x="11" y="71"/>
                    </a:lnTo>
                    <a:lnTo>
                      <a:pt x="11" y="81"/>
                    </a:lnTo>
                    <a:lnTo>
                      <a:pt x="10" y="86"/>
                    </a:lnTo>
                    <a:lnTo>
                      <a:pt x="8" y="89"/>
                    </a:lnTo>
                    <a:lnTo>
                      <a:pt x="10" y="93"/>
                    </a:lnTo>
                    <a:lnTo>
                      <a:pt x="10" y="94"/>
                    </a:lnTo>
                    <a:lnTo>
                      <a:pt x="10" y="99"/>
                    </a:lnTo>
                    <a:lnTo>
                      <a:pt x="8" y="101"/>
                    </a:lnTo>
                    <a:lnTo>
                      <a:pt x="13" y="112"/>
                    </a:lnTo>
                    <a:lnTo>
                      <a:pt x="13" y="116"/>
                    </a:lnTo>
                    <a:lnTo>
                      <a:pt x="10" y="120"/>
                    </a:lnTo>
                    <a:lnTo>
                      <a:pt x="6" y="122"/>
                    </a:lnTo>
                    <a:lnTo>
                      <a:pt x="3" y="129"/>
                    </a:lnTo>
                    <a:lnTo>
                      <a:pt x="5" y="129"/>
                    </a:lnTo>
                    <a:lnTo>
                      <a:pt x="6" y="130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8" y="137"/>
                    </a:lnTo>
                    <a:lnTo>
                      <a:pt x="11" y="138"/>
                    </a:lnTo>
                    <a:lnTo>
                      <a:pt x="13" y="140"/>
                    </a:lnTo>
                    <a:lnTo>
                      <a:pt x="14" y="143"/>
                    </a:lnTo>
                    <a:lnTo>
                      <a:pt x="13" y="147"/>
                    </a:lnTo>
                    <a:lnTo>
                      <a:pt x="14" y="148"/>
                    </a:lnTo>
                    <a:lnTo>
                      <a:pt x="14" y="153"/>
                    </a:lnTo>
                    <a:lnTo>
                      <a:pt x="18" y="158"/>
                    </a:lnTo>
                    <a:lnTo>
                      <a:pt x="24" y="163"/>
                    </a:lnTo>
                    <a:lnTo>
                      <a:pt x="24" y="166"/>
                    </a:lnTo>
                    <a:lnTo>
                      <a:pt x="23" y="171"/>
                    </a:lnTo>
                    <a:lnTo>
                      <a:pt x="24" y="174"/>
                    </a:lnTo>
                    <a:lnTo>
                      <a:pt x="21" y="183"/>
                    </a:lnTo>
                    <a:lnTo>
                      <a:pt x="23" y="186"/>
                    </a:lnTo>
                    <a:lnTo>
                      <a:pt x="31" y="194"/>
                    </a:lnTo>
                    <a:lnTo>
                      <a:pt x="42" y="225"/>
                    </a:lnTo>
                    <a:lnTo>
                      <a:pt x="45" y="225"/>
                    </a:lnTo>
                    <a:lnTo>
                      <a:pt x="47" y="223"/>
                    </a:lnTo>
                    <a:lnTo>
                      <a:pt x="50" y="223"/>
                    </a:lnTo>
                    <a:lnTo>
                      <a:pt x="50" y="223"/>
                    </a:lnTo>
                    <a:lnTo>
                      <a:pt x="52" y="220"/>
                    </a:lnTo>
                    <a:lnTo>
                      <a:pt x="55" y="214"/>
                    </a:lnTo>
                    <a:lnTo>
                      <a:pt x="60" y="207"/>
                    </a:lnTo>
                    <a:lnTo>
                      <a:pt x="65" y="207"/>
                    </a:lnTo>
                    <a:lnTo>
                      <a:pt x="68" y="210"/>
                    </a:lnTo>
                    <a:lnTo>
                      <a:pt x="73" y="209"/>
                    </a:lnTo>
                    <a:lnTo>
                      <a:pt x="76" y="209"/>
                    </a:lnTo>
                    <a:lnTo>
                      <a:pt x="80" y="210"/>
                    </a:lnTo>
                    <a:lnTo>
                      <a:pt x="85" y="209"/>
                    </a:lnTo>
                    <a:lnTo>
                      <a:pt x="88" y="209"/>
                    </a:lnTo>
                    <a:lnTo>
                      <a:pt x="90" y="214"/>
                    </a:lnTo>
                    <a:lnTo>
                      <a:pt x="91" y="220"/>
                    </a:lnTo>
                    <a:lnTo>
                      <a:pt x="93" y="222"/>
                    </a:lnTo>
                    <a:lnTo>
                      <a:pt x="94" y="220"/>
                    </a:lnTo>
                    <a:lnTo>
                      <a:pt x="93" y="217"/>
                    </a:lnTo>
                    <a:lnTo>
                      <a:pt x="96" y="214"/>
                    </a:lnTo>
                    <a:lnTo>
                      <a:pt x="96" y="210"/>
                    </a:lnTo>
                    <a:lnTo>
                      <a:pt x="98" y="207"/>
                    </a:lnTo>
                    <a:lnTo>
                      <a:pt x="107" y="207"/>
                    </a:lnTo>
                    <a:lnTo>
                      <a:pt x="116" y="207"/>
                    </a:lnTo>
                    <a:lnTo>
                      <a:pt x="117" y="210"/>
                    </a:lnTo>
                    <a:lnTo>
                      <a:pt x="119" y="205"/>
                    </a:lnTo>
                    <a:lnTo>
                      <a:pt x="124" y="196"/>
                    </a:lnTo>
                    <a:lnTo>
                      <a:pt x="124" y="192"/>
                    </a:lnTo>
                    <a:lnTo>
                      <a:pt x="124" y="187"/>
                    </a:lnTo>
                    <a:lnTo>
                      <a:pt x="122" y="184"/>
                    </a:lnTo>
                    <a:lnTo>
                      <a:pt x="127" y="178"/>
                    </a:lnTo>
                    <a:lnTo>
                      <a:pt x="129" y="171"/>
                    </a:lnTo>
                    <a:lnTo>
                      <a:pt x="129" y="168"/>
                    </a:lnTo>
                    <a:lnTo>
                      <a:pt x="132" y="166"/>
                    </a:lnTo>
                    <a:lnTo>
                      <a:pt x="153" y="160"/>
                    </a:lnTo>
                    <a:lnTo>
                      <a:pt x="171" y="160"/>
                    </a:lnTo>
                    <a:lnTo>
                      <a:pt x="183" y="168"/>
                    </a:lnTo>
                    <a:lnTo>
                      <a:pt x="184" y="168"/>
                    </a:lnTo>
                    <a:lnTo>
                      <a:pt x="188" y="17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2" name="Freeform 341">
                <a:extLst>
                  <a:ext uri="{FF2B5EF4-FFF2-40B4-BE49-F238E27FC236}">
                    <a16:creationId xmlns:a16="http://schemas.microsoft.com/office/drawing/2014/main" xmlns="" id="{F325C4F4-794C-4C08-9EB8-BD20F11C9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2381"/>
                <a:ext cx="136" cy="147"/>
              </a:xfrm>
              <a:custGeom>
                <a:avLst/>
                <a:gdLst>
                  <a:gd name="T0" fmla="*/ 2 w 136"/>
                  <a:gd name="T1" fmla="*/ 45 h 147"/>
                  <a:gd name="T2" fmla="*/ 7 w 136"/>
                  <a:gd name="T3" fmla="*/ 32 h 147"/>
                  <a:gd name="T4" fmla="*/ 5 w 136"/>
                  <a:gd name="T5" fmla="*/ 24 h 147"/>
                  <a:gd name="T6" fmla="*/ 12 w 136"/>
                  <a:gd name="T7" fmla="*/ 11 h 147"/>
                  <a:gd name="T8" fmla="*/ 15 w 136"/>
                  <a:gd name="T9" fmla="*/ 6 h 147"/>
                  <a:gd name="T10" fmla="*/ 54 w 136"/>
                  <a:gd name="T11" fmla="*/ 0 h 147"/>
                  <a:gd name="T12" fmla="*/ 67 w 136"/>
                  <a:gd name="T13" fmla="*/ 8 h 147"/>
                  <a:gd name="T14" fmla="*/ 71 w 136"/>
                  <a:gd name="T15" fmla="*/ 16 h 147"/>
                  <a:gd name="T16" fmla="*/ 74 w 136"/>
                  <a:gd name="T17" fmla="*/ 24 h 147"/>
                  <a:gd name="T18" fmla="*/ 75 w 136"/>
                  <a:gd name="T19" fmla="*/ 39 h 147"/>
                  <a:gd name="T20" fmla="*/ 75 w 136"/>
                  <a:gd name="T21" fmla="*/ 45 h 147"/>
                  <a:gd name="T22" fmla="*/ 84 w 136"/>
                  <a:gd name="T23" fmla="*/ 49 h 147"/>
                  <a:gd name="T24" fmla="*/ 93 w 136"/>
                  <a:gd name="T25" fmla="*/ 49 h 147"/>
                  <a:gd name="T26" fmla="*/ 105 w 136"/>
                  <a:gd name="T27" fmla="*/ 49 h 147"/>
                  <a:gd name="T28" fmla="*/ 111 w 136"/>
                  <a:gd name="T29" fmla="*/ 52 h 147"/>
                  <a:gd name="T30" fmla="*/ 116 w 136"/>
                  <a:gd name="T31" fmla="*/ 73 h 147"/>
                  <a:gd name="T32" fmla="*/ 123 w 136"/>
                  <a:gd name="T33" fmla="*/ 80 h 147"/>
                  <a:gd name="T34" fmla="*/ 133 w 136"/>
                  <a:gd name="T35" fmla="*/ 78 h 147"/>
                  <a:gd name="T36" fmla="*/ 136 w 136"/>
                  <a:gd name="T37" fmla="*/ 81 h 147"/>
                  <a:gd name="T38" fmla="*/ 134 w 136"/>
                  <a:gd name="T39" fmla="*/ 98 h 147"/>
                  <a:gd name="T40" fmla="*/ 134 w 136"/>
                  <a:gd name="T41" fmla="*/ 101 h 147"/>
                  <a:gd name="T42" fmla="*/ 133 w 136"/>
                  <a:gd name="T43" fmla="*/ 104 h 147"/>
                  <a:gd name="T44" fmla="*/ 133 w 136"/>
                  <a:gd name="T45" fmla="*/ 107 h 147"/>
                  <a:gd name="T46" fmla="*/ 133 w 136"/>
                  <a:gd name="T47" fmla="*/ 114 h 147"/>
                  <a:gd name="T48" fmla="*/ 129 w 136"/>
                  <a:gd name="T49" fmla="*/ 122 h 147"/>
                  <a:gd name="T50" fmla="*/ 126 w 136"/>
                  <a:gd name="T51" fmla="*/ 129 h 147"/>
                  <a:gd name="T52" fmla="*/ 118 w 136"/>
                  <a:gd name="T53" fmla="*/ 139 h 147"/>
                  <a:gd name="T54" fmla="*/ 111 w 136"/>
                  <a:gd name="T55" fmla="*/ 142 h 147"/>
                  <a:gd name="T56" fmla="*/ 106 w 136"/>
                  <a:gd name="T57" fmla="*/ 147 h 147"/>
                  <a:gd name="T58" fmla="*/ 103 w 136"/>
                  <a:gd name="T59" fmla="*/ 145 h 147"/>
                  <a:gd name="T60" fmla="*/ 93 w 136"/>
                  <a:gd name="T61" fmla="*/ 142 h 147"/>
                  <a:gd name="T62" fmla="*/ 72 w 136"/>
                  <a:gd name="T63" fmla="*/ 140 h 147"/>
                  <a:gd name="T64" fmla="*/ 71 w 136"/>
                  <a:gd name="T65" fmla="*/ 137 h 147"/>
                  <a:gd name="T66" fmla="*/ 77 w 136"/>
                  <a:gd name="T67" fmla="*/ 125 h 147"/>
                  <a:gd name="T68" fmla="*/ 79 w 136"/>
                  <a:gd name="T69" fmla="*/ 119 h 147"/>
                  <a:gd name="T70" fmla="*/ 84 w 136"/>
                  <a:gd name="T71" fmla="*/ 114 h 147"/>
                  <a:gd name="T72" fmla="*/ 82 w 136"/>
                  <a:gd name="T73" fmla="*/ 106 h 147"/>
                  <a:gd name="T74" fmla="*/ 74 w 136"/>
                  <a:gd name="T75" fmla="*/ 98 h 147"/>
                  <a:gd name="T76" fmla="*/ 57 w 136"/>
                  <a:gd name="T77" fmla="*/ 93 h 147"/>
                  <a:gd name="T78" fmla="*/ 48 w 136"/>
                  <a:gd name="T79" fmla="*/ 86 h 147"/>
                  <a:gd name="T80" fmla="*/ 31 w 136"/>
                  <a:gd name="T81" fmla="*/ 81 h 147"/>
                  <a:gd name="T82" fmla="*/ 25 w 136"/>
                  <a:gd name="T83" fmla="*/ 73 h 147"/>
                  <a:gd name="T84" fmla="*/ 12 w 136"/>
                  <a:gd name="T85" fmla="*/ 62 h 147"/>
                  <a:gd name="T86" fmla="*/ 5 w 136"/>
                  <a:gd name="T87" fmla="*/ 55 h 147"/>
                  <a:gd name="T88" fmla="*/ 0 w 136"/>
                  <a:gd name="T89" fmla="*/ 5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" h="147">
                    <a:moveTo>
                      <a:pt x="0" y="50"/>
                    </a:moveTo>
                    <a:lnTo>
                      <a:pt x="2" y="45"/>
                    </a:lnTo>
                    <a:lnTo>
                      <a:pt x="7" y="36"/>
                    </a:lnTo>
                    <a:lnTo>
                      <a:pt x="7" y="32"/>
                    </a:lnTo>
                    <a:lnTo>
                      <a:pt x="7" y="27"/>
                    </a:lnTo>
                    <a:lnTo>
                      <a:pt x="5" y="24"/>
                    </a:lnTo>
                    <a:lnTo>
                      <a:pt x="10" y="18"/>
                    </a:lnTo>
                    <a:lnTo>
                      <a:pt x="12" y="11"/>
                    </a:lnTo>
                    <a:lnTo>
                      <a:pt x="12" y="8"/>
                    </a:lnTo>
                    <a:lnTo>
                      <a:pt x="15" y="6"/>
                    </a:lnTo>
                    <a:lnTo>
                      <a:pt x="36" y="0"/>
                    </a:lnTo>
                    <a:lnTo>
                      <a:pt x="54" y="0"/>
                    </a:lnTo>
                    <a:lnTo>
                      <a:pt x="66" y="8"/>
                    </a:lnTo>
                    <a:lnTo>
                      <a:pt x="67" y="8"/>
                    </a:lnTo>
                    <a:lnTo>
                      <a:pt x="71" y="13"/>
                    </a:lnTo>
                    <a:lnTo>
                      <a:pt x="71" y="16"/>
                    </a:lnTo>
                    <a:lnTo>
                      <a:pt x="74" y="19"/>
                    </a:lnTo>
                    <a:lnTo>
                      <a:pt x="74" y="24"/>
                    </a:lnTo>
                    <a:lnTo>
                      <a:pt x="77" y="29"/>
                    </a:lnTo>
                    <a:lnTo>
                      <a:pt x="75" y="39"/>
                    </a:lnTo>
                    <a:lnTo>
                      <a:pt x="77" y="42"/>
                    </a:lnTo>
                    <a:lnTo>
                      <a:pt x="75" y="45"/>
                    </a:lnTo>
                    <a:lnTo>
                      <a:pt x="77" y="49"/>
                    </a:lnTo>
                    <a:lnTo>
                      <a:pt x="84" y="49"/>
                    </a:lnTo>
                    <a:lnTo>
                      <a:pt x="85" y="50"/>
                    </a:lnTo>
                    <a:lnTo>
                      <a:pt x="93" y="49"/>
                    </a:lnTo>
                    <a:lnTo>
                      <a:pt x="97" y="50"/>
                    </a:lnTo>
                    <a:lnTo>
                      <a:pt x="105" y="49"/>
                    </a:lnTo>
                    <a:lnTo>
                      <a:pt x="108" y="50"/>
                    </a:lnTo>
                    <a:lnTo>
                      <a:pt x="111" y="52"/>
                    </a:lnTo>
                    <a:lnTo>
                      <a:pt x="113" y="55"/>
                    </a:lnTo>
                    <a:lnTo>
                      <a:pt x="116" y="73"/>
                    </a:lnTo>
                    <a:lnTo>
                      <a:pt x="120" y="80"/>
                    </a:lnTo>
                    <a:lnTo>
                      <a:pt x="123" y="80"/>
                    </a:lnTo>
                    <a:lnTo>
                      <a:pt x="128" y="76"/>
                    </a:lnTo>
                    <a:lnTo>
                      <a:pt x="133" y="78"/>
                    </a:lnTo>
                    <a:lnTo>
                      <a:pt x="134" y="80"/>
                    </a:lnTo>
                    <a:lnTo>
                      <a:pt x="136" y="81"/>
                    </a:lnTo>
                    <a:lnTo>
                      <a:pt x="134" y="83"/>
                    </a:lnTo>
                    <a:lnTo>
                      <a:pt x="134" y="98"/>
                    </a:lnTo>
                    <a:lnTo>
                      <a:pt x="134" y="101"/>
                    </a:lnTo>
                    <a:lnTo>
                      <a:pt x="134" y="101"/>
                    </a:lnTo>
                    <a:lnTo>
                      <a:pt x="134" y="103"/>
                    </a:lnTo>
                    <a:lnTo>
                      <a:pt x="133" y="104"/>
                    </a:lnTo>
                    <a:lnTo>
                      <a:pt x="133" y="106"/>
                    </a:lnTo>
                    <a:lnTo>
                      <a:pt x="133" y="107"/>
                    </a:lnTo>
                    <a:lnTo>
                      <a:pt x="133" y="112"/>
                    </a:lnTo>
                    <a:lnTo>
                      <a:pt x="133" y="114"/>
                    </a:lnTo>
                    <a:lnTo>
                      <a:pt x="133" y="119"/>
                    </a:lnTo>
                    <a:lnTo>
                      <a:pt x="129" y="122"/>
                    </a:lnTo>
                    <a:lnTo>
                      <a:pt x="128" y="125"/>
                    </a:lnTo>
                    <a:lnTo>
                      <a:pt x="126" y="129"/>
                    </a:lnTo>
                    <a:lnTo>
                      <a:pt x="120" y="134"/>
                    </a:lnTo>
                    <a:lnTo>
                      <a:pt x="118" y="139"/>
                    </a:lnTo>
                    <a:lnTo>
                      <a:pt x="115" y="142"/>
                    </a:lnTo>
                    <a:lnTo>
                      <a:pt x="111" y="142"/>
                    </a:lnTo>
                    <a:lnTo>
                      <a:pt x="110" y="142"/>
                    </a:lnTo>
                    <a:lnTo>
                      <a:pt x="106" y="147"/>
                    </a:lnTo>
                    <a:lnTo>
                      <a:pt x="105" y="145"/>
                    </a:lnTo>
                    <a:lnTo>
                      <a:pt x="103" y="145"/>
                    </a:lnTo>
                    <a:lnTo>
                      <a:pt x="100" y="147"/>
                    </a:lnTo>
                    <a:lnTo>
                      <a:pt x="93" y="142"/>
                    </a:lnTo>
                    <a:lnTo>
                      <a:pt x="84" y="139"/>
                    </a:lnTo>
                    <a:lnTo>
                      <a:pt x="72" y="140"/>
                    </a:lnTo>
                    <a:lnTo>
                      <a:pt x="69" y="140"/>
                    </a:lnTo>
                    <a:lnTo>
                      <a:pt x="71" y="137"/>
                    </a:lnTo>
                    <a:lnTo>
                      <a:pt x="75" y="132"/>
                    </a:lnTo>
                    <a:lnTo>
                      <a:pt x="77" y="125"/>
                    </a:lnTo>
                    <a:lnTo>
                      <a:pt x="77" y="122"/>
                    </a:lnTo>
                    <a:lnTo>
                      <a:pt x="79" y="119"/>
                    </a:lnTo>
                    <a:lnTo>
                      <a:pt x="80" y="117"/>
                    </a:lnTo>
                    <a:lnTo>
                      <a:pt x="84" y="114"/>
                    </a:lnTo>
                    <a:lnTo>
                      <a:pt x="84" y="111"/>
                    </a:lnTo>
                    <a:lnTo>
                      <a:pt x="82" y="106"/>
                    </a:lnTo>
                    <a:lnTo>
                      <a:pt x="77" y="103"/>
                    </a:lnTo>
                    <a:lnTo>
                      <a:pt x="74" y="98"/>
                    </a:lnTo>
                    <a:lnTo>
                      <a:pt x="64" y="96"/>
                    </a:lnTo>
                    <a:lnTo>
                      <a:pt x="57" y="93"/>
                    </a:lnTo>
                    <a:lnTo>
                      <a:pt x="51" y="86"/>
                    </a:lnTo>
                    <a:lnTo>
                      <a:pt x="48" y="86"/>
                    </a:lnTo>
                    <a:lnTo>
                      <a:pt x="41" y="83"/>
                    </a:lnTo>
                    <a:lnTo>
                      <a:pt x="31" y="81"/>
                    </a:lnTo>
                    <a:lnTo>
                      <a:pt x="30" y="76"/>
                    </a:lnTo>
                    <a:lnTo>
                      <a:pt x="25" y="73"/>
                    </a:lnTo>
                    <a:lnTo>
                      <a:pt x="22" y="73"/>
                    </a:lnTo>
                    <a:lnTo>
                      <a:pt x="12" y="62"/>
                    </a:lnTo>
                    <a:lnTo>
                      <a:pt x="8" y="55"/>
                    </a:lnTo>
                    <a:lnTo>
                      <a:pt x="5" y="55"/>
                    </a:lnTo>
                    <a:lnTo>
                      <a:pt x="2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3" name="Freeform 342">
                <a:extLst>
                  <a:ext uri="{FF2B5EF4-FFF2-40B4-BE49-F238E27FC236}">
                    <a16:creationId xmlns:a16="http://schemas.microsoft.com/office/drawing/2014/main" xmlns="" id="{9D581D9E-8B8C-44DE-80A4-9D1AEBE48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2570"/>
                <a:ext cx="80" cy="93"/>
              </a:xfrm>
              <a:custGeom>
                <a:avLst/>
                <a:gdLst>
                  <a:gd name="T0" fmla="*/ 11 w 80"/>
                  <a:gd name="T1" fmla="*/ 2 h 93"/>
                  <a:gd name="T2" fmla="*/ 21 w 80"/>
                  <a:gd name="T3" fmla="*/ 0 h 93"/>
                  <a:gd name="T4" fmla="*/ 27 w 80"/>
                  <a:gd name="T5" fmla="*/ 7 h 93"/>
                  <a:gd name="T6" fmla="*/ 32 w 80"/>
                  <a:gd name="T7" fmla="*/ 13 h 93"/>
                  <a:gd name="T8" fmla="*/ 37 w 80"/>
                  <a:gd name="T9" fmla="*/ 20 h 93"/>
                  <a:gd name="T10" fmla="*/ 42 w 80"/>
                  <a:gd name="T11" fmla="*/ 17 h 93"/>
                  <a:gd name="T12" fmla="*/ 50 w 80"/>
                  <a:gd name="T13" fmla="*/ 25 h 93"/>
                  <a:gd name="T14" fmla="*/ 58 w 80"/>
                  <a:gd name="T15" fmla="*/ 30 h 93"/>
                  <a:gd name="T16" fmla="*/ 62 w 80"/>
                  <a:gd name="T17" fmla="*/ 33 h 93"/>
                  <a:gd name="T18" fmla="*/ 71 w 80"/>
                  <a:gd name="T19" fmla="*/ 41 h 93"/>
                  <a:gd name="T20" fmla="*/ 78 w 80"/>
                  <a:gd name="T21" fmla="*/ 49 h 93"/>
                  <a:gd name="T22" fmla="*/ 75 w 80"/>
                  <a:gd name="T23" fmla="*/ 57 h 93"/>
                  <a:gd name="T24" fmla="*/ 76 w 80"/>
                  <a:gd name="T25" fmla="*/ 64 h 93"/>
                  <a:gd name="T26" fmla="*/ 80 w 80"/>
                  <a:gd name="T27" fmla="*/ 67 h 93"/>
                  <a:gd name="T28" fmla="*/ 78 w 80"/>
                  <a:gd name="T29" fmla="*/ 69 h 93"/>
                  <a:gd name="T30" fmla="*/ 76 w 80"/>
                  <a:gd name="T31" fmla="*/ 77 h 93"/>
                  <a:gd name="T32" fmla="*/ 71 w 80"/>
                  <a:gd name="T33" fmla="*/ 82 h 93"/>
                  <a:gd name="T34" fmla="*/ 71 w 80"/>
                  <a:gd name="T35" fmla="*/ 84 h 93"/>
                  <a:gd name="T36" fmla="*/ 62 w 80"/>
                  <a:gd name="T37" fmla="*/ 90 h 93"/>
                  <a:gd name="T38" fmla="*/ 60 w 80"/>
                  <a:gd name="T39" fmla="*/ 90 h 93"/>
                  <a:gd name="T40" fmla="*/ 57 w 80"/>
                  <a:gd name="T41" fmla="*/ 93 h 93"/>
                  <a:gd name="T42" fmla="*/ 53 w 80"/>
                  <a:gd name="T43" fmla="*/ 92 h 93"/>
                  <a:gd name="T44" fmla="*/ 49 w 80"/>
                  <a:gd name="T45" fmla="*/ 92 h 93"/>
                  <a:gd name="T46" fmla="*/ 42 w 80"/>
                  <a:gd name="T47" fmla="*/ 92 h 93"/>
                  <a:gd name="T48" fmla="*/ 36 w 80"/>
                  <a:gd name="T49" fmla="*/ 93 h 93"/>
                  <a:gd name="T50" fmla="*/ 36 w 80"/>
                  <a:gd name="T51" fmla="*/ 90 h 93"/>
                  <a:gd name="T52" fmla="*/ 32 w 80"/>
                  <a:gd name="T53" fmla="*/ 88 h 93"/>
                  <a:gd name="T54" fmla="*/ 26 w 80"/>
                  <a:gd name="T55" fmla="*/ 85 h 93"/>
                  <a:gd name="T56" fmla="*/ 14 w 80"/>
                  <a:gd name="T57" fmla="*/ 87 h 93"/>
                  <a:gd name="T58" fmla="*/ 8 w 80"/>
                  <a:gd name="T59" fmla="*/ 82 h 93"/>
                  <a:gd name="T60" fmla="*/ 1 w 80"/>
                  <a:gd name="T61" fmla="*/ 74 h 93"/>
                  <a:gd name="T62" fmla="*/ 0 w 80"/>
                  <a:gd name="T63" fmla="*/ 61 h 93"/>
                  <a:gd name="T64" fmla="*/ 0 w 80"/>
                  <a:gd name="T65" fmla="*/ 61 h 93"/>
                  <a:gd name="T66" fmla="*/ 3 w 80"/>
                  <a:gd name="T67" fmla="*/ 56 h 93"/>
                  <a:gd name="T68" fmla="*/ 1 w 80"/>
                  <a:gd name="T69" fmla="*/ 43 h 93"/>
                  <a:gd name="T70" fmla="*/ 1 w 80"/>
                  <a:gd name="T71" fmla="*/ 36 h 93"/>
                  <a:gd name="T72" fmla="*/ 3 w 80"/>
                  <a:gd name="T73" fmla="*/ 30 h 93"/>
                  <a:gd name="T74" fmla="*/ 4 w 80"/>
                  <a:gd name="T75" fmla="*/ 20 h 93"/>
                  <a:gd name="T76" fmla="*/ 4 w 80"/>
                  <a:gd name="T77" fmla="*/ 15 h 93"/>
                  <a:gd name="T78" fmla="*/ 6 w 80"/>
                  <a:gd name="T79" fmla="*/ 7 h 93"/>
                  <a:gd name="T80" fmla="*/ 8 w 80"/>
                  <a:gd name="T81" fmla="*/ 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0" h="93">
                    <a:moveTo>
                      <a:pt x="8" y="2"/>
                    </a:moveTo>
                    <a:lnTo>
                      <a:pt x="11" y="2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7" y="7"/>
                    </a:lnTo>
                    <a:lnTo>
                      <a:pt x="31" y="8"/>
                    </a:lnTo>
                    <a:lnTo>
                      <a:pt x="32" y="13"/>
                    </a:lnTo>
                    <a:lnTo>
                      <a:pt x="36" y="20"/>
                    </a:lnTo>
                    <a:lnTo>
                      <a:pt x="37" y="20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7" y="23"/>
                    </a:lnTo>
                    <a:lnTo>
                      <a:pt x="50" y="25"/>
                    </a:lnTo>
                    <a:lnTo>
                      <a:pt x="53" y="25"/>
                    </a:lnTo>
                    <a:lnTo>
                      <a:pt x="58" y="30"/>
                    </a:lnTo>
                    <a:lnTo>
                      <a:pt x="58" y="33"/>
                    </a:lnTo>
                    <a:lnTo>
                      <a:pt x="62" y="33"/>
                    </a:lnTo>
                    <a:lnTo>
                      <a:pt x="68" y="36"/>
                    </a:lnTo>
                    <a:lnTo>
                      <a:pt x="71" y="41"/>
                    </a:lnTo>
                    <a:lnTo>
                      <a:pt x="75" y="46"/>
                    </a:lnTo>
                    <a:lnTo>
                      <a:pt x="78" y="49"/>
                    </a:lnTo>
                    <a:lnTo>
                      <a:pt x="78" y="54"/>
                    </a:lnTo>
                    <a:lnTo>
                      <a:pt x="75" y="57"/>
                    </a:lnTo>
                    <a:lnTo>
                      <a:pt x="76" y="62"/>
                    </a:lnTo>
                    <a:lnTo>
                      <a:pt x="76" y="64"/>
                    </a:lnTo>
                    <a:lnTo>
                      <a:pt x="78" y="64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78" y="69"/>
                    </a:lnTo>
                    <a:lnTo>
                      <a:pt x="76" y="72"/>
                    </a:lnTo>
                    <a:lnTo>
                      <a:pt x="76" y="77"/>
                    </a:lnTo>
                    <a:lnTo>
                      <a:pt x="73" y="79"/>
                    </a:lnTo>
                    <a:lnTo>
                      <a:pt x="71" y="82"/>
                    </a:lnTo>
                    <a:lnTo>
                      <a:pt x="71" y="82"/>
                    </a:lnTo>
                    <a:lnTo>
                      <a:pt x="71" y="84"/>
                    </a:lnTo>
                    <a:lnTo>
                      <a:pt x="67" y="88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58" y="92"/>
                    </a:lnTo>
                    <a:lnTo>
                      <a:pt x="57" y="93"/>
                    </a:lnTo>
                    <a:lnTo>
                      <a:pt x="55" y="93"/>
                    </a:lnTo>
                    <a:lnTo>
                      <a:pt x="53" y="92"/>
                    </a:lnTo>
                    <a:lnTo>
                      <a:pt x="50" y="92"/>
                    </a:lnTo>
                    <a:lnTo>
                      <a:pt x="49" y="92"/>
                    </a:lnTo>
                    <a:lnTo>
                      <a:pt x="45" y="90"/>
                    </a:lnTo>
                    <a:lnTo>
                      <a:pt x="42" y="92"/>
                    </a:lnTo>
                    <a:lnTo>
                      <a:pt x="39" y="93"/>
                    </a:lnTo>
                    <a:lnTo>
                      <a:pt x="36" y="93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4" y="88"/>
                    </a:lnTo>
                    <a:lnTo>
                      <a:pt x="32" y="88"/>
                    </a:lnTo>
                    <a:lnTo>
                      <a:pt x="29" y="88"/>
                    </a:lnTo>
                    <a:lnTo>
                      <a:pt x="26" y="85"/>
                    </a:lnTo>
                    <a:lnTo>
                      <a:pt x="22" y="85"/>
                    </a:lnTo>
                    <a:lnTo>
                      <a:pt x="14" y="87"/>
                    </a:lnTo>
                    <a:lnTo>
                      <a:pt x="13" y="85"/>
                    </a:lnTo>
                    <a:lnTo>
                      <a:pt x="8" y="82"/>
                    </a:lnTo>
                    <a:lnTo>
                      <a:pt x="6" y="80"/>
                    </a:lnTo>
                    <a:lnTo>
                      <a:pt x="1" y="74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3" y="57"/>
                    </a:lnTo>
                    <a:lnTo>
                      <a:pt x="3" y="56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3" y="41"/>
                    </a:lnTo>
                    <a:lnTo>
                      <a:pt x="1" y="36"/>
                    </a:lnTo>
                    <a:lnTo>
                      <a:pt x="3" y="33"/>
                    </a:lnTo>
                    <a:lnTo>
                      <a:pt x="3" y="30"/>
                    </a:lnTo>
                    <a:lnTo>
                      <a:pt x="4" y="28"/>
                    </a:lnTo>
                    <a:lnTo>
                      <a:pt x="4" y="20"/>
                    </a:lnTo>
                    <a:lnTo>
                      <a:pt x="3" y="18"/>
                    </a:lnTo>
                    <a:lnTo>
                      <a:pt x="4" y="15"/>
                    </a:lnTo>
                    <a:lnTo>
                      <a:pt x="3" y="10"/>
                    </a:lnTo>
                    <a:lnTo>
                      <a:pt x="6" y="7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xmlns="" id="{CB2603E0-7C5C-447A-AE02-F224A6C2E5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86" y="2428"/>
                <a:ext cx="253" cy="670"/>
              </a:xfrm>
              <a:custGeom>
                <a:avLst/>
                <a:gdLst>
                  <a:gd name="T0" fmla="*/ 65 w 253"/>
                  <a:gd name="T1" fmla="*/ 2 h 670"/>
                  <a:gd name="T2" fmla="*/ 82 w 253"/>
                  <a:gd name="T3" fmla="*/ 10 h 670"/>
                  <a:gd name="T4" fmla="*/ 114 w 253"/>
                  <a:gd name="T5" fmla="*/ 8 h 670"/>
                  <a:gd name="T6" fmla="*/ 157 w 253"/>
                  <a:gd name="T7" fmla="*/ 39 h 670"/>
                  <a:gd name="T8" fmla="*/ 186 w 253"/>
                  <a:gd name="T9" fmla="*/ 70 h 670"/>
                  <a:gd name="T10" fmla="*/ 190 w 253"/>
                  <a:gd name="T11" fmla="*/ 92 h 670"/>
                  <a:gd name="T12" fmla="*/ 221 w 253"/>
                  <a:gd name="T13" fmla="*/ 95 h 670"/>
                  <a:gd name="T14" fmla="*/ 239 w 253"/>
                  <a:gd name="T15" fmla="*/ 65 h 670"/>
                  <a:gd name="T16" fmla="*/ 253 w 253"/>
                  <a:gd name="T17" fmla="*/ 87 h 670"/>
                  <a:gd name="T18" fmla="*/ 234 w 253"/>
                  <a:gd name="T19" fmla="*/ 100 h 670"/>
                  <a:gd name="T20" fmla="*/ 212 w 253"/>
                  <a:gd name="T21" fmla="*/ 119 h 670"/>
                  <a:gd name="T22" fmla="*/ 199 w 253"/>
                  <a:gd name="T23" fmla="*/ 142 h 670"/>
                  <a:gd name="T24" fmla="*/ 193 w 253"/>
                  <a:gd name="T25" fmla="*/ 172 h 670"/>
                  <a:gd name="T26" fmla="*/ 190 w 253"/>
                  <a:gd name="T27" fmla="*/ 203 h 670"/>
                  <a:gd name="T28" fmla="*/ 191 w 253"/>
                  <a:gd name="T29" fmla="*/ 222 h 670"/>
                  <a:gd name="T30" fmla="*/ 211 w 253"/>
                  <a:gd name="T31" fmla="*/ 255 h 670"/>
                  <a:gd name="T32" fmla="*/ 224 w 253"/>
                  <a:gd name="T33" fmla="*/ 271 h 670"/>
                  <a:gd name="T34" fmla="*/ 216 w 253"/>
                  <a:gd name="T35" fmla="*/ 294 h 670"/>
                  <a:gd name="T36" fmla="*/ 170 w 253"/>
                  <a:gd name="T37" fmla="*/ 314 h 670"/>
                  <a:gd name="T38" fmla="*/ 144 w 253"/>
                  <a:gd name="T39" fmla="*/ 309 h 670"/>
                  <a:gd name="T40" fmla="*/ 149 w 253"/>
                  <a:gd name="T41" fmla="*/ 328 h 670"/>
                  <a:gd name="T42" fmla="*/ 150 w 253"/>
                  <a:gd name="T43" fmla="*/ 343 h 670"/>
                  <a:gd name="T44" fmla="*/ 131 w 253"/>
                  <a:gd name="T45" fmla="*/ 361 h 670"/>
                  <a:gd name="T46" fmla="*/ 105 w 253"/>
                  <a:gd name="T47" fmla="*/ 355 h 670"/>
                  <a:gd name="T48" fmla="*/ 121 w 253"/>
                  <a:gd name="T49" fmla="*/ 382 h 670"/>
                  <a:gd name="T50" fmla="*/ 123 w 253"/>
                  <a:gd name="T51" fmla="*/ 379 h 670"/>
                  <a:gd name="T52" fmla="*/ 136 w 253"/>
                  <a:gd name="T53" fmla="*/ 391 h 670"/>
                  <a:gd name="T54" fmla="*/ 116 w 253"/>
                  <a:gd name="T55" fmla="*/ 391 h 670"/>
                  <a:gd name="T56" fmla="*/ 114 w 253"/>
                  <a:gd name="T57" fmla="*/ 404 h 670"/>
                  <a:gd name="T58" fmla="*/ 111 w 253"/>
                  <a:gd name="T59" fmla="*/ 423 h 670"/>
                  <a:gd name="T60" fmla="*/ 113 w 253"/>
                  <a:gd name="T61" fmla="*/ 441 h 670"/>
                  <a:gd name="T62" fmla="*/ 92 w 253"/>
                  <a:gd name="T63" fmla="*/ 451 h 670"/>
                  <a:gd name="T64" fmla="*/ 88 w 253"/>
                  <a:gd name="T65" fmla="*/ 475 h 670"/>
                  <a:gd name="T66" fmla="*/ 118 w 253"/>
                  <a:gd name="T67" fmla="*/ 489 h 670"/>
                  <a:gd name="T68" fmla="*/ 121 w 253"/>
                  <a:gd name="T69" fmla="*/ 505 h 670"/>
                  <a:gd name="T70" fmla="*/ 110 w 253"/>
                  <a:gd name="T71" fmla="*/ 520 h 670"/>
                  <a:gd name="T72" fmla="*/ 98 w 253"/>
                  <a:gd name="T73" fmla="*/ 538 h 670"/>
                  <a:gd name="T74" fmla="*/ 90 w 253"/>
                  <a:gd name="T75" fmla="*/ 552 h 670"/>
                  <a:gd name="T76" fmla="*/ 83 w 253"/>
                  <a:gd name="T77" fmla="*/ 572 h 670"/>
                  <a:gd name="T78" fmla="*/ 90 w 253"/>
                  <a:gd name="T79" fmla="*/ 591 h 670"/>
                  <a:gd name="T80" fmla="*/ 93 w 253"/>
                  <a:gd name="T81" fmla="*/ 601 h 670"/>
                  <a:gd name="T82" fmla="*/ 43 w 253"/>
                  <a:gd name="T83" fmla="*/ 587 h 670"/>
                  <a:gd name="T84" fmla="*/ 16 w 253"/>
                  <a:gd name="T85" fmla="*/ 562 h 670"/>
                  <a:gd name="T86" fmla="*/ 26 w 253"/>
                  <a:gd name="T87" fmla="*/ 500 h 670"/>
                  <a:gd name="T88" fmla="*/ 25 w 253"/>
                  <a:gd name="T89" fmla="*/ 459 h 670"/>
                  <a:gd name="T90" fmla="*/ 15 w 253"/>
                  <a:gd name="T91" fmla="*/ 438 h 670"/>
                  <a:gd name="T92" fmla="*/ 13 w 253"/>
                  <a:gd name="T93" fmla="*/ 417 h 670"/>
                  <a:gd name="T94" fmla="*/ 8 w 253"/>
                  <a:gd name="T95" fmla="*/ 377 h 670"/>
                  <a:gd name="T96" fmla="*/ 8 w 253"/>
                  <a:gd name="T97" fmla="*/ 319 h 670"/>
                  <a:gd name="T98" fmla="*/ 13 w 253"/>
                  <a:gd name="T99" fmla="*/ 261 h 670"/>
                  <a:gd name="T100" fmla="*/ 16 w 253"/>
                  <a:gd name="T101" fmla="*/ 222 h 670"/>
                  <a:gd name="T102" fmla="*/ 0 w 253"/>
                  <a:gd name="T103" fmla="*/ 172 h 670"/>
                  <a:gd name="T104" fmla="*/ 7 w 253"/>
                  <a:gd name="T105" fmla="*/ 127 h 670"/>
                  <a:gd name="T106" fmla="*/ 23 w 253"/>
                  <a:gd name="T107" fmla="*/ 85 h 670"/>
                  <a:gd name="T108" fmla="*/ 21 w 253"/>
                  <a:gd name="T109" fmla="*/ 59 h 670"/>
                  <a:gd name="T110" fmla="*/ 168 w 253"/>
                  <a:gd name="T111" fmla="*/ 662 h 670"/>
                  <a:gd name="T112" fmla="*/ 168 w 253"/>
                  <a:gd name="T113" fmla="*/ 662 h 670"/>
                  <a:gd name="T114" fmla="*/ 103 w 253"/>
                  <a:gd name="T115" fmla="*/ 626 h 670"/>
                  <a:gd name="T116" fmla="*/ 113 w 253"/>
                  <a:gd name="T117" fmla="*/ 639 h 670"/>
                  <a:gd name="T118" fmla="*/ 147 w 253"/>
                  <a:gd name="T119" fmla="*/ 658 h 670"/>
                  <a:gd name="T120" fmla="*/ 150 w 253"/>
                  <a:gd name="T121" fmla="*/ 667 h 670"/>
                  <a:gd name="T122" fmla="*/ 114 w 253"/>
                  <a:gd name="T123" fmla="*/ 668 h 670"/>
                  <a:gd name="T124" fmla="*/ 116 w 253"/>
                  <a:gd name="T125" fmla="*/ 658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3" h="670">
                    <a:moveTo>
                      <a:pt x="39" y="16"/>
                    </a:moveTo>
                    <a:lnTo>
                      <a:pt x="41" y="13"/>
                    </a:lnTo>
                    <a:lnTo>
                      <a:pt x="44" y="7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7" y="3"/>
                    </a:lnTo>
                    <a:lnTo>
                      <a:pt x="62" y="2"/>
                    </a:lnTo>
                    <a:lnTo>
                      <a:pt x="65" y="2"/>
                    </a:lnTo>
                    <a:lnTo>
                      <a:pt x="69" y="3"/>
                    </a:lnTo>
                    <a:lnTo>
                      <a:pt x="74" y="2"/>
                    </a:lnTo>
                    <a:lnTo>
                      <a:pt x="77" y="2"/>
                    </a:lnTo>
                    <a:lnTo>
                      <a:pt x="79" y="7"/>
                    </a:lnTo>
                    <a:lnTo>
                      <a:pt x="80" y="13"/>
                    </a:lnTo>
                    <a:lnTo>
                      <a:pt x="82" y="15"/>
                    </a:lnTo>
                    <a:lnTo>
                      <a:pt x="83" y="13"/>
                    </a:lnTo>
                    <a:lnTo>
                      <a:pt x="82" y="10"/>
                    </a:lnTo>
                    <a:lnTo>
                      <a:pt x="85" y="7"/>
                    </a:lnTo>
                    <a:lnTo>
                      <a:pt x="85" y="3"/>
                    </a:lnTo>
                    <a:lnTo>
                      <a:pt x="87" y="0"/>
                    </a:lnTo>
                    <a:lnTo>
                      <a:pt x="96" y="0"/>
                    </a:lnTo>
                    <a:lnTo>
                      <a:pt x="105" y="0"/>
                    </a:lnTo>
                    <a:lnTo>
                      <a:pt x="108" y="3"/>
                    </a:lnTo>
                    <a:lnTo>
                      <a:pt x="111" y="8"/>
                    </a:lnTo>
                    <a:lnTo>
                      <a:pt x="114" y="8"/>
                    </a:lnTo>
                    <a:lnTo>
                      <a:pt x="118" y="15"/>
                    </a:lnTo>
                    <a:lnTo>
                      <a:pt x="128" y="26"/>
                    </a:lnTo>
                    <a:lnTo>
                      <a:pt x="131" y="26"/>
                    </a:lnTo>
                    <a:lnTo>
                      <a:pt x="136" y="29"/>
                    </a:lnTo>
                    <a:lnTo>
                      <a:pt x="137" y="34"/>
                    </a:lnTo>
                    <a:lnTo>
                      <a:pt x="147" y="36"/>
                    </a:lnTo>
                    <a:lnTo>
                      <a:pt x="154" y="39"/>
                    </a:lnTo>
                    <a:lnTo>
                      <a:pt x="157" y="39"/>
                    </a:lnTo>
                    <a:lnTo>
                      <a:pt x="163" y="46"/>
                    </a:lnTo>
                    <a:lnTo>
                      <a:pt x="170" y="49"/>
                    </a:lnTo>
                    <a:lnTo>
                      <a:pt x="180" y="51"/>
                    </a:lnTo>
                    <a:lnTo>
                      <a:pt x="183" y="56"/>
                    </a:lnTo>
                    <a:lnTo>
                      <a:pt x="188" y="59"/>
                    </a:lnTo>
                    <a:lnTo>
                      <a:pt x="190" y="64"/>
                    </a:lnTo>
                    <a:lnTo>
                      <a:pt x="190" y="67"/>
                    </a:lnTo>
                    <a:lnTo>
                      <a:pt x="186" y="70"/>
                    </a:lnTo>
                    <a:lnTo>
                      <a:pt x="185" y="72"/>
                    </a:lnTo>
                    <a:lnTo>
                      <a:pt x="183" y="75"/>
                    </a:lnTo>
                    <a:lnTo>
                      <a:pt x="183" y="78"/>
                    </a:lnTo>
                    <a:lnTo>
                      <a:pt x="181" y="85"/>
                    </a:lnTo>
                    <a:lnTo>
                      <a:pt x="177" y="90"/>
                    </a:lnTo>
                    <a:lnTo>
                      <a:pt x="175" y="93"/>
                    </a:lnTo>
                    <a:lnTo>
                      <a:pt x="178" y="93"/>
                    </a:lnTo>
                    <a:lnTo>
                      <a:pt x="190" y="92"/>
                    </a:lnTo>
                    <a:lnTo>
                      <a:pt x="199" y="95"/>
                    </a:lnTo>
                    <a:lnTo>
                      <a:pt x="206" y="100"/>
                    </a:lnTo>
                    <a:lnTo>
                      <a:pt x="209" y="98"/>
                    </a:lnTo>
                    <a:lnTo>
                      <a:pt x="211" y="98"/>
                    </a:lnTo>
                    <a:lnTo>
                      <a:pt x="212" y="100"/>
                    </a:lnTo>
                    <a:lnTo>
                      <a:pt x="216" y="95"/>
                    </a:lnTo>
                    <a:lnTo>
                      <a:pt x="217" y="95"/>
                    </a:lnTo>
                    <a:lnTo>
                      <a:pt x="221" y="95"/>
                    </a:lnTo>
                    <a:lnTo>
                      <a:pt x="224" y="92"/>
                    </a:lnTo>
                    <a:lnTo>
                      <a:pt x="226" y="87"/>
                    </a:lnTo>
                    <a:lnTo>
                      <a:pt x="232" y="82"/>
                    </a:lnTo>
                    <a:lnTo>
                      <a:pt x="234" y="78"/>
                    </a:lnTo>
                    <a:lnTo>
                      <a:pt x="235" y="75"/>
                    </a:lnTo>
                    <a:lnTo>
                      <a:pt x="239" y="72"/>
                    </a:lnTo>
                    <a:lnTo>
                      <a:pt x="239" y="67"/>
                    </a:lnTo>
                    <a:lnTo>
                      <a:pt x="239" y="65"/>
                    </a:lnTo>
                    <a:lnTo>
                      <a:pt x="239" y="60"/>
                    </a:lnTo>
                    <a:lnTo>
                      <a:pt x="242" y="57"/>
                    </a:lnTo>
                    <a:lnTo>
                      <a:pt x="248" y="59"/>
                    </a:lnTo>
                    <a:lnTo>
                      <a:pt x="250" y="62"/>
                    </a:lnTo>
                    <a:lnTo>
                      <a:pt x="252" y="69"/>
                    </a:lnTo>
                    <a:lnTo>
                      <a:pt x="252" y="74"/>
                    </a:lnTo>
                    <a:lnTo>
                      <a:pt x="253" y="80"/>
                    </a:lnTo>
                    <a:lnTo>
                      <a:pt x="253" y="87"/>
                    </a:lnTo>
                    <a:lnTo>
                      <a:pt x="252" y="88"/>
                    </a:lnTo>
                    <a:lnTo>
                      <a:pt x="248" y="88"/>
                    </a:lnTo>
                    <a:lnTo>
                      <a:pt x="245" y="92"/>
                    </a:lnTo>
                    <a:lnTo>
                      <a:pt x="245" y="92"/>
                    </a:lnTo>
                    <a:lnTo>
                      <a:pt x="242" y="95"/>
                    </a:lnTo>
                    <a:lnTo>
                      <a:pt x="242" y="93"/>
                    </a:lnTo>
                    <a:lnTo>
                      <a:pt x="235" y="98"/>
                    </a:lnTo>
                    <a:lnTo>
                      <a:pt x="234" y="100"/>
                    </a:lnTo>
                    <a:lnTo>
                      <a:pt x="230" y="101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4" y="111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14" y="118"/>
                    </a:lnTo>
                    <a:lnTo>
                      <a:pt x="212" y="119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09" y="126"/>
                    </a:lnTo>
                    <a:lnTo>
                      <a:pt x="206" y="132"/>
                    </a:lnTo>
                    <a:lnTo>
                      <a:pt x="204" y="134"/>
                    </a:lnTo>
                    <a:lnTo>
                      <a:pt x="201" y="139"/>
                    </a:lnTo>
                    <a:lnTo>
                      <a:pt x="201" y="141"/>
                    </a:lnTo>
                    <a:lnTo>
                      <a:pt x="199" y="142"/>
                    </a:lnTo>
                    <a:lnTo>
                      <a:pt x="198" y="144"/>
                    </a:lnTo>
                    <a:lnTo>
                      <a:pt x="196" y="149"/>
                    </a:lnTo>
                    <a:lnTo>
                      <a:pt x="193" y="152"/>
                    </a:lnTo>
                    <a:lnTo>
                      <a:pt x="194" y="157"/>
                    </a:lnTo>
                    <a:lnTo>
                      <a:pt x="193" y="160"/>
                    </a:lnTo>
                    <a:lnTo>
                      <a:pt x="194" y="162"/>
                    </a:lnTo>
                    <a:lnTo>
                      <a:pt x="194" y="170"/>
                    </a:lnTo>
                    <a:lnTo>
                      <a:pt x="193" y="172"/>
                    </a:lnTo>
                    <a:lnTo>
                      <a:pt x="193" y="175"/>
                    </a:lnTo>
                    <a:lnTo>
                      <a:pt x="191" y="178"/>
                    </a:lnTo>
                    <a:lnTo>
                      <a:pt x="193" y="183"/>
                    </a:lnTo>
                    <a:lnTo>
                      <a:pt x="191" y="185"/>
                    </a:lnTo>
                    <a:lnTo>
                      <a:pt x="193" y="193"/>
                    </a:lnTo>
                    <a:lnTo>
                      <a:pt x="193" y="198"/>
                    </a:lnTo>
                    <a:lnTo>
                      <a:pt x="193" y="199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9"/>
                    </a:lnTo>
                    <a:lnTo>
                      <a:pt x="190" y="216"/>
                    </a:lnTo>
                    <a:lnTo>
                      <a:pt x="190" y="217"/>
                    </a:lnTo>
                    <a:lnTo>
                      <a:pt x="191" y="219"/>
                    </a:lnTo>
                    <a:lnTo>
                      <a:pt x="191" y="222"/>
                    </a:lnTo>
                    <a:lnTo>
                      <a:pt x="191" y="224"/>
                    </a:lnTo>
                    <a:lnTo>
                      <a:pt x="191" y="227"/>
                    </a:lnTo>
                    <a:lnTo>
                      <a:pt x="199" y="232"/>
                    </a:lnTo>
                    <a:lnTo>
                      <a:pt x="206" y="234"/>
                    </a:lnTo>
                    <a:lnTo>
                      <a:pt x="214" y="240"/>
                    </a:lnTo>
                    <a:lnTo>
                      <a:pt x="216" y="243"/>
                    </a:lnTo>
                    <a:lnTo>
                      <a:pt x="216" y="247"/>
                    </a:lnTo>
                    <a:lnTo>
                      <a:pt x="211" y="255"/>
                    </a:lnTo>
                    <a:lnTo>
                      <a:pt x="211" y="257"/>
                    </a:lnTo>
                    <a:lnTo>
                      <a:pt x="214" y="261"/>
                    </a:lnTo>
                    <a:lnTo>
                      <a:pt x="217" y="265"/>
                    </a:lnTo>
                    <a:lnTo>
                      <a:pt x="221" y="265"/>
                    </a:lnTo>
                    <a:lnTo>
                      <a:pt x="222" y="261"/>
                    </a:lnTo>
                    <a:lnTo>
                      <a:pt x="224" y="261"/>
                    </a:lnTo>
                    <a:lnTo>
                      <a:pt x="224" y="265"/>
                    </a:lnTo>
                    <a:lnTo>
                      <a:pt x="224" y="271"/>
                    </a:lnTo>
                    <a:lnTo>
                      <a:pt x="224" y="275"/>
                    </a:lnTo>
                    <a:lnTo>
                      <a:pt x="221" y="279"/>
                    </a:lnTo>
                    <a:lnTo>
                      <a:pt x="219" y="286"/>
                    </a:lnTo>
                    <a:lnTo>
                      <a:pt x="219" y="288"/>
                    </a:lnTo>
                    <a:lnTo>
                      <a:pt x="217" y="284"/>
                    </a:lnTo>
                    <a:lnTo>
                      <a:pt x="217" y="286"/>
                    </a:lnTo>
                    <a:lnTo>
                      <a:pt x="216" y="291"/>
                    </a:lnTo>
                    <a:lnTo>
                      <a:pt x="216" y="294"/>
                    </a:lnTo>
                    <a:lnTo>
                      <a:pt x="214" y="297"/>
                    </a:lnTo>
                    <a:lnTo>
                      <a:pt x="206" y="304"/>
                    </a:lnTo>
                    <a:lnTo>
                      <a:pt x="199" y="306"/>
                    </a:lnTo>
                    <a:lnTo>
                      <a:pt x="198" y="304"/>
                    </a:lnTo>
                    <a:lnTo>
                      <a:pt x="198" y="306"/>
                    </a:lnTo>
                    <a:lnTo>
                      <a:pt x="188" y="310"/>
                    </a:lnTo>
                    <a:lnTo>
                      <a:pt x="177" y="314"/>
                    </a:lnTo>
                    <a:lnTo>
                      <a:pt x="170" y="314"/>
                    </a:lnTo>
                    <a:lnTo>
                      <a:pt x="165" y="312"/>
                    </a:lnTo>
                    <a:lnTo>
                      <a:pt x="160" y="314"/>
                    </a:lnTo>
                    <a:lnTo>
                      <a:pt x="157" y="314"/>
                    </a:lnTo>
                    <a:lnTo>
                      <a:pt x="154" y="310"/>
                    </a:lnTo>
                    <a:lnTo>
                      <a:pt x="149" y="310"/>
                    </a:lnTo>
                    <a:lnTo>
                      <a:pt x="147" y="310"/>
                    </a:lnTo>
                    <a:lnTo>
                      <a:pt x="145" y="307"/>
                    </a:lnTo>
                    <a:lnTo>
                      <a:pt x="144" y="309"/>
                    </a:lnTo>
                    <a:lnTo>
                      <a:pt x="144" y="312"/>
                    </a:lnTo>
                    <a:lnTo>
                      <a:pt x="145" y="314"/>
                    </a:lnTo>
                    <a:lnTo>
                      <a:pt x="145" y="319"/>
                    </a:lnTo>
                    <a:lnTo>
                      <a:pt x="147" y="322"/>
                    </a:lnTo>
                    <a:lnTo>
                      <a:pt x="147" y="324"/>
                    </a:lnTo>
                    <a:lnTo>
                      <a:pt x="149" y="324"/>
                    </a:lnTo>
                    <a:lnTo>
                      <a:pt x="150" y="327"/>
                    </a:lnTo>
                    <a:lnTo>
                      <a:pt x="149" y="328"/>
                    </a:lnTo>
                    <a:lnTo>
                      <a:pt x="149" y="328"/>
                    </a:lnTo>
                    <a:lnTo>
                      <a:pt x="149" y="330"/>
                    </a:lnTo>
                    <a:lnTo>
                      <a:pt x="145" y="333"/>
                    </a:lnTo>
                    <a:lnTo>
                      <a:pt x="145" y="333"/>
                    </a:lnTo>
                    <a:lnTo>
                      <a:pt x="145" y="337"/>
                    </a:lnTo>
                    <a:lnTo>
                      <a:pt x="145" y="340"/>
                    </a:lnTo>
                    <a:lnTo>
                      <a:pt x="147" y="343"/>
                    </a:lnTo>
                    <a:lnTo>
                      <a:pt x="150" y="343"/>
                    </a:lnTo>
                    <a:lnTo>
                      <a:pt x="149" y="346"/>
                    </a:lnTo>
                    <a:lnTo>
                      <a:pt x="147" y="348"/>
                    </a:lnTo>
                    <a:lnTo>
                      <a:pt x="149" y="350"/>
                    </a:lnTo>
                    <a:lnTo>
                      <a:pt x="147" y="353"/>
                    </a:lnTo>
                    <a:lnTo>
                      <a:pt x="144" y="356"/>
                    </a:lnTo>
                    <a:lnTo>
                      <a:pt x="145" y="356"/>
                    </a:lnTo>
                    <a:lnTo>
                      <a:pt x="139" y="361"/>
                    </a:lnTo>
                    <a:lnTo>
                      <a:pt x="131" y="361"/>
                    </a:lnTo>
                    <a:lnTo>
                      <a:pt x="126" y="359"/>
                    </a:lnTo>
                    <a:lnTo>
                      <a:pt x="119" y="355"/>
                    </a:lnTo>
                    <a:lnTo>
                      <a:pt x="114" y="353"/>
                    </a:lnTo>
                    <a:lnTo>
                      <a:pt x="111" y="353"/>
                    </a:lnTo>
                    <a:lnTo>
                      <a:pt x="110" y="353"/>
                    </a:lnTo>
                    <a:lnTo>
                      <a:pt x="111" y="351"/>
                    </a:lnTo>
                    <a:lnTo>
                      <a:pt x="108" y="351"/>
                    </a:lnTo>
                    <a:lnTo>
                      <a:pt x="105" y="355"/>
                    </a:lnTo>
                    <a:lnTo>
                      <a:pt x="105" y="359"/>
                    </a:lnTo>
                    <a:lnTo>
                      <a:pt x="108" y="363"/>
                    </a:lnTo>
                    <a:lnTo>
                      <a:pt x="110" y="369"/>
                    </a:lnTo>
                    <a:lnTo>
                      <a:pt x="110" y="376"/>
                    </a:lnTo>
                    <a:lnTo>
                      <a:pt x="111" y="379"/>
                    </a:lnTo>
                    <a:lnTo>
                      <a:pt x="114" y="382"/>
                    </a:lnTo>
                    <a:lnTo>
                      <a:pt x="119" y="381"/>
                    </a:lnTo>
                    <a:lnTo>
                      <a:pt x="121" y="382"/>
                    </a:lnTo>
                    <a:lnTo>
                      <a:pt x="119" y="382"/>
                    </a:lnTo>
                    <a:lnTo>
                      <a:pt x="118" y="384"/>
                    </a:lnTo>
                    <a:lnTo>
                      <a:pt x="119" y="386"/>
                    </a:lnTo>
                    <a:lnTo>
                      <a:pt x="126" y="384"/>
                    </a:lnTo>
                    <a:lnTo>
                      <a:pt x="126" y="382"/>
                    </a:lnTo>
                    <a:lnTo>
                      <a:pt x="123" y="382"/>
                    </a:lnTo>
                    <a:lnTo>
                      <a:pt x="123" y="381"/>
                    </a:lnTo>
                    <a:lnTo>
                      <a:pt x="123" y="379"/>
                    </a:lnTo>
                    <a:lnTo>
                      <a:pt x="126" y="379"/>
                    </a:lnTo>
                    <a:lnTo>
                      <a:pt x="129" y="377"/>
                    </a:lnTo>
                    <a:lnTo>
                      <a:pt x="131" y="377"/>
                    </a:lnTo>
                    <a:lnTo>
                      <a:pt x="134" y="381"/>
                    </a:lnTo>
                    <a:lnTo>
                      <a:pt x="132" y="384"/>
                    </a:lnTo>
                    <a:lnTo>
                      <a:pt x="131" y="386"/>
                    </a:lnTo>
                    <a:lnTo>
                      <a:pt x="134" y="387"/>
                    </a:lnTo>
                    <a:lnTo>
                      <a:pt x="136" y="391"/>
                    </a:lnTo>
                    <a:lnTo>
                      <a:pt x="134" y="394"/>
                    </a:lnTo>
                    <a:lnTo>
                      <a:pt x="128" y="397"/>
                    </a:lnTo>
                    <a:lnTo>
                      <a:pt x="126" y="397"/>
                    </a:lnTo>
                    <a:lnTo>
                      <a:pt x="124" y="394"/>
                    </a:lnTo>
                    <a:lnTo>
                      <a:pt x="124" y="392"/>
                    </a:lnTo>
                    <a:lnTo>
                      <a:pt x="124" y="391"/>
                    </a:lnTo>
                    <a:lnTo>
                      <a:pt x="121" y="389"/>
                    </a:lnTo>
                    <a:lnTo>
                      <a:pt x="116" y="391"/>
                    </a:lnTo>
                    <a:lnTo>
                      <a:pt x="114" y="392"/>
                    </a:lnTo>
                    <a:lnTo>
                      <a:pt x="113" y="394"/>
                    </a:lnTo>
                    <a:lnTo>
                      <a:pt x="114" y="395"/>
                    </a:lnTo>
                    <a:lnTo>
                      <a:pt x="118" y="395"/>
                    </a:lnTo>
                    <a:lnTo>
                      <a:pt x="123" y="397"/>
                    </a:lnTo>
                    <a:lnTo>
                      <a:pt x="123" y="399"/>
                    </a:lnTo>
                    <a:lnTo>
                      <a:pt x="119" y="402"/>
                    </a:lnTo>
                    <a:lnTo>
                      <a:pt x="114" y="404"/>
                    </a:lnTo>
                    <a:lnTo>
                      <a:pt x="113" y="407"/>
                    </a:lnTo>
                    <a:lnTo>
                      <a:pt x="114" y="409"/>
                    </a:lnTo>
                    <a:lnTo>
                      <a:pt x="113" y="410"/>
                    </a:lnTo>
                    <a:lnTo>
                      <a:pt x="110" y="413"/>
                    </a:lnTo>
                    <a:lnTo>
                      <a:pt x="111" y="418"/>
                    </a:lnTo>
                    <a:lnTo>
                      <a:pt x="113" y="420"/>
                    </a:lnTo>
                    <a:lnTo>
                      <a:pt x="113" y="422"/>
                    </a:lnTo>
                    <a:lnTo>
                      <a:pt x="111" y="423"/>
                    </a:lnTo>
                    <a:lnTo>
                      <a:pt x="116" y="428"/>
                    </a:lnTo>
                    <a:lnTo>
                      <a:pt x="114" y="430"/>
                    </a:lnTo>
                    <a:lnTo>
                      <a:pt x="114" y="431"/>
                    </a:lnTo>
                    <a:lnTo>
                      <a:pt x="114" y="433"/>
                    </a:lnTo>
                    <a:lnTo>
                      <a:pt x="110" y="435"/>
                    </a:lnTo>
                    <a:lnTo>
                      <a:pt x="110" y="438"/>
                    </a:lnTo>
                    <a:lnTo>
                      <a:pt x="110" y="440"/>
                    </a:lnTo>
                    <a:lnTo>
                      <a:pt x="113" y="441"/>
                    </a:lnTo>
                    <a:lnTo>
                      <a:pt x="114" y="441"/>
                    </a:lnTo>
                    <a:lnTo>
                      <a:pt x="113" y="443"/>
                    </a:lnTo>
                    <a:lnTo>
                      <a:pt x="108" y="444"/>
                    </a:lnTo>
                    <a:lnTo>
                      <a:pt x="106" y="444"/>
                    </a:lnTo>
                    <a:lnTo>
                      <a:pt x="101" y="444"/>
                    </a:lnTo>
                    <a:lnTo>
                      <a:pt x="98" y="448"/>
                    </a:lnTo>
                    <a:lnTo>
                      <a:pt x="95" y="448"/>
                    </a:lnTo>
                    <a:lnTo>
                      <a:pt x="92" y="451"/>
                    </a:lnTo>
                    <a:lnTo>
                      <a:pt x="90" y="453"/>
                    </a:lnTo>
                    <a:lnTo>
                      <a:pt x="88" y="456"/>
                    </a:lnTo>
                    <a:lnTo>
                      <a:pt x="88" y="459"/>
                    </a:lnTo>
                    <a:lnTo>
                      <a:pt x="83" y="461"/>
                    </a:lnTo>
                    <a:lnTo>
                      <a:pt x="83" y="462"/>
                    </a:lnTo>
                    <a:lnTo>
                      <a:pt x="85" y="466"/>
                    </a:lnTo>
                    <a:lnTo>
                      <a:pt x="85" y="469"/>
                    </a:lnTo>
                    <a:lnTo>
                      <a:pt x="88" y="475"/>
                    </a:lnTo>
                    <a:lnTo>
                      <a:pt x="92" y="477"/>
                    </a:lnTo>
                    <a:lnTo>
                      <a:pt x="95" y="479"/>
                    </a:lnTo>
                    <a:lnTo>
                      <a:pt x="98" y="482"/>
                    </a:lnTo>
                    <a:lnTo>
                      <a:pt x="105" y="489"/>
                    </a:lnTo>
                    <a:lnTo>
                      <a:pt x="110" y="487"/>
                    </a:lnTo>
                    <a:lnTo>
                      <a:pt x="113" y="487"/>
                    </a:lnTo>
                    <a:lnTo>
                      <a:pt x="114" y="487"/>
                    </a:lnTo>
                    <a:lnTo>
                      <a:pt x="118" y="489"/>
                    </a:lnTo>
                    <a:lnTo>
                      <a:pt x="118" y="490"/>
                    </a:lnTo>
                    <a:lnTo>
                      <a:pt x="116" y="490"/>
                    </a:lnTo>
                    <a:lnTo>
                      <a:pt x="116" y="492"/>
                    </a:lnTo>
                    <a:lnTo>
                      <a:pt x="119" y="497"/>
                    </a:lnTo>
                    <a:lnTo>
                      <a:pt x="119" y="498"/>
                    </a:lnTo>
                    <a:lnTo>
                      <a:pt x="116" y="502"/>
                    </a:lnTo>
                    <a:lnTo>
                      <a:pt x="118" y="502"/>
                    </a:lnTo>
                    <a:lnTo>
                      <a:pt x="121" y="505"/>
                    </a:lnTo>
                    <a:lnTo>
                      <a:pt x="119" y="507"/>
                    </a:lnTo>
                    <a:lnTo>
                      <a:pt x="118" y="508"/>
                    </a:lnTo>
                    <a:lnTo>
                      <a:pt x="119" y="510"/>
                    </a:lnTo>
                    <a:lnTo>
                      <a:pt x="116" y="511"/>
                    </a:lnTo>
                    <a:lnTo>
                      <a:pt x="114" y="513"/>
                    </a:lnTo>
                    <a:lnTo>
                      <a:pt x="113" y="516"/>
                    </a:lnTo>
                    <a:lnTo>
                      <a:pt x="111" y="516"/>
                    </a:lnTo>
                    <a:lnTo>
                      <a:pt x="110" y="520"/>
                    </a:lnTo>
                    <a:lnTo>
                      <a:pt x="108" y="523"/>
                    </a:lnTo>
                    <a:lnTo>
                      <a:pt x="105" y="523"/>
                    </a:lnTo>
                    <a:lnTo>
                      <a:pt x="101" y="528"/>
                    </a:lnTo>
                    <a:lnTo>
                      <a:pt x="101" y="531"/>
                    </a:lnTo>
                    <a:lnTo>
                      <a:pt x="100" y="534"/>
                    </a:lnTo>
                    <a:lnTo>
                      <a:pt x="96" y="538"/>
                    </a:lnTo>
                    <a:lnTo>
                      <a:pt x="96" y="539"/>
                    </a:lnTo>
                    <a:lnTo>
                      <a:pt x="98" y="538"/>
                    </a:lnTo>
                    <a:lnTo>
                      <a:pt x="100" y="539"/>
                    </a:lnTo>
                    <a:lnTo>
                      <a:pt x="101" y="544"/>
                    </a:lnTo>
                    <a:lnTo>
                      <a:pt x="100" y="546"/>
                    </a:lnTo>
                    <a:lnTo>
                      <a:pt x="98" y="549"/>
                    </a:lnTo>
                    <a:lnTo>
                      <a:pt x="96" y="552"/>
                    </a:lnTo>
                    <a:lnTo>
                      <a:pt x="93" y="554"/>
                    </a:lnTo>
                    <a:lnTo>
                      <a:pt x="92" y="554"/>
                    </a:lnTo>
                    <a:lnTo>
                      <a:pt x="90" y="552"/>
                    </a:lnTo>
                    <a:lnTo>
                      <a:pt x="87" y="551"/>
                    </a:lnTo>
                    <a:lnTo>
                      <a:pt x="88" y="552"/>
                    </a:lnTo>
                    <a:lnTo>
                      <a:pt x="88" y="556"/>
                    </a:lnTo>
                    <a:lnTo>
                      <a:pt x="90" y="557"/>
                    </a:lnTo>
                    <a:lnTo>
                      <a:pt x="88" y="559"/>
                    </a:lnTo>
                    <a:lnTo>
                      <a:pt x="85" y="562"/>
                    </a:lnTo>
                    <a:lnTo>
                      <a:pt x="83" y="567"/>
                    </a:lnTo>
                    <a:lnTo>
                      <a:pt x="83" y="572"/>
                    </a:lnTo>
                    <a:lnTo>
                      <a:pt x="87" y="577"/>
                    </a:lnTo>
                    <a:lnTo>
                      <a:pt x="88" y="585"/>
                    </a:lnTo>
                    <a:lnTo>
                      <a:pt x="88" y="587"/>
                    </a:lnTo>
                    <a:lnTo>
                      <a:pt x="90" y="588"/>
                    </a:lnTo>
                    <a:lnTo>
                      <a:pt x="90" y="590"/>
                    </a:lnTo>
                    <a:lnTo>
                      <a:pt x="87" y="591"/>
                    </a:lnTo>
                    <a:lnTo>
                      <a:pt x="88" y="593"/>
                    </a:lnTo>
                    <a:lnTo>
                      <a:pt x="90" y="591"/>
                    </a:lnTo>
                    <a:lnTo>
                      <a:pt x="93" y="595"/>
                    </a:lnTo>
                    <a:lnTo>
                      <a:pt x="93" y="598"/>
                    </a:lnTo>
                    <a:lnTo>
                      <a:pt x="100" y="601"/>
                    </a:lnTo>
                    <a:lnTo>
                      <a:pt x="103" y="605"/>
                    </a:lnTo>
                    <a:lnTo>
                      <a:pt x="103" y="608"/>
                    </a:lnTo>
                    <a:lnTo>
                      <a:pt x="101" y="606"/>
                    </a:lnTo>
                    <a:lnTo>
                      <a:pt x="98" y="605"/>
                    </a:lnTo>
                    <a:lnTo>
                      <a:pt x="93" y="601"/>
                    </a:lnTo>
                    <a:lnTo>
                      <a:pt x="90" y="601"/>
                    </a:lnTo>
                    <a:lnTo>
                      <a:pt x="88" y="600"/>
                    </a:lnTo>
                    <a:lnTo>
                      <a:pt x="69" y="600"/>
                    </a:lnTo>
                    <a:lnTo>
                      <a:pt x="57" y="601"/>
                    </a:lnTo>
                    <a:lnTo>
                      <a:pt x="54" y="600"/>
                    </a:lnTo>
                    <a:lnTo>
                      <a:pt x="48" y="600"/>
                    </a:lnTo>
                    <a:lnTo>
                      <a:pt x="44" y="593"/>
                    </a:lnTo>
                    <a:lnTo>
                      <a:pt x="43" y="587"/>
                    </a:lnTo>
                    <a:lnTo>
                      <a:pt x="39" y="583"/>
                    </a:lnTo>
                    <a:lnTo>
                      <a:pt x="38" y="574"/>
                    </a:lnTo>
                    <a:lnTo>
                      <a:pt x="38" y="570"/>
                    </a:lnTo>
                    <a:lnTo>
                      <a:pt x="34" y="570"/>
                    </a:lnTo>
                    <a:lnTo>
                      <a:pt x="30" y="572"/>
                    </a:lnTo>
                    <a:lnTo>
                      <a:pt x="26" y="575"/>
                    </a:lnTo>
                    <a:lnTo>
                      <a:pt x="23" y="575"/>
                    </a:lnTo>
                    <a:lnTo>
                      <a:pt x="16" y="562"/>
                    </a:lnTo>
                    <a:lnTo>
                      <a:pt x="16" y="556"/>
                    </a:lnTo>
                    <a:lnTo>
                      <a:pt x="18" y="542"/>
                    </a:lnTo>
                    <a:lnTo>
                      <a:pt x="21" y="538"/>
                    </a:lnTo>
                    <a:lnTo>
                      <a:pt x="26" y="531"/>
                    </a:lnTo>
                    <a:lnTo>
                      <a:pt x="28" y="523"/>
                    </a:lnTo>
                    <a:lnTo>
                      <a:pt x="26" y="515"/>
                    </a:lnTo>
                    <a:lnTo>
                      <a:pt x="25" y="508"/>
                    </a:lnTo>
                    <a:lnTo>
                      <a:pt x="26" y="500"/>
                    </a:lnTo>
                    <a:lnTo>
                      <a:pt x="30" y="497"/>
                    </a:lnTo>
                    <a:lnTo>
                      <a:pt x="26" y="489"/>
                    </a:lnTo>
                    <a:lnTo>
                      <a:pt x="26" y="485"/>
                    </a:lnTo>
                    <a:lnTo>
                      <a:pt x="30" y="482"/>
                    </a:lnTo>
                    <a:lnTo>
                      <a:pt x="28" y="475"/>
                    </a:lnTo>
                    <a:lnTo>
                      <a:pt x="26" y="467"/>
                    </a:lnTo>
                    <a:lnTo>
                      <a:pt x="25" y="462"/>
                    </a:lnTo>
                    <a:lnTo>
                      <a:pt x="25" y="459"/>
                    </a:lnTo>
                    <a:lnTo>
                      <a:pt x="28" y="456"/>
                    </a:lnTo>
                    <a:lnTo>
                      <a:pt x="28" y="453"/>
                    </a:lnTo>
                    <a:lnTo>
                      <a:pt x="25" y="446"/>
                    </a:lnTo>
                    <a:lnTo>
                      <a:pt x="20" y="443"/>
                    </a:lnTo>
                    <a:lnTo>
                      <a:pt x="16" y="443"/>
                    </a:lnTo>
                    <a:lnTo>
                      <a:pt x="15" y="443"/>
                    </a:lnTo>
                    <a:lnTo>
                      <a:pt x="13" y="441"/>
                    </a:lnTo>
                    <a:lnTo>
                      <a:pt x="15" y="438"/>
                    </a:lnTo>
                    <a:lnTo>
                      <a:pt x="21" y="438"/>
                    </a:lnTo>
                    <a:lnTo>
                      <a:pt x="26" y="435"/>
                    </a:lnTo>
                    <a:lnTo>
                      <a:pt x="25" y="430"/>
                    </a:lnTo>
                    <a:lnTo>
                      <a:pt x="23" y="430"/>
                    </a:lnTo>
                    <a:lnTo>
                      <a:pt x="21" y="431"/>
                    </a:lnTo>
                    <a:lnTo>
                      <a:pt x="18" y="431"/>
                    </a:lnTo>
                    <a:lnTo>
                      <a:pt x="16" y="423"/>
                    </a:lnTo>
                    <a:lnTo>
                      <a:pt x="13" y="417"/>
                    </a:lnTo>
                    <a:lnTo>
                      <a:pt x="13" y="412"/>
                    </a:lnTo>
                    <a:lnTo>
                      <a:pt x="13" y="407"/>
                    </a:lnTo>
                    <a:lnTo>
                      <a:pt x="8" y="405"/>
                    </a:lnTo>
                    <a:lnTo>
                      <a:pt x="7" y="400"/>
                    </a:lnTo>
                    <a:lnTo>
                      <a:pt x="7" y="387"/>
                    </a:lnTo>
                    <a:lnTo>
                      <a:pt x="10" y="386"/>
                    </a:lnTo>
                    <a:lnTo>
                      <a:pt x="10" y="381"/>
                    </a:lnTo>
                    <a:lnTo>
                      <a:pt x="8" y="377"/>
                    </a:lnTo>
                    <a:lnTo>
                      <a:pt x="7" y="376"/>
                    </a:lnTo>
                    <a:lnTo>
                      <a:pt x="5" y="369"/>
                    </a:lnTo>
                    <a:lnTo>
                      <a:pt x="3" y="358"/>
                    </a:lnTo>
                    <a:lnTo>
                      <a:pt x="5" y="346"/>
                    </a:lnTo>
                    <a:lnTo>
                      <a:pt x="2" y="342"/>
                    </a:lnTo>
                    <a:lnTo>
                      <a:pt x="2" y="335"/>
                    </a:lnTo>
                    <a:lnTo>
                      <a:pt x="7" y="327"/>
                    </a:lnTo>
                    <a:lnTo>
                      <a:pt x="8" y="319"/>
                    </a:lnTo>
                    <a:lnTo>
                      <a:pt x="13" y="317"/>
                    </a:lnTo>
                    <a:lnTo>
                      <a:pt x="15" y="314"/>
                    </a:lnTo>
                    <a:lnTo>
                      <a:pt x="5" y="294"/>
                    </a:lnTo>
                    <a:lnTo>
                      <a:pt x="7" y="289"/>
                    </a:lnTo>
                    <a:lnTo>
                      <a:pt x="7" y="284"/>
                    </a:lnTo>
                    <a:lnTo>
                      <a:pt x="7" y="273"/>
                    </a:lnTo>
                    <a:lnTo>
                      <a:pt x="10" y="266"/>
                    </a:lnTo>
                    <a:lnTo>
                      <a:pt x="13" y="261"/>
                    </a:lnTo>
                    <a:lnTo>
                      <a:pt x="13" y="257"/>
                    </a:lnTo>
                    <a:lnTo>
                      <a:pt x="10" y="250"/>
                    </a:lnTo>
                    <a:lnTo>
                      <a:pt x="7" y="248"/>
                    </a:lnTo>
                    <a:lnTo>
                      <a:pt x="12" y="243"/>
                    </a:lnTo>
                    <a:lnTo>
                      <a:pt x="10" y="237"/>
                    </a:lnTo>
                    <a:lnTo>
                      <a:pt x="13" y="230"/>
                    </a:lnTo>
                    <a:lnTo>
                      <a:pt x="15" y="229"/>
                    </a:lnTo>
                    <a:lnTo>
                      <a:pt x="16" y="222"/>
                    </a:lnTo>
                    <a:lnTo>
                      <a:pt x="15" y="209"/>
                    </a:lnTo>
                    <a:lnTo>
                      <a:pt x="13" y="208"/>
                    </a:lnTo>
                    <a:lnTo>
                      <a:pt x="12" y="198"/>
                    </a:lnTo>
                    <a:lnTo>
                      <a:pt x="8" y="193"/>
                    </a:lnTo>
                    <a:lnTo>
                      <a:pt x="5" y="186"/>
                    </a:lnTo>
                    <a:lnTo>
                      <a:pt x="3" y="183"/>
                    </a:lnTo>
                    <a:lnTo>
                      <a:pt x="2" y="180"/>
                    </a:lnTo>
                    <a:lnTo>
                      <a:pt x="0" y="172"/>
                    </a:lnTo>
                    <a:lnTo>
                      <a:pt x="0" y="165"/>
                    </a:lnTo>
                    <a:lnTo>
                      <a:pt x="5" y="163"/>
                    </a:lnTo>
                    <a:lnTo>
                      <a:pt x="5" y="155"/>
                    </a:lnTo>
                    <a:lnTo>
                      <a:pt x="7" y="152"/>
                    </a:lnTo>
                    <a:lnTo>
                      <a:pt x="8" y="145"/>
                    </a:lnTo>
                    <a:lnTo>
                      <a:pt x="5" y="139"/>
                    </a:lnTo>
                    <a:lnTo>
                      <a:pt x="5" y="129"/>
                    </a:lnTo>
                    <a:lnTo>
                      <a:pt x="7" y="127"/>
                    </a:lnTo>
                    <a:lnTo>
                      <a:pt x="8" y="116"/>
                    </a:lnTo>
                    <a:lnTo>
                      <a:pt x="10" y="111"/>
                    </a:lnTo>
                    <a:lnTo>
                      <a:pt x="15" y="100"/>
                    </a:lnTo>
                    <a:lnTo>
                      <a:pt x="20" y="96"/>
                    </a:lnTo>
                    <a:lnTo>
                      <a:pt x="21" y="95"/>
                    </a:lnTo>
                    <a:lnTo>
                      <a:pt x="25" y="92"/>
                    </a:lnTo>
                    <a:lnTo>
                      <a:pt x="23" y="90"/>
                    </a:lnTo>
                    <a:lnTo>
                      <a:pt x="23" y="85"/>
                    </a:lnTo>
                    <a:lnTo>
                      <a:pt x="21" y="83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8" y="62"/>
                    </a:lnTo>
                    <a:lnTo>
                      <a:pt x="21" y="59"/>
                    </a:lnTo>
                    <a:lnTo>
                      <a:pt x="20" y="56"/>
                    </a:lnTo>
                    <a:lnTo>
                      <a:pt x="16" y="52"/>
                    </a:lnTo>
                    <a:lnTo>
                      <a:pt x="18" y="49"/>
                    </a:lnTo>
                    <a:lnTo>
                      <a:pt x="36" y="38"/>
                    </a:lnTo>
                    <a:lnTo>
                      <a:pt x="41" y="20"/>
                    </a:lnTo>
                    <a:lnTo>
                      <a:pt x="39" y="16"/>
                    </a:lnTo>
                    <a:lnTo>
                      <a:pt x="39" y="16"/>
                    </a:lnTo>
                    <a:close/>
                    <a:moveTo>
                      <a:pt x="168" y="662"/>
                    </a:moveTo>
                    <a:lnTo>
                      <a:pt x="172" y="665"/>
                    </a:lnTo>
                    <a:lnTo>
                      <a:pt x="175" y="662"/>
                    </a:lnTo>
                    <a:lnTo>
                      <a:pt x="178" y="662"/>
                    </a:lnTo>
                    <a:lnTo>
                      <a:pt x="181" y="658"/>
                    </a:lnTo>
                    <a:lnTo>
                      <a:pt x="177" y="658"/>
                    </a:lnTo>
                    <a:lnTo>
                      <a:pt x="175" y="660"/>
                    </a:lnTo>
                    <a:lnTo>
                      <a:pt x="170" y="660"/>
                    </a:lnTo>
                    <a:lnTo>
                      <a:pt x="168" y="662"/>
                    </a:lnTo>
                    <a:lnTo>
                      <a:pt x="168" y="662"/>
                    </a:lnTo>
                    <a:close/>
                    <a:moveTo>
                      <a:pt x="98" y="611"/>
                    </a:moveTo>
                    <a:lnTo>
                      <a:pt x="98" y="611"/>
                    </a:lnTo>
                    <a:lnTo>
                      <a:pt x="101" y="614"/>
                    </a:lnTo>
                    <a:lnTo>
                      <a:pt x="106" y="619"/>
                    </a:lnTo>
                    <a:lnTo>
                      <a:pt x="108" y="627"/>
                    </a:lnTo>
                    <a:lnTo>
                      <a:pt x="106" y="626"/>
                    </a:lnTo>
                    <a:lnTo>
                      <a:pt x="103" y="626"/>
                    </a:lnTo>
                    <a:lnTo>
                      <a:pt x="103" y="629"/>
                    </a:lnTo>
                    <a:lnTo>
                      <a:pt x="98" y="611"/>
                    </a:lnTo>
                    <a:lnTo>
                      <a:pt x="98" y="611"/>
                    </a:lnTo>
                    <a:close/>
                    <a:moveTo>
                      <a:pt x="103" y="629"/>
                    </a:moveTo>
                    <a:lnTo>
                      <a:pt x="106" y="631"/>
                    </a:lnTo>
                    <a:lnTo>
                      <a:pt x="110" y="631"/>
                    </a:lnTo>
                    <a:lnTo>
                      <a:pt x="111" y="634"/>
                    </a:lnTo>
                    <a:lnTo>
                      <a:pt x="113" y="639"/>
                    </a:lnTo>
                    <a:lnTo>
                      <a:pt x="118" y="639"/>
                    </a:lnTo>
                    <a:lnTo>
                      <a:pt x="121" y="642"/>
                    </a:lnTo>
                    <a:lnTo>
                      <a:pt x="123" y="647"/>
                    </a:lnTo>
                    <a:lnTo>
                      <a:pt x="126" y="647"/>
                    </a:lnTo>
                    <a:lnTo>
                      <a:pt x="137" y="652"/>
                    </a:lnTo>
                    <a:lnTo>
                      <a:pt x="139" y="654"/>
                    </a:lnTo>
                    <a:lnTo>
                      <a:pt x="144" y="655"/>
                    </a:lnTo>
                    <a:lnTo>
                      <a:pt x="147" y="658"/>
                    </a:lnTo>
                    <a:lnTo>
                      <a:pt x="150" y="658"/>
                    </a:lnTo>
                    <a:lnTo>
                      <a:pt x="157" y="657"/>
                    </a:lnTo>
                    <a:lnTo>
                      <a:pt x="159" y="658"/>
                    </a:lnTo>
                    <a:lnTo>
                      <a:pt x="160" y="662"/>
                    </a:lnTo>
                    <a:lnTo>
                      <a:pt x="155" y="663"/>
                    </a:lnTo>
                    <a:lnTo>
                      <a:pt x="154" y="662"/>
                    </a:lnTo>
                    <a:lnTo>
                      <a:pt x="150" y="663"/>
                    </a:lnTo>
                    <a:lnTo>
                      <a:pt x="150" y="667"/>
                    </a:lnTo>
                    <a:lnTo>
                      <a:pt x="147" y="670"/>
                    </a:lnTo>
                    <a:lnTo>
                      <a:pt x="144" y="670"/>
                    </a:lnTo>
                    <a:lnTo>
                      <a:pt x="141" y="668"/>
                    </a:lnTo>
                    <a:lnTo>
                      <a:pt x="137" y="667"/>
                    </a:lnTo>
                    <a:lnTo>
                      <a:pt x="131" y="667"/>
                    </a:lnTo>
                    <a:lnTo>
                      <a:pt x="126" y="667"/>
                    </a:lnTo>
                    <a:lnTo>
                      <a:pt x="119" y="667"/>
                    </a:lnTo>
                    <a:lnTo>
                      <a:pt x="114" y="668"/>
                    </a:lnTo>
                    <a:lnTo>
                      <a:pt x="113" y="668"/>
                    </a:lnTo>
                    <a:lnTo>
                      <a:pt x="111" y="662"/>
                    </a:lnTo>
                    <a:lnTo>
                      <a:pt x="118" y="662"/>
                    </a:lnTo>
                    <a:lnTo>
                      <a:pt x="123" y="660"/>
                    </a:lnTo>
                    <a:lnTo>
                      <a:pt x="124" y="660"/>
                    </a:lnTo>
                    <a:lnTo>
                      <a:pt x="126" y="658"/>
                    </a:lnTo>
                    <a:lnTo>
                      <a:pt x="121" y="658"/>
                    </a:lnTo>
                    <a:lnTo>
                      <a:pt x="116" y="658"/>
                    </a:lnTo>
                    <a:lnTo>
                      <a:pt x="111" y="660"/>
                    </a:lnTo>
                    <a:lnTo>
                      <a:pt x="110" y="660"/>
                    </a:lnTo>
                    <a:lnTo>
                      <a:pt x="103" y="6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xmlns="" id="{FD1358A8-B03F-4B4F-B7CF-434822346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50" y="2353"/>
                <a:ext cx="173" cy="768"/>
              </a:xfrm>
              <a:custGeom>
                <a:avLst/>
                <a:gdLst>
                  <a:gd name="T0" fmla="*/ 72 w 106"/>
                  <a:gd name="T1" fmla="*/ 451 h 470"/>
                  <a:gd name="T2" fmla="*/ 71 w 106"/>
                  <a:gd name="T3" fmla="*/ 456 h 470"/>
                  <a:gd name="T4" fmla="*/ 87 w 106"/>
                  <a:gd name="T5" fmla="*/ 456 h 470"/>
                  <a:gd name="T6" fmla="*/ 72 w 106"/>
                  <a:gd name="T7" fmla="*/ 437 h 470"/>
                  <a:gd name="T8" fmla="*/ 85 w 106"/>
                  <a:gd name="T9" fmla="*/ 431 h 470"/>
                  <a:gd name="T10" fmla="*/ 32 w 106"/>
                  <a:gd name="T11" fmla="*/ 386 h 470"/>
                  <a:gd name="T12" fmla="*/ 31 w 106"/>
                  <a:gd name="T13" fmla="*/ 317 h 470"/>
                  <a:gd name="T14" fmla="*/ 24 w 106"/>
                  <a:gd name="T15" fmla="*/ 265 h 470"/>
                  <a:gd name="T16" fmla="*/ 32 w 106"/>
                  <a:gd name="T17" fmla="*/ 182 h 470"/>
                  <a:gd name="T18" fmla="*/ 35 w 106"/>
                  <a:gd name="T19" fmla="*/ 104 h 470"/>
                  <a:gd name="T20" fmla="*/ 34 w 106"/>
                  <a:gd name="T21" fmla="*/ 38 h 470"/>
                  <a:gd name="T22" fmla="*/ 16 w 106"/>
                  <a:gd name="T23" fmla="*/ 7 h 470"/>
                  <a:gd name="T24" fmla="*/ 11 w 106"/>
                  <a:gd name="T25" fmla="*/ 60 h 470"/>
                  <a:gd name="T26" fmla="*/ 11 w 106"/>
                  <a:gd name="T27" fmla="*/ 115 h 470"/>
                  <a:gd name="T28" fmla="*/ 13 w 106"/>
                  <a:gd name="T29" fmla="*/ 165 h 470"/>
                  <a:gd name="T30" fmla="*/ 9 w 106"/>
                  <a:gd name="T31" fmla="*/ 202 h 470"/>
                  <a:gd name="T32" fmla="*/ 4 w 106"/>
                  <a:gd name="T33" fmla="*/ 232 h 470"/>
                  <a:gd name="T34" fmla="*/ 5 w 106"/>
                  <a:gd name="T35" fmla="*/ 269 h 470"/>
                  <a:gd name="T36" fmla="*/ 22 w 106"/>
                  <a:gd name="T37" fmla="*/ 287 h 470"/>
                  <a:gd name="T38" fmla="*/ 18 w 106"/>
                  <a:gd name="T39" fmla="*/ 308 h 470"/>
                  <a:gd name="T40" fmla="*/ 19 w 106"/>
                  <a:gd name="T41" fmla="*/ 339 h 470"/>
                  <a:gd name="T42" fmla="*/ 6 w 106"/>
                  <a:gd name="T43" fmla="*/ 332 h 470"/>
                  <a:gd name="T44" fmla="*/ 12 w 106"/>
                  <a:gd name="T45" fmla="*/ 344 h 470"/>
                  <a:gd name="T46" fmla="*/ 22 w 106"/>
                  <a:gd name="T47" fmla="*/ 356 h 470"/>
                  <a:gd name="T48" fmla="*/ 21 w 106"/>
                  <a:gd name="T49" fmla="*/ 370 h 470"/>
                  <a:gd name="T50" fmla="*/ 24 w 106"/>
                  <a:gd name="T51" fmla="*/ 387 h 470"/>
                  <a:gd name="T52" fmla="*/ 33 w 106"/>
                  <a:gd name="T53" fmla="*/ 406 h 470"/>
                  <a:gd name="T54" fmla="*/ 42 w 106"/>
                  <a:gd name="T55" fmla="*/ 412 h 470"/>
                  <a:gd name="T56" fmla="*/ 46 w 106"/>
                  <a:gd name="T57" fmla="*/ 420 h 470"/>
                  <a:gd name="T58" fmla="*/ 40 w 106"/>
                  <a:gd name="T59" fmla="*/ 425 h 470"/>
                  <a:gd name="T60" fmla="*/ 49 w 106"/>
                  <a:gd name="T61" fmla="*/ 422 h 470"/>
                  <a:gd name="T62" fmla="*/ 46 w 106"/>
                  <a:gd name="T63" fmla="*/ 432 h 470"/>
                  <a:gd name="T64" fmla="*/ 62 w 106"/>
                  <a:gd name="T65" fmla="*/ 428 h 470"/>
                  <a:gd name="T66" fmla="*/ 63 w 106"/>
                  <a:gd name="T67" fmla="*/ 442 h 470"/>
                  <a:gd name="T68" fmla="*/ 82 w 106"/>
                  <a:gd name="T69" fmla="*/ 416 h 470"/>
                  <a:gd name="T70" fmla="*/ 6 w 106"/>
                  <a:gd name="T71" fmla="*/ 290 h 470"/>
                  <a:gd name="T72" fmla="*/ 16 w 106"/>
                  <a:gd name="T73" fmla="*/ 284 h 470"/>
                  <a:gd name="T74" fmla="*/ 14 w 106"/>
                  <a:gd name="T75" fmla="*/ 305 h 470"/>
                  <a:gd name="T76" fmla="*/ 6 w 106"/>
                  <a:gd name="T77" fmla="*/ 316 h 470"/>
                  <a:gd name="T78" fmla="*/ 9 w 106"/>
                  <a:gd name="T79" fmla="*/ 315 h 470"/>
                  <a:gd name="T80" fmla="*/ 20 w 106"/>
                  <a:gd name="T81" fmla="*/ 312 h 470"/>
                  <a:gd name="T82" fmla="*/ 12 w 106"/>
                  <a:gd name="T83" fmla="*/ 321 h 470"/>
                  <a:gd name="T84" fmla="*/ 15 w 106"/>
                  <a:gd name="T85" fmla="*/ 366 h 470"/>
                  <a:gd name="T86" fmla="*/ 12 w 106"/>
                  <a:gd name="T87" fmla="*/ 365 h 470"/>
                  <a:gd name="T88" fmla="*/ 11 w 106"/>
                  <a:gd name="T89" fmla="*/ 376 h 470"/>
                  <a:gd name="T90" fmla="*/ 13 w 106"/>
                  <a:gd name="T91" fmla="*/ 379 h 470"/>
                  <a:gd name="T92" fmla="*/ 19 w 106"/>
                  <a:gd name="T93" fmla="*/ 386 h 470"/>
                  <a:gd name="T94" fmla="*/ 21 w 106"/>
                  <a:gd name="T95" fmla="*/ 399 h 470"/>
                  <a:gd name="T96" fmla="*/ 21 w 106"/>
                  <a:gd name="T97" fmla="*/ 398 h 470"/>
                  <a:gd name="T98" fmla="*/ 24 w 106"/>
                  <a:gd name="T99" fmla="*/ 412 h 470"/>
                  <a:gd name="T100" fmla="*/ 31 w 106"/>
                  <a:gd name="T101" fmla="*/ 416 h 470"/>
                  <a:gd name="T102" fmla="*/ 32 w 106"/>
                  <a:gd name="T103" fmla="*/ 417 h 470"/>
                  <a:gd name="T104" fmla="*/ 38 w 106"/>
                  <a:gd name="T105" fmla="*/ 425 h 470"/>
                  <a:gd name="T106" fmla="*/ 46 w 106"/>
                  <a:gd name="T107" fmla="*/ 436 h 470"/>
                  <a:gd name="T108" fmla="*/ 47 w 106"/>
                  <a:gd name="T109" fmla="*/ 445 h 470"/>
                  <a:gd name="T110" fmla="*/ 56 w 106"/>
                  <a:gd name="T111" fmla="*/ 445 h 470"/>
                  <a:gd name="T112" fmla="*/ 59 w 106"/>
                  <a:gd name="T113" fmla="*/ 446 h 470"/>
                  <a:gd name="T114" fmla="*/ 68 w 106"/>
                  <a:gd name="T115" fmla="*/ 442 h 470"/>
                  <a:gd name="T116" fmla="*/ 105 w 106"/>
                  <a:gd name="T117" fmla="*/ 465 h 470"/>
                  <a:gd name="T118" fmla="*/ 99 w 106"/>
                  <a:gd name="T119" fmla="*/ 460 h 470"/>
                  <a:gd name="T120" fmla="*/ 89 w 106"/>
                  <a:gd name="T121" fmla="*/ 462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6" h="470">
                    <a:moveTo>
                      <a:pt x="91" y="455"/>
                    </a:moveTo>
                    <a:cubicBezTo>
                      <a:pt x="90" y="451"/>
                      <a:pt x="90" y="451"/>
                      <a:pt x="90" y="451"/>
                    </a:cubicBezTo>
                    <a:cubicBezTo>
                      <a:pt x="88" y="451"/>
                      <a:pt x="88" y="451"/>
                      <a:pt x="88" y="451"/>
                    </a:cubicBezTo>
                    <a:cubicBezTo>
                      <a:pt x="87" y="450"/>
                      <a:pt x="87" y="450"/>
                      <a:pt x="87" y="450"/>
                    </a:cubicBezTo>
                    <a:cubicBezTo>
                      <a:pt x="83" y="449"/>
                      <a:pt x="83" y="449"/>
                      <a:pt x="83" y="449"/>
                    </a:cubicBezTo>
                    <a:cubicBezTo>
                      <a:pt x="78" y="447"/>
                      <a:pt x="78" y="447"/>
                      <a:pt x="78" y="447"/>
                    </a:cubicBezTo>
                    <a:cubicBezTo>
                      <a:pt x="76" y="446"/>
                      <a:pt x="76" y="446"/>
                      <a:pt x="76" y="446"/>
                    </a:cubicBezTo>
                    <a:cubicBezTo>
                      <a:pt x="76" y="447"/>
                      <a:pt x="76" y="447"/>
                      <a:pt x="76" y="447"/>
                    </a:cubicBezTo>
                    <a:cubicBezTo>
                      <a:pt x="77" y="448"/>
                      <a:pt x="77" y="448"/>
                      <a:pt x="77" y="448"/>
                    </a:cubicBezTo>
                    <a:cubicBezTo>
                      <a:pt x="76" y="448"/>
                      <a:pt x="76" y="448"/>
                      <a:pt x="76" y="448"/>
                    </a:cubicBezTo>
                    <a:cubicBezTo>
                      <a:pt x="75" y="448"/>
                      <a:pt x="75" y="448"/>
                      <a:pt x="75" y="448"/>
                    </a:cubicBezTo>
                    <a:cubicBezTo>
                      <a:pt x="72" y="447"/>
                      <a:pt x="72" y="447"/>
                      <a:pt x="72" y="447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70" y="447"/>
                      <a:pt x="70" y="447"/>
                      <a:pt x="70" y="447"/>
                    </a:cubicBezTo>
                    <a:cubicBezTo>
                      <a:pt x="75" y="449"/>
                      <a:pt x="75" y="449"/>
                      <a:pt x="75" y="449"/>
                    </a:cubicBezTo>
                    <a:cubicBezTo>
                      <a:pt x="75" y="450"/>
                      <a:pt x="75" y="450"/>
                      <a:pt x="75" y="450"/>
                    </a:cubicBezTo>
                    <a:cubicBezTo>
                      <a:pt x="74" y="450"/>
                      <a:pt x="74" y="450"/>
                      <a:pt x="74" y="450"/>
                    </a:cubicBezTo>
                    <a:cubicBezTo>
                      <a:pt x="73" y="450"/>
                      <a:pt x="73" y="450"/>
                      <a:pt x="73" y="450"/>
                    </a:cubicBezTo>
                    <a:cubicBezTo>
                      <a:pt x="73" y="451"/>
                      <a:pt x="73" y="451"/>
                      <a:pt x="73" y="451"/>
                    </a:cubicBezTo>
                    <a:cubicBezTo>
                      <a:pt x="72" y="451"/>
                      <a:pt x="72" y="451"/>
                      <a:pt x="72" y="451"/>
                    </a:cubicBezTo>
                    <a:cubicBezTo>
                      <a:pt x="72" y="450"/>
                      <a:pt x="72" y="450"/>
                      <a:pt x="72" y="450"/>
                    </a:cubicBezTo>
                    <a:cubicBezTo>
                      <a:pt x="70" y="449"/>
                      <a:pt x="70" y="449"/>
                      <a:pt x="70" y="449"/>
                    </a:cubicBezTo>
                    <a:cubicBezTo>
                      <a:pt x="69" y="449"/>
                      <a:pt x="69" y="449"/>
                      <a:pt x="69" y="449"/>
                    </a:cubicBezTo>
                    <a:cubicBezTo>
                      <a:pt x="69" y="451"/>
                      <a:pt x="69" y="451"/>
                      <a:pt x="69" y="451"/>
                    </a:cubicBezTo>
                    <a:cubicBezTo>
                      <a:pt x="68" y="451"/>
                      <a:pt x="68" y="451"/>
                      <a:pt x="68" y="451"/>
                    </a:cubicBezTo>
                    <a:cubicBezTo>
                      <a:pt x="65" y="451"/>
                      <a:pt x="65" y="451"/>
                      <a:pt x="65" y="451"/>
                    </a:cubicBezTo>
                    <a:cubicBezTo>
                      <a:pt x="64" y="451"/>
                      <a:pt x="64" y="451"/>
                      <a:pt x="64" y="451"/>
                    </a:cubicBezTo>
                    <a:cubicBezTo>
                      <a:pt x="65" y="452"/>
                      <a:pt x="65" y="452"/>
                      <a:pt x="65" y="452"/>
                    </a:cubicBezTo>
                    <a:cubicBezTo>
                      <a:pt x="65" y="453"/>
                      <a:pt x="65" y="453"/>
                      <a:pt x="65" y="453"/>
                    </a:cubicBezTo>
                    <a:cubicBezTo>
                      <a:pt x="63" y="452"/>
                      <a:pt x="63" y="452"/>
                      <a:pt x="63" y="452"/>
                    </a:cubicBezTo>
                    <a:cubicBezTo>
                      <a:pt x="61" y="453"/>
                      <a:pt x="61" y="453"/>
                      <a:pt x="61" y="453"/>
                    </a:cubicBezTo>
                    <a:cubicBezTo>
                      <a:pt x="62" y="454"/>
                      <a:pt x="62" y="454"/>
                      <a:pt x="62" y="454"/>
                    </a:cubicBezTo>
                    <a:cubicBezTo>
                      <a:pt x="64" y="454"/>
                      <a:pt x="64" y="454"/>
                      <a:pt x="64" y="454"/>
                    </a:cubicBezTo>
                    <a:cubicBezTo>
                      <a:pt x="65" y="454"/>
                      <a:pt x="65" y="454"/>
                      <a:pt x="65" y="454"/>
                    </a:cubicBezTo>
                    <a:cubicBezTo>
                      <a:pt x="66" y="453"/>
                      <a:pt x="66" y="453"/>
                      <a:pt x="66" y="453"/>
                    </a:cubicBezTo>
                    <a:cubicBezTo>
                      <a:pt x="66" y="453"/>
                      <a:pt x="66" y="453"/>
                      <a:pt x="66" y="453"/>
                    </a:cubicBezTo>
                    <a:cubicBezTo>
                      <a:pt x="68" y="454"/>
                      <a:pt x="68" y="454"/>
                      <a:pt x="68" y="454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70" y="454"/>
                      <a:pt x="70" y="454"/>
                      <a:pt x="70" y="454"/>
                    </a:cubicBezTo>
                    <a:cubicBezTo>
                      <a:pt x="71" y="455"/>
                      <a:pt x="71" y="455"/>
                      <a:pt x="71" y="455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72" y="457"/>
                      <a:pt x="72" y="457"/>
                      <a:pt x="72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0" y="459"/>
                      <a:pt x="70" y="459"/>
                      <a:pt x="70" y="459"/>
                    </a:cubicBezTo>
                    <a:cubicBezTo>
                      <a:pt x="71" y="461"/>
                      <a:pt x="71" y="461"/>
                      <a:pt x="71" y="461"/>
                    </a:cubicBezTo>
                    <a:cubicBezTo>
                      <a:pt x="72" y="461"/>
                      <a:pt x="72" y="461"/>
                      <a:pt x="72" y="461"/>
                    </a:cubicBezTo>
                    <a:cubicBezTo>
                      <a:pt x="73" y="461"/>
                      <a:pt x="73" y="461"/>
                      <a:pt x="73" y="461"/>
                    </a:cubicBezTo>
                    <a:cubicBezTo>
                      <a:pt x="75" y="463"/>
                      <a:pt x="75" y="463"/>
                      <a:pt x="75" y="463"/>
                    </a:cubicBezTo>
                    <a:cubicBezTo>
                      <a:pt x="76" y="463"/>
                      <a:pt x="76" y="463"/>
                      <a:pt x="76" y="463"/>
                    </a:cubicBezTo>
                    <a:cubicBezTo>
                      <a:pt x="76" y="462"/>
                      <a:pt x="76" y="462"/>
                      <a:pt x="76" y="462"/>
                    </a:cubicBezTo>
                    <a:cubicBezTo>
                      <a:pt x="75" y="461"/>
                      <a:pt x="75" y="461"/>
                      <a:pt x="75" y="461"/>
                    </a:cubicBezTo>
                    <a:cubicBezTo>
                      <a:pt x="73" y="460"/>
                      <a:pt x="73" y="460"/>
                      <a:pt x="73" y="460"/>
                    </a:cubicBezTo>
                    <a:cubicBezTo>
                      <a:pt x="73" y="459"/>
                      <a:pt x="73" y="459"/>
                      <a:pt x="73" y="459"/>
                    </a:cubicBezTo>
                    <a:cubicBezTo>
                      <a:pt x="74" y="459"/>
                      <a:pt x="74" y="459"/>
                      <a:pt x="74" y="459"/>
                    </a:cubicBezTo>
                    <a:cubicBezTo>
                      <a:pt x="75" y="460"/>
                      <a:pt x="75" y="460"/>
                      <a:pt x="75" y="460"/>
                    </a:cubicBezTo>
                    <a:cubicBezTo>
                      <a:pt x="76" y="459"/>
                      <a:pt x="76" y="459"/>
                      <a:pt x="76" y="459"/>
                    </a:cubicBezTo>
                    <a:cubicBezTo>
                      <a:pt x="76" y="458"/>
                      <a:pt x="76" y="458"/>
                      <a:pt x="76" y="458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8" y="455"/>
                      <a:pt x="78" y="455"/>
                      <a:pt x="78" y="455"/>
                    </a:cubicBezTo>
                    <a:cubicBezTo>
                      <a:pt x="80" y="454"/>
                      <a:pt x="80" y="454"/>
                      <a:pt x="80" y="454"/>
                    </a:cubicBezTo>
                    <a:cubicBezTo>
                      <a:pt x="87" y="456"/>
                      <a:pt x="87" y="456"/>
                      <a:pt x="87" y="456"/>
                    </a:cubicBezTo>
                    <a:cubicBezTo>
                      <a:pt x="88" y="456"/>
                      <a:pt x="88" y="456"/>
                      <a:pt x="88" y="456"/>
                    </a:cubicBezTo>
                    <a:cubicBezTo>
                      <a:pt x="88" y="455"/>
                      <a:pt x="88" y="455"/>
                      <a:pt x="88" y="455"/>
                    </a:cubicBezTo>
                    <a:cubicBezTo>
                      <a:pt x="91" y="455"/>
                      <a:pt x="91" y="455"/>
                      <a:pt x="91" y="455"/>
                    </a:cubicBezTo>
                    <a:close/>
                    <a:moveTo>
                      <a:pt x="89" y="450"/>
                    </a:moveTo>
                    <a:cubicBezTo>
                      <a:pt x="87" y="449"/>
                      <a:pt x="87" y="449"/>
                      <a:pt x="87" y="449"/>
                    </a:cubicBezTo>
                    <a:cubicBezTo>
                      <a:pt x="83" y="446"/>
                      <a:pt x="83" y="446"/>
                      <a:pt x="83" y="446"/>
                    </a:cubicBezTo>
                    <a:cubicBezTo>
                      <a:pt x="79" y="445"/>
                      <a:pt x="79" y="445"/>
                      <a:pt x="79" y="445"/>
                    </a:cubicBezTo>
                    <a:cubicBezTo>
                      <a:pt x="78" y="445"/>
                      <a:pt x="78" y="445"/>
                      <a:pt x="78" y="445"/>
                    </a:cubicBezTo>
                    <a:cubicBezTo>
                      <a:pt x="76" y="444"/>
                      <a:pt x="76" y="444"/>
                      <a:pt x="76" y="444"/>
                    </a:cubicBezTo>
                    <a:cubicBezTo>
                      <a:pt x="74" y="442"/>
                      <a:pt x="74" y="442"/>
                      <a:pt x="74" y="442"/>
                    </a:cubicBezTo>
                    <a:cubicBezTo>
                      <a:pt x="73" y="441"/>
                      <a:pt x="73" y="441"/>
                      <a:pt x="73" y="441"/>
                    </a:cubicBezTo>
                    <a:cubicBezTo>
                      <a:pt x="73" y="440"/>
                      <a:pt x="73" y="440"/>
                      <a:pt x="73" y="440"/>
                    </a:cubicBezTo>
                    <a:cubicBezTo>
                      <a:pt x="76" y="439"/>
                      <a:pt x="76" y="439"/>
                      <a:pt x="76" y="439"/>
                    </a:cubicBezTo>
                    <a:cubicBezTo>
                      <a:pt x="77" y="438"/>
                      <a:pt x="77" y="438"/>
                      <a:pt x="77" y="438"/>
                    </a:cubicBezTo>
                    <a:cubicBezTo>
                      <a:pt x="79" y="437"/>
                      <a:pt x="79" y="437"/>
                      <a:pt x="79" y="437"/>
                    </a:cubicBezTo>
                    <a:cubicBezTo>
                      <a:pt x="80" y="435"/>
                      <a:pt x="80" y="435"/>
                      <a:pt x="80" y="435"/>
                    </a:cubicBezTo>
                    <a:cubicBezTo>
                      <a:pt x="79" y="433"/>
                      <a:pt x="79" y="433"/>
                      <a:pt x="79" y="433"/>
                    </a:cubicBezTo>
                    <a:cubicBezTo>
                      <a:pt x="77" y="433"/>
                      <a:pt x="77" y="433"/>
                      <a:pt x="77" y="433"/>
                    </a:cubicBezTo>
                    <a:cubicBezTo>
                      <a:pt x="75" y="435"/>
                      <a:pt x="75" y="435"/>
                      <a:pt x="75" y="435"/>
                    </a:cubicBezTo>
                    <a:cubicBezTo>
                      <a:pt x="73" y="436"/>
                      <a:pt x="73" y="436"/>
                      <a:pt x="73" y="436"/>
                    </a:cubicBezTo>
                    <a:cubicBezTo>
                      <a:pt x="72" y="437"/>
                      <a:pt x="72" y="437"/>
                      <a:pt x="72" y="437"/>
                    </a:cubicBezTo>
                    <a:cubicBezTo>
                      <a:pt x="70" y="434"/>
                      <a:pt x="70" y="434"/>
                      <a:pt x="70" y="434"/>
                    </a:cubicBezTo>
                    <a:cubicBezTo>
                      <a:pt x="70" y="432"/>
                      <a:pt x="70" y="432"/>
                      <a:pt x="70" y="432"/>
                    </a:cubicBezTo>
                    <a:cubicBezTo>
                      <a:pt x="69" y="431"/>
                      <a:pt x="69" y="431"/>
                      <a:pt x="69" y="431"/>
                    </a:cubicBezTo>
                    <a:cubicBezTo>
                      <a:pt x="71" y="429"/>
                      <a:pt x="71" y="429"/>
                      <a:pt x="71" y="429"/>
                    </a:cubicBezTo>
                    <a:cubicBezTo>
                      <a:pt x="71" y="428"/>
                      <a:pt x="71" y="428"/>
                      <a:pt x="71" y="428"/>
                    </a:cubicBezTo>
                    <a:cubicBezTo>
                      <a:pt x="70" y="428"/>
                      <a:pt x="70" y="428"/>
                      <a:pt x="70" y="428"/>
                    </a:cubicBezTo>
                    <a:cubicBezTo>
                      <a:pt x="68" y="427"/>
                      <a:pt x="68" y="427"/>
                      <a:pt x="68" y="427"/>
                    </a:cubicBezTo>
                    <a:cubicBezTo>
                      <a:pt x="70" y="425"/>
                      <a:pt x="70" y="425"/>
                      <a:pt x="70" y="425"/>
                    </a:cubicBezTo>
                    <a:cubicBezTo>
                      <a:pt x="71" y="425"/>
                      <a:pt x="71" y="425"/>
                      <a:pt x="71" y="425"/>
                    </a:cubicBezTo>
                    <a:cubicBezTo>
                      <a:pt x="73" y="427"/>
                      <a:pt x="73" y="427"/>
                      <a:pt x="73" y="427"/>
                    </a:cubicBezTo>
                    <a:cubicBezTo>
                      <a:pt x="73" y="426"/>
                      <a:pt x="73" y="426"/>
                      <a:pt x="73" y="426"/>
                    </a:cubicBezTo>
                    <a:cubicBezTo>
                      <a:pt x="75" y="424"/>
                      <a:pt x="75" y="424"/>
                      <a:pt x="75" y="424"/>
                    </a:cubicBezTo>
                    <a:cubicBezTo>
                      <a:pt x="75" y="423"/>
                      <a:pt x="75" y="423"/>
                      <a:pt x="75" y="423"/>
                    </a:cubicBezTo>
                    <a:cubicBezTo>
                      <a:pt x="75" y="421"/>
                      <a:pt x="75" y="421"/>
                      <a:pt x="75" y="421"/>
                    </a:cubicBezTo>
                    <a:cubicBezTo>
                      <a:pt x="76" y="420"/>
                      <a:pt x="76" y="420"/>
                      <a:pt x="76" y="420"/>
                    </a:cubicBezTo>
                    <a:cubicBezTo>
                      <a:pt x="77" y="420"/>
                      <a:pt x="77" y="420"/>
                      <a:pt x="77" y="420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9" y="421"/>
                      <a:pt x="79" y="421"/>
                      <a:pt x="79" y="421"/>
                    </a:cubicBezTo>
                    <a:cubicBezTo>
                      <a:pt x="82" y="420"/>
                      <a:pt x="82" y="420"/>
                      <a:pt x="82" y="420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9" y="450"/>
                      <a:pt x="89" y="450"/>
                      <a:pt x="89" y="450"/>
                    </a:cubicBezTo>
                    <a:close/>
                    <a:moveTo>
                      <a:pt x="82" y="416"/>
                    </a:moveTo>
                    <a:cubicBezTo>
                      <a:pt x="79" y="414"/>
                      <a:pt x="79" y="414"/>
                      <a:pt x="79" y="414"/>
                    </a:cubicBezTo>
                    <a:cubicBezTo>
                      <a:pt x="77" y="414"/>
                      <a:pt x="77" y="414"/>
                      <a:pt x="77" y="414"/>
                    </a:cubicBezTo>
                    <a:cubicBezTo>
                      <a:pt x="76" y="413"/>
                      <a:pt x="76" y="413"/>
                      <a:pt x="76" y="413"/>
                    </a:cubicBezTo>
                    <a:cubicBezTo>
                      <a:pt x="64" y="413"/>
                      <a:pt x="64" y="413"/>
                      <a:pt x="64" y="413"/>
                    </a:cubicBezTo>
                    <a:cubicBezTo>
                      <a:pt x="57" y="414"/>
                      <a:pt x="57" y="414"/>
                      <a:pt x="57" y="414"/>
                    </a:cubicBezTo>
                    <a:cubicBezTo>
                      <a:pt x="55" y="413"/>
                      <a:pt x="55" y="413"/>
                      <a:pt x="55" y="413"/>
                    </a:cubicBezTo>
                    <a:cubicBezTo>
                      <a:pt x="51" y="413"/>
                      <a:pt x="51" y="413"/>
                      <a:pt x="51" y="413"/>
                    </a:cubicBezTo>
                    <a:cubicBezTo>
                      <a:pt x="49" y="409"/>
                      <a:pt x="49" y="409"/>
                      <a:pt x="49" y="409"/>
                    </a:cubicBezTo>
                    <a:cubicBezTo>
                      <a:pt x="48" y="405"/>
                      <a:pt x="48" y="405"/>
                      <a:pt x="48" y="405"/>
                    </a:cubicBezTo>
                    <a:cubicBezTo>
                      <a:pt x="46" y="403"/>
                      <a:pt x="46" y="403"/>
                      <a:pt x="46" y="403"/>
                    </a:cubicBezTo>
                    <a:cubicBezTo>
                      <a:pt x="45" y="397"/>
                      <a:pt x="45" y="397"/>
                      <a:pt x="45" y="397"/>
                    </a:cubicBezTo>
                    <a:cubicBezTo>
                      <a:pt x="45" y="395"/>
                      <a:pt x="45" y="395"/>
                      <a:pt x="45" y="395"/>
                    </a:cubicBezTo>
                    <a:cubicBezTo>
                      <a:pt x="43" y="395"/>
                      <a:pt x="43" y="395"/>
                      <a:pt x="43" y="395"/>
                    </a:cubicBezTo>
                    <a:cubicBezTo>
                      <a:pt x="40" y="396"/>
                      <a:pt x="40" y="396"/>
                      <a:pt x="40" y="396"/>
                    </a:cubicBezTo>
                    <a:cubicBezTo>
                      <a:pt x="38" y="398"/>
                      <a:pt x="38" y="398"/>
                      <a:pt x="38" y="398"/>
                    </a:cubicBezTo>
                    <a:cubicBezTo>
                      <a:pt x="36" y="398"/>
                      <a:pt x="36" y="398"/>
                      <a:pt x="36" y="398"/>
                    </a:cubicBezTo>
                    <a:cubicBezTo>
                      <a:pt x="32" y="390"/>
                      <a:pt x="32" y="390"/>
                      <a:pt x="32" y="390"/>
                    </a:cubicBezTo>
                    <a:cubicBezTo>
                      <a:pt x="32" y="386"/>
                      <a:pt x="32" y="386"/>
                      <a:pt x="32" y="386"/>
                    </a:cubicBezTo>
                    <a:cubicBezTo>
                      <a:pt x="33" y="378"/>
                      <a:pt x="33" y="378"/>
                      <a:pt x="33" y="378"/>
                    </a:cubicBezTo>
                    <a:cubicBezTo>
                      <a:pt x="35" y="375"/>
                      <a:pt x="35" y="375"/>
                      <a:pt x="35" y="375"/>
                    </a:cubicBezTo>
                    <a:cubicBezTo>
                      <a:pt x="38" y="371"/>
                      <a:pt x="38" y="371"/>
                      <a:pt x="38" y="371"/>
                    </a:cubicBezTo>
                    <a:cubicBezTo>
                      <a:pt x="39" y="366"/>
                      <a:pt x="39" y="366"/>
                      <a:pt x="39" y="366"/>
                    </a:cubicBezTo>
                    <a:cubicBezTo>
                      <a:pt x="38" y="361"/>
                      <a:pt x="38" y="361"/>
                      <a:pt x="38" y="361"/>
                    </a:cubicBezTo>
                    <a:cubicBezTo>
                      <a:pt x="37" y="357"/>
                      <a:pt x="37" y="357"/>
                      <a:pt x="37" y="357"/>
                    </a:cubicBezTo>
                    <a:cubicBezTo>
                      <a:pt x="38" y="352"/>
                      <a:pt x="38" y="352"/>
                      <a:pt x="38" y="352"/>
                    </a:cubicBezTo>
                    <a:cubicBezTo>
                      <a:pt x="40" y="350"/>
                      <a:pt x="40" y="350"/>
                      <a:pt x="40" y="350"/>
                    </a:cubicBezTo>
                    <a:cubicBezTo>
                      <a:pt x="38" y="345"/>
                      <a:pt x="38" y="345"/>
                      <a:pt x="38" y="345"/>
                    </a:cubicBezTo>
                    <a:cubicBezTo>
                      <a:pt x="38" y="343"/>
                      <a:pt x="38" y="343"/>
                      <a:pt x="38" y="343"/>
                    </a:cubicBezTo>
                    <a:cubicBezTo>
                      <a:pt x="40" y="341"/>
                      <a:pt x="40" y="341"/>
                      <a:pt x="40" y="341"/>
                    </a:cubicBezTo>
                    <a:cubicBezTo>
                      <a:pt x="39" y="337"/>
                      <a:pt x="39" y="337"/>
                      <a:pt x="39" y="337"/>
                    </a:cubicBezTo>
                    <a:cubicBezTo>
                      <a:pt x="38" y="332"/>
                      <a:pt x="38" y="332"/>
                      <a:pt x="38" y="332"/>
                    </a:cubicBezTo>
                    <a:cubicBezTo>
                      <a:pt x="37" y="329"/>
                      <a:pt x="37" y="329"/>
                      <a:pt x="37" y="329"/>
                    </a:cubicBezTo>
                    <a:cubicBezTo>
                      <a:pt x="37" y="327"/>
                      <a:pt x="37" y="327"/>
                      <a:pt x="37" y="327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9" y="323"/>
                      <a:pt x="39" y="323"/>
                      <a:pt x="39" y="323"/>
                    </a:cubicBezTo>
                    <a:cubicBezTo>
                      <a:pt x="37" y="319"/>
                      <a:pt x="37" y="319"/>
                      <a:pt x="37" y="319"/>
                    </a:cubicBezTo>
                    <a:cubicBezTo>
                      <a:pt x="34" y="317"/>
                      <a:pt x="34" y="317"/>
                      <a:pt x="34" y="317"/>
                    </a:cubicBezTo>
                    <a:cubicBezTo>
                      <a:pt x="32" y="317"/>
                      <a:pt x="32" y="317"/>
                      <a:pt x="32" y="317"/>
                    </a:cubicBezTo>
                    <a:cubicBezTo>
                      <a:pt x="31" y="317"/>
                      <a:pt x="31" y="317"/>
                      <a:pt x="31" y="317"/>
                    </a:cubicBezTo>
                    <a:cubicBezTo>
                      <a:pt x="30" y="316"/>
                      <a:pt x="30" y="316"/>
                      <a:pt x="30" y="316"/>
                    </a:cubicBezTo>
                    <a:cubicBezTo>
                      <a:pt x="31" y="314"/>
                      <a:pt x="31" y="314"/>
                      <a:pt x="31" y="314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38" y="312"/>
                      <a:pt x="38" y="312"/>
                      <a:pt x="38" y="312"/>
                    </a:cubicBezTo>
                    <a:cubicBezTo>
                      <a:pt x="37" y="309"/>
                      <a:pt x="37" y="309"/>
                      <a:pt x="37" y="309"/>
                    </a:cubicBezTo>
                    <a:cubicBezTo>
                      <a:pt x="36" y="309"/>
                      <a:pt x="36" y="309"/>
                      <a:pt x="36" y="309"/>
                    </a:cubicBezTo>
                    <a:cubicBezTo>
                      <a:pt x="35" y="310"/>
                      <a:pt x="35" y="310"/>
                      <a:pt x="35" y="310"/>
                    </a:cubicBezTo>
                    <a:cubicBezTo>
                      <a:pt x="33" y="310"/>
                      <a:pt x="33" y="310"/>
                      <a:pt x="33" y="310"/>
                    </a:cubicBezTo>
                    <a:cubicBezTo>
                      <a:pt x="32" y="305"/>
                      <a:pt x="32" y="305"/>
                      <a:pt x="32" y="305"/>
                    </a:cubicBezTo>
                    <a:cubicBezTo>
                      <a:pt x="30" y="301"/>
                      <a:pt x="30" y="301"/>
                      <a:pt x="30" y="301"/>
                    </a:cubicBezTo>
                    <a:cubicBezTo>
                      <a:pt x="30" y="298"/>
                      <a:pt x="30" y="298"/>
                      <a:pt x="30" y="298"/>
                    </a:cubicBezTo>
                    <a:cubicBezTo>
                      <a:pt x="30" y="295"/>
                      <a:pt x="30" y="295"/>
                      <a:pt x="30" y="295"/>
                    </a:cubicBezTo>
                    <a:cubicBezTo>
                      <a:pt x="27" y="294"/>
                      <a:pt x="27" y="294"/>
                      <a:pt x="27" y="294"/>
                    </a:cubicBezTo>
                    <a:cubicBezTo>
                      <a:pt x="26" y="291"/>
                      <a:pt x="26" y="291"/>
                      <a:pt x="26" y="291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28" y="282"/>
                      <a:pt x="28" y="282"/>
                      <a:pt x="28" y="282"/>
                    </a:cubicBezTo>
                    <a:cubicBezTo>
                      <a:pt x="28" y="279"/>
                      <a:pt x="28" y="279"/>
                      <a:pt x="28" y="279"/>
                    </a:cubicBezTo>
                    <a:cubicBezTo>
                      <a:pt x="27" y="277"/>
                      <a:pt x="27" y="277"/>
                      <a:pt x="27" y="277"/>
                    </a:cubicBezTo>
                    <a:cubicBezTo>
                      <a:pt x="26" y="276"/>
                      <a:pt x="26" y="276"/>
                      <a:pt x="26" y="276"/>
                    </a:cubicBezTo>
                    <a:cubicBezTo>
                      <a:pt x="25" y="272"/>
                      <a:pt x="25" y="272"/>
                      <a:pt x="25" y="272"/>
                    </a:cubicBezTo>
                    <a:cubicBezTo>
                      <a:pt x="24" y="265"/>
                      <a:pt x="24" y="265"/>
                      <a:pt x="24" y="265"/>
                    </a:cubicBezTo>
                    <a:cubicBezTo>
                      <a:pt x="25" y="258"/>
                      <a:pt x="25" y="258"/>
                      <a:pt x="25" y="258"/>
                    </a:cubicBezTo>
                    <a:cubicBezTo>
                      <a:pt x="23" y="255"/>
                      <a:pt x="23" y="255"/>
                      <a:pt x="23" y="255"/>
                    </a:cubicBezTo>
                    <a:cubicBezTo>
                      <a:pt x="23" y="251"/>
                      <a:pt x="23" y="251"/>
                      <a:pt x="23" y="251"/>
                    </a:cubicBezTo>
                    <a:cubicBezTo>
                      <a:pt x="26" y="246"/>
                      <a:pt x="26" y="246"/>
                      <a:pt x="26" y="246"/>
                    </a:cubicBezTo>
                    <a:cubicBezTo>
                      <a:pt x="27" y="241"/>
                      <a:pt x="27" y="241"/>
                      <a:pt x="27" y="241"/>
                    </a:cubicBezTo>
                    <a:cubicBezTo>
                      <a:pt x="30" y="240"/>
                      <a:pt x="30" y="240"/>
                      <a:pt x="30" y="240"/>
                    </a:cubicBezTo>
                    <a:cubicBezTo>
                      <a:pt x="31" y="238"/>
                      <a:pt x="31" y="238"/>
                      <a:pt x="31" y="238"/>
                    </a:cubicBezTo>
                    <a:cubicBezTo>
                      <a:pt x="25" y="226"/>
                      <a:pt x="25" y="226"/>
                      <a:pt x="25" y="226"/>
                    </a:cubicBezTo>
                    <a:cubicBezTo>
                      <a:pt x="26" y="223"/>
                      <a:pt x="26" y="223"/>
                      <a:pt x="26" y="223"/>
                    </a:cubicBezTo>
                    <a:cubicBezTo>
                      <a:pt x="26" y="220"/>
                      <a:pt x="26" y="220"/>
                      <a:pt x="26" y="220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8" y="209"/>
                      <a:pt x="28" y="209"/>
                      <a:pt x="28" y="209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30" y="203"/>
                      <a:pt x="30" y="203"/>
                      <a:pt x="30" y="203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6" y="198"/>
                      <a:pt x="26" y="198"/>
                      <a:pt x="26" y="198"/>
                    </a:cubicBezTo>
                    <a:cubicBezTo>
                      <a:pt x="29" y="195"/>
                      <a:pt x="29" y="195"/>
                      <a:pt x="29" y="195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30" y="187"/>
                      <a:pt x="30" y="187"/>
                      <a:pt x="30" y="187"/>
                    </a:cubicBezTo>
                    <a:cubicBezTo>
                      <a:pt x="31" y="186"/>
                      <a:pt x="31" y="186"/>
                      <a:pt x="31" y="186"/>
                    </a:cubicBezTo>
                    <a:cubicBezTo>
                      <a:pt x="32" y="182"/>
                      <a:pt x="32" y="182"/>
                      <a:pt x="32" y="182"/>
                    </a:cubicBezTo>
                    <a:cubicBezTo>
                      <a:pt x="31" y="174"/>
                      <a:pt x="31" y="174"/>
                      <a:pt x="31" y="174"/>
                    </a:cubicBezTo>
                    <a:cubicBezTo>
                      <a:pt x="30" y="173"/>
                      <a:pt x="30" y="173"/>
                      <a:pt x="30" y="173"/>
                    </a:cubicBezTo>
                    <a:cubicBezTo>
                      <a:pt x="29" y="167"/>
                      <a:pt x="29" y="167"/>
                      <a:pt x="29" y="167"/>
                    </a:cubicBezTo>
                    <a:cubicBezTo>
                      <a:pt x="27" y="164"/>
                      <a:pt x="27" y="164"/>
                      <a:pt x="27" y="164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24" y="158"/>
                      <a:pt x="24" y="158"/>
                      <a:pt x="24" y="158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5" y="146"/>
                      <a:pt x="25" y="146"/>
                      <a:pt x="25" y="146"/>
                    </a:cubicBezTo>
                    <a:cubicBezTo>
                      <a:pt x="25" y="141"/>
                      <a:pt x="25" y="141"/>
                      <a:pt x="25" y="141"/>
                    </a:cubicBezTo>
                    <a:cubicBezTo>
                      <a:pt x="26" y="139"/>
                      <a:pt x="26" y="139"/>
                      <a:pt x="26" y="139"/>
                    </a:cubicBezTo>
                    <a:cubicBezTo>
                      <a:pt x="27" y="135"/>
                      <a:pt x="27" y="135"/>
                      <a:pt x="27" y="135"/>
                    </a:cubicBezTo>
                    <a:cubicBezTo>
                      <a:pt x="25" y="131"/>
                      <a:pt x="25" y="131"/>
                      <a:pt x="25" y="131"/>
                    </a:cubicBezTo>
                    <a:cubicBezTo>
                      <a:pt x="25" y="125"/>
                      <a:pt x="25" y="125"/>
                      <a:pt x="25" y="125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27" y="117"/>
                      <a:pt x="27" y="117"/>
                      <a:pt x="27" y="117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31" y="107"/>
                      <a:pt x="31" y="107"/>
                      <a:pt x="31" y="107"/>
                    </a:cubicBezTo>
                    <a:cubicBezTo>
                      <a:pt x="34" y="105"/>
                      <a:pt x="34" y="105"/>
                      <a:pt x="34" y="105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7" y="102"/>
                      <a:pt x="37" y="102"/>
                      <a:pt x="37" y="102"/>
                    </a:cubicBezTo>
                    <a:cubicBezTo>
                      <a:pt x="36" y="101"/>
                      <a:pt x="36" y="101"/>
                      <a:pt x="36" y="101"/>
                    </a:cubicBezTo>
                    <a:cubicBezTo>
                      <a:pt x="36" y="98"/>
                      <a:pt x="36" y="98"/>
                      <a:pt x="36" y="98"/>
                    </a:cubicBezTo>
                    <a:cubicBezTo>
                      <a:pt x="35" y="97"/>
                      <a:pt x="35" y="97"/>
                      <a:pt x="35" y="97"/>
                    </a:cubicBezTo>
                    <a:cubicBezTo>
                      <a:pt x="34" y="96"/>
                      <a:pt x="34" y="96"/>
                      <a:pt x="34" y="96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36" y="90"/>
                      <a:pt x="36" y="90"/>
                      <a:pt x="36" y="90"/>
                    </a:cubicBezTo>
                    <a:cubicBezTo>
                      <a:pt x="34" y="87"/>
                      <a:pt x="34" y="87"/>
                      <a:pt x="34" y="8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4" y="80"/>
                      <a:pt x="34" y="80"/>
                      <a:pt x="34" y="80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7" y="58"/>
                      <a:pt x="47" y="58"/>
                      <a:pt x="47" y="58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43" y="57"/>
                      <a:pt x="43" y="57"/>
                      <a:pt x="43" y="57"/>
                    </a:cubicBezTo>
                    <a:cubicBezTo>
                      <a:pt x="41" y="57"/>
                      <a:pt x="41" y="57"/>
                      <a:pt x="41" y="57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3" y="59"/>
                      <a:pt x="13" y="59"/>
                      <a:pt x="13" y="59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3" y="66"/>
                      <a:pt x="13" y="66"/>
                      <a:pt x="13" y="66"/>
                    </a:cubicBezTo>
                    <a:cubicBezTo>
                      <a:pt x="13" y="76"/>
                      <a:pt x="13" y="76"/>
                      <a:pt x="13" y="76"/>
                    </a:cubicBezTo>
                    <a:cubicBezTo>
                      <a:pt x="14" y="80"/>
                      <a:pt x="14" y="80"/>
                      <a:pt x="14" y="80"/>
                    </a:cubicBezTo>
                    <a:cubicBezTo>
                      <a:pt x="15" y="83"/>
                      <a:pt x="15" y="83"/>
                      <a:pt x="15" y="83"/>
                    </a:cubicBezTo>
                    <a:cubicBezTo>
                      <a:pt x="14" y="86"/>
                      <a:pt x="14" y="86"/>
                      <a:pt x="14" y="86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91"/>
                      <a:pt x="13" y="91"/>
                      <a:pt x="13" y="91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4" y="102"/>
                      <a:pt x="14" y="102"/>
                      <a:pt x="14" y="102"/>
                    </a:cubicBezTo>
                    <a:cubicBezTo>
                      <a:pt x="13" y="103"/>
                      <a:pt x="13" y="103"/>
                      <a:pt x="13" y="103"/>
                    </a:cubicBezTo>
                    <a:cubicBezTo>
                      <a:pt x="13" y="106"/>
                      <a:pt x="13" y="106"/>
                      <a:pt x="13" y="106"/>
                    </a:cubicBezTo>
                    <a:cubicBezTo>
                      <a:pt x="13" y="108"/>
                      <a:pt x="13" y="108"/>
                      <a:pt x="13" y="108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2" y="111"/>
                      <a:pt x="12" y="111"/>
                      <a:pt x="12" y="111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5"/>
                      <a:pt x="11" y="115"/>
                      <a:pt x="11" y="115"/>
                    </a:cubicBezTo>
                    <a:cubicBezTo>
                      <a:pt x="11" y="119"/>
                      <a:pt x="11" y="119"/>
                      <a:pt x="11" y="119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9" y="125"/>
                      <a:pt x="9" y="125"/>
                      <a:pt x="9" y="125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2" y="133"/>
                      <a:pt x="12" y="133"/>
                      <a:pt x="12" y="133"/>
                    </a:cubicBezTo>
                    <a:cubicBezTo>
                      <a:pt x="11" y="134"/>
                      <a:pt x="11" y="134"/>
                      <a:pt x="11" y="134"/>
                    </a:cubicBezTo>
                    <a:cubicBezTo>
                      <a:pt x="10" y="136"/>
                      <a:pt x="10" y="136"/>
                      <a:pt x="10" y="136"/>
                    </a:cubicBezTo>
                    <a:cubicBezTo>
                      <a:pt x="11" y="138"/>
                      <a:pt x="11" y="138"/>
                      <a:pt x="11" y="138"/>
                    </a:cubicBezTo>
                    <a:cubicBezTo>
                      <a:pt x="10" y="139"/>
                      <a:pt x="10" y="139"/>
                      <a:pt x="10" y="139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9"/>
                      <a:pt x="11" y="159"/>
                      <a:pt x="11" y="159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2" y="168"/>
                      <a:pt x="12" y="168"/>
                      <a:pt x="12" y="168"/>
                    </a:cubicBezTo>
                    <a:cubicBezTo>
                      <a:pt x="12" y="169"/>
                      <a:pt x="12" y="169"/>
                      <a:pt x="12" y="169"/>
                    </a:cubicBezTo>
                    <a:cubicBezTo>
                      <a:pt x="13" y="170"/>
                      <a:pt x="13" y="170"/>
                      <a:pt x="13" y="170"/>
                    </a:cubicBezTo>
                    <a:cubicBezTo>
                      <a:pt x="13" y="172"/>
                      <a:pt x="13" y="172"/>
                      <a:pt x="13" y="172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3" y="175"/>
                      <a:pt x="13" y="175"/>
                      <a:pt x="13" y="175"/>
                    </a:cubicBezTo>
                    <a:cubicBezTo>
                      <a:pt x="15" y="178"/>
                      <a:pt x="15" y="178"/>
                      <a:pt x="15" y="178"/>
                    </a:cubicBezTo>
                    <a:cubicBezTo>
                      <a:pt x="15" y="179"/>
                      <a:pt x="15" y="179"/>
                      <a:pt x="15" y="179"/>
                    </a:cubicBezTo>
                    <a:cubicBezTo>
                      <a:pt x="14" y="181"/>
                      <a:pt x="14" y="181"/>
                      <a:pt x="14" y="181"/>
                    </a:cubicBezTo>
                    <a:cubicBezTo>
                      <a:pt x="13" y="182"/>
                      <a:pt x="13" y="182"/>
                      <a:pt x="13" y="182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11" y="186"/>
                      <a:pt x="11" y="186"/>
                      <a:pt x="11" y="186"/>
                    </a:cubicBezTo>
                    <a:cubicBezTo>
                      <a:pt x="12" y="187"/>
                      <a:pt x="12" y="187"/>
                      <a:pt x="12" y="187"/>
                    </a:cubicBezTo>
                    <a:cubicBezTo>
                      <a:pt x="11" y="189"/>
                      <a:pt x="11" y="189"/>
                      <a:pt x="11" y="189"/>
                    </a:cubicBezTo>
                    <a:cubicBezTo>
                      <a:pt x="10" y="190"/>
                      <a:pt x="10" y="190"/>
                      <a:pt x="10" y="190"/>
                    </a:cubicBezTo>
                    <a:cubicBezTo>
                      <a:pt x="10" y="192"/>
                      <a:pt x="10" y="192"/>
                      <a:pt x="10" y="192"/>
                    </a:cubicBezTo>
                    <a:cubicBezTo>
                      <a:pt x="10" y="195"/>
                      <a:pt x="10" y="195"/>
                      <a:pt x="10" y="195"/>
                    </a:cubicBezTo>
                    <a:cubicBezTo>
                      <a:pt x="9" y="197"/>
                      <a:pt x="9" y="197"/>
                      <a:pt x="9" y="197"/>
                    </a:cubicBezTo>
                    <a:cubicBezTo>
                      <a:pt x="9" y="198"/>
                      <a:pt x="9" y="198"/>
                      <a:pt x="9" y="198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2"/>
                      <a:pt x="9" y="202"/>
                      <a:pt x="9" y="202"/>
                    </a:cubicBezTo>
                    <a:cubicBezTo>
                      <a:pt x="7" y="203"/>
                      <a:pt x="7" y="203"/>
                      <a:pt x="7" y="203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8" y="205"/>
                      <a:pt x="8" y="205"/>
                      <a:pt x="8" y="205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10"/>
                      <a:pt x="7" y="210"/>
                      <a:pt x="7" y="210"/>
                    </a:cubicBezTo>
                    <a:cubicBezTo>
                      <a:pt x="7" y="211"/>
                      <a:pt x="7" y="211"/>
                      <a:pt x="7" y="211"/>
                    </a:cubicBezTo>
                    <a:cubicBezTo>
                      <a:pt x="6" y="212"/>
                      <a:pt x="6" y="212"/>
                      <a:pt x="6" y="212"/>
                    </a:cubicBezTo>
                    <a:cubicBezTo>
                      <a:pt x="6" y="214"/>
                      <a:pt x="6" y="214"/>
                      <a:pt x="6" y="214"/>
                    </a:cubicBezTo>
                    <a:cubicBezTo>
                      <a:pt x="5" y="215"/>
                      <a:pt x="5" y="215"/>
                      <a:pt x="5" y="215"/>
                    </a:cubicBezTo>
                    <a:cubicBezTo>
                      <a:pt x="5" y="217"/>
                      <a:pt x="5" y="217"/>
                      <a:pt x="5" y="217"/>
                    </a:cubicBezTo>
                    <a:cubicBezTo>
                      <a:pt x="5" y="218"/>
                      <a:pt x="5" y="218"/>
                      <a:pt x="5" y="218"/>
                    </a:cubicBezTo>
                    <a:cubicBezTo>
                      <a:pt x="5" y="220"/>
                      <a:pt x="5" y="220"/>
                      <a:pt x="5" y="220"/>
                    </a:cubicBezTo>
                    <a:cubicBezTo>
                      <a:pt x="4" y="222"/>
                      <a:pt x="4" y="222"/>
                      <a:pt x="4" y="222"/>
                    </a:cubicBezTo>
                    <a:cubicBezTo>
                      <a:pt x="3" y="222"/>
                      <a:pt x="3" y="222"/>
                      <a:pt x="3" y="222"/>
                    </a:cubicBezTo>
                    <a:cubicBezTo>
                      <a:pt x="2" y="221"/>
                      <a:pt x="2" y="221"/>
                      <a:pt x="2" y="221"/>
                    </a:cubicBezTo>
                    <a:cubicBezTo>
                      <a:pt x="1" y="221"/>
                      <a:pt x="1" y="221"/>
                      <a:pt x="1" y="221"/>
                    </a:cubicBezTo>
                    <a:cubicBezTo>
                      <a:pt x="0" y="223"/>
                      <a:pt x="0" y="223"/>
                      <a:pt x="0" y="223"/>
                    </a:cubicBezTo>
                    <a:cubicBezTo>
                      <a:pt x="1" y="225"/>
                      <a:pt x="1" y="225"/>
                      <a:pt x="1" y="225"/>
                    </a:cubicBezTo>
                    <a:cubicBezTo>
                      <a:pt x="1" y="228"/>
                      <a:pt x="1" y="228"/>
                      <a:pt x="1" y="228"/>
                    </a:cubicBezTo>
                    <a:cubicBezTo>
                      <a:pt x="2" y="230"/>
                      <a:pt x="2" y="230"/>
                      <a:pt x="2" y="230"/>
                    </a:cubicBezTo>
                    <a:cubicBezTo>
                      <a:pt x="4" y="232"/>
                      <a:pt x="4" y="232"/>
                      <a:pt x="4" y="232"/>
                    </a:cubicBezTo>
                    <a:cubicBezTo>
                      <a:pt x="5" y="234"/>
                      <a:pt x="5" y="234"/>
                      <a:pt x="5" y="234"/>
                    </a:cubicBezTo>
                    <a:cubicBezTo>
                      <a:pt x="4" y="236"/>
                      <a:pt x="4" y="236"/>
                      <a:pt x="4" y="236"/>
                    </a:cubicBezTo>
                    <a:cubicBezTo>
                      <a:pt x="7" y="241"/>
                      <a:pt x="7" y="241"/>
                      <a:pt x="7" y="241"/>
                    </a:cubicBezTo>
                    <a:cubicBezTo>
                      <a:pt x="8" y="243"/>
                      <a:pt x="8" y="243"/>
                      <a:pt x="8" y="243"/>
                    </a:cubicBezTo>
                    <a:cubicBezTo>
                      <a:pt x="9" y="244"/>
                      <a:pt x="9" y="244"/>
                      <a:pt x="9" y="244"/>
                    </a:cubicBezTo>
                    <a:cubicBezTo>
                      <a:pt x="9" y="247"/>
                      <a:pt x="9" y="247"/>
                      <a:pt x="9" y="247"/>
                    </a:cubicBezTo>
                    <a:cubicBezTo>
                      <a:pt x="8" y="252"/>
                      <a:pt x="8" y="252"/>
                      <a:pt x="8" y="252"/>
                    </a:cubicBezTo>
                    <a:cubicBezTo>
                      <a:pt x="7" y="252"/>
                      <a:pt x="7" y="252"/>
                      <a:pt x="7" y="252"/>
                    </a:cubicBezTo>
                    <a:cubicBezTo>
                      <a:pt x="8" y="254"/>
                      <a:pt x="8" y="254"/>
                      <a:pt x="8" y="254"/>
                    </a:cubicBezTo>
                    <a:cubicBezTo>
                      <a:pt x="7" y="255"/>
                      <a:pt x="7" y="255"/>
                      <a:pt x="7" y="255"/>
                    </a:cubicBezTo>
                    <a:cubicBezTo>
                      <a:pt x="7" y="255"/>
                      <a:pt x="7" y="255"/>
                      <a:pt x="7" y="255"/>
                    </a:cubicBezTo>
                    <a:cubicBezTo>
                      <a:pt x="6" y="255"/>
                      <a:pt x="6" y="255"/>
                      <a:pt x="6" y="255"/>
                    </a:cubicBezTo>
                    <a:cubicBezTo>
                      <a:pt x="5" y="257"/>
                      <a:pt x="5" y="257"/>
                      <a:pt x="5" y="257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7" y="259"/>
                      <a:pt x="7" y="259"/>
                      <a:pt x="7" y="259"/>
                    </a:cubicBezTo>
                    <a:cubicBezTo>
                      <a:pt x="6" y="264"/>
                      <a:pt x="6" y="264"/>
                      <a:pt x="6" y="264"/>
                    </a:cubicBezTo>
                    <a:cubicBezTo>
                      <a:pt x="6" y="265"/>
                      <a:pt x="6" y="265"/>
                      <a:pt x="6" y="265"/>
                    </a:cubicBezTo>
                    <a:cubicBezTo>
                      <a:pt x="5" y="266"/>
                      <a:pt x="5" y="266"/>
                      <a:pt x="5" y="266"/>
                    </a:cubicBezTo>
                    <a:cubicBezTo>
                      <a:pt x="6" y="267"/>
                      <a:pt x="6" y="267"/>
                      <a:pt x="6" y="267"/>
                    </a:cubicBezTo>
                    <a:cubicBezTo>
                      <a:pt x="6" y="269"/>
                      <a:pt x="6" y="269"/>
                      <a:pt x="6" y="269"/>
                    </a:cubicBezTo>
                    <a:cubicBezTo>
                      <a:pt x="5" y="269"/>
                      <a:pt x="5" y="269"/>
                      <a:pt x="5" y="269"/>
                    </a:cubicBezTo>
                    <a:cubicBezTo>
                      <a:pt x="6" y="270"/>
                      <a:pt x="6" y="270"/>
                      <a:pt x="6" y="270"/>
                    </a:cubicBezTo>
                    <a:cubicBezTo>
                      <a:pt x="9" y="275"/>
                      <a:pt x="9" y="275"/>
                      <a:pt x="9" y="275"/>
                    </a:cubicBezTo>
                    <a:cubicBezTo>
                      <a:pt x="10" y="276"/>
                      <a:pt x="10" y="276"/>
                      <a:pt x="10" y="276"/>
                    </a:cubicBezTo>
                    <a:cubicBezTo>
                      <a:pt x="10" y="278"/>
                      <a:pt x="10" y="278"/>
                      <a:pt x="10" y="278"/>
                    </a:cubicBezTo>
                    <a:cubicBezTo>
                      <a:pt x="13" y="279"/>
                      <a:pt x="13" y="279"/>
                      <a:pt x="13" y="279"/>
                    </a:cubicBezTo>
                    <a:cubicBezTo>
                      <a:pt x="16" y="278"/>
                      <a:pt x="16" y="278"/>
                      <a:pt x="16" y="278"/>
                    </a:cubicBezTo>
                    <a:cubicBezTo>
                      <a:pt x="16" y="275"/>
                      <a:pt x="16" y="275"/>
                      <a:pt x="16" y="275"/>
                    </a:cubicBezTo>
                    <a:cubicBezTo>
                      <a:pt x="17" y="275"/>
                      <a:pt x="17" y="275"/>
                      <a:pt x="17" y="275"/>
                    </a:cubicBezTo>
                    <a:cubicBezTo>
                      <a:pt x="18" y="275"/>
                      <a:pt x="18" y="275"/>
                      <a:pt x="18" y="275"/>
                    </a:cubicBezTo>
                    <a:cubicBezTo>
                      <a:pt x="20" y="277"/>
                      <a:pt x="20" y="277"/>
                      <a:pt x="20" y="277"/>
                    </a:cubicBezTo>
                    <a:cubicBezTo>
                      <a:pt x="20" y="276"/>
                      <a:pt x="20" y="276"/>
                      <a:pt x="20" y="276"/>
                    </a:cubicBezTo>
                    <a:cubicBezTo>
                      <a:pt x="22" y="276"/>
                      <a:pt x="22" y="276"/>
                      <a:pt x="22" y="276"/>
                    </a:cubicBezTo>
                    <a:cubicBezTo>
                      <a:pt x="21" y="277"/>
                      <a:pt x="21" y="277"/>
                      <a:pt x="21" y="277"/>
                    </a:cubicBezTo>
                    <a:cubicBezTo>
                      <a:pt x="19" y="279"/>
                      <a:pt x="19" y="279"/>
                      <a:pt x="19" y="279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81"/>
                      <a:pt x="20" y="281"/>
                      <a:pt x="20" y="281"/>
                    </a:cubicBezTo>
                    <a:cubicBezTo>
                      <a:pt x="21" y="281"/>
                      <a:pt x="21" y="281"/>
                      <a:pt x="21" y="281"/>
                    </a:cubicBezTo>
                    <a:cubicBezTo>
                      <a:pt x="22" y="282"/>
                      <a:pt x="22" y="282"/>
                      <a:pt x="22" y="282"/>
                    </a:cubicBezTo>
                    <a:cubicBezTo>
                      <a:pt x="22" y="286"/>
                      <a:pt x="22" y="286"/>
                      <a:pt x="22" y="286"/>
                    </a:cubicBezTo>
                    <a:cubicBezTo>
                      <a:pt x="23" y="287"/>
                      <a:pt x="23" y="287"/>
                      <a:pt x="23" y="287"/>
                    </a:cubicBezTo>
                    <a:cubicBezTo>
                      <a:pt x="22" y="287"/>
                      <a:pt x="22" y="287"/>
                      <a:pt x="22" y="287"/>
                    </a:cubicBezTo>
                    <a:cubicBezTo>
                      <a:pt x="21" y="286"/>
                      <a:pt x="21" y="286"/>
                      <a:pt x="21" y="286"/>
                    </a:cubicBezTo>
                    <a:cubicBezTo>
                      <a:pt x="21" y="285"/>
                      <a:pt x="21" y="285"/>
                      <a:pt x="21" y="285"/>
                    </a:cubicBezTo>
                    <a:cubicBezTo>
                      <a:pt x="19" y="284"/>
                      <a:pt x="19" y="284"/>
                      <a:pt x="19" y="284"/>
                    </a:cubicBezTo>
                    <a:cubicBezTo>
                      <a:pt x="19" y="285"/>
                      <a:pt x="19" y="285"/>
                      <a:pt x="19" y="285"/>
                    </a:cubicBezTo>
                    <a:cubicBezTo>
                      <a:pt x="19" y="286"/>
                      <a:pt x="19" y="286"/>
                      <a:pt x="19" y="286"/>
                    </a:cubicBezTo>
                    <a:cubicBezTo>
                      <a:pt x="21" y="287"/>
                      <a:pt x="21" y="287"/>
                      <a:pt x="21" y="287"/>
                    </a:cubicBezTo>
                    <a:cubicBezTo>
                      <a:pt x="21" y="288"/>
                      <a:pt x="21" y="288"/>
                      <a:pt x="21" y="288"/>
                    </a:cubicBezTo>
                    <a:cubicBezTo>
                      <a:pt x="20" y="289"/>
                      <a:pt x="20" y="289"/>
                      <a:pt x="20" y="289"/>
                    </a:cubicBezTo>
                    <a:cubicBezTo>
                      <a:pt x="19" y="290"/>
                      <a:pt x="19" y="290"/>
                      <a:pt x="19" y="290"/>
                    </a:cubicBezTo>
                    <a:cubicBezTo>
                      <a:pt x="19" y="292"/>
                      <a:pt x="19" y="292"/>
                      <a:pt x="19" y="292"/>
                    </a:cubicBezTo>
                    <a:cubicBezTo>
                      <a:pt x="21" y="294"/>
                      <a:pt x="21" y="294"/>
                      <a:pt x="21" y="294"/>
                    </a:cubicBezTo>
                    <a:cubicBezTo>
                      <a:pt x="19" y="295"/>
                      <a:pt x="19" y="295"/>
                      <a:pt x="19" y="295"/>
                    </a:cubicBezTo>
                    <a:cubicBezTo>
                      <a:pt x="19" y="297"/>
                      <a:pt x="19" y="297"/>
                      <a:pt x="19" y="297"/>
                    </a:cubicBezTo>
                    <a:cubicBezTo>
                      <a:pt x="20" y="297"/>
                      <a:pt x="20" y="297"/>
                      <a:pt x="20" y="297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19" y="300"/>
                      <a:pt x="19" y="300"/>
                      <a:pt x="19" y="300"/>
                    </a:cubicBezTo>
                    <a:cubicBezTo>
                      <a:pt x="21" y="301"/>
                      <a:pt x="21" y="301"/>
                      <a:pt x="21" y="301"/>
                    </a:cubicBezTo>
                    <a:cubicBezTo>
                      <a:pt x="20" y="303"/>
                      <a:pt x="20" y="303"/>
                      <a:pt x="20" y="303"/>
                    </a:cubicBezTo>
                    <a:cubicBezTo>
                      <a:pt x="20" y="305"/>
                      <a:pt x="20" y="305"/>
                      <a:pt x="20" y="305"/>
                    </a:cubicBezTo>
                    <a:cubicBezTo>
                      <a:pt x="19" y="307"/>
                      <a:pt x="19" y="307"/>
                      <a:pt x="19" y="307"/>
                    </a:cubicBezTo>
                    <a:cubicBezTo>
                      <a:pt x="18" y="308"/>
                      <a:pt x="18" y="308"/>
                      <a:pt x="18" y="308"/>
                    </a:cubicBezTo>
                    <a:cubicBezTo>
                      <a:pt x="19" y="309"/>
                      <a:pt x="19" y="309"/>
                      <a:pt x="19" y="309"/>
                    </a:cubicBezTo>
                    <a:cubicBezTo>
                      <a:pt x="21" y="309"/>
                      <a:pt x="21" y="309"/>
                      <a:pt x="21" y="309"/>
                    </a:cubicBezTo>
                    <a:cubicBezTo>
                      <a:pt x="22" y="310"/>
                      <a:pt x="22" y="310"/>
                      <a:pt x="22" y="310"/>
                    </a:cubicBezTo>
                    <a:cubicBezTo>
                      <a:pt x="23" y="312"/>
                      <a:pt x="23" y="312"/>
                      <a:pt x="23" y="312"/>
                    </a:cubicBezTo>
                    <a:cubicBezTo>
                      <a:pt x="24" y="312"/>
                      <a:pt x="24" y="312"/>
                      <a:pt x="24" y="312"/>
                    </a:cubicBezTo>
                    <a:cubicBezTo>
                      <a:pt x="25" y="313"/>
                      <a:pt x="25" y="313"/>
                      <a:pt x="25" y="313"/>
                    </a:cubicBezTo>
                    <a:cubicBezTo>
                      <a:pt x="25" y="317"/>
                      <a:pt x="25" y="317"/>
                      <a:pt x="25" y="317"/>
                    </a:cubicBezTo>
                    <a:cubicBezTo>
                      <a:pt x="24" y="319"/>
                      <a:pt x="24" y="319"/>
                      <a:pt x="24" y="319"/>
                    </a:cubicBezTo>
                    <a:cubicBezTo>
                      <a:pt x="21" y="320"/>
                      <a:pt x="21" y="320"/>
                      <a:pt x="21" y="320"/>
                    </a:cubicBezTo>
                    <a:cubicBezTo>
                      <a:pt x="20" y="320"/>
                      <a:pt x="20" y="320"/>
                      <a:pt x="20" y="320"/>
                    </a:cubicBezTo>
                    <a:cubicBezTo>
                      <a:pt x="20" y="322"/>
                      <a:pt x="20" y="322"/>
                      <a:pt x="20" y="322"/>
                    </a:cubicBezTo>
                    <a:cubicBezTo>
                      <a:pt x="20" y="324"/>
                      <a:pt x="20" y="324"/>
                      <a:pt x="20" y="324"/>
                    </a:cubicBezTo>
                    <a:cubicBezTo>
                      <a:pt x="20" y="325"/>
                      <a:pt x="20" y="325"/>
                      <a:pt x="20" y="325"/>
                    </a:cubicBezTo>
                    <a:cubicBezTo>
                      <a:pt x="20" y="327"/>
                      <a:pt x="20" y="327"/>
                      <a:pt x="20" y="327"/>
                    </a:cubicBezTo>
                    <a:cubicBezTo>
                      <a:pt x="21" y="327"/>
                      <a:pt x="21" y="327"/>
                      <a:pt x="21" y="327"/>
                    </a:cubicBezTo>
                    <a:cubicBezTo>
                      <a:pt x="19" y="329"/>
                      <a:pt x="19" y="329"/>
                      <a:pt x="19" y="329"/>
                    </a:cubicBezTo>
                    <a:cubicBezTo>
                      <a:pt x="18" y="332"/>
                      <a:pt x="18" y="332"/>
                      <a:pt x="18" y="332"/>
                    </a:cubicBezTo>
                    <a:cubicBezTo>
                      <a:pt x="18" y="334"/>
                      <a:pt x="18" y="334"/>
                      <a:pt x="18" y="334"/>
                    </a:cubicBezTo>
                    <a:cubicBezTo>
                      <a:pt x="19" y="335"/>
                      <a:pt x="19" y="335"/>
                      <a:pt x="19" y="335"/>
                    </a:cubicBezTo>
                    <a:cubicBezTo>
                      <a:pt x="19" y="336"/>
                      <a:pt x="19" y="336"/>
                      <a:pt x="19" y="336"/>
                    </a:cubicBezTo>
                    <a:cubicBezTo>
                      <a:pt x="19" y="339"/>
                      <a:pt x="19" y="339"/>
                      <a:pt x="19" y="339"/>
                    </a:cubicBezTo>
                    <a:cubicBezTo>
                      <a:pt x="17" y="340"/>
                      <a:pt x="17" y="340"/>
                      <a:pt x="17" y="340"/>
                    </a:cubicBezTo>
                    <a:cubicBezTo>
                      <a:pt x="17" y="342"/>
                      <a:pt x="17" y="342"/>
                      <a:pt x="17" y="342"/>
                    </a:cubicBezTo>
                    <a:cubicBezTo>
                      <a:pt x="16" y="341"/>
                      <a:pt x="16" y="341"/>
                      <a:pt x="16" y="341"/>
                    </a:cubicBezTo>
                    <a:cubicBezTo>
                      <a:pt x="17" y="340"/>
                      <a:pt x="17" y="340"/>
                      <a:pt x="17" y="340"/>
                    </a:cubicBezTo>
                    <a:cubicBezTo>
                      <a:pt x="17" y="337"/>
                      <a:pt x="17" y="337"/>
                      <a:pt x="17" y="337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17" y="334"/>
                      <a:pt x="17" y="334"/>
                      <a:pt x="17" y="334"/>
                    </a:cubicBezTo>
                    <a:cubicBezTo>
                      <a:pt x="17" y="334"/>
                      <a:pt x="17" y="334"/>
                      <a:pt x="17" y="334"/>
                    </a:cubicBezTo>
                    <a:cubicBezTo>
                      <a:pt x="14" y="335"/>
                      <a:pt x="14" y="335"/>
                      <a:pt x="14" y="335"/>
                    </a:cubicBezTo>
                    <a:cubicBezTo>
                      <a:pt x="12" y="336"/>
                      <a:pt x="12" y="336"/>
                      <a:pt x="12" y="336"/>
                    </a:cubicBezTo>
                    <a:cubicBezTo>
                      <a:pt x="11" y="336"/>
                      <a:pt x="11" y="336"/>
                      <a:pt x="11" y="336"/>
                    </a:cubicBezTo>
                    <a:cubicBezTo>
                      <a:pt x="11" y="335"/>
                      <a:pt x="11" y="335"/>
                      <a:pt x="11" y="335"/>
                    </a:cubicBezTo>
                    <a:cubicBezTo>
                      <a:pt x="13" y="334"/>
                      <a:pt x="13" y="334"/>
                      <a:pt x="13" y="334"/>
                    </a:cubicBezTo>
                    <a:cubicBezTo>
                      <a:pt x="14" y="334"/>
                      <a:pt x="14" y="334"/>
                      <a:pt x="14" y="334"/>
                    </a:cubicBezTo>
                    <a:cubicBezTo>
                      <a:pt x="14" y="331"/>
                      <a:pt x="14" y="331"/>
                      <a:pt x="14" y="331"/>
                    </a:cubicBezTo>
                    <a:cubicBezTo>
                      <a:pt x="13" y="330"/>
                      <a:pt x="13" y="330"/>
                      <a:pt x="13" y="330"/>
                    </a:cubicBezTo>
                    <a:cubicBezTo>
                      <a:pt x="12" y="331"/>
                      <a:pt x="12" y="331"/>
                      <a:pt x="12" y="331"/>
                    </a:cubicBezTo>
                    <a:cubicBezTo>
                      <a:pt x="8" y="331"/>
                      <a:pt x="8" y="331"/>
                      <a:pt x="8" y="331"/>
                    </a:cubicBezTo>
                    <a:cubicBezTo>
                      <a:pt x="7" y="331"/>
                      <a:pt x="7" y="331"/>
                      <a:pt x="7" y="331"/>
                    </a:cubicBezTo>
                    <a:cubicBezTo>
                      <a:pt x="6" y="331"/>
                      <a:pt x="6" y="331"/>
                      <a:pt x="6" y="331"/>
                    </a:cubicBezTo>
                    <a:cubicBezTo>
                      <a:pt x="6" y="332"/>
                      <a:pt x="6" y="332"/>
                      <a:pt x="6" y="332"/>
                    </a:cubicBezTo>
                    <a:cubicBezTo>
                      <a:pt x="7" y="334"/>
                      <a:pt x="7" y="334"/>
                      <a:pt x="7" y="334"/>
                    </a:cubicBezTo>
                    <a:cubicBezTo>
                      <a:pt x="7" y="334"/>
                      <a:pt x="7" y="334"/>
                      <a:pt x="7" y="334"/>
                    </a:cubicBezTo>
                    <a:cubicBezTo>
                      <a:pt x="8" y="336"/>
                      <a:pt x="8" y="336"/>
                      <a:pt x="8" y="336"/>
                    </a:cubicBezTo>
                    <a:cubicBezTo>
                      <a:pt x="7" y="336"/>
                      <a:pt x="7" y="336"/>
                      <a:pt x="7" y="336"/>
                    </a:cubicBezTo>
                    <a:cubicBezTo>
                      <a:pt x="6" y="338"/>
                      <a:pt x="6" y="338"/>
                      <a:pt x="6" y="338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4" y="341"/>
                      <a:pt x="4" y="341"/>
                      <a:pt x="4" y="341"/>
                    </a:cubicBezTo>
                    <a:cubicBezTo>
                      <a:pt x="1" y="342"/>
                      <a:pt x="1" y="342"/>
                      <a:pt x="1" y="342"/>
                    </a:cubicBezTo>
                    <a:cubicBezTo>
                      <a:pt x="1" y="344"/>
                      <a:pt x="1" y="344"/>
                      <a:pt x="1" y="344"/>
                    </a:cubicBezTo>
                    <a:cubicBezTo>
                      <a:pt x="4" y="347"/>
                      <a:pt x="4" y="347"/>
                      <a:pt x="4" y="347"/>
                    </a:cubicBezTo>
                    <a:cubicBezTo>
                      <a:pt x="5" y="347"/>
                      <a:pt x="5" y="347"/>
                      <a:pt x="5" y="347"/>
                    </a:cubicBezTo>
                    <a:cubicBezTo>
                      <a:pt x="6" y="346"/>
                      <a:pt x="6" y="346"/>
                      <a:pt x="6" y="346"/>
                    </a:cubicBezTo>
                    <a:cubicBezTo>
                      <a:pt x="6" y="345"/>
                      <a:pt x="6" y="345"/>
                      <a:pt x="6" y="345"/>
                    </a:cubicBezTo>
                    <a:cubicBezTo>
                      <a:pt x="4" y="344"/>
                      <a:pt x="4" y="344"/>
                      <a:pt x="4" y="344"/>
                    </a:cubicBezTo>
                    <a:cubicBezTo>
                      <a:pt x="4" y="343"/>
                      <a:pt x="4" y="343"/>
                      <a:pt x="4" y="343"/>
                    </a:cubicBezTo>
                    <a:cubicBezTo>
                      <a:pt x="5" y="341"/>
                      <a:pt x="5" y="341"/>
                      <a:pt x="5" y="341"/>
                    </a:cubicBezTo>
                    <a:cubicBezTo>
                      <a:pt x="7" y="341"/>
                      <a:pt x="7" y="341"/>
                      <a:pt x="7" y="341"/>
                    </a:cubicBezTo>
                    <a:cubicBezTo>
                      <a:pt x="8" y="340"/>
                      <a:pt x="8" y="340"/>
                      <a:pt x="8" y="340"/>
                    </a:cubicBezTo>
                    <a:cubicBezTo>
                      <a:pt x="8" y="343"/>
                      <a:pt x="8" y="343"/>
                      <a:pt x="8" y="343"/>
                    </a:cubicBezTo>
                    <a:cubicBezTo>
                      <a:pt x="10" y="344"/>
                      <a:pt x="10" y="344"/>
                      <a:pt x="10" y="344"/>
                    </a:cubicBezTo>
                    <a:cubicBezTo>
                      <a:pt x="12" y="344"/>
                      <a:pt x="12" y="344"/>
                      <a:pt x="12" y="344"/>
                    </a:cubicBezTo>
                    <a:cubicBezTo>
                      <a:pt x="13" y="343"/>
                      <a:pt x="13" y="343"/>
                      <a:pt x="13" y="343"/>
                    </a:cubicBezTo>
                    <a:cubicBezTo>
                      <a:pt x="14" y="343"/>
                      <a:pt x="14" y="343"/>
                      <a:pt x="14" y="343"/>
                    </a:cubicBezTo>
                    <a:cubicBezTo>
                      <a:pt x="15" y="344"/>
                      <a:pt x="15" y="344"/>
                      <a:pt x="15" y="344"/>
                    </a:cubicBezTo>
                    <a:cubicBezTo>
                      <a:pt x="18" y="346"/>
                      <a:pt x="18" y="346"/>
                      <a:pt x="18" y="346"/>
                    </a:cubicBezTo>
                    <a:cubicBezTo>
                      <a:pt x="19" y="347"/>
                      <a:pt x="19" y="347"/>
                      <a:pt x="19" y="347"/>
                    </a:cubicBezTo>
                    <a:cubicBezTo>
                      <a:pt x="18" y="347"/>
                      <a:pt x="18" y="347"/>
                      <a:pt x="18" y="347"/>
                    </a:cubicBezTo>
                    <a:cubicBezTo>
                      <a:pt x="17" y="348"/>
                      <a:pt x="17" y="348"/>
                      <a:pt x="17" y="348"/>
                    </a:cubicBezTo>
                    <a:cubicBezTo>
                      <a:pt x="18" y="349"/>
                      <a:pt x="18" y="349"/>
                      <a:pt x="18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6" y="351"/>
                      <a:pt x="16" y="351"/>
                      <a:pt x="16" y="351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9" y="354"/>
                      <a:pt x="19" y="354"/>
                      <a:pt x="19" y="354"/>
                    </a:cubicBezTo>
                    <a:cubicBezTo>
                      <a:pt x="18" y="354"/>
                      <a:pt x="18" y="354"/>
                      <a:pt x="18" y="354"/>
                    </a:cubicBezTo>
                    <a:cubicBezTo>
                      <a:pt x="16" y="354"/>
                      <a:pt x="16" y="354"/>
                      <a:pt x="16" y="354"/>
                    </a:cubicBezTo>
                    <a:cubicBezTo>
                      <a:pt x="16" y="353"/>
                      <a:pt x="16" y="353"/>
                      <a:pt x="16" y="353"/>
                    </a:cubicBezTo>
                    <a:cubicBezTo>
                      <a:pt x="15" y="353"/>
                      <a:pt x="15" y="353"/>
                      <a:pt x="15" y="353"/>
                    </a:cubicBezTo>
                    <a:cubicBezTo>
                      <a:pt x="15" y="354"/>
                      <a:pt x="15" y="354"/>
                      <a:pt x="15" y="354"/>
                    </a:cubicBezTo>
                    <a:cubicBezTo>
                      <a:pt x="16" y="356"/>
                      <a:pt x="16" y="356"/>
                      <a:pt x="16" y="356"/>
                    </a:cubicBezTo>
                    <a:cubicBezTo>
                      <a:pt x="17" y="357"/>
                      <a:pt x="17" y="357"/>
                      <a:pt x="17" y="357"/>
                    </a:cubicBezTo>
                    <a:cubicBezTo>
                      <a:pt x="19" y="357"/>
                      <a:pt x="19" y="357"/>
                      <a:pt x="19" y="357"/>
                    </a:cubicBezTo>
                    <a:cubicBezTo>
                      <a:pt x="22" y="356"/>
                      <a:pt x="22" y="356"/>
                      <a:pt x="22" y="356"/>
                    </a:cubicBezTo>
                    <a:cubicBezTo>
                      <a:pt x="23" y="357"/>
                      <a:pt x="23" y="357"/>
                      <a:pt x="23" y="357"/>
                    </a:cubicBezTo>
                    <a:cubicBezTo>
                      <a:pt x="24" y="357"/>
                      <a:pt x="24" y="357"/>
                      <a:pt x="24" y="357"/>
                    </a:cubicBezTo>
                    <a:cubicBezTo>
                      <a:pt x="26" y="356"/>
                      <a:pt x="26" y="356"/>
                      <a:pt x="26" y="356"/>
                    </a:cubicBezTo>
                    <a:cubicBezTo>
                      <a:pt x="25" y="358"/>
                      <a:pt x="25" y="358"/>
                      <a:pt x="25" y="358"/>
                    </a:cubicBezTo>
                    <a:cubicBezTo>
                      <a:pt x="25" y="358"/>
                      <a:pt x="25" y="358"/>
                      <a:pt x="25" y="358"/>
                    </a:cubicBezTo>
                    <a:cubicBezTo>
                      <a:pt x="25" y="359"/>
                      <a:pt x="25" y="359"/>
                      <a:pt x="25" y="359"/>
                    </a:cubicBezTo>
                    <a:cubicBezTo>
                      <a:pt x="23" y="359"/>
                      <a:pt x="23" y="359"/>
                      <a:pt x="23" y="359"/>
                    </a:cubicBezTo>
                    <a:cubicBezTo>
                      <a:pt x="22" y="360"/>
                      <a:pt x="22" y="360"/>
                      <a:pt x="22" y="360"/>
                    </a:cubicBezTo>
                    <a:cubicBezTo>
                      <a:pt x="21" y="359"/>
                      <a:pt x="21" y="359"/>
                      <a:pt x="21" y="359"/>
                    </a:cubicBezTo>
                    <a:cubicBezTo>
                      <a:pt x="18" y="359"/>
                      <a:pt x="18" y="359"/>
                      <a:pt x="18" y="359"/>
                    </a:cubicBezTo>
                    <a:cubicBezTo>
                      <a:pt x="17" y="361"/>
                      <a:pt x="17" y="361"/>
                      <a:pt x="17" y="361"/>
                    </a:cubicBezTo>
                    <a:cubicBezTo>
                      <a:pt x="18" y="362"/>
                      <a:pt x="18" y="362"/>
                      <a:pt x="18" y="362"/>
                    </a:cubicBezTo>
                    <a:cubicBezTo>
                      <a:pt x="20" y="363"/>
                      <a:pt x="20" y="363"/>
                      <a:pt x="20" y="363"/>
                    </a:cubicBezTo>
                    <a:cubicBezTo>
                      <a:pt x="20" y="365"/>
                      <a:pt x="20" y="365"/>
                      <a:pt x="20" y="365"/>
                    </a:cubicBezTo>
                    <a:cubicBezTo>
                      <a:pt x="22" y="365"/>
                      <a:pt x="22" y="365"/>
                      <a:pt x="22" y="365"/>
                    </a:cubicBezTo>
                    <a:cubicBezTo>
                      <a:pt x="23" y="364"/>
                      <a:pt x="23" y="364"/>
                      <a:pt x="23" y="364"/>
                    </a:cubicBezTo>
                    <a:cubicBezTo>
                      <a:pt x="23" y="365"/>
                      <a:pt x="23" y="365"/>
                      <a:pt x="23" y="365"/>
                    </a:cubicBezTo>
                    <a:cubicBezTo>
                      <a:pt x="21" y="367"/>
                      <a:pt x="21" y="367"/>
                      <a:pt x="21" y="367"/>
                    </a:cubicBezTo>
                    <a:cubicBezTo>
                      <a:pt x="21" y="368"/>
                      <a:pt x="21" y="368"/>
                      <a:pt x="21" y="368"/>
                    </a:cubicBezTo>
                    <a:cubicBezTo>
                      <a:pt x="22" y="369"/>
                      <a:pt x="22" y="369"/>
                      <a:pt x="22" y="369"/>
                    </a:cubicBezTo>
                    <a:cubicBezTo>
                      <a:pt x="21" y="370"/>
                      <a:pt x="21" y="370"/>
                      <a:pt x="21" y="370"/>
                    </a:cubicBezTo>
                    <a:cubicBezTo>
                      <a:pt x="20" y="370"/>
                      <a:pt x="20" y="370"/>
                      <a:pt x="20" y="370"/>
                    </a:cubicBezTo>
                    <a:cubicBezTo>
                      <a:pt x="20" y="371"/>
                      <a:pt x="20" y="371"/>
                      <a:pt x="20" y="371"/>
                    </a:cubicBezTo>
                    <a:cubicBezTo>
                      <a:pt x="21" y="376"/>
                      <a:pt x="21" y="376"/>
                      <a:pt x="21" y="376"/>
                    </a:cubicBezTo>
                    <a:cubicBezTo>
                      <a:pt x="22" y="377"/>
                      <a:pt x="22" y="377"/>
                      <a:pt x="22" y="377"/>
                    </a:cubicBezTo>
                    <a:cubicBezTo>
                      <a:pt x="22" y="379"/>
                      <a:pt x="22" y="379"/>
                      <a:pt x="22" y="379"/>
                    </a:cubicBezTo>
                    <a:cubicBezTo>
                      <a:pt x="23" y="381"/>
                      <a:pt x="23" y="381"/>
                      <a:pt x="23" y="381"/>
                    </a:cubicBezTo>
                    <a:cubicBezTo>
                      <a:pt x="25" y="382"/>
                      <a:pt x="25" y="382"/>
                      <a:pt x="25" y="382"/>
                    </a:cubicBezTo>
                    <a:cubicBezTo>
                      <a:pt x="25" y="379"/>
                      <a:pt x="25" y="379"/>
                      <a:pt x="25" y="379"/>
                    </a:cubicBezTo>
                    <a:cubicBezTo>
                      <a:pt x="26" y="375"/>
                      <a:pt x="26" y="375"/>
                      <a:pt x="26" y="375"/>
                    </a:cubicBezTo>
                    <a:cubicBezTo>
                      <a:pt x="27" y="374"/>
                      <a:pt x="27" y="374"/>
                      <a:pt x="27" y="374"/>
                    </a:cubicBezTo>
                    <a:cubicBezTo>
                      <a:pt x="28" y="375"/>
                      <a:pt x="28" y="375"/>
                      <a:pt x="28" y="375"/>
                    </a:cubicBezTo>
                    <a:cubicBezTo>
                      <a:pt x="27" y="375"/>
                      <a:pt x="27" y="375"/>
                      <a:pt x="27" y="375"/>
                    </a:cubicBezTo>
                    <a:cubicBezTo>
                      <a:pt x="25" y="379"/>
                      <a:pt x="25" y="379"/>
                      <a:pt x="25" y="379"/>
                    </a:cubicBezTo>
                    <a:cubicBezTo>
                      <a:pt x="26" y="380"/>
                      <a:pt x="26" y="380"/>
                      <a:pt x="26" y="380"/>
                    </a:cubicBezTo>
                    <a:cubicBezTo>
                      <a:pt x="27" y="381"/>
                      <a:pt x="27" y="381"/>
                      <a:pt x="27" y="381"/>
                    </a:cubicBezTo>
                    <a:cubicBezTo>
                      <a:pt x="28" y="381"/>
                      <a:pt x="28" y="381"/>
                      <a:pt x="28" y="381"/>
                    </a:cubicBezTo>
                    <a:cubicBezTo>
                      <a:pt x="28" y="382"/>
                      <a:pt x="28" y="382"/>
                      <a:pt x="28" y="382"/>
                    </a:cubicBezTo>
                    <a:cubicBezTo>
                      <a:pt x="26" y="382"/>
                      <a:pt x="26" y="382"/>
                      <a:pt x="26" y="382"/>
                    </a:cubicBezTo>
                    <a:cubicBezTo>
                      <a:pt x="24" y="384"/>
                      <a:pt x="24" y="384"/>
                      <a:pt x="24" y="384"/>
                    </a:cubicBezTo>
                    <a:cubicBezTo>
                      <a:pt x="24" y="385"/>
                      <a:pt x="24" y="385"/>
                      <a:pt x="24" y="385"/>
                    </a:cubicBezTo>
                    <a:cubicBezTo>
                      <a:pt x="24" y="387"/>
                      <a:pt x="24" y="387"/>
                      <a:pt x="24" y="387"/>
                    </a:cubicBezTo>
                    <a:cubicBezTo>
                      <a:pt x="24" y="388"/>
                      <a:pt x="24" y="388"/>
                      <a:pt x="24" y="388"/>
                    </a:cubicBezTo>
                    <a:cubicBezTo>
                      <a:pt x="23" y="389"/>
                      <a:pt x="23" y="389"/>
                      <a:pt x="23" y="389"/>
                    </a:cubicBezTo>
                    <a:cubicBezTo>
                      <a:pt x="22" y="391"/>
                      <a:pt x="22" y="391"/>
                      <a:pt x="22" y="391"/>
                    </a:cubicBezTo>
                    <a:cubicBezTo>
                      <a:pt x="22" y="392"/>
                      <a:pt x="22" y="392"/>
                      <a:pt x="22" y="392"/>
                    </a:cubicBezTo>
                    <a:cubicBezTo>
                      <a:pt x="25" y="394"/>
                      <a:pt x="25" y="394"/>
                      <a:pt x="25" y="394"/>
                    </a:cubicBezTo>
                    <a:cubicBezTo>
                      <a:pt x="29" y="395"/>
                      <a:pt x="29" y="395"/>
                      <a:pt x="29" y="395"/>
                    </a:cubicBezTo>
                    <a:cubicBezTo>
                      <a:pt x="30" y="396"/>
                      <a:pt x="30" y="396"/>
                      <a:pt x="30" y="396"/>
                    </a:cubicBezTo>
                    <a:cubicBezTo>
                      <a:pt x="30" y="397"/>
                      <a:pt x="30" y="397"/>
                      <a:pt x="30" y="397"/>
                    </a:cubicBezTo>
                    <a:cubicBezTo>
                      <a:pt x="29" y="397"/>
                      <a:pt x="29" y="397"/>
                      <a:pt x="29" y="397"/>
                    </a:cubicBezTo>
                    <a:cubicBezTo>
                      <a:pt x="29" y="399"/>
                      <a:pt x="29" y="399"/>
                      <a:pt x="29" y="399"/>
                    </a:cubicBezTo>
                    <a:cubicBezTo>
                      <a:pt x="30" y="400"/>
                      <a:pt x="30" y="400"/>
                      <a:pt x="30" y="400"/>
                    </a:cubicBezTo>
                    <a:cubicBezTo>
                      <a:pt x="32" y="398"/>
                      <a:pt x="32" y="398"/>
                      <a:pt x="32" y="398"/>
                    </a:cubicBezTo>
                    <a:cubicBezTo>
                      <a:pt x="32" y="399"/>
                      <a:pt x="32" y="399"/>
                      <a:pt x="32" y="399"/>
                    </a:cubicBezTo>
                    <a:cubicBezTo>
                      <a:pt x="31" y="401"/>
                      <a:pt x="31" y="401"/>
                      <a:pt x="31" y="401"/>
                    </a:cubicBezTo>
                    <a:cubicBezTo>
                      <a:pt x="30" y="401"/>
                      <a:pt x="30" y="401"/>
                      <a:pt x="30" y="401"/>
                    </a:cubicBezTo>
                    <a:cubicBezTo>
                      <a:pt x="29" y="403"/>
                      <a:pt x="29" y="403"/>
                      <a:pt x="29" y="403"/>
                    </a:cubicBezTo>
                    <a:cubicBezTo>
                      <a:pt x="30" y="403"/>
                      <a:pt x="30" y="403"/>
                      <a:pt x="30" y="403"/>
                    </a:cubicBezTo>
                    <a:cubicBezTo>
                      <a:pt x="31" y="403"/>
                      <a:pt x="31" y="403"/>
                      <a:pt x="31" y="403"/>
                    </a:cubicBezTo>
                    <a:cubicBezTo>
                      <a:pt x="31" y="405"/>
                      <a:pt x="31" y="405"/>
                      <a:pt x="31" y="405"/>
                    </a:cubicBezTo>
                    <a:cubicBezTo>
                      <a:pt x="32" y="406"/>
                      <a:pt x="32" y="406"/>
                      <a:pt x="32" y="406"/>
                    </a:cubicBezTo>
                    <a:cubicBezTo>
                      <a:pt x="33" y="406"/>
                      <a:pt x="33" y="406"/>
                      <a:pt x="33" y="406"/>
                    </a:cubicBezTo>
                    <a:cubicBezTo>
                      <a:pt x="34" y="405"/>
                      <a:pt x="34" y="405"/>
                      <a:pt x="34" y="405"/>
                    </a:cubicBezTo>
                    <a:cubicBezTo>
                      <a:pt x="34" y="407"/>
                      <a:pt x="34" y="407"/>
                      <a:pt x="34" y="407"/>
                    </a:cubicBezTo>
                    <a:cubicBezTo>
                      <a:pt x="35" y="409"/>
                      <a:pt x="35" y="409"/>
                      <a:pt x="35" y="409"/>
                    </a:cubicBezTo>
                    <a:cubicBezTo>
                      <a:pt x="34" y="409"/>
                      <a:pt x="34" y="409"/>
                      <a:pt x="34" y="409"/>
                    </a:cubicBezTo>
                    <a:cubicBezTo>
                      <a:pt x="33" y="408"/>
                      <a:pt x="33" y="408"/>
                      <a:pt x="33" y="408"/>
                    </a:cubicBezTo>
                    <a:cubicBezTo>
                      <a:pt x="32" y="408"/>
                      <a:pt x="32" y="408"/>
                      <a:pt x="32" y="408"/>
                    </a:cubicBezTo>
                    <a:cubicBezTo>
                      <a:pt x="32" y="410"/>
                      <a:pt x="32" y="410"/>
                      <a:pt x="32" y="410"/>
                    </a:cubicBezTo>
                    <a:cubicBezTo>
                      <a:pt x="33" y="412"/>
                      <a:pt x="33" y="412"/>
                      <a:pt x="33" y="412"/>
                    </a:cubicBezTo>
                    <a:cubicBezTo>
                      <a:pt x="34" y="412"/>
                      <a:pt x="34" y="412"/>
                      <a:pt x="34" y="412"/>
                    </a:cubicBezTo>
                    <a:cubicBezTo>
                      <a:pt x="35" y="414"/>
                      <a:pt x="35" y="414"/>
                      <a:pt x="35" y="414"/>
                    </a:cubicBezTo>
                    <a:cubicBezTo>
                      <a:pt x="36" y="415"/>
                      <a:pt x="36" y="415"/>
                      <a:pt x="36" y="415"/>
                    </a:cubicBezTo>
                    <a:cubicBezTo>
                      <a:pt x="37" y="417"/>
                      <a:pt x="37" y="417"/>
                      <a:pt x="37" y="417"/>
                    </a:cubicBezTo>
                    <a:cubicBezTo>
                      <a:pt x="39" y="417"/>
                      <a:pt x="39" y="417"/>
                      <a:pt x="39" y="417"/>
                    </a:cubicBezTo>
                    <a:cubicBezTo>
                      <a:pt x="38" y="414"/>
                      <a:pt x="38" y="414"/>
                      <a:pt x="38" y="414"/>
                    </a:cubicBezTo>
                    <a:cubicBezTo>
                      <a:pt x="38" y="413"/>
                      <a:pt x="38" y="413"/>
                      <a:pt x="38" y="413"/>
                    </a:cubicBezTo>
                    <a:cubicBezTo>
                      <a:pt x="38" y="411"/>
                      <a:pt x="38" y="411"/>
                      <a:pt x="38" y="411"/>
                    </a:cubicBezTo>
                    <a:cubicBezTo>
                      <a:pt x="39" y="412"/>
                      <a:pt x="39" y="412"/>
                      <a:pt x="39" y="412"/>
                    </a:cubicBezTo>
                    <a:cubicBezTo>
                      <a:pt x="39" y="414"/>
                      <a:pt x="39" y="414"/>
                      <a:pt x="39" y="414"/>
                    </a:cubicBezTo>
                    <a:cubicBezTo>
                      <a:pt x="41" y="416"/>
                      <a:pt x="41" y="416"/>
                      <a:pt x="41" y="416"/>
                    </a:cubicBezTo>
                    <a:cubicBezTo>
                      <a:pt x="41" y="414"/>
                      <a:pt x="41" y="414"/>
                      <a:pt x="41" y="414"/>
                    </a:cubicBezTo>
                    <a:cubicBezTo>
                      <a:pt x="42" y="412"/>
                      <a:pt x="42" y="412"/>
                      <a:pt x="42" y="412"/>
                    </a:cubicBezTo>
                    <a:cubicBezTo>
                      <a:pt x="42" y="411"/>
                      <a:pt x="42" y="411"/>
                      <a:pt x="42" y="411"/>
                    </a:cubicBezTo>
                    <a:cubicBezTo>
                      <a:pt x="41" y="411"/>
                      <a:pt x="41" y="411"/>
                      <a:pt x="41" y="411"/>
                    </a:cubicBezTo>
                    <a:cubicBezTo>
                      <a:pt x="39" y="410"/>
                      <a:pt x="39" y="410"/>
                      <a:pt x="39" y="410"/>
                    </a:cubicBezTo>
                    <a:cubicBezTo>
                      <a:pt x="39" y="410"/>
                      <a:pt x="39" y="410"/>
                      <a:pt x="39" y="410"/>
                    </a:cubicBezTo>
                    <a:cubicBezTo>
                      <a:pt x="40" y="410"/>
                      <a:pt x="40" y="410"/>
                      <a:pt x="40" y="410"/>
                    </a:cubicBezTo>
                    <a:cubicBezTo>
                      <a:pt x="43" y="410"/>
                      <a:pt x="43" y="410"/>
                      <a:pt x="43" y="410"/>
                    </a:cubicBezTo>
                    <a:cubicBezTo>
                      <a:pt x="44" y="411"/>
                      <a:pt x="44" y="411"/>
                      <a:pt x="44" y="411"/>
                    </a:cubicBezTo>
                    <a:cubicBezTo>
                      <a:pt x="46" y="411"/>
                      <a:pt x="46" y="411"/>
                      <a:pt x="46" y="411"/>
                    </a:cubicBezTo>
                    <a:cubicBezTo>
                      <a:pt x="45" y="410"/>
                      <a:pt x="45" y="410"/>
                      <a:pt x="45" y="410"/>
                    </a:cubicBezTo>
                    <a:cubicBezTo>
                      <a:pt x="43" y="409"/>
                      <a:pt x="43" y="409"/>
                      <a:pt x="43" y="409"/>
                    </a:cubicBezTo>
                    <a:cubicBezTo>
                      <a:pt x="40" y="408"/>
                      <a:pt x="40" y="408"/>
                      <a:pt x="40" y="408"/>
                    </a:cubicBezTo>
                    <a:cubicBezTo>
                      <a:pt x="40" y="408"/>
                      <a:pt x="40" y="408"/>
                      <a:pt x="40" y="408"/>
                    </a:cubicBezTo>
                    <a:cubicBezTo>
                      <a:pt x="41" y="407"/>
                      <a:pt x="41" y="407"/>
                      <a:pt x="41" y="407"/>
                    </a:cubicBezTo>
                    <a:cubicBezTo>
                      <a:pt x="44" y="408"/>
                      <a:pt x="44" y="408"/>
                      <a:pt x="44" y="408"/>
                    </a:cubicBezTo>
                    <a:cubicBezTo>
                      <a:pt x="47" y="410"/>
                      <a:pt x="47" y="410"/>
                      <a:pt x="47" y="410"/>
                    </a:cubicBezTo>
                    <a:cubicBezTo>
                      <a:pt x="47" y="412"/>
                      <a:pt x="47" y="412"/>
                      <a:pt x="47" y="412"/>
                    </a:cubicBezTo>
                    <a:cubicBezTo>
                      <a:pt x="46" y="414"/>
                      <a:pt x="46" y="414"/>
                      <a:pt x="46" y="414"/>
                    </a:cubicBezTo>
                    <a:cubicBezTo>
                      <a:pt x="46" y="415"/>
                      <a:pt x="46" y="415"/>
                      <a:pt x="46" y="415"/>
                    </a:cubicBezTo>
                    <a:cubicBezTo>
                      <a:pt x="47" y="418"/>
                      <a:pt x="47" y="418"/>
                      <a:pt x="47" y="418"/>
                    </a:cubicBezTo>
                    <a:cubicBezTo>
                      <a:pt x="47" y="419"/>
                      <a:pt x="47" y="419"/>
                      <a:pt x="47" y="419"/>
                    </a:cubicBezTo>
                    <a:cubicBezTo>
                      <a:pt x="46" y="420"/>
                      <a:pt x="46" y="420"/>
                      <a:pt x="46" y="420"/>
                    </a:cubicBezTo>
                    <a:cubicBezTo>
                      <a:pt x="47" y="418"/>
                      <a:pt x="47" y="418"/>
                      <a:pt x="47" y="418"/>
                    </a:cubicBezTo>
                    <a:cubicBezTo>
                      <a:pt x="45" y="415"/>
                      <a:pt x="45" y="415"/>
                      <a:pt x="45" y="415"/>
                    </a:cubicBezTo>
                    <a:cubicBezTo>
                      <a:pt x="44" y="414"/>
                      <a:pt x="44" y="414"/>
                      <a:pt x="44" y="414"/>
                    </a:cubicBezTo>
                    <a:cubicBezTo>
                      <a:pt x="43" y="415"/>
                      <a:pt x="43" y="415"/>
                      <a:pt x="43" y="415"/>
                    </a:cubicBezTo>
                    <a:cubicBezTo>
                      <a:pt x="43" y="417"/>
                      <a:pt x="43" y="417"/>
                      <a:pt x="43" y="417"/>
                    </a:cubicBezTo>
                    <a:cubicBezTo>
                      <a:pt x="44" y="418"/>
                      <a:pt x="44" y="418"/>
                      <a:pt x="44" y="418"/>
                    </a:cubicBezTo>
                    <a:cubicBezTo>
                      <a:pt x="43" y="419"/>
                      <a:pt x="43" y="419"/>
                      <a:pt x="43" y="419"/>
                    </a:cubicBezTo>
                    <a:cubicBezTo>
                      <a:pt x="42" y="419"/>
                      <a:pt x="42" y="419"/>
                      <a:pt x="42" y="419"/>
                    </a:cubicBezTo>
                    <a:cubicBezTo>
                      <a:pt x="42" y="417"/>
                      <a:pt x="42" y="417"/>
                      <a:pt x="42" y="417"/>
                    </a:cubicBezTo>
                    <a:cubicBezTo>
                      <a:pt x="41" y="417"/>
                      <a:pt x="41" y="417"/>
                      <a:pt x="41" y="417"/>
                    </a:cubicBezTo>
                    <a:cubicBezTo>
                      <a:pt x="40" y="418"/>
                      <a:pt x="40" y="418"/>
                      <a:pt x="40" y="418"/>
                    </a:cubicBezTo>
                    <a:cubicBezTo>
                      <a:pt x="37" y="418"/>
                      <a:pt x="37" y="418"/>
                      <a:pt x="37" y="418"/>
                    </a:cubicBezTo>
                    <a:cubicBezTo>
                      <a:pt x="36" y="419"/>
                      <a:pt x="36" y="419"/>
                      <a:pt x="36" y="419"/>
                    </a:cubicBezTo>
                    <a:cubicBezTo>
                      <a:pt x="37" y="420"/>
                      <a:pt x="37" y="420"/>
                      <a:pt x="37" y="420"/>
                    </a:cubicBezTo>
                    <a:cubicBezTo>
                      <a:pt x="37" y="422"/>
                      <a:pt x="37" y="422"/>
                      <a:pt x="37" y="422"/>
                    </a:cubicBezTo>
                    <a:cubicBezTo>
                      <a:pt x="38" y="424"/>
                      <a:pt x="38" y="424"/>
                      <a:pt x="38" y="424"/>
                    </a:cubicBezTo>
                    <a:cubicBezTo>
                      <a:pt x="38" y="425"/>
                      <a:pt x="38" y="425"/>
                      <a:pt x="38" y="425"/>
                    </a:cubicBezTo>
                    <a:cubicBezTo>
                      <a:pt x="38" y="426"/>
                      <a:pt x="38" y="426"/>
                      <a:pt x="38" y="426"/>
                    </a:cubicBezTo>
                    <a:cubicBezTo>
                      <a:pt x="38" y="427"/>
                      <a:pt x="38" y="427"/>
                      <a:pt x="38" y="427"/>
                    </a:cubicBezTo>
                    <a:cubicBezTo>
                      <a:pt x="39" y="427"/>
                      <a:pt x="39" y="427"/>
                      <a:pt x="39" y="427"/>
                    </a:cubicBezTo>
                    <a:cubicBezTo>
                      <a:pt x="40" y="425"/>
                      <a:pt x="40" y="425"/>
                      <a:pt x="40" y="425"/>
                    </a:cubicBezTo>
                    <a:cubicBezTo>
                      <a:pt x="41" y="426"/>
                      <a:pt x="41" y="426"/>
                      <a:pt x="41" y="426"/>
                    </a:cubicBezTo>
                    <a:cubicBezTo>
                      <a:pt x="43" y="427"/>
                      <a:pt x="43" y="427"/>
                      <a:pt x="43" y="427"/>
                    </a:cubicBezTo>
                    <a:cubicBezTo>
                      <a:pt x="43" y="427"/>
                      <a:pt x="43" y="427"/>
                      <a:pt x="43" y="427"/>
                    </a:cubicBezTo>
                    <a:cubicBezTo>
                      <a:pt x="41" y="428"/>
                      <a:pt x="41" y="428"/>
                      <a:pt x="41" y="428"/>
                    </a:cubicBezTo>
                    <a:cubicBezTo>
                      <a:pt x="40" y="429"/>
                      <a:pt x="40" y="429"/>
                      <a:pt x="40" y="429"/>
                    </a:cubicBezTo>
                    <a:cubicBezTo>
                      <a:pt x="40" y="430"/>
                      <a:pt x="40" y="430"/>
                      <a:pt x="40" y="430"/>
                    </a:cubicBezTo>
                    <a:cubicBezTo>
                      <a:pt x="43" y="430"/>
                      <a:pt x="43" y="430"/>
                      <a:pt x="43" y="430"/>
                    </a:cubicBezTo>
                    <a:cubicBezTo>
                      <a:pt x="45" y="432"/>
                      <a:pt x="45" y="432"/>
                      <a:pt x="45" y="432"/>
                    </a:cubicBezTo>
                    <a:cubicBezTo>
                      <a:pt x="46" y="431"/>
                      <a:pt x="46" y="431"/>
                      <a:pt x="46" y="431"/>
                    </a:cubicBezTo>
                    <a:cubicBezTo>
                      <a:pt x="47" y="430"/>
                      <a:pt x="47" y="430"/>
                      <a:pt x="47" y="430"/>
                    </a:cubicBezTo>
                    <a:cubicBezTo>
                      <a:pt x="46" y="428"/>
                      <a:pt x="46" y="428"/>
                      <a:pt x="46" y="428"/>
                    </a:cubicBezTo>
                    <a:cubicBezTo>
                      <a:pt x="47" y="427"/>
                      <a:pt x="47" y="427"/>
                      <a:pt x="47" y="427"/>
                    </a:cubicBezTo>
                    <a:cubicBezTo>
                      <a:pt x="46" y="425"/>
                      <a:pt x="46" y="425"/>
                      <a:pt x="46" y="425"/>
                    </a:cubicBezTo>
                    <a:cubicBezTo>
                      <a:pt x="45" y="425"/>
                      <a:pt x="45" y="425"/>
                      <a:pt x="45" y="425"/>
                    </a:cubicBezTo>
                    <a:cubicBezTo>
                      <a:pt x="44" y="425"/>
                      <a:pt x="44" y="425"/>
                      <a:pt x="44" y="425"/>
                    </a:cubicBezTo>
                    <a:cubicBezTo>
                      <a:pt x="44" y="425"/>
                      <a:pt x="44" y="425"/>
                      <a:pt x="44" y="425"/>
                    </a:cubicBezTo>
                    <a:cubicBezTo>
                      <a:pt x="46" y="424"/>
                      <a:pt x="46" y="424"/>
                      <a:pt x="46" y="424"/>
                    </a:cubicBezTo>
                    <a:cubicBezTo>
                      <a:pt x="45" y="423"/>
                      <a:pt x="45" y="423"/>
                      <a:pt x="45" y="423"/>
                    </a:cubicBezTo>
                    <a:cubicBezTo>
                      <a:pt x="46" y="422"/>
                      <a:pt x="46" y="422"/>
                      <a:pt x="46" y="422"/>
                    </a:cubicBezTo>
                    <a:cubicBezTo>
                      <a:pt x="48" y="423"/>
                      <a:pt x="48" y="423"/>
                      <a:pt x="48" y="423"/>
                    </a:cubicBezTo>
                    <a:cubicBezTo>
                      <a:pt x="49" y="422"/>
                      <a:pt x="49" y="422"/>
                      <a:pt x="49" y="422"/>
                    </a:cubicBezTo>
                    <a:cubicBezTo>
                      <a:pt x="50" y="423"/>
                      <a:pt x="50" y="423"/>
                      <a:pt x="50" y="423"/>
                    </a:cubicBezTo>
                    <a:cubicBezTo>
                      <a:pt x="51" y="424"/>
                      <a:pt x="51" y="424"/>
                      <a:pt x="51" y="424"/>
                    </a:cubicBezTo>
                    <a:cubicBezTo>
                      <a:pt x="51" y="423"/>
                      <a:pt x="51" y="423"/>
                      <a:pt x="51" y="423"/>
                    </a:cubicBezTo>
                    <a:cubicBezTo>
                      <a:pt x="53" y="422"/>
                      <a:pt x="53" y="422"/>
                      <a:pt x="53" y="422"/>
                    </a:cubicBezTo>
                    <a:cubicBezTo>
                      <a:pt x="55" y="423"/>
                      <a:pt x="55" y="423"/>
                      <a:pt x="55" y="423"/>
                    </a:cubicBezTo>
                    <a:cubicBezTo>
                      <a:pt x="57" y="423"/>
                      <a:pt x="57" y="423"/>
                      <a:pt x="57" y="423"/>
                    </a:cubicBezTo>
                    <a:cubicBezTo>
                      <a:pt x="58" y="423"/>
                      <a:pt x="58" y="423"/>
                      <a:pt x="58" y="423"/>
                    </a:cubicBezTo>
                    <a:cubicBezTo>
                      <a:pt x="58" y="424"/>
                      <a:pt x="58" y="424"/>
                      <a:pt x="58" y="424"/>
                    </a:cubicBezTo>
                    <a:cubicBezTo>
                      <a:pt x="57" y="424"/>
                      <a:pt x="57" y="424"/>
                      <a:pt x="57" y="424"/>
                    </a:cubicBezTo>
                    <a:cubicBezTo>
                      <a:pt x="57" y="425"/>
                      <a:pt x="57" y="425"/>
                      <a:pt x="57" y="425"/>
                    </a:cubicBezTo>
                    <a:cubicBezTo>
                      <a:pt x="55" y="425"/>
                      <a:pt x="55" y="425"/>
                      <a:pt x="55" y="425"/>
                    </a:cubicBezTo>
                    <a:cubicBezTo>
                      <a:pt x="54" y="424"/>
                      <a:pt x="54" y="424"/>
                      <a:pt x="54" y="424"/>
                    </a:cubicBezTo>
                    <a:cubicBezTo>
                      <a:pt x="53" y="424"/>
                      <a:pt x="53" y="424"/>
                      <a:pt x="53" y="424"/>
                    </a:cubicBezTo>
                    <a:cubicBezTo>
                      <a:pt x="50" y="427"/>
                      <a:pt x="50" y="427"/>
                      <a:pt x="50" y="427"/>
                    </a:cubicBezTo>
                    <a:cubicBezTo>
                      <a:pt x="49" y="427"/>
                      <a:pt x="49" y="427"/>
                      <a:pt x="49" y="427"/>
                    </a:cubicBezTo>
                    <a:cubicBezTo>
                      <a:pt x="48" y="427"/>
                      <a:pt x="48" y="427"/>
                      <a:pt x="48" y="427"/>
                    </a:cubicBezTo>
                    <a:cubicBezTo>
                      <a:pt x="47" y="428"/>
                      <a:pt x="47" y="428"/>
                      <a:pt x="47" y="428"/>
                    </a:cubicBezTo>
                    <a:cubicBezTo>
                      <a:pt x="48" y="430"/>
                      <a:pt x="48" y="430"/>
                      <a:pt x="48" y="430"/>
                    </a:cubicBezTo>
                    <a:cubicBezTo>
                      <a:pt x="47" y="431"/>
                      <a:pt x="47" y="431"/>
                      <a:pt x="47" y="431"/>
                    </a:cubicBezTo>
                    <a:cubicBezTo>
                      <a:pt x="46" y="432"/>
                      <a:pt x="46" y="432"/>
                      <a:pt x="46" y="432"/>
                    </a:cubicBezTo>
                    <a:cubicBezTo>
                      <a:pt x="46" y="432"/>
                      <a:pt x="46" y="432"/>
                      <a:pt x="46" y="432"/>
                    </a:cubicBezTo>
                    <a:cubicBezTo>
                      <a:pt x="47" y="433"/>
                      <a:pt x="47" y="433"/>
                      <a:pt x="47" y="433"/>
                    </a:cubicBezTo>
                    <a:cubicBezTo>
                      <a:pt x="47" y="434"/>
                      <a:pt x="47" y="434"/>
                      <a:pt x="47" y="434"/>
                    </a:cubicBezTo>
                    <a:cubicBezTo>
                      <a:pt x="47" y="435"/>
                      <a:pt x="47" y="435"/>
                      <a:pt x="47" y="435"/>
                    </a:cubicBezTo>
                    <a:cubicBezTo>
                      <a:pt x="49" y="436"/>
                      <a:pt x="49" y="436"/>
                      <a:pt x="49" y="436"/>
                    </a:cubicBezTo>
                    <a:cubicBezTo>
                      <a:pt x="51" y="437"/>
                      <a:pt x="51" y="437"/>
                      <a:pt x="51" y="437"/>
                    </a:cubicBezTo>
                    <a:cubicBezTo>
                      <a:pt x="52" y="437"/>
                      <a:pt x="52" y="437"/>
                      <a:pt x="52" y="437"/>
                    </a:cubicBezTo>
                    <a:cubicBezTo>
                      <a:pt x="52" y="437"/>
                      <a:pt x="52" y="437"/>
                      <a:pt x="52" y="437"/>
                    </a:cubicBezTo>
                    <a:cubicBezTo>
                      <a:pt x="52" y="435"/>
                      <a:pt x="52" y="435"/>
                      <a:pt x="52" y="435"/>
                    </a:cubicBezTo>
                    <a:cubicBezTo>
                      <a:pt x="53" y="434"/>
                      <a:pt x="53" y="434"/>
                      <a:pt x="53" y="434"/>
                    </a:cubicBezTo>
                    <a:cubicBezTo>
                      <a:pt x="54" y="433"/>
                      <a:pt x="54" y="433"/>
                      <a:pt x="54" y="433"/>
                    </a:cubicBezTo>
                    <a:cubicBezTo>
                      <a:pt x="55" y="433"/>
                      <a:pt x="55" y="433"/>
                      <a:pt x="55" y="433"/>
                    </a:cubicBezTo>
                    <a:cubicBezTo>
                      <a:pt x="53" y="431"/>
                      <a:pt x="53" y="431"/>
                      <a:pt x="53" y="431"/>
                    </a:cubicBezTo>
                    <a:cubicBezTo>
                      <a:pt x="56" y="430"/>
                      <a:pt x="56" y="430"/>
                      <a:pt x="56" y="430"/>
                    </a:cubicBezTo>
                    <a:cubicBezTo>
                      <a:pt x="57" y="429"/>
                      <a:pt x="57" y="429"/>
                      <a:pt x="57" y="429"/>
                    </a:cubicBezTo>
                    <a:cubicBezTo>
                      <a:pt x="59" y="426"/>
                      <a:pt x="59" y="426"/>
                      <a:pt x="59" y="426"/>
                    </a:cubicBezTo>
                    <a:cubicBezTo>
                      <a:pt x="60" y="426"/>
                      <a:pt x="60" y="426"/>
                      <a:pt x="60" y="426"/>
                    </a:cubicBezTo>
                    <a:cubicBezTo>
                      <a:pt x="60" y="426"/>
                      <a:pt x="60" y="426"/>
                      <a:pt x="60" y="426"/>
                    </a:cubicBezTo>
                    <a:cubicBezTo>
                      <a:pt x="62" y="427"/>
                      <a:pt x="62" y="427"/>
                      <a:pt x="62" y="427"/>
                    </a:cubicBezTo>
                    <a:cubicBezTo>
                      <a:pt x="63" y="427"/>
                      <a:pt x="63" y="427"/>
                      <a:pt x="63" y="427"/>
                    </a:cubicBezTo>
                    <a:cubicBezTo>
                      <a:pt x="63" y="427"/>
                      <a:pt x="63" y="427"/>
                      <a:pt x="63" y="427"/>
                    </a:cubicBezTo>
                    <a:cubicBezTo>
                      <a:pt x="62" y="428"/>
                      <a:pt x="62" y="428"/>
                      <a:pt x="62" y="428"/>
                    </a:cubicBezTo>
                    <a:cubicBezTo>
                      <a:pt x="61" y="430"/>
                      <a:pt x="61" y="430"/>
                      <a:pt x="61" y="430"/>
                    </a:cubicBezTo>
                    <a:cubicBezTo>
                      <a:pt x="60" y="431"/>
                      <a:pt x="60" y="431"/>
                      <a:pt x="60" y="431"/>
                    </a:cubicBezTo>
                    <a:cubicBezTo>
                      <a:pt x="59" y="432"/>
                      <a:pt x="59" y="432"/>
                      <a:pt x="59" y="432"/>
                    </a:cubicBezTo>
                    <a:cubicBezTo>
                      <a:pt x="59" y="434"/>
                      <a:pt x="59" y="434"/>
                      <a:pt x="59" y="434"/>
                    </a:cubicBezTo>
                    <a:cubicBezTo>
                      <a:pt x="59" y="436"/>
                      <a:pt x="59" y="436"/>
                      <a:pt x="59" y="436"/>
                    </a:cubicBezTo>
                    <a:cubicBezTo>
                      <a:pt x="58" y="437"/>
                      <a:pt x="58" y="437"/>
                      <a:pt x="58" y="437"/>
                    </a:cubicBezTo>
                    <a:cubicBezTo>
                      <a:pt x="57" y="438"/>
                      <a:pt x="57" y="438"/>
                      <a:pt x="57" y="438"/>
                    </a:cubicBezTo>
                    <a:cubicBezTo>
                      <a:pt x="57" y="437"/>
                      <a:pt x="57" y="437"/>
                      <a:pt x="57" y="437"/>
                    </a:cubicBezTo>
                    <a:cubicBezTo>
                      <a:pt x="58" y="436"/>
                      <a:pt x="58" y="436"/>
                      <a:pt x="58" y="436"/>
                    </a:cubicBezTo>
                    <a:cubicBezTo>
                      <a:pt x="58" y="434"/>
                      <a:pt x="58" y="434"/>
                      <a:pt x="58" y="434"/>
                    </a:cubicBezTo>
                    <a:cubicBezTo>
                      <a:pt x="57" y="433"/>
                      <a:pt x="57" y="433"/>
                      <a:pt x="57" y="433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35"/>
                      <a:pt x="56" y="435"/>
                      <a:pt x="56" y="435"/>
                    </a:cubicBezTo>
                    <a:cubicBezTo>
                      <a:pt x="55" y="435"/>
                      <a:pt x="55" y="435"/>
                      <a:pt x="55" y="435"/>
                    </a:cubicBezTo>
                    <a:cubicBezTo>
                      <a:pt x="54" y="435"/>
                      <a:pt x="54" y="435"/>
                      <a:pt x="54" y="435"/>
                    </a:cubicBezTo>
                    <a:cubicBezTo>
                      <a:pt x="53" y="436"/>
                      <a:pt x="53" y="436"/>
                      <a:pt x="53" y="436"/>
                    </a:cubicBezTo>
                    <a:cubicBezTo>
                      <a:pt x="54" y="438"/>
                      <a:pt x="54" y="438"/>
                      <a:pt x="54" y="438"/>
                    </a:cubicBezTo>
                    <a:cubicBezTo>
                      <a:pt x="57" y="441"/>
                      <a:pt x="57" y="441"/>
                      <a:pt x="57" y="441"/>
                    </a:cubicBezTo>
                    <a:cubicBezTo>
                      <a:pt x="60" y="441"/>
                      <a:pt x="60" y="441"/>
                      <a:pt x="60" y="441"/>
                    </a:cubicBezTo>
                    <a:cubicBezTo>
                      <a:pt x="62" y="442"/>
                      <a:pt x="62" y="442"/>
                      <a:pt x="62" y="442"/>
                    </a:cubicBezTo>
                    <a:cubicBezTo>
                      <a:pt x="63" y="442"/>
                      <a:pt x="63" y="442"/>
                      <a:pt x="63" y="442"/>
                    </a:cubicBezTo>
                    <a:cubicBezTo>
                      <a:pt x="64" y="443"/>
                      <a:pt x="64" y="443"/>
                      <a:pt x="64" y="443"/>
                    </a:cubicBezTo>
                    <a:cubicBezTo>
                      <a:pt x="65" y="442"/>
                      <a:pt x="65" y="442"/>
                      <a:pt x="65" y="442"/>
                    </a:cubicBezTo>
                    <a:cubicBezTo>
                      <a:pt x="66" y="440"/>
                      <a:pt x="66" y="440"/>
                      <a:pt x="66" y="440"/>
                    </a:cubicBezTo>
                    <a:cubicBezTo>
                      <a:pt x="66" y="437"/>
                      <a:pt x="66" y="437"/>
                      <a:pt x="66" y="437"/>
                    </a:cubicBezTo>
                    <a:cubicBezTo>
                      <a:pt x="66" y="435"/>
                      <a:pt x="66" y="435"/>
                      <a:pt x="66" y="435"/>
                    </a:cubicBezTo>
                    <a:cubicBezTo>
                      <a:pt x="66" y="434"/>
                      <a:pt x="66" y="434"/>
                      <a:pt x="66" y="434"/>
                    </a:cubicBezTo>
                    <a:cubicBezTo>
                      <a:pt x="66" y="431"/>
                      <a:pt x="66" y="431"/>
                      <a:pt x="66" y="431"/>
                    </a:cubicBezTo>
                    <a:cubicBezTo>
                      <a:pt x="66" y="428"/>
                      <a:pt x="66" y="428"/>
                      <a:pt x="66" y="428"/>
                    </a:cubicBezTo>
                    <a:cubicBezTo>
                      <a:pt x="66" y="426"/>
                      <a:pt x="66" y="426"/>
                      <a:pt x="66" y="426"/>
                    </a:cubicBezTo>
                    <a:cubicBezTo>
                      <a:pt x="66" y="425"/>
                      <a:pt x="66" y="425"/>
                      <a:pt x="66" y="425"/>
                    </a:cubicBezTo>
                    <a:cubicBezTo>
                      <a:pt x="68" y="424"/>
                      <a:pt x="68" y="424"/>
                      <a:pt x="68" y="424"/>
                    </a:cubicBezTo>
                    <a:cubicBezTo>
                      <a:pt x="71" y="421"/>
                      <a:pt x="71" y="421"/>
                      <a:pt x="71" y="421"/>
                    </a:cubicBezTo>
                    <a:cubicBezTo>
                      <a:pt x="72" y="420"/>
                      <a:pt x="72" y="420"/>
                      <a:pt x="72" y="420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5" y="420"/>
                      <a:pt x="75" y="420"/>
                      <a:pt x="75" y="420"/>
                    </a:cubicBezTo>
                    <a:cubicBezTo>
                      <a:pt x="74" y="417"/>
                      <a:pt x="74" y="417"/>
                      <a:pt x="74" y="417"/>
                    </a:cubicBezTo>
                    <a:cubicBezTo>
                      <a:pt x="76" y="416"/>
                      <a:pt x="76" y="416"/>
                      <a:pt x="76" y="416"/>
                    </a:cubicBezTo>
                    <a:cubicBezTo>
                      <a:pt x="78" y="415"/>
                      <a:pt x="78" y="415"/>
                      <a:pt x="78" y="415"/>
                    </a:cubicBezTo>
                    <a:cubicBezTo>
                      <a:pt x="80" y="417"/>
                      <a:pt x="80" y="417"/>
                      <a:pt x="80" y="417"/>
                    </a:cubicBezTo>
                    <a:cubicBezTo>
                      <a:pt x="81" y="416"/>
                      <a:pt x="81" y="416"/>
                      <a:pt x="81" y="416"/>
                    </a:cubicBezTo>
                    <a:cubicBezTo>
                      <a:pt x="82" y="416"/>
                      <a:pt x="82" y="416"/>
                      <a:pt x="82" y="416"/>
                    </a:cubicBezTo>
                    <a:close/>
                    <a:moveTo>
                      <a:pt x="101" y="469"/>
                    </a:moveTo>
                    <a:cubicBezTo>
                      <a:pt x="102" y="470"/>
                      <a:pt x="102" y="470"/>
                      <a:pt x="102" y="470"/>
                    </a:cubicBezTo>
                    <a:cubicBezTo>
                      <a:pt x="103" y="468"/>
                      <a:pt x="103" y="468"/>
                      <a:pt x="103" y="468"/>
                    </a:cubicBezTo>
                    <a:cubicBezTo>
                      <a:pt x="102" y="468"/>
                      <a:pt x="102" y="468"/>
                      <a:pt x="102" y="468"/>
                    </a:cubicBezTo>
                    <a:cubicBezTo>
                      <a:pt x="102" y="468"/>
                      <a:pt x="101" y="469"/>
                      <a:pt x="101" y="469"/>
                    </a:cubicBezTo>
                    <a:close/>
                    <a:moveTo>
                      <a:pt x="13" y="289"/>
                    </a:moveTo>
                    <a:cubicBezTo>
                      <a:pt x="12" y="288"/>
                      <a:pt x="12" y="288"/>
                      <a:pt x="12" y="288"/>
                    </a:cubicBezTo>
                    <a:cubicBezTo>
                      <a:pt x="10" y="288"/>
                      <a:pt x="10" y="288"/>
                      <a:pt x="10" y="288"/>
                    </a:cubicBezTo>
                    <a:cubicBezTo>
                      <a:pt x="11" y="290"/>
                      <a:pt x="11" y="290"/>
                      <a:pt x="11" y="290"/>
                    </a:cubicBezTo>
                    <a:cubicBezTo>
                      <a:pt x="13" y="292"/>
                      <a:pt x="13" y="292"/>
                      <a:pt x="13" y="292"/>
                    </a:cubicBezTo>
                    <a:cubicBezTo>
                      <a:pt x="12" y="293"/>
                      <a:pt x="12" y="293"/>
                      <a:pt x="12" y="293"/>
                    </a:cubicBezTo>
                    <a:cubicBezTo>
                      <a:pt x="14" y="295"/>
                      <a:pt x="14" y="295"/>
                      <a:pt x="14" y="295"/>
                    </a:cubicBezTo>
                    <a:cubicBezTo>
                      <a:pt x="14" y="295"/>
                      <a:pt x="14" y="295"/>
                      <a:pt x="14" y="295"/>
                    </a:cubicBezTo>
                    <a:cubicBezTo>
                      <a:pt x="12" y="294"/>
                      <a:pt x="12" y="294"/>
                      <a:pt x="12" y="294"/>
                    </a:cubicBezTo>
                    <a:cubicBezTo>
                      <a:pt x="11" y="296"/>
                      <a:pt x="11" y="296"/>
                      <a:pt x="11" y="296"/>
                    </a:cubicBezTo>
                    <a:cubicBezTo>
                      <a:pt x="11" y="298"/>
                      <a:pt x="11" y="298"/>
                      <a:pt x="11" y="298"/>
                    </a:cubicBezTo>
                    <a:cubicBezTo>
                      <a:pt x="11" y="299"/>
                      <a:pt x="11" y="299"/>
                      <a:pt x="11" y="299"/>
                    </a:cubicBezTo>
                    <a:cubicBezTo>
                      <a:pt x="8" y="299"/>
                      <a:pt x="8" y="299"/>
                      <a:pt x="8" y="299"/>
                    </a:cubicBezTo>
                    <a:cubicBezTo>
                      <a:pt x="6" y="298"/>
                      <a:pt x="6" y="298"/>
                      <a:pt x="6" y="298"/>
                    </a:cubicBezTo>
                    <a:cubicBezTo>
                      <a:pt x="7" y="296"/>
                      <a:pt x="7" y="296"/>
                      <a:pt x="7" y="296"/>
                    </a:cubicBezTo>
                    <a:cubicBezTo>
                      <a:pt x="6" y="290"/>
                      <a:pt x="6" y="290"/>
                      <a:pt x="6" y="290"/>
                    </a:cubicBezTo>
                    <a:cubicBezTo>
                      <a:pt x="5" y="287"/>
                      <a:pt x="5" y="287"/>
                      <a:pt x="5" y="287"/>
                    </a:cubicBezTo>
                    <a:cubicBezTo>
                      <a:pt x="5" y="287"/>
                      <a:pt x="5" y="287"/>
                      <a:pt x="5" y="287"/>
                    </a:cubicBezTo>
                    <a:cubicBezTo>
                      <a:pt x="4" y="286"/>
                      <a:pt x="4" y="286"/>
                      <a:pt x="4" y="286"/>
                    </a:cubicBezTo>
                    <a:cubicBezTo>
                      <a:pt x="5" y="284"/>
                      <a:pt x="5" y="284"/>
                      <a:pt x="5" y="284"/>
                    </a:cubicBezTo>
                    <a:cubicBezTo>
                      <a:pt x="6" y="283"/>
                      <a:pt x="6" y="283"/>
                      <a:pt x="6" y="283"/>
                    </a:cubicBezTo>
                    <a:cubicBezTo>
                      <a:pt x="6" y="282"/>
                      <a:pt x="6" y="282"/>
                      <a:pt x="6" y="282"/>
                    </a:cubicBezTo>
                    <a:cubicBezTo>
                      <a:pt x="5" y="281"/>
                      <a:pt x="5" y="281"/>
                      <a:pt x="5" y="281"/>
                    </a:cubicBezTo>
                    <a:cubicBezTo>
                      <a:pt x="5" y="280"/>
                      <a:pt x="5" y="280"/>
                      <a:pt x="5" y="280"/>
                    </a:cubicBezTo>
                    <a:cubicBezTo>
                      <a:pt x="7" y="278"/>
                      <a:pt x="7" y="278"/>
                      <a:pt x="7" y="278"/>
                    </a:cubicBezTo>
                    <a:cubicBezTo>
                      <a:pt x="9" y="278"/>
                      <a:pt x="9" y="278"/>
                      <a:pt x="9" y="278"/>
                    </a:cubicBezTo>
                    <a:cubicBezTo>
                      <a:pt x="11" y="279"/>
                      <a:pt x="11" y="279"/>
                      <a:pt x="11" y="279"/>
                    </a:cubicBezTo>
                    <a:cubicBezTo>
                      <a:pt x="12" y="282"/>
                      <a:pt x="12" y="282"/>
                      <a:pt x="12" y="282"/>
                    </a:cubicBezTo>
                    <a:cubicBezTo>
                      <a:pt x="12" y="284"/>
                      <a:pt x="12" y="284"/>
                      <a:pt x="12" y="284"/>
                    </a:cubicBezTo>
                    <a:cubicBezTo>
                      <a:pt x="13" y="285"/>
                      <a:pt x="13" y="285"/>
                      <a:pt x="13" y="285"/>
                    </a:cubicBezTo>
                    <a:cubicBezTo>
                      <a:pt x="13" y="287"/>
                      <a:pt x="13" y="287"/>
                      <a:pt x="13" y="287"/>
                    </a:cubicBezTo>
                    <a:cubicBezTo>
                      <a:pt x="10" y="286"/>
                      <a:pt x="10" y="286"/>
                      <a:pt x="10" y="286"/>
                    </a:cubicBezTo>
                    <a:cubicBezTo>
                      <a:pt x="13" y="288"/>
                      <a:pt x="13" y="288"/>
                      <a:pt x="13" y="288"/>
                    </a:cubicBezTo>
                    <a:cubicBezTo>
                      <a:pt x="13" y="289"/>
                      <a:pt x="13" y="289"/>
                      <a:pt x="13" y="289"/>
                    </a:cubicBezTo>
                    <a:cubicBezTo>
                      <a:pt x="13" y="289"/>
                      <a:pt x="13" y="289"/>
                      <a:pt x="13" y="289"/>
                    </a:cubicBezTo>
                    <a:close/>
                    <a:moveTo>
                      <a:pt x="15" y="284"/>
                    </a:moveTo>
                    <a:cubicBezTo>
                      <a:pt x="16" y="284"/>
                      <a:pt x="16" y="284"/>
                      <a:pt x="16" y="284"/>
                    </a:cubicBezTo>
                    <a:cubicBezTo>
                      <a:pt x="17" y="285"/>
                      <a:pt x="17" y="285"/>
                      <a:pt x="17" y="285"/>
                    </a:cubicBezTo>
                    <a:cubicBezTo>
                      <a:pt x="16" y="286"/>
                      <a:pt x="16" y="286"/>
                      <a:pt x="16" y="286"/>
                    </a:cubicBezTo>
                    <a:cubicBezTo>
                      <a:pt x="15" y="284"/>
                      <a:pt x="15" y="284"/>
                      <a:pt x="15" y="284"/>
                    </a:cubicBezTo>
                    <a:close/>
                    <a:moveTo>
                      <a:pt x="3" y="303"/>
                    </a:moveTo>
                    <a:cubicBezTo>
                      <a:pt x="4" y="302"/>
                      <a:pt x="4" y="302"/>
                      <a:pt x="4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7" y="303"/>
                      <a:pt x="7" y="303"/>
                      <a:pt x="7" y="303"/>
                    </a:cubicBezTo>
                    <a:cubicBezTo>
                      <a:pt x="4" y="304"/>
                      <a:pt x="4" y="304"/>
                      <a:pt x="4" y="304"/>
                    </a:cubicBezTo>
                    <a:cubicBezTo>
                      <a:pt x="3" y="303"/>
                      <a:pt x="3" y="303"/>
                      <a:pt x="3" y="303"/>
                    </a:cubicBezTo>
                    <a:close/>
                    <a:moveTo>
                      <a:pt x="17" y="305"/>
                    </a:moveTo>
                    <a:cubicBezTo>
                      <a:pt x="18" y="304"/>
                      <a:pt x="18" y="304"/>
                      <a:pt x="18" y="304"/>
                    </a:cubicBezTo>
                    <a:cubicBezTo>
                      <a:pt x="18" y="305"/>
                      <a:pt x="18" y="305"/>
                      <a:pt x="18" y="305"/>
                    </a:cubicBezTo>
                    <a:cubicBezTo>
                      <a:pt x="17" y="306"/>
                      <a:pt x="17" y="306"/>
                      <a:pt x="17" y="306"/>
                    </a:cubicBezTo>
                    <a:cubicBezTo>
                      <a:pt x="17" y="305"/>
                      <a:pt x="17" y="305"/>
                      <a:pt x="17" y="305"/>
                    </a:cubicBezTo>
                    <a:close/>
                    <a:moveTo>
                      <a:pt x="14" y="305"/>
                    </a:moveTo>
                    <a:cubicBezTo>
                      <a:pt x="15" y="305"/>
                      <a:pt x="15" y="305"/>
                      <a:pt x="15" y="305"/>
                    </a:cubicBezTo>
                    <a:cubicBezTo>
                      <a:pt x="15" y="307"/>
                      <a:pt x="15" y="307"/>
                      <a:pt x="15" y="307"/>
                    </a:cubicBezTo>
                    <a:cubicBezTo>
                      <a:pt x="14" y="308"/>
                      <a:pt x="14" y="308"/>
                      <a:pt x="14" y="308"/>
                    </a:cubicBezTo>
                    <a:cubicBezTo>
                      <a:pt x="14" y="307"/>
                      <a:pt x="14" y="307"/>
                      <a:pt x="14" y="307"/>
                    </a:cubicBezTo>
                    <a:cubicBezTo>
                      <a:pt x="13" y="306"/>
                      <a:pt x="13" y="306"/>
                      <a:pt x="13" y="306"/>
                    </a:cubicBezTo>
                    <a:cubicBezTo>
                      <a:pt x="14" y="305"/>
                      <a:pt x="14" y="305"/>
                      <a:pt x="14" y="305"/>
                    </a:cubicBezTo>
                    <a:close/>
                    <a:moveTo>
                      <a:pt x="9" y="305"/>
                    </a:moveTo>
                    <a:cubicBezTo>
                      <a:pt x="10" y="304"/>
                      <a:pt x="10" y="304"/>
                      <a:pt x="10" y="304"/>
                    </a:cubicBezTo>
                    <a:cubicBezTo>
                      <a:pt x="12" y="304"/>
                      <a:pt x="12" y="304"/>
                      <a:pt x="12" y="304"/>
                    </a:cubicBezTo>
                    <a:cubicBezTo>
                      <a:pt x="10" y="306"/>
                      <a:pt x="10" y="306"/>
                      <a:pt x="10" y="306"/>
                    </a:cubicBezTo>
                    <a:cubicBezTo>
                      <a:pt x="9" y="305"/>
                      <a:pt x="9" y="305"/>
                      <a:pt x="9" y="305"/>
                    </a:cubicBezTo>
                    <a:close/>
                    <a:moveTo>
                      <a:pt x="10" y="308"/>
                    </a:moveTo>
                    <a:cubicBezTo>
                      <a:pt x="11" y="308"/>
                      <a:pt x="11" y="308"/>
                      <a:pt x="11" y="308"/>
                    </a:cubicBezTo>
                    <a:cubicBezTo>
                      <a:pt x="11" y="308"/>
                      <a:pt x="11" y="308"/>
                      <a:pt x="11" y="308"/>
                    </a:cubicBezTo>
                    <a:cubicBezTo>
                      <a:pt x="11" y="309"/>
                      <a:pt x="11" y="309"/>
                      <a:pt x="11" y="309"/>
                    </a:cubicBezTo>
                    <a:cubicBezTo>
                      <a:pt x="10" y="308"/>
                      <a:pt x="10" y="308"/>
                      <a:pt x="10" y="308"/>
                    </a:cubicBezTo>
                    <a:close/>
                    <a:moveTo>
                      <a:pt x="8" y="311"/>
                    </a:moveTo>
                    <a:cubicBezTo>
                      <a:pt x="8" y="309"/>
                      <a:pt x="8" y="309"/>
                      <a:pt x="8" y="309"/>
                    </a:cubicBezTo>
                    <a:cubicBezTo>
                      <a:pt x="10" y="309"/>
                      <a:pt x="10" y="309"/>
                      <a:pt x="10" y="309"/>
                    </a:cubicBezTo>
                    <a:cubicBezTo>
                      <a:pt x="11" y="310"/>
                      <a:pt x="11" y="310"/>
                      <a:pt x="11" y="310"/>
                    </a:cubicBezTo>
                    <a:cubicBezTo>
                      <a:pt x="10" y="311"/>
                      <a:pt x="10" y="311"/>
                      <a:pt x="10" y="311"/>
                    </a:cubicBezTo>
                    <a:cubicBezTo>
                      <a:pt x="9" y="312"/>
                      <a:pt x="9" y="312"/>
                      <a:pt x="9" y="312"/>
                    </a:cubicBezTo>
                    <a:cubicBezTo>
                      <a:pt x="8" y="312"/>
                      <a:pt x="8" y="312"/>
                      <a:pt x="8" y="312"/>
                    </a:cubicBezTo>
                    <a:cubicBezTo>
                      <a:pt x="8" y="311"/>
                      <a:pt x="8" y="311"/>
                      <a:pt x="8" y="311"/>
                    </a:cubicBezTo>
                    <a:close/>
                    <a:moveTo>
                      <a:pt x="6" y="314"/>
                    </a:moveTo>
                    <a:cubicBezTo>
                      <a:pt x="7" y="315"/>
                      <a:pt x="7" y="315"/>
                      <a:pt x="7" y="315"/>
                    </a:cubicBezTo>
                    <a:cubicBezTo>
                      <a:pt x="6" y="316"/>
                      <a:pt x="6" y="316"/>
                      <a:pt x="6" y="316"/>
                    </a:cubicBezTo>
                    <a:cubicBezTo>
                      <a:pt x="5" y="315"/>
                      <a:pt x="5" y="315"/>
                      <a:pt x="5" y="315"/>
                    </a:cubicBezTo>
                    <a:cubicBezTo>
                      <a:pt x="6" y="314"/>
                      <a:pt x="6" y="314"/>
                      <a:pt x="6" y="314"/>
                    </a:cubicBezTo>
                    <a:close/>
                    <a:moveTo>
                      <a:pt x="15" y="313"/>
                    </a:moveTo>
                    <a:cubicBezTo>
                      <a:pt x="16" y="316"/>
                      <a:pt x="16" y="316"/>
                      <a:pt x="16" y="316"/>
                    </a:cubicBezTo>
                    <a:cubicBezTo>
                      <a:pt x="14" y="315"/>
                      <a:pt x="14" y="315"/>
                      <a:pt x="14" y="315"/>
                    </a:cubicBezTo>
                    <a:cubicBezTo>
                      <a:pt x="15" y="313"/>
                      <a:pt x="15" y="313"/>
                      <a:pt x="15" y="313"/>
                    </a:cubicBezTo>
                    <a:close/>
                    <a:moveTo>
                      <a:pt x="12" y="313"/>
                    </a:moveTo>
                    <a:cubicBezTo>
                      <a:pt x="14" y="312"/>
                      <a:pt x="14" y="312"/>
                      <a:pt x="14" y="312"/>
                    </a:cubicBezTo>
                    <a:cubicBezTo>
                      <a:pt x="14" y="314"/>
                      <a:pt x="14" y="314"/>
                      <a:pt x="14" y="314"/>
                    </a:cubicBezTo>
                    <a:cubicBezTo>
                      <a:pt x="12" y="313"/>
                      <a:pt x="12" y="313"/>
                      <a:pt x="12" y="313"/>
                    </a:cubicBezTo>
                    <a:close/>
                    <a:moveTo>
                      <a:pt x="8" y="328"/>
                    </a:moveTo>
                    <a:cubicBezTo>
                      <a:pt x="9" y="328"/>
                      <a:pt x="9" y="328"/>
                      <a:pt x="9" y="328"/>
                    </a:cubicBezTo>
                    <a:cubicBezTo>
                      <a:pt x="9" y="330"/>
                      <a:pt x="9" y="330"/>
                      <a:pt x="9" y="330"/>
                    </a:cubicBezTo>
                    <a:cubicBezTo>
                      <a:pt x="8" y="330"/>
                      <a:pt x="8" y="330"/>
                      <a:pt x="8" y="330"/>
                    </a:cubicBezTo>
                    <a:cubicBezTo>
                      <a:pt x="8" y="328"/>
                      <a:pt x="8" y="328"/>
                      <a:pt x="8" y="328"/>
                    </a:cubicBezTo>
                    <a:close/>
                    <a:moveTo>
                      <a:pt x="8" y="315"/>
                    </a:moveTo>
                    <a:cubicBezTo>
                      <a:pt x="8" y="314"/>
                      <a:pt x="8" y="314"/>
                      <a:pt x="8" y="314"/>
                    </a:cubicBezTo>
                    <a:cubicBezTo>
                      <a:pt x="8" y="312"/>
                      <a:pt x="8" y="312"/>
                      <a:pt x="8" y="312"/>
                    </a:cubicBezTo>
                    <a:cubicBezTo>
                      <a:pt x="10" y="312"/>
                      <a:pt x="10" y="312"/>
                      <a:pt x="10" y="312"/>
                    </a:cubicBezTo>
                    <a:cubicBezTo>
                      <a:pt x="11" y="314"/>
                      <a:pt x="11" y="314"/>
                      <a:pt x="11" y="314"/>
                    </a:cubicBezTo>
                    <a:cubicBezTo>
                      <a:pt x="9" y="315"/>
                      <a:pt x="9" y="315"/>
                      <a:pt x="9" y="315"/>
                    </a:cubicBezTo>
                    <a:cubicBezTo>
                      <a:pt x="8" y="315"/>
                      <a:pt x="8" y="315"/>
                      <a:pt x="8" y="315"/>
                    </a:cubicBezTo>
                    <a:close/>
                    <a:moveTo>
                      <a:pt x="4" y="318"/>
                    </a:moveTo>
                    <a:cubicBezTo>
                      <a:pt x="2" y="317"/>
                      <a:pt x="2" y="317"/>
                      <a:pt x="2" y="317"/>
                    </a:cubicBezTo>
                    <a:cubicBezTo>
                      <a:pt x="2" y="316"/>
                      <a:pt x="2" y="316"/>
                      <a:pt x="2" y="316"/>
                    </a:cubicBezTo>
                    <a:cubicBezTo>
                      <a:pt x="4" y="316"/>
                      <a:pt x="4" y="316"/>
                      <a:pt x="4" y="316"/>
                    </a:cubicBezTo>
                    <a:cubicBezTo>
                      <a:pt x="5" y="317"/>
                      <a:pt x="5" y="317"/>
                      <a:pt x="5" y="317"/>
                    </a:cubicBezTo>
                    <a:cubicBezTo>
                      <a:pt x="4" y="318"/>
                      <a:pt x="4" y="318"/>
                      <a:pt x="4" y="318"/>
                    </a:cubicBezTo>
                    <a:close/>
                    <a:moveTo>
                      <a:pt x="11" y="325"/>
                    </a:moveTo>
                    <a:cubicBezTo>
                      <a:pt x="13" y="325"/>
                      <a:pt x="13" y="325"/>
                      <a:pt x="13" y="325"/>
                    </a:cubicBezTo>
                    <a:cubicBezTo>
                      <a:pt x="13" y="327"/>
                      <a:pt x="13" y="327"/>
                      <a:pt x="13" y="327"/>
                    </a:cubicBezTo>
                    <a:cubicBezTo>
                      <a:pt x="11" y="325"/>
                      <a:pt x="11" y="325"/>
                      <a:pt x="11" y="325"/>
                    </a:cubicBezTo>
                    <a:close/>
                    <a:moveTo>
                      <a:pt x="13" y="327"/>
                    </a:moveTo>
                    <a:cubicBezTo>
                      <a:pt x="15" y="327"/>
                      <a:pt x="15" y="327"/>
                      <a:pt x="15" y="327"/>
                    </a:cubicBezTo>
                    <a:cubicBezTo>
                      <a:pt x="14" y="329"/>
                      <a:pt x="14" y="329"/>
                      <a:pt x="14" y="329"/>
                    </a:cubicBezTo>
                    <a:cubicBezTo>
                      <a:pt x="13" y="327"/>
                      <a:pt x="13" y="327"/>
                      <a:pt x="13" y="327"/>
                    </a:cubicBezTo>
                    <a:close/>
                    <a:moveTo>
                      <a:pt x="17" y="310"/>
                    </a:moveTo>
                    <a:cubicBezTo>
                      <a:pt x="18" y="310"/>
                      <a:pt x="18" y="310"/>
                      <a:pt x="18" y="310"/>
                    </a:cubicBezTo>
                    <a:cubicBezTo>
                      <a:pt x="19" y="311"/>
                      <a:pt x="19" y="311"/>
                      <a:pt x="19" y="311"/>
                    </a:cubicBezTo>
                    <a:cubicBezTo>
                      <a:pt x="17" y="311"/>
                      <a:pt x="17" y="311"/>
                      <a:pt x="17" y="311"/>
                    </a:cubicBezTo>
                    <a:cubicBezTo>
                      <a:pt x="17" y="310"/>
                      <a:pt x="17" y="310"/>
                      <a:pt x="17" y="310"/>
                    </a:cubicBezTo>
                    <a:close/>
                    <a:moveTo>
                      <a:pt x="20" y="312"/>
                    </a:moveTo>
                    <a:cubicBezTo>
                      <a:pt x="22" y="312"/>
                      <a:pt x="22" y="312"/>
                      <a:pt x="22" y="312"/>
                    </a:cubicBezTo>
                    <a:cubicBezTo>
                      <a:pt x="22" y="313"/>
                      <a:pt x="22" y="313"/>
                      <a:pt x="22" y="313"/>
                    </a:cubicBezTo>
                    <a:cubicBezTo>
                      <a:pt x="24" y="315"/>
                      <a:pt x="24" y="315"/>
                      <a:pt x="24" y="315"/>
                    </a:cubicBezTo>
                    <a:cubicBezTo>
                      <a:pt x="23" y="317"/>
                      <a:pt x="23" y="317"/>
                      <a:pt x="23" y="317"/>
                    </a:cubicBezTo>
                    <a:cubicBezTo>
                      <a:pt x="22" y="318"/>
                      <a:pt x="22" y="318"/>
                      <a:pt x="22" y="318"/>
                    </a:cubicBezTo>
                    <a:cubicBezTo>
                      <a:pt x="21" y="318"/>
                      <a:pt x="21" y="318"/>
                      <a:pt x="21" y="318"/>
                    </a:cubicBezTo>
                    <a:cubicBezTo>
                      <a:pt x="20" y="318"/>
                      <a:pt x="20" y="318"/>
                      <a:pt x="20" y="318"/>
                    </a:cubicBezTo>
                    <a:cubicBezTo>
                      <a:pt x="19" y="318"/>
                      <a:pt x="19" y="318"/>
                      <a:pt x="19" y="318"/>
                    </a:cubicBezTo>
                    <a:cubicBezTo>
                      <a:pt x="18" y="319"/>
                      <a:pt x="18" y="319"/>
                      <a:pt x="18" y="319"/>
                    </a:cubicBezTo>
                    <a:cubicBezTo>
                      <a:pt x="18" y="317"/>
                      <a:pt x="18" y="317"/>
                      <a:pt x="18" y="317"/>
                    </a:cubicBezTo>
                    <a:cubicBezTo>
                      <a:pt x="17" y="315"/>
                      <a:pt x="17" y="315"/>
                      <a:pt x="17" y="315"/>
                    </a:cubicBezTo>
                    <a:cubicBezTo>
                      <a:pt x="18" y="312"/>
                      <a:pt x="18" y="312"/>
                      <a:pt x="18" y="312"/>
                    </a:cubicBezTo>
                    <a:cubicBezTo>
                      <a:pt x="20" y="312"/>
                      <a:pt x="20" y="312"/>
                      <a:pt x="20" y="312"/>
                    </a:cubicBezTo>
                    <a:close/>
                    <a:moveTo>
                      <a:pt x="9" y="318"/>
                    </a:moveTo>
                    <a:cubicBezTo>
                      <a:pt x="10" y="316"/>
                      <a:pt x="10" y="316"/>
                      <a:pt x="10" y="316"/>
                    </a:cubicBezTo>
                    <a:cubicBezTo>
                      <a:pt x="14" y="316"/>
                      <a:pt x="14" y="316"/>
                      <a:pt x="14" y="316"/>
                    </a:cubicBezTo>
                    <a:cubicBezTo>
                      <a:pt x="13" y="317"/>
                      <a:pt x="13" y="317"/>
                      <a:pt x="13" y="317"/>
                    </a:cubicBezTo>
                    <a:cubicBezTo>
                      <a:pt x="10" y="318"/>
                      <a:pt x="10" y="318"/>
                      <a:pt x="10" y="318"/>
                    </a:cubicBezTo>
                    <a:cubicBezTo>
                      <a:pt x="10" y="318"/>
                      <a:pt x="10" y="318"/>
                      <a:pt x="10" y="318"/>
                    </a:cubicBezTo>
                    <a:cubicBezTo>
                      <a:pt x="10" y="318"/>
                      <a:pt x="9" y="318"/>
                      <a:pt x="9" y="318"/>
                    </a:cubicBezTo>
                    <a:close/>
                    <a:moveTo>
                      <a:pt x="12" y="321"/>
                    </a:moveTo>
                    <a:cubicBezTo>
                      <a:pt x="11" y="320"/>
                      <a:pt x="11" y="320"/>
                      <a:pt x="11" y="320"/>
                    </a:cubicBezTo>
                    <a:cubicBezTo>
                      <a:pt x="13" y="320"/>
                      <a:pt x="13" y="320"/>
                      <a:pt x="13" y="320"/>
                    </a:cubicBezTo>
                    <a:cubicBezTo>
                      <a:pt x="14" y="320"/>
                      <a:pt x="14" y="320"/>
                      <a:pt x="14" y="320"/>
                    </a:cubicBezTo>
                    <a:cubicBezTo>
                      <a:pt x="14" y="321"/>
                      <a:pt x="14" y="321"/>
                      <a:pt x="14" y="321"/>
                    </a:cubicBezTo>
                    <a:cubicBezTo>
                      <a:pt x="12" y="321"/>
                      <a:pt x="12" y="321"/>
                      <a:pt x="12" y="321"/>
                    </a:cubicBezTo>
                    <a:close/>
                    <a:moveTo>
                      <a:pt x="12" y="323"/>
                    </a:moveTo>
                    <a:cubicBezTo>
                      <a:pt x="14" y="322"/>
                      <a:pt x="14" y="322"/>
                      <a:pt x="14" y="322"/>
                    </a:cubicBezTo>
                    <a:cubicBezTo>
                      <a:pt x="16" y="322"/>
                      <a:pt x="16" y="322"/>
                      <a:pt x="16" y="322"/>
                    </a:cubicBezTo>
                    <a:cubicBezTo>
                      <a:pt x="16" y="325"/>
                      <a:pt x="16" y="325"/>
                      <a:pt x="16" y="325"/>
                    </a:cubicBezTo>
                    <a:cubicBezTo>
                      <a:pt x="15" y="326"/>
                      <a:pt x="15" y="326"/>
                      <a:pt x="15" y="326"/>
                    </a:cubicBezTo>
                    <a:cubicBezTo>
                      <a:pt x="14" y="326"/>
                      <a:pt x="14" y="326"/>
                      <a:pt x="14" y="326"/>
                    </a:cubicBezTo>
                    <a:cubicBezTo>
                      <a:pt x="13" y="324"/>
                      <a:pt x="13" y="324"/>
                      <a:pt x="13" y="324"/>
                    </a:cubicBezTo>
                    <a:cubicBezTo>
                      <a:pt x="12" y="323"/>
                      <a:pt x="12" y="323"/>
                      <a:pt x="12" y="323"/>
                    </a:cubicBezTo>
                    <a:close/>
                    <a:moveTo>
                      <a:pt x="10" y="328"/>
                    </a:moveTo>
                    <a:cubicBezTo>
                      <a:pt x="10" y="327"/>
                      <a:pt x="10" y="327"/>
                      <a:pt x="10" y="327"/>
                    </a:cubicBezTo>
                    <a:cubicBezTo>
                      <a:pt x="11" y="328"/>
                      <a:pt x="11" y="328"/>
                      <a:pt x="11" y="328"/>
                    </a:cubicBezTo>
                    <a:cubicBezTo>
                      <a:pt x="13" y="328"/>
                      <a:pt x="13" y="328"/>
                      <a:pt x="13" y="328"/>
                    </a:cubicBezTo>
                    <a:cubicBezTo>
                      <a:pt x="13" y="330"/>
                      <a:pt x="13" y="330"/>
                      <a:pt x="13" y="330"/>
                    </a:cubicBezTo>
                    <a:cubicBezTo>
                      <a:pt x="11" y="330"/>
                      <a:pt x="11" y="330"/>
                      <a:pt x="11" y="330"/>
                    </a:cubicBezTo>
                    <a:cubicBezTo>
                      <a:pt x="10" y="328"/>
                      <a:pt x="10" y="328"/>
                      <a:pt x="10" y="328"/>
                    </a:cubicBezTo>
                    <a:close/>
                    <a:moveTo>
                      <a:pt x="15" y="366"/>
                    </a:moveTo>
                    <a:cubicBezTo>
                      <a:pt x="16" y="365"/>
                      <a:pt x="16" y="365"/>
                      <a:pt x="16" y="365"/>
                    </a:cubicBezTo>
                    <a:cubicBezTo>
                      <a:pt x="15" y="364"/>
                      <a:pt x="15" y="364"/>
                      <a:pt x="15" y="364"/>
                    </a:cubicBezTo>
                    <a:cubicBezTo>
                      <a:pt x="15" y="365"/>
                      <a:pt x="15" y="365"/>
                      <a:pt x="15" y="365"/>
                    </a:cubicBezTo>
                    <a:cubicBezTo>
                      <a:pt x="12" y="362"/>
                      <a:pt x="12" y="362"/>
                      <a:pt x="12" y="362"/>
                    </a:cubicBezTo>
                    <a:cubicBezTo>
                      <a:pt x="10" y="360"/>
                      <a:pt x="10" y="360"/>
                      <a:pt x="10" y="360"/>
                    </a:cubicBezTo>
                    <a:cubicBezTo>
                      <a:pt x="11" y="359"/>
                      <a:pt x="11" y="359"/>
                      <a:pt x="11" y="359"/>
                    </a:cubicBezTo>
                    <a:cubicBezTo>
                      <a:pt x="13" y="359"/>
                      <a:pt x="13" y="359"/>
                      <a:pt x="13" y="359"/>
                    </a:cubicBezTo>
                    <a:cubicBezTo>
                      <a:pt x="14" y="358"/>
                      <a:pt x="14" y="358"/>
                      <a:pt x="14" y="358"/>
                    </a:cubicBezTo>
                    <a:cubicBezTo>
                      <a:pt x="15" y="361"/>
                      <a:pt x="15" y="361"/>
                      <a:pt x="15" y="361"/>
                    </a:cubicBezTo>
                    <a:cubicBezTo>
                      <a:pt x="16" y="362"/>
                      <a:pt x="16" y="362"/>
                      <a:pt x="16" y="362"/>
                    </a:cubicBezTo>
                    <a:cubicBezTo>
                      <a:pt x="17" y="364"/>
                      <a:pt x="17" y="364"/>
                      <a:pt x="17" y="364"/>
                    </a:cubicBezTo>
                    <a:cubicBezTo>
                      <a:pt x="18" y="365"/>
                      <a:pt x="18" y="365"/>
                      <a:pt x="18" y="365"/>
                    </a:cubicBezTo>
                    <a:cubicBezTo>
                      <a:pt x="19" y="369"/>
                      <a:pt x="19" y="369"/>
                      <a:pt x="19" y="369"/>
                    </a:cubicBezTo>
                    <a:cubicBezTo>
                      <a:pt x="17" y="368"/>
                      <a:pt x="17" y="368"/>
                      <a:pt x="17" y="368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6"/>
                      <a:pt x="15" y="366"/>
                      <a:pt x="15" y="366"/>
                    </a:cubicBezTo>
                    <a:close/>
                    <a:moveTo>
                      <a:pt x="8" y="363"/>
                    </a:moveTo>
                    <a:cubicBezTo>
                      <a:pt x="8" y="361"/>
                      <a:pt x="8" y="361"/>
                      <a:pt x="8" y="361"/>
                    </a:cubicBezTo>
                    <a:cubicBezTo>
                      <a:pt x="8" y="361"/>
                      <a:pt x="8" y="361"/>
                      <a:pt x="8" y="361"/>
                    </a:cubicBezTo>
                    <a:cubicBezTo>
                      <a:pt x="10" y="361"/>
                      <a:pt x="10" y="361"/>
                      <a:pt x="10" y="361"/>
                    </a:cubicBezTo>
                    <a:cubicBezTo>
                      <a:pt x="12" y="365"/>
                      <a:pt x="12" y="365"/>
                      <a:pt x="12" y="365"/>
                    </a:cubicBezTo>
                    <a:cubicBezTo>
                      <a:pt x="14" y="368"/>
                      <a:pt x="14" y="368"/>
                      <a:pt x="14" y="368"/>
                    </a:cubicBezTo>
                    <a:cubicBezTo>
                      <a:pt x="14" y="370"/>
                      <a:pt x="14" y="370"/>
                      <a:pt x="14" y="370"/>
                    </a:cubicBezTo>
                    <a:cubicBezTo>
                      <a:pt x="13" y="371"/>
                      <a:pt x="13" y="371"/>
                      <a:pt x="13" y="371"/>
                    </a:cubicBezTo>
                    <a:cubicBezTo>
                      <a:pt x="12" y="370"/>
                      <a:pt x="12" y="370"/>
                      <a:pt x="12" y="370"/>
                    </a:cubicBezTo>
                    <a:cubicBezTo>
                      <a:pt x="11" y="367"/>
                      <a:pt x="11" y="367"/>
                      <a:pt x="11" y="367"/>
                    </a:cubicBezTo>
                    <a:cubicBezTo>
                      <a:pt x="11" y="366"/>
                      <a:pt x="11" y="366"/>
                      <a:pt x="11" y="366"/>
                    </a:cubicBezTo>
                    <a:cubicBezTo>
                      <a:pt x="10" y="365"/>
                      <a:pt x="10" y="365"/>
                      <a:pt x="10" y="365"/>
                    </a:cubicBezTo>
                    <a:cubicBezTo>
                      <a:pt x="8" y="365"/>
                      <a:pt x="8" y="365"/>
                      <a:pt x="8" y="365"/>
                    </a:cubicBezTo>
                    <a:cubicBezTo>
                      <a:pt x="8" y="363"/>
                      <a:pt x="8" y="363"/>
                      <a:pt x="8" y="363"/>
                    </a:cubicBezTo>
                    <a:close/>
                    <a:moveTo>
                      <a:pt x="8" y="366"/>
                    </a:moveTo>
                    <a:cubicBezTo>
                      <a:pt x="9" y="366"/>
                      <a:pt x="9" y="366"/>
                      <a:pt x="9" y="366"/>
                    </a:cubicBezTo>
                    <a:cubicBezTo>
                      <a:pt x="10" y="367"/>
                      <a:pt x="10" y="367"/>
                      <a:pt x="10" y="367"/>
                    </a:cubicBezTo>
                    <a:cubicBezTo>
                      <a:pt x="11" y="369"/>
                      <a:pt x="11" y="369"/>
                      <a:pt x="11" y="369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9" y="370"/>
                      <a:pt x="9" y="370"/>
                      <a:pt x="9" y="370"/>
                    </a:cubicBezTo>
                    <a:cubicBezTo>
                      <a:pt x="9" y="369"/>
                      <a:pt x="9" y="369"/>
                      <a:pt x="9" y="369"/>
                    </a:cubicBezTo>
                    <a:cubicBezTo>
                      <a:pt x="8" y="369"/>
                      <a:pt x="8" y="369"/>
                      <a:pt x="8" y="369"/>
                    </a:cubicBezTo>
                    <a:cubicBezTo>
                      <a:pt x="8" y="366"/>
                      <a:pt x="8" y="366"/>
                      <a:pt x="8" y="366"/>
                    </a:cubicBezTo>
                    <a:close/>
                    <a:moveTo>
                      <a:pt x="11" y="378"/>
                    </a:moveTo>
                    <a:cubicBezTo>
                      <a:pt x="11" y="377"/>
                      <a:pt x="11" y="377"/>
                      <a:pt x="11" y="377"/>
                    </a:cubicBezTo>
                    <a:cubicBezTo>
                      <a:pt x="11" y="376"/>
                      <a:pt x="11" y="376"/>
                      <a:pt x="11" y="376"/>
                    </a:cubicBezTo>
                    <a:cubicBezTo>
                      <a:pt x="10" y="372"/>
                      <a:pt x="10" y="372"/>
                      <a:pt x="10" y="372"/>
                    </a:cubicBezTo>
                    <a:cubicBezTo>
                      <a:pt x="11" y="371"/>
                      <a:pt x="11" y="371"/>
                      <a:pt x="11" y="371"/>
                    </a:cubicBezTo>
                    <a:cubicBezTo>
                      <a:pt x="11" y="372"/>
                      <a:pt x="11" y="372"/>
                      <a:pt x="11" y="372"/>
                    </a:cubicBezTo>
                    <a:cubicBezTo>
                      <a:pt x="14" y="373"/>
                      <a:pt x="14" y="373"/>
                      <a:pt x="14" y="373"/>
                    </a:cubicBezTo>
                    <a:cubicBezTo>
                      <a:pt x="14" y="374"/>
                      <a:pt x="14" y="374"/>
                      <a:pt x="14" y="374"/>
                    </a:cubicBezTo>
                    <a:cubicBezTo>
                      <a:pt x="13" y="375"/>
                      <a:pt x="13" y="375"/>
                      <a:pt x="13" y="375"/>
                    </a:cubicBezTo>
                    <a:cubicBezTo>
                      <a:pt x="11" y="378"/>
                      <a:pt x="11" y="378"/>
                      <a:pt x="11" y="378"/>
                    </a:cubicBezTo>
                    <a:close/>
                    <a:moveTo>
                      <a:pt x="14" y="385"/>
                    </a:moveTo>
                    <a:cubicBezTo>
                      <a:pt x="13" y="386"/>
                      <a:pt x="13" y="386"/>
                      <a:pt x="13" y="386"/>
                    </a:cubicBezTo>
                    <a:cubicBezTo>
                      <a:pt x="12" y="385"/>
                      <a:pt x="12" y="385"/>
                      <a:pt x="12" y="385"/>
                    </a:cubicBezTo>
                    <a:cubicBezTo>
                      <a:pt x="12" y="384"/>
                      <a:pt x="12" y="384"/>
                      <a:pt x="12" y="384"/>
                    </a:cubicBezTo>
                    <a:cubicBezTo>
                      <a:pt x="11" y="383"/>
                      <a:pt x="11" y="383"/>
                      <a:pt x="11" y="383"/>
                    </a:cubicBezTo>
                    <a:cubicBezTo>
                      <a:pt x="13" y="382"/>
                      <a:pt x="13" y="382"/>
                      <a:pt x="13" y="382"/>
                    </a:cubicBezTo>
                    <a:cubicBezTo>
                      <a:pt x="15" y="383"/>
                      <a:pt x="15" y="383"/>
                      <a:pt x="15" y="383"/>
                    </a:cubicBezTo>
                    <a:cubicBezTo>
                      <a:pt x="14" y="385"/>
                      <a:pt x="14" y="385"/>
                      <a:pt x="14" y="385"/>
                    </a:cubicBezTo>
                    <a:close/>
                    <a:moveTo>
                      <a:pt x="19" y="384"/>
                    </a:moveTo>
                    <a:cubicBezTo>
                      <a:pt x="18" y="386"/>
                      <a:pt x="18" y="386"/>
                      <a:pt x="18" y="386"/>
                    </a:cubicBezTo>
                    <a:cubicBezTo>
                      <a:pt x="18" y="387"/>
                      <a:pt x="18" y="387"/>
                      <a:pt x="18" y="387"/>
                    </a:cubicBezTo>
                    <a:cubicBezTo>
                      <a:pt x="16" y="385"/>
                      <a:pt x="16" y="385"/>
                      <a:pt x="16" y="385"/>
                    </a:cubicBezTo>
                    <a:cubicBezTo>
                      <a:pt x="15" y="383"/>
                      <a:pt x="15" y="383"/>
                      <a:pt x="15" y="383"/>
                    </a:cubicBezTo>
                    <a:cubicBezTo>
                      <a:pt x="13" y="379"/>
                      <a:pt x="13" y="379"/>
                      <a:pt x="13" y="379"/>
                    </a:cubicBezTo>
                    <a:cubicBezTo>
                      <a:pt x="15" y="379"/>
                      <a:pt x="15" y="379"/>
                      <a:pt x="15" y="379"/>
                    </a:cubicBezTo>
                    <a:cubicBezTo>
                      <a:pt x="17" y="377"/>
                      <a:pt x="17" y="377"/>
                      <a:pt x="17" y="377"/>
                    </a:cubicBezTo>
                    <a:cubicBezTo>
                      <a:pt x="17" y="376"/>
                      <a:pt x="17" y="376"/>
                      <a:pt x="17" y="376"/>
                    </a:cubicBezTo>
                    <a:cubicBezTo>
                      <a:pt x="16" y="377"/>
                      <a:pt x="16" y="377"/>
                      <a:pt x="16" y="377"/>
                    </a:cubicBezTo>
                    <a:cubicBezTo>
                      <a:pt x="15" y="377"/>
                      <a:pt x="15" y="377"/>
                      <a:pt x="15" y="377"/>
                    </a:cubicBezTo>
                    <a:cubicBezTo>
                      <a:pt x="15" y="376"/>
                      <a:pt x="15" y="376"/>
                      <a:pt x="15" y="376"/>
                    </a:cubicBezTo>
                    <a:cubicBezTo>
                      <a:pt x="15" y="374"/>
                      <a:pt x="15" y="374"/>
                      <a:pt x="15" y="374"/>
                    </a:cubicBezTo>
                    <a:cubicBezTo>
                      <a:pt x="14" y="373"/>
                      <a:pt x="14" y="373"/>
                      <a:pt x="14" y="373"/>
                    </a:cubicBezTo>
                    <a:cubicBezTo>
                      <a:pt x="14" y="371"/>
                      <a:pt x="14" y="371"/>
                      <a:pt x="14" y="371"/>
                    </a:cubicBezTo>
                    <a:cubicBezTo>
                      <a:pt x="15" y="370"/>
                      <a:pt x="15" y="370"/>
                      <a:pt x="15" y="370"/>
                    </a:cubicBezTo>
                    <a:cubicBezTo>
                      <a:pt x="18" y="370"/>
                      <a:pt x="18" y="370"/>
                      <a:pt x="18" y="370"/>
                    </a:cubicBezTo>
                    <a:cubicBezTo>
                      <a:pt x="19" y="371"/>
                      <a:pt x="19" y="371"/>
                      <a:pt x="19" y="371"/>
                    </a:cubicBezTo>
                    <a:cubicBezTo>
                      <a:pt x="20" y="375"/>
                      <a:pt x="20" y="375"/>
                      <a:pt x="20" y="375"/>
                    </a:cubicBezTo>
                    <a:cubicBezTo>
                      <a:pt x="21" y="378"/>
                      <a:pt x="21" y="378"/>
                      <a:pt x="21" y="378"/>
                    </a:cubicBezTo>
                    <a:cubicBezTo>
                      <a:pt x="22" y="381"/>
                      <a:pt x="22" y="381"/>
                      <a:pt x="22" y="381"/>
                    </a:cubicBezTo>
                    <a:cubicBezTo>
                      <a:pt x="21" y="382"/>
                      <a:pt x="21" y="382"/>
                      <a:pt x="21" y="382"/>
                    </a:cubicBezTo>
                    <a:cubicBezTo>
                      <a:pt x="22" y="385"/>
                      <a:pt x="22" y="385"/>
                      <a:pt x="22" y="385"/>
                    </a:cubicBezTo>
                    <a:cubicBezTo>
                      <a:pt x="22" y="388"/>
                      <a:pt x="22" y="388"/>
                      <a:pt x="22" y="388"/>
                    </a:cubicBezTo>
                    <a:cubicBezTo>
                      <a:pt x="21" y="389"/>
                      <a:pt x="21" y="389"/>
                      <a:pt x="21" y="389"/>
                    </a:cubicBezTo>
                    <a:cubicBezTo>
                      <a:pt x="20" y="388"/>
                      <a:pt x="20" y="388"/>
                      <a:pt x="20" y="388"/>
                    </a:cubicBezTo>
                    <a:cubicBezTo>
                      <a:pt x="19" y="386"/>
                      <a:pt x="19" y="386"/>
                      <a:pt x="19" y="386"/>
                    </a:cubicBezTo>
                    <a:cubicBezTo>
                      <a:pt x="19" y="384"/>
                      <a:pt x="19" y="384"/>
                      <a:pt x="19" y="384"/>
                    </a:cubicBezTo>
                    <a:close/>
                    <a:moveTo>
                      <a:pt x="17" y="394"/>
                    </a:moveTo>
                    <a:cubicBezTo>
                      <a:pt x="17" y="393"/>
                      <a:pt x="17" y="393"/>
                      <a:pt x="17" y="393"/>
                    </a:cubicBezTo>
                    <a:cubicBezTo>
                      <a:pt x="16" y="392"/>
                      <a:pt x="16" y="392"/>
                      <a:pt x="16" y="392"/>
                    </a:cubicBezTo>
                    <a:cubicBezTo>
                      <a:pt x="16" y="391"/>
                      <a:pt x="16" y="391"/>
                      <a:pt x="16" y="391"/>
                    </a:cubicBezTo>
                    <a:cubicBezTo>
                      <a:pt x="17" y="390"/>
                      <a:pt x="17" y="390"/>
                      <a:pt x="17" y="390"/>
                    </a:cubicBezTo>
                    <a:cubicBezTo>
                      <a:pt x="17" y="389"/>
                      <a:pt x="17" y="389"/>
                      <a:pt x="17" y="389"/>
                    </a:cubicBezTo>
                    <a:cubicBezTo>
                      <a:pt x="18" y="390"/>
                      <a:pt x="18" y="390"/>
                      <a:pt x="18" y="390"/>
                    </a:cubicBezTo>
                    <a:cubicBezTo>
                      <a:pt x="20" y="390"/>
                      <a:pt x="20" y="390"/>
                      <a:pt x="20" y="390"/>
                    </a:cubicBezTo>
                    <a:cubicBezTo>
                      <a:pt x="19" y="392"/>
                      <a:pt x="19" y="392"/>
                      <a:pt x="19" y="392"/>
                    </a:cubicBezTo>
                    <a:cubicBezTo>
                      <a:pt x="19" y="393"/>
                      <a:pt x="19" y="393"/>
                      <a:pt x="19" y="393"/>
                    </a:cubicBezTo>
                    <a:cubicBezTo>
                      <a:pt x="18" y="394"/>
                      <a:pt x="18" y="394"/>
                      <a:pt x="18" y="394"/>
                    </a:cubicBezTo>
                    <a:cubicBezTo>
                      <a:pt x="17" y="394"/>
                      <a:pt x="17" y="394"/>
                      <a:pt x="17" y="394"/>
                    </a:cubicBezTo>
                    <a:close/>
                    <a:moveTo>
                      <a:pt x="16" y="397"/>
                    </a:moveTo>
                    <a:cubicBezTo>
                      <a:pt x="16" y="395"/>
                      <a:pt x="16" y="395"/>
                      <a:pt x="16" y="395"/>
                    </a:cubicBezTo>
                    <a:cubicBezTo>
                      <a:pt x="19" y="395"/>
                      <a:pt x="19" y="395"/>
                      <a:pt x="19" y="395"/>
                    </a:cubicBezTo>
                    <a:cubicBezTo>
                      <a:pt x="17" y="396"/>
                      <a:pt x="17" y="396"/>
                      <a:pt x="17" y="396"/>
                    </a:cubicBezTo>
                    <a:cubicBezTo>
                      <a:pt x="16" y="397"/>
                      <a:pt x="16" y="397"/>
                      <a:pt x="16" y="397"/>
                    </a:cubicBezTo>
                    <a:close/>
                    <a:moveTo>
                      <a:pt x="20" y="396"/>
                    </a:moveTo>
                    <a:cubicBezTo>
                      <a:pt x="21" y="397"/>
                      <a:pt x="21" y="397"/>
                      <a:pt x="21" y="397"/>
                    </a:cubicBezTo>
                    <a:cubicBezTo>
                      <a:pt x="21" y="399"/>
                      <a:pt x="21" y="399"/>
                      <a:pt x="21" y="399"/>
                    </a:cubicBezTo>
                    <a:cubicBezTo>
                      <a:pt x="20" y="400"/>
                      <a:pt x="20" y="400"/>
                      <a:pt x="20" y="400"/>
                    </a:cubicBezTo>
                    <a:cubicBezTo>
                      <a:pt x="20" y="398"/>
                      <a:pt x="20" y="398"/>
                      <a:pt x="20" y="398"/>
                    </a:cubicBezTo>
                    <a:cubicBezTo>
                      <a:pt x="20" y="396"/>
                      <a:pt x="20" y="396"/>
                      <a:pt x="20" y="396"/>
                    </a:cubicBezTo>
                    <a:close/>
                    <a:moveTo>
                      <a:pt x="21" y="395"/>
                    </a:moveTo>
                    <a:cubicBezTo>
                      <a:pt x="22" y="394"/>
                      <a:pt x="22" y="394"/>
                      <a:pt x="22" y="394"/>
                    </a:cubicBezTo>
                    <a:cubicBezTo>
                      <a:pt x="22" y="394"/>
                      <a:pt x="22" y="394"/>
                      <a:pt x="22" y="394"/>
                    </a:cubicBezTo>
                    <a:cubicBezTo>
                      <a:pt x="24" y="395"/>
                      <a:pt x="24" y="395"/>
                      <a:pt x="24" y="395"/>
                    </a:cubicBezTo>
                    <a:cubicBezTo>
                      <a:pt x="25" y="395"/>
                      <a:pt x="25" y="395"/>
                      <a:pt x="25" y="395"/>
                    </a:cubicBezTo>
                    <a:cubicBezTo>
                      <a:pt x="27" y="398"/>
                      <a:pt x="27" y="398"/>
                      <a:pt x="27" y="398"/>
                    </a:cubicBezTo>
                    <a:cubicBezTo>
                      <a:pt x="27" y="400"/>
                      <a:pt x="27" y="400"/>
                      <a:pt x="27" y="400"/>
                    </a:cubicBezTo>
                    <a:cubicBezTo>
                      <a:pt x="25" y="398"/>
                      <a:pt x="25" y="398"/>
                      <a:pt x="25" y="398"/>
                    </a:cubicBezTo>
                    <a:cubicBezTo>
                      <a:pt x="23" y="397"/>
                      <a:pt x="23" y="397"/>
                      <a:pt x="23" y="397"/>
                    </a:cubicBezTo>
                    <a:cubicBezTo>
                      <a:pt x="21" y="395"/>
                      <a:pt x="21" y="395"/>
                      <a:pt x="21" y="395"/>
                    </a:cubicBezTo>
                    <a:close/>
                    <a:moveTo>
                      <a:pt x="21" y="398"/>
                    </a:moveTo>
                    <a:cubicBezTo>
                      <a:pt x="22" y="398"/>
                      <a:pt x="22" y="398"/>
                      <a:pt x="22" y="398"/>
                    </a:cubicBezTo>
                    <a:cubicBezTo>
                      <a:pt x="24" y="399"/>
                      <a:pt x="24" y="399"/>
                      <a:pt x="24" y="399"/>
                    </a:cubicBezTo>
                    <a:cubicBezTo>
                      <a:pt x="26" y="402"/>
                      <a:pt x="26" y="402"/>
                      <a:pt x="26" y="402"/>
                    </a:cubicBezTo>
                    <a:cubicBezTo>
                      <a:pt x="26" y="404"/>
                      <a:pt x="26" y="404"/>
                      <a:pt x="26" y="404"/>
                    </a:cubicBezTo>
                    <a:cubicBezTo>
                      <a:pt x="24" y="403"/>
                      <a:pt x="24" y="403"/>
                      <a:pt x="24" y="403"/>
                    </a:cubicBezTo>
                    <a:cubicBezTo>
                      <a:pt x="22" y="401"/>
                      <a:pt x="22" y="401"/>
                      <a:pt x="22" y="401"/>
                    </a:cubicBezTo>
                    <a:cubicBezTo>
                      <a:pt x="21" y="398"/>
                      <a:pt x="21" y="398"/>
                      <a:pt x="21" y="398"/>
                    </a:cubicBezTo>
                    <a:close/>
                    <a:moveTo>
                      <a:pt x="23" y="408"/>
                    </a:moveTo>
                    <a:cubicBezTo>
                      <a:pt x="21" y="409"/>
                      <a:pt x="21" y="409"/>
                      <a:pt x="21" y="409"/>
                    </a:cubicBezTo>
                    <a:cubicBezTo>
                      <a:pt x="20" y="408"/>
                      <a:pt x="20" y="408"/>
                      <a:pt x="20" y="408"/>
                    </a:cubicBezTo>
                    <a:cubicBezTo>
                      <a:pt x="21" y="407"/>
                      <a:pt x="21" y="407"/>
                      <a:pt x="21" y="407"/>
                    </a:cubicBezTo>
                    <a:cubicBezTo>
                      <a:pt x="22" y="405"/>
                      <a:pt x="22" y="405"/>
                      <a:pt x="22" y="405"/>
                    </a:cubicBezTo>
                    <a:cubicBezTo>
                      <a:pt x="21" y="404"/>
                      <a:pt x="21" y="404"/>
                      <a:pt x="21" y="404"/>
                    </a:cubicBezTo>
                    <a:cubicBezTo>
                      <a:pt x="22" y="403"/>
                      <a:pt x="22" y="403"/>
                      <a:pt x="22" y="403"/>
                    </a:cubicBezTo>
                    <a:cubicBezTo>
                      <a:pt x="23" y="404"/>
                      <a:pt x="23" y="404"/>
                      <a:pt x="23" y="404"/>
                    </a:cubicBezTo>
                    <a:cubicBezTo>
                      <a:pt x="24" y="404"/>
                      <a:pt x="24" y="404"/>
                      <a:pt x="24" y="404"/>
                    </a:cubicBezTo>
                    <a:cubicBezTo>
                      <a:pt x="27" y="406"/>
                      <a:pt x="27" y="406"/>
                      <a:pt x="27" y="406"/>
                    </a:cubicBezTo>
                    <a:cubicBezTo>
                      <a:pt x="27" y="407"/>
                      <a:pt x="27" y="407"/>
                      <a:pt x="27" y="407"/>
                    </a:cubicBezTo>
                    <a:cubicBezTo>
                      <a:pt x="25" y="407"/>
                      <a:pt x="25" y="407"/>
                      <a:pt x="25" y="407"/>
                    </a:cubicBezTo>
                    <a:cubicBezTo>
                      <a:pt x="25" y="408"/>
                      <a:pt x="25" y="408"/>
                      <a:pt x="25" y="408"/>
                    </a:cubicBezTo>
                    <a:cubicBezTo>
                      <a:pt x="23" y="408"/>
                      <a:pt x="23" y="408"/>
                      <a:pt x="23" y="408"/>
                    </a:cubicBezTo>
                    <a:close/>
                    <a:moveTo>
                      <a:pt x="26" y="416"/>
                    </a:moveTo>
                    <a:cubicBezTo>
                      <a:pt x="24" y="416"/>
                      <a:pt x="24" y="416"/>
                      <a:pt x="24" y="416"/>
                    </a:cubicBezTo>
                    <a:cubicBezTo>
                      <a:pt x="24" y="416"/>
                      <a:pt x="24" y="416"/>
                      <a:pt x="24" y="416"/>
                    </a:cubicBezTo>
                    <a:cubicBezTo>
                      <a:pt x="23" y="414"/>
                      <a:pt x="23" y="414"/>
                      <a:pt x="23" y="414"/>
                    </a:cubicBezTo>
                    <a:cubicBezTo>
                      <a:pt x="24" y="413"/>
                      <a:pt x="24" y="413"/>
                      <a:pt x="24" y="413"/>
                    </a:cubicBezTo>
                    <a:cubicBezTo>
                      <a:pt x="24" y="412"/>
                      <a:pt x="24" y="412"/>
                      <a:pt x="24" y="412"/>
                    </a:cubicBezTo>
                    <a:cubicBezTo>
                      <a:pt x="24" y="412"/>
                      <a:pt x="24" y="412"/>
                      <a:pt x="24" y="412"/>
                    </a:cubicBezTo>
                    <a:cubicBezTo>
                      <a:pt x="23" y="411"/>
                      <a:pt x="23" y="411"/>
                      <a:pt x="23" y="411"/>
                    </a:cubicBezTo>
                    <a:cubicBezTo>
                      <a:pt x="25" y="411"/>
                      <a:pt x="25" y="411"/>
                      <a:pt x="25" y="411"/>
                    </a:cubicBezTo>
                    <a:cubicBezTo>
                      <a:pt x="26" y="412"/>
                      <a:pt x="26" y="412"/>
                      <a:pt x="26" y="412"/>
                    </a:cubicBezTo>
                    <a:cubicBezTo>
                      <a:pt x="26" y="414"/>
                      <a:pt x="26" y="414"/>
                      <a:pt x="26" y="414"/>
                    </a:cubicBezTo>
                    <a:cubicBezTo>
                      <a:pt x="25" y="415"/>
                      <a:pt x="25" y="415"/>
                      <a:pt x="25" y="415"/>
                    </a:cubicBezTo>
                    <a:cubicBezTo>
                      <a:pt x="26" y="416"/>
                      <a:pt x="26" y="416"/>
                      <a:pt x="26" y="416"/>
                    </a:cubicBezTo>
                    <a:close/>
                    <a:moveTo>
                      <a:pt x="26" y="413"/>
                    </a:moveTo>
                    <a:cubicBezTo>
                      <a:pt x="26" y="412"/>
                      <a:pt x="26" y="412"/>
                      <a:pt x="26" y="412"/>
                    </a:cubicBezTo>
                    <a:cubicBezTo>
                      <a:pt x="27" y="412"/>
                      <a:pt x="27" y="412"/>
                      <a:pt x="27" y="412"/>
                    </a:cubicBezTo>
                    <a:cubicBezTo>
                      <a:pt x="28" y="413"/>
                      <a:pt x="28" y="413"/>
                      <a:pt x="28" y="413"/>
                    </a:cubicBezTo>
                    <a:cubicBezTo>
                      <a:pt x="29" y="414"/>
                      <a:pt x="29" y="414"/>
                      <a:pt x="29" y="414"/>
                    </a:cubicBezTo>
                    <a:cubicBezTo>
                      <a:pt x="29" y="415"/>
                      <a:pt x="29" y="415"/>
                      <a:pt x="29" y="415"/>
                    </a:cubicBezTo>
                    <a:cubicBezTo>
                      <a:pt x="28" y="416"/>
                      <a:pt x="28" y="416"/>
                      <a:pt x="28" y="416"/>
                    </a:cubicBezTo>
                    <a:cubicBezTo>
                      <a:pt x="27" y="416"/>
                      <a:pt x="27" y="416"/>
                      <a:pt x="27" y="416"/>
                    </a:cubicBezTo>
                    <a:cubicBezTo>
                      <a:pt x="27" y="415"/>
                      <a:pt x="27" y="415"/>
                      <a:pt x="27" y="415"/>
                    </a:cubicBezTo>
                    <a:cubicBezTo>
                      <a:pt x="26" y="415"/>
                      <a:pt x="26" y="415"/>
                      <a:pt x="26" y="415"/>
                    </a:cubicBezTo>
                    <a:cubicBezTo>
                      <a:pt x="26" y="413"/>
                      <a:pt x="26" y="413"/>
                      <a:pt x="26" y="413"/>
                    </a:cubicBezTo>
                    <a:close/>
                    <a:moveTo>
                      <a:pt x="29" y="414"/>
                    </a:moveTo>
                    <a:cubicBezTo>
                      <a:pt x="31" y="415"/>
                      <a:pt x="31" y="415"/>
                      <a:pt x="31" y="415"/>
                    </a:cubicBezTo>
                    <a:cubicBezTo>
                      <a:pt x="32" y="416"/>
                      <a:pt x="32" y="416"/>
                      <a:pt x="32" y="416"/>
                    </a:cubicBezTo>
                    <a:cubicBezTo>
                      <a:pt x="31" y="416"/>
                      <a:pt x="31" y="416"/>
                      <a:pt x="31" y="416"/>
                    </a:cubicBezTo>
                    <a:cubicBezTo>
                      <a:pt x="30" y="415"/>
                      <a:pt x="30" y="415"/>
                      <a:pt x="30" y="415"/>
                    </a:cubicBezTo>
                    <a:cubicBezTo>
                      <a:pt x="29" y="414"/>
                      <a:pt x="29" y="414"/>
                      <a:pt x="29" y="414"/>
                    </a:cubicBezTo>
                    <a:close/>
                    <a:moveTo>
                      <a:pt x="29" y="421"/>
                    </a:moveTo>
                    <a:cubicBezTo>
                      <a:pt x="28" y="421"/>
                      <a:pt x="28" y="421"/>
                      <a:pt x="28" y="421"/>
                    </a:cubicBezTo>
                    <a:cubicBezTo>
                      <a:pt x="27" y="421"/>
                      <a:pt x="27" y="421"/>
                      <a:pt x="27" y="421"/>
                    </a:cubicBezTo>
                    <a:cubicBezTo>
                      <a:pt x="28" y="420"/>
                      <a:pt x="28" y="420"/>
                      <a:pt x="28" y="420"/>
                    </a:cubicBezTo>
                    <a:cubicBezTo>
                      <a:pt x="28" y="418"/>
                      <a:pt x="28" y="418"/>
                      <a:pt x="28" y="418"/>
                    </a:cubicBezTo>
                    <a:cubicBezTo>
                      <a:pt x="29" y="418"/>
                      <a:pt x="29" y="418"/>
                      <a:pt x="29" y="418"/>
                    </a:cubicBezTo>
                    <a:cubicBezTo>
                      <a:pt x="29" y="419"/>
                      <a:pt x="29" y="419"/>
                      <a:pt x="29" y="419"/>
                    </a:cubicBezTo>
                    <a:cubicBezTo>
                      <a:pt x="29" y="421"/>
                      <a:pt x="29" y="421"/>
                      <a:pt x="29" y="421"/>
                    </a:cubicBezTo>
                    <a:close/>
                    <a:moveTo>
                      <a:pt x="34" y="416"/>
                    </a:moveTo>
                    <a:cubicBezTo>
                      <a:pt x="32" y="415"/>
                      <a:pt x="32" y="415"/>
                      <a:pt x="32" y="415"/>
                    </a:cubicBezTo>
                    <a:cubicBezTo>
                      <a:pt x="31" y="413"/>
                      <a:pt x="31" y="413"/>
                      <a:pt x="31" y="413"/>
                    </a:cubicBezTo>
                    <a:cubicBezTo>
                      <a:pt x="31" y="410"/>
                      <a:pt x="31" y="410"/>
                      <a:pt x="31" y="410"/>
                    </a:cubicBezTo>
                    <a:cubicBezTo>
                      <a:pt x="31" y="410"/>
                      <a:pt x="31" y="410"/>
                      <a:pt x="31" y="410"/>
                    </a:cubicBezTo>
                    <a:cubicBezTo>
                      <a:pt x="32" y="413"/>
                      <a:pt x="32" y="413"/>
                      <a:pt x="32" y="413"/>
                    </a:cubicBezTo>
                    <a:cubicBezTo>
                      <a:pt x="34" y="414"/>
                      <a:pt x="34" y="414"/>
                      <a:pt x="34" y="414"/>
                    </a:cubicBezTo>
                    <a:cubicBezTo>
                      <a:pt x="35" y="416"/>
                      <a:pt x="35" y="416"/>
                      <a:pt x="35" y="416"/>
                    </a:cubicBezTo>
                    <a:cubicBezTo>
                      <a:pt x="34" y="416"/>
                      <a:pt x="34" y="416"/>
                      <a:pt x="34" y="416"/>
                    </a:cubicBezTo>
                    <a:close/>
                    <a:moveTo>
                      <a:pt x="34" y="419"/>
                    </a:moveTo>
                    <a:cubicBezTo>
                      <a:pt x="32" y="417"/>
                      <a:pt x="32" y="417"/>
                      <a:pt x="32" y="417"/>
                    </a:cubicBezTo>
                    <a:cubicBezTo>
                      <a:pt x="33" y="417"/>
                      <a:pt x="33" y="417"/>
                      <a:pt x="33" y="417"/>
                    </a:cubicBezTo>
                    <a:cubicBezTo>
                      <a:pt x="34" y="417"/>
                      <a:pt x="34" y="417"/>
                      <a:pt x="34" y="417"/>
                    </a:cubicBezTo>
                    <a:cubicBezTo>
                      <a:pt x="35" y="419"/>
                      <a:pt x="35" y="419"/>
                      <a:pt x="35" y="419"/>
                    </a:cubicBezTo>
                    <a:cubicBezTo>
                      <a:pt x="34" y="419"/>
                      <a:pt x="34" y="419"/>
                      <a:pt x="34" y="419"/>
                    </a:cubicBezTo>
                    <a:close/>
                    <a:moveTo>
                      <a:pt x="35" y="422"/>
                    </a:moveTo>
                    <a:cubicBezTo>
                      <a:pt x="33" y="420"/>
                      <a:pt x="33" y="420"/>
                      <a:pt x="33" y="420"/>
                    </a:cubicBezTo>
                    <a:cubicBezTo>
                      <a:pt x="32" y="419"/>
                      <a:pt x="32" y="419"/>
                      <a:pt x="32" y="419"/>
                    </a:cubicBezTo>
                    <a:cubicBezTo>
                      <a:pt x="32" y="418"/>
                      <a:pt x="32" y="418"/>
                      <a:pt x="32" y="418"/>
                    </a:cubicBezTo>
                    <a:cubicBezTo>
                      <a:pt x="35" y="421"/>
                      <a:pt x="35" y="421"/>
                      <a:pt x="35" y="421"/>
                    </a:cubicBezTo>
                    <a:cubicBezTo>
                      <a:pt x="35" y="422"/>
                      <a:pt x="35" y="422"/>
                      <a:pt x="35" y="422"/>
                    </a:cubicBezTo>
                    <a:cubicBezTo>
                      <a:pt x="35" y="422"/>
                      <a:pt x="35" y="422"/>
                      <a:pt x="35" y="422"/>
                    </a:cubicBezTo>
                    <a:close/>
                    <a:moveTo>
                      <a:pt x="37" y="427"/>
                    </a:moveTo>
                    <a:cubicBezTo>
                      <a:pt x="36" y="427"/>
                      <a:pt x="36" y="427"/>
                      <a:pt x="36" y="427"/>
                    </a:cubicBezTo>
                    <a:cubicBezTo>
                      <a:pt x="35" y="426"/>
                      <a:pt x="35" y="426"/>
                      <a:pt x="35" y="426"/>
                    </a:cubicBezTo>
                    <a:cubicBezTo>
                      <a:pt x="35" y="425"/>
                      <a:pt x="35" y="425"/>
                      <a:pt x="35" y="425"/>
                    </a:cubicBezTo>
                    <a:cubicBezTo>
                      <a:pt x="33" y="425"/>
                      <a:pt x="33" y="425"/>
                      <a:pt x="33" y="425"/>
                    </a:cubicBezTo>
                    <a:cubicBezTo>
                      <a:pt x="32" y="424"/>
                      <a:pt x="32" y="424"/>
                      <a:pt x="32" y="424"/>
                    </a:cubicBezTo>
                    <a:cubicBezTo>
                      <a:pt x="34" y="424"/>
                      <a:pt x="34" y="424"/>
                      <a:pt x="34" y="424"/>
                    </a:cubicBezTo>
                    <a:cubicBezTo>
                      <a:pt x="35" y="424"/>
                      <a:pt x="35" y="424"/>
                      <a:pt x="35" y="424"/>
                    </a:cubicBezTo>
                    <a:cubicBezTo>
                      <a:pt x="37" y="423"/>
                      <a:pt x="37" y="423"/>
                      <a:pt x="37" y="423"/>
                    </a:cubicBezTo>
                    <a:cubicBezTo>
                      <a:pt x="38" y="425"/>
                      <a:pt x="38" y="425"/>
                      <a:pt x="38" y="425"/>
                    </a:cubicBezTo>
                    <a:cubicBezTo>
                      <a:pt x="37" y="427"/>
                      <a:pt x="37" y="427"/>
                      <a:pt x="37" y="427"/>
                    </a:cubicBezTo>
                    <a:close/>
                    <a:moveTo>
                      <a:pt x="43" y="437"/>
                    </a:moveTo>
                    <a:cubicBezTo>
                      <a:pt x="40" y="436"/>
                      <a:pt x="40" y="436"/>
                      <a:pt x="40" y="436"/>
                    </a:cubicBezTo>
                    <a:cubicBezTo>
                      <a:pt x="39" y="436"/>
                      <a:pt x="39" y="436"/>
                      <a:pt x="39" y="436"/>
                    </a:cubicBezTo>
                    <a:cubicBezTo>
                      <a:pt x="38" y="436"/>
                      <a:pt x="38" y="436"/>
                      <a:pt x="38" y="436"/>
                    </a:cubicBezTo>
                    <a:cubicBezTo>
                      <a:pt x="37" y="435"/>
                      <a:pt x="37" y="435"/>
                      <a:pt x="37" y="435"/>
                    </a:cubicBezTo>
                    <a:cubicBezTo>
                      <a:pt x="34" y="434"/>
                      <a:pt x="34" y="434"/>
                      <a:pt x="34" y="434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1" y="431"/>
                      <a:pt x="31" y="431"/>
                      <a:pt x="31" y="431"/>
                    </a:cubicBezTo>
                    <a:cubicBezTo>
                      <a:pt x="30" y="429"/>
                      <a:pt x="30" y="429"/>
                      <a:pt x="30" y="429"/>
                    </a:cubicBezTo>
                    <a:cubicBezTo>
                      <a:pt x="31" y="428"/>
                      <a:pt x="31" y="428"/>
                      <a:pt x="31" y="428"/>
                    </a:cubicBezTo>
                    <a:cubicBezTo>
                      <a:pt x="32" y="429"/>
                      <a:pt x="32" y="429"/>
                      <a:pt x="32" y="429"/>
                    </a:cubicBezTo>
                    <a:cubicBezTo>
                      <a:pt x="34" y="431"/>
                      <a:pt x="34" y="431"/>
                      <a:pt x="34" y="431"/>
                    </a:cubicBezTo>
                    <a:cubicBezTo>
                      <a:pt x="35" y="432"/>
                      <a:pt x="35" y="432"/>
                      <a:pt x="35" y="432"/>
                    </a:cubicBezTo>
                    <a:cubicBezTo>
                      <a:pt x="37" y="432"/>
                      <a:pt x="37" y="432"/>
                      <a:pt x="37" y="432"/>
                    </a:cubicBezTo>
                    <a:cubicBezTo>
                      <a:pt x="39" y="433"/>
                      <a:pt x="39" y="433"/>
                      <a:pt x="39" y="433"/>
                    </a:cubicBezTo>
                    <a:cubicBezTo>
                      <a:pt x="40" y="434"/>
                      <a:pt x="40" y="434"/>
                      <a:pt x="40" y="434"/>
                    </a:cubicBezTo>
                    <a:cubicBezTo>
                      <a:pt x="42" y="434"/>
                      <a:pt x="42" y="434"/>
                      <a:pt x="42" y="434"/>
                    </a:cubicBezTo>
                    <a:cubicBezTo>
                      <a:pt x="43" y="435"/>
                      <a:pt x="43" y="435"/>
                      <a:pt x="43" y="435"/>
                    </a:cubicBezTo>
                    <a:cubicBezTo>
                      <a:pt x="45" y="436"/>
                      <a:pt x="45" y="436"/>
                      <a:pt x="45" y="436"/>
                    </a:cubicBezTo>
                    <a:cubicBezTo>
                      <a:pt x="46" y="436"/>
                      <a:pt x="46" y="436"/>
                      <a:pt x="46" y="436"/>
                    </a:cubicBezTo>
                    <a:cubicBezTo>
                      <a:pt x="47" y="437"/>
                      <a:pt x="47" y="437"/>
                      <a:pt x="47" y="437"/>
                    </a:cubicBezTo>
                    <a:cubicBezTo>
                      <a:pt x="46" y="438"/>
                      <a:pt x="46" y="438"/>
                      <a:pt x="46" y="438"/>
                    </a:cubicBezTo>
                    <a:cubicBezTo>
                      <a:pt x="44" y="438"/>
                      <a:pt x="44" y="438"/>
                      <a:pt x="44" y="438"/>
                    </a:cubicBezTo>
                    <a:cubicBezTo>
                      <a:pt x="43" y="437"/>
                      <a:pt x="43" y="437"/>
                      <a:pt x="43" y="437"/>
                    </a:cubicBezTo>
                    <a:close/>
                    <a:moveTo>
                      <a:pt x="36" y="438"/>
                    </a:moveTo>
                    <a:cubicBezTo>
                      <a:pt x="36" y="438"/>
                      <a:pt x="38" y="439"/>
                      <a:pt x="38" y="439"/>
                    </a:cubicBezTo>
                    <a:cubicBezTo>
                      <a:pt x="35" y="438"/>
                      <a:pt x="35" y="438"/>
                      <a:pt x="35" y="438"/>
                    </a:cubicBezTo>
                    <a:cubicBezTo>
                      <a:pt x="36" y="438"/>
                      <a:pt x="36" y="438"/>
                      <a:pt x="36" y="438"/>
                    </a:cubicBezTo>
                    <a:close/>
                    <a:moveTo>
                      <a:pt x="50" y="447"/>
                    </a:moveTo>
                    <a:cubicBezTo>
                      <a:pt x="50" y="447"/>
                      <a:pt x="50" y="447"/>
                      <a:pt x="50" y="447"/>
                    </a:cubicBezTo>
                    <a:cubicBezTo>
                      <a:pt x="51" y="447"/>
                      <a:pt x="51" y="447"/>
                      <a:pt x="51" y="447"/>
                    </a:cubicBezTo>
                    <a:cubicBezTo>
                      <a:pt x="50" y="446"/>
                      <a:pt x="50" y="446"/>
                      <a:pt x="50" y="446"/>
                    </a:cubicBezTo>
                    <a:cubicBezTo>
                      <a:pt x="49" y="446"/>
                      <a:pt x="49" y="446"/>
                      <a:pt x="49" y="446"/>
                    </a:cubicBezTo>
                    <a:cubicBezTo>
                      <a:pt x="50" y="447"/>
                      <a:pt x="50" y="447"/>
                      <a:pt x="50" y="447"/>
                    </a:cubicBezTo>
                    <a:close/>
                    <a:moveTo>
                      <a:pt x="55" y="448"/>
                    </a:moveTo>
                    <a:cubicBezTo>
                      <a:pt x="53" y="448"/>
                      <a:pt x="53" y="448"/>
                      <a:pt x="53" y="448"/>
                    </a:cubicBezTo>
                    <a:cubicBezTo>
                      <a:pt x="52" y="447"/>
                      <a:pt x="52" y="447"/>
                      <a:pt x="52" y="447"/>
                    </a:cubicBezTo>
                    <a:cubicBezTo>
                      <a:pt x="52" y="446"/>
                      <a:pt x="52" y="446"/>
                      <a:pt x="52" y="446"/>
                    </a:cubicBezTo>
                    <a:cubicBezTo>
                      <a:pt x="51" y="445"/>
                      <a:pt x="51" y="445"/>
                      <a:pt x="51" y="445"/>
                    </a:cubicBezTo>
                    <a:cubicBezTo>
                      <a:pt x="49" y="445"/>
                      <a:pt x="49" y="445"/>
                      <a:pt x="49" y="445"/>
                    </a:cubicBezTo>
                    <a:cubicBezTo>
                      <a:pt x="47" y="445"/>
                      <a:pt x="47" y="445"/>
                      <a:pt x="47" y="445"/>
                    </a:cubicBezTo>
                    <a:cubicBezTo>
                      <a:pt x="45" y="443"/>
                      <a:pt x="45" y="443"/>
                      <a:pt x="45" y="443"/>
                    </a:cubicBezTo>
                    <a:cubicBezTo>
                      <a:pt x="44" y="442"/>
                      <a:pt x="44" y="442"/>
                      <a:pt x="44" y="442"/>
                    </a:cubicBezTo>
                    <a:cubicBezTo>
                      <a:pt x="43" y="441"/>
                      <a:pt x="43" y="441"/>
                      <a:pt x="43" y="441"/>
                    </a:cubicBezTo>
                    <a:cubicBezTo>
                      <a:pt x="41" y="440"/>
                      <a:pt x="41" y="440"/>
                      <a:pt x="41" y="440"/>
                    </a:cubicBezTo>
                    <a:cubicBezTo>
                      <a:pt x="41" y="439"/>
                      <a:pt x="41" y="439"/>
                      <a:pt x="41" y="439"/>
                    </a:cubicBezTo>
                    <a:cubicBezTo>
                      <a:pt x="42" y="438"/>
                      <a:pt x="42" y="438"/>
                      <a:pt x="42" y="438"/>
                    </a:cubicBezTo>
                    <a:cubicBezTo>
                      <a:pt x="43" y="438"/>
                      <a:pt x="43" y="438"/>
                      <a:pt x="43" y="438"/>
                    </a:cubicBezTo>
                    <a:cubicBezTo>
                      <a:pt x="44" y="439"/>
                      <a:pt x="44" y="439"/>
                      <a:pt x="44" y="439"/>
                    </a:cubicBezTo>
                    <a:cubicBezTo>
                      <a:pt x="45" y="439"/>
                      <a:pt x="45" y="439"/>
                      <a:pt x="45" y="439"/>
                    </a:cubicBezTo>
                    <a:cubicBezTo>
                      <a:pt x="47" y="438"/>
                      <a:pt x="47" y="438"/>
                      <a:pt x="47" y="438"/>
                    </a:cubicBezTo>
                    <a:cubicBezTo>
                      <a:pt x="49" y="438"/>
                      <a:pt x="49" y="438"/>
                      <a:pt x="49" y="438"/>
                    </a:cubicBezTo>
                    <a:cubicBezTo>
                      <a:pt x="51" y="440"/>
                      <a:pt x="51" y="440"/>
                      <a:pt x="51" y="440"/>
                    </a:cubicBezTo>
                    <a:cubicBezTo>
                      <a:pt x="53" y="441"/>
                      <a:pt x="53" y="441"/>
                      <a:pt x="53" y="441"/>
                    </a:cubicBezTo>
                    <a:cubicBezTo>
                      <a:pt x="53" y="442"/>
                      <a:pt x="53" y="442"/>
                      <a:pt x="53" y="442"/>
                    </a:cubicBezTo>
                    <a:cubicBezTo>
                      <a:pt x="55" y="441"/>
                      <a:pt x="55" y="441"/>
                      <a:pt x="55" y="441"/>
                    </a:cubicBezTo>
                    <a:cubicBezTo>
                      <a:pt x="56" y="442"/>
                      <a:pt x="56" y="442"/>
                      <a:pt x="56" y="442"/>
                    </a:cubicBezTo>
                    <a:cubicBezTo>
                      <a:pt x="57" y="443"/>
                      <a:pt x="57" y="443"/>
                      <a:pt x="57" y="443"/>
                    </a:cubicBezTo>
                    <a:cubicBezTo>
                      <a:pt x="56" y="443"/>
                      <a:pt x="56" y="443"/>
                      <a:pt x="56" y="443"/>
                    </a:cubicBezTo>
                    <a:cubicBezTo>
                      <a:pt x="55" y="444"/>
                      <a:pt x="55" y="444"/>
                      <a:pt x="55" y="444"/>
                    </a:cubicBezTo>
                    <a:cubicBezTo>
                      <a:pt x="55" y="444"/>
                      <a:pt x="55" y="444"/>
                      <a:pt x="55" y="444"/>
                    </a:cubicBezTo>
                    <a:cubicBezTo>
                      <a:pt x="56" y="445"/>
                      <a:pt x="56" y="445"/>
                      <a:pt x="56" y="445"/>
                    </a:cubicBezTo>
                    <a:cubicBezTo>
                      <a:pt x="54" y="447"/>
                      <a:pt x="54" y="447"/>
                      <a:pt x="54" y="447"/>
                    </a:cubicBezTo>
                    <a:cubicBezTo>
                      <a:pt x="55" y="448"/>
                      <a:pt x="55" y="448"/>
                      <a:pt x="55" y="448"/>
                    </a:cubicBezTo>
                    <a:close/>
                    <a:moveTo>
                      <a:pt x="57" y="447"/>
                    </a:moveTo>
                    <a:cubicBezTo>
                      <a:pt x="56" y="448"/>
                      <a:pt x="56" y="448"/>
                      <a:pt x="56" y="448"/>
                    </a:cubicBezTo>
                    <a:cubicBezTo>
                      <a:pt x="56" y="450"/>
                      <a:pt x="56" y="450"/>
                      <a:pt x="56" y="450"/>
                    </a:cubicBezTo>
                    <a:cubicBezTo>
                      <a:pt x="57" y="449"/>
                      <a:pt x="57" y="449"/>
                      <a:pt x="57" y="449"/>
                    </a:cubicBezTo>
                    <a:cubicBezTo>
                      <a:pt x="58" y="448"/>
                      <a:pt x="58" y="448"/>
                      <a:pt x="58" y="448"/>
                    </a:cubicBezTo>
                    <a:cubicBezTo>
                      <a:pt x="58" y="447"/>
                      <a:pt x="58" y="447"/>
                      <a:pt x="58" y="447"/>
                    </a:cubicBezTo>
                    <a:cubicBezTo>
                      <a:pt x="57" y="447"/>
                      <a:pt x="57" y="447"/>
                      <a:pt x="57" y="447"/>
                    </a:cubicBezTo>
                    <a:cubicBezTo>
                      <a:pt x="57" y="447"/>
                      <a:pt x="57" y="447"/>
                      <a:pt x="57" y="447"/>
                    </a:cubicBezTo>
                    <a:close/>
                    <a:moveTo>
                      <a:pt x="68" y="445"/>
                    </a:moveTo>
                    <a:cubicBezTo>
                      <a:pt x="67" y="447"/>
                      <a:pt x="67" y="447"/>
                      <a:pt x="67" y="447"/>
                    </a:cubicBezTo>
                    <a:cubicBezTo>
                      <a:pt x="68" y="448"/>
                      <a:pt x="68" y="448"/>
                      <a:pt x="68" y="448"/>
                    </a:cubicBezTo>
                    <a:cubicBezTo>
                      <a:pt x="66" y="449"/>
                      <a:pt x="66" y="449"/>
                      <a:pt x="66" y="449"/>
                    </a:cubicBezTo>
                    <a:cubicBezTo>
                      <a:pt x="65" y="448"/>
                      <a:pt x="65" y="448"/>
                      <a:pt x="65" y="448"/>
                    </a:cubicBezTo>
                    <a:cubicBezTo>
                      <a:pt x="64" y="447"/>
                      <a:pt x="64" y="447"/>
                      <a:pt x="64" y="447"/>
                    </a:cubicBezTo>
                    <a:cubicBezTo>
                      <a:pt x="63" y="448"/>
                      <a:pt x="63" y="448"/>
                      <a:pt x="63" y="448"/>
                    </a:cubicBezTo>
                    <a:cubicBezTo>
                      <a:pt x="62" y="447"/>
                      <a:pt x="62" y="447"/>
                      <a:pt x="62" y="447"/>
                    </a:cubicBezTo>
                    <a:cubicBezTo>
                      <a:pt x="61" y="447"/>
                      <a:pt x="61" y="447"/>
                      <a:pt x="61" y="447"/>
                    </a:cubicBezTo>
                    <a:cubicBezTo>
                      <a:pt x="60" y="448"/>
                      <a:pt x="60" y="448"/>
                      <a:pt x="60" y="448"/>
                    </a:cubicBezTo>
                    <a:cubicBezTo>
                      <a:pt x="59" y="446"/>
                      <a:pt x="59" y="446"/>
                      <a:pt x="59" y="446"/>
                    </a:cubicBezTo>
                    <a:cubicBezTo>
                      <a:pt x="58" y="445"/>
                      <a:pt x="58" y="445"/>
                      <a:pt x="58" y="445"/>
                    </a:cubicBezTo>
                    <a:cubicBezTo>
                      <a:pt x="58" y="445"/>
                      <a:pt x="58" y="445"/>
                      <a:pt x="58" y="445"/>
                    </a:cubicBezTo>
                    <a:cubicBezTo>
                      <a:pt x="60" y="444"/>
                      <a:pt x="60" y="444"/>
                      <a:pt x="60" y="444"/>
                    </a:cubicBezTo>
                    <a:cubicBezTo>
                      <a:pt x="61" y="444"/>
                      <a:pt x="61" y="444"/>
                      <a:pt x="61" y="444"/>
                    </a:cubicBezTo>
                    <a:cubicBezTo>
                      <a:pt x="64" y="445"/>
                      <a:pt x="64" y="445"/>
                      <a:pt x="64" y="445"/>
                    </a:cubicBezTo>
                    <a:cubicBezTo>
                      <a:pt x="65" y="446"/>
                      <a:pt x="65" y="446"/>
                      <a:pt x="65" y="446"/>
                    </a:cubicBezTo>
                    <a:cubicBezTo>
                      <a:pt x="66" y="445"/>
                      <a:pt x="66" y="445"/>
                      <a:pt x="66" y="445"/>
                    </a:cubicBezTo>
                    <a:cubicBezTo>
                      <a:pt x="67" y="445"/>
                      <a:pt x="67" y="445"/>
                      <a:pt x="67" y="445"/>
                    </a:cubicBezTo>
                    <a:cubicBezTo>
                      <a:pt x="68" y="445"/>
                      <a:pt x="68" y="445"/>
                      <a:pt x="68" y="445"/>
                    </a:cubicBezTo>
                    <a:close/>
                    <a:moveTo>
                      <a:pt x="73" y="445"/>
                    </a:moveTo>
                    <a:cubicBezTo>
                      <a:pt x="71" y="443"/>
                      <a:pt x="71" y="443"/>
                      <a:pt x="71" y="443"/>
                    </a:cubicBezTo>
                    <a:cubicBezTo>
                      <a:pt x="72" y="442"/>
                      <a:pt x="72" y="442"/>
                      <a:pt x="72" y="442"/>
                    </a:cubicBezTo>
                    <a:cubicBezTo>
                      <a:pt x="71" y="441"/>
                      <a:pt x="71" y="441"/>
                      <a:pt x="71" y="44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1" y="438"/>
                      <a:pt x="71" y="438"/>
                      <a:pt x="71" y="438"/>
                    </a:cubicBezTo>
                    <a:cubicBezTo>
                      <a:pt x="70" y="436"/>
                      <a:pt x="70" y="436"/>
                      <a:pt x="70" y="436"/>
                    </a:cubicBezTo>
                    <a:cubicBezTo>
                      <a:pt x="69" y="435"/>
                      <a:pt x="69" y="435"/>
                      <a:pt x="69" y="435"/>
                    </a:cubicBezTo>
                    <a:cubicBezTo>
                      <a:pt x="69" y="437"/>
                      <a:pt x="69" y="437"/>
                      <a:pt x="69" y="437"/>
                    </a:cubicBezTo>
                    <a:cubicBezTo>
                      <a:pt x="68" y="439"/>
                      <a:pt x="68" y="439"/>
                      <a:pt x="68" y="439"/>
                    </a:cubicBezTo>
                    <a:cubicBezTo>
                      <a:pt x="69" y="441"/>
                      <a:pt x="69" y="441"/>
                      <a:pt x="69" y="441"/>
                    </a:cubicBezTo>
                    <a:cubicBezTo>
                      <a:pt x="68" y="442"/>
                      <a:pt x="68" y="442"/>
                      <a:pt x="68" y="442"/>
                    </a:cubicBezTo>
                    <a:cubicBezTo>
                      <a:pt x="68" y="443"/>
                      <a:pt x="68" y="443"/>
                      <a:pt x="68" y="443"/>
                    </a:cubicBezTo>
                    <a:cubicBezTo>
                      <a:pt x="70" y="444"/>
                      <a:pt x="70" y="444"/>
                      <a:pt x="70" y="444"/>
                    </a:cubicBezTo>
                    <a:cubicBezTo>
                      <a:pt x="72" y="445"/>
                      <a:pt x="72" y="445"/>
                      <a:pt x="72" y="445"/>
                    </a:cubicBezTo>
                    <a:cubicBezTo>
                      <a:pt x="72" y="446"/>
                      <a:pt x="72" y="446"/>
                      <a:pt x="72" y="446"/>
                    </a:cubicBezTo>
                    <a:cubicBezTo>
                      <a:pt x="73" y="445"/>
                      <a:pt x="73" y="445"/>
                      <a:pt x="73" y="445"/>
                    </a:cubicBezTo>
                    <a:close/>
                    <a:moveTo>
                      <a:pt x="66" y="459"/>
                    </a:moveTo>
                    <a:cubicBezTo>
                      <a:pt x="68" y="459"/>
                      <a:pt x="68" y="459"/>
                      <a:pt x="68" y="459"/>
                    </a:cubicBezTo>
                    <a:cubicBezTo>
                      <a:pt x="68" y="459"/>
                      <a:pt x="68" y="459"/>
                      <a:pt x="68" y="459"/>
                    </a:cubicBezTo>
                    <a:cubicBezTo>
                      <a:pt x="67" y="461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lose/>
                    <a:moveTo>
                      <a:pt x="67" y="458"/>
                    </a:moveTo>
                    <a:cubicBezTo>
                      <a:pt x="66" y="457"/>
                      <a:pt x="66" y="457"/>
                      <a:pt x="66" y="457"/>
                    </a:cubicBezTo>
                    <a:cubicBezTo>
                      <a:pt x="66" y="456"/>
                      <a:pt x="66" y="456"/>
                      <a:pt x="66" y="456"/>
                    </a:cubicBezTo>
                    <a:cubicBezTo>
                      <a:pt x="68" y="456"/>
                      <a:pt x="68" y="456"/>
                      <a:pt x="68" y="456"/>
                    </a:cubicBezTo>
                    <a:cubicBezTo>
                      <a:pt x="68" y="458"/>
                      <a:pt x="68" y="458"/>
                      <a:pt x="68" y="458"/>
                    </a:cubicBezTo>
                    <a:cubicBezTo>
                      <a:pt x="67" y="458"/>
                      <a:pt x="67" y="458"/>
                      <a:pt x="67" y="458"/>
                    </a:cubicBezTo>
                    <a:close/>
                    <a:moveTo>
                      <a:pt x="104" y="468"/>
                    </a:moveTo>
                    <a:cubicBezTo>
                      <a:pt x="104" y="467"/>
                      <a:pt x="104" y="467"/>
                      <a:pt x="104" y="467"/>
                    </a:cubicBezTo>
                    <a:cubicBezTo>
                      <a:pt x="105" y="465"/>
                      <a:pt x="105" y="465"/>
                      <a:pt x="105" y="465"/>
                    </a:cubicBezTo>
                    <a:cubicBezTo>
                      <a:pt x="104" y="464"/>
                      <a:pt x="104" y="464"/>
                      <a:pt x="104" y="464"/>
                    </a:cubicBezTo>
                    <a:cubicBezTo>
                      <a:pt x="105" y="465"/>
                      <a:pt x="105" y="465"/>
                      <a:pt x="105" y="465"/>
                    </a:cubicBezTo>
                    <a:cubicBezTo>
                      <a:pt x="106" y="466"/>
                      <a:pt x="106" y="466"/>
                      <a:pt x="106" y="466"/>
                    </a:cubicBezTo>
                    <a:cubicBezTo>
                      <a:pt x="106" y="468"/>
                      <a:pt x="106" y="468"/>
                      <a:pt x="106" y="468"/>
                    </a:cubicBezTo>
                    <a:cubicBezTo>
                      <a:pt x="104" y="468"/>
                      <a:pt x="104" y="468"/>
                      <a:pt x="104" y="468"/>
                    </a:cubicBezTo>
                    <a:close/>
                    <a:moveTo>
                      <a:pt x="80" y="458"/>
                    </a:moveTo>
                    <a:cubicBezTo>
                      <a:pt x="82" y="457"/>
                      <a:pt x="82" y="457"/>
                      <a:pt x="82" y="457"/>
                    </a:cubicBezTo>
                    <a:cubicBezTo>
                      <a:pt x="83" y="457"/>
                      <a:pt x="83" y="457"/>
                      <a:pt x="83" y="457"/>
                    </a:cubicBezTo>
                    <a:cubicBezTo>
                      <a:pt x="84" y="457"/>
                      <a:pt x="84" y="457"/>
                      <a:pt x="84" y="457"/>
                    </a:cubicBezTo>
                    <a:cubicBezTo>
                      <a:pt x="87" y="457"/>
                      <a:pt x="87" y="457"/>
                      <a:pt x="87" y="457"/>
                    </a:cubicBezTo>
                    <a:cubicBezTo>
                      <a:pt x="91" y="456"/>
                      <a:pt x="91" y="456"/>
                      <a:pt x="91" y="456"/>
                    </a:cubicBezTo>
                    <a:cubicBezTo>
                      <a:pt x="94" y="455"/>
                      <a:pt x="94" y="455"/>
                      <a:pt x="94" y="455"/>
                    </a:cubicBezTo>
                    <a:cubicBezTo>
                      <a:pt x="97" y="456"/>
                      <a:pt x="97" y="456"/>
                      <a:pt x="97" y="456"/>
                    </a:cubicBezTo>
                    <a:cubicBezTo>
                      <a:pt x="99" y="455"/>
                      <a:pt x="99" y="455"/>
                      <a:pt x="99" y="455"/>
                    </a:cubicBezTo>
                    <a:cubicBezTo>
                      <a:pt x="102" y="455"/>
                      <a:pt x="102" y="455"/>
                      <a:pt x="102" y="455"/>
                    </a:cubicBezTo>
                    <a:cubicBezTo>
                      <a:pt x="104" y="456"/>
                      <a:pt x="104" y="456"/>
                      <a:pt x="104" y="456"/>
                    </a:cubicBezTo>
                    <a:cubicBezTo>
                      <a:pt x="104" y="457"/>
                      <a:pt x="104" y="457"/>
                      <a:pt x="104" y="457"/>
                    </a:cubicBezTo>
                    <a:cubicBezTo>
                      <a:pt x="105" y="458"/>
                      <a:pt x="105" y="458"/>
                      <a:pt x="105" y="458"/>
                    </a:cubicBezTo>
                    <a:cubicBezTo>
                      <a:pt x="104" y="459"/>
                      <a:pt x="104" y="459"/>
                      <a:pt x="104" y="459"/>
                    </a:cubicBezTo>
                    <a:cubicBezTo>
                      <a:pt x="103" y="460"/>
                      <a:pt x="103" y="460"/>
                      <a:pt x="103" y="460"/>
                    </a:cubicBezTo>
                    <a:cubicBezTo>
                      <a:pt x="102" y="459"/>
                      <a:pt x="102" y="459"/>
                      <a:pt x="102" y="459"/>
                    </a:cubicBezTo>
                    <a:cubicBezTo>
                      <a:pt x="101" y="459"/>
                      <a:pt x="101" y="459"/>
                      <a:pt x="101" y="459"/>
                    </a:cubicBezTo>
                    <a:cubicBezTo>
                      <a:pt x="99" y="460"/>
                      <a:pt x="99" y="460"/>
                      <a:pt x="99" y="460"/>
                    </a:cubicBezTo>
                    <a:cubicBezTo>
                      <a:pt x="97" y="460"/>
                      <a:pt x="97" y="460"/>
                      <a:pt x="97" y="460"/>
                    </a:cubicBezTo>
                    <a:cubicBezTo>
                      <a:pt x="96" y="459"/>
                      <a:pt x="96" y="459"/>
                      <a:pt x="96" y="459"/>
                    </a:cubicBezTo>
                    <a:cubicBezTo>
                      <a:pt x="95" y="457"/>
                      <a:pt x="95" y="457"/>
                      <a:pt x="95" y="457"/>
                    </a:cubicBezTo>
                    <a:cubicBezTo>
                      <a:pt x="94" y="457"/>
                      <a:pt x="94" y="457"/>
                      <a:pt x="94" y="457"/>
                    </a:cubicBezTo>
                    <a:cubicBezTo>
                      <a:pt x="92" y="459"/>
                      <a:pt x="92" y="459"/>
                      <a:pt x="92" y="459"/>
                    </a:cubicBezTo>
                    <a:cubicBezTo>
                      <a:pt x="91" y="459"/>
                      <a:pt x="91" y="459"/>
                      <a:pt x="91" y="459"/>
                    </a:cubicBezTo>
                    <a:cubicBezTo>
                      <a:pt x="89" y="459"/>
                      <a:pt x="89" y="459"/>
                      <a:pt x="89" y="459"/>
                    </a:cubicBezTo>
                    <a:cubicBezTo>
                      <a:pt x="90" y="460"/>
                      <a:pt x="90" y="460"/>
                      <a:pt x="90" y="460"/>
                    </a:cubicBezTo>
                    <a:cubicBezTo>
                      <a:pt x="91" y="460"/>
                      <a:pt x="91" y="460"/>
                      <a:pt x="91" y="460"/>
                    </a:cubicBezTo>
                    <a:cubicBezTo>
                      <a:pt x="93" y="461"/>
                      <a:pt x="93" y="461"/>
                      <a:pt x="93" y="461"/>
                    </a:cubicBezTo>
                    <a:cubicBezTo>
                      <a:pt x="94" y="461"/>
                      <a:pt x="94" y="461"/>
                      <a:pt x="94" y="461"/>
                    </a:cubicBezTo>
                    <a:cubicBezTo>
                      <a:pt x="93" y="462"/>
                      <a:pt x="93" y="462"/>
                      <a:pt x="93" y="462"/>
                    </a:cubicBezTo>
                    <a:cubicBezTo>
                      <a:pt x="95" y="463"/>
                      <a:pt x="95" y="463"/>
                      <a:pt x="95" y="463"/>
                    </a:cubicBezTo>
                    <a:cubicBezTo>
                      <a:pt x="97" y="465"/>
                      <a:pt x="97" y="465"/>
                      <a:pt x="97" y="465"/>
                    </a:cubicBezTo>
                    <a:cubicBezTo>
                      <a:pt x="97" y="466"/>
                      <a:pt x="97" y="466"/>
                      <a:pt x="97" y="466"/>
                    </a:cubicBezTo>
                    <a:cubicBezTo>
                      <a:pt x="96" y="466"/>
                      <a:pt x="96" y="466"/>
                      <a:pt x="96" y="466"/>
                    </a:cubicBezTo>
                    <a:cubicBezTo>
                      <a:pt x="94" y="464"/>
                      <a:pt x="94" y="464"/>
                      <a:pt x="94" y="464"/>
                    </a:cubicBezTo>
                    <a:cubicBezTo>
                      <a:pt x="93" y="464"/>
                      <a:pt x="93" y="464"/>
                      <a:pt x="93" y="464"/>
                    </a:cubicBezTo>
                    <a:cubicBezTo>
                      <a:pt x="91" y="465"/>
                      <a:pt x="91" y="465"/>
                      <a:pt x="91" y="465"/>
                    </a:cubicBezTo>
                    <a:cubicBezTo>
                      <a:pt x="90" y="464"/>
                      <a:pt x="90" y="464"/>
                      <a:pt x="90" y="464"/>
                    </a:cubicBezTo>
                    <a:cubicBezTo>
                      <a:pt x="89" y="462"/>
                      <a:pt x="89" y="462"/>
                      <a:pt x="89" y="462"/>
                    </a:cubicBezTo>
                    <a:cubicBezTo>
                      <a:pt x="87" y="462"/>
                      <a:pt x="87" y="462"/>
                      <a:pt x="87" y="462"/>
                    </a:cubicBezTo>
                    <a:cubicBezTo>
                      <a:pt x="87" y="463"/>
                      <a:pt x="87" y="463"/>
                      <a:pt x="87" y="463"/>
                    </a:cubicBezTo>
                    <a:cubicBezTo>
                      <a:pt x="88" y="464"/>
                      <a:pt x="88" y="464"/>
                      <a:pt x="88" y="464"/>
                    </a:cubicBezTo>
                    <a:cubicBezTo>
                      <a:pt x="88" y="465"/>
                      <a:pt x="88" y="465"/>
                      <a:pt x="88" y="465"/>
                    </a:cubicBezTo>
                    <a:cubicBezTo>
                      <a:pt x="87" y="465"/>
                      <a:pt x="87" y="465"/>
                      <a:pt x="87" y="465"/>
                    </a:cubicBezTo>
                    <a:cubicBezTo>
                      <a:pt x="85" y="464"/>
                      <a:pt x="85" y="464"/>
                      <a:pt x="85" y="464"/>
                    </a:cubicBezTo>
                    <a:cubicBezTo>
                      <a:pt x="84" y="465"/>
                      <a:pt x="84" y="465"/>
                      <a:pt x="84" y="465"/>
                    </a:cubicBezTo>
                    <a:cubicBezTo>
                      <a:pt x="83" y="464"/>
                      <a:pt x="83" y="464"/>
                      <a:pt x="83" y="464"/>
                    </a:cubicBezTo>
                    <a:cubicBezTo>
                      <a:pt x="82" y="463"/>
                      <a:pt x="82" y="463"/>
                      <a:pt x="82" y="463"/>
                    </a:cubicBezTo>
                    <a:cubicBezTo>
                      <a:pt x="83" y="462"/>
                      <a:pt x="83" y="462"/>
                      <a:pt x="83" y="462"/>
                    </a:cubicBezTo>
                    <a:cubicBezTo>
                      <a:pt x="81" y="463"/>
                      <a:pt x="81" y="463"/>
                      <a:pt x="81" y="463"/>
                    </a:cubicBezTo>
                    <a:cubicBezTo>
                      <a:pt x="80" y="462"/>
                      <a:pt x="80" y="462"/>
                      <a:pt x="80" y="462"/>
                    </a:cubicBezTo>
                    <a:cubicBezTo>
                      <a:pt x="80" y="461"/>
                      <a:pt x="80" y="461"/>
                      <a:pt x="80" y="461"/>
                    </a:cubicBezTo>
                    <a:cubicBezTo>
                      <a:pt x="81" y="460"/>
                      <a:pt x="81" y="460"/>
                      <a:pt x="81" y="460"/>
                    </a:cubicBezTo>
                    <a:cubicBezTo>
                      <a:pt x="84" y="459"/>
                      <a:pt x="84" y="459"/>
                      <a:pt x="84" y="459"/>
                    </a:cubicBezTo>
                    <a:cubicBezTo>
                      <a:pt x="83" y="458"/>
                      <a:pt x="83" y="458"/>
                      <a:pt x="83" y="458"/>
                    </a:cubicBezTo>
                    <a:cubicBezTo>
                      <a:pt x="82" y="459"/>
                      <a:pt x="82" y="459"/>
                      <a:pt x="82" y="459"/>
                    </a:cubicBezTo>
                    <a:lnTo>
                      <a:pt x="80" y="45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xmlns="" id="{1E183B96-C87A-4782-89D7-73A2D9E91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" y="1779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4 h 4"/>
                  <a:gd name="T4" fmla="*/ 3 w 3"/>
                  <a:gd name="T5" fmla="*/ 2 h 4"/>
                  <a:gd name="T6" fmla="*/ 1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4"/>
                    </a:lnTo>
                    <a:lnTo>
                      <a:pt x="3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xmlns="" id="{D9493605-BFE3-4AC7-B307-D2B5E2AB35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7" y="1783"/>
                <a:ext cx="12" cy="13"/>
              </a:xfrm>
              <a:custGeom>
                <a:avLst/>
                <a:gdLst>
                  <a:gd name="T0" fmla="*/ 12 w 12"/>
                  <a:gd name="T1" fmla="*/ 9 h 13"/>
                  <a:gd name="T2" fmla="*/ 8 w 12"/>
                  <a:gd name="T3" fmla="*/ 13 h 13"/>
                  <a:gd name="T4" fmla="*/ 12 w 12"/>
                  <a:gd name="T5" fmla="*/ 13 h 13"/>
                  <a:gd name="T6" fmla="*/ 12 w 12"/>
                  <a:gd name="T7" fmla="*/ 9 h 13"/>
                  <a:gd name="T8" fmla="*/ 12 w 12"/>
                  <a:gd name="T9" fmla="*/ 9 h 13"/>
                  <a:gd name="T10" fmla="*/ 10 w 12"/>
                  <a:gd name="T11" fmla="*/ 0 h 13"/>
                  <a:gd name="T12" fmla="*/ 7 w 12"/>
                  <a:gd name="T13" fmla="*/ 3 h 13"/>
                  <a:gd name="T14" fmla="*/ 8 w 12"/>
                  <a:gd name="T15" fmla="*/ 6 h 13"/>
                  <a:gd name="T16" fmla="*/ 12 w 12"/>
                  <a:gd name="T17" fmla="*/ 6 h 13"/>
                  <a:gd name="T18" fmla="*/ 10 w 12"/>
                  <a:gd name="T19" fmla="*/ 0 h 13"/>
                  <a:gd name="T20" fmla="*/ 10 w 12"/>
                  <a:gd name="T21" fmla="*/ 0 h 13"/>
                  <a:gd name="T22" fmla="*/ 3 w 12"/>
                  <a:gd name="T23" fmla="*/ 3 h 13"/>
                  <a:gd name="T24" fmla="*/ 7 w 12"/>
                  <a:gd name="T25" fmla="*/ 6 h 13"/>
                  <a:gd name="T26" fmla="*/ 5 w 12"/>
                  <a:gd name="T27" fmla="*/ 13 h 13"/>
                  <a:gd name="T28" fmla="*/ 0 w 12"/>
                  <a:gd name="T29" fmla="*/ 6 h 13"/>
                  <a:gd name="T30" fmla="*/ 2 w 12"/>
                  <a:gd name="T31" fmla="*/ 3 h 13"/>
                  <a:gd name="T32" fmla="*/ 3 w 12"/>
                  <a:gd name="T3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12" y="9"/>
                    </a:moveTo>
                    <a:lnTo>
                      <a:pt x="8" y="13"/>
                    </a:lnTo>
                    <a:lnTo>
                      <a:pt x="12" y="13"/>
                    </a:lnTo>
                    <a:lnTo>
                      <a:pt x="12" y="9"/>
                    </a:lnTo>
                    <a:lnTo>
                      <a:pt x="12" y="9"/>
                    </a:lnTo>
                    <a:close/>
                    <a:moveTo>
                      <a:pt x="10" y="0"/>
                    </a:moveTo>
                    <a:lnTo>
                      <a:pt x="7" y="3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3" y="3"/>
                    </a:moveTo>
                    <a:lnTo>
                      <a:pt x="7" y="6"/>
                    </a:lnTo>
                    <a:lnTo>
                      <a:pt x="5" y="13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xmlns="" id="{50969A39-775D-4CCA-8365-E56F83CEE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4" y="1799"/>
                <a:ext cx="3" cy="8"/>
              </a:xfrm>
              <a:custGeom>
                <a:avLst/>
                <a:gdLst>
                  <a:gd name="T0" fmla="*/ 1 w 2"/>
                  <a:gd name="T1" fmla="*/ 0 h 5"/>
                  <a:gd name="T2" fmla="*/ 2 w 2"/>
                  <a:gd name="T3" fmla="*/ 2 h 5"/>
                  <a:gd name="T4" fmla="*/ 2 w 2"/>
                  <a:gd name="T5" fmla="*/ 5 h 5"/>
                  <a:gd name="T6" fmla="*/ 0 w 2"/>
                  <a:gd name="T7" fmla="*/ 5 h 5"/>
                  <a:gd name="T8" fmla="*/ 0 w 2"/>
                  <a:gd name="T9" fmla="*/ 2 h 5"/>
                  <a:gd name="T10" fmla="*/ 1 w 2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1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xmlns="" id="{577C0E7A-15FD-48F4-B185-321EC207E2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4" y="1812"/>
                <a:ext cx="8" cy="23"/>
              </a:xfrm>
              <a:custGeom>
                <a:avLst/>
                <a:gdLst>
                  <a:gd name="T0" fmla="*/ 6 w 8"/>
                  <a:gd name="T1" fmla="*/ 13 h 23"/>
                  <a:gd name="T2" fmla="*/ 3 w 8"/>
                  <a:gd name="T3" fmla="*/ 18 h 23"/>
                  <a:gd name="T4" fmla="*/ 3 w 8"/>
                  <a:gd name="T5" fmla="*/ 21 h 23"/>
                  <a:gd name="T6" fmla="*/ 6 w 8"/>
                  <a:gd name="T7" fmla="*/ 23 h 23"/>
                  <a:gd name="T8" fmla="*/ 8 w 8"/>
                  <a:gd name="T9" fmla="*/ 18 h 23"/>
                  <a:gd name="T10" fmla="*/ 6 w 8"/>
                  <a:gd name="T11" fmla="*/ 13 h 23"/>
                  <a:gd name="T12" fmla="*/ 6 w 8"/>
                  <a:gd name="T13" fmla="*/ 13 h 23"/>
                  <a:gd name="T14" fmla="*/ 0 w 8"/>
                  <a:gd name="T15" fmla="*/ 0 h 23"/>
                  <a:gd name="T16" fmla="*/ 6 w 8"/>
                  <a:gd name="T17" fmla="*/ 2 h 23"/>
                  <a:gd name="T18" fmla="*/ 8 w 8"/>
                  <a:gd name="T19" fmla="*/ 7 h 23"/>
                  <a:gd name="T20" fmla="*/ 8 w 8"/>
                  <a:gd name="T21" fmla="*/ 10 h 23"/>
                  <a:gd name="T22" fmla="*/ 6 w 8"/>
                  <a:gd name="T23" fmla="*/ 8 h 23"/>
                  <a:gd name="T24" fmla="*/ 3 w 8"/>
                  <a:gd name="T25" fmla="*/ 8 h 23"/>
                  <a:gd name="T26" fmla="*/ 5 w 8"/>
                  <a:gd name="T27" fmla="*/ 7 h 23"/>
                  <a:gd name="T28" fmla="*/ 0 w 8"/>
                  <a:gd name="T29" fmla="*/ 2 h 23"/>
                  <a:gd name="T30" fmla="*/ 0 w 8"/>
                  <a:gd name="T3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23">
                    <a:moveTo>
                      <a:pt x="6" y="13"/>
                    </a:moveTo>
                    <a:lnTo>
                      <a:pt x="3" y="18"/>
                    </a:lnTo>
                    <a:lnTo>
                      <a:pt x="3" y="21"/>
                    </a:lnTo>
                    <a:lnTo>
                      <a:pt x="6" y="23"/>
                    </a:lnTo>
                    <a:lnTo>
                      <a:pt x="8" y="18"/>
                    </a:lnTo>
                    <a:lnTo>
                      <a:pt x="6" y="13"/>
                    </a:lnTo>
                    <a:lnTo>
                      <a:pt x="6" y="13"/>
                    </a:lnTo>
                    <a:close/>
                    <a:moveTo>
                      <a:pt x="0" y="0"/>
                    </a:moveTo>
                    <a:lnTo>
                      <a:pt x="6" y="2"/>
                    </a:lnTo>
                    <a:lnTo>
                      <a:pt x="8" y="7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xmlns="" id="{74BE8866-F57C-493C-B775-A1BFFF7AA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1" y="1838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3 h 5"/>
                  <a:gd name="T4" fmla="*/ 2 w 5"/>
                  <a:gd name="T5" fmla="*/ 5 h 5"/>
                  <a:gd name="T6" fmla="*/ 5 w 5"/>
                  <a:gd name="T7" fmla="*/ 5 h 5"/>
                  <a:gd name="T8" fmla="*/ 5 w 5"/>
                  <a:gd name="T9" fmla="*/ 3 h 5"/>
                  <a:gd name="T10" fmla="*/ 2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xmlns="" id="{12177BBB-01FA-49C4-B5D7-C8245BF51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7" y="1837"/>
                <a:ext cx="10" cy="24"/>
              </a:xfrm>
              <a:custGeom>
                <a:avLst/>
                <a:gdLst>
                  <a:gd name="T0" fmla="*/ 3 w 6"/>
                  <a:gd name="T1" fmla="*/ 14 h 15"/>
                  <a:gd name="T2" fmla="*/ 2 w 6"/>
                  <a:gd name="T3" fmla="*/ 12 h 15"/>
                  <a:gd name="T4" fmla="*/ 0 w 6"/>
                  <a:gd name="T5" fmla="*/ 13 h 15"/>
                  <a:gd name="T6" fmla="*/ 0 w 6"/>
                  <a:gd name="T7" fmla="*/ 15 h 15"/>
                  <a:gd name="T8" fmla="*/ 2 w 6"/>
                  <a:gd name="T9" fmla="*/ 15 h 15"/>
                  <a:gd name="T10" fmla="*/ 3 w 6"/>
                  <a:gd name="T11" fmla="*/ 14 h 15"/>
                  <a:gd name="T12" fmla="*/ 4 w 6"/>
                  <a:gd name="T13" fmla="*/ 9 h 15"/>
                  <a:gd name="T14" fmla="*/ 5 w 6"/>
                  <a:gd name="T15" fmla="*/ 11 h 15"/>
                  <a:gd name="T16" fmla="*/ 3 w 6"/>
                  <a:gd name="T17" fmla="*/ 11 h 15"/>
                  <a:gd name="T18" fmla="*/ 4 w 6"/>
                  <a:gd name="T19" fmla="*/ 9 h 15"/>
                  <a:gd name="T20" fmla="*/ 6 w 6"/>
                  <a:gd name="T21" fmla="*/ 0 h 15"/>
                  <a:gd name="T22" fmla="*/ 6 w 6"/>
                  <a:gd name="T23" fmla="*/ 2 h 15"/>
                  <a:gd name="T24" fmla="*/ 5 w 6"/>
                  <a:gd name="T25" fmla="*/ 5 h 15"/>
                  <a:gd name="T26" fmla="*/ 6 w 6"/>
                  <a:gd name="T2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5">
                    <a:moveTo>
                      <a:pt x="3" y="14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4"/>
                      <a:pt x="3" y="14"/>
                      <a:pt x="3" y="14"/>
                    </a:cubicBezTo>
                    <a:close/>
                    <a:moveTo>
                      <a:pt x="4" y="9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4" y="9"/>
                      <a:pt x="4" y="9"/>
                    </a:cubicBezTo>
                    <a:close/>
                    <a:moveTo>
                      <a:pt x="6" y="0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xmlns="" id="{44DC2F92-E3ED-4D7D-9295-9B372C4C80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4" y="1874"/>
                <a:ext cx="21" cy="20"/>
              </a:xfrm>
              <a:custGeom>
                <a:avLst/>
                <a:gdLst>
                  <a:gd name="T0" fmla="*/ 18 w 21"/>
                  <a:gd name="T1" fmla="*/ 2 h 20"/>
                  <a:gd name="T2" fmla="*/ 21 w 21"/>
                  <a:gd name="T3" fmla="*/ 0 h 20"/>
                  <a:gd name="T4" fmla="*/ 21 w 21"/>
                  <a:gd name="T5" fmla="*/ 3 h 20"/>
                  <a:gd name="T6" fmla="*/ 18 w 21"/>
                  <a:gd name="T7" fmla="*/ 2 h 20"/>
                  <a:gd name="T8" fmla="*/ 18 w 21"/>
                  <a:gd name="T9" fmla="*/ 2 h 20"/>
                  <a:gd name="T10" fmla="*/ 16 w 21"/>
                  <a:gd name="T11" fmla="*/ 5 h 20"/>
                  <a:gd name="T12" fmla="*/ 10 w 21"/>
                  <a:gd name="T13" fmla="*/ 7 h 20"/>
                  <a:gd name="T14" fmla="*/ 8 w 21"/>
                  <a:gd name="T15" fmla="*/ 7 h 20"/>
                  <a:gd name="T16" fmla="*/ 3 w 21"/>
                  <a:gd name="T17" fmla="*/ 7 h 20"/>
                  <a:gd name="T18" fmla="*/ 3 w 21"/>
                  <a:gd name="T19" fmla="*/ 10 h 20"/>
                  <a:gd name="T20" fmla="*/ 6 w 21"/>
                  <a:gd name="T21" fmla="*/ 12 h 20"/>
                  <a:gd name="T22" fmla="*/ 6 w 21"/>
                  <a:gd name="T23" fmla="*/ 15 h 20"/>
                  <a:gd name="T24" fmla="*/ 3 w 21"/>
                  <a:gd name="T25" fmla="*/ 18 h 20"/>
                  <a:gd name="T26" fmla="*/ 0 w 21"/>
                  <a:gd name="T27" fmla="*/ 18 h 20"/>
                  <a:gd name="T28" fmla="*/ 3 w 21"/>
                  <a:gd name="T29" fmla="*/ 20 h 20"/>
                  <a:gd name="T30" fmla="*/ 11 w 21"/>
                  <a:gd name="T31" fmla="*/ 20 h 20"/>
                  <a:gd name="T32" fmla="*/ 15 w 21"/>
                  <a:gd name="T33" fmla="*/ 16 h 20"/>
                  <a:gd name="T34" fmla="*/ 15 w 21"/>
                  <a:gd name="T35" fmla="*/ 13 h 20"/>
                  <a:gd name="T36" fmla="*/ 13 w 21"/>
                  <a:gd name="T37" fmla="*/ 10 h 20"/>
                  <a:gd name="T38" fmla="*/ 16 w 21"/>
                  <a:gd name="T39" fmla="*/ 7 h 20"/>
                  <a:gd name="T40" fmla="*/ 16 w 21"/>
                  <a:gd name="T41" fmla="*/ 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1" h="20">
                    <a:moveTo>
                      <a:pt x="18" y="2"/>
                    </a:moveTo>
                    <a:lnTo>
                      <a:pt x="21" y="0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  <a:moveTo>
                      <a:pt x="16" y="5"/>
                    </a:moveTo>
                    <a:lnTo>
                      <a:pt x="10" y="7"/>
                    </a:lnTo>
                    <a:lnTo>
                      <a:pt x="8" y="7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3" y="20"/>
                    </a:lnTo>
                    <a:lnTo>
                      <a:pt x="11" y="20"/>
                    </a:lnTo>
                    <a:lnTo>
                      <a:pt x="15" y="16"/>
                    </a:lnTo>
                    <a:lnTo>
                      <a:pt x="15" y="13"/>
                    </a:lnTo>
                    <a:lnTo>
                      <a:pt x="13" y="10"/>
                    </a:lnTo>
                    <a:lnTo>
                      <a:pt x="16" y="7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xmlns="" id="{09FF4F58-9A66-43E1-9030-E63D8535DD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" y="971"/>
                <a:ext cx="970" cy="777"/>
              </a:xfrm>
              <a:custGeom>
                <a:avLst/>
                <a:gdLst>
                  <a:gd name="T0" fmla="*/ 424 w 594"/>
                  <a:gd name="T1" fmla="*/ 464 h 476"/>
                  <a:gd name="T2" fmla="*/ 416 w 594"/>
                  <a:gd name="T3" fmla="*/ 440 h 476"/>
                  <a:gd name="T4" fmla="*/ 590 w 594"/>
                  <a:gd name="T5" fmla="*/ 70 h 476"/>
                  <a:gd name="T6" fmla="*/ 563 w 594"/>
                  <a:gd name="T7" fmla="*/ 83 h 476"/>
                  <a:gd name="T8" fmla="*/ 544 w 594"/>
                  <a:gd name="T9" fmla="*/ 65 h 476"/>
                  <a:gd name="T10" fmla="*/ 523 w 594"/>
                  <a:gd name="T11" fmla="*/ 57 h 476"/>
                  <a:gd name="T12" fmla="*/ 499 w 594"/>
                  <a:gd name="T13" fmla="*/ 27 h 476"/>
                  <a:gd name="T14" fmla="*/ 482 w 594"/>
                  <a:gd name="T15" fmla="*/ 6 h 476"/>
                  <a:gd name="T16" fmla="*/ 454 w 594"/>
                  <a:gd name="T17" fmla="*/ 3 h 476"/>
                  <a:gd name="T18" fmla="*/ 440 w 594"/>
                  <a:gd name="T19" fmla="*/ 19 h 476"/>
                  <a:gd name="T20" fmla="*/ 441 w 594"/>
                  <a:gd name="T21" fmla="*/ 56 h 476"/>
                  <a:gd name="T22" fmla="*/ 438 w 594"/>
                  <a:gd name="T23" fmla="*/ 96 h 476"/>
                  <a:gd name="T24" fmla="*/ 439 w 594"/>
                  <a:gd name="T25" fmla="*/ 116 h 476"/>
                  <a:gd name="T26" fmla="*/ 395 w 594"/>
                  <a:gd name="T27" fmla="*/ 140 h 476"/>
                  <a:gd name="T28" fmla="*/ 346 w 594"/>
                  <a:gd name="T29" fmla="*/ 192 h 476"/>
                  <a:gd name="T30" fmla="*/ 257 w 594"/>
                  <a:gd name="T31" fmla="*/ 184 h 476"/>
                  <a:gd name="T32" fmla="*/ 212 w 594"/>
                  <a:gd name="T33" fmla="*/ 155 h 476"/>
                  <a:gd name="T34" fmla="*/ 184 w 594"/>
                  <a:gd name="T35" fmla="*/ 117 h 476"/>
                  <a:gd name="T36" fmla="*/ 160 w 594"/>
                  <a:gd name="T37" fmla="*/ 105 h 476"/>
                  <a:gd name="T38" fmla="*/ 138 w 594"/>
                  <a:gd name="T39" fmla="*/ 133 h 476"/>
                  <a:gd name="T40" fmla="*/ 103 w 594"/>
                  <a:gd name="T41" fmla="*/ 161 h 476"/>
                  <a:gd name="T42" fmla="*/ 99 w 594"/>
                  <a:gd name="T43" fmla="*/ 192 h 476"/>
                  <a:gd name="T44" fmla="*/ 26 w 594"/>
                  <a:gd name="T45" fmla="*/ 198 h 476"/>
                  <a:gd name="T46" fmla="*/ 15 w 594"/>
                  <a:gd name="T47" fmla="*/ 223 h 476"/>
                  <a:gd name="T48" fmla="*/ 7 w 594"/>
                  <a:gd name="T49" fmla="*/ 269 h 476"/>
                  <a:gd name="T50" fmla="*/ 38 w 594"/>
                  <a:gd name="T51" fmla="*/ 253 h 476"/>
                  <a:gd name="T52" fmla="*/ 69 w 594"/>
                  <a:gd name="T53" fmla="*/ 265 h 476"/>
                  <a:gd name="T54" fmla="*/ 79 w 594"/>
                  <a:gd name="T55" fmla="*/ 319 h 476"/>
                  <a:gd name="T56" fmla="*/ 124 w 594"/>
                  <a:gd name="T57" fmla="*/ 335 h 476"/>
                  <a:gd name="T58" fmla="*/ 156 w 594"/>
                  <a:gd name="T59" fmla="*/ 375 h 476"/>
                  <a:gd name="T60" fmla="*/ 222 w 594"/>
                  <a:gd name="T61" fmla="*/ 375 h 476"/>
                  <a:gd name="T62" fmla="*/ 260 w 594"/>
                  <a:gd name="T63" fmla="*/ 368 h 476"/>
                  <a:gd name="T64" fmla="*/ 297 w 594"/>
                  <a:gd name="T65" fmla="*/ 361 h 476"/>
                  <a:gd name="T66" fmla="*/ 315 w 594"/>
                  <a:gd name="T67" fmla="*/ 397 h 476"/>
                  <a:gd name="T68" fmla="*/ 329 w 594"/>
                  <a:gd name="T69" fmla="*/ 424 h 476"/>
                  <a:gd name="T70" fmla="*/ 353 w 594"/>
                  <a:gd name="T71" fmla="*/ 444 h 476"/>
                  <a:gd name="T72" fmla="*/ 376 w 594"/>
                  <a:gd name="T73" fmla="*/ 427 h 476"/>
                  <a:gd name="T74" fmla="*/ 414 w 594"/>
                  <a:gd name="T75" fmla="*/ 439 h 476"/>
                  <a:gd name="T76" fmla="*/ 435 w 594"/>
                  <a:gd name="T77" fmla="*/ 452 h 476"/>
                  <a:gd name="T78" fmla="*/ 441 w 594"/>
                  <a:gd name="T79" fmla="*/ 443 h 476"/>
                  <a:gd name="T80" fmla="*/ 467 w 594"/>
                  <a:gd name="T81" fmla="*/ 425 h 476"/>
                  <a:gd name="T82" fmla="*/ 492 w 594"/>
                  <a:gd name="T83" fmla="*/ 423 h 476"/>
                  <a:gd name="T84" fmla="*/ 508 w 594"/>
                  <a:gd name="T85" fmla="*/ 407 h 476"/>
                  <a:gd name="T86" fmla="*/ 516 w 594"/>
                  <a:gd name="T87" fmla="*/ 393 h 476"/>
                  <a:gd name="T88" fmla="*/ 517 w 594"/>
                  <a:gd name="T89" fmla="*/ 377 h 476"/>
                  <a:gd name="T90" fmla="*/ 532 w 594"/>
                  <a:gd name="T91" fmla="*/ 359 h 476"/>
                  <a:gd name="T92" fmla="*/ 537 w 594"/>
                  <a:gd name="T93" fmla="*/ 345 h 476"/>
                  <a:gd name="T94" fmla="*/ 520 w 594"/>
                  <a:gd name="T95" fmla="*/ 332 h 476"/>
                  <a:gd name="T96" fmla="*/ 503 w 594"/>
                  <a:gd name="T97" fmla="*/ 310 h 476"/>
                  <a:gd name="T98" fmla="*/ 515 w 594"/>
                  <a:gd name="T99" fmla="*/ 294 h 476"/>
                  <a:gd name="T100" fmla="*/ 507 w 594"/>
                  <a:gd name="T101" fmla="*/ 251 h 476"/>
                  <a:gd name="T102" fmla="*/ 516 w 594"/>
                  <a:gd name="T103" fmla="*/ 240 h 476"/>
                  <a:gd name="T104" fmla="*/ 480 w 594"/>
                  <a:gd name="T105" fmla="*/ 236 h 476"/>
                  <a:gd name="T106" fmla="*/ 489 w 594"/>
                  <a:gd name="T107" fmla="*/ 206 h 476"/>
                  <a:gd name="T108" fmla="*/ 506 w 594"/>
                  <a:gd name="T109" fmla="*/ 214 h 476"/>
                  <a:gd name="T110" fmla="*/ 521 w 594"/>
                  <a:gd name="T111" fmla="*/ 209 h 476"/>
                  <a:gd name="T112" fmla="*/ 562 w 594"/>
                  <a:gd name="T113" fmla="*/ 180 h 476"/>
                  <a:gd name="T114" fmla="*/ 578 w 594"/>
                  <a:gd name="T115" fmla="*/ 156 h 476"/>
                  <a:gd name="T116" fmla="*/ 582 w 594"/>
                  <a:gd name="T117" fmla="*/ 120 h 476"/>
                  <a:gd name="T118" fmla="*/ 592 w 594"/>
                  <a:gd name="T119" fmla="*/ 97 h 476"/>
                  <a:gd name="T120" fmla="*/ 543 w 594"/>
                  <a:gd name="T121" fmla="*/ 396 h 476"/>
                  <a:gd name="T122" fmla="*/ 537 w 594"/>
                  <a:gd name="T123" fmla="*/ 43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4" h="476">
                    <a:moveTo>
                      <a:pt x="500" y="417"/>
                    </a:moveTo>
                    <a:cubicBezTo>
                      <a:pt x="500" y="418"/>
                      <a:pt x="500" y="418"/>
                      <a:pt x="500" y="418"/>
                    </a:cubicBezTo>
                    <a:cubicBezTo>
                      <a:pt x="502" y="418"/>
                      <a:pt x="502" y="418"/>
                      <a:pt x="502" y="418"/>
                    </a:cubicBezTo>
                    <a:cubicBezTo>
                      <a:pt x="503" y="418"/>
                      <a:pt x="503" y="418"/>
                      <a:pt x="503" y="418"/>
                    </a:cubicBezTo>
                    <a:cubicBezTo>
                      <a:pt x="502" y="416"/>
                      <a:pt x="502" y="416"/>
                      <a:pt x="502" y="416"/>
                    </a:cubicBezTo>
                    <a:lnTo>
                      <a:pt x="500" y="417"/>
                    </a:lnTo>
                    <a:close/>
                    <a:moveTo>
                      <a:pt x="443" y="446"/>
                    </a:moveTo>
                    <a:cubicBezTo>
                      <a:pt x="442" y="445"/>
                      <a:pt x="442" y="445"/>
                      <a:pt x="442" y="445"/>
                    </a:cubicBezTo>
                    <a:cubicBezTo>
                      <a:pt x="439" y="446"/>
                      <a:pt x="439" y="446"/>
                      <a:pt x="439" y="446"/>
                    </a:cubicBezTo>
                    <a:cubicBezTo>
                      <a:pt x="440" y="447"/>
                      <a:pt x="440" y="447"/>
                      <a:pt x="440" y="447"/>
                    </a:cubicBezTo>
                    <a:cubicBezTo>
                      <a:pt x="442" y="447"/>
                      <a:pt x="442" y="447"/>
                      <a:pt x="442" y="447"/>
                    </a:cubicBezTo>
                    <a:cubicBezTo>
                      <a:pt x="443" y="447"/>
                      <a:pt x="443" y="447"/>
                      <a:pt x="443" y="447"/>
                    </a:cubicBezTo>
                    <a:lnTo>
                      <a:pt x="443" y="446"/>
                    </a:lnTo>
                    <a:close/>
                    <a:moveTo>
                      <a:pt x="444" y="456"/>
                    </a:moveTo>
                    <a:cubicBezTo>
                      <a:pt x="442" y="455"/>
                      <a:pt x="442" y="455"/>
                      <a:pt x="442" y="455"/>
                    </a:cubicBezTo>
                    <a:cubicBezTo>
                      <a:pt x="441" y="456"/>
                      <a:pt x="441" y="456"/>
                      <a:pt x="441" y="456"/>
                    </a:cubicBezTo>
                    <a:cubicBezTo>
                      <a:pt x="441" y="456"/>
                      <a:pt x="440" y="456"/>
                      <a:pt x="440" y="456"/>
                    </a:cubicBezTo>
                    <a:cubicBezTo>
                      <a:pt x="438" y="456"/>
                      <a:pt x="438" y="456"/>
                      <a:pt x="438" y="456"/>
                    </a:cubicBezTo>
                    <a:cubicBezTo>
                      <a:pt x="437" y="456"/>
                      <a:pt x="437" y="456"/>
                      <a:pt x="437" y="456"/>
                    </a:cubicBezTo>
                    <a:cubicBezTo>
                      <a:pt x="435" y="457"/>
                      <a:pt x="435" y="457"/>
                      <a:pt x="435" y="457"/>
                    </a:cubicBezTo>
                    <a:cubicBezTo>
                      <a:pt x="434" y="457"/>
                      <a:pt x="434" y="457"/>
                      <a:pt x="434" y="457"/>
                    </a:cubicBezTo>
                    <a:cubicBezTo>
                      <a:pt x="432" y="458"/>
                      <a:pt x="432" y="458"/>
                      <a:pt x="432" y="458"/>
                    </a:cubicBezTo>
                    <a:cubicBezTo>
                      <a:pt x="430" y="458"/>
                      <a:pt x="430" y="458"/>
                      <a:pt x="430" y="458"/>
                    </a:cubicBezTo>
                    <a:cubicBezTo>
                      <a:pt x="430" y="460"/>
                      <a:pt x="430" y="460"/>
                      <a:pt x="430" y="460"/>
                    </a:cubicBezTo>
                    <a:cubicBezTo>
                      <a:pt x="427" y="462"/>
                      <a:pt x="427" y="462"/>
                      <a:pt x="427" y="462"/>
                    </a:cubicBezTo>
                    <a:cubicBezTo>
                      <a:pt x="424" y="464"/>
                      <a:pt x="424" y="464"/>
                      <a:pt x="424" y="464"/>
                    </a:cubicBezTo>
                    <a:cubicBezTo>
                      <a:pt x="425" y="466"/>
                      <a:pt x="425" y="466"/>
                      <a:pt x="425" y="466"/>
                    </a:cubicBezTo>
                    <a:cubicBezTo>
                      <a:pt x="425" y="470"/>
                      <a:pt x="425" y="470"/>
                      <a:pt x="425" y="470"/>
                    </a:cubicBezTo>
                    <a:cubicBezTo>
                      <a:pt x="426" y="472"/>
                      <a:pt x="426" y="472"/>
                      <a:pt x="426" y="472"/>
                    </a:cubicBezTo>
                    <a:cubicBezTo>
                      <a:pt x="426" y="473"/>
                      <a:pt x="426" y="473"/>
                      <a:pt x="426" y="473"/>
                    </a:cubicBezTo>
                    <a:cubicBezTo>
                      <a:pt x="428" y="474"/>
                      <a:pt x="428" y="474"/>
                      <a:pt x="428" y="474"/>
                    </a:cubicBezTo>
                    <a:cubicBezTo>
                      <a:pt x="430" y="474"/>
                      <a:pt x="430" y="474"/>
                      <a:pt x="430" y="474"/>
                    </a:cubicBezTo>
                    <a:cubicBezTo>
                      <a:pt x="431" y="475"/>
                      <a:pt x="431" y="475"/>
                      <a:pt x="431" y="475"/>
                    </a:cubicBezTo>
                    <a:cubicBezTo>
                      <a:pt x="433" y="475"/>
                      <a:pt x="433" y="475"/>
                      <a:pt x="433" y="475"/>
                    </a:cubicBezTo>
                    <a:cubicBezTo>
                      <a:pt x="434" y="476"/>
                      <a:pt x="434" y="476"/>
                      <a:pt x="434" y="476"/>
                    </a:cubicBezTo>
                    <a:cubicBezTo>
                      <a:pt x="435" y="476"/>
                      <a:pt x="435" y="476"/>
                      <a:pt x="435" y="476"/>
                    </a:cubicBezTo>
                    <a:cubicBezTo>
                      <a:pt x="436" y="474"/>
                      <a:pt x="436" y="474"/>
                      <a:pt x="436" y="474"/>
                    </a:cubicBezTo>
                    <a:cubicBezTo>
                      <a:pt x="437" y="474"/>
                      <a:pt x="437" y="474"/>
                      <a:pt x="437" y="474"/>
                    </a:cubicBezTo>
                    <a:cubicBezTo>
                      <a:pt x="439" y="474"/>
                      <a:pt x="439" y="474"/>
                      <a:pt x="439" y="474"/>
                    </a:cubicBezTo>
                    <a:cubicBezTo>
                      <a:pt x="440" y="473"/>
                      <a:pt x="440" y="473"/>
                      <a:pt x="440" y="473"/>
                    </a:cubicBezTo>
                    <a:cubicBezTo>
                      <a:pt x="440" y="471"/>
                      <a:pt x="440" y="471"/>
                      <a:pt x="440" y="471"/>
                    </a:cubicBezTo>
                    <a:cubicBezTo>
                      <a:pt x="442" y="471"/>
                      <a:pt x="442" y="471"/>
                      <a:pt x="442" y="471"/>
                    </a:cubicBezTo>
                    <a:cubicBezTo>
                      <a:pt x="444" y="470"/>
                      <a:pt x="444" y="470"/>
                      <a:pt x="444" y="470"/>
                    </a:cubicBezTo>
                    <a:cubicBezTo>
                      <a:pt x="443" y="468"/>
                      <a:pt x="443" y="468"/>
                      <a:pt x="443" y="468"/>
                    </a:cubicBezTo>
                    <a:cubicBezTo>
                      <a:pt x="444" y="465"/>
                      <a:pt x="444" y="465"/>
                      <a:pt x="444" y="465"/>
                    </a:cubicBezTo>
                    <a:cubicBezTo>
                      <a:pt x="445" y="464"/>
                      <a:pt x="445" y="464"/>
                      <a:pt x="445" y="464"/>
                    </a:cubicBezTo>
                    <a:cubicBezTo>
                      <a:pt x="446" y="463"/>
                      <a:pt x="446" y="463"/>
                      <a:pt x="446" y="463"/>
                    </a:cubicBezTo>
                    <a:cubicBezTo>
                      <a:pt x="447" y="460"/>
                      <a:pt x="447" y="460"/>
                      <a:pt x="447" y="460"/>
                    </a:cubicBezTo>
                    <a:cubicBezTo>
                      <a:pt x="446" y="458"/>
                      <a:pt x="446" y="458"/>
                      <a:pt x="446" y="458"/>
                    </a:cubicBezTo>
                    <a:lnTo>
                      <a:pt x="444" y="456"/>
                    </a:lnTo>
                    <a:close/>
                    <a:moveTo>
                      <a:pt x="416" y="440"/>
                    </a:move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6" y="440"/>
                      <a:pt x="416" y="440"/>
                      <a:pt x="416" y="440"/>
                    </a:cubicBezTo>
                    <a:close/>
                    <a:moveTo>
                      <a:pt x="528" y="316"/>
                    </a:moveTo>
                    <a:cubicBezTo>
                      <a:pt x="525" y="315"/>
                      <a:pt x="525" y="315"/>
                      <a:pt x="525" y="315"/>
                    </a:cubicBezTo>
                    <a:cubicBezTo>
                      <a:pt x="525" y="316"/>
                      <a:pt x="525" y="316"/>
                      <a:pt x="525" y="316"/>
                    </a:cubicBezTo>
                    <a:cubicBezTo>
                      <a:pt x="526" y="317"/>
                      <a:pt x="526" y="317"/>
                      <a:pt x="526" y="317"/>
                    </a:cubicBezTo>
                    <a:cubicBezTo>
                      <a:pt x="528" y="317"/>
                      <a:pt x="528" y="317"/>
                      <a:pt x="528" y="317"/>
                    </a:cubicBezTo>
                    <a:cubicBezTo>
                      <a:pt x="530" y="318"/>
                      <a:pt x="530" y="318"/>
                      <a:pt x="530" y="318"/>
                    </a:cubicBezTo>
                    <a:cubicBezTo>
                      <a:pt x="530" y="316"/>
                      <a:pt x="530" y="316"/>
                      <a:pt x="530" y="316"/>
                    </a:cubicBezTo>
                    <a:cubicBezTo>
                      <a:pt x="528" y="316"/>
                      <a:pt x="528" y="316"/>
                      <a:pt x="528" y="316"/>
                    </a:cubicBezTo>
                    <a:close/>
                    <a:moveTo>
                      <a:pt x="540" y="336"/>
                    </a:moveTo>
                    <a:cubicBezTo>
                      <a:pt x="538" y="335"/>
                      <a:pt x="538" y="335"/>
                      <a:pt x="538" y="335"/>
                    </a:cubicBezTo>
                    <a:cubicBezTo>
                      <a:pt x="537" y="335"/>
                      <a:pt x="537" y="335"/>
                      <a:pt x="537" y="335"/>
                    </a:cubicBezTo>
                    <a:cubicBezTo>
                      <a:pt x="536" y="335"/>
                      <a:pt x="536" y="335"/>
                      <a:pt x="536" y="335"/>
                    </a:cubicBezTo>
                    <a:cubicBezTo>
                      <a:pt x="536" y="336"/>
                      <a:pt x="536" y="336"/>
                      <a:pt x="536" y="336"/>
                    </a:cubicBezTo>
                    <a:cubicBezTo>
                      <a:pt x="538" y="337"/>
                      <a:pt x="538" y="337"/>
                      <a:pt x="538" y="337"/>
                    </a:cubicBezTo>
                    <a:cubicBezTo>
                      <a:pt x="540" y="337"/>
                      <a:pt x="540" y="337"/>
                      <a:pt x="540" y="337"/>
                    </a:cubicBezTo>
                    <a:lnTo>
                      <a:pt x="540" y="336"/>
                    </a:lnTo>
                    <a:close/>
                    <a:moveTo>
                      <a:pt x="593" y="79"/>
                    </a:moveTo>
                    <a:cubicBezTo>
                      <a:pt x="592" y="78"/>
                      <a:pt x="592" y="78"/>
                      <a:pt x="592" y="78"/>
                    </a:cubicBezTo>
                    <a:cubicBezTo>
                      <a:pt x="592" y="77"/>
                      <a:pt x="592" y="77"/>
                      <a:pt x="592" y="77"/>
                    </a:cubicBezTo>
                    <a:cubicBezTo>
                      <a:pt x="591" y="75"/>
                      <a:pt x="591" y="75"/>
                      <a:pt x="591" y="75"/>
                    </a:cubicBezTo>
                    <a:cubicBezTo>
                      <a:pt x="590" y="74"/>
                      <a:pt x="590" y="74"/>
                      <a:pt x="590" y="74"/>
                    </a:cubicBezTo>
                    <a:cubicBezTo>
                      <a:pt x="591" y="73"/>
                      <a:pt x="591" y="73"/>
                      <a:pt x="591" y="73"/>
                    </a:cubicBezTo>
                    <a:cubicBezTo>
                      <a:pt x="590" y="71"/>
                      <a:pt x="590" y="71"/>
                      <a:pt x="590" y="71"/>
                    </a:cubicBezTo>
                    <a:cubicBezTo>
                      <a:pt x="590" y="70"/>
                      <a:pt x="590" y="70"/>
                      <a:pt x="590" y="70"/>
                    </a:cubicBezTo>
                    <a:cubicBezTo>
                      <a:pt x="588" y="70"/>
                      <a:pt x="588" y="70"/>
                      <a:pt x="588" y="70"/>
                    </a:cubicBezTo>
                    <a:cubicBezTo>
                      <a:pt x="587" y="70"/>
                      <a:pt x="587" y="70"/>
                      <a:pt x="587" y="70"/>
                    </a:cubicBezTo>
                    <a:cubicBezTo>
                      <a:pt x="585" y="69"/>
                      <a:pt x="585" y="69"/>
                      <a:pt x="585" y="69"/>
                    </a:cubicBezTo>
                    <a:cubicBezTo>
                      <a:pt x="584" y="70"/>
                      <a:pt x="584" y="70"/>
                      <a:pt x="584" y="70"/>
                    </a:cubicBezTo>
                    <a:cubicBezTo>
                      <a:pt x="583" y="70"/>
                      <a:pt x="583" y="70"/>
                      <a:pt x="583" y="70"/>
                    </a:cubicBezTo>
                    <a:cubicBezTo>
                      <a:pt x="581" y="71"/>
                      <a:pt x="581" y="71"/>
                      <a:pt x="581" y="71"/>
                    </a:cubicBezTo>
                    <a:cubicBezTo>
                      <a:pt x="581" y="72"/>
                      <a:pt x="581" y="72"/>
                      <a:pt x="581" y="72"/>
                    </a:cubicBezTo>
                    <a:cubicBezTo>
                      <a:pt x="580" y="73"/>
                      <a:pt x="580" y="73"/>
                      <a:pt x="580" y="73"/>
                    </a:cubicBezTo>
                    <a:cubicBezTo>
                      <a:pt x="579" y="73"/>
                      <a:pt x="579" y="73"/>
                      <a:pt x="579" y="73"/>
                    </a:cubicBezTo>
                    <a:cubicBezTo>
                      <a:pt x="579" y="75"/>
                      <a:pt x="579" y="75"/>
                      <a:pt x="579" y="75"/>
                    </a:cubicBezTo>
                    <a:cubicBezTo>
                      <a:pt x="577" y="75"/>
                      <a:pt x="577" y="75"/>
                      <a:pt x="577" y="75"/>
                    </a:cubicBezTo>
                    <a:cubicBezTo>
                      <a:pt x="576" y="75"/>
                      <a:pt x="576" y="75"/>
                      <a:pt x="576" y="75"/>
                    </a:cubicBezTo>
                    <a:cubicBezTo>
                      <a:pt x="575" y="77"/>
                      <a:pt x="575" y="77"/>
                      <a:pt x="575" y="77"/>
                    </a:cubicBezTo>
                    <a:cubicBezTo>
                      <a:pt x="575" y="78"/>
                      <a:pt x="575" y="78"/>
                      <a:pt x="575" y="78"/>
                    </a:cubicBezTo>
                    <a:cubicBezTo>
                      <a:pt x="574" y="79"/>
                      <a:pt x="574" y="79"/>
                      <a:pt x="574" y="79"/>
                    </a:cubicBezTo>
                    <a:cubicBezTo>
                      <a:pt x="573" y="81"/>
                      <a:pt x="573" y="81"/>
                      <a:pt x="573" y="81"/>
                    </a:cubicBezTo>
                    <a:cubicBezTo>
                      <a:pt x="573" y="82"/>
                      <a:pt x="573" y="82"/>
                      <a:pt x="573" y="82"/>
                    </a:cubicBezTo>
                    <a:cubicBezTo>
                      <a:pt x="572" y="82"/>
                      <a:pt x="572" y="82"/>
                      <a:pt x="572" y="82"/>
                    </a:cubicBezTo>
                    <a:cubicBezTo>
                      <a:pt x="571" y="83"/>
                      <a:pt x="571" y="83"/>
                      <a:pt x="571" y="83"/>
                    </a:cubicBezTo>
                    <a:cubicBezTo>
                      <a:pt x="568" y="84"/>
                      <a:pt x="568" y="84"/>
                      <a:pt x="568" y="84"/>
                    </a:cubicBezTo>
                    <a:cubicBezTo>
                      <a:pt x="567" y="84"/>
                      <a:pt x="567" y="84"/>
                      <a:pt x="567" y="84"/>
                    </a:cubicBezTo>
                    <a:cubicBezTo>
                      <a:pt x="566" y="84"/>
                      <a:pt x="566" y="84"/>
                      <a:pt x="566" y="84"/>
                    </a:cubicBezTo>
                    <a:cubicBezTo>
                      <a:pt x="565" y="85"/>
                      <a:pt x="565" y="85"/>
                      <a:pt x="565" y="85"/>
                    </a:cubicBezTo>
                    <a:cubicBezTo>
                      <a:pt x="564" y="85"/>
                      <a:pt x="564" y="85"/>
                      <a:pt x="564" y="85"/>
                    </a:cubicBezTo>
                    <a:cubicBezTo>
                      <a:pt x="564" y="84"/>
                      <a:pt x="564" y="84"/>
                      <a:pt x="564" y="84"/>
                    </a:cubicBezTo>
                    <a:cubicBezTo>
                      <a:pt x="563" y="83"/>
                      <a:pt x="563" y="83"/>
                      <a:pt x="563" y="83"/>
                    </a:cubicBezTo>
                    <a:cubicBezTo>
                      <a:pt x="561" y="83"/>
                      <a:pt x="561" y="83"/>
                      <a:pt x="561" y="83"/>
                    </a:cubicBezTo>
                    <a:cubicBezTo>
                      <a:pt x="560" y="84"/>
                      <a:pt x="560" y="84"/>
                      <a:pt x="560" y="84"/>
                    </a:cubicBezTo>
                    <a:cubicBezTo>
                      <a:pt x="559" y="84"/>
                      <a:pt x="559" y="84"/>
                      <a:pt x="559" y="84"/>
                    </a:cubicBezTo>
                    <a:cubicBezTo>
                      <a:pt x="558" y="83"/>
                      <a:pt x="558" y="83"/>
                      <a:pt x="558" y="83"/>
                    </a:cubicBezTo>
                    <a:cubicBezTo>
                      <a:pt x="557" y="81"/>
                      <a:pt x="557" y="81"/>
                      <a:pt x="557" y="81"/>
                    </a:cubicBezTo>
                    <a:cubicBezTo>
                      <a:pt x="556" y="80"/>
                      <a:pt x="556" y="80"/>
                      <a:pt x="556" y="80"/>
                    </a:cubicBezTo>
                    <a:cubicBezTo>
                      <a:pt x="554" y="78"/>
                      <a:pt x="554" y="78"/>
                      <a:pt x="554" y="78"/>
                    </a:cubicBezTo>
                    <a:cubicBezTo>
                      <a:pt x="554" y="77"/>
                      <a:pt x="554" y="77"/>
                      <a:pt x="554" y="77"/>
                    </a:cubicBezTo>
                    <a:cubicBezTo>
                      <a:pt x="554" y="76"/>
                      <a:pt x="554" y="76"/>
                      <a:pt x="554" y="76"/>
                    </a:cubicBezTo>
                    <a:cubicBezTo>
                      <a:pt x="555" y="74"/>
                      <a:pt x="555" y="74"/>
                      <a:pt x="555" y="74"/>
                    </a:cubicBezTo>
                    <a:cubicBezTo>
                      <a:pt x="554" y="73"/>
                      <a:pt x="554" y="73"/>
                      <a:pt x="554" y="73"/>
                    </a:cubicBezTo>
                    <a:cubicBezTo>
                      <a:pt x="554" y="71"/>
                      <a:pt x="554" y="71"/>
                      <a:pt x="554" y="71"/>
                    </a:cubicBezTo>
                    <a:cubicBezTo>
                      <a:pt x="552" y="71"/>
                      <a:pt x="552" y="71"/>
                      <a:pt x="552" y="71"/>
                    </a:cubicBezTo>
                    <a:cubicBezTo>
                      <a:pt x="552" y="70"/>
                      <a:pt x="552" y="70"/>
                      <a:pt x="552" y="70"/>
                    </a:cubicBezTo>
                    <a:cubicBezTo>
                      <a:pt x="552" y="68"/>
                      <a:pt x="552" y="68"/>
                      <a:pt x="552" y="68"/>
                    </a:cubicBezTo>
                    <a:cubicBezTo>
                      <a:pt x="553" y="67"/>
                      <a:pt x="553" y="67"/>
                      <a:pt x="553" y="67"/>
                    </a:cubicBezTo>
                    <a:cubicBezTo>
                      <a:pt x="553" y="66"/>
                      <a:pt x="553" y="66"/>
                      <a:pt x="553" y="66"/>
                    </a:cubicBezTo>
                    <a:cubicBezTo>
                      <a:pt x="552" y="66"/>
                      <a:pt x="552" y="66"/>
                      <a:pt x="552" y="66"/>
                    </a:cubicBezTo>
                    <a:cubicBezTo>
                      <a:pt x="551" y="66"/>
                      <a:pt x="551" y="66"/>
                      <a:pt x="551" y="66"/>
                    </a:cubicBezTo>
                    <a:cubicBezTo>
                      <a:pt x="550" y="67"/>
                      <a:pt x="550" y="67"/>
                      <a:pt x="550" y="67"/>
                    </a:cubicBezTo>
                    <a:cubicBezTo>
                      <a:pt x="549" y="67"/>
                      <a:pt x="549" y="67"/>
                      <a:pt x="549" y="67"/>
                    </a:cubicBezTo>
                    <a:cubicBezTo>
                      <a:pt x="548" y="67"/>
                      <a:pt x="548" y="67"/>
                      <a:pt x="548" y="67"/>
                    </a:cubicBezTo>
                    <a:cubicBezTo>
                      <a:pt x="547" y="67"/>
                      <a:pt x="547" y="67"/>
                      <a:pt x="547" y="67"/>
                    </a:cubicBezTo>
                    <a:cubicBezTo>
                      <a:pt x="546" y="66"/>
                      <a:pt x="546" y="66"/>
                      <a:pt x="546" y="66"/>
                    </a:cubicBezTo>
                    <a:cubicBezTo>
                      <a:pt x="545" y="66"/>
                      <a:pt x="545" y="66"/>
                      <a:pt x="545" y="66"/>
                    </a:cubicBezTo>
                    <a:cubicBezTo>
                      <a:pt x="544" y="65"/>
                      <a:pt x="544" y="65"/>
                      <a:pt x="544" y="65"/>
                    </a:cubicBezTo>
                    <a:cubicBezTo>
                      <a:pt x="542" y="64"/>
                      <a:pt x="542" y="64"/>
                      <a:pt x="542" y="64"/>
                    </a:cubicBezTo>
                    <a:cubicBezTo>
                      <a:pt x="542" y="63"/>
                      <a:pt x="542" y="63"/>
                      <a:pt x="542" y="63"/>
                    </a:cubicBezTo>
                    <a:cubicBezTo>
                      <a:pt x="541" y="62"/>
                      <a:pt x="541" y="62"/>
                      <a:pt x="541" y="62"/>
                    </a:cubicBezTo>
                    <a:cubicBezTo>
                      <a:pt x="541" y="62"/>
                      <a:pt x="541" y="62"/>
                      <a:pt x="541" y="62"/>
                    </a:cubicBezTo>
                    <a:cubicBezTo>
                      <a:pt x="540" y="62"/>
                      <a:pt x="540" y="62"/>
                      <a:pt x="540" y="62"/>
                    </a:cubicBezTo>
                    <a:cubicBezTo>
                      <a:pt x="539" y="61"/>
                      <a:pt x="539" y="61"/>
                      <a:pt x="539" y="61"/>
                    </a:cubicBezTo>
                    <a:cubicBezTo>
                      <a:pt x="538" y="61"/>
                      <a:pt x="538" y="61"/>
                      <a:pt x="538" y="61"/>
                    </a:cubicBezTo>
                    <a:cubicBezTo>
                      <a:pt x="537" y="59"/>
                      <a:pt x="537" y="59"/>
                      <a:pt x="537" y="59"/>
                    </a:cubicBezTo>
                    <a:cubicBezTo>
                      <a:pt x="537" y="58"/>
                      <a:pt x="537" y="58"/>
                      <a:pt x="537" y="58"/>
                    </a:cubicBezTo>
                    <a:cubicBezTo>
                      <a:pt x="536" y="58"/>
                      <a:pt x="536" y="58"/>
                      <a:pt x="536" y="58"/>
                    </a:cubicBezTo>
                    <a:cubicBezTo>
                      <a:pt x="535" y="58"/>
                      <a:pt x="535" y="58"/>
                      <a:pt x="535" y="58"/>
                    </a:cubicBezTo>
                    <a:cubicBezTo>
                      <a:pt x="535" y="59"/>
                      <a:pt x="535" y="59"/>
                      <a:pt x="535" y="59"/>
                    </a:cubicBezTo>
                    <a:cubicBezTo>
                      <a:pt x="534" y="59"/>
                      <a:pt x="534" y="59"/>
                      <a:pt x="534" y="59"/>
                    </a:cubicBezTo>
                    <a:cubicBezTo>
                      <a:pt x="533" y="59"/>
                      <a:pt x="533" y="59"/>
                      <a:pt x="533" y="59"/>
                    </a:cubicBezTo>
                    <a:cubicBezTo>
                      <a:pt x="533" y="60"/>
                      <a:pt x="533" y="60"/>
                      <a:pt x="533" y="60"/>
                    </a:cubicBezTo>
                    <a:cubicBezTo>
                      <a:pt x="531" y="59"/>
                      <a:pt x="531" y="59"/>
                      <a:pt x="531" y="59"/>
                    </a:cubicBezTo>
                    <a:cubicBezTo>
                      <a:pt x="531" y="58"/>
                      <a:pt x="531" y="58"/>
                      <a:pt x="531" y="58"/>
                    </a:cubicBezTo>
                    <a:cubicBezTo>
                      <a:pt x="530" y="58"/>
                      <a:pt x="530" y="58"/>
                      <a:pt x="530" y="58"/>
                    </a:cubicBezTo>
                    <a:cubicBezTo>
                      <a:pt x="528" y="57"/>
                      <a:pt x="528" y="57"/>
                      <a:pt x="528" y="57"/>
                    </a:cubicBezTo>
                    <a:cubicBezTo>
                      <a:pt x="527" y="57"/>
                      <a:pt x="527" y="57"/>
                      <a:pt x="527" y="57"/>
                    </a:cubicBezTo>
                    <a:cubicBezTo>
                      <a:pt x="528" y="56"/>
                      <a:pt x="528" y="56"/>
                      <a:pt x="528" y="56"/>
                    </a:cubicBezTo>
                    <a:cubicBezTo>
                      <a:pt x="528" y="56"/>
                      <a:pt x="528" y="56"/>
                      <a:pt x="528" y="56"/>
                    </a:cubicBezTo>
                    <a:cubicBezTo>
                      <a:pt x="526" y="56"/>
                      <a:pt x="526" y="56"/>
                      <a:pt x="526" y="56"/>
                    </a:cubicBezTo>
                    <a:cubicBezTo>
                      <a:pt x="525" y="56"/>
                      <a:pt x="525" y="56"/>
                      <a:pt x="525" y="56"/>
                    </a:cubicBezTo>
                    <a:cubicBezTo>
                      <a:pt x="523" y="56"/>
                      <a:pt x="523" y="56"/>
                      <a:pt x="523" y="56"/>
                    </a:cubicBezTo>
                    <a:cubicBezTo>
                      <a:pt x="523" y="57"/>
                      <a:pt x="523" y="57"/>
                      <a:pt x="523" y="57"/>
                    </a:cubicBezTo>
                    <a:cubicBezTo>
                      <a:pt x="522" y="56"/>
                      <a:pt x="522" y="56"/>
                      <a:pt x="522" y="56"/>
                    </a:cubicBezTo>
                    <a:cubicBezTo>
                      <a:pt x="521" y="56"/>
                      <a:pt x="521" y="56"/>
                      <a:pt x="521" y="56"/>
                    </a:cubicBezTo>
                    <a:cubicBezTo>
                      <a:pt x="519" y="56"/>
                      <a:pt x="519" y="56"/>
                      <a:pt x="519" y="56"/>
                    </a:cubicBezTo>
                    <a:cubicBezTo>
                      <a:pt x="519" y="55"/>
                      <a:pt x="519" y="55"/>
                      <a:pt x="519" y="55"/>
                    </a:cubicBezTo>
                    <a:cubicBezTo>
                      <a:pt x="517" y="54"/>
                      <a:pt x="517" y="54"/>
                      <a:pt x="517" y="54"/>
                    </a:cubicBezTo>
                    <a:cubicBezTo>
                      <a:pt x="515" y="52"/>
                      <a:pt x="515" y="52"/>
                      <a:pt x="515" y="52"/>
                    </a:cubicBezTo>
                    <a:cubicBezTo>
                      <a:pt x="514" y="50"/>
                      <a:pt x="514" y="50"/>
                      <a:pt x="514" y="50"/>
                    </a:cubicBezTo>
                    <a:cubicBezTo>
                      <a:pt x="514" y="49"/>
                      <a:pt x="514" y="49"/>
                      <a:pt x="514" y="49"/>
                    </a:cubicBezTo>
                    <a:cubicBezTo>
                      <a:pt x="514" y="47"/>
                      <a:pt x="514" y="47"/>
                      <a:pt x="514" y="47"/>
                    </a:cubicBezTo>
                    <a:cubicBezTo>
                      <a:pt x="513" y="47"/>
                      <a:pt x="513" y="47"/>
                      <a:pt x="513" y="47"/>
                    </a:cubicBezTo>
                    <a:cubicBezTo>
                      <a:pt x="512" y="46"/>
                      <a:pt x="512" y="46"/>
                      <a:pt x="512" y="46"/>
                    </a:cubicBezTo>
                    <a:cubicBezTo>
                      <a:pt x="511" y="44"/>
                      <a:pt x="511" y="44"/>
                      <a:pt x="511" y="44"/>
                    </a:cubicBezTo>
                    <a:cubicBezTo>
                      <a:pt x="511" y="43"/>
                      <a:pt x="511" y="43"/>
                      <a:pt x="511" y="43"/>
                    </a:cubicBezTo>
                    <a:cubicBezTo>
                      <a:pt x="510" y="41"/>
                      <a:pt x="510" y="41"/>
                      <a:pt x="510" y="41"/>
                    </a:cubicBezTo>
                    <a:cubicBezTo>
                      <a:pt x="510" y="40"/>
                      <a:pt x="510" y="40"/>
                      <a:pt x="510" y="40"/>
                    </a:cubicBezTo>
                    <a:cubicBezTo>
                      <a:pt x="506" y="37"/>
                      <a:pt x="506" y="37"/>
                      <a:pt x="506" y="37"/>
                    </a:cubicBezTo>
                    <a:cubicBezTo>
                      <a:pt x="504" y="35"/>
                      <a:pt x="504" y="35"/>
                      <a:pt x="504" y="35"/>
                    </a:cubicBezTo>
                    <a:cubicBezTo>
                      <a:pt x="504" y="34"/>
                      <a:pt x="504" y="34"/>
                      <a:pt x="504" y="34"/>
                    </a:cubicBezTo>
                    <a:cubicBezTo>
                      <a:pt x="503" y="32"/>
                      <a:pt x="503" y="32"/>
                      <a:pt x="503" y="32"/>
                    </a:cubicBezTo>
                    <a:cubicBezTo>
                      <a:pt x="502" y="32"/>
                      <a:pt x="502" y="32"/>
                      <a:pt x="502" y="32"/>
                    </a:cubicBezTo>
                    <a:cubicBezTo>
                      <a:pt x="502" y="32"/>
                      <a:pt x="502" y="32"/>
                      <a:pt x="502" y="32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0"/>
                      <a:pt x="502" y="30"/>
                      <a:pt x="502" y="30"/>
                    </a:cubicBezTo>
                    <a:cubicBezTo>
                      <a:pt x="501" y="29"/>
                      <a:pt x="501" y="29"/>
                      <a:pt x="501" y="29"/>
                    </a:cubicBezTo>
                    <a:cubicBezTo>
                      <a:pt x="500" y="28"/>
                      <a:pt x="500" y="28"/>
                      <a:pt x="500" y="28"/>
                    </a:cubicBezTo>
                    <a:cubicBezTo>
                      <a:pt x="499" y="27"/>
                      <a:pt x="499" y="27"/>
                      <a:pt x="499" y="27"/>
                    </a:cubicBezTo>
                    <a:cubicBezTo>
                      <a:pt x="499" y="26"/>
                      <a:pt x="499" y="26"/>
                      <a:pt x="499" y="26"/>
                    </a:cubicBezTo>
                    <a:cubicBezTo>
                      <a:pt x="498" y="24"/>
                      <a:pt x="498" y="24"/>
                      <a:pt x="498" y="24"/>
                    </a:cubicBezTo>
                    <a:cubicBezTo>
                      <a:pt x="497" y="23"/>
                      <a:pt x="497" y="23"/>
                      <a:pt x="497" y="23"/>
                    </a:cubicBezTo>
                    <a:cubicBezTo>
                      <a:pt x="495" y="21"/>
                      <a:pt x="495" y="21"/>
                      <a:pt x="495" y="21"/>
                    </a:cubicBezTo>
                    <a:cubicBezTo>
                      <a:pt x="494" y="20"/>
                      <a:pt x="494" y="20"/>
                      <a:pt x="494" y="20"/>
                    </a:cubicBezTo>
                    <a:cubicBezTo>
                      <a:pt x="495" y="19"/>
                      <a:pt x="495" y="19"/>
                      <a:pt x="495" y="19"/>
                    </a:cubicBezTo>
                    <a:cubicBezTo>
                      <a:pt x="495" y="18"/>
                      <a:pt x="495" y="18"/>
                      <a:pt x="495" y="18"/>
                    </a:cubicBezTo>
                    <a:cubicBezTo>
                      <a:pt x="492" y="18"/>
                      <a:pt x="492" y="18"/>
                      <a:pt x="492" y="18"/>
                    </a:cubicBezTo>
                    <a:cubicBezTo>
                      <a:pt x="492" y="17"/>
                      <a:pt x="492" y="17"/>
                      <a:pt x="492" y="17"/>
                    </a:cubicBezTo>
                    <a:cubicBezTo>
                      <a:pt x="492" y="16"/>
                      <a:pt x="492" y="16"/>
                      <a:pt x="492" y="16"/>
                    </a:cubicBezTo>
                    <a:cubicBezTo>
                      <a:pt x="491" y="15"/>
                      <a:pt x="491" y="15"/>
                      <a:pt x="491" y="15"/>
                    </a:cubicBezTo>
                    <a:cubicBezTo>
                      <a:pt x="491" y="13"/>
                      <a:pt x="491" y="13"/>
                      <a:pt x="491" y="13"/>
                    </a:cubicBezTo>
                    <a:cubicBezTo>
                      <a:pt x="491" y="12"/>
                      <a:pt x="491" y="12"/>
                      <a:pt x="491" y="12"/>
                    </a:cubicBezTo>
                    <a:cubicBezTo>
                      <a:pt x="490" y="12"/>
                      <a:pt x="490" y="12"/>
                      <a:pt x="490" y="12"/>
                    </a:cubicBezTo>
                    <a:cubicBezTo>
                      <a:pt x="490" y="11"/>
                      <a:pt x="490" y="11"/>
                      <a:pt x="490" y="11"/>
                    </a:cubicBezTo>
                    <a:cubicBezTo>
                      <a:pt x="489" y="10"/>
                      <a:pt x="489" y="10"/>
                      <a:pt x="489" y="10"/>
                    </a:cubicBezTo>
                    <a:cubicBezTo>
                      <a:pt x="488" y="10"/>
                      <a:pt x="488" y="10"/>
                      <a:pt x="488" y="10"/>
                    </a:cubicBezTo>
                    <a:cubicBezTo>
                      <a:pt x="486" y="10"/>
                      <a:pt x="486" y="10"/>
                      <a:pt x="486" y="10"/>
                    </a:cubicBezTo>
                    <a:cubicBezTo>
                      <a:pt x="486" y="9"/>
                      <a:pt x="486" y="9"/>
                      <a:pt x="486" y="9"/>
                    </a:cubicBezTo>
                    <a:cubicBezTo>
                      <a:pt x="487" y="8"/>
                      <a:pt x="487" y="8"/>
                      <a:pt x="487" y="8"/>
                    </a:cubicBezTo>
                    <a:cubicBezTo>
                      <a:pt x="486" y="7"/>
                      <a:pt x="486" y="7"/>
                      <a:pt x="486" y="7"/>
                    </a:cubicBezTo>
                    <a:cubicBezTo>
                      <a:pt x="485" y="7"/>
                      <a:pt x="485" y="7"/>
                      <a:pt x="485" y="7"/>
                    </a:cubicBezTo>
                    <a:cubicBezTo>
                      <a:pt x="484" y="8"/>
                      <a:pt x="484" y="8"/>
                      <a:pt x="484" y="8"/>
                    </a:cubicBezTo>
                    <a:cubicBezTo>
                      <a:pt x="483" y="7"/>
                      <a:pt x="483" y="7"/>
                      <a:pt x="483" y="7"/>
                    </a:cubicBezTo>
                    <a:cubicBezTo>
                      <a:pt x="482" y="7"/>
                      <a:pt x="482" y="7"/>
                      <a:pt x="482" y="7"/>
                    </a:cubicBezTo>
                    <a:cubicBezTo>
                      <a:pt x="482" y="6"/>
                      <a:pt x="482" y="6"/>
                      <a:pt x="482" y="6"/>
                    </a:cubicBezTo>
                    <a:cubicBezTo>
                      <a:pt x="482" y="5"/>
                      <a:pt x="482" y="5"/>
                      <a:pt x="482" y="5"/>
                    </a:cubicBezTo>
                    <a:cubicBezTo>
                      <a:pt x="482" y="4"/>
                      <a:pt x="482" y="4"/>
                      <a:pt x="482" y="4"/>
                    </a:cubicBezTo>
                    <a:cubicBezTo>
                      <a:pt x="480" y="3"/>
                      <a:pt x="480" y="3"/>
                      <a:pt x="480" y="3"/>
                    </a:cubicBezTo>
                    <a:cubicBezTo>
                      <a:pt x="479" y="3"/>
                      <a:pt x="479" y="3"/>
                      <a:pt x="479" y="3"/>
                    </a:cubicBezTo>
                    <a:cubicBezTo>
                      <a:pt x="478" y="2"/>
                      <a:pt x="478" y="2"/>
                      <a:pt x="478" y="2"/>
                    </a:cubicBezTo>
                    <a:cubicBezTo>
                      <a:pt x="478" y="3"/>
                      <a:pt x="478" y="3"/>
                      <a:pt x="478" y="3"/>
                    </a:cubicBezTo>
                    <a:cubicBezTo>
                      <a:pt x="476" y="3"/>
                      <a:pt x="476" y="3"/>
                      <a:pt x="476" y="3"/>
                    </a:cubicBezTo>
                    <a:cubicBezTo>
                      <a:pt x="476" y="2"/>
                      <a:pt x="476" y="2"/>
                      <a:pt x="476" y="2"/>
                    </a:cubicBezTo>
                    <a:cubicBezTo>
                      <a:pt x="475" y="3"/>
                      <a:pt x="475" y="3"/>
                      <a:pt x="475" y="3"/>
                    </a:cubicBezTo>
                    <a:cubicBezTo>
                      <a:pt x="475" y="4"/>
                      <a:pt x="475" y="4"/>
                      <a:pt x="475" y="4"/>
                    </a:cubicBezTo>
                    <a:cubicBezTo>
                      <a:pt x="474" y="4"/>
                      <a:pt x="474" y="4"/>
                      <a:pt x="474" y="4"/>
                    </a:cubicBezTo>
                    <a:cubicBezTo>
                      <a:pt x="472" y="4"/>
                      <a:pt x="472" y="4"/>
                      <a:pt x="472" y="4"/>
                    </a:cubicBezTo>
                    <a:cubicBezTo>
                      <a:pt x="472" y="3"/>
                      <a:pt x="472" y="3"/>
                      <a:pt x="472" y="3"/>
                    </a:cubicBezTo>
                    <a:cubicBezTo>
                      <a:pt x="470" y="3"/>
                      <a:pt x="470" y="3"/>
                      <a:pt x="470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67" y="1"/>
                      <a:pt x="467" y="1"/>
                      <a:pt x="467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2"/>
                      <a:pt x="456" y="2"/>
                      <a:pt x="456" y="2"/>
                    </a:cubicBezTo>
                    <a:cubicBezTo>
                      <a:pt x="455" y="2"/>
                      <a:pt x="455" y="2"/>
                      <a:pt x="455" y="2"/>
                    </a:cubicBezTo>
                    <a:cubicBezTo>
                      <a:pt x="454" y="3"/>
                      <a:pt x="454" y="3"/>
                      <a:pt x="454" y="3"/>
                    </a:cubicBezTo>
                    <a:cubicBezTo>
                      <a:pt x="452" y="3"/>
                      <a:pt x="452" y="3"/>
                      <a:pt x="452" y="3"/>
                    </a:cubicBezTo>
                    <a:cubicBezTo>
                      <a:pt x="451" y="3"/>
                      <a:pt x="451" y="3"/>
                      <a:pt x="451" y="3"/>
                    </a:cubicBezTo>
                    <a:cubicBezTo>
                      <a:pt x="449" y="2"/>
                      <a:pt x="449" y="2"/>
                      <a:pt x="449" y="2"/>
                    </a:cubicBezTo>
                    <a:cubicBezTo>
                      <a:pt x="448" y="4"/>
                      <a:pt x="448" y="4"/>
                      <a:pt x="448" y="4"/>
                    </a:cubicBezTo>
                    <a:cubicBezTo>
                      <a:pt x="446" y="4"/>
                      <a:pt x="446" y="4"/>
                      <a:pt x="446" y="4"/>
                    </a:cubicBezTo>
                    <a:cubicBezTo>
                      <a:pt x="445" y="5"/>
                      <a:pt x="445" y="5"/>
                      <a:pt x="445" y="5"/>
                    </a:cubicBezTo>
                    <a:cubicBezTo>
                      <a:pt x="444" y="6"/>
                      <a:pt x="444" y="6"/>
                      <a:pt x="444" y="6"/>
                    </a:cubicBezTo>
                    <a:cubicBezTo>
                      <a:pt x="442" y="6"/>
                      <a:pt x="442" y="6"/>
                      <a:pt x="442" y="6"/>
                    </a:cubicBezTo>
                    <a:cubicBezTo>
                      <a:pt x="442" y="6"/>
                      <a:pt x="442" y="6"/>
                      <a:pt x="442" y="6"/>
                    </a:cubicBezTo>
                    <a:cubicBezTo>
                      <a:pt x="441" y="6"/>
                      <a:pt x="441" y="6"/>
                      <a:pt x="441" y="6"/>
                    </a:cubicBezTo>
                    <a:cubicBezTo>
                      <a:pt x="440" y="7"/>
                      <a:pt x="440" y="7"/>
                      <a:pt x="440" y="7"/>
                    </a:cubicBezTo>
                    <a:cubicBezTo>
                      <a:pt x="437" y="7"/>
                      <a:pt x="437" y="7"/>
                      <a:pt x="437" y="7"/>
                    </a:cubicBezTo>
                    <a:cubicBezTo>
                      <a:pt x="436" y="8"/>
                      <a:pt x="436" y="8"/>
                      <a:pt x="436" y="8"/>
                    </a:cubicBezTo>
                    <a:cubicBezTo>
                      <a:pt x="436" y="9"/>
                      <a:pt x="436" y="9"/>
                      <a:pt x="436" y="9"/>
                    </a:cubicBezTo>
                    <a:cubicBezTo>
                      <a:pt x="435" y="11"/>
                      <a:pt x="435" y="11"/>
                      <a:pt x="435" y="11"/>
                    </a:cubicBezTo>
                    <a:cubicBezTo>
                      <a:pt x="434" y="13"/>
                      <a:pt x="434" y="13"/>
                      <a:pt x="434" y="13"/>
                    </a:cubicBezTo>
                    <a:cubicBezTo>
                      <a:pt x="433" y="14"/>
                      <a:pt x="433" y="14"/>
                      <a:pt x="433" y="14"/>
                    </a:cubicBezTo>
                    <a:cubicBezTo>
                      <a:pt x="433" y="15"/>
                      <a:pt x="433" y="15"/>
                      <a:pt x="433" y="15"/>
                    </a:cubicBezTo>
                    <a:cubicBezTo>
                      <a:pt x="433" y="15"/>
                      <a:pt x="433" y="15"/>
                      <a:pt x="433" y="15"/>
                    </a:cubicBezTo>
                    <a:cubicBezTo>
                      <a:pt x="433" y="18"/>
                      <a:pt x="433" y="18"/>
                      <a:pt x="433" y="18"/>
                    </a:cubicBezTo>
                    <a:cubicBezTo>
                      <a:pt x="433" y="19"/>
                      <a:pt x="433" y="19"/>
                      <a:pt x="433" y="19"/>
                    </a:cubicBezTo>
                    <a:cubicBezTo>
                      <a:pt x="434" y="19"/>
                      <a:pt x="434" y="19"/>
                      <a:pt x="434" y="19"/>
                    </a:cubicBezTo>
                    <a:cubicBezTo>
                      <a:pt x="436" y="17"/>
                      <a:pt x="436" y="17"/>
                      <a:pt x="436" y="17"/>
                    </a:cubicBezTo>
                    <a:cubicBezTo>
                      <a:pt x="438" y="17"/>
                      <a:pt x="438" y="17"/>
                      <a:pt x="438" y="17"/>
                    </a:cubicBezTo>
                    <a:cubicBezTo>
                      <a:pt x="439" y="17"/>
                      <a:pt x="439" y="17"/>
                      <a:pt x="439" y="17"/>
                    </a:cubicBezTo>
                    <a:cubicBezTo>
                      <a:pt x="440" y="19"/>
                      <a:pt x="440" y="19"/>
                      <a:pt x="440" y="19"/>
                    </a:cubicBezTo>
                    <a:cubicBezTo>
                      <a:pt x="441" y="21"/>
                      <a:pt x="441" y="21"/>
                      <a:pt x="441" y="21"/>
                    </a:cubicBezTo>
                    <a:cubicBezTo>
                      <a:pt x="442" y="22"/>
                      <a:pt x="442" y="22"/>
                      <a:pt x="442" y="22"/>
                    </a:cubicBezTo>
                    <a:cubicBezTo>
                      <a:pt x="442" y="24"/>
                      <a:pt x="442" y="24"/>
                      <a:pt x="442" y="24"/>
                    </a:cubicBezTo>
                    <a:cubicBezTo>
                      <a:pt x="443" y="25"/>
                      <a:pt x="443" y="25"/>
                      <a:pt x="443" y="25"/>
                    </a:cubicBezTo>
                    <a:cubicBezTo>
                      <a:pt x="443" y="27"/>
                      <a:pt x="443" y="27"/>
                      <a:pt x="443" y="27"/>
                    </a:cubicBezTo>
                    <a:cubicBezTo>
                      <a:pt x="442" y="28"/>
                      <a:pt x="442" y="28"/>
                      <a:pt x="442" y="28"/>
                    </a:cubicBezTo>
                    <a:cubicBezTo>
                      <a:pt x="440" y="30"/>
                      <a:pt x="440" y="30"/>
                      <a:pt x="440" y="30"/>
                    </a:cubicBezTo>
                    <a:cubicBezTo>
                      <a:pt x="440" y="33"/>
                      <a:pt x="440" y="33"/>
                      <a:pt x="440" y="33"/>
                    </a:cubicBezTo>
                    <a:cubicBezTo>
                      <a:pt x="439" y="34"/>
                      <a:pt x="439" y="34"/>
                      <a:pt x="439" y="34"/>
                    </a:cubicBezTo>
                    <a:cubicBezTo>
                      <a:pt x="438" y="36"/>
                      <a:pt x="438" y="36"/>
                      <a:pt x="438" y="36"/>
                    </a:cubicBezTo>
                    <a:cubicBezTo>
                      <a:pt x="437" y="37"/>
                      <a:pt x="437" y="37"/>
                      <a:pt x="437" y="37"/>
                    </a:cubicBezTo>
                    <a:cubicBezTo>
                      <a:pt x="438" y="39"/>
                      <a:pt x="438" y="39"/>
                      <a:pt x="438" y="39"/>
                    </a:cubicBezTo>
                    <a:cubicBezTo>
                      <a:pt x="438" y="40"/>
                      <a:pt x="438" y="40"/>
                      <a:pt x="438" y="40"/>
                    </a:cubicBezTo>
                    <a:cubicBezTo>
                      <a:pt x="438" y="42"/>
                      <a:pt x="438" y="42"/>
                      <a:pt x="438" y="42"/>
                    </a:cubicBezTo>
                    <a:cubicBezTo>
                      <a:pt x="439" y="43"/>
                      <a:pt x="439" y="43"/>
                      <a:pt x="439" y="43"/>
                    </a:cubicBezTo>
                    <a:cubicBezTo>
                      <a:pt x="439" y="45"/>
                      <a:pt x="439" y="45"/>
                      <a:pt x="439" y="45"/>
                    </a:cubicBezTo>
                    <a:cubicBezTo>
                      <a:pt x="438" y="46"/>
                      <a:pt x="438" y="46"/>
                      <a:pt x="438" y="46"/>
                    </a:cubicBezTo>
                    <a:cubicBezTo>
                      <a:pt x="438" y="47"/>
                      <a:pt x="438" y="47"/>
                      <a:pt x="438" y="47"/>
                    </a:cubicBezTo>
                    <a:cubicBezTo>
                      <a:pt x="438" y="49"/>
                      <a:pt x="438" y="49"/>
                      <a:pt x="438" y="49"/>
                    </a:cubicBezTo>
                    <a:cubicBezTo>
                      <a:pt x="439" y="52"/>
                      <a:pt x="439" y="52"/>
                      <a:pt x="439" y="52"/>
                    </a:cubicBezTo>
                    <a:cubicBezTo>
                      <a:pt x="438" y="52"/>
                      <a:pt x="438" y="52"/>
                      <a:pt x="438" y="52"/>
                    </a:cubicBezTo>
                    <a:cubicBezTo>
                      <a:pt x="438" y="55"/>
                      <a:pt x="438" y="55"/>
                      <a:pt x="438" y="55"/>
                    </a:cubicBezTo>
                    <a:cubicBezTo>
                      <a:pt x="439" y="55"/>
                      <a:pt x="439" y="55"/>
                      <a:pt x="439" y="55"/>
                    </a:cubicBezTo>
                    <a:cubicBezTo>
                      <a:pt x="440" y="56"/>
                      <a:pt x="440" y="56"/>
                      <a:pt x="440" y="56"/>
                    </a:cubicBezTo>
                    <a:cubicBezTo>
                      <a:pt x="441" y="55"/>
                      <a:pt x="441" y="55"/>
                      <a:pt x="441" y="55"/>
                    </a:cubicBezTo>
                    <a:cubicBezTo>
                      <a:pt x="441" y="56"/>
                      <a:pt x="441" y="56"/>
                      <a:pt x="441" y="56"/>
                    </a:cubicBezTo>
                    <a:cubicBezTo>
                      <a:pt x="442" y="58"/>
                      <a:pt x="442" y="58"/>
                      <a:pt x="442" y="58"/>
                    </a:cubicBezTo>
                    <a:cubicBezTo>
                      <a:pt x="441" y="60"/>
                      <a:pt x="441" y="60"/>
                      <a:pt x="441" y="60"/>
                    </a:cubicBezTo>
                    <a:cubicBezTo>
                      <a:pt x="440" y="61"/>
                      <a:pt x="440" y="61"/>
                      <a:pt x="440" y="61"/>
                    </a:cubicBezTo>
                    <a:cubicBezTo>
                      <a:pt x="436" y="62"/>
                      <a:pt x="436" y="62"/>
                      <a:pt x="436" y="62"/>
                    </a:cubicBezTo>
                    <a:cubicBezTo>
                      <a:pt x="434" y="63"/>
                      <a:pt x="434" y="63"/>
                      <a:pt x="434" y="63"/>
                    </a:cubicBezTo>
                    <a:cubicBezTo>
                      <a:pt x="429" y="68"/>
                      <a:pt x="429" y="68"/>
                      <a:pt x="429" y="68"/>
                    </a:cubicBezTo>
                    <a:cubicBezTo>
                      <a:pt x="428" y="68"/>
                      <a:pt x="428" y="68"/>
                      <a:pt x="428" y="68"/>
                    </a:cubicBezTo>
                    <a:cubicBezTo>
                      <a:pt x="427" y="67"/>
                      <a:pt x="427" y="67"/>
                      <a:pt x="427" y="67"/>
                    </a:cubicBezTo>
                    <a:cubicBezTo>
                      <a:pt x="424" y="67"/>
                      <a:pt x="424" y="67"/>
                      <a:pt x="424" y="67"/>
                    </a:cubicBezTo>
                    <a:cubicBezTo>
                      <a:pt x="422" y="67"/>
                      <a:pt x="422" y="67"/>
                      <a:pt x="422" y="67"/>
                    </a:cubicBezTo>
                    <a:cubicBezTo>
                      <a:pt x="422" y="66"/>
                      <a:pt x="422" y="66"/>
                      <a:pt x="422" y="66"/>
                    </a:cubicBezTo>
                    <a:cubicBezTo>
                      <a:pt x="421" y="66"/>
                      <a:pt x="421" y="66"/>
                      <a:pt x="421" y="66"/>
                    </a:cubicBezTo>
                    <a:cubicBezTo>
                      <a:pt x="420" y="66"/>
                      <a:pt x="420" y="66"/>
                      <a:pt x="420" y="66"/>
                    </a:cubicBezTo>
                    <a:cubicBezTo>
                      <a:pt x="420" y="66"/>
                      <a:pt x="420" y="66"/>
                      <a:pt x="420" y="66"/>
                    </a:cubicBezTo>
                    <a:cubicBezTo>
                      <a:pt x="418" y="82"/>
                      <a:pt x="418" y="82"/>
                      <a:pt x="418" y="82"/>
                    </a:cubicBezTo>
                    <a:cubicBezTo>
                      <a:pt x="418" y="85"/>
                      <a:pt x="418" y="85"/>
                      <a:pt x="418" y="85"/>
                    </a:cubicBezTo>
                    <a:cubicBezTo>
                      <a:pt x="417" y="88"/>
                      <a:pt x="417" y="88"/>
                      <a:pt x="417" y="88"/>
                    </a:cubicBezTo>
                    <a:cubicBezTo>
                      <a:pt x="417" y="90"/>
                      <a:pt x="417" y="90"/>
                      <a:pt x="417" y="90"/>
                    </a:cubicBezTo>
                    <a:cubicBezTo>
                      <a:pt x="416" y="94"/>
                      <a:pt x="416" y="94"/>
                      <a:pt x="416" y="94"/>
                    </a:cubicBezTo>
                    <a:cubicBezTo>
                      <a:pt x="418" y="97"/>
                      <a:pt x="418" y="97"/>
                      <a:pt x="418" y="97"/>
                    </a:cubicBezTo>
                    <a:cubicBezTo>
                      <a:pt x="422" y="100"/>
                      <a:pt x="422" y="100"/>
                      <a:pt x="422" y="100"/>
                    </a:cubicBezTo>
                    <a:cubicBezTo>
                      <a:pt x="425" y="97"/>
                      <a:pt x="425" y="97"/>
                      <a:pt x="425" y="97"/>
                    </a:cubicBezTo>
                    <a:cubicBezTo>
                      <a:pt x="429" y="97"/>
                      <a:pt x="429" y="97"/>
                      <a:pt x="429" y="97"/>
                    </a:cubicBezTo>
                    <a:cubicBezTo>
                      <a:pt x="434" y="98"/>
                      <a:pt x="434" y="98"/>
                      <a:pt x="434" y="98"/>
                    </a:cubicBezTo>
                    <a:cubicBezTo>
                      <a:pt x="435" y="100"/>
                      <a:pt x="435" y="100"/>
                      <a:pt x="435" y="100"/>
                    </a:cubicBezTo>
                    <a:cubicBezTo>
                      <a:pt x="438" y="96"/>
                      <a:pt x="438" y="96"/>
                      <a:pt x="438" y="96"/>
                    </a:cubicBezTo>
                    <a:cubicBezTo>
                      <a:pt x="438" y="94"/>
                      <a:pt x="438" y="94"/>
                      <a:pt x="438" y="94"/>
                    </a:cubicBezTo>
                    <a:cubicBezTo>
                      <a:pt x="438" y="92"/>
                      <a:pt x="438" y="92"/>
                      <a:pt x="438" y="92"/>
                    </a:cubicBezTo>
                    <a:cubicBezTo>
                      <a:pt x="440" y="91"/>
                      <a:pt x="440" y="91"/>
                      <a:pt x="440" y="91"/>
                    </a:cubicBezTo>
                    <a:cubicBezTo>
                      <a:pt x="441" y="91"/>
                      <a:pt x="441" y="91"/>
                      <a:pt x="441" y="91"/>
                    </a:cubicBezTo>
                    <a:cubicBezTo>
                      <a:pt x="446" y="92"/>
                      <a:pt x="446" y="92"/>
                      <a:pt x="446" y="92"/>
                    </a:cubicBezTo>
                    <a:cubicBezTo>
                      <a:pt x="448" y="95"/>
                      <a:pt x="448" y="95"/>
                      <a:pt x="448" y="95"/>
                    </a:cubicBezTo>
                    <a:cubicBezTo>
                      <a:pt x="452" y="98"/>
                      <a:pt x="452" y="98"/>
                      <a:pt x="452" y="98"/>
                    </a:cubicBezTo>
                    <a:cubicBezTo>
                      <a:pt x="454" y="102"/>
                      <a:pt x="454" y="102"/>
                      <a:pt x="454" y="102"/>
                    </a:cubicBezTo>
                    <a:cubicBezTo>
                      <a:pt x="458" y="104"/>
                      <a:pt x="458" y="104"/>
                      <a:pt x="458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9" y="107"/>
                      <a:pt x="459" y="107"/>
                      <a:pt x="459" y="107"/>
                    </a:cubicBezTo>
                    <a:cubicBezTo>
                      <a:pt x="459" y="109"/>
                      <a:pt x="459" y="109"/>
                      <a:pt x="459" y="109"/>
                    </a:cubicBezTo>
                    <a:cubicBezTo>
                      <a:pt x="458" y="110"/>
                      <a:pt x="458" y="110"/>
                      <a:pt x="458" y="110"/>
                    </a:cubicBezTo>
                    <a:cubicBezTo>
                      <a:pt x="458" y="112"/>
                      <a:pt x="458" y="112"/>
                      <a:pt x="458" y="112"/>
                    </a:cubicBezTo>
                    <a:cubicBezTo>
                      <a:pt x="457" y="113"/>
                      <a:pt x="457" y="113"/>
                      <a:pt x="457" y="113"/>
                    </a:cubicBezTo>
                    <a:cubicBezTo>
                      <a:pt x="456" y="112"/>
                      <a:pt x="456" y="112"/>
                      <a:pt x="456" y="112"/>
                    </a:cubicBezTo>
                    <a:cubicBezTo>
                      <a:pt x="455" y="112"/>
                      <a:pt x="455" y="112"/>
                      <a:pt x="455" y="112"/>
                    </a:cubicBezTo>
                    <a:cubicBezTo>
                      <a:pt x="453" y="112"/>
                      <a:pt x="453" y="112"/>
                      <a:pt x="453" y="112"/>
                    </a:cubicBezTo>
                    <a:cubicBezTo>
                      <a:pt x="452" y="113"/>
                      <a:pt x="452" y="113"/>
                      <a:pt x="452" y="113"/>
                    </a:cubicBezTo>
                    <a:cubicBezTo>
                      <a:pt x="449" y="111"/>
                      <a:pt x="449" y="111"/>
                      <a:pt x="449" y="111"/>
                    </a:cubicBezTo>
                    <a:cubicBezTo>
                      <a:pt x="447" y="112"/>
                      <a:pt x="447" y="112"/>
                      <a:pt x="447" y="112"/>
                    </a:cubicBezTo>
                    <a:cubicBezTo>
                      <a:pt x="446" y="114"/>
                      <a:pt x="446" y="114"/>
                      <a:pt x="446" y="114"/>
                    </a:cubicBezTo>
                    <a:cubicBezTo>
                      <a:pt x="443" y="116"/>
                      <a:pt x="443" y="116"/>
                      <a:pt x="443" y="116"/>
                    </a:cubicBezTo>
                    <a:cubicBezTo>
                      <a:pt x="441" y="117"/>
                      <a:pt x="441" y="117"/>
                      <a:pt x="441" y="117"/>
                    </a:cubicBezTo>
                    <a:cubicBezTo>
                      <a:pt x="440" y="116"/>
                      <a:pt x="440" y="116"/>
                      <a:pt x="440" y="116"/>
                    </a:cubicBezTo>
                    <a:cubicBezTo>
                      <a:pt x="439" y="116"/>
                      <a:pt x="439" y="116"/>
                      <a:pt x="439" y="116"/>
                    </a:cubicBezTo>
                    <a:cubicBezTo>
                      <a:pt x="439" y="118"/>
                      <a:pt x="439" y="118"/>
                      <a:pt x="439" y="118"/>
                    </a:cubicBezTo>
                    <a:cubicBezTo>
                      <a:pt x="438" y="119"/>
                      <a:pt x="438" y="119"/>
                      <a:pt x="438" y="119"/>
                    </a:cubicBezTo>
                    <a:cubicBezTo>
                      <a:pt x="437" y="119"/>
                      <a:pt x="437" y="119"/>
                      <a:pt x="437" y="119"/>
                    </a:cubicBezTo>
                    <a:cubicBezTo>
                      <a:pt x="436" y="119"/>
                      <a:pt x="436" y="119"/>
                      <a:pt x="436" y="119"/>
                    </a:cubicBezTo>
                    <a:cubicBezTo>
                      <a:pt x="435" y="120"/>
                      <a:pt x="435" y="120"/>
                      <a:pt x="435" y="120"/>
                    </a:cubicBezTo>
                    <a:cubicBezTo>
                      <a:pt x="433" y="123"/>
                      <a:pt x="433" y="123"/>
                      <a:pt x="433" y="123"/>
                    </a:cubicBezTo>
                    <a:cubicBezTo>
                      <a:pt x="433" y="126"/>
                      <a:pt x="433" y="126"/>
                      <a:pt x="433" y="126"/>
                    </a:cubicBezTo>
                    <a:cubicBezTo>
                      <a:pt x="433" y="128"/>
                      <a:pt x="433" y="128"/>
                      <a:pt x="433" y="128"/>
                    </a:cubicBezTo>
                    <a:cubicBezTo>
                      <a:pt x="432" y="129"/>
                      <a:pt x="432" y="129"/>
                      <a:pt x="432" y="129"/>
                    </a:cubicBezTo>
                    <a:cubicBezTo>
                      <a:pt x="430" y="130"/>
                      <a:pt x="430" y="130"/>
                      <a:pt x="430" y="130"/>
                    </a:cubicBezTo>
                    <a:cubicBezTo>
                      <a:pt x="426" y="133"/>
                      <a:pt x="426" y="133"/>
                      <a:pt x="426" y="133"/>
                    </a:cubicBezTo>
                    <a:cubicBezTo>
                      <a:pt x="423" y="133"/>
                      <a:pt x="423" y="133"/>
                      <a:pt x="423" y="133"/>
                    </a:cubicBezTo>
                    <a:cubicBezTo>
                      <a:pt x="421" y="132"/>
                      <a:pt x="421" y="132"/>
                      <a:pt x="421" y="132"/>
                    </a:cubicBezTo>
                    <a:cubicBezTo>
                      <a:pt x="420" y="133"/>
                      <a:pt x="420" y="133"/>
                      <a:pt x="420" y="133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6" y="139"/>
                      <a:pt x="416" y="139"/>
                      <a:pt x="416" y="139"/>
                    </a:cubicBezTo>
                    <a:cubicBezTo>
                      <a:pt x="414" y="140"/>
                      <a:pt x="414" y="140"/>
                      <a:pt x="414" y="140"/>
                    </a:cubicBezTo>
                    <a:cubicBezTo>
                      <a:pt x="413" y="142"/>
                      <a:pt x="413" y="142"/>
                      <a:pt x="413" y="142"/>
                    </a:cubicBezTo>
                    <a:cubicBezTo>
                      <a:pt x="412" y="143"/>
                      <a:pt x="412" y="143"/>
                      <a:pt x="412" y="143"/>
                    </a:cubicBezTo>
                    <a:cubicBezTo>
                      <a:pt x="411" y="143"/>
                      <a:pt x="411" y="143"/>
                      <a:pt x="411" y="143"/>
                    </a:cubicBezTo>
                    <a:cubicBezTo>
                      <a:pt x="409" y="142"/>
                      <a:pt x="409" y="142"/>
                      <a:pt x="409" y="142"/>
                    </a:cubicBezTo>
                    <a:cubicBezTo>
                      <a:pt x="407" y="142"/>
                      <a:pt x="407" y="142"/>
                      <a:pt x="407" y="142"/>
                    </a:cubicBezTo>
                    <a:cubicBezTo>
                      <a:pt x="404" y="141"/>
                      <a:pt x="404" y="141"/>
                      <a:pt x="404" y="141"/>
                    </a:cubicBezTo>
                    <a:cubicBezTo>
                      <a:pt x="401" y="139"/>
                      <a:pt x="401" y="139"/>
                      <a:pt x="401" y="139"/>
                    </a:cubicBezTo>
                    <a:cubicBezTo>
                      <a:pt x="399" y="139"/>
                      <a:pt x="399" y="139"/>
                      <a:pt x="399" y="139"/>
                    </a:cubicBezTo>
                    <a:cubicBezTo>
                      <a:pt x="395" y="140"/>
                      <a:pt x="395" y="140"/>
                      <a:pt x="395" y="140"/>
                    </a:cubicBezTo>
                    <a:cubicBezTo>
                      <a:pt x="393" y="142"/>
                      <a:pt x="393" y="142"/>
                      <a:pt x="393" y="142"/>
                    </a:cubicBezTo>
                    <a:cubicBezTo>
                      <a:pt x="392" y="144"/>
                      <a:pt x="392" y="144"/>
                      <a:pt x="392" y="144"/>
                    </a:cubicBezTo>
                    <a:cubicBezTo>
                      <a:pt x="392" y="148"/>
                      <a:pt x="392" y="148"/>
                      <a:pt x="392" y="148"/>
                    </a:cubicBezTo>
                    <a:cubicBezTo>
                      <a:pt x="392" y="150"/>
                      <a:pt x="392" y="150"/>
                      <a:pt x="392" y="150"/>
                    </a:cubicBezTo>
                    <a:cubicBezTo>
                      <a:pt x="392" y="151"/>
                      <a:pt x="392" y="151"/>
                      <a:pt x="392" y="151"/>
                    </a:cubicBezTo>
                    <a:cubicBezTo>
                      <a:pt x="396" y="154"/>
                      <a:pt x="396" y="154"/>
                      <a:pt x="396" y="154"/>
                    </a:cubicBezTo>
                    <a:cubicBezTo>
                      <a:pt x="400" y="157"/>
                      <a:pt x="400" y="157"/>
                      <a:pt x="400" y="157"/>
                    </a:cubicBezTo>
                    <a:cubicBezTo>
                      <a:pt x="400" y="158"/>
                      <a:pt x="400" y="158"/>
                      <a:pt x="400" y="158"/>
                    </a:cubicBezTo>
                    <a:cubicBezTo>
                      <a:pt x="399" y="160"/>
                      <a:pt x="399" y="160"/>
                      <a:pt x="399" y="160"/>
                    </a:cubicBezTo>
                    <a:cubicBezTo>
                      <a:pt x="398" y="162"/>
                      <a:pt x="398" y="162"/>
                      <a:pt x="398" y="162"/>
                    </a:cubicBezTo>
                    <a:cubicBezTo>
                      <a:pt x="393" y="167"/>
                      <a:pt x="393" y="167"/>
                      <a:pt x="393" y="167"/>
                    </a:cubicBezTo>
                    <a:cubicBezTo>
                      <a:pt x="391" y="171"/>
                      <a:pt x="391" y="171"/>
                      <a:pt x="391" y="171"/>
                    </a:cubicBezTo>
                    <a:cubicBezTo>
                      <a:pt x="390" y="174"/>
                      <a:pt x="390" y="174"/>
                      <a:pt x="390" y="174"/>
                    </a:cubicBezTo>
                    <a:cubicBezTo>
                      <a:pt x="388" y="174"/>
                      <a:pt x="388" y="174"/>
                      <a:pt x="388" y="174"/>
                    </a:cubicBezTo>
                    <a:cubicBezTo>
                      <a:pt x="385" y="175"/>
                      <a:pt x="385" y="175"/>
                      <a:pt x="385" y="175"/>
                    </a:cubicBezTo>
                    <a:cubicBezTo>
                      <a:pt x="383" y="175"/>
                      <a:pt x="383" y="175"/>
                      <a:pt x="383" y="175"/>
                    </a:cubicBezTo>
                    <a:cubicBezTo>
                      <a:pt x="380" y="177"/>
                      <a:pt x="380" y="177"/>
                      <a:pt x="380" y="177"/>
                    </a:cubicBezTo>
                    <a:cubicBezTo>
                      <a:pt x="377" y="179"/>
                      <a:pt x="377" y="179"/>
                      <a:pt x="377" y="179"/>
                    </a:cubicBezTo>
                    <a:cubicBezTo>
                      <a:pt x="375" y="179"/>
                      <a:pt x="375" y="179"/>
                      <a:pt x="375" y="179"/>
                    </a:cubicBezTo>
                    <a:cubicBezTo>
                      <a:pt x="371" y="180"/>
                      <a:pt x="371" y="180"/>
                      <a:pt x="371" y="180"/>
                    </a:cubicBezTo>
                    <a:cubicBezTo>
                      <a:pt x="368" y="181"/>
                      <a:pt x="368" y="181"/>
                      <a:pt x="368" y="181"/>
                    </a:cubicBezTo>
                    <a:cubicBezTo>
                      <a:pt x="365" y="182"/>
                      <a:pt x="365" y="182"/>
                      <a:pt x="365" y="182"/>
                    </a:cubicBezTo>
                    <a:cubicBezTo>
                      <a:pt x="358" y="184"/>
                      <a:pt x="358" y="184"/>
                      <a:pt x="358" y="184"/>
                    </a:cubicBezTo>
                    <a:cubicBezTo>
                      <a:pt x="352" y="186"/>
                      <a:pt x="352" y="186"/>
                      <a:pt x="352" y="186"/>
                    </a:cubicBezTo>
                    <a:cubicBezTo>
                      <a:pt x="350" y="189"/>
                      <a:pt x="350" y="189"/>
                      <a:pt x="350" y="189"/>
                    </a:cubicBezTo>
                    <a:cubicBezTo>
                      <a:pt x="346" y="192"/>
                      <a:pt x="346" y="192"/>
                      <a:pt x="346" y="192"/>
                    </a:cubicBezTo>
                    <a:cubicBezTo>
                      <a:pt x="344" y="194"/>
                      <a:pt x="344" y="194"/>
                      <a:pt x="344" y="194"/>
                    </a:cubicBezTo>
                    <a:cubicBezTo>
                      <a:pt x="341" y="194"/>
                      <a:pt x="341" y="194"/>
                      <a:pt x="341" y="194"/>
                    </a:cubicBezTo>
                    <a:cubicBezTo>
                      <a:pt x="339" y="193"/>
                      <a:pt x="339" y="193"/>
                      <a:pt x="339" y="193"/>
                    </a:cubicBezTo>
                    <a:cubicBezTo>
                      <a:pt x="339" y="192"/>
                      <a:pt x="339" y="192"/>
                      <a:pt x="339" y="192"/>
                    </a:cubicBezTo>
                    <a:cubicBezTo>
                      <a:pt x="338" y="191"/>
                      <a:pt x="338" y="191"/>
                      <a:pt x="338" y="191"/>
                    </a:cubicBezTo>
                    <a:cubicBezTo>
                      <a:pt x="334" y="192"/>
                      <a:pt x="334" y="192"/>
                      <a:pt x="334" y="192"/>
                    </a:cubicBezTo>
                    <a:cubicBezTo>
                      <a:pt x="331" y="192"/>
                      <a:pt x="331" y="192"/>
                      <a:pt x="331" y="192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90"/>
                      <a:pt x="325" y="190"/>
                      <a:pt x="325" y="190"/>
                    </a:cubicBezTo>
                    <a:cubicBezTo>
                      <a:pt x="318" y="188"/>
                      <a:pt x="318" y="188"/>
                      <a:pt x="318" y="188"/>
                    </a:cubicBezTo>
                    <a:cubicBezTo>
                      <a:pt x="312" y="185"/>
                      <a:pt x="312" y="185"/>
                      <a:pt x="312" y="185"/>
                    </a:cubicBezTo>
                    <a:cubicBezTo>
                      <a:pt x="309" y="182"/>
                      <a:pt x="309" y="182"/>
                      <a:pt x="309" y="182"/>
                    </a:cubicBezTo>
                    <a:cubicBezTo>
                      <a:pt x="307" y="182"/>
                      <a:pt x="307" y="182"/>
                      <a:pt x="307" y="182"/>
                    </a:cubicBezTo>
                    <a:cubicBezTo>
                      <a:pt x="300" y="181"/>
                      <a:pt x="300" y="181"/>
                      <a:pt x="300" y="181"/>
                    </a:cubicBezTo>
                    <a:cubicBezTo>
                      <a:pt x="294" y="181"/>
                      <a:pt x="294" y="181"/>
                      <a:pt x="294" y="181"/>
                    </a:cubicBezTo>
                    <a:cubicBezTo>
                      <a:pt x="292" y="181"/>
                      <a:pt x="292" y="181"/>
                      <a:pt x="292" y="181"/>
                    </a:cubicBezTo>
                    <a:cubicBezTo>
                      <a:pt x="291" y="181"/>
                      <a:pt x="291" y="181"/>
                      <a:pt x="291" y="181"/>
                    </a:cubicBezTo>
                    <a:cubicBezTo>
                      <a:pt x="291" y="183"/>
                      <a:pt x="291" y="183"/>
                      <a:pt x="291" y="183"/>
                    </a:cubicBezTo>
                    <a:cubicBezTo>
                      <a:pt x="287" y="184"/>
                      <a:pt x="287" y="184"/>
                      <a:pt x="287" y="184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75" y="184"/>
                      <a:pt x="275" y="184"/>
                      <a:pt x="275" y="184"/>
                    </a:cubicBezTo>
                    <a:cubicBezTo>
                      <a:pt x="269" y="184"/>
                      <a:pt x="269" y="184"/>
                      <a:pt x="269" y="184"/>
                    </a:cubicBezTo>
                    <a:cubicBezTo>
                      <a:pt x="264" y="184"/>
                      <a:pt x="264" y="184"/>
                      <a:pt x="264" y="184"/>
                    </a:cubicBezTo>
                    <a:cubicBezTo>
                      <a:pt x="261" y="184"/>
                      <a:pt x="261" y="184"/>
                      <a:pt x="261" y="184"/>
                    </a:cubicBezTo>
                    <a:cubicBezTo>
                      <a:pt x="259" y="184"/>
                      <a:pt x="259" y="184"/>
                      <a:pt x="259" y="184"/>
                    </a:cubicBezTo>
                    <a:cubicBezTo>
                      <a:pt x="257" y="184"/>
                      <a:pt x="257" y="184"/>
                      <a:pt x="257" y="184"/>
                    </a:cubicBezTo>
                    <a:cubicBezTo>
                      <a:pt x="255" y="179"/>
                      <a:pt x="255" y="179"/>
                      <a:pt x="255" y="179"/>
                    </a:cubicBezTo>
                    <a:cubicBezTo>
                      <a:pt x="254" y="177"/>
                      <a:pt x="254" y="177"/>
                      <a:pt x="254" y="177"/>
                    </a:cubicBezTo>
                    <a:cubicBezTo>
                      <a:pt x="252" y="174"/>
                      <a:pt x="252" y="174"/>
                      <a:pt x="252" y="174"/>
                    </a:cubicBezTo>
                    <a:cubicBezTo>
                      <a:pt x="250" y="172"/>
                      <a:pt x="250" y="172"/>
                      <a:pt x="250" y="172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168"/>
                      <a:pt x="249" y="168"/>
                      <a:pt x="249" y="168"/>
                    </a:cubicBezTo>
                    <a:cubicBezTo>
                      <a:pt x="248" y="166"/>
                      <a:pt x="248" y="166"/>
                      <a:pt x="248" y="166"/>
                    </a:cubicBezTo>
                    <a:cubicBezTo>
                      <a:pt x="246" y="166"/>
                      <a:pt x="246" y="166"/>
                      <a:pt x="246" y="166"/>
                    </a:cubicBezTo>
                    <a:cubicBezTo>
                      <a:pt x="245" y="166"/>
                      <a:pt x="245" y="166"/>
                      <a:pt x="245" y="166"/>
                    </a:cubicBezTo>
                    <a:cubicBezTo>
                      <a:pt x="245" y="165"/>
                      <a:pt x="245" y="165"/>
                      <a:pt x="245" y="165"/>
                    </a:cubicBezTo>
                    <a:cubicBezTo>
                      <a:pt x="244" y="163"/>
                      <a:pt x="244" y="163"/>
                      <a:pt x="244" y="163"/>
                    </a:cubicBezTo>
                    <a:cubicBezTo>
                      <a:pt x="244" y="163"/>
                      <a:pt x="244" y="163"/>
                      <a:pt x="244" y="163"/>
                    </a:cubicBezTo>
                    <a:cubicBezTo>
                      <a:pt x="243" y="163"/>
                      <a:pt x="243" y="163"/>
                      <a:pt x="243" y="163"/>
                    </a:cubicBezTo>
                    <a:cubicBezTo>
                      <a:pt x="240" y="163"/>
                      <a:pt x="240" y="163"/>
                      <a:pt x="240" y="163"/>
                    </a:cubicBezTo>
                    <a:cubicBezTo>
                      <a:pt x="238" y="161"/>
                      <a:pt x="238" y="161"/>
                      <a:pt x="238" y="161"/>
                    </a:cubicBezTo>
                    <a:cubicBezTo>
                      <a:pt x="234" y="159"/>
                      <a:pt x="234" y="159"/>
                      <a:pt x="234" y="159"/>
                    </a:cubicBezTo>
                    <a:cubicBezTo>
                      <a:pt x="233" y="159"/>
                      <a:pt x="233" y="159"/>
                      <a:pt x="233" y="159"/>
                    </a:cubicBezTo>
                    <a:cubicBezTo>
                      <a:pt x="232" y="159"/>
                      <a:pt x="232" y="159"/>
                      <a:pt x="232" y="159"/>
                    </a:cubicBezTo>
                    <a:cubicBezTo>
                      <a:pt x="231" y="158"/>
                      <a:pt x="231" y="158"/>
                      <a:pt x="231" y="158"/>
                    </a:cubicBezTo>
                    <a:cubicBezTo>
                      <a:pt x="230" y="157"/>
                      <a:pt x="230" y="157"/>
                      <a:pt x="230" y="157"/>
                    </a:cubicBezTo>
                    <a:cubicBezTo>
                      <a:pt x="227" y="155"/>
                      <a:pt x="227" y="155"/>
                      <a:pt x="227" y="155"/>
                    </a:cubicBezTo>
                    <a:cubicBezTo>
                      <a:pt x="220" y="154"/>
                      <a:pt x="220" y="154"/>
                      <a:pt x="220" y="154"/>
                    </a:cubicBezTo>
                    <a:cubicBezTo>
                      <a:pt x="219" y="154"/>
                      <a:pt x="219" y="154"/>
                      <a:pt x="219" y="154"/>
                    </a:cubicBezTo>
                    <a:cubicBezTo>
                      <a:pt x="219" y="155"/>
                      <a:pt x="219" y="155"/>
                      <a:pt x="219" y="155"/>
                    </a:cubicBezTo>
                    <a:cubicBezTo>
                      <a:pt x="216" y="155"/>
                      <a:pt x="216" y="155"/>
                      <a:pt x="216" y="155"/>
                    </a:cubicBezTo>
                    <a:cubicBezTo>
                      <a:pt x="212" y="155"/>
                      <a:pt x="212" y="155"/>
                      <a:pt x="212" y="155"/>
                    </a:cubicBezTo>
                    <a:cubicBezTo>
                      <a:pt x="202" y="153"/>
                      <a:pt x="202" y="153"/>
                      <a:pt x="202" y="153"/>
                    </a:cubicBezTo>
                    <a:cubicBezTo>
                      <a:pt x="200" y="152"/>
                      <a:pt x="200" y="152"/>
                      <a:pt x="200" y="152"/>
                    </a:cubicBezTo>
                    <a:cubicBezTo>
                      <a:pt x="198" y="148"/>
                      <a:pt x="198" y="148"/>
                      <a:pt x="198" y="148"/>
                    </a:cubicBezTo>
                    <a:cubicBezTo>
                      <a:pt x="198" y="147"/>
                      <a:pt x="198" y="147"/>
                      <a:pt x="198" y="147"/>
                    </a:cubicBezTo>
                    <a:cubicBezTo>
                      <a:pt x="198" y="145"/>
                      <a:pt x="198" y="145"/>
                      <a:pt x="198" y="145"/>
                    </a:cubicBezTo>
                    <a:cubicBezTo>
                      <a:pt x="198" y="144"/>
                      <a:pt x="198" y="144"/>
                      <a:pt x="198" y="144"/>
                    </a:cubicBezTo>
                    <a:cubicBezTo>
                      <a:pt x="200" y="143"/>
                      <a:pt x="200" y="143"/>
                      <a:pt x="200" y="143"/>
                    </a:cubicBezTo>
                    <a:cubicBezTo>
                      <a:pt x="200" y="141"/>
                      <a:pt x="200" y="141"/>
                      <a:pt x="200" y="141"/>
                    </a:cubicBezTo>
                    <a:cubicBezTo>
                      <a:pt x="199" y="140"/>
                      <a:pt x="199" y="140"/>
                      <a:pt x="199" y="140"/>
                    </a:cubicBezTo>
                    <a:cubicBezTo>
                      <a:pt x="199" y="138"/>
                      <a:pt x="199" y="138"/>
                      <a:pt x="199" y="138"/>
                    </a:cubicBezTo>
                    <a:cubicBezTo>
                      <a:pt x="199" y="136"/>
                      <a:pt x="199" y="136"/>
                      <a:pt x="199" y="136"/>
                    </a:cubicBezTo>
                    <a:cubicBezTo>
                      <a:pt x="199" y="134"/>
                      <a:pt x="199" y="134"/>
                      <a:pt x="199" y="134"/>
                    </a:cubicBezTo>
                    <a:cubicBezTo>
                      <a:pt x="198" y="133"/>
                      <a:pt x="198" y="133"/>
                      <a:pt x="198" y="133"/>
                    </a:cubicBezTo>
                    <a:cubicBezTo>
                      <a:pt x="197" y="131"/>
                      <a:pt x="197" y="131"/>
                      <a:pt x="197" y="131"/>
                    </a:cubicBezTo>
                    <a:cubicBezTo>
                      <a:pt x="196" y="130"/>
                      <a:pt x="196" y="130"/>
                      <a:pt x="196" y="130"/>
                    </a:cubicBezTo>
                    <a:cubicBezTo>
                      <a:pt x="194" y="129"/>
                      <a:pt x="194" y="129"/>
                      <a:pt x="194" y="129"/>
                    </a:cubicBezTo>
                    <a:cubicBezTo>
                      <a:pt x="193" y="127"/>
                      <a:pt x="193" y="127"/>
                      <a:pt x="193" y="127"/>
                    </a:cubicBezTo>
                    <a:cubicBezTo>
                      <a:pt x="192" y="126"/>
                      <a:pt x="192" y="126"/>
                      <a:pt x="192" y="126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22"/>
                      <a:pt x="192" y="122"/>
                      <a:pt x="192" y="122"/>
                    </a:cubicBezTo>
                    <a:cubicBezTo>
                      <a:pt x="191" y="121"/>
                      <a:pt x="191" y="121"/>
                      <a:pt x="191" y="121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88" y="119"/>
                      <a:pt x="188" y="119"/>
                      <a:pt x="188" y="119"/>
                    </a:cubicBezTo>
                    <a:cubicBezTo>
                      <a:pt x="187" y="118"/>
                      <a:pt x="187" y="118"/>
                      <a:pt x="187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4" y="117"/>
                      <a:pt x="184" y="117"/>
                      <a:pt x="184" y="117"/>
                    </a:cubicBezTo>
                    <a:cubicBezTo>
                      <a:pt x="183" y="118"/>
                      <a:pt x="183" y="118"/>
                      <a:pt x="183" y="118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81" y="118"/>
                      <a:pt x="181" y="118"/>
                      <a:pt x="181" y="118"/>
                    </a:cubicBezTo>
                    <a:cubicBezTo>
                      <a:pt x="179" y="117"/>
                      <a:pt x="179" y="117"/>
                      <a:pt x="179" y="117"/>
                    </a:cubicBezTo>
                    <a:cubicBezTo>
                      <a:pt x="179" y="116"/>
                      <a:pt x="179" y="116"/>
                      <a:pt x="179" y="116"/>
                    </a:cubicBezTo>
                    <a:cubicBezTo>
                      <a:pt x="177" y="116"/>
                      <a:pt x="177" y="116"/>
                      <a:pt x="177" y="116"/>
                    </a:cubicBezTo>
                    <a:cubicBezTo>
                      <a:pt x="175" y="117"/>
                      <a:pt x="175" y="117"/>
                      <a:pt x="175" y="117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3" y="119"/>
                      <a:pt x="173" y="119"/>
                      <a:pt x="173" y="119"/>
                    </a:cubicBezTo>
                    <a:cubicBezTo>
                      <a:pt x="171" y="117"/>
                      <a:pt x="171" y="117"/>
                      <a:pt x="171" y="117"/>
                    </a:cubicBezTo>
                    <a:cubicBezTo>
                      <a:pt x="171" y="116"/>
                      <a:pt x="171" y="116"/>
                      <a:pt x="171" y="116"/>
                    </a:cubicBezTo>
                    <a:cubicBezTo>
                      <a:pt x="171" y="115"/>
                      <a:pt x="171" y="115"/>
                      <a:pt x="171" y="115"/>
                    </a:cubicBezTo>
                    <a:cubicBezTo>
                      <a:pt x="169" y="114"/>
                      <a:pt x="169" y="114"/>
                      <a:pt x="169" y="114"/>
                    </a:cubicBezTo>
                    <a:cubicBezTo>
                      <a:pt x="167" y="112"/>
                      <a:pt x="167" y="112"/>
                      <a:pt x="167" y="112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65" y="110"/>
                      <a:pt x="165" y="110"/>
                      <a:pt x="165" y="110"/>
                    </a:cubicBezTo>
                    <a:cubicBezTo>
                      <a:pt x="164" y="109"/>
                      <a:pt x="164" y="109"/>
                      <a:pt x="164" y="109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3" y="107"/>
                      <a:pt x="163" y="107"/>
                      <a:pt x="163" y="107"/>
                    </a:cubicBezTo>
                    <a:cubicBezTo>
                      <a:pt x="163" y="106"/>
                      <a:pt x="163" y="106"/>
                      <a:pt x="163" y="106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1" y="105"/>
                      <a:pt x="161" y="105"/>
                      <a:pt x="161" y="105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60" y="102"/>
                      <a:pt x="160" y="102"/>
                      <a:pt x="160" y="102"/>
                    </a:cubicBezTo>
                    <a:cubicBezTo>
                      <a:pt x="160" y="101"/>
                      <a:pt x="160" y="101"/>
                      <a:pt x="160" y="101"/>
                    </a:cubicBezTo>
                    <a:cubicBezTo>
                      <a:pt x="159" y="101"/>
                      <a:pt x="159" y="101"/>
                      <a:pt x="159" y="101"/>
                    </a:cubicBezTo>
                    <a:cubicBezTo>
                      <a:pt x="157" y="101"/>
                      <a:pt x="157" y="101"/>
                      <a:pt x="157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5" y="103"/>
                      <a:pt x="155" y="103"/>
                      <a:pt x="155" y="103"/>
                    </a:cubicBezTo>
                    <a:cubicBezTo>
                      <a:pt x="153" y="104"/>
                      <a:pt x="153" y="104"/>
                      <a:pt x="153" y="104"/>
                    </a:cubicBezTo>
                    <a:cubicBezTo>
                      <a:pt x="151" y="107"/>
                      <a:pt x="151" y="107"/>
                      <a:pt x="151" y="107"/>
                    </a:cubicBezTo>
                    <a:cubicBezTo>
                      <a:pt x="150" y="108"/>
                      <a:pt x="150" y="108"/>
                      <a:pt x="150" y="108"/>
                    </a:cubicBezTo>
                    <a:cubicBezTo>
                      <a:pt x="151" y="109"/>
                      <a:pt x="151" y="109"/>
                      <a:pt x="151" y="109"/>
                    </a:cubicBezTo>
                    <a:cubicBezTo>
                      <a:pt x="150" y="111"/>
                      <a:pt x="150" y="111"/>
                      <a:pt x="150" y="111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5" y="114"/>
                      <a:pt x="145" y="114"/>
                      <a:pt x="145" y="114"/>
                    </a:cubicBezTo>
                    <a:cubicBezTo>
                      <a:pt x="145" y="116"/>
                      <a:pt x="145" y="116"/>
                      <a:pt x="145" y="116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7" y="124"/>
                      <a:pt x="147" y="124"/>
                      <a:pt x="147" y="124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48" y="128"/>
                      <a:pt x="148" y="128"/>
                      <a:pt x="148" y="128"/>
                    </a:cubicBezTo>
                    <a:cubicBezTo>
                      <a:pt x="146" y="131"/>
                      <a:pt x="146" y="131"/>
                      <a:pt x="146" y="131"/>
                    </a:cubicBezTo>
                    <a:cubicBezTo>
                      <a:pt x="144" y="132"/>
                      <a:pt x="144" y="132"/>
                      <a:pt x="144" y="132"/>
                    </a:cubicBezTo>
                    <a:cubicBezTo>
                      <a:pt x="142" y="134"/>
                      <a:pt x="142" y="134"/>
                      <a:pt x="142" y="134"/>
                    </a:cubicBezTo>
                    <a:cubicBezTo>
                      <a:pt x="141" y="134"/>
                      <a:pt x="141" y="134"/>
                      <a:pt x="141" y="134"/>
                    </a:cubicBezTo>
                    <a:cubicBezTo>
                      <a:pt x="140" y="134"/>
                      <a:pt x="140" y="134"/>
                      <a:pt x="140" y="134"/>
                    </a:cubicBezTo>
                    <a:cubicBezTo>
                      <a:pt x="139" y="133"/>
                      <a:pt x="139" y="133"/>
                      <a:pt x="139" y="133"/>
                    </a:cubicBezTo>
                    <a:cubicBezTo>
                      <a:pt x="138" y="133"/>
                      <a:pt x="138" y="133"/>
                      <a:pt x="138" y="133"/>
                    </a:cubicBezTo>
                    <a:cubicBezTo>
                      <a:pt x="134" y="133"/>
                      <a:pt x="134" y="133"/>
                      <a:pt x="134" y="133"/>
                    </a:cubicBezTo>
                    <a:cubicBezTo>
                      <a:pt x="131" y="133"/>
                      <a:pt x="131" y="133"/>
                      <a:pt x="131" y="133"/>
                    </a:cubicBezTo>
                    <a:cubicBezTo>
                      <a:pt x="128" y="132"/>
                      <a:pt x="128" y="132"/>
                      <a:pt x="128" y="132"/>
                    </a:cubicBezTo>
                    <a:cubicBezTo>
                      <a:pt x="125" y="132"/>
                      <a:pt x="125" y="132"/>
                      <a:pt x="125" y="132"/>
                    </a:cubicBezTo>
                    <a:cubicBezTo>
                      <a:pt x="124" y="132"/>
                      <a:pt x="124" y="132"/>
                      <a:pt x="124" y="132"/>
                    </a:cubicBezTo>
                    <a:cubicBezTo>
                      <a:pt x="123" y="136"/>
                      <a:pt x="123" y="136"/>
                      <a:pt x="123" y="136"/>
                    </a:cubicBezTo>
                    <a:cubicBezTo>
                      <a:pt x="123" y="139"/>
                      <a:pt x="123" y="139"/>
                      <a:pt x="123" y="139"/>
                    </a:cubicBezTo>
                    <a:cubicBezTo>
                      <a:pt x="122" y="141"/>
                      <a:pt x="122" y="141"/>
                      <a:pt x="122" y="141"/>
                    </a:cubicBezTo>
                    <a:cubicBezTo>
                      <a:pt x="122" y="147"/>
                      <a:pt x="122" y="147"/>
                      <a:pt x="122" y="147"/>
                    </a:cubicBezTo>
                    <a:cubicBezTo>
                      <a:pt x="122" y="151"/>
                      <a:pt x="122" y="151"/>
                      <a:pt x="122" y="151"/>
                    </a:cubicBezTo>
                    <a:cubicBezTo>
                      <a:pt x="121" y="153"/>
                      <a:pt x="121" y="153"/>
                      <a:pt x="121" y="153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4" y="155"/>
                      <a:pt x="124" y="155"/>
                      <a:pt x="124" y="155"/>
                    </a:cubicBezTo>
                    <a:cubicBezTo>
                      <a:pt x="124" y="157"/>
                      <a:pt x="124" y="157"/>
                      <a:pt x="124" y="157"/>
                    </a:cubicBezTo>
                    <a:cubicBezTo>
                      <a:pt x="123" y="158"/>
                      <a:pt x="123" y="158"/>
                      <a:pt x="123" y="158"/>
                    </a:cubicBezTo>
                    <a:cubicBezTo>
                      <a:pt x="122" y="158"/>
                      <a:pt x="122" y="158"/>
                      <a:pt x="122" y="158"/>
                    </a:cubicBezTo>
                    <a:cubicBezTo>
                      <a:pt x="121" y="159"/>
                      <a:pt x="121" y="159"/>
                      <a:pt x="121" y="159"/>
                    </a:cubicBezTo>
                    <a:cubicBezTo>
                      <a:pt x="119" y="159"/>
                      <a:pt x="119" y="159"/>
                      <a:pt x="119" y="159"/>
                    </a:cubicBezTo>
                    <a:cubicBezTo>
                      <a:pt x="118" y="158"/>
                      <a:pt x="118" y="158"/>
                      <a:pt x="118" y="158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5" y="159"/>
                      <a:pt x="115" y="159"/>
                      <a:pt x="115" y="159"/>
                    </a:cubicBezTo>
                    <a:cubicBezTo>
                      <a:pt x="110" y="160"/>
                      <a:pt x="110" y="160"/>
                      <a:pt x="110" y="160"/>
                    </a:cubicBezTo>
                    <a:cubicBezTo>
                      <a:pt x="107" y="161"/>
                      <a:pt x="107" y="161"/>
                      <a:pt x="107" y="161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5" y="161"/>
                      <a:pt x="105" y="161"/>
                      <a:pt x="105" y="161"/>
                    </a:cubicBezTo>
                    <a:cubicBezTo>
                      <a:pt x="103" y="161"/>
                      <a:pt x="103" y="161"/>
                      <a:pt x="103" y="161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102" y="164"/>
                      <a:pt x="102" y="164"/>
                      <a:pt x="102" y="164"/>
                    </a:cubicBezTo>
                    <a:cubicBezTo>
                      <a:pt x="103" y="166"/>
                      <a:pt x="103" y="166"/>
                      <a:pt x="103" y="166"/>
                    </a:cubicBezTo>
                    <a:cubicBezTo>
                      <a:pt x="106" y="165"/>
                      <a:pt x="106" y="165"/>
                      <a:pt x="106" y="165"/>
                    </a:cubicBezTo>
                    <a:cubicBezTo>
                      <a:pt x="108" y="166"/>
                      <a:pt x="108" y="166"/>
                      <a:pt x="108" y="166"/>
                    </a:cubicBezTo>
                    <a:cubicBezTo>
                      <a:pt x="108" y="167"/>
                      <a:pt x="108" y="167"/>
                      <a:pt x="108" y="167"/>
                    </a:cubicBezTo>
                    <a:cubicBezTo>
                      <a:pt x="107" y="168"/>
                      <a:pt x="107" y="168"/>
                      <a:pt x="107" y="168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08" y="173"/>
                      <a:pt x="108" y="173"/>
                      <a:pt x="108" y="173"/>
                    </a:cubicBezTo>
                    <a:cubicBezTo>
                      <a:pt x="109" y="174"/>
                      <a:pt x="109" y="174"/>
                      <a:pt x="109" y="174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13" y="182"/>
                      <a:pt x="113" y="182"/>
                      <a:pt x="113" y="182"/>
                    </a:cubicBezTo>
                    <a:cubicBezTo>
                      <a:pt x="114" y="186"/>
                      <a:pt x="114" y="186"/>
                      <a:pt x="114" y="186"/>
                    </a:cubicBezTo>
                    <a:cubicBezTo>
                      <a:pt x="113" y="187"/>
                      <a:pt x="113" y="187"/>
                      <a:pt x="113" y="187"/>
                    </a:cubicBezTo>
                    <a:cubicBezTo>
                      <a:pt x="112" y="189"/>
                      <a:pt x="112" y="189"/>
                      <a:pt x="112" y="189"/>
                    </a:cubicBezTo>
                    <a:cubicBezTo>
                      <a:pt x="114" y="191"/>
                      <a:pt x="114" y="191"/>
                      <a:pt x="114" y="191"/>
                    </a:cubicBezTo>
                    <a:cubicBezTo>
                      <a:pt x="113" y="191"/>
                      <a:pt x="113" y="191"/>
                      <a:pt x="113" y="191"/>
                    </a:cubicBezTo>
                    <a:cubicBezTo>
                      <a:pt x="113" y="193"/>
                      <a:pt x="113" y="193"/>
                      <a:pt x="113" y="193"/>
                    </a:cubicBezTo>
                    <a:cubicBezTo>
                      <a:pt x="111" y="194"/>
                      <a:pt x="111" y="194"/>
                      <a:pt x="111" y="194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09" y="197"/>
                      <a:pt x="109" y="197"/>
                      <a:pt x="109" y="197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01" y="192"/>
                      <a:pt x="101" y="192"/>
                      <a:pt x="101" y="192"/>
                    </a:cubicBezTo>
                    <a:cubicBezTo>
                      <a:pt x="99" y="192"/>
                      <a:pt x="99" y="192"/>
                      <a:pt x="99" y="192"/>
                    </a:cubicBezTo>
                    <a:cubicBezTo>
                      <a:pt x="95" y="190"/>
                      <a:pt x="95" y="190"/>
                      <a:pt x="95" y="190"/>
                    </a:cubicBezTo>
                    <a:cubicBezTo>
                      <a:pt x="89" y="190"/>
                      <a:pt x="89" y="190"/>
                      <a:pt x="89" y="190"/>
                    </a:cubicBezTo>
                    <a:cubicBezTo>
                      <a:pt x="86" y="191"/>
                      <a:pt x="86" y="191"/>
                      <a:pt x="86" y="191"/>
                    </a:cubicBezTo>
                    <a:cubicBezTo>
                      <a:pt x="81" y="190"/>
                      <a:pt x="81" y="190"/>
                      <a:pt x="81" y="190"/>
                    </a:cubicBezTo>
                    <a:cubicBezTo>
                      <a:pt x="76" y="191"/>
                      <a:pt x="76" y="191"/>
                      <a:pt x="76" y="191"/>
                    </a:cubicBezTo>
                    <a:cubicBezTo>
                      <a:pt x="74" y="191"/>
                      <a:pt x="74" y="191"/>
                      <a:pt x="74" y="191"/>
                    </a:cubicBezTo>
                    <a:cubicBezTo>
                      <a:pt x="72" y="190"/>
                      <a:pt x="72" y="190"/>
                      <a:pt x="72" y="190"/>
                    </a:cubicBezTo>
                    <a:cubicBezTo>
                      <a:pt x="70" y="192"/>
                      <a:pt x="70" y="192"/>
                      <a:pt x="70" y="192"/>
                    </a:cubicBezTo>
                    <a:cubicBezTo>
                      <a:pt x="68" y="193"/>
                      <a:pt x="68" y="193"/>
                      <a:pt x="68" y="193"/>
                    </a:cubicBezTo>
                    <a:cubicBezTo>
                      <a:pt x="63" y="192"/>
                      <a:pt x="63" y="192"/>
                      <a:pt x="63" y="192"/>
                    </a:cubicBezTo>
                    <a:cubicBezTo>
                      <a:pt x="59" y="191"/>
                      <a:pt x="59" y="191"/>
                      <a:pt x="59" y="191"/>
                    </a:cubicBezTo>
                    <a:cubicBezTo>
                      <a:pt x="57" y="190"/>
                      <a:pt x="57" y="190"/>
                      <a:pt x="57" y="190"/>
                    </a:cubicBezTo>
                    <a:cubicBezTo>
                      <a:pt x="54" y="190"/>
                      <a:pt x="54" y="190"/>
                      <a:pt x="54" y="190"/>
                    </a:cubicBezTo>
                    <a:cubicBezTo>
                      <a:pt x="53" y="190"/>
                      <a:pt x="53" y="190"/>
                      <a:pt x="53" y="190"/>
                    </a:cubicBezTo>
                    <a:cubicBezTo>
                      <a:pt x="51" y="190"/>
                      <a:pt x="51" y="190"/>
                      <a:pt x="51" y="190"/>
                    </a:cubicBezTo>
                    <a:cubicBezTo>
                      <a:pt x="49" y="190"/>
                      <a:pt x="49" y="190"/>
                      <a:pt x="49" y="190"/>
                    </a:cubicBezTo>
                    <a:cubicBezTo>
                      <a:pt x="48" y="191"/>
                      <a:pt x="48" y="191"/>
                      <a:pt x="48" y="191"/>
                    </a:cubicBezTo>
                    <a:cubicBezTo>
                      <a:pt x="48" y="193"/>
                      <a:pt x="48" y="193"/>
                      <a:pt x="48" y="193"/>
                    </a:cubicBezTo>
                    <a:cubicBezTo>
                      <a:pt x="49" y="195"/>
                      <a:pt x="49" y="195"/>
                      <a:pt x="49" y="195"/>
                    </a:cubicBezTo>
                    <a:cubicBezTo>
                      <a:pt x="49" y="197"/>
                      <a:pt x="49" y="197"/>
                      <a:pt x="49" y="197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0" y="198"/>
                      <a:pt x="40" y="198"/>
                      <a:pt x="40" y="198"/>
                    </a:cubicBezTo>
                    <a:cubicBezTo>
                      <a:pt x="32" y="197"/>
                      <a:pt x="32" y="197"/>
                      <a:pt x="32" y="197"/>
                    </a:cubicBezTo>
                    <a:cubicBezTo>
                      <a:pt x="31" y="196"/>
                      <a:pt x="31" y="196"/>
                      <a:pt x="31" y="196"/>
                    </a:cubicBezTo>
                    <a:cubicBezTo>
                      <a:pt x="28" y="196"/>
                      <a:pt x="28" y="196"/>
                      <a:pt x="28" y="196"/>
                    </a:cubicBezTo>
                    <a:cubicBezTo>
                      <a:pt x="26" y="198"/>
                      <a:pt x="26" y="198"/>
                      <a:pt x="26" y="198"/>
                    </a:cubicBezTo>
                    <a:cubicBezTo>
                      <a:pt x="26" y="199"/>
                      <a:pt x="26" y="199"/>
                      <a:pt x="26" y="199"/>
                    </a:cubicBezTo>
                    <a:cubicBezTo>
                      <a:pt x="24" y="201"/>
                      <a:pt x="24" y="201"/>
                      <a:pt x="24" y="201"/>
                    </a:cubicBezTo>
                    <a:cubicBezTo>
                      <a:pt x="24" y="201"/>
                      <a:pt x="24" y="201"/>
                      <a:pt x="24" y="201"/>
                    </a:cubicBezTo>
                    <a:cubicBezTo>
                      <a:pt x="23" y="201"/>
                      <a:pt x="23" y="201"/>
                      <a:pt x="23" y="201"/>
                    </a:cubicBezTo>
                    <a:cubicBezTo>
                      <a:pt x="25" y="202"/>
                      <a:pt x="25" y="202"/>
                      <a:pt x="25" y="202"/>
                    </a:cubicBezTo>
                    <a:cubicBezTo>
                      <a:pt x="25" y="204"/>
                      <a:pt x="25" y="204"/>
                      <a:pt x="25" y="204"/>
                    </a:cubicBezTo>
                    <a:cubicBezTo>
                      <a:pt x="22" y="208"/>
                      <a:pt x="22" y="208"/>
                      <a:pt x="22" y="208"/>
                    </a:cubicBezTo>
                    <a:cubicBezTo>
                      <a:pt x="21" y="211"/>
                      <a:pt x="21" y="211"/>
                      <a:pt x="21" y="211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9" y="215"/>
                      <a:pt x="29" y="215"/>
                      <a:pt x="29" y="215"/>
                    </a:cubicBezTo>
                    <a:cubicBezTo>
                      <a:pt x="30" y="216"/>
                      <a:pt x="30" y="216"/>
                      <a:pt x="30" y="216"/>
                    </a:cubicBezTo>
                    <a:cubicBezTo>
                      <a:pt x="32" y="214"/>
                      <a:pt x="32" y="214"/>
                      <a:pt x="32" y="214"/>
                    </a:cubicBezTo>
                    <a:cubicBezTo>
                      <a:pt x="32" y="211"/>
                      <a:pt x="32" y="211"/>
                      <a:pt x="32" y="211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8" y="215"/>
                      <a:pt x="38" y="215"/>
                      <a:pt x="38" y="215"/>
                    </a:cubicBezTo>
                    <a:cubicBezTo>
                      <a:pt x="39" y="217"/>
                      <a:pt x="39" y="217"/>
                      <a:pt x="39" y="217"/>
                    </a:cubicBezTo>
                    <a:cubicBezTo>
                      <a:pt x="36" y="220"/>
                      <a:pt x="36" y="220"/>
                      <a:pt x="36" y="220"/>
                    </a:cubicBezTo>
                    <a:cubicBezTo>
                      <a:pt x="33" y="220"/>
                      <a:pt x="33" y="220"/>
                      <a:pt x="33" y="220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27" y="219"/>
                      <a:pt x="27" y="219"/>
                      <a:pt x="27" y="219"/>
                    </a:cubicBezTo>
                    <a:cubicBezTo>
                      <a:pt x="25" y="217"/>
                      <a:pt x="25" y="217"/>
                      <a:pt x="25" y="217"/>
                    </a:cubicBezTo>
                    <a:cubicBezTo>
                      <a:pt x="22" y="220"/>
                      <a:pt x="22" y="220"/>
                      <a:pt x="22" y="220"/>
                    </a:cubicBezTo>
                    <a:cubicBezTo>
                      <a:pt x="20" y="220"/>
                      <a:pt x="20" y="220"/>
                      <a:pt x="20" y="220"/>
                    </a:cubicBezTo>
                    <a:cubicBezTo>
                      <a:pt x="17" y="222"/>
                      <a:pt x="17" y="222"/>
                      <a:pt x="17" y="222"/>
                    </a:cubicBezTo>
                    <a:cubicBezTo>
                      <a:pt x="15" y="223"/>
                      <a:pt x="15" y="223"/>
                      <a:pt x="15" y="223"/>
                    </a:cubicBezTo>
                    <a:cubicBezTo>
                      <a:pt x="15" y="226"/>
                      <a:pt x="15" y="226"/>
                      <a:pt x="15" y="226"/>
                    </a:cubicBezTo>
                    <a:cubicBezTo>
                      <a:pt x="18" y="227"/>
                      <a:pt x="18" y="227"/>
                      <a:pt x="18" y="227"/>
                    </a:cubicBezTo>
                    <a:cubicBezTo>
                      <a:pt x="18" y="229"/>
                      <a:pt x="18" y="229"/>
                      <a:pt x="18" y="229"/>
                    </a:cubicBezTo>
                    <a:cubicBezTo>
                      <a:pt x="14" y="230"/>
                      <a:pt x="14" y="230"/>
                      <a:pt x="14" y="230"/>
                    </a:cubicBezTo>
                    <a:cubicBezTo>
                      <a:pt x="10" y="231"/>
                      <a:pt x="10" y="231"/>
                      <a:pt x="10" y="231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2" y="234"/>
                      <a:pt x="12" y="234"/>
                      <a:pt x="12" y="234"/>
                    </a:cubicBezTo>
                    <a:cubicBezTo>
                      <a:pt x="8" y="235"/>
                      <a:pt x="8" y="235"/>
                      <a:pt x="8" y="235"/>
                    </a:cubicBezTo>
                    <a:cubicBezTo>
                      <a:pt x="8" y="237"/>
                      <a:pt x="8" y="237"/>
                      <a:pt x="8" y="237"/>
                    </a:cubicBezTo>
                    <a:cubicBezTo>
                      <a:pt x="6" y="238"/>
                      <a:pt x="6" y="238"/>
                      <a:pt x="6" y="238"/>
                    </a:cubicBezTo>
                    <a:cubicBezTo>
                      <a:pt x="2" y="237"/>
                      <a:pt x="2" y="237"/>
                      <a:pt x="2" y="237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2" y="246"/>
                      <a:pt x="2" y="246"/>
                      <a:pt x="2" y="246"/>
                    </a:cubicBezTo>
                    <a:cubicBezTo>
                      <a:pt x="4" y="245"/>
                      <a:pt x="4" y="245"/>
                      <a:pt x="4" y="245"/>
                    </a:cubicBezTo>
                    <a:cubicBezTo>
                      <a:pt x="7" y="245"/>
                      <a:pt x="7" y="245"/>
                      <a:pt x="7" y="245"/>
                    </a:cubicBezTo>
                    <a:cubicBezTo>
                      <a:pt x="7" y="247"/>
                      <a:pt x="7" y="247"/>
                      <a:pt x="7" y="247"/>
                    </a:cubicBezTo>
                    <a:cubicBezTo>
                      <a:pt x="6" y="249"/>
                      <a:pt x="6" y="249"/>
                      <a:pt x="6" y="249"/>
                    </a:cubicBezTo>
                    <a:cubicBezTo>
                      <a:pt x="7" y="252"/>
                      <a:pt x="7" y="252"/>
                      <a:pt x="7" y="252"/>
                    </a:cubicBezTo>
                    <a:cubicBezTo>
                      <a:pt x="9" y="252"/>
                      <a:pt x="9" y="252"/>
                      <a:pt x="9" y="252"/>
                    </a:cubicBezTo>
                    <a:cubicBezTo>
                      <a:pt x="10" y="255"/>
                      <a:pt x="10" y="255"/>
                      <a:pt x="10" y="255"/>
                    </a:cubicBezTo>
                    <a:cubicBezTo>
                      <a:pt x="9" y="256"/>
                      <a:pt x="9" y="256"/>
                      <a:pt x="9" y="256"/>
                    </a:cubicBezTo>
                    <a:cubicBezTo>
                      <a:pt x="7" y="261"/>
                      <a:pt x="7" y="261"/>
                      <a:pt x="7" y="261"/>
                    </a:cubicBezTo>
                    <a:cubicBezTo>
                      <a:pt x="6" y="267"/>
                      <a:pt x="6" y="267"/>
                      <a:pt x="6" y="267"/>
                    </a:cubicBezTo>
                    <a:cubicBezTo>
                      <a:pt x="5" y="266"/>
                      <a:pt x="5" y="266"/>
                      <a:pt x="5" y="266"/>
                    </a:cubicBezTo>
                    <a:cubicBezTo>
                      <a:pt x="7" y="269"/>
                      <a:pt x="7" y="269"/>
                      <a:pt x="7" y="269"/>
                    </a:cubicBezTo>
                    <a:cubicBezTo>
                      <a:pt x="9" y="270"/>
                      <a:pt x="9" y="270"/>
                      <a:pt x="9" y="270"/>
                    </a:cubicBezTo>
                    <a:cubicBezTo>
                      <a:pt x="12" y="269"/>
                      <a:pt x="12" y="269"/>
                      <a:pt x="12" y="269"/>
                    </a:cubicBezTo>
                    <a:cubicBezTo>
                      <a:pt x="14" y="268"/>
                      <a:pt x="14" y="268"/>
                      <a:pt x="14" y="268"/>
                    </a:cubicBezTo>
                    <a:cubicBezTo>
                      <a:pt x="15" y="266"/>
                      <a:pt x="15" y="266"/>
                      <a:pt x="15" y="266"/>
                    </a:cubicBezTo>
                    <a:cubicBezTo>
                      <a:pt x="16" y="266"/>
                      <a:pt x="16" y="266"/>
                      <a:pt x="16" y="266"/>
                    </a:cubicBezTo>
                    <a:cubicBezTo>
                      <a:pt x="17" y="265"/>
                      <a:pt x="17" y="265"/>
                      <a:pt x="17" y="265"/>
                    </a:cubicBezTo>
                    <a:cubicBezTo>
                      <a:pt x="18" y="266"/>
                      <a:pt x="18" y="266"/>
                      <a:pt x="18" y="266"/>
                    </a:cubicBezTo>
                    <a:cubicBezTo>
                      <a:pt x="19" y="267"/>
                      <a:pt x="19" y="267"/>
                      <a:pt x="19" y="267"/>
                    </a:cubicBezTo>
                    <a:cubicBezTo>
                      <a:pt x="23" y="267"/>
                      <a:pt x="23" y="267"/>
                      <a:pt x="23" y="267"/>
                    </a:cubicBezTo>
                    <a:cubicBezTo>
                      <a:pt x="23" y="266"/>
                      <a:pt x="23" y="266"/>
                      <a:pt x="23" y="266"/>
                    </a:cubicBezTo>
                    <a:cubicBezTo>
                      <a:pt x="22" y="265"/>
                      <a:pt x="22" y="265"/>
                      <a:pt x="22" y="265"/>
                    </a:cubicBezTo>
                    <a:cubicBezTo>
                      <a:pt x="22" y="264"/>
                      <a:pt x="22" y="264"/>
                      <a:pt x="22" y="264"/>
                    </a:cubicBezTo>
                    <a:cubicBezTo>
                      <a:pt x="24" y="263"/>
                      <a:pt x="24" y="263"/>
                      <a:pt x="24" y="263"/>
                    </a:cubicBezTo>
                    <a:cubicBezTo>
                      <a:pt x="25" y="262"/>
                      <a:pt x="25" y="262"/>
                      <a:pt x="25" y="262"/>
                    </a:cubicBezTo>
                    <a:cubicBezTo>
                      <a:pt x="26" y="262"/>
                      <a:pt x="26" y="262"/>
                      <a:pt x="26" y="262"/>
                    </a:cubicBezTo>
                    <a:cubicBezTo>
                      <a:pt x="26" y="263"/>
                      <a:pt x="26" y="263"/>
                      <a:pt x="26" y="263"/>
                    </a:cubicBezTo>
                    <a:cubicBezTo>
                      <a:pt x="28" y="263"/>
                      <a:pt x="28" y="263"/>
                      <a:pt x="28" y="263"/>
                    </a:cubicBezTo>
                    <a:cubicBezTo>
                      <a:pt x="29" y="261"/>
                      <a:pt x="29" y="261"/>
                      <a:pt x="29" y="261"/>
                    </a:cubicBezTo>
                    <a:cubicBezTo>
                      <a:pt x="29" y="258"/>
                      <a:pt x="29" y="258"/>
                      <a:pt x="29" y="258"/>
                    </a:cubicBezTo>
                    <a:cubicBezTo>
                      <a:pt x="30" y="257"/>
                      <a:pt x="30" y="257"/>
                      <a:pt x="30" y="257"/>
                    </a:cubicBezTo>
                    <a:cubicBezTo>
                      <a:pt x="31" y="255"/>
                      <a:pt x="31" y="255"/>
                      <a:pt x="31" y="255"/>
                    </a:cubicBezTo>
                    <a:cubicBezTo>
                      <a:pt x="31" y="253"/>
                      <a:pt x="31" y="253"/>
                      <a:pt x="31" y="253"/>
                    </a:cubicBezTo>
                    <a:cubicBezTo>
                      <a:pt x="32" y="251"/>
                      <a:pt x="32" y="251"/>
                      <a:pt x="32" y="251"/>
                    </a:cubicBezTo>
                    <a:cubicBezTo>
                      <a:pt x="34" y="251"/>
                      <a:pt x="34" y="251"/>
                      <a:pt x="34" y="251"/>
                    </a:cubicBezTo>
                    <a:cubicBezTo>
                      <a:pt x="36" y="252"/>
                      <a:pt x="36" y="252"/>
                      <a:pt x="36" y="252"/>
                    </a:cubicBezTo>
                    <a:cubicBezTo>
                      <a:pt x="38" y="253"/>
                      <a:pt x="38" y="253"/>
                      <a:pt x="38" y="253"/>
                    </a:cubicBezTo>
                    <a:cubicBezTo>
                      <a:pt x="38" y="255"/>
                      <a:pt x="38" y="255"/>
                      <a:pt x="38" y="255"/>
                    </a:cubicBezTo>
                    <a:cubicBezTo>
                      <a:pt x="37" y="257"/>
                      <a:pt x="37" y="257"/>
                      <a:pt x="37" y="257"/>
                    </a:cubicBezTo>
                    <a:cubicBezTo>
                      <a:pt x="38" y="259"/>
                      <a:pt x="38" y="259"/>
                      <a:pt x="38" y="259"/>
                    </a:cubicBezTo>
                    <a:cubicBezTo>
                      <a:pt x="40" y="259"/>
                      <a:pt x="40" y="259"/>
                      <a:pt x="40" y="259"/>
                    </a:cubicBezTo>
                    <a:cubicBezTo>
                      <a:pt x="40" y="260"/>
                      <a:pt x="40" y="260"/>
                      <a:pt x="40" y="260"/>
                    </a:cubicBezTo>
                    <a:cubicBezTo>
                      <a:pt x="40" y="263"/>
                      <a:pt x="40" y="263"/>
                      <a:pt x="40" y="263"/>
                    </a:cubicBezTo>
                    <a:cubicBezTo>
                      <a:pt x="40" y="265"/>
                      <a:pt x="40" y="265"/>
                      <a:pt x="40" y="265"/>
                    </a:cubicBezTo>
                    <a:cubicBezTo>
                      <a:pt x="41" y="269"/>
                      <a:pt x="41" y="269"/>
                      <a:pt x="41" y="269"/>
                    </a:cubicBezTo>
                    <a:cubicBezTo>
                      <a:pt x="42" y="271"/>
                      <a:pt x="42" y="271"/>
                      <a:pt x="42" y="271"/>
                    </a:cubicBezTo>
                    <a:cubicBezTo>
                      <a:pt x="42" y="272"/>
                      <a:pt x="42" y="272"/>
                      <a:pt x="42" y="272"/>
                    </a:cubicBezTo>
                    <a:cubicBezTo>
                      <a:pt x="44" y="273"/>
                      <a:pt x="44" y="273"/>
                      <a:pt x="44" y="273"/>
                    </a:cubicBezTo>
                    <a:cubicBezTo>
                      <a:pt x="46" y="273"/>
                      <a:pt x="46" y="273"/>
                      <a:pt x="46" y="273"/>
                    </a:cubicBezTo>
                    <a:cubicBezTo>
                      <a:pt x="48" y="272"/>
                      <a:pt x="48" y="272"/>
                      <a:pt x="48" y="272"/>
                    </a:cubicBezTo>
                    <a:cubicBezTo>
                      <a:pt x="48" y="271"/>
                      <a:pt x="48" y="271"/>
                      <a:pt x="48" y="271"/>
                    </a:cubicBezTo>
                    <a:cubicBezTo>
                      <a:pt x="52" y="269"/>
                      <a:pt x="52" y="269"/>
                      <a:pt x="52" y="269"/>
                    </a:cubicBezTo>
                    <a:cubicBezTo>
                      <a:pt x="53" y="268"/>
                      <a:pt x="53" y="268"/>
                      <a:pt x="53" y="268"/>
                    </a:cubicBezTo>
                    <a:cubicBezTo>
                      <a:pt x="54" y="266"/>
                      <a:pt x="54" y="266"/>
                      <a:pt x="54" y="266"/>
                    </a:cubicBezTo>
                    <a:cubicBezTo>
                      <a:pt x="55" y="265"/>
                      <a:pt x="55" y="265"/>
                      <a:pt x="55" y="265"/>
                    </a:cubicBezTo>
                    <a:cubicBezTo>
                      <a:pt x="59" y="262"/>
                      <a:pt x="59" y="262"/>
                      <a:pt x="59" y="262"/>
                    </a:cubicBezTo>
                    <a:cubicBezTo>
                      <a:pt x="62" y="261"/>
                      <a:pt x="62" y="261"/>
                      <a:pt x="62" y="261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6" y="263"/>
                      <a:pt x="66" y="263"/>
                      <a:pt x="66" y="263"/>
                    </a:cubicBezTo>
                    <a:cubicBezTo>
                      <a:pt x="67" y="261"/>
                      <a:pt x="67" y="261"/>
                      <a:pt x="67" y="261"/>
                    </a:cubicBezTo>
                    <a:cubicBezTo>
                      <a:pt x="72" y="261"/>
                      <a:pt x="72" y="261"/>
                      <a:pt x="72" y="261"/>
                    </a:cubicBezTo>
                    <a:cubicBezTo>
                      <a:pt x="72" y="263"/>
                      <a:pt x="72" y="263"/>
                      <a:pt x="72" y="263"/>
                    </a:cubicBezTo>
                    <a:cubicBezTo>
                      <a:pt x="69" y="265"/>
                      <a:pt x="69" y="265"/>
                      <a:pt x="69" y="265"/>
                    </a:cubicBezTo>
                    <a:cubicBezTo>
                      <a:pt x="71" y="266"/>
                      <a:pt x="71" y="266"/>
                      <a:pt x="71" y="266"/>
                    </a:cubicBezTo>
                    <a:cubicBezTo>
                      <a:pt x="69" y="269"/>
                      <a:pt x="69" y="269"/>
                      <a:pt x="69" y="269"/>
                    </a:cubicBezTo>
                    <a:cubicBezTo>
                      <a:pt x="64" y="271"/>
                      <a:pt x="64" y="271"/>
                      <a:pt x="64" y="271"/>
                    </a:cubicBezTo>
                    <a:cubicBezTo>
                      <a:pt x="57" y="273"/>
                      <a:pt x="57" y="273"/>
                      <a:pt x="57" y="273"/>
                    </a:cubicBezTo>
                    <a:cubicBezTo>
                      <a:pt x="58" y="274"/>
                      <a:pt x="58" y="274"/>
                      <a:pt x="58" y="274"/>
                    </a:cubicBezTo>
                    <a:cubicBezTo>
                      <a:pt x="53" y="277"/>
                      <a:pt x="53" y="277"/>
                      <a:pt x="53" y="277"/>
                    </a:cubicBezTo>
                    <a:cubicBezTo>
                      <a:pt x="54" y="281"/>
                      <a:pt x="54" y="281"/>
                      <a:pt x="54" y="281"/>
                    </a:cubicBezTo>
                    <a:cubicBezTo>
                      <a:pt x="55" y="283"/>
                      <a:pt x="55" y="283"/>
                      <a:pt x="55" y="283"/>
                    </a:cubicBezTo>
                    <a:cubicBezTo>
                      <a:pt x="57" y="282"/>
                      <a:pt x="57" y="282"/>
                      <a:pt x="57" y="282"/>
                    </a:cubicBezTo>
                    <a:cubicBezTo>
                      <a:pt x="59" y="281"/>
                      <a:pt x="59" y="281"/>
                      <a:pt x="59" y="281"/>
                    </a:cubicBezTo>
                    <a:cubicBezTo>
                      <a:pt x="61" y="284"/>
                      <a:pt x="61" y="284"/>
                      <a:pt x="61" y="284"/>
                    </a:cubicBezTo>
                    <a:cubicBezTo>
                      <a:pt x="63" y="286"/>
                      <a:pt x="63" y="286"/>
                      <a:pt x="63" y="286"/>
                    </a:cubicBezTo>
                    <a:cubicBezTo>
                      <a:pt x="66" y="288"/>
                      <a:pt x="66" y="288"/>
                      <a:pt x="66" y="288"/>
                    </a:cubicBezTo>
                    <a:cubicBezTo>
                      <a:pt x="66" y="290"/>
                      <a:pt x="66" y="290"/>
                      <a:pt x="66" y="290"/>
                    </a:cubicBezTo>
                    <a:cubicBezTo>
                      <a:pt x="69" y="291"/>
                      <a:pt x="69" y="291"/>
                      <a:pt x="69" y="291"/>
                    </a:cubicBezTo>
                    <a:cubicBezTo>
                      <a:pt x="69" y="293"/>
                      <a:pt x="69" y="293"/>
                      <a:pt x="69" y="293"/>
                    </a:cubicBezTo>
                    <a:cubicBezTo>
                      <a:pt x="66" y="295"/>
                      <a:pt x="66" y="295"/>
                      <a:pt x="66" y="295"/>
                    </a:cubicBezTo>
                    <a:cubicBezTo>
                      <a:pt x="66" y="297"/>
                      <a:pt x="66" y="297"/>
                      <a:pt x="66" y="297"/>
                    </a:cubicBezTo>
                    <a:cubicBezTo>
                      <a:pt x="65" y="298"/>
                      <a:pt x="65" y="298"/>
                      <a:pt x="65" y="298"/>
                    </a:cubicBezTo>
                    <a:cubicBezTo>
                      <a:pt x="65" y="301"/>
                      <a:pt x="65" y="301"/>
                      <a:pt x="65" y="301"/>
                    </a:cubicBezTo>
                    <a:cubicBezTo>
                      <a:pt x="66" y="304"/>
                      <a:pt x="66" y="304"/>
                      <a:pt x="66" y="304"/>
                    </a:cubicBezTo>
                    <a:cubicBezTo>
                      <a:pt x="68" y="310"/>
                      <a:pt x="68" y="310"/>
                      <a:pt x="68" y="310"/>
                    </a:cubicBezTo>
                    <a:cubicBezTo>
                      <a:pt x="68" y="313"/>
                      <a:pt x="68" y="313"/>
                      <a:pt x="68" y="313"/>
                    </a:cubicBezTo>
                    <a:cubicBezTo>
                      <a:pt x="72" y="316"/>
                      <a:pt x="72" y="316"/>
                      <a:pt x="72" y="316"/>
                    </a:cubicBezTo>
                    <a:cubicBezTo>
                      <a:pt x="76" y="317"/>
                      <a:pt x="76" y="317"/>
                      <a:pt x="76" y="317"/>
                    </a:cubicBezTo>
                    <a:cubicBezTo>
                      <a:pt x="79" y="319"/>
                      <a:pt x="79" y="319"/>
                      <a:pt x="79" y="319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83" y="322"/>
                      <a:pt x="83" y="322"/>
                      <a:pt x="83" y="322"/>
                    </a:cubicBezTo>
                    <a:cubicBezTo>
                      <a:pt x="85" y="321"/>
                      <a:pt x="85" y="321"/>
                      <a:pt x="85" y="321"/>
                    </a:cubicBezTo>
                    <a:cubicBezTo>
                      <a:pt x="88" y="322"/>
                      <a:pt x="88" y="322"/>
                      <a:pt x="88" y="322"/>
                    </a:cubicBezTo>
                    <a:cubicBezTo>
                      <a:pt x="88" y="324"/>
                      <a:pt x="88" y="324"/>
                      <a:pt x="88" y="324"/>
                    </a:cubicBezTo>
                    <a:cubicBezTo>
                      <a:pt x="89" y="323"/>
                      <a:pt x="89" y="323"/>
                      <a:pt x="89" y="323"/>
                    </a:cubicBezTo>
                    <a:cubicBezTo>
                      <a:pt x="92" y="318"/>
                      <a:pt x="92" y="318"/>
                      <a:pt x="92" y="318"/>
                    </a:cubicBezTo>
                    <a:cubicBezTo>
                      <a:pt x="94" y="316"/>
                      <a:pt x="94" y="316"/>
                      <a:pt x="94" y="316"/>
                    </a:cubicBezTo>
                    <a:cubicBezTo>
                      <a:pt x="97" y="316"/>
                      <a:pt x="97" y="316"/>
                      <a:pt x="97" y="316"/>
                    </a:cubicBezTo>
                    <a:cubicBezTo>
                      <a:pt x="98" y="313"/>
                      <a:pt x="98" y="313"/>
                      <a:pt x="98" y="313"/>
                    </a:cubicBezTo>
                    <a:cubicBezTo>
                      <a:pt x="100" y="313"/>
                      <a:pt x="100" y="313"/>
                      <a:pt x="100" y="313"/>
                    </a:cubicBezTo>
                    <a:cubicBezTo>
                      <a:pt x="105" y="317"/>
                      <a:pt x="105" y="317"/>
                      <a:pt x="105" y="317"/>
                    </a:cubicBezTo>
                    <a:cubicBezTo>
                      <a:pt x="108" y="315"/>
                      <a:pt x="108" y="315"/>
                      <a:pt x="108" y="315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12" y="319"/>
                      <a:pt x="112" y="319"/>
                      <a:pt x="112" y="319"/>
                    </a:cubicBezTo>
                    <a:cubicBezTo>
                      <a:pt x="114" y="319"/>
                      <a:pt x="114" y="319"/>
                      <a:pt x="114" y="319"/>
                    </a:cubicBezTo>
                    <a:cubicBezTo>
                      <a:pt x="118" y="321"/>
                      <a:pt x="118" y="321"/>
                      <a:pt x="118" y="321"/>
                    </a:cubicBezTo>
                    <a:cubicBezTo>
                      <a:pt x="118" y="321"/>
                      <a:pt x="118" y="321"/>
                      <a:pt x="118" y="321"/>
                    </a:cubicBezTo>
                    <a:cubicBezTo>
                      <a:pt x="119" y="323"/>
                      <a:pt x="119" y="323"/>
                      <a:pt x="119" y="323"/>
                    </a:cubicBezTo>
                    <a:cubicBezTo>
                      <a:pt x="119" y="324"/>
                      <a:pt x="119" y="324"/>
                      <a:pt x="119" y="324"/>
                    </a:cubicBezTo>
                    <a:cubicBezTo>
                      <a:pt x="122" y="326"/>
                      <a:pt x="122" y="326"/>
                      <a:pt x="122" y="326"/>
                    </a:cubicBezTo>
                    <a:cubicBezTo>
                      <a:pt x="121" y="329"/>
                      <a:pt x="121" y="329"/>
                      <a:pt x="121" y="329"/>
                    </a:cubicBezTo>
                    <a:cubicBezTo>
                      <a:pt x="122" y="331"/>
                      <a:pt x="122" y="331"/>
                      <a:pt x="122" y="331"/>
                    </a:cubicBezTo>
                    <a:cubicBezTo>
                      <a:pt x="122" y="332"/>
                      <a:pt x="122" y="332"/>
                      <a:pt x="122" y="332"/>
                    </a:cubicBezTo>
                    <a:cubicBezTo>
                      <a:pt x="123" y="333"/>
                      <a:pt x="123" y="333"/>
                      <a:pt x="123" y="333"/>
                    </a:cubicBezTo>
                    <a:cubicBezTo>
                      <a:pt x="124" y="335"/>
                      <a:pt x="124" y="335"/>
                      <a:pt x="124" y="335"/>
                    </a:cubicBezTo>
                    <a:cubicBezTo>
                      <a:pt x="124" y="336"/>
                      <a:pt x="124" y="336"/>
                      <a:pt x="124" y="336"/>
                    </a:cubicBezTo>
                    <a:cubicBezTo>
                      <a:pt x="125" y="337"/>
                      <a:pt x="125" y="337"/>
                      <a:pt x="125" y="337"/>
                    </a:cubicBezTo>
                    <a:cubicBezTo>
                      <a:pt x="125" y="339"/>
                      <a:pt x="125" y="339"/>
                      <a:pt x="125" y="339"/>
                    </a:cubicBezTo>
                    <a:cubicBezTo>
                      <a:pt x="127" y="340"/>
                      <a:pt x="127" y="340"/>
                      <a:pt x="127" y="340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31" y="338"/>
                      <a:pt x="131" y="338"/>
                      <a:pt x="131" y="338"/>
                    </a:cubicBezTo>
                    <a:cubicBezTo>
                      <a:pt x="132" y="339"/>
                      <a:pt x="132" y="339"/>
                      <a:pt x="132" y="339"/>
                    </a:cubicBezTo>
                    <a:cubicBezTo>
                      <a:pt x="134" y="340"/>
                      <a:pt x="134" y="340"/>
                      <a:pt x="134" y="340"/>
                    </a:cubicBezTo>
                    <a:cubicBezTo>
                      <a:pt x="136" y="342"/>
                      <a:pt x="136" y="342"/>
                      <a:pt x="136" y="342"/>
                    </a:cubicBezTo>
                    <a:cubicBezTo>
                      <a:pt x="137" y="342"/>
                      <a:pt x="137" y="342"/>
                      <a:pt x="137" y="342"/>
                    </a:cubicBezTo>
                    <a:cubicBezTo>
                      <a:pt x="138" y="344"/>
                      <a:pt x="138" y="344"/>
                      <a:pt x="138" y="344"/>
                    </a:cubicBezTo>
                    <a:cubicBezTo>
                      <a:pt x="140" y="345"/>
                      <a:pt x="140" y="345"/>
                      <a:pt x="140" y="345"/>
                    </a:cubicBezTo>
                    <a:cubicBezTo>
                      <a:pt x="141" y="346"/>
                      <a:pt x="141" y="346"/>
                      <a:pt x="141" y="346"/>
                    </a:cubicBezTo>
                    <a:cubicBezTo>
                      <a:pt x="141" y="346"/>
                      <a:pt x="141" y="346"/>
                      <a:pt x="141" y="346"/>
                    </a:cubicBezTo>
                    <a:cubicBezTo>
                      <a:pt x="141" y="350"/>
                      <a:pt x="141" y="350"/>
                      <a:pt x="141" y="350"/>
                    </a:cubicBezTo>
                    <a:cubicBezTo>
                      <a:pt x="140" y="355"/>
                      <a:pt x="140" y="355"/>
                      <a:pt x="140" y="355"/>
                    </a:cubicBezTo>
                    <a:cubicBezTo>
                      <a:pt x="140" y="358"/>
                      <a:pt x="140" y="358"/>
                      <a:pt x="140" y="358"/>
                    </a:cubicBezTo>
                    <a:cubicBezTo>
                      <a:pt x="137" y="362"/>
                      <a:pt x="137" y="362"/>
                      <a:pt x="137" y="362"/>
                    </a:cubicBezTo>
                    <a:cubicBezTo>
                      <a:pt x="138" y="364"/>
                      <a:pt x="138" y="364"/>
                      <a:pt x="138" y="364"/>
                    </a:cubicBezTo>
                    <a:cubicBezTo>
                      <a:pt x="140" y="364"/>
                      <a:pt x="140" y="364"/>
                      <a:pt x="140" y="364"/>
                    </a:cubicBezTo>
                    <a:cubicBezTo>
                      <a:pt x="142" y="366"/>
                      <a:pt x="142" y="366"/>
                      <a:pt x="142" y="366"/>
                    </a:cubicBezTo>
                    <a:cubicBezTo>
                      <a:pt x="143" y="366"/>
                      <a:pt x="143" y="366"/>
                      <a:pt x="143" y="366"/>
                    </a:cubicBezTo>
                    <a:cubicBezTo>
                      <a:pt x="145" y="367"/>
                      <a:pt x="145" y="367"/>
                      <a:pt x="145" y="367"/>
                    </a:cubicBezTo>
                    <a:cubicBezTo>
                      <a:pt x="149" y="368"/>
                      <a:pt x="149" y="368"/>
                      <a:pt x="149" y="368"/>
                    </a:cubicBezTo>
                    <a:cubicBezTo>
                      <a:pt x="153" y="371"/>
                      <a:pt x="153" y="371"/>
                      <a:pt x="153" y="371"/>
                    </a:cubicBezTo>
                    <a:cubicBezTo>
                      <a:pt x="156" y="375"/>
                      <a:pt x="156" y="375"/>
                      <a:pt x="156" y="375"/>
                    </a:cubicBezTo>
                    <a:cubicBezTo>
                      <a:pt x="160" y="376"/>
                      <a:pt x="160" y="376"/>
                      <a:pt x="160" y="376"/>
                    </a:cubicBezTo>
                    <a:cubicBezTo>
                      <a:pt x="162" y="377"/>
                      <a:pt x="162" y="377"/>
                      <a:pt x="162" y="377"/>
                    </a:cubicBezTo>
                    <a:cubicBezTo>
                      <a:pt x="164" y="377"/>
                      <a:pt x="164" y="377"/>
                      <a:pt x="164" y="377"/>
                    </a:cubicBezTo>
                    <a:cubicBezTo>
                      <a:pt x="167" y="379"/>
                      <a:pt x="167" y="379"/>
                      <a:pt x="167" y="379"/>
                    </a:cubicBezTo>
                    <a:cubicBezTo>
                      <a:pt x="172" y="379"/>
                      <a:pt x="172" y="379"/>
                      <a:pt x="172" y="379"/>
                    </a:cubicBezTo>
                    <a:cubicBezTo>
                      <a:pt x="174" y="380"/>
                      <a:pt x="174" y="380"/>
                      <a:pt x="174" y="380"/>
                    </a:cubicBezTo>
                    <a:cubicBezTo>
                      <a:pt x="179" y="379"/>
                      <a:pt x="179" y="379"/>
                      <a:pt x="179" y="379"/>
                    </a:cubicBezTo>
                    <a:cubicBezTo>
                      <a:pt x="184" y="380"/>
                      <a:pt x="184" y="380"/>
                      <a:pt x="184" y="380"/>
                    </a:cubicBezTo>
                    <a:cubicBezTo>
                      <a:pt x="184" y="382"/>
                      <a:pt x="184" y="382"/>
                      <a:pt x="184" y="382"/>
                    </a:cubicBezTo>
                    <a:cubicBezTo>
                      <a:pt x="187" y="385"/>
                      <a:pt x="187" y="385"/>
                      <a:pt x="187" y="385"/>
                    </a:cubicBezTo>
                    <a:cubicBezTo>
                      <a:pt x="192" y="386"/>
                      <a:pt x="192" y="386"/>
                      <a:pt x="192" y="386"/>
                    </a:cubicBezTo>
                    <a:cubicBezTo>
                      <a:pt x="194" y="385"/>
                      <a:pt x="194" y="385"/>
                      <a:pt x="194" y="385"/>
                    </a:cubicBezTo>
                    <a:cubicBezTo>
                      <a:pt x="197" y="385"/>
                      <a:pt x="197" y="385"/>
                      <a:pt x="197" y="385"/>
                    </a:cubicBezTo>
                    <a:cubicBezTo>
                      <a:pt x="205" y="388"/>
                      <a:pt x="205" y="388"/>
                      <a:pt x="205" y="388"/>
                    </a:cubicBezTo>
                    <a:cubicBezTo>
                      <a:pt x="208" y="387"/>
                      <a:pt x="208" y="387"/>
                      <a:pt x="208" y="387"/>
                    </a:cubicBezTo>
                    <a:cubicBezTo>
                      <a:pt x="211" y="389"/>
                      <a:pt x="211" y="389"/>
                      <a:pt x="211" y="389"/>
                    </a:cubicBezTo>
                    <a:cubicBezTo>
                      <a:pt x="217" y="388"/>
                      <a:pt x="217" y="388"/>
                      <a:pt x="217" y="388"/>
                    </a:cubicBezTo>
                    <a:cubicBezTo>
                      <a:pt x="218" y="383"/>
                      <a:pt x="218" y="383"/>
                      <a:pt x="218" y="383"/>
                    </a:cubicBezTo>
                    <a:cubicBezTo>
                      <a:pt x="216" y="379"/>
                      <a:pt x="216" y="379"/>
                      <a:pt x="216" y="379"/>
                    </a:cubicBezTo>
                    <a:cubicBezTo>
                      <a:pt x="217" y="375"/>
                      <a:pt x="217" y="375"/>
                      <a:pt x="217" y="375"/>
                    </a:cubicBezTo>
                    <a:cubicBezTo>
                      <a:pt x="216" y="372"/>
                      <a:pt x="216" y="372"/>
                      <a:pt x="216" y="372"/>
                    </a:cubicBezTo>
                    <a:cubicBezTo>
                      <a:pt x="217" y="373"/>
                      <a:pt x="217" y="373"/>
                      <a:pt x="217" y="373"/>
                    </a:cubicBezTo>
                    <a:cubicBezTo>
                      <a:pt x="218" y="371"/>
                      <a:pt x="218" y="371"/>
                      <a:pt x="218" y="371"/>
                    </a:cubicBezTo>
                    <a:cubicBezTo>
                      <a:pt x="221" y="371"/>
                      <a:pt x="221" y="371"/>
                      <a:pt x="221" y="371"/>
                    </a:cubicBezTo>
                    <a:cubicBezTo>
                      <a:pt x="222" y="373"/>
                      <a:pt x="222" y="373"/>
                      <a:pt x="222" y="373"/>
                    </a:cubicBezTo>
                    <a:cubicBezTo>
                      <a:pt x="222" y="375"/>
                      <a:pt x="222" y="375"/>
                      <a:pt x="222" y="375"/>
                    </a:cubicBezTo>
                    <a:cubicBezTo>
                      <a:pt x="224" y="377"/>
                      <a:pt x="224" y="377"/>
                      <a:pt x="224" y="377"/>
                    </a:cubicBezTo>
                    <a:cubicBezTo>
                      <a:pt x="224" y="377"/>
                      <a:pt x="224" y="377"/>
                      <a:pt x="224" y="377"/>
                    </a:cubicBezTo>
                    <a:cubicBezTo>
                      <a:pt x="224" y="379"/>
                      <a:pt x="224" y="379"/>
                      <a:pt x="224" y="379"/>
                    </a:cubicBezTo>
                    <a:cubicBezTo>
                      <a:pt x="223" y="380"/>
                      <a:pt x="223" y="380"/>
                      <a:pt x="223" y="380"/>
                    </a:cubicBezTo>
                    <a:cubicBezTo>
                      <a:pt x="225" y="384"/>
                      <a:pt x="225" y="384"/>
                      <a:pt x="225" y="384"/>
                    </a:cubicBezTo>
                    <a:cubicBezTo>
                      <a:pt x="228" y="384"/>
                      <a:pt x="228" y="384"/>
                      <a:pt x="228" y="384"/>
                    </a:cubicBezTo>
                    <a:cubicBezTo>
                      <a:pt x="229" y="383"/>
                      <a:pt x="229" y="383"/>
                      <a:pt x="229" y="383"/>
                    </a:cubicBezTo>
                    <a:cubicBezTo>
                      <a:pt x="234" y="386"/>
                      <a:pt x="234" y="386"/>
                      <a:pt x="234" y="386"/>
                    </a:cubicBezTo>
                    <a:cubicBezTo>
                      <a:pt x="237" y="386"/>
                      <a:pt x="237" y="386"/>
                      <a:pt x="237" y="386"/>
                    </a:cubicBezTo>
                    <a:cubicBezTo>
                      <a:pt x="239" y="384"/>
                      <a:pt x="239" y="384"/>
                      <a:pt x="239" y="384"/>
                    </a:cubicBezTo>
                    <a:cubicBezTo>
                      <a:pt x="241" y="383"/>
                      <a:pt x="241" y="383"/>
                      <a:pt x="241" y="383"/>
                    </a:cubicBezTo>
                    <a:cubicBezTo>
                      <a:pt x="243" y="384"/>
                      <a:pt x="243" y="384"/>
                      <a:pt x="243" y="384"/>
                    </a:cubicBezTo>
                    <a:cubicBezTo>
                      <a:pt x="246" y="383"/>
                      <a:pt x="246" y="383"/>
                      <a:pt x="246" y="383"/>
                    </a:cubicBezTo>
                    <a:cubicBezTo>
                      <a:pt x="249" y="384"/>
                      <a:pt x="249" y="384"/>
                      <a:pt x="249" y="384"/>
                    </a:cubicBezTo>
                    <a:cubicBezTo>
                      <a:pt x="253" y="382"/>
                      <a:pt x="253" y="382"/>
                      <a:pt x="253" y="382"/>
                    </a:cubicBezTo>
                    <a:cubicBezTo>
                      <a:pt x="253" y="381"/>
                      <a:pt x="253" y="381"/>
                      <a:pt x="253" y="381"/>
                    </a:cubicBezTo>
                    <a:cubicBezTo>
                      <a:pt x="253" y="378"/>
                      <a:pt x="253" y="378"/>
                      <a:pt x="253" y="378"/>
                    </a:cubicBezTo>
                    <a:cubicBezTo>
                      <a:pt x="250" y="377"/>
                      <a:pt x="250" y="377"/>
                      <a:pt x="250" y="377"/>
                    </a:cubicBezTo>
                    <a:cubicBezTo>
                      <a:pt x="249" y="375"/>
                      <a:pt x="249" y="375"/>
                      <a:pt x="249" y="375"/>
                    </a:cubicBezTo>
                    <a:cubicBezTo>
                      <a:pt x="250" y="372"/>
                      <a:pt x="250" y="372"/>
                      <a:pt x="250" y="372"/>
                    </a:cubicBezTo>
                    <a:cubicBezTo>
                      <a:pt x="251" y="372"/>
                      <a:pt x="251" y="372"/>
                      <a:pt x="251" y="372"/>
                    </a:cubicBezTo>
                    <a:cubicBezTo>
                      <a:pt x="255" y="371"/>
                      <a:pt x="255" y="371"/>
                      <a:pt x="255" y="371"/>
                    </a:cubicBezTo>
                    <a:cubicBezTo>
                      <a:pt x="257" y="371"/>
                      <a:pt x="257" y="371"/>
                      <a:pt x="257" y="371"/>
                    </a:cubicBezTo>
                    <a:cubicBezTo>
                      <a:pt x="258" y="369"/>
                      <a:pt x="258" y="369"/>
                      <a:pt x="258" y="369"/>
                    </a:cubicBezTo>
                    <a:cubicBezTo>
                      <a:pt x="259" y="368"/>
                      <a:pt x="259" y="368"/>
                      <a:pt x="259" y="368"/>
                    </a:cubicBezTo>
                    <a:cubicBezTo>
                      <a:pt x="260" y="368"/>
                      <a:pt x="260" y="368"/>
                      <a:pt x="260" y="368"/>
                    </a:cubicBezTo>
                    <a:cubicBezTo>
                      <a:pt x="260" y="367"/>
                      <a:pt x="260" y="367"/>
                      <a:pt x="260" y="367"/>
                    </a:cubicBezTo>
                    <a:cubicBezTo>
                      <a:pt x="263" y="366"/>
                      <a:pt x="263" y="366"/>
                      <a:pt x="263" y="366"/>
                    </a:cubicBezTo>
                    <a:cubicBezTo>
                      <a:pt x="263" y="364"/>
                      <a:pt x="263" y="364"/>
                      <a:pt x="263" y="364"/>
                    </a:cubicBezTo>
                    <a:cubicBezTo>
                      <a:pt x="265" y="362"/>
                      <a:pt x="265" y="362"/>
                      <a:pt x="265" y="362"/>
                    </a:cubicBezTo>
                    <a:cubicBezTo>
                      <a:pt x="267" y="362"/>
                      <a:pt x="267" y="362"/>
                      <a:pt x="267" y="362"/>
                    </a:cubicBezTo>
                    <a:cubicBezTo>
                      <a:pt x="270" y="361"/>
                      <a:pt x="270" y="361"/>
                      <a:pt x="270" y="361"/>
                    </a:cubicBezTo>
                    <a:cubicBezTo>
                      <a:pt x="273" y="358"/>
                      <a:pt x="273" y="358"/>
                      <a:pt x="273" y="358"/>
                    </a:cubicBezTo>
                    <a:cubicBezTo>
                      <a:pt x="272" y="356"/>
                      <a:pt x="272" y="356"/>
                      <a:pt x="272" y="356"/>
                    </a:cubicBezTo>
                    <a:cubicBezTo>
                      <a:pt x="274" y="356"/>
                      <a:pt x="274" y="356"/>
                      <a:pt x="274" y="356"/>
                    </a:cubicBezTo>
                    <a:cubicBezTo>
                      <a:pt x="276" y="354"/>
                      <a:pt x="276" y="354"/>
                      <a:pt x="276" y="354"/>
                    </a:cubicBezTo>
                    <a:cubicBezTo>
                      <a:pt x="278" y="357"/>
                      <a:pt x="278" y="357"/>
                      <a:pt x="278" y="357"/>
                    </a:cubicBezTo>
                    <a:cubicBezTo>
                      <a:pt x="280" y="356"/>
                      <a:pt x="280" y="356"/>
                      <a:pt x="280" y="356"/>
                    </a:cubicBezTo>
                    <a:cubicBezTo>
                      <a:pt x="284" y="357"/>
                      <a:pt x="284" y="357"/>
                      <a:pt x="284" y="357"/>
                    </a:cubicBezTo>
                    <a:cubicBezTo>
                      <a:pt x="285" y="356"/>
                      <a:pt x="285" y="356"/>
                      <a:pt x="285" y="356"/>
                    </a:cubicBezTo>
                    <a:cubicBezTo>
                      <a:pt x="285" y="354"/>
                      <a:pt x="285" y="354"/>
                      <a:pt x="285" y="354"/>
                    </a:cubicBezTo>
                    <a:cubicBezTo>
                      <a:pt x="289" y="352"/>
                      <a:pt x="289" y="352"/>
                      <a:pt x="289" y="352"/>
                    </a:cubicBezTo>
                    <a:cubicBezTo>
                      <a:pt x="290" y="352"/>
                      <a:pt x="290" y="352"/>
                      <a:pt x="290" y="352"/>
                    </a:cubicBezTo>
                    <a:cubicBezTo>
                      <a:pt x="292" y="354"/>
                      <a:pt x="292" y="354"/>
                      <a:pt x="292" y="354"/>
                    </a:cubicBezTo>
                    <a:cubicBezTo>
                      <a:pt x="293" y="354"/>
                      <a:pt x="293" y="354"/>
                      <a:pt x="293" y="354"/>
                    </a:cubicBezTo>
                    <a:cubicBezTo>
                      <a:pt x="293" y="354"/>
                      <a:pt x="293" y="354"/>
                      <a:pt x="293" y="354"/>
                    </a:cubicBezTo>
                    <a:cubicBezTo>
                      <a:pt x="292" y="357"/>
                      <a:pt x="292" y="357"/>
                      <a:pt x="292" y="357"/>
                    </a:cubicBezTo>
                    <a:cubicBezTo>
                      <a:pt x="293" y="359"/>
                      <a:pt x="293" y="359"/>
                      <a:pt x="293" y="359"/>
                    </a:cubicBezTo>
                    <a:cubicBezTo>
                      <a:pt x="294" y="358"/>
                      <a:pt x="294" y="358"/>
                      <a:pt x="294" y="358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296" y="360"/>
                      <a:pt x="296" y="360"/>
                      <a:pt x="296" y="360"/>
                    </a:cubicBezTo>
                    <a:cubicBezTo>
                      <a:pt x="297" y="361"/>
                      <a:pt x="297" y="361"/>
                      <a:pt x="297" y="361"/>
                    </a:cubicBezTo>
                    <a:cubicBezTo>
                      <a:pt x="297" y="363"/>
                      <a:pt x="297" y="363"/>
                      <a:pt x="297" y="363"/>
                    </a:cubicBezTo>
                    <a:cubicBezTo>
                      <a:pt x="295" y="365"/>
                      <a:pt x="295" y="365"/>
                      <a:pt x="295" y="365"/>
                    </a:cubicBezTo>
                    <a:cubicBezTo>
                      <a:pt x="296" y="366"/>
                      <a:pt x="296" y="366"/>
                      <a:pt x="296" y="366"/>
                    </a:cubicBezTo>
                    <a:cubicBezTo>
                      <a:pt x="298" y="367"/>
                      <a:pt x="298" y="367"/>
                      <a:pt x="298" y="367"/>
                    </a:cubicBezTo>
                    <a:cubicBezTo>
                      <a:pt x="299" y="366"/>
                      <a:pt x="299" y="366"/>
                      <a:pt x="299" y="366"/>
                    </a:cubicBezTo>
                    <a:cubicBezTo>
                      <a:pt x="301" y="367"/>
                      <a:pt x="301" y="367"/>
                      <a:pt x="301" y="367"/>
                    </a:cubicBezTo>
                    <a:cubicBezTo>
                      <a:pt x="303" y="369"/>
                      <a:pt x="303" y="369"/>
                      <a:pt x="303" y="369"/>
                    </a:cubicBezTo>
                    <a:cubicBezTo>
                      <a:pt x="302" y="368"/>
                      <a:pt x="302" y="368"/>
                      <a:pt x="302" y="368"/>
                    </a:cubicBezTo>
                    <a:cubicBezTo>
                      <a:pt x="304" y="368"/>
                      <a:pt x="304" y="368"/>
                      <a:pt x="304" y="368"/>
                    </a:cubicBezTo>
                    <a:cubicBezTo>
                      <a:pt x="306" y="369"/>
                      <a:pt x="306" y="369"/>
                      <a:pt x="306" y="369"/>
                    </a:cubicBezTo>
                    <a:cubicBezTo>
                      <a:pt x="308" y="368"/>
                      <a:pt x="308" y="368"/>
                      <a:pt x="308" y="368"/>
                    </a:cubicBezTo>
                    <a:cubicBezTo>
                      <a:pt x="310" y="368"/>
                      <a:pt x="310" y="368"/>
                      <a:pt x="310" y="368"/>
                    </a:cubicBezTo>
                    <a:cubicBezTo>
                      <a:pt x="311" y="370"/>
                      <a:pt x="311" y="370"/>
                      <a:pt x="311" y="370"/>
                    </a:cubicBezTo>
                    <a:cubicBezTo>
                      <a:pt x="313" y="372"/>
                      <a:pt x="313" y="372"/>
                      <a:pt x="313" y="372"/>
                    </a:cubicBezTo>
                    <a:cubicBezTo>
                      <a:pt x="314" y="375"/>
                      <a:pt x="314" y="375"/>
                      <a:pt x="314" y="375"/>
                    </a:cubicBezTo>
                    <a:cubicBezTo>
                      <a:pt x="315" y="375"/>
                      <a:pt x="315" y="375"/>
                      <a:pt x="315" y="375"/>
                    </a:cubicBezTo>
                    <a:cubicBezTo>
                      <a:pt x="317" y="377"/>
                      <a:pt x="317" y="377"/>
                      <a:pt x="317" y="377"/>
                    </a:cubicBezTo>
                    <a:cubicBezTo>
                      <a:pt x="317" y="380"/>
                      <a:pt x="317" y="380"/>
                      <a:pt x="317" y="380"/>
                    </a:cubicBezTo>
                    <a:cubicBezTo>
                      <a:pt x="319" y="383"/>
                      <a:pt x="319" y="383"/>
                      <a:pt x="319" y="383"/>
                    </a:cubicBezTo>
                    <a:cubicBezTo>
                      <a:pt x="319" y="386"/>
                      <a:pt x="319" y="386"/>
                      <a:pt x="319" y="386"/>
                    </a:cubicBezTo>
                    <a:cubicBezTo>
                      <a:pt x="318" y="390"/>
                      <a:pt x="318" y="390"/>
                      <a:pt x="318" y="390"/>
                    </a:cubicBezTo>
                    <a:cubicBezTo>
                      <a:pt x="318" y="392"/>
                      <a:pt x="318" y="392"/>
                      <a:pt x="318" y="392"/>
                    </a:cubicBezTo>
                    <a:cubicBezTo>
                      <a:pt x="318" y="394"/>
                      <a:pt x="318" y="394"/>
                      <a:pt x="318" y="394"/>
                    </a:cubicBezTo>
                    <a:cubicBezTo>
                      <a:pt x="316" y="394"/>
                      <a:pt x="316" y="394"/>
                      <a:pt x="316" y="394"/>
                    </a:cubicBezTo>
                    <a:cubicBezTo>
                      <a:pt x="316" y="396"/>
                      <a:pt x="316" y="396"/>
                      <a:pt x="316" y="396"/>
                    </a:cubicBezTo>
                    <a:cubicBezTo>
                      <a:pt x="315" y="397"/>
                      <a:pt x="315" y="397"/>
                      <a:pt x="315" y="397"/>
                    </a:cubicBezTo>
                    <a:cubicBezTo>
                      <a:pt x="315" y="398"/>
                      <a:pt x="315" y="398"/>
                      <a:pt x="315" y="398"/>
                    </a:cubicBezTo>
                    <a:cubicBezTo>
                      <a:pt x="315" y="400"/>
                      <a:pt x="315" y="400"/>
                      <a:pt x="315" y="400"/>
                    </a:cubicBezTo>
                    <a:cubicBezTo>
                      <a:pt x="315" y="401"/>
                      <a:pt x="315" y="401"/>
                      <a:pt x="315" y="401"/>
                    </a:cubicBezTo>
                    <a:cubicBezTo>
                      <a:pt x="313" y="401"/>
                      <a:pt x="313" y="401"/>
                      <a:pt x="313" y="401"/>
                    </a:cubicBezTo>
                    <a:cubicBezTo>
                      <a:pt x="312" y="402"/>
                      <a:pt x="312" y="402"/>
                      <a:pt x="312" y="402"/>
                    </a:cubicBezTo>
                    <a:cubicBezTo>
                      <a:pt x="311" y="404"/>
                      <a:pt x="311" y="404"/>
                      <a:pt x="311" y="404"/>
                    </a:cubicBezTo>
                    <a:cubicBezTo>
                      <a:pt x="312" y="405"/>
                      <a:pt x="312" y="405"/>
                      <a:pt x="312" y="405"/>
                    </a:cubicBezTo>
                    <a:cubicBezTo>
                      <a:pt x="311" y="406"/>
                      <a:pt x="311" y="406"/>
                      <a:pt x="311" y="406"/>
                    </a:cubicBezTo>
                    <a:cubicBezTo>
                      <a:pt x="311" y="408"/>
                      <a:pt x="311" y="408"/>
                      <a:pt x="311" y="408"/>
                    </a:cubicBezTo>
                    <a:cubicBezTo>
                      <a:pt x="313" y="409"/>
                      <a:pt x="313" y="409"/>
                      <a:pt x="313" y="409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5" y="411"/>
                      <a:pt x="315" y="411"/>
                      <a:pt x="315" y="411"/>
                    </a:cubicBezTo>
                    <a:cubicBezTo>
                      <a:pt x="315" y="414"/>
                      <a:pt x="315" y="414"/>
                      <a:pt x="315" y="414"/>
                    </a:cubicBezTo>
                    <a:cubicBezTo>
                      <a:pt x="316" y="416"/>
                      <a:pt x="316" y="416"/>
                      <a:pt x="316" y="416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22" y="413"/>
                      <a:pt x="322" y="413"/>
                      <a:pt x="322" y="413"/>
                    </a:cubicBezTo>
                    <a:cubicBezTo>
                      <a:pt x="323" y="415"/>
                      <a:pt x="323" y="415"/>
                      <a:pt x="323" y="415"/>
                    </a:cubicBezTo>
                    <a:cubicBezTo>
                      <a:pt x="322" y="416"/>
                      <a:pt x="322" y="416"/>
                      <a:pt x="322" y="416"/>
                    </a:cubicBezTo>
                    <a:cubicBezTo>
                      <a:pt x="323" y="417"/>
                      <a:pt x="323" y="417"/>
                      <a:pt x="323" y="417"/>
                    </a:cubicBezTo>
                    <a:cubicBezTo>
                      <a:pt x="326" y="417"/>
                      <a:pt x="326" y="417"/>
                      <a:pt x="326" y="417"/>
                    </a:cubicBezTo>
                    <a:cubicBezTo>
                      <a:pt x="326" y="418"/>
                      <a:pt x="326" y="418"/>
                      <a:pt x="326" y="418"/>
                    </a:cubicBezTo>
                    <a:cubicBezTo>
                      <a:pt x="326" y="420"/>
                      <a:pt x="326" y="420"/>
                      <a:pt x="326" y="420"/>
                    </a:cubicBezTo>
                    <a:cubicBezTo>
                      <a:pt x="327" y="422"/>
                      <a:pt x="327" y="422"/>
                      <a:pt x="327" y="422"/>
                    </a:cubicBezTo>
                    <a:cubicBezTo>
                      <a:pt x="329" y="422"/>
                      <a:pt x="329" y="422"/>
                      <a:pt x="329" y="422"/>
                    </a:cubicBezTo>
                    <a:cubicBezTo>
                      <a:pt x="329" y="423"/>
                      <a:pt x="329" y="423"/>
                      <a:pt x="329" y="423"/>
                    </a:cubicBezTo>
                    <a:cubicBezTo>
                      <a:pt x="329" y="424"/>
                      <a:pt x="329" y="424"/>
                      <a:pt x="329" y="424"/>
                    </a:cubicBezTo>
                    <a:cubicBezTo>
                      <a:pt x="330" y="424"/>
                      <a:pt x="330" y="424"/>
                      <a:pt x="330" y="424"/>
                    </a:cubicBezTo>
                    <a:cubicBezTo>
                      <a:pt x="333" y="423"/>
                      <a:pt x="333" y="423"/>
                      <a:pt x="333" y="423"/>
                    </a:cubicBezTo>
                    <a:cubicBezTo>
                      <a:pt x="335" y="424"/>
                      <a:pt x="335" y="424"/>
                      <a:pt x="335" y="424"/>
                    </a:cubicBezTo>
                    <a:cubicBezTo>
                      <a:pt x="335" y="426"/>
                      <a:pt x="335" y="426"/>
                      <a:pt x="335" y="426"/>
                    </a:cubicBezTo>
                    <a:cubicBezTo>
                      <a:pt x="334" y="428"/>
                      <a:pt x="334" y="428"/>
                      <a:pt x="334" y="428"/>
                    </a:cubicBezTo>
                    <a:cubicBezTo>
                      <a:pt x="334" y="429"/>
                      <a:pt x="334" y="429"/>
                      <a:pt x="334" y="429"/>
                    </a:cubicBezTo>
                    <a:cubicBezTo>
                      <a:pt x="332" y="432"/>
                      <a:pt x="332" y="432"/>
                      <a:pt x="332" y="432"/>
                    </a:cubicBezTo>
                    <a:cubicBezTo>
                      <a:pt x="330" y="434"/>
                      <a:pt x="330" y="434"/>
                      <a:pt x="330" y="434"/>
                    </a:cubicBezTo>
                    <a:cubicBezTo>
                      <a:pt x="330" y="435"/>
                      <a:pt x="330" y="435"/>
                      <a:pt x="330" y="435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35" y="435"/>
                      <a:pt x="335" y="435"/>
                      <a:pt x="335" y="435"/>
                    </a:cubicBezTo>
                    <a:cubicBezTo>
                      <a:pt x="335" y="436"/>
                      <a:pt x="335" y="436"/>
                      <a:pt x="335" y="436"/>
                    </a:cubicBezTo>
                    <a:cubicBezTo>
                      <a:pt x="337" y="434"/>
                      <a:pt x="337" y="434"/>
                      <a:pt x="337" y="434"/>
                    </a:cubicBezTo>
                    <a:cubicBezTo>
                      <a:pt x="338" y="436"/>
                      <a:pt x="338" y="436"/>
                      <a:pt x="338" y="436"/>
                    </a:cubicBezTo>
                    <a:cubicBezTo>
                      <a:pt x="337" y="439"/>
                      <a:pt x="337" y="439"/>
                      <a:pt x="337" y="439"/>
                    </a:cubicBezTo>
                    <a:cubicBezTo>
                      <a:pt x="338" y="441"/>
                      <a:pt x="338" y="441"/>
                      <a:pt x="338" y="441"/>
                    </a:cubicBezTo>
                    <a:cubicBezTo>
                      <a:pt x="340" y="442"/>
                      <a:pt x="340" y="442"/>
                      <a:pt x="340" y="442"/>
                    </a:cubicBezTo>
                    <a:cubicBezTo>
                      <a:pt x="341" y="440"/>
                      <a:pt x="341" y="440"/>
                      <a:pt x="341" y="440"/>
                    </a:cubicBezTo>
                    <a:cubicBezTo>
                      <a:pt x="344" y="440"/>
                      <a:pt x="344" y="440"/>
                      <a:pt x="344" y="440"/>
                    </a:cubicBezTo>
                    <a:cubicBezTo>
                      <a:pt x="348" y="439"/>
                      <a:pt x="348" y="439"/>
                      <a:pt x="348" y="439"/>
                    </a:cubicBezTo>
                    <a:cubicBezTo>
                      <a:pt x="350" y="439"/>
                      <a:pt x="350" y="439"/>
                      <a:pt x="350" y="439"/>
                    </a:cubicBezTo>
                    <a:cubicBezTo>
                      <a:pt x="350" y="441"/>
                      <a:pt x="350" y="441"/>
                      <a:pt x="350" y="441"/>
                    </a:cubicBezTo>
                    <a:cubicBezTo>
                      <a:pt x="349" y="442"/>
                      <a:pt x="349" y="442"/>
                      <a:pt x="349" y="442"/>
                    </a:cubicBezTo>
                    <a:cubicBezTo>
                      <a:pt x="350" y="443"/>
                      <a:pt x="350" y="443"/>
                      <a:pt x="350" y="443"/>
                    </a:cubicBezTo>
                    <a:cubicBezTo>
                      <a:pt x="351" y="444"/>
                      <a:pt x="351" y="444"/>
                      <a:pt x="351" y="444"/>
                    </a:cubicBezTo>
                    <a:cubicBezTo>
                      <a:pt x="353" y="444"/>
                      <a:pt x="353" y="444"/>
                      <a:pt x="353" y="444"/>
                    </a:cubicBezTo>
                    <a:cubicBezTo>
                      <a:pt x="355" y="444"/>
                      <a:pt x="355" y="444"/>
                      <a:pt x="355" y="444"/>
                    </a:cubicBezTo>
                    <a:cubicBezTo>
                      <a:pt x="355" y="441"/>
                      <a:pt x="355" y="441"/>
                      <a:pt x="355" y="441"/>
                    </a:cubicBezTo>
                    <a:cubicBezTo>
                      <a:pt x="354" y="439"/>
                      <a:pt x="354" y="439"/>
                      <a:pt x="354" y="439"/>
                    </a:cubicBezTo>
                    <a:cubicBezTo>
                      <a:pt x="354" y="437"/>
                      <a:pt x="354" y="437"/>
                      <a:pt x="354" y="437"/>
                    </a:cubicBezTo>
                    <a:cubicBezTo>
                      <a:pt x="354" y="434"/>
                      <a:pt x="354" y="434"/>
                      <a:pt x="354" y="434"/>
                    </a:cubicBezTo>
                    <a:cubicBezTo>
                      <a:pt x="355" y="433"/>
                      <a:pt x="355" y="433"/>
                      <a:pt x="355" y="433"/>
                    </a:cubicBezTo>
                    <a:cubicBezTo>
                      <a:pt x="355" y="431"/>
                      <a:pt x="355" y="431"/>
                      <a:pt x="355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60" y="431"/>
                      <a:pt x="360" y="431"/>
                      <a:pt x="360" y="431"/>
                    </a:cubicBezTo>
                    <a:cubicBezTo>
                      <a:pt x="361" y="430"/>
                      <a:pt x="361" y="430"/>
                      <a:pt x="361" y="430"/>
                    </a:cubicBezTo>
                    <a:cubicBezTo>
                      <a:pt x="362" y="429"/>
                      <a:pt x="362" y="429"/>
                      <a:pt x="362" y="429"/>
                    </a:cubicBezTo>
                    <a:cubicBezTo>
                      <a:pt x="364" y="428"/>
                      <a:pt x="364" y="428"/>
                      <a:pt x="364" y="428"/>
                    </a:cubicBezTo>
                    <a:cubicBezTo>
                      <a:pt x="365" y="428"/>
                      <a:pt x="365" y="428"/>
                      <a:pt x="365" y="428"/>
                    </a:cubicBezTo>
                    <a:cubicBezTo>
                      <a:pt x="365" y="430"/>
                      <a:pt x="365" y="430"/>
                      <a:pt x="365" y="430"/>
                    </a:cubicBezTo>
                    <a:cubicBezTo>
                      <a:pt x="366" y="430"/>
                      <a:pt x="366" y="430"/>
                      <a:pt x="366" y="430"/>
                    </a:cubicBezTo>
                    <a:cubicBezTo>
                      <a:pt x="367" y="430"/>
                      <a:pt x="367" y="430"/>
                      <a:pt x="367" y="430"/>
                    </a:cubicBezTo>
                    <a:cubicBezTo>
                      <a:pt x="367" y="428"/>
                      <a:pt x="367" y="428"/>
                      <a:pt x="367" y="428"/>
                    </a:cubicBezTo>
                    <a:cubicBezTo>
                      <a:pt x="369" y="427"/>
                      <a:pt x="369" y="427"/>
                      <a:pt x="369" y="427"/>
                    </a:cubicBezTo>
                    <a:cubicBezTo>
                      <a:pt x="371" y="429"/>
                      <a:pt x="371" y="429"/>
                      <a:pt x="371" y="429"/>
                    </a:cubicBezTo>
                    <a:cubicBezTo>
                      <a:pt x="372" y="428"/>
                      <a:pt x="372" y="428"/>
                      <a:pt x="372" y="428"/>
                    </a:cubicBezTo>
                    <a:cubicBezTo>
                      <a:pt x="373" y="428"/>
                      <a:pt x="373" y="428"/>
                      <a:pt x="373" y="428"/>
                    </a:cubicBezTo>
                    <a:cubicBezTo>
                      <a:pt x="373" y="429"/>
                      <a:pt x="373" y="429"/>
                      <a:pt x="373" y="429"/>
                    </a:cubicBezTo>
                    <a:cubicBezTo>
                      <a:pt x="376" y="428"/>
                      <a:pt x="376" y="428"/>
                      <a:pt x="376" y="428"/>
                    </a:cubicBezTo>
                    <a:cubicBezTo>
                      <a:pt x="376" y="427"/>
                      <a:pt x="376" y="427"/>
                      <a:pt x="376" y="427"/>
                    </a:cubicBezTo>
                    <a:cubicBezTo>
                      <a:pt x="378" y="426"/>
                      <a:pt x="378" y="426"/>
                      <a:pt x="378" y="426"/>
                    </a:cubicBezTo>
                    <a:cubicBezTo>
                      <a:pt x="380" y="427"/>
                      <a:pt x="380" y="427"/>
                      <a:pt x="380" y="427"/>
                    </a:cubicBezTo>
                    <a:cubicBezTo>
                      <a:pt x="383" y="426"/>
                      <a:pt x="383" y="426"/>
                      <a:pt x="383" y="426"/>
                    </a:cubicBezTo>
                    <a:cubicBezTo>
                      <a:pt x="383" y="423"/>
                      <a:pt x="383" y="423"/>
                      <a:pt x="383" y="423"/>
                    </a:cubicBezTo>
                    <a:cubicBezTo>
                      <a:pt x="385" y="422"/>
                      <a:pt x="385" y="422"/>
                      <a:pt x="385" y="422"/>
                    </a:cubicBezTo>
                    <a:cubicBezTo>
                      <a:pt x="388" y="422"/>
                      <a:pt x="388" y="422"/>
                      <a:pt x="388" y="422"/>
                    </a:cubicBezTo>
                    <a:cubicBezTo>
                      <a:pt x="389" y="420"/>
                      <a:pt x="389" y="420"/>
                      <a:pt x="389" y="420"/>
                    </a:cubicBezTo>
                    <a:cubicBezTo>
                      <a:pt x="391" y="422"/>
                      <a:pt x="391" y="422"/>
                      <a:pt x="391" y="422"/>
                    </a:cubicBezTo>
                    <a:cubicBezTo>
                      <a:pt x="391" y="423"/>
                      <a:pt x="391" y="423"/>
                      <a:pt x="391" y="423"/>
                    </a:cubicBezTo>
                    <a:cubicBezTo>
                      <a:pt x="393" y="424"/>
                      <a:pt x="393" y="424"/>
                      <a:pt x="393" y="424"/>
                    </a:cubicBezTo>
                    <a:cubicBezTo>
                      <a:pt x="394" y="425"/>
                      <a:pt x="394" y="425"/>
                      <a:pt x="394" y="425"/>
                    </a:cubicBezTo>
                    <a:cubicBezTo>
                      <a:pt x="399" y="425"/>
                      <a:pt x="399" y="425"/>
                      <a:pt x="399" y="425"/>
                    </a:cubicBezTo>
                    <a:cubicBezTo>
                      <a:pt x="399" y="426"/>
                      <a:pt x="399" y="426"/>
                      <a:pt x="399" y="426"/>
                    </a:cubicBezTo>
                    <a:cubicBezTo>
                      <a:pt x="402" y="425"/>
                      <a:pt x="402" y="425"/>
                      <a:pt x="402" y="425"/>
                    </a:cubicBezTo>
                    <a:cubicBezTo>
                      <a:pt x="404" y="426"/>
                      <a:pt x="404" y="426"/>
                      <a:pt x="404" y="426"/>
                    </a:cubicBezTo>
                    <a:cubicBezTo>
                      <a:pt x="403" y="428"/>
                      <a:pt x="403" y="428"/>
                      <a:pt x="403" y="428"/>
                    </a:cubicBezTo>
                    <a:cubicBezTo>
                      <a:pt x="402" y="429"/>
                      <a:pt x="402" y="429"/>
                      <a:pt x="402" y="429"/>
                    </a:cubicBezTo>
                    <a:cubicBezTo>
                      <a:pt x="401" y="432"/>
                      <a:pt x="401" y="432"/>
                      <a:pt x="401" y="432"/>
                    </a:cubicBezTo>
                    <a:cubicBezTo>
                      <a:pt x="402" y="433"/>
                      <a:pt x="402" y="433"/>
                      <a:pt x="402" y="433"/>
                    </a:cubicBezTo>
                    <a:cubicBezTo>
                      <a:pt x="403" y="435"/>
                      <a:pt x="403" y="435"/>
                      <a:pt x="403" y="435"/>
                    </a:cubicBezTo>
                    <a:cubicBezTo>
                      <a:pt x="406" y="436"/>
                      <a:pt x="406" y="436"/>
                      <a:pt x="406" y="436"/>
                    </a:cubicBezTo>
                    <a:cubicBezTo>
                      <a:pt x="407" y="437"/>
                      <a:pt x="407" y="437"/>
                      <a:pt x="407" y="437"/>
                    </a:cubicBezTo>
                    <a:cubicBezTo>
                      <a:pt x="409" y="438"/>
                      <a:pt x="409" y="438"/>
                      <a:pt x="409" y="438"/>
                    </a:cubicBezTo>
                    <a:cubicBezTo>
                      <a:pt x="411" y="439"/>
                      <a:pt x="411" y="439"/>
                      <a:pt x="411" y="439"/>
                    </a:cubicBezTo>
                    <a:cubicBezTo>
                      <a:pt x="413" y="439"/>
                      <a:pt x="413" y="439"/>
                      <a:pt x="413" y="439"/>
                    </a:cubicBezTo>
                    <a:cubicBezTo>
                      <a:pt x="414" y="439"/>
                      <a:pt x="414" y="439"/>
                      <a:pt x="414" y="439"/>
                    </a:cubicBezTo>
                    <a:cubicBezTo>
                      <a:pt x="415" y="439"/>
                      <a:pt x="415" y="439"/>
                      <a:pt x="415" y="439"/>
                    </a:cubicBez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7" y="440"/>
                      <a:pt x="417" y="440"/>
                      <a:pt x="417" y="440"/>
                    </a:cubicBezTo>
                    <a:cubicBezTo>
                      <a:pt x="418" y="440"/>
                      <a:pt x="418" y="440"/>
                      <a:pt x="418" y="440"/>
                    </a:cubicBezTo>
                    <a:cubicBezTo>
                      <a:pt x="419" y="440"/>
                      <a:pt x="419" y="440"/>
                      <a:pt x="419" y="440"/>
                    </a:cubicBezTo>
                    <a:cubicBezTo>
                      <a:pt x="421" y="440"/>
                      <a:pt x="421" y="440"/>
                      <a:pt x="421" y="440"/>
                    </a:cubicBezTo>
                    <a:cubicBezTo>
                      <a:pt x="420" y="438"/>
                      <a:pt x="420" y="438"/>
                      <a:pt x="420" y="438"/>
                    </a:cubicBezTo>
                    <a:cubicBezTo>
                      <a:pt x="421" y="437"/>
                      <a:pt x="421" y="437"/>
                      <a:pt x="421" y="437"/>
                    </a:cubicBezTo>
                    <a:cubicBezTo>
                      <a:pt x="422" y="438"/>
                      <a:pt x="422" y="438"/>
                      <a:pt x="422" y="438"/>
                    </a:cubicBezTo>
                    <a:cubicBezTo>
                      <a:pt x="424" y="440"/>
                      <a:pt x="424" y="440"/>
                      <a:pt x="424" y="440"/>
                    </a:cubicBezTo>
                    <a:cubicBezTo>
                      <a:pt x="425" y="440"/>
                      <a:pt x="425" y="440"/>
                      <a:pt x="425" y="440"/>
                    </a:cubicBezTo>
                    <a:cubicBezTo>
                      <a:pt x="427" y="442"/>
                      <a:pt x="427" y="442"/>
                      <a:pt x="427" y="442"/>
                    </a:cubicBezTo>
                    <a:cubicBezTo>
                      <a:pt x="428" y="442"/>
                      <a:pt x="428" y="442"/>
                      <a:pt x="428" y="442"/>
                    </a:cubicBezTo>
                    <a:cubicBezTo>
                      <a:pt x="429" y="442"/>
                      <a:pt x="429" y="442"/>
                      <a:pt x="429" y="442"/>
                    </a:cubicBezTo>
                    <a:cubicBezTo>
                      <a:pt x="430" y="440"/>
                      <a:pt x="430" y="440"/>
                      <a:pt x="430" y="440"/>
                    </a:cubicBezTo>
                    <a:cubicBezTo>
                      <a:pt x="432" y="441"/>
                      <a:pt x="432" y="441"/>
                      <a:pt x="432" y="441"/>
                    </a:cubicBezTo>
                    <a:cubicBezTo>
                      <a:pt x="433" y="441"/>
                      <a:pt x="433" y="441"/>
                      <a:pt x="433" y="441"/>
                    </a:cubicBezTo>
                    <a:cubicBezTo>
                      <a:pt x="434" y="441"/>
                      <a:pt x="434" y="441"/>
                      <a:pt x="434" y="441"/>
                    </a:cubicBezTo>
                    <a:cubicBezTo>
                      <a:pt x="434" y="442"/>
                      <a:pt x="434" y="442"/>
                      <a:pt x="434" y="442"/>
                    </a:cubicBezTo>
                    <a:cubicBezTo>
                      <a:pt x="433" y="442"/>
                      <a:pt x="433" y="442"/>
                      <a:pt x="433" y="442"/>
                    </a:cubicBezTo>
                    <a:cubicBezTo>
                      <a:pt x="432" y="444"/>
                      <a:pt x="432" y="444"/>
                      <a:pt x="432" y="444"/>
                    </a:cubicBezTo>
                    <a:cubicBezTo>
                      <a:pt x="431" y="446"/>
                      <a:pt x="431" y="446"/>
                      <a:pt x="431" y="446"/>
                    </a:cubicBezTo>
                    <a:cubicBezTo>
                      <a:pt x="431" y="447"/>
                      <a:pt x="431" y="447"/>
                      <a:pt x="431" y="447"/>
                    </a:cubicBezTo>
                    <a:cubicBezTo>
                      <a:pt x="433" y="450"/>
                      <a:pt x="433" y="450"/>
                      <a:pt x="433" y="450"/>
                    </a:cubicBezTo>
                    <a:cubicBezTo>
                      <a:pt x="435" y="451"/>
                      <a:pt x="435" y="451"/>
                      <a:pt x="435" y="451"/>
                    </a:cubicBezTo>
                    <a:cubicBezTo>
                      <a:pt x="435" y="452"/>
                      <a:pt x="435" y="452"/>
                      <a:pt x="435" y="452"/>
                    </a:cubicBezTo>
                    <a:cubicBezTo>
                      <a:pt x="435" y="454"/>
                      <a:pt x="435" y="454"/>
                      <a:pt x="435" y="454"/>
                    </a:cubicBezTo>
                    <a:cubicBezTo>
                      <a:pt x="435" y="454"/>
                      <a:pt x="435" y="454"/>
                      <a:pt x="435" y="454"/>
                    </a:cubicBezTo>
                    <a:cubicBezTo>
                      <a:pt x="436" y="452"/>
                      <a:pt x="436" y="452"/>
                      <a:pt x="436" y="452"/>
                    </a:cubicBezTo>
                    <a:cubicBezTo>
                      <a:pt x="438" y="453"/>
                      <a:pt x="438" y="453"/>
                      <a:pt x="438" y="453"/>
                    </a:cubicBezTo>
                    <a:cubicBezTo>
                      <a:pt x="438" y="453"/>
                      <a:pt x="438" y="453"/>
                      <a:pt x="438" y="453"/>
                    </a:cubicBezTo>
                    <a:cubicBezTo>
                      <a:pt x="439" y="453"/>
                      <a:pt x="439" y="453"/>
                      <a:pt x="439" y="453"/>
                    </a:cubicBezTo>
                    <a:cubicBezTo>
                      <a:pt x="441" y="451"/>
                      <a:pt x="441" y="451"/>
                      <a:pt x="441" y="451"/>
                    </a:cubicBezTo>
                    <a:cubicBezTo>
                      <a:pt x="441" y="450"/>
                      <a:pt x="441" y="450"/>
                      <a:pt x="441" y="450"/>
                    </a:cubicBezTo>
                    <a:cubicBezTo>
                      <a:pt x="440" y="450"/>
                      <a:pt x="440" y="450"/>
                      <a:pt x="440" y="450"/>
                    </a:cubicBezTo>
                    <a:cubicBezTo>
                      <a:pt x="440" y="449"/>
                      <a:pt x="440" y="449"/>
                      <a:pt x="440" y="449"/>
                    </a:cubicBezTo>
                    <a:cubicBezTo>
                      <a:pt x="439" y="447"/>
                      <a:pt x="439" y="447"/>
                      <a:pt x="439" y="447"/>
                    </a:cubicBezTo>
                    <a:cubicBezTo>
                      <a:pt x="438" y="447"/>
                      <a:pt x="438" y="447"/>
                      <a:pt x="438" y="447"/>
                    </a:cubicBezTo>
                    <a:cubicBezTo>
                      <a:pt x="437" y="446"/>
                      <a:pt x="437" y="446"/>
                      <a:pt x="437" y="446"/>
                    </a:cubicBezTo>
                    <a:cubicBezTo>
                      <a:pt x="437" y="445"/>
                      <a:pt x="437" y="445"/>
                      <a:pt x="437" y="445"/>
                    </a:cubicBezTo>
                    <a:cubicBezTo>
                      <a:pt x="439" y="444"/>
                      <a:pt x="439" y="444"/>
                      <a:pt x="439" y="444"/>
                    </a:cubicBezTo>
                    <a:cubicBezTo>
                      <a:pt x="439" y="442"/>
                      <a:pt x="439" y="442"/>
                      <a:pt x="439" y="442"/>
                    </a:cubicBezTo>
                    <a:cubicBezTo>
                      <a:pt x="439" y="441"/>
                      <a:pt x="439" y="441"/>
                      <a:pt x="439" y="441"/>
                    </a:cubicBezTo>
                    <a:cubicBezTo>
                      <a:pt x="439" y="441"/>
                      <a:pt x="439" y="441"/>
                      <a:pt x="439" y="441"/>
                    </a:cubicBezTo>
                    <a:cubicBezTo>
                      <a:pt x="440" y="441"/>
                      <a:pt x="440" y="441"/>
                      <a:pt x="440" y="441"/>
                    </a:cubicBezTo>
                    <a:cubicBezTo>
                      <a:pt x="440" y="441"/>
                      <a:pt x="440" y="441"/>
                      <a:pt x="440" y="441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3"/>
                      <a:pt x="441" y="443"/>
                      <a:pt x="441" y="443"/>
                    </a:cubicBezTo>
                    <a:cubicBezTo>
                      <a:pt x="442" y="443"/>
                      <a:pt x="442" y="443"/>
                      <a:pt x="442" y="443"/>
                    </a:cubicBezTo>
                    <a:cubicBezTo>
                      <a:pt x="441" y="443"/>
                      <a:pt x="441" y="443"/>
                      <a:pt x="441" y="443"/>
                    </a:cubicBezTo>
                    <a:cubicBezTo>
                      <a:pt x="442" y="443"/>
                      <a:pt x="442" y="443"/>
                      <a:pt x="442" y="443"/>
                    </a:cubicBezTo>
                    <a:cubicBezTo>
                      <a:pt x="443" y="442"/>
                      <a:pt x="443" y="442"/>
                      <a:pt x="443" y="442"/>
                    </a:cubicBezTo>
                    <a:cubicBezTo>
                      <a:pt x="445" y="442"/>
                      <a:pt x="445" y="442"/>
                      <a:pt x="445" y="442"/>
                    </a:cubicBezTo>
                    <a:cubicBezTo>
                      <a:pt x="445" y="440"/>
                      <a:pt x="445" y="440"/>
                      <a:pt x="445" y="440"/>
                    </a:cubicBezTo>
                    <a:cubicBezTo>
                      <a:pt x="447" y="441"/>
                      <a:pt x="447" y="441"/>
                      <a:pt x="447" y="441"/>
                    </a:cubicBezTo>
                    <a:cubicBezTo>
                      <a:pt x="449" y="440"/>
                      <a:pt x="449" y="440"/>
                      <a:pt x="449" y="440"/>
                    </a:cubicBezTo>
                    <a:cubicBezTo>
                      <a:pt x="451" y="439"/>
                      <a:pt x="451" y="439"/>
                      <a:pt x="451" y="439"/>
                    </a:cubicBezTo>
                    <a:cubicBezTo>
                      <a:pt x="450" y="438"/>
                      <a:pt x="450" y="438"/>
                      <a:pt x="450" y="438"/>
                    </a:cubicBezTo>
                    <a:cubicBezTo>
                      <a:pt x="452" y="438"/>
                      <a:pt x="452" y="438"/>
                      <a:pt x="452" y="438"/>
                    </a:cubicBezTo>
                    <a:cubicBezTo>
                      <a:pt x="454" y="437"/>
                      <a:pt x="454" y="437"/>
                      <a:pt x="454" y="437"/>
                    </a:cubicBezTo>
                    <a:cubicBezTo>
                      <a:pt x="456" y="438"/>
                      <a:pt x="456" y="438"/>
                      <a:pt x="456" y="438"/>
                    </a:cubicBezTo>
                    <a:cubicBezTo>
                      <a:pt x="457" y="438"/>
                      <a:pt x="457" y="438"/>
                      <a:pt x="457" y="438"/>
                    </a:cubicBezTo>
                    <a:cubicBezTo>
                      <a:pt x="459" y="437"/>
                      <a:pt x="459" y="437"/>
                      <a:pt x="459" y="437"/>
                    </a:cubicBezTo>
                    <a:cubicBezTo>
                      <a:pt x="461" y="435"/>
                      <a:pt x="461" y="435"/>
                      <a:pt x="461" y="435"/>
                    </a:cubicBezTo>
                    <a:cubicBezTo>
                      <a:pt x="462" y="433"/>
                      <a:pt x="462" y="433"/>
                      <a:pt x="462" y="433"/>
                    </a:cubicBezTo>
                    <a:cubicBezTo>
                      <a:pt x="462" y="432"/>
                      <a:pt x="462" y="432"/>
                      <a:pt x="462" y="432"/>
                    </a:cubicBezTo>
                    <a:cubicBezTo>
                      <a:pt x="463" y="433"/>
                      <a:pt x="463" y="433"/>
                      <a:pt x="463" y="433"/>
                    </a:cubicBezTo>
                    <a:cubicBezTo>
                      <a:pt x="463" y="433"/>
                      <a:pt x="463" y="433"/>
                      <a:pt x="463" y="433"/>
                    </a:cubicBezTo>
                    <a:cubicBezTo>
                      <a:pt x="464" y="433"/>
                      <a:pt x="464" y="433"/>
                      <a:pt x="464" y="433"/>
                    </a:cubicBezTo>
                    <a:cubicBezTo>
                      <a:pt x="465" y="431"/>
                      <a:pt x="465" y="431"/>
                      <a:pt x="465" y="431"/>
                    </a:cubicBezTo>
                    <a:cubicBezTo>
                      <a:pt x="467" y="430"/>
                      <a:pt x="467" y="430"/>
                      <a:pt x="467" y="430"/>
                    </a:cubicBezTo>
                    <a:cubicBezTo>
                      <a:pt x="466" y="428"/>
                      <a:pt x="466" y="428"/>
                      <a:pt x="466" y="428"/>
                    </a:cubicBezTo>
                    <a:cubicBezTo>
                      <a:pt x="466" y="426"/>
                      <a:pt x="466" y="426"/>
                      <a:pt x="466" y="426"/>
                    </a:cubicBezTo>
                    <a:cubicBezTo>
                      <a:pt x="466" y="425"/>
                      <a:pt x="466" y="425"/>
                      <a:pt x="466" y="425"/>
                    </a:cubicBezTo>
                    <a:cubicBezTo>
                      <a:pt x="466" y="424"/>
                      <a:pt x="466" y="424"/>
                      <a:pt x="466" y="424"/>
                    </a:cubicBezTo>
                    <a:cubicBezTo>
                      <a:pt x="467" y="425"/>
                      <a:pt x="467" y="425"/>
                      <a:pt x="467" y="425"/>
                    </a:cubicBezTo>
                    <a:cubicBezTo>
                      <a:pt x="469" y="426"/>
                      <a:pt x="469" y="426"/>
                      <a:pt x="469" y="426"/>
                    </a:cubicBezTo>
                    <a:cubicBezTo>
                      <a:pt x="469" y="427"/>
                      <a:pt x="469" y="427"/>
                      <a:pt x="469" y="427"/>
                    </a:cubicBezTo>
                    <a:cubicBezTo>
                      <a:pt x="471" y="429"/>
                      <a:pt x="471" y="429"/>
                      <a:pt x="471" y="429"/>
                    </a:cubicBezTo>
                    <a:cubicBezTo>
                      <a:pt x="473" y="429"/>
                      <a:pt x="473" y="429"/>
                      <a:pt x="473" y="429"/>
                    </a:cubicBezTo>
                    <a:cubicBezTo>
                      <a:pt x="472" y="430"/>
                      <a:pt x="472" y="430"/>
                      <a:pt x="472" y="430"/>
                    </a:cubicBezTo>
                    <a:cubicBezTo>
                      <a:pt x="470" y="431"/>
                      <a:pt x="470" y="431"/>
                      <a:pt x="470" y="431"/>
                    </a:cubicBezTo>
                    <a:cubicBezTo>
                      <a:pt x="471" y="432"/>
                      <a:pt x="471" y="432"/>
                      <a:pt x="471" y="43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74" y="428"/>
                      <a:pt x="474" y="428"/>
                      <a:pt x="474" y="428"/>
                    </a:cubicBezTo>
                    <a:cubicBezTo>
                      <a:pt x="476" y="427"/>
                      <a:pt x="476" y="427"/>
                      <a:pt x="476" y="427"/>
                    </a:cubicBezTo>
                    <a:cubicBezTo>
                      <a:pt x="477" y="427"/>
                      <a:pt x="477" y="427"/>
                      <a:pt x="477" y="427"/>
                    </a:cubicBezTo>
                    <a:cubicBezTo>
                      <a:pt x="478" y="427"/>
                      <a:pt x="478" y="427"/>
                      <a:pt x="478" y="427"/>
                    </a:cubicBezTo>
                    <a:cubicBezTo>
                      <a:pt x="480" y="427"/>
                      <a:pt x="480" y="427"/>
                      <a:pt x="480" y="427"/>
                    </a:cubicBezTo>
                    <a:cubicBezTo>
                      <a:pt x="480" y="426"/>
                      <a:pt x="480" y="426"/>
                      <a:pt x="480" y="426"/>
                    </a:cubicBezTo>
                    <a:cubicBezTo>
                      <a:pt x="482" y="425"/>
                      <a:pt x="482" y="425"/>
                      <a:pt x="482" y="425"/>
                    </a:cubicBezTo>
                    <a:cubicBezTo>
                      <a:pt x="482" y="424"/>
                      <a:pt x="482" y="424"/>
                      <a:pt x="482" y="424"/>
                    </a:cubicBezTo>
                    <a:cubicBezTo>
                      <a:pt x="483" y="426"/>
                      <a:pt x="483" y="426"/>
                      <a:pt x="483" y="426"/>
                    </a:cubicBezTo>
                    <a:cubicBezTo>
                      <a:pt x="484" y="427"/>
                      <a:pt x="484" y="427"/>
                      <a:pt x="484" y="427"/>
                    </a:cubicBezTo>
                    <a:cubicBezTo>
                      <a:pt x="485" y="426"/>
                      <a:pt x="485" y="426"/>
                      <a:pt x="485" y="426"/>
                    </a:cubicBezTo>
                    <a:cubicBezTo>
                      <a:pt x="485" y="425"/>
                      <a:pt x="485" y="425"/>
                      <a:pt x="485" y="425"/>
                    </a:cubicBezTo>
                    <a:cubicBezTo>
                      <a:pt x="487" y="425"/>
                      <a:pt x="487" y="425"/>
                      <a:pt x="487" y="425"/>
                    </a:cubicBezTo>
                    <a:cubicBezTo>
                      <a:pt x="487" y="425"/>
                      <a:pt x="487" y="425"/>
                      <a:pt x="487" y="425"/>
                    </a:cubicBezTo>
                    <a:cubicBezTo>
                      <a:pt x="488" y="425"/>
                      <a:pt x="488" y="425"/>
                      <a:pt x="488" y="425"/>
                    </a:cubicBezTo>
                    <a:cubicBezTo>
                      <a:pt x="489" y="424"/>
                      <a:pt x="489" y="424"/>
                      <a:pt x="489" y="424"/>
                    </a:cubicBezTo>
                    <a:cubicBezTo>
                      <a:pt x="491" y="424"/>
                      <a:pt x="491" y="424"/>
                      <a:pt x="491" y="424"/>
                    </a:cubicBezTo>
                    <a:cubicBezTo>
                      <a:pt x="492" y="423"/>
                      <a:pt x="492" y="423"/>
                      <a:pt x="492" y="423"/>
                    </a:cubicBezTo>
                    <a:cubicBezTo>
                      <a:pt x="493" y="422"/>
                      <a:pt x="493" y="422"/>
                      <a:pt x="493" y="422"/>
                    </a:cubicBezTo>
                    <a:cubicBezTo>
                      <a:pt x="493" y="423"/>
                      <a:pt x="493" y="423"/>
                      <a:pt x="493" y="423"/>
                    </a:cubicBezTo>
                    <a:cubicBezTo>
                      <a:pt x="494" y="422"/>
                      <a:pt x="494" y="422"/>
                      <a:pt x="494" y="422"/>
                    </a:cubicBezTo>
                    <a:cubicBezTo>
                      <a:pt x="495" y="423"/>
                      <a:pt x="495" y="423"/>
                      <a:pt x="495" y="423"/>
                    </a:cubicBezTo>
                    <a:cubicBezTo>
                      <a:pt x="496" y="422"/>
                      <a:pt x="496" y="422"/>
                      <a:pt x="496" y="422"/>
                    </a:cubicBezTo>
                    <a:cubicBezTo>
                      <a:pt x="496" y="420"/>
                      <a:pt x="496" y="420"/>
                      <a:pt x="496" y="420"/>
                    </a:cubicBezTo>
                    <a:cubicBezTo>
                      <a:pt x="496" y="419"/>
                      <a:pt x="496" y="419"/>
                      <a:pt x="496" y="419"/>
                    </a:cubicBezTo>
                    <a:cubicBezTo>
                      <a:pt x="497" y="417"/>
                      <a:pt x="497" y="417"/>
                      <a:pt x="497" y="417"/>
                    </a:cubicBezTo>
                    <a:cubicBezTo>
                      <a:pt x="496" y="415"/>
                      <a:pt x="496" y="415"/>
                      <a:pt x="496" y="415"/>
                    </a:cubicBezTo>
                    <a:cubicBezTo>
                      <a:pt x="497" y="415"/>
                      <a:pt x="497" y="415"/>
                      <a:pt x="497" y="415"/>
                    </a:cubicBezTo>
                    <a:cubicBezTo>
                      <a:pt x="498" y="414"/>
                      <a:pt x="498" y="414"/>
                      <a:pt x="498" y="414"/>
                    </a:cubicBezTo>
                    <a:cubicBezTo>
                      <a:pt x="500" y="414"/>
                      <a:pt x="500" y="414"/>
                      <a:pt x="500" y="414"/>
                    </a:cubicBezTo>
                    <a:cubicBezTo>
                      <a:pt x="500" y="415"/>
                      <a:pt x="500" y="415"/>
                      <a:pt x="500" y="415"/>
                    </a:cubicBezTo>
                    <a:cubicBezTo>
                      <a:pt x="502" y="415"/>
                      <a:pt x="502" y="415"/>
                      <a:pt x="502" y="415"/>
                    </a:cubicBezTo>
                    <a:cubicBezTo>
                      <a:pt x="503" y="413"/>
                      <a:pt x="503" y="413"/>
                      <a:pt x="503" y="413"/>
                    </a:cubicBezTo>
                    <a:cubicBezTo>
                      <a:pt x="504" y="413"/>
                      <a:pt x="504" y="413"/>
                      <a:pt x="504" y="413"/>
                    </a:cubicBezTo>
                    <a:cubicBezTo>
                      <a:pt x="504" y="411"/>
                      <a:pt x="504" y="411"/>
                      <a:pt x="504" y="411"/>
                    </a:cubicBezTo>
                    <a:cubicBezTo>
                      <a:pt x="505" y="411"/>
                      <a:pt x="505" y="411"/>
                      <a:pt x="505" y="411"/>
                    </a:cubicBezTo>
                    <a:cubicBezTo>
                      <a:pt x="505" y="412"/>
                      <a:pt x="505" y="412"/>
                      <a:pt x="505" y="412"/>
                    </a:cubicBezTo>
                    <a:cubicBezTo>
                      <a:pt x="506" y="411"/>
                      <a:pt x="506" y="411"/>
                      <a:pt x="506" y="411"/>
                    </a:cubicBezTo>
                    <a:cubicBezTo>
                      <a:pt x="507" y="410"/>
                      <a:pt x="507" y="410"/>
                      <a:pt x="507" y="410"/>
                    </a:cubicBezTo>
                    <a:cubicBezTo>
                      <a:pt x="508" y="411"/>
                      <a:pt x="508" y="411"/>
                      <a:pt x="508" y="411"/>
                    </a:cubicBezTo>
                    <a:cubicBezTo>
                      <a:pt x="508" y="409"/>
                      <a:pt x="508" y="409"/>
                      <a:pt x="508" y="409"/>
                    </a:cubicBezTo>
                    <a:cubicBezTo>
                      <a:pt x="509" y="409"/>
                      <a:pt x="509" y="409"/>
                      <a:pt x="509" y="409"/>
                    </a:cubicBezTo>
                    <a:cubicBezTo>
                      <a:pt x="510" y="407"/>
                      <a:pt x="510" y="407"/>
                      <a:pt x="510" y="407"/>
                    </a:cubicBezTo>
                    <a:cubicBezTo>
                      <a:pt x="508" y="407"/>
                      <a:pt x="508" y="407"/>
                      <a:pt x="508" y="407"/>
                    </a:cubicBezTo>
                    <a:cubicBezTo>
                      <a:pt x="507" y="407"/>
                      <a:pt x="507" y="407"/>
                      <a:pt x="507" y="407"/>
                    </a:cubicBezTo>
                    <a:cubicBezTo>
                      <a:pt x="504" y="406"/>
                      <a:pt x="504" y="406"/>
                      <a:pt x="504" y="406"/>
                    </a:cubicBezTo>
                    <a:cubicBezTo>
                      <a:pt x="508" y="405"/>
                      <a:pt x="508" y="405"/>
                      <a:pt x="508" y="405"/>
                    </a:cubicBezTo>
                    <a:cubicBezTo>
                      <a:pt x="509" y="403"/>
                      <a:pt x="509" y="403"/>
                      <a:pt x="509" y="403"/>
                    </a:cubicBezTo>
                    <a:cubicBezTo>
                      <a:pt x="510" y="404"/>
                      <a:pt x="510" y="404"/>
                      <a:pt x="510" y="404"/>
                    </a:cubicBezTo>
                    <a:cubicBezTo>
                      <a:pt x="511" y="403"/>
                      <a:pt x="511" y="403"/>
                      <a:pt x="511" y="403"/>
                    </a:cubicBezTo>
                    <a:cubicBezTo>
                      <a:pt x="513" y="405"/>
                      <a:pt x="513" y="405"/>
                      <a:pt x="513" y="405"/>
                    </a:cubicBezTo>
                    <a:cubicBezTo>
                      <a:pt x="514" y="403"/>
                      <a:pt x="514" y="403"/>
                      <a:pt x="514" y="403"/>
                    </a:cubicBezTo>
                    <a:cubicBezTo>
                      <a:pt x="513" y="402"/>
                      <a:pt x="513" y="402"/>
                      <a:pt x="513" y="402"/>
                    </a:cubicBezTo>
                    <a:cubicBezTo>
                      <a:pt x="512" y="401"/>
                      <a:pt x="512" y="401"/>
                      <a:pt x="512" y="401"/>
                    </a:cubicBezTo>
                    <a:cubicBezTo>
                      <a:pt x="512" y="400"/>
                      <a:pt x="512" y="400"/>
                      <a:pt x="512" y="400"/>
                    </a:cubicBezTo>
                    <a:cubicBezTo>
                      <a:pt x="514" y="401"/>
                      <a:pt x="514" y="401"/>
                      <a:pt x="514" y="401"/>
                    </a:cubicBezTo>
                    <a:cubicBezTo>
                      <a:pt x="515" y="400"/>
                      <a:pt x="515" y="400"/>
                      <a:pt x="515" y="400"/>
                    </a:cubicBezTo>
                    <a:cubicBezTo>
                      <a:pt x="515" y="399"/>
                      <a:pt x="515" y="399"/>
                      <a:pt x="515" y="399"/>
                    </a:cubicBezTo>
                    <a:cubicBezTo>
                      <a:pt x="514" y="399"/>
                      <a:pt x="514" y="399"/>
                      <a:pt x="514" y="399"/>
                    </a:cubicBezTo>
                    <a:cubicBezTo>
                      <a:pt x="513" y="398"/>
                      <a:pt x="513" y="398"/>
                      <a:pt x="513" y="398"/>
                    </a:cubicBezTo>
                    <a:cubicBezTo>
                      <a:pt x="512" y="397"/>
                      <a:pt x="512" y="397"/>
                      <a:pt x="512" y="397"/>
                    </a:cubicBezTo>
                    <a:cubicBezTo>
                      <a:pt x="514" y="396"/>
                      <a:pt x="514" y="396"/>
                      <a:pt x="514" y="396"/>
                    </a:cubicBezTo>
                    <a:cubicBezTo>
                      <a:pt x="515" y="397"/>
                      <a:pt x="515" y="397"/>
                      <a:pt x="515" y="397"/>
                    </a:cubicBezTo>
                    <a:cubicBezTo>
                      <a:pt x="516" y="397"/>
                      <a:pt x="516" y="397"/>
                      <a:pt x="516" y="397"/>
                    </a:cubicBezTo>
                    <a:cubicBezTo>
                      <a:pt x="516" y="398"/>
                      <a:pt x="516" y="398"/>
                      <a:pt x="516" y="398"/>
                    </a:cubicBezTo>
                    <a:cubicBezTo>
                      <a:pt x="516" y="397"/>
                      <a:pt x="516" y="397"/>
                      <a:pt x="516" y="397"/>
                    </a:cubicBezTo>
                    <a:cubicBezTo>
                      <a:pt x="515" y="395"/>
                      <a:pt x="515" y="395"/>
                      <a:pt x="515" y="395"/>
                    </a:cubicBezTo>
                    <a:cubicBezTo>
                      <a:pt x="515" y="394"/>
                      <a:pt x="515" y="394"/>
                      <a:pt x="515" y="394"/>
                    </a:cubicBezTo>
                    <a:cubicBezTo>
                      <a:pt x="516" y="394"/>
                      <a:pt x="516" y="394"/>
                      <a:pt x="516" y="394"/>
                    </a:cubicBezTo>
                    <a:cubicBezTo>
                      <a:pt x="516" y="393"/>
                      <a:pt x="516" y="393"/>
                      <a:pt x="516" y="393"/>
                    </a:cubicBezTo>
                    <a:cubicBezTo>
                      <a:pt x="518" y="394"/>
                      <a:pt x="518" y="394"/>
                      <a:pt x="518" y="394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9" y="395"/>
                      <a:pt x="519" y="395"/>
                      <a:pt x="519" y="395"/>
                    </a:cubicBezTo>
                    <a:cubicBezTo>
                      <a:pt x="520" y="397"/>
                      <a:pt x="520" y="397"/>
                      <a:pt x="520" y="397"/>
                    </a:cubicBezTo>
                    <a:cubicBezTo>
                      <a:pt x="520" y="395"/>
                      <a:pt x="520" y="395"/>
                      <a:pt x="520" y="395"/>
                    </a:cubicBezTo>
                    <a:cubicBezTo>
                      <a:pt x="519" y="393"/>
                      <a:pt x="519" y="393"/>
                      <a:pt x="519" y="393"/>
                    </a:cubicBezTo>
                    <a:cubicBezTo>
                      <a:pt x="518" y="393"/>
                      <a:pt x="518" y="393"/>
                      <a:pt x="518" y="393"/>
                    </a:cubicBezTo>
                    <a:cubicBezTo>
                      <a:pt x="518" y="392"/>
                      <a:pt x="518" y="392"/>
                      <a:pt x="518" y="392"/>
                    </a:cubicBezTo>
                    <a:cubicBezTo>
                      <a:pt x="519" y="392"/>
                      <a:pt x="519" y="392"/>
                      <a:pt x="519" y="392"/>
                    </a:cubicBezTo>
                    <a:cubicBezTo>
                      <a:pt x="520" y="390"/>
                      <a:pt x="520" y="390"/>
                      <a:pt x="520" y="390"/>
                    </a:cubicBezTo>
                    <a:cubicBezTo>
                      <a:pt x="518" y="390"/>
                      <a:pt x="518" y="390"/>
                      <a:pt x="518" y="390"/>
                    </a:cubicBezTo>
                    <a:cubicBezTo>
                      <a:pt x="520" y="388"/>
                      <a:pt x="520" y="388"/>
                      <a:pt x="520" y="388"/>
                    </a:cubicBezTo>
                    <a:cubicBezTo>
                      <a:pt x="519" y="387"/>
                      <a:pt x="519" y="387"/>
                      <a:pt x="519" y="387"/>
                    </a:cubicBezTo>
                    <a:cubicBezTo>
                      <a:pt x="518" y="387"/>
                      <a:pt x="518" y="387"/>
                      <a:pt x="518" y="387"/>
                    </a:cubicBezTo>
                    <a:cubicBezTo>
                      <a:pt x="517" y="388"/>
                      <a:pt x="517" y="388"/>
                      <a:pt x="517" y="388"/>
                    </a:cubicBezTo>
                    <a:cubicBezTo>
                      <a:pt x="517" y="386"/>
                      <a:pt x="517" y="386"/>
                      <a:pt x="517" y="386"/>
                    </a:cubicBezTo>
                    <a:cubicBezTo>
                      <a:pt x="519" y="385"/>
                      <a:pt x="519" y="385"/>
                      <a:pt x="519" y="385"/>
                    </a:cubicBezTo>
                    <a:cubicBezTo>
                      <a:pt x="522" y="383"/>
                      <a:pt x="522" y="383"/>
                      <a:pt x="522" y="383"/>
                    </a:cubicBezTo>
                    <a:cubicBezTo>
                      <a:pt x="521" y="382"/>
                      <a:pt x="521" y="382"/>
                      <a:pt x="521" y="382"/>
                    </a:cubicBezTo>
                    <a:cubicBezTo>
                      <a:pt x="520" y="383"/>
                      <a:pt x="520" y="383"/>
                      <a:pt x="520" y="383"/>
                    </a:cubicBezTo>
                    <a:cubicBezTo>
                      <a:pt x="518" y="381"/>
                      <a:pt x="518" y="381"/>
                      <a:pt x="518" y="381"/>
                    </a:cubicBezTo>
                    <a:cubicBezTo>
                      <a:pt x="520" y="381"/>
                      <a:pt x="520" y="381"/>
                      <a:pt x="520" y="381"/>
                    </a:cubicBezTo>
                    <a:cubicBezTo>
                      <a:pt x="519" y="379"/>
                      <a:pt x="519" y="379"/>
                      <a:pt x="519" y="379"/>
                    </a:cubicBezTo>
                    <a:cubicBezTo>
                      <a:pt x="517" y="379"/>
                      <a:pt x="517" y="379"/>
                      <a:pt x="517" y="379"/>
                    </a:cubicBezTo>
                    <a:cubicBezTo>
                      <a:pt x="518" y="378"/>
                      <a:pt x="518" y="378"/>
                      <a:pt x="518" y="378"/>
                    </a:cubicBezTo>
                    <a:cubicBezTo>
                      <a:pt x="517" y="377"/>
                      <a:pt x="517" y="377"/>
                      <a:pt x="517" y="377"/>
                    </a:cubicBezTo>
                    <a:cubicBezTo>
                      <a:pt x="519" y="378"/>
                      <a:pt x="519" y="378"/>
                      <a:pt x="519" y="378"/>
                    </a:cubicBezTo>
                    <a:cubicBezTo>
                      <a:pt x="519" y="376"/>
                      <a:pt x="519" y="376"/>
                      <a:pt x="519" y="376"/>
                    </a:cubicBezTo>
                    <a:cubicBezTo>
                      <a:pt x="519" y="376"/>
                      <a:pt x="519" y="376"/>
                      <a:pt x="519" y="376"/>
                    </a:cubicBezTo>
                    <a:cubicBezTo>
                      <a:pt x="521" y="376"/>
                      <a:pt x="521" y="376"/>
                      <a:pt x="521" y="376"/>
                    </a:cubicBezTo>
                    <a:cubicBezTo>
                      <a:pt x="520" y="378"/>
                      <a:pt x="520" y="378"/>
                      <a:pt x="520" y="378"/>
                    </a:cubicBezTo>
                    <a:cubicBezTo>
                      <a:pt x="522" y="378"/>
                      <a:pt x="522" y="378"/>
                      <a:pt x="522" y="378"/>
                    </a:cubicBezTo>
                    <a:cubicBezTo>
                      <a:pt x="524" y="375"/>
                      <a:pt x="524" y="375"/>
                      <a:pt x="524" y="375"/>
                    </a:cubicBezTo>
                    <a:cubicBezTo>
                      <a:pt x="524" y="374"/>
                      <a:pt x="524" y="374"/>
                      <a:pt x="524" y="374"/>
                    </a:cubicBezTo>
                    <a:cubicBezTo>
                      <a:pt x="526" y="374"/>
                      <a:pt x="526" y="374"/>
                      <a:pt x="526" y="374"/>
                    </a:cubicBezTo>
                    <a:cubicBezTo>
                      <a:pt x="525" y="373"/>
                      <a:pt x="525" y="373"/>
                      <a:pt x="525" y="373"/>
                    </a:cubicBezTo>
                    <a:cubicBezTo>
                      <a:pt x="524" y="372"/>
                      <a:pt x="524" y="372"/>
                      <a:pt x="524" y="372"/>
                    </a:cubicBezTo>
                    <a:cubicBezTo>
                      <a:pt x="524" y="371"/>
                      <a:pt x="524" y="371"/>
                      <a:pt x="524" y="371"/>
                    </a:cubicBezTo>
                    <a:cubicBezTo>
                      <a:pt x="525" y="372"/>
                      <a:pt x="525" y="372"/>
                      <a:pt x="525" y="372"/>
                    </a:cubicBezTo>
                    <a:cubicBezTo>
                      <a:pt x="527" y="371"/>
                      <a:pt x="527" y="371"/>
                      <a:pt x="527" y="371"/>
                    </a:cubicBezTo>
                    <a:cubicBezTo>
                      <a:pt x="527" y="370"/>
                      <a:pt x="527" y="370"/>
                      <a:pt x="527" y="370"/>
                    </a:cubicBezTo>
                    <a:cubicBezTo>
                      <a:pt x="528" y="369"/>
                      <a:pt x="528" y="369"/>
                      <a:pt x="528" y="369"/>
                    </a:cubicBezTo>
                    <a:cubicBezTo>
                      <a:pt x="527" y="368"/>
                      <a:pt x="527" y="368"/>
                      <a:pt x="527" y="368"/>
                    </a:cubicBezTo>
                    <a:cubicBezTo>
                      <a:pt x="527" y="366"/>
                      <a:pt x="527" y="366"/>
                      <a:pt x="527" y="366"/>
                    </a:cubicBezTo>
                    <a:cubicBezTo>
                      <a:pt x="528" y="366"/>
                      <a:pt x="528" y="366"/>
                      <a:pt x="528" y="366"/>
                    </a:cubicBezTo>
                    <a:cubicBezTo>
                      <a:pt x="527" y="364"/>
                      <a:pt x="527" y="364"/>
                      <a:pt x="527" y="364"/>
                    </a:cubicBezTo>
                    <a:cubicBezTo>
                      <a:pt x="527" y="363"/>
                      <a:pt x="527" y="363"/>
                      <a:pt x="527" y="363"/>
                    </a:cubicBezTo>
                    <a:cubicBezTo>
                      <a:pt x="525" y="362"/>
                      <a:pt x="525" y="362"/>
                      <a:pt x="525" y="362"/>
                    </a:cubicBezTo>
                    <a:cubicBezTo>
                      <a:pt x="528" y="363"/>
                      <a:pt x="528" y="363"/>
                      <a:pt x="528" y="363"/>
                    </a:cubicBezTo>
                    <a:cubicBezTo>
                      <a:pt x="529" y="362"/>
                      <a:pt x="529" y="362"/>
                      <a:pt x="529" y="362"/>
                    </a:cubicBezTo>
                    <a:cubicBezTo>
                      <a:pt x="531" y="359"/>
                      <a:pt x="531" y="359"/>
                      <a:pt x="531" y="359"/>
                    </a:cubicBezTo>
                    <a:cubicBezTo>
                      <a:pt x="532" y="359"/>
                      <a:pt x="532" y="359"/>
                      <a:pt x="532" y="359"/>
                    </a:cubicBezTo>
                    <a:cubicBezTo>
                      <a:pt x="533" y="360"/>
                      <a:pt x="533" y="360"/>
                      <a:pt x="533" y="360"/>
                    </a:cubicBezTo>
                    <a:cubicBezTo>
                      <a:pt x="533" y="361"/>
                      <a:pt x="533" y="361"/>
                      <a:pt x="533" y="361"/>
                    </a:cubicBezTo>
                    <a:cubicBezTo>
                      <a:pt x="533" y="359"/>
                      <a:pt x="533" y="359"/>
                      <a:pt x="533" y="359"/>
                    </a:cubicBezTo>
                    <a:cubicBezTo>
                      <a:pt x="535" y="358"/>
                      <a:pt x="535" y="358"/>
                      <a:pt x="535" y="358"/>
                    </a:cubicBezTo>
                    <a:cubicBezTo>
                      <a:pt x="534" y="356"/>
                      <a:pt x="534" y="356"/>
                      <a:pt x="534" y="356"/>
                    </a:cubicBezTo>
                    <a:cubicBezTo>
                      <a:pt x="532" y="356"/>
                      <a:pt x="532" y="356"/>
                      <a:pt x="532" y="356"/>
                    </a:cubicBezTo>
                    <a:cubicBezTo>
                      <a:pt x="531" y="355"/>
                      <a:pt x="531" y="355"/>
                      <a:pt x="531" y="355"/>
                    </a:cubicBezTo>
                    <a:cubicBezTo>
                      <a:pt x="532" y="354"/>
                      <a:pt x="532" y="354"/>
                      <a:pt x="532" y="354"/>
                    </a:cubicBezTo>
                    <a:cubicBezTo>
                      <a:pt x="533" y="355"/>
                      <a:pt x="533" y="355"/>
                      <a:pt x="533" y="355"/>
                    </a:cubicBezTo>
                    <a:cubicBezTo>
                      <a:pt x="534" y="354"/>
                      <a:pt x="534" y="354"/>
                      <a:pt x="534" y="354"/>
                    </a:cubicBezTo>
                    <a:cubicBezTo>
                      <a:pt x="533" y="353"/>
                      <a:pt x="533" y="353"/>
                      <a:pt x="533" y="353"/>
                    </a:cubicBezTo>
                    <a:cubicBezTo>
                      <a:pt x="532" y="352"/>
                      <a:pt x="532" y="352"/>
                      <a:pt x="532" y="352"/>
                    </a:cubicBezTo>
                    <a:cubicBezTo>
                      <a:pt x="533" y="351"/>
                      <a:pt x="533" y="351"/>
                      <a:pt x="533" y="351"/>
                    </a:cubicBezTo>
                    <a:cubicBezTo>
                      <a:pt x="534" y="351"/>
                      <a:pt x="534" y="351"/>
                      <a:pt x="534" y="351"/>
                    </a:cubicBezTo>
                    <a:cubicBezTo>
                      <a:pt x="534" y="350"/>
                      <a:pt x="534" y="350"/>
                      <a:pt x="534" y="350"/>
                    </a:cubicBezTo>
                    <a:cubicBezTo>
                      <a:pt x="533" y="349"/>
                      <a:pt x="533" y="349"/>
                      <a:pt x="533" y="349"/>
                    </a:cubicBezTo>
                    <a:cubicBezTo>
                      <a:pt x="530" y="349"/>
                      <a:pt x="530" y="349"/>
                      <a:pt x="530" y="349"/>
                    </a:cubicBezTo>
                    <a:cubicBezTo>
                      <a:pt x="530" y="348"/>
                      <a:pt x="530" y="348"/>
                      <a:pt x="530" y="348"/>
                    </a:cubicBezTo>
                    <a:cubicBezTo>
                      <a:pt x="532" y="347"/>
                      <a:pt x="532" y="347"/>
                      <a:pt x="532" y="347"/>
                    </a:cubicBezTo>
                    <a:cubicBezTo>
                      <a:pt x="534" y="347"/>
                      <a:pt x="534" y="347"/>
                      <a:pt x="534" y="347"/>
                    </a:cubicBezTo>
                    <a:cubicBezTo>
                      <a:pt x="535" y="347"/>
                      <a:pt x="535" y="347"/>
                      <a:pt x="535" y="347"/>
                    </a:cubicBezTo>
                    <a:cubicBezTo>
                      <a:pt x="535" y="346"/>
                      <a:pt x="535" y="346"/>
                      <a:pt x="535" y="346"/>
                    </a:cubicBezTo>
                    <a:cubicBezTo>
                      <a:pt x="536" y="346"/>
                      <a:pt x="536" y="346"/>
                      <a:pt x="536" y="346"/>
                    </a:cubicBezTo>
                    <a:cubicBezTo>
                      <a:pt x="536" y="347"/>
                      <a:pt x="536" y="347"/>
                      <a:pt x="536" y="347"/>
                    </a:cubicBezTo>
                    <a:cubicBezTo>
                      <a:pt x="538" y="346"/>
                      <a:pt x="538" y="346"/>
                      <a:pt x="538" y="346"/>
                    </a:cubicBezTo>
                    <a:cubicBezTo>
                      <a:pt x="537" y="345"/>
                      <a:pt x="537" y="345"/>
                      <a:pt x="537" y="345"/>
                    </a:cubicBezTo>
                    <a:cubicBezTo>
                      <a:pt x="537" y="342"/>
                      <a:pt x="537" y="342"/>
                      <a:pt x="537" y="342"/>
                    </a:cubicBezTo>
                    <a:cubicBezTo>
                      <a:pt x="536" y="341"/>
                      <a:pt x="536" y="341"/>
                      <a:pt x="536" y="341"/>
                    </a:cubicBezTo>
                    <a:cubicBezTo>
                      <a:pt x="534" y="342"/>
                      <a:pt x="534" y="342"/>
                      <a:pt x="534" y="342"/>
                    </a:cubicBezTo>
                    <a:cubicBezTo>
                      <a:pt x="535" y="343"/>
                      <a:pt x="535" y="343"/>
                      <a:pt x="535" y="343"/>
                    </a:cubicBezTo>
                    <a:cubicBezTo>
                      <a:pt x="535" y="344"/>
                      <a:pt x="535" y="344"/>
                      <a:pt x="535" y="344"/>
                    </a:cubicBezTo>
                    <a:cubicBezTo>
                      <a:pt x="533" y="343"/>
                      <a:pt x="533" y="343"/>
                      <a:pt x="533" y="343"/>
                    </a:cubicBezTo>
                    <a:cubicBezTo>
                      <a:pt x="530" y="346"/>
                      <a:pt x="530" y="346"/>
                      <a:pt x="530" y="346"/>
                    </a:cubicBezTo>
                    <a:cubicBezTo>
                      <a:pt x="529" y="345"/>
                      <a:pt x="529" y="345"/>
                      <a:pt x="529" y="345"/>
                    </a:cubicBezTo>
                    <a:cubicBezTo>
                      <a:pt x="529" y="344"/>
                      <a:pt x="529" y="344"/>
                      <a:pt x="529" y="344"/>
                    </a:cubicBezTo>
                    <a:cubicBezTo>
                      <a:pt x="532" y="343"/>
                      <a:pt x="532" y="343"/>
                      <a:pt x="532" y="343"/>
                    </a:cubicBezTo>
                    <a:cubicBezTo>
                      <a:pt x="536" y="339"/>
                      <a:pt x="536" y="339"/>
                      <a:pt x="536" y="339"/>
                    </a:cubicBezTo>
                    <a:cubicBezTo>
                      <a:pt x="536" y="338"/>
                      <a:pt x="536" y="338"/>
                      <a:pt x="536" y="338"/>
                    </a:cubicBezTo>
                    <a:cubicBezTo>
                      <a:pt x="534" y="338"/>
                      <a:pt x="534" y="338"/>
                      <a:pt x="534" y="338"/>
                    </a:cubicBezTo>
                    <a:cubicBezTo>
                      <a:pt x="533" y="337"/>
                      <a:pt x="533" y="337"/>
                      <a:pt x="533" y="337"/>
                    </a:cubicBezTo>
                    <a:cubicBezTo>
                      <a:pt x="532" y="338"/>
                      <a:pt x="532" y="338"/>
                      <a:pt x="532" y="338"/>
                    </a:cubicBezTo>
                    <a:cubicBezTo>
                      <a:pt x="529" y="334"/>
                      <a:pt x="529" y="334"/>
                      <a:pt x="529" y="334"/>
                    </a:cubicBezTo>
                    <a:cubicBezTo>
                      <a:pt x="527" y="334"/>
                      <a:pt x="527" y="334"/>
                      <a:pt x="527" y="334"/>
                    </a:cubicBezTo>
                    <a:cubicBezTo>
                      <a:pt x="524" y="336"/>
                      <a:pt x="524" y="336"/>
                      <a:pt x="524" y="336"/>
                    </a:cubicBezTo>
                    <a:cubicBezTo>
                      <a:pt x="522" y="336"/>
                      <a:pt x="522" y="336"/>
                      <a:pt x="522" y="336"/>
                    </a:cubicBezTo>
                    <a:cubicBezTo>
                      <a:pt x="521" y="333"/>
                      <a:pt x="521" y="333"/>
                      <a:pt x="521" y="333"/>
                    </a:cubicBezTo>
                    <a:cubicBezTo>
                      <a:pt x="519" y="333"/>
                      <a:pt x="519" y="333"/>
                      <a:pt x="519" y="333"/>
                    </a:cubicBezTo>
                    <a:cubicBezTo>
                      <a:pt x="517" y="335"/>
                      <a:pt x="517" y="335"/>
                      <a:pt x="517" y="335"/>
                    </a:cubicBezTo>
                    <a:cubicBezTo>
                      <a:pt x="516" y="337"/>
                      <a:pt x="516" y="337"/>
                      <a:pt x="516" y="337"/>
                    </a:cubicBezTo>
                    <a:cubicBezTo>
                      <a:pt x="516" y="334"/>
                      <a:pt x="516" y="334"/>
                      <a:pt x="516" y="334"/>
                    </a:cubicBezTo>
                    <a:cubicBezTo>
                      <a:pt x="518" y="332"/>
                      <a:pt x="518" y="332"/>
                      <a:pt x="518" y="332"/>
                    </a:cubicBezTo>
                    <a:cubicBezTo>
                      <a:pt x="520" y="332"/>
                      <a:pt x="520" y="332"/>
                      <a:pt x="520" y="332"/>
                    </a:cubicBezTo>
                    <a:cubicBezTo>
                      <a:pt x="521" y="332"/>
                      <a:pt x="521" y="332"/>
                      <a:pt x="521" y="332"/>
                    </a:cubicBezTo>
                    <a:cubicBezTo>
                      <a:pt x="523" y="333"/>
                      <a:pt x="523" y="333"/>
                      <a:pt x="523" y="333"/>
                    </a:cubicBezTo>
                    <a:cubicBezTo>
                      <a:pt x="525" y="332"/>
                      <a:pt x="525" y="332"/>
                      <a:pt x="525" y="332"/>
                    </a:cubicBezTo>
                    <a:cubicBezTo>
                      <a:pt x="525" y="330"/>
                      <a:pt x="525" y="330"/>
                      <a:pt x="525" y="330"/>
                    </a:cubicBezTo>
                    <a:cubicBezTo>
                      <a:pt x="526" y="329"/>
                      <a:pt x="526" y="329"/>
                      <a:pt x="526" y="329"/>
                    </a:cubicBezTo>
                    <a:cubicBezTo>
                      <a:pt x="527" y="329"/>
                      <a:pt x="527" y="329"/>
                      <a:pt x="527" y="329"/>
                    </a:cubicBezTo>
                    <a:cubicBezTo>
                      <a:pt x="530" y="327"/>
                      <a:pt x="530" y="327"/>
                      <a:pt x="530" y="327"/>
                    </a:cubicBezTo>
                    <a:cubicBezTo>
                      <a:pt x="532" y="326"/>
                      <a:pt x="532" y="326"/>
                      <a:pt x="532" y="326"/>
                    </a:cubicBezTo>
                    <a:cubicBezTo>
                      <a:pt x="532" y="325"/>
                      <a:pt x="532" y="325"/>
                      <a:pt x="532" y="325"/>
                    </a:cubicBezTo>
                    <a:cubicBezTo>
                      <a:pt x="530" y="321"/>
                      <a:pt x="530" y="321"/>
                      <a:pt x="530" y="321"/>
                    </a:cubicBezTo>
                    <a:cubicBezTo>
                      <a:pt x="525" y="318"/>
                      <a:pt x="525" y="318"/>
                      <a:pt x="525" y="318"/>
                    </a:cubicBezTo>
                    <a:cubicBezTo>
                      <a:pt x="522" y="316"/>
                      <a:pt x="522" y="316"/>
                      <a:pt x="522" y="316"/>
                    </a:cubicBezTo>
                    <a:cubicBezTo>
                      <a:pt x="518" y="312"/>
                      <a:pt x="518" y="312"/>
                      <a:pt x="518" y="312"/>
                    </a:cubicBezTo>
                    <a:cubicBezTo>
                      <a:pt x="516" y="312"/>
                      <a:pt x="516" y="312"/>
                      <a:pt x="516" y="312"/>
                    </a:cubicBezTo>
                    <a:cubicBezTo>
                      <a:pt x="513" y="314"/>
                      <a:pt x="513" y="314"/>
                      <a:pt x="513" y="314"/>
                    </a:cubicBezTo>
                    <a:cubicBezTo>
                      <a:pt x="511" y="314"/>
                      <a:pt x="511" y="314"/>
                      <a:pt x="511" y="314"/>
                    </a:cubicBezTo>
                    <a:cubicBezTo>
                      <a:pt x="509" y="312"/>
                      <a:pt x="509" y="312"/>
                      <a:pt x="509" y="312"/>
                    </a:cubicBezTo>
                    <a:cubicBezTo>
                      <a:pt x="509" y="311"/>
                      <a:pt x="509" y="311"/>
                      <a:pt x="509" y="311"/>
                    </a:cubicBezTo>
                    <a:cubicBezTo>
                      <a:pt x="508" y="310"/>
                      <a:pt x="508" y="310"/>
                      <a:pt x="508" y="310"/>
                    </a:cubicBezTo>
                    <a:cubicBezTo>
                      <a:pt x="505" y="311"/>
                      <a:pt x="505" y="311"/>
                      <a:pt x="505" y="311"/>
                    </a:cubicBezTo>
                    <a:cubicBezTo>
                      <a:pt x="503" y="311"/>
                      <a:pt x="503" y="311"/>
                      <a:pt x="503" y="311"/>
                    </a:cubicBezTo>
                    <a:cubicBezTo>
                      <a:pt x="501" y="312"/>
                      <a:pt x="501" y="312"/>
                      <a:pt x="501" y="312"/>
                    </a:cubicBezTo>
                    <a:cubicBezTo>
                      <a:pt x="498" y="315"/>
                      <a:pt x="498" y="315"/>
                      <a:pt x="498" y="315"/>
                    </a:cubicBezTo>
                    <a:cubicBezTo>
                      <a:pt x="500" y="310"/>
                      <a:pt x="500" y="310"/>
                      <a:pt x="500" y="310"/>
                    </a:cubicBezTo>
                    <a:cubicBezTo>
                      <a:pt x="502" y="310"/>
                      <a:pt x="502" y="310"/>
                      <a:pt x="502" y="310"/>
                    </a:cubicBezTo>
                    <a:cubicBezTo>
                      <a:pt x="503" y="310"/>
                      <a:pt x="503" y="310"/>
                      <a:pt x="503" y="310"/>
                    </a:cubicBezTo>
                    <a:cubicBezTo>
                      <a:pt x="505" y="310"/>
                      <a:pt x="505" y="310"/>
                      <a:pt x="505" y="310"/>
                    </a:cubicBezTo>
                    <a:cubicBezTo>
                      <a:pt x="505" y="309"/>
                      <a:pt x="505" y="309"/>
                      <a:pt x="505" y="309"/>
                    </a:cubicBezTo>
                    <a:cubicBezTo>
                      <a:pt x="507" y="310"/>
                      <a:pt x="507" y="310"/>
                      <a:pt x="507" y="310"/>
                    </a:cubicBezTo>
                    <a:cubicBezTo>
                      <a:pt x="509" y="309"/>
                      <a:pt x="509" y="309"/>
                      <a:pt x="509" y="309"/>
                    </a:cubicBezTo>
                    <a:cubicBezTo>
                      <a:pt x="510" y="312"/>
                      <a:pt x="510" y="312"/>
                      <a:pt x="510" y="312"/>
                    </a:cubicBezTo>
                    <a:cubicBezTo>
                      <a:pt x="512" y="313"/>
                      <a:pt x="512" y="313"/>
                      <a:pt x="512" y="313"/>
                    </a:cubicBezTo>
                    <a:cubicBezTo>
                      <a:pt x="513" y="313"/>
                      <a:pt x="513" y="313"/>
                      <a:pt x="513" y="313"/>
                    </a:cubicBezTo>
                    <a:cubicBezTo>
                      <a:pt x="515" y="311"/>
                      <a:pt x="515" y="311"/>
                      <a:pt x="515" y="311"/>
                    </a:cubicBezTo>
                    <a:cubicBezTo>
                      <a:pt x="518" y="312"/>
                      <a:pt x="518" y="312"/>
                      <a:pt x="518" y="312"/>
                    </a:cubicBezTo>
                    <a:cubicBezTo>
                      <a:pt x="520" y="313"/>
                      <a:pt x="520" y="313"/>
                      <a:pt x="520" y="313"/>
                    </a:cubicBezTo>
                    <a:cubicBezTo>
                      <a:pt x="521" y="313"/>
                      <a:pt x="521" y="313"/>
                      <a:pt x="521" y="313"/>
                    </a:cubicBezTo>
                    <a:cubicBezTo>
                      <a:pt x="523" y="315"/>
                      <a:pt x="523" y="315"/>
                      <a:pt x="523" y="315"/>
                    </a:cubicBezTo>
                    <a:cubicBezTo>
                      <a:pt x="526" y="314"/>
                      <a:pt x="526" y="314"/>
                      <a:pt x="526" y="314"/>
                    </a:cubicBezTo>
                    <a:cubicBezTo>
                      <a:pt x="530" y="315"/>
                      <a:pt x="530" y="315"/>
                      <a:pt x="530" y="315"/>
                    </a:cubicBezTo>
                    <a:cubicBezTo>
                      <a:pt x="531" y="314"/>
                      <a:pt x="531" y="314"/>
                      <a:pt x="531" y="314"/>
                    </a:cubicBezTo>
                    <a:cubicBezTo>
                      <a:pt x="530" y="312"/>
                      <a:pt x="530" y="312"/>
                      <a:pt x="530" y="312"/>
                    </a:cubicBezTo>
                    <a:cubicBezTo>
                      <a:pt x="528" y="311"/>
                      <a:pt x="528" y="311"/>
                      <a:pt x="528" y="311"/>
                    </a:cubicBezTo>
                    <a:cubicBezTo>
                      <a:pt x="526" y="308"/>
                      <a:pt x="526" y="308"/>
                      <a:pt x="526" y="308"/>
                    </a:cubicBezTo>
                    <a:cubicBezTo>
                      <a:pt x="526" y="307"/>
                      <a:pt x="526" y="307"/>
                      <a:pt x="526" y="307"/>
                    </a:cubicBezTo>
                    <a:cubicBezTo>
                      <a:pt x="525" y="307"/>
                      <a:pt x="525" y="307"/>
                      <a:pt x="525" y="307"/>
                    </a:cubicBezTo>
                    <a:cubicBezTo>
                      <a:pt x="523" y="307"/>
                      <a:pt x="523" y="307"/>
                      <a:pt x="523" y="307"/>
                    </a:cubicBezTo>
                    <a:cubicBezTo>
                      <a:pt x="521" y="306"/>
                      <a:pt x="521" y="306"/>
                      <a:pt x="521" y="306"/>
                    </a:cubicBezTo>
                    <a:cubicBezTo>
                      <a:pt x="519" y="302"/>
                      <a:pt x="519" y="302"/>
                      <a:pt x="519" y="302"/>
                    </a:cubicBezTo>
                    <a:cubicBezTo>
                      <a:pt x="519" y="299"/>
                      <a:pt x="519" y="299"/>
                      <a:pt x="519" y="299"/>
                    </a:cubicBezTo>
                    <a:cubicBezTo>
                      <a:pt x="515" y="297"/>
                      <a:pt x="515" y="297"/>
                      <a:pt x="515" y="297"/>
                    </a:cubicBezTo>
                    <a:cubicBezTo>
                      <a:pt x="515" y="294"/>
                      <a:pt x="515" y="294"/>
                      <a:pt x="515" y="294"/>
                    </a:cubicBezTo>
                    <a:cubicBezTo>
                      <a:pt x="513" y="293"/>
                      <a:pt x="513" y="293"/>
                      <a:pt x="513" y="293"/>
                    </a:cubicBezTo>
                    <a:cubicBezTo>
                      <a:pt x="514" y="291"/>
                      <a:pt x="514" y="291"/>
                      <a:pt x="514" y="291"/>
                    </a:cubicBezTo>
                    <a:cubicBezTo>
                      <a:pt x="513" y="290"/>
                      <a:pt x="513" y="290"/>
                      <a:pt x="513" y="290"/>
                    </a:cubicBezTo>
                    <a:cubicBezTo>
                      <a:pt x="510" y="284"/>
                      <a:pt x="510" y="284"/>
                      <a:pt x="510" y="284"/>
                    </a:cubicBezTo>
                    <a:cubicBezTo>
                      <a:pt x="505" y="282"/>
                      <a:pt x="505" y="282"/>
                      <a:pt x="505" y="282"/>
                    </a:cubicBezTo>
                    <a:cubicBezTo>
                      <a:pt x="504" y="282"/>
                      <a:pt x="504" y="282"/>
                      <a:pt x="504" y="282"/>
                    </a:cubicBezTo>
                    <a:cubicBezTo>
                      <a:pt x="504" y="281"/>
                      <a:pt x="504" y="281"/>
                      <a:pt x="504" y="281"/>
                    </a:cubicBezTo>
                    <a:cubicBezTo>
                      <a:pt x="499" y="279"/>
                      <a:pt x="499" y="279"/>
                      <a:pt x="499" y="279"/>
                    </a:cubicBezTo>
                    <a:cubicBezTo>
                      <a:pt x="498" y="279"/>
                      <a:pt x="498" y="279"/>
                      <a:pt x="498" y="279"/>
                    </a:cubicBezTo>
                    <a:cubicBezTo>
                      <a:pt x="498" y="274"/>
                      <a:pt x="498" y="274"/>
                      <a:pt x="498" y="274"/>
                    </a:cubicBezTo>
                    <a:cubicBezTo>
                      <a:pt x="499" y="270"/>
                      <a:pt x="499" y="270"/>
                      <a:pt x="499" y="270"/>
                    </a:cubicBezTo>
                    <a:cubicBezTo>
                      <a:pt x="498" y="268"/>
                      <a:pt x="498" y="268"/>
                      <a:pt x="498" y="268"/>
                    </a:cubicBezTo>
                    <a:cubicBezTo>
                      <a:pt x="498" y="265"/>
                      <a:pt x="498" y="265"/>
                      <a:pt x="498" y="265"/>
                    </a:cubicBezTo>
                    <a:cubicBezTo>
                      <a:pt x="499" y="266"/>
                      <a:pt x="499" y="266"/>
                      <a:pt x="499" y="266"/>
                    </a:cubicBezTo>
                    <a:cubicBezTo>
                      <a:pt x="500" y="265"/>
                      <a:pt x="500" y="265"/>
                      <a:pt x="500" y="265"/>
                    </a:cubicBezTo>
                    <a:cubicBezTo>
                      <a:pt x="502" y="262"/>
                      <a:pt x="502" y="262"/>
                      <a:pt x="502" y="262"/>
                    </a:cubicBezTo>
                    <a:cubicBezTo>
                      <a:pt x="503" y="263"/>
                      <a:pt x="503" y="263"/>
                      <a:pt x="503" y="263"/>
                    </a:cubicBezTo>
                    <a:cubicBezTo>
                      <a:pt x="505" y="261"/>
                      <a:pt x="505" y="261"/>
                      <a:pt x="505" y="261"/>
                    </a:cubicBezTo>
                    <a:cubicBezTo>
                      <a:pt x="503" y="260"/>
                      <a:pt x="503" y="260"/>
                      <a:pt x="503" y="260"/>
                    </a:cubicBezTo>
                    <a:cubicBezTo>
                      <a:pt x="502" y="258"/>
                      <a:pt x="502" y="258"/>
                      <a:pt x="502" y="258"/>
                    </a:cubicBezTo>
                    <a:cubicBezTo>
                      <a:pt x="504" y="257"/>
                      <a:pt x="504" y="257"/>
                      <a:pt x="504" y="257"/>
                    </a:cubicBezTo>
                    <a:cubicBezTo>
                      <a:pt x="507" y="257"/>
                      <a:pt x="507" y="257"/>
                      <a:pt x="507" y="257"/>
                    </a:cubicBezTo>
                    <a:cubicBezTo>
                      <a:pt x="507" y="255"/>
                      <a:pt x="507" y="255"/>
                      <a:pt x="507" y="255"/>
                    </a:cubicBezTo>
                    <a:cubicBezTo>
                      <a:pt x="509" y="254"/>
                      <a:pt x="509" y="254"/>
                      <a:pt x="509" y="254"/>
                    </a:cubicBezTo>
                    <a:cubicBezTo>
                      <a:pt x="509" y="253"/>
                      <a:pt x="509" y="253"/>
                      <a:pt x="509" y="253"/>
                    </a:cubicBezTo>
                    <a:cubicBezTo>
                      <a:pt x="507" y="251"/>
                      <a:pt x="507" y="251"/>
                      <a:pt x="507" y="251"/>
                    </a:cubicBezTo>
                    <a:cubicBezTo>
                      <a:pt x="509" y="251"/>
                      <a:pt x="509" y="251"/>
                      <a:pt x="509" y="251"/>
                    </a:cubicBezTo>
                    <a:cubicBezTo>
                      <a:pt x="510" y="252"/>
                      <a:pt x="510" y="252"/>
                      <a:pt x="510" y="252"/>
                    </a:cubicBezTo>
                    <a:cubicBezTo>
                      <a:pt x="511" y="251"/>
                      <a:pt x="511" y="251"/>
                      <a:pt x="511" y="251"/>
                    </a:cubicBezTo>
                    <a:cubicBezTo>
                      <a:pt x="513" y="251"/>
                      <a:pt x="513" y="251"/>
                      <a:pt x="513" y="251"/>
                    </a:cubicBezTo>
                    <a:cubicBezTo>
                      <a:pt x="514" y="250"/>
                      <a:pt x="514" y="250"/>
                      <a:pt x="514" y="250"/>
                    </a:cubicBezTo>
                    <a:cubicBezTo>
                      <a:pt x="516" y="250"/>
                      <a:pt x="516" y="250"/>
                      <a:pt x="516" y="250"/>
                    </a:cubicBezTo>
                    <a:cubicBezTo>
                      <a:pt x="518" y="247"/>
                      <a:pt x="518" y="247"/>
                      <a:pt x="518" y="247"/>
                    </a:cubicBezTo>
                    <a:cubicBezTo>
                      <a:pt x="518" y="248"/>
                      <a:pt x="518" y="248"/>
                      <a:pt x="518" y="248"/>
                    </a:cubicBezTo>
                    <a:cubicBezTo>
                      <a:pt x="519" y="247"/>
                      <a:pt x="519" y="247"/>
                      <a:pt x="519" y="247"/>
                    </a:cubicBezTo>
                    <a:cubicBezTo>
                      <a:pt x="519" y="248"/>
                      <a:pt x="519" y="248"/>
                      <a:pt x="519" y="248"/>
                    </a:cubicBezTo>
                    <a:cubicBezTo>
                      <a:pt x="522" y="250"/>
                      <a:pt x="522" y="250"/>
                      <a:pt x="522" y="250"/>
                    </a:cubicBezTo>
                    <a:cubicBezTo>
                      <a:pt x="524" y="248"/>
                      <a:pt x="524" y="248"/>
                      <a:pt x="524" y="248"/>
                    </a:cubicBezTo>
                    <a:cubicBezTo>
                      <a:pt x="524" y="247"/>
                      <a:pt x="524" y="247"/>
                      <a:pt x="524" y="247"/>
                    </a:cubicBezTo>
                    <a:cubicBezTo>
                      <a:pt x="523" y="246"/>
                      <a:pt x="523" y="246"/>
                      <a:pt x="523" y="246"/>
                    </a:cubicBezTo>
                    <a:cubicBezTo>
                      <a:pt x="522" y="244"/>
                      <a:pt x="522" y="244"/>
                      <a:pt x="522" y="244"/>
                    </a:cubicBezTo>
                    <a:cubicBezTo>
                      <a:pt x="524" y="244"/>
                      <a:pt x="524" y="244"/>
                      <a:pt x="524" y="244"/>
                    </a:cubicBezTo>
                    <a:cubicBezTo>
                      <a:pt x="525" y="244"/>
                      <a:pt x="525" y="244"/>
                      <a:pt x="525" y="244"/>
                    </a:cubicBezTo>
                    <a:cubicBezTo>
                      <a:pt x="523" y="241"/>
                      <a:pt x="523" y="241"/>
                      <a:pt x="523" y="241"/>
                    </a:cubicBezTo>
                    <a:cubicBezTo>
                      <a:pt x="523" y="240"/>
                      <a:pt x="523" y="240"/>
                      <a:pt x="523" y="240"/>
                    </a:cubicBezTo>
                    <a:cubicBezTo>
                      <a:pt x="525" y="239"/>
                      <a:pt x="525" y="239"/>
                      <a:pt x="525" y="239"/>
                    </a:cubicBezTo>
                    <a:cubicBezTo>
                      <a:pt x="524" y="239"/>
                      <a:pt x="524" y="239"/>
                      <a:pt x="524" y="239"/>
                    </a:cubicBezTo>
                    <a:cubicBezTo>
                      <a:pt x="522" y="239"/>
                      <a:pt x="522" y="239"/>
                      <a:pt x="522" y="239"/>
                    </a:cubicBezTo>
                    <a:cubicBezTo>
                      <a:pt x="519" y="239"/>
                      <a:pt x="519" y="239"/>
                      <a:pt x="519" y="239"/>
                    </a:cubicBezTo>
                    <a:cubicBezTo>
                      <a:pt x="519" y="239"/>
                      <a:pt x="519" y="239"/>
                      <a:pt x="519" y="239"/>
                    </a:cubicBezTo>
                    <a:cubicBezTo>
                      <a:pt x="517" y="239"/>
                      <a:pt x="517" y="239"/>
                      <a:pt x="517" y="239"/>
                    </a:cubicBezTo>
                    <a:cubicBezTo>
                      <a:pt x="516" y="240"/>
                      <a:pt x="516" y="240"/>
                      <a:pt x="516" y="240"/>
                    </a:cubicBezTo>
                    <a:cubicBezTo>
                      <a:pt x="510" y="240"/>
                      <a:pt x="510" y="240"/>
                      <a:pt x="510" y="240"/>
                    </a:cubicBezTo>
                    <a:cubicBezTo>
                      <a:pt x="509" y="239"/>
                      <a:pt x="509" y="239"/>
                      <a:pt x="509" y="239"/>
                    </a:cubicBezTo>
                    <a:cubicBezTo>
                      <a:pt x="508" y="238"/>
                      <a:pt x="508" y="238"/>
                      <a:pt x="508" y="238"/>
                    </a:cubicBezTo>
                    <a:cubicBezTo>
                      <a:pt x="507" y="236"/>
                      <a:pt x="507" y="236"/>
                      <a:pt x="507" y="236"/>
                    </a:cubicBezTo>
                    <a:cubicBezTo>
                      <a:pt x="506" y="236"/>
                      <a:pt x="506" y="236"/>
                      <a:pt x="506" y="236"/>
                    </a:cubicBezTo>
                    <a:cubicBezTo>
                      <a:pt x="505" y="235"/>
                      <a:pt x="505" y="235"/>
                      <a:pt x="505" y="235"/>
                    </a:cubicBezTo>
                    <a:cubicBezTo>
                      <a:pt x="501" y="237"/>
                      <a:pt x="501" y="237"/>
                      <a:pt x="501" y="237"/>
                    </a:cubicBezTo>
                    <a:cubicBezTo>
                      <a:pt x="498" y="237"/>
                      <a:pt x="498" y="237"/>
                      <a:pt x="498" y="237"/>
                    </a:cubicBezTo>
                    <a:cubicBezTo>
                      <a:pt x="499" y="238"/>
                      <a:pt x="499" y="238"/>
                      <a:pt x="499" y="238"/>
                    </a:cubicBezTo>
                    <a:cubicBezTo>
                      <a:pt x="499" y="240"/>
                      <a:pt x="499" y="240"/>
                      <a:pt x="499" y="240"/>
                    </a:cubicBezTo>
                    <a:cubicBezTo>
                      <a:pt x="498" y="241"/>
                      <a:pt x="498" y="241"/>
                      <a:pt x="498" y="241"/>
                    </a:cubicBezTo>
                    <a:cubicBezTo>
                      <a:pt x="495" y="242"/>
                      <a:pt x="495" y="242"/>
                      <a:pt x="495" y="242"/>
                    </a:cubicBezTo>
                    <a:cubicBezTo>
                      <a:pt x="496" y="242"/>
                      <a:pt x="496" y="242"/>
                      <a:pt x="496" y="242"/>
                    </a:cubicBezTo>
                    <a:cubicBezTo>
                      <a:pt x="496" y="243"/>
                      <a:pt x="496" y="243"/>
                      <a:pt x="496" y="243"/>
                    </a:cubicBezTo>
                    <a:cubicBezTo>
                      <a:pt x="495" y="245"/>
                      <a:pt x="495" y="245"/>
                      <a:pt x="495" y="245"/>
                    </a:cubicBezTo>
                    <a:cubicBezTo>
                      <a:pt x="495" y="246"/>
                      <a:pt x="495" y="246"/>
                      <a:pt x="495" y="246"/>
                    </a:cubicBezTo>
                    <a:cubicBezTo>
                      <a:pt x="493" y="245"/>
                      <a:pt x="493" y="245"/>
                      <a:pt x="493" y="245"/>
                    </a:cubicBezTo>
                    <a:cubicBezTo>
                      <a:pt x="491" y="247"/>
                      <a:pt x="491" y="247"/>
                      <a:pt x="491" y="247"/>
                    </a:cubicBezTo>
                    <a:cubicBezTo>
                      <a:pt x="488" y="246"/>
                      <a:pt x="488" y="246"/>
                      <a:pt x="488" y="246"/>
                    </a:cubicBezTo>
                    <a:cubicBezTo>
                      <a:pt x="486" y="241"/>
                      <a:pt x="486" y="241"/>
                      <a:pt x="486" y="241"/>
                    </a:cubicBezTo>
                    <a:cubicBezTo>
                      <a:pt x="486" y="239"/>
                      <a:pt x="486" y="239"/>
                      <a:pt x="486" y="239"/>
                    </a:cubicBezTo>
                    <a:cubicBezTo>
                      <a:pt x="485" y="237"/>
                      <a:pt x="485" y="237"/>
                      <a:pt x="485" y="237"/>
                    </a:cubicBezTo>
                    <a:cubicBezTo>
                      <a:pt x="483" y="237"/>
                      <a:pt x="483" y="237"/>
                      <a:pt x="483" y="237"/>
                    </a:cubicBezTo>
                    <a:cubicBezTo>
                      <a:pt x="482" y="237"/>
                      <a:pt x="482" y="237"/>
                      <a:pt x="482" y="237"/>
                    </a:cubicBezTo>
                    <a:cubicBezTo>
                      <a:pt x="481" y="236"/>
                      <a:pt x="481" y="236"/>
                      <a:pt x="481" y="236"/>
                    </a:cubicBezTo>
                    <a:cubicBezTo>
                      <a:pt x="480" y="236"/>
                      <a:pt x="480" y="236"/>
                      <a:pt x="480" y="236"/>
                    </a:cubicBezTo>
                    <a:cubicBezTo>
                      <a:pt x="480" y="238"/>
                      <a:pt x="480" y="238"/>
                      <a:pt x="480" y="238"/>
                    </a:cubicBezTo>
                    <a:cubicBezTo>
                      <a:pt x="479" y="236"/>
                      <a:pt x="479" y="236"/>
                      <a:pt x="479" y="236"/>
                    </a:cubicBezTo>
                    <a:cubicBezTo>
                      <a:pt x="479" y="237"/>
                      <a:pt x="479" y="237"/>
                      <a:pt x="479" y="237"/>
                    </a:cubicBezTo>
                    <a:cubicBezTo>
                      <a:pt x="477" y="235"/>
                      <a:pt x="477" y="235"/>
                      <a:pt x="477" y="235"/>
                    </a:cubicBezTo>
                    <a:cubicBezTo>
                      <a:pt x="477" y="234"/>
                      <a:pt x="477" y="234"/>
                      <a:pt x="477" y="234"/>
                    </a:cubicBezTo>
                    <a:cubicBezTo>
                      <a:pt x="474" y="231"/>
                      <a:pt x="474" y="231"/>
                      <a:pt x="474" y="231"/>
                    </a:cubicBezTo>
                    <a:cubicBezTo>
                      <a:pt x="472" y="230"/>
                      <a:pt x="472" y="230"/>
                      <a:pt x="472" y="230"/>
                    </a:cubicBezTo>
                    <a:cubicBezTo>
                      <a:pt x="472" y="228"/>
                      <a:pt x="472" y="228"/>
                      <a:pt x="472" y="228"/>
                    </a:cubicBezTo>
                    <a:cubicBezTo>
                      <a:pt x="470" y="226"/>
                      <a:pt x="470" y="226"/>
                      <a:pt x="470" y="226"/>
                    </a:cubicBezTo>
                    <a:cubicBezTo>
                      <a:pt x="471" y="225"/>
                      <a:pt x="471" y="225"/>
                      <a:pt x="471" y="225"/>
                    </a:cubicBezTo>
                    <a:cubicBezTo>
                      <a:pt x="471" y="224"/>
                      <a:pt x="471" y="224"/>
                      <a:pt x="471" y="224"/>
                    </a:cubicBezTo>
                    <a:cubicBezTo>
                      <a:pt x="472" y="223"/>
                      <a:pt x="472" y="223"/>
                      <a:pt x="472" y="223"/>
                    </a:cubicBezTo>
                    <a:cubicBezTo>
                      <a:pt x="472" y="221"/>
                      <a:pt x="472" y="221"/>
                      <a:pt x="472" y="221"/>
                    </a:cubicBezTo>
                    <a:cubicBezTo>
                      <a:pt x="473" y="220"/>
                      <a:pt x="473" y="220"/>
                      <a:pt x="473" y="220"/>
                    </a:cubicBezTo>
                    <a:cubicBezTo>
                      <a:pt x="473" y="219"/>
                      <a:pt x="473" y="219"/>
                      <a:pt x="473" y="219"/>
                    </a:cubicBezTo>
                    <a:cubicBezTo>
                      <a:pt x="477" y="220"/>
                      <a:pt x="477" y="220"/>
                      <a:pt x="477" y="220"/>
                    </a:cubicBezTo>
                    <a:cubicBezTo>
                      <a:pt x="480" y="220"/>
                      <a:pt x="480" y="220"/>
                      <a:pt x="480" y="220"/>
                    </a:cubicBezTo>
                    <a:cubicBezTo>
                      <a:pt x="482" y="220"/>
                      <a:pt x="482" y="220"/>
                      <a:pt x="482" y="220"/>
                    </a:cubicBezTo>
                    <a:cubicBezTo>
                      <a:pt x="483" y="218"/>
                      <a:pt x="483" y="218"/>
                      <a:pt x="483" y="218"/>
                    </a:cubicBezTo>
                    <a:cubicBezTo>
                      <a:pt x="483" y="217"/>
                      <a:pt x="483" y="217"/>
                      <a:pt x="483" y="217"/>
                    </a:cubicBezTo>
                    <a:cubicBezTo>
                      <a:pt x="484" y="217"/>
                      <a:pt x="484" y="217"/>
                      <a:pt x="484" y="217"/>
                    </a:cubicBezTo>
                    <a:cubicBezTo>
                      <a:pt x="484" y="215"/>
                      <a:pt x="484" y="215"/>
                      <a:pt x="484" y="215"/>
                    </a:cubicBezTo>
                    <a:cubicBezTo>
                      <a:pt x="483" y="214"/>
                      <a:pt x="483" y="214"/>
                      <a:pt x="483" y="214"/>
                    </a:cubicBezTo>
                    <a:cubicBezTo>
                      <a:pt x="484" y="213"/>
                      <a:pt x="484" y="213"/>
                      <a:pt x="484" y="213"/>
                    </a:cubicBezTo>
                    <a:cubicBezTo>
                      <a:pt x="485" y="208"/>
                      <a:pt x="485" y="208"/>
                      <a:pt x="485" y="208"/>
                    </a:cubicBezTo>
                    <a:cubicBezTo>
                      <a:pt x="489" y="206"/>
                      <a:pt x="489" y="206"/>
                      <a:pt x="489" y="206"/>
                    </a:cubicBezTo>
                    <a:cubicBezTo>
                      <a:pt x="491" y="206"/>
                      <a:pt x="491" y="206"/>
                      <a:pt x="491" y="206"/>
                    </a:cubicBezTo>
                    <a:cubicBezTo>
                      <a:pt x="492" y="203"/>
                      <a:pt x="492" y="203"/>
                      <a:pt x="492" y="203"/>
                    </a:cubicBezTo>
                    <a:cubicBezTo>
                      <a:pt x="493" y="203"/>
                      <a:pt x="493" y="203"/>
                      <a:pt x="493" y="203"/>
                    </a:cubicBezTo>
                    <a:cubicBezTo>
                      <a:pt x="493" y="199"/>
                      <a:pt x="493" y="199"/>
                      <a:pt x="493" y="199"/>
                    </a:cubicBezTo>
                    <a:cubicBezTo>
                      <a:pt x="495" y="197"/>
                      <a:pt x="495" y="197"/>
                      <a:pt x="495" y="197"/>
                    </a:cubicBezTo>
                    <a:cubicBezTo>
                      <a:pt x="496" y="195"/>
                      <a:pt x="496" y="195"/>
                      <a:pt x="496" y="195"/>
                    </a:cubicBezTo>
                    <a:cubicBezTo>
                      <a:pt x="496" y="194"/>
                      <a:pt x="496" y="194"/>
                      <a:pt x="496" y="194"/>
                    </a:cubicBezTo>
                    <a:cubicBezTo>
                      <a:pt x="498" y="192"/>
                      <a:pt x="498" y="192"/>
                      <a:pt x="498" y="192"/>
                    </a:cubicBezTo>
                    <a:cubicBezTo>
                      <a:pt x="500" y="192"/>
                      <a:pt x="500" y="192"/>
                      <a:pt x="500" y="192"/>
                    </a:cubicBezTo>
                    <a:cubicBezTo>
                      <a:pt x="501" y="192"/>
                      <a:pt x="501" y="192"/>
                      <a:pt x="501" y="192"/>
                    </a:cubicBezTo>
                    <a:cubicBezTo>
                      <a:pt x="502" y="192"/>
                      <a:pt x="502" y="192"/>
                      <a:pt x="502" y="192"/>
                    </a:cubicBezTo>
                    <a:cubicBezTo>
                      <a:pt x="503" y="191"/>
                      <a:pt x="503" y="191"/>
                      <a:pt x="503" y="191"/>
                    </a:cubicBezTo>
                    <a:cubicBezTo>
                      <a:pt x="506" y="194"/>
                      <a:pt x="506" y="194"/>
                      <a:pt x="506" y="194"/>
                    </a:cubicBezTo>
                    <a:cubicBezTo>
                      <a:pt x="510" y="197"/>
                      <a:pt x="510" y="197"/>
                      <a:pt x="510" y="197"/>
                    </a:cubicBezTo>
                    <a:cubicBezTo>
                      <a:pt x="511" y="198"/>
                      <a:pt x="511" y="198"/>
                      <a:pt x="511" y="198"/>
                    </a:cubicBezTo>
                    <a:cubicBezTo>
                      <a:pt x="510" y="199"/>
                      <a:pt x="510" y="199"/>
                      <a:pt x="510" y="199"/>
                    </a:cubicBezTo>
                    <a:cubicBezTo>
                      <a:pt x="509" y="200"/>
                      <a:pt x="509" y="200"/>
                      <a:pt x="509" y="200"/>
                    </a:cubicBezTo>
                    <a:cubicBezTo>
                      <a:pt x="507" y="203"/>
                      <a:pt x="507" y="203"/>
                      <a:pt x="507" y="203"/>
                    </a:cubicBezTo>
                    <a:cubicBezTo>
                      <a:pt x="507" y="206"/>
                      <a:pt x="507" y="206"/>
                      <a:pt x="507" y="206"/>
                    </a:cubicBezTo>
                    <a:cubicBezTo>
                      <a:pt x="505" y="206"/>
                      <a:pt x="505" y="206"/>
                      <a:pt x="505" y="206"/>
                    </a:cubicBezTo>
                    <a:cubicBezTo>
                      <a:pt x="505" y="206"/>
                      <a:pt x="505" y="206"/>
                      <a:pt x="505" y="206"/>
                    </a:cubicBezTo>
                    <a:cubicBezTo>
                      <a:pt x="505" y="209"/>
                      <a:pt x="505" y="209"/>
                      <a:pt x="505" y="209"/>
                    </a:cubicBezTo>
                    <a:cubicBezTo>
                      <a:pt x="507" y="211"/>
                      <a:pt x="507" y="211"/>
                      <a:pt x="507" y="211"/>
                    </a:cubicBezTo>
                    <a:cubicBezTo>
                      <a:pt x="507" y="213"/>
                      <a:pt x="507" y="213"/>
                      <a:pt x="507" y="213"/>
                    </a:cubicBezTo>
                    <a:cubicBezTo>
                      <a:pt x="506" y="213"/>
                      <a:pt x="506" y="213"/>
                      <a:pt x="506" y="213"/>
                    </a:cubicBezTo>
                    <a:cubicBezTo>
                      <a:pt x="506" y="214"/>
                      <a:pt x="506" y="214"/>
                      <a:pt x="506" y="214"/>
                    </a:cubicBezTo>
                    <a:cubicBezTo>
                      <a:pt x="507" y="215"/>
                      <a:pt x="507" y="215"/>
                      <a:pt x="507" y="215"/>
                    </a:cubicBezTo>
                    <a:cubicBezTo>
                      <a:pt x="509" y="214"/>
                      <a:pt x="509" y="214"/>
                      <a:pt x="509" y="214"/>
                    </a:cubicBezTo>
                    <a:cubicBezTo>
                      <a:pt x="511" y="213"/>
                      <a:pt x="511" y="213"/>
                      <a:pt x="511" y="213"/>
                    </a:cubicBezTo>
                    <a:cubicBezTo>
                      <a:pt x="510" y="214"/>
                      <a:pt x="510" y="214"/>
                      <a:pt x="510" y="214"/>
                    </a:cubicBezTo>
                    <a:cubicBezTo>
                      <a:pt x="508" y="216"/>
                      <a:pt x="508" y="216"/>
                      <a:pt x="508" y="216"/>
                    </a:cubicBezTo>
                    <a:cubicBezTo>
                      <a:pt x="509" y="217"/>
                      <a:pt x="509" y="217"/>
                      <a:pt x="509" y="217"/>
                    </a:cubicBezTo>
                    <a:cubicBezTo>
                      <a:pt x="510" y="217"/>
                      <a:pt x="510" y="217"/>
                      <a:pt x="510" y="217"/>
                    </a:cubicBezTo>
                    <a:cubicBezTo>
                      <a:pt x="510" y="218"/>
                      <a:pt x="510" y="218"/>
                      <a:pt x="510" y="218"/>
                    </a:cubicBezTo>
                    <a:cubicBezTo>
                      <a:pt x="509" y="219"/>
                      <a:pt x="509" y="219"/>
                      <a:pt x="509" y="219"/>
                    </a:cubicBezTo>
                    <a:cubicBezTo>
                      <a:pt x="507" y="218"/>
                      <a:pt x="507" y="218"/>
                      <a:pt x="507" y="218"/>
                    </a:cubicBezTo>
                    <a:cubicBezTo>
                      <a:pt x="506" y="220"/>
                      <a:pt x="506" y="220"/>
                      <a:pt x="506" y="220"/>
                    </a:cubicBezTo>
                    <a:cubicBezTo>
                      <a:pt x="504" y="220"/>
                      <a:pt x="504" y="220"/>
                      <a:pt x="504" y="220"/>
                    </a:cubicBezTo>
                    <a:cubicBezTo>
                      <a:pt x="503" y="221"/>
                      <a:pt x="503" y="221"/>
                      <a:pt x="503" y="221"/>
                    </a:cubicBezTo>
                    <a:cubicBezTo>
                      <a:pt x="505" y="222"/>
                      <a:pt x="505" y="222"/>
                      <a:pt x="505" y="222"/>
                    </a:cubicBezTo>
                    <a:cubicBezTo>
                      <a:pt x="505" y="224"/>
                      <a:pt x="505" y="224"/>
                      <a:pt x="505" y="224"/>
                    </a:cubicBezTo>
                    <a:cubicBezTo>
                      <a:pt x="506" y="224"/>
                      <a:pt x="506" y="224"/>
                      <a:pt x="506" y="224"/>
                    </a:cubicBezTo>
                    <a:cubicBezTo>
                      <a:pt x="507" y="222"/>
                      <a:pt x="507" y="222"/>
                      <a:pt x="507" y="222"/>
                    </a:cubicBezTo>
                    <a:cubicBezTo>
                      <a:pt x="509" y="222"/>
                      <a:pt x="509" y="222"/>
                      <a:pt x="509" y="222"/>
                    </a:cubicBezTo>
                    <a:cubicBezTo>
                      <a:pt x="510" y="220"/>
                      <a:pt x="510" y="220"/>
                      <a:pt x="510" y="220"/>
                    </a:cubicBezTo>
                    <a:cubicBezTo>
                      <a:pt x="513" y="219"/>
                      <a:pt x="513" y="219"/>
                      <a:pt x="513" y="219"/>
                    </a:cubicBezTo>
                    <a:cubicBezTo>
                      <a:pt x="513" y="218"/>
                      <a:pt x="513" y="218"/>
                      <a:pt x="513" y="218"/>
                    </a:cubicBezTo>
                    <a:cubicBezTo>
                      <a:pt x="512" y="216"/>
                      <a:pt x="512" y="216"/>
                      <a:pt x="512" y="216"/>
                    </a:cubicBezTo>
                    <a:cubicBezTo>
                      <a:pt x="515" y="214"/>
                      <a:pt x="515" y="214"/>
                      <a:pt x="515" y="214"/>
                    </a:cubicBezTo>
                    <a:cubicBezTo>
                      <a:pt x="519" y="211"/>
                      <a:pt x="519" y="211"/>
                      <a:pt x="519" y="211"/>
                    </a:cubicBezTo>
                    <a:cubicBezTo>
                      <a:pt x="520" y="211"/>
                      <a:pt x="520" y="211"/>
                      <a:pt x="520" y="211"/>
                    </a:cubicBezTo>
                    <a:cubicBezTo>
                      <a:pt x="521" y="209"/>
                      <a:pt x="521" y="209"/>
                      <a:pt x="521" y="209"/>
                    </a:cubicBezTo>
                    <a:cubicBezTo>
                      <a:pt x="523" y="209"/>
                      <a:pt x="523" y="209"/>
                      <a:pt x="523" y="209"/>
                    </a:cubicBezTo>
                    <a:cubicBezTo>
                      <a:pt x="525" y="207"/>
                      <a:pt x="525" y="207"/>
                      <a:pt x="525" y="207"/>
                    </a:cubicBezTo>
                    <a:cubicBezTo>
                      <a:pt x="526" y="208"/>
                      <a:pt x="526" y="208"/>
                      <a:pt x="526" y="208"/>
                    </a:cubicBezTo>
                    <a:cubicBezTo>
                      <a:pt x="527" y="207"/>
                      <a:pt x="527" y="207"/>
                      <a:pt x="527" y="207"/>
                    </a:cubicBezTo>
                    <a:cubicBezTo>
                      <a:pt x="530" y="207"/>
                      <a:pt x="530" y="207"/>
                      <a:pt x="530" y="207"/>
                    </a:cubicBezTo>
                    <a:cubicBezTo>
                      <a:pt x="532" y="204"/>
                      <a:pt x="532" y="204"/>
                      <a:pt x="532" y="204"/>
                    </a:cubicBezTo>
                    <a:cubicBezTo>
                      <a:pt x="533" y="206"/>
                      <a:pt x="533" y="206"/>
                      <a:pt x="533" y="206"/>
                    </a:cubicBezTo>
                    <a:cubicBezTo>
                      <a:pt x="533" y="200"/>
                      <a:pt x="533" y="200"/>
                      <a:pt x="533" y="200"/>
                    </a:cubicBezTo>
                    <a:cubicBezTo>
                      <a:pt x="536" y="198"/>
                      <a:pt x="536" y="198"/>
                      <a:pt x="536" y="198"/>
                    </a:cubicBezTo>
                    <a:cubicBezTo>
                      <a:pt x="537" y="195"/>
                      <a:pt x="537" y="195"/>
                      <a:pt x="537" y="195"/>
                    </a:cubicBezTo>
                    <a:cubicBezTo>
                      <a:pt x="537" y="194"/>
                      <a:pt x="537" y="194"/>
                      <a:pt x="537" y="194"/>
                    </a:cubicBezTo>
                    <a:cubicBezTo>
                      <a:pt x="539" y="192"/>
                      <a:pt x="539" y="192"/>
                      <a:pt x="539" y="192"/>
                    </a:cubicBezTo>
                    <a:cubicBezTo>
                      <a:pt x="541" y="189"/>
                      <a:pt x="541" y="189"/>
                      <a:pt x="541" y="189"/>
                    </a:cubicBezTo>
                    <a:cubicBezTo>
                      <a:pt x="543" y="188"/>
                      <a:pt x="543" y="188"/>
                      <a:pt x="543" y="188"/>
                    </a:cubicBezTo>
                    <a:cubicBezTo>
                      <a:pt x="544" y="183"/>
                      <a:pt x="544" y="183"/>
                      <a:pt x="544" y="183"/>
                    </a:cubicBezTo>
                    <a:cubicBezTo>
                      <a:pt x="545" y="181"/>
                      <a:pt x="545" y="181"/>
                      <a:pt x="545" y="181"/>
                    </a:cubicBezTo>
                    <a:cubicBezTo>
                      <a:pt x="545" y="180"/>
                      <a:pt x="545" y="180"/>
                      <a:pt x="545" y="180"/>
                    </a:cubicBezTo>
                    <a:cubicBezTo>
                      <a:pt x="545" y="177"/>
                      <a:pt x="545" y="177"/>
                      <a:pt x="545" y="177"/>
                    </a:cubicBezTo>
                    <a:cubicBezTo>
                      <a:pt x="547" y="175"/>
                      <a:pt x="547" y="175"/>
                      <a:pt x="547" y="175"/>
                    </a:cubicBezTo>
                    <a:cubicBezTo>
                      <a:pt x="549" y="178"/>
                      <a:pt x="549" y="178"/>
                      <a:pt x="549" y="178"/>
                    </a:cubicBezTo>
                    <a:cubicBezTo>
                      <a:pt x="550" y="178"/>
                      <a:pt x="550" y="178"/>
                      <a:pt x="550" y="178"/>
                    </a:cubicBezTo>
                    <a:cubicBezTo>
                      <a:pt x="552" y="180"/>
                      <a:pt x="552" y="180"/>
                      <a:pt x="552" y="180"/>
                    </a:cubicBezTo>
                    <a:cubicBezTo>
                      <a:pt x="553" y="179"/>
                      <a:pt x="553" y="179"/>
                      <a:pt x="553" y="179"/>
                    </a:cubicBezTo>
                    <a:cubicBezTo>
                      <a:pt x="555" y="180"/>
                      <a:pt x="555" y="180"/>
                      <a:pt x="555" y="180"/>
                    </a:cubicBezTo>
                    <a:cubicBezTo>
                      <a:pt x="559" y="179"/>
                      <a:pt x="559" y="179"/>
                      <a:pt x="559" y="179"/>
                    </a:cubicBezTo>
                    <a:cubicBezTo>
                      <a:pt x="562" y="180"/>
                      <a:pt x="562" y="180"/>
                      <a:pt x="562" y="180"/>
                    </a:cubicBezTo>
                    <a:cubicBezTo>
                      <a:pt x="563" y="177"/>
                      <a:pt x="563" y="177"/>
                      <a:pt x="563" y="177"/>
                    </a:cubicBezTo>
                    <a:cubicBezTo>
                      <a:pt x="563" y="176"/>
                      <a:pt x="563" y="176"/>
                      <a:pt x="563" y="176"/>
                    </a:cubicBezTo>
                    <a:cubicBezTo>
                      <a:pt x="561" y="174"/>
                      <a:pt x="561" y="174"/>
                      <a:pt x="561" y="174"/>
                    </a:cubicBezTo>
                    <a:cubicBezTo>
                      <a:pt x="559" y="172"/>
                      <a:pt x="559" y="172"/>
                      <a:pt x="559" y="172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63" y="171"/>
                      <a:pt x="563" y="171"/>
                      <a:pt x="563" y="171"/>
                    </a:cubicBezTo>
                    <a:cubicBezTo>
                      <a:pt x="566" y="168"/>
                      <a:pt x="566" y="168"/>
                      <a:pt x="566" y="168"/>
                    </a:cubicBezTo>
                    <a:cubicBezTo>
                      <a:pt x="566" y="165"/>
                      <a:pt x="566" y="165"/>
                      <a:pt x="566" y="165"/>
                    </a:cubicBezTo>
                    <a:cubicBezTo>
                      <a:pt x="568" y="163"/>
                      <a:pt x="568" y="163"/>
                      <a:pt x="568" y="163"/>
                    </a:cubicBezTo>
                    <a:cubicBezTo>
                      <a:pt x="570" y="163"/>
                      <a:pt x="570" y="163"/>
                      <a:pt x="570" y="163"/>
                    </a:cubicBezTo>
                    <a:cubicBezTo>
                      <a:pt x="571" y="161"/>
                      <a:pt x="571" y="161"/>
                      <a:pt x="571" y="161"/>
                    </a:cubicBezTo>
                    <a:cubicBezTo>
                      <a:pt x="570" y="160"/>
                      <a:pt x="570" y="160"/>
                      <a:pt x="570" y="160"/>
                    </a:cubicBezTo>
                    <a:cubicBezTo>
                      <a:pt x="570" y="158"/>
                      <a:pt x="570" y="158"/>
                      <a:pt x="570" y="158"/>
                    </a:cubicBezTo>
                    <a:cubicBezTo>
                      <a:pt x="570" y="156"/>
                      <a:pt x="570" y="156"/>
                      <a:pt x="570" y="156"/>
                    </a:cubicBezTo>
                    <a:cubicBezTo>
                      <a:pt x="571" y="155"/>
                      <a:pt x="571" y="155"/>
                      <a:pt x="571" y="155"/>
                    </a:cubicBezTo>
                    <a:cubicBezTo>
                      <a:pt x="573" y="156"/>
                      <a:pt x="573" y="156"/>
                      <a:pt x="573" y="156"/>
                    </a:cubicBezTo>
                    <a:cubicBezTo>
                      <a:pt x="573" y="158"/>
                      <a:pt x="573" y="158"/>
                      <a:pt x="573" y="158"/>
                    </a:cubicBezTo>
                    <a:cubicBezTo>
                      <a:pt x="574" y="159"/>
                      <a:pt x="574" y="159"/>
                      <a:pt x="574" y="159"/>
                    </a:cubicBezTo>
                    <a:cubicBezTo>
                      <a:pt x="577" y="160"/>
                      <a:pt x="577" y="160"/>
                      <a:pt x="577" y="160"/>
                    </a:cubicBezTo>
                    <a:cubicBezTo>
                      <a:pt x="577" y="161"/>
                      <a:pt x="577" y="161"/>
                      <a:pt x="577" y="161"/>
                    </a:cubicBezTo>
                    <a:cubicBezTo>
                      <a:pt x="578" y="160"/>
                      <a:pt x="578" y="160"/>
                      <a:pt x="578" y="160"/>
                    </a:cubicBezTo>
                    <a:cubicBezTo>
                      <a:pt x="578" y="159"/>
                      <a:pt x="578" y="159"/>
                      <a:pt x="578" y="159"/>
                    </a:cubicBezTo>
                    <a:cubicBezTo>
                      <a:pt x="577" y="159"/>
                      <a:pt x="577" y="159"/>
                      <a:pt x="577" y="159"/>
                    </a:cubicBezTo>
                    <a:cubicBezTo>
                      <a:pt x="577" y="157"/>
                      <a:pt x="577" y="157"/>
                      <a:pt x="577" y="157"/>
                    </a:cubicBezTo>
                    <a:cubicBezTo>
                      <a:pt x="577" y="156"/>
                      <a:pt x="577" y="156"/>
                      <a:pt x="577" y="156"/>
                    </a:cubicBezTo>
                    <a:cubicBezTo>
                      <a:pt x="578" y="156"/>
                      <a:pt x="578" y="156"/>
                      <a:pt x="578" y="156"/>
                    </a:cubicBezTo>
                    <a:cubicBezTo>
                      <a:pt x="580" y="156"/>
                      <a:pt x="580" y="156"/>
                      <a:pt x="580" y="156"/>
                    </a:cubicBezTo>
                    <a:cubicBezTo>
                      <a:pt x="581" y="156"/>
                      <a:pt x="581" y="156"/>
                      <a:pt x="581" y="156"/>
                    </a:cubicBezTo>
                    <a:cubicBezTo>
                      <a:pt x="581" y="154"/>
                      <a:pt x="581" y="154"/>
                      <a:pt x="581" y="154"/>
                    </a:cubicBezTo>
                    <a:cubicBezTo>
                      <a:pt x="580" y="153"/>
                      <a:pt x="580" y="153"/>
                      <a:pt x="580" y="153"/>
                    </a:cubicBezTo>
                    <a:cubicBezTo>
                      <a:pt x="581" y="152"/>
                      <a:pt x="581" y="152"/>
                      <a:pt x="581" y="152"/>
                    </a:cubicBezTo>
                    <a:cubicBezTo>
                      <a:pt x="581" y="151"/>
                      <a:pt x="581" y="151"/>
                      <a:pt x="581" y="151"/>
                    </a:cubicBezTo>
                    <a:cubicBezTo>
                      <a:pt x="581" y="149"/>
                      <a:pt x="581" y="149"/>
                      <a:pt x="581" y="149"/>
                    </a:cubicBezTo>
                    <a:cubicBezTo>
                      <a:pt x="581" y="147"/>
                      <a:pt x="581" y="147"/>
                      <a:pt x="581" y="147"/>
                    </a:cubicBezTo>
                    <a:cubicBezTo>
                      <a:pt x="580" y="146"/>
                      <a:pt x="580" y="146"/>
                      <a:pt x="580" y="146"/>
                    </a:cubicBezTo>
                    <a:cubicBezTo>
                      <a:pt x="580" y="143"/>
                      <a:pt x="580" y="143"/>
                      <a:pt x="580" y="143"/>
                    </a:cubicBezTo>
                    <a:cubicBezTo>
                      <a:pt x="579" y="141"/>
                      <a:pt x="579" y="141"/>
                      <a:pt x="579" y="141"/>
                    </a:cubicBezTo>
                    <a:cubicBezTo>
                      <a:pt x="579" y="139"/>
                      <a:pt x="579" y="139"/>
                      <a:pt x="579" y="139"/>
                    </a:cubicBezTo>
                    <a:cubicBezTo>
                      <a:pt x="579" y="137"/>
                      <a:pt x="579" y="137"/>
                      <a:pt x="579" y="137"/>
                    </a:cubicBezTo>
                    <a:cubicBezTo>
                      <a:pt x="578" y="135"/>
                      <a:pt x="578" y="135"/>
                      <a:pt x="578" y="135"/>
                    </a:cubicBezTo>
                    <a:cubicBezTo>
                      <a:pt x="577" y="134"/>
                      <a:pt x="577" y="134"/>
                      <a:pt x="577" y="134"/>
                    </a:cubicBezTo>
                    <a:cubicBezTo>
                      <a:pt x="577" y="133"/>
                      <a:pt x="577" y="133"/>
                      <a:pt x="577" y="133"/>
                    </a:cubicBezTo>
                    <a:cubicBezTo>
                      <a:pt x="575" y="129"/>
                      <a:pt x="575" y="129"/>
                      <a:pt x="575" y="129"/>
                    </a:cubicBezTo>
                    <a:cubicBezTo>
                      <a:pt x="574" y="127"/>
                      <a:pt x="574" y="127"/>
                      <a:pt x="574" y="127"/>
                    </a:cubicBezTo>
                    <a:cubicBezTo>
                      <a:pt x="574" y="126"/>
                      <a:pt x="574" y="126"/>
                      <a:pt x="574" y="126"/>
                    </a:cubicBezTo>
                    <a:cubicBezTo>
                      <a:pt x="576" y="126"/>
                      <a:pt x="576" y="126"/>
                      <a:pt x="576" y="126"/>
                    </a:cubicBezTo>
                    <a:cubicBezTo>
                      <a:pt x="577" y="126"/>
                      <a:pt x="577" y="126"/>
                      <a:pt x="577" y="126"/>
                    </a:cubicBezTo>
                    <a:cubicBezTo>
                      <a:pt x="578" y="124"/>
                      <a:pt x="578" y="124"/>
                      <a:pt x="578" y="124"/>
                    </a:cubicBezTo>
                    <a:cubicBezTo>
                      <a:pt x="578" y="123"/>
                      <a:pt x="578" y="123"/>
                      <a:pt x="578" y="123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1" y="120"/>
                      <a:pt x="581" y="120"/>
                      <a:pt x="581" y="120"/>
                    </a:cubicBezTo>
                    <a:cubicBezTo>
                      <a:pt x="582" y="120"/>
                      <a:pt x="582" y="120"/>
                      <a:pt x="582" y="120"/>
                    </a:cubicBezTo>
                    <a:cubicBezTo>
                      <a:pt x="583" y="121"/>
                      <a:pt x="583" y="121"/>
                      <a:pt x="583" y="121"/>
                    </a:cubicBezTo>
                    <a:cubicBezTo>
                      <a:pt x="590" y="122"/>
                      <a:pt x="590" y="122"/>
                      <a:pt x="590" y="122"/>
                    </a:cubicBezTo>
                    <a:cubicBezTo>
                      <a:pt x="590" y="122"/>
                      <a:pt x="590" y="122"/>
                      <a:pt x="590" y="122"/>
                    </a:cubicBezTo>
                    <a:cubicBezTo>
                      <a:pt x="592" y="122"/>
                      <a:pt x="592" y="122"/>
                      <a:pt x="592" y="122"/>
                    </a:cubicBezTo>
                    <a:cubicBezTo>
                      <a:pt x="592" y="121"/>
                      <a:pt x="592" y="121"/>
                      <a:pt x="592" y="121"/>
                    </a:cubicBezTo>
                    <a:cubicBezTo>
                      <a:pt x="592" y="120"/>
                      <a:pt x="592" y="120"/>
                      <a:pt x="592" y="120"/>
                    </a:cubicBezTo>
                    <a:cubicBezTo>
                      <a:pt x="592" y="119"/>
                      <a:pt x="592" y="119"/>
                      <a:pt x="592" y="119"/>
                    </a:cubicBezTo>
                    <a:cubicBezTo>
                      <a:pt x="591" y="118"/>
                      <a:pt x="591" y="118"/>
                      <a:pt x="591" y="118"/>
                    </a:cubicBezTo>
                    <a:cubicBezTo>
                      <a:pt x="592" y="117"/>
                      <a:pt x="592" y="117"/>
                      <a:pt x="592" y="117"/>
                    </a:cubicBezTo>
                    <a:cubicBezTo>
                      <a:pt x="591" y="116"/>
                      <a:pt x="591" y="116"/>
                      <a:pt x="591" y="116"/>
                    </a:cubicBezTo>
                    <a:cubicBezTo>
                      <a:pt x="591" y="115"/>
                      <a:pt x="591" y="115"/>
                      <a:pt x="591" y="115"/>
                    </a:cubicBezTo>
                    <a:cubicBezTo>
                      <a:pt x="592" y="113"/>
                      <a:pt x="592" y="113"/>
                      <a:pt x="592" y="113"/>
                    </a:cubicBezTo>
                    <a:cubicBezTo>
                      <a:pt x="593" y="112"/>
                      <a:pt x="593" y="112"/>
                      <a:pt x="593" y="112"/>
                    </a:cubicBezTo>
                    <a:cubicBezTo>
                      <a:pt x="592" y="111"/>
                      <a:pt x="592" y="111"/>
                      <a:pt x="592" y="111"/>
                    </a:cubicBezTo>
                    <a:cubicBezTo>
                      <a:pt x="592" y="110"/>
                      <a:pt x="592" y="110"/>
                      <a:pt x="592" y="110"/>
                    </a:cubicBezTo>
                    <a:cubicBezTo>
                      <a:pt x="592" y="109"/>
                      <a:pt x="592" y="109"/>
                      <a:pt x="592" y="109"/>
                    </a:cubicBezTo>
                    <a:cubicBezTo>
                      <a:pt x="593" y="108"/>
                      <a:pt x="593" y="108"/>
                      <a:pt x="593" y="108"/>
                    </a:cubicBezTo>
                    <a:cubicBezTo>
                      <a:pt x="593" y="107"/>
                      <a:pt x="593" y="107"/>
                      <a:pt x="593" y="107"/>
                    </a:cubicBezTo>
                    <a:cubicBezTo>
                      <a:pt x="593" y="106"/>
                      <a:pt x="593" y="106"/>
                      <a:pt x="593" y="106"/>
                    </a:cubicBezTo>
                    <a:cubicBezTo>
                      <a:pt x="592" y="105"/>
                      <a:pt x="592" y="105"/>
                      <a:pt x="592" y="105"/>
                    </a:cubicBezTo>
                    <a:cubicBezTo>
                      <a:pt x="593" y="104"/>
                      <a:pt x="593" y="104"/>
                      <a:pt x="593" y="104"/>
                    </a:cubicBezTo>
                    <a:cubicBezTo>
                      <a:pt x="594" y="103"/>
                      <a:pt x="594" y="103"/>
                      <a:pt x="594" y="103"/>
                    </a:cubicBezTo>
                    <a:cubicBezTo>
                      <a:pt x="594" y="102"/>
                      <a:pt x="594" y="102"/>
                      <a:pt x="594" y="102"/>
                    </a:cubicBezTo>
                    <a:cubicBezTo>
                      <a:pt x="593" y="101"/>
                      <a:pt x="593" y="101"/>
                      <a:pt x="593" y="101"/>
                    </a:cubicBezTo>
                    <a:cubicBezTo>
                      <a:pt x="592" y="99"/>
                      <a:pt x="592" y="99"/>
                      <a:pt x="592" y="99"/>
                    </a:cubicBezTo>
                    <a:cubicBezTo>
                      <a:pt x="592" y="97"/>
                      <a:pt x="592" y="97"/>
                      <a:pt x="592" y="97"/>
                    </a:cubicBezTo>
                    <a:cubicBezTo>
                      <a:pt x="593" y="97"/>
                      <a:pt x="593" y="97"/>
                      <a:pt x="593" y="97"/>
                    </a:cubicBezTo>
                    <a:cubicBezTo>
                      <a:pt x="593" y="96"/>
                      <a:pt x="593" y="96"/>
                      <a:pt x="593" y="96"/>
                    </a:cubicBezTo>
                    <a:cubicBezTo>
                      <a:pt x="593" y="96"/>
                      <a:pt x="593" y="96"/>
                      <a:pt x="593" y="96"/>
                    </a:cubicBezTo>
                    <a:cubicBezTo>
                      <a:pt x="593" y="95"/>
                      <a:pt x="593" y="95"/>
                      <a:pt x="593" y="95"/>
                    </a:cubicBezTo>
                    <a:cubicBezTo>
                      <a:pt x="593" y="94"/>
                      <a:pt x="593" y="94"/>
                      <a:pt x="593" y="94"/>
                    </a:cubicBezTo>
                    <a:cubicBezTo>
                      <a:pt x="592" y="93"/>
                      <a:pt x="592" y="93"/>
                      <a:pt x="592" y="93"/>
                    </a:cubicBezTo>
                    <a:cubicBezTo>
                      <a:pt x="591" y="92"/>
                      <a:pt x="591" y="92"/>
                      <a:pt x="591" y="92"/>
                    </a:cubicBezTo>
                    <a:cubicBezTo>
                      <a:pt x="592" y="91"/>
                      <a:pt x="592" y="91"/>
                      <a:pt x="592" y="91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1" y="88"/>
                      <a:pt x="591" y="88"/>
                      <a:pt x="591" y="88"/>
                    </a:cubicBezTo>
                    <a:cubicBezTo>
                      <a:pt x="591" y="87"/>
                      <a:pt x="591" y="87"/>
                      <a:pt x="591" y="87"/>
                    </a:cubicBezTo>
                    <a:cubicBezTo>
                      <a:pt x="592" y="85"/>
                      <a:pt x="592" y="85"/>
                      <a:pt x="592" y="85"/>
                    </a:cubicBezTo>
                    <a:cubicBezTo>
                      <a:pt x="594" y="85"/>
                      <a:pt x="594" y="85"/>
                      <a:pt x="594" y="85"/>
                    </a:cubicBezTo>
                    <a:cubicBezTo>
                      <a:pt x="594" y="84"/>
                      <a:pt x="594" y="84"/>
                      <a:pt x="594" y="84"/>
                    </a:cubicBezTo>
                    <a:cubicBezTo>
                      <a:pt x="594" y="82"/>
                      <a:pt x="594" y="82"/>
                      <a:pt x="594" y="82"/>
                    </a:cubicBezTo>
                    <a:cubicBezTo>
                      <a:pt x="594" y="80"/>
                      <a:pt x="594" y="80"/>
                      <a:pt x="594" y="80"/>
                    </a:cubicBezTo>
                    <a:lnTo>
                      <a:pt x="593" y="79"/>
                    </a:lnTo>
                    <a:close/>
                    <a:moveTo>
                      <a:pt x="521" y="392"/>
                    </a:moveTo>
                    <a:cubicBezTo>
                      <a:pt x="521" y="394"/>
                      <a:pt x="521" y="394"/>
                      <a:pt x="521" y="394"/>
                    </a:cubicBezTo>
                    <a:cubicBezTo>
                      <a:pt x="522" y="393"/>
                      <a:pt x="522" y="393"/>
                      <a:pt x="522" y="393"/>
                    </a:cubicBezTo>
                    <a:cubicBezTo>
                      <a:pt x="522" y="392"/>
                      <a:pt x="522" y="392"/>
                      <a:pt x="522" y="392"/>
                    </a:cubicBezTo>
                    <a:cubicBezTo>
                      <a:pt x="522" y="391"/>
                      <a:pt x="522" y="391"/>
                      <a:pt x="522" y="391"/>
                    </a:cubicBezTo>
                    <a:lnTo>
                      <a:pt x="521" y="392"/>
                    </a:lnTo>
                    <a:close/>
                    <a:moveTo>
                      <a:pt x="544" y="396"/>
                    </a:moveTo>
                    <a:cubicBezTo>
                      <a:pt x="543" y="396"/>
                      <a:pt x="543" y="396"/>
                      <a:pt x="543" y="396"/>
                    </a:cubicBezTo>
                    <a:cubicBezTo>
                      <a:pt x="542" y="394"/>
                      <a:pt x="542" y="394"/>
                      <a:pt x="542" y="394"/>
                    </a:cubicBezTo>
                    <a:cubicBezTo>
                      <a:pt x="540" y="393"/>
                      <a:pt x="540" y="393"/>
                      <a:pt x="540" y="393"/>
                    </a:cubicBezTo>
                    <a:cubicBezTo>
                      <a:pt x="539" y="394"/>
                      <a:pt x="539" y="394"/>
                      <a:pt x="539" y="394"/>
                    </a:cubicBezTo>
                    <a:cubicBezTo>
                      <a:pt x="539" y="395"/>
                      <a:pt x="539" y="395"/>
                      <a:pt x="539" y="395"/>
                    </a:cubicBezTo>
                    <a:cubicBezTo>
                      <a:pt x="537" y="395"/>
                      <a:pt x="537" y="395"/>
                      <a:pt x="537" y="395"/>
                    </a:cubicBezTo>
                    <a:cubicBezTo>
                      <a:pt x="535" y="398"/>
                      <a:pt x="535" y="398"/>
                      <a:pt x="535" y="398"/>
                    </a:cubicBezTo>
                    <a:cubicBezTo>
                      <a:pt x="533" y="401"/>
                      <a:pt x="533" y="401"/>
                      <a:pt x="533" y="401"/>
                    </a:cubicBezTo>
                    <a:cubicBezTo>
                      <a:pt x="534" y="402"/>
                      <a:pt x="534" y="402"/>
                      <a:pt x="534" y="402"/>
                    </a:cubicBezTo>
                    <a:cubicBezTo>
                      <a:pt x="534" y="404"/>
                      <a:pt x="534" y="404"/>
                      <a:pt x="534" y="404"/>
                    </a:cubicBezTo>
                    <a:cubicBezTo>
                      <a:pt x="533" y="404"/>
                      <a:pt x="533" y="404"/>
                      <a:pt x="533" y="404"/>
                    </a:cubicBezTo>
                    <a:cubicBezTo>
                      <a:pt x="531" y="408"/>
                      <a:pt x="531" y="408"/>
                      <a:pt x="531" y="408"/>
                    </a:cubicBezTo>
                    <a:cubicBezTo>
                      <a:pt x="530" y="412"/>
                      <a:pt x="530" y="412"/>
                      <a:pt x="530" y="412"/>
                    </a:cubicBezTo>
                    <a:cubicBezTo>
                      <a:pt x="529" y="413"/>
                      <a:pt x="529" y="413"/>
                      <a:pt x="529" y="413"/>
                    </a:cubicBezTo>
                    <a:cubicBezTo>
                      <a:pt x="529" y="414"/>
                      <a:pt x="529" y="414"/>
                      <a:pt x="529" y="414"/>
                    </a:cubicBezTo>
                    <a:cubicBezTo>
                      <a:pt x="530" y="417"/>
                      <a:pt x="530" y="417"/>
                      <a:pt x="530" y="417"/>
                    </a:cubicBezTo>
                    <a:cubicBezTo>
                      <a:pt x="530" y="421"/>
                      <a:pt x="530" y="421"/>
                      <a:pt x="530" y="421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1" y="423"/>
                      <a:pt x="531" y="423"/>
                      <a:pt x="531" y="423"/>
                    </a:cubicBezTo>
                    <a:cubicBezTo>
                      <a:pt x="531" y="423"/>
                      <a:pt x="531" y="423"/>
                      <a:pt x="531" y="423"/>
                    </a:cubicBezTo>
                    <a:cubicBezTo>
                      <a:pt x="531" y="425"/>
                      <a:pt x="531" y="425"/>
                      <a:pt x="531" y="425"/>
                    </a:cubicBezTo>
                    <a:cubicBezTo>
                      <a:pt x="532" y="426"/>
                      <a:pt x="532" y="426"/>
                      <a:pt x="532" y="426"/>
                    </a:cubicBezTo>
                    <a:cubicBezTo>
                      <a:pt x="533" y="427"/>
                      <a:pt x="533" y="427"/>
                      <a:pt x="533" y="427"/>
                    </a:cubicBezTo>
                    <a:cubicBezTo>
                      <a:pt x="533" y="428"/>
                      <a:pt x="533" y="428"/>
                      <a:pt x="533" y="428"/>
                    </a:cubicBezTo>
                    <a:cubicBezTo>
                      <a:pt x="536" y="429"/>
                      <a:pt x="536" y="429"/>
                      <a:pt x="536" y="429"/>
                    </a:cubicBezTo>
                    <a:cubicBezTo>
                      <a:pt x="537" y="431"/>
                      <a:pt x="537" y="431"/>
                      <a:pt x="537" y="431"/>
                    </a:cubicBezTo>
                    <a:cubicBezTo>
                      <a:pt x="537" y="433"/>
                      <a:pt x="537" y="433"/>
                      <a:pt x="537" y="433"/>
                    </a:cubicBezTo>
                    <a:cubicBezTo>
                      <a:pt x="537" y="435"/>
                      <a:pt x="537" y="435"/>
                      <a:pt x="537" y="435"/>
                    </a:cubicBezTo>
                    <a:cubicBezTo>
                      <a:pt x="538" y="434"/>
                      <a:pt x="538" y="434"/>
                      <a:pt x="538" y="434"/>
                    </a:cubicBezTo>
                    <a:cubicBezTo>
                      <a:pt x="540" y="435"/>
                      <a:pt x="540" y="435"/>
                      <a:pt x="540" y="435"/>
                    </a:cubicBezTo>
                    <a:cubicBezTo>
                      <a:pt x="539" y="433"/>
                      <a:pt x="539" y="433"/>
                      <a:pt x="539" y="433"/>
                    </a:cubicBezTo>
                    <a:cubicBezTo>
                      <a:pt x="540" y="430"/>
                      <a:pt x="540" y="430"/>
                      <a:pt x="540" y="430"/>
                    </a:cubicBezTo>
                    <a:cubicBezTo>
                      <a:pt x="539" y="428"/>
                      <a:pt x="539" y="428"/>
                      <a:pt x="539" y="428"/>
                    </a:cubicBezTo>
                    <a:cubicBezTo>
                      <a:pt x="541" y="425"/>
                      <a:pt x="541" y="425"/>
                      <a:pt x="541" y="425"/>
                    </a:cubicBezTo>
                    <a:cubicBezTo>
                      <a:pt x="543" y="422"/>
                      <a:pt x="543" y="422"/>
                      <a:pt x="543" y="422"/>
                    </a:cubicBezTo>
                    <a:cubicBezTo>
                      <a:pt x="543" y="419"/>
                      <a:pt x="543" y="419"/>
                      <a:pt x="543" y="419"/>
                    </a:cubicBezTo>
                    <a:cubicBezTo>
                      <a:pt x="544" y="418"/>
                      <a:pt x="544" y="418"/>
                      <a:pt x="544" y="418"/>
                    </a:cubicBezTo>
                    <a:cubicBezTo>
                      <a:pt x="543" y="418"/>
                      <a:pt x="543" y="418"/>
                      <a:pt x="543" y="418"/>
                    </a:cubicBezTo>
                    <a:cubicBezTo>
                      <a:pt x="543" y="414"/>
                      <a:pt x="543" y="414"/>
                      <a:pt x="543" y="414"/>
                    </a:cubicBezTo>
                    <a:cubicBezTo>
                      <a:pt x="544" y="412"/>
                      <a:pt x="544" y="412"/>
                      <a:pt x="544" y="412"/>
                    </a:cubicBezTo>
                    <a:cubicBezTo>
                      <a:pt x="543" y="409"/>
                      <a:pt x="543" y="409"/>
                      <a:pt x="543" y="409"/>
                    </a:cubicBezTo>
                    <a:cubicBezTo>
                      <a:pt x="544" y="407"/>
                      <a:pt x="544" y="407"/>
                      <a:pt x="544" y="407"/>
                    </a:cubicBezTo>
                    <a:cubicBezTo>
                      <a:pt x="545" y="402"/>
                      <a:pt x="545" y="402"/>
                      <a:pt x="545" y="402"/>
                    </a:cubicBezTo>
                    <a:cubicBezTo>
                      <a:pt x="545" y="399"/>
                      <a:pt x="545" y="399"/>
                      <a:pt x="545" y="399"/>
                    </a:cubicBezTo>
                    <a:cubicBezTo>
                      <a:pt x="546" y="399"/>
                      <a:pt x="546" y="399"/>
                      <a:pt x="546" y="399"/>
                    </a:cubicBezTo>
                    <a:cubicBezTo>
                      <a:pt x="546" y="397"/>
                      <a:pt x="546" y="397"/>
                      <a:pt x="546" y="397"/>
                    </a:cubicBezTo>
                    <a:lnTo>
                      <a:pt x="544" y="39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xmlns="" id="{4D719DB9-94DA-4CBA-B6E2-9BD1F08EC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1060"/>
                <a:ext cx="145" cy="126"/>
              </a:xfrm>
              <a:custGeom>
                <a:avLst/>
                <a:gdLst>
                  <a:gd name="T0" fmla="*/ 88 w 145"/>
                  <a:gd name="T1" fmla="*/ 125 h 126"/>
                  <a:gd name="T2" fmla="*/ 93 w 145"/>
                  <a:gd name="T3" fmla="*/ 123 h 126"/>
                  <a:gd name="T4" fmla="*/ 98 w 145"/>
                  <a:gd name="T5" fmla="*/ 121 h 126"/>
                  <a:gd name="T6" fmla="*/ 105 w 145"/>
                  <a:gd name="T7" fmla="*/ 123 h 126"/>
                  <a:gd name="T8" fmla="*/ 108 w 145"/>
                  <a:gd name="T9" fmla="*/ 121 h 126"/>
                  <a:gd name="T10" fmla="*/ 113 w 145"/>
                  <a:gd name="T11" fmla="*/ 121 h 126"/>
                  <a:gd name="T12" fmla="*/ 126 w 145"/>
                  <a:gd name="T13" fmla="*/ 125 h 126"/>
                  <a:gd name="T14" fmla="*/ 129 w 145"/>
                  <a:gd name="T15" fmla="*/ 121 h 126"/>
                  <a:gd name="T16" fmla="*/ 139 w 145"/>
                  <a:gd name="T17" fmla="*/ 105 h 126"/>
                  <a:gd name="T18" fmla="*/ 142 w 145"/>
                  <a:gd name="T19" fmla="*/ 98 h 126"/>
                  <a:gd name="T20" fmla="*/ 145 w 145"/>
                  <a:gd name="T21" fmla="*/ 94 h 126"/>
                  <a:gd name="T22" fmla="*/ 144 w 145"/>
                  <a:gd name="T23" fmla="*/ 89 h 126"/>
                  <a:gd name="T24" fmla="*/ 142 w 145"/>
                  <a:gd name="T25" fmla="*/ 84 h 126"/>
                  <a:gd name="T26" fmla="*/ 137 w 145"/>
                  <a:gd name="T27" fmla="*/ 77 h 126"/>
                  <a:gd name="T28" fmla="*/ 137 w 145"/>
                  <a:gd name="T29" fmla="*/ 66 h 126"/>
                  <a:gd name="T30" fmla="*/ 134 w 145"/>
                  <a:gd name="T31" fmla="*/ 56 h 126"/>
                  <a:gd name="T32" fmla="*/ 139 w 145"/>
                  <a:gd name="T33" fmla="*/ 49 h 126"/>
                  <a:gd name="T34" fmla="*/ 137 w 145"/>
                  <a:gd name="T35" fmla="*/ 38 h 126"/>
                  <a:gd name="T36" fmla="*/ 134 w 145"/>
                  <a:gd name="T37" fmla="*/ 31 h 126"/>
                  <a:gd name="T38" fmla="*/ 129 w 145"/>
                  <a:gd name="T39" fmla="*/ 18 h 126"/>
                  <a:gd name="T40" fmla="*/ 128 w 145"/>
                  <a:gd name="T41" fmla="*/ 9 h 126"/>
                  <a:gd name="T42" fmla="*/ 123 w 145"/>
                  <a:gd name="T43" fmla="*/ 7 h 126"/>
                  <a:gd name="T44" fmla="*/ 80 w 145"/>
                  <a:gd name="T45" fmla="*/ 7 h 126"/>
                  <a:gd name="T46" fmla="*/ 74 w 145"/>
                  <a:gd name="T47" fmla="*/ 14 h 126"/>
                  <a:gd name="T48" fmla="*/ 69 w 145"/>
                  <a:gd name="T49" fmla="*/ 14 h 126"/>
                  <a:gd name="T50" fmla="*/ 77 w 145"/>
                  <a:gd name="T51" fmla="*/ 5 h 126"/>
                  <a:gd name="T52" fmla="*/ 72 w 145"/>
                  <a:gd name="T53" fmla="*/ 9 h 126"/>
                  <a:gd name="T54" fmla="*/ 59 w 145"/>
                  <a:gd name="T55" fmla="*/ 10 h 126"/>
                  <a:gd name="T56" fmla="*/ 59 w 145"/>
                  <a:gd name="T57" fmla="*/ 4 h 126"/>
                  <a:gd name="T58" fmla="*/ 64 w 145"/>
                  <a:gd name="T59" fmla="*/ 5 h 126"/>
                  <a:gd name="T60" fmla="*/ 61 w 145"/>
                  <a:gd name="T61" fmla="*/ 2 h 126"/>
                  <a:gd name="T62" fmla="*/ 46 w 145"/>
                  <a:gd name="T63" fmla="*/ 4 h 126"/>
                  <a:gd name="T64" fmla="*/ 36 w 145"/>
                  <a:gd name="T65" fmla="*/ 5 h 126"/>
                  <a:gd name="T66" fmla="*/ 30 w 145"/>
                  <a:gd name="T67" fmla="*/ 9 h 126"/>
                  <a:gd name="T68" fmla="*/ 26 w 145"/>
                  <a:gd name="T69" fmla="*/ 15 h 126"/>
                  <a:gd name="T70" fmla="*/ 13 w 145"/>
                  <a:gd name="T71" fmla="*/ 18 h 126"/>
                  <a:gd name="T72" fmla="*/ 7 w 145"/>
                  <a:gd name="T73" fmla="*/ 23 h 126"/>
                  <a:gd name="T74" fmla="*/ 5 w 145"/>
                  <a:gd name="T75" fmla="*/ 28 h 126"/>
                  <a:gd name="T76" fmla="*/ 3 w 145"/>
                  <a:gd name="T77" fmla="*/ 30 h 126"/>
                  <a:gd name="T78" fmla="*/ 5 w 145"/>
                  <a:gd name="T79" fmla="*/ 41 h 126"/>
                  <a:gd name="T80" fmla="*/ 0 w 145"/>
                  <a:gd name="T81" fmla="*/ 46 h 126"/>
                  <a:gd name="T82" fmla="*/ 5 w 145"/>
                  <a:gd name="T83" fmla="*/ 56 h 126"/>
                  <a:gd name="T84" fmla="*/ 7 w 145"/>
                  <a:gd name="T85" fmla="*/ 61 h 126"/>
                  <a:gd name="T86" fmla="*/ 7 w 145"/>
                  <a:gd name="T87" fmla="*/ 67 h 126"/>
                  <a:gd name="T88" fmla="*/ 12 w 145"/>
                  <a:gd name="T89" fmla="*/ 74 h 126"/>
                  <a:gd name="T90" fmla="*/ 13 w 145"/>
                  <a:gd name="T91" fmla="*/ 85 h 126"/>
                  <a:gd name="T92" fmla="*/ 15 w 145"/>
                  <a:gd name="T93" fmla="*/ 90 h 126"/>
                  <a:gd name="T94" fmla="*/ 18 w 145"/>
                  <a:gd name="T95" fmla="*/ 89 h 126"/>
                  <a:gd name="T96" fmla="*/ 26 w 145"/>
                  <a:gd name="T97" fmla="*/ 89 h 126"/>
                  <a:gd name="T98" fmla="*/ 30 w 145"/>
                  <a:gd name="T99" fmla="*/ 94 h 126"/>
                  <a:gd name="T100" fmla="*/ 34 w 145"/>
                  <a:gd name="T101" fmla="*/ 95 h 126"/>
                  <a:gd name="T102" fmla="*/ 33 w 145"/>
                  <a:gd name="T103" fmla="*/ 100 h 126"/>
                  <a:gd name="T104" fmla="*/ 34 w 145"/>
                  <a:gd name="T105" fmla="*/ 105 h 126"/>
                  <a:gd name="T106" fmla="*/ 38 w 145"/>
                  <a:gd name="T107" fmla="*/ 103 h 126"/>
                  <a:gd name="T108" fmla="*/ 36 w 145"/>
                  <a:gd name="T109" fmla="*/ 98 h 126"/>
                  <a:gd name="T110" fmla="*/ 46 w 145"/>
                  <a:gd name="T111" fmla="*/ 102 h 126"/>
                  <a:gd name="T112" fmla="*/ 49 w 145"/>
                  <a:gd name="T113" fmla="*/ 105 h 126"/>
                  <a:gd name="T114" fmla="*/ 59 w 145"/>
                  <a:gd name="T115" fmla="*/ 105 h 126"/>
                  <a:gd name="T116" fmla="*/ 74 w 145"/>
                  <a:gd name="T117" fmla="*/ 115 h 126"/>
                  <a:gd name="T118" fmla="*/ 79 w 145"/>
                  <a:gd name="T119" fmla="*/ 120 h 126"/>
                  <a:gd name="T120" fmla="*/ 83 w 145"/>
                  <a:gd name="T121" fmla="*/ 118 h 126"/>
                  <a:gd name="T122" fmla="*/ 87 w 145"/>
                  <a:gd name="T123" fmla="*/ 12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5" h="126">
                    <a:moveTo>
                      <a:pt x="87" y="125"/>
                    </a:moveTo>
                    <a:lnTo>
                      <a:pt x="88" y="125"/>
                    </a:lnTo>
                    <a:lnTo>
                      <a:pt x="92" y="125"/>
                    </a:lnTo>
                    <a:lnTo>
                      <a:pt x="93" y="123"/>
                    </a:lnTo>
                    <a:lnTo>
                      <a:pt x="95" y="121"/>
                    </a:lnTo>
                    <a:lnTo>
                      <a:pt x="98" y="121"/>
                    </a:lnTo>
                    <a:lnTo>
                      <a:pt x="101" y="121"/>
                    </a:lnTo>
                    <a:lnTo>
                      <a:pt x="105" y="123"/>
                    </a:lnTo>
                    <a:lnTo>
                      <a:pt x="106" y="121"/>
                    </a:lnTo>
                    <a:lnTo>
                      <a:pt x="108" y="121"/>
                    </a:lnTo>
                    <a:lnTo>
                      <a:pt x="111" y="121"/>
                    </a:lnTo>
                    <a:lnTo>
                      <a:pt x="113" y="121"/>
                    </a:lnTo>
                    <a:lnTo>
                      <a:pt x="119" y="121"/>
                    </a:lnTo>
                    <a:lnTo>
                      <a:pt x="126" y="125"/>
                    </a:lnTo>
                    <a:lnTo>
                      <a:pt x="129" y="126"/>
                    </a:lnTo>
                    <a:lnTo>
                      <a:pt x="129" y="121"/>
                    </a:lnTo>
                    <a:lnTo>
                      <a:pt x="129" y="116"/>
                    </a:lnTo>
                    <a:lnTo>
                      <a:pt x="139" y="105"/>
                    </a:lnTo>
                    <a:lnTo>
                      <a:pt x="139" y="100"/>
                    </a:lnTo>
                    <a:lnTo>
                      <a:pt x="142" y="98"/>
                    </a:lnTo>
                    <a:lnTo>
                      <a:pt x="144" y="97"/>
                    </a:lnTo>
                    <a:lnTo>
                      <a:pt x="145" y="94"/>
                    </a:lnTo>
                    <a:lnTo>
                      <a:pt x="144" y="90"/>
                    </a:lnTo>
                    <a:lnTo>
                      <a:pt x="144" y="89"/>
                    </a:lnTo>
                    <a:lnTo>
                      <a:pt x="145" y="87"/>
                    </a:lnTo>
                    <a:lnTo>
                      <a:pt x="142" y="84"/>
                    </a:lnTo>
                    <a:lnTo>
                      <a:pt x="139" y="79"/>
                    </a:lnTo>
                    <a:lnTo>
                      <a:pt x="137" y="77"/>
                    </a:lnTo>
                    <a:lnTo>
                      <a:pt x="137" y="69"/>
                    </a:lnTo>
                    <a:lnTo>
                      <a:pt x="137" y="66"/>
                    </a:lnTo>
                    <a:lnTo>
                      <a:pt x="134" y="61"/>
                    </a:lnTo>
                    <a:lnTo>
                      <a:pt x="134" y="56"/>
                    </a:lnTo>
                    <a:lnTo>
                      <a:pt x="136" y="51"/>
                    </a:lnTo>
                    <a:lnTo>
                      <a:pt x="139" y="49"/>
                    </a:lnTo>
                    <a:lnTo>
                      <a:pt x="139" y="40"/>
                    </a:lnTo>
                    <a:lnTo>
                      <a:pt x="137" y="38"/>
                    </a:lnTo>
                    <a:lnTo>
                      <a:pt x="136" y="35"/>
                    </a:lnTo>
                    <a:lnTo>
                      <a:pt x="134" y="31"/>
                    </a:lnTo>
                    <a:lnTo>
                      <a:pt x="132" y="23"/>
                    </a:lnTo>
                    <a:lnTo>
                      <a:pt x="129" y="18"/>
                    </a:lnTo>
                    <a:lnTo>
                      <a:pt x="129" y="15"/>
                    </a:lnTo>
                    <a:lnTo>
                      <a:pt x="128" y="9"/>
                    </a:lnTo>
                    <a:lnTo>
                      <a:pt x="126" y="9"/>
                    </a:lnTo>
                    <a:lnTo>
                      <a:pt x="123" y="7"/>
                    </a:lnTo>
                    <a:lnTo>
                      <a:pt x="101" y="9"/>
                    </a:lnTo>
                    <a:lnTo>
                      <a:pt x="80" y="7"/>
                    </a:lnTo>
                    <a:lnTo>
                      <a:pt x="79" y="9"/>
                    </a:lnTo>
                    <a:lnTo>
                      <a:pt x="74" y="14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72" y="10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2" y="9"/>
                    </a:lnTo>
                    <a:lnTo>
                      <a:pt x="65" y="12"/>
                    </a:lnTo>
                    <a:lnTo>
                      <a:pt x="59" y="10"/>
                    </a:lnTo>
                    <a:lnTo>
                      <a:pt x="57" y="7"/>
                    </a:lnTo>
                    <a:lnTo>
                      <a:pt x="59" y="4"/>
                    </a:lnTo>
                    <a:lnTo>
                      <a:pt x="62" y="4"/>
                    </a:lnTo>
                    <a:lnTo>
                      <a:pt x="64" y="5"/>
                    </a:lnTo>
                    <a:lnTo>
                      <a:pt x="64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6" y="4"/>
                    </a:lnTo>
                    <a:lnTo>
                      <a:pt x="41" y="2"/>
                    </a:lnTo>
                    <a:lnTo>
                      <a:pt x="36" y="5"/>
                    </a:lnTo>
                    <a:lnTo>
                      <a:pt x="33" y="9"/>
                    </a:lnTo>
                    <a:lnTo>
                      <a:pt x="30" y="9"/>
                    </a:lnTo>
                    <a:lnTo>
                      <a:pt x="26" y="12"/>
                    </a:lnTo>
                    <a:lnTo>
                      <a:pt x="26" y="15"/>
                    </a:lnTo>
                    <a:lnTo>
                      <a:pt x="21" y="15"/>
                    </a:lnTo>
                    <a:lnTo>
                      <a:pt x="13" y="18"/>
                    </a:lnTo>
                    <a:lnTo>
                      <a:pt x="8" y="20"/>
                    </a:lnTo>
                    <a:lnTo>
                      <a:pt x="7" y="23"/>
                    </a:lnTo>
                    <a:lnTo>
                      <a:pt x="5" y="27"/>
                    </a:lnTo>
                    <a:lnTo>
                      <a:pt x="5" y="28"/>
                    </a:lnTo>
                    <a:lnTo>
                      <a:pt x="5" y="30"/>
                    </a:lnTo>
                    <a:lnTo>
                      <a:pt x="3" y="30"/>
                    </a:lnTo>
                    <a:lnTo>
                      <a:pt x="5" y="36"/>
                    </a:lnTo>
                    <a:lnTo>
                      <a:pt x="5" y="41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5" y="53"/>
                    </a:lnTo>
                    <a:lnTo>
                      <a:pt x="5" y="56"/>
                    </a:lnTo>
                    <a:lnTo>
                      <a:pt x="7" y="58"/>
                    </a:lnTo>
                    <a:lnTo>
                      <a:pt x="7" y="61"/>
                    </a:lnTo>
                    <a:lnTo>
                      <a:pt x="8" y="64"/>
                    </a:lnTo>
                    <a:lnTo>
                      <a:pt x="7" y="67"/>
                    </a:lnTo>
                    <a:lnTo>
                      <a:pt x="10" y="74"/>
                    </a:lnTo>
                    <a:lnTo>
                      <a:pt x="12" y="74"/>
                    </a:lnTo>
                    <a:lnTo>
                      <a:pt x="13" y="77"/>
                    </a:lnTo>
                    <a:lnTo>
                      <a:pt x="13" y="85"/>
                    </a:lnTo>
                    <a:lnTo>
                      <a:pt x="13" y="87"/>
                    </a:lnTo>
                    <a:lnTo>
                      <a:pt x="15" y="90"/>
                    </a:lnTo>
                    <a:lnTo>
                      <a:pt x="15" y="89"/>
                    </a:lnTo>
                    <a:lnTo>
                      <a:pt x="18" y="89"/>
                    </a:lnTo>
                    <a:lnTo>
                      <a:pt x="20" y="89"/>
                    </a:lnTo>
                    <a:lnTo>
                      <a:pt x="26" y="89"/>
                    </a:lnTo>
                    <a:lnTo>
                      <a:pt x="26" y="90"/>
                    </a:lnTo>
                    <a:lnTo>
                      <a:pt x="30" y="94"/>
                    </a:lnTo>
                    <a:lnTo>
                      <a:pt x="31" y="94"/>
                    </a:lnTo>
                    <a:lnTo>
                      <a:pt x="34" y="95"/>
                    </a:lnTo>
                    <a:lnTo>
                      <a:pt x="33" y="98"/>
                    </a:lnTo>
                    <a:lnTo>
                      <a:pt x="33" y="100"/>
                    </a:lnTo>
                    <a:lnTo>
                      <a:pt x="34" y="102"/>
                    </a:lnTo>
                    <a:lnTo>
                      <a:pt x="34" y="105"/>
                    </a:lnTo>
                    <a:lnTo>
                      <a:pt x="36" y="105"/>
                    </a:lnTo>
                    <a:lnTo>
                      <a:pt x="38" y="103"/>
                    </a:lnTo>
                    <a:lnTo>
                      <a:pt x="39" y="103"/>
                    </a:lnTo>
                    <a:lnTo>
                      <a:pt x="36" y="98"/>
                    </a:lnTo>
                    <a:lnTo>
                      <a:pt x="38" y="98"/>
                    </a:lnTo>
                    <a:lnTo>
                      <a:pt x="46" y="102"/>
                    </a:lnTo>
                    <a:lnTo>
                      <a:pt x="51" y="102"/>
                    </a:lnTo>
                    <a:lnTo>
                      <a:pt x="49" y="105"/>
                    </a:lnTo>
                    <a:lnTo>
                      <a:pt x="52" y="107"/>
                    </a:lnTo>
                    <a:lnTo>
                      <a:pt x="59" y="105"/>
                    </a:lnTo>
                    <a:lnTo>
                      <a:pt x="64" y="107"/>
                    </a:lnTo>
                    <a:lnTo>
                      <a:pt x="74" y="115"/>
                    </a:lnTo>
                    <a:lnTo>
                      <a:pt x="75" y="120"/>
                    </a:lnTo>
                    <a:lnTo>
                      <a:pt x="79" y="120"/>
                    </a:lnTo>
                    <a:lnTo>
                      <a:pt x="80" y="118"/>
                    </a:lnTo>
                    <a:lnTo>
                      <a:pt x="83" y="118"/>
                    </a:lnTo>
                    <a:lnTo>
                      <a:pt x="87" y="121"/>
                    </a:lnTo>
                    <a:lnTo>
                      <a:pt x="87" y="12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xmlns="" id="{34F37DF7-C4F6-4E6F-B968-C11A0101E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7" y="1044"/>
                <a:ext cx="39" cy="25"/>
              </a:xfrm>
              <a:custGeom>
                <a:avLst/>
                <a:gdLst>
                  <a:gd name="T0" fmla="*/ 23 w 24"/>
                  <a:gd name="T1" fmla="*/ 14 h 15"/>
                  <a:gd name="T2" fmla="*/ 22 w 24"/>
                  <a:gd name="T3" fmla="*/ 10 h 15"/>
                  <a:gd name="T4" fmla="*/ 23 w 24"/>
                  <a:gd name="T5" fmla="*/ 8 h 15"/>
                  <a:gd name="T6" fmla="*/ 22 w 24"/>
                  <a:gd name="T7" fmla="*/ 7 h 15"/>
                  <a:gd name="T8" fmla="*/ 21 w 24"/>
                  <a:gd name="T9" fmla="*/ 7 h 15"/>
                  <a:gd name="T10" fmla="*/ 21 w 24"/>
                  <a:gd name="T11" fmla="*/ 5 h 15"/>
                  <a:gd name="T12" fmla="*/ 20 w 24"/>
                  <a:gd name="T13" fmla="*/ 4 h 15"/>
                  <a:gd name="T14" fmla="*/ 16 w 24"/>
                  <a:gd name="T15" fmla="*/ 5 h 15"/>
                  <a:gd name="T16" fmla="*/ 13 w 24"/>
                  <a:gd name="T17" fmla="*/ 4 h 15"/>
                  <a:gd name="T18" fmla="*/ 11 w 24"/>
                  <a:gd name="T19" fmla="*/ 0 h 15"/>
                  <a:gd name="T20" fmla="*/ 9 w 24"/>
                  <a:gd name="T21" fmla="*/ 1 h 15"/>
                  <a:gd name="T22" fmla="*/ 9 w 24"/>
                  <a:gd name="T23" fmla="*/ 1 h 15"/>
                  <a:gd name="T24" fmla="*/ 7 w 24"/>
                  <a:gd name="T25" fmla="*/ 7 h 15"/>
                  <a:gd name="T26" fmla="*/ 5 w 24"/>
                  <a:gd name="T27" fmla="*/ 7 h 15"/>
                  <a:gd name="T28" fmla="*/ 3 w 24"/>
                  <a:gd name="T29" fmla="*/ 7 h 15"/>
                  <a:gd name="T30" fmla="*/ 0 w 24"/>
                  <a:gd name="T31" fmla="*/ 9 h 15"/>
                  <a:gd name="T32" fmla="*/ 0 w 24"/>
                  <a:gd name="T33" fmla="*/ 12 h 15"/>
                  <a:gd name="T34" fmla="*/ 0 w 24"/>
                  <a:gd name="T35" fmla="*/ 14 h 15"/>
                  <a:gd name="T36" fmla="*/ 12 w 24"/>
                  <a:gd name="T37" fmla="*/ 15 h 15"/>
                  <a:gd name="T38" fmla="*/ 24 w 24"/>
                  <a:gd name="T39" fmla="*/ 14 h 15"/>
                  <a:gd name="T40" fmla="*/ 24 w 24"/>
                  <a:gd name="T41" fmla="*/ 13 h 15"/>
                  <a:gd name="T42" fmla="*/ 23 w 24"/>
                  <a:gd name="T43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3" y="14"/>
                    </a:move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3"/>
                      <a:pt x="12" y="8"/>
                      <a:pt x="7" y="7"/>
                    </a:cubicBezTo>
                    <a:cubicBezTo>
                      <a:pt x="6" y="6"/>
                      <a:pt x="6" y="7"/>
                      <a:pt x="5" y="7"/>
                    </a:cubicBezTo>
                    <a:cubicBezTo>
                      <a:pt x="4" y="6"/>
                      <a:pt x="5" y="5"/>
                      <a:pt x="3" y="7"/>
                    </a:cubicBezTo>
                    <a:cubicBezTo>
                      <a:pt x="1" y="8"/>
                      <a:pt x="0" y="6"/>
                      <a:pt x="0" y="9"/>
                    </a:cubicBezTo>
                    <a:cubicBezTo>
                      <a:pt x="0" y="10"/>
                      <a:pt x="1" y="11"/>
                      <a:pt x="0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3"/>
                      <a:pt x="24" y="13"/>
                    </a:cubicBezTo>
                    <a:lnTo>
                      <a:pt x="23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xmlns="" id="{C75C1C2F-5174-41C9-AE56-CF303775DB77}"/>
                </a:ext>
              </a:extLst>
            </p:cNvPr>
            <p:cNvSpPr/>
            <p:nvPr/>
          </p:nvSpPr>
          <p:spPr>
            <a:xfrm>
              <a:off x="2737555" y="2535972"/>
              <a:ext cx="225137" cy="2251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xmlns="" id="{4005309A-42D8-45C6-92DC-9AB5256465C2}"/>
                </a:ext>
              </a:extLst>
            </p:cNvPr>
            <p:cNvSpPr/>
            <p:nvPr/>
          </p:nvSpPr>
          <p:spPr>
            <a:xfrm>
              <a:off x="3181495" y="3862443"/>
              <a:ext cx="225137" cy="2251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5" name="Ellipse 184">
              <a:extLst>
                <a:ext uri="{FF2B5EF4-FFF2-40B4-BE49-F238E27FC236}">
                  <a16:creationId xmlns:a16="http://schemas.microsoft.com/office/drawing/2014/main" xmlns="" id="{3C2F41CC-E322-4804-BB56-3B8D8110CF53}"/>
                </a:ext>
              </a:extLst>
            </p:cNvPr>
            <p:cNvSpPr/>
            <p:nvPr/>
          </p:nvSpPr>
          <p:spPr>
            <a:xfrm>
              <a:off x="4816772" y="2600916"/>
              <a:ext cx="225137" cy="2251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xmlns="" id="{6332F535-6717-4493-B482-D70AC4F1CC5D}"/>
                </a:ext>
              </a:extLst>
            </p:cNvPr>
            <p:cNvSpPr/>
            <p:nvPr/>
          </p:nvSpPr>
          <p:spPr>
            <a:xfrm>
              <a:off x="5559019" y="2944673"/>
              <a:ext cx="225137" cy="2251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xmlns="" id="{23085306-0EBD-4832-B06E-E43B1B519220}"/>
                </a:ext>
              </a:extLst>
            </p:cNvPr>
            <p:cNvSpPr/>
            <p:nvPr/>
          </p:nvSpPr>
          <p:spPr>
            <a:xfrm>
              <a:off x="5982060" y="2670179"/>
              <a:ext cx="225137" cy="225137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xmlns="" id="{7C9FD49C-388D-460D-924D-758F33D1890A}"/>
                </a:ext>
              </a:extLst>
            </p:cNvPr>
            <p:cNvSpPr/>
            <p:nvPr/>
          </p:nvSpPr>
          <p:spPr>
            <a:xfrm>
              <a:off x="6412012" y="3898275"/>
              <a:ext cx="225137" cy="2251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xmlns="" id="{BD2FE046-0B92-4F5D-907F-AD592044FD65}"/>
                </a:ext>
              </a:extLst>
            </p:cNvPr>
            <p:cNvSpPr/>
            <p:nvPr/>
          </p:nvSpPr>
          <p:spPr>
            <a:xfrm>
              <a:off x="6801387" y="4158304"/>
              <a:ext cx="225137" cy="2251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xmlns="" id="{FE4D4C0C-16DD-4452-94CC-B1CE715964A1}"/>
                </a:ext>
              </a:extLst>
            </p:cNvPr>
            <p:cNvSpPr/>
            <p:nvPr/>
          </p:nvSpPr>
          <p:spPr>
            <a:xfrm>
              <a:off x="6554270" y="2636787"/>
              <a:ext cx="225137" cy="2251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xmlns="" id="{60FDE14B-F143-4C90-8DB0-B97356E2C106}"/>
                </a:ext>
              </a:extLst>
            </p:cNvPr>
            <p:cNvSpPr/>
            <p:nvPr/>
          </p:nvSpPr>
          <p:spPr>
            <a:xfrm>
              <a:off x="5965264" y="3207436"/>
              <a:ext cx="225137" cy="2251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55331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xmlns="" id="{BD8F6872-F376-476F-AA0B-5DDBBE634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all" dirty="0"/>
              <a:t>World MAP + ZOOM EUROPE</a:t>
            </a:r>
            <a:endParaRPr lang="fr-BE" cap="all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xmlns="" id="{79E95D64-085C-48A8-AA5F-5693CC72EA1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 noProof="0"/>
              <a:t>02/02/2018</a:t>
            </a:r>
            <a:endParaRPr lang="en-US" noProof="0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xmlns="" id="{19829CB5-CFF2-4DA8-A087-F5E53105E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noProof="0"/>
              <a:t>GEM Week - How GEM drives energy transition for its clients?</a:t>
            </a:r>
            <a:endParaRPr lang="en-US" noProof="0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xmlns="" id="{6BA7278A-D9DA-48F5-A7D4-46F22D656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en-US" noProof="0" smtClean="0"/>
              <a:pPr/>
              <a:t>31</a:t>
            </a:fld>
            <a:endParaRPr lang="en-US" noProof="0" dirty="0"/>
          </a:p>
        </p:txBody>
      </p:sp>
      <p:grpSp>
        <p:nvGrpSpPr>
          <p:cNvPr id="366" name="Groupe 365">
            <a:extLst>
              <a:ext uri="{FF2B5EF4-FFF2-40B4-BE49-F238E27FC236}">
                <a16:creationId xmlns:a16="http://schemas.microsoft.com/office/drawing/2014/main" xmlns="" id="{3B73B33A-B5FA-4ED4-AAAC-D5E0377F7AF3}"/>
              </a:ext>
            </a:extLst>
          </p:cNvPr>
          <p:cNvGrpSpPr/>
          <p:nvPr/>
        </p:nvGrpSpPr>
        <p:grpSpPr>
          <a:xfrm>
            <a:off x="0" y="1916832"/>
            <a:ext cx="6149381" cy="3653766"/>
            <a:chOff x="250825" y="1298608"/>
            <a:chExt cx="5538117" cy="3290573"/>
          </a:xfrm>
        </p:grpSpPr>
        <p:grpSp>
          <p:nvGrpSpPr>
            <p:cNvPr id="367" name="Group 4">
              <a:extLst>
                <a:ext uri="{FF2B5EF4-FFF2-40B4-BE49-F238E27FC236}">
                  <a16:creationId xmlns:a16="http://schemas.microsoft.com/office/drawing/2014/main" xmlns="" id="{2D80BE33-216F-4074-B26C-D67644E8881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0825" y="1298608"/>
              <a:ext cx="5538117" cy="3290573"/>
              <a:chOff x="154" y="0"/>
              <a:chExt cx="5453" cy="3240"/>
            </a:xfrm>
          </p:grpSpPr>
          <p:grpSp>
            <p:nvGrpSpPr>
              <p:cNvPr id="394" name="Group 205">
                <a:extLst>
                  <a:ext uri="{FF2B5EF4-FFF2-40B4-BE49-F238E27FC236}">
                    <a16:creationId xmlns:a16="http://schemas.microsoft.com/office/drawing/2014/main" xmlns="" id="{0228BCD7-BFD2-416A-844D-FDBCAE36F5B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15" y="57"/>
                <a:ext cx="2792" cy="2355"/>
                <a:chOff x="2815" y="57"/>
                <a:chExt cx="2792" cy="2355"/>
              </a:xfrm>
            </p:grpSpPr>
            <p:sp>
              <p:nvSpPr>
                <p:cNvPr id="841" name="Freeform 5">
                  <a:extLst>
                    <a:ext uri="{FF2B5EF4-FFF2-40B4-BE49-F238E27FC236}">
                      <a16:creationId xmlns:a16="http://schemas.microsoft.com/office/drawing/2014/main" xmlns="" id="{46BA7DD2-846A-4717-B867-CC051A4971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2266"/>
                  <a:ext cx="4" cy="7"/>
                </a:xfrm>
                <a:custGeom>
                  <a:avLst/>
                  <a:gdLst>
                    <a:gd name="T0" fmla="*/ 0 w 4"/>
                    <a:gd name="T1" fmla="*/ 7 h 7"/>
                    <a:gd name="T2" fmla="*/ 0 w 4"/>
                    <a:gd name="T3" fmla="*/ 4 h 7"/>
                    <a:gd name="T4" fmla="*/ 0 w 4"/>
                    <a:gd name="T5" fmla="*/ 0 h 7"/>
                    <a:gd name="T6" fmla="*/ 1 w 4"/>
                    <a:gd name="T7" fmla="*/ 0 h 7"/>
                    <a:gd name="T8" fmla="*/ 4 w 4"/>
                    <a:gd name="T9" fmla="*/ 2 h 7"/>
                    <a:gd name="T10" fmla="*/ 1 w 4"/>
                    <a:gd name="T11" fmla="*/ 7 h 7"/>
                    <a:gd name="T12" fmla="*/ 0 w 4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1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2" name="Freeform 6">
                  <a:extLst>
                    <a:ext uri="{FF2B5EF4-FFF2-40B4-BE49-F238E27FC236}">
                      <a16:creationId xmlns:a16="http://schemas.microsoft.com/office/drawing/2014/main" xmlns="" id="{53D0EECE-612B-4A81-A591-52AE6F4FD6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39" y="2243"/>
                  <a:ext cx="24" cy="18"/>
                </a:xfrm>
                <a:custGeom>
                  <a:avLst/>
                  <a:gdLst>
                    <a:gd name="T0" fmla="*/ 4 w 24"/>
                    <a:gd name="T1" fmla="*/ 10 h 18"/>
                    <a:gd name="T2" fmla="*/ 6 w 24"/>
                    <a:gd name="T3" fmla="*/ 9 h 18"/>
                    <a:gd name="T4" fmla="*/ 4 w 24"/>
                    <a:gd name="T5" fmla="*/ 5 h 18"/>
                    <a:gd name="T6" fmla="*/ 6 w 24"/>
                    <a:gd name="T7" fmla="*/ 4 h 18"/>
                    <a:gd name="T8" fmla="*/ 4 w 24"/>
                    <a:gd name="T9" fmla="*/ 0 h 18"/>
                    <a:gd name="T10" fmla="*/ 3 w 24"/>
                    <a:gd name="T11" fmla="*/ 0 h 18"/>
                    <a:gd name="T12" fmla="*/ 0 w 24"/>
                    <a:gd name="T13" fmla="*/ 4 h 18"/>
                    <a:gd name="T14" fmla="*/ 1 w 24"/>
                    <a:gd name="T15" fmla="*/ 7 h 18"/>
                    <a:gd name="T16" fmla="*/ 1 w 24"/>
                    <a:gd name="T17" fmla="*/ 10 h 18"/>
                    <a:gd name="T18" fmla="*/ 3 w 24"/>
                    <a:gd name="T19" fmla="*/ 10 h 18"/>
                    <a:gd name="T20" fmla="*/ 4 w 24"/>
                    <a:gd name="T21" fmla="*/ 10 h 18"/>
                    <a:gd name="T22" fmla="*/ 4 w 24"/>
                    <a:gd name="T23" fmla="*/ 10 h 18"/>
                    <a:gd name="T24" fmla="*/ 6 w 24"/>
                    <a:gd name="T25" fmla="*/ 17 h 18"/>
                    <a:gd name="T26" fmla="*/ 8 w 24"/>
                    <a:gd name="T27" fmla="*/ 17 h 18"/>
                    <a:gd name="T28" fmla="*/ 9 w 24"/>
                    <a:gd name="T29" fmla="*/ 18 h 18"/>
                    <a:gd name="T30" fmla="*/ 6 w 24"/>
                    <a:gd name="T31" fmla="*/ 18 h 18"/>
                    <a:gd name="T32" fmla="*/ 6 w 24"/>
                    <a:gd name="T33" fmla="*/ 18 h 18"/>
                    <a:gd name="T34" fmla="*/ 6 w 24"/>
                    <a:gd name="T35" fmla="*/ 17 h 18"/>
                    <a:gd name="T36" fmla="*/ 6 w 24"/>
                    <a:gd name="T37" fmla="*/ 17 h 18"/>
                    <a:gd name="T38" fmla="*/ 22 w 24"/>
                    <a:gd name="T39" fmla="*/ 18 h 18"/>
                    <a:gd name="T40" fmla="*/ 24 w 24"/>
                    <a:gd name="T41" fmla="*/ 17 h 18"/>
                    <a:gd name="T42" fmla="*/ 22 w 24"/>
                    <a:gd name="T43" fmla="*/ 13 h 18"/>
                    <a:gd name="T44" fmla="*/ 21 w 24"/>
                    <a:gd name="T45" fmla="*/ 15 h 18"/>
                    <a:gd name="T46" fmla="*/ 19 w 24"/>
                    <a:gd name="T47" fmla="*/ 15 h 18"/>
                    <a:gd name="T48" fmla="*/ 21 w 24"/>
                    <a:gd name="T49" fmla="*/ 17 h 18"/>
                    <a:gd name="T50" fmla="*/ 22 w 24"/>
                    <a:gd name="T51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4" h="18">
                      <a:moveTo>
                        <a:pt x="4" y="10"/>
                      </a:moveTo>
                      <a:lnTo>
                        <a:pt x="6" y="9"/>
                      </a:lnTo>
                      <a:lnTo>
                        <a:pt x="4" y="5"/>
                      </a:ln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close/>
                      <a:moveTo>
                        <a:pt x="6" y="17"/>
                      </a:moveTo>
                      <a:lnTo>
                        <a:pt x="8" y="17"/>
                      </a:lnTo>
                      <a:lnTo>
                        <a:pt x="9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7"/>
                      </a:lnTo>
                      <a:lnTo>
                        <a:pt x="6" y="17"/>
                      </a:lnTo>
                      <a:close/>
                      <a:moveTo>
                        <a:pt x="22" y="18"/>
                      </a:moveTo>
                      <a:lnTo>
                        <a:pt x="24" y="17"/>
                      </a:lnTo>
                      <a:lnTo>
                        <a:pt x="22" y="13"/>
                      </a:lnTo>
                      <a:lnTo>
                        <a:pt x="21" y="15"/>
                      </a:lnTo>
                      <a:lnTo>
                        <a:pt x="19" y="15"/>
                      </a:lnTo>
                      <a:lnTo>
                        <a:pt x="21" y="17"/>
                      </a:lnTo>
                      <a:lnTo>
                        <a:pt x="22" y="1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3" name="Freeform 7">
                  <a:extLst>
                    <a:ext uri="{FF2B5EF4-FFF2-40B4-BE49-F238E27FC236}">
                      <a16:creationId xmlns:a16="http://schemas.microsoft.com/office/drawing/2014/main" xmlns="" id="{105CB85C-3589-4822-90EA-4A01035EA87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91" y="2136"/>
                  <a:ext cx="150" cy="83"/>
                </a:xfrm>
                <a:custGeom>
                  <a:avLst/>
                  <a:gdLst>
                    <a:gd name="T0" fmla="*/ 147 w 150"/>
                    <a:gd name="T1" fmla="*/ 3 h 83"/>
                    <a:gd name="T2" fmla="*/ 150 w 150"/>
                    <a:gd name="T3" fmla="*/ 3 h 83"/>
                    <a:gd name="T4" fmla="*/ 150 w 150"/>
                    <a:gd name="T5" fmla="*/ 0 h 83"/>
                    <a:gd name="T6" fmla="*/ 147 w 150"/>
                    <a:gd name="T7" fmla="*/ 0 h 83"/>
                    <a:gd name="T8" fmla="*/ 145 w 150"/>
                    <a:gd name="T9" fmla="*/ 1 h 83"/>
                    <a:gd name="T10" fmla="*/ 147 w 150"/>
                    <a:gd name="T11" fmla="*/ 3 h 83"/>
                    <a:gd name="T12" fmla="*/ 147 w 150"/>
                    <a:gd name="T13" fmla="*/ 3 h 83"/>
                    <a:gd name="T14" fmla="*/ 3 w 150"/>
                    <a:gd name="T15" fmla="*/ 81 h 83"/>
                    <a:gd name="T16" fmla="*/ 5 w 150"/>
                    <a:gd name="T17" fmla="*/ 81 h 83"/>
                    <a:gd name="T18" fmla="*/ 5 w 150"/>
                    <a:gd name="T19" fmla="*/ 83 h 83"/>
                    <a:gd name="T20" fmla="*/ 3 w 150"/>
                    <a:gd name="T21" fmla="*/ 81 h 83"/>
                    <a:gd name="T22" fmla="*/ 3 w 150"/>
                    <a:gd name="T23" fmla="*/ 81 h 83"/>
                    <a:gd name="T24" fmla="*/ 0 w 150"/>
                    <a:gd name="T25" fmla="*/ 76 h 83"/>
                    <a:gd name="T26" fmla="*/ 1 w 150"/>
                    <a:gd name="T27" fmla="*/ 75 h 83"/>
                    <a:gd name="T28" fmla="*/ 3 w 150"/>
                    <a:gd name="T29" fmla="*/ 75 h 83"/>
                    <a:gd name="T30" fmla="*/ 5 w 150"/>
                    <a:gd name="T31" fmla="*/ 75 h 83"/>
                    <a:gd name="T32" fmla="*/ 5 w 150"/>
                    <a:gd name="T33" fmla="*/ 76 h 83"/>
                    <a:gd name="T34" fmla="*/ 1 w 150"/>
                    <a:gd name="T35" fmla="*/ 76 h 83"/>
                    <a:gd name="T36" fmla="*/ 0 w 150"/>
                    <a:gd name="T37" fmla="*/ 76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0" h="83">
                      <a:moveTo>
                        <a:pt x="147" y="3"/>
                      </a:moveTo>
                      <a:lnTo>
                        <a:pt x="150" y="3"/>
                      </a:lnTo>
                      <a:lnTo>
                        <a:pt x="150" y="0"/>
                      </a:lnTo>
                      <a:lnTo>
                        <a:pt x="147" y="0"/>
                      </a:lnTo>
                      <a:lnTo>
                        <a:pt x="145" y="1"/>
                      </a:lnTo>
                      <a:lnTo>
                        <a:pt x="147" y="3"/>
                      </a:lnTo>
                      <a:lnTo>
                        <a:pt x="147" y="3"/>
                      </a:lnTo>
                      <a:close/>
                      <a:moveTo>
                        <a:pt x="3" y="81"/>
                      </a:moveTo>
                      <a:lnTo>
                        <a:pt x="5" y="81"/>
                      </a:lnTo>
                      <a:lnTo>
                        <a:pt x="5" y="83"/>
                      </a:lnTo>
                      <a:lnTo>
                        <a:pt x="3" y="81"/>
                      </a:lnTo>
                      <a:lnTo>
                        <a:pt x="3" y="81"/>
                      </a:lnTo>
                      <a:close/>
                      <a:moveTo>
                        <a:pt x="0" y="76"/>
                      </a:moveTo>
                      <a:lnTo>
                        <a:pt x="1" y="75"/>
                      </a:lnTo>
                      <a:lnTo>
                        <a:pt x="3" y="75"/>
                      </a:lnTo>
                      <a:lnTo>
                        <a:pt x="5" y="75"/>
                      </a:lnTo>
                      <a:lnTo>
                        <a:pt x="5" y="76"/>
                      </a:lnTo>
                      <a:lnTo>
                        <a:pt x="1" y="76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4" name="Freeform 8">
                  <a:extLst>
                    <a:ext uri="{FF2B5EF4-FFF2-40B4-BE49-F238E27FC236}">
                      <a16:creationId xmlns:a16="http://schemas.microsoft.com/office/drawing/2014/main" xmlns="" id="{95FAC030-7D12-47F3-B6BA-632AF80996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19" y="1832"/>
                  <a:ext cx="34" cy="117"/>
                </a:xfrm>
                <a:custGeom>
                  <a:avLst/>
                  <a:gdLst>
                    <a:gd name="T0" fmla="*/ 8 w 21"/>
                    <a:gd name="T1" fmla="*/ 11 h 72"/>
                    <a:gd name="T2" fmla="*/ 7 w 21"/>
                    <a:gd name="T3" fmla="*/ 8 h 72"/>
                    <a:gd name="T4" fmla="*/ 9 w 21"/>
                    <a:gd name="T5" fmla="*/ 3 h 72"/>
                    <a:gd name="T6" fmla="*/ 9 w 21"/>
                    <a:gd name="T7" fmla="*/ 1 h 72"/>
                    <a:gd name="T8" fmla="*/ 6 w 21"/>
                    <a:gd name="T9" fmla="*/ 2 h 72"/>
                    <a:gd name="T10" fmla="*/ 6 w 21"/>
                    <a:gd name="T11" fmla="*/ 7 h 72"/>
                    <a:gd name="T12" fmla="*/ 5 w 21"/>
                    <a:gd name="T13" fmla="*/ 12 h 72"/>
                    <a:gd name="T14" fmla="*/ 5 w 21"/>
                    <a:gd name="T15" fmla="*/ 25 h 72"/>
                    <a:gd name="T16" fmla="*/ 6 w 21"/>
                    <a:gd name="T17" fmla="*/ 20 h 72"/>
                    <a:gd name="T18" fmla="*/ 6 w 21"/>
                    <a:gd name="T19" fmla="*/ 16 h 72"/>
                    <a:gd name="T20" fmla="*/ 7 w 21"/>
                    <a:gd name="T21" fmla="*/ 14 h 72"/>
                    <a:gd name="T22" fmla="*/ 5 w 21"/>
                    <a:gd name="T23" fmla="*/ 18 h 72"/>
                    <a:gd name="T24" fmla="*/ 5 w 21"/>
                    <a:gd name="T25" fmla="*/ 22 h 72"/>
                    <a:gd name="T26" fmla="*/ 5 w 21"/>
                    <a:gd name="T27" fmla="*/ 25 h 72"/>
                    <a:gd name="T28" fmla="*/ 2 w 21"/>
                    <a:gd name="T29" fmla="*/ 23 h 72"/>
                    <a:gd name="T30" fmla="*/ 0 w 21"/>
                    <a:gd name="T31" fmla="*/ 23 h 72"/>
                    <a:gd name="T32" fmla="*/ 5 w 21"/>
                    <a:gd name="T33" fmla="*/ 34 h 72"/>
                    <a:gd name="T34" fmla="*/ 6 w 21"/>
                    <a:gd name="T35" fmla="*/ 29 h 72"/>
                    <a:gd name="T36" fmla="*/ 3 w 21"/>
                    <a:gd name="T37" fmla="*/ 32 h 72"/>
                    <a:gd name="T38" fmla="*/ 9 w 21"/>
                    <a:gd name="T39" fmla="*/ 46 h 72"/>
                    <a:gd name="T40" fmla="*/ 8 w 21"/>
                    <a:gd name="T41" fmla="*/ 47 h 72"/>
                    <a:gd name="T42" fmla="*/ 11 w 21"/>
                    <a:gd name="T43" fmla="*/ 54 h 72"/>
                    <a:gd name="T44" fmla="*/ 14 w 21"/>
                    <a:gd name="T45" fmla="*/ 57 h 72"/>
                    <a:gd name="T46" fmla="*/ 11 w 21"/>
                    <a:gd name="T47" fmla="*/ 54 h 72"/>
                    <a:gd name="T48" fmla="*/ 16 w 21"/>
                    <a:gd name="T49" fmla="*/ 57 h 72"/>
                    <a:gd name="T50" fmla="*/ 17 w 21"/>
                    <a:gd name="T51" fmla="*/ 57 h 72"/>
                    <a:gd name="T52" fmla="*/ 17 w 21"/>
                    <a:gd name="T53" fmla="*/ 55 h 72"/>
                    <a:gd name="T54" fmla="*/ 15 w 21"/>
                    <a:gd name="T55" fmla="*/ 61 h 72"/>
                    <a:gd name="T56" fmla="*/ 15 w 21"/>
                    <a:gd name="T57" fmla="*/ 58 h 72"/>
                    <a:gd name="T58" fmla="*/ 14 w 21"/>
                    <a:gd name="T59" fmla="*/ 60 h 72"/>
                    <a:gd name="T60" fmla="*/ 19 w 21"/>
                    <a:gd name="T61" fmla="*/ 63 h 72"/>
                    <a:gd name="T62" fmla="*/ 17 w 21"/>
                    <a:gd name="T63" fmla="*/ 65 h 72"/>
                    <a:gd name="T64" fmla="*/ 19 w 21"/>
                    <a:gd name="T65" fmla="*/ 66 h 72"/>
                    <a:gd name="T66" fmla="*/ 18 w 21"/>
                    <a:gd name="T67" fmla="*/ 69 h 72"/>
                    <a:gd name="T68" fmla="*/ 20 w 21"/>
                    <a:gd name="T69" fmla="*/ 72 h 72"/>
                    <a:gd name="T70" fmla="*/ 20 w 21"/>
                    <a:gd name="T71" fmla="*/ 69 h 72"/>
                    <a:gd name="T72" fmla="*/ 19 w 21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1" h="72">
                      <a:moveTo>
                        <a:pt x="6" y="13"/>
                      </a:move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6" y="13"/>
                        <a:pt x="6" y="13"/>
                        <a:pt x="6" y="13"/>
                      </a:cubicBezTo>
                      <a:close/>
                      <a:moveTo>
                        <a:pt x="5" y="25"/>
                      </a:move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7" y="14"/>
                        <a:pt x="7" y="14"/>
                        <a:pt x="7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5" y="22"/>
                        <a:pt x="5" y="22"/>
                        <a:pt x="5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5" y="25"/>
                        <a:pt x="5" y="25"/>
                        <a:pt x="5" y="25"/>
                      </a:cubicBezTo>
                      <a:close/>
                      <a:moveTo>
                        <a:pt x="0" y="23"/>
                      </a:move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3"/>
                        <a:pt x="0" y="23"/>
                        <a:pt x="0" y="23"/>
                      </a:cubicBezTo>
                      <a:close/>
                      <a:moveTo>
                        <a:pt x="3" y="34"/>
                      </a:move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6" y="29"/>
                        <a:pt x="6" y="29"/>
                        <a:pt x="6" y="29"/>
                      </a:cubicBezTo>
                      <a:cubicBezTo>
                        <a:pt x="4" y="30"/>
                        <a:pt x="4" y="30"/>
                        <a:pt x="4" y="30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3" y="32"/>
                        <a:pt x="3" y="34"/>
                        <a:pt x="3" y="34"/>
                      </a:cubicBezTo>
                      <a:close/>
                      <a:moveTo>
                        <a:pt x="9" y="46"/>
                      </a:moveTo>
                      <a:cubicBezTo>
                        <a:pt x="7" y="46"/>
                        <a:pt x="7" y="46"/>
                        <a:pt x="7" y="46"/>
                      </a:cubicBezTo>
                      <a:cubicBezTo>
                        <a:pt x="8" y="47"/>
                        <a:pt x="8" y="47"/>
                        <a:pt x="8" y="47"/>
                      </a:cubicBezTo>
                      <a:cubicBezTo>
                        <a:pt x="9" y="46"/>
                        <a:pt x="9" y="46"/>
                        <a:pt x="9" y="46"/>
                      </a:cubicBezTo>
                      <a:close/>
                      <a:moveTo>
                        <a:pt x="11" y="54"/>
                      </a:move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5"/>
                        <a:pt x="11" y="54"/>
                        <a:pt x="11" y="54"/>
                      </a:cubicBezTo>
                      <a:close/>
                      <a:moveTo>
                        <a:pt x="17" y="55"/>
                      </a:moveTo>
                      <a:cubicBezTo>
                        <a:pt x="16" y="57"/>
                        <a:pt x="16" y="57"/>
                        <a:pt x="16" y="57"/>
                      </a:cubicBezTo>
                      <a:cubicBezTo>
                        <a:pt x="17" y="58"/>
                        <a:pt x="17" y="58"/>
                        <a:pt x="17" y="58"/>
                      </a:cubicBezTo>
                      <a:cubicBezTo>
                        <a:pt x="17" y="57"/>
                        <a:pt x="17" y="57"/>
                        <a:pt x="17" y="57"/>
                      </a:cubicBezTo>
                      <a:cubicBezTo>
                        <a:pt x="17" y="56"/>
                        <a:pt x="17" y="56"/>
                        <a:pt x="17" y="56"/>
                      </a:cubicBezTo>
                      <a:cubicBezTo>
                        <a:pt x="17" y="55"/>
                        <a:pt x="17" y="55"/>
                        <a:pt x="17" y="55"/>
                      </a:cubicBezTo>
                      <a:close/>
                      <a:moveTo>
                        <a:pt x="14" y="60"/>
                      </a:moveTo>
                      <a:cubicBezTo>
                        <a:pt x="15" y="61"/>
                        <a:pt x="15" y="61"/>
                        <a:pt x="15" y="61"/>
                      </a:cubicBezTo>
                      <a:cubicBezTo>
                        <a:pt x="16" y="60"/>
                        <a:pt x="16" y="60"/>
                        <a:pt x="16" y="60"/>
                      </a:cubicBezTo>
                      <a:cubicBezTo>
                        <a:pt x="15" y="58"/>
                        <a:pt x="15" y="58"/>
                        <a:pt x="15" y="58"/>
                      </a:cubicBezTo>
                      <a:cubicBezTo>
                        <a:pt x="14" y="59"/>
                        <a:pt x="14" y="59"/>
                        <a:pt x="14" y="59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lose/>
                      <a:moveTo>
                        <a:pt x="18" y="65"/>
                      </a:moveTo>
                      <a:cubicBezTo>
                        <a:pt x="19" y="63"/>
                        <a:pt x="19" y="63"/>
                        <a:pt x="19" y="63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7" y="65"/>
                        <a:pt x="17" y="65"/>
                        <a:pt x="17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lose/>
                      <a:moveTo>
                        <a:pt x="19" y="66"/>
                      </a:moveTo>
                      <a:cubicBezTo>
                        <a:pt x="18" y="67"/>
                        <a:pt x="18" y="67"/>
                        <a:pt x="18" y="67"/>
                      </a:cubicBezTo>
                      <a:cubicBezTo>
                        <a:pt x="18" y="69"/>
                        <a:pt x="18" y="69"/>
                        <a:pt x="18" y="69"/>
                      </a:cubicBezTo>
                      <a:cubicBezTo>
                        <a:pt x="18" y="69"/>
                        <a:pt x="19" y="69"/>
                        <a:pt x="19" y="70"/>
                      </a:cubicBezTo>
                      <a:cubicBezTo>
                        <a:pt x="19" y="70"/>
                        <a:pt x="20" y="72"/>
                        <a:pt x="20" y="72"/>
                      </a:cubicBezTo>
                      <a:cubicBezTo>
                        <a:pt x="21" y="70"/>
                        <a:pt x="21" y="70"/>
                        <a:pt x="21" y="70"/>
                      </a:cubicBezTo>
                      <a:cubicBezTo>
                        <a:pt x="20" y="69"/>
                        <a:pt x="20" y="69"/>
                        <a:pt x="20" y="69"/>
                      </a:cubicBezTo>
                      <a:cubicBezTo>
                        <a:pt x="20" y="67"/>
                        <a:pt x="20" y="67"/>
                        <a:pt x="20" y="67"/>
                      </a:cubicBezTo>
                      <a:lnTo>
                        <a:pt x="19" y="6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5" name="Freeform 9">
                  <a:extLst>
                    <a:ext uri="{FF2B5EF4-FFF2-40B4-BE49-F238E27FC236}">
                      <a16:creationId xmlns:a16="http://schemas.microsoft.com/office/drawing/2014/main" xmlns="" id="{728C6886-B616-439A-A42E-DD673A2F69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49" y="1797"/>
                  <a:ext cx="18" cy="38"/>
                </a:xfrm>
                <a:custGeom>
                  <a:avLst/>
                  <a:gdLst>
                    <a:gd name="T0" fmla="*/ 18 w 18"/>
                    <a:gd name="T1" fmla="*/ 0 h 38"/>
                    <a:gd name="T2" fmla="*/ 15 w 18"/>
                    <a:gd name="T3" fmla="*/ 2 h 38"/>
                    <a:gd name="T4" fmla="*/ 16 w 18"/>
                    <a:gd name="T5" fmla="*/ 7 h 38"/>
                    <a:gd name="T6" fmla="*/ 16 w 18"/>
                    <a:gd name="T7" fmla="*/ 4 h 38"/>
                    <a:gd name="T8" fmla="*/ 18 w 18"/>
                    <a:gd name="T9" fmla="*/ 2 h 38"/>
                    <a:gd name="T10" fmla="*/ 18 w 18"/>
                    <a:gd name="T11" fmla="*/ 0 h 38"/>
                    <a:gd name="T12" fmla="*/ 18 w 18"/>
                    <a:gd name="T13" fmla="*/ 0 h 38"/>
                    <a:gd name="T14" fmla="*/ 8 w 18"/>
                    <a:gd name="T15" fmla="*/ 22 h 38"/>
                    <a:gd name="T16" fmla="*/ 11 w 18"/>
                    <a:gd name="T17" fmla="*/ 20 h 38"/>
                    <a:gd name="T18" fmla="*/ 13 w 18"/>
                    <a:gd name="T19" fmla="*/ 23 h 38"/>
                    <a:gd name="T20" fmla="*/ 11 w 18"/>
                    <a:gd name="T21" fmla="*/ 23 h 38"/>
                    <a:gd name="T22" fmla="*/ 8 w 18"/>
                    <a:gd name="T23" fmla="*/ 22 h 38"/>
                    <a:gd name="T24" fmla="*/ 8 w 18"/>
                    <a:gd name="T25" fmla="*/ 22 h 38"/>
                    <a:gd name="T26" fmla="*/ 0 w 18"/>
                    <a:gd name="T27" fmla="*/ 35 h 38"/>
                    <a:gd name="T28" fmla="*/ 1 w 18"/>
                    <a:gd name="T29" fmla="*/ 33 h 38"/>
                    <a:gd name="T30" fmla="*/ 5 w 18"/>
                    <a:gd name="T31" fmla="*/ 31 h 38"/>
                    <a:gd name="T32" fmla="*/ 6 w 18"/>
                    <a:gd name="T33" fmla="*/ 33 h 38"/>
                    <a:gd name="T34" fmla="*/ 3 w 18"/>
                    <a:gd name="T35" fmla="*/ 38 h 38"/>
                    <a:gd name="T36" fmla="*/ 0 w 18"/>
                    <a:gd name="T37" fmla="*/ 38 h 38"/>
                    <a:gd name="T38" fmla="*/ 0 w 18"/>
                    <a:gd name="T39" fmla="*/ 36 h 38"/>
                    <a:gd name="T40" fmla="*/ 0 w 18"/>
                    <a:gd name="T41" fmla="*/ 3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8" h="38">
                      <a:moveTo>
                        <a:pt x="18" y="0"/>
                      </a:moveTo>
                      <a:lnTo>
                        <a:pt x="15" y="2"/>
                      </a:lnTo>
                      <a:lnTo>
                        <a:pt x="16" y="7"/>
                      </a:lnTo>
                      <a:lnTo>
                        <a:pt x="16" y="4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8" y="0"/>
                      </a:lnTo>
                      <a:close/>
                      <a:moveTo>
                        <a:pt x="8" y="22"/>
                      </a:moveTo>
                      <a:lnTo>
                        <a:pt x="11" y="20"/>
                      </a:lnTo>
                      <a:lnTo>
                        <a:pt x="13" y="23"/>
                      </a:lnTo>
                      <a:lnTo>
                        <a:pt x="11" y="23"/>
                      </a:lnTo>
                      <a:lnTo>
                        <a:pt x="8" y="22"/>
                      </a:lnTo>
                      <a:lnTo>
                        <a:pt x="8" y="22"/>
                      </a:lnTo>
                      <a:close/>
                      <a:moveTo>
                        <a:pt x="0" y="35"/>
                      </a:moveTo>
                      <a:lnTo>
                        <a:pt x="1" y="33"/>
                      </a:lnTo>
                      <a:lnTo>
                        <a:pt x="5" y="31"/>
                      </a:lnTo>
                      <a:lnTo>
                        <a:pt x="6" y="33"/>
                      </a:lnTo>
                      <a:lnTo>
                        <a:pt x="3" y="38"/>
                      </a:lnTo>
                      <a:lnTo>
                        <a:pt x="0" y="38"/>
                      </a:lnTo>
                      <a:lnTo>
                        <a:pt x="0" y="36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6" name="Freeform 10">
                  <a:extLst>
                    <a:ext uri="{FF2B5EF4-FFF2-40B4-BE49-F238E27FC236}">
                      <a16:creationId xmlns:a16="http://schemas.microsoft.com/office/drawing/2014/main" xmlns="" id="{C3FEAE3F-C1E9-46DD-8426-A15CAFFA9A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196"/>
                  <a:ext cx="2084" cy="1145"/>
                </a:xfrm>
                <a:custGeom>
                  <a:avLst/>
                  <a:gdLst>
                    <a:gd name="T0" fmla="*/ 1004 w 1276"/>
                    <a:gd name="T1" fmla="*/ 569 h 701"/>
                    <a:gd name="T2" fmla="*/ 962 w 1276"/>
                    <a:gd name="T3" fmla="*/ 540 h 701"/>
                    <a:gd name="T4" fmla="*/ 906 w 1276"/>
                    <a:gd name="T5" fmla="*/ 492 h 701"/>
                    <a:gd name="T6" fmla="*/ 844 w 1276"/>
                    <a:gd name="T7" fmla="*/ 493 h 701"/>
                    <a:gd name="T8" fmla="*/ 797 w 1276"/>
                    <a:gd name="T9" fmla="*/ 548 h 701"/>
                    <a:gd name="T10" fmla="*/ 667 w 1276"/>
                    <a:gd name="T11" fmla="*/ 527 h 701"/>
                    <a:gd name="T12" fmla="*/ 591 w 1276"/>
                    <a:gd name="T13" fmla="*/ 558 h 701"/>
                    <a:gd name="T14" fmla="*/ 499 w 1276"/>
                    <a:gd name="T15" fmla="*/ 554 h 701"/>
                    <a:gd name="T16" fmla="*/ 399 w 1276"/>
                    <a:gd name="T17" fmla="*/ 502 h 701"/>
                    <a:gd name="T18" fmla="*/ 321 w 1276"/>
                    <a:gd name="T19" fmla="*/ 536 h 701"/>
                    <a:gd name="T20" fmla="*/ 269 w 1276"/>
                    <a:gd name="T21" fmla="*/ 575 h 701"/>
                    <a:gd name="T22" fmla="*/ 219 w 1276"/>
                    <a:gd name="T23" fmla="*/ 626 h 701"/>
                    <a:gd name="T24" fmla="*/ 231 w 1276"/>
                    <a:gd name="T25" fmla="*/ 690 h 701"/>
                    <a:gd name="T26" fmla="*/ 116 w 1276"/>
                    <a:gd name="T27" fmla="*/ 653 h 701"/>
                    <a:gd name="T28" fmla="*/ 107 w 1276"/>
                    <a:gd name="T29" fmla="*/ 585 h 701"/>
                    <a:gd name="T30" fmla="*/ 18 w 1276"/>
                    <a:gd name="T31" fmla="*/ 494 h 701"/>
                    <a:gd name="T32" fmla="*/ 22 w 1276"/>
                    <a:gd name="T33" fmla="*/ 372 h 701"/>
                    <a:gd name="T34" fmla="*/ 30 w 1276"/>
                    <a:gd name="T35" fmla="*/ 285 h 701"/>
                    <a:gd name="T36" fmla="*/ 96 w 1276"/>
                    <a:gd name="T37" fmla="*/ 315 h 701"/>
                    <a:gd name="T38" fmla="*/ 46 w 1276"/>
                    <a:gd name="T39" fmla="*/ 342 h 701"/>
                    <a:gd name="T40" fmla="*/ 75 w 1276"/>
                    <a:gd name="T41" fmla="*/ 362 h 701"/>
                    <a:gd name="T42" fmla="*/ 124 w 1276"/>
                    <a:gd name="T43" fmla="*/ 298 h 701"/>
                    <a:gd name="T44" fmla="*/ 190 w 1276"/>
                    <a:gd name="T45" fmla="*/ 288 h 701"/>
                    <a:gd name="T46" fmla="*/ 239 w 1276"/>
                    <a:gd name="T47" fmla="*/ 283 h 701"/>
                    <a:gd name="T48" fmla="*/ 315 w 1276"/>
                    <a:gd name="T49" fmla="*/ 269 h 701"/>
                    <a:gd name="T50" fmla="*/ 307 w 1276"/>
                    <a:gd name="T51" fmla="*/ 184 h 701"/>
                    <a:gd name="T52" fmla="*/ 346 w 1276"/>
                    <a:gd name="T53" fmla="*/ 310 h 701"/>
                    <a:gd name="T54" fmla="*/ 393 w 1276"/>
                    <a:gd name="T55" fmla="*/ 284 h 701"/>
                    <a:gd name="T56" fmla="*/ 330 w 1276"/>
                    <a:gd name="T57" fmla="*/ 183 h 701"/>
                    <a:gd name="T58" fmla="*/ 369 w 1276"/>
                    <a:gd name="T59" fmla="*/ 186 h 701"/>
                    <a:gd name="T60" fmla="*/ 410 w 1276"/>
                    <a:gd name="T61" fmla="*/ 224 h 701"/>
                    <a:gd name="T62" fmla="*/ 402 w 1276"/>
                    <a:gd name="T63" fmla="*/ 133 h 701"/>
                    <a:gd name="T64" fmla="*/ 411 w 1276"/>
                    <a:gd name="T65" fmla="*/ 84 h 701"/>
                    <a:gd name="T66" fmla="*/ 454 w 1276"/>
                    <a:gd name="T67" fmla="*/ 54 h 701"/>
                    <a:gd name="T68" fmla="*/ 481 w 1276"/>
                    <a:gd name="T69" fmla="*/ 18 h 701"/>
                    <a:gd name="T70" fmla="*/ 549 w 1276"/>
                    <a:gd name="T71" fmla="*/ 24 h 701"/>
                    <a:gd name="T72" fmla="*/ 554 w 1276"/>
                    <a:gd name="T73" fmla="*/ 97 h 701"/>
                    <a:gd name="T74" fmla="*/ 581 w 1276"/>
                    <a:gd name="T75" fmla="*/ 94 h 701"/>
                    <a:gd name="T76" fmla="*/ 664 w 1276"/>
                    <a:gd name="T77" fmla="*/ 70 h 701"/>
                    <a:gd name="T78" fmla="*/ 720 w 1276"/>
                    <a:gd name="T79" fmla="*/ 87 h 701"/>
                    <a:gd name="T80" fmla="*/ 780 w 1276"/>
                    <a:gd name="T81" fmla="*/ 98 h 701"/>
                    <a:gd name="T82" fmla="*/ 807 w 1276"/>
                    <a:gd name="T83" fmla="*/ 51 h 701"/>
                    <a:gd name="T84" fmla="*/ 876 w 1276"/>
                    <a:gd name="T85" fmla="*/ 49 h 701"/>
                    <a:gd name="T86" fmla="*/ 997 w 1276"/>
                    <a:gd name="T87" fmla="*/ 72 h 701"/>
                    <a:gd name="T88" fmla="*/ 1087 w 1276"/>
                    <a:gd name="T89" fmla="*/ 63 h 701"/>
                    <a:gd name="T90" fmla="*/ 1150 w 1276"/>
                    <a:gd name="T91" fmla="*/ 29 h 701"/>
                    <a:gd name="T92" fmla="*/ 1231 w 1276"/>
                    <a:gd name="T93" fmla="*/ 54 h 701"/>
                    <a:gd name="T94" fmla="*/ 1264 w 1276"/>
                    <a:gd name="T95" fmla="*/ 51 h 701"/>
                    <a:gd name="T96" fmla="*/ 1255 w 1276"/>
                    <a:gd name="T97" fmla="*/ 95 h 701"/>
                    <a:gd name="T98" fmla="*/ 1228 w 1276"/>
                    <a:gd name="T99" fmla="*/ 122 h 701"/>
                    <a:gd name="T100" fmla="*/ 1239 w 1276"/>
                    <a:gd name="T101" fmla="*/ 165 h 701"/>
                    <a:gd name="T102" fmla="*/ 1222 w 1276"/>
                    <a:gd name="T103" fmla="*/ 233 h 701"/>
                    <a:gd name="T104" fmla="*/ 1164 w 1276"/>
                    <a:gd name="T105" fmla="*/ 283 h 701"/>
                    <a:gd name="T106" fmla="*/ 1201 w 1276"/>
                    <a:gd name="T107" fmla="*/ 361 h 701"/>
                    <a:gd name="T108" fmla="*/ 1191 w 1276"/>
                    <a:gd name="T109" fmla="*/ 450 h 701"/>
                    <a:gd name="T110" fmla="*/ 1142 w 1276"/>
                    <a:gd name="T111" fmla="*/ 305 h 701"/>
                    <a:gd name="T112" fmla="*/ 1130 w 1276"/>
                    <a:gd name="T113" fmla="*/ 232 h 701"/>
                    <a:gd name="T114" fmla="*/ 1108 w 1276"/>
                    <a:gd name="T115" fmla="*/ 256 h 701"/>
                    <a:gd name="T116" fmla="*/ 1084 w 1276"/>
                    <a:gd name="T117" fmla="*/ 321 h 701"/>
                    <a:gd name="T118" fmla="*/ 1021 w 1276"/>
                    <a:gd name="T119" fmla="*/ 331 h 701"/>
                    <a:gd name="T120" fmla="*/ 972 w 1276"/>
                    <a:gd name="T121" fmla="*/ 439 h 701"/>
                    <a:gd name="T122" fmla="*/ 1035 w 1276"/>
                    <a:gd name="T123" fmla="*/ 466 h 701"/>
                    <a:gd name="T124" fmla="*/ 1034 w 1276"/>
                    <a:gd name="T125" fmla="*/ 597 h 7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76" h="701">
                      <a:moveTo>
                        <a:pt x="990" y="637"/>
                      </a:moveTo>
                      <a:cubicBezTo>
                        <a:pt x="990" y="637"/>
                        <a:pt x="990" y="637"/>
                        <a:pt x="990" y="637"/>
                      </a:cubicBezTo>
                      <a:cubicBezTo>
                        <a:pt x="988" y="635"/>
                        <a:pt x="988" y="635"/>
                        <a:pt x="988" y="635"/>
                      </a:cubicBezTo>
                      <a:cubicBezTo>
                        <a:pt x="988" y="635"/>
                        <a:pt x="988" y="635"/>
                        <a:pt x="988" y="635"/>
                      </a:cubicBezTo>
                      <a:cubicBezTo>
                        <a:pt x="989" y="634"/>
                        <a:pt x="989" y="634"/>
                        <a:pt x="989" y="634"/>
                      </a:cubicBezTo>
                      <a:cubicBezTo>
                        <a:pt x="989" y="633"/>
                        <a:pt x="989" y="633"/>
                        <a:pt x="989" y="633"/>
                      </a:cubicBezTo>
                      <a:cubicBezTo>
                        <a:pt x="988" y="633"/>
                        <a:pt x="988" y="633"/>
                        <a:pt x="988" y="633"/>
                      </a:cubicBezTo>
                      <a:cubicBezTo>
                        <a:pt x="988" y="631"/>
                        <a:pt x="988" y="631"/>
                        <a:pt x="988" y="631"/>
                      </a:cubicBezTo>
                      <a:cubicBezTo>
                        <a:pt x="988" y="630"/>
                        <a:pt x="988" y="630"/>
                        <a:pt x="988" y="630"/>
                      </a:cubicBezTo>
                      <a:cubicBezTo>
                        <a:pt x="989" y="630"/>
                        <a:pt x="989" y="630"/>
                        <a:pt x="989" y="630"/>
                      </a:cubicBezTo>
                      <a:cubicBezTo>
                        <a:pt x="991" y="630"/>
                        <a:pt x="991" y="630"/>
                        <a:pt x="991" y="630"/>
                      </a:cubicBezTo>
                      <a:cubicBezTo>
                        <a:pt x="992" y="630"/>
                        <a:pt x="992" y="630"/>
                        <a:pt x="992" y="630"/>
                      </a:cubicBezTo>
                      <a:cubicBezTo>
                        <a:pt x="992" y="628"/>
                        <a:pt x="992" y="628"/>
                        <a:pt x="992" y="628"/>
                      </a:cubicBezTo>
                      <a:cubicBezTo>
                        <a:pt x="991" y="627"/>
                        <a:pt x="991" y="627"/>
                        <a:pt x="991" y="627"/>
                      </a:cubicBezTo>
                      <a:cubicBezTo>
                        <a:pt x="992" y="626"/>
                        <a:pt x="992" y="626"/>
                        <a:pt x="992" y="626"/>
                      </a:cubicBezTo>
                      <a:cubicBezTo>
                        <a:pt x="992" y="625"/>
                        <a:pt x="992" y="625"/>
                        <a:pt x="992" y="625"/>
                      </a:cubicBezTo>
                      <a:cubicBezTo>
                        <a:pt x="992" y="623"/>
                        <a:pt x="992" y="623"/>
                        <a:pt x="992" y="623"/>
                      </a:cubicBezTo>
                      <a:cubicBezTo>
                        <a:pt x="992" y="621"/>
                        <a:pt x="992" y="621"/>
                        <a:pt x="992" y="621"/>
                      </a:cubicBezTo>
                      <a:cubicBezTo>
                        <a:pt x="991" y="620"/>
                        <a:pt x="991" y="620"/>
                        <a:pt x="991" y="620"/>
                      </a:cubicBezTo>
                      <a:cubicBezTo>
                        <a:pt x="991" y="617"/>
                        <a:pt x="991" y="617"/>
                        <a:pt x="991" y="617"/>
                      </a:cubicBezTo>
                      <a:cubicBezTo>
                        <a:pt x="990" y="615"/>
                        <a:pt x="990" y="615"/>
                        <a:pt x="990" y="615"/>
                      </a:cubicBezTo>
                      <a:cubicBezTo>
                        <a:pt x="990" y="613"/>
                        <a:pt x="990" y="613"/>
                        <a:pt x="990" y="613"/>
                      </a:cubicBezTo>
                      <a:cubicBezTo>
                        <a:pt x="990" y="611"/>
                        <a:pt x="990" y="611"/>
                        <a:pt x="990" y="611"/>
                      </a:cubicBezTo>
                      <a:cubicBezTo>
                        <a:pt x="989" y="609"/>
                        <a:pt x="989" y="609"/>
                        <a:pt x="989" y="609"/>
                      </a:cubicBezTo>
                      <a:cubicBezTo>
                        <a:pt x="988" y="608"/>
                        <a:pt x="988" y="608"/>
                        <a:pt x="988" y="608"/>
                      </a:cubicBezTo>
                      <a:cubicBezTo>
                        <a:pt x="988" y="607"/>
                        <a:pt x="988" y="607"/>
                        <a:pt x="988" y="607"/>
                      </a:cubicBezTo>
                      <a:cubicBezTo>
                        <a:pt x="986" y="603"/>
                        <a:pt x="986" y="603"/>
                        <a:pt x="986" y="603"/>
                      </a:cubicBezTo>
                      <a:cubicBezTo>
                        <a:pt x="985" y="601"/>
                        <a:pt x="985" y="601"/>
                        <a:pt x="985" y="601"/>
                      </a:cubicBezTo>
                      <a:cubicBezTo>
                        <a:pt x="985" y="600"/>
                        <a:pt x="985" y="600"/>
                        <a:pt x="985" y="600"/>
                      </a:cubicBezTo>
                      <a:cubicBezTo>
                        <a:pt x="987" y="600"/>
                        <a:pt x="987" y="600"/>
                        <a:pt x="987" y="600"/>
                      </a:cubicBezTo>
                      <a:cubicBezTo>
                        <a:pt x="988" y="600"/>
                        <a:pt x="988" y="600"/>
                        <a:pt x="988" y="600"/>
                      </a:cubicBezTo>
                      <a:cubicBezTo>
                        <a:pt x="989" y="598"/>
                        <a:pt x="989" y="598"/>
                        <a:pt x="989" y="598"/>
                      </a:cubicBezTo>
                      <a:cubicBezTo>
                        <a:pt x="989" y="597"/>
                        <a:pt x="989" y="597"/>
                        <a:pt x="989" y="597"/>
                      </a:cubicBezTo>
                      <a:cubicBezTo>
                        <a:pt x="991" y="594"/>
                        <a:pt x="991" y="594"/>
                        <a:pt x="991" y="594"/>
                      </a:cubicBezTo>
                      <a:cubicBezTo>
                        <a:pt x="992" y="594"/>
                        <a:pt x="992" y="594"/>
                        <a:pt x="992" y="594"/>
                      </a:cubicBezTo>
                      <a:cubicBezTo>
                        <a:pt x="993" y="594"/>
                        <a:pt x="993" y="594"/>
                        <a:pt x="993" y="594"/>
                      </a:cubicBezTo>
                      <a:cubicBezTo>
                        <a:pt x="994" y="595"/>
                        <a:pt x="994" y="595"/>
                        <a:pt x="994" y="595"/>
                      </a:cubicBezTo>
                      <a:cubicBezTo>
                        <a:pt x="1001" y="596"/>
                        <a:pt x="1001" y="596"/>
                        <a:pt x="1001" y="596"/>
                      </a:cubicBezTo>
                      <a:cubicBezTo>
                        <a:pt x="1001" y="596"/>
                        <a:pt x="1001" y="596"/>
                        <a:pt x="1001" y="596"/>
                      </a:cubicBezTo>
                      <a:cubicBezTo>
                        <a:pt x="1003" y="596"/>
                        <a:pt x="1003" y="596"/>
                        <a:pt x="1003" y="596"/>
                      </a:cubicBezTo>
                      <a:cubicBezTo>
                        <a:pt x="1003" y="595"/>
                        <a:pt x="1003" y="595"/>
                        <a:pt x="1003" y="595"/>
                      </a:cubicBezTo>
                      <a:cubicBezTo>
                        <a:pt x="1003" y="594"/>
                        <a:pt x="1003" y="594"/>
                        <a:pt x="1003" y="594"/>
                      </a:cubicBezTo>
                      <a:cubicBezTo>
                        <a:pt x="1003" y="593"/>
                        <a:pt x="1003" y="593"/>
                        <a:pt x="1003" y="593"/>
                      </a:cubicBezTo>
                      <a:cubicBezTo>
                        <a:pt x="1002" y="592"/>
                        <a:pt x="1002" y="592"/>
                        <a:pt x="1002" y="592"/>
                      </a:cubicBezTo>
                      <a:cubicBezTo>
                        <a:pt x="1003" y="591"/>
                        <a:pt x="1003" y="591"/>
                        <a:pt x="1003" y="591"/>
                      </a:cubicBezTo>
                      <a:cubicBezTo>
                        <a:pt x="1002" y="590"/>
                        <a:pt x="1002" y="590"/>
                        <a:pt x="1002" y="590"/>
                      </a:cubicBezTo>
                      <a:cubicBezTo>
                        <a:pt x="1002" y="589"/>
                        <a:pt x="1002" y="589"/>
                        <a:pt x="1002" y="589"/>
                      </a:cubicBezTo>
                      <a:cubicBezTo>
                        <a:pt x="1003" y="587"/>
                        <a:pt x="1003" y="587"/>
                        <a:pt x="1003" y="587"/>
                      </a:cubicBezTo>
                      <a:cubicBezTo>
                        <a:pt x="1004" y="586"/>
                        <a:pt x="1004" y="586"/>
                        <a:pt x="1004" y="586"/>
                      </a:cubicBezTo>
                      <a:cubicBezTo>
                        <a:pt x="1003" y="585"/>
                        <a:pt x="1003" y="585"/>
                        <a:pt x="1003" y="585"/>
                      </a:cubicBezTo>
                      <a:cubicBezTo>
                        <a:pt x="1003" y="584"/>
                        <a:pt x="1003" y="584"/>
                        <a:pt x="1003" y="584"/>
                      </a:cubicBezTo>
                      <a:cubicBezTo>
                        <a:pt x="1003" y="583"/>
                        <a:pt x="1003" y="583"/>
                        <a:pt x="1003" y="583"/>
                      </a:cubicBezTo>
                      <a:cubicBezTo>
                        <a:pt x="1004" y="582"/>
                        <a:pt x="1004" y="582"/>
                        <a:pt x="1004" y="582"/>
                      </a:cubicBezTo>
                      <a:cubicBezTo>
                        <a:pt x="1004" y="581"/>
                        <a:pt x="1004" y="581"/>
                        <a:pt x="1004" y="581"/>
                      </a:cubicBezTo>
                      <a:cubicBezTo>
                        <a:pt x="1004" y="580"/>
                        <a:pt x="1004" y="580"/>
                        <a:pt x="1004" y="580"/>
                      </a:cubicBezTo>
                      <a:cubicBezTo>
                        <a:pt x="1003" y="579"/>
                        <a:pt x="1003" y="579"/>
                        <a:pt x="1003" y="579"/>
                      </a:cubicBezTo>
                      <a:cubicBezTo>
                        <a:pt x="1004" y="578"/>
                        <a:pt x="1004" y="578"/>
                        <a:pt x="1004" y="578"/>
                      </a:cubicBezTo>
                      <a:cubicBezTo>
                        <a:pt x="1005" y="577"/>
                        <a:pt x="1005" y="577"/>
                        <a:pt x="1005" y="577"/>
                      </a:cubicBezTo>
                      <a:cubicBezTo>
                        <a:pt x="1005" y="576"/>
                        <a:pt x="1005" y="576"/>
                        <a:pt x="1005" y="576"/>
                      </a:cubicBezTo>
                      <a:cubicBezTo>
                        <a:pt x="1004" y="575"/>
                        <a:pt x="1004" y="575"/>
                        <a:pt x="1004" y="575"/>
                      </a:cubicBezTo>
                      <a:cubicBezTo>
                        <a:pt x="1003" y="573"/>
                        <a:pt x="1003" y="573"/>
                        <a:pt x="1003" y="573"/>
                      </a:cubicBezTo>
                      <a:cubicBezTo>
                        <a:pt x="1003" y="571"/>
                        <a:pt x="1003" y="571"/>
                        <a:pt x="1003" y="571"/>
                      </a:cubicBezTo>
                      <a:cubicBezTo>
                        <a:pt x="1004" y="571"/>
                        <a:pt x="1004" y="571"/>
                        <a:pt x="1004" y="571"/>
                      </a:cubicBezTo>
                      <a:cubicBezTo>
                        <a:pt x="1004" y="570"/>
                        <a:pt x="1004" y="570"/>
                        <a:pt x="1004" y="570"/>
                      </a:cubicBezTo>
                      <a:cubicBezTo>
                        <a:pt x="1004" y="570"/>
                        <a:pt x="1004" y="570"/>
                        <a:pt x="1004" y="570"/>
                      </a:cubicBezTo>
                      <a:cubicBezTo>
                        <a:pt x="1004" y="569"/>
                        <a:pt x="1004" y="569"/>
                        <a:pt x="1004" y="569"/>
                      </a:cubicBezTo>
                      <a:cubicBezTo>
                        <a:pt x="1004" y="568"/>
                        <a:pt x="1004" y="568"/>
                        <a:pt x="1004" y="568"/>
                      </a:cubicBezTo>
                      <a:cubicBezTo>
                        <a:pt x="1003" y="567"/>
                        <a:pt x="1003" y="567"/>
                        <a:pt x="1003" y="567"/>
                      </a:cubicBezTo>
                      <a:cubicBezTo>
                        <a:pt x="1002" y="566"/>
                        <a:pt x="1002" y="566"/>
                        <a:pt x="1002" y="566"/>
                      </a:cubicBezTo>
                      <a:cubicBezTo>
                        <a:pt x="1003" y="565"/>
                        <a:pt x="1003" y="565"/>
                        <a:pt x="1003" y="565"/>
                      </a:cubicBezTo>
                      <a:cubicBezTo>
                        <a:pt x="1003" y="563"/>
                        <a:pt x="1003" y="563"/>
                        <a:pt x="1003" y="563"/>
                      </a:cubicBezTo>
                      <a:cubicBezTo>
                        <a:pt x="1003" y="563"/>
                        <a:pt x="1003" y="563"/>
                        <a:pt x="1003" y="563"/>
                      </a:cubicBezTo>
                      <a:cubicBezTo>
                        <a:pt x="1002" y="562"/>
                        <a:pt x="1002" y="562"/>
                        <a:pt x="1002" y="562"/>
                      </a:cubicBezTo>
                      <a:cubicBezTo>
                        <a:pt x="1002" y="561"/>
                        <a:pt x="1002" y="561"/>
                        <a:pt x="1002" y="561"/>
                      </a:cubicBezTo>
                      <a:cubicBezTo>
                        <a:pt x="1003" y="559"/>
                        <a:pt x="1003" y="559"/>
                        <a:pt x="1003" y="559"/>
                      </a:cubicBezTo>
                      <a:cubicBezTo>
                        <a:pt x="1005" y="559"/>
                        <a:pt x="1005" y="559"/>
                        <a:pt x="1005" y="559"/>
                      </a:cubicBezTo>
                      <a:cubicBezTo>
                        <a:pt x="1005" y="558"/>
                        <a:pt x="1005" y="558"/>
                        <a:pt x="1005" y="558"/>
                      </a:cubicBezTo>
                      <a:cubicBezTo>
                        <a:pt x="1005" y="556"/>
                        <a:pt x="1005" y="556"/>
                        <a:pt x="1005" y="556"/>
                      </a:cubicBezTo>
                      <a:cubicBezTo>
                        <a:pt x="1005" y="554"/>
                        <a:pt x="1005" y="554"/>
                        <a:pt x="1005" y="554"/>
                      </a:cubicBezTo>
                      <a:cubicBezTo>
                        <a:pt x="1004" y="553"/>
                        <a:pt x="1004" y="553"/>
                        <a:pt x="1004" y="553"/>
                      </a:cubicBezTo>
                      <a:cubicBezTo>
                        <a:pt x="1003" y="552"/>
                        <a:pt x="1003" y="552"/>
                        <a:pt x="1003" y="552"/>
                      </a:cubicBezTo>
                      <a:cubicBezTo>
                        <a:pt x="1003" y="551"/>
                        <a:pt x="1003" y="551"/>
                        <a:pt x="1003" y="551"/>
                      </a:cubicBezTo>
                      <a:cubicBezTo>
                        <a:pt x="1002" y="549"/>
                        <a:pt x="1002" y="549"/>
                        <a:pt x="1002" y="549"/>
                      </a:cubicBezTo>
                      <a:cubicBezTo>
                        <a:pt x="1001" y="548"/>
                        <a:pt x="1001" y="548"/>
                        <a:pt x="1001" y="548"/>
                      </a:cubicBezTo>
                      <a:cubicBezTo>
                        <a:pt x="1002" y="547"/>
                        <a:pt x="1002" y="547"/>
                        <a:pt x="1002" y="547"/>
                      </a:cubicBezTo>
                      <a:cubicBezTo>
                        <a:pt x="1001" y="545"/>
                        <a:pt x="1001" y="545"/>
                        <a:pt x="1001" y="545"/>
                      </a:cubicBezTo>
                      <a:cubicBezTo>
                        <a:pt x="1001" y="544"/>
                        <a:pt x="1001" y="544"/>
                        <a:pt x="1001" y="544"/>
                      </a:cubicBezTo>
                      <a:cubicBezTo>
                        <a:pt x="999" y="544"/>
                        <a:pt x="999" y="544"/>
                        <a:pt x="999" y="544"/>
                      </a:cubicBezTo>
                      <a:cubicBezTo>
                        <a:pt x="998" y="544"/>
                        <a:pt x="998" y="544"/>
                        <a:pt x="998" y="544"/>
                      </a:cubicBezTo>
                      <a:cubicBezTo>
                        <a:pt x="996" y="543"/>
                        <a:pt x="996" y="543"/>
                        <a:pt x="996" y="543"/>
                      </a:cubicBezTo>
                      <a:cubicBezTo>
                        <a:pt x="995" y="544"/>
                        <a:pt x="995" y="544"/>
                        <a:pt x="995" y="544"/>
                      </a:cubicBezTo>
                      <a:cubicBezTo>
                        <a:pt x="994" y="544"/>
                        <a:pt x="994" y="544"/>
                        <a:pt x="994" y="544"/>
                      </a:cubicBezTo>
                      <a:cubicBezTo>
                        <a:pt x="992" y="545"/>
                        <a:pt x="992" y="545"/>
                        <a:pt x="992" y="545"/>
                      </a:cubicBezTo>
                      <a:cubicBezTo>
                        <a:pt x="992" y="546"/>
                        <a:pt x="992" y="546"/>
                        <a:pt x="992" y="546"/>
                      </a:cubicBezTo>
                      <a:cubicBezTo>
                        <a:pt x="991" y="547"/>
                        <a:pt x="991" y="547"/>
                        <a:pt x="991" y="547"/>
                      </a:cubicBezTo>
                      <a:cubicBezTo>
                        <a:pt x="990" y="547"/>
                        <a:pt x="990" y="547"/>
                        <a:pt x="990" y="547"/>
                      </a:cubicBezTo>
                      <a:cubicBezTo>
                        <a:pt x="990" y="549"/>
                        <a:pt x="990" y="549"/>
                        <a:pt x="990" y="549"/>
                      </a:cubicBezTo>
                      <a:cubicBezTo>
                        <a:pt x="988" y="549"/>
                        <a:pt x="988" y="549"/>
                        <a:pt x="988" y="549"/>
                      </a:cubicBezTo>
                      <a:cubicBezTo>
                        <a:pt x="987" y="549"/>
                        <a:pt x="987" y="549"/>
                        <a:pt x="987" y="549"/>
                      </a:cubicBezTo>
                      <a:cubicBezTo>
                        <a:pt x="986" y="551"/>
                        <a:pt x="986" y="551"/>
                        <a:pt x="986" y="551"/>
                      </a:cubicBezTo>
                      <a:cubicBezTo>
                        <a:pt x="986" y="552"/>
                        <a:pt x="986" y="552"/>
                        <a:pt x="986" y="552"/>
                      </a:cubicBezTo>
                      <a:cubicBezTo>
                        <a:pt x="985" y="553"/>
                        <a:pt x="985" y="553"/>
                        <a:pt x="985" y="553"/>
                      </a:cubicBezTo>
                      <a:cubicBezTo>
                        <a:pt x="984" y="555"/>
                        <a:pt x="984" y="555"/>
                        <a:pt x="984" y="555"/>
                      </a:cubicBezTo>
                      <a:cubicBezTo>
                        <a:pt x="984" y="556"/>
                        <a:pt x="984" y="556"/>
                        <a:pt x="984" y="556"/>
                      </a:cubicBezTo>
                      <a:cubicBezTo>
                        <a:pt x="983" y="556"/>
                        <a:pt x="983" y="556"/>
                        <a:pt x="983" y="556"/>
                      </a:cubicBezTo>
                      <a:cubicBezTo>
                        <a:pt x="982" y="557"/>
                        <a:pt x="982" y="557"/>
                        <a:pt x="982" y="557"/>
                      </a:cubicBezTo>
                      <a:cubicBezTo>
                        <a:pt x="979" y="558"/>
                        <a:pt x="979" y="558"/>
                        <a:pt x="979" y="558"/>
                      </a:cubicBezTo>
                      <a:cubicBezTo>
                        <a:pt x="978" y="558"/>
                        <a:pt x="978" y="558"/>
                        <a:pt x="978" y="558"/>
                      </a:cubicBezTo>
                      <a:cubicBezTo>
                        <a:pt x="977" y="558"/>
                        <a:pt x="977" y="558"/>
                        <a:pt x="977" y="558"/>
                      </a:cubicBezTo>
                      <a:cubicBezTo>
                        <a:pt x="976" y="559"/>
                        <a:pt x="976" y="559"/>
                        <a:pt x="976" y="559"/>
                      </a:cubicBezTo>
                      <a:cubicBezTo>
                        <a:pt x="975" y="559"/>
                        <a:pt x="975" y="559"/>
                        <a:pt x="975" y="559"/>
                      </a:cubicBezTo>
                      <a:cubicBezTo>
                        <a:pt x="975" y="558"/>
                        <a:pt x="975" y="558"/>
                        <a:pt x="975" y="558"/>
                      </a:cubicBezTo>
                      <a:cubicBezTo>
                        <a:pt x="974" y="557"/>
                        <a:pt x="974" y="557"/>
                        <a:pt x="974" y="557"/>
                      </a:cubicBezTo>
                      <a:cubicBezTo>
                        <a:pt x="972" y="557"/>
                        <a:pt x="972" y="557"/>
                        <a:pt x="972" y="557"/>
                      </a:cubicBezTo>
                      <a:cubicBezTo>
                        <a:pt x="971" y="558"/>
                        <a:pt x="971" y="558"/>
                        <a:pt x="971" y="558"/>
                      </a:cubicBezTo>
                      <a:cubicBezTo>
                        <a:pt x="970" y="558"/>
                        <a:pt x="970" y="558"/>
                        <a:pt x="970" y="558"/>
                      </a:cubicBezTo>
                      <a:cubicBezTo>
                        <a:pt x="969" y="557"/>
                        <a:pt x="969" y="557"/>
                        <a:pt x="969" y="557"/>
                      </a:cubicBezTo>
                      <a:cubicBezTo>
                        <a:pt x="968" y="555"/>
                        <a:pt x="968" y="555"/>
                        <a:pt x="968" y="555"/>
                      </a:cubicBezTo>
                      <a:cubicBezTo>
                        <a:pt x="967" y="554"/>
                        <a:pt x="967" y="554"/>
                        <a:pt x="967" y="554"/>
                      </a:cubicBezTo>
                      <a:cubicBezTo>
                        <a:pt x="965" y="552"/>
                        <a:pt x="965" y="552"/>
                        <a:pt x="965" y="552"/>
                      </a:cubicBezTo>
                      <a:cubicBezTo>
                        <a:pt x="965" y="551"/>
                        <a:pt x="965" y="551"/>
                        <a:pt x="965" y="551"/>
                      </a:cubicBezTo>
                      <a:cubicBezTo>
                        <a:pt x="965" y="550"/>
                        <a:pt x="965" y="550"/>
                        <a:pt x="965" y="550"/>
                      </a:cubicBezTo>
                      <a:cubicBezTo>
                        <a:pt x="966" y="548"/>
                        <a:pt x="966" y="548"/>
                        <a:pt x="966" y="548"/>
                      </a:cubicBezTo>
                      <a:cubicBezTo>
                        <a:pt x="965" y="547"/>
                        <a:pt x="965" y="547"/>
                        <a:pt x="965" y="547"/>
                      </a:cubicBezTo>
                      <a:cubicBezTo>
                        <a:pt x="965" y="545"/>
                        <a:pt x="965" y="545"/>
                        <a:pt x="965" y="545"/>
                      </a:cubicBezTo>
                      <a:cubicBezTo>
                        <a:pt x="963" y="545"/>
                        <a:pt x="963" y="545"/>
                        <a:pt x="963" y="545"/>
                      </a:cubicBezTo>
                      <a:cubicBezTo>
                        <a:pt x="963" y="544"/>
                        <a:pt x="963" y="544"/>
                        <a:pt x="963" y="544"/>
                      </a:cubicBezTo>
                      <a:cubicBezTo>
                        <a:pt x="963" y="542"/>
                        <a:pt x="963" y="542"/>
                        <a:pt x="963" y="542"/>
                      </a:cubicBezTo>
                      <a:cubicBezTo>
                        <a:pt x="964" y="541"/>
                        <a:pt x="964" y="541"/>
                        <a:pt x="964" y="541"/>
                      </a:cubicBezTo>
                      <a:cubicBezTo>
                        <a:pt x="964" y="540"/>
                        <a:pt x="964" y="540"/>
                        <a:pt x="964" y="540"/>
                      </a:cubicBezTo>
                      <a:cubicBezTo>
                        <a:pt x="963" y="540"/>
                        <a:pt x="963" y="540"/>
                        <a:pt x="963" y="540"/>
                      </a:cubicBezTo>
                      <a:cubicBezTo>
                        <a:pt x="962" y="540"/>
                        <a:pt x="962" y="540"/>
                        <a:pt x="962" y="540"/>
                      </a:cubicBezTo>
                      <a:cubicBezTo>
                        <a:pt x="961" y="540"/>
                        <a:pt x="961" y="540"/>
                        <a:pt x="961" y="540"/>
                      </a:cubicBezTo>
                      <a:cubicBezTo>
                        <a:pt x="960" y="541"/>
                        <a:pt x="960" y="541"/>
                        <a:pt x="960" y="541"/>
                      </a:cubicBezTo>
                      <a:cubicBezTo>
                        <a:pt x="959" y="541"/>
                        <a:pt x="959" y="541"/>
                        <a:pt x="959" y="541"/>
                      </a:cubicBezTo>
                      <a:cubicBezTo>
                        <a:pt x="958" y="541"/>
                        <a:pt x="958" y="541"/>
                        <a:pt x="958" y="541"/>
                      </a:cubicBezTo>
                      <a:cubicBezTo>
                        <a:pt x="957" y="540"/>
                        <a:pt x="957" y="540"/>
                        <a:pt x="957" y="540"/>
                      </a:cubicBezTo>
                      <a:cubicBezTo>
                        <a:pt x="956" y="540"/>
                        <a:pt x="956" y="540"/>
                        <a:pt x="956" y="540"/>
                      </a:cubicBezTo>
                      <a:cubicBezTo>
                        <a:pt x="955" y="539"/>
                        <a:pt x="955" y="539"/>
                        <a:pt x="955" y="539"/>
                      </a:cubicBezTo>
                      <a:cubicBezTo>
                        <a:pt x="953" y="538"/>
                        <a:pt x="953" y="538"/>
                        <a:pt x="953" y="538"/>
                      </a:cubicBezTo>
                      <a:cubicBezTo>
                        <a:pt x="953" y="537"/>
                        <a:pt x="953" y="537"/>
                        <a:pt x="953" y="537"/>
                      </a:cubicBezTo>
                      <a:cubicBezTo>
                        <a:pt x="952" y="536"/>
                        <a:pt x="952" y="536"/>
                        <a:pt x="952" y="536"/>
                      </a:cubicBezTo>
                      <a:cubicBezTo>
                        <a:pt x="952" y="536"/>
                        <a:pt x="952" y="536"/>
                        <a:pt x="952" y="536"/>
                      </a:cubicBezTo>
                      <a:cubicBezTo>
                        <a:pt x="951" y="536"/>
                        <a:pt x="951" y="536"/>
                        <a:pt x="951" y="536"/>
                      </a:cubicBezTo>
                      <a:cubicBezTo>
                        <a:pt x="950" y="535"/>
                        <a:pt x="950" y="535"/>
                        <a:pt x="950" y="535"/>
                      </a:cubicBezTo>
                      <a:cubicBezTo>
                        <a:pt x="949" y="535"/>
                        <a:pt x="949" y="535"/>
                        <a:pt x="949" y="535"/>
                      </a:cubicBezTo>
                      <a:cubicBezTo>
                        <a:pt x="948" y="533"/>
                        <a:pt x="948" y="533"/>
                        <a:pt x="948" y="533"/>
                      </a:cubicBezTo>
                      <a:cubicBezTo>
                        <a:pt x="948" y="532"/>
                        <a:pt x="948" y="532"/>
                        <a:pt x="948" y="532"/>
                      </a:cubicBezTo>
                      <a:cubicBezTo>
                        <a:pt x="947" y="532"/>
                        <a:pt x="947" y="532"/>
                        <a:pt x="947" y="532"/>
                      </a:cubicBezTo>
                      <a:cubicBezTo>
                        <a:pt x="946" y="532"/>
                        <a:pt x="946" y="532"/>
                        <a:pt x="946" y="532"/>
                      </a:cubicBezTo>
                      <a:cubicBezTo>
                        <a:pt x="946" y="533"/>
                        <a:pt x="946" y="533"/>
                        <a:pt x="946" y="533"/>
                      </a:cubicBezTo>
                      <a:cubicBezTo>
                        <a:pt x="945" y="533"/>
                        <a:pt x="945" y="533"/>
                        <a:pt x="945" y="533"/>
                      </a:cubicBezTo>
                      <a:cubicBezTo>
                        <a:pt x="944" y="533"/>
                        <a:pt x="944" y="533"/>
                        <a:pt x="944" y="533"/>
                      </a:cubicBezTo>
                      <a:cubicBezTo>
                        <a:pt x="944" y="534"/>
                        <a:pt x="944" y="534"/>
                        <a:pt x="944" y="534"/>
                      </a:cubicBezTo>
                      <a:cubicBezTo>
                        <a:pt x="942" y="533"/>
                        <a:pt x="942" y="533"/>
                        <a:pt x="942" y="533"/>
                      </a:cubicBezTo>
                      <a:cubicBezTo>
                        <a:pt x="942" y="532"/>
                        <a:pt x="942" y="532"/>
                        <a:pt x="942" y="532"/>
                      </a:cubicBezTo>
                      <a:cubicBezTo>
                        <a:pt x="941" y="532"/>
                        <a:pt x="941" y="532"/>
                        <a:pt x="941" y="532"/>
                      </a:cubicBezTo>
                      <a:cubicBezTo>
                        <a:pt x="939" y="531"/>
                        <a:pt x="939" y="531"/>
                        <a:pt x="939" y="531"/>
                      </a:cubicBezTo>
                      <a:cubicBezTo>
                        <a:pt x="938" y="531"/>
                        <a:pt x="938" y="531"/>
                        <a:pt x="938" y="531"/>
                      </a:cubicBezTo>
                      <a:cubicBezTo>
                        <a:pt x="939" y="530"/>
                        <a:pt x="939" y="530"/>
                        <a:pt x="939" y="530"/>
                      </a:cubicBezTo>
                      <a:cubicBezTo>
                        <a:pt x="939" y="530"/>
                        <a:pt x="939" y="530"/>
                        <a:pt x="939" y="530"/>
                      </a:cubicBezTo>
                      <a:cubicBezTo>
                        <a:pt x="937" y="530"/>
                        <a:pt x="937" y="530"/>
                        <a:pt x="937" y="530"/>
                      </a:cubicBezTo>
                      <a:cubicBezTo>
                        <a:pt x="936" y="530"/>
                        <a:pt x="936" y="530"/>
                        <a:pt x="936" y="530"/>
                      </a:cubicBezTo>
                      <a:cubicBezTo>
                        <a:pt x="934" y="530"/>
                        <a:pt x="934" y="530"/>
                        <a:pt x="934" y="530"/>
                      </a:cubicBezTo>
                      <a:cubicBezTo>
                        <a:pt x="934" y="531"/>
                        <a:pt x="934" y="531"/>
                        <a:pt x="934" y="531"/>
                      </a:cubicBezTo>
                      <a:cubicBezTo>
                        <a:pt x="933" y="530"/>
                        <a:pt x="933" y="530"/>
                        <a:pt x="933" y="530"/>
                      </a:cubicBezTo>
                      <a:cubicBezTo>
                        <a:pt x="932" y="530"/>
                        <a:pt x="932" y="530"/>
                        <a:pt x="932" y="530"/>
                      </a:cubicBezTo>
                      <a:cubicBezTo>
                        <a:pt x="930" y="530"/>
                        <a:pt x="930" y="530"/>
                        <a:pt x="930" y="530"/>
                      </a:cubicBezTo>
                      <a:cubicBezTo>
                        <a:pt x="930" y="529"/>
                        <a:pt x="930" y="529"/>
                        <a:pt x="930" y="529"/>
                      </a:cubicBezTo>
                      <a:cubicBezTo>
                        <a:pt x="928" y="528"/>
                        <a:pt x="928" y="528"/>
                        <a:pt x="928" y="528"/>
                      </a:cubicBezTo>
                      <a:cubicBezTo>
                        <a:pt x="926" y="526"/>
                        <a:pt x="926" y="526"/>
                        <a:pt x="926" y="526"/>
                      </a:cubicBezTo>
                      <a:cubicBezTo>
                        <a:pt x="925" y="524"/>
                        <a:pt x="925" y="524"/>
                        <a:pt x="925" y="524"/>
                      </a:cubicBezTo>
                      <a:cubicBezTo>
                        <a:pt x="925" y="523"/>
                        <a:pt x="925" y="523"/>
                        <a:pt x="925" y="523"/>
                      </a:cubicBezTo>
                      <a:cubicBezTo>
                        <a:pt x="925" y="521"/>
                        <a:pt x="925" y="521"/>
                        <a:pt x="925" y="521"/>
                      </a:cubicBezTo>
                      <a:cubicBezTo>
                        <a:pt x="924" y="521"/>
                        <a:pt x="924" y="521"/>
                        <a:pt x="924" y="521"/>
                      </a:cubicBezTo>
                      <a:cubicBezTo>
                        <a:pt x="923" y="520"/>
                        <a:pt x="923" y="520"/>
                        <a:pt x="923" y="520"/>
                      </a:cubicBezTo>
                      <a:cubicBezTo>
                        <a:pt x="922" y="518"/>
                        <a:pt x="922" y="518"/>
                        <a:pt x="922" y="518"/>
                      </a:cubicBezTo>
                      <a:cubicBezTo>
                        <a:pt x="922" y="517"/>
                        <a:pt x="922" y="517"/>
                        <a:pt x="922" y="517"/>
                      </a:cubicBezTo>
                      <a:cubicBezTo>
                        <a:pt x="921" y="515"/>
                        <a:pt x="921" y="515"/>
                        <a:pt x="921" y="515"/>
                      </a:cubicBezTo>
                      <a:cubicBezTo>
                        <a:pt x="921" y="514"/>
                        <a:pt x="921" y="514"/>
                        <a:pt x="921" y="514"/>
                      </a:cubicBezTo>
                      <a:cubicBezTo>
                        <a:pt x="917" y="511"/>
                        <a:pt x="917" y="511"/>
                        <a:pt x="917" y="511"/>
                      </a:cubicBezTo>
                      <a:cubicBezTo>
                        <a:pt x="915" y="509"/>
                        <a:pt x="915" y="509"/>
                        <a:pt x="915" y="509"/>
                      </a:cubicBezTo>
                      <a:cubicBezTo>
                        <a:pt x="915" y="508"/>
                        <a:pt x="915" y="508"/>
                        <a:pt x="915" y="508"/>
                      </a:cubicBezTo>
                      <a:cubicBezTo>
                        <a:pt x="914" y="506"/>
                        <a:pt x="914" y="506"/>
                        <a:pt x="914" y="506"/>
                      </a:cubicBezTo>
                      <a:cubicBezTo>
                        <a:pt x="913" y="506"/>
                        <a:pt x="913" y="506"/>
                        <a:pt x="913" y="506"/>
                      </a:cubicBezTo>
                      <a:cubicBezTo>
                        <a:pt x="913" y="506"/>
                        <a:pt x="913" y="506"/>
                        <a:pt x="913" y="506"/>
                      </a:cubicBezTo>
                      <a:cubicBezTo>
                        <a:pt x="913" y="505"/>
                        <a:pt x="913" y="505"/>
                        <a:pt x="913" y="505"/>
                      </a:cubicBezTo>
                      <a:cubicBezTo>
                        <a:pt x="913" y="504"/>
                        <a:pt x="913" y="504"/>
                        <a:pt x="913" y="504"/>
                      </a:cubicBezTo>
                      <a:cubicBezTo>
                        <a:pt x="912" y="503"/>
                        <a:pt x="912" y="503"/>
                        <a:pt x="912" y="503"/>
                      </a:cubicBezTo>
                      <a:cubicBezTo>
                        <a:pt x="911" y="502"/>
                        <a:pt x="911" y="502"/>
                        <a:pt x="911" y="502"/>
                      </a:cubicBezTo>
                      <a:cubicBezTo>
                        <a:pt x="910" y="501"/>
                        <a:pt x="910" y="501"/>
                        <a:pt x="910" y="501"/>
                      </a:cubicBezTo>
                      <a:cubicBezTo>
                        <a:pt x="910" y="500"/>
                        <a:pt x="910" y="500"/>
                        <a:pt x="910" y="500"/>
                      </a:cubicBezTo>
                      <a:cubicBezTo>
                        <a:pt x="909" y="498"/>
                        <a:pt x="909" y="498"/>
                        <a:pt x="909" y="498"/>
                      </a:cubicBezTo>
                      <a:cubicBezTo>
                        <a:pt x="908" y="497"/>
                        <a:pt x="908" y="497"/>
                        <a:pt x="908" y="497"/>
                      </a:cubicBezTo>
                      <a:cubicBezTo>
                        <a:pt x="906" y="495"/>
                        <a:pt x="906" y="495"/>
                        <a:pt x="906" y="495"/>
                      </a:cubicBezTo>
                      <a:cubicBezTo>
                        <a:pt x="905" y="494"/>
                        <a:pt x="905" y="494"/>
                        <a:pt x="905" y="494"/>
                      </a:cubicBezTo>
                      <a:cubicBezTo>
                        <a:pt x="906" y="493"/>
                        <a:pt x="906" y="493"/>
                        <a:pt x="906" y="493"/>
                      </a:cubicBezTo>
                      <a:cubicBezTo>
                        <a:pt x="906" y="492"/>
                        <a:pt x="906" y="492"/>
                        <a:pt x="906" y="492"/>
                      </a:cubicBezTo>
                      <a:cubicBezTo>
                        <a:pt x="903" y="491"/>
                        <a:pt x="903" y="491"/>
                        <a:pt x="903" y="491"/>
                      </a:cubicBezTo>
                      <a:cubicBezTo>
                        <a:pt x="903" y="491"/>
                        <a:pt x="903" y="491"/>
                        <a:pt x="903" y="491"/>
                      </a:cubicBezTo>
                      <a:cubicBezTo>
                        <a:pt x="903" y="490"/>
                        <a:pt x="903" y="490"/>
                        <a:pt x="903" y="490"/>
                      </a:cubicBezTo>
                      <a:cubicBezTo>
                        <a:pt x="902" y="489"/>
                        <a:pt x="902" y="489"/>
                        <a:pt x="902" y="489"/>
                      </a:cubicBezTo>
                      <a:cubicBezTo>
                        <a:pt x="902" y="487"/>
                        <a:pt x="902" y="487"/>
                        <a:pt x="902" y="487"/>
                      </a:cubicBezTo>
                      <a:cubicBezTo>
                        <a:pt x="902" y="486"/>
                        <a:pt x="902" y="486"/>
                        <a:pt x="902" y="486"/>
                      </a:cubicBezTo>
                      <a:cubicBezTo>
                        <a:pt x="901" y="486"/>
                        <a:pt x="901" y="486"/>
                        <a:pt x="901" y="486"/>
                      </a:cubicBezTo>
                      <a:cubicBezTo>
                        <a:pt x="901" y="485"/>
                        <a:pt x="901" y="485"/>
                        <a:pt x="901" y="485"/>
                      </a:cubicBezTo>
                      <a:cubicBezTo>
                        <a:pt x="900" y="484"/>
                        <a:pt x="900" y="484"/>
                        <a:pt x="900" y="484"/>
                      </a:cubicBezTo>
                      <a:cubicBezTo>
                        <a:pt x="899" y="484"/>
                        <a:pt x="899" y="484"/>
                        <a:pt x="899" y="484"/>
                      </a:cubicBezTo>
                      <a:cubicBezTo>
                        <a:pt x="897" y="484"/>
                        <a:pt x="897" y="484"/>
                        <a:pt x="897" y="484"/>
                      </a:cubicBezTo>
                      <a:cubicBezTo>
                        <a:pt x="897" y="483"/>
                        <a:pt x="897" y="483"/>
                        <a:pt x="897" y="483"/>
                      </a:cubicBezTo>
                      <a:cubicBezTo>
                        <a:pt x="898" y="482"/>
                        <a:pt x="898" y="482"/>
                        <a:pt x="898" y="482"/>
                      </a:cubicBezTo>
                      <a:cubicBezTo>
                        <a:pt x="897" y="481"/>
                        <a:pt x="897" y="481"/>
                        <a:pt x="897" y="481"/>
                      </a:cubicBezTo>
                      <a:cubicBezTo>
                        <a:pt x="896" y="481"/>
                        <a:pt x="896" y="481"/>
                        <a:pt x="896" y="481"/>
                      </a:cubicBezTo>
                      <a:cubicBezTo>
                        <a:pt x="895" y="482"/>
                        <a:pt x="895" y="482"/>
                        <a:pt x="895" y="482"/>
                      </a:cubicBezTo>
                      <a:cubicBezTo>
                        <a:pt x="894" y="481"/>
                        <a:pt x="894" y="481"/>
                        <a:pt x="894" y="481"/>
                      </a:cubicBezTo>
                      <a:cubicBezTo>
                        <a:pt x="893" y="481"/>
                        <a:pt x="893" y="481"/>
                        <a:pt x="893" y="481"/>
                      </a:cubicBezTo>
                      <a:cubicBezTo>
                        <a:pt x="893" y="480"/>
                        <a:pt x="893" y="480"/>
                        <a:pt x="893" y="480"/>
                      </a:cubicBezTo>
                      <a:cubicBezTo>
                        <a:pt x="893" y="479"/>
                        <a:pt x="893" y="479"/>
                        <a:pt x="893" y="479"/>
                      </a:cubicBezTo>
                      <a:cubicBezTo>
                        <a:pt x="893" y="478"/>
                        <a:pt x="893" y="478"/>
                        <a:pt x="893" y="478"/>
                      </a:cubicBezTo>
                      <a:cubicBezTo>
                        <a:pt x="891" y="477"/>
                        <a:pt x="891" y="477"/>
                        <a:pt x="891" y="477"/>
                      </a:cubicBezTo>
                      <a:cubicBezTo>
                        <a:pt x="890" y="477"/>
                        <a:pt x="890" y="477"/>
                        <a:pt x="890" y="477"/>
                      </a:cubicBezTo>
                      <a:cubicBezTo>
                        <a:pt x="889" y="476"/>
                        <a:pt x="889" y="476"/>
                        <a:pt x="889" y="476"/>
                      </a:cubicBezTo>
                      <a:cubicBezTo>
                        <a:pt x="889" y="477"/>
                        <a:pt x="889" y="477"/>
                        <a:pt x="889" y="477"/>
                      </a:cubicBezTo>
                      <a:cubicBezTo>
                        <a:pt x="887" y="477"/>
                        <a:pt x="887" y="477"/>
                        <a:pt x="887" y="477"/>
                      </a:cubicBezTo>
                      <a:cubicBezTo>
                        <a:pt x="887" y="476"/>
                        <a:pt x="887" y="476"/>
                        <a:pt x="887" y="476"/>
                      </a:cubicBezTo>
                      <a:cubicBezTo>
                        <a:pt x="886" y="477"/>
                        <a:pt x="886" y="477"/>
                        <a:pt x="886" y="477"/>
                      </a:cubicBezTo>
                      <a:cubicBezTo>
                        <a:pt x="886" y="478"/>
                        <a:pt x="886" y="478"/>
                        <a:pt x="886" y="478"/>
                      </a:cubicBezTo>
                      <a:cubicBezTo>
                        <a:pt x="885" y="478"/>
                        <a:pt x="885" y="478"/>
                        <a:pt x="885" y="478"/>
                      </a:cubicBezTo>
                      <a:cubicBezTo>
                        <a:pt x="883" y="478"/>
                        <a:pt x="883" y="478"/>
                        <a:pt x="883" y="478"/>
                      </a:cubicBezTo>
                      <a:cubicBezTo>
                        <a:pt x="883" y="477"/>
                        <a:pt x="883" y="477"/>
                        <a:pt x="883" y="477"/>
                      </a:cubicBezTo>
                      <a:cubicBezTo>
                        <a:pt x="881" y="477"/>
                        <a:pt x="881" y="477"/>
                        <a:pt x="881" y="477"/>
                      </a:cubicBezTo>
                      <a:cubicBezTo>
                        <a:pt x="879" y="477"/>
                        <a:pt x="879" y="477"/>
                        <a:pt x="879" y="477"/>
                      </a:cubicBezTo>
                      <a:cubicBezTo>
                        <a:pt x="879" y="477"/>
                        <a:pt x="879" y="477"/>
                        <a:pt x="879" y="477"/>
                      </a:cubicBezTo>
                      <a:cubicBezTo>
                        <a:pt x="878" y="475"/>
                        <a:pt x="878" y="475"/>
                        <a:pt x="878" y="475"/>
                      </a:cubicBezTo>
                      <a:cubicBezTo>
                        <a:pt x="874" y="475"/>
                        <a:pt x="874" y="475"/>
                        <a:pt x="874" y="475"/>
                      </a:cubicBezTo>
                      <a:cubicBezTo>
                        <a:pt x="873" y="474"/>
                        <a:pt x="873" y="474"/>
                        <a:pt x="873" y="474"/>
                      </a:cubicBezTo>
                      <a:cubicBezTo>
                        <a:pt x="872" y="474"/>
                        <a:pt x="872" y="474"/>
                        <a:pt x="872" y="474"/>
                      </a:cubicBezTo>
                      <a:cubicBezTo>
                        <a:pt x="870" y="474"/>
                        <a:pt x="870" y="474"/>
                        <a:pt x="870" y="474"/>
                      </a:cubicBezTo>
                      <a:cubicBezTo>
                        <a:pt x="870" y="474"/>
                        <a:pt x="870" y="474"/>
                        <a:pt x="870" y="474"/>
                      </a:cubicBezTo>
                      <a:cubicBezTo>
                        <a:pt x="867" y="474"/>
                        <a:pt x="867" y="474"/>
                        <a:pt x="867" y="474"/>
                      </a:cubicBezTo>
                      <a:cubicBezTo>
                        <a:pt x="867" y="476"/>
                        <a:pt x="867" y="476"/>
                        <a:pt x="867" y="476"/>
                      </a:cubicBezTo>
                      <a:cubicBezTo>
                        <a:pt x="866" y="476"/>
                        <a:pt x="866" y="476"/>
                        <a:pt x="866" y="476"/>
                      </a:cubicBezTo>
                      <a:cubicBezTo>
                        <a:pt x="865" y="477"/>
                        <a:pt x="865" y="477"/>
                        <a:pt x="865" y="477"/>
                      </a:cubicBezTo>
                      <a:cubicBezTo>
                        <a:pt x="863" y="477"/>
                        <a:pt x="863" y="477"/>
                        <a:pt x="863" y="477"/>
                      </a:cubicBezTo>
                      <a:cubicBezTo>
                        <a:pt x="862" y="477"/>
                        <a:pt x="862" y="477"/>
                        <a:pt x="862" y="477"/>
                      </a:cubicBezTo>
                      <a:cubicBezTo>
                        <a:pt x="860" y="476"/>
                        <a:pt x="860" y="476"/>
                        <a:pt x="860" y="476"/>
                      </a:cubicBezTo>
                      <a:cubicBezTo>
                        <a:pt x="859" y="478"/>
                        <a:pt x="859" y="478"/>
                        <a:pt x="859" y="478"/>
                      </a:cubicBezTo>
                      <a:cubicBezTo>
                        <a:pt x="857" y="478"/>
                        <a:pt x="857" y="478"/>
                        <a:pt x="857" y="478"/>
                      </a:cubicBezTo>
                      <a:cubicBezTo>
                        <a:pt x="856" y="479"/>
                        <a:pt x="856" y="479"/>
                        <a:pt x="856" y="479"/>
                      </a:cubicBezTo>
                      <a:cubicBezTo>
                        <a:pt x="855" y="480"/>
                        <a:pt x="855" y="480"/>
                        <a:pt x="855" y="480"/>
                      </a:cubicBezTo>
                      <a:cubicBezTo>
                        <a:pt x="853" y="480"/>
                        <a:pt x="853" y="480"/>
                        <a:pt x="853" y="480"/>
                      </a:cubicBezTo>
                      <a:cubicBezTo>
                        <a:pt x="853" y="480"/>
                        <a:pt x="853" y="480"/>
                        <a:pt x="853" y="480"/>
                      </a:cubicBezTo>
                      <a:cubicBezTo>
                        <a:pt x="852" y="480"/>
                        <a:pt x="852" y="480"/>
                        <a:pt x="852" y="480"/>
                      </a:cubicBezTo>
                      <a:cubicBezTo>
                        <a:pt x="851" y="481"/>
                        <a:pt x="851" y="481"/>
                        <a:pt x="851" y="481"/>
                      </a:cubicBezTo>
                      <a:cubicBezTo>
                        <a:pt x="848" y="481"/>
                        <a:pt x="848" y="481"/>
                        <a:pt x="848" y="481"/>
                      </a:cubicBezTo>
                      <a:cubicBezTo>
                        <a:pt x="847" y="482"/>
                        <a:pt x="847" y="482"/>
                        <a:pt x="847" y="482"/>
                      </a:cubicBezTo>
                      <a:cubicBezTo>
                        <a:pt x="847" y="483"/>
                        <a:pt x="847" y="483"/>
                        <a:pt x="847" y="483"/>
                      </a:cubicBezTo>
                      <a:cubicBezTo>
                        <a:pt x="846" y="485"/>
                        <a:pt x="846" y="485"/>
                        <a:pt x="846" y="485"/>
                      </a:cubicBezTo>
                      <a:cubicBezTo>
                        <a:pt x="845" y="487"/>
                        <a:pt x="845" y="487"/>
                        <a:pt x="845" y="487"/>
                      </a:cubicBezTo>
                      <a:cubicBezTo>
                        <a:pt x="844" y="488"/>
                        <a:pt x="844" y="488"/>
                        <a:pt x="844" y="488"/>
                      </a:cubicBezTo>
                      <a:cubicBezTo>
                        <a:pt x="844" y="489"/>
                        <a:pt x="844" y="489"/>
                        <a:pt x="844" y="489"/>
                      </a:cubicBezTo>
                      <a:cubicBezTo>
                        <a:pt x="844" y="489"/>
                        <a:pt x="844" y="489"/>
                        <a:pt x="844" y="489"/>
                      </a:cubicBezTo>
                      <a:cubicBezTo>
                        <a:pt x="844" y="492"/>
                        <a:pt x="844" y="492"/>
                        <a:pt x="844" y="492"/>
                      </a:cubicBezTo>
                      <a:cubicBezTo>
                        <a:pt x="844" y="493"/>
                        <a:pt x="844" y="493"/>
                        <a:pt x="844" y="493"/>
                      </a:cubicBezTo>
                      <a:cubicBezTo>
                        <a:pt x="845" y="493"/>
                        <a:pt x="845" y="493"/>
                        <a:pt x="845" y="493"/>
                      </a:cubicBezTo>
                      <a:cubicBezTo>
                        <a:pt x="847" y="491"/>
                        <a:pt x="847" y="491"/>
                        <a:pt x="847" y="491"/>
                      </a:cubicBezTo>
                      <a:cubicBezTo>
                        <a:pt x="849" y="491"/>
                        <a:pt x="849" y="491"/>
                        <a:pt x="849" y="491"/>
                      </a:cubicBezTo>
                      <a:cubicBezTo>
                        <a:pt x="850" y="491"/>
                        <a:pt x="850" y="491"/>
                        <a:pt x="850" y="491"/>
                      </a:cubicBezTo>
                      <a:cubicBezTo>
                        <a:pt x="851" y="493"/>
                        <a:pt x="851" y="493"/>
                        <a:pt x="851" y="493"/>
                      </a:cubicBezTo>
                      <a:cubicBezTo>
                        <a:pt x="852" y="495"/>
                        <a:pt x="852" y="495"/>
                        <a:pt x="852" y="495"/>
                      </a:cubicBezTo>
                      <a:cubicBezTo>
                        <a:pt x="853" y="496"/>
                        <a:pt x="853" y="496"/>
                        <a:pt x="853" y="496"/>
                      </a:cubicBezTo>
                      <a:cubicBezTo>
                        <a:pt x="853" y="498"/>
                        <a:pt x="853" y="498"/>
                        <a:pt x="853" y="498"/>
                      </a:cubicBezTo>
                      <a:cubicBezTo>
                        <a:pt x="854" y="499"/>
                        <a:pt x="854" y="499"/>
                        <a:pt x="854" y="499"/>
                      </a:cubicBezTo>
                      <a:cubicBezTo>
                        <a:pt x="854" y="501"/>
                        <a:pt x="854" y="501"/>
                        <a:pt x="854" y="501"/>
                      </a:cubicBezTo>
                      <a:cubicBezTo>
                        <a:pt x="853" y="502"/>
                        <a:pt x="853" y="502"/>
                        <a:pt x="853" y="502"/>
                      </a:cubicBezTo>
                      <a:cubicBezTo>
                        <a:pt x="851" y="504"/>
                        <a:pt x="851" y="504"/>
                        <a:pt x="851" y="504"/>
                      </a:cubicBezTo>
                      <a:cubicBezTo>
                        <a:pt x="851" y="507"/>
                        <a:pt x="851" y="507"/>
                        <a:pt x="851" y="507"/>
                      </a:cubicBezTo>
                      <a:cubicBezTo>
                        <a:pt x="850" y="508"/>
                        <a:pt x="850" y="508"/>
                        <a:pt x="850" y="508"/>
                      </a:cubicBezTo>
                      <a:cubicBezTo>
                        <a:pt x="849" y="510"/>
                        <a:pt x="849" y="510"/>
                        <a:pt x="849" y="510"/>
                      </a:cubicBezTo>
                      <a:cubicBezTo>
                        <a:pt x="848" y="511"/>
                        <a:pt x="848" y="511"/>
                        <a:pt x="848" y="511"/>
                      </a:cubicBezTo>
                      <a:cubicBezTo>
                        <a:pt x="849" y="513"/>
                        <a:pt x="849" y="513"/>
                        <a:pt x="849" y="513"/>
                      </a:cubicBezTo>
                      <a:cubicBezTo>
                        <a:pt x="849" y="514"/>
                        <a:pt x="849" y="514"/>
                        <a:pt x="849" y="514"/>
                      </a:cubicBezTo>
                      <a:cubicBezTo>
                        <a:pt x="849" y="516"/>
                        <a:pt x="849" y="516"/>
                        <a:pt x="849" y="516"/>
                      </a:cubicBezTo>
                      <a:cubicBezTo>
                        <a:pt x="850" y="517"/>
                        <a:pt x="850" y="517"/>
                        <a:pt x="850" y="517"/>
                      </a:cubicBezTo>
                      <a:cubicBezTo>
                        <a:pt x="850" y="519"/>
                        <a:pt x="850" y="519"/>
                        <a:pt x="850" y="519"/>
                      </a:cubicBezTo>
                      <a:cubicBezTo>
                        <a:pt x="849" y="520"/>
                        <a:pt x="849" y="520"/>
                        <a:pt x="849" y="520"/>
                      </a:cubicBezTo>
                      <a:cubicBezTo>
                        <a:pt x="849" y="521"/>
                        <a:pt x="849" y="521"/>
                        <a:pt x="849" y="521"/>
                      </a:cubicBezTo>
                      <a:cubicBezTo>
                        <a:pt x="849" y="523"/>
                        <a:pt x="849" y="523"/>
                        <a:pt x="849" y="523"/>
                      </a:cubicBezTo>
                      <a:cubicBezTo>
                        <a:pt x="850" y="526"/>
                        <a:pt x="850" y="526"/>
                        <a:pt x="850" y="526"/>
                      </a:cubicBezTo>
                      <a:cubicBezTo>
                        <a:pt x="849" y="526"/>
                        <a:pt x="849" y="526"/>
                        <a:pt x="849" y="526"/>
                      </a:cubicBezTo>
                      <a:cubicBezTo>
                        <a:pt x="849" y="529"/>
                        <a:pt x="849" y="529"/>
                        <a:pt x="849" y="529"/>
                      </a:cubicBezTo>
                      <a:cubicBezTo>
                        <a:pt x="850" y="529"/>
                        <a:pt x="850" y="529"/>
                        <a:pt x="850" y="529"/>
                      </a:cubicBezTo>
                      <a:cubicBezTo>
                        <a:pt x="851" y="530"/>
                        <a:pt x="851" y="530"/>
                        <a:pt x="851" y="530"/>
                      </a:cubicBezTo>
                      <a:cubicBezTo>
                        <a:pt x="852" y="529"/>
                        <a:pt x="852" y="529"/>
                        <a:pt x="852" y="529"/>
                      </a:cubicBezTo>
                      <a:cubicBezTo>
                        <a:pt x="852" y="530"/>
                        <a:pt x="852" y="530"/>
                        <a:pt x="852" y="530"/>
                      </a:cubicBezTo>
                      <a:cubicBezTo>
                        <a:pt x="853" y="532"/>
                        <a:pt x="853" y="532"/>
                        <a:pt x="853" y="532"/>
                      </a:cubicBezTo>
                      <a:cubicBezTo>
                        <a:pt x="852" y="534"/>
                        <a:pt x="852" y="534"/>
                        <a:pt x="852" y="534"/>
                      </a:cubicBezTo>
                      <a:cubicBezTo>
                        <a:pt x="851" y="535"/>
                        <a:pt x="851" y="535"/>
                        <a:pt x="851" y="535"/>
                      </a:cubicBezTo>
                      <a:cubicBezTo>
                        <a:pt x="847" y="536"/>
                        <a:pt x="847" y="536"/>
                        <a:pt x="847" y="536"/>
                      </a:cubicBezTo>
                      <a:cubicBezTo>
                        <a:pt x="845" y="537"/>
                        <a:pt x="845" y="537"/>
                        <a:pt x="845" y="537"/>
                      </a:cubicBezTo>
                      <a:cubicBezTo>
                        <a:pt x="840" y="542"/>
                        <a:pt x="840" y="542"/>
                        <a:pt x="840" y="542"/>
                      </a:cubicBezTo>
                      <a:cubicBezTo>
                        <a:pt x="839" y="542"/>
                        <a:pt x="839" y="542"/>
                        <a:pt x="839" y="542"/>
                      </a:cubicBezTo>
                      <a:cubicBezTo>
                        <a:pt x="838" y="541"/>
                        <a:pt x="838" y="541"/>
                        <a:pt x="838" y="541"/>
                      </a:cubicBezTo>
                      <a:cubicBezTo>
                        <a:pt x="835" y="540"/>
                        <a:pt x="835" y="540"/>
                        <a:pt x="835" y="540"/>
                      </a:cubicBezTo>
                      <a:cubicBezTo>
                        <a:pt x="833" y="541"/>
                        <a:pt x="833" y="541"/>
                        <a:pt x="833" y="541"/>
                      </a:cubicBezTo>
                      <a:cubicBezTo>
                        <a:pt x="833" y="540"/>
                        <a:pt x="833" y="540"/>
                        <a:pt x="833" y="540"/>
                      </a:cubicBezTo>
                      <a:cubicBezTo>
                        <a:pt x="832" y="540"/>
                        <a:pt x="832" y="540"/>
                        <a:pt x="832" y="540"/>
                      </a:cubicBezTo>
                      <a:cubicBezTo>
                        <a:pt x="831" y="540"/>
                        <a:pt x="831" y="540"/>
                        <a:pt x="831" y="540"/>
                      </a:cubicBezTo>
                      <a:cubicBezTo>
                        <a:pt x="830" y="539"/>
                        <a:pt x="830" y="539"/>
                        <a:pt x="830" y="539"/>
                      </a:cubicBezTo>
                      <a:cubicBezTo>
                        <a:pt x="826" y="538"/>
                        <a:pt x="826" y="538"/>
                        <a:pt x="826" y="538"/>
                      </a:cubicBezTo>
                      <a:cubicBezTo>
                        <a:pt x="823" y="539"/>
                        <a:pt x="823" y="539"/>
                        <a:pt x="823" y="539"/>
                      </a:cubicBezTo>
                      <a:cubicBezTo>
                        <a:pt x="823" y="540"/>
                        <a:pt x="823" y="540"/>
                        <a:pt x="823" y="540"/>
                      </a:cubicBezTo>
                      <a:cubicBezTo>
                        <a:pt x="821" y="541"/>
                        <a:pt x="821" y="541"/>
                        <a:pt x="821" y="541"/>
                      </a:cubicBezTo>
                      <a:cubicBezTo>
                        <a:pt x="819" y="541"/>
                        <a:pt x="819" y="541"/>
                        <a:pt x="819" y="541"/>
                      </a:cubicBezTo>
                      <a:cubicBezTo>
                        <a:pt x="818" y="540"/>
                        <a:pt x="818" y="540"/>
                        <a:pt x="818" y="540"/>
                      </a:cubicBezTo>
                      <a:cubicBezTo>
                        <a:pt x="816" y="541"/>
                        <a:pt x="816" y="541"/>
                        <a:pt x="816" y="541"/>
                      </a:cubicBezTo>
                      <a:cubicBezTo>
                        <a:pt x="815" y="541"/>
                        <a:pt x="815" y="541"/>
                        <a:pt x="815" y="541"/>
                      </a:cubicBezTo>
                      <a:cubicBezTo>
                        <a:pt x="813" y="539"/>
                        <a:pt x="813" y="539"/>
                        <a:pt x="813" y="539"/>
                      </a:cubicBezTo>
                      <a:cubicBezTo>
                        <a:pt x="811" y="538"/>
                        <a:pt x="811" y="538"/>
                        <a:pt x="811" y="538"/>
                      </a:cubicBezTo>
                      <a:cubicBezTo>
                        <a:pt x="809" y="537"/>
                        <a:pt x="809" y="537"/>
                        <a:pt x="809" y="537"/>
                      </a:cubicBezTo>
                      <a:cubicBezTo>
                        <a:pt x="807" y="538"/>
                        <a:pt x="807" y="538"/>
                        <a:pt x="807" y="538"/>
                      </a:cubicBezTo>
                      <a:cubicBezTo>
                        <a:pt x="806" y="538"/>
                        <a:pt x="806" y="538"/>
                        <a:pt x="806" y="538"/>
                      </a:cubicBezTo>
                      <a:cubicBezTo>
                        <a:pt x="804" y="538"/>
                        <a:pt x="804" y="538"/>
                        <a:pt x="804" y="538"/>
                      </a:cubicBezTo>
                      <a:cubicBezTo>
                        <a:pt x="803" y="539"/>
                        <a:pt x="803" y="539"/>
                        <a:pt x="803" y="539"/>
                      </a:cubicBezTo>
                      <a:cubicBezTo>
                        <a:pt x="802" y="541"/>
                        <a:pt x="802" y="541"/>
                        <a:pt x="802" y="541"/>
                      </a:cubicBezTo>
                      <a:cubicBezTo>
                        <a:pt x="801" y="542"/>
                        <a:pt x="801" y="542"/>
                        <a:pt x="801" y="542"/>
                      </a:cubicBezTo>
                      <a:cubicBezTo>
                        <a:pt x="799" y="543"/>
                        <a:pt x="799" y="543"/>
                        <a:pt x="799" y="543"/>
                      </a:cubicBezTo>
                      <a:cubicBezTo>
                        <a:pt x="797" y="545"/>
                        <a:pt x="797" y="545"/>
                        <a:pt x="797" y="545"/>
                      </a:cubicBezTo>
                      <a:cubicBezTo>
                        <a:pt x="797" y="546"/>
                        <a:pt x="797" y="546"/>
                        <a:pt x="797" y="546"/>
                      </a:cubicBezTo>
                      <a:cubicBezTo>
                        <a:pt x="797" y="548"/>
                        <a:pt x="797" y="548"/>
                        <a:pt x="797" y="548"/>
                      </a:cubicBezTo>
                      <a:cubicBezTo>
                        <a:pt x="795" y="550"/>
                        <a:pt x="795" y="550"/>
                        <a:pt x="795" y="550"/>
                      </a:cubicBezTo>
                      <a:cubicBezTo>
                        <a:pt x="790" y="550"/>
                        <a:pt x="790" y="550"/>
                        <a:pt x="790" y="550"/>
                      </a:cubicBezTo>
                      <a:cubicBezTo>
                        <a:pt x="789" y="550"/>
                        <a:pt x="789" y="550"/>
                        <a:pt x="789" y="550"/>
                      </a:cubicBezTo>
                      <a:cubicBezTo>
                        <a:pt x="787" y="552"/>
                        <a:pt x="787" y="552"/>
                        <a:pt x="787" y="552"/>
                      </a:cubicBezTo>
                      <a:cubicBezTo>
                        <a:pt x="785" y="552"/>
                        <a:pt x="785" y="552"/>
                        <a:pt x="785" y="552"/>
                      </a:cubicBezTo>
                      <a:cubicBezTo>
                        <a:pt x="781" y="554"/>
                        <a:pt x="781" y="554"/>
                        <a:pt x="781" y="554"/>
                      </a:cubicBezTo>
                      <a:cubicBezTo>
                        <a:pt x="780" y="556"/>
                        <a:pt x="780" y="556"/>
                        <a:pt x="780" y="556"/>
                      </a:cubicBezTo>
                      <a:cubicBezTo>
                        <a:pt x="779" y="557"/>
                        <a:pt x="779" y="557"/>
                        <a:pt x="779" y="557"/>
                      </a:cubicBezTo>
                      <a:cubicBezTo>
                        <a:pt x="777" y="556"/>
                        <a:pt x="777" y="556"/>
                        <a:pt x="777" y="556"/>
                      </a:cubicBezTo>
                      <a:cubicBezTo>
                        <a:pt x="775" y="556"/>
                        <a:pt x="775" y="556"/>
                        <a:pt x="775" y="556"/>
                      </a:cubicBezTo>
                      <a:cubicBezTo>
                        <a:pt x="774" y="556"/>
                        <a:pt x="774" y="556"/>
                        <a:pt x="774" y="556"/>
                      </a:cubicBezTo>
                      <a:cubicBezTo>
                        <a:pt x="771" y="557"/>
                        <a:pt x="771" y="557"/>
                        <a:pt x="771" y="557"/>
                      </a:cubicBezTo>
                      <a:cubicBezTo>
                        <a:pt x="766" y="557"/>
                        <a:pt x="766" y="557"/>
                        <a:pt x="766" y="557"/>
                      </a:cubicBezTo>
                      <a:cubicBezTo>
                        <a:pt x="762" y="556"/>
                        <a:pt x="762" y="556"/>
                        <a:pt x="762" y="556"/>
                      </a:cubicBezTo>
                      <a:cubicBezTo>
                        <a:pt x="757" y="556"/>
                        <a:pt x="757" y="556"/>
                        <a:pt x="757" y="556"/>
                      </a:cubicBezTo>
                      <a:cubicBezTo>
                        <a:pt x="756" y="556"/>
                        <a:pt x="756" y="556"/>
                        <a:pt x="756" y="556"/>
                      </a:cubicBezTo>
                      <a:cubicBezTo>
                        <a:pt x="754" y="554"/>
                        <a:pt x="754" y="554"/>
                        <a:pt x="754" y="554"/>
                      </a:cubicBezTo>
                      <a:cubicBezTo>
                        <a:pt x="753" y="554"/>
                        <a:pt x="753" y="554"/>
                        <a:pt x="753" y="554"/>
                      </a:cubicBezTo>
                      <a:cubicBezTo>
                        <a:pt x="752" y="553"/>
                        <a:pt x="752" y="553"/>
                        <a:pt x="752" y="553"/>
                      </a:cubicBezTo>
                      <a:cubicBezTo>
                        <a:pt x="750" y="552"/>
                        <a:pt x="750" y="552"/>
                        <a:pt x="750" y="552"/>
                      </a:cubicBezTo>
                      <a:cubicBezTo>
                        <a:pt x="749" y="549"/>
                        <a:pt x="749" y="549"/>
                        <a:pt x="749" y="549"/>
                      </a:cubicBezTo>
                      <a:cubicBezTo>
                        <a:pt x="748" y="548"/>
                        <a:pt x="748" y="548"/>
                        <a:pt x="748" y="548"/>
                      </a:cubicBezTo>
                      <a:cubicBezTo>
                        <a:pt x="746" y="548"/>
                        <a:pt x="746" y="548"/>
                        <a:pt x="746" y="548"/>
                      </a:cubicBezTo>
                      <a:cubicBezTo>
                        <a:pt x="743" y="548"/>
                        <a:pt x="743" y="548"/>
                        <a:pt x="743" y="548"/>
                      </a:cubicBezTo>
                      <a:cubicBezTo>
                        <a:pt x="740" y="547"/>
                        <a:pt x="740" y="547"/>
                        <a:pt x="740" y="547"/>
                      </a:cubicBezTo>
                      <a:cubicBezTo>
                        <a:pt x="738" y="544"/>
                        <a:pt x="738" y="544"/>
                        <a:pt x="738" y="544"/>
                      </a:cubicBezTo>
                      <a:cubicBezTo>
                        <a:pt x="734" y="544"/>
                        <a:pt x="734" y="544"/>
                        <a:pt x="734" y="544"/>
                      </a:cubicBezTo>
                      <a:cubicBezTo>
                        <a:pt x="731" y="544"/>
                        <a:pt x="731" y="544"/>
                        <a:pt x="731" y="544"/>
                      </a:cubicBezTo>
                      <a:cubicBezTo>
                        <a:pt x="729" y="543"/>
                        <a:pt x="729" y="543"/>
                        <a:pt x="729" y="543"/>
                      </a:cubicBezTo>
                      <a:cubicBezTo>
                        <a:pt x="726" y="543"/>
                        <a:pt x="726" y="543"/>
                        <a:pt x="726" y="543"/>
                      </a:cubicBezTo>
                      <a:cubicBezTo>
                        <a:pt x="724" y="544"/>
                        <a:pt x="724" y="544"/>
                        <a:pt x="724" y="544"/>
                      </a:cubicBezTo>
                      <a:cubicBezTo>
                        <a:pt x="722" y="545"/>
                        <a:pt x="722" y="545"/>
                        <a:pt x="722" y="545"/>
                      </a:cubicBezTo>
                      <a:cubicBezTo>
                        <a:pt x="718" y="545"/>
                        <a:pt x="718" y="545"/>
                        <a:pt x="718" y="545"/>
                      </a:cubicBezTo>
                      <a:cubicBezTo>
                        <a:pt x="715" y="546"/>
                        <a:pt x="715" y="546"/>
                        <a:pt x="715" y="546"/>
                      </a:cubicBezTo>
                      <a:cubicBezTo>
                        <a:pt x="714" y="548"/>
                        <a:pt x="714" y="548"/>
                        <a:pt x="714" y="548"/>
                      </a:cubicBezTo>
                      <a:cubicBezTo>
                        <a:pt x="712" y="548"/>
                        <a:pt x="712" y="548"/>
                        <a:pt x="712" y="548"/>
                      </a:cubicBezTo>
                      <a:cubicBezTo>
                        <a:pt x="711" y="548"/>
                        <a:pt x="711" y="548"/>
                        <a:pt x="711" y="548"/>
                      </a:cubicBezTo>
                      <a:cubicBezTo>
                        <a:pt x="710" y="548"/>
                        <a:pt x="710" y="548"/>
                        <a:pt x="710" y="548"/>
                      </a:cubicBezTo>
                      <a:cubicBezTo>
                        <a:pt x="708" y="549"/>
                        <a:pt x="708" y="549"/>
                        <a:pt x="708" y="549"/>
                      </a:cubicBezTo>
                      <a:cubicBezTo>
                        <a:pt x="705" y="548"/>
                        <a:pt x="705" y="548"/>
                        <a:pt x="705" y="548"/>
                      </a:cubicBezTo>
                      <a:cubicBezTo>
                        <a:pt x="705" y="549"/>
                        <a:pt x="705" y="549"/>
                        <a:pt x="705" y="549"/>
                      </a:cubicBezTo>
                      <a:cubicBezTo>
                        <a:pt x="703" y="549"/>
                        <a:pt x="703" y="549"/>
                        <a:pt x="703" y="549"/>
                      </a:cubicBezTo>
                      <a:cubicBezTo>
                        <a:pt x="700" y="547"/>
                        <a:pt x="700" y="547"/>
                        <a:pt x="700" y="547"/>
                      </a:cubicBezTo>
                      <a:cubicBezTo>
                        <a:pt x="698" y="547"/>
                        <a:pt x="698" y="547"/>
                        <a:pt x="698" y="547"/>
                      </a:cubicBezTo>
                      <a:cubicBezTo>
                        <a:pt x="697" y="546"/>
                        <a:pt x="697" y="546"/>
                        <a:pt x="697" y="546"/>
                      </a:cubicBezTo>
                      <a:cubicBezTo>
                        <a:pt x="695" y="544"/>
                        <a:pt x="695" y="544"/>
                        <a:pt x="695" y="544"/>
                      </a:cubicBezTo>
                      <a:cubicBezTo>
                        <a:pt x="694" y="544"/>
                        <a:pt x="694" y="544"/>
                        <a:pt x="694" y="544"/>
                      </a:cubicBezTo>
                      <a:cubicBezTo>
                        <a:pt x="693" y="543"/>
                        <a:pt x="693" y="543"/>
                        <a:pt x="693" y="543"/>
                      </a:cubicBezTo>
                      <a:cubicBezTo>
                        <a:pt x="693" y="541"/>
                        <a:pt x="693" y="541"/>
                        <a:pt x="693" y="541"/>
                      </a:cubicBezTo>
                      <a:cubicBezTo>
                        <a:pt x="692" y="539"/>
                        <a:pt x="692" y="539"/>
                        <a:pt x="692" y="539"/>
                      </a:cubicBezTo>
                      <a:cubicBezTo>
                        <a:pt x="691" y="538"/>
                        <a:pt x="691" y="538"/>
                        <a:pt x="691" y="538"/>
                      </a:cubicBezTo>
                      <a:cubicBezTo>
                        <a:pt x="691" y="536"/>
                        <a:pt x="691" y="536"/>
                        <a:pt x="691" y="536"/>
                      </a:cubicBezTo>
                      <a:cubicBezTo>
                        <a:pt x="690" y="535"/>
                        <a:pt x="690" y="535"/>
                        <a:pt x="690" y="535"/>
                      </a:cubicBezTo>
                      <a:cubicBezTo>
                        <a:pt x="690" y="534"/>
                        <a:pt x="690" y="534"/>
                        <a:pt x="690" y="534"/>
                      </a:cubicBezTo>
                      <a:cubicBezTo>
                        <a:pt x="689" y="532"/>
                        <a:pt x="689" y="532"/>
                        <a:pt x="689" y="532"/>
                      </a:cubicBezTo>
                      <a:cubicBezTo>
                        <a:pt x="688" y="531"/>
                        <a:pt x="688" y="531"/>
                        <a:pt x="688" y="531"/>
                      </a:cubicBezTo>
                      <a:cubicBezTo>
                        <a:pt x="684" y="532"/>
                        <a:pt x="684" y="532"/>
                        <a:pt x="684" y="532"/>
                      </a:cubicBezTo>
                      <a:cubicBezTo>
                        <a:pt x="682" y="531"/>
                        <a:pt x="682" y="531"/>
                        <a:pt x="682" y="531"/>
                      </a:cubicBezTo>
                      <a:cubicBezTo>
                        <a:pt x="680" y="531"/>
                        <a:pt x="680" y="531"/>
                        <a:pt x="680" y="531"/>
                      </a:cubicBezTo>
                      <a:cubicBezTo>
                        <a:pt x="678" y="530"/>
                        <a:pt x="678" y="530"/>
                        <a:pt x="678" y="530"/>
                      </a:cubicBezTo>
                      <a:cubicBezTo>
                        <a:pt x="677" y="529"/>
                        <a:pt x="677" y="529"/>
                        <a:pt x="677" y="529"/>
                      </a:cubicBezTo>
                      <a:cubicBezTo>
                        <a:pt x="676" y="529"/>
                        <a:pt x="676" y="529"/>
                        <a:pt x="676" y="529"/>
                      </a:cubicBezTo>
                      <a:cubicBezTo>
                        <a:pt x="672" y="529"/>
                        <a:pt x="672" y="529"/>
                        <a:pt x="672" y="529"/>
                      </a:cubicBezTo>
                      <a:cubicBezTo>
                        <a:pt x="670" y="528"/>
                        <a:pt x="670" y="528"/>
                        <a:pt x="670" y="528"/>
                      </a:cubicBezTo>
                      <a:cubicBezTo>
                        <a:pt x="668" y="528"/>
                        <a:pt x="668" y="528"/>
                        <a:pt x="668" y="528"/>
                      </a:cubicBezTo>
                      <a:cubicBezTo>
                        <a:pt x="667" y="527"/>
                        <a:pt x="667" y="527"/>
                        <a:pt x="667" y="527"/>
                      </a:cubicBezTo>
                      <a:cubicBezTo>
                        <a:pt x="665" y="526"/>
                        <a:pt x="665" y="526"/>
                        <a:pt x="665" y="526"/>
                      </a:cubicBezTo>
                      <a:cubicBezTo>
                        <a:pt x="662" y="525"/>
                        <a:pt x="662" y="525"/>
                        <a:pt x="662" y="525"/>
                      </a:cubicBezTo>
                      <a:cubicBezTo>
                        <a:pt x="661" y="524"/>
                        <a:pt x="661" y="524"/>
                        <a:pt x="661" y="524"/>
                      </a:cubicBezTo>
                      <a:cubicBezTo>
                        <a:pt x="659" y="524"/>
                        <a:pt x="659" y="524"/>
                        <a:pt x="659" y="524"/>
                      </a:cubicBezTo>
                      <a:cubicBezTo>
                        <a:pt x="658" y="525"/>
                        <a:pt x="658" y="525"/>
                        <a:pt x="658" y="525"/>
                      </a:cubicBezTo>
                      <a:cubicBezTo>
                        <a:pt x="657" y="527"/>
                        <a:pt x="657" y="527"/>
                        <a:pt x="657" y="527"/>
                      </a:cubicBezTo>
                      <a:cubicBezTo>
                        <a:pt x="658" y="528"/>
                        <a:pt x="658" y="528"/>
                        <a:pt x="658" y="528"/>
                      </a:cubicBezTo>
                      <a:cubicBezTo>
                        <a:pt x="657" y="530"/>
                        <a:pt x="657" y="530"/>
                        <a:pt x="657" y="530"/>
                      </a:cubicBezTo>
                      <a:cubicBezTo>
                        <a:pt x="656" y="530"/>
                        <a:pt x="656" y="530"/>
                        <a:pt x="656" y="530"/>
                      </a:cubicBezTo>
                      <a:cubicBezTo>
                        <a:pt x="655" y="530"/>
                        <a:pt x="655" y="530"/>
                        <a:pt x="655" y="530"/>
                      </a:cubicBezTo>
                      <a:cubicBezTo>
                        <a:pt x="654" y="532"/>
                        <a:pt x="654" y="532"/>
                        <a:pt x="654" y="532"/>
                      </a:cubicBezTo>
                      <a:cubicBezTo>
                        <a:pt x="654" y="533"/>
                        <a:pt x="654" y="533"/>
                        <a:pt x="654" y="533"/>
                      </a:cubicBezTo>
                      <a:cubicBezTo>
                        <a:pt x="652" y="536"/>
                        <a:pt x="652" y="536"/>
                        <a:pt x="652" y="536"/>
                      </a:cubicBezTo>
                      <a:cubicBezTo>
                        <a:pt x="652" y="540"/>
                        <a:pt x="652" y="540"/>
                        <a:pt x="652" y="540"/>
                      </a:cubicBezTo>
                      <a:cubicBezTo>
                        <a:pt x="652" y="543"/>
                        <a:pt x="652" y="543"/>
                        <a:pt x="652" y="543"/>
                      </a:cubicBezTo>
                      <a:cubicBezTo>
                        <a:pt x="655" y="544"/>
                        <a:pt x="655" y="544"/>
                        <a:pt x="655" y="544"/>
                      </a:cubicBezTo>
                      <a:cubicBezTo>
                        <a:pt x="656" y="545"/>
                        <a:pt x="656" y="545"/>
                        <a:pt x="656" y="545"/>
                      </a:cubicBezTo>
                      <a:cubicBezTo>
                        <a:pt x="658" y="546"/>
                        <a:pt x="658" y="546"/>
                        <a:pt x="658" y="546"/>
                      </a:cubicBezTo>
                      <a:cubicBezTo>
                        <a:pt x="658" y="547"/>
                        <a:pt x="658" y="547"/>
                        <a:pt x="658" y="547"/>
                      </a:cubicBezTo>
                      <a:cubicBezTo>
                        <a:pt x="658" y="550"/>
                        <a:pt x="658" y="550"/>
                        <a:pt x="658" y="550"/>
                      </a:cubicBezTo>
                      <a:cubicBezTo>
                        <a:pt x="658" y="553"/>
                        <a:pt x="658" y="553"/>
                        <a:pt x="658" y="553"/>
                      </a:cubicBezTo>
                      <a:cubicBezTo>
                        <a:pt x="660" y="554"/>
                        <a:pt x="660" y="554"/>
                        <a:pt x="660" y="554"/>
                      </a:cubicBezTo>
                      <a:cubicBezTo>
                        <a:pt x="661" y="556"/>
                        <a:pt x="661" y="556"/>
                        <a:pt x="661" y="556"/>
                      </a:cubicBezTo>
                      <a:cubicBezTo>
                        <a:pt x="659" y="559"/>
                        <a:pt x="659" y="559"/>
                        <a:pt x="659" y="559"/>
                      </a:cubicBezTo>
                      <a:cubicBezTo>
                        <a:pt x="656" y="559"/>
                        <a:pt x="656" y="559"/>
                        <a:pt x="656" y="559"/>
                      </a:cubicBezTo>
                      <a:cubicBezTo>
                        <a:pt x="654" y="559"/>
                        <a:pt x="654" y="559"/>
                        <a:pt x="654" y="559"/>
                      </a:cubicBezTo>
                      <a:cubicBezTo>
                        <a:pt x="653" y="559"/>
                        <a:pt x="653" y="559"/>
                        <a:pt x="653" y="559"/>
                      </a:cubicBezTo>
                      <a:cubicBezTo>
                        <a:pt x="652" y="559"/>
                        <a:pt x="652" y="559"/>
                        <a:pt x="652" y="559"/>
                      </a:cubicBezTo>
                      <a:cubicBezTo>
                        <a:pt x="650" y="559"/>
                        <a:pt x="650" y="559"/>
                        <a:pt x="650" y="559"/>
                      </a:cubicBezTo>
                      <a:cubicBezTo>
                        <a:pt x="646" y="559"/>
                        <a:pt x="646" y="559"/>
                        <a:pt x="646" y="559"/>
                      </a:cubicBezTo>
                      <a:cubicBezTo>
                        <a:pt x="644" y="559"/>
                        <a:pt x="644" y="559"/>
                        <a:pt x="644" y="559"/>
                      </a:cubicBezTo>
                      <a:cubicBezTo>
                        <a:pt x="643" y="558"/>
                        <a:pt x="643" y="558"/>
                        <a:pt x="643" y="558"/>
                      </a:cubicBezTo>
                      <a:cubicBezTo>
                        <a:pt x="641" y="557"/>
                        <a:pt x="641" y="557"/>
                        <a:pt x="641" y="557"/>
                      </a:cubicBezTo>
                      <a:cubicBezTo>
                        <a:pt x="639" y="558"/>
                        <a:pt x="639" y="558"/>
                        <a:pt x="639" y="558"/>
                      </a:cubicBezTo>
                      <a:cubicBezTo>
                        <a:pt x="637" y="559"/>
                        <a:pt x="637" y="559"/>
                        <a:pt x="637" y="559"/>
                      </a:cubicBezTo>
                      <a:cubicBezTo>
                        <a:pt x="635" y="560"/>
                        <a:pt x="635" y="560"/>
                        <a:pt x="635" y="560"/>
                      </a:cubicBezTo>
                      <a:cubicBezTo>
                        <a:pt x="634" y="561"/>
                        <a:pt x="634" y="561"/>
                        <a:pt x="634" y="561"/>
                      </a:cubicBezTo>
                      <a:cubicBezTo>
                        <a:pt x="631" y="559"/>
                        <a:pt x="631" y="559"/>
                        <a:pt x="631" y="559"/>
                      </a:cubicBezTo>
                      <a:cubicBezTo>
                        <a:pt x="629" y="558"/>
                        <a:pt x="629" y="558"/>
                        <a:pt x="629" y="558"/>
                      </a:cubicBezTo>
                      <a:cubicBezTo>
                        <a:pt x="624" y="555"/>
                        <a:pt x="624" y="555"/>
                        <a:pt x="624" y="555"/>
                      </a:cubicBezTo>
                      <a:cubicBezTo>
                        <a:pt x="623" y="553"/>
                        <a:pt x="623" y="553"/>
                        <a:pt x="623" y="553"/>
                      </a:cubicBezTo>
                      <a:cubicBezTo>
                        <a:pt x="623" y="552"/>
                        <a:pt x="623" y="552"/>
                        <a:pt x="623" y="552"/>
                      </a:cubicBezTo>
                      <a:cubicBezTo>
                        <a:pt x="623" y="550"/>
                        <a:pt x="623" y="550"/>
                        <a:pt x="623" y="550"/>
                      </a:cubicBezTo>
                      <a:cubicBezTo>
                        <a:pt x="619" y="550"/>
                        <a:pt x="619" y="550"/>
                        <a:pt x="619" y="550"/>
                      </a:cubicBezTo>
                      <a:cubicBezTo>
                        <a:pt x="618" y="551"/>
                        <a:pt x="618" y="551"/>
                        <a:pt x="618" y="551"/>
                      </a:cubicBezTo>
                      <a:cubicBezTo>
                        <a:pt x="616" y="551"/>
                        <a:pt x="616" y="551"/>
                        <a:pt x="616" y="551"/>
                      </a:cubicBezTo>
                      <a:cubicBezTo>
                        <a:pt x="615" y="552"/>
                        <a:pt x="615" y="552"/>
                        <a:pt x="615" y="552"/>
                      </a:cubicBezTo>
                      <a:cubicBezTo>
                        <a:pt x="613" y="552"/>
                        <a:pt x="613" y="552"/>
                        <a:pt x="613" y="552"/>
                      </a:cubicBezTo>
                      <a:cubicBezTo>
                        <a:pt x="612" y="551"/>
                        <a:pt x="612" y="551"/>
                        <a:pt x="612" y="551"/>
                      </a:cubicBezTo>
                      <a:cubicBezTo>
                        <a:pt x="612" y="549"/>
                        <a:pt x="612" y="549"/>
                        <a:pt x="612" y="549"/>
                      </a:cubicBezTo>
                      <a:cubicBezTo>
                        <a:pt x="611" y="548"/>
                        <a:pt x="611" y="548"/>
                        <a:pt x="611" y="548"/>
                      </a:cubicBezTo>
                      <a:cubicBezTo>
                        <a:pt x="610" y="548"/>
                        <a:pt x="610" y="548"/>
                        <a:pt x="610" y="548"/>
                      </a:cubicBezTo>
                      <a:cubicBezTo>
                        <a:pt x="609" y="549"/>
                        <a:pt x="609" y="549"/>
                        <a:pt x="609" y="549"/>
                      </a:cubicBezTo>
                      <a:cubicBezTo>
                        <a:pt x="606" y="549"/>
                        <a:pt x="606" y="549"/>
                        <a:pt x="606" y="549"/>
                      </a:cubicBezTo>
                      <a:cubicBezTo>
                        <a:pt x="605" y="549"/>
                        <a:pt x="605" y="549"/>
                        <a:pt x="605" y="549"/>
                      </a:cubicBezTo>
                      <a:cubicBezTo>
                        <a:pt x="603" y="549"/>
                        <a:pt x="603" y="549"/>
                        <a:pt x="603" y="549"/>
                      </a:cubicBezTo>
                      <a:cubicBezTo>
                        <a:pt x="600" y="550"/>
                        <a:pt x="600" y="550"/>
                        <a:pt x="600" y="550"/>
                      </a:cubicBezTo>
                      <a:cubicBezTo>
                        <a:pt x="598" y="550"/>
                        <a:pt x="598" y="550"/>
                        <a:pt x="598" y="550"/>
                      </a:cubicBezTo>
                      <a:cubicBezTo>
                        <a:pt x="597" y="553"/>
                        <a:pt x="597" y="553"/>
                        <a:pt x="597" y="553"/>
                      </a:cubicBezTo>
                      <a:cubicBezTo>
                        <a:pt x="596" y="553"/>
                        <a:pt x="596" y="553"/>
                        <a:pt x="596" y="553"/>
                      </a:cubicBezTo>
                      <a:cubicBezTo>
                        <a:pt x="593" y="553"/>
                        <a:pt x="593" y="553"/>
                        <a:pt x="593" y="553"/>
                      </a:cubicBezTo>
                      <a:cubicBezTo>
                        <a:pt x="592" y="553"/>
                        <a:pt x="592" y="553"/>
                        <a:pt x="592" y="553"/>
                      </a:cubicBezTo>
                      <a:cubicBezTo>
                        <a:pt x="592" y="555"/>
                        <a:pt x="592" y="555"/>
                        <a:pt x="592" y="555"/>
                      </a:cubicBezTo>
                      <a:cubicBezTo>
                        <a:pt x="593" y="556"/>
                        <a:pt x="593" y="556"/>
                        <a:pt x="593" y="556"/>
                      </a:cubicBezTo>
                      <a:cubicBezTo>
                        <a:pt x="592" y="556"/>
                        <a:pt x="592" y="556"/>
                        <a:pt x="592" y="556"/>
                      </a:cubicBezTo>
                      <a:cubicBezTo>
                        <a:pt x="591" y="558"/>
                        <a:pt x="591" y="558"/>
                        <a:pt x="591" y="558"/>
                      </a:cubicBezTo>
                      <a:cubicBezTo>
                        <a:pt x="589" y="559"/>
                        <a:pt x="589" y="559"/>
                        <a:pt x="589" y="559"/>
                      </a:cubicBezTo>
                      <a:cubicBezTo>
                        <a:pt x="588" y="560"/>
                        <a:pt x="588" y="560"/>
                        <a:pt x="588" y="560"/>
                      </a:cubicBezTo>
                      <a:cubicBezTo>
                        <a:pt x="588" y="562"/>
                        <a:pt x="588" y="562"/>
                        <a:pt x="588" y="562"/>
                      </a:cubicBezTo>
                      <a:cubicBezTo>
                        <a:pt x="585" y="563"/>
                        <a:pt x="585" y="563"/>
                        <a:pt x="585" y="563"/>
                      </a:cubicBezTo>
                      <a:cubicBezTo>
                        <a:pt x="584" y="565"/>
                        <a:pt x="584" y="565"/>
                        <a:pt x="584" y="565"/>
                      </a:cubicBezTo>
                      <a:cubicBezTo>
                        <a:pt x="584" y="567"/>
                        <a:pt x="584" y="567"/>
                        <a:pt x="584" y="567"/>
                      </a:cubicBezTo>
                      <a:cubicBezTo>
                        <a:pt x="581" y="568"/>
                        <a:pt x="581" y="568"/>
                        <a:pt x="581" y="568"/>
                      </a:cubicBezTo>
                      <a:cubicBezTo>
                        <a:pt x="579" y="570"/>
                        <a:pt x="579" y="570"/>
                        <a:pt x="579" y="570"/>
                      </a:cubicBezTo>
                      <a:cubicBezTo>
                        <a:pt x="579" y="571"/>
                        <a:pt x="579" y="571"/>
                        <a:pt x="579" y="571"/>
                      </a:cubicBezTo>
                      <a:cubicBezTo>
                        <a:pt x="574" y="571"/>
                        <a:pt x="574" y="571"/>
                        <a:pt x="574" y="571"/>
                      </a:cubicBezTo>
                      <a:cubicBezTo>
                        <a:pt x="573" y="572"/>
                        <a:pt x="573" y="572"/>
                        <a:pt x="573" y="572"/>
                      </a:cubicBezTo>
                      <a:cubicBezTo>
                        <a:pt x="571" y="575"/>
                        <a:pt x="571" y="575"/>
                        <a:pt x="571" y="575"/>
                      </a:cubicBezTo>
                      <a:cubicBezTo>
                        <a:pt x="571" y="575"/>
                        <a:pt x="571" y="575"/>
                        <a:pt x="571" y="575"/>
                      </a:cubicBezTo>
                      <a:cubicBezTo>
                        <a:pt x="570" y="575"/>
                        <a:pt x="570" y="575"/>
                        <a:pt x="570" y="575"/>
                      </a:cubicBezTo>
                      <a:cubicBezTo>
                        <a:pt x="568" y="575"/>
                        <a:pt x="568" y="575"/>
                        <a:pt x="568" y="575"/>
                      </a:cubicBezTo>
                      <a:cubicBezTo>
                        <a:pt x="567" y="575"/>
                        <a:pt x="567" y="575"/>
                        <a:pt x="567" y="575"/>
                      </a:cubicBezTo>
                      <a:cubicBezTo>
                        <a:pt x="567" y="574"/>
                        <a:pt x="567" y="574"/>
                        <a:pt x="567" y="574"/>
                      </a:cubicBezTo>
                      <a:cubicBezTo>
                        <a:pt x="564" y="573"/>
                        <a:pt x="564" y="573"/>
                        <a:pt x="564" y="573"/>
                      </a:cubicBezTo>
                      <a:cubicBezTo>
                        <a:pt x="562" y="571"/>
                        <a:pt x="562" y="571"/>
                        <a:pt x="562" y="571"/>
                      </a:cubicBezTo>
                      <a:cubicBezTo>
                        <a:pt x="560" y="571"/>
                        <a:pt x="560" y="571"/>
                        <a:pt x="560" y="571"/>
                      </a:cubicBezTo>
                      <a:cubicBezTo>
                        <a:pt x="560" y="569"/>
                        <a:pt x="560" y="569"/>
                        <a:pt x="560" y="569"/>
                      </a:cubicBezTo>
                      <a:cubicBezTo>
                        <a:pt x="561" y="567"/>
                        <a:pt x="561" y="567"/>
                        <a:pt x="561" y="567"/>
                      </a:cubicBezTo>
                      <a:cubicBezTo>
                        <a:pt x="559" y="566"/>
                        <a:pt x="559" y="566"/>
                        <a:pt x="559" y="566"/>
                      </a:cubicBezTo>
                      <a:cubicBezTo>
                        <a:pt x="558" y="567"/>
                        <a:pt x="558" y="567"/>
                        <a:pt x="558" y="567"/>
                      </a:cubicBezTo>
                      <a:cubicBezTo>
                        <a:pt x="557" y="569"/>
                        <a:pt x="557" y="569"/>
                        <a:pt x="557" y="569"/>
                      </a:cubicBezTo>
                      <a:cubicBezTo>
                        <a:pt x="555" y="570"/>
                        <a:pt x="555" y="570"/>
                        <a:pt x="555" y="570"/>
                      </a:cubicBezTo>
                      <a:cubicBezTo>
                        <a:pt x="550" y="570"/>
                        <a:pt x="550" y="570"/>
                        <a:pt x="550" y="570"/>
                      </a:cubicBezTo>
                      <a:cubicBezTo>
                        <a:pt x="548" y="571"/>
                        <a:pt x="548" y="571"/>
                        <a:pt x="548" y="571"/>
                      </a:cubicBezTo>
                      <a:cubicBezTo>
                        <a:pt x="548" y="572"/>
                        <a:pt x="548" y="572"/>
                        <a:pt x="548" y="572"/>
                      </a:cubicBezTo>
                      <a:cubicBezTo>
                        <a:pt x="546" y="571"/>
                        <a:pt x="546" y="571"/>
                        <a:pt x="546" y="571"/>
                      </a:cubicBezTo>
                      <a:cubicBezTo>
                        <a:pt x="545" y="570"/>
                        <a:pt x="545" y="570"/>
                        <a:pt x="545" y="570"/>
                      </a:cubicBezTo>
                      <a:cubicBezTo>
                        <a:pt x="544" y="570"/>
                        <a:pt x="544" y="570"/>
                        <a:pt x="544" y="570"/>
                      </a:cubicBezTo>
                      <a:cubicBezTo>
                        <a:pt x="543" y="570"/>
                        <a:pt x="543" y="570"/>
                        <a:pt x="543" y="570"/>
                      </a:cubicBezTo>
                      <a:cubicBezTo>
                        <a:pt x="542" y="569"/>
                        <a:pt x="542" y="569"/>
                        <a:pt x="542" y="569"/>
                      </a:cubicBezTo>
                      <a:cubicBezTo>
                        <a:pt x="542" y="568"/>
                        <a:pt x="542" y="568"/>
                        <a:pt x="542" y="568"/>
                      </a:cubicBezTo>
                      <a:cubicBezTo>
                        <a:pt x="542" y="566"/>
                        <a:pt x="542" y="566"/>
                        <a:pt x="542" y="566"/>
                      </a:cubicBezTo>
                      <a:cubicBezTo>
                        <a:pt x="542" y="565"/>
                        <a:pt x="542" y="565"/>
                        <a:pt x="542" y="565"/>
                      </a:cubicBezTo>
                      <a:cubicBezTo>
                        <a:pt x="542" y="564"/>
                        <a:pt x="542" y="564"/>
                        <a:pt x="542" y="564"/>
                      </a:cubicBezTo>
                      <a:cubicBezTo>
                        <a:pt x="541" y="563"/>
                        <a:pt x="541" y="563"/>
                        <a:pt x="541" y="563"/>
                      </a:cubicBezTo>
                      <a:cubicBezTo>
                        <a:pt x="540" y="563"/>
                        <a:pt x="540" y="563"/>
                        <a:pt x="540" y="563"/>
                      </a:cubicBezTo>
                      <a:cubicBezTo>
                        <a:pt x="538" y="562"/>
                        <a:pt x="538" y="562"/>
                        <a:pt x="538" y="562"/>
                      </a:cubicBezTo>
                      <a:cubicBezTo>
                        <a:pt x="536" y="561"/>
                        <a:pt x="536" y="561"/>
                        <a:pt x="536" y="561"/>
                      </a:cubicBezTo>
                      <a:cubicBezTo>
                        <a:pt x="535" y="561"/>
                        <a:pt x="535" y="561"/>
                        <a:pt x="535" y="561"/>
                      </a:cubicBezTo>
                      <a:cubicBezTo>
                        <a:pt x="534" y="559"/>
                        <a:pt x="534" y="559"/>
                        <a:pt x="534" y="559"/>
                      </a:cubicBezTo>
                      <a:cubicBezTo>
                        <a:pt x="532" y="556"/>
                        <a:pt x="532" y="556"/>
                        <a:pt x="532" y="556"/>
                      </a:cubicBezTo>
                      <a:cubicBezTo>
                        <a:pt x="529" y="554"/>
                        <a:pt x="529" y="554"/>
                        <a:pt x="529" y="554"/>
                      </a:cubicBezTo>
                      <a:cubicBezTo>
                        <a:pt x="526" y="553"/>
                        <a:pt x="526" y="553"/>
                        <a:pt x="526" y="553"/>
                      </a:cubicBezTo>
                      <a:cubicBezTo>
                        <a:pt x="523" y="553"/>
                        <a:pt x="523" y="553"/>
                        <a:pt x="523" y="553"/>
                      </a:cubicBezTo>
                      <a:cubicBezTo>
                        <a:pt x="520" y="553"/>
                        <a:pt x="520" y="553"/>
                        <a:pt x="520" y="553"/>
                      </a:cubicBezTo>
                      <a:cubicBezTo>
                        <a:pt x="519" y="554"/>
                        <a:pt x="519" y="554"/>
                        <a:pt x="519" y="554"/>
                      </a:cubicBezTo>
                      <a:cubicBezTo>
                        <a:pt x="520" y="556"/>
                        <a:pt x="520" y="556"/>
                        <a:pt x="520" y="556"/>
                      </a:cubicBezTo>
                      <a:cubicBezTo>
                        <a:pt x="519" y="556"/>
                        <a:pt x="519" y="556"/>
                        <a:pt x="519" y="556"/>
                      </a:cubicBezTo>
                      <a:cubicBezTo>
                        <a:pt x="517" y="557"/>
                        <a:pt x="517" y="557"/>
                        <a:pt x="517" y="557"/>
                      </a:cubicBezTo>
                      <a:cubicBezTo>
                        <a:pt x="516" y="557"/>
                        <a:pt x="516" y="557"/>
                        <a:pt x="516" y="557"/>
                      </a:cubicBezTo>
                      <a:cubicBezTo>
                        <a:pt x="514" y="558"/>
                        <a:pt x="514" y="558"/>
                        <a:pt x="514" y="558"/>
                      </a:cubicBezTo>
                      <a:cubicBezTo>
                        <a:pt x="511" y="556"/>
                        <a:pt x="511" y="556"/>
                        <a:pt x="511" y="556"/>
                      </a:cubicBezTo>
                      <a:cubicBezTo>
                        <a:pt x="510" y="557"/>
                        <a:pt x="510" y="557"/>
                        <a:pt x="510" y="557"/>
                      </a:cubicBezTo>
                      <a:cubicBezTo>
                        <a:pt x="508" y="558"/>
                        <a:pt x="508" y="558"/>
                        <a:pt x="508" y="558"/>
                      </a:cubicBezTo>
                      <a:cubicBezTo>
                        <a:pt x="507" y="558"/>
                        <a:pt x="507" y="558"/>
                        <a:pt x="507" y="558"/>
                      </a:cubicBezTo>
                      <a:cubicBezTo>
                        <a:pt x="505" y="556"/>
                        <a:pt x="505" y="556"/>
                        <a:pt x="505" y="556"/>
                      </a:cubicBezTo>
                      <a:cubicBezTo>
                        <a:pt x="503" y="555"/>
                        <a:pt x="503" y="555"/>
                        <a:pt x="503" y="555"/>
                      </a:cubicBezTo>
                      <a:cubicBezTo>
                        <a:pt x="503" y="554"/>
                        <a:pt x="503" y="554"/>
                        <a:pt x="503" y="554"/>
                      </a:cubicBezTo>
                      <a:cubicBezTo>
                        <a:pt x="503" y="553"/>
                        <a:pt x="503" y="553"/>
                        <a:pt x="503" y="553"/>
                      </a:cubicBezTo>
                      <a:cubicBezTo>
                        <a:pt x="500" y="551"/>
                        <a:pt x="500" y="551"/>
                        <a:pt x="500" y="551"/>
                      </a:cubicBezTo>
                      <a:cubicBezTo>
                        <a:pt x="499" y="552"/>
                        <a:pt x="499" y="552"/>
                        <a:pt x="499" y="552"/>
                      </a:cubicBezTo>
                      <a:cubicBezTo>
                        <a:pt x="499" y="554"/>
                        <a:pt x="499" y="554"/>
                        <a:pt x="499" y="554"/>
                      </a:cubicBezTo>
                      <a:cubicBezTo>
                        <a:pt x="499" y="555"/>
                        <a:pt x="499" y="555"/>
                        <a:pt x="499" y="555"/>
                      </a:cubicBezTo>
                      <a:cubicBezTo>
                        <a:pt x="499" y="556"/>
                        <a:pt x="499" y="556"/>
                        <a:pt x="499" y="556"/>
                      </a:cubicBezTo>
                      <a:cubicBezTo>
                        <a:pt x="497" y="557"/>
                        <a:pt x="497" y="557"/>
                        <a:pt x="497" y="557"/>
                      </a:cubicBezTo>
                      <a:cubicBezTo>
                        <a:pt x="495" y="557"/>
                        <a:pt x="495" y="557"/>
                        <a:pt x="495" y="557"/>
                      </a:cubicBezTo>
                      <a:cubicBezTo>
                        <a:pt x="471" y="527"/>
                        <a:pt x="471" y="527"/>
                        <a:pt x="471" y="527"/>
                      </a:cubicBezTo>
                      <a:cubicBezTo>
                        <a:pt x="454" y="514"/>
                        <a:pt x="454" y="514"/>
                        <a:pt x="454" y="514"/>
                      </a:cubicBezTo>
                      <a:cubicBezTo>
                        <a:pt x="453" y="512"/>
                        <a:pt x="453" y="512"/>
                        <a:pt x="453" y="512"/>
                      </a:cubicBezTo>
                      <a:cubicBezTo>
                        <a:pt x="455" y="512"/>
                        <a:pt x="455" y="512"/>
                        <a:pt x="455" y="512"/>
                      </a:cubicBezTo>
                      <a:cubicBezTo>
                        <a:pt x="456" y="510"/>
                        <a:pt x="456" y="510"/>
                        <a:pt x="456" y="510"/>
                      </a:cubicBezTo>
                      <a:cubicBezTo>
                        <a:pt x="456" y="508"/>
                        <a:pt x="456" y="508"/>
                        <a:pt x="456" y="508"/>
                      </a:cubicBezTo>
                      <a:cubicBezTo>
                        <a:pt x="455" y="507"/>
                        <a:pt x="455" y="507"/>
                        <a:pt x="455" y="507"/>
                      </a:cubicBezTo>
                      <a:cubicBezTo>
                        <a:pt x="453" y="508"/>
                        <a:pt x="453" y="508"/>
                        <a:pt x="453" y="508"/>
                      </a:cubicBezTo>
                      <a:cubicBezTo>
                        <a:pt x="451" y="509"/>
                        <a:pt x="451" y="509"/>
                        <a:pt x="451" y="509"/>
                      </a:cubicBezTo>
                      <a:cubicBezTo>
                        <a:pt x="449" y="510"/>
                        <a:pt x="449" y="510"/>
                        <a:pt x="449" y="510"/>
                      </a:cubicBezTo>
                      <a:cubicBezTo>
                        <a:pt x="448" y="511"/>
                        <a:pt x="448" y="511"/>
                        <a:pt x="448" y="511"/>
                      </a:cubicBezTo>
                      <a:cubicBezTo>
                        <a:pt x="445" y="513"/>
                        <a:pt x="445" y="513"/>
                        <a:pt x="445" y="513"/>
                      </a:cubicBezTo>
                      <a:cubicBezTo>
                        <a:pt x="445" y="515"/>
                        <a:pt x="445" y="515"/>
                        <a:pt x="445" y="515"/>
                      </a:cubicBezTo>
                      <a:cubicBezTo>
                        <a:pt x="444" y="516"/>
                        <a:pt x="444" y="516"/>
                        <a:pt x="444" y="516"/>
                      </a:cubicBezTo>
                      <a:cubicBezTo>
                        <a:pt x="443" y="518"/>
                        <a:pt x="443" y="518"/>
                        <a:pt x="443" y="518"/>
                      </a:cubicBezTo>
                      <a:cubicBezTo>
                        <a:pt x="441" y="519"/>
                        <a:pt x="441" y="519"/>
                        <a:pt x="441" y="519"/>
                      </a:cubicBezTo>
                      <a:cubicBezTo>
                        <a:pt x="438" y="519"/>
                        <a:pt x="438" y="519"/>
                        <a:pt x="438" y="519"/>
                      </a:cubicBezTo>
                      <a:cubicBezTo>
                        <a:pt x="437" y="520"/>
                        <a:pt x="437" y="520"/>
                        <a:pt x="437" y="520"/>
                      </a:cubicBezTo>
                      <a:cubicBezTo>
                        <a:pt x="437" y="522"/>
                        <a:pt x="437" y="522"/>
                        <a:pt x="437" y="522"/>
                      </a:cubicBezTo>
                      <a:cubicBezTo>
                        <a:pt x="436" y="523"/>
                        <a:pt x="436" y="523"/>
                        <a:pt x="436" y="523"/>
                      </a:cubicBezTo>
                      <a:cubicBezTo>
                        <a:pt x="435" y="522"/>
                        <a:pt x="435" y="522"/>
                        <a:pt x="435" y="522"/>
                      </a:cubicBezTo>
                      <a:cubicBezTo>
                        <a:pt x="431" y="521"/>
                        <a:pt x="431" y="521"/>
                        <a:pt x="431" y="521"/>
                      </a:cubicBezTo>
                      <a:cubicBezTo>
                        <a:pt x="429" y="522"/>
                        <a:pt x="429" y="522"/>
                        <a:pt x="429" y="522"/>
                      </a:cubicBezTo>
                      <a:cubicBezTo>
                        <a:pt x="428" y="523"/>
                        <a:pt x="428" y="523"/>
                        <a:pt x="428" y="523"/>
                      </a:cubicBezTo>
                      <a:cubicBezTo>
                        <a:pt x="426" y="523"/>
                        <a:pt x="426" y="523"/>
                        <a:pt x="426" y="523"/>
                      </a:cubicBezTo>
                      <a:cubicBezTo>
                        <a:pt x="425" y="522"/>
                        <a:pt x="425" y="522"/>
                        <a:pt x="425" y="522"/>
                      </a:cubicBezTo>
                      <a:cubicBezTo>
                        <a:pt x="425" y="519"/>
                        <a:pt x="425" y="519"/>
                        <a:pt x="425" y="519"/>
                      </a:cubicBezTo>
                      <a:cubicBezTo>
                        <a:pt x="426" y="518"/>
                        <a:pt x="426" y="518"/>
                        <a:pt x="426" y="518"/>
                      </a:cubicBezTo>
                      <a:cubicBezTo>
                        <a:pt x="427" y="516"/>
                        <a:pt x="427" y="516"/>
                        <a:pt x="427" y="516"/>
                      </a:cubicBezTo>
                      <a:cubicBezTo>
                        <a:pt x="426" y="516"/>
                        <a:pt x="426" y="516"/>
                        <a:pt x="426" y="516"/>
                      </a:cubicBezTo>
                      <a:cubicBezTo>
                        <a:pt x="424" y="517"/>
                        <a:pt x="424" y="517"/>
                        <a:pt x="424" y="517"/>
                      </a:cubicBezTo>
                      <a:cubicBezTo>
                        <a:pt x="423" y="517"/>
                        <a:pt x="423" y="517"/>
                        <a:pt x="423" y="517"/>
                      </a:cubicBezTo>
                      <a:cubicBezTo>
                        <a:pt x="420" y="515"/>
                        <a:pt x="420" y="515"/>
                        <a:pt x="420" y="515"/>
                      </a:cubicBezTo>
                      <a:cubicBezTo>
                        <a:pt x="417" y="515"/>
                        <a:pt x="417" y="515"/>
                        <a:pt x="417" y="515"/>
                      </a:cubicBezTo>
                      <a:cubicBezTo>
                        <a:pt x="418" y="517"/>
                        <a:pt x="418" y="517"/>
                        <a:pt x="418" y="517"/>
                      </a:cubicBezTo>
                      <a:cubicBezTo>
                        <a:pt x="419" y="517"/>
                        <a:pt x="419" y="517"/>
                        <a:pt x="419" y="517"/>
                      </a:cubicBezTo>
                      <a:cubicBezTo>
                        <a:pt x="418" y="519"/>
                        <a:pt x="418" y="519"/>
                        <a:pt x="418" y="519"/>
                      </a:cubicBezTo>
                      <a:cubicBezTo>
                        <a:pt x="417" y="519"/>
                        <a:pt x="417" y="519"/>
                        <a:pt x="417" y="519"/>
                      </a:cubicBezTo>
                      <a:cubicBezTo>
                        <a:pt x="415" y="516"/>
                        <a:pt x="415" y="516"/>
                        <a:pt x="415" y="516"/>
                      </a:cubicBezTo>
                      <a:cubicBezTo>
                        <a:pt x="415" y="513"/>
                        <a:pt x="415" y="513"/>
                        <a:pt x="415" y="513"/>
                      </a:cubicBezTo>
                      <a:cubicBezTo>
                        <a:pt x="412" y="511"/>
                        <a:pt x="412" y="511"/>
                        <a:pt x="412" y="511"/>
                      </a:cubicBezTo>
                      <a:cubicBezTo>
                        <a:pt x="411" y="511"/>
                        <a:pt x="411" y="511"/>
                        <a:pt x="411" y="511"/>
                      </a:cubicBezTo>
                      <a:cubicBezTo>
                        <a:pt x="412" y="513"/>
                        <a:pt x="412" y="513"/>
                        <a:pt x="412" y="513"/>
                      </a:cubicBezTo>
                      <a:cubicBezTo>
                        <a:pt x="411" y="515"/>
                        <a:pt x="411" y="515"/>
                        <a:pt x="411" y="515"/>
                      </a:cubicBezTo>
                      <a:cubicBezTo>
                        <a:pt x="410" y="515"/>
                        <a:pt x="410" y="515"/>
                        <a:pt x="410" y="515"/>
                      </a:cubicBezTo>
                      <a:cubicBezTo>
                        <a:pt x="410" y="513"/>
                        <a:pt x="410" y="513"/>
                        <a:pt x="410" y="513"/>
                      </a:cubicBezTo>
                      <a:cubicBezTo>
                        <a:pt x="408" y="513"/>
                        <a:pt x="408" y="513"/>
                        <a:pt x="408" y="513"/>
                      </a:cubicBezTo>
                      <a:cubicBezTo>
                        <a:pt x="408" y="515"/>
                        <a:pt x="408" y="515"/>
                        <a:pt x="408" y="515"/>
                      </a:cubicBezTo>
                      <a:cubicBezTo>
                        <a:pt x="407" y="515"/>
                        <a:pt x="407" y="515"/>
                        <a:pt x="407" y="515"/>
                      </a:cubicBezTo>
                      <a:cubicBezTo>
                        <a:pt x="405" y="514"/>
                        <a:pt x="405" y="514"/>
                        <a:pt x="405" y="514"/>
                      </a:cubicBezTo>
                      <a:cubicBezTo>
                        <a:pt x="403" y="515"/>
                        <a:pt x="403" y="515"/>
                        <a:pt x="403" y="515"/>
                      </a:cubicBezTo>
                      <a:cubicBezTo>
                        <a:pt x="402" y="515"/>
                        <a:pt x="402" y="515"/>
                        <a:pt x="402" y="515"/>
                      </a:cubicBezTo>
                      <a:cubicBezTo>
                        <a:pt x="401" y="513"/>
                        <a:pt x="401" y="513"/>
                        <a:pt x="401" y="513"/>
                      </a:cubicBezTo>
                      <a:cubicBezTo>
                        <a:pt x="403" y="512"/>
                        <a:pt x="403" y="512"/>
                        <a:pt x="403" y="512"/>
                      </a:cubicBezTo>
                      <a:cubicBezTo>
                        <a:pt x="403" y="512"/>
                        <a:pt x="403" y="512"/>
                        <a:pt x="403" y="512"/>
                      </a:cubicBezTo>
                      <a:cubicBezTo>
                        <a:pt x="402" y="510"/>
                        <a:pt x="402" y="510"/>
                        <a:pt x="402" y="510"/>
                      </a:cubicBezTo>
                      <a:cubicBezTo>
                        <a:pt x="403" y="508"/>
                        <a:pt x="403" y="508"/>
                        <a:pt x="403" y="508"/>
                      </a:cubicBezTo>
                      <a:cubicBezTo>
                        <a:pt x="403" y="507"/>
                        <a:pt x="403" y="507"/>
                        <a:pt x="403" y="507"/>
                      </a:cubicBezTo>
                      <a:cubicBezTo>
                        <a:pt x="401" y="506"/>
                        <a:pt x="401" y="506"/>
                        <a:pt x="401" y="506"/>
                      </a:cubicBezTo>
                      <a:cubicBezTo>
                        <a:pt x="400" y="504"/>
                        <a:pt x="400" y="504"/>
                        <a:pt x="400" y="504"/>
                      </a:cubicBezTo>
                      <a:cubicBezTo>
                        <a:pt x="399" y="502"/>
                        <a:pt x="399" y="502"/>
                        <a:pt x="399" y="502"/>
                      </a:cubicBezTo>
                      <a:cubicBezTo>
                        <a:pt x="399" y="502"/>
                        <a:pt x="399" y="502"/>
                        <a:pt x="399" y="502"/>
                      </a:cubicBezTo>
                      <a:cubicBezTo>
                        <a:pt x="398" y="499"/>
                        <a:pt x="398" y="499"/>
                        <a:pt x="398" y="499"/>
                      </a:cubicBezTo>
                      <a:cubicBezTo>
                        <a:pt x="396" y="499"/>
                        <a:pt x="396" y="499"/>
                        <a:pt x="396" y="499"/>
                      </a:cubicBezTo>
                      <a:cubicBezTo>
                        <a:pt x="394" y="500"/>
                        <a:pt x="394" y="500"/>
                        <a:pt x="394" y="500"/>
                      </a:cubicBezTo>
                      <a:cubicBezTo>
                        <a:pt x="391" y="500"/>
                        <a:pt x="391" y="500"/>
                        <a:pt x="391" y="500"/>
                      </a:cubicBezTo>
                      <a:cubicBezTo>
                        <a:pt x="389" y="498"/>
                        <a:pt x="389" y="498"/>
                        <a:pt x="389" y="498"/>
                      </a:cubicBezTo>
                      <a:cubicBezTo>
                        <a:pt x="386" y="499"/>
                        <a:pt x="386" y="499"/>
                        <a:pt x="386" y="499"/>
                      </a:cubicBezTo>
                      <a:cubicBezTo>
                        <a:pt x="384" y="498"/>
                        <a:pt x="384" y="498"/>
                        <a:pt x="384" y="498"/>
                      </a:cubicBezTo>
                      <a:cubicBezTo>
                        <a:pt x="383" y="498"/>
                        <a:pt x="383" y="498"/>
                        <a:pt x="383" y="498"/>
                      </a:cubicBezTo>
                      <a:cubicBezTo>
                        <a:pt x="381" y="498"/>
                        <a:pt x="381" y="498"/>
                        <a:pt x="381" y="498"/>
                      </a:cubicBezTo>
                      <a:cubicBezTo>
                        <a:pt x="380" y="499"/>
                        <a:pt x="380" y="499"/>
                        <a:pt x="380" y="499"/>
                      </a:cubicBezTo>
                      <a:cubicBezTo>
                        <a:pt x="379" y="501"/>
                        <a:pt x="379" y="501"/>
                        <a:pt x="379" y="501"/>
                      </a:cubicBezTo>
                      <a:cubicBezTo>
                        <a:pt x="377" y="501"/>
                        <a:pt x="377" y="501"/>
                        <a:pt x="377" y="501"/>
                      </a:cubicBezTo>
                      <a:cubicBezTo>
                        <a:pt x="376" y="502"/>
                        <a:pt x="376" y="502"/>
                        <a:pt x="376" y="502"/>
                      </a:cubicBezTo>
                      <a:cubicBezTo>
                        <a:pt x="376" y="503"/>
                        <a:pt x="376" y="503"/>
                        <a:pt x="376" y="503"/>
                      </a:cubicBezTo>
                      <a:cubicBezTo>
                        <a:pt x="376" y="505"/>
                        <a:pt x="376" y="505"/>
                        <a:pt x="376" y="505"/>
                      </a:cubicBezTo>
                      <a:cubicBezTo>
                        <a:pt x="374" y="505"/>
                        <a:pt x="374" y="505"/>
                        <a:pt x="374" y="505"/>
                      </a:cubicBezTo>
                      <a:cubicBezTo>
                        <a:pt x="373" y="505"/>
                        <a:pt x="373" y="505"/>
                        <a:pt x="373" y="505"/>
                      </a:cubicBezTo>
                      <a:cubicBezTo>
                        <a:pt x="371" y="507"/>
                        <a:pt x="371" y="507"/>
                        <a:pt x="371" y="507"/>
                      </a:cubicBezTo>
                      <a:cubicBezTo>
                        <a:pt x="369" y="507"/>
                        <a:pt x="369" y="507"/>
                        <a:pt x="369" y="507"/>
                      </a:cubicBezTo>
                      <a:cubicBezTo>
                        <a:pt x="368" y="508"/>
                        <a:pt x="368" y="508"/>
                        <a:pt x="368" y="508"/>
                      </a:cubicBezTo>
                      <a:cubicBezTo>
                        <a:pt x="367" y="508"/>
                        <a:pt x="367" y="508"/>
                        <a:pt x="367" y="508"/>
                      </a:cubicBezTo>
                      <a:cubicBezTo>
                        <a:pt x="363" y="511"/>
                        <a:pt x="363" y="511"/>
                        <a:pt x="363" y="511"/>
                      </a:cubicBezTo>
                      <a:cubicBezTo>
                        <a:pt x="361" y="511"/>
                        <a:pt x="361" y="511"/>
                        <a:pt x="361" y="511"/>
                      </a:cubicBezTo>
                      <a:cubicBezTo>
                        <a:pt x="359" y="512"/>
                        <a:pt x="359" y="512"/>
                        <a:pt x="359" y="512"/>
                      </a:cubicBezTo>
                      <a:cubicBezTo>
                        <a:pt x="358" y="512"/>
                        <a:pt x="358" y="512"/>
                        <a:pt x="358" y="512"/>
                      </a:cubicBezTo>
                      <a:cubicBezTo>
                        <a:pt x="357" y="511"/>
                        <a:pt x="357" y="511"/>
                        <a:pt x="357" y="511"/>
                      </a:cubicBezTo>
                      <a:cubicBezTo>
                        <a:pt x="355" y="512"/>
                        <a:pt x="355" y="512"/>
                        <a:pt x="355" y="512"/>
                      </a:cubicBezTo>
                      <a:cubicBezTo>
                        <a:pt x="355" y="513"/>
                        <a:pt x="355" y="513"/>
                        <a:pt x="355" y="513"/>
                      </a:cubicBezTo>
                      <a:cubicBezTo>
                        <a:pt x="353" y="513"/>
                        <a:pt x="353" y="513"/>
                        <a:pt x="353" y="513"/>
                      </a:cubicBezTo>
                      <a:cubicBezTo>
                        <a:pt x="352" y="514"/>
                        <a:pt x="352" y="514"/>
                        <a:pt x="352" y="514"/>
                      </a:cubicBezTo>
                      <a:cubicBezTo>
                        <a:pt x="352" y="516"/>
                        <a:pt x="352" y="516"/>
                        <a:pt x="352" y="516"/>
                      </a:cubicBezTo>
                      <a:cubicBezTo>
                        <a:pt x="351" y="517"/>
                        <a:pt x="351" y="517"/>
                        <a:pt x="351" y="517"/>
                      </a:cubicBezTo>
                      <a:cubicBezTo>
                        <a:pt x="350" y="517"/>
                        <a:pt x="350" y="517"/>
                        <a:pt x="350" y="517"/>
                      </a:cubicBezTo>
                      <a:cubicBezTo>
                        <a:pt x="349" y="517"/>
                        <a:pt x="349" y="517"/>
                        <a:pt x="349" y="517"/>
                      </a:cubicBezTo>
                      <a:cubicBezTo>
                        <a:pt x="347" y="518"/>
                        <a:pt x="347" y="518"/>
                        <a:pt x="347" y="518"/>
                      </a:cubicBezTo>
                      <a:cubicBezTo>
                        <a:pt x="345" y="518"/>
                        <a:pt x="345" y="518"/>
                        <a:pt x="345" y="518"/>
                      </a:cubicBezTo>
                      <a:cubicBezTo>
                        <a:pt x="342" y="520"/>
                        <a:pt x="342" y="520"/>
                        <a:pt x="342" y="520"/>
                      </a:cubicBezTo>
                      <a:cubicBezTo>
                        <a:pt x="342" y="520"/>
                        <a:pt x="342" y="520"/>
                        <a:pt x="342" y="520"/>
                      </a:cubicBezTo>
                      <a:cubicBezTo>
                        <a:pt x="339" y="521"/>
                        <a:pt x="339" y="521"/>
                        <a:pt x="339" y="521"/>
                      </a:cubicBezTo>
                      <a:cubicBezTo>
                        <a:pt x="337" y="522"/>
                        <a:pt x="337" y="522"/>
                        <a:pt x="337" y="522"/>
                      </a:cubicBezTo>
                      <a:cubicBezTo>
                        <a:pt x="334" y="522"/>
                        <a:pt x="334" y="522"/>
                        <a:pt x="334" y="522"/>
                      </a:cubicBezTo>
                      <a:cubicBezTo>
                        <a:pt x="331" y="523"/>
                        <a:pt x="331" y="523"/>
                        <a:pt x="331" y="523"/>
                      </a:cubicBezTo>
                      <a:cubicBezTo>
                        <a:pt x="331" y="525"/>
                        <a:pt x="331" y="525"/>
                        <a:pt x="331" y="525"/>
                      </a:cubicBezTo>
                      <a:cubicBezTo>
                        <a:pt x="330" y="526"/>
                        <a:pt x="330" y="526"/>
                        <a:pt x="330" y="526"/>
                      </a:cubicBezTo>
                      <a:cubicBezTo>
                        <a:pt x="329" y="524"/>
                        <a:pt x="329" y="524"/>
                        <a:pt x="329" y="524"/>
                      </a:cubicBezTo>
                      <a:cubicBezTo>
                        <a:pt x="327" y="524"/>
                        <a:pt x="327" y="524"/>
                        <a:pt x="327" y="524"/>
                      </a:cubicBezTo>
                      <a:cubicBezTo>
                        <a:pt x="325" y="525"/>
                        <a:pt x="325" y="525"/>
                        <a:pt x="325" y="525"/>
                      </a:cubicBezTo>
                      <a:cubicBezTo>
                        <a:pt x="325" y="526"/>
                        <a:pt x="325" y="526"/>
                        <a:pt x="325" y="526"/>
                      </a:cubicBezTo>
                      <a:cubicBezTo>
                        <a:pt x="325" y="527"/>
                        <a:pt x="325" y="527"/>
                        <a:pt x="325" y="527"/>
                      </a:cubicBezTo>
                      <a:cubicBezTo>
                        <a:pt x="323" y="526"/>
                        <a:pt x="323" y="526"/>
                        <a:pt x="323" y="526"/>
                      </a:cubicBezTo>
                      <a:cubicBezTo>
                        <a:pt x="321" y="526"/>
                        <a:pt x="321" y="526"/>
                        <a:pt x="321" y="526"/>
                      </a:cubicBezTo>
                      <a:cubicBezTo>
                        <a:pt x="320" y="525"/>
                        <a:pt x="320" y="525"/>
                        <a:pt x="320" y="525"/>
                      </a:cubicBezTo>
                      <a:cubicBezTo>
                        <a:pt x="319" y="525"/>
                        <a:pt x="319" y="525"/>
                        <a:pt x="319" y="525"/>
                      </a:cubicBezTo>
                      <a:cubicBezTo>
                        <a:pt x="318" y="526"/>
                        <a:pt x="318" y="526"/>
                        <a:pt x="318" y="526"/>
                      </a:cubicBezTo>
                      <a:cubicBezTo>
                        <a:pt x="315" y="526"/>
                        <a:pt x="315" y="526"/>
                        <a:pt x="315" y="526"/>
                      </a:cubicBezTo>
                      <a:cubicBezTo>
                        <a:pt x="315" y="527"/>
                        <a:pt x="315" y="527"/>
                        <a:pt x="315" y="527"/>
                      </a:cubicBezTo>
                      <a:cubicBezTo>
                        <a:pt x="316" y="529"/>
                        <a:pt x="316" y="529"/>
                        <a:pt x="316" y="529"/>
                      </a:cubicBezTo>
                      <a:cubicBezTo>
                        <a:pt x="315" y="530"/>
                        <a:pt x="315" y="530"/>
                        <a:pt x="315" y="530"/>
                      </a:cubicBezTo>
                      <a:cubicBezTo>
                        <a:pt x="317" y="531"/>
                        <a:pt x="317" y="531"/>
                        <a:pt x="317" y="531"/>
                      </a:cubicBezTo>
                      <a:cubicBezTo>
                        <a:pt x="319" y="531"/>
                        <a:pt x="319" y="531"/>
                        <a:pt x="319" y="531"/>
                      </a:cubicBezTo>
                      <a:cubicBezTo>
                        <a:pt x="320" y="533"/>
                        <a:pt x="320" y="533"/>
                        <a:pt x="320" y="533"/>
                      </a:cubicBezTo>
                      <a:cubicBezTo>
                        <a:pt x="317" y="533"/>
                        <a:pt x="317" y="533"/>
                        <a:pt x="317" y="533"/>
                      </a:cubicBezTo>
                      <a:cubicBezTo>
                        <a:pt x="316" y="534"/>
                        <a:pt x="316" y="534"/>
                        <a:pt x="316" y="534"/>
                      </a:cubicBezTo>
                      <a:cubicBezTo>
                        <a:pt x="317" y="535"/>
                        <a:pt x="317" y="535"/>
                        <a:pt x="317" y="535"/>
                      </a:cubicBezTo>
                      <a:cubicBezTo>
                        <a:pt x="319" y="535"/>
                        <a:pt x="319" y="535"/>
                        <a:pt x="319" y="535"/>
                      </a:cubicBezTo>
                      <a:cubicBezTo>
                        <a:pt x="321" y="536"/>
                        <a:pt x="321" y="536"/>
                        <a:pt x="321" y="536"/>
                      </a:cubicBezTo>
                      <a:cubicBezTo>
                        <a:pt x="322" y="535"/>
                        <a:pt x="322" y="535"/>
                        <a:pt x="322" y="535"/>
                      </a:cubicBezTo>
                      <a:cubicBezTo>
                        <a:pt x="324" y="535"/>
                        <a:pt x="324" y="535"/>
                        <a:pt x="324" y="535"/>
                      </a:cubicBezTo>
                      <a:cubicBezTo>
                        <a:pt x="325" y="536"/>
                        <a:pt x="325" y="536"/>
                        <a:pt x="325" y="536"/>
                      </a:cubicBezTo>
                      <a:cubicBezTo>
                        <a:pt x="327" y="537"/>
                        <a:pt x="327" y="537"/>
                        <a:pt x="327" y="537"/>
                      </a:cubicBezTo>
                      <a:cubicBezTo>
                        <a:pt x="327" y="539"/>
                        <a:pt x="327" y="539"/>
                        <a:pt x="327" y="539"/>
                      </a:cubicBezTo>
                      <a:cubicBezTo>
                        <a:pt x="326" y="540"/>
                        <a:pt x="326" y="540"/>
                        <a:pt x="326" y="540"/>
                      </a:cubicBezTo>
                      <a:cubicBezTo>
                        <a:pt x="324" y="539"/>
                        <a:pt x="324" y="539"/>
                        <a:pt x="324" y="539"/>
                      </a:cubicBezTo>
                      <a:cubicBezTo>
                        <a:pt x="320" y="540"/>
                        <a:pt x="320" y="540"/>
                        <a:pt x="320" y="540"/>
                      </a:cubicBezTo>
                      <a:cubicBezTo>
                        <a:pt x="318" y="542"/>
                        <a:pt x="318" y="542"/>
                        <a:pt x="318" y="542"/>
                      </a:cubicBezTo>
                      <a:cubicBezTo>
                        <a:pt x="316" y="545"/>
                        <a:pt x="316" y="545"/>
                        <a:pt x="316" y="545"/>
                      </a:cubicBezTo>
                      <a:cubicBezTo>
                        <a:pt x="316" y="547"/>
                        <a:pt x="316" y="547"/>
                        <a:pt x="316" y="547"/>
                      </a:cubicBezTo>
                      <a:cubicBezTo>
                        <a:pt x="318" y="547"/>
                        <a:pt x="318" y="547"/>
                        <a:pt x="318" y="547"/>
                      </a:cubicBezTo>
                      <a:cubicBezTo>
                        <a:pt x="318" y="549"/>
                        <a:pt x="318" y="549"/>
                        <a:pt x="318" y="549"/>
                      </a:cubicBezTo>
                      <a:cubicBezTo>
                        <a:pt x="317" y="551"/>
                        <a:pt x="317" y="551"/>
                        <a:pt x="317" y="551"/>
                      </a:cubicBezTo>
                      <a:cubicBezTo>
                        <a:pt x="316" y="553"/>
                        <a:pt x="316" y="553"/>
                        <a:pt x="316" y="553"/>
                      </a:cubicBezTo>
                      <a:cubicBezTo>
                        <a:pt x="314" y="554"/>
                        <a:pt x="314" y="554"/>
                        <a:pt x="314" y="554"/>
                      </a:cubicBezTo>
                      <a:cubicBezTo>
                        <a:pt x="314" y="555"/>
                        <a:pt x="314" y="555"/>
                        <a:pt x="314" y="555"/>
                      </a:cubicBezTo>
                      <a:cubicBezTo>
                        <a:pt x="315" y="556"/>
                        <a:pt x="315" y="556"/>
                        <a:pt x="315" y="556"/>
                      </a:cubicBezTo>
                      <a:cubicBezTo>
                        <a:pt x="315" y="557"/>
                        <a:pt x="315" y="557"/>
                        <a:pt x="315" y="557"/>
                      </a:cubicBezTo>
                      <a:cubicBezTo>
                        <a:pt x="317" y="557"/>
                        <a:pt x="317" y="557"/>
                        <a:pt x="317" y="557"/>
                      </a:cubicBezTo>
                      <a:cubicBezTo>
                        <a:pt x="319" y="558"/>
                        <a:pt x="319" y="558"/>
                        <a:pt x="319" y="558"/>
                      </a:cubicBezTo>
                      <a:cubicBezTo>
                        <a:pt x="321" y="559"/>
                        <a:pt x="321" y="559"/>
                        <a:pt x="321" y="559"/>
                      </a:cubicBezTo>
                      <a:cubicBezTo>
                        <a:pt x="321" y="560"/>
                        <a:pt x="321" y="560"/>
                        <a:pt x="321" y="560"/>
                      </a:cubicBezTo>
                      <a:cubicBezTo>
                        <a:pt x="323" y="561"/>
                        <a:pt x="323" y="561"/>
                        <a:pt x="323" y="561"/>
                      </a:cubicBezTo>
                      <a:cubicBezTo>
                        <a:pt x="326" y="561"/>
                        <a:pt x="326" y="561"/>
                        <a:pt x="326" y="561"/>
                      </a:cubicBezTo>
                      <a:cubicBezTo>
                        <a:pt x="327" y="562"/>
                        <a:pt x="327" y="562"/>
                        <a:pt x="327" y="562"/>
                      </a:cubicBezTo>
                      <a:cubicBezTo>
                        <a:pt x="327" y="570"/>
                        <a:pt x="327" y="570"/>
                        <a:pt x="327" y="570"/>
                      </a:cubicBezTo>
                      <a:cubicBezTo>
                        <a:pt x="326" y="572"/>
                        <a:pt x="326" y="572"/>
                        <a:pt x="326" y="572"/>
                      </a:cubicBezTo>
                      <a:cubicBezTo>
                        <a:pt x="323" y="573"/>
                        <a:pt x="323" y="573"/>
                        <a:pt x="323" y="573"/>
                      </a:cubicBezTo>
                      <a:cubicBezTo>
                        <a:pt x="320" y="572"/>
                        <a:pt x="320" y="572"/>
                        <a:pt x="320" y="572"/>
                      </a:cubicBezTo>
                      <a:cubicBezTo>
                        <a:pt x="317" y="571"/>
                        <a:pt x="317" y="571"/>
                        <a:pt x="317" y="571"/>
                      </a:cubicBezTo>
                      <a:cubicBezTo>
                        <a:pt x="316" y="572"/>
                        <a:pt x="316" y="572"/>
                        <a:pt x="316" y="572"/>
                      </a:cubicBezTo>
                      <a:cubicBezTo>
                        <a:pt x="316" y="573"/>
                        <a:pt x="316" y="573"/>
                        <a:pt x="316" y="573"/>
                      </a:cubicBezTo>
                      <a:cubicBezTo>
                        <a:pt x="315" y="576"/>
                        <a:pt x="315" y="576"/>
                        <a:pt x="315" y="576"/>
                      </a:cubicBezTo>
                      <a:cubicBezTo>
                        <a:pt x="313" y="576"/>
                        <a:pt x="313" y="576"/>
                        <a:pt x="313" y="576"/>
                      </a:cubicBezTo>
                      <a:cubicBezTo>
                        <a:pt x="310" y="574"/>
                        <a:pt x="310" y="574"/>
                        <a:pt x="310" y="574"/>
                      </a:cubicBezTo>
                      <a:cubicBezTo>
                        <a:pt x="307" y="574"/>
                        <a:pt x="307" y="574"/>
                        <a:pt x="307" y="574"/>
                      </a:cubicBezTo>
                      <a:cubicBezTo>
                        <a:pt x="305" y="573"/>
                        <a:pt x="305" y="573"/>
                        <a:pt x="305" y="573"/>
                      </a:cubicBezTo>
                      <a:cubicBezTo>
                        <a:pt x="304" y="574"/>
                        <a:pt x="304" y="574"/>
                        <a:pt x="304" y="574"/>
                      </a:cubicBezTo>
                      <a:cubicBezTo>
                        <a:pt x="303" y="573"/>
                        <a:pt x="303" y="573"/>
                        <a:pt x="303" y="573"/>
                      </a:cubicBezTo>
                      <a:cubicBezTo>
                        <a:pt x="301" y="571"/>
                        <a:pt x="301" y="571"/>
                        <a:pt x="301" y="571"/>
                      </a:cubicBezTo>
                      <a:cubicBezTo>
                        <a:pt x="302" y="570"/>
                        <a:pt x="302" y="570"/>
                        <a:pt x="302" y="570"/>
                      </a:cubicBezTo>
                      <a:cubicBezTo>
                        <a:pt x="303" y="569"/>
                        <a:pt x="303" y="569"/>
                        <a:pt x="303" y="569"/>
                      </a:cubicBezTo>
                      <a:cubicBezTo>
                        <a:pt x="302" y="568"/>
                        <a:pt x="302" y="568"/>
                        <a:pt x="302" y="568"/>
                      </a:cubicBezTo>
                      <a:cubicBezTo>
                        <a:pt x="299" y="567"/>
                        <a:pt x="299" y="567"/>
                        <a:pt x="299" y="567"/>
                      </a:cubicBezTo>
                      <a:cubicBezTo>
                        <a:pt x="298" y="568"/>
                        <a:pt x="298" y="568"/>
                        <a:pt x="298" y="568"/>
                      </a:cubicBezTo>
                      <a:cubicBezTo>
                        <a:pt x="296" y="568"/>
                        <a:pt x="296" y="568"/>
                        <a:pt x="296" y="568"/>
                      </a:cubicBezTo>
                      <a:cubicBezTo>
                        <a:pt x="295" y="569"/>
                        <a:pt x="295" y="569"/>
                        <a:pt x="295" y="569"/>
                      </a:cubicBezTo>
                      <a:cubicBezTo>
                        <a:pt x="295" y="571"/>
                        <a:pt x="295" y="571"/>
                        <a:pt x="295" y="571"/>
                      </a:cubicBezTo>
                      <a:cubicBezTo>
                        <a:pt x="292" y="571"/>
                        <a:pt x="292" y="571"/>
                        <a:pt x="292" y="571"/>
                      </a:cubicBezTo>
                      <a:cubicBezTo>
                        <a:pt x="292" y="570"/>
                        <a:pt x="292" y="570"/>
                        <a:pt x="292" y="570"/>
                      </a:cubicBezTo>
                      <a:cubicBezTo>
                        <a:pt x="289" y="568"/>
                        <a:pt x="289" y="568"/>
                        <a:pt x="289" y="568"/>
                      </a:cubicBezTo>
                      <a:cubicBezTo>
                        <a:pt x="287" y="568"/>
                        <a:pt x="287" y="568"/>
                        <a:pt x="287" y="568"/>
                      </a:cubicBezTo>
                      <a:cubicBezTo>
                        <a:pt x="286" y="570"/>
                        <a:pt x="286" y="570"/>
                        <a:pt x="286" y="570"/>
                      </a:cubicBezTo>
                      <a:cubicBezTo>
                        <a:pt x="285" y="568"/>
                        <a:pt x="285" y="568"/>
                        <a:pt x="285" y="568"/>
                      </a:cubicBezTo>
                      <a:cubicBezTo>
                        <a:pt x="283" y="569"/>
                        <a:pt x="283" y="569"/>
                        <a:pt x="283" y="569"/>
                      </a:cubicBezTo>
                      <a:cubicBezTo>
                        <a:pt x="283" y="570"/>
                        <a:pt x="283" y="570"/>
                        <a:pt x="283" y="570"/>
                      </a:cubicBezTo>
                      <a:cubicBezTo>
                        <a:pt x="281" y="571"/>
                        <a:pt x="281" y="571"/>
                        <a:pt x="281" y="571"/>
                      </a:cubicBezTo>
                      <a:cubicBezTo>
                        <a:pt x="281" y="574"/>
                        <a:pt x="281" y="574"/>
                        <a:pt x="281" y="574"/>
                      </a:cubicBezTo>
                      <a:cubicBezTo>
                        <a:pt x="278" y="576"/>
                        <a:pt x="278" y="576"/>
                        <a:pt x="278" y="576"/>
                      </a:cubicBezTo>
                      <a:cubicBezTo>
                        <a:pt x="277" y="576"/>
                        <a:pt x="277" y="576"/>
                        <a:pt x="277" y="576"/>
                      </a:cubicBezTo>
                      <a:cubicBezTo>
                        <a:pt x="276" y="574"/>
                        <a:pt x="276" y="574"/>
                        <a:pt x="276" y="574"/>
                      </a:cubicBezTo>
                      <a:cubicBezTo>
                        <a:pt x="272" y="573"/>
                        <a:pt x="272" y="573"/>
                        <a:pt x="272" y="573"/>
                      </a:cubicBezTo>
                      <a:cubicBezTo>
                        <a:pt x="271" y="571"/>
                        <a:pt x="271" y="571"/>
                        <a:pt x="271" y="571"/>
                      </a:cubicBezTo>
                      <a:cubicBezTo>
                        <a:pt x="269" y="572"/>
                        <a:pt x="269" y="572"/>
                        <a:pt x="269" y="572"/>
                      </a:cubicBezTo>
                      <a:cubicBezTo>
                        <a:pt x="269" y="575"/>
                        <a:pt x="269" y="575"/>
                        <a:pt x="269" y="575"/>
                      </a:cubicBezTo>
                      <a:cubicBezTo>
                        <a:pt x="268" y="577"/>
                        <a:pt x="268" y="577"/>
                        <a:pt x="268" y="577"/>
                      </a:cubicBezTo>
                      <a:cubicBezTo>
                        <a:pt x="267" y="576"/>
                        <a:pt x="267" y="576"/>
                        <a:pt x="267" y="576"/>
                      </a:cubicBezTo>
                      <a:cubicBezTo>
                        <a:pt x="266" y="574"/>
                        <a:pt x="266" y="574"/>
                        <a:pt x="266" y="574"/>
                      </a:cubicBezTo>
                      <a:cubicBezTo>
                        <a:pt x="266" y="573"/>
                        <a:pt x="266" y="573"/>
                        <a:pt x="266" y="573"/>
                      </a:cubicBezTo>
                      <a:cubicBezTo>
                        <a:pt x="264" y="573"/>
                        <a:pt x="264" y="573"/>
                        <a:pt x="264" y="573"/>
                      </a:cubicBezTo>
                      <a:cubicBezTo>
                        <a:pt x="261" y="571"/>
                        <a:pt x="261" y="571"/>
                        <a:pt x="261" y="571"/>
                      </a:cubicBezTo>
                      <a:cubicBezTo>
                        <a:pt x="260" y="569"/>
                        <a:pt x="260" y="569"/>
                        <a:pt x="260" y="569"/>
                      </a:cubicBezTo>
                      <a:cubicBezTo>
                        <a:pt x="258" y="569"/>
                        <a:pt x="258" y="569"/>
                        <a:pt x="258" y="569"/>
                      </a:cubicBezTo>
                      <a:cubicBezTo>
                        <a:pt x="256" y="566"/>
                        <a:pt x="256" y="566"/>
                        <a:pt x="256" y="566"/>
                      </a:cubicBezTo>
                      <a:cubicBezTo>
                        <a:pt x="255" y="566"/>
                        <a:pt x="255" y="566"/>
                        <a:pt x="255" y="566"/>
                      </a:cubicBezTo>
                      <a:cubicBezTo>
                        <a:pt x="254" y="564"/>
                        <a:pt x="254" y="564"/>
                        <a:pt x="254" y="564"/>
                      </a:cubicBezTo>
                      <a:cubicBezTo>
                        <a:pt x="252" y="564"/>
                        <a:pt x="252" y="564"/>
                        <a:pt x="252" y="564"/>
                      </a:cubicBezTo>
                      <a:cubicBezTo>
                        <a:pt x="249" y="565"/>
                        <a:pt x="249" y="565"/>
                        <a:pt x="249" y="565"/>
                      </a:cubicBezTo>
                      <a:cubicBezTo>
                        <a:pt x="247" y="564"/>
                        <a:pt x="247" y="564"/>
                        <a:pt x="247" y="564"/>
                      </a:cubicBezTo>
                      <a:cubicBezTo>
                        <a:pt x="245" y="561"/>
                        <a:pt x="245" y="561"/>
                        <a:pt x="245" y="561"/>
                      </a:cubicBezTo>
                      <a:cubicBezTo>
                        <a:pt x="244" y="561"/>
                        <a:pt x="244" y="561"/>
                        <a:pt x="244" y="561"/>
                      </a:cubicBezTo>
                      <a:cubicBezTo>
                        <a:pt x="242" y="563"/>
                        <a:pt x="242" y="563"/>
                        <a:pt x="242" y="563"/>
                      </a:cubicBezTo>
                      <a:cubicBezTo>
                        <a:pt x="240" y="563"/>
                        <a:pt x="240" y="563"/>
                        <a:pt x="240" y="563"/>
                      </a:cubicBezTo>
                      <a:cubicBezTo>
                        <a:pt x="240" y="564"/>
                        <a:pt x="240" y="564"/>
                        <a:pt x="240" y="564"/>
                      </a:cubicBezTo>
                      <a:cubicBezTo>
                        <a:pt x="238" y="566"/>
                        <a:pt x="238" y="566"/>
                        <a:pt x="238" y="566"/>
                      </a:cubicBezTo>
                      <a:cubicBezTo>
                        <a:pt x="238" y="564"/>
                        <a:pt x="238" y="564"/>
                        <a:pt x="238" y="564"/>
                      </a:cubicBezTo>
                      <a:cubicBezTo>
                        <a:pt x="237" y="565"/>
                        <a:pt x="237" y="565"/>
                        <a:pt x="237" y="565"/>
                      </a:cubicBezTo>
                      <a:cubicBezTo>
                        <a:pt x="236" y="566"/>
                        <a:pt x="236" y="566"/>
                        <a:pt x="236" y="566"/>
                      </a:cubicBezTo>
                      <a:cubicBezTo>
                        <a:pt x="235" y="567"/>
                        <a:pt x="235" y="567"/>
                        <a:pt x="235" y="567"/>
                      </a:cubicBezTo>
                      <a:cubicBezTo>
                        <a:pt x="234" y="566"/>
                        <a:pt x="234" y="566"/>
                        <a:pt x="234" y="566"/>
                      </a:cubicBezTo>
                      <a:cubicBezTo>
                        <a:pt x="235" y="565"/>
                        <a:pt x="235" y="565"/>
                        <a:pt x="235" y="565"/>
                      </a:cubicBezTo>
                      <a:cubicBezTo>
                        <a:pt x="235" y="563"/>
                        <a:pt x="235" y="563"/>
                        <a:pt x="235" y="563"/>
                      </a:cubicBezTo>
                      <a:cubicBezTo>
                        <a:pt x="233" y="562"/>
                        <a:pt x="233" y="562"/>
                        <a:pt x="233" y="562"/>
                      </a:cubicBezTo>
                      <a:cubicBezTo>
                        <a:pt x="230" y="561"/>
                        <a:pt x="230" y="561"/>
                        <a:pt x="230" y="561"/>
                      </a:cubicBezTo>
                      <a:cubicBezTo>
                        <a:pt x="230" y="562"/>
                        <a:pt x="230" y="562"/>
                        <a:pt x="230" y="562"/>
                      </a:cubicBezTo>
                      <a:cubicBezTo>
                        <a:pt x="230" y="564"/>
                        <a:pt x="230" y="564"/>
                        <a:pt x="230" y="564"/>
                      </a:cubicBezTo>
                      <a:cubicBezTo>
                        <a:pt x="230" y="566"/>
                        <a:pt x="230" y="566"/>
                        <a:pt x="230" y="566"/>
                      </a:cubicBezTo>
                      <a:cubicBezTo>
                        <a:pt x="228" y="565"/>
                        <a:pt x="228" y="565"/>
                        <a:pt x="228" y="565"/>
                      </a:cubicBezTo>
                      <a:cubicBezTo>
                        <a:pt x="226" y="566"/>
                        <a:pt x="226" y="566"/>
                        <a:pt x="226" y="566"/>
                      </a:cubicBezTo>
                      <a:cubicBezTo>
                        <a:pt x="225" y="569"/>
                        <a:pt x="225" y="569"/>
                        <a:pt x="225" y="569"/>
                      </a:cubicBezTo>
                      <a:cubicBezTo>
                        <a:pt x="224" y="569"/>
                        <a:pt x="224" y="569"/>
                        <a:pt x="224" y="569"/>
                      </a:cubicBezTo>
                      <a:cubicBezTo>
                        <a:pt x="221" y="571"/>
                        <a:pt x="221" y="571"/>
                        <a:pt x="221" y="571"/>
                      </a:cubicBezTo>
                      <a:cubicBezTo>
                        <a:pt x="221" y="573"/>
                        <a:pt x="221" y="573"/>
                        <a:pt x="221" y="573"/>
                      </a:cubicBezTo>
                      <a:cubicBezTo>
                        <a:pt x="222" y="575"/>
                        <a:pt x="222" y="575"/>
                        <a:pt x="222" y="575"/>
                      </a:cubicBezTo>
                      <a:cubicBezTo>
                        <a:pt x="222" y="577"/>
                        <a:pt x="222" y="577"/>
                        <a:pt x="222" y="577"/>
                      </a:cubicBezTo>
                      <a:cubicBezTo>
                        <a:pt x="219" y="577"/>
                        <a:pt x="219" y="577"/>
                        <a:pt x="219" y="577"/>
                      </a:cubicBezTo>
                      <a:cubicBezTo>
                        <a:pt x="216" y="577"/>
                        <a:pt x="216" y="577"/>
                        <a:pt x="216" y="577"/>
                      </a:cubicBezTo>
                      <a:cubicBezTo>
                        <a:pt x="218" y="585"/>
                        <a:pt x="218" y="585"/>
                        <a:pt x="218" y="585"/>
                      </a:cubicBezTo>
                      <a:cubicBezTo>
                        <a:pt x="217" y="586"/>
                        <a:pt x="217" y="586"/>
                        <a:pt x="217" y="586"/>
                      </a:cubicBezTo>
                      <a:cubicBezTo>
                        <a:pt x="217" y="589"/>
                        <a:pt x="217" y="589"/>
                        <a:pt x="217" y="589"/>
                      </a:cubicBezTo>
                      <a:cubicBezTo>
                        <a:pt x="214" y="590"/>
                        <a:pt x="214" y="590"/>
                        <a:pt x="214" y="590"/>
                      </a:cubicBezTo>
                      <a:cubicBezTo>
                        <a:pt x="211" y="588"/>
                        <a:pt x="211" y="588"/>
                        <a:pt x="211" y="588"/>
                      </a:cubicBezTo>
                      <a:cubicBezTo>
                        <a:pt x="211" y="586"/>
                        <a:pt x="211" y="586"/>
                        <a:pt x="211" y="586"/>
                      </a:cubicBezTo>
                      <a:cubicBezTo>
                        <a:pt x="205" y="581"/>
                        <a:pt x="205" y="581"/>
                        <a:pt x="205" y="581"/>
                      </a:cubicBezTo>
                      <a:cubicBezTo>
                        <a:pt x="204" y="583"/>
                        <a:pt x="204" y="583"/>
                        <a:pt x="204" y="583"/>
                      </a:cubicBezTo>
                      <a:cubicBezTo>
                        <a:pt x="204" y="586"/>
                        <a:pt x="204" y="586"/>
                        <a:pt x="204" y="586"/>
                      </a:cubicBezTo>
                      <a:cubicBezTo>
                        <a:pt x="202" y="589"/>
                        <a:pt x="202" y="589"/>
                        <a:pt x="202" y="589"/>
                      </a:cubicBezTo>
                      <a:cubicBezTo>
                        <a:pt x="200" y="590"/>
                        <a:pt x="200" y="590"/>
                        <a:pt x="200" y="590"/>
                      </a:cubicBezTo>
                      <a:cubicBezTo>
                        <a:pt x="200" y="595"/>
                        <a:pt x="200" y="595"/>
                        <a:pt x="200" y="595"/>
                      </a:cubicBezTo>
                      <a:cubicBezTo>
                        <a:pt x="202" y="596"/>
                        <a:pt x="202" y="596"/>
                        <a:pt x="202" y="596"/>
                      </a:cubicBezTo>
                      <a:cubicBezTo>
                        <a:pt x="201" y="602"/>
                        <a:pt x="201" y="602"/>
                        <a:pt x="201" y="602"/>
                      </a:cubicBezTo>
                      <a:cubicBezTo>
                        <a:pt x="199" y="606"/>
                        <a:pt x="199" y="606"/>
                        <a:pt x="199" y="606"/>
                      </a:cubicBezTo>
                      <a:cubicBezTo>
                        <a:pt x="203" y="607"/>
                        <a:pt x="203" y="607"/>
                        <a:pt x="203" y="607"/>
                      </a:cubicBezTo>
                      <a:cubicBezTo>
                        <a:pt x="205" y="610"/>
                        <a:pt x="205" y="610"/>
                        <a:pt x="205" y="610"/>
                      </a:cubicBezTo>
                      <a:cubicBezTo>
                        <a:pt x="204" y="612"/>
                        <a:pt x="204" y="612"/>
                        <a:pt x="204" y="612"/>
                      </a:cubicBezTo>
                      <a:cubicBezTo>
                        <a:pt x="207" y="614"/>
                        <a:pt x="207" y="614"/>
                        <a:pt x="207" y="614"/>
                      </a:cubicBezTo>
                      <a:cubicBezTo>
                        <a:pt x="208" y="613"/>
                        <a:pt x="208" y="613"/>
                        <a:pt x="208" y="613"/>
                      </a:cubicBezTo>
                      <a:cubicBezTo>
                        <a:pt x="214" y="615"/>
                        <a:pt x="214" y="615"/>
                        <a:pt x="214" y="615"/>
                      </a:cubicBezTo>
                      <a:cubicBezTo>
                        <a:pt x="219" y="619"/>
                        <a:pt x="219" y="619"/>
                        <a:pt x="219" y="619"/>
                      </a:cubicBezTo>
                      <a:cubicBezTo>
                        <a:pt x="223" y="626"/>
                        <a:pt x="223" y="626"/>
                        <a:pt x="223" y="626"/>
                      </a:cubicBezTo>
                      <a:cubicBezTo>
                        <a:pt x="219" y="626"/>
                        <a:pt x="219" y="626"/>
                        <a:pt x="219" y="626"/>
                      </a:cubicBezTo>
                      <a:cubicBezTo>
                        <a:pt x="219" y="627"/>
                        <a:pt x="219" y="627"/>
                        <a:pt x="219" y="627"/>
                      </a:cubicBezTo>
                      <a:cubicBezTo>
                        <a:pt x="223" y="630"/>
                        <a:pt x="223" y="630"/>
                        <a:pt x="223" y="630"/>
                      </a:cubicBezTo>
                      <a:cubicBezTo>
                        <a:pt x="225" y="629"/>
                        <a:pt x="225" y="629"/>
                        <a:pt x="225" y="629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0"/>
                        <a:pt x="227" y="630"/>
                        <a:pt x="227" y="630"/>
                      </a:cubicBezTo>
                      <a:cubicBezTo>
                        <a:pt x="227" y="631"/>
                        <a:pt x="227" y="631"/>
                        <a:pt x="227" y="631"/>
                      </a:cubicBezTo>
                      <a:cubicBezTo>
                        <a:pt x="227" y="632"/>
                        <a:pt x="227" y="632"/>
                        <a:pt x="227" y="632"/>
                      </a:cubicBezTo>
                      <a:cubicBezTo>
                        <a:pt x="226" y="632"/>
                        <a:pt x="226" y="632"/>
                        <a:pt x="226" y="632"/>
                      </a:cubicBezTo>
                      <a:cubicBezTo>
                        <a:pt x="226" y="633"/>
                        <a:pt x="226" y="633"/>
                        <a:pt x="226" y="633"/>
                      </a:cubicBezTo>
                      <a:cubicBezTo>
                        <a:pt x="227" y="634"/>
                        <a:pt x="227" y="634"/>
                        <a:pt x="227" y="634"/>
                      </a:cubicBezTo>
                      <a:cubicBezTo>
                        <a:pt x="225" y="634"/>
                        <a:pt x="225" y="634"/>
                        <a:pt x="225" y="634"/>
                      </a:cubicBezTo>
                      <a:cubicBezTo>
                        <a:pt x="226" y="635"/>
                        <a:pt x="226" y="635"/>
                        <a:pt x="226" y="635"/>
                      </a:cubicBezTo>
                      <a:cubicBezTo>
                        <a:pt x="226" y="636"/>
                        <a:pt x="226" y="636"/>
                        <a:pt x="226" y="636"/>
                      </a:cubicBezTo>
                      <a:cubicBezTo>
                        <a:pt x="225" y="636"/>
                        <a:pt x="225" y="636"/>
                        <a:pt x="225" y="636"/>
                      </a:cubicBezTo>
                      <a:cubicBezTo>
                        <a:pt x="224" y="636"/>
                        <a:pt x="224" y="636"/>
                        <a:pt x="224" y="636"/>
                      </a:cubicBezTo>
                      <a:cubicBezTo>
                        <a:pt x="222" y="636"/>
                        <a:pt x="222" y="636"/>
                        <a:pt x="222" y="636"/>
                      </a:cubicBezTo>
                      <a:cubicBezTo>
                        <a:pt x="221" y="636"/>
                        <a:pt x="221" y="636"/>
                        <a:pt x="221" y="636"/>
                      </a:cubicBezTo>
                      <a:cubicBezTo>
                        <a:pt x="224" y="637"/>
                        <a:pt x="224" y="637"/>
                        <a:pt x="224" y="637"/>
                      </a:cubicBezTo>
                      <a:cubicBezTo>
                        <a:pt x="224" y="639"/>
                        <a:pt x="224" y="639"/>
                        <a:pt x="224" y="639"/>
                      </a:cubicBezTo>
                      <a:cubicBezTo>
                        <a:pt x="224" y="639"/>
                        <a:pt x="224" y="639"/>
                        <a:pt x="224" y="639"/>
                      </a:cubicBezTo>
                      <a:cubicBezTo>
                        <a:pt x="223" y="638"/>
                        <a:pt x="223" y="638"/>
                        <a:pt x="223" y="638"/>
                      </a:cubicBezTo>
                      <a:cubicBezTo>
                        <a:pt x="223" y="638"/>
                        <a:pt x="221" y="639"/>
                        <a:pt x="221" y="639"/>
                      </a:cubicBezTo>
                      <a:cubicBezTo>
                        <a:pt x="221" y="639"/>
                        <a:pt x="220" y="638"/>
                        <a:pt x="220" y="638"/>
                      </a:cubicBezTo>
                      <a:cubicBezTo>
                        <a:pt x="219" y="638"/>
                        <a:pt x="219" y="638"/>
                        <a:pt x="219" y="638"/>
                      </a:cubicBezTo>
                      <a:cubicBezTo>
                        <a:pt x="221" y="639"/>
                        <a:pt x="221" y="639"/>
                        <a:pt x="221" y="639"/>
                      </a:cubicBezTo>
                      <a:cubicBezTo>
                        <a:pt x="221" y="640"/>
                        <a:pt x="221" y="640"/>
                        <a:pt x="221" y="640"/>
                      </a:cubicBezTo>
                      <a:cubicBezTo>
                        <a:pt x="220" y="641"/>
                        <a:pt x="220" y="641"/>
                        <a:pt x="220" y="641"/>
                      </a:cubicBezTo>
                      <a:cubicBezTo>
                        <a:pt x="218" y="641"/>
                        <a:pt x="218" y="641"/>
                        <a:pt x="218" y="641"/>
                      </a:cubicBezTo>
                      <a:cubicBezTo>
                        <a:pt x="218" y="641"/>
                        <a:pt x="218" y="641"/>
                        <a:pt x="218" y="641"/>
                      </a:cubicBezTo>
                      <a:cubicBezTo>
                        <a:pt x="217" y="641"/>
                        <a:pt x="217" y="641"/>
                        <a:pt x="217" y="641"/>
                      </a:cubicBezTo>
                      <a:cubicBezTo>
                        <a:pt x="216" y="642"/>
                        <a:pt x="216" y="642"/>
                        <a:pt x="216" y="642"/>
                      </a:cubicBezTo>
                      <a:cubicBezTo>
                        <a:pt x="216" y="642"/>
                        <a:pt x="216" y="642"/>
                        <a:pt x="216" y="642"/>
                      </a:cubicBezTo>
                      <a:cubicBezTo>
                        <a:pt x="215" y="641"/>
                        <a:pt x="215" y="641"/>
                        <a:pt x="215" y="641"/>
                      </a:cubicBezTo>
                      <a:cubicBezTo>
                        <a:pt x="214" y="641"/>
                        <a:pt x="214" y="641"/>
                        <a:pt x="214" y="641"/>
                      </a:cubicBezTo>
                      <a:cubicBezTo>
                        <a:pt x="214" y="642"/>
                        <a:pt x="214" y="642"/>
                        <a:pt x="214" y="642"/>
                      </a:cubicBezTo>
                      <a:cubicBezTo>
                        <a:pt x="213" y="644"/>
                        <a:pt x="213" y="644"/>
                        <a:pt x="213" y="644"/>
                      </a:cubicBezTo>
                      <a:cubicBezTo>
                        <a:pt x="212" y="646"/>
                        <a:pt x="212" y="646"/>
                        <a:pt x="212" y="646"/>
                      </a:cubicBezTo>
                      <a:cubicBezTo>
                        <a:pt x="211" y="647"/>
                        <a:pt x="211" y="647"/>
                        <a:pt x="211" y="647"/>
                      </a:cubicBezTo>
                      <a:cubicBezTo>
                        <a:pt x="211" y="649"/>
                        <a:pt x="211" y="649"/>
                        <a:pt x="211" y="649"/>
                      </a:cubicBezTo>
                      <a:cubicBezTo>
                        <a:pt x="210" y="650"/>
                        <a:pt x="210" y="650"/>
                        <a:pt x="210" y="650"/>
                      </a:cubicBezTo>
                      <a:cubicBezTo>
                        <a:pt x="210" y="654"/>
                        <a:pt x="210" y="654"/>
                        <a:pt x="210" y="654"/>
                      </a:cubicBezTo>
                      <a:cubicBezTo>
                        <a:pt x="209" y="655"/>
                        <a:pt x="209" y="655"/>
                        <a:pt x="209" y="655"/>
                      </a:cubicBezTo>
                      <a:cubicBezTo>
                        <a:pt x="208" y="657"/>
                        <a:pt x="208" y="657"/>
                        <a:pt x="208" y="657"/>
                      </a:cubicBezTo>
                      <a:cubicBezTo>
                        <a:pt x="209" y="660"/>
                        <a:pt x="209" y="660"/>
                        <a:pt x="209" y="660"/>
                      </a:cubicBezTo>
                      <a:cubicBezTo>
                        <a:pt x="211" y="660"/>
                        <a:pt x="211" y="660"/>
                        <a:pt x="211" y="660"/>
                      </a:cubicBezTo>
                      <a:cubicBezTo>
                        <a:pt x="212" y="660"/>
                        <a:pt x="212" y="660"/>
                        <a:pt x="212" y="660"/>
                      </a:cubicBezTo>
                      <a:cubicBezTo>
                        <a:pt x="213" y="662"/>
                        <a:pt x="213" y="662"/>
                        <a:pt x="213" y="662"/>
                      </a:cubicBezTo>
                      <a:cubicBezTo>
                        <a:pt x="215" y="662"/>
                        <a:pt x="215" y="662"/>
                        <a:pt x="215" y="662"/>
                      </a:cubicBezTo>
                      <a:cubicBezTo>
                        <a:pt x="215" y="665"/>
                        <a:pt x="215" y="665"/>
                        <a:pt x="215" y="665"/>
                      </a:cubicBezTo>
                      <a:cubicBezTo>
                        <a:pt x="217" y="667"/>
                        <a:pt x="217" y="667"/>
                        <a:pt x="217" y="667"/>
                      </a:cubicBezTo>
                      <a:cubicBezTo>
                        <a:pt x="218" y="666"/>
                        <a:pt x="218" y="666"/>
                        <a:pt x="218" y="666"/>
                      </a:cubicBezTo>
                      <a:cubicBezTo>
                        <a:pt x="219" y="666"/>
                        <a:pt x="219" y="666"/>
                        <a:pt x="219" y="666"/>
                      </a:cubicBezTo>
                      <a:cubicBezTo>
                        <a:pt x="218" y="667"/>
                        <a:pt x="218" y="667"/>
                        <a:pt x="218" y="667"/>
                      </a:cubicBezTo>
                      <a:cubicBezTo>
                        <a:pt x="218" y="669"/>
                        <a:pt x="218" y="669"/>
                        <a:pt x="218" y="669"/>
                      </a:cubicBezTo>
                      <a:cubicBezTo>
                        <a:pt x="217" y="669"/>
                        <a:pt x="217" y="669"/>
                        <a:pt x="217" y="669"/>
                      </a:cubicBezTo>
                      <a:cubicBezTo>
                        <a:pt x="217" y="671"/>
                        <a:pt x="217" y="671"/>
                        <a:pt x="217" y="671"/>
                      </a:cubicBezTo>
                      <a:cubicBezTo>
                        <a:pt x="218" y="671"/>
                        <a:pt x="218" y="671"/>
                        <a:pt x="218" y="671"/>
                      </a:cubicBezTo>
                      <a:cubicBezTo>
                        <a:pt x="218" y="672"/>
                        <a:pt x="218" y="672"/>
                        <a:pt x="218" y="672"/>
                      </a:cubicBezTo>
                      <a:cubicBezTo>
                        <a:pt x="219" y="673"/>
                        <a:pt x="219" y="673"/>
                        <a:pt x="219" y="673"/>
                      </a:cubicBezTo>
                      <a:cubicBezTo>
                        <a:pt x="219" y="676"/>
                        <a:pt x="219" y="676"/>
                        <a:pt x="219" y="676"/>
                      </a:cubicBezTo>
                      <a:cubicBezTo>
                        <a:pt x="221" y="678"/>
                        <a:pt x="221" y="678"/>
                        <a:pt x="221" y="678"/>
                      </a:cubicBezTo>
                      <a:cubicBezTo>
                        <a:pt x="221" y="680"/>
                        <a:pt x="221" y="680"/>
                        <a:pt x="221" y="680"/>
                      </a:cubicBezTo>
                      <a:cubicBezTo>
                        <a:pt x="225" y="685"/>
                        <a:pt x="225" y="685"/>
                        <a:pt x="225" y="685"/>
                      </a:cubicBezTo>
                      <a:cubicBezTo>
                        <a:pt x="230" y="689"/>
                        <a:pt x="230" y="689"/>
                        <a:pt x="230" y="689"/>
                      </a:cubicBezTo>
                      <a:cubicBezTo>
                        <a:pt x="231" y="690"/>
                        <a:pt x="231" y="690"/>
                        <a:pt x="231" y="690"/>
                      </a:cubicBezTo>
                      <a:cubicBezTo>
                        <a:pt x="231" y="690"/>
                        <a:pt x="231" y="690"/>
                        <a:pt x="231" y="690"/>
                      </a:cubicBezTo>
                      <a:cubicBezTo>
                        <a:pt x="228" y="694"/>
                        <a:pt x="228" y="694"/>
                        <a:pt x="228" y="694"/>
                      </a:cubicBezTo>
                      <a:cubicBezTo>
                        <a:pt x="225" y="696"/>
                        <a:pt x="225" y="696"/>
                        <a:pt x="225" y="696"/>
                      </a:cubicBezTo>
                      <a:cubicBezTo>
                        <a:pt x="224" y="697"/>
                        <a:pt x="224" y="697"/>
                        <a:pt x="224" y="697"/>
                      </a:cubicBezTo>
                      <a:cubicBezTo>
                        <a:pt x="219" y="697"/>
                        <a:pt x="219" y="697"/>
                        <a:pt x="219" y="697"/>
                      </a:cubicBezTo>
                      <a:cubicBezTo>
                        <a:pt x="218" y="695"/>
                        <a:pt x="218" y="695"/>
                        <a:pt x="218" y="695"/>
                      </a:cubicBezTo>
                      <a:cubicBezTo>
                        <a:pt x="214" y="691"/>
                        <a:pt x="214" y="691"/>
                        <a:pt x="214" y="691"/>
                      </a:cubicBezTo>
                      <a:cubicBezTo>
                        <a:pt x="211" y="691"/>
                        <a:pt x="211" y="691"/>
                        <a:pt x="211" y="691"/>
                      </a:cubicBezTo>
                      <a:cubicBezTo>
                        <a:pt x="210" y="694"/>
                        <a:pt x="210" y="694"/>
                        <a:pt x="210" y="694"/>
                      </a:cubicBezTo>
                      <a:cubicBezTo>
                        <a:pt x="212" y="696"/>
                        <a:pt x="212" y="696"/>
                        <a:pt x="212" y="696"/>
                      </a:cubicBezTo>
                      <a:cubicBezTo>
                        <a:pt x="214" y="698"/>
                        <a:pt x="214" y="698"/>
                        <a:pt x="214" y="698"/>
                      </a:cubicBezTo>
                      <a:cubicBezTo>
                        <a:pt x="213" y="701"/>
                        <a:pt x="213" y="701"/>
                        <a:pt x="213" y="701"/>
                      </a:cubicBezTo>
                      <a:cubicBezTo>
                        <a:pt x="210" y="699"/>
                        <a:pt x="210" y="699"/>
                        <a:pt x="210" y="699"/>
                      </a:cubicBezTo>
                      <a:cubicBezTo>
                        <a:pt x="206" y="699"/>
                        <a:pt x="206" y="699"/>
                        <a:pt x="206" y="699"/>
                      </a:cubicBezTo>
                      <a:cubicBezTo>
                        <a:pt x="201" y="696"/>
                        <a:pt x="201" y="696"/>
                        <a:pt x="201" y="696"/>
                      </a:cubicBezTo>
                      <a:cubicBezTo>
                        <a:pt x="197" y="698"/>
                        <a:pt x="197" y="698"/>
                        <a:pt x="197" y="698"/>
                      </a:cubicBezTo>
                      <a:cubicBezTo>
                        <a:pt x="197" y="699"/>
                        <a:pt x="197" y="699"/>
                        <a:pt x="197" y="699"/>
                      </a:cubicBezTo>
                      <a:cubicBezTo>
                        <a:pt x="199" y="701"/>
                        <a:pt x="199" y="701"/>
                        <a:pt x="199" y="701"/>
                      </a:cubicBezTo>
                      <a:cubicBezTo>
                        <a:pt x="196" y="699"/>
                        <a:pt x="196" y="699"/>
                        <a:pt x="196" y="699"/>
                      </a:cubicBezTo>
                      <a:cubicBezTo>
                        <a:pt x="191" y="699"/>
                        <a:pt x="191" y="699"/>
                        <a:pt x="191" y="699"/>
                      </a:cubicBezTo>
                      <a:cubicBezTo>
                        <a:pt x="190" y="699"/>
                        <a:pt x="190" y="699"/>
                        <a:pt x="190" y="699"/>
                      </a:cubicBezTo>
                      <a:cubicBezTo>
                        <a:pt x="185" y="700"/>
                        <a:pt x="185" y="700"/>
                        <a:pt x="185" y="700"/>
                      </a:cubicBezTo>
                      <a:cubicBezTo>
                        <a:pt x="182" y="701"/>
                        <a:pt x="182" y="701"/>
                        <a:pt x="182" y="701"/>
                      </a:cubicBezTo>
                      <a:cubicBezTo>
                        <a:pt x="182" y="700"/>
                        <a:pt x="182" y="700"/>
                        <a:pt x="182" y="700"/>
                      </a:cubicBezTo>
                      <a:cubicBezTo>
                        <a:pt x="180" y="700"/>
                        <a:pt x="180" y="700"/>
                        <a:pt x="180" y="700"/>
                      </a:cubicBezTo>
                      <a:cubicBezTo>
                        <a:pt x="176" y="697"/>
                        <a:pt x="176" y="697"/>
                        <a:pt x="176" y="697"/>
                      </a:cubicBezTo>
                      <a:cubicBezTo>
                        <a:pt x="175" y="696"/>
                        <a:pt x="175" y="696"/>
                        <a:pt x="175" y="696"/>
                      </a:cubicBezTo>
                      <a:cubicBezTo>
                        <a:pt x="173" y="697"/>
                        <a:pt x="173" y="697"/>
                        <a:pt x="173" y="697"/>
                      </a:cubicBezTo>
                      <a:cubicBezTo>
                        <a:pt x="172" y="698"/>
                        <a:pt x="172" y="698"/>
                        <a:pt x="172" y="698"/>
                      </a:cubicBezTo>
                      <a:cubicBezTo>
                        <a:pt x="170" y="697"/>
                        <a:pt x="170" y="697"/>
                        <a:pt x="170" y="697"/>
                      </a:cubicBezTo>
                      <a:cubicBezTo>
                        <a:pt x="169" y="698"/>
                        <a:pt x="169" y="698"/>
                        <a:pt x="169" y="698"/>
                      </a:cubicBezTo>
                      <a:cubicBezTo>
                        <a:pt x="168" y="697"/>
                        <a:pt x="168" y="697"/>
                        <a:pt x="168" y="697"/>
                      </a:cubicBezTo>
                      <a:cubicBezTo>
                        <a:pt x="167" y="696"/>
                        <a:pt x="167" y="696"/>
                        <a:pt x="167" y="696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5"/>
                        <a:pt x="166" y="695"/>
                        <a:pt x="166" y="695"/>
                      </a:cubicBezTo>
                      <a:cubicBezTo>
                        <a:pt x="166" y="693"/>
                        <a:pt x="166" y="693"/>
                        <a:pt x="166" y="693"/>
                      </a:cubicBezTo>
                      <a:cubicBezTo>
                        <a:pt x="167" y="692"/>
                        <a:pt x="167" y="692"/>
                        <a:pt x="167" y="692"/>
                      </a:cubicBezTo>
                      <a:cubicBezTo>
                        <a:pt x="165" y="689"/>
                        <a:pt x="165" y="689"/>
                        <a:pt x="165" y="689"/>
                      </a:cubicBezTo>
                      <a:cubicBezTo>
                        <a:pt x="164" y="685"/>
                        <a:pt x="164" y="685"/>
                        <a:pt x="164" y="685"/>
                      </a:cubicBezTo>
                      <a:cubicBezTo>
                        <a:pt x="163" y="683"/>
                        <a:pt x="163" y="683"/>
                        <a:pt x="163" y="683"/>
                      </a:cubicBezTo>
                      <a:cubicBezTo>
                        <a:pt x="161" y="680"/>
                        <a:pt x="161" y="680"/>
                        <a:pt x="161" y="680"/>
                      </a:cubicBezTo>
                      <a:cubicBezTo>
                        <a:pt x="159" y="680"/>
                        <a:pt x="159" y="680"/>
                        <a:pt x="159" y="680"/>
                      </a:cubicBezTo>
                      <a:cubicBezTo>
                        <a:pt x="159" y="679"/>
                        <a:pt x="159" y="679"/>
                        <a:pt x="159" y="679"/>
                      </a:cubicBezTo>
                      <a:cubicBezTo>
                        <a:pt x="156" y="676"/>
                        <a:pt x="156" y="676"/>
                        <a:pt x="156" y="676"/>
                      </a:cubicBezTo>
                      <a:cubicBezTo>
                        <a:pt x="155" y="677"/>
                        <a:pt x="155" y="677"/>
                        <a:pt x="155" y="677"/>
                      </a:cubicBezTo>
                      <a:cubicBezTo>
                        <a:pt x="154" y="677"/>
                        <a:pt x="154" y="677"/>
                        <a:pt x="154" y="677"/>
                      </a:cubicBezTo>
                      <a:cubicBezTo>
                        <a:pt x="152" y="676"/>
                        <a:pt x="152" y="676"/>
                        <a:pt x="152" y="676"/>
                      </a:cubicBezTo>
                      <a:cubicBezTo>
                        <a:pt x="151" y="674"/>
                        <a:pt x="151" y="674"/>
                        <a:pt x="151" y="674"/>
                      </a:cubicBezTo>
                      <a:cubicBezTo>
                        <a:pt x="150" y="674"/>
                        <a:pt x="150" y="674"/>
                        <a:pt x="150" y="674"/>
                      </a:cubicBezTo>
                      <a:cubicBezTo>
                        <a:pt x="148" y="673"/>
                        <a:pt x="148" y="673"/>
                        <a:pt x="148" y="673"/>
                      </a:cubicBezTo>
                      <a:cubicBezTo>
                        <a:pt x="147" y="672"/>
                        <a:pt x="147" y="672"/>
                        <a:pt x="147" y="672"/>
                      </a:cubicBezTo>
                      <a:cubicBezTo>
                        <a:pt x="146" y="672"/>
                        <a:pt x="146" y="672"/>
                        <a:pt x="146" y="672"/>
                      </a:cubicBezTo>
                      <a:cubicBezTo>
                        <a:pt x="144" y="670"/>
                        <a:pt x="144" y="670"/>
                        <a:pt x="144" y="670"/>
                      </a:cubicBezTo>
                      <a:cubicBezTo>
                        <a:pt x="144" y="669"/>
                        <a:pt x="144" y="669"/>
                        <a:pt x="144" y="669"/>
                      </a:cubicBezTo>
                      <a:cubicBezTo>
                        <a:pt x="142" y="669"/>
                        <a:pt x="142" y="669"/>
                        <a:pt x="142" y="669"/>
                      </a:cubicBezTo>
                      <a:cubicBezTo>
                        <a:pt x="141" y="666"/>
                        <a:pt x="141" y="666"/>
                        <a:pt x="141" y="666"/>
                      </a:cubicBezTo>
                      <a:cubicBezTo>
                        <a:pt x="134" y="662"/>
                        <a:pt x="134" y="662"/>
                        <a:pt x="134" y="662"/>
                      </a:cubicBezTo>
                      <a:cubicBezTo>
                        <a:pt x="132" y="661"/>
                        <a:pt x="132" y="661"/>
                        <a:pt x="132" y="661"/>
                      </a:cubicBezTo>
                      <a:cubicBezTo>
                        <a:pt x="128" y="659"/>
                        <a:pt x="128" y="659"/>
                        <a:pt x="128" y="659"/>
                      </a:cubicBezTo>
                      <a:cubicBezTo>
                        <a:pt x="124" y="659"/>
                        <a:pt x="124" y="659"/>
                        <a:pt x="124" y="659"/>
                      </a:cubicBezTo>
                      <a:cubicBezTo>
                        <a:pt x="122" y="657"/>
                        <a:pt x="122" y="657"/>
                        <a:pt x="122" y="657"/>
                      </a:cubicBezTo>
                      <a:cubicBezTo>
                        <a:pt x="122" y="655"/>
                        <a:pt x="122" y="655"/>
                        <a:pt x="122" y="655"/>
                      </a:cubicBezTo>
                      <a:cubicBezTo>
                        <a:pt x="120" y="653"/>
                        <a:pt x="120" y="653"/>
                        <a:pt x="120" y="653"/>
                      </a:cubicBezTo>
                      <a:cubicBezTo>
                        <a:pt x="118" y="653"/>
                        <a:pt x="118" y="653"/>
                        <a:pt x="118" y="653"/>
                      </a:cubicBezTo>
                      <a:cubicBezTo>
                        <a:pt x="116" y="653"/>
                        <a:pt x="116" y="653"/>
                        <a:pt x="116" y="653"/>
                      </a:cubicBezTo>
                      <a:cubicBezTo>
                        <a:pt x="118" y="652"/>
                        <a:pt x="118" y="652"/>
                        <a:pt x="118" y="652"/>
                      </a:cubicBezTo>
                      <a:cubicBezTo>
                        <a:pt x="119" y="651"/>
                        <a:pt x="119" y="651"/>
                        <a:pt x="119" y="651"/>
                      </a:cubicBezTo>
                      <a:cubicBezTo>
                        <a:pt x="118" y="649"/>
                        <a:pt x="118" y="649"/>
                        <a:pt x="118" y="649"/>
                      </a:cubicBezTo>
                      <a:cubicBezTo>
                        <a:pt x="118" y="649"/>
                        <a:pt x="118" y="649"/>
                        <a:pt x="118" y="649"/>
                      </a:cubicBezTo>
                      <a:cubicBezTo>
                        <a:pt x="120" y="649"/>
                        <a:pt x="120" y="649"/>
                        <a:pt x="120" y="649"/>
                      </a:cubicBezTo>
                      <a:cubicBezTo>
                        <a:pt x="122" y="650"/>
                        <a:pt x="122" y="650"/>
                        <a:pt x="122" y="650"/>
                      </a:cubicBezTo>
                      <a:cubicBezTo>
                        <a:pt x="122" y="650"/>
                        <a:pt x="122" y="650"/>
                        <a:pt x="122" y="650"/>
                      </a:cubicBezTo>
                      <a:cubicBezTo>
                        <a:pt x="124" y="650"/>
                        <a:pt x="124" y="650"/>
                        <a:pt x="124" y="650"/>
                      </a:cubicBezTo>
                      <a:cubicBezTo>
                        <a:pt x="125" y="647"/>
                        <a:pt x="125" y="647"/>
                        <a:pt x="125" y="647"/>
                      </a:cubicBezTo>
                      <a:cubicBezTo>
                        <a:pt x="124" y="647"/>
                        <a:pt x="124" y="647"/>
                        <a:pt x="124" y="647"/>
                      </a:cubicBezTo>
                      <a:cubicBezTo>
                        <a:pt x="124" y="645"/>
                        <a:pt x="124" y="645"/>
                        <a:pt x="124" y="645"/>
                      </a:cubicBezTo>
                      <a:cubicBezTo>
                        <a:pt x="126" y="643"/>
                        <a:pt x="126" y="643"/>
                        <a:pt x="126" y="643"/>
                      </a:cubicBezTo>
                      <a:cubicBezTo>
                        <a:pt x="126" y="642"/>
                        <a:pt x="126" y="642"/>
                        <a:pt x="126" y="642"/>
                      </a:cubicBezTo>
                      <a:cubicBezTo>
                        <a:pt x="127" y="641"/>
                        <a:pt x="127" y="641"/>
                        <a:pt x="127" y="641"/>
                      </a:cubicBezTo>
                      <a:cubicBezTo>
                        <a:pt x="128" y="641"/>
                        <a:pt x="128" y="641"/>
                        <a:pt x="128" y="641"/>
                      </a:cubicBezTo>
                      <a:cubicBezTo>
                        <a:pt x="129" y="640"/>
                        <a:pt x="129" y="640"/>
                        <a:pt x="129" y="640"/>
                      </a:cubicBezTo>
                      <a:cubicBezTo>
                        <a:pt x="130" y="640"/>
                        <a:pt x="130" y="640"/>
                        <a:pt x="130" y="640"/>
                      </a:cubicBezTo>
                      <a:cubicBezTo>
                        <a:pt x="130" y="639"/>
                        <a:pt x="130" y="639"/>
                        <a:pt x="130" y="639"/>
                      </a:cubicBezTo>
                      <a:cubicBezTo>
                        <a:pt x="128" y="638"/>
                        <a:pt x="128" y="638"/>
                        <a:pt x="128" y="638"/>
                      </a:cubicBezTo>
                      <a:cubicBezTo>
                        <a:pt x="128" y="637"/>
                        <a:pt x="128" y="637"/>
                        <a:pt x="128" y="637"/>
                      </a:cubicBezTo>
                      <a:cubicBezTo>
                        <a:pt x="127" y="638"/>
                        <a:pt x="127" y="638"/>
                        <a:pt x="127" y="638"/>
                      </a:cubicBezTo>
                      <a:cubicBezTo>
                        <a:pt x="125" y="637"/>
                        <a:pt x="125" y="637"/>
                        <a:pt x="125" y="637"/>
                      </a:cubicBezTo>
                      <a:cubicBezTo>
                        <a:pt x="124" y="634"/>
                        <a:pt x="124" y="634"/>
                        <a:pt x="124" y="634"/>
                      </a:cubicBezTo>
                      <a:cubicBezTo>
                        <a:pt x="127" y="633"/>
                        <a:pt x="127" y="633"/>
                        <a:pt x="127" y="633"/>
                      </a:cubicBezTo>
                      <a:cubicBezTo>
                        <a:pt x="129" y="634"/>
                        <a:pt x="129" y="634"/>
                        <a:pt x="129" y="634"/>
                      </a:cubicBezTo>
                      <a:cubicBezTo>
                        <a:pt x="131" y="632"/>
                        <a:pt x="131" y="632"/>
                        <a:pt x="131" y="632"/>
                      </a:cubicBezTo>
                      <a:cubicBezTo>
                        <a:pt x="129" y="632"/>
                        <a:pt x="129" y="632"/>
                        <a:pt x="129" y="632"/>
                      </a:cubicBezTo>
                      <a:cubicBezTo>
                        <a:pt x="129" y="632"/>
                        <a:pt x="129" y="632"/>
                        <a:pt x="129" y="632"/>
                      </a:cubicBezTo>
                      <a:cubicBezTo>
                        <a:pt x="131" y="630"/>
                        <a:pt x="131" y="630"/>
                        <a:pt x="131" y="630"/>
                      </a:cubicBezTo>
                      <a:cubicBezTo>
                        <a:pt x="136" y="627"/>
                        <a:pt x="136" y="627"/>
                        <a:pt x="136" y="627"/>
                      </a:cubicBezTo>
                      <a:cubicBezTo>
                        <a:pt x="136" y="626"/>
                        <a:pt x="136" y="626"/>
                        <a:pt x="136" y="626"/>
                      </a:cubicBezTo>
                      <a:cubicBezTo>
                        <a:pt x="136" y="625"/>
                        <a:pt x="136" y="625"/>
                        <a:pt x="136" y="625"/>
                      </a:cubicBezTo>
                      <a:cubicBezTo>
                        <a:pt x="133" y="625"/>
                        <a:pt x="133" y="625"/>
                        <a:pt x="133" y="625"/>
                      </a:cubicBezTo>
                      <a:cubicBezTo>
                        <a:pt x="131" y="627"/>
                        <a:pt x="131" y="627"/>
                        <a:pt x="131" y="627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6"/>
                        <a:pt x="129" y="626"/>
                        <a:pt x="129" y="626"/>
                      </a:cubicBezTo>
                      <a:cubicBezTo>
                        <a:pt x="129" y="622"/>
                        <a:pt x="129" y="622"/>
                        <a:pt x="129" y="622"/>
                      </a:cubicBezTo>
                      <a:cubicBezTo>
                        <a:pt x="130" y="621"/>
                        <a:pt x="130" y="621"/>
                        <a:pt x="130" y="621"/>
                      </a:cubicBezTo>
                      <a:cubicBezTo>
                        <a:pt x="132" y="618"/>
                        <a:pt x="132" y="618"/>
                        <a:pt x="132" y="618"/>
                      </a:cubicBezTo>
                      <a:cubicBezTo>
                        <a:pt x="137" y="617"/>
                        <a:pt x="137" y="617"/>
                        <a:pt x="137" y="617"/>
                      </a:cubicBezTo>
                      <a:cubicBezTo>
                        <a:pt x="139" y="616"/>
                        <a:pt x="139" y="616"/>
                        <a:pt x="139" y="616"/>
                      </a:cubicBezTo>
                      <a:cubicBezTo>
                        <a:pt x="139" y="614"/>
                        <a:pt x="139" y="614"/>
                        <a:pt x="139" y="614"/>
                      </a:cubicBezTo>
                      <a:cubicBezTo>
                        <a:pt x="140" y="610"/>
                        <a:pt x="140" y="610"/>
                        <a:pt x="140" y="610"/>
                      </a:cubicBezTo>
                      <a:cubicBezTo>
                        <a:pt x="139" y="607"/>
                        <a:pt x="139" y="607"/>
                        <a:pt x="139" y="607"/>
                      </a:cubicBezTo>
                      <a:cubicBezTo>
                        <a:pt x="136" y="605"/>
                        <a:pt x="136" y="605"/>
                        <a:pt x="136" y="605"/>
                      </a:cubicBezTo>
                      <a:cubicBezTo>
                        <a:pt x="137" y="601"/>
                        <a:pt x="137" y="601"/>
                        <a:pt x="137" y="601"/>
                      </a:cubicBezTo>
                      <a:cubicBezTo>
                        <a:pt x="139" y="600"/>
                        <a:pt x="139" y="600"/>
                        <a:pt x="139" y="600"/>
                      </a:cubicBezTo>
                      <a:cubicBezTo>
                        <a:pt x="141" y="598"/>
                        <a:pt x="141" y="598"/>
                        <a:pt x="141" y="598"/>
                      </a:cubicBezTo>
                      <a:cubicBezTo>
                        <a:pt x="141" y="596"/>
                        <a:pt x="141" y="596"/>
                        <a:pt x="141" y="596"/>
                      </a:cubicBezTo>
                      <a:cubicBezTo>
                        <a:pt x="139" y="595"/>
                        <a:pt x="139" y="595"/>
                        <a:pt x="139" y="595"/>
                      </a:cubicBezTo>
                      <a:cubicBezTo>
                        <a:pt x="139" y="593"/>
                        <a:pt x="139" y="593"/>
                        <a:pt x="139" y="593"/>
                      </a:cubicBezTo>
                      <a:cubicBezTo>
                        <a:pt x="137" y="594"/>
                        <a:pt x="137" y="594"/>
                        <a:pt x="137" y="594"/>
                      </a:cubicBezTo>
                      <a:cubicBezTo>
                        <a:pt x="134" y="593"/>
                        <a:pt x="134" y="593"/>
                        <a:pt x="134" y="593"/>
                      </a:cubicBezTo>
                      <a:cubicBezTo>
                        <a:pt x="132" y="592"/>
                        <a:pt x="132" y="592"/>
                        <a:pt x="132" y="592"/>
                      </a:cubicBezTo>
                      <a:cubicBezTo>
                        <a:pt x="130" y="592"/>
                        <a:pt x="130" y="592"/>
                        <a:pt x="130" y="592"/>
                      </a:cubicBezTo>
                      <a:cubicBezTo>
                        <a:pt x="128" y="591"/>
                        <a:pt x="128" y="591"/>
                        <a:pt x="128" y="591"/>
                      </a:cubicBezTo>
                      <a:cubicBezTo>
                        <a:pt x="125" y="591"/>
                        <a:pt x="125" y="591"/>
                        <a:pt x="125" y="591"/>
                      </a:cubicBezTo>
                      <a:cubicBezTo>
                        <a:pt x="122" y="590"/>
                        <a:pt x="122" y="590"/>
                        <a:pt x="122" y="590"/>
                      </a:cubicBezTo>
                      <a:cubicBezTo>
                        <a:pt x="120" y="592"/>
                        <a:pt x="120" y="592"/>
                        <a:pt x="120" y="592"/>
                      </a:cubicBezTo>
                      <a:cubicBezTo>
                        <a:pt x="119" y="590"/>
                        <a:pt x="119" y="590"/>
                        <a:pt x="119" y="590"/>
                      </a:cubicBezTo>
                      <a:cubicBezTo>
                        <a:pt x="116" y="588"/>
                        <a:pt x="116" y="588"/>
                        <a:pt x="116" y="588"/>
                      </a:cubicBezTo>
                      <a:cubicBezTo>
                        <a:pt x="114" y="583"/>
                        <a:pt x="114" y="583"/>
                        <a:pt x="114" y="583"/>
                      </a:cubicBezTo>
                      <a:cubicBezTo>
                        <a:pt x="113" y="583"/>
                        <a:pt x="113" y="583"/>
                        <a:pt x="113" y="583"/>
                      </a:cubicBezTo>
                      <a:cubicBezTo>
                        <a:pt x="109" y="586"/>
                        <a:pt x="109" y="586"/>
                        <a:pt x="109" y="586"/>
                      </a:cubicBezTo>
                      <a:cubicBezTo>
                        <a:pt x="107" y="585"/>
                        <a:pt x="107" y="585"/>
                        <a:pt x="107" y="585"/>
                      </a:cubicBezTo>
                      <a:cubicBezTo>
                        <a:pt x="105" y="586"/>
                        <a:pt x="105" y="586"/>
                        <a:pt x="105" y="586"/>
                      </a:cubicBezTo>
                      <a:cubicBezTo>
                        <a:pt x="102" y="584"/>
                        <a:pt x="102" y="584"/>
                        <a:pt x="102" y="584"/>
                      </a:cubicBezTo>
                      <a:cubicBezTo>
                        <a:pt x="101" y="586"/>
                        <a:pt x="101" y="586"/>
                        <a:pt x="101" y="586"/>
                      </a:cubicBezTo>
                      <a:cubicBezTo>
                        <a:pt x="96" y="582"/>
                        <a:pt x="96" y="582"/>
                        <a:pt x="96" y="582"/>
                      </a:cubicBezTo>
                      <a:cubicBezTo>
                        <a:pt x="95" y="579"/>
                        <a:pt x="95" y="579"/>
                        <a:pt x="95" y="579"/>
                      </a:cubicBezTo>
                      <a:cubicBezTo>
                        <a:pt x="95" y="576"/>
                        <a:pt x="95" y="576"/>
                        <a:pt x="95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cubicBezTo>
                        <a:pt x="93" y="574"/>
                        <a:pt x="93" y="574"/>
                        <a:pt x="93" y="574"/>
                      </a:cubicBezTo>
                      <a:cubicBezTo>
                        <a:pt x="91" y="572"/>
                        <a:pt x="91" y="572"/>
                        <a:pt x="91" y="572"/>
                      </a:cubicBezTo>
                      <a:cubicBezTo>
                        <a:pt x="86" y="573"/>
                        <a:pt x="86" y="573"/>
                        <a:pt x="86" y="573"/>
                      </a:cubicBezTo>
                      <a:cubicBezTo>
                        <a:pt x="83" y="569"/>
                        <a:pt x="83" y="569"/>
                        <a:pt x="83" y="569"/>
                      </a:cubicBezTo>
                      <a:cubicBezTo>
                        <a:pt x="84" y="567"/>
                        <a:pt x="84" y="567"/>
                        <a:pt x="84" y="567"/>
                      </a:cubicBezTo>
                      <a:cubicBezTo>
                        <a:pt x="82" y="565"/>
                        <a:pt x="82" y="565"/>
                        <a:pt x="82" y="565"/>
                      </a:cubicBezTo>
                      <a:cubicBezTo>
                        <a:pt x="81" y="561"/>
                        <a:pt x="81" y="561"/>
                        <a:pt x="81" y="561"/>
                      </a:cubicBezTo>
                      <a:cubicBezTo>
                        <a:pt x="79" y="561"/>
                        <a:pt x="79" y="561"/>
                        <a:pt x="79" y="561"/>
                      </a:cubicBezTo>
                      <a:cubicBezTo>
                        <a:pt x="76" y="562"/>
                        <a:pt x="76" y="562"/>
                        <a:pt x="76" y="562"/>
                      </a:cubicBezTo>
                      <a:cubicBezTo>
                        <a:pt x="71" y="562"/>
                        <a:pt x="71" y="562"/>
                        <a:pt x="71" y="562"/>
                      </a:cubicBezTo>
                      <a:cubicBezTo>
                        <a:pt x="66" y="560"/>
                        <a:pt x="66" y="560"/>
                        <a:pt x="66" y="560"/>
                      </a:cubicBezTo>
                      <a:cubicBezTo>
                        <a:pt x="65" y="562"/>
                        <a:pt x="65" y="562"/>
                        <a:pt x="65" y="562"/>
                      </a:cubicBezTo>
                      <a:cubicBezTo>
                        <a:pt x="65" y="564"/>
                        <a:pt x="65" y="564"/>
                        <a:pt x="65" y="564"/>
                      </a:cubicBezTo>
                      <a:cubicBezTo>
                        <a:pt x="63" y="564"/>
                        <a:pt x="63" y="564"/>
                        <a:pt x="63" y="564"/>
                      </a:cubicBezTo>
                      <a:cubicBezTo>
                        <a:pt x="61" y="564"/>
                        <a:pt x="61" y="564"/>
                        <a:pt x="61" y="564"/>
                      </a:cubicBezTo>
                      <a:cubicBezTo>
                        <a:pt x="61" y="561"/>
                        <a:pt x="61" y="561"/>
                        <a:pt x="61" y="561"/>
                      </a:cubicBezTo>
                      <a:cubicBezTo>
                        <a:pt x="59" y="559"/>
                        <a:pt x="59" y="559"/>
                        <a:pt x="59" y="559"/>
                      </a:cubicBezTo>
                      <a:cubicBezTo>
                        <a:pt x="59" y="556"/>
                        <a:pt x="59" y="556"/>
                        <a:pt x="59" y="556"/>
                      </a:cubicBezTo>
                      <a:cubicBezTo>
                        <a:pt x="57" y="553"/>
                        <a:pt x="57" y="553"/>
                        <a:pt x="57" y="553"/>
                      </a:cubicBezTo>
                      <a:cubicBezTo>
                        <a:pt x="57" y="551"/>
                        <a:pt x="57" y="551"/>
                        <a:pt x="57" y="551"/>
                      </a:cubicBezTo>
                      <a:cubicBezTo>
                        <a:pt x="58" y="549"/>
                        <a:pt x="58" y="549"/>
                        <a:pt x="58" y="549"/>
                      </a:cubicBezTo>
                      <a:cubicBezTo>
                        <a:pt x="60" y="551"/>
                        <a:pt x="60" y="551"/>
                        <a:pt x="60" y="551"/>
                      </a:cubicBezTo>
                      <a:cubicBezTo>
                        <a:pt x="65" y="550"/>
                        <a:pt x="65" y="550"/>
                        <a:pt x="65" y="550"/>
                      </a:cubicBezTo>
                      <a:cubicBezTo>
                        <a:pt x="67" y="547"/>
                        <a:pt x="67" y="547"/>
                        <a:pt x="67" y="547"/>
                      </a:cubicBezTo>
                      <a:cubicBezTo>
                        <a:pt x="68" y="546"/>
                        <a:pt x="68" y="546"/>
                        <a:pt x="68" y="546"/>
                      </a:cubicBezTo>
                      <a:cubicBezTo>
                        <a:pt x="66" y="544"/>
                        <a:pt x="66" y="544"/>
                        <a:pt x="66" y="544"/>
                      </a:cubicBezTo>
                      <a:cubicBezTo>
                        <a:pt x="65" y="542"/>
                        <a:pt x="65" y="542"/>
                        <a:pt x="65" y="542"/>
                      </a:cubicBezTo>
                      <a:cubicBezTo>
                        <a:pt x="62" y="539"/>
                        <a:pt x="62" y="539"/>
                        <a:pt x="62" y="539"/>
                      </a:cubicBezTo>
                      <a:cubicBezTo>
                        <a:pt x="59" y="538"/>
                        <a:pt x="59" y="538"/>
                        <a:pt x="59" y="538"/>
                      </a:cubicBezTo>
                      <a:cubicBezTo>
                        <a:pt x="58" y="535"/>
                        <a:pt x="58" y="535"/>
                        <a:pt x="58" y="535"/>
                      </a:cubicBezTo>
                      <a:cubicBezTo>
                        <a:pt x="56" y="534"/>
                        <a:pt x="56" y="534"/>
                        <a:pt x="56" y="534"/>
                      </a:cubicBezTo>
                      <a:cubicBezTo>
                        <a:pt x="53" y="530"/>
                        <a:pt x="53" y="530"/>
                        <a:pt x="53" y="530"/>
                      </a:cubicBezTo>
                      <a:cubicBezTo>
                        <a:pt x="52" y="527"/>
                        <a:pt x="52" y="527"/>
                        <a:pt x="52" y="527"/>
                      </a:cubicBezTo>
                      <a:cubicBezTo>
                        <a:pt x="50" y="525"/>
                        <a:pt x="50" y="525"/>
                        <a:pt x="50" y="525"/>
                      </a:cubicBezTo>
                      <a:cubicBezTo>
                        <a:pt x="50" y="522"/>
                        <a:pt x="50" y="522"/>
                        <a:pt x="50" y="522"/>
                      </a:cubicBezTo>
                      <a:cubicBezTo>
                        <a:pt x="48" y="520"/>
                        <a:pt x="48" y="520"/>
                        <a:pt x="48" y="520"/>
                      </a:cubicBezTo>
                      <a:cubicBezTo>
                        <a:pt x="49" y="517"/>
                        <a:pt x="49" y="517"/>
                        <a:pt x="49" y="517"/>
                      </a:cubicBezTo>
                      <a:cubicBezTo>
                        <a:pt x="48" y="515"/>
                        <a:pt x="48" y="515"/>
                        <a:pt x="48" y="515"/>
                      </a:cubicBezTo>
                      <a:cubicBezTo>
                        <a:pt x="44" y="513"/>
                        <a:pt x="44" y="513"/>
                        <a:pt x="44" y="513"/>
                      </a:cubicBezTo>
                      <a:cubicBezTo>
                        <a:pt x="43" y="513"/>
                        <a:pt x="43" y="513"/>
                        <a:pt x="43" y="513"/>
                      </a:cubicBezTo>
                      <a:cubicBezTo>
                        <a:pt x="42" y="512"/>
                        <a:pt x="42" y="512"/>
                        <a:pt x="42" y="512"/>
                      </a:cubicBezTo>
                      <a:cubicBezTo>
                        <a:pt x="39" y="513"/>
                        <a:pt x="39" y="513"/>
                        <a:pt x="39" y="513"/>
                      </a:cubicBezTo>
                      <a:cubicBezTo>
                        <a:pt x="36" y="515"/>
                        <a:pt x="36" y="515"/>
                        <a:pt x="36" y="515"/>
                      </a:cubicBezTo>
                      <a:cubicBezTo>
                        <a:pt x="35" y="512"/>
                        <a:pt x="35" y="512"/>
                        <a:pt x="35" y="512"/>
                      </a:cubicBezTo>
                      <a:cubicBezTo>
                        <a:pt x="32" y="511"/>
                        <a:pt x="32" y="511"/>
                        <a:pt x="32" y="511"/>
                      </a:cubicBezTo>
                      <a:cubicBezTo>
                        <a:pt x="30" y="512"/>
                        <a:pt x="30" y="512"/>
                        <a:pt x="30" y="512"/>
                      </a:cubicBezTo>
                      <a:cubicBezTo>
                        <a:pt x="28" y="509"/>
                        <a:pt x="28" y="509"/>
                        <a:pt x="28" y="509"/>
                      </a:cubicBezTo>
                      <a:cubicBezTo>
                        <a:pt x="26" y="511"/>
                        <a:pt x="26" y="511"/>
                        <a:pt x="26" y="511"/>
                      </a:cubicBezTo>
                      <a:cubicBezTo>
                        <a:pt x="24" y="509"/>
                        <a:pt x="24" y="509"/>
                        <a:pt x="24" y="509"/>
                      </a:cubicBezTo>
                      <a:cubicBezTo>
                        <a:pt x="24" y="510"/>
                        <a:pt x="24" y="510"/>
                        <a:pt x="24" y="510"/>
                      </a:cubicBezTo>
                      <a:cubicBezTo>
                        <a:pt x="23" y="507"/>
                        <a:pt x="23" y="507"/>
                        <a:pt x="23" y="507"/>
                      </a:cubicBezTo>
                      <a:cubicBezTo>
                        <a:pt x="22" y="505"/>
                        <a:pt x="22" y="505"/>
                        <a:pt x="22" y="505"/>
                      </a:cubicBezTo>
                      <a:cubicBezTo>
                        <a:pt x="21" y="502"/>
                        <a:pt x="21" y="502"/>
                        <a:pt x="21" y="502"/>
                      </a:cubicBezTo>
                      <a:cubicBezTo>
                        <a:pt x="20" y="501"/>
                        <a:pt x="20" y="501"/>
                        <a:pt x="20" y="501"/>
                      </a:cubicBezTo>
                      <a:cubicBezTo>
                        <a:pt x="19" y="499"/>
                        <a:pt x="19" y="499"/>
                        <a:pt x="19" y="499"/>
                      </a:cubicBezTo>
                      <a:cubicBezTo>
                        <a:pt x="19" y="497"/>
                        <a:pt x="19" y="497"/>
                        <a:pt x="19" y="497"/>
                      </a:cubicBezTo>
                      <a:cubicBezTo>
                        <a:pt x="19" y="496"/>
                        <a:pt x="19" y="496"/>
                        <a:pt x="19" y="496"/>
                      </a:cubicBezTo>
                      <a:cubicBezTo>
                        <a:pt x="18" y="495"/>
                        <a:pt x="18" y="495"/>
                        <a:pt x="18" y="495"/>
                      </a:cubicBezTo>
                      <a:cubicBezTo>
                        <a:pt x="18" y="494"/>
                        <a:pt x="18" y="494"/>
                        <a:pt x="18" y="494"/>
                      </a:cubicBezTo>
                      <a:cubicBezTo>
                        <a:pt x="18" y="492"/>
                        <a:pt x="18" y="492"/>
                        <a:pt x="18" y="492"/>
                      </a:cubicBezTo>
                      <a:cubicBezTo>
                        <a:pt x="16" y="492"/>
                        <a:pt x="16" y="492"/>
                        <a:pt x="16" y="492"/>
                      </a:cubicBezTo>
                      <a:cubicBezTo>
                        <a:pt x="18" y="490"/>
                        <a:pt x="18" y="490"/>
                        <a:pt x="18" y="490"/>
                      </a:cubicBezTo>
                      <a:cubicBezTo>
                        <a:pt x="17" y="488"/>
                        <a:pt x="17" y="488"/>
                        <a:pt x="17" y="488"/>
                      </a:cubicBezTo>
                      <a:cubicBezTo>
                        <a:pt x="19" y="487"/>
                        <a:pt x="19" y="487"/>
                        <a:pt x="19" y="487"/>
                      </a:cubicBezTo>
                      <a:cubicBezTo>
                        <a:pt x="19" y="485"/>
                        <a:pt x="19" y="485"/>
                        <a:pt x="19" y="485"/>
                      </a:cubicBezTo>
                      <a:cubicBezTo>
                        <a:pt x="14" y="476"/>
                        <a:pt x="14" y="476"/>
                        <a:pt x="14" y="476"/>
                      </a:cubicBezTo>
                      <a:cubicBezTo>
                        <a:pt x="15" y="469"/>
                        <a:pt x="15" y="469"/>
                        <a:pt x="15" y="469"/>
                      </a:cubicBezTo>
                      <a:cubicBezTo>
                        <a:pt x="16" y="468"/>
                        <a:pt x="16" y="468"/>
                        <a:pt x="16" y="468"/>
                      </a:cubicBezTo>
                      <a:cubicBezTo>
                        <a:pt x="17" y="465"/>
                        <a:pt x="17" y="465"/>
                        <a:pt x="17" y="465"/>
                      </a:cubicBezTo>
                      <a:cubicBezTo>
                        <a:pt x="18" y="463"/>
                        <a:pt x="18" y="463"/>
                        <a:pt x="18" y="463"/>
                      </a:cubicBezTo>
                      <a:cubicBezTo>
                        <a:pt x="19" y="463"/>
                        <a:pt x="19" y="463"/>
                        <a:pt x="19" y="463"/>
                      </a:cubicBezTo>
                      <a:cubicBezTo>
                        <a:pt x="18" y="462"/>
                        <a:pt x="18" y="462"/>
                        <a:pt x="18" y="462"/>
                      </a:cubicBezTo>
                      <a:cubicBezTo>
                        <a:pt x="18" y="461"/>
                        <a:pt x="18" y="461"/>
                        <a:pt x="18" y="461"/>
                      </a:cubicBezTo>
                      <a:cubicBezTo>
                        <a:pt x="18" y="461"/>
                        <a:pt x="18" y="461"/>
                        <a:pt x="18" y="461"/>
                      </a:cubicBezTo>
                      <a:cubicBezTo>
                        <a:pt x="18" y="459"/>
                        <a:pt x="18" y="459"/>
                        <a:pt x="18" y="459"/>
                      </a:cubicBezTo>
                      <a:cubicBezTo>
                        <a:pt x="17" y="457"/>
                        <a:pt x="17" y="457"/>
                        <a:pt x="17" y="457"/>
                      </a:cubicBezTo>
                      <a:cubicBezTo>
                        <a:pt x="17" y="456"/>
                        <a:pt x="17" y="456"/>
                        <a:pt x="17" y="456"/>
                      </a:cubicBezTo>
                      <a:cubicBezTo>
                        <a:pt x="18" y="456"/>
                        <a:pt x="18" y="456"/>
                        <a:pt x="18" y="456"/>
                      </a:cubicBezTo>
                      <a:cubicBezTo>
                        <a:pt x="19" y="457"/>
                        <a:pt x="19" y="457"/>
                        <a:pt x="19" y="457"/>
                      </a:cubicBezTo>
                      <a:cubicBezTo>
                        <a:pt x="21" y="457"/>
                        <a:pt x="21" y="457"/>
                        <a:pt x="21" y="457"/>
                      </a:cubicBezTo>
                      <a:cubicBezTo>
                        <a:pt x="21" y="455"/>
                        <a:pt x="21" y="455"/>
                        <a:pt x="21" y="455"/>
                      </a:cubicBezTo>
                      <a:cubicBezTo>
                        <a:pt x="22" y="454"/>
                        <a:pt x="22" y="454"/>
                        <a:pt x="22" y="454"/>
                      </a:cubicBezTo>
                      <a:cubicBezTo>
                        <a:pt x="24" y="455"/>
                        <a:pt x="24" y="455"/>
                        <a:pt x="24" y="455"/>
                      </a:cubicBezTo>
                      <a:cubicBezTo>
                        <a:pt x="26" y="453"/>
                        <a:pt x="26" y="453"/>
                        <a:pt x="26" y="453"/>
                      </a:cubicBezTo>
                      <a:cubicBezTo>
                        <a:pt x="26" y="451"/>
                        <a:pt x="26" y="451"/>
                        <a:pt x="26" y="451"/>
                      </a:cubicBezTo>
                      <a:cubicBezTo>
                        <a:pt x="28" y="451"/>
                        <a:pt x="28" y="451"/>
                        <a:pt x="28" y="451"/>
                      </a:cubicBezTo>
                      <a:cubicBezTo>
                        <a:pt x="30" y="452"/>
                        <a:pt x="30" y="452"/>
                        <a:pt x="30" y="452"/>
                      </a:cubicBezTo>
                      <a:cubicBezTo>
                        <a:pt x="32" y="450"/>
                        <a:pt x="32" y="450"/>
                        <a:pt x="32" y="450"/>
                      </a:cubicBezTo>
                      <a:cubicBezTo>
                        <a:pt x="30" y="448"/>
                        <a:pt x="30" y="448"/>
                        <a:pt x="30" y="448"/>
                      </a:cubicBezTo>
                      <a:cubicBezTo>
                        <a:pt x="28" y="448"/>
                        <a:pt x="28" y="448"/>
                        <a:pt x="28" y="448"/>
                      </a:cubicBezTo>
                      <a:cubicBezTo>
                        <a:pt x="28" y="448"/>
                        <a:pt x="28" y="448"/>
                        <a:pt x="28" y="448"/>
                      </a:cubicBezTo>
                      <a:cubicBezTo>
                        <a:pt x="25" y="448"/>
                        <a:pt x="25" y="448"/>
                        <a:pt x="25" y="448"/>
                      </a:cubicBezTo>
                      <a:cubicBezTo>
                        <a:pt x="24" y="447"/>
                        <a:pt x="24" y="447"/>
                        <a:pt x="24" y="447"/>
                      </a:cubicBezTo>
                      <a:cubicBezTo>
                        <a:pt x="22" y="446"/>
                        <a:pt x="22" y="446"/>
                        <a:pt x="22" y="446"/>
                      </a:cubicBezTo>
                      <a:cubicBezTo>
                        <a:pt x="20" y="444"/>
                        <a:pt x="20" y="444"/>
                        <a:pt x="20" y="444"/>
                      </a:cubicBezTo>
                      <a:cubicBezTo>
                        <a:pt x="20" y="443"/>
                        <a:pt x="20" y="443"/>
                        <a:pt x="20" y="443"/>
                      </a:cubicBezTo>
                      <a:cubicBezTo>
                        <a:pt x="22" y="444"/>
                        <a:pt x="22" y="444"/>
                        <a:pt x="22" y="444"/>
                      </a:cubicBezTo>
                      <a:cubicBezTo>
                        <a:pt x="22" y="443"/>
                        <a:pt x="22" y="443"/>
                        <a:pt x="22" y="443"/>
                      </a:cubicBezTo>
                      <a:cubicBezTo>
                        <a:pt x="21" y="441"/>
                        <a:pt x="21" y="441"/>
                        <a:pt x="21" y="441"/>
                      </a:cubicBezTo>
                      <a:cubicBezTo>
                        <a:pt x="23" y="440"/>
                        <a:pt x="23" y="440"/>
                        <a:pt x="23" y="440"/>
                      </a:cubicBezTo>
                      <a:cubicBezTo>
                        <a:pt x="21" y="441"/>
                        <a:pt x="21" y="441"/>
                        <a:pt x="21" y="441"/>
                      </a:cubicBezTo>
                      <a:cubicBezTo>
                        <a:pt x="21" y="441"/>
                        <a:pt x="18" y="442"/>
                        <a:pt x="18" y="442"/>
                      </a:cubicBezTo>
                      <a:cubicBezTo>
                        <a:pt x="18" y="442"/>
                        <a:pt x="18" y="442"/>
                        <a:pt x="17" y="443"/>
                      </a:cubicBezTo>
                      <a:cubicBezTo>
                        <a:pt x="17" y="443"/>
                        <a:pt x="17" y="443"/>
                        <a:pt x="17" y="443"/>
                      </a:cubicBezTo>
                      <a:cubicBezTo>
                        <a:pt x="17" y="440"/>
                        <a:pt x="17" y="440"/>
                        <a:pt x="17" y="440"/>
                      </a:cubicBezTo>
                      <a:cubicBezTo>
                        <a:pt x="22" y="435"/>
                        <a:pt x="22" y="435"/>
                        <a:pt x="22" y="435"/>
                      </a:cubicBezTo>
                      <a:cubicBezTo>
                        <a:pt x="24" y="434"/>
                        <a:pt x="24" y="434"/>
                        <a:pt x="24" y="434"/>
                      </a:cubicBezTo>
                      <a:cubicBezTo>
                        <a:pt x="26" y="430"/>
                        <a:pt x="26" y="430"/>
                        <a:pt x="26" y="430"/>
                      </a:cubicBezTo>
                      <a:cubicBezTo>
                        <a:pt x="29" y="425"/>
                        <a:pt x="29" y="425"/>
                        <a:pt x="29" y="425"/>
                      </a:cubicBezTo>
                      <a:cubicBezTo>
                        <a:pt x="31" y="421"/>
                        <a:pt x="31" y="421"/>
                        <a:pt x="31" y="421"/>
                      </a:cubicBezTo>
                      <a:cubicBezTo>
                        <a:pt x="35" y="414"/>
                        <a:pt x="35" y="414"/>
                        <a:pt x="35" y="414"/>
                      </a:cubicBezTo>
                      <a:cubicBezTo>
                        <a:pt x="38" y="407"/>
                        <a:pt x="38" y="407"/>
                        <a:pt x="38" y="407"/>
                      </a:cubicBezTo>
                      <a:cubicBezTo>
                        <a:pt x="37" y="404"/>
                        <a:pt x="37" y="404"/>
                        <a:pt x="37" y="404"/>
                      </a:cubicBezTo>
                      <a:cubicBezTo>
                        <a:pt x="33" y="399"/>
                        <a:pt x="33" y="399"/>
                        <a:pt x="33" y="399"/>
                      </a:cubicBezTo>
                      <a:cubicBezTo>
                        <a:pt x="31" y="398"/>
                        <a:pt x="31" y="398"/>
                        <a:pt x="31" y="398"/>
                      </a:cubicBezTo>
                      <a:cubicBezTo>
                        <a:pt x="26" y="392"/>
                        <a:pt x="26" y="392"/>
                        <a:pt x="26" y="392"/>
                      </a:cubicBezTo>
                      <a:cubicBezTo>
                        <a:pt x="27" y="389"/>
                        <a:pt x="27" y="389"/>
                        <a:pt x="27" y="389"/>
                      </a:cubicBezTo>
                      <a:cubicBezTo>
                        <a:pt x="29" y="386"/>
                        <a:pt x="29" y="386"/>
                        <a:pt x="29" y="386"/>
                      </a:cubicBezTo>
                      <a:cubicBezTo>
                        <a:pt x="28" y="383"/>
                        <a:pt x="28" y="383"/>
                        <a:pt x="28" y="383"/>
                      </a:cubicBezTo>
                      <a:cubicBezTo>
                        <a:pt x="26" y="381"/>
                        <a:pt x="26" y="381"/>
                        <a:pt x="26" y="381"/>
                      </a:cubicBezTo>
                      <a:cubicBezTo>
                        <a:pt x="24" y="379"/>
                        <a:pt x="24" y="379"/>
                        <a:pt x="24" y="379"/>
                      </a:cubicBezTo>
                      <a:cubicBezTo>
                        <a:pt x="24" y="375"/>
                        <a:pt x="24" y="375"/>
                        <a:pt x="24" y="375"/>
                      </a:cubicBezTo>
                      <a:cubicBezTo>
                        <a:pt x="25" y="374"/>
                        <a:pt x="25" y="374"/>
                        <a:pt x="25" y="374"/>
                      </a:cubicBezTo>
                      <a:cubicBezTo>
                        <a:pt x="24" y="372"/>
                        <a:pt x="24" y="372"/>
                        <a:pt x="24" y="372"/>
                      </a:cubicBezTo>
                      <a:cubicBezTo>
                        <a:pt x="22" y="372"/>
                        <a:pt x="22" y="372"/>
                        <a:pt x="22" y="372"/>
                      </a:cubicBezTo>
                      <a:cubicBezTo>
                        <a:pt x="21" y="370"/>
                        <a:pt x="21" y="370"/>
                        <a:pt x="21" y="370"/>
                      </a:cubicBezTo>
                      <a:cubicBezTo>
                        <a:pt x="21" y="367"/>
                        <a:pt x="21" y="367"/>
                        <a:pt x="21" y="367"/>
                      </a:cubicBezTo>
                      <a:cubicBezTo>
                        <a:pt x="22" y="365"/>
                        <a:pt x="22" y="365"/>
                        <a:pt x="22" y="365"/>
                      </a:cubicBezTo>
                      <a:cubicBezTo>
                        <a:pt x="20" y="365"/>
                        <a:pt x="20" y="365"/>
                        <a:pt x="20" y="365"/>
                      </a:cubicBezTo>
                      <a:cubicBezTo>
                        <a:pt x="20" y="363"/>
                        <a:pt x="20" y="363"/>
                        <a:pt x="20" y="363"/>
                      </a:cubicBezTo>
                      <a:cubicBezTo>
                        <a:pt x="20" y="357"/>
                        <a:pt x="20" y="357"/>
                        <a:pt x="20" y="357"/>
                      </a:cubicBezTo>
                      <a:cubicBezTo>
                        <a:pt x="22" y="356"/>
                        <a:pt x="22" y="356"/>
                        <a:pt x="22" y="356"/>
                      </a:cubicBezTo>
                      <a:cubicBezTo>
                        <a:pt x="18" y="346"/>
                        <a:pt x="18" y="346"/>
                        <a:pt x="18" y="346"/>
                      </a:cubicBezTo>
                      <a:cubicBezTo>
                        <a:pt x="14" y="338"/>
                        <a:pt x="14" y="338"/>
                        <a:pt x="14" y="338"/>
                      </a:cubicBezTo>
                      <a:cubicBezTo>
                        <a:pt x="13" y="336"/>
                        <a:pt x="13" y="336"/>
                        <a:pt x="13" y="336"/>
                      </a:cubicBezTo>
                      <a:cubicBezTo>
                        <a:pt x="11" y="333"/>
                        <a:pt x="11" y="333"/>
                        <a:pt x="11" y="333"/>
                      </a:cubicBezTo>
                      <a:cubicBezTo>
                        <a:pt x="12" y="328"/>
                        <a:pt x="12" y="328"/>
                        <a:pt x="12" y="328"/>
                      </a:cubicBezTo>
                      <a:cubicBezTo>
                        <a:pt x="14" y="325"/>
                        <a:pt x="14" y="325"/>
                        <a:pt x="14" y="325"/>
                      </a:cubicBezTo>
                      <a:cubicBezTo>
                        <a:pt x="15" y="322"/>
                        <a:pt x="15" y="322"/>
                        <a:pt x="15" y="322"/>
                      </a:cubicBezTo>
                      <a:cubicBezTo>
                        <a:pt x="14" y="321"/>
                        <a:pt x="14" y="321"/>
                        <a:pt x="14" y="321"/>
                      </a:cubicBezTo>
                      <a:cubicBezTo>
                        <a:pt x="10" y="318"/>
                        <a:pt x="10" y="318"/>
                        <a:pt x="10" y="318"/>
                      </a:cubicBezTo>
                      <a:cubicBezTo>
                        <a:pt x="9" y="316"/>
                        <a:pt x="9" y="316"/>
                        <a:pt x="9" y="316"/>
                      </a:cubicBezTo>
                      <a:cubicBezTo>
                        <a:pt x="7" y="314"/>
                        <a:pt x="7" y="314"/>
                        <a:pt x="7" y="314"/>
                      </a:cubicBezTo>
                      <a:cubicBezTo>
                        <a:pt x="5" y="313"/>
                        <a:pt x="5" y="313"/>
                        <a:pt x="5" y="313"/>
                      </a:cubicBezTo>
                      <a:cubicBezTo>
                        <a:pt x="3" y="312"/>
                        <a:pt x="3" y="312"/>
                        <a:pt x="3" y="312"/>
                      </a:cubicBezTo>
                      <a:cubicBezTo>
                        <a:pt x="2" y="308"/>
                        <a:pt x="2" y="308"/>
                        <a:pt x="2" y="308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1" y="303"/>
                        <a:pt x="1" y="303"/>
                        <a:pt x="1" y="303"/>
                      </a:cubicBezTo>
                      <a:cubicBezTo>
                        <a:pt x="2" y="300"/>
                        <a:pt x="2" y="300"/>
                        <a:pt x="2" y="300"/>
                      </a:cubicBezTo>
                      <a:cubicBezTo>
                        <a:pt x="0" y="300"/>
                        <a:pt x="0" y="300"/>
                        <a:pt x="0" y="300"/>
                      </a:cubicBezTo>
                      <a:cubicBezTo>
                        <a:pt x="2" y="299"/>
                        <a:pt x="2" y="299"/>
                        <a:pt x="2" y="299"/>
                      </a:cubicBezTo>
                      <a:cubicBezTo>
                        <a:pt x="4" y="298"/>
                        <a:pt x="4" y="298"/>
                        <a:pt x="4" y="298"/>
                      </a:cubicBezTo>
                      <a:cubicBezTo>
                        <a:pt x="4" y="297"/>
                        <a:pt x="4" y="297"/>
                        <a:pt x="4" y="297"/>
                      </a:cubicBezTo>
                      <a:cubicBezTo>
                        <a:pt x="5" y="297"/>
                        <a:pt x="5" y="297"/>
                        <a:pt x="5" y="297"/>
                      </a:cubicBezTo>
                      <a:cubicBezTo>
                        <a:pt x="5" y="294"/>
                        <a:pt x="5" y="294"/>
                        <a:pt x="5" y="294"/>
                      </a:cubicBezTo>
                      <a:cubicBezTo>
                        <a:pt x="8" y="291"/>
                        <a:pt x="8" y="291"/>
                        <a:pt x="8" y="291"/>
                      </a:cubicBezTo>
                      <a:cubicBezTo>
                        <a:pt x="10" y="291"/>
                        <a:pt x="10" y="291"/>
                        <a:pt x="10" y="291"/>
                      </a:cubicBezTo>
                      <a:cubicBezTo>
                        <a:pt x="12" y="289"/>
                        <a:pt x="12" y="289"/>
                        <a:pt x="12" y="289"/>
                      </a:cubicBezTo>
                      <a:cubicBezTo>
                        <a:pt x="12" y="286"/>
                        <a:pt x="12" y="286"/>
                        <a:pt x="12" y="286"/>
                      </a:cubicBezTo>
                      <a:cubicBezTo>
                        <a:pt x="13" y="286"/>
                        <a:pt x="13" y="286"/>
                        <a:pt x="13" y="286"/>
                      </a:cubicBezTo>
                      <a:cubicBezTo>
                        <a:pt x="15" y="287"/>
                        <a:pt x="15" y="287"/>
                        <a:pt x="15" y="287"/>
                      </a:cubicBezTo>
                      <a:cubicBezTo>
                        <a:pt x="16" y="285"/>
                        <a:pt x="16" y="285"/>
                        <a:pt x="16" y="285"/>
                      </a:cubicBezTo>
                      <a:cubicBezTo>
                        <a:pt x="16" y="283"/>
                        <a:pt x="16" y="283"/>
                        <a:pt x="16" y="283"/>
                      </a:cubicBezTo>
                      <a:cubicBezTo>
                        <a:pt x="16" y="283"/>
                        <a:pt x="16" y="283"/>
                        <a:pt x="16" y="283"/>
                      </a:cubicBezTo>
                      <a:cubicBezTo>
                        <a:pt x="18" y="283"/>
                        <a:pt x="18" y="283"/>
                        <a:pt x="18" y="283"/>
                      </a:cubicBezTo>
                      <a:cubicBezTo>
                        <a:pt x="19" y="284"/>
                        <a:pt x="19" y="284"/>
                        <a:pt x="19" y="284"/>
                      </a:cubicBezTo>
                      <a:cubicBezTo>
                        <a:pt x="19" y="286"/>
                        <a:pt x="19" y="286"/>
                        <a:pt x="19" y="286"/>
                      </a:cubicBezTo>
                      <a:cubicBezTo>
                        <a:pt x="20" y="287"/>
                        <a:pt x="20" y="287"/>
                        <a:pt x="20" y="287"/>
                      </a:cubicBezTo>
                      <a:cubicBezTo>
                        <a:pt x="20" y="285"/>
                        <a:pt x="20" y="285"/>
                        <a:pt x="20" y="285"/>
                      </a:cubicBezTo>
                      <a:cubicBezTo>
                        <a:pt x="21" y="283"/>
                        <a:pt x="21" y="283"/>
                        <a:pt x="21" y="283"/>
                      </a:cubicBezTo>
                      <a:cubicBezTo>
                        <a:pt x="22" y="284"/>
                        <a:pt x="22" y="284"/>
                        <a:pt x="22" y="284"/>
                      </a:cubicBezTo>
                      <a:cubicBezTo>
                        <a:pt x="23" y="283"/>
                        <a:pt x="23" y="283"/>
                        <a:pt x="23" y="283"/>
                      </a:cubicBezTo>
                      <a:cubicBezTo>
                        <a:pt x="21" y="282"/>
                        <a:pt x="21" y="282"/>
                        <a:pt x="21" y="282"/>
                      </a:cubicBezTo>
                      <a:cubicBezTo>
                        <a:pt x="21" y="281"/>
                        <a:pt x="21" y="281"/>
                        <a:pt x="21" y="281"/>
                      </a:cubicBezTo>
                      <a:cubicBezTo>
                        <a:pt x="23" y="281"/>
                        <a:pt x="23" y="281"/>
                        <a:pt x="23" y="281"/>
                      </a:cubicBezTo>
                      <a:cubicBezTo>
                        <a:pt x="24" y="281"/>
                        <a:pt x="24" y="281"/>
                        <a:pt x="24" y="281"/>
                      </a:cubicBezTo>
                      <a:cubicBezTo>
                        <a:pt x="24" y="280"/>
                        <a:pt x="24" y="280"/>
                        <a:pt x="24" y="280"/>
                      </a:cubicBezTo>
                      <a:cubicBezTo>
                        <a:pt x="23" y="280"/>
                        <a:pt x="23" y="280"/>
                        <a:pt x="23" y="280"/>
                      </a:cubicBezTo>
                      <a:cubicBezTo>
                        <a:pt x="23" y="279"/>
                        <a:pt x="23" y="279"/>
                        <a:pt x="23" y="279"/>
                      </a:cubicBezTo>
                      <a:cubicBezTo>
                        <a:pt x="23" y="279"/>
                        <a:pt x="23" y="279"/>
                        <a:pt x="23" y="279"/>
                      </a:cubicBezTo>
                      <a:cubicBezTo>
                        <a:pt x="25" y="279"/>
                        <a:pt x="25" y="279"/>
                        <a:pt x="25" y="279"/>
                      </a:cubicBezTo>
                      <a:cubicBezTo>
                        <a:pt x="27" y="280"/>
                        <a:pt x="27" y="280"/>
                        <a:pt x="27" y="280"/>
                      </a:cubicBezTo>
                      <a:cubicBezTo>
                        <a:pt x="28" y="281"/>
                        <a:pt x="28" y="281"/>
                        <a:pt x="28" y="281"/>
                      </a:cubicBezTo>
                      <a:cubicBezTo>
                        <a:pt x="29" y="282"/>
                        <a:pt x="29" y="282"/>
                        <a:pt x="29" y="282"/>
                      </a:cubicBezTo>
                      <a:cubicBezTo>
                        <a:pt x="29" y="281"/>
                        <a:pt x="29" y="281"/>
                        <a:pt x="29" y="281"/>
                      </a:cubicBezTo>
                      <a:cubicBezTo>
                        <a:pt x="31" y="282"/>
                        <a:pt x="31" y="282"/>
                        <a:pt x="31" y="282"/>
                      </a:cubicBezTo>
                      <a:cubicBezTo>
                        <a:pt x="31" y="283"/>
                        <a:pt x="31" y="283"/>
                        <a:pt x="31" y="283"/>
                      </a:cubicBezTo>
                      <a:cubicBezTo>
                        <a:pt x="33" y="283"/>
                        <a:pt x="33" y="283"/>
                        <a:pt x="33" y="283"/>
                      </a:cubicBezTo>
                      <a:cubicBezTo>
                        <a:pt x="33" y="284"/>
                        <a:pt x="33" y="284"/>
                        <a:pt x="33" y="284"/>
                      </a:cubicBezTo>
                      <a:cubicBezTo>
                        <a:pt x="31" y="286"/>
                        <a:pt x="31" y="286"/>
                        <a:pt x="31" y="286"/>
                      </a:cubicBezTo>
                      <a:cubicBezTo>
                        <a:pt x="30" y="285"/>
                        <a:pt x="30" y="285"/>
                        <a:pt x="30" y="285"/>
                      </a:cubicBezTo>
                      <a:cubicBezTo>
                        <a:pt x="27" y="285"/>
                        <a:pt x="27" y="285"/>
                        <a:pt x="27" y="285"/>
                      </a:cubicBezTo>
                      <a:cubicBezTo>
                        <a:pt x="26" y="284"/>
                        <a:pt x="26" y="284"/>
                        <a:pt x="26" y="284"/>
                      </a:cubicBezTo>
                      <a:cubicBezTo>
                        <a:pt x="26" y="283"/>
                        <a:pt x="26" y="283"/>
                        <a:pt x="26" y="283"/>
                      </a:cubicBezTo>
                      <a:cubicBezTo>
                        <a:pt x="25" y="284"/>
                        <a:pt x="25" y="284"/>
                        <a:pt x="25" y="284"/>
                      </a:cubicBezTo>
                      <a:cubicBezTo>
                        <a:pt x="25" y="286"/>
                        <a:pt x="25" y="286"/>
                        <a:pt x="25" y="286"/>
                      </a:cubicBezTo>
                      <a:cubicBezTo>
                        <a:pt x="25" y="288"/>
                        <a:pt x="25" y="288"/>
                        <a:pt x="25" y="288"/>
                      </a:cubicBezTo>
                      <a:cubicBezTo>
                        <a:pt x="27" y="287"/>
                        <a:pt x="27" y="287"/>
                        <a:pt x="27" y="287"/>
                      </a:cubicBezTo>
                      <a:cubicBezTo>
                        <a:pt x="27" y="287"/>
                        <a:pt x="27" y="287"/>
                        <a:pt x="27" y="287"/>
                      </a:cubicBezTo>
                      <a:cubicBezTo>
                        <a:pt x="28" y="289"/>
                        <a:pt x="28" y="289"/>
                        <a:pt x="28" y="289"/>
                      </a:cubicBezTo>
                      <a:cubicBezTo>
                        <a:pt x="29" y="288"/>
                        <a:pt x="29" y="288"/>
                        <a:pt x="29" y="288"/>
                      </a:cubicBezTo>
                      <a:cubicBezTo>
                        <a:pt x="31" y="288"/>
                        <a:pt x="31" y="288"/>
                        <a:pt x="31" y="288"/>
                      </a:cubicBezTo>
                      <a:cubicBezTo>
                        <a:pt x="31" y="290"/>
                        <a:pt x="31" y="290"/>
                        <a:pt x="31" y="290"/>
                      </a:cubicBezTo>
                      <a:cubicBezTo>
                        <a:pt x="32" y="289"/>
                        <a:pt x="32" y="289"/>
                        <a:pt x="32" y="289"/>
                      </a:cubicBezTo>
                      <a:cubicBezTo>
                        <a:pt x="33" y="288"/>
                        <a:pt x="33" y="288"/>
                        <a:pt x="33" y="288"/>
                      </a:cubicBezTo>
                      <a:cubicBezTo>
                        <a:pt x="33" y="289"/>
                        <a:pt x="33" y="289"/>
                        <a:pt x="33" y="289"/>
                      </a:cubicBezTo>
                      <a:cubicBezTo>
                        <a:pt x="33" y="290"/>
                        <a:pt x="33" y="290"/>
                        <a:pt x="33" y="290"/>
                      </a:cubicBezTo>
                      <a:cubicBezTo>
                        <a:pt x="33" y="291"/>
                        <a:pt x="33" y="291"/>
                        <a:pt x="33" y="291"/>
                      </a:cubicBezTo>
                      <a:cubicBezTo>
                        <a:pt x="34" y="289"/>
                        <a:pt x="34" y="289"/>
                        <a:pt x="34" y="289"/>
                      </a:cubicBezTo>
                      <a:cubicBezTo>
                        <a:pt x="35" y="288"/>
                        <a:pt x="35" y="288"/>
                        <a:pt x="35" y="288"/>
                      </a:cubicBezTo>
                      <a:cubicBezTo>
                        <a:pt x="36" y="288"/>
                        <a:pt x="36" y="288"/>
                        <a:pt x="36" y="288"/>
                      </a:cubicBezTo>
                      <a:cubicBezTo>
                        <a:pt x="36" y="289"/>
                        <a:pt x="36" y="289"/>
                        <a:pt x="36" y="289"/>
                      </a:cubicBezTo>
                      <a:cubicBezTo>
                        <a:pt x="35" y="290"/>
                        <a:pt x="35" y="290"/>
                        <a:pt x="35" y="290"/>
                      </a:cubicBezTo>
                      <a:cubicBezTo>
                        <a:pt x="37" y="290"/>
                        <a:pt x="37" y="290"/>
                        <a:pt x="37" y="290"/>
                      </a:cubicBezTo>
                      <a:cubicBezTo>
                        <a:pt x="37" y="291"/>
                        <a:pt x="37" y="291"/>
                        <a:pt x="37" y="291"/>
                      </a:cubicBezTo>
                      <a:cubicBezTo>
                        <a:pt x="36" y="292"/>
                        <a:pt x="36" y="292"/>
                        <a:pt x="36" y="292"/>
                      </a:cubicBezTo>
                      <a:cubicBezTo>
                        <a:pt x="35" y="294"/>
                        <a:pt x="35" y="294"/>
                        <a:pt x="35" y="294"/>
                      </a:cubicBezTo>
                      <a:cubicBezTo>
                        <a:pt x="37" y="293"/>
                        <a:pt x="37" y="293"/>
                        <a:pt x="37" y="293"/>
                      </a:cubicBezTo>
                      <a:cubicBezTo>
                        <a:pt x="38" y="291"/>
                        <a:pt x="38" y="291"/>
                        <a:pt x="38" y="291"/>
                      </a:cubicBezTo>
                      <a:cubicBezTo>
                        <a:pt x="38" y="290"/>
                        <a:pt x="38" y="290"/>
                        <a:pt x="38" y="290"/>
                      </a:cubicBezTo>
                      <a:cubicBezTo>
                        <a:pt x="39" y="289"/>
                        <a:pt x="39" y="289"/>
                        <a:pt x="39" y="289"/>
                      </a:cubicBezTo>
                      <a:cubicBezTo>
                        <a:pt x="41" y="289"/>
                        <a:pt x="41" y="289"/>
                        <a:pt x="41" y="289"/>
                      </a:cubicBezTo>
                      <a:cubicBezTo>
                        <a:pt x="42" y="290"/>
                        <a:pt x="42" y="290"/>
                        <a:pt x="42" y="290"/>
                      </a:cubicBezTo>
                      <a:cubicBezTo>
                        <a:pt x="42" y="289"/>
                        <a:pt x="42" y="289"/>
                        <a:pt x="42" y="289"/>
                      </a:cubicBezTo>
                      <a:cubicBezTo>
                        <a:pt x="41" y="287"/>
                        <a:pt x="41" y="287"/>
                        <a:pt x="41" y="287"/>
                      </a:cubicBezTo>
                      <a:cubicBezTo>
                        <a:pt x="41" y="287"/>
                        <a:pt x="41" y="287"/>
                        <a:pt x="41" y="287"/>
                      </a:cubicBezTo>
                      <a:cubicBezTo>
                        <a:pt x="43" y="288"/>
                        <a:pt x="43" y="288"/>
                        <a:pt x="43" y="288"/>
                      </a:cubicBezTo>
                      <a:cubicBezTo>
                        <a:pt x="44" y="289"/>
                        <a:pt x="44" y="289"/>
                        <a:pt x="44" y="289"/>
                      </a:cubicBezTo>
                      <a:cubicBezTo>
                        <a:pt x="47" y="290"/>
                        <a:pt x="47" y="290"/>
                        <a:pt x="47" y="290"/>
                      </a:cubicBezTo>
                      <a:cubicBezTo>
                        <a:pt x="49" y="290"/>
                        <a:pt x="49" y="290"/>
                        <a:pt x="49" y="290"/>
                      </a:cubicBezTo>
                      <a:cubicBezTo>
                        <a:pt x="51" y="289"/>
                        <a:pt x="51" y="289"/>
                        <a:pt x="51" y="289"/>
                      </a:cubicBezTo>
                      <a:cubicBezTo>
                        <a:pt x="50" y="289"/>
                        <a:pt x="50" y="289"/>
                        <a:pt x="50" y="289"/>
                      </a:cubicBezTo>
                      <a:cubicBezTo>
                        <a:pt x="53" y="289"/>
                        <a:pt x="53" y="289"/>
                        <a:pt x="53" y="289"/>
                      </a:cubicBezTo>
                      <a:cubicBezTo>
                        <a:pt x="55" y="290"/>
                        <a:pt x="55" y="290"/>
                        <a:pt x="55" y="290"/>
                      </a:cubicBezTo>
                      <a:cubicBezTo>
                        <a:pt x="55" y="289"/>
                        <a:pt x="55" y="289"/>
                        <a:pt x="55" y="289"/>
                      </a:cubicBezTo>
                      <a:cubicBezTo>
                        <a:pt x="57" y="290"/>
                        <a:pt x="57" y="290"/>
                        <a:pt x="57" y="290"/>
                      </a:cubicBezTo>
                      <a:cubicBezTo>
                        <a:pt x="67" y="296"/>
                        <a:pt x="67" y="296"/>
                        <a:pt x="67" y="296"/>
                      </a:cubicBezTo>
                      <a:cubicBezTo>
                        <a:pt x="74" y="300"/>
                        <a:pt x="74" y="300"/>
                        <a:pt x="74" y="300"/>
                      </a:cubicBezTo>
                      <a:cubicBezTo>
                        <a:pt x="75" y="302"/>
                        <a:pt x="75" y="302"/>
                        <a:pt x="75" y="302"/>
                      </a:cubicBezTo>
                      <a:cubicBezTo>
                        <a:pt x="77" y="303"/>
                        <a:pt x="77" y="303"/>
                        <a:pt x="77" y="303"/>
                      </a:cubicBezTo>
                      <a:cubicBezTo>
                        <a:pt x="79" y="306"/>
                        <a:pt x="79" y="306"/>
                        <a:pt x="79" y="306"/>
                      </a:cubicBezTo>
                      <a:cubicBezTo>
                        <a:pt x="81" y="306"/>
                        <a:pt x="81" y="306"/>
                        <a:pt x="81" y="306"/>
                      </a:cubicBezTo>
                      <a:cubicBezTo>
                        <a:pt x="80" y="305"/>
                        <a:pt x="80" y="305"/>
                        <a:pt x="80" y="305"/>
                      </a:cubicBezTo>
                      <a:cubicBezTo>
                        <a:pt x="80" y="304"/>
                        <a:pt x="80" y="304"/>
                        <a:pt x="80" y="304"/>
                      </a:cubicBezTo>
                      <a:cubicBezTo>
                        <a:pt x="81" y="304"/>
                        <a:pt x="81" y="304"/>
                        <a:pt x="81" y="304"/>
                      </a:cubicBezTo>
                      <a:cubicBezTo>
                        <a:pt x="84" y="307"/>
                        <a:pt x="84" y="307"/>
                        <a:pt x="84" y="307"/>
                      </a:cubicBezTo>
                      <a:cubicBezTo>
                        <a:pt x="86" y="307"/>
                        <a:pt x="86" y="307"/>
                        <a:pt x="86" y="307"/>
                      </a:cubicBezTo>
                      <a:cubicBezTo>
                        <a:pt x="88" y="309"/>
                        <a:pt x="88" y="309"/>
                        <a:pt x="88" y="309"/>
                      </a:cubicBezTo>
                      <a:cubicBezTo>
                        <a:pt x="89" y="309"/>
                        <a:pt x="89" y="309"/>
                        <a:pt x="89" y="309"/>
                      </a:cubicBezTo>
                      <a:cubicBezTo>
                        <a:pt x="88" y="307"/>
                        <a:pt x="88" y="307"/>
                        <a:pt x="88" y="307"/>
                      </a:cubicBezTo>
                      <a:cubicBezTo>
                        <a:pt x="88" y="306"/>
                        <a:pt x="88" y="306"/>
                        <a:pt x="88" y="306"/>
                      </a:cubicBezTo>
                      <a:cubicBezTo>
                        <a:pt x="89" y="306"/>
                        <a:pt x="89" y="306"/>
                        <a:pt x="89" y="306"/>
                      </a:cubicBezTo>
                      <a:cubicBezTo>
                        <a:pt x="91" y="308"/>
                        <a:pt x="91" y="308"/>
                        <a:pt x="91" y="308"/>
                      </a:cubicBezTo>
                      <a:cubicBezTo>
                        <a:pt x="90" y="310"/>
                        <a:pt x="90" y="310"/>
                        <a:pt x="90" y="310"/>
                      </a:cubicBezTo>
                      <a:cubicBezTo>
                        <a:pt x="94" y="312"/>
                        <a:pt x="94" y="312"/>
                        <a:pt x="94" y="312"/>
                      </a:cubicBezTo>
                      <a:cubicBezTo>
                        <a:pt x="94" y="314"/>
                        <a:pt x="94" y="314"/>
                        <a:pt x="94" y="314"/>
                      </a:cubicBezTo>
                      <a:cubicBezTo>
                        <a:pt x="96" y="315"/>
                        <a:pt x="96" y="315"/>
                        <a:pt x="96" y="315"/>
                      </a:cubicBezTo>
                      <a:cubicBezTo>
                        <a:pt x="97" y="314"/>
                        <a:pt x="97" y="314"/>
                        <a:pt x="97" y="314"/>
                      </a:cubicBezTo>
                      <a:cubicBezTo>
                        <a:pt x="98" y="314"/>
                        <a:pt x="98" y="314"/>
                        <a:pt x="98" y="314"/>
                      </a:cubicBezTo>
                      <a:cubicBezTo>
                        <a:pt x="100" y="316"/>
                        <a:pt x="100" y="316"/>
                        <a:pt x="100" y="316"/>
                      </a:cubicBezTo>
                      <a:cubicBezTo>
                        <a:pt x="101" y="319"/>
                        <a:pt x="101" y="319"/>
                        <a:pt x="101" y="319"/>
                      </a:cubicBezTo>
                      <a:cubicBezTo>
                        <a:pt x="102" y="320"/>
                        <a:pt x="102" y="320"/>
                        <a:pt x="102" y="320"/>
                      </a:cubicBezTo>
                      <a:cubicBezTo>
                        <a:pt x="104" y="322"/>
                        <a:pt x="104" y="322"/>
                        <a:pt x="104" y="322"/>
                      </a:cubicBezTo>
                      <a:cubicBezTo>
                        <a:pt x="105" y="322"/>
                        <a:pt x="105" y="322"/>
                        <a:pt x="105" y="322"/>
                      </a:cubicBezTo>
                      <a:cubicBezTo>
                        <a:pt x="105" y="323"/>
                        <a:pt x="105" y="323"/>
                        <a:pt x="105" y="323"/>
                      </a:cubicBezTo>
                      <a:cubicBezTo>
                        <a:pt x="105" y="325"/>
                        <a:pt x="105" y="325"/>
                        <a:pt x="105" y="325"/>
                      </a:cubicBezTo>
                      <a:cubicBezTo>
                        <a:pt x="105" y="327"/>
                        <a:pt x="105" y="327"/>
                        <a:pt x="105" y="327"/>
                      </a:cubicBezTo>
                      <a:cubicBezTo>
                        <a:pt x="105" y="330"/>
                        <a:pt x="105" y="330"/>
                        <a:pt x="105" y="330"/>
                      </a:cubicBezTo>
                      <a:cubicBezTo>
                        <a:pt x="104" y="332"/>
                        <a:pt x="104" y="332"/>
                        <a:pt x="104" y="332"/>
                      </a:cubicBezTo>
                      <a:cubicBezTo>
                        <a:pt x="104" y="333"/>
                        <a:pt x="104" y="333"/>
                        <a:pt x="104" y="333"/>
                      </a:cubicBezTo>
                      <a:cubicBezTo>
                        <a:pt x="102" y="336"/>
                        <a:pt x="102" y="336"/>
                        <a:pt x="102" y="336"/>
                      </a:cubicBezTo>
                      <a:cubicBezTo>
                        <a:pt x="102" y="337"/>
                        <a:pt x="102" y="337"/>
                        <a:pt x="102" y="337"/>
                      </a:cubicBezTo>
                      <a:cubicBezTo>
                        <a:pt x="98" y="342"/>
                        <a:pt x="98" y="342"/>
                        <a:pt x="98" y="342"/>
                      </a:cubicBezTo>
                      <a:cubicBezTo>
                        <a:pt x="96" y="344"/>
                        <a:pt x="96" y="344"/>
                        <a:pt x="96" y="344"/>
                      </a:cubicBezTo>
                      <a:cubicBezTo>
                        <a:pt x="92" y="344"/>
                        <a:pt x="92" y="344"/>
                        <a:pt x="92" y="344"/>
                      </a:cubicBezTo>
                      <a:cubicBezTo>
                        <a:pt x="91" y="345"/>
                        <a:pt x="91" y="345"/>
                        <a:pt x="91" y="345"/>
                      </a:cubicBezTo>
                      <a:cubicBezTo>
                        <a:pt x="88" y="345"/>
                        <a:pt x="88" y="345"/>
                        <a:pt x="88" y="345"/>
                      </a:cubicBezTo>
                      <a:cubicBezTo>
                        <a:pt x="88" y="346"/>
                        <a:pt x="88" y="346"/>
                        <a:pt x="88" y="346"/>
                      </a:cubicBezTo>
                      <a:cubicBezTo>
                        <a:pt x="83" y="347"/>
                        <a:pt x="83" y="347"/>
                        <a:pt x="83" y="347"/>
                      </a:cubicBezTo>
                      <a:cubicBezTo>
                        <a:pt x="78" y="346"/>
                        <a:pt x="78" y="346"/>
                        <a:pt x="78" y="346"/>
                      </a:cubicBezTo>
                      <a:cubicBezTo>
                        <a:pt x="74" y="346"/>
                        <a:pt x="74" y="346"/>
                        <a:pt x="74" y="346"/>
                      </a:cubicBezTo>
                      <a:cubicBezTo>
                        <a:pt x="72" y="344"/>
                        <a:pt x="72" y="344"/>
                        <a:pt x="72" y="344"/>
                      </a:cubicBezTo>
                      <a:cubicBezTo>
                        <a:pt x="71" y="345"/>
                        <a:pt x="71" y="345"/>
                        <a:pt x="71" y="345"/>
                      </a:cubicBezTo>
                      <a:cubicBezTo>
                        <a:pt x="69" y="344"/>
                        <a:pt x="69" y="344"/>
                        <a:pt x="69" y="344"/>
                      </a:cubicBezTo>
                      <a:cubicBezTo>
                        <a:pt x="66" y="344"/>
                        <a:pt x="66" y="344"/>
                        <a:pt x="66" y="344"/>
                      </a:cubicBezTo>
                      <a:cubicBezTo>
                        <a:pt x="66" y="343"/>
                        <a:pt x="66" y="343"/>
                        <a:pt x="66" y="343"/>
                      </a:cubicBezTo>
                      <a:cubicBezTo>
                        <a:pt x="64" y="343"/>
                        <a:pt x="64" y="343"/>
                        <a:pt x="64" y="343"/>
                      </a:cubicBezTo>
                      <a:cubicBezTo>
                        <a:pt x="63" y="344"/>
                        <a:pt x="63" y="344"/>
                        <a:pt x="63" y="344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cubicBezTo>
                        <a:pt x="61" y="340"/>
                        <a:pt x="61" y="340"/>
                        <a:pt x="61" y="340"/>
                      </a:cubicBezTo>
                      <a:cubicBezTo>
                        <a:pt x="59" y="341"/>
                        <a:pt x="59" y="341"/>
                        <a:pt x="59" y="341"/>
                      </a:cubicBezTo>
                      <a:cubicBezTo>
                        <a:pt x="57" y="340"/>
                        <a:pt x="57" y="340"/>
                        <a:pt x="57" y="340"/>
                      </a:cubicBezTo>
                      <a:cubicBezTo>
                        <a:pt x="58" y="340"/>
                        <a:pt x="58" y="340"/>
                        <a:pt x="58" y="340"/>
                      </a:cubicBezTo>
                      <a:cubicBezTo>
                        <a:pt x="55" y="340"/>
                        <a:pt x="55" y="340"/>
                        <a:pt x="55" y="340"/>
                      </a:cubicBezTo>
                      <a:cubicBezTo>
                        <a:pt x="54" y="341"/>
                        <a:pt x="54" y="341"/>
                        <a:pt x="54" y="341"/>
                      </a:cubicBezTo>
                      <a:cubicBezTo>
                        <a:pt x="52" y="341"/>
                        <a:pt x="52" y="341"/>
                        <a:pt x="52" y="341"/>
                      </a:cubicBezTo>
                      <a:cubicBezTo>
                        <a:pt x="52" y="340"/>
                        <a:pt x="52" y="340"/>
                        <a:pt x="52" y="340"/>
                      </a:cubicBezTo>
                      <a:cubicBezTo>
                        <a:pt x="51" y="339"/>
                        <a:pt x="51" y="339"/>
                        <a:pt x="51" y="339"/>
                      </a:cubicBezTo>
                      <a:cubicBezTo>
                        <a:pt x="52" y="338"/>
                        <a:pt x="52" y="338"/>
                        <a:pt x="52" y="338"/>
                      </a:cubicBezTo>
                      <a:cubicBezTo>
                        <a:pt x="51" y="337"/>
                        <a:pt x="51" y="337"/>
                        <a:pt x="51" y="337"/>
                      </a:cubicBezTo>
                      <a:cubicBezTo>
                        <a:pt x="51" y="338"/>
                        <a:pt x="51" y="338"/>
                        <a:pt x="51" y="338"/>
                      </a:cubicBezTo>
                      <a:cubicBezTo>
                        <a:pt x="48" y="338"/>
                        <a:pt x="48" y="338"/>
                        <a:pt x="48" y="338"/>
                      </a:cubicBezTo>
                      <a:cubicBezTo>
                        <a:pt x="46" y="336"/>
                        <a:pt x="46" y="336"/>
                        <a:pt x="46" y="336"/>
                      </a:cubicBezTo>
                      <a:cubicBezTo>
                        <a:pt x="45" y="337"/>
                        <a:pt x="45" y="337"/>
                        <a:pt x="45" y="337"/>
                      </a:cubicBezTo>
                      <a:cubicBezTo>
                        <a:pt x="44" y="337"/>
                        <a:pt x="44" y="337"/>
                        <a:pt x="44" y="337"/>
                      </a:cubicBezTo>
                      <a:cubicBezTo>
                        <a:pt x="40" y="333"/>
                        <a:pt x="40" y="333"/>
                        <a:pt x="40" y="333"/>
                      </a:cubicBezTo>
                      <a:cubicBezTo>
                        <a:pt x="39" y="331"/>
                        <a:pt x="39" y="331"/>
                        <a:pt x="39" y="331"/>
                      </a:cubicBezTo>
                      <a:cubicBezTo>
                        <a:pt x="37" y="331"/>
                        <a:pt x="37" y="331"/>
                        <a:pt x="37" y="331"/>
                      </a:cubicBezTo>
                      <a:cubicBezTo>
                        <a:pt x="36" y="331"/>
                        <a:pt x="36" y="331"/>
                        <a:pt x="36" y="331"/>
                      </a:cubicBezTo>
                      <a:cubicBezTo>
                        <a:pt x="35" y="331"/>
                        <a:pt x="35" y="331"/>
                        <a:pt x="35" y="331"/>
                      </a:cubicBezTo>
                      <a:cubicBezTo>
                        <a:pt x="34" y="331"/>
                        <a:pt x="34" y="331"/>
                        <a:pt x="34" y="331"/>
                      </a:cubicBezTo>
                      <a:cubicBezTo>
                        <a:pt x="36" y="333"/>
                        <a:pt x="36" y="333"/>
                        <a:pt x="36" y="333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9" y="337"/>
                        <a:pt x="39" y="337"/>
                        <a:pt x="39" y="337"/>
                      </a:cubicBezTo>
                      <a:cubicBezTo>
                        <a:pt x="40" y="338"/>
                        <a:pt x="40" y="338"/>
                        <a:pt x="40" y="338"/>
                      </a:cubicBezTo>
                      <a:cubicBezTo>
                        <a:pt x="42" y="339"/>
                        <a:pt x="42" y="339"/>
                        <a:pt x="42" y="339"/>
                      </a:cubicBezTo>
                      <a:cubicBezTo>
                        <a:pt x="43" y="340"/>
                        <a:pt x="43" y="340"/>
                        <a:pt x="43" y="340"/>
                      </a:cubicBezTo>
                      <a:cubicBezTo>
                        <a:pt x="41" y="341"/>
                        <a:pt x="41" y="341"/>
                        <a:pt x="41" y="341"/>
                      </a:cubicBezTo>
                      <a:cubicBezTo>
                        <a:pt x="40" y="342"/>
                        <a:pt x="40" y="342"/>
                        <a:pt x="40" y="342"/>
                      </a:cubicBezTo>
                      <a:cubicBezTo>
                        <a:pt x="41" y="343"/>
                        <a:pt x="41" y="343"/>
                        <a:pt x="41" y="343"/>
                      </a:cubicBezTo>
                      <a:cubicBezTo>
                        <a:pt x="44" y="342"/>
                        <a:pt x="44" y="342"/>
                        <a:pt x="44" y="342"/>
                      </a:cubicBezTo>
                      <a:cubicBezTo>
                        <a:pt x="45" y="341"/>
                        <a:pt x="45" y="341"/>
                        <a:pt x="45" y="341"/>
                      </a:cubicBezTo>
                      <a:cubicBezTo>
                        <a:pt x="46" y="342"/>
                        <a:pt x="46" y="342"/>
                        <a:pt x="46" y="342"/>
                      </a:cubicBezTo>
                      <a:cubicBezTo>
                        <a:pt x="45" y="342"/>
                        <a:pt x="45" y="342"/>
                        <a:pt x="45" y="342"/>
                      </a:cubicBezTo>
                      <a:cubicBezTo>
                        <a:pt x="45" y="343"/>
                        <a:pt x="45" y="343"/>
                        <a:pt x="45" y="343"/>
                      </a:cubicBezTo>
                      <a:cubicBezTo>
                        <a:pt x="47" y="343"/>
                        <a:pt x="47" y="343"/>
                        <a:pt x="47" y="343"/>
                      </a:cubicBezTo>
                      <a:cubicBezTo>
                        <a:pt x="47" y="345"/>
                        <a:pt x="47" y="345"/>
                        <a:pt x="47" y="345"/>
                      </a:cubicBezTo>
                      <a:cubicBezTo>
                        <a:pt x="45" y="345"/>
                        <a:pt x="45" y="345"/>
                        <a:pt x="45" y="345"/>
                      </a:cubicBezTo>
                      <a:cubicBezTo>
                        <a:pt x="44" y="346"/>
                        <a:pt x="44" y="346"/>
                        <a:pt x="44" y="346"/>
                      </a:cubicBezTo>
                      <a:cubicBezTo>
                        <a:pt x="46" y="346"/>
                        <a:pt x="46" y="346"/>
                        <a:pt x="46" y="346"/>
                      </a:cubicBezTo>
                      <a:cubicBezTo>
                        <a:pt x="47" y="346"/>
                        <a:pt x="47" y="346"/>
                        <a:pt x="47" y="346"/>
                      </a:cubicBezTo>
                      <a:cubicBezTo>
                        <a:pt x="49" y="346"/>
                        <a:pt x="49" y="346"/>
                        <a:pt x="49" y="346"/>
                      </a:cubicBezTo>
                      <a:cubicBezTo>
                        <a:pt x="50" y="347"/>
                        <a:pt x="50" y="347"/>
                        <a:pt x="50" y="347"/>
                      </a:cubicBezTo>
                      <a:cubicBezTo>
                        <a:pt x="51" y="346"/>
                        <a:pt x="51" y="346"/>
                        <a:pt x="51" y="346"/>
                      </a:cubicBezTo>
                      <a:cubicBezTo>
                        <a:pt x="55" y="348"/>
                        <a:pt x="55" y="348"/>
                        <a:pt x="55" y="348"/>
                      </a:cubicBezTo>
                      <a:cubicBezTo>
                        <a:pt x="57" y="351"/>
                        <a:pt x="57" y="351"/>
                        <a:pt x="57" y="351"/>
                      </a:cubicBezTo>
                      <a:cubicBezTo>
                        <a:pt x="58" y="351"/>
                        <a:pt x="58" y="351"/>
                        <a:pt x="58" y="351"/>
                      </a:cubicBezTo>
                      <a:cubicBezTo>
                        <a:pt x="58" y="352"/>
                        <a:pt x="58" y="352"/>
                        <a:pt x="58" y="352"/>
                      </a:cubicBezTo>
                      <a:cubicBezTo>
                        <a:pt x="57" y="354"/>
                        <a:pt x="57" y="354"/>
                        <a:pt x="57" y="354"/>
                      </a:cubicBezTo>
                      <a:cubicBezTo>
                        <a:pt x="58" y="354"/>
                        <a:pt x="58" y="354"/>
                        <a:pt x="58" y="35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cubicBezTo>
                        <a:pt x="58" y="359"/>
                        <a:pt x="58" y="359"/>
                        <a:pt x="58" y="359"/>
                      </a:cubicBezTo>
                      <a:cubicBezTo>
                        <a:pt x="56" y="360"/>
                        <a:pt x="56" y="360"/>
                        <a:pt x="56" y="360"/>
                      </a:cubicBezTo>
                      <a:cubicBezTo>
                        <a:pt x="56" y="361"/>
                        <a:pt x="56" y="361"/>
                        <a:pt x="56" y="361"/>
                      </a:cubicBezTo>
                      <a:cubicBezTo>
                        <a:pt x="58" y="362"/>
                        <a:pt x="58" y="362"/>
                        <a:pt x="58" y="362"/>
                      </a:cubicBezTo>
                      <a:cubicBezTo>
                        <a:pt x="58" y="364"/>
                        <a:pt x="58" y="364"/>
                        <a:pt x="58" y="364"/>
                      </a:cubicBezTo>
                      <a:cubicBezTo>
                        <a:pt x="60" y="367"/>
                        <a:pt x="60" y="367"/>
                        <a:pt x="60" y="367"/>
                      </a:cubicBezTo>
                      <a:cubicBezTo>
                        <a:pt x="60" y="368"/>
                        <a:pt x="60" y="368"/>
                        <a:pt x="60" y="368"/>
                      </a:cubicBezTo>
                      <a:cubicBezTo>
                        <a:pt x="62" y="370"/>
                        <a:pt x="62" y="370"/>
                        <a:pt x="62" y="370"/>
                      </a:cubicBezTo>
                      <a:cubicBezTo>
                        <a:pt x="62" y="371"/>
                        <a:pt x="62" y="371"/>
                        <a:pt x="62" y="371"/>
                      </a:cubicBezTo>
                      <a:cubicBezTo>
                        <a:pt x="63" y="374"/>
                        <a:pt x="63" y="374"/>
                        <a:pt x="63" y="374"/>
                      </a:cubicBezTo>
                      <a:cubicBezTo>
                        <a:pt x="62" y="375"/>
                        <a:pt x="62" y="375"/>
                        <a:pt x="62" y="375"/>
                      </a:cubicBezTo>
                      <a:cubicBezTo>
                        <a:pt x="63" y="376"/>
                        <a:pt x="63" y="376"/>
                        <a:pt x="63" y="376"/>
                      </a:cubicBezTo>
                      <a:cubicBezTo>
                        <a:pt x="64" y="378"/>
                        <a:pt x="64" y="378"/>
                        <a:pt x="64" y="378"/>
                      </a:cubicBezTo>
                      <a:cubicBezTo>
                        <a:pt x="67" y="379"/>
                        <a:pt x="67" y="379"/>
                        <a:pt x="67" y="379"/>
                      </a:cubicBezTo>
                      <a:cubicBezTo>
                        <a:pt x="69" y="378"/>
                        <a:pt x="69" y="378"/>
                        <a:pt x="69" y="378"/>
                      </a:cubicBezTo>
                      <a:cubicBezTo>
                        <a:pt x="70" y="378"/>
                        <a:pt x="70" y="378"/>
                        <a:pt x="70" y="378"/>
                      </a:cubicBezTo>
                      <a:cubicBezTo>
                        <a:pt x="71" y="380"/>
                        <a:pt x="71" y="380"/>
                        <a:pt x="71" y="380"/>
                      </a:cubicBezTo>
                      <a:cubicBezTo>
                        <a:pt x="73" y="381"/>
                        <a:pt x="73" y="381"/>
                        <a:pt x="73" y="381"/>
                      </a:cubicBezTo>
                      <a:cubicBezTo>
                        <a:pt x="73" y="383"/>
                        <a:pt x="73" y="383"/>
                        <a:pt x="73" y="383"/>
                      </a:cubicBezTo>
                      <a:cubicBezTo>
                        <a:pt x="74" y="384"/>
                        <a:pt x="74" y="384"/>
                        <a:pt x="74" y="384"/>
                      </a:cubicBezTo>
                      <a:cubicBezTo>
                        <a:pt x="77" y="384"/>
                        <a:pt x="77" y="384"/>
                        <a:pt x="77" y="384"/>
                      </a:cubicBezTo>
                      <a:cubicBezTo>
                        <a:pt x="78" y="385"/>
                        <a:pt x="78" y="385"/>
                        <a:pt x="78" y="385"/>
                      </a:cubicBezTo>
                      <a:cubicBezTo>
                        <a:pt x="81" y="385"/>
                        <a:pt x="81" y="385"/>
                        <a:pt x="81" y="385"/>
                      </a:cubicBezTo>
                      <a:cubicBezTo>
                        <a:pt x="83" y="387"/>
                        <a:pt x="83" y="387"/>
                        <a:pt x="83" y="387"/>
                      </a:cubicBezTo>
                      <a:cubicBezTo>
                        <a:pt x="84" y="387"/>
                        <a:pt x="84" y="387"/>
                        <a:pt x="84" y="387"/>
                      </a:cubicBezTo>
                      <a:cubicBezTo>
                        <a:pt x="86" y="385"/>
                        <a:pt x="86" y="385"/>
                        <a:pt x="86" y="385"/>
                      </a:cubicBezTo>
                      <a:cubicBezTo>
                        <a:pt x="88" y="385"/>
                        <a:pt x="88" y="385"/>
                        <a:pt x="88" y="385"/>
                      </a:cubicBezTo>
                      <a:cubicBezTo>
                        <a:pt x="89" y="384"/>
                        <a:pt x="89" y="384"/>
                        <a:pt x="89" y="384"/>
                      </a:cubicBezTo>
                      <a:cubicBezTo>
                        <a:pt x="89" y="381"/>
                        <a:pt x="89" y="381"/>
                        <a:pt x="89" y="381"/>
                      </a:cubicBezTo>
                      <a:cubicBezTo>
                        <a:pt x="87" y="380"/>
                        <a:pt x="87" y="380"/>
                        <a:pt x="87" y="380"/>
                      </a:cubicBezTo>
                      <a:cubicBezTo>
                        <a:pt x="88" y="379"/>
                        <a:pt x="88" y="379"/>
                        <a:pt x="88" y="379"/>
                      </a:cubicBezTo>
                      <a:cubicBezTo>
                        <a:pt x="88" y="378"/>
                        <a:pt x="88" y="378"/>
                        <a:pt x="88" y="378"/>
                      </a:cubicBezTo>
                      <a:cubicBezTo>
                        <a:pt x="86" y="377"/>
                        <a:pt x="86" y="377"/>
                        <a:pt x="86" y="377"/>
                      </a:cubicBezTo>
                      <a:cubicBezTo>
                        <a:pt x="86" y="375"/>
                        <a:pt x="86" y="375"/>
                        <a:pt x="86" y="375"/>
                      </a:cubicBezTo>
                      <a:cubicBezTo>
                        <a:pt x="84" y="377"/>
                        <a:pt x="84" y="377"/>
                        <a:pt x="84" y="377"/>
                      </a:cubicBezTo>
                      <a:cubicBezTo>
                        <a:pt x="83" y="377"/>
                        <a:pt x="83" y="377"/>
                        <a:pt x="83" y="377"/>
                      </a:cubicBezTo>
                      <a:cubicBezTo>
                        <a:pt x="81" y="377"/>
                        <a:pt x="81" y="377"/>
                        <a:pt x="81" y="377"/>
                      </a:cubicBezTo>
                      <a:cubicBezTo>
                        <a:pt x="79" y="376"/>
                        <a:pt x="79" y="376"/>
                        <a:pt x="79" y="376"/>
                      </a:cubicBezTo>
                      <a:cubicBezTo>
                        <a:pt x="77" y="374"/>
                        <a:pt x="77" y="374"/>
                        <a:pt x="77" y="374"/>
                      </a:cubicBezTo>
                      <a:cubicBezTo>
                        <a:pt x="75" y="373"/>
                        <a:pt x="75" y="373"/>
                        <a:pt x="75" y="373"/>
                      </a:cubicBezTo>
                      <a:cubicBezTo>
                        <a:pt x="74" y="370"/>
                        <a:pt x="74" y="370"/>
                        <a:pt x="74" y="370"/>
                      </a:cubicBezTo>
                      <a:cubicBezTo>
                        <a:pt x="73" y="368"/>
                        <a:pt x="73" y="368"/>
                        <a:pt x="73" y="368"/>
                      </a:cubicBezTo>
                      <a:cubicBezTo>
                        <a:pt x="75" y="368"/>
                        <a:pt x="75" y="368"/>
                        <a:pt x="75" y="368"/>
                      </a:cubicBezTo>
                      <a:cubicBezTo>
                        <a:pt x="76" y="367"/>
                        <a:pt x="76" y="367"/>
                        <a:pt x="76" y="367"/>
                      </a:cubicBezTo>
                      <a:cubicBezTo>
                        <a:pt x="75" y="365"/>
                        <a:pt x="75" y="365"/>
                        <a:pt x="75" y="365"/>
                      </a:cubicBezTo>
                      <a:cubicBezTo>
                        <a:pt x="76" y="364"/>
                        <a:pt x="76" y="364"/>
                        <a:pt x="76" y="364"/>
                      </a:cubicBezTo>
                      <a:cubicBezTo>
                        <a:pt x="75" y="363"/>
                        <a:pt x="75" y="363"/>
                        <a:pt x="75" y="363"/>
                      </a:cubicBezTo>
                      <a:cubicBezTo>
                        <a:pt x="75" y="362"/>
                        <a:pt x="75" y="362"/>
                        <a:pt x="75" y="362"/>
                      </a:cubicBezTo>
                      <a:cubicBezTo>
                        <a:pt x="78" y="362"/>
                        <a:pt x="78" y="362"/>
                        <a:pt x="78" y="362"/>
                      </a:cubicBezTo>
                      <a:cubicBezTo>
                        <a:pt x="80" y="363"/>
                        <a:pt x="80" y="363"/>
                        <a:pt x="80" y="363"/>
                      </a:cubicBezTo>
                      <a:cubicBezTo>
                        <a:pt x="83" y="364"/>
                        <a:pt x="83" y="364"/>
                        <a:pt x="83" y="364"/>
                      </a:cubicBezTo>
                      <a:cubicBezTo>
                        <a:pt x="84" y="366"/>
                        <a:pt x="84" y="366"/>
                        <a:pt x="84" y="366"/>
                      </a:cubicBezTo>
                      <a:cubicBezTo>
                        <a:pt x="86" y="367"/>
                        <a:pt x="86" y="367"/>
                        <a:pt x="86" y="367"/>
                      </a:cubicBezTo>
                      <a:cubicBezTo>
                        <a:pt x="89" y="368"/>
                        <a:pt x="89" y="368"/>
                        <a:pt x="89" y="368"/>
                      </a:cubicBezTo>
                      <a:cubicBezTo>
                        <a:pt x="90" y="369"/>
                        <a:pt x="90" y="369"/>
                        <a:pt x="90" y="369"/>
                      </a:cubicBezTo>
                      <a:cubicBezTo>
                        <a:pt x="92" y="369"/>
                        <a:pt x="92" y="369"/>
                        <a:pt x="92" y="369"/>
                      </a:cubicBezTo>
                      <a:cubicBezTo>
                        <a:pt x="98" y="372"/>
                        <a:pt x="98" y="372"/>
                        <a:pt x="98" y="372"/>
                      </a:cubicBezTo>
                      <a:cubicBezTo>
                        <a:pt x="100" y="375"/>
                        <a:pt x="100" y="375"/>
                        <a:pt x="100" y="375"/>
                      </a:cubicBezTo>
                      <a:cubicBezTo>
                        <a:pt x="101" y="373"/>
                        <a:pt x="101" y="373"/>
                        <a:pt x="101" y="373"/>
                      </a:cubicBezTo>
                      <a:cubicBezTo>
                        <a:pt x="103" y="371"/>
                        <a:pt x="103" y="371"/>
                        <a:pt x="103" y="371"/>
                      </a:cubicBezTo>
                      <a:cubicBezTo>
                        <a:pt x="103" y="369"/>
                        <a:pt x="103" y="369"/>
                        <a:pt x="103" y="369"/>
                      </a:cubicBezTo>
                      <a:cubicBezTo>
                        <a:pt x="105" y="369"/>
                        <a:pt x="105" y="369"/>
                        <a:pt x="105" y="369"/>
                      </a:cubicBezTo>
                      <a:cubicBezTo>
                        <a:pt x="106" y="368"/>
                        <a:pt x="106" y="368"/>
                        <a:pt x="106" y="368"/>
                      </a:cubicBezTo>
                      <a:cubicBezTo>
                        <a:pt x="103" y="364"/>
                        <a:pt x="103" y="364"/>
                        <a:pt x="103" y="364"/>
                      </a:cubicBezTo>
                      <a:cubicBezTo>
                        <a:pt x="99" y="359"/>
                        <a:pt x="99" y="359"/>
                        <a:pt x="99" y="359"/>
                      </a:cubicBezTo>
                      <a:cubicBezTo>
                        <a:pt x="98" y="356"/>
                        <a:pt x="98" y="356"/>
                        <a:pt x="98" y="356"/>
                      </a:cubicBezTo>
                      <a:cubicBezTo>
                        <a:pt x="98" y="355"/>
                        <a:pt x="98" y="355"/>
                        <a:pt x="98" y="355"/>
                      </a:cubicBezTo>
                      <a:cubicBezTo>
                        <a:pt x="101" y="352"/>
                        <a:pt x="101" y="352"/>
                        <a:pt x="101" y="352"/>
                      </a:cubicBezTo>
                      <a:cubicBezTo>
                        <a:pt x="103" y="349"/>
                        <a:pt x="103" y="349"/>
                        <a:pt x="103" y="349"/>
                      </a:cubicBezTo>
                      <a:cubicBezTo>
                        <a:pt x="104" y="347"/>
                        <a:pt x="104" y="347"/>
                        <a:pt x="104" y="347"/>
                      </a:cubicBezTo>
                      <a:cubicBezTo>
                        <a:pt x="105" y="345"/>
                        <a:pt x="105" y="345"/>
                        <a:pt x="105" y="345"/>
                      </a:cubicBezTo>
                      <a:cubicBezTo>
                        <a:pt x="108" y="345"/>
                        <a:pt x="108" y="345"/>
                        <a:pt x="108" y="345"/>
                      </a:cubicBezTo>
                      <a:cubicBezTo>
                        <a:pt x="111" y="342"/>
                        <a:pt x="111" y="342"/>
                        <a:pt x="111" y="342"/>
                      </a:cubicBezTo>
                      <a:cubicBezTo>
                        <a:pt x="113" y="337"/>
                        <a:pt x="113" y="337"/>
                        <a:pt x="113" y="337"/>
                      </a:cubicBezTo>
                      <a:cubicBezTo>
                        <a:pt x="114" y="336"/>
                        <a:pt x="114" y="336"/>
                        <a:pt x="114" y="336"/>
                      </a:cubicBezTo>
                      <a:cubicBezTo>
                        <a:pt x="117" y="337"/>
                        <a:pt x="117" y="337"/>
                        <a:pt x="117" y="337"/>
                      </a:cubicBezTo>
                      <a:cubicBezTo>
                        <a:pt x="119" y="338"/>
                        <a:pt x="119" y="338"/>
                        <a:pt x="119" y="338"/>
                      </a:cubicBezTo>
                      <a:cubicBezTo>
                        <a:pt x="121" y="338"/>
                        <a:pt x="121" y="338"/>
                        <a:pt x="121" y="338"/>
                      </a:cubicBezTo>
                      <a:cubicBezTo>
                        <a:pt x="124" y="338"/>
                        <a:pt x="124" y="338"/>
                        <a:pt x="124" y="338"/>
                      </a:cubicBezTo>
                      <a:cubicBezTo>
                        <a:pt x="125" y="340"/>
                        <a:pt x="125" y="340"/>
                        <a:pt x="125" y="340"/>
                      </a:cubicBezTo>
                      <a:cubicBezTo>
                        <a:pt x="125" y="342"/>
                        <a:pt x="125" y="342"/>
                        <a:pt x="125" y="342"/>
                      </a:cubicBezTo>
                      <a:cubicBezTo>
                        <a:pt x="128" y="340"/>
                        <a:pt x="128" y="340"/>
                        <a:pt x="128" y="340"/>
                      </a:cubicBezTo>
                      <a:cubicBezTo>
                        <a:pt x="130" y="341"/>
                        <a:pt x="130" y="341"/>
                        <a:pt x="130" y="341"/>
                      </a:cubicBezTo>
                      <a:cubicBezTo>
                        <a:pt x="131" y="344"/>
                        <a:pt x="131" y="344"/>
                        <a:pt x="131" y="344"/>
                      </a:cubicBezTo>
                      <a:cubicBezTo>
                        <a:pt x="132" y="345"/>
                        <a:pt x="132" y="345"/>
                        <a:pt x="132" y="345"/>
                      </a:cubicBezTo>
                      <a:cubicBezTo>
                        <a:pt x="132" y="341"/>
                        <a:pt x="132" y="341"/>
                        <a:pt x="132" y="341"/>
                      </a:cubicBezTo>
                      <a:cubicBezTo>
                        <a:pt x="130" y="339"/>
                        <a:pt x="130" y="339"/>
                        <a:pt x="130" y="339"/>
                      </a:cubicBezTo>
                      <a:cubicBezTo>
                        <a:pt x="131" y="338"/>
                        <a:pt x="131" y="338"/>
                        <a:pt x="131" y="338"/>
                      </a:cubicBezTo>
                      <a:cubicBezTo>
                        <a:pt x="131" y="333"/>
                        <a:pt x="131" y="333"/>
                        <a:pt x="131" y="333"/>
                      </a:cubicBezTo>
                      <a:cubicBezTo>
                        <a:pt x="132" y="332"/>
                        <a:pt x="132" y="332"/>
                        <a:pt x="132" y="332"/>
                      </a:cubicBezTo>
                      <a:cubicBezTo>
                        <a:pt x="131" y="331"/>
                        <a:pt x="131" y="331"/>
                        <a:pt x="131" y="331"/>
                      </a:cubicBezTo>
                      <a:cubicBezTo>
                        <a:pt x="131" y="330"/>
                        <a:pt x="131" y="330"/>
                        <a:pt x="131" y="330"/>
                      </a:cubicBezTo>
                      <a:cubicBezTo>
                        <a:pt x="131" y="329"/>
                        <a:pt x="131" y="329"/>
                        <a:pt x="131" y="329"/>
                      </a:cubicBezTo>
                      <a:cubicBezTo>
                        <a:pt x="131" y="328"/>
                        <a:pt x="131" y="328"/>
                        <a:pt x="131" y="328"/>
                      </a:cubicBezTo>
                      <a:cubicBezTo>
                        <a:pt x="131" y="327"/>
                        <a:pt x="131" y="327"/>
                        <a:pt x="131" y="327"/>
                      </a:cubicBezTo>
                      <a:cubicBezTo>
                        <a:pt x="130" y="325"/>
                        <a:pt x="130" y="325"/>
                        <a:pt x="130" y="325"/>
                      </a:cubicBezTo>
                      <a:cubicBezTo>
                        <a:pt x="128" y="324"/>
                        <a:pt x="128" y="324"/>
                        <a:pt x="128" y="324"/>
                      </a:cubicBezTo>
                      <a:cubicBezTo>
                        <a:pt x="125" y="324"/>
                        <a:pt x="125" y="324"/>
                        <a:pt x="125" y="324"/>
                      </a:cubicBezTo>
                      <a:cubicBezTo>
                        <a:pt x="124" y="321"/>
                        <a:pt x="124" y="321"/>
                        <a:pt x="124" y="321"/>
                      </a:cubicBezTo>
                      <a:cubicBezTo>
                        <a:pt x="125" y="319"/>
                        <a:pt x="125" y="319"/>
                        <a:pt x="125" y="319"/>
                      </a:cubicBezTo>
                      <a:cubicBezTo>
                        <a:pt x="125" y="314"/>
                        <a:pt x="125" y="314"/>
                        <a:pt x="125" y="314"/>
                      </a:cubicBezTo>
                      <a:cubicBezTo>
                        <a:pt x="125" y="314"/>
                        <a:pt x="125" y="314"/>
                        <a:pt x="125" y="314"/>
                      </a:cubicBezTo>
                      <a:cubicBezTo>
                        <a:pt x="125" y="312"/>
                        <a:pt x="125" y="312"/>
                        <a:pt x="125" y="312"/>
                      </a:cubicBezTo>
                      <a:cubicBezTo>
                        <a:pt x="125" y="311"/>
                        <a:pt x="125" y="311"/>
                        <a:pt x="125" y="311"/>
                      </a:cubicBezTo>
                      <a:cubicBezTo>
                        <a:pt x="126" y="310"/>
                        <a:pt x="126" y="310"/>
                        <a:pt x="126" y="310"/>
                      </a:cubicBezTo>
                      <a:cubicBezTo>
                        <a:pt x="125" y="309"/>
                        <a:pt x="125" y="309"/>
                        <a:pt x="125" y="309"/>
                      </a:cubicBezTo>
                      <a:cubicBezTo>
                        <a:pt x="125" y="306"/>
                        <a:pt x="125" y="306"/>
                        <a:pt x="125" y="306"/>
                      </a:cubicBezTo>
                      <a:cubicBezTo>
                        <a:pt x="123" y="302"/>
                        <a:pt x="123" y="302"/>
                        <a:pt x="123" y="302"/>
                      </a:cubicBezTo>
                      <a:cubicBezTo>
                        <a:pt x="121" y="300"/>
                        <a:pt x="121" y="300"/>
                        <a:pt x="121" y="300"/>
                      </a:cubicBezTo>
                      <a:cubicBezTo>
                        <a:pt x="116" y="296"/>
                        <a:pt x="116" y="296"/>
                        <a:pt x="116" y="296"/>
                      </a:cubicBezTo>
                      <a:cubicBezTo>
                        <a:pt x="116" y="295"/>
                        <a:pt x="116" y="295"/>
                        <a:pt x="116" y="295"/>
                      </a:cubicBezTo>
                      <a:cubicBezTo>
                        <a:pt x="118" y="295"/>
                        <a:pt x="118" y="295"/>
                        <a:pt x="118" y="295"/>
                      </a:cubicBezTo>
                      <a:cubicBezTo>
                        <a:pt x="122" y="298"/>
                        <a:pt x="122" y="298"/>
                        <a:pt x="122" y="298"/>
                      </a:cubicBezTo>
                      <a:cubicBezTo>
                        <a:pt x="124" y="298"/>
                        <a:pt x="124" y="298"/>
                        <a:pt x="124" y="298"/>
                      </a:cubicBezTo>
                      <a:cubicBezTo>
                        <a:pt x="126" y="297"/>
                        <a:pt x="126" y="297"/>
                        <a:pt x="126" y="297"/>
                      </a:cubicBezTo>
                      <a:cubicBezTo>
                        <a:pt x="129" y="297"/>
                        <a:pt x="129" y="297"/>
                        <a:pt x="129" y="297"/>
                      </a:cubicBezTo>
                      <a:cubicBezTo>
                        <a:pt x="135" y="297"/>
                        <a:pt x="135" y="297"/>
                        <a:pt x="135" y="297"/>
                      </a:cubicBezTo>
                      <a:cubicBezTo>
                        <a:pt x="137" y="299"/>
                        <a:pt x="137" y="299"/>
                        <a:pt x="137" y="299"/>
                      </a:cubicBezTo>
                      <a:cubicBezTo>
                        <a:pt x="137" y="300"/>
                        <a:pt x="137" y="300"/>
                        <a:pt x="137" y="300"/>
                      </a:cubicBezTo>
                      <a:cubicBezTo>
                        <a:pt x="139" y="303"/>
                        <a:pt x="139" y="303"/>
                        <a:pt x="139" y="303"/>
                      </a:cubicBezTo>
                      <a:cubicBezTo>
                        <a:pt x="141" y="303"/>
                        <a:pt x="141" y="303"/>
                        <a:pt x="141" y="303"/>
                      </a:cubicBezTo>
                      <a:cubicBezTo>
                        <a:pt x="141" y="305"/>
                        <a:pt x="141" y="305"/>
                        <a:pt x="141" y="305"/>
                      </a:cubicBezTo>
                      <a:cubicBezTo>
                        <a:pt x="144" y="308"/>
                        <a:pt x="144" y="308"/>
                        <a:pt x="144" y="308"/>
                      </a:cubicBezTo>
                      <a:cubicBezTo>
                        <a:pt x="144" y="310"/>
                        <a:pt x="144" y="310"/>
                        <a:pt x="144" y="310"/>
                      </a:cubicBezTo>
                      <a:cubicBezTo>
                        <a:pt x="140" y="310"/>
                        <a:pt x="140" y="310"/>
                        <a:pt x="140" y="310"/>
                      </a:cubicBezTo>
                      <a:cubicBezTo>
                        <a:pt x="140" y="311"/>
                        <a:pt x="140" y="311"/>
                        <a:pt x="140" y="311"/>
                      </a:cubicBezTo>
                      <a:cubicBezTo>
                        <a:pt x="137" y="311"/>
                        <a:pt x="137" y="311"/>
                        <a:pt x="137" y="311"/>
                      </a:cubicBezTo>
                      <a:cubicBezTo>
                        <a:pt x="136" y="312"/>
                        <a:pt x="136" y="312"/>
                        <a:pt x="136" y="312"/>
                      </a:cubicBezTo>
                      <a:cubicBezTo>
                        <a:pt x="136" y="313"/>
                        <a:pt x="136" y="313"/>
                        <a:pt x="136" y="313"/>
                      </a:cubicBezTo>
                      <a:cubicBezTo>
                        <a:pt x="135" y="315"/>
                        <a:pt x="135" y="315"/>
                        <a:pt x="135" y="315"/>
                      </a:cubicBezTo>
                      <a:cubicBezTo>
                        <a:pt x="134" y="314"/>
                        <a:pt x="134" y="314"/>
                        <a:pt x="134" y="314"/>
                      </a:cubicBezTo>
                      <a:cubicBezTo>
                        <a:pt x="134" y="315"/>
                        <a:pt x="134" y="315"/>
                        <a:pt x="134" y="315"/>
                      </a:cubicBezTo>
                      <a:cubicBezTo>
                        <a:pt x="133" y="318"/>
                        <a:pt x="133" y="318"/>
                        <a:pt x="133" y="318"/>
                      </a:cubicBezTo>
                      <a:cubicBezTo>
                        <a:pt x="135" y="319"/>
                        <a:pt x="135" y="319"/>
                        <a:pt x="135" y="319"/>
                      </a:cubicBezTo>
                      <a:cubicBezTo>
                        <a:pt x="139" y="322"/>
                        <a:pt x="139" y="322"/>
                        <a:pt x="139" y="322"/>
                      </a:cubicBezTo>
                      <a:cubicBezTo>
                        <a:pt x="143" y="328"/>
                        <a:pt x="143" y="328"/>
                        <a:pt x="143" y="328"/>
                      </a:cubicBezTo>
                      <a:cubicBezTo>
                        <a:pt x="144" y="328"/>
                        <a:pt x="144" y="328"/>
                        <a:pt x="144" y="328"/>
                      </a:cubicBezTo>
                      <a:cubicBezTo>
                        <a:pt x="147" y="326"/>
                        <a:pt x="147" y="326"/>
                        <a:pt x="147" y="326"/>
                      </a:cubicBezTo>
                      <a:cubicBezTo>
                        <a:pt x="148" y="328"/>
                        <a:pt x="148" y="328"/>
                        <a:pt x="148" y="328"/>
                      </a:cubicBezTo>
                      <a:cubicBezTo>
                        <a:pt x="149" y="327"/>
                        <a:pt x="149" y="327"/>
                        <a:pt x="149" y="327"/>
                      </a:cubicBezTo>
                      <a:cubicBezTo>
                        <a:pt x="151" y="327"/>
                        <a:pt x="151" y="327"/>
                        <a:pt x="151" y="327"/>
                      </a:cubicBezTo>
                      <a:cubicBezTo>
                        <a:pt x="152" y="326"/>
                        <a:pt x="152" y="326"/>
                        <a:pt x="152" y="326"/>
                      </a:cubicBezTo>
                      <a:cubicBezTo>
                        <a:pt x="155" y="324"/>
                        <a:pt x="155" y="324"/>
                        <a:pt x="155" y="324"/>
                      </a:cubicBezTo>
                      <a:cubicBezTo>
                        <a:pt x="156" y="322"/>
                        <a:pt x="156" y="322"/>
                        <a:pt x="156" y="322"/>
                      </a:cubicBezTo>
                      <a:cubicBezTo>
                        <a:pt x="155" y="319"/>
                        <a:pt x="155" y="319"/>
                        <a:pt x="155" y="319"/>
                      </a:cubicBezTo>
                      <a:cubicBezTo>
                        <a:pt x="156" y="317"/>
                        <a:pt x="156" y="317"/>
                        <a:pt x="156" y="317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5" y="313"/>
                        <a:pt x="155" y="313"/>
                        <a:pt x="155" y="313"/>
                      </a:cubicBezTo>
                      <a:cubicBezTo>
                        <a:pt x="156" y="312"/>
                        <a:pt x="156" y="312"/>
                        <a:pt x="156" y="312"/>
                      </a:cubicBezTo>
                      <a:cubicBezTo>
                        <a:pt x="161" y="312"/>
                        <a:pt x="161" y="312"/>
                        <a:pt x="161" y="312"/>
                      </a:cubicBezTo>
                      <a:cubicBezTo>
                        <a:pt x="162" y="310"/>
                        <a:pt x="162" y="310"/>
                        <a:pt x="162" y="310"/>
                      </a:cubicBezTo>
                      <a:cubicBezTo>
                        <a:pt x="165" y="312"/>
                        <a:pt x="165" y="312"/>
                        <a:pt x="165" y="312"/>
                      </a:cubicBezTo>
                      <a:cubicBezTo>
                        <a:pt x="164" y="310"/>
                        <a:pt x="164" y="310"/>
                        <a:pt x="164" y="310"/>
                      </a:cubicBezTo>
                      <a:cubicBezTo>
                        <a:pt x="162" y="308"/>
                        <a:pt x="162" y="308"/>
                        <a:pt x="162" y="308"/>
                      </a:cubicBezTo>
                      <a:cubicBezTo>
                        <a:pt x="161" y="306"/>
                        <a:pt x="161" y="306"/>
                        <a:pt x="161" y="306"/>
                      </a:cubicBezTo>
                      <a:cubicBezTo>
                        <a:pt x="162" y="306"/>
                        <a:pt x="162" y="306"/>
                        <a:pt x="162" y="306"/>
                      </a:cubicBezTo>
                      <a:cubicBezTo>
                        <a:pt x="163" y="308"/>
                        <a:pt x="163" y="308"/>
                        <a:pt x="163" y="308"/>
                      </a:cubicBezTo>
                      <a:cubicBezTo>
                        <a:pt x="165" y="307"/>
                        <a:pt x="165" y="307"/>
                        <a:pt x="165" y="307"/>
                      </a:cubicBezTo>
                      <a:cubicBezTo>
                        <a:pt x="169" y="302"/>
                        <a:pt x="169" y="302"/>
                        <a:pt x="169" y="302"/>
                      </a:cubicBezTo>
                      <a:cubicBezTo>
                        <a:pt x="170" y="302"/>
                        <a:pt x="170" y="302"/>
                        <a:pt x="170" y="302"/>
                      </a:cubicBezTo>
                      <a:cubicBezTo>
                        <a:pt x="174" y="297"/>
                        <a:pt x="174" y="297"/>
                        <a:pt x="174" y="297"/>
                      </a:cubicBezTo>
                      <a:cubicBezTo>
                        <a:pt x="174" y="296"/>
                        <a:pt x="174" y="296"/>
                        <a:pt x="174" y="296"/>
                      </a:cubicBezTo>
                      <a:cubicBezTo>
                        <a:pt x="175" y="295"/>
                        <a:pt x="175" y="295"/>
                        <a:pt x="175" y="295"/>
                      </a:cubicBezTo>
                      <a:cubicBezTo>
                        <a:pt x="177" y="296"/>
                        <a:pt x="177" y="296"/>
                        <a:pt x="177" y="296"/>
                      </a:cubicBezTo>
                      <a:cubicBezTo>
                        <a:pt x="179" y="294"/>
                        <a:pt x="179" y="294"/>
                        <a:pt x="179" y="294"/>
                      </a:cubicBezTo>
                      <a:cubicBezTo>
                        <a:pt x="180" y="293"/>
                        <a:pt x="180" y="293"/>
                        <a:pt x="180" y="293"/>
                      </a:cubicBezTo>
                      <a:cubicBezTo>
                        <a:pt x="184" y="292"/>
                        <a:pt x="184" y="292"/>
                        <a:pt x="184" y="292"/>
                      </a:cubicBezTo>
                      <a:cubicBezTo>
                        <a:pt x="184" y="293"/>
                        <a:pt x="184" y="293"/>
                        <a:pt x="184" y="293"/>
                      </a:cubicBezTo>
                      <a:cubicBezTo>
                        <a:pt x="185" y="294"/>
                        <a:pt x="185" y="294"/>
                        <a:pt x="185" y="294"/>
                      </a:cubicBezTo>
                      <a:cubicBezTo>
                        <a:pt x="185" y="295"/>
                        <a:pt x="185" y="295"/>
                        <a:pt x="185" y="295"/>
                      </a:cubicBezTo>
                      <a:cubicBezTo>
                        <a:pt x="184" y="296"/>
                        <a:pt x="184" y="296"/>
                        <a:pt x="184" y="296"/>
                      </a:cubicBezTo>
                      <a:cubicBezTo>
                        <a:pt x="185" y="297"/>
                        <a:pt x="185" y="297"/>
                        <a:pt x="185" y="297"/>
                      </a:cubicBezTo>
                      <a:cubicBezTo>
                        <a:pt x="188" y="295"/>
                        <a:pt x="188" y="295"/>
                        <a:pt x="188" y="295"/>
                      </a:cubicBezTo>
                      <a:cubicBezTo>
                        <a:pt x="188" y="293"/>
                        <a:pt x="188" y="293"/>
                        <a:pt x="188" y="293"/>
                      </a:cubicBezTo>
                      <a:cubicBezTo>
                        <a:pt x="187" y="293"/>
                        <a:pt x="187" y="293"/>
                        <a:pt x="187" y="293"/>
                      </a:cubicBezTo>
                      <a:cubicBezTo>
                        <a:pt x="185" y="291"/>
                        <a:pt x="185" y="291"/>
                        <a:pt x="185" y="291"/>
                      </a:cubicBezTo>
                      <a:cubicBezTo>
                        <a:pt x="185" y="290"/>
                        <a:pt x="185" y="290"/>
                        <a:pt x="185" y="290"/>
                      </a:cubicBezTo>
                      <a:cubicBezTo>
                        <a:pt x="189" y="287"/>
                        <a:pt x="189" y="287"/>
                        <a:pt x="189" y="287"/>
                      </a:cubicBezTo>
                      <a:cubicBezTo>
                        <a:pt x="189" y="287"/>
                        <a:pt x="189" y="287"/>
                        <a:pt x="189" y="287"/>
                      </a:cubicBezTo>
                      <a:cubicBezTo>
                        <a:pt x="190" y="288"/>
                        <a:pt x="190" y="288"/>
                        <a:pt x="190" y="288"/>
                      </a:cubicBezTo>
                      <a:cubicBezTo>
                        <a:pt x="189" y="288"/>
                        <a:pt x="189" y="288"/>
                        <a:pt x="189" y="288"/>
                      </a:cubicBezTo>
                      <a:cubicBezTo>
                        <a:pt x="188" y="289"/>
                        <a:pt x="188" y="289"/>
                        <a:pt x="188" y="289"/>
                      </a:cubicBezTo>
                      <a:cubicBezTo>
                        <a:pt x="190" y="291"/>
                        <a:pt x="190" y="291"/>
                        <a:pt x="190" y="291"/>
                      </a:cubicBezTo>
                      <a:cubicBezTo>
                        <a:pt x="191" y="291"/>
                        <a:pt x="191" y="291"/>
                        <a:pt x="191" y="291"/>
                      </a:cubicBezTo>
                      <a:cubicBezTo>
                        <a:pt x="192" y="290"/>
                        <a:pt x="192" y="290"/>
                        <a:pt x="192" y="290"/>
                      </a:cubicBezTo>
                      <a:cubicBezTo>
                        <a:pt x="192" y="288"/>
                        <a:pt x="192" y="288"/>
                        <a:pt x="192" y="288"/>
                      </a:cubicBezTo>
                      <a:cubicBezTo>
                        <a:pt x="191" y="287"/>
                        <a:pt x="191" y="287"/>
                        <a:pt x="191" y="287"/>
                      </a:cubicBezTo>
                      <a:cubicBezTo>
                        <a:pt x="190" y="286"/>
                        <a:pt x="190" y="286"/>
                        <a:pt x="190" y="286"/>
                      </a:cubicBezTo>
                      <a:cubicBezTo>
                        <a:pt x="192" y="284"/>
                        <a:pt x="192" y="284"/>
                        <a:pt x="192" y="284"/>
                      </a:cubicBezTo>
                      <a:cubicBezTo>
                        <a:pt x="197" y="282"/>
                        <a:pt x="197" y="282"/>
                        <a:pt x="197" y="282"/>
                      </a:cubicBezTo>
                      <a:cubicBezTo>
                        <a:pt x="200" y="282"/>
                        <a:pt x="200" y="282"/>
                        <a:pt x="200" y="282"/>
                      </a:cubicBezTo>
                      <a:cubicBezTo>
                        <a:pt x="201" y="282"/>
                        <a:pt x="201" y="282"/>
                        <a:pt x="201" y="282"/>
                      </a:cubicBezTo>
                      <a:cubicBezTo>
                        <a:pt x="199" y="283"/>
                        <a:pt x="199" y="283"/>
                        <a:pt x="199" y="283"/>
                      </a:cubicBezTo>
                      <a:cubicBezTo>
                        <a:pt x="197" y="284"/>
                        <a:pt x="197" y="284"/>
                        <a:pt x="197" y="284"/>
                      </a:cubicBezTo>
                      <a:cubicBezTo>
                        <a:pt x="194" y="285"/>
                        <a:pt x="194" y="285"/>
                        <a:pt x="194" y="285"/>
                      </a:cubicBezTo>
                      <a:cubicBezTo>
                        <a:pt x="194" y="286"/>
                        <a:pt x="194" y="286"/>
                        <a:pt x="194" y="286"/>
                      </a:cubicBezTo>
                      <a:cubicBezTo>
                        <a:pt x="196" y="286"/>
                        <a:pt x="196" y="286"/>
                        <a:pt x="196" y="286"/>
                      </a:cubicBezTo>
                      <a:cubicBezTo>
                        <a:pt x="197" y="286"/>
                        <a:pt x="197" y="286"/>
                        <a:pt x="197" y="286"/>
                      </a:cubicBezTo>
                      <a:cubicBezTo>
                        <a:pt x="199" y="288"/>
                        <a:pt x="199" y="288"/>
                        <a:pt x="199" y="288"/>
                      </a:cubicBezTo>
                      <a:cubicBezTo>
                        <a:pt x="198" y="289"/>
                        <a:pt x="198" y="289"/>
                        <a:pt x="198" y="289"/>
                      </a:cubicBezTo>
                      <a:cubicBezTo>
                        <a:pt x="197" y="289"/>
                        <a:pt x="197" y="289"/>
                        <a:pt x="197" y="289"/>
                      </a:cubicBezTo>
                      <a:cubicBezTo>
                        <a:pt x="199" y="292"/>
                        <a:pt x="199" y="292"/>
                        <a:pt x="199" y="292"/>
                      </a:cubicBezTo>
                      <a:cubicBezTo>
                        <a:pt x="198" y="293"/>
                        <a:pt x="198" y="293"/>
                        <a:pt x="198" y="293"/>
                      </a:cubicBezTo>
                      <a:cubicBezTo>
                        <a:pt x="196" y="293"/>
                        <a:pt x="196" y="293"/>
                        <a:pt x="196" y="293"/>
                      </a:cubicBezTo>
                      <a:cubicBezTo>
                        <a:pt x="194" y="295"/>
                        <a:pt x="194" y="295"/>
                        <a:pt x="194" y="295"/>
                      </a:cubicBezTo>
                      <a:cubicBezTo>
                        <a:pt x="194" y="297"/>
                        <a:pt x="194" y="297"/>
                        <a:pt x="194" y="297"/>
                      </a:cubicBezTo>
                      <a:cubicBezTo>
                        <a:pt x="196" y="297"/>
                        <a:pt x="196" y="297"/>
                        <a:pt x="196" y="297"/>
                      </a:cubicBezTo>
                      <a:cubicBezTo>
                        <a:pt x="197" y="297"/>
                        <a:pt x="197" y="297"/>
                        <a:pt x="197" y="297"/>
                      </a:cubicBezTo>
                      <a:cubicBezTo>
                        <a:pt x="199" y="297"/>
                        <a:pt x="199" y="297"/>
                        <a:pt x="199" y="297"/>
                      </a:cubicBezTo>
                      <a:cubicBezTo>
                        <a:pt x="200" y="296"/>
                        <a:pt x="200" y="296"/>
                        <a:pt x="200" y="296"/>
                      </a:cubicBezTo>
                      <a:cubicBezTo>
                        <a:pt x="202" y="296"/>
                        <a:pt x="202" y="296"/>
                        <a:pt x="202" y="296"/>
                      </a:cubicBezTo>
                      <a:cubicBezTo>
                        <a:pt x="202" y="299"/>
                        <a:pt x="202" y="299"/>
                        <a:pt x="202" y="299"/>
                      </a:cubicBezTo>
                      <a:cubicBezTo>
                        <a:pt x="203" y="296"/>
                        <a:pt x="203" y="296"/>
                        <a:pt x="203" y="296"/>
                      </a:cubicBezTo>
                      <a:cubicBezTo>
                        <a:pt x="205" y="294"/>
                        <a:pt x="205" y="294"/>
                        <a:pt x="205" y="294"/>
                      </a:cubicBezTo>
                      <a:cubicBezTo>
                        <a:pt x="206" y="294"/>
                        <a:pt x="206" y="294"/>
                        <a:pt x="206" y="294"/>
                      </a:cubicBezTo>
                      <a:cubicBezTo>
                        <a:pt x="207" y="295"/>
                        <a:pt x="207" y="295"/>
                        <a:pt x="207" y="295"/>
                      </a:cubicBezTo>
                      <a:cubicBezTo>
                        <a:pt x="208" y="296"/>
                        <a:pt x="208" y="296"/>
                        <a:pt x="208" y="296"/>
                      </a:cubicBezTo>
                      <a:cubicBezTo>
                        <a:pt x="209" y="296"/>
                        <a:pt x="209" y="296"/>
                        <a:pt x="209" y="296"/>
                      </a:cubicBezTo>
                      <a:cubicBezTo>
                        <a:pt x="208" y="294"/>
                        <a:pt x="208" y="294"/>
                        <a:pt x="208" y="294"/>
                      </a:cubicBezTo>
                      <a:cubicBezTo>
                        <a:pt x="209" y="293"/>
                        <a:pt x="209" y="293"/>
                        <a:pt x="209" y="293"/>
                      </a:cubicBezTo>
                      <a:cubicBezTo>
                        <a:pt x="208" y="292"/>
                        <a:pt x="208" y="292"/>
                        <a:pt x="208" y="292"/>
                      </a:cubicBezTo>
                      <a:cubicBezTo>
                        <a:pt x="208" y="291"/>
                        <a:pt x="208" y="291"/>
                        <a:pt x="208" y="291"/>
                      </a:cubicBezTo>
                      <a:cubicBezTo>
                        <a:pt x="209" y="289"/>
                        <a:pt x="209" y="289"/>
                        <a:pt x="209" y="289"/>
                      </a:cubicBezTo>
                      <a:cubicBezTo>
                        <a:pt x="211" y="289"/>
                        <a:pt x="211" y="289"/>
                        <a:pt x="211" y="289"/>
                      </a:cubicBezTo>
                      <a:cubicBezTo>
                        <a:pt x="212" y="288"/>
                        <a:pt x="212" y="288"/>
                        <a:pt x="212" y="288"/>
                      </a:cubicBezTo>
                      <a:cubicBezTo>
                        <a:pt x="214" y="286"/>
                        <a:pt x="214" y="286"/>
                        <a:pt x="214" y="286"/>
                      </a:cubicBezTo>
                      <a:cubicBezTo>
                        <a:pt x="215" y="287"/>
                        <a:pt x="215" y="287"/>
                        <a:pt x="215" y="287"/>
                      </a:cubicBezTo>
                      <a:cubicBezTo>
                        <a:pt x="217" y="287"/>
                        <a:pt x="217" y="287"/>
                        <a:pt x="217" y="287"/>
                      </a:cubicBezTo>
                      <a:cubicBezTo>
                        <a:pt x="218" y="287"/>
                        <a:pt x="218" y="287"/>
                        <a:pt x="218" y="287"/>
                      </a:cubicBezTo>
                      <a:cubicBezTo>
                        <a:pt x="219" y="287"/>
                        <a:pt x="219" y="287"/>
                        <a:pt x="219" y="287"/>
                      </a:cubicBezTo>
                      <a:cubicBezTo>
                        <a:pt x="223" y="287"/>
                        <a:pt x="223" y="287"/>
                        <a:pt x="223" y="287"/>
                      </a:cubicBezTo>
                      <a:cubicBezTo>
                        <a:pt x="225" y="286"/>
                        <a:pt x="225" y="286"/>
                        <a:pt x="225" y="286"/>
                      </a:cubicBezTo>
                      <a:cubicBezTo>
                        <a:pt x="225" y="285"/>
                        <a:pt x="225" y="285"/>
                        <a:pt x="225" y="285"/>
                      </a:cubicBezTo>
                      <a:cubicBezTo>
                        <a:pt x="226" y="284"/>
                        <a:pt x="226" y="284"/>
                        <a:pt x="226" y="284"/>
                      </a:cubicBezTo>
                      <a:cubicBezTo>
                        <a:pt x="228" y="284"/>
                        <a:pt x="228" y="284"/>
                        <a:pt x="228" y="284"/>
                      </a:cubicBezTo>
                      <a:cubicBezTo>
                        <a:pt x="228" y="283"/>
                        <a:pt x="228" y="283"/>
                        <a:pt x="228" y="283"/>
                      </a:cubicBezTo>
                      <a:cubicBezTo>
                        <a:pt x="230" y="281"/>
                        <a:pt x="230" y="281"/>
                        <a:pt x="230" y="281"/>
                      </a:cubicBezTo>
                      <a:cubicBezTo>
                        <a:pt x="232" y="281"/>
                        <a:pt x="232" y="281"/>
                        <a:pt x="232" y="281"/>
                      </a:cubicBezTo>
                      <a:cubicBezTo>
                        <a:pt x="234" y="278"/>
                        <a:pt x="234" y="278"/>
                        <a:pt x="234" y="278"/>
                      </a:cubicBezTo>
                      <a:cubicBezTo>
                        <a:pt x="235" y="278"/>
                        <a:pt x="235" y="278"/>
                        <a:pt x="235" y="278"/>
                      </a:cubicBezTo>
                      <a:cubicBezTo>
                        <a:pt x="237" y="277"/>
                        <a:pt x="237" y="277"/>
                        <a:pt x="237" y="277"/>
                      </a:cubicBezTo>
                      <a:cubicBezTo>
                        <a:pt x="237" y="278"/>
                        <a:pt x="237" y="278"/>
                        <a:pt x="237" y="278"/>
                      </a:cubicBezTo>
                      <a:cubicBezTo>
                        <a:pt x="235" y="280"/>
                        <a:pt x="235" y="280"/>
                        <a:pt x="235" y="280"/>
                      </a:cubicBezTo>
                      <a:cubicBezTo>
                        <a:pt x="237" y="280"/>
                        <a:pt x="237" y="280"/>
                        <a:pt x="237" y="280"/>
                      </a:cubicBezTo>
                      <a:cubicBezTo>
                        <a:pt x="239" y="282"/>
                        <a:pt x="239" y="282"/>
                        <a:pt x="239" y="282"/>
                      </a:cubicBezTo>
                      <a:cubicBezTo>
                        <a:pt x="239" y="283"/>
                        <a:pt x="239" y="283"/>
                        <a:pt x="239" y="283"/>
                      </a:cubicBezTo>
                      <a:cubicBezTo>
                        <a:pt x="237" y="285"/>
                        <a:pt x="237" y="285"/>
                        <a:pt x="237" y="285"/>
                      </a:cubicBezTo>
                      <a:cubicBezTo>
                        <a:pt x="238" y="287"/>
                        <a:pt x="238" y="287"/>
                        <a:pt x="238" y="287"/>
                      </a:cubicBezTo>
                      <a:cubicBezTo>
                        <a:pt x="238" y="288"/>
                        <a:pt x="238" y="288"/>
                        <a:pt x="238" y="288"/>
                      </a:cubicBezTo>
                      <a:cubicBezTo>
                        <a:pt x="239" y="290"/>
                        <a:pt x="239" y="290"/>
                        <a:pt x="239" y="290"/>
                      </a:cubicBezTo>
                      <a:cubicBezTo>
                        <a:pt x="244" y="290"/>
                        <a:pt x="244" y="290"/>
                        <a:pt x="244" y="290"/>
                      </a:cubicBezTo>
                      <a:cubicBezTo>
                        <a:pt x="245" y="289"/>
                        <a:pt x="245" y="289"/>
                        <a:pt x="245" y="289"/>
                      </a:cubicBezTo>
                      <a:cubicBezTo>
                        <a:pt x="245" y="288"/>
                        <a:pt x="245" y="288"/>
                        <a:pt x="245" y="288"/>
                      </a:cubicBezTo>
                      <a:cubicBezTo>
                        <a:pt x="244" y="287"/>
                        <a:pt x="244" y="287"/>
                        <a:pt x="244" y="287"/>
                      </a:cubicBezTo>
                      <a:cubicBezTo>
                        <a:pt x="242" y="284"/>
                        <a:pt x="242" y="284"/>
                        <a:pt x="242" y="284"/>
                      </a:cubicBezTo>
                      <a:cubicBezTo>
                        <a:pt x="242" y="283"/>
                        <a:pt x="242" y="283"/>
                        <a:pt x="242" y="283"/>
                      </a:cubicBezTo>
                      <a:cubicBezTo>
                        <a:pt x="244" y="282"/>
                        <a:pt x="244" y="282"/>
                        <a:pt x="244" y="282"/>
                      </a:cubicBezTo>
                      <a:cubicBezTo>
                        <a:pt x="246" y="283"/>
                        <a:pt x="246" y="283"/>
                        <a:pt x="246" y="283"/>
                      </a:cubicBezTo>
                      <a:cubicBezTo>
                        <a:pt x="248" y="282"/>
                        <a:pt x="248" y="282"/>
                        <a:pt x="248" y="282"/>
                      </a:cubicBezTo>
                      <a:cubicBezTo>
                        <a:pt x="249" y="279"/>
                        <a:pt x="249" y="279"/>
                        <a:pt x="249" y="279"/>
                      </a:cubicBezTo>
                      <a:cubicBezTo>
                        <a:pt x="250" y="279"/>
                        <a:pt x="250" y="279"/>
                        <a:pt x="250" y="279"/>
                      </a:cubicBezTo>
                      <a:cubicBezTo>
                        <a:pt x="251" y="279"/>
                        <a:pt x="251" y="279"/>
                        <a:pt x="251" y="279"/>
                      </a:cubicBezTo>
                      <a:cubicBezTo>
                        <a:pt x="254" y="280"/>
                        <a:pt x="254" y="280"/>
                        <a:pt x="254" y="280"/>
                      </a:cubicBezTo>
                      <a:cubicBezTo>
                        <a:pt x="251" y="277"/>
                        <a:pt x="251" y="277"/>
                        <a:pt x="251" y="277"/>
                      </a:cubicBezTo>
                      <a:cubicBezTo>
                        <a:pt x="249" y="276"/>
                        <a:pt x="249" y="276"/>
                        <a:pt x="249" y="276"/>
                      </a:cubicBezTo>
                      <a:cubicBezTo>
                        <a:pt x="249" y="275"/>
                        <a:pt x="249" y="275"/>
                        <a:pt x="249" y="275"/>
                      </a:cubicBezTo>
                      <a:cubicBezTo>
                        <a:pt x="247" y="271"/>
                        <a:pt x="247" y="271"/>
                        <a:pt x="247" y="271"/>
                      </a:cubicBezTo>
                      <a:cubicBezTo>
                        <a:pt x="246" y="271"/>
                        <a:pt x="246" y="271"/>
                        <a:pt x="246" y="271"/>
                      </a:cubicBezTo>
                      <a:cubicBezTo>
                        <a:pt x="246" y="273"/>
                        <a:pt x="246" y="273"/>
                        <a:pt x="246" y="273"/>
                      </a:cubicBezTo>
                      <a:cubicBezTo>
                        <a:pt x="245" y="271"/>
                        <a:pt x="245" y="271"/>
                        <a:pt x="245" y="271"/>
                      </a:cubicBezTo>
                      <a:cubicBezTo>
                        <a:pt x="244" y="268"/>
                        <a:pt x="244" y="268"/>
                        <a:pt x="244" y="268"/>
                      </a:cubicBezTo>
                      <a:cubicBezTo>
                        <a:pt x="242" y="267"/>
                        <a:pt x="242" y="267"/>
                        <a:pt x="242" y="267"/>
                      </a:cubicBezTo>
                      <a:cubicBezTo>
                        <a:pt x="241" y="265"/>
                        <a:pt x="241" y="265"/>
                        <a:pt x="241" y="265"/>
                      </a:cubicBezTo>
                      <a:cubicBezTo>
                        <a:pt x="241" y="264"/>
                        <a:pt x="241" y="264"/>
                        <a:pt x="241" y="264"/>
                      </a:cubicBezTo>
                      <a:cubicBezTo>
                        <a:pt x="243" y="263"/>
                        <a:pt x="243" y="263"/>
                        <a:pt x="243" y="263"/>
                      </a:cubicBezTo>
                      <a:cubicBezTo>
                        <a:pt x="243" y="261"/>
                        <a:pt x="243" y="261"/>
                        <a:pt x="243" y="261"/>
                      </a:cubicBezTo>
                      <a:cubicBezTo>
                        <a:pt x="242" y="259"/>
                        <a:pt x="242" y="259"/>
                        <a:pt x="242" y="259"/>
                      </a:cubicBezTo>
                      <a:cubicBezTo>
                        <a:pt x="243" y="258"/>
                        <a:pt x="243" y="258"/>
                        <a:pt x="243" y="258"/>
                      </a:cubicBezTo>
                      <a:cubicBezTo>
                        <a:pt x="245" y="259"/>
                        <a:pt x="245" y="259"/>
                        <a:pt x="245" y="259"/>
                      </a:cubicBezTo>
                      <a:cubicBezTo>
                        <a:pt x="246" y="258"/>
                        <a:pt x="246" y="258"/>
                        <a:pt x="246" y="258"/>
                      </a:cubicBezTo>
                      <a:cubicBezTo>
                        <a:pt x="247" y="259"/>
                        <a:pt x="247" y="259"/>
                        <a:pt x="247" y="259"/>
                      </a:cubicBezTo>
                      <a:cubicBezTo>
                        <a:pt x="249" y="259"/>
                        <a:pt x="249" y="259"/>
                        <a:pt x="249" y="259"/>
                      </a:cubicBezTo>
                      <a:cubicBezTo>
                        <a:pt x="251" y="260"/>
                        <a:pt x="251" y="260"/>
                        <a:pt x="251" y="260"/>
                      </a:cubicBezTo>
                      <a:cubicBezTo>
                        <a:pt x="258" y="259"/>
                        <a:pt x="258" y="259"/>
                        <a:pt x="258" y="259"/>
                      </a:cubicBezTo>
                      <a:cubicBezTo>
                        <a:pt x="268" y="259"/>
                        <a:pt x="268" y="259"/>
                        <a:pt x="268" y="259"/>
                      </a:cubicBezTo>
                      <a:cubicBezTo>
                        <a:pt x="270" y="261"/>
                        <a:pt x="270" y="261"/>
                        <a:pt x="270" y="261"/>
                      </a:cubicBezTo>
                      <a:cubicBezTo>
                        <a:pt x="277" y="263"/>
                        <a:pt x="277" y="263"/>
                        <a:pt x="277" y="263"/>
                      </a:cubicBezTo>
                      <a:cubicBezTo>
                        <a:pt x="277" y="265"/>
                        <a:pt x="277" y="265"/>
                        <a:pt x="277" y="265"/>
                      </a:cubicBezTo>
                      <a:cubicBezTo>
                        <a:pt x="276" y="266"/>
                        <a:pt x="276" y="266"/>
                        <a:pt x="276" y="266"/>
                      </a:cubicBezTo>
                      <a:cubicBezTo>
                        <a:pt x="277" y="268"/>
                        <a:pt x="277" y="268"/>
                        <a:pt x="277" y="268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282" y="265"/>
                        <a:pt x="282" y="265"/>
                        <a:pt x="282" y="265"/>
                      </a:cubicBezTo>
                      <a:cubicBezTo>
                        <a:pt x="284" y="267"/>
                        <a:pt x="284" y="267"/>
                        <a:pt x="284" y="267"/>
                      </a:cubicBezTo>
                      <a:cubicBezTo>
                        <a:pt x="285" y="267"/>
                        <a:pt x="285" y="267"/>
                        <a:pt x="285" y="267"/>
                      </a:cubicBezTo>
                      <a:cubicBezTo>
                        <a:pt x="285" y="269"/>
                        <a:pt x="285" y="269"/>
                        <a:pt x="285" y="269"/>
                      </a:cubicBezTo>
                      <a:cubicBezTo>
                        <a:pt x="289" y="269"/>
                        <a:pt x="289" y="269"/>
                        <a:pt x="289" y="269"/>
                      </a:cubicBezTo>
                      <a:cubicBezTo>
                        <a:pt x="294" y="272"/>
                        <a:pt x="294" y="272"/>
                        <a:pt x="294" y="272"/>
                      </a:cubicBezTo>
                      <a:cubicBezTo>
                        <a:pt x="299" y="273"/>
                        <a:pt x="299" y="273"/>
                        <a:pt x="299" y="273"/>
                      </a:cubicBezTo>
                      <a:cubicBezTo>
                        <a:pt x="301" y="275"/>
                        <a:pt x="301" y="275"/>
                        <a:pt x="301" y="275"/>
                      </a:cubicBezTo>
                      <a:cubicBezTo>
                        <a:pt x="302" y="277"/>
                        <a:pt x="302" y="277"/>
                        <a:pt x="302" y="277"/>
                      </a:cubicBezTo>
                      <a:cubicBezTo>
                        <a:pt x="305" y="278"/>
                        <a:pt x="305" y="278"/>
                        <a:pt x="305" y="278"/>
                      </a:cubicBezTo>
                      <a:cubicBezTo>
                        <a:pt x="308" y="280"/>
                        <a:pt x="308" y="280"/>
                        <a:pt x="308" y="280"/>
                      </a:cubicBezTo>
                      <a:cubicBezTo>
                        <a:pt x="310" y="284"/>
                        <a:pt x="310" y="284"/>
                        <a:pt x="310" y="284"/>
                      </a:cubicBezTo>
                      <a:cubicBezTo>
                        <a:pt x="312" y="285"/>
                        <a:pt x="312" y="285"/>
                        <a:pt x="312" y="285"/>
                      </a:cubicBezTo>
                      <a:cubicBezTo>
                        <a:pt x="313" y="283"/>
                        <a:pt x="313" y="283"/>
                        <a:pt x="313" y="283"/>
                      </a:cubicBezTo>
                      <a:cubicBezTo>
                        <a:pt x="312" y="281"/>
                        <a:pt x="312" y="281"/>
                        <a:pt x="312" y="281"/>
                      </a:cubicBezTo>
                      <a:cubicBezTo>
                        <a:pt x="313" y="281"/>
                        <a:pt x="313" y="281"/>
                        <a:pt x="313" y="281"/>
                      </a:cubicBezTo>
                      <a:cubicBezTo>
                        <a:pt x="314" y="280"/>
                        <a:pt x="314" y="280"/>
                        <a:pt x="314" y="280"/>
                      </a:cubicBezTo>
                      <a:cubicBezTo>
                        <a:pt x="312" y="278"/>
                        <a:pt x="312" y="278"/>
                        <a:pt x="312" y="278"/>
                      </a:cubicBezTo>
                      <a:cubicBezTo>
                        <a:pt x="313" y="276"/>
                        <a:pt x="313" y="276"/>
                        <a:pt x="313" y="276"/>
                      </a:cubicBezTo>
                      <a:cubicBezTo>
                        <a:pt x="313" y="271"/>
                        <a:pt x="313" y="271"/>
                        <a:pt x="313" y="271"/>
                      </a:cubicBezTo>
                      <a:cubicBezTo>
                        <a:pt x="315" y="269"/>
                        <a:pt x="315" y="269"/>
                        <a:pt x="315" y="269"/>
                      </a:cubicBezTo>
                      <a:cubicBezTo>
                        <a:pt x="313" y="270"/>
                        <a:pt x="313" y="270"/>
                        <a:pt x="313" y="270"/>
                      </a:cubicBezTo>
                      <a:cubicBezTo>
                        <a:pt x="313" y="269"/>
                        <a:pt x="313" y="269"/>
                        <a:pt x="313" y="269"/>
                      </a:cubicBezTo>
                      <a:cubicBezTo>
                        <a:pt x="311" y="269"/>
                        <a:pt x="311" y="269"/>
                        <a:pt x="311" y="269"/>
                      </a:cubicBezTo>
                      <a:cubicBezTo>
                        <a:pt x="309" y="270"/>
                        <a:pt x="309" y="270"/>
                        <a:pt x="309" y="270"/>
                      </a:cubicBezTo>
                      <a:cubicBezTo>
                        <a:pt x="307" y="269"/>
                        <a:pt x="307" y="269"/>
                        <a:pt x="307" y="269"/>
                      </a:cubicBezTo>
                      <a:cubicBezTo>
                        <a:pt x="303" y="264"/>
                        <a:pt x="303" y="264"/>
                        <a:pt x="303" y="264"/>
                      </a:cubicBezTo>
                      <a:cubicBezTo>
                        <a:pt x="302" y="264"/>
                        <a:pt x="302" y="264"/>
                        <a:pt x="302" y="264"/>
                      </a:cubicBezTo>
                      <a:cubicBezTo>
                        <a:pt x="301" y="262"/>
                        <a:pt x="301" y="262"/>
                        <a:pt x="301" y="262"/>
                      </a:cubicBezTo>
                      <a:cubicBezTo>
                        <a:pt x="301" y="259"/>
                        <a:pt x="301" y="259"/>
                        <a:pt x="301" y="259"/>
                      </a:cubicBezTo>
                      <a:cubicBezTo>
                        <a:pt x="300" y="258"/>
                        <a:pt x="300" y="258"/>
                        <a:pt x="300" y="258"/>
                      </a:cubicBezTo>
                      <a:cubicBezTo>
                        <a:pt x="298" y="260"/>
                        <a:pt x="298" y="260"/>
                        <a:pt x="298" y="260"/>
                      </a:cubicBezTo>
                      <a:cubicBezTo>
                        <a:pt x="296" y="259"/>
                        <a:pt x="296" y="259"/>
                        <a:pt x="296" y="259"/>
                      </a:cubicBezTo>
                      <a:cubicBezTo>
                        <a:pt x="294" y="259"/>
                        <a:pt x="294" y="259"/>
                        <a:pt x="294" y="259"/>
                      </a:cubicBezTo>
                      <a:cubicBezTo>
                        <a:pt x="292" y="258"/>
                        <a:pt x="292" y="258"/>
                        <a:pt x="292" y="258"/>
                      </a:cubicBezTo>
                      <a:cubicBezTo>
                        <a:pt x="291" y="259"/>
                        <a:pt x="291" y="259"/>
                        <a:pt x="291" y="259"/>
                      </a:cubicBezTo>
                      <a:cubicBezTo>
                        <a:pt x="290" y="256"/>
                        <a:pt x="290" y="256"/>
                        <a:pt x="290" y="256"/>
                      </a:cubicBezTo>
                      <a:cubicBezTo>
                        <a:pt x="289" y="255"/>
                        <a:pt x="289" y="255"/>
                        <a:pt x="289" y="255"/>
                      </a:cubicBezTo>
                      <a:cubicBezTo>
                        <a:pt x="287" y="250"/>
                        <a:pt x="287" y="250"/>
                        <a:pt x="287" y="250"/>
                      </a:cubicBezTo>
                      <a:cubicBezTo>
                        <a:pt x="287" y="249"/>
                        <a:pt x="287" y="249"/>
                        <a:pt x="287" y="249"/>
                      </a:cubicBezTo>
                      <a:cubicBezTo>
                        <a:pt x="288" y="250"/>
                        <a:pt x="288" y="250"/>
                        <a:pt x="288" y="250"/>
                      </a:cubicBezTo>
                      <a:cubicBezTo>
                        <a:pt x="290" y="248"/>
                        <a:pt x="290" y="248"/>
                        <a:pt x="290" y="248"/>
                      </a:cubicBezTo>
                      <a:cubicBezTo>
                        <a:pt x="290" y="246"/>
                        <a:pt x="290" y="246"/>
                        <a:pt x="290" y="246"/>
                      </a:cubicBezTo>
                      <a:cubicBezTo>
                        <a:pt x="287" y="244"/>
                        <a:pt x="287" y="244"/>
                        <a:pt x="287" y="244"/>
                      </a:cubicBezTo>
                      <a:cubicBezTo>
                        <a:pt x="287" y="241"/>
                        <a:pt x="287" y="241"/>
                        <a:pt x="287" y="241"/>
                      </a:cubicBezTo>
                      <a:cubicBezTo>
                        <a:pt x="288" y="240"/>
                        <a:pt x="288" y="240"/>
                        <a:pt x="288" y="240"/>
                      </a:cubicBezTo>
                      <a:cubicBezTo>
                        <a:pt x="290" y="240"/>
                        <a:pt x="290" y="240"/>
                        <a:pt x="290" y="240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6" y="238"/>
                        <a:pt x="286" y="238"/>
                        <a:pt x="286" y="238"/>
                      </a:cubicBezTo>
                      <a:cubicBezTo>
                        <a:pt x="284" y="235"/>
                        <a:pt x="284" y="235"/>
                        <a:pt x="284" y="235"/>
                      </a:cubicBezTo>
                      <a:cubicBezTo>
                        <a:pt x="283" y="233"/>
                        <a:pt x="283" y="233"/>
                        <a:pt x="283" y="233"/>
                      </a:cubicBezTo>
                      <a:cubicBezTo>
                        <a:pt x="282" y="234"/>
                        <a:pt x="282" y="234"/>
                        <a:pt x="282" y="234"/>
                      </a:cubicBezTo>
                      <a:cubicBezTo>
                        <a:pt x="279" y="232"/>
                        <a:pt x="279" y="232"/>
                        <a:pt x="279" y="232"/>
                      </a:cubicBezTo>
                      <a:cubicBezTo>
                        <a:pt x="280" y="229"/>
                        <a:pt x="280" y="229"/>
                        <a:pt x="280" y="229"/>
                      </a:cubicBezTo>
                      <a:cubicBezTo>
                        <a:pt x="281" y="227"/>
                        <a:pt x="281" y="227"/>
                        <a:pt x="281" y="227"/>
                      </a:cubicBezTo>
                      <a:cubicBezTo>
                        <a:pt x="280" y="225"/>
                        <a:pt x="280" y="225"/>
                        <a:pt x="280" y="225"/>
                      </a:cubicBezTo>
                      <a:cubicBezTo>
                        <a:pt x="279" y="223"/>
                        <a:pt x="279" y="223"/>
                        <a:pt x="279" y="223"/>
                      </a:cubicBezTo>
                      <a:cubicBezTo>
                        <a:pt x="280" y="222"/>
                        <a:pt x="280" y="222"/>
                        <a:pt x="280" y="222"/>
                      </a:cubicBezTo>
                      <a:cubicBezTo>
                        <a:pt x="284" y="217"/>
                        <a:pt x="284" y="217"/>
                        <a:pt x="284" y="217"/>
                      </a:cubicBezTo>
                      <a:cubicBezTo>
                        <a:pt x="286" y="215"/>
                        <a:pt x="286" y="215"/>
                        <a:pt x="286" y="215"/>
                      </a:cubicBezTo>
                      <a:cubicBezTo>
                        <a:pt x="287" y="214"/>
                        <a:pt x="287" y="214"/>
                        <a:pt x="287" y="214"/>
                      </a:cubicBezTo>
                      <a:cubicBezTo>
                        <a:pt x="286" y="212"/>
                        <a:pt x="286" y="212"/>
                        <a:pt x="286" y="212"/>
                      </a:cubicBezTo>
                      <a:cubicBezTo>
                        <a:pt x="285" y="210"/>
                        <a:pt x="285" y="210"/>
                        <a:pt x="285" y="210"/>
                      </a:cubicBezTo>
                      <a:cubicBezTo>
                        <a:pt x="287" y="207"/>
                        <a:pt x="287" y="207"/>
                        <a:pt x="287" y="207"/>
                      </a:cubicBezTo>
                      <a:cubicBezTo>
                        <a:pt x="285" y="205"/>
                        <a:pt x="285" y="205"/>
                        <a:pt x="285" y="205"/>
                      </a:cubicBezTo>
                      <a:cubicBezTo>
                        <a:pt x="285" y="202"/>
                        <a:pt x="285" y="202"/>
                        <a:pt x="285" y="202"/>
                      </a:cubicBezTo>
                      <a:cubicBezTo>
                        <a:pt x="286" y="201"/>
                        <a:pt x="286" y="201"/>
                        <a:pt x="286" y="201"/>
                      </a:cubicBezTo>
                      <a:cubicBezTo>
                        <a:pt x="285" y="199"/>
                        <a:pt x="285" y="199"/>
                        <a:pt x="285" y="199"/>
                      </a:cubicBezTo>
                      <a:cubicBezTo>
                        <a:pt x="285" y="197"/>
                        <a:pt x="285" y="197"/>
                        <a:pt x="285" y="197"/>
                      </a:cubicBezTo>
                      <a:cubicBezTo>
                        <a:pt x="284" y="196"/>
                        <a:pt x="284" y="196"/>
                        <a:pt x="284" y="196"/>
                      </a:cubicBezTo>
                      <a:cubicBezTo>
                        <a:pt x="285" y="192"/>
                        <a:pt x="285" y="192"/>
                        <a:pt x="285" y="192"/>
                      </a:cubicBezTo>
                      <a:cubicBezTo>
                        <a:pt x="286" y="191"/>
                        <a:pt x="286" y="191"/>
                        <a:pt x="286" y="191"/>
                      </a:cubicBezTo>
                      <a:cubicBezTo>
                        <a:pt x="284" y="189"/>
                        <a:pt x="284" y="189"/>
                        <a:pt x="284" y="189"/>
                      </a:cubicBezTo>
                      <a:cubicBezTo>
                        <a:pt x="285" y="186"/>
                        <a:pt x="285" y="186"/>
                        <a:pt x="285" y="186"/>
                      </a:cubicBezTo>
                      <a:cubicBezTo>
                        <a:pt x="284" y="181"/>
                        <a:pt x="284" y="181"/>
                        <a:pt x="284" y="181"/>
                      </a:cubicBezTo>
                      <a:cubicBezTo>
                        <a:pt x="286" y="181"/>
                        <a:pt x="286" y="181"/>
                        <a:pt x="286" y="181"/>
                      </a:cubicBezTo>
                      <a:cubicBezTo>
                        <a:pt x="287" y="182"/>
                        <a:pt x="287" y="182"/>
                        <a:pt x="287" y="182"/>
                      </a:cubicBezTo>
                      <a:cubicBezTo>
                        <a:pt x="287" y="183"/>
                        <a:pt x="287" y="183"/>
                        <a:pt x="287" y="183"/>
                      </a:cubicBezTo>
                      <a:cubicBezTo>
                        <a:pt x="287" y="184"/>
                        <a:pt x="287" y="184"/>
                        <a:pt x="287" y="184"/>
                      </a:cubicBezTo>
                      <a:cubicBezTo>
                        <a:pt x="290" y="183"/>
                        <a:pt x="290" y="183"/>
                        <a:pt x="290" y="183"/>
                      </a:cubicBezTo>
                      <a:cubicBezTo>
                        <a:pt x="292" y="182"/>
                        <a:pt x="292" y="182"/>
                        <a:pt x="292" y="182"/>
                      </a:cubicBezTo>
                      <a:cubicBezTo>
                        <a:pt x="295" y="181"/>
                        <a:pt x="295" y="181"/>
                        <a:pt x="295" y="181"/>
                      </a:cubicBezTo>
                      <a:cubicBezTo>
                        <a:pt x="296" y="181"/>
                        <a:pt x="296" y="181"/>
                        <a:pt x="296" y="181"/>
                      </a:cubicBezTo>
                      <a:cubicBezTo>
                        <a:pt x="298" y="182"/>
                        <a:pt x="298" y="182"/>
                        <a:pt x="298" y="182"/>
                      </a:cubicBezTo>
                      <a:cubicBezTo>
                        <a:pt x="299" y="181"/>
                        <a:pt x="299" y="181"/>
                        <a:pt x="299" y="181"/>
                      </a:cubicBezTo>
                      <a:cubicBezTo>
                        <a:pt x="302" y="181"/>
                        <a:pt x="302" y="181"/>
                        <a:pt x="302" y="181"/>
                      </a:cubicBezTo>
                      <a:cubicBezTo>
                        <a:pt x="307" y="184"/>
                        <a:pt x="307" y="184"/>
                        <a:pt x="307" y="184"/>
                      </a:cubicBezTo>
                      <a:cubicBezTo>
                        <a:pt x="310" y="184"/>
                        <a:pt x="310" y="184"/>
                        <a:pt x="310" y="184"/>
                      </a:cubicBezTo>
                      <a:cubicBezTo>
                        <a:pt x="312" y="184"/>
                        <a:pt x="312" y="184"/>
                        <a:pt x="312" y="184"/>
                      </a:cubicBezTo>
                      <a:cubicBezTo>
                        <a:pt x="313" y="186"/>
                        <a:pt x="313" y="186"/>
                        <a:pt x="313" y="186"/>
                      </a:cubicBezTo>
                      <a:cubicBezTo>
                        <a:pt x="311" y="187"/>
                        <a:pt x="311" y="187"/>
                        <a:pt x="311" y="187"/>
                      </a:cubicBezTo>
                      <a:cubicBezTo>
                        <a:pt x="312" y="189"/>
                        <a:pt x="312" y="189"/>
                        <a:pt x="312" y="189"/>
                      </a:cubicBezTo>
                      <a:cubicBezTo>
                        <a:pt x="312" y="191"/>
                        <a:pt x="312" y="191"/>
                        <a:pt x="312" y="191"/>
                      </a:cubicBezTo>
                      <a:cubicBezTo>
                        <a:pt x="313" y="192"/>
                        <a:pt x="313" y="192"/>
                        <a:pt x="313" y="192"/>
                      </a:cubicBezTo>
                      <a:cubicBezTo>
                        <a:pt x="314" y="196"/>
                        <a:pt x="314" y="196"/>
                        <a:pt x="314" y="196"/>
                      </a:cubicBezTo>
                      <a:cubicBezTo>
                        <a:pt x="315" y="199"/>
                        <a:pt x="315" y="199"/>
                        <a:pt x="315" y="199"/>
                      </a:cubicBezTo>
                      <a:cubicBezTo>
                        <a:pt x="314" y="204"/>
                        <a:pt x="314" y="204"/>
                        <a:pt x="314" y="204"/>
                      </a:cubicBezTo>
                      <a:cubicBezTo>
                        <a:pt x="315" y="206"/>
                        <a:pt x="315" y="206"/>
                        <a:pt x="315" y="206"/>
                      </a:cubicBezTo>
                      <a:cubicBezTo>
                        <a:pt x="314" y="207"/>
                        <a:pt x="314" y="207"/>
                        <a:pt x="314" y="207"/>
                      </a:cubicBezTo>
                      <a:cubicBezTo>
                        <a:pt x="315" y="209"/>
                        <a:pt x="315" y="209"/>
                        <a:pt x="315" y="209"/>
                      </a:cubicBezTo>
                      <a:cubicBezTo>
                        <a:pt x="315" y="211"/>
                        <a:pt x="315" y="211"/>
                        <a:pt x="315" y="211"/>
                      </a:cubicBezTo>
                      <a:cubicBezTo>
                        <a:pt x="314" y="211"/>
                        <a:pt x="314" y="211"/>
                        <a:pt x="314" y="211"/>
                      </a:cubicBezTo>
                      <a:cubicBezTo>
                        <a:pt x="314" y="214"/>
                        <a:pt x="314" y="214"/>
                        <a:pt x="314" y="214"/>
                      </a:cubicBezTo>
                      <a:cubicBezTo>
                        <a:pt x="316" y="216"/>
                        <a:pt x="316" y="216"/>
                        <a:pt x="316" y="216"/>
                      </a:cubicBezTo>
                      <a:cubicBezTo>
                        <a:pt x="318" y="218"/>
                        <a:pt x="318" y="218"/>
                        <a:pt x="318" y="218"/>
                      </a:cubicBezTo>
                      <a:cubicBezTo>
                        <a:pt x="320" y="219"/>
                        <a:pt x="320" y="219"/>
                        <a:pt x="320" y="219"/>
                      </a:cubicBezTo>
                      <a:cubicBezTo>
                        <a:pt x="320" y="219"/>
                        <a:pt x="320" y="219"/>
                        <a:pt x="320" y="219"/>
                      </a:cubicBezTo>
                      <a:cubicBezTo>
                        <a:pt x="322" y="219"/>
                        <a:pt x="322" y="219"/>
                        <a:pt x="322" y="219"/>
                      </a:cubicBezTo>
                      <a:cubicBezTo>
                        <a:pt x="323" y="220"/>
                        <a:pt x="323" y="220"/>
                        <a:pt x="323" y="220"/>
                      </a:cubicBezTo>
                      <a:cubicBezTo>
                        <a:pt x="323" y="223"/>
                        <a:pt x="323" y="223"/>
                        <a:pt x="323" y="223"/>
                      </a:cubicBezTo>
                      <a:cubicBezTo>
                        <a:pt x="326" y="225"/>
                        <a:pt x="326" y="225"/>
                        <a:pt x="326" y="225"/>
                      </a:cubicBezTo>
                      <a:cubicBezTo>
                        <a:pt x="327" y="227"/>
                        <a:pt x="327" y="227"/>
                        <a:pt x="327" y="227"/>
                      </a:cubicBezTo>
                      <a:cubicBezTo>
                        <a:pt x="328" y="233"/>
                        <a:pt x="328" y="233"/>
                        <a:pt x="328" y="233"/>
                      </a:cubicBezTo>
                      <a:cubicBezTo>
                        <a:pt x="329" y="235"/>
                        <a:pt x="329" y="235"/>
                        <a:pt x="329" y="235"/>
                      </a:cubicBezTo>
                      <a:cubicBezTo>
                        <a:pt x="329" y="236"/>
                        <a:pt x="329" y="236"/>
                        <a:pt x="329" y="236"/>
                      </a:cubicBezTo>
                      <a:cubicBezTo>
                        <a:pt x="329" y="238"/>
                        <a:pt x="329" y="238"/>
                        <a:pt x="329" y="238"/>
                      </a:cubicBezTo>
                      <a:cubicBezTo>
                        <a:pt x="331" y="240"/>
                        <a:pt x="331" y="240"/>
                        <a:pt x="331" y="240"/>
                      </a:cubicBezTo>
                      <a:cubicBezTo>
                        <a:pt x="331" y="243"/>
                        <a:pt x="331" y="243"/>
                        <a:pt x="331" y="243"/>
                      </a:cubicBezTo>
                      <a:cubicBezTo>
                        <a:pt x="334" y="247"/>
                        <a:pt x="334" y="247"/>
                        <a:pt x="334" y="247"/>
                      </a:cubicBezTo>
                      <a:cubicBezTo>
                        <a:pt x="333" y="250"/>
                        <a:pt x="333" y="250"/>
                        <a:pt x="333" y="250"/>
                      </a:cubicBezTo>
                      <a:cubicBezTo>
                        <a:pt x="334" y="252"/>
                        <a:pt x="334" y="252"/>
                        <a:pt x="334" y="252"/>
                      </a:cubicBezTo>
                      <a:cubicBezTo>
                        <a:pt x="336" y="254"/>
                        <a:pt x="336" y="254"/>
                        <a:pt x="336" y="254"/>
                      </a:cubicBezTo>
                      <a:cubicBezTo>
                        <a:pt x="335" y="255"/>
                        <a:pt x="335" y="255"/>
                        <a:pt x="335" y="255"/>
                      </a:cubicBezTo>
                      <a:cubicBezTo>
                        <a:pt x="336" y="256"/>
                        <a:pt x="336" y="256"/>
                        <a:pt x="336" y="256"/>
                      </a:cubicBezTo>
                      <a:cubicBezTo>
                        <a:pt x="337" y="261"/>
                        <a:pt x="337" y="261"/>
                        <a:pt x="337" y="261"/>
                      </a:cubicBezTo>
                      <a:cubicBezTo>
                        <a:pt x="341" y="266"/>
                        <a:pt x="341" y="266"/>
                        <a:pt x="341" y="266"/>
                      </a:cubicBezTo>
                      <a:cubicBezTo>
                        <a:pt x="344" y="267"/>
                        <a:pt x="344" y="267"/>
                        <a:pt x="344" y="267"/>
                      </a:cubicBezTo>
                      <a:cubicBezTo>
                        <a:pt x="345" y="268"/>
                        <a:pt x="345" y="268"/>
                        <a:pt x="345" y="268"/>
                      </a:cubicBezTo>
                      <a:cubicBezTo>
                        <a:pt x="347" y="269"/>
                        <a:pt x="347" y="269"/>
                        <a:pt x="347" y="269"/>
                      </a:cubicBezTo>
                      <a:cubicBezTo>
                        <a:pt x="350" y="272"/>
                        <a:pt x="350" y="272"/>
                        <a:pt x="350" y="272"/>
                      </a:cubicBezTo>
                      <a:cubicBezTo>
                        <a:pt x="350" y="273"/>
                        <a:pt x="350" y="273"/>
                        <a:pt x="350" y="273"/>
                      </a:cubicBezTo>
                      <a:cubicBezTo>
                        <a:pt x="349" y="273"/>
                        <a:pt x="349" y="273"/>
                        <a:pt x="349" y="273"/>
                      </a:cubicBezTo>
                      <a:cubicBezTo>
                        <a:pt x="349" y="275"/>
                        <a:pt x="349" y="275"/>
                        <a:pt x="349" y="275"/>
                      </a:cubicBezTo>
                      <a:cubicBezTo>
                        <a:pt x="348" y="278"/>
                        <a:pt x="348" y="278"/>
                        <a:pt x="348" y="278"/>
                      </a:cubicBezTo>
                      <a:cubicBezTo>
                        <a:pt x="349" y="281"/>
                        <a:pt x="349" y="281"/>
                        <a:pt x="349" y="281"/>
                      </a:cubicBezTo>
                      <a:cubicBezTo>
                        <a:pt x="352" y="284"/>
                        <a:pt x="352" y="284"/>
                        <a:pt x="352" y="284"/>
                      </a:cubicBezTo>
                      <a:cubicBezTo>
                        <a:pt x="352" y="287"/>
                        <a:pt x="352" y="287"/>
                        <a:pt x="352" y="287"/>
                      </a:cubicBezTo>
                      <a:cubicBezTo>
                        <a:pt x="350" y="288"/>
                        <a:pt x="350" y="288"/>
                        <a:pt x="350" y="288"/>
                      </a:cubicBezTo>
                      <a:cubicBezTo>
                        <a:pt x="350" y="289"/>
                        <a:pt x="350" y="289"/>
                        <a:pt x="350" y="289"/>
                      </a:cubicBezTo>
                      <a:cubicBezTo>
                        <a:pt x="349" y="291"/>
                        <a:pt x="349" y="291"/>
                        <a:pt x="349" y="291"/>
                      </a:cubicBezTo>
                      <a:cubicBezTo>
                        <a:pt x="350" y="292"/>
                        <a:pt x="350" y="292"/>
                        <a:pt x="350" y="292"/>
                      </a:cubicBezTo>
                      <a:cubicBezTo>
                        <a:pt x="350" y="296"/>
                        <a:pt x="350" y="296"/>
                        <a:pt x="350" y="296"/>
                      </a:cubicBezTo>
                      <a:cubicBezTo>
                        <a:pt x="348" y="297"/>
                        <a:pt x="348" y="297"/>
                        <a:pt x="348" y="297"/>
                      </a:cubicBezTo>
                      <a:cubicBezTo>
                        <a:pt x="348" y="298"/>
                        <a:pt x="348" y="298"/>
                        <a:pt x="348" y="298"/>
                      </a:cubicBezTo>
                      <a:cubicBezTo>
                        <a:pt x="349" y="298"/>
                        <a:pt x="349" y="298"/>
                        <a:pt x="349" y="298"/>
                      </a:cubicBezTo>
                      <a:cubicBezTo>
                        <a:pt x="350" y="299"/>
                        <a:pt x="350" y="299"/>
                        <a:pt x="350" y="299"/>
                      </a:cubicBezTo>
                      <a:cubicBezTo>
                        <a:pt x="347" y="300"/>
                        <a:pt x="347" y="300"/>
                        <a:pt x="347" y="300"/>
                      </a:cubicBezTo>
                      <a:cubicBezTo>
                        <a:pt x="347" y="304"/>
                        <a:pt x="347" y="304"/>
                        <a:pt x="347" y="304"/>
                      </a:cubicBezTo>
                      <a:cubicBezTo>
                        <a:pt x="346" y="306"/>
                        <a:pt x="346" y="306"/>
                        <a:pt x="346" y="306"/>
                      </a:cubicBezTo>
                      <a:cubicBezTo>
                        <a:pt x="344" y="304"/>
                        <a:pt x="344" y="304"/>
                        <a:pt x="344" y="304"/>
                      </a:cubicBezTo>
                      <a:cubicBezTo>
                        <a:pt x="344" y="306"/>
                        <a:pt x="344" y="306"/>
                        <a:pt x="344" y="306"/>
                      </a:cubicBezTo>
                      <a:cubicBezTo>
                        <a:pt x="346" y="308"/>
                        <a:pt x="346" y="308"/>
                        <a:pt x="346" y="308"/>
                      </a:cubicBezTo>
                      <a:cubicBezTo>
                        <a:pt x="346" y="310"/>
                        <a:pt x="346" y="310"/>
                        <a:pt x="346" y="310"/>
                      </a:cubicBezTo>
                      <a:cubicBezTo>
                        <a:pt x="344" y="311"/>
                        <a:pt x="344" y="311"/>
                        <a:pt x="344" y="311"/>
                      </a:cubicBezTo>
                      <a:cubicBezTo>
                        <a:pt x="343" y="312"/>
                        <a:pt x="343" y="312"/>
                        <a:pt x="343" y="312"/>
                      </a:cubicBezTo>
                      <a:cubicBezTo>
                        <a:pt x="339" y="313"/>
                        <a:pt x="339" y="313"/>
                        <a:pt x="339" y="313"/>
                      </a:cubicBezTo>
                      <a:cubicBezTo>
                        <a:pt x="337" y="311"/>
                        <a:pt x="337" y="311"/>
                        <a:pt x="337" y="311"/>
                      </a:cubicBezTo>
                      <a:cubicBezTo>
                        <a:pt x="340" y="309"/>
                        <a:pt x="340" y="309"/>
                        <a:pt x="340" y="309"/>
                      </a:cubicBezTo>
                      <a:cubicBezTo>
                        <a:pt x="340" y="308"/>
                        <a:pt x="340" y="308"/>
                        <a:pt x="340" y="308"/>
                      </a:cubicBezTo>
                      <a:cubicBezTo>
                        <a:pt x="338" y="308"/>
                        <a:pt x="338" y="308"/>
                        <a:pt x="338" y="308"/>
                      </a:cubicBezTo>
                      <a:cubicBezTo>
                        <a:pt x="338" y="309"/>
                        <a:pt x="338" y="309"/>
                        <a:pt x="338" y="309"/>
                      </a:cubicBezTo>
                      <a:cubicBezTo>
                        <a:pt x="336" y="309"/>
                        <a:pt x="336" y="309"/>
                        <a:pt x="336" y="309"/>
                      </a:cubicBezTo>
                      <a:cubicBezTo>
                        <a:pt x="332" y="307"/>
                        <a:pt x="332" y="307"/>
                        <a:pt x="332" y="307"/>
                      </a:cubicBezTo>
                      <a:cubicBezTo>
                        <a:pt x="331" y="308"/>
                        <a:pt x="331" y="308"/>
                        <a:pt x="331" y="308"/>
                      </a:cubicBezTo>
                      <a:cubicBezTo>
                        <a:pt x="325" y="309"/>
                        <a:pt x="325" y="309"/>
                        <a:pt x="325" y="309"/>
                      </a:cubicBezTo>
                      <a:cubicBezTo>
                        <a:pt x="323" y="309"/>
                        <a:pt x="323" y="309"/>
                        <a:pt x="323" y="309"/>
                      </a:cubicBezTo>
                      <a:cubicBezTo>
                        <a:pt x="321" y="312"/>
                        <a:pt x="321" y="312"/>
                        <a:pt x="321" y="312"/>
                      </a:cubicBezTo>
                      <a:cubicBezTo>
                        <a:pt x="323" y="312"/>
                        <a:pt x="323" y="312"/>
                        <a:pt x="323" y="312"/>
                      </a:cubicBezTo>
                      <a:cubicBezTo>
                        <a:pt x="323" y="313"/>
                        <a:pt x="323" y="313"/>
                        <a:pt x="323" y="313"/>
                      </a:cubicBezTo>
                      <a:cubicBezTo>
                        <a:pt x="324" y="311"/>
                        <a:pt x="324" y="311"/>
                        <a:pt x="324" y="311"/>
                      </a:cubicBezTo>
                      <a:cubicBezTo>
                        <a:pt x="327" y="310"/>
                        <a:pt x="327" y="310"/>
                        <a:pt x="327" y="310"/>
                      </a:cubicBezTo>
                      <a:cubicBezTo>
                        <a:pt x="328" y="312"/>
                        <a:pt x="328" y="312"/>
                        <a:pt x="328" y="312"/>
                      </a:cubicBezTo>
                      <a:cubicBezTo>
                        <a:pt x="331" y="315"/>
                        <a:pt x="331" y="315"/>
                        <a:pt x="331" y="315"/>
                      </a:cubicBezTo>
                      <a:cubicBezTo>
                        <a:pt x="338" y="316"/>
                        <a:pt x="338" y="316"/>
                        <a:pt x="338" y="316"/>
                      </a:cubicBezTo>
                      <a:cubicBezTo>
                        <a:pt x="341" y="317"/>
                        <a:pt x="341" y="317"/>
                        <a:pt x="341" y="317"/>
                      </a:cubicBezTo>
                      <a:cubicBezTo>
                        <a:pt x="345" y="316"/>
                        <a:pt x="345" y="316"/>
                        <a:pt x="345" y="316"/>
                      </a:cubicBezTo>
                      <a:cubicBezTo>
                        <a:pt x="348" y="316"/>
                        <a:pt x="348" y="316"/>
                        <a:pt x="348" y="316"/>
                      </a:cubicBezTo>
                      <a:cubicBezTo>
                        <a:pt x="349" y="317"/>
                        <a:pt x="349" y="317"/>
                        <a:pt x="349" y="317"/>
                      </a:cubicBezTo>
                      <a:cubicBezTo>
                        <a:pt x="352" y="318"/>
                        <a:pt x="352" y="318"/>
                        <a:pt x="352" y="318"/>
                      </a:cubicBezTo>
                      <a:cubicBezTo>
                        <a:pt x="355" y="316"/>
                        <a:pt x="355" y="316"/>
                        <a:pt x="355" y="316"/>
                      </a:cubicBezTo>
                      <a:cubicBezTo>
                        <a:pt x="355" y="314"/>
                        <a:pt x="355" y="314"/>
                        <a:pt x="355" y="314"/>
                      </a:cubicBezTo>
                      <a:cubicBezTo>
                        <a:pt x="354" y="313"/>
                        <a:pt x="354" y="313"/>
                        <a:pt x="354" y="313"/>
                      </a:cubicBezTo>
                      <a:cubicBezTo>
                        <a:pt x="354" y="310"/>
                        <a:pt x="354" y="310"/>
                        <a:pt x="354" y="310"/>
                      </a:cubicBezTo>
                      <a:cubicBezTo>
                        <a:pt x="355" y="309"/>
                        <a:pt x="355" y="309"/>
                        <a:pt x="355" y="309"/>
                      </a:cubicBezTo>
                      <a:cubicBezTo>
                        <a:pt x="357" y="308"/>
                        <a:pt x="357" y="308"/>
                        <a:pt x="357" y="308"/>
                      </a:cubicBezTo>
                      <a:cubicBezTo>
                        <a:pt x="357" y="306"/>
                        <a:pt x="357" y="306"/>
                        <a:pt x="357" y="306"/>
                      </a:cubicBezTo>
                      <a:cubicBezTo>
                        <a:pt x="360" y="304"/>
                        <a:pt x="360" y="304"/>
                        <a:pt x="360" y="304"/>
                      </a:cubicBezTo>
                      <a:cubicBezTo>
                        <a:pt x="360" y="302"/>
                        <a:pt x="360" y="302"/>
                        <a:pt x="360" y="302"/>
                      </a:cubicBezTo>
                      <a:cubicBezTo>
                        <a:pt x="362" y="297"/>
                        <a:pt x="362" y="297"/>
                        <a:pt x="362" y="297"/>
                      </a:cubicBezTo>
                      <a:cubicBezTo>
                        <a:pt x="360" y="294"/>
                        <a:pt x="360" y="294"/>
                        <a:pt x="360" y="294"/>
                      </a:cubicBezTo>
                      <a:cubicBezTo>
                        <a:pt x="361" y="291"/>
                        <a:pt x="361" y="291"/>
                        <a:pt x="361" y="291"/>
                      </a:cubicBezTo>
                      <a:cubicBezTo>
                        <a:pt x="364" y="286"/>
                        <a:pt x="364" y="286"/>
                        <a:pt x="364" y="286"/>
                      </a:cubicBezTo>
                      <a:cubicBezTo>
                        <a:pt x="364" y="284"/>
                        <a:pt x="364" y="284"/>
                        <a:pt x="364" y="284"/>
                      </a:cubicBezTo>
                      <a:cubicBezTo>
                        <a:pt x="361" y="276"/>
                        <a:pt x="361" y="276"/>
                        <a:pt x="361" y="276"/>
                      </a:cubicBezTo>
                      <a:cubicBezTo>
                        <a:pt x="357" y="274"/>
                        <a:pt x="357" y="274"/>
                        <a:pt x="357" y="274"/>
                      </a:cubicBezTo>
                      <a:cubicBezTo>
                        <a:pt x="356" y="272"/>
                        <a:pt x="356" y="272"/>
                        <a:pt x="356" y="272"/>
                      </a:cubicBezTo>
                      <a:cubicBezTo>
                        <a:pt x="356" y="267"/>
                        <a:pt x="356" y="267"/>
                        <a:pt x="356" y="267"/>
                      </a:cubicBezTo>
                      <a:cubicBezTo>
                        <a:pt x="359" y="264"/>
                        <a:pt x="359" y="264"/>
                        <a:pt x="359" y="264"/>
                      </a:cubicBezTo>
                      <a:cubicBezTo>
                        <a:pt x="360" y="262"/>
                        <a:pt x="360" y="262"/>
                        <a:pt x="360" y="262"/>
                      </a:cubicBezTo>
                      <a:cubicBezTo>
                        <a:pt x="363" y="262"/>
                        <a:pt x="363" y="262"/>
                        <a:pt x="363" y="262"/>
                      </a:cubicBezTo>
                      <a:cubicBezTo>
                        <a:pt x="367" y="258"/>
                        <a:pt x="367" y="258"/>
                        <a:pt x="367" y="258"/>
                      </a:cubicBezTo>
                      <a:cubicBezTo>
                        <a:pt x="369" y="258"/>
                        <a:pt x="369" y="258"/>
                        <a:pt x="369" y="258"/>
                      </a:cubicBezTo>
                      <a:cubicBezTo>
                        <a:pt x="372" y="261"/>
                        <a:pt x="372" y="261"/>
                        <a:pt x="372" y="261"/>
                      </a:cubicBezTo>
                      <a:cubicBezTo>
                        <a:pt x="372" y="263"/>
                        <a:pt x="372" y="263"/>
                        <a:pt x="372" y="263"/>
                      </a:cubicBezTo>
                      <a:cubicBezTo>
                        <a:pt x="375" y="265"/>
                        <a:pt x="375" y="265"/>
                        <a:pt x="375" y="265"/>
                      </a:cubicBezTo>
                      <a:cubicBezTo>
                        <a:pt x="376" y="266"/>
                        <a:pt x="376" y="266"/>
                        <a:pt x="376" y="266"/>
                      </a:cubicBezTo>
                      <a:cubicBezTo>
                        <a:pt x="377" y="266"/>
                        <a:pt x="377" y="266"/>
                        <a:pt x="377" y="266"/>
                      </a:cubicBezTo>
                      <a:cubicBezTo>
                        <a:pt x="380" y="269"/>
                        <a:pt x="380" y="269"/>
                        <a:pt x="380" y="269"/>
                      </a:cubicBezTo>
                      <a:cubicBezTo>
                        <a:pt x="379" y="272"/>
                        <a:pt x="379" y="272"/>
                        <a:pt x="379" y="272"/>
                      </a:cubicBezTo>
                      <a:cubicBezTo>
                        <a:pt x="381" y="273"/>
                        <a:pt x="381" y="273"/>
                        <a:pt x="381" y="273"/>
                      </a:cubicBezTo>
                      <a:cubicBezTo>
                        <a:pt x="381" y="275"/>
                        <a:pt x="381" y="275"/>
                        <a:pt x="381" y="275"/>
                      </a:cubicBezTo>
                      <a:cubicBezTo>
                        <a:pt x="383" y="278"/>
                        <a:pt x="383" y="278"/>
                        <a:pt x="383" y="278"/>
                      </a:cubicBezTo>
                      <a:cubicBezTo>
                        <a:pt x="384" y="280"/>
                        <a:pt x="384" y="280"/>
                        <a:pt x="384" y="280"/>
                      </a:cubicBezTo>
                      <a:cubicBezTo>
                        <a:pt x="383" y="281"/>
                        <a:pt x="383" y="281"/>
                        <a:pt x="383" y="281"/>
                      </a:cubicBezTo>
                      <a:cubicBezTo>
                        <a:pt x="384" y="283"/>
                        <a:pt x="384" y="283"/>
                        <a:pt x="384" y="283"/>
                      </a:cubicBezTo>
                      <a:cubicBezTo>
                        <a:pt x="386" y="283"/>
                        <a:pt x="386" y="283"/>
                        <a:pt x="386" y="283"/>
                      </a:cubicBezTo>
                      <a:cubicBezTo>
                        <a:pt x="389" y="285"/>
                        <a:pt x="389" y="285"/>
                        <a:pt x="389" y="285"/>
                      </a:cubicBezTo>
                      <a:cubicBezTo>
                        <a:pt x="392" y="285"/>
                        <a:pt x="392" y="285"/>
                        <a:pt x="392" y="285"/>
                      </a:cubicBezTo>
                      <a:cubicBezTo>
                        <a:pt x="393" y="284"/>
                        <a:pt x="393" y="284"/>
                        <a:pt x="393" y="284"/>
                      </a:cubicBezTo>
                      <a:cubicBezTo>
                        <a:pt x="396" y="284"/>
                        <a:pt x="396" y="284"/>
                        <a:pt x="396" y="284"/>
                      </a:cubicBezTo>
                      <a:cubicBezTo>
                        <a:pt x="397" y="283"/>
                        <a:pt x="397" y="283"/>
                        <a:pt x="397" y="283"/>
                      </a:cubicBezTo>
                      <a:cubicBezTo>
                        <a:pt x="398" y="282"/>
                        <a:pt x="398" y="282"/>
                        <a:pt x="398" y="282"/>
                      </a:cubicBezTo>
                      <a:cubicBezTo>
                        <a:pt x="397" y="281"/>
                        <a:pt x="397" y="281"/>
                        <a:pt x="397" y="281"/>
                      </a:cubicBezTo>
                      <a:cubicBezTo>
                        <a:pt x="395" y="282"/>
                        <a:pt x="395" y="282"/>
                        <a:pt x="395" y="282"/>
                      </a:cubicBezTo>
                      <a:cubicBezTo>
                        <a:pt x="394" y="280"/>
                        <a:pt x="394" y="280"/>
                        <a:pt x="394" y="280"/>
                      </a:cubicBezTo>
                      <a:cubicBezTo>
                        <a:pt x="393" y="283"/>
                        <a:pt x="393" y="283"/>
                        <a:pt x="393" y="283"/>
                      </a:cubicBezTo>
                      <a:cubicBezTo>
                        <a:pt x="390" y="283"/>
                        <a:pt x="390" y="283"/>
                        <a:pt x="390" y="283"/>
                      </a:cubicBezTo>
                      <a:cubicBezTo>
                        <a:pt x="389" y="281"/>
                        <a:pt x="389" y="281"/>
                        <a:pt x="389" y="281"/>
                      </a:cubicBezTo>
                      <a:cubicBezTo>
                        <a:pt x="386" y="281"/>
                        <a:pt x="386" y="281"/>
                        <a:pt x="386" y="281"/>
                      </a:cubicBezTo>
                      <a:cubicBezTo>
                        <a:pt x="385" y="279"/>
                        <a:pt x="385" y="279"/>
                        <a:pt x="385" y="279"/>
                      </a:cubicBezTo>
                      <a:cubicBezTo>
                        <a:pt x="386" y="278"/>
                        <a:pt x="386" y="278"/>
                        <a:pt x="386" y="278"/>
                      </a:cubicBezTo>
                      <a:cubicBezTo>
                        <a:pt x="385" y="277"/>
                        <a:pt x="385" y="277"/>
                        <a:pt x="385" y="277"/>
                      </a:cubicBezTo>
                      <a:cubicBezTo>
                        <a:pt x="383" y="274"/>
                        <a:pt x="383" y="274"/>
                        <a:pt x="383" y="274"/>
                      </a:cubicBezTo>
                      <a:cubicBezTo>
                        <a:pt x="384" y="271"/>
                        <a:pt x="384" y="271"/>
                        <a:pt x="384" y="271"/>
                      </a:cubicBezTo>
                      <a:cubicBezTo>
                        <a:pt x="385" y="270"/>
                        <a:pt x="385" y="270"/>
                        <a:pt x="385" y="270"/>
                      </a:cubicBezTo>
                      <a:cubicBezTo>
                        <a:pt x="387" y="269"/>
                        <a:pt x="387" y="269"/>
                        <a:pt x="387" y="269"/>
                      </a:cubicBezTo>
                      <a:cubicBezTo>
                        <a:pt x="386" y="268"/>
                        <a:pt x="386" y="268"/>
                        <a:pt x="386" y="268"/>
                      </a:cubicBezTo>
                      <a:cubicBezTo>
                        <a:pt x="385" y="266"/>
                        <a:pt x="385" y="266"/>
                        <a:pt x="385" y="266"/>
                      </a:cubicBezTo>
                      <a:cubicBezTo>
                        <a:pt x="385" y="266"/>
                        <a:pt x="385" y="266"/>
                        <a:pt x="385" y="266"/>
                      </a:cubicBezTo>
                      <a:cubicBezTo>
                        <a:pt x="384" y="264"/>
                        <a:pt x="384" y="264"/>
                        <a:pt x="384" y="264"/>
                      </a:cubicBezTo>
                      <a:cubicBezTo>
                        <a:pt x="381" y="263"/>
                        <a:pt x="381" y="263"/>
                        <a:pt x="381" y="263"/>
                      </a:cubicBezTo>
                      <a:cubicBezTo>
                        <a:pt x="381" y="261"/>
                        <a:pt x="381" y="261"/>
                        <a:pt x="381" y="261"/>
                      </a:cubicBezTo>
                      <a:cubicBezTo>
                        <a:pt x="379" y="258"/>
                        <a:pt x="379" y="258"/>
                        <a:pt x="379" y="258"/>
                      </a:cubicBezTo>
                      <a:cubicBezTo>
                        <a:pt x="375" y="258"/>
                        <a:pt x="375" y="258"/>
                        <a:pt x="375" y="258"/>
                      </a:cubicBezTo>
                      <a:cubicBezTo>
                        <a:pt x="371" y="256"/>
                        <a:pt x="371" y="256"/>
                        <a:pt x="371" y="256"/>
                      </a:cubicBezTo>
                      <a:cubicBezTo>
                        <a:pt x="370" y="254"/>
                        <a:pt x="370" y="254"/>
                        <a:pt x="370" y="254"/>
                      </a:cubicBezTo>
                      <a:cubicBezTo>
                        <a:pt x="368" y="255"/>
                        <a:pt x="368" y="255"/>
                        <a:pt x="368" y="255"/>
                      </a:cubicBezTo>
                      <a:cubicBezTo>
                        <a:pt x="364" y="253"/>
                        <a:pt x="364" y="253"/>
                        <a:pt x="364" y="253"/>
                      </a:cubicBezTo>
                      <a:cubicBezTo>
                        <a:pt x="362" y="253"/>
                        <a:pt x="362" y="253"/>
                        <a:pt x="362" y="253"/>
                      </a:cubicBezTo>
                      <a:cubicBezTo>
                        <a:pt x="360" y="252"/>
                        <a:pt x="360" y="252"/>
                        <a:pt x="360" y="252"/>
                      </a:cubicBezTo>
                      <a:cubicBezTo>
                        <a:pt x="358" y="255"/>
                        <a:pt x="358" y="255"/>
                        <a:pt x="358" y="255"/>
                      </a:cubicBezTo>
                      <a:cubicBezTo>
                        <a:pt x="357" y="258"/>
                        <a:pt x="357" y="258"/>
                        <a:pt x="357" y="258"/>
                      </a:cubicBezTo>
                      <a:cubicBezTo>
                        <a:pt x="356" y="259"/>
                        <a:pt x="356" y="259"/>
                        <a:pt x="356" y="259"/>
                      </a:cubicBezTo>
                      <a:cubicBezTo>
                        <a:pt x="352" y="258"/>
                        <a:pt x="352" y="258"/>
                        <a:pt x="352" y="258"/>
                      </a:cubicBezTo>
                      <a:cubicBezTo>
                        <a:pt x="349" y="259"/>
                        <a:pt x="349" y="259"/>
                        <a:pt x="349" y="259"/>
                      </a:cubicBezTo>
                      <a:cubicBezTo>
                        <a:pt x="347" y="259"/>
                        <a:pt x="347" y="259"/>
                        <a:pt x="347" y="259"/>
                      </a:cubicBezTo>
                      <a:cubicBezTo>
                        <a:pt x="346" y="257"/>
                        <a:pt x="346" y="257"/>
                        <a:pt x="346" y="257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6" y="253"/>
                        <a:pt x="346" y="253"/>
                        <a:pt x="346" y="253"/>
                      </a:cubicBezTo>
                      <a:cubicBezTo>
                        <a:pt x="342" y="249"/>
                        <a:pt x="342" y="249"/>
                        <a:pt x="342" y="249"/>
                      </a:cubicBezTo>
                      <a:cubicBezTo>
                        <a:pt x="341" y="246"/>
                        <a:pt x="341" y="246"/>
                        <a:pt x="341" y="246"/>
                      </a:cubicBezTo>
                      <a:cubicBezTo>
                        <a:pt x="341" y="242"/>
                        <a:pt x="341" y="242"/>
                        <a:pt x="341" y="242"/>
                      </a:cubicBezTo>
                      <a:cubicBezTo>
                        <a:pt x="339" y="238"/>
                        <a:pt x="339" y="238"/>
                        <a:pt x="339" y="238"/>
                      </a:cubicBezTo>
                      <a:cubicBezTo>
                        <a:pt x="339" y="236"/>
                        <a:pt x="339" y="236"/>
                        <a:pt x="339" y="236"/>
                      </a:cubicBezTo>
                      <a:cubicBezTo>
                        <a:pt x="340" y="230"/>
                        <a:pt x="340" y="230"/>
                        <a:pt x="340" y="230"/>
                      </a:cubicBezTo>
                      <a:cubicBezTo>
                        <a:pt x="338" y="226"/>
                        <a:pt x="338" y="226"/>
                        <a:pt x="338" y="226"/>
                      </a:cubicBezTo>
                      <a:cubicBezTo>
                        <a:pt x="336" y="223"/>
                        <a:pt x="336" y="223"/>
                        <a:pt x="336" y="223"/>
                      </a:cubicBezTo>
                      <a:cubicBezTo>
                        <a:pt x="334" y="223"/>
                        <a:pt x="334" y="223"/>
                        <a:pt x="334" y="223"/>
                      </a:cubicBezTo>
                      <a:cubicBezTo>
                        <a:pt x="333" y="220"/>
                        <a:pt x="333" y="220"/>
                        <a:pt x="333" y="220"/>
                      </a:cubicBezTo>
                      <a:cubicBezTo>
                        <a:pt x="328" y="217"/>
                        <a:pt x="328" y="217"/>
                        <a:pt x="328" y="217"/>
                      </a:cubicBezTo>
                      <a:cubicBezTo>
                        <a:pt x="325" y="214"/>
                        <a:pt x="325" y="214"/>
                        <a:pt x="325" y="214"/>
                      </a:cubicBezTo>
                      <a:cubicBezTo>
                        <a:pt x="324" y="212"/>
                        <a:pt x="324" y="212"/>
                        <a:pt x="324" y="212"/>
                      </a:cubicBezTo>
                      <a:cubicBezTo>
                        <a:pt x="326" y="208"/>
                        <a:pt x="326" y="208"/>
                        <a:pt x="326" y="208"/>
                      </a:cubicBezTo>
                      <a:cubicBezTo>
                        <a:pt x="325" y="205"/>
                        <a:pt x="325" y="205"/>
                        <a:pt x="325" y="205"/>
                      </a:cubicBezTo>
                      <a:cubicBezTo>
                        <a:pt x="324" y="204"/>
                        <a:pt x="324" y="204"/>
                        <a:pt x="324" y="204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26" y="200"/>
                        <a:pt x="326" y="200"/>
                        <a:pt x="326" y="200"/>
                      </a:cubicBezTo>
                      <a:cubicBezTo>
                        <a:pt x="329" y="197"/>
                        <a:pt x="329" y="197"/>
                        <a:pt x="329" y="197"/>
                      </a:cubicBezTo>
                      <a:cubicBezTo>
                        <a:pt x="330" y="192"/>
                        <a:pt x="330" y="192"/>
                        <a:pt x="330" y="192"/>
                      </a:cubicBezTo>
                      <a:cubicBezTo>
                        <a:pt x="329" y="187"/>
                        <a:pt x="329" y="187"/>
                        <a:pt x="329" y="187"/>
                      </a:cubicBezTo>
                      <a:cubicBezTo>
                        <a:pt x="325" y="179"/>
                        <a:pt x="325" y="179"/>
                        <a:pt x="325" y="179"/>
                      </a:cubicBezTo>
                      <a:cubicBezTo>
                        <a:pt x="326" y="178"/>
                        <a:pt x="326" y="178"/>
                        <a:pt x="326" y="178"/>
                      </a:cubicBezTo>
                      <a:cubicBezTo>
                        <a:pt x="329" y="180"/>
                        <a:pt x="329" y="180"/>
                        <a:pt x="329" y="180"/>
                      </a:cubicBezTo>
                      <a:cubicBezTo>
                        <a:pt x="329" y="183"/>
                        <a:pt x="329" y="183"/>
                        <a:pt x="329" y="183"/>
                      </a:cubicBezTo>
                      <a:cubicBezTo>
                        <a:pt x="330" y="183"/>
                        <a:pt x="330" y="183"/>
                        <a:pt x="330" y="183"/>
                      </a:cubicBezTo>
                      <a:cubicBezTo>
                        <a:pt x="331" y="184"/>
                        <a:pt x="331" y="184"/>
                        <a:pt x="331" y="184"/>
                      </a:cubicBezTo>
                      <a:cubicBezTo>
                        <a:pt x="331" y="187"/>
                        <a:pt x="331" y="187"/>
                        <a:pt x="331" y="187"/>
                      </a:cubicBezTo>
                      <a:cubicBezTo>
                        <a:pt x="334" y="190"/>
                        <a:pt x="334" y="190"/>
                        <a:pt x="334" y="190"/>
                      </a:cubicBezTo>
                      <a:cubicBezTo>
                        <a:pt x="333" y="194"/>
                        <a:pt x="333" y="194"/>
                        <a:pt x="333" y="194"/>
                      </a:cubicBezTo>
                      <a:cubicBezTo>
                        <a:pt x="335" y="197"/>
                        <a:pt x="335" y="197"/>
                        <a:pt x="335" y="197"/>
                      </a:cubicBezTo>
                      <a:cubicBezTo>
                        <a:pt x="334" y="199"/>
                        <a:pt x="334" y="199"/>
                        <a:pt x="334" y="199"/>
                      </a:cubicBezTo>
                      <a:cubicBezTo>
                        <a:pt x="335" y="201"/>
                        <a:pt x="335" y="201"/>
                        <a:pt x="335" y="201"/>
                      </a:cubicBezTo>
                      <a:cubicBezTo>
                        <a:pt x="338" y="204"/>
                        <a:pt x="338" y="204"/>
                        <a:pt x="338" y="204"/>
                      </a:cubicBezTo>
                      <a:cubicBezTo>
                        <a:pt x="338" y="205"/>
                        <a:pt x="338" y="205"/>
                        <a:pt x="338" y="205"/>
                      </a:cubicBezTo>
                      <a:cubicBezTo>
                        <a:pt x="340" y="207"/>
                        <a:pt x="340" y="207"/>
                        <a:pt x="340" y="207"/>
                      </a:cubicBezTo>
                      <a:cubicBezTo>
                        <a:pt x="340" y="208"/>
                        <a:pt x="340" y="208"/>
                        <a:pt x="340" y="208"/>
                      </a:cubicBezTo>
                      <a:cubicBezTo>
                        <a:pt x="338" y="210"/>
                        <a:pt x="338" y="210"/>
                        <a:pt x="338" y="210"/>
                      </a:cubicBezTo>
                      <a:cubicBezTo>
                        <a:pt x="339" y="211"/>
                        <a:pt x="339" y="211"/>
                        <a:pt x="339" y="211"/>
                      </a:cubicBezTo>
                      <a:cubicBezTo>
                        <a:pt x="341" y="211"/>
                        <a:pt x="341" y="211"/>
                        <a:pt x="341" y="211"/>
                      </a:cubicBezTo>
                      <a:cubicBezTo>
                        <a:pt x="344" y="212"/>
                        <a:pt x="344" y="212"/>
                        <a:pt x="344" y="212"/>
                      </a:cubicBezTo>
                      <a:cubicBezTo>
                        <a:pt x="348" y="212"/>
                        <a:pt x="348" y="212"/>
                        <a:pt x="348" y="212"/>
                      </a:cubicBezTo>
                      <a:cubicBezTo>
                        <a:pt x="349" y="212"/>
                        <a:pt x="349" y="212"/>
                        <a:pt x="349" y="212"/>
                      </a:cubicBezTo>
                      <a:cubicBezTo>
                        <a:pt x="351" y="213"/>
                        <a:pt x="351" y="213"/>
                        <a:pt x="351" y="213"/>
                      </a:cubicBezTo>
                      <a:cubicBezTo>
                        <a:pt x="352" y="214"/>
                        <a:pt x="352" y="214"/>
                        <a:pt x="352" y="214"/>
                      </a:cubicBezTo>
                      <a:cubicBezTo>
                        <a:pt x="354" y="212"/>
                        <a:pt x="354" y="212"/>
                        <a:pt x="354" y="212"/>
                      </a:cubicBezTo>
                      <a:cubicBezTo>
                        <a:pt x="356" y="212"/>
                        <a:pt x="356" y="212"/>
                        <a:pt x="356" y="212"/>
                      </a:cubicBezTo>
                      <a:cubicBezTo>
                        <a:pt x="358" y="211"/>
                        <a:pt x="358" y="211"/>
                        <a:pt x="358" y="211"/>
                      </a:cubicBezTo>
                      <a:cubicBezTo>
                        <a:pt x="359" y="211"/>
                        <a:pt x="359" y="211"/>
                        <a:pt x="359" y="211"/>
                      </a:cubicBezTo>
                      <a:cubicBezTo>
                        <a:pt x="362" y="214"/>
                        <a:pt x="362" y="214"/>
                        <a:pt x="362" y="214"/>
                      </a:cubicBezTo>
                      <a:cubicBezTo>
                        <a:pt x="364" y="215"/>
                        <a:pt x="364" y="215"/>
                        <a:pt x="364" y="215"/>
                      </a:cubicBezTo>
                      <a:cubicBezTo>
                        <a:pt x="366" y="216"/>
                        <a:pt x="366" y="216"/>
                        <a:pt x="366" y="216"/>
                      </a:cubicBezTo>
                      <a:cubicBezTo>
                        <a:pt x="370" y="215"/>
                        <a:pt x="370" y="215"/>
                        <a:pt x="370" y="215"/>
                      </a:cubicBezTo>
                      <a:cubicBezTo>
                        <a:pt x="372" y="214"/>
                        <a:pt x="372" y="214"/>
                        <a:pt x="372" y="214"/>
                      </a:cubicBezTo>
                      <a:cubicBezTo>
                        <a:pt x="370" y="215"/>
                        <a:pt x="370" y="215"/>
                        <a:pt x="370" y="215"/>
                      </a:cubicBezTo>
                      <a:cubicBezTo>
                        <a:pt x="366" y="214"/>
                        <a:pt x="366" y="214"/>
                        <a:pt x="366" y="214"/>
                      </a:cubicBezTo>
                      <a:cubicBezTo>
                        <a:pt x="366" y="212"/>
                        <a:pt x="366" y="212"/>
                        <a:pt x="366" y="212"/>
                      </a:cubicBezTo>
                      <a:cubicBezTo>
                        <a:pt x="364" y="212"/>
                        <a:pt x="364" y="212"/>
                        <a:pt x="364" y="212"/>
                      </a:cubicBezTo>
                      <a:cubicBezTo>
                        <a:pt x="363" y="209"/>
                        <a:pt x="363" y="209"/>
                        <a:pt x="363" y="209"/>
                      </a:cubicBezTo>
                      <a:cubicBezTo>
                        <a:pt x="360" y="209"/>
                        <a:pt x="360" y="209"/>
                        <a:pt x="360" y="209"/>
                      </a:cubicBezTo>
                      <a:cubicBezTo>
                        <a:pt x="360" y="208"/>
                        <a:pt x="360" y="208"/>
                        <a:pt x="360" y="208"/>
                      </a:cubicBezTo>
                      <a:cubicBezTo>
                        <a:pt x="359" y="207"/>
                        <a:pt x="359" y="207"/>
                        <a:pt x="359" y="207"/>
                      </a:cubicBezTo>
                      <a:cubicBezTo>
                        <a:pt x="357" y="209"/>
                        <a:pt x="357" y="209"/>
                        <a:pt x="357" y="209"/>
                      </a:cubicBezTo>
                      <a:cubicBezTo>
                        <a:pt x="353" y="208"/>
                        <a:pt x="353" y="208"/>
                        <a:pt x="353" y="208"/>
                      </a:cubicBezTo>
                      <a:cubicBezTo>
                        <a:pt x="351" y="207"/>
                        <a:pt x="351" y="207"/>
                        <a:pt x="351" y="207"/>
                      </a:cubicBezTo>
                      <a:cubicBezTo>
                        <a:pt x="348" y="207"/>
                        <a:pt x="348" y="207"/>
                        <a:pt x="348" y="207"/>
                      </a:cubicBezTo>
                      <a:cubicBezTo>
                        <a:pt x="344" y="204"/>
                        <a:pt x="344" y="204"/>
                        <a:pt x="344" y="204"/>
                      </a:cubicBezTo>
                      <a:cubicBezTo>
                        <a:pt x="344" y="201"/>
                        <a:pt x="344" y="201"/>
                        <a:pt x="344" y="201"/>
                      </a:cubicBezTo>
                      <a:cubicBezTo>
                        <a:pt x="342" y="201"/>
                        <a:pt x="342" y="201"/>
                        <a:pt x="342" y="201"/>
                      </a:cubicBezTo>
                      <a:cubicBezTo>
                        <a:pt x="339" y="197"/>
                        <a:pt x="339" y="197"/>
                        <a:pt x="339" y="197"/>
                      </a:cubicBezTo>
                      <a:cubicBezTo>
                        <a:pt x="341" y="196"/>
                        <a:pt x="341" y="196"/>
                        <a:pt x="341" y="196"/>
                      </a:cubicBezTo>
                      <a:cubicBezTo>
                        <a:pt x="342" y="195"/>
                        <a:pt x="342" y="195"/>
                        <a:pt x="342" y="195"/>
                      </a:cubicBezTo>
                      <a:cubicBezTo>
                        <a:pt x="344" y="193"/>
                        <a:pt x="344" y="193"/>
                        <a:pt x="344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49" y="196"/>
                        <a:pt x="349" y="196"/>
                        <a:pt x="349" y="196"/>
                      </a:cubicBezTo>
                      <a:cubicBezTo>
                        <a:pt x="353" y="198"/>
                        <a:pt x="353" y="198"/>
                        <a:pt x="353" y="198"/>
                      </a:cubicBezTo>
                      <a:cubicBezTo>
                        <a:pt x="356" y="197"/>
                        <a:pt x="356" y="197"/>
                        <a:pt x="356" y="197"/>
                      </a:cubicBezTo>
                      <a:cubicBezTo>
                        <a:pt x="358" y="193"/>
                        <a:pt x="358" y="193"/>
                        <a:pt x="358" y="193"/>
                      </a:cubicBezTo>
                      <a:cubicBezTo>
                        <a:pt x="356" y="190"/>
                        <a:pt x="356" y="190"/>
                        <a:pt x="356" y="190"/>
                      </a:cubicBezTo>
                      <a:cubicBezTo>
                        <a:pt x="352" y="189"/>
                        <a:pt x="352" y="189"/>
                        <a:pt x="352" y="189"/>
                      </a:cubicBezTo>
                      <a:cubicBezTo>
                        <a:pt x="349" y="191"/>
                        <a:pt x="349" y="191"/>
                        <a:pt x="349" y="191"/>
                      </a:cubicBezTo>
                      <a:cubicBezTo>
                        <a:pt x="348" y="190"/>
                        <a:pt x="348" y="190"/>
                        <a:pt x="348" y="190"/>
                      </a:cubicBezTo>
                      <a:cubicBezTo>
                        <a:pt x="348" y="188"/>
                        <a:pt x="348" y="188"/>
                        <a:pt x="348" y="188"/>
                      </a:cubicBezTo>
                      <a:cubicBezTo>
                        <a:pt x="349" y="189"/>
                        <a:pt x="349" y="189"/>
                        <a:pt x="349" y="189"/>
                      </a:cubicBezTo>
                      <a:cubicBezTo>
                        <a:pt x="351" y="188"/>
                        <a:pt x="351" y="188"/>
                        <a:pt x="351" y="188"/>
                      </a:cubicBezTo>
                      <a:cubicBezTo>
                        <a:pt x="351" y="186"/>
                        <a:pt x="351" y="186"/>
                        <a:pt x="351" y="186"/>
                      </a:cubicBezTo>
                      <a:cubicBezTo>
                        <a:pt x="353" y="182"/>
                        <a:pt x="353" y="182"/>
                        <a:pt x="353" y="182"/>
                      </a:cubicBezTo>
                      <a:cubicBezTo>
                        <a:pt x="355" y="181"/>
                        <a:pt x="355" y="181"/>
                        <a:pt x="355" y="181"/>
                      </a:cubicBezTo>
                      <a:cubicBezTo>
                        <a:pt x="357" y="182"/>
                        <a:pt x="357" y="182"/>
                        <a:pt x="357" y="182"/>
                      </a:cubicBezTo>
                      <a:cubicBezTo>
                        <a:pt x="364" y="182"/>
                        <a:pt x="364" y="182"/>
                        <a:pt x="364" y="182"/>
                      </a:cubicBezTo>
                      <a:cubicBezTo>
                        <a:pt x="366" y="184"/>
                        <a:pt x="366" y="184"/>
                        <a:pt x="366" y="184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cubicBezTo>
                        <a:pt x="374" y="187"/>
                        <a:pt x="374" y="187"/>
                        <a:pt x="374" y="187"/>
                      </a:cubicBezTo>
                      <a:cubicBezTo>
                        <a:pt x="375" y="188"/>
                        <a:pt x="375" y="188"/>
                        <a:pt x="375" y="188"/>
                      </a:cubicBezTo>
                      <a:cubicBezTo>
                        <a:pt x="377" y="190"/>
                        <a:pt x="377" y="190"/>
                        <a:pt x="377" y="190"/>
                      </a:cubicBezTo>
                      <a:cubicBezTo>
                        <a:pt x="381" y="194"/>
                        <a:pt x="381" y="194"/>
                        <a:pt x="381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9" y="193"/>
                        <a:pt x="389" y="193"/>
                        <a:pt x="389" y="193"/>
                      </a:cubicBezTo>
                      <a:cubicBezTo>
                        <a:pt x="393" y="191"/>
                        <a:pt x="393" y="191"/>
                        <a:pt x="393" y="191"/>
                      </a:cubicBezTo>
                      <a:cubicBezTo>
                        <a:pt x="394" y="192"/>
                        <a:pt x="394" y="192"/>
                        <a:pt x="394" y="192"/>
                      </a:cubicBezTo>
                      <a:cubicBezTo>
                        <a:pt x="395" y="192"/>
                        <a:pt x="395" y="192"/>
                        <a:pt x="395" y="192"/>
                      </a:cubicBezTo>
                      <a:cubicBezTo>
                        <a:pt x="398" y="192"/>
                        <a:pt x="398" y="192"/>
                        <a:pt x="398" y="192"/>
                      </a:cubicBezTo>
                      <a:cubicBezTo>
                        <a:pt x="397" y="196"/>
                        <a:pt x="397" y="196"/>
                        <a:pt x="397" y="196"/>
                      </a:cubicBezTo>
                      <a:cubicBezTo>
                        <a:pt x="397" y="198"/>
                        <a:pt x="397" y="198"/>
                        <a:pt x="397" y="198"/>
                      </a:cubicBezTo>
                      <a:cubicBezTo>
                        <a:pt x="397" y="199"/>
                        <a:pt x="397" y="199"/>
                        <a:pt x="397" y="199"/>
                      </a:cubicBezTo>
                      <a:cubicBezTo>
                        <a:pt x="394" y="201"/>
                        <a:pt x="394" y="201"/>
                        <a:pt x="394" y="201"/>
                      </a:cubicBezTo>
                      <a:cubicBezTo>
                        <a:pt x="394" y="204"/>
                        <a:pt x="394" y="204"/>
                        <a:pt x="394" y="204"/>
                      </a:cubicBezTo>
                      <a:cubicBezTo>
                        <a:pt x="396" y="206"/>
                        <a:pt x="396" y="206"/>
                        <a:pt x="396" y="206"/>
                      </a:cubicBezTo>
                      <a:cubicBezTo>
                        <a:pt x="396" y="209"/>
                        <a:pt x="396" y="209"/>
                        <a:pt x="396" y="209"/>
                      </a:cubicBezTo>
                      <a:cubicBezTo>
                        <a:pt x="399" y="212"/>
                        <a:pt x="399" y="212"/>
                        <a:pt x="399" y="212"/>
                      </a:cubicBezTo>
                      <a:cubicBezTo>
                        <a:pt x="399" y="214"/>
                        <a:pt x="399" y="214"/>
                        <a:pt x="399" y="214"/>
                      </a:cubicBezTo>
                      <a:cubicBezTo>
                        <a:pt x="398" y="216"/>
                        <a:pt x="398" y="216"/>
                        <a:pt x="398" y="216"/>
                      </a:cubicBezTo>
                      <a:cubicBezTo>
                        <a:pt x="399" y="222"/>
                        <a:pt x="399" y="222"/>
                        <a:pt x="399" y="222"/>
                      </a:cubicBezTo>
                      <a:cubicBezTo>
                        <a:pt x="400" y="222"/>
                        <a:pt x="400" y="222"/>
                        <a:pt x="400" y="222"/>
                      </a:cubicBezTo>
                      <a:cubicBezTo>
                        <a:pt x="400" y="220"/>
                        <a:pt x="400" y="220"/>
                        <a:pt x="400" y="220"/>
                      </a:cubicBezTo>
                      <a:cubicBezTo>
                        <a:pt x="400" y="218"/>
                        <a:pt x="400" y="218"/>
                        <a:pt x="400" y="218"/>
                      </a:cubicBezTo>
                      <a:cubicBezTo>
                        <a:pt x="401" y="217"/>
                        <a:pt x="401" y="217"/>
                        <a:pt x="401" y="217"/>
                      </a:cubicBezTo>
                      <a:cubicBezTo>
                        <a:pt x="401" y="214"/>
                        <a:pt x="401" y="214"/>
                        <a:pt x="401" y="214"/>
                      </a:cubicBezTo>
                      <a:cubicBezTo>
                        <a:pt x="402" y="214"/>
                        <a:pt x="402" y="214"/>
                        <a:pt x="402" y="214"/>
                      </a:cubicBezTo>
                      <a:cubicBezTo>
                        <a:pt x="403" y="211"/>
                        <a:pt x="403" y="211"/>
                        <a:pt x="403" y="211"/>
                      </a:cubicBezTo>
                      <a:cubicBezTo>
                        <a:pt x="405" y="212"/>
                        <a:pt x="405" y="212"/>
                        <a:pt x="405" y="212"/>
                      </a:cubicBezTo>
                      <a:cubicBezTo>
                        <a:pt x="406" y="215"/>
                        <a:pt x="406" y="215"/>
                        <a:pt x="406" y="215"/>
                      </a:cubicBezTo>
                      <a:cubicBezTo>
                        <a:pt x="406" y="220"/>
                        <a:pt x="406" y="220"/>
                        <a:pt x="406" y="220"/>
                      </a:cubicBezTo>
                      <a:cubicBezTo>
                        <a:pt x="407" y="221"/>
                        <a:pt x="407" y="221"/>
                        <a:pt x="407" y="221"/>
                      </a:cubicBezTo>
                      <a:cubicBezTo>
                        <a:pt x="406" y="222"/>
                        <a:pt x="406" y="222"/>
                        <a:pt x="406" y="222"/>
                      </a:cubicBezTo>
                      <a:cubicBezTo>
                        <a:pt x="406" y="225"/>
                        <a:pt x="406" y="225"/>
                        <a:pt x="406" y="225"/>
                      </a:cubicBezTo>
                      <a:cubicBezTo>
                        <a:pt x="405" y="225"/>
                        <a:pt x="405" y="225"/>
                        <a:pt x="405" y="225"/>
                      </a:cubicBezTo>
                      <a:cubicBezTo>
                        <a:pt x="408" y="228"/>
                        <a:pt x="408" y="228"/>
                        <a:pt x="408" y="228"/>
                      </a:cubicBezTo>
                      <a:cubicBezTo>
                        <a:pt x="411" y="227"/>
                        <a:pt x="411" y="227"/>
                        <a:pt x="411" y="227"/>
                      </a:cubicBezTo>
                      <a:cubicBezTo>
                        <a:pt x="414" y="228"/>
                        <a:pt x="414" y="228"/>
                        <a:pt x="414" y="228"/>
                      </a:cubicBezTo>
                      <a:cubicBezTo>
                        <a:pt x="416" y="231"/>
                        <a:pt x="416" y="231"/>
                        <a:pt x="416" y="231"/>
                      </a:cubicBezTo>
                      <a:cubicBezTo>
                        <a:pt x="416" y="233"/>
                        <a:pt x="416" y="233"/>
                        <a:pt x="416" y="233"/>
                      </a:cubicBezTo>
                      <a:cubicBezTo>
                        <a:pt x="418" y="235"/>
                        <a:pt x="418" y="235"/>
                        <a:pt x="418" y="235"/>
                      </a:cubicBezTo>
                      <a:cubicBezTo>
                        <a:pt x="422" y="235"/>
                        <a:pt x="422" y="235"/>
                        <a:pt x="422" y="235"/>
                      </a:cubicBezTo>
                      <a:cubicBezTo>
                        <a:pt x="426" y="239"/>
                        <a:pt x="426" y="239"/>
                        <a:pt x="426" y="239"/>
                      </a:cubicBezTo>
                      <a:cubicBezTo>
                        <a:pt x="426" y="237"/>
                        <a:pt x="426" y="237"/>
                        <a:pt x="426" y="237"/>
                      </a:cubicBezTo>
                      <a:cubicBezTo>
                        <a:pt x="426" y="235"/>
                        <a:pt x="426" y="235"/>
                        <a:pt x="426" y="235"/>
                      </a:cubicBezTo>
                      <a:cubicBezTo>
                        <a:pt x="429" y="231"/>
                        <a:pt x="429" y="231"/>
                        <a:pt x="429" y="231"/>
                      </a:cubicBezTo>
                      <a:cubicBezTo>
                        <a:pt x="431" y="231"/>
                        <a:pt x="431" y="231"/>
                        <a:pt x="431" y="231"/>
                      </a:cubicBezTo>
                      <a:cubicBezTo>
                        <a:pt x="435" y="235"/>
                        <a:pt x="435" y="235"/>
                        <a:pt x="435" y="235"/>
                      </a:cubicBezTo>
                      <a:cubicBezTo>
                        <a:pt x="438" y="235"/>
                        <a:pt x="438" y="235"/>
                        <a:pt x="438" y="235"/>
                      </a:cubicBezTo>
                      <a:cubicBezTo>
                        <a:pt x="439" y="237"/>
                        <a:pt x="439" y="237"/>
                        <a:pt x="439" y="237"/>
                      </a:cubicBezTo>
                      <a:cubicBezTo>
                        <a:pt x="440" y="240"/>
                        <a:pt x="440" y="240"/>
                        <a:pt x="440" y="240"/>
                      </a:cubicBezTo>
                      <a:cubicBezTo>
                        <a:pt x="440" y="236"/>
                        <a:pt x="440" y="236"/>
                        <a:pt x="440" y="236"/>
                      </a:cubicBezTo>
                      <a:cubicBezTo>
                        <a:pt x="439" y="234"/>
                        <a:pt x="439" y="234"/>
                        <a:pt x="439" y="234"/>
                      </a:cubicBezTo>
                      <a:cubicBezTo>
                        <a:pt x="437" y="234"/>
                        <a:pt x="437" y="234"/>
                        <a:pt x="437" y="234"/>
                      </a:cubicBezTo>
                      <a:cubicBezTo>
                        <a:pt x="434" y="233"/>
                        <a:pt x="434" y="233"/>
                        <a:pt x="434" y="233"/>
                      </a:cubicBezTo>
                      <a:cubicBezTo>
                        <a:pt x="431" y="230"/>
                        <a:pt x="431" y="230"/>
                        <a:pt x="431" y="230"/>
                      </a:cubicBezTo>
                      <a:cubicBezTo>
                        <a:pt x="427" y="231"/>
                        <a:pt x="427" y="231"/>
                        <a:pt x="427" y="231"/>
                      </a:cubicBezTo>
                      <a:cubicBezTo>
                        <a:pt x="424" y="233"/>
                        <a:pt x="424" y="233"/>
                        <a:pt x="424" y="233"/>
                      </a:cubicBezTo>
                      <a:cubicBezTo>
                        <a:pt x="423" y="233"/>
                        <a:pt x="423" y="233"/>
                        <a:pt x="423" y="233"/>
                      </a:cubicBezTo>
                      <a:cubicBezTo>
                        <a:pt x="422" y="233"/>
                        <a:pt x="422" y="233"/>
                        <a:pt x="422" y="233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15" y="228"/>
                        <a:pt x="415" y="228"/>
                        <a:pt x="415" y="228"/>
                      </a:cubicBezTo>
                      <a:cubicBezTo>
                        <a:pt x="414" y="226"/>
                        <a:pt x="414" y="226"/>
                        <a:pt x="414" y="226"/>
                      </a:cubicBezTo>
                      <a:cubicBezTo>
                        <a:pt x="410" y="226"/>
                        <a:pt x="410" y="226"/>
                        <a:pt x="410" y="226"/>
                      </a:cubicBezTo>
                      <a:cubicBezTo>
                        <a:pt x="408" y="223"/>
                        <a:pt x="408" y="223"/>
                        <a:pt x="408" y="223"/>
                      </a:cubicBezTo>
                      <a:cubicBezTo>
                        <a:pt x="410" y="224"/>
                        <a:pt x="410" y="224"/>
                        <a:pt x="410" y="224"/>
                      </a:cubicBezTo>
                      <a:cubicBezTo>
                        <a:pt x="411" y="224"/>
                        <a:pt x="411" y="224"/>
                        <a:pt x="411" y="224"/>
                      </a:cubicBezTo>
                      <a:cubicBezTo>
                        <a:pt x="413" y="219"/>
                        <a:pt x="413" y="219"/>
                        <a:pt x="413" y="219"/>
                      </a:cubicBezTo>
                      <a:cubicBezTo>
                        <a:pt x="413" y="217"/>
                        <a:pt x="413" y="217"/>
                        <a:pt x="413" y="217"/>
                      </a:cubicBezTo>
                      <a:cubicBezTo>
                        <a:pt x="410" y="215"/>
                        <a:pt x="410" y="215"/>
                        <a:pt x="410" y="215"/>
                      </a:cubicBezTo>
                      <a:cubicBezTo>
                        <a:pt x="409" y="210"/>
                        <a:pt x="409" y="210"/>
                        <a:pt x="409" y="210"/>
                      </a:cubicBezTo>
                      <a:cubicBezTo>
                        <a:pt x="406" y="206"/>
                        <a:pt x="406" y="206"/>
                        <a:pt x="406" y="206"/>
                      </a:cubicBezTo>
                      <a:cubicBezTo>
                        <a:pt x="404" y="204"/>
                        <a:pt x="404" y="204"/>
                        <a:pt x="404" y="204"/>
                      </a:cubicBezTo>
                      <a:cubicBezTo>
                        <a:pt x="402" y="202"/>
                        <a:pt x="402" y="202"/>
                        <a:pt x="402" y="202"/>
                      </a:cubicBezTo>
                      <a:cubicBezTo>
                        <a:pt x="402" y="199"/>
                        <a:pt x="402" y="199"/>
                        <a:pt x="402" y="199"/>
                      </a:cubicBezTo>
                      <a:cubicBezTo>
                        <a:pt x="402" y="197"/>
                        <a:pt x="402" y="197"/>
                        <a:pt x="402" y="197"/>
                      </a:cubicBezTo>
                      <a:cubicBezTo>
                        <a:pt x="401" y="192"/>
                        <a:pt x="401" y="192"/>
                        <a:pt x="401" y="192"/>
                      </a:cubicBezTo>
                      <a:cubicBezTo>
                        <a:pt x="399" y="190"/>
                        <a:pt x="399" y="190"/>
                        <a:pt x="399" y="190"/>
                      </a:cubicBezTo>
                      <a:cubicBezTo>
                        <a:pt x="398" y="190"/>
                        <a:pt x="398" y="190"/>
                        <a:pt x="398" y="190"/>
                      </a:cubicBezTo>
                      <a:cubicBezTo>
                        <a:pt x="394" y="188"/>
                        <a:pt x="394" y="188"/>
                        <a:pt x="394" y="188"/>
                      </a:cubicBezTo>
                      <a:cubicBezTo>
                        <a:pt x="389" y="187"/>
                        <a:pt x="389" y="187"/>
                        <a:pt x="389" y="187"/>
                      </a:cubicBezTo>
                      <a:cubicBezTo>
                        <a:pt x="388" y="185"/>
                        <a:pt x="388" y="185"/>
                        <a:pt x="388" y="185"/>
                      </a:cubicBezTo>
                      <a:cubicBezTo>
                        <a:pt x="385" y="183"/>
                        <a:pt x="385" y="183"/>
                        <a:pt x="385" y="183"/>
                      </a:cubicBezTo>
                      <a:cubicBezTo>
                        <a:pt x="385" y="181"/>
                        <a:pt x="385" y="181"/>
                        <a:pt x="385" y="181"/>
                      </a:cubicBezTo>
                      <a:cubicBezTo>
                        <a:pt x="384" y="179"/>
                        <a:pt x="384" y="179"/>
                        <a:pt x="384" y="179"/>
                      </a:cubicBezTo>
                      <a:cubicBezTo>
                        <a:pt x="384" y="177"/>
                        <a:pt x="384" y="177"/>
                        <a:pt x="384" y="177"/>
                      </a:cubicBezTo>
                      <a:cubicBezTo>
                        <a:pt x="382" y="179"/>
                        <a:pt x="382" y="179"/>
                        <a:pt x="382" y="179"/>
                      </a:cubicBezTo>
                      <a:cubicBezTo>
                        <a:pt x="375" y="179"/>
                        <a:pt x="375" y="179"/>
                        <a:pt x="375" y="179"/>
                      </a:cubicBezTo>
                      <a:cubicBezTo>
                        <a:pt x="373" y="179"/>
                        <a:pt x="373" y="179"/>
                        <a:pt x="373" y="179"/>
                      </a:cubicBezTo>
                      <a:cubicBezTo>
                        <a:pt x="370" y="177"/>
                        <a:pt x="370" y="177"/>
                        <a:pt x="370" y="177"/>
                      </a:cubicBezTo>
                      <a:cubicBezTo>
                        <a:pt x="370" y="174"/>
                        <a:pt x="370" y="174"/>
                        <a:pt x="370" y="174"/>
                      </a:cubicBezTo>
                      <a:cubicBezTo>
                        <a:pt x="369" y="174"/>
                        <a:pt x="369" y="174"/>
                        <a:pt x="369" y="174"/>
                      </a:cubicBezTo>
                      <a:cubicBezTo>
                        <a:pt x="368" y="173"/>
                        <a:pt x="368" y="173"/>
                        <a:pt x="368" y="173"/>
                      </a:cubicBezTo>
                      <a:cubicBezTo>
                        <a:pt x="368" y="169"/>
                        <a:pt x="368" y="169"/>
                        <a:pt x="368" y="169"/>
                      </a:cubicBezTo>
                      <a:cubicBezTo>
                        <a:pt x="366" y="165"/>
                        <a:pt x="366" y="165"/>
                        <a:pt x="366" y="165"/>
                      </a:cubicBezTo>
                      <a:cubicBezTo>
                        <a:pt x="362" y="163"/>
                        <a:pt x="362" y="163"/>
                        <a:pt x="362" y="163"/>
                      </a:cubicBezTo>
                      <a:cubicBezTo>
                        <a:pt x="363" y="161"/>
                        <a:pt x="363" y="161"/>
                        <a:pt x="363" y="161"/>
                      </a:cubicBezTo>
                      <a:cubicBezTo>
                        <a:pt x="363" y="160"/>
                        <a:pt x="363" y="160"/>
                        <a:pt x="363" y="160"/>
                      </a:cubicBezTo>
                      <a:cubicBezTo>
                        <a:pt x="361" y="160"/>
                        <a:pt x="361" y="160"/>
                        <a:pt x="361" y="160"/>
                      </a:cubicBezTo>
                      <a:cubicBezTo>
                        <a:pt x="360" y="159"/>
                        <a:pt x="360" y="159"/>
                        <a:pt x="360" y="159"/>
                      </a:cubicBezTo>
                      <a:cubicBezTo>
                        <a:pt x="360" y="156"/>
                        <a:pt x="360" y="156"/>
                        <a:pt x="360" y="156"/>
                      </a:cubicBezTo>
                      <a:cubicBezTo>
                        <a:pt x="360" y="154"/>
                        <a:pt x="360" y="154"/>
                        <a:pt x="360" y="154"/>
                      </a:cubicBezTo>
                      <a:cubicBezTo>
                        <a:pt x="358" y="153"/>
                        <a:pt x="358" y="153"/>
                        <a:pt x="358" y="153"/>
                      </a:cubicBezTo>
                      <a:cubicBezTo>
                        <a:pt x="360" y="151"/>
                        <a:pt x="360" y="151"/>
                        <a:pt x="360" y="151"/>
                      </a:cubicBezTo>
                      <a:cubicBezTo>
                        <a:pt x="362" y="151"/>
                        <a:pt x="362" y="151"/>
                        <a:pt x="362" y="151"/>
                      </a:cubicBezTo>
                      <a:cubicBezTo>
                        <a:pt x="365" y="149"/>
                        <a:pt x="365" y="149"/>
                        <a:pt x="365" y="149"/>
                      </a:cubicBezTo>
                      <a:cubicBezTo>
                        <a:pt x="367" y="149"/>
                        <a:pt x="367" y="149"/>
                        <a:pt x="367" y="149"/>
                      </a:cubicBezTo>
                      <a:cubicBezTo>
                        <a:pt x="372" y="148"/>
                        <a:pt x="372" y="148"/>
                        <a:pt x="372" y="148"/>
                      </a:cubicBezTo>
                      <a:cubicBezTo>
                        <a:pt x="380" y="145"/>
                        <a:pt x="380" y="145"/>
                        <a:pt x="380" y="145"/>
                      </a:cubicBezTo>
                      <a:cubicBezTo>
                        <a:pt x="383" y="142"/>
                        <a:pt x="383" y="142"/>
                        <a:pt x="383" y="142"/>
                      </a:cubicBezTo>
                      <a:cubicBezTo>
                        <a:pt x="385" y="142"/>
                        <a:pt x="385" y="142"/>
                        <a:pt x="385" y="142"/>
                      </a:cubicBezTo>
                      <a:cubicBezTo>
                        <a:pt x="387" y="143"/>
                        <a:pt x="387" y="143"/>
                        <a:pt x="387" y="143"/>
                      </a:cubicBezTo>
                      <a:cubicBezTo>
                        <a:pt x="389" y="142"/>
                        <a:pt x="389" y="142"/>
                        <a:pt x="389" y="142"/>
                      </a:cubicBezTo>
                      <a:cubicBezTo>
                        <a:pt x="390" y="139"/>
                        <a:pt x="390" y="139"/>
                        <a:pt x="390" y="139"/>
                      </a:cubicBezTo>
                      <a:cubicBezTo>
                        <a:pt x="394" y="138"/>
                        <a:pt x="394" y="138"/>
                        <a:pt x="394" y="138"/>
                      </a:cubicBezTo>
                      <a:cubicBezTo>
                        <a:pt x="400" y="135"/>
                        <a:pt x="400" y="135"/>
                        <a:pt x="400" y="135"/>
                      </a:cubicBezTo>
                      <a:cubicBezTo>
                        <a:pt x="401" y="136"/>
                        <a:pt x="401" y="136"/>
                        <a:pt x="401" y="136"/>
                      </a:cubicBezTo>
                      <a:cubicBezTo>
                        <a:pt x="400" y="138"/>
                        <a:pt x="400" y="138"/>
                        <a:pt x="400" y="138"/>
                      </a:cubicBezTo>
                      <a:cubicBezTo>
                        <a:pt x="400" y="139"/>
                        <a:pt x="400" y="139"/>
                        <a:pt x="400" y="139"/>
                      </a:cubicBezTo>
                      <a:cubicBezTo>
                        <a:pt x="399" y="140"/>
                        <a:pt x="399" y="140"/>
                        <a:pt x="399" y="140"/>
                      </a:cubicBezTo>
                      <a:cubicBezTo>
                        <a:pt x="397" y="144"/>
                        <a:pt x="397" y="144"/>
                        <a:pt x="397" y="144"/>
                      </a:cubicBezTo>
                      <a:cubicBezTo>
                        <a:pt x="397" y="147"/>
                        <a:pt x="397" y="147"/>
                        <a:pt x="397" y="147"/>
                      </a:cubicBezTo>
                      <a:cubicBezTo>
                        <a:pt x="401" y="150"/>
                        <a:pt x="401" y="150"/>
                        <a:pt x="401" y="150"/>
                      </a:cubicBezTo>
                      <a:cubicBezTo>
                        <a:pt x="405" y="150"/>
                        <a:pt x="405" y="150"/>
                        <a:pt x="405" y="150"/>
                      </a:cubicBezTo>
                      <a:cubicBezTo>
                        <a:pt x="403" y="149"/>
                        <a:pt x="403" y="149"/>
                        <a:pt x="403" y="149"/>
                      </a:cubicBezTo>
                      <a:cubicBezTo>
                        <a:pt x="399" y="145"/>
                        <a:pt x="399" y="145"/>
                        <a:pt x="399" y="145"/>
                      </a:cubicBezTo>
                      <a:cubicBezTo>
                        <a:pt x="399" y="144"/>
                        <a:pt x="399" y="144"/>
                        <a:pt x="399" y="144"/>
                      </a:cubicBezTo>
                      <a:cubicBezTo>
                        <a:pt x="401" y="142"/>
                        <a:pt x="401" y="142"/>
                        <a:pt x="401" y="142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06" y="136"/>
                        <a:pt x="406" y="136"/>
                        <a:pt x="406" y="136"/>
                      </a:cubicBezTo>
                      <a:cubicBezTo>
                        <a:pt x="404" y="133"/>
                        <a:pt x="404" y="133"/>
                        <a:pt x="404" y="133"/>
                      </a:cubicBezTo>
                      <a:cubicBezTo>
                        <a:pt x="402" y="133"/>
                        <a:pt x="402" y="133"/>
                        <a:pt x="402" y="133"/>
                      </a:cubicBezTo>
                      <a:cubicBezTo>
                        <a:pt x="399" y="131"/>
                        <a:pt x="399" y="131"/>
                        <a:pt x="399" y="131"/>
                      </a:cubicBezTo>
                      <a:cubicBezTo>
                        <a:pt x="400" y="129"/>
                        <a:pt x="400" y="129"/>
                        <a:pt x="400" y="129"/>
                      </a:cubicBezTo>
                      <a:cubicBezTo>
                        <a:pt x="397" y="129"/>
                        <a:pt x="397" y="129"/>
                        <a:pt x="397" y="129"/>
                      </a:cubicBezTo>
                      <a:cubicBezTo>
                        <a:pt x="396" y="130"/>
                        <a:pt x="396" y="130"/>
                        <a:pt x="396" y="130"/>
                      </a:cubicBezTo>
                      <a:cubicBezTo>
                        <a:pt x="395" y="129"/>
                        <a:pt x="395" y="129"/>
                        <a:pt x="395" y="129"/>
                      </a:cubicBezTo>
                      <a:cubicBezTo>
                        <a:pt x="394" y="127"/>
                        <a:pt x="394" y="127"/>
                        <a:pt x="394" y="127"/>
                      </a:cubicBezTo>
                      <a:cubicBezTo>
                        <a:pt x="391" y="127"/>
                        <a:pt x="391" y="127"/>
                        <a:pt x="391" y="127"/>
                      </a:cubicBezTo>
                      <a:cubicBezTo>
                        <a:pt x="389" y="128"/>
                        <a:pt x="389" y="128"/>
                        <a:pt x="389" y="128"/>
                      </a:cubicBezTo>
                      <a:cubicBezTo>
                        <a:pt x="387" y="125"/>
                        <a:pt x="387" y="125"/>
                        <a:pt x="387" y="125"/>
                      </a:cubicBezTo>
                      <a:cubicBezTo>
                        <a:pt x="388" y="124"/>
                        <a:pt x="388" y="124"/>
                        <a:pt x="388" y="124"/>
                      </a:cubicBezTo>
                      <a:cubicBezTo>
                        <a:pt x="388" y="123"/>
                        <a:pt x="388" y="123"/>
                        <a:pt x="388" y="123"/>
                      </a:cubicBezTo>
                      <a:cubicBezTo>
                        <a:pt x="389" y="122"/>
                        <a:pt x="389" y="122"/>
                        <a:pt x="389" y="122"/>
                      </a:cubicBezTo>
                      <a:cubicBezTo>
                        <a:pt x="391" y="124"/>
                        <a:pt x="391" y="124"/>
                        <a:pt x="391" y="124"/>
                      </a:cubicBezTo>
                      <a:cubicBezTo>
                        <a:pt x="393" y="124"/>
                        <a:pt x="393" y="124"/>
                        <a:pt x="393" y="124"/>
                      </a:cubicBezTo>
                      <a:cubicBezTo>
                        <a:pt x="395" y="123"/>
                        <a:pt x="395" y="123"/>
                        <a:pt x="395" y="123"/>
                      </a:cubicBezTo>
                      <a:cubicBezTo>
                        <a:pt x="395" y="121"/>
                        <a:pt x="395" y="121"/>
                        <a:pt x="395" y="121"/>
                      </a:cubicBezTo>
                      <a:cubicBezTo>
                        <a:pt x="394" y="122"/>
                        <a:pt x="394" y="122"/>
                        <a:pt x="394" y="122"/>
                      </a:cubicBezTo>
                      <a:cubicBezTo>
                        <a:pt x="392" y="122"/>
                        <a:pt x="392" y="122"/>
                        <a:pt x="392" y="122"/>
                      </a:cubicBezTo>
                      <a:cubicBezTo>
                        <a:pt x="390" y="121"/>
                        <a:pt x="390" y="121"/>
                        <a:pt x="390" y="121"/>
                      </a:cubicBezTo>
                      <a:cubicBezTo>
                        <a:pt x="389" y="119"/>
                        <a:pt x="389" y="119"/>
                        <a:pt x="389" y="119"/>
                      </a:cubicBezTo>
                      <a:cubicBezTo>
                        <a:pt x="387" y="119"/>
                        <a:pt x="387" y="119"/>
                        <a:pt x="387" y="119"/>
                      </a:cubicBezTo>
                      <a:cubicBezTo>
                        <a:pt x="384" y="118"/>
                        <a:pt x="384" y="118"/>
                        <a:pt x="384" y="118"/>
                      </a:cubicBezTo>
                      <a:cubicBezTo>
                        <a:pt x="382" y="119"/>
                        <a:pt x="382" y="119"/>
                        <a:pt x="382" y="119"/>
                      </a:cubicBezTo>
                      <a:cubicBezTo>
                        <a:pt x="381" y="117"/>
                        <a:pt x="381" y="117"/>
                        <a:pt x="381" y="117"/>
                      </a:cubicBezTo>
                      <a:cubicBezTo>
                        <a:pt x="382" y="115"/>
                        <a:pt x="382" y="115"/>
                        <a:pt x="382" y="115"/>
                      </a:cubicBezTo>
                      <a:cubicBezTo>
                        <a:pt x="382" y="114"/>
                        <a:pt x="382" y="114"/>
                        <a:pt x="382" y="114"/>
                      </a:cubicBezTo>
                      <a:cubicBezTo>
                        <a:pt x="381" y="112"/>
                        <a:pt x="381" y="112"/>
                        <a:pt x="381" y="112"/>
                      </a:cubicBezTo>
                      <a:cubicBezTo>
                        <a:pt x="381" y="112"/>
                        <a:pt x="381" y="112"/>
                        <a:pt x="381" y="112"/>
                      </a:cubicBezTo>
                      <a:cubicBezTo>
                        <a:pt x="383" y="112"/>
                        <a:pt x="383" y="112"/>
                        <a:pt x="383" y="112"/>
                      </a:cubicBezTo>
                      <a:cubicBezTo>
                        <a:pt x="385" y="115"/>
                        <a:pt x="385" y="115"/>
                        <a:pt x="385" y="115"/>
                      </a:cubicBezTo>
                      <a:cubicBezTo>
                        <a:pt x="386" y="114"/>
                        <a:pt x="386" y="114"/>
                        <a:pt x="386" y="114"/>
                      </a:cubicBezTo>
                      <a:cubicBezTo>
                        <a:pt x="389" y="117"/>
                        <a:pt x="389" y="117"/>
                        <a:pt x="389" y="117"/>
                      </a:cubicBezTo>
                      <a:cubicBezTo>
                        <a:pt x="389" y="116"/>
                        <a:pt x="389" y="116"/>
                        <a:pt x="389" y="116"/>
                      </a:cubicBezTo>
                      <a:cubicBezTo>
                        <a:pt x="388" y="114"/>
                        <a:pt x="388" y="114"/>
                        <a:pt x="388" y="114"/>
                      </a:cubicBezTo>
                      <a:cubicBezTo>
                        <a:pt x="390" y="113"/>
                        <a:pt x="390" y="113"/>
                        <a:pt x="390" y="113"/>
                      </a:cubicBezTo>
                      <a:cubicBezTo>
                        <a:pt x="391" y="109"/>
                        <a:pt x="391" y="109"/>
                        <a:pt x="391" y="109"/>
                      </a:cubicBezTo>
                      <a:cubicBezTo>
                        <a:pt x="389" y="108"/>
                        <a:pt x="389" y="108"/>
                        <a:pt x="389" y="108"/>
                      </a:cubicBezTo>
                      <a:cubicBezTo>
                        <a:pt x="390" y="107"/>
                        <a:pt x="390" y="107"/>
                        <a:pt x="390" y="107"/>
                      </a:cubicBezTo>
                      <a:cubicBezTo>
                        <a:pt x="392" y="107"/>
                        <a:pt x="392" y="107"/>
                        <a:pt x="392" y="107"/>
                      </a:cubicBezTo>
                      <a:cubicBezTo>
                        <a:pt x="393" y="106"/>
                        <a:pt x="393" y="106"/>
                        <a:pt x="393" y="106"/>
                      </a:cubicBezTo>
                      <a:cubicBezTo>
                        <a:pt x="388" y="105"/>
                        <a:pt x="388" y="105"/>
                        <a:pt x="388" y="105"/>
                      </a:cubicBezTo>
                      <a:cubicBezTo>
                        <a:pt x="387" y="106"/>
                        <a:pt x="387" y="106"/>
                        <a:pt x="387" y="106"/>
                      </a:cubicBezTo>
                      <a:cubicBezTo>
                        <a:pt x="386" y="106"/>
                        <a:pt x="386" y="106"/>
                        <a:pt x="386" y="106"/>
                      </a:cubicBezTo>
                      <a:cubicBezTo>
                        <a:pt x="386" y="104"/>
                        <a:pt x="386" y="104"/>
                        <a:pt x="386" y="104"/>
                      </a:cubicBezTo>
                      <a:cubicBezTo>
                        <a:pt x="388" y="102"/>
                        <a:pt x="388" y="102"/>
                        <a:pt x="388" y="102"/>
                      </a:cubicBezTo>
                      <a:cubicBezTo>
                        <a:pt x="391" y="102"/>
                        <a:pt x="391" y="102"/>
                        <a:pt x="391" y="102"/>
                      </a:cubicBezTo>
                      <a:cubicBezTo>
                        <a:pt x="393" y="101"/>
                        <a:pt x="393" y="101"/>
                        <a:pt x="393" y="101"/>
                      </a:cubicBezTo>
                      <a:cubicBezTo>
                        <a:pt x="393" y="100"/>
                        <a:pt x="393" y="100"/>
                        <a:pt x="393" y="100"/>
                      </a:cubicBezTo>
                      <a:cubicBezTo>
                        <a:pt x="395" y="97"/>
                        <a:pt x="395" y="97"/>
                        <a:pt x="395" y="97"/>
                      </a:cubicBezTo>
                      <a:cubicBezTo>
                        <a:pt x="395" y="96"/>
                        <a:pt x="395" y="96"/>
                        <a:pt x="395" y="96"/>
                      </a:cubicBezTo>
                      <a:cubicBezTo>
                        <a:pt x="395" y="95"/>
                        <a:pt x="395" y="95"/>
                        <a:pt x="395" y="95"/>
                      </a:cubicBezTo>
                      <a:cubicBezTo>
                        <a:pt x="395" y="94"/>
                        <a:pt x="395" y="94"/>
                        <a:pt x="395" y="94"/>
                      </a:cubicBezTo>
                      <a:cubicBezTo>
                        <a:pt x="397" y="91"/>
                        <a:pt x="397" y="91"/>
                        <a:pt x="397" y="91"/>
                      </a:cubicBezTo>
                      <a:cubicBezTo>
                        <a:pt x="398" y="91"/>
                        <a:pt x="398" y="91"/>
                        <a:pt x="398" y="91"/>
                      </a:cubicBezTo>
                      <a:cubicBezTo>
                        <a:pt x="399" y="93"/>
                        <a:pt x="399" y="93"/>
                        <a:pt x="399" y="93"/>
                      </a:cubicBezTo>
                      <a:cubicBezTo>
                        <a:pt x="400" y="92"/>
                        <a:pt x="400" y="92"/>
                        <a:pt x="400" y="92"/>
                      </a:cubicBezTo>
                      <a:cubicBezTo>
                        <a:pt x="400" y="90"/>
                        <a:pt x="400" y="90"/>
                        <a:pt x="400" y="90"/>
                      </a:cubicBezTo>
                      <a:cubicBezTo>
                        <a:pt x="401" y="90"/>
                        <a:pt x="401" y="90"/>
                        <a:pt x="401" y="90"/>
                      </a:cubicBezTo>
                      <a:cubicBezTo>
                        <a:pt x="400" y="88"/>
                        <a:pt x="400" y="88"/>
                        <a:pt x="400" y="88"/>
                      </a:cubicBezTo>
                      <a:cubicBezTo>
                        <a:pt x="401" y="87"/>
                        <a:pt x="401" y="87"/>
                        <a:pt x="401" y="87"/>
                      </a:cubicBezTo>
                      <a:cubicBezTo>
                        <a:pt x="403" y="86"/>
                        <a:pt x="403" y="86"/>
                        <a:pt x="403" y="86"/>
                      </a:cubicBezTo>
                      <a:cubicBezTo>
                        <a:pt x="404" y="86"/>
                        <a:pt x="404" y="86"/>
                        <a:pt x="404" y="86"/>
                      </a:cubicBezTo>
                      <a:cubicBezTo>
                        <a:pt x="405" y="84"/>
                        <a:pt x="405" y="84"/>
                        <a:pt x="405" y="84"/>
                      </a:cubicBezTo>
                      <a:cubicBezTo>
                        <a:pt x="406" y="84"/>
                        <a:pt x="406" y="84"/>
                        <a:pt x="406" y="84"/>
                      </a:cubicBezTo>
                      <a:cubicBezTo>
                        <a:pt x="407" y="85"/>
                        <a:pt x="407" y="85"/>
                        <a:pt x="407" y="85"/>
                      </a:cubicBezTo>
                      <a:cubicBezTo>
                        <a:pt x="411" y="84"/>
                        <a:pt x="411" y="84"/>
                        <a:pt x="411" y="84"/>
                      </a:cubicBezTo>
                      <a:cubicBezTo>
                        <a:pt x="410" y="83"/>
                        <a:pt x="410" y="83"/>
                        <a:pt x="410" y="83"/>
                      </a:cubicBezTo>
                      <a:cubicBezTo>
                        <a:pt x="410" y="81"/>
                        <a:pt x="410" y="81"/>
                        <a:pt x="410" y="81"/>
                      </a:cubicBezTo>
                      <a:cubicBezTo>
                        <a:pt x="415" y="80"/>
                        <a:pt x="415" y="80"/>
                        <a:pt x="415" y="80"/>
                      </a:cubicBezTo>
                      <a:cubicBezTo>
                        <a:pt x="417" y="79"/>
                        <a:pt x="417" y="79"/>
                        <a:pt x="417" y="79"/>
                      </a:cubicBezTo>
                      <a:cubicBezTo>
                        <a:pt x="418" y="77"/>
                        <a:pt x="418" y="77"/>
                        <a:pt x="418" y="77"/>
                      </a:cubicBezTo>
                      <a:cubicBezTo>
                        <a:pt x="423" y="75"/>
                        <a:pt x="423" y="75"/>
                        <a:pt x="423" y="75"/>
                      </a:cubicBezTo>
                      <a:cubicBezTo>
                        <a:pt x="424" y="73"/>
                        <a:pt x="424" y="73"/>
                        <a:pt x="424" y="73"/>
                      </a:cubicBezTo>
                      <a:cubicBezTo>
                        <a:pt x="423" y="72"/>
                        <a:pt x="423" y="72"/>
                        <a:pt x="423" y="72"/>
                      </a:cubicBezTo>
                      <a:cubicBezTo>
                        <a:pt x="419" y="74"/>
                        <a:pt x="419" y="74"/>
                        <a:pt x="419" y="74"/>
                      </a:cubicBezTo>
                      <a:cubicBezTo>
                        <a:pt x="418" y="73"/>
                        <a:pt x="418" y="73"/>
                        <a:pt x="418" y="73"/>
                      </a:cubicBezTo>
                      <a:cubicBezTo>
                        <a:pt x="416" y="76"/>
                        <a:pt x="416" y="76"/>
                        <a:pt x="416" y="76"/>
                      </a:cubicBezTo>
                      <a:cubicBezTo>
                        <a:pt x="415" y="74"/>
                        <a:pt x="415" y="74"/>
                        <a:pt x="415" y="74"/>
                      </a:cubicBezTo>
                      <a:cubicBezTo>
                        <a:pt x="415" y="70"/>
                        <a:pt x="415" y="70"/>
                        <a:pt x="415" y="70"/>
                      </a:cubicBezTo>
                      <a:cubicBezTo>
                        <a:pt x="416" y="69"/>
                        <a:pt x="416" y="69"/>
                        <a:pt x="416" y="69"/>
                      </a:cubicBezTo>
                      <a:cubicBezTo>
                        <a:pt x="417" y="68"/>
                        <a:pt x="417" y="68"/>
                        <a:pt x="417" y="68"/>
                      </a:cubicBezTo>
                      <a:cubicBezTo>
                        <a:pt x="418" y="68"/>
                        <a:pt x="418" y="68"/>
                        <a:pt x="418" y="68"/>
                      </a:cubicBezTo>
                      <a:cubicBezTo>
                        <a:pt x="418" y="69"/>
                        <a:pt x="418" y="69"/>
                        <a:pt x="418" y="69"/>
                      </a:cubicBezTo>
                      <a:cubicBezTo>
                        <a:pt x="418" y="69"/>
                        <a:pt x="418" y="69"/>
                        <a:pt x="418" y="69"/>
                      </a:cubicBezTo>
                      <a:cubicBezTo>
                        <a:pt x="420" y="68"/>
                        <a:pt x="420" y="68"/>
                        <a:pt x="420" y="68"/>
                      </a:cubicBezTo>
                      <a:cubicBezTo>
                        <a:pt x="418" y="66"/>
                        <a:pt x="418" y="66"/>
                        <a:pt x="418" y="66"/>
                      </a:cubicBezTo>
                      <a:cubicBezTo>
                        <a:pt x="420" y="65"/>
                        <a:pt x="420" y="65"/>
                        <a:pt x="420" y="65"/>
                      </a:cubicBezTo>
                      <a:cubicBezTo>
                        <a:pt x="422" y="66"/>
                        <a:pt x="422" y="66"/>
                        <a:pt x="422" y="66"/>
                      </a:cubicBezTo>
                      <a:cubicBezTo>
                        <a:pt x="424" y="67"/>
                        <a:pt x="424" y="67"/>
                        <a:pt x="424" y="67"/>
                      </a:cubicBezTo>
                      <a:cubicBezTo>
                        <a:pt x="426" y="65"/>
                        <a:pt x="426" y="65"/>
                        <a:pt x="426" y="65"/>
                      </a:cubicBezTo>
                      <a:cubicBezTo>
                        <a:pt x="428" y="65"/>
                        <a:pt x="428" y="65"/>
                        <a:pt x="428" y="65"/>
                      </a:cubicBezTo>
                      <a:cubicBezTo>
                        <a:pt x="433" y="63"/>
                        <a:pt x="433" y="63"/>
                        <a:pt x="433" y="63"/>
                      </a:cubicBezTo>
                      <a:cubicBezTo>
                        <a:pt x="436" y="64"/>
                        <a:pt x="436" y="64"/>
                        <a:pt x="436" y="64"/>
                      </a:cubicBezTo>
                      <a:cubicBezTo>
                        <a:pt x="436" y="65"/>
                        <a:pt x="436" y="65"/>
                        <a:pt x="436" y="65"/>
                      </a:cubicBezTo>
                      <a:cubicBezTo>
                        <a:pt x="434" y="70"/>
                        <a:pt x="434" y="70"/>
                        <a:pt x="434" y="70"/>
                      </a:cubicBezTo>
                      <a:cubicBezTo>
                        <a:pt x="434" y="71"/>
                        <a:pt x="434" y="71"/>
                        <a:pt x="434" y="71"/>
                      </a:cubicBezTo>
                      <a:cubicBezTo>
                        <a:pt x="436" y="73"/>
                        <a:pt x="436" y="73"/>
                        <a:pt x="436" y="73"/>
                      </a:cubicBezTo>
                      <a:cubicBezTo>
                        <a:pt x="437" y="70"/>
                        <a:pt x="437" y="70"/>
                        <a:pt x="437" y="70"/>
                      </a:cubicBezTo>
                      <a:cubicBezTo>
                        <a:pt x="439" y="67"/>
                        <a:pt x="439" y="67"/>
                        <a:pt x="439" y="67"/>
                      </a:cubicBezTo>
                      <a:cubicBezTo>
                        <a:pt x="438" y="65"/>
                        <a:pt x="438" y="65"/>
                        <a:pt x="438" y="65"/>
                      </a:cubicBezTo>
                      <a:cubicBezTo>
                        <a:pt x="439" y="64"/>
                        <a:pt x="439" y="64"/>
                        <a:pt x="439" y="64"/>
                      </a:cubicBezTo>
                      <a:cubicBezTo>
                        <a:pt x="440" y="66"/>
                        <a:pt x="440" y="66"/>
                        <a:pt x="440" y="66"/>
                      </a:cubicBezTo>
                      <a:cubicBezTo>
                        <a:pt x="441" y="69"/>
                        <a:pt x="441" y="69"/>
                        <a:pt x="441" y="69"/>
                      </a:cubicBezTo>
                      <a:cubicBezTo>
                        <a:pt x="442" y="69"/>
                        <a:pt x="442" y="69"/>
                        <a:pt x="442" y="69"/>
                      </a:cubicBezTo>
                      <a:cubicBezTo>
                        <a:pt x="443" y="67"/>
                        <a:pt x="443" y="67"/>
                        <a:pt x="443" y="67"/>
                      </a:cubicBezTo>
                      <a:cubicBezTo>
                        <a:pt x="442" y="65"/>
                        <a:pt x="442" y="65"/>
                        <a:pt x="442" y="65"/>
                      </a:cubicBezTo>
                      <a:cubicBezTo>
                        <a:pt x="444" y="64"/>
                        <a:pt x="444" y="64"/>
                        <a:pt x="444" y="64"/>
                      </a:cubicBezTo>
                      <a:cubicBezTo>
                        <a:pt x="445" y="64"/>
                        <a:pt x="445" y="64"/>
                        <a:pt x="445" y="64"/>
                      </a:cubicBezTo>
                      <a:cubicBezTo>
                        <a:pt x="445" y="66"/>
                        <a:pt x="445" y="66"/>
                        <a:pt x="445" y="66"/>
                      </a:cubicBezTo>
                      <a:cubicBezTo>
                        <a:pt x="448" y="64"/>
                        <a:pt x="448" y="64"/>
                        <a:pt x="448" y="64"/>
                      </a:cubicBezTo>
                      <a:cubicBezTo>
                        <a:pt x="448" y="63"/>
                        <a:pt x="448" y="63"/>
                        <a:pt x="448" y="63"/>
                      </a:cubicBezTo>
                      <a:cubicBezTo>
                        <a:pt x="447" y="61"/>
                        <a:pt x="447" y="61"/>
                        <a:pt x="447" y="61"/>
                      </a:cubicBezTo>
                      <a:cubicBezTo>
                        <a:pt x="449" y="61"/>
                        <a:pt x="449" y="61"/>
                        <a:pt x="449" y="61"/>
                      </a:cubicBezTo>
                      <a:cubicBezTo>
                        <a:pt x="450" y="60"/>
                        <a:pt x="450" y="60"/>
                        <a:pt x="450" y="60"/>
                      </a:cubicBezTo>
                      <a:cubicBezTo>
                        <a:pt x="448" y="59"/>
                        <a:pt x="448" y="59"/>
                        <a:pt x="448" y="59"/>
                      </a:cubicBezTo>
                      <a:cubicBezTo>
                        <a:pt x="450" y="57"/>
                        <a:pt x="450" y="57"/>
                        <a:pt x="450" y="57"/>
                      </a:cubicBezTo>
                      <a:cubicBezTo>
                        <a:pt x="453" y="57"/>
                        <a:pt x="453" y="57"/>
                        <a:pt x="453" y="57"/>
                      </a:cubicBezTo>
                      <a:cubicBezTo>
                        <a:pt x="455" y="56"/>
                        <a:pt x="455" y="56"/>
                        <a:pt x="455" y="56"/>
                      </a:cubicBezTo>
                      <a:cubicBezTo>
                        <a:pt x="456" y="56"/>
                        <a:pt x="456" y="56"/>
                        <a:pt x="456" y="56"/>
                      </a:cubicBezTo>
                      <a:cubicBezTo>
                        <a:pt x="456" y="57"/>
                        <a:pt x="456" y="57"/>
                        <a:pt x="456" y="57"/>
                      </a:cubicBezTo>
                      <a:cubicBezTo>
                        <a:pt x="456" y="58"/>
                        <a:pt x="456" y="58"/>
                        <a:pt x="456" y="58"/>
                      </a:cubicBezTo>
                      <a:cubicBezTo>
                        <a:pt x="459" y="58"/>
                        <a:pt x="459" y="58"/>
                        <a:pt x="459" y="58"/>
                      </a:cubicBezTo>
                      <a:cubicBezTo>
                        <a:pt x="459" y="61"/>
                        <a:pt x="459" y="61"/>
                        <a:pt x="459" y="61"/>
                      </a:cubicBezTo>
                      <a:cubicBezTo>
                        <a:pt x="461" y="62"/>
                        <a:pt x="461" y="62"/>
                        <a:pt x="461" y="62"/>
                      </a:cubicBezTo>
                      <a:cubicBezTo>
                        <a:pt x="459" y="67"/>
                        <a:pt x="459" y="67"/>
                        <a:pt x="459" y="67"/>
                      </a:cubicBezTo>
                      <a:cubicBezTo>
                        <a:pt x="462" y="65"/>
                        <a:pt x="462" y="65"/>
                        <a:pt x="462" y="65"/>
                      </a:cubicBezTo>
                      <a:cubicBezTo>
                        <a:pt x="464" y="61"/>
                        <a:pt x="464" y="61"/>
                        <a:pt x="464" y="61"/>
                      </a:cubicBezTo>
                      <a:cubicBezTo>
                        <a:pt x="461" y="57"/>
                        <a:pt x="461" y="57"/>
                        <a:pt x="461" y="57"/>
                      </a:cubicBezTo>
                      <a:cubicBezTo>
                        <a:pt x="459" y="56"/>
                        <a:pt x="459" y="56"/>
                        <a:pt x="459" y="56"/>
                      </a:cubicBezTo>
                      <a:cubicBezTo>
                        <a:pt x="457" y="53"/>
                        <a:pt x="457" y="53"/>
                        <a:pt x="457" y="53"/>
                      </a:cubicBezTo>
                      <a:cubicBezTo>
                        <a:pt x="455" y="54"/>
                        <a:pt x="455" y="54"/>
                        <a:pt x="455" y="54"/>
                      </a:cubicBezTo>
                      <a:cubicBezTo>
                        <a:pt x="454" y="54"/>
                        <a:pt x="454" y="54"/>
                        <a:pt x="454" y="54"/>
                      </a:cubicBezTo>
                      <a:cubicBezTo>
                        <a:pt x="452" y="54"/>
                        <a:pt x="452" y="54"/>
                        <a:pt x="452" y="54"/>
                      </a:cubicBezTo>
                      <a:cubicBezTo>
                        <a:pt x="451" y="52"/>
                        <a:pt x="451" y="52"/>
                        <a:pt x="451" y="52"/>
                      </a:cubicBezTo>
                      <a:cubicBezTo>
                        <a:pt x="449" y="52"/>
                        <a:pt x="449" y="52"/>
                        <a:pt x="449" y="52"/>
                      </a:cubicBezTo>
                      <a:cubicBezTo>
                        <a:pt x="449" y="51"/>
                        <a:pt x="449" y="51"/>
                        <a:pt x="449" y="51"/>
                      </a:cubicBezTo>
                      <a:cubicBezTo>
                        <a:pt x="450" y="49"/>
                        <a:pt x="450" y="49"/>
                        <a:pt x="450" y="49"/>
                      </a:cubicBezTo>
                      <a:cubicBezTo>
                        <a:pt x="454" y="49"/>
                        <a:pt x="454" y="49"/>
                        <a:pt x="454" y="49"/>
                      </a:cubicBezTo>
                      <a:cubicBezTo>
                        <a:pt x="455" y="48"/>
                        <a:pt x="455" y="48"/>
                        <a:pt x="455" y="48"/>
                      </a:cubicBezTo>
                      <a:cubicBezTo>
                        <a:pt x="457" y="48"/>
                        <a:pt x="457" y="48"/>
                        <a:pt x="457" y="48"/>
                      </a:cubicBezTo>
                      <a:cubicBezTo>
                        <a:pt x="459" y="48"/>
                        <a:pt x="459" y="48"/>
                        <a:pt x="459" y="48"/>
                      </a:cubicBezTo>
                      <a:cubicBezTo>
                        <a:pt x="461" y="48"/>
                        <a:pt x="461" y="48"/>
                        <a:pt x="461" y="48"/>
                      </a:cubicBezTo>
                      <a:cubicBezTo>
                        <a:pt x="462" y="48"/>
                        <a:pt x="462" y="48"/>
                        <a:pt x="462" y="48"/>
                      </a:cubicBezTo>
                      <a:cubicBezTo>
                        <a:pt x="467" y="47"/>
                        <a:pt x="467" y="47"/>
                        <a:pt x="467" y="47"/>
                      </a:cubicBezTo>
                      <a:cubicBezTo>
                        <a:pt x="469" y="48"/>
                        <a:pt x="469" y="48"/>
                        <a:pt x="469" y="48"/>
                      </a:cubicBezTo>
                      <a:cubicBezTo>
                        <a:pt x="471" y="48"/>
                        <a:pt x="471" y="48"/>
                        <a:pt x="471" y="48"/>
                      </a:cubicBezTo>
                      <a:cubicBezTo>
                        <a:pt x="472" y="48"/>
                        <a:pt x="472" y="48"/>
                        <a:pt x="472" y="48"/>
                      </a:cubicBezTo>
                      <a:cubicBezTo>
                        <a:pt x="474" y="47"/>
                        <a:pt x="474" y="47"/>
                        <a:pt x="474" y="47"/>
                      </a:cubicBezTo>
                      <a:cubicBezTo>
                        <a:pt x="473" y="45"/>
                        <a:pt x="473" y="45"/>
                        <a:pt x="473" y="45"/>
                      </a:cubicBezTo>
                      <a:cubicBezTo>
                        <a:pt x="470" y="45"/>
                        <a:pt x="470" y="45"/>
                        <a:pt x="470" y="45"/>
                      </a:cubicBezTo>
                      <a:cubicBezTo>
                        <a:pt x="467" y="44"/>
                        <a:pt x="467" y="44"/>
                        <a:pt x="467" y="44"/>
                      </a:cubicBezTo>
                      <a:cubicBezTo>
                        <a:pt x="465" y="45"/>
                        <a:pt x="465" y="45"/>
                        <a:pt x="465" y="45"/>
                      </a:cubicBezTo>
                      <a:cubicBezTo>
                        <a:pt x="461" y="45"/>
                        <a:pt x="461" y="45"/>
                        <a:pt x="461" y="45"/>
                      </a:cubicBezTo>
                      <a:cubicBezTo>
                        <a:pt x="461" y="43"/>
                        <a:pt x="461" y="43"/>
                        <a:pt x="461" y="43"/>
                      </a:cubicBezTo>
                      <a:cubicBezTo>
                        <a:pt x="460" y="41"/>
                        <a:pt x="460" y="41"/>
                        <a:pt x="460" y="41"/>
                      </a:cubicBezTo>
                      <a:cubicBezTo>
                        <a:pt x="463" y="39"/>
                        <a:pt x="463" y="39"/>
                        <a:pt x="463" y="39"/>
                      </a:cubicBezTo>
                      <a:cubicBezTo>
                        <a:pt x="460" y="38"/>
                        <a:pt x="460" y="38"/>
                        <a:pt x="460" y="38"/>
                      </a:cubicBezTo>
                      <a:cubicBezTo>
                        <a:pt x="458" y="35"/>
                        <a:pt x="458" y="35"/>
                        <a:pt x="458" y="35"/>
                      </a:cubicBezTo>
                      <a:cubicBezTo>
                        <a:pt x="456" y="36"/>
                        <a:pt x="456" y="36"/>
                        <a:pt x="456" y="36"/>
                      </a:cubicBezTo>
                      <a:cubicBezTo>
                        <a:pt x="454" y="33"/>
                        <a:pt x="454" y="33"/>
                        <a:pt x="454" y="33"/>
                      </a:cubicBezTo>
                      <a:cubicBezTo>
                        <a:pt x="454" y="31"/>
                        <a:pt x="454" y="31"/>
                        <a:pt x="454" y="31"/>
                      </a:cubicBezTo>
                      <a:cubicBezTo>
                        <a:pt x="456" y="31"/>
                        <a:pt x="456" y="31"/>
                        <a:pt x="456" y="31"/>
                      </a:cubicBezTo>
                      <a:cubicBezTo>
                        <a:pt x="456" y="28"/>
                        <a:pt x="456" y="28"/>
                        <a:pt x="456" y="28"/>
                      </a:cubicBezTo>
                      <a:cubicBezTo>
                        <a:pt x="454" y="26"/>
                        <a:pt x="454" y="26"/>
                        <a:pt x="454" y="26"/>
                      </a:cubicBezTo>
                      <a:cubicBezTo>
                        <a:pt x="454" y="17"/>
                        <a:pt x="454" y="17"/>
                        <a:pt x="454" y="17"/>
                      </a:cubicBezTo>
                      <a:cubicBezTo>
                        <a:pt x="456" y="15"/>
                        <a:pt x="456" y="15"/>
                        <a:pt x="456" y="15"/>
                      </a:cubicBezTo>
                      <a:cubicBezTo>
                        <a:pt x="455" y="12"/>
                        <a:pt x="455" y="12"/>
                        <a:pt x="455" y="12"/>
                      </a:cubicBezTo>
                      <a:cubicBezTo>
                        <a:pt x="456" y="9"/>
                        <a:pt x="456" y="9"/>
                        <a:pt x="456" y="9"/>
                      </a:cubicBezTo>
                      <a:cubicBezTo>
                        <a:pt x="457" y="7"/>
                        <a:pt x="457" y="7"/>
                        <a:pt x="457" y="7"/>
                      </a:cubicBezTo>
                      <a:cubicBezTo>
                        <a:pt x="456" y="5"/>
                        <a:pt x="456" y="5"/>
                        <a:pt x="456" y="5"/>
                      </a:cubicBezTo>
                      <a:cubicBezTo>
                        <a:pt x="458" y="5"/>
                        <a:pt x="458" y="5"/>
                        <a:pt x="458" y="5"/>
                      </a:cubicBezTo>
                      <a:cubicBezTo>
                        <a:pt x="458" y="3"/>
                        <a:pt x="458" y="3"/>
                        <a:pt x="458" y="3"/>
                      </a:cubicBezTo>
                      <a:cubicBezTo>
                        <a:pt x="461" y="0"/>
                        <a:pt x="461" y="0"/>
                        <a:pt x="461" y="0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5" y="3"/>
                        <a:pt x="465" y="3"/>
                        <a:pt x="465" y="3"/>
                      </a:cubicBezTo>
                      <a:cubicBezTo>
                        <a:pt x="467" y="1"/>
                        <a:pt x="467" y="1"/>
                        <a:pt x="467" y="1"/>
                      </a:cubicBezTo>
                      <a:cubicBezTo>
                        <a:pt x="468" y="1"/>
                        <a:pt x="468" y="1"/>
                        <a:pt x="468" y="1"/>
                      </a:cubicBezTo>
                      <a:cubicBezTo>
                        <a:pt x="469" y="4"/>
                        <a:pt x="469" y="4"/>
                        <a:pt x="469" y="4"/>
                      </a:cubicBezTo>
                      <a:cubicBezTo>
                        <a:pt x="472" y="5"/>
                        <a:pt x="472" y="5"/>
                        <a:pt x="472" y="5"/>
                      </a:cubicBezTo>
                      <a:cubicBezTo>
                        <a:pt x="475" y="2"/>
                        <a:pt x="475" y="2"/>
                        <a:pt x="475" y="2"/>
                      </a:cubicBezTo>
                      <a:cubicBezTo>
                        <a:pt x="475" y="3"/>
                        <a:pt x="475" y="3"/>
                        <a:pt x="475" y="3"/>
                      </a:cubicBezTo>
                      <a:cubicBezTo>
                        <a:pt x="476" y="6"/>
                        <a:pt x="476" y="6"/>
                        <a:pt x="476" y="6"/>
                      </a:cubicBezTo>
                      <a:cubicBezTo>
                        <a:pt x="476" y="6"/>
                        <a:pt x="476" y="6"/>
                        <a:pt x="476" y="6"/>
                      </a:cubicBezTo>
                      <a:cubicBezTo>
                        <a:pt x="479" y="7"/>
                        <a:pt x="479" y="7"/>
                        <a:pt x="479" y="7"/>
                      </a:cubicBezTo>
                      <a:cubicBezTo>
                        <a:pt x="479" y="8"/>
                        <a:pt x="479" y="8"/>
                        <a:pt x="479" y="8"/>
                      </a:cubicBezTo>
                      <a:cubicBezTo>
                        <a:pt x="478" y="9"/>
                        <a:pt x="478" y="9"/>
                        <a:pt x="478" y="9"/>
                      </a:cubicBezTo>
                      <a:cubicBezTo>
                        <a:pt x="478" y="10"/>
                        <a:pt x="478" y="10"/>
                        <a:pt x="478" y="10"/>
                      </a:cubicBezTo>
                      <a:cubicBezTo>
                        <a:pt x="477" y="12"/>
                        <a:pt x="477" y="12"/>
                        <a:pt x="477" y="12"/>
                      </a:cubicBezTo>
                      <a:cubicBezTo>
                        <a:pt x="477" y="14"/>
                        <a:pt x="477" y="14"/>
                        <a:pt x="477" y="14"/>
                      </a:cubicBezTo>
                      <a:cubicBezTo>
                        <a:pt x="475" y="17"/>
                        <a:pt x="475" y="17"/>
                        <a:pt x="475" y="17"/>
                      </a:cubicBezTo>
                      <a:cubicBezTo>
                        <a:pt x="473" y="18"/>
                        <a:pt x="473" y="18"/>
                        <a:pt x="473" y="18"/>
                      </a:cubicBezTo>
                      <a:cubicBezTo>
                        <a:pt x="471" y="20"/>
                        <a:pt x="471" y="20"/>
                        <a:pt x="471" y="20"/>
                      </a:cubicBezTo>
                      <a:cubicBezTo>
                        <a:pt x="473" y="21"/>
                        <a:pt x="473" y="21"/>
                        <a:pt x="473" y="21"/>
                      </a:cubicBezTo>
                      <a:cubicBezTo>
                        <a:pt x="477" y="19"/>
                        <a:pt x="477" y="19"/>
                        <a:pt x="477" y="19"/>
                      </a:cubicBezTo>
                      <a:cubicBezTo>
                        <a:pt x="481" y="14"/>
                        <a:pt x="481" y="14"/>
                        <a:pt x="481" y="14"/>
                      </a:cubicBezTo>
                      <a:cubicBezTo>
                        <a:pt x="482" y="14"/>
                        <a:pt x="482" y="14"/>
                        <a:pt x="482" y="14"/>
                      </a:cubicBezTo>
                      <a:cubicBezTo>
                        <a:pt x="482" y="16"/>
                        <a:pt x="482" y="16"/>
                        <a:pt x="482" y="16"/>
                      </a:cubicBezTo>
                      <a:cubicBezTo>
                        <a:pt x="481" y="18"/>
                        <a:pt x="481" y="18"/>
                        <a:pt x="481" y="18"/>
                      </a:cubicBezTo>
                      <a:cubicBezTo>
                        <a:pt x="481" y="19"/>
                        <a:pt x="481" y="19"/>
                        <a:pt x="481" y="19"/>
                      </a:cubicBezTo>
                      <a:cubicBezTo>
                        <a:pt x="483" y="19"/>
                        <a:pt x="483" y="19"/>
                        <a:pt x="483" y="19"/>
                      </a:cubicBezTo>
                      <a:cubicBezTo>
                        <a:pt x="484" y="17"/>
                        <a:pt x="484" y="17"/>
                        <a:pt x="484" y="17"/>
                      </a:cubicBezTo>
                      <a:cubicBezTo>
                        <a:pt x="486" y="16"/>
                        <a:pt x="486" y="16"/>
                        <a:pt x="486" y="16"/>
                      </a:cubicBezTo>
                      <a:cubicBezTo>
                        <a:pt x="487" y="17"/>
                        <a:pt x="487" y="17"/>
                        <a:pt x="487" y="17"/>
                      </a:cubicBezTo>
                      <a:cubicBezTo>
                        <a:pt x="490" y="16"/>
                        <a:pt x="490" y="16"/>
                        <a:pt x="490" y="16"/>
                      </a:cubicBezTo>
                      <a:cubicBezTo>
                        <a:pt x="490" y="14"/>
                        <a:pt x="490" y="14"/>
                        <a:pt x="490" y="14"/>
                      </a:cubicBezTo>
                      <a:cubicBezTo>
                        <a:pt x="491" y="14"/>
                        <a:pt x="491" y="14"/>
                        <a:pt x="491" y="14"/>
                      </a:cubicBezTo>
                      <a:cubicBezTo>
                        <a:pt x="492" y="15"/>
                        <a:pt x="492" y="15"/>
                        <a:pt x="492" y="15"/>
                      </a:cubicBezTo>
                      <a:cubicBezTo>
                        <a:pt x="494" y="14"/>
                        <a:pt x="494" y="14"/>
                        <a:pt x="494" y="14"/>
                      </a:cubicBezTo>
                      <a:cubicBezTo>
                        <a:pt x="497" y="17"/>
                        <a:pt x="497" y="17"/>
                        <a:pt x="497" y="17"/>
                      </a:cubicBezTo>
                      <a:cubicBezTo>
                        <a:pt x="497" y="18"/>
                        <a:pt x="497" y="18"/>
                        <a:pt x="497" y="18"/>
                      </a:cubicBezTo>
                      <a:cubicBezTo>
                        <a:pt x="498" y="21"/>
                        <a:pt x="498" y="21"/>
                        <a:pt x="498" y="21"/>
                      </a:cubicBezTo>
                      <a:cubicBezTo>
                        <a:pt x="497" y="23"/>
                        <a:pt x="497" y="23"/>
                        <a:pt x="497" y="23"/>
                      </a:cubicBezTo>
                      <a:cubicBezTo>
                        <a:pt x="497" y="25"/>
                        <a:pt x="497" y="25"/>
                        <a:pt x="497" y="25"/>
                      </a:cubicBezTo>
                      <a:cubicBezTo>
                        <a:pt x="496" y="27"/>
                        <a:pt x="496" y="27"/>
                        <a:pt x="496" y="27"/>
                      </a:cubicBezTo>
                      <a:cubicBezTo>
                        <a:pt x="498" y="31"/>
                        <a:pt x="498" y="31"/>
                        <a:pt x="498" y="31"/>
                      </a:cubicBezTo>
                      <a:cubicBezTo>
                        <a:pt x="498" y="34"/>
                        <a:pt x="498" y="34"/>
                        <a:pt x="498" y="34"/>
                      </a:cubicBezTo>
                      <a:cubicBezTo>
                        <a:pt x="496" y="34"/>
                        <a:pt x="496" y="34"/>
                        <a:pt x="496" y="34"/>
                      </a:cubicBezTo>
                      <a:cubicBezTo>
                        <a:pt x="495" y="36"/>
                        <a:pt x="495" y="36"/>
                        <a:pt x="495" y="36"/>
                      </a:cubicBezTo>
                      <a:cubicBezTo>
                        <a:pt x="496" y="36"/>
                        <a:pt x="496" y="36"/>
                        <a:pt x="496" y="36"/>
                      </a:cubicBezTo>
                      <a:cubicBezTo>
                        <a:pt x="500" y="35"/>
                        <a:pt x="500" y="35"/>
                        <a:pt x="500" y="35"/>
                      </a:cubicBezTo>
                      <a:cubicBezTo>
                        <a:pt x="502" y="33"/>
                        <a:pt x="502" y="33"/>
                        <a:pt x="502" y="33"/>
                      </a:cubicBezTo>
                      <a:cubicBezTo>
                        <a:pt x="505" y="32"/>
                        <a:pt x="505" y="32"/>
                        <a:pt x="505" y="32"/>
                      </a:cubicBezTo>
                      <a:cubicBezTo>
                        <a:pt x="506" y="30"/>
                        <a:pt x="506" y="30"/>
                        <a:pt x="506" y="30"/>
                      </a:cubicBezTo>
                      <a:cubicBezTo>
                        <a:pt x="506" y="26"/>
                        <a:pt x="506" y="26"/>
                        <a:pt x="506" y="26"/>
                      </a:cubicBezTo>
                      <a:cubicBezTo>
                        <a:pt x="505" y="23"/>
                        <a:pt x="505" y="23"/>
                        <a:pt x="505" y="23"/>
                      </a:cubicBezTo>
                      <a:cubicBezTo>
                        <a:pt x="504" y="24"/>
                        <a:pt x="504" y="24"/>
                        <a:pt x="504" y="24"/>
                      </a:cubicBezTo>
                      <a:cubicBezTo>
                        <a:pt x="502" y="23"/>
                        <a:pt x="502" y="23"/>
                        <a:pt x="502" y="23"/>
                      </a:cubicBezTo>
                      <a:cubicBezTo>
                        <a:pt x="502" y="21"/>
                        <a:pt x="502" y="21"/>
                        <a:pt x="502" y="21"/>
                      </a:cubicBezTo>
                      <a:cubicBezTo>
                        <a:pt x="503" y="20"/>
                        <a:pt x="503" y="20"/>
                        <a:pt x="503" y="20"/>
                      </a:cubicBezTo>
                      <a:cubicBezTo>
                        <a:pt x="504" y="20"/>
                        <a:pt x="504" y="20"/>
                        <a:pt x="504" y="20"/>
                      </a:cubicBezTo>
                      <a:cubicBezTo>
                        <a:pt x="505" y="21"/>
                        <a:pt x="505" y="21"/>
                        <a:pt x="505" y="21"/>
                      </a:cubicBezTo>
                      <a:cubicBezTo>
                        <a:pt x="507" y="21"/>
                        <a:pt x="507" y="21"/>
                        <a:pt x="507" y="21"/>
                      </a:cubicBezTo>
                      <a:cubicBezTo>
                        <a:pt x="510" y="20"/>
                        <a:pt x="510" y="20"/>
                        <a:pt x="510" y="20"/>
                      </a:cubicBezTo>
                      <a:cubicBezTo>
                        <a:pt x="512" y="17"/>
                        <a:pt x="512" y="17"/>
                        <a:pt x="512" y="17"/>
                      </a:cubicBezTo>
                      <a:cubicBezTo>
                        <a:pt x="514" y="17"/>
                        <a:pt x="514" y="17"/>
                        <a:pt x="514" y="17"/>
                      </a:cubicBezTo>
                      <a:cubicBezTo>
                        <a:pt x="516" y="17"/>
                        <a:pt x="516" y="17"/>
                        <a:pt x="516" y="17"/>
                      </a:cubicBezTo>
                      <a:cubicBezTo>
                        <a:pt x="517" y="15"/>
                        <a:pt x="517" y="15"/>
                        <a:pt x="517" y="15"/>
                      </a:cubicBezTo>
                      <a:cubicBezTo>
                        <a:pt x="519" y="14"/>
                        <a:pt x="519" y="14"/>
                        <a:pt x="519" y="14"/>
                      </a:cubicBezTo>
                      <a:cubicBezTo>
                        <a:pt x="520" y="14"/>
                        <a:pt x="520" y="14"/>
                        <a:pt x="520" y="14"/>
                      </a:cubicBezTo>
                      <a:cubicBezTo>
                        <a:pt x="521" y="13"/>
                        <a:pt x="521" y="13"/>
                        <a:pt x="521" y="13"/>
                      </a:cubicBezTo>
                      <a:cubicBezTo>
                        <a:pt x="523" y="12"/>
                        <a:pt x="523" y="12"/>
                        <a:pt x="523" y="12"/>
                      </a:cubicBezTo>
                      <a:cubicBezTo>
                        <a:pt x="524" y="13"/>
                        <a:pt x="524" y="13"/>
                        <a:pt x="524" y="13"/>
                      </a:cubicBezTo>
                      <a:cubicBezTo>
                        <a:pt x="526" y="13"/>
                        <a:pt x="526" y="13"/>
                        <a:pt x="526" y="13"/>
                      </a:cubicBezTo>
                      <a:cubicBezTo>
                        <a:pt x="526" y="14"/>
                        <a:pt x="526" y="14"/>
                        <a:pt x="526" y="14"/>
                      </a:cubicBezTo>
                      <a:cubicBezTo>
                        <a:pt x="526" y="15"/>
                        <a:pt x="526" y="15"/>
                        <a:pt x="526" y="15"/>
                      </a:cubicBezTo>
                      <a:cubicBezTo>
                        <a:pt x="526" y="16"/>
                        <a:pt x="526" y="16"/>
                        <a:pt x="526" y="16"/>
                      </a:cubicBezTo>
                      <a:cubicBezTo>
                        <a:pt x="530" y="16"/>
                        <a:pt x="530" y="16"/>
                        <a:pt x="530" y="16"/>
                      </a:cubicBezTo>
                      <a:cubicBezTo>
                        <a:pt x="531" y="17"/>
                        <a:pt x="531" y="17"/>
                        <a:pt x="531" y="17"/>
                      </a:cubicBezTo>
                      <a:cubicBezTo>
                        <a:pt x="533" y="17"/>
                        <a:pt x="533" y="17"/>
                        <a:pt x="533" y="17"/>
                      </a:cubicBezTo>
                      <a:cubicBezTo>
                        <a:pt x="540" y="22"/>
                        <a:pt x="540" y="22"/>
                        <a:pt x="540" y="22"/>
                      </a:cubicBezTo>
                      <a:cubicBezTo>
                        <a:pt x="542" y="22"/>
                        <a:pt x="542" y="22"/>
                        <a:pt x="542" y="22"/>
                      </a:cubicBezTo>
                      <a:cubicBezTo>
                        <a:pt x="543" y="24"/>
                        <a:pt x="543" y="24"/>
                        <a:pt x="543" y="24"/>
                      </a:cubicBezTo>
                      <a:cubicBezTo>
                        <a:pt x="542" y="26"/>
                        <a:pt x="542" y="26"/>
                        <a:pt x="542" y="26"/>
                      </a:cubicBezTo>
                      <a:cubicBezTo>
                        <a:pt x="546" y="30"/>
                        <a:pt x="546" y="30"/>
                        <a:pt x="546" y="30"/>
                      </a:cubicBezTo>
                      <a:cubicBezTo>
                        <a:pt x="547" y="29"/>
                        <a:pt x="547" y="29"/>
                        <a:pt x="547" y="29"/>
                      </a:cubicBezTo>
                      <a:cubicBezTo>
                        <a:pt x="547" y="28"/>
                        <a:pt x="547" y="28"/>
                        <a:pt x="547" y="28"/>
                      </a:cubicBezTo>
                      <a:cubicBezTo>
                        <a:pt x="548" y="27"/>
                        <a:pt x="548" y="27"/>
                        <a:pt x="548" y="27"/>
                      </a:cubicBezTo>
                      <a:cubicBezTo>
                        <a:pt x="548" y="26"/>
                        <a:pt x="548" y="26"/>
                        <a:pt x="548" y="26"/>
                      </a:cubicBezTo>
                      <a:cubicBezTo>
                        <a:pt x="547" y="25"/>
                        <a:pt x="547" y="25"/>
                        <a:pt x="547" y="25"/>
                      </a:cubicBezTo>
                      <a:cubicBezTo>
                        <a:pt x="545" y="25"/>
                        <a:pt x="545" y="25"/>
                        <a:pt x="545" y="25"/>
                      </a:cubicBezTo>
                      <a:cubicBezTo>
                        <a:pt x="545" y="23"/>
                        <a:pt x="545" y="23"/>
                        <a:pt x="545" y="23"/>
                      </a:cubicBezTo>
                      <a:cubicBezTo>
                        <a:pt x="547" y="22"/>
                        <a:pt x="547" y="22"/>
                        <a:pt x="547" y="22"/>
                      </a:cubicBezTo>
                      <a:cubicBezTo>
                        <a:pt x="548" y="22"/>
                        <a:pt x="548" y="22"/>
                        <a:pt x="548" y="22"/>
                      </a:cubicBezTo>
                      <a:cubicBezTo>
                        <a:pt x="549" y="24"/>
                        <a:pt x="549" y="24"/>
                        <a:pt x="549" y="24"/>
                      </a:cubicBezTo>
                      <a:cubicBezTo>
                        <a:pt x="550" y="25"/>
                        <a:pt x="550" y="25"/>
                        <a:pt x="550" y="25"/>
                      </a:cubicBezTo>
                      <a:cubicBezTo>
                        <a:pt x="550" y="27"/>
                        <a:pt x="550" y="27"/>
                        <a:pt x="550" y="27"/>
                      </a:cubicBezTo>
                      <a:cubicBezTo>
                        <a:pt x="553" y="29"/>
                        <a:pt x="553" y="29"/>
                        <a:pt x="553" y="29"/>
                      </a:cubicBezTo>
                      <a:cubicBezTo>
                        <a:pt x="554" y="31"/>
                        <a:pt x="554" y="31"/>
                        <a:pt x="554" y="31"/>
                      </a:cubicBezTo>
                      <a:cubicBezTo>
                        <a:pt x="555" y="32"/>
                        <a:pt x="555" y="32"/>
                        <a:pt x="555" y="32"/>
                      </a:cubicBezTo>
                      <a:cubicBezTo>
                        <a:pt x="556" y="31"/>
                        <a:pt x="556" y="31"/>
                        <a:pt x="556" y="31"/>
                      </a:cubicBezTo>
                      <a:cubicBezTo>
                        <a:pt x="557" y="31"/>
                        <a:pt x="557" y="31"/>
                        <a:pt x="557" y="31"/>
                      </a:cubicBezTo>
                      <a:cubicBezTo>
                        <a:pt x="558" y="32"/>
                        <a:pt x="558" y="32"/>
                        <a:pt x="558" y="32"/>
                      </a:cubicBezTo>
                      <a:cubicBezTo>
                        <a:pt x="559" y="34"/>
                        <a:pt x="559" y="34"/>
                        <a:pt x="559" y="34"/>
                      </a:cubicBezTo>
                      <a:cubicBezTo>
                        <a:pt x="560" y="36"/>
                        <a:pt x="560" y="36"/>
                        <a:pt x="560" y="36"/>
                      </a:cubicBezTo>
                      <a:cubicBezTo>
                        <a:pt x="561" y="38"/>
                        <a:pt x="561" y="38"/>
                        <a:pt x="561" y="38"/>
                      </a:cubicBezTo>
                      <a:cubicBezTo>
                        <a:pt x="561" y="39"/>
                        <a:pt x="561" y="39"/>
                        <a:pt x="561" y="39"/>
                      </a:cubicBezTo>
                      <a:cubicBezTo>
                        <a:pt x="560" y="39"/>
                        <a:pt x="560" y="39"/>
                        <a:pt x="560" y="39"/>
                      </a:cubicBezTo>
                      <a:cubicBezTo>
                        <a:pt x="560" y="38"/>
                        <a:pt x="560" y="38"/>
                        <a:pt x="560" y="38"/>
                      </a:cubicBezTo>
                      <a:cubicBezTo>
                        <a:pt x="559" y="37"/>
                        <a:pt x="559" y="37"/>
                        <a:pt x="559" y="37"/>
                      </a:cubicBezTo>
                      <a:cubicBezTo>
                        <a:pt x="558" y="37"/>
                        <a:pt x="558" y="37"/>
                        <a:pt x="558" y="37"/>
                      </a:cubicBezTo>
                      <a:cubicBezTo>
                        <a:pt x="557" y="38"/>
                        <a:pt x="557" y="38"/>
                        <a:pt x="557" y="38"/>
                      </a:cubicBezTo>
                      <a:cubicBezTo>
                        <a:pt x="556" y="37"/>
                        <a:pt x="556" y="37"/>
                        <a:pt x="556" y="37"/>
                      </a:cubicBezTo>
                      <a:cubicBezTo>
                        <a:pt x="553" y="35"/>
                        <a:pt x="553" y="35"/>
                        <a:pt x="553" y="35"/>
                      </a:cubicBezTo>
                      <a:cubicBezTo>
                        <a:pt x="550" y="35"/>
                        <a:pt x="550" y="35"/>
                        <a:pt x="550" y="35"/>
                      </a:cubicBezTo>
                      <a:cubicBezTo>
                        <a:pt x="550" y="36"/>
                        <a:pt x="550" y="36"/>
                        <a:pt x="550" y="36"/>
                      </a:cubicBezTo>
                      <a:cubicBezTo>
                        <a:pt x="551" y="38"/>
                        <a:pt x="551" y="38"/>
                        <a:pt x="551" y="38"/>
                      </a:cubicBezTo>
                      <a:cubicBezTo>
                        <a:pt x="553" y="38"/>
                        <a:pt x="553" y="38"/>
                        <a:pt x="553" y="38"/>
                      </a:cubicBezTo>
                      <a:cubicBezTo>
                        <a:pt x="554" y="39"/>
                        <a:pt x="554" y="39"/>
                        <a:pt x="554" y="39"/>
                      </a:cubicBezTo>
                      <a:cubicBezTo>
                        <a:pt x="554" y="39"/>
                        <a:pt x="554" y="39"/>
                        <a:pt x="554" y="39"/>
                      </a:cubicBezTo>
                      <a:cubicBezTo>
                        <a:pt x="555" y="42"/>
                        <a:pt x="555" y="42"/>
                        <a:pt x="555" y="42"/>
                      </a:cubicBezTo>
                      <a:cubicBezTo>
                        <a:pt x="556" y="42"/>
                        <a:pt x="556" y="42"/>
                        <a:pt x="556" y="42"/>
                      </a:cubicBezTo>
                      <a:cubicBezTo>
                        <a:pt x="557" y="42"/>
                        <a:pt x="557" y="42"/>
                        <a:pt x="557" y="42"/>
                      </a:cubicBezTo>
                      <a:cubicBezTo>
                        <a:pt x="558" y="39"/>
                        <a:pt x="558" y="39"/>
                        <a:pt x="558" y="39"/>
                      </a:cubicBezTo>
                      <a:cubicBezTo>
                        <a:pt x="559" y="39"/>
                        <a:pt x="559" y="39"/>
                        <a:pt x="559" y="39"/>
                      </a:cubicBezTo>
                      <a:cubicBezTo>
                        <a:pt x="560" y="41"/>
                        <a:pt x="560" y="41"/>
                        <a:pt x="560" y="41"/>
                      </a:cubicBezTo>
                      <a:cubicBezTo>
                        <a:pt x="561" y="42"/>
                        <a:pt x="561" y="42"/>
                        <a:pt x="561" y="42"/>
                      </a:cubicBezTo>
                      <a:cubicBezTo>
                        <a:pt x="562" y="41"/>
                        <a:pt x="562" y="41"/>
                        <a:pt x="562" y="41"/>
                      </a:cubicBezTo>
                      <a:cubicBezTo>
                        <a:pt x="563" y="42"/>
                        <a:pt x="563" y="42"/>
                        <a:pt x="563" y="42"/>
                      </a:cubicBezTo>
                      <a:cubicBezTo>
                        <a:pt x="563" y="43"/>
                        <a:pt x="563" y="43"/>
                        <a:pt x="563" y="43"/>
                      </a:cubicBezTo>
                      <a:cubicBezTo>
                        <a:pt x="563" y="44"/>
                        <a:pt x="563" y="44"/>
                        <a:pt x="563" y="44"/>
                      </a:cubicBezTo>
                      <a:cubicBezTo>
                        <a:pt x="565" y="47"/>
                        <a:pt x="565" y="47"/>
                        <a:pt x="565" y="47"/>
                      </a:cubicBezTo>
                      <a:cubicBezTo>
                        <a:pt x="565" y="50"/>
                        <a:pt x="565" y="50"/>
                        <a:pt x="565" y="50"/>
                      </a:cubicBezTo>
                      <a:cubicBezTo>
                        <a:pt x="565" y="54"/>
                        <a:pt x="565" y="54"/>
                        <a:pt x="565" y="54"/>
                      </a:cubicBezTo>
                      <a:cubicBezTo>
                        <a:pt x="564" y="57"/>
                        <a:pt x="564" y="57"/>
                        <a:pt x="564" y="57"/>
                      </a:cubicBezTo>
                      <a:cubicBezTo>
                        <a:pt x="563" y="58"/>
                        <a:pt x="563" y="58"/>
                        <a:pt x="563" y="58"/>
                      </a:cubicBezTo>
                      <a:cubicBezTo>
                        <a:pt x="562" y="59"/>
                        <a:pt x="562" y="59"/>
                        <a:pt x="562" y="59"/>
                      </a:cubicBezTo>
                      <a:cubicBezTo>
                        <a:pt x="563" y="61"/>
                        <a:pt x="563" y="61"/>
                        <a:pt x="563" y="61"/>
                      </a:cubicBezTo>
                      <a:cubicBezTo>
                        <a:pt x="561" y="64"/>
                        <a:pt x="561" y="64"/>
                        <a:pt x="561" y="64"/>
                      </a:cubicBezTo>
                      <a:cubicBezTo>
                        <a:pt x="561" y="65"/>
                        <a:pt x="561" y="65"/>
                        <a:pt x="561" y="65"/>
                      </a:cubicBezTo>
                      <a:cubicBezTo>
                        <a:pt x="563" y="66"/>
                        <a:pt x="563" y="66"/>
                        <a:pt x="563" y="66"/>
                      </a:cubicBezTo>
                      <a:cubicBezTo>
                        <a:pt x="563" y="68"/>
                        <a:pt x="563" y="68"/>
                        <a:pt x="563" y="68"/>
                      </a:cubicBezTo>
                      <a:cubicBezTo>
                        <a:pt x="560" y="69"/>
                        <a:pt x="560" y="69"/>
                        <a:pt x="560" y="69"/>
                      </a:cubicBezTo>
                      <a:cubicBezTo>
                        <a:pt x="560" y="71"/>
                        <a:pt x="560" y="71"/>
                        <a:pt x="560" y="71"/>
                      </a:cubicBezTo>
                      <a:cubicBezTo>
                        <a:pt x="560" y="72"/>
                        <a:pt x="560" y="72"/>
                        <a:pt x="560" y="72"/>
                      </a:cubicBezTo>
                      <a:cubicBezTo>
                        <a:pt x="559" y="75"/>
                        <a:pt x="559" y="75"/>
                        <a:pt x="559" y="75"/>
                      </a:cubicBezTo>
                      <a:cubicBezTo>
                        <a:pt x="557" y="76"/>
                        <a:pt x="557" y="76"/>
                        <a:pt x="557" y="76"/>
                      </a:cubicBezTo>
                      <a:cubicBezTo>
                        <a:pt x="558" y="77"/>
                        <a:pt x="558" y="77"/>
                        <a:pt x="558" y="77"/>
                      </a:cubicBezTo>
                      <a:cubicBezTo>
                        <a:pt x="557" y="79"/>
                        <a:pt x="557" y="79"/>
                        <a:pt x="557" y="79"/>
                      </a:cubicBezTo>
                      <a:cubicBezTo>
                        <a:pt x="555" y="80"/>
                        <a:pt x="555" y="80"/>
                        <a:pt x="555" y="80"/>
                      </a:cubicBezTo>
                      <a:cubicBezTo>
                        <a:pt x="553" y="82"/>
                        <a:pt x="553" y="82"/>
                        <a:pt x="553" y="82"/>
                      </a:cubicBezTo>
                      <a:cubicBezTo>
                        <a:pt x="551" y="82"/>
                        <a:pt x="551" y="82"/>
                        <a:pt x="551" y="82"/>
                      </a:cubicBezTo>
                      <a:cubicBezTo>
                        <a:pt x="553" y="83"/>
                        <a:pt x="553" y="83"/>
                        <a:pt x="553" y="83"/>
                      </a:cubicBezTo>
                      <a:cubicBezTo>
                        <a:pt x="555" y="83"/>
                        <a:pt x="555" y="83"/>
                        <a:pt x="555" y="83"/>
                      </a:cubicBezTo>
                      <a:cubicBezTo>
                        <a:pt x="556" y="81"/>
                        <a:pt x="556" y="81"/>
                        <a:pt x="556" y="81"/>
                      </a:cubicBezTo>
                      <a:cubicBezTo>
                        <a:pt x="556" y="81"/>
                        <a:pt x="556" y="81"/>
                        <a:pt x="556" y="81"/>
                      </a:cubicBezTo>
                      <a:cubicBezTo>
                        <a:pt x="557" y="84"/>
                        <a:pt x="557" y="84"/>
                        <a:pt x="557" y="84"/>
                      </a:cubicBezTo>
                      <a:cubicBezTo>
                        <a:pt x="556" y="88"/>
                        <a:pt x="556" y="88"/>
                        <a:pt x="556" y="88"/>
                      </a:cubicBezTo>
                      <a:cubicBezTo>
                        <a:pt x="554" y="90"/>
                        <a:pt x="554" y="90"/>
                        <a:pt x="554" y="90"/>
                      </a:cubicBezTo>
                      <a:cubicBezTo>
                        <a:pt x="553" y="95"/>
                        <a:pt x="553" y="95"/>
                        <a:pt x="553" y="95"/>
                      </a:cubicBezTo>
                      <a:cubicBezTo>
                        <a:pt x="554" y="97"/>
                        <a:pt x="554" y="97"/>
                        <a:pt x="554" y="97"/>
                      </a:cubicBezTo>
                      <a:cubicBezTo>
                        <a:pt x="555" y="98"/>
                        <a:pt x="555" y="98"/>
                        <a:pt x="555" y="98"/>
                      </a:cubicBezTo>
                      <a:cubicBezTo>
                        <a:pt x="553" y="103"/>
                        <a:pt x="553" y="103"/>
                        <a:pt x="553" y="103"/>
                      </a:cubicBezTo>
                      <a:cubicBezTo>
                        <a:pt x="550" y="104"/>
                        <a:pt x="550" y="104"/>
                        <a:pt x="550" y="104"/>
                      </a:cubicBezTo>
                      <a:cubicBezTo>
                        <a:pt x="550" y="103"/>
                        <a:pt x="550" y="103"/>
                        <a:pt x="550" y="103"/>
                      </a:cubicBezTo>
                      <a:cubicBezTo>
                        <a:pt x="548" y="103"/>
                        <a:pt x="548" y="103"/>
                        <a:pt x="548" y="103"/>
                      </a:cubicBezTo>
                      <a:cubicBezTo>
                        <a:pt x="548" y="105"/>
                        <a:pt x="548" y="105"/>
                        <a:pt x="548" y="105"/>
                      </a:cubicBezTo>
                      <a:cubicBezTo>
                        <a:pt x="548" y="106"/>
                        <a:pt x="548" y="106"/>
                        <a:pt x="548" y="106"/>
                      </a:cubicBezTo>
                      <a:cubicBezTo>
                        <a:pt x="549" y="110"/>
                        <a:pt x="549" y="110"/>
                        <a:pt x="549" y="110"/>
                      </a:cubicBezTo>
                      <a:cubicBezTo>
                        <a:pt x="548" y="111"/>
                        <a:pt x="548" y="111"/>
                        <a:pt x="548" y="111"/>
                      </a:cubicBezTo>
                      <a:cubicBezTo>
                        <a:pt x="547" y="113"/>
                        <a:pt x="547" y="113"/>
                        <a:pt x="547" y="113"/>
                      </a:cubicBezTo>
                      <a:cubicBezTo>
                        <a:pt x="546" y="115"/>
                        <a:pt x="546" y="115"/>
                        <a:pt x="546" y="115"/>
                      </a:cubicBezTo>
                      <a:cubicBezTo>
                        <a:pt x="547" y="118"/>
                        <a:pt x="547" y="118"/>
                        <a:pt x="547" y="118"/>
                      </a:cubicBezTo>
                      <a:cubicBezTo>
                        <a:pt x="547" y="120"/>
                        <a:pt x="547" y="120"/>
                        <a:pt x="547" y="120"/>
                      </a:cubicBezTo>
                      <a:cubicBezTo>
                        <a:pt x="546" y="122"/>
                        <a:pt x="546" y="122"/>
                        <a:pt x="546" y="122"/>
                      </a:cubicBezTo>
                      <a:cubicBezTo>
                        <a:pt x="546" y="123"/>
                        <a:pt x="546" y="123"/>
                        <a:pt x="546" y="123"/>
                      </a:cubicBezTo>
                      <a:cubicBezTo>
                        <a:pt x="547" y="124"/>
                        <a:pt x="547" y="124"/>
                        <a:pt x="547" y="124"/>
                      </a:cubicBezTo>
                      <a:cubicBezTo>
                        <a:pt x="546" y="129"/>
                        <a:pt x="546" y="129"/>
                        <a:pt x="546" y="129"/>
                      </a:cubicBezTo>
                      <a:cubicBezTo>
                        <a:pt x="545" y="131"/>
                        <a:pt x="545" y="131"/>
                        <a:pt x="545" y="131"/>
                      </a:cubicBezTo>
                      <a:cubicBezTo>
                        <a:pt x="544" y="132"/>
                        <a:pt x="544" y="132"/>
                        <a:pt x="544" y="132"/>
                      </a:cubicBezTo>
                      <a:cubicBezTo>
                        <a:pt x="545" y="131"/>
                        <a:pt x="545" y="131"/>
                        <a:pt x="545" y="131"/>
                      </a:cubicBezTo>
                      <a:cubicBezTo>
                        <a:pt x="547" y="131"/>
                        <a:pt x="547" y="131"/>
                        <a:pt x="547" y="131"/>
                      </a:cubicBezTo>
                      <a:cubicBezTo>
                        <a:pt x="548" y="129"/>
                        <a:pt x="548" y="129"/>
                        <a:pt x="548" y="129"/>
                      </a:cubicBezTo>
                      <a:cubicBezTo>
                        <a:pt x="549" y="127"/>
                        <a:pt x="549" y="127"/>
                        <a:pt x="549" y="127"/>
                      </a:cubicBezTo>
                      <a:cubicBezTo>
                        <a:pt x="549" y="126"/>
                        <a:pt x="549" y="126"/>
                        <a:pt x="549" y="126"/>
                      </a:cubicBezTo>
                      <a:cubicBezTo>
                        <a:pt x="550" y="125"/>
                        <a:pt x="550" y="125"/>
                        <a:pt x="550" y="125"/>
                      </a:cubicBezTo>
                      <a:cubicBezTo>
                        <a:pt x="552" y="125"/>
                        <a:pt x="552" y="125"/>
                        <a:pt x="552" y="125"/>
                      </a:cubicBezTo>
                      <a:cubicBezTo>
                        <a:pt x="553" y="125"/>
                        <a:pt x="553" y="125"/>
                        <a:pt x="553" y="125"/>
                      </a:cubicBezTo>
                      <a:cubicBezTo>
                        <a:pt x="552" y="124"/>
                        <a:pt x="552" y="124"/>
                        <a:pt x="552" y="124"/>
                      </a:cubicBezTo>
                      <a:cubicBezTo>
                        <a:pt x="549" y="121"/>
                        <a:pt x="549" y="121"/>
                        <a:pt x="549" y="121"/>
                      </a:cubicBezTo>
                      <a:cubicBezTo>
                        <a:pt x="548" y="118"/>
                        <a:pt x="548" y="118"/>
                        <a:pt x="548" y="118"/>
                      </a:cubicBezTo>
                      <a:cubicBezTo>
                        <a:pt x="549" y="116"/>
                        <a:pt x="549" y="116"/>
                        <a:pt x="549" y="116"/>
                      </a:cubicBezTo>
                      <a:cubicBezTo>
                        <a:pt x="552" y="116"/>
                        <a:pt x="552" y="116"/>
                        <a:pt x="552" y="116"/>
                      </a:cubicBezTo>
                      <a:cubicBezTo>
                        <a:pt x="556" y="115"/>
                        <a:pt x="556" y="115"/>
                        <a:pt x="556" y="115"/>
                      </a:cubicBezTo>
                      <a:cubicBezTo>
                        <a:pt x="559" y="113"/>
                        <a:pt x="559" y="113"/>
                        <a:pt x="559" y="113"/>
                      </a:cubicBezTo>
                      <a:cubicBezTo>
                        <a:pt x="560" y="113"/>
                        <a:pt x="560" y="113"/>
                        <a:pt x="560" y="113"/>
                      </a:cubicBezTo>
                      <a:cubicBezTo>
                        <a:pt x="561" y="112"/>
                        <a:pt x="561" y="112"/>
                        <a:pt x="561" y="112"/>
                      </a:cubicBezTo>
                      <a:cubicBezTo>
                        <a:pt x="560" y="110"/>
                        <a:pt x="560" y="110"/>
                        <a:pt x="560" y="110"/>
                      </a:cubicBezTo>
                      <a:cubicBezTo>
                        <a:pt x="563" y="108"/>
                        <a:pt x="563" y="108"/>
                        <a:pt x="563" y="108"/>
                      </a:cubicBezTo>
                      <a:cubicBezTo>
                        <a:pt x="564" y="105"/>
                        <a:pt x="564" y="105"/>
                        <a:pt x="564" y="105"/>
                      </a:cubicBezTo>
                      <a:cubicBezTo>
                        <a:pt x="563" y="103"/>
                        <a:pt x="563" y="103"/>
                        <a:pt x="563" y="103"/>
                      </a:cubicBezTo>
                      <a:cubicBezTo>
                        <a:pt x="563" y="102"/>
                        <a:pt x="563" y="102"/>
                        <a:pt x="563" y="102"/>
                      </a:cubicBezTo>
                      <a:cubicBezTo>
                        <a:pt x="565" y="104"/>
                        <a:pt x="565" y="104"/>
                        <a:pt x="565" y="104"/>
                      </a:cubicBezTo>
                      <a:cubicBezTo>
                        <a:pt x="568" y="103"/>
                        <a:pt x="568" y="103"/>
                        <a:pt x="568" y="103"/>
                      </a:cubicBezTo>
                      <a:cubicBezTo>
                        <a:pt x="569" y="101"/>
                        <a:pt x="569" y="101"/>
                        <a:pt x="569" y="101"/>
                      </a:cubicBezTo>
                      <a:cubicBezTo>
                        <a:pt x="568" y="99"/>
                        <a:pt x="568" y="99"/>
                        <a:pt x="568" y="99"/>
                      </a:cubicBezTo>
                      <a:cubicBezTo>
                        <a:pt x="571" y="96"/>
                        <a:pt x="571" y="96"/>
                        <a:pt x="571" y="96"/>
                      </a:cubicBezTo>
                      <a:cubicBezTo>
                        <a:pt x="572" y="94"/>
                        <a:pt x="572" y="94"/>
                        <a:pt x="572" y="94"/>
                      </a:cubicBezTo>
                      <a:cubicBezTo>
                        <a:pt x="571" y="93"/>
                        <a:pt x="571" y="93"/>
                        <a:pt x="571" y="93"/>
                      </a:cubicBezTo>
                      <a:cubicBezTo>
                        <a:pt x="567" y="95"/>
                        <a:pt x="567" y="95"/>
                        <a:pt x="567" y="95"/>
                      </a:cubicBezTo>
                      <a:cubicBezTo>
                        <a:pt x="567" y="96"/>
                        <a:pt x="567" y="96"/>
                        <a:pt x="567" y="96"/>
                      </a:cubicBezTo>
                      <a:cubicBezTo>
                        <a:pt x="564" y="98"/>
                        <a:pt x="564" y="98"/>
                        <a:pt x="564" y="98"/>
                      </a:cubicBezTo>
                      <a:cubicBezTo>
                        <a:pt x="562" y="97"/>
                        <a:pt x="562" y="97"/>
                        <a:pt x="562" y="97"/>
                      </a:cubicBezTo>
                      <a:cubicBezTo>
                        <a:pt x="561" y="95"/>
                        <a:pt x="561" y="95"/>
                        <a:pt x="561" y="95"/>
                      </a:cubicBezTo>
                      <a:cubicBezTo>
                        <a:pt x="562" y="93"/>
                        <a:pt x="562" y="93"/>
                        <a:pt x="562" y="93"/>
                      </a:cubicBezTo>
                      <a:cubicBezTo>
                        <a:pt x="562" y="89"/>
                        <a:pt x="562" y="89"/>
                        <a:pt x="562" y="89"/>
                      </a:cubicBezTo>
                      <a:cubicBezTo>
                        <a:pt x="564" y="88"/>
                        <a:pt x="564" y="88"/>
                        <a:pt x="564" y="88"/>
                      </a:cubicBezTo>
                      <a:cubicBezTo>
                        <a:pt x="566" y="87"/>
                        <a:pt x="566" y="87"/>
                        <a:pt x="566" y="87"/>
                      </a:cubicBezTo>
                      <a:cubicBezTo>
                        <a:pt x="570" y="90"/>
                        <a:pt x="570" y="90"/>
                        <a:pt x="570" y="90"/>
                      </a:cubicBezTo>
                      <a:cubicBezTo>
                        <a:pt x="571" y="88"/>
                        <a:pt x="571" y="88"/>
                        <a:pt x="571" y="88"/>
                      </a:cubicBezTo>
                      <a:cubicBezTo>
                        <a:pt x="571" y="86"/>
                        <a:pt x="571" y="86"/>
                        <a:pt x="571" y="86"/>
                      </a:cubicBezTo>
                      <a:cubicBezTo>
                        <a:pt x="573" y="85"/>
                        <a:pt x="573" y="85"/>
                        <a:pt x="573" y="85"/>
                      </a:cubicBezTo>
                      <a:cubicBezTo>
                        <a:pt x="574" y="86"/>
                        <a:pt x="574" y="86"/>
                        <a:pt x="574" y="86"/>
                      </a:cubicBezTo>
                      <a:cubicBezTo>
                        <a:pt x="573" y="88"/>
                        <a:pt x="573" y="88"/>
                        <a:pt x="573" y="88"/>
                      </a:cubicBezTo>
                      <a:cubicBezTo>
                        <a:pt x="573" y="90"/>
                        <a:pt x="573" y="90"/>
                        <a:pt x="573" y="90"/>
                      </a:cubicBezTo>
                      <a:cubicBezTo>
                        <a:pt x="578" y="94"/>
                        <a:pt x="578" y="94"/>
                        <a:pt x="578" y="94"/>
                      </a:cubicBezTo>
                      <a:cubicBezTo>
                        <a:pt x="581" y="94"/>
                        <a:pt x="581" y="94"/>
                        <a:pt x="581" y="94"/>
                      </a:cubicBezTo>
                      <a:cubicBezTo>
                        <a:pt x="582" y="93"/>
                        <a:pt x="582" y="93"/>
                        <a:pt x="582" y="93"/>
                      </a:cubicBezTo>
                      <a:cubicBezTo>
                        <a:pt x="586" y="93"/>
                        <a:pt x="586" y="93"/>
                        <a:pt x="586" y="93"/>
                      </a:cubicBezTo>
                      <a:cubicBezTo>
                        <a:pt x="587" y="91"/>
                        <a:pt x="587" y="91"/>
                        <a:pt x="587" y="91"/>
                      </a:cubicBezTo>
                      <a:cubicBezTo>
                        <a:pt x="587" y="89"/>
                        <a:pt x="587" y="89"/>
                        <a:pt x="587" y="89"/>
                      </a:cubicBezTo>
                      <a:cubicBezTo>
                        <a:pt x="584" y="85"/>
                        <a:pt x="584" y="85"/>
                        <a:pt x="584" y="85"/>
                      </a:cubicBezTo>
                      <a:cubicBezTo>
                        <a:pt x="584" y="84"/>
                        <a:pt x="584" y="84"/>
                        <a:pt x="584" y="84"/>
                      </a:cubicBezTo>
                      <a:cubicBezTo>
                        <a:pt x="585" y="84"/>
                        <a:pt x="585" y="84"/>
                        <a:pt x="585" y="84"/>
                      </a:cubicBezTo>
                      <a:cubicBezTo>
                        <a:pt x="589" y="88"/>
                        <a:pt x="589" y="88"/>
                        <a:pt x="589" y="88"/>
                      </a:cubicBezTo>
                      <a:cubicBezTo>
                        <a:pt x="590" y="88"/>
                        <a:pt x="590" y="88"/>
                        <a:pt x="590" y="88"/>
                      </a:cubicBezTo>
                      <a:cubicBezTo>
                        <a:pt x="592" y="90"/>
                        <a:pt x="592" y="90"/>
                        <a:pt x="592" y="90"/>
                      </a:cubicBezTo>
                      <a:cubicBezTo>
                        <a:pt x="592" y="92"/>
                        <a:pt x="592" y="92"/>
                        <a:pt x="592" y="92"/>
                      </a:cubicBezTo>
                      <a:cubicBezTo>
                        <a:pt x="592" y="93"/>
                        <a:pt x="592" y="93"/>
                        <a:pt x="592" y="93"/>
                      </a:cubicBezTo>
                      <a:cubicBezTo>
                        <a:pt x="595" y="95"/>
                        <a:pt x="595" y="95"/>
                        <a:pt x="595" y="95"/>
                      </a:cubicBezTo>
                      <a:cubicBezTo>
                        <a:pt x="595" y="99"/>
                        <a:pt x="595" y="99"/>
                        <a:pt x="595" y="99"/>
                      </a:cubicBezTo>
                      <a:cubicBezTo>
                        <a:pt x="596" y="99"/>
                        <a:pt x="596" y="99"/>
                        <a:pt x="596" y="99"/>
                      </a:cubicBezTo>
                      <a:cubicBezTo>
                        <a:pt x="595" y="98"/>
                        <a:pt x="595" y="98"/>
                        <a:pt x="595" y="98"/>
                      </a:cubicBezTo>
                      <a:cubicBezTo>
                        <a:pt x="597" y="96"/>
                        <a:pt x="597" y="96"/>
                        <a:pt x="597" y="96"/>
                      </a:cubicBezTo>
                      <a:cubicBezTo>
                        <a:pt x="598" y="96"/>
                        <a:pt x="598" y="96"/>
                        <a:pt x="598" y="96"/>
                      </a:cubicBezTo>
                      <a:cubicBezTo>
                        <a:pt x="599" y="95"/>
                        <a:pt x="599" y="95"/>
                        <a:pt x="599" y="95"/>
                      </a:cubicBezTo>
                      <a:cubicBezTo>
                        <a:pt x="598" y="94"/>
                        <a:pt x="598" y="94"/>
                        <a:pt x="598" y="94"/>
                      </a:cubicBezTo>
                      <a:cubicBezTo>
                        <a:pt x="597" y="95"/>
                        <a:pt x="597" y="95"/>
                        <a:pt x="597" y="95"/>
                      </a:cubicBezTo>
                      <a:cubicBezTo>
                        <a:pt x="595" y="94"/>
                        <a:pt x="595" y="94"/>
                        <a:pt x="595" y="94"/>
                      </a:cubicBezTo>
                      <a:cubicBezTo>
                        <a:pt x="594" y="92"/>
                        <a:pt x="594" y="92"/>
                        <a:pt x="594" y="92"/>
                      </a:cubicBezTo>
                      <a:cubicBezTo>
                        <a:pt x="597" y="90"/>
                        <a:pt x="597" y="90"/>
                        <a:pt x="597" y="90"/>
                      </a:cubicBezTo>
                      <a:cubicBezTo>
                        <a:pt x="599" y="88"/>
                        <a:pt x="599" y="88"/>
                        <a:pt x="599" y="88"/>
                      </a:cubicBezTo>
                      <a:cubicBezTo>
                        <a:pt x="600" y="87"/>
                        <a:pt x="600" y="87"/>
                        <a:pt x="600" y="87"/>
                      </a:cubicBezTo>
                      <a:cubicBezTo>
                        <a:pt x="601" y="87"/>
                        <a:pt x="601" y="87"/>
                        <a:pt x="601" y="87"/>
                      </a:cubicBezTo>
                      <a:cubicBezTo>
                        <a:pt x="602" y="86"/>
                        <a:pt x="602" y="86"/>
                        <a:pt x="602" y="86"/>
                      </a:cubicBezTo>
                      <a:cubicBezTo>
                        <a:pt x="606" y="85"/>
                        <a:pt x="606" y="85"/>
                        <a:pt x="606" y="85"/>
                      </a:cubicBezTo>
                      <a:cubicBezTo>
                        <a:pt x="612" y="83"/>
                        <a:pt x="612" y="83"/>
                        <a:pt x="612" y="83"/>
                      </a:cubicBezTo>
                      <a:cubicBezTo>
                        <a:pt x="620" y="83"/>
                        <a:pt x="620" y="83"/>
                        <a:pt x="620" y="83"/>
                      </a:cubicBezTo>
                      <a:cubicBezTo>
                        <a:pt x="626" y="80"/>
                        <a:pt x="626" y="80"/>
                        <a:pt x="626" y="80"/>
                      </a:cubicBezTo>
                      <a:cubicBezTo>
                        <a:pt x="629" y="80"/>
                        <a:pt x="629" y="80"/>
                        <a:pt x="629" y="80"/>
                      </a:cubicBezTo>
                      <a:cubicBezTo>
                        <a:pt x="631" y="81"/>
                        <a:pt x="631" y="81"/>
                        <a:pt x="631" y="81"/>
                      </a:cubicBezTo>
                      <a:cubicBezTo>
                        <a:pt x="631" y="83"/>
                        <a:pt x="631" y="83"/>
                        <a:pt x="631" y="83"/>
                      </a:cubicBezTo>
                      <a:cubicBezTo>
                        <a:pt x="631" y="83"/>
                        <a:pt x="631" y="83"/>
                        <a:pt x="631" y="83"/>
                      </a:cubicBezTo>
                      <a:cubicBezTo>
                        <a:pt x="629" y="85"/>
                        <a:pt x="629" y="85"/>
                        <a:pt x="629" y="85"/>
                      </a:cubicBezTo>
                      <a:cubicBezTo>
                        <a:pt x="630" y="89"/>
                        <a:pt x="630" y="89"/>
                        <a:pt x="630" y="89"/>
                      </a:cubicBezTo>
                      <a:cubicBezTo>
                        <a:pt x="633" y="91"/>
                        <a:pt x="633" y="91"/>
                        <a:pt x="633" y="91"/>
                      </a:cubicBezTo>
                      <a:cubicBezTo>
                        <a:pt x="642" y="92"/>
                        <a:pt x="642" y="92"/>
                        <a:pt x="642" y="92"/>
                      </a:cubicBezTo>
                      <a:cubicBezTo>
                        <a:pt x="643" y="92"/>
                        <a:pt x="643" y="92"/>
                        <a:pt x="643" y="92"/>
                      </a:cubicBezTo>
                      <a:cubicBezTo>
                        <a:pt x="644" y="92"/>
                        <a:pt x="644" y="92"/>
                        <a:pt x="644" y="92"/>
                      </a:cubicBezTo>
                      <a:cubicBezTo>
                        <a:pt x="647" y="92"/>
                        <a:pt x="647" y="92"/>
                        <a:pt x="647" y="92"/>
                      </a:cubicBezTo>
                      <a:cubicBezTo>
                        <a:pt x="649" y="93"/>
                        <a:pt x="649" y="93"/>
                        <a:pt x="649" y="93"/>
                      </a:cubicBezTo>
                      <a:cubicBezTo>
                        <a:pt x="655" y="92"/>
                        <a:pt x="655" y="92"/>
                        <a:pt x="655" y="92"/>
                      </a:cubicBezTo>
                      <a:cubicBezTo>
                        <a:pt x="660" y="89"/>
                        <a:pt x="660" y="89"/>
                        <a:pt x="660" y="89"/>
                      </a:cubicBezTo>
                      <a:cubicBezTo>
                        <a:pt x="661" y="90"/>
                        <a:pt x="661" y="90"/>
                        <a:pt x="661" y="90"/>
                      </a:cubicBezTo>
                      <a:cubicBezTo>
                        <a:pt x="663" y="90"/>
                        <a:pt x="663" y="90"/>
                        <a:pt x="663" y="90"/>
                      </a:cubicBezTo>
                      <a:cubicBezTo>
                        <a:pt x="664" y="88"/>
                        <a:pt x="664" y="88"/>
                        <a:pt x="664" y="88"/>
                      </a:cubicBezTo>
                      <a:cubicBezTo>
                        <a:pt x="663" y="86"/>
                        <a:pt x="663" y="86"/>
                        <a:pt x="663" y="86"/>
                      </a:cubicBezTo>
                      <a:cubicBezTo>
                        <a:pt x="665" y="86"/>
                        <a:pt x="665" y="86"/>
                        <a:pt x="665" y="86"/>
                      </a:cubicBezTo>
                      <a:cubicBezTo>
                        <a:pt x="667" y="86"/>
                        <a:pt x="667" y="86"/>
                        <a:pt x="667" y="86"/>
                      </a:cubicBezTo>
                      <a:cubicBezTo>
                        <a:pt x="670" y="86"/>
                        <a:pt x="670" y="86"/>
                        <a:pt x="670" y="86"/>
                      </a:cubicBezTo>
                      <a:cubicBezTo>
                        <a:pt x="670" y="87"/>
                        <a:pt x="670" y="87"/>
                        <a:pt x="670" y="87"/>
                      </a:cubicBezTo>
                      <a:cubicBezTo>
                        <a:pt x="671" y="87"/>
                        <a:pt x="671" y="87"/>
                        <a:pt x="671" y="87"/>
                      </a:cubicBezTo>
                      <a:cubicBezTo>
                        <a:pt x="672" y="85"/>
                        <a:pt x="672" y="85"/>
                        <a:pt x="672" y="85"/>
                      </a:cubicBezTo>
                      <a:cubicBezTo>
                        <a:pt x="672" y="84"/>
                        <a:pt x="672" y="84"/>
                        <a:pt x="672" y="84"/>
                      </a:cubicBezTo>
                      <a:cubicBezTo>
                        <a:pt x="670" y="82"/>
                        <a:pt x="670" y="82"/>
                        <a:pt x="670" y="82"/>
                      </a:cubicBezTo>
                      <a:cubicBezTo>
                        <a:pt x="670" y="80"/>
                        <a:pt x="670" y="80"/>
                        <a:pt x="670" y="80"/>
                      </a:cubicBezTo>
                      <a:cubicBezTo>
                        <a:pt x="669" y="79"/>
                        <a:pt x="669" y="79"/>
                        <a:pt x="669" y="79"/>
                      </a:cubicBezTo>
                      <a:cubicBezTo>
                        <a:pt x="667" y="79"/>
                        <a:pt x="667" y="79"/>
                        <a:pt x="667" y="79"/>
                      </a:cubicBezTo>
                      <a:cubicBezTo>
                        <a:pt x="667" y="76"/>
                        <a:pt x="667" y="76"/>
                        <a:pt x="667" y="76"/>
                      </a:cubicBezTo>
                      <a:cubicBezTo>
                        <a:pt x="666" y="76"/>
                        <a:pt x="666" y="76"/>
                        <a:pt x="666" y="76"/>
                      </a:cubicBezTo>
                      <a:cubicBezTo>
                        <a:pt x="665" y="74"/>
                        <a:pt x="665" y="74"/>
                        <a:pt x="665" y="74"/>
                      </a:cubicBezTo>
                      <a:cubicBezTo>
                        <a:pt x="664" y="72"/>
                        <a:pt x="664" y="72"/>
                        <a:pt x="664" y="72"/>
                      </a:cubicBezTo>
                      <a:cubicBezTo>
                        <a:pt x="664" y="70"/>
                        <a:pt x="664" y="70"/>
                        <a:pt x="664" y="70"/>
                      </a:cubicBezTo>
                      <a:cubicBezTo>
                        <a:pt x="665" y="68"/>
                        <a:pt x="665" y="68"/>
                        <a:pt x="665" y="68"/>
                      </a:cubicBezTo>
                      <a:cubicBezTo>
                        <a:pt x="665" y="69"/>
                        <a:pt x="665" y="69"/>
                        <a:pt x="665" y="69"/>
                      </a:cubicBezTo>
                      <a:cubicBezTo>
                        <a:pt x="666" y="69"/>
                        <a:pt x="666" y="69"/>
                        <a:pt x="666" y="69"/>
                      </a:cubicBezTo>
                      <a:cubicBezTo>
                        <a:pt x="668" y="68"/>
                        <a:pt x="668" y="68"/>
                        <a:pt x="668" y="68"/>
                      </a:cubicBezTo>
                      <a:cubicBezTo>
                        <a:pt x="668" y="67"/>
                        <a:pt x="668" y="67"/>
                        <a:pt x="668" y="67"/>
                      </a:cubicBezTo>
                      <a:cubicBezTo>
                        <a:pt x="667" y="65"/>
                        <a:pt x="667" y="65"/>
                        <a:pt x="667" y="65"/>
                      </a:cubicBezTo>
                      <a:cubicBezTo>
                        <a:pt x="669" y="65"/>
                        <a:pt x="669" y="65"/>
                        <a:pt x="669" y="65"/>
                      </a:cubicBezTo>
                      <a:cubicBezTo>
                        <a:pt x="671" y="67"/>
                        <a:pt x="671" y="67"/>
                        <a:pt x="671" y="67"/>
                      </a:cubicBezTo>
                      <a:cubicBezTo>
                        <a:pt x="672" y="66"/>
                        <a:pt x="672" y="66"/>
                        <a:pt x="672" y="66"/>
                      </a:cubicBezTo>
                      <a:cubicBezTo>
                        <a:pt x="673" y="64"/>
                        <a:pt x="673" y="64"/>
                        <a:pt x="673" y="64"/>
                      </a:cubicBezTo>
                      <a:cubicBezTo>
                        <a:pt x="674" y="65"/>
                        <a:pt x="674" y="65"/>
                        <a:pt x="674" y="65"/>
                      </a:cubicBezTo>
                      <a:cubicBezTo>
                        <a:pt x="676" y="65"/>
                        <a:pt x="676" y="65"/>
                        <a:pt x="676" y="65"/>
                      </a:cubicBezTo>
                      <a:cubicBezTo>
                        <a:pt x="678" y="65"/>
                        <a:pt x="678" y="65"/>
                        <a:pt x="678" y="65"/>
                      </a:cubicBezTo>
                      <a:cubicBezTo>
                        <a:pt x="678" y="64"/>
                        <a:pt x="678" y="64"/>
                        <a:pt x="678" y="64"/>
                      </a:cubicBezTo>
                      <a:cubicBezTo>
                        <a:pt x="680" y="66"/>
                        <a:pt x="680" y="66"/>
                        <a:pt x="680" y="66"/>
                      </a:cubicBezTo>
                      <a:cubicBezTo>
                        <a:pt x="682" y="66"/>
                        <a:pt x="682" y="66"/>
                        <a:pt x="682" y="66"/>
                      </a:cubicBezTo>
                      <a:cubicBezTo>
                        <a:pt x="683" y="68"/>
                        <a:pt x="683" y="68"/>
                        <a:pt x="683" y="68"/>
                      </a:cubicBezTo>
                      <a:cubicBezTo>
                        <a:pt x="684" y="67"/>
                        <a:pt x="684" y="67"/>
                        <a:pt x="684" y="67"/>
                      </a:cubicBezTo>
                      <a:cubicBezTo>
                        <a:pt x="684" y="65"/>
                        <a:pt x="684" y="65"/>
                        <a:pt x="684" y="65"/>
                      </a:cubicBezTo>
                      <a:cubicBezTo>
                        <a:pt x="686" y="65"/>
                        <a:pt x="686" y="65"/>
                        <a:pt x="686" y="65"/>
                      </a:cubicBezTo>
                      <a:cubicBezTo>
                        <a:pt x="687" y="67"/>
                        <a:pt x="687" y="67"/>
                        <a:pt x="687" y="67"/>
                      </a:cubicBezTo>
                      <a:cubicBezTo>
                        <a:pt x="685" y="68"/>
                        <a:pt x="685" y="68"/>
                        <a:pt x="685" y="68"/>
                      </a:cubicBezTo>
                      <a:cubicBezTo>
                        <a:pt x="685" y="70"/>
                        <a:pt x="685" y="70"/>
                        <a:pt x="685" y="70"/>
                      </a:cubicBezTo>
                      <a:cubicBezTo>
                        <a:pt x="685" y="71"/>
                        <a:pt x="685" y="71"/>
                        <a:pt x="685" y="71"/>
                      </a:cubicBezTo>
                      <a:cubicBezTo>
                        <a:pt x="687" y="70"/>
                        <a:pt x="687" y="70"/>
                        <a:pt x="687" y="70"/>
                      </a:cubicBezTo>
                      <a:cubicBezTo>
                        <a:pt x="688" y="70"/>
                        <a:pt x="688" y="70"/>
                        <a:pt x="688" y="70"/>
                      </a:cubicBezTo>
                      <a:cubicBezTo>
                        <a:pt x="688" y="69"/>
                        <a:pt x="688" y="69"/>
                        <a:pt x="688" y="69"/>
                      </a:cubicBezTo>
                      <a:cubicBezTo>
                        <a:pt x="689" y="68"/>
                        <a:pt x="689" y="68"/>
                        <a:pt x="689" y="68"/>
                      </a:cubicBezTo>
                      <a:cubicBezTo>
                        <a:pt x="690" y="69"/>
                        <a:pt x="690" y="69"/>
                        <a:pt x="690" y="69"/>
                      </a:cubicBezTo>
                      <a:cubicBezTo>
                        <a:pt x="689" y="67"/>
                        <a:pt x="689" y="67"/>
                        <a:pt x="689" y="67"/>
                      </a:cubicBezTo>
                      <a:cubicBezTo>
                        <a:pt x="688" y="66"/>
                        <a:pt x="688" y="66"/>
                        <a:pt x="688" y="66"/>
                      </a:cubicBezTo>
                      <a:cubicBezTo>
                        <a:pt x="689" y="65"/>
                        <a:pt x="689" y="65"/>
                        <a:pt x="689" y="65"/>
                      </a:cubicBezTo>
                      <a:cubicBezTo>
                        <a:pt x="691" y="65"/>
                        <a:pt x="691" y="65"/>
                        <a:pt x="691" y="65"/>
                      </a:cubicBezTo>
                      <a:cubicBezTo>
                        <a:pt x="693" y="64"/>
                        <a:pt x="693" y="64"/>
                        <a:pt x="693" y="64"/>
                      </a:cubicBezTo>
                      <a:cubicBezTo>
                        <a:pt x="694" y="65"/>
                        <a:pt x="694" y="65"/>
                        <a:pt x="694" y="65"/>
                      </a:cubicBezTo>
                      <a:cubicBezTo>
                        <a:pt x="696" y="64"/>
                        <a:pt x="696" y="64"/>
                        <a:pt x="696" y="64"/>
                      </a:cubicBezTo>
                      <a:cubicBezTo>
                        <a:pt x="698" y="64"/>
                        <a:pt x="698" y="64"/>
                        <a:pt x="698" y="64"/>
                      </a:cubicBezTo>
                      <a:cubicBezTo>
                        <a:pt x="698" y="66"/>
                        <a:pt x="698" y="66"/>
                        <a:pt x="698" y="66"/>
                      </a:cubicBezTo>
                      <a:cubicBezTo>
                        <a:pt x="699" y="68"/>
                        <a:pt x="699" y="68"/>
                        <a:pt x="699" y="68"/>
                      </a:cubicBezTo>
                      <a:cubicBezTo>
                        <a:pt x="699" y="67"/>
                        <a:pt x="699" y="67"/>
                        <a:pt x="699" y="67"/>
                      </a:cubicBezTo>
                      <a:cubicBezTo>
                        <a:pt x="700" y="67"/>
                        <a:pt x="700" y="67"/>
                        <a:pt x="700" y="67"/>
                      </a:cubicBezTo>
                      <a:cubicBezTo>
                        <a:pt x="702" y="65"/>
                        <a:pt x="702" y="65"/>
                        <a:pt x="702" y="65"/>
                      </a:cubicBezTo>
                      <a:cubicBezTo>
                        <a:pt x="703" y="68"/>
                        <a:pt x="703" y="68"/>
                        <a:pt x="703" y="68"/>
                      </a:cubicBezTo>
                      <a:cubicBezTo>
                        <a:pt x="704" y="68"/>
                        <a:pt x="704" y="68"/>
                        <a:pt x="704" y="68"/>
                      </a:cubicBezTo>
                      <a:cubicBezTo>
                        <a:pt x="706" y="67"/>
                        <a:pt x="706" y="67"/>
                        <a:pt x="706" y="67"/>
                      </a:cubicBezTo>
                      <a:cubicBezTo>
                        <a:pt x="707" y="68"/>
                        <a:pt x="707" y="68"/>
                        <a:pt x="707" y="68"/>
                      </a:cubicBezTo>
                      <a:cubicBezTo>
                        <a:pt x="708" y="72"/>
                        <a:pt x="708" y="72"/>
                        <a:pt x="708" y="72"/>
                      </a:cubicBezTo>
                      <a:cubicBezTo>
                        <a:pt x="709" y="70"/>
                        <a:pt x="709" y="70"/>
                        <a:pt x="709" y="70"/>
                      </a:cubicBezTo>
                      <a:cubicBezTo>
                        <a:pt x="710" y="69"/>
                        <a:pt x="710" y="69"/>
                        <a:pt x="710" y="69"/>
                      </a:cubicBezTo>
                      <a:cubicBezTo>
                        <a:pt x="711" y="70"/>
                        <a:pt x="711" y="70"/>
                        <a:pt x="711" y="70"/>
                      </a:cubicBezTo>
                      <a:cubicBezTo>
                        <a:pt x="710" y="72"/>
                        <a:pt x="710" y="72"/>
                        <a:pt x="710" y="72"/>
                      </a:cubicBezTo>
                      <a:cubicBezTo>
                        <a:pt x="712" y="74"/>
                        <a:pt x="712" y="74"/>
                        <a:pt x="712" y="74"/>
                      </a:cubicBezTo>
                      <a:cubicBezTo>
                        <a:pt x="712" y="74"/>
                        <a:pt x="712" y="74"/>
                        <a:pt x="712" y="74"/>
                      </a:cubicBezTo>
                      <a:cubicBezTo>
                        <a:pt x="714" y="74"/>
                        <a:pt x="714" y="74"/>
                        <a:pt x="714" y="74"/>
                      </a:cubicBezTo>
                      <a:cubicBezTo>
                        <a:pt x="715" y="76"/>
                        <a:pt x="715" y="76"/>
                        <a:pt x="715" y="76"/>
                      </a:cubicBezTo>
                      <a:cubicBezTo>
                        <a:pt x="715" y="76"/>
                        <a:pt x="715" y="76"/>
                        <a:pt x="715" y="76"/>
                      </a:cubicBezTo>
                      <a:cubicBezTo>
                        <a:pt x="716" y="75"/>
                        <a:pt x="716" y="75"/>
                        <a:pt x="716" y="75"/>
                      </a:cubicBezTo>
                      <a:cubicBezTo>
                        <a:pt x="717" y="77"/>
                        <a:pt x="717" y="77"/>
                        <a:pt x="717" y="77"/>
                      </a:cubicBezTo>
                      <a:cubicBezTo>
                        <a:pt x="715" y="79"/>
                        <a:pt x="715" y="79"/>
                        <a:pt x="715" y="79"/>
                      </a:cubicBezTo>
                      <a:cubicBezTo>
                        <a:pt x="716" y="81"/>
                        <a:pt x="716" y="81"/>
                        <a:pt x="716" y="81"/>
                      </a:cubicBezTo>
                      <a:cubicBezTo>
                        <a:pt x="718" y="79"/>
                        <a:pt x="718" y="79"/>
                        <a:pt x="718" y="79"/>
                      </a:cubicBezTo>
                      <a:cubicBezTo>
                        <a:pt x="720" y="79"/>
                        <a:pt x="720" y="79"/>
                        <a:pt x="720" y="79"/>
                      </a:cubicBezTo>
                      <a:cubicBezTo>
                        <a:pt x="720" y="80"/>
                        <a:pt x="720" y="80"/>
                        <a:pt x="720" y="80"/>
                      </a:cubicBezTo>
                      <a:cubicBezTo>
                        <a:pt x="717" y="84"/>
                        <a:pt x="717" y="84"/>
                        <a:pt x="717" y="84"/>
                      </a:cubicBezTo>
                      <a:cubicBezTo>
                        <a:pt x="717" y="86"/>
                        <a:pt x="717" y="86"/>
                        <a:pt x="717" y="86"/>
                      </a:cubicBezTo>
                      <a:cubicBezTo>
                        <a:pt x="720" y="87"/>
                        <a:pt x="720" y="87"/>
                        <a:pt x="720" y="87"/>
                      </a:cubicBezTo>
                      <a:cubicBezTo>
                        <a:pt x="721" y="86"/>
                        <a:pt x="721" y="86"/>
                        <a:pt x="721" y="86"/>
                      </a:cubicBezTo>
                      <a:cubicBezTo>
                        <a:pt x="722" y="85"/>
                        <a:pt x="722" y="85"/>
                        <a:pt x="722" y="85"/>
                      </a:cubicBezTo>
                      <a:cubicBezTo>
                        <a:pt x="723" y="86"/>
                        <a:pt x="723" y="86"/>
                        <a:pt x="723" y="86"/>
                      </a:cubicBezTo>
                      <a:cubicBezTo>
                        <a:pt x="724" y="87"/>
                        <a:pt x="724" y="87"/>
                        <a:pt x="724" y="87"/>
                      </a:cubicBezTo>
                      <a:cubicBezTo>
                        <a:pt x="725" y="86"/>
                        <a:pt x="725" y="86"/>
                        <a:pt x="725" y="86"/>
                      </a:cubicBezTo>
                      <a:cubicBezTo>
                        <a:pt x="727" y="89"/>
                        <a:pt x="727" y="89"/>
                        <a:pt x="727" y="89"/>
                      </a:cubicBezTo>
                      <a:cubicBezTo>
                        <a:pt x="726" y="92"/>
                        <a:pt x="726" y="92"/>
                        <a:pt x="726" y="92"/>
                      </a:cubicBezTo>
                      <a:cubicBezTo>
                        <a:pt x="728" y="91"/>
                        <a:pt x="728" y="91"/>
                        <a:pt x="728" y="91"/>
                      </a:cubicBezTo>
                      <a:cubicBezTo>
                        <a:pt x="729" y="93"/>
                        <a:pt x="729" y="93"/>
                        <a:pt x="729" y="93"/>
                      </a:cubicBezTo>
                      <a:cubicBezTo>
                        <a:pt x="730" y="92"/>
                        <a:pt x="730" y="92"/>
                        <a:pt x="730" y="92"/>
                      </a:cubicBezTo>
                      <a:cubicBezTo>
                        <a:pt x="730" y="94"/>
                        <a:pt x="730" y="94"/>
                        <a:pt x="730" y="94"/>
                      </a:cubicBezTo>
                      <a:cubicBezTo>
                        <a:pt x="729" y="97"/>
                        <a:pt x="729" y="97"/>
                        <a:pt x="729" y="97"/>
                      </a:cubicBezTo>
                      <a:cubicBezTo>
                        <a:pt x="727" y="98"/>
                        <a:pt x="727" y="98"/>
                        <a:pt x="727" y="98"/>
                      </a:cubicBezTo>
                      <a:cubicBezTo>
                        <a:pt x="725" y="96"/>
                        <a:pt x="725" y="96"/>
                        <a:pt x="725" y="96"/>
                      </a:cubicBezTo>
                      <a:cubicBezTo>
                        <a:pt x="721" y="95"/>
                        <a:pt x="721" y="95"/>
                        <a:pt x="721" y="95"/>
                      </a:cubicBezTo>
                      <a:cubicBezTo>
                        <a:pt x="717" y="95"/>
                        <a:pt x="717" y="95"/>
                        <a:pt x="717" y="95"/>
                      </a:cubicBezTo>
                      <a:cubicBezTo>
                        <a:pt x="719" y="96"/>
                        <a:pt x="719" y="96"/>
                        <a:pt x="719" y="96"/>
                      </a:cubicBezTo>
                      <a:cubicBezTo>
                        <a:pt x="719" y="99"/>
                        <a:pt x="719" y="99"/>
                        <a:pt x="719" y="99"/>
                      </a:cubicBezTo>
                      <a:cubicBezTo>
                        <a:pt x="723" y="99"/>
                        <a:pt x="723" y="99"/>
                        <a:pt x="723" y="99"/>
                      </a:cubicBezTo>
                      <a:cubicBezTo>
                        <a:pt x="724" y="101"/>
                        <a:pt x="724" y="101"/>
                        <a:pt x="724" y="101"/>
                      </a:cubicBezTo>
                      <a:cubicBezTo>
                        <a:pt x="727" y="103"/>
                        <a:pt x="727" y="103"/>
                        <a:pt x="727" y="103"/>
                      </a:cubicBezTo>
                      <a:cubicBezTo>
                        <a:pt x="731" y="104"/>
                        <a:pt x="731" y="104"/>
                        <a:pt x="731" y="104"/>
                      </a:cubicBezTo>
                      <a:cubicBezTo>
                        <a:pt x="733" y="103"/>
                        <a:pt x="733" y="103"/>
                        <a:pt x="733" y="103"/>
                      </a:cubicBezTo>
                      <a:cubicBezTo>
                        <a:pt x="733" y="101"/>
                        <a:pt x="733" y="101"/>
                        <a:pt x="733" y="101"/>
                      </a:cubicBezTo>
                      <a:cubicBezTo>
                        <a:pt x="732" y="99"/>
                        <a:pt x="732" y="99"/>
                        <a:pt x="732" y="99"/>
                      </a:cubicBezTo>
                      <a:cubicBezTo>
                        <a:pt x="731" y="98"/>
                        <a:pt x="731" y="98"/>
                        <a:pt x="731" y="98"/>
                      </a:cubicBezTo>
                      <a:cubicBezTo>
                        <a:pt x="732" y="98"/>
                        <a:pt x="732" y="98"/>
                        <a:pt x="732" y="98"/>
                      </a:cubicBezTo>
                      <a:cubicBezTo>
                        <a:pt x="734" y="100"/>
                        <a:pt x="734" y="100"/>
                        <a:pt x="734" y="100"/>
                      </a:cubicBezTo>
                      <a:cubicBezTo>
                        <a:pt x="736" y="101"/>
                        <a:pt x="736" y="101"/>
                        <a:pt x="736" y="101"/>
                      </a:cubicBezTo>
                      <a:cubicBezTo>
                        <a:pt x="737" y="102"/>
                        <a:pt x="737" y="102"/>
                        <a:pt x="737" y="102"/>
                      </a:cubicBezTo>
                      <a:cubicBezTo>
                        <a:pt x="736" y="102"/>
                        <a:pt x="736" y="102"/>
                        <a:pt x="736" y="102"/>
                      </a:cubicBezTo>
                      <a:cubicBezTo>
                        <a:pt x="732" y="105"/>
                        <a:pt x="732" y="105"/>
                        <a:pt x="732" y="105"/>
                      </a:cubicBezTo>
                      <a:cubicBezTo>
                        <a:pt x="733" y="107"/>
                        <a:pt x="733" y="107"/>
                        <a:pt x="733" y="107"/>
                      </a:cubicBezTo>
                      <a:cubicBezTo>
                        <a:pt x="734" y="107"/>
                        <a:pt x="734" y="107"/>
                        <a:pt x="734" y="107"/>
                      </a:cubicBezTo>
                      <a:cubicBezTo>
                        <a:pt x="736" y="106"/>
                        <a:pt x="736" y="106"/>
                        <a:pt x="736" y="106"/>
                      </a:cubicBezTo>
                      <a:cubicBezTo>
                        <a:pt x="737" y="106"/>
                        <a:pt x="737" y="106"/>
                        <a:pt x="737" y="106"/>
                      </a:cubicBezTo>
                      <a:cubicBezTo>
                        <a:pt x="743" y="112"/>
                        <a:pt x="743" y="112"/>
                        <a:pt x="743" y="112"/>
                      </a:cubicBezTo>
                      <a:cubicBezTo>
                        <a:pt x="745" y="112"/>
                        <a:pt x="745" y="112"/>
                        <a:pt x="745" y="112"/>
                      </a:cubicBezTo>
                      <a:cubicBezTo>
                        <a:pt x="747" y="115"/>
                        <a:pt x="747" y="115"/>
                        <a:pt x="747" y="115"/>
                      </a:cubicBezTo>
                      <a:cubicBezTo>
                        <a:pt x="751" y="116"/>
                        <a:pt x="751" y="116"/>
                        <a:pt x="751" y="116"/>
                      </a:cubicBezTo>
                      <a:cubicBezTo>
                        <a:pt x="754" y="119"/>
                        <a:pt x="754" y="119"/>
                        <a:pt x="754" y="119"/>
                      </a:cubicBezTo>
                      <a:cubicBezTo>
                        <a:pt x="757" y="119"/>
                        <a:pt x="757" y="119"/>
                        <a:pt x="757" y="119"/>
                      </a:cubicBezTo>
                      <a:cubicBezTo>
                        <a:pt x="758" y="118"/>
                        <a:pt x="758" y="118"/>
                        <a:pt x="758" y="118"/>
                      </a:cubicBezTo>
                      <a:cubicBezTo>
                        <a:pt x="757" y="117"/>
                        <a:pt x="757" y="117"/>
                        <a:pt x="757" y="117"/>
                      </a:cubicBezTo>
                      <a:cubicBezTo>
                        <a:pt x="758" y="116"/>
                        <a:pt x="758" y="116"/>
                        <a:pt x="758" y="116"/>
                      </a:cubicBezTo>
                      <a:cubicBezTo>
                        <a:pt x="760" y="118"/>
                        <a:pt x="760" y="118"/>
                        <a:pt x="760" y="118"/>
                      </a:cubicBezTo>
                      <a:cubicBezTo>
                        <a:pt x="760" y="119"/>
                        <a:pt x="760" y="119"/>
                        <a:pt x="760" y="119"/>
                      </a:cubicBezTo>
                      <a:cubicBezTo>
                        <a:pt x="761" y="121"/>
                        <a:pt x="761" y="121"/>
                        <a:pt x="761" y="121"/>
                      </a:cubicBezTo>
                      <a:cubicBezTo>
                        <a:pt x="762" y="121"/>
                        <a:pt x="762" y="121"/>
                        <a:pt x="762" y="121"/>
                      </a:cubicBezTo>
                      <a:cubicBezTo>
                        <a:pt x="763" y="119"/>
                        <a:pt x="763" y="119"/>
                        <a:pt x="763" y="119"/>
                      </a:cubicBezTo>
                      <a:cubicBezTo>
                        <a:pt x="761" y="108"/>
                        <a:pt x="761" y="108"/>
                        <a:pt x="761" y="108"/>
                      </a:cubicBezTo>
                      <a:cubicBezTo>
                        <a:pt x="759" y="104"/>
                        <a:pt x="759" y="104"/>
                        <a:pt x="759" y="104"/>
                      </a:cubicBezTo>
                      <a:cubicBezTo>
                        <a:pt x="756" y="98"/>
                        <a:pt x="756" y="98"/>
                        <a:pt x="756" y="98"/>
                      </a:cubicBezTo>
                      <a:cubicBezTo>
                        <a:pt x="756" y="93"/>
                        <a:pt x="756" y="93"/>
                        <a:pt x="756" y="93"/>
                      </a:cubicBezTo>
                      <a:cubicBezTo>
                        <a:pt x="754" y="89"/>
                        <a:pt x="754" y="89"/>
                        <a:pt x="754" y="89"/>
                      </a:cubicBezTo>
                      <a:cubicBezTo>
                        <a:pt x="754" y="88"/>
                        <a:pt x="754" y="88"/>
                        <a:pt x="754" y="88"/>
                      </a:cubicBezTo>
                      <a:cubicBezTo>
                        <a:pt x="756" y="89"/>
                        <a:pt x="756" y="89"/>
                        <a:pt x="756" y="89"/>
                      </a:cubicBezTo>
                      <a:cubicBezTo>
                        <a:pt x="757" y="91"/>
                        <a:pt x="757" y="91"/>
                        <a:pt x="757" y="91"/>
                      </a:cubicBezTo>
                      <a:cubicBezTo>
                        <a:pt x="759" y="93"/>
                        <a:pt x="759" y="93"/>
                        <a:pt x="759" y="93"/>
                      </a:cubicBezTo>
                      <a:cubicBezTo>
                        <a:pt x="761" y="94"/>
                        <a:pt x="761" y="94"/>
                        <a:pt x="761" y="94"/>
                      </a:cubicBezTo>
                      <a:cubicBezTo>
                        <a:pt x="763" y="96"/>
                        <a:pt x="763" y="96"/>
                        <a:pt x="763" y="96"/>
                      </a:cubicBezTo>
                      <a:cubicBezTo>
                        <a:pt x="767" y="97"/>
                        <a:pt x="767" y="97"/>
                        <a:pt x="767" y="97"/>
                      </a:cubicBezTo>
                      <a:cubicBezTo>
                        <a:pt x="775" y="96"/>
                        <a:pt x="775" y="96"/>
                        <a:pt x="775" y="96"/>
                      </a:cubicBezTo>
                      <a:cubicBezTo>
                        <a:pt x="776" y="97"/>
                        <a:pt x="776" y="97"/>
                        <a:pt x="776" y="97"/>
                      </a:cubicBezTo>
                      <a:cubicBezTo>
                        <a:pt x="778" y="96"/>
                        <a:pt x="778" y="96"/>
                        <a:pt x="778" y="96"/>
                      </a:cubicBezTo>
                      <a:cubicBezTo>
                        <a:pt x="780" y="98"/>
                        <a:pt x="780" y="98"/>
                        <a:pt x="780" y="98"/>
                      </a:cubicBezTo>
                      <a:cubicBezTo>
                        <a:pt x="780" y="97"/>
                        <a:pt x="780" y="97"/>
                        <a:pt x="780" y="97"/>
                      </a:cubicBezTo>
                      <a:cubicBezTo>
                        <a:pt x="779" y="95"/>
                        <a:pt x="779" y="95"/>
                        <a:pt x="779" y="95"/>
                      </a:cubicBezTo>
                      <a:cubicBezTo>
                        <a:pt x="779" y="93"/>
                        <a:pt x="779" y="93"/>
                        <a:pt x="779" y="93"/>
                      </a:cubicBezTo>
                      <a:cubicBezTo>
                        <a:pt x="778" y="92"/>
                        <a:pt x="778" y="92"/>
                        <a:pt x="778" y="92"/>
                      </a:cubicBezTo>
                      <a:cubicBezTo>
                        <a:pt x="778" y="91"/>
                        <a:pt x="778" y="91"/>
                        <a:pt x="778" y="91"/>
                      </a:cubicBezTo>
                      <a:cubicBezTo>
                        <a:pt x="779" y="89"/>
                        <a:pt x="779" y="89"/>
                        <a:pt x="779" y="89"/>
                      </a:cubicBezTo>
                      <a:cubicBezTo>
                        <a:pt x="785" y="86"/>
                        <a:pt x="785" y="86"/>
                        <a:pt x="785" y="86"/>
                      </a:cubicBezTo>
                      <a:cubicBezTo>
                        <a:pt x="786" y="87"/>
                        <a:pt x="786" y="87"/>
                        <a:pt x="786" y="87"/>
                      </a:cubicBezTo>
                      <a:cubicBezTo>
                        <a:pt x="788" y="87"/>
                        <a:pt x="788" y="87"/>
                        <a:pt x="788" y="87"/>
                      </a:cubicBezTo>
                      <a:cubicBezTo>
                        <a:pt x="790" y="88"/>
                        <a:pt x="790" y="88"/>
                        <a:pt x="790" y="88"/>
                      </a:cubicBezTo>
                      <a:cubicBezTo>
                        <a:pt x="793" y="88"/>
                        <a:pt x="793" y="88"/>
                        <a:pt x="793" y="88"/>
                      </a:cubicBezTo>
                      <a:cubicBezTo>
                        <a:pt x="795" y="90"/>
                        <a:pt x="795" y="90"/>
                        <a:pt x="795" y="90"/>
                      </a:cubicBezTo>
                      <a:cubicBezTo>
                        <a:pt x="797" y="91"/>
                        <a:pt x="797" y="91"/>
                        <a:pt x="797" y="91"/>
                      </a:cubicBezTo>
                      <a:cubicBezTo>
                        <a:pt x="799" y="93"/>
                        <a:pt x="799" y="93"/>
                        <a:pt x="799" y="93"/>
                      </a:cubicBezTo>
                      <a:cubicBezTo>
                        <a:pt x="802" y="93"/>
                        <a:pt x="802" y="93"/>
                        <a:pt x="802" y="93"/>
                      </a:cubicBezTo>
                      <a:cubicBezTo>
                        <a:pt x="803" y="95"/>
                        <a:pt x="803" y="95"/>
                        <a:pt x="803" y="95"/>
                      </a:cubicBezTo>
                      <a:cubicBezTo>
                        <a:pt x="807" y="95"/>
                        <a:pt x="807" y="95"/>
                        <a:pt x="807" y="95"/>
                      </a:cubicBezTo>
                      <a:cubicBezTo>
                        <a:pt x="805" y="93"/>
                        <a:pt x="805" y="93"/>
                        <a:pt x="805" y="93"/>
                      </a:cubicBezTo>
                      <a:cubicBezTo>
                        <a:pt x="804" y="92"/>
                        <a:pt x="804" y="92"/>
                        <a:pt x="804" y="92"/>
                      </a:cubicBezTo>
                      <a:cubicBezTo>
                        <a:pt x="807" y="93"/>
                        <a:pt x="807" y="93"/>
                        <a:pt x="807" y="93"/>
                      </a:cubicBezTo>
                      <a:cubicBezTo>
                        <a:pt x="809" y="92"/>
                        <a:pt x="809" y="92"/>
                        <a:pt x="809" y="92"/>
                      </a:cubicBezTo>
                      <a:cubicBezTo>
                        <a:pt x="807" y="91"/>
                        <a:pt x="807" y="91"/>
                        <a:pt x="807" y="91"/>
                      </a:cubicBezTo>
                      <a:cubicBezTo>
                        <a:pt x="808" y="89"/>
                        <a:pt x="808" y="89"/>
                        <a:pt x="808" y="89"/>
                      </a:cubicBezTo>
                      <a:cubicBezTo>
                        <a:pt x="807" y="88"/>
                        <a:pt x="807" y="88"/>
                        <a:pt x="807" y="88"/>
                      </a:cubicBezTo>
                      <a:cubicBezTo>
                        <a:pt x="804" y="89"/>
                        <a:pt x="804" y="89"/>
                        <a:pt x="804" y="89"/>
                      </a:cubicBezTo>
                      <a:cubicBezTo>
                        <a:pt x="802" y="88"/>
                        <a:pt x="802" y="88"/>
                        <a:pt x="802" y="88"/>
                      </a:cubicBezTo>
                      <a:cubicBezTo>
                        <a:pt x="802" y="85"/>
                        <a:pt x="802" y="85"/>
                        <a:pt x="802" y="85"/>
                      </a:cubicBezTo>
                      <a:cubicBezTo>
                        <a:pt x="801" y="83"/>
                        <a:pt x="801" y="83"/>
                        <a:pt x="801" y="83"/>
                      </a:cubicBezTo>
                      <a:cubicBezTo>
                        <a:pt x="802" y="82"/>
                        <a:pt x="802" y="82"/>
                        <a:pt x="802" y="82"/>
                      </a:cubicBezTo>
                      <a:cubicBezTo>
                        <a:pt x="803" y="83"/>
                        <a:pt x="803" y="83"/>
                        <a:pt x="803" y="83"/>
                      </a:cubicBezTo>
                      <a:cubicBezTo>
                        <a:pt x="805" y="82"/>
                        <a:pt x="805" y="82"/>
                        <a:pt x="805" y="82"/>
                      </a:cubicBezTo>
                      <a:cubicBezTo>
                        <a:pt x="804" y="80"/>
                        <a:pt x="804" y="80"/>
                        <a:pt x="804" y="80"/>
                      </a:cubicBezTo>
                      <a:cubicBezTo>
                        <a:pt x="805" y="80"/>
                        <a:pt x="805" y="80"/>
                        <a:pt x="805" y="80"/>
                      </a:cubicBezTo>
                      <a:cubicBezTo>
                        <a:pt x="808" y="82"/>
                        <a:pt x="808" y="82"/>
                        <a:pt x="808" y="82"/>
                      </a:cubicBezTo>
                      <a:cubicBezTo>
                        <a:pt x="809" y="84"/>
                        <a:pt x="809" y="84"/>
                        <a:pt x="809" y="84"/>
                      </a:cubicBezTo>
                      <a:cubicBezTo>
                        <a:pt x="810" y="84"/>
                        <a:pt x="810" y="84"/>
                        <a:pt x="810" y="84"/>
                      </a:cubicBezTo>
                      <a:cubicBezTo>
                        <a:pt x="811" y="85"/>
                        <a:pt x="811" y="85"/>
                        <a:pt x="811" y="85"/>
                      </a:cubicBezTo>
                      <a:cubicBezTo>
                        <a:pt x="812" y="84"/>
                        <a:pt x="812" y="84"/>
                        <a:pt x="812" y="84"/>
                      </a:cubicBezTo>
                      <a:cubicBezTo>
                        <a:pt x="812" y="82"/>
                        <a:pt x="812" y="82"/>
                        <a:pt x="812" y="82"/>
                      </a:cubicBezTo>
                      <a:cubicBezTo>
                        <a:pt x="814" y="81"/>
                        <a:pt x="814" y="81"/>
                        <a:pt x="814" y="81"/>
                      </a:cubicBezTo>
                      <a:cubicBezTo>
                        <a:pt x="815" y="82"/>
                        <a:pt x="815" y="82"/>
                        <a:pt x="815" y="82"/>
                      </a:cubicBezTo>
                      <a:cubicBezTo>
                        <a:pt x="816" y="80"/>
                        <a:pt x="816" y="80"/>
                        <a:pt x="816" y="80"/>
                      </a:cubicBezTo>
                      <a:cubicBezTo>
                        <a:pt x="813" y="77"/>
                        <a:pt x="813" y="77"/>
                        <a:pt x="813" y="77"/>
                      </a:cubicBezTo>
                      <a:cubicBezTo>
                        <a:pt x="810" y="76"/>
                        <a:pt x="810" y="76"/>
                        <a:pt x="810" y="76"/>
                      </a:cubicBezTo>
                      <a:cubicBezTo>
                        <a:pt x="808" y="74"/>
                        <a:pt x="808" y="74"/>
                        <a:pt x="808" y="74"/>
                      </a:cubicBezTo>
                      <a:cubicBezTo>
                        <a:pt x="809" y="72"/>
                        <a:pt x="809" y="72"/>
                        <a:pt x="809" y="72"/>
                      </a:cubicBezTo>
                      <a:cubicBezTo>
                        <a:pt x="808" y="70"/>
                        <a:pt x="808" y="70"/>
                        <a:pt x="808" y="70"/>
                      </a:cubicBezTo>
                      <a:cubicBezTo>
                        <a:pt x="805" y="71"/>
                        <a:pt x="805" y="71"/>
                        <a:pt x="805" y="71"/>
                      </a:cubicBezTo>
                      <a:cubicBezTo>
                        <a:pt x="803" y="70"/>
                        <a:pt x="803" y="70"/>
                        <a:pt x="803" y="70"/>
                      </a:cubicBezTo>
                      <a:cubicBezTo>
                        <a:pt x="806" y="69"/>
                        <a:pt x="806" y="69"/>
                        <a:pt x="806" y="69"/>
                      </a:cubicBezTo>
                      <a:cubicBezTo>
                        <a:pt x="805" y="67"/>
                        <a:pt x="805" y="67"/>
                        <a:pt x="805" y="67"/>
                      </a:cubicBezTo>
                      <a:cubicBezTo>
                        <a:pt x="805" y="67"/>
                        <a:pt x="805" y="67"/>
                        <a:pt x="805" y="67"/>
                      </a:cubicBezTo>
                      <a:cubicBezTo>
                        <a:pt x="804" y="64"/>
                        <a:pt x="804" y="64"/>
                        <a:pt x="804" y="64"/>
                      </a:cubicBezTo>
                      <a:cubicBezTo>
                        <a:pt x="807" y="64"/>
                        <a:pt x="807" y="64"/>
                        <a:pt x="807" y="64"/>
                      </a:cubicBezTo>
                      <a:cubicBezTo>
                        <a:pt x="808" y="61"/>
                        <a:pt x="808" y="61"/>
                        <a:pt x="808" y="61"/>
                      </a:cubicBezTo>
                      <a:cubicBezTo>
                        <a:pt x="804" y="62"/>
                        <a:pt x="804" y="62"/>
                        <a:pt x="804" y="62"/>
                      </a:cubicBezTo>
                      <a:cubicBezTo>
                        <a:pt x="802" y="64"/>
                        <a:pt x="802" y="64"/>
                        <a:pt x="802" y="64"/>
                      </a:cubicBezTo>
                      <a:cubicBezTo>
                        <a:pt x="802" y="66"/>
                        <a:pt x="802" y="66"/>
                        <a:pt x="802" y="66"/>
                      </a:cubicBezTo>
                      <a:cubicBezTo>
                        <a:pt x="798" y="65"/>
                        <a:pt x="798" y="65"/>
                        <a:pt x="798" y="65"/>
                      </a:cubicBezTo>
                      <a:cubicBezTo>
                        <a:pt x="796" y="61"/>
                        <a:pt x="796" y="61"/>
                        <a:pt x="796" y="61"/>
                      </a:cubicBezTo>
                      <a:cubicBezTo>
                        <a:pt x="797" y="59"/>
                        <a:pt x="797" y="59"/>
                        <a:pt x="797" y="59"/>
                      </a:cubicBezTo>
                      <a:cubicBezTo>
                        <a:pt x="798" y="57"/>
                        <a:pt x="798" y="57"/>
                        <a:pt x="798" y="57"/>
                      </a:cubicBezTo>
                      <a:cubicBezTo>
                        <a:pt x="801" y="55"/>
                        <a:pt x="801" y="55"/>
                        <a:pt x="801" y="55"/>
                      </a:cubicBezTo>
                      <a:cubicBezTo>
                        <a:pt x="803" y="56"/>
                        <a:pt x="803" y="56"/>
                        <a:pt x="803" y="56"/>
                      </a:cubicBezTo>
                      <a:cubicBezTo>
                        <a:pt x="807" y="52"/>
                        <a:pt x="807" y="52"/>
                        <a:pt x="807" y="52"/>
                      </a:cubicBezTo>
                      <a:cubicBezTo>
                        <a:pt x="807" y="51"/>
                        <a:pt x="807" y="51"/>
                        <a:pt x="807" y="51"/>
                      </a:cubicBezTo>
                      <a:cubicBezTo>
                        <a:pt x="805" y="49"/>
                        <a:pt x="805" y="49"/>
                        <a:pt x="805" y="49"/>
                      </a:cubicBezTo>
                      <a:cubicBezTo>
                        <a:pt x="803" y="49"/>
                        <a:pt x="803" y="49"/>
                        <a:pt x="803" y="49"/>
                      </a:cubicBezTo>
                      <a:cubicBezTo>
                        <a:pt x="801" y="48"/>
                        <a:pt x="801" y="48"/>
                        <a:pt x="801" y="48"/>
                      </a:cubicBezTo>
                      <a:cubicBezTo>
                        <a:pt x="798" y="48"/>
                        <a:pt x="798" y="48"/>
                        <a:pt x="798" y="48"/>
                      </a:cubicBezTo>
                      <a:cubicBezTo>
                        <a:pt x="796" y="46"/>
                        <a:pt x="796" y="46"/>
                        <a:pt x="796" y="46"/>
                      </a:cubicBezTo>
                      <a:cubicBezTo>
                        <a:pt x="799" y="44"/>
                        <a:pt x="799" y="44"/>
                        <a:pt x="799" y="44"/>
                      </a:cubicBezTo>
                      <a:cubicBezTo>
                        <a:pt x="802" y="44"/>
                        <a:pt x="802" y="44"/>
                        <a:pt x="802" y="44"/>
                      </a:cubicBezTo>
                      <a:cubicBezTo>
                        <a:pt x="807" y="46"/>
                        <a:pt x="807" y="46"/>
                        <a:pt x="807" y="46"/>
                      </a:cubicBezTo>
                      <a:cubicBezTo>
                        <a:pt x="811" y="45"/>
                        <a:pt x="811" y="45"/>
                        <a:pt x="811" y="45"/>
                      </a:cubicBezTo>
                      <a:cubicBezTo>
                        <a:pt x="817" y="45"/>
                        <a:pt x="817" y="45"/>
                        <a:pt x="817" y="45"/>
                      </a:cubicBezTo>
                      <a:cubicBezTo>
                        <a:pt x="828" y="44"/>
                        <a:pt x="828" y="44"/>
                        <a:pt x="828" y="44"/>
                      </a:cubicBezTo>
                      <a:cubicBezTo>
                        <a:pt x="830" y="43"/>
                        <a:pt x="830" y="43"/>
                        <a:pt x="830" y="43"/>
                      </a:cubicBezTo>
                      <a:cubicBezTo>
                        <a:pt x="839" y="43"/>
                        <a:pt x="839" y="43"/>
                        <a:pt x="839" y="43"/>
                      </a:cubicBezTo>
                      <a:cubicBezTo>
                        <a:pt x="842" y="43"/>
                        <a:pt x="842" y="43"/>
                        <a:pt x="842" y="43"/>
                      </a:cubicBezTo>
                      <a:cubicBezTo>
                        <a:pt x="845" y="43"/>
                        <a:pt x="845" y="43"/>
                        <a:pt x="845" y="43"/>
                      </a:cubicBezTo>
                      <a:cubicBezTo>
                        <a:pt x="850" y="43"/>
                        <a:pt x="850" y="43"/>
                        <a:pt x="850" y="43"/>
                      </a:cubicBezTo>
                      <a:cubicBezTo>
                        <a:pt x="847" y="44"/>
                        <a:pt x="847" y="44"/>
                        <a:pt x="847" y="44"/>
                      </a:cubicBezTo>
                      <a:cubicBezTo>
                        <a:pt x="841" y="47"/>
                        <a:pt x="841" y="47"/>
                        <a:pt x="841" y="47"/>
                      </a:cubicBezTo>
                      <a:cubicBezTo>
                        <a:pt x="839" y="45"/>
                        <a:pt x="839" y="45"/>
                        <a:pt x="839" y="45"/>
                      </a:cubicBezTo>
                      <a:cubicBezTo>
                        <a:pt x="838" y="46"/>
                        <a:pt x="838" y="46"/>
                        <a:pt x="838" y="46"/>
                      </a:cubicBezTo>
                      <a:cubicBezTo>
                        <a:pt x="836" y="45"/>
                        <a:pt x="836" y="45"/>
                        <a:pt x="836" y="45"/>
                      </a:cubicBezTo>
                      <a:cubicBezTo>
                        <a:pt x="834" y="49"/>
                        <a:pt x="834" y="49"/>
                        <a:pt x="834" y="49"/>
                      </a:cubicBezTo>
                      <a:cubicBezTo>
                        <a:pt x="836" y="51"/>
                        <a:pt x="836" y="51"/>
                        <a:pt x="836" y="51"/>
                      </a:cubicBezTo>
                      <a:cubicBezTo>
                        <a:pt x="835" y="52"/>
                        <a:pt x="835" y="52"/>
                        <a:pt x="835" y="52"/>
                      </a:cubicBezTo>
                      <a:cubicBezTo>
                        <a:pt x="834" y="54"/>
                        <a:pt x="834" y="54"/>
                        <a:pt x="834" y="54"/>
                      </a:cubicBezTo>
                      <a:cubicBezTo>
                        <a:pt x="836" y="55"/>
                        <a:pt x="836" y="55"/>
                        <a:pt x="836" y="55"/>
                      </a:cubicBezTo>
                      <a:cubicBezTo>
                        <a:pt x="839" y="53"/>
                        <a:pt x="839" y="53"/>
                        <a:pt x="839" y="53"/>
                      </a:cubicBezTo>
                      <a:cubicBezTo>
                        <a:pt x="839" y="51"/>
                        <a:pt x="839" y="51"/>
                        <a:pt x="839" y="51"/>
                      </a:cubicBezTo>
                      <a:cubicBezTo>
                        <a:pt x="844" y="47"/>
                        <a:pt x="844" y="47"/>
                        <a:pt x="844" y="47"/>
                      </a:cubicBezTo>
                      <a:cubicBezTo>
                        <a:pt x="851" y="44"/>
                        <a:pt x="851" y="44"/>
                        <a:pt x="851" y="44"/>
                      </a:cubicBezTo>
                      <a:cubicBezTo>
                        <a:pt x="852" y="48"/>
                        <a:pt x="852" y="48"/>
                        <a:pt x="852" y="48"/>
                      </a:cubicBezTo>
                      <a:cubicBezTo>
                        <a:pt x="852" y="53"/>
                        <a:pt x="852" y="53"/>
                        <a:pt x="852" y="53"/>
                      </a:cubicBezTo>
                      <a:cubicBezTo>
                        <a:pt x="851" y="54"/>
                        <a:pt x="851" y="54"/>
                        <a:pt x="851" y="54"/>
                      </a:cubicBezTo>
                      <a:cubicBezTo>
                        <a:pt x="850" y="51"/>
                        <a:pt x="850" y="51"/>
                        <a:pt x="850" y="51"/>
                      </a:cubicBezTo>
                      <a:cubicBezTo>
                        <a:pt x="848" y="49"/>
                        <a:pt x="848" y="49"/>
                        <a:pt x="848" y="49"/>
                      </a:cubicBezTo>
                      <a:cubicBezTo>
                        <a:pt x="848" y="47"/>
                        <a:pt x="848" y="47"/>
                        <a:pt x="848" y="47"/>
                      </a:cubicBezTo>
                      <a:cubicBezTo>
                        <a:pt x="846" y="49"/>
                        <a:pt x="846" y="49"/>
                        <a:pt x="846" y="49"/>
                      </a:cubicBezTo>
                      <a:cubicBezTo>
                        <a:pt x="845" y="48"/>
                        <a:pt x="845" y="48"/>
                        <a:pt x="845" y="48"/>
                      </a:cubicBezTo>
                      <a:cubicBezTo>
                        <a:pt x="846" y="52"/>
                        <a:pt x="846" y="52"/>
                        <a:pt x="846" y="52"/>
                      </a:cubicBezTo>
                      <a:cubicBezTo>
                        <a:pt x="848" y="53"/>
                        <a:pt x="848" y="53"/>
                        <a:pt x="848" y="53"/>
                      </a:cubicBezTo>
                      <a:cubicBezTo>
                        <a:pt x="849" y="57"/>
                        <a:pt x="849" y="57"/>
                        <a:pt x="849" y="57"/>
                      </a:cubicBezTo>
                      <a:cubicBezTo>
                        <a:pt x="848" y="60"/>
                        <a:pt x="848" y="60"/>
                        <a:pt x="848" y="60"/>
                      </a:cubicBezTo>
                      <a:cubicBezTo>
                        <a:pt x="846" y="59"/>
                        <a:pt x="846" y="59"/>
                        <a:pt x="846" y="59"/>
                      </a:cubicBezTo>
                      <a:cubicBezTo>
                        <a:pt x="845" y="60"/>
                        <a:pt x="845" y="60"/>
                        <a:pt x="845" y="60"/>
                      </a:cubicBezTo>
                      <a:cubicBezTo>
                        <a:pt x="847" y="62"/>
                        <a:pt x="847" y="62"/>
                        <a:pt x="847" y="62"/>
                      </a:cubicBezTo>
                      <a:cubicBezTo>
                        <a:pt x="847" y="63"/>
                        <a:pt x="847" y="63"/>
                        <a:pt x="847" y="63"/>
                      </a:cubicBezTo>
                      <a:cubicBezTo>
                        <a:pt x="848" y="64"/>
                        <a:pt x="848" y="64"/>
                        <a:pt x="848" y="64"/>
                      </a:cubicBezTo>
                      <a:cubicBezTo>
                        <a:pt x="849" y="64"/>
                        <a:pt x="849" y="64"/>
                        <a:pt x="849" y="64"/>
                      </a:cubicBezTo>
                      <a:cubicBezTo>
                        <a:pt x="852" y="62"/>
                        <a:pt x="852" y="62"/>
                        <a:pt x="852" y="62"/>
                      </a:cubicBezTo>
                      <a:cubicBezTo>
                        <a:pt x="852" y="60"/>
                        <a:pt x="852" y="60"/>
                        <a:pt x="852" y="60"/>
                      </a:cubicBezTo>
                      <a:cubicBezTo>
                        <a:pt x="854" y="57"/>
                        <a:pt x="854" y="57"/>
                        <a:pt x="854" y="57"/>
                      </a:cubicBezTo>
                      <a:cubicBezTo>
                        <a:pt x="853" y="55"/>
                        <a:pt x="853" y="55"/>
                        <a:pt x="853" y="55"/>
                      </a:cubicBezTo>
                      <a:cubicBezTo>
                        <a:pt x="853" y="52"/>
                        <a:pt x="853" y="52"/>
                        <a:pt x="853" y="52"/>
                      </a:cubicBezTo>
                      <a:cubicBezTo>
                        <a:pt x="853" y="42"/>
                        <a:pt x="853" y="42"/>
                        <a:pt x="853" y="42"/>
                      </a:cubicBezTo>
                      <a:cubicBezTo>
                        <a:pt x="856" y="39"/>
                        <a:pt x="856" y="39"/>
                        <a:pt x="856" y="39"/>
                      </a:cubicBezTo>
                      <a:cubicBezTo>
                        <a:pt x="861" y="38"/>
                        <a:pt x="861" y="38"/>
                        <a:pt x="861" y="38"/>
                      </a:cubicBezTo>
                      <a:cubicBezTo>
                        <a:pt x="867" y="37"/>
                        <a:pt x="867" y="37"/>
                        <a:pt x="867" y="37"/>
                      </a:cubicBezTo>
                      <a:cubicBezTo>
                        <a:pt x="872" y="37"/>
                        <a:pt x="872" y="37"/>
                        <a:pt x="872" y="37"/>
                      </a:cubicBezTo>
                      <a:cubicBezTo>
                        <a:pt x="878" y="40"/>
                        <a:pt x="878" y="40"/>
                        <a:pt x="878" y="40"/>
                      </a:cubicBezTo>
                      <a:cubicBezTo>
                        <a:pt x="882" y="44"/>
                        <a:pt x="882" y="44"/>
                        <a:pt x="882" y="44"/>
                      </a:cubicBezTo>
                      <a:cubicBezTo>
                        <a:pt x="881" y="46"/>
                        <a:pt x="881" y="46"/>
                        <a:pt x="881" y="46"/>
                      </a:cubicBezTo>
                      <a:cubicBezTo>
                        <a:pt x="880" y="48"/>
                        <a:pt x="880" y="48"/>
                        <a:pt x="880" y="48"/>
                      </a:cubicBezTo>
                      <a:cubicBezTo>
                        <a:pt x="876" y="45"/>
                        <a:pt x="876" y="45"/>
                        <a:pt x="876" y="45"/>
                      </a:cubicBezTo>
                      <a:cubicBezTo>
                        <a:pt x="876" y="45"/>
                        <a:pt x="876" y="45"/>
                        <a:pt x="876" y="45"/>
                      </a:cubicBezTo>
                      <a:cubicBezTo>
                        <a:pt x="876" y="47"/>
                        <a:pt x="876" y="47"/>
                        <a:pt x="876" y="47"/>
                      </a:cubicBezTo>
                      <a:cubicBezTo>
                        <a:pt x="876" y="49"/>
                        <a:pt x="876" y="49"/>
                        <a:pt x="876" y="49"/>
                      </a:cubicBezTo>
                      <a:cubicBezTo>
                        <a:pt x="877" y="51"/>
                        <a:pt x="877" y="51"/>
                        <a:pt x="877" y="51"/>
                      </a:cubicBezTo>
                      <a:cubicBezTo>
                        <a:pt x="875" y="53"/>
                        <a:pt x="875" y="53"/>
                        <a:pt x="875" y="53"/>
                      </a:cubicBezTo>
                      <a:cubicBezTo>
                        <a:pt x="876" y="53"/>
                        <a:pt x="876" y="53"/>
                        <a:pt x="876" y="53"/>
                      </a:cubicBezTo>
                      <a:cubicBezTo>
                        <a:pt x="879" y="52"/>
                        <a:pt x="879" y="52"/>
                        <a:pt x="879" y="52"/>
                      </a:cubicBezTo>
                      <a:cubicBezTo>
                        <a:pt x="882" y="52"/>
                        <a:pt x="882" y="52"/>
                        <a:pt x="882" y="52"/>
                      </a:cubicBezTo>
                      <a:cubicBezTo>
                        <a:pt x="884" y="50"/>
                        <a:pt x="884" y="50"/>
                        <a:pt x="884" y="50"/>
                      </a:cubicBezTo>
                      <a:cubicBezTo>
                        <a:pt x="885" y="53"/>
                        <a:pt x="885" y="53"/>
                        <a:pt x="885" y="53"/>
                      </a:cubicBezTo>
                      <a:cubicBezTo>
                        <a:pt x="886" y="55"/>
                        <a:pt x="886" y="55"/>
                        <a:pt x="886" y="55"/>
                      </a:cubicBezTo>
                      <a:cubicBezTo>
                        <a:pt x="886" y="57"/>
                        <a:pt x="886" y="57"/>
                        <a:pt x="886" y="57"/>
                      </a:cubicBezTo>
                      <a:cubicBezTo>
                        <a:pt x="887" y="58"/>
                        <a:pt x="887" y="58"/>
                        <a:pt x="887" y="58"/>
                      </a:cubicBezTo>
                      <a:cubicBezTo>
                        <a:pt x="889" y="56"/>
                        <a:pt x="889" y="56"/>
                        <a:pt x="889" y="56"/>
                      </a:cubicBezTo>
                      <a:cubicBezTo>
                        <a:pt x="888" y="55"/>
                        <a:pt x="888" y="55"/>
                        <a:pt x="888" y="55"/>
                      </a:cubicBezTo>
                      <a:cubicBezTo>
                        <a:pt x="891" y="53"/>
                        <a:pt x="891" y="53"/>
                        <a:pt x="891" y="53"/>
                      </a:cubicBezTo>
                      <a:cubicBezTo>
                        <a:pt x="893" y="54"/>
                        <a:pt x="893" y="54"/>
                        <a:pt x="893" y="54"/>
                      </a:cubicBezTo>
                      <a:cubicBezTo>
                        <a:pt x="894" y="56"/>
                        <a:pt x="894" y="56"/>
                        <a:pt x="894" y="56"/>
                      </a:cubicBezTo>
                      <a:cubicBezTo>
                        <a:pt x="893" y="58"/>
                        <a:pt x="893" y="58"/>
                        <a:pt x="893" y="58"/>
                      </a:cubicBezTo>
                      <a:cubicBezTo>
                        <a:pt x="892" y="60"/>
                        <a:pt x="892" y="60"/>
                        <a:pt x="892" y="60"/>
                      </a:cubicBezTo>
                      <a:cubicBezTo>
                        <a:pt x="893" y="61"/>
                        <a:pt x="893" y="61"/>
                        <a:pt x="893" y="61"/>
                      </a:cubicBezTo>
                      <a:cubicBezTo>
                        <a:pt x="894" y="61"/>
                        <a:pt x="894" y="61"/>
                        <a:pt x="894" y="61"/>
                      </a:cubicBezTo>
                      <a:cubicBezTo>
                        <a:pt x="895" y="58"/>
                        <a:pt x="895" y="58"/>
                        <a:pt x="895" y="58"/>
                      </a:cubicBezTo>
                      <a:cubicBezTo>
                        <a:pt x="896" y="58"/>
                        <a:pt x="896" y="58"/>
                        <a:pt x="896" y="58"/>
                      </a:cubicBezTo>
                      <a:cubicBezTo>
                        <a:pt x="897" y="59"/>
                        <a:pt x="897" y="59"/>
                        <a:pt x="897" y="59"/>
                      </a:cubicBezTo>
                      <a:cubicBezTo>
                        <a:pt x="897" y="57"/>
                        <a:pt x="897" y="57"/>
                        <a:pt x="897" y="57"/>
                      </a:cubicBezTo>
                      <a:cubicBezTo>
                        <a:pt x="899" y="53"/>
                        <a:pt x="899" y="53"/>
                        <a:pt x="899" y="53"/>
                      </a:cubicBezTo>
                      <a:cubicBezTo>
                        <a:pt x="900" y="52"/>
                        <a:pt x="900" y="52"/>
                        <a:pt x="900" y="52"/>
                      </a:cubicBezTo>
                      <a:cubicBezTo>
                        <a:pt x="901" y="53"/>
                        <a:pt x="901" y="53"/>
                        <a:pt x="901" y="53"/>
                      </a:cubicBezTo>
                      <a:cubicBezTo>
                        <a:pt x="906" y="56"/>
                        <a:pt x="906" y="56"/>
                        <a:pt x="906" y="56"/>
                      </a:cubicBezTo>
                      <a:cubicBezTo>
                        <a:pt x="910" y="57"/>
                        <a:pt x="910" y="57"/>
                        <a:pt x="910" y="57"/>
                      </a:cubicBezTo>
                      <a:cubicBezTo>
                        <a:pt x="913" y="61"/>
                        <a:pt x="913" y="61"/>
                        <a:pt x="913" y="61"/>
                      </a:cubicBezTo>
                      <a:cubicBezTo>
                        <a:pt x="913" y="62"/>
                        <a:pt x="913" y="62"/>
                        <a:pt x="913" y="62"/>
                      </a:cubicBezTo>
                      <a:cubicBezTo>
                        <a:pt x="910" y="64"/>
                        <a:pt x="910" y="64"/>
                        <a:pt x="910" y="64"/>
                      </a:cubicBezTo>
                      <a:cubicBezTo>
                        <a:pt x="907" y="67"/>
                        <a:pt x="907" y="67"/>
                        <a:pt x="907" y="67"/>
                      </a:cubicBezTo>
                      <a:cubicBezTo>
                        <a:pt x="910" y="65"/>
                        <a:pt x="910" y="65"/>
                        <a:pt x="910" y="65"/>
                      </a:cubicBezTo>
                      <a:cubicBezTo>
                        <a:pt x="914" y="64"/>
                        <a:pt x="914" y="64"/>
                        <a:pt x="914" y="64"/>
                      </a:cubicBezTo>
                      <a:cubicBezTo>
                        <a:pt x="917" y="65"/>
                        <a:pt x="917" y="65"/>
                        <a:pt x="917" y="65"/>
                      </a:cubicBezTo>
                      <a:cubicBezTo>
                        <a:pt x="920" y="64"/>
                        <a:pt x="920" y="64"/>
                        <a:pt x="920" y="64"/>
                      </a:cubicBezTo>
                      <a:cubicBezTo>
                        <a:pt x="923" y="62"/>
                        <a:pt x="923" y="62"/>
                        <a:pt x="923" y="62"/>
                      </a:cubicBezTo>
                      <a:cubicBezTo>
                        <a:pt x="925" y="61"/>
                        <a:pt x="925" y="61"/>
                        <a:pt x="925" y="61"/>
                      </a:cubicBezTo>
                      <a:cubicBezTo>
                        <a:pt x="929" y="58"/>
                        <a:pt x="929" y="58"/>
                        <a:pt x="929" y="58"/>
                      </a:cubicBezTo>
                      <a:cubicBezTo>
                        <a:pt x="931" y="57"/>
                        <a:pt x="931" y="57"/>
                        <a:pt x="931" y="57"/>
                      </a:cubicBezTo>
                      <a:cubicBezTo>
                        <a:pt x="934" y="54"/>
                        <a:pt x="934" y="54"/>
                        <a:pt x="934" y="54"/>
                      </a:cubicBezTo>
                      <a:cubicBezTo>
                        <a:pt x="936" y="53"/>
                        <a:pt x="936" y="53"/>
                        <a:pt x="936" y="53"/>
                      </a:cubicBezTo>
                      <a:cubicBezTo>
                        <a:pt x="944" y="49"/>
                        <a:pt x="944" y="49"/>
                        <a:pt x="944" y="49"/>
                      </a:cubicBezTo>
                      <a:cubicBezTo>
                        <a:pt x="947" y="48"/>
                        <a:pt x="947" y="48"/>
                        <a:pt x="947" y="48"/>
                      </a:cubicBezTo>
                      <a:cubicBezTo>
                        <a:pt x="949" y="49"/>
                        <a:pt x="949" y="49"/>
                        <a:pt x="949" y="49"/>
                      </a:cubicBezTo>
                      <a:cubicBezTo>
                        <a:pt x="950" y="48"/>
                        <a:pt x="950" y="48"/>
                        <a:pt x="950" y="48"/>
                      </a:cubicBezTo>
                      <a:cubicBezTo>
                        <a:pt x="954" y="45"/>
                        <a:pt x="954" y="45"/>
                        <a:pt x="954" y="45"/>
                      </a:cubicBezTo>
                      <a:cubicBezTo>
                        <a:pt x="956" y="45"/>
                        <a:pt x="956" y="45"/>
                        <a:pt x="956" y="45"/>
                      </a:cubicBezTo>
                      <a:cubicBezTo>
                        <a:pt x="961" y="45"/>
                        <a:pt x="961" y="45"/>
                        <a:pt x="961" y="45"/>
                      </a:cubicBezTo>
                      <a:cubicBezTo>
                        <a:pt x="970" y="48"/>
                        <a:pt x="970" y="48"/>
                        <a:pt x="970" y="48"/>
                      </a:cubicBezTo>
                      <a:cubicBezTo>
                        <a:pt x="975" y="52"/>
                        <a:pt x="975" y="52"/>
                        <a:pt x="975" y="52"/>
                      </a:cubicBezTo>
                      <a:cubicBezTo>
                        <a:pt x="979" y="54"/>
                        <a:pt x="979" y="54"/>
                        <a:pt x="979" y="54"/>
                      </a:cubicBezTo>
                      <a:cubicBezTo>
                        <a:pt x="982" y="59"/>
                        <a:pt x="982" y="59"/>
                        <a:pt x="982" y="59"/>
                      </a:cubicBezTo>
                      <a:cubicBezTo>
                        <a:pt x="984" y="62"/>
                        <a:pt x="984" y="62"/>
                        <a:pt x="984" y="62"/>
                      </a:cubicBezTo>
                      <a:cubicBezTo>
                        <a:pt x="984" y="64"/>
                        <a:pt x="984" y="64"/>
                        <a:pt x="984" y="64"/>
                      </a:cubicBezTo>
                      <a:cubicBezTo>
                        <a:pt x="985" y="65"/>
                        <a:pt x="985" y="65"/>
                        <a:pt x="985" y="65"/>
                      </a:cubicBezTo>
                      <a:cubicBezTo>
                        <a:pt x="985" y="68"/>
                        <a:pt x="985" y="68"/>
                        <a:pt x="985" y="68"/>
                      </a:cubicBezTo>
                      <a:cubicBezTo>
                        <a:pt x="987" y="72"/>
                        <a:pt x="987" y="72"/>
                        <a:pt x="987" y="72"/>
                      </a:cubicBezTo>
                      <a:cubicBezTo>
                        <a:pt x="987" y="74"/>
                        <a:pt x="987" y="74"/>
                        <a:pt x="987" y="74"/>
                      </a:cubicBezTo>
                      <a:cubicBezTo>
                        <a:pt x="986" y="76"/>
                        <a:pt x="986" y="76"/>
                        <a:pt x="986" y="76"/>
                      </a:cubicBezTo>
                      <a:cubicBezTo>
                        <a:pt x="988" y="75"/>
                        <a:pt x="988" y="75"/>
                        <a:pt x="988" y="75"/>
                      </a:cubicBezTo>
                      <a:cubicBezTo>
                        <a:pt x="990" y="72"/>
                        <a:pt x="990" y="72"/>
                        <a:pt x="990" y="72"/>
                      </a:cubicBezTo>
                      <a:cubicBezTo>
                        <a:pt x="993" y="72"/>
                        <a:pt x="993" y="72"/>
                        <a:pt x="993" y="72"/>
                      </a:cubicBezTo>
                      <a:cubicBezTo>
                        <a:pt x="994" y="74"/>
                        <a:pt x="994" y="74"/>
                        <a:pt x="994" y="74"/>
                      </a:cubicBezTo>
                      <a:cubicBezTo>
                        <a:pt x="994" y="72"/>
                        <a:pt x="994" y="72"/>
                        <a:pt x="994" y="72"/>
                      </a:cubicBezTo>
                      <a:cubicBezTo>
                        <a:pt x="997" y="72"/>
                        <a:pt x="997" y="72"/>
                        <a:pt x="997" y="72"/>
                      </a:cubicBezTo>
                      <a:cubicBezTo>
                        <a:pt x="999" y="73"/>
                        <a:pt x="999" y="73"/>
                        <a:pt x="999" y="73"/>
                      </a:cubicBezTo>
                      <a:cubicBezTo>
                        <a:pt x="1000" y="76"/>
                        <a:pt x="1000" y="76"/>
                        <a:pt x="1000" y="76"/>
                      </a:cubicBezTo>
                      <a:cubicBezTo>
                        <a:pt x="1000" y="74"/>
                        <a:pt x="1000" y="74"/>
                        <a:pt x="1000" y="74"/>
                      </a:cubicBezTo>
                      <a:cubicBezTo>
                        <a:pt x="999" y="71"/>
                        <a:pt x="999" y="71"/>
                        <a:pt x="999" y="71"/>
                      </a:cubicBezTo>
                      <a:cubicBezTo>
                        <a:pt x="1001" y="70"/>
                        <a:pt x="1001" y="70"/>
                        <a:pt x="1001" y="70"/>
                      </a:cubicBezTo>
                      <a:cubicBezTo>
                        <a:pt x="1003" y="73"/>
                        <a:pt x="1003" y="73"/>
                        <a:pt x="1003" y="73"/>
                      </a:cubicBezTo>
                      <a:cubicBezTo>
                        <a:pt x="1006" y="76"/>
                        <a:pt x="1006" y="76"/>
                        <a:pt x="1006" y="76"/>
                      </a:cubicBezTo>
                      <a:cubicBezTo>
                        <a:pt x="1006" y="80"/>
                        <a:pt x="1006" y="80"/>
                        <a:pt x="1006" y="80"/>
                      </a:cubicBezTo>
                      <a:cubicBezTo>
                        <a:pt x="1008" y="80"/>
                        <a:pt x="1008" y="80"/>
                        <a:pt x="1008" y="80"/>
                      </a:cubicBezTo>
                      <a:cubicBezTo>
                        <a:pt x="1011" y="83"/>
                        <a:pt x="1011" y="83"/>
                        <a:pt x="1011" y="83"/>
                      </a:cubicBezTo>
                      <a:cubicBezTo>
                        <a:pt x="1011" y="82"/>
                        <a:pt x="1011" y="82"/>
                        <a:pt x="1011" y="82"/>
                      </a:cubicBezTo>
                      <a:cubicBezTo>
                        <a:pt x="1010" y="79"/>
                        <a:pt x="1010" y="79"/>
                        <a:pt x="1010" y="79"/>
                      </a:cubicBezTo>
                      <a:cubicBezTo>
                        <a:pt x="1008" y="78"/>
                        <a:pt x="1008" y="78"/>
                        <a:pt x="1008" y="78"/>
                      </a:cubicBezTo>
                      <a:cubicBezTo>
                        <a:pt x="1008" y="76"/>
                        <a:pt x="1008" y="76"/>
                        <a:pt x="1008" y="76"/>
                      </a:cubicBezTo>
                      <a:cubicBezTo>
                        <a:pt x="1010" y="78"/>
                        <a:pt x="1010" y="78"/>
                        <a:pt x="1010" y="78"/>
                      </a:cubicBezTo>
                      <a:cubicBezTo>
                        <a:pt x="1011" y="77"/>
                        <a:pt x="1011" y="77"/>
                        <a:pt x="1011" y="77"/>
                      </a:cubicBezTo>
                      <a:cubicBezTo>
                        <a:pt x="1013" y="79"/>
                        <a:pt x="1013" y="79"/>
                        <a:pt x="1013" y="79"/>
                      </a:cubicBezTo>
                      <a:cubicBezTo>
                        <a:pt x="1016" y="83"/>
                        <a:pt x="1016" y="83"/>
                        <a:pt x="1016" y="83"/>
                      </a:cubicBezTo>
                      <a:cubicBezTo>
                        <a:pt x="1015" y="80"/>
                        <a:pt x="1015" y="80"/>
                        <a:pt x="1015" y="80"/>
                      </a:cubicBezTo>
                      <a:cubicBezTo>
                        <a:pt x="1012" y="75"/>
                        <a:pt x="1012" y="75"/>
                        <a:pt x="1012" y="75"/>
                      </a:cubicBezTo>
                      <a:cubicBezTo>
                        <a:pt x="1012" y="70"/>
                        <a:pt x="1012" y="70"/>
                        <a:pt x="1012" y="70"/>
                      </a:cubicBezTo>
                      <a:cubicBezTo>
                        <a:pt x="1012" y="67"/>
                        <a:pt x="1012" y="67"/>
                        <a:pt x="1012" y="67"/>
                      </a:cubicBezTo>
                      <a:cubicBezTo>
                        <a:pt x="1014" y="64"/>
                        <a:pt x="1014" y="64"/>
                        <a:pt x="1014" y="64"/>
                      </a:cubicBezTo>
                      <a:cubicBezTo>
                        <a:pt x="1018" y="63"/>
                        <a:pt x="1018" y="63"/>
                        <a:pt x="1018" y="63"/>
                      </a:cubicBezTo>
                      <a:cubicBezTo>
                        <a:pt x="1020" y="62"/>
                        <a:pt x="1020" y="62"/>
                        <a:pt x="1020" y="62"/>
                      </a:cubicBezTo>
                      <a:cubicBezTo>
                        <a:pt x="1023" y="61"/>
                        <a:pt x="1023" y="61"/>
                        <a:pt x="1023" y="61"/>
                      </a:cubicBezTo>
                      <a:cubicBezTo>
                        <a:pt x="1023" y="59"/>
                        <a:pt x="1023" y="59"/>
                        <a:pt x="1023" y="59"/>
                      </a:cubicBezTo>
                      <a:cubicBezTo>
                        <a:pt x="1024" y="58"/>
                        <a:pt x="1024" y="58"/>
                        <a:pt x="1024" y="58"/>
                      </a:cubicBezTo>
                      <a:cubicBezTo>
                        <a:pt x="1025" y="58"/>
                        <a:pt x="1025" y="58"/>
                        <a:pt x="1025" y="58"/>
                      </a:cubicBezTo>
                      <a:cubicBezTo>
                        <a:pt x="1027" y="60"/>
                        <a:pt x="1027" y="60"/>
                        <a:pt x="1027" y="60"/>
                      </a:cubicBezTo>
                      <a:cubicBezTo>
                        <a:pt x="1029" y="61"/>
                        <a:pt x="1029" y="61"/>
                        <a:pt x="1029" y="61"/>
                      </a:cubicBezTo>
                      <a:cubicBezTo>
                        <a:pt x="1031" y="60"/>
                        <a:pt x="1031" y="60"/>
                        <a:pt x="1031" y="60"/>
                      </a:cubicBezTo>
                      <a:cubicBezTo>
                        <a:pt x="1034" y="58"/>
                        <a:pt x="1034" y="58"/>
                        <a:pt x="1034" y="58"/>
                      </a:cubicBezTo>
                      <a:cubicBezTo>
                        <a:pt x="1035" y="59"/>
                        <a:pt x="1035" y="59"/>
                        <a:pt x="1035" y="59"/>
                      </a:cubicBezTo>
                      <a:cubicBezTo>
                        <a:pt x="1039" y="57"/>
                        <a:pt x="1039" y="57"/>
                        <a:pt x="1039" y="57"/>
                      </a:cubicBezTo>
                      <a:cubicBezTo>
                        <a:pt x="1043" y="58"/>
                        <a:pt x="1043" y="58"/>
                        <a:pt x="1043" y="58"/>
                      </a:cubicBezTo>
                      <a:cubicBezTo>
                        <a:pt x="1045" y="56"/>
                        <a:pt x="1045" y="56"/>
                        <a:pt x="1045" y="56"/>
                      </a:cubicBezTo>
                      <a:cubicBezTo>
                        <a:pt x="1046" y="56"/>
                        <a:pt x="1046" y="56"/>
                        <a:pt x="1046" y="56"/>
                      </a:cubicBezTo>
                      <a:cubicBezTo>
                        <a:pt x="1046" y="58"/>
                        <a:pt x="1046" y="58"/>
                        <a:pt x="1046" y="58"/>
                      </a:cubicBezTo>
                      <a:cubicBezTo>
                        <a:pt x="1047" y="59"/>
                        <a:pt x="1047" y="59"/>
                        <a:pt x="1047" y="59"/>
                      </a:cubicBezTo>
                      <a:cubicBezTo>
                        <a:pt x="1048" y="57"/>
                        <a:pt x="1048" y="57"/>
                        <a:pt x="1048" y="57"/>
                      </a:cubicBezTo>
                      <a:cubicBezTo>
                        <a:pt x="1050" y="54"/>
                        <a:pt x="1050" y="54"/>
                        <a:pt x="1050" y="54"/>
                      </a:cubicBezTo>
                      <a:cubicBezTo>
                        <a:pt x="1050" y="52"/>
                        <a:pt x="1050" y="52"/>
                        <a:pt x="1050" y="52"/>
                      </a:cubicBezTo>
                      <a:cubicBezTo>
                        <a:pt x="1050" y="49"/>
                        <a:pt x="1050" y="49"/>
                        <a:pt x="1050" y="49"/>
                      </a:cubicBezTo>
                      <a:cubicBezTo>
                        <a:pt x="1050" y="47"/>
                        <a:pt x="1050" y="47"/>
                        <a:pt x="1050" y="47"/>
                      </a:cubicBezTo>
                      <a:cubicBezTo>
                        <a:pt x="1051" y="46"/>
                        <a:pt x="1051" y="46"/>
                        <a:pt x="1051" y="46"/>
                      </a:cubicBezTo>
                      <a:cubicBezTo>
                        <a:pt x="1054" y="47"/>
                        <a:pt x="1054" y="47"/>
                        <a:pt x="1054" y="47"/>
                      </a:cubicBezTo>
                      <a:cubicBezTo>
                        <a:pt x="1055" y="49"/>
                        <a:pt x="1055" y="49"/>
                        <a:pt x="1055" y="49"/>
                      </a:cubicBezTo>
                      <a:cubicBezTo>
                        <a:pt x="1056" y="51"/>
                        <a:pt x="1056" y="51"/>
                        <a:pt x="1056" y="51"/>
                      </a:cubicBezTo>
                      <a:cubicBezTo>
                        <a:pt x="1058" y="51"/>
                        <a:pt x="1058" y="51"/>
                        <a:pt x="1058" y="51"/>
                      </a:cubicBezTo>
                      <a:cubicBezTo>
                        <a:pt x="1060" y="52"/>
                        <a:pt x="1060" y="52"/>
                        <a:pt x="1060" y="52"/>
                      </a:cubicBezTo>
                      <a:cubicBezTo>
                        <a:pt x="1060" y="55"/>
                        <a:pt x="1060" y="55"/>
                        <a:pt x="1060" y="55"/>
                      </a:cubicBezTo>
                      <a:cubicBezTo>
                        <a:pt x="1063" y="58"/>
                        <a:pt x="1063" y="58"/>
                        <a:pt x="1063" y="58"/>
                      </a:cubicBezTo>
                      <a:cubicBezTo>
                        <a:pt x="1064" y="59"/>
                        <a:pt x="1064" y="59"/>
                        <a:pt x="1064" y="59"/>
                      </a:cubicBezTo>
                      <a:cubicBezTo>
                        <a:pt x="1067" y="58"/>
                        <a:pt x="1067" y="58"/>
                        <a:pt x="1067" y="58"/>
                      </a:cubicBezTo>
                      <a:cubicBezTo>
                        <a:pt x="1072" y="59"/>
                        <a:pt x="1072" y="59"/>
                        <a:pt x="1072" y="59"/>
                      </a:cubicBezTo>
                      <a:cubicBezTo>
                        <a:pt x="1072" y="59"/>
                        <a:pt x="1072" y="59"/>
                        <a:pt x="1072" y="59"/>
                      </a:cubicBezTo>
                      <a:cubicBezTo>
                        <a:pt x="1074" y="59"/>
                        <a:pt x="1074" y="59"/>
                        <a:pt x="1074" y="59"/>
                      </a:cubicBezTo>
                      <a:cubicBezTo>
                        <a:pt x="1077" y="63"/>
                        <a:pt x="1077" y="63"/>
                        <a:pt x="1077" y="63"/>
                      </a:cubicBezTo>
                      <a:cubicBezTo>
                        <a:pt x="1077" y="66"/>
                        <a:pt x="1077" y="66"/>
                        <a:pt x="1077" y="66"/>
                      </a:cubicBezTo>
                      <a:cubicBezTo>
                        <a:pt x="1078" y="67"/>
                        <a:pt x="1078" y="67"/>
                        <a:pt x="1078" y="67"/>
                      </a:cubicBezTo>
                      <a:cubicBezTo>
                        <a:pt x="1081" y="67"/>
                        <a:pt x="1081" y="67"/>
                        <a:pt x="1081" y="67"/>
                      </a:cubicBezTo>
                      <a:cubicBezTo>
                        <a:pt x="1083" y="66"/>
                        <a:pt x="1083" y="66"/>
                        <a:pt x="1083" y="66"/>
                      </a:cubicBezTo>
                      <a:cubicBezTo>
                        <a:pt x="1085" y="66"/>
                        <a:pt x="1085" y="66"/>
                        <a:pt x="1085" y="66"/>
                      </a:cubicBezTo>
                      <a:cubicBezTo>
                        <a:pt x="1085" y="64"/>
                        <a:pt x="1085" y="64"/>
                        <a:pt x="1085" y="64"/>
                      </a:cubicBezTo>
                      <a:cubicBezTo>
                        <a:pt x="1087" y="63"/>
                        <a:pt x="1087" y="63"/>
                        <a:pt x="1087" y="63"/>
                      </a:cubicBezTo>
                      <a:cubicBezTo>
                        <a:pt x="1089" y="63"/>
                        <a:pt x="1089" y="63"/>
                        <a:pt x="1089" y="63"/>
                      </a:cubicBezTo>
                      <a:cubicBezTo>
                        <a:pt x="1089" y="62"/>
                        <a:pt x="1089" y="62"/>
                        <a:pt x="1089" y="62"/>
                      </a:cubicBezTo>
                      <a:cubicBezTo>
                        <a:pt x="1088" y="61"/>
                        <a:pt x="1088" y="61"/>
                        <a:pt x="1088" y="61"/>
                      </a:cubicBezTo>
                      <a:cubicBezTo>
                        <a:pt x="1089" y="60"/>
                        <a:pt x="1089" y="60"/>
                        <a:pt x="1089" y="60"/>
                      </a:cubicBezTo>
                      <a:cubicBezTo>
                        <a:pt x="1088" y="59"/>
                        <a:pt x="1088" y="59"/>
                        <a:pt x="1088" y="59"/>
                      </a:cubicBezTo>
                      <a:cubicBezTo>
                        <a:pt x="1089" y="57"/>
                        <a:pt x="1089" y="57"/>
                        <a:pt x="1089" y="57"/>
                      </a:cubicBezTo>
                      <a:cubicBezTo>
                        <a:pt x="1087" y="55"/>
                        <a:pt x="1087" y="55"/>
                        <a:pt x="1087" y="55"/>
                      </a:cubicBezTo>
                      <a:cubicBezTo>
                        <a:pt x="1084" y="54"/>
                        <a:pt x="1084" y="54"/>
                        <a:pt x="1084" y="54"/>
                      </a:cubicBezTo>
                      <a:cubicBezTo>
                        <a:pt x="1083" y="51"/>
                        <a:pt x="1083" y="51"/>
                        <a:pt x="1083" y="51"/>
                      </a:cubicBezTo>
                      <a:cubicBezTo>
                        <a:pt x="1080" y="47"/>
                        <a:pt x="1080" y="47"/>
                        <a:pt x="1080" y="47"/>
                      </a:cubicBezTo>
                      <a:cubicBezTo>
                        <a:pt x="1078" y="47"/>
                        <a:pt x="1078" y="47"/>
                        <a:pt x="1078" y="47"/>
                      </a:cubicBezTo>
                      <a:cubicBezTo>
                        <a:pt x="1077" y="45"/>
                        <a:pt x="1077" y="45"/>
                        <a:pt x="1077" y="45"/>
                      </a:cubicBezTo>
                      <a:cubicBezTo>
                        <a:pt x="1074" y="44"/>
                        <a:pt x="1074" y="44"/>
                        <a:pt x="1074" y="44"/>
                      </a:cubicBezTo>
                      <a:cubicBezTo>
                        <a:pt x="1072" y="45"/>
                        <a:pt x="1072" y="45"/>
                        <a:pt x="1072" y="45"/>
                      </a:cubicBezTo>
                      <a:cubicBezTo>
                        <a:pt x="1071" y="45"/>
                        <a:pt x="1071" y="45"/>
                        <a:pt x="1071" y="45"/>
                      </a:cubicBezTo>
                      <a:cubicBezTo>
                        <a:pt x="1071" y="42"/>
                        <a:pt x="1071" y="42"/>
                        <a:pt x="1071" y="42"/>
                      </a:cubicBezTo>
                      <a:cubicBezTo>
                        <a:pt x="1072" y="41"/>
                        <a:pt x="1072" y="41"/>
                        <a:pt x="1072" y="41"/>
                      </a:cubicBezTo>
                      <a:cubicBezTo>
                        <a:pt x="1070" y="38"/>
                        <a:pt x="1070" y="38"/>
                        <a:pt x="1070" y="38"/>
                      </a:cubicBezTo>
                      <a:cubicBezTo>
                        <a:pt x="1070" y="36"/>
                        <a:pt x="1070" y="36"/>
                        <a:pt x="1070" y="36"/>
                      </a:cubicBezTo>
                      <a:cubicBezTo>
                        <a:pt x="1069" y="35"/>
                        <a:pt x="1069" y="35"/>
                        <a:pt x="1069" y="35"/>
                      </a:cubicBezTo>
                      <a:cubicBezTo>
                        <a:pt x="1067" y="32"/>
                        <a:pt x="1067" y="32"/>
                        <a:pt x="1067" y="32"/>
                      </a:cubicBezTo>
                      <a:cubicBezTo>
                        <a:pt x="1065" y="30"/>
                        <a:pt x="1065" y="30"/>
                        <a:pt x="1065" y="30"/>
                      </a:cubicBezTo>
                      <a:cubicBezTo>
                        <a:pt x="1065" y="30"/>
                        <a:pt x="1065" y="30"/>
                        <a:pt x="1065" y="30"/>
                      </a:cubicBezTo>
                      <a:cubicBezTo>
                        <a:pt x="1069" y="29"/>
                        <a:pt x="1069" y="29"/>
                        <a:pt x="1069" y="29"/>
                      </a:cubicBezTo>
                      <a:cubicBezTo>
                        <a:pt x="1071" y="30"/>
                        <a:pt x="1071" y="30"/>
                        <a:pt x="1071" y="30"/>
                      </a:cubicBezTo>
                      <a:cubicBezTo>
                        <a:pt x="1076" y="29"/>
                        <a:pt x="1076" y="29"/>
                        <a:pt x="1076" y="29"/>
                      </a:cubicBezTo>
                      <a:cubicBezTo>
                        <a:pt x="1080" y="29"/>
                        <a:pt x="1080" y="29"/>
                        <a:pt x="1080" y="29"/>
                      </a:cubicBezTo>
                      <a:cubicBezTo>
                        <a:pt x="1081" y="28"/>
                        <a:pt x="1081" y="28"/>
                        <a:pt x="1081" y="28"/>
                      </a:cubicBezTo>
                      <a:cubicBezTo>
                        <a:pt x="1083" y="27"/>
                        <a:pt x="1083" y="27"/>
                        <a:pt x="1083" y="27"/>
                      </a:cubicBezTo>
                      <a:cubicBezTo>
                        <a:pt x="1085" y="29"/>
                        <a:pt x="1085" y="29"/>
                        <a:pt x="1085" y="29"/>
                      </a:cubicBezTo>
                      <a:cubicBezTo>
                        <a:pt x="1087" y="28"/>
                        <a:pt x="1087" y="28"/>
                        <a:pt x="1087" y="28"/>
                      </a:cubicBezTo>
                      <a:cubicBezTo>
                        <a:pt x="1088" y="28"/>
                        <a:pt x="1088" y="28"/>
                        <a:pt x="1088" y="28"/>
                      </a:cubicBezTo>
                      <a:cubicBezTo>
                        <a:pt x="1088" y="26"/>
                        <a:pt x="1088" y="26"/>
                        <a:pt x="1088" y="26"/>
                      </a:cubicBezTo>
                      <a:cubicBezTo>
                        <a:pt x="1091" y="26"/>
                        <a:pt x="1091" y="26"/>
                        <a:pt x="1091" y="26"/>
                      </a:cubicBezTo>
                      <a:cubicBezTo>
                        <a:pt x="1092" y="27"/>
                        <a:pt x="1092" y="27"/>
                        <a:pt x="1092" y="27"/>
                      </a:cubicBezTo>
                      <a:cubicBezTo>
                        <a:pt x="1092" y="27"/>
                        <a:pt x="1092" y="27"/>
                        <a:pt x="1092" y="27"/>
                      </a:cubicBezTo>
                      <a:cubicBezTo>
                        <a:pt x="1094" y="25"/>
                        <a:pt x="1094" y="25"/>
                        <a:pt x="1094" y="25"/>
                      </a:cubicBezTo>
                      <a:cubicBezTo>
                        <a:pt x="1095" y="26"/>
                        <a:pt x="1095" y="26"/>
                        <a:pt x="1095" y="26"/>
                      </a:cubicBezTo>
                      <a:cubicBezTo>
                        <a:pt x="1096" y="24"/>
                        <a:pt x="1096" y="24"/>
                        <a:pt x="1096" y="24"/>
                      </a:cubicBezTo>
                      <a:cubicBezTo>
                        <a:pt x="1103" y="22"/>
                        <a:pt x="1103" y="22"/>
                        <a:pt x="1103" y="22"/>
                      </a:cubicBezTo>
                      <a:cubicBezTo>
                        <a:pt x="1104" y="23"/>
                        <a:pt x="1104" y="23"/>
                        <a:pt x="1104" y="23"/>
                      </a:cubicBezTo>
                      <a:cubicBezTo>
                        <a:pt x="1105" y="22"/>
                        <a:pt x="1105" y="22"/>
                        <a:pt x="1105" y="22"/>
                      </a:cubicBezTo>
                      <a:cubicBezTo>
                        <a:pt x="1106" y="20"/>
                        <a:pt x="1106" y="20"/>
                        <a:pt x="1106" y="20"/>
                      </a:cubicBezTo>
                      <a:cubicBezTo>
                        <a:pt x="1107" y="21"/>
                        <a:pt x="1107" y="21"/>
                        <a:pt x="1107" y="21"/>
                      </a:cubicBezTo>
                      <a:cubicBezTo>
                        <a:pt x="1109" y="20"/>
                        <a:pt x="1109" y="20"/>
                        <a:pt x="1109" y="20"/>
                      </a:cubicBezTo>
                      <a:cubicBezTo>
                        <a:pt x="1111" y="20"/>
                        <a:pt x="1111" y="20"/>
                        <a:pt x="1111" y="20"/>
                      </a:cubicBezTo>
                      <a:cubicBezTo>
                        <a:pt x="1112" y="22"/>
                        <a:pt x="1112" y="22"/>
                        <a:pt x="1112" y="22"/>
                      </a:cubicBezTo>
                      <a:cubicBezTo>
                        <a:pt x="1116" y="22"/>
                        <a:pt x="1116" y="22"/>
                        <a:pt x="1116" y="22"/>
                      </a:cubicBezTo>
                      <a:cubicBezTo>
                        <a:pt x="1118" y="21"/>
                        <a:pt x="1118" y="21"/>
                        <a:pt x="1118" y="21"/>
                      </a:cubicBezTo>
                      <a:cubicBezTo>
                        <a:pt x="1119" y="22"/>
                        <a:pt x="1119" y="22"/>
                        <a:pt x="1119" y="22"/>
                      </a:cubicBezTo>
                      <a:cubicBezTo>
                        <a:pt x="1120" y="23"/>
                        <a:pt x="1120" y="23"/>
                        <a:pt x="1120" y="23"/>
                      </a:cubicBezTo>
                      <a:cubicBezTo>
                        <a:pt x="1121" y="21"/>
                        <a:pt x="1121" y="21"/>
                        <a:pt x="1121" y="21"/>
                      </a:cubicBezTo>
                      <a:cubicBezTo>
                        <a:pt x="1124" y="21"/>
                        <a:pt x="1124" y="21"/>
                        <a:pt x="1124" y="21"/>
                      </a:cubicBezTo>
                      <a:cubicBezTo>
                        <a:pt x="1130" y="23"/>
                        <a:pt x="1130" y="23"/>
                        <a:pt x="1130" y="23"/>
                      </a:cubicBezTo>
                      <a:cubicBezTo>
                        <a:pt x="1133" y="24"/>
                        <a:pt x="1133" y="24"/>
                        <a:pt x="1133" y="24"/>
                      </a:cubicBezTo>
                      <a:cubicBezTo>
                        <a:pt x="1134" y="24"/>
                        <a:pt x="1134" y="24"/>
                        <a:pt x="1134" y="24"/>
                      </a:cubicBezTo>
                      <a:cubicBezTo>
                        <a:pt x="1133" y="23"/>
                        <a:pt x="1133" y="23"/>
                        <a:pt x="1133" y="23"/>
                      </a:cubicBezTo>
                      <a:cubicBezTo>
                        <a:pt x="1135" y="22"/>
                        <a:pt x="1135" y="22"/>
                        <a:pt x="1135" y="22"/>
                      </a:cubicBezTo>
                      <a:cubicBezTo>
                        <a:pt x="1137" y="24"/>
                        <a:pt x="1137" y="24"/>
                        <a:pt x="1137" y="24"/>
                      </a:cubicBezTo>
                      <a:cubicBezTo>
                        <a:pt x="1136" y="25"/>
                        <a:pt x="1136" y="25"/>
                        <a:pt x="1136" y="25"/>
                      </a:cubicBezTo>
                      <a:cubicBezTo>
                        <a:pt x="1137" y="25"/>
                        <a:pt x="1137" y="25"/>
                        <a:pt x="1137" y="25"/>
                      </a:cubicBezTo>
                      <a:cubicBezTo>
                        <a:pt x="1140" y="25"/>
                        <a:pt x="1140" y="25"/>
                        <a:pt x="1140" y="25"/>
                      </a:cubicBezTo>
                      <a:cubicBezTo>
                        <a:pt x="1146" y="25"/>
                        <a:pt x="1146" y="25"/>
                        <a:pt x="1146" y="25"/>
                      </a:cubicBezTo>
                      <a:cubicBezTo>
                        <a:pt x="1152" y="29"/>
                        <a:pt x="1152" y="29"/>
                        <a:pt x="1152" y="29"/>
                      </a:cubicBezTo>
                      <a:cubicBezTo>
                        <a:pt x="1152" y="30"/>
                        <a:pt x="1152" y="30"/>
                        <a:pt x="1152" y="30"/>
                      </a:cubicBezTo>
                      <a:cubicBezTo>
                        <a:pt x="1150" y="29"/>
                        <a:pt x="1150" y="29"/>
                        <a:pt x="1150" y="29"/>
                      </a:cubicBezTo>
                      <a:cubicBezTo>
                        <a:pt x="1146" y="28"/>
                        <a:pt x="1146" y="28"/>
                        <a:pt x="1146" y="28"/>
                      </a:cubicBezTo>
                      <a:cubicBezTo>
                        <a:pt x="1146" y="29"/>
                        <a:pt x="1146" y="29"/>
                        <a:pt x="1146" y="29"/>
                      </a:cubicBezTo>
                      <a:cubicBezTo>
                        <a:pt x="1152" y="31"/>
                        <a:pt x="1152" y="31"/>
                        <a:pt x="1152" y="31"/>
                      </a:cubicBezTo>
                      <a:cubicBezTo>
                        <a:pt x="1155" y="31"/>
                        <a:pt x="1155" y="31"/>
                        <a:pt x="1155" y="31"/>
                      </a:cubicBezTo>
                      <a:cubicBezTo>
                        <a:pt x="1156" y="29"/>
                        <a:pt x="1156" y="29"/>
                        <a:pt x="1156" y="29"/>
                      </a:cubicBezTo>
                      <a:cubicBezTo>
                        <a:pt x="1158" y="29"/>
                        <a:pt x="1158" y="29"/>
                        <a:pt x="1158" y="29"/>
                      </a:cubicBezTo>
                      <a:cubicBezTo>
                        <a:pt x="1161" y="29"/>
                        <a:pt x="1161" y="29"/>
                        <a:pt x="1161" y="29"/>
                      </a:cubicBezTo>
                      <a:cubicBezTo>
                        <a:pt x="1160" y="28"/>
                        <a:pt x="1160" y="28"/>
                        <a:pt x="1160" y="28"/>
                      </a:cubicBezTo>
                      <a:cubicBezTo>
                        <a:pt x="1162" y="27"/>
                        <a:pt x="1162" y="27"/>
                        <a:pt x="1162" y="27"/>
                      </a:cubicBezTo>
                      <a:cubicBezTo>
                        <a:pt x="1163" y="28"/>
                        <a:pt x="1163" y="28"/>
                        <a:pt x="1163" y="28"/>
                      </a:cubicBezTo>
                      <a:cubicBezTo>
                        <a:pt x="1165" y="29"/>
                        <a:pt x="1165" y="29"/>
                        <a:pt x="1165" y="29"/>
                      </a:cubicBezTo>
                      <a:cubicBezTo>
                        <a:pt x="1166" y="30"/>
                        <a:pt x="1166" y="30"/>
                        <a:pt x="1166" y="30"/>
                      </a:cubicBezTo>
                      <a:cubicBezTo>
                        <a:pt x="1166" y="29"/>
                        <a:pt x="1166" y="29"/>
                        <a:pt x="1166" y="29"/>
                      </a:cubicBezTo>
                      <a:cubicBezTo>
                        <a:pt x="1167" y="28"/>
                        <a:pt x="1167" y="28"/>
                        <a:pt x="1167" y="28"/>
                      </a:cubicBezTo>
                      <a:cubicBezTo>
                        <a:pt x="1169" y="29"/>
                        <a:pt x="1169" y="29"/>
                        <a:pt x="1169" y="29"/>
                      </a:cubicBezTo>
                      <a:cubicBezTo>
                        <a:pt x="1169" y="30"/>
                        <a:pt x="1169" y="30"/>
                        <a:pt x="1169" y="30"/>
                      </a:cubicBezTo>
                      <a:cubicBezTo>
                        <a:pt x="1173" y="31"/>
                        <a:pt x="1173" y="31"/>
                        <a:pt x="1173" y="31"/>
                      </a:cubicBezTo>
                      <a:cubicBezTo>
                        <a:pt x="1175" y="30"/>
                        <a:pt x="1175" y="30"/>
                        <a:pt x="1175" y="30"/>
                      </a:cubicBezTo>
                      <a:cubicBezTo>
                        <a:pt x="1183" y="32"/>
                        <a:pt x="1183" y="32"/>
                        <a:pt x="1183" y="32"/>
                      </a:cubicBezTo>
                      <a:cubicBezTo>
                        <a:pt x="1182" y="30"/>
                        <a:pt x="1182" y="30"/>
                        <a:pt x="1182" y="30"/>
                      </a:cubicBezTo>
                      <a:cubicBezTo>
                        <a:pt x="1185" y="30"/>
                        <a:pt x="1185" y="30"/>
                        <a:pt x="1185" y="30"/>
                      </a:cubicBezTo>
                      <a:cubicBezTo>
                        <a:pt x="1186" y="32"/>
                        <a:pt x="1186" y="32"/>
                        <a:pt x="1186" y="32"/>
                      </a:cubicBezTo>
                      <a:cubicBezTo>
                        <a:pt x="1187" y="33"/>
                        <a:pt x="1187" y="33"/>
                        <a:pt x="1187" y="33"/>
                      </a:cubicBezTo>
                      <a:cubicBezTo>
                        <a:pt x="1187" y="31"/>
                        <a:pt x="1187" y="31"/>
                        <a:pt x="1187" y="31"/>
                      </a:cubicBezTo>
                      <a:cubicBezTo>
                        <a:pt x="1188" y="30"/>
                        <a:pt x="1188" y="30"/>
                        <a:pt x="1188" y="30"/>
                      </a:cubicBezTo>
                      <a:cubicBezTo>
                        <a:pt x="1191" y="31"/>
                        <a:pt x="1191" y="31"/>
                        <a:pt x="1191" y="31"/>
                      </a:cubicBezTo>
                      <a:cubicBezTo>
                        <a:pt x="1190" y="32"/>
                        <a:pt x="1190" y="32"/>
                        <a:pt x="1190" y="32"/>
                      </a:cubicBezTo>
                      <a:cubicBezTo>
                        <a:pt x="1192" y="34"/>
                        <a:pt x="1192" y="34"/>
                        <a:pt x="1192" y="34"/>
                      </a:cubicBezTo>
                      <a:cubicBezTo>
                        <a:pt x="1195" y="33"/>
                        <a:pt x="1195" y="33"/>
                        <a:pt x="1195" y="33"/>
                      </a:cubicBezTo>
                      <a:cubicBezTo>
                        <a:pt x="1195" y="32"/>
                        <a:pt x="1195" y="32"/>
                        <a:pt x="1195" y="32"/>
                      </a:cubicBezTo>
                      <a:cubicBezTo>
                        <a:pt x="1194" y="31"/>
                        <a:pt x="1194" y="31"/>
                        <a:pt x="1194" y="31"/>
                      </a:cubicBezTo>
                      <a:cubicBezTo>
                        <a:pt x="1197" y="32"/>
                        <a:pt x="1197" y="32"/>
                        <a:pt x="1197" y="32"/>
                      </a:cubicBezTo>
                      <a:cubicBezTo>
                        <a:pt x="1198" y="32"/>
                        <a:pt x="1198" y="32"/>
                        <a:pt x="1198" y="32"/>
                      </a:cubicBezTo>
                      <a:cubicBezTo>
                        <a:pt x="1197" y="34"/>
                        <a:pt x="1197" y="34"/>
                        <a:pt x="1197" y="34"/>
                      </a:cubicBezTo>
                      <a:cubicBezTo>
                        <a:pt x="1199" y="36"/>
                        <a:pt x="1199" y="36"/>
                        <a:pt x="1199" y="36"/>
                      </a:cubicBezTo>
                      <a:cubicBezTo>
                        <a:pt x="1202" y="37"/>
                        <a:pt x="1202" y="37"/>
                        <a:pt x="1202" y="37"/>
                      </a:cubicBezTo>
                      <a:cubicBezTo>
                        <a:pt x="1205" y="36"/>
                        <a:pt x="1205" y="36"/>
                        <a:pt x="1205" y="36"/>
                      </a:cubicBezTo>
                      <a:cubicBezTo>
                        <a:pt x="1201" y="35"/>
                        <a:pt x="1201" y="35"/>
                        <a:pt x="1201" y="35"/>
                      </a:cubicBezTo>
                      <a:cubicBezTo>
                        <a:pt x="1200" y="34"/>
                        <a:pt x="1200" y="34"/>
                        <a:pt x="1200" y="34"/>
                      </a:cubicBezTo>
                      <a:cubicBezTo>
                        <a:pt x="1199" y="32"/>
                        <a:pt x="1199" y="32"/>
                        <a:pt x="1199" y="32"/>
                      </a:cubicBezTo>
                      <a:cubicBezTo>
                        <a:pt x="1201" y="32"/>
                        <a:pt x="1201" y="32"/>
                        <a:pt x="1201" y="32"/>
                      </a:cubicBezTo>
                      <a:cubicBezTo>
                        <a:pt x="1203" y="32"/>
                        <a:pt x="1203" y="32"/>
                        <a:pt x="1203" y="32"/>
                      </a:cubicBezTo>
                      <a:cubicBezTo>
                        <a:pt x="1207" y="34"/>
                        <a:pt x="1207" y="34"/>
                        <a:pt x="1207" y="34"/>
                      </a:cubicBezTo>
                      <a:cubicBezTo>
                        <a:pt x="1208" y="36"/>
                        <a:pt x="1208" y="36"/>
                        <a:pt x="1208" y="36"/>
                      </a:cubicBezTo>
                      <a:cubicBezTo>
                        <a:pt x="1209" y="37"/>
                        <a:pt x="1209" y="37"/>
                        <a:pt x="1209" y="37"/>
                      </a:cubicBezTo>
                      <a:cubicBezTo>
                        <a:pt x="1210" y="35"/>
                        <a:pt x="1210" y="35"/>
                        <a:pt x="1210" y="35"/>
                      </a:cubicBezTo>
                      <a:cubicBezTo>
                        <a:pt x="1209" y="35"/>
                        <a:pt x="1209" y="35"/>
                        <a:pt x="1209" y="35"/>
                      </a:cubicBezTo>
                      <a:cubicBezTo>
                        <a:pt x="1211" y="35"/>
                        <a:pt x="1211" y="35"/>
                        <a:pt x="1211" y="35"/>
                      </a:cubicBezTo>
                      <a:cubicBezTo>
                        <a:pt x="1212" y="36"/>
                        <a:pt x="1212" y="36"/>
                        <a:pt x="1212" y="36"/>
                      </a:cubicBezTo>
                      <a:cubicBezTo>
                        <a:pt x="1212" y="37"/>
                        <a:pt x="1212" y="37"/>
                        <a:pt x="1212" y="37"/>
                      </a:cubicBezTo>
                      <a:cubicBezTo>
                        <a:pt x="1214" y="39"/>
                        <a:pt x="1214" y="39"/>
                        <a:pt x="1214" y="39"/>
                      </a:cubicBezTo>
                      <a:cubicBezTo>
                        <a:pt x="1217" y="45"/>
                        <a:pt x="1217" y="45"/>
                        <a:pt x="1217" y="45"/>
                      </a:cubicBezTo>
                      <a:cubicBezTo>
                        <a:pt x="1220" y="46"/>
                        <a:pt x="1220" y="46"/>
                        <a:pt x="1220" y="46"/>
                      </a:cubicBezTo>
                      <a:cubicBezTo>
                        <a:pt x="1221" y="48"/>
                        <a:pt x="1221" y="48"/>
                        <a:pt x="1221" y="48"/>
                      </a:cubicBezTo>
                      <a:cubicBezTo>
                        <a:pt x="1222" y="50"/>
                        <a:pt x="1222" y="50"/>
                        <a:pt x="1222" y="50"/>
                      </a:cubicBezTo>
                      <a:cubicBezTo>
                        <a:pt x="1223" y="52"/>
                        <a:pt x="1223" y="52"/>
                        <a:pt x="1223" y="52"/>
                      </a:cubicBezTo>
                      <a:cubicBezTo>
                        <a:pt x="1223" y="53"/>
                        <a:pt x="1223" y="53"/>
                        <a:pt x="1223" y="53"/>
                      </a:cubicBezTo>
                      <a:cubicBezTo>
                        <a:pt x="1223" y="55"/>
                        <a:pt x="1223" y="55"/>
                        <a:pt x="1223" y="55"/>
                      </a:cubicBezTo>
                      <a:cubicBezTo>
                        <a:pt x="1225" y="56"/>
                        <a:pt x="1225" y="56"/>
                        <a:pt x="1225" y="56"/>
                      </a:cubicBezTo>
                      <a:cubicBezTo>
                        <a:pt x="1227" y="54"/>
                        <a:pt x="1227" y="54"/>
                        <a:pt x="1227" y="54"/>
                      </a:cubicBezTo>
                      <a:cubicBezTo>
                        <a:pt x="1229" y="54"/>
                        <a:pt x="1229" y="54"/>
                        <a:pt x="1229" y="54"/>
                      </a:cubicBezTo>
                      <a:cubicBezTo>
                        <a:pt x="1231" y="57"/>
                        <a:pt x="1231" y="57"/>
                        <a:pt x="1231" y="57"/>
                      </a:cubicBezTo>
                      <a:cubicBezTo>
                        <a:pt x="1232" y="57"/>
                        <a:pt x="1232" y="57"/>
                        <a:pt x="1232" y="57"/>
                      </a:cubicBezTo>
                      <a:cubicBezTo>
                        <a:pt x="1233" y="57"/>
                        <a:pt x="1233" y="57"/>
                        <a:pt x="1233" y="57"/>
                      </a:cubicBezTo>
                      <a:cubicBezTo>
                        <a:pt x="1232" y="56"/>
                        <a:pt x="1232" y="56"/>
                        <a:pt x="1232" y="56"/>
                      </a:cubicBezTo>
                      <a:cubicBezTo>
                        <a:pt x="1231" y="54"/>
                        <a:pt x="1231" y="54"/>
                        <a:pt x="1231" y="54"/>
                      </a:cubicBezTo>
                      <a:cubicBezTo>
                        <a:pt x="1232" y="53"/>
                        <a:pt x="1232" y="53"/>
                        <a:pt x="1232" y="53"/>
                      </a:cubicBezTo>
                      <a:cubicBezTo>
                        <a:pt x="1234" y="53"/>
                        <a:pt x="1234" y="53"/>
                        <a:pt x="1234" y="53"/>
                      </a:cubicBezTo>
                      <a:cubicBezTo>
                        <a:pt x="1235" y="56"/>
                        <a:pt x="1235" y="56"/>
                        <a:pt x="1235" y="56"/>
                      </a:cubicBezTo>
                      <a:cubicBezTo>
                        <a:pt x="1236" y="58"/>
                        <a:pt x="1236" y="58"/>
                        <a:pt x="1236" y="58"/>
                      </a:cubicBezTo>
                      <a:cubicBezTo>
                        <a:pt x="1236" y="57"/>
                        <a:pt x="1236" y="57"/>
                        <a:pt x="1236" y="57"/>
                      </a:cubicBezTo>
                      <a:cubicBezTo>
                        <a:pt x="1235" y="54"/>
                        <a:pt x="1235" y="54"/>
                        <a:pt x="1235" y="54"/>
                      </a:cubicBezTo>
                      <a:cubicBezTo>
                        <a:pt x="1235" y="52"/>
                        <a:pt x="1235" y="52"/>
                        <a:pt x="1235" y="52"/>
                      </a:cubicBezTo>
                      <a:cubicBezTo>
                        <a:pt x="1234" y="50"/>
                        <a:pt x="1234" y="50"/>
                        <a:pt x="1234" y="50"/>
                      </a:cubicBezTo>
                      <a:cubicBezTo>
                        <a:pt x="1231" y="51"/>
                        <a:pt x="1231" y="51"/>
                        <a:pt x="1231" y="51"/>
                      </a:cubicBezTo>
                      <a:cubicBezTo>
                        <a:pt x="1229" y="52"/>
                        <a:pt x="1229" y="52"/>
                        <a:pt x="1229" y="52"/>
                      </a:cubicBezTo>
                      <a:cubicBezTo>
                        <a:pt x="1228" y="50"/>
                        <a:pt x="1228" y="50"/>
                        <a:pt x="1228" y="50"/>
                      </a:cubicBezTo>
                      <a:cubicBezTo>
                        <a:pt x="1229" y="49"/>
                        <a:pt x="1229" y="49"/>
                        <a:pt x="1229" y="49"/>
                      </a:cubicBezTo>
                      <a:cubicBezTo>
                        <a:pt x="1229" y="46"/>
                        <a:pt x="1229" y="46"/>
                        <a:pt x="1229" y="46"/>
                      </a:cubicBezTo>
                      <a:cubicBezTo>
                        <a:pt x="1225" y="44"/>
                        <a:pt x="1225" y="44"/>
                        <a:pt x="1225" y="44"/>
                      </a:cubicBezTo>
                      <a:cubicBezTo>
                        <a:pt x="1224" y="42"/>
                        <a:pt x="1224" y="42"/>
                        <a:pt x="1224" y="42"/>
                      </a:cubicBezTo>
                      <a:cubicBezTo>
                        <a:pt x="1223" y="40"/>
                        <a:pt x="1223" y="40"/>
                        <a:pt x="1223" y="40"/>
                      </a:cubicBezTo>
                      <a:cubicBezTo>
                        <a:pt x="1221" y="40"/>
                        <a:pt x="1221" y="40"/>
                        <a:pt x="1221" y="40"/>
                      </a:cubicBezTo>
                      <a:cubicBezTo>
                        <a:pt x="1219" y="42"/>
                        <a:pt x="1219" y="42"/>
                        <a:pt x="1219" y="42"/>
                      </a:cubicBezTo>
                      <a:cubicBezTo>
                        <a:pt x="1219" y="41"/>
                        <a:pt x="1219" y="41"/>
                        <a:pt x="1219" y="41"/>
                      </a:cubicBezTo>
                      <a:cubicBezTo>
                        <a:pt x="1221" y="40"/>
                        <a:pt x="1221" y="40"/>
                        <a:pt x="1221" y="40"/>
                      </a:cubicBezTo>
                      <a:cubicBezTo>
                        <a:pt x="1222" y="37"/>
                        <a:pt x="1222" y="37"/>
                        <a:pt x="1222" y="37"/>
                      </a:cubicBezTo>
                      <a:cubicBezTo>
                        <a:pt x="1224" y="33"/>
                        <a:pt x="1224" y="33"/>
                        <a:pt x="1224" y="33"/>
                      </a:cubicBezTo>
                      <a:cubicBezTo>
                        <a:pt x="1226" y="33"/>
                        <a:pt x="1226" y="33"/>
                        <a:pt x="1226" y="33"/>
                      </a:cubicBezTo>
                      <a:cubicBezTo>
                        <a:pt x="1226" y="34"/>
                        <a:pt x="1226" y="34"/>
                        <a:pt x="1226" y="34"/>
                      </a:cubicBezTo>
                      <a:cubicBezTo>
                        <a:pt x="1227" y="38"/>
                        <a:pt x="1227" y="38"/>
                        <a:pt x="1227" y="38"/>
                      </a:cubicBezTo>
                      <a:cubicBezTo>
                        <a:pt x="1229" y="38"/>
                        <a:pt x="1229" y="38"/>
                        <a:pt x="1229" y="38"/>
                      </a:cubicBezTo>
                      <a:cubicBezTo>
                        <a:pt x="1229" y="37"/>
                        <a:pt x="1229" y="37"/>
                        <a:pt x="1229" y="37"/>
                      </a:cubicBezTo>
                      <a:cubicBezTo>
                        <a:pt x="1228" y="36"/>
                        <a:pt x="1228" y="36"/>
                        <a:pt x="1228" y="36"/>
                      </a:cubicBezTo>
                      <a:cubicBezTo>
                        <a:pt x="1227" y="34"/>
                        <a:pt x="1227" y="34"/>
                        <a:pt x="1227" y="34"/>
                      </a:cubicBezTo>
                      <a:cubicBezTo>
                        <a:pt x="1228" y="34"/>
                        <a:pt x="1228" y="34"/>
                        <a:pt x="1228" y="34"/>
                      </a:cubicBezTo>
                      <a:cubicBezTo>
                        <a:pt x="1230" y="32"/>
                        <a:pt x="1230" y="32"/>
                        <a:pt x="1230" y="32"/>
                      </a:cubicBezTo>
                      <a:cubicBezTo>
                        <a:pt x="1231" y="31"/>
                        <a:pt x="1231" y="31"/>
                        <a:pt x="1231" y="31"/>
                      </a:cubicBezTo>
                      <a:cubicBezTo>
                        <a:pt x="1229" y="31"/>
                        <a:pt x="1229" y="31"/>
                        <a:pt x="1229" y="31"/>
                      </a:cubicBezTo>
                      <a:cubicBezTo>
                        <a:pt x="1230" y="30"/>
                        <a:pt x="1230" y="30"/>
                        <a:pt x="1230" y="30"/>
                      </a:cubicBezTo>
                      <a:cubicBezTo>
                        <a:pt x="1231" y="30"/>
                        <a:pt x="1231" y="30"/>
                        <a:pt x="1231" y="30"/>
                      </a:cubicBezTo>
                      <a:cubicBezTo>
                        <a:pt x="1232" y="29"/>
                        <a:pt x="1232" y="29"/>
                        <a:pt x="1232" y="29"/>
                      </a:cubicBezTo>
                      <a:cubicBezTo>
                        <a:pt x="1234" y="26"/>
                        <a:pt x="1234" y="26"/>
                        <a:pt x="1234" y="26"/>
                      </a:cubicBezTo>
                      <a:cubicBezTo>
                        <a:pt x="1236" y="27"/>
                        <a:pt x="1236" y="27"/>
                        <a:pt x="1236" y="27"/>
                      </a:cubicBezTo>
                      <a:cubicBezTo>
                        <a:pt x="1237" y="28"/>
                        <a:pt x="1237" y="28"/>
                        <a:pt x="1237" y="28"/>
                      </a:cubicBezTo>
                      <a:cubicBezTo>
                        <a:pt x="1238" y="27"/>
                        <a:pt x="1238" y="27"/>
                        <a:pt x="1238" y="27"/>
                      </a:cubicBezTo>
                      <a:cubicBezTo>
                        <a:pt x="1239" y="28"/>
                        <a:pt x="1239" y="28"/>
                        <a:pt x="1239" y="28"/>
                      </a:cubicBezTo>
                      <a:cubicBezTo>
                        <a:pt x="1240" y="29"/>
                        <a:pt x="1240" y="29"/>
                        <a:pt x="1240" y="29"/>
                      </a:cubicBezTo>
                      <a:cubicBezTo>
                        <a:pt x="1241" y="30"/>
                        <a:pt x="1241" y="30"/>
                        <a:pt x="1241" y="30"/>
                      </a:cubicBezTo>
                      <a:cubicBezTo>
                        <a:pt x="1244" y="31"/>
                        <a:pt x="1244" y="31"/>
                        <a:pt x="1244" y="31"/>
                      </a:cubicBezTo>
                      <a:cubicBezTo>
                        <a:pt x="1245" y="30"/>
                        <a:pt x="1245" y="30"/>
                        <a:pt x="1245" y="30"/>
                      </a:cubicBezTo>
                      <a:cubicBezTo>
                        <a:pt x="1251" y="31"/>
                        <a:pt x="1251" y="31"/>
                        <a:pt x="1251" y="31"/>
                      </a:cubicBezTo>
                      <a:cubicBezTo>
                        <a:pt x="1251" y="33"/>
                        <a:pt x="1251" y="33"/>
                        <a:pt x="1251" y="33"/>
                      </a:cubicBezTo>
                      <a:cubicBezTo>
                        <a:pt x="1251" y="34"/>
                        <a:pt x="1251" y="34"/>
                        <a:pt x="1251" y="34"/>
                      </a:cubicBezTo>
                      <a:cubicBezTo>
                        <a:pt x="1253" y="34"/>
                        <a:pt x="1253" y="34"/>
                        <a:pt x="1253" y="34"/>
                      </a:cubicBezTo>
                      <a:cubicBezTo>
                        <a:pt x="1253" y="32"/>
                        <a:pt x="1253" y="32"/>
                        <a:pt x="1253" y="32"/>
                      </a:cubicBezTo>
                      <a:cubicBezTo>
                        <a:pt x="1254" y="33"/>
                        <a:pt x="1254" y="33"/>
                        <a:pt x="1254" y="33"/>
                      </a:cubicBezTo>
                      <a:cubicBezTo>
                        <a:pt x="1254" y="35"/>
                        <a:pt x="1254" y="35"/>
                        <a:pt x="1254" y="35"/>
                      </a:cubicBezTo>
                      <a:cubicBezTo>
                        <a:pt x="1256" y="34"/>
                        <a:pt x="1256" y="34"/>
                        <a:pt x="1256" y="34"/>
                      </a:cubicBezTo>
                      <a:cubicBezTo>
                        <a:pt x="1258" y="32"/>
                        <a:pt x="1258" y="32"/>
                        <a:pt x="1258" y="32"/>
                      </a:cubicBezTo>
                      <a:cubicBezTo>
                        <a:pt x="1260" y="32"/>
                        <a:pt x="1260" y="32"/>
                        <a:pt x="1260" y="32"/>
                      </a:cubicBezTo>
                      <a:cubicBezTo>
                        <a:pt x="1260" y="34"/>
                        <a:pt x="1260" y="34"/>
                        <a:pt x="1260" y="34"/>
                      </a:cubicBezTo>
                      <a:cubicBezTo>
                        <a:pt x="1259" y="35"/>
                        <a:pt x="1259" y="35"/>
                        <a:pt x="1259" y="35"/>
                      </a:cubicBezTo>
                      <a:cubicBezTo>
                        <a:pt x="1258" y="36"/>
                        <a:pt x="1258" y="36"/>
                        <a:pt x="1258" y="36"/>
                      </a:cubicBezTo>
                      <a:cubicBezTo>
                        <a:pt x="1260" y="42"/>
                        <a:pt x="1260" y="42"/>
                        <a:pt x="1260" y="42"/>
                      </a:cubicBezTo>
                      <a:cubicBezTo>
                        <a:pt x="1259" y="44"/>
                        <a:pt x="1259" y="44"/>
                        <a:pt x="1259" y="44"/>
                      </a:cubicBezTo>
                      <a:cubicBezTo>
                        <a:pt x="1259" y="46"/>
                        <a:pt x="1259" y="46"/>
                        <a:pt x="1259" y="46"/>
                      </a:cubicBezTo>
                      <a:cubicBezTo>
                        <a:pt x="1261" y="45"/>
                        <a:pt x="1261" y="45"/>
                        <a:pt x="1261" y="45"/>
                      </a:cubicBezTo>
                      <a:cubicBezTo>
                        <a:pt x="1262" y="47"/>
                        <a:pt x="1262" y="47"/>
                        <a:pt x="1262" y="47"/>
                      </a:cubicBezTo>
                      <a:cubicBezTo>
                        <a:pt x="1265" y="48"/>
                        <a:pt x="1265" y="48"/>
                        <a:pt x="1265" y="48"/>
                      </a:cubicBezTo>
                      <a:cubicBezTo>
                        <a:pt x="1265" y="50"/>
                        <a:pt x="1265" y="50"/>
                        <a:pt x="1265" y="50"/>
                      </a:cubicBezTo>
                      <a:cubicBezTo>
                        <a:pt x="1264" y="51"/>
                        <a:pt x="1264" y="51"/>
                        <a:pt x="1264" y="51"/>
                      </a:cubicBezTo>
                      <a:cubicBezTo>
                        <a:pt x="1261" y="51"/>
                        <a:pt x="1261" y="51"/>
                        <a:pt x="1261" y="51"/>
                      </a:cubicBezTo>
                      <a:cubicBezTo>
                        <a:pt x="1258" y="52"/>
                        <a:pt x="1258" y="52"/>
                        <a:pt x="1258" y="52"/>
                      </a:cubicBezTo>
                      <a:cubicBezTo>
                        <a:pt x="1262" y="53"/>
                        <a:pt x="1262" y="53"/>
                        <a:pt x="1262" y="53"/>
                      </a:cubicBezTo>
                      <a:cubicBezTo>
                        <a:pt x="1263" y="55"/>
                        <a:pt x="1263" y="55"/>
                        <a:pt x="1263" y="55"/>
                      </a:cubicBezTo>
                      <a:cubicBezTo>
                        <a:pt x="1263" y="56"/>
                        <a:pt x="1263" y="56"/>
                        <a:pt x="1263" y="56"/>
                      </a:cubicBezTo>
                      <a:cubicBezTo>
                        <a:pt x="1261" y="57"/>
                        <a:pt x="1261" y="57"/>
                        <a:pt x="1261" y="57"/>
                      </a:cubicBezTo>
                      <a:cubicBezTo>
                        <a:pt x="1259" y="60"/>
                        <a:pt x="1259" y="60"/>
                        <a:pt x="1259" y="60"/>
                      </a:cubicBezTo>
                      <a:cubicBezTo>
                        <a:pt x="1258" y="59"/>
                        <a:pt x="1258" y="59"/>
                        <a:pt x="1258" y="59"/>
                      </a:cubicBezTo>
                      <a:cubicBezTo>
                        <a:pt x="1256" y="61"/>
                        <a:pt x="1256" y="61"/>
                        <a:pt x="1256" y="61"/>
                      </a:cubicBezTo>
                      <a:cubicBezTo>
                        <a:pt x="1253" y="61"/>
                        <a:pt x="1253" y="61"/>
                        <a:pt x="1253" y="61"/>
                      </a:cubicBezTo>
                      <a:cubicBezTo>
                        <a:pt x="1251" y="63"/>
                        <a:pt x="1251" y="63"/>
                        <a:pt x="1251" y="63"/>
                      </a:cubicBezTo>
                      <a:cubicBezTo>
                        <a:pt x="1254" y="62"/>
                        <a:pt x="1254" y="62"/>
                        <a:pt x="1254" y="62"/>
                      </a:cubicBezTo>
                      <a:cubicBezTo>
                        <a:pt x="1256" y="63"/>
                        <a:pt x="1256" y="63"/>
                        <a:pt x="1256" y="63"/>
                      </a:cubicBezTo>
                      <a:cubicBezTo>
                        <a:pt x="1256" y="65"/>
                        <a:pt x="1256" y="65"/>
                        <a:pt x="1256" y="65"/>
                      </a:cubicBezTo>
                      <a:cubicBezTo>
                        <a:pt x="1258" y="63"/>
                        <a:pt x="1258" y="63"/>
                        <a:pt x="1258" y="63"/>
                      </a:cubicBezTo>
                      <a:cubicBezTo>
                        <a:pt x="1259" y="63"/>
                        <a:pt x="1259" y="63"/>
                        <a:pt x="1259" y="63"/>
                      </a:cubicBezTo>
                      <a:cubicBezTo>
                        <a:pt x="1259" y="65"/>
                        <a:pt x="1259" y="65"/>
                        <a:pt x="1259" y="65"/>
                      </a:cubicBezTo>
                      <a:cubicBezTo>
                        <a:pt x="1261" y="67"/>
                        <a:pt x="1261" y="67"/>
                        <a:pt x="1261" y="67"/>
                      </a:cubicBezTo>
                      <a:cubicBezTo>
                        <a:pt x="1259" y="68"/>
                        <a:pt x="1259" y="68"/>
                        <a:pt x="1259" y="68"/>
                      </a:cubicBezTo>
                      <a:cubicBezTo>
                        <a:pt x="1259" y="72"/>
                        <a:pt x="1259" y="72"/>
                        <a:pt x="1259" y="72"/>
                      </a:cubicBezTo>
                      <a:cubicBezTo>
                        <a:pt x="1261" y="69"/>
                        <a:pt x="1261" y="69"/>
                        <a:pt x="1261" y="69"/>
                      </a:cubicBezTo>
                      <a:cubicBezTo>
                        <a:pt x="1264" y="69"/>
                        <a:pt x="1264" y="69"/>
                        <a:pt x="1264" y="69"/>
                      </a:cubicBezTo>
                      <a:cubicBezTo>
                        <a:pt x="1266" y="71"/>
                        <a:pt x="1266" y="71"/>
                        <a:pt x="1266" y="71"/>
                      </a:cubicBezTo>
                      <a:cubicBezTo>
                        <a:pt x="1266" y="73"/>
                        <a:pt x="1266" y="73"/>
                        <a:pt x="1266" y="73"/>
                      </a:cubicBezTo>
                      <a:cubicBezTo>
                        <a:pt x="1267" y="75"/>
                        <a:pt x="1267" y="75"/>
                        <a:pt x="1267" y="75"/>
                      </a:cubicBezTo>
                      <a:cubicBezTo>
                        <a:pt x="1265" y="77"/>
                        <a:pt x="1265" y="77"/>
                        <a:pt x="1265" y="77"/>
                      </a:cubicBezTo>
                      <a:cubicBezTo>
                        <a:pt x="1266" y="77"/>
                        <a:pt x="1266" y="77"/>
                        <a:pt x="1266" y="77"/>
                      </a:cubicBezTo>
                      <a:cubicBezTo>
                        <a:pt x="1267" y="80"/>
                        <a:pt x="1267" y="80"/>
                        <a:pt x="1267" y="80"/>
                      </a:cubicBezTo>
                      <a:cubicBezTo>
                        <a:pt x="1265" y="81"/>
                        <a:pt x="1265" y="81"/>
                        <a:pt x="1265" y="81"/>
                      </a:cubicBezTo>
                      <a:cubicBezTo>
                        <a:pt x="1264" y="83"/>
                        <a:pt x="1264" y="83"/>
                        <a:pt x="1264" y="83"/>
                      </a:cubicBezTo>
                      <a:cubicBezTo>
                        <a:pt x="1265" y="84"/>
                        <a:pt x="1265" y="84"/>
                        <a:pt x="1265" y="84"/>
                      </a:cubicBezTo>
                      <a:cubicBezTo>
                        <a:pt x="1265" y="82"/>
                        <a:pt x="1265" y="82"/>
                        <a:pt x="1265" y="82"/>
                      </a:cubicBezTo>
                      <a:cubicBezTo>
                        <a:pt x="1267" y="82"/>
                        <a:pt x="1267" y="82"/>
                        <a:pt x="1267" y="82"/>
                      </a:cubicBezTo>
                      <a:cubicBezTo>
                        <a:pt x="1268" y="83"/>
                        <a:pt x="1268" y="83"/>
                        <a:pt x="1268" y="83"/>
                      </a:cubicBezTo>
                      <a:cubicBezTo>
                        <a:pt x="1268" y="86"/>
                        <a:pt x="1268" y="86"/>
                        <a:pt x="1268" y="86"/>
                      </a:cubicBezTo>
                      <a:cubicBezTo>
                        <a:pt x="1270" y="85"/>
                        <a:pt x="1270" y="85"/>
                        <a:pt x="1270" y="85"/>
                      </a:cubicBezTo>
                      <a:cubicBezTo>
                        <a:pt x="1271" y="87"/>
                        <a:pt x="1271" y="87"/>
                        <a:pt x="1271" y="87"/>
                      </a:cubicBezTo>
                      <a:cubicBezTo>
                        <a:pt x="1271" y="85"/>
                        <a:pt x="1271" y="85"/>
                        <a:pt x="1271" y="85"/>
                      </a:cubicBezTo>
                      <a:cubicBezTo>
                        <a:pt x="1272" y="84"/>
                        <a:pt x="1272" y="84"/>
                        <a:pt x="1272" y="84"/>
                      </a:cubicBezTo>
                      <a:cubicBezTo>
                        <a:pt x="1274" y="85"/>
                        <a:pt x="1274" y="85"/>
                        <a:pt x="1274" y="85"/>
                      </a:cubicBezTo>
                      <a:cubicBezTo>
                        <a:pt x="1276" y="85"/>
                        <a:pt x="1276" y="85"/>
                        <a:pt x="1276" y="85"/>
                      </a:cubicBezTo>
                      <a:cubicBezTo>
                        <a:pt x="1276" y="88"/>
                        <a:pt x="1276" y="88"/>
                        <a:pt x="1276" y="88"/>
                      </a:cubicBezTo>
                      <a:cubicBezTo>
                        <a:pt x="1274" y="88"/>
                        <a:pt x="1274" y="88"/>
                        <a:pt x="1274" y="88"/>
                      </a:cubicBezTo>
                      <a:cubicBezTo>
                        <a:pt x="1272" y="87"/>
                        <a:pt x="1272" y="87"/>
                        <a:pt x="1272" y="87"/>
                      </a:cubicBezTo>
                      <a:cubicBezTo>
                        <a:pt x="1271" y="89"/>
                        <a:pt x="1271" y="89"/>
                        <a:pt x="1271" y="89"/>
                      </a:cubicBezTo>
                      <a:cubicBezTo>
                        <a:pt x="1273" y="90"/>
                        <a:pt x="1273" y="90"/>
                        <a:pt x="1273" y="90"/>
                      </a:cubicBezTo>
                      <a:cubicBezTo>
                        <a:pt x="1275" y="90"/>
                        <a:pt x="1275" y="90"/>
                        <a:pt x="1275" y="90"/>
                      </a:cubicBezTo>
                      <a:cubicBezTo>
                        <a:pt x="1276" y="93"/>
                        <a:pt x="1276" y="93"/>
                        <a:pt x="1276" y="93"/>
                      </a:cubicBezTo>
                      <a:cubicBezTo>
                        <a:pt x="1276" y="94"/>
                        <a:pt x="1276" y="94"/>
                        <a:pt x="1276" y="94"/>
                      </a:cubicBezTo>
                      <a:cubicBezTo>
                        <a:pt x="1273" y="95"/>
                        <a:pt x="1273" y="95"/>
                        <a:pt x="1273" y="95"/>
                      </a:cubicBezTo>
                      <a:cubicBezTo>
                        <a:pt x="1271" y="92"/>
                        <a:pt x="1271" y="92"/>
                        <a:pt x="1271" y="92"/>
                      </a:cubicBezTo>
                      <a:cubicBezTo>
                        <a:pt x="1271" y="92"/>
                        <a:pt x="1271" y="92"/>
                        <a:pt x="1271" y="92"/>
                      </a:cubicBezTo>
                      <a:cubicBezTo>
                        <a:pt x="1272" y="95"/>
                        <a:pt x="1272" y="95"/>
                        <a:pt x="1272" y="95"/>
                      </a:cubicBezTo>
                      <a:cubicBezTo>
                        <a:pt x="1270" y="97"/>
                        <a:pt x="1270" y="97"/>
                        <a:pt x="1270" y="97"/>
                      </a:cubicBezTo>
                      <a:cubicBezTo>
                        <a:pt x="1269" y="96"/>
                        <a:pt x="1269" y="96"/>
                        <a:pt x="1269" y="96"/>
                      </a:cubicBezTo>
                      <a:cubicBezTo>
                        <a:pt x="1269" y="96"/>
                        <a:pt x="1269" y="96"/>
                        <a:pt x="1269" y="96"/>
                      </a:cubicBezTo>
                      <a:cubicBezTo>
                        <a:pt x="1267" y="96"/>
                        <a:pt x="1267" y="96"/>
                        <a:pt x="1267" y="96"/>
                      </a:cubicBezTo>
                      <a:cubicBezTo>
                        <a:pt x="1266" y="95"/>
                        <a:pt x="1266" y="95"/>
                        <a:pt x="1266" y="95"/>
                      </a:cubicBezTo>
                      <a:cubicBezTo>
                        <a:pt x="1261" y="95"/>
                        <a:pt x="1261" y="95"/>
                        <a:pt x="1261" y="95"/>
                      </a:cubicBezTo>
                      <a:cubicBezTo>
                        <a:pt x="1260" y="96"/>
                        <a:pt x="1260" y="96"/>
                        <a:pt x="1260" y="96"/>
                      </a:cubicBezTo>
                      <a:cubicBezTo>
                        <a:pt x="1258" y="96"/>
                        <a:pt x="1258" y="96"/>
                        <a:pt x="1258" y="96"/>
                      </a:cubicBezTo>
                      <a:cubicBezTo>
                        <a:pt x="1258" y="94"/>
                        <a:pt x="1258" y="94"/>
                        <a:pt x="1258" y="94"/>
                      </a:cubicBezTo>
                      <a:cubicBezTo>
                        <a:pt x="1258" y="93"/>
                        <a:pt x="1258" y="93"/>
                        <a:pt x="1258" y="93"/>
                      </a:cubicBezTo>
                      <a:cubicBezTo>
                        <a:pt x="1256" y="93"/>
                        <a:pt x="1256" y="93"/>
                        <a:pt x="1256" y="93"/>
                      </a:cubicBezTo>
                      <a:cubicBezTo>
                        <a:pt x="1257" y="95"/>
                        <a:pt x="1257" y="95"/>
                        <a:pt x="1257" y="95"/>
                      </a:cubicBezTo>
                      <a:cubicBezTo>
                        <a:pt x="1255" y="95"/>
                        <a:pt x="1255" y="95"/>
                        <a:pt x="1255" y="95"/>
                      </a:cubicBezTo>
                      <a:cubicBezTo>
                        <a:pt x="1255" y="96"/>
                        <a:pt x="1255" y="96"/>
                        <a:pt x="1255" y="96"/>
                      </a:cubicBezTo>
                      <a:cubicBezTo>
                        <a:pt x="1256" y="97"/>
                        <a:pt x="1256" y="97"/>
                        <a:pt x="1256" y="97"/>
                      </a:cubicBezTo>
                      <a:cubicBezTo>
                        <a:pt x="1254" y="99"/>
                        <a:pt x="1254" y="99"/>
                        <a:pt x="1254" y="99"/>
                      </a:cubicBezTo>
                      <a:cubicBezTo>
                        <a:pt x="1254" y="99"/>
                        <a:pt x="1254" y="99"/>
                        <a:pt x="1254" y="99"/>
                      </a:cubicBezTo>
                      <a:cubicBezTo>
                        <a:pt x="1254" y="98"/>
                        <a:pt x="1254" y="98"/>
                        <a:pt x="1254" y="98"/>
                      </a:cubicBezTo>
                      <a:cubicBezTo>
                        <a:pt x="1253" y="98"/>
                        <a:pt x="1253" y="98"/>
                        <a:pt x="1253" y="98"/>
                      </a:cubicBezTo>
                      <a:cubicBezTo>
                        <a:pt x="1249" y="99"/>
                        <a:pt x="1249" y="99"/>
                        <a:pt x="1249" y="99"/>
                      </a:cubicBezTo>
                      <a:cubicBezTo>
                        <a:pt x="1248" y="98"/>
                        <a:pt x="1248" y="98"/>
                        <a:pt x="1248" y="98"/>
                      </a:cubicBezTo>
                      <a:cubicBezTo>
                        <a:pt x="1248" y="97"/>
                        <a:pt x="1248" y="97"/>
                        <a:pt x="1248" y="97"/>
                      </a:cubicBezTo>
                      <a:cubicBezTo>
                        <a:pt x="1247" y="95"/>
                        <a:pt x="1247" y="95"/>
                        <a:pt x="1247" y="95"/>
                      </a:cubicBezTo>
                      <a:cubicBezTo>
                        <a:pt x="1247" y="94"/>
                        <a:pt x="1247" y="94"/>
                        <a:pt x="1247" y="94"/>
                      </a:cubicBezTo>
                      <a:cubicBezTo>
                        <a:pt x="1242" y="91"/>
                        <a:pt x="1242" y="91"/>
                        <a:pt x="1242" y="91"/>
                      </a:cubicBezTo>
                      <a:cubicBezTo>
                        <a:pt x="1241" y="90"/>
                        <a:pt x="1241" y="90"/>
                        <a:pt x="1241" y="90"/>
                      </a:cubicBezTo>
                      <a:cubicBezTo>
                        <a:pt x="1242" y="89"/>
                        <a:pt x="1242" y="89"/>
                        <a:pt x="1242" y="89"/>
                      </a:cubicBezTo>
                      <a:cubicBezTo>
                        <a:pt x="1239" y="88"/>
                        <a:pt x="1239" y="88"/>
                        <a:pt x="1239" y="88"/>
                      </a:cubicBezTo>
                      <a:cubicBezTo>
                        <a:pt x="1238" y="90"/>
                        <a:pt x="1238" y="90"/>
                        <a:pt x="1238" y="90"/>
                      </a:cubicBezTo>
                      <a:cubicBezTo>
                        <a:pt x="1235" y="91"/>
                        <a:pt x="1235" y="91"/>
                        <a:pt x="1235" y="91"/>
                      </a:cubicBezTo>
                      <a:cubicBezTo>
                        <a:pt x="1233" y="93"/>
                        <a:pt x="1233" y="93"/>
                        <a:pt x="1233" y="93"/>
                      </a:cubicBezTo>
                      <a:cubicBezTo>
                        <a:pt x="1232" y="93"/>
                        <a:pt x="1232" y="93"/>
                        <a:pt x="1232" y="93"/>
                      </a:cubicBezTo>
                      <a:cubicBezTo>
                        <a:pt x="1232" y="90"/>
                        <a:pt x="1232" y="90"/>
                        <a:pt x="1232" y="90"/>
                      </a:cubicBezTo>
                      <a:cubicBezTo>
                        <a:pt x="1231" y="88"/>
                        <a:pt x="1231" y="88"/>
                        <a:pt x="1231" y="88"/>
                      </a:cubicBezTo>
                      <a:cubicBezTo>
                        <a:pt x="1231" y="90"/>
                        <a:pt x="1231" y="90"/>
                        <a:pt x="1231" y="90"/>
                      </a:cubicBezTo>
                      <a:cubicBezTo>
                        <a:pt x="1231" y="94"/>
                        <a:pt x="1231" y="94"/>
                        <a:pt x="1231" y="94"/>
                      </a:cubicBezTo>
                      <a:cubicBezTo>
                        <a:pt x="1232" y="96"/>
                        <a:pt x="1232" y="96"/>
                        <a:pt x="1232" y="96"/>
                      </a:cubicBezTo>
                      <a:cubicBezTo>
                        <a:pt x="1231" y="99"/>
                        <a:pt x="1231" y="99"/>
                        <a:pt x="1231" y="99"/>
                      </a:cubicBezTo>
                      <a:cubicBezTo>
                        <a:pt x="1228" y="104"/>
                        <a:pt x="1228" y="104"/>
                        <a:pt x="1228" y="104"/>
                      </a:cubicBezTo>
                      <a:cubicBezTo>
                        <a:pt x="1226" y="104"/>
                        <a:pt x="1226" y="104"/>
                        <a:pt x="1226" y="104"/>
                      </a:cubicBezTo>
                      <a:cubicBezTo>
                        <a:pt x="1226" y="100"/>
                        <a:pt x="1226" y="100"/>
                        <a:pt x="1226" y="100"/>
                      </a:cubicBezTo>
                      <a:cubicBezTo>
                        <a:pt x="1224" y="99"/>
                        <a:pt x="1224" y="99"/>
                        <a:pt x="1224" y="99"/>
                      </a:cubicBezTo>
                      <a:cubicBezTo>
                        <a:pt x="1222" y="101"/>
                        <a:pt x="1222" y="101"/>
                        <a:pt x="1222" y="101"/>
                      </a:cubicBezTo>
                      <a:cubicBezTo>
                        <a:pt x="1217" y="97"/>
                        <a:pt x="1217" y="97"/>
                        <a:pt x="1217" y="97"/>
                      </a:cubicBezTo>
                      <a:cubicBezTo>
                        <a:pt x="1217" y="95"/>
                        <a:pt x="1217" y="95"/>
                        <a:pt x="1217" y="95"/>
                      </a:cubicBezTo>
                      <a:cubicBezTo>
                        <a:pt x="1217" y="90"/>
                        <a:pt x="1217" y="90"/>
                        <a:pt x="1217" y="90"/>
                      </a:cubicBezTo>
                      <a:cubicBezTo>
                        <a:pt x="1215" y="90"/>
                        <a:pt x="1215" y="90"/>
                        <a:pt x="1215" y="90"/>
                      </a:cubicBezTo>
                      <a:cubicBezTo>
                        <a:pt x="1214" y="88"/>
                        <a:pt x="1214" y="88"/>
                        <a:pt x="1214" y="88"/>
                      </a:cubicBezTo>
                      <a:cubicBezTo>
                        <a:pt x="1213" y="87"/>
                        <a:pt x="1213" y="87"/>
                        <a:pt x="1213" y="87"/>
                      </a:cubicBezTo>
                      <a:cubicBezTo>
                        <a:pt x="1212" y="88"/>
                        <a:pt x="1212" y="88"/>
                        <a:pt x="1212" y="88"/>
                      </a:cubicBezTo>
                      <a:cubicBezTo>
                        <a:pt x="1213" y="90"/>
                        <a:pt x="1213" y="90"/>
                        <a:pt x="1213" y="90"/>
                      </a:cubicBezTo>
                      <a:cubicBezTo>
                        <a:pt x="1213" y="91"/>
                        <a:pt x="1213" y="91"/>
                        <a:pt x="1213" y="91"/>
                      </a:cubicBezTo>
                      <a:cubicBezTo>
                        <a:pt x="1214" y="93"/>
                        <a:pt x="1214" y="93"/>
                        <a:pt x="1214" y="93"/>
                      </a:cubicBezTo>
                      <a:cubicBezTo>
                        <a:pt x="1213" y="94"/>
                        <a:pt x="1213" y="94"/>
                        <a:pt x="1213" y="94"/>
                      </a:cubicBezTo>
                      <a:cubicBezTo>
                        <a:pt x="1210" y="92"/>
                        <a:pt x="1210" y="92"/>
                        <a:pt x="1210" y="92"/>
                      </a:cubicBezTo>
                      <a:cubicBezTo>
                        <a:pt x="1208" y="90"/>
                        <a:pt x="1208" y="90"/>
                        <a:pt x="1208" y="90"/>
                      </a:cubicBezTo>
                      <a:cubicBezTo>
                        <a:pt x="1208" y="90"/>
                        <a:pt x="1208" y="90"/>
                        <a:pt x="1208" y="90"/>
                      </a:cubicBezTo>
                      <a:cubicBezTo>
                        <a:pt x="1209" y="93"/>
                        <a:pt x="1209" y="93"/>
                        <a:pt x="1209" y="93"/>
                      </a:cubicBezTo>
                      <a:cubicBezTo>
                        <a:pt x="1208" y="93"/>
                        <a:pt x="1208" y="93"/>
                        <a:pt x="1208" y="93"/>
                      </a:cubicBezTo>
                      <a:cubicBezTo>
                        <a:pt x="1209" y="94"/>
                        <a:pt x="1209" y="94"/>
                        <a:pt x="1209" y="94"/>
                      </a:cubicBezTo>
                      <a:cubicBezTo>
                        <a:pt x="1211" y="94"/>
                        <a:pt x="1211" y="94"/>
                        <a:pt x="1211" y="94"/>
                      </a:cubicBezTo>
                      <a:cubicBezTo>
                        <a:pt x="1212" y="96"/>
                        <a:pt x="1212" y="96"/>
                        <a:pt x="1212" y="96"/>
                      </a:cubicBezTo>
                      <a:cubicBezTo>
                        <a:pt x="1211" y="98"/>
                        <a:pt x="1211" y="98"/>
                        <a:pt x="1211" y="98"/>
                      </a:cubicBezTo>
                      <a:cubicBezTo>
                        <a:pt x="1209" y="98"/>
                        <a:pt x="1209" y="98"/>
                        <a:pt x="1209" y="98"/>
                      </a:cubicBezTo>
                      <a:cubicBezTo>
                        <a:pt x="1208" y="99"/>
                        <a:pt x="1208" y="99"/>
                        <a:pt x="1208" y="99"/>
                      </a:cubicBezTo>
                      <a:cubicBezTo>
                        <a:pt x="1210" y="100"/>
                        <a:pt x="1210" y="100"/>
                        <a:pt x="1210" y="100"/>
                      </a:cubicBezTo>
                      <a:cubicBezTo>
                        <a:pt x="1215" y="107"/>
                        <a:pt x="1215" y="107"/>
                        <a:pt x="1215" y="107"/>
                      </a:cubicBezTo>
                      <a:cubicBezTo>
                        <a:pt x="1219" y="108"/>
                        <a:pt x="1219" y="108"/>
                        <a:pt x="1219" y="108"/>
                      </a:cubicBezTo>
                      <a:cubicBezTo>
                        <a:pt x="1221" y="107"/>
                        <a:pt x="1221" y="107"/>
                        <a:pt x="1221" y="107"/>
                      </a:cubicBezTo>
                      <a:cubicBezTo>
                        <a:pt x="1223" y="108"/>
                        <a:pt x="1223" y="108"/>
                        <a:pt x="1223" y="108"/>
                      </a:cubicBezTo>
                      <a:cubicBezTo>
                        <a:pt x="1224" y="111"/>
                        <a:pt x="1224" y="111"/>
                        <a:pt x="1224" y="111"/>
                      </a:cubicBezTo>
                      <a:cubicBezTo>
                        <a:pt x="1224" y="111"/>
                        <a:pt x="1224" y="111"/>
                        <a:pt x="1224" y="111"/>
                      </a:cubicBezTo>
                      <a:cubicBezTo>
                        <a:pt x="1222" y="108"/>
                        <a:pt x="1222" y="108"/>
                        <a:pt x="1222" y="108"/>
                      </a:cubicBezTo>
                      <a:cubicBezTo>
                        <a:pt x="1221" y="108"/>
                        <a:pt x="1221" y="108"/>
                        <a:pt x="1221" y="108"/>
                      </a:cubicBezTo>
                      <a:cubicBezTo>
                        <a:pt x="1222" y="111"/>
                        <a:pt x="1222" y="111"/>
                        <a:pt x="1222" y="111"/>
                      </a:cubicBezTo>
                      <a:cubicBezTo>
                        <a:pt x="1225" y="114"/>
                        <a:pt x="1225" y="114"/>
                        <a:pt x="1225" y="114"/>
                      </a:cubicBezTo>
                      <a:cubicBezTo>
                        <a:pt x="1226" y="116"/>
                        <a:pt x="1226" y="116"/>
                        <a:pt x="1226" y="116"/>
                      </a:cubicBezTo>
                      <a:cubicBezTo>
                        <a:pt x="1228" y="118"/>
                        <a:pt x="1228" y="118"/>
                        <a:pt x="1228" y="118"/>
                      </a:cubicBezTo>
                      <a:cubicBezTo>
                        <a:pt x="1228" y="122"/>
                        <a:pt x="1228" y="122"/>
                        <a:pt x="1228" y="122"/>
                      </a:cubicBezTo>
                      <a:cubicBezTo>
                        <a:pt x="1226" y="129"/>
                        <a:pt x="1226" y="129"/>
                        <a:pt x="1226" y="129"/>
                      </a:cubicBezTo>
                      <a:cubicBezTo>
                        <a:pt x="1227" y="133"/>
                        <a:pt x="1227" y="133"/>
                        <a:pt x="1227" y="133"/>
                      </a:cubicBezTo>
                      <a:cubicBezTo>
                        <a:pt x="1227" y="135"/>
                        <a:pt x="1227" y="135"/>
                        <a:pt x="1227" y="135"/>
                      </a:cubicBezTo>
                      <a:cubicBezTo>
                        <a:pt x="1228" y="137"/>
                        <a:pt x="1228" y="137"/>
                        <a:pt x="1228" y="137"/>
                      </a:cubicBezTo>
                      <a:cubicBezTo>
                        <a:pt x="1225" y="141"/>
                        <a:pt x="1225" y="141"/>
                        <a:pt x="1225" y="141"/>
                      </a:cubicBezTo>
                      <a:cubicBezTo>
                        <a:pt x="1225" y="143"/>
                        <a:pt x="1225" y="143"/>
                        <a:pt x="1225" y="143"/>
                      </a:cubicBezTo>
                      <a:cubicBezTo>
                        <a:pt x="1224" y="144"/>
                        <a:pt x="1224" y="144"/>
                        <a:pt x="1224" y="144"/>
                      </a:cubicBezTo>
                      <a:cubicBezTo>
                        <a:pt x="1224" y="142"/>
                        <a:pt x="1224" y="142"/>
                        <a:pt x="1224" y="142"/>
                      </a:cubicBezTo>
                      <a:cubicBezTo>
                        <a:pt x="1224" y="142"/>
                        <a:pt x="1224" y="142"/>
                        <a:pt x="1224" y="142"/>
                      </a:cubicBezTo>
                      <a:cubicBezTo>
                        <a:pt x="1219" y="145"/>
                        <a:pt x="1219" y="145"/>
                        <a:pt x="1219" y="145"/>
                      </a:cubicBezTo>
                      <a:cubicBezTo>
                        <a:pt x="1218" y="144"/>
                        <a:pt x="1218" y="144"/>
                        <a:pt x="1218" y="144"/>
                      </a:cubicBezTo>
                      <a:cubicBezTo>
                        <a:pt x="1216" y="145"/>
                        <a:pt x="1216" y="145"/>
                        <a:pt x="1216" y="145"/>
                      </a:cubicBezTo>
                      <a:cubicBezTo>
                        <a:pt x="1214" y="145"/>
                        <a:pt x="1214" y="145"/>
                        <a:pt x="1214" y="145"/>
                      </a:cubicBezTo>
                      <a:cubicBezTo>
                        <a:pt x="1213" y="143"/>
                        <a:pt x="1213" y="143"/>
                        <a:pt x="1213" y="143"/>
                      </a:cubicBezTo>
                      <a:cubicBezTo>
                        <a:pt x="1211" y="143"/>
                        <a:pt x="1211" y="143"/>
                        <a:pt x="1211" y="143"/>
                      </a:cubicBezTo>
                      <a:cubicBezTo>
                        <a:pt x="1209" y="140"/>
                        <a:pt x="1209" y="140"/>
                        <a:pt x="1209" y="140"/>
                      </a:cubicBezTo>
                      <a:cubicBezTo>
                        <a:pt x="1206" y="138"/>
                        <a:pt x="1206" y="138"/>
                        <a:pt x="1206" y="138"/>
                      </a:cubicBezTo>
                      <a:cubicBezTo>
                        <a:pt x="1204" y="138"/>
                        <a:pt x="1204" y="138"/>
                        <a:pt x="1204" y="138"/>
                      </a:cubicBezTo>
                      <a:cubicBezTo>
                        <a:pt x="1202" y="137"/>
                        <a:pt x="1202" y="137"/>
                        <a:pt x="1202" y="137"/>
                      </a:cubicBezTo>
                      <a:cubicBezTo>
                        <a:pt x="1201" y="137"/>
                        <a:pt x="1201" y="137"/>
                        <a:pt x="1201" y="137"/>
                      </a:cubicBezTo>
                      <a:cubicBezTo>
                        <a:pt x="1199" y="140"/>
                        <a:pt x="1199" y="140"/>
                        <a:pt x="1199" y="140"/>
                      </a:cubicBezTo>
                      <a:cubicBezTo>
                        <a:pt x="1197" y="139"/>
                        <a:pt x="1197" y="139"/>
                        <a:pt x="1197" y="139"/>
                      </a:cubicBezTo>
                      <a:cubicBezTo>
                        <a:pt x="1199" y="140"/>
                        <a:pt x="1199" y="140"/>
                        <a:pt x="1199" y="140"/>
                      </a:cubicBezTo>
                      <a:cubicBezTo>
                        <a:pt x="1202" y="141"/>
                        <a:pt x="1202" y="141"/>
                        <a:pt x="1202" y="141"/>
                      </a:cubicBezTo>
                      <a:cubicBezTo>
                        <a:pt x="1203" y="139"/>
                        <a:pt x="1203" y="139"/>
                        <a:pt x="1203" y="139"/>
                      </a:cubicBezTo>
                      <a:cubicBezTo>
                        <a:pt x="1208" y="141"/>
                        <a:pt x="1208" y="141"/>
                        <a:pt x="1208" y="141"/>
                      </a:cubicBezTo>
                      <a:cubicBezTo>
                        <a:pt x="1209" y="143"/>
                        <a:pt x="1209" y="143"/>
                        <a:pt x="1209" y="143"/>
                      </a:cubicBezTo>
                      <a:cubicBezTo>
                        <a:pt x="1206" y="144"/>
                        <a:pt x="1206" y="144"/>
                        <a:pt x="1206" y="144"/>
                      </a:cubicBezTo>
                      <a:cubicBezTo>
                        <a:pt x="1205" y="143"/>
                        <a:pt x="1205" y="143"/>
                        <a:pt x="1205" y="143"/>
                      </a:cubicBezTo>
                      <a:cubicBezTo>
                        <a:pt x="1202" y="143"/>
                        <a:pt x="1202" y="143"/>
                        <a:pt x="1202" y="143"/>
                      </a:cubicBezTo>
                      <a:cubicBezTo>
                        <a:pt x="1202" y="145"/>
                        <a:pt x="1202" y="145"/>
                        <a:pt x="1202" y="145"/>
                      </a:cubicBezTo>
                      <a:cubicBezTo>
                        <a:pt x="1201" y="143"/>
                        <a:pt x="1201" y="143"/>
                        <a:pt x="1201" y="143"/>
                      </a:cubicBezTo>
                      <a:cubicBezTo>
                        <a:pt x="1199" y="143"/>
                        <a:pt x="1199" y="143"/>
                        <a:pt x="1199" y="143"/>
                      </a:cubicBezTo>
                      <a:cubicBezTo>
                        <a:pt x="1200" y="143"/>
                        <a:pt x="1200" y="143"/>
                        <a:pt x="1200" y="143"/>
                      </a:cubicBezTo>
                      <a:cubicBezTo>
                        <a:pt x="1201" y="146"/>
                        <a:pt x="1201" y="146"/>
                        <a:pt x="1201" y="146"/>
                      </a:cubicBezTo>
                      <a:cubicBezTo>
                        <a:pt x="1204" y="148"/>
                        <a:pt x="1204" y="148"/>
                        <a:pt x="1204" y="148"/>
                      </a:cubicBezTo>
                      <a:cubicBezTo>
                        <a:pt x="1203" y="151"/>
                        <a:pt x="1203" y="151"/>
                        <a:pt x="1203" y="151"/>
                      </a:cubicBezTo>
                      <a:cubicBezTo>
                        <a:pt x="1204" y="154"/>
                        <a:pt x="1204" y="154"/>
                        <a:pt x="1204" y="154"/>
                      </a:cubicBezTo>
                      <a:cubicBezTo>
                        <a:pt x="1206" y="155"/>
                        <a:pt x="1206" y="155"/>
                        <a:pt x="1206" y="155"/>
                      </a:cubicBezTo>
                      <a:cubicBezTo>
                        <a:pt x="1205" y="154"/>
                        <a:pt x="1205" y="154"/>
                        <a:pt x="1205" y="154"/>
                      </a:cubicBezTo>
                      <a:cubicBezTo>
                        <a:pt x="1205" y="150"/>
                        <a:pt x="1205" y="150"/>
                        <a:pt x="1205" y="150"/>
                      </a:cubicBezTo>
                      <a:cubicBezTo>
                        <a:pt x="1206" y="149"/>
                        <a:pt x="1206" y="149"/>
                        <a:pt x="1206" y="149"/>
                      </a:cubicBezTo>
                      <a:cubicBezTo>
                        <a:pt x="1208" y="149"/>
                        <a:pt x="1208" y="149"/>
                        <a:pt x="1208" y="149"/>
                      </a:cubicBezTo>
                      <a:cubicBezTo>
                        <a:pt x="1208" y="148"/>
                        <a:pt x="1208" y="148"/>
                        <a:pt x="1208" y="148"/>
                      </a:cubicBezTo>
                      <a:cubicBezTo>
                        <a:pt x="1211" y="145"/>
                        <a:pt x="1211" y="145"/>
                        <a:pt x="1211" y="145"/>
                      </a:cubicBezTo>
                      <a:cubicBezTo>
                        <a:pt x="1213" y="145"/>
                        <a:pt x="1213" y="145"/>
                        <a:pt x="1213" y="145"/>
                      </a:cubicBezTo>
                      <a:cubicBezTo>
                        <a:pt x="1214" y="146"/>
                        <a:pt x="1214" y="146"/>
                        <a:pt x="1214" y="146"/>
                      </a:cubicBezTo>
                      <a:cubicBezTo>
                        <a:pt x="1214" y="147"/>
                        <a:pt x="1214" y="147"/>
                        <a:pt x="1214" y="147"/>
                      </a:cubicBezTo>
                      <a:cubicBezTo>
                        <a:pt x="1216" y="151"/>
                        <a:pt x="1216" y="151"/>
                        <a:pt x="1216" y="151"/>
                      </a:cubicBezTo>
                      <a:cubicBezTo>
                        <a:pt x="1219" y="152"/>
                        <a:pt x="1219" y="152"/>
                        <a:pt x="1219" y="152"/>
                      </a:cubicBezTo>
                      <a:cubicBezTo>
                        <a:pt x="1221" y="154"/>
                        <a:pt x="1221" y="154"/>
                        <a:pt x="1221" y="154"/>
                      </a:cubicBezTo>
                      <a:cubicBezTo>
                        <a:pt x="1224" y="154"/>
                        <a:pt x="1224" y="154"/>
                        <a:pt x="1224" y="154"/>
                      </a:cubicBezTo>
                      <a:cubicBezTo>
                        <a:pt x="1224" y="152"/>
                        <a:pt x="1224" y="152"/>
                        <a:pt x="1224" y="152"/>
                      </a:cubicBezTo>
                      <a:cubicBezTo>
                        <a:pt x="1224" y="151"/>
                        <a:pt x="1224" y="151"/>
                        <a:pt x="1224" y="151"/>
                      </a:cubicBezTo>
                      <a:cubicBezTo>
                        <a:pt x="1225" y="151"/>
                        <a:pt x="1225" y="151"/>
                        <a:pt x="1225" y="151"/>
                      </a:cubicBezTo>
                      <a:cubicBezTo>
                        <a:pt x="1230" y="155"/>
                        <a:pt x="1230" y="155"/>
                        <a:pt x="1230" y="155"/>
                      </a:cubicBezTo>
                      <a:cubicBezTo>
                        <a:pt x="1231" y="157"/>
                        <a:pt x="1231" y="157"/>
                        <a:pt x="1231" y="157"/>
                      </a:cubicBezTo>
                      <a:cubicBezTo>
                        <a:pt x="1229" y="156"/>
                        <a:pt x="1229" y="156"/>
                        <a:pt x="1229" y="156"/>
                      </a:cubicBezTo>
                      <a:cubicBezTo>
                        <a:pt x="1229" y="158"/>
                        <a:pt x="1229" y="158"/>
                        <a:pt x="1229" y="158"/>
                      </a:cubicBezTo>
                      <a:cubicBezTo>
                        <a:pt x="1232" y="162"/>
                        <a:pt x="1232" y="162"/>
                        <a:pt x="1232" y="162"/>
                      </a:cubicBezTo>
                      <a:cubicBezTo>
                        <a:pt x="1233" y="162"/>
                        <a:pt x="1233" y="162"/>
                        <a:pt x="1233" y="162"/>
                      </a:cubicBezTo>
                      <a:cubicBezTo>
                        <a:pt x="1233" y="161"/>
                        <a:pt x="1233" y="161"/>
                        <a:pt x="1233" y="161"/>
                      </a:cubicBezTo>
                      <a:cubicBezTo>
                        <a:pt x="1234" y="158"/>
                        <a:pt x="1234" y="158"/>
                        <a:pt x="1234" y="158"/>
                      </a:cubicBezTo>
                      <a:cubicBezTo>
                        <a:pt x="1236" y="160"/>
                        <a:pt x="1236" y="160"/>
                        <a:pt x="1236" y="160"/>
                      </a:cubicBezTo>
                      <a:cubicBezTo>
                        <a:pt x="1240" y="166"/>
                        <a:pt x="1240" y="166"/>
                        <a:pt x="1240" y="166"/>
                      </a:cubicBezTo>
                      <a:cubicBezTo>
                        <a:pt x="1239" y="165"/>
                        <a:pt x="1239" y="165"/>
                        <a:pt x="1239" y="165"/>
                      </a:cubicBezTo>
                      <a:cubicBezTo>
                        <a:pt x="1238" y="165"/>
                        <a:pt x="1238" y="165"/>
                        <a:pt x="1238" y="165"/>
                      </a:cubicBezTo>
                      <a:cubicBezTo>
                        <a:pt x="1237" y="166"/>
                        <a:pt x="1237" y="166"/>
                        <a:pt x="1237" y="166"/>
                      </a:cubicBezTo>
                      <a:cubicBezTo>
                        <a:pt x="1239" y="168"/>
                        <a:pt x="1239" y="168"/>
                        <a:pt x="1239" y="168"/>
                      </a:cubicBezTo>
                      <a:cubicBezTo>
                        <a:pt x="1237" y="169"/>
                        <a:pt x="1237" y="169"/>
                        <a:pt x="1237" y="169"/>
                      </a:cubicBezTo>
                      <a:cubicBezTo>
                        <a:pt x="1236" y="171"/>
                        <a:pt x="1236" y="171"/>
                        <a:pt x="1236" y="171"/>
                      </a:cubicBezTo>
                      <a:cubicBezTo>
                        <a:pt x="1237" y="173"/>
                        <a:pt x="1237" y="173"/>
                        <a:pt x="1237" y="173"/>
                      </a:cubicBezTo>
                      <a:cubicBezTo>
                        <a:pt x="1239" y="172"/>
                        <a:pt x="1239" y="172"/>
                        <a:pt x="1239" y="172"/>
                      </a:cubicBezTo>
                      <a:cubicBezTo>
                        <a:pt x="1239" y="170"/>
                        <a:pt x="1239" y="170"/>
                        <a:pt x="1239" y="170"/>
                      </a:cubicBezTo>
                      <a:cubicBezTo>
                        <a:pt x="1240" y="169"/>
                        <a:pt x="1240" y="169"/>
                        <a:pt x="1240" y="169"/>
                      </a:cubicBezTo>
                      <a:cubicBezTo>
                        <a:pt x="1242" y="170"/>
                        <a:pt x="1242" y="170"/>
                        <a:pt x="1242" y="170"/>
                      </a:cubicBezTo>
                      <a:cubicBezTo>
                        <a:pt x="1242" y="168"/>
                        <a:pt x="1242" y="168"/>
                        <a:pt x="1242" y="168"/>
                      </a:cubicBezTo>
                      <a:cubicBezTo>
                        <a:pt x="1244" y="171"/>
                        <a:pt x="1244" y="171"/>
                        <a:pt x="1244" y="171"/>
                      </a:cubicBezTo>
                      <a:cubicBezTo>
                        <a:pt x="1248" y="174"/>
                        <a:pt x="1248" y="174"/>
                        <a:pt x="1248" y="174"/>
                      </a:cubicBezTo>
                      <a:cubicBezTo>
                        <a:pt x="1252" y="175"/>
                        <a:pt x="1252" y="175"/>
                        <a:pt x="1252" y="175"/>
                      </a:cubicBezTo>
                      <a:cubicBezTo>
                        <a:pt x="1255" y="177"/>
                        <a:pt x="1255" y="177"/>
                        <a:pt x="1255" y="177"/>
                      </a:cubicBezTo>
                      <a:cubicBezTo>
                        <a:pt x="1254" y="178"/>
                        <a:pt x="1254" y="178"/>
                        <a:pt x="1254" y="178"/>
                      </a:cubicBezTo>
                      <a:cubicBezTo>
                        <a:pt x="1256" y="182"/>
                        <a:pt x="1256" y="182"/>
                        <a:pt x="1256" y="182"/>
                      </a:cubicBezTo>
                      <a:cubicBezTo>
                        <a:pt x="1258" y="183"/>
                        <a:pt x="1258" y="183"/>
                        <a:pt x="1258" y="183"/>
                      </a:cubicBezTo>
                      <a:cubicBezTo>
                        <a:pt x="1261" y="187"/>
                        <a:pt x="1261" y="187"/>
                        <a:pt x="1261" y="187"/>
                      </a:cubicBezTo>
                      <a:cubicBezTo>
                        <a:pt x="1261" y="193"/>
                        <a:pt x="1261" y="193"/>
                        <a:pt x="1261" y="193"/>
                      </a:cubicBezTo>
                      <a:cubicBezTo>
                        <a:pt x="1260" y="193"/>
                        <a:pt x="1260" y="193"/>
                        <a:pt x="1260" y="193"/>
                      </a:cubicBezTo>
                      <a:cubicBezTo>
                        <a:pt x="1260" y="194"/>
                        <a:pt x="1260" y="194"/>
                        <a:pt x="1260" y="194"/>
                      </a:cubicBezTo>
                      <a:cubicBezTo>
                        <a:pt x="1262" y="195"/>
                        <a:pt x="1262" y="195"/>
                        <a:pt x="1262" y="195"/>
                      </a:cubicBezTo>
                      <a:cubicBezTo>
                        <a:pt x="1263" y="198"/>
                        <a:pt x="1263" y="198"/>
                        <a:pt x="1263" y="198"/>
                      </a:cubicBezTo>
                      <a:cubicBezTo>
                        <a:pt x="1262" y="198"/>
                        <a:pt x="1262" y="198"/>
                        <a:pt x="1262" y="198"/>
                      </a:cubicBezTo>
                      <a:cubicBezTo>
                        <a:pt x="1260" y="197"/>
                        <a:pt x="1260" y="197"/>
                        <a:pt x="1260" y="197"/>
                      </a:cubicBezTo>
                      <a:cubicBezTo>
                        <a:pt x="1253" y="197"/>
                        <a:pt x="1253" y="197"/>
                        <a:pt x="1253" y="197"/>
                      </a:cubicBezTo>
                      <a:cubicBezTo>
                        <a:pt x="1251" y="196"/>
                        <a:pt x="1251" y="196"/>
                        <a:pt x="1251" y="196"/>
                      </a:cubicBezTo>
                      <a:cubicBezTo>
                        <a:pt x="1250" y="197"/>
                        <a:pt x="1250" y="197"/>
                        <a:pt x="1250" y="197"/>
                      </a:cubicBezTo>
                      <a:cubicBezTo>
                        <a:pt x="1248" y="196"/>
                        <a:pt x="1248" y="196"/>
                        <a:pt x="1248" y="196"/>
                      </a:cubicBezTo>
                      <a:cubicBezTo>
                        <a:pt x="1248" y="194"/>
                        <a:pt x="1248" y="194"/>
                        <a:pt x="1248" y="194"/>
                      </a:cubicBezTo>
                      <a:cubicBezTo>
                        <a:pt x="1247" y="194"/>
                        <a:pt x="1247" y="194"/>
                        <a:pt x="1247" y="194"/>
                      </a:cubicBezTo>
                      <a:cubicBezTo>
                        <a:pt x="1246" y="194"/>
                        <a:pt x="1246" y="194"/>
                        <a:pt x="1246" y="194"/>
                      </a:cubicBezTo>
                      <a:cubicBezTo>
                        <a:pt x="1247" y="196"/>
                        <a:pt x="1247" y="196"/>
                        <a:pt x="1247" y="196"/>
                      </a:cubicBezTo>
                      <a:cubicBezTo>
                        <a:pt x="1244" y="198"/>
                        <a:pt x="1244" y="198"/>
                        <a:pt x="1244" y="198"/>
                      </a:cubicBezTo>
                      <a:cubicBezTo>
                        <a:pt x="1241" y="198"/>
                        <a:pt x="1241" y="198"/>
                        <a:pt x="1241" y="198"/>
                      </a:cubicBezTo>
                      <a:cubicBezTo>
                        <a:pt x="1241" y="199"/>
                        <a:pt x="1241" y="199"/>
                        <a:pt x="1241" y="199"/>
                      </a:cubicBezTo>
                      <a:cubicBezTo>
                        <a:pt x="1242" y="199"/>
                        <a:pt x="1242" y="199"/>
                        <a:pt x="1242" y="199"/>
                      </a:cubicBezTo>
                      <a:cubicBezTo>
                        <a:pt x="1239" y="203"/>
                        <a:pt x="1239" y="203"/>
                        <a:pt x="1239" y="203"/>
                      </a:cubicBezTo>
                      <a:cubicBezTo>
                        <a:pt x="1237" y="203"/>
                        <a:pt x="1237" y="203"/>
                        <a:pt x="1237" y="203"/>
                      </a:cubicBezTo>
                      <a:cubicBezTo>
                        <a:pt x="1237" y="204"/>
                        <a:pt x="1237" y="204"/>
                        <a:pt x="1237" y="204"/>
                      </a:cubicBezTo>
                      <a:cubicBezTo>
                        <a:pt x="1238" y="205"/>
                        <a:pt x="1238" y="205"/>
                        <a:pt x="1238" y="205"/>
                      </a:cubicBezTo>
                      <a:cubicBezTo>
                        <a:pt x="1235" y="209"/>
                        <a:pt x="1235" y="209"/>
                        <a:pt x="1235" y="209"/>
                      </a:cubicBezTo>
                      <a:cubicBezTo>
                        <a:pt x="1234" y="210"/>
                        <a:pt x="1234" y="210"/>
                        <a:pt x="1234" y="210"/>
                      </a:cubicBezTo>
                      <a:cubicBezTo>
                        <a:pt x="1234" y="209"/>
                        <a:pt x="1234" y="209"/>
                        <a:pt x="1234" y="209"/>
                      </a:cubicBezTo>
                      <a:cubicBezTo>
                        <a:pt x="1232" y="209"/>
                        <a:pt x="1232" y="209"/>
                        <a:pt x="1232" y="209"/>
                      </a:cubicBezTo>
                      <a:cubicBezTo>
                        <a:pt x="1232" y="212"/>
                        <a:pt x="1232" y="212"/>
                        <a:pt x="1232" y="212"/>
                      </a:cubicBezTo>
                      <a:cubicBezTo>
                        <a:pt x="1233" y="215"/>
                        <a:pt x="1233" y="215"/>
                        <a:pt x="1233" y="215"/>
                      </a:cubicBezTo>
                      <a:cubicBezTo>
                        <a:pt x="1232" y="217"/>
                        <a:pt x="1232" y="217"/>
                        <a:pt x="1232" y="217"/>
                      </a:cubicBezTo>
                      <a:cubicBezTo>
                        <a:pt x="1230" y="216"/>
                        <a:pt x="1230" y="216"/>
                        <a:pt x="1230" y="216"/>
                      </a:cubicBezTo>
                      <a:cubicBezTo>
                        <a:pt x="1230" y="218"/>
                        <a:pt x="1230" y="218"/>
                        <a:pt x="1230" y="218"/>
                      </a:cubicBezTo>
                      <a:cubicBezTo>
                        <a:pt x="1231" y="219"/>
                        <a:pt x="1231" y="219"/>
                        <a:pt x="1231" y="219"/>
                      </a:cubicBezTo>
                      <a:cubicBezTo>
                        <a:pt x="1229" y="221"/>
                        <a:pt x="1229" y="221"/>
                        <a:pt x="1229" y="221"/>
                      </a:cubicBezTo>
                      <a:cubicBezTo>
                        <a:pt x="1227" y="222"/>
                        <a:pt x="1227" y="222"/>
                        <a:pt x="1227" y="222"/>
                      </a:cubicBezTo>
                      <a:cubicBezTo>
                        <a:pt x="1228" y="223"/>
                        <a:pt x="1228" y="223"/>
                        <a:pt x="1228" y="223"/>
                      </a:cubicBezTo>
                      <a:cubicBezTo>
                        <a:pt x="1228" y="224"/>
                        <a:pt x="1228" y="224"/>
                        <a:pt x="1228" y="224"/>
                      </a:cubicBezTo>
                      <a:cubicBezTo>
                        <a:pt x="1227" y="226"/>
                        <a:pt x="1227" y="226"/>
                        <a:pt x="1227" y="226"/>
                      </a:cubicBezTo>
                      <a:cubicBezTo>
                        <a:pt x="1226" y="225"/>
                        <a:pt x="1226" y="225"/>
                        <a:pt x="1226" y="225"/>
                      </a:cubicBezTo>
                      <a:cubicBezTo>
                        <a:pt x="1224" y="226"/>
                        <a:pt x="1224" y="226"/>
                        <a:pt x="1224" y="226"/>
                      </a:cubicBezTo>
                      <a:cubicBezTo>
                        <a:pt x="1225" y="227"/>
                        <a:pt x="1225" y="227"/>
                        <a:pt x="1225" y="227"/>
                      </a:cubicBezTo>
                      <a:cubicBezTo>
                        <a:pt x="1226" y="229"/>
                        <a:pt x="1226" y="229"/>
                        <a:pt x="1226" y="229"/>
                      </a:cubicBezTo>
                      <a:cubicBezTo>
                        <a:pt x="1224" y="230"/>
                        <a:pt x="1224" y="230"/>
                        <a:pt x="1224" y="230"/>
                      </a:cubicBezTo>
                      <a:cubicBezTo>
                        <a:pt x="1225" y="232"/>
                        <a:pt x="1225" y="232"/>
                        <a:pt x="1225" y="232"/>
                      </a:cubicBezTo>
                      <a:cubicBezTo>
                        <a:pt x="1224" y="233"/>
                        <a:pt x="1224" y="233"/>
                        <a:pt x="1224" y="233"/>
                      </a:cubicBezTo>
                      <a:cubicBezTo>
                        <a:pt x="1223" y="234"/>
                        <a:pt x="1223" y="234"/>
                        <a:pt x="1223" y="234"/>
                      </a:cubicBezTo>
                      <a:cubicBezTo>
                        <a:pt x="1222" y="233"/>
                        <a:pt x="1222" y="233"/>
                        <a:pt x="1222" y="233"/>
                      </a:cubicBezTo>
                      <a:cubicBezTo>
                        <a:pt x="1221" y="233"/>
                        <a:pt x="1221" y="233"/>
                        <a:pt x="1221" y="233"/>
                      </a:cubicBezTo>
                      <a:cubicBezTo>
                        <a:pt x="1222" y="235"/>
                        <a:pt x="1222" y="235"/>
                        <a:pt x="1222" y="235"/>
                      </a:cubicBezTo>
                      <a:cubicBezTo>
                        <a:pt x="1224" y="236"/>
                        <a:pt x="1224" y="236"/>
                        <a:pt x="1224" y="236"/>
                      </a:cubicBezTo>
                      <a:cubicBezTo>
                        <a:pt x="1223" y="238"/>
                        <a:pt x="1223" y="238"/>
                        <a:pt x="1223" y="238"/>
                      </a:cubicBezTo>
                      <a:cubicBezTo>
                        <a:pt x="1221" y="238"/>
                        <a:pt x="1221" y="238"/>
                        <a:pt x="1221" y="238"/>
                      </a:cubicBezTo>
                      <a:cubicBezTo>
                        <a:pt x="1221" y="239"/>
                        <a:pt x="1221" y="239"/>
                        <a:pt x="1221" y="239"/>
                      </a:cubicBezTo>
                      <a:cubicBezTo>
                        <a:pt x="1222" y="240"/>
                        <a:pt x="1222" y="240"/>
                        <a:pt x="1222" y="240"/>
                      </a:cubicBezTo>
                      <a:cubicBezTo>
                        <a:pt x="1223" y="243"/>
                        <a:pt x="1223" y="243"/>
                        <a:pt x="1223" y="243"/>
                      </a:cubicBezTo>
                      <a:cubicBezTo>
                        <a:pt x="1222" y="244"/>
                        <a:pt x="1222" y="244"/>
                        <a:pt x="1222" y="244"/>
                      </a:cubicBezTo>
                      <a:cubicBezTo>
                        <a:pt x="1223" y="246"/>
                        <a:pt x="1223" y="246"/>
                        <a:pt x="1223" y="246"/>
                      </a:cubicBezTo>
                      <a:cubicBezTo>
                        <a:pt x="1221" y="249"/>
                        <a:pt x="1221" y="249"/>
                        <a:pt x="1221" y="249"/>
                      </a:cubicBezTo>
                      <a:cubicBezTo>
                        <a:pt x="1221" y="250"/>
                        <a:pt x="1221" y="250"/>
                        <a:pt x="1221" y="250"/>
                      </a:cubicBezTo>
                      <a:cubicBezTo>
                        <a:pt x="1220" y="254"/>
                        <a:pt x="1220" y="254"/>
                        <a:pt x="1220" y="254"/>
                      </a:cubicBezTo>
                      <a:cubicBezTo>
                        <a:pt x="1219" y="258"/>
                        <a:pt x="1219" y="258"/>
                        <a:pt x="1219" y="258"/>
                      </a:cubicBezTo>
                      <a:cubicBezTo>
                        <a:pt x="1218" y="260"/>
                        <a:pt x="1218" y="260"/>
                        <a:pt x="1218" y="260"/>
                      </a:cubicBezTo>
                      <a:cubicBezTo>
                        <a:pt x="1218" y="262"/>
                        <a:pt x="1218" y="262"/>
                        <a:pt x="1218" y="262"/>
                      </a:cubicBezTo>
                      <a:cubicBezTo>
                        <a:pt x="1219" y="262"/>
                        <a:pt x="1219" y="262"/>
                        <a:pt x="1219" y="262"/>
                      </a:cubicBezTo>
                      <a:cubicBezTo>
                        <a:pt x="1220" y="263"/>
                        <a:pt x="1220" y="263"/>
                        <a:pt x="1220" y="263"/>
                      </a:cubicBezTo>
                      <a:cubicBezTo>
                        <a:pt x="1219" y="265"/>
                        <a:pt x="1219" y="265"/>
                        <a:pt x="1219" y="265"/>
                      </a:cubicBezTo>
                      <a:cubicBezTo>
                        <a:pt x="1222" y="268"/>
                        <a:pt x="1222" y="268"/>
                        <a:pt x="1222" y="268"/>
                      </a:cubicBezTo>
                      <a:cubicBezTo>
                        <a:pt x="1222" y="270"/>
                        <a:pt x="1222" y="270"/>
                        <a:pt x="1222" y="270"/>
                      </a:cubicBezTo>
                      <a:cubicBezTo>
                        <a:pt x="1221" y="270"/>
                        <a:pt x="1221" y="270"/>
                        <a:pt x="1221" y="270"/>
                      </a:cubicBezTo>
                      <a:cubicBezTo>
                        <a:pt x="1218" y="270"/>
                        <a:pt x="1218" y="270"/>
                        <a:pt x="1218" y="270"/>
                      </a:cubicBezTo>
                      <a:cubicBezTo>
                        <a:pt x="1217" y="268"/>
                        <a:pt x="1217" y="268"/>
                        <a:pt x="1217" y="268"/>
                      </a:cubicBezTo>
                      <a:cubicBezTo>
                        <a:pt x="1216" y="269"/>
                        <a:pt x="1216" y="269"/>
                        <a:pt x="1216" y="269"/>
                      </a:cubicBezTo>
                      <a:cubicBezTo>
                        <a:pt x="1213" y="266"/>
                        <a:pt x="1213" y="266"/>
                        <a:pt x="1213" y="266"/>
                      </a:cubicBezTo>
                      <a:cubicBezTo>
                        <a:pt x="1214" y="265"/>
                        <a:pt x="1214" y="265"/>
                        <a:pt x="1214" y="265"/>
                      </a:cubicBezTo>
                      <a:cubicBezTo>
                        <a:pt x="1213" y="265"/>
                        <a:pt x="1213" y="265"/>
                        <a:pt x="1213" y="265"/>
                      </a:cubicBezTo>
                      <a:cubicBezTo>
                        <a:pt x="1211" y="265"/>
                        <a:pt x="1211" y="265"/>
                        <a:pt x="1211" y="265"/>
                      </a:cubicBezTo>
                      <a:cubicBezTo>
                        <a:pt x="1210" y="265"/>
                        <a:pt x="1210" y="265"/>
                        <a:pt x="1210" y="265"/>
                      </a:cubicBezTo>
                      <a:cubicBezTo>
                        <a:pt x="1209" y="263"/>
                        <a:pt x="1209" y="263"/>
                        <a:pt x="1209" y="263"/>
                      </a:cubicBezTo>
                      <a:cubicBezTo>
                        <a:pt x="1204" y="260"/>
                        <a:pt x="1204" y="260"/>
                        <a:pt x="1204" y="260"/>
                      </a:cubicBezTo>
                      <a:cubicBezTo>
                        <a:pt x="1201" y="260"/>
                        <a:pt x="1201" y="260"/>
                        <a:pt x="1201" y="260"/>
                      </a:cubicBezTo>
                      <a:cubicBezTo>
                        <a:pt x="1198" y="262"/>
                        <a:pt x="1198" y="262"/>
                        <a:pt x="1198" y="262"/>
                      </a:cubicBezTo>
                      <a:cubicBezTo>
                        <a:pt x="1197" y="261"/>
                        <a:pt x="1197" y="261"/>
                        <a:pt x="1197" y="261"/>
                      </a:cubicBezTo>
                      <a:cubicBezTo>
                        <a:pt x="1195" y="262"/>
                        <a:pt x="1195" y="262"/>
                        <a:pt x="1195" y="262"/>
                      </a:cubicBezTo>
                      <a:cubicBezTo>
                        <a:pt x="1193" y="264"/>
                        <a:pt x="1193" y="264"/>
                        <a:pt x="1193" y="264"/>
                      </a:cubicBezTo>
                      <a:cubicBezTo>
                        <a:pt x="1191" y="264"/>
                        <a:pt x="1191" y="264"/>
                        <a:pt x="1191" y="264"/>
                      </a:cubicBezTo>
                      <a:cubicBezTo>
                        <a:pt x="1190" y="268"/>
                        <a:pt x="1190" y="268"/>
                        <a:pt x="1190" y="268"/>
                      </a:cubicBezTo>
                      <a:cubicBezTo>
                        <a:pt x="1189" y="269"/>
                        <a:pt x="1189" y="269"/>
                        <a:pt x="1189" y="269"/>
                      </a:cubicBezTo>
                      <a:cubicBezTo>
                        <a:pt x="1187" y="268"/>
                        <a:pt x="1187" y="268"/>
                        <a:pt x="1187" y="268"/>
                      </a:cubicBezTo>
                      <a:cubicBezTo>
                        <a:pt x="1188" y="271"/>
                        <a:pt x="1188" y="271"/>
                        <a:pt x="1188" y="271"/>
                      </a:cubicBezTo>
                      <a:cubicBezTo>
                        <a:pt x="1187" y="273"/>
                        <a:pt x="1187" y="273"/>
                        <a:pt x="1187" y="273"/>
                      </a:cubicBezTo>
                      <a:cubicBezTo>
                        <a:pt x="1188" y="275"/>
                        <a:pt x="1188" y="275"/>
                        <a:pt x="1188" y="275"/>
                      </a:cubicBezTo>
                      <a:cubicBezTo>
                        <a:pt x="1187" y="277"/>
                        <a:pt x="1187" y="277"/>
                        <a:pt x="1187" y="277"/>
                      </a:cubicBezTo>
                      <a:cubicBezTo>
                        <a:pt x="1186" y="282"/>
                        <a:pt x="1186" y="282"/>
                        <a:pt x="1186" y="282"/>
                      </a:cubicBezTo>
                      <a:cubicBezTo>
                        <a:pt x="1186" y="283"/>
                        <a:pt x="1186" y="283"/>
                        <a:pt x="1186" y="283"/>
                      </a:cubicBezTo>
                      <a:cubicBezTo>
                        <a:pt x="1184" y="281"/>
                        <a:pt x="1184" y="281"/>
                        <a:pt x="1184" y="281"/>
                      </a:cubicBezTo>
                      <a:cubicBezTo>
                        <a:pt x="1182" y="275"/>
                        <a:pt x="1182" y="275"/>
                        <a:pt x="1182" y="275"/>
                      </a:cubicBezTo>
                      <a:cubicBezTo>
                        <a:pt x="1182" y="272"/>
                        <a:pt x="1182" y="272"/>
                        <a:pt x="1182" y="272"/>
                      </a:cubicBezTo>
                      <a:cubicBezTo>
                        <a:pt x="1180" y="271"/>
                        <a:pt x="1180" y="271"/>
                        <a:pt x="1180" y="271"/>
                      </a:cubicBezTo>
                      <a:cubicBezTo>
                        <a:pt x="1179" y="270"/>
                        <a:pt x="1179" y="270"/>
                        <a:pt x="1179" y="270"/>
                      </a:cubicBezTo>
                      <a:cubicBezTo>
                        <a:pt x="1178" y="272"/>
                        <a:pt x="1178" y="272"/>
                        <a:pt x="1178" y="272"/>
                      </a:cubicBezTo>
                      <a:cubicBezTo>
                        <a:pt x="1176" y="276"/>
                        <a:pt x="1176" y="276"/>
                        <a:pt x="1176" y="276"/>
                      </a:cubicBezTo>
                      <a:cubicBezTo>
                        <a:pt x="1174" y="277"/>
                        <a:pt x="1174" y="277"/>
                        <a:pt x="1174" y="277"/>
                      </a:cubicBezTo>
                      <a:cubicBezTo>
                        <a:pt x="1174" y="279"/>
                        <a:pt x="1174" y="279"/>
                        <a:pt x="1174" y="279"/>
                      </a:cubicBezTo>
                      <a:cubicBezTo>
                        <a:pt x="1176" y="280"/>
                        <a:pt x="1176" y="280"/>
                        <a:pt x="1176" y="280"/>
                      </a:cubicBezTo>
                      <a:cubicBezTo>
                        <a:pt x="1174" y="284"/>
                        <a:pt x="1174" y="284"/>
                        <a:pt x="1174" y="284"/>
                      </a:cubicBezTo>
                      <a:cubicBezTo>
                        <a:pt x="1173" y="282"/>
                        <a:pt x="1173" y="282"/>
                        <a:pt x="1173" y="282"/>
                      </a:cubicBezTo>
                      <a:cubicBezTo>
                        <a:pt x="1172" y="282"/>
                        <a:pt x="1172" y="282"/>
                        <a:pt x="1172" y="282"/>
                      </a:cubicBezTo>
                      <a:cubicBezTo>
                        <a:pt x="1171" y="280"/>
                        <a:pt x="1171" y="280"/>
                        <a:pt x="1171" y="280"/>
                      </a:cubicBezTo>
                      <a:cubicBezTo>
                        <a:pt x="1169" y="281"/>
                        <a:pt x="1169" y="281"/>
                        <a:pt x="1169" y="281"/>
                      </a:cubicBezTo>
                      <a:cubicBezTo>
                        <a:pt x="1168" y="284"/>
                        <a:pt x="1168" y="284"/>
                        <a:pt x="1168" y="284"/>
                      </a:cubicBezTo>
                      <a:cubicBezTo>
                        <a:pt x="1167" y="284"/>
                        <a:pt x="1167" y="284"/>
                        <a:pt x="1167" y="284"/>
                      </a:cubicBezTo>
                      <a:cubicBezTo>
                        <a:pt x="1165" y="283"/>
                        <a:pt x="1165" y="283"/>
                        <a:pt x="1165" y="283"/>
                      </a:cubicBezTo>
                      <a:cubicBezTo>
                        <a:pt x="1164" y="283"/>
                        <a:pt x="1164" y="283"/>
                        <a:pt x="1164" y="283"/>
                      </a:cubicBezTo>
                      <a:cubicBezTo>
                        <a:pt x="1164" y="284"/>
                        <a:pt x="1164" y="284"/>
                        <a:pt x="1164" y="284"/>
                      </a:cubicBezTo>
                      <a:cubicBezTo>
                        <a:pt x="1165" y="286"/>
                        <a:pt x="1165" y="286"/>
                        <a:pt x="1165" y="286"/>
                      </a:cubicBezTo>
                      <a:cubicBezTo>
                        <a:pt x="1164" y="287"/>
                        <a:pt x="1164" y="287"/>
                        <a:pt x="1164" y="287"/>
                      </a:cubicBezTo>
                      <a:cubicBezTo>
                        <a:pt x="1163" y="288"/>
                        <a:pt x="1163" y="288"/>
                        <a:pt x="1163" y="288"/>
                      </a:cubicBezTo>
                      <a:cubicBezTo>
                        <a:pt x="1163" y="290"/>
                        <a:pt x="1163" y="290"/>
                        <a:pt x="1163" y="290"/>
                      </a:cubicBezTo>
                      <a:cubicBezTo>
                        <a:pt x="1165" y="292"/>
                        <a:pt x="1165" y="292"/>
                        <a:pt x="1165" y="292"/>
                      </a:cubicBezTo>
                      <a:cubicBezTo>
                        <a:pt x="1165" y="295"/>
                        <a:pt x="1165" y="295"/>
                        <a:pt x="1165" y="295"/>
                      </a:cubicBezTo>
                      <a:cubicBezTo>
                        <a:pt x="1164" y="295"/>
                        <a:pt x="1164" y="295"/>
                        <a:pt x="1164" y="295"/>
                      </a:cubicBezTo>
                      <a:cubicBezTo>
                        <a:pt x="1165" y="296"/>
                        <a:pt x="1165" y="296"/>
                        <a:pt x="1165" y="296"/>
                      </a:cubicBezTo>
                      <a:cubicBezTo>
                        <a:pt x="1167" y="297"/>
                        <a:pt x="1167" y="297"/>
                        <a:pt x="1167" y="297"/>
                      </a:cubicBezTo>
                      <a:cubicBezTo>
                        <a:pt x="1168" y="298"/>
                        <a:pt x="1168" y="298"/>
                        <a:pt x="1168" y="298"/>
                      </a:cubicBezTo>
                      <a:cubicBezTo>
                        <a:pt x="1169" y="300"/>
                        <a:pt x="1169" y="300"/>
                        <a:pt x="1169" y="300"/>
                      </a:cubicBezTo>
                      <a:cubicBezTo>
                        <a:pt x="1168" y="300"/>
                        <a:pt x="1168" y="300"/>
                        <a:pt x="1168" y="300"/>
                      </a:cubicBezTo>
                      <a:cubicBezTo>
                        <a:pt x="1167" y="301"/>
                        <a:pt x="1167" y="301"/>
                        <a:pt x="1167" y="301"/>
                      </a:cubicBezTo>
                      <a:cubicBezTo>
                        <a:pt x="1169" y="302"/>
                        <a:pt x="1169" y="302"/>
                        <a:pt x="1169" y="302"/>
                      </a:cubicBezTo>
                      <a:cubicBezTo>
                        <a:pt x="1170" y="304"/>
                        <a:pt x="1170" y="304"/>
                        <a:pt x="1170" y="304"/>
                      </a:cubicBezTo>
                      <a:cubicBezTo>
                        <a:pt x="1170" y="305"/>
                        <a:pt x="1170" y="305"/>
                        <a:pt x="1170" y="305"/>
                      </a:cubicBezTo>
                      <a:cubicBezTo>
                        <a:pt x="1168" y="303"/>
                        <a:pt x="1168" y="303"/>
                        <a:pt x="1168" y="303"/>
                      </a:cubicBezTo>
                      <a:cubicBezTo>
                        <a:pt x="1167" y="304"/>
                        <a:pt x="1167" y="304"/>
                        <a:pt x="1167" y="304"/>
                      </a:cubicBezTo>
                      <a:cubicBezTo>
                        <a:pt x="1167" y="305"/>
                        <a:pt x="1167" y="305"/>
                        <a:pt x="1167" y="305"/>
                      </a:cubicBezTo>
                      <a:cubicBezTo>
                        <a:pt x="1169" y="307"/>
                        <a:pt x="1169" y="307"/>
                        <a:pt x="1169" y="307"/>
                      </a:cubicBezTo>
                      <a:cubicBezTo>
                        <a:pt x="1170" y="306"/>
                        <a:pt x="1170" y="306"/>
                        <a:pt x="1170" y="306"/>
                      </a:cubicBezTo>
                      <a:cubicBezTo>
                        <a:pt x="1170" y="308"/>
                        <a:pt x="1170" y="308"/>
                        <a:pt x="1170" y="308"/>
                      </a:cubicBezTo>
                      <a:cubicBezTo>
                        <a:pt x="1169" y="310"/>
                        <a:pt x="1169" y="310"/>
                        <a:pt x="1169" y="310"/>
                      </a:cubicBezTo>
                      <a:cubicBezTo>
                        <a:pt x="1169" y="312"/>
                        <a:pt x="1169" y="312"/>
                        <a:pt x="1169" y="312"/>
                      </a:cubicBezTo>
                      <a:cubicBezTo>
                        <a:pt x="1168" y="314"/>
                        <a:pt x="1168" y="314"/>
                        <a:pt x="1168" y="314"/>
                      </a:cubicBezTo>
                      <a:cubicBezTo>
                        <a:pt x="1169" y="317"/>
                        <a:pt x="1169" y="317"/>
                        <a:pt x="1169" y="317"/>
                      </a:cubicBezTo>
                      <a:cubicBezTo>
                        <a:pt x="1169" y="318"/>
                        <a:pt x="1169" y="318"/>
                        <a:pt x="1169" y="318"/>
                      </a:cubicBezTo>
                      <a:cubicBezTo>
                        <a:pt x="1170" y="320"/>
                        <a:pt x="1170" y="320"/>
                        <a:pt x="1170" y="320"/>
                      </a:cubicBezTo>
                      <a:cubicBezTo>
                        <a:pt x="1169" y="321"/>
                        <a:pt x="1169" y="321"/>
                        <a:pt x="1169" y="321"/>
                      </a:cubicBezTo>
                      <a:cubicBezTo>
                        <a:pt x="1169" y="323"/>
                        <a:pt x="1169" y="323"/>
                        <a:pt x="1169" y="323"/>
                      </a:cubicBezTo>
                      <a:cubicBezTo>
                        <a:pt x="1171" y="327"/>
                        <a:pt x="1171" y="327"/>
                        <a:pt x="1171" y="327"/>
                      </a:cubicBezTo>
                      <a:cubicBezTo>
                        <a:pt x="1170" y="328"/>
                        <a:pt x="1170" y="328"/>
                        <a:pt x="1170" y="328"/>
                      </a:cubicBezTo>
                      <a:cubicBezTo>
                        <a:pt x="1172" y="329"/>
                        <a:pt x="1172" y="329"/>
                        <a:pt x="1172" y="329"/>
                      </a:cubicBezTo>
                      <a:cubicBezTo>
                        <a:pt x="1174" y="331"/>
                        <a:pt x="1174" y="331"/>
                        <a:pt x="1174" y="331"/>
                      </a:cubicBezTo>
                      <a:cubicBezTo>
                        <a:pt x="1176" y="334"/>
                        <a:pt x="1176" y="334"/>
                        <a:pt x="1176" y="334"/>
                      </a:cubicBezTo>
                      <a:cubicBezTo>
                        <a:pt x="1178" y="335"/>
                        <a:pt x="1178" y="335"/>
                        <a:pt x="1178" y="335"/>
                      </a:cubicBezTo>
                      <a:cubicBezTo>
                        <a:pt x="1179" y="335"/>
                        <a:pt x="1179" y="335"/>
                        <a:pt x="1179" y="335"/>
                      </a:cubicBezTo>
                      <a:cubicBezTo>
                        <a:pt x="1180" y="333"/>
                        <a:pt x="1180" y="333"/>
                        <a:pt x="1180" y="333"/>
                      </a:cubicBezTo>
                      <a:cubicBezTo>
                        <a:pt x="1177" y="330"/>
                        <a:pt x="1177" y="330"/>
                        <a:pt x="1177" y="330"/>
                      </a:cubicBezTo>
                      <a:cubicBezTo>
                        <a:pt x="1177" y="329"/>
                        <a:pt x="1177" y="329"/>
                        <a:pt x="1177" y="329"/>
                      </a:cubicBezTo>
                      <a:cubicBezTo>
                        <a:pt x="1178" y="328"/>
                        <a:pt x="1178" y="328"/>
                        <a:pt x="1178" y="328"/>
                      </a:cubicBezTo>
                      <a:cubicBezTo>
                        <a:pt x="1180" y="328"/>
                        <a:pt x="1180" y="328"/>
                        <a:pt x="1180" y="328"/>
                      </a:cubicBezTo>
                      <a:cubicBezTo>
                        <a:pt x="1184" y="330"/>
                        <a:pt x="1184" y="330"/>
                        <a:pt x="1184" y="330"/>
                      </a:cubicBezTo>
                      <a:cubicBezTo>
                        <a:pt x="1185" y="330"/>
                        <a:pt x="1185" y="330"/>
                        <a:pt x="1185" y="330"/>
                      </a:cubicBezTo>
                      <a:cubicBezTo>
                        <a:pt x="1187" y="331"/>
                        <a:pt x="1187" y="331"/>
                        <a:pt x="1187" y="331"/>
                      </a:cubicBezTo>
                      <a:cubicBezTo>
                        <a:pt x="1187" y="332"/>
                        <a:pt x="1187" y="332"/>
                        <a:pt x="1187" y="332"/>
                      </a:cubicBezTo>
                      <a:cubicBezTo>
                        <a:pt x="1186" y="334"/>
                        <a:pt x="1186" y="334"/>
                        <a:pt x="1186" y="334"/>
                      </a:cubicBezTo>
                      <a:cubicBezTo>
                        <a:pt x="1188" y="335"/>
                        <a:pt x="1188" y="335"/>
                        <a:pt x="1188" y="335"/>
                      </a:cubicBezTo>
                      <a:cubicBezTo>
                        <a:pt x="1186" y="337"/>
                        <a:pt x="1186" y="337"/>
                        <a:pt x="1186" y="337"/>
                      </a:cubicBezTo>
                      <a:cubicBezTo>
                        <a:pt x="1187" y="339"/>
                        <a:pt x="1187" y="339"/>
                        <a:pt x="1187" y="339"/>
                      </a:cubicBezTo>
                      <a:cubicBezTo>
                        <a:pt x="1186" y="339"/>
                        <a:pt x="1186" y="339"/>
                        <a:pt x="1186" y="339"/>
                      </a:cubicBezTo>
                      <a:cubicBezTo>
                        <a:pt x="1185" y="341"/>
                        <a:pt x="1185" y="341"/>
                        <a:pt x="1185" y="341"/>
                      </a:cubicBezTo>
                      <a:cubicBezTo>
                        <a:pt x="1187" y="345"/>
                        <a:pt x="1187" y="345"/>
                        <a:pt x="1187" y="345"/>
                      </a:cubicBezTo>
                      <a:cubicBezTo>
                        <a:pt x="1188" y="347"/>
                        <a:pt x="1188" y="347"/>
                        <a:pt x="1188" y="347"/>
                      </a:cubicBezTo>
                      <a:cubicBezTo>
                        <a:pt x="1188" y="350"/>
                        <a:pt x="1188" y="350"/>
                        <a:pt x="1188" y="350"/>
                      </a:cubicBezTo>
                      <a:cubicBezTo>
                        <a:pt x="1190" y="352"/>
                        <a:pt x="1190" y="352"/>
                        <a:pt x="1190" y="352"/>
                      </a:cubicBezTo>
                      <a:cubicBezTo>
                        <a:pt x="1191" y="351"/>
                        <a:pt x="1191" y="351"/>
                        <a:pt x="1191" y="351"/>
                      </a:cubicBezTo>
                      <a:cubicBezTo>
                        <a:pt x="1191" y="350"/>
                        <a:pt x="1191" y="350"/>
                        <a:pt x="1191" y="350"/>
                      </a:cubicBezTo>
                      <a:cubicBezTo>
                        <a:pt x="1192" y="349"/>
                        <a:pt x="1192" y="349"/>
                        <a:pt x="1192" y="349"/>
                      </a:cubicBezTo>
                      <a:cubicBezTo>
                        <a:pt x="1193" y="348"/>
                        <a:pt x="1193" y="348"/>
                        <a:pt x="1193" y="348"/>
                      </a:cubicBezTo>
                      <a:cubicBezTo>
                        <a:pt x="1193" y="348"/>
                        <a:pt x="1193" y="348"/>
                        <a:pt x="1193" y="348"/>
                      </a:cubicBezTo>
                      <a:cubicBezTo>
                        <a:pt x="1196" y="350"/>
                        <a:pt x="1196" y="350"/>
                        <a:pt x="1196" y="350"/>
                      </a:cubicBezTo>
                      <a:cubicBezTo>
                        <a:pt x="1195" y="354"/>
                        <a:pt x="1195" y="354"/>
                        <a:pt x="1195" y="354"/>
                      </a:cubicBezTo>
                      <a:cubicBezTo>
                        <a:pt x="1200" y="358"/>
                        <a:pt x="1200" y="358"/>
                        <a:pt x="1200" y="358"/>
                      </a:cubicBezTo>
                      <a:cubicBezTo>
                        <a:pt x="1201" y="361"/>
                        <a:pt x="1201" y="361"/>
                        <a:pt x="1201" y="361"/>
                      </a:cubicBezTo>
                      <a:cubicBezTo>
                        <a:pt x="1200" y="362"/>
                        <a:pt x="1200" y="362"/>
                        <a:pt x="1200" y="362"/>
                      </a:cubicBezTo>
                      <a:cubicBezTo>
                        <a:pt x="1200" y="365"/>
                        <a:pt x="1200" y="365"/>
                        <a:pt x="1200" y="365"/>
                      </a:cubicBezTo>
                      <a:cubicBezTo>
                        <a:pt x="1199" y="366"/>
                        <a:pt x="1199" y="366"/>
                        <a:pt x="1199" y="366"/>
                      </a:cubicBezTo>
                      <a:cubicBezTo>
                        <a:pt x="1196" y="364"/>
                        <a:pt x="1196" y="364"/>
                        <a:pt x="1196" y="364"/>
                      </a:cubicBezTo>
                      <a:cubicBezTo>
                        <a:pt x="1194" y="363"/>
                        <a:pt x="1194" y="363"/>
                        <a:pt x="1194" y="363"/>
                      </a:cubicBezTo>
                      <a:cubicBezTo>
                        <a:pt x="1193" y="360"/>
                        <a:pt x="1193" y="360"/>
                        <a:pt x="1193" y="360"/>
                      </a:cubicBezTo>
                      <a:cubicBezTo>
                        <a:pt x="1194" y="358"/>
                        <a:pt x="1194" y="358"/>
                        <a:pt x="1194" y="358"/>
                      </a:cubicBezTo>
                      <a:cubicBezTo>
                        <a:pt x="1194" y="355"/>
                        <a:pt x="1194" y="355"/>
                        <a:pt x="1194" y="355"/>
                      </a:cubicBezTo>
                      <a:cubicBezTo>
                        <a:pt x="1194" y="353"/>
                        <a:pt x="1194" y="353"/>
                        <a:pt x="1194" y="353"/>
                      </a:cubicBezTo>
                      <a:cubicBezTo>
                        <a:pt x="1193" y="355"/>
                        <a:pt x="1193" y="355"/>
                        <a:pt x="1193" y="355"/>
                      </a:cubicBezTo>
                      <a:cubicBezTo>
                        <a:pt x="1193" y="355"/>
                        <a:pt x="1193" y="355"/>
                        <a:pt x="1193" y="355"/>
                      </a:cubicBezTo>
                      <a:cubicBezTo>
                        <a:pt x="1193" y="357"/>
                        <a:pt x="1193" y="357"/>
                        <a:pt x="1193" y="357"/>
                      </a:cubicBezTo>
                      <a:cubicBezTo>
                        <a:pt x="1191" y="357"/>
                        <a:pt x="1191" y="357"/>
                        <a:pt x="1191" y="357"/>
                      </a:cubicBezTo>
                      <a:cubicBezTo>
                        <a:pt x="1190" y="360"/>
                        <a:pt x="1190" y="360"/>
                        <a:pt x="1190" y="360"/>
                      </a:cubicBezTo>
                      <a:cubicBezTo>
                        <a:pt x="1190" y="361"/>
                        <a:pt x="1190" y="361"/>
                        <a:pt x="1190" y="361"/>
                      </a:cubicBezTo>
                      <a:cubicBezTo>
                        <a:pt x="1192" y="361"/>
                        <a:pt x="1192" y="361"/>
                        <a:pt x="1192" y="361"/>
                      </a:cubicBezTo>
                      <a:cubicBezTo>
                        <a:pt x="1192" y="363"/>
                        <a:pt x="1192" y="363"/>
                        <a:pt x="1192" y="363"/>
                      </a:cubicBezTo>
                      <a:cubicBezTo>
                        <a:pt x="1191" y="365"/>
                        <a:pt x="1191" y="365"/>
                        <a:pt x="1191" y="365"/>
                      </a:cubicBezTo>
                      <a:cubicBezTo>
                        <a:pt x="1192" y="368"/>
                        <a:pt x="1192" y="368"/>
                        <a:pt x="1192" y="368"/>
                      </a:cubicBezTo>
                      <a:cubicBezTo>
                        <a:pt x="1191" y="369"/>
                        <a:pt x="1191" y="369"/>
                        <a:pt x="1191" y="369"/>
                      </a:cubicBezTo>
                      <a:cubicBezTo>
                        <a:pt x="1192" y="376"/>
                        <a:pt x="1192" y="376"/>
                        <a:pt x="1192" y="376"/>
                      </a:cubicBezTo>
                      <a:cubicBezTo>
                        <a:pt x="1193" y="377"/>
                        <a:pt x="1193" y="377"/>
                        <a:pt x="1193" y="377"/>
                      </a:cubicBezTo>
                      <a:cubicBezTo>
                        <a:pt x="1193" y="379"/>
                        <a:pt x="1193" y="379"/>
                        <a:pt x="1193" y="379"/>
                      </a:cubicBezTo>
                      <a:cubicBezTo>
                        <a:pt x="1198" y="387"/>
                        <a:pt x="1198" y="387"/>
                        <a:pt x="1198" y="387"/>
                      </a:cubicBezTo>
                      <a:cubicBezTo>
                        <a:pt x="1199" y="387"/>
                        <a:pt x="1199" y="387"/>
                        <a:pt x="1199" y="387"/>
                      </a:cubicBezTo>
                      <a:cubicBezTo>
                        <a:pt x="1203" y="391"/>
                        <a:pt x="1203" y="391"/>
                        <a:pt x="1203" y="391"/>
                      </a:cubicBezTo>
                      <a:cubicBezTo>
                        <a:pt x="1205" y="393"/>
                        <a:pt x="1205" y="393"/>
                        <a:pt x="1205" y="393"/>
                      </a:cubicBezTo>
                      <a:cubicBezTo>
                        <a:pt x="1203" y="394"/>
                        <a:pt x="1203" y="394"/>
                        <a:pt x="1203" y="394"/>
                      </a:cubicBezTo>
                      <a:cubicBezTo>
                        <a:pt x="1204" y="397"/>
                        <a:pt x="1204" y="397"/>
                        <a:pt x="1204" y="397"/>
                      </a:cubicBezTo>
                      <a:cubicBezTo>
                        <a:pt x="1198" y="399"/>
                        <a:pt x="1198" y="399"/>
                        <a:pt x="1198" y="399"/>
                      </a:cubicBezTo>
                      <a:cubicBezTo>
                        <a:pt x="1198" y="398"/>
                        <a:pt x="1198" y="398"/>
                        <a:pt x="1198" y="398"/>
                      </a:cubicBezTo>
                      <a:cubicBezTo>
                        <a:pt x="1194" y="400"/>
                        <a:pt x="1194" y="400"/>
                        <a:pt x="1194" y="400"/>
                      </a:cubicBezTo>
                      <a:cubicBezTo>
                        <a:pt x="1193" y="400"/>
                        <a:pt x="1193" y="400"/>
                        <a:pt x="1193" y="400"/>
                      </a:cubicBezTo>
                      <a:cubicBezTo>
                        <a:pt x="1194" y="401"/>
                        <a:pt x="1194" y="401"/>
                        <a:pt x="1194" y="401"/>
                      </a:cubicBezTo>
                      <a:cubicBezTo>
                        <a:pt x="1192" y="404"/>
                        <a:pt x="1192" y="404"/>
                        <a:pt x="1192" y="404"/>
                      </a:cubicBezTo>
                      <a:cubicBezTo>
                        <a:pt x="1192" y="407"/>
                        <a:pt x="1192" y="407"/>
                        <a:pt x="1192" y="407"/>
                      </a:cubicBezTo>
                      <a:cubicBezTo>
                        <a:pt x="1190" y="408"/>
                        <a:pt x="1190" y="408"/>
                        <a:pt x="1190" y="408"/>
                      </a:cubicBezTo>
                      <a:cubicBezTo>
                        <a:pt x="1192" y="410"/>
                        <a:pt x="1192" y="410"/>
                        <a:pt x="1192" y="410"/>
                      </a:cubicBezTo>
                      <a:cubicBezTo>
                        <a:pt x="1191" y="415"/>
                        <a:pt x="1191" y="415"/>
                        <a:pt x="1191" y="415"/>
                      </a:cubicBezTo>
                      <a:cubicBezTo>
                        <a:pt x="1193" y="421"/>
                        <a:pt x="1193" y="421"/>
                        <a:pt x="1193" y="421"/>
                      </a:cubicBezTo>
                      <a:cubicBezTo>
                        <a:pt x="1195" y="422"/>
                        <a:pt x="1195" y="422"/>
                        <a:pt x="1195" y="422"/>
                      </a:cubicBezTo>
                      <a:cubicBezTo>
                        <a:pt x="1195" y="425"/>
                        <a:pt x="1195" y="425"/>
                        <a:pt x="1195" y="425"/>
                      </a:cubicBezTo>
                      <a:cubicBezTo>
                        <a:pt x="1198" y="426"/>
                        <a:pt x="1198" y="426"/>
                        <a:pt x="1198" y="426"/>
                      </a:cubicBezTo>
                      <a:cubicBezTo>
                        <a:pt x="1199" y="428"/>
                        <a:pt x="1199" y="428"/>
                        <a:pt x="1199" y="428"/>
                      </a:cubicBezTo>
                      <a:cubicBezTo>
                        <a:pt x="1197" y="428"/>
                        <a:pt x="1197" y="428"/>
                        <a:pt x="1197" y="428"/>
                      </a:cubicBezTo>
                      <a:cubicBezTo>
                        <a:pt x="1196" y="427"/>
                        <a:pt x="1196" y="427"/>
                        <a:pt x="1196" y="427"/>
                      </a:cubicBezTo>
                      <a:cubicBezTo>
                        <a:pt x="1195" y="428"/>
                        <a:pt x="1195" y="428"/>
                        <a:pt x="1195" y="428"/>
                      </a:cubicBezTo>
                      <a:cubicBezTo>
                        <a:pt x="1193" y="430"/>
                        <a:pt x="1193" y="430"/>
                        <a:pt x="1193" y="430"/>
                      </a:cubicBezTo>
                      <a:cubicBezTo>
                        <a:pt x="1192" y="430"/>
                        <a:pt x="1192" y="430"/>
                        <a:pt x="1192" y="430"/>
                      </a:cubicBezTo>
                      <a:cubicBezTo>
                        <a:pt x="1189" y="432"/>
                        <a:pt x="1189" y="432"/>
                        <a:pt x="1189" y="432"/>
                      </a:cubicBezTo>
                      <a:cubicBezTo>
                        <a:pt x="1187" y="431"/>
                        <a:pt x="1187" y="431"/>
                        <a:pt x="1187" y="431"/>
                      </a:cubicBezTo>
                      <a:cubicBezTo>
                        <a:pt x="1186" y="433"/>
                        <a:pt x="1186" y="433"/>
                        <a:pt x="1186" y="433"/>
                      </a:cubicBezTo>
                      <a:cubicBezTo>
                        <a:pt x="1187" y="434"/>
                        <a:pt x="1187" y="434"/>
                        <a:pt x="1187" y="434"/>
                      </a:cubicBezTo>
                      <a:cubicBezTo>
                        <a:pt x="1189" y="433"/>
                        <a:pt x="1189" y="433"/>
                        <a:pt x="1189" y="433"/>
                      </a:cubicBezTo>
                      <a:cubicBezTo>
                        <a:pt x="1188" y="436"/>
                        <a:pt x="1188" y="436"/>
                        <a:pt x="1188" y="436"/>
                      </a:cubicBezTo>
                      <a:cubicBezTo>
                        <a:pt x="1188" y="437"/>
                        <a:pt x="1188" y="437"/>
                        <a:pt x="1188" y="437"/>
                      </a:cubicBezTo>
                      <a:cubicBezTo>
                        <a:pt x="1190" y="439"/>
                        <a:pt x="1190" y="439"/>
                        <a:pt x="1190" y="439"/>
                      </a:cubicBezTo>
                      <a:cubicBezTo>
                        <a:pt x="1189" y="440"/>
                        <a:pt x="1189" y="440"/>
                        <a:pt x="1189" y="440"/>
                      </a:cubicBezTo>
                      <a:cubicBezTo>
                        <a:pt x="1188" y="439"/>
                        <a:pt x="1188" y="439"/>
                        <a:pt x="1188" y="439"/>
                      </a:cubicBezTo>
                      <a:cubicBezTo>
                        <a:pt x="1189" y="442"/>
                        <a:pt x="1189" y="442"/>
                        <a:pt x="1189" y="442"/>
                      </a:cubicBezTo>
                      <a:cubicBezTo>
                        <a:pt x="1189" y="444"/>
                        <a:pt x="1189" y="444"/>
                        <a:pt x="1189" y="444"/>
                      </a:cubicBezTo>
                      <a:cubicBezTo>
                        <a:pt x="1190" y="444"/>
                        <a:pt x="1190" y="444"/>
                        <a:pt x="1190" y="444"/>
                      </a:cubicBezTo>
                      <a:cubicBezTo>
                        <a:pt x="1191" y="444"/>
                        <a:pt x="1191" y="444"/>
                        <a:pt x="1191" y="444"/>
                      </a:cubicBezTo>
                      <a:cubicBezTo>
                        <a:pt x="1193" y="445"/>
                        <a:pt x="1193" y="445"/>
                        <a:pt x="1193" y="445"/>
                      </a:cubicBezTo>
                      <a:cubicBezTo>
                        <a:pt x="1191" y="447"/>
                        <a:pt x="1191" y="447"/>
                        <a:pt x="1191" y="447"/>
                      </a:cubicBezTo>
                      <a:cubicBezTo>
                        <a:pt x="1191" y="450"/>
                        <a:pt x="1191" y="450"/>
                        <a:pt x="1191" y="450"/>
                      </a:cubicBezTo>
                      <a:cubicBezTo>
                        <a:pt x="1192" y="452"/>
                        <a:pt x="1192" y="452"/>
                        <a:pt x="1192" y="452"/>
                      </a:cubicBezTo>
                      <a:cubicBezTo>
                        <a:pt x="1191" y="456"/>
                        <a:pt x="1191" y="456"/>
                        <a:pt x="1191" y="456"/>
                      </a:cubicBezTo>
                      <a:cubicBezTo>
                        <a:pt x="1191" y="458"/>
                        <a:pt x="1191" y="458"/>
                        <a:pt x="1191" y="458"/>
                      </a:cubicBezTo>
                      <a:cubicBezTo>
                        <a:pt x="1191" y="458"/>
                        <a:pt x="1191" y="458"/>
                        <a:pt x="1191" y="458"/>
                      </a:cubicBezTo>
                      <a:cubicBezTo>
                        <a:pt x="1191" y="460"/>
                        <a:pt x="1191" y="460"/>
                        <a:pt x="1191" y="460"/>
                      </a:cubicBezTo>
                      <a:cubicBezTo>
                        <a:pt x="1188" y="462"/>
                        <a:pt x="1188" y="462"/>
                        <a:pt x="1188" y="462"/>
                      </a:cubicBezTo>
                      <a:cubicBezTo>
                        <a:pt x="1188" y="464"/>
                        <a:pt x="1188" y="464"/>
                        <a:pt x="1188" y="464"/>
                      </a:cubicBezTo>
                      <a:cubicBezTo>
                        <a:pt x="1187" y="465"/>
                        <a:pt x="1187" y="465"/>
                        <a:pt x="1187" y="465"/>
                      </a:cubicBezTo>
                      <a:cubicBezTo>
                        <a:pt x="1186" y="469"/>
                        <a:pt x="1186" y="469"/>
                        <a:pt x="1186" y="469"/>
                      </a:cubicBezTo>
                      <a:cubicBezTo>
                        <a:pt x="1184" y="474"/>
                        <a:pt x="1184" y="474"/>
                        <a:pt x="1184" y="474"/>
                      </a:cubicBezTo>
                      <a:cubicBezTo>
                        <a:pt x="1185" y="472"/>
                        <a:pt x="1185" y="472"/>
                        <a:pt x="1185" y="472"/>
                      </a:cubicBezTo>
                      <a:cubicBezTo>
                        <a:pt x="1184" y="470"/>
                        <a:pt x="1184" y="470"/>
                        <a:pt x="1184" y="470"/>
                      </a:cubicBezTo>
                      <a:cubicBezTo>
                        <a:pt x="1184" y="468"/>
                        <a:pt x="1184" y="468"/>
                        <a:pt x="1184" y="468"/>
                      </a:cubicBezTo>
                      <a:cubicBezTo>
                        <a:pt x="1184" y="467"/>
                        <a:pt x="1184" y="467"/>
                        <a:pt x="1184" y="467"/>
                      </a:cubicBezTo>
                      <a:cubicBezTo>
                        <a:pt x="1180" y="466"/>
                        <a:pt x="1180" y="466"/>
                        <a:pt x="1180" y="466"/>
                      </a:cubicBezTo>
                      <a:cubicBezTo>
                        <a:pt x="1178" y="463"/>
                        <a:pt x="1178" y="463"/>
                        <a:pt x="1178" y="463"/>
                      </a:cubicBezTo>
                      <a:cubicBezTo>
                        <a:pt x="1177" y="460"/>
                        <a:pt x="1177" y="460"/>
                        <a:pt x="1177" y="460"/>
                      </a:cubicBezTo>
                      <a:cubicBezTo>
                        <a:pt x="1174" y="451"/>
                        <a:pt x="1174" y="451"/>
                        <a:pt x="1174" y="451"/>
                      </a:cubicBezTo>
                      <a:cubicBezTo>
                        <a:pt x="1171" y="447"/>
                        <a:pt x="1171" y="447"/>
                        <a:pt x="1171" y="447"/>
                      </a:cubicBezTo>
                      <a:cubicBezTo>
                        <a:pt x="1173" y="447"/>
                        <a:pt x="1173" y="447"/>
                        <a:pt x="1173" y="447"/>
                      </a:cubicBezTo>
                      <a:cubicBezTo>
                        <a:pt x="1174" y="446"/>
                        <a:pt x="1174" y="446"/>
                        <a:pt x="1174" y="446"/>
                      </a:cubicBezTo>
                      <a:cubicBezTo>
                        <a:pt x="1175" y="445"/>
                        <a:pt x="1175" y="445"/>
                        <a:pt x="1175" y="445"/>
                      </a:cubicBezTo>
                      <a:cubicBezTo>
                        <a:pt x="1173" y="445"/>
                        <a:pt x="1173" y="445"/>
                        <a:pt x="1173" y="445"/>
                      </a:cubicBezTo>
                      <a:cubicBezTo>
                        <a:pt x="1171" y="445"/>
                        <a:pt x="1171" y="445"/>
                        <a:pt x="1171" y="445"/>
                      </a:cubicBezTo>
                      <a:cubicBezTo>
                        <a:pt x="1167" y="444"/>
                        <a:pt x="1167" y="444"/>
                        <a:pt x="1167" y="444"/>
                      </a:cubicBezTo>
                      <a:cubicBezTo>
                        <a:pt x="1160" y="430"/>
                        <a:pt x="1160" y="430"/>
                        <a:pt x="1160" y="430"/>
                      </a:cubicBezTo>
                      <a:cubicBezTo>
                        <a:pt x="1153" y="422"/>
                        <a:pt x="1153" y="422"/>
                        <a:pt x="1153" y="422"/>
                      </a:cubicBezTo>
                      <a:cubicBezTo>
                        <a:pt x="1153" y="419"/>
                        <a:pt x="1153" y="419"/>
                        <a:pt x="1153" y="419"/>
                      </a:cubicBezTo>
                      <a:cubicBezTo>
                        <a:pt x="1151" y="416"/>
                        <a:pt x="1151" y="416"/>
                        <a:pt x="1151" y="416"/>
                      </a:cubicBezTo>
                      <a:cubicBezTo>
                        <a:pt x="1145" y="407"/>
                        <a:pt x="1145" y="407"/>
                        <a:pt x="1145" y="407"/>
                      </a:cubicBezTo>
                      <a:cubicBezTo>
                        <a:pt x="1140" y="397"/>
                        <a:pt x="1140" y="397"/>
                        <a:pt x="1140" y="397"/>
                      </a:cubicBezTo>
                      <a:cubicBezTo>
                        <a:pt x="1136" y="387"/>
                        <a:pt x="1136" y="387"/>
                        <a:pt x="1136" y="387"/>
                      </a:cubicBezTo>
                      <a:cubicBezTo>
                        <a:pt x="1136" y="383"/>
                        <a:pt x="1136" y="383"/>
                        <a:pt x="1136" y="383"/>
                      </a:cubicBezTo>
                      <a:cubicBezTo>
                        <a:pt x="1133" y="379"/>
                        <a:pt x="1133" y="379"/>
                        <a:pt x="1133" y="379"/>
                      </a:cubicBezTo>
                      <a:cubicBezTo>
                        <a:pt x="1132" y="372"/>
                        <a:pt x="1132" y="372"/>
                        <a:pt x="1132" y="372"/>
                      </a:cubicBezTo>
                      <a:cubicBezTo>
                        <a:pt x="1131" y="369"/>
                        <a:pt x="1131" y="369"/>
                        <a:pt x="1131" y="369"/>
                      </a:cubicBezTo>
                      <a:cubicBezTo>
                        <a:pt x="1131" y="364"/>
                        <a:pt x="1131" y="364"/>
                        <a:pt x="1131" y="364"/>
                      </a:cubicBezTo>
                      <a:cubicBezTo>
                        <a:pt x="1133" y="362"/>
                        <a:pt x="1133" y="362"/>
                        <a:pt x="1133" y="362"/>
                      </a:cubicBezTo>
                      <a:cubicBezTo>
                        <a:pt x="1134" y="358"/>
                        <a:pt x="1134" y="358"/>
                        <a:pt x="1134" y="358"/>
                      </a:cubicBezTo>
                      <a:cubicBezTo>
                        <a:pt x="1135" y="358"/>
                        <a:pt x="1135" y="358"/>
                        <a:pt x="1135" y="358"/>
                      </a:cubicBezTo>
                      <a:cubicBezTo>
                        <a:pt x="1134" y="356"/>
                        <a:pt x="1134" y="356"/>
                        <a:pt x="1134" y="356"/>
                      </a:cubicBezTo>
                      <a:cubicBezTo>
                        <a:pt x="1135" y="355"/>
                        <a:pt x="1135" y="355"/>
                        <a:pt x="1135" y="355"/>
                      </a:cubicBezTo>
                      <a:cubicBezTo>
                        <a:pt x="1135" y="350"/>
                        <a:pt x="1135" y="350"/>
                        <a:pt x="1135" y="350"/>
                      </a:cubicBezTo>
                      <a:cubicBezTo>
                        <a:pt x="1132" y="345"/>
                        <a:pt x="1132" y="345"/>
                        <a:pt x="1132" y="345"/>
                      </a:cubicBezTo>
                      <a:cubicBezTo>
                        <a:pt x="1129" y="345"/>
                        <a:pt x="1129" y="345"/>
                        <a:pt x="1129" y="345"/>
                      </a:cubicBezTo>
                      <a:cubicBezTo>
                        <a:pt x="1129" y="344"/>
                        <a:pt x="1129" y="344"/>
                        <a:pt x="1129" y="344"/>
                      </a:cubicBezTo>
                      <a:cubicBezTo>
                        <a:pt x="1131" y="342"/>
                        <a:pt x="1131" y="342"/>
                        <a:pt x="1131" y="342"/>
                      </a:cubicBezTo>
                      <a:cubicBezTo>
                        <a:pt x="1135" y="344"/>
                        <a:pt x="1135" y="344"/>
                        <a:pt x="1135" y="344"/>
                      </a:cubicBezTo>
                      <a:cubicBezTo>
                        <a:pt x="1137" y="342"/>
                        <a:pt x="1137" y="342"/>
                        <a:pt x="1137" y="342"/>
                      </a:cubicBezTo>
                      <a:cubicBezTo>
                        <a:pt x="1136" y="340"/>
                        <a:pt x="1136" y="340"/>
                        <a:pt x="1136" y="340"/>
                      </a:cubicBezTo>
                      <a:cubicBezTo>
                        <a:pt x="1136" y="336"/>
                        <a:pt x="1136" y="336"/>
                        <a:pt x="1136" y="336"/>
                      </a:cubicBezTo>
                      <a:cubicBezTo>
                        <a:pt x="1140" y="336"/>
                        <a:pt x="1140" y="336"/>
                        <a:pt x="1140" y="336"/>
                      </a:cubicBezTo>
                      <a:cubicBezTo>
                        <a:pt x="1141" y="336"/>
                        <a:pt x="1141" y="336"/>
                        <a:pt x="1141" y="336"/>
                      </a:cubicBezTo>
                      <a:cubicBezTo>
                        <a:pt x="1140" y="334"/>
                        <a:pt x="1140" y="334"/>
                        <a:pt x="1140" y="334"/>
                      </a:cubicBezTo>
                      <a:cubicBezTo>
                        <a:pt x="1143" y="328"/>
                        <a:pt x="1143" y="328"/>
                        <a:pt x="1143" y="328"/>
                      </a:cubicBezTo>
                      <a:cubicBezTo>
                        <a:pt x="1141" y="324"/>
                        <a:pt x="1141" y="324"/>
                        <a:pt x="1141" y="324"/>
                      </a:cubicBezTo>
                      <a:cubicBezTo>
                        <a:pt x="1142" y="320"/>
                        <a:pt x="1142" y="320"/>
                        <a:pt x="1142" y="320"/>
                      </a:cubicBezTo>
                      <a:cubicBezTo>
                        <a:pt x="1140" y="318"/>
                        <a:pt x="1140" y="318"/>
                        <a:pt x="1140" y="318"/>
                      </a:cubicBezTo>
                      <a:cubicBezTo>
                        <a:pt x="1142" y="316"/>
                        <a:pt x="1142" y="316"/>
                        <a:pt x="1142" y="316"/>
                      </a:cubicBezTo>
                      <a:cubicBezTo>
                        <a:pt x="1142" y="314"/>
                        <a:pt x="1142" y="314"/>
                        <a:pt x="1142" y="314"/>
                      </a:cubicBezTo>
                      <a:cubicBezTo>
                        <a:pt x="1141" y="313"/>
                        <a:pt x="1141" y="313"/>
                        <a:pt x="1141" y="313"/>
                      </a:cubicBezTo>
                      <a:cubicBezTo>
                        <a:pt x="1142" y="310"/>
                        <a:pt x="1142" y="310"/>
                        <a:pt x="1142" y="310"/>
                      </a:cubicBezTo>
                      <a:cubicBezTo>
                        <a:pt x="1143" y="310"/>
                        <a:pt x="1143" y="310"/>
                        <a:pt x="1143" y="310"/>
                      </a:cubicBezTo>
                      <a:cubicBezTo>
                        <a:pt x="1142" y="308"/>
                        <a:pt x="1142" y="308"/>
                        <a:pt x="1142" y="308"/>
                      </a:cubicBezTo>
                      <a:cubicBezTo>
                        <a:pt x="1141" y="306"/>
                        <a:pt x="1141" y="306"/>
                        <a:pt x="1141" y="306"/>
                      </a:cubicBezTo>
                      <a:cubicBezTo>
                        <a:pt x="1142" y="305"/>
                        <a:pt x="1142" y="305"/>
                        <a:pt x="1142" y="305"/>
                      </a:cubicBezTo>
                      <a:cubicBezTo>
                        <a:pt x="1142" y="302"/>
                        <a:pt x="1142" y="302"/>
                        <a:pt x="1142" y="302"/>
                      </a:cubicBezTo>
                      <a:cubicBezTo>
                        <a:pt x="1142" y="301"/>
                        <a:pt x="1142" y="301"/>
                        <a:pt x="1142" y="301"/>
                      </a:cubicBezTo>
                      <a:cubicBezTo>
                        <a:pt x="1142" y="299"/>
                        <a:pt x="1142" y="299"/>
                        <a:pt x="1142" y="299"/>
                      </a:cubicBezTo>
                      <a:cubicBezTo>
                        <a:pt x="1144" y="298"/>
                        <a:pt x="1144" y="298"/>
                        <a:pt x="1144" y="298"/>
                      </a:cubicBezTo>
                      <a:cubicBezTo>
                        <a:pt x="1145" y="297"/>
                        <a:pt x="1145" y="297"/>
                        <a:pt x="1145" y="297"/>
                      </a:cubicBezTo>
                      <a:cubicBezTo>
                        <a:pt x="1144" y="293"/>
                        <a:pt x="1144" y="293"/>
                        <a:pt x="1144" y="293"/>
                      </a:cubicBezTo>
                      <a:cubicBezTo>
                        <a:pt x="1145" y="289"/>
                        <a:pt x="1145" y="289"/>
                        <a:pt x="1145" y="289"/>
                      </a:cubicBezTo>
                      <a:cubicBezTo>
                        <a:pt x="1144" y="288"/>
                        <a:pt x="1144" y="288"/>
                        <a:pt x="1144" y="288"/>
                      </a:cubicBezTo>
                      <a:cubicBezTo>
                        <a:pt x="1144" y="287"/>
                        <a:pt x="1144" y="287"/>
                        <a:pt x="1144" y="287"/>
                      </a:cubicBezTo>
                      <a:cubicBezTo>
                        <a:pt x="1145" y="284"/>
                        <a:pt x="1145" y="284"/>
                        <a:pt x="1145" y="284"/>
                      </a:cubicBezTo>
                      <a:cubicBezTo>
                        <a:pt x="1145" y="281"/>
                        <a:pt x="1145" y="281"/>
                        <a:pt x="1145" y="281"/>
                      </a:cubicBezTo>
                      <a:cubicBezTo>
                        <a:pt x="1144" y="282"/>
                        <a:pt x="1144" y="282"/>
                        <a:pt x="1144" y="282"/>
                      </a:cubicBezTo>
                      <a:cubicBezTo>
                        <a:pt x="1143" y="279"/>
                        <a:pt x="1143" y="279"/>
                        <a:pt x="1143" y="279"/>
                      </a:cubicBezTo>
                      <a:cubicBezTo>
                        <a:pt x="1144" y="278"/>
                        <a:pt x="1144" y="278"/>
                        <a:pt x="1144" y="278"/>
                      </a:cubicBezTo>
                      <a:cubicBezTo>
                        <a:pt x="1144" y="276"/>
                        <a:pt x="1144" y="276"/>
                        <a:pt x="1144" y="276"/>
                      </a:cubicBezTo>
                      <a:cubicBezTo>
                        <a:pt x="1146" y="275"/>
                        <a:pt x="1146" y="275"/>
                        <a:pt x="1146" y="275"/>
                      </a:cubicBezTo>
                      <a:cubicBezTo>
                        <a:pt x="1146" y="274"/>
                        <a:pt x="1146" y="274"/>
                        <a:pt x="1146" y="274"/>
                      </a:cubicBezTo>
                      <a:cubicBezTo>
                        <a:pt x="1149" y="273"/>
                        <a:pt x="1149" y="273"/>
                        <a:pt x="1149" y="273"/>
                      </a:cubicBezTo>
                      <a:cubicBezTo>
                        <a:pt x="1149" y="271"/>
                        <a:pt x="1149" y="271"/>
                        <a:pt x="1149" y="271"/>
                      </a:cubicBezTo>
                      <a:cubicBezTo>
                        <a:pt x="1151" y="269"/>
                        <a:pt x="1151" y="269"/>
                        <a:pt x="1151" y="269"/>
                      </a:cubicBezTo>
                      <a:cubicBezTo>
                        <a:pt x="1152" y="269"/>
                        <a:pt x="1152" y="269"/>
                        <a:pt x="1152" y="269"/>
                      </a:cubicBezTo>
                      <a:cubicBezTo>
                        <a:pt x="1154" y="267"/>
                        <a:pt x="1154" y="267"/>
                        <a:pt x="1154" y="267"/>
                      </a:cubicBezTo>
                      <a:cubicBezTo>
                        <a:pt x="1155" y="267"/>
                        <a:pt x="1155" y="267"/>
                        <a:pt x="1155" y="267"/>
                      </a:cubicBezTo>
                      <a:cubicBezTo>
                        <a:pt x="1155" y="266"/>
                        <a:pt x="1155" y="266"/>
                        <a:pt x="1155" y="266"/>
                      </a:cubicBezTo>
                      <a:cubicBezTo>
                        <a:pt x="1155" y="265"/>
                        <a:pt x="1155" y="265"/>
                        <a:pt x="1155" y="265"/>
                      </a:cubicBezTo>
                      <a:cubicBezTo>
                        <a:pt x="1153" y="265"/>
                        <a:pt x="1153" y="265"/>
                        <a:pt x="1153" y="265"/>
                      </a:cubicBezTo>
                      <a:cubicBezTo>
                        <a:pt x="1152" y="266"/>
                        <a:pt x="1152" y="266"/>
                        <a:pt x="1152" y="266"/>
                      </a:cubicBezTo>
                      <a:cubicBezTo>
                        <a:pt x="1150" y="265"/>
                        <a:pt x="1150" y="265"/>
                        <a:pt x="1150" y="265"/>
                      </a:cubicBezTo>
                      <a:cubicBezTo>
                        <a:pt x="1150" y="261"/>
                        <a:pt x="1150" y="261"/>
                        <a:pt x="1150" y="261"/>
                      </a:cubicBezTo>
                      <a:cubicBezTo>
                        <a:pt x="1151" y="258"/>
                        <a:pt x="1151" y="258"/>
                        <a:pt x="1151" y="258"/>
                      </a:cubicBezTo>
                      <a:cubicBezTo>
                        <a:pt x="1151" y="257"/>
                        <a:pt x="1151" y="257"/>
                        <a:pt x="1151" y="257"/>
                      </a:cubicBezTo>
                      <a:cubicBezTo>
                        <a:pt x="1150" y="255"/>
                        <a:pt x="1150" y="255"/>
                        <a:pt x="1150" y="255"/>
                      </a:cubicBezTo>
                      <a:cubicBezTo>
                        <a:pt x="1149" y="255"/>
                        <a:pt x="1149" y="255"/>
                        <a:pt x="1149" y="255"/>
                      </a:cubicBezTo>
                      <a:cubicBezTo>
                        <a:pt x="1148" y="256"/>
                        <a:pt x="1148" y="256"/>
                        <a:pt x="1148" y="256"/>
                      </a:cubicBezTo>
                      <a:cubicBezTo>
                        <a:pt x="1147" y="256"/>
                        <a:pt x="1147" y="256"/>
                        <a:pt x="1147" y="256"/>
                      </a:cubicBezTo>
                      <a:cubicBezTo>
                        <a:pt x="1147" y="251"/>
                        <a:pt x="1147" y="251"/>
                        <a:pt x="1147" y="251"/>
                      </a:cubicBezTo>
                      <a:cubicBezTo>
                        <a:pt x="1148" y="250"/>
                        <a:pt x="1148" y="250"/>
                        <a:pt x="1148" y="250"/>
                      </a:cubicBezTo>
                      <a:cubicBezTo>
                        <a:pt x="1148" y="249"/>
                        <a:pt x="1148" y="249"/>
                        <a:pt x="1148" y="249"/>
                      </a:cubicBezTo>
                      <a:cubicBezTo>
                        <a:pt x="1147" y="247"/>
                        <a:pt x="1147" y="247"/>
                        <a:pt x="1147" y="247"/>
                      </a:cubicBezTo>
                      <a:cubicBezTo>
                        <a:pt x="1145" y="246"/>
                        <a:pt x="1145" y="246"/>
                        <a:pt x="1145" y="246"/>
                      </a:cubicBezTo>
                      <a:cubicBezTo>
                        <a:pt x="1146" y="245"/>
                        <a:pt x="1146" y="245"/>
                        <a:pt x="1146" y="245"/>
                      </a:cubicBezTo>
                      <a:cubicBezTo>
                        <a:pt x="1146" y="245"/>
                        <a:pt x="1146" y="245"/>
                        <a:pt x="1146" y="245"/>
                      </a:cubicBezTo>
                      <a:cubicBezTo>
                        <a:pt x="1145" y="244"/>
                        <a:pt x="1145" y="244"/>
                        <a:pt x="1145" y="244"/>
                      </a:cubicBezTo>
                      <a:cubicBezTo>
                        <a:pt x="1143" y="241"/>
                        <a:pt x="1143" y="241"/>
                        <a:pt x="1143" y="241"/>
                      </a:cubicBezTo>
                      <a:cubicBezTo>
                        <a:pt x="1143" y="240"/>
                        <a:pt x="1143" y="240"/>
                        <a:pt x="1143" y="240"/>
                      </a:cubicBezTo>
                      <a:cubicBezTo>
                        <a:pt x="1142" y="238"/>
                        <a:pt x="1142" y="238"/>
                        <a:pt x="1142" y="238"/>
                      </a:cubicBezTo>
                      <a:cubicBezTo>
                        <a:pt x="1142" y="236"/>
                        <a:pt x="1142" y="236"/>
                        <a:pt x="1142" y="236"/>
                      </a:cubicBezTo>
                      <a:cubicBezTo>
                        <a:pt x="1141" y="234"/>
                        <a:pt x="1141" y="234"/>
                        <a:pt x="1141" y="234"/>
                      </a:cubicBezTo>
                      <a:cubicBezTo>
                        <a:pt x="1141" y="232"/>
                        <a:pt x="1141" y="232"/>
                        <a:pt x="1141" y="232"/>
                      </a:cubicBezTo>
                      <a:cubicBezTo>
                        <a:pt x="1143" y="230"/>
                        <a:pt x="1143" y="230"/>
                        <a:pt x="1143" y="230"/>
                      </a:cubicBezTo>
                      <a:cubicBezTo>
                        <a:pt x="1146" y="230"/>
                        <a:pt x="1146" y="230"/>
                        <a:pt x="1146" y="230"/>
                      </a:cubicBezTo>
                      <a:cubicBezTo>
                        <a:pt x="1148" y="229"/>
                        <a:pt x="1148" y="229"/>
                        <a:pt x="1148" y="229"/>
                      </a:cubicBezTo>
                      <a:cubicBezTo>
                        <a:pt x="1146" y="228"/>
                        <a:pt x="1146" y="228"/>
                        <a:pt x="1146" y="228"/>
                      </a:cubicBezTo>
                      <a:cubicBezTo>
                        <a:pt x="1149" y="227"/>
                        <a:pt x="1149" y="227"/>
                        <a:pt x="1149" y="227"/>
                      </a:cubicBezTo>
                      <a:cubicBezTo>
                        <a:pt x="1148" y="227"/>
                        <a:pt x="1148" y="227"/>
                        <a:pt x="1148" y="227"/>
                      </a:cubicBezTo>
                      <a:cubicBezTo>
                        <a:pt x="1146" y="227"/>
                        <a:pt x="1146" y="227"/>
                        <a:pt x="1146" y="227"/>
                      </a:cubicBezTo>
                      <a:cubicBezTo>
                        <a:pt x="1145" y="227"/>
                        <a:pt x="1145" y="227"/>
                        <a:pt x="1145" y="227"/>
                      </a:cubicBezTo>
                      <a:cubicBezTo>
                        <a:pt x="1142" y="227"/>
                        <a:pt x="1142" y="227"/>
                        <a:pt x="1142" y="227"/>
                      </a:cubicBezTo>
                      <a:cubicBezTo>
                        <a:pt x="1139" y="224"/>
                        <a:pt x="1139" y="224"/>
                        <a:pt x="1139" y="224"/>
                      </a:cubicBezTo>
                      <a:cubicBezTo>
                        <a:pt x="1138" y="225"/>
                        <a:pt x="1138" y="225"/>
                        <a:pt x="1138" y="225"/>
                      </a:cubicBezTo>
                      <a:cubicBezTo>
                        <a:pt x="1136" y="225"/>
                        <a:pt x="1136" y="225"/>
                        <a:pt x="1136" y="225"/>
                      </a:cubicBezTo>
                      <a:cubicBezTo>
                        <a:pt x="1134" y="227"/>
                        <a:pt x="1134" y="227"/>
                        <a:pt x="1134" y="227"/>
                      </a:cubicBezTo>
                      <a:cubicBezTo>
                        <a:pt x="1132" y="227"/>
                        <a:pt x="1132" y="227"/>
                        <a:pt x="1132" y="227"/>
                      </a:cubicBezTo>
                      <a:cubicBezTo>
                        <a:pt x="1130" y="230"/>
                        <a:pt x="1130" y="230"/>
                        <a:pt x="1130" y="230"/>
                      </a:cubicBezTo>
                      <a:cubicBezTo>
                        <a:pt x="1131" y="231"/>
                        <a:pt x="1131" y="231"/>
                        <a:pt x="1131" y="231"/>
                      </a:cubicBezTo>
                      <a:cubicBezTo>
                        <a:pt x="1130" y="232"/>
                        <a:pt x="1130" y="232"/>
                        <a:pt x="1130" y="232"/>
                      </a:cubicBezTo>
                      <a:cubicBezTo>
                        <a:pt x="1132" y="234"/>
                        <a:pt x="1132" y="234"/>
                        <a:pt x="1132" y="234"/>
                      </a:cubicBezTo>
                      <a:cubicBezTo>
                        <a:pt x="1133" y="236"/>
                        <a:pt x="1133" y="236"/>
                        <a:pt x="1133" y="236"/>
                      </a:cubicBezTo>
                      <a:cubicBezTo>
                        <a:pt x="1132" y="237"/>
                        <a:pt x="1132" y="237"/>
                        <a:pt x="1132" y="237"/>
                      </a:cubicBezTo>
                      <a:cubicBezTo>
                        <a:pt x="1133" y="240"/>
                        <a:pt x="1133" y="240"/>
                        <a:pt x="1133" y="240"/>
                      </a:cubicBezTo>
                      <a:cubicBezTo>
                        <a:pt x="1135" y="241"/>
                        <a:pt x="1135" y="241"/>
                        <a:pt x="1135" y="241"/>
                      </a:cubicBezTo>
                      <a:cubicBezTo>
                        <a:pt x="1135" y="242"/>
                        <a:pt x="1135" y="242"/>
                        <a:pt x="1135" y="242"/>
                      </a:cubicBezTo>
                      <a:cubicBezTo>
                        <a:pt x="1136" y="243"/>
                        <a:pt x="1136" y="243"/>
                        <a:pt x="1136" y="243"/>
                      </a:cubicBezTo>
                      <a:cubicBezTo>
                        <a:pt x="1137" y="247"/>
                        <a:pt x="1137" y="247"/>
                        <a:pt x="1137" y="247"/>
                      </a:cubicBezTo>
                      <a:cubicBezTo>
                        <a:pt x="1140" y="249"/>
                        <a:pt x="1140" y="249"/>
                        <a:pt x="1140" y="249"/>
                      </a:cubicBezTo>
                      <a:cubicBezTo>
                        <a:pt x="1139" y="251"/>
                        <a:pt x="1139" y="251"/>
                        <a:pt x="1139" y="251"/>
                      </a:cubicBezTo>
                      <a:cubicBezTo>
                        <a:pt x="1141" y="252"/>
                        <a:pt x="1141" y="252"/>
                        <a:pt x="1141" y="252"/>
                      </a:cubicBezTo>
                      <a:cubicBezTo>
                        <a:pt x="1140" y="253"/>
                        <a:pt x="1140" y="253"/>
                        <a:pt x="1140" y="253"/>
                      </a:cubicBezTo>
                      <a:cubicBezTo>
                        <a:pt x="1138" y="252"/>
                        <a:pt x="1138" y="252"/>
                        <a:pt x="1138" y="252"/>
                      </a:cubicBezTo>
                      <a:cubicBezTo>
                        <a:pt x="1138" y="250"/>
                        <a:pt x="1138" y="250"/>
                        <a:pt x="1138" y="250"/>
                      </a:cubicBezTo>
                      <a:cubicBezTo>
                        <a:pt x="1135" y="251"/>
                        <a:pt x="1135" y="251"/>
                        <a:pt x="1135" y="251"/>
                      </a:cubicBezTo>
                      <a:cubicBezTo>
                        <a:pt x="1134" y="252"/>
                        <a:pt x="1134" y="252"/>
                        <a:pt x="1134" y="252"/>
                      </a:cubicBezTo>
                      <a:cubicBezTo>
                        <a:pt x="1133" y="255"/>
                        <a:pt x="1133" y="255"/>
                        <a:pt x="1133" y="255"/>
                      </a:cubicBezTo>
                      <a:cubicBezTo>
                        <a:pt x="1134" y="256"/>
                        <a:pt x="1134" y="256"/>
                        <a:pt x="1134" y="256"/>
                      </a:cubicBezTo>
                      <a:cubicBezTo>
                        <a:pt x="1133" y="259"/>
                        <a:pt x="1133" y="259"/>
                        <a:pt x="1133" y="259"/>
                      </a:cubicBezTo>
                      <a:cubicBezTo>
                        <a:pt x="1133" y="260"/>
                        <a:pt x="1133" y="260"/>
                        <a:pt x="1133" y="260"/>
                      </a:cubicBezTo>
                      <a:cubicBezTo>
                        <a:pt x="1132" y="261"/>
                        <a:pt x="1132" y="261"/>
                        <a:pt x="1132" y="261"/>
                      </a:cubicBezTo>
                      <a:cubicBezTo>
                        <a:pt x="1133" y="261"/>
                        <a:pt x="1133" y="261"/>
                        <a:pt x="1133" y="261"/>
                      </a:cubicBezTo>
                      <a:cubicBezTo>
                        <a:pt x="1133" y="263"/>
                        <a:pt x="1133" y="263"/>
                        <a:pt x="1133" y="263"/>
                      </a:cubicBezTo>
                      <a:cubicBezTo>
                        <a:pt x="1131" y="264"/>
                        <a:pt x="1131" y="264"/>
                        <a:pt x="1131" y="264"/>
                      </a:cubicBezTo>
                      <a:cubicBezTo>
                        <a:pt x="1133" y="265"/>
                        <a:pt x="1133" y="265"/>
                        <a:pt x="1133" y="265"/>
                      </a:cubicBezTo>
                      <a:cubicBezTo>
                        <a:pt x="1132" y="267"/>
                        <a:pt x="1132" y="267"/>
                        <a:pt x="1132" y="267"/>
                      </a:cubicBezTo>
                      <a:cubicBezTo>
                        <a:pt x="1131" y="272"/>
                        <a:pt x="1131" y="272"/>
                        <a:pt x="1131" y="272"/>
                      </a:cubicBezTo>
                      <a:cubicBezTo>
                        <a:pt x="1131" y="273"/>
                        <a:pt x="1131" y="273"/>
                        <a:pt x="1131" y="273"/>
                      </a:cubicBezTo>
                      <a:cubicBezTo>
                        <a:pt x="1131" y="274"/>
                        <a:pt x="1131" y="274"/>
                        <a:pt x="1131" y="274"/>
                      </a:cubicBezTo>
                      <a:cubicBezTo>
                        <a:pt x="1129" y="275"/>
                        <a:pt x="1129" y="275"/>
                        <a:pt x="1129" y="275"/>
                      </a:cubicBezTo>
                      <a:cubicBezTo>
                        <a:pt x="1128" y="278"/>
                        <a:pt x="1128" y="278"/>
                        <a:pt x="1128" y="278"/>
                      </a:cubicBezTo>
                      <a:cubicBezTo>
                        <a:pt x="1127" y="276"/>
                        <a:pt x="1127" y="276"/>
                        <a:pt x="1127" y="276"/>
                      </a:cubicBezTo>
                      <a:cubicBezTo>
                        <a:pt x="1126" y="274"/>
                        <a:pt x="1126" y="274"/>
                        <a:pt x="1126" y="274"/>
                      </a:cubicBezTo>
                      <a:cubicBezTo>
                        <a:pt x="1127" y="271"/>
                        <a:pt x="1127" y="271"/>
                        <a:pt x="1127" y="271"/>
                      </a:cubicBezTo>
                      <a:cubicBezTo>
                        <a:pt x="1127" y="270"/>
                        <a:pt x="1127" y="270"/>
                        <a:pt x="1127" y="270"/>
                      </a:cubicBezTo>
                      <a:cubicBezTo>
                        <a:pt x="1125" y="270"/>
                        <a:pt x="1125" y="270"/>
                        <a:pt x="1125" y="270"/>
                      </a:cubicBezTo>
                      <a:cubicBezTo>
                        <a:pt x="1123" y="272"/>
                        <a:pt x="1123" y="272"/>
                        <a:pt x="1123" y="272"/>
                      </a:cubicBezTo>
                      <a:cubicBezTo>
                        <a:pt x="1123" y="273"/>
                        <a:pt x="1123" y="273"/>
                        <a:pt x="1123" y="273"/>
                      </a:cubicBezTo>
                      <a:cubicBezTo>
                        <a:pt x="1122" y="274"/>
                        <a:pt x="1122" y="274"/>
                        <a:pt x="1122" y="274"/>
                      </a:cubicBezTo>
                      <a:cubicBezTo>
                        <a:pt x="1122" y="271"/>
                        <a:pt x="1122" y="271"/>
                        <a:pt x="1122" y="271"/>
                      </a:cubicBezTo>
                      <a:cubicBezTo>
                        <a:pt x="1120" y="270"/>
                        <a:pt x="1120" y="270"/>
                        <a:pt x="1120" y="270"/>
                      </a:cubicBezTo>
                      <a:cubicBezTo>
                        <a:pt x="1120" y="269"/>
                        <a:pt x="1120" y="269"/>
                        <a:pt x="1120" y="269"/>
                      </a:cubicBezTo>
                      <a:cubicBezTo>
                        <a:pt x="1118" y="270"/>
                        <a:pt x="1118" y="270"/>
                        <a:pt x="1118" y="270"/>
                      </a:cubicBezTo>
                      <a:cubicBezTo>
                        <a:pt x="1117" y="269"/>
                        <a:pt x="1117" y="269"/>
                        <a:pt x="1117" y="269"/>
                      </a:cubicBezTo>
                      <a:cubicBezTo>
                        <a:pt x="1118" y="269"/>
                        <a:pt x="1118" y="269"/>
                        <a:pt x="1118" y="269"/>
                      </a:cubicBezTo>
                      <a:cubicBezTo>
                        <a:pt x="1119" y="267"/>
                        <a:pt x="1119" y="267"/>
                        <a:pt x="1119" y="267"/>
                      </a:cubicBezTo>
                      <a:cubicBezTo>
                        <a:pt x="1118" y="266"/>
                        <a:pt x="1118" y="266"/>
                        <a:pt x="1118" y="266"/>
                      </a:cubicBezTo>
                      <a:cubicBezTo>
                        <a:pt x="1118" y="265"/>
                        <a:pt x="1118" y="265"/>
                        <a:pt x="1118" y="265"/>
                      </a:cubicBezTo>
                      <a:cubicBezTo>
                        <a:pt x="1119" y="265"/>
                        <a:pt x="1119" y="265"/>
                        <a:pt x="1119" y="265"/>
                      </a:cubicBezTo>
                      <a:cubicBezTo>
                        <a:pt x="1118" y="263"/>
                        <a:pt x="1118" y="263"/>
                        <a:pt x="1118" y="263"/>
                      </a:cubicBezTo>
                      <a:cubicBezTo>
                        <a:pt x="1117" y="262"/>
                        <a:pt x="1117" y="262"/>
                        <a:pt x="1117" y="262"/>
                      </a:cubicBezTo>
                      <a:cubicBezTo>
                        <a:pt x="1118" y="261"/>
                        <a:pt x="1118" y="261"/>
                        <a:pt x="1118" y="261"/>
                      </a:cubicBezTo>
                      <a:cubicBezTo>
                        <a:pt x="1118" y="259"/>
                        <a:pt x="1118" y="259"/>
                        <a:pt x="1118" y="259"/>
                      </a:cubicBezTo>
                      <a:cubicBezTo>
                        <a:pt x="1117" y="258"/>
                        <a:pt x="1117" y="258"/>
                        <a:pt x="1117" y="258"/>
                      </a:cubicBezTo>
                      <a:cubicBezTo>
                        <a:pt x="1118" y="257"/>
                        <a:pt x="1118" y="257"/>
                        <a:pt x="1118" y="257"/>
                      </a:cubicBezTo>
                      <a:cubicBezTo>
                        <a:pt x="1117" y="255"/>
                        <a:pt x="1117" y="255"/>
                        <a:pt x="1117" y="255"/>
                      </a:cubicBezTo>
                      <a:cubicBezTo>
                        <a:pt x="1115" y="253"/>
                        <a:pt x="1115" y="253"/>
                        <a:pt x="1115" y="253"/>
                      </a:cubicBezTo>
                      <a:cubicBezTo>
                        <a:pt x="1115" y="252"/>
                        <a:pt x="1115" y="252"/>
                        <a:pt x="1115" y="252"/>
                      </a:cubicBezTo>
                      <a:cubicBezTo>
                        <a:pt x="1114" y="252"/>
                        <a:pt x="1114" y="252"/>
                        <a:pt x="1114" y="252"/>
                      </a:cubicBezTo>
                      <a:cubicBezTo>
                        <a:pt x="1114" y="254"/>
                        <a:pt x="1114" y="254"/>
                        <a:pt x="1114" y="254"/>
                      </a:cubicBezTo>
                      <a:cubicBezTo>
                        <a:pt x="1112" y="254"/>
                        <a:pt x="1112" y="254"/>
                        <a:pt x="1112" y="254"/>
                      </a:cubicBezTo>
                      <a:cubicBezTo>
                        <a:pt x="1113" y="257"/>
                        <a:pt x="1113" y="257"/>
                        <a:pt x="1113" y="257"/>
                      </a:cubicBezTo>
                      <a:cubicBezTo>
                        <a:pt x="1111" y="259"/>
                        <a:pt x="1111" y="259"/>
                        <a:pt x="1111" y="259"/>
                      </a:cubicBezTo>
                      <a:cubicBezTo>
                        <a:pt x="1110" y="259"/>
                        <a:pt x="1110" y="259"/>
                        <a:pt x="1110" y="259"/>
                      </a:cubicBezTo>
                      <a:cubicBezTo>
                        <a:pt x="1109" y="257"/>
                        <a:pt x="1109" y="257"/>
                        <a:pt x="1109" y="257"/>
                      </a:cubicBezTo>
                      <a:cubicBezTo>
                        <a:pt x="1108" y="256"/>
                        <a:pt x="1108" y="256"/>
                        <a:pt x="1108" y="256"/>
                      </a:cubicBezTo>
                      <a:cubicBezTo>
                        <a:pt x="1107" y="257"/>
                        <a:pt x="1107" y="257"/>
                        <a:pt x="1107" y="257"/>
                      </a:cubicBezTo>
                      <a:cubicBezTo>
                        <a:pt x="1107" y="255"/>
                        <a:pt x="1107" y="255"/>
                        <a:pt x="1107" y="255"/>
                      </a:cubicBezTo>
                      <a:cubicBezTo>
                        <a:pt x="1105" y="255"/>
                        <a:pt x="1105" y="255"/>
                        <a:pt x="1105" y="255"/>
                      </a:cubicBezTo>
                      <a:cubicBezTo>
                        <a:pt x="1104" y="256"/>
                        <a:pt x="1104" y="256"/>
                        <a:pt x="1104" y="256"/>
                      </a:cubicBezTo>
                      <a:cubicBezTo>
                        <a:pt x="1103" y="256"/>
                        <a:pt x="1103" y="256"/>
                        <a:pt x="1103" y="256"/>
                      </a:cubicBezTo>
                      <a:cubicBezTo>
                        <a:pt x="1103" y="258"/>
                        <a:pt x="1103" y="258"/>
                        <a:pt x="1103" y="258"/>
                      </a:cubicBezTo>
                      <a:cubicBezTo>
                        <a:pt x="1101" y="258"/>
                        <a:pt x="1101" y="258"/>
                        <a:pt x="1101" y="258"/>
                      </a:cubicBezTo>
                      <a:cubicBezTo>
                        <a:pt x="1101" y="259"/>
                        <a:pt x="1101" y="259"/>
                        <a:pt x="1101" y="259"/>
                      </a:cubicBezTo>
                      <a:cubicBezTo>
                        <a:pt x="1098" y="259"/>
                        <a:pt x="1098" y="259"/>
                        <a:pt x="1098" y="259"/>
                      </a:cubicBezTo>
                      <a:cubicBezTo>
                        <a:pt x="1097" y="261"/>
                        <a:pt x="1097" y="261"/>
                        <a:pt x="1097" y="261"/>
                      </a:cubicBezTo>
                      <a:cubicBezTo>
                        <a:pt x="1095" y="260"/>
                        <a:pt x="1095" y="260"/>
                        <a:pt x="1095" y="260"/>
                      </a:cubicBezTo>
                      <a:cubicBezTo>
                        <a:pt x="1094" y="261"/>
                        <a:pt x="1094" y="261"/>
                        <a:pt x="1094" y="261"/>
                      </a:cubicBezTo>
                      <a:cubicBezTo>
                        <a:pt x="1092" y="261"/>
                        <a:pt x="1092" y="261"/>
                        <a:pt x="1092" y="261"/>
                      </a:cubicBezTo>
                      <a:cubicBezTo>
                        <a:pt x="1090" y="264"/>
                        <a:pt x="1090" y="264"/>
                        <a:pt x="1090" y="264"/>
                      </a:cubicBezTo>
                      <a:cubicBezTo>
                        <a:pt x="1088" y="265"/>
                        <a:pt x="1088" y="265"/>
                        <a:pt x="1088" y="265"/>
                      </a:cubicBezTo>
                      <a:cubicBezTo>
                        <a:pt x="1089" y="268"/>
                        <a:pt x="1089" y="268"/>
                        <a:pt x="1089" y="268"/>
                      </a:cubicBezTo>
                      <a:cubicBezTo>
                        <a:pt x="1087" y="269"/>
                        <a:pt x="1087" y="269"/>
                        <a:pt x="1087" y="269"/>
                      </a:cubicBezTo>
                      <a:cubicBezTo>
                        <a:pt x="1087" y="270"/>
                        <a:pt x="1087" y="270"/>
                        <a:pt x="1087" y="270"/>
                      </a:cubicBezTo>
                      <a:cubicBezTo>
                        <a:pt x="1088" y="271"/>
                        <a:pt x="1088" y="271"/>
                        <a:pt x="1088" y="271"/>
                      </a:cubicBezTo>
                      <a:cubicBezTo>
                        <a:pt x="1089" y="274"/>
                        <a:pt x="1089" y="274"/>
                        <a:pt x="1089" y="274"/>
                      </a:cubicBezTo>
                      <a:cubicBezTo>
                        <a:pt x="1091" y="276"/>
                        <a:pt x="1091" y="276"/>
                        <a:pt x="1091" y="276"/>
                      </a:cubicBezTo>
                      <a:cubicBezTo>
                        <a:pt x="1089" y="278"/>
                        <a:pt x="1089" y="278"/>
                        <a:pt x="1089" y="278"/>
                      </a:cubicBezTo>
                      <a:cubicBezTo>
                        <a:pt x="1088" y="285"/>
                        <a:pt x="1088" y="285"/>
                        <a:pt x="1088" y="285"/>
                      </a:cubicBezTo>
                      <a:cubicBezTo>
                        <a:pt x="1090" y="287"/>
                        <a:pt x="1090" y="287"/>
                        <a:pt x="1090" y="287"/>
                      </a:cubicBezTo>
                      <a:cubicBezTo>
                        <a:pt x="1088" y="288"/>
                        <a:pt x="1088" y="288"/>
                        <a:pt x="1088" y="288"/>
                      </a:cubicBezTo>
                      <a:cubicBezTo>
                        <a:pt x="1089" y="289"/>
                        <a:pt x="1089" y="289"/>
                        <a:pt x="1089" y="289"/>
                      </a:cubicBezTo>
                      <a:cubicBezTo>
                        <a:pt x="1089" y="291"/>
                        <a:pt x="1089" y="291"/>
                        <a:pt x="1089" y="291"/>
                      </a:cubicBezTo>
                      <a:cubicBezTo>
                        <a:pt x="1087" y="293"/>
                        <a:pt x="1087" y="293"/>
                        <a:pt x="1087" y="293"/>
                      </a:cubicBezTo>
                      <a:cubicBezTo>
                        <a:pt x="1087" y="296"/>
                        <a:pt x="1087" y="296"/>
                        <a:pt x="1087" y="296"/>
                      </a:cubicBezTo>
                      <a:cubicBezTo>
                        <a:pt x="1086" y="298"/>
                        <a:pt x="1086" y="298"/>
                        <a:pt x="1086" y="298"/>
                      </a:cubicBezTo>
                      <a:cubicBezTo>
                        <a:pt x="1085" y="300"/>
                        <a:pt x="1085" y="300"/>
                        <a:pt x="1085" y="300"/>
                      </a:cubicBezTo>
                      <a:cubicBezTo>
                        <a:pt x="1085" y="303"/>
                        <a:pt x="1085" y="303"/>
                        <a:pt x="1085" y="303"/>
                      </a:cubicBezTo>
                      <a:cubicBezTo>
                        <a:pt x="1086" y="306"/>
                        <a:pt x="1086" y="306"/>
                        <a:pt x="1086" y="306"/>
                      </a:cubicBezTo>
                      <a:cubicBezTo>
                        <a:pt x="1085" y="307"/>
                        <a:pt x="1085" y="307"/>
                        <a:pt x="1085" y="307"/>
                      </a:cubicBezTo>
                      <a:cubicBezTo>
                        <a:pt x="1087" y="311"/>
                        <a:pt x="1087" y="311"/>
                        <a:pt x="1087" y="311"/>
                      </a:cubicBezTo>
                      <a:cubicBezTo>
                        <a:pt x="1086" y="311"/>
                        <a:pt x="1086" y="311"/>
                        <a:pt x="1086" y="311"/>
                      </a:cubicBezTo>
                      <a:cubicBezTo>
                        <a:pt x="1086" y="313"/>
                        <a:pt x="1086" y="313"/>
                        <a:pt x="1086" y="313"/>
                      </a:cubicBezTo>
                      <a:cubicBezTo>
                        <a:pt x="1088" y="314"/>
                        <a:pt x="1088" y="314"/>
                        <a:pt x="1088" y="314"/>
                      </a:cubicBezTo>
                      <a:cubicBezTo>
                        <a:pt x="1088" y="313"/>
                        <a:pt x="1088" y="313"/>
                        <a:pt x="1088" y="313"/>
                      </a:cubicBezTo>
                      <a:cubicBezTo>
                        <a:pt x="1090" y="313"/>
                        <a:pt x="1090" y="313"/>
                        <a:pt x="1090" y="313"/>
                      </a:cubicBezTo>
                      <a:cubicBezTo>
                        <a:pt x="1090" y="312"/>
                        <a:pt x="1090" y="312"/>
                        <a:pt x="1090" y="312"/>
                      </a:cubicBezTo>
                      <a:cubicBezTo>
                        <a:pt x="1090" y="312"/>
                        <a:pt x="1090" y="312"/>
                        <a:pt x="1090" y="312"/>
                      </a:cubicBezTo>
                      <a:cubicBezTo>
                        <a:pt x="1092" y="313"/>
                        <a:pt x="1092" y="313"/>
                        <a:pt x="1092" y="313"/>
                      </a:cubicBezTo>
                      <a:cubicBezTo>
                        <a:pt x="1093" y="313"/>
                        <a:pt x="1093" y="313"/>
                        <a:pt x="1093" y="313"/>
                      </a:cubicBezTo>
                      <a:cubicBezTo>
                        <a:pt x="1093" y="312"/>
                        <a:pt x="1093" y="312"/>
                        <a:pt x="1093" y="312"/>
                      </a:cubicBezTo>
                      <a:cubicBezTo>
                        <a:pt x="1093" y="311"/>
                        <a:pt x="1093" y="311"/>
                        <a:pt x="1093" y="311"/>
                      </a:cubicBezTo>
                      <a:cubicBezTo>
                        <a:pt x="1094" y="312"/>
                        <a:pt x="1094" y="312"/>
                        <a:pt x="1094" y="312"/>
                      </a:cubicBezTo>
                      <a:cubicBezTo>
                        <a:pt x="1096" y="313"/>
                        <a:pt x="1096" y="313"/>
                        <a:pt x="1096" y="313"/>
                      </a:cubicBezTo>
                      <a:cubicBezTo>
                        <a:pt x="1097" y="314"/>
                        <a:pt x="1097" y="314"/>
                        <a:pt x="1097" y="314"/>
                      </a:cubicBezTo>
                      <a:cubicBezTo>
                        <a:pt x="1096" y="315"/>
                        <a:pt x="1096" y="315"/>
                        <a:pt x="1096" y="315"/>
                      </a:cubicBezTo>
                      <a:cubicBezTo>
                        <a:pt x="1098" y="317"/>
                        <a:pt x="1098" y="317"/>
                        <a:pt x="1098" y="317"/>
                      </a:cubicBezTo>
                      <a:cubicBezTo>
                        <a:pt x="1097" y="318"/>
                        <a:pt x="1097" y="318"/>
                        <a:pt x="1097" y="318"/>
                      </a:cubicBezTo>
                      <a:cubicBezTo>
                        <a:pt x="1096" y="317"/>
                        <a:pt x="1096" y="317"/>
                        <a:pt x="1096" y="317"/>
                      </a:cubicBezTo>
                      <a:cubicBezTo>
                        <a:pt x="1095" y="318"/>
                        <a:pt x="1095" y="318"/>
                        <a:pt x="1095" y="318"/>
                      </a:cubicBezTo>
                      <a:cubicBezTo>
                        <a:pt x="1094" y="318"/>
                        <a:pt x="1094" y="318"/>
                        <a:pt x="1094" y="318"/>
                      </a:cubicBezTo>
                      <a:cubicBezTo>
                        <a:pt x="1092" y="319"/>
                        <a:pt x="1092" y="319"/>
                        <a:pt x="1092" y="319"/>
                      </a:cubicBezTo>
                      <a:cubicBezTo>
                        <a:pt x="1092" y="319"/>
                        <a:pt x="1092" y="319"/>
                        <a:pt x="1092" y="319"/>
                      </a:cubicBezTo>
                      <a:cubicBezTo>
                        <a:pt x="1093" y="320"/>
                        <a:pt x="1093" y="320"/>
                        <a:pt x="1093" y="320"/>
                      </a:cubicBezTo>
                      <a:cubicBezTo>
                        <a:pt x="1091" y="323"/>
                        <a:pt x="1091" y="323"/>
                        <a:pt x="1091" y="323"/>
                      </a:cubicBezTo>
                      <a:cubicBezTo>
                        <a:pt x="1089" y="322"/>
                        <a:pt x="1089" y="322"/>
                        <a:pt x="1089" y="322"/>
                      </a:cubicBezTo>
                      <a:cubicBezTo>
                        <a:pt x="1089" y="321"/>
                        <a:pt x="1089" y="321"/>
                        <a:pt x="1089" y="321"/>
                      </a:cubicBezTo>
                      <a:cubicBezTo>
                        <a:pt x="1088" y="320"/>
                        <a:pt x="1088" y="320"/>
                        <a:pt x="1088" y="320"/>
                      </a:cubicBezTo>
                      <a:cubicBezTo>
                        <a:pt x="1087" y="321"/>
                        <a:pt x="1087" y="321"/>
                        <a:pt x="1087" y="321"/>
                      </a:cubicBezTo>
                      <a:cubicBezTo>
                        <a:pt x="1085" y="320"/>
                        <a:pt x="1085" y="320"/>
                        <a:pt x="1085" y="320"/>
                      </a:cubicBezTo>
                      <a:cubicBezTo>
                        <a:pt x="1084" y="320"/>
                        <a:pt x="1084" y="320"/>
                        <a:pt x="1084" y="320"/>
                      </a:cubicBezTo>
                      <a:cubicBezTo>
                        <a:pt x="1084" y="321"/>
                        <a:pt x="1084" y="321"/>
                        <a:pt x="1084" y="321"/>
                      </a:cubicBezTo>
                      <a:cubicBezTo>
                        <a:pt x="1084" y="323"/>
                        <a:pt x="1084" y="323"/>
                        <a:pt x="1084" y="323"/>
                      </a:cubicBezTo>
                      <a:cubicBezTo>
                        <a:pt x="1084" y="323"/>
                        <a:pt x="1084" y="323"/>
                        <a:pt x="1084" y="323"/>
                      </a:cubicBezTo>
                      <a:cubicBezTo>
                        <a:pt x="1083" y="325"/>
                        <a:pt x="1083" y="325"/>
                        <a:pt x="1083" y="325"/>
                      </a:cubicBezTo>
                      <a:cubicBezTo>
                        <a:pt x="1082" y="325"/>
                        <a:pt x="1082" y="325"/>
                        <a:pt x="1082" y="325"/>
                      </a:cubicBezTo>
                      <a:cubicBezTo>
                        <a:pt x="1082" y="326"/>
                        <a:pt x="1082" y="326"/>
                        <a:pt x="1082" y="326"/>
                      </a:cubicBezTo>
                      <a:cubicBezTo>
                        <a:pt x="1082" y="328"/>
                        <a:pt x="1082" y="328"/>
                        <a:pt x="1082" y="328"/>
                      </a:cubicBezTo>
                      <a:cubicBezTo>
                        <a:pt x="1080" y="327"/>
                        <a:pt x="1080" y="327"/>
                        <a:pt x="1080" y="327"/>
                      </a:cubicBezTo>
                      <a:cubicBezTo>
                        <a:pt x="1078" y="325"/>
                        <a:pt x="1078" y="325"/>
                        <a:pt x="1078" y="325"/>
                      </a:cubicBezTo>
                      <a:cubicBezTo>
                        <a:pt x="1077" y="325"/>
                        <a:pt x="1077" y="325"/>
                        <a:pt x="1077" y="325"/>
                      </a:cubicBezTo>
                      <a:cubicBezTo>
                        <a:pt x="1078" y="327"/>
                        <a:pt x="1078" y="327"/>
                        <a:pt x="1078" y="327"/>
                      </a:cubicBezTo>
                      <a:cubicBezTo>
                        <a:pt x="1076" y="328"/>
                        <a:pt x="1076" y="328"/>
                        <a:pt x="1076" y="328"/>
                      </a:cubicBezTo>
                      <a:cubicBezTo>
                        <a:pt x="1077" y="329"/>
                        <a:pt x="1077" y="329"/>
                        <a:pt x="1077" y="329"/>
                      </a:cubicBezTo>
                      <a:cubicBezTo>
                        <a:pt x="1075" y="330"/>
                        <a:pt x="1075" y="330"/>
                        <a:pt x="1075" y="330"/>
                      </a:cubicBezTo>
                      <a:cubicBezTo>
                        <a:pt x="1072" y="331"/>
                        <a:pt x="1072" y="331"/>
                        <a:pt x="1072" y="331"/>
                      </a:cubicBezTo>
                      <a:cubicBezTo>
                        <a:pt x="1072" y="332"/>
                        <a:pt x="1072" y="332"/>
                        <a:pt x="1072" y="332"/>
                      </a:cubicBezTo>
                      <a:cubicBezTo>
                        <a:pt x="1069" y="329"/>
                        <a:pt x="1069" y="329"/>
                        <a:pt x="1069" y="329"/>
                      </a:cubicBezTo>
                      <a:cubicBezTo>
                        <a:pt x="1067" y="329"/>
                        <a:pt x="1067" y="329"/>
                        <a:pt x="1067" y="329"/>
                      </a:cubicBezTo>
                      <a:cubicBezTo>
                        <a:pt x="1067" y="328"/>
                        <a:pt x="1067" y="328"/>
                        <a:pt x="1067" y="328"/>
                      </a:cubicBezTo>
                      <a:cubicBezTo>
                        <a:pt x="1067" y="327"/>
                        <a:pt x="1067" y="327"/>
                        <a:pt x="1067" y="327"/>
                      </a:cubicBezTo>
                      <a:cubicBezTo>
                        <a:pt x="1069" y="327"/>
                        <a:pt x="1069" y="327"/>
                        <a:pt x="1069" y="327"/>
                      </a:cubicBezTo>
                      <a:cubicBezTo>
                        <a:pt x="1069" y="325"/>
                        <a:pt x="1069" y="325"/>
                        <a:pt x="1069" y="325"/>
                      </a:cubicBezTo>
                      <a:cubicBezTo>
                        <a:pt x="1069" y="324"/>
                        <a:pt x="1069" y="324"/>
                        <a:pt x="1069" y="324"/>
                      </a:cubicBezTo>
                      <a:cubicBezTo>
                        <a:pt x="1072" y="324"/>
                        <a:pt x="1072" y="324"/>
                        <a:pt x="1072" y="324"/>
                      </a:cubicBezTo>
                      <a:cubicBezTo>
                        <a:pt x="1076" y="322"/>
                        <a:pt x="1076" y="322"/>
                        <a:pt x="1076" y="322"/>
                      </a:cubicBezTo>
                      <a:cubicBezTo>
                        <a:pt x="1075" y="320"/>
                        <a:pt x="1075" y="320"/>
                        <a:pt x="1075" y="320"/>
                      </a:cubicBezTo>
                      <a:cubicBezTo>
                        <a:pt x="1074" y="320"/>
                        <a:pt x="1074" y="320"/>
                        <a:pt x="1074" y="320"/>
                      </a:cubicBezTo>
                      <a:cubicBezTo>
                        <a:pt x="1072" y="322"/>
                        <a:pt x="1072" y="322"/>
                        <a:pt x="1072" y="322"/>
                      </a:cubicBezTo>
                      <a:cubicBezTo>
                        <a:pt x="1070" y="321"/>
                        <a:pt x="1070" y="321"/>
                        <a:pt x="1070" y="321"/>
                      </a:cubicBezTo>
                      <a:cubicBezTo>
                        <a:pt x="1069" y="320"/>
                        <a:pt x="1069" y="320"/>
                        <a:pt x="1069" y="320"/>
                      </a:cubicBezTo>
                      <a:cubicBezTo>
                        <a:pt x="1068" y="319"/>
                        <a:pt x="1068" y="319"/>
                        <a:pt x="1068" y="319"/>
                      </a:cubicBezTo>
                      <a:cubicBezTo>
                        <a:pt x="1066" y="319"/>
                        <a:pt x="1066" y="319"/>
                        <a:pt x="1066" y="319"/>
                      </a:cubicBezTo>
                      <a:cubicBezTo>
                        <a:pt x="1063" y="318"/>
                        <a:pt x="1063" y="318"/>
                        <a:pt x="1063" y="318"/>
                      </a:cubicBezTo>
                      <a:cubicBezTo>
                        <a:pt x="1060" y="318"/>
                        <a:pt x="1060" y="318"/>
                        <a:pt x="1060" y="318"/>
                      </a:cubicBezTo>
                      <a:cubicBezTo>
                        <a:pt x="1061" y="320"/>
                        <a:pt x="1061" y="320"/>
                        <a:pt x="1061" y="320"/>
                      </a:cubicBezTo>
                      <a:cubicBezTo>
                        <a:pt x="1060" y="320"/>
                        <a:pt x="1060" y="320"/>
                        <a:pt x="1060" y="320"/>
                      </a:cubicBezTo>
                      <a:cubicBezTo>
                        <a:pt x="1059" y="319"/>
                        <a:pt x="1059" y="319"/>
                        <a:pt x="1059" y="319"/>
                      </a:cubicBezTo>
                      <a:cubicBezTo>
                        <a:pt x="1059" y="318"/>
                        <a:pt x="1059" y="318"/>
                        <a:pt x="1059" y="318"/>
                      </a:cubicBezTo>
                      <a:cubicBezTo>
                        <a:pt x="1056" y="318"/>
                        <a:pt x="1056" y="318"/>
                        <a:pt x="1056" y="318"/>
                      </a:cubicBezTo>
                      <a:cubicBezTo>
                        <a:pt x="1053" y="318"/>
                        <a:pt x="1053" y="318"/>
                        <a:pt x="1053" y="318"/>
                      </a:cubicBezTo>
                      <a:cubicBezTo>
                        <a:pt x="1051" y="318"/>
                        <a:pt x="1051" y="318"/>
                        <a:pt x="1051" y="318"/>
                      </a:cubicBezTo>
                      <a:cubicBezTo>
                        <a:pt x="1050" y="317"/>
                        <a:pt x="1050" y="317"/>
                        <a:pt x="1050" y="317"/>
                      </a:cubicBezTo>
                      <a:cubicBezTo>
                        <a:pt x="1047" y="317"/>
                        <a:pt x="1047" y="317"/>
                        <a:pt x="1047" y="317"/>
                      </a:cubicBezTo>
                      <a:cubicBezTo>
                        <a:pt x="1044" y="320"/>
                        <a:pt x="1044" y="320"/>
                        <a:pt x="1044" y="320"/>
                      </a:cubicBezTo>
                      <a:cubicBezTo>
                        <a:pt x="1043" y="320"/>
                        <a:pt x="1043" y="320"/>
                        <a:pt x="1043" y="320"/>
                      </a:cubicBezTo>
                      <a:cubicBezTo>
                        <a:pt x="1043" y="322"/>
                        <a:pt x="1043" y="322"/>
                        <a:pt x="1043" y="322"/>
                      </a:cubicBezTo>
                      <a:cubicBezTo>
                        <a:pt x="1046" y="323"/>
                        <a:pt x="1046" y="323"/>
                        <a:pt x="1046" y="323"/>
                      </a:cubicBezTo>
                      <a:cubicBezTo>
                        <a:pt x="1043" y="324"/>
                        <a:pt x="1043" y="324"/>
                        <a:pt x="1043" y="324"/>
                      </a:cubicBezTo>
                      <a:cubicBezTo>
                        <a:pt x="1042" y="323"/>
                        <a:pt x="1042" y="323"/>
                        <a:pt x="1042" y="323"/>
                      </a:cubicBezTo>
                      <a:cubicBezTo>
                        <a:pt x="1041" y="325"/>
                        <a:pt x="1041" y="325"/>
                        <a:pt x="1041" y="325"/>
                      </a:cubicBezTo>
                      <a:cubicBezTo>
                        <a:pt x="1043" y="327"/>
                        <a:pt x="1043" y="327"/>
                        <a:pt x="1043" y="327"/>
                      </a:cubicBezTo>
                      <a:cubicBezTo>
                        <a:pt x="1044" y="326"/>
                        <a:pt x="1044" y="326"/>
                        <a:pt x="1044" y="326"/>
                      </a:cubicBezTo>
                      <a:cubicBezTo>
                        <a:pt x="1045" y="327"/>
                        <a:pt x="1045" y="327"/>
                        <a:pt x="1045" y="327"/>
                      </a:cubicBezTo>
                      <a:cubicBezTo>
                        <a:pt x="1045" y="328"/>
                        <a:pt x="1045" y="328"/>
                        <a:pt x="1045" y="328"/>
                      </a:cubicBezTo>
                      <a:cubicBezTo>
                        <a:pt x="1041" y="330"/>
                        <a:pt x="1041" y="330"/>
                        <a:pt x="1041" y="330"/>
                      </a:cubicBezTo>
                      <a:cubicBezTo>
                        <a:pt x="1040" y="328"/>
                        <a:pt x="1040" y="328"/>
                        <a:pt x="1040" y="328"/>
                      </a:cubicBezTo>
                      <a:cubicBezTo>
                        <a:pt x="1037" y="328"/>
                        <a:pt x="1037" y="328"/>
                        <a:pt x="1037" y="328"/>
                      </a:cubicBezTo>
                      <a:cubicBezTo>
                        <a:pt x="1036" y="329"/>
                        <a:pt x="1036" y="329"/>
                        <a:pt x="1036" y="329"/>
                      </a:cubicBezTo>
                      <a:cubicBezTo>
                        <a:pt x="1036" y="330"/>
                        <a:pt x="1036" y="330"/>
                        <a:pt x="1036" y="330"/>
                      </a:cubicBezTo>
                      <a:cubicBezTo>
                        <a:pt x="1035" y="330"/>
                        <a:pt x="1035" y="330"/>
                        <a:pt x="1035" y="330"/>
                      </a:cubicBezTo>
                      <a:cubicBezTo>
                        <a:pt x="1034" y="331"/>
                        <a:pt x="1034" y="331"/>
                        <a:pt x="1034" y="331"/>
                      </a:cubicBezTo>
                      <a:cubicBezTo>
                        <a:pt x="1033" y="331"/>
                        <a:pt x="1033" y="331"/>
                        <a:pt x="1033" y="331"/>
                      </a:cubicBezTo>
                      <a:cubicBezTo>
                        <a:pt x="1032" y="330"/>
                        <a:pt x="1032" y="330"/>
                        <a:pt x="1032" y="330"/>
                      </a:cubicBezTo>
                      <a:cubicBezTo>
                        <a:pt x="1028" y="330"/>
                        <a:pt x="1028" y="330"/>
                        <a:pt x="1028" y="330"/>
                      </a:cubicBezTo>
                      <a:cubicBezTo>
                        <a:pt x="1027" y="331"/>
                        <a:pt x="1027" y="331"/>
                        <a:pt x="1027" y="331"/>
                      </a:cubicBezTo>
                      <a:cubicBezTo>
                        <a:pt x="1023" y="330"/>
                        <a:pt x="1023" y="330"/>
                        <a:pt x="1023" y="330"/>
                      </a:cubicBezTo>
                      <a:cubicBezTo>
                        <a:pt x="1021" y="331"/>
                        <a:pt x="1021" y="331"/>
                        <a:pt x="1021" y="331"/>
                      </a:cubicBezTo>
                      <a:cubicBezTo>
                        <a:pt x="1021" y="332"/>
                        <a:pt x="1021" y="332"/>
                        <a:pt x="1021" y="332"/>
                      </a:cubicBezTo>
                      <a:cubicBezTo>
                        <a:pt x="1023" y="334"/>
                        <a:pt x="1023" y="334"/>
                        <a:pt x="1023" y="334"/>
                      </a:cubicBezTo>
                      <a:cubicBezTo>
                        <a:pt x="1022" y="336"/>
                        <a:pt x="1022" y="336"/>
                        <a:pt x="1022" y="336"/>
                      </a:cubicBezTo>
                      <a:cubicBezTo>
                        <a:pt x="1021" y="338"/>
                        <a:pt x="1021" y="338"/>
                        <a:pt x="1021" y="338"/>
                      </a:cubicBezTo>
                      <a:cubicBezTo>
                        <a:pt x="1019" y="336"/>
                        <a:pt x="1019" y="336"/>
                        <a:pt x="1019" y="336"/>
                      </a:cubicBezTo>
                      <a:cubicBezTo>
                        <a:pt x="1018" y="335"/>
                        <a:pt x="1018" y="335"/>
                        <a:pt x="1018" y="335"/>
                      </a:cubicBezTo>
                      <a:cubicBezTo>
                        <a:pt x="1019" y="333"/>
                        <a:pt x="1019" y="333"/>
                        <a:pt x="1019" y="333"/>
                      </a:cubicBezTo>
                      <a:cubicBezTo>
                        <a:pt x="1017" y="332"/>
                        <a:pt x="1017" y="332"/>
                        <a:pt x="1017" y="332"/>
                      </a:cubicBezTo>
                      <a:cubicBezTo>
                        <a:pt x="1016" y="334"/>
                        <a:pt x="1016" y="334"/>
                        <a:pt x="1016" y="334"/>
                      </a:cubicBezTo>
                      <a:cubicBezTo>
                        <a:pt x="1014" y="334"/>
                        <a:pt x="1014" y="334"/>
                        <a:pt x="1014" y="334"/>
                      </a:cubicBezTo>
                      <a:cubicBezTo>
                        <a:pt x="1013" y="334"/>
                        <a:pt x="1013" y="334"/>
                        <a:pt x="1013" y="334"/>
                      </a:cubicBezTo>
                      <a:cubicBezTo>
                        <a:pt x="1011" y="335"/>
                        <a:pt x="1011" y="335"/>
                        <a:pt x="1011" y="335"/>
                      </a:cubicBezTo>
                      <a:cubicBezTo>
                        <a:pt x="1009" y="335"/>
                        <a:pt x="1009" y="335"/>
                        <a:pt x="1009" y="335"/>
                      </a:cubicBezTo>
                      <a:cubicBezTo>
                        <a:pt x="1006" y="337"/>
                        <a:pt x="1006" y="337"/>
                        <a:pt x="1006" y="337"/>
                      </a:cubicBezTo>
                      <a:cubicBezTo>
                        <a:pt x="1003" y="337"/>
                        <a:pt x="1003" y="337"/>
                        <a:pt x="1003" y="337"/>
                      </a:cubicBezTo>
                      <a:cubicBezTo>
                        <a:pt x="1000" y="340"/>
                        <a:pt x="1000" y="340"/>
                        <a:pt x="1000" y="340"/>
                      </a:cubicBezTo>
                      <a:cubicBezTo>
                        <a:pt x="998" y="340"/>
                        <a:pt x="998" y="340"/>
                        <a:pt x="998" y="340"/>
                      </a:cubicBezTo>
                      <a:cubicBezTo>
                        <a:pt x="996" y="339"/>
                        <a:pt x="996" y="339"/>
                        <a:pt x="996" y="339"/>
                      </a:cubicBezTo>
                      <a:cubicBezTo>
                        <a:pt x="995" y="339"/>
                        <a:pt x="995" y="339"/>
                        <a:pt x="995" y="339"/>
                      </a:cubicBezTo>
                      <a:cubicBezTo>
                        <a:pt x="995" y="341"/>
                        <a:pt x="995" y="341"/>
                        <a:pt x="995" y="341"/>
                      </a:cubicBezTo>
                      <a:cubicBezTo>
                        <a:pt x="991" y="344"/>
                        <a:pt x="991" y="344"/>
                        <a:pt x="991" y="344"/>
                      </a:cubicBezTo>
                      <a:cubicBezTo>
                        <a:pt x="990" y="346"/>
                        <a:pt x="990" y="346"/>
                        <a:pt x="990" y="346"/>
                      </a:cubicBezTo>
                      <a:cubicBezTo>
                        <a:pt x="989" y="347"/>
                        <a:pt x="989" y="347"/>
                        <a:pt x="989" y="347"/>
                      </a:cubicBezTo>
                      <a:cubicBezTo>
                        <a:pt x="988" y="350"/>
                        <a:pt x="988" y="350"/>
                        <a:pt x="988" y="350"/>
                      </a:cubicBezTo>
                      <a:cubicBezTo>
                        <a:pt x="991" y="354"/>
                        <a:pt x="991" y="354"/>
                        <a:pt x="991" y="354"/>
                      </a:cubicBezTo>
                      <a:cubicBezTo>
                        <a:pt x="990" y="357"/>
                        <a:pt x="990" y="357"/>
                        <a:pt x="990" y="357"/>
                      </a:cubicBezTo>
                      <a:cubicBezTo>
                        <a:pt x="987" y="361"/>
                        <a:pt x="987" y="361"/>
                        <a:pt x="987" y="361"/>
                      </a:cubicBezTo>
                      <a:cubicBezTo>
                        <a:pt x="986" y="364"/>
                        <a:pt x="986" y="364"/>
                        <a:pt x="986" y="364"/>
                      </a:cubicBezTo>
                      <a:cubicBezTo>
                        <a:pt x="986" y="366"/>
                        <a:pt x="986" y="366"/>
                        <a:pt x="986" y="366"/>
                      </a:cubicBezTo>
                      <a:cubicBezTo>
                        <a:pt x="986" y="370"/>
                        <a:pt x="986" y="370"/>
                        <a:pt x="986" y="370"/>
                      </a:cubicBezTo>
                      <a:cubicBezTo>
                        <a:pt x="987" y="372"/>
                        <a:pt x="987" y="372"/>
                        <a:pt x="987" y="372"/>
                      </a:cubicBezTo>
                      <a:cubicBezTo>
                        <a:pt x="987" y="374"/>
                        <a:pt x="987" y="374"/>
                        <a:pt x="987" y="374"/>
                      </a:cubicBezTo>
                      <a:cubicBezTo>
                        <a:pt x="986" y="374"/>
                        <a:pt x="986" y="374"/>
                        <a:pt x="986" y="374"/>
                      </a:cubicBezTo>
                      <a:cubicBezTo>
                        <a:pt x="985" y="375"/>
                        <a:pt x="985" y="375"/>
                        <a:pt x="985" y="375"/>
                      </a:cubicBezTo>
                      <a:cubicBezTo>
                        <a:pt x="985" y="377"/>
                        <a:pt x="985" y="377"/>
                        <a:pt x="985" y="377"/>
                      </a:cubicBezTo>
                      <a:cubicBezTo>
                        <a:pt x="984" y="378"/>
                        <a:pt x="984" y="378"/>
                        <a:pt x="984" y="378"/>
                      </a:cubicBezTo>
                      <a:cubicBezTo>
                        <a:pt x="985" y="381"/>
                        <a:pt x="985" y="381"/>
                        <a:pt x="985" y="381"/>
                      </a:cubicBezTo>
                      <a:cubicBezTo>
                        <a:pt x="983" y="382"/>
                        <a:pt x="983" y="382"/>
                        <a:pt x="983" y="382"/>
                      </a:cubicBezTo>
                      <a:cubicBezTo>
                        <a:pt x="983" y="385"/>
                        <a:pt x="983" y="385"/>
                        <a:pt x="983" y="385"/>
                      </a:cubicBezTo>
                      <a:cubicBezTo>
                        <a:pt x="980" y="388"/>
                        <a:pt x="980" y="388"/>
                        <a:pt x="980" y="388"/>
                      </a:cubicBezTo>
                      <a:cubicBezTo>
                        <a:pt x="981" y="390"/>
                        <a:pt x="981" y="390"/>
                        <a:pt x="981" y="390"/>
                      </a:cubicBezTo>
                      <a:cubicBezTo>
                        <a:pt x="979" y="391"/>
                        <a:pt x="979" y="391"/>
                        <a:pt x="979" y="391"/>
                      </a:cubicBezTo>
                      <a:cubicBezTo>
                        <a:pt x="979" y="395"/>
                        <a:pt x="979" y="395"/>
                        <a:pt x="979" y="395"/>
                      </a:cubicBezTo>
                      <a:cubicBezTo>
                        <a:pt x="978" y="395"/>
                        <a:pt x="978" y="395"/>
                        <a:pt x="978" y="395"/>
                      </a:cubicBezTo>
                      <a:cubicBezTo>
                        <a:pt x="977" y="400"/>
                        <a:pt x="977" y="400"/>
                        <a:pt x="977" y="400"/>
                      </a:cubicBezTo>
                      <a:cubicBezTo>
                        <a:pt x="977" y="403"/>
                        <a:pt x="977" y="403"/>
                        <a:pt x="977" y="403"/>
                      </a:cubicBezTo>
                      <a:cubicBezTo>
                        <a:pt x="976" y="404"/>
                        <a:pt x="976" y="404"/>
                        <a:pt x="976" y="404"/>
                      </a:cubicBezTo>
                      <a:cubicBezTo>
                        <a:pt x="977" y="407"/>
                        <a:pt x="977" y="407"/>
                        <a:pt x="977" y="407"/>
                      </a:cubicBezTo>
                      <a:cubicBezTo>
                        <a:pt x="976" y="409"/>
                        <a:pt x="976" y="409"/>
                        <a:pt x="976" y="409"/>
                      </a:cubicBezTo>
                      <a:cubicBezTo>
                        <a:pt x="975" y="411"/>
                        <a:pt x="975" y="411"/>
                        <a:pt x="975" y="411"/>
                      </a:cubicBezTo>
                      <a:cubicBezTo>
                        <a:pt x="974" y="414"/>
                        <a:pt x="974" y="414"/>
                        <a:pt x="974" y="414"/>
                      </a:cubicBezTo>
                      <a:cubicBezTo>
                        <a:pt x="974" y="415"/>
                        <a:pt x="974" y="415"/>
                        <a:pt x="974" y="415"/>
                      </a:cubicBezTo>
                      <a:cubicBezTo>
                        <a:pt x="973" y="416"/>
                        <a:pt x="973" y="416"/>
                        <a:pt x="973" y="416"/>
                      </a:cubicBezTo>
                      <a:cubicBezTo>
                        <a:pt x="973" y="418"/>
                        <a:pt x="973" y="418"/>
                        <a:pt x="973" y="418"/>
                      </a:cubicBezTo>
                      <a:cubicBezTo>
                        <a:pt x="970" y="421"/>
                        <a:pt x="970" y="421"/>
                        <a:pt x="970" y="421"/>
                      </a:cubicBezTo>
                      <a:cubicBezTo>
                        <a:pt x="970" y="424"/>
                        <a:pt x="970" y="424"/>
                        <a:pt x="970" y="424"/>
                      </a:cubicBezTo>
                      <a:cubicBezTo>
                        <a:pt x="967" y="426"/>
                        <a:pt x="967" y="426"/>
                        <a:pt x="967" y="426"/>
                      </a:cubicBezTo>
                      <a:cubicBezTo>
                        <a:pt x="967" y="428"/>
                        <a:pt x="967" y="428"/>
                        <a:pt x="967" y="428"/>
                      </a:cubicBezTo>
                      <a:cubicBezTo>
                        <a:pt x="965" y="431"/>
                        <a:pt x="965" y="431"/>
                        <a:pt x="965" y="431"/>
                      </a:cubicBezTo>
                      <a:cubicBezTo>
                        <a:pt x="965" y="433"/>
                        <a:pt x="965" y="433"/>
                        <a:pt x="965" y="433"/>
                      </a:cubicBezTo>
                      <a:cubicBezTo>
                        <a:pt x="964" y="435"/>
                        <a:pt x="964" y="435"/>
                        <a:pt x="964" y="435"/>
                      </a:cubicBezTo>
                      <a:cubicBezTo>
                        <a:pt x="965" y="437"/>
                        <a:pt x="965" y="437"/>
                        <a:pt x="965" y="437"/>
                      </a:cubicBezTo>
                      <a:cubicBezTo>
                        <a:pt x="966" y="438"/>
                        <a:pt x="966" y="438"/>
                        <a:pt x="966" y="438"/>
                      </a:cubicBezTo>
                      <a:cubicBezTo>
                        <a:pt x="968" y="437"/>
                        <a:pt x="968" y="437"/>
                        <a:pt x="968" y="437"/>
                      </a:cubicBezTo>
                      <a:cubicBezTo>
                        <a:pt x="970" y="439"/>
                        <a:pt x="970" y="439"/>
                        <a:pt x="970" y="439"/>
                      </a:cubicBezTo>
                      <a:cubicBezTo>
                        <a:pt x="972" y="439"/>
                        <a:pt x="972" y="439"/>
                        <a:pt x="972" y="439"/>
                      </a:cubicBezTo>
                      <a:cubicBezTo>
                        <a:pt x="974" y="437"/>
                        <a:pt x="974" y="437"/>
                        <a:pt x="974" y="437"/>
                      </a:cubicBezTo>
                      <a:cubicBezTo>
                        <a:pt x="976" y="436"/>
                        <a:pt x="976" y="436"/>
                        <a:pt x="976" y="436"/>
                      </a:cubicBezTo>
                      <a:cubicBezTo>
                        <a:pt x="977" y="435"/>
                        <a:pt x="977" y="435"/>
                        <a:pt x="977" y="435"/>
                      </a:cubicBezTo>
                      <a:cubicBezTo>
                        <a:pt x="978" y="435"/>
                        <a:pt x="978" y="435"/>
                        <a:pt x="978" y="435"/>
                      </a:cubicBezTo>
                      <a:cubicBezTo>
                        <a:pt x="980" y="435"/>
                        <a:pt x="980" y="435"/>
                        <a:pt x="980" y="435"/>
                      </a:cubicBezTo>
                      <a:cubicBezTo>
                        <a:pt x="980" y="440"/>
                        <a:pt x="980" y="440"/>
                        <a:pt x="980" y="440"/>
                      </a:cubicBezTo>
                      <a:cubicBezTo>
                        <a:pt x="982" y="443"/>
                        <a:pt x="982" y="443"/>
                        <a:pt x="982" y="443"/>
                      </a:cubicBezTo>
                      <a:cubicBezTo>
                        <a:pt x="983" y="446"/>
                        <a:pt x="983" y="446"/>
                        <a:pt x="983" y="446"/>
                      </a:cubicBezTo>
                      <a:cubicBezTo>
                        <a:pt x="983" y="449"/>
                        <a:pt x="983" y="449"/>
                        <a:pt x="983" y="449"/>
                      </a:cubicBezTo>
                      <a:cubicBezTo>
                        <a:pt x="985" y="451"/>
                        <a:pt x="985" y="451"/>
                        <a:pt x="985" y="451"/>
                      </a:cubicBezTo>
                      <a:cubicBezTo>
                        <a:pt x="987" y="449"/>
                        <a:pt x="987" y="449"/>
                        <a:pt x="987" y="449"/>
                      </a:cubicBezTo>
                      <a:cubicBezTo>
                        <a:pt x="987" y="449"/>
                        <a:pt x="987" y="449"/>
                        <a:pt x="987" y="449"/>
                      </a:cubicBezTo>
                      <a:cubicBezTo>
                        <a:pt x="988" y="448"/>
                        <a:pt x="988" y="448"/>
                        <a:pt x="988" y="448"/>
                      </a:cubicBezTo>
                      <a:cubicBezTo>
                        <a:pt x="989" y="447"/>
                        <a:pt x="989" y="447"/>
                        <a:pt x="989" y="447"/>
                      </a:cubicBezTo>
                      <a:cubicBezTo>
                        <a:pt x="991" y="446"/>
                        <a:pt x="991" y="446"/>
                        <a:pt x="991" y="446"/>
                      </a:cubicBezTo>
                      <a:cubicBezTo>
                        <a:pt x="991" y="447"/>
                        <a:pt x="991" y="447"/>
                        <a:pt x="991" y="447"/>
                      </a:cubicBezTo>
                      <a:cubicBezTo>
                        <a:pt x="992" y="446"/>
                        <a:pt x="992" y="446"/>
                        <a:pt x="992" y="446"/>
                      </a:cubicBezTo>
                      <a:cubicBezTo>
                        <a:pt x="995" y="446"/>
                        <a:pt x="995" y="446"/>
                        <a:pt x="995" y="446"/>
                      </a:cubicBezTo>
                      <a:cubicBezTo>
                        <a:pt x="994" y="447"/>
                        <a:pt x="994" y="447"/>
                        <a:pt x="994" y="447"/>
                      </a:cubicBezTo>
                      <a:cubicBezTo>
                        <a:pt x="993" y="449"/>
                        <a:pt x="993" y="449"/>
                        <a:pt x="993" y="449"/>
                      </a:cubicBezTo>
                      <a:cubicBezTo>
                        <a:pt x="993" y="451"/>
                        <a:pt x="993" y="451"/>
                        <a:pt x="993" y="451"/>
                      </a:cubicBezTo>
                      <a:cubicBezTo>
                        <a:pt x="992" y="451"/>
                        <a:pt x="992" y="451"/>
                        <a:pt x="992" y="451"/>
                      </a:cubicBezTo>
                      <a:cubicBezTo>
                        <a:pt x="990" y="453"/>
                        <a:pt x="990" y="453"/>
                        <a:pt x="990" y="453"/>
                      </a:cubicBezTo>
                      <a:cubicBezTo>
                        <a:pt x="991" y="454"/>
                        <a:pt x="991" y="454"/>
                        <a:pt x="991" y="454"/>
                      </a:cubicBezTo>
                      <a:cubicBezTo>
                        <a:pt x="995" y="453"/>
                        <a:pt x="995" y="453"/>
                        <a:pt x="995" y="453"/>
                      </a:cubicBezTo>
                      <a:cubicBezTo>
                        <a:pt x="998" y="452"/>
                        <a:pt x="998" y="452"/>
                        <a:pt x="998" y="452"/>
                      </a:cubicBezTo>
                      <a:cubicBezTo>
                        <a:pt x="998" y="449"/>
                        <a:pt x="998" y="449"/>
                        <a:pt x="998" y="449"/>
                      </a:cubicBezTo>
                      <a:cubicBezTo>
                        <a:pt x="998" y="447"/>
                        <a:pt x="998" y="447"/>
                        <a:pt x="998" y="447"/>
                      </a:cubicBezTo>
                      <a:cubicBezTo>
                        <a:pt x="999" y="445"/>
                        <a:pt x="999" y="445"/>
                        <a:pt x="999" y="445"/>
                      </a:cubicBezTo>
                      <a:cubicBezTo>
                        <a:pt x="1000" y="448"/>
                        <a:pt x="1000" y="448"/>
                        <a:pt x="1000" y="448"/>
                      </a:cubicBezTo>
                      <a:cubicBezTo>
                        <a:pt x="1000" y="451"/>
                        <a:pt x="1000" y="451"/>
                        <a:pt x="1000" y="451"/>
                      </a:cubicBezTo>
                      <a:cubicBezTo>
                        <a:pt x="1000" y="453"/>
                        <a:pt x="1000" y="453"/>
                        <a:pt x="1000" y="453"/>
                      </a:cubicBezTo>
                      <a:cubicBezTo>
                        <a:pt x="1001" y="452"/>
                        <a:pt x="1001" y="452"/>
                        <a:pt x="1001" y="452"/>
                      </a:cubicBezTo>
                      <a:cubicBezTo>
                        <a:pt x="1002" y="449"/>
                        <a:pt x="1002" y="449"/>
                        <a:pt x="1002" y="449"/>
                      </a:cubicBezTo>
                      <a:cubicBezTo>
                        <a:pt x="1001" y="446"/>
                        <a:pt x="1001" y="446"/>
                        <a:pt x="1001" y="446"/>
                      </a:cubicBezTo>
                      <a:cubicBezTo>
                        <a:pt x="1001" y="444"/>
                        <a:pt x="1001" y="444"/>
                        <a:pt x="1001" y="444"/>
                      </a:cubicBezTo>
                      <a:cubicBezTo>
                        <a:pt x="1000" y="443"/>
                        <a:pt x="1000" y="443"/>
                        <a:pt x="1000" y="443"/>
                      </a:cubicBezTo>
                      <a:cubicBezTo>
                        <a:pt x="999" y="439"/>
                        <a:pt x="999" y="439"/>
                        <a:pt x="999" y="439"/>
                      </a:cubicBezTo>
                      <a:cubicBezTo>
                        <a:pt x="1001" y="439"/>
                        <a:pt x="1001" y="439"/>
                        <a:pt x="1001" y="439"/>
                      </a:cubicBezTo>
                      <a:cubicBezTo>
                        <a:pt x="1003" y="440"/>
                        <a:pt x="1003" y="440"/>
                        <a:pt x="1003" y="440"/>
                      </a:cubicBezTo>
                      <a:cubicBezTo>
                        <a:pt x="1002" y="441"/>
                        <a:pt x="1002" y="441"/>
                        <a:pt x="1002" y="441"/>
                      </a:cubicBezTo>
                      <a:cubicBezTo>
                        <a:pt x="1003" y="442"/>
                        <a:pt x="1003" y="442"/>
                        <a:pt x="1003" y="442"/>
                      </a:cubicBezTo>
                      <a:cubicBezTo>
                        <a:pt x="1004" y="442"/>
                        <a:pt x="1004" y="442"/>
                        <a:pt x="1004" y="442"/>
                      </a:cubicBezTo>
                      <a:cubicBezTo>
                        <a:pt x="1005" y="441"/>
                        <a:pt x="1005" y="441"/>
                        <a:pt x="1005" y="441"/>
                      </a:cubicBezTo>
                      <a:cubicBezTo>
                        <a:pt x="1007" y="441"/>
                        <a:pt x="1007" y="441"/>
                        <a:pt x="1007" y="441"/>
                      </a:cubicBezTo>
                      <a:cubicBezTo>
                        <a:pt x="1009" y="439"/>
                        <a:pt x="1009" y="439"/>
                        <a:pt x="1009" y="439"/>
                      </a:cubicBezTo>
                      <a:cubicBezTo>
                        <a:pt x="1011" y="441"/>
                        <a:pt x="1011" y="441"/>
                        <a:pt x="1011" y="441"/>
                      </a:cubicBezTo>
                      <a:cubicBezTo>
                        <a:pt x="1014" y="441"/>
                        <a:pt x="1014" y="441"/>
                        <a:pt x="1014" y="441"/>
                      </a:cubicBezTo>
                      <a:cubicBezTo>
                        <a:pt x="1015" y="442"/>
                        <a:pt x="1015" y="442"/>
                        <a:pt x="1015" y="442"/>
                      </a:cubicBezTo>
                      <a:cubicBezTo>
                        <a:pt x="1016" y="445"/>
                        <a:pt x="1016" y="445"/>
                        <a:pt x="1016" y="445"/>
                      </a:cubicBezTo>
                      <a:cubicBezTo>
                        <a:pt x="1017" y="445"/>
                        <a:pt x="1017" y="445"/>
                        <a:pt x="1017" y="445"/>
                      </a:cubicBezTo>
                      <a:cubicBezTo>
                        <a:pt x="1020" y="446"/>
                        <a:pt x="1020" y="446"/>
                        <a:pt x="1020" y="446"/>
                      </a:cubicBezTo>
                      <a:cubicBezTo>
                        <a:pt x="1021" y="447"/>
                        <a:pt x="1021" y="447"/>
                        <a:pt x="1021" y="447"/>
                      </a:cubicBezTo>
                      <a:cubicBezTo>
                        <a:pt x="1025" y="449"/>
                        <a:pt x="1025" y="449"/>
                        <a:pt x="1025" y="449"/>
                      </a:cubicBezTo>
                      <a:cubicBezTo>
                        <a:pt x="1026" y="450"/>
                        <a:pt x="1026" y="450"/>
                        <a:pt x="1026" y="450"/>
                      </a:cubicBezTo>
                      <a:cubicBezTo>
                        <a:pt x="1027" y="450"/>
                        <a:pt x="1027" y="450"/>
                        <a:pt x="1027" y="450"/>
                      </a:cubicBezTo>
                      <a:cubicBezTo>
                        <a:pt x="1029" y="452"/>
                        <a:pt x="1029" y="452"/>
                        <a:pt x="1029" y="452"/>
                      </a:cubicBezTo>
                      <a:cubicBezTo>
                        <a:pt x="1030" y="452"/>
                        <a:pt x="1030" y="452"/>
                        <a:pt x="1030" y="452"/>
                      </a:cubicBezTo>
                      <a:cubicBezTo>
                        <a:pt x="1031" y="455"/>
                        <a:pt x="1031" y="455"/>
                        <a:pt x="1031" y="455"/>
                      </a:cubicBezTo>
                      <a:cubicBezTo>
                        <a:pt x="1030" y="457"/>
                        <a:pt x="1030" y="457"/>
                        <a:pt x="1030" y="457"/>
                      </a:cubicBezTo>
                      <a:cubicBezTo>
                        <a:pt x="1030" y="458"/>
                        <a:pt x="1030" y="458"/>
                        <a:pt x="1030" y="458"/>
                      </a:cubicBezTo>
                      <a:cubicBezTo>
                        <a:pt x="1029" y="459"/>
                        <a:pt x="1029" y="459"/>
                        <a:pt x="1029" y="459"/>
                      </a:cubicBezTo>
                      <a:cubicBezTo>
                        <a:pt x="1031" y="461"/>
                        <a:pt x="1031" y="461"/>
                        <a:pt x="1031" y="461"/>
                      </a:cubicBezTo>
                      <a:cubicBezTo>
                        <a:pt x="1032" y="461"/>
                        <a:pt x="1032" y="461"/>
                        <a:pt x="1032" y="461"/>
                      </a:cubicBezTo>
                      <a:cubicBezTo>
                        <a:pt x="1035" y="464"/>
                        <a:pt x="1035" y="464"/>
                        <a:pt x="1035" y="464"/>
                      </a:cubicBezTo>
                      <a:cubicBezTo>
                        <a:pt x="1035" y="466"/>
                        <a:pt x="1035" y="466"/>
                        <a:pt x="1035" y="466"/>
                      </a:cubicBezTo>
                      <a:cubicBezTo>
                        <a:pt x="1034" y="468"/>
                        <a:pt x="1034" y="468"/>
                        <a:pt x="1034" y="468"/>
                      </a:cubicBezTo>
                      <a:cubicBezTo>
                        <a:pt x="1034" y="470"/>
                        <a:pt x="1034" y="470"/>
                        <a:pt x="1034" y="470"/>
                      </a:cubicBezTo>
                      <a:cubicBezTo>
                        <a:pt x="1036" y="472"/>
                        <a:pt x="1036" y="472"/>
                        <a:pt x="1036" y="472"/>
                      </a:cubicBezTo>
                      <a:cubicBezTo>
                        <a:pt x="1037" y="472"/>
                        <a:pt x="1037" y="472"/>
                        <a:pt x="1037" y="472"/>
                      </a:cubicBezTo>
                      <a:cubicBezTo>
                        <a:pt x="1038" y="471"/>
                        <a:pt x="1038" y="471"/>
                        <a:pt x="1038" y="471"/>
                      </a:cubicBezTo>
                      <a:cubicBezTo>
                        <a:pt x="1039" y="473"/>
                        <a:pt x="1039" y="473"/>
                        <a:pt x="1039" y="473"/>
                      </a:cubicBezTo>
                      <a:cubicBezTo>
                        <a:pt x="1038" y="474"/>
                        <a:pt x="1038" y="474"/>
                        <a:pt x="1038" y="474"/>
                      </a:cubicBezTo>
                      <a:cubicBezTo>
                        <a:pt x="1038" y="476"/>
                        <a:pt x="1038" y="476"/>
                        <a:pt x="1038" y="476"/>
                      </a:cubicBezTo>
                      <a:cubicBezTo>
                        <a:pt x="1040" y="478"/>
                        <a:pt x="1040" y="478"/>
                        <a:pt x="1040" y="478"/>
                      </a:cubicBezTo>
                      <a:cubicBezTo>
                        <a:pt x="1039" y="479"/>
                        <a:pt x="1039" y="479"/>
                        <a:pt x="1039" y="479"/>
                      </a:cubicBezTo>
                      <a:cubicBezTo>
                        <a:pt x="1038" y="480"/>
                        <a:pt x="1038" y="480"/>
                        <a:pt x="1038" y="480"/>
                      </a:cubicBezTo>
                      <a:cubicBezTo>
                        <a:pt x="1039" y="482"/>
                        <a:pt x="1039" y="482"/>
                        <a:pt x="1039" y="482"/>
                      </a:cubicBezTo>
                      <a:cubicBezTo>
                        <a:pt x="1038" y="484"/>
                        <a:pt x="1038" y="484"/>
                        <a:pt x="1038" y="484"/>
                      </a:cubicBezTo>
                      <a:cubicBezTo>
                        <a:pt x="1039" y="484"/>
                        <a:pt x="1039" y="484"/>
                        <a:pt x="1039" y="484"/>
                      </a:cubicBezTo>
                      <a:cubicBezTo>
                        <a:pt x="1039" y="486"/>
                        <a:pt x="1039" y="486"/>
                        <a:pt x="1039" y="486"/>
                      </a:cubicBezTo>
                      <a:cubicBezTo>
                        <a:pt x="1038" y="487"/>
                        <a:pt x="1038" y="487"/>
                        <a:pt x="1038" y="487"/>
                      </a:cubicBezTo>
                      <a:cubicBezTo>
                        <a:pt x="1039" y="487"/>
                        <a:pt x="1039" y="487"/>
                        <a:pt x="1039" y="487"/>
                      </a:cubicBezTo>
                      <a:cubicBezTo>
                        <a:pt x="1038" y="489"/>
                        <a:pt x="1038" y="489"/>
                        <a:pt x="1038" y="489"/>
                      </a:cubicBezTo>
                      <a:cubicBezTo>
                        <a:pt x="1040" y="494"/>
                        <a:pt x="1040" y="494"/>
                        <a:pt x="1040" y="494"/>
                      </a:cubicBezTo>
                      <a:cubicBezTo>
                        <a:pt x="1039" y="495"/>
                        <a:pt x="1039" y="495"/>
                        <a:pt x="1039" y="495"/>
                      </a:cubicBezTo>
                      <a:cubicBezTo>
                        <a:pt x="1040" y="499"/>
                        <a:pt x="1040" y="499"/>
                        <a:pt x="1040" y="499"/>
                      </a:cubicBezTo>
                      <a:cubicBezTo>
                        <a:pt x="1040" y="500"/>
                        <a:pt x="1040" y="500"/>
                        <a:pt x="1040" y="500"/>
                      </a:cubicBezTo>
                      <a:cubicBezTo>
                        <a:pt x="1040" y="502"/>
                        <a:pt x="1040" y="502"/>
                        <a:pt x="1040" y="502"/>
                      </a:cubicBezTo>
                      <a:cubicBezTo>
                        <a:pt x="1042" y="508"/>
                        <a:pt x="1042" y="508"/>
                        <a:pt x="1042" y="508"/>
                      </a:cubicBezTo>
                      <a:cubicBezTo>
                        <a:pt x="1043" y="508"/>
                        <a:pt x="1043" y="508"/>
                        <a:pt x="1043" y="508"/>
                      </a:cubicBezTo>
                      <a:cubicBezTo>
                        <a:pt x="1045" y="507"/>
                        <a:pt x="1045" y="507"/>
                        <a:pt x="1045" y="507"/>
                      </a:cubicBezTo>
                      <a:cubicBezTo>
                        <a:pt x="1045" y="508"/>
                        <a:pt x="1045" y="508"/>
                        <a:pt x="1045" y="508"/>
                      </a:cubicBezTo>
                      <a:cubicBezTo>
                        <a:pt x="1044" y="511"/>
                        <a:pt x="1044" y="511"/>
                        <a:pt x="1044" y="511"/>
                      </a:cubicBezTo>
                      <a:cubicBezTo>
                        <a:pt x="1043" y="512"/>
                        <a:pt x="1043" y="512"/>
                        <a:pt x="1043" y="512"/>
                      </a:cubicBezTo>
                      <a:cubicBezTo>
                        <a:pt x="1044" y="513"/>
                        <a:pt x="1044" y="513"/>
                        <a:pt x="1044" y="513"/>
                      </a:cubicBezTo>
                      <a:cubicBezTo>
                        <a:pt x="1045" y="513"/>
                        <a:pt x="1045" y="513"/>
                        <a:pt x="1045" y="513"/>
                      </a:cubicBezTo>
                      <a:cubicBezTo>
                        <a:pt x="1048" y="516"/>
                        <a:pt x="1048" y="516"/>
                        <a:pt x="1048" y="516"/>
                      </a:cubicBezTo>
                      <a:cubicBezTo>
                        <a:pt x="1047" y="520"/>
                        <a:pt x="1047" y="520"/>
                        <a:pt x="1047" y="520"/>
                      </a:cubicBezTo>
                      <a:cubicBezTo>
                        <a:pt x="1048" y="521"/>
                        <a:pt x="1048" y="521"/>
                        <a:pt x="1048" y="521"/>
                      </a:cubicBezTo>
                      <a:cubicBezTo>
                        <a:pt x="1048" y="523"/>
                        <a:pt x="1048" y="523"/>
                        <a:pt x="1048" y="523"/>
                      </a:cubicBezTo>
                      <a:cubicBezTo>
                        <a:pt x="1048" y="527"/>
                        <a:pt x="1048" y="527"/>
                        <a:pt x="1048" y="527"/>
                      </a:cubicBezTo>
                      <a:cubicBezTo>
                        <a:pt x="1050" y="527"/>
                        <a:pt x="1050" y="527"/>
                        <a:pt x="1050" y="527"/>
                      </a:cubicBezTo>
                      <a:cubicBezTo>
                        <a:pt x="1050" y="530"/>
                        <a:pt x="1050" y="530"/>
                        <a:pt x="1050" y="530"/>
                      </a:cubicBezTo>
                      <a:cubicBezTo>
                        <a:pt x="1049" y="530"/>
                        <a:pt x="1049" y="530"/>
                        <a:pt x="1049" y="530"/>
                      </a:cubicBezTo>
                      <a:cubicBezTo>
                        <a:pt x="1049" y="533"/>
                        <a:pt x="1049" y="533"/>
                        <a:pt x="1049" y="533"/>
                      </a:cubicBezTo>
                      <a:cubicBezTo>
                        <a:pt x="1050" y="535"/>
                        <a:pt x="1050" y="535"/>
                        <a:pt x="1050" y="535"/>
                      </a:cubicBezTo>
                      <a:cubicBezTo>
                        <a:pt x="1050" y="538"/>
                        <a:pt x="1050" y="538"/>
                        <a:pt x="1050" y="538"/>
                      </a:cubicBezTo>
                      <a:cubicBezTo>
                        <a:pt x="1048" y="541"/>
                        <a:pt x="1048" y="541"/>
                        <a:pt x="1048" y="541"/>
                      </a:cubicBezTo>
                      <a:cubicBezTo>
                        <a:pt x="1047" y="544"/>
                        <a:pt x="1047" y="544"/>
                        <a:pt x="1047" y="544"/>
                      </a:cubicBezTo>
                      <a:cubicBezTo>
                        <a:pt x="1046" y="547"/>
                        <a:pt x="1046" y="547"/>
                        <a:pt x="1046" y="547"/>
                      </a:cubicBezTo>
                      <a:cubicBezTo>
                        <a:pt x="1047" y="550"/>
                        <a:pt x="1047" y="550"/>
                        <a:pt x="1047" y="550"/>
                      </a:cubicBezTo>
                      <a:cubicBezTo>
                        <a:pt x="1047" y="550"/>
                        <a:pt x="1047" y="550"/>
                        <a:pt x="1047" y="550"/>
                      </a:cubicBezTo>
                      <a:cubicBezTo>
                        <a:pt x="1047" y="553"/>
                        <a:pt x="1047" y="553"/>
                        <a:pt x="1047" y="553"/>
                      </a:cubicBezTo>
                      <a:cubicBezTo>
                        <a:pt x="1045" y="555"/>
                        <a:pt x="1045" y="555"/>
                        <a:pt x="1045" y="555"/>
                      </a:cubicBezTo>
                      <a:cubicBezTo>
                        <a:pt x="1045" y="558"/>
                        <a:pt x="1045" y="558"/>
                        <a:pt x="1045" y="558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45" y="563"/>
                        <a:pt x="1045" y="563"/>
                        <a:pt x="1045" y="563"/>
                      </a:cubicBezTo>
                      <a:cubicBezTo>
                        <a:pt x="1043" y="565"/>
                        <a:pt x="1043" y="565"/>
                        <a:pt x="1043" y="565"/>
                      </a:cubicBezTo>
                      <a:cubicBezTo>
                        <a:pt x="1044" y="569"/>
                        <a:pt x="1044" y="569"/>
                        <a:pt x="1044" y="569"/>
                      </a:cubicBezTo>
                      <a:cubicBezTo>
                        <a:pt x="1042" y="571"/>
                        <a:pt x="1042" y="571"/>
                        <a:pt x="1042" y="571"/>
                      </a:cubicBezTo>
                      <a:cubicBezTo>
                        <a:pt x="1043" y="574"/>
                        <a:pt x="1043" y="574"/>
                        <a:pt x="1043" y="574"/>
                      </a:cubicBezTo>
                      <a:cubicBezTo>
                        <a:pt x="1043" y="574"/>
                        <a:pt x="1043" y="574"/>
                        <a:pt x="1043" y="574"/>
                      </a:cubicBezTo>
                      <a:cubicBezTo>
                        <a:pt x="1043" y="576"/>
                        <a:pt x="1043" y="576"/>
                        <a:pt x="1043" y="576"/>
                      </a:cubicBezTo>
                      <a:cubicBezTo>
                        <a:pt x="1041" y="579"/>
                        <a:pt x="1041" y="579"/>
                        <a:pt x="1041" y="579"/>
                      </a:cubicBezTo>
                      <a:cubicBezTo>
                        <a:pt x="1041" y="581"/>
                        <a:pt x="1041" y="581"/>
                        <a:pt x="1041" y="581"/>
                      </a:cubicBezTo>
                      <a:cubicBezTo>
                        <a:pt x="1039" y="583"/>
                        <a:pt x="1039" y="583"/>
                        <a:pt x="1039" y="583"/>
                      </a:cubicBezTo>
                      <a:cubicBezTo>
                        <a:pt x="1038" y="585"/>
                        <a:pt x="1038" y="585"/>
                        <a:pt x="1038" y="585"/>
                      </a:cubicBezTo>
                      <a:cubicBezTo>
                        <a:pt x="1036" y="588"/>
                        <a:pt x="1036" y="588"/>
                        <a:pt x="1036" y="588"/>
                      </a:cubicBezTo>
                      <a:cubicBezTo>
                        <a:pt x="1035" y="596"/>
                        <a:pt x="1035" y="596"/>
                        <a:pt x="1035" y="596"/>
                      </a:cubicBezTo>
                      <a:cubicBezTo>
                        <a:pt x="1034" y="597"/>
                        <a:pt x="1034" y="597"/>
                        <a:pt x="1034" y="597"/>
                      </a:cubicBezTo>
                      <a:cubicBezTo>
                        <a:pt x="1033" y="599"/>
                        <a:pt x="1033" y="599"/>
                        <a:pt x="1033" y="599"/>
                      </a:cubicBezTo>
                      <a:cubicBezTo>
                        <a:pt x="1034" y="600"/>
                        <a:pt x="1034" y="600"/>
                        <a:pt x="1034" y="600"/>
                      </a:cubicBezTo>
                      <a:cubicBezTo>
                        <a:pt x="1034" y="601"/>
                        <a:pt x="1034" y="601"/>
                        <a:pt x="1034" y="601"/>
                      </a:cubicBezTo>
                      <a:cubicBezTo>
                        <a:pt x="1031" y="603"/>
                        <a:pt x="1031" y="603"/>
                        <a:pt x="1031" y="603"/>
                      </a:cubicBezTo>
                      <a:cubicBezTo>
                        <a:pt x="1031" y="605"/>
                        <a:pt x="1031" y="605"/>
                        <a:pt x="1031" y="605"/>
                      </a:cubicBezTo>
                      <a:cubicBezTo>
                        <a:pt x="1029" y="606"/>
                        <a:pt x="1029" y="606"/>
                        <a:pt x="1029" y="606"/>
                      </a:cubicBezTo>
                      <a:cubicBezTo>
                        <a:pt x="1029" y="609"/>
                        <a:pt x="1029" y="609"/>
                        <a:pt x="1029" y="609"/>
                      </a:cubicBezTo>
                      <a:cubicBezTo>
                        <a:pt x="1028" y="609"/>
                        <a:pt x="1028" y="609"/>
                        <a:pt x="1028" y="609"/>
                      </a:cubicBezTo>
                      <a:cubicBezTo>
                        <a:pt x="1029" y="611"/>
                        <a:pt x="1029" y="611"/>
                        <a:pt x="1029" y="611"/>
                      </a:cubicBezTo>
                      <a:cubicBezTo>
                        <a:pt x="1027" y="614"/>
                        <a:pt x="1027" y="614"/>
                        <a:pt x="1027" y="614"/>
                      </a:cubicBezTo>
                      <a:cubicBezTo>
                        <a:pt x="1027" y="614"/>
                        <a:pt x="1027" y="614"/>
                        <a:pt x="1027" y="614"/>
                      </a:cubicBezTo>
                      <a:cubicBezTo>
                        <a:pt x="1025" y="613"/>
                        <a:pt x="1025" y="613"/>
                        <a:pt x="1025" y="613"/>
                      </a:cubicBezTo>
                      <a:cubicBezTo>
                        <a:pt x="1026" y="615"/>
                        <a:pt x="1026" y="615"/>
                        <a:pt x="1026" y="615"/>
                      </a:cubicBezTo>
                      <a:cubicBezTo>
                        <a:pt x="1026" y="618"/>
                        <a:pt x="1026" y="618"/>
                        <a:pt x="1026" y="618"/>
                      </a:cubicBezTo>
                      <a:cubicBezTo>
                        <a:pt x="1024" y="619"/>
                        <a:pt x="1024" y="619"/>
                        <a:pt x="1024" y="619"/>
                      </a:cubicBezTo>
                      <a:cubicBezTo>
                        <a:pt x="1024" y="620"/>
                        <a:pt x="1024" y="620"/>
                        <a:pt x="1024" y="620"/>
                      </a:cubicBezTo>
                      <a:cubicBezTo>
                        <a:pt x="1021" y="624"/>
                        <a:pt x="1021" y="624"/>
                        <a:pt x="1021" y="624"/>
                      </a:cubicBezTo>
                      <a:cubicBezTo>
                        <a:pt x="1020" y="626"/>
                        <a:pt x="1020" y="626"/>
                        <a:pt x="1020" y="626"/>
                      </a:cubicBezTo>
                      <a:cubicBezTo>
                        <a:pt x="1018" y="626"/>
                        <a:pt x="1018" y="626"/>
                        <a:pt x="1018" y="626"/>
                      </a:cubicBezTo>
                      <a:cubicBezTo>
                        <a:pt x="1018" y="628"/>
                        <a:pt x="1018" y="628"/>
                        <a:pt x="1018" y="628"/>
                      </a:cubicBezTo>
                      <a:cubicBezTo>
                        <a:pt x="1015" y="628"/>
                        <a:pt x="1015" y="628"/>
                        <a:pt x="1015" y="628"/>
                      </a:cubicBezTo>
                      <a:cubicBezTo>
                        <a:pt x="1013" y="630"/>
                        <a:pt x="1013" y="630"/>
                        <a:pt x="1013" y="630"/>
                      </a:cubicBezTo>
                      <a:cubicBezTo>
                        <a:pt x="1012" y="629"/>
                        <a:pt x="1012" y="629"/>
                        <a:pt x="1012" y="629"/>
                      </a:cubicBezTo>
                      <a:cubicBezTo>
                        <a:pt x="1011" y="630"/>
                        <a:pt x="1011" y="630"/>
                        <a:pt x="1011" y="630"/>
                      </a:cubicBezTo>
                      <a:cubicBezTo>
                        <a:pt x="1008" y="628"/>
                        <a:pt x="1008" y="628"/>
                        <a:pt x="1008" y="628"/>
                      </a:cubicBezTo>
                      <a:cubicBezTo>
                        <a:pt x="1005" y="628"/>
                        <a:pt x="1005" y="628"/>
                        <a:pt x="1005" y="628"/>
                      </a:cubicBezTo>
                      <a:cubicBezTo>
                        <a:pt x="1005" y="624"/>
                        <a:pt x="1005" y="624"/>
                        <a:pt x="1005" y="624"/>
                      </a:cubicBezTo>
                      <a:cubicBezTo>
                        <a:pt x="1004" y="623"/>
                        <a:pt x="1004" y="623"/>
                        <a:pt x="1004" y="623"/>
                      </a:cubicBezTo>
                      <a:cubicBezTo>
                        <a:pt x="1001" y="624"/>
                        <a:pt x="1001" y="624"/>
                        <a:pt x="1001" y="624"/>
                      </a:cubicBezTo>
                      <a:cubicBezTo>
                        <a:pt x="999" y="623"/>
                        <a:pt x="999" y="623"/>
                        <a:pt x="999" y="623"/>
                      </a:cubicBezTo>
                      <a:cubicBezTo>
                        <a:pt x="999" y="624"/>
                        <a:pt x="999" y="624"/>
                        <a:pt x="999" y="624"/>
                      </a:cubicBezTo>
                      <a:cubicBezTo>
                        <a:pt x="999" y="626"/>
                        <a:pt x="999" y="626"/>
                        <a:pt x="999" y="626"/>
                      </a:cubicBezTo>
                      <a:cubicBezTo>
                        <a:pt x="997" y="627"/>
                        <a:pt x="997" y="627"/>
                        <a:pt x="997" y="627"/>
                      </a:cubicBezTo>
                      <a:cubicBezTo>
                        <a:pt x="997" y="631"/>
                        <a:pt x="997" y="631"/>
                        <a:pt x="997" y="631"/>
                      </a:cubicBezTo>
                      <a:cubicBezTo>
                        <a:pt x="995" y="631"/>
                        <a:pt x="995" y="631"/>
                        <a:pt x="995" y="631"/>
                      </a:cubicBezTo>
                      <a:cubicBezTo>
                        <a:pt x="995" y="635"/>
                        <a:pt x="995" y="635"/>
                        <a:pt x="995" y="635"/>
                      </a:cubicBezTo>
                      <a:cubicBezTo>
                        <a:pt x="994" y="634"/>
                        <a:pt x="994" y="634"/>
                        <a:pt x="994" y="634"/>
                      </a:cubicBezTo>
                      <a:cubicBezTo>
                        <a:pt x="991" y="634"/>
                        <a:pt x="991" y="634"/>
                        <a:pt x="991" y="634"/>
                      </a:cubicBezTo>
                      <a:cubicBezTo>
                        <a:pt x="991" y="637"/>
                        <a:pt x="991" y="637"/>
                        <a:pt x="991" y="637"/>
                      </a:cubicBezTo>
                      <a:cubicBezTo>
                        <a:pt x="990" y="637"/>
                        <a:pt x="990" y="637"/>
                        <a:pt x="990" y="637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 dirty="0"/>
                </a:p>
              </p:txBody>
            </p:sp>
            <p:sp>
              <p:nvSpPr>
                <p:cNvPr id="847" name="Freeform 11">
                  <a:extLst>
                    <a:ext uri="{FF2B5EF4-FFF2-40B4-BE49-F238E27FC236}">
                      <a16:creationId xmlns:a16="http://schemas.microsoft.com/office/drawing/2014/main" xmlns="" id="{86A51075-0824-4ED4-A3DB-E0B530D46C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0" y="1245"/>
                  <a:ext cx="21" cy="5"/>
                </a:xfrm>
                <a:custGeom>
                  <a:avLst/>
                  <a:gdLst>
                    <a:gd name="T0" fmla="*/ 21 w 21"/>
                    <a:gd name="T1" fmla="*/ 3 h 5"/>
                    <a:gd name="T2" fmla="*/ 18 w 21"/>
                    <a:gd name="T3" fmla="*/ 0 h 5"/>
                    <a:gd name="T4" fmla="*/ 0 w 21"/>
                    <a:gd name="T5" fmla="*/ 5 h 5"/>
                    <a:gd name="T6" fmla="*/ 21 w 21"/>
                    <a:gd name="T7" fmla="*/ 3 h 5"/>
                    <a:gd name="T8" fmla="*/ 21 w 21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5">
                      <a:moveTo>
                        <a:pt x="21" y="3"/>
                      </a:moveTo>
                      <a:lnTo>
                        <a:pt x="18" y="0"/>
                      </a:lnTo>
                      <a:lnTo>
                        <a:pt x="0" y="5"/>
                      </a:lnTo>
                      <a:lnTo>
                        <a:pt x="21" y="3"/>
                      </a:lnTo>
                      <a:lnTo>
                        <a:pt x="2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8" name="Freeform 12">
                  <a:extLst>
                    <a:ext uri="{FF2B5EF4-FFF2-40B4-BE49-F238E27FC236}">
                      <a16:creationId xmlns:a16="http://schemas.microsoft.com/office/drawing/2014/main" xmlns="" id="{F3C7DFCE-5421-45C9-B26A-AF0E318845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" y="1176"/>
                  <a:ext cx="5" cy="4"/>
                </a:xfrm>
                <a:custGeom>
                  <a:avLst/>
                  <a:gdLst>
                    <a:gd name="T0" fmla="*/ 0 w 5"/>
                    <a:gd name="T1" fmla="*/ 4 h 4"/>
                    <a:gd name="T2" fmla="*/ 2 w 5"/>
                    <a:gd name="T3" fmla="*/ 4 h 4"/>
                    <a:gd name="T4" fmla="*/ 4 w 5"/>
                    <a:gd name="T5" fmla="*/ 2 h 4"/>
                    <a:gd name="T6" fmla="*/ 5 w 5"/>
                    <a:gd name="T7" fmla="*/ 0 h 4"/>
                    <a:gd name="T8" fmla="*/ 2 w 5"/>
                    <a:gd name="T9" fmla="*/ 0 h 4"/>
                    <a:gd name="T10" fmla="*/ 0 w 5"/>
                    <a:gd name="T11" fmla="*/ 4 h 4"/>
                    <a:gd name="T12" fmla="*/ 0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49" name="Freeform 13">
                  <a:extLst>
                    <a:ext uri="{FF2B5EF4-FFF2-40B4-BE49-F238E27FC236}">
                      <a16:creationId xmlns:a16="http://schemas.microsoft.com/office/drawing/2014/main" xmlns="" id="{0BDC7751-4762-40F0-B023-CDB3050E5C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9" y="193"/>
                  <a:ext cx="40" cy="31"/>
                </a:xfrm>
                <a:custGeom>
                  <a:avLst/>
                  <a:gdLst>
                    <a:gd name="T0" fmla="*/ 23 w 40"/>
                    <a:gd name="T1" fmla="*/ 29 h 31"/>
                    <a:gd name="T2" fmla="*/ 21 w 40"/>
                    <a:gd name="T3" fmla="*/ 26 h 31"/>
                    <a:gd name="T4" fmla="*/ 19 w 40"/>
                    <a:gd name="T5" fmla="*/ 21 h 31"/>
                    <a:gd name="T6" fmla="*/ 18 w 40"/>
                    <a:gd name="T7" fmla="*/ 18 h 31"/>
                    <a:gd name="T8" fmla="*/ 16 w 40"/>
                    <a:gd name="T9" fmla="*/ 18 h 31"/>
                    <a:gd name="T10" fmla="*/ 14 w 40"/>
                    <a:gd name="T11" fmla="*/ 15 h 31"/>
                    <a:gd name="T12" fmla="*/ 18 w 40"/>
                    <a:gd name="T13" fmla="*/ 11 h 31"/>
                    <a:gd name="T14" fmla="*/ 21 w 40"/>
                    <a:gd name="T15" fmla="*/ 8 h 31"/>
                    <a:gd name="T16" fmla="*/ 26 w 40"/>
                    <a:gd name="T17" fmla="*/ 8 h 31"/>
                    <a:gd name="T18" fmla="*/ 27 w 40"/>
                    <a:gd name="T19" fmla="*/ 6 h 31"/>
                    <a:gd name="T20" fmla="*/ 29 w 40"/>
                    <a:gd name="T21" fmla="*/ 6 h 31"/>
                    <a:gd name="T22" fmla="*/ 31 w 40"/>
                    <a:gd name="T23" fmla="*/ 10 h 31"/>
                    <a:gd name="T24" fmla="*/ 34 w 40"/>
                    <a:gd name="T25" fmla="*/ 11 h 31"/>
                    <a:gd name="T26" fmla="*/ 37 w 40"/>
                    <a:gd name="T27" fmla="*/ 11 h 31"/>
                    <a:gd name="T28" fmla="*/ 39 w 40"/>
                    <a:gd name="T29" fmla="*/ 10 h 31"/>
                    <a:gd name="T30" fmla="*/ 40 w 40"/>
                    <a:gd name="T31" fmla="*/ 10 h 31"/>
                    <a:gd name="T32" fmla="*/ 39 w 40"/>
                    <a:gd name="T33" fmla="*/ 6 h 31"/>
                    <a:gd name="T34" fmla="*/ 34 w 40"/>
                    <a:gd name="T35" fmla="*/ 6 h 31"/>
                    <a:gd name="T36" fmla="*/ 26 w 40"/>
                    <a:gd name="T37" fmla="*/ 1 h 31"/>
                    <a:gd name="T38" fmla="*/ 19 w 40"/>
                    <a:gd name="T39" fmla="*/ 0 h 31"/>
                    <a:gd name="T40" fmla="*/ 14 w 40"/>
                    <a:gd name="T41" fmla="*/ 0 h 31"/>
                    <a:gd name="T42" fmla="*/ 9 w 40"/>
                    <a:gd name="T43" fmla="*/ 6 h 31"/>
                    <a:gd name="T44" fmla="*/ 6 w 40"/>
                    <a:gd name="T45" fmla="*/ 10 h 31"/>
                    <a:gd name="T46" fmla="*/ 3 w 40"/>
                    <a:gd name="T47" fmla="*/ 11 h 31"/>
                    <a:gd name="T48" fmla="*/ 0 w 40"/>
                    <a:gd name="T49" fmla="*/ 15 h 31"/>
                    <a:gd name="T50" fmla="*/ 0 w 40"/>
                    <a:gd name="T51" fmla="*/ 23 h 31"/>
                    <a:gd name="T52" fmla="*/ 1 w 40"/>
                    <a:gd name="T53" fmla="*/ 24 h 31"/>
                    <a:gd name="T54" fmla="*/ 6 w 40"/>
                    <a:gd name="T55" fmla="*/ 23 h 31"/>
                    <a:gd name="T56" fmla="*/ 9 w 40"/>
                    <a:gd name="T57" fmla="*/ 24 h 31"/>
                    <a:gd name="T58" fmla="*/ 9 w 40"/>
                    <a:gd name="T59" fmla="*/ 28 h 31"/>
                    <a:gd name="T60" fmla="*/ 13 w 40"/>
                    <a:gd name="T61" fmla="*/ 28 h 31"/>
                    <a:gd name="T62" fmla="*/ 13 w 40"/>
                    <a:gd name="T63" fmla="*/ 26 h 31"/>
                    <a:gd name="T64" fmla="*/ 13 w 40"/>
                    <a:gd name="T65" fmla="*/ 24 h 31"/>
                    <a:gd name="T66" fmla="*/ 16 w 40"/>
                    <a:gd name="T67" fmla="*/ 23 h 31"/>
                    <a:gd name="T68" fmla="*/ 18 w 40"/>
                    <a:gd name="T69" fmla="*/ 24 h 31"/>
                    <a:gd name="T70" fmla="*/ 19 w 40"/>
                    <a:gd name="T71" fmla="*/ 29 h 31"/>
                    <a:gd name="T72" fmla="*/ 21 w 40"/>
                    <a:gd name="T73" fmla="*/ 31 h 31"/>
                    <a:gd name="T74" fmla="*/ 23 w 40"/>
                    <a:gd name="T75" fmla="*/ 29 h 31"/>
                    <a:gd name="T76" fmla="*/ 23 w 40"/>
                    <a:gd name="T77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0" h="31">
                      <a:moveTo>
                        <a:pt x="23" y="29"/>
                      </a:moveTo>
                      <a:lnTo>
                        <a:pt x="21" y="26"/>
                      </a:lnTo>
                      <a:lnTo>
                        <a:pt x="19" y="21"/>
                      </a:lnTo>
                      <a:lnTo>
                        <a:pt x="18" y="18"/>
                      </a:lnTo>
                      <a:lnTo>
                        <a:pt x="16" y="18"/>
                      </a:lnTo>
                      <a:lnTo>
                        <a:pt x="14" y="15"/>
                      </a:lnTo>
                      <a:lnTo>
                        <a:pt x="18" y="11"/>
                      </a:lnTo>
                      <a:lnTo>
                        <a:pt x="21" y="8"/>
                      </a:lnTo>
                      <a:lnTo>
                        <a:pt x="26" y="8"/>
                      </a:lnTo>
                      <a:lnTo>
                        <a:pt x="27" y="6"/>
                      </a:lnTo>
                      <a:lnTo>
                        <a:pt x="29" y="6"/>
                      </a:lnTo>
                      <a:lnTo>
                        <a:pt x="31" y="10"/>
                      </a:lnTo>
                      <a:lnTo>
                        <a:pt x="34" y="11"/>
                      </a:lnTo>
                      <a:lnTo>
                        <a:pt x="37" y="11"/>
                      </a:lnTo>
                      <a:lnTo>
                        <a:pt x="39" y="10"/>
                      </a:lnTo>
                      <a:lnTo>
                        <a:pt x="40" y="10"/>
                      </a:lnTo>
                      <a:lnTo>
                        <a:pt x="39" y="6"/>
                      </a:lnTo>
                      <a:lnTo>
                        <a:pt x="34" y="6"/>
                      </a:lnTo>
                      <a:lnTo>
                        <a:pt x="26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9" y="6"/>
                      </a:lnTo>
                      <a:lnTo>
                        <a:pt x="6" y="10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6" y="23"/>
                      </a:lnTo>
                      <a:lnTo>
                        <a:pt x="9" y="24"/>
                      </a:lnTo>
                      <a:lnTo>
                        <a:pt x="9" y="28"/>
                      </a:lnTo>
                      <a:lnTo>
                        <a:pt x="13" y="28"/>
                      </a:lnTo>
                      <a:lnTo>
                        <a:pt x="13" y="26"/>
                      </a:lnTo>
                      <a:lnTo>
                        <a:pt x="13" y="24"/>
                      </a:lnTo>
                      <a:lnTo>
                        <a:pt x="16" y="23"/>
                      </a:lnTo>
                      <a:lnTo>
                        <a:pt x="18" y="24"/>
                      </a:lnTo>
                      <a:lnTo>
                        <a:pt x="19" y="29"/>
                      </a:lnTo>
                      <a:lnTo>
                        <a:pt x="21" y="31"/>
                      </a:lnTo>
                      <a:lnTo>
                        <a:pt x="23" y="29"/>
                      </a:lnTo>
                      <a:lnTo>
                        <a:pt x="23" y="2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0" name="Freeform 14">
                  <a:extLst>
                    <a:ext uri="{FF2B5EF4-FFF2-40B4-BE49-F238E27FC236}">
                      <a16:creationId xmlns:a16="http://schemas.microsoft.com/office/drawing/2014/main" xmlns="" id="{5CC07EF3-9BD7-48D0-AE85-0641D035A3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6" y="168"/>
                  <a:ext cx="7" cy="7"/>
                </a:xfrm>
                <a:custGeom>
                  <a:avLst/>
                  <a:gdLst>
                    <a:gd name="T0" fmla="*/ 0 w 4"/>
                    <a:gd name="T1" fmla="*/ 4 h 4"/>
                    <a:gd name="T2" fmla="*/ 0 w 4"/>
                    <a:gd name="T3" fmla="*/ 1 h 4"/>
                    <a:gd name="T4" fmla="*/ 2 w 4"/>
                    <a:gd name="T5" fmla="*/ 0 h 4"/>
                    <a:gd name="T6" fmla="*/ 2 w 4"/>
                    <a:gd name="T7" fmla="*/ 0 h 4"/>
                    <a:gd name="T8" fmla="*/ 3 w 4"/>
                    <a:gd name="T9" fmla="*/ 2 h 4"/>
                    <a:gd name="T10" fmla="*/ 4 w 4"/>
                    <a:gd name="T11" fmla="*/ 3 h 4"/>
                    <a:gd name="T12" fmla="*/ 3 w 4"/>
                    <a:gd name="T13" fmla="*/ 4 h 4"/>
                    <a:gd name="T14" fmla="*/ 1 w 4"/>
                    <a:gd name="T15" fmla="*/ 4 h 4"/>
                    <a:gd name="T16" fmla="*/ 0 w 4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0" y="4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4"/>
                        <a:pt x="0" y="4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1" name="Freeform 15">
                  <a:extLst>
                    <a:ext uri="{FF2B5EF4-FFF2-40B4-BE49-F238E27FC236}">
                      <a16:creationId xmlns:a16="http://schemas.microsoft.com/office/drawing/2014/main" xmlns="" id="{AD6D8117-3EC3-41A6-AEBA-55ED902249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3" y="181"/>
                  <a:ext cx="43" cy="58"/>
                </a:xfrm>
                <a:custGeom>
                  <a:avLst/>
                  <a:gdLst>
                    <a:gd name="T0" fmla="*/ 18 w 43"/>
                    <a:gd name="T1" fmla="*/ 58 h 58"/>
                    <a:gd name="T2" fmla="*/ 21 w 43"/>
                    <a:gd name="T3" fmla="*/ 54 h 58"/>
                    <a:gd name="T4" fmla="*/ 21 w 43"/>
                    <a:gd name="T5" fmla="*/ 49 h 58"/>
                    <a:gd name="T6" fmla="*/ 25 w 43"/>
                    <a:gd name="T7" fmla="*/ 49 h 58"/>
                    <a:gd name="T8" fmla="*/ 25 w 43"/>
                    <a:gd name="T9" fmla="*/ 41 h 58"/>
                    <a:gd name="T10" fmla="*/ 23 w 43"/>
                    <a:gd name="T11" fmla="*/ 38 h 58"/>
                    <a:gd name="T12" fmla="*/ 28 w 43"/>
                    <a:gd name="T13" fmla="*/ 36 h 58"/>
                    <a:gd name="T14" fmla="*/ 34 w 43"/>
                    <a:gd name="T15" fmla="*/ 35 h 58"/>
                    <a:gd name="T16" fmla="*/ 33 w 43"/>
                    <a:gd name="T17" fmla="*/ 31 h 58"/>
                    <a:gd name="T18" fmla="*/ 30 w 43"/>
                    <a:gd name="T19" fmla="*/ 30 h 58"/>
                    <a:gd name="T20" fmla="*/ 30 w 43"/>
                    <a:gd name="T21" fmla="*/ 25 h 58"/>
                    <a:gd name="T22" fmla="*/ 33 w 43"/>
                    <a:gd name="T23" fmla="*/ 25 h 58"/>
                    <a:gd name="T24" fmla="*/ 34 w 43"/>
                    <a:gd name="T25" fmla="*/ 27 h 58"/>
                    <a:gd name="T26" fmla="*/ 39 w 43"/>
                    <a:gd name="T27" fmla="*/ 22 h 58"/>
                    <a:gd name="T28" fmla="*/ 43 w 43"/>
                    <a:gd name="T29" fmla="*/ 20 h 58"/>
                    <a:gd name="T30" fmla="*/ 41 w 43"/>
                    <a:gd name="T31" fmla="*/ 15 h 58"/>
                    <a:gd name="T32" fmla="*/ 36 w 43"/>
                    <a:gd name="T33" fmla="*/ 10 h 58"/>
                    <a:gd name="T34" fmla="*/ 31 w 43"/>
                    <a:gd name="T35" fmla="*/ 12 h 58"/>
                    <a:gd name="T36" fmla="*/ 28 w 43"/>
                    <a:gd name="T37" fmla="*/ 15 h 58"/>
                    <a:gd name="T38" fmla="*/ 28 w 43"/>
                    <a:gd name="T39" fmla="*/ 10 h 58"/>
                    <a:gd name="T40" fmla="*/ 33 w 43"/>
                    <a:gd name="T41" fmla="*/ 5 h 58"/>
                    <a:gd name="T42" fmla="*/ 31 w 43"/>
                    <a:gd name="T43" fmla="*/ 0 h 58"/>
                    <a:gd name="T44" fmla="*/ 26 w 43"/>
                    <a:gd name="T45" fmla="*/ 9 h 58"/>
                    <a:gd name="T46" fmla="*/ 25 w 43"/>
                    <a:gd name="T47" fmla="*/ 7 h 58"/>
                    <a:gd name="T48" fmla="*/ 25 w 43"/>
                    <a:gd name="T49" fmla="*/ 2 h 58"/>
                    <a:gd name="T50" fmla="*/ 23 w 43"/>
                    <a:gd name="T51" fmla="*/ 7 h 58"/>
                    <a:gd name="T52" fmla="*/ 20 w 43"/>
                    <a:gd name="T53" fmla="*/ 12 h 58"/>
                    <a:gd name="T54" fmla="*/ 23 w 43"/>
                    <a:gd name="T55" fmla="*/ 12 h 58"/>
                    <a:gd name="T56" fmla="*/ 25 w 43"/>
                    <a:gd name="T57" fmla="*/ 15 h 58"/>
                    <a:gd name="T58" fmla="*/ 20 w 43"/>
                    <a:gd name="T59" fmla="*/ 18 h 58"/>
                    <a:gd name="T60" fmla="*/ 20 w 43"/>
                    <a:gd name="T61" fmla="*/ 23 h 58"/>
                    <a:gd name="T62" fmla="*/ 15 w 43"/>
                    <a:gd name="T63" fmla="*/ 28 h 58"/>
                    <a:gd name="T64" fmla="*/ 10 w 43"/>
                    <a:gd name="T65" fmla="*/ 28 h 58"/>
                    <a:gd name="T66" fmla="*/ 3 w 43"/>
                    <a:gd name="T67" fmla="*/ 27 h 58"/>
                    <a:gd name="T68" fmla="*/ 0 w 43"/>
                    <a:gd name="T69" fmla="*/ 27 h 58"/>
                    <a:gd name="T70" fmla="*/ 0 w 43"/>
                    <a:gd name="T71" fmla="*/ 30 h 58"/>
                    <a:gd name="T72" fmla="*/ 2 w 43"/>
                    <a:gd name="T73" fmla="*/ 33 h 58"/>
                    <a:gd name="T74" fmla="*/ 7 w 43"/>
                    <a:gd name="T75" fmla="*/ 33 h 58"/>
                    <a:gd name="T76" fmla="*/ 10 w 43"/>
                    <a:gd name="T77" fmla="*/ 36 h 58"/>
                    <a:gd name="T78" fmla="*/ 10 w 43"/>
                    <a:gd name="T79" fmla="*/ 40 h 58"/>
                    <a:gd name="T80" fmla="*/ 3 w 43"/>
                    <a:gd name="T81" fmla="*/ 41 h 58"/>
                    <a:gd name="T82" fmla="*/ 5 w 43"/>
                    <a:gd name="T83" fmla="*/ 51 h 58"/>
                    <a:gd name="T84" fmla="*/ 5 w 43"/>
                    <a:gd name="T85" fmla="*/ 56 h 58"/>
                    <a:gd name="T86" fmla="*/ 10 w 43"/>
                    <a:gd name="T87" fmla="*/ 54 h 58"/>
                    <a:gd name="T88" fmla="*/ 12 w 43"/>
                    <a:gd name="T89" fmla="*/ 49 h 58"/>
                    <a:gd name="T90" fmla="*/ 16 w 43"/>
                    <a:gd name="T91" fmla="*/ 51 h 58"/>
                    <a:gd name="T92" fmla="*/ 16 w 43"/>
                    <a:gd name="T9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3" h="58">
                      <a:moveTo>
                        <a:pt x="16" y="58"/>
                      </a:moveTo>
                      <a:lnTo>
                        <a:pt x="18" y="58"/>
                      </a:lnTo>
                      <a:lnTo>
                        <a:pt x="20" y="56"/>
                      </a:lnTo>
                      <a:lnTo>
                        <a:pt x="21" y="54"/>
                      </a:lnTo>
                      <a:lnTo>
                        <a:pt x="21" y="51"/>
                      </a:lnTo>
                      <a:lnTo>
                        <a:pt x="21" y="49"/>
                      </a:lnTo>
                      <a:lnTo>
                        <a:pt x="23" y="51"/>
                      </a:lnTo>
                      <a:lnTo>
                        <a:pt x="25" y="49"/>
                      </a:lnTo>
                      <a:lnTo>
                        <a:pt x="26" y="46"/>
                      </a:lnTo>
                      <a:lnTo>
                        <a:pt x="25" y="41"/>
                      </a:lnTo>
                      <a:lnTo>
                        <a:pt x="23" y="38"/>
                      </a:lnTo>
                      <a:lnTo>
                        <a:pt x="23" y="38"/>
                      </a:lnTo>
                      <a:lnTo>
                        <a:pt x="26" y="36"/>
                      </a:lnTo>
                      <a:lnTo>
                        <a:pt x="28" y="36"/>
                      </a:lnTo>
                      <a:lnTo>
                        <a:pt x="33" y="35"/>
                      </a:lnTo>
                      <a:lnTo>
                        <a:pt x="34" y="35"/>
                      </a:lnTo>
                      <a:lnTo>
                        <a:pt x="34" y="33"/>
                      </a:lnTo>
                      <a:lnTo>
                        <a:pt x="33" y="31"/>
                      </a:lnTo>
                      <a:lnTo>
                        <a:pt x="33" y="30"/>
                      </a:lnTo>
                      <a:lnTo>
                        <a:pt x="30" y="30"/>
                      </a:lnTo>
                      <a:lnTo>
                        <a:pt x="30" y="28"/>
                      </a:lnTo>
                      <a:lnTo>
                        <a:pt x="30" y="25"/>
                      </a:lnTo>
                      <a:lnTo>
                        <a:pt x="31" y="25"/>
                      </a:lnTo>
                      <a:lnTo>
                        <a:pt x="33" y="25"/>
                      </a:lnTo>
                      <a:lnTo>
                        <a:pt x="33" y="25"/>
                      </a:lnTo>
                      <a:lnTo>
                        <a:pt x="34" y="27"/>
                      </a:lnTo>
                      <a:lnTo>
                        <a:pt x="36" y="25"/>
                      </a:lnTo>
                      <a:lnTo>
                        <a:pt x="39" y="22"/>
                      </a:lnTo>
                      <a:lnTo>
                        <a:pt x="43" y="20"/>
                      </a:lnTo>
                      <a:lnTo>
                        <a:pt x="43" y="20"/>
                      </a:lnTo>
                      <a:lnTo>
                        <a:pt x="41" y="17"/>
                      </a:lnTo>
                      <a:lnTo>
                        <a:pt x="41" y="15"/>
                      </a:lnTo>
                      <a:lnTo>
                        <a:pt x="38" y="12"/>
                      </a:lnTo>
                      <a:lnTo>
                        <a:pt x="36" y="10"/>
                      </a:lnTo>
                      <a:lnTo>
                        <a:pt x="34" y="10"/>
                      </a:lnTo>
                      <a:lnTo>
                        <a:pt x="31" y="12"/>
                      </a:lnTo>
                      <a:lnTo>
                        <a:pt x="30" y="15"/>
                      </a:lnTo>
                      <a:lnTo>
                        <a:pt x="28" y="15"/>
                      </a:lnTo>
                      <a:lnTo>
                        <a:pt x="28" y="13"/>
                      </a:lnTo>
                      <a:lnTo>
                        <a:pt x="28" y="10"/>
                      </a:lnTo>
                      <a:lnTo>
                        <a:pt x="31" y="9"/>
                      </a:lnTo>
                      <a:lnTo>
                        <a:pt x="33" y="5"/>
                      </a:lnTo>
                      <a:lnTo>
                        <a:pt x="33" y="0"/>
                      </a:lnTo>
                      <a:lnTo>
                        <a:pt x="31" y="0"/>
                      </a:lnTo>
                      <a:lnTo>
                        <a:pt x="28" y="4"/>
                      </a:lnTo>
                      <a:lnTo>
                        <a:pt x="26" y="9"/>
                      </a:lnTo>
                      <a:lnTo>
                        <a:pt x="26" y="9"/>
                      </a:lnTo>
                      <a:lnTo>
                        <a:pt x="25" y="7"/>
                      </a:lnTo>
                      <a:lnTo>
                        <a:pt x="26" y="4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3" y="7"/>
                      </a:lnTo>
                      <a:lnTo>
                        <a:pt x="20" y="9"/>
                      </a:lnTo>
                      <a:lnTo>
                        <a:pt x="20" y="12"/>
                      </a:lnTo>
                      <a:lnTo>
                        <a:pt x="21" y="12"/>
                      </a:lnTo>
                      <a:lnTo>
                        <a:pt x="23" y="12"/>
                      </a:lnTo>
                      <a:lnTo>
                        <a:pt x="25" y="12"/>
                      </a:lnTo>
                      <a:lnTo>
                        <a:pt x="25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1" y="22"/>
                      </a:lnTo>
                      <a:lnTo>
                        <a:pt x="20" y="23"/>
                      </a:lnTo>
                      <a:lnTo>
                        <a:pt x="16" y="23"/>
                      </a:lnTo>
                      <a:lnTo>
                        <a:pt x="15" y="28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7" y="28"/>
                      </a:lnTo>
                      <a:lnTo>
                        <a:pt x="3" y="27"/>
                      </a:lnTo>
                      <a:lnTo>
                        <a:pt x="2" y="25"/>
                      </a:lnTo>
                      <a:lnTo>
                        <a:pt x="0" y="27"/>
                      </a:lnTo>
                      <a:lnTo>
                        <a:pt x="0" y="28"/>
                      </a:lnTo>
                      <a:lnTo>
                        <a:pt x="0" y="30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5" y="31"/>
                      </a:lnTo>
                      <a:lnTo>
                        <a:pt x="7" y="33"/>
                      </a:lnTo>
                      <a:lnTo>
                        <a:pt x="7" y="36"/>
                      </a:lnTo>
                      <a:lnTo>
                        <a:pt x="10" y="36"/>
                      </a:lnTo>
                      <a:lnTo>
                        <a:pt x="12" y="38"/>
                      </a:lnTo>
                      <a:lnTo>
                        <a:pt x="10" y="40"/>
                      </a:lnTo>
                      <a:lnTo>
                        <a:pt x="5" y="40"/>
                      </a:lnTo>
                      <a:lnTo>
                        <a:pt x="3" y="41"/>
                      </a:lnTo>
                      <a:lnTo>
                        <a:pt x="3" y="49"/>
                      </a:lnTo>
                      <a:lnTo>
                        <a:pt x="5" y="51"/>
                      </a:lnTo>
                      <a:lnTo>
                        <a:pt x="5" y="54"/>
                      </a:lnTo>
                      <a:lnTo>
                        <a:pt x="5" y="56"/>
                      </a:lnTo>
                      <a:lnTo>
                        <a:pt x="8" y="54"/>
                      </a:lnTo>
                      <a:lnTo>
                        <a:pt x="10" y="54"/>
                      </a:lnTo>
                      <a:lnTo>
                        <a:pt x="12" y="53"/>
                      </a:lnTo>
                      <a:lnTo>
                        <a:pt x="12" y="49"/>
                      </a:lnTo>
                      <a:lnTo>
                        <a:pt x="13" y="49"/>
                      </a:lnTo>
                      <a:lnTo>
                        <a:pt x="16" y="51"/>
                      </a:lnTo>
                      <a:lnTo>
                        <a:pt x="16" y="58"/>
                      </a:lnTo>
                      <a:lnTo>
                        <a:pt x="16" y="5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2" name="Freeform 16">
                  <a:extLst>
                    <a:ext uri="{FF2B5EF4-FFF2-40B4-BE49-F238E27FC236}">
                      <a16:creationId xmlns:a16="http://schemas.microsoft.com/office/drawing/2014/main" xmlns="" id="{50CBB280-8417-401E-8685-0BF160C53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4" y="222"/>
                  <a:ext cx="8" cy="10"/>
                </a:xfrm>
                <a:custGeom>
                  <a:avLst/>
                  <a:gdLst>
                    <a:gd name="T0" fmla="*/ 7 w 8"/>
                    <a:gd name="T1" fmla="*/ 10 h 10"/>
                    <a:gd name="T2" fmla="*/ 7 w 8"/>
                    <a:gd name="T3" fmla="*/ 8 h 10"/>
                    <a:gd name="T4" fmla="*/ 8 w 8"/>
                    <a:gd name="T5" fmla="*/ 5 h 10"/>
                    <a:gd name="T6" fmla="*/ 8 w 8"/>
                    <a:gd name="T7" fmla="*/ 2 h 10"/>
                    <a:gd name="T8" fmla="*/ 5 w 8"/>
                    <a:gd name="T9" fmla="*/ 2 h 10"/>
                    <a:gd name="T10" fmla="*/ 2 w 8"/>
                    <a:gd name="T11" fmla="*/ 0 h 10"/>
                    <a:gd name="T12" fmla="*/ 2 w 8"/>
                    <a:gd name="T13" fmla="*/ 4 h 10"/>
                    <a:gd name="T14" fmla="*/ 0 w 8"/>
                    <a:gd name="T15" fmla="*/ 5 h 10"/>
                    <a:gd name="T16" fmla="*/ 2 w 8"/>
                    <a:gd name="T17" fmla="*/ 8 h 10"/>
                    <a:gd name="T18" fmla="*/ 7 w 8"/>
                    <a:gd name="T19" fmla="*/ 10 h 10"/>
                    <a:gd name="T20" fmla="*/ 7 w 8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10">
                      <a:moveTo>
                        <a:pt x="7" y="10"/>
                      </a:moveTo>
                      <a:lnTo>
                        <a:pt x="7" y="8"/>
                      </a:lnTo>
                      <a:lnTo>
                        <a:pt x="8" y="5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7" y="10"/>
                      </a:lnTo>
                      <a:lnTo>
                        <a:pt x="7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3" name="Freeform 17">
                  <a:extLst>
                    <a:ext uri="{FF2B5EF4-FFF2-40B4-BE49-F238E27FC236}">
                      <a16:creationId xmlns:a16="http://schemas.microsoft.com/office/drawing/2014/main" xmlns="" id="{F4406614-64B4-481F-8303-331CBE0EA2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1" y="226"/>
                  <a:ext cx="14" cy="16"/>
                </a:xfrm>
                <a:custGeom>
                  <a:avLst/>
                  <a:gdLst>
                    <a:gd name="T0" fmla="*/ 2 w 9"/>
                    <a:gd name="T1" fmla="*/ 10 h 10"/>
                    <a:gd name="T2" fmla="*/ 4 w 9"/>
                    <a:gd name="T3" fmla="*/ 9 h 10"/>
                    <a:gd name="T4" fmla="*/ 6 w 9"/>
                    <a:gd name="T5" fmla="*/ 9 h 10"/>
                    <a:gd name="T6" fmla="*/ 8 w 9"/>
                    <a:gd name="T7" fmla="*/ 9 h 10"/>
                    <a:gd name="T8" fmla="*/ 9 w 9"/>
                    <a:gd name="T9" fmla="*/ 7 h 10"/>
                    <a:gd name="T10" fmla="*/ 9 w 9"/>
                    <a:gd name="T11" fmla="*/ 6 h 10"/>
                    <a:gd name="T12" fmla="*/ 7 w 9"/>
                    <a:gd name="T13" fmla="*/ 6 h 10"/>
                    <a:gd name="T14" fmla="*/ 6 w 9"/>
                    <a:gd name="T15" fmla="*/ 4 h 10"/>
                    <a:gd name="T16" fmla="*/ 4 w 9"/>
                    <a:gd name="T17" fmla="*/ 0 h 10"/>
                    <a:gd name="T18" fmla="*/ 4 w 9"/>
                    <a:gd name="T19" fmla="*/ 1 h 10"/>
                    <a:gd name="T20" fmla="*/ 4 w 9"/>
                    <a:gd name="T21" fmla="*/ 5 h 10"/>
                    <a:gd name="T22" fmla="*/ 3 w 9"/>
                    <a:gd name="T23" fmla="*/ 6 h 10"/>
                    <a:gd name="T24" fmla="*/ 1 w 9"/>
                    <a:gd name="T25" fmla="*/ 6 h 10"/>
                    <a:gd name="T26" fmla="*/ 0 w 9"/>
                    <a:gd name="T27" fmla="*/ 6 h 10"/>
                    <a:gd name="T28" fmla="*/ 2 w 9"/>
                    <a:gd name="T29" fmla="*/ 8 h 10"/>
                    <a:gd name="T30" fmla="*/ 2 w 9"/>
                    <a:gd name="T3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3" y="10"/>
                        <a:pt x="4" y="9"/>
                        <a:pt x="4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4" name="Freeform 18">
                  <a:extLst>
                    <a:ext uri="{FF2B5EF4-FFF2-40B4-BE49-F238E27FC236}">
                      <a16:creationId xmlns:a16="http://schemas.microsoft.com/office/drawing/2014/main" xmlns="" id="{9CD036FA-017D-46B5-B528-7ED4DAFD9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2" y="116"/>
                  <a:ext cx="11" cy="11"/>
                </a:xfrm>
                <a:custGeom>
                  <a:avLst/>
                  <a:gdLst>
                    <a:gd name="T0" fmla="*/ 2 w 7"/>
                    <a:gd name="T1" fmla="*/ 7 h 7"/>
                    <a:gd name="T2" fmla="*/ 4 w 7"/>
                    <a:gd name="T3" fmla="*/ 5 h 7"/>
                    <a:gd name="T4" fmla="*/ 6 w 7"/>
                    <a:gd name="T5" fmla="*/ 5 h 7"/>
                    <a:gd name="T6" fmla="*/ 7 w 7"/>
                    <a:gd name="T7" fmla="*/ 4 h 7"/>
                    <a:gd name="T8" fmla="*/ 7 w 7"/>
                    <a:gd name="T9" fmla="*/ 4 h 7"/>
                    <a:gd name="T10" fmla="*/ 7 w 7"/>
                    <a:gd name="T11" fmla="*/ 3 h 7"/>
                    <a:gd name="T12" fmla="*/ 6 w 7"/>
                    <a:gd name="T13" fmla="*/ 0 h 7"/>
                    <a:gd name="T14" fmla="*/ 5 w 7"/>
                    <a:gd name="T15" fmla="*/ 0 h 7"/>
                    <a:gd name="T16" fmla="*/ 4 w 7"/>
                    <a:gd name="T17" fmla="*/ 0 h 7"/>
                    <a:gd name="T18" fmla="*/ 1 w 7"/>
                    <a:gd name="T19" fmla="*/ 1 h 7"/>
                    <a:gd name="T20" fmla="*/ 0 w 7"/>
                    <a:gd name="T21" fmla="*/ 2 h 7"/>
                    <a:gd name="T22" fmla="*/ 0 w 7"/>
                    <a:gd name="T23" fmla="*/ 3 h 7"/>
                    <a:gd name="T24" fmla="*/ 1 w 7"/>
                    <a:gd name="T25" fmla="*/ 4 h 7"/>
                    <a:gd name="T26" fmla="*/ 1 w 7"/>
                    <a:gd name="T27" fmla="*/ 5 h 7"/>
                    <a:gd name="T28" fmla="*/ 2 w 7"/>
                    <a:gd name="T2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2" y="7"/>
                        <a:pt x="2" y="7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5" name="Freeform 19">
                  <a:extLst>
                    <a:ext uri="{FF2B5EF4-FFF2-40B4-BE49-F238E27FC236}">
                      <a16:creationId xmlns:a16="http://schemas.microsoft.com/office/drawing/2014/main" xmlns="" id="{05296EB9-24F0-4831-8F44-B155B12DD8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8" y="129"/>
                  <a:ext cx="2" cy="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0 w 2"/>
                    <a:gd name="T9" fmla="*/ 3 h 3"/>
                    <a:gd name="T10" fmla="*/ 0 w 2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6" name="Freeform 20">
                  <a:extLst>
                    <a:ext uri="{FF2B5EF4-FFF2-40B4-BE49-F238E27FC236}">
                      <a16:creationId xmlns:a16="http://schemas.microsoft.com/office/drawing/2014/main" xmlns="" id="{EB15FFB2-5B66-45E9-AE63-90D7DA88B9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8" y="134"/>
                  <a:ext cx="15" cy="10"/>
                </a:xfrm>
                <a:custGeom>
                  <a:avLst/>
                  <a:gdLst>
                    <a:gd name="T0" fmla="*/ 12 w 15"/>
                    <a:gd name="T1" fmla="*/ 8 h 10"/>
                    <a:gd name="T2" fmla="*/ 13 w 15"/>
                    <a:gd name="T3" fmla="*/ 7 h 10"/>
                    <a:gd name="T4" fmla="*/ 15 w 15"/>
                    <a:gd name="T5" fmla="*/ 5 h 10"/>
                    <a:gd name="T6" fmla="*/ 15 w 15"/>
                    <a:gd name="T7" fmla="*/ 3 h 10"/>
                    <a:gd name="T8" fmla="*/ 13 w 15"/>
                    <a:gd name="T9" fmla="*/ 2 h 10"/>
                    <a:gd name="T10" fmla="*/ 13 w 15"/>
                    <a:gd name="T11" fmla="*/ 3 h 10"/>
                    <a:gd name="T12" fmla="*/ 10 w 15"/>
                    <a:gd name="T13" fmla="*/ 3 h 10"/>
                    <a:gd name="T14" fmla="*/ 8 w 15"/>
                    <a:gd name="T15" fmla="*/ 2 h 10"/>
                    <a:gd name="T16" fmla="*/ 5 w 15"/>
                    <a:gd name="T17" fmla="*/ 0 h 10"/>
                    <a:gd name="T18" fmla="*/ 4 w 15"/>
                    <a:gd name="T19" fmla="*/ 2 h 10"/>
                    <a:gd name="T20" fmla="*/ 0 w 15"/>
                    <a:gd name="T21" fmla="*/ 5 h 10"/>
                    <a:gd name="T22" fmla="*/ 0 w 15"/>
                    <a:gd name="T23" fmla="*/ 7 h 10"/>
                    <a:gd name="T24" fmla="*/ 0 w 15"/>
                    <a:gd name="T25" fmla="*/ 8 h 10"/>
                    <a:gd name="T26" fmla="*/ 4 w 15"/>
                    <a:gd name="T27" fmla="*/ 10 h 10"/>
                    <a:gd name="T28" fmla="*/ 7 w 15"/>
                    <a:gd name="T29" fmla="*/ 8 h 10"/>
                    <a:gd name="T30" fmla="*/ 8 w 15"/>
                    <a:gd name="T31" fmla="*/ 10 h 10"/>
                    <a:gd name="T32" fmla="*/ 10 w 15"/>
                    <a:gd name="T33" fmla="*/ 10 h 10"/>
                    <a:gd name="T34" fmla="*/ 12 w 15"/>
                    <a:gd name="T35" fmla="*/ 8 h 10"/>
                    <a:gd name="T36" fmla="*/ 12 w 15"/>
                    <a:gd name="T37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10">
                      <a:moveTo>
                        <a:pt x="12" y="8"/>
                      </a:moveTo>
                      <a:lnTo>
                        <a:pt x="13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13" y="3"/>
                      </a:lnTo>
                      <a:lnTo>
                        <a:pt x="10" y="3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4" y="10"/>
                      </a:lnTo>
                      <a:lnTo>
                        <a:pt x="7" y="8"/>
                      </a:lnTo>
                      <a:lnTo>
                        <a:pt x="8" y="10"/>
                      </a:lnTo>
                      <a:lnTo>
                        <a:pt x="10" y="10"/>
                      </a:lnTo>
                      <a:lnTo>
                        <a:pt x="12" y="8"/>
                      </a:lnTo>
                      <a:lnTo>
                        <a:pt x="12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7" name="Freeform 21">
                  <a:extLst>
                    <a:ext uri="{FF2B5EF4-FFF2-40B4-BE49-F238E27FC236}">
                      <a16:creationId xmlns:a16="http://schemas.microsoft.com/office/drawing/2014/main" xmlns="" id="{3D8DCE86-53D3-49F8-8415-CF95362BF3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6" y="137"/>
                  <a:ext cx="7" cy="7"/>
                </a:xfrm>
                <a:custGeom>
                  <a:avLst/>
                  <a:gdLst>
                    <a:gd name="T0" fmla="*/ 0 w 7"/>
                    <a:gd name="T1" fmla="*/ 7 h 7"/>
                    <a:gd name="T2" fmla="*/ 0 w 7"/>
                    <a:gd name="T3" fmla="*/ 2 h 7"/>
                    <a:gd name="T4" fmla="*/ 2 w 7"/>
                    <a:gd name="T5" fmla="*/ 0 h 7"/>
                    <a:gd name="T6" fmla="*/ 4 w 7"/>
                    <a:gd name="T7" fmla="*/ 0 h 7"/>
                    <a:gd name="T8" fmla="*/ 5 w 7"/>
                    <a:gd name="T9" fmla="*/ 2 h 7"/>
                    <a:gd name="T10" fmla="*/ 7 w 7"/>
                    <a:gd name="T11" fmla="*/ 4 h 7"/>
                    <a:gd name="T12" fmla="*/ 5 w 7"/>
                    <a:gd name="T13" fmla="*/ 5 h 7"/>
                    <a:gd name="T14" fmla="*/ 4 w 7"/>
                    <a:gd name="T15" fmla="*/ 7 h 7"/>
                    <a:gd name="T16" fmla="*/ 0 w 7"/>
                    <a:gd name="T17" fmla="*/ 7 h 7"/>
                    <a:gd name="T18" fmla="*/ 0 w 7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0" y="7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8" name="Freeform 22">
                  <a:extLst>
                    <a:ext uri="{FF2B5EF4-FFF2-40B4-BE49-F238E27FC236}">
                      <a16:creationId xmlns:a16="http://schemas.microsoft.com/office/drawing/2014/main" xmlns="" id="{B3FCDDA0-58E9-4476-8D46-D8A3214674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2" y="145"/>
                  <a:ext cx="19" cy="18"/>
                </a:xfrm>
                <a:custGeom>
                  <a:avLst/>
                  <a:gdLst>
                    <a:gd name="T0" fmla="*/ 8 w 12"/>
                    <a:gd name="T1" fmla="*/ 9 h 11"/>
                    <a:gd name="T2" fmla="*/ 10 w 12"/>
                    <a:gd name="T3" fmla="*/ 6 h 11"/>
                    <a:gd name="T4" fmla="*/ 11 w 12"/>
                    <a:gd name="T5" fmla="*/ 3 h 11"/>
                    <a:gd name="T6" fmla="*/ 12 w 12"/>
                    <a:gd name="T7" fmla="*/ 2 h 11"/>
                    <a:gd name="T8" fmla="*/ 12 w 12"/>
                    <a:gd name="T9" fmla="*/ 1 h 11"/>
                    <a:gd name="T10" fmla="*/ 11 w 12"/>
                    <a:gd name="T11" fmla="*/ 0 h 11"/>
                    <a:gd name="T12" fmla="*/ 9 w 12"/>
                    <a:gd name="T13" fmla="*/ 2 h 11"/>
                    <a:gd name="T14" fmla="*/ 7 w 12"/>
                    <a:gd name="T15" fmla="*/ 1 h 11"/>
                    <a:gd name="T16" fmla="*/ 4 w 12"/>
                    <a:gd name="T17" fmla="*/ 1 h 11"/>
                    <a:gd name="T18" fmla="*/ 4 w 12"/>
                    <a:gd name="T19" fmla="*/ 2 h 11"/>
                    <a:gd name="T20" fmla="*/ 3 w 12"/>
                    <a:gd name="T21" fmla="*/ 4 h 11"/>
                    <a:gd name="T22" fmla="*/ 4 w 12"/>
                    <a:gd name="T23" fmla="*/ 4 h 11"/>
                    <a:gd name="T24" fmla="*/ 5 w 12"/>
                    <a:gd name="T25" fmla="*/ 4 h 11"/>
                    <a:gd name="T26" fmla="*/ 6 w 12"/>
                    <a:gd name="T27" fmla="*/ 6 h 11"/>
                    <a:gd name="T28" fmla="*/ 6 w 12"/>
                    <a:gd name="T29" fmla="*/ 7 h 11"/>
                    <a:gd name="T30" fmla="*/ 4 w 12"/>
                    <a:gd name="T31" fmla="*/ 8 h 11"/>
                    <a:gd name="T32" fmla="*/ 1 w 12"/>
                    <a:gd name="T33" fmla="*/ 9 h 11"/>
                    <a:gd name="T34" fmla="*/ 0 w 12"/>
                    <a:gd name="T35" fmla="*/ 10 h 11"/>
                    <a:gd name="T36" fmla="*/ 1 w 12"/>
                    <a:gd name="T37" fmla="*/ 11 h 11"/>
                    <a:gd name="T38" fmla="*/ 3 w 12"/>
                    <a:gd name="T39" fmla="*/ 11 h 11"/>
                    <a:gd name="T40" fmla="*/ 5 w 12"/>
                    <a:gd name="T41" fmla="*/ 10 h 11"/>
                    <a:gd name="T42" fmla="*/ 8 w 12"/>
                    <a:gd name="T43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" h="11">
                      <a:moveTo>
                        <a:pt x="8" y="9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9" y="2"/>
                        <a:pt x="9" y="2"/>
                        <a:pt x="9" y="2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5" y="10"/>
                        <a:pt x="7" y="9"/>
                        <a:pt x="8" y="9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59" name="Freeform 23">
                  <a:extLst>
                    <a:ext uri="{FF2B5EF4-FFF2-40B4-BE49-F238E27FC236}">
                      <a16:creationId xmlns:a16="http://schemas.microsoft.com/office/drawing/2014/main" xmlns="" id="{09AB608E-968D-4788-884D-0194A8BBDD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6" y="154"/>
                  <a:ext cx="9" cy="8"/>
                </a:xfrm>
                <a:custGeom>
                  <a:avLst/>
                  <a:gdLst>
                    <a:gd name="T0" fmla="*/ 7 w 9"/>
                    <a:gd name="T1" fmla="*/ 6 h 8"/>
                    <a:gd name="T2" fmla="*/ 4 w 9"/>
                    <a:gd name="T3" fmla="*/ 6 h 8"/>
                    <a:gd name="T4" fmla="*/ 2 w 9"/>
                    <a:gd name="T5" fmla="*/ 8 h 8"/>
                    <a:gd name="T6" fmla="*/ 0 w 9"/>
                    <a:gd name="T7" fmla="*/ 6 h 8"/>
                    <a:gd name="T8" fmla="*/ 2 w 9"/>
                    <a:gd name="T9" fmla="*/ 3 h 8"/>
                    <a:gd name="T10" fmla="*/ 5 w 9"/>
                    <a:gd name="T11" fmla="*/ 1 h 8"/>
                    <a:gd name="T12" fmla="*/ 5 w 9"/>
                    <a:gd name="T13" fmla="*/ 0 h 8"/>
                    <a:gd name="T14" fmla="*/ 9 w 9"/>
                    <a:gd name="T15" fmla="*/ 3 h 8"/>
                    <a:gd name="T16" fmla="*/ 7 w 9"/>
                    <a:gd name="T17" fmla="*/ 5 h 8"/>
                    <a:gd name="T18" fmla="*/ 7 w 9"/>
                    <a:gd name="T19" fmla="*/ 6 h 8"/>
                    <a:gd name="T20" fmla="*/ 7 w 9"/>
                    <a:gd name="T21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8">
                      <a:moveTo>
                        <a:pt x="7" y="6"/>
                      </a:move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9" y="3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0" name="Freeform 24">
                  <a:extLst>
                    <a:ext uri="{FF2B5EF4-FFF2-40B4-BE49-F238E27FC236}">
                      <a16:creationId xmlns:a16="http://schemas.microsoft.com/office/drawing/2014/main" xmlns="" id="{B2DB2C26-F488-4B32-B9F2-84E04FC7E0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6" y="159"/>
                  <a:ext cx="10" cy="8"/>
                </a:xfrm>
                <a:custGeom>
                  <a:avLst/>
                  <a:gdLst>
                    <a:gd name="T0" fmla="*/ 7 w 10"/>
                    <a:gd name="T1" fmla="*/ 8 h 8"/>
                    <a:gd name="T2" fmla="*/ 2 w 10"/>
                    <a:gd name="T3" fmla="*/ 4 h 8"/>
                    <a:gd name="T4" fmla="*/ 0 w 10"/>
                    <a:gd name="T5" fmla="*/ 1 h 8"/>
                    <a:gd name="T6" fmla="*/ 2 w 10"/>
                    <a:gd name="T7" fmla="*/ 0 h 8"/>
                    <a:gd name="T8" fmla="*/ 4 w 10"/>
                    <a:gd name="T9" fmla="*/ 0 h 8"/>
                    <a:gd name="T10" fmla="*/ 4 w 10"/>
                    <a:gd name="T11" fmla="*/ 1 h 8"/>
                    <a:gd name="T12" fmla="*/ 7 w 10"/>
                    <a:gd name="T13" fmla="*/ 1 h 8"/>
                    <a:gd name="T14" fmla="*/ 10 w 10"/>
                    <a:gd name="T15" fmla="*/ 4 h 8"/>
                    <a:gd name="T16" fmla="*/ 10 w 10"/>
                    <a:gd name="T17" fmla="*/ 6 h 8"/>
                    <a:gd name="T18" fmla="*/ 7 w 10"/>
                    <a:gd name="T19" fmla="*/ 8 h 8"/>
                    <a:gd name="T20" fmla="*/ 7 w 10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8">
                      <a:moveTo>
                        <a:pt x="7" y="8"/>
                      </a:move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7" y="1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7" y="8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1" name="Freeform 25">
                  <a:extLst>
                    <a:ext uri="{FF2B5EF4-FFF2-40B4-BE49-F238E27FC236}">
                      <a16:creationId xmlns:a16="http://schemas.microsoft.com/office/drawing/2014/main" xmlns="" id="{96825C6D-D64F-4F94-841A-50F28965FA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0" y="163"/>
                  <a:ext cx="21" cy="13"/>
                </a:xfrm>
                <a:custGeom>
                  <a:avLst/>
                  <a:gdLst>
                    <a:gd name="T0" fmla="*/ 18 w 21"/>
                    <a:gd name="T1" fmla="*/ 13 h 13"/>
                    <a:gd name="T2" fmla="*/ 16 w 21"/>
                    <a:gd name="T3" fmla="*/ 10 h 13"/>
                    <a:gd name="T4" fmla="*/ 10 w 21"/>
                    <a:gd name="T5" fmla="*/ 5 h 13"/>
                    <a:gd name="T6" fmla="*/ 5 w 21"/>
                    <a:gd name="T7" fmla="*/ 4 h 13"/>
                    <a:gd name="T8" fmla="*/ 2 w 21"/>
                    <a:gd name="T9" fmla="*/ 4 h 13"/>
                    <a:gd name="T10" fmla="*/ 0 w 21"/>
                    <a:gd name="T11" fmla="*/ 2 h 13"/>
                    <a:gd name="T12" fmla="*/ 0 w 21"/>
                    <a:gd name="T13" fmla="*/ 0 h 13"/>
                    <a:gd name="T14" fmla="*/ 3 w 21"/>
                    <a:gd name="T15" fmla="*/ 0 h 13"/>
                    <a:gd name="T16" fmla="*/ 8 w 21"/>
                    <a:gd name="T17" fmla="*/ 0 h 13"/>
                    <a:gd name="T18" fmla="*/ 13 w 21"/>
                    <a:gd name="T19" fmla="*/ 2 h 13"/>
                    <a:gd name="T20" fmla="*/ 18 w 21"/>
                    <a:gd name="T21" fmla="*/ 7 h 13"/>
                    <a:gd name="T22" fmla="*/ 20 w 21"/>
                    <a:gd name="T23" fmla="*/ 7 h 13"/>
                    <a:gd name="T24" fmla="*/ 21 w 21"/>
                    <a:gd name="T25" fmla="*/ 5 h 13"/>
                    <a:gd name="T26" fmla="*/ 21 w 21"/>
                    <a:gd name="T27" fmla="*/ 5 h 13"/>
                    <a:gd name="T28" fmla="*/ 21 w 21"/>
                    <a:gd name="T29" fmla="*/ 9 h 13"/>
                    <a:gd name="T30" fmla="*/ 20 w 21"/>
                    <a:gd name="T31" fmla="*/ 12 h 13"/>
                    <a:gd name="T32" fmla="*/ 18 w 21"/>
                    <a:gd name="T33" fmla="*/ 13 h 13"/>
                    <a:gd name="T34" fmla="*/ 18 w 21"/>
                    <a:gd name="T35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1" h="13">
                      <a:moveTo>
                        <a:pt x="18" y="13"/>
                      </a:moveTo>
                      <a:lnTo>
                        <a:pt x="16" y="10"/>
                      </a:lnTo>
                      <a:lnTo>
                        <a:pt x="10" y="5"/>
                      </a:lnTo>
                      <a:lnTo>
                        <a:pt x="5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8" y="0"/>
                      </a:lnTo>
                      <a:lnTo>
                        <a:pt x="13" y="2"/>
                      </a:lnTo>
                      <a:lnTo>
                        <a:pt x="18" y="7"/>
                      </a:lnTo>
                      <a:lnTo>
                        <a:pt x="20" y="7"/>
                      </a:lnTo>
                      <a:lnTo>
                        <a:pt x="21" y="5"/>
                      </a:lnTo>
                      <a:lnTo>
                        <a:pt x="21" y="5"/>
                      </a:lnTo>
                      <a:lnTo>
                        <a:pt x="21" y="9"/>
                      </a:lnTo>
                      <a:lnTo>
                        <a:pt x="20" y="12"/>
                      </a:lnTo>
                      <a:lnTo>
                        <a:pt x="18" y="13"/>
                      </a:lnTo>
                      <a:lnTo>
                        <a:pt x="18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2" name="Freeform 26">
                  <a:extLst>
                    <a:ext uri="{FF2B5EF4-FFF2-40B4-BE49-F238E27FC236}">
                      <a16:creationId xmlns:a16="http://schemas.microsoft.com/office/drawing/2014/main" xmlns="" id="{CBD7C680-A647-4019-A0AF-3DA9FA83B7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" y="168"/>
                  <a:ext cx="36" cy="18"/>
                </a:xfrm>
                <a:custGeom>
                  <a:avLst/>
                  <a:gdLst>
                    <a:gd name="T0" fmla="*/ 35 w 36"/>
                    <a:gd name="T1" fmla="*/ 17 h 18"/>
                    <a:gd name="T2" fmla="*/ 36 w 36"/>
                    <a:gd name="T3" fmla="*/ 12 h 18"/>
                    <a:gd name="T4" fmla="*/ 35 w 36"/>
                    <a:gd name="T5" fmla="*/ 8 h 18"/>
                    <a:gd name="T6" fmla="*/ 31 w 36"/>
                    <a:gd name="T7" fmla="*/ 8 h 18"/>
                    <a:gd name="T8" fmla="*/ 26 w 36"/>
                    <a:gd name="T9" fmla="*/ 7 h 18"/>
                    <a:gd name="T10" fmla="*/ 21 w 36"/>
                    <a:gd name="T11" fmla="*/ 4 h 18"/>
                    <a:gd name="T12" fmla="*/ 20 w 36"/>
                    <a:gd name="T13" fmla="*/ 4 h 18"/>
                    <a:gd name="T14" fmla="*/ 18 w 36"/>
                    <a:gd name="T15" fmla="*/ 2 h 18"/>
                    <a:gd name="T16" fmla="*/ 13 w 36"/>
                    <a:gd name="T17" fmla="*/ 2 h 18"/>
                    <a:gd name="T18" fmla="*/ 12 w 36"/>
                    <a:gd name="T19" fmla="*/ 0 h 18"/>
                    <a:gd name="T20" fmla="*/ 3 w 36"/>
                    <a:gd name="T21" fmla="*/ 0 h 18"/>
                    <a:gd name="T22" fmla="*/ 0 w 36"/>
                    <a:gd name="T23" fmla="*/ 2 h 18"/>
                    <a:gd name="T24" fmla="*/ 0 w 36"/>
                    <a:gd name="T25" fmla="*/ 5 h 18"/>
                    <a:gd name="T26" fmla="*/ 0 w 36"/>
                    <a:gd name="T27" fmla="*/ 5 h 18"/>
                    <a:gd name="T28" fmla="*/ 3 w 36"/>
                    <a:gd name="T29" fmla="*/ 7 h 18"/>
                    <a:gd name="T30" fmla="*/ 7 w 36"/>
                    <a:gd name="T31" fmla="*/ 8 h 18"/>
                    <a:gd name="T32" fmla="*/ 8 w 36"/>
                    <a:gd name="T33" fmla="*/ 7 h 18"/>
                    <a:gd name="T34" fmla="*/ 10 w 36"/>
                    <a:gd name="T35" fmla="*/ 7 h 18"/>
                    <a:gd name="T36" fmla="*/ 13 w 36"/>
                    <a:gd name="T37" fmla="*/ 8 h 18"/>
                    <a:gd name="T38" fmla="*/ 13 w 36"/>
                    <a:gd name="T39" fmla="*/ 12 h 18"/>
                    <a:gd name="T40" fmla="*/ 17 w 36"/>
                    <a:gd name="T41" fmla="*/ 12 h 18"/>
                    <a:gd name="T42" fmla="*/ 18 w 36"/>
                    <a:gd name="T43" fmla="*/ 12 h 18"/>
                    <a:gd name="T44" fmla="*/ 20 w 36"/>
                    <a:gd name="T45" fmla="*/ 15 h 18"/>
                    <a:gd name="T46" fmla="*/ 23 w 36"/>
                    <a:gd name="T47" fmla="*/ 15 h 18"/>
                    <a:gd name="T48" fmla="*/ 26 w 36"/>
                    <a:gd name="T49" fmla="*/ 15 h 18"/>
                    <a:gd name="T50" fmla="*/ 31 w 36"/>
                    <a:gd name="T51" fmla="*/ 17 h 18"/>
                    <a:gd name="T52" fmla="*/ 35 w 36"/>
                    <a:gd name="T53" fmla="*/ 18 h 18"/>
                    <a:gd name="T54" fmla="*/ 35 w 36"/>
                    <a:gd name="T55" fmla="*/ 17 h 18"/>
                    <a:gd name="T56" fmla="*/ 35 w 36"/>
                    <a:gd name="T57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6" h="18">
                      <a:moveTo>
                        <a:pt x="35" y="17"/>
                      </a:moveTo>
                      <a:lnTo>
                        <a:pt x="36" y="12"/>
                      </a:lnTo>
                      <a:lnTo>
                        <a:pt x="35" y="8"/>
                      </a:lnTo>
                      <a:lnTo>
                        <a:pt x="31" y="8"/>
                      </a:lnTo>
                      <a:lnTo>
                        <a:pt x="26" y="7"/>
                      </a:lnTo>
                      <a:lnTo>
                        <a:pt x="21" y="4"/>
                      </a:lnTo>
                      <a:lnTo>
                        <a:pt x="20" y="4"/>
                      </a:lnTo>
                      <a:lnTo>
                        <a:pt x="18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7" y="8"/>
                      </a:lnTo>
                      <a:lnTo>
                        <a:pt x="8" y="7"/>
                      </a:lnTo>
                      <a:lnTo>
                        <a:pt x="10" y="7"/>
                      </a:lnTo>
                      <a:lnTo>
                        <a:pt x="13" y="8"/>
                      </a:lnTo>
                      <a:lnTo>
                        <a:pt x="13" y="12"/>
                      </a:lnTo>
                      <a:lnTo>
                        <a:pt x="17" y="12"/>
                      </a:lnTo>
                      <a:lnTo>
                        <a:pt x="18" y="12"/>
                      </a:lnTo>
                      <a:lnTo>
                        <a:pt x="20" y="15"/>
                      </a:lnTo>
                      <a:lnTo>
                        <a:pt x="23" y="15"/>
                      </a:lnTo>
                      <a:lnTo>
                        <a:pt x="26" y="15"/>
                      </a:lnTo>
                      <a:lnTo>
                        <a:pt x="31" y="17"/>
                      </a:lnTo>
                      <a:lnTo>
                        <a:pt x="35" y="18"/>
                      </a:lnTo>
                      <a:lnTo>
                        <a:pt x="35" y="17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3" name="Freeform 27">
                  <a:extLst>
                    <a:ext uri="{FF2B5EF4-FFF2-40B4-BE49-F238E27FC236}">
                      <a16:creationId xmlns:a16="http://schemas.microsoft.com/office/drawing/2014/main" xmlns="" id="{38B400DD-9701-487F-B587-3A0884D2B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7" y="181"/>
                  <a:ext cx="18" cy="10"/>
                </a:xfrm>
                <a:custGeom>
                  <a:avLst/>
                  <a:gdLst>
                    <a:gd name="T0" fmla="*/ 6 w 11"/>
                    <a:gd name="T1" fmla="*/ 5 h 6"/>
                    <a:gd name="T2" fmla="*/ 5 w 11"/>
                    <a:gd name="T3" fmla="*/ 5 h 6"/>
                    <a:gd name="T4" fmla="*/ 4 w 11"/>
                    <a:gd name="T5" fmla="*/ 4 h 6"/>
                    <a:gd name="T6" fmla="*/ 2 w 11"/>
                    <a:gd name="T7" fmla="*/ 4 h 6"/>
                    <a:gd name="T8" fmla="*/ 1 w 11"/>
                    <a:gd name="T9" fmla="*/ 3 h 6"/>
                    <a:gd name="T10" fmla="*/ 0 w 11"/>
                    <a:gd name="T11" fmla="*/ 2 h 6"/>
                    <a:gd name="T12" fmla="*/ 2 w 11"/>
                    <a:gd name="T13" fmla="*/ 1 h 6"/>
                    <a:gd name="T14" fmla="*/ 4 w 11"/>
                    <a:gd name="T15" fmla="*/ 0 h 6"/>
                    <a:gd name="T16" fmla="*/ 6 w 11"/>
                    <a:gd name="T17" fmla="*/ 1 h 6"/>
                    <a:gd name="T18" fmla="*/ 7 w 11"/>
                    <a:gd name="T19" fmla="*/ 0 h 6"/>
                    <a:gd name="T20" fmla="*/ 8 w 11"/>
                    <a:gd name="T21" fmla="*/ 2 h 6"/>
                    <a:gd name="T22" fmla="*/ 9 w 11"/>
                    <a:gd name="T23" fmla="*/ 2 h 6"/>
                    <a:gd name="T24" fmla="*/ 9 w 11"/>
                    <a:gd name="T25" fmla="*/ 1 h 6"/>
                    <a:gd name="T26" fmla="*/ 10 w 11"/>
                    <a:gd name="T27" fmla="*/ 2 h 6"/>
                    <a:gd name="T28" fmla="*/ 11 w 11"/>
                    <a:gd name="T29" fmla="*/ 3 h 6"/>
                    <a:gd name="T30" fmla="*/ 10 w 11"/>
                    <a:gd name="T31" fmla="*/ 4 h 6"/>
                    <a:gd name="T32" fmla="*/ 6 w 11"/>
                    <a:gd name="T3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" h="6">
                      <a:moveTo>
                        <a:pt x="6" y="5"/>
                      </a:moveTo>
                      <a:cubicBezTo>
                        <a:pt x="6" y="6"/>
                        <a:pt x="5" y="5"/>
                        <a:pt x="5" y="5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9" y="2"/>
                        <a:pt x="9" y="2"/>
                        <a:pt x="9" y="2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6" y="5"/>
                        <a:pt x="6" y="5"/>
                        <a:pt x="6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4" name="Freeform 28">
                  <a:extLst>
                    <a:ext uri="{FF2B5EF4-FFF2-40B4-BE49-F238E27FC236}">
                      <a16:creationId xmlns:a16="http://schemas.microsoft.com/office/drawing/2014/main" xmlns="" id="{2CD5F688-B468-4138-BA90-E9BDB9660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" y="199"/>
                  <a:ext cx="5" cy="10"/>
                </a:xfrm>
                <a:custGeom>
                  <a:avLst/>
                  <a:gdLst>
                    <a:gd name="T0" fmla="*/ 5 w 5"/>
                    <a:gd name="T1" fmla="*/ 9 h 10"/>
                    <a:gd name="T2" fmla="*/ 3 w 5"/>
                    <a:gd name="T3" fmla="*/ 5 h 10"/>
                    <a:gd name="T4" fmla="*/ 3 w 5"/>
                    <a:gd name="T5" fmla="*/ 2 h 10"/>
                    <a:gd name="T6" fmla="*/ 2 w 5"/>
                    <a:gd name="T7" fmla="*/ 0 h 10"/>
                    <a:gd name="T8" fmla="*/ 0 w 5"/>
                    <a:gd name="T9" fmla="*/ 5 h 10"/>
                    <a:gd name="T10" fmla="*/ 0 w 5"/>
                    <a:gd name="T11" fmla="*/ 7 h 10"/>
                    <a:gd name="T12" fmla="*/ 2 w 5"/>
                    <a:gd name="T13" fmla="*/ 9 h 10"/>
                    <a:gd name="T14" fmla="*/ 3 w 5"/>
                    <a:gd name="T15" fmla="*/ 10 h 10"/>
                    <a:gd name="T16" fmla="*/ 5 w 5"/>
                    <a:gd name="T17" fmla="*/ 9 h 10"/>
                    <a:gd name="T18" fmla="*/ 5 w 5"/>
                    <a:gd name="T1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10">
                      <a:moveTo>
                        <a:pt x="5" y="9"/>
                      </a:moveTo>
                      <a:lnTo>
                        <a:pt x="3" y="5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5" name="Freeform 29">
                  <a:extLst>
                    <a:ext uri="{FF2B5EF4-FFF2-40B4-BE49-F238E27FC236}">
                      <a16:creationId xmlns:a16="http://schemas.microsoft.com/office/drawing/2014/main" xmlns="" id="{CE3634A0-08D7-4448-B589-6A3CA455A0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0" y="199"/>
                  <a:ext cx="5" cy="9"/>
                </a:xfrm>
                <a:custGeom>
                  <a:avLst/>
                  <a:gdLst>
                    <a:gd name="T0" fmla="*/ 3 w 5"/>
                    <a:gd name="T1" fmla="*/ 7 h 9"/>
                    <a:gd name="T2" fmla="*/ 5 w 5"/>
                    <a:gd name="T3" fmla="*/ 9 h 9"/>
                    <a:gd name="T4" fmla="*/ 5 w 5"/>
                    <a:gd name="T5" fmla="*/ 5 h 9"/>
                    <a:gd name="T6" fmla="*/ 5 w 5"/>
                    <a:gd name="T7" fmla="*/ 4 h 9"/>
                    <a:gd name="T8" fmla="*/ 2 w 5"/>
                    <a:gd name="T9" fmla="*/ 0 h 9"/>
                    <a:gd name="T10" fmla="*/ 0 w 5"/>
                    <a:gd name="T11" fmla="*/ 0 h 9"/>
                    <a:gd name="T12" fmla="*/ 0 w 5"/>
                    <a:gd name="T13" fmla="*/ 4 h 9"/>
                    <a:gd name="T14" fmla="*/ 3 w 5"/>
                    <a:gd name="T15" fmla="*/ 7 h 9"/>
                    <a:gd name="T16" fmla="*/ 3 w 5"/>
                    <a:gd name="T17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9">
                      <a:moveTo>
                        <a:pt x="3" y="7"/>
                      </a:moveTo>
                      <a:lnTo>
                        <a:pt x="5" y="9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7"/>
                      </a:lnTo>
                      <a:lnTo>
                        <a:pt x="3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6" name="Freeform 30">
                  <a:extLst>
                    <a:ext uri="{FF2B5EF4-FFF2-40B4-BE49-F238E27FC236}">
                      <a16:creationId xmlns:a16="http://schemas.microsoft.com/office/drawing/2014/main" xmlns="" id="{0B1B8CFE-1F0D-49A4-8624-C64CCC65E9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199"/>
                  <a:ext cx="6" cy="5"/>
                </a:xfrm>
                <a:custGeom>
                  <a:avLst/>
                  <a:gdLst>
                    <a:gd name="T0" fmla="*/ 2 w 4"/>
                    <a:gd name="T1" fmla="*/ 2 h 3"/>
                    <a:gd name="T2" fmla="*/ 4 w 4"/>
                    <a:gd name="T3" fmla="*/ 3 h 3"/>
                    <a:gd name="T4" fmla="*/ 4 w 4"/>
                    <a:gd name="T5" fmla="*/ 2 h 3"/>
                    <a:gd name="T6" fmla="*/ 3 w 4"/>
                    <a:gd name="T7" fmla="*/ 0 h 3"/>
                    <a:gd name="T8" fmla="*/ 1 w 4"/>
                    <a:gd name="T9" fmla="*/ 0 h 3"/>
                    <a:gd name="T10" fmla="*/ 0 w 4"/>
                    <a:gd name="T11" fmla="*/ 1 h 3"/>
                    <a:gd name="T12" fmla="*/ 2 w 4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2" y="2"/>
                      </a:moveTo>
                      <a:cubicBezTo>
                        <a:pt x="2" y="2"/>
                        <a:pt x="4" y="3"/>
                        <a:pt x="4" y="3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2"/>
                        <a:pt x="2" y="2"/>
                        <a:pt x="2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7" name="Freeform 31">
                  <a:extLst>
                    <a:ext uri="{FF2B5EF4-FFF2-40B4-BE49-F238E27FC236}">
                      <a16:creationId xmlns:a16="http://schemas.microsoft.com/office/drawing/2014/main" xmlns="" id="{DD9BE703-201E-437E-B69B-1A2E6FEE61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204"/>
                  <a:ext cx="5" cy="7"/>
                </a:xfrm>
                <a:custGeom>
                  <a:avLst/>
                  <a:gdLst>
                    <a:gd name="T0" fmla="*/ 1 w 5"/>
                    <a:gd name="T1" fmla="*/ 7 h 7"/>
                    <a:gd name="T2" fmla="*/ 3 w 5"/>
                    <a:gd name="T3" fmla="*/ 7 h 7"/>
                    <a:gd name="T4" fmla="*/ 5 w 5"/>
                    <a:gd name="T5" fmla="*/ 4 h 7"/>
                    <a:gd name="T6" fmla="*/ 3 w 5"/>
                    <a:gd name="T7" fmla="*/ 2 h 7"/>
                    <a:gd name="T8" fmla="*/ 1 w 5"/>
                    <a:gd name="T9" fmla="*/ 0 h 7"/>
                    <a:gd name="T10" fmla="*/ 1 w 5"/>
                    <a:gd name="T11" fmla="*/ 2 h 7"/>
                    <a:gd name="T12" fmla="*/ 1 w 5"/>
                    <a:gd name="T13" fmla="*/ 4 h 7"/>
                    <a:gd name="T14" fmla="*/ 0 w 5"/>
                    <a:gd name="T15" fmla="*/ 5 h 7"/>
                    <a:gd name="T16" fmla="*/ 1 w 5"/>
                    <a:gd name="T17" fmla="*/ 7 h 7"/>
                    <a:gd name="T18" fmla="*/ 1 w 5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8" name="Freeform 32">
                  <a:extLst>
                    <a:ext uri="{FF2B5EF4-FFF2-40B4-BE49-F238E27FC236}">
                      <a16:creationId xmlns:a16="http://schemas.microsoft.com/office/drawing/2014/main" xmlns="" id="{E06C02D9-1364-44A8-84A8-53AF209BC9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4" y="214"/>
                  <a:ext cx="11" cy="12"/>
                </a:xfrm>
                <a:custGeom>
                  <a:avLst/>
                  <a:gdLst>
                    <a:gd name="T0" fmla="*/ 11 w 11"/>
                    <a:gd name="T1" fmla="*/ 5 h 12"/>
                    <a:gd name="T2" fmla="*/ 9 w 11"/>
                    <a:gd name="T3" fmla="*/ 3 h 12"/>
                    <a:gd name="T4" fmla="*/ 8 w 11"/>
                    <a:gd name="T5" fmla="*/ 3 h 12"/>
                    <a:gd name="T6" fmla="*/ 4 w 11"/>
                    <a:gd name="T7" fmla="*/ 0 h 12"/>
                    <a:gd name="T8" fmla="*/ 3 w 11"/>
                    <a:gd name="T9" fmla="*/ 0 h 12"/>
                    <a:gd name="T10" fmla="*/ 1 w 11"/>
                    <a:gd name="T11" fmla="*/ 2 h 12"/>
                    <a:gd name="T12" fmla="*/ 3 w 11"/>
                    <a:gd name="T13" fmla="*/ 5 h 12"/>
                    <a:gd name="T14" fmla="*/ 3 w 11"/>
                    <a:gd name="T15" fmla="*/ 7 h 12"/>
                    <a:gd name="T16" fmla="*/ 0 w 11"/>
                    <a:gd name="T17" fmla="*/ 8 h 12"/>
                    <a:gd name="T18" fmla="*/ 1 w 11"/>
                    <a:gd name="T19" fmla="*/ 10 h 12"/>
                    <a:gd name="T20" fmla="*/ 6 w 11"/>
                    <a:gd name="T21" fmla="*/ 12 h 12"/>
                    <a:gd name="T22" fmla="*/ 9 w 11"/>
                    <a:gd name="T23" fmla="*/ 10 h 12"/>
                    <a:gd name="T24" fmla="*/ 11 w 11"/>
                    <a:gd name="T25" fmla="*/ 5 h 12"/>
                    <a:gd name="T26" fmla="*/ 11 w 11"/>
                    <a:gd name="T2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11" y="5"/>
                      </a:move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0" y="8"/>
                      </a:lnTo>
                      <a:lnTo>
                        <a:pt x="1" y="10"/>
                      </a:lnTo>
                      <a:lnTo>
                        <a:pt x="6" y="12"/>
                      </a:lnTo>
                      <a:lnTo>
                        <a:pt x="9" y="10"/>
                      </a:lnTo>
                      <a:lnTo>
                        <a:pt x="11" y="5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69" name="Freeform 33">
                  <a:extLst>
                    <a:ext uri="{FF2B5EF4-FFF2-40B4-BE49-F238E27FC236}">
                      <a16:creationId xmlns:a16="http://schemas.microsoft.com/office/drawing/2014/main" xmlns="" id="{74DABC37-D643-4B1F-BC5A-28BDB5583C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7" y="214"/>
                  <a:ext cx="3" cy="7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3 h 7"/>
                    <a:gd name="T4" fmla="*/ 1 w 3"/>
                    <a:gd name="T5" fmla="*/ 5 h 7"/>
                    <a:gd name="T6" fmla="*/ 3 w 3"/>
                    <a:gd name="T7" fmla="*/ 7 h 7"/>
                    <a:gd name="T8" fmla="*/ 3 w 3"/>
                    <a:gd name="T9" fmla="*/ 3 h 7"/>
                    <a:gd name="T10" fmla="*/ 1 w 3"/>
                    <a:gd name="T11" fmla="*/ 2 h 7"/>
                    <a:gd name="T12" fmla="*/ 0 w 3"/>
                    <a:gd name="T13" fmla="*/ 0 h 7"/>
                    <a:gd name="T14" fmla="*/ 0 w 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7"/>
                      </a:lnTo>
                      <a:lnTo>
                        <a:pt x="3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0" name="Freeform 34">
                  <a:extLst>
                    <a:ext uri="{FF2B5EF4-FFF2-40B4-BE49-F238E27FC236}">
                      <a16:creationId xmlns:a16="http://schemas.microsoft.com/office/drawing/2014/main" xmlns="" id="{E40E6F4E-7B87-4923-99D2-6244F3B295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70"/>
                  <a:ext cx="6" cy="10"/>
                </a:xfrm>
                <a:custGeom>
                  <a:avLst/>
                  <a:gdLst>
                    <a:gd name="T0" fmla="*/ 0 w 6"/>
                    <a:gd name="T1" fmla="*/ 8 h 10"/>
                    <a:gd name="T2" fmla="*/ 0 w 6"/>
                    <a:gd name="T3" fmla="*/ 6 h 10"/>
                    <a:gd name="T4" fmla="*/ 1 w 6"/>
                    <a:gd name="T5" fmla="*/ 5 h 10"/>
                    <a:gd name="T6" fmla="*/ 1 w 6"/>
                    <a:gd name="T7" fmla="*/ 2 h 10"/>
                    <a:gd name="T8" fmla="*/ 3 w 6"/>
                    <a:gd name="T9" fmla="*/ 0 h 10"/>
                    <a:gd name="T10" fmla="*/ 5 w 6"/>
                    <a:gd name="T11" fmla="*/ 0 h 10"/>
                    <a:gd name="T12" fmla="*/ 6 w 6"/>
                    <a:gd name="T13" fmla="*/ 3 h 10"/>
                    <a:gd name="T14" fmla="*/ 6 w 6"/>
                    <a:gd name="T15" fmla="*/ 5 h 10"/>
                    <a:gd name="T16" fmla="*/ 5 w 6"/>
                    <a:gd name="T17" fmla="*/ 5 h 10"/>
                    <a:gd name="T18" fmla="*/ 5 w 6"/>
                    <a:gd name="T19" fmla="*/ 8 h 10"/>
                    <a:gd name="T20" fmla="*/ 3 w 6"/>
                    <a:gd name="T21" fmla="*/ 10 h 10"/>
                    <a:gd name="T22" fmla="*/ 0 w 6"/>
                    <a:gd name="T23" fmla="*/ 10 h 10"/>
                    <a:gd name="T24" fmla="*/ 0 w 6"/>
                    <a:gd name="T25" fmla="*/ 8 h 10"/>
                    <a:gd name="T26" fmla="*/ 0 w 6"/>
                    <a:gd name="T27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0">
                      <a:moveTo>
                        <a:pt x="0" y="8"/>
                      </a:move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5" y="8"/>
                      </a:lnTo>
                      <a:lnTo>
                        <a:pt x="3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1" name="Freeform 35">
                  <a:extLst>
                    <a:ext uri="{FF2B5EF4-FFF2-40B4-BE49-F238E27FC236}">
                      <a16:creationId xmlns:a16="http://schemas.microsoft.com/office/drawing/2014/main" xmlns="" id="{1BB9AD53-D1D7-44CE-9AFA-25A7840431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" y="209"/>
                  <a:ext cx="8" cy="7"/>
                </a:xfrm>
                <a:custGeom>
                  <a:avLst/>
                  <a:gdLst>
                    <a:gd name="T0" fmla="*/ 0 w 8"/>
                    <a:gd name="T1" fmla="*/ 3 h 7"/>
                    <a:gd name="T2" fmla="*/ 2 w 8"/>
                    <a:gd name="T3" fmla="*/ 7 h 7"/>
                    <a:gd name="T4" fmla="*/ 5 w 8"/>
                    <a:gd name="T5" fmla="*/ 7 h 7"/>
                    <a:gd name="T6" fmla="*/ 7 w 8"/>
                    <a:gd name="T7" fmla="*/ 7 h 7"/>
                    <a:gd name="T8" fmla="*/ 8 w 8"/>
                    <a:gd name="T9" fmla="*/ 5 h 7"/>
                    <a:gd name="T10" fmla="*/ 7 w 8"/>
                    <a:gd name="T11" fmla="*/ 2 h 7"/>
                    <a:gd name="T12" fmla="*/ 7 w 8"/>
                    <a:gd name="T13" fmla="*/ 0 h 7"/>
                    <a:gd name="T14" fmla="*/ 5 w 8"/>
                    <a:gd name="T15" fmla="*/ 2 h 7"/>
                    <a:gd name="T16" fmla="*/ 3 w 8"/>
                    <a:gd name="T17" fmla="*/ 3 h 7"/>
                    <a:gd name="T18" fmla="*/ 0 w 8"/>
                    <a:gd name="T19" fmla="*/ 3 h 7"/>
                    <a:gd name="T20" fmla="*/ 0 w 8"/>
                    <a:gd name="T21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0" y="3"/>
                      </a:move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8" y="5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2" name="Freeform 36">
                  <a:extLst>
                    <a:ext uri="{FF2B5EF4-FFF2-40B4-BE49-F238E27FC236}">
                      <a16:creationId xmlns:a16="http://schemas.microsoft.com/office/drawing/2014/main" xmlns="" id="{54508A55-6FF0-472F-AA45-929FB4E44D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5" y="203"/>
                  <a:ext cx="3" cy="5"/>
                </a:xfrm>
                <a:custGeom>
                  <a:avLst/>
                  <a:gdLst>
                    <a:gd name="T0" fmla="*/ 0 w 3"/>
                    <a:gd name="T1" fmla="*/ 5 h 5"/>
                    <a:gd name="T2" fmla="*/ 1 w 3"/>
                    <a:gd name="T3" fmla="*/ 5 h 5"/>
                    <a:gd name="T4" fmla="*/ 3 w 3"/>
                    <a:gd name="T5" fmla="*/ 3 h 5"/>
                    <a:gd name="T6" fmla="*/ 3 w 3"/>
                    <a:gd name="T7" fmla="*/ 0 h 5"/>
                    <a:gd name="T8" fmla="*/ 1 w 3"/>
                    <a:gd name="T9" fmla="*/ 1 h 5"/>
                    <a:gd name="T10" fmla="*/ 0 w 3"/>
                    <a:gd name="T11" fmla="*/ 5 h 5"/>
                    <a:gd name="T12" fmla="*/ 0 w 3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5">
                      <a:moveTo>
                        <a:pt x="0" y="5"/>
                      </a:move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3" name="Freeform 37">
                  <a:extLst>
                    <a:ext uri="{FF2B5EF4-FFF2-40B4-BE49-F238E27FC236}">
                      <a16:creationId xmlns:a16="http://schemas.microsoft.com/office/drawing/2014/main" xmlns="" id="{232F6196-7652-4F76-8564-158852A2D4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0" y="203"/>
                  <a:ext cx="5" cy="3"/>
                </a:xfrm>
                <a:custGeom>
                  <a:avLst/>
                  <a:gdLst>
                    <a:gd name="T0" fmla="*/ 0 w 5"/>
                    <a:gd name="T1" fmla="*/ 1 h 3"/>
                    <a:gd name="T2" fmla="*/ 0 w 5"/>
                    <a:gd name="T3" fmla="*/ 3 h 3"/>
                    <a:gd name="T4" fmla="*/ 1 w 5"/>
                    <a:gd name="T5" fmla="*/ 3 h 3"/>
                    <a:gd name="T6" fmla="*/ 5 w 5"/>
                    <a:gd name="T7" fmla="*/ 3 h 3"/>
                    <a:gd name="T8" fmla="*/ 5 w 5"/>
                    <a:gd name="T9" fmla="*/ 1 h 3"/>
                    <a:gd name="T10" fmla="*/ 5 w 5"/>
                    <a:gd name="T11" fmla="*/ 0 h 3"/>
                    <a:gd name="T12" fmla="*/ 1 w 5"/>
                    <a:gd name="T13" fmla="*/ 0 h 3"/>
                    <a:gd name="T14" fmla="*/ 1 w 5"/>
                    <a:gd name="T15" fmla="*/ 1 h 3"/>
                    <a:gd name="T16" fmla="*/ 0 w 5"/>
                    <a:gd name="T17" fmla="*/ 1 h 3"/>
                    <a:gd name="T18" fmla="*/ 0 w 5"/>
                    <a:gd name="T1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5" y="3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4" name="Freeform 38">
                  <a:extLst>
                    <a:ext uri="{FF2B5EF4-FFF2-40B4-BE49-F238E27FC236}">
                      <a16:creationId xmlns:a16="http://schemas.microsoft.com/office/drawing/2014/main" xmlns="" id="{E5838F5A-B45F-4A62-8C71-25AD6B2BD7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5" y="185"/>
                  <a:ext cx="13" cy="9"/>
                </a:xfrm>
                <a:custGeom>
                  <a:avLst/>
                  <a:gdLst>
                    <a:gd name="T0" fmla="*/ 5 w 13"/>
                    <a:gd name="T1" fmla="*/ 6 h 9"/>
                    <a:gd name="T2" fmla="*/ 3 w 13"/>
                    <a:gd name="T3" fmla="*/ 9 h 9"/>
                    <a:gd name="T4" fmla="*/ 1 w 13"/>
                    <a:gd name="T5" fmla="*/ 9 h 9"/>
                    <a:gd name="T6" fmla="*/ 0 w 13"/>
                    <a:gd name="T7" fmla="*/ 8 h 9"/>
                    <a:gd name="T8" fmla="*/ 0 w 13"/>
                    <a:gd name="T9" fmla="*/ 5 h 9"/>
                    <a:gd name="T10" fmla="*/ 1 w 13"/>
                    <a:gd name="T11" fmla="*/ 1 h 9"/>
                    <a:gd name="T12" fmla="*/ 6 w 13"/>
                    <a:gd name="T13" fmla="*/ 0 h 9"/>
                    <a:gd name="T14" fmla="*/ 8 w 13"/>
                    <a:gd name="T15" fmla="*/ 1 h 9"/>
                    <a:gd name="T16" fmla="*/ 10 w 13"/>
                    <a:gd name="T17" fmla="*/ 3 h 9"/>
                    <a:gd name="T18" fmla="*/ 13 w 13"/>
                    <a:gd name="T19" fmla="*/ 3 h 9"/>
                    <a:gd name="T20" fmla="*/ 13 w 13"/>
                    <a:gd name="T21" fmla="*/ 6 h 9"/>
                    <a:gd name="T22" fmla="*/ 11 w 13"/>
                    <a:gd name="T23" fmla="*/ 8 h 9"/>
                    <a:gd name="T24" fmla="*/ 8 w 13"/>
                    <a:gd name="T25" fmla="*/ 8 h 9"/>
                    <a:gd name="T26" fmla="*/ 5 w 13"/>
                    <a:gd name="T27" fmla="*/ 6 h 9"/>
                    <a:gd name="T28" fmla="*/ 5 w 13"/>
                    <a:gd name="T29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9">
                      <a:moveTo>
                        <a:pt x="5" y="6"/>
                      </a:moveTo>
                      <a:lnTo>
                        <a:pt x="3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1" y="1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13" y="3"/>
                      </a:lnTo>
                      <a:lnTo>
                        <a:pt x="13" y="6"/>
                      </a:lnTo>
                      <a:lnTo>
                        <a:pt x="11" y="8"/>
                      </a:lnTo>
                      <a:lnTo>
                        <a:pt x="8" y="8"/>
                      </a:lnTo>
                      <a:lnTo>
                        <a:pt x="5" y="6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5" name="Freeform 39">
                  <a:extLst>
                    <a:ext uri="{FF2B5EF4-FFF2-40B4-BE49-F238E27FC236}">
                      <a16:creationId xmlns:a16="http://schemas.microsoft.com/office/drawing/2014/main" xmlns="" id="{164EAE35-757C-4DF2-BC62-372ABD3ED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88"/>
                  <a:ext cx="6" cy="5"/>
                </a:xfrm>
                <a:custGeom>
                  <a:avLst/>
                  <a:gdLst>
                    <a:gd name="T0" fmla="*/ 0 w 6"/>
                    <a:gd name="T1" fmla="*/ 2 h 5"/>
                    <a:gd name="T2" fmla="*/ 1 w 6"/>
                    <a:gd name="T3" fmla="*/ 5 h 5"/>
                    <a:gd name="T4" fmla="*/ 3 w 6"/>
                    <a:gd name="T5" fmla="*/ 5 h 5"/>
                    <a:gd name="T6" fmla="*/ 6 w 6"/>
                    <a:gd name="T7" fmla="*/ 3 h 5"/>
                    <a:gd name="T8" fmla="*/ 6 w 6"/>
                    <a:gd name="T9" fmla="*/ 2 h 5"/>
                    <a:gd name="T10" fmla="*/ 5 w 6"/>
                    <a:gd name="T11" fmla="*/ 0 h 5"/>
                    <a:gd name="T12" fmla="*/ 3 w 6"/>
                    <a:gd name="T13" fmla="*/ 0 h 5"/>
                    <a:gd name="T14" fmla="*/ 1 w 6"/>
                    <a:gd name="T15" fmla="*/ 2 h 5"/>
                    <a:gd name="T16" fmla="*/ 0 w 6"/>
                    <a:gd name="T17" fmla="*/ 2 h 5"/>
                    <a:gd name="T18" fmla="*/ 0 w 6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0" y="2"/>
                      </a:move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6" name="Freeform 40">
                  <a:extLst>
                    <a:ext uri="{FF2B5EF4-FFF2-40B4-BE49-F238E27FC236}">
                      <a16:creationId xmlns:a16="http://schemas.microsoft.com/office/drawing/2014/main" xmlns="" id="{D3AAD0CA-E704-4C78-954D-1BF0811EA7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3" y="204"/>
                  <a:ext cx="16" cy="18"/>
                </a:xfrm>
                <a:custGeom>
                  <a:avLst/>
                  <a:gdLst>
                    <a:gd name="T0" fmla="*/ 16 w 16"/>
                    <a:gd name="T1" fmla="*/ 17 h 18"/>
                    <a:gd name="T2" fmla="*/ 16 w 16"/>
                    <a:gd name="T3" fmla="*/ 15 h 18"/>
                    <a:gd name="T4" fmla="*/ 15 w 16"/>
                    <a:gd name="T5" fmla="*/ 12 h 18"/>
                    <a:gd name="T6" fmla="*/ 15 w 16"/>
                    <a:gd name="T7" fmla="*/ 8 h 18"/>
                    <a:gd name="T8" fmla="*/ 15 w 16"/>
                    <a:gd name="T9" fmla="*/ 5 h 18"/>
                    <a:gd name="T10" fmla="*/ 13 w 16"/>
                    <a:gd name="T11" fmla="*/ 2 h 18"/>
                    <a:gd name="T12" fmla="*/ 10 w 16"/>
                    <a:gd name="T13" fmla="*/ 0 h 18"/>
                    <a:gd name="T14" fmla="*/ 8 w 16"/>
                    <a:gd name="T15" fmla="*/ 2 h 18"/>
                    <a:gd name="T16" fmla="*/ 5 w 16"/>
                    <a:gd name="T17" fmla="*/ 2 h 18"/>
                    <a:gd name="T18" fmla="*/ 2 w 16"/>
                    <a:gd name="T19" fmla="*/ 4 h 18"/>
                    <a:gd name="T20" fmla="*/ 0 w 16"/>
                    <a:gd name="T21" fmla="*/ 7 h 18"/>
                    <a:gd name="T22" fmla="*/ 3 w 16"/>
                    <a:gd name="T23" fmla="*/ 10 h 18"/>
                    <a:gd name="T24" fmla="*/ 3 w 16"/>
                    <a:gd name="T25" fmla="*/ 17 h 18"/>
                    <a:gd name="T26" fmla="*/ 7 w 16"/>
                    <a:gd name="T27" fmla="*/ 18 h 18"/>
                    <a:gd name="T28" fmla="*/ 8 w 16"/>
                    <a:gd name="T29" fmla="*/ 18 h 18"/>
                    <a:gd name="T30" fmla="*/ 13 w 16"/>
                    <a:gd name="T31" fmla="*/ 17 h 18"/>
                    <a:gd name="T32" fmla="*/ 16 w 16"/>
                    <a:gd name="T33" fmla="*/ 17 h 18"/>
                    <a:gd name="T34" fmla="*/ 16 w 16"/>
                    <a:gd name="T35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" h="18">
                      <a:moveTo>
                        <a:pt x="16" y="17"/>
                      </a:moveTo>
                      <a:lnTo>
                        <a:pt x="16" y="15"/>
                      </a:lnTo>
                      <a:lnTo>
                        <a:pt x="15" y="12"/>
                      </a:lnTo>
                      <a:lnTo>
                        <a:pt x="15" y="8"/>
                      </a:lnTo>
                      <a:lnTo>
                        <a:pt x="15" y="5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3" y="10"/>
                      </a:lnTo>
                      <a:lnTo>
                        <a:pt x="3" y="17"/>
                      </a:lnTo>
                      <a:lnTo>
                        <a:pt x="7" y="18"/>
                      </a:lnTo>
                      <a:lnTo>
                        <a:pt x="8" y="18"/>
                      </a:lnTo>
                      <a:lnTo>
                        <a:pt x="13" y="17"/>
                      </a:lnTo>
                      <a:lnTo>
                        <a:pt x="16" y="17"/>
                      </a:lnTo>
                      <a:lnTo>
                        <a:pt x="16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7" name="Freeform 41">
                  <a:extLst>
                    <a:ext uri="{FF2B5EF4-FFF2-40B4-BE49-F238E27FC236}">
                      <a16:creationId xmlns:a16="http://schemas.microsoft.com/office/drawing/2014/main" xmlns="" id="{0746B2A7-823E-413E-BF88-1B5E0FE38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6" y="196"/>
                  <a:ext cx="20" cy="23"/>
                </a:xfrm>
                <a:custGeom>
                  <a:avLst/>
                  <a:gdLst>
                    <a:gd name="T0" fmla="*/ 11 w 20"/>
                    <a:gd name="T1" fmla="*/ 23 h 23"/>
                    <a:gd name="T2" fmla="*/ 11 w 20"/>
                    <a:gd name="T3" fmla="*/ 21 h 23"/>
                    <a:gd name="T4" fmla="*/ 10 w 20"/>
                    <a:gd name="T5" fmla="*/ 18 h 23"/>
                    <a:gd name="T6" fmla="*/ 10 w 20"/>
                    <a:gd name="T7" fmla="*/ 16 h 23"/>
                    <a:gd name="T8" fmla="*/ 11 w 20"/>
                    <a:gd name="T9" fmla="*/ 16 h 23"/>
                    <a:gd name="T10" fmla="*/ 13 w 20"/>
                    <a:gd name="T11" fmla="*/ 13 h 23"/>
                    <a:gd name="T12" fmla="*/ 13 w 20"/>
                    <a:gd name="T13" fmla="*/ 10 h 23"/>
                    <a:gd name="T14" fmla="*/ 18 w 20"/>
                    <a:gd name="T15" fmla="*/ 8 h 23"/>
                    <a:gd name="T16" fmla="*/ 20 w 20"/>
                    <a:gd name="T17" fmla="*/ 8 h 23"/>
                    <a:gd name="T18" fmla="*/ 20 w 20"/>
                    <a:gd name="T19" fmla="*/ 7 h 23"/>
                    <a:gd name="T20" fmla="*/ 18 w 20"/>
                    <a:gd name="T21" fmla="*/ 5 h 23"/>
                    <a:gd name="T22" fmla="*/ 15 w 20"/>
                    <a:gd name="T23" fmla="*/ 7 h 23"/>
                    <a:gd name="T24" fmla="*/ 10 w 20"/>
                    <a:gd name="T25" fmla="*/ 3 h 23"/>
                    <a:gd name="T26" fmla="*/ 7 w 20"/>
                    <a:gd name="T27" fmla="*/ 0 h 23"/>
                    <a:gd name="T28" fmla="*/ 3 w 20"/>
                    <a:gd name="T29" fmla="*/ 0 h 23"/>
                    <a:gd name="T30" fmla="*/ 2 w 20"/>
                    <a:gd name="T31" fmla="*/ 2 h 23"/>
                    <a:gd name="T32" fmla="*/ 0 w 20"/>
                    <a:gd name="T33" fmla="*/ 2 h 23"/>
                    <a:gd name="T34" fmla="*/ 0 w 20"/>
                    <a:gd name="T35" fmla="*/ 3 h 23"/>
                    <a:gd name="T36" fmla="*/ 3 w 20"/>
                    <a:gd name="T37" fmla="*/ 12 h 23"/>
                    <a:gd name="T38" fmla="*/ 3 w 20"/>
                    <a:gd name="T39" fmla="*/ 15 h 23"/>
                    <a:gd name="T40" fmla="*/ 5 w 20"/>
                    <a:gd name="T41" fmla="*/ 21 h 23"/>
                    <a:gd name="T42" fmla="*/ 8 w 20"/>
                    <a:gd name="T43" fmla="*/ 23 h 23"/>
                    <a:gd name="T44" fmla="*/ 11 w 20"/>
                    <a:gd name="T45" fmla="*/ 23 h 23"/>
                    <a:gd name="T46" fmla="*/ 11 w 20"/>
                    <a:gd name="T47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0" h="23">
                      <a:moveTo>
                        <a:pt x="11" y="23"/>
                      </a:moveTo>
                      <a:lnTo>
                        <a:pt x="11" y="21"/>
                      </a:lnTo>
                      <a:lnTo>
                        <a:pt x="10" y="18"/>
                      </a:lnTo>
                      <a:lnTo>
                        <a:pt x="10" y="16"/>
                      </a:lnTo>
                      <a:lnTo>
                        <a:pt x="11" y="16"/>
                      </a:lnTo>
                      <a:lnTo>
                        <a:pt x="13" y="13"/>
                      </a:lnTo>
                      <a:lnTo>
                        <a:pt x="13" y="10"/>
                      </a:lnTo>
                      <a:lnTo>
                        <a:pt x="18" y="8"/>
                      </a:lnTo>
                      <a:lnTo>
                        <a:pt x="20" y="8"/>
                      </a:lnTo>
                      <a:lnTo>
                        <a:pt x="20" y="7"/>
                      </a:lnTo>
                      <a:lnTo>
                        <a:pt x="18" y="5"/>
                      </a:lnTo>
                      <a:lnTo>
                        <a:pt x="15" y="7"/>
                      </a:lnTo>
                      <a:lnTo>
                        <a:pt x="10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5" y="21"/>
                      </a:lnTo>
                      <a:lnTo>
                        <a:pt x="8" y="23"/>
                      </a:lnTo>
                      <a:lnTo>
                        <a:pt x="11" y="23"/>
                      </a:lnTo>
                      <a:lnTo>
                        <a:pt x="11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8" name="Freeform 42">
                  <a:extLst>
                    <a:ext uri="{FF2B5EF4-FFF2-40B4-BE49-F238E27FC236}">
                      <a16:creationId xmlns:a16="http://schemas.microsoft.com/office/drawing/2014/main" xmlns="" id="{7EA91197-7656-4886-B509-90143AF37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7" y="214"/>
                  <a:ext cx="13" cy="12"/>
                </a:xfrm>
                <a:custGeom>
                  <a:avLst/>
                  <a:gdLst>
                    <a:gd name="T0" fmla="*/ 0 w 13"/>
                    <a:gd name="T1" fmla="*/ 5 h 12"/>
                    <a:gd name="T2" fmla="*/ 0 w 13"/>
                    <a:gd name="T3" fmla="*/ 7 h 12"/>
                    <a:gd name="T4" fmla="*/ 4 w 13"/>
                    <a:gd name="T5" fmla="*/ 8 h 12"/>
                    <a:gd name="T6" fmla="*/ 7 w 13"/>
                    <a:gd name="T7" fmla="*/ 12 h 12"/>
                    <a:gd name="T8" fmla="*/ 10 w 13"/>
                    <a:gd name="T9" fmla="*/ 12 h 12"/>
                    <a:gd name="T10" fmla="*/ 13 w 13"/>
                    <a:gd name="T11" fmla="*/ 7 h 12"/>
                    <a:gd name="T12" fmla="*/ 12 w 13"/>
                    <a:gd name="T13" fmla="*/ 2 h 12"/>
                    <a:gd name="T14" fmla="*/ 8 w 13"/>
                    <a:gd name="T15" fmla="*/ 0 h 12"/>
                    <a:gd name="T16" fmla="*/ 5 w 13"/>
                    <a:gd name="T17" fmla="*/ 2 h 12"/>
                    <a:gd name="T18" fmla="*/ 0 w 13"/>
                    <a:gd name="T19" fmla="*/ 5 h 12"/>
                    <a:gd name="T20" fmla="*/ 0 w 13"/>
                    <a:gd name="T21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12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4" y="8"/>
                      </a:lnTo>
                      <a:lnTo>
                        <a:pt x="7" y="12"/>
                      </a:lnTo>
                      <a:lnTo>
                        <a:pt x="10" y="12"/>
                      </a:lnTo>
                      <a:lnTo>
                        <a:pt x="13" y="7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5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79" name="Freeform 43">
                  <a:extLst>
                    <a:ext uri="{FF2B5EF4-FFF2-40B4-BE49-F238E27FC236}">
                      <a16:creationId xmlns:a16="http://schemas.microsoft.com/office/drawing/2014/main" xmlns="" id="{D7CE0932-E8F5-4898-876C-17C8FF7E62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6" y="226"/>
                  <a:ext cx="6" cy="3"/>
                </a:xfrm>
                <a:custGeom>
                  <a:avLst/>
                  <a:gdLst>
                    <a:gd name="T0" fmla="*/ 1 w 6"/>
                    <a:gd name="T1" fmla="*/ 0 h 3"/>
                    <a:gd name="T2" fmla="*/ 0 w 6"/>
                    <a:gd name="T3" fmla="*/ 1 h 3"/>
                    <a:gd name="T4" fmla="*/ 3 w 6"/>
                    <a:gd name="T5" fmla="*/ 3 h 3"/>
                    <a:gd name="T6" fmla="*/ 5 w 6"/>
                    <a:gd name="T7" fmla="*/ 3 h 3"/>
                    <a:gd name="T8" fmla="*/ 6 w 6"/>
                    <a:gd name="T9" fmla="*/ 3 h 3"/>
                    <a:gd name="T10" fmla="*/ 3 w 6"/>
                    <a:gd name="T11" fmla="*/ 0 h 3"/>
                    <a:gd name="T12" fmla="*/ 1 w 6"/>
                    <a:gd name="T13" fmla="*/ 0 h 3"/>
                    <a:gd name="T14" fmla="*/ 1 w 6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0" name="Freeform 44">
                  <a:extLst>
                    <a:ext uri="{FF2B5EF4-FFF2-40B4-BE49-F238E27FC236}">
                      <a16:creationId xmlns:a16="http://schemas.microsoft.com/office/drawing/2014/main" xmlns="" id="{7E3F94B0-15DA-4790-A0AC-BB71BBE7F0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7" y="118"/>
                  <a:ext cx="12" cy="6"/>
                </a:xfrm>
                <a:custGeom>
                  <a:avLst/>
                  <a:gdLst>
                    <a:gd name="T0" fmla="*/ 0 w 12"/>
                    <a:gd name="T1" fmla="*/ 3 h 6"/>
                    <a:gd name="T2" fmla="*/ 2 w 12"/>
                    <a:gd name="T3" fmla="*/ 3 h 6"/>
                    <a:gd name="T4" fmla="*/ 4 w 12"/>
                    <a:gd name="T5" fmla="*/ 3 h 6"/>
                    <a:gd name="T6" fmla="*/ 7 w 12"/>
                    <a:gd name="T7" fmla="*/ 0 h 6"/>
                    <a:gd name="T8" fmla="*/ 8 w 12"/>
                    <a:gd name="T9" fmla="*/ 0 h 6"/>
                    <a:gd name="T10" fmla="*/ 10 w 12"/>
                    <a:gd name="T11" fmla="*/ 1 h 6"/>
                    <a:gd name="T12" fmla="*/ 12 w 12"/>
                    <a:gd name="T13" fmla="*/ 1 h 6"/>
                    <a:gd name="T14" fmla="*/ 12 w 12"/>
                    <a:gd name="T15" fmla="*/ 3 h 6"/>
                    <a:gd name="T16" fmla="*/ 10 w 12"/>
                    <a:gd name="T17" fmla="*/ 6 h 6"/>
                    <a:gd name="T18" fmla="*/ 8 w 12"/>
                    <a:gd name="T19" fmla="*/ 6 h 6"/>
                    <a:gd name="T20" fmla="*/ 5 w 12"/>
                    <a:gd name="T21" fmla="*/ 5 h 6"/>
                    <a:gd name="T22" fmla="*/ 0 w 12"/>
                    <a:gd name="T23" fmla="*/ 5 h 6"/>
                    <a:gd name="T24" fmla="*/ 0 w 12"/>
                    <a:gd name="T25" fmla="*/ 3 h 6"/>
                    <a:gd name="T26" fmla="*/ 0 w 12"/>
                    <a:gd name="T2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6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0" y="1"/>
                      </a:lnTo>
                      <a:lnTo>
                        <a:pt x="12" y="1"/>
                      </a:lnTo>
                      <a:lnTo>
                        <a:pt x="12" y="3"/>
                      </a:lnTo>
                      <a:lnTo>
                        <a:pt x="10" y="6"/>
                      </a:lnTo>
                      <a:lnTo>
                        <a:pt x="8" y="6"/>
                      </a:lnTo>
                      <a:lnTo>
                        <a:pt x="5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1" name="Freeform 45">
                  <a:extLst>
                    <a:ext uri="{FF2B5EF4-FFF2-40B4-BE49-F238E27FC236}">
                      <a16:creationId xmlns:a16="http://schemas.microsoft.com/office/drawing/2014/main" xmlns="" id="{C17A9A97-189F-4EFD-9017-CD83F1C8F5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1" y="155"/>
                  <a:ext cx="16" cy="13"/>
                </a:xfrm>
                <a:custGeom>
                  <a:avLst/>
                  <a:gdLst>
                    <a:gd name="T0" fmla="*/ 13 w 16"/>
                    <a:gd name="T1" fmla="*/ 12 h 13"/>
                    <a:gd name="T2" fmla="*/ 14 w 16"/>
                    <a:gd name="T3" fmla="*/ 8 h 13"/>
                    <a:gd name="T4" fmla="*/ 16 w 16"/>
                    <a:gd name="T5" fmla="*/ 7 h 13"/>
                    <a:gd name="T6" fmla="*/ 16 w 16"/>
                    <a:gd name="T7" fmla="*/ 5 h 13"/>
                    <a:gd name="T8" fmla="*/ 13 w 16"/>
                    <a:gd name="T9" fmla="*/ 4 h 13"/>
                    <a:gd name="T10" fmla="*/ 11 w 16"/>
                    <a:gd name="T11" fmla="*/ 0 h 13"/>
                    <a:gd name="T12" fmla="*/ 10 w 16"/>
                    <a:gd name="T13" fmla="*/ 0 h 13"/>
                    <a:gd name="T14" fmla="*/ 5 w 16"/>
                    <a:gd name="T15" fmla="*/ 2 h 13"/>
                    <a:gd name="T16" fmla="*/ 1 w 16"/>
                    <a:gd name="T17" fmla="*/ 5 h 13"/>
                    <a:gd name="T18" fmla="*/ 0 w 16"/>
                    <a:gd name="T19" fmla="*/ 7 h 13"/>
                    <a:gd name="T20" fmla="*/ 0 w 16"/>
                    <a:gd name="T21" fmla="*/ 8 h 13"/>
                    <a:gd name="T22" fmla="*/ 5 w 16"/>
                    <a:gd name="T23" fmla="*/ 12 h 13"/>
                    <a:gd name="T24" fmla="*/ 8 w 16"/>
                    <a:gd name="T25" fmla="*/ 13 h 13"/>
                    <a:gd name="T26" fmla="*/ 13 w 16"/>
                    <a:gd name="T27" fmla="*/ 12 h 13"/>
                    <a:gd name="T28" fmla="*/ 13 w 16"/>
                    <a:gd name="T29" fmla="*/ 1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3">
                      <a:moveTo>
                        <a:pt x="13" y="12"/>
                      </a:moveTo>
                      <a:lnTo>
                        <a:pt x="14" y="8"/>
                      </a:lnTo>
                      <a:lnTo>
                        <a:pt x="16" y="7"/>
                      </a:lnTo>
                      <a:lnTo>
                        <a:pt x="16" y="5"/>
                      </a:lnTo>
                      <a:lnTo>
                        <a:pt x="13" y="4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5" y="12"/>
                      </a:lnTo>
                      <a:lnTo>
                        <a:pt x="8" y="13"/>
                      </a:lnTo>
                      <a:lnTo>
                        <a:pt x="13" y="12"/>
                      </a:lnTo>
                      <a:lnTo>
                        <a:pt x="13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2" name="Freeform 46">
                  <a:extLst>
                    <a:ext uri="{FF2B5EF4-FFF2-40B4-BE49-F238E27FC236}">
                      <a16:creationId xmlns:a16="http://schemas.microsoft.com/office/drawing/2014/main" xmlns="" id="{FDA84F51-AB83-4DF3-A235-BB194FC24A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2" y="162"/>
                  <a:ext cx="27" cy="36"/>
                </a:xfrm>
                <a:custGeom>
                  <a:avLst/>
                  <a:gdLst>
                    <a:gd name="T0" fmla="*/ 18 w 27"/>
                    <a:gd name="T1" fmla="*/ 0 h 36"/>
                    <a:gd name="T2" fmla="*/ 18 w 27"/>
                    <a:gd name="T3" fmla="*/ 1 h 36"/>
                    <a:gd name="T4" fmla="*/ 18 w 27"/>
                    <a:gd name="T5" fmla="*/ 5 h 36"/>
                    <a:gd name="T6" fmla="*/ 15 w 27"/>
                    <a:gd name="T7" fmla="*/ 8 h 36"/>
                    <a:gd name="T8" fmla="*/ 13 w 27"/>
                    <a:gd name="T9" fmla="*/ 6 h 36"/>
                    <a:gd name="T10" fmla="*/ 12 w 27"/>
                    <a:gd name="T11" fmla="*/ 6 h 36"/>
                    <a:gd name="T12" fmla="*/ 7 w 27"/>
                    <a:gd name="T13" fmla="*/ 11 h 36"/>
                    <a:gd name="T14" fmla="*/ 5 w 27"/>
                    <a:gd name="T15" fmla="*/ 11 h 36"/>
                    <a:gd name="T16" fmla="*/ 2 w 27"/>
                    <a:gd name="T17" fmla="*/ 10 h 36"/>
                    <a:gd name="T18" fmla="*/ 0 w 27"/>
                    <a:gd name="T19" fmla="*/ 10 h 36"/>
                    <a:gd name="T20" fmla="*/ 0 w 27"/>
                    <a:gd name="T21" fmla="*/ 13 h 36"/>
                    <a:gd name="T22" fmla="*/ 2 w 27"/>
                    <a:gd name="T23" fmla="*/ 16 h 36"/>
                    <a:gd name="T24" fmla="*/ 2 w 27"/>
                    <a:gd name="T25" fmla="*/ 26 h 36"/>
                    <a:gd name="T26" fmla="*/ 4 w 27"/>
                    <a:gd name="T27" fmla="*/ 31 h 36"/>
                    <a:gd name="T28" fmla="*/ 7 w 27"/>
                    <a:gd name="T29" fmla="*/ 36 h 36"/>
                    <a:gd name="T30" fmla="*/ 10 w 27"/>
                    <a:gd name="T31" fmla="*/ 36 h 36"/>
                    <a:gd name="T32" fmla="*/ 15 w 27"/>
                    <a:gd name="T33" fmla="*/ 34 h 36"/>
                    <a:gd name="T34" fmla="*/ 20 w 27"/>
                    <a:gd name="T35" fmla="*/ 32 h 36"/>
                    <a:gd name="T36" fmla="*/ 22 w 27"/>
                    <a:gd name="T37" fmla="*/ 31 h 36"/>
                    <a:gd name="T38" fmla="*/ 27 w 27"/>
                    <a:gd name="T39" fmla="*/ 31 h 36"/>
                    <a:gd name="T40" fmla="*/ 27 w 27"/>
                    <a:gd name="T41" fmla="*/ 28 h 36"/>
                    <a:gd name="T42" fmla="*/ 25 w 27"/>
                    <a:gd name="T43" fmla="*/ 26 h 36"/>
                    <a:gd name="T44" fmla="*/ 22 w 27"/>
                    <a:gd name="T45" fmla="*/ 23 h 36"/>
                    <a:gd name="T46" fmla="*/ 18 w 27"/>
                    <a:gd name="T47" fmla="*/ 21 h 36"/>
                    <a:gd name="T48" fmla="*/ 17 w 27"/>
                    <a:gd name="T49" fmla="*/ 16 h 36"/>
                    <a:gd name="T50" fmla="*/ 17 w 27"/>
                    <a:gd name="T51" fmla="*/ 14 h 36"/>
                    <a:gd name="T52" fmla="*/ 20 w 27"/>
                    <a:gd name="T53" fmla="*/ 13 h 36"/>
                    <a:gd name="T54" fmla="*/ 23 w 27"/>
                    <a:gd name="T55" fmla="*/ 13 h 36"/>
                    <a:gd name="T56" fmla="*/ 27 w 27"/>
                    <a:gd name="T57" fmla="*/ 11 h 36"/>
                    <a:gd name="T58" fmla="*/ 27 w 27"/>
                    <a:gd name="T59" fmla="*/ 10 h 36"/>
                    <a:gd name="T60" fmla="*/ 23 w 27"/>
                    <a:gd name="T61" fmla="*/ 5 h 36"/>
                    <a:gd name="T62" fmla="*/ 20 w 27"/>
                    <a:gd name="T63" fmla="*/ 3 h 36"/>
                    <a:gd name="T64" fmla="*/ 18 w 27"/>
                    <a:gd name="T65" fmla="*/ 0 h 36"/>
                    <a:gd name="T66" fmla="*/ 18 w 27"/>
                    <a:gd name="T67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7" h="36">
                      <a:moveTo>
                        <a:pt x="18" y="0"/>
                      </a:moveTo>
                      <a:lnTo>
                        <a:pt x="18" y="1"/>
                      </a:lnTo>
                      <a:lnTo>
                        <a:pt x="18" y="5"/>
                      </a:lnTo>
                      <a:lnTo>
                        <a:pt x="15" y="8"/>
                      </a:lnTo>
                      <a:lnTo>
                        <a:pt x="13" y="6"/>
                      </a:lnTo>
                      <a:lnTo>
                        <a:pt x="12" y="6"/>
                      </a:lnTo>
                      <a:lnTo>
                        <a:pt x="7" y="11"/>
                      </a:lnTo>
                      <a:lnTo>
                        <a:pt x="5" y="11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2" y="16"/>
                      </a:lnTo>
                      <a:lnTo>
                        <a:pt x="2" y="26"/>
                      </a:lnTo>
                      <a:lnTo>
                        <a:pt x="4" y="31"/>
                      </a:lnTo>
                      <a:lnTo>
                        <a:pt x="7" y="36"/>
                      </a:lnTo>
                      <a:lnTo>
                        <a:pt x="10" y="36"/>
                      </a:lnTo>
                      <a:lnTo>
                        <a:pt x="15" y="34"/>
                      </a:lnTo>
                      <a:lnTo>
                        <a:pt x="20" y="32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27" y="28"/>
                      </a:lnTo>
                      <a:lnTo>
                        <a:pt x="25" y="26"/>
                      </a:lnTo>
                      <a:lnTo>
                        <a:pt x="22" y="23"/>
                      </a:lnTo>
                      <a:lnTo>
                        <a:pt x="18" y="21"/>
                      </a:lnTo>
                      <a:lnTo>
                        <a:pt x="17" y="16"/>
                      </a:lnTo>
                      <a:lnTo>
                        <a:pt x="17" y="14"/>
                      </a:lnTo>
                      <a:lnTo>
                        <a:pt x="20" y="13"/>
                      </a:lnTo>
                      <a:lnTo>
                        <a:pt x="23" y="13"/>
                      </a:lnTo>
                      <a:lnTo>
                        <a:pt x="27" y="11"/>
                      </a:lnTo>
                      <a:lnTo>
                        <a:pt x="27" y="10"/>
                      </a:lnTo>
                      <a:lnTo>
                        <a:pt x="23" y="5"/>
                      </a:lnTo>
                      <a:lnTo>
                        <a:pt x="20" y="3"/>
                      </a:lnTo>
                      <a:lnTo>
                        <a:pt x="18" y="0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3" name="Freeform 47">
                  <a:extLst>
                    <a:ext uri="{FF2B5EF4-FFF2-40B4-BE49-F238E27FC236}">
                      <a16:creationId xmlns:a16="http://schemas.microsoft.com/office/drawing/2014/main" xmlns="" id="{8C4B4319-598D-4841-B353-7679889329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4" y="131"/>
                  <a:ext cx="24" cy="37"/>
                </a:xfrm>
                <a:custGeom>
                  <a:avLst/>
                  <a:gdLst>
                    <a:gd name="T0" fmla="*/ 11 w 24"/>
                    <a:gd name="T1" fmla="*/ 37 h 37"/>
                    <a:gd name="T2" fmla="*/ 9 w 24"/>
                    <a:gd name="T3" fmla="*/ 36 h 37"/>
                    <a:gd name="T4" fmla="*/ 9 w 24"/>
                    <a:gd name="T5" fmla="*/ 32 h 37"/>
                    <a:gd name="T6" fmla="*/ 6 w 24"/>
                    <a:gd name="T7" fmla="*/ 31 h 37"/>
                    <a:gd name="T8" fmla="*/ 3 w 24"/>
                    <a:gd name="T9" fmla="*/ 31 h 37"/>
                    <a:gd name="T10" fmla="*/ 1 w 24"/>
                    <a:gd name="T11" fmla="*/ 28 h 37"/>
                    <a:gd name="T12" fmla="*/ 1 w 24"/>
                    <a:gd name="T13" fmla="*/ 26 h 37"/>
                    <a:gd name="T14" fmla="*/ 3 w 24"/>
                    <a:gd name="T15" fmla="*/ 23 h 37"/>
                    <a:gd name="T16" fmla="*/ 0 w 24"/>
                    <a:gd name="T17" fmla="*/ 19 h 37"/>
                    <a:gd name="T18" fmla="*/ 0 w 24"/>
                    <a:gd name="T19" fmla="*/ 14 h 37"/>
                    <a:gd name="T20" fmla="*/ 1 w 24"/>
                    <a:gd name="T21" fmla="*/ 11 h 37"/>
                    <a:gd name="T22" fmla="*/ 3 w 24"/>
                    <a:gd name="T23" fmla="*/ 10 h 37"/>
                    <a:gd name="T24" fmla="*/ 6 w 24"/>
                    <a:gd name="T25" fmla="*/ 5 h 37"/>
                    <a:gd name="T26" fmla="*/ 6 w 24"/>
                    <a:gd name="T27" fmla="*/ 3 h 37"/>
                    <a:gd name="T28" fmla="*/ 8 w 24"/>
                    <a:gd name="T29" fmla="*/ 1 h 37"/>
                    <a:gd name="T30" fmla="*/ 9 w 24"/>
                    <a:gd name="T31" fmla="*/ 0 h 37"/>
                    <a:gd name="T32" fmla="*/ 11 w 24"/>
                    <a:gd name="T33" fmla="*/ 1 h 37"/>
                    <a:gd name="T34" fmla="*/ 14 w 24"/>
                    <a:gd name="T35" fmla="*/ 3 h 37"/>
                    <a:gd name="T36" fmla="*/ 16 w 24"/>
                    <a:gd name="T37" fmla="*/ 6 h 37"/>
                    <a:gd name="T38" fmla="*/ 16 w 24"/>
                    <a:gd name="T39" fmla="*/ 11 h 37"/>
                    <a:gd name="T40" fmla="*/ 16 w 24"/>
                    <a:gd name="T41" fmla="*/ 13 h 37"/>
                    <a:gd name="T42" fmla="*/ 19 w 24"/>
                    <a:gd name="T43" fmla="*/ 14 h 37"/>
                    <a:gd name="T44" fmla="*/ 22 w 24"/>
                    <a:gd name="T45" fmla="*/ 18 h 37"/>
                    <a:gd name="T46" fmla="*/ 24 w 24"/>
                    <a:gd name="T47" fmla="*/ 18 h 37"/>
                    <a:gd name="T48" fmla="*/ 24 w 24"/>
                    <a:gd name="T49" fmla="*/ 19 h 37"/>
                    <a:gd name="T50" fmla="*/ 19 w 24"/>
                    <a:gd name="T51" fmla="*/ 23 h 37"/>
                    <a:gd name="T52" fmla="*/ 14 w 24"/>
                    <a:gd name="T53" fmla="*/ 24 h 37"/>
                    <a:gd name="T54" fmla="*/ 14 w 24"/>
                    <a:gd name="T55" fmla="*/ 26 h 37"/>
                    <a:gd name="T56" fmla="*/ 14 w 24"/>
                    <a:gd name="T57" fmla="*/ 29 h 37"/>
                    <a:gd name="T58" fmla="*/ 14 w 24"/>
                    <a:gd name="T59" fmla="*/ 34 h 37"/>
                    <a:gd name="T60" fmla="*/ 11 w 24"/>
                    <a:gd name="T61" fmla="*/ 37 h 37"/>
                    <a:gd name="T62" fmla="*/ 11 w 24"/>
                    <a:gd name="T63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" h="37">
                      <a:moveTo>
                        <a:pt x="11" y="37"/>
                      </a:moveTo>
                      <a:lnTo>
                        <a:pt x="9" y="36"/>
                      </a:lnTo>
                      <a:lnTo>
                        <a:pt x="9" y="32"/>
                      </a:lnTo>
                      <a:lnTo>
                        <a:pt x="6" y="31"/>
                      </a:lnTo>
                      <a:lnTo>
                        <a:pt x="3" y="31"/>
                      </a:lnTo>
                      <a:lnTo>
                        <a:pt x="1" y="28"/>
                      </a:lnTo>
                      <a:lnTo>
                        <a:pt x="1" y="26"/>
                      </a:lnTo>
                      <a:lnTo>
                        <a:pt x="3" y="23"/>
                      </a:lnTo>
                      <a:lnTo>
                        <a:pt x="0" y="19"/>
                      </a:lnTo>
                      <a:lnTo>
                        <a:pt x="0" y="14"/>
                      </a:lnTo>
                      <a:lnTo>
                        <a:pt x="1" y="11"/>
                      </a:lnTo>
                      <a:lnTo>
                        <a:pt x="3" y="10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4" y="3"/>
                      </a:lnTo>
                      <a:lnTo>
                        <a:pt x="16" y="6"/>
                      </a:lnTo>
                      <a:lnTo>
                        <a:pt x="16" y="11"/>
                      </a:lnTo>
                      <a:lnTo>
                        <a:pt x="16" y="13"/>
                      </a:lnTo>
                      <a:lnTo>
                        <a:pt x="19" y="14"/>
                      </a:lnTo>
                      <a:lnTo>
                        <a:pt x="22" y="18"/>
                      </a:lnTo>
                      <a:lnTo>
                        <a:pt x="24" y="18"/>
                      </a:lnTo>
                      <a:lnTo>
                        <a:pt x="24" y="19"/>
                      </a:lnTo>
                      <a:lnTo>
                        <a:pt x="19" y="23"/>
                      </a:lnTo>
                      <a:lnTo>
                        <a:pt x="14" y="24"/>
                      </a:lnTo>
                      <a:lnTo>
                        <a:pt x="14" y="26"/>
                      </a:lnTo>
                      <a:lnTo>
                        <a:pt x="14" y="29"/>
                      </a:lnTo>
                      <a:lnTo>
                        <a:pt x="14" y="34"/>
                      </a:lnTo>
                      <a:lnTo>
                        <a:pt x="11" y="37"/>
                      </a:lnTo>
                      <a:lnTo>
                        <a:pt x="11" y="3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4" name="Freeform 48">
                  <a:extLst>
                    <a:ext uri="{FF2B5EF4-FFF2-40B4-BE49-F238E27FC236}">
                      <a16:creationId xmlns:a16="http://schemas.microsoft.com/office/drawing/2014/main" xmlns="" id="{86EA495D-5CC1-4E1A-A28A-187C53ED6F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2" y="255"/>
                  <a:ext cx="2" cy="5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2 h 5"/>
                    <a:gd name="T6" fmla="*/ 0 w 2"/>
                    <a:gd name="T7" fmla="*/ 0 h 5"/>
                    <a:gd name="T8" fmla="*/ 0 w 2"/>
                    <a:gd name="T9" fmla="*/ 2 h 5"/>
                    <a:gd name="T10" fmla="*/ 0 w 2"/>
                    <a:gd name="T11" fmla="*/ 5 h 5"/>
                    <a:gd name="T12" fmla="*/ 0 w 2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5" name="Freeform 49">
                  <a:extLst>
                    <a:ext uri="{FF2B5EF4-FFF2-40B4-BE49-F238E27FC236}">
                      <a16:creationId xmlns:a16="http://schemas.microsoft.com/office/drawing/2014/main" xmlns="" id="{66599371-8A5B-41A0-AA58-50D18BB475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9" y="253"/>
                  <a:ext cx="5" cy="4"/>
                </a:xfrm>
                <a:custGeom>
                  <a:avLst/>
                  <a:gdLst>
                    <a:gd name="T0" fmla="*/ 2 w 5"/>
                    <a:gd name="T1" fmla="*/ 4 h 4"/>
                    <a:gd name="T2" fmla="*/ 3 w 5"/>
                    <a:gd name="T3" fmla="*/ 4 h 4"/>
                    <a:gd name="T4" fmla="*/ 5 w 5"/>
                    <a:gd name="T5" fmla="*/ 2 h 4"/>
                    <a:gd name="T6" fmla="*/ 0 w 5"/>
                    <a:gd name="T7" fmla="*/ 0 h 4"/>
                    <a:gd name="T8" fmla="*/ 0 w 5"/>
                    <a:gd name="T9" fmla="*/ 2 h 4"/>
                    <a:gd name="T10" fmla="*/ 2 w 5"/>
                    <a:gd name="T11" fmla="*/ 4 h 4"/>
                    <a:gd name="T12" fmla="*/ 2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4"/>
                      </a:move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6" name="Freeform 50">
                  <a:extLst>
                    <a:ext uri="{FF2B5EF4-FFF2-40B4-BE49-F238E27FC236}">
                      <a16:creationId xmlns:a16="http://schemas.microsoft.com/office/drawing/2014/main" xmlns="" id="{C38999FA-AACE-4AF6-A348-FF98F447A3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6" y="257"/>
                  <a:ext cx="5" cy="4"/>
                </a:xfrm>
                <a:custGeom>
                  <a:avLst/>
                  <a:gdLst>
                    <a:gd name="T0" fmla="*/ 3 w 5"/>
                    <a:gd name="T1" fmla="*/ 4 h 4"/>
                    <a:gd name="T2" fmla="*/ 3 w 5"/>
                    <a:gd name="T3" fmla="*/ 4 h 4"/>
                    <a:gd name="T4" fmla="*/ 5 w 5"/>
                    <a:gd name="T5" fmla="*/ 3 h 4"/>
                    <a:gd name="T6" fmla="*/ 5 w 5"/>
                    <a:gd name="T7" fmla="*/ 0 h 4"/>
                    <a:gd name="T8" fmla="*/ 2 w 5"/>
                    <a:gd name="T9" fmla="*/ 0 h 4"/>
                    <a:gd name="T10" fmla="*/ 0 w 5"/>
                    <a:gd name="T11" fmla="*/ 1 h 4"/>
                    <a:gd name="T12" fmla="*/ 3 w 5"/>
                    <a:gd name="T13" fmla="*/ 4 h 4"/>
                    <a:gd name="T14" fmla="*/ 3 w 5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3" y="4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7" name="Freeform 51">
                  <a:extLst>
                    <a:ext uri="{FF2B5EF4-FFF2-40B4-BE49-F238E27FC236}">
                      <a16:creationId xmlns:a16="http://schemas.microsoft.com/office/drawing/2014/main" xmlns="" id="{01C555FA-5B9A-40DA-8892-C7D0BE1631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2" y="603"/>
                  <a:ext cx="3" cy="5"/>
                </a:xfrm>
                <a:custGeom>
                  <a:avLst/>
                  <a:gdLst>
                    <a:gd name="T0" fmla="*/ 2 w 3"/>
                    <a:gd name="T1" fmla="*/ 2 h 5"/>
                    <a:gd name="T2" fmla="*/ 0 w 3"/>
                    <a:gd name="T3" fmla="*/ 2 h 5"/>
                    <a:gd name="T4" fmla="*/ 2 w 3"/>
                    <a:gd name="T5" fmla="*/ 5 h 5"/>
                    <a:gd name="T6" fmla="*/ 3 w 3"/>
                    <a:gd name="T7" fmla="*/ 3 h 5"/>
                    <a:gd name="T8" fmla="*/ 3 w 3"/>
                    <a:gd name="T9" fmla="*/ 2 h 5"/>
                    <a:gd name="T10" fmla="*/ 2 w 3"/>
                    <a:gd name="T11" fmla="*/ 0 h 5"/>
                    <a:gd name="T12" fmla="*/ 2 w 3"/>
                    <a:gd name="T13" fmla="*/ 2 h 5"/>
                    <a:gd name="T14" fmla="*/ 2 w 3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8" name="Freeform 52">
                  <a:extLst>
                    <a:ext uri="{FF2B5EF4-FFF2-40B4-BE49-F238E27FC236}">
                      <a16:creationId xmlns:a16="http://schemas.microsoft.com/office/drawing/2014/main" xmlns="" id="{6E9869C2-1A92-4A9B-81AE-990C8B86A7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9" y="596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3 w 5"/>
                    <a:gd name="T3" fmla="*/ 5 h 5"/>
                    <a:gd name="T4" fmla="*/ 5 w 5"/>
                    <a:gd name="T5" fmla="*/ 5 h 5"/>
                    <a:gd name="T6" fmla="*/ 5 w 5"/>
                    <a:gd name="T7" fmla="*/ 4 h 5"/>
                    <a:gd name="T8" fmla="*/ 3 w 5"/>
                    <a:gd name="T9" fmla="*/ 0 h 5"/>
                    <a:gd name="T10" fmla="*/ 0 w 5"/>
                    <a:gd name="T11" fmla="*/ 0 h 5"/>
                    <a:gd name="T12" fmla="*/ 0 w 5"/>
                    <a:gd name="T13" fmla="*/ 2 h 5"/>
                    <a:gd name="T14" fmla="*/ 0 w 5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89" name="Freeform 53">
                  <a:extLst>
                    <a:ext uri="{FF2B5EF4-FFF2-40B4-BE49-F238E27FC236}">
                      <a16:creationId xmlns:a16="http://schemas.microsoft.com/office/drawing/2014/main" xmlns="" id="{2061841D-944F-4EF1-8522-FEA42FC722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3" y="394"/>
                  <a:ext cx="8" cy="8"/>
                </a:xfrm>
                <a:custGeom>
                  <a:avLst/>
                  <a:gdLst>
                    <a:gd name="T0" fmla="*/ 1 w 8"/>
                    <a:gd name="T1" fmla="*/ 8 h 8"/>
                    <a:gd name="T2" fmla="*/ 1 w 8"/>
                    <a:gd name="T3" fmla="*/ 8 h 8"/>
                    <a:gd name="T4" fmla="*/ 3 w 8"/>
                    <a:gd name="T5" fmla="*/ 6 h 8"/>
                    <a:gd name="T6" fmla="*/ 8 w 8"/>
                    <a:gd name="T7" fmla="*/ 3 h 8"/>
                    <a:gd name="T8" fmla="*/ 8 w 8"/>
                    <a:gd name="T9" fmla="*/ 0 h 8"/>
                    <a:gd name="T10" fmla="*/ 6 w 8"/>
                    <a:gd name="T11" fmla="*/ 0 h 8"/>
                    <a:gd name="T12" fmla="*/ 3 w 8"/>
                    <a:gd name="T13" fmla="*/ 3 h 8"/>
                    <a:gd name="T14" fmla="*/ 1 w 8"/>
                    <a:gd name="T15" fmla="*/ 3 h 8"/>
                    <a:gd name="T16" fmla="*/ 0 w 8"/>
                    <a:gd name="T17" fmla="*/ 6 h 8"/>
                    <a:gd name="T18" fmla="*/ 1 w 8"/>
                    <a:gd name="T19" fmla="*/ 8 h 8"/>
                    <a:gd name="T20" fmla="*/ 1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1" y="8"/>
                      </a:move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8" y="3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1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0" name="Freeform 54">
                  <a:extLst>
                    <a:ext uri="{FF2B5EF4-FFF2-40B4-BE49-F238E27FC236}">
                      <a16:creationId xmlns:a16="http://schemas.microsoft.com/office/drawing/2014/main" xmlns="" id="{CF587C21-0516-4571-B98A-32E8E30015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5" y="333"/>
                  <a:ext cx="134" cy="172"/>
                </a:xfrm>
                <a:custGeom>
                  <a:avLst/>
                  <a:gdLst>
                    <a:gd name="T0" fmla="*/ 16 w 82"/>
                    <a:gd name="T1" fmla="*/ 103 h 105"/>
                    <a:gd name="T2" fmla="*/ 19 w 82"/>
                    <a:gd name="T3" fmla="*/ 102 h 105"/>
                    <a:gd name="T4" fmla="*/ 26 w 82"/>
                    <a:gd name="T5" fmla="*/ 104 h 105"/>
                    <a:gd name="T6" fmla="*/ 30 w 82"/>
                    <a:gd name="T7" fmla="*/ 95 h 105"/>
                    <a:gd name="T8" fmla="*/ 24 w 82"/>
                    <a:gd name="T9" fmla="*/ 90 h 105"/>
                    <a:gd name="T10" fmla="*/ 29 w 82"/>
                    <a:gd name="T11" fmla="*/ 92 h 105"/>
                    <a:gd name="T12" fmla="*/ 26 w 82"/>
                    <a:gd name="T13" fmla="*/ 83 h 105"/>
                    <a:gd name="T14" fmla="*/ 32 w 82"/>
                    <a:gd name="T15" fmla="*/ 86 h 105"/>
                    <a:gd name="T16" fmla="*/ 32 w 82"/>
                    <a:gd name="T17" fmla="*/ 80 h 105"/>
                    <a:gd name="T18" fmla="*/ 32 w 82"/>
                    <a:gd name="T19" fmla="*/ 75 h 105"/>
                    <a:gd name="T20" fmla="*/ 32 w 82"/>
                    <a:gd name="T21" fmla="*/ 69 h 105"/>
                    <a:gd name="T22" fmla="*/ 37 w 82"/>
                    <a:gd name="T23" fmla="*/ 69 h 105"/>
                    <a:gd name="T24" fmla="*/ 41 w 82"/>
                    <a:gd name="T25" fmla="*/ 65 h 105"/>
                    <a:gd name="T26" fmla="*/ 42 w 82"/>
                    <a:gd name="T27" fmla="*/ 60 h 105"/>
                    <a:gd name="T28" fmla="*/ 47 w 82"/>
                    <a:gd name="T29" fmla="*/ 54 h 105"/>
                    <a:gd name="T30" fmla="*/ 53 w 82"/>
                    <a:gd name="T31" fmla="*/ 44 h 105"/>
                    <a:gd name="T32" fmla="*/ 67 w 82"/>
                    <a:gd name="T33" fmla="*/ 30 h 105"/>
                    <a:gd name="T34" fmla="*/ 78 w 82"/>
                    <a:gd name="T35" fmla="*/ 22 h 105"/>
                    <a:gd name="T36" fmla="*/ 82 w 82"/>
                    <a:gd name="T37" fmla="*/ 18 h 105"/>
                    <a:gd name="T38" fmla="*/ 80 w 82"/>
                    <a:gd name="T39" fmla="*/ 11 h 105"/>
                    <a:gd name="T40" fmla="*/ 78 w 82"/>
                    <a:gd name="T41" fmla="*/ 4 h 105"/>
                    <a:gd name="T42" fmla="*/ 72 w 82"/>
                    <a:gd name="T43" fmla="*/ 1 h 105"/>
                    <a:gd name="T44" fmla="*/ 65 w 82"/>
                    <a:gd name="T45" fmla="*/ 3 h 105"/>
                    <a:gd name="T46" fmla="*/ 60 w 82"/>
                    <a:gd name="T47" fmla="*/ 9 h 105"/>
                    <a:gd name="T48" fmla="*/ 58 w 82"/>
                    <a:gd name="T49" fmla="*/ 14 h 105"/>
                    <a:gd name="T50" fmla="*/ 52 w 82"/>
                    <a:gd name="T51" fmla="*/ 21 h 105"/>
                    <a:gd name="T52" fmla="*/ 45 w 82"/>
                    <a:gd name="T53" fmla="*/ 25 h 105"/>
                    <a:gd name="T54" fmla="*/ 41 w 82"/>
                    <a:gd name="T55" fmla="*/ 26 h 105"/>
                    <a:gd name="T56" fmla="*/ 37 w 82"/>
                    <a:gd name="T57" fmla="*/ 26 h 105"/>
                    <a:gd name="T58" fmla="*/ 31 w 82"/>
                    <a:gd name="T59" fmla="*/ 31 h 105"/>
                    <a:gd name="T60" fmla="*/ 29 w 82"/>
                    <a:gd name="T61" fmla="*/ 35 h 105"/>
                    <a:gd name="T62" fmla="*/ 27 w 82"/>
                    <a:gd name="T63" fmla="*/ 33 h 105"/>
                    <a:gd name="T64" fmla="*/ 25 w 82"/>
                    <a:gd name="T65" fmla="*/ 39 h 105"/>
                    <a:gd name="T66" fmla="*/ 19 w 82"/>
                    <a:gd name="T67" fmla="*/ 43 h 105"/>
                    <a:gd name="T68" fmla="*/ 16 w 82"/>
                    <a:gd name="T69" fmla="*/ 48 h 105"/>
                    <a:gd name="T70" fmla="*/ 17 w 82"/>
                    <a:gd name="T71" fmla="*/ 53 h 105"/>
                    <a:gd name="T72" fmla="*/ 15 w 82"/>
                    <a:gd name="T73" fmla="*/ 57 h 105"/>
                    <a:gd name="T74" fmla="*/ 9 w 82"/>
                    <a:gd name="T75" fmla="*/ 62 h 105"/>
                    <a:gd name="T76" fmla="*/ 4 w 82"/>
                    <a:gd name="T77" fmla="*/ 60 h 105"/>
                    <a:gd name="T78" fmla="*/ 7 w 82"/>
                    <a:gd name="T79" fmla="*/ 66 h 105"/>
                    <a:gd name="T80" fmla="*/ 9 w 82"/>
                    <a:gd name="T81" fmla="*/ 70 h 105"/>
                    <a:gd name="T82" fmla="*/ 14 w 82"/>
                    <a:gd name="T83" fmla="*/ 70 h 105"/>
                    <a:gd name="T84" fmla="*/ 8 w 82"/>
                    <a:gd name="T85" fmla="*/ 73 h 105"/>
                    <a:gd name="T86" fmla="*/ 12 w 82"/>
                    <a:gd name="T87" fmla="*/ 76 h 105"/>
                    <a:gd name="T88" fmla="*/ 7 w 82"/>
                    <a:gd name="T89" fmla="*/ 80 h 105"/>
                    <a:gd name="T90" fmla="*/ 11 w 82"/>
                    <a:gd name="T91" fmla="*/ 82 h 105"/>
                    <a:gd name="T92" fmla="*/ 11 w 82"/>
                    <a:gd name="T93" fmla="*/ 84 h 105"/>
                    <a:gd name="T94" fmla="*/ 14 w 82"/>
                    <a:gd name="T95" fmla="*/ 87 h 105"/>
                    <a:gd name="T96" fmla="*/ 6 w 82"/>
                    <a:gd name="T97" fmla="*/ 86 h 105"/>
                    <a:gd name="T98" fmla="*/ 5 w 82"/>
                    <a:gd name="T99" fmla="*/ 91 h 105"/>
                    <a:gd name="T100" fmla="*/ 2 w 82"/>
                    <a:gd name="T101" fmla="*/ 95 h 105"/>
                    <a:gd name="T102" fmla="*/ 4 w 82"/>
                    <a:gd name="T103" fmla="*/ 100 h 105"/>
                    <a:gd name="T104" fmla="*/ 11 w 82"/>
                    <a:gd name="T105" fmla="*/ 95 h 105"/>
                    <a:gd name="T106" fmla="*/ 12 w 82"/>
                    <a:gd name="T107" fmla="*/ 96 h 105"/>
                    <a:gd name="T108" fmla="*/ 6 w 82"/>
                    <a:gd name="T109" fmla="*/ 102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2" h="105">
                      <a:moveTo>
                        <a:pt x="6" y="105"/>
                      </a:move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14" y="103"/>
                        <a:pt x="14" y="103"/>
                        <a:pt x="14" y="103"/>
                      </a:cubicBezTo>
                      <a:cubicBezTo>
                        <a:pt x="16" y="103"/>
                        <a:pt x="16" y="103"/>
                        <a:pt x="16" y="103"/>
                      </a:cubicBezTo>
                      <a:cubicBezTo>
                        <a:pt x="17" y="104"/>
                        <a:pt x="17" y="104"/>
                        <a:pt x="17" y="104"/>
                      </a:cubicBezTo>
                      <a:cubicBezTo>
                        <a:pt x="19" y="105"/>
                        <a:pt x="19" y="105"/>
                        <a:pt x="19" y="105"/>
                      </a:cubicBezTo>
                      <a:cubicBezTo>
                        <a:pt x="20" y="104"/>
                        <a:pt x="20" y="104"/>
                        <a:pt x="20" y="104"/>
                      </a:cubicBezTo>
                      <a:cubicBezTo>
                        <a:pt x="19" y="103"/>
                        <a:pt x="19" y="103"/>
                        <a:pt x="19" y="103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0" y="102"/>
                        <a:pt x="20" y="102"/>
                        <a:pt x="20" y="102"/>
                      </a:cubicBezTo>
                      <a:cubicBezTo>
                        <a:pt x="21" y="104"/>
                        <a:pt x="21" y="104"/>
                        <a:pt x="21" y="104"/>
                      </a:cubicBezTo>
                      <a:cubicBezTo>
                        <a:pt x="23" y="105"/>
                        <a:pt x="23" y="105"/>
                        <a:pt x="23" y="105"/>
                      </a:cubicBezTo>
                      <a:cubicBezTo>
                        <a:pt x="26" y="105"/>
                        <a:pt x="26" y="105"/>
                        <a:pt x="26" y="105"/>
                      </a:cubicBezTo>
                      <a:cubicBezTo>
                        <a:pt x="26" y="104"/>
                        <a:pt x="26" y="104"/>
                        <a:pt x="26" y="104"/>
                      </a:cubicBezTo>
                      <a:cubicBezTo>
                        <a:pt x="28" y="103"/>
                        <a:pt x="28" y="103"/>
                        <a:pt x="28" y="103"/>
                      </a:cubicBezTo>
                      <a:cubicBezTo>
                        <a:pt x="29" y="101"/>
                        <a:pt x="29" y="101"/>
                        <a:pt x="29" y="101"/>
                      </a:cubicBezTo>
                      <a:cubicBezTo>
                        <a:pt x="28" y="99"/>
                        <a:pt x="28" y="99"/>
                        <a:pt x="28" y="99"/>
                      </a:cubicBezTo>
                      <a:cubicBezTo>
                        <a:pt x="30" y="97"/>
                        <a:pt x="30" y="97"/>
                        <a:pt x="30" y="97"/>
                      </a:cubicBezTo>
                      <a:cubicBezTo>
                        <a:pt x="30" y="95"/>
                        <a:pt x="30" y="95"/>
                        <a:pt x="30" y="95"/>
                      </a:cubicBezTo>
                      <a:cubicBezTo>
                        <a:pt x="29" y="94"/>
                        <a:pt x="29" y="94"/>
                        <a:pt x="29" y="94"/>
                      </a:cubicBezTo>
                      <a:cubicBezTo>
                        <a:pt x="28" y="91"/>
                        <a:pt x="28" y="91"/>
                        <a:pt x="28" y="91"/>
                      </a:cubicBezTo>
                      <a:cubicBezTo>
                        <a:pt x="26" y="91"/>
                        <a:pt x="26" y="91"/>
                        <a:pt x="26" y="91"/>
                      </a:cubicBezTo>
                      <a:cubicBezTo>
                        <a:pt x="24" y="91"/>
                        <a:pt x="24" y="91"/>
                        <a:pt x="24" y="91"/>
                      </a:cubicBezTo>
                      <a:cubicBezTo>
                        <a:pt x="24" y="90"/>
                        <a:pt x="24" y="90"/>
                        <a:pt x="24" y="90"/>
                      </a:cubicBezTo>
                      <a:cubicBezTo>
                        <a:pt x="25" y="89"/>
                        <a:pt x="25" y="89"/>
                        <a:pt x="25" y="89"/>
                      </a:cubicBezTo>
                      <a:cubicBezTo>
                        <a:pt x="26" y="90"/>
                        <a:pt x="26" y="90"/>
                        <a:pt x="26" y="90"/>
                      </a:cubicBezTo>
                      <a:cubicBezTo>
                        <a:pt x="28" y="89"/>
                        <a:pt x="28" y="89"/>
                        <a:pt x="28" y="89"/>
                      </a:cubicBezTo>
                      <a:cubicBezTo>
                        <a:pt x="29" y="91"/>
                        <a:pt x="29" y="91"/>
                        <a:pt x="29" y="91"/>
                      </a:cubicBezTo>
                      <a:cubicBezTo>
                        <a:pt x="29" y="92"/>
                        <a:pt x="29" y="92"/>
                        <a:pt x="29" y="92"/>
                      </a:cubicBezTo>
                      <a:cubicBezTo>
                        <a:pt x="30" y="93"/>
                        <a:pt x="30" y="93"/>
                        <a:pt x="30" y="93"/>
                      </a:cubicBezTo>
                      <a:cubicBezTo>
                        <a:pt x="31" y="91"/>
                        <a:pt x="31" y="91"/>
                        <a:pt x="31" y="91"/>
                      </a:cubicBezTo>
                      <a:cubicBezTo>
                        <a:pt x="30" y="88"/>
                        <a:pt x="30" y="88"/>
                        <a:pt x="30" y="88"/>
                      </a:cubicBezTo>
                      <a:cubicBezTo>
                        <a:pt x="28" y="86"/>
                        <a:pt x="28" y="86"/>
                        <a:pt x="28" y="86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2"/>
                        <a:pt x="26" y="82"/>
                        <a:pt x="26" y="82"/>
                      </a:cubicBezTo>
                      <a:cubicBezTo>
                        <a:pt x="28" y="83"/>
                        <a:pt x="28" y="83"/>
                        <a:pt x="28" y="83"/>
                      </a:cubicBezTo>
                      <a:cubicBezTo>
                        <a:pt x="28" y="85"/>
                        <a:pt x="28" y="85"/>
                        <a:pt x="28" y="85"/>
                      </a:cubicBezTo>
                      <a:cubicBezTo>
                        <a:pt x="30" y="86"/>
                        <a:pt x="30" y="86"/>
                        <a:pt x="30" y="86"/>
                      </a:cubicBezTo>
                      <a:cubicBezTo>
                        <a:pt x="32" y="86"/>
                        <a:pt x="32" y="86"/>
                        <a:pt x="32" y="86"/>
                      </a:cubicBezTo>
                      <a:cubicBezTo>
                        <a:pt x="32" y="85"/>
                        <a:pt x="32" y="85"/>
                        <a:pt x="32" y="85"/>
                      </a:cubicBezTo>
                      <a:cubicBezTo>
                        <a:pt x="32" y="84"/>
                        <a:pt x="32" y="84"/>
                        <a:pt x="32" y="84"/>
                      </a:cubicBezTo>
                      <a:cubicBezTo>
                        <a:pt x="31" y="83"/>
                        <a:pt x="31" y="83"/>
                        <a:pt x="31" y="83"/>
                      </a:cubicBezTo>
                      <a:cubicBezTo>
                        <a:pt x="31" y="82"/>
                        <a:pt x="31" y="82"/>
                        <a:pt x="31" y="82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1" y="76"/>
                        <a:pt x="31" y="76"/>
                        <a:pt x="31" y="76"/>
                      </a:cubicBezTo>
                      <a:cubicBezTo>
                        <a:pt x="29" y="73"/>
                        <a:pt x="29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33" y="74"/>
                        <a:pt x="33" y="74"/>
                        <a:pt x="33" y="74"/>
                      </a:cubicBezTo>
                      <a:cubicBezTo>
                        <a:pt x="34" y="72"/>
                        <a:pt x="34" y="72"/>
                        <a:pt x="34" y="72"/>
                      </a:cubicBezTo>
                      <a:cubicBezTo>
                        <a:pt x="33" y="72"/>
                        <a:pt x="33" y="72"/>
                        <a:pt x="33" y="72"/>
                      </a:cubicBezTo>
                      <a:cubicBezTo>
                        <a:pt x="32" y="71"/>
                        <a:pt x="32" y="71"/>
                        <a:pt x="32" y="71"/>
                      </a:cubicBezTo>
                      <a:cubicBezTo>
                        <a:pt x="32" y="69"/>
                        <a:pt x="32" y="69"/>
                        <a:pt x="32" y="69"/>
                      </a:cubicBezTo>
                      <a:cubicBezTo>
                        <a:pt x="33" y="69"/>
                        <a:pt x="33" y="69"/>
                        <a:pt x="33" y="69"/>
                      </a:cubicBezTo>
                      <a:cubicBezTo>
                        <a:pt x="35" y="70"/>
                        <a:pt x="35" y="70"/>
                        <a:pt x="35" y="70"/>
                      </a:cubicBezTo>
                      <a:cubicBezTo>
                        <a:pt x="37" y="71"/>
                        <a:pt x="37" y="71"/>
                        <a:pt x="37" y="71"/>
                      </a:cubicBezTo>
                      <a:cubicBezTo>
                        <a:pt x="38" y="70"/>
                        <a:pt x="38" y="70"/>
                        <a:pt x="38" y="70"/>
                      </a:cubicBezTo>
                      <a:cubicBezTo>
                        <a:pt x="37" y="69"/>
                        <a:pt x="37" y="69"/>
                        <a:pt x="37" y="69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39" y="68"/>
                        <a:pt x="39" y="68"/>
                        <a:pt x="39" y="68"/>
                      </a:cubicBezTo>
                      <a:cubicBezTo>
                        <a:pt x="41" y="67"/>
                        <a:pt x="41" y="67"/>
                        <a:pt x="41" y="67"/>
                      </a:cubicBezTo>
                      <a:cubicBezTo>
                        <a:pt x="41" y="65"/>
                        <a:pt x="41" y="65"/>
                        <a:pt x="41" y="65"/>
                      </a:cubicBez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43" y="62"/>
                        <a:pt x="43" y="62"/>
                        <a:pt x="43" y="62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2" y="60"/>
                        <a:pt x="42" y="60"/>
                        <a:pt x="42" y="60"/>
                      </a:cubicBezTo>
                      <a:cubicBezTo>
                        <a:pt x="41" y="58"/>
                        <a:pt x="41" y="58"/>
                        <a:pt x="41" y="58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3" y="58"/>
                        <a:pt x="43" y="58"/>
                        <a:pt x="43" y="58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47" y="54"/>
                        <a:pt x="47" y="54"/>
                        <a:pt x="47" y="54"/>
                      </a:cubicBezTo>
                      <a:cubicBezTo>
                        <a:pt x="48" y="52"/>
                        <a:pt x="48" y="52"/>
                        <a:pt x="48" y="52"/>
                      </a:cubicBezTo>
                      <a:cubicBezTo>
                        <a:pt x="49" y="51"/>
                        <a:pt x="49" y="51"/>
                        <a:pt x="49" y="51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0"/>
                        <a:pt x="54" y="40"/>
                        <a:pt x="54" y="40"/>
                      </a:cubicBezTo>
                      <a:cubicBezTo>
                        <a:pt x="56" y="40"/>
                        <a:pt x="56" y="40"/>
                        <a:pt x="56" y="40"/>
                      </a:cubicBezTo>
                      <a:cubicBezTo>
                        <a:pt x="60" y="37"/>
                        <a:pt x="60" y="37"/>
                        <a:pt x="60" y="37"/>
                      </a:cubicBezTo>
                      <a:cubicBezTo>
                        <a:pt x="63" y="33"/>
                        <a:pt x="63" y="33"/>
                        <a:pt x="63" y="33"/>
                      </a:cubicBezTo>
                      <a:cubicBezTo>
                        <a:pt x="67" y="30"/>
                        <a:pt x="67" y="30"/>
                        <a:pt x="67" y="30"/>
                      </a:cubicBezTo>
                      <a:cubicBezTo>
                        <a:pt x="68" y="30"/>
                        <a:pt x="68" y="30"/>
                        <a:pt x="68" y="30"/>
                      </a:cubicBezTo>
                      <a:cubicBezTo>
                        <a:pt x="70" y="28"/>
                        <a:pt x="70" y="28"/>
                        <a:pt x="70" y="28"/>
                      </a:cubicBezTo>
                      <a:cubicBezTo>
                        <a:pt x="73" y="27"/>
                        <a:pt x="73" y="27"/>
                        <a:pt x="73" y="27"/>
                      </a:cubicBezTo>
                      <a:cubicBezTo>
                        <a:pt x="75" y="25"/>
                        <a:pt x="75" y="25"/>
                        <a:pt x="75" y="25"/>
                      </a:cubicBezTo>
                      <a:cubicBezTo>
                        <a:pt x="78" y="22"/>
                        <a:pt x="78" y="22"/>
                        <a:pt x="78" y="22"/>
                      </a:cubicBezTo>
                      <a:cubicBezTo>
                        <a:pt x="79" y="21"/>
                        <a:pt x="79" y="21"/>
                        <a:pt x="79" y="21"/>
                      </a:cubicBezTo>
                      <a:cubicBezTo>
                        <a:pt x="80" y="21"/>
                        <a:pt x="80" y="21"/>
                        <a:pt x="80" y="21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2" y="19"/>
                        <a:pt x="82" y="19"/>
                        <a:pt x="82" y="19"/>
                      </a:cubicBezTo>
                      <a:cubicBezTo>
                        <a:pt x="82" y="18"/>
                        <a:pt x="82" y="18"/>
                        <a:pt x="82" y="18"/>
                      </a:cubicBezTo>
                      <a:cubicBezTo>
                        <a:pt x="82" y="16"/>
                        <a:pt x="82" y="16"/>
                        <a:pt x="82" y="16"/>
                      </a:cubicBezTo>
                      <a:cubicBezTo>
                        <a:pt x="82" y="15"/>
                        <a:pt x="82" y="15"/>
                        <a:pt x="82" y="15"/>
                      </a:cubicBezTo>
                      <a:cubicBezTo>
                        <a:pt x="82" y="12"/>
                        <a:pt x="82" y="12"/>
                        <a:pt x="82" y="12"/>
                      </a:cubicBezTo>
                      <a:cubicBezTo>
                        <a:pt x="82" y="11"/>
                        <a:pt x="82" y="11"/>
                        <a:pt x="82" y="11"/>
                      </a:cubicBezTo>
                      <a:cubicBezTo>
                        <a:pt x="80" y="11"/>
                        <a:pt x="80" y="11"/>
                        <a:pt x="80" y="11"/>
                      </a:cubicBezTo>
                      <a:cubicBezTo>
                        <a:pt x="80" y="9"/>
                        <a:pt x="80" y="9"/>
                        <a:pt x="80" y="9"/>
                      </a:cubicBezTo>
                      <a:cubicBezTo>
                        <a:pt x="81" y="6"/>
                        <a:pt x="81" y="6"/>
                        <a:pt x="81" y="6"/>
                      </a:cubicBezTo>
                      <a:cubicBezTo>
                        <a:pt x="80" y="5"/>
                        <a:pt x="80" y="5"/>
                        <a:pt x="80" y="5"/>
                      </a:cubicBezTo>
                      <a:cubicBezTo>
                        <a:pt x="79" y="5"/>
                        <a:pt x="79" y="5"/>
                        <a:pt x="79" y="5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6" y="4"/>
                        <a:pt x="76" y="4"/>
                        <a:pt x="76" y="4"/>
                      </a:cubicBezTo>
                      <a:cubicBezTo>
                        <a:pt x="75" y="2"/>
                        <a:pt x="75" y="2"/>
                        <a:pt x="75" y="2"/>
                      </a:cubicBezTo>
                      <a:cubicBezTo>
                        <a:pt x="75" y="1"/>
                        <a:pt x="75" y="1"/>
                        <a:pt x="75" y="1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2" y="1"/>
                        <a:pt x="72" y="1"/>
                        <a:pt x="72" y="1"/>
                      </a:cubicBezTo>
                      <a:cubicBezTo>
                        <a:pt x="71" y="2"/>
                        <a:pt x="71" y="2"/>
                        <a:pt x="71" y="2"/>
                      </a:cubicBezTo>
                      <a:cubicBezTo>
                        <a:pt x="70" y="2"/>
                        <a:pt x="70" y="2"/>
                        <a:pt x="70" y="2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67" y="1"/>
                        <a:pt x="67" y="1"/>
                        <a:pt x="67" y="1"/>
                      </a:cubicBezTo>
                      <a:cubicBezTo>
                        <a:pt x="65" y="3"/>
                        <a:pt x="65" y="3"/>
                        <a:pt x="65" y="3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63" y="6"/>
                        <a:pt x="63" y="6"/>
                        <a:pt x="63" y="6"/>
                      </a:cubicBezTo>
                      <a:cubicBezTo>
                        <a:pt x="62" y="6"/>
                        <a:pt x="62" y="6"/>
                        <a:pt x="62" y="6"/>
                      </a:cubicBezTo>
                      <a:cubicBezTo>
                        <a:pt x="60" y="7"/>
                        <a:pt x="60" y="7"/>
                        <a:pt x="60" y="7"/>
                      </a:cubicBezTo>
                      <a:cubicBezTo>
                        <a:pt x="60" y="9"/>
                        <a:pt x="60" y="9"/>
                        <a:pt x="60" y="9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60" y="13"/>
                        <a:pt x="60" y="13"/>
                        <a:pt x="60" y="13"/>
                      </a:cubicBezTo>
                      <a:cubicBezTo>
                        <a:pt x="60" y="14"/>
                        <a:pt x="60" y="14"/>
                        <a:pt x="60" y="14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7" y="15"/>
                        <a:pt x="57" y="15"/>
                        <a:pt x="57" y="15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5" y="19"/>
                        <a:pt x="55" y="19"/>
                        <a:pt x="55" y="19"/>
                      </a:cubicBezTo>
                      <a:cubicBezTo>
                        <a:pt x="52" y="21"/>
                        <a:pt x="52" y="21"/>
                        <a:pt x="52" y="21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8" y="22"/>
                        <a:pt x="48" y="22"/>
                        <a:pt x="48" y="22"/>
                      </a:cubicBezTo>
                      <a:cubicBezTo>
                        <a:pt x="47" y="23"/>
                        <a:pt x="47" y="23"/>
                        <a:pt x="47" y="23"/>
                      </a:cubicBezTo>
                      <a:cubicBezTo>
                        <a:pt x="45" y="25"/>
                        <a:pt x="45" y="25"/>
                        <a:pt x="45" y="25"/>
                      </a:cubicBezTo>
                      <a:cubicBezTo>
                        <a:pt x="44" y="26"/>
                        <a:pt x="44" y="26"/>
                        <a:pt x="44" y="26"/>
                      </a:cubicBezTo>
                      <a:cubicBezTo>
                        <a:pt x="43" y="26"/>
                        <a:pt x="43" y="26"/>
                        <a:pt x="43" y="26"/>
                      </a:cubicBezTo>
                      <a:cubicBezTo>
                        <a:pt x="42" y="24"/>
                        <a:pt x="42" y="24"/>
                        <a:pt x="42" y="24"/>
                      </a:cubicBezTo>
                      <a:cubicBezTo>
                        <a:pt x="42" y="24"/>
                        <a:pt x="42" y="24"/>
                        <a:pt x="42" y="24"/>
                      </a:cubicBezTo>
                      <a:cubicBezTo>
                        <a:pt x="41" y="26"/>
                        <a:pt x="41" y="26"/>
                        <a:pt x="41" y="26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40" y="25"/>
                        <a:pt x="40" y="25"/>
                        <a:pt x="40" y="25"/>
                      </a:cubicBezTo>
                      <a:cubicBezTo>
                        <a:pt x="37" y="26"/>
                        <a:pt x="37" y="26"/>
                        <a:pt x="37" y="26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32" y="33"/>
                        <a:pt x="32" y="33"/>
                        <a:pt x="32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3"/>
                        <a:pt x="30" y="33"/>
                        <a:pt x="30" y="33"/>
                      </a:cubicBezTo>
                      <a:cubicBezTo>
                        <a:pt x="30" y="31"/>
                        <a:pt x="30" y="31"/>
                        <a:pt x="30" y="31"/>
                      </a:cubicBezTo>
                      <a:cubicBezTo>
                        <a:pt x="29" y="31"/>
                        <a:pt x="29" y="31"/>
                        <a:pt x="29" y="31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6" y="34"/>
                        <a:pt x="26" y="34"/>
                        <a:pt x="26" y="34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27" y="37"/>
                        <a:pt x="27" y="37"/>
                        <a:pt x="27" y="37"/>
                      </a:cubicBezTo>
                      <a:cubicBezTo>
                        <a:pt x="26" y="37"/>
                        <a:pt x="26" y="37"/>
                        <a:pt x="26" y="37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3" y="39"/>
                        <a:pt x="23" y="39"/>
                        <a:pt x="23" y="39"/>
                      </a:cubicBezTo>
                      <a:cubicBezTo>
                        <a:pt x="22" y="40"/>
                        <a:pt x="22" y="40"/>
                        <a:pt x="22" y="40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20" y="42"/>
                        <a:pt x="20" y="42"/>
                        <a:pt x="20" y="42"/>
                      </a:cubicBezTo>
                      <a:cubicBezTo>
                        <a:pt x="19" y="43"/>
                        <a:pt x="19" y="43"/>
                        <a:pt x="19" y="43"/>
                      </a:cubicBezTo>
                      <a:cubicBezTo>
                        <a:pt x="18" y="46"/>
                        <a:pt x="18" y="46"/>
                        <a:pt x="18" y="46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6" y="48"/>
                        <a:pt x="16" y="48"/>
                        <a:pt x="16" y="48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7" y="53"/>
                        <a:pt x="17" y="53"/>
                        <a:pt x="17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18" y="56"/>
                        <a:pt x="18" y="56"/>
                        <a:pt x="18" y="56"/>
                      </a:cubicBezTo>
                      <a:cubicBezTo>
                        <a:pt x="16" y="57"/>
                        <a:pt x="16" y="57"/>
                        <a:pt x="16" y="57"/>
                      </a:cubicBezTo>
                      <a:cubicBezTo>
                        <a:pt x="15" y="57"/>
                        <a:pt x="15" y="57"/>
                        <a:pt x="15" y="57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0" y="59"/>
                        <a:pt x="10" y="59"/>
                        <a:pt x="10" y="59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9" y="62"/>
                        <a:pt x="9" y="62"/>
                        <a:pt x="9" y="62"/>
                      </a:cubicBezTo>
                      <a:cubicBezTo>
                        <a:pt x="8" y="63"/>
                        <a:pt x="8" y="63"/>
                        <a:pt x="8" y="63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5" y="60"/>
                        <a:pt x="5" y="60"/>
                        <a:pt x="5" y="60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7" y="70"/>
                        <a:pt x="7" y="70"/>
                        <a:pt x="7" y="70"/>
                      </a:cubicBezTo>
                      <a:cubicBezTo>
                        <a:pt x="7" y="70"/>
                        <a:pt x="7" y="70"/>
                        <a:pt x="7" y="70"/>
                      </a:cubicBezTo>
                      <a:cubicBezTo>
                        <a:pt x="8" y="71"/>
                        <a:pt x="8" y="71"/>
                        <a:pt x="8" y="71"/>
                      </a:cubicBezTo>
                      <a:cubicBezTo>
                        <a:pt x="9" y="70"/>
                        <a:pt x="9" y="70"/>
                        <a:pt x="9" y="70"/>
                      </a:cubicBezTo>
                      <a:cubicBezTo>
                        <a:pt x="10" y="70"/>
                        <a:pt x="10" y="70"/>
                        <a:pt x="10" y="70"/>
                      </a:cubicBezTo>
                      <a:cubicBezTo>
                        <a:pt x="11" y="71"/>
                        <a:pt x="11" y="71"/>
                        <a:pt x="11" y="71"/>
                      </a:cubicBezTo>
                      <a:cubicBezTo>
                        <a:pt x="13" y="71"/>
                        <a:pt x="13" y="71"/>
                        <a:pt x="13" y="71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12" y="72"/>
                        <a:pt x="12" y="72"/>
                        <a:pt x="12" y="72"/>
                      </a:cubicBezTo>
                      <a:cubicBezTo>
                        <a:pt x="10" y="72"/>
                        <a:pt x="10" y="72"/>
                        <a:pt x="10" y="72"/>
                      </a:cubicBezTo>
                      <a:cubicBezTo>
                        <a:pt x="9" y="73"/>
                        <a:pt x="9" y="73"/>
                        <a:pt x="9" y="73"/>
                      </a:cubicBezTo>
                      <a:cubicBezTo>
                        <a:pt x="8" y="73"/>
                        <a:pt x="8" y="73"/>
                        <a:pt x="8" y="73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11" y="77"/>
                        <a:pt x="11" y="77"/>
                        <a:pt x="11" y="77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2" y="77"/>
                        <a:pt x="12" y="77"/>
                        <a:pt x="12" y="77"/>
                      </a:cubicBezTo>
                      <a:cubicBezTo>
                        <a:pt x="12" y="78"/>
                        <a:pt x="12" y="78"/>
                        <a:pt x="12" y="78"/>
                      </a:cubicBezTo>
                      <a:cubicBezTo>
                        <a:pt x="10" y="79"/>
                        <a:pt x="10" y="79"/>
                        <a:pt x="10" y="79"/>
                      </a:cubicBezTo>
                      <a:cubicBezTo>
                        <a:pt x="8" y="79"/>
                        <a:pt x="8" y="79"/>
                        <a:pt x="8" y="79"/>
                      </a:cubicBezTo>
                      <a:cubicBezTo>
                        <a:pt x="7" y="80"/>
                        <a:pt x="7" y="80"/>
                        <a:pt x="7" y="80"/>
                      </a:cubicBezTo>
                      <a:cubicBezTo>
                        <a:pt x="6" y="81"/>
                        <a:pt x="6" y="81"/>
                        <a:pt x="6" y="81"/>
                      </a:cubicBezTo>
                      <a:cubicBezTo>
                        <a:pt x="7" y="81"/>
                        <a:pt x="7" y="81"/>
                        <a:pt x="7" y="81"/>
                      </a:cubicBezTo>
                      <a:cubicBezTo>
                        <a:pt x="9" y="81"/>
                        <a:pt x="9" y="81"/>
                        <a:pt x="9" y="81"/>
                      </a:cubicBezTo>
                      <a:cubicBezTo>
                        <a:pt x="11" y="81"/>
                        <a:pt x="11" y="81"/>
                        <a:pt x="11" y="81"/>
                      </a:cubicBezTo>
                      <a:cubicBezTo>
                        <a:pt x="11" y="82"/>
                        <a:pt x="11" y="82"/>
                        <a:pt x="11" y="82"/>
                      </a:cubicBezTo>
                      <a:cubicBezTo>
                        <a:pt x="10" y="82"/>
                        <a:pt x="10" y="82"/>
                        <a:pt x="10" y="82"/>
                      </a:cubicBezTo>
                      <a:cubicBezTo>
                        <a:pt x="8" y="83"/>
                        <a:pt x="8" y="83"/>
                        <a:pt x="8" y="83"/>
                      </a:cubicBezTo>
                      <a:cubicBezTo>
                        <a:pt x="8" y="84"/>
                        <a:pt x="8" y="84"/>
                        <a:pt x="8" y="84"/>
                      </a:cubicBezTo>
                      <a:cubicBezTo>
                        <a:pt x="8" y="84"/>
                        <a:pt x="8" y="84"/>
                        <a:pt x="8" y="84"/>
                      </a:cubicBezTo>
                      <a:cubicBezTo>
                        <a:pt x="11" y="84"/>
                        <a:pt x="11" y="84"/>
                        <a:pt x="11" y="84"/>
                      </a:cubicBezTo>
                      <a:cubicBezTo>
                        <a:pt x="14" y="86"/>
                        <a:pt x="14" y="86"/>
                        <a:pt x="14" y="86"/>
                      </a:cubicBezTo>
                      <a:cubicBezTo>
                        <a:pt x="15" y="87"/>
                        <a:pt x="15" y="87"/>
                        <a:pt x="15" y="87"/>
                      </a:cubicBezTo>
                      <a:cubicBezTo>
                        <a:pt x="15" y="87"/>
                        <a:pt x="15" y="87"/>
                        <a:pt x="15" y="87"/>
                      </a:cubicBezTo>
                      <a:cubicBezTo>
                        <a:pt x="15" y="89"/>
                        <a:pt x="15" y="89"/>
                        <a:pt x="15" y="89"/>
                      </a:cubicBezTo>
                      <a:cubicBezTo>
                        <a:pt x="14" y="87"/>
                        <a:pt x="14" y="87"/>
                        <a:pt x="14" y="87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0" y="86"/>
                        <a:pt x="10" y="86"/>
                        <a:pt x="10" y="86"/>
                      </a:cubicBezTo>
                      <a:cubicBezTo>
                        <a:pt x="9" y="85"/>
                        <a:pt x="9" y="85"/>
                        <a:pt x="9" y="85"/>
                      </a:cubicBezTo>
                      <a:cubicBezTo>
                        <a:pt x="7" y="85"/>
                        <a:pt x="7" y="85"/>
                        <a:pt x="7" y="85"/>
                      </a:cubicBezTo>
                      <a:cubicBezTo>
                        <a:pt x="6" y="86"/>
                        <a:pt x="6" y="86"/>
                        <a:pt x="6" y="86"/>
                      </a:cubicBezTo>
                      <a:cubicBezTo>
                        <a:pt x="6" y="88"/>
                        <a:pt x="6" y="88"/>
                        <a:pt x="6" y="88"/>
                      </a:cubicBezTo>
                      <a:cubicBezTo>
                        <a:pt x="5" y="88"/>
                        <a:pt x="5" y="88"/>
                        <a:pt x="5" y="88"/>
                      </a:cubicBezTo>
                      <a:cubicBezTo>
                        <a:pt x="5" y="89"/>
                        <a:pt x="5" y="89"/>
                        <a:pt x="5" y="89"/>
                      </a:cubicBezTo>
                      <a:cubicBezTo>
                        <a:pt x="6" y="90"/>
                        <a:pt x="6" y="90"/>
                        <a:pt x="6" y="90"/>
                      </a:cubicBezTo>
                      <a:cubicBezTo>
                        <a:pt x="5" y="91"/>
                        <a:pt x="5" y="91"/>
                        <a:pt x="5" y="91"/>
                      </a:cubicBezTo>
                      <a:cubicBezTo>
                        <a:pt x="4" y="91"/>
                        <a:pt x="4" y="91"/>
                        <a:pt x="4" y="91"/>
                      </a:cubicBezTo>
                      <a:cubicBezTo>
                        <a:pt x="4" y="91"/>
                        <a:pt x="4" y="91"/>
                        <a:pt x="4" y="91"/>
                      </a:cubicBezTo>
                      <a:cubicBezTo>
                        <a:pt x="3" y="93"/>
                        <a:pt x="3" y="93"/>
                        <a:pt x="3" y="93"/>
                      </a:cubicBezTo>
                      <a:cubicBezTo>
                        <a:pt x="2" y="94"/>
                        <a:pt x="2" y="94"/>
                        <a:pt x="2" y="94"/>
                      </a:cubicBezTo>
                      <a:cubicBezTo>
                        <a:pt x="2" y="95"/>
                        <a:pt x="2" y="95"/>
                        <a:pt x="2" y="95"/>
                      </a:cubicBezTo>
                      <a:cubicBezTo>
                        <a:pt x="2" y="96"/>
                        <a:pt x="2" y="96"/>
                        <a:pt x="2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97"/>
                        <a:pt x="0" y="97"/>
                        <a:pt x="0" y="97"/>
                      </a:cubicBezTo>
                      <a:cubicBezTo>
                        <a:pt x="2" y="99"/>
                        <a:pt x="2" y="99"/>
                        <a:pt x="2" y="99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99"/>
                        <a:pt x="5" y="99"/>
                        <a:pt x="5" y="99"/>
                      </a:cubicBezTo>
                      <a:cubicBezTo>
                        <a:pt x="5" y="98"/>
                        <a:pt x="5" y="98"/>
                        <a:pt x="5" y="98"/>
                      </a:cubicBezTo>
                      <a:cubicBezTo>
                        <a:pt x="6" y="97"/>
                        <a:pt x="6" y="97"/>
                        <a:pt x="6" y="97"/>
                      </a:cubicBezTo>
                      <a:cubicBezTo>
                        <a:pt x="9" y="95"/>
                        <a:pt x="9" y="95"/>
                        <a:pt x="9" y="95"/>
                      </a:cubicBezTo>
                      <a:cubicBezTo>
                        <a:pt x="11" y="95"/>
                        <a:pt x="11" y="95"/>
                        <a:pt x="11" y="95"/>
                      </a:cubicBezTo>
                      <a:cubicBezTo>
                        <a:pt x="13" y="95"/>
                        <a:pt x="13" y="95"/>
                        <a:pt x="13" y="95"/>
                      </a:cubicBezTo>
                      <a:cubicBezTo>
                        <a:pt x="14" y="96"/>
                        <a:pt x="14" y="96"/>
                        <a:pt x="14" y="96"/>
                      </a:cubicBezTo>
                      <a:cubicBezTo>
                        <a:pt x="14" y="97"/>
                        <a:pt x="14" y="97"/>
                        <a:pt x="14" y="97"/>
                      </a:cubicBezTo>
                      <a:cubicBezTo>
                        <a:pt x="13" y="97"/>
                        <a:pt x="13" y="97"/>
                        <a:pt x="13" y="97"/>
                      </a:cubicBezTo>
                      <a:cubicBezTo>
                        <a:pt x="12" y="96"/>
                        <a:pt x="12" y="96"/>
                        <a:pt x="12" y="96"/>
                      </a:cubicBezTo>
                      <a:cubicBezTo>
                        <a:pt x="11" y="96"/>
                        <a:pt x="11" y="96"/>
                        <a:pt x="11" y="96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7" y="99"/>
                        <a:pt x="7" y="99"/>
                        <a:pt x="7" y="99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6" y="104"/>
                        <a:pt x="6" y="105"/>
                        <a:pt x="6" y="10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1" name="Freeform 55">
                  <a:extLst>
                    <a:ext uri="{FF2B5EF4-FFF2-40B4-BE49-F238E27FC236}">
                      <a16:creationId xmlns:a16="http://schemas.microsoft.com/office/drawing/2014/main" xmlns="" id="{4B4722D2-1C5A-4E43-A59C-C98FF88F7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6" y="580"/>
                  <a:ext cx="15" cy="13"/>
                </a:xfrm>
                <a:custGeom>
                  <a:avLst/>
                  <a:gdLst>
                    <a:gd name="T0" fmla="*/ 13 w 15"/>
                    <a:gd name="T1" fmla="*/ 13 h 13"/>
                    <a:gd name="T2" fmla="*/ 13 w 15"/>
                    <a:gd name="T3" fmla="*/ 13 h 13"/>
                    <a:gd name="T4" fmla="*/ 15 w 15"/>
                    <a:gd name="T5" fmla="*/ 12 h 13"/>
                    <a:gd name="T6" fmla="*/ 13 w 15"/>
                    <a:gd name="T7" fmla="*/ 10 h 13"/>
                    <a:gd name="T8" fmla="*/ 15 w 15"/>
                    <a:gd name="T9" fmla="*/ 7 h 13"/>
                    <a:gd name="T10" fmla="*/ 13 w 15"/>
                    <a:gd name="T11" fmla="*/ 5 h 13"/>
                    <a:gd name="T12" fmla="*/ 10 w 15"/>
                    <a:gd name="T13" fmla="*/ 3 h 13"/>
                    <a:gd name="T14" fmla="*/ 8 w 15"/>
                    <a:gd name="T15" fmla="*/ 2 h 13"/>
                    <a:gd name="T16" fmla="*/ 7 w 15"/>
                    <a:gd name="T17" fmla="*/ 0 h 13"/>
                    <a:gd name="T18" fmla="*/ 4 w 15"/>
                    <a:gd name="T19" fmla="*/ 0 h 13"/>
                    <a:gd name="T20" fmla="*/ 0 w 15"/>
                    <a:gd name="T21" fmla="*/ 3 h 13"/>
                    <a:gd name="T22" fmla="*/ 2 w 15"/>
                    <a:gd name="T23" fmla="*/ 5 h 13"/>
                    <a:gd name="T24" fmla="*/ 4 w 15"/>
                    <a:gd name="T25" fmla="*/ 5 h 13"/>
                    <a:gd name="T26" fmla="*/ 5 w 15"/>
                    <a:gd name="T27" fmla="*/ 5 h 13"/>
                    <a:gd name="T28" fmla="*/ 7 w 15"/>
                    <a:gd name="T29" fmla="*/ 7 h 13"/>
                    <a:gd name="T30" fmla="*/ 8 w 15"/>
                    <a:gd name="T31" fmla="*/ 8 h 13"/>
                    <a:gd name="T32" fmla="*/ 10 w 15"/>
                    <a:gd name="T33" fmla="*/ 10 h 13"/>
                    <a:gd name="T34" fmla="*/ 13 w 15"/>
                    <a:gd name="T35" fmla="*/ 13 h 13"/>
                    <a:gd name="T36" fmla="*/ 13 w 15"/>
                    <a:gd name="T3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13">
                      <a:moveTo>
                        <a:pt x="13" y="13"/>
                      </a:moveTo>
                      <a:lnTo>
                        <a:pt x="13" y="13"/>
                      </a:lnTo>
                      <a:lnTo>
                        <a:pt x="15" y="12"/>
                      </a:lnTo>
                      <a:lnTo>
                        <a:pt x="13" y="10"/>
                      </a:lnTo>
                      <a:lnTo>
                        <a:pt x="15" y="7"/>
                      </a:lnTo>
                      <a:lnTo>
                        <a:pt x="13" y="5"/>
                      </a:lnTo>
                      <a:lnTo>
                        <a:pt x="10" y="3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7" y="7"/>
                      </a:lnTo>
                      <a:lnTo>
                        <a:pt x="8" y="8"/>
                      </a:lnTo>
                      <a:lnTo>
                        <a:pt x="10" y="10"/>
                      </a:lnTo>
                      <a:lnTo>
                        <a:pt x="13" y="13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2" name="Freeform 56">
                  <a:extLst>
                    <a:ext uri="{FF2B5EF4-FFF2-40B4-BE49-F238E27FC236}">
                      <a16:creationId xmlns:a16="http://schemas.microsoft.com/office/drawing/2014/main" xmlns="" id="{07857837-6C60-4919-8FED-476709AA23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0" y="503"/>
                  <a:ext cx="85" cy="103"/>
                </a:xfrm>
                <a:custGeom>
                  <a:avLst/>
                  <a:gdLst>
                    <a:gd name="T0" fmla="*/ 80 w 85"/>
                    <a:gd name="T1" fmla="*/ 89 h 103"/>
                    <a:gd name="T2" fmla="*/ 72 w 85"/>
                    <a:gd name="T3" fmla="*/ 84 h 103"/>
                    <a:gd name="T4" fmla="*/ 62 w 85"/>
                    <a:gd name="T5" fmla="*/ 75 h 103"/>
                    <a:gd name="T6" fmla="*/ 51 w 85"/>
                    <a:gd name="T7" fmla="*/ 54 h 103"/>
                    <a:gd name="T8" fmla="*/ 44 w 85"/>
                    <a:gd name="T9" fmla="*/ 38 h 103"/>
                    <a:gd name="T10" fmla="*/ 44 w 85"/>
                    <a:gd name="T11" fmla="*/ 23 h 103"/>
                    <a:gd name="T12" fmla="*/ 39 w 85"/>
                    <a:gd name="T13" fmla="*/ 22 h 103"/>
                    <a:gd name="T14" fmla="*/ 42 w 85"/>
                    <a:gd name="T15" fmla="*/ 20 h 103"/>
                    <a:gd name="T16" fmla="*/ 46 w 85"/>
                    <a:gd name="T17" fmla="*/ 8 h 103"/>
                    <a:gd name="T18" fmla="*/ 41 w 85"/>
                    <a:gd name="T19" fmla="*/ 8 h 103"/>
                    <a:gd name="T20" fmla="*/ 44 w 85"/>
                    <a:gd name="T21" fmla="*/ 4 h 103"/>
                    <a:gd name="T22" fmla="*/ 28 w 85"/>
                    <a:gd name="T23" fmla="*/ 0 h 103"/>
                    <a:gd name="T24" fmla="*/ 15 w 85"/>
                    <a:gd name="T25" fmla="*/ 4 h 103"/>
                    <a:gd name="T26" fmla="*/ 8 w 85"/>
                    <a:gd name="T27" fmla="*/ 12 h 103"/>
                    <a:gd name="T28" fmla="*/ 11 w 85"/>
                    <a:gd name="T29" fmla="*/ 18 h 103"/>
                    <a:gd name="T30" fmla="*/ 8 w 85"/>
                    <a:gd name="T31" fmla="*/ 22 h 103"/>
                    <a:gd name="T32" fmla="*/ 2 w 85"/>
                    <a:gd name="T33" fmla="*/ 30 h 103"/>
                    <a:gd name="T34" fmla="*/ 10 w 85"/>
                    <a:gd name="T35" fmla="*/ 28 h 103"/>
                    <a:gd name="T36" fmla="*/ 8 w 85"/>
                    <a:gd name="T37" fmla="*/ 36 h 103"/>
                    <a:gd name="T38" fmla="*/ 13 w 85"/>
                    <a:gd name="T39" fmla="*/ 33 h 103"/>
                    <a:gd name="T40" fmla="*/ 11 w 85"/>
                    <a:gd name="T41" fmla="*/ 38 h 103"/>
                    <a:gd name="T42" fmla="*/ 15 w 85"/>
                    <a:gd name="T43" fmla="*/ 43 h 103"/>
                    <a:gd name="T44" fmla="*/ 10 w 85"/>
                    <a:gd name="T45" fmla="*/ 46 h 103"/>
                    <a:gd name="T46" fmla="*/ 10 w 85"/>
                    <a:gd name="T47" fmla="*/ 49 h 103"/>
                    <a:gd name="T48" fmla="*/ 2 w 85"/>
                    <a:gd name="T49" fmla="*/ 49 h 103"/>
                    <a:gd name="T50" fmla="*/ 0 w 85"/>
                    <a:gd name="T51" fmla="*/ 61 h 103"/>
                    <a:gd name="T52" fmla="*/ 5 w 85"/>
                    <a:gd name="T53" fmla="*/ 71 h 103"/>
                    <a:gd name="T54" fmla="*/ 11 w 85"/>
                    <a:gd name="T55" fmla="*/ 77 h 103"/>
                    <a:gd name="T56" fmla="*/ 18 w 85"/>
                    <a:gd name="T57" fmla="*/ 72 h 103"/>
                    <a:gd name="T58" fmla="*/ 20 w 85"/>
                    <a:gd name="T59" fmla="*/ 61 h 103"/>
                    <a:gd name="T60" fmla="*/ 20 w 85"/>
                    <a:gd name="T61" fmla="*/ 69 h 103"/>
                    <a:gd name="T62" fmla="*/ 24 w 85"/>
                    <a:gd name="T63" fmla="*/ 72 h 103"/>
                    <a:gd name="T64" fmla="*/ 28 w 85"/>
                    <a:gd name="T65" fmla="*/ 69 h 103"/>
                    <a:gd name="T66" fmla="*/ 31 w 85"/>
                    <a:gd name="T67" fmla="*/ 79 h 103"/>
                    <a:gd name="T68" fmla="*/ 39 w 85"/>
                    <a:gd name="T69" fmla="*/ 79 h 103"/>
                    <a:gd name="T70" fmla="*/ 38 w 85"/>
                    <a:gd name="T71" fmla="*/ 80 h 103"/>
                    <a:gd name="T72" fmla="*/ 34 w 85"/>
                    <a:gd name="T73" fmla="*/ 85 h 103"/>
                    <a:gd name="T74" fmla="*/ 36 w 85"/>
                    <a:gd name="T75" fmla="*/ 92 h 103"/>
                    <a:gd name="T76" fmla="*/ 36 w 85"/>
                    <a:gd name="T77" fmla="*/ 93 h 103"/>
                    <a:gd name="T78" fmla="*/ 46 w 85"/>
                    <a:gd name="T79" fmla="*/ 95 h 103"/>
                    <a:gd name="T80" fmla="*/ 52 w 85"/>
                    <a:gd name="T81" fmla="*/ 95 h 103"/>
                    <a:gd name="T82" fmla="*/ 57 w 85"/>
                    <a:gd name="T83" fmla="*/ 103 h 103"/>
                    <a:gd name="T84" fmla="*/ 60 w 85"/>
                    <a:gd name="T85" fmla="*/ 97 h 103"/>
                    <a:gd name="T86" fmla="*/ 55 w 85"/>
                    <a:gd name="T87" fmla="*/ 93 h 103"/>
                    <a:gd name="T88" fmla="*/ 62 w 85"/>
                    <a:gd name="T89" fmla="*/ 98 h 103"/>
                    <a:gd name="T90" fmla="*/ 65 w 85"/>
                    <a:gd name="T91" fmla="*/ 98 h 103"/>
                    <a:gd name="T92" fmla="*/ 72 w 85"/>
                    <a:gd name="T93" fmla="*/ 102 h 103"/>
                    <a:gd name="T94" fmla="*/ 72 w 85"/>
                    <a:gd name="T95" fmla="*/ 98 h 103"/>
                    <a:gd name="T96" fmla="*/ 77 w 85"/>
                    <a:gd name="T97" fmla="*/ 98 h 103"/>
                    <a:gd name="T98" fmla="*/ 80 w 85"/>
                    <a:gd name="T99" fmla="*/ 102 h 103"/>
                    <a:gd name="T100" fmla="*/ 83 w 85"/>
                    <a:gd name="T101" fmla="*/ 100 h 103"/>
                    <a:gd name="T102" fmla="*/ 78 w 85"/>
                    <a:gd name="T103" fmla="*/ 97 h 103"/>
                    <a:gd name="T104" fmla="*/ 83 w 85"/>
                    <a:gd name="T105" fmla="*/ 97 h 103"/>
                    <a:gd name="T106" fmla="*/ 85 w 85"/>
                    <a:gd name="T107" fmla="*/ 9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5" h="103">
                      <a:moveTo>
                        <a:pt x="85" y="90"/>
                      </a:moveTo>
                      <a:lnTo>
                        <a:pt x="82" y="87"/>
                      </a:lnTo>
                      <a:lnTo>
                        <a:pt x="80" y="89"/>
                      </a:lnTo>
                      <a:lnTo>
                        <a:pt x="78" y="87"/>
                      </a:lnTo>
                      <a:lnTo>
                        <a:pt x="75" y="84"/>
                      </a:lnTo>
                      <a:lnTo>
                        <a:pt x="72" y="84"/>
                      </a:lnTo>
                      <a:lnTo>
                        <a:pt x="67" y="79"/>
                      </a:lnTo>
                      <a:lnTo>
                        <a:pt x="65" y="75"/>
                      </a:lnTo>
                      <a:lnTo>
                        <a:pt x="62" y="75"/>
                      </a:lnTo>
                      <a:lnTo>
                        <a:pt x="57" y="69"/>
                      </a:lnTo>
                      <a:lnTo>
                        <a:pt x="52" y="62"/>
                      </a:lnTo>
                      <a:lnTo>
                        <a:pt x="51" y="54"/>
                      </a:lnTo>
                      <a:lnTo>
                        <a:pt x="47" y="49"/>
                      </a:lnTo>
                      <a:lnTo>
                        <a:pt x="47" y="41"/>
                      </a:lnTo>
                      <a:lnTo>
                        <a:pt x="44" y="38"/>
                      </a:lnTo>
                      <a:lnTo>
                        <a:pt x="44" y="28"/>
                      </a:lnTo>
                      <a:lnTo>
                        <a:pt x="42" y="26"/>
                      </a:lnTo>
                      <a:lnTo>
                        <a:pt x="44" y="23"/>
                      </a:lnTo>
                      <a:lnTo>
                        <a:pt x="44" y="22"/>
                      </a:lnTo>
                      <a:lnTo>
                        <a:pt x="41" y="20"/>
                      </a:lnTo>
                      <a:lnTo>
                        <a:pt x="39" y="22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42" y="20"/>
                      </a:lnTo>
                      <a:lnTo>
                        <a:pt x="46" y="18"/>
                      </a:lnTo>
                      <a:lnTo>
                        <a:pt x="46" y="12"/>
                      </a:lnTo>
                      <a:lnTo>
                        <a:pt x="46" y="8"/>
                      </a:lnTo>
                      <a:lnTo>
                        <a:pt x="42" y="8"/>
                      </a:lnTo>
                      <a:lnTo>
                        <a:pt x="39" y="10"/>
                      </a:lnTo>
                      <a:lnTo>
                        <a:pt x="41" y="8"/>
                      </a:lnTo>
                      <a:lnTo>
                        <a:pt x="46" y="7"/>
                      </a:lnTo>
                      <a:lnTo>
                        <a:pt x="46" y="5"/>
                      </a:lnTo>
                      <a:lnTo>
                        <a:pt x="44" y="4"/>
                      </a:lnTo>
                      <a:lnTo>
                        <a:pt x="39" y="4"/>
                      </a:lnTo>
                      <a:lnTo>
                        <a:pt x="31" y="2"/>
                      </a:lnTo>
                      <a:lnTo>
                        <a:pt x="28" y="0"/>
                      </a:lnTo>
                      <a:lnTo>
                        <a:pt x="26" y="0"/>
                      </a:lnTo>
                      <a:lnTo>
                        <a:pt x="20" y="4"/>
                      </a:lnTo>
                      <a:lnTo>
                        <a:pt x="15" y="4"/>
                      </a:lnTo>
                      <a:lnTo>
                        <a:pt x="13" y="5"/>
                      </a:lnTo>
                      <a:lnTo>
                        <a:pt x="8" y="8"/>
                      </a:lnTo>
                      <a:lnTo>
                        <a:pt x="8" y="12"/>
                      </a:lnTo>
                      <a:lnTo>
                        <a:pt x="6" y="15"/>
                      </a:lnTo>
                      <a:lnTo>
                        <a:pt x="8" y="18"/>
                      </a:lnTo>
                      <a:lnTo>
                        <a:pt x="11" y="18"/>
                      </a:lnTo>
                      <a:lnTo>
                        <a:pt x="11" y="20"/>
                      </a:lnTo>
                      <a:lnTo>
                        <a:pt x="11" y="22"/>
                      </a:lnTo>
                      <a:lnTo>
                        <a:pt x="8" y="22"/>
                      </a:lnTo>
                      <a:lnTo>
                        <a:pt x="5" y="22"/>
                      </a:lnTo>
                      <a:lnTo>
                        <a:pt x="3" y="26"/>
                      </a:lnTo>
                      <a:lnTo>
                        <a:pt x="2" y="30"/>
                      </a:lnTo>
                      <a:lnTo>
                        <a:pt x="3" y="31"/>
                      </a:lnTo>
                      <a:lnTo>
                        <a:pt x="6" y="31"/>
                      </a:lnTo>
                      <a:lnTo>
                        <a:pt x="10" y="28"/>
                      </a:lnTo>
                      <a:lnTo>
                        <a:pt x="11" y="30"/>
                      </a:lnTo>
                      <a:lnTo>
                        <a:pt x="8" y="33"/>
                      </a:lnTo>
                      <a:lnTo>
                        <a:pt x="8" y="36"/>
                      </a:lnTo>
                      <a:lnTo>
                        <a:pt x="10" y="36"/>
                      </a:lnTo>
                      <a:lnTo>
                        <a:pt x="11" y="33"/>
                      </a:lnTo>
                      <a:lnTo>
                        <a:pt x="13" y="33"/>
                      </a:lnTo>
                      <a:lnTo>
                        <a:pt x="15" y="33"/>
                      </a:lnTo>
                      <a:lnTo>
                        <a:pt x="11" y="36"/>
                      </a:lnTo>
                      <a:lnTo>
                        <a:pt x="11" y="38"/>
                      </a:lnTo>
                      <a:lnTo>
                        <a:pt x="13" y="41"/>
                      </a:lnTo>
                      <a:lnTo>
                        <a:pt x="16" y="41"/>
                      </a:lnTo>
                      <a:lnTo>
                        <a:pt x="15" y="43"/>
                      </a:lnTo>
                      <a:lnTo>
                        <a:pt x="13" y="43"/>
                      </a:lnTo>
                      <a:lnTo>
                        <a:pt x="10" y="44"/>
                      </a:lnTo>
                      <a:lnTo>
                        <a:pt x="10" y="46"/>
                      </a:lnTo>
                      <a:lnTo>
                        <a:pt x="11" y="49"/>
                      </a:lnTo>
                      <a:lnTo>
                        <a:pt x="11" y="51"/>
                      </a:lnTo>
                      <a:lnTo>
                        <a:pt x="10" y="49"/>
                      </a:lnTo>
                      <a:lnTo>
                        <a:pt x="6" y="51"/>
                      </a:lnTo>
                      <a:lnTo>
                        <a:pt x="5" y="49"/>
                      </a:lnTo>
                      <a:lnTo>
                        <a:pt x="2" y="49"/>
                      </a:lnTo>
                      <a:lnTo>
                        <a:pt x="0" y="53"/>
                      </a:lnTo>
                      <a:lnTo>
                        <a:pt x="0" y="56"/>
                      </a:lnTo>
                      <a:lnTo>
                        <a:pt x="0" y="61"/>
                      </a:lnTo>
                      <a:lnTo>
                        <a:pt x="0" y="64"/>
                      </a:lnTo>
                      <a:lnTo>
                        <a:pt x="0" y="67"/>
                      </a:lnTo>
                      <a:lnTo>
                        <a:pt x="5" y="71"/>
                      </a:lnTo>
                      <a:lnTo>
                        <a:pt x="5" y="72"/>
                      </a:lnTo>
                      <a:lnTo>
                        <a:pt x="10" y="75"/>
                      </a:lnTo>
                      <a:lnTo>
                        <a:pt x="11" y="77"/>
                      </a:lnTo>
                      <a:lnTo>
                        <a:pt x="13" y="77"/>
                      </a:lnTo>
                      <a:lnTo>
                        <a:pt x="16" y="75"/>
                      </a:lnTo>
                      <a:lnTo>
                        <a:pt x="18" y="72"/>
                      </a:lnTo>
                      <a:lnTo>
                        <a:pt x="18" y="67"/>
                      </a:lnTo>
                      <a:lnTo>
                        <a:pt x="18" y="64"/>
                      </a:lnTo>
                      <a:lnTo>
                        <a:pt x="20" y="61"/>
                      </a:lnTo>
                      <a:lnTo>
                        <a:pt x="18" y="66"/>
                      </a:lnTo>
                      <a:lnTo>
                        <a:pt x="18" y="67"/>
                      </a:lnTo>
                      <a:lnTo>
                        <a:pt x="20" y="69"/>
                      </a:lnTo>
                      <a:lnTo>
                        <a:pt x="21" y="74"/>
                      </a:lnTo>
                      <a:lnTo>
                        <a:pt x="23" y="74"/>
                      </a:lnTo>
                      <a:lnTo>
                        <a:pt x="24" y="72"/>
                      </a:lnTo>
                      <a:lnTo>
                        <a:pt x="24" y="71"/>
                      </a:lnTo>
                      <a:lnTo>
                        <a:pt x="26" y="67"/>
                      </a:lnTo>
                      <a:lnTo>
                        <a:pt x="28" y="69"/>
                      </a:lnTo>
                      <a:lnTo>
                        <a:pt x="28" y="71"/>
                      </a:lnTo>
                      <a:lnTo>
                        <a:pt x="28" y="74"/>
                      </a:lnTo>
                      <a:lnTo>
                        <a:pt x="31" y="79"/>
                      </a:lnTo>
                      <a:lnTo>
                        <a:pt x="34" y="80"/>
                      </a:lnTo>
                      <a:lnTo>
                        <a:pt x="36" y="80"/>
                      </a:lnTo>
                      <a:lnTo>
                        <a:pt x="39" y="79"/>
                      </a:lnTo>
                      <a:lnTo>
                        <a:pt x="41" y="79"/>
                      </a:lnTo>
                      <a:lnTo>
                        <a:pt x="39" y="80"/>
                      </a:lnTo>
                      <a:lnTo>
                        <a:pt x="38" y="80"/>
                      </a:lnTo>
                      <a:lnTo>
                        <a:pt x="36" y="82"/>
                      </a:lnTo>
                      <a:lnTo>
                        <a:pt x="34" y="84"/>
                      </a:lnTo>
                      <a:lnTo>
                        <a:pt x="34" y="85"/>
                      </a:lnTo>
                      <a:lnTo>
                        <a:pt x="36" y="89"/>
                      </a:lnTo>
                      <a:lnTo>
                        <a:pt x="38" y="90"/>
                      </a:lnTo>
                      <a:lnTo>
                        <a:pt x="36" y="92"/>
                      </a:lnTo>
                      <a:lnTo>
                        <a:pt x="33" y="90"/>
                      </a:lnTo>
                      <a:lnTo>
                        <a:pt x="33" y="92"/>
                      </a:lnTo>
                      <a:lnTo>
                        <a:pt x="36" y="93"/>
                      </a:lnTo>
                      <a:lnTo>
                        <a:pt x="39" y="95"/>
                      </a:lnTo>
                      <a:lnTo>
                        <a:pt x="42" y="97"/>
                      </a:lnTo>
                      <a:lnTo>
                        <a:pt x="46" y="95"/>
                      </a:lnTo>
                      <a:lnTo>
                        <a:pt x="51" y="97"/>
                      </a:lnTo>
                      <a:lnTo>
                        <a:pt x="51" y="93"/>
                      </a:lnTo>
                      <a:lnTo>
                        <a:pt x="52" y="95"/>
                      </a:lnTo>
                      <a:lnTo>
                        <a:pt x="52" y="97"/>
                      </a:lnTo>
                      <a:lnTo>
                        <a:pt x="54" y="102"/>
                      </a:lnTo>
                      <a:lnTo>
                        <a:pt x="57" y="103"/>
                      </a:lnTo>
                      <a:lnTo>
                        <a:pt x="59" y="103"/>
                      </a:lnTo>
                      <a:lnTo>
                        <a:pt x="60" y="100"/>
                      </a:lnTo>
                      <a:lnTo>
                        <a:pt x="60" y="97"/>
                      </a:lnTo>
                      <a:lnTo>
                        <a:pt x="55" y="95"/>
                      </a:lnTo>
                      <a:lnTo>
                        <a:pt x="54" y="93"/>
                      </a:lnTo>
                      <a:lnTo>
                        <a:pt x="55" y="93"/>
                      </a:lnTo>
                      <a:lnTo>
                        <a:pt x="59" y="93"/>
                      </a:lnTo>
                      <a:lnTo>
                        <a:pt x="62" y="95"/>
                      </a:lnTo>
                      <a:lnTo>
                        <a:pt x="62" y="98"/>
                      </a:lnTo>
                      <a:lnTo>
                        <a:pt x="64" y="102"/>
                      </a:lnTo>
                      <a:lnTo>
                        <a:pt x="65" y="102"/>
                      </a:lnTo>
                      <a:lnTo>
                        <a:pt x="65" y="98"/>
                      </a:lnTo>
                      <a:lnTo>
                        <a:pt x="67" y="98"/>
                      </a:lnTo>
                      <a:lnTo>
                        <a:pt x="69" y="100"/>
                      </a:lnTo>
                      <a:lnTo>
                        <a:pt x="72" y="102"/>
                      </a:lnTo>
                      <a:lnTo>
                        <a:pt x="75" y="102"/>
                      </a:lnTo>
                      <a:lnTo>
                        <a:pt x="75" y="100"/>
                      </a:lnTo>
                      <a:lnTo>
                        <a:pt x="72" y="98"/>
                      </a:lnTo>
                      <a:lnTo>
                        <a:pt x="72" y="97"/>
                      </a:lnTo>
                      <a:lnTo>
                        <a:pt x="73" y="97"/>
                      </a:lnTo>
                      <a:lnTo>
                        <a:pt x="77" y="98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80" y="102"/>
                      </a:lnTo>
                      <a:lnTo>
                        <a:pt x="82" y="103"/>
                      </a:lnTo>
                      <a:lnTo>
                        <a:pt x="83" y="103"/>
                      </a:lnTo>
                      <a:lnTo>
                        <a:pt x="83" y="100"/>
                      </a:lnTo>
                      <a:lnTo>
                        <a:pt x="82" y="98"/>
                      </a:lnTo>
                      <a:lnTo>
                        <a:pt x="80" y="98"/>
                      </a:lnTo>
                      <a:lnTo>
                        <a:pt x="78" y="97"/>
                      </a:lnTo>
                      <a:lnTo>
                        <a:pt x="80" y="95"/>
                      </a:lnTo>
                      <a:lnTo>
                        <a:pt x="82" y="97"/>
                      </a:lnTo>
                      <a:lnTo>
                        <a:pt x="83" y="97"/>
                      </a:lnTo>
                      <a:lnTo>
                        <a:pt x="85" y="93"/>
                      </a:lnTo>
                      <a:lnTo>
                        <a:pt x="85" y="92"/>
                      </a:lnTo>
                      <a:lnTo>
                        <a:pt x="85" y="90"/>
                      </a:lnTo>
                      <a:lnTo>
                        <a:pt x="85" y="9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3" name="Freeform 57">
                  <a:extLst>
                    <a:ext uri="{FF2B5EF4-FFF2-40B4-BE49-F238E27FC236}">
                      <a16:creationId xmlns:a16="http://schemas.microsoft.com/office/drawing/2014/main" xmlns="" id="{F4121249-673C-4DE4-9DF1-BD3A6AB2E3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3" y="789"/>
                  <a:ext cx="5" cy="7"/>
                </a:xfrm>
                <a:custGeom>
                  <a:avLst/>
                  <a:gdLst>
                    <a:gd name="T0" fmla="*/ 5 w 5"/>
                    <a:gd name="T1" fmla="*/ 7 h 7"/>
                    <a:gd name="T2" fmla="*/ 3 w 5"/>
                    <a:gd name="T3" fmla="*/ 3 h 7"/>
                    <a:gd name="T4" fmla="*/ 5 w 5"/>
                    <a:gd name="T5" fmla="*/ 2 h 7"/>
                    <a:gd name="T6" fmla="*/ 3 w 5"/>
                    <a:gd name="T7" fmla="*/ 0 h 7"/>
                    <a:gd name="T8" fmla="*/ 2 w 5"/>
                    <a:gd name="T9" fmla="*/ 0 h 7"/>
                    <a:gd name="T10" fmla="*/ 0 w 5"/>
                    <a:gd name="T11" fmla="*/ 2 h 7"/>
                    <a:gd name="T12" fmla="*/ 0 w 5"/>
                    <a:gd name="T13" fmla="*/ 3 h 7"/>
                    <a:gd name="T14" fmla="*/ 2 w 5"/>
                    <a:gd name="T15" fmla="*/ 7 h 7"/>
                    <a:gd name="T16" fmla="*/ 3 w 5"/>
                    <a:gd name="T17" fmla="*/ 7 h 7"/>
                    <a:gd name="T18" fmla="*/ 5 w 5"/>
                    <a:gd name="T19" fmla="*/ 7 h 7"/>
                    <a:gd name="T20" fmla="*/ 5 w 5"/>
                    <a:gd name="T21" fmla="*/ 7 h 7"/>
                    <a:gd name="T22" fmla="*/ 5 w 5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4" name="Freeform 58">
                  <a:extLst>
                    <a:ext uri="{FF2B5EF4-FFF2-40B4-BE49-F238E27FC236}">
                      <a16:creationId xmlns:a16="http://schemas.microsoft.com/office/drawing/2014/main" xmlns="" id="{90A80B7A-9E93-4AA3-8518-FF0F88FDDE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8" y="737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5 h 5"/>
                    <a:gd name="T4" fmla="*/ 3 w 3"/>
                    <a:gd name="T5" fmla="*/ 3 h 5"/>
                    <a:gd name="T6" fmla="*/ 2 w 3"/>
                    <a:gd name="T7" fmla="*/ 0 h 5"/>
                    <a:gd name="T8" fmla="*/ 0 w 3"/>
                    <a:gd name="T9" fmla="*/ 2 h 5"/>
                    <a:gd name="T10" fmla="*/ 0 w 3"/>
                    <a:gd name="T11" fmla="*/ 3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5" name="Freeform 59">
                  <a:extLst>
                    <a:ext uri="{FF2B5EF4-FFF2-40B4-BE49-F238E27FC236}">
                      <a16:creationId xmlns:a16="http://schemas.microsoft.com/office/drawing/2014/main" xmlns="" id="{1D963813-4167-42C9-B3F2-8D3A197E2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4" y="647"/>
                  <a:ext cx="24" cy="26"/>
                </a:xfrm>
                <a:custGeom>
                  <a:avLst/>
                  <a:gdLst>
                    <a:gd name="T0" fmla="*/ 9 w 24"/>
                    <a:gd name="T1" fmla="*/ 25 h 26"/>
                    <a:gd name="T2" fmla="*/ 13 w 24"/>
                    <a:gd name="T3" fmla="*/ 25 h 26"/>
                    <a:gd name="T4" fmla="*/ 18 w 24"/>
                    <a:gd name="T5" fmla="*/ 21 h 26"/>
                    <a:gd name="T6" fmla="*/ 19 w 24"/>
                    <a:gd name="T7" fmla="*/ 16 h 26"/>
                    <a:gd name="T8" fmla="*/ 19 w 24"/>
                    <a:gd name="T9" fmla="*/ 12 h 26"/>
                    <a:gd name="T10" fmla="*/ 21 w 24"/>
                    <a:gd name="T11" fmla="*/ 10 h 26"/>
                    <a:gd name="T12" fmla="*/ 22 w 24"/>
                    <a:gd name="T13" fmla="*/ 12 h 26"/>
                    <a:gd name="T14" fmla="*/ 22 w 24"/>
                    <a:gd name="T15" fmla="*/ 16 h 26"/>
                    <a:gd name="T16" fmla="*/ 24 w 24"/>
                    <a:gd name="T17" fmla="*/ 13 h 26"/>
                    <a:gd name="T18" fmla="*/ 24 w 24"/>
                    <a:gd name="T19" fmla="*/ 8 h 26"/>
                    <a:gd name="T20" fmla="*/ 21 w 24"/>
                    <a:gd name="T21" fmla="*/ 5 h 26"/>
                    <a:gd name="T22" fmla="*/ 9 w 24"/>
                    <a:gd name="T23" fmla="*/ 0 h 26"/>
                    <a:gd name="T24" fmla="*/ 5 w 24"/>
                    <a:gd name="T25" fmla="*/ 0 h 26"/>
                    <a:gd name="T26" fmla="*/ 1 w 24"/>
                    <a:gd name="T27" fmla="*/ 2 h 26"/>
                    <a:gd name="T28" fmla="*/ 0 w 24"/>
                    <a:gd name="T29" fmla="*/ 8 h 26"/>
                    <a:gd name="T30" fmla="*/ 0 w 24"/>
                    <a:gd name="T31" fmla="*/ 16 h 26"/>
                    <a:gd name="T32" fmla="*/ 1 w 24"/>
                    <a:gd name="T33" fmla="*/ 20 h 26"/>
                    <a:gd name="T34" fmla="*/ 1 w 24"/>
                    <a:gd name="T35" fmla="*/ 25 h 26"/>
                    <a:gd name="T36" fmla="*/ 3 w 24"/>
                    <a:gd name="T37" fmla="*/ 23 h 26"/>
                    <a:gd name="T38" fmla="*/ 6 w 24"/>
                    <a:gd name="T39" fmla="*/ 25 h 26"/>
                    <a:gd name="T40" fmla="*/ 5 w 24"/>
                    <a:gd name="T41" fmla="*/ 26 h 26"/>
                    <a:gd name="T42" fmla="*/ 6 w 24"/>
                    <a:gd name="T43" fmla="*/ 26 h 26"/>
                    <a:gd name="T44" fmla="*/ 9 w 24"/>
                    <a:gd name="T45" fmla="*/ 25 h 26"/>
                    <a:gd name="T46" fmla="*/ 9 w 24"/>
                    <a:gd name="T47" fmla="*/ 25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4" h="26">
                      <a:moveTo>
                        <a:pt x="9" y="25"/>
                      </a:moveTo>
                      <a:lnTo>
                        <a:pt x="13" y="25"/>
                      </a:lnTo>
                      <a:lnTo>
                        <a:pt x="18" y="21"/>
                      </a:lnTo>
                      <a:lnTo>
                        <a:pt x="19" y="16"/>
                      </a:lnTo>
                      <a:lnTo>
                        <a:pt x="19" y="12"/>
                      </a:lnTo>
                      <a:lnTo>
                        <a:pt x="21" y="10"/>
                      </a:lnTo>
                      <a:lnTo>
                        <a:pt x="22" y="12"/>
                      </a:lnTo>
                      <a:lnTo>
                        <a:pt x="22" y="16"/>
                      </a:lnTo>
                      <a:lnTo>
                        <a:pt x="24" y="13"/>
                      </a:lnTo>
                      <a:lnTo>
                        <a:pt x="24" y="8"/>
                      </a:lnTo>
                      <a:lnTo>
                        <a:pt x="21" y="5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1" y="2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1" y="25"/>
                      </a:lnTo>
                      <a:lnTo>
                        <a:pt x="3" y="23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6" y="26"/>
                      </a:lnTo>
                      <a:lnTo>
                        <a:pt x="9" y="25"/>
                      </a:lnTo>
                      <a:lnTo>
                        <a:pt x="9" y="2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6" name="Freeform 60">
                  <a:extLst>
                    <a:ext uri="{FF2B5EF4-FFF2-40B4-BE49-F238E27FC236}">
                      <a16:creationId xmlns:a16="http://schemas.microsoft.com/office/drawing/2014/main" xmlns="" id="{3AA6346E-8F37-48F9-8B42-B6EFAC28FE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1" y="675"/>
                  <a:ext cx="8" cy="3"/>
                </a:xfrm>
                <a:custGeom>
                  <a:avLst/>
                  <a:gdLst>
                    <a:gd name="T0" fmla="*/ 0 w 8"/>
                    <a:gd name="T1" fmla="*/ 3 h 3"/>
                    <a:gd name="T2" fmla="*/ 2 w 8"/>
                    <a:gd name="T3" fmla="*/ 3 h 3"/>
                    <a:gd name="T4" fmla="*/ 2 w 8"/>
                    <a:gd name="T5" fmla="*/ 1 h 3"/>
                    <a:gd name="T6" fmla="*/ 7 w 8"/>
                    <a:gd name="T7" fmla="*/ 1 h 3"/>
                    <a:gd name="T8" fmla="*/ 8 w 8"/>
                    <a:gd name="T9" fmla="*/ 0 h 3"/>
                    <a:gd name="T10" fmla="*/ 3 w 8"/>
                    <a:gd name="T11" fmla="*/ 0 h 3"/>
                    <a:gd name="T12" fmla="*/ 0 w 8"/>
                    <a:gd name="T13" fmla="*/ 1 h 3"/>
                    <a:gd name="T14" fmla="*/ 0 w 8"/>
                    <a:gd name="T15" fmla="*/ 3 h 3"/>
                    <a:gd name="T16" fmla="*/ 0 w 8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7" name="Freeform 61">
                  <a:extLst>
                    <a:ext uri="{FF2B5EF4-FFF2-40B4-BE49-F238E27FC236}">
                      <a16:creationId xmlns:a16="http://schemas.microsoft.com/office/drawing/2014/main" xmlns="" id="{C8687BCC-12E4-4B26-9917-D000EAA6EE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7" y="673"/>
                  <a:ext cx="3" cy="5"/>
                </a:xfrm>
                <a:custGeom>
                  <a:avLst/>
                  <a:gdLst>
                    <a:gd name="T0" fmla="*/ 0 w 3"/>
                    <a:gd name="T1" fmla="*/ 3 h 5"/>
                    <a:gd name="T2" fmla="*/ 2 w 3"/>
                    <a:gd name="T3" fmla="*/ 5 h 5"/>
                    <a:gd name="T4" fmla="*/ 3 w 3"/>
                    <a:gd name="T5" fmla="*/ 2 h 5"/>
                    <a:gd name="T6" fmla="*/ 3 w 3"/>
                    <a:gd name="T7" fmla="*/ 0 h 5"/>
                    <a:gd name="T8" fmla="*/ 2 w 3"/>
                    <a:gd name="T9" fmla="*/ 0 h 5"/>
                    <a:gd name="T10" fmla="*/ 0 w 3"/>
                    <a:gd name="T11" fmla="*/ 2 h 5"/>
                    <a:gd name="T12" fmla="*/ 0 w 3"/>
                    <a:gd name="T13" fmla="*/ 3 h 5"/>
                    <a:gd name="T14" fmla="*/ 0 w 3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0" y="3"/>
                      </a:moveTo>
                      <a:lnTo>
                        <a:pt x="2" y="5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8" name="Freeform 62">
                  <a:extLst>
                    <a:ext uri="{FF2B5EF4-FFF2-40B4-BE49-F238E27FC236}">
                      <a16:creationId xmlns:a16="http://schemas.microsoft.com/office/drawing/2014/main" xmlns="" id="{9A6611F8-6C86-4EF9-89A2-A608282A7D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0" y="675"/>
                  <a:ext cx="5" cy="3"/>
                </a:xfrm>
                <a:custGeom>
                  <a:avLst/>
                  <a:gdLst>
                    <a:gd name="T0" fmla="*/ 0 w 5"/>
                    <a:gd name="T1" fmla="*/ 1 h 3"/>
                    <a:gd name="T2" fmla="*/ 4 w 5"/>
                    <a:gd name="T3" fmla="*/ 3 h 3"/>
                    <a:gd name="T4" fmla="*/ 5 w 5"/>
                    <a:gd name="T5" fmla="*/ 1 h 3"/>
                    <a:gd name="T6" fmla="*/ 4 w 5"/>
                    <a:gd name="T7" fmla="*/ 0 h 3"/>
                    <a:gd name="T8" fmla="*/ 2 w 5"/>
                    <a:gd name="T9" fmla="*/ 0 h 3"/>
                    <a:gd name="T10" fmla="*/ 0 w 5"/>
                    <a:gd name="T11" fmla="*/ 1 h 3"/>
                    <a:gd name="T12" fmla="*/ 0 w 5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899" name="Freeform 63">
                  <a:extLst>
                    <a:ext uri="{FF2B5EF4-FFF2-40B4-BE49-F238E27FC236}">
                      <a16:creationId xmlns:a16="http://schemas.microsoft.com/office/drawing/2014/main" xmlns="" id="{0A18231C-E587-4176-9141-25599CDA09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657"/>
                  <a:ext cx="8" cy="5"/>
                </a:xfrm>
                <a:custGeom>
                  <a:avLst/>
                  <a:gdLst>
                    <a:gd name="T0" fmla="*/ 0 w 8"/>
                    <a:gd name="T1" fmla="*/ 3 h 5"/>
                    <a:gd name="T2" fmla="*/ 0 w 8"/>
                    <a:gd name="T3" fmla="*/ 5 h 5"/>
                    <a:gd name="T4" fmla="*/ 1 w 8"/>
                    <a:gd name="T5" fmla="*/ 3 h 5"/>
                    <a:gd name="T6" fmla="*/ 6 w 8"/>
                    <a:gd name="T7" fmla="*/ 2 h 5"/>
                    <a:gd name="T8" fmla="*/ 8 w 8"/>
                    <a:gd name="T9" fmla="*/ 0 h 5"/>
                    <a:gd name="T10" fmla="*/ 4 w 8"/>
                    <a:gd name="T11" fmla="*/ 0 h 5"/>
                    <a:gd name="T12" fmla="*/ 1 w 8"/>
                    <a:gd name="T13" fmla="*/ 2 h 5"/>
                    <a:gd name="T14" fmla="*/ 0 w 8"/>
                    <a:gd name="T15" fmla="*/ 3 h 5"/>
                    <a:gd name="T16" fmla="*/ 0 w 8"/>
                    <a:gd name="T1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5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0" name="Freeform 64">
                  <a:extLst>
                    <a:ext uri="{FF2B5EF4-FFF2-40B4-BE49-F238E27FC236}">
                      <a16:creationId xmlns:a16="http://schemas.microsoft.com/office/drawing/2014/main" xmlns="" id="{D4E0D6B9-7104-450F-866A-22609AD69C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3" y="657"/>
                  <a:ext cx="5" cy="3"/>
                </a:xfrm>
                <a:custGeom>
                  <a:avLst/>
                  <a:gdLst>
                    <a:gd name="T0" fmla="*/ 0 w 5"/>
                    <a:gd name="T1" fmla="*/ 0 h 3"/>
                    <a:gd name="T2" fmla="*/ 2 w 5"/>
                    <a:gd name="T3" fmla="*/ 3 h 3"/>
                    <a:gd name="T4" fmla="*/ 4 w 5"/>
                    <a:gd name="T5" fmla="*/ 3 h 3"/>
                    <a:gd name="T6" fmla="*/ 5 w 5"/>
                    <a:gd name="T7" fmla="*/ 2 h 3"/>
                    <a:gd name="T8" fmla="*/ 2 w 5"/>
                    <a:gd name="T9" fmla="*/ 0 h 3"/>
                    <a:gd name="T10" fmla="*/ 0 w 5"/>
                    <a:gd name="T11" fmla="*/ 0 h 3"/>
                    <a:gd name="T12" fmla="*/ 0 w 5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1" name="Freeform 65">
                  <a:extLst>
                    <a:ext uri="{FF2B5EF4-FFF2-40B4-BE49-F238E27FC236}">
                      <a16:creationId xmlns:a16="http://schemas.microsoft.com/office/drawing/2014/main" xmlns="" id="{F64C06AA-7168-4047-9C70-7B880549C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3" y="655"/>
                  <a:ext cx="7" cy="5"/>
                </a:xfrm>
                <a:custGeom>
                  <a:avLst/>
                  <a:gdLst>
                    <a:gd name="T0" fmla="*/ 0 w 7"/>
                    <a:gd name="T1" fmla="*/ 2 h 5"/>
                    <a:gd name="T2" fmla="*/ 4 w 7"/>
                    <a:gd name="T3" fmla="*/ 2 h 5"/>
                    <a:gd name="T4" fmla="*/ 5 w 7"/>
                    <a:gd name="T5" fmla="*/ 4 h 5"/>
                    <a:gd name="T6" fmla="*/ 7 w 7"/>
                    <a:gd name="T7" fmla="*/ 5 h 5"/>
                    <a:gd name="T8" fmla="*/ 7 w 7"/>
                    <a:gd name="T9" fmla="*/ 2 h 5"/>
                    <a:gd name="T10" fmla="*/ 4 w 7"/>
                    <a:gd name="T11" fmla="*/ 0 h 5"/>
                    <a:gd name="T12" fmla="*/ 0 w 7"/>
                    <a:gd name="T13" fmla="*/ 2 h 5"/>
                    <a:gd name="T14" fmla="*/ 0 w 7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5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2" name="Freeform 66">
                  <a:extLst>
                    <a:ext uri="{FF2B5EF4-FFF2-40B4-BE49-F238E27FC236}">
                      <a16:creationId xmlns:a16="http://schemas.microsoft.com/office/drawing/2014/main" xmlns="" id="{0701A706-1F9F-4CF0-A7E1-6D2BD374F5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9" y="655"/>
                  <a:ext cx="4" cy="4"/>
                </a:xfrm>
                <a:custGeom>
                  <a:avLst/>
                  <a:gdLst>
                    <a:gd name="T0" fmla="*/ 0 w 4"/>
                    <a:gd name="T1" fmla="*/ 2 h 4"/>
                    <a:gd name="T2" fmla="*/ 1 w 4"/>
                    <a:gd name="T3" fmla="*/ 4 h 4"/>
                    <a:gd name="T4" fmla="*/ 3 w 4"/>
                    <a:gd name="T5" fmla="*/ 4 h 4"/>
                    <a:gd name="T6" fmla="*/ 4 w 4"/>
                    <a:gd name="T7" fmla="*/ 2 h 4"/>
                    <a:gd name="T8" fmla="*/ 3 w 4"/>
                    <a:gd name="T9" fmla="*/ 0 h 4"/>
                    <a:gd name="T10" fmla="*/ 0 w 4"/>
                    <a:gd name="T11" fmla="*/ 2 h 4"/>
                    <a:gd name="T12" fmla="*/ 0 w 4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3" name="Freeform 67">
                  <a:extLst>
                    <a:ext uri="{FF2B5EF4-FFF2-40B4-BE49-F238E27FC236}">
                      <a16:creationId xmlns:a16="http://schemas.microsoft.com/office/drawing/2014/main" xmlns="" id="{A5FD9EF5-5EC2-4C13-B722-BC122FEA35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8" y="552"/>
                  <a:ext cx="2" cy="5"/>
                </a:xfrm>
                <a:custGeom>
                  <a:avLst/>
                  <a:gdLst>
                    <a:gd name="T0" fmla="*/ 0 w 2"/>
                    <a:gd name="T1" fmla="*/ 0 h 5"/>
                    <a:gd name="T2" fmla="*/ 0 w 2"/>
                    <a:gd name="T3" fmla="*/ 4 h 5"/>
                    <a:gd name="T4" fmla="*/ 0 w 2"/>
                    <a:gd name="T5" fmla="*/ 5 h 5"/>
                    <a:gd name="T6" fmla="*/ 2 w 2"/>
                    <a:gd name="T7" fmla="*/ 2 h 5"/>
                    <a:gd name="T8" fmla="*/ 0 w 2"/>
                    <a:gd name="T9" fmla="*/ 0 h 5"/>
                    <a:gd name="T10" fmla="*/ 0 w 2"/>
                    <a:gd name="T11" fmla="*/ 0 h 5"/>
                    <a:gd name="T12" fmla="*/ 0 w 2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4" name="Freeform 68">
                  <a:extLst>
                    <a:ext uri="{FF2B5EF4-FFF2-40B4-BE49-F238E27FC236}">
                      <a16:creationId xmlns:a16="http://schemas.microsoft.com/office/drawing/2014/main" xmlns="" id="{400FFC1E-A0A5-4919-A6BB-E29271328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2" y="542"/>
                  <a:ext cx="3" cy="15"/>
                </a:xfrm>
                <a:custGeom>
                  <a:avLst/>
                  <a:gdLst>
                    <a:gd name="T0" fmla="*/ 0 w 3"/>
                    <a:gd name="T1" fmla="*/ 0 h 15"/>
                    <a:gd name="T2" fmla="*/ 0 w 3"/>
                    <a:gd name="T3" fmla="*/ 5 h 15"/>
                    <a:gd name="T4" fmla="*/ 1 w 3"/>
                    <a:gd name="T5" fmla="*/ 9 h 15"/>
                    <a:gd name="T6" fmla="*/ 0 w 3"/>
                    <a:gd name="T7" fmla="*/ 15 h 15"/>
                    <a:gd name="T8" fmla="*/ 1 w 3"/>
                    <a:gd name="T9" fmla="*/ 15 h 15"/>
                    <a:gd name="T10" fmla="*/ 3 w 3"/>
                    <a:gd name="T11" fmla="*/ 14 h 15"/>
                    <a:gd name="T12" fmla="*/ 3 w 3"/>
                    <a:gd name="T13" fmla="*/ 4 h 15"/>
                    <a:gd name="T14" fmla="*/ 0 w 3"/>
                    <a:gd name="T15" fmla="*/ 0 h 15"/>
                    <a:gd name="T16" fmla="*/ 0 w 3"/>
                    <a:gd name="T17" fmla="*/ 0 h 15"/>
                    <a:gd name="T18" fmla="*/ 0 w 3"/>
                    <a:gd name="T1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5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1" y="9"/>
                      </a:lnTo>
                      <a:lnTo>
                        <a:pt x="0" y="15"/>
                      </a:lnTo>
                      <a:lnTo>
                        <a:pt x="1" y="15"/>
                      </a:lnTo>
                      <a:lnTo>
                        <a:pt x="3" y="14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5" name="Freeform 69">
                  <a:extLst>
                    <a:ext uri="{FF2B5EF4-FFF2-40B4-BE49-F238E27FC236}">
                      <a16:creationId xmlns:a16="http://schemas.microsoft.com/office/drawing/2014/main" xmlns="" id="{0225E8A3-15D2-4069-9667-159602AB1C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7" y="536"/>
                  <a:ext cx="3" cy="5"/>
                </a:xfrm>
                <a:custGeom>
                  <a:avLst/>
                  <a:gdLst>
                    <a:gd name="T0" fmla="*/ 0 w 3"/>
                    <a:gd name="T1" fmla="*/ 0 h 5"/>
                    <a:gd name="T2" fmla="*/ 1 w 3"/>
                    <a:gd name="T3" fmla="*/ 3 h 5"/>
                    <a:gd name="T4" fmla="*/ 3 w 3"/>
                    <a:gd name="T5" fmla="*/ 5 h 5"/>
                    <a:gd name="T6" fmla="*/ 3 w 3"/>
                    <a:gd name="T7" fmla="*/ 2 h 5"/>
                    <a:gd name="T8" fmla="*/ 1 w 3"/>
                    <a:gd name="T9" fmla="*/ 0 h 5"/>
                    <a:gd name="T10" fmla="*/ 0 w 3"/>
                    <a:gd name="T11" fmla="*/ 0 h 5"/>
                    <a:gd name="T12" fmla="*/ 0 w 3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5">
                      <a:moveTo>
                        <a:pt x="0" y="0"/>
                      </a:moveTo>
                      <a:lnTo>
                        <a:pt x="1" y="3"/>
                      </a:lnTo>
                      <a:lnTo>
                        <a:pt x="3" y="5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6" name="Freeform 70">
                  <a:extLst>
                    <a:ext uri="{FF2B5EF4-FFF2-40B4-BE49-F238E27FC236}">
                      <a16:creationId xmlns:a16="http://schemas.microsoft.com/office/drawing/2014/main" xmlns="" id="{CD4A5770-132B-4CF8-9432-854999ED1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" y="629"/>
                  <a:ext cx="2" cy="5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2 h 5"/>
                    <a:gd name="T6" fmla="*/ 0 w 2"/>
                    <a:gd name="T7" fmla="*/ 0 h 5"/>
                    <a:gd name="T8" fmla="*/ 0 w 2"/>
                    <a:gd name="T9" fmla="*/ 5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7" name="Freeform 71">
                  <a:extLst>
                    <a:ext uri="{FF2B5EF4-FFF2-40B4-BE49-F238E27FC236}">
                      <a16:creationId xmlns:a16="http://schemas.microsoft.com/office/drawing/2014/main" xmlns="" id="{B2C6DB8A-EFAC-4C38-8516-9DEE473C6D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4" y="644"/>
                  <a:ext cx="2" cy="3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0 w 1"/>
                    <a:gd name="T5" fmla="*/ 0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cubicBezTo>
                        <a:pt x="0" y="2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8" name="Freeform 72">
                  <a:extLst>
                    <a:ext uri="{FF2B5EF4-FFF2-40B4-BE49-F238E27FC236}">
                      <a16:creationId xmlns:a16="http://schemas.microsoft.com/office/drawing/2014/main" xmlns="" id="{CEED29CA-C270-4442-B0E4-48D25A20AC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3" y="634"/>
                  <a:ext cx="9" cy="8"/>
                </a:xfrm>
                <a:custGeom>
                  <a:avLst/>
                  <a:gdLst>
                    <a:gd name="T0" fmla="*/ 9 w 9"/>
                    <a:gd name="T1" fmla="*/ 8 h 8"/>
                    <a:gd name="T2" fmla="*/ 8 w 9"/>
                    <a:gd name="T3" fmla="*/ 5 h 8"/>
                    <a:gd name="T4" fmla="*/ 3 w 9"/>
                    <a:gd name="T5" fmla="*/ 2 h 8"/>
                    <a:gd name="T6" fmla="*/ 1 w 9"/>
                    <a:gd name="T7" fmla="*/ 0 h 8"/>
                    <a:gd name="T8" fmla="*/ 0 w 9"/>
                    <a:gd name="T9" fmla="*/ 2 h 8"/>
                    <a:gd name="T10" fmla="*/ 3 w 9"/>
                    <a:gd name="T11" fmla="*/ 3 h 8"/>
                    <a:gd name="T12" fmla="*/ 9 w 9"/>
                    <a:gd name="T13" fmla="*/ 8 h 8"/>
                    <a:gd name="T14" fmla="*/ 9 w 9"/>
                    <a:gd name="T1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8">
                      <a:moveTo>
                        <a:pt x="9" y="8"/>
                      </a:moveTo>
                      <a:lnTo>
                        <a:pt x="8" y="5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3"/>
                      </a:lnTo>
                      <a:lnTo>
                        <a:pt x="9" y="8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09" name="Freeform 73">
                  <a:extLst>
                    <a:ext uri="{FF2B5EF4-FFF2-40B4-BE49-F238E27FC236}">
                      <a16:creationId xmlns:a16="http://schemas.microsoft.com/office/drawing/2014/main" xmlns="" id="{9CD1C7DA-E941-4C6E-9EF7-8539BD8095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0" y="598"/>
                  <a:ext cx="31" cy="29"/>
                </a:xfrm>
                <a:custGeom>
                  <a:avLst/>
                  <a:gdLst>
                    <a:gd name="T0" fmla="*/ 29 w 31"/>
                    <a:gd name="T1" fmla="*/ 28 h 29"/>
                    <a:gd name="T2" fmla="*/ 31 w 31"/>
                    <a:gd name="T3" fmla="*/ 25 h 29"/>
                    <a:gd name="T4" fmla="*/ 31 w 31"/>
                    <a:gd name="T5" fmla="*/ 20 h 29"/>
                    <a:gd name="T6" fmla="*/ 24 w 31"/>
                    <a:gd name="T7" fmla="*/ 16 h 29"/>
                    <a:gd name="T8" fmla="*/ 21 w 31"/>
                    <a:gd name="T9" fmla="*/ 11 h 29"/>
                    <a:gd name="T10" fmla="*/ 18 w 31"/>
                    <a:gd name="T11" fmla="*/ 11 h 29"/>
                    <a:gd name="T12" fmla="*/ 14 w 31"/>
                    <a:gd name="T13" fmla="*/ 8 h 29"/>
                    <a:gd name="T14" fmla="*/ 11 w 31"/>
                    <a:gd name="T15" fmla="*/ 7 h 29"/>
                    <a:gd name="T16" fmla="*/ 9 w 31"/>
                    <a:gd name="T17" fmla="*/ 3 h 29"/>
                    <a:gd name="T18" fmla="*/ 6 w 31"/>
                    <a:gd name="T19" fmla="*/ 2 h 29"/>
                    <a:gd name="T20" fmla="*/ 4 w 31"/>
                    <a:gd name="T21" fmla="*/ 0 h 29"/>
                    <a:gd name="T22" fmla="*/ 3 w 31"/>
                    <a:gd name="T23" fmla="*/ 2 h 29"/>
                    <a:gd name="T24" fmla="*/ 3 w 31"/>
                    <a:gd name="T25" fmla="*/ 3 h 29"/>
                    <a:gd name="T26" fmla="*/ 0 w 31"/>
                    <a:gd name="T27" fmla="*/ 7 h 29"/>
                    <a:gd name="T28" fmla="*/ 3 w 31"/>
                    <a:gd name="T29" fmla="*/ 8 h 29"/>
                    <a:gd name="T30" fmla="*/ 4 w 31"/>
                    <a:gd name="T31" fmla="*/ 8 h 29"/>
                    <a:gd name="T32" fmla="*/ 4 w 31"/>
                    <a:gd name="T33" fmla="*/ 10 h 29"/>
                    <a:gd name="T34" fmla="*/ 3 w 31"/>
                    <a:gd name="T35" fmla="*/ 11 h 29"/>
                    <a:gd name="T36" fmla="*/ 0 w 31"/>
                    <a:gd name="T37" fmla="*/ 10 h 29"/>
                    <a:gd name="T38" fmla="*/ 0 w 31"/>
                    <a:gd name="T39" fmla="*/ 10 h 29"/>
                    <a:gd name="T40" fmla="*/ 0 w 31"/>
                    <a:gd name="T41" fmla="*/ 11 h 29"/>
                    <a:gd name="T42" fmla="*/ 6 w 31"/>
                    <a:gd name="T43" fmla="*/ 18 h 29"/>
                    <a:gd name="T44" fmla="*/ 9 w 31"/>
                    <a:gd name="T45" fmla="*/ 20 h 29"/>
                    <a:gd name="T46" fmla="*/ 11 w 31"/>
                    <a:gd name="T47" fmla="*/ 23 h 29"/>
                    <a:gd name="T48" fmla="*/ 13 w 31"/>
                    <a:gd name="T49" fmla="*/ 23 h 29"/>
                    <a:gd name="T50" fmla="*/ 13 w 31"/>
                    <a:gd name="T51" fmla="*/ 20 h 29"/>
                    <a:gd name="T52" fmla="*/ 14 w 31"/>
                    <a:gd name="T53" fmla="*/ 21 h 29"/>
                    <a:gd name="T54" fmla="*/ 18 w 31"/>
                    <a:gd name="T55" fmla="*/ 20 h 29"/>
                    <a:gd name="T56" fmla="*/ 19 w 31"/>
                    <a:gd name="T57" fmla="*/ 21 h 29"/>
                    <a:gd name="T58" fmla="*/ 19 w 31"/>
                    <a:gd name="T59" fmla="*/ 26 h 29"/>
                    <a:gd name="T60" fmla="*/ 19 w 31"/>
                    <a:gd name="T61" fmla="*/ 26 h 29"/>
                    <a:gd name="T62" fmla="*/ 21 w 31"/>
                    <a:gd name="T63" fmla="*/ 29 h 29"/>
                    <a:gd name="T64" fmla="*/ 24 w 31"/>
                    <a:gd name="T65" fmla="*/ 29 h 29"/>
                    <a:gd name="T66" fmla="*/ 26 w 31"/>
                    <a:gd name="T67" fmla="*/ 28 h 29"/>
                    <a:gd name="T68" fmla="*/ 29 w 31"/>
                    <a:gd name="T69" fmla="*/ 28 h 29"/>
                    <a:gd name="T70" fmla="*/ 29 w 31"/>
                    <a:gd name="T71" fmla="*/ 28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1" h="29">
                      <a:moveTo>
                        <a:pt x="29" y="28"/>
                      </a:moveTo>
                      <a:lnTo>
                        <a:pt x="31" y="25"/>
                      </a:lnTo>
                      <a:lnTo>
                        <a:pt x="31" y="20"/>
                      </a:lnTo>
                      <a:lnTo>
                        <a:pt x="24" y="16"/>
                      </a:lnTo>
                      <a:lnTo>
                        <a:pt x="21" y="11"/>
                      </a:lnTo>
                      <a:lnTo>
                        <a:pt x="18" y="11"/>
                      </a:lnTo>
                      <a:lnTo>
                        <a:pt x="14" y="8"/>
                      </a:lnTo>
                      <a:lnTo>
                        <a:pt x="11" y="7"/>
                      </a:lnTo>
                      <a:lnTo>
                        <a:pt x="9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3" y="11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6" y="18"/>
                      </a:lnTo>
                      <a:lnTo>
                        <a:pt x="9" y="20"/>
                      </a:lnTo>
                      <a:lnTo>
                        <a:pt x="11" y="23"/>
                      </a:lnTo>
                      <a:lnTo>
                        <a:pt x="13" y="23"/>
                      </a:lnTo>
                      <a:lnTo>
                        <a:pt x="13" y="20"/>
                      </a:lnTo>
                      <a:lnTo>
                        <a:pt x="14" y="21"/>
                      </a:lnTo>
                      <a:lnTo>
                        <a:pt x="18" y="20"/>
                      </a:lnTo>
                      <a:lnTo>
                        <a:pt x="19" y="21"/>
                      </a:lnTo>
                      <a:lnTo>
                        <a:pt x="19" y="26"/>
                      </a:lnTo>
                      <a:lnTo>
                        <a:pt x="19" y="26"/>
                      </a:lnTo>
                      <a:lnTo>
                        <a:pt x="21" y="29"/>
                      </a:lnTo>
                      <a:lnTo>
                        <a:pt x="24" y="29"/>
                      </a:lnTo>
                      <a:lnTo>
                        <a:pt x="26" y="28"/>
                      </a:lnTo>
                      <a:lnTo>
                        <a:pt x="29" y="28"/>
                      </a:lnTo>
                      <a:lnTo>
                        <a:pt x="29" y="2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0" name="Freeform 74">
                  <a:extLst>
                    <a:ext uri="{FF2B5EF4-FFF2-40B4-BE49-F238E27FC236}">
                      <a16:creationId xmlns:a16="http://schemas.microsoft.com/office/drawing/2014/main" xmlns="" id="{9DB063BF-7869-4BFF-835B-FA7B1703AF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" y="466"/>
                  <a:ext cx="21" cy="23"/>
                </a:xfrm>
                <a:custGeom>
                  <a:avLst/>
                  <a:gdLst>
                    <a:gd name="T0" fmla="*/ 5 w 21"/>
                    <a:gd name="T1" fmla="*/ 23 h 23"/>
                    <a:gd name="T2" fmla="*/ 5 w 21"/>
                    <a:gd name="T3" fmla="*/ 23 h 23"/>
                    <a:gd name="T4" fmla="*/ 5 w 21"/>
                    <a:gd name="T5" fmla="*/ 21 h 23"/>
                    <a:gd name="T6" fmla="*/ 5 w 21"/>
                    <a:gd name="T7" fmla="*/ 19 h 23"/>
                    <a:gd name="T8" fmla="*/ 6 w 21"/>
                    <a:gd name="T9" fmla="*/ 19 h 23"/>
                    <a:gd name="T10" fmla="*/ 8 w 21"/>
                    <a:gd name="T11" fmla="*/ 23 h 23"/>
                    <a:gd name="T12" fmla="*/ 10 w 21"/>
                    <a:gd name="T13" fmla="*/ 21 h 23"/>
                    <a:gd name="T14" fmla="*/ 11 w 21"/>
                    <a:gd name="T15" fmla="*/ 23 h 23"/>
                    <a:gd name="T16" fmla="*/ 13 w 21"/>
                    <a:gd name="T17" fmla="*/ 21 h 23"/>
                    <a:gd name="T18" fmla="*/ 15 w 21"/>
                    <a:gd name="T19" fmla="*/ 19 h 23"/>
                    <a:gd name="T20" fmla="*/ 18 w 21"/>
                    <a:gd name="T21" fmla="*/ 16 h 23"/>
                    <a:gd name="T22" fmla="*/ 21 w 21"/>
                    <a:gd name="T23" fmla="*/ 14 h 23"/>
                    <a:gd name="T24" fmla="*/ 21 w 21"/>
                    <a:gd name="T25" fmla="*/ 13 h 23"/>
                    <a:gd name="T26" fmla="*/ 19 w 21"/>
                    <a:gd name="T27" fmla="*/ 10 h 23"/>
                    <a:gd name="T28" fmla="*/ 15 w 21"/>
                    <a:gd name="T29" fmla="*/ 8 h 23"/>
                    <a:gd name="T30" fmla="*/ 15 w 21"/>
                    <a:gd name="T31" fmla="*/ 5 h 23"/>
                    <a:gd name="T32" fmla="*/ 11 w 21"/>
                    <a:gd name="T33" fmla="*/ 1 h 23"/>
                    <a:gd name="T34" fmla="*/ 10 w 21"/>
                    <a:gd name="T35" fmla="*/ 0 h 23"/>
                    <a:gd name="T36" fmla="*/ 8 w 21"/>
                    <a:gd name="T37" fmla="*/ 1 h 23"/>
                    <a:gd name="T38" fmla="*/ 5 w 21"/>
                    <a:gd name="T39" fmla="*/ 5 h 23"/>
                    <a:gd name="T40" fmla="*/ 1 w 21"/>
                    <a:gd name="T41" fmla="*/ 5 h 23"/>
                    <a:gd name="T42" fmla="*/ 0 w 21"/>
                    <a:gd name="T43" fmla="*/ 8 h 23"/>
                    <a:gd name="T44" fmla="*/ 0 w 21"/>
                    <a:gd name="T45" fmla="*/ 10 h 23"/>
                    <a:gd name="T46" fmla="*/ 1 w 21"/>
                    <a:gd name="T47" fmla="*/ 13 h 23"/>
                    <a:gd name="T48" fmla="*/ 1 w 21"/>
                    <a:gd name="T49" fmla="*/ 16 h 23"/>
                    <a:gd name="T50" fmla="*/ 1 w 21"/>
                    <a:gd name="T51" fmla="*/ 21 h 23"/>
                    <a:gd name="T52" fmla="*/ 5 w 21"/>
                    <a:gd name="T53" fmla="*/ 23 h 23"/>
                    <a:gd name="T54" fmla="*/ 5 w 21"/>
                    <a:gd name="T55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" h="23">
                      <a:moveTo>
                        <a:pt x="5" y="23"/>
                      </a:moveTo>
                      <a:lnTo>
                        <a:pt x="5" y="23"/>
                      </a:lnTo>
                      <a:lnTo>
                        <a:pt x="5" y="21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8" y="23"/>
                      </a:lnTo>
                      <a:lnTo>
                        <a:pt x="10" y="21"/>
                      </a:lnTo>
                      <a:lnTo>
                        <a:pt x="11" y="23"/>
                      </a:lnTo>
                      <a:lnTo>
                        <a:pt x="13" y="21"/>
                      </a:lnTo>
                      <a:lnTo>
                        <a:pt x="15" y="19"/>
                      </a:lnTo>
                      <a:lnTo>
                        <a:pt x="18" y="16"/>
                      </a:lnTo>
                      <a:lnTo>
                        <a:pt x="21" y="14"/>
                      </a:lnTo>
                      <a:lnTo>
                        <a:pt x="21" y="13"/>
                      </a:lnTo>
                      <a:lnTo>
                        <a:pt x="19" y="10"/>
                      </a:lnTo>
                      <a:lnTo>
                        <a:pt x="15" y="8"/>
                      </a:lnTo>
                      <a:lnTo>
                        <a:pt x="15" y="5"/>
                      </a:lnTo>
                      <a:lnTo>
                        <a:pt x="11" y="1"/>
                      </a:lnTo>
                      <a:lnTo>
                        <a:pt x="10" y="0"/>
                      </a:lnTo>
                      <a:lnTo>
                        <a:pt x="8" y="1"/>
                      </a:lnTo>
                      <a:lnTo>
                        <a:pt x="5" y="5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6"/>
                      </a:lnTo>
                      <a:lnTo>
                        <a:pt x="1" y="21"/>
                      </a:lnTo>
                      <a:lnTo>
                        <a:pt x="5" y="23"/>
                      </a:lnTo>
                      <a:lnTo>
                        <a:pt x="5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1" name="Freeform 75">
                  <a:extLst>
                    <a:ext uri="{FF2B5EF4-FFF2-40B4-BE49-F238E27FC236}">
                      <a16:creationId xmlns:a16="http://schemas.microsoft.com/office/drawing/2014/main" xmlns="" id="{69215D14-C47A-415E-B5B0-9AFB7BE858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4" y="621"/>
                  <a:ext cx="5" cy="6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3 h 4"/>
                    <a:gd name="T4" fmla="*/ 2 w 3"/>
                    <a:gd name="T5" fmla="*/ 4 h 4"/>
                    <a:gd name="T6" fmla="*/ 3 w 3"/>
                    <a:gd name="T7" fmla="*/ 2 h 4"/>
                    <a:gd name="T8" fmla="*/ 3 w 3"/>
                    <a:gd name="T9" fmla="*/ 1 h 4"/>
                    <a:gd name="T10" fmla="*/ 2 w 3"/>
                    <a:gd name="T11" fmla="*/ 0 h 4"/>
                    <a:gd name="T12" fmla="*/ 1 w 3"/>
                    <a:gd name="T13" fmla="*/ 1 h 4"/>
                    <a:gd name="T14" fmla="*/ 1 w 3"/>
                    <a:gd name="T15" fmla="*/ 2 h 4"/>
                    <a:gd name="T16" fmla="*/ 0 w 3"/>
                    <a:gd name="T1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cubicBezTo>
                        <a:pt x="0" y="2"/>
                        <a:pt x="1" y="3"/>
                        <a:pt x="1" y="3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2" name="Freeform 76">
                  <a:extLst>
                    <a:ext uri="{FF2B5EF4-FFF2-40B4-BE49-F238E27FC236}">
                      <a16:creationId xmlns:a16="http://schemas.microsoft.com/office/drawing/2014/main" xmlns="" id="{8DC297F9-1981-4460-A768-82CD5DE03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4" y="701"/>
                  <a:ext cx="10" cy="7"/>
                </a:xfrm>
                <a:custGeom>
                  <a:avLst/>
                  <a:gdLst>
                    <a:gd name="T0" fmla="*/ 0 w 10"/>
                    <a:gd name="T1" fmla="*/ 0 h 7"/>
                    <a:gd name="T2" fmla="*/ 0 w 10"/>
                    <a:gd name="T3" fmla="*/ 2 h 7"/>
                    <a:gd name="T4" fmla="*/ 2 w 10"/>
                    <a:gd name="T5" fmla="*/ 3 h 7"/>
                    <a:gd name="T6" fmla="*/ 2 w 10"/>
                    <a:gd name="T7" fmla="*/ 5 h 7"/>
                    <a:gd name="T8" fmla="*/ 5 w 10"/>
                    <a:gd name="T9" fmla="*/ 7 h 7"/>
                    <a:gd name="T10" fmla="*/ 8 w 10"/>
                    <a:gd name="T11" fmla="*/ 7 h 7"/>
                    <a:gd name="T12" fmla="*/ 10 w 10"/>
                    <a:gd name="T13" fmla="*/ 5 h 7"/>
                    <a:gd name="T14" fmla="*/ 8 w 10"/>
                    <a:gd name="T15" fmla="*/ 2 h 7"/>
                    <a:gd name="T16" fmla="*/ 7 w 10"/>
                    <a:gd name="T17" fmla="*/ 2 h 7"/>
                    <a:gd name="T18" fmla="*/ 4 w 10"/>
                    <a:gd name="T19" fmla="*/ 2 h 7"/>
                    <a:gd name="T20" fmla="*/ 2 w 10"/>
                    <a:gd name="T21" fmla="*/ 0 h 7"/>
                    <a:gd name="T22" fmla="*/ 0 w 10"/>
                    <a:gd name="T23" fmla="*/ 0 h 7"/>
                    <a:gd name="T24" fmla="*/ 0 w 10"/>
                    <a:gd name="T2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" h="7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0" y="5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3" name="Freeform 77">
                  <a:extLst>
                    <a:ext uri="{FF2B5EF4-FFF2-40B4-BE49-F238E27FC236}">
                      <a16:creationId xmlns:a16="http://schemas.microsoft.com/office/drawing/2014/main" xmlns="" id="{E7530A47-76E6-436D-88E1-CA1BC4307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" y="476"/>
                  <a:ext cx="8" cy="11"/>
                </a:xfrm>
                <a:custGeom>
                  <a:avLst/>
                  <a:gdLst>
                    <a:gd name="T0" fmla="*/ 8 w 8"/>
                    <a:gd name="T1" fmla="*/ 11 h 11"/>
                    <a:gd name="T2" fmla="*/ 8 w 8"/>
                    <a:gd name="T3" fmla="*/ 8 h 11"/>
                    <a:gd name="T4" fmla="*/ 6 w 8"/>
                    <a:gd name="T5" fmla="*/ 6 h 11"/>
                    <a:gd name="T6" fmla="*/ 6 w 8"/>
                    <a:gd name="T7" fmla="*/ 4 h 11"/>
                    <a:gd name="T8" fmla="*/ 8 w 8"/>
                    <a:gd name="T9" fmla="*/ 3 h 11"/>
                    <a:gd name="T10" fmla="*/ 6 w 8"/>
                    <a:gd name="T11" fmla="*/ 0 h 11"/>
                    <a:gd name="T12" fmla="*/ 3 w 8"/>
                    <a:gd name="T13" fmla="*/ 0 h 11"/>
                    <a:gd name="T14" fmla="*/ 1 w 8"/>
                    <a:gd name="T15" fmla="*/ 1 h 11"/>
                    <a:gd name="T16" fmla="*/ 0 w 8"/>
                    <a:gd name="T17" fmla="*/ 6 h 11"/>
                    <a:gd name="T18" fmla="*/ 1 w 8"/>
                    <a:gd name="T19" fmla="*/ 8 h 11"/>
                    <a:gd name="T20" fmla="*/ 5 w 8"/>
                    <a:gd name="T21" fmla="*/ 9 h 11"/>
                    <a:gd name="T22" fmla="*/ 6 w 8"/>
                    <a:gd name="T23" fmla="*/ 11 h 11"/>
                    <a:gd name="T24" fmla="*/ 8 w 8"/>
                    <a:gd name="T25" fmla="*/ 11 h 11"/>
                    <a:gd name="T26" fmla="*/ 8 w 8"/>
                    <a:gd name="T27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11">
                      <a:moveTo>
                        <a:pt x="8" y="11"/>
                      </a:moveTo>
                      <a:lnTo>
                        <a:pt x="8" y="8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5" y="9"/>
                      </a:lnTo>
                      <a:lnTo>
                        <a:pt x="6" y="11"/>
                      </a:lnTo>
                      <a:lnTo>
                        <a:pt x="8" y="11"/>
                      </a:lnTo>
                      <a:lnTo>
                        <a:pt x="8" y="1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4" name="Freeform 78">
                  <a:extLst>
                    <a:ext uri="{FF2B5EF4-FFF2-40B4-BE49-F238E27FC236}">
                      <a16:creationId xmlns:a16="http://schemas.microsoft.com/office/drawing/2014/main" xmlns="" id="{19FAEFC8-509D-4570-A72F-F9D0232091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8" y="454"/>
                  <a:ext cx="8" cy="10"/>
                </a:xfrm>
                <a:custGeom>
                  <a:avLst/>
                  <a:gdLst>
                    <a:gd name="T0" fmla="*/ 0 w 8"/>
                    <a:gd name="T1" fmla="*/ 10 h 10"/>
                    <a:gd name="T2" fmla="*/ 3 w 8"/>
                    <a:gd name="T3" fmla="*/ 7 h 10"/>
                    <a:gd name="T4" fmla="*/ 5 w 8"/>
                    <a:gd name="T5" fmla="*/ 7 h 10"/>
                    <a:gd name="T6" fmla="*/ 7 w 8"/>
                    <a:gd name="T7" fmla="*/ 5 h 10"/>
                    <a:gd name="T8" fmla="*/ 7 w 8"/>
                    <a:gd name="T9" fmla="*/ 4 h 10"/>
                    <a:gd name="T10" fmla="*/ 7 w 8"/>
                    <a:gd name="T11" fmla="*/ 2 h 10"/>
                    <a:gd name="T12" fmla="*/ 8 w 8"/>
                    <a:gd name="T13" fmla="*/ 0 h 10"/>
                    <a:gd name="T14" fmla="*/ 8 w 8"/>
                    <a:gd name="T15" fmla="*/ 0 h 10"/>
                    <a:gd name="T16" fmla="*/ 5 w 8"/>
                    <a:gd name="T17" fmla="*/ 0 h 10"/>
                    <a:gd name="T18" fmla="*/ 2 w 8"/>
                    <a:gd name="T19" fmla="*/ 4 h 10"/>
                    <a:gd name="T20" fmla="*/ 0 w 8"/>
                    <a:gd name="T21" fmla="*/ 7 h 10"/>
                    <a:gd name="T22" fmla="*/ 0 w 8"/>
                    <a:gd name="T23" fmla="*/ 10 h 10"/>
                    <a:gd name="T24" fmla="*/ 0 w 8"/>
                    <a:gd name="T2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" h="10">
                      <a:moveTo>
                        <a:pt x="0" y="10"/>
                      </a:move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5" name="Freeform 79">
                  <a:extLst>
                    <a:ext uri="{FF2B5EF4-FFF2-40B4-BE49-F238E27FC236}">
                      <a16:creationId xmlns:a16="http://schemas.microsoft.com/office/drawing/2014/main" xmlns="" id="{B4A90552-D52B-463A-B070-81E9928D54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1" y="466"/>
                  <a:ext cx="10" cy="5"/>
                </a:xfrm>
                <a:custGeom>
                  <a:avLst/>
                  <a:gdLst>
                    <a:gd name="T0" fmla="*/ 0 w 10"/>
                    <a:gd name="T1" fmla="*/ 1 h 5"/>
                    <a:gd name="T2" fmla="*/ 3 w 10"/>
                    <a:gd name="T3" fmla="*/ 5 h 5"/>
                    <a:gd name="T4" fmla="*/ 8 w 10"/>
                    <a:gd name="T5" fmla="*/ 5 h 5"/>
                    <a:gd name="T6" fmla="*/ 10 w 10"/>
                    <a:gd name="T7" fmla="*/ 5 h 5"/>
                    <a:gd name="T8" fmla="*/ 10 w 10"/>
                    <a:gd name="T9" fmla="*/ 3 h 5"/>
                    <a:gd name="T10" fmla="*/ 5 w 10"/>
                    <a:gd name="T11" fmla="*/ 1 h 5"/>
                    <a:gd name="T12" fmla="*/ 2 w 10"/>
                    <a:gd name="T13" fmla="*/ 0 h 5"/>
                    <a:gd name="T14" fmla="*/ 0 w 10"/>
                    <a:gd name="T15" fmla="*/ 1 h 5"/>
                    <a:gd name="T16" fmla="*/ 0 w 10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5">
                      <a:moveTo>
                        <a:pt x="0" y="1"/>
                      </a:moveTo>
                      <a:lnTo>
                        <a:pt x="3" y="5"/>
                      </a:lnTo>
                      <a:lnTo>
                        <a:pt x="8" y="5"/>
                      </a:lnTo>
                      <a:lnTo>
                        <a:pt x="10" y="5"/>
                      </a:lnTo>
                      <a:lnTo>
                        <a:pt x="10" y="3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6" name="Freeform 80">
                  <a:extLst>
                    <a:ext uri="{FF2B5EF4-FFF2-40B4-BE49-F238E27FC236}">
                      <a16:creationId xmlns:a16="http://schemas.microsoft.com/office/drawing/2014/main" xmlns="" id="{1DB04A7C-8FA9-40FB-B679-00C38DBFD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7" y="487"/>
                  <a:ext cx="17" cy="16"/>
                </a:xfrm>
                <a:custGeom>
                  <a:avLst/>
                  <a:gdLst>
                    <a:gd name="T0" fmla="*/ 5 w 17"/>
                    <a:gd name="T1" fmla="*/ 3 h 16"/>
                    <a:gd name="T2" fmla="*/ 5 w 17"/>
                    <a:gd name="T3" fmla="*/ 6 h 16"/>
                    <a:gd name="T4" fmla="*/ 3 w 17"/>
                    <a:gd name="T5" fmla="*/ 10 h 16"/>
                    <a:gd name="T6" fmla="*/ 2 w 17"/>
                    <a:gd name="T7" fmla="*/ 11 h 16"/>
                    <a:gd name="T8" fmla="*/ 0 w 17"/>
                    <a:gd name="T9" fmla="*/ 13 h 16"/>
                    <a:gd name="T10" fmla="*/ 2 w 17"/>
                    <a:gd name="T11" fmla="*/ 16 h 16"/>
                    <a:gd name="T12" fmla="*/ 3 w 17"/>
                    <a:gd name="T13" fmla="*/ 15 h 16"/>
                    <a:gd name="T14" fmla="*/ 7 w 17"/>
                    <a:gd name="T15" fmla="*/ 13 h 16"/>
                    <a:gd name="T16" fmla="*/ 10 w 17"/>
                    <a:gd name="T17" fmla="*/ 11 h 16"/>
                    <a:gd name="T18" fmla="*/ 12 w 17"/>
                    <a:gd name="T19" fmla="*/ 8 h 16"/>
                    <a:gd name="T20" fmla="*/ 13 w 17"/>
                    <a:gd name="T21" fmla="*/ 6 h 16"/>
                    <a:gd name="T22" fmla="*/ 17 w 17"/>
                    <a:gd name="T23" fmla="*/ 3 h 16"/>
                    <a:gd name="T24" fmla="*/ 17 w 17"/>
                    <a:gd name="T25" fmla="*/ 0 h 16"/>
                    <a:gd name="T26" fmla="*/ 15 w 17"/>
                    <a:gd name="T27" fmla="*/ 0 h 16"/>
                    <a:gd name="T28" fmla="*/ 12 w 17"/>
                    <a:gd name="T29" fmla="*/ 0 h 16"/>
                    <a:gd name="T30" fmla="*/ 7 w 17"/>
                    <a:gd name="T31" fmla="*/ 0 h 16"/>
                    <a:gd name="T32" fmla="*/ 5 w 17"/>
                    <a:gd name="T33" fmla="*/ 3 h 16"/>
                    <a:gd name="T34" fmla="*/ 5 w 17"/>
                    <a:gd name="T35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" h="16">
                      <a:moveTo>
                        <a:pt x="5" y="3"/>
                      </a:moveTo>
                      <a:lnTo>
                        <a:pt x="5" y="6"/>
                      </a:lnTo>
                      <a:lnTo>
                        <a:pt x="3" y="10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2" y="16"/>
                      </a:lnTo>
                      <a:lnTo>
                        <a:pt x="3" y="15"/>
                      </a:lnTo>
                      <a:lnTo>
                        <a:pt x="7" y="13"/>
                      </a:lnTo>
                      <a:lnTo>
                        <a:pt x="10" y="11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7" y="3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5" y="3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7" name="Freeform 81">
                  <a:extLst>
                    <a:ext uri="{FF2B5EF4-FFF2-40B4-BE49-F238E27FC236}">
                      <a16:creationId xmlns:a16="http://schemas.microsoft.com/office/drawing/2014/main" xmlns="" id="{B90B4D91-32E9-4D06-BAAC-1BEFC3DA1C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9" y="461"/>
                  <a:ext cx="13" cy="19"/>
                </a:xfrm>
                <a:custGeom>
                  <a:avLst/>
                  <a:gdLst>
                    <a:gd name="T0" fmla="*/ 5 w 13"/>
                    <a:gd name="T1" fmla="*/ 0 h 19"/>
                    <a:gd name="T2" fmla="*/ 1 w 13"/>
                    <a:gd name="T3" fmla="*/ 3 h 19"/>
                    <a:gd name="T4" fmla="*/ 1 w 13"/>
                    <a:gd name="T5" fmla="*/ 8 h 19"/>
                    <a:gd name="T6" fmla="*/ 0 w 13"/>
                    <a:gd name="T7" fmla="*/ 13 h 19"/>
                    <a:gd name="T8" fmla="*/ 0 w 13"/>
                    <a:gd name="T9" fmla="*/ 15 h 19"/>
                    <a:gd name="T10" fmla="*/ 3 w 13"/>
                    <a:gd name="T11" fmla="*/ 16 h 19"/>
                    <a:gd name="T12" fmla="*/ 5 w 13"/>
                    <a:gd name="T13" fmla="*/ 18 h 19"/>
                    <a:gd name="T14" fmla="*/ 8 w 13"/>
                    <a:gd name="T15" fmla="*/ 18 h 19"/>
                    <a:gd name="T16" fmla="*/ 9 w 13"/>
                    <a:gd name="T17" fmla="*/ 19 h 19"/>
                    <a:gd name="T18" fmla="*/ 13 w 13"/>
                    <a:gd name="T19" fmla="*/ 18 h 19"/>
                    <a:gd name="T20" fmla="*/ 13 w 13"/>
                    <a:gd name="T21" fmla="*/ 16 h 19"/>
                    <a:gd name="T22" fmla="*/ 11 w 13"/>
                    <a:gd name="T23" fmla="*/ 11 h 19"/>
                    <a:gd name="T24" fmla="*/ 9 w 13"/>
                    <a:gd name="T25" fmla="*/ 6 h 19"/>
                    <a:gd name="T26" fmla="*/ 6 w 13"/>
                    <a:gd name="T27" fmla="*/ 3 h 19"/>
                    <a:gd name="T28" fmla="*/ 5 w 13"/>
                    <a:gd name="T29" fmla="*/ 0 h 19"/>
                    <a:gd name="T30" fmla="*/ 5 w 13"/>
                    <a:gd name="T31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9">
                      <a:moveTo>
                        <a:pt x="5" y="0"/>
                      </a:moveTo>
                      <a:lnTo>
                        <a:pt x="1" y="3"/>
                      </a:lnTo>
                      <a:lnTo>
                        <a:pt x="1" y="8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3" y="16"/>
                      </a:lnTo>
                      <a:lnTo>
                        <a:pt x="5" y="18"/>
                      </a:lnTo>
                      <a:lnTo>
                        <a:pt x="8" y="18"/>
                      </a:lnTo>
                      <a:lnTo>
                        <a:pt x="9" y="19"/>
                      </a:lnTo>
                      <a:lnTo>
                        <a:pt x="13" y="18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9" y="6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8" name="Freeform 82">
                  <a:extLst>
                    <a:ext uri="{FF2B5EF4-FFF2-40B4-BE49-F238E27FC236}">
                      <a16:creationId xmlns:a16="http://schemas.microsoft.com/office/drawing/2014/main" xmlns="" id="{9657DEE1-481E-4EBF-8FE2-270ED6A5DB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4" y="400"/>
                  <a:ext cx="8" cy="9"/>
                </a:xfrm>
                <a:custGeom>
                  <a:avLst/>
                  <a:gdLst>
                    <a:gd name="T0" fmla="*/ 8 w 8"/>
                    <a:gd name="T1" fmla="*/ 7 h 9"/>
                    <a:gd name="T2" fmla="*/ 7 w 8"/>
                    <a:gd name="T3" fmla="*/ 4 h 9"/>
                    <a:gd name="T4" fmla="*/ 7 w 8"/>
                    <a:gd name="T5" fmla="*/ 2 h 9"/>
                    <a:gd name="T6" fmla="*/ 5 w 8"/>
                    <a:gd name="T7" fmla="*/ 0 h 9"/>
                    <a:gd name="T8" fmla="*/ 2 w 8"/>
                    <a:gd name="T9" fmla="*/ 2 h 9"/>
                    <a:gd name="T10" fmla="*/ 0 w 8"/>
                    <a:gd name="T11" fmla="*/ 4 h 9"/>
                    <a:gd name="T12" fmla="*/ 2 w 8"/>
                    <a:gd name="T13" fmla="*/ 4 h 9"/>
                    <a:gd name="T14" fmla="*/ 3 w 8"/>
                    <a:gd name="T15" fmla="*/ 7 h 9"/>
                    <a:gd name="T16" fmla="*/ 5 w 8"/>
                    <a:gd name="T17" fmla="*/ 9 h 9"/>
                    <a:gd name="T18" fmla="*/ 8 w 8"/>
                    <a:gd name="T19" fmla="*/ 7 h 9"/>
                    <a:gd name="T20" fmla="*/ 8 w 8"/>
                    <a:gd name="T21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9">
                      <a:moveTo>
                        <a:pt x="8" y="7"/>
                      </a:moveTo>
                      <a:lnTo>
                        <a:pt x="7" y="4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3" y="7"/>
                      </a:lnTo>
                      <a:lnTo>
                        <a:pt x="5" y="9"/>
                      </a:lnTo>
                      <a:lnTo>
                        <a:pt x="8" y="7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19" name="Freeform 83">
                  <a:extLst>
                    <a:ext uri="{FF2B5EF4-FFF2-40B4-BE49-F238E27FC236}">
                      <a16:creationId xmlns:a16="http://schemas.microsoft.com/office/drawing/2014/main" xmlns="" id="{68389BF0-6CFA-404F-9097-5F9AF4AECF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9" y="358"/>
                  <a:ext cx="8" cy="18"/>
                </a:xfrm>
                <a:custGeom>
                  <a:avLst/>
                  <a:gdLst>
                    <a:gd name="T0" fmla="*/ 1 w 8"/>
                    <a:gd name="T1" fmla="*/ 8 h 18"/>
                    <a:gd name="T2" fmla="*/ 1 w 8"/>
                    <a:gd name="T3" fmla="*/ 8 h 18"/>
                    <a:gd name="T4" fmla="*/ 0 w 8"/>
                    <a:gd name="T5" fmla="*/ 6 h 18"/>
                    <a:gd name="T6" fmla="*/ 0 w 8"/>
                    <a:gd name="T7" fmla="*/ 13 h 18"/>
                    <a:gd name="T8" fmla="*/ 1 w 8"/>
                    <a:gd name="T9" fmla="*/ 13 h 18"/>
                    <a:gd name="T10" fmla="*/ 3 w 8"/>
                    <a:gd name="T11" fmla="*/ 11 h 18"/>
                    <a:gd name="T12" fmla="*/ 5 w 8"/>
                    <a:gd name="T13" fmla="*/ 13 h 18"/>
                    <a:gd name="T14" fmla="*/ 5 w 8"/>
                    <a:gd name="T15" fmla="*/ 16 h 18"/>
                    <a:gd name="T16" fmla="*/ 6 w 8"/>
                    <a:gd name="T17" fmla="*/ 18 h 18"/>
                    <a:gd name="T18" fmla="*/ 6 w 8"/>
                    <a:gd name="T19" fmla="*/ 15 h 18"/>
                    <a:gd name="T20" fmla="*/ 6 w 8"/>
                    <a:gd name="T21" fmla="*/ 11 h 18"/>
                    <a:gd name="T22" fmla="*/ 8 w 8"/>
                    <a:gd name="T23" fmla="*/ 10 h 18"/>
                    <a:gd name="T24" fmla="*/ 8 w 8"/>
                    <a:gd name="T25" fmla="*/ 8 h 18"/>
                    <a:gd name="T26" fmla="*/ 6 w 8"/>
                    <a:gd name="T27" fmla="*/ 5 h 18"/>
                    <a:gd name="T28" fmla="*/ 6 w 8"/>
                    <a:gd name="T29" fmla="*/ 3 h 18"/>
                    <a:gd name="T30" fmla="*/ 5 w 8"/>
                    <a:gd name="T31" fmla="*/ 0 h 18"/>
                    <a:gd name="T32" fmla="*/ 3 w 8"/>
                    <a:gd name="T33" fmla="*/ 1 h 18"/>
                    <a:gd name="T34" fmla="*/ 1 w 8"/>
                    <a:gd name="T35" fmla="*/ 1 h 18"/>
                    <a:gd name="T36" fmla="*/ 0 w 8"/>
                    <a:gd name="T37" fmla="*/ 3 h 18"/>
                    <a:gd name="T38" fmla="*/ 3 w 8"/>
                    <a:gd name="T39" fmla="*/ 6 h 18"/>
                    <a:gd name="T40" fmla="*/ 1 w 8"/>
                    <a:gd name="T41" fmla="*/ 8 h 18"/>
                    <a:gd name="T42" fmla="*/ 1 w 8"/>
                    <a:gd name="T43" fmla="*/ 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" h="18">
                      <a:moveTo>
                        <a:pt x="1" y="8"/>
                      </a:moveTo>
                      <a:lnTo>
                        <a:pt x="1" y="8"/>
                      </a:ln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1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5" y="16"/>
                      </a:lnTo>
                      <a:lnTo>
                        <a:pt x="6" y="18"/>
                      </a:lnTo>
                      <a:lnTo>
                        <a:pt x="6" y="15"/>
                      </a:lnTo>
                      <a:lnTo>
                        <a:pt x="6" y="11"/>
                      </a:lnTo>
                      <a:lnTo>
                        <a:pt x="8" y="10"/>
                      </a:lnTo>
                      <a:lnTo>
                        <a:pt x="8" y="8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1" y="8"/>
                      </a:lnTo>
                      <a:lnTo>
                        <a:pt x="1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0" name="Freeform 84">
                  <a:extLst>
                    <a:ext uri="{FF2B5EF4-FFF2-40B4-BE49-F238E27FC236}">
                      <a16:creationId xmlns:a16="http://schemas.microsoft.com/office/drawing/2014/main" xmlns="" id="{B97C5770-E153-4353-A973-7EAECC4564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7" y="343"/>
                  <a:ext cx="9" cy="5"/>
                </a:xfrm>
                <a:custGeom>
                  <a:avLst/>
                  <a:gdLst>
                    <a:gd name="T0" fmla="*/ 9 w 9"/>
                    <a:gd name="T1" fmla="*/ 3 h 5"/>
                    <a:gd name="T2" fmla="*/ 5 w 9"/>
                    <a:gd name="T3" fmla="*/ 3 h 5"/>
                    <a:gd name="T4" fmla="*/ 4 w 9"/>
                    <a:gd name="T5" fmla="*/ 2 h 5"/>
                    <a:gd name="T6" fmla="*/ 2 w 9"/>
                    <a:gd name="T7" fmla="*/ 0 h 5"/>
                    <a:gd name="T8" fmla="*/ 0 w 9"/>
                    <a:gd name="T9" fmla="*/ 2 h 5"/>
                    <a:gd name="T10" fmla="*/ 2 w 9"/>
                    <a:gd name="T11" fmla="*/ 3 h 5"/>
                    <a:gd name="T12" fmla="*/ 5 w 9"/>
                    <a:gd name="T13" fmla="*/ 5 h 5"/>
                    <a:gd name="T14" fmla="*/ 9 w 9"/>
                    <a:gd name="T15" fmla="*/ 5 h 5"/>
                    <a:gd name="T16" fmla="*/ 9 w 9"/>
                    <a:gd name="T17" fmla="*/ 3 h 5"/>
                    <a:gd name="T18" fmla="*/ 9 w 9"/>
                    <a:gd name="T1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9" y="3"/>
                      </a:moveTo>
                      <a:lnTo>
                        <a:pt x="5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5" y="5"/>
                      </a:lnTo>
                      <a:lnTo>
                        <a:pt x="9" y="5"/>
                      </a:lnTo>
                      <a:lnTo>
                        <a:pt x="9" y="3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1" name="Freeform 85">
                  <a:extLst>
                    <a:ext uri="{FF2B5EF4-FFF2-40B4-BE49-F238E27FC236}">
                      <a16:creationId xmlns:a16="http://schemas.microsoft.com/office/drawing/2014/main" xmlns="" id="{72208FEB-FABB-47FD-A0E8-D1008BBB89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7" y="340"/>
                  <a:ext cx="10" cy="5"/>
                </a:xfrm>
                <a:custGeom>
                  <a:avLst/>
                  <a:gdLst>
                    <a:gd name="T0" fmla="*/ 0 w 6"/>
                    <a:gd name="T1" fmla="*/ 2 h 3"/>
                    <a:gd name="T2" fmla="*/ 1 w 6"/>
                    <a:gd name="T3" fmla="*/ 3 h 3"/>
                    <a:gd name="T4" fmla="*/ 3 w 6"/>
                    <a:gd name="T5" fmla="*/ 2 h 3"/>
                    <a:gd name="T6" fmla="*/ 4 w 6"/>
                    <a:gd name="T7" fmla="*/ 3 h 3"/>
                    <a:gd name="T8" fmla="*/ 6 w 6"/>
                    <a:gd name="T9" fmla="*/ 2 h 3"/>
                    <a:gd name="T10" fmla="*/ 6 w 6"/>
                    <a:gd name="T11" fmla="*/ 1 h 3"/>
                    <a:gd name="T12" fmla="*/ 3 w 6"/>
                    <a:gd name="T13" fmla="*/ 1 h 3"/>
                    <a:gd name="T14" fmla="*/ 2 w 6"/>
                    <a:gd name="T15" fmla="*/ 0 h 3"/>
                    <a:gd name="T16" fmla="*/ 1 w 6"/>
                    <a:gd name="T17" fmla="*/ 0 h 3"/>
                    <a:gd name="T18" fmla="*/ 0 w 6"/>
                    <a:gd name="T1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cubicBezTo>
                        <a:pt x="0" y="2"/>
                        <a:pt x="1" y="3"/>
                        <a:pt x="1" y="3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2" name="Freeform 86">
                  <a:extLst>
                    <a:ext uri="{FF2B5EF4-FFF2-40B4-BE49-F238E27FC236}">
                      <a16:creationId xmlns:a16="http://schemas.microsoft.com/office/drawing/2014/main" xmlns="" id="{5FA97E02-DD5F-4C26-BDD8-8DF6439574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" y="417"/>
                  <a:ext cx="7" cy="5"/>
                </a:xfrm>
                <a:custGeom>
                  <a:avLst/>
                  <a:gdLst>
                    <a:gd name="T0" fmla="*/ 5 w 7"/>
                    <a:gd name="T1" fmla="*/ 5 h 5"/>
                    <a:gd name="T2" fmla="*/ 7 w 7"/>
                    <a:gd name="T3" fmla="*/ 1 h 5"/>
                    <a:gd name="T4" fmla="*/ 5 w 7"/>
                    <a:gd name="T5" fmla="*/ 0 h 5"/>
                    <a:gd name="T6" fmla="*/ 3 w 7"/>
                    <a:gd name="T7" fmla="*/ 0 h 5"/>
                    <a:gd name="T8" fmla="*/ 0 w 7"/>
                    <a:gd name="T9" fmla="*/ 1 h 5"/>
                    <a:gd name="T10" fmla="*/ 2 w 7"/>
                    <a:gd name="T11" fmla="*/ 5 h 5"/>
                    <a:gd name="T12" fmla="*/ 5 w 7"/>
                    <a:gd name="T13" fmla="*/ 5 h 5"/>
                    <a:gd name="T14" fmla="*/ 5 w 7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5">
                      <a:moveTo>
                        <a:pt x="5" y="5"/>
                      </a:move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3" name="Freeform 87">
                  <a:extLst>
                    <a:ext uri="{FF2B5EF4-FFF2-40B4-BE49-F238E27FC236}">
                      <a16:creationId xmlns:a16="http://schemas.microsoft.com/office/drawing/2014/main" xmlns="" id="{B8DE032D-3BC3-4605-BC14-87EF0F517B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8" y="415"/>
                  <a:ext cx="7" cy="3"/>
                </a:xfrm>
                <a:custGeom>
                  <a:avLst/>
                  <a:gdLst>
                    <a:gd name="T0" fmla="*/ 3 w 7"/>
                    <a:gd name="T1" fmla="*/ 3 h 3"/>
                    <a:gd name="T2" fmla="*/ 7 w 7"/>
                    <a:gd name="T3" fmla="*/ 2 h 3"/>
                    <a:gd name="T4" fmla="*/ 7 w 7"/>
                    <a:gd name="T5" fmla="*/ 0 h 3"/>
                    <a:gd name="T6" fmla="*/ 3 w 7"/>
                    <a:gd name="T7" fmla="*/ 0 h 3"/>
                    <a:gd name="T8" fmla="*/ 2 w 7"/>
                    <a:gd name="T9" fmla="*/ 0 h 3"/>
                    <a:gd name="T10" fmla="*/ 0 w 7"/>
                    <a:gd name="T11" fmla="*/ 2 h 3"/>
                    <a:gd name="T12" fmla="*/ 0 w 7"/>
                    <a:gd name="T13" fmla="*/ 3 h 3"/>
                    <a:gd name="T14" fmla="*/ 3 w 7"/>
                    <a:gd name="T15" fmla="*/ 3 h 3"/>
                    <a:gd name="T16" fmla="*/ 3 w 7"/>
                    <a:gd name="T1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3" y="3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4" name="Freeform 88">
                  <a:extLst>
                    <a:ext uri="{FF2B5EF4-FFF2-40B4-BE49-F238E27FC236}">
                      <a16:creationId xmlns:a16="http://schemas.microsoft.com/office/drawing/2014/main" xmlns="" id="{370F611A-1E6F-4A5D-8598-2EEFCA2BC3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1" y="418"/>
                  <a:ext cx="7" cy="4"/>
                </a:xfrm>
                <a:custGeom>
                  <a:avLst/>
                  <a:gdLst>
                    <a:gd name="T0" fmla="*/ 5 w 7"/>
                    <a:gd name="T1" fmla="*/ 4 h 4"/>
                    <a:gd name="T2" fmla="*/ 7 w 7"/>
                    <a:gd name="T3" fmla="*/ 2 h 4"/>
                    <a:gd name="T4" fmla="*/ 3 w 7"/>
                    <a:gd name="T5" fmla="*/ 0 h 4"/>
                    <a:gd name="T6" fmla="*/ 0 w 7"/>
                    <a:gd name="T7" fmla="*/ 2 h 4"/>
                    <a:gd name="T8" fmla="*/ 0 w 7"/>
                    <a:gd name="T9" fmla="*/ 4 h 4"/>
                    <a:gd name="T10" fmla="*/ 5 w 7"/>
                    <a:gd name="T11" fmla="*/ 4 h 4"/>
                    <a:gd name="T12" fmla="*/ 5 w 7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4">
                      <a:moveTo>
                        <a:pt x="5" y="4"/>
                      </a:move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5" name="Freeform 89">
                  <a:extLst>
                    <a:ext uri="{FF2B5EF4-FFF2-40B4-BE49-F238E27FC236}">
                      <a16:creationId xmlns:a16="http://schemas.microsoft.com/office/drawing/2014/main" xmlns="" id="{96697837-AEAC-4DB4-9BDB-3C131FA69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9" y="413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1 w 5"/>
                    <a:gd name="T3" fmla="*/ 5 h 5"/>
                    <a:gd name="T4" fmla="*/ 3 w 5"/>
                    <a:gd name="T5" fmla="*/ 5 h 5"/>
                    <a:gd name="T6" fmla="*/ 5 w 5"/>
                    <a:gd name="T7" fmla="*/ 4 h 5"/>
                    <a:gd name="T8" fmla="*/ 1 w 5"/>
                    <a:gd name="T9" fmla="*/ 2 h 5"/>
                    <a:gd name="T10" fmla="*/ 0 w 5"/>
                    <a:gd name="T11" fmla="*/ 0 h 5"/>
                    <a:gd name="T12" fmla="*/ 0 w 5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0" y="0"/>
                      </a:move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4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6" name="Freeform 90">
                  <a:extLst>
                    <a:ext uri="{FF2B5EF4-FFF2-40B4-BE49-F238E27FC236}">
                      <a16:creationId xmlns:a16="http://schemas.microsoft.com/office/drawing/2014/main" xmlns="" id="{1B992991-5E3C-4347-A2FB-72EC743887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6" y="409"/>
                  <a:ext cx="5" cy="3"/>
                </a:xfrm>
                <a:custGeom>
                  <a:avLst/>
                  <a:gdLst>
                    <a:gd name="T0" fmla="*/ 0 w 5"/>
                    <a:gd name="T1" fmla="*/ 3 h 3"/>
                    <a:gd name="T2" fmla="*/ 3 w 5"/>
                    <a:gd name="T3" fmla="*/ 3 h 3"/>
                    <a:gd name="T4" fmla="*/ 5 w 5"/>
                    <a:gd name="T5" fmla="*/ 0 h 3"/>
                    <a:gd name="T6" fmla="*/ 1 w 5"/>
                    <a:gd name="T7" fmla="*/ 0 h 3"/>
                    <a:gd name="T8" fmla="*/ 0 w 5"/>
                    <a:gd name="T9" fmla="*/ 0 h 3"/>
                    <a:gd name="T10" fmla="*/ 0 w 5"/>
                    <a:gd name="T11" fmla="*/ 1 h 3"/>
                    <a:gd name="T12" fmla="*/ 0 w 5"/>
                    <a:gd name="T13" fmla="*/ 3 h 3"/>
                    <a:gd name="T14" fmla="*/ 0 w 5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7" name="Freeform 91">
                  <a:extLst>
                    <a:ext uri="{FF2B5EF4-FFF2-40B4-BE49-F238E27FC236}">
                      <a16:creationId xmlns:a16="http://schemas.microsoft.com/office/drawing/2014/main" xmlns="" id="{09958BA5-17D9-4A28-BE97-B4EC085BF5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9" y="395"/>
                  <a:ext cx="7" cy="7"/>
                </a:xfrm>
                <a:custGeom>
                  <a:avLst/>
                  <a:gdLst>
                    <a:gd name="T0" fmla="*/ 5 w 7"/>
                    <a:gd name="T1" fmla="*/ 2 h 7"/>
                    <a:gd name="T2" fmla="*/ 7 w 7"/>
                    <a:gd name="T3" fmla="*/ 0 h 7"/>
                    <a:gd name="T4" fmla="*/ 4 w 7"/>
                    <a:gd name="T5" fmla="*/ 0 h 7"/>
                    <a:gd name="T6" fmla="*/ 0 w 7"/>
                    <a:gd name="T7" fmla="*/ 4 h 7"/>
                    <a:gd name="T8" fmla="*/ 0 w 7"/>
                    <a:gd name="T9" fmla="*/ 5 h 7"/>
                    <a:gd name="T10" fmla="*/ 4 w 7"/>
                    <a:gd name="T11" fmla="*/ 7 h 7"/>
                    <a:gd name="T12" fmla="*/ 4 w 7"/>
                    <a:gd name="T13" fmla="*/ 5 h 7"/>
                    <a:gd name="T14" fmla="*/ 4 w 7"/>
                    <a:gd name="T15" fmla="*/ 5 h 7"/>
                    <a:gd name="T16" fmla="*/ 4 w 7"/>
                    <a:gd name="T17" fmla="*/ 4 h 7"/>
                    <a:gd name="T18" fmla="*/ 5 w 7"/>
                    <a:gd name="T19" fmla="*/ 2 h 7"/>
                    <a:gd name="T20" fmla="*/ 5 w 7"/>
                    <a:gd name="T21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5" y="2"/>
                      </a:move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5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8" name="Freeform 92">
                  <a:extLst>
                    <a:ext uri="{FF2B5EF4-FFF2-40B4-BE49-F238E27FC236}">
                      <a16:creationId xmlns:a16="http://schemas.microsoft.com/office/drawing/2014/main" xmlns="" id="{33CF3D4A-0CBB-40F8-8EA5-4A5E90D0A0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9" y="394"/>
                  <a:ext cx="5" cy="3"/>
                </a:xfrm>
                <a:custGeom>
                  <a:avLst/>
                  <a:gdLst>
                    <a:gd name="T0" fmla="*/ 5 w 5"/>
                    <a:gd name="T1" fmla="*/ 1 h 3"/>
                    <a:gd name="T2" fmla="*/ 4 w 5"/>
                    <a:gd name="T3" fmla="*/ 0 h 3"/>
                    <a:gd name="T4" fmla="*/ 0 w 5"/>
                    <a:gd name="T5" fmla="*/ 0 h 3"/>
                    <a:gd name="T6" fmla="*/ 0 w 5"/>
                    <a:gd name="T7" fmla="*/ 1 h 3"/>
                    <a:gd name="T8" fmla="*/ 0 w 5"/>
                    <a:gd name="T9" fmla="*/ 3 h 3"/>
                    <a:gd name="T10" fmla="*/ 2 w 5"/>
                    <a:gd name="T11" fmla="*/ 3 h 3"/>
                    <a:gd name="T12" fmla="*/ 4 w 5"/>
                    <a:gd name="T13" fmla="*/ 3 h 3"/>
                    <a:gd name="T14" fmla="*/ 5 w 5"/>
                    <a:gd name="T15" fmla="*/ 1 h 3"/>
                    <a:gd name="T16" fmla="*/ 5 w 5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3">
                      <a:moveTo>
                        <a:pt x="5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29" name="Freeform 93">
                  <a:extLst>
                    <a:ext uri="{FF2B5EF4-FFF2-40B4-BE49-F238E27FC236}">
                      <a16:creationId xmlns:a16="http://schemas.microsoft.com/office/drawing/2014/main" xmlns="" id="{BFFCD5E8-36CF-4B8B-A62E-3F57A77284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4" y="391"/>
                  <a:ext cx="7" cy="6"/>
                </a:xfrm>
                <a:custGeom>
                  <a:avLst/>
                  <a:gdLst>
                    <a:gd name="T0" fmla="*/ 0 w 7"/>
                    <a:gd name="T1" fmla="*/ 6 h 6"/>
                    <a:gd name="T2" fmla="*/ 2 w 7"/>
                    <a:gd name="T3" fmla="*/ 6 h 6"/>
                    <a:gd name="T4" fmla="*/ 3 w 7"/>
                    <a:gd name="T5" fmla="*/ 6 h 6"/>
                    <a:gd name="T6" fmla="*/ 5 w 7"/>
                    <a:gd name="T7" fmla="*/ 4 h 6"/>
                    <a:gd name="T8" fmla="*/ 7 w 7"/>
                    <a:gd name="T9" fmla="*/ 1 h 6"/>
                    <a:gd name="T10" fmla="*/ 5 w 7"/>
                    <a:gd name="T11" fmla="*/ 0 h 6"/>
                    <a:gd name="T12" fmla="*/ 2 w 7"/>
                    <a:gd name="T13" fmla="*/ 0 h 6"/>
                    <a:gd name="T14" fmla="*/ 2 w 7"/>
                    <a:gd name="T15" fmla="*/ 3 h 6"/>
                    <a:gd name="T16" fmla="*/ 2 w 7"/>
                    <a:gd name="T17" fmla="*/ 4 h 6"/>
                    <a:gd name="T18" fmla="*/ 0 w 7"/>
                    <a:gd name="T19" fmla="*/ 6 h 6"/>
                    <a:gd name="T20" fmla="*/ 0 w 7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6">
                      <a:moveTo>
                        <a:pt x="0" y="6"/>
                      </a:move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0" name="Freeform 94">
                  <a:extLst>
                    <a:ext uri="{FF2B5EF4-FFF2-40B4-BE49-F238E27FC236}">
                      <a16:creationId xmlns:a16="http://schemas.microsoft.com/office/drawing/2014/main" xmlns="" id="{A39C9F0C-4492-43E8-AFED-BDF4CE0746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9" y="382"/>
                  <a:ext cx="9" cy="5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2 h 5"/>
                    <a:gd name="T4" fmla="*/ 9 w 9"/>
                    <a:gd name="T5" fmla="*/ 0 h 5"/>
                    <a:gd name="T6" fmla="*/ 5 w 9"/>
                    <a:gd name="T7" fmla="*/ 0 h 5"/>
                    <a:gd name="T8" fmla="*/ 4 w 9"/>
                    <a:gd name="T9" fmla="*/ 2 h 5"/>
                    <a:gd name="T10" fmla="*/ 0 w 9"/>
                    <a:gd name="T11" fmla="*/ 2 h 5"/>
                    <a:gd name="T12" fmla="*/ 0 w 9"/>
                    <a:gd name="T13" fmla="*/ 4 h 5"/>
                    <a:gd name="T14" fmla="*/ 5 w 9"/>
                    <a:gd name="T15" fmla="*/ 4 h 5"/>
                    <a:gd name="T16" fmla="*/ 7 w 9"/>
                    <a:gd name="T17" fmla="*/ 5 h 5"/>
                    <a:gd name="T18" fmla="*/ 7 w 9"/>
                    <a:gd name="T1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1" name="Freeform 95">
                  <a:extLst>
                    <a:ext uri="{FF2B5EF4-FFF2-40B4-BE49-F238E27FC236}">
                      <a16:creationId xmlns:a16="http://schemas.microsoft.com/office/drawing/2014/main" xmlns="" id="{9F0F16C3-C353-494F-A717-382F764106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1" y="371"/>
                  <a:ext cx="11" cy="8"/>
                </a:xfrm>
                <a:custGeom>
                  <a:avLst/>
                  <a:gdLst>
                    <a:gd name="T0" fmla="*/ 10 w 11"/>
                    <a:gd name="T1" fmla="*/ 8 h 8"/>
                    <a:gd name="T2" fmla="*/ 11 w 11"/>
                    <a:gd name="T3" fmla="*/ 8 h 8"/>
                    <a:gd name="T4" fmla="*/ 10 w 11"/>
                    <a:gd name="T5" fmla="*/ 6 h 8"/>
                    <a:gd name="T6" fmla="*/ 10 w 11"/>
                    <a:gd name="T7" fmla="*/ 5 h 8"/>
                    <a:gd name="T8" fmla="*/ 11 w 11"/>
                    <a:gd name="T9" fmla="*/ 5 h 8"/>
                    <a:gd name="T10" fmla="*/ 11 w 11"/>
                    <a:gd name="T11" fmla="*/ 3 h 8"/>
                    <a:gd name="T12" fmla="*/ 10 w 11"/>
                    <a:gd name="T13" fmla="*/ 2 h 8"/>
                    <a:gd name="T14" fmla="*/ 6 w 11"/>
                    <a:gd name="T15" fmla="*/ 0 h 8"/>
                    <a:gd name="T16" fmla="*/ 5 w 11"/>
                    <a:gd name="T17" fmla="*/ 2 h 8"/>
                    <a:gd name="T18" fmla="*/ 5 w 11"/>
                    <a:gd name="T19" fmla="*/ 3 h 8"/>
                    <a:gd name="T20" fmla="*/ 3 w 11"/>
                    <a:gd name="T21" fmla="*/ 3 h 8"/>
                    <a:gd name="T22" fmla="*/ 2 w 11"/>
                    <a:gd name="T23" fmla="*/ 3 h 8"/>
                    <a:gd name="T24" fmla="*/ 0 w 11"/>
                    <a:gd name="T25" fmla="*/ 3 h 8"/>
                    <a:gd name="T26" fmla="*/ 2 w 11"/>
                    <a:gd name="T27" fmla="*/ 6 h 8"/>
                    <a:gd name="T28" fmla="*/ 3 w 11"/>
                    <a:gd name="T29" fmla="*/ 6 h 8"/>
                    <a:gd name="T30" fmla="*/ 6 w 11"/>
                    <a:gd name="T31" fmla="*/ 6 h 8"/>
                    <a:gd name="T32" fmla="*/ 10 w 11"/>
                    <a:gd name="T33" fmla="*/ 8 h 8"/>
                    <a:gd name="T34" fmla="*/ 10 w 11"/>
                    <a:gd name="T3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8">
                      <a:moveTo>
                        <a:pt x="10" y="8"/>
                      </a:moveTo>
                      <a:lnTo>
                        <a:pt x="11" y="8"/>
                      </a:lnTo>
                      <a:lnTo>
                        <a:pt x="10" y="6"/>
                      </a:lnTo>
                      <a:lnTo>
                        <a:pt x="10" y="5"/>
                      </a:lnTo>
                      <a:lnTo>
                        <a:pt x="11" y="5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6" y="6"/>
                      </a:lnTo>
                      <a:lnTo>
                        <a:pt x="10" y="8"/>
                      </a:lnTo>
                      <a:lnTo>
                        <a:pt x="10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2" name="Freeform 96">
                  <a:extLst>
                    <a:ext uri="{FF2B5EF4-FFF2-40B4-BE49-F238E27FC236}">
                      <a16:creationId xmlns:a16="http://schemas.microsoft.com/office/drawing/2014/main" xmlns="" id="{CB20A103-6699-4760-8A90-EC784C7F3D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6" y="237"/>
                  <a:ext cx="5" cy="3"/>
                </a:xfrm>
                <a:custGeom>
                  <a:avLst/>
                  <a:gdLst>
                    <a:gd name="T0" fmla="*/ 3 w 5"/>
                    <a:gd name="T1" fmla="*/ 3 h 3"/>
                    <a:gd name="T2" fmla="*/ 5 w 5"/>
                    <a:gd name="T3" fmla="*/ 3 h 3"/>
                    <a:gd name="T4" fmla="*/ 5 w 5"/>
                    <a:gd name="T5" fmla="*/ 2 h 3"/>
                    <a:gd name="T6" fmla="*/ 2 w 5"/>
                    <a:gd name="T7" fmla="*/ 0 h 3"/>
                    <a:gd name="T8" fmla="*/ 0 w 5"/>
                    <a:gd name="T9" fmla="*/ 2 h 3"/>
                    <a:gd name="T10" fmla="*/ 3 w 5"/>
                    <a:gd name="T11" fmla="*/ 3 h 3"/>
                    <a:gd name="T12" fmla="*/ 3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3" y="3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3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3" name="Freeform 97">
                  <a:extLst>
                    <a:ext uri="{FF2B5EF4-FFF2-40B4-BE49-F238E27FC236}">
                      <a16:creationId xmlns:a16="http://schemas.microsoft.com/office/drawing/2014/main" xmlns="" id="{EACC94F5-2CB4-43DE-BCF6-316DD1F55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1" y="261"/>
                  <a:ext cx="7" cy="10"/>
                </a:xfrm>
                <a:custGeom>
                  <a:avLst/>
                  <a:gdLst>
                    <a:gd name="T0" fmla="*/ 0 w 7"/>
                    <a:gd name="T1" fmla="*/ 9 h 10"/>
                    <a:gd name="T2" fmla="*/ 0 w 7"/>
                    <a:gd name="T3" fmla="*/ 10 h 10"/>
                    <a:gd name="T4" fmla="*/ 2 w 7"/>
                    <a:gd name="T5" fmla="*/ 10 h 10"/>
                    <a:gd name="T6" fmla="*/ 5 w 7"/>
                    <a:gd name="T7" fmla="*/ 9 h 10"/>
                    <a:gd name="T8" fmla="*/ 7 w 7"/>
                    <a:gd name="T9" fmla="*/ 7 h 10"/>
                    <a:gd name="T10" fmla="*/ 5 w 7"/>
                    <a:gd name="T11" fmla="*/ 2 h 10"/>
                    <a:gd name="T12" fmla="*/ 4 w 7"/>
                    <a:gd name="T13" fmla="*/ 0 h 10"/>
                    <a:gd name="T14" fmla="*/ 2 w 7"/>
                    <a:gd name="T15" fmla="*/ 0 h 10"/>
                    <a:gd name="T16" fmla="*/ 0 w 7"/>
                    <a:gd name="T17" fmla="*/ 2 h 10"/>
                    <a:gd name="T18" fmla="*/ 0 w 7"/>
                    <a:gd name="T19" fmla="*/ 5 h 10"/>
                    <a:gd name="T20" fmla="*/ 0 w 7"/>
                    <a:gd name="T21" fmla="*/ 9 h 10"/>
                    <a:gd name="T22" fmla="*/ 0 w 7"/>
                    <a:gd name="T23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10">
                      <a:moveTo>
                        <a:pt x="0" y="9"/>
                      </a:move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4" name="Freeform 98">
                  <a:extLst>
                    <a:ext uri="{FF2B5EF4-FFF2-40B4-BE49-F238E27FC236}">
                      <a16:creationId xmlns:a16="http://schemas.microsoft.com/office/drawing/2014/main" xmlns="" id="{FEB97D1F-3F6E-4640-AD7E-5EE383FD36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2" y="248"/>
                  <a:ext cx="14" cy="15"/>
                </a:xfrm>
                <a:custGeom>
                  <a:avLst/>
                  <a:gdLst>
                    <a:gd name="T0" fmla="*/ 0 w 14"/>
                    <a:gd name="T1" fmla="*/ 15 h 15"/>
                    <a:gd name="T2" fmla="*/ 1 w 14"/>
                    <a:gd name="T3" fmla="*/ 15 h 15"/>
                    <a:gd name="T4" fmla="*/ 4 w 14"/>
                    <a:gd name="T5" fmla="*/ 13 h 15"/>
                    <a:gd name="T6" fmla="*/ 6 w 14"/>
                    <a:gd name="T7" fmla="*/ 12 h 15"/>
                    <a:gd name="T8" fmla="*/ 8 w 14"/>
                    <a:gd name="T9" fmla="*/ 12 h 15"/>
                    <a:gd name="T10" fmla="*/ 8 w 14"/>
                    <a:gd name="T11" fmla="*/ 13 h 15"/>
                    <a:gd name="T12" fmla="*/ 6 w 14"/>
                    <a:gd name="T13" fmla="*/ 15 h 15"/>
                    <a:gd name="T14" fmla="*/ 9 w 14"/>
                    <a:gd name="T15" fmla="*/ 12 h 15"/>
                    <a:gd name="T16" fmla="*/ 13 w 14"/>
                    <a:gd name="T17" fmla="*/ 9 h 15"/>
                    <a:gd name="T18" fmla="*/ 13 w 14"/>
                    <a:gd name="T19" fmla="*/ 7 h 15"/>
                    <a:gd name="T20" fmla="*/ 14 w 14"/>
                    <a:gd name="T21" fmla="*/ 5 h 15"/>
                    <a:gd name="T22" fmla="*/ 14 w 14"/>
                    <a:gd name="T23" fmla="*/ 2 h 15"/>
                    <a:gd name="T24" fmla="*/ 13 w 14"/>
                    <a:gd name="T25" fmla="*/ 0 h 15"/>
                    <a:gd name="T26" fmla="*/ 11 w 14"/>
                    <a:gd name="T27" fmla="*/ 0 h 15"/>
                    <a:gd name="T28" fmla="*/ 11 w 14"/>
                    <a:gd name="T29" fmla="*/ 2 h 15"/>
                    <a:gd name="T30" fmla="*/ 8 w 14"/>
                    <a:gd name="T31" fmla="*/ 5 h 15"/>
                    <a:gd name="T32" fmla="*/ 4 w 14"/>
                    <a:gd name="T33" fmla="*/ 7 h 15"/>
                    <a:gd name="T34" fmla="*/ 1 w 14"/>
                    <a:gd name="T35" fmla="*/ 12 h 15"/>
                    <a:gd name="T36" fmla="*/ 0 w 14"/>
                    <a:gd name="T37" fmla="*/ 15 h 15"/>
                    <a:gd name="T38" fmla="*/ 0 w 14"/>
                    <a:gd name="T3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15">
                      <a:moveTo>
                        <a:pt x="0" y="15"/>
                      </a:moveTo>
                      <a:lnTo>
                        <a:pt x="1" y="15"/>
                      </a:lnTo>
                      <a:lnTo>
                        <a:pt x="4" y="13"/>
                      </a:lnTo>
                      <a:lnTo>
                        <a:pt x="6" y="12"/>
                      </a:lnTo>
                      <a:lnTo>
                        <a:pt x="8" y="12"/>
                      </a:lnTo>
                      <a:lnTo>
                        <a:pt x="8" y="13"/>
                      </a:lnTo>
                      <a:lnTo>
                        <a:pt x="6" y="15"/>
                      </a:lnTo>
                      <a:lnTo>
                        <a:pt x="9" y="12"/>
                      </a:lnTo>
                      <a:lnTo>
                        <a:pt x="13" y="9"/>
                      </a:lnTo>
                      <a:lnTo>
                        <a:pt x="13" y="7"/>
                      </a:lnTo>
                      <a:lnTo>
                        <a:pt x="14" y="5"/>
                      </a:lnTo>
                      <a:lnTo>
                        <a:pt x="14" y="2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1" y="2"/>
                      </a:lnTo>
                      <a:lnTo>
                        <a:pt x="8" y="5"/>
                      </a:lnTo>
                      <a:lnTo>
                        <a:pt x="4" y="7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5" name="Freeform 99">
                  <a:extLst>
                    <a:ext uri="{FF2B5EF4-FFF2-40B4-BE49-F238E27FC236}">
                      <a16:creationId xmlns:a16="http://schemas.microsoft.com/office/drawing/2014/main" xmlns="" id="{33FD1069-6F3C-4F74-981C-E52E4FCCB5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1" y="261"/>
                  <a:ext cx="6" cy="4"/>
                </a:xfrm>
                <a:custGeom>
                  <a:avLst/>
                  <a:gdLst>
                    <a:gd name="T0" fmla="*/ 2 w 6"/>
                    <a:gd name="T1" fmla="*/ 4 h 4"/>
                    <a:gd name="T2" fmla="*/ 5 w 6"/>
                    <a:gd name="T3" fmla="*/ 4 h 4"/>
                    <a:gd name="T4" fmla="*/ 6 w 6"/>
                    <a:gd name="T5" fmla="*/ 2 h 4"/>
                    <a:gd name="T6" fmla="*/ 5 w 6"/>
                    <a:gd name="T7" fmla="*/ 0 h 4"/>
                    <a:gd name="T8" fmla="*/ 2 w 6"/>
                    <a:gd name="T9" fmla="*/ 2 h 4"/>
                    <a:gd name="T10" fmla="*/ 0 w 6"/>
                    <a:gd name="T11" fmla="*/ 4 h 4"/>
                    <a:gd name="T12" fmla="*/ 2 w 6"/>
                    <a:gd name="T13" fmla="*/ 4 h 4"/>
                    <a:gd name="T14" fmla="*/ 2 w 6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2" y="4"/>
                      </a:moveTo>
                      <a:lnTo>
                        <a:pt x="5" y="4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6" name="Freeform 100">
                  <a:extLst>
                    <a:ext uri="{FF2B5EF4-FFF2-40B4-BE49-F238E27FC236}">
                      <a16:creationId xmlns:a16="http://schemas.microsoft.com/office/drawing/2014/main" xmlns="" id="{A1AA9BAF-BF39-432F-BCCC-9BEEF4BAFA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6" y="266"/>
                  <a:ext cx="5" cy="7"/>
                </a:xfrm>
                <a:custGeom>
                  <a:avLst/>
                  <a:gdLst>
                    <a:gd name="T0" fmla="*/ 1 w 5"/>
                    <a:gd name="T1" fmla="*/ 7 h 7"/>
                    <a:gd name="T2" fmla="*/ 3 w 5"/>
                    <a:gd name="T3" fmla="*/ 7 h 7"/>
                    <a:gd name="T4" fmla="*/ 5 w 5"/>
                    <a:gd name="T5" fmla="*/ 5 h 7"/>
                    <a:gd name="T6" fmla="*/ 5 w 5"/>
                    <a:gd name="T7" fmla="*/ 4 h 7"/>
                    <a:gd name="T8" fmla="*/ 1 w 5"/>
                    <a:gd name="T9" fmla="*/ 4 h 7"/>
                    <a:gd name="T10" fmla="*/ 0 w 5"/>
                    <a:gd name="T11" fmla="*/ 0 h 7"/>
                    <a:gd name="T12" fmla="*/ 0 w 5"/>
                    <a:gd name="T13" fmla="*/ 0 h 7"/>
                    <a:gd name="T14" fmla="*/ 0 w 5"/>
                    <a:gd name="T15" fmla="*/ 2 h 7"/>
                    <a:gd name="T16" fmla="*/ 1 w 5"/>
                    <a:gd name="T17" fmla="*/ 4 h 7"/>
                    <a:gd name="T18" fmla="*/ 1 w 5"/>
                    <a:gd name="T19" fmla="*/ 7 h 7"/>
                    <a:gd name="T20" fmla="*/ 1 w 5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7">
                      <a:moveTo>
                        <a:pt x="1" y="7"/>
                      </a:moveTo>
                      <a:lnTo>
                        <a:pt x="3" y="7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1" y="7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7" name="Freeform 101">
                  <a:extLst>
                    <a:ext uri="{FF2B5EF4-FFF2-40B4-BE49-F238E27FC236}">
                      <a16:creationId xmlns:a16="http://schemas.microsoft.com/office/drawing/2014/main" xmlns="" id="{2A69D0C3-C5A1-42B1-8176-FA895DBBF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6" y="276"/>
                  <a:ext cx="7" cy="5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3 h 5"/>
                    <a:gd name="T4" fmla="*/ 7 w 7"/>
                    <a:gd name="T5" fmla="*/ 2 h 5"/>
                    <a:gd name="T6" fmla="*/ 5 w 7"/>
                    <a:gd name="T7" fmla="*/ 0 h 5"/>
                    <a:gd name="T8" fmla="*/ 4 w 7"/>
                    <a:gd name="T9" fmla="*/ 2 h 5"/>
                    <a:gd name="T10" fmla="*/ 0 w 7"/>
                    <a:gd name="T11" fmla="*/ 3 h 5"/>
                    <a:gd name="T12" fmla="*/ 0 w 7"/>
                    <a:gd name="T13" fmla="*/ 5 h 5"/>
                    <a:gd name="T14" fmla="*/ 4 w 7"/>
                    <a:gd name="T15" fmla="*/ 5 h 5"/>
                    <a:gd name="T16" fmla="*/ 4 w 7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3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8" name="Freeform 102">
                  <a:extLst>
                    <a:ext uri="{FF2B5EF4-FFF2-40B4-BE49-F238E27FC236}">
                      <a16:creationId xmlns:a16="http://schemas.microsoft.com/office/drawing/2014/main" xmlns="" id="{A1192DC0-D552-4C4D-817E-641DFBD637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9" y="273"/>
                  <a:ext cx="9" cy="8"/>
                </a:xfrm>
                <a:custGeom>
                  <a:avLst/>
                  <a:gdLst>
                    <a:gd name="T0" fmla="*/ 7 w 9"/>
                    <a:gd name="T1" fmla="*/ 8 h 8"/>
                    <a:gd name="T2" fmla="*/ 9 w 9"/>
                    <a:gd name="T3" fmla="*/ 6 h 8"/>
                    <a:gd name="T4" fmla="*/ 9 w 9"/>
                    <a:gd name="T5" fmla="*/ 3 h 8"/>
                    <a:gd name="T6" fmla="*/ 7 w 9"/>
                    <a:gd name="T7" fmla="*/ 3 h 8"/>
                    <a:gd name="T8" fmla="*/ 7 w 9"/>
                    <a:gd name="T9" fmla="*/ 0 h 8"/>
                    <a:gd name="T10" fmla="*/ 5 w 9"/>
                    <a:gd name="T11" fmla="*/ 0 h 8"/>
                    <a:gd name="T12" fmla="*/ 4 w 9"/>
                    <a:gd name="T13" fmla="*/ 0 h 8"/>
                    <a:gd name="T14" fmla="*/ 4 w 9"/>
                    <a:gd name="T15" fmla="*/ 3 h 8"/>
                    <a:gd name="T16" fmla="*/ 0 w 9"/>
                    <a:gd name="T17" fmla="*/ 5 h 8"/>
                    <a:gd name="T18" fmla="*/ 0 w 9"/>
                    <a:gd name="T19" fmla="*/ 6 h 8"/>
                    <a:gd name="T20" fmla="*/ 2 w 9"/>
                    <a:gd name="T21" fmla="*/ 6 h 8"/>
                    <a:gd name="T22" fmla="*/ 5 w 9"/>
                    <a:gd name="T23" fmla="*/ 3 h 8"/>
                    <a:gd name="T24" fmla="*/ 5 w 9"/>
                    <a:gd name="T25" fmla="*/ 5 h 8"/>
                    <a:gd name="T26" fmla="*/ 7 w 9"/>
                    <a:gd name="T27" fmla="*/ 8 h 8"/>
                    <a:gd name="T28" fmla="*/ 7 w 9"/>
                    <a:gd name="T2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8">
                      <a:moveTo>
                        <a:pt x="7" y="8"/>
                      </a:moveTo>
                      <a:lnTo>
                        <a:pt x="9" y="6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7" y="8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39" name="Freeform 103">
                  <a:extLst>
                    <a:ext uri="{FF2B5EF4-FFF2-40B4-BE49-F238E27FC236}">
                      <a16:creationId xmlns:a16="http://schemas.microsoft.com/office/drawing/2014/main" xmlns="" id="{2707E9C8-86B5-49E0-ACEE-E15169270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6" y="289"/>
                  <a:ext cx="16" cy="8"/>
                </a:xfrm>
                <a:custGeom>
                  <a:avLst/>
                  <a:gdLst>
                    <a:gd name="T0" fmla="*/ 2 w 16"/>
                    <a:gd name="T1" fmla="*/ 8 h 8"/>
                    <a:gd name="T2" fmla="*/ 3 w 16"/>
                    <a:gd name="T3" fmla="*/ 7 h 8"/>
                    <a:gd name="T4" fmla="*/ 5 w 16"/>
                    <a:gd name="T5" fmla="*/ 8 h 8"/>
                    <a:gd name="T6" fmla="*/ 8 w 16"/>
                    <a:gd name="T7" fmla="*/ 8 h 8"/>
                    <a:gd name="T8" fmla="*/ 10 w 16"/>
                    <a:gd name="T9" fmla="*/ 8 h 8"/>
                    <a:gd name="T10" fmla="*/ 13 w 16"/>
                    <a:gd name="T11" fmla="*/ 8 h 8"/>
                    <a:gd name="T12" fmla="*/ 15 w 16"/>
                    <a:gd name="T13" fmla="*/ 8 h 8"/>
                    <a:gd name="T14" fmla="*/ 16 w 16"/>
                    <a:gd name="T15" fmla="*/ 7 h 8"/>
                    <a:gd name="T16" fmla="*/ 16 w 16"/>
                    <a:gd name="T17" fmla="*/ 5 h 8"/>
                    <a:gd name="T18" fmla="*/ 16 w 16"/>
                    <a:gd name="T19" fmla="*/ 5 h 8"/>
                    <a:gd name="T20" fmla="*/ 16 w 16"/>
                    <a:gd name="T21" fmla="*/ 4 h 8"/>
                    <a:gd name="T22" fmla="*/ 15 w 16"/>
                    <a:gd name="T23" fmla="*/ 0 h 8"/>
                    <a:gd name="T24" fmla="*/ 13 w 16"/>
                    <a:gd name="T25" fmla="*/ 0 h 8"/>
                    <a:gd name="T26" fmla="*/ 11 w 16"/>
                    <a:gd name="T27" fmla="*/ 2 h 8"/>
                    <a:gd name="T28" fmla="*/ 11 w 16"/>
                    <a:gd name="T29" fmla="*/ 4 h 8"/>
                    <a:gd name="T30" fmla="*/ 10 w 16"/>
                    <a:gd name="T31" fmla="*/ 4 h 8"/>
                    <a:gd name="T32" fmla="*/ 8 w 16"/>
                    <a:gd name="T33" fmla="*/ 4 h 8"/>
                    <a:gd name="T34" fmla="*/ 8 w 16"/>
                    <a:gd name="T35" fmla="*/ 2 h 8"/>
                    <a:gd name="T36" fmla="*/ 7 w 16"/>
                    <a:gd name="T37" fmla="*/ 2 h 8"/>
                    <a:gd name="T38" fmla="*/ 5 w 16"/>
                    <a:gd name="T39" fmla="*/ 4 h 8"/>
                    <a:gd name="T40" fmla="*/ 3 w 16"/>
                    <a:gd name="T41" fmla="*/ 5 h 8"/>
                    <a:gd name="T42" fmla="*/ 2 w 16"/>
                    <a:gd name="T43" fmla="*/ 5 h 8"/>
                    <a:gd name="T44" fmla="*/ 0 w 16"/>
                    <a:gd name="T45" fmla="*/ 7 h 8"/>
                    <a:gd name="T46" fmla="*/ 2 w 16"/>
                    <a:gd name="T47" fmla="*/ 8 h 8"/>
                    <a:gd name="T48" fmla="*/ 2 w 16"/>
                    <a:gd name="T4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6" h="8">
                      <a:moveTo>
                        <a:pt x="2" y="8"/>
                      </a:move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3" y="8"/>
                      </a:lnTo>
                      <a:lnTo>
                        <a:pt x="15" y="8"/>
                      </a:lnTo>
                      <a:lnTo>
                        <a:pt x="16" y="7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0" name="Freeform 104">
                  <a:extLst>
                    <a:ext uri="{FF2B5EF4-FFF2-40B4-BE49-F238E27FC236}">
                      <a16:creationId xmlns:a16="http://schemas.microsoft.com/office/drawing/2014/main" xmlns="" id="{135E6728-FA86-4997-A782-500B88EAFD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2" y="198"/>
                  <a:ext cx="13" cy="6"/>
                </a:xfrm>
                <a:custGeom>
                  <a:avLst/>
                  <a:gdLst>
                    <a:gd name="T0" fmla="*/ 1 w 13"/>
                    <a:gd name="T1" fmla="*/ 3 h 6"/>
                    <a:gd name="T2" fmla="*/ 5 w 13"/>
                    <a:gd name="T3" fmla="*/ 5 h 6"/>
                    <a:gd name="T4" fmla="*/ 6 w 13"/>
                    <a:gd name="T5" fmla="*/ 6 h 6"/>
                    <a:gd name="T6" fmla="*/ 8 w 13"/>
                    <a:gd name="T7" fmla="*/ 6 h 6"/>
                    <a:gd name="T8" fmla="*/ 13 w 13"/>
                    <a:gd name="T9" fmla="*/ 3 h 6"/>
                    <a:gd name="T10" fmla="*/ 13 w 13"/>
                    <a:gd name="T11" fmla="*/ 1 h 6"/>
                    <a:gd name="T12" fmla="*/ 11 w 13"/>
                    <a:gd name="T13" fmla="*/ 1 h 6"/>
                    <a:gd name="T14" fmla="*/ 6 w 13"/>
                    <a:gd name="T15" fmla="*/ 3 h 6"/>
                    <a:gd name="T16" fmla="*/ 5 w 13"/>
                    <a:gd name="T17" fmla="*/ 1 h 6"/>
                    <a:gd name="T18" fmla="*/ 3 w 13"/>
                    <a:gd name="T19" fmla="*/ 0 h 6"/>
                    <a:gd name="T20" fmla="*/ 1 w 13"/>
                    <a:gd name="T21" fmla="*/ 1 h 6"/>
                    <a:gd name="T22" fmla="*/ 0 w 13"/>
                    <a:gd name="T23" fmla="*/ 3 h 6"/>
                    <a:gd name="T24" fmla="*/ 1 w 13"/>
                    <a:gd name="T25" fmla="*/ 3 h 6"/>
                    <a:gd name="T26" fmla="*/ 1 w 13"/>
                    <a:gd name="T2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6">
                      <a:moveTo>
                        <a:pt x="1" y="3"/>
                      </a:moveTo>
                      <a:lnTo>
                        <a:pt x="5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3" y="3"/>
                      </a:lnTo>
                      <a:lnTo>
                        <a:pt x="13" y="1"/>
                      </a:lnTo>
                      <a:lnTo>
                        <a:pt x="11" y="1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1" name="Freeform 105">
                  <a:extLst>
                    <a:ext uri="{FF2B5EF4-FFF2-40B4-BE49-F238E27FC236}">
                      <a16:creationId xmlns:a16="http://schemas.microsoft.com/office/drawing/2014/main" xmlns="" id="{85B422FA-464F-426A-9077-1E08076B6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4" y="124"/>
                  <a:ext cx="16" cy="8"/>
                </a:xfrm>
                <a:custGeom>
                  <a:avLst/>
                  <a:gdLst>
                    <a:gd name="T0" fmla="*/ 1 w 10"/>
                    <a:gd name="T1" fmla="*/ 5 h 5"/>
                    <a:gd name="T2" fmla="*/ 0 w 10"/>
                    <a:gd name="T3" fmla="*/ 4 h 5"/>
                    <a:gd name="T4" fmla="*/ 0 w 10"/>
                    <a:gd name="T5" fmla="*/ 3 h 5"/>
                    <a:gd name="T6" fmla="*/ 3 w 10"/>
                    <a:gd name="T7" fmla="*/ 1 h 5"/>
                    <a:gd name="T8" fmla="*/ 6 w 10"/>
                    <a:gd name="T9" fmla="*/ 0 h 5"/>
                    <a:gd name="T10" fmla="*/ 9 w 10"/>
                    <a:gd name="T11" fmla="*/ 1 h 5"/>
                    <a:gd name="T12" fmla="*/ 10 w 10"/>
                    <a:gd name="T13" fmla="*/ 3 h 5"/>
                    <a:gd name="T14" fmla="*/ 9 w 10"/>
                    <a:gd name="T15" fmla="*/ 5 h 5"/>
                    <a:gd name="T16" fmla="*/ 6 w 10"/>
                    <a:gd name="T17" fmla="*/ 5 h 5"/>
                    <a:gd name="T18" fmla="*/ 3 w 10"/>
                    <a:gd name="T19" fmla="*/ 5 h 5"/>
                    <a:gd name="T20" fmla="*/ 1 w 10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5">
                      <a:moveTo>
                        <a:pt x="1" y="5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1" y="5"/>
                        <a:pt x="1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2" name="Freeform 106">
                  <a:extLst>
                    <a:ext uri="{FF2B5EF4-FFF2-40B4-BE49-F238E27FC236}">
                      <a16:creationId xmlns:a16="http://schemas.microsoft.com/office/drawing/2014/main" xmlns="" id="{0D660D14-BA5C-42D4-A2CB-33F7271862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3" y="74"/>
                  <a:ext cx="13" cy="9"/>
                </a:xfrm>
                <a:custGeom>
                  <a:avLst/>
                  <a:gdLst>
                    <a:gd name="T0" fmla="*/ 0 w 13"/>
                    <a:gd name="T1" fmla="*/ 6 h 9"/>
                    <a:gd name="T2" fmla="*/ 4 w 13"/>
                    <a:gd name="T3" fmla="*/ 3 h 9"/>
                    <a:gd name="T4" fmla="*/ 5 w 13"/>
                    <a:gd name="T5" fmla="*/ 1 h 9"/>
                    <a:gd name="T6" fmla="*/ 10 w 13"/>
                    <a:gd name="T7" fmla="*/ 0 h 9"/>
                    <a:gd name="T8" fmla="*/ 13 w 13"/>
                    <a:gd name="T9" fmla="*/ 1 h 9"/>
                    <a:gd name="T10" fmla="*/ 13 w 13"/>
                    <a:gd name="T11" fmla="*/ 3 h 9"/>
                    <a:gd name="T12" fmla="*/ 12 w 13"/>
                    <a:gd name="T13" fmla="*/ 6 h 9"/>
                    <a:gd name="T14" fmla="*/ 10 w 13"/>
                    <a:gd name="T15" fmla="*/ 8 h 9"/>
                    <a:gd name="T16" fmla="*/ 5 w 13"/>
                    <a:gd name="T17" fmla="*/ 9 h 9"/>
                    <a:gd name="T18" fmla="*/ 2 w 13"/>
                    <a:gd name="T19" fmla="*/ 8 h 9"/>
                    <a:gd name="T20" fmla="*/ 0 w 13"/>
                    <a:gd name="T21" fmla="*/ 6 h 9"/>
                    <a:gd name="T22" fmla="*/ 0 w 13"/>
                    <a:gd name="T23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9">
                      <a:moveTo>
                        <a:pt x="0" y="6"/>
                      </a:move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3" y="3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5" y="9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3" name="Freeform 107">
                  <a:extLst>
                    <a:ext uri="{FF2B5EF4-FFF2-40B4-BE49-F238E27FC236}">
                      <a16:creationId xmlns:a16="http://schemas.microsoft.com/office/drawing/2014/main" xmlns="" id="{5F7F9CA2-56D0-4544-B1E4-936BA22B25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9" y="57"/>
                  <a:ext cx="59" cy="70"/>
                </a:xfrm>
                <a:custGeom>
                  <a:avLst/>
                  <a:gdLst>
                    <a:gd name="T0" fmla="*/ 36 w 59"/>
                    <a:gd name="T1" fmla="*/ 69 h 70"/>
                    <a:gd name="T2" fmla="*/ 41 w 59"/>
                    <a:gd name="T3" fmla="*/ 66 h 70"/>
                    <a:gd name="T4" fmla="*/ 43 w 59"/>
                    <a:gd name="T5" fmla="*/ 62 h 70"/>
                    <a:gd name="T6" fmla="*/ 43 w 59"/>
                    <a:gd name="T7" fmla="*/ 59 h 70"/>
                    <a:gd name="T8" fmla="*/ 48 w 59"/>
                    <a:gd name="T9" fmla="*/ 56 h 70"/>
                    <a:gd name="T10" fmla="*/ 54 w 59"/>
                    <a:gd name="T11" fmla="*/ 51 h 70"/>
                    <a:gd name="T12" fmla="*/ 57 w 59"/>
                    <a:gd name="T13" fmla="*/ 49 h 70"/>
                    <a:gd name="T14" fmla="*/ 59 w 59"/>
                    <a:gd name="T15" fmla="*/ 46 h 70"/>
                    <a:gd name="T16" fmla="*/ 59 w 59"/>
                    <a:gd name="T17" fmla="*/ 43 h 70"/>
                    <a:gd name="T18" fmla="*/ 54 w 59"/>
                    <a:gd name="T19" fmla="*/ 39 h 70"/>
                    <a:gd name="T20" fmla="*/ 49 w 59"/>
                    <a:gd name="T21" fmla="*/ 35 h 70"/>
                    <a:gd name="T22" fmla="*/ 46 w 59"/>
                    <a:gd name="T23" fmla="*/ 30 h 70"/>
                    <a:gd name="T24" fmla="*/ 46 w 59"/>
                    <a:gd name="T25" fmla="*/ 26 h 70"/>
                    <a:gd name="T26" fmla="*/ 48 w 59"/>
                    <a:gd name="T27" fmla="*/ 23 h 70"/>
                    <a:gd name="T28" fmla="*/ 48 w 59"/>
                    <a:gd name="T29" fmla="*/ 20 h 70"/>
                    <a:gd name="T30" fmla="*/ 46 w 59"/>
                    <a:gd name="T31" fmla="*/ 20 h 70"/>
                    <a:gd name="T32" fmla="*/ 38 w 59"/>
                    <a:gd name="T33" fmla="*/ 20 h 70"/>
                    <a:gd name="T34" fmla="*/ 33 w 59"/>
                    <a:gd name="T35" fmla="*/ 18 h 70"/>
                    <a:gd name="T36" fmla="*/ 28 w 59"/>
                    <a:gd name="T37" fmla="*/ 15 h 70"/>
                    <a:gd name="T38" fmla="*/ 21 w 59"/>
                    <a:gd name="T39" fmla="*/ 7 h 70"/>
                    <a:gd name="T40" fmla="*/ 17 w 59"/>
                    <a:gd name="T41" fmla="*/ 3 h 70"/>
                    <a:gd name="T42" fmla="*/ 12 w 59"/>
                    <a:gd name="T43" fmla="*/ 0 h 70"/>
                    <a:gd name="T44" fmla="*/ 10 w 59"/>
                    <a:gd name="T45" fmla="*/ 0 h 70"/>
                    <a:gd name="T46" fmla="*/ 8 w 59"/>
                    <a:gd name="T47" fmla="*/ 2 h 70"/>
                    <a:gd name="T48" fmla="*/ 8 w 59"/>
                    <a:gd name="T49" fmla="*/ 3 h 70"/>
                    <a:gd name="T50" fmla="*/ 8 w 59"/>
                    <a:gd name="T51" fmla="*/ 7 h 70"/>
                    <a:gd name="T52" fmla="*/ 8 w 59"/>
                    <a:gd name="T53" fmla="*/ 10 h 70"/>
                    <a:gd name="T54" fmla="*/ 7 w 59"/>
                    <a:gd name="T55" fmla="*/ 15 h 70"/>
                    <a:gd name="T56" fmla="*/ 3 w 59"/>
                    <a:gd name="T57" fmla="*/ 20 h 70"/>
                    <a:gd name="T58" fmla="*/ 0 w 59"/>
                    <a:gd name="T59" fmla="*/ 23 h 70"/>
                    <a:gd name="T60" fmla="*/ 0 w 59"/>
                    <a:gd name="T61" fmla="*/ 26 h 70"/>
                    <a:gd name="T62" fmla="*/ 0 w 59"/>
                    <a:gd name="T63" fmla="*/ 39 h 70"/>
                    <a:gd name="T64" fmla="*/ 2 w 59"/>
                    <a:gd name="T65" fmla="*/ 43 h 70"/>
                    <a:gd name="T66" fmla="*/ 5 w 59"/>
                    <a:gd name="T67" fmla="*/ 44 h 70"/>
                    <a:gd name="T68" fmla="*/ 5 w 59"/>
                    <a:gd name="T69" fmla="*/ 48 h 70"/>
                    <a:gd name="T70" fmla="*/ 5 w 59"/>
                    <a:gd name="T71" fmla="*/ 57 h 70"/>
                    <a:gd name="T72" fmla="*/ 3 w 59"/>
                    <a:gd name="T73" fmla="*/ 61 h 70"/>
                    <a:gd name="T74" fmla="*/ 2 w 59"/>
                    <a:gd name="T75" fmla="*/ 64 h 70"/>
                    <a:gd name="T76" fmla="*/ 3 w 59"/>
                    <a:gd name="T77" fmla="*/ 66 h 70"/>
                    <a:gd name="T78" fmla="*/ 3 w 59"/>
                    <a:gd name="T79" fmla="*/ 66 h 70"/>
                    <a:gd name="T80" fmla="*/ 7 w 59"/>
                    <a:gd name="T81" fmla="*/ 62 h 70"/>
                    <a:gd name="T82" fmla="*/ 10 w 59"/>
                    <a:gd name="T83" fmla="*/ 61 h 70"/>
                    <a:gd name="T84" fmla="*/ 12 w 59"/>
                    <a:gd name="T85" fmla="*/ 61 h 70"/>
                    <a:gd name="T86" fmla="*/ 13 w 59"/>
                    <a:gd name="T87" fmla="*/ 64 h 70"/>
                    <a:gd name="T88" fmla="*/ 17 w 59"/>
                    <a:gd name="T89" fmla="*/ 67 h 70"/>
                    <a:gd name="T90" fmla="*/ 20 w 59"/>
                    <a:gd name="T91" fmla="*/ 67 h 70"/>
                    <a:gd name="T92" fmla="*/ 21 w 59"/>
                    <a:gd name="T93" fmla="*/ 66 h 70"/>
                    <a:gd name="T94" fmla="*/ 23 w 59"/>
                    <a:gd name="T95" fmla="*/ 67 h 70"/>
                    <a:gd name="T96" fmla="*/ 28 w 59"/>
                    <a:gd name="T97" fmla="*/ 69 h 70"/>
                    <a:gd name="T98" fmla="*/ 31 w 59"/>
                    <a:gd name="T99" fmla="*/ 70 h 70"/>
                    <a:gd name="T100" fmla="*/ 36 w 59"/>
                    <a:gd name="T101" fmla="*/ 69 h 70"/>
                    <a:gd name="T102" fmla="*/ 36 w 59"/>
                    <a:gd name="T103" fmla="*/ 6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9" h="70">
                      <a:moveTo>
                        <a:pt x="36" y="69"/>
                      </a:moveTo>
                      <a:lnTo>
                        <a:pt x="41" y="66"/>
                      </a:lnTo>
                      <a:lnTo>
                        <a:pt x="43" y="62"/>
                      </a:lnTo>
                      <a:lnTo>
                        <a:pt x="43" y="59"/>
                      </a:lnTo>
                      <a:lnTo>
                        <a:pt x="48" y="56"/>
                      </a:lnTo>
                      <a:lnTo>
                        <a:pt x="54" y="51"/>
                      </a:lnTo>
                      <a:lnTo>
                        <a:pt x="57" y="49"/>
                      </a:lnTo>
                      <a:lnTo>
                        <a:pt x="59" y="46"/>
                      </a:lnTo>
                      <a:lnTo>
                        <a:pt x="59" y="43"/>
                      </a:lnTo>
                      <a:lnTo>
                        <a:pt x="54" y="39"/>
                      </a:lnTo>
                      <a:lnTo>
                        <a:pt x="49" y="35"/>
                      </a:lnTo>
                      <a:lnTo>
                        <a:pt x="46" y="30"/>
                      </a:lnTo>
                      <a:lnTo>
                        <a:pt x="46" y="26"/>
                      </a:lnTo>
                      <a:lnTo>
                        <a:pt x="48" y="23"/>
                      </a:lnTo>
                      <a:lnTo>
                        <a:pt x="48" y="20"/>
                      </a:lnTo>
                      <a:lnTo>
                        <a:pt x="46" y="20"/>
                      </a:lnTo>
                      <a:lnTo>
                        <a:pt x="38" y="20"/>
                      </a:lnTo>
                      <a:lnTo>
                        <a:pt x="33" y="18"/>
                      </a:lnTo>
                      <a:lnTo>
                        <a:pt x="28" y="15"/>
                      </a:lnTo>
                      <a:lnTo>
                        <a:pt x="21" y="7"/>
                      </a:lnTo>
                      <a:lnTo>
                        <a:pt x="17" y="3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8" y="7"/>
                      </a:lnTo>
                      <a:lnTo>
                        <a:pt x="8" y="10"/>
                      </a:lnTo>
                      <a:lnTo>
                        <a:pt x="7" y="15"/>
                      </a:lnTo>
                      <a:lnTo>
                        <a:pt x="3" y="20"/>
                      </a:lnTo>
                      <a:lnTo>
                        <a:pt x="0" y="23"/>
                      </a:lnTo>
                      <a:lnTo>
                        <a:pt x="0" y="26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5" y="44"/>
                      </a:lnTo>
                      <a:lnTo>
                        <a:pt x="5" y="48"/>
                      </a:lnTo>
                      <a:lnTo>
                        <a:pt x="5" y="57"/>
                      </a:lnTo>
                      <a:lnTo>
                        <a:pt x="3" y="61"/>
                      </a:lnTo>
                      <a:lnTo>
                        <a:pt x="2" y="64"/>
                      </a:lnTo>
                      <a:lnTo>
                        <a:pt x="3" y="66"/>
                      </a:lnTo>
                      <a:lnTo>
                        <a:pt x="3" y="66"/>
                      </a:lnTo>
                      <a:lnTo>
                        <a:pt x="7" y="62"/>
                      </a:lnTo>
                      <a:lnTo>
                        <a:pt x="10" y="61"/>
                      </a:lnTo>
                      <a:lnTo>
                        <a:pt x="12" y="61"/>
                      </a:lnTo>
                      <a:lnTo>
                        <a:pt x="13" y="64"/>
                      </a:lnTo>
                      <a:lnTo>
                        <a:pt x="17" y="67"/>
                      </a:lnTo>
                      <a:lnTo>
                        <a:pt x="20" y="67"/>
                      </a:lnTo>
                      <a:lnTo>
                        <a:pt x="21" y="66"/>
                      </a:lnTo>
                      <a:lnTo>
                        <a:pt x="23" y="67"/>
                      </a:lnTo>
                      <a:lnTo>
                        <a:pt x="28" y="69"/>
                      </a:lnTo>
                      <a:lnTo>
                        <a:pt x="31" y="70"/>
                      </a:lnTo>
                      <a:lnTo>
                        <a:pt x="36" y="69"/>
                      </a:lnTo>
                      <a:lnTo>
                        <a:pt x="36" y="6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4" name="Freeform 108">
                  <a:extLst>
                    <a:ext uri="{FF2B5EF4-FFF2-40B4-BE49-F238E27FC236}">
                      <a16:creationId xmlns:a16="http://schemas.microsoft.com/office/drawing/2014/main" xmlns="" id="{03B80CEA-D564-47F8-BC6B-AA8F5522B7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6" y="129"/>
                  <a:ext cx="32" cy="23"/>
                </a:xfrm>
                <a:custGeom>
                  <a:avLst/>
                  <a:gdLst>
                    <a:gd name="T0" fmla="*/ 14 w 32"/>
                    <a:gd name="T1" fmla="*/ 20 h 23"/>
                    <a:gd name="T2" fmla="*/ 14 w 32"/>
                    <a:gd name="T3" fmla="*/ 21 h 23"/>
                    <a:gd name="T4" fmla="*/ 18 w 32"/>
                    <a:gd name="T5" fmla="*/ 23 h 23"/>
                    <a:gd name="T6" fmla="*/ 21 w 32"/>
                    <a:gd name="T7" fmla="*/ 23 h 23"/>
                    <a:gd name="T8" fmla="*/ 24 w 32"/>
                    <a:gd name="T9" fmla="*/ 21 h 23"/>
                    <a:gd name="T10" fmla="*/ 28 w 32"/>
                    <a:gd name="T11" fmla="*/ 18 h 23"/>
                    <a:gd name="T12" fmla="*/ 29 w 32"/>
                    <a:gd name="T13" fmla="*/ 16 h 23"/>
                    <a:gd name="T14" fmla="*/ 31 w 32"/>
                    <a:gd name="T15" fmla="*/ 12 h 23"/>
                    <a:gd name="T16" fmla="*/ 32 w 32"/>
                    <a:gd name="T17" fmla="*/ 7 h 23"/>
                    <a:gd name="T18" fmla="*/ 32 w 32"/>
                    <a:gd name="T19" fmla="*/ 5 h 23"/>
                    <a:gd name="T20" fmla="*/ 24 w 32"/>
                    <a:gd name="T21" fmla="*/ 2 h 23"/>
                    <a:gd name="T22" fmla="*/ 19 w 32"/>
                    <a:gd name="T23" fmla="*/ 0 h 23"/>
                    <a:gd name="T24" fmla="*/ 14 w 32"/>
                    <a:gd name="T25" fmla="*/ 2 h 23"/>
                    <a:gd name="T26" fmla="*/ 11 w 32"/>
                    <a:gd name="T27" fmla="*/ 3 h 23"/>
                    <a:gd name="T28" fmla="*/ 10 w 32"/>
                    <a:gd name="T29" fmla="*/ 2 h 23"/>
                    <a:gd name="T30" fmla="*/ 6 w 32"/>
                    <a:gd name="T31" fmla="*/ 2 h 23"/>
                    <a:gd name="T32" fmla="*/ 5 w 32"/>
                    <a:gd name="T33" fmla="*/ 3 h 23"/>
                    <a:gd name="T34" fmla="*/ 0 w 32"/>
                    <a:gd name="T35" fmla="*/ 3 h 23"/>
                    <a:gd name="T36" fmla="*/ 0 w 32"/>
                    <a:gd name="T37" fmla="*/ 5 h 23"/>
                    <a:gd name="T38" fmla="*/ 1 w 32"/>
                    <a:gd name="T39" fmla="*/ 7 h 23"/>
                    <a:gd name="T40" fmla="*/ 5 w 32"/>
                    <a:gd name="T41" fmla="*/ 8 h 23"/>
                    <a:gd name="T42" fmla="*/ 6 w 32"/>
                    <a:gd name="T43" fmla="*/ 10 h 23"/>
                    <a:gd name="T44" fmla="*/ 10 w 32"/>
                    <a:gd name="T45" fmla="*/ 12 h 23"/>
                    <a:gd name="T46" fmla="*/ 11 w 32"/>
                    <a:gd name="T47" fmla="*/ 15 h 23"/>
                    <a:gd name="T48" fmla="*/ 16 w 32"/>
                    <a:gd name="T49" fmla="*/ 16 h 23"/>
                    <a:gd name="T50" fmla="*/ 21 w 32"/>
                    <a:gd name="T51" fmla="*/ 16 h 23"/>
                    <a:gd name="T52" fmla="*/ 23 w 32"/>
                    <a:gd name="T53" fmla="*/ 18 h 23"/>
                    <a:gd name="T54" fmla="*/ 23 w 32"/>
                    <a:gd name="T55" fmla="*/ 18 h 23"/>
                    <a:gd name="T56" fmla="*/ 18 w 32"/>
                    <a:gd name="T57" fmla="*/ 20 h 23"/>
                    <a:gd name="T58" fmla="*/ 14 w 32"/>
                    <a:gd name="T59" fmla="*/ 20 h 23"/>
                    <a:gd name="T60" fmla="*/ 14 w 32"/>
                    <a:gd name="T61" fmla="*/ 2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2" h="23">
                      <a:moveTo>
                        <a:pt x="14" y="20"/>
                      </a:moveTo>
                      <a:lnTo>
                        <a:pt x="14" y="21"/>
                      </a:lnTo>
                      <a:lnTo>
                        <a:pt x="18" y="23"/>
                      </a:lnTo>
                      <a:lnTo>
                        <a:pt x="21" y="23"/>
                      </a:lnTo>
                      <a:lnTo>
                        <a:pt x="24" y="21"/>
                      </a:lnTo>
                      <a:lnTo>
                        <a:pt x="28" y="18"/>
                      </a:lnTo>
                      <a:lnTo>
                        <a:pt x="29" y="16"/>
                      </a:lnTo>
                      <a:lnTo>
                        <a:pt x="31" y="12"/>
                      </a:lnTo>
                      <a:lnTo>
                        <a:pt x="32" y="7"/>
                      </a:lnTo>
                      <a:lnTo>
                        <a:pt x="32" y="5"/>
                      </a:lnTo>
                      <a:lnTo>
                        <a:pt x="24" y="2"/>
                      </a:lnTo>
                      <a:lnTo>
                        <a:pt x="19" y="0"/>
                      </a:lnTo>
                      <a:lnTo>
                        <a:pt x="14" y="2"/>
                      </a:lnTo>
                      <a:lnTo>
                        <a:pt x="11" y="3"/>
                      </a:lnTo>
                      <a:lnTo>
                        <a:pt x="10" y="2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5" y="8"/>
                      </a:lnTo>
                      <a:lnTo>
                        <a:pt x="6" y="10"/>
                      </a:lnTo>
                      <a:lnTo>
                        <a:pt x="10" y="12"/>
                      </a:lnTo>
                      <a:lnTo>
                        <a:pt x="11" y="15"/>
                      </a:lnTo>
                      <a:lnTo>
                        <a:pt x="16" y="16"/>
                      </a:lnTo>
                      <a:lnTo>
                        <a:pt x="21" y="16"/>
                      </a:lnTo>
                      <a:lnTo>
                        <a:pt x="23" y="18"/>
                      </a:lnTo>
                      <a:lnTo>
                        <a:pt x="23" y="18"/>
                      </a:lnTo>
                      <a:lnTo>
                        <a:pt x="18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5" name="Freeform 109">
                  <a:extLst>
                    <a:ext uri="{FF2B5EF4-FFF2-40B4-BE49-F238E27FC236}">
                      <a16:creationId xmlns:a16="http://schemas.microsoft.com/office/drawing/2014/main" xmlns="" id="{8CC92DF0-A871-4B4B-847E-0E62D9DED5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0" y="105"/>
                  <a:ext cx="87" cy="68"/>
                </a:xfrm>
                <a:custGeom>
                  <a:avLst/>
                  <a:gdLst>
                    <a:gd name="T0" fmla="*/ 87 w 87"/>
                    <a:gd name="T1" fmla="*/ 57 h 68"/>
                    <a:gd name="T2" fmla="*/ 78 w 87"/>
                    <a:gd name="T3" fmla="*/ 63 h 68"/>
                    <a:gd name="T4" fmla="*/ 72 w 87"/>
                    <a:gd name="T5" fmla="*/ 68 h 68"/>
                    <a:gd name="T6" fmla="*/ 65 w 87"/>
                    <a:gd name="T7" fmla="*/ 67 h 68"/>
                    <a:gd name="T8" fmla="*/ 60 w 87"/>
                    <a:gd name="T9" fmla="*/ 65 h 68"/>
                    <a:gd name="T10" fmla="*/ 56 w 87"/>
                    <a:gd name="T11" fmla="*/ 65 h 68"/>
                    <a:gd name="T12" fmla="*/ 44 w 87"/>
                    <a:gd name="T13" fmla="*/ 62 h 68"/>
                    <a:gd name="T14" fmla="*/ 38 w 87"/>
                    <a:gd name="T15" fmla="*/ 62 h 68"/>
                    <a:gd name="T16" fmla="*/ 31 w 87"/>
                    <a:gd name="T17" fmla="*/ 63 h 68"/>
                    <a:gd name="T18" fmla="*/ 23 w 87"/>
                    <a:gd name="T19" fmla="*/ 60 h 68"/>
                    <a:gd name="T20" fmla="*/ 20 w 87"/>
                    <a:gd name="T21" fmla="*/ 52 h 68"/>
                    <a:gd name="T22" fmla="*/ 15 w 87"/>
                    <a:gd name="T23" fmla="*/ 49 h 68"/>
                    <a:gd name="T24" fmla="*/ 10 w 87"/>
                    <a:gd name="T25" fmla="*/ 47 h 68"/>
                    <a:gd name="T26" fmla="*/ 7 w 87"/>
                    <a:gd name="T27" fmla="*/ 49 h 68"/>
                    <a:gd name="T28" fmla="*/ 5 w 87"/>
                    <a:gd name="T29" fmla="*/ 50 h 68"/>
                    <a:gd name="T30" fmla="*/ 0 w 87"/>
                    <a:gd name="T31" fmla="*/ 47 h 68"/>
                    <a:gd name="T32" fmla="*/ 5 w 87"/>
                    <a:gd name="T33" fmla="*/ 44 h 68"/>
                    <a:gd name="T34" fmla="*/ 5 w 87"/>
                    <a:gd name="T35" fmla="*/ 37 h 68"/>
                    <a:gd name="T36" fmla="*/ 8 w 87"/>
                    <a:gd name="T37" fmla="*/ 31 h 68"/>
                    <a:gd name="T38" fmla="*/ 5 w 87"/>
                    <a:gd name="T39" fmla="*/ 27 h 68"/>
                    <a:gd name="T40" fmla="*/ 2 w 87"/>
                    <a:gd name="T41" fmla="*/ 24 h 68"/>
                    <a:gd name="T42" fmla="*/ 7 w 87"/>
                    <a:gd name="T43" fmla="*/ 16 h 68"/>
                    <a:gd name="T44" fmla="*/ 11 w 87"/>
                    <a:gd name="T45" fmla="*/ 13 h 68"/>
                    <a:gd name="T46" fmla="*/ 16 w 87"/>
                    <a:gd name="T47" fmla="*/ 8 h 68"/>
                    <a:gd name="T48" fmla="*/ 23 w 87"/>
                    <a:gd name="T49" fmla="*/ 1 h 68"/>
                    <a:gd name="T50" fmla="*/ 29 w 87"/>
                    <a:gd name="T51" fmla="*/ 1 h 68"/>
                    <a:gd name="T52" fmla="*/ 39 w 87"/>
                    <a:gd name="T53" fmla="*/ 11 h 68"/>
                    <a:gd name="T54" fmla="*/ 39 w 87"/>
                    <a:gd name="T55" fmla="*/ 19 h 68"/>
                    <a:gd name="T56" fmla="*/ 39 w 87"/>
                    <a:gd name="T57" fmla="*/ 24 h 68"/>
                    <a:gd name="T58" fmla="*/ 39 w 87"/>
                    <a:gd name="T59" fmla="*/ 29 h 68"/>
                    <a:gd name="T60" fmla="*/ 43 w 87"/>
                    <a:gd name="T61" fmla="*/ 22 h 68"/>
                    <a:gd name="T62" fmla="*/ 43 w 87"/>
                    <a:gd name="T63" fmla="*/ 16 h 68"/>
                    <a:gd name="T64" fmla="*/ 44 w 87"/>
                    <a:gd name="T65" fmla="*/ 13 h 68"/>
                    <a:gd name="T66" fmla="*/ 39 w 87"/>
                    <a:gd name="T67" fmla="*/ 5 h 68"/>
                    <a:gd name="T68" fmla="*/ 46 w 87"/>
                    <a:gd name="T69" fmla="*/ 1 h 68"/>
                    <a:gd name="T70" fmla="*/ 60 w 87"/>
                    <a:gd name="T71" fmla="*/ 11 h 68"/>
                    <a:gd name="T72" fmla="*/ 64 w 87"/>
                    <a:gd name="T73" fmla="*/ 13 h 68"/>
                    <a:gd name="T74" fmla="*/ 67 w 87"/>
                    <a:gd name="T75" fmla="*/ 18 h 68"/>
                    <a:gd name="T76" fmla="*/ 69 w 87"/>
                    <a:gd name="T77" fmla="*/ 27 h 68"/>
                    <a:gd name="T78" fmla="*/ 75 w 87"/>
                    <a:gd name="T79" fmla="*/ 37 h 68"/>
                    <a:gd name="T80" fmla="*/ 74 w 87"/>
                    <a:gd name="T81" fmla="*/ 39 h 68"/>
                    <a:gd name="T82" fmla="*/ 69 w 87"/>
                    <a:gd name="T83" fmla="*/ 37 h 68"/>
                    <a:gd name="T84" fmla="*/ 74 w 87"/>
                    <a:gd name="T85" fmla="*/ 44 h 68"/>
                    <a:gd name="T86" fmla="*/ 80 w 87"/>
                    <a:gd name="T87" fmla="*/ 49 h 68"/>
                    <a:gd name="T88" fmla="*/ 87 w 87"/>
                    <a:gd name="T89" fmla="*/ 5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7" h="68">
                      <a:moveTo>
                        <a:pt x="87" y="54"/>
                      </a:moveTo>
                      <a:lnTo>
                        <a:pt x="87" y="57"/>
                      </a:lnTo>
                      <a:lnTo>
                        <a:pt x="83" y="62"/>
                      </a:lnTo>
                      <a:lnTo>
                        <a:pt x="78" y="63"/>
                      </a:lnTo>
                      <a:lnTo>
                        <a:pt x="75" y="67"/>
                      </a:lnTo>
                      <a:lnTo>
                        <a:pt x="72" y="68"/>
                      </a:lnTo>
                      <a:lnTo>
                        <a:pt x="69" y="68"/>
                      </a:lnTo>
                      <a:lnTo>
                        <a:pt x="65" y="67"/>
                      </a:lnTo>
                      <a:lnTo>
                        <a:pt x="64" y="65"/>
                      </a:lnTo>
                      <a:lnTo>
                        <a:pt x="60" y="65"/>
                      </a:lnTo>
                      <a:lnTo>
                        <a:pt x="59" y="63"/>
                      </a:lnTo>
                      <a:lnTo>
                        <a:pt x="56" y="65"/>
                      </a:lnTo>
                      <a:lnTo>
                        <a:pt x="47" y="65"/>
                      </a:lnTo>
                      <a:lnTo>
                        <a:pt x="44" y="62"/>
                      </a:lnTo>
                      <a:lnTo>
                        <a:pt x="43" y="60"/>
                      </a:lnTo>
                      <a:lnTo>
                        <a:pt x="38" y="62"/>
                      </a:lnTo>
                      <a:lnTo>
                        <a:pt x="34" y="63"/>
                      </a:lnTo>
                      <a:lnTo>
                        <a:pt x="31" y="63"/>
                      </a:lnTo>
                      <a:lnTo>
                        <a:pt x="28" y="60"/>
                      </a:lnTo>
                      <a:lnTo>
                        <a:pt x="23" y="60"/>
                      </a:lnTo>
                      <a:lnTo>
                        <a:pt x="21" y="58"/>
                      </a:lnTo>
                      <a:lnTo>
                        <a:pt x="20" y="52"/>
                      </a:lnTo>
                      <a:lnTo>
                        <a:pt x="16" y="49"/>
                      </a:lnTo>
                      <a:lnTo>
                        <a:pt x="15" y="49"/>
                      </a:lnTo>
                      <a:lnTo>
                        <a:pt x="11" y="50"/>
                      </a:lnTo>
                      <a:lnTo>
                        <a:pt x="10" y="47"/>
                      </a:lnTo>
                      <a:lnTo>
                        <a:pt x="7" y="47"/>
                      </a:lnTo>
                      <a:lnTo>
                        <a:pt x="7" y="49"/>
                      </a:lnTo>
                      <a:lnTo>
                        <a:pt x="7" y="50"/>
                      </a:lnTo>
                      <a:lnTo>
                        <a:pt x="5" y="50"/>
                      </a:lnTo>
                      <a:lnTo>
                        <a:pt x="3" y="50"/>
                      </a:lnTo>
                      <a:lnTo>
                        <a:pt x="0" y="47"/>
                      </a:lnTo>
                      <a:lnTo>
                        <a:pt x="2" y="45"/>
                      </a:lnTo>
                      <a:lnTo>
                        <a:pt x="5" y="44"/>
                      </a:lnTo>
                      <a:lnTo>
                        <a:pt x="5" y="42"/>
                      </a:lnTo>
                      <a:lnTo>
                        <a:pt x="5" y="37"/>
                      </a:lnTo>
                      <a:lnTo>
                        <a:pt x="5" y="34"/>
                      </a:lnTo>
                      <a:lnTo>
                        <a:pt x="8" y="31"/>
                      </a:lnTo>
                      <a:lnTo>
                        <a:pt x="8" y="27"/>
                      </a:lnTo>
                      <a:lnTo>
                        <a:pt x="5" y="27"/>
                      </a:lnTo>
                      <a:lnTo>
                        <a:pt x="2" y="26"/>
                      </a:lnTo>
                      <a:lnTo>
                        <a:pt x="2" y="24"/>
                      </a:lnTo>
                      <a:lnTo>
                        <a:pt x="3" y="19"/>
                      </a:lnTo>
                      <a:lnTo>
                        <a:pt x="7" y="16"/>
                      </a:lnTo>
                      <a:lnTo>
                        <a:pt x="10" y="14"/>
                      </a:lnTo>
                      <a:lnTo>
                        <a:pt x="11" y="13"/>
                      </a:lnTo>
                      <a:lnTo>
                        <a:pt x="11" y="9"/>
                      </a:lnTo>
                      <a:lnTo>
                        <a:pt x="16" y="8"/>
                      </a:lnTo>
                      <a:lnTo>
                        <a:pt x="21" y="5"/>
                      </a:lnTo>
                      <a:lnTo>
                        <a:pt x="23" y="1"/>
                      </a:lnTo>
                      <a:lnTo>
                        <a:pt x="25" y="0"/>
                      </a:lnTo>
                      <a:lnTo>
                        <a:pt x="29" y="1"/>
                      </a:lnTo>
                      <a:lnTo>
                        <a:pt x="34" y="5"/>
                      </a:lnTo>
                      <a:lnTo>
                        <a:pt x="39" y="11"/>
                      </a:lnTo>
                      <a:lnTo>
                        <a:pt x="41" y="14"/>
                      </a:lnTo>
                      <a:lnTo>
                        <a:pt x="39" y="19"/>
                      </a:lnTo>
                      <a:lnTo>
                        <a:pt x="41" y="21"/>
                      </a:lnTo>
                      <a:lnTo>
                        <a:pt x="39" y="24"/>
                      </a:lnTo>
                      <a:lnTo>
                        <a:pt x="38" y="26"/>
                      </a:lnTo>
                      <a:lnTo>
                        <a:pt x="39" y="29"/>
                      </a:lnTo>
                      <a:lnTo>
                        <a:pt x="41" y="27"/>
                      </a:lnTo>
                      <a:lnTo>
                        <a:pt x="43" y="22"/>
                      </a:lnTo>
                      <a:lnTo>
                        <a:pt x="43" y="19"/>
                      </a:lnTo>
                      <a:lnTo>
                        <a:pt x="43" y="16"/>
                      </a:lnTo>
                      <a:lnTo>
                        <a:pt x="44" y="14"/>
                      </a:lnTo>
                      <a:lnTo>
                        <a:pt x="44" y="13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3"/>
                      </a:lnTo>
                      <a:lnTo>
                        <a:pt x="46" y="1"/>
                      </a:lnTo>
                      <a:lnTo>
                        <a:pt x="51" y="3"/>
                      </a:lnTo>
                      <a:lnTo>
                        <a:pt x="60" y="11"/>
                      </a:lnTo>
                      <a:lnTo>
                        <a:pt x="62" y="11"/>
                      </a:lnTo>
                      <a:lnTo>
                        <a:pt x="64" y="13"/>
                      </a:lnTo>
                      <a:lnTo>
                        <a:pt x="64" y="16"/>
                      </a:lnTo>
                      <a:lnTo>
                        <a:pt x="67" y="18"/>
                      </a:lnTo>
                      <a:lnTo>
                        <a:pt x="69" y="22"/>
                      </a:lnTo>
                      <a:lnTo>
                        <a:pt x="69" y="27"/>
                      </a:lnTo>
                      <a:lnTo>
                        <a:pt x="72" y="32"/>
                      </a:lnTo>
                      <a:lnTo>
                        <a:pt x="75" y="37"/>
                      </a:lnTo>
                      <a:lnTo>
                        <a:pt x="75" y="39"/>
                      </a:lnTo>
                      <a:lnTo>
                        <a:pt x="74" y="39"/>
                      </a:lnTo>
                      <a:lnTo>
                        <a:pt x="70" y="37"/>
                      </a:lnTo>
                      <a:lnTo>
                        <a:pt x="69" y="37"/>
                      </a:lnTo>
                      <a:lnTo>
                        <a:pt x="69" y="40"/>
                      </a:lnTo>
                      <a:lnTo>
                        <a:pt x="74" y="44"/>
                      </a:lnTo>
                      <a:lnTo>
                        <a:pt x="77" y="44"/>
                      </a:lnTo>
                      <a:lnTo>
                        <a:pt x="80" y="49"/>
                      </a:lnTo>
                      <a:lnTo>
                        <a:pt x="83" y="49"/>
                      </a:lnTo>
                      <a:lnTo>
                        <a:pt x="87" y="54"/>
                      </a:lnTo>
                      <a:lnTo>
                        <a:pt x="87" y="5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6" name="Freeform 110">
                  <a:extLst>
                    <a:ext uri="{FF2B5EF4-FFF2-40B4-BE49-F238E27FC236}">
                      <a16:creationId xmlns:a16="http://schemas.microsoft.com/office/drawing/2014/main" xmlns="" id="{66D5CA34-03A8-402B-A9DD-89D1CCC448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5" y="57"/>
                  <a:ext cx="8" cy="12"/>
                </a:xfrm>
                <a:custGeom>
                  <a:avLst/>
                  <a:gdLst>
                    <a:gd name="T0" fmla="*/ 0 w 8"/>
                    <a:gd name="T1" fmla="*/ 12 h 12"/>
                    <a:gd name="T2" fmla="*/ 1 w 8"/>
                    <a:gd name="T3" fmla="*/ 5 h 12"/>
                    <a:gd name="T4" fmla="*/ 6 w 8"/>
                    <a:gd name="T5" fmla="*/ 0 h 12"/>
                    <a:gd name="T6" fmla="*/ 8 w 8"/>
                    <a:gd name="T7" fmla="*/ 2 h 12"/>
                    <a:gd name="T8" fmla="*/ 8 w 8"/>
                    <a:gd name="T9" fmla="*/ 3 h 12"/>
                    <a:gd name="T10" fmla="*/ 8 w 8"/>
                    <a:gd name="T11" fmla="*/ 5 h 12"/>
                    <a:gd name="T12" fmla="*/ 6 w 8"/>
                    <a:gd name="T13" fmla="*/ 7 h 12"/>
                    <a:gd name="T14" fmla="*/ 5 w 8"/>
                    <a:gd name="T15" fmla="*/ 10 h 12"/>
                    <a:gd name="T16" fmla="*/ 0 w 8"/>
                    <a:gd name="T17" fmla="*/ 12 h 12"/>
                    <a:gd name="T18" fmla="*/ 0 w 8"/>
                    <a:gd name="T1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12">
                      <a:moveTo>
                        <a:pt x="0" y="12"/>
                      </a:moveTo>
                      <a:lnTo>
                        <a:pt x="1" y="5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6" y="7"/>
                      </a:lnTo>
                      <a:lnTo>
                        <a:pt x="5" y="10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7" name="Freeform 111">
                  <a:extLst>
                    <a:ext uri="{FF2B5EF4-FFF2-40B4-BE49-F238E27FC236}">
                      <a16:creationId xmlns:a16="http://schemas.microsoft.com/office/drawing/2014/main" xmlns="" id="{5B3E7858-EBD7-4239-9311-44C659410E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9" y="123"/>
                  <a:ext cx="60" cy="24"/>
                </a:xfrm>
                <a:custGeom>
                  <a:avLst/>
                  <a:gdLst>
                    <a:gd name="T0" fmla="*/ 0 w 60"/>
                    <a:gd name="T1" fmla="*/ 1 h 24"/>
                    <a:gd name="T2" fmla="*/ 2 w 60"/>
                    <a:gd name="T3" fmla="*/ 6 h 24"/>
                    <a:gd name="T4" fmla="*/ 7 w 60"/>
                    <a:gd name="T5" fmla="*/ 14 h 24"/>
                    <a:gd name="T6" fmla="*/ 8 w 60"/>
                    <a:gd name="T7" fmla="*/ 18 h 24"/>
                    <a:gd name="T8" fmla="*/ 20 w 60"/>
                    <a:gd name="T9" fmla="*/ 21 h 24"/>
                    <a:gd name="T10" fmla="*/ 28 w 60"/>
                    <a:gd name="T11" fmla="*/ 21 h 24"/>
                    <a:gd name="T12" fmla="*/ 33 w 60"/>
                    <a:gd name="T13" fmla="*/ 24 h 24"/>
                    <a:gd name="T14" fmla="*/ 39 w 60"/>
                    <a:gd name="T15" fmla="*/ 24 h 24"/>
                    <a:gd name="T16" fmla="*/ 43 w 60"/>
                    <a:gd name="T17" fmla="*/ 22 h 24"/>
                    <a:gd name="T18" fmla="*/ 47 w 60"/>
                    <a:gd name="T19" fmla="*/ 24 h 24"/>
                    <a:gd name="T20" fmla="*/ 51 w 60"/>
                    <a:gd name="T21" fmla="*/ 24 h 24"/>
                    <a:gd name="T22" fmla="*/ 57 w 60"/>
                    <a:gd name="T23" fmla="*/ 19 h 24"/>
                    <a:gd name="T24" fmla="*/ 57 w 60"/>
                    <a:gd name="T25" fmla="*/ 16 h 24"/>
                    <a:gd name="T26" fmla="*/ 60 w 60"/>
                    <a:gd name="T27" fmla="*/ 11 h 24"/>
                    <a:gd name="T28" fmla="*/ 59 w 60"/>
                    <a:gd name="T29" fmla="*/ 8 h 24"/>
                    <a:gd name="T30" fmla="*/ 56 w 60"/>
                    <a:gd name="T31" fmla="*/ 6 h 24"/>
                    <a:gd name="T32" fmla="*/ 54 w 60"/>
                    <a:gd name="T33" fmla="*/ 6 h 24"/>
                    <a:gd name="T34" fmla="*/ 52 w 60"/>
                    <a:gd name="T35" fmla="*/ 4 h 24"/>
                    <a:gd name="T36" fmla="*/ 54 w 60"/>
                    <a:gd name="T37" fmla="*/ 3 h 24"/>
                    <a:gd name="T38" fmla="*/ 52 w 60"/>
                    <a:gd name="T39" fmla="*/ 0 h 24"/>
                    <a:gd name="T40" fmla="*/ 49 w 60"/>
                    <a:gd name="T41" fmla="*/ 1 h 24"/>
                    <a:gd name="T42" fmla="*/ 44 w 60"/>
                    <a:gd name="T43" fmla="*/ 1 h 24"/>
                    <a:gd name="T44" fmla="*/ 36 w 60"/>
                    <a:gd name="T45" fmla="*/ 3 h 24"/>
                    <a:gd name="T46" fmla="*/ 33 w 60"/>
                    <a:gd name="T47" fmla="*/ 6 h 24"/>
                    <a:gd name="T48" fmla="*/ 29 w 60"/>
                    <a:gd name="T49" fmla="*/ 6 h 24"/>
                    <a:gd name="T50" fmla="*/ 28 w 60"/>
                    <a:gd name="T51" fmla="*/ 4 h 24"/>
                    <a:gd name="T52" fmla="*/ 26 w 60"/>
                    <a:gd name="T53" fmla="*/ 1 h 24"/>
                    <a:gd name="T54" fmla="*/ 25 w 60"/>
                    <a:gd name="T55" fmla="*/ 1 h 24"/>
                    <a:gd name="T56" fmla="*/ 21 w 60"/>
                    <a:gd name="T57" fmla="*/ 3 h 24"/>
                    <a:gd name="T58" fmla="*/ 16 w 60"/>
                    <a:gd name="T59" fmla="*/ 3 h 24"/>
                    <a:gd name="T60" fmla="*/ 13 w 60"/>
                    <a:gd name="T61" fmla="*/ 1 h 24"/>
                    <a:gd name="T62" fmla="*/ 13 w 60"/>
                    <a:gd name="T63" fmla="*/ 4 h 24"/>
                    <a:gd name="T64" fmla="*/ 11 w 60"/>
                    <a:gd name="T65" fmla="*/ 6 h 24"/>
                    <a:gd name="T66" fmla="*/ 5 w 60"/>
                    <a:gd name="T67" fmla="*/ 6 h 24"/>
                    <a:gd name="T68" fmla="*/ 3 w 60"/>
                    <a:gd name="T69" fmla="*/ 3 h 24"/>
                    <a:gd name="T70" fmla="*/ 3 w 60"/>
                    <a:gd name="T71" fmla="*/ 1 h 24"/>
                    <a:gd name="T72" fmla="*/ 0 w 60"/>
                    <a:gd name="T73" fmla="*/ 1 h 24"/>
                    <a:gd name="T74" fmla="*/ 0 w 60"/>
                    <a:gd name="T75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60" h="24">
                      <a:moveTo>
                        <a:pt x="0" y="1"/>
                      </a:moveTo>
                      <a:lnTo>
                        <a:pt x="2" y="6"/>
                      </a:lnTo>
                      <a:lnTo>
                        <a:pt x="7" y="14"/>
                      </a:lnTo>
                      <a:lnTo>
                        <a:pt x="8" y="18"/>
                      </a:lnTo>
                      <a:lnTo>
                        <a:pt x="20" y="21"/>
                      </a:lnTo>
                      <a:lnTo>
                        <a:pt x="28" y="21"/>
                      </a:lnTo>
                      <a:lnTo>
                        <a:pt x="33" y="24"/>
                      </a:lnTo>
                      <a:lnTo>
                        <a:pt x="39" y="24"/>
                      </a:lnTo>
                      <a:lnTo>
                        <a:pt x="43" y="22"/>
                      </a:lnTo>
                      <a:lnTo>
                        <a:pt x="47" y="24"/>
                      </a:lnTo>
                      <a:lnTo>
                        <a:pt x="51" y="24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60" y="11"/>
                      </a:lnTo>
                      <a:lnTo>
                        <a:pt x="59" y="8"/>
                      </a:lnTo>
                      <a:lnTo>
                        <a:pt x="56" y="6"/>
                      </a:lnTo>
                      <a:lnTo>
                        <a:pt x="54" y="6"/>
                      </a:lnTo>
                      <a:lnTo>
                        <a:pt x="52" y="4"/>
                      </a:lnTo>
                      <a:lnTo>
                        <a:pt x="54" y="3"/>
                      </a:lnTo>
                      <a:lnTo>
                        <a:pt x="52" y="0"/>
                      </a:lnTo>
                      <a:lnTo>
                        <a:pt x="49" y="1"/>
                      </a:lnTo>
                      <a:lnTo>
                        <a:pt x="44" y="1"/>
                      </a:lnTo>
                      <a:lnTo>
                        <a:pt x="36" y="3"/>
                      </a:lnTo>
                      <a:lnTo>
                        <a:pt x="33" y="6"/>
                      </a:lnTo>
                      <a:lnTo>
                        <a:pt x="29" y="6"/>
                      </a:lnTo>
                      <a:lnTo>
                        <a:pt x="28" y="4"/>
                      </a:lnTo>
                      <a:lnTo>
                        <a:pt x="26" y="1"/>
                      </a:lnTo>
                      <a:lnTo>
                        <a:pt x="25" y="1"/>
                      </a:lnTo>
                      <a:lnTo>
                        <a:pt x="21" y="3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13" y="4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8" name="Freeform 112">
                  <a:extLst>
                    <a:ext uri="{FF2B5EF4-FFF2-40B4-BE49-F238E27FC236}">
                      <a16:creationId xmlns:a16="http://schemas.microsoft.com/office/drawing/2014/main" xmlns="" id="{FEAC3E90-BB63-4800-99A5-8FA3888659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9" y="157"/>
                  <a:ext cx="19" cy="28"/>
                </a:xfrm>
                <a:custGeom>
                  <a:avLst/>
                  <a:gdLst>
                    <a:gd name="T0" fmla="*/ 19 w 19"/>
                    <a:gd name="T1" fmla="*/ 23 h 28"/>
                    <a:gd name="T2" fmla="*/ 16 w 19"/>
                    <a:gd name="T3" fmla="*/ 15 h 28"/>
                    <a:gd name="T4" fmla="*/ 14 w 19"/>
                    <a:gd name="T5" fmla="*/ 10 h 28"/>
                    <a:gd name="T6" fmla="*/ 11 w 19"/>
                    <a:gd name="T7" fmla="*/ 8 h 28"/>
                    <a:gd name="T8" fmla="*/ 6 w 19"/>
                    <a:gd name="T9" fmla="*/ 8 h 28"/>
                    <a:gd name="T10" fmla="*/ 3 w 19"/>
                    <a:gd name="T11" fmla="*/ 3 h 28"/>
                    <a:gd name="T12" fmla="*/ 1 w 19"/>
                    <a:gd name="T13" fmla="*/ 2 h 28"/>
                    <a:gd name="T14" fmla="*/ 0 w 19"/>
                    <a:gd name="T15" fmla="*/ 0 h 28"/>
                    <a:gd name="T16" fmla="*/ 0 w 19"/>
                    <a:gd name="T17" fmla="*/ 3 h 28"/>
                    <a:gd name="T18" fmla="*/ 3 w 19"/>
                    <a:gd name="T19" fmla="*/ 8 h 28"/>
                    <a:gd name="T20" fmla="*/ 6 w 19"/>
                    <a:gd name="T21" fmla="*/ 13 h 28"/>
                    <a:gd name="T22" fmla="*/ 11 w 19"/>
                    <a:gd name="T23" fmla="*/ 19 h 28"/>
                    <a:gd name="T24" fmla="*/ 14 w 19"/>
                    <a:gd name="T25" fmla="*/ 26 h 28"/>
                    <a:gd name="T26" fmla="*/ 18 w 19"/>
                    <a:gd name="T27" fmla="*/ 28 h 28"/>
                    <a:gd name="T28" fmla="*/ 19 w 19"/>
                    <a:gd name="T29" fmla="*/ 26 h 28"/>
                    <a:gd name="T30" fmla="*/ 19 w 19"/>
                    <a:gd name="T31" fmla="*/ 23 h 28"/>
                    <a:gd name="T32" fmla="*/ 19 w 19"/>
                    <a:gd name="T33" fmla="*/ 23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28">
                      <a:moveTo>
                        <a:pt x="19" y="23"/>
                      </a:moveTo>
                      <a:lnTo>
                        <a:pt x="16" y="15"/>
                      </a:lnTo>
                      <a:lnTo>
                        <a:pt x="14" y="10"/>
                      </a:lnTo>
                      <a:lnTo>
                        <a:pt x="11" y="8"/>
                      </a:lnTo>
                      <a:lnTo>
                        <a:pt x="6" y="8"/>
                      </a:lnTo>
                      <a:lnTo>
                        <a:pt x="3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1" y="19"/>
                      </a:lnTo>
                      <a:lnTo>
                        <a:pt x="14" y="26"/>
                      </a:lnTo>
                      <a:lnTo>
                        <a:pt x="18" y="28"/>
                      </a:lnTo>
                      <a:lnTo>
                        <a:pt x="19" y="26"/>
                      </a:lnTo>
                      <a:lnTo>
                        <a:pt x="19" y="23"/>
                      </a:lnTo>
                      <a:lnTo>
                        <a:pt x="19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49" name="Freeform 113">
                  <a:extLst>
                    <a:ext uri="{FF2B5EF4-FFF2-40B4-BE49-F238E27FC236}">
                      <a16:creationId xmlns:a16="http://schemas.microsoft.com/office/drawing/2014/main" xmlns="" id="{56F1C0A7-B04E-4693-9EF2-04CDE4B78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5" y="119"/>
                  <a:ext cx="103" cy="80"/>
                </a:xfrm>
                <a:custGeom>
                  <a:avLst/>
                  <a:gdLst>
                    <a:gd name="T0" fmla="*/ 60 w 103"/>
                    <a:gd name="T1" fmla="*/ 66 h 80"/>
                    <a:gd name="T2" fmla="*/ 62 w 103"/>
                    <a:gd name="T3" fmla="*/ 62 h 80"/>
                    <a:gd name="T4" fmla="*/ 69 w 103"/>
                    <a:gd name="T5" fmla="*/ 69 h 80"/>
                    <a:gd name="T6" fmla="*/ 73 w 103"/>
                    <a:gd name="T7" fmla="*/ 66 h 80"/>
                    <a:gd name="T8" fmla="*/ 85 w 103"/>
                    <a:gd name="T9" fmla="*/ 53 h 80"/>
                    <a:gd name="T10" fmla="*/ 88 w 103"/>
                    <a:gd name="T11" fmla="*/ 54 h 80"/>
                    <a:gd name="T12" fmla="*/ 96 w 103"/>
                    <a:gd name="T13" fmla="*/ 54 h 80"/>
                    <a:gd name="T14" fmla="*/ 103 w 103"/>
                    <a:gd name="T15" fmla="*/ 46 h 80"/>
                    <a:gd name="T16" fmla="*/ 93 w 103"/>
                    <a:gd name="T17" fmla="*/ 48 h 80"/>
                    <a:gd name="T18" fmla="*/ 82 w 103"/>
                    <a:gd name="T19" fmla="*/ 41 h 80"/>
                    <a:gd name="T20" fmla="*/ 72 w 103"/>
                    <a:gd name="T21" fmla="*/ 35 h 80"/>
                    <a:gd name="T22" fmla="*/ 69 w 103"/>
                    <a:gd name="T23" fmla="*/ 25 h 80"/>
                    <a:gd name="T24" fmla="*/ 62 w 103"/>
                    <a:gd name="T25" fmla="*/ 17 h 80"/>
                    <a:gd name="T26" fmla="*/ 62 w 103"/>
                    <a:gd name="T27" fmla="*/ 12 h 80"/>
                    <a:gd name="T28" fmla="*/ 64 w 103"/>
                    <a:gd name="T29" fmla="*/ 8 h 80"/>
                    <a:gd name="T30" fmla="*/ 54 w 103"/>
                    <a:gd name="T31" fmla="*/ 5 h 80"/>
                    <a:gd name="T32" fmla="*/ 44 w 103"/>
                    <a:gd name="T33" fmla="*/ 2 h 80"/>
                    <a:gd name="T34" fmla="*/ 46 w 103"/>
                    <a:gd name="T35" fmla="*/ 5 h 80"/>
                    <a:gd name="T36" fmla="*/ 46 w 103"/>
                    <a:gd name="T37" fmla="*/ 8 h 80"/>
                    <a:gd name="T38" fmla="*/ 39 w 103"/>
                    <a:gd name="T39" fmla="*/ 10 h 80"/>
                    <a:gd name="T40" fmla="*/ 44 w 103"/>
                    <a:gd name="T41" fmla="*/ 22 h 80"/>
                    <a:gd name="T42" fmla="*/ 47 w 103"/>
                    <a:gd name="T43" fmla="*/ 30 h 80"/>
                    <a:gd name="T44" fmla="*/ 39 w 103"/>
                    <a:gd name="T45" fmla="*/ 22 h 80"/>
                    <a:gd name="T46" fmla="*/ 33 w 103"/>
                    <a:gd name="T47" fmla="*/ 22 h 80"/>
                    <a:gd name="T48" fmla="*/ 28 w 103"/>
                    <a:gd name="T49" fmla="*/ 17 h 80"/>
                    <a:gd name="T50" fmla="*/ 20 w 103"/>
                    <a:gd name="T51" fmla="*/ 10 h 80"/>
                    <a:gd name="T52" fmla="*/ 11 w 103"/>
                    <a:gd name="T53" fmla="*/ 7 h 80"/>
                    <a:gd name="T54" fmla="*/ 6 w 103"/>
                    <a:gd name="T55" fmla="*/ 15 h 80"/>
                    <a:gd name="T56" fmla="*/ 5 w 103"/>
                    <a:gd name="T57" fmla="*/ 23 h 80"/>
                    <a:gd name="T58" fmla="*/ 5 w 103"/>
                    <a:gd name="T59" fmla="*/ 35 h 80"/>
                    <a:gd name="T60" fmla="*/ 8 w 103"/>
                    <a:gd name="T61" fmla="*/ 38 h 80"/>
                    <a:gd name="T62" fmla="*/ 8 w 103"/>
                    <a:gd name="T63" fmla="*/ 41 h 80"/>
                    <a:gd name="T64" fmla="*/ 11 w 103"/>
                    <a:gd name="T65" fmla="*/ 49 h 80"/>
                    <a:gd name="T66" fmla="*/ 16 w 103"/>
                    <a:gd name="T67" fmla="*/ 53 h 80"/>
                    <a:gd name="T68" fmla="*/ 21 w 103"/>
                    <a:gd name="T69" fmla="*/ 54 h 80"/>
                    <a:gd name="T70" fmla="*/ 20 w 103"/>
                    <a:gd name="T71" fmla="*/ 56 h 80"/>
                    <a:gd name="T72" fmla="*/ 16 w 103"/>
                    <a:gd name="T73" fmla="*/ 61 h 80"/>
                    <a:gd name="T74" fmla="*/ 36 w 103"/>
                    <a:gd name="T75" fmla="*/ 69 h 80"/>
                    <a:gd name="T76" fmla="*/ 42 w 103"/>
                    <a:gd name="T77" fmla="*/ 77 h 80"/>
                    <a:gd name="T78" fmla="*/ 54 w 103"/>
                    <a:gd name="T79" fmla="*/ 77 h 80"/>
                    <a:gd name="T80" fmla="*/ 65 w 103"/>
                    <a:gd name="T81" fmla="*/ 79 h 80"/>
                    <a:gd name="T82" fmla="*/ 64 w 103"/>
                    <a:gd name="T83" fmla="*/ 7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03" h="80">
                      <a:moveTo>
                        <a:pt x="64" y="67"/>
                      </a:moveTo>
                      <a:lnTo>
                        <a:pt x="62" y="67"/>
                      </a:lnTo>
                      <a:lnTo>
                        <a:pt x="60" y="66"/>
                      </a:lnTo>
                      <a:lnTo>
                        <a:pt x="60" y="64"/>
                      </a:lnTo>
                      <a:lnTo>
                        <a:pt x="60" y="62"/>
                      </a:lnTo>
                      <a:lnTo>
                        <a:pt x="62" y="62"/>
                      </a:lnTo>
                      <a:lnTo>
                        <a:pt x="64" y="66"/>
                      </a:lnTo>
                      <a:lnTo>
                        <a:pt x="67" y="66"/>
                      </a:lnTo>
                      <a:lnTo>
                        <a:pt x="69" y="69"/>
                      </a:lnTo>
                      <a:lnTo>
                        <a:pt x="69" y="71"/>
                      </a:lnTo>
                      <a:lnTo>
                        <a:pt x="70" y="69"/>
                      </a:lnTo>
                      <a:lnTo>
                        <a:pt x="73" y="66"/>
                      </a:lnTo>
                      <a:lnTo>
                        <a:pt x="77" y="59"/>
                      </a:lnTo>
                      <a:lnTo>
                        <a:pt x="82" y="54"/>
                      </a:lnTo>
                      <a:lnTo>
                        <a:pt x="85" y="53"/>
                      </a:lnTo>
                      <a:lnTo>
                        <a:pt x="88" y="51"/>
                      </a:lnTo>
                      <a:lnTo>
                        <a:pt x="90" y="51"/>
                      </a:lnTo>
                      <a:lnTo>
                        <a:pt x="88" y="54"/>
                      </a:lnTo>
                      <a:lnTo>
                        <a:pt x="91" y="54"/>
                      </a:lnTo>
                      <a:lnTo>
                        <a:pt x="93" y="56"/>
                      </a:lnTo>
                      <a:lnTo>
                        <a:pt x="96" y="54"/>
                      </a:lnTo>
                      <a:lnTo>
                        <a:pt x="96" y="51"/>
                      </a:lnTo>
                      <a:lnTo>
                        <a:pt x="101" y="49"/>
                      </a:lnTo>
                      <a:lnTo>
                        <a:pt x="103" y="46"/>
                      </a:lnTo>
                      <a:lnTo>
                        <a:pt x="103" y="44"/>
                      </a:lnTo>
                      <a:lnTo>
                        <a:pt x="98" y="46"/>
                      </a:lnTo>
                      <a:lnTo>
                        <a:pt x="93" y="48"/>
                      </a:lnTo>
                      <a:lnTo>
                        <a:pt x="90" y="44"/>
                      </a:lnTo>
                      <a:lnTo>
                        <a:pt x="83" y="43"/>
                      </a:lnTo>
                      <a:lnTo>
                        <a:pt x="82" y="41"/>
                      </a:lnTo>
                      <a:lnTo>
                        <a:pt x="78" y="41"/>
                      </a:lnTo>
                      <a:lnTo>
                        <a:pt x="77" y="40"/>
                      </a:lnTo>
                      <a:lnTo>
                        <a:pt x="72" y="35"/>
                      </a:lnTo>
                      <a:lnTo>
                        <a:pt x="70" y="33"/>
                      </a:lnTo>
                      <a:lnTo>
                        <a:pt x="69" y="28"/>
                      </a:lnTo>
                      <a:lnTo>
                        <a:pt x="69" y="25"/>
                      </a:lnTo>
                      <a:lnTo>
                        <a:pt x="65" y="22"/>
                      </a:lnTo>
                      <a:lnTo>
                        <a:pt x="65" y="18"/>
                      </a:lnTo>
                      <a:lnTo>
                        <a:pt x="62" y="17"/>
                      </a:lnTo>
                      <a:lnTo>
                        <a:pt x="62" y="15"/>
                      </a:lnTo>
                      <a:lnTo>
                        <a:pt x="64" y="15"/>
                      </a:lnTo>
                      <a:lnTo>
                        <a:pt x="62" y="12"/>
                      </a:lnTo>
                      <a:lnTo>
                        <a:pt x="64" y="12"/>
                      </a:lnTo>
                      <a:lnTo>
                        <a:pt x="65" y="10"/>
                      </a:lnTo>
                      <a:lnTo>
                        <a:pt x="64" y="8"/>
                      </a:lnTo>
                      <a:lnTo>
                        <a:pt x="64" y="7"/>
                      </a:lnTo>
                      <a:lnTo>
                        <a:pt x="60" y="5"/>
                      </a:lnTo>
                      <a:lnTo>
                        <a:pt x="54" y="5"/>
                      </a:lnTo>
                      <a:lnTo>
                        <a:pt x="51" y="4"/>
                      </a:lnTo>
                      <a:lnTo>
                        <a:pt x="47" y="2"/>
                      </a:lnTo>
                      <a:lnTo>
                        <a:pt x="44" y="2"/>
                      </a:lnTo>
                      <a:lnTo>
                        <a:pt x="41" y="0"/>
                      </a:lnTo>
                      <a:lnTo>
                        <a:pt x="41" y="2"/>
                      </a:lnTo>
                      <a:lnTo>
                        <a:pt x="46" y="5"/>
                      </a:lnTo>
                      <a:lnTo>
                        <a:pt x="47" y="7"/>
                      </a:lnTo>
                      <a:lnTo>
                        <a:pt x="49" y="8"/>
                      </a:lnTo>
                      <a:lnTo>
                        <a:pt x="46" y="8"/>
                      </a:lnTo>
                      <a:lnTo>
                        <a:pt x="44" y="7"/>
                      </a:lnTo>
                      <a:lnTo>
                        <a:pt x="41" y="7"/>
                      </a:lnTo>
                      <a:lnTo>
                        <a:pt x="39" y="10"/>
                      </a:lnTo>
                      <a:lnTo>
                        <a:pt x="41" y="13"/>
                      </a:lnTo>
                      <a:lnTo>
                        <a:pt x="42" y="17"/>
                      </a:lnTo>
                      <a:lnTo>
                        <a:pt x="44" y="22"/>
                      </a:lnTo>
                      <a:lnTo>
                        <a:pt x="49" y="26"/>
                      </a:lnTo>
                      <a:lnTo>
                        <a:pt x="49" y="28"/>
                      </a:lnTo>
                      <a:lnTo>
                        <a:pt x="47" y="30"/>
                      </a:lnTo>
                      <a:lnTo>
                        <a:pt x="44" y="30"/>
                      </a:lnTo>
                      <a:lnTo>
                        <a:pt x="41" y="26"/>
                      </a:lnTo>
                      <a:lnTo>
                        <a:pt x="39" y="22"/>
                      </a:lnTo>
                      <a:lnTo>
                        <a:pt x="36" y="20"/>
                      </a:lnTo>
                      <a:lnTo>
                        <a:pt x="34" y="22"/>
                      </a:lnTo>
                      <a:lnTo>
                        <a:pt x="33" y="22"/>
                      </a:lnTo>
                      <a:lnTo>
                        <a:pt x="31" y="22"/>
                      </a:lnTo>
                      <a:lnTo>
                        <a:pt x="28" y="20"/>
                      </a:lnTo>
                      <a:lnTo>
                        <a:pt x="28" y="17"/>
                      </a:lnTo>
                      <a:lnTo>
                        <a:pt x="26" y="15"/>
                      </a:lnTo>
                      <a:lnTo>
                        <a:pt x="23" y="13"/>
                      </a:lnTo>
                      <a:lnTo>
                        <a:pt x="20" y="10"/>
                      </a:lnTo>
                      <a:lnTo>
                        <a:pt x="15" y="10"/>
                      </a:lnTo>
                      <a:lnTo>
                        <a:pt x="13" y="8"/>
                      </a:lnTo>
                      <a:lnTo>
                        <a:pt x="11" y="7"/>
                      </a:lnTo>
                      <a:lnTo>
                        <a:pt x="8" y="8"/>
                      </a:lnTo>
                      <a:lnTo>
                        <a:pt x="6" y="10"/>
                      </a:lnTo>
                      <a:lnTo>
                        <a:pt x="6" y="15"/>
                      </a:lnTo>
                      <a:lnTo>
                        <a:pt x="5" y="15"/>
                      </a:lnTo>
                      <a:lnTo>
                        <a:pt x="5" y="20"/>
                      </a:lnTo>
                      <a:lnTo>
                        <a:pt x="5" y="23"/>
                      </a:lnTo>
                      <a:lnTo>
                        <a:pt x="2" y="26"/>
                      </a:lnTo>
                      <a:lnTo>
                        <a:pt x="0" y="28"/>
                      </a:lnTo>
                      <a:lnTo>
                        <a:pt x="5" y="35"/>
                      </a:lnTo>
                      <a:lnTo>
                        <a:pt x="6" y="35"/>
                      </a:lnTo>
                      <a:lnTo>
                        <a:pt x="8" y="36"/>
                      </a:lnTo>
                      <a:lnTo>
                        <a:pt x="8" y="38"/>
                      </a:lnTo>
                      <a:lnTo>
                        <a:pt x="5" y="38"/>
                      </a:lnTo>
                      <a:lnTo>
                        <a:pt x="6" y="41"/>
                      </a:lnTo>
                      <a:lnTo>
                        <a:pt x="8" y="41"/>
                      </a:lnTo>
                      <a:lnTo>
                        <a:pt x="10" y="44"/>
                      </a:lnTo>
                      <a:lnTo>
                        <a:pt x="10" y="46"/>
                      </a:lnTo>
                      <a:lnTo>
                        <a:pt x="11" y="49"/>
                      </a:lnTo>
                      <a:lnTo>
                        <a:pt x="15" y="49"/>
                      </a:lnTo>
                      <a:lnTo>
                        <a:pt x="16" y="51"/>
                      </a:lnTo>
                      <a:lnTo>
                        <a:pt x="16" y="53"/>
                      </a:lnTo>
                      <a:lnTo>
                        <a:pt x="16" y="54"/>
                      </a:lnTo>
                      <a:lnTo>
                        <a:pt x="18" y="54"/>
                      </a:lnTo>
                      <a:lnTo>
                        <a:pt x="21" y="54"/>
                      </a:lnTo>
                      <a:lnTo>
                        <a:pt x="21" y="56"/>
                      </a:lnTo>
                      <a:lnTo>
                        <a:pt x="20" y="57"/>
                      </a:lnTo>
                      <a:lnTo>
                        <a:pt x="20" y="56"/>
                      </a:lnTo>
                      <a:lnTo>
                        <a:pt x="16" y="56"/>
                      </a:lnTo>
                      <a:lnTo>
                        <a:pt x="16" y="59"/>
                      </a:lnTo>
                      <a:lnTo>
                        <a:pt x="16" y="61"/>
                      </a:lnTo>
                      <a:lnTo>
                        <a:pt x="26" y="67"/>
                      </a:lnTo>
                      <a:lnTo>
                        <a:pt x="31" y="71"/>
                      </a:lnTo>
                      <a:lnTo>
                        <a:pt x="36" y="69"/>
                      </a:lnTo>
                      <a:lnTo>
                        <a:pt x="39" y="72"/>
                      </a:lnTo>
                      <a:lnTo>
                        <a:pt x="41" y="74"/>
                      </a:lnTo>
                      <a:lnTo>
                        <a:pt x="42" y="77"/>
                      </a:lnTo>
                      <a:lnTo>
                        <a:pt x="46" y="80"/>
                      </a:lnTo>
                      <a:lnTo>
                        <a:pt x="49" y="79"/>
                      </a:lnTo>
                      <a:lnTo>
                        <a:pt x="54" y="77"/>
                      </a:lnTo>
                      <a:lnTo>
                        <a:pt x="59" y="79"/>
                      </a:lnTo>
                      <a:lnTo>
                        <a:pt x="62" y="80"/>
                      </a:lnTo>
                      <a:lnTo>
                        <a:pt x="65" y="79"/>
                      </a:lnTo>
                      <a:lnTo>
                        <a:pt x="65" y="77"/>
                      </a:lnTo>
                      <a:lnTo>
                        <a:pt x="65" y="74"/>
                      </a:lnTo>
                      <a:lnTo>
                        <a:pt x="64" y="71"/>
                      </a:lnTo>
                      <a:lnTo>
                        <a:pt x="64" y="67"/>
                      </a:lnTo>
                      <a:lnTo>
                        <a:pt x="64" y="6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0" name="Freeform 114">
                  <a:extLst>
                    <a:ext uri="{FF2B5EF4-FFF2-40B4-BE49-F238E27FC236}">
                      <a16:creationId xmlns:a16="http://schemas.microsoft.com/office/drawing/2014/main" xmlns="" id="{1560519F-6102-43E7-B7AD-CDF05545E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0" y="123"/>
                  <a:ext cx="46" cy="39"/>
                </a:xfrm>
                <a:custGeom>
                  <a:avLst/>
                  <a:gdLst>
                    <a:gd name="T0" fmla="*/ 0 w 46"/>
                    <a:gd name="T1" fmla="*/ 0 h 39"/>
                    <a:gd name="T2" fmla="*/ 5 w 46"/>
                    <a:gd name="T3" fmla="*/ 0 h 39"/>
                    <a:gd name="T4" fmla="*/ 10 w 46"/>
                    <a:gd name="T5" fmla="*/ 0 h 39"/>
                    <a:gd name="T6" fmla="*/ 13 w 46"/>
                    <a:gd name="T7" fmla="*/ 1 h 39"/>
                    <a:gd name="T8" fmla="*/ 21 w 46"/>
                    <a:gd name="T9" fmla="*/ 4 h 39"/>
                    <a:gd name="T10" fmla="*/ 25 w 46"/>
                    <a:gd name="T11" fmla="*/ 4 h 39"/>
                    <a:gd name="T12" fmla="*/ 28 w 46"/>
                    <a:gd name="T13" fmla="*/ 4 h 39"/>
                    <a:gd name="T14" fmla="*/ 35 w 46"/>
                    <a:gd name="T15" fmla="*/ 4 h 39"/>
                    <a:gd name="T16" fmla="*/ 43 w 46"/>
                    <a:gd name="T17" fmla="*/ 8 h 39"/>
                    <a:gd name="T18" fmla="*/ 43 w 46"/>
                    <a:gd name="T19" fmla="*/ 9 h 39"/>
                    <a:gd name="T20" fmla="*/ 39 w 46"/>
                    <a:gd name="T21" fmla="*/ 9 h 39"/>
                    <a:gd name="T22" fmla="*/ 38 w 46"/>
                    <a:gd name="T23" fmla="*/ 13 h 39"/>
                    <a:gd name="T24" fmla="*/ 38 w 46"/>
                    <a:gd name="T25" fmla="*/ 16 h 39"/>
                    <a:gd name="T26" fmla="*/ 41 w 46"/>
                    <a:gd name="T27" fmla="*/ 19 h 39"/>
                    <a:gd name="T28" fmla="*/ 44 w 46"/>
                    <a:gd name="T29" fmla="*/ 21 h 39"/>
                    <a:gd name="T30" fmla="*/ 44 w 46"/>
                    <a:gd name="T31" fmla="*/ 24 h 39"/>
                    <a:gd name="T32" fmla="*/ 46 w 46"/>
                    <a:gd name="T33" fmla="*/ 27 h 39"/>
                    <a:gd name="T34" fmla="*/ 44 w 46"/>
                    <a:gd name="T35" fmla="*/ 29 h 39"/>
                    <a:gd name="T36" fmla="*/ 43 w 46"/>
                    <a:gd name="T37" fmla="*/ 34 h 39"/>
                    <a:gd name="T38" fmla="*/ 41 w 46"/>
                    <a:gd name="T39" fmla="*/ 37 h 39"/>
                    <a:gd name="T40" fmla="*/ 39 w 46"/>
                    <a:gd name="T41" fmla="*/ 39 h 39"/>
                    <a:gd name="T42" fmla="*/ 36 w 46"/>
                    <a:gd name="T43" fmla="*/ 37 h 39"/>
                    <a:gd name="T44" fmla="*/ 35 w 46"/>
                    <a:gd name="T45" fmla="*/ 37 h 39"/>
                    <a:gd name="T46" fmla="*/ 31 w 46"/>
                    <a:gd name="T47" fmla="*/ 39 h 39"/>
                    <a:gd name="T48" fmla="*/ 28 w 46"/>
                    <a:gd name="T49" fmla="*/ 39 h 39"/>
                    <a:gd name="T50" fmla="*/ 21 w 46"/>
                    <a:gd name="T51" fmla="*/ 36 h 39"/>
                    <a:gd name="T52" fmla="*/ 17 w 46"/>
                    <a:gd name="T53" fmla="*/ 32 h 39"/>
                    <a:gd name="T54" fmla="*/ 10 w 46"/>
                    <a:gd name="T55" fmla="*/ 26 h 39"/>
                    <a:gd name="T56" fmla="*/ 8 w 46"/>
                    <a:gd name="T57" fmla="*/ 22 h 39"/>
                    <a:gd name="T58" fmla="*/ 10 w 46"/>
                    <a:gd name="T59" fmla="*/ 19 h 39"/>
                    <a:gd name="T60" fmla="*/ 10 w 46"/>
                    <a:gd name="T61" fmla="*/ 16 h 39"/>
                    <a:gd name="T62" fmla="*/ 12 w 46"/>
                    <a:gd name="T63" fmla="*/ 14 h 39"/>
                    <a:gd name="T64" fmla="*/ 10 w 46"/>
                    <a:gd name="T65" fmla="*/ 11 h 39"/>
                    <a:gd name="T66" fmla="*/ 7 w 46"/>
                    <a:gd name="T67" fmla="*/ 11 h 39"/>
                    <a:gd name="T68" fmla="*/ 7 w 46"/>
                    <a:gd name="T69" fmla="*/ 8 h 39"/>
                    <a:gd name="T70" fmla="*/ 5 w 46"/>
                    <a:gd name="T71" fmla="*/ 6 h 39"/>
                    <a:gd name="T72" fmla="*/ 4 w 46"/>
                    <a:gd name="T73" fmla="*/ 3 h 39"/>
                    <a:gd name="T74" fmla="*/ 0 w 46"/>
                    <a:gd name="T75" fmla="*/ 0 h 39"/>
                    <a:gd name="T76" fmla="*/ 0 w 46"/>
                    <a:gd name="T7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6" h="39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1" y="4"/>
                      </a:lnTo>
                      <a:lnTo>
                        <a:pt x="25" y="4"/>
                      </a:lnTo>
                      <a:lnTo>
                        <a:pt x="28" y="4"/>
                      </a:lnTo>
                      <a:lnTo>
                        <a:pt x="35" y="4"/>
                      </a:lnTo>
                      <a:lnTo>
                        <a:pt x="43" y="8"/>
                      </a:lnTo>
                      <a:lnTo>
                        <a:pt x="43" y="9"/>
                      </a:lnTo>
                      <a:lnTo>
                        <a:pt x="39" y="9"/>
                      </a:lnTo>
                      <a:lnTo>
                        <a:pt x="38" y="13"/>
                      </a:lnTo>
                      <a:lnTo>
                        <a:pt x="38" y="16"/>
                      </a:lnTo>
                      <a:lnTo>
                        <a:pt x="41" y="19"/>
                      </a:lnTo>
                      <a:lnTo>
                        <a:pt x="44" y="21"/>
                      </a:lnTo>
                      <a:lnTo>
                        <a:pt x="44" y="24"/>
                      </a:lnTo>
                      <a:lnTo>
                        <a:pt x="46" y="27"/>
                      </a:lnTo>
                      <a:lnTo>
                        <a:pt x="44" y="29"/>
                      </a:lnTo>
                      <a:lnTo>
                        <a:pt x="43" y="34"/>
                      </a:lnTo>
                      <a:lnTo>
                        <a:pt x="41" y="37"/>
                      </a:lnTo>
                      <a:lnTo>
                        <a:pt x="39" y="39"/>
                      </a:lnTo>
                      <a:lnTo>
                        <a:pt x="36" y="37"/>
                      </a:lnTo>
                      <a:lnTo>
                        <a:pt x="35" y="37"/>
                      </a:lnTo>
                      <a:lnTo>
                        <a:pt x="31" y="39"/>
                      </a:lnTo>
                      <a:lnTo>
                        <a:pt x="28" y="39"/>
                      </a:lnTo>
                      <a:lnTo>
                        <a:pt x="21" y="36"/>
                      </a:lnTo>
                      <a:lnTo>
                        <a:pt x="17" y="32"/>
                      </a:lnTo>
                      <a:lnTo>
                        <a:pt x="10" y="26"/>
                      </a:lnTo>
                      <a:lnTo>
                        <a:pt x="8" y="22"/>
                      </a:lnTo>
                      <a:lnTo>
                        <a:pt x="10" y="19"/>
                      </a:lnTo>
                      <a:lnTo>
                        <a:pt x="10" y="16"/>
                      </a:lnTo>
                      <a:lnTo>
                        <a:pt x="12" y="14"/>
                      </a:lnTo>
                      <a:lnTo>
                        <a:pt x="10" y="11"/>
                      </a:lnTo>
                      <a:lnTo>
                        <a:pt x="7" y="11"/>
                      </a:lnTo>
                      <a:lnTo>
                        <a:pt x="7" y="8"/>
                      </a:ln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1" name="Freeform 115">
                  <a:extLst>
                    <a:ext uri="{FF2B5EF4-FFF2-40B4-BE49-F238E27FC236}">
                      <a16:creationId xmlns:a16="http://schemas.microsoft.com/office/drawing/2014/main" xmlns="" id="{34F5E438-8BB1-40C9-B036-C43E1A07B5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5" y="126"/>
                  <a:ext cx="62" cy="82"/>
                </a:xfrm>
                <a:custGeom>
                  <a:avLst/>
                  <a:gdLst>
                    <a:gd name="T0" fmla="*/ 15 w 38"/>
                    <a:gd name="T1" fmla="*/ 49 h 50"/>
                    <a:gd name="T2" fmla="*/ 18 w 38"/>
                    <a:gd name="T3" fmla="*/ 43 h 50"/>
                    <a:gd name="T4" fmla="*/ 19 w 38"/>
                    <a:gd name="T5" fmla="*/ 41 h 50"/>
                    <a:gd name="T6" fmla="*/ 24 w 38"/>
                    <a:gd name="T7" fmla="*/ 37 h 50"/>
                    <a:gd name="T8" fmla="*/ 27 w 38"/>
                    <a:gd name="T9" fmla="*/ 37 h 50"/>
                    <a:gd name="T10" fmla="*/ 29 w 38"/>
                    <a:gd name="T11" fmla="*/ 35 h 50"/>
                    <a:gd name="T12" fmla="*/ 32 w 38"/>
                    <a:gd name="T13" fmla="*/ 33 h 50"/>
                    <a:gd name="T14" fmla="*/ 35 w 38"/>
                    <a:gd name="T15" fmla="*/ 29 h 50"/>
                    <a:gd name="T16" fmla="*/ 38 w 38"/>
                    <a:gd name="T17" fmla="*/ 24 h 50"/>
                    <a:gd name="T18" fmla="*/ 35 w 38"/>
                    <a:gd name="T19" fmla="*/ 19 h 50"/>
                    <a:gd name="T20" fmla="*/ 34 w 38"/>
                    <a:gd name="T21" fmla="*/ 15 h 50"/>
                    <a:gd name="T22" fmla="*/ 29 w 38"/>
                    <a:gd name="T23" fmla="*/ 12 h 50"/>
                    <a:gd name="T24" fmla="*/ 27 w 38"/>
                    <a:gd name="T25" fmla="*/ 12 h 50"/>
                    <a:gd name="T26" fmla="*/ 22 w 38"/>
                    <a:gd name="T27" fmla="*/ 9 h 50"/>
                    <a:gd name="T28" fmla="*/ 21 w 38"/>
                    <a:gd name="T29" fmla="*/ 9 h 50"/>
                    <a:gd name="T30" fmla="*/ 19 w 38"/>
                    <a:gd name="T31" fmla="*/ 7 h 50"/>
                    <a:gd name="T32" fmla="*/ 16 w 38"/>
                    <a:gd name="T33" fmla="*/ 6 h 50"/>
                    <a:gd name="T34" fmla="*/ 15 w 38"/>
                    <a:gd name="T35" fmla="*/ 7 h 50"/>
                    <a:gd name="T36" fmla="*/ 12 w 38"/>
                    <a:gd name="T37" fmla="*/ 4 h 50"/>
                    <a:gd name="T38" fmla="*/ 13 w 38"/>
                    <a:gd name="T39" fmla="*/ 7 h 50"/>
                    <a:gd name="T40" fmla="*/ 12 w 38"/>
                    <a:gd name="T41" fmla="*/ 9 h 50"/>
                    <a:gd name="T42" fmla="*/ 11 w 38"/>
                    <a:gd name="T43" fmla="*/ 11 h 50"/>
                    <a:gd name="T44" fmla="*/ 10 w 38"/>
                    <a:gd name="T45" fmla="*/ 3 h 50"/>
                    <a:gd name="T46" fmla="*/ 6 w 38"/>
                    <a:gd name="T47" fmla="*/ 2 h 50"/>
                    <a:gd name="T48" fmla="*/ 2 w 38"/>
                    <a:gd name="T49" fmla="*/ 0 h 50"/>
                    <a:gd name="T50" fmla="*/ 2 w 38"/>
                    <a:gd name="T51" fmla="*/ 4 h 50"/>
                    <a:gd name="T52" fmla="*/ 5 w 38"/>
                    <a:gd name="T53" fmla="*/ 7 h 50"/>
                    <a:gd name="T54" fmla="*/ 3 w 38"/>
                    <a:gd name="T55" fmla="*/ 8 h 50"/>
                    <a:gd name="T56" fmla="*/ 0 w 38"/>
                    <a:gd name="T57" fmla="*/ 5 h 50"/>
                    <a:gd name="T58" fmla="*/ 0 w 38"/>
                    <a:gd name="T59" fmla="*/ 7 h 50"/>
                    <a:gd name="T60" fmla="*/ 0 w 38"/>
                    <a:gd name="T61" fmla="*/ 9 h 50"/>
                    <a:gd name="T62" fmla="*/ 1 w 38"/>
                    <a:gd name="T63" fmla="*/ 12 h 50"/>
                    <a:gd name="T64" fmla="*/ 3 w 38"/>
                    <a:gd name="T65" fmla="*/ 14 h 50"/>
                    <a:gd name="T66" fmla="*/ 5 w 38"/>
                    <a:gd name="T67" fmla="*/ 20 h 50"/>
                    <a:gd name="T68" fmla="*/ 8 w 38"/>
                    <a:gd name="T69" fmla="*/ 22 h 50"/>
                    <a:gd name="T70" fmla="*/ 5 w 38"/>
                    <a:gd name="T71" fmla="*/ 23 h 50"/>
                    <a:gd name="T72" fmla="*/ 6 w 38"/>
                    <a:gd name="T73" fmla="*/ 30 h 50"/>
                    <a:gd name="T74" fmla="*/ 7 w 38"/>
                    <a:gd name="T75" fmla="*/ 35 h 50"/>
                    <a:gd name="T76" fmla="*/ 8 w 38"/>
                    <a:gd name="T77" fmla="*/ 38 h 50"/>
                    <a:gd name="T78" fmla="*/ 8 w 38"/>
                    <a:gd name="T79" fmla="*/ 42 h 50"/>
                    <a:gd name="T80" fmla="*/ 11 w 38"/>
                    <a:gd name="T81" fmla="*/ 47 h 50"/>
                    <a:gd name="T82" fmla="*/ 12 w 38"/>
                    <a:gd name="T83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8" h="50">
                      <a:moveTo>
                        <a:pt x="12" y="50"/>
                      </a:moveTo>
                      <a:cubicBezTo>
                        <a:pt x="12" y="50"/>
                        <a:pt x="15" y="49"/>
                        <a:pt x="15" y="49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ubicBezTo>
                        <a:pt x="18" y="43"/>
                        <a:pt x="18" y="43"/>
                        <a:pt x="18" y="43"/>
                      </a:cubicBezTo>
                      <a:cubicBezTo>
                        <a:pt x="20" y="42"/>
                        <a:pt x="20" y="42"/>
                        <a:pt x="20" y="42"/>
                      </a:cubicBezTo>
                      <a:cubicBezTo>
                        <a:pt x="19" y="41"/>
                        <a:pt x="19" y="41"/>
                        <a:pt x="19" y="41"/>
                      </a:cubicBez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24" y="37"/>
                        <a:pt x="24" y="37"/>
                        <a:pt x="24" y="37"/>
                      </a:cubicBezTo>
                      <a:cubicBezTo>
                        <a:pt x="25" y="36"/>
                        <a:pt x="25" y="36"/>
                        <a:pt x="25" y="36"/>
                      </a:cubicBezTo>
                      <a:cubicBezTo>
                        <a:pt x="27" y="37"/>
                        <a:pt x="27" y="37"/>
                        <a:pt x="27" y="37"/>
                      </a:cubicBezTo>
                      <a:cubicBezTo>
                        <a:pt x="28" y="37"/>
                        <a:pt x="28" y="37"/>
                        <a:pt x="28" y="37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30" y="34"/>
                        <a:pt x="30" y="34"/>
                        <a:pt x="30" y="34"/>
                      </a:cubicBezTo>
                      <a:cubicBezTo>
                        <a:pt x="32" y="33"/>
                        <a:pt x="32" y="33"/>
                        <a:pt x="32" y="33"/>
                      </a:cubicBezTo>
                      <a:cubicBezTo>
                        <a:pt x="35" y="30"/>
                        <a:pt x="35" y="30"/>
                        <a:pt x="35" y="30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8" y="24"/>
                        <a:pt x="38" y="24"/>
                        <a:pt x="38" y="24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15"/>
                        <a:pt x="34" y="15"/>
                        <a:pt x="34" y="15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29" y="12"/>
                        <a:pt x="29" y="12"/>
                        <a:pt x="29" y="12"/>
                      </a:cubicBezTo>
                      <a:cubicBezTo>
                        <a:pt x="28" y="13"/>
                        <a:pt x="28" y="13"/>
                        <a:pt x="28" y="13"/>
                      </a:cubicBezTo>
                      <a:cubicBezTo>
                        <a:pt x="27" y="12"/>
                        <a:pt x="27" y="12"/>
                        <a:pt x="27" y="12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7" y="6"/>
                        <a:pt x="17" y="6"/>
                        <a:pt x="17" y="6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6" y="30"/>
                        <a:pt x="6" y="30"/>
                        <a:pt x="6" y="30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7" y="35"/>
                        <a:pt x="7" y="35"/>
                        <a:pt x="7" y="35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7" y="39"/>
                        <a:pt x="7" y="39"/>
                        <a:pt x="7" y="39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11" y="47"/>
                        <a:pt x="11" y="47"/>
                        <a:pt x="11" y="47"/>
                      </a:cubicBezTo>
                      <a:cubicBezTo>
                        <a:pt x="11" y="49"/>
                        <a:pt x="11" y="49"/>
                        <a:pt x="11" y="49"/>
                      </a:cubicBezTo>
                      <a:cubicBezTo>
                        <a:pt x="12" y="50"/>
                        <a:pt x="12" y="50"/>
                        <a:pt x="12" y="50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2" name="Freeform 116">
                  <a:extLst>
                    <a:ext uri="{FF2B5EF4-FFF2-40B4-BE49-F238E27FC236}">
                      <a16:creationId xmlns:a16="http://schemas.microsoft.com/office/drawing/2014/main" xmlns="" id="{060ACC45-A4C4-4301-AC78-447A7F490F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3" y="162"/>
                  <a:ext cx="7" cy="10"/>
                </a:xfrm>
                <a:custGeom>
                  <a:avLst/>
                  <a:gdLst>
                    <a:gd name="T0" fmla="*/ 3 w 7"/>
                    <a:gd name="T1" fmla="*/ 10 h 10"/>
                    <a:gd name="T2" fmla="*/ 5 w 7"/>
                    <a:gd name="T3" fmla="*/ 6 h 10"/>
                    <a:gd name="T4" fmla="*/ 5 w 7"/>
                    <a:gd name="T5" fmla="*/ 5 h 10"/>
                    <a:gd name="T6" fmla="*/ 5 w 7"/>
                    <a:gd name="T7" fmla="*/ 5 h 10"/>
                    <a:gd name="T8" fmla="*/ 5 w 7"/>
                    <a:gd name="T9" fmla="*/ 3 h 10"/>
                    <a:gd name="T10" fmla="*/ 7 w 7"/>
                    <a:gd name="T11" fmla="*/ 1 h 10"/>
                    <a:gd name="T12" fmla="*/ 7 w 7"/>
                    <a:gd name="T13" fmla="*/ 0 h 10"/>
                    <a:gd name="T14" fmla="*/ 3 w 7"/>
                    <a:gd name="T15" fmla="*/ 1 h 10"/>
                    <a:gd name="T16" fmla="*/ 2 w 7"/>
                    <a:gd name="T17" fmla="*/ 3 h 10"/>
                    <a:gd name="T18" fmla="*/ 2 w 7"/>
                    <a:gd name="T19" fmla="*/ 5 h 10"/>
                    <a:gd name="T20" fmla="*/ 0 w 7"/>
                    <a:gd name="T21" fmla="*/ 6 h 10"/>
                    <a:gd name="T22" fmla="*/ 0 w 7"/>
                    <a:gd name="T23" fmla="*/ 8 h 10"/>
                    <a:gd name="T24" fmla="*/ 2 w 7"/>
                    <a:gd name="T25" fmla="*/ 10 h 10"/>
                    <a:gd name="T26" fmla="*/ 3 w 7"/>
                    <a:gd name="T27" fmla="*/ 10 h 10"/>
                    <a:gd name="T28" fmla="*/ 3 w 7"/>
                    <a:gd name="T2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10">
                      <a:moveTo>
                        <a:pt x="3" y="10"/>
                      </a:move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3" y="10"/>
                      </a:lnTo>
                      <a:lnTo>
                        <a:pt x="3" y="1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3" name="Freeform 117">
                  <a:extLst>
                    <a:ext uri="{FF2B5EF4-FFF2-40B4-BE49-F238E27FC236}">
                      <a16:creationId xmlns:a16="http://schemas.microsoft.com/office/drawing/2014/main" xmlns="" id="{8A2D6D13-378A-454C-B85B-771F41104F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0" y="165"/>
                  <a:ext cx="14" cy="8"/>
                </a:xfrm>
                <a:custGeom>
                  <a:avLst/>
                  <a:gdLst>
                    <a:gd name="T0" fmla="*/ 0 w 14"/>
                    <a:gd name="T1" fmla="*/ 7 h 8"/>
                    <a:gd name="T2" fmla="*/ 1 w 14"/>
                    <a:gd name="T3" fmla="*/ 5 h 8"/>
                    <a:gd name="T4" fmla="*/ 6 w 14"/>
                    <a:gd name="T5" fmla="*/ 5 h 8"/>
                    <a:gd name="T6" fmla="*/ 8 w 14"/>
                    <a:gd name="T7" fmla="*/ 2 h 8"/>
                    <a:gd name="T8" fmla="*/ 9 w 14"/>
                    <a:gd name="T9" fmla="*/ 2 h 8"/>
                    <a:gd name="T10" fmla="*/ 11 w 14"/>
                    <a:gd name="T11" fmla="*/ 0 h 8"/>
                    <a:gd name="T12" fmla="*/ 13 w 14"/>
                    <a:gd name="T13" fmla="*/ 2 h 8"/>
                    <a:gd name="T14" fmla="*/ 14 w 14"/>
                    <a:gd name="T15" fmla="*/ 5 h 8"/>
                    <a:gd name="T16" fmla="*/ 13 w 14"/>
                    <a:gd name="T17" fmla="*/ 8 h 8"/>
                    <a:gd name="T18" fmla="*/ 11 w 14"/>
                    <a:gd name="T19" fmla="*/ 7 h 8"/>
                    <a:gd name="T20" fmla="*/ 9 w 14"/>
                    <a:gd name="T21" fmla="*/ 8 h 8"/>
                    <a:gd name="T22" fmla="*/ 5 w 14"/>
                    <a:gd name="T23" fmla="*/ 8 h 8"/>
                    <a:gd name="T24" fmla="*/ 0 w 14"/>
                    <a:gd name="T25" fmla="*/ 8 h 8"/>
                    <a:gd name="T26" fmla="*/ 0 w 14"/>
                    <a:gd name="T27" fmla="*/ 7 h 8"/>
                    <a:gd name="T28" fmla="*/ 0 w 14"/>
                    <a:gd name="T29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8">
                      <a:moveTo>
                        <a:pt x="0" y="7"/>
                      </a:moveTo>
                      <a:lnTo>
                        <a:pt x="1" y="5"/>
                      </a:lnTo>
                      <a:lnTo>
                        <a:pt x="6" y="5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0"/>
                      </a:lnTo>
                      <a:lnTo>
                        <a:pt x="13" y="2"/>
                      </a:lnTo>
                      <a:lnTo>
                        <a:pt x="14" y="5"/>
                      </a:lnTo>
                      <a:lnTo>
                        <a:pt x="13" y="8"/>
                      </a:lnTo>
                      <a:lnTo>
                        <a:pt x="11" y="7"/>
                      </a:lnTo>
                      <a:lnTo>
                        <a:pt x="9" y="8"/>
                      </a:lnTo>
                      <a:lnTo>
                        <a:pt x="5" y="8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4" name="Freeform 118">
                  <a:extLst>
                    <a:ext uri="{FF2B5EF4-FFF2-40B4-BE49-F238E27FC236}">
                      <a16:creationId xmlns:a16="http://schemas.microsoft.com/office/drawing/2014/main" xmlns="" id="{4CAC318C-954A-4049-A30B-2D09287E46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2" y="201"/>
                  <a:ext cx="7" cy="10"/>
                </a:xfrm>
                <a:custGeom>
                  <a:avLst/>
                  <a:gdLst>
                    <a:gd name="T0" fmla="*/ 0 w 7"/>
                    <a:gd name="T1" fmla="*/ 2 h 10"/>
                    <a:gd name="T2" fmla="*/ 0 w 7"/>
                    <a:gd name="T3" fmla="*/ 3 h 10"/>
                    <a:gd name="T4" fmla="*/ 4 w 7"/>
                    <a:gd name="T5" fmla="*/ 8 h 10"/>
                    <a:gd name="T6" fmla="*/ 2 w 7"/>
                    <a:gd name="T7" fmla="*/ 8 h 10"/>
                    <a:gd name="T8" fmla="*/ 2 w 7"/>
                    <a:gd name="T9" fmla="*/ 10 h 10"/>
                    <a:gd name="T10" fmla="*/ 5 w 7"/>
                    <a:gd name="T11" fmla="*/ 10 h 10"/>
                    <a:gd name="T12" fmla="*/ 7 w 7"/>
                    <a:gd name="T13" fmla="*/ 5 h 10"/>
                    <a:gd name="T14" fmla="*/ 5 w 7"/>
                    <a:gd name="T15" fmla="*/ 2 h 10"/>
                    <a:gd name="T16" fmla="*/ 2 w 7"/>
                    <a:gd name="T17" fmla="*/ 0 h 10"/>
                    <a:gd name="T18" fmla="*/ 0 w 7"/>
                    <a:gd name="T19" fmla="*/ 2 h 10"/>
                    <a:gd name="T20" fmla="*/ 0 w 7"/>
                    <a:gd name="T21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10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5" y="10"/>
                      </a:lnTo>
                      <a:lnTo>
                        <a:pt x="7" y="5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5" name="Freeform 119">
                  <a:extLst>
                    <a:ext uri="{FF2B5EF4-FFF2-40B4-BE49-F238E27FC236}">
                      <a16:creationId xmlns:a16="http://schemas.microsoft.com/office/drawing/2014/main" xmlns="" id="{53CC2E79-37EF-4F63-AFD7-259B6A376A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3" y="293"/>
                  <a:ext cx="5" cy="8"/>
                </a:xfrm>
                <a:custGeom>
                  <a:avLst/>
                  <a:gdLst>
                    <a:gd name="T0" fmla="*/ 3 w 5"/>
                    <a:gd name="T1" fmla="*/ 8 h 8"/>
                    <a:gd name="T2" fmla="*/ 5 w 5"/>
                    <a:gd name="T3" fmla="*/ 6 h 8"/>
                    <a:gd name="T4" fmla="*/ 5 w 5"/>
                    <a:gd name="T5" fmla="*/ 3 h 8"/>
                    <a:gd name="T6" fmla="*/ 5 w 5"/>
                    <a:gd name="T7" fmla="*/ 0 h 8"/>
                    <a:gd name="T8" fmla="*/ 2 w 5"/>
                    <a:gd name="T9" fmla="*/ 1 h 8"/>
                    <a:gd name="T10" fmla="*/ 0 w 5"/>
                    <a:gd name="T11" fmla="*/ 3 h 8"/>
                    <a:gd name="T12" fmla="*/ 0 w 5"/>
                    <a:gd name="T13" fmla="*/ 6 h 8"/>
                    <a:gd name="T14" fmla="*/ 2 w 5"/>
                    <a:gd name="T15" fmla="*/ 6 h 8"/>
                    <a:gd name="T16" fmla="*/ 3 w 5"/>
                    <a:gd name="T17" fmla="*/ 8 h 8"/>
                    <a:gd name="T18" fmla="*/ 3 w 5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8">
                      <a:moveTo>
                        <a:pt x="3" y="8"/>
                      </a:move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3" y="8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6" name="Freeform 120">
                  <a:extLst>
                    <a:ext uri="{FF2B5EF4-FFF2-40B4-BE49-F238E27FC236}">
                      <a16:creationId xmlns:a16="http://schemas.microsoft.com/office/drawing/2014/main" xmlns="" id="{C52FF46B-9B07-4F42-9959-D73F4F178A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6" y="338"/>
                  <a:ext cx="8" cy="7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4 w 5"/>
                    <a:gd name="T5" fmla="*/ 3 h 4"/>
                    <a:gd name="T6" fmla="*/ 5 w 5"/>
                    <a:gd name="T7" fmla="*/ 4 h 4"/>
                    <a:gd name="T8" fmla="*/ 5 w 5"/>
                    <a:gd name="T9" fmla="*/ 3 h 4"/>
                    <a:gd name="T10" fmla="*/ 4 w 5"/>
                    <a:gd name="T11" fmla="*/ 2 h 4"/>
                    <a:gd name="T12" fmla="*/ 2 w 5"/>
                    <a:gd name="T13" fmla="*/ 0 h 4"/>
                    <a:gd name="T14" fmla="*/ 0 w 5"/>
                    <a:gd name="T15" fmla="*/ 0 h 4"/>
                    <a:gd name="T16" fmla="*/ 0 w 5"/>
                    <a:gd name="T17" fmla="*/ 1 h 4"/>
                    <a:gd name="T18" fmla="*/ 0 w 5"/>
                    <a:gd name="T19" fmla="*/ 2 h 4"/>
                    <a:gd name="T20" fmla="*/ 1 w 5"/>
                    <a:gd name="T21" fmla="*/ 3 h 4"/>
                    <a:gd name="T22" fmla="*/ 1 w 5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1" y="4"/>
                        <a:pt x="1" y="4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7" name="Freeform 121">
                  <a:extLst>
                    <a:ext uri="{FF2B5EF4-FFF2-40B4-BE49-F238E27FC236}">
                      <a16:creationId xmlns:a16="http://schemas.microsoft.com/office/drawing/2014/main" xmlns="" id="{D21C67E3-1EFA-4576-9867-A0DEB90B7A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3" y="304"/>
                  <a:ext cx="25" cy="23"/>
                </a:xfrm>
                <a:custGeom>
                  <a:avLst/>
                  <a:gdLst>
                    <a:gd name="T0" fmla="*/ 15 w 25"/>
                    <a:gd name="T1" fmla="*/ 21 h 23"/>
                    <a:gd name="T2" fmla="*/ 18 w 25"/>
                    <a:gd name="T3" fmla="*/ 21 h 23"/>
                    <a:gd name="T4" fmla="*/ 20 w 25"/>
                    <a:gd name="T5" fmla="*/ 23 h 23"/>
                    <a:gd name="T6" fmla="*/ 21 w 25"/>
                    <a:gd name="T7" fmla="*/ 21 h 23"/>
                    <a:gd name="T8" fmla="*/ 23 w 25"/>
                    <a:gd name="T9" fmla="*/ 20 h 23"/>
                    <a:gd name="T10" fmla="*/ 25 w 25"/>
                    <a:gd name="T11" fmla="*/ 18 h 23"/>
                    <a:gd name="T12" fmla="*/ 25 w 25"/>
                    <a:gd name="T13" fmla="*/ 16 h 23"/>
                    <a:gd name="T14" fmla="*/ 23 w 25"/>
                    <a:gd name="T15" fmla="*/ 13 h 23"/>
                    <a:gd name="T16" fmla="*/ 23 w 25"/>
                    <a:gd name="T17" fmla="*/ 8 h 23"/>
                    <a:gd name="T18" fmla="*/ 20 w 25"/>
                    <a:gd name="T19" fmla="*/ 6 h 23"/>
                    <a:gd name="T20" fmla="*/ 18 w 25"/>
                    <a:gd name="T21" fmla="*/ 3 h 23"/>
                    <a:gd name="T22" fmla="*/ 18 w 25"/>
                    <a:gd name="T23" fmla="*/ 0 h 23"/>
                    <a:gd name="T24" fmla="*/ 16 w 25"/>
                    <a:gd name="T25" fmla="*/ 0 h 23"/>
                    <a:gd name="T26" fmla="*/ 10 w 25"/>
                    <a:gd name="T27" fmla="*/ 2 h 23"/>
                    <a:gd name="T28" fmla="*/ 5 w 25"/>
                    <a:gd name="T29" fmla="*/ 5 h 23"/>
                    <a:gd name="T30" fmla="*/ 2 w 25"/>
                    <a:gd name="T31" fmla="*/ 5 h 23"/>
                    <a:gd name="T32" fmla="*/ 2 w 25"/>
                    <a:gd name="T33" fmla="*/ 6 h 23"/>
                    <a:gd name="T34" fmla="*/ 2 w 25"/>
                    <a:gd name="T35" fmla="*/ 10 h 23"/>
                    <a:gd name="T36" fmla="*/ 5 w 25"/>
                    <a:gd name="T37" fmla="*/ 11 h 23"/>
                    <a:gd name="T38" fmla="*/ 5 w 25"/>
                    <a:gd name="T39" fmla="*/ 15 h 23"/>
                    <a:gd name="T40" fmla="*/ 3 w 25"/>
                    <a:gd name="T41" fmla="*/ 16 h 23"/>
                    <a:gd name="T42" fmla="*/ 2 w 25"/>
                    <a:gd name="T43" fmla="*/ 16 h 23"/>
                    <a:gd name="T44" fmla="*/ 0 w 25"/>
                    <a:gd name="T45" fmla="*/ 16 h 23"/>
                    <a:gd name="T46" fmla="*/ 2 w 25"/>
                    <a:gd name="T47" fmla="*/ 20 h 23"/>
                    <a:gd name="T48" fmla="*/ 7 w 25"/>
                    <a:gd name="T49" fmla="*/ 20 h 23"/>
                    <a:gd name="T50" fmla="*/ 15 w 25"/>
                    <a:gd name="T51" fmla="*/ 21 h 23"/>
                    <a:gd name="T52" fmla="*/ 15 w 25"/>
                    <a:gd name="T53" fmla="*/ 2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5" h="23">
                      <a:moveTo>
                        <a:pt x="15" y="21"/>
                      </a:moveTo>
                      <a:lnTo>
                        <a:pt x="18" y="21"/>
                      </a:lnTo>
                      <a:lnTo>
                        <a:pt x="20" y="23"/>
                      </a:lnTo>
                      <a:lnTo>
                        <a:pt x="21" y="21"/>
                      </a:lnTo>
                      <a:lnTo>
                        <a:pt x="23" y="20"/>
                      </a:lnTo>
                      <a:lnTo>
                        <a:pt x="25" y="18"/>
                      </a:lnTo>
                      <a:lnTo>
                        <a:pt x="25" y="16"/>
                      </a:lnTo>
                      <a:lnTo>
                        <a:pt x="23" y="13"/>
                      </a:lnTo>
                      <a:lnTo>
                        <a:pt x="23" y="8"/>
                      </a:lnTo>
                      <a:lnTo>
                        <a:pt x="20" y="6"/>
                      </a:lnTo>
                      <a:lnTo>
                        <a:pt x="18" y="3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0" y="2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" y="10"/>
                      </a:lnTo>
                      <a:lnTo>
                        <a:pt x="5" y="11"/>
                      </a:lnTo>
                      <a:lnTo>
                        <a:pt x="5" y="15"/>
                      </a:lnTo>
                      <a:lnTo>
                        <a:pt x="3" y="16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2" y="20"/>
                      </a:lnTo>
                      <a:lnTo>
                        <a:pt x="7" y="20"/>
                      </a:lnTo>
                      <a:lnTo>
                        <a:pt x="15" y="21"/>
                      </a:lnTo>
                      <a:lnTo>
                        <a:pt x="15" y="2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8" name="Freeform 122">
                  <a:extLst>
                    <a:ext uri="{FF2B5EF4-FFF2-40B4-BE49-F238E27FC236}">
                      <a16:creationId xmlns:a16="http://schemas.microsoft.com/office/drawing/2014/main" xmlns="" id="{469BB4B6-404A-46F1-AA70-DECD62881F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8" y="206"/>
                  <a:ext cx="15" cy="21"/>
                </a:xfrm>
                <a:custGeom>
                  <a:avLst/>
                  <a:gdLst>
                    <a:gd name="T0" fmla="*/ 11 w 15"/>
                    <a:gd name="T1" fmla="*/ 21 h 21"/>
                    <a:gd name="T2" fmla="*/ 13 w 15"/>
                    <a:gd name="T3" fmla="*/ 20 h 21"/>
                    <a:gd name="T4" fmla="*/ 11 w 15"/>
                    <a:gd name="T5" fmla="*/ 18 h 21"/>
                    <a:gd name="T6" fmla="*/ 13 w 15"/>
                    <a:gd name="T7" fmla="*/ 15 h 21"/>
                    <a:gd name="T8" fmla="*/ 15 w 15"/>
                    <a:gd name="T9" fmla="*/ 13 h 21"/>
                    <a:gd name="T10" fmla="*/ 15 w 15"/>
                    <a:gd name="T11" fmla="*/ 10 h 21"/>
                    <a:gd name="T12" fmla="*/ 10 w 15"/>
                    <a:gd name="T13" fmla="*/ 5 h 21"/>
                    <a:gd name="T14" fmla="*/ 8 w 15"/>
                    <a:gd name="T15" fmla="*/ 2 h 21"/>
                    <a:gd name="T16" fmla="*/ 7 w 15"/>
                    <a:gd name="T17" fmla="*/ 0 h 21"/>
                    <a:gd name="T18" fmla="*/ 3 w 15"/>
                    <a:gd name="T19" fmla="*/ 2 h 21"/>
                    <a:gd name="T20" fmla="*/ 0 w 15"/>
                    <a:gd name="T21" fmla="*/ 5 h 21"/>
                    <a:gd name="T22" fmla="*/ 0 w 15"/>
                    <a:gd name="T23" fmla="*/ 8 h 21"/>
                    <a:gd name="T24" fmla="*/ 2 w 15"/>
                    <a:gd name="T25" fmla="*/ 11 h 21"/>
                    <a:gd name="T26" fmla="*/ 2 w 15"/>
                    <a:gd name="T27" fmla="*/ 13 h 21"/>
                    <a:gd name="T28" fmla="*/ 3 w 15"/>
                    <a:gd name="T29" fmla="*/ 15 h 21"/>
                    <a:gd name="T30" fmla="*/ 5 w 15"/>
                    <a:gd name="T31" fmla="*/ 15 h 21"/>
                    <a:gd name="T32" fmla="*/ 8 w 15"/>
                    <a:gd name="T33" fmla="*/ 20 h 21"/>
                    <a:gd name="T34" fmla="*/ 11 w 15"/>
                    <a:gd name="T35" fmla="*/ 21 h 21"/>
                    <a:gd name="T36" fmla="*/ 11 w 15"/>
                    <a:gd name="T3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21">
                      <a:moveTo>
                        <a:pt x="11" y="21"/>
                      </a:moveTo>
                      <a:lnTo>
                        <a:pt x="13" y="20"/>
                      </a:lnTo>
                      <a:lnTo>
                        <a:pt x="11" y="18"/>
                      </a:lnTo>
                      <a:lnTo>
                        <a:pt x="13" y="15"/>
                      </a:lnTo>
                      <a:lnTo>
                        <a:pt x="15" y="13"/>
                      </a:lnTo>
                      <a:lnTo>
                        <a:pt x="15" y="10"/>
                      </a:lnTo>
                      <a:lnTo>
                        <a:pt x="10" y="5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3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8" y="20"/>
                      </a:lnTo>
                      <a:lnTo>
                        <a:pt x="11" y="21"/>
                      </a:lnTo>
                      <a:lnTo>
                        <a:pt x="11" y="2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59" name="Freeform 123">
                  <a:extLst>
                    <a:ext uri="{FF2B5EF4-FFF2-40B4-BE49-F238E27FC236}">
                      <a16:creationId xmlns:a16="http://schemas.microsoft.com/office/drawing/2014/main" xmlns="" id="{6C19D9BC-3A3B-41E1-9979-ECF287DE73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6" y="219"/>
                  <a:ext cx="49" cy="33"/>
                </a:xfrm>
                <a:custGeom>
                  <a:avLst/>
                  <a:gdLst>
                    <a:gd name="T0" fmla="*/ 3 w 49"/>
                    <a:gd name="T1" fmla="*/ 33 h 33"/>
                    <a:gd name="T2" fmla="*/ 5 w 49"/>
                    <a:gd name="T3" fmla="*/ 31 h 33"/>
                    <a:gd name="T4" fmla="*/ 7 w 49"/>
                    <a:gd name="T5" fmla="*/ 28 h 33"/>
                    <a:gd name="T6" fmla="*/ 11 w 49"/>
                    <a:gd name="T7" fmla="*/ 24 h 33"/>
                    <a:gd name="T8" fmla="*/ 16 w 49"/>
                    <a:gd name="T9" fmla="*/ 24 h 33"/>
                    <a:gd name="T10" fmla="*/ 23 w 49"/>
                    <a:gd name="T11" fmla="*/ 24 h 33"/>
                    <a:gd name="T12" fmla="*/ 28 w 49"/>
                    <a:gd name="T13" fmla="*/ 24 h 33"/>
                    <a:gd name="T14" fmla="*/ 34 w 49"/>
                    <a:gd name="T15" fmla="*/ 24 h 33"/>
                    <a:gd name="T16" fmla="*/ 38 w 49"/>
                    <a:gd name="T17" fmla="*/ 23 h 33"/>
                    <a:gd name="T18" fmla="*/ 42 w 49"/>
                    <a:gd name="T19" fmla="*/ 21 h 33"/>
                    <a:gd name="T20" fmla="*/ 46 w 49"/>
                    <a:gd name="T21" fmla="*/ 23 h 33"/>
                    <a:gd name="T22" fmla="*/ 49 w 49"/>
                    <a:gd name="T23" fmla="*/ 20 h 33"/>
                    <a:gd name="T24" fmla="*/ 46 w 49"/>
                    <a:gd name="T25" fmla="*/ 18 h 33"/>
                    <a:gd name="T26" fmla="*/ 44 w 49"/>
                    <a:gd name="T27" fmla="*/ 15 h 33"/>
                    <a:gd name="T28" fmla="*/ 41 w 49"/>
                    <a:gd name="T29" fmla="*/ 10 h 33"/>
                    <a:gd name="T30" fmla="*/ 34 w 49"/>
                    <a:gd name="T31" fmla="*/ 5 h 33"/>
                    <a:gd name="T32" fmla="*/ 29 w 49"/>
                    <a:gd name="T33" fmla="*/ 5 h 33"/>
                    <a:gd name="T34" fmla="*/ 26 w 49"/>
                    <a:gd name="T35" fmla="*/ 3 h 33"/>
                    <a:gd name="T36" fmla="*/ 23 w 49"/>
                    <a:gd name="T37" fmla="*/ 0 h 33"/>
                    <a:gd name="T38" fmla="*/ 20 w 49"/>
                    <a:gd name="T39" fmla="*/ 0 h 33"/>
                    <a:gd name="T40" fmla="*/ 18 w 49"/>
                    <a:gd name="T41" fmla="*/ 2 h 33"/>
                    <a:gd name="T42" fmla="*/ 13 w 49"/>
                    <a:gd name="T43" fmla="*/ 0 h 33"/>
                    <a:gd name="T44" fmla="*/ 11 w 49"/>
                    <a:gd name="T45" fmla="*/ 0 h 33"/>
                    <a:gd name="T46" fmla="*/ 8 w 49"/>
                    <a:gd name="T47" fmla="*/ 3 h 33"/>
                    <a:gd name="T48" fmla="*/ 5 w 49"/>
                    <a:gd name="T49" fmla="*/ 8 h 33"/>
                    <a:gd name="T50" fmla="*/ 7 w 49"/>
                    <a:gd name="T51" fmla="*/ 11 h 33"/>
                    <a:gd name="T52" fmla="*/ 7 w 49"/>
                    <a:gd name="T53" fmla="*/ 18 h 33"/>
                    <a:gd name="T54" fmla="*/ 3 w 49"/>
                    <a:gd name="T55" fmla="*/ 26 h 33"/>
                    <a:gd name="T56" fmla="*/ 0 w 49"/>
                    <a:gd name="T57" fmla="*/ 29 h 33"/>
                    <a:gd name="T58" fmla="*/ 0 w 49"/>
                    <a:gd name="T59" fmla="*/ 31 h 33"/>
                    <a:gd name="T60" fmla="*/ 3 w 49"/>
                    <a:gd name="T61" fmla="*/ 33 h 33"/>
                    <a:gd name="T62" fmla="*/ 3 w 49"/>
                    <a:gd name="T6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9" h="33">
                      <a:moveTo>
                        <a:pt x="3" y="33"/>
                      </a:moveTo>
                      <a:lnTo>
                        <a:pt x="5" y="31"/>
                      </a:lnTo>
                      <a:lnTo>
                        <a:pt x="7" y="28"/>
                      </a:lnTo>
                      <a:lnTo>
                        <a:pt x="11" y="24"/>
                      </a:lnTo>
                      <a:lnTo>
                        <a:pt x="16" y="24"/>
                      </a:lnTo>
                      <a:lnTo>
                        <a:pt x="23" y="24"/>
                      </a:lnTo>
                      <a:lnTo>
                        <a:pt x="28" y="24"/>
                      </a:lnTo>
                      <a:lnTo>
                        <a:pt x="34" y="24"/>
                      </a:lnTo>
                      <a:lnTo>
                        <a:pt x="38" y="23"/>
                      </a:lnTo>
                      <a:lnTo>
                        <a:pt x="42" y="21"/>
                      </a:lnTo>
                      <a:lnTo>
                        <a:pt x="46" y="23"/>
                      </a:lnTo>
                      <a:lnTo>
                        <a:pt x="49" y="20"/>
                      </a:lnTo>
                      <a:lnTo>
                        <a:pt x="46" y="18"/>
                      </a:lnTo>
                      <a:lnTo>
                        <a:pt x="44" y="15"/>
                      </a:lnTo>
                      <a:lnTo>
                        <a:pt x="41" y="10"/>
                      </a:lnTo>
                      <a:lnTo>
                        <a:pt x="34" y="5"/>
                      </a:lnTo>
                      <a:lnTo>
                        <a:pt x="29" y="5"/>
                      </a:lnTo>
                      <a:lnTo>
                        <a:pt x="26" y="3"/>
                      </a:lnTo>
                      <a:lnTo>
                        <a:pt x="23" y="0"/>
                      </a:lnTo>
                      <a:lnTo>
                        <a:pt x="20" y="0"/>
                      </a:lnTo>
                      <a:lnTo>
                        <a:pt x="18" y="2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8" y="3"/>
                      </a:lnTo>
                      <a:lnTo>
                        <a:pt x="5" y="8"/>
                      </a:lnTo>
                      <a:lnTo>
                        <a:pt x="7" y="11"/>
                      </a:lnTo>
                      <a:lnTo>
                        <a:pt x="7" y="18"/>
                      </a:lnTo>
                      <a:lnTo>
                        <a:pt x="3" y="26"/>
                      </a:lnTo>
                      <a:lnTo>
                        <a:pt x="0" y="29"/>
                      </a:lnTo>
                      <a:lnTo>
                        <a:pt x="0" y="31"/>
                      </a:lnTo>
                      <a:lnTo>
                        <a:pt x="3" y="33"/>
                      </a:lnTo>
                      <a:lnTo>
                        <a:pt x="3" y="3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0" name="Freeform 124">
                  <a:extLst>
                    <a:ext uri="{FF2B5EF4-FFF2-40B4-BE49-F238E27FC236}">
                      <a16:creationId xmlns:a16="http://schemas.microsoft.com/office/drawing/2014/main" xmlns="" id="{B14D0FD3-8974-40A6-8768-E3ACDB5842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2" y="234"/>
                  <a:ext cx="20" cy="13"/>
                </a:xfrm>
                <a:custGeom>
                  <a:avLst/>
                  <a:gdLst>
                    <a:gd name="T0" fmla="*/ 0 w 20"/>
                    <a:gd name="T1" fmla="*/ 1 h 13"/>
                    <a:gd name="T2" fmla="*/ 2 w 20"/>
                    <a:gd name="T3" fmla="*/ 5 h 13"/>
                    <a:gd name="T4" fmla="*/ 4 w 20"/>
                    <a:gd name="T5" fmla="*/ 6 h 13"/>
                    <a:gd name="T6" fmla="*/ 7 w 20"/>
                    <a:gd name="T7" fmla="*/ 6 h 13"/>
                    <a:gd name="T8" fmla="*/ 10 w 20"/>
                    <a:gd name="T9" fmla="*/ 8 h 13"/>
                    <a:gd name="T10" fmla="*/ 14 w 20"/>
                    <a:gd name="T11" fmla="*/ 9 h 13"/>
                    <a:gd name="T12" fmla="*/ 17 w 20"/>
                    <a:gd name="T13" fmla="*/ 11 h 13"/>
                    <a:gd name="T14" fmla="*/ 18 w 20"/>
                    <a:gd name="T15" fmla="*/ 13 h 13"/>
                    <a:gd name="T16" fmla="*/ 20 w 20"/>
                    <a:gd name="T17" fmla="*/ 9 h 13"/>
                    <a:gd name="T18" fmla="*/ 15 w 20"/>
                    <a:gd name="T19" fmla="*/ 5 h 13"/>
                    <a:gd name="T20" fmla="*/ 12 w 20"/>
                    <a:gd name="T21" fmla="*/ 5 h 13"/>
                    <a:gd name="T22" fmla="*/ 9 w 20"/>
                    <a:gd name="T23" fmla="*/ 5 h 13"/>
                    <a:gd name="T24" fmla="*/ 4 w 20"/>
                    <a:gd name="T25" fmla="*/ 1 h 13"/>
                    <a:gd name="T26" fmla="*/ 2 w 20"/>
                    <a:gd name="T27" fmla="*/ 0 h 13"/>
                    <a:gd name="T28" fmla="*/ 0 w 20"/>
                    <a:gd name="T29" fmla="*/ 1 h 13"/>
                    <a:gd name="T30" fmla="*/ 0 w 20"/>
                    <a:gd name="T31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" h="13">
                      <a:moveTo>
                        <a:pt x="0" y="1"/>
                      </a:move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7" y="6"/>
                      </a:lnTo>
                      <a:lnTo>
                        <a:pt x="10" y="8"/>
                      </a:lnTo>
                      <a:lnTo>
                        <a:pt x="14" y="9"/>
                      </a:lnTo>
                      <a:lnTo>
                        <a:pt x="17" y="11"/>
                      </a:lnTo>
                      <a:lnTo>
                        <a:pt x="18" y="13"/>
                      </a:lnTo>
                      <a:lnTo>
                        <a:pt x="20" y="9"/>
                      </a:lnTo>
                      <a:lnTo>
                        <a:pt x="15" y="5"/>
                      </a:lnTo>
                      <a:lnTo>
                        <a:pt x="12" y="5"/>
                      </a:lnTo>
                      <a:lnTo>
                        <a:pt x="9" y="5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1" name="Freeform 125">
                  <a:extLst>
                    <a:ext uri="{FF2B5EF4-FFF2-40B4-BE49-F238E27FC236}">
                      <a16:creationId xmlns:a16="http://schemas.microsoft.com/office/drawing/2014/main" xmlns="" id="{44308702-B779-45CA-A059-BBAB2A3371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" y="332"/>
                  <a:ext cx="11" cy="10"/>
                </a:xfrm>
                <a:custGeom>
                  <a:avLst/>
                  <a:gdLst>
                    <a:gd name="T0" fmla="*/ 0 w 7"/>
                    <a:gd name="T1" fmla="*/ 3 h 6"/>
                    <a:gd name="T2" fmla="*/ 2 w 7"/>
                    <a:gd name="T3" fmla="*/ 6 h 6"/>
                    <a:gd name="T4" fmla="*/ 3 w 7"/>
                    <a:gd name="T5" fmla="*/ 6 h 6"/>
                    <a:gd name="T6" fmla="*/ 3 w 7"/>
                    <a:gd name="T7" fmla="*/ 5 h 6"/>
                    <a:gd name="T8" fmla="*/ 6 w 7"/>
                    <a:gd name="T9" fmla="*/ 4 h 6"/>
                    <a:gd name="T10" fmla="*/ 7 w 7"/>
                    <a:gd name="T11" fmla="*/ 4 h 6"/>
                    <a:gd name="T12" fmla="*/ 6 w 7"/>
                    <a:gd name="T13" fmla="*/ 2 h 6"/>
                    <a:gd name="T14" fmla="*/ 5 w 7"/>
                    <a:gd name="T15" fmla="*/ 0 h 6"/>
                    <a:gd name="T16" fmla="*/ 4 w 7"/>
                    <a:gd name="T17" fmla="*/ 0 h 6"/>
                    <a:gd name="T18" fmla="*/ 4 w 7"/>
                    <a:gd name="T19" fmla="*/ 2 h 6"/>
                    <a:gd name="T20" fmla="*/ 2 w 7"/>
                    <a:gd name="T21" fmla="*/ 3 h 6"/>
                    <a:gd name="T22" fmla="*/ 0 w 7"/>
                    <a:gd name="T2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6">
                      <a:moveTo>
                        <a:pt x="0" y="3"/>
                      </a:move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3"/>
                        <a:pt x="0" y="4"/>
                        <a:pt x="0" y="3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2" name="Freeform 126">
                  <a:extLst>
                    <a:ext uri="{FF2B5EF4-FFF2-40B4-BE49-F238E27FC236}">
                      <a16:creationId xmlns:a16="http://schemas.microsoft.com/office/drawing/2014/main" xmlns="" id="{1B30F985-73E9-4653-AA3B-E208A7007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5" y="304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5 h 5"/>
                    <a:gd name="T4" fmla="*/ 3 w 3"/>
                    <a:gd name="T5" fmla="*/ 3 h 5"/>
                    <a:gd name="T6" fmla="*/ 3 w 3"/>
                    <a:gd name="T7" fmla="*/ 0 h 5"/>
                    <a:gd name="T8" fmla="*/ 2 w 3"/>
                    <a:gd name="T9" fmla="*/ 0 h 5"/>
                    <a:gd name="T10" fmla="*/ 0 w 3"/>
                    <a:gd name="T11" fmla="*/ 2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3" name="Freeform 127">
                  <a:extLst>
                    <a:ext uri="{FF2B5EF4-FFF2-40B4-BE49-F238E27FC236}">
                      <a16:creationId xmlns:a16="http://schemas.microsoft.com/office/drawing/2014/main" xmlns="" id="{2B939C5A-4A8D-47EF-B483-FC668AEBF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2" y="307"/>
                  <a:ext cx="5" cy="5"/>
                </a:xfrm>
                <a:custGeom>
                  <a:avLst/>
                  <a:gdLst>
                    <a:gd name="T0" fmla="*/ 3 w 5"/>
                    <a:gd name="T1" fmla="*/ 5 h 5"/>
                    <a:gd name="T2" fmla="*/ 5 w 5"/>
                    <a:gd name="T3" fmla="*/ 5 h 5"/>
                    <a:gd name="T4" fmla="*/ 5 w 5"/>
                    <a:gd name="T5" fmla="*/ 3 h 5"/>
                    <a:gd name="T6" fmla="*/ 3 w 5"/>
                    <a:gd name="T7" fmla="*/ 0 h 5"/>
                    <a:gd name="T8" fmla="*/ 1 w 5"/>
                    <a:gd name="T9" fmla="*/ 0 h 5"/>
                    <a:gd name="T10" fmla="*/ 0 w 5"/>
                    <a:gd name="T11" fmla="*/ 2 h 5"/>
                    <a:gd name="T12" fmla="*/ 3 w 5"/>
                    <a:gd name="T13" fmla="*/ 5 h 5"/>
                    <a:gd name="T14" fmla="*/ 3 w 5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lnTo>
                        <a:pt x="5" y="5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4" name="Freeform 128">
                  <a:extLst>
                    <a:ext uri="{FF2B5EF4-FFF2-40B4-BE49-F238E27FC236}">
                      <a16:creationId xmlns:a16="http://schemas.microsoft.com/office/drawing/2014/main" xmlns="" id="{E15F94FE-A893-4830-AD15-419D794EC4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2" y="312"/>
                  <a:ext cx="5" cy="8"/>
                </a:xfrm>
                <a:custGeom>
                  <a:avLst/>
                  <a:gdLst>
                    <a:gd name="T0" fmla="*/ 0 w 5"/>
                    <a:gd name="T1" fmla="*/ 2 h 8"/>
                    <a:gd name="T2" fmla="*/ 3 w 5"/>
                    <a:gd name="T3" fmla="*/ 5 h 8"/>
                    <a:gd name="T4" fmla="*/ 5 w 5"/>
                    <a:gd name="T5" fmla="*/ 8 h 8"/>
                    <a:gd name="T6" fmla="*/ 5 w 5"/>
                    <a:gd name="T7" fmla="*/ 7 h 8"/>
                    <a:gd name="T8" fmla="*/ 5 w 5"/>
                    <a:gd name="T9" fmla="*/ 2 h 8"/>
                    <a:gd name="T10" fmla="*/ 1 w 5"/>
                    <a:gd name="T11" fmla="*/ 0 h 8"/>
                    <a:gd name="T12" fmla="*/ 0 w 5"/>
                    <a:gd name="T13" fmla="*/ 0 h 8"/>
                    <a:gd name="T14" fmla="*/ 0 w 5"/>
                    <a:gd name="T15" fmla="*/ 2 h 8"/>
                    <a:gd name="T16" fmla="*/ 0 w 5"/>
                    <a:gd name="T17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8">
                      <a:moveTo>
                        <a:pt x="0" y="2"/>
                      </a:moveTo>
                      <a:lnTo>
                        <a:pt x="3" y="5"/>
                      </a:lnTo>
                      <a:lnTo>
                        <a:pt x="5" y="8"/>
                      </a:lnTo>
                      <a:lnTo>
                        <a:pt x="5" y="7"/>
                      </a:ln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5" name="Freeform 129">
                  <a:extLst>
                    <a:ext uri="{FF2B5EF4-FFF2-40B4-BE49-F238E27FC236}">
                      <a16:creationId xmlns:a16="http://schemas.microsoft.com/office/drawing/2014/main" xmlns="" id="{52750496-4A73-49DA-9729-389118865F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3" y="310"/>
                  <a:ext cx="7" cy="7"/>
                </a:xfrm>
                <a:custGeom>
                  <a:avLst/>
                  <a:gdLst>
                    <a:gd name="T0" fmla="*/ 0 w 7"/>
                    <a:gd name="T1" fmla="*/ 2 h 7"/>
                    <a:gd name="T2" fmla="*/ 2 w 7"/>
                    <a:gd name="T3" fmla="*/ 5 h 7"/>
                    <a:gd name="T4" fmla="*/ 5 w 7"/>
                    <a:gd name="T5" fmla="*/ 7 h 7"/>
                    <a:gd name="T6" fmla="*/ 5 w 7"/>
                    <a:gd name="T7" fmla="*/ 4 h 7"/>
                    <a:gd name="T8" fmla="*/ 7 w 7"/>
                    <a:gd name="T9" fmla="*/ 4 h 7"/>
                    <a:gd name="T10" fmla="*/ 5 w 7"/>
                    <a:gd name="T11" fmla="*/ 0 h 7"/>
                    <a:gd name="T12" fmla="*/ 4 w 7"/>
                    <a:gd name="T13" fmla="*/ 0 h 7"/>
                    <a:gd name="T14" fmla="*/ 4 w 7"/>
                    <a:gd name="T15" fmla="*/ 0 h 7"/>
                    <a:gd name="T16" fmla="*/ 0 w 7"/>
                    <a:gd name="T17" fmla="*/ 2 h 7"/>
                    <a:gd name="T18" fmla="*/ 0 w 7"/>
                    <a:gd name="T1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0" y="2"/>
                      </a:moveTo>
                      <a:lnTo>
                        <a:pt x="2" y="5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6" name="Freeform 130">
                  <a:extLst>
                    <a:ext uri="{FF2B5EF4-FFF2-40B4-BE49-F238E27FC236}">
                      <a16:creationId xmlns:a16="http://schemas.microsoft.com/office/drawing/2014/main" xmlns="" id="{9471C8D4-35F7-4B54-8D8D-F854619088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0" y="258"/>
                  <a:ext cx="21" cy="18"/>
                </a:xfrm>
                <a:custGeom>
                  <a:avLst/>
                  <a:gdLst>
                    <a:gd name="T0" fmla="*/ 12 w 21"/>
                    <a:gd name="T1" fmla="*/ 17 h 18"/>
                    <a:gd name="T2" fmla="*/ 15 w 21"/>
                    <a:gd name="T3" fmla="*/ 18 h 18"/>
                    <a:gd name="T4" fmla="*/ 20 w 21"/>
                    <a:gd name="T5" fmla="*/ 17 h 18"/>
                    <a:gd name="T6" fmla="*/ 21 w 21"/>
                    <a:gd name="T7" fmla="*/ 15 h 18"/>
                    <a:gd name="T8" fmla="*/ 20 w 21"/>
                    <a:gd name="T9" fmla="*/ 10 h 18"/>
                    <a:gd name="T10" fmla="*/ 18 w 21"/>
                    <a:gd name="T11" fmla="*/ 8 h 18"/>
                    <a:gd name="T12" fmla="*/ 18 w 21"/>
                    <a:gd name="T13" fmla="*/ 7 h 18"/>
                    <a:gd name="T14" fmla="*/ 18 w 21"/>
                    <a:gd name="T15" fmla="*/ 3 h 18"/>
                    <a:gd name="T16" fmla="*/ 15 w 21"/>
                    <a:gd name="T17" fmla="*/ 2 h 18"/>
                    <a:gd name="T18" fmla="*/ 13 w 21"/>
                    <a:gd name="T19" fmla="*/ 2 h 18"/>
                    <a:gd name="T20" fmla="*/ 12 w 21"/>
                    <a:gd name="T21" fmla="*/ 2 h 18"/>
                    <a:gd name="T22" fmla="*/ 8 w 21"/>
                    <a:gd name="T23" fmla="*/ 0 h 18"/>
                    <a:gd name="T24" fmla="*/ 5 w 21"/>
                    <a:gd name="T25" fmla="*/ 0 h 18"/>
                    <a:gd name="T26" fmla="*/ 5 w 21"/>
                    <a:gd name="T27" fmla="*/ 2 h 18"/>
                    <a:gd name="T28" fmla="*/ 2 w 21"/>
                    <a:gd name="T29" fmla="*/ 2 h 18"/>
                    <a:gd name="T30" fmla="*/ 3 w 21"/>
                    <a:gd name="T31" fmla="*/ 3 h 18"/>
                    <a:gd name="T32" fmla="*/ 0 w 21"/>
                    <a:gd name="T33" fmla="*/ 3 h 18"/>
                    <a:gd name="T34" fmla="*/ 0 w 21"/>
                    <a:gd name="T35" fmla="*/ 7 h 18"/>
                    <a:gd name="T36" fmla="*/ 0 w 21"/>
                    <a:gd name="T37" fmla="*/ 12 h 18"/>
                    <a:gd name="T38" fmla="*/ 2 w 21"/>
                    <a:gd name="T39" fmla="*/ 13 h 18"/>
                    <a:gd name="T40" fmla="*/ 3 w 21"/>
                    <a:gd name="T41" fmla="*/ 13 h 18"/>
                    <a:gd name="T42" fmla="*/ 8 w 21"/>
                    <a:gd name="T43" fmla="*/ 13 h 18"/>
                    <a:gd name="T44" fmla="*/ 12 w 21"/>
                    <a:gd name="T45" fmla="*/ 17 h 18"/>
                    <a:gd name="T46" fmla="*/ 12 w 21"/>
                    <a:gd name="T47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1" h="18">
                      <a:moveTo>
                        <a:pt x="12" y="17"/>
                      </a:moveTo>
                      <a:lnTo>
                        <a:pt x="15" y="18"/>
                      </a:lnTo>
                      <a:lnTo>
                        <a:pt x="20" y="17"/>
                      </a:lnTo>
                      <a:lnTo>
                        <a:pt x="21" y="15"/>
                      </a:lnTo>
                      <a:lnTo>
                        <a:pt x="20" y="10"/>
                      </a:lnTo>
                      <a:lnTo>
                        <a:pt x="18" y="8"/>
                      </a:lnTo>
                      <a:lnTo>
                        <a:pt x="18" y="7"/>
                      </a:lnTo>
                      <a:lnTo>
                        <a:pt x="18" y="3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2" y="13"/>
                      </a:lnTo>
                      <a:lnTo>
                        <a:pt x="3" y="13"/>
                      </a:lnTo>
                      <a:lnTo>
                        <a:pt x="8" y="13"/>
                      </a:lnTo>
                      <a:lnTo>
                        <a:pt x="12" y="17"/>
                      </a:lnTo>
                      <a:lnTo>
                        <a:pt x="12" y="1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7" name="Freeform 131">
                  <a:extLst>
                    <a:ext uri="{FF2B5EF4-FFF2-40B4-BE49-F238E27FC236}">
                      <a16:creationId xmlns:a16="http://schemas.microsoft.com/office/drawing/2014/main" xmlns="" id="{52BF26D9-FE79-4FA7-A1F9-27AB2C4D00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0" y="263"/>
                  <a:ext cx="5" cy="3"/>
                </a:xfrm>
                <a:custGeom>
                  <a:avLst/>
                  <a:gdLst>
                    <a:gd name="T0" fmla="*/ 1 w 5"/>
                    <a:gd name="T1" fmla="*/ 3 h 3"/>
                    <a:gd name="T2" fmla="*/ 3 w 5"/>
                    <a:gd name="T3" fmla="*/ 2 h 3"/>
                    <a:gd name="T4" fmla="*/ 5 w 5"/>
                    <a:gd name="T5" fmla="*/ 0 h 3"/>
                    <a:gd name="T6" fmla="*/ 1 w 5"/>
                    <a:gd name="T7" fmla="*/ 0 h 3"/>
                    <a:gd name="T8" fmla="*/ 0 w 5"/>
                    <a:gd name="T9" fmla="*/ 2 h 3"/>
                    <a:gd name="T10" fmla="*/ 1 w 5"/>
                    <a:gd name="T11" fmla="*/ 3 h 3"/>
                    <a:gd name="T12" fmla="*/ 1 w 5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3">
                      <a:moveTo>
                        <a:pt x="1" y="3"/>
                      </a:move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8" name="Freeform 132">
                  <a:extLst>
                    <a:ext uri="{FF2B5EF4-FFF2-40B4-BE49-F238E27FC236}">
                      <a16:creationId xmlns:a16="http://schemas.microsoft.com/office/drawing/2014/main" xmlns="" id="{82BA9CD1-9600-451D-B5CC-97156934D0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9" y="900"/>
                  <a:ext cx="103" cy="234"/>
                </a:xfrm>
                <a:custGeom>
                  <a:avLst/>
                  <a:gdLst>
                    <a:gd name="T0" fmla="*/ 85 w 103"/>
                    <a:gd name="T1" fmla="*/ 227 h 234"/>
                    <a:gd name="T2" fmla="*/ 83 w 103"/>
                    <a:gd name="T3" fmla="*/ 216 h 234"/>
                    <a:gd name="T4" fmla="*/ 87 w 103"/>
                    <a:gd name="T5" fmla="*/ 216 h 234"/>
                    <a:gd name="T6" fmla="*/ 95 w 103"/>
                    <a:gd name="T7" fmla="*/ 216 h 234"/>
                    <a:gd name="T8" fmla="*/ 98 w 103"/>
                    <a:gd name="T9" fmla="*/ 218 h 234"/>
                    <a:gd name="T10" fmla="*/ 101 w 103"/>
                    <a:gd name="T11" fmla="*/ 227 h 234"/>
                    <a:gd name="T12" fmla="*/ 103 w 103"/>
                    <a:gd name="T13" fmla="*/ 224 h 234"/>
                    <a:gd name="T14" fmla="*/ 100 w 103"/>
                    <a:gd name="T15" fmla="*/ 214 h 234"/>
                    <a:gd name="T16" fmla="*/ 95 w 103"/>
                    <a:gd name="T17" fmla="*/ 209 h 234"/>
                    <a:gd name="T18" fmla="*/ 88 w 103"/>
                    <a:gd name="T19" fmla="*/ 201 h 234"/>
                    <a:gd name="T20" fmla="*/ 80 w 103"/>
                    <a:gd name="T21" fmla="*/ 193 h 234"/>
                    <a:gd name="T22" fmla="*/ 74 w 103"/>
                    <a:gd name="T23" fmla="*/ 182 h 234"/>
                    <a:gd name="T24" fmla="*/ 72 w 103"/>
                    <a:gd name="T25" fmla="*/ 165 h 234"/>
                    <a:gd name="T26" fmla="*/ 70 w 103"/>
                    <a:gd name="T27" fmla="*/ 154 h 234"/>
                    <a:gd name="T28" fmla="*/ 70 w 103"/>
                    <a:gd name="T29" fmla="*/ 144 h 234"/>
                    <a:gd name="T30" fmla="*/ 74 w 103"/>
                    <a:gd name="T31" fmla="*/ 142 h 234"/>
                    <a:gd name="T32" fmla="*/ 85 w 103"/>
                    <a:gd name="T33" fmla="*/ 146 h 234"/>
                    <a:gd name="T34" fmla="*/ 93 w 103"/>
                    <a:gd name="T35" fmla="*/ 152 h 234"/>
                    <a:gd name="T36" fmla="*/ 97 w 103"/>
                    <a:gd name="T37" fmla="*/ 154 h 234"/>
                    <a:gd name="T38" fmla="*/ 87 w 103"/>
                    <a:gd name="T39" fmla="*/ 142 h 234"/>
                    <a:gd name="T40" fmla="*/ 82 w 103"/>
                    <a:gd name="T41" fmla="*/ 134 h 234"/>
                    <a:gd name="T42" fmla="*/ 75 w 103"/>
                    <a:gd name="T43" fmla="*/ 124 h 234"/>
                    <a:gd name="T44" fmla="*/ 66 w 103"/>
                    <a:gd name="T45" fmla="*/ 107 h 234"/>
                    <a:gd name="T46" fmla="*/ 56 w 103"/>
                    <a:gd name="T47" fmla="*/ 90 h 234"/>
                    <a:gd name="T48" fmla="*/ 52 w 103"/>
                    <a:gd name="T49" fmla="*/ 82 h 234"/>
                    <a:gd name="T50" fmla="*/ 48 w 103"/>
                    <a:gd name="T51" fmla="*/ 82 h 234"/>
                    <a:gd name="T52" fmla="*/ 48 w 103"/>
                    <a:gd name="T53" fmla="*/ 75 h 234"/>
                    <a:gd name="T54" fmla="*/ 39 w 103"/>
                    <a:gd name="T55" fmla="*/ 66 h 234"/>
                    <a:gd name="T56" fmla="*/ 38 w 103"/>
                    <a:gd name="T57" fmla="*/ 58 h 234"/>
                    <a:gd name="T58" fmla="*/ 38 w 103"/>
                    <a:gd name="T59" fmla="*/ 48 h 234"/>
                    <a:gd name="T60" fmla="*/ 30 w 103"/>
                    <a:gd name="T61" fmla="*/ 40 h 234"/>
                    <a:gd name="T62" fmla="*/ 28 w 103"/>
                    <a:gd name="T63" fmla="*/ 35 h 234"/>
                    <a:gd name="T64" fmla="*/ 36 w 103"/>
                    <a:gd name="T65" fmla="*/ 41 h 234"/>
                    <a:gd name="T66" fmla="*/ 26 w 103"/>
                    <a:gd name="T67" fmla="*/ 28 h 234"/>
                    <a:gd name="T68" fmla="*/ 18 w 103"/>
                    <a:gd name="T69" fmla="*/ 20 h 234"/>
                    <a:gd name="T70" fmla="*/ 15 w 103"/>
                    <a:gd name="T71" fmla="*/ 8 h 234"/>
                    <a:gd name="T72" fmla="*/ 7 w 103"/>
                    <a:gd name="T73" fmla="*/ 0 h 234"/>
                    <a:gd name="T74" fmla="*/ 7 w 103"/>
                    <a:gd name="T75" fmla="*/ 7 h 234"/>
                    <a:gd name="T76" fmla="*/ 0 w 103"/>
                    <a:gd name="T77" fmla="*/ 5 h 234"/>
                    <a:gd name="T78" fmla="*/ 12 w 103"/>
                    <a:gd name="T79" fmla="*/ 15 h 234"/>
                    <a:gd name="T80" fmla="*/ 13 w 103"/>
                    <a:gd name="T81" fmla="*/ 18 h 234"/>
                    <a:gd name="T82" fmla="*/ 12 w 103"/>
                    <a:gd name="T83" fmla="*/ 22 h 234"/>
                    <a:gd name="T84" fmla="*/ 15 w 103"/>
                    <a:gd name="T85" fmla="*/ 28 h 234"/>
                    <a:gd name="T86" fmla="*/ 8 w 103"/>
                    <a:gd name="T87" fmla="*/ 26 h 234"/>
                    <a:gd name="T88" fmla="*/ 7 w 103"/>
                    <a:gd name="T89" fmla="*/ 36 h 234"/>
                    <a:gd name="T90" fmla="*/ 13 w 103"/>
                    <a:gd name="T91" fmla="*/ 49 h 234"/>
                    <a:gd name="T92" fmla="*/ 17 w 103"/>
                    <a:gd name="T93" fmla="*/ 62 h 234"/>
                    <a:gd name="T94" fmla="*/ 25 w 103"/>
                    <a:gd name="T95" fmla="*/ 77 h 234"/>
                    <a:gd name="T96" fmla="*/ 31 w 103"/>
                    <a:gd name="T97" fmla="*/ 87 h 234"/>
                    <a:gd name="T98" fmla="*/ 38 w 103"/>
                    <a:gd name="T99" fmla="*/ 98 h 234"/>
                    <a:gd name="T100" fmla="*/ 39 w 103"/>
                    <a:gd name="T101" fmla="*/ 111 h 234"/>
                    <a:gd name="T102" fmla="*/ 44 w 103"/>
                    <a:gd name="T103" fmla="*/ 116 h 234"/>
                    <a:gd name="T104" fmla="*/ 49 w 103"/>
                    <a:gd name="T105" fmla="*/ 129 h 234"/>
                    <a:gd name="T106" fmla="*/ 52 w 103"/>
                    <a:gd name="T107" fmla="*/ 141 h 234"/>
                    <a:gd name="T108" fmla="*/ 56 w 103"/>
                    <a:gd name="T109" fmla="*/ 156 h 234"/>
                    <a:gd name="T110" fmla="*/ 59 w 103"/>
                    <a:gd name="T111" fmla="*/ 165 h 234"/>
                    <a:gd name="T112" fmla="*/ 67 w 103"/>
                    <a:gd name="T113" fmla="*/ 180 h 234"/>
                    <a:gd name="T114" fmla="*/ 69 w 103"/>
                    <a:gd name="T115" fmla="*/ 198 h 234"/>
                    <a:gd name="T116" fmla="*/ 75 w 103"/>
                    <a:gd name="T117" fmla="*/ 209 h 234"/>
                    <a:gd name="T118" fmla="*/ 75 w 103"/>
                    <a:gd name="T119" fmla="*/ 224 h 234"/>
                    <a:gd name="T120" fmla="*/ 85 w 103"/>
                    <a:gd name="T121" fmla="*/ 234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3" h="234">
                      <a:moveTo>
                        <a:pt x="85" y="234"/>
                      </a:moveTo>
                      <a:lnTo>
                        <a:pt x="83" y="231"/>
                      </a:lnTo>
                      <a:lnTo>
                        <a:pt x="85" y="227"/>
                      </a:lnTo>
                      <a:lnTo>
                        <a:pt x="83" y="224"/>
                      </a:lnTo>
                      <a:lnTo>
                        <a:pt x="82" y="221"/>
                      </a:lnTo>
                      <a:lnTo>
                        <a:pt x="83" y="216"/>
                      </a:lnTo>
                      <a:lnTo>
                        <a:pt x="85" y="213"/>
                      </a:lnTo>
                      <a:lnTo>
                        <a:pt x="87" y="214"/>
                      </a:lnTo>
                      <a:lnTo>
                        <a:pt x="87" y="216"/>
                      </a:lnTo>
                      <a:lnTo>
                        <a:pt x="88" y="218"/>
                      </a:lnTo>
                      <a:lnTo>
                        <a:pt x="95" y="216"/>
                      </a:lnTo>
                      <a:lnTo>
                        <a:pt x="95" y="216"/>
                      </a:lnTo>
                      <a:lnTo>
                        <a:pt x="97" y="214"/>
                      </a:lnTo>
                      <a:lnTo>
                        <a:pt x="98" y="216"/>
                      </a:lnTo>
                      <a:lnTo>
                        <a:pt x="98" y="218"/>
                      </a:lnTo>
                      <a:lnTo>
                        <a:pt x="98" y="221"/>
                      </a:lnTo>
                      <a:lnTo>
                        <a:pt x="101" y="224"/>
                      </a:lnTo>
                      <a:lnTo>
                        <a:pt x="101" y="227"/>
                      </a:lnTo>
                      <a:lnTo>
                        <a:pt x="103" y="229"/>
                      </a:lnTo>
                      <a:lnTo>
                        <a:pt x="103" y="226"/>
                      </a:lnTo>
                      <a:lnTo>
                        <a:pt x="103" y="224"/>
                      </a:lnTo>
                      <a:lnTo>
                        <a:pt x="103" y="221"/>
                      </a:lnTo>
                      <a:lnTo>
                        <a:pt x="103" y="218"/>
                      </a:lnTo>
                      <a:lnTo>
                        <a:pt x="100" y="214"/>
                      </a:lnTo>
                      <a:lnTo>
                        <a:pt x="100" y="211"/>
                      </a:lnTo>
                      <a:lnTo>
                        <a:pt x="98" y="208"/>
                      </a:lnTo>
                      <a:lnTo>
                        <a:pt x="95" y="209"/>
                      </a:lnTo>
                      <a:lnTo>
                        <a:pt x="93" y="209"/>
                      </a:lnTo>
                      <a:lnTo>
                        <a:pt x="90" y="206"/>
                      </a:lnTo>
                      <a:lnTo>
                        <a:pt x="88" y="201"/>
                      </a:lnTo>
                      <a:lnTo>
                        <a:pt x="87" y="198"/>
                      </a:lnTo>
                      <a:lnTo>
                        <a:pt x="83" y="195"/>
                      </a:lnTo>
                      <a:lnTo>
                        <a:pt x="80" y="193"/>
                      </a:lnTo>
                      <a:lnTo>
                        <a:pt x="79" y="191"/>
                      </a:lnTo>
                      <a:lnTo>
                        <a:pt x="77" y="185"/>
                      </a:lnTo>
                      <a:lnTo>
                        <a:pt x="74" y="182"/>
                      </a:lnTo>
                      <a:lnTo>
                        <a:pt x="74" y="177"/>
                      </a:lnTo>
                      <a:lnTo>
                        <a:pt x="74" y="172"/>
                      </a:lnTo>
                      <a:lnTo>
                        <a:pt x="72" y="165"/>
                      </a:lnTo>
                      <a:lnTo>
                        <a:pt x="70" y="162"/>
                      </a:lnTo>
                      <a:lnTo>
                        <a:pt x="72" y="157"/>
                      </a:lnTo>
                      <a:lnTo>
                        <a:pt x="70" y="154"/>
                      </a:lnTo>
                      <a:lnTo>
                        <a:pt x="69" y="149"/>
                      </a:lnTo>
                      <a:lnTo>
                        <a:pt x="70" y="147"/>
                      </a:lnTo>
                      <a:lnTo>
                        <a:pt x="70" y="144"/>
                      </a:lnTo>
                      <a:lnTo>
                        <a:pt x="70" y="142"/>
                      </a:lnTo>
                      <a:lnTo>
                        <a:pt x="72" y="142"/>
                      </a:lnTo>
                      <a:lnTo>
                        <a:pt x="74" y="142"/>
                      </a:lnTo>
                      <a:lnTo>
                        <a:pt x="77" y="142"/>
                      </a:lnTo>
                      <a:lnTo>
                        <a:pt x="82" y="142"/>
                      </a:lnTo>
                      <a:lnTo>
                        <a:pt x="85" y="146"/>
                      </a:lnTo>
                      <a:lnTo>
                        <a:pt x="87" y="149"/>
                      </a:lnTo>
                      <a:lnTo>
                        <a:pt x="90" y="151"/>
                      </a:lnTo>
                      <a:lnTo>
                        <a:pt x="93" y="152"/>
                      </a:lnTo>
                      <a:lnTo>
                        <a:pt x="97" y="157"/>
                      </a:lnTo>
                      <a:lnTo>
                        <a:pt x="98" y="159"/>
                      </a:lnTo>
                      <a:lnTo>
                        <a:pt x="97" y="154"/>
                      </a:lnTo>
                      <a:lnTo>
                        <a:pt x="93" y="151"/>
                      </a:lnTo>
                      <a:lnTo>
                        <a:pt x="88" y="147"/>
                      </a:lnTo>
                      <a:lnTo>
                        <a:pt x="87" y="142"/>
                      </a:lnTo>
                      <a:lnTo>
                        <a:pt x="83" y="138"/>
                      </a:lnTo>
                      <a:lnTo>
                        <a:pt x="83" y="136"/>
                      </a:lnTo>
                      <a:lnTo>
                        <a:pt x="82" y="134"/>
                      </a:lnTo>
                      <a:lnTo>
                        <a:pt x="79" y="129"/>
                      </a:lnTo>
                      <a:lnTo>
                        <a:pt x="77" y="124"/>
                      </a:lnTo>
                      <a:lnTo>
                        <a:pt x="75" y="124"/>
                      </a:lnTo>
                      <a:lnTo>
                        <a:pt x="75" y="121"/>
                      </a:lnTo>
                      <a:lnTo>
                        <a:pt x="70" y="115"/>
                      </a:lnTo>
                      <a:lnTo>
                        <a:pt x="66" y="107"/>
                      </a:lnTo>
                      <a:lnTo>
                        <a:pt x="64" y="103"/>
                      </a:lnTo>
                      <a:lnTo>
                        <a:pt x="59" y="95"/>
                      </a:lnTo>
                      <a:lnTo>
                        <a:pt x="56" y="90"/>
                      </a:lnTo>
                      <a:lnTo>
                        <a:pt x="54" y="89"/>
                      </a:lnTo>
                      <a:lnTo>
                        <a:pt x="54" y="85"/>
                      </a:lnTo>
                      <a:lnTo>
                        <a:pt x="52" y="82"/>
                      </a:lnTo>
                      <a:lnTo>
                        <a:pt x="49" y="80"/>
                      </a:lnTo>
                      <a:lnTo>
                        <a:pt x="49" y="82"/>
                      </a:lnTo>
                      <a:lnTo>
                        <a:pt x="48" y="82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8" y="75"/>
                      </a:lnTo>
                      <a:lnTo>
                        <a:pt x="44" y="74"/>
                      </a:lnTo>
                      <a:lnTo>
                        <a:pt x="41" y="71"/>
                      </a:lnTo>
                      <a:lnTo>
                        <a:pt x="39" y="66"/>
                      </a:lnTo>
                      <a:lnTo>
                        <a:pt x="38" y="64"/>
                      </a:lnTo>
                      <a:lnTo>
                        <a:pt x="38" y="61"/>
                      </a:lnTo>
                      <a:lnTo>
                        <a:pt x="38" y="58"/>
                      </a:lnTo>
                      <a:lnTo>
                        <a:pt x="39" y="58"/>
                      </a:lnTo>
                      <a:lnTo>
                        <a:pt x="38" y="54"/>
                      </a:lnTo>
                      <a:lnTo>
                        <a:pt x="38" y="48"/>
                      </a:lnTo>
                      <a:lnTo>
                        <a:pt x="36" y="44"/>
                      </a:lnTo>
                      <a:lnTo>
                        <a:pt x="33" y="43"/>
                      </a:lnTo>
                      <a:lnTo>
                        <a:pt x="30" y="40"/>
                      </a:lnTo>
                      <a:lnTo>
                        <a:pt x="30" y="38"/>
                      </a:lnTo>
                      <a:lnTo>
                        <a:pt x="28" y="36"/>
                      </a:lnTo>
                      <a:lnTo>
                        <a:pt x="28" y="35"/>
                      </a:lnTo>
                      <a:lnTo>
                        <a:pt x="30" y="33"/>
                      </a:lnTo>
                      <a:lnTo>
                        <a:pt x="33" y="36"/>
                      </a:lnTo>
                      <a:lnTo>
                        <a:pt x="36" y="41"/>
                      </a:lnTo>
                      <a:lnTo>
                        <a:pt x="34" y="38"/>
                      </a:lnTo>
                      <a:lnTo>
                        <a:pt x="31" y="31"/>
                      </a:lnTo>
                      <a:lnTo>
                        <a:pt x="26" y="28"/>
                      </a:lnTo>
                      <a:lnTo>
                        <a:pt x="25" y="28"/>
                      </a:lnTo>
                      <a:lnTo>
                        <a:pt x="25" y="25"/>
                      </a:lnTo>
                      <a:lnTo>
                        <a:pt x="18" y="20"/>
                      </a:lnTo>
                      <a:lnTo>
                        <a:pt x="17" y="17"/>
                      </a:lnTo>
                      <a:lnTo>
                        <a:pt x="17" y="10"/>
                      </a:lnTo>
                      <a:lnTo>
                        <a:pt x="15" y="8"/>
                      </a:lnTo>
                      <a:lnTo>
                        <a:pt x="10" y="7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7" y="7"/>
                      </a:lnTo>
                      <a:lnTo>
                        <a:pt x="5" y="7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3" y="10"/>
                      </a:lnTo>
                      <a:lnTo>
                        <a:pt x="10" y="13"/>
                      </a:lnTo>
                      <a:lnTo>
                        <a:pt x="12" y="15"/>
                      </a:lnTo>
                      <a:lnTo>
                        <a:pt x="10" y="20"/>
                      </a:lnTo>
                      <a:lnTo>
                        <a:pt x="12" y="18"/>
                      </a:lnTo>
                      <a:lnTo>
                        <a:pt x="13" y="18"/>
                      </a:lnTo>
                      <a:lnTo>
                        <a:pt x="15" y="20"/>
                      </a:lnTo>
                      <a:lnTo>
                        <a:pt x="13" y="22"/>
                      </a:lnTo>
                      <a:lnTo>
                        <a:pt x="12" y="22"/>
                      </a:lnTo>
                      <a:lnTo>
                        <a:pt x="12" y="25"/>
                      </a:lnTo>
                      <a:lnTo>
                        <a:pt x="13" y="25"/>
                      </a:lnTo>
                      <a:lnTo>
                        <a:pt x="15" y="28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8" y="26"/>
                      </a:lnTo>
                      <a:lnTo>
                        <a:pt x="7" y="28"/>
                      </a:lnTo>
                      <a:lnTo>
                        <a:pt x="3" y="33"/>
                      </a:lnTo>
                      <a:lnTo>
                        <a:pt x="7" y="36"/>
                      </a:lnTo>
                      <a:lnTo>
                        <a:pt x="8" y="40"/>
                      </a:lnTo>
                      <a:lnTo>
                        <a:pt x="12" y="43"/>
                      </a:lnTo>
                      <a:lnTo>
                        <a:pt x="13" y="49"/>
                      </a:lnTo>
                      <a:lnTo>
                        <a:pt x="15" y="56"/>
                      </a:lnTo>
                      <a:lnTo>
                        <a:pt x="15" y="58"/>
                      </a:lnTo>
                      <a:lnTo>
                        <a:pt x="17" y="62"/>
                      </a:lnTo>
                      <a:lnTo>
                        <a:pt x="18" y="71"/>
                      </a:lnTo>
                      <a:lnTo>
                        <a:pt x="21" y="75"/>
                      </a:lnTo>
                      <a:lnTo>
                        <a:pt x="25" y="77"/>
                      </a:lnTo>
                      <a:lnTo>
                        <a:pt x="25" y="79"/>
                      </a:lnTo>
                      <a:lnTo>
                        <a:pt x="23" y="79"/>
                      </a:lnTo>
                      <a:lnTo>
                        <a:pt x="31" y="87"/>
                      </a:lnTo>
                      <a:lnTo>
                        <a:pt x="33" y="89"/>
                      </a:lnTo>
                      <a:lnTo>
                        <a:pt x="36" y="93"/>
                      </a:lnTo>
                      <a:lnTo>
                        <a:pt x="38" y="98"/>
                      </a:lnTo>
                      <a:lnTo>
                        <a:pt x="38" y="103"/>
                      </a:lnTo>
                      <a:lnTo>
                        <a:pt x="39" y="108"/>
                      </a:lnTo>
                      <a:lnTo>
                        <a:pt x="39" y="111"/>
                      </a:lnTo>
                      <a:lnTo>
                        <a:pt x="43" y="113"/>
                      </a:lnTo>
                      <a:lnTo>
                        <a:pt x="46" y="116"/>
                      </a:lnTo>
                      <a:lnTo>
                        <a:pt x="44" y="116"/>
                      </a:lnTo>
                      <a:lnTo>
                        <a:pt x="46" y="120"/>
                      </a:lnTo>
                      <a:lnTo>
                        <a:pt x="49" y="124"/>
                      </a:lnTo>
                      <a:lnTo>
                        <a:pt x="49" y="129"/>
                      </a:lnTo>
                      <a:lnTo>
                        <a:pt x="51" y="133"/>
                      </a:lnTo>
                      <a:lnTo>
                        <a:pt x="51" y="139"/>
                      </a:lnTo>
                      <a:lnTo>
                        <a:pt x="52" y="141"/>
                      </a:lnTo>
                      <a:lnTo>
                        <a:pt x="52" y="144"/>
                      </a:lnTo>
                      <a:lnTo>
                        <a:pt x="52" y="149"/>
                      </a:lnTo>
                      <a:lnTo>
                        <a:pt x="56" y="156"/>
                      </a:lnTo>
                      <a:lnTo>
                        <a:pt x="54" y="159"/>
                      </a:lnTo>
                      <a:lnTo>
                        <a:pt x="56" y="162"/>
                      </a:lnTo>
                      <a:lnTo>
                        <a:pt x="59" y="165"/>
                      </a:lnTo>
                      <a:lnTo>
                        <a:pt x="64" y="174"/>
                      </a:lnTo>
                      <a:lnTo>
                        <a:pt x="64" y="177"/>
                      </a:lnTo>
                      <a:lnTo>
                        <a:pt x="67" y="180"/>
                      </a:lnTo>
                      <a:lnTo>
                        <a:pt x="66" y="187"/>
                      </a:lnTo>
                      <a:lnTo>
                        <a:pt x="67" y="193"/>
                      </a:lnTo>
                      <a:lnTo>
                        <a:pt x="69" y="198"/>
                      </a:lnTo>
                      <a:lnTo>
                        <a:pt x="70" y="201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4" y="214"/>
                      </a:lnTo>
                      <a:lnTo>
                        <a:pt x="74" y="221"/>
                      </a:lnTo>
                      <a:lnTo>
                        <a:pt x="75" y="224"/>
                      </a:lnTo>
                      <a:lnTo>
                        <a:pt x="79" y="227"/>
                      </a:lnTo>
                      <a:lnTo>
                        <a:pt x="80" y="232"/>
                      </a:lnTo>
                      <a:lnTo>
                        <a:pt x="85" y="234"/>
                      </a:lnTo>
                      <a:lnTo>
                        <a:pt x="85" y="23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69" name="Freeform 133">
                  <a:extLst>
                    <a:ext uri="{FF2B5EF4-FFF2-40B4-BE49-F238E27FC236}">
                      <a16:creationId xmlns:a16="http://schemas.microsoft.com/office/drawing/2014/main" xmlns="" id="{85D44C52-6312-490C-9BC0-D7A83682E0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9" y="892"/>
                  <a:ext cx="15" cy="15"/>
                </a:xfrm>
                <a:custGeom>
                  <a:avLst/>
                  <a:gdLst>
                    <a:gd name="T0" fmla="*/ 3 w 15"/>
                    <a:gd name="T1" fmla="*/ 13 h 15"/>
                    <a:gd name="T2" fmla="*/ 3 w 15"/>
                    <a:gd name="T3" fmla="*/ 13 h 15"/>
                    <a:gd name="T4" fmla="*/ 5 w 15"/>
                    <a:gd name="T5" fmla="*/ 12 h 15"/>
                    <a:gd name="T6" fmla="*/ 5 w 15"/>
                    <a:gd name="T7" fmla="*/ 10 h 15"/>
                    <a:gd name="T8" fmla="*/ 7 w 15"/>
                    <a:gd name="T9" fmla="*/ 12 h 15"/>
                    <a:gd name="T10" fmla="*/ 8 w 15"/>
                    <a:gd name="T11" fmla="*/ 13 h 15"/>
                    <a:gd name="T12" fmla="*/ 12 w 15"/>
                    <a:gd name="T13" fmla="*/ 15 h 15"/>
                    <a:gd name="T14" fmla="*/ 13 w 15"/>
                    <a:gd name="T15" fmla="*/ 12 h 15"/>
                    <a:gd name="T16" fmla="*/ 13 w 15"/>
                    <a:gd name="T17" fmla="*/ 10 h 15"/>
                    <a:gd name="T18" fmla="*/ 13 w 15"/>
                    <a:gd name="T19" fmla="*/ 8 h 15"/>
                    <a:gd name="T20" fmla="*/ 13 w 15"/>
                    <a:gd name="T21" fmla="*/ 7 h 15"/>
                    <a:gd name="T22" fmla="*/ 15 w 15"/>
                    <a:gd name="T23" fmla="*/ 5 h 15"/>
                    <a:gd name="T24" fmla="*/ 15 w 15"/>
                    <a:gd name="T25" fmla="*/ 3 h 15"/>
                    <a:gd name="T26" fmla="*/ 13 w 15"/>
                    <a:gd name="T27" fmla="*/ 3 h 15"/>
                    <a:gd name="T28" fmla="*/ 12 w 15"/>
                    <a:gd name="T29" fmla="*/ 5 h 15"/>
                    <a:gd name="T30" fmla="*/ 10 w 15"/>
                    <a:gd name="T31" fmla="*/ 7 h 15"/>
                    <a:gd name="T32" fmla="*/ 10 w 15"/>
                    <a:gd name="T33" fmla="*/ 5 h 15"/>
                    <a:gd name="T34" fmla="*/ 12 w 15"/>
                    <a:gd name="T35" fmla="*/ 3 h 15"/>
                    <a:gd name="T36" fmla="*/ 12 w 15"/>
                    <a:gd name="T37" fmla="*/ 2 h 15"/>
                    <a:gd name="T38" fmla="*/ 10 w 15"/>
                    <a:gd name="T39" fmla="*/ 2 h 15"/>
                    <a:gd name="T40" fmla="*/ 7 w 15"/>
                    <a:gd name="T41" fmla="*/ 2 h 15"/>
                    <a:gd name="T42" fmla="*/ 5 w 15"/>
                    <a:gd name="T43" fmla="*/ 0 h 15"/>
                    <a:gd name="T44" fmla="*/ 3 w 15"/>
                    <a:gd name="T45" fmla="*/ 2 h 15"/>
                    <a:gd name="T46" fmla="*/ 2 w 15"/>
                    <a:gd name="T47" fmla="*/ 5 h 15"/>
                    <a:gd name="T48" fmla="*/ 0 w 15"/>
                    <a:gd name="T49" fmla="*/ 7 h 15"/>
                    <a:gd name="T50" fmla="*/ 0 w 15"/>
                    <a:gd name="T51" fmla="*/ 10 h 15"/>
                    <a:gd name="T52" fmla="*/ 3 w 15"/>
                    <a:gd name="T53" fmla="*/ 13 h 15"/>
                    <a:gd name="T54" fmla="*/ 3 w 15"/>
                    <a:gd name="T55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5" h="15"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5" y="12"/>
                      </a:lnTo>
                      <a:lnTo>
                        <a:pt x="5" y="10"/>
                      </a:lnTo>
                      <a:lnTo>
                        <a:pt x="7" y="12"/>
                      </a:lnTo>
                      <a:lnTo>
                        <a:pt x="8" y="13"/>
                      </a:lnTo>
                      <a:lnTo>
                        <a:pt x="12" y="15"/>
                      </a:lnTo>
                      <a:lnTo>
                        <a:pt x="13" y="12"/>
                      </a:lnTo>
                      <a:lnTo>
                        <a:pt x="13" y="10"/>
                      </a:lnTo>
                      <a:lnTo>
                        <a:pt x="13" y="8"/>
                      </a:lnTo>
                      <a:lnTo>
                        <a:pt x="13" y="7"/>
                      </a:lnTo>
                      <a:lnTo>
                        <a:pt x="15" y="5"/>
                      </a:lnTo>
                      <a:lnTo>
                        <a:pt x="15" y="3"/>
                      </a:lnTo>
                      <a:lnTo>
                        <a:pt x="13" y="3"/>
                      </a:lnTo>
                      <a:lnTo>
                        <a:pt x="12" y="5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3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3" y="13"/>
                      </a:lnTo>
                      <a:lnTo>
                        <a:pt x="3" y="1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0" name="Freeform 134">
                  <a:extLst>
                    <a:ext uri="{FF2B5EF4-FFF2-40B4-BE49-F238E27FC236}">
                      <a16:creationId xmlns:a16="http://schemas.microsoft.com/office/drawing/2014/main" xmlns="" id="{8B8242AA-3768-4230-AE77-81C8DB79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1" y="895"/>
                  <a:ext cx="7" cy="9"/>
                </a:xfrm>
                <a:custGeom>
                  <a:avLst/>
                  <a:gdLst>
                    <a:gd name="T0" fmla="*/ 0 w 7"/>
                    <a:gd name="T1" fmla="*/ 9 h 9"/>
                    <a:gd name="T2" fmla="*/ 2 w 7"/>
                    <a:gd name="T3" fmla="*/ 7 h 9"/>
                    <a:gd name="T4" fmla="*/ 2 w 7"/>
                    <a:gd name="T5" fmla="*/ 7 h 9"/>
                    <a:gd name="T6" fmla="*/ 3 w 7"/>
                    <a:gd name="T7" fmla="*/ 5 h 9"/>
                    <a:gd name="T8" fmla="*/ 5 w 7"/>
                    <a:gd name="T9" fmla="*/ 7 h 9"/>
                    <a:gd name="T10" fmla="*/ 5 w 7"/>
                    <a:gd name="T11" fmla="*/ 7 h 9"/>
                    <a:gd name="T12" fmla="*/ 5 w 7"/>
                    <a:gd name="T13" fmla="*/ 4 h 9"/>
                    <a:gd name="T14" fmla="*/ 7 w 7"/>
                    <a:gd name="T15" fmla="*/ 2 h 9"/>
                    <a:gd name="T16" fmla="*/ 5 w 7"/>
                    <a:gd name="T17" fmla="*/ 0 h 9"/>
                    <a:gd name="T18" fmla="*/ 5 w 7"/>
                    <a:gd name="T19" fmla="*/ 0 h 9"/>
                    <a:gd name="T20" fmla="*/ 3 w 7"/>
                    <a:gd name="T21" fmla="*/ 2 h 9"/>
                    <a:gd name="T22" fmla="*/ 0 w 7"/>
                    <a:gd name="T23" fmla="*/ 4 h 9"/>
                    <a:gd name="T24" fmla="*/ 0 w 7"/>
                    <a:gd name="T25" fmla="*/ 5 h 9"/>
                    <a:gd name="T26" fmla="*/ 0 w 7"/>
                    <a:gd name="T27" fmla="*/ 9 h 9"/>
                    <a:gd name="T28" fmla="*/ 0 w 7"/>
                    <a:gd name="T29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9">
                      <a:moveTo>
                        <a:pt x="0" y="9"/>
                      </a:move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3" y="5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1" name="Freeform 135">
                  <a:extLst>
                    <a:ext uri="{FF2B5EF4-FFF2-40B4-BE49-F238E27FC236}">
                      <a16:creationId xmlns:a16="http://schemas.microsoft.com/office/drawing/2014/main" xmlns="" id="{1B437CE8-1737-4A8F-B55A-5C6573ADA4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4" y="910"/>
                  <a:ext cx="1" cy="5"/>
                </a:xfrm>
                <a:custGeom>
                  <a:avLst/>
                  <a:gdLst>
                    <a:gd name="T0" fmla="*/ 0 w 1"/>
                    <a:gd name="T1" fmla="*/ 3 h 5"/>
                    <a:gd name="T2" fmla="*/ 0 w 1"/>
                    <a:gd name="T3" fmla="*/ 5 h 5"/>
                    <a:gd name="T4" fmla="*/ 1 w 1"/>
                    <a:gd name="T5" fmla="*/ 3 h 5"/>
                    <a:gd name="T6" fmla="*/ 1 w 1"/>
                    <a:gd name="T7" fmla="*/ 2 h 5"/>
                    <a:gd name="T8" fmla="*/ 0 w 1"/>
                    <a:gd name="T9" fmla="*/ 0 h 5"/>
                    <a:gd name="T10" fmla="*/ 0 w 1"/>
                    <a:gd name="T11" fmla="*/ 0 h 5"/>
                    <a:gd name="T12" fmla="*/ 0 w 1"/>
                    <a:gd name="T13" fmla="*/ 2 h 5"/>
                    <a:gd name="T14" fmla="*/ 0 w 1"/>
                    <a:gd name="T15" fmla="*/ 3 h 5"/>
                    <a:gd name="T16" fmla="*/ 0 w 1"/>
                    <a:gd name="T1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5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2" name="Freeform 136">
                  <a:extLst>
                    <a:ext uri="{FF2B5EF4-FFF2-40B4-BE49-F238E27FC236}">
                      <a16:creationId xmlns:a16="http://schemas.microsoft.com/office/drawing/2014/main" xmlns="" id="{2B7B72D8-052D-48A3-B5C9-0849B43C42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1" y="910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2 h 3"/>
                    <a:gd name="T4" fmla="*/ 0 w 1"/>
                    <a:gd name="T5" fmla="*/ 3 h 3"/>
                    <a:gd name="T6" fmla="*/ 1 w 1"/>
                    <a:gd name="T7" fmla="*/ 2 h 3"/>
                    <a:gd name="T8" fmla="*/ 1 w 1"/>
                    <a:gd name="T9" fmla="*/ 0 h 3"/>
                    <a:gd name="T10" fmla="*/ 0 w 1"/>
                    <a:gd name="T11" fmla="*/ 0 h 3"/>
                    <a:gd name="T12" fmla="*/ 0 w 1"/>
                    <a:gd name="T13" fmla="*/ 0 h 3"/>
                    <a:gd name="T14" fmla="*/ 0 w 1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3" name="Freeform 137">
                  <a:extLst>
                    <a:ext uri="{FF2B5EF4-FFF2-40B4-BE49-F238E27FC236}">
                      <a16:creationId xmlns:a16="http://schemas.microsoft.com/office/drawing/2014/main" xmlns="" id="{A91A8F27-3C2D-49D8-80DC-154F72B04B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7" y="917"/>
                  <a:ext cx="8" cy="8"/>
                </a:xfrm>
                <a:custGeom>
                  <a:avLst/>
                  <a:gdLst>
                    <a:gd name="T0" fmla="*/ 4 w 8"/>
                    <a:gd name="T1" fmla="*/ 8 h 8"/>
                    <a:gd name="T2" fmla="*/ 5 w 8"/>
                    <a:gd name="T3" fmla="*/ 5 h 8"/>
                    <a:gd name="T4" fmla="*/ 7 w 8"/>
                    <a:gd name="T5" fmla="*/ 5 h 8"/>
                    <a:gd name="T6" fmla="*/ 8 w 8"/>
                    <a:gd name="T7" fmla="*/ 1 h 8"/>
                    <a:gd name="T8" fmla="*/ 7 w 8"/>
                    <a:gd name="T9" fmla="*/ 1 h 8"/>
                    <a:gd name="T10" fmla="*/ 8 w 8"/>
                    <a:gd name="T11" fmla="*/ 0 h 8"/>
                    <a:gd name="T12" fmla="*/ 4 w 8"/>
                    <a:gd name="T13" fmla="*/ 0 h 8"/>
                    <a:gd name="T14" fmla="*/ 0 w 8"/>
                    <a:gd name="T15" fmla="*/ 5 h 8"/>
                    <a:gd name="T16" fmla="*/ 2 w 8"/>
                    <a:gd name="T17" fmla="*/ 6 h 8"/>
                    <a:gd name="T18" fmla="*/ 4 w 8"/>
                    <a:gd name="T19" fmla="*/ 8 h 8"/>
                    <a:gd name="T20" fmla="*/ 4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4" y="8"/>
                      </a:moveTo>
                      <a:lnTo>
                        <a:pt x="5" y="5"/>
                      </a:lnTo>
                      <a:lnTo>
                        <a:pt x="7" y="5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4" name="Freeform 138">
                  <a:extLst>
                    <a:ext uri="{FF2B5EF4-FFF2-40B4-BE49-F238E27FC236}">
                      <a16:creationId xmlns:a16="http://schemas.microsoft.com/office/drawing/2014/main" xmlns="" id="{87EE98C3-9AF4-4A0A-8596-71655FFB5D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1" y="730"/>
                  <a:ext cx="5" cy="5"/>
                </a:xfrm>
                <a:custGeom>
                  <a:avLst/>
                  <a:gdLst>
                    <a:gd name="T0" fmla="*/ 0 w 5"/>
                    <a:gd name="T1" fmla="*/ 5 h 5"/>
                    <a:gd name="T2" fmla="*/ 2 w 5"/>
                    <a:gd name="T3" fmla="*/ 5 h 5"/>
                    <a:gd name="T4" fmla="*/ 4 w 5"/>
                    <a:gd name="T5" fmla="*/ 2 h 5"/>
                    <a:gd name="T6" fmla="*/ 5 w 5"/>
                    <a:gd name="T7" fmla="*/ 0 h 5"/>
                    <a:gd name="T8" fmla="*/ 2 w 5"/>
                    <a:gd name="T9" fmla="*/ 0 h 5"/>
                    <a:gd name="T10" fmla="*/ 0 w 5"/>
                    <a:gd name="T11" fmla="*/ 4 h 5"/>
                    <a:gd name="T12" fmla="*/ 0 w 5"/>
                    <a:gd name="T13" fmla="*/ 5 h 5"/>
                    <a:gd name="T14" fmla="*/ 0 w 5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0" y="5"/>
                      </a:move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5" name="Freeform 139">
                  <a:extLst>
                    <a:ext uri="{FF2B5EF4-FFF2-40B4-BE49-F238E27FC236}">
                      <a16:creationId xmlns:a16="http://schemas.microsoft.com/office/drawing/2014/main" xmlns="" id="{B69E1D4B-28C3-4074-AAE6-49BC8FEB17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683"/>
                  <a:ext cx="18" cy="33"/>
                </a:xfrm>
                <a:custGeom>
                  <a:avLst/>
                  <a:gdLst>
                    <a:gd name="T0" fmla="*/ 10 w 18"/>
                    <a:gd name="T1" fmla="*/ 33 h 33"/>
                    <a:gd name="T2" fmla="*/ 10 w 18"/>
                    <a:gd name="T3" fmla="*/ 33 h 33"/>
                    <a:gd name="T4" fmla="*/ 10 w 18"/>
                    <a:gd name="T5" fmla="*/ 29 h 33"/>
                    <a:gd name="T6" fmla="*/ 8 w 18"/>
                    <a:gd name="T7" fmla="*/ 26 h 33"/>
                    <a:gd name="T8" fmla="*/ 10 w 18"/>
                    <a:gd name="T9" fmla="*/ 25 h 33"/>
                    <a:gd name="T10" fmla="*/ 10 w 18"/>
                    <a:gd name="T11" fmla="*/ 23 h 33"/>
                    <a:gd name="T12" fmla="*/ 11 w 18"/>
                    <a:gd name="T13" fmla="*/ 18 h 33"/>
                    <a:gd name="T14" fmla="*/ 13 w 18"/>
                    <a:gd name="T15" fmla="*/ 16 h 33"/>
                    <a:gd name="T16" fmla="*/ 18 w 18"/>
                    <a:gd name="T17" fmla="*/ 13 h 33"/>
                    <a:gd name="T18" fmla="*/ 18 w 18"/>
                    <a:gd name="T19" fmla="*/ 11 h 33"/>
                    <a:gd name="T20" fmla="*/ 18 w 18"/>
                    <a:gd name="T21" fmla="*/ 8 h 33"/>
                    <a:gd name="T22" fmla="*/ 16 w 18"/>
                    <a:gd name="T23" fmla="*/ 5 h 33"/>
                    <a:gd name="T24" fmla="*/ 13 w 18"/>
                    <a:gd name="T25" fmla="*/ 0 h 33"/>
                    <a:gd name="T26" fmla="*/ 11 w 18"/>
                    <a:gd name="T27" fmla="*/ 0 h 33"/>
                    <a:gd name="T28" fmla="*/ 10 w 18"/>
                    <a:gd name="T29" fmla="*/ 2 h 33"/>
                    <a:gd name="T30" fmla="*/ 8 w 18"/>
                    <a:gd name="T31" fmla="*/ 3 h 33"/>
                    <a:gd name="T32" fmla="*/ 8 w 18"/>
                    <a:gd name="T33" fmla="*/ 3 h 33"/>
                    <a:gd name="T34" fmla="*/ 3 w 18"/>
                    <a:gd name="T35" fmla="*/ 8 h 33"/>
                    <a:gd name="T36" fmla="*/ 2 w 18"/>
                    <a:gd name="T37" fmla="*/ 10 h 33"/>
                    <a:gd name="T38" fmla="*/ 0 w 18"/>
                    <a:gd name="T39" fmla="*/ 11 h 33"/>
                    <a:gd name="T40" fmla="*/ 2 w 18"/>
                    <a:gd name="T41" fmla="*/ 11 h 33"/>
                    <a:gd name="T42" fmla="*/ 5 w 18"/>
                    <a:gd name="T43" fmla="*/ 11 h 33"/>
                    <a:gd name="T44" fmla="*/ 5 w 18"/>
                    <a:gd name="T45" fmla="*/ 11 h 33"/>
                    <a:gd name="T46" fmla="*/ 5 w 18"/>
                    <a:gd name="T47" fmla="*/ 15 h 33"/>
                    <a:gd name="T48" fmla="*/ 5 w 18"/>
                    <a:gd name="T49" fmla="*/ 20 h 33"/>
                    <a:gd name="T50" fmla="*/ 7 w 18"/>
                    <a:gd name="T51" fmla="*/ 21 h 33"/>
                    <a:gd name="T52" fmla="*/ 7 w 18"/>
                    <a:gd name="T53" fmla="*/ 26 h 33"/>
                    <a:gd name="T54" fmla="*/ 7 w 18"/>
                    <a:gd name="T55" fmla="*/ 28 h 33"/>
                    <a:gd name="T56" fmla="*/ 7 w 18"/>
                    <a:gd name="T57" fmla="*/ 29 h 33"/>
                    <a:gd name="T58" fmla="*/ 10 w 18"/>
                    <a:gd name="T59" fmla="*/ 33 h 33"/>
                    <a:gd name="T60" fmla="*/ 10 w 18"/>
                    <a:gd name="T61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8" h="33">
                      <a:moveTo>
                        <a:pt x="10" y="33"/>
                      </a:moveTo>
                      <a:lnTo>
                        <a:pt x="10" y="33"/>
                      </a:lnTo>
                      <a:lnTo>
                        <a:pt x="10" y="29"/>
                      </a:lnTo>
                      <a:lnTo>
                        <a:pt x="8" y="26"/>
                      </a:lnTo>
                      <a:lnTo>
                        <a:pt x="10" y="25"/>
                      </a:lnTo>
                      <a:lnTo>
                        <a:pt x="10" y="23"/>
                      </a:lnTo>
                      <a:lnTo>
                        <a:pt x="11" y="18"/>
                      </a:lnTo>
                      <a:lnTo>
                        <a:pt x="13" y="16"/>
                      </a:lnTo>
                      <a:lnTo>
                        <a:pt x="18" y="13"/>
                      </a:lnTo>
                      <a:lnTo>
                        <a:pt x="18" y="11"/>
                      </a:lnTo>
                      <a:lnTo>
                        <a:pt x="18" y="8"/>
                      </a:lnTo>
                      <a:lnTo>
                        <a:pt x="16" y="5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0" y="2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3" y="8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2" y="11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5" y="15"/>
                      </a:lnTo>
                      <a:lnTo>
                        <a:pt x="5" y="20"/>
                      </a:lnTo>
                      <a:lnTo>
                        <a:pt x="7" y="21"/>
                      </a:lnTo>
                      <a:lnTo>
                        <a:pt x="7" y="26"/>
                      </a:lnTo>
                      <a:lnTo>
                        <a:pt x="7" y="28"/>
                      </a:lnTo>
                      <a:lnTo>
                        <a:pt x="7" y="29"/>
                      </a:lnTo>
                      <a:lnTo>
                        <a:pt x="10" y="33"/>
                      </a:lnTo>
                      <a:lnTo>
                        <a:pt x="10" y="3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6" name="Freeform 140">
                  <a:extLst>
                    <a:ext uri="{FF2B5EF4-FFF2-40B4-BE49-F238E27FC236}">
                      <a16:creationId xmlns:a16="http://schemas.microsoft.com/office/drawing/2014/main" xmlns="" id="{6540AF7C-603E-4B43-9796-19F0F56891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8" y="817"/>
                  <a:ext cx="20" cy="10"/>
                </a:xfrm>
                <a:custGeom>
                  <a:avLst/>
                  <a:gdLst>
                    <a:gd name="T0" fmla="*/ 0 w 20"/>
                    <a:gd name="T1" fmla="*/ 0 h 10"/>
                    <a:gd name="T2" fmla="*/ 2 w 20"/>
                    <a:gd name="T3" fmla="*/ 3 h 10"/>
                    <a:gd name="T4" fmla="*/ 5 w 20"/>
                    <a:gd name="T5" fmla="*/ 3 h 10"/>
                    <a:gd name="T6" fmla="*/ 9 w 20"/>
                    <a:gd name="T7" fmla="*/ 7 h 10"/>
                    <a:gd name="T8" fmla="*/ 14 w 20"/>
                    <a:gd name="T9" fmla="*/ 8 h 10"/>
                    <a:gd name="T10" fmla="*/ 15 w 20"/>
                    <a:gd name="T11" fmla="*/ 10 h 10"/>
                    <a:gd name="T12" fmla="*/ 20 w 20"/>
                    <a:gd name="T13" fmla="*/ 8 h 10"/>
                    <a:gd name="T14" fmla="*/ 18 w 20"/>
                    <a:gd name="T15" fmla="*/ 7 h 10"/>
                    <a:gd name="T16" fmla="*/ 14 w 20"/>
                    <a:gd name="T17" fmla="*/ 5 h 10"/>
                    <a:gd name="T18" fmla="*/ 12 w 20"/>
                    <a:gd name="T19" fmla="*/ 3 h 10"/>
                    <a:gd name="T20" fmla="*/ 9 w 20"/>
                    <a:gd name="T21" fmla="*/ 3 h 10"/>
                    <a:gd name="T22" fmla="*/ 7 w 20"/>
                    <a:gd name="T23" fmla="*/ 0 h 10"/>
                    <a:gd name="T24" fmla="*/ 2 w 20"/>
                    <a:gd name="T25" fmla="*/ 0 h 10"/>
                    <a:gd name="T26" fmla="*/ 0 w 20"/>
                    <a:gd name="T27" fmla="*/ 0 h 10"/>
                    <a:gd name="T28" fmla="*/ 0 w 20"/>
                    <a:gd name="T29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" h="10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5" y="3"/>
                      </a:lnTo>
                      <a:lnTo>
                        <a:pt x="9" y="7"/>
                      </a:lnTo>
                      <a:lnTo>
                        <a:pt x="14" y="8"/>
                      </a:lnTo>
                      <a:lnTo>
                        <a:pt x="15" y="10"/>
                      </a:lnTo>
                      <a:lnTo>
                        <a:pt x="20" y="8"/>
                      </a:lnTo>
                      <a:lnTo>
                        <a:pt x="18" y="7"/>
                      </a:lnTo>
                      <a:lnTo>
                        <a:pt x="14" y="5"/>
                      </a:lnTo>
                      <a:lnTo>
                        <a:pt x="12" y="3"/>
                      </a:lnTo>
                      <a:lnTo>
                        <a:pt x="9" y="3"/>
                      </a:lnTo>
                      <a:lnTo>
                        <a:pt x="7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7" name="Freeform 141">
                  <a:extLst>
                    <a:ext uri="{FF2B5EF4-FFF2-40B4-BE49-F238E27FC236}">
                      <a16:creationId xmlns:a16="http://schemas.microsoft.com/office/drawing/2014/main" xmlns="" id="{B00D4AEB-D766-4058-AE4C-6C1F58F4DD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6" y="804"/>
                  <a:ext cx="24" cy="20"/>
                </a:xfrm>
                <a:custGeom>
                  <a:avLst/>
                  <a:gdLst>
                    <a:gd name="T0" fmla="*/ 0 w 24"/>
                    <a:gd name="T1" fmla="*/ 5 h 20"/>
                    <a:gd name="T2" fmla="*/ 3 w 24"/>
                    <a:gd name="T3" fmla="*/ 6 h 20"/>
                    <a:gd name="T4" fmla="*/ 5 w 24"/>
                    <a:gd name="T5" fmla="*/ 6 h 20"/>
                    <a:gd name="T6" fmla="*/ 6 w 24"/>
                    <a:gd name="T7" fmla="*/ 8 h 20"/>
                    <a:gd name="T8" fmla="*/ 6 w 24"/>
                    <a:gd name="T9" fmla="*/ 10 h 20"/>
                    <a:gd name="T10" fmla="*/ 10 w 24"/>
                    <a:gd name="T11" fmla="*/ 13 h 20"/>
                    <a:gd name="T12" fmla="*/ 13 w 24"/>
                    <a:gd name="T13" fmla="*/ 15 h 20"/>
                    <a:gd name="T14" fmla="*/ 15 w 24"/>
                    <a:gd name="T15" fmla="*/ 16 h 20"/>
                    <a:gd name="T16" fmla="*/ 16 w 24"/>
                    <a:gd name="T17" fmla="*/ 18 h 20"/>
                    <a:gd name="T18" fmla="*/ 18 w 24"/>
                    <a:gd name="T19" fmla="*/ 16 h 20"/>
                    <a:gd name="T20" fmla="*/ 21 w 24"/>
                    <a:gd name="T21" fmla="*/ 20 h 20"/>
                    <a:gd name="T22" fmla="*/ 24 w 24"/>
                    <a:gd name="T23" fmla="*/ 20 h 20"/>
                    <a:gd name="T24" fmla="*/ 24 w 24"/>
                    <a:gd name="T25" fmla="*/ 20 h 20"/>
                    <a:gd name="T26" fmla="*/ 23 w 24"/>
                    <a:gd name="T27" fmla="*/ 15 h 20"/>
                    <a:gd name="T28" fmla="*/ 19 w 24"/>
                    <a:gd name="T29" fmla="*/ 15 h 20"/>
                    <a:gd name="T30" fmla="*/ 15 w 24"/>
                    <a:gd name="T31" fmla="*/ 11 h 20"/>
                    <a:gd name="T32" fmla="*/ 15 w 24"/>
                    <a:gd name="T33" fmla="*/ 8 h 20"/>
                    <a:gd name="T34" fmla="*/ 11 w 24"/>
                    <a:gd name="T35" fmla="*/ 8 h 20"/>
                    <a:gd name="T36" fmla="*/ 8 w 24"/>
                    <a:gd name="T37" fmla="*/ 3 h 20"/>
                    <a:gd name="T38" fmla="*/ 8 w 24"/>
                    <a:gd name="T39" fmla="*/ 2 h 20"/>
                    <a:gd name="T40" fmla="*/ 10 w 24"/>
                    <a:gd name="T41" fmla="*/ 0 h 20"/>
                    <a:gd name="T42" fmla="*/ 6 w 24"/>
                    <a:gd name="T43" fmla="*/ 0 h 20"/>
                    <a:gd name="T44" fmla="*/ 5 w 24"/>
                    <a:gd name="T45" fmla="*/ 2 h 20"/>
                    <a:gd name="T46" fmla="*/ 3 w 24"/>
                    <a:gd name="T47" fmla="*/ 2 h 20"/>
                    <a:gd name="T48" fmla="*/ 0 w 24"/>
                    <a:gd name="T49" fmla="*/ 3 h 20"/>
                    <a:gd name="T50" fmla="*/ 0 w 24"/>
                    <a:gd name="T51" fmla="*/ 5 h 20"/>
                    <a:gd name="T52" fmla="*/ 0 w 24"/>
                    <a:gd name="T53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4" h="20">
                      <a:moveTo>
                        <a:pt x="0" y="5"/>
                      </a:move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10" y="13"/>
                      </a:lnTo>
                      <a:lnTo>
                        <a:pt x="13" y="15"/>
                      </a:lnTo>
                      <a:lnTo>
                        <a:pt x="15" y="16"/>
                      </a:lnTo>
                      <a:lnTo>
                        <a:pt x="16" y="18"/>
                      </a:lnTo>
                      <a:lnTo>
                        <a:pt x="18" y="16"/>
                      </a:lnTo>
                      <a:lnTo>
                        <a:pt x="21" y="20"/>
                      </a:lnTo>
                      <a:lnTo>
                        <a:pt x="24" y="20"/>
                      </a:lnTo>
                      <a:lnTo>
                        <a:pt x="24" y="20"/>
                      </a:lnTo>
                      <a:lnTo>
                        <a:pt x="23" y="15"/>
                      </a:lnTo>
                      <a:lnTo>
                        <a:pt x="19" y="15"/>
                      </a:lnTo>
                      <a:lnTo>
                        <a:pt x="15" y="11"/>
                      </a:lnTo>
                      <a:lnTo>
                        <a:pt x="15" y="8"/>
                      </a:lnTo>
                      <a:lnTo>
                        <a:pt x="11" y="8"/>
                      </a:lnTo>
                      <a:lnTo>
                        <a:pt x="8" y="3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8" name="Freeform 142">
                  <a:extLst>
                    <a:ext uri="{FF2B5EF4-FFF2-40B4-BE49-F238E27FC236}">
                      <a16:creationId xmlns:a16="http://schemas.microsoft.com/office/drawing/2014/main" xmlns="" id="{9168258B-E048-4FDF-8E3A-614C428E3E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6" y="971"/>
                  <a:ext cx="5" cy="6"/>
                </a:xfrm>
                <a:custGeom>
                  <a:avLst/>
                  <a:gdLst>
                    <a:gd name="T0" fmla="*/ 3 w 5"/>
                    <a:gd name="T1" fmla="*/ 6 h 6"/>
                    <a:gd name="T2" fmla="*/ 3 w 5"/>
                    <a:gd name="T3" fmla="*/ 6 h 6"/>
                    <a:gd name="T4" fmla="*/ 5 w 5"/>
                    <a:gd name="T5" fmla="*/ 4 h 6"/>
                    <a:gd name="T6" fmla="*/ 5 w 5"/>
                    <a:gd name="T7" fmla="*/ 1 h 6"/>
                    <a:gd name="T8" fmla="*/ 3 w 5"/>
                    <a:gd name="T9" fmla="*/ 0 h 6"/>
                    <a:gd name="T10" fmla="*/ 0 w 5"/>
                    <a:gd name="T11" fmla="*/ 1 h 6"/>
                    <a:gd name="T12" fmla="*/ 0 w 5"/>
                    <a:gd name="T13" fmla="*/ 3 h 6"/>
                    <a:gd name="T14" fmla="*/ 3 w 5"/>
                    <a:gd name="T15" fmla="*/ 6 h 6"/>
                    <a:gd name="T16" fmla="*/ 3 w 5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6">
                      <a:moveTo>
                        <a:pt x="3" y="6"/>
                      </a:move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79" name="Freeform 143">
                  <a:extLst>
                    <a:ext uri="{FF2B5EF4-FFF2-40B4-BE49-F238E27FC236}">
                      <a16:creationId xmlns:a16="http://schemas.microsoft.com/office/drawing/2014/main" xmlns="" id="{CAA8C788-5CC4-4AD0-9445-A5B54FC0D8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971"/>
                  <a:ext cx="5" cy="4"/>
                </a:xfrm>
                <a:custGeom>
                  <a:avLst/>
                  <a:gdLst>
                    <a:gd name="T0" fmla="*/ 0 w 5"/>
                    <a:gd name="T1" fmla="*/ 1 h 4"/>
                    <a:gd name="T2" fmla="*/ 0 w 5"/>
                    <a:gd name="T3" fmla="*/ 4 h 4"/>
                    <a:gd name="T4" fmla="*/ 2 w 5"/>
                    <a:gd name="T5" fmla="*/ 4 h 4"/>
                    <a:gd name="T6" fmla="*/ 5 w 5"/>
                    <a:gd name="T7" fmla="*/ 4 h 4"/>
                    <a:gd name="T8" fmla="*/ 5 w 5"/>
                    <a:gd name="T9" fmla="*/ 3 h 4"/>
                    <a:gd name="T10" fmla="*/ 3 w 5"/>
                    <a:gd name="T11" fmla="*/ 0 h 4"/>
                    <a:gd name="T12" fmla="*/ 0 w 5"/>
                    <a:gd name="T13" fmla="*/ 1 h 4"/>
                    <a:gd name="T14" fmla="*/ 0 w 5"/>
                    <a:gd name="T1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0" y="1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0" name="Freeform 144">
                  <a:extLst>
                    <a:ext uri="{FF2B5EF4-FFF2-40B4-BE49-F238E27FC236}">
                      <a16:creationId xmlns:a16="http://schemas.microsoft.com/office/drawing/2014/main" xmlns="" id="{16E4DAAE-9426-4B60-B02D-1BBDD5467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974"/>
                  <a:ext cx="13" cy="26"/>
                </a:xfrm>
                <a:custGeom>
                  <a:avLst/>
                  <a:gdLst>
                    <a:gd name="T0" fmla="*/ 5 w 13"/>
                    <a:gd name="T1" fmla="*/ 26 h 26"/>
                    <a:gd name="T2" fmla="*/ 5 w 13"/>
                    <a:gd name="T3" fmla="*/ 26 h 26"/>
                    <a:gd name="T4" fmla="*/ 7 w 13"/>
                    <a:gd name="T5" fmla="*/ 21 h 26"/>
                    <a:gd name="T6" fmla="*/ 7 w 13"/>
                    <a:gd name="T7" fmla="*/ 19 h 26"/>
                    <a:gd name="T8" fmla="*/ 8 w 13"/>
                    <a:gd name="T9" fmla="*/ 18 h 26"/>
                    <a:gd name="T10" fmla="*/ 10 w 13"/>
                    <a:gd name="T11" fmla="*/ 15 h 26"/>
                    <a:gd name="T12" fmla="*/ 10 w 13"/>
                    <a:gd name="T13" fmla="*/ 11 h 26"/>
                    <a:gd name="T14" fmla="*/ 11 w 13"/>
                    <a:gd name="T15" fmla="*/ 10 h 26"/>
                    <a:gd name="T16" fmla="*/ 13 w 13"/>
                    <a:gd name="T17" fmla="*/ 8 h 26"/>
                    <a:gd name="T18" fmla="*/ 11 w 13"/>
                    <a:gd name="T19" fmla="*/ 5 h 26"/>
                    <a:gd name="T20" fmla="*/ 7 w 13"/>
                    <a:gd name="T21" fmla="*/ 0 h 26"/>
                    <a:gd name="T22" fmla="*/ 7 w 13"/>
                    <a:gd name="T23" fmla="*/ 3 h 26"/>
                    <a:gd name="T24" fmla="*/ 7 w 13"/>
                    <a:gd name="T25" fmla="*/ 8 h 26"/>
                    <a:gd name="T26" fmla="*/ 7 w 13"/>
                    <a:gd name="T27" fmla="*/ 11 h 26"/>
                    <a:gd name="T28" fmla="*/ 3 w 13"/>
                    <a:gd name="T29" fmla="*/ 13 h 26"/>
                    <a:gd name="T30" fmla="*/ 2 w 13"/>
                    <a:gd name="T31" fmla="*/ 16 h 26"/>
                    <a:gd name="T32" fmla="*/ 0 w 13"/>
                    <a:gd name="T33" fmla="*/ 16 h 26"/>
                    <a:gd name="T34" fmla="*/ 0 w 13"/>
                    <a:gd name="T35" fmla="*/ 16 h 26"/>
                    <a:gd name="T36" fmla="*/ 2 w 13"/>
                    <a:gd name="T37" fmla="*/ 19 h 26"/>
                    <a:gd name="T38" fmla="*/ 2 w 13"/>
                    <a:gd name="T39" fmla="*/ 21 h 26"/>
                    <a:gd name="T40" fmla="*/ 0 w 13"/>
                    <a:gd name="T41" fmla="*/ 23 h 26"/>
                    <a:gd name="T42" fmla="*/ 0 w 13"/>
                    <a:gd name="T43" fmla="*/ 24 h 26"/>
                    <a:gd name="T44" fmla="*/ 3 w 13"/>
                    <a:gd name="T45" fmla="*/ 24 h 26"/>
                    <a:gd name="T46" fmla="*/ 5 w 13"/>
                    <a:gd name="T47" fmla="*/ 26 h 26"/>
                    <a:gd name="T48" fmla="*/ 5 w 13"/>
                    <a:gd name="T49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" h="26">
                      <a:moveTo>
                        <a:pt x="5" y="26"/>
                      </a:moveTo>
                      <a:lnTo>
                        <a:pt x="5" y="26"/>
                      </a:lnTo>
                      <a:lnTo>
                        <a:pt x="7" y="21"/>
                      </a:lnTo>
                      <a:lnTo>
                        <a:pt x="7" y="19"/>
                      </a:lnTo>
                      <a:lnTo>
                        <a:pt x="8" y="18"/>
                      </a:lnTo>
                      <a:lnTo>
                        <a:pt x="10" y="15"/>
                      </a:lnTo>
                      <a:lnTo>
                        <a:pt x="10" y="11"/>
                      </a:lnTo>
                      <a:lnTo>
                        <a:pt x="11" y="10"/>
                      </a:lnTo>
                      <a:lnTo>
                        <a:pt x="13" y="8"/>
                      </a:lnTo>
                      <a:lnTo>
                        <a:pt x="11" y="5"/>
                      </a:lnTo>
                      <a:lnTo>
                        <a:pt x="7" y="0"/>
                      </a:lnTo>
                      <a:lnTo>
                        <a:pt x="7" y="3"/>
                      </a:lnTo>
                      <a:lnTo>
                        <a:pt x="7" y="8"/>
                      </a:lnTo>
                      <a:lnTo>
                        <a:pt x="7" y="11"/>
                      </a:lnTo>
                      <a:lnTo>
                        <a:pt x="3" y="13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0" y="23"/>
                      </a:lnTo>
                      <a:lnTo>
                        <a:pt x="0" y="24"/>
                      </a:lnTo>
                      <a:lnTo>
                        <a:pt x="3" y="24"/>
                      </a:lnTo>
                      <a:lnTo>
                        <a:pt x="5" y="26"/>
                      </a:lnTo>
                      <a:lnTo>
                        <a:pt x="5" y="2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1" name="Freeform 145">
                  <a:extLst>
                    <a:ext uri="{FF2B5EF4-FFF2-40B4-BE49-F238E27FC236}">
                      <a16:creationId xmlns:a16="http://schemas.microsoft.com/office/drawing/2014/main" xmlns="" id="{59DEC725-88BF-4520-8DCB-1FEAD86217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1011"/>
                  <a:ext cx="3" cy="9"/>
                </a:xfrm>
                <a:custGeom>
                  <a:avLst/>
                  <a:gdLst>
                    <a:gd name="T0" fmla="*/ 1 w 2"/>
                    <a:gd name="T1" fmla="*/ 5 h 5"/>
                    <a:gd name="T2" fmla="*/ 2 w 2"/>
                    <a:gd name="T3" fmla="*/ 4 h 5"/>
                    <a:gd name="T4" fmla="*/ 1 w 2"/>
                    <a:gd name="T5" fmla="*/ 2 h 5"/>
                    <a:gd name="T6" fmla="*/ 1 w 2"/>
                    <a:gd name="T7" fmla="*/ 0 h 5"/>
                    <a:gd name="T8" fmla="*/ 0 w 2"/>
                    <a:gd name="T9" fmla="*/ 0 h 5"/>
                    <a:gd name="T10" fmla="*/ 0 w 2"/>
                    <a:gd name="T11" fmla="*/ 1 h 5"/>
                    <a:gd name="T12" fmla="*/ 0 w 2"/>
                    <a:gd name="T13" fmla="*/ 3 h 5"/>
                    <a:gd name="T14" fmla="*/ 1 w 2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5">
                      <a:moveTo>
                        <a:pt x="1" y="5"/>
                      </a:moveTo>
                      <a:cubicBezTo>
                        <a:pt x="1" y="5"/>
                        <a:pt x="2" y="4"/>
                        <a:pt x="2" y="4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5"/>
                        <a:pt x="1" y="5"/>
                        <a:pt x="1" y="5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2" name="Freeform 146">
                  <a:extLst>
                    <a:ext uri="{FF2B5EF4-FFF2-40B4-BE49-F238E27FC236}">
                      <a16:creationId xmlns:a16="http://schemas.microsoft.com/office/drawing/2014/main" xmlns="" id="{D603FF10-A3FE-4064-BFA6-DA963E3EB5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" y="1021"/>
                  <a:ext cx="3" cy="5"/>
                </a:xfrm>
                <a:custGeom>
                  <a:avLst/>
                  <a:gdLst>
                    <a:gd name="T0" fmla="*/ 2 w 3"/>
                    <a:gd name="T1" fmla="*/ 5 h 5"/>
                    <a:gd name="T2" fmla="*/ 3 w 3"/>
                    <a:gd name="T3" fmla="*/ 3 h 5"/>
                    <a:gd name="T4" fmla="*/ 3 w 3"/>
                    <a:gd name="T5" fmla="*/ 2 h 5"/>
                    <a:gd name="T6" fmla="*/ 2 w 3"/>
                    <a:gd name="T7" fmla="*/ 0 h 5"/>
                    <a:gd name="T8" fmla="*/ 0 w 3"/>
                    <a:gd name="T9" fmla="*/ 2 h 5"/>
                    <a:gd name="T10" fmla="*/ 0 w 3"/>
                    <a:gd name="T11" fmla="*/ 3 h 5"/>
                    <a:gd name="T12" fmla="*/ 2 w 3"/>
                    <a:gd name="T13" fmla="*/ 5 h 5"/>
                    <a:gd name="T14" fmla="*/ 2 w 3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2" y="5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3" name="Freeform 147">
                  <a:extLst>
                    <a:ext uri="{FF2B5EF4-FFF2-40B4-BE49-F238E27FC236}">
                      <a16:creationId xmlns:a16="http://schemas.microsoft.com/office/drawing/2014/main" xmlns="" id="{603A9077-F062-48B6-B033-42BB17C7E7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1028"/>
                  <a:ext cx="2" cy="1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2 w 2"/>
                    <a:gd name="T5" fmla="*/ 1 h 1"/>
                    <a:gd name="T6" fmla="*/ 0 w 2"/>
                    <a:gd name="T7" fmla="*/ 0 h 1"/>
                    <a:gd name="T8" fmla="*/ 0 w 2"/>
                    <a:gd name="T9" fmla="*/ 1 h 1"/>
                    <a:gd name="T10" fmla="*/ 2 w 2"/>
                    <a:gd name="T11" fmla="*/ 1 h 1"/>
                    <a:gd name="T12" fmla="*/ 2 w 2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4" name="Freeform 148">
                  <a:extLst>
                    <a:ext uri="{FF2B5EF4-FFF2-40B4-BE49-F238E27FC236}">
                      <a16:creationId xmlns:a16="http://schemas.microsoft.com/office/drawing/2014/main" xmlns="" id="{9DD6C8C7-1B1D-4F22-BB4A-B69A8E6C22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4" y="1031"/>
                  <a:ext cx="4" cy="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7 h 7"/>
                    <a:gd name="T4" fmla="*/ 4 w 4"/>
                    <a:gd name="T5" fmla="*/ 5 h 7"/>
                    <a:gd name="T6" fmla="*/ 4 w 4"/>
                    <a:gd name="T7" fmla="*/ 2 h 7"/>
                    <a:gd name="T8" fmla="*/ 2 w 4"/>
                    <a:gd name="T9" fmla="*/ 0 h 7"/>
                    <a:gd name="T10" fmla="*/ 2 w 4"/>
                    <a:gd name="T11" fmla="*/ 3 h 7"/>
                    <a:gd name="T12" fmla="*/ 0 w 4"/>
                    <a:gd name="T13" fmla="*/ 7 h 7"/>
                    <a:gd name="T14" fmla="*/ 0 w 4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5" name="Freeform 149">
                  <a:extLst>
                    <a:ext uri="{FF2B5EF4-FFF2-40B4-BE49-F238E27FC236}">
                      <a16:creationId xmlns:a16="http://schemas.microsoft.com/office/drawing/2014/main" xmlns="" id="{7F26DD21-3012-4F14-9CF0-3B88BB3AD3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56"/>
                  <a:ext cx="2" cy="1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1 h 1"/>
                    <a:gd name="T4" fmla="*/ 2 w 2"/>
                    <a:gd name="T5" fmla="*/ 0 h 1"/>
                    <a:gd name="T6" fmla="*/ 0 w 2"/>
                    <a:gd name="T7" fmla="*/ 0 h 1"/>
                    <a:gd name="T8" fmla="*/ 2 w 2"/>
                    <a:gd name="T9" fmla="*/ 1 h 1"/>
                    <a:gd name="T10" fmla="*/ 2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6" name="Freeform 150">
                  <a:extLst>
                    <a:ext uri="{FF2B5EF4-FFF2-40B4-BE49-F238E27FC236}">
                      <a16:creationId xmlns:a16="http://schemas.microsoft.com/office/drawing/2014/main" xmlns="" id="{A1E47738-319C-400D-A30D-065C4460BC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65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2 w 2"/>
                    <a:gd name="T3" fmla="*/ 2 h 4"/>
                    <a:gd name="T4" fmla="*/ 0 w 2"/>
                    <a:gd name="T5" fmla="*/ 0 h 4"/>
                    <a:gd name="T6" fmla="*/ 0 w 2"/>
                    <a:gd name="T7" fmla="*/ 2 h 4"/>
                    <a:gd name="T8" fmla="*/ 0 w 2"/>
                    <a:gd name="T9" fmla="*/ 4 h 4"/>
                    <a:gd name="T10" fmla="*/ 0 w 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7" name="Freeform 151">
                  <a:extLst>
                    <a:ext uri="{FF2B5EF4-FFF2-40B4-BE49-F238E27FC236}">
                      <a16:creationId xmlns:a16="http://schemas.microsoft.com/office/drawing/2014/main" xmlns="" id="{CFC3C98E-3B6B-44EF-9DFA-6BFD150D29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" y="1072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8" name="Freeform 152">
                  <a:extLst>
                    <a:ext uri="{FF2B5EF4-FFF2-40B4-BE49-F238E27FC236}">
                      <a16:creationId xmlns:a16="http://schemas.microsoft.com/office/drawing/2014/main" xmlns="" id="{17BA7418-5A88-4C40-8590-5030BA7A50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6" y="1077"/>
                  <a:ext cx="2" cy="1"/>
                </a:xfrm>
                <a:custGeom>
                  <a:avLst/>
                  <a:gdLst>
                    <a:gd name="T0" fmla="*/ 0 w 2"/>
                    <a:gd name="T1" fmla="*/ 0 h 1"/>
                    <a:gd name="T2" fmla="*/ 0 w 2"/>
                    <a:gd name="T3" fmla="*/ 1 h 1"/>
                    <a:gd name="T4" fmla="*/ 2 w 2"/>
                    <a:gd name="T5" fmla="*/ 1 h 1"/>
                    <a:gd name="T6" fmla="*/ 2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89" name="Freeform 153">
                  <a:extLst>
                    <a:ext uri="{FF2B5EF4-FFF2-40B4-BE49-F238E27FC236}">
                      <a16:creationId xmlns:a16="http://schemas.microsoft.com/office/drawing/2014/main" xmlns="" id="{8E724770-2F06-4156-B5FE-5DFC3EE259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3" y="1083"/>
                  <a:ext cx="2" cy="7"/>
                </a:xfrm>
                <a:custGeom>
                  <a:avLst/>
                  <a:gdLst>
                    <a:gd name="T0" fmla="*/ 0 w 2"/>
                    <a:gd name="T1" fmla="*/ 7 h 7"/>
                    <a:gd name="T2" fmla="*/ 2 w 2"/>
                    <a:gd name="T3" fmla="*/ 5 h 7"/>
                    <a:gd name="T4" fmla="*/ 2 w 2"/>
                    <a:gd name="T5" fmla="*/ 0 h 7"/>
                    <a:gd name="T6" fmla="*/ 2 w 2"/>
                    <a:gd name="T7" fmla="*/ 0 h 7"/>
                    <a:gd name="T8" fmla="*/ 0 w 2"/>
                    <a:gd name="T9" fmla="*/ 4 h 7"/>
                    <a:gd name="T10" fmla="*/ 0 w 2"/>
                    <a:gd name="T11" fmla="*/ 7 h 7"/>
                    <a:gd name="T12" fmla="*/ 0 w 2"/>
                    <a:gd name="T13" fmla="*/ 7 h 7"/>
                    <a:gd name="T14" fmla="*/ 0 w 2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7">
                      <a:moveTo>
                        <a:pt x="0" y="7"/>
                      </a:move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0" name="Freeform 154">
                  <a:extLst>
                    <a:ext uri="{FF2B5EF4-FFF2-40B4-BE49-F238E27FC236}">
                      <a16:creationId xmlns:a16="http://schemas.microsoft.com/office/drawing/2014/main" xmlns="" id="{ECA1218E-E38A-4A78-BC27-CD7A3A994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7" y="1108"/>
                  <a:ext cx="13" cy="19"/>
                </a:xfrm>
                <a:custGeom>
                  <a:avLst/>
                  <a:gdLst>
                    <a:gd name="T0" fmla="*/ 0 w 13"/>
                    <a:gd name="T1" fmla="*/ 19 h 19"/>
                    <a:gd name="T2" fmla="*/ 1 w 13"/>
                    <a:gd name="T3" fmla="*/ 19 h 19"/>
                    <a:gd name="T4" fmla="*/ 5 w 13"/>
                    <a:gd name="T5" fmla="*/ 16 h 19"/>
                    <a:gd name="T6" fmla="*/ 6 w 13"/>
                    <a:gd name="T7" fmla="*/ 13 h 19"/>
                    <a:gd name="T8" fmla="*/ 8 w 13"/>
                    <a:gd name="T9" fmla="*/ 11 h 19"/>
                    <a:gd name="T10" fmla="*/ 8 w 13"/>
                    <a:gd name="T11" fmla="*/ 8 h 19"/>
                    <a:gd name="T12" fmla="*/ 10 w 13"/>
                    <a:gd name="T13" fmla="*/ 5 h 19"/>
                    <a:gd name="T14" fmla="*/ 13 w 13"/>
                    <a:gd name="T15" fmla="*/ 0 h 19"/>
                    <a:gd name="T16" fmla="*/ 11 w 13"/>
                    <a:gd name="T17" fmla="*/ 1 h 19"/>
                    <a:gd name="T18" fmla="*/ 8 w 13"/>
                    <a:gd name="T19" fmla="*/ 1 h 19"/>
                    <a:gd name="T20" fmla="*/ 6 w 13"/>
                    <a:gd name="T21" fmla="*/ 5 h 19"/>
                    <a:gd name="T22" fmla="*/ 5 w 13"/>
                    <a:gd name="T23" fmla="*/ 6 h 19"/>
                    <a:gd name="T24" fmla="*/ 5 w 13"/>
                    <a:gd name="T25" fmla="*/ 8 h 19"/>
                    <a:gd name="T26" fmla="*/ 3 w 13"/>
                    <a:gd name="T27" fmla="*/ 10 h 19"/>
                    <a:gd name="T28" fmla="*/ 3 w 13"/>
                    <a:gd name="T29" fmla="*/ 11 h 19"/>
                    <a:gd name="T30" fmla="*/ 0 w 13"/>
                    <a:gd name="T31" fmla="*/ 15 h 19"/>
                    <a:gd name="T32" fmla="*/ 0 w 13"/>
                    <a:gd name="T33" fmla="*/ 19 h 19"/>
                    <a:gd name="T34" fmla="*/ 0 w 13"/>
                    <a:gd name="T3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" h="19">
                      <a:moveTo>
                        <a:pt x="0" y="19"/>
                      </a:move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6" y="13"/>
                      </a:lnTo>
                      <a:lnTo>
                        <a:pt x="8" y="11"/>
                      </a:lnTo>
                      <a:lnTo>
                        <a:pt x="8" y="8"/>
                      </a:lnTo>
                      <a:lnTo>
                        <a:pt x="10" y="5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8" y="1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5" y="8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1" name="Freeform 155">
                  <a:extLst>
                    <a:ext uri="{FF2B5EF4-FFF2-40B4-BE49-F238E27FC236}">
                      <a16:creationId xmlns:a16="http://schemas.microsoft.com/office/drawing/2014/main" xmlns="" id="{A8E54F45-50CB-4CB9-9808-1483658619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6" y="1131"/>
                  <a:ext cx="23" cy="32"/>
                </a:xfrm>
                <a:custGeom>
                  <a:avLst/>
                  <a:gdLst>
                    <a:gd name="T0" fmla="*/ 0 w 23"/>
                    <a:gd name="T1" fmla="*/ 32 h 32"/>
                    <a:gd name="T2" fmla="*/ 1 w 23"/>
                    <a:gd name="T3" fmla="*/ 31 h 32"/>
                    <a:gd name="T4" fmla="*/ 3 w 23"/>
                    <a:gd name="T5" fmla="*/ 27 h 32"/>
                    <a:gd name="T6" fmla="*/ 5 w 23"/>
                    <a:gd name="T7" fmla="*/ 26 h 32"/>
                    <a:gd name="T8" fmla="*/ 5 w 23"/>
                    <a:gd name="T9" fmla="*/ 21 h 32"/>
                    <a:gd name="T10" fmla="*/ 6 w 23"/>
                    <a:gd name="T11" fmla="*/ 21 h 32"/>
                    <a:gd name="T12" fmla="*/ 6 w 23"/>
                    <a:gd name="T13" fmla="*/ 19 h 32"/>
                    <a:gd name="T14" fmla="*/ 8 w 23"/>
                    <a:gd name="T15" fmla="*/ 18 h 32"/>
                    <a:gd name="T16" fmla="*/ 10 w 23"/>
                    <a:gd name="T17" fmla="*/ 18 h 32"/>
                    <a:gd name="T18" fmla="*/ 11 w 23"/>
                    <a:gd name="T19" fmla="*/ 16 h 32"/>
                    <a:gd name="T20" fmla="*/ 14 w 23"/>
                    <a:gd name="T21" fmla="*/ 11 h 32"/>
                    <a:gd name="T22" fmla="*/ 18 w 23"/>
                    <a:gd name="T23" fmla="*/ 8 h 32"/>
                    <a:gd name="T24" fmla="*/ 21 w 23"/>
                    <a:gd name="T25" fmla="*/ 6 h 32"/>
                    <a:gd name="T26" fmla="*/ 23 w 23"/>
                    <a:gd name="T27" fmla="*/ 5 h 32"/>
                    <a:gd name="T28" fmla="*/ 23 w 23"/>
                    <a:gd name="T29" fmla="*/ 1 h 32"/>
                    <a:gd name="T30" fmla="*/ 23 w 23"/>
                    <a:gd name="T31" fmla="*/ 0 h 32"/>
                    <a:gd name="T32" fmla="*/ 19 w 23"/>
                    <a:gd name="T33" fmla="*/ 0 h 32"/>
                    <a:gd name="T34" fmla="*/ 16 w 23"/>
                    <a:gd name="T35" fmla="*/ 3 h 32"/>
                    <a:gd name="T36" fmla="*/ 16 w 23"/>
                    <a:gd name="T37" fmla="*/ 6 h 32"/>
                    <a:gd name="T38" fmla="*/ 14 w 23"/>
                    <a:gd name="T39" fmla="*/ 6 h 32"/>
                    <a:gd name="T40" fmla="*/ 11 w 23"/>
                    <a:gd name="T41" fmla="*/ 8 h 32"/>
                    <a:gd name="T42" fmla="*/ 10 w 23"/>
                    <a:gd name="T43" fmla="*/ 8 h 32"/>
                    <a:gd name="T44" fmla="*/ 10 w 23"/>
                    <a:gd name="T45" fmla="*/ 5 h 32"/>
                    <a:gd name="T46" fmla="*/ 8 w 23"/>
                    <a:gd name="T47" fmla="*/ 5 h 32"/>
                    <a:gd name="T48" fmla="*/ 6 w 23"/>
                    <a:gd name="T49" fmla="*/ 8 h 32"/>
                    <a:gd name="T50" fmla="*/ 8 w 23"/>
                    <a:gd name="T51" fmla="*/ 10 h 32"/>
                    <a:gd name="T52" fmla="*/ 6 w 23"/>
                    <a:gd name="T53" fmla="*/ 11 h 32"/>
                    <a:gd name="T54" fmla="*/ 5 w 23"/>
                    <a:gd name="T55" fmla="*/ 14 h 32"/>
                    <a:gd name="T56" fmla="*/ 3 w 23"/>
                    <a:gd name="T57" fmla="*/ 14 h 32"/>
                    <a:gd name="T58" fmla="*/ 3 w 23"/>
                    <a:gd name="T59" fmla="*/ 16 h 32"/>
                    <a:gd name="T60" fmla="*/ 3 w 23"/>
                    <a:gd name="T61" fmla="*/ 19 h 32"/>
                    <a:gd name="T62" fmla="*/ 0 w 23"/>
                    <a:gd name="T63" fmla="*/ 21 h 32"/>
                    <a:gd name="T64" fmla="*/ 0 w 23"/>
                    <a:gd name="T65" fmla="*/ 23 h 32"/>
                    <a:gd name="T66" fmla="*/ 1 w 23"/>
                    <a:gd name="T67" fmla="*/ 24 h 32"/>
                    <a:gd name="T68" fmla="*/ 0 w 23"/>
                    <a:gd name="T69" fmla="*/ 26 h 32"/>
                    <a:gd name="T70" fmla="*/ 0 w 23"/>
                    <a:gd name="T71" fmla="*/ 29 h 32"/>
                    <a:gd name="T72" fmla="*/ 0 w 23"/>
                    <a:gd name="T73" fmla="*/ 32 h 32"/>
                    <a:gd name="T74" fmla="*/ 0 w 23"/>
                    <a:gd name="T7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3" h="32">
                      <a:moveTo>
                        <a:pt x="0" y="32"/>
                      </a:moveTo>
                      <a:lnTo>
                        <a:pt x="1" y="31"/>
                      </a:lnTo>
                      <a:lnTo>
                        <a:pt x="3" y="27"/>
                      </a:lnTo>
                      <a:lnTo>
                        <a:pt x="5" y="26"/>
                      </a:lnTo>
                      <a:lnTo>
                        <a:pt x="5" y="21"/>
                      </a:lnTo>
                      <a:lnTo>
                        <a:pt x="6" y="21"/>
                      </a:lnTo>
                      <a:lnTo>
                        <a:pt x="6" y="19"/>
                      </a:lnTo>
                      <a:lnTo>
                        <a:pt x="8" y="18"/>
                      </a:lnTo>
                      <a:lnTo>
                        <a:pt x="10" y="18"/>
                      </a:lnTo>
                      <a:lnTo>
                        <a:pt x="11" y="16"/>
                      </a:lnTo>
                      <a:lnTo>
                        <a:pt x="14" y="11"/>
                      </a:lnTo>
                      <a:lnTo>
                        <a:pt x="18" y="8"/>
                      </a:lnTo>
                      <a:lnTo>
                        <a:pt x="21" y="6"/>
                      </a:lnTo>
                      <a:lnTo>
                        <a:pt x="23" y="5"/>
                      </a:lnTo>
                      <a:lnTo>
                        <a:pt x="23" y="1"/>
                      </a:lnTo>
                      <a:lnTo>
                        <a:pt x="23" y="0"/>
                      </a:lnTo>
                      <a:lnTo>
                        <a:pt x="19" y="0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1" y="8"/>
                      </a:lnTo>
                      <a:lnTo>
                        <a:pt x="10" y="8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6" y="8"/>
                      </a:lnTo>
                      <a:lnTo>
                        <a:pt x="8" y="10"/>
                      </a:lnTo>
                      <a:lnTo>
                        <a:pt x="6" y="11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3" y="16"/>
                      </a:lnTo>
                      <a:lnTo>
                        <a:pt x="3" y="19"/>
                      </a:lnTo>
                      <a:lnTo>
                        <a:pt x="0" y="21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0" y="26"/>
                      </a:lnTo>
                      <a:lnTo>
                        <a:pt x="0" y="29"/>
                      </a:lnTo>
                      <a:lnTo>
                        <a:pt x="0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2" name="Freeform 156">
                  <a:extLst>
                    <a:ext uri="{FF2B5EF4-FFF2-40B4-BE49-F238E27FC236}">
                      <a16:creationId xmlns:a16="http://schemas.microsoft.com/office/drawing/2014/main" xmlns="" id="{858F1E4C-3B63-42BE-B500-FBA836696D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9" y="1163"/>
                  <a:ext cx="12" cy="22"/>
                </a:xfrm>
                <a:custGeom>
                  <a:avLst/>
                  <a:gdLst>
                    <a:gd name="T0" fmla="*/ 2 w 7"/>
                    <a:gd name="T1" fmla="*/ 13 h 13"/>
                    <a:gd name="T2" fmla="*/ 3 w 7"/>
                    <a:gd name="T3" fmla="*/ 10 h 13"/>
                    <a:gd name="T4" fmla="*/ 3 w 7"/>
                    <a:gd name="T5" fmla="*/ 5 h 13"/>
                    <a:gd name="T6" fmla="*/ 4 w 7"/>
                    <a:gd name="T7" fmla="*/ 5 h 13"/>
                    <a:gd name="T8" fmla="*/ 7 w 7"/>
                    <a:gd name="T9" fmla="*/ 3 h 13"/>
                    <a:gd name="T10" fmla="*/ 7 w 7"/>
                    <a:gd name="T11" fmla="*/ 1 h 13"/>
                    <a:gd name="T12" fmla="*/ 6 w 7"/>
                    <a:gd name="T13" fmla="*/ 1 h 13"/>
                    <a:gd name="T14" fmla="*/ 5 w 7"/>
                    <a:gd name="T15" fmla="*/ 1 h 13"/>
                    <a:gd name="T16" fmla="*/ 4 w 7"/>
                    <a:gd name="T17" fmla="*/ 1 h 13"/>
                    <a:gd name="T18" fmla="*/ 3 w 7"/>
                    <a:gd name="T19" fmla="*/ 0 h 13"/>
                    <a:gd name="T20" fmla="*/ 2 w 7"/>
                    <a:gd name="T21" fmla="*/ 0 h 13"/>
                    <a:gd name="T22" fmla="*/ 2 w 7"/>
                    <a:gd name="T23" fmla="*/ 3 h 13"/>
                    <a:gd name="T24" fmla="*/ 2 w 7"/>
                    <a:gd name="T25" fmla="*/ 5 h 13"/>
                    <a:gd name="T26" fmla="*/ 1 w 7"/>
                    <a:gd name="T27" fmla="*/ 8 h 13"/>
                    <a:gd name="T28" fmla="*/ 0 w 7"/>
                    <a:gd name="T29" fmla="*/ 10 h 13"/>
                    <a:gd name="T30" fmla="*/ 1 w 7"/>
                    <a:gd name="T31" fmla="*/ 11 h 13"/>
                    <a:gd name="T32" fmla="*/ 2 w 7"/>
                    <a:gd name="T3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" h="13">
                      <a:moveTo>
                        <a:pt x="2" y="13"/>
                      </a:moveTo>
                      <a:cubicBezTo>
                        <a:pt x="2" y="13"/>
                        <a:pt x="3" y="10"/>
                        <a:pt x="3" y="10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2" y="13"/>
                        <a:pt x="2" y="13"/>
                        <a:pt x="2" y="13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3" name="Freeform 157">
                  <a:extLst>
                    <a:ext uri="{FF2B5EF4-FFF2-40B4-BE49-F238E27FC236}">
                      <a16:creationId xmlns:a16="http://schemas.microsoft.com/office/drawing/2014/main" xmlns="" id="{559AF4F9-AC0C-41BD-A0C3-6F10E08B5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8" y="925"/>
                  <a:ext cx="5" cy="5"/>
                </a:xfrm>
                <a:custGeom>
                  <a:avLst/>
                  <a:gdLst>
                    <a:gd name="T0" fmla="*/ 1 w 3"/>
                    <a:gd name="T1" fmla="*/ 0 h 3"/>
                    <a:gd name="T2" fmla="*/ 0 w 3"/>
                    <a:gd name="T3" fmla="*/ 2 h 3"/>
                    <a:gd name="T4" fmla="*/ 2 w 3"/>
                    <a:gd name="T5" fmla="*/ 3 h 3"/>
                    <a:gd name="T6" fmla="*/ 3 w 3"/>
                    <a:gd name="T7" fmla="*/ 2 h 3"/>
                    <a:gd name="T8" fmla="*/ 1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cubicBezTo>
                        <a:pt x="1" y="0"/>
                        <a:pt x="0" y="2"/>
                        <a:pt x="0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3" y="2"/>
                        <a:pt x="3" y="2"/>
                        <a:pt x="3" y="2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4" name="Freeform 158">
                  <a:extLst>
                    <a:ext uri="{FF2B5EF4-FFF2-40B4-BE49-F238E27FC236}">
                      <a16:creationId xmlns:a16="http://schemas.microsoft.com/office/drawing/2014/main" xmlns="" id="{1EE62419-CF2D-46D6-BB70-14783D2B91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7" y="229"/>
                  <a:ext cx="224" cy="281"/>
                </a:xfrm>
                <a:custGeom>
                  <a:avLst/>
                  <a:gdLst>
                    <a:gd name="T0" fmla="*/ 130 w 137"/>
                    <a:gd name="T1" fmla="*/ 15 h 172"/>
                    <a:gd name="T2" fmla="*/ 56 w 137"/>
                    <a:gd name="T3" fmla="*/ 1 h 172"/>
                    <a:gd name="T4" fmla="*/ 45 w 137"/>
                    <a:gd name="T5" fmla="*/ 17 h 172"/>
                    <a:gd name="T6" fmla="*/ 60 w 137"/>
                    <a:gd name="T7" fmla="*/ 31 h 172"/>
                    <a:gd name="T8" fmla="*/ 61 w 137"/>
                    <a:gd name="T9" fmla="*/ 33 h 172"/>
                    <a:gd name="T10" fmla="*/ 55 w 137"/>
                    <a:gd name="T11" fmla="*/ 36 h 172"/>
                    <a:gd name="T12" fmla="*/ 72 w 137"/>
                    <a:gd name="T13" fmla="*/ 42 h 172"/>
                    <a:gd name="T14" fmla="*/ 85 w 137"/>
                    <a:gd name="T15" fmla="*/ 43 h 172"/>
                    <a:gd name="T16" fmla="*/ 98 w 137"/>
                    <a:gd name="T17" fmla="*/ 31 h 172"/>
                    <a:gd name="T18" fmla="*/ 96 w 137"/>
                    <a:gd name="T19" fmla="*/ 16 h 172"/>
                    <a:gd name="T20" fmla="*/ 83 w 137"/>
                    <a:gd name="T21" fmla="*/ 12 h 172"/>
                    <a:gd name="T22" fmla="*/ 76 w 137"/>
                    <a:gd name="T23" fmla="*/ 17 h 172"/>
                    <a:gd name="T24" fmla="*/ 71 w 137"/>
                    <a:gd name="T25" fmla="*/ 9 h 172"/>
                    <a:gd name="T26" fmla="*/ 71 w 137"/>
                    <a:gd name="T27" fmla="*/ 24 h 172"/>
                    <a:gd name="T28" fmla="*/ 61 w 137"/>
                    <a:gd name="T29" fmla="*/ 18 h 172"/>
                    <a:gd name="T30" fmla="*/ 53 w 137"/>
                    <a:gd name="T31" fmla="*/ 7 h 172"/>
                    <a:gd name="T32" fmla="*/ 52 w 137"/>
                    <a:gd name="T33" fmla="*/ 20 h 172"/>
                    <a:gd name="T34" fmla="*/ 46 w 137"/>
                    <a:gd name="T35" fmla="*/ 24 h 172"/>
                    <a:gd name="T36" fmla="*/ 110 w 137"/>
                    <a:gd name="T37" fmla="*/ 55 h 172"/>
                    <a:gd name="T38" fmla="*/ 114 w 137"/>
                    <a:gd name="T39" fmla="*/ 53 h 172"/>
                    <a:gd name="T40" fmla="*/ 105 w 137"/>
                    <a:gd name="T41" fmla="*/ 59 h 172"/>
                    <a:gd name="T42" fmla="*/ 85 w 137"/>
                    <a:gd name="T43" fmla="*/ 74 h 172"/>
                    <a:gd name="T44" fmla="*/ 94 w 137"/>
                    <a:gd name="T45" fmla="*/ 84 h 172"/>
                    <a:gd name="T46" fmla="*/ 83 w 137"/>
                    <a:gd name="T47" fmla="*/ 96 h 172"/>
                    <a:gd name="T48" fmla="*/ 71 w 137"/>
                    <a:gd name="T49" fmla="*/ 96 h 172"/>
                    <a:gd name="T50" fmla="*/ 70 w 137"/>
                    <a:gd name="T51" fmla="*/ 79 h 172"/>
                    <a:gd name="T52" fmla="*/ 63 w 137"/>
                    <a:gd name="T53" fmla="*/ 67 h 172"/>
                    <a:gd name="T54" fmla="*/ 75 w 137"/>
                    <a:gd name="T55" fmla="*/ 72 h 172"/>
                    <a:gd name="T56" fmla="*/ 70 w 137"/>
                    <a:gd name="T57" fmla="*/ 63 h 172"/>
                    <a:gd name="T58" fmla="*/ 6 w 137"/>
                    <a:gd name="T59" fmla="*/ 70 h 172"/>
                    <a:gd name="T60" fmla="*/ 6 w 137"/>
                    <a:gd name="T61" fmla="*/ 67 h 172"/>
                    <a:gd name="T62" fmla="*/ 45 w 137"/>
                    <a:gd name="T63" fmla="*/ 120 h 172"/>
                    <a:gd name="T64" fmla="*/ 41 w 137"/>
                    <a:gd name="T65" fmla="*/ 109 h 172"/>
                    <a:gd name="T66" fmla="*/ 31 w 137"/>
                    <a:gd name="T67" fmla="*/ 104 h 172"/>
                    <a:gd name="T68" fmla="*/ 25 w 137"/>
                    <a:gd name="T69" fmla="*/ 96 h 172"/>
                    <a:gd name="T70" fmla="*/ 35 w 137"/>
                    <a:gd name="T71" fmla="*/ 93 h 172"/>
                    <a:gd name="T72" fmla="*/ 40 w 137"/>
                    <a:gd name="T73" fmla="*/ 87 h 172"/>
                    <a:gd name="T74" fmla="*/ 36 w 137"/>
                    <a:gd name="T75" fmla="*/ 84 h 172"/>
                    <a:gd name="T76" fmla="*/ 23 w 137"/>
                    <a:gd name="T77" fmla="*/ 85 h 172"/>
                    <a:gd name="T78" fmla="*/ 30 w 137"/>
                    <a:gd name="T79" fmla="*/ 77 h 172"/>
                    <a:gd name="T80" fmla="*/ 41 w 137"/>
                    <a:gd name="T81" fmla="*/ 69 h 172"/>
                    <a:gd name="T82" fmla="*/ 33 w 137"/>
                    <a:gd name="T83" fmla="*/ 70 h 172"/>
                    <a:gd name="T84" fmla="*/ 30 w 137"/>
                    <a:gd name="T85" fmla="*/ 64 h 172"/>
                    <a:gd name="T86" fmla="*/ 28 w 137"/>
                    <a:gd name="T87" fmla="*/ 72 h 172"/>
                    <a:gd name="T88" fmla="*/ 14 w 137"/>
                    <a:gd name="T89" fmla="*/ 71 h 172"/>
                    <a:gd name="T90" fmla="*/ 9 w 137"/>
                    <a:gd name="T91" fmla="*/ 63 h 172"/>
                    <a:gd name="T92" fmla="*/ 9 w 137"/>
                    <a:gd name="T93" fmla="*/ 59 h 172"/>
                    <a:gd name="T94" fmla="*/ 8 w 137"/>
                    <a:gd name="T95" fmla="*/ 47 h 172"/>
                    <a:gd name="T96" fmla="*/ 0 w 137"/>
                    <a:gd name="T97" fmla="*/ 41 h 172"/>
                    <a:gd name="T98" fmla="*/ 9 w 137"/>
                    <a:gd name="T99" fmla="*/ 36 h 172"/>
                    <a:gd name="T100" fmla="*/ 19 w 137"/>
                    <a:gd name="T101" fmla="*/ 34 h 172"/>
                    <a:gd name="T102" fmla="*/ 18 w 137"/>
                    <a:gd name="T103" fmla="*/ 38 h 172"/>
                    <a:gd name="T104" fmla="*/ 22 w 137"/>
                    <a:gd name="T105" fmla="*/ 48 h 172"/>
                    <a:gd name="T106" fmla="*/ 29 w 137"/>
                    <a:gd name="T107" fmla="*/ 42 h 172"/>
                    <a:gd name="T108" fmla="*/ 36 w 137"/>
                    <a:gd name="T109" fmla="*/ 56 h 172"/>
                    <a:gd name="T110" fmla="*/ 32 w 137"/>
                    <a:gd name="T111" fmla="*/ 29 h 172"/>
                    <a:gd name="T112" fmla="*/ 44 w 137"/>
                    <a:gd name="T113" fmla="*/ 33 h 172"/>
                    <a:gd name="T114" fmla="*/ 49 w 137"/>
                    <a:gd name="T115" fmla="*/ 37 h 172"/>
                    <a:gd name="T116" fmla="*/ 69 w 137"/>
                    <a:gd name="T117" fmla="*/ 57 h 172"/>
                    <a:gd name="T118" fmla="*/ 59 w 137"/>
                    <a:gd name="T119" fmla="*/ 66 h 172"/>
                    <a:gd name="T120" fmla="*/ 55 w 137"/>
                    <a:gd name="T121" fmla="*/ 85 h 172"/>
                    <a:gd name="T122" fmla="*/ 50 w 137"/>
                    <a:gd name="T123" fmla="*/ 101 h 172"/>
                    <a:gd name="T124" fmla="*/ 68 w 137"/>
                    <a:gd name="T125" fmla="*/ 17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7" h="172">
                      <a:moveTo>
                        <a:pt x="127" y="15"/>
                      </a:moveTo>
                      <a:cubicBezTo>
                        <a:pt x="127" y="14"/>
                        <a:pt x="128" y="13"/>
                        <a:pt x="128" y="13"/>
                      </a:cubicBezTo>
                      <a:cubicBezTo>
                        <a:pt x="130" y="13"/>
                        <a:pt x="130" y="13"/>
                        <a:pt x="130" y="13"/>
                      </a:cubicBezTo>
                      <a:cubicBezTo>
                        <a:pt x="131" y="12"/>
                        <a:pt x="131" y="12"/>
                        <a:pt x="131" y="12"/>
                      </a:cubicBezTo>
                      <a:cubicBezTo>
                        <a:pt x="133" y="10"/>
                        <a:pt x="133" y="10"/>
                        <a:pt x="133" y="10"/>
                      </a:cubicBezTo>
                      <a:cubicBezTo>
                        <a:pt x="135" y="9"/>
                        <a:pt x="135" y="9"/>
                        <a:pt x="135" y="9"/>
                      </a:cubicBezTo>
                      <a:cubicBezTo>
                        <a:pt x="137" y="9"/>
                        <a:pt x="137" y="9"/>
                        <a:pt x="137" y="9"/>
                      </a:cubicBezTo>
                      <a:cubicBezTo>
                        <a:pt x="137" y="9"/>
                        <a:pt x="137" y="9"/>
                        <a:pt x="137" y="9"/>
                      </a:cubicBezTo>
                      <a:cubicBezTo>
                        <a:pt x="137" y="10"/>
                        <a:pt x="137" y="10"/>
                        <a:pt x="137" y="10"/>
                      </a:cubicBezTo>
                      <a:cubicBezTo>
                        <a:pt x="134" y="12"/>
                        <a:pt x="134" y="12"/>
                        <a:pt x="134" y="12"/>
                      </a:cubicBezTo>
                      <a:cubicBezTo>
                        <a:pt x="133" y="13"/>
                        <a:pt x="133" y="13"/>
                        <a:pt x="133" y="13"/>
                      </a:cubicBezTo>
                      <a:cubicBezTo>
                        <a:pt x="130" y="15"/>
                        <a:pt x="130" y="15"/>
                        <a:pt x="130" y="15"/>
                      </a:cubicBezTo>
                      <a:cubicBezTo>
                        <a:pt x="128" y="16"/>
                        <a:pt x="128" y="16"/>
                        <a:pt x="128" y="16"/>
                      </a:cubicBezTo>
                      <a:cubicBezTo>
                        <a:pt x="127" y="15"/>
                        <a:pt x="127" y="15"/>
                        <a:pt x="127" y="15"/>
                      </a:cubicBezTo>
                      <a:cubicBezTo>
                        <a:pt x="127" y="15"/>
                        <a:pt x="127" y="15"/>
                        <a:pt x="127" y="15"/>
                      </a:cubicBezTo>
                      <a:close/>
                      <a:moveTo>
                        <a:pt x="103" y="16"/>
                      </a:move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5" y="18"/>
                        <a:pt x="105" y="18"/>
                        <a:pt x="105" y="18"/>
                      </a:cubicBezTo>
                      <a:cubicBezTo>
                        <a:pt x="105" y="17"/>
                        <a:pt x="105" y="17"/>
                        <a:pt x="105" y="17"/>
                      </a:cubicBezTo>
                      <a:cubicBezTo>
                        <a:pt x="105" y="16"/>
                        <a:pt x="105" y="16"/>
                        <a:pt x="105" y="16"/>
                      </a:cubicBezTo>
                      <a:cubicBezTo>
                        <a:pt x="104" y="15"/>
                        <a:pt x="104" y="15"/>
                        <a:pt x="104" y="15"/>
                      </a:cubicBezTo>
                      <a:cubicBezTo>
                        <a:pt x="103" y="15"/>
                        <a:pt x="103" y="15"/>
                        <a:pt x="103" y="15"/>
                      </a:cubicBezTo>
                      <a:cubicBezTo>
                        <a:pt x="103" y="16"/>
                        <a:pt x="103" y="16"/>
                        <a:pt x="103" y="16"/>
                      </a:cubicBezTo>
                      <a:close/>
                      <a:moveTo>
                        <a:pt x="56" y="1"/>
                      </a:moveTo>
                      <a:cubicBezTo>
                        <a:pt x="59" y="4"/>
                        <a:pt x="59" y="4"/>
                        <a:pt x="59" y="4"/>
                      </a:cubicBezTo>
                      <a:cubicBezTo>
                        <a:pt x="61" y="4"/>
                        <a:pt x="61" y="4"/>
                        <a:pt x="61" y="4"/>
                      </a:cubicBezTo>
                      <a:cubicBezTo>
                        <a:pt x="61" y="3"/>
                        <a:pt x="61" y="3"/>
                        <a:pt x="61" y="3"/>
                      </a:cubicBezTo>
                      <a:cubicBezTo>
                        <a:pt x="62" y="2"/>
                        <a:pt x="62" y="2"/>
                        <a:pt x="62" y="2"/>
                      </a:cubicBezTo>
                      <a:cubicBezTo>
                        <a:pt x="61" y="1"/>
                        <a:pt x="61" y="1"/>
                        <a:pt x="61" y="1"/>
                      </a:cubicBezTo>
                      <a:cubicBezTo>
                        <a:pt x="59" y="2"/>
                        <a:pt x="59" y="2"/>
                        <a:pt x="59" y="2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6" y="1"/>
                        <a:pt x="56" y="1"/>
                        <a:pt x="56" y="1"/>
                      </a:cubicBezTo>
                      <a:close/>
                      <a:moveTo>
                        <a:pt x="47" y="18"/>
                      </a:moveTo>
                      <a:cubicBezTo>
                        <a:pt x="45" y="17"/>
                        <a:pt x="45" y="17"/>
                        <a:pt x="45" y="17"/>
                      </a:cubicBezTo>
                      <a:cubicBezTo>
                        <a:pt x="45" y="16"/>
                        <a:pt x="45" y="16"/>
                        <a:pt x="45" y="16"/>
                      </a:cubicBezTo>
                      <a:cubicBezTo>
                        <a:pt x="45" y="15"/>
                        <a:pt x="45" y="15"/>
                        <a:pt x="45" y="15"/>
                      </a:cubicBez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8" y="18"/>
                        <a:pt x="48" y="18"/>
                        <a:pt x="48" y="18"/>
                      </a:cubicBezTo>
                      <a:cubicBezTo>
                        <a:pt x="47" y="18"/>
                        <a:pt x="47" y="18"/>
                        <a:pt x="47" y="18"/>
                      </a:cubicBezTo>
                      <a:close/>
                      <a:moveTo>
                        <a:pt x="56" y="33"/>
                      </a:moveTo>
                      <a:cubicBezTo>
                        <a:pt x="56" y="33"/>
                        <a:pt x="57" y="33"/>
                        <a:pt x="57" y="33"/>
                      </a:cubicBezTo>
                      <a:cubicBezTo>
                        <a:pt x="59" y="32"/>
                        <a:pt x="59" y="32"/>
                        <a:pt x="59" y="32"/>
                      </a:cubicBezTo>
                      <a:cubicBezTo>
                        <a:pt x="60" y="31"/>
                        <a:pt x="60" y="31"/>
                        <a:pt x="60" y="31"/>
                      </a:cubicBezTo>
                      <a:cubicBezTo>
                        <a:pt x="63" y="31"/>
                        <a:pt x="63" y="31"/>
                        <a:pt x="63" y="31"/>
                      </a:cubicBezTo>
                      <a:cubicBezTo>
                        <a:pt x="66" y="31"/>
                        <a:pt x="66" y="31"/>
                        <a:pt x="66" y="31"/>
                      </a:cubicBezTo>
                      <a:cubicBezTo>
                        <a:pt x="67" y="30"/>
                        <a:pt x="67" y="30"/>
                        <a:pt x="67" y="30"/>
                      </a:cubicBezTo>
                      <a:cubicBezTo>
                        <a:pt x="69" y="30"/>
                        <a:pt x="69" y="30"/>
                        <a:pt x="69" y="30"/>
                      </a:cubicBezTo>
                      <a:cubicBezTo>
                        <a:pt x="69" y="30"/>
                        <a:pt x="69" y="30"/>
                        <a:pt x="69" y="30"/>
                      </a:cubicBezTo>
                      <a:cubicBezTo>
                        <a:pt x="69" y="31"/>
                        <a:pt x="69" y="31"/>
                        <a:pt x="69" y="31"/>
                      </a:cubicBezTo>
                      <a:cubicBezTo>
                        <a:pt x="69" y="32"/>
                        <a:pt x="69" y="32"/>
                        <a:pt x="69" y="32"/>
                      </a:cubicBezTo>
                      <a:cubicBezTo>
                        <a:pt x="68" y="33"/>
                        <a:pt x="68" y="33"/>
                        <a:pt x="68" y="33"/>
                      </a:cubicBezTo>
                      <a:cubicBezTo>
                        <a:pt x="67" y="34"/>
                        <a:pt x="67" y="34"/>
                        <a:pt x="67" y="34"/>
                      </a:cubicBezTo>
                      <a:cubicBezTo>
                        <a:pt x="65" y="33"/>
                        <a:pt x="65" y="33"/>
                        <a:pt x="65" y="33"/>
                      </a:cubicBezTo>
                      <a:cubicBezTo>
                        <a:pt x="63" y="33"/>
                        <a:pt x="63" y="33"/>
                        <a:pt x="63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4"/>
                        <a:pt x="61" y="34"/>
                        <a:pt x="61" y="34"/>
                      </a:cubicBezTo>
                      <a:cubicBezTo>
                        <a:pt x="61" y="34"/>
                        <a:pt x="61" y="34"/>
                        <a:pt x="61" y="34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37"/>
                        <a:pt x="65" y="37"/>
                        <a:pt x="65" y="37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2" y="36"/>
                        <a:pt x="62" y="36"/>
                        <a:pt x="62" y="36"/>
                      </a:cubicBezTo>
                      <a:cubicBezTo>
                        <a:pt x="62" y="37"/>
                        <a:pt x="62" y="37"/>
                        <a:pt x="62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59" y="35"/>
                        <a:pt x="59" y="35"/>
                        <a:pt x="59" y="35"/>
                      </a:cubicBezTo>
                      <a:cubicBezTo>
                        <a:pt x="57" y="35"/>
                        <a:pt x="57" y="35"/>
                        <a:pt x="57" y="35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7"/>
                        <a:pt x="55" y="37"/>
                        <a:pt x="55" y="37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61" y="41"/>
                        <a:pt x="61" y="41"/>
                        <a:pt x="61" y="41"/>
                      </a:cubicBezTo>
                      <a:cubicBezTo>
                        <a:pt x="62" y="40"/>
                        <a:pt x="62" y="40"/>
                        <a:pt x="62" y="40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4" y="42"/>
                        <a:pt x="64" y="42"/>
                        <a:pt x="64" y="42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5" y="44"/>
                        <a:pt x="65" y="44"/>
                        <a:pt x="65" y="44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70" y="43"/>
                        <a:pt x="70" y="43"/>
                        <a:pt x="70" y="43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4" y="42"/>
                        <a:pt x="74" y="42"/>
                        <a:pt x="74" y="42"/>
                      </a:cubicBezTo>
                      <a:cubicBezTo>
                        <a:pt x="77" y="42"/>
                        <a:pt x="77" y="42"/>
                        <a:pt x="77" y="42"/>
                      </a:cubicBezTo>
                      <a:cubicBezTo>
                        <a:pt x="77" y="43"/>
                        <a:pt x="77" y="43"/>
                        <a:pt x="77" y="43"/>
                      </a:cubicBezTo>
                      <a:cubicBezTo>
                        <a:pt x="77" y="44"/>
                        <a:pt x="77" y="44"/>
                        <a:pt x="77" y="44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ubicBezTo>
                        <a:pt x="79" y="48"/>
                        <a:pt x="79" y="48"/>
                        <a:pt x="79" y="48"/>
                      </a:cubicBezTo>
                      <a:cubicBezTo>
                        <a:pt x="81" y="48"/>
                        <a:pt x="81" y="48"/>
                        <a:pt x="81" y="48"/>
                      </a:cubicBezTo>
                      <a:cubicBezTo>
                        <a:pt x="84" y="47"/>
                        <a:pt x="84" y="47"/>
                        <a:pt x="84" y="47"/>
                      </a:cubicBezTo>
                      <a:cubicBezTo>
                        <a:pt x="85" y="46"/>
                        <a:pt x="85" y="46"/>
                        <a:pt x="85" y="46"/>
                      </a:cubicBezTo>
                      <a:cubicBezTo>
                        <a:pt x="84" y="45"/>
                        <a:pt x="84" y="45"/>
                        <a:pt x="84" y="45"/>
                      </a:cubicBezTo>
                      <a:cubicBezTo>
                        <a:pt x="84" y="44"/>
                        <a:pt x="84" y="44"/>
                        <a:pt x="84" y="44"/>
                      </a:cubicBezTo>
                      <a:cubicBezTo>
                        <a:pt x="85" y="43"/>
                        <a:pt x="85" y="43"/>
                        <a:pt x="85" y="43"/>
                      </a:cubicBezTo>
                      <a:cubicBezTo>
                        <a:pt x="87" y="41"/>
                        <a:pt x="87" y="41"/>
                        <a:pt x="87" y="41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42"/>
                        <a:pt x="89" y="42"/>
                        <a:pt x="89" y="42"/>
                      </a:cubicBezTo>
                      <a:cubicBezTo>
                        <a:pt x="91" y="43"/>
                        <a:pt x="91" y="43"/>
                        <a:pt x="91" y="43"/>
                      </a:cubicBezTo>
                      <a:cubicBezTo>
                        <a:pt x="93" y="43"/>
                        <a:pt x="93" y="43"/>
                        <a:pt x="93" y="43"/>
                      </a:cubicBezTo>
                      <a:cubicBezTo>
                        <a:pt x="95" y="41"/>
                        <a:pt x="95" y="41"/>
                        <a:pt x="95" y="41"/>
                      </a:cubicBezTo>
                      <a:cubicBezTo>
                        <a:pt x="95" y="40"/>
                        <a:pt x="95" y="40"/>
                        <a:pt x="95" y="40"/>
                      </a:cubicBezTo>
                      <a:cubicBezTo>
                        <a:pt x="95" y="38"/>
                        <a:pt x="95" y="38"/>
                        <a:pt x="95" y="38"/>
                      </a:cubicBezTo>
                      <a:cubicBezTo>
                        <a:pt x="94" y="36"/>
                        <a:pt x="94" y="36"/>
                        <a:pt x="94" y="36"/>
                      </a:cubicBezTo>
                      <a:cubicBezTo>
                        <a:pt x="95" y="35"/>
                        <a:pt x="95" y="35"/>
                        <a:pt x="95" y="35"/>
                      </a:cubicBezTo>
                      <a:cubicBezTo>
                        <a:pt x="97" y="34"/>
                        <a:pt x="97" y="34"/>
                        <a:pt x="97" y="34"/>
                      </a:cubicBezTo>
                      <a:cubicBezTo>
                        <a:pt x="98" y="31"/>
                        <a:pt x="98" y="31"/>
                        <a:pt x="98" y="31"/>
                      </a:cubicBezTo>
                      <a:cubicBezTo>
                        <a:pt x="99" y="29"/>
                        <a:pt x="99" y="29"/>
                        <a:pt x="99" y="29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102" y="25"/>
                        <a:pt x="102" y="25"/>
                        <a:pt x="102" y="25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101" y="22"/>
                        <a:pt x="101" y="22"/>
                        <a:pt x="101" y="22"/>
                      </a:cubicBezTo>
                      <a:cubicBezTo>
                        <a:pt x="101" y="21"/>
                        <a:pt x="101" y="21"/>
                        <a:pt x="101" y="21"/>
                      </a:cubicBezTo>
                      <a:cubicBezTo>
                        <a:pt x="101" y="20"/>
                        <a:pt x="101" y="20"/>
                        <a:pt x="101" y="20"/>
                      </a:cubicBezTo>
                      <a:cubicBezTo>
                        <a:pt x="102" y="18"/>
                        <a:pt x="102" y="18"/>
                        <a:pt x="102" y="18"/>
                      </a:cubicBezTo>
                      <a:cubicBezTo>
                        <a:pt x="101" y="18"/>
                        <a:pt x="101" y="18"/>
                        <a:pt x="101" y="18"/>
                      </a:cubicBezTo>
                      <a:cubicBezTo>
                        <a:pt x="98" y="18"/>
                        <a:pt x="98" y="18"/>
                        <a:pt x="98" y="18"/>
                      </a:cubicBezTo>
                      <a:cubicBezTo>
                        <a:pt x="97" y="16"/>
                        <a:pt x="97" y="16"/>
                        <a:pt x="97" y="16"/>
                      </a:cubicBezTo>
                      <a:cubicBezTo>
                        <a:pt x="96" y="16"/>
                        <a:pt x="96" y="16"/>
                        <a:pt x="96" y="16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91" y="16"/>
                        <a:pt x="91" y="16"/>
                        <a:pt x="91" y="16"/>
                      </a:cubicBezTo>
                      <a:cubicBezTo>
                        <a:pt x="89" y="15"/>
                        <a:pt x="89" y="15"/>
                        <a:pt x="89" y="15"/>
                      </a:cubicBezTo>
                      <a:cubicBezTo>
                        <a:pt x="88" y="15"/>
                        <a:pt x="88" y="15"/>
                        <a:pt x="88" y="15"/>
                      </a:cubicBezTo>
                      <a:cubicBezTo>
                        <a:pt x="86" y="15"/>
                        <a:pt x="86" y="15"/>
                        <a:pt x="86" y="15"/>
                      </a:cubicBezTo>
                      <a:cubicBezTo>
                        <a:pt x="86" y="14"/>
                        <a:pt x="86" y="14"/>
                        <a:pt x="86" y="14"/>
                      </a:cubicBezTo>
                      <a:cubicBezTo>
                        <a:pt x="85" y="13"/>
                        <a:pt x="85" y="13"/>
                        <a:pt x="85" y="13"/>
                      </a:cubicBezTo>
                      <a:cubicBezTo>
                        <a:pt x="84" y="14"/>
                        <a:pt x="84" y="14"/>
                        <a:pt x="84" y="14"/>
                      </a:cubicBezTo>
                      <a:cubicBezTo>
                        <a:pt x="84" y="13"/>
                        <a:pt x="84" y="13"/>
                        <a:pt x="84" y="13"/>
                      </a:cubicBezTo>
                      <a:cubicBezTo>
                        <a:pt x="84" y="12"/>
                        <a:pt x="84" y="12"/>
                        <a:pt x="84" y="12"/>
                      </a:cubicBezTo>
                      <a:cubicBezTo>
                        <a:pt x="84" y="11"/>
                        <a:pt x="84" y="11"/>
                        <a:pt x="84" y="11"/>
                      </a:cubicBezTo>
                      <a:cubicBezTo>
                        <a:pt x="83" y="12"/>
                        <a:pt x="83" y="12"/>
                        <a:pt x="83" y="12"/>
                      </a:cubicBezTo>
                      <a:cubicBezTo>
                        <a:pt x="82" y="13"/>
                        <a:pt x="82" y="13"/>
                        <a:pt x="82" y="13"/>
                      </a:cubicBezTo>
                      <a:cubicBezTo>
                        <a:pt x="81" y="14"/>
                        <a:pt x="81" y="14"/>
                        <a:pt x="81" y="14"/>
                      </a:cubicBezTo>
                      <a:cubicBezTo>
                        <a:pt x="81" y="12"/>
                        <a:pt x="81" y="12"/>
                        <a:pt x="81" y="12"/>
                      </a:cubicBezTo>
                      <a:cubicBezTo>
                        <a:pt x="80" y="11"/>
                        <a:pt x="80" y="11"/>
                        <a:pt x="80" y="11"/>
                      </a:cubicBezTo>
                      <a:cubicBezTo>
                        <a:pt x="80" y="12"/>
                        <a:pt x="80" y="12"/>
                        <a:pt x="80" y="12"/>
                      </a:cubicBezTo>
                      <a:cubicBezTo>
                        <a:pt x="80" y="13"/>
                        <a:pt x="80" y="13"/>
                        <a:pt x="80" y="13"/>
                      </a:cubicBezTo>
                      <a:cubicBezTo>
                        <a:pt x="80" y="14"/>
                        <a:pt x="80" y="14"/>
                        <a:pt x="80" y="14"/>
                      </a:cubicBezTo>
                      <a:cubicBezTo>
                        <a:pt x="78" y="15"/>
                        <a:pt x="78" y="15"/>
                        <a:pt x="78" y="15"/>
                      </a:cubicBezTo>
                      <a:cubicBezTo>
                        <a:pt x="78" y="17"/>
                        <a:pt x="78" y="17"/>
                        <a:pt x="78" y="17"/>
                      </a:cubicBezTo>
                      <a:cubicBezTo>
                        <a:pt x="78" y="18"/>
                        <a:pt x="78" y="18"/>
                        <a:pt x="78" y="18"/>
                      </a:cubicBezTo>
                      <a:cubicBezTo>
                        <a:pt x="77" y="18"/>
                        <a:pt x="77" y="18"/>
                        <a:pt x="77" y="18"/>
                      </a:cubicBezTo>
                      <a:cubicBezTo>
                        <a:pt x="76" y="17"/>
                        <a:pt x="76" y="17"/>
                        <a:pt x="76" y="17"/>
                      </a:cubicBezTo>
                      <a:cubicBezTo>
                        <a:pt x="76" y="16"/>
                        <a:pt x="76" y="16"/>
                        <a:pt x="76" y="16"/>
                      </a:cubicBezTo>
                      <a:cubicBezTo>
                        <a:pt x="76" y="18"/>
                        <a:pt x="76" y="18"/>
                        <a:pt x="76" y="18"/>
                      </a:cubicBezTo>
                      <a:cubicBezTo>
                        <a:pt x="75" y="19"/>
                        <a:pt x="75" y="19"/>
                        <a:pt x="75" y="19"/>
                      </a:cubicBezTo>
                      <a:cubicBezTo>
                        <a:pt x="75" y="18"/>
                        <a:pt x="75" y="18"/>
                        <a:pt x="75" y="18"/>
                      </a:cubicBezTo>
                      <a:cubicBezTo>
                        <a:pt x="75" y="16"/>
                        <a:pt x="75" y="16"/>
                        <a:pt x="75" y="16"/>
                      </a:cubicBezTo>
                      <a:cubicBezTo>
                        <a:pt x="75" y="14"/>
                        <a:pt x="75" y="14"/>
                        <a:pt x="75" y="14"/>
                      </a:cubicBezTo>
                      <a:cubicBezTo>
                        <a:pt x="75" y="11"/>
                        <a:pt x="75" y="11"/>
                        <a:pt x="75" y="11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3" y="9"/>
                        <a:pt x="73" y="9"/>
                        <a:pt x="73" y="9"/>
                      </a:cubicBezTo>
                      <a:cubicBezTo>
                        <a:pt x="72" y="7"/>
                        <a:pt x="72" y="7"/>
                        <a:pt x="72" y="7"/>
                      </a:cubicBezTo>
                      <a:cubicBezTo>
                        <a:pt x="71" y="7"/>
                        <a:pt x="71" y="7"/>
                        <a:pt x="71" y="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2" y="10"/>
                        <a:pt x="72" y="10"/>
                        <a:pt x="72" y="10"/>
                      </a:cubicBezTo>
                      <a:cubicBezTo>
                        <a:pt x="72" y="11"/>
                        <a:pt x="72" y="11"/>
                        <a:pt x="72" y="11"/>
                      </a:cubicBezTo>
                      <a:cubicBezTo>
                        <a:pt x="71" y="11"/>
                        <a:pt x="71" y="11"/>
                        <a:pt x="71" y="11"/>
                      </a:cubicBezTo>
                      <a:cubicBezTo>
                        <a:pt x="70" y="10"/>
                        <a:pt x="70" y="10"/>
                        <a:pt x="70" y="10"/>
                      </a:cubicBezTo>
                      <a:cubicBezTo>
                        <a:pt x="69" y="10"/>
                        <a:pt x="69" y="10"/>
                        <a:pt x="69" y="10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1" y="14"/>
                        <a:pt x="71" y="14"/>
                        <a:pt x="71" y="14"/>
                      </a:cubicBezTo>
                      <a:cubicBezTo>
                        <a:pt x="71" y="16"/>
                        <a:pt x="71" y="16"/>
                        <a:pt x="71" y="16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2" y="22"/>
                        <a:pt x="72" y="22"/>
                        <a:pt x="72" y="22"/>
                      </a:cubicBezTo>
                      <a:cubicBezTo>
                        <a:pt x="71" y="24"/>
                        <a:pt x="71" y="24"/>
                        <a:pt x="71" y="24"/>
                      </a:cubicBezTo>
                      <a:cubicBezTo>
                        <a:pt x="70" y="24"/>
                        <a:pt x="70" y="24"/>
                        <a:pt x="70" y="24"/>
                      </a:cubicBezTo>
                      <a:cubicBezTo>
                        <a:pt x="70" y="22"/>
                        <a:pt x="70" y="22"/>
                        <a:pt x="70" y="22"/>
                      </a:cubicBezTo>
                      <a:cubicBezTo>
                        <a:pt x="68" y="21"/>
                        <a:pt x="68" y="21"/>
                        <a:pt x="68" y="21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6" y="18"/>
                        <a:pt x="66" y="18"/>
                        <a:pt x="66" y="18"/>
                      </a:cubicBezTo>
                      <a:cubicBezTo>
                        <a:pt x="67" y="17"/>
                        <a:pt x="67" y="17"/>
                        <a:pt x="67" y="17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66" y="15"/>
                        <a:pt x="66" y="15"/>
                        <a:pt x="66" y="15"/>
                      </a:cubicBezTo>
                      <a:cubicBezTo>
                        <a:pt x="64" y="16"/>
                        <a:pt x="64" y="16"/>
                        <a:pt x="64" y="16"/>
                      </a:cubicBezTo>
                      <a:cubicBezTo>
                        <a:pt x="63" y="16"/>
                        <a:pt x="63" y="16"/>
                        <a:pt x="63" y="16"/>
                      </a:cubicBezTo>
                      <a:cubicBezTo>
                        <a:pt x="63" y="17"/>
                        <a:pt x="63" y="17"/>
                        <a:pt x="63" y="17"/>
                      </a:cubicBezTo>
                      <a:cubicBezTo>
                        <a:pt x="61" y="18"/>
                        <a:pt x="61" y="18"/>
                        <a:pt x="61" y="18"/>
                      </a:cubicBezTo>
                      <a:cubicBezTo>
                        <a:pt x="60" y="17"/>
                        <a:pt x="60" y="17"/>
                        <a:pt x="60" y="17"/>
                      </a:cubicBezTo>
                      <a:cubicBezTo>
                        <a:pt x="60" y="16"/>
                        <a:pt x="60" y="16"/>
                        <a:pt x="60" y="16"/>
                      </a:cubicBezTo>
                      <a:cubicBezTo>
                        <a:pt x="60" y="16"/>
                        <a:pt x="60" y="16"/>
                        <a:pt x="6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7" y="12"/>
                        <a:pt x="57" y="12"/>
                        <a:pt x="57" y="12"/>
                      </a:cubicBezTo>
                      <a:cubicBezTo>
                        <a:pt x="56" y="12"/>
                        <a:pt x="56" y="12"/>
                        <a:pt x="56" y="12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cubicBezTo>
                        <a:pt x="54" y="9"/>
                        <a:pt x="54" y="9"/>
                        <a:pt x="54" y="9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3" y="7"/>
                        <a:pt x="53" y="7"/>
                        <a:pt x="53" y="7"/>
                      </a:cubicBezTo>
                      <a:cubicBezTo>
                        <a:pt x="52" y="9"/>
                        <a:pt x="52" y="9"/>
                        <a:pt x="52" y="9"/>
                      </a:cubicBezTo>
                      <a:cubicBezTo>
                        <a:pt x="52" y="11"/>
                        <a:pt x="52" y="11"/>
                        <a:pt x="52" y="11"/>
                      </a:cubicBezTo>
                      <a:cubicBezTo>
                        <a:pt x="52" y="13"/>
                        <a:pt x="52" y="13"/>
                        <a:pt x="52" y="13"/>
                      </a:cubicBezTo>
                      <a:cubicBezTo>
                        <a:pt x="53" y="15"/>
                        <a:pt x="53" y="15"/>
                        <a:pt x="53" y="15"/>
                      </a:cubicBezTo>
                      <a:cubicBezTo>
                        <a:pt x="54" y="18"/>
                        <a:pt x="54" y="18"/>
                        <a:pt x="54" y="18"/>
                      </a:cubicBezTo>
                      <a:cubicBezTo>
                        <a:pt x="53" y="19"/>
                        <a:pt x="53" y="19"/>
                        <a:pt x="53" y="19"/>
                      </a:cubicBezTo>
                      <a:cubicBezTo>
                        <a:pt x="52" y="17"/>
                        <a:pt x="52" y="17"/>
                        <a:pt x="52" y="17"/>
                      </a:cubicBezTo>
                      <a:cubicBezTo>
                        <a:pt x="51" y="16"/>
                        <a:pt x="51" y="16"/>
                        <a:pt x="51" y="16"/>
                      </a:cubicBezTo>
                      <a:cubicBezTo>
                        <a:pt x="50" y="15"/>
                        <a:pt x="50" y="15"/>
                        <a:pt x="50" y="15"/>
                      </a:cubicBezTo>
                      <a:cubicBezTo>
                        <a:pt x="50" y="17"/>
                        <a:pt x="50" y="17"/>
                        <a:pt x="50" y="17"/>
                      </a:cubicBezTo>
                      <a:cubicBezTo>
                        <a:pt x="51" y="19"/>
                        <a:pt x="51" y="19"/>
                        <a:pt x="51" y="19"/>
                      </a:cubicBezTo>
                      <a:cubicBezTo>
                        <a:pt x="52" y="20"/>
                        <a:pt x="52" y="20"/>
                        <a:pt x="52" y="20"/>
                      </a:cubicBezTo>
                      <a:cubicBezTo>
                        <a:pt x="52" y="22"/>
                        <a:pt x="52" y="22"/>
                        <a:pt x="52" y="22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0" y="23"/>
                        <a:pt x="50" y="23"/>
                        <a:pt x="50" y="23"/>
                      </a:cubicBezTo>
                      <a:cubicBezTo>
                        <a:pt x="50" y="20"/>
                        <a:pt x="50" y="20"/>
                        <a:pt x="50" y="20"/>
                      </a:cubicBez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46" y="20"/>
                        <a:pt x="46" y="20"/>
                        <a:pt x="46" y="20"/>
                      </a:cubicBezTo>
                      <a:cubicBezTo>
                        <a:pt x="44" y="19"/>
                        <a:pt x="44" y="19"/>
                        <a:pt x="44" y="19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4" y="22"/>
                        <a:pt x="44" y="22"/>
                        <a:pt x="44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4"/>
                        <a:pt x="46" y="24"/>
                        <a:pt x="46" y="24"/>
                      </a:cubicBezTo>
                      <a:cubicBezTo>
                        <a:pt x="46" y="25"/>
                        <a:pt x="46" y="25"/>
                        <a:pt x="46" y="25"/>
                      </a:cubicBezTo>
                      <a:cubicBezTo>
                        <a:pt x="48" y="25"/>
                        <a:pt x="48" y="25"/>
                        <a:pt x="48" y="25"/>
                      </a:cubicBezTo>
                      <a:cubicBezTo>
                        <a:pt x="48" y="25"/>
                        <a:pt x="48" y="25"/>
                        <a:pt x="48" y="25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8" y="31"/>
                        <a:pt x="48" y="31"/>
                        <a:pt x="48" y="31"/>
                      </a:cubicBezTo>
                      <a:cubicBezTo>
                        <a:pt x="49" y="32"/>
                        <a:pt x="49" y="32"/>
                        <a:pt x="49" y="32"/>
                      </a:cubicBezTo>
                      <a:cubicBezTo>
                        <a:pt x="51" y="33"/>
                        <a:pt x="51" y="33"/>
                        <a:pt x="51" y="33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lose/>
                      <a:moveTo>
                        <a:pt x="110" y="55"/>
                      </a:moveTo>
                      <a:cubicBezTo>
                        <a:pt x="112" y="53"/>
                        <a:pt x="112" y="53"/>
                        <a:pt x="112" y="53"/>
                      </a:cubicBezTo>
                      <a:cubicBezTo>
                        <a:pt x="114" y="51"/>
                        <a:pt x="114" y="51"/>
                        <a:pt x="114" y="51"/>
                      </a:cubicBezTo>
                      <a:cubicBezTo>
                        <a:pt x="115" y="51"/>
                        <a:pt x="115" y="51"/>
                        <a:pt x="115" y="51"/>
                      </a:cubicBezTo>
                      <a:cubicBezTo>
                        <a:pt x="116" y="50"/>
                        <a:pt x="116" y="50"/>
                        <a:pt x="116" y="50"/>
                      </a:cubicBezTo>
                      <a:cubicBezTo>
                        <a:pt x="117" y="51"/>
                        <a:pt x="117" y="51"/>
                        <a:pt x="117" y="51"/>
                      </a:cubicBezTo>
                      <a:cubicBezTo>
                        <a:pt x="119" y="52"/>
                        <a:pt x="119" y="52"/>
                        <a:pt x="119" y="52"/>
                      </a:cubicBezTo>
                      <a:cubicBezTo>
                        <a:pt x="121" y="52"/>
                        <a:pt x="121" y="52"/>
                        <a:pt x="121" y="52"/>
                      </a:cubicBezTo>
                      <a:cubicBezTo>
                        <a:pt x="120" y="53"/>
                        <a:pt x="120" y="53"/>
                        <a:pt x="120" y="53"/>
                      </a:cubicBezTo>
                      <a:cubicBezTo>
                        <a:pt x="118" y="54"/>
                        <a:pt x="118" y="54"/>
                        <a:pt x="118" y="54"/>
                      </a:cubicBezTo>
                      <a:cubicBezTo>
                        <a:pt x="116" y="53"/>
                        <a:pt x="116" y="53"/>
                        <a:pt x="116" y="53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4" y="53"/>
                        <a:pt x="114" y="53"/>
                        <a:pt x="114" y="53"/>
                      </a:cubicBezTo>
                      <a:cubicBezTo>
                        <a:pt x="113" y="53"/>
                        <a:pt x="113" y="53"/>
                        <a:pt x="113" y="53"/>
                      </a:cubicBezTo>
                      <a:cubicBezTo>
                        <a:pt x="111" y="56"/>
                        <a:pt x="111" y="56"/>
                        <a:pt x="111" y="56"/>
                      </a:cubicBezTo>
                      <a:cubicBezTo>
                        <a:pt x="110" y="55"/>
                        <a:pt x="110" y="55"/>
                        <a:pt x="110" y="55"/>
                      </a:cubicBezTo>
                      <a:close/>
                      <a:moveTo>
                        <a:pt x="103" y="62"/>
                      </a:moveTo>
                      <a:cubicBezTo>
                        <a:pt x="103" y="60"/>
                        <a:pt x="103" y="60"/>
                        <a:pt x="103" y="60"/>
                      </a:cubicBezTo>
                      <a:cubicBezTo>
                        <a:pt x="102" y="59"/>
                        <a:pt x="102" y="59"/>
                        <a:pt x="102" y="59"/>
                      </a:cubicBezTo>
                      <a:cubicBezTo>
                        <a:pt x="102" y="57"/>
                        <a:pt x="102" y="57"/>
                        <a:pt x="102" y="57"/>
                      </a:cubicBezTo>
                      <a:cubicBezTo>
                        <a:pt x="103" y="57"/>
                        <a:pt x="103" y="57"/>
                        <a:pt x="103" y="57"/>
                      </a:cubicBezTo>
                      <a:cubicBezTo>
                        <a:pt x="103" y="56"/>
                        <a:pt x="103" y="56"/>
                        <a:pt x="103" y="56"/>
                      </a:cubicBezTo>
                      <a:cubicBezTo>
                        <a:pt x="104" y="56"/>
                        <a:pt x="104" y="56"/>
                        <a:pt x="104" y="56"/>
                      </a:cubicBezTo>
                      <a:cubicBezTo>
                        <a:pt x="104" y="58"/>
                        <a:pt x="104" y="58"/>
                        <a:pt x="104" y="58"/>
                      </a:cubicBezTo>
                      <a:cubicBezTo>
                        <a:pt x="105" y="59"/>
                        <a:pt x="105" y="59"/>
                        <a:pt x="105" y="59"/>
                      </a:cubicBezTo>
                      <a:cubicBezTo>
                        <a:pt x="105" y="60"/>
                        <a:pt x="105" y="60"/>
                        <a:pt x="105" y="60"/>
                      </a:cubicBezTo>
                      <a:cubicBezTo>
                        <a:pt x="104" y="62"/>
                        <a:pt x="104" y="62"/>
                        <a:pt x="104" y="62"/>
                      </a:cubicBezTo>
                      <a:cubicBezTo>
                        <a:pt x="103" y="62"/>
                        <a:pt x="103" y="62"/>
                        <a:pt x="103" y="62"/>
                      </a:cubicBezTo>
                      <a:close/>
                      <a:moveTo>
                        <a:pt x="69" y="78"/>
                      </a:moveTo>
                      <a:cubicBezTo>
                        <a:pt x="70" y="76"/>
                        <a:pt x="70" y="76"/>
                        <a:pt x="70" y="76"/>
                      </a:cubicBezTo>
                      <a:cubicBezTo>
                        <a:pt x="71" y="75"/>
                        <a:pt x="71" y="75"/>
                        <a:pt x="71" y="75"/>
                      </a:cubicBezTo>
                      <a:cubicBezTo>
                        <a:pt x="75" y="74"/>
                        <a:pt x="75" y="74"/>
                        <a:pt x="75" y="74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80" y="72"/>
                        <a:pt x="80" y="72"/>
                        <a:pt x="80" y="72"/>
                      </a:cubicBezTo>
                      <a:cubicBezTo>
                        <a:pt x="82" y="70"/>
                        <a:pt x="82" y="70"/>
                        <a:pt x="82" y="70"/>
                      </a:cubicBezTo>
                      <a:cubicBezTo>
                        <a:pt x="83" y="72"/>
                        <a:pt x="83" y="72"/>
                        <a:pt x="83" y="72"/>
                      </a:cubicBezTo>
                      <a:cubicBezTo>
                        <a:pt x="85" y="74"/>
                        <a:pt x="85" y="74"/>
                        <a:pt x="85" y="74"/>
                      </a:cubicBezTo>
                      <a:cubicBezTo>
                        <a:pt x="84" y="75"/>
                        <a:pt x="84" y="75"/>
                        <a:pt x="84" y="75"/>
                      </a:cubicBezTo>
                      <a:cubicBezTo>
                        <a:pt x="83" y="76"/>
                        <a:pt x="83" y="76"/>
                        <a:pt x="83" y="76"/>
                      </a:cubicBezTo>
                      <a:cubicBezTo>
                        <a:pt x="82" y="77"/>
                        <a:pt x="82" y="77"/>
                        <a:pt x="82" y="77"/>
                      </a:cubicBezTo>
                      <a:cubicBezTo>
                        <a:pt x="83" y="79"/>
                        <a:pt x="83" y="79"/>
                        <a:pt x="83" y="79"/>
                      </a:cubicBezTo>
                      <a:cubicBezTo>
                        <a:pt x="85" y="82"/>
                        <a:pt x="85" y="82"/>
                        <a:pt x="85" y="82"/>
                      </a:cubicBezTo>
                      <a:cubicBezTo>
                        <a:pt x="87" y="83"/>
                        <a:pt x="87" y="83"/>
                        <a:pt x="87" y="83"/>
                      </a:cubicBezTo>
                      <a:cubicBezTo>
                        <a:pt x="89" y="82"/>
                        <a:pt x="89" y="82"/>
                        <a:pt x="89" y="82"/>
                      </a:cubicBezTo>
                      <a:cubicBezTo>
                        <a:pt x="91" y="81"/>
                        <a:pt x="91" y="81"/>
                        <a:pt x="91" y="81"/>
                      </a:cubicBezTo>
                      <a:cubicBezTo>
                        <a:pt x="92" y="82"/>
                        <a:pt x="92" y="82"/>
                        <a:pt x="92" y="82"/>
                      </a:cubicBezTo>
                      <a:cubicBezTo>
                        <a:pt x="93" y="83"/>
                        <a:pt x="93" y="83"/>
                        <a:pt x="93" y="83"/>
                      </a:cubicBezTo>
                      <a:cubicBezTo>
                        <a:pt x="95" y="83"/>
                        <a:pt x="95" y="83"/>
                        <a:pt x="95" y="83"/>
                      </a:cubicBezTo>
                      <a:cubicBezTo>
                        <a:pt x="94" y="84"/>
                        <a:pt x="94" y="84"/>
                        <a:pt x="94" y="84"/>
                      </a:cubicBezTo>
                      <a:cubicBezTo>
                        <a:pt x="92" y="85"/>
                        <a:pt x="92" y="85"/>
                        <a:pt x="92" y="85"/>
                      </a:cubicBezTo>
                      <a:cubicBezTo>
                        <a:pt x="90" y="88"/>
                        <a:pt x="90" y="88"/>
                        <a:pt x="90" y="88"/>
                      </a:cubicBezTo>
                      <a:cubicBezTo>
                        <a:pt x="90" y="90"/>
                        <a:pt x="90" y="90"/>
                        <a:pt x="90" y="90"/>
                      </a:cubicBezTo>
                      <a:cubicBezTo>
                        <a:pt x="89" y="94"/>
                        <a:pt x="89" y="94"/>
                        <a:pt x="89" y="94"/>
                      </a:cubicBezTo>
                      <a:cubicBezTo>
                        <a:pt x="87" y="94"/>
                        <a:pt x="87" y="94"/>
                        <a:pt x="87" y="94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5" y="97"/>
                        <a:pt x="85" y="97"/>
                        <a:pt x="85" y="97"/>
                      </a:cubicBezTo>
                      <a:cubicBezTo>
                        <a:pt x="85" y="98"/>
                        <a:pt x="85" y="98"/>
                        <a:pt x="85" y="98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2" y="99"/>
                        <a:pt x="82" y="99"/>
                        <a:pt x="82" y="99"/>
                      </a:cubicBezTo>
                      <a:cubicBezTo>
                        <a:pt x="81" y="98"/>
                        <a:pt x="81" y="98"/>
                        <a:pt x="81" y="98"/>
                      </a:cubicBezTo>
                      <a:cubicBezTo>
                        <a:pt x="83" y="96"/>
                        <a:pt x="83" y="96"/>
                        <a:pt x="83" y="96"/>
                      </a:cubicBezTo>
                      <a:cubicBezTo>
                        <a:pt x="82" y="94"/>
                        <a:pt x="82" y="94"/>
                        <a:pt x="82" y="94"/>
                      </a:cubicBezTo>
                      <a:cubicBezTo>
                        <a:pt x="83" y="91"/>
                        <a:pt x="83" y="91"/>
                        <a:pt x="83" y="91"/>
                      </a:cubicBezTo>
                      <a:cubicBezTo>
                        <a:pt x="83" y="89"/>
                        <a:pt x="83" y="89"/>
                        <a:pt x="83" y="89"/>
                      </a:cubicBezTo>
                      <a:cubicBezTo>
                        <a:pt x="82" y="90"/>
                        <a:pt x="82" y="90"/>
                        <a:pt x="82" y="90"/>
                      </a:cubicBezTo>
                      <a:cubicBezTo>
                        <a:pt x="81" y="89"/>
                        <a:pt x="81" y="89"/>
                        <a:pt x="81" y="89"/>
                      </a:cubicBezTo>
                      <a:cubicBezTo>
                        <a:pt x="80" y="90"/>
                        <a:pt x="80" y="90"/>
                        <a:pt x="80" y="90"/>
                      </a:cubicBezTo>
                      <a:cubicBezTo>
                        <a:pt x="79" y="92"/>
                        <a:pt x="79" y="92"/>
                        <a:pt x="79" y="92"/>
                      </a:cubicBezTo>
                      <a:cubicBezTo>
                        <a:pt x="77" y="94"/>
                        <a:pt x="77" y="94"/>
                        <a:pt x="77" y="94"/>
                      </a:cubicBezTo>
                      <a:cubicBezTo>
                        <a:pt x="76" y="93"/>
                        <a:pt x="76" y="93"/>
                        <a:pt x="76" y="93"/>
                      </a:cubicBezTo>
                      <a:cubicBezTo>
                        <a:pt x="74" y="95"/>
                        <a:pt x="74" y="95"/>
                        <a:pt x="74" y="95"/>
                      </a:cubicBezTo>
                      <a:cubicBezTo>
                        <a:pt x="72" y="95"/>
                        <a:pt x="72" y="95"/>
                        <a:pt x="72" y="95"/>
                      </a:cubicBezTo>
                      <a:cubicBezTo>
                        <a:pt x="71" y="96"/>
                        <a:pt x="71" y="96"/>
                        <a:pt x="71" y="96"/>
                      </a:cubicBezTo>
                      <a:cubicBezTo>
                        <a:pt x="70" y="96"/>
                        <a:pt x="70" y="96"/>
                        <a:pt x="70" y="96"/>
                      </a:cubicBezTo>
                      <a:cubicBezTo>
                        <a:pt x="70" y="95"/>
                        <a:pt x="70" y="95"/>
                        <a:pt x="70" y="95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0" y="92"/>
                        <a:pt x="70" y="92"/>
                        <a:pt x="70" y="92"/>
                      </a:cubicBezTo>
                      <a:cubicBezTo>
                        <a:pt x="72" y="91"/>
                        <a:pt x="72" y="91"/>
                        <a:pt x="72" y="91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73" y="85"/>
                        <a:pt x="73" y="85"/>
                        <a:pt x="73" y="85"/>
                      </a:cubicBezTo>
                      <a:cubicBezTo>
                        <a:pt x="73" y="83"/>
                        <a:pt x="73" y="83"/>
                        <a:pt x="73" y="83"/>
                      </a:cubicBezTo>
                      <a:cubicBezTo>
                        <a:pt x="74" y="82"/>
                        <a:pt x="74" y="82"/>
                        <a:pt x="74" y="82"/>
                      </a:cubicBezTo>
                      <a:cubicBezTo>
                        <a:pt x="74" y="81"/>
                        <a:pt x="74" y="81"/>
                        <a:pt x="74" y="81"/>
                      </a:cubicBezTo>
                      <a:cubicBezTo>
                        <a:pt x="72" y="81"/>
                        <a:pt x="72" y="81"/>
                        <a:pt x="72" y="81"/>
                      </a:cubicBezTo>
                      <a:cubicBezTo>
                        <a:pt x="70" y="79"/>
                        <a:pt x="70" y="79"/>
                        <a:pt x="70" y="79"/>
                      </a:cubicBezTo>
                      <a:cubicBezTo>
                        <a:pt x="69" y="78"/>
                        <a:pt x="69" y="78"/>
                        <a:pt x="69" y="78"/>
                      </a:cubicBezTo>
                      <a:close/>
                      <a:moveTo>
                        <a:pt x="60" y="50"/>
                      </a:moveTo>
                      <a:cubicBezTo>
                        <a:pt x="60" y="52"/>
                        <a:pt x="60" y="52"/>
                        <a:pt x="60" y="52"/>
                      </a:cubicBezTo>
                      <a:cubicBezTo>
                        <a:pt x="61" y="53"/>
                        <a:pt x="61" y="53"/>
                        <a:pt x="61" y="53"/>
                      </a:cubicBezTo>
                      <a:cubicBezTo>
                        <a:pt x="63" y="53"/>
                        <a:pt x="63" y="53"/>
                        <a:pt x="63" y="53"/>
                      </a:cubicBezTo>
                      <a:cubicBezTo>
                        <a:pt x="65" y="53"/>
                        <a:pt x="65" y="53"/>
                        <a:pt x="65" y="53"/>
                      </a:cubicBezTo>
                      <a:cubicBezTo>
                        <a:pt x="65" y="51"/>
                        <a:pt x="65" y="51"/>
                        <a:pt x="65" y="51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0" y="50"/>
                        <a:pt x="60" y="50"/>
                        <a:pt x="60" y="50"/>
                      </a:cubicBezTo>
                      <a:close/>
                      <a:moveTo>
                        <a:pt x="63" y="67"/>
                      </a:move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7" y="68"/>
                        <a:pt x="67" y="68"/>
                        <a:pt x="67" y="68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8" y="71"/>
                        <a:pt x="68" y="71"/>
                        <a:pt x="68" y="71"/>
                      </a:cubicBezTo>
                      <a:cubicBezTo>
                        <a:pt x="68" y="72"/>
                        <a:pt x="68" y="72"/>
                        <a:pt x="68" y="72"/>
                      </a:cubicBezTo>
                      <a:cubicBezTo>
                        <a:pt x="69" y="73"/>
                        <a:pt x="69" y="73"/>
                        <a:pt x="69" y="73"/>
                      </a:cubicBezTo>
                      <a:cubicBezTo>
                        <a:pt x="68" y="74"/>
                        <a:pt x="68" y="74"/>
                        <a:pt x="68" y="74"/>
                      </a:cubicBezTo>
                      <a:cubicBezTo>
                        <a:pt x="69" y="74"/>
                        <a:pt x="69" y="74"/>
                        <a:pt x="69" y="74"/>
                      </a:cubicBezTo>
                      <a:cubicBezTo>
                        <a:pt x="70" y="74"/>
                        <a:pt x="70" y="74"/>
                        <a:pt x="70" y="74"/>
                      </a:cubicBezTo>
                      <a:cubicBezTo>
                        <a:pt x="71" y="73"/>
                        <a:pt x="71" y="73"/>
                        <a:pt x="71" y="73"/>
                      </a:cubicBezTo>
                      <a:cubicBezTo>
                        <a:pt x="74" y="72"/>
                        <a:pt x="74" y="72"/>
                        <a:pt x="74" y="72"/>
                      </a:cubicBezTo>
                      <a:cubicBezTo>
                        <a:pt x="75" y="72"/>
                        <a:pt x="75" y="72"/>
                        <a:pt x="75" y="72"/>
                      </a:cubicBezTo>
                      <a:cubicBezTo>
                        <a:pt x="76" y="71"/>
                        <a:pt x="76" y="71"/>
                        <a:pt x="76" y="71"/>
                      </a:cubicBezTo>
                      <a:cubicBezTo>
                        <a:pt x="76" y="70"/>
                        <a:pt x="76" y="70"/>
                        <a:pt x="76" y="70"/>
                      </a:cubicBezTo>
                      <a:cubicBezTo>
                        <a:pt x="76" y="67"/>
                        <a:pt x="76" y="67"/>
                        <a:pt x="76" y="67"/>
                      </a:cubicBezTo>
                      <a:cubicBezTo>
                        <a:pt x="77" y="66"/>
                        <a:pt x="77" y="66"/>
                        <a:pt x="77" y="66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7" y="63"/>
                        <a:pt x="77" y="63"/>
                        <a:pt x="77" y="63"/>
                      </a:cubicBezTo>
                      <a:cubicBezTo>
                        <a:pt x="76" y="63"/>
                        <a:pt x="76" y="63"/>
                        <a:pt x="76" y="63"/>
                      </a:cubicBezTo>
                      <a:cubicBezTo>
                        <a:pt x="75" y="62"/>
                        <a:pt x="75" y="62"/>
                        <a:pt x="75" y="62"/>
                      </a:cubicBezTo>
                      <a:cubicBezTo>
                        <a:pt x="74" y="62"/>
                        <a:pt x="74" y="62"/>
                        <a:pt x="74" y="62"/>
                      </a:cubicBezTo>
                      <a:cubicBezTo>
                        <a:pt x="73" y="63"/>
                        <a:pt x="73" y="63"/>
                        <a:pt x="73" y="63"/>
                      </a:cubicBezTo>
                      <a:cubicBezTo>
                        <a:pt x="71" y="64"/>
                        <a:pt x="71" y="64"/>
                        <a:pt x="71" y="64"/>
                      </a:cubicBezTo>
                      <a:cubicBezTo>
                        <a:pt x="70" y="63"/>
                        <a:pt x="70" y="63"/>
                        <a:pt x="70" y="63"/>
                      </a:cubicBezTo>
                      <a:cubicBezTo>
                        <a:pt x="70" y="62"/>
                        <a:pt x="70" y="62"/>
                        <a:pt x="70" y="62"/>
                      </a:cubicBezTo>
                      <a:cubicBezTo>
                        <a:pt x="68" y="63"/>
                        <a:pt x="68" y="63"/>
                        <a:pt x="68" y="63"/>
                      </a:cubicBezTo>
                      <a:cubicBezTo>
                        <a:pt x="68" y="65"/>
                        <a:pt x="68" y="65"/>
                        <a:pt x="68" y="65"/>
                      </a:cubicBezTo>
                      <a:cubicBezTo>
                        <a:pt x="67" y="65"/>
                        <a:pt x="67" y="65"/>
                        <a:pt x="67" y="65"/>
                      </a:cubicBezTo>
                      <a:cubicBezTo>
                        <a:pt x="66" y="65"/>
                        <a:pt x="66" y="65"/>
                        <a:pt x="66" y="65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lose/>
                      <a:moveTo>
                        <a:pt x="10" y="76"/>
                      </a:moveTo>
                      <a:cubicBezTo>
                        <a:pt x="9" y="74"/>
                        <a:pt x="9" y="74"/>
                        <a:pt x="9" y="74"/>
                      </a:cubicBezTo>
                      <a:cubicBezTo>
                        <a:pt x="8" y="73"/>
                        <a:pt x="8" y="73"/>
                        <a:pt x="8" y="73"/>
                      </a:cubicBezTo>
                      <a:cubicBezTo>
                        <a:pt x="7" y="72"/>
                        <a:pt x="7" y="72"/>
                        <a:pt x="7" y="72"/>
                      </a:cubicBezTo>
                      <a:cubicBezTo>
                        <a:pt x="6" y="70"/>
                        <a:pt x="6" y="70"/>
                        <a:pt x="6" y="70"/>
                      </a:cubicBezTo>
                      <a:cubicBezTo>
                        <a:pt x="4" y="70"/>
                        <a:pt x="4" y="70"/>
                        <a:pt x="4" y="70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3" y="65"/>
                        <a:pt x="3" y="65"/>
                        <a:pt x="3" y="65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1" y="62"/>
                        <a:pt x="1" y="62"/>
                        <a:pt x="1" y="62"/>
                      </a:cubicBezTo>
                      <a:cubicBezTo>
                        <a:pt x="1" y="59"/>
                        <a:pt x="1" y="59"/>
                        <a:pt x="1" y="59"/>
                      </a:cubicBezTo>
                      <a:cubicBezTo>
                        <a:pt x="2" y="58"/>
                        <a:pt x="2" y="58"/>
                        <a:pt x="2" y="58"/>
                      </a:cubicBezTo>
                      <a:cubicBezTo>
                        <a:pt x="3" y="59"/>
                        <a:pt x="3" y="59"/>
                        <a:pt x="3" y="59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6" y="67"/>
                        <a:pt x="6" y="67"/>
                        <a:pt x="6" y="67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8" y="68"/>
                        <a:pt x="8" y="68"/>
                        <a:pt x="8" y="68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9" y="69"/>
                        <a:pt x="9" y="69"/>
                        <a:pt x="9" y="69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1" y="73"/>
                        <a:pt x="11" y="73"/>
                        <a:pt x="11" y="73"/>
                      </a:cubicBezTo>
                      <a:cubicBezTo>
                        <a:pt x="11" y="75"/>
                        <a:pt x="11" y="75"/>
                        <a:pt x="11" y="75"/>
                      </a:cubicBezTo>
                      <a:cubicBezTo>
                        <a:pt x="11" y="76"/>
                        <a:pt x="11" y="76"/>
                        <a:pt x="11" y="76"/>
                      </a:cubicBezTo>
                      <a:cubicBezTo>
                        <a:pt x="10" y="77"/>
                        <a:pt x="10" y="77"/>
                        <a:pt x="10" y="77"/>
                      </a:cubicBezTo>
                      <a:cubicBezTo>
                        <a:pt x="10" y="77"/>
                        <a:pt x="10" y="76"/>
                        <a:pt x="10" y="76"/>
                      </a:cubicBezTo>
                      <a:close/>
                      <a:moveTo>
                        <a:pt x="46" y="121"/>
                      </a:moveTo>
                      <a:cubicBezTo>
                        <a:pt x="45" y="120"/>
                        <a:pt x="45" y="120"/>
                        <a:pt x="45" y="120"/>
                      </a:cubicBezTo>
                      <a:cubicBezTo>
                        <a:pt x="44" y="120"/>
                        <a:pt x="44" y="120"/>
                        <a:pt x="44" y="120"/>
                      </a:cubicBezTo>
                      <a:cubicBezTo>
                        <a:pt x="44" y="121"/>
                        <a:pt x="44" y="121"/>
                        <a:pt x="44" y="121"/>
                      </a:cubicBezTo>
                      <a:cubicBezTo>
                        <a:pt x="43" y="121"/>
                        <a:pt x="43" y="121"/>
                        <a:pt x="43" y="121"/>
                      </a:cubicBezTo>
                      <a:cubicBezTo>
                        <a:pt x="43" y="120"/>
                        <a:pt x="43" y="120"/>
                        <a:pt x="43" y="120"/>
                      </a:cubicBezTo>
                      <a:cubicBezTo>
                        <a:pt x="43" y="117"/>
                        <a:pt x="43" y="117"/>
                        <a:pt x="43" y="117"/>
                      </a:cubicBezTo>
                      <a:cubicBezTo>
                        <a:pt x="42" y="116"/>
                        <a:pt x="42" y="116"/>
                        <a:pt x="42" y="116"/>
                      </a:cubicBezTo>
                      <a:cubicBezTo>
                        <a:pt x="41" y="116"/>
                        <a:pt x="41" y="116"/>
                        <a:pt x="41" y="116"/>
                      </a:cubicBezTo>
                      <a:cubicBezTo>
                        <a:pt x="38" y="113"/>
                        <a:pt x="38" y="113"/>
                        <a:pt x="38" y="113"/>
                      </a:cubicBezTo>
                      <a:cubicBezTo>
                        <a:pt x="38" y="112"/>
                        <a:pt x="38" y="112"/>
                        <a:pt x="38" y="112"/>
                      </a:cubicBezTo>
                      <a:cubicBezTo>
                        <a:pt x="40" y="110"/>
                        <a:pt x="40" y="110"/>
                        <a:pt x="40" y="110"/>
                      </a:cubicBezTo>
                      <a:cubicBezTo>
                        <a:pt x="41" y="110"/>
                        <a:pt x="41" y="110"/>
                        <a:pt x="41" y="110"/>
                      </a:cubicBezTo>
                      <a:cubicBezTo>
                        <a:pt x="41" y="109"/>
                        <a:pt x="41" y="109"/>
                        <a:pt x="41" y="109"/>
                      </a:cubicBezTo>
                      <a:cubicBezTo>
                        <a:pt x="42" y="108"/>
                        <a:pt x="42" y="108"/>
                        <a:pt x="42" y="108"/>
                      </a:cubicBezTo>
                      <a:cubicBezTo>
                        <a:pt x="41" y="108"/>
                        <a:pt x="41" y="108"/>
                        <a:pt x="41" y="108"/>
                      </a:cubicBezTo>
                      <a:cubicBezTo>
                        <a:pt x="40" y="108"/>
                        <a:pt x="40" y="108"/>
                        <a:pt x="40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ubicBezTo>
                        <a:pt x="38" y="107"/>
                        <a:pt x="38" y="107"/>
                        <a:pt x="38" y="107"/>
                      </a:cubicBezTo>
                      <a:cubicBezTo>
                        <a:pt x="38" y="109"/>
                        <a:pt x="38" y="109"/>
                        <a:pt x="38" y="109"/>
                      </a:cubicBezTo>
                      <a:cubicBezTo>
                        <a:pt x="36" y="109"/>
                        <a:pt x="36" y="109"/>
                        <a:pt x="36" y="109"/>
                      </a:cubicBezTo>
                      <a:cubicBezTo>
                        <a:pt x="34" y="108"/>
                        <a:pt x="34" y="108"/>
                        <a:pt x="34" y="108"/>
                      </a:cubicBezTo>
                      <a:cubicBezTo>
                        <a:pt x="34" y="106"/>
                        <a:pt x="34" y="106"/>
                        <a:pt x="34" y="106"/>
                      </a:cubicBezTo>
                      <a:cubicBezTo>
                        <a:pt x="33" y="106"/>
                        <a:pt x="33" y="106"/>
                        <a:pt x="33" y="106"/>
                      </a:cubicBezTo>
                      <a:cubicBezTo>
                        <a:pt x="32" y="105"/>
                        <a:pt x="32" y="105"/>
                        <a:pt x="32" y="105"/>
                      </a:cubicBezTo>
                      <a:cubicBezTo>
                        <a:pt x="31" y="104"/>
                        <a:pt x="31" y="104"/>
                        <a:pt x="31" y="104"/>
                      </a:cubicBezTo>
                      <a:cubicBezTo>
                        <a:pt x="30" y="104"/>
                        <a:pt x="30" y="104"/>
                        <a:pt x="30" y="104"/>
                      </a:cubicBezTo>
                      <a:cubicBezTo>
                        <a:pt x="29" y="103"/>
                        <a:pt x="29" y="103"/>
                        <a:pt x="29" y="103"/>
                      </a:cubicBezTo>
                      <a:cubicBezTo>
                        <a:pt x="29" y="102"/>
                        <a:pt x="29" y="102"/>
                        <a:pt x="29" y="102"/>
                      </a:cubicBezTo>
                      <a:cubicBezTo>
                        <a:pt x="28" y="101"/>
                        <a:pt x="28" y="101"/>
                        <a:pt x="28" y="10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7" y="99"/>
                        <a:pt x="27" y="99"/>
                        <a:pt x="27" y="99"/>
                      </a:cubicBezTo>
                      <a:cubicBezTo>
                        <a:pt x="26" y="98"/>
                        <a:pt x="26" y="98"/>
                        <a:pt x="26" y="98"/>
                      </a:cubicBezTo>
                      <a:cubicBezTo>
                        <a:pt x="25" y="98"/>
                        <a:pt x="25" y="98"/>
                        <a:pt x="25" y="98"/>
                      </a:cubicBezTo>
                      <a:cubicBezTo>
                        <a:pt x="25" y="97"/>
                        <a:pt x="25" y="97"/>
                        <a:pt x="25" y="97"/>
                      </a:cubicBezTo>
                      <a:cubicBezTo>
                        <a:pt x="25" y="97"/>
                        <a:pt x="25" y="97"/>
                        <a:pt x="25" y="97"/>
                      </a:cubicBezTo>
                      <a:cubicBezTo>
                        <a:pt x="25" y="96"/>
                        <a:pt x="25" y="96"/>
                        <a:pt x="25" y="96"/>
                      </a:cubicBezTo>
                      <a:cubicBezTo>
                        <a:pt x="25" y="95"/>
                        <a:pt x="25" y="95"/>
                        <a:pt x="25" y="95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4" y="93"/>
                        <a:pt x="24" y="93"/>
                        <a:pt x="24" y="93"/>
                      </a:cubicBezTo>
                      <a:cubicBezTo>
                        <a:pt x="27" y="91"/>
                        <a:pt x="27" y="91"/>
                        <a:pt x="27" y="91"/>
                      </a:cubicBezTo>
                      <a:cubicBezTo>
                        <a:pt x="28" y="91"/>
                        <a:pt x="28" y="91"/>
                        <a:pt x="28" y="91"/>
                      </a:cubicBezTo>
                      <a:cubicBezTo>
                        <a:pt x="29" y="93"/>
                        <a:pt x="29" y="93"/>
                        <a:pt x="29" y="93"/>
                      </a:cubicBezTo>
                      <a:cubicBezTo>
                        <a:pt x="30" y="94"/>
                        <a:pt x="30" y="94"/>
                        <a:pt x="30" y="94"/>
                      </a:cubicBezTo>
                      <a:cubicBezTo>
                        <a:pt x="30" y="94"/>
                        <a:pt x="30" y="94"/>
                        <a:pt x="30" y="94"/>
                      </a:cubicBezTo>
                      <a:cubicBezTo>
                        <a:pt x="31" y="93"/>
                        <a:pt x="31" y="93"/>
                        <a:pt x="31" y="93"/>
                      </a:cubicBezTo>
                      <a:cubicBezTo>
                        <a:pt x="32" y="93"/>
                        <a:pt x="32" y="93"/>
                        <a:pt x="32" y="93"/>
                      </a:cubicBezTo>
                      <a:cubicBezTo>
                        <a:pt x="33" y="94"/>
                        <a:pt x="33" y="94"/>
                        <a:pt x="33" y="94"/>
                      </a:cubicBezTo>
                      <a:cubicBezTo>
                        <a:pt x="35" y="93"/>
                        <a:pt x="35" y="93"/>
                        <a:pt x="35" y="93"/>
                      </a:cubicBezTo>
                      <a:cubicBezTo>
                        <a:pt x="38" y="93"/>
                        <a:pt x="38" y="93"/>
                        <a:pt x="38" y="93"/>
                      </a:cubicBezTo>
                      <a:cubicBezTo>
                        <a:pt x="38" y="92"/>
                        <a:pt x="38" y="92"/>
                        <a:pt x="38" y="92"/>
                      </a:cubicBezTo>
                      <a:cubicBezTo>
                        <a:pt x="36" y="91"/>
                        <a:pt x="36" y="91"/>
                        <a:pt x="36" y="91"/>
                      </a:cubicBezTo>
                      <a:cubicBezTo>
                        <a:pt x="35" y="91"/>
                        <a:pt x="35" y="91"/>
                        <a:pt x="35" y="91"/>
                      </a:cubicBezTo>
                      <a:cubicBezTo>
                        <a:pt x="32" y="91"/>
                        <a:pt x="32" y="91"/>
                        <a:pt x="32" y="91"/>
                      </a:cubicBez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30" y="89"/>
                        <a:pt x="30" y="89"/>
                        <a:pt x="30" y="89"/>
                      </a:cubicBezTo>
                      <a:cubicBezTo>
                        <a:pt x="32" y="89"/>
                        <a:pt x="32" y="89"/>
                        <a:pt x="32" y="89"/>
                      </a:cubicBezTo>
                      <a:cubicBezTo>
                        <a:pt x="33" y="89"/>
                        <a:pt x="33" y="89"/>
                        <a:pt x="33" y="89"/>
                      </a:cubicBezTo>
                      <a:cubicBezTo>
                        <a:pt x="36" y="87"/>
                        <a:pt x="36" y="87"/>
                        <a:pt x="36" y="87"/>
                      </a:cubicBezTo>
                      <a:cubicBezTo>
                        <a:pt x="38" y="86"/>
                        <a:pt x="38" y="86"/>
                        <a:pt x="38" y="86"/>
                      </a:cubicBezTo>
                      <a:cubicBezTo>
                        <a:pt x="40" y="87"/>
                        <a:pt x="40" y="87"/>
                        <a:pt x="40" y="87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3" y="86"/>
                        <a:pt x="43" y="86"/>
                        <a:pt x="43" y="86"/>
                      </a:cubicBezTo>
                      <a:cubicBezTo>
                        <a:pt x="43" y="85"/>
                        <a:pt x="43" y="85"/>
                        <a:pt x="43" y="85"/>
                      </a:cubicBezTo>
                      <a:cubicBezTo>
                        <a:pt x="44" y="84"/>
                        <a:pt x="44" y="84"/>
                        <a:pt x="44" y="84"/>
                      </a:cubicBezTo>
                      <a:cubicBezTo>
                        <a:pt x="44" y="83"/>
                        <a:pt x="44" y="83"/>
                        <a:pt x="44" y="83"/>
                      </a:cubicBezTo>
                      <a:cubicBezTo>
                        <a:pt x="43" y="83"/>
                        <a:pt x="43" y="83"/>
                        <a:pt x="43" y="83"/>
                      </a:cubicBezTo>
                      <a:cubicBezTo>
                        <a:pt x="42" y="84"/>
                        <a:pt x="42" y="84"/>
                        <a:pt x="42" y="84"/>
                      </a:cubicBezTo>
                      <a:cubicBezTo>
                        <a:pt x="41" y="85"/>
                        <a:pt x="41" y="85"/>
                        <a:pt x="41" y="85"/>
                      </a:cubicBezTo>
                      <a:cubicBezTo>
                        <a:pt x="37" y="85"/>
                        <a:pt x="37" y="85"/>
                        <a:pt x="37" y="85"/>
                      </a:cubicBezTo>
                      <a:cubicBezTo>
                        <a:pt x="36" y="85"/>
                        <a:pt x="36" y="85"/>
                        <a:pt x="36" y="85"/>
                      </a:cubicBezTo>
                      <a:cubicBezTo>
                        <a:pt x="36" y="84"/>
                        <a:pt x="36" y="84"/>
                        <a:pt x="36" y="84"/>
                      </a:cubicBezTo>
                      <a:cubicBezTo>
                        <a:pt x="34" y="84"/>
                        <a:pt x="34" y="84"/>
                        <a:pt x="34" y="84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2" y="87"/>
                        <a:pt x="32" y="87"/>
                        <a:pt x="32" y="87"/>
                      </a:cubicBezTo>
                      <a:cubicBezTo>
                        <a:pt x="30" y="87"/>
                        <a:pt x="30" y="87"/>
                        <a:pt x="30" y="87"/>
                      </a:cubicBez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26" y="88"/>
                        <a:pt x="26" y="88"/>
                        <a:pt x="26" y="88"/>
                      </a:cubicBezTo>
                      <a:cubicBezTo>
                        <a:pt x="25" y="88"/>
                        <a:pt x="25" y="88"/>
                        <a:pt x="25" y="88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3" y="85"/>
                        <a:pt x="23" y="85"/>
                        <a:pt x="23" y="85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22" y="82"/>
                        <a:pt x="22" y="82"/>
                        <a:pt x="22" y="82"/>
                      </a:cubicBezTo>
                      <a:cubicBezTo>
                        <a:pt x="22" y="81"/>
                        <a:pt x="22" y="81"/>
                        <a:pt x="22" y="81"/>
                      </a:cubicBezTo>
                      <a:cubicBezTo>
                        <a:pt x="23" y="80"/>
                        <a:pt x="23" y="80"/>
                        <a:pt x="23" y="80"/>
                      </a:cubicBezTo>
                      <a:cubicBezTo>
                        <a:pt x="25" y="79"/>
                        <a:pt x="25" y="79"/>
                        <a:pt x="25" y="79"/>
                      </a:cubicBezTo>
                      <a:cubicBezTo>
                        <a:pt x="25" y="80"/>
                        <a:pt x="25" y="80"/>
                        <a:pt x="25" y="80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ubicBezTo>
                        <a:pt x="28" y="79"/>
                        <a:pt x="28" y="79"/>
                        <a:pt x="28" y="79"/>
                      </a:cubicBezTo>
                      <a:cubicBezTo>
                        <a:pt x="29" y="79"/>
                        <a:pt x="29" y="79"/>
                        <a:pt x="29" y="79"/>
                      </a:cubicBezTo>
                      <a:cubicBezTo>
                        <a:pt x="30" y="77"/>
                        <a:pt x="30" y="77"/>
                        <a:pt x="30" y="77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4" y="74"/>
                        <a:pt x="34" y="74"/>
                        <a:pt x="34" y="74"/>
                      </a:cubicBezTo>
                      <a:cubicBezTo>
                        <a:pt x="34" y="73"/>
                        <a:pt x="34" y="73"/>
                        <a:pt x="34" y="73"/>
                      </a:cubicBezTo>
                      <a:cubicBezTo>
                        <a:pt x="37" y="72"/>
                        <a:pt x="37" y="72"/>
                        <a:pt x="37" y="72"/>
                      </a:cubicBezTo>
                      <a:cubicBezTo>
                        <a:pt x="40" y="71"/>
                        <a:pt x="40" y="71"/>
                        <a:pt x="40" y="71"/>
                      </a:cubicBezTo>
                      <a:cubicBezTo>
                        <a:pt x="41" y="70"/>
                        <a:pt x="41" y="70"/>
                        <a:pt x="41" y="70"/>
                      </a:cubicBezTo>
                      <a:cubicBezTo>
                        <a:pt x="43" y="69"/>
                        <a:pt x="43" y="69"/>
                        <a:pt x="43" y="69"/>
                      </a:cubicBezTo>
                      <a:cubicBezTo>
                        <a:pt x="44" y="68"/>
                        <a:pt x="44" y="68"/>
                        <a:pt x="44" y="68"/>
                      </a:cubicBezTo>
                      <a:cubicBezTo>
                        <a:pt x="44" y="68"/>
                        <a:pt x="44" y="68"/>
                        <a:pt x="44" y="68"/>
                      </a:cubicBezTo>
                      <a:cubicBezTo>
                        <a:pt x="43" y="68"/>
                        <a:pt x="43" y="68"/>
                        <a:pt x="43" y="68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0" y="69"/>
                        <a:pt x="40" y="69"/>
                        <a:pt x="40" y="69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39" y="67"/>
                        <a:pt x="39" y="67"/>
                        <a:pt x="39" y="67"/>
                      </a:cubicBezTo>
                      <a:cubicBezTo>
                        <a:pt x="39" y="65"/>
                        <a:pt x="39" y="65"/>
                        <a:pt x="39" y="65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39" y="62"/>
                        <a:pt x="39" y="62"/>
                        <a:pt x="39" y="62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7" y="65"/>
                        <a:pt x="37" y="65"/>
                        <a:pt x="37" y="65"/>
                      </a:cubicBez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4" y="69"/>
                        <a:pt x="34" y="69"/>
                        <a:pt x="34" y="69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2" y="69"/>
                        <a:pt x="32" y="69"/>
                        <a:pt x="32" y="69"/>
                      </a:cubicBezTo>
                      <a:cubicBezTo>
                        <a:pt x="31" y="67"/>
                        <a:pt x="31" y="67"/>
                        <a:pt x="31" y="67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3" y="63"/>
                        <a:pt x="33" y="63"/>
                        <a:pt x="33" y="63"/>
                      </a:cubicBezTo>
                      <a:cubicBezTo>
                        <a:pt x="32" y="62"/>
                        <a:pt x="32" y="62"/>
                        <a:pt x="32" y="62"/>
                      </a:cubicBezTo>
                      <a:cubicBezTo>
                        <a:pt x="32" y="60"/>
                        <a:pt x="32" y="60"/>
                        <a:pt x="32" y="60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0" y="60"/>
                        <a:pt x="30" y="60"/>
                        <a:pt x="30" y="60"/>
                      </a:cubicBezTo>
                      <a:cubicBezTo>
                        <a:pt x="30" y="63"/>
                        <a:pt x="30" y="63"/>
                        <a:pt x="30" y="63"/>
                      </a:cubicBezTo>
                      <a:cubicBezTo>
                        <a:pt x="30" y="64"/>
                        <a:pt x="30" y="64"/>
                        <a:pt x="30" y="64"/>
                      </a:cubicBezTo>
                      <a:cubicBezTo>
                        <a:pt x="29" y="66"/>
                        <a:pt x="29" y="66"/>
                        <a:pt x="29" y="66"/>
                      </a:cubicBezTo>
                      <a:cubicBezTo>
                        <a:pt x="29" y="65"/>
                        <a:pt x="29" y="65"/>
                        <a:pt x="29" y="65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6" y="67"/>
                        <a:pt x="26" y="67"/>
                        <a:pt x="26" y="67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71"/>
                        <a:pt x="28" y="71"/>
                        <a:pt x="28" y="71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5" y="74"/>
                        <a:pt x="25" y="74"/>
                        <a:pt x="25" y="74"/>
                      </a:cubicBezTo>
                      <a:cubicBezTo>
                        <a:pt x="25" y="76"/>
                        <a:pt x="25" y="76"/>
                        <a:pt x="25" y="76"/>
                      </a:cubicBezTo>
                      <a:cubicBezTo>
                        <a:pt x="24" y="77"/>
                        <a:pt x="24" y="77"/>
                        <a:pt x="24" y="77"/>
                      </a:cubicBezTo>
                      <a:cubicBezTo>
                        <a:pt x="20" y="77"/>
                        <a:pt x="20" y="77"/>
                        <a:pt x="20" y="77"/>
                      </a:cubicBezTo>
                      <a:cubicBezTo>
                        <a:pt x="18" y="77"/>
                        <a:pt x="18" y="77"/>
                        <a:pt x="18" y="77"/>
                      </a:cubicBezTo>
                      <a:cubicBezTo>
                        <a:pt x="18" y="76"/>
                        <a:pt x="18" y="76"/>
                        <a:pt x="18" y="76"/>
                      </a:cubicBezTo>
                      <a:cubicBezTo>
                        <a:pt x="19" y="75"/>
                        <a:pt x="19" y="75"/>
                        <a:pt x="19" y="75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16" y="71"/>
                        <a:pt x="16" y="71"/>
                        <a:pt x="16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3" y="69"/>
                        <a:pt x="13" y="69"/>
                        <a:pt x="13" y="69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5" y="68"/>
                        <a:pt x="15" y="68"/>
                        <a:pt x="15" y="68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14" y="66"/>
                        <a:pt x="14" y="66"/>
                        <a:pt x="14" y="66"/>
                      </a:cubicBezTo>
                      <a:cubicBezTo>
                        <a:pt x="13" y="66"/>
                        <a:pt x="13" y="66"/>
                        <a:pt x="13" y="66"/>
                      </a:cubicBez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0" y="64"/>
                        <a:pt x="10" y="64"/>
                        <a:pt x="10" y="64"/>
                      </a:cubicBezTo>
                      <a:cubicBezTo>
                        <a:pt x="9" y="63"/>
                        <a:pt x="9" y="63"/>
                        <a:pt x="9" y="63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61"/>
                        <a:pt x="8" y="61"/>
                        <a:pt x="8" y="61"/>
                      </a:cubicBezTo>
                      <a:cubicBezTo>
                        <a:pt x="8" y="60"/>
                        <a:pt x="8" y="60"/>
                        <a:pt x="8" y="60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6" y="58"/>
                        <a:pt x="6" y="58"/>
                        <a:pt x="6" y="58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8" y="57"/>
                        <a:pt x="8" y="57"/>
                        <a:pt x="8" y="57"/>
                      </a:cubicBezTo>
                      <a:cubicBezTo>
                        <a:pt x="9" y="58"/>
                        <a:pt x="9" y="58"/>
                        <a:pt x="9" y="5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11" y="57"/>
                        <a:pt x="11" y="57"/>
                        <a:pt x="11" y="57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1" y="55"/>
                        <a:pt x="11" y="55"/>
                        <a:pt x="11" y="55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8" y="55"/>
                        <a:pt x="8" y="55"/>
                        <a:pt x="8" y="55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7" y="52"/>
                        <a:pt x="7" y="52"/>
                        <a:pt x="7" y="52"/>
                      </a:cubicBezTo>
                      <a:cubicBezTo>
                        <a:pt x="7" y="51"/>
                        <a:pt x="7" y="51"/>
                        <a:pt x="7" y="51"/>
                      </a:cubicBezTo>
                      <a:cubicBezTo>
                        <a:pt x="8" y="49"/>
                        <a:pt x="8" y="49"/>
                        <a:pt x="8" y="49"/>
                      </a:cubicBezTo>
                      <a:cubicBezTo>
                        <a:pt x="9" y="47"/>
                        <a:pt x="9" y="47"/>
                        <a:pt x="9" y="47"/>
                      </a:cubicBezTo>
                      <a:cubicBezTo>
                        <a:pt x="8" y="47"/>
                        <a:pt x="8" y="47"/>
                        <a:pt x="8" y="47"/>
                      </a:cubicBezTo>
                      <a:cubicBezTo>
                        <a:pt x="7" y="47"/>
                        <a:pt x="7" y="47"/>
                        <a:pt x="7" y="47"/>
                      </a:cubicBezTo>
                      <a:cubicBezTo>
                        <a:pt x="6" y="46"/>
                        <a:pt x="6" y="46"/>
                        <a:pt x="6" y="46"/>
                      </a:cubicBezTo>
                      <a:cubicBezTo>
                        <a:pt x="5" y="46"/>
                        <a:pt x="5" y="46"/>
                        <a:pt x="5" y="46"/>
                      </a:cubicBezTo>
                      <a:cubicBezTo>
                        <a:pt x="5" y="48"/>
                        <a:pt x="5" y="48"/>
                        <a:pt x="5" y="48"/>
                      </a:cubicBez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4" y="51"/>
                        <a:pt x="4" y="51"/>
                        <a:pt x="4" y="51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6" y="33"/>
                        <a:pt x="6" y="33"/>
                        <a:pt x="6" y="33"/>
                      </a:cubicBezTo>
                      <a:cubicBezTo>
                        <a:pt x="7" y="35"/>
                        <a:pt x="7" y="35"/>
                        <a:pt x="7" y="35"/>
                      </a:cubicBezTo>
                      <a:cubicBezTo>
                        <a:pt x="7" y="37"/>
                        <a:pt x="7" y="37"/>
                        <a:pt x="7" y="37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7" y="32"/>
                        <a:pt x="7" y="32"/>
                        <a:pt x="7" y="32"/>
                      </a:cubicBezTo>
                      <a:cubicBezTo>
                        <a:pt x="8" y="31"/>
                        <a:pt x="8" y="31"/>
                        <a:pt x="8" y="31"/>
                      </a:cubicBezTo>
                      <a:cubicBezTo>
                        <a:pt x="9" y="32"/>
                        <a:pt x="9" y="32"/>
                        <a:pt x="9" y="32"/>
                      </a:cubicBezTo>
                      <a:cubicBezTo>
                        <a:pt x="10" y="33"/>
                        <a:pt x="10" y="33"/>
                        <a:pt x="10" y="33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0" y="33"/>
                        <a:pt x="20" y="33"/>
                        <a:pt x="20" y="33"/>
                      </a:cubicBezTo>
                      <a:cubicBezTo>
                        <a:pt x="19" y="34"/>
                        <a:pt x="19" y="34"/>
                        <a:pt x="19" y="34"/>
                      </a:cubicBezTo>
                      <a:cubicBezTo>
                        <a:pt x="18" y="36"/>
                        <a:pt x="18" y="36"/>
                        <a:pt x="18" y="36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6" y="35"/>
                        <a:pt x="16" y="35"/>
                        <a:pt x="16" y="35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3" y="40"/>
                        <a:pt x="13" y="40"/>
                        <a:pt x="13" y="40"/>
                      </a:cubicBezTo>
                      <a:cubicBezTo>
                        <a:pt x="15" y="39"/>
                        <a:pt x="15" y="39"/>
                        <a:pt x="15" y="39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6" y="40"/>
                        <a:pt x="16" y="40"/>
                        <a:pt x="16" y="40"/>
                      </a:cubicBezTo>
                      <a:cubicBezTo>
                        <a:pt x="16" y="41"/>
                        <a:pt x="16" y="41"/>
                        <a:pt x="16" y="41"/>
                      </a:cubicBezTo>
                      <a:cubicBezTo>
                        <a:pt x="17" y="42"/>
                        <a:pt x="17" y="42"/>
                        <a:pt x="17" y="42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9" y="42"/>
                        <a:pt x="19" y="42"/>
                        <a:pt x="19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4"/>
                        <a:pt x="20" y="44"/>
                        <a:pt x="20" y="44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1"/>
                        <a:pt x="20" y="41"/>
                        <a:pt x="20" y="41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5" y="33"/>
                        <a:pt x="25" y="33"/>
                        <a:pt x="25" y="33"/>
                      </a:cubicBezTo>
                      <a:cubicBezTo>
                        <a:pt x="26" y="35"/>
                        <a:pt x="26" y="35"/>
                        <a:pt x="26" y="35"/>
                      </a:cubicBezTo>
                      <a:cubicBezTo>
                        <a:pt x="28" y="37"/>
                        <a:pt x="28" y="37"/>
                        <a:pt x="28" y="37"/>
                      </a:cubicBezTo>
                      <a:cubicBezTo>
                        <a:pt x="29" y="38"/>
                        <a:pt x="29" y="38"/>
                        <a:pt x="29" y="38"/>
                      </a:cubicBezTo>
                      <a:cubicBezTo>
                        <a:pt x="29" y="42"/>
                        <a:pt x="29" y="42"/>
                        <a:pt x="29" y="42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7"/>
                        <a:pt x="30" y="47"/>
                        <a:pt x="30" y="47"/>
                      </a:cubicBezTo>
                      <a:cubicBezTo>
                        <a:pt x="30" y="48"/>
                        <a:pt x="30" y="48"/>
                        <a:pt x="30" y="48"/>
                      </a:cubicBezTo>
                      <a:cubicBezTo>
                        <a:pt x="28" y="50"/>
                        <a:pt x="28" y="50"/>
                        <a:pt x="28" y="50"/>
                      </a:cubicBezTo>
                      <a:cubicBezTo>
                        <a:pt x="28" y="51"/>
                        <a:pt x="28" y="51"/>
                        <a:pt x="28" y="51"/>
                      </a:cubicBezTo>
                      <a:cubicBezTo>
                        <a:pt x="29" y="51"/>
                        <a:pt x="29" y="51"/>
                        <a:pt x="29" y="51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0"/>
                        <a:pt x="31" y="50"/>
                        <a:pt x="31" y="50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6"/>
                        <a:pt x="35" y="56"/>
                        <a:pt x="35" y="56"/>
                      </a:cubicBezTo>
                      <a:cubicBezTo>
                        <a:pt x="36" y="56"/>
                        <a:pt x="36" y="56"/>
                        <a:pt x="36" y="56"/>
                      </a:cubicBezTo>
                      <a:cubicBezTo>
                        <a:pt x="36" y="54"/>
                        <a:pt x="36" y="54"/>
                        <a:pt x="36" y="54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3" y="48"/>
                        <a:pt x="33" y="48"/>
                        <a:pt x="33" y="48"/>
                      </a:cubicBezTo>
                      <a:cubicBezTo>
                        <a:pt x="32" y="45"/>
                        <a:pt x="32" y="45"/>
                        <a:pt x="32" y="45"/>
                      </a:cubicBezTo>
                      <a:cubicBezTo>
                        <a:pt x="32" y="43"/>
                        <a:pt x="32" y="43"/>
                        <a:pt x="32" y="43"/>
                      </a:cubicBezTo>
                      <a:cubicBezTo>
                        <a:pt x="32" y="37"/>
                        <a:pt x="32" y="37"/>
                        <a:pt x="32" y="37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29"/>
                        <a:pt x="32" y="29"/>
                        <a:pt x="32" y="29"/>
                      </a:cubicBezTo>
                      <a:cubicBezTo>
                        <a:pt x="32" y="26"/>
                        <a:pt x="32" y="26"/>
                        <a:pt x="32" y="26"/>
                      </a:cubicBez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4" y="24"/>
                        <a:pt x="34" y="24"/>
                        <a:pt x="34" y="24"/>
                      </a:cubicBezTo>
                      <a:cubicBezTo>
                        <a:pt x="35" y="24"/>
                        <a:pt x="35" y="24"/>
                        <a:pt x="35" y="2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8" y="30"/>
                        <a:pt x="38" y="30"/>
                        <a:pt x="38" y="30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41" y="28"/>
                        <a:pt x="41" y="28"/>
                        <a:pt x="41" y="28"/>
                      </a:cubicBez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4" y="36"/>
                        <a:pt x="44" y="36"/>
                        <a:pt x="44" y="36"/>
                      </a:cubicBezTo>
                      <a:cubicBezTo>
                        <a:pt x="43" y="37"/>
                        <a:pt x="43" y="37"/>
                        <a:pt x="43" y="37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44"/>
                        <a:pt x="43" y="44"/>
                        <a:pt x="43" y="44"/>
                      </a:cubicBezTo>
                      <a:cubicBezTo>
                        <a:pt x="44" y="45"/>
                        <a:pt x="44" y="45"/>
                        <a:pt x="44" y="45"/>
                      </a:cubicBezTo>
                      <a:cubicBezTo>
                        <a:pt x="45" y="43"/>
                        <a:pt x="45" y="43"/>
                        <a:pt x="45" y="43"/>
                      </a:cubicBezTo>
                      <a:cubicBezTo>
                        <a:pt x="45" y="41"/>
                        <a:pt x="45" y="41"/>
                        <a:pt x="45" y="41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6" y="35"/>
                        <a:pt x="46" y="35"/>
                        <a:pt x="46" y="35"/>
                      </a:cubicBezTo>
                      <a:cubicBezTo>
                        <a:pt x="49" y="37"/>
                        <a:pt x="49" y="37"/>
                        <a:pt x="49" y="37"/>
                      </a:cubicBezTo>
                      <a:cubicBezTo>
                        <a:pt x="50" y="40"/>
                        <a:pt x="50" y="40"/>
                        <a:pt x="50" y="40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8" y="51"/>
                        <a:pt x="58" y="51"/>
                        <a:pt x="58" y="51"/>
                      </a:cubicBezTo>
                      <a:cubicBezTo>
                        <a:pt x="59" y="52"/>
                        <a:pt x="59" y="52"/>
                        <a:pt x="59" y="52"/>
                      </a:cubicBezTo>
                      <a:cubicBezTo>
                        <a:pt x="62" y="55"/>
                        <a:pt x="62" y="55"/>
                        <a:pt x="62" y="55"/>
                      </a:cubicBezTo>
                      <a:cubicBezTo>
                        <a:pt x="64" y="56"/>
                        <a:pt x="64" y="56"/>
                        <a:pt x="64" y="56"/>
                      </a:cubicBezTo>
                      <a:cubicBezTo>
                        <a:pt x="68" y="57"/>
                        <a:pt x="68" y="57"/>
                        <a:pt x="68" y="57"/>
                      </a:cubicBezTo>
                      <a:cubicBezTo>
                        <a:pt x="69" y="57"/>
                        <a:pt x="69" y="57"/>
                        <a:pt x="69" y="57"/>
                      </a:cubicBezTo>
                      <a:cubicBezTo>
                        <a:pt x="69" y="59"/>
                        <a:pt x="69" y="59"/>
                        <a:pt x="69" y="59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6" y="60"/>
                        <a:pt x="66" y="60"/>
                        <a:pt x="66" y="60"/>
                      </a:cubicBezTo>
                      <a:cubicBezTo>
                        <a:pt x="65" y="61"/>
                        <a:pt x="65" y="61"/>
                        <a:pt x="65" y="61"/>
                      </a:cubicBezTo>
                      <a:cubicBezTo>
                        <a:pt x="63" y="61"/>
                        <a:pt x="63" y="61"/>
                        <a:pt x="63" y="61"/>
                      </a:cubicBezTo>
                      <a:cubicBezTo>
                        <a:pt x="61" y="63"/>
                        <a:pt x="61" y="63"/>
                        <a:pt x="61" y="63"/>
                      </a:cubicBezTo>
                      <a:cubicBezTo>
                        <a:pt x="59" y="63"/>
                        <a:pt x="59" y="63"/>
                        <a:pt x="59" y="63"/>
                      </a:cubicBezTo>
                      <a:cubicBezTo>
                        <a:pt x="58" y="64"/>
                        <a:pt x="58" y="64"/>
                        <a:pt x="58" y="64"/>
                      </a:cubicBezTo>
                      <a:cubicBezTo>
                        <a:pt x="59" y="65"/>
                        <a:pt x="59" y="65"/>
                        <a:pt x="59" y="65"/>
                      </a:cubicBezTo>
                      <a:cubicBezTo>
                        <a:pt x="59" y="66"/>
                        <a:pt x="59" y="66"/>
                        <a:pt x="59" y="66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69"/>
                        <a:pt x="57" y="69"/>
                        <a:pt x="57" y="69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7" y="75"/>
                        <a:pt x="57" y="75"/>
                        <a:pt x="57" y="75"/>
                      </a:cubicBezTo>
                      <a:cubicBezTo>
                        <a:pt x="57" y="76"/>
                        <a:pt x="57" y="76"/>
                        <a:pt x="57" y="76"/>
                      </a:cubicBezTo>
                      <a:cubicBezTo>
                        <a:pt x="57" y="79"/>
                        <a:pt x="57" y="79"/>
                        <a:pt x="57" y="79"/>
                      </a:cubicBezTo>
                      <a:cubicBezTo>
                        <a:pt x="57" y="80"/>
                        <a:pt x="57" y="80"/>
                        <a:pt x="57" y="80"/>
                      </a:cubicBezTo>
                      <a:cubicBezTo>
                        <a:pt x="56" y="81"/>
                        <a:pt x="56" y="81"/>
                        <a:pt x="56" y="81"/>
                      </a:cubicBezTo>
                      <a:cubicBezTo>
                        <a:pt x="55" y="80"/>
                        <a:pt x="55" y="80"/>
                        <a:pt x="55" y="80"/>
                      </a:cubicBezTo>
                      <a:cubicBezTo>
                        <a:pt x="54" y="81"/>
                        <a:pt x="54" y="81"/>
                        <a:pt x="54" y="81"/>
                      </a:cubicBezTo>
                      <a:cubicBezTo>
                        <a:pt x="54" y="83"/>
                        <a:pt x="54" y="83"/>
                        <a:pt x="54" y="83"/>
                      </a:cubicBezTo>
                      <a:cubicBezTo>
                        <a:pt x="55" y="85"/>
                        <a:pt x="55" y="85"/>
                        <a:pt x="55" y="85"/>
                      </a:cubicBezTo>
                      <a:cubicBezTo>
                        <a:pt x="55" y="87"/>
                        <a:pt x="55" y="87"/>
                        <a:pt x="55" y="87"/>
                      </a:cubicBezTo>
                      <a:cubicBezTo>
                        <a:pt x="55" y="90"/>
                        <a:pt x="55" y="90"/>
                        <a:pt x="55" y="90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2" y="94"/>
                        <a:pt x="52" y="94"/>
                        <a:pt x="52" y="94"/>
                      </a:cubicBezTo>
                      <a:cubicBezTo>
                        <a:pt x="50" y="95"/>
                        <a:pt x="50" y="95"/>
                        <a:pt x="50" y="95"/>
                      </a:cubicBezTo>
                      <a:cubicBezTo>
                        <a:pt x="52" y="96"/>
                        <a:pt x="52" y="96"/>
                        <a:pt x="52" y="96"/>
                      </a:cubicBezTo>
                      <a:cubicBezTo>
                        <a:pt x="52" y="97"/>
                        <a:pt x="52" y="97"/>
                        <a:pt x="52" y="97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101"/>
                        <a:pt x="50" y="101"/>
                        <a:pt x="50" y="101"/>
                      </a:cubicBezTo>
                      <a:cubicBezTo>
                        <a:pt x="50" y="107"/>
                        <a:pt x="50" y="107"/>
                        <a:pt x="50" y="107"/>
                      </a:cubicBezTo>
                      <a:cubicBezTo>
                        <a:pt x="49" y="109"/>
                        <a:pt x="49" y="109"/>
                        <a:pt x="49" y="109"/>
                      </a:cubicBezTo>
                      <a:cubicBezTo>
                        <a:pt x="48" y="110"/>
                        <a:pt x="48" y="110"/>
                        <a:pt x="48" y="110"/>
                      </a:cubicBezTo>
                      <a:cubicBezTo>
                        <a:pt x="48" y="113"/>
                        <a:pt x="48" y="113"/>
                        <a:pt x="48" y="113"/>
                      </a:cubicBezTo>
                      <a:cubicBezTo>
                        <a:pt x="49" y="115"/>
                        <a:pt x="49" y="115"/>
                        <a:pt x="49" y="115"/>
                      </a:cubicBezTo>
                      <a:cubicBezTo>
                        <a:pt x="49" y="116"/>
                        <a:pt x="49" y="116"/>
                        <a:pt x="49" y="116"/>
                      </a:cubicBezTo>
                      <a:cubicBezTo>
                        <a:pt x="49" y="117"/>
                        <a:pt x="49" y="117"/>
                        <a:pt x="49" y="117"/>
                      </a:cubicBezTo>
                      <a:cubicBezTo>
                        <a:pt x="49" y="119"/>
                        <a:pt x="49" y="119"/>
                        <a:pt x="49" y="119"/>
                      </a:cubicBezTo>
                      <a:cubicBezTo>
                        <a:pt x="47" y="121"/>
                        <a:pt x="47" y="121"/>
                        <a:pt x="47" y="121"/>
                      </a:cubicBezTo>
                      <a:cubicBezTo>
                        <a:pt x="46" y="121"/>
                        <a:pt x="46" y="121"/>
                        <a:pt x="46" y="121"/>
                      </a:cubicBezTo>
                      <a:close/>
                      <a:moveTo>
                        <a:pt x="68" y="172"/>
                      </a:moveTo>
                      <a:cubicBezTo>
                        <a:pt x="68" y="170"/>
                        <a:pt x="68" y="170"/>
                        <a:pt x="68" y="170"/>
                      </a:cubicBezTo>
                      <a:cubicBezTo>
                        <a:pt x="69" y="168"/>
                        <a:pt x="69" y="168"/>
                        <a:pt x="69" y="168"/>
                      </a:cubicBezTo>
                      <a:cubicBezTo>
                        <a:pt x="67" y="166"/>
                        <a:pt x="67" y="166"/>
                        <a:pt x="67" y="166"/>
                      </a:cubicBezTo>
                      <a:cubicBezTo>
                        <a:pt x="66" y="166"/>
                        <a:pt x="66" y="166"/>
                        <a:pt x="66" y="166"/>
                      </a:cubicBezTo>
                      <a:cubicBezTo>
                        <a:pt x="65" y="167"/>
                        <a:pt x="65" y="167"/>
                        <a:pt x="65" y="167"/>
                      </a:cubicBezTo>
                      <a:cubicBezTo>
                        <a:pt x="66" y="169"/>
                        <a:pt x="66" y="169"/>
                        <a:pt x="66" y="169"/>
                      </a:cubicBezTo>
                      <a:cubicBezTo>
                        <a:pt x="67" y="170"/>
                        <a:pt x="67" y="170"/>
                        <a:pt x="67" y="170"/>
                      </a:cubicBezTo>
                      <a:cubicBezTo>
                        <a:pt x="67" y="171"/>
                        <a:pt x="67" y="171"/>
                        <a:pt x="67" y="171"/>
                      </a:cubicBezTo>
                      <a:lnTo>
                        <a:pt x="68" y="17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5" name="Freeform 159">
                  <a:extLst>
                    <a:ext uri="{FF2B5EF4-FFF2-40B4-BE49-F238E27FC236}">
                      <a16:creationId xmlns:a16="http://schemas.microsoft.com/office/drawing/2014/main" xmlns="" id="{CBE83D5B-4619-41A7-844F-AF11C5CC75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01" y="1145"/>
                  <a:ext cx="250" cy="492"/>
                </a:xfrm>
                <a:custGeom>
                  <a:avLst/>
                  <a:gdLst>
                    <a:gd name="T0" fmla="*/ 103 w 250"/>
                    <a:gd name="T1" fmla="*/ 237 h 492"/>
                    <a:gd name="T2" fmla="*/ 8 w 250"/>
                    <a:gd name="T3" fmla="*/ 487 h 492"/>
                    <a:gd name="T4" fmla="*/ 54 w 250"/>
                    <a:gd name="T5" fmla="*/ 448 h 492"/>
                    <a:gd name="T6" fmla="*/ 54 w 250"/>
                    <a:gd name="T7" fmla="*/ 448 h 492"/>
                    <a:gd name="T8" fmla="*/ 70 w 250"/>
                    <a:gd name="T9" fmla="*/ 409 h 492"/>
                    <a:gd name="T10" fmla="*/ 75 w 250"/>
                    <a:gd name="T11" fmla="*/ 411 h 492"/>
                    <a:gd name="T12" fmla="*/ 173 w 250"/>
                    <a:gd name="T13" fmla="*/ 103 h 492"/>
                    <a:gd name="T14" fmla="*/ 165 w 250"/>
                    <a:gd name="T15" fmla="*/ 71 h 492"/>
                    <a:gd name="T16" fmla="*/ 178 w 250"/>
                    <a:gd name="T17" fmla="*/ 59 h 492"/>
                    <a:gd name="T18" fmla="*/ 178 w 250"/>
                    <a:gd name="T19" fmla="*/ 36 h 492"/>
                    <a:gd name="T20" fmla="*/ 175 w 250"/>
                    <a:gd name="T21" fmla="*/ 0 h 492"/>
                    <a:gd name="T22" fmla="*/ 217 w 250"/>
                    <a:gd name="T23" fmla="*/ 35 h 492"/>
                    <a:gd name="T24" fmla="*/ 235 w 250"/>
                    <a:gd name="T25" fmla="*/ 38 h 492"/>
                    <a:gd name="T26" fmla="*/ 245 w 250"/>
                    <a:gd name="T27" fmla="*/ 51 h 492"/>
                    <a:gd name="T28" fmla="*/ 219 w 250"/>
                    <a:gd name="T29" fmla="*/ 72 h 492"/>
                    <a:gd name="T30" fmla="*/ 193 w 250"/>
                    <a:gd name="T31" fmla="*/ 72 h 492"/>
                    <a:gd name="T32" fmla="*/ 180 w 250"/>
                    <a:gd name="T33" fmla="*/ 84 h 492"/>
                    <a:gd name="T34" fmla="*/ 176 w 250"/>
                    <a:gd name="T35" fmla="*/ 105 h 492"/>
                    <a:gd name="T36" fmla="*/ 173 w 250"/>
                    <a:gd name="T37" fmla="*/ 187 h 492"/>
                    <a:gd name="T38" fmla="*/ 54 w 250"/>
                    <a:gd name="T39" fmla="*/ 304 h 492"/>
                    <a:gd name="T40" fmla="*/ 51 w 250"/>
                    <a:gd name="T41" fmla="*/ 311 h 492"/>
                    <a:gd name="T42" fmla="*/ 47 w 250"/>
                    <a:gd name="T43" fmla="*/ 317 h 492"/>
                    <a:gd name="T44" fmla="*/ 70 w 250"/>
                    <a:gd name="T45" fmla="*/ 326 h 492"/>
                    <a:gd name="T46" fmla="*/ 67 w 250"/>
                    <a:gd name="T47" fmla="*/ 316 h 492"/>
                    <a:gd name="T48" fmla="*/ 124 w 250"/>
                    <a:gd name="T49" fmla="*/ 275 h 492"/>
                    <a:gd name="T50" fmla="*/ 116 w 250"/>
                    <a:gd name="T51" fmla="*/ 306 h 492"/>
                    <a:gd name="T52" fmla="*/ 137 w 250"/>
                    <a:gd name="T53" fmla="*/ 285 h 492"/>
                    <a:gd name="T54" fmla="*/ 111 w 250"/>
                    <a:gd name="T55" fmla="*/ 286 h 492"/>
                    <a:gd name="T56" fmla="*/ 109 w 250"/>
                    <a:gd name="T57" fmla="*/ 306 h 492"/>
                    <a:gd name="T58" fmla="*/ 91 w 250"/>
                    <a:gd name="T59" fmla="*/ 360 h 492"/>
                    <a:gd name="T60" fmla="*/ 90 w 250"/>
                    <a:gd name="T61" fmla="*/ 340 h 492"/>
                    <a:gd name="T62" fmla="*/ 96 w 250"/>
                    <a:gd name="T63" fmla="*/ 306 h 492"/>
                    <a:gd name="T64" fmla="*/ 85 w 250"/>
                    <a:gd name="T65" fmla="*/ 295 h 492"/>
                    <a:gd name="T66" fmla="*/ 98 w 250"/>
                    <a:gd name="T67" fmla="*/ 277 h 492"/>
                    <a:gd name="T68" fmla="*/ 126 w 250"/>
                    <a:gd name="T69" fmla="*/ 268 h 492"/>
                    <a:gd name="T70" fmla="*/ 140 w 250"/>
                    <a:gd name="T71" fmla="*/ 283 h 492"/>
                    <a:gd name="T72" fmla="*/ 163 w 250"/>
                    <a:gd name="T73" fmla="*/ 275 h 492"/>
                    <a:gd name="T74" fmla="*/ 165 w 250"/>
                    <a:gd name="T75" fmla="*/ 263 h 492"/>
                    <a:gd name="T76" fmla="*/ 176 w 250"/>
                    <a:gd name="T77" fmla="*/ 263 h 492"/>
                    <a:gd name="T78" fmla="*/ 199 w 250"/>
                    <a:gd name="T79" fmla="*/ 260 h 492"/>
                    <a:gd name="T80" fmla="*/ 207 w 250"/>
                    <a:gd name="T81" fmla="*/ 247 h 492"/>
                    <a:gd name="T82" fmla="*/ 217 w 250"/>
                    <a:gd name="T83" fmla="*/ 231 h 492"/>
                    <a:gd name="T84" fmla="*/ 219 w 250"/>
                    <a:gd name="T85" fmla="*/ 177 h 492"/>
                    <a:gd name="T86" fmla="*/ 217 w 250"/>
                    <a:gd name="T87" fmla="*/ 149 h 492"/>
                    <a:gd name="T88" fmla="*/ 196 w 250"/>
                    <a:gd name="T89" fmla="*/ 102 h 492"/>
                    <a:gd name="T90" fmla="*/ 194 w 250"/>
                    <a:gd name="T91" fmla="*/ 110 h 492"/>
                    <a:gd name="T92" fmla="*/ 180 w 250"/>
                    <a:gd name="T93" fmla="*/ 110 h 492"/>
                    <a:gd name="T94" fmla="*/ 176 w 250"/>
                    <a:gd name="T95" fmla="*/ 139 h 492"/>
                    <a:gd name="T96" fmla="*/ 178 w 250"/>
                    <a:gd name="T97" fmla="*/ 193 h 492"/>
                    <a:gd name="T98" fmla="*/ 155 w 250"/>
                    <a:gd name="T99" fmla="*/ 205 h 492"/>
                    <a:gd name="T100" fmla="*/ 145 w 250"/>
                    <a:gd name="T101" fmla="*/ 229 h 492"/>
                    <a:gd name="T102" fmla="*/ 137 w 250"/>
                    <a:gd name="T103" fmla="*/ 247 h 492"/>
                    <a:gd name="T104" fmla="*/ 106 w 250"/>
                    <a:gd name="T105" fmla="*/ 249 h 492"/>
                    <a:gd name="T106" fmla="*/ 75 w 250"/>
                    <a:gd name="T107" fmla="*/ 278 h 492"/>
                    <a:gd name="T108" fmla="*/ 59 w 250"/>
                    <a:gd name="T109" fmla="*/ 303 h 492"/>
                    <a:gd name="T110" fmla="*/ 62 w 250"/>
                    <a:gd name="T111" fmla="*/ 316 h 492"/>
                    <a:gd name="T112" fmla="*/ 67 w 250"/>
                    <a:gd name="T113" fmla="*/ 308 h 492"/>
                    <a:gd name="T114" fmla="*/ 75 w 250"/>
                    <a:gd name="T115" fmla="*/ 337 h 492"/>
                    <a:gd name="T116" fmla="*/ 85 w 250"/>
                    <a:gd name="T117" fmla="*/ 335 h 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50" h="492">
                      <a:moveTo>
                        <a:pt x="100" y="237"/>
                      </a:moveTo>
                      <a:lnTo>
                        <a:pt x="101" y="237"/>
                      </a:lnTo>
                      <a:lnTo>
                        <a:pt x="100" y="239"/>
                      </a:lnTo>
                      <a:lnTo>
                        <a:pt x="98" y="239"/>
                      </a:lnTo>
                      <a:lnTo>
                        <a:pt x="100" y="237"/>
                      </a:lnTo>
                      <a:lnTo>
                        <a:pt x="100" y="237"/>
                      </a:lnTo>
                      <a:close/>
                      <a:moveTo>
                        <a:pt x="101" y="237"/>
                      </a:moveTo>
                      <a:lnTo>
                        <a:pt x="101" y="236"/>
                      </a:lnTo>
                      <a:lnTo>
                        <a:pt x="103" y="234"/>
                      </a:lnTo>
                      <a:lnTo>
                        <a:pt x="105" y="232"/>
                      </a:lnTo>
                      <a:lnTo>
                        <a:pt x="105" y="236"/>
                      </a:lnTo>
                      <a:lnTo>
                        <a:pt x="103" y="237"/>
                      </a:lnTo>
                      <a:lnTo>
                        <a:pt x="101" y="237"/>
                      </a:lnTo>
                      <a:lnTo>
                        <a:pt x="101" y="237"/>
                      </a:lnTo>
                      <a:close/>
                      <a:moveTo>
                        <a:pt x="3" y="491"/>
                      </a:moveTo>
                      <a:lnTo>
                        <a:pt x="2" y="489"/>
                      </a:lnTo>
                      <a:lnTo>
                        <a:pt x="0" y="489"/>
                      </a:lnTo>
                      <a:lnTo>
                        <a:pt x="0" y="492"/>
                      </a:lnTo>
                      <a:lnTo>
                        <a:pt x="2" y="492"/>
                      </a:lnTo>
                      <a:lnTo>
                        <a:pt x="3" y="491"/>
                      </a:lnTo>
                      <a:lnTo>
                        <a:pt x="3" y="491"/>
                      </a:lnTo>
                      <a:close/>
                      <a:moveTo>
                        <a:pt x="5" y="489"/>
                      </a:moveTo>
                      <a:lnTo>
                        <a:pt x="7" y="487"/>
                      </a:lnTo>
                      <a:lnTo>
                        <a:pt x="8" y="487"/>
                      </a:lnTo>
                      <a:lnTo>
                        <a:pt x="7" y="491"/>
                      </a:lnTo>
                      <a:lnTo>
                        <a:pt x="5" y="491"/>
                      </a:lnTo>
                      <a:lnTo>
                        <a:pt x="5" y="489"/>
                      </a:lnTo>
                      <a:lnTo>
                        <a:pt x="5" y="489"/>
                      </a:lnTo>
                      <a:close/>
                      <a:moveTo>
                        <a:pt x="20" y="478"/>
                      </a:moveTo>
                      <a:lnTo>
                        <a:pt x="20" y="481"/>
                      </a:lnTo>
                      <a:lnTo>
                        <a:pt x="21" y="482"/>
                      </a:lnTo>
                      <a:lnTo>
                        <a:pt x="23" y="482"/>
                      </a:lnTo>
                      <a:lnTo>
                        <a:pt x="23" y="479"/>
                      </a:lnTo>
                      <a:lnTo>
                        <a:pt x="20" y="478"/>
                      </a:lnTo>
                      <a:lnTo>
                        <a:pt x="20" y="478"/>
                      </a:lnTo>
                      <a:close/>
                      <a:moveTo>
                        <a:pt x="54" y="448"/>
                      </a:moveTo>
                      <a:lnTo>
                        <a:pt x="52" y="445"/>
                      </a:lnTo>
                      <a:lnTo>
                        <a:pt x="56" y="443"/>
                      </a:lnTo>
                      <a:lnTo>
                        <a:pt x="56" y="442"/>
                      </a:lnTo>
                      <a:lnTo>
                        <a:pt x="56" y="440"/>
                      </a:lnTo>
                      <a:lnTo>
                        <a:pt x="59" y="438"/>
                      </a:lnTo>
                      <a:lnTo>
                        <a:pt x="60" y="435"/>
                      </a:lnTo>
                      <a:lnTo>
                        <a:pt x="60" y="438"/>
                      </a:lnTo>
                      <a:lnTo>
                        <a:pt x="60" y="440"/>
                      </a:lnTo>
                      <a:lnTo>
                        <a:pt x="59" y="443"/>
                      </a:lnTo>
                      <a:lnTo>
                        <a:pt x="56" y="445"/>
                      </a:lnTo>
                      <a:lnTo>
                        <a:pt x="56" y="448"/>
                      </a:lnTo>
                      <a:lnTo>
                        <a:pt x="54" y="448"/>
                      </a:lnTo>
                      <a:lnTo>
                        <a:pt x="54" y="448"/>
                      </a:lnTo>
                      <a:close/>
                      <a:moveTo>
                        <a:pt x="69" y="415"/>
                      </a:moveTo>
                      <a:lnTo>
                        <a:pt x="70" y="417"/>
                      </a:lnTo>
                      <a:lnTo>
                        <a:pt x="70" y="420"/>
                      </a:lnTo>
                      <a:lnTo>
                        <a:pt x="70" y="422"/>
                      </a:lnTo>
                      <a:lnTo>
                        <a:pt x="67" y="419"/>
                      </a:lnTo>
                      <a:lnTo>
                        <a:pt x="67" y="417"/>
                      </a:lnTo>
                      <a:lnTo>
                        <a:pt x="69" y="415"/>
                      </a:lnTo>
                      <a:lnTo>
                        <a:pt x="69" y="415"/>
                      </a:lnTo>
                      <a:close/>
                      <a:moveTo>
                        <a:pt x="75" y="411"/>
                      </a:moveTo>
                      <a:lnTo>
                        <a:pt x="73" y="409"/>
                      </a:lnTo>
                      <a:lnTo>
                        <a:pt x="70" y="409"/>
                      </a:lnTo>
                      <a:lnTo>
                        <a:pt x="70" y="409"/>
                      </a:lnTo>
                      <a:lnTo>
                        <a:pt x="72" y="406"/>
                      </a:lnTo>
                      <a:lnTo>
                        <a:pt x="73" y="404"/>
                      </a:lnTo>
                      <a:lnTo>
                        <a:pt x="75" y="404"/>
                      </a:lnTo>
                      <a:lnTo>
                        <a:pt x="75" y="404"/>
                      </a:lnTo>
                      <a:lnTo>
                        <a:pt x="77" y="404"/>
                      </a:lnTo>
                      <a:lnTo>
                        <a:pt x="78" y="402"/>
                      </a:lnTo>
                      <a:lnTo>
                        <a:pt x="80" y="402"/>
                      </a:lnTo>
                      <a:lnTo>
                        <a:pt x="78" y="406"/>
                      </a:lnTo>
                      <a:lnTo>
                        <a:pt x="75" y="407"/>
                      </a:lnTo>
                      <a:lnTo>
                        <a:pt x="75" y="409"/>
                      </a:lnTo>
                      <a:lnTo>
                        <a:pt x="75" y="411"/>
                      </a:lnTo>
                      <a:lnTo>
                        <a:pt x="75" y="411"/>
                      </a:lnTo>
                      <a:close/>
                      <a:moveTo>
                        <a:pt x="157" y="89"/>
                      </a:moveTo>
                      <a:lnTo>
                        <a:pt x="155" y="87"/>
                      </a:lnTo>
                      <a:lnTo>
                        <a:pt x="155" y="85"/>
                      </a:lnTo>
                      <a:lnTo>
                        <a:pt x="158" y="82"/>
                      </a:lnTo>
                      <a:lnTo>
                        <a:pt x="160" y="82"/>
                      </a:lnTo>
                      <a:lnTo>
                        <a:pt x="158" y="85"/>
                      </a:lnTo>
                      <a:lnTo>
                        <a:pt x="158" y="87"/>
                      </a:lnTo>
                      <a:lnTo>
                        <a:pt x="157" y="89"/>
                      </a:lnTo>
                      <a:lnTo>
                        <a:pt x="157" y="89"/>
                      </a:lnTo>
                      <a:close/>
                      <a:moveTo>
                        <a:pt x="176" y="105"/>
                      </a:moveTo>
                      <a:lnTo>
                        <a:pt x="173" y="103"/>
                      </a:lnTo>
                      <a:lnTo>
                        <a:pt x="171" y="100"/>
                      </a:lnTo>
                      <a:lnTo>
                        <a:pt x="173" y="100"/>
                      </a:lnTo>
                      <a:lnTo>
                        <a:pt x="171" y="94"/>
                      </a:lnTo>
                      <a:lnTo>
                        <a:pt x="170" y="89"/>
                      </a:lnTo>
                      <a:lnTo>
                        <a:pt x="168" y="85"/>
                      </a:lnTo>
                      <a:lnTo>
                        <a:pt x="165" y="84"/>
                      </a:lnTo>
                      <a:lnTo>
                        <a:pt x="163" y="84"/>
                      </a:lnTo>
                      <a:lnTo>
                        <a:pt x="163" y="82"/>
                      </a:lnTo>
                      <a:lnTo>
                        <a:pt x="163" y="77"/>
                      </a:lnTo>
                      <a:lnTo>
                        <a:pt x="162" y="74"/>
                      </a:lnTo>
                      <a:lnTo>
                        <a:pt x="163" y="72"/>
                      </a:lnTo>
                      <a:lnTo>
                        <a:pt x="165" y="71"/>
                      </a:lnTo>
                      <a:lnTo>
                        <a:pt x="165" y="69"/>
                      </a:lnTo>
                      <a:lnTo>
                        <a:pt x="168" y="69"/>
                      </a:lnTo>
                      <a:lnTo>
                        <a:pt x="170" y="66"/>
                      </a:lnTo>
                      <a:lnTo>
                        <a:pt x="170" y="64"/>
                      </a:lnTo>
                      <a:lnTo>
                        <a:pt x="170" y="62"/>
                      </a:lnTo>
                      <a:lnTo>
                        <a:pt x="167" y="61"/>
                      </a:lnTo>
                      <a:lnTo>
                        <a:pt x="165" y="59"/>
                      </a:lnTo>
                      <a:lnTo>
                        <a:pt x="165" y="59"/>
                      </a:lnTo>
                      <a:lnTo>
                        <a:pt x="167" y="56"/>
                      </a:lnTo>
                      <a:lnTo>
                        <a:pt x="168" y="56"/>
                      </a:lnTo>
                      <a:lnTo>
                        <a:pt x="173" y="59"/>
                      </a:lnTo>
                      <a:lnTo>
                        <a:pt x="178" y="59"/>
                      </a:lnTo>
                      <a:lnTo>
                        <a:pt x="180" y="58"/>
                      </a:lnTo>
                      <a:lnTo>
                        <a:pt x="180" y="56"/>
                      </a:lnTo>
                      <a:lnTo>
                        <a:pt x="181" y="54"/>
                      </a:lnTo>
                      <a:lnTo>
                        <a:pt x="180" y="53"/>
                      </a:lnTo>
                      <a:lnTo>
                        <a:pt x="180" y="51"/>
                      </a:lnTo>
                      <a:lnTo>
                        <a:pt x="178" y="49"/>
                      </a:lnTo>
                      <a:lnTo>
                        <a:pt x="176" y="46"/>
                      </a:lnTo>
                      <a:lnTo>
                        <a:pt x="176" y="45"/>
                      </a:lnTo>
                      <a:lnTo>
                        <a:pt x="178" y="41"/>
                      </a:lnTo>
                      <a:lnTo>
                        <a:pt x="180" y="41"/>
                      </a:lnTo>
                      <a:lnTo>
                        <a:pt x="180" y="40"/>
                      </a:lnTo>
                      <a:lnTo>
                        <a:pt x="178" y="36"/>
                      </a:lnTo>
                      <a:lnTo>
                        <a:pt x="176" y="31"/>
                      </a:lnTo>
                      <a:lnTo>
                        <a:pt x="178" y="30"/>
                      </a:lnTo>
                      <a:lnTo>
                        <a:pt x="178" y="23"/>
                      </a:lnTo>
                      <a:lnTo>
                        <a:pt x="176" y="20"/>
                      </a:lnTo>
                      <a:lnTo>
                        <a:pt x="170" y="10"/>
                      </a:lnTo>
                      <a:lnTo>
                        <a:pt x="170" y="7"/>
                      </a:lnTo>
                      <a:lnTo>
                        <a:pt x="168" y="5"/>
                      </a:lnTo>
                      <a:lnTo>
                        <a:pt x="170" y="4"/>
                      </a:lnTo>
                      <a:lnTo>
                        <a:pt x="170" y="4"/>
                      </a:lnTo>
                      <a:lnTo>
                        <a:pt x="171" y="2"/>
                      </a:lnTo>
                      <a:lnTo>
                        <a:pt x="171" y="0"/>
                      </a:lnTo>
                      <a:lnTo>
                        <a:pt x="175" y="0"/>
                      </a:lnTo>
                      <a:lnTo>
                        <a:pt x="176" y="4"/>
                      </a:lnTo>
                      <a:lnTo>
                        <a:pt x="181" y="7"/>
                      </a:lnTo>
                      <a:lnTo>
                        <a:pt x="186" y="9"/>
                      </a:lnTo>
                      <a:lnTo>
                        <a:pt x="188" y="12"/>
                      </a:lnTo>
                      <a:lnTo>
                        <a:pt x="196" y="20"/>
                      </a:lnTo>
                      <a:lnTo>
                        <a:pt x="199" y="23"/>
                      </a:lnTo>
                      <a:lnTo>
                        <a:pt x="201" y="25"/>
                      </a:lnTo>
                      <a:lnTo>
                        <a:pt x="204" y="25"/>
                      </a:lnTo>
                      <a:lnTo>
                        <a:pt x="206" y="28"/>
                      </a:lnTo>
                      <a:lnTo>
                        <a:pt x="211" y="31"/>
                      </a:lnTo>
                      <a:lnTo>
                        <a:pt x="216" y="31"/>
                      </a:lnTo>
                      <a:lnTo>
                        <a:pt x="217" y="35"/>
                      </a:lnTo>
                      <a:lnTo>
                        <a:pt x="220" y="35"/>
                      </a:lnTo>
                      <a:lnTo>
                        <a:pt x="222" y="35"/>
                      </a:lnTo>
                      <a:lnTo>
                        <a:pt x="225" y="35"/>
                      </a:lnTo>
                      <a:lnTo>
                        <a:pt x="230" y="31"/>
                      </a:lnTo>
                      <a:lnTo>
                        <a:pt x="234" y="27"/>
                      </a:lnTo>
                      <a:lnTo>
                        <a:pt x="234" y="25"/>
                      </a:lnTo>
                      <a:lnTo>
                        <a:pt x="235" y="23"/>
                      </a:lnTo>
                      <a:lnTo>
                        <a:pt x="235" y="25"/>
                      </a:lnTo>
                      <a:lnTo>
                        <a:pt x="235" y="28"/>
                      </a:lnTo>
                      <a:lnTo>
                        <a:pt x="234" y="33"/>
                      </a:lnTo>
                      <a:lnTo>
                        <a:pt x="234" y="36"/>
                      </a:lnTo>
                      <a:lnTo>
                        <a:pt x="235" y="38"/>
                      </a:lnTo>
                      <a:lnTo>
                        <a:pt x="238" y="41"/>
                      </a:lnTo>
                      <a:lnTo>
                        <a:pt x="242" y="45"/>
                      </a:lnTo>
                      <a:lnTo>
                        <a:pt x="242" y="46"/>
                      </a:lnTo>
                      <a:lnTo>
                        <a:pt x="242" y="48"/>
                      </a:lnTo>
                      <a:lnTo>
                        <a:pt x="243" y="48"/>
                      </a:lnTo>
                      <a:lnTo>
                        <a:pt x="245" y="46"/>
                      </a:lnTo>
                      <a:lnTo>
                        <a:pt x="247" y="43"/>
                      </a:lnTo>
                      <a:lnTo>
                        <a:pt x="250" y="43"/>
                      </a:lnTo>
                      <a:lnTo>
                        <a:pt x="248" y="46"/>
                      </a:lnTo>
                      <a:lnTo>
                        <a:pt x="247" y="46"/>
                      </a:lnTo>
                      <a:lnTo>
                        <a:pt x="247" y="49"/>
                      </a:lnTo>
                      <a:lnTo>
                        <a:pt x="245" y="51"/>
                      </a:lnTo>
                      <a:lnTo>
                        <a:pt x="242" y="53"/>
                      </a:lnTo>
                      <a:lnTo>
                        <a:pt x="242" y="54"/>
                      </a:lnTo>
                      <a:lnTo>
                        <a:pt x="240" y="56"/>
                      </a:lnTo>
                      <a:lnTo>
                        <a:pt x="238" y="56"/>
                      </a:lnTo>
                      <a:lnTo>
                        <a:pt x="237" y="56"/>
                      </a:lnTo>
                      <a:lnTo>
                        <a:pt x="235" y="58"/>
                      </a:lnTo>
                      <a:lnTo>
                        <a:pt x="235" y="59"/>
                      </a:lnTo>
                      <a:lnTo>
                        <a:pt x="230" y="59"/>
                      </a:lnTo>
                      <a:lnTo>
                        <a:pt x="227" y="58"/>
                      </a:lnTo>
                      <a:lnTo>
                        <a:pt x="225" y="59"/>
                      </a:lnTo>
                      <a:lnTo>
                        <a:pt x="220" y="66"/>
                      </a:lnTo>
                      <a:lnTo>
                        <a:pt x="219" y="72"/>
                      </a:lnTo>
                      <a:lnTo>
                        <a:pt x="219" y="77"/>
                      </a:lnTo>
                      <a:lnTo>
                        <a:pt x="219" y="80"/>
                      </a:lnTo>
                      <a:lnTo>
                        <a:pt x="219" y="84"/>
                      </a:lnTo>
                      <a:lnTo>
                        <a:pt x="219" y="85"/>
                      </a:lnTo>
                      <a:lnTo>
                        <a:pt x="217" y="85"/>
                      </a:lnTo>
                      <a:lnTo>
                        <a:pt x="216" y="82"/>
                      </a:lnTo>
                      <a:lnTo>
                        <a:pt x="211" y="80"/>
                      </a:lnTo>
                      <a:lnTo>
                        <a:pt x="206" y="79"/>
                      </a:lnTo>
                      <a:lnTo>
                        <a:pt x="201" y="76"/>
                      </a:lnTo>
                      <a:lnTo>
                        <a:pt x="198" y="72"/>
                      </a:lnTo>
                      <a:lnTo>
                        <a:pt x="196" y="72"/>
                      </a:lnTo>
                      <a:lnTo>
                        <a:pt x="193" y="72"/>
                      </a:lnTo>
                      <a:lnTo>
                        <a:pt x="191" y="71"/>
                      </a:lnTo>
                      <a:lnTo>
                        <a:pt x="189" y="71"/>
                      </a:lnTo>
                      <a:lnTo>
                        <a:pt x="185" y="72"/>
                      </a:lnTo>
                      <a:lnTo>
                        <a:pt x="181" y="79"/>
                      </a:lnTo>
                      <a:lnTo>
                        <a:pt x="180" y="77"/>
                      </a:lnTo>
                      <a:lnTo>
                        <a:pt x="176" y="74"/>
                      </a:lnTo>
                      <a:lnTo>
                        <a:pt x="173" y="74"/>
                      </a:lnTo>
                      <a:lnTo>
                        <a:pt x="171" y="77"/>
                      </a:lnTo>
                      <a:lnTo>
                        <a:pt x="171" y="80"/>
                      </a:lnTo>
                      <a:lnTo>
                        <a:pt x="173" y="82"/>
                      </a:lnTo>
                      <a:lnTo>
                        <a:pt x="176" y="84"/>
                      </a:lnTo>
                      <a:lnTo>
                        <a:pt x="180" y="84"/>
                      </a:lnTo>
                      <a:lnTo>
                        <a:pt x="183" y="87"/>
                      </a:lnTo>
                      <a:lnTo>
                        <a:pt x="186" y="89"/>
                      </a:lnTo>
                      <a:lnTo>
                        <a:pt x="191" y="89"/>
                      </a:lnTo>
                      <a:lnTo>
                        <a:pt x="191" y="90"/>
                      </a:lnTo>
                      <a:lnTo>
                        <a:pt x="189" y="94"/>
                      </a:lnTo>
                      <a:lnTo>
                        <a:pt x="188" y="97"/>
                      </a:lnTo>
                      <a:lnTo>
                        <a:pt x="186" y="95"/>
                      </a:lnTo>
                      <a:lnTo>
                        <a:pt x="181" y="94"/>
                      </a:lnTo>
                      <a:lnTo>
                        <a:pt x="180" y="95"/>
                      </a:lnTo>
                      <a:lnTo>
                        <a:pt x="181" y="98"/>
                      </a:lnTo>
                      <a:lnTo>
                        <a:pt x="180" y="100"/>
                      </a:lnTo>
                      <a:lnTo>
                        <a:pt x="176" y="105"/>
                      </a:lnTo>
                      <a:lnTo>
                        <a:pt x="176" y="105"/>
                      </a:lnTo>
                      <a:close/>
                      <a:moveTo>
                        <a:pt x="171" y="195"/>
                      </a:moveTo>
                      <a:lnTo>
                        <a:pt x="171" y="192"/>
                      </a:lnTo>
                      <a:lnTo>
                        <a:pt x="171" y="190"/>
                      </a:lnTo>
                      <a:lnTo>
                        <a:pt x="171" y="188"/>
                      </a:lnTo>
                      <a:lnTo>
                        <a:pt x="170" y="190"/>
                      </a:lnTo>
                      <a:lnTo>
                        <a:pt x="168" y="188"/>
                      </a:lnTo>
                      <a:lnTo>
                        <a:pt x="170" y="182"/>
                      </a:lnTo>
                      <a:lnTo>
                        <a:pt x="171" y="182"/>
                      </a:lnTo>
                      <a:lnTo>
                        <a:pt x="171" y="183"/>
                      </a:lnTo>
                      <a:lnTo>
                        <a:pt x="171" y="187"/>
                      </a:lnTo>
                      <a:lnTo>
                        <a:pt x="173" y="187"/>
                      </a:lnTo>
                      <a:lnTo>
                        <a:pt x="175" y="188"/>
                      </a:lnTo>
                      <a:lnTo>
                        <a:pt x="173" y="192"/>
                      </a:lnTo>
                      <a:lnTo>
                        <a:pt x="171" y="193"/>
                      </a:lnTo>
                      <a:lnTo>
                        <a:pt x="171" y="195"/>
                      </a:lnTo>
                      <a:lnTo>
                        <a:pt x="171" y="195"/>
                      </a:lnTo>
                      <a:close/>
                      <a:moveTo>
                        <a:pt x="54" y="304"/>
                      </a:moveTo>
                      <a:lnTo>
                        <a:pt x="56" y="304"/>
                      </a:lnTo>
                      <a:lnTo>
                        <a:pt x="57" y="304"/>
                      </a:lnTo>
                      <a:lnTo>
                        <a:pt x="56" y="303"/>
                      </a:lnTo>
                      <a:lnTo>
                        <a:pt x="54" y="303"/>
                      </a:lnTo>
                      <a:lnTo>
                        <a:pt x="54" y="304"/>
                      </a:lnTo>
                      <a:lnTo>
                        <a:pt x="54" y="304"/>
                      </a:lnTo>
                      <a:close/>
                      <a:moveTo>
                        <a:pt x="54" y="306"/>
                      </a:moveTo>
                      <a:lnTo>
                        <a:pt x="54" y="308"/>
                      </a:lnTo>
                      <a:lnTo>
                        <a:pt x="54" y="306"/>
                      </a:lnTo>
                      <a:lnTo>
                        <a:pt x="54" y="306"/>
                      </a:lnTo>
                      <a:lnTo>
                        <a:pt x="54" y="306"/>
                      </a:lnTo>
                      <a:close/>
                      <a:moveTo>
                        <a:pt x="52" y="308"/>
                      </a:moveTo>
                      <a:lnTo>
                        <a:pt x="52" y="309"/>
                      </a:lnTo>
                      <a:lnTo>
                        <a:pt x="54" y="308"/>
                      </a:lnTo>
                      <a:lnTo>
                        <a:pt x="52" y="308"/>
                      </a:lnTo>
                      <a:lnTo>
                        <a:pt x="52" y="308"/>
                      </a:lnTo>
                      <a:close/>
                      <a:moveTo>
                        <a:pt x="49" y="309"/>
                      </a:moveTo>
                      <a:lnTo>
                        <a:pt x="51" y="311"/>
                      </a:lnTo>
                      <a:lnTo>
                        <a:pt x="52" y="309"/>
                      </a:lnTo>
                      <a:lnTo>
                        <a:pt x="49" y="309"/>
                      </a:lnTo>
                      <a:lnTo>
                        <a:pt x="49" y="309"/>
                      </a:lnTo>
                      <a:close/>
                      <a:moveTo>
                        <a:pt x="47" y="317"/>
                      </a:moveTo>
                      <a:lnTo>
                        <a:pt x="46" y="314"/>
                      </a:lnTo>
                      <a:lnTo>
                        <a:pt x="46" y="312"/>
                      </a:lnTo>
                      <a:lnTo>
                        <a:pt x="47" y="311"/>
                      </a:lnTo>
                      <a:lnTo>
                        <a:pt x="49" y="312"/>
                      </a:lnTo>
                      <a:lnTo>
                        <a:pt x="51" y="314"/>
                      </a:lnTo>
                      <a:lnTo>
                        <a:pt x="51" y="316"/>
                      </a:lnTo>
                      <a:lnTo>
                        <a:pt x="49" y="317"/>
                      </a:lnTo>
                      <a:lnTo>
                        <a:pt x="47" y="317"/>
                      </a:lnTo>
                      <a:lnTo>
                        <a:pt x="47" y="317"/>
                      </a:lnTo>
                      <a:close/>
                      <a:moveTo>
                        <a:pt x="72" y="319"/>
                      </a:moveTo>
                      <a:lnTo>
                        <a:pt x="72" y="317"/>
                      </a:lnTo>
                      <a:lnTo>
                        <a:pt x="72" y="317"/>
                      </a:lnTo>
                      <a:lnTo>
                        <a:pt x="73" y="317"/>
                      </a:lnTo>
                      <a:lnTo>
                        <a:pt x="73" y="319"/>
                      </a:lnTo>
                      <a:lnTo>
                        <a:pt x="72" y="319"/>
                      </a:lnTo>
                      <a:lnTo>
                        <a:pt x="72" y="319"/>
                      </a:lnTo>
                      <a:close/>
                      <a:moveTo>
                        <a:pt x="69" y="324"/>
                      </a:moveTo>
                      <a:lnTo>
                        <a:pt x="70" y="324"/>
                      </a:lnTo>
                      <a:lnTo>
                        <a:pt x="70" y="324"/>
                      </a:lnTo>
                      <a:lnTo>
                        <a:pt x="70" y="326"/>
                      </a:lnTo>
                      <a:lnTo>
                        <a:pt x="69" y="324"/>
                      </a:lnTo>
                      <a:lnTo>
                        <a:pt x="69" y="324"/>
                      </a:lnTo>
                      <a:close/>
                      <a:moveTo>
                        <a:pt x="67" y="316"/>
                      </a:moveTo>
                      <a:lnTo>
                        <a:pt x="67" y="317"/>
                      </a:lnTo>
                      <a:lnTo>
                        <a:pt x="67" y="321"/>
                      </a:lnTo>
                      <a:lnTo>
                        <a:pt x="69" y="322"/>
                      </a:lnTo>
                      <a:lnTo>
                        <a:pt x="69" y="324"/>
                      </a:lnTo>
                      <a:lnTo>
                        <a:pt x="70" y="321"/>
                      </a:lnTo>
                      <a:lnTo>
                        <a:pt x="69" y="317"/>
                      </a:lnTo>
                      <a:lnTo>
                        <a:pt x="69" y="316"/>
                      </a:lnTo>
                      <a:lnTo>
                        <a:pt x="67" y="316"/>
                      </a:lnTo>
                      <a:lnTo>
                        <a:pt x="67" y="316"/>
                      </a:lnTo>
                      <a:close/>
                      <a:moveTo>
                        <a:pt x="136" y="277"/>
                      </a:moveTo>
                      <a:lnTo>
                        <a:pt x="134" y="273"/>
                      </a:lnTo>
                      <a:lnTo>
                        <a:pt x="134" y="272"/>
                      </a:lnTo>
                      <a:lnTo>
                        <a:pt x="136" y="270"/>
                      </a:lnTo>
                      <a:lnTo>
                        <a:pt x="137" y="270"/>
                      </a:lnTo>
                      <a:lnTo>
                        <a:pt x="137" y="272"/>
                      </a:lnTo>
                      <a:lnTo>
                        <a:pt x="137" y="273"/>
                      </a:lnTo>
                      <a:lnTo>
                        <a:pt x="137" y="275"/>
                      </a:lnTo>
                      <a:lnTo>
                        <a:pt x="137" y="277"/>
                      </a:lnTo>
                      <a:lnTo>
                        <a:pt x="136" y="277"/>
                      </a:lnTo>
                      <a:lnTo>
                        <a:pt x="136" y="277"/>
                      </a:lnTo>
                      <a:close/>
                      <a:moveTo>
                        <a:pt x="124" y="275"/>
                      </a:moveTo>
                      <a:lnTo>
                        <a:pt x="127" y="272"/>
                      </a:lnTo>
                      <a:lnTo>
                        <a:pt x="129" y="272"/>
                      </a:lnTo>
                      <a:lnTo>
                        <a:pt x="129" y="273"/>
                      </a:lnTo>
                      <a:lnTo>
                        <a:pt x="127" y="275"/>
                      </a:lnTo>
                      <a:lnTo>
                        <a:pt x="124" y="275"/>
                      </a:lnTo>
                      <a:lnTo>
                        <a:pt x="124" y="275"/>
                      </a:lnTo>
                      <a:close/>
                      <a:moveTo>
                        <a:pt x="109" y="308"/>
                      </a:moveTo>
                      <a:lnTo>
                        <a:pt x="111" y="309"/>
                      </a:lnTo>
                      <a:lnTo>
                        <a:pt x="113" y="308"/>
                      </a:lnTo>
                      <a:lnTo>
                        <a:pt x="114" y="308"/>
                      </a:lnTo>
                      <a:lnTo>
                        <a:pt x="116" y="308"/>
                      </a:lnTo>
                      <a:lnTo>
                        <a:pt x="116" y="306"/>
                      </a:lnTo>
                      <a:lnTo>
                        <a:pt x="113" y="303"/>
                      </a:lnTo>
                      <a:lnTo>
                        <a:pt x="114" y="299"/>
                      </a:lnTo>
                      <a:lnTo>
                        <a:pt x="116" y="296"/>
                      </a:lnTo>
                      <a:lnTo>
                        <a:pt x="119" y="293"/>
                      </a:lnTo>
                      <a:lnTo>
                        <a:pt x="121" y="291"/>
                      </a:lnTo>
                      <a:lnTo>
                        <a:pt x="124" y="291"/>
                      </a:lnTo>
                      <a:lnTo>
                        <a:pt x="127" y="295"/>
                      </a:lnTo>
                      <a:lnTo>
                        <a:pt x="129" y="296"/>
                      </a:lnTo>
                      <a:lnTo>
                        <a:pt x="131" y="296"/>
                      </a:lnTo>
                      <a:lnTo>
                        <a:pt x="132" y="290"/>
                      </a:lnTo>
                      <a:lnTo>
                        <a:pt x="136" y="286"/>
                      </a:lnTo>
                      <a:lnTo>
                        <a:pt x="137" y="285"/>
                      </a:lnTo>
                      <a:lnTo>
                        <a:pt x="136" y="283"/>
                      </a:lnTo>
                      <a:lnTo>
                        <a:pt x="136" y="281"/>
                      </a:lnTo>
                      <a:lnTo>
                        <a:pt x="131" y="278"/>
                      </a:lnTo>
                      <a:lnTo>
                        <a:pt x="129" y="278"/>
                      </a:lnTo>
                      <a:lnTo>
                        <a:pt x="127" y="277"/>
                      </a:lnTo>
                      <a:lnTo>
                        <a:pt x="122" y="277"/>
                      </a:lnTo>
                      <a:lnTo>
                        <a:pt x="119" y="280"/>
                      </a:lnTo>
                      <a:lnTo>
                        <a:pt x="119" y="281"/>
                      </a:lnTo>
                      <a:lnTo>
                        <a:pt x="118" y="285"/>
                      </a:lnTo>
                      <a:lnTo>
                        <a:pt x="114" y="285"/>
                      </a:lnTo>
                      <a:lnTo>
                        <a:pt x="113" y="286"/>
                      </a:lnTo>
                      <a:lnTo>
                        <a:pt x="111" y="286"/>
                      </a:lnTo>
                      <a:lnTo>
                        <a:pt x="109" y="281"/>
                      </a:lnTo>
                      <a:lnTo>
                        <a:pt x="108" y="281"/>
                      </a:lnTo>
                      <a:lnTo>
                        <a:pt x="103" y="286"/>
                      </a:lnTo>
                      <a:lnTo>
                        <a:pt x="103" y="290"/>
                      </a:lnTo>
                      <a:lnTo>
                        <a:pt x="100" y="291"/>
                      </a:lnTo>
                      <a:lnTo>
                        <a:pt x="100" y="295"/>
                      </a:lnTo>
                      <a:lnTo>
                        <a:pt x="105" y="296"/>
                      </a:lnTo>
                      <a:lnTo>
                        <a:pt x="105" y="299"/>
                      </a:lnTo>
                      <a:lnTo>
                        <a:pt x="105" y="301"/>
                      </a:lnTo>
                      <a:lnTo>
                        <a:pt x="105" y="303"/>
                      </a:lnTo>
                      <a:lnTo>
                        <a:pt x="106" y="306"/>
                      </a:lnTo>
                      <a:lnTo>
                        <a:pt x="109" y="306"/>
                      </a:lnTo>
                      <a:lnTo>
                        <a:pt x="109" y="308"/>
                      </a:lnTo>
                      <a:lnTo>
                        <a:pt x="109" y="308"/>
                      </a:lnTo>
                      <a:close/>
                      <a:moveTo>
                        <a:pt x="90" y="363"/>
                      </a:moveTo>
                      <a:lnTo>
                        <a:pt x="87" y="360"/>
                      </a:lnTo>
                      <a:lnTo>
                        <a:pt x="85" y="362"/>
                      </a:lnTo>
                      <a:lnTo>
                        <a:pt x="85" y="363"/>
                      </a:lnTo>
                      <a:lnTo>
                        <a:pt x="87" y="366"/>
                      </a:lnTo>
                      <a:lnTo>
                        <a:pt x="90" y="366"/>
                      </a:lnTo>
                      <a:lnTo>
                        <a:pt x="90" y="365"/>
                      </a:lnTo>
                      <a:lnTo>
                        <a:pt x="90" y="363"/>
                      </a:lnTo>
                      <a:lnTo>
                        <a:pt x="90" y="363"/>
                      </a:lnTo>
                      <a:close/>
                      <a:moveTo>
                        <a:pt x="91" y="360"/>
                      </a:moveTo>
                      <a:lnTo>
                        <a:pt x="91" y="355"/>
                      </a:lnTo>
                      <a:lnTo>
                        <a:pt x="91" y="352"/>
                      </a:lnTo>
                      <a:lnTo>
                        <a:pt x="93" y="353"/>
                      </a:lnTo>
                      <a:lnTo>
                        <a:pt x="93" y="357"/>
                      </a:lnTo>
                      <a:lnTo>
                        <a:pt x="93" y="358"/>
                      </a:lnTo>
                      <a:lnTo>
                        <a:pt x="91" y="360"/>
                      </a:lnTo>
                      <a:lnTo>
                        <a:pt x="91" y="360"/>
                      </a:lnTo>
                      <a:close/>
                      <a:moveTo>
                        <a:pt x="87" y="350"/>
                      </a:moveTo>
                      <a:lnTo>
                        <a:pt x="90" y="348"/>
                      </a:lnTo>
                      <a:lnTo>
                        <a:pt x="93" y="344"/>
                      </a:lnTo>
                      <a:lnTo>
                        <a:pt x="90" y="342"/>
                      </a:lnTo>
                      <a:lnTo>
                        <a:pt x="90" y="340"/>
                      </a:lnTo>
                      <a:lnTo>
                        <a:pt x="91" y="339"/>
                      </a:lnTo>
                      <a:lnTo>
                        <a:pt x="93" y="340"/>
                      </a:lnTo>
                      <a:lnTo>
                        <a:pt x="95" y="340"/>
                      </a:lnTo>
                      <a:lnTo>
                        <a:pt x="95" y="337"/>
                      </a:lnTo>
                      <a:lnTo>
                        <a:pt x="95" y="332"/>
                      </a:lnTo>
                      <a:lnTo>
                        <a:pt x="95" y="329"/>
                      </a:lnTo>
                      <a:lnTo>
                        <a:pt x="95" y="321"/>
                      </a:lnTo>
                      <a:lnTo>
                        <a:pt x="95" y="316"/>
                      </a:lnTo>
                      <a:lnTo>
                        <a:pt x="96" y="312"/>
                      </a:lnTo>
                      <a:lnTo>
                        <a:pt x="100" y="309"/>
                      </a:lnTo>
                      <a:lnTo>
                        <a:pt x="98" y="308"/>
                      </a:lnTo>
                      <a:lnTo>
                        <a:pt x="96" y="306"/>
                      </a:lnTo>
                      <a:lnTo>
                        <a:pt x="96" y="304"/>
                      </a:lnTo>
                      <a:lnTo>
                        <a:pt x="95" y="303"/>
                      </a:lnTo>
                      <a:lnTo>
                        <a:pt x="95" y="301"/>
                      </a:lnTo>
                      <a:lnTo>
                        <a:pt x="90" y="301"/>
                      </a:lnTo>
                      <a:lnTo>
                        <a:pt x="90" y="299"/>
                      </a:lnTo>
                      <a:lnTo>
                        <a:pt x="91" y="298"/>
                      </a:lnTo>
                      <a:lnTo>
                        <a:pt x="93" y="296"/>
                      </a:lnTo>
                      <a:lnTo>
                        <a:pt x="91" y="293"/>
                      </a:lnTo>
                      <a:lnTo>
                        <a:pt x="90" y="291"/>
                      </a:lnTo>
                      <a:lnTo>
                        <a:pt x="87" y="291"/>
                      </a:lnTo>
                      <a:lnTo>
                        <a:pt x="87" y="293"/>
                      </a:lnTo>
                      <a:lnTo>
                        <a:pt x="85" y="295"/>
                      </a:lnTo>
                      <a:lnTo>
                        <a:pt x="83" y="295"/>
                      </a:lnTo>
                      <a:lnTo>
                        <a:pt x="80" y="290"/>
                      </a:lnTo>
                      <a:lnTo>
                        <a:pt x="80" y="288"/>
                      </a:lnTo>
                      <a:lnTo>
                        <a:pt x="85" y="285"/>
                      </a:lnTo>
                      <a:lnTo>
                        <a:pt x="90" y="285"/>
                      </a:lnTo>
                      <a:lnTo>
                        <a:pt x="95" y="286"/>
                      </a:lnTo>
                      <a:lnTo>
                        <a:pt x="96" y="286"/>
                      </a:lnTo>
                      <a:lnTo>
                        <a:pt x="96" y="286"/>
                      </a:lnTo>
                      <a:lnTo>
                        <a:pt x="96" y="283"/>
                      </a:lnTo>
                      <a:lnTo>
                        <a:pt x="96" y="280"/>
                      </a:lnTo>
                      <a:lnTo>
                        <a:pt x="96" y="278"/>
                      </a:lnTo>
                      <a:lnTo>
                        <a:pt x="98" y="277"/>
                      </a:lnTo>
                      <a:lnTo>
                        <a:pt x="100" y="277"/>
                      </a:lnTo>
                      <a:lnTo>
                        <a:pt x="101" y="278"/>
                      </a:lnTo>
                      <a:lnTo>
                        <a:pt x="103" y="278"/>
                      </a:lnTo>
                      <a:lnTo>
                        <a:pt x="106" y="277"/>
                      </a:lnTo>
                      <a:lnTo>
                        <a:pt x="111" y="275"/>
                      </a:lnTo>
                      <a:lnTo>
                        <a:pt x="116" y="273"/>
                      </a:lnTo>
                      <a:lnTo>
                        <a:pt x="119" y="273"/>
                      </a:lnTo>
                      <a:lnTo>
                        <a:pt x="121" y="275"/>
                      </a:lnTo>
                      <a:lnTo>
                        <a:pt x="122" y="273"/>
                      </a:lnTo>
                      <a:lnTo>
                        <a:pt x="122" y="273"/>
                      </a:lnTo>
                      <a:lnTo>
                        <a:pt x="126" y="270"/>
                      </a:lnTo>
                      <a:lnTo>
                        <a:pt x="126" y="268"/>
                      </a:lnTo>
                      <a:lnTo>
                        <a:pt x="129" y="265"/>
                      </a:lnTo>
                      <a:lnTo>
                        <a:pt x="134" y="265"/>
                      </a:lnTo>
                      <a:lnTo>
                        <a:pt x="139" y="265"/>
                      </a:lnTo>
                      <a:lnTo>
                        <a:pt x="140" y="265"/>
                      </a:lnTo>
                      <a:lnTo>
                        <a:pt x="142" y="265"/>
                      </a:lnTo>
                      <a:lnTo>
                        <a:pt x="142" y="268"/>
                      </a:lnTo>
                      <a:lnTo>
                        <a:pt x="140" y="272"/>
                      </a:lnTo>
                      <a:lnTo>
                        <a:pt x="139" y="275"/>
                      </a:lnTo>
                      <a:lnTo>
                        <a:pt x="140" y="275"/>
                      </a:lnTo>
                      <a:lnTo>
                        <a:pt x="140" y="278"/>
                      </a:lnTo>
                      <a:lnTo>
                        <a:pt x="140" y="281"/>
                      </a:lnTo>
                      <a:lnTo>
                        <a:pt x="140" y="283"/>
                      </a:lnTo>
                      <a:lnTo>
                        <a:pt x="142" y="286"/>
                      </a:lnTo>
                      <a:lnTo>
                        <a:pt x="145" y="288"/>
                      </a:lnTo>
                      <a:lnTo>
                        <a:pt x="149" y="291"/>
                      </a:lnTo>
                      <a:lnTo>
                        <a:pt x="152" y="293"/>
                      </a:lnTo>
                      <a:lnTo>
                        <a:pt x="154" y="291"/>
                      </a:lnTo>
                      <a:lnTo>
                        <a:pt x="157" y="286"/>
                      </a:lnTo>
                      <a:lnTo>
                        <a:pt x="157" y="283"/>
                      </a:lnTo>
                      <a:lnTo>
                        <a:pt x="158" y="283"/>
                      </a:lnTo>
                      <a:lnTo>
                        <a:pt x="160" y="281"/>
                      </a:lnTo>
                      <a:lnTo>
                        <a:pt x="158" y="278"/>
                      </a:lnTo>
                      <a:lnTo>
                        <a:pt x="162" y="275"/>
                      </a:lnTo>
                      <a:lnTo>
                        <a:pt x="163" y="275"/>
                      </a:lnTo>
                      <a:lnTo>
                        <a:pt x="167" y="275"/>
                      </a:lnTo>
                      <a:lnTo>
                        <a:pt x="167" y="273"/>
                      </a:lnTo>
                      <a:lnTo>
                        <a:pt x="167" y="272"/>
                      </a:lnTo>
                      <a:lnTo>
                        <a:pt x="165" y="268"/>
                      </a:lnTo>
                      <a:lnTo>
                        <a:pt x="160" y="265"/>
                      </a:lnTo>
                      <a:lnTo>
                        <a:pt x="158" y="263"/>
                      </a:lnTo>
                      <a:lnTo>
                        <a:pt x="160" y="260"/>
                      </a:lnTo>
                      <a:lnTo>
                        <a:pt x="162" y="259"/>
                      </a:lnTo>
                      <a:lnTo>
                        <a:pt x="163" y="257"/>
                      </a:lnTo>
                      <a:lnTo>
                        <a:pt x="163" y="259"/>
                      </a:lnTo>
                      <a:lnTo>
                        <a:pt x="163" y="262"/>
                      </a:lnTo>
                      <a:lnTo>
                        <a:pt x="165" y="263"/>
                      </a:lnTo>
                      <a:lnTo>
                        <a:pt x="165" y="262"/>
                      </a:lnTo>
                      <a:lnTo>
                        <a:pt x="167" y="262"/>
                      </a:lnTo>
                      <a:lnTo>
                        <a:pt x="168" y="262"/>
                      </a:lnTo>
                      <a:lnTo>
                        <a:pt x="170" y="263"/>
                      </a:lnTo>
                      <a:lnTo>
                        <a:pt x="171" y="263"/>
                      </a:lnTo>
                      <a:lnTo>
                        <a:pt x="173" y="263"/>
                      </a:lnTo>
                      <a:lnTo>
                        <a:pt x="171" y="265"/>
                      </a:lnTo>
                      <a:lnTo>
                        <a:pt x="170" y="265"/>
                      </a:lnTo>
                      <a:lnTo>
                        <a:pt x="168" y="267"/>
                      </a:lnTo>
                      <a:lnTo>
                        <a:pt x="170" y="267"/>
                      </a:lnTo>
                      <a:lnTo>
                        <a:pt x="173" y="265"/>
                      </a:lnTo>
                      <a:lnTo>
                        <a:pt x="176" y="263"/>
                      </a:lnTo>
                      <a:lnTo>
                        <a:pt x="185" y="265"/>
                      </a:lnTo>
                      <a:lnTo>
                        <a:pt x="188" y="263"/>
                      </a:lnTo>
                      <a:lnTo>
                        <a:pt x="188" y="263"/>
                      </a:lnTo>
                      <a:lnTo>
                        <a:pt x="186" y="260"/>
                      </a:lnTo>
                      <a:lnTo>
                        <a:pt x="188" y="255"/>
                      </a:lnTo>
                      <a:lnTo>
                        <a:pt x="191" y="254"/>
                      </a:lnTo>
                      <a:lnTo>
                        <a:pt x="193" y="255"/>
                      </a:lnTo>
                      <a:lnTo>
                        <a:pt x="194" y="259"/>
                      </a:lnTo>
                      <a:lnTo>
                        <a:pt x="193" y="260"/>
                      </a:lnTo>
                      <a:lnTo>
                        <a:pt x="194" y="263"/>
                      </a:lnTo>
                      <a:lnTo>
                        <a:pt x="196" y="263"/>
                      </a:lnTo>
                      <a:lnTo>
                        <a:pt x="199" y="260"/>
                      </a:lnTo>
                      <a:lnTo>
                        <a:pt x="198" y="254"/>
                      </a:lnTo>
                      <a:lnTo>
                        <a:pt x="198" y="250"/>
                      </a:lnTo>
                      <a:lnTo>
                        <a:pt x="202" y="247"/>
                      </a:lnTo>
                      <a:lnTo>
                        <a:pt x="204" y="247"/>
                      </a:lnTo>
                      <a:lnTo>
                        <a:pt x="204" y="245"/>
                      </a:lnTo>
                      <a:lnTo>
                        <a:pt x="204" y="244"/>
                      </a:lnTo>
                      <a:lnTo>
                        <a:pt x="204" y="241"/>
                      </a:lnTo>
                      <a:lnTo>
                        <a:pt x="206" y="239"/>
                      </a:lnTo>
                      <a:lnTo>
                        <a:pt x="209" y="239"/>
                      </a:lnTo>
                      <a:lnTo>
                        <a:pt x="209" y="241"/>
                      </a:lnTo>
                      <a:lnTo>
                        <a:pt x="209" y="244"/>
                      </a:lnTo>
                      <a:lnTo>
                        <a:pt x="207" y="247"/>
                      </a:lnTo>
                      <a:lnTo>
                        <a:pt x="209" y="257"/>
                      </a:lnTo>
                      <a:lnTo>
                        <a:pt x="209" y="257"/>
                      </a:lnTo>
                      <a:lnTo>
                        <a:pt x="212" y="257"/>
                      </a:lnTo>
                      <a:lnTo>
                        <a:pt x="214" y="254"/>
                      </a:lnTo>
                      <a:lnTo>
                        <a:pt x="216" y="254"/>
                      </a:lnTo>
                      <a:lnTo>
                        <a:pt x="219" y="250"/>
                      </a:lnTo>
                      <a:lnTo>
                        <a:pt x="220" y="245"/>
                      </a:lnTo>
                      <a:lnTo>
                        <a:pt x="219" y="242"/>
                      </a:lnTo>
                      <a:lnTo>
                        <a:pt x="222" y="239"/>
                      </a:lnTo>
                      <a:lnTo>
                        <a:pt x="222" y="237"/>
                      </a:lnTo>
                      <a:lnTo>
                        <a:pt x="220" y="236"/>
                      </a:lnTo>
                      <a:lnTo>
                        <a:pt x="217" y="231"/>
                      </a:lnTo>
                      <a:lnTo>
                        <a:pt x="216" y="228"/>
                      </a:lnTo>
                      <a:lnTo>
                        <a:pt x="214" y="219"/>
                      </a:lnTo>
                      <a:lnTo>
                        <a:pt x="216" y="210"/>
                      </a:lnTo>
                      <a:lnTo>
                        <a:pt x="216" y="205"/>
                      </a:lnTo>
                      <a:lnTo>
                        <a:pt x="214" y="193"/>
                      </a:lnTo>
                      <a:lnTo>
                        <a:pt x="209" y="187"/>
                      </a:lnTo>
                      <a:lnTo>
                        <a:pt x="209" y="183"/>
                      </a:lnTo>
                      <a:lnTo>
                        <a:pt x="211" y="179"/>
                      </a:lnTo>
                      <a:lnTo>
                        <a:pt x="216" y="175"/>
                      </a:lnTo>
                      <a:lnTo>
                        <a:pt x="217" y="175"/>
                      </a:lnTo>
                      <a:lnTo>
                        <a:pt x="219" y="177"/>
                      </a:lnTo>
                      <a:lnTo>
                        <a:pt x="219" y="177"/>
                      </a:lnTo>
                      <a:lnTo>
                        <a:pt x="219" y="172"/>
                      </a:lnTo>
                      <a:lnTo>
                        <a:pt x="219" y="170"/>
                      </a:lnTo>
                      <a:lnTo>
                        <a:pt x="217" y="169"/>
                      </a:lnTo>
                      <a:lnTo>
                        <a:pt x="216" y="165"/>
                      </a:lnTo>
                      <a:lnTo>
                        <a:pt x="217" y="164"/>
                      </a:lnTo>
                      <a:lnTo>
                        <a:pt x="216" y="162"/>
                      </a:lnTo>
                      <a:lnTo>
                        <a:pt x="217" y="159"/>
                      </a:lnTo>
                      <a:lnTo>
                        <a:pt x="217" y="159"/>
                      </a:lnTo>
                      <a:lnTo>
                        <a:pt x="217" y="156"/>
                      </a:lnTo>
                      <a:lnTo>
                        <a:pt x="217" y="154"/>
                      </a:lnTo>
                      <a:lnTo>
                        <a:pt x="217" y="151"/>
                      </a:lnTo>
                      <a:lnTo>
                        <a:pt x="217" y="149"/>
                      </a:lnTo>
                      <a:lnTo>
                        <a:pt x="216" y="146"/>
                      </a:lnTo>
                      <a:lnTo>
                        <a:pt x="216" y="141"/>
                      </a:lnTo>
                      <a:lnTo>
                        <a:pt x="212" y="134"/>
                      </a:lnTo>
                      <a:lnTo>
                        <a:pt x="211" y="134"/>
                      </a:lnTo>
                      <a:lnTo>
                        <a:pt x="209" y="134"/>
                      </a:lnTo>
                      <a:lnTo>
                        <a:pt x="209" y="128"/>
                      </a:lnTo>
                      <a:lnTo>
                        <a:pt x="206" y="125"/>
                      </a:lnTo>
                      <a:lnTo>
                        <a:pt x="199" y="116"/>
                      </a:lnTo>
                      <a:lnTo>
                        <a:pt x="198" y="113"/>
                      </a:lnTo>
                      <a:lnTo>
                        <a:pt x="196" y="108"/>
                      </a:lnTo>
                      <a:lnTo>
                        <a:pt x="196" y="103"/>
                      </a:lnTo>
                      <a:lnTo>
                        <a:pt x="196" y="102"/>
                      </a:lnTo>
                      <a:lnTo>
                        <a:pt x="194" y="103"/>
                      </a:lnTo>
                      <a:lnTo>
                        <a:pt x="193" y="103"/>
                      </a:lnTo>
                      <a:lnTo>
                        <a:pt x="193" y="103"/>
                      </a:lnTo>
                      <a:lnTo>
                        <a:pt x="189" y="102"/>
                      </a:lnTo>
                      <a:lnTo>
                        <a:pt x="188" y="102"/>
                      </a:lnTo>
                      <a:lnTo>
                        <a:pt x="188" y="102"/>
                      </a:lnTo>
                      <a:lnTo>
                        <a:pt x="186" y="107"/>
                      </a:lnTo>
                      <a:lnTo>
                        <a:pt x="186" y="108"/>
                      </a:lnTo>
                      <a:lnTo>
                        <a:pt x="188" y="110"/>
                      </a:lnTo>
                      <a:lnTo>
                        <a:pt x="189" y="110"/>
                      </a:lnTo>
                      <a:lnTo>
                        <a:pt x="193" y="107"/>
                      </a:lnTo>
                      <a:lnTo>
                        <a:pt x="194" y="110"/>
                      </a:lnTo>
                      <a:lnTo>
                        <a:pt x="193" y="113"/>
                      </a:lnTo>
                      <a:lnTo>
                        <a:pt x="191" y="115"/>
                      </a:lnTo>
                      <a:lnTo>
                        <a:pt x="189" y="113"/>
                      </a:lnTo>
                      <a:lnTo>
                        <a:pt x="189" y="113"/>
                      </a:lnTo>
                      <a:lnTo>
                        <a:pt x="189" y="116"/>
                      </a:lnTo>
                      <a:lnTo>
                        <a:pt x="188" y="118"/>
                      </a:lnTo>
                      <a:lnTo>
                        <a:pt x="186" y="118"/>
                      </a:lnTo>
                      <a:lnTo>
                        <a:pt x="186" y="115"/>
                      </a:lnTo>
                      <a:lnTo>
                        <a:pt x="185" y="112"/>
                      </a:lnTo>
                      <a:lnTo>
                        <a:pt x="185" y="110"/>
                      </a:lnTo>
                      <a:lnTo>
                        <a:pt x="181" y="110"/>
                      </a:lnTo>
                      <a:lnTo>
                        <a:pt x="180" y="110"/>
                      </a:lnTo>
                      <a:lnTo>
                        <a:pt x="180" y="112"/>
                      </a:lnTo>
                      <a:lnTo>
                        <a:pt x="181" y="116"/>
                      </a:lnTo>
                      <a:lnTo>
                        <a:pt x="181" y="120"/>
                      </a:lnTo>
                      <a:lnTo>
                        <a:pt x="180" y="121"/>
                      </a:lnTo>
                      <a:lnTo>
                        <a:pt x="178" y="123"/>
                      </a:lnTo>
                      <a:lnTo>
                        <a:pt x="178" y="125"/>
                      </a:lnTo>
                      <a:lnTo>
                        <a:pt x="181" y="129"/>
                      </a:lnTo>
                      <a:lnTo>
                        <a:pt x="183" y="131"/>
                      </a:lnTo>
                      <a:lnTo>
                        <a:pt x="181" y="136"/>
                      </a:lnTo>
                      <a:lnTo>
                        <a:pt x="180" y="138"/>
                      </a:lnTo>
                      <a:lnTo>
                        <a:pt x="176" y="138"/>
                      </a:lnTo>
                      <a:lnTo>
                        <a:pt x="176" y="139"/>
                      </a:lnTo>
                      <a:lnTo>
                        <a:pt x="178" y="143"/>
                      </a:lnTo>
                      <a:lnTo>
                        <a:pt x="181" y="141"/>
                      </a:lnTo>
                      <a:lnTo>
                        <a:pt x="183" y="139"/>
                      </a:lnTo>
                      <a:lnTo>
                        <a:pt x="186" y="146"/>
                      </a:lnTo>
                      <a:lnTo>
                        <a:pt x="188" y="154"/>
                      </a:lnTo>
                      <a:lnTo>
                        <a:pt x="186" y="159"/>
                      </a:lnTo>
                      <a:lnTo>
                        <a:pt x="186" y="165"/>
                      </a:lnTo>
                      <a:lnTo>
                        <a:pt x="185" y="177"/>
                      </a:lnTo>
                      <a:lnTo>
                        <a:pt x="185" y="182"/>
                      </a:lnTo>
                      <a:lnTo>
                        <a:pt x="183" y="187"/>
                      </a:lnTo>
                      <a:lnTo>
                        <a:pt x="180" y="188"/>
                      </a:lnTo>
                      <a:lnTo>
                        <a:pt x="178" y="193"/>
                      </a:lnTo>
                      <a:lnTo>
                        <a:pt x="178" y="198"/>
                      </a:lnTo>
                      <a:lnTo>
                        <a:pt x="176" y="201"/>
                      </a:lnTo>
                      <a:lnTo>
                        <a:pt x="176" y="205"/>
                      </a:lnTo>
                      <a:lnTo>
                        <a:pt x="171" y="208"/>
                      </a:lnTo>
                      <a:lnTo>
                        <a:pt x="165" y="213"/>
                      </a:lnTo>
                      <a:lnTo>
                        <a:pt x="162" y="214"/>
                      </a:lnTo>
                      <a:lnTo>
                        <a:pt x="160" y="218"/>
                      </a:lnTo>
                      <a:lnTo>
                        <a:pt x="157" y="214"/>
                      </a:lnTo>
                      <a:lnTo>
                        <a:pt x="152" y="210"/>
                      </a:lnTo>
                      <a:lnTo>
                        <a:pt x="152" y="208"/>
                      </a:lnTo>
                      <a:lnTo>
                        <a:pt x="154" y="208"/>
                      </a:lnTo>
                      <a:lnTo>
                        <a:pt x="155" y="205"/>
                      </a:lnTo>
                      <a:lnTo>
                        <a:pt x="155" y="203"/>
                      </a:lnTo>
                      <a:lnTo>
                        <a:pt x="157" y="201"/>
                      </a:lnTo>
                      <a:lnTo>
                        <a:pt x="157" y="200"/>
                      </a:lnTo>
                      <a:lnTo>
                        <a:pt x="154" y="201"/>
                      </a:lnTo>
                      <a:lnTo>
                        <a:pt x="150" y="203"/>
                      </a:lnTo>
                      <a:lnTo>
                        <a:pt x="147" y="205"/>
                      </a:lnTo>
                      <a:lnTo>
                        <a:pt x="147" y="208"/>
                      </a:lnTo>
                      <a:lnTo>
                        <a:pt x="149" y="211"/>
                      </a:lnTo>
                      <a:lnTo>
                        <a:pt x="150" y="219"/>
                      </a:lnTo>
                      <a:lnTo>
                        <a:pt x="149" y="223"/>
                      </a:lnTo>
                      <a:lnTo>
                        <a:pt x="145" y="228"/>
                      </a:lnTo>
                      <a:lnTo>
                        <a:pt x="145" y="229"/>
                      </a:lnTo>
                      <a:lnTo>
                        <a:pt x="144" y="231"/>
                      </a:lnTo>
                      <a:lnTo>
                        <a:pt x="144" y="236"/>
                      </a:lnTo>
                      <a:lnTo>
                        <a:pt x="145" y="237"/>
                      </a:lnTo>
                      <a:lnTo>
                        <a:pt x="145" y="241"/>
                      </a:lnTo>
                      <a:lnTo>
                        <a:pt x="144" y="241"/>
                      </a:lnTo>
                      <a:lnTo>
                        <a:pt x="145" y="242"/>
                      </a:lnTo>
                      <a:lnTo>
                        <a:pt x="144" y="244"/>
                      </a:lnTo>
                      <a:lnTo>
                        <a:pt x="142" y="244"/>
                      </a:lnTo>
                      <a:lnTo>
                        <a:pt x="144" y="245"/>
                      </a:lnTo>
                      <a:lnTo>
                        <a:pt x="140" y="247"/>
                      </a:lnTo>
                      <a:lnTo>
                        <a:pt x="139" y="245"/>
                      </a:lnTo>
                      <a:lnTo>
                        <a:pt x="137" y="247"/>
                      </a:lnTo>
                      <a:lnTo>
                        <a:pt x="136" y="247"/>
                      </a:lnTo>
                      <a:lnTo>
                        <a:pt x="136" y="244"/>
                      </a:lnTo>
                      <a:lnTo>
                        <a:pt x="134" y="242"/>
                      </a:lnTo>
                      <a:lnTo>
                        <a:pt x="132" y="244"/>
                      </a:lnTo>
                      <a:lnTo>
                        <a:pt x="131" y="244"/>
                      </a:lnTo>
                      <a:lnTo>
                        <a:pt x="129" y="244"/>
                      </a:lnTo>
                      <a:lnTo>
                        <a:pt x="122" y="245"/>
                      </a:lnTo>
                      <a:lnTo>
                        <a:pt x="119" y="247"/>
                      </a:lnTo>
                      <a:lnTo>
                        <a:pt x="116" y="249"/>
                      </a:lnTo>
                      <a:lnTo>
                        <a:pt x="111" y="249"/>
                      </a:lnTo>
                      <a:lnTo>
                        <a:pt x="108" y="250"/>
                      </a:lnTo>
                      <a:lnTo>
                        <a:pt x="106" y="249"/>
                      </a:lnTo>
                      <a:lnTo>
                        <a:pt x="103" y="250"/>
                      </a:lnTo>
                      <a:lnTo>
                        <a:pt x="96" y="254"/>
                      </a:lnTo>
                      <a:lnTo>
                        <a:pt x="96" y="259"/>
                      </a:lnTo>
                      <a:lnTo>
                        <a:pt x="93" y="260"/>
                      </a:lnTo>
                      <a:lnTo>
                        <a:pt x="93" y="262"/>
                      </a:lnTo>
                      <a:lnTo>
                        <a:pt x="88" y="267"/>
                      </a:lnTo>
                      <a:lnTo>
                        <a:pt x="87" y="268"/>
                      </a:lnTo>
                      <a:lnTo>
                        <a:pt x="83" y="272"/>
                      </a:lnTo>
                      <a:lnTo>
                        <a:pt x="83" y="273"/>
                      </a:lnTo>
                      <a:lnTo>
                        <a:pt x="80" y="275"/>
                      </a:lnTo>
                      <a:lnTo>
                        <a:pt x="77" y="277"/>
                      </a:lnTo>
                      <a:lnTo>
                        <a:pt x="75" y="278"/>
                      </a:lnTo>
                      <a:lnTo>
                        <a:pt x="77" y="283"/>
                      </a:lnTo>
                      <a:lnTo>
                        <a:pt x="78" y="285"/>
                      </a:lnTo>
                      <a:lnTo>
                        <a:pt x="78" y="286"/>
                      </a:lnTo>
                      <a:lnTo>
                        <a:pt x="77" y="288"/>
                      </a:lnTo>
                      <a:lnTo>
                        <a:pt x="75" y="288"/>
                      </a:lnTo>
                      <a:lnTo>
                        <a:pt x="72" y="291"/>
                      </a:lnTo>
                      <a:lnTo>
                        <a:pt x="70" y="293"/>
                      </a:lnTo>
                      <a:lnTo>
                        <a:pt x="69" y="295"/>
                      </a:lnTo>
                      <a:lnTo>
                        <a:pt x="65" y="298"/>
                      </a:lnTo>
                      <a:lnTo>
                        <a:pt x="64" y="301"/>
                      </a:lnTo>
                      <a:lnTo>
                        <a:pt x="62" y="301"/>
                      </a:lnTo>
                      <a:lnTo>
                        <a:pt x="59" y="303"/>
                      </a:lnTo>
                      <a:lnTo>
                        <a:pt x="60" y="303"/>
                      </a:lnTo>
                      <a:lnTo>
                        <a:pt x="62" y="303"/>
                      </a:lnTo>
                      <a:lnTo>
                        <a:pt x="62" y="304"/>
                      </a:lnTo>
                      <a:lnTo>
                        <a:pt x="64" y="309"/>
                      </a:lnTo>
                      <a:lnTo>
                        <a:pt x="64" y="309"/>
                      </a:lnTo>
                      <a:lnTo>
                        <a:pt x="62" y="308"/>
                      </a:lnTo>
                      <a:lnTo>
                        <a:pt x="62" y="306"/>
                      </a:lnTo>
                      <a:lnTo>
                        <a:pt x="60" y="308"/>
                      </a:lnTo>
                      <a:lnTo>
                        <a:pt x="62" y="311"/>
                      </a:lnTo>
                      <a:lnTo>
                        <a:pt x="64" y="312"/>
                      </a:lnTo>
                      <a:lnTo>
                        <a:pt x="64" y="314"/>
                      </a:lnTo>
                      <a:lnTo>
                        <a:pt x="62" y="316"/>
                      </a:lnTo>
                      <a:lnTo>
                        <a:pt x="64" y="314"/>
                      </a:lnTo>
                      <a:lnTo>
                        <a:pt x="65" y="312"/>
                      </a:lnTo>
                      <a:lnTo>
                        <a:pt x="67" y="312"/>
                      </a:lnTo>
                      <a:lnTo>
                        <a:pt x="69" y="312"/>
                      </a:lnTo>
                      <a:lnTo>
                        <a:pt x="69" y="314"/>
                      </a:lnTo>
                      <a:lnTo>
                        <a:pt x="69" y="314"/>
                      </a:lnTo>
                      <a:lnTo>
                        <a:pt x="72" y="314"/>
                      </a:lnTo>
                      <a:lnTo>
                        <a:pt x="72" y="311"/>
                      </a:lnTo>
                      <a:lnTo>
                        <a:pt x="70" y="309"/>
                      </a:lnTo>
                      <a:lnTo>
                        <a:pt x="67" y="309"/>
                      </a:lnTo>
                      <a:lnTo>
                        <a:pt x="67" y="309"/>
                      </a:lnTo>
                      <a:lnTo>
                        <a:pt x="67" y="308"/>
                      </a:lnTo>
                      <a:lnTo>
                        <a:pt x="67" y="304"/>
                      </a:lnTo>
                      <a:lnTo>
                        <a:pt x="69" y="303"/>
                      </a:lnTo>
                      <a:lnTo>
                        <a:pt x="70" y="304"/>
                      </a:lnTo>
                      <a:lnTo>
                        <a:pt x="73" y="309"/>
                      </a:lnTo>
                      <a:lnTo>
                        <a:pt x="73" y="312"/>
                      </a:lnTo>
                      <a:lnTo>
                        <a:pt x="75" y="314"/>
                      </a:lnTo>
                      <a:lnTo>
                        <a:pt x="75" y="319"/>
                      </a:lnTo>
                      <a:lnTo>
                        <a:pt x="73" y="326"/>
                      </a:lnTo>
                      <a:lnTo>
                        <a:pt x="70" y="326"/>
                      </a:lnTo>
                      <a:lnTo>
                        <a:pt x="72" y="327"/>
                      </a:lnTo>
                      <a:lnTo>
                        <a:pt x="73" y="330"/>
                      </a:lnTo>
                      <a:lnTo>
                        <a:pt x="75" y="337"/>
                      </a:lnTo>
                      <a:lnTo>
                        <a:pt x="77" y="340"/>
                      </a:lnTo>
                      <a:lnTo>
                        <a:pt x="77" y="344"/>
                      </a:lnTo>
                      <a:lnTo>
                        <a:pt x="77" y="345"/>
                      </a:lnTo>
                      <a:lnTo>
                        <a:pt x="78" y="347"/>
                      </a:lnTo>
                      <a:lnTo>
                        <a:pt x="80" y="347"/>
                      </a:lnTo>
                      <a:lnTo>
                        <a:pt x="83" y="348"/>
                      </a:lnTo>
                      <a:lnTo>
                        <a:pt x="83" y="347"/>
                      </a:lnTo>
                      <a:lnTo>
                        <a:pt x="83" y="345"/>
                      </a:lnTo>
                      <a:lnTo>
                        <a:pt x="82" y="342"/>
                      </a:lnTo>
                      <a:lnTo>
                        <a:pt x="82" y="335"/>
                      </a:lnTo>
                      <a:lnTo>
                        <a:pt x="83" y="334"/>
                      </a:lnTo>
                      <a:lnTo>
                        <a:pt x="85" y="335"/>
                      </a:lnTo>
                      <a:lnTo>
                        <a:pt x="83" y="337"/>
                      </a:lnTo>
                      <a:lnTo>
                        <a:pt x="83" y="339"/>
                      </a:lnTo>
                      <a:lnTo>
                        <a:pt x="87" y="342"/>
                      </a:lnTo>
                      <a:lnTo>
                        <a:pt x="87" y="345"/>
                      </a:lnTo>
                      <a:lnTo>
                        <a:pt x="87" y="348"/>
                      </a:lnTo>
                      <a:lnTo>
                        <a:pt x="87" y="35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6" name="Freeform 160">
                  <a:extLst>
                    <a:ext uri="{FF2B5EF4-FFF2-40B4-BE49-F238E27FC236}">
                      <a16:creationId xmlns:a16="http://schemas.microsoft.com/office/drawing/2014/main" xmlns="" id="{62B84C33-CBF8-4749-A397-434ACFD600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81" y="1332"/>
                  <a:ext cx="72" cy="117"/>
                </a:xfrm>
                <a:custGeom>
                  <a:avLst/>
                  <a:gdLst>
                    <a:gd name="T0" fmla="*/ 44 w 72"/>
                    <a:gd name="T1" fmla="*/ 83 h 117"/>
                    <a:gd name="T2" fmla="*/ 44 w 72"/>
                    <a:gd name="T3" fmla="*/ 85 h 117"/>
                    <a:gd name="T4" fmla="*/ 44 w 72"/>
                    <a:gd name="T5" fmla="*/ 83 h 117"/>
                    <a:gd name="T6" fmla="*/ 20 w 72"/>
                    <a:gd name="T7" fmla="*/ 93 h 117"/>
                    <a:gd name="T8" fmla="*/ 22 w 72"/>
                    <a:gd name="T9" fmla="*/ 93 h 117"/>
                    <a:gd name="T10" fmla="*/ 23 w 72"/>
                    <a:gd name="T11" fmla="*/ 91 h 117"/>
                    <a:gd name="T12" fmla="*/ 23 w 72"/>
                    <a:gd name="T13" fmla="*/ 94 h 117"/>
                    <a:gd name="T14" fmla="*/ 22 w 72"/>
                    <a:gd name="T15" fmla="*/ 96 h 117"/>
                    <a:gd name="T16" fmla="*/ 54 w 72"/>
                    <a:gd name="T17" fmla="*/ 80 h 117"/>
                    <a:gd name="T18" fmla="*/ 56 w 72"/>
                    <a:gd name="T19" fmla="*/ 85 h 117"/>
                    <a:gd name="T20" fmla="*/ 59 w 72"/>
                    <a:gd name="T21" fmla="*/ 81 h 117"/>
                    <a:gd name="T22" fmla="*/ 58 w 72"/>
                    <a:gd name="T23" fmla="*/ 78 h 117"/>
                    <a:gd name="T24" fmla="*/ 67 w 72"/>
                    <a:gd name="T25" fmla="*/ 99 h 117"/>
                    <a:gd name="T26" fmla="*/ 69 w 72"/>
                    <a:gd name="T27" fmla="*/ 96 h 117"/>
                    <a:gd name="T28" fmla="*/ 71 w 72"/>
                    <a:gd name="T29" fmla="*/ 98 h 117"/>
                    <a:gd name="T30" fmla="*/ 67 w 72"/>
                    <a:gd name="T31" fmla="*/ 99 h 117"/>
                    <a:gd name="T32" fmla="*/ 71 w 72"/>
                    <a:gd name="T33" fmla="*/ 93 h 117"/>
                    <a:gd name="T34" fmla="*/ 69 w 72"/>
                    <a:gd name="T35" fmla="*/ 91 h 117"/>
                    <a:gd name="T36" fmla="*/ 69 w 72"/>
                    <a:gd name="T37" fmla="*/ 86 h 117"/>
                    <a:gd name="T38" fmla="*/ 72 w 72"/>
                    <a:gd name="T39" fmla="*/ 88 h 117"/>
                    <a:gd name="T40" fmla="*/ 71 w 72"/>
                    <a:gd name="T41" fmla="*/ 93 h 117"/>
                    <a:gd name="T42" fmla="*/ 25 w 72"/>
                    <a:gd name="T43" fmla="*/ 117 h 117"/>
                    <a:gd name="T44" fmla="*/ 27 w 72"/>
                    <a:gd name="T45" fmla="*/ 112 h 117"/>
                    <a:gd name="T46" fmla="*/ 36 w 72"/>
                    <a:gd name="T47" fmla="*/ 111 h 117"/>
                    <a:gd name="T48" fmla="*/ 35 w 72"/>
                    <a:gd name="T49" fmla="*/ 116 h 117"/>
                    <a:gd name="T50" fmla="*/ 25 w 72"/>
                    <a:gd name="T51" fmla="*/ 117 h 117"/>
                    <a:gd name="T52" fmla="*/ 0 w 72"/>
                    <a:gd name="T53" fmla="*/ 19 h 117"/>
                    <a:gd name="T54" fmla="*/ 4 w 72"/>
                    <a:gd name="T55" fmla="*/ 18 h 117"/>
                    <a:gd name="T56" fmla="*/ 5 w 72"/>
                    <a:gd name="T57" fmla="*/ 19 h 117"/>
                    <a:gd name="T58" fmla="*/ 15 w 72"/>
                    <a:gd name="T59" fmla="*/ 31 h 117"/>
                    <a:gd name="T60" fmla="*/ 17 w 72"/>
                    <a:gd name="T61" fmla="*/ 34 h 117"/>
                    <a:gd name="T62" fmla="*/ 20 w 72"/>
                    <a:gd name="T63" fmla="*/ 39 h 117"/>
                    <a:gd name="T64" fmla="*/ 13 w 72"/>
                    <a:gd name="T65" fmla="*/ 36 h 117"/>
                    <a:gd name="T66" fmla="*/ 10 w 72"/>
                    <a:gd name="T67" fmla="*/ 39 h 117"/>
                    <a:gd name="T68" fmla="*/ 15 w 72"/>
                    <a:gd name="T69" fmla="*/ 45 h 117"/>
                    <a:gd name="T70" fmla="*/ 18 w 72"/>
                    <a:gd name="T71" fmla="*/ 49 h 117"/>
                    <a:gd name="T72" fmla="*/ 20 w 72"/>
                    <a:gd name="T73" fmla="*/ 57 h 117"/>
                    <a:gd name="T74" fmla="*/ 23 w 72"/>
                    <a:gd name="T75" fmla="*/ 62 h 117"/>
                    <a:gd name="T76" fmla="*/ 18 w 72"/>
                    <a:gd name="T77" fmla="*/ 67 h 117"/>
                    <a:gd name="T78" fmla="*/ 20 w 72"/>
                    <a:gd name="T79" fmla="*/ 72 h 117"/>
                    <a:gd name="T80" fmla="*/ 18 w 72"/>
                    <a:gd name="T81" fmla="*/ 75 h 117"/>
                    <a:gd name="T82" fmla="*/ 18 w 72"/>
                    <a:gd name="T83" fmla="*/ 78 h 117"/>
                    <a:gd name="T84" fmla="*/ 25 w 72"/>
                    <a:gd name="T85" fmla="*/ 86 h 117"/>
                    <a:gd name="T86" fmla="*/ 27 w 72"/>
                    <a:gd name="T87" fmla="*/ 91 h 117"/>
                    <a:gd name="T88" fmla="*/ 28 w 72"/>
                    <a:gd name="T89" fmla="*/ 93 h 117"/>
                    <a:gd name="T90" fmla="*/ 30 w 72"/>
                    <a:gd name="T91" fmla="*/ 90 h 117"/>
                    <a:gd name="T92" fmla="*/ 40 w 72"/>
                    <a:gd name="T93" fmla="*/ 81 h 117"/>
                    <a:gd name="T94" fmla="*/ 43 w 72"/>
                    <a:gd name="T95" fmla="*/ 81 h 117"/>
                    <a:gd name="T96" fmla="*/ 46 w 72"/>
                    <a:gd name="T97" fmla="*/ 80 h 117"/>
                    <a:gd name="T98" fmla="*/ 51 w 72"/>
                    <a:gd name="T99" fmla="*/ 81 h 117"/>
                    <a:gd name="T100" fmla="*/ 54 w 72"/>
                    <a:gd name="T101" fmla="*/ 81 h 117"/>
                    <a:gd name="T102" fmla="*/ 56 w 72"/>
                    <a:gd name="T103" fmla="*/ 76 h 117"/>
                    <a:gd name="T104" fmla="*/ 64 w 72"/>
                    <a:gd name="T105" fmla="*/ 72 h 117"/>
                    <a:gd name="T106" fmla="*/ 66 w 72"/>
                    <a:gd name="T107" fmla="*/ 68 h 117"/>
                    <a:gd name="T108" fmla="*/ 64 w 72"/>
                    <a:gd name="T109" fmla="*/ 55 h 117"/>
                    <a:gd name="T110" fmla="*/ 62 w 72"/>
                    <a:gd name="T111" fmla="*/ 54 h 117"/>
                    <a:gd name="T112" fmla="*/ 58 w 72"/>
                    <a:gd name="T113" fmla="*/ 39 h 117"/>
                    <a:gd name="T114" fmla="*/ 48 w 72"/>
                    <a:gd name="T115" fmla="*/ 19 h 117"/>
                    <a:gd name="T116" fmla="*/ 35 w 72"/>
                    <a:gd name="T117" fmla="*/ 0 h 117"/>
                    <a:gd name="T118" fmla="*/ 17 w 72"/>
                    <a:gd name="T119" fmla="*/ 5 h 117"/>
                    <a:gd name="T120" fmla="*/ 5 w 72"/>
                    <a:gd name="T121" fmla="*/ 11 h 117"/>
                    <a:gd name="T122" fmla="*/ 0 w 72"/>
                    <a:gd name="T123" fmla="*/ 19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" h="117">
                      <a:moveTo>
                        <a:pt x="44" y="83"/>
                      </a:moveTo>
                      <a:lnTo>
                        <a:pt x="44" y="83"/>
                      </a:lnTo>
                      <a:lnTo>
                        <a:pt x="46" y="85"/>
                      </a:lnTo>
                      <a:lnTo>
                        <a:pt x="44" y="85"/>
                      </a:lnTo>
                      <a:lnTo>
                        <a:pt x="44" y="83"/>
                      </a:lnTo>
                      <a:lnTo>
                        <a:pt x="44" y="83"/>
                      </a:lnTo>
                      <a:close/>
                      <a:moveTo>
                        <a:pt x="22" y="96"/>
                      </a:moveTo>
                      <a:lnTo>
                        <a:pt x="20" y="93"/>
                      </a:lnTo>
                      <a:lnTo>
                        <a:pt x="20" y="93"/>
                      </a:lnTo>
                      <a:lnTo>
                        <a:pt x="22" y="93"/>
                      </a:lnTo>
                      <a:lnTo>
                        <a:pt x="23" y="90"/>
                      </a:lnTo>
                      <a:lnTo>
                        <a:pt x="23" y="91"/>
                      </a:lnTo>
                      <a:lnTo>
                        <a:pt x="23" y="94"/>
                      </a:lnTo>
                      <a:lnTo>
                        <a:pt x="23" y="94"/>
                      </a:lnTo>
                      <a:lnTo>
                        <a:pt x="22" y="96"/>
                      </a:lnTo>
                      <a:lnTo>
                        <a:pt x="22" y="96"/>
                      </a:lnTo>
                      <a:close/>
                      <a:moveTo>
                        <a:pt x="58" y="78"/>
                      </a:moveTo>
                      <a:lnTo>
                        <a:pt x="54" y="80"/>
                      </a:lnTo>
                      <a:lnTo>
                        <a:pt x="56" y="81"/>
                      </a:lnTo>
                      <a:lnTo>
                        <a:pt x="56" y="85"/>
                      </a:lnTo>
                      <a:lnTo>
                        <a:pt x="58" y="83"/>
                      </a:lnTo>
                      <a:lnTo>
                        <a:pt x="59" y="81"/>
                      </a:lnTo>
                      <a:lnTo>
                        <a:pt x="59" y="80"/>
                      </a:lnTo>
                      <a:lnTo>
                        <a:pt x="58" y="78"/>
                      </a:lnTo>
                      <a:lnTo>
                        <a:pt x="58" y="78"/>
                      </a:lnTo>
                      <a:close/>
                      <a:moveTo>
                        <a:pt x="67" y="99"/>
                      </a:moveTo>
                      <a:lnTo>
                        <a:pt x="67" y="98"/>
                      </a:lnTo>
                      <a:lnTo>
                        <a:pt x="69" y="96"/>
                      </a:lnTo>
                      <a:lnTo>
                        <a:pt x="71" y="96"/>
                      </a:lnTo>
                      <a:lnTo>
                        <a:pt x="71" y="98"/>
                      </a:lnTo>
                      <a:lnTo>
                        <a:pt x="69" y="99"/>
                      </a:lnTo>
                      <a:lnTo>
                        <a:pt x="67" y="99"/>
                      </a:lnTo>
                      <a:lnTo>
                        <a:pt x="67" y="99"/>
                      </a:lnTo>
                      <a:close/>
                      <a:moveTo>
                        <a:pt x="71" y="93"/>
                      </a:moveTo>
                      <a:lnTo>
                        <a:pt x="69" y="94"/>
                      </a:lnTo>
                      <a:lnTo>
                        <a:pt x="69" y="91"/>
                      </a:lnTo>
                      <a:lnTo>
                        <a:pt x="69" y="90"/>
                      </a:lnTo>
                      <a:lnTo>
                        <a:pt x="69" y="86"/>
                      </a:lnTo>
                      <a:lnTo>
                        <a:pt x="71" y="86"/>
                      </a:lnTo>
                      <a:lnTo>
                        <a:pt x="72" y="88"/>
                      </a:lnTo>
                      <a:lnTo>
                        <a:pt x="72" y="90"/>
                      </a:lnTo>
                      <a:lnTo>
                        <a:pt x="71" y="93"/>
                      </a:lnTo>
                      <a:lnTo>
                        <a:pt x="71" y="93"/>
                      </a:lnTo>
                      <a:close/>
                      <a:moveTo>
                        <a:pt x="25" y="117"/>
                      </a:moveTo>
                      <a:lnTo>
                        <a:pt x="25" y="114"/>
                      </a:lnTo>
                      <a:lnTo>
                        <a:pt x="27" y="112"/>
                      </a:lnTo>
                      <a:lnTo>
                        <a:pt x="33" y="109"/>
                      </a:lnTo>
                      <a:lnTo>
                        <a:pt x="36" y="111"/>
                      </a:lnTo>
                      <a:lnTo>
                        <a:pt x="36" y="112"/>
                      </a:lnTo>
                      <a:lnTo>
                        <a:pt x="35" y="116"/>
                      </a:lnTo>
                      <a:lnTo>
                        <a:pt x="28" y="117"/>
                      </a:lnTo>
                      <a:lnTo>
                        <a:pt x="25" y="117"/>
                      </a:lnTo>
                      <a:lnTo>
                        <a:pt x="25" y="117"/>
                      </a:lnTo>
                      <a:close/>
                      <a:moveTo>
                        <a:pt x="0" y="19"/>
                      </a:moveTo>
                      <a:lnTo>
                        <a:pt x="0" y="21"/>
                      </a:lnTo>
                      <a:lnTo>
                        <a:pt x="4" y="18"/>
                      </a:lnTo>
                      <a:lnTo>
                        <a:pt x="9" y="19"/>
                      </a:lnTo>
                      <a:lnTo>
                        <a:pt x="5" y="19"/>
                      </a:lnTo>
                      <a:lnTo>
                        <a:pt x="12" y="26"/>
                      </a:lnTo>
                      <a:lnTo>
                        <a:pt x="15" y="31"/>
                      </a:lnTo>
                      <a:lnTo>
                        <a:pt x="18" y="32"/>
                      </a:lnTo>
                      <a:lnTo>
                        <a:pt x="17" y="34"/>
                      </a:lnTo>
                      <a:lnTo>
                        <a:pt x="18" y="37"/>
                      </a:lnTo>
                      <a:lnTo>
                        <a:pt x="20" y="39"/>
                      </a:lnTo>
                      <a:lnTo>
                        <a:pt x="15" y="37"/>
                      </a:lnTo>
                      <a:lnTo>
                        <a:pt x="13" y="36"/>
                      </a:lnTo>
                      <a:lnTo>
                        <a:pt x="13" y="39"/>
                      </a:lnTo>
                      <a:lnTo>
                        <a:pt x="10" y="39"/>
                      </a:lnTo>
                      <a:lnTo>
                        <a:pt x="7" y="42"/>
                      </a:lnTo>
                      <a:lnTo>
                        <a:pt x="15" y="45"/>
                      </a:lnTo>
                      <a:lnTo>
                        <a:pt x="17" y="45"/>
                      </a:lnTo>
                      <a:lnTo>
                        <a:pt x="18" y="49"/>
                      </a:lnTo>
                      <a:lnTo>
                        <a:pt x="18" y="55"/>
                      </a:lnTo>
                      <a:lnTo>
                        <a:pt x="20" y="57"/>
                      </a:lnTo>
                      <a:lnTo>
                        <a:pt x="22" y="55"/>
                      </a:lnTo>
                      <a:lnTo>
                        <a:pt x="23" y="62"/>
                      </a:lnTo>
                      <a:lnTo>
                        <a:pt x="18" y="65"/>
                      </a:lnTo>
                      <a:lnTo>
                        <a:pt x="18" y="67"/>
                      </a:lnTo>
                      <a:lnTo>
                        <a:pt x="20" y="68"/>
                      </a:lnTo>
                      <a:lnTo>
                        <a:pt x="20" y="72"/>
                      </a:lnTo>
                      <a:lnTo>
                        <a:pt x="18" y="73"/>
                      </a:lnTo>
                      <a:lnTo>
                        <a:pt x="18" y="75"/>
                      </a:lnTo>
                      <a:lnTo>
                        <a:pt x="20" y="78"/>
                      </a:lnTo>
                      <a:lnTo>
                        <a:pt x="18" y="78"/>
                      </a:lnTo>
                      <a:lnTo>
                        <a:pt x="22" y="86"/>
                      </a:lnTo>
                      <a:lnTo>
                        <a:pt x="25" y="86"/>
                      </a:lnTo>
                      <a:lnTo>
                        <a:pt x="25" y="90"/>
                      </a:lnTo>
                      <a:lnTo>
                        <a:pt x="27" y="91"/>
                      </a:lnTo>
                      <a:lnTo>
                        <a:pt x="27" y="94"/>
                      </a:lnTo>
                      <a:lnTo>
                        <a:pt x="28" y="93"/>
                      </a:lnTo>
                      <a:lnTo>
                        <a:pt x="28" y="88"/>
                      </a:lnTo>
                      <a:lnTo>
                        <a:pt x="30" y="90"/>
                      </a:lnTo>
                      <a:lnTo>
                        <a:pt x="33" y="86"/>
                      </a:lnTo>
                      <a:lnTo>
                        <a:pt x="40" y="81"/>
                      </a:lnTo>
                      <a:lnTo>
                        <a:pt x="43" y="80"/>
                      </a:lnTo>
                      <a:lnTo>
                        <a:pt x="43" y="81"/>
                      </a:lnTo>
                      <a:lnTo>
                        <a:pt x="44" y="80"/>
                      </a:lnTo>
                      <a:lnTo>
                        <a:pt x="46" y="80"/>
                      </a:lnTo>
                      <a:lnTo>
                        <a:pt x="48" y="83"/>
                      </a:lnTo>
                      <a:lnTo>
                        <a:pt x="51" y="81"/>
                      </a:lnTo>
                      <a:lnTo>
                        <a:pt x="53" y="83"/>
                      </a:lnTo>
                      <a:lnTo>
                        <a:pt x="54" y="81"/>
                      </a:lnTo>
                      <a:lnTo>
                        <a:pt x="53" y="80"/>
                      </a:lnTo>
                      <a:lnTo>
                        <a:pt x="56" y="76"/>
                      </a:lnTo>
                      <a:lnTo>
                        <a:pt x="61" y="76"/>
                      </a:lnTo>
                      <a:lnTo>
                        <a:pt x="64" y="72"/>
                      </a:lnTo>
                      <a:lnTo>
                        <a:pt x="64" y="70"/>
                      </a:lnTo>
                      <a:lnTo>
                        <a:pt x="66" y="68"/>
                      </a:lnTo>
                      <a:lnTo>
                        <a:pt x="66" y="55"/>
                      </a:lnTo>
                      <a:lnTo>
                        <a:pt x="64" y="55"/>
                      </a:lnTo>
                      <a:lnTo>
                        <a:pt x="62" y="57"/>
                      </a:lnTo>
                      <a:lnTo>
                        <a:pt x="62" y="54"/>
                      </a:lnTo>
                      <a:lnTo>
                        <a:pt x="61" y="42"/>
                      </a:lnTo>
                      <a:lnTo>
                        <a:pt x="58" y="39"/>
                      </a:lnTo>
                      <a:lnTo>
                        <a:pt x="58" y="32"/>
                      </a:lnTo>
                      <a:lnTo>
                        <a:pt x="48" y="19"/>
                      </a:lnTo>
                      <a:lnTo>
                        <a:pt x="40" y="11"/>
                      </a:lnTo>
                      <a:lnTo>
                        <a:pt x="35" y="0"/>
                      </a:lnTo>
                      <a:lnTo>
                        <a:pt x="28" y="5"/>
                      </a:lnTo>
                      <a:lnTo>
                        <a:pt x="17" y="5"/>
                      </a:lnTo>
                      <a:lnTo>
                        <a:pt x="12" y="9"/>
                      </a:lnTo>
                      <a:lnTo>
                        <a:pt x="5" y="11"/>
                      </a:lnTo>
                      <a:lnTo>
                        <a:pt x="0" y="16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7" name="Freeform 161">
                  <a:extLst>
                    <a:ext uri="{FF2B5EF4-FFF2-40B4-BE49-F238E27FC236}">
                      <a16:creationId xmlns:a16="http://schemas.microsoft.com/office/drawing/2014/main" xmlns="" id="{2124636F-35B3-4E16-B2A0-56CD51AFE8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9" y="1224"/>
                  <a:ext cx="75" cy="132"/>
                </a:xfrm>
                <a:custGeom>
                  <a:avLst/>
                  <a:gdLst>
                    <a:gd name="T0" fmla="*/ 0 w 75"/>
                    <a:gd name="T1" fmla="*/ 73 h 132"/>
                    <a:gd name="T2" fmla="*/ 6 w 75"/>
                    <a:gd name="T3" fmla="*/ 65 h 132"/>
                    <a:gd name="T4" fmla="*/ 10 w 75"/>
                    <a:gd name="T5" fmla="*/ 60 h 132"/>
                    <a:gd name="T6" fmla="*/ 16 w 75"/>
                    <a:gd name="T7" fmla="*/ 54 h 132"/>
                    <a:gd name="T8" fmla="*/ 19 w 75"/>
                    <a:gd name="T9" fmla="*/ 42 h 132"/>
                    <a:gd name="T10" fmla="*/ 19 w 75"/>
                    <a:gd name="T11" fmla="*/ 36 h 132"/>
                    <a:gd name="T12" fmla="*/ 26 w 75"/>
                    <a:gd name="T13" fmla="*/ 37 h 132"/>
                    <a:gd name="T14" fmla="*/ 31 w 75"/>
                    <a:gd name="T15" fmla="*/ 41 h 132"/>
                    <a:gd name="T16" fmla="*/ 36 w 75"/>
                    <a:gd name="T17" fmla="*/ 41 h 132"/>
                    <a:gd name="T18" fmla="*/ 47 w 75"/>
                    <a:gd name="T19" fmla="*/ 41 h 132"/>
                    <a:gd name="T20" fmla="*/ 49 w 75"/>
                    <a:gd name="T21" fmla="*/ 34 h 132"/>
                    <a:gd name="T22" fmla="*/ 42 w 75"/>
                    <a:gd name="T23" fmla="*/ 28 h 132"/>
                    <a:gd name="T24" fmla="*/ 49 w 75"/>
                    <a:gd name="T25" fmla="*/ 26 h 132"/>
                    <a:gd name="T26" fmla="*/ 54 w 75"/>
                    <a:gd name="T27" fmla="*/ 16 h 132"/>
                    <a:gd name="T28" fmla="*/ 60 w 75"/>
                    <a:gd name="T29" fmla="*/ 13 h 132"/>
                    <a:gd name="T30" fmla="*/ 60 w 75"/>
                    <a:gd name="T31" fmla="*/ 8 h 132"/>
                    <a:gd name="T32" fmla="*/ 60 w 75"/>
                    <a:gd name="T33" fmla="*/ 1 h 132"/>
                    <a:gd name="T34" fmla="*/ 65 w 75"/>
                    <a:gd name="T35" fmla="*/ 1 h 132"/>
                    <a:gd name="T36" fmla="*/ 67 w 75"/>
                    <a:gd name="T37" fmla="*/ 6 h 132"/>
                    <a:gd name="T38" fmla="*/ 75 w 75"/>
                    <a:gd name="T39" fmla="*/ 13 h 132"/>
                    <a:gd name="T40" fmla="*/ 70 w 75"/>
                    <a:gd name="T41" fmla="*/ 19 h 132"/>
                    <a:gd name="T42" fmla="*/ 67 w 75"/>
                    <a:gd name="T43" fmla="*/ 23 h 132"/>
                    <a:gd name="T44" fmla="*/ 65 w 75"/>
                    <a:gd name="T45" fmla="*/ 36 h 132"/>
                    <a:gd name="T46" fmla="*/ 68 w 75"/>
                    <a:gd name="T47" fmla="*/ 47 h 132"/>
                    <a:gd name="T48" fmla="*/ 70 w 75"/>
                    <a:gd name="T49" fmla="*/ 52 h 132"/>
                    <a:gd name="T50" fmla="*/ 67 w 75"/>
                    <a:gd name="T51" fmla="*/ 57 h 132"/>
                    <a:gd name="T52" fmla="*/ 60 w 75"/>
                    <a:gd name="T53" fmla="*/ 68 h 132"/>
                    <a:gd name="T54" fmla="*/ 57 w 75"/>
                    <a:gd name="T55" fmla="*/ 72 h 132"/>
                    <a:gd name="T56" fmla="*/ 50 w 75"/>
                    <a:gd name="T57" fmla="*/ 73 h 132"/>
                    <a:gd name="T58" fmla="*/ 45 w 75"/>
                    <a:gd name="T59" fmla="*/ 80 h 132"/>
                    <a:gd name="T60" fmla="*/ 45 w 75"/>
                    <a:gd name="T61" fmla="*/ 88 h 132"/>
                    <a:gd name="T62" fmla="*/ 45 w 75"/>
                    <a:gd name="T63" fmla="*/ 93 h 132"/>
                    <a:gd name="T64" fmla="*/ 54 w 75"/>
                    <a:gd name="T65" fmla="*/ 98 h 132"/>
                    <a:gd name="T66" fmla="*/ 67 w 75"/>
                    <a:gd name="T67" fmla="*/ 108 h 132"/>
                    <a:gd name="T68" fmla="*/ 49 w 75"/>
                    <a:gd name="T69" fmla="*/ 113 h 132"/>
                    <a:gd name="T70" fmla="*/ 37 w 75"/>
                    <a:gd name="T71" fmla="*/ 119 h 132"/>
                    <a:gd name="T72" fmla="*/ 32 w 75"/>
                    <a:gd name="T73" fmla="*/ 127 h 132"/>
                    <a:gd name="T74" fmla="*/ 26 w 75"/>
                    <a:gd name="T75" fmla="*/ 126 h 132"/>
                    <a:gd name="T76" fmla="*/ 24 w 75"/>
                    <a:gd name="T77" fmla="*/ 131 h 132"/>
                    <a:gd name="T78" fmla="*/ 19 w 75"/>
                    <a:gd name="T79" fmla="*/ 132 h 132"/>
                    <a:gd name="T80" fmla="*/ 21 w 75"/>
                    <a:gd name="T81" fmla="*/ 126 h 132"/>
                    <a:gd name="T82" fmla="*/ 14 w 75"/>
                    <a:gd name="T83" fmla="*/ 126 h 132"/>
                    <a:gd name="T84" fmla="*/ 14 w 75"/>
                    <a:gd name="T85" fmla="*/ 122 h 132"/>
                    <a:gd name="T86" fmla="*/ 16 w 75"/>
                    <a:gd name="T87" fmla="*/ 111 h 132"/>
                    <a:gd name="T88" fmla="*/ 24 w 75"/>
                    <a:gd name="T89" fmla="*/ 108 h 132"/>
                    <a:gd name="T90" fmla="*/ 14 w 75"/>
                    <a:gd name="T91" fmla="*/ 109 h 132"/>
                    <a:gd name="T92" fmla="*/ 14 w 75"/>
                    <a:gd name="T93" fmla="*/ 100 h 132"/>
                    <a:gd name="T94" fmla="*/ 16 w 75"/>
                    <a:gd name="T95" fmla="*/ 90 h 132"/>
                    <a:gd name="T96" fmla="*/ 19 w 75"/>
                    <a:gd name="T97" fmla="*/ 86 h 132"/>
                    <a:gd name="T98" fmla="*/ 14 w 75"/>
                    <a:gd name="T99" fmla="*/ 88 h 132"/>
                    <a:gd name="T100" fmla="*/ 8 w 75"/>
                    <a:gd name="T101" fmla="*/ 88 h 132"/>
                    <a:gd name="T102" fmla="*/ 5 w 75"/>
                    <a:gd name="T103" fmla="*/ 88 h 132"/>
                    <a:gd name="T104" fmla="*/ 1 w 75"/>
                    <a:gd name="T105" fmla="*/ 83 h 132"/>
                    <a:gd name="T106" fmla="*/ 0 w 75"/>
                    <a:gd name="T107" fmla="*/ 83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75" h="132">
                      <a:moveTo>
                        <a:pt x="0" y="83"/>
                      </a:moveTo>
                      <a:lnTo>
                        <a:pt x="0" y="73"/>
                      </a:lnTo>
                      <a:lnTo>
                        <a:pt x="5" y="70"/>
                      </a:lnTo>
                      <a:lnTo>
                        <a:pt x="6" y="65"/>
                      </a:lnTo>
                      <a:lnTo>
                        <a:pt x="6" y="64"/>
                      </a:lnTo>
                      <a:lnTo>
                        <a:pt x="10" y="60"/>
                      </a:lnTo>
                      <a:lnTo>
                        <a:pt x="13" y="55"/>
                      </a:lnTo>
                      <a:lnTo>
                        <a:pt x="16" y="54"/>
                      </a:lnTo>
                      <a:lnTo>
                        <a:pt x="18" y="46"/>
                      </a:lnTo>
                      <a:lnTo>
                        <a:pt x="19" y="42"/>
                      </a:lnTo>
                      <a:lnTo>
                        <a:pt x="19" y="41"/>
                      </a:lnTo>
                      <a:lnTo>
                        <a:pt x="19" y="36"/>
                      </a:lnTo>
                      <a:lnTo>
                        <a:pt x="23" y="33"/>
                      </a:lnTo>
                      <a:lnTo>
                        <a:pt x="26" y="37"/>
                      </a:lnTo>
                      <a:lnTo>
                        <a:pt x="27" y="37"/>
                      </a:lnTo>
                      <a:lnTo>
                        <a:pt x="31" y="41"/>
                      </a:lnTo>
                      <a:lnTo>
                        <a:pt x="32" y="39"/>
                      </a:lnTo>
                      <a:lnTo>
                        <a:pt x="36" y="41"/>
                      </a:lnTo>
                      <a:lnTo>
                        <a:pt x="42" y="39"/>
                      </a:lnTo>
                      <a:lnTo>
                        <a:pt x="47" y="41"/>
                      </a:lnTo>
                      <a:lnTo>
                        <a:pt x="49" y="36"/>
                      </a:lnTo>
                      <a:lnTo>
                        <a:pt x="49" y="34"/>
                      </a:lnTo>
                      <a:lnTo>
                        <a:pt x="45" y="31"/>
                      </a:lnTo>
                      <a:lnTo>
                        <a:pt x="42" y="28"/>
                      </a:lnTo>
                      <a:lnTo>
                        <a:pt x="44" y="26"/>
                      </a:lnTo>
                      <a:lnTo>
                        <a:pt x="49" y="26"/>
                      </a:lnTo>
                      <a:lnTo>
                        <a:pt x="54" y="21"/>
                      </a:lnTo>
                      <a:lnTo>
                        <a:pt x="54" y="16"/>
                      </a:lnTo>
                      <a:lnTo>
                        <a:pt x="57" y="13"/>
                      </a:lnTo>
                      <a:lnTo>
                        <a:pt x="60" y="13"/>
                      </a:lnTo>
                      <a:lnTo>
                        <a:pt x="62" y="10"/>
                      </a:lnTo>
                      <a:lnTo>
                        <a:pt x="60" y="8"/>
                      </a:lnTo>
                      <a:lnTo>
                        <a:pt x="60" y="5"/>
                      </a:lnTo>
                      <a:lnTo>
                        <a:pt x="60" y="1"/>
                      </a:lnTo>
                      <a:lnTo>
                        <a:pt x="62" y="0"/>
                      </a:lnTo>
                      <a:lnTo>
                        <a:pt x="65" y="1"/>
                      </a:lnTo>
                      <a:lnTo>
                        <a:pt x="65" y="5"/>
                      </a:lnTo>
                      <a:lnTo>
                        <a:pt x="67" y="6"/>
                      </a:lnTo>
                      <a:lnTo>
                        <a:pt x="72" y="8"/>
                      </a:lnTo>
                      <a:lnTo>
                        <a:pt x="75" y="13"/>
                      </a:lnTo>
                      <a:lnTo>
                        <a:pt x="75" y="13"/>
                      </a:lnTo>
                      <a:lnTo>
                        <a:pt x="70" y="19"/>
                      </a:lnTo>
                      <a:lnTo>
                        <a:pt x="67" y="19"/>
                      </a:lnTo>
                      <a:lnTo>
                        <a:pt x="67" y="23"/>
                      </a:lnTo>
                      <a:lnTo>
                        <a:pt x="65" y="31"/>
                      </a:lnTo>
                      <a:lnTo>
                        <a:pt x="65" y="36"/>
                      </a:lnTo>
                      <a:lnTo>
                        <a:pt x="68" y="37"/>
                      </a:lnTo>
                      <a:lnTo>
                        <a:pt x="68" y="47"/>
                      </a:lnTo>
                      <a:lnTo>
                        <a:pt x="72" y="49"/>
                      </a:lnTo>
                      <a:lnTo>
                        <a:pt x="70" y="52"/>
                      </a:lnTo>
                      <a:lnTo>
                        <a:pt x="65" y="55"/>
                      </a:lnTo>
                      <a:lnTo>
                        <a:pt x="67" y="57"/>
                      </a:lnTo>
                      <a:lnTo>
                        <a:pt x="59" y="65"/>
                      </a:lnTo>
                      <a:lnTo>
                        <a:pt x="60" y="68"/>
                      </a:lnTo>
                      <a:lnTo>
                        <a:pt x="57" y="70"/>
                      </a:lnTo>
                      <a:lnTo>
                        <a:pt x="57" y="72"/>
                      </a:lnTo>
                      <a:lnTo>
                        <a:pt x="54" y="72"/>
                      </a:lnTo>
                      <a:lnTo>
                        <a:pt x="50" y="73"/>
                      </a:lnTo>
                      <a:lnTo>
                        <a:pt x="49" y="77"/>
                      </a:lnTo>
                      <a:lnTo>
                        <a:pt x="45" y="80"/>
                      </a:lnTo>
                      <a:lnTo>
                        <a:pt x="45" y="83"/>
                      </a:lnTo>
                      <a:lnTo>
                        <a:pt x="45" y="88"/>
                      </a:lnTo>
                      <a:lnTo>
                        <a:pt x="44" y="90"/>
                      </a:lnTo>
                      <a:lnTo>
                        <a:pt x="45" y="93"/>
                      </a:lnTo>
                      <a:lnTo>
                        <a:pt x="50" y="95"/>
                      </a:lnTo>
                      <a:lnTo>
                        <a:pt x="54" y="98"/>
                      </a:lnTo>
                      <a:lnTo>
                        <a:pt x="65" y="104"/>
                      </a:lnTo>
                      <a:lnTo>
                        <a:pt x="67" y="108"/>
                      </a:lnTo>
                      <a:lnTo>
                        <a:pt x="60" y="113"/>
                      </a:lnTo>
                      <a:lnTo>
                        <a:pt x="49" y="113"/>
                      </a:lnTo>
                      <a:lnTo>
                        <a:pt x="44" y="117"/>
                      </a:lnTo>
                      <a:lnTo>
                        <a:pt x="37" y="119"/>
                      </a:lnTo>
                      <a:lnTo>
                        <a:pt x="32" y="124"/>
                      </a:lnTo>
                      <a:lnTo>
                        <a:pt x="32" y="127"/>
                      </a:lnTo>
                      <a:lnTo>
                        <a:pt x="29" y="124"/>
                      </a:lnTo>
                      <a:lnTo>
                        <a:pt x="26" y="126"/>
                      </a:lnTo>
                      <a:lnTo>
                        <a:pt x="27" y="127"/>
                      </a:lnTo>
                      <a:lnTo>
                        <a:pt x="24" y="131"/>
                      </a:lnTo>
                      <a:lnTo>
                        <a:pt x="23" y="129"/>
                      </a:lnTo>
                      <a:lnTo>
                        <a:pt x="19" y="132"/>
                      </a:lnTo>
                      <a:lnTo>
                        <a:pt x="18" y="131"/>
                      </a:lnTo>
                      <a:lnTo>
                        <a:pt x="21" y="126"/>
                      </a:lnTo>
                      <a:lnTo>
                        <a:pt x="18" y="124"/>
                      </a:lnTo>
                      <a:lnTo>
                        <a:pt x="14" y="126"/>
                      </a:lnTo>
                      <a:lnTo>
                        <a:pt x="13" y="126"/>
                      </a:lnTo>
                      <a:lnTo>
                        <a:pt x="14" y="122"/>
                      </a:lnTo>
                      <a:lnTo>
                        <a:pt x="14" y="116"/>
                      </a:lnTo>
                      <a:lnTo>
                        <a:pt x="16" y="111"/>
                      </a:lnTo>
                      <a:lnTo>
                        <a:pt x="21" y="111"/>
                      </a:lnTo>
                      <a:lnTo>
                        <a:pt x="24" y="108"/>
                      </a:lnTo>
                      <a:lnTo>
                        <a:pt x="21" y="109"/>
                      </a:lnTo>
                      <a:lnTo>
                        <a:pt x="14" y="109"/>
                      </a:lnTo>
                      <a:lnTo>
                        <a:pt x="14" y="108"/>
                      </a:lnTo>
                      <a:lnTo>
                        <a:pt x="14" y="100"/>
                      </a:lnTo>
                      <a:lnTo>
                        <a:pt x="18" y="93"/>
                      </a:lnTo>
                      <a:lnTo>
                        <a:pt x="16" y="90"/>
                      </a:lnTo>
                      <a:lnTo>
                        <a:pt x="18" y="90"/>
                      </a:lnTo>
                      <a:lnTo>
                        <a:pt x="19" y="86"/>
                      </a:lnTo>
                      <a:lnTo>
                        <a:pt x="16" y="86"/>
                      </a:lnTo>
                      <a:lnTo>
                        <a:pt x="14" y="88"/>
                      </a:lnTo>
                      <a:lnTo>
                        <a:pt x="10" y="90"/>
                      </a:lnTo>
                      <a:lnTo>
                        <a:pt x="8" y="88"/>
                      </a:lnTo>
                      <a:lnTo>
                        <a:pt x="5" y="85"/>
                      </a:lnTo>
                      <a:lnTo>
                        <a:pt x="5" y="88"/>
                      </a:lnTo>
                      <a:lnTo>
                        <a:pt x="3" y="90"/>
                      </a:lnTo>
                      <a:lnTo>
                        <a:pt x="1" y="83"/>
                      </a:lnTo>
                      <a:lnTo>
                        <a:pt x="0" y="85"/>
                      </a:lnTo>
                      <a:lnTo>
                        <a:pt x="0" y="8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8" name="Freeform 162">
                  <a:extLst>
                    <a:ext uri="{FF2B5EF4-FFF2-40B4-BE49-F238E27FC236}">
                      <a16:creationId xmlns:a16="http://schemas.microsoft.com/office/drawing/2014/main" xmlns="" id="{CE17E8FF-C0B8-495E-BD78-BC6C8DB3E8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0" y="1052"/>
                  <a:ext cx="488" cy="236"/>
                </a:xfrm>
                <a:custGeom>
                  <a:avLst/>
                  <a:gdLst>
                    <a:gd name="T0" fmla="*/ 16 w 488"/>
                    <a:gd name="T1" fmla="*/ 72 h 236"/>
                    <a:gd name="T2" fmla="*/ 29 w 488"/>
                    <a:gd name="T3" fmla="*/ 57 h 236"/>
                    <a:gd name="T4" fmla="*/ 35 w 488"/>
                    <a:gd name="T5" fmla="*/ 48 h 236"/>
                    <a:gd name="T6" fmla="*/ 55 w 488"/>
                    <a:gd name="T7" fmla="*/ 41 h 236"/>
                    <a:gd name="T8" fmla="*/ 67 w 488"/>
                    <a:gd name="T9" fmla="*/ 44 h 236"/>
                    <a:gd name="T10" fmla="*/ 84 w 488"/>
                    <a:gd name="T11" fmla="*/ 43 h 236"/>
                    <a:gd name="T12" fmla="*/ 102 w 488"/>
                    <a:gd name="T13" fmla="*/ 61 h 236"/>
                    <a:gd name="T14" fmla="*/ 119 w 488"/>
                    <a:gd name="T15" fmla="*/ 57 h 236"/>
                    <a:gd name="T16" fmla="*/ 138 w 488"/>
                    <a:gd name="T17" fmla="*/ 57 h 236"/>
                    <a:gd name="T18" fmla="*/ 142 w 488"/>
                    <a:gd name="T19" fmla="*/ 38 h 236"/>
                    <a:gd name="T20" fmla="*/ 132 w 488"/>
                    <a:gd name="T21" fmla="*/ 20 h 236"/>
                    <a:gd name="T22" fmla="*/ 142 w 488"/>
                    <a:gd name="T23" fmla="*/ 7 h 236"/>
                    <a:gd name="T24" fmla="*/ 153 w 488"/>
                    <a:gd name="T25" fmla="*/ 4 h 236"/>
                    <a:gd name="T26" fmla="*/ 173 w 488"/>
                    <a:gd name="T27" fmla="*/ 8 h 236"/>
                    <a:gd name="T28" fmla="*/ 192 w 488"/>
                    <a:gd name="T29" fmla="*/ 13 h 236"/>
                    <a:gd name="T30" fmla="*/ 199 w 488"/>
                    <a:gd name="T31" fmla="*/ 28 h 236"/>
                    <a:gd name="T32" fmla="*/ 210 w 488"/>
                    <a:gd name="T33" fmla="*/ 38 h 236"/>
                    <a:gd name="T34" fmla="*/ 228 w 488"/>
                    <a:gd name="T35" fmla="*/ 39 h 236"/>
                    <a:gd name="T36" fmla="*/ 249 w 488"/>
                    <a:gd name="T37" fmla="*/ 33 h 236"/>
                    <a:gd name="T38" fmla="*/ 276 w 488"/>
                    <a:gd name="T39" fmla="*/ 38 h 236"/>
                    <a:gd name="T40" fmla="*/ 295 w 488"/>
                    <a:gd name="T41" fmla="*/ 48 h 236"/>
                    <a:gd name="T42" fmla="*/ 318 w 488"/>
                    <a:gd name="T43" fmla="*/ 54 h 236"/>
                    <a:gd name="T44" fmla="*/ 341 w 488"/>
                    <a:gd name="T45" fmla="*/ 53 h 236"/>
                    <a:gd name="T46" fmla="*/ 365 w 488"/>
                    <a:gd name="T47" fmla="*/ 43 h 236"/>
                    <a:gd name="T48" fmla="*/ 377 w 488"/>
                    <a:gd name="T49" fmla="*/ 28 h 236"/>
                    <a:gd name="T50" fmla="*/ 392 w 488"/>
                    <a:gd name="T51" fmla="*/ 23 h 236"/>
                    <a:gd name="T52" fmla="*/ 408 w 488"/>
                    <a:gd name="T53" fmla="*/ 28 h 236"/>
                    <a:gd name="T54" fmla="*/ 421 w 488"/>
                    <a:gd name="T55" fmla="*/ 53 h 236"/>
                    <a:gd name="T56" fmla="*/ 427 w 488"/>
                    <a:gd name="T57" fmla="*/ 82 h 236"/>
                    <a:gd name="T58" fmla="*/ 454 w 488"/>
                    <a:gd name="T59" fmla="*/ 72 h 236"/>
                    <a:gd name="T60" fmla="*/ 476 w 488"/>
                    <a:gd name="T61" fmla="*/ 79 h 236"/>
                    <a:gd name="T62" fmla="*/ 486 w 488"/>
                    <a:gd name="T63" fmla="*/ 98 h 236"/>
                    <a:gd name="T64" fmla="*/ 476 w 488"/>
                    <a:gd name="T65" fmla="*/ 103 h 236"/>
                    <a:gd name="T66" fmla="*/ 457 w 488"/>
                    <a:gd name="T67" fmla="*/ 108 h 236"/>
                    <a:gd name="T68" fmla="*/ 449 w 488"/>
                    <a:gd name="T69" fmla="*/ 115 h 236"/>
                    <a:gd name="T70" fmla="*/ 434 w 488"/>
                    <a:gd name="T71" fmla="*/ 136 h 236"/>
                    <a:gd name="T72" fmla="*/ 414 w 488"/>
                    <a:gd name="T73" fmla="*/ 147 h 236"/>
                    <a:gd name="T74" fmla="*/ 398 w 488"/>
                    <a:gd name="T75" fmla="*/ 149 h 236"/>
                    <a:gd name="T76" fmla="*/ 378 w 488"/>
                    <a:gd name="T77" fmla="*/ 160 h 236"/>
                    <a:gd name="T78" fmla="*/ 390 w 488"/>
                    <a:gd name="T79" fmla="*/ 180 h 236"/>
                    <a:gd name="T80" fmla="*/ 367 w 488"/>
                    <a:gd name="T81" fmla="*/ 205 h 236"/>
                    <a:gd name="T82" fmla="*/ 339 w 488"/>
                    <a:gd name="T83" fmla="*/ 214 h 236"/>
                    <a:gd name="T84" fmla="*/ 300 w 488"/>
                    <a:gd name="T85" fmla="*/ 236 h 236"/>
                    <a:gd name="T86" fmla="*/ 279 w 488"/>
                    <a:gd name="T87" fmla="*/ 232 h 236"/>
                    <a:gd name="T88" fmla="*/ 240 w 488"/>
                    <a:gd name="T89" fmla="*/ 216 h 236"/>
                    <a:gd name="T90" fmla="*/ 207 w 488"/>
                    <a:gd name="T91" fmla="*/ 219 h 236"/>
                    <a:gd name="T92" fmla="*/ 161 w 488"/>
                    <a:gd name="T93" fmla="*/ 219 h 236"/>
                    <a:gd name="T94" fmla="*/ 145 w 488"/>
                    <a:gd name="T95" fmla="*/ 195 h 236"/>
                    <a:gd name="T96" fmla="*/ 137 w 488"/>
                    <a:gd name="T97" fmla="*/ 185 h 236"/>
                    <a:gd name="T98" fmla="*/ 119 w 488"/>
                    <a:gd name="T99" fmla="*/ 178 h 236"/>
                    <a:gd name="T100" fmla="*/ 96 w 488"/>
                    <a:gd name="T101" fmla="*/ 170 h 236"/>
                    <a:gd name="T102" fmla="*/ 62 w 488"/>
                    <a:gd name="T103" fmla="*/ 160 h 236"/>
                    <a:gd name="T104" fmla="*/ 63 w 488"/>
                    <a:gd name="T105" fmla="*/ 147 h 236"/>
                    <a:gd name="T106" fmla="*/ 58 w 488"/>
                    <a:gd name="T107" fmla="*/ 131 h 236"/>
                    <a:gd name="T108" fmla="*/ 50 w 488"/>
                    <a:gd name="T109" fmla="*/ 116 h 236"/>
                    <a:gd name="T110" fmla="*/ 37 w 488"/>
                    <a:gd name="T111" fmla="*/ 111 h 236"/>
                    <a:gd name="T112" fmla="*/ 24 w 488"/>
                    <a:gd name="T113" fmla="*/ 110 h 236"/>
                    <a:gd name="T114" fmla="*/ 18 w 488"/>
                    <a:gd name="T115" fmla="*/ 106 h 236"/>
                    <a:gd name="T116" fmla="*/ 4 w 488"/>
                    <a:gd name="T117" fmla="*/ 95 h 236"/>
                    <a:gd name="T118" fmla="*/ 1 w 488"/>
                    <a:gd name="T119" fmla="*/ 90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88" h="236">
                      <a:moveTo>
                        <a:pt x="0" y="84"/>
                      </a:moveTo>
                      <a:lnTo>
                        <a:pt x="3" y="79"/>
                      </a:lnTo>
                      <a:lnTo>
                        <a:pt x="4" y="77"/>
                      </a:lnTo>
                      <a:lnTo>
                        <a:pt x="13" y="77"/>
                      </a:lnTo>
                      <a:lnTo>
                        <a:pt x="13" y="75"/>
                      </a:lnTo>
                      <a:lnTo>
                        <a:pt x="16" y="72"/>
                      </a:lnTo>
                      <a:lnTo>
                        <a:pt x="21" y="71"/>
                      </a:lnTo>
                      <a:lnTo>
                        <a:pt x="21" y="67"/>
                      </a:lnTo>
                      <a:lnTo>
                        <a:pt x="22" y="64"/>
                      </a:lnTo>
                      <a:lnTo>
                        <a:pt x="27" y="62"/>
                      </a:lnTo>
                      <a:lnTo>
                        <a:pt x="27" y="59"/>
                      </a:lnTo>
                      <a:lnTo>
                        <a:pt x="29" y="57"/>
                      </a:lnTo>
                      <a:lnTo>
                        <a:pt x="32" y="56"/>
                      </a:lnTo>
                      <a:lnTo>
                        <a:pt x="34" y="53"/>
                      </a:lnTo>
                      <a:lnTo>
                        <a:pt x="35" y="53"/>
                      </a:lnTo>
                      <a:lnTo>
                        <a:pt x="34" y="51"/>
                      </a:lnTo>
                      <a:lnTo>
                        <a:pt x="34" y="48"/>
                      </a:lnTo>
                      <a:lnTo>
                        <a:pt x="35" y="48"/>
                      </a:lnTo>
                      <a:lnTo>
                        <a:pt x="40" y="48"/>
                      </a:lnTo>
                      <a:lnTo>
                        <a:pt x="42" y="48"/>
                      </a:lnTo>
                      <a:lnTo>
                        <a:pt x="44" y="43"/>
                      </a:lnTo>
                      <a:lnTo>
                        <a:pt x="47" y="43"/>
                      </a:lnTo>
                      <a:lnTo>
                        <a:pt x="52" y="41"/>
                      </a:lnTo>
                      <a:lnTo>
                        <a:pt x="55" y="41"/>
                      </a:lnTo>
                      <a:lnTo>
                        <a:pt x="57" y="41"/>
                      </a:lnTo>
                      <a:lnTo>
                        <a:pt x="62" y="41"/>
                      </a:lnTo>
                      <a:lnTo>
                        <a:pt x="63" y="39"/>
                      </a:lnTo>
                      <a:lnTo>
                        <a:pt x="65" y="39"/>
                      </a:lnTo>
                      <a:lnTo>
                        <a:pt x="67" y="41"/>
                      </a:lnTo>
                      <a:lnTo>
                        <a:pt x="67" y="44"/>
                      </a:lnTo>
                      <a:lnTo>
                        <a:pt x="68" y="46"/>
                      </a:lnTo>
                      <a:lnTo>
                        <a:pt x="71" y="46"/>
                      </a:lnTo>
                      <a:lnTo>
                        <a:pt x="73" y="44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4" y="43"/>
                      </a:lnTo>
                      <a:lnTo>
                        <a:pt x="84" y="46"/>
                      </a:lnTo>
                      <a:lnTo>
                        <a:pt x="84" y="48"/>
                      </a:lnTo>
                      <a:lnTo>
                        <a:pt x="86" y="51"/>
                      </a:lnTo>
                      <a:lnTo>
                        <a:pt x="94" y="56"/>
                      </a:lnTo>
                      <a:lnTo>
                        <a:pt x="98" y="57"/>
                      </a:lnTo>
                      <a:lnTo>
                        <a:pt x="102" y="61"/>
                      </a:lnTo>
                      <a:lnTo>
                        <a:pt x="104" y="59"/>
                      </a:lnTo>
                      <a:lnTo>
                        <a:pt x="107" y="57"/>
                      </a:lnTo>
                      <a:lnTo>
                        <a:pt x="111" y="56"/>
                      </a:lnTo>
                      <a:lnTo>
                        <a:pt x="114" y="54"/>
                      </a:lnTo>
                      <a:lnTo>
                        <a:pt x="117" y="56"/>
                      </a:lnTo>
                      <a:lnTo>
                        <a:pt x="119" y="57"/>
                      </a:lnTo>
                      <a:lnTo>
                        <a:pt x="122" y="57"/>
                      </a:lnTo>
                      <a:lnTo>
                        <a:pt x="129" y="57"/>
                      </a:lnTo>
                      <a:lnTo>
                        <a:pt x="132" y="57"/>
                      </a:lnTo>
                      <a:lnTo>
                        <a:pt x="133" y="57"/>
                      </a:lnTo>
                      <a:lnTo>
                        <a:pt x="135" y="57"/>
                      </a:lnTo>
                      <a:lnTo>
                        <a:pt x="138" y="57"/>
                      </a:lnTo>
                      <a:lnTo>
                        <a:pt x="143" y="57"/>
                      </a:lnTo>
                      <a:lnTo>
                        <a:pt x="147" y="53"/>
                      </a:lnTo>
                      <a:lnTo>
                        <a:pt x="145" y="49"/>
                      </a:lnTo>
                      <a:lnTo>
                        <a:pt x="142" y="48"/>
                      </a:lnTo>
                      <a:lnTo>
                        <a:pt x="142" y="43"/>
                      </a:lnTo>
                      <a:lnTo>
                        <a:pt x="142" y="38"/>
                      </a:lnTo>
                      <a:lnTo>
                        <a:pt x="142" y="36"/>
                      </a:lnTo>
                      <a:lnTo>
                        <a:pt x="138" y="35"/>
                      </a:lnTo>
                      <a:lnTo>
                        <a:pt x="137" y="33"/>
                      </a:lnTo>
                      <a:lnTo>
                        <a:pt x="132" y="31"/>
                      </a:lnTo>
                      <a:lnTo>
                        <a:pt x="132" y="26"/>
                      </a:lnTo>
                      <a:lnTo>
                        <a:pt x="132" y="20"/>
                      </a:lnTo>
                      <a:lnTo>
                        <a:pt x="135" y="15"/>
                      </a:lnTo>
                      <a:lnTo>
                        <a:pt x="135" y="13"/>
                      </a:lnTo>
                      <a:lnTo>
                        <a:pt x="137" y="10"/>
                      </a:lnTo>
                      <a:lnTo>
                        <a:pt x="138" y="10"/>
                      </a:lnTo>
                      <a:lnTo>
                        <a:pt x="140" y="10"/>
                      </a:lnTo>
                      <a:lnTo>
                        <a:pt x="142" y="7"/>
                      </a:lnTo>
                      <a:lnTo>
                        <a:pt x="140" y="5"/>
                      </a:lnTo>
                      <a:lnTo>
                        <a:pt x="142" y="2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8" y="2"/>
                      </a:lnTo>
                      <a:lnTo>
                        <a:pt x="153" y="4"/>
                      </a:lnTo>
                      <a:lnTo>
                        <a:pt x="156" y="5"/>
                      </a:lnTo>
                      <a:lnTo>
                        <a:pt x="158" y="7"/>
                      </a:lnTo>
                      <a:lnTo>
                        <a:pt x="161" y="7"/>
                      </a:lnTo>
                      <a:lnTo>
                        <a:pt x="164" y="8"/>
                      </a:lnTo>
                      <a:lnTo>
                        <a:pt x="171" y="8"/>
                      </a:lnTo>
                      <a:lnTo>
                        <a:pt x="173" y="8"/>
                      </a:lnTo>
                      <a:lnTo>
                        <a:pt x="174" y="10"/>
                      </a:lnTo>
                      <a:lnTo>
                        <a:pt x="178" y="12"/>
                      </a:lnTo>
                      <a:lnTo>
                        <a:pt x="181" y="12"/>
                      </a:lnTo>
                      <a:lnTo>
                        <a:pt x="184" y="13"/>
                      </a:lnTo>
                      <a:lnTo>
                        <a:pt x="191" y="12"/>
                      </a:lnTo>
                      <a:lnTo>
                        <a:pt x="192" y="13"/>
                      </a:lnTo>
                      <a:lnTo>
                        <a:pt x="194" y="17"/>
                      </a:lnTo>
                      <a:lnTo>
                        <a:pt x="194" y="18"/>
                      </a:lnTo>
                      <a:lnTo>
                        <a:pt x="196" y="20"/>
                      </a:lnTo>
                      <a:lnTo>
                        <a:pt x="196" y="23"/>
                      </a:lnTo>
                      <a:lnTo>
                        <a:pt x="197" y="25"/>
                      </a:lnTo>
                      <a:lnTo>
                        <a:pt x="199" y="28"/>
                      </a:lnTo>
                      <a:lnTo>
                        <a:pt x="199" y="31"/>
                      </a:lnTo>
                      <a:lnTo>
                        <a:pt x="200" y="33"/>
                      </a:lnTo>
                      <a:lnTo>
                        <a:pt x="202" y="33"/>
                      </a:lnTo>
                      <a:lnTo>
                        <a:pt x="205" y="36"/>
                      </a:lnTo>
                      <a:lnTo>
                        <a:pt x="207" y="38"/>
                      </a:lnTo>
                      <a:lnTo>
                        <a:pt x="210" y="38"/>
                      </a:lnTo>
                      <a:lnTo>
                        <a:pt x="215" y="41"/>
                      </a:lnTo>
                      <a:lnTo>
                        <a:pt x="218" y="41"/>
                      </a:lnTo>
                      <a:lnTo>
                        <a:pt x="218" y="39"/>
                      </a:lnTo>
                      <a:lnTo>
                        <a:pt x="223" y="41"/>
                      </a:lnTo>
                      <a:lnTo>
                        <a:pt x="227" y="39"/>
                      </a:lnTo>
                      <a:lnTo>
                        <a:pt x="228" y="39"/>
                      </a:lnTo>
                      <a:lnTo>
                        <a:pt x="230" y="39"/>
                      </a:lnTo>
                      <a:lnTo>
                        <a:pt x="233" y="39"/>
                      </a:lnTo>
                      <a:lnTo>
                        <a:pt x="235" y="36"/>
                      </a:lnTo>
                      <a:lnTo>
                        <a:pt x="240" y="35"/>
                      </a:lnTo>
                      <a:lnTo>
                        <a:pt x="246" y="35"/>
                      </a:lnTo>
                      <a:lnTo>
                        <a:pt x="249" y="33"/>
                      </a:lnTo>
                      <a:lnTo>
                        <a:pt x="253" y="31"/>
                      </a:lnTo>
                      <a:lnTo>
                        <a:pt x="258" y="31"/>
                      </a:lnTo>
                      <a:lnTo>
                        <a:pt x="261" y="33"/>
                      </a:lnTo>
                      <a:lnTo>
                        <a:pt x="266" y="33"/>
                      </a:lnTo>
                      <a:lnTo>
                        <a:pt x="272" y="33"/>
                      </a:lnTo>
                      <a:lnTo>
                        <a:pt x="276" y="38"/>
                      </a:lnTo>
                      <a:lnTo>
                        <a:pt x="280" y="39"/>
                      </a:lnTo>
                      <a:lnTo>
                        <a:pt x="285" y="39"/>
                      </a:lnTo>
                      <a:lnTo>
                        <a:pt x="289" y="39"/>
                      </a:lnTo>
                      <a:lnTo>
                        <a:pt x="290" y="41"/>
                      </a:lnTo>
                      <a:lnTo>
                        <a:pt x="292" y="46"/>
                      </a:lnTo>
                      <a:lnTo>
                        <a:pt x="295" y="48"/>
                      </a:lnTo>
                      <a:lnTo>
                        <a:pt x="297" y="49"/>
                      </a:lnTo>
                      <a:lnTo>
                        <a:pt x="298" y="49"/>
                      </a:lnTo>
                      <a:lnTo>
                        <a:pt x="302" y="53"/>
                      </a:lnTo>
                      <a:lnTo>
                        <a:pt x="303" y="53"/>
                      </a:lnTo>
                      <a:lnTo>
                        <a:pt x="311" y="53"/>
                      </a:lnTo>
                      <a:lnTo>
                        <a:pt x="318" y="54"/>
                      </a:lnTo>
                      <a:lnTo>
                        <a:pt x="326" y="54"/>
                      </a:lnTo>
                      <a:lnTo>
                        <a:pt x="331" y="53"/>
                      </a:lnTo>
                      <a:lnTo>
                        <a:pt x="333" y="53"/>
                      </a:lnTo>
                      <a:lnTo>
                        <a:pt x="336" y="53"/>
                      </a:lnTo>
                      <a:lnTo>
                        <a:pt x="339" y="54"/>
                      </a:lnTo>
                      <a:lnTo>
                        <a:pt x="341" y="53"/>
                      </a:lnTo>
                      <a:lnTo>
                        <a:pt x="343" y="49"/>
                      </a:lnTo>
                      <a:lnTo>
                        <a:pt x="349" y="46"/>
                      </a:lnTo>
                      <a:lnTo>
                        <a:pt x="352" y="46"/>
                      </a:lnTo>
                      <a:lnTo>
                        <a:pt x="356" y="43"/>
                      </a:lnTo>
                      <a:lnTo>
                        <a:pt x="357" y="43"/>
                      </a:lnTo>
                      <a:lnTo>
                        <a:pt x="365" y="43"/>
                      </a:lnTo>
                      <a:lnTo>
                        <a:pt x="369" y="39"/>
                      </a:lnTo>
                      <a:lnTo>
                        <a:pt x="369" y="36"/>
                      </a:lnTo>
                      <a:lnTo>
                        <a:pt x="369" y="35"/>
                      </a:lnTo>
                      <a:lnTo>
                        <a:pt x="372" y="31"/>
                      </a:lnTo>
                      <a:lnTo>
                        <a:pt x="375" y="30"/>
                      </a:lnTo>
                      <a:lnTo>
                        <a:pt x="377" y="28"/>
                      </a:lnTo>
                      <a:lnTo>
                        <a:pt x="378" y="25"/>
                      </a:lnTo>
                      <a:lnTo>
                        <a:pt x="380" y="23"/>
                      </a:lnTo>
                      <a:lnTo>
                        <a:pt x="383" y="23"/>
                      </a:lnTo>
                      <a:lnTo>
                        <a:pt x="385" y="23"/>
                      </a:lnTo>
                      <a:lnTo>
                        <a:pt x="388" y="22"/>
                      </a:lnTo>
                      <a:lnTo>
                        <a:pt x="392" y="23"/>
                      </a:lnTo>
                      <a:lnTo>
                        <a:pt x="395" y="25"/>
                      </a:lnTo>
                      <a:lnTo>
                        <a:pt x="398" y="28"/>
                      </a:lnTo>
                      <a:lnTo>
                        <a:pt x="400" y="28"/>
                      </a:lnTo>
                      <a:lnTo>
                        <a:pt x="403" y="26"/>
                      </a:lnTo>
                      <a:lnTo>
                        <a:pt x="405" y="28"/>
                      </a:lnTo>
                      <a:lnTo>
                        <a:pt x="408" y="28"/>
                      </a:lnTo>
                      <a:lnTo>
                        <a:pt x="411" y="26"/>
                      </a:lnTo>
                      <a:lnTo>
                        <a:pt x="411" y="25"/>
                      </a:lnTo>
                      <a:lnTo>
                        <a:pt x="416" y="23"/>
                      </a:lnTo>
                      <a:lnTo>
                        <a:pt x="423" y="25"/>
                      </a:lnTo>
                      <a:lnTo>
                        <a:pt x="424" y="26"/>
                      </a:lnTo>
                      <a:lnTo>
                        <a:pt x="421" y="53"/>
                      </a:lnTo>
                      <a:lnTo>
                        <a:pt x="421" y="57"/>
                      </a:lnTo>
                      <a:lnTo>
                        <a:pt x="419" y="62"/>
                      </a:lnTo>
                      <a:lnTo>
                        <a:pt x="419" y="66"/>
                      </a:lnTo>
                      <a:lnTo>
                        <a:pt x="418" y="72"/>
                      </a:lnTo>
                      <a:lnTo>
                        <a:pt x="421" y="77"/>
                      </a:lnTo>
                      <a:lnTo>
                        <a:pt x="427" y="82"/>
                      </a:lnTo>
                      <a:lnTo>
                        <a:pt x="432" y="77"/>
                      </a:lnTo>
                      <a:lnTo>
                        <a:pt x="439" y="77"/>
                      </a:lnTo>
                      <a:lnTo>
                        <a:pt x="447" y="79"/>
                      </a:lnTo>
                      <a:lnTo>
                        <a:pt x="449" y="82"/>
                      </a:lnTo>
                      <a:lnTo>
                        <a:pt x="454" y="75"/>
                      </a:lnTo>
                      <a:lnTo>
                        <a:pt x="454" y="72"/>
                      </a:lnTo>
                      <a:lnTo>
                        <a:pt x="454" y="69"/>
                      </a:lnTo>
                      <a:lnTo>
                        <a:pt x="457" y="67"/>
                      </a:lnTo>
                      <a:lnTo>
                        <a:pt x="458" y="67"/>
                      </a:lnTo>
                      <a:lnTo>
                        <a:pt x="467" y="69"/>
                      </a:lnTo>
                      <a:lnTo>
                        <a:pt x="470" y="74"/>
                      </a:lnTo>
                      <a:lnTo>
                        <a:pt x="476" y="79"/>
                      </a:lnTo>
                      <a:lnTo>
                        <a:pt x="480" y="85"/>
                      </a:lnTo>
                      <a:lnTo>
                        <a:pt x="486" y="89"/>
                      </a:lnTo>
                      <a:lnTo>
                        <a:pt x="486" y="92"/>
                      </a:lnTo>
                      <a:lnTo>
                        <a:pt x="488" y="93"/>
                      </a:lnTo>
                      <a:lnTo>
                        <a:pt x="488" y="97"/>
                      </a:lnTo>
                      <a:lnTo>
                        <a:pt x="486" y="98"/>
                      </a:lnTo>
                      <a:lnTo>
                        <a:pt x="486" y="102"/>
                      </a:lnTo>
                      <a:lnTo>
                        <a:pt x="485" y="103"/>
                      </a:lnTo>
                      <a:lnTo>
                        <a:pt x="483" y="102"/>
                      </a:lnTo>
                      <a:lnTo>
                        <a:pt x="481" y="102"/>
                      </a:lnTo>
                      <a:lnTo>
                        <a:pt x="478" y="102"/>
                      </a:lnTo>
                      <a:lnTo>
                        <a:pt x="476" y="103"/>
                      </a:lnTo>
                      <a:lnTo>
                        <a:pt x="472" y="100"/>
                      </a:lnTo>
                      <a:lnTo>
                        <a:pt x="468" y="102"/>
                      </a:lnTo>
                      <a:lnTo>
                        <a:pt x="467" y="105"/>
                      </a:lnTo>
                      <a:lnTo>
                        <a:pt x="462" y="108"/>
                      </a:lnTo>
                      <a:lnTo>
                        <a:pt x="458" y="110"/>
                      </a:lnTo>
                      <a:lnTo>
                        <a:pt x="457" y="108"/>
                      </a:lnTo>
                      <a:lnTo>
                        <a:pt x="455" y="108"/>
                      </a:lnTo>
                      <a:lnTo>
                        <a:pt x="455" y="111"/>
                      </a:lnTo>
                      <a:lnTo>
                        <a:pt x="454" y="113"/>
                      </a:lnTo>
                      <a:lnTo>
                        <a:pt x="452" y="113"/>
                      </a:lnTo>
                      <a:lnTo>
                        <a:pt x="450" y="113"/>
                      </a:lnTo>
                      <a:lnTo>
                        <a:pt x="449" y="115"/>
                      </a:lnTo>
                      <a:lnTo>
                        <a:pt x="445" y="120"/>
                      </a:lnTo>
                      <a:lnTo>
                        <a:pt x="445" y="124"/>
                      </a:lnTo>
                      <a:lnTo>
                        <a:pt x="445" y="128"/>
                      </a:lnTo>
                      <a:lnTo>
                        <a:pt x="444" y="129"/>
                      </a:lnTo>
                      <a:lnTo>
                        <a:pt x="441" y="131"/>
                      </a:lnTo>
                      <a:lnTo>
                        <a:pt x="434" y="136"/>
                      </a:lnTo>
                      <a:lnTo>
                        <a:pt x="429" y="136"/>
                      </a:lnTo>
                      <a:lnTo>
                        <a:pt x="426" y="134"/>
                      </a:lnTo>
                      <a:lnTo>
                        <a:pt x="424" y="136"/>
                      </a:lnTo>
                      <a:lnTo>
                        <a:pt x="421" y="142"/>
                      </a:lnTo>
                      <a:lnTo>
                        <a:pt x="418" y="146"/>
                      </a:lnTo>
                      <a:lnTo>
                        <a:pt x="414" y="147"/>
                      </a:lnTo>
                      <a:lnTo>
                        <a:pt x="413" y="151"/>
                      </a:lnTo>
                      <a:lnTo>
                        <a:pt x="411" y="152"/>
                      </a:lnTo>
                      <a:lnTo>
                        <a:pt x="409" y="152"/>
                      </a:lnTo>
                      <a:lnTo>
                        <a:pt x="406" y="151"/>
                      </a:lnTo>
                      <a:lnTo>
                        <a:pt x="403" y="151"/>
                      </a:lnTo>
                      <a:lnTo>
                        <a:pt x="398" y="149"/>
                      </a:lnTo>
                      <a:lnTo>
                        <a:pt x="393" y="146"/>
                      </a:lnTo>
                      <a:lnTo>
                        <a:pt x="390" y="146"/>
                      </a:lnTo>
                      <a:lnTo>
                        <a:pt x="383" y="147"/>
                      </a:lnTo>
                      <a:lnTo>
                        <a:pt x="380" y="151"/>
                      </a:lnTo>
                      <a:lnTo>
                        <a:pt x="378" y="154"/>
                      </a:lnTo>
                      <a:lnTo>
                        <a:pt x="378" y="160"/>
                      </a:lnTo>
                      <a:lnTo>
                        <a:pt x="378" y="164"/>
                      </a:lnTo>
                      <a:lnTo>
                        <a:pt x="378" y="165"/>
                      </a:lnTo>
                      <a:lnTo>
                        <a:pt x="385" y="170"/>
                      </a:lnTo>
                      <a:lnTo>
                        <a:pt x="392" y="175"/>
                      </a:lnTo>
                      <a:lnTo>
                        <a:pt x="392" y="177"/>
                      </a:lnTo>
                      <a:lnTo>
                        <a:pt x="390" y="180"/>
                      </a:lnTo>
                      <a:lnTo>
                        <a:pt x="388" y="183"/>
                      </a:lnTo>
                      <a:lnTo>
                        <a:pt x="380" y="191"/>
                      </a:lnTo>
                      <a:lnTo>
                        <a:pt x="377" y="198"/>
                      </a:lnTo>
                      <a:lnTo>
                        <a:pt x="375" y="203"/>
                      </a:lnTo>
                      <a:lnTo>
                        <a:pt x="372" y="203"/>
                      </a:lnTo>
                      <a:lnTo>
                        <a:pt x="367" y="205"/>
                      </a:lnTo>
                      <a:lnTo>
                        <a:pt x="364" y="205"/>
                      </a:lnTo>
                      <a:lnTo>
                        <a:pt x="359" y="208"/>
                      </a:lnTo>
                      <a:lnTo>
                        <a:pt x="354" y="211"/>
                      </a:lnTo>
                      <a:lnTo>
                        <a:pt x="351" y="211"/>
                      </a:lnTo>
                      <a:lnTo>
                        <a:pt x="344" y="213"/>
                      </a:lnTo>
                      <a:lnTo>
                        <a:pt x="339" y="214"/>
                      </a:lnTo>
                      <a:lnTo>
                        <a:pt x="334" y="216"/>
                      </a:lnTo>
                      <a:lnTo>
                        <a:pt x="323" y="219"/>
                      </a:lnTo>
                      <a:lnTo>
                        <a:pt x="313" y="222"/>
                      </a:lnTo>
                      <a:lnTo>
                        <a:pt x="310" y="227"/>
                      </a:lnTo>
                      <a:lnTo>
                        <a:pt x="303" y="232"/>
                      </a:lnTo>
                      <a:lnTo>
                        <a:pt x="300" y="236"/>
                      </a:lnTo>
                      <a:lnTo>
                        <a:pt x="295" y="236"/>
                      </a:lnTo>
                      <a:lnTo>
                        <a:pt x="292" y="234"/>
                      </a:lnTo>
                      <a:lnTo>
                        <a:pt x="292" y="232"/>
                      </a:lnTo>
                      <a:lnTo>
                        <a:pt x="290" y="231"/>
                      </a:lnTo>
                      <a:lnTo>
                        <a:pt x="284" y="232"/>
                      </a:lnTo>
                      <a:lnTo>
                        <a:pt x="279" y="232"/>
                      </a:lnTo>
                      <a:lnTo>
                        <a:pt x="272" y="229"/>
                      </a:lnTo>
                      <a:lnTo>
                        <a:pt x="269" y="229"/>
                      </a:lnTo>
                      <a:lnTo>
                        <a:pt x="258" y="226"/>
                      </a:lnTo>
                      <a:lnTo>
                        <a:pt x="248" y="221"/>
                      </a:lnTo>
                      <a:lnTo>
                        <a:pt x="243" y="216"/>
                      </a:lnTo>
                      <a:lnTo>
                        <a:pt x="240" y="216"/>
                      </a:lnTo>
                      <a:lnTo>
                        <a:pt x="228" y="214"/>
                      </a:lnTo>
                      <a:lnTo>
                        <a:pt x="218" y="214"/>
                      </a:lnTo>
                      <a:lnTo>
                        <a:pt x="215" y="214"/>
                      </a:lnTo>
                      <a:lnTo>
                        <a:pt x="213" y="214"/>
                      </a:lnTo>
                      <a:lnTo>
                        <a:pt x="213" y="218"/>
                      </a:lnTo>
                      <a:lnTo>
                        <a:pt x="207" y="219"/>
                      </a:lnTo>
                      <a:lnTo>
                        <a:pt x="200" y="219"/>
                      </a:lnTo>
                      <a:lnTo>
                        <a:pt x="187" y="219"/>
                      </a:lnTo>
                      <a:lnTo>
                        <a:pt x="178" y="219"/>
                      </a:lnTo>
                      <a:lnTo>
                        <a:pt x="169" y="219"/>
                      </a:lnTo>
                      <a:lnTo>
                        <a:pt x="164" y="219"/>
                      </a:lnTo>
                      <a:lnTo>
                        <a:pt x="161" y="219"/>
                      </a:lnTo>
                      <a:lnTo>
                        <a:pt x="158" y="219"/>
                      </a:lnTo>
                      <a:lnTo>
                        <a:pt x="155" y="211"/>
                      </a:lnTo>
                      <a:lnTo>
                        <a:pt x="153" y="208"/>
                      </a:lnTo>
                      <a:lnTo>
                        <a:pt x="150" y="203"/>
                      </a:lnTo>
                      <a:lnTo>
                        <a:pt x="147" y="200"/>
                      </a:lnTo>
                      <a:lnTo>
                        <a:pt x="145" y="195"/>
                      </a:lnTo>
                      <a:lnTo>
                        <a:pt x="145" y="193"/>
                      </a:lnTo>
                      <a:lnTo>
                        <a:pt x="143" y="190"/>
                      </a:lnTo>
                      <a:lnTo>
                        <a:pt x="140" y="190"/>
                      </a:lnTo>
                      <a:lnTo>
                        <a:pt x="138" y="190"/>
                      </a:lnTo>
                      <a:lnTo>
                        <a:pt x="138" y="188"/>
                      </a:lnTo>
                      <a:lnTo>
                        <a:pt x="137" y="185"/>
                      </a:lnTo>
                      <a:lnTo>
                        <a:pt x="137" y="185"/>
                      </a:lnTo>
                      <a:lnTo>
                        <a:pt x="135" y="185"/>
                      </a:lnTo>
                      <a:lnTo>
                        <a:pt x="130" y="185"/>
                      </a:lnTo>
                      <a:lnTo>
                        <a:pt x="127" y="182"/>
                      </a:lnTo>
                      <a:lnTo>
                        <a:pt x="120" y="178"/>
                      </a:lnTo>
                      <a:lnTo>
                        <a:pt x="119" y="178"/>
                      </a:lnTo>
                      <a:lnTo>
                        <a:pt x="117" y="178"/>
                      </a:lnTo>
                      <a:lnTo>
                        <a:pt x="116" y="177"/>
                      </a:lnTo>
                      <a:lnTo>
                        <a:pt x="114" y="175"/>
                      </a:lnTo>
                      <a:lnTo>
                        <a:pt x="109" y="172"/>
                      </a:lnTo>
                      <a:lnTo>
                        <a:pt x="98" y="170"/>
                      </a:lnTo>
                      <a:lnTo>
                        <a:pt x="96" y="170"/>
                      </a:lnTo>
                      <a:lnTo>
                        <a:pt x="96" y="172"/>
                      </a:lnTo>
                      <a:lnTo>
                        <a:pt x="91" y="172"/>
                      </a:lnTo>
                      <a:lnTo>
                        <a:pt x="84" y="172"/>
                      </a:lnTo>
                      <a:lnTo>
                        <a:pt x="68" y="169"/>
                      </a:lnTo>
                      <a:lnTo>
                        <a:pt x="65" y="167"/>
                      </a:lnTo>
                      <a:lnTo>
                        <a:pt x="62" y="160"/>
                      </a:lnTo>
                      <a:lnTo>
                        <a:pt x="62" y="159"/>
                      </a:lnTo>
                      <a:lnTo>
                        <a:pt x="62" y="155"/>
                      </a:lnTo>
                      <a:lnTo>
                        <a:pt x="62" y="154"/>
                      </a:lnTo>
                      <a:lnTo>
                        <a:pt x="65" y="152"/>
                      </a:lnTo>
                      <a:lnTo>
                        <a:pt x="65" y="149"/>
                      </a:lnTo>
                      <a:lnTo>
                        <a:pt x="63" y="147"/>
                      </a:lnTo>
                      <a:lnTo>
                        <a:pt x="63" y="144"/>
                      </a:lnTo>
                      <a:lnTo>
                        <a:pt x="63" y="141"/>
                      </a:lnTo>
                      <a:lnTo>
                        <a:pt x="63" y="138"/>
                      </a:lnTo>
                      <a:lnTo>
                        <a:pt x="62" y="136"/>
                      </a:lnTo>
                      <a:lnTo>
                        <a:pt x="60" y="133"/>
                      </a:lnTo>
                      <a:lnTo>
                        <a:pt x="58" y="131"/>
                      </a:lnTo>
                      <a:lnTo>
                        <a:pt x="55" y="129"/>
                      </a:lnTo>
                      <a:lnTo>
                        <a:pt x="53" y="126"/>
                      </a:lnTo>
                      <a:lnTo>
                        <a:pt x="52" y="124"/>
                      </a:lnTo>
                      <a:lnTo>
                        <a:pt x="52" y="121"/>
                      </a:lnTo>
                      <a:lnTo>
                        <a:pt x="52" y="118"/>
                      </a:lnTo>
                      <a:lnTo>
                        <a:pt x="50" y="116"/>
                      </a:lnTo>
                      <a:lnTo>
                        <a:pt x="47" y="113"/>
                      </a:lnTo>
                      <a:lnTo>
                        <a:pt x="45" y="113"/>
                      </a:lnTo>
                      <a:lnTo>
                        <a:pt x="44" y="111"/>
                      </a:lnTo>
                      <a:lnTo>
                        <a:pt x="40" y="110"/>
                      </a:lnTo>
                      <a:lnTo>
                        <a:pt x="39" y="110"/>
                      </a:lnTo>
                      <a:lnTo>
                        <a:pt x="37" y="111"/>
                      </a:lnTo>
                      <a:lnTo>
                        <a:pt x="35" y="113"/>
                      </a:lnTo>
                      <a:lnTo>
                        <a:pt x="34" y="111"/>
                      </a:lnTo>
                      <a:lnTo>
                        <a:pt x="31" y="110"/>
                      </a:lnTo>
                      <a:lnTo>
                        <a:pt x="31" y="108"/>
                      </a:lnTo>
                      <a:lnTo>
                        <a:pt x="27" y="108"/>
                      </a:lnTo>
                      <a:lnTo>
                        <a:pt x="24" y="110"/>
                      </a:lnTo>
                      <a:lnTo>
                        <a:pt x="22" y="110"/>
                      </a:lnTo>
                      <a:lnTo>
                        <a:pt x="22" y="113"/>
                      </a:lnTo>
                      <a:lnTo>
                        <a:pt x="21" y="113"/>
                      </a:lnTo>
                      <a:lnTo>
                        <a:pt x="18" y="110"/>
                      </a:lnTo>
                      <a:lnTo>
                        <a:pt x="18" y="108"/>
                      </a:lnTo>
                      <a:lnTo>
                        <a:pt x="18" y="106"/>
                      </a:lnTo>
                      <a:lnTo>
                        <a:pt x="14" y="105"/>
                      </a:lnTo>
                      <a:lnTo>
                        <a:pt x="11" y="102"/>
                      </a:lnTo>
                      <a:lnTo>
                        <a:pt x="9" y="100"/>
                      </a:lnTo>
                      <a:lnTo>
                        <a:pt x="8" y="98"/>
                      </a:lnTo>
                      <a:lnTo>
                        <a:pt x="6" y="97"/>
                      </a:lnTo>
                      <a:lnTo>
                        <a:pt x="4" y="95"/>
                      </a:lnTo>
                      <a:lnTo>
                        <a:pt x="4" y="93"/>
                      </a:lnTo>
                      <a:lnTo>
                        <a:pt x="4" y="92"/>
                      </a:lnTo>
                      <a:lnTo>
                        <a:pt x="3" y="92"/>
                      </a:lnTo>
                      <a:lnTo>
                        <a:pt x="3" y="92"/>
                      </a:lnTo>
                      <a:lnTo>
                        <a:pt x="3" y="93"/>
                      </a:lnTo>
                      <a:lnTo>
                        <a:pt x="1" y="90"/>
                      </a:lnTo>
                      <a:lnTo>
                        <a:pt x="0" y="90"/>
                      </a:lnTo>
                      <a:lnTo>
                        <a:pt x="0" y="85"/>
                      </a:lnTo>
                      <a:lnTo>
                        <a:pt x="0" y="8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999" name="Freeform 163">
                  <a:extLst>
                    <a:ext uri="{FF2B5EF4-FFF2-40B4-BE49-F238E27FC236}">
                      <a16:creationId xmlns:a16="http://schemas.microsoft.com/office/drawing/2014/main" xmlns="" id="{702760F7-D0B3-445D-BAF4-27989FA80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2" y="1010"/>
                  <a:ext cx="601" cy="322"/>
                </a:xfrm>
                <a:custGeom>
                  <a:avLst/>
                  <a:gdLst>
                    <a:gd name="T0" fmla="*/ 15 w 601"/>
                    <a:gd name="T1" fmla="*/ 188 h 322"/>
                    <a:gd name="T2" fmla="*/ 2 w 601"/>
                    <a:gd name="T3" fmla="*/ 150 h 322"/>
                    <a:gd name="T4" fmla="*/ 29 w 601"/>
                    <a:gd name="T5" fmla="*/ 144 h 322"/>
                    <a:gd name="T6" fmla="*/ 42 w 601"/>
                    <a:gd name="T7" fmla="*/ 116 h 322"/>
                    <a:gd name="T8" fmla="*/ 59 w 601"/>
                    <a:gd name="T9" fmla="*/ 109 h 322"/>
                    <a:gd name="T10" fmla="*/ 70 w 601"/>
                    <a:gd name="T11" fmla="*/ 106 h 322"/>
                    <a:gd name="T12" fmla="*/ 96 w 601"/>
                    <a:gd name="T13" fmla="*/ 116 h 322"/>
                    <a:gd name="T14" fmla="*/ 114 w 601"/>
                    <a:gd name="T15" fmla="*/ 121 h 322"/>
                    <a:gd name="T16" fmla="*/ 137 w 601"/>
                    <a:gd name="T17" fmla="*/ 116 h 322"/>
                    <a:gd name="T18" fmla="*/ 158 w 601"/>
                    <a:gd name="T19" fmla="*/ 114 h 322"/>
                    <a:gd name="T20" fmla="*/ 173 w 601"/>
                    <a:gd name="T21" fmla="*/ 122 h 322"/>
                    <a:gd name="T22" fmla="*/ 203 w 601"/>
                    <a:gd name="T23" fmla="*/ 122 h 322"/>
                    <a:gd name="T24" fmla="*/ 193 w 601"/>
                    <a:gd name="T25" fmla="*/ 96 h 322"/>
                    <a:gd name="T26" fmla="*/ 191 w 601"/>
                    <a:gd name="T27" fmla="*/ 80 h 322"/>
                    <a:gd name="T28" fmla="*/ 204 w 601"/>
                    <a:gd name="T29" fmla="*/ 60 h 322"/>
                    <a:gd name="T30" fmla="*/ 193 w 601"/>
                    <a:gd name="T31" fmla="*/ 54 h 322"/>
                    <a:gd name="T32" fmla="*/ 203 w 601"/>
                    <a:gd name="T33" fmla="*/ 46 h 322"/>
                    <a:gd name="T34" fmla="*/ 220 w 601"/>
                    <a:gd name="T35" fmla="*/ 39 h 322"/>
                    <a:gd name="T36" fmla="*/ 248 w 601"/>
                    <a:gd name="T37" fmla="*/ 31 h 322"/>
                    <a:gd name="T38" fmla="*/ 265 w 601"/>
                    <a:gd name="T39" fmla="*/ 21 h 322"/>
                    <a:gd name="T40" fmla="*/ 289 w 601"/>
                    <a:gd name="T41" fmla="*/ 8 h 322"/>
                    <a:gd name="T42" fmla="*/ 310 w 601"/>
                    <a:gd name="T43" fmla="*/ 0 h 322"/>
                    <a:gd name="T44" fmla="*/ 333 w 601"/>
                    <a:gd name="T45" fmla="*/ 14 h 322"/>
                    <a:gd name="T46" fmla="*/ 340 w 601"/>
                    <a:gd name="T47" fmla="*/ 28 h 322"/>
                    <a:gd name="T48" fmla="*/ 353 w 601"/>
                    <a:gd name="T49" fmla="*/ 24 h 322"/>
                    <a:gd name="T50" fmla="*/ 367 w 601"/>
                    <a:gd name="T51" fmla="*/ 31 h 322"/>
                    <a:gd name="T52" fmla="*/ 379 w 601"/>
                    <a:gd name="T53" fmla="*/ 37 h 322"/>
                    <a:gd name="T54" fmla="*/ 402 w 601"/>
                    <a:gd name="T55" fmla="*/ 28 h 322"/>
                    <a:gd name="T56" fmla="*/ 418 w 601"/>
                    <a:gd name="T57" fmla="*/ 23 h 322"/>
                    <a:gd name="T58" fmla="*/ 490 w 601"/>
                    <a:gd name="T59" fmla="*/ 88 h 322"/>
                    <a:gd name="T60" fmla="*/ 510 w 601"/>
                    <a:gd name="T61" fmla="*/ 95 h 322"/>
                    <a:gd name="T62" fmla="*/ 534 w 601"/>
                    <a:gd name="T63" fmla="*/ 90 h 322"/>
                    <a:gd name="T64" fmla="*/ 560 w 601"/>
                    <a:gd name="T65" fmla="*/ 108 h 322"/>
                    <a:gd name="T66" fmla="*/ 570 w 601"/>
                    <a:gd name="T67" fmla="*/ 121 h 322"/>
                    <a:gd name="T68" fmla="*/ 590 w 601"/>
                    <a:gd name="T69" fmla="*/ 119 h 322"/>
                    <a:gd name="T70" fmla="*/ 593 w 601"/>
                    <a:gd name="T71" fmla="*/ 139 h 322"/>
                    <a:gd name="T72" fmla="*/ 585 w 601"/>
                    <a:gd name="T73" fmla="*/ 175 h 322"/>
                    <a:gd name="T74" fmla="*/ 555 w 601"/>
                    <a:gd name="T75" fmla="*/ 176 h 322"/>
                    <a:gd name="T76" fmla="*/ 545 w 601"/>
                    <a:gd name="T77" fmla="*/ 212 h 322"/>
                    <a:gd name="T78" fmla="*/ 534 w 601"/>
                    <a:gd name="T79" fmla="*/ 220 h 322"/>
                    <a:gd name="T80" fmla="*/ 519 w 601"/>
                    <a:gd name="T81" fmla="*/ 230 h 322"/>
                    <a:gd name="T82" fmla="*/ 528 w 601"/>
                    <a:gd name="T83" fmla="*/ 256 h 322"/>
                    <a:gd name="T84" fmla="*/ 528 w 601"/>
                    <a:gd name="T85" fmla="*/ 281 h 322"/>
                    <a:gd name="T86" fmla="*/ 470 w 601"/>
                    <a:gd name="T87" fmla="*/ 273 h 322"/>
                    <a:gd name="T88" fmla="*/ 433 w 601"/>
                    <a:gd name="T89" fmla="*/ 271 h 322"/>
                    <a:gd name="T90" fmla="*/ 399 w 601"/>
                    <a:gd name="T91" fmla="*/ 282 h 322"/>
                    <a:gd name="T92" fmla="*/ 379 w 601"/>
                    <a:gd name="T93" fmla="*/ 296 h 322"/>
                    <a:gd name="T94" fmla="*/ 340 w 601"/>
                    <a:gd name="T95" fmla="*/ 317 h 322"/>
                    <a:gd name="T96" fmla="*/ 268 w 601"/>
                    <a:gd name="T97" fmla="*/ 263 h 322"/>
                    <a:gd name="T98" fmla="*/ 149 w 601"/>
                    <a:gd name="T99" fmla="*/ 310 h 322"/>
                    <a:gd name="T100" fmla="*/ 111 w 601"/>
                    <a:gd name="T101" fmla="*/ 296 h 322"/>
                    <a:gd name="T102" fmla="*/ 95 w 601"/>
                    <a:gd name="T103" fmla="*/ 289 h 322"/>
                    <a:gd name="T104" fmla="*/ 82 w 601"/>
                    <a:gd name="T105" fmla="*/ 271 h 322"/>
                    <a:gd name="T106" fmla="*/ 70 w 601"/>
                    <a:gd name="T107" fmla="*/ 258 h 322"/>
                    <a:gd name="T108" fmla="*/ 88 w 601"/>
                    <a:gd name="T109" fmla="*/ 256 h 322"/>
                    <a:gd name="T110" fmla="*/ 80 w 601"/>
                    <a:gd name="T111" fmla="*/ 242 h 322"/>
                    <a:gd name="T112" fmla="*/ 101 w 601"/>
                    <a:gd name="T113" fmla="*/ 238 h 322"/>
                    <a:gd name="T114" fmla="*/ 106 w 601"/>
                    <a:gd name="T115" fmla="*/ 229 h 322"/>
                    <a:gd name="T116" fmla="*/ 105 w 601"/>
                    <a:gd name="T117" fmla="*/ 211 h 322"/>
                    <a:gd name="T118" fmla="*/ 90 w 601"/>
                    <a:gd name="T119" fmla="*/ 207 h 322"/>
                    <a:gd name="T120" fmla="*/ 80 w 601"/>
                    <a:gd name="T121" fmla="*/ 204 h 322"/>
                    <a:gd name="T122" fmla="*/ 65 w 601"/>
                    <a:gd name="T123" fmla="*/ 207 h 322"/>
                    <a:gd name="T124" fmla="*/ 52 w 601"/>
                    <a:gd name="T125" fmla="*/ 215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01" h="322">
                      <a:moveTo>
                        <a:pt x="46" y="215"/>
                      </a:moveTo>
                      <a:lnTo>
                        <a:pt x="42" y="214"/>
                      </a:lnTo>
                      <a:lnTo>
                        <a:pt x="39" y="215"/>
                      </a:lnTo>
                      <a:lnTo>
                        <a:pt x="33" y="211"/>
                      </a:lnTo>
                      <a:lnTo>
                        <a:pt x="33" y="209"/>
                      </a:lnTo>
                      <a:lnTo>
                        <a:pt x="39" y="209"/>
                      </a:lnTo>
                      <a:lnTo>
                        <a:pt x="33" y="197"/>
                      </a:lnTo>
                      <a:lnTo>
                        <a:pt x="25" y="191"/>
                      </a:lnTo>
                      <a:lnTo>
                        <a:pt x="15" y="188"/>
                      </a:lnTo>
                      <a:lnTo>
                        <a:pt x="13" y="189"/>
                      </a:lnTo>
                      <a:lnTo>
                        <a:pt x="8" y="186"/>
                      </a:lnTo>
                      <a:lnTo>
                        <a:pt x="10" y="183"/>
                      </a:lnTo>
                      <a:lnTo>
                        <a:pt x="7" y="178"/>
                      </a:lnTo>
                      <a:lnTo>
                        <a:pt x="0" y="176"/>
                      </a:lnTo>
                      <a:lnTo>
                        <a:pt x="3" y="170"/>
                      </a:lnTo>
                      <a:lnTo>
                        <a:pt x="5" y="160"/>
                      </a:lnTo>
                      <a:lnTo>
                        <a:pt x="2" y="158"/>
                      </a:lnTo>
                      <a:lnTo>
                        <a:pt x="2" y="150"/>
                      </a:lnTo>
                      <a:lnTo>
                        <a:pt x="5" y="148"/>
                      </a:lnTo>
                      <a:lnTo>
                        <a:pt x="8" y="144"/>
                      </a:lnTo>
                      <a:lnTo>
                        <a:pt x="8" y="139"/>
                      </a:lnTo>
                      <a:lnTo>
                        <a:pt x="10" y="135"/>
                      </a:lnTo>
                      <a:lnTo>
                        <a:pt x="20" y="144"/>
                      </a:lnTo>
                      <a:lnTo>
                        <a:pt x="20" y="147"/>
                      </a:lnTo>
                      <a:lnTo>
                        <a:pt x="25" y="150"/>
                      </a:lnTo>
                      <a:lnTo>
                        <a:pt x="29" y="148"/>
                      </a:lnTo>
                      <a:lnTo>
                        <a:pt x="29" y="144"/>
                      </a:lnTo>
                      <a:lnTo>
                        <a:pt x="31" y="142"/>
                      </a:lnTo>
                      <a:lnTo>
                        <a:pt x="28" y="129"/>
                      </a:lnTo>
                      <a:lnTo>
                        <a:pt x="33" y="129"/>
                      </a:lnTo>
                      <a:lnTo>
                        <a:pt x="38" y="129"/>
                      </a:lnTo>
                      <a:lnTo>
                        <a:pt x="38" y="126"/>
                      </a:lnTo>
                      <a:lnTo>
                        <a:pt x="36" y="122"/>
                      </a:lnTo>
                      <a:lnTo>
                        <a:pt x="36" y="119"/>
                      </a:lnTo>
                      <a:lnTo>
                        <a:pt x="41" y="116"/>
                      </a:lnTo>
                      <a:lnTo>
                        <a:pt x="42" y="116"/>
                      </a:lnTo>
                      <a:lnTo>
                        <a:pt x="44" y="111"/>
                      </a:lnTo>
                      <a:lnTo>
                        <a:pt x="47" y="109"/>
                      </a:lnTo>
                      <a:lnTo>
                        <a:pt x="51" y="111"/>
                      </a:lnTo>
                      <a:lnTo>
                        <a:pt x="51" y="108"/>
                      </a:lnTo>
                      <a:lnTo>
                        <a:pt x="51" y="104"/>
                      </a:lnTo>
                      <a:lnTo>
                        <a:pt x="51" y="103"/>
                      </a:lnTo>
                      <a:lnTo>
                        <a:pt x="56" y="104"/>
                      </a:lnTo>
                      <a:lnTo>
                        <a:pt x="59" y="106"/>
                      </a:lnTo>
                      <a:lnTo>
                        <a:pt x="59" y="109"/>
                      </a:lnTo>
                      <a:lnTo>
                        <a:pt x="57" y="111"/>
                      </a:lnTo>
                      <a:lnTo>
                        <a:pt x="59" y="113"/>
                      </a:lnTo>
                      <a:lnTo>
                        <a:pt x="60" y="111"/>
                      </a:lnTo>
                      <a:lnTo>
                        <a:pt x="62" y="109"/>
                      </a:lnTo>
                      <a:lnTo>
                        <a:pt x="64" y="108"/>
                      </a:lnTo>
                      <a:lnTo>
                        <a:pt x="64" y="111"/>
                      </a:lnTo>
                      <a:lnTo>
                        <a:pt x="67" y="108"/>
                      </a:lnTo>
                      <a:lnTo>
                        <a:pt x="67" y="106"/>
                      </a:lnTo>
                      <a:lnTo>
                        <a:pt x="70" y="106"/>
                      </a:lnTo>
                      <a:lnTo>
                        <a:pt x="73" y="103"/>
                      </a:lnTo>
                      <a:lnTo>
                        <a:pt x="75" y="103"/>
                      </a:lnTo>
                      <a:lnTo>
                        <a:pt x="78" y="108"/>
                      </a:lnTo>
                      <a:lnTo>
                        <a:pt x="82" y="109"/>
                      </a:lnTo>
                      <a:lnTo>
                        <a:pt x="87" y="108"/>
                      </a:lnTo>
                      <a:lnTo>
                        <a:pt x="90" y="108"/>
                      </a:lnTo>
                      <a:lnTo>
                        <a:pt x="91" y="111"/>
                      </a:lnTo>
                      <a:lnTo>
                        <a:pt x="93" y="111"/>
                      </a:lnTo>
                      <a:lnTo>
                        <a:pt x="96" y="116"/>
                      </a:lnTo>
                      <a:lnTo>
                        <a:pt x="100" y="116"/>
                      </a:lnTo>
                      <a:lnTo>
                        <a:pt x="101" y="119"/>
                      </a:lnTo>
                      <a:lnTo>
                        <a:pt x="106" y="122"/>
                      </a:lnTo>
                      <a:lnTo>
                        <a:pt x="109" y="122"/>
                      </a:lnTo>
                      <a:lnTo>
                        <a:pt x="109" y="124"/>
                      </a:lnTo>
                      <a:lnTo>
                        <a:pt x="111" y="127"/>
                      </a:lnTo>
                      <a:lnTo>
                        <a:pt x="113" y="129"/>
                      </a:lnTo>
                      <a:lnTo>
                        <a:pt x="114" y="126"/>
                      </a:lnTo>
                      <a:lnTo>
                        <a:pt x="114" y="121"/>
                      </a:lnTo>
                      <a:lnTo>
                        <a:pt x="118" y="119"/>
                      </a:lnTo>
                      <a:lnTo>
                        <a:pt x="119" y="122"/>
                      </a:lnTo>
                      <a:lnTo>
                        <a:pt x="126" y="124"/>
                      </a:lnTo>
                      <a:lnTo>
                        <a:pt x="127" y="127"/>
                      </a:lnTo>
                      <a:lnTo>
                        <a:pt x="129" y="127"/>
                      </a:lnTo>
                      <a:lnTo>
                        <a:pt x="134" y="124"/>
                      </a:lnTo>
                      <a:lnTo>
                        <a:pt x="134" y="119"/>
                      </a:lnTo>
                      <a:lnTo>
                        <a:pt x="137" y="117"/>
                      </a:lnTo>
                      <a:lnTo>
                        <a:pt x="137" y="116"/>
                      </a:lnTo>
                      <a:lnTo>
                        <a:pt x="140" y="114"/>
                      </a:lnTo>
                      <a:lnTo>
                        <a:pt x="142" y="117"/>
                      </a:lnTo>
                      <a:lnTo>
                        <a:pt x="144" y="114"/>
                      </a:lnTo>
                      <a:lnTo>
                        <a:pt x="147" y="114"/>
                      </a:lnTo>
                      <a:lnTo>
                        <a:pt x="152" y="117"/>
                      </a:lnTo>
                      <a:lnTo>
                        <a:pt x="152" y="119"/>
                      </a:lnTo>
                      <a:lnTo>
                        <a:pt x="157" y="119"/>
                      </a:lnTo>
                      <a:lnTo>
                        <a:pt x="157" y="116"/>
                      </a:lnTo>
                      <a:lnTo>
                        <a:pt x="158" y="114"/>
                      </a:lnTo>
                      <a:lnTo>
                        <a:pt x="162" y="114"/>
                      </a:lnTo>
                      <a:lnTo>
                        <a:pt x="163" y="113"/>
                      </a:lnTo>
                      <a:lnTo>
                        <a:pt x="168" y="114"/>
                      </a:lnTo>
                      <a:lnTo>
                        <a:pt x="170" y="116"/>
                      </a:lnTo>
                      <a:lnTo>
                        <a:pt x="168" y="117"/>
                      </a:lnTo>
                      <a:lnTo>
                        <a:pt x="167" y="119"/>
                      </a:lnTo>
                      <a:lnTo>
                        <a:pt x="170" y="122"/>
                      </a:lnTo>
                      <a:lnTo>
                        <a:pt x="171" y="124"/>
                      </a:lnTo>
                      <a:lnTo>
                        <a:pt x="173" y="122"/>
                      </a:lnTo>
                      <a:lnTo>
                        <a:pt x="176" y="124"/>
                      </a:lnTo>
                      <a:lnTo>
                        <a:pt x="181" y="124"/>
                      </a:lnTo>
                      <a:lnTo>
                        <a:pt x="186" y="127"/>
                      </a:lnTo>
                      <a:lnTo>
                        <a:pt x="189" y="127"/>
                      </a:lnTo>
                      <a:lnTo>
                        <a:pt x="191" y="122"/>
                      </a:lnTo>
                      <a:lnTo>
                        <a:pt x="191" y="121"/>
                      </a:lnTo>
                      <a:lnTo>
                        <a:pt x="193" y="119"/>
                      </a:lnTo>
                      <a:lnTo>
                        <a:pt x="198" y="121"/>
                      </a:lnTo>
                      <a:lnTo>
                        <a:pt x="203" y="122"/>
                      </a:lnTo>
                      <a:lnTo>
                        <a:pt x="207" y="121"/>
                      </a:lnTo>
                      <a:lnTo>
                        <a:pt x="209" y="117"/>
                      </a:lnTo>
                      <a:lnTo>
                        <a:pt x="209" y="104"/>
                      </a:lnTo>
                      <a:lnTo>
                        <a:pt x="207" y="103"/>
                      </a:lnTo>
                      <a:lnTo>
                        <a:pt x="203" y="103"/>
                      </a:lnTo>
                      <a:lnTo>
                        <a:pt x="199" y="101"/>
                      </a:lnTo>
                      <a:lnTo>
                        <a:pt x="199" y="99"/>
                      </a:lnTo>
                      <a:lnTo>
                        <a:pt x="196" y="98"/>
                      </a:lnTo>
                      <a:lnTo>
                        <a:pt x="193" y="96"/>
                      </a:lnTo>
                      <a:lnTo>
                        <a:pt x="189" y="96"/>
                      </a:lnTo>
                      <a:lnTo>
                        <a:pt x="189" y="95"/>
                      </a:lnTo>
                      <a:lnTo>
                        <a:pt x="188" y="93"/>
                      </a:lnTo>
                      <a:lnTo>
                        <a:pt x="188" y="91"/>
                      </a:lnTo>
                      <a:lnTo>
                        <a:pt x="191" y="90"/>
                      </a:lnTo>
                      <a:lnTo>
                        <a:pt x="193" y="86"/>
                      </a:lnTo>
                      <a:lnTo>
                        <a:pt x="194" y="83"/>
                      </a:lnTo>
                      <a:lnTo>
                        <a:pt x="194" y="80"/>
                      </a:lnTo>
                      <a:lnTo>
                        <a:pt x="191" y="80"/>
                      </a:lnTo>
                      <a:lnTo>
                        <a:pt x="191" y="77"/>
                      </a:lnTo>
                      <a:lnTo>
                        <a:pt x="194" y="72"/>
                      </a:lnTo>
                      <a:lnTo>
                        <a:pt x="198" y="68"/>
                      </a:lnTo>
                      <a:lnTo>
                        <a:pt x="204" y="67"/>
                      </a:lnTo>
                      <a:lnTo>
                        <a:pt x="207" y="68"/>
                      </a:lnTo>
                      <a:lnTo>
                        <a:pt x="209" y="67"/>
                      </a:lnTo>
                      <a:lnTo>
                        <a:pt x="209" y="64"/>
                      </a:lnTo>
                      <a:lnTo>
                        <a:pt x="206" y="62"/>
                      </a:lnTo>
                      <a:lnTo>
                        <a:pt x="204" y="60"/>
                      </a:lnTo>
                      <a:lnTo>
                        <a:pt x="201" y="60"/>
                      </a:lnTo>
                      <a:lnTo>
                        <a:pt x="199" y="62"/>
                      </a:lnTo>
                      <a:lnTo>
                        <a:pt x="196" y="60"/>
                      </a:lnTo>
                      <a:lnTo>
                        <a:pt x="193" y="60"/>
                      </a:lnTo>
                      <a:lnTo>
                        <a:pt x="191" y="59"/>
                      </a:lnTo>
                      <a:lnTo>
                        <a:pt x="193" y="57"/>
                      </a:lnTo>
                      <a:lnTo>
                        <a:pt x="198" y="57"/>
                      </a:lnTo>
                      <a:lnTo>
                        <a:pt x="196" y="54"/>
                      </a:lnTo>
                      <a:lnTo>
                        <a:pt x="193" y="54"/>
                      </a:lnTo>
                      <a:lnTo>
                        <a:pt x="189" y="52"/>
                      </a:lnTo>
                      <a:lnTo>
                        <a:pt x="191" y="50"/>
                      </a:lnTo>
                      <a:lnTo>
                        <a:pt x="189" y="47"/>
                      </a:lnTo>
                      <a:lnTo>
                        <a:pt x="189" y="46"/>
                      </a:lnTo>
                      <a:lnTo>
                        <a:pt x="194" y="46"/>
                      </a:lnTo>
                      <a:lnTo>
                        <a:pt x="196" y="44"/>
                      </a:lnTo>
                      <a:lnTo>
                        <a:pt x="198" y="44"/>
                      </a:lnTo>
                      <a:lnTo>
                        <a:pt x="199" y="46"/>
                      </a:lnTo>
                      <a:lnTo>
                        <a:pt x="203" y="46"/>
                      </a:lnTo>
                      <a:lnTo>
                        <a:pt x="206" y="47"/>
                      </a:lnTo>
                      <a:lnTo>
                        <a:pt x="206" y="46"/>
                      </a:lnTo>
                      <a:lnTo>
                        <a:pt x="206" y="44"/>
                      </a:lnTo>
                      <a:lnTo>
                        <a:pt x="209" y="42"/>
                      </a:lnTo>
                      <a:lnTo>
                        <a:pt x="212" y="42"/>
                      </a:lnTo>
                      <a:lnTo>
                        <a:pt x="214" y="46"/>
                      </a:lnTo>
                      <a:lnTo>
                        <a:pt x="216" y="44"/>
                      </a:lnTo>
                      <a:lnTo>
                        <a:pt x="216" y="41"/>
                      </a:lnTo>
                      <a:lnTo>
                        <a:pt x="220" y="39"/>
                      </a:lnTo>
                      <a:lnTo>
                        <a:pt x="225" y="39"/>
                      </a:lnTo>
                      <a:lnTo>
                        <a:pt x="229" y="37"/>
                      </a:lnTo>
                      <a:lnTo>
                        <a:pt x="234" y="36"/>
                      </a:lnTo>
                      <a:lnTo>
                        <a:pt x="234" y="36"/>
                      </a:lnTo>
                      <a:lnTo>
                        <a:pt x="238" y="32"/>
                      </a:lnTo>
                      <a:lnTo>
                        <a:pt x="242" y="32"/>
                      </a:lnTo>
                      <a:lnTo>
                        <a:pt x="245" y="31"/>
                      </a:lnTo>
                      <a:lnTo>
                        <a:pt x="247" y="31"/>
                      </a:lnTo>
                      <a:lnTo>
                        <a:pt x="248" y="31"/>
                      </a:lnTo>
                      <a:lnTo>
                        <a:pt x="250" y="29"/>
                      </a:lnTo>
                      <a:lnTo>
                        <a:pt x="250" y="26"/>
                      </a:lnTo>
                      <a:lnTo>
                        <a:pt x="252" y="24"/>
                      </a:lnTo>
                      <a:lnTo>
                        <a:pt x="255" y="24"/>
                      </a:lnTo>
                      <a:lnTo>
                        <a:pt x="255" y="23"/>
                      </a:lnTo>
                      <a:lnTo>
                        <a:pt x="258" y="21"/>
                      </a:lnTo>
                      <a:lnTo>
                        <a:pt x="260" y="23"/>
                      </a:lnTo>
                      <a:lnTo>
                        <a:pt x="261" y="23"/>
                      </a:lnTo>
                      <a:lnTo>
                        <a:pt x="265" y="21"/>
                      </a:lnTo>
                      <a:lnTo>
                        <a:pt x="268" y="21"/>
                      </a:lnTo>
                      <a:lnTo>
                        <a:pt x="274" y="16"/>
                      </a:lnTo>
                      <a:lnTo>
                        <a:pt x="276" y="16"/>
                      </a:lnTo>
                      <a:lnTo>
                        <a:pt x="278" y="14"/>
                      </a:lnTo>
                      <a:lnTo>
                        <a:pt x="281" y="14"/>
                      </a:lnTo>
                      <a:lnTo>
                        <a:pt x="284" y="11"/>
                      </a:lnTo>
                      <a:lnTo>
                        <a:pt x="286" y="11"/>
                      </a:lnTo>
                      <a:lnTo>
                        <a:pt x="289" y="11"/>
                      </a:lnTo>
                      <a:lnTo>
                        <a:pt x="289" y="8"/>
                      </a:lnTo>
                      <a:lnTo>
                        <a:pt x="289" y="6"/>
                      </a:lnTo>
                      <a:lnTo>
                        <a:pt x="291" y="5"/>
                      </a:lnTo>
                      <a:lnTo>
                        <a:pt x="294" y="5"/>
                      </a:lnTo>
                      <a:lnTo>
                        <a:pt x="296" y="1"/>
                      </a:lnTo>
                      <a:lnTo>
                        <a:pt x="297" y="0"/>
                      </a:lnTo>
                      <a:lnTo>
                        <a:pt x="301" y="0"/>
                      </a:lnTo>
                      <a:lnTo>
                        <a:pt x="302" y="0"/>
                      </a:lnTo>
                      <a:lnTo>
                        <a:pt x="305" y="1"/>
                      </a:lnTo>
                      <a:lnTo>
                        <a:pt x="310" y="0"/>
                      </a:lnTo>
                      <a:lnTo>
                        <a:pt x="314" y="3"/>
                      </a:lnTo>
                      <a:lnTo>
                        <a:pt x="318" y="3"/>
                      </a:lnTo>
                      <a:lnTo>
                        <a:pt x="322" y="1"/>
                      </a:lnTo>
                      <a:lnTo>
                        <a:pt x="325" y="1"/>
                      </a:lnTo>
                      <a:lnTo>
                        <a:pt x="327" y="6"/>
                      </a:lnTo>
                      <a:lnTo>
                        <a:pt x="327" y="6"/>
                      </a:lnTo>
                      <a:lnTo>
                        <a:pt x="328" y="10"/>
                      </a:lnTo>
                      <a:lnTo>
                        <a:pt x="330" y="13"/>
                      </a:lnTo>
                      <a:lnTo>
                        <a:pt x="333" y="14"/>
                      </a:lnTo>
                      <a:lnTo>
                        <a:pt x="333" y="16"/>
                      </a:lnTo>
                      <a:lnTo>
                        <a:pt x="332" y="19"/>
                      </a:lnTo>
                      <a:lnTo>
                        <a:pt x="333" y="23"/>
                      </a:lnTo>
                      <a:lnTo>
                        <a:pt x="333" y="23"/>
                      </a:lnTo>
                      <a:lnTo>
                        <a:pt x="330" y="24"/>
                      </a:lnTo>
                      <a:lnTo>
                        <a:pt x="332" y="28"/>
                      </a:lnTo>
                      <a:lnTo>
                        <a:pt x="333" y="28"/>
                      </a:lnTo>
                      <a:lnTo>
                        <a:pt x="336" y="26"/>
                      </a:lnTo>
                      <a:lnTo>
                        <a:pt x="340" y="28"/>
                      </a:lnTo>
                      <a:lnTo>
                        <a:pt x="341" y="28"/>
                      </a:lnTo>
                      <a:lnTo>
                        <a:pt x="341" y="24"/>
                      </a:lnTo>
                      <a:lnTo>
                        <a:pt x="345" y="24"/>
                      </a:lnTo>
                      <a:lnTo>
                        <a:pt x="345" y="28"/>
                      </a:lnTo>
                      <a:lnTo>
                        <a:pt x="346" y="28"/>
                      </a:lnTo>
                      <a:lnTo>
                        <a:pt x="348" y="24"/>
                      </a:lnTo>
                      <a:lnTo>
                        <a:pt x="346" y="21"/>
                      </a:lnTo>
                      <a:lnTo>
                        <a:pt x="348" y="21"/>
                      </a:lnTo>
                      <a:lnTo>
                        <a:pt x="353" y="24"/>
                      </a:lnTo>
                      <a:lnTo>
                        <a:pt x="353" y="29"/>
                      </a:lnTo>
                      <a:lnTo>
                        <a:pt x="356" y="34"/>
                      </a:lnTo>
                      <a:lnTo>
                        <a:pt x="358" y="34"/>
                      </a:lnTo>
                      <a:lnTo>
                        <a:pt x="359" y="31"/>
                      </a:lnTo>
                      <a:lnTo>
                        <a:pt x="358" y="31"/>
                      </a:lnTo>
                      <a:lnTo>
                        <a:pt x="356" y="28"/>
                      </a:lnTo>
                      <a:lnTo>
                        <a:pt x="361" y="28"/>
                      </a:lnTo>
                      <a:lnTo>
                        <a:pt x="366" y="31"/>
                      </a:lnTo>
                      <a:lnTo>
                        <a:pt x="367" y="31"/>
                      </a:lnTo>
                      <a:lnTo>
                        <a:pt x="371" y="29"/>
                      </a:lnTo>
                      <a:lnTo>
                        <a:pt x="372" y="29"/>
                      </a:lnTo>
                      <a:lnTo>
                        <a:pt x="371" y="32"/>
                      </a:lnTo>
                      <a:lnTo>
                        <a:pt x="369" y="34"/>
                      </a:lnTo>
                      <a:lnTo>
                        <a:pt x="369" y="39"/>
                      </a:lnTo>
                      <a:lnTo>
                        <a:pt x="371" y="41"/>
                      </a:lnTo>
                      <a:lnTo>
                        <a:pt x="374" y="41"/>
                      </a:lnTo>
                      <a:lnTo>
                        <a:pt x="376" y="39"/>
                      </a:lnTo>
                      <a:lnTo>
                        <a:pt x="379" y="37"/>
                      </a:lnTo>
                      <a:lnTo>
                        <a:pt x="385" y="39"/>
                      </a:lnTo>
                      <a:lnTo>
                        <a:pt x="387" y="41"/>
                      </a:lnTo>
                      <a:lnTo>
                        <a:pt x="389" y="39"/>
                      </a:lnTo>
                      <a:lnTo>
                        <a:pt x="389" y="36"/>
                      </a:lnTo>
                      <a:lnTo>
                        <a:pt x="390" y="34"/>
                      </a:lnTo>
                      <a:lnTo>
                        <a:pt x="395" y="34"/>
                      </a:lnTo>
                      <a:lnTo>
                        <a:pt x="399" y="32"/>
                      </a:lnTo>
                      <a:lnTo>
                        <a:pt x="400" y="29"/>
                      </a:lnTo>
                      <a:lnTo>
                        <a:pt x="402" y="28"/>
                      </a:lnTo>
                      <a:lnTo>
                        <a:pt x="402" y="24"/>
                      </a:lnTo>
                      <a:lnTo>
                        <a:pt x="407" y="21"/>
                      </a:lnTo>
                      <a:lnTo>
                        <a:pt x="408" y="19"/>
                      </a:lnTo>
                      <a:lnTo>
                        <a:pt x="412" y="18"/>
                      </a:lnTo>
                      <a:lnTo>
                        <a:pt x="415" y="16"/>
                      </a:lnTo>
                      <a:lnTo>
                        <a:pt x="418" y="14"/>
                      </a:lnTo>
                      <a:lnTo>
                        <a:pt x="420" y="16"/>
                      </a:lnTo>
                      <a:lnTo>
                        <a:pt x="420" y="19"/>
                      </a:lnTo>
                      <a:lnTo>
                        <a:pt x="418" y="23"/>
                      </a:lnTo>
                      <a:lnTo>
                        <a:pt x="415" y="23"/>
                      </a:lnTo>
                      <a:lnTo>
                        <a:pt x="416" y="26"/>
                      </a:lnTo>
                      <a:lnTo>
                        <a:pt x="444" y="47"/>
                      </a:lnTo>
                      <a:lnTo>
                        <a:pt x="483" y="96"/>
                      </a:lnTo>
                      <a:lnTo>
                        <a:pt x="487" y="96"/>
                      </a:lnTo>
                      <a:lnTo>
                        <a:pt x="490" y="95"/>
                      </a:lnTo>
                      <a:lnTo>
                        <a:pt x="490" y="93"/>
                      </a:lnTo>
                      <a:lnTo>
                        <a:pt x="490" y="91"/>
                      </a:lnTo>
                      <a:lnTo>
                        <a:pt x="490" y="88"/>
                      </a:lnTo>
                      <a:lnTo>
                        <a:pt x="492" y="86"/>
                      </a:lnTo>
                      <a:lnTo>
                        <a:pt x="496" y="90"/>
                      </a:lnTo>
                      <a:lnTo>
                        <a:pt x="496" y="91"/>
                      </a:lnTo>
                      <a:lnTo>
                        <a:pt x="496" y="93"/>
                      </a:lnTo>
                      <a:lnTo>
                        <a:pt x="500" y="95"/>
                      </a:lnTo>
                      <a:lnTo>
                        <a:pt x="503" y="98"/>
                      </a:lnTo>
                      <a:lnTo>
                        <a:pt x="505" y="98"/>
                      </a:lnTo>
                      <a:lnTo>
                        <a:pt x="508" y="96"/>
                      </a:lnTo>
                      <a:lnTo>
                        <a:pt x="510" y="95"/>
                      </a:lnTo>
                      <a:lnTo>
                        <a:pt x="514" y="98"/>
                      </a:lnTo>
                      <a:lnTo>
                        <a:pt x="518" y="96"/>
                      </a:lnTo>
                      <a:lnTo>
                        <a:pt x="519" y="96"/>
                      </a:lnTo>
                      <a:lnTo>
                        <a:pt x="523" y="95"/>
                      </a:lnTo>
                      <a:lnTo>
                        <a:pt x="524" y="95"/>
                      </a:lnTo>
                      <a:lnTo>
                        <a:pt x="523" y="91"/>
                      </a:lnTo>
                      <a:lnTo>
                        <a:pt x="524" y="90"/>
                      </a:lnTo>
                      <a:lnTo>
                        <a:pt x="529" y="90"/>
                      </a:lnTo>
                      <a:lnTo>
                        <a:pt x="534" y="90"/>
                      </a:lnTo>
                      <a:lnTo>
                        <a:pt x="539" y="91"/>
                      </a:lnTo>
                      <a:lnTo>
                        <a:pt x="544" y="95"/>
                      </a:lnTo>
                      <a:lnTo>
                        <a:pt x="547" y="99"/>
                      </a:lnTo>
                      <a:lnTo>
                        <a:pt x="549" y="103"/>
                      </a:lnTo>
                      <a:lnTo>
                        <a:pt x="550" y="103"/>
                      </a:lnTo>
                      <a:lnTo>
                        <a:pt x="554" y="104"/>
                      </a:lnTo>
                      <a:lnTo>
                        <a:pt x="557" y="106"/>
                      </a:lnTo>
                      <a:lnTo>
                        <a:pt x="559" y="106"/>
                      </a:lnTo>
                      <a:lnTo>
                        <a:pt x="560" y="108"/>
                      </a:lnTo>
                      <a:lnTo>
                        <a:pt x="560" y="109"/>
                      </a:lnTo>
                      <a:lnTo>
                        <a:pt x="560" y="111"/>
                      </a:lnTo>
                      <a:lnTo>
                        <a:pt x="560" y="114"/>
                      </a:lnTo>
                      <a:lnTo>
                        <a:pt x="560" y="116"/>
                      </a:lnTo>
                      <a:lnTo>
                        <a:pt x="562" y="117"/>
                      </a:lnTo>
                      <a:lnTo>
                        <a:pt x="563" y="117"/>
                      </a:lnTo>
                      <a:lnTo>
                        <a:pt x="565" y="117"/>
                      </a:lnTo>
                      <a:lnTo>
                        <a:pt x="567" y="119"/>
                      </a:lnTo>
                      <a:lnTo>
                        <a:pt x="570" y="121"/>
                      </a:lnTo>
                      <a:lnTo>
                        <a:pt x="570" y="119"/>
                      </a:lnTo>
                      <a:lnTo>
                        <a:pt x="573" y="117"/>
                      </a:lnTo>
                      <a:lnTo>
                        <a:pt x="581" y="117"/>
                      </a:lnTo>
                      <a:lnTo>
                        <a:pt x="585" y="116"/>
                      </a:lnTo>
                      <a:lnTo>
                        <a:pt x="586" y="113"/>
                      </a:lnTo>
                      <a:lnTo>
                        <a:pt x="588" y="111"/>
                      </a:lnTo>
                      <a:lnTo>
                        <a:pt x="591" y="113"/>
                      </a:lnTo>
                      <a:lnTo>
                        <a:pt x="590" y="116"/>
                      </a:lnTo>
                      <a:lnTo>
                        <a:pt x="590" y="119"/>
                      </a:lnTo>
                      <a:lnTo>
                        <a:pt x="593" y="119"/>
                      </a:lnTo>
                      <a:lnTo>
                        <a:pt x="596" y="122"/>
                      </a:lnTo>
                      <a:lnTo>
                        <a:pt x="601" y="124"/>
                      </a:lnTo>
                      <a:lnTo>
                        <a:pt x="601" y="126"/>
                      </a:lnTo>
                      <a:lnTo>
                        <a:pt x="599" y="129"/>
                      </a:lnTo>
                      <a:lnTo>
                        <a:pt x="596" y="131"/>
                      </a:lnTo>
                      <a:lnTo>
                        <a:pt x="593" y="135"/>
                      </a:lnTo>
                      <a:lnTo>
                        <a:pt x="591" y="137"/>
                      </a:lnTo>
                      <a:lnTo>
                        <a:pt x="593" y="139"/>
                      </a:lnTo>
                      <a:lnTo>
                        <a:pt x="591" y="142"/>
                      </a:lnTo>
                      <a:lnTo>
                        <a:pt x="586" y="144"/>
                      </a:lnTo>
                      <a:lnTo>
                        <a:pt x="583" y="147"/>
                      </a:lnTo>
                      <a:lnTo>
                        <a:pt x="583" y="150"/>
                      </a:lnTo>
                      <a:lnTo>
                        <a:pt x="583" y="157"/>
                      </a:lnTo>
                      <a:lnTo>
                        <a:pt x="586" y="163"/>
                      </a:lnTo>
                      <a:lnTo>
                        <a:pt x="590" y="168"/>
                      </a:lnTo>
                      <a:lnTo>
                        <a:pt x="588" y="170"/>
                      </a:lnTo>
                      <a:lnTo>
                        <a:pt x="585" y="175"/>
                      </a:lnTo>
                      <a:lnTo>
                        <a:pt x="581" y="176"/>
                      </a:lnTo>
                      <a:lnTo>
                        <a:pt x="578" y="180"/>
                      </a:lnTo>
                      <a:lnTo>
                        <a:pt x="577" y="180"/>
                      </a:lnTo>
                      <a:lnTo>
                        <a:pt x="575" y="180"/>
                      </a:lnTo>
                      <a:lnTo>
                        <a:pt x="573" y="178"/>
                      </a:lnTo>
                      <a:lnTo>
                        <a:pt x="572" y="178"/>
                      </a:lnTo>
                      <a:lnTo>
                        <a:pt x="565" y="178"/>
                      </a:lnTo>
                      <a:lnTo>
                        <a:pt x="560" y="178"/>
                      </a:lnTo>
                      <a:lnTo>
                        <a:pt x="555" y="176"/>
                      </a:lnTo>
                      <a:lnTo>
                        <a:pt x="550" y="176"/>
                      </a:lnTo>
                      <a:lnTo>
                        <a:pt x="549" y="176"/>
                      </a:lnTo>
                      <a:lnTo>
                        <a:pt x="547" y="183"/>
                      </a:lnTo>
                      <a:lnTo>
                        <a:pt x="547" y="188"/>
                      </a:lnTo>
                      <a:lnTo>
                        <a:pt x="545" y="191"/>
                      </a:lnTo>
                      <a:lnTo>
                        <a:pt x="545" y="201"/>
                      </a:lnTo>
                      <a:lnTo>
                        <a:pt x="545" y="207"/>
                      </a:lnTo>
                      <a:lnTo>
                        <a:pt x="544" y="211"/>
                      </a:lnTo>
                      <a:lnTo>
                        <a:pt x="545" y="212"/>
                      </a:lnTo>
                      <a:lnTo>
                        <a:pt x="549" y="214"/>
                      </a:lnTo>
                      <a:lnTo>
                        <a:pt x="549" y="217"/>
                      </a:lnTo>
                      <a:lnTo>
                        <a:pt x="547" y="219"/>
                      </a:lnTo>
                      <a:lnTo>
                        <a:pt x="545" y="219"/>
                      </a:lnTo>
                      <a:lnTo>
                        <a:pt x="544" y="220"/>
                      </a:lnTo>
                      <a:lnTo>
                        <a:pt x="541" y="220"/>
                      </a:lnTo>
                      <a:lnTo>
                        <a:pt x="539" y="219"/>
                      </a:lnTo>
                      <a:lnTo>
                        <a:pt x="537" y="220"/>
                      </a:lnTo>
                      <a:lnTo>
                        <a:pt x="534" y="220"/>
                      </a:lnTo>
                      <a:lnTo>
                        <a:pt x="526" y="222"/>
                      </a:lnTo>
                      <a:lnTo>
                        <a:pt x="521" y="224"/>
                      </a:lnTo>
                      <a:lnTo>
                        <a:pt x="519" y="224"/>
                      </a:lnTo>
                      <a:lnTo>
                        <a:pt x="518" y="224"/>
                      </a:lnTo>
                      <a:lnTo>
                        <a:pt x="514" y="224"/>
                      </a:lnTo>
                      <a:lnTo>
                        <a:pt x="513" y="227"/>
                      </a:lnTo>
                      <a:lnTo>
                        <a:pt x="513" y="229"/>
                      </a:lnTo>
                      <a:lnTo>
                        <a:pt x="514" y="232"/>
                      </a:lnTo>
                      <a:lnTo>
                        <a:pt x="519" y="230"/>
                      </a:lnTo>
                      <a:lnTo>
                        <a:pt x="523" y="232"/>
                      </a:lnTo>
                      <a:lnTo>
                        <a:pt x="523" y="233"/>
                      </a:lnTo>
                      <a:lnTo>
                        <a:pt x="521" y="235"/>
                      </a:lnTo>
                      <a:lnTo>
                        <a:pt x="523" y="240"/>
                      </a:lnTo>
                      <a:lnTo>
                        <a:pt x="523" y="243"/>
                      </a:lnTo>
                      <a:lnTo>
                        <a:pt x="524" y="245"/>
                      </a:lnTo>
                      <a:lnTo>
                        <a:pt x="524" y="248"/>
                      </a:lnTo>
                      <a:lnTo>
                        <a:pt x="528" y="253"/>
                      </a:lnTo>
                      <a:lnTo>
                        <a:pt x="528" y="256"/>
                      </a:lnTo>
                      <a:lnTo>
                        <a:pt x="531" y="258"/>
                      </a:lnTo>
                      <a:lnTo>
                        <a:pt x="532" y="264"/>
                      </a:lnTo>
                      <a:lnTo>
                        <a:pt x="531" y="266"/>
                      </a:lnTo>
                      <a:lnTo>
                        <a:pt x="529" y="269"/>
                      </a:lnTo>
                      <a:lnTo>
                        <a:pt x="532" y="273"/>
                      </a:lnTo>
                      <a:lnTo>
                        <a:pt x="531" y="273"/>
                      </a:lnTo>
                      <a:lnTo>
                        <a:pt x="531" y="276"/>
                      </a:lnTo>
                      <a:lnTo>
                        <a:pt x="528" y="278"/>
                      </a:lnTo>
                      <a:lnTo>
                        <a:pt x="528" y="281"/>
                      </a:lnTo>
                      <a:lnTo>
                        <a:pt x="524" y="282"/>
                      </a:lnTo>
                      <a:lnTo>
                        <a:pt x="518" y="281"/>
                      </a:lnTo>
                      <a:lnTo>
                        <a:pt x="511" y="273"/>
                      </a:lnTo>
                      <a:lnTo>
                        <a:pt x="508" y="274"/>
                      </a:lnTo>
                      <a:lnTo>
                        <a:pt x="501" y="271"/>
                      </a:lnTo>
                      <a:lnTo>
                        <a:pt x="492" y="271"/>
                      </a:lnTo>
                      <a:lnTo>
                        <a:pt x="487" y="273"/>
                      </a:lnTo>
                      <a:lnTo>
                        <a:pt x="479" y="271"/>
                      </a:lnTo>
                      <a:lnTo>
                        <a:pt x="470" y="273"/>
                      </a:lnTo>
                      <a:lnTo>
                        <a:pt x="467" y="273"/>
                      </a:lnTo>
                      <a:lnTo>
                        <a:pt x="464" y="271"/>
                      </a:lnTo>
                      <a:lnTo>
                        <a:pt x="461" y="274"/>
                      </a:lnTo>
                      <a:lnTo>
                        <a:pt x="457" y="276"/>
                      </a:lnTo>
                      <a:lnTo>
                        <a:pt x="449" y="274"/>
                      </a:lnTo>
                      <a:lnTo>
                        <a:pt x="443" y="273"/>
                      </a:lnTo>
                      <a:lnTo>
                        <a:pt x="439" y="271"/>
                      </a:lnTo>
                      <a:lnTo>
                        <a:pt x="434" y="271"/>
                      </a:lnTo>
                      <a:lnTo>
                        <a:pt x="433" y="271"/>
                      </a:lnTo>
                      <a:lnTo>
                        <a:pt x="430" y="271"/>
                      </a:lnTo>
                      <a:lnTo>
                        <a:pt x="426" y="271"/>
                      </a:lnTo>
                      <a:lnTo>
                        <a:pt x="425" y="271"/>
                      </a:lnTo>
                      <a:lnTo>
                        <a:pt x="425" y="276"/>
                      </a:lnTo>
                      <a:lnTo>
                        <a:pt x="426" y="279"/>
                      </a:lnTo>
                      <a:lnTo>
                        <a:pt x="426" y="282"/>
                      </a:lnTo>
                      <a:lnTo>
                        <a:pt x="421" y="284"/>
                      </a:lnTo>
                      <a:lnTo>
                        <a:pt x="412" y="284"/>
                      </a:lnTo>
                      <a:lnTo>
                        <a:pt x="399" y="282"/>
                      </a:lnTo>
                      <a:lnTo>
                        <a:pt x="397" y="281"/>
                      </a:lnTo>
                      <a:lnTo>
                        <a:pt x="392" y="281"/>
                      </a:lnTo>
                      <a:lnTo>
                        <a:pt x="389" y="284"/>
                      </a:lnTo>
                      <a:lnTo>
                        <a:pt x="389" y="286"/>
                      </a:lnTo>
                      <a:lnTo>
                        <a:pt x="385" y="289"/>
                      </a:lnTo>
                      <a:lnTo>
                        <a:pt x="385" y="289"/>
                      </a:lnTo>
                      <a:lnTo>
                        <a:pt x="384" y="289"/>
                      </a:lnTo>
                      <a:lnTo>
                        <a:pt x="381" y="294"/>
                      </a:lnTo>
                      <a:lnTo>
                        <a:pt x="379" y="296"/>
                      </a:lnTo>
                      <a:lnTo>
                        <a:pt x="372" y="302"/>
                      </a:lnTo>
                      <a:lnTo>
                        <a:pt x="371" y="307"/>
                      </a:lnTo>
                      <a:lnTo>
                        <a:pt x="369" y="309"/>
                      </a:lnTo>
                      <a:lnTo>
                        <a:pt x="366" y="315"/>
                      </a:lnTo>
                      <a:lnTo>
                        <a:pt x="359" y="322"/>
                      </a:lnTo>
                      <a:lnTo>
                        <a:pt x="358" y="320"/>
                      </a:lnTo>
                      <a:lnTo>
                        <a:pt x="350" y="317"/>
                      </a:lnTo>
                      <a:lnTo>
                        <a:pt x="345" y="315"/>
                      </a:lnTo>
                      <a:lnTo>
                        <a:pt x="340" y="317"/>
                      </a:lnTo>
                      <a:lnTo>
                        <a:pt x="333" y="320"/>
                      </a:lnTo>
                      <a:lnTo>
                        <a:pt x="330" y="320"/>
                      </a:lnTo>
                      <a:lnTo>
                        <a:pt x="323" y="302"/>
                      </a:lnTo>
                      <a:lnTo>
                        <a:pt x="312" y="300"/>
                      </a:lnTo>
                      <a:lnTo>
                        <a:pt x="312" y="278"/>
                      </a:lnTo>
                      <a:lnTo>
                        <a:pt x="305" y="279"/>
                      </a:lnTo>
                      <a:lnTo>
                        <a:pt x="302" y="269"/>
                      </a:lnTo>
                      <a:lnTo>
                        <a:pt x="294" y="263"/>
                      </a:lnTo>
                      <a:lnTo>
                        <a:pt x="268" y="263"/>
                      </a:lnTo>
                      <a:lnTo>
                        <a:pt x="245" y="266"/>
                      </a:lnTo>
                      <a:lnTo>
                        <a:pt x="230" y="258"/>
                      </a:lnTo>
                      <a:lnTo>
                        <a:pt x="220" y="253"/>
                      </a:lnTo>
                      <a:lnTo>
                        <a:pt x="196" y="235"/>
                      </a:lnTo>
                      <a:lnTo>
                        <a:pt x="155" y="243"/>
                      </a:lnTo>
                      <a:lnTo>
                        <a:pt x="167" y="320"/>
                      </a:lnTo>
                      <a:lnTo>
                        <a:pt x="165" y="322"/>
                      </a:lnTo>
                      <a:lnTo>
                        <a:pt x="158" y="322"/>
                      </a:lnTo>
                      <a:lnTo>
                        <a:pt x="149" y="310"/>
                      </a:lnTo>
                      <a:lnTo>
                        <a:pt x="137" y="304"/>
                      </a:lnTo>
                      <a:lnTo>
                        <a:pt x="127" y="302"/>
                      </a:lnTo>
                      <a:lnTo>
                        <a:pt x="119" y="305"/>
                      </a:lnTo>
                      <a:lnTo>
                        <a:pt x="109" y="314"/>
                      </a:lnTo>
                      <a:lnTo>
                        <a:pt x="109" y="310"/>
                      </a:lnTo>
                      <a:lnTo>
                        <a:pt x="108" y="305"/>
                      </a:lnTo>
                      <a:lnTo>
                        <a:pt x="109" y="302"/>
                      </a:lnTo>
                      <a:lnTo>
                        <a:pt x="111" y="297"/>
                      </a:lnTo>
                      <a:lnTo>
                        <a:pt x="111" y="296"/>
                      </a:lnTo>
                      <a:lnTo>
                        <a:pt x="111" y="294"/>
                      </a:lnTo>
                      <a:lnTo>
                        <a:pt x="109" y="294"/>
                      </a:lnTo>
                      <a:lnTo>
                        <a:pt x="106" y="294"/>
                      </a:lnTo>
                      <a:lnTo>
                        <a:pt x="103" y="292"/>
                      </a:lnTo>
                      <a:lnTo>
                        <a:pt x="101" y="292"/>
                      </a:lnTo>
                      <a:lnTo>
                        <a:pt x="98" y="292"/>
                      </a:lnTo>
                      <a:lnTo>
                        <a:pt x="96" y="292"/>
                      </a:lnTo>
                      <a:lnTo>
                        <a:pt x="96" y="289"/>
                      </a:lnTo>
                      <a:lnTo>
                        <a:pt x="95" y="289"/>
                      </a:lnTo>
                      <a:lnTo>
                        <a:pt x="93" y="286"/>
                      </a:lnTo>
                      <a:lnTo>
                        <a:pt x="91" y="284"/>
                      </a:lnTo>
                      <a:lnTo>
                        <a:pt x="91" y="286"/>
                      </a:lnTo>
                      <a:lnTo>
                        <a:pt x="88" y="286"/>
                      </a:lnTo>
                      <a:lnTo>
                        <a:pt x="87" y="286"/>
                      </a:lnTo>
                      <a:lnTo>
                        <a:pt x="87" y="282"/>
                      </a:lnTo>
                      <a:lnTo>
                        <a:pt x="87" y="279"/>
                      </a:lnTo>
                      <a:lnTo>
                        <a:pt x="82" y="274"/>
                      </a:lnTo>
                      <a:lnTo>
                        <a:pt x="82" y="271"/>
                      </a:lnTo>
                      <a:lnTo>
                        <a:pt x="80" y="271"/>
                      </a:lnTo>
                      <a:lnTo>
                        <a:pt x="78" y="268"/>
                      </a:lnTo>
                      <a:lnTo>
                        <a:pt x="77" y="266"/>
                      </a:lnTo>
                      <a:lnTo>
                        <a:pt x="75" y="264"/>
                      </a:lnTo>
                      <a:lnTo>
                        <a:pt x="73" y="263"/>
                      </a:lnTo>
                      <a:lnTo>
                        <a:pt x="70" y="263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70" y="258"/>
                      </a:lnTo>
                      <a:lnTo>
                        <a:pt x="72" y="258"/>
                      </a:lnTo>
                      <a:lnTo>
                        <a:pt x="77" y="258"/>
                      </a:lnTo>
                      <a:lnTo>
                        <a:pt x="78" y="258"/>
                      </a:lnTo>
                      <a:lnTo>
                        <a:pt x="80" y="258"/>
                      </a:lnTo>
                      <a:lnTo>
                        <a:pt x="82" y="260"/>
                      </a:lnTo>
                      <a:lnTo>
                        <a:pt x="83" y="258"/>
                      </a:lnTo>
                      <a:lnTo>
                        <a:pt x="83" y="256"/>
                      </a:lnTo>
                      <a:lnTo>
                        <a:pt x="87" y="258"/>
                      </a:lnTo>
                      <a:lnTo>
                        <a:pt x="88" y="256"/>
                      </a:lnTo>
                      <a:lnTo>
                        <a:pt x="87" y="255"/>
                      </a:lnTo>
                      <a:lnTo>
                        <a:pt x="83" y="256"/>
                      </a:lnTo>
                      <a:lnTo>
                        <a:pt x="83" y="255"/>
                      </a:lnTo>
                      <a:lnTo>
                        <a:pt x="83" y="253"/>
                      </a:lnTo>
                      <a:lnTo>
                        <a:pt x="80" y="248"/>
                      </a:lnTo>
                      <a:lnTo>
                        <a:pt x="80" y="247"/>
                      </a:lnTo>
                      <a:lnTo>
                        <a:pt x="80" y="247"/>
                      </a:lnTo>
                      <a:lnTo>
                        <a:pt x="82" y="243"/>
                      </a:lnTo>
                      <a:lnTo>
                        <a:pt x="80" y="242"/>
                      </a:lnTo>
                      <a:lnTo>
                        <a:pt x="82" y="240"/>
                      </a:lnTo>
                      <a:lnTo>
                        <a:pt x="85" y="238"/>
                      </a:lnTo>
                      <a:lnTo>
                        <a:pt x="88" y="238"/>
                      </a:lnTo>
                      <a:lnTo>
                        <a:pt x="91" y="240"/>
                      </a:lnTo>
                      <a:lnTo>
                        <a:pt x="95" y="238"/>
                      </a:lnTo>
                      <a:lnTo>
                        <a:pt x="96" y="238"/>
                      </a:lnTo>
                      <a:lnTo>
                        <a:pt x="98" y="240"/>
                      </a:lnTo>
                      <a:lnTo>
                        <a:pt x="100" y="238"/>
                      </a:lnTo>
                      <a:lnTo>
                        <a:pt x="101" y="238"/>
                      </a:lnTo>
                      <a:lnTo>
                        <a:pt x="105" y="242"/>
                      </a:lnTo>
                      <a:lnTo>
                        <a:pt x="106" y="242"/>
                      </a:lnTo>
                      <a:lnTo>
                        <a:pt x="109" y="240"/>
                      </a:lnTo>
                      <a:lnTo>
                        <a:pt x="111" y="238"/>
                      </a:lnTo>
                      <a:lnTo>
                        <a:pt x="108" y="237"/>
                      </a:lnTo>
                      <a:lnTo>
                        <a:pt x="105" y="237"/>
                      </a:lnTo>
                      <a:lnTo>
                        <a:pt x="103" y="232"/>
                      </a:lnTo>
                      <a:lnTo>
                        <a:pt x="103" y="229"/>
                      </a:lnTo>
                      <a:lnTo>
                        <a:pt x="106" y="229"/>
                      </a:lnTo>
                      <a:lnTo>
                        <a:pt x="106" y="227"/>
                      </a:lnTo>
                      <a:lnTo>
                        <a:pt x="106" y="225"/>
                      </a:lnTo>
                      <a:lnTo>
                        <a:pt x="105" y="224"/>
                      </a:lnTo>
                      <a:lnTo>
                        <a:pt x="105" y="222"/>
                      </a:lnTo>
                      <a:lnTo>
                        <a:pt x="106" y="219"/>
                      </a:lnTo>
                      <a:lnTo>
                        <a:pt x="106" y="217"/>
                      </a:lnTo>
                      <a:lnTo>
                        <a:pt x="105" y="214"/>
                      </a:lnTo>
                      <a:lnTo>
                        <a:pt x="103" y="212"/>
                      </a:lnTo>
                      <a:lnTo>
                        <a:pt x="105" y="211"/>
                      </a:lnTo>
                      <a:lnTo>
                        <a:pt x="105" y="209"/>
                      </a:lnTo>
                      <a:lnTo>
                        <a:pt x="103" y="209"/>
                      </a:lnTo>
                      <a:lnTo>
                        <a:pt x="101" y="207"/>
                      </a:lnTo>
                      <a:lnTo>
                        <a:pt x="101" y="206"/>
                      </a:lnTo>
                      <a:lnTo>
                        <a:pt x="95" y="206"/>
                      </a:lnTo>
                      <a:lnTo>
                        <a:pt x="93" y="204"/>
                      </a:lnTo>
                      <a:lnTo>
                        <a:pt x="91" y="206"/>
                      </a:lnTo>
                      <a:lnTo>
                        <a:pt x="91" y="206"/>
                      </a:lnTo>
                      <a:lnTo>
                        <a:pt x="90" y="207"/>
                      </a:lnTo>
                      <a:lnTo>
                        <a:pt x="88" y="209"/>
                      </a:lnTo>
                      <a:lnTo>
                        <a:pt x="87" y="209"/>
                      </a:lnTo>
                      <a:lnTo>
                        <a:pt x="85" y="209"/>
                      </a:lnTo>
                      <a:lnTo>
                        <a:pt x="85" y="207"/>
                      </a:lnTo>
                      <a:lnTo>
                        <a:pt x="83" y="207"/>
                      </a:lnTo>
                      <a:lnTo>
                        <a:pt x="82" y="209"/>
                      </a:lnTo>
                      <a:lnTo>
                        <a:pt x="80" y="207"/>
                      </a:lnTo>
                      <a:lnTo>
                        <a:pt x="80" y="204"/>
                      </a:lnTo>
                      <a:lnTo>
                        <a:pt x="80" y="204"/>
                      </a:lnTo>
                      <a:lnTo>
                        <a:pt x="78" y="204"/>
                      </a:lnTo>
                      <a:lnTo>
                        <a:pt x="77" y="204"/>
                      </a:lnTo>
                      <a:lnTo>
                        <a:pt x="75" y="204"/>
                      </a:lnTo>
                      <a:lnTo>
                        <a:pt x="72" y="204"/>
                      </a:lnTo>
                      <a:lnTo>
                        <a:pt x="69" y="206"/>
                      </a:lnTo>
                      <a:lnTo>
                        <a:pt x="69" y="209"/>
                      </a:lnTo>
                      <a:lnTo>
                        <a:pt x="67" y="209"/>
                      </a:lnTo>
                      <a:lnTo>
                        <a:pt x="67" y="207"/>
                      </a:lnTo>
                      <a:lnTo>
                        <a:pt x="65" y="207"/>
                      </a:lnTo>
                      <a:lnTo>
                        <a:pt x="64" y="211"/>
                      </a:lnTo>
                      <a:lnTo>
                        <a:pt x="60" y="211"/>
                      </a:lnTo>
                      <a:lnTo>
                        <a:pt x="60" y="212"/>
                      </a:lnTo>
                      <a:lnTo>
                        <a:pt x="57" y="214"/>
                      </a:lnTo>
                      <a:lnTo>
                        <a:pt x="56" y="214"/>
                      </a:lnTo>
                      <a:lnTo>
                        <a:pt x="56" y="215"/>
                      </a:lnTo>
                      <a:lnTo>
                        <a:pt x="54" y="217"/>
                      </a:lnTo>
                      <a:lnTo>
                        <a:pt x="52" y="215"/>
                      </a:lnTo>
                      <a:lnTo>
                        <a:pt x="52" y="215"/>
                      </a:lnTo>
                      <a:lnTo>
                        <a:pt x="51" y="217"/>
                      </a:lnTo>
                      <a:lnTo>
                        <a:pt x="49" y="217"/>
                      </a:lnTo>
                      <a:lnTo>
                        <a:pt x="47" y="215"/>
                      </a:lnTo>
                      <a:lnTo>
                        <a:pt x="46" y="2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0" name="Freeform 164">
                  <a:extLst>
                    <a:ext uri="{FF2B5EF4-FFF2-40B4-BE49-F238E27FC236}">
                      <a16:creationId xmlns:a16="http://schemas.microsoft.com/office/drawing/2014/main" xmlns="" id="{DFE4C620-0BE2-4CC4-A2CF-2964709A34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7" y="1245"/>
                  <a:ext cx="255" cy="163"/>
                </a:xfrm>
                <a:custGeom>
                  <a:avLst/>
                  <a:gdLst>
                    <a:gd name="T0" fmla="*/ 203 w 255"/>
                    <a:gd name="T1" fmla="*/ 152 h 163"/>
                    <a:gd name="T2" fmla="*/ 208 w 255"/>
                    <a:gd name="T3" fmla="*/ 142 h 163"/>
                    <a:gd name="T4" fmla="*/ 203 w 255"/>
                    <a:gd name="T5" fmla="*/ 137 h 163"/>
                    <a:gd name="T6" fmla="*/ 203 w 255"/>
                    <a:gd name="T7" fmla="*/ 129 h 163"/>
                    <a:gd name="T8" fmla="*/ 198 w 255"/>
                    <a:gd name="T9" fmla="*/ 126 h 163"/>
                    <a:gd name="T10" fmla="*/ 191 w 255"/>
                    <a:gd name="T11" fmla="*/ 121 h 163"/>
                    <a:gd name="T12" fmla="*/ 195 w 255"/>
                    <a:gd name="T13" fmla="*/ 113 h 163"/>
                    <a:gd name="T14" fmla="*/ 204 w 255"/>
                    <a:gd name="T15" fmla="*/ 113 h 163"/>
                    <a:gd name="T16" fmla="*/ 211 w 255"/>
                    <a:gd name="T17" fmla="*/ 108 h 163"/>
                    <a:gd name="T18" fmla="*/ 208 w 255"/>
                    <a:gd name="T19" fmla="*/ 103 h 163"/>
                    <a:gd name="T20" fmla="*/ 221 w 255"/>
                    <a:gd name="T21" fmla="*/ 100 h 163"/>
                    <a:gd name="T22" fmla="*/ 216 w 255"/>
                    <a:gd name="T23" fmla="*/ 95 h 163"/>
                    <a:gd name="T24" fmla="*/ 219 w 255"/>
                    <a:gd name="T25" fmla="*/ 88 h 163"/>
                    <a:gd name="T26" fmla="*/ 227 w 255"/>
                    <a:gd name="T27" fmla="*/ 85 h 163"/>
                    <a:gd name="T28" fmla="*/ 235 w 255"/>
                    <a:gd name="T29" fmla="*/ 83 h 163"/>
                    <a:gd name="T30" fmla="*/ 245 w 255"/>
                    <a:gd name="T31" fmla="*/ 85 h 163"/>
                    <a:gd name="T32" fmla="*/ 255 w 255"/>
                    <a:gd name="T33" fmla="*/ 80 h 163"/>
                    <a:gd name="T34" fmla="*/ 245 w 255"/>
                    <a:gd name="T35" fmla="*/ 70 h 163"/>
                    <a:gd name="T36" fmla="*/ 244 w 255"/>
                    <a:gd name="T37" fmla="*/ 75 h 163"/>
                    <a:gd name="T38" fmla="*/ 239 w 255"/>
                    <a:gd name="T39" fmla="*/ 77 h 163"/>
                    <a:gd name="T40" fmla="*/ 227 w 255"/>
                    <a:gd name="T41" fmla="*/ 72 h 163"/>
                    <a:gd name="T42" fmla="*/ 227 w 255"/>
                    <a:gd name="T43" fmla="*/ 65 h 163"/>
                    <a:gd name="T44" fmla="*/ 232 w 255"/>
                    <a:gd name="T45" fmla="*/ 56 h 163"/>
                    <a:gd name="T46" fmla="*/ 226 w 255"/>
                    <a:gd name="T47" fmla="*/ 59 h 163"/>
                    <a:gd name="T48" fmla="*/ 217 w 255"/>
                    <a:gd name="T49" fmla="*/ 67 h 163"/>
                    <a:gd name="T50" fmla="*/ 214 w 255"/>
                    <a:gd name="T51" fmla="*/ 74 h 163"/>
                    <a:gd name="T52" fmla="*/ 204 w 255"/>
                    <a:gd name="T53" fmla="*/ 87 h 163"/>
                    <a:gd name="T54" fmla="*/ 195 w 255"/>
                    <a:gd name="T55" fmla="*/ 82 h 163"/>
                    <a:gd name="T56" fmla="*/ 185 w 255"/>
                    <a:gd name="T57" fmla="*/ 82 h 163"/>
                    <a:gd name="T58" fmla="*/ 175 w 255"/>
                    <a:gd name="T59" fmla="*/ 85 h 163"/>
                    <a:gd name="T60" fmla="*/ 157 w 255"/>
                    <a:gd name="T61" fmla="*/ 65 h 163"/>
                    <a:gd name="T62" fmla="*/ 150 w 255"/>
                    <a:gd name="T63" fmla="*/ 44 h 163"/>
                    <a:gd name="T64" fmla="*/ 139 w 255"/>
                    <a:gd name="T65" fmla="*/ 28 h 163"/>
                    <a:gd name="T66" fmla="*/ 90 w 255"/>
                    <a:gd name="T67" fmla="*/ 31 h 163"/>
                    <a:gd name="T68" fmla="*/ 65 w 255"/>
                    <a:gd name="T69" fmla="*/ 18 h 163"/>
                    <a:gd name="T70" fmla="*/ 0 w 255"/>
                    <a:gd name="T71" fmla="*/ 8 h 163"/>
                    <a:gd name="T72" fmla="*/ 20 w 255"/>
                    <a:gd name="T73" fmla="*/ 85 h 163"/>
                    <a:gd name="T74" fmla="*/ 28 w 255"/>
                    <a:gd name="T75" fmla="*/ 82 h 163"/>
                    <a:gd name="T76" fmla="*/ 23 w 255"/>
                    <a:gd name="T77" fmla="*/ 74 h 163"/>
                    <a:gd name="T78" fmla="*/ 31 w 255"/>
                    <a:gd name="T79" fmla="*/ 67 h 163"/>
                    <a:gd name="T80" fmla="*/ 38 w 255"/>
                    <a:gd name="T81" fmla="*/ 61 h 163"/>
                    <a:gd name="T82" fmla="*/ 44 w 255"/>
                    <a:gd name="T83" fmla="*/ 61 h 163"/>
                    <a:gd name="T84" fmla="*/ 49 w 255"/>
                    <a:gd name="T85" fmla="*/ 57 h 163"/>
                    <a:gd name="T86" fmla="*/ 69 w 255"/>
                    <a:gd name="T87" fmla="*/ 69 h 163"/>
                    <a:gd name="T88" fmla="*/ 82 w 255"/>
                    <a:gd name="T89" fmla="*/ 79 h 163"/>
                    <a:gd name="T90" fmla="*/ 93 w 255"/>
                    <a:gd name="T91" fmla="*/ 82 h 163"/>
                    <a:gd name="T92" fmla="*/ 103 w 255"/>
                    <a:gd name="T93" fmla="*/ 88 h 163"/>
                    <a:gd name="T94" fmla="*/ 110 w 255"/>
                    <a:gd name="T95" fmla="*/ 100 h 163"/>
                    <a:gd name="T96" fmla="*/ 114 w 255"/>
                    <a:gd name="T97" fmla="*/ 111 h 163"/>
                    <a:gd name="T98" fmla="*/ 129 w 255"/>
                    <a:gd name="T99" fmla="*/ 119 h 163"/>
                    <a:gd name="T100" fmla="*/ 152 w 255"/>
                    <a:gd name="T101" fmla="*/ 134 h 163"/>
                    <a:gd name="T102" fmla="*/ 172 w 255"/>
                    <a:gd name="T103" fmla="*/ 142 h 163"/>
                    <a:gd name="T104" fmla="*/ 175 w 255"/>
                    <a:gd name="T105" fmla="*/ 144 h 163"/>
                    <a:gd name="T106" fmla="*/ 181 w 255"/>
                    <a:gd name="T107" fmla="*/ 152 h 163"/>
                    <a:gd name="T108" fmla="*/ 186 w 255"/>
                    <a:gd name="T109" fmla="*/ 159 h 163"/>
                    <a:gd name="T110" fmla="*/ 191 w 255"/>
                    <a:gd name="T111" fmla="*/ 163 h 163"/>
                    <a:gd name="T112" fmla="*/ 196 w 255"/>
                    <a:gd name="T113" fmla="*/ 160 h 163"/>
                    <a:gd name="T114" fmla="*/ 201 w 255"/>
                    <a:gd name="T115" fmla="*/ 162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5" h="163">
                      <a:moveTo>
                        <a:pt x="201" y="162"/>
                      </a:moveTo>
                      <a:lnTo>
                        <a:pt x="203" y="152"/>
                      </a:lnTo>
                      <a:lnTo>
                        <a:pt x="206" y="144"/>
                      </a:lnTo>
                      <a:lnTo>
                        <a:pt x="208" y="142"/>
                      </a:lnTo>
                      <a:lnTo>
                        <a:pt x="206" y="137"/>
                      </a:lnTo>
                      <a:lnTo>
                        <a:pt x="203" y="137"/>
                      </a:lnTo>
                      <a:lnTo>
                        <a:pt x="201" y="132"/>
                      </a:lnTo>
                      <a:lnTo>
                        <a:pt x="203" y="129"/>
                      </a:lnTo>
                      <a:lnTo>
                        <a:pt x="203" y="126"/>
                      </a:lnTo>
                      <a:lnTo>
                        <a:pt x="198" y="126"/>
                      </a:lnTo>
                      <a:lnTo>
                        <a:pt x="195" y="128"/>
                      </a:lnTo>
                      <a:lnTo>
                        <a:pt x="191" y="121"/>
                      </a:lnTo>
                      <a:lnTo>
                        <a:pt x="191" y="116"/>
                      </a:lnTo>
                      <a:lnTo>
                        <a:pt x="195" y="113"/>
                      </a:lnTo>
                      <a:lnTo>
                        <a:pt x="201" y="114"/>
                      </a:lnTo>
                      <a:lnTo>
                        <a:pt x="204" y="113"/>
                      </a:lnTo>
                      <a:lnTo>
                        <a:pt x="204" y="110"/>
                      </a:lnTo>
                      <a:lnTo>
                        <a:pt x="211" y="108"/>
                      </a:lnTo>
                      <a:lnTo>
                        <a:pt x="209" y="105"/>
                      </a:lnTo>
                      <a:lnTo>
                        <a:pt x="208" y="103"/>
                      </a:lnTo>
                      <a:lnTo>
                        <a:pt x="214" y="101"/>
                      </a:lnTo>
                      <a:lnTo>
                        <a:pt x="221" y="100"/>
                      </a:lnTo>
                      <a:lnTo>
                        <a:pt x="221" y="96"/>
                      </a:lnTo>
                      <a:lnTo>
                        <a:pt x="216" y="95"/>
                      </a:lnTo>
                      <a:lnTo>
                        <a:pt x="216" y="90"/>
                      </a:lnTo>
                      <a:lnTo>
                        <a:pt x="219" y="88"/>
                      </a:lnTo>
                      <a:lnTo>
                        <a:pt x="224" y="85"/>
                      </a:lnTo>
                      <a:lnTo>
                        <a:pt x="227" y="85"/>
                      </a:lnTo>
                      <a:lnTo>
                        <a:pt x="232" y="80"/>
                      </a:lnTo>
                      <a:lnTo>
                        <a:pt x="235" y="83"/>
                      </a:lnTo>
                      <a:lnTo>
                        <a:pt x="237" y="87"/>
                      </a:lnTo>
                      <a:lnTo>
                        <a:pt x="245" y="85"/>
                      </a:lnTo>
                      <a:lnTo>
                        <a:pt x="250" y="85"/>
                      </a:lnTo>
                      <a:lnTo>
                        <a:pt x="255" y="80"/>
                      </a:lnTo>
                      <a:lnTo>
                        <a:pt x="253" y="77"/>
                      </a:lnTo>
                      <a:lnTo>
                        <a:pt x="245" y="70"/>
                      </a:lnTo>
                      <a:lnTo>
                        <a:pt x="244" y="70"/>
                      </a:lnTo>
                      <a:lnTo>
                        <a:pt x="244" y="75"/>
                      </a:lnTo>
                      <a:lnTo>
                        <a:pt x="240" y="79"/>
                      </a:lnTo>
                      <a:lnTo>
                        <a:pt x="239" y="77"/>
                      </a:lnTo>
                      <a:lnTo>
                        <a:pt x="235" y="74"/>
                      </a:lnTo>
                      <a:lnTo>
                        <a:pt x="227" y="72"/>
                      </a:lnTo>
                      <a:lnTo>
                        <a:pt x="226" y="70"/>
                      </a:lnTo>
                      <a:lnTo>
                        <a:pt x="227" y="65"/>
                      </a:lnTo>
                      <a:lnTo>
                        <a:pt x="232" y="59"/>
                      </a:lnTo>
                      <a:lnTo>
                        <a:pt x="232" y="56"/>
                      </a:lnTo>
                      <a:lnTo>
                        <a:pt x="229" y="54"/>
                      </a:lnTo>
                      <a:lnTo>
                        <a:pt x="226" y="59"/>
                      </a:lnTo>
                      <a:lnTo>
                        <a:pt x="224" y="61"/>
                      </a:lnTo>
                      <a:lnTo>
                        <a:pt x="217" y="67"/>
                      </a:lnTo>
                      <a:lnTo>
                        <a:pt x="216" y="72"/>
                      </a:lnTo>
                      <a:lnTo>
                        <a:pt x="214" y="74"/>
                      </a:lnTo>
                      <a:lnTo>
                        <a:pt x="211" y="80"/>
                      </a:lnTo>
                      <a:lnTo>
                        <a:pt x="204" y="87"/>
                      </a:lnTo>
                      <a:lnTo>
                        <a:pt x="203" y="85"/>
                      </a:lnTo>
                      <a:lnTo>
                        <a:pt x="195" y="82"/>
                      </a:lnTo>
                      <a:lnTo>
                        <a:pt x="190" y="80"/>
                      </a:lnTo>
                      <a:lnTo>
                        <a:pt x="185" y="82"/>
                      </a:lnTo>
                      <a:lnTo>
                        <a:pt x="178" y="85"/>
                      </a:lnTo>
                      <a:lnTo>
                        <a:pt x="175" y="85"/>
                      </a:lnTo>
                      <a:lnTo>
                        <a:pt x="168" y="67"/>
                      </a:lnTo>
                      <a:lnTo>
                        <a:pt x="157" y="65"/>
                      </a:lnTo>
                      <a:lnTo>
                        <a:pt x="157" y="43"/>
                      </a:lnTo>
                      <a:lnTo>
                        <a:pt x="150" y="44"/>
                      </a:lnTo>
                      <a:lnTo>
                        <a:pt x="147" y="34"/>
                      </a:lnTo>
                      <a:lnTo>
                        <a:pt x="139" y="28"/>
                      </a:lnTo>
                      <a:lnTo>
                        <a:pt x="113" y="28"/>
                      </a:lnTo>
                      <a:lnTo>
                        <a:pt x="90" y="31"/>
                      </a:lnTo>
                      <a:lnTo>
                        <a:pt x="75" y="23"/>
                      </a:lnTo>
                      <a:lnTo>
                        <a:pt x="65" y="18"/>
                      </a:lnTo>
                      <a:lnTo>
                        <a:pt x="41" y="0"/>
                      </a:lnTo>
                      <a:lnTo>
                        <a:pt x="0" y="8"/>
                      </a:lnTo>
                      <a:lnTo>
                        <a:pt x="12" y="85"/>
                      </a:lnTo>
                      <a:lnTo>
                        <a:pt x="20" y="85"/>
                      </a:lnTo>
                      <a:lnTo>
                        <a:pt x="26" y="87"/>
                      </a:lnTo>
                      <a:lnTo>
                        <a:pt x="28" y="82"/>
                      </a:lnTo>
                      <a:lnTo>
                        <a:pt x="25" y="80"/>
                      </a:lnTo>
                      <a:lnTo>
                        <a:pt x="23" y="74"/>
                      </a:lnTo>
                      <a:lnTo>
                        <a:pt x="28" y="67"/>
                      </a:lnTo>
                      <a:lnTo>
                        <a:pt x="31" y="67"/>
                      </a:lnTo>
                      <a:lnTo>
                        <a:pt x="34" y="62"/>
                      </a:lnTo>
                      <a:lnTo>
                        <a:pt x="38" y="61"/>
                      </a:lnTo>
                      <a:lnTo>
                        <a:pt x="43" y="62"/>
                      </a:lnTo>
                      <a:lnTo>
                        <a:pt x="44" y="61"/>
                      </a:lnTo>
                      <a:lnTo>
                        <a:pt x="41" y="57"/>
                      </a:lnTo>
                      <a:lnTo>
                        <a:pt x="49" y="57"/>
                      </a:lnTo>
                      <a:lnTo>
                        <a:pt x="59" y="64"/>
                      </a:lnTo>
                      <a:lnTo>
                        <a:pt x="69" y="69"/>
                      </a:lnTo>
                      <a:lnTo>
                        <a:pt x="69" y="72"/>
                      </a:lnTo>
                      <a:lnTo>
                        <a:pt x="82" y="79"/>
                      </a:lnTo>
                      <a:lnTo>
                        <a:pt x="90" y="83"/>
                      </a:lnTo>
                      <a:lnTo>
                        <a:pt x="93" y="82"/>
                      </a:lnTo>
                      <a:lnTo>
                        <a:pt x="97" y="83"/>
                      </a:lnTo>
                      <a:lnTo>
                        <a:pt x="103" y="88"/>
                      </a:lnTo>
                      <a:lnTo>
                        <a:pt x="106" y="98"/>
                      </a:lnTo>
                      <a:lnTo>
                        <a:pt x="110" y="100"/>
                      </a:lnTo>
                      <a:lnTo>
                        <a:pt x="110" y="105"/>
                      </a:lnTo>
                      <a:lnTo>
                        <a:pt x="114" y="111"/>
                      </a:lnTo>
                      <a:lnTo>
                        <a:pt x="119" y="113"/>
                      </a:lnTo>
                      <a:lnTo>
                        <a:pt x="129" y="119"/>
                      </a:lnTo>
                      <a:lnTo>
                        <a:pt x="141" y="128"/>
                      </a:lnTo>
                      <a:lnTo>
                        <a:pt x="152" y="134"/>
                      </a:lnTo>
                      <a:lnTo>
                        <a:pt x="163" y="141"/>
                      </a:lnTo>
                      <a:lnTo>
                        <a:pt x="172" y="142"/>
                      </a:lnTo>
                      <a:lnTo>
                        <a:pt x="173" y="144"/>
                      </a:lnTo>
                      <a:lnTo>
                        <a:pt x="175" y="144"/>
                      </a:lnTo>
                      <a:lnTo>
                        <a:pt x="181" y="149"/>
                      </a:lnTo>
                      <a:lnTo>
                        <a:pt x="181" y="152"/>
                      </a:lnTo>
                      <a:lnTo>
                        <a:pt x="181" y="160"/>
                      </a:lnTo>
                      <a:lnTo>
                        <a:pt x="186" y="159"/>
                      </a:lnTo>
                      <a:lnTo>
                        <a:pt x="190" y="160"/>
                      </a:lnTo>
                      <a:lnTo>
                        <a:pt x="191" y="163"/>
                      </a:lnTo>
                      <a:lnTo>
                        <a:pt x="195" y="163"/>
                      </a:lnTo>
                      <a:lnTo>
                        <a:pt x="196" y="160"/>
                      </a:lnTo>
                      <a:lnTo>
                        <a:pt x="199" y="160"/>
                      </a:lnTo>
                      <a:lnTo>
                        <a:pt x="201" y="16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1" name="Freeform 165">
                  <a:extLst>
                    <a:ext uri="{FF2B5EF4-FFF2-40B4-BE49-F238E27FC236}">
                      <a16:creationId xmlns:a16="http://schemas.microsoft.com/office/drawing/2014/main" xmlns="" id="{9D687D0E-54BE-4B1D-BE0D-3461A70DCD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1" y="1302"/>
                  <a:ext cx="227" cy="147"/>
                </a:xfrm>
                <a:custGeom>
                  <a:avLst/>
                  <a:gdLst>
                    <a:gd name="T0" fmla="*/ 227 w 227"/>
                    <a:gd name="T1" fmla="*/ 92 h 147"/>
                    <a:gd name="T2" fmla="*/ 218 w 227"/>
                    <a:gd name="T3" fmla="*/ 85 h 147"/>
                    <a:gd name="T4" fmla="*/ 187 w 227"/>
                    <a:gd name="T5" fmla="*/ 71 h 147"/>
                    <a:gd name="T6" fmla="*/ 160 w 227"/>
                    <a:gd name="T7" fmla="*/ 54 h 147"/>
                    <a:gd name="T8" fmla="*/ 152 w 227"/>
                    <a:gd name="T9" fmla="*/ 41 h 147"/>
                    <a:gd name="T10" fmla="*/ 139 w 227"/>
                    <a:gd name="T11" fmla="*/ 25 h 147"/>
                    <a:gd name="T12" fmla="*/ 115 w 227"/>
                    <a:gd name="T13" fmla="*/ 15 h 147"/>
                    <a:gd name="T14" fmla="*/ 95 w 227"/>
                    <a:gd name="T15" fmla="*/ 0 h 147"/>
                    <a:gd name="T16" fmla="*/ 89 w 227"/>
                    <a:gd name="T17" fmla="*/ 5 h 147"/>
                    <a:gd name="T18" fmla="*/ 77 w 227"/>
                    <a:gd name="T19" fmla="*/ 10 h 147"/>
                    <a:gd name="T20" fmla="*/ 71 w 227"/>
                    <a:gd name="T21" fmla="*/ 23 h 147"/>
                    <a:gd name="T22" fmla="*/ 66 w 227"/>
                    <a:gd name="T23" fmla="*/ 28 h 147"/>
                    <a:gd name="T24" fmla="*/ 40 w 227"/>
                    <a:gd name="T25" fmla="*/ 18 h 147"/>
                    <a:gd name="T26" fmla="*/ 10 w 227"/>
                    <a:gd name="T27" fmla="*/ 13 h 147"/>
                    <a:gd name="T28" fmla="*/ 2 w 227"/>
                    <a:gd name="T29" fmla="*/ 26 h 147"/>
                    <a:gd name="T30" fmla="*/ 7 w 227"/>
                    <a:gd name="T31" fmla="*/ 33 h 147"/>
                    <a:gd name="T32" fmla="*/ 9 w 227"/>
                    <a:gd name="T33" fmla="*/ 46 h 147"/>
                    <a:gd name="T34" fmla="*/ 12 w 227"/>
                    <a:gd name="T35" fmla="*/ 59 h 147"/>
                    <a:gd name="T36" fmla="*/ 15 w 227"/>
                    <a:gd name="T37" fmla="*/ 61 h 147"/>
                    <a:gd name="T38" fmla="*/ 23 w 227"/>
                    <a:gd name="T39" fmla="*/ 59 h 147"/>
                    <a:gd name="T40" fmla="*/ 23 w 227"/>
                    <a:gd name="T41" fmla="*/ 67 h 147"/>
                    <a:gd name="T42" fmla="*/ 27 w 227"/>
                    <a:gd name="T43" fmla="*/ 71 h 147"/>
                    <a:gd name="T44" fmla="*/ 22 w 227"/>
                    <a:gd name="T45" fmla="*/ 69 h 147"/>
                    <a:gd name="T46" fmla="*/ 20 w 227"/>
                    <a:gd name="T47" fmla="*/ 77 h 147"/>
                    <a:gd name="T48" fmla="*/ 23 w 227"/>
                    <a:gd name="T49" fmla="*/ 74 h 147"/>
                    <a:gd name="T50" fmla="*/ 31 w 227"/>
                    <a:gd name="T51" fmla="*/ 79 h 147"/>
                    <a:gd name="T52" fmla="*/ 33 w 227"/>
                    <a:gd name="T53" fmla="*/ 90 h 147"/>
                    <a:gd name="T54" fmla="*/ 36 w 227"/>
                    <a:gd name="T55" fmla="*/ 111 h 147"/>
                    <a:gd name="T56" fmla="*/ 49 w 227"/>
                    <a:gd name="T57" fmla="*/ 105 h 147"/>
                    <a:gd name="T58" fmla="*/ 61 w 227"/>
                    <a:gd name="T59" fmla="*/ 97 h 147"/>
                    <a:gd name="T60" fmla="*/ 74 w 227"/>
                    <a:gd name="T61" fmla="*/ 92 h 147"/>
                    <a:gd name="T62" fmla="*/ 84 w 227"/>
                    <a:gd name="T63" fmla="*/ 92 h 147"/>
                    <a:gd name="T64" fmla="*/ 103 w 227"/>
                    <a:gd name="T65" fmla="*/ 105 h 147"/>
                    <a:gd name="T66" fmla="*/ 115 w 227"/>
                    <a:gd name="T67" fmla="*/ 105 h 147"/>
                    <a:gd name="T68" fmla="*/ 121 w 227"/>
                    <a:gd name="T69" fmla="*/ 111 h 147"/>
                    <a:gd name="T70" fmla="*/ 136 w 227"/>
                    <a:gd name="T71" fmla="*/ 121 h 147"/>
                    <a:gd name="T72" fmla="*/ 151 w 227"/>
                    <a:gd name="T73" fmla="*/ 128 h 147"/>
                    <a:gd name="T74" fmla="*/ 151 w 227"/>
                    <a:gd name="T75" fmla="*/ 138 h 147"/>
                    <a:gd name="T76" fmla="*/ 157 w 227"/>
                    <a:gd name="T77" fmla="*/ 141 h 147"/>
                    <a:gd name="T78" fmla="*/ 164 w 227"/>
                    <a:gd name="T79" fmla="*/ 141 h 147"/>
                    <a:gd name="T80" fmla="*/ 170 w 227"/>
                    <a:gd name="T81" fmla="*/ 146 h 147"/>
                    <a:gd name="T82" fmla="*/ 178 w 227"/>
                    <a:gd name="T83" fmla="*/ 144 h 147"/>
                    <a:gd name="T84" fmla="*/ 183 w 227"/>
                    <a:gd name="T85" fmla="*/ 138 h 147"/>
                    <a:gd name="T86" fmla="*/ 193 w 227"/>
                    <a:gd name="T87" fmla="*/ 131 h 147"/>
                    <a:gd name="T88" fmla="*/ 200 w 227"/>
                    <a:gd name="T89" fmla="*/ 128 h 147"/>
                    <a:gd name="T90" fmla="*/ 205 w 227"/>
                    <a:gd name="T91" fmla="*/ 115 h 147"/>
                    <a:gd name="T92" fmla="*/ 203 w 227"/>
                    <a:gd name="T93" fmla="*/ 108 h 147"/>
                    <a:gd name="T94" fmla="*/ 209 w 227"/>
                    <a:gd name="T95" fmla="*/ 105 h 147"/>
                    <a:gd name="T96" fmla="*/ 219 w 227"/>
                    <a:gd name="T97" fmla="*/ 100 h 147"/>
                    <a:gd name="T98" fmla="*/ 227 w 227"/>
                    <a:gd name="T99" fmla="*/ 103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27" h="147">
                      <a:moveTo>
                        <a:pt x="227" y="103"/>
                      </a:moveTo>
                      <a:lnTo>
                        <a:pt x="227" y="95"/>
                      </a:lnTo>
                      <a:lnTo>
                        <a:pt x="227" y="92"/>
                      </a:lnTo>
                      <a:lnTo>
                        <a:pt x="221" y="87"/>
                      </a:lnTo>
                      <a:lnTo>
                        <a:pt x="219" y="87"/>
                      </a:lnTo>
                      <a:lnTo>
                        <a:pt x="218" y="85"/>
                      </a:lnTo>
                      <a:lnTo>
                        <a:pt x="209" y="84"/>
                      </a:lnTo>
                      <a:lnTo>
                        <a:pt x="198" y="77"/>
                      </a:lnTo>
                      <a:lnTo>
                        <a:pt x="187" y="71"/>
                      </a:lnTo>
                      <a:lnTo>
                        <a:pt x="175" y="62"/>
                      </a:lnTo>
                      <a:lnTo>
                        <a:pt x="165" y="56"/>
                      </a:lnTo>
                      <a:lnTo>
                        <a:pt x="160" y="54"/>
                      </a:lnTo>
                      <a:lnTo>
                        <a:pt x="156" y="48"/>
                      </a:lnTo>
                      <a:lnTo>
                        <a:pt x="156" y="43"/>
                      </a:lnTo>
                      <a:lnTo>
                        <a:pt x="152" y="41"/>
                      </a:lnTo>
                      <a:lnTo>
                        <a:pt x="149" y="31"/>
                      </a:lnTo>
                      <a:lnTo>
                        <a:pt x="143" y="26"/>
                      </a:lnTo>
                      <a:lnTo>
                        <a:pt x="139" y="25"/>
                      </a:lnTo>
                      <a:lnTo>
                        <a:pt x="136" y="26"/>
                      </a:lnTo>
                      <a:lnTo>
                        <a:pt x="128" y="22"/>
                      </a:lnTo>
                      <a:lnTo>
                        <a:pt x="115" y="15"/>
                      </a:lnTo>
                      <a:lnTo>
                        <a:pt x="115" y="12"/>
                      </a:lnTo>
                      <a:lnTo>
                        <a:pt x="105" y="7"/>
                      </a:lnTo>
                      <a:lnTo>
                        <a:pt x="95" y="0"/>
                      </a:lnTo>
                      <a:lnTo>
                        <a:pt x="87" y="0"/>
                      </a:lnTo>
                      <a:lnTo>
                        <a:pt x="90" y="4"/>
                      </a:lnTo>
                      <a:lnTo>
                        <a:pt x="89" y="5"/>
                      </a:lnTo>
                      <a:lnTo>
                        <a:pt x="84" y="4"/>
                      </a:lnTo>
                      <a:lnTo>
                        <a:pt x="80" y="5"/>
                      </a:lnTo>
                      <a:lnTo>
                        <a:pt x="77" y="10"/>
                      </a:lnTo>
                      <a:lnTo>
                        <a:pt x="74" y="10"/>
                      </a:lnTo>
                      <a:lnTo>
                        <a:pt x="69" y="17"/>
                      </a:lnTo>
                      <a:lnTo>
                        <a:pt x="71" y="23"/>
                      </a:lnTo>
                      <a:lnTo>
                        <a:pt x="74" y="25"/>
                      </a:lnTo>
                      <a:lnTo>
                        <a:pt x="72" y="30"/>
                      </a:lnTo>
                      <a:lnTo>
                        <a:pt x="66" y="28"/>
                      </a:lnTo>
                      <a:lnTo>
                        <a:pt x="56" y="30"/>
                      </a:lnTo>
                      <a:lnTo>
                        <a:pt x="49" y="30"/>
                      </a:lnTo>
                      <a:lnTo>
                        <a:pt x="40" y="18"/>
                      </a:lnTo>
                      <a:lnTo>
                        <a:pt x="28" y="12"/>
                      </a:lnTo>
                      <a:lnTo>
                        <a:pt x="18" y="10"/>
                      </a:lnTo>
                      <a:lnTo>
                        <a:pt x="10" y="13"/>
                      </a:lnTo>
                      <a:lnTo>
                        <a:pt x="0" y="22"/>
                      </a:lnTo>
                      <a:lnTo>
                        <a:pt x="0" y="23"/>
                      </a:lnTo>
                      <a:lnTo>
                        <a:pt x="2" y="26"/>
                      </a:lnTo>
                      <a:lnTo>
                        <a:pt x="4" y="28"/>
                      </a:lnTo>
                      <a:lnTo>
                        <a:pt x="7" y="30"/>
                      </a:lnTo>
                      <a:lnTo>
                        <a:pt x="7" y="33"/>
                      </a:lnTo>
                      <a:lnTo>
                        <a:pt x="10" y="38"/>
                      </a:lnTo>
                      <a:lnTo>
                        <a:pt x="10" y="43"/>
                      </a:lnTo>
                      <a:lnTo>
                        <a:pt x="9" y="46"/>
                      </a:lnTo>
                      <a:lnTo>
                        <a:pt x="9" y="54"/>
                      </a:lnTo>
                      <a:lnTo>
                        <a:pt x="10" y="57"/>
                      </a:lnTo>
                      <a:lnTo>
                        <a:pt x="12" y="59"/>
                      </a:lnTo>
                      <a:lnTo>
                        <a:pt x="17" y="64"/>
                      </a:lnTo>
                      <a:lnTo>
                        <a:pt x="17" y="62"/>
                      </a:lnTo>
                      <a:lnTo>
                        <a:pt x="15" y="61"/>
                      </a:lnTo>
                      <a:lnTo>
                        <a:pt x="15" y="59"/>
                      </a:lnTo>
                      <a:lnTo>
                        <a:pt x="20" y="61"/>
                      </a:lnTo>
                      <a:lnTo>
                        <a:pt x="23" y="59"/>
                      </a:lnTo>
                      <a:lnTo>
                        <a:pt x="23" y="61"/>
                      </a:lnTo>
                      <a:lnTo>
                        <a:pt x="23" y="64"/>
                      </a:lnTo>
                      <a:lnTo>
                        <a:pt x="23" y="67"/>
                      </a:lnTo>
                      <a:lnTo>
                        <a:pt x="27" y="66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69"/>
                      </a:lnTo>
                      <a:lnTo>
                        <a:pt x="23" y="69"/>
                      </a:lnTo>
                      <a:lnTo>
                        <a:pt x="22" y="69"/>
                      </a:lnTo>
                      <a:lnTo>
                        <a:pt x="18" y="71"/>
                      </a:lnTo>
                      <a:lnTo>
                        <a:pt x="18" y="74"/>
                      </a:lnTo>
                      <a:lnTo>
                        <a:pt x="20" y="77"/>
                      </a:lnTo>
                      <a:lnTo>
                        <a:pt x="20" y="72"/>
                      </a:lnTo>
                      <a:lnTo>
                        <a:pt x="22" y="72"/>
                      </a:lnTo>
                      <a:lnTo>
                        <a:pt x="23" y="74"/>
                      </a:lnTo>
                      <a:lnTo>
                        <a:pt x="25" y="74"/>
                      </a:lnTo>
                      <a:lnTo>
                        <a:pt x="27" y="77"/>
                      </a:lnTo>
                      <a:lnTo>
                        <a:pt x="31" y="79"/>
                      </a:lnTo>
                      <a:lnTo>
                        <a:pt x="33" y="82"/>
                      </a:lnTo>
                      <a:lnTo>
                        <a:pt x="31" y="87"/>
                      </a:lnTo>
                      <a:lnTo>
                        <a:pt x="33" y="90"/>
                      </a:lnTo>
                      <a:lnTo>
                        <a:pt x="33" y="98"/>
                      </a:lnTo>
                      <a:lnTo>
                        <a:pt x="35" y="103"/>
                      </a:lnTo>
                      <a:lnTo>
                        <a:pt x="36" y="111"/>
                      </a:lnTo>
                      <a:lnTo>
                        <a:pt x="40" y="110"/>
                      </a:lnTo>
                      <a:lnTo>
                        <a:pt x="48" y="110"/>
                      </a:lnTo>
                      <a:lnTo>
                        <a:pt x="49" y="105"/>
                      </a:lnTo>
                      <a:lnTo>
                        <a:pt x="51" y="102"/>
                      </a:lnTo>
                      <a:lnTo>
                        <a:pt x="54" y="102"/>
                      </a:lnTo>
                      <a:lnTo>
                        <a:pt x="61" y="97"/>
                      </a:lnTo>
                      <a:lnTo>
                        <a:pt x="67" y="95"/>
                      </a:lnTo>
                      <a:lnTo>
                        <a:pt x="74" y="97"/>
                      </a:lnTo>
                      <a:lnTo>
                        <a:pt x="74" y="92"/>
                      </a:lnTo>
                      <a:lnTo>
                        <a:pt x="77" y="92"/>
                      </a:lnTo>
                      <a:lnTo>
                        <a:pt x="80" y="93"/>
                      </a:lnTo>
                      <a:lnTo>
                        <a:pt x="84" y="92"/>
                      </a:lnTo>
                      <a:lnTo>
                        <a:pt x="90" y="97"/>
                      </a:lnTo>
                      <a:lnTo>
                        <a:pt x="95" y="98"/>
                      </a:lnTo>
                      <a:lnTo>
                        <a:pt x="103" y="105"/>
                      </a:lnTo>
                      <a:lnTo>
                        <a:pt x="107" y="105"/>
                      </a:lnTo>
                      <a:lnTo>
                        <a:pt x="108" y="103"/>
                      </a:lnTo>
                      <a:lnTo>
                        <a:pt x="115" y="105"/>
                      </a:lnTo>
                      <a:lnTo>
                        <a:pt x="118" y="106"/>
                      </a:lnTo>
                      <a:lnTo>
                        <a:pt x="120" y="111"/>
                      </a:lnTo>
                      <a:lnTo>
                        <a:pt x="121" y="111"/>
                      </a:lnTo>
                      <a:lnTo>
                        <a:pt x="125" y="111"/>
                      </a:lnTo>
                      <a:lnTo>
                        <a:pt x="131" y="113"/>
                      </a:lnTo>
                      <a:lnTo>
                        <a:pt x="136" y="121"/>
                      </a:lnTo>
                      <a:lnTo>
                        <a:pt x="144" y="123"/>
                      </a:lnTo>
                      <a:lnTo>
                        <a:pt x="147" y="124"/>
                      </a:lnTo>
                      <a:lnTo>
                        <a:pt x="151" y="128"/>
                      </a:lnTo>
                      <a:lnTo>
                        <a:pt x="149" y="131"/>
                      </a:lnTo>
                      <a:lnTo>
                        <a:pt x="151" y="134"/>
                      </a:lnTo>
                      <a:lnTo>
                        <a:pt x="151" y="138"/>
                      </a:lnTo>
                      <a:lnTo>
                        <a:pt x="152" y="139"/>
                      </a:lnTo>
                      <a:lnTo>
                        <a:pt x="152" y="139"/>
                      </a:lnTo>
                      <a:lnTo>
                        <a:pt x="157" y="141"/>
                      </a:lnTo>
                      <a:lnTo>
                        <a:pt x="159" y="142"/>
                      </a:lnTo>
                      <a:lnTo>
                        <a:pt x="162" y="142"/>
                      </a:lnTo>
                      <a:lnTo>
                        <a:pt x="164" y="141"/>
                      </a:lnTo>
                      <a:lnTo>
                        <a:pt x="167" y="141"/>
                      </a:lnTo>
                      <a:lnTo>
                        <a:pt x="170" y="142"/>
                      </a:lnTo>
                      <a:lnTo>
                        <a:pt x="170" y="146"/>
                      </a:lnTo>
                      <a:lnTo>
                        <a:pt x="172" y="147"/>
                      </a:lnTo>
                      <a:lnTo>
                        <a:pt x="174" y="144"/>
                      </a:lnTo>
                      <a:lnTo>
                        <a:pt x="178" y="144"/>
                      </a:lnTo>
                      <a:lnTo>
                        <a:pt x="180" y="141"/>
                      </a:lnTo>
                      <a:lnTo>
                        <a:pt x="182" y="139"/>
                      </a:lnTo>
                      <a:lnTo>
                        <a:pt x="183" y="138"/>
                      </a:lnTo>
                      <a:lnTo>
                        <a:pt x="182" y="136"/>
                      </a:lnTo>
                      <a:lnTo>
                        <a:pt x="187" y="133"/>
                      </a:lnTo>
                      <a:lnTo>
                        <a:pt x="193" y="131"/>
                      </a:lnTo>
                      <a:lnTo>
                        <a:pt x="195" y="129"/>
                      </a:lnTo>
                      <a:lnTo>
                        <a:pt x="196" y="128"/>
                      </a:lnTo>
                      <a:lnTo>
                        <a:pt x="200" y="128"/>
                      </a:lnTo>
                      <a:lnTo>
                        <a:pt x="200" y="123"/>
                      </a:lnTo>
                      <a:lnTo>
                        <a:pt x="200" y="118"/>
                      </a:lnTo>
                      <a:lnTo>
                        <a:pt x="205" y="115"/>
                      </a:lnTo>
                      <a:lnTo>
                        <a:pt x="205" y="111"/>
                      </a:lnTo>
                      <a:lnTo>
                        <a:pt x="203" y="110"/>
                      </a:lnTo>
                      <a:lnTo>
                        <a:pt x="203" y="108"/>
                      </a:lnTo>
                      <a:lnTo>
                        <a:pt x="205" y="108"/>
                      </a:lnTo>
                      <a:lnTo>
                        <a:pt x="206" y="106"/>
                      </a:lnTo>
                      <a:lnTo>
                        <a:pt x="209" y="105"/>
                      </a:lnTo>
                      <a:lnTo>
                        <a:pt x="211" y="105"/>
                      </a:lnTo>
                      <a:lnTo>
                        <a:pt x="216" y="102"/>
                      </a:lnTo>
                      <a:lnTo>
                        <a:pt x="219" y="100"/>
                      </a:lnTo>
                      <a:lnTo>
                        <a:pt x="223" y="102"/>
                      </a:lnTo>
                      <a:lnTo>
                        <a:pt x="226" y="102"/>
                      </a:lnTo>
                      <a:lnTo>
                        <a:pt x="227" y="103"/>
                      </a:lnTo>
                      <a:lnTo>
                        <a:pt x="227" y="10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2" name="Freeform 166">
                  <a:extLst>
                    <a:ext uri="{FF2B5EF4-FFF2-40B4-BE49-F238E27FC236}">
                      <a16:creationId xmlns:a16="http://schemas.microsoft.com/office/drawing/2014/main" xmlns="" id="{859DA658-9E6C-4C5F-8287-93A5E53666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60" y="2346"/>
                  <a:ext cx="47" cy="41"/>
                </a:xfrm>
                <a:custGeom>
                  <a:avLst/>
                  <a:gdLst>
                    <a:gd name="T0" fmla="*/ 21 w 47"/>
                    <a:gd name="T1" fmla="*/ 13 h 41"/>
                    <a:gd name="T2" fmla="*/ 23 w 47"/>
                    <a:gd name="T3" fmla="*/ 8 h 41"/>
                    <a:gd name="T4" fmla="*/ 28 w 47"/>
                    <a:gd name="T5" fmla="*/ 8 h 41"/>
                    <a:gd name="T6" fmla="*/ 31 w 47"/>
                    <a:gd name="T7" fmla="*/ 7 h 41"/>
                    <a:gd name="T8" fmla="*/ 34 w 47"/>
                    <a:gd name="T9" fmla="*/ 8 h 41"/>
                    <a:gd name="T10" fmla="*/ 39 w 47"/>
                    <a:gd name="T11" fmla="*/ 4 h 41"/>
                    <a:gd name="T12" fmla="*/ 41 w 47"/>
                    <a:gd name="T13" fmla="*/ 4 h 41"/>
                    <a:gd name="T14" fmla="*/ 46 w 47"/>
                    <a:gd name="T15" fmla="*/ 0 h 41"/>
                    <a:gd name="T16" fmla="*/ 47 w 47"/>
                    <a:gd name="T17" fmla="*/ 2 h 41"/>
                    <a:gd name="T18" fmla="*/ 44 w 47"/>
                    <a:gd name="T19" fmla="*/ 5 h 41"/>
                    <a:gd name="T20" fmla="*/ 44 w 47"/>
                    <a:gd name="T21" fmla="*/ 8 h 41"/>
                    <a:gd name="T22" fmla="*/ 39 w 47"/>
                    <a:gd name="T23" fmla="*/ 12 h 41"/>
                    <a:gd name="T24" fmla="*/ 42 w 47"/>
                    <a:gd name="T25" fmla="*/ 13 h 41"/>
                    <a:gd name="T26" fmla="*/ 44 w 47"/>
                    <a:gd name="T27" fmla="*/ 10 h 41"/>
                    <a:gd name="T28" fmla="*/ 46 w 47"/>
                    <a:gd name="T29" fmla="*/ 12 h 41"/>
                    <a:gd name="T30" fmla="*/ 44 w 47"/>
                    <a:gd name="T31" fmla="*/ 15 h 41"/>
                    <a:gd name="T32" fmla="*/ 36 w 47"/>
                    <a:gd name="T33" fmla="*/ 17 h 41"/>
                    <a:gd name="T34" fmla="*/ 34 w 47"/>
                    <a:gd name="T35" fmla="*/ 13 h 41"/>
                    <a:gd name="T36" fmla="*/ 31 w 47"/>
                    <a:gd name="T37" fmla="*/ 13 h 41"/>
                    <a:gd name="T38" fmla="*/ 31 w 47"/>
                    <a:gd name="T39" fmla="*/ 15 h 41"/>
                    <a:gd name="T40" fmla="*/ 26 w 47"/>
                    <a:gd name="T41" fmla="*/ 15 h 41"/>
                    <a:gd name="T42" fmla="*/ 25 w 47"/>
                    <a:gd name="T43" fmla="*/ 18 h 41"/>
                    <a:gd name="T44" fmla="*/ 21 w 47"/>
                    <a:gd name="T45" fmla="*/ 13 h 41"/>
                    <a:gd name="T46" fmla="*/ 21 w 47"/>
                    <a:gd name="T47" fmla="*/ 13 h 41"/>
                    <a:gd name="T48" fmla="*/ 3 w 47"/>
                    <a:gd name="T49" fmla="*/ 30 h 41"/>
                    <a:gd name="T50" fmla="*/ 8 w 47"/>
                    <a:gd name="T51" fmla="*/ 25 h 41"/>
                    <a:gd name="T52" fmla="*/ 15 w 47"/>
                    <a:gd name="T53" fmla="*/ 23 h 41"/>
                    <a:gd name="T54" fmla="*/ 21 w 47"/>
                    <a:gd name="T55" fmla="*/ 28 h 41"/>
                    <a:gd name="T56" fmla="*/ 23 w 47"/>
                    <a:gd name="T57" fmla="*/ 38 h 41"/>
                    <a:gd name="T58" fmla="*/ 18 w 47"/>
                    <a:gd name="T59" fmla="*/ 41 h 41"/>
                    <a:gd name="T60" fmla="*/ 15 w 47"/>
                    <a:gd name="T61" fmla="*/ 40 h 41"/>
                    <a:gd name="T62" fmla="*/ 11 w 47"/>
                    <a:gd name="T63" fmla="*/ 41 h 41"/>
                    <a:gd name="T64" fmla="*/ 5 w 47"/>
                    <a:gd name="T65" fmla="*/ 41 h 41"/>
                    <a:gd name="T66" fmla="*/ 0 w 47"/>
                    <a:gd name="T67" fmla="*/ 38 h 41"/>
                    <a:gd name="T68" fmla="*/ 0 w 47"/>
                    <a:gd name="T69" fmla="*/ 33 h 41"/>
                    <a:gd name="T70" fmla="*/ 3 w 47"/>
                    <a:gd name="T71" fmla="*/ 33 h 41"/>
                    <a:gd name="T72" fmla="*/ 3 w 47"/>
                    <a:gd name="T73" fmla="*/ 3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7" h="41">
                      <a:moveTo>
                        <a:pt x="21" y="13"/>
                      </a:moveTo>
                      <a:lnTo>
                        <a:pt x="23" y="8"/>
                      </a:lnTo>
                      <a:lnTo>
                        <a:pt x="28" y="8"/>
                      </a:lnTo>
                      <a:lnTo>
                        <a:pt x="31" y="7"/>
                      </a:lnTo>
                      <a:lnTo>
                        <a:pt x="34" y="8"/>
                      </a:lnTo>
                      <a:lnTo>
                        <a:pt x="39" y="4"/>
                      </a:lnTo>
                      <a:lnTo>
                        <a:pt x="41" y="4"/>
                      </a:lnTo>
                      <a:lnTo>
                        <a:pt x="46" y="0"/>
                      </a:lnTo>
                      <a:lnTo>
                        <a:pt x="47" y="2"/>
                      </a:lnTo>
                      <a:lnTo>
                        <a:pt x="44" y="5"/>
                      </a:lnTo>
                      <a:lnTo>
                        <a:pt x="44" y="8"/>
                      </a:lnTo>
                      <a:lnTo>
                        <a:pt x="39" y="12"/>
                      </a:lnTo>
                      <a:lnTo>
                        <a:pt x="42" y="13"/>
                      </a:lnTo>
                      <a:lnTo>
                        <a:pt x="44" y="10"/>
                      </a:lnTo>
                      <a:lnTo>
                        <a:pt x="46" y="12"/>
                      </a:lnTo>
                      <a:lnTo>
                        <a:pt x="44" y="15"/>
                      </a:lnTo>
                      <a:lnTo>
                        <a:pt x="36" y="17"/>
                      </a:lnTo>
                      <a:lnTo>
                        <a:pt x="34" y="13"/>
                      </a:lnTo>
                      <a:lnTo>
                        <a:pt x="31" y="13"/>
                      </a:lnTo>
                      <a:lnTo>
                        <a:pt x="31" y="15"/>
                      </a:lnTo>
                      <a:lnTo>
                        <a:pt x="26" y="15"/>
                      </a:lnTo>
                      <a:lnTo>
                        <a:pt x="25" y="18"/>
                      </a:lnTo>
                      <a:lnTo>
                        <a:pt x="21" y="13"/>
                      </a:lnTo>
                      <a:lnTo>
                        <a:pt x="21" y="13"/>
                      </a:lnTo>
                      <a:close/>
                      <a:moveTo>
                        <a:pt x="3" y="30"/>
                      </a:moveTo>
                      <a:lnTo>
                        <a:pt x="8" y="25"/>
                      </a:lnTo>
                      <a:lnTo>
                        <a:pt x="15" y="23"/>
                      </a:lnTo>
                      <a:lnTo>
                        <a:pt x="21" y="28"/>
                      </a:lnTo>
                      <a:lnTo>
                        <a:pt x="23" y="38"/>
                      </a:lnTo>
                      <a:lnTo>
                        <a:pt x="18" y="41"/>
                      </a:lnTo>
                      <a:lnTo>
                        <a:pt x="15" y="40"/>
                      </a:lnTo>
                      <a:lnTo>
                        <a:pt x="11" y="41"/>
                      </a:lnTo>
                      <a:lnTo>
                        <a:pt x="5" y="41"/>
                      </a:lnTo>
                      <a:lnTo>
                        <a:pt x="0" y="38"/>
                      </a:lnTo>
                      <a:lnTo>
                        <a:pt x="0" y="33"/>
                      </a:lnTo>
                      <a:lnTo>
                        <a:pt x="3" y="33"/>
                      </a:lnTo>
                      <a:lnTo>
                        <a:pt x="3" y="3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3" name="Freeform 167">
                  <a:extLst>
                    <a:ext uri="{FF2B5EF4-FFF2-40B4-BE49-F238E27FC236}">
                      <a16:creationId xmlns:a16="http://schemas.microsoft.com/office/drawing/2014/main" xmlns="" id="{A93F1F9B-D5AA-43B1-952E-7C414E6DFE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5" y="2315"/>
                  <a:ext cx="36" cy="97"/>
                </a:xfrm>
                <a:custGeom>
                  <a:avLst/>
                  <a:gdLst>
                    <a:gd name="T0" fmla="*/ 22 w 22"/>
                    <a:gd name="T1" fmla="*/ 58 h 59"/>
                    <a:gd name="T2" fmla="*/ 21 w 22"/>
                    <a:gd name="T3" fmla="*/ 57 h 59"/>
                    <a:gd name="T4" fmla="*/ 20 w 22"/>
                    <a:gd name="T5" fmla="*/ 47 h 59"/>
                    <a:gd name="T6" fmla="*/ 21 w 22"/>
                    <a:gd name="T7" fmla="*/ 51 h 59"/>
                    <a:gd name="T8" fmla="*/ 19 w 22"/>
                    <a:gd name="T9" fmla="*/ 47 h 59"/>
                    <a:gd name="T10" fmla="*/ 13 w 22"/>
                    <a:gd name="T11" fmla="*/ 35 h 59"/>
                    <a:gd name="T12" fmla="*/ 17 w 22"/>
                    <a:gd name="T13" fmla="*/ 35 h 59"/>
                    <a:gd name="T14" fmla="*/ 15 w 22"/>
                    <a:gd name="T15" fmla="*/ 38 h 59"/>
                    <a:gd name="T16" fmla="*/ 13 w 22"/>
                    <a:gd name="T17" fmla="*/ 35 h 59"/>
                    <a:gd name="T18" fmla="*/ 17 w 22"/>
                    <a:gd name="T19" fmla="*/ 6 h 59"/>
                    <a:gd name="T20" fmla="*/ 16 w 22"/>
                    <a:gd name="T21" fmla="*/ 6 h 59"/>
                    <a:gd name="T22" fmla="*/ 11 w 22"/>
                    <a:gd name="T23" fmla="*/ 9 h 59"/>
                    <a:gd name="T24" fmla="*/ 14 w 22"/>
                    <a:gd name="T25" fmla="*/ 8 h 59"/>
                    <a:gd name="T26" fmla="*/ 12 w 22"/>
                    <a:gd name="T27" fmla="*/ 8 h 59"/>
                    <a:gd name="T28" fmla="*/ 16 w 22"/>
                    <a:gd name="T29" fmla="*/ 11 h 59"/>
                    <a:gd name="T30" fmla="*/ 16 w 22"/>
                    <a:gd name="T31" fmla="*/ 14 h 59"/>
                    <a:gd name="T32" fmla="*/ 16 w 22"/>
                    <a:gd name="T33" fmla="*/ 15 h 59"/>
                    <a:gd name="T34" fmla="*/ 16 w 22"/>
                    <a:gd name="T35" fmla="*/ 11 h 59"/>
                    <a:gd name="T36" fmla="*/ 15 w 22"/>
                    <a:gd name="T37" fmla="*/ 24 h 59"/>
                    <a:gd name="T38" fmla="*/ 17 w 22"/>
                    <a:gd name="T39" fmla="*/ 26 h 59"/>
                    <a:gd name="T40" fmla="*/ 14 w 22"/>
                    <a:gd name="T41" fmla="*/ 26 h 59"/>
                    <a:gd name="T42" fmla="*/ 15 w 22"/>
                    <a:gd name="T43" fmla="*/ 18 h 59"/>
                    <a:gd name="T44" fmla="*/ 16 w 22"/>
                    <a:gd name="T45" fmla="*/ 20 h 59"/>
                    <a:gd name="T46" fmla="*/ 15 w 22"/>
                    <a:gd name="T47" fmla="*/ 21 h 59"/>
                    <a:gd name="T48" fmla="*/ 13 w 22"/>
                    <a:gd name="T49" fmla="*/ 22 h 59"/>
                    <a:gd name="T50" fmla="*/ 12 w 22"/>
                    <a:gd name="T51" fmla="*/ 20 h 59"/>
                    <a:gd name="T52" fmla="*/ 7 w 22"/>
                    <a:gd name="T53" fmla="*/ 15 h 59"/>
                    <a:gd name="T54" fmla="*/ 9 w 22"/>
                    <a:gd name="T55" fmla="*/ 18 h 59"/>
                    <a:gd name="T56" fmla="*/ 11 w 22"/>
                    <a:gd name="T57" fmla="*/ 22 h 59"/>
                    <a:gd name="T58" fmla="*/ 7 w 22"/>
                    <a:gd name="T59" fmla="*/ 24 h 59"/>
                    <a:gd name="T60" fmla="*/ 7 w 22"/>
                    <a:gd name="T61" fmla="*/ 20 h 59"/>
                    <a:gd name="T62" fmla="*/ 7 w 22"/>
                    <a:gd name="T63" fmla="*/ 17 h 59"/>
                    <a:gd name="T64" fmla="*/ 5 w 22"/>
                    <a:gd name="T65" fmla="*/ 16 h 59"/>
                    <a:gd name="T66" fmla="*/ 1 w 22"/>
                    <a:gd name="T67" fmla="*/ 1 h 59"/>
                    <a:gd name="T68" fmla="*/ 1 w 22"/>
                    <a:gd name="T69" fmla="*/ 7 h 59"/>
                    <a:gd name="T70" fmla="*/ 2 w 22"/>
                    <a:gd name="T71" fmla="*/ 12 h 59"/>
                    <a:gd name="T72" fmla="*/ 4 w 22"/>
                    <a:gd name="T73" fmla="*/ 11 h 59"/>
                    <a:gd name="T74" fmla="*/ 7 w 22"/>
                    <a:gd name="T75" fmla="*/ 10 h 59"/>
                    <a:gd name="T76" fmla="*/ 6 w 22"/>
                    <a:gd name="T77" fmla="*/ 7 h 59"/>
                    <a:gd name="T78" fmla="*/ 5 w 22"/>
                    <a:gd name="T79" fmla="*/ 3 h 59"/>
                    <a:gd name="T80" fmla="*/ 5 w 22"/>
                    <a:gd name="T81" fmla="*/ 6 h 59"/>
                    <a:gd name="T82" fmla="*/ 2 w 22"/>
                    <a:gd name="T83" fmla="*/ 6 h 59"/>
                    <a:gd name="T84" fmla="*/ 1 w 22"/>
                    <a:gd name="T85" fmla="*/ 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2" h="59">
                      <a:moveTo>
                        <a:pt x="21" y="56"/>
                      </a:moveTo>
                      <a:cubicBezTo>
                        <a:pt x="22" y="58"/>
                        <a:pt x="22" y="58"/>
                        <a:pt x="22" y="58"/>
                      </a:cubicBezTo>
                      <a:cubicBezTo>
                        <a:pt x="22" y="59"/>
                        <a:pt x="22" y="59"/>
                        <a:pt x="22" y="59"/>
                      </a:cubicBezTo>
                      <a:cubicBezTo>
                        <a:pt x="21" y="57"/>
                        <a:pt x="21" y="57"/>
                        <a:pt x="21" y="57"/>
                      </a:cubicBezTo>
                      <a:cubicBezTo>
                        <a:pt x="21" y="56"/>
                        <a:pt x="21" y="56"/>
                        <a:pt x="21" y="56"/>
                      </a:cubicBezTo>
                      <a:close/>
                      <a:moveTo>
                        <a:pt x="20" y="47"/>
                      </a:move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0" y="50"/>
                        <a:pt x="20" y="50"/>
                        <a:pt x="20" y="50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20" y="47"/>
                        <a:pt x="20" y="47"/>
                        <a:pt x="20" y="47"/>
                      </a:cubicBezTo>
                      <a:close/>
                      <a:moveTo>
                        <a:pt x="13" y="35"/>
                      </a:moveTo>
                      <a:cubicBezTo>
                        <a:pt x="16" y="34"/>
                        <a:pt x="16" y="34"/>
                        <a:pt x="16" y="34"/>
                      </a:cubicBezTo>
                      <a:cubicBezTo>
                        <a:pt x="17" y="35"/>
                        <a:pt x="17" y="35"/>
                        <a:pt x="17" y="35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5" y="38"/>
                        <a:pt x="15" y="38"/>
                        <a:pt x="15" y="38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5"/>
                        <a:pt x="13" y="35"/>
                        <a:pt x="13" y="35"/>
                      </a:cubicBezTo>
                      <a:close/>
                      <a:moveTo>
                        <a:pt x="16" y="3"/>
                      </a:moveTo>
                      <a:cubicBezTo>
                        <a:pt x="17" y="6"/>
                        <a:pt x="17" y="6"/>
                        <a:pt x="17" y="6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3"/>
                        <a:pt x="16" y="3"/>
                        <a:pt x="16" y="3"/>
                      </a:cubicBezTo>
                      <a:close/>
                      <a:moveTo>
                        <a:pt x="11" y="9"/>
                      </a:move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1" y="9"/>
                        <a:pt x="11" y="9"/>
                      </a:cubicBezTo>
                      <a:close/>
                      <a:moveTo>
                        <a:pt x="16" y="11"/>
                      </a:move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6" y="14"/>
                        <a:pt x="16" y="14"/>
                        <a:pt x="16" y="14"/>
                      </a:cubicBezTo>
                      <a:cubicBezTo>
                        <a:pt x="17" y="15"/>
                        <a:pt x="17" y="15"/>
                        <a:pt x="17" y="15"/>
                      </a:cubicBez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6" y="11"/>
                        <a:pt x="16" y="11"/>
                      </a:cubicBezTo>
                      <a:close/>
                      <a:moveTo>
                        <a:pt x="14" y="26"/>
                      </a:move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15" y="26"/>
                        <a:pt x="15" y="26"/>
                        <a:pt x="15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lose/>
                      <a:moveTo>
                        <a:pt x="12" y="20"/>
                      </a:move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5" y="21"/>
                        <a:pt x="15" y="21"/>
                        <a:pt x="15" y="2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close/>
                      <a:moveTo>
                        <a:pt x="6" y="15"/>
                      </a:move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9" y="23"/>
                        <a:pt x="9" y="23"/>
                        <a:pt x="9" y="23"/>
                      </a:cubicBezTo>
                      <a:cubicBezTo>
                        <a:pt x="7" y="24"/>
                        <a:pt x="7" y="24"/>
                        <a:pt x="7" y="24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7" y="20"/>
                        <a:pt x="7" y="20"/>
                        <a:pt x="7" y="20"/>
                      </a:cubicBezTo>
                      <a:cubicBezTo>
                        <a:pt x="8" y="18"/>
                        <a:pt x="8" y="18"/>
                        <a:pt x="8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close/>
                      <a:moveTo>
                        <a:pt x="1" y="1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6"/>
                        <a:pt x="5" y="6"/>
                        <a:pt x="5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1" y="0"/>
                        <a:pt x="1" y="1"/>
                      </a:cubicBez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4" name="Freeform 168">
                  <a:extLst>
                    <a:ext uri="{FF2B5EF4-FFF2-40B4-BE49-F238E27FC236}">
                      <a16:creationId xmlns:a16="http://schemas.microsoft.com/office/drawing/2014/main" xmlns="" id="{868818BF-387A-48E5-8CF7-30DD7AC9BA7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40" y="2167"/>
                  <a:ext cx="153" cy="94"/>
                </a:xfrm>
                <a:custGeom>
                  <a:avLst/>
                  <a:gdLst>
                    <a:gd name="T0" fmla="*/ 94 w 94"/>
                    <a:gd name="T1" fmla="*/ 47 h 58"/>
                    <a:gd name="T2" fmla="*/ 91 w 94"/>
                    <a:gd name="T3" fmla="*/ 49 h 58"/>
                    <a:gd name="T4" fmla="*/ 38 w 94"/>
                    <a:gd name="T5" fmla="*/ 55 h 58"/>
                    <a:gd name="T6" fmla="*/ 40 w 94"/>
                    <a:gd name="T7" fmla="*/ 58 h 58"/>
                    <a:gd name="T8" fmla="*/ 36 w 94"/>
                    <a:gd name="T9" fmla="*/ 57 h 58"/>
                    <a:gd name="T10" fmla="*/ 51 w 94"/>
                    <a:gd name="T11" fmla="*/ 43 h 58"/>
                    <a:gd name="T12" fmla="*/ 58 w 94"/>
                    <a:gd name="T13" fmla="*/ 47 h 58"/>
                    <a:gd name="T14" fmla="*/ 56 w 94"/>
                    <a:gd name="T15" fmla="*/ 49 h 58"/>
                    <a:gd name="T16" fmla="*/ 50 w 94"/>
                    <a:gd name="T17" fmla="*/ 44 h 58"/>
                    <a:gd name="T18" fmla="*/ 37 w 94"/>
                    <a:gd name="T19" fmla="*/ 33 h 58"/>
                    <a:gd name="T20" fmla="*/ 43 w 94"/>
                    <a:gd name="T21" fmla="*/ 36 h 58"/>
                    <a:gd name="T22" fmla="*/ 44 w 94"/>
                    <a:gd name="T23" fmla="*/ 39 h 58"/>
                    <a:gd name="T24" fmla="*/ 39 w 94"/>
                    <a:gd name="T25" fmla="*/ 37 h 58"/>
                    <a:gd name="T26" fmla="*/ 34 w 94"/>
                    <a:gd name="T27" fmla="*/ 32 h 58"/>
                    <a:gd name="T28" fmla="*/ 40 w 94"/>
                    <a:gd name="T29" fmla="*/ 28 h 58"/>
                    <a:gd name="T30" fmla="*/ 42 w 94"/>
                    <a:gd name="T31" fmla="*/ 29 h 58"/>
                    <a:gd name="T32" fmla="*/ 44 w 94"/>
                    <a:gd name="T33" fmla="*/ 24 h 58"/>
                    <a:gd name="T34" fmla="*/ 46 w 94"/>
                    <a:gd name="T35" fmla="*/ 30 h 58"/>
                    <a:gd name="T36" fmla="*/ 51 w 94"/>
                    <a:gd name="T37" fmla="*/ 35 h 58"/>
                    <a:gd name="T38" fmla="*/ 51 w 94"/>
                    <a:gd name="T39" fmla="*/ 32 h 58"/>
                    <a:gd name="T40" fmla="*/ 46 w 94"/>
                    <a:gd name="T41" fmla="*/ 26 h 58"/>
                    <a:gd name="T42" fmla="*/ 43 w 94"/>
                    <a:gd name="T43" fmla="*/ 22 h 58"/>
                    <a:gd name="T44" fmla="*/ 29 w 94"/>
                    <a:gd name="T45" fmla="*/ 16 h 58"/>
                    <a:gd name="T46" fmla="*/ 35 w 94"/>
                    <a:gd name="T47" fmla="*/ 22 h 58"/>
                    <a:gd name="T48" fmla="*/ 33 w 94"/>
                    <a:gd name="T49" fmla="*/ 23 h 58"/>
                    <a:gd name="T50" fmla="*/ 30 w 94"/>
                    <a:gd name="T51" fmla="*/ 20 h 58"/>
                    <a:gd name="T52" fmla="*/ 17 w 94"/>
                    <a:gd name="T53" fmla="*/ 24 h 58"/>
                    <a:gd name="T54" fmla="*/ 18 w 94"/>
                    <a:gd name="T55" fmla="*/ 26 h 58"/>
                    <a:gd name="T56" fmla="*/ 11 w 94"/>
                    <a:gd name="T57" fmla="*/ 24 h 58"/>
                    <a:gd name="T58" fmla="*/ 13 w 94"/>
                    <a:gd name="T59" fmla="*/ 24 h 58"/>
                    <a:gd name="T60" fmla="*/ 13 w 94"/>
                    <a:gd name="T61" fmla="*/ 21 h 58"/>
                    <a:gd name="T62" fmla="*/ 16 w 94"/>
                    <a:gd name="T63" fmla="*/ 23 h 58"/>
                    <a:gd name="T64" fmla="*/ 16 w 94"/>
                    <a:gd name="T65" fmla="*/ 20 h 58"/>
                    <a:gd name="T66" fmla="*/ 13 w 94"/>
                    <a:gd name="T67" fmla="*/ 17 h 58"/>
                    <a:gd name="T68" fmla="*/ 9 w 94"/>
                    <a:gd name="T69" fmla="*/ 17 h 58"/>
                    <a:gd name="T70" fmla="*/ 11 w 94"/>
                    <a:gd name="T71" fmla="*/ 18 h 58"/>
                    <a:gd name="T72" fmla="*/ 9 w 94"/>
                    <a:gd name="T73" fmla="*/ 17 h 58"/>
                    <a:gd name="T74" fmla="*/ 7 w 94"/>
                    <a:gd name="T75" fmla="*/ 17 h 58"/>
                    <a:gd name="T76" fmla="*/ 5 w 94"/>
                    <a:gd name="T77" fmla="*/ 15 h 58"/>
                    <a:gd name="T78" fmla="*/ 3 w 94"/>
                    <a:gd name="T79" fmla="*/ 2 h 58"/>
                    <a:gd name="T80" fmla="*/ 5 w 94"/>
                    <a:gd name="T81" fmla="*/ 3 h 58"/>
                    <a:gd name="T82" fmla="*/ 9 w 94"/>
                    <a:gd name="T83" fmla="*/ 9 h 58"/>
                    <a:gd name="T84" fmla="*/ 15 w 94"/>
                    <a:gd name="T85" fmla="*/ 11 h 58"/>
                    <a:gd name="T86" fmla="*/ 11 w 94"/>
                    <a:gd name="T87" fmla="*/ 8 h 58"/>
                    <a:gd name="T88" fmla="*/ 6 w 94"/>
                    <a:gd name="T89" fmla="*/ 5 h 58"/>
                    <a:gd name="T90" fmla="*/ 1 w 94"/>
                    <a:gd name="T91" fmla="*/ 5 h 58"/>
                    <a:gd name="T92" fmla="*/ 1 w 94"/>
                    <a:gd name="T93" fmla="*/ 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4" h="58">
                      <a:moveTo>
                        <a:pt x="91" y="48"/>
                      </a:moveTo>
                      <a:cubicBezTo>
                        <a:pt x="92" y="47"/>
                        <a:pt x="92" y="47"/>
                        <a:pt x="92" y="47"/>
                      </a:cubicBezTo>
                      <a:cubicBezTo>
                        <a:pt x="94" y="47"/>
                        <a:pt x="94" y="47"/>
                        <a:pt x="94" y="47"/>
                      </a:cubicBezTo>
                      <a:cubicBezTo>
                        <a:pt x="94" y="48"/>
                        <a:pt x="94" y="48"/>
                        <a:pt x="94" y="48"/>
                      </a:cubicBezTo>
                      <a:cubicBezTo>
                        <a:pt x="93" y="50"/>
                        <a:pt x="93" y="50"/>
                        <a:pt x="93" y="50"/>
                      </a:cubicBezTo>
                      <a:cubicBezTo>
                        <a:pt x="91" y="49"/>
                        <a:pt x="91" y="49"/>
                        <a:pt x="91" y="49"/>
                      </a:cubicBezTo>
                      <a:cubicBezTo>
                        <a:pt x="91" y="48"/>
                        <a:pt x="91" y="48"/>
                        <a:pt x="91" y="48"/>
                      </a:cubicBezTo>
                      <a:close/>
                      <a:moveTo>
                        <a:pt x="36" y="55"/>
                      </a:move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41" y="57"/>
                        <a:pt x="41" y="57"/>
                        <a:pt x="41" y="57"/>
                      </a:cubicBez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8"/>
                        <a:pt x="37" y="58"/>
                        <a:pt x="37" y="58"/>
                      </a:cubicBezTo>
                      <a:cubicBezTo>
                        <a:pt x="36" y="57"/>
                        <a:pt x="36" y="57"/>
                        <a:pt x="36" y="57"/>
                      </a:cubicBezTo>
                      <a:cubicBezTo>
                        <a:pt x="36" y="55"/>
                        <a:pt x="36" y="55"/>
                        <a:pt x="36" y="55"/>
                      </a:cubicBezTo>
                      <a:close/>
                      <a:moveTo>
                        <a:pt x="49" y="42"/>
                      </a:moveTo>
                      <a:cubicBezTo>
                        <a:pt x="51" y="43"/>
                        <a:pt x="51" y="43"/>
                        <a:pt x="51" y="43"/>
                      </a:cubicBez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7" y="45"/>
                        <a:pt x="57" y="45"/>
                        <a:pt x="57" y="45"/>
                      </a:cubicBezTo>
                      <a:cubicBezTo>
                        <a:pt x="58" y="47"/>
                        <a:pt x="58" y="47"/>
                        <a:pt x="58" y="47"/>
                      </a:cubicBezTo>
                      <a:cubicBezTo>
                        <a:pt x="58" y="48"/>
                        <a:pt x="58" y="48"/>
                        <a:pt x="58" y="48"/>
                      </a:cubicBezTo>
                      <a:cubicBezTo>
                        <a:pt x="58" y="49"/>
                        <a:pt x="58" y="49"/>
                        <a:pt x="58" y="49"/>
                      </a:cubicBezTo>
                      <a:cubicBezTo>
                        <a:pt x="56" y="49"/>
                        <a:pt x="56" y="49"/>
                        <a:pt x="56" y="49"/>
                      </a:cubicBezTo>
                      <a:cubicBezTo>
                        <a:pt x="53" y="48"/>
                        <a:pt x="53" y="48"/>
                        <a:pt x="53" y="48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lose/>
                      <a:moveTo>
                        <a:pt x="35" y="31"/>
                      </a:move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4" y="39"/>
                        <a:pt x="44" y="39"/>
                        <a:pt x="44" y="39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41" y="37"/>
                        <a:pt x="41" y="37"/>
                        <a:pt x="41" y="37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1"/>
                        <a:pt x="35" y="31"/>
                        <a:pt x="35" y="31"/>
                      </a:cubicBezTo>
                      <a:close/>
                      <a:moveTo>
                        <a:pt x="42" y="29"/>
                      </a:moveTo>
                      <a:cubicBezTo>
                        <a:pt x="40" y="28"/>
                        <a:pt x="40" y="28"/>
                        <a:pt x="40" y="2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30"/>
                        <a:pt x="42" y="30"/>
                        <a:pt x="42" y="30"/>
                      </a:cubicBezTo>
                      <a:cubicBezTo>
                        <a:pt x="42" y="29"/>
                        <a:pt x="42" y="29"/>
                        <a:pt x="42" y="29"/>
                      </a:cubicBezTo>
                      <a:close/>
                      <a:moveTo>
                        <a:pt x="43" y="22"/>
                      </a:moveTo>
                      <a:cubicBezTo>
                        <a:pt x="43" y="23"/>
                        <a:pt x="43" y="23"/>
                        <a:pt x="43" y="23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6"/>
                        <a:pt x="45" y="26"/>
                        <a:pt x="45" y="26"/>
                      </a:cubicBezTo>
                      <a:cubicBezTo>
                        <a:pt x="46" y="30"/>
                        <a:pt x="46" y="30"/>
                        <a:pt x="46" y="30"/>
                      </a:cubicBezTo>
                      <a:cubicBezTo>
                        <a:pt x="49" y="33"/>
                        <a:pt x="49" y="33"/>
                        <a:pt x="49" y="33"/>
                      </a:cubicBezTo>
                      <a:cubicBezTo>
                        <a:pt x="51" y="33"/>
                        <a:pt x="51" y="33"/>
                        <a:pt x="51" y="33"/>
                      </a:cubicBezTo>
                      <a:cubicBezTo>
                        <a:pt x="51" y="35"/>
                        <a:pt x="51" y="35"/>
                        <a:pt x="51" y="35"/>
                      </a:cubicBezTo>
                      <a:cubicBezTo>
                        <a:pt x="53" y="36"/>
                        <a:pt x="53" y="36"/>
                        <a:pt x="53" y="36"/>
                      </a:cubicBezTo>
                      <a:cubicBezTo>
                        <a:pt x="53" y="34"/>
                        <a:pt x="53" y="34"/>
                        <a:pt x="53" y="34"/>
                      </a:cubicBezTo>
                      <a:cubicBezTo>
                        <a:pt x="51" y="32"/>
                        <a:pt x="51" y="32"/>
                        <a:pt x="51" y="32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47" y="24"/>
                        <a:pt x="47" y="24"/>
                        <a:pt x="47" y="24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3" y="22"/>
                        <a:pt x="43" y="22"/>
                        <a:pt x="43" y="22"/>
                      </a:cubicBezTo>
                      <a:close/>
                      <a:moveTo>
                        <a:pt x="23" y="13"/>
                      </a:move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32" y="17"/>
                        <a:pt x="32" y="17"/>
                        <a:pt x="32" y="17"/>
                      </a:cubicBezTo>
                      <a:cubicBezTo>
                        <a:pt x="36" y="21"/>
                        <a:pt x="36" y="21"/>
                        <a:pt x="36" y="21"/>
                      </a:cubicBezTo>
                      <a:cubicBezTo>
                        <a:pt x="35" y="22"/>
                        <a:pt x="35" y="22"/>
                        <a:pt x="35" y="22"/>
                      </a:cubicBezTo>
                      <a:cubicBezTo>
                        <a:pt x="36" y="23"/>
                        <a:pt x="36" y="23"/>
                        <a:pt x="36" y="23"/>
                      </a:cubicBezTo>
                      <a:cubicBezTo>
                        <a:pt x="34" y="22"/>
                        <a:pt x="34" y="22"/>
                        <a:pt x="34" y="22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2" y="21"/>
                        <a:pt x="32" y="21"/>
                        <a:pt x="32" y="21"/>
                      </a:cubicBezTo>
                      <a:cubicBezTo>
                        <a:pt x="30" y="20"/>
                        <a:pt x="30" y="20"/>
                        <a:pt x="30" y="20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cubicBezTo>
                        <a:pt x="25" y="15"/>
                        <a:pt x="23" y="13"/>
                        <a:pt x="23" y="13"/>
                      </a:cubicBezTo>
                      <a:close/>
                      <a:moveTo>
                        <a:pt x="17" y="24"/>
                      </a:move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18" y="26"/>
                        <a:pt x="18" y="26"/>
                        <a:pt x="18" y="26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lose/>
                      <a:moveTo>
                        <a:pt x="11" y="24"/>
                      </a:move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3" y="24"/>
                        <a:pt x="13" y="24"/>
                        <a:pt x="13" y="24"/>
                      </a:cubicBezTo>
                      <a:cubicBezTo>
                        <a:pt x="11" y="24"/>
                        <a:pt x="11" y="24"/>
                        <a:pt x="11" y="24"/>
                      </a:cubicBezTo>
                      <a:close/>
                      <a:moveTo>
                        <a:pt x="12" y="21"/>
                      </a:move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5" y="19"/>
                        <a:pt x="15" y="19"/>
                        <a:pt x="15" y="19"/>
                      </a:cubicBez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lose/>
                      <a:moveTo>
                        <a:pt x="9" y="17"/>
                      </a:move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9" y="18"/>
                        <a:pt x="9" y="17"/>
                        <a:pt x="9" y="17"/>
                      </a:cubicBezTo>
                      <a:close/>
                      <a:moveTo>
                        <a:pt x="5" y="14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6" y="17"/>
                        <a:pt x="6" y="17"/>
                        <a:pt x="6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5" y="14"/>
                        <a:pt x="5" y="14"/>
                      </a:cubicBezTo>
                      <a:close/>
                      <a:moveTo>
                        <a:pt x="5" y="0"/>
                      </a:move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close/>
                      <a:moveTo>
                        <a:pt x="5" y="3"/>
                      </a:move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cubicBezTo>
                        <a:pt x="15" y="11"/>
                        <a:pt x="15" y="11"/>
                        <a:pt x="15" y="11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5" y="3"/>
                        <a:pt x="5" y="3"/>
                        <a:pt x="5" y="3"/>
                      </a:cubicBezTo>
                      <a:close/>
                      <a:moveTo>
                        <a:pt x="1" y="5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7"/>
                        <a:pt x="2" y="7"/>
                        <a:pt x="2" y="7"/>
                      </a:cubicBezTo>
                      <a:lnTo>
                        <a:pt x="1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5" name="Freeform 169">
                  <a:extLst>
                    <a:ext uri="{FF2B5EF4-FFF2-40B4-BE49-F238E27FC236}">
                      <a16:creationId xmlns:a16="http://schemas.microsoft.com/office/drawing/2014/main" xmlns="" id="{256FD135-5BAD-40B2-9698-52DDF5E017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8" y="2082"/>
                  <a:ext cx="240" cy="178"/>
                </a:xfrm>
                <a:custGeom>
                  <a:avLst/>
                  <a:gdLst>
                    <a:gd name="T0" fmla="*/ 118 w 147"/>
                    <a:gd name="T1" fmla="*/ 106 h 109"/>
                    <a:gd name="T2" fmla="*/ 118 w 147"/>
                    <a:gd name="T3" fmla="*/ 106 h 109"/>
                    <a:gd name="T4" fmla="*/ 63 w 147"/>
                    <a:gd name="T5" fmla="*/ 10 h 109"/>
                    <a:gd name="T6" fmla="*/ 140 w 147"/>
                    <a:gd name="T7" fmla="*/ 48 h 109"/>
                    <a:gd name="T8" fmla="*/ 142 w 147"/>
                    <a:gd name="T9" fmla="*/ 57 h 109"/>
                    <a:gd name="T10" fmla="*/ 136 w 147"/>
                    <a:gd name="T11" fmla="*/ 44 h 109"/>
                    <a:gd name="T12" fmla="*/ 131 w 147"/>
                    <a:gd name="T13" fmla="*/ 35 h 109"/>
                    <a:gd name="T14" fmla="*/ 103 w 147"/>
                    <a:gd name="T15" fmla="*/ 17 h 109"/>
                    <a:gd name="T16" fmla="*/ 119 w 147"/>
                    <a:gd name="T17" fmla="*/ 31 h 109"/>
                    <a:gd name="T18" fmla="*/ 116 w 147"/>
                    <a:gd name="T19" fmla="*/ 27 h 109"/>
                    <a:gd name="T20" fmla="*/ 87 w 147"/>
                    <a:gd name="T21" fmla="*/ 0 h 109"/>
                    <a:gd name="T22" fmla="*/ 94 w 147"/>
                    <a:gd name="T23" fmla="*/ 16 h 109"/>
                    <a:gd name="T24" fmla="*/ 90 w 147"/>
                    <a:gd name="T25" fmla="*/ 37 h 109"/>
                    <a:gd name="T26" fmla="*/ 81 w 147"/>
                    <a:gd name="T27" fmla="*/ 51 h 109"/>
                    <a:gd name="T28" fmla="*/ 99 w 147"/>
                    <a:gd name="T29" fmla="*/ 53 h 109"/>
                    <a:gd name="T30" fmla="*/ 110 w 147"/>
                    <a:gd name="T31" fmla="*/ 44 h 109"/>
                    <a:gd name="T32" fmla="*/ 112 w 147"/>
                    <a:gd name="T33" fmla="*/ 30 h 109"/>
                    <a:gd name="T34" fmla="*/ 106 w 147"/>
                    <a:gd name="T35" fmla="*/ 39 h 109"/>
                    <a:gd name="T36" fmla="*/ 94 w 147"/>
                    <a:gd name="T37" fmla="*/ 44 h 109"/>
                    <a:gd name="T38" fmla="*/ 87 w 147"/>
                    <a:gd name="T39" fmla="*/ 44 h 109"/>
                    <a:gd name="T40" fmla="*/ 67 w 147"/>
                    <a:gd name="T41" fmla="*/ 45 h 109"/>
                    <a:gd name="T42" fmla="*/ 61 w 147"/>
                    <a:gd name="T43" fmla="*/ 43 h 109"/>
                    <a:gd name="T44" fmla="*/ 52 w 147"/>
                    <a:gd name="T45" fmla="*/ 36 h 109"/>
                    <a:gd name="T46" fmla="*/ 114 w 147"/>
                    <a:gd name="T47" fmla="*/ 80 h 109"/>
                    <a:gd name="T48" fmla="*/ 100 w 147"/>
                    <a:gd name="T49" fmla="*/ 77 h 109"/>
                    <a:gd name="T50" fmla="*/ 98 w 147"/>
                    <a:gd name="T51" fmla="*/ 91 h 109"/>
                    <a:gd name="T52" fmla="*/ 97 w 147"/>
                    <a:gd name="T53" fmla="*/ 91 h 109"/>
                    <a:gd name="T54" fmla="*/ 96 w 147"/>
                    <a:gd name="T55" fmla="*/ 88 h 109"/>
                    <a:gd name="T56" fmla="*/ 94 w 147"/>
                    <a:gd name="T57" fmla="*/ 85 h 109"/>
                    <a:gd name="T58" fmla="*/ 91 w 147"/>
                    <a:gd name="T59" fmla="*/ 84 h 109"/>
                    <a:gd name="T60" fmla="*/ 37 w 147"/>
                    <a:gd name="T61" fmla="*/ 67 h 109"/>
                    <a:gd name="T62" fmla="*/ 36 w 147"/>
                    <a:gd name="T63" fmla="*/ 68 h 109"/>
                    <a:gd name="T64" fmla="*/ 31 w 147"/>
                    <a:gd name="T65" fmla="*/ 69 h 109"/>
                    <a:gd name="T66" fmla="*/ 26 w 147"/>
                    <a:gd name="T67" fmla="*/ 77 h 109"/>
                    <a:gd name="T68" fmla="*/ 23 w 147"/>
                    <a:gd name="T69" fmla="*/ 76 h 109"/>
                    <a:gd name="T70" fmla="*/ 26 w 147"/>
                    <a:gd name="T71" fmla="*/ 72 h 109"/>
                    <a:gd name="T72" fmla="*/ 3 w 147"/>
                    <a:gd name="T73" fmla="*/ 15 h 109"/>
                    <a:gd name="T74" fmla="*/ 6 w 147"/>
                    <a:gd name="T75" fmla="*/ 82 h 109"/>
                    <a:gd name="T76" fmla="*/ 22 w 147"/>
                    <a:gd name="T77" fmla="*/ 82 h 109"/>
                    <a:gd name="T78" fmla="*/ 13 w 147"/>
                    <a:gd name="T79" fmla="*/ 73 h 109"/>
                    <a:gd name="T80" fmla="*/ 8 w 147"/>
                    <a:gd name="T81" fmla="*/ 66 h 109"/>
                    <a:gd name="T82" fmla="*/ 17 w 147"/>
                    <a:gd name="T83" fmla="*/ 74 h 109"/>
                    <a:gd name="T84" fmla="*/ 23 w 147"/>
                    <a:gd name="T85" fmla="*/ 70 h 109"/>
                    <a:gd name="T86" fmla="*/ 27 w 147"/>
                    <a:gd name="T87" fmla="*/ 69 h 109"/>
                    <a:gd name="T88" fmla="*/ 30 w 147"/>
                    <a:gd name="T89" fmla="*/ 67 h 109"/>
                    <a:gd name="T90" fmla="*/ 33 w 147"/>
                    <a:gd name="T91" fmla="*/ 65 h 109"/>
                    <a:gd name="T92" fmla="*/ 41 w 147"/>
                    <a:gd name="T93" fmla="*/ 66 h 109"/>
                    <a:gd name="T94" fmla="*/ 53 w 147"/>
                    <a:gd name="T95" fmla="*/ 77 h 109"/>
                    <a:gd name="T96" fmla="*/ 65 w 147"/>
                    <a:gd name="T97" fmla="*/ 92 h 109"/>
                    <a:gd name="T98" fmla="*/ 81 w 147"/>
                    <a:gd name="T99" fmla="*/ 94 h 109"/>
                    <a:gd name="T100" fmla="*/ 91 w 147"/>
                    <a:gd name="T101" fmla="*/ 99 h 109"/>
                    <a:gd name="T102" fmla="*/ 96 w 147"/>
                    <a:gd name="T103" fmla="*/ 94 h 109"/>
                    <a:gd name="T104" fmla="*/ 87 w 147"/>
                    <a:gd name="T105" fmla="*/ 87 h 109"/>
                    <a:gd name="T106" fmla="*/ 79 w 147"/>
                    <a:gd name="T107" fmla="*/ 81 h 109"/>
                    <a:gd name="T108" fmla="*/ 70 w 147"/>
                    <a:gd name="T109" fmla="*/ 71 h 109"/>
                    <a:gd name="T110" fmla="*/ 59 w 147"/>
                    <a:gd name="T111" fmla="*/ 59 h 109"/>
                    <a:gd name="T112" fmla="*/ 62 w 147"/>
                    <a:gd name="T113" fmla="*/ 50 h 109"/>
                    <a:gd name="T114" fmla="*/ 49 w 147"/>
                    <a:gd name="T115" fmla="*/ 38 h 109"/>
                    <a:gd name="T116" fmla="*/ 37 w 147"/>
                    <a:gd name="T117" fmla="*/ 29 h 109"/>
                    <a:gd name="T118" fmla="*/ 19 w 147"/>
                    <a:gd name="T119" fmla="*/ 22 h 109"/>
                    <a:gd name="T120" fmla="*/ 4 w 147"/>
                    <a:gd name="T121" fmla="*/ 1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7" h="109">
                      <a:moveTo>
                        <a:pt x="126" y="106"/>
                      </a:moveTo>
                      <a:cubicBezTo>
                        <a:pt x="127" y="105"/>
                        <a:pt x="127" y="105"/>
                        <a:pt x="127" y="105"/>
                      </a:cubicBezTo>
                      <a:cubicBezTo>
                        <a:pt x="129" y="105"/>
                        <a:pt x="129" y="105"/>
                        <a:pt x="129" y="105"/>
                      </a:cubicBezTo>
                      <a:cubicBezTo>
                        <a:pt x="129" y="106"/>
                        <a:pt x="129" y="106"/>
                        <a:pt x="129" y="106"/>
                      </a:cubicBezTo>
                      <a:cubicBezTo>
                        <a:pt x="127" y="107"/>
                        <a:pt x="127" y="107"/>
                        <a:pt x="127" y="107"/>
                      </a:cubicBezTo>
                      <a:cubicBezTo>
                        <a:pt x="126" y="106"/>
                        <a:pt x="126" y="106"/>
                        <a:pt x="126" y="106"/>
                      </a:cubicBezTo>
                      <a:cubicBezTo>
                        <a:pt x="126" y="106"/>
                        <a:pt x="126" y="106"/>
                        <a:pt x="126" y="106"/>
                      </a:cubicBezTo>
                      <a:close/>
                      <a:moveTo>
                        <a:pt x="118" y="106"/>
                      </a:moveTo>
                      <a:cubicBezTo>
                        <a:pt x="121" y="109"/>
                        <a:pt x="121" y="109"/>
                        <a:pt x="121" y="109"/>
                      </a:cubicBezTo>
                      <a:cubicBezTo>
                        <a:pt x="122" y="109"/>
                        <a:pt x="122" y="109"/>
                        <a:pt x="122" y="109"/>
                      </a:cubicBezTo>
                      <a:cubicBezTo>
                        <a:pt x="123" y="109"/>
                        <a:pt x="123" y="109"/>
                        <a:pt x="123" y="109"/>
                      </a:cubicBezTo>
                      <a:cubicBezTo>
                        <a:pt x="123" y="109"/>
                        <a:pt x="123" y="109"/>
                        <a:pt x="123" y="109"/>
                      </a:cubicBezTo>
                      <a:cubicBezTo>
                        <a:pt x="123" y="107"/>
                        <a:pt x="123" y="107"/>
                        <a:pt x="123" y="107"/>
                      </a:cubicBezTo>
                      <a:cubicBezTo>
                        <a:pt x="121" y="108"/>
                        <a:pt x="121" y="108"/>
                        <a:pt x="121" y="108"/>
                      </a:cubicBezTo>
                      <a:cubicBezTo>
                        <a:pt x="119" y="106"/>
                        <a:pt x="119" y="106"/>
                        <a:pt x="119" y="106"/>
                      </a:cubicBezTo>
                      <a:cubicBezTo>
                        <a:pt x="118" y="106"/>
                        <a:pt x="118" y="106"/>
                        <a:pt x="118" y="106"/>
                      </a:cubicBezTo>
                      <a:close/>
                      <a:moveTo>
                        <a:pt x="57" y="8"/>
                      </a:moveTo>
                      <a:cubicBezTo>
                        <a:pt x="58" y="8"/>
                        <a:pt x="58" y="8"/>
                        <a:pt x="58" y="8"/>
                      </a:cubicBezTo>
                      <a:cubicBezTo>
                        <a:pt x="59" y="8"/>
                        <a:pt x="59" y="8"/>
                        <a:pt x="59" y="8"/>
                      </a:cubicBezTo>
                      <a:cubicBezTo>
                        <a:pt x="61" y="7"/>
                        <a:pt x="61" y="7"/>
                        <a:pt x="61" y="7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4" y="8"/>
                        <a:pt x="64" y="8"/>
                        <a:pt x="64" y="8"/>
                      </a:cubicBezTo>
                      <a:cubicBezTo>
                        <a:pt x="65" y="9"/>
                        <a:pt x="65" y="9"/>
                        <a:pt x="65" y="9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60" y="11"/>
                        <a:pt x="60" y="11"/>
                        <a:pt x="60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8" y="10"/>
                        <a:pt x="58" y="10"/>
                        <a:pt x="58" y="10"/>
                      </a:cubicBezTo>
                      <a:cubicBezTo>
                        <a:pt x="58" y="10"/>
                        <a:pt x="57" y="8"/>
                        <a:pt x="57" y="8"/>
                      </a:cubicBezTo>
                      <a:close/>
                      <a:moveTo>
                        <a:pt x="136" y="44"/>
                      </a:moveTo>
                      <a:cubicBezTo>
                        <a:pt x="138" y="43"/>
                        <a:pt x="138" y="43"/>
                        <a:pt x="138" y="43"/>
                      </a:cubicBezTo>
                      <a:cubicBezTo>
                        <a:pt x="139" y="45"/>
                        <a:pt x="139" y="45"/>
                        <a:pt x="139" y="45"/>
                      </a:cubicBezTo>
                      <a:cubicBezTo>
                        <a:pt x="140" y="48"/>
                        <a:pt x="140" y="48"/>
                        <a:pt x="140" y="48"/>
                      </a:cubicBezTo>
                      <a:cubicBezTo>
                        <a:pt x="142" y="49"/>
                        <a:pt x="142" y="49"/>
                        <a:pt x="142" y="49"/>
                      </a:cubicBezTo>
                      <a:cubicBezTo>
                        <a:pt x="145" y="51"/>
                        <a:pt x="145" y="51"/>
                        <a:pt x="145" y="51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7" y="56"/>
                        <a:pt x="147" y="56"/>
                        <a:pt x="147" y="56"/>
                      </a:cubicBezTo>
                      <a:cubicBezTo>
                        <a:pt x="146" y="57"/>
                        <a:pt x="146" y="57"/>
                        <a:pt x="146" y="57"/>
                      </a:cubicBezTo>
                      <a:cubicBezTo>
                        <a:pt x="145" y="58"/>
                        <a:pt x="145" y="58"/>
                        <a:pt x="145" y="58"/>
                      </a:cubicBezTo>
                      <a:cubicBezTo>
                        <a:pt x="143" y="58"/>
                        <a:pt x="143" y="58"/>
                        <a:pt x="143" y="58"/>
                      </a:cubicBezTo>
                      <a:cubicBezTo>
                        <a:pt x="142" y="57"/>
                        <a:pt x="142" y="57"/>
                        <a:pt x="142" y="57"/>
                      </a:cubicBezTo>
                      <a:cubicBezTo>
                        <a:pt x="140" y="57"/>
                        <a:pt x="140" y="57"/>
                        <a:pt x="140" y="57"/>
                      </a:cubicBezTo>
                      <a:cubicBezTo>
                        <a:pt x="139" y="56"/>
                        <a:pt x="139" y="56"/>
                        <a:pt x="139" y="56"/>
                      </a:cubicBezTo>
                      <a:cubicBezTo>
                        <a:pt x="140" y="55"/>
                        <a:pt x="140" y="55"/>
                        <a:pt x="140" y="55"/>
                      </a:cubicBezTo>
                      <a:cubicBezTo>
                        <a:pt x="138" y="51"/>
                        <a:pt x="138" y="51"/>
                        <a:pt x="138" y="51"/>
                      </a:cubicBezTo>
                      <a:cubicBezTo>
                        <a:pt x="136" y="50"/>
                        <a:pt x="136" y="50"/>
                        <a:pt x="136" y="50"/>
                      </a:cubicBezTo>
                      <a:cubicBezTo>
                        <a:pt x="136" y="47"/>
                        <a:pt x="136" y="47"/>
                        <a:pt x="136" y="47"/>
                      </a:cubicBezTo>
                      <a:cubicBezTo>
                        <a:pt x="136" y="45"/>
                        <a:pt x="136" y="45"/>
                        <a:pt x="136" y="45"/>
                      </a:cubicBezTo>
                      <a:cubicBezTo>
                        <a:pt x="136" y="44"/>
                        <a:pt x="136" y="44"/>
                        <a:pt x="136" y="44"/>
                      </a:cubicBezTo>
                      <a:close/>
                      <a:moveTo>
                        <a:pt x="134" y="39"/>
                      </a:moveTo>
                      <a:cubicBezTo>
                        <a:pt x="133" y="40"/>
                        <a:pt x="133" y="40"/>
                        <a:pt x="133" y="40"/>
                      </a:cubicBezTo>
                      <a:cubicBezTo>
                        <a:pt x="134" y="41"/>
                        <a:pt x="134" y="41"/>
                        <a:pt x="134" y="41"/>
                      </a:cubicBezTo>
                      <a:cubicBezTo>
                        <a:pt x="134" y="43"/>
                        <a:pt x="134" y="43"/>
                        <a:pt x="134" y="43"/>
                      </a:cubicBezTo>
                      <a:cubicBezTo>
                        <a:pt x="136" y="41"/>
                        <a:pt x="136" y="41"/>
                        <a:pt x="136" y="41"/>
                      </a:cubicBezTo>
                      <a:cubicBezTo>
                        <a:pt x="135" y="39"/>
                        <a:pt x="135" y="39"/>
                        <a:pt x="135" y="39"/>
                      </a:cubicBezTo>
                      <a:cubicBezTo>
                        <a:pt x="134" y="39"/>
                        <a:pt x="134" y="39"/>
                        <a:pt x="134" y="39"/>
                      </a:cubicBezTo>
                      <a:close/>
                      <a:moveTo>
                        <a:pt x="131" y="35"/>
                      </a:moveTo>
                      <a:cubicBezTo>
                        <a:pt x="132" y="34"/>
                        <a:pt x="132" y="34"/>
                        <a:pt x="132" y="34"/>
                      </a:cubicBezTo>
                      <a:cubicBezTo>
                        <a:pt x="132" y="33"/>
                        <a:pt x="132" y="33"/>
                        <a:pt x="132" y="33"/>
                      </a:cubicBezTo>
                      <a:cubicBezTo>
                        <a:pt x="134" y="34"/>
                        <a:pt x="134" y="34"/>
                        <a:pt x="134" y="34"/>
                      </a:cubicBezTo>
                      <a:cubicBezTo>
                        <a:pt x="133" y="36"/>
                        <a:pt x="133" y="36"/>
                        <a:pt x="133" y="36"/>
                      </a:cubicBezTo>
                      <a:cubicBezTo>
                        <a:pt x="131" y="36"/>
                        <a:pt x="131" y="36"/>
                        <a:pt x="131" y="36"/>
                      </a:cubicBezTo>
                      <a:cubicBezTo>
                        <a:pt x="131" y="35"/>
                        <a:pt x="131" y="35"/>
                        <a:pt x="131" y="35"/>
                      </a:cubicBezTo>
                      <a:close/>
                      <a:moveTo>
                        <a:pt x="98" y="14"/>
                      </a:moveTo>
                      <a:cubicBezTo>
                        <a:pt x="103" y="17"/>
                        <a:pt x="103" y="17"/>
                        <a:pt x="103" y="17"/>
                      </a:cubicBezTo>
                      <a:cubicBezTo>
                        <a:pt x="106" y="18"/>
                        <a:pt x="106" y="18"/>
                        <a:pt x="106" y="18"/>
                      </a:cubicBezTo>
                      <a:cubicBezTo>
                        <a:pt x="109" y="21"/>
                        <a:pt x="109" y="21"/>
                        <a:pt x="109" y="21"/>
                      </a:cubicBezTo>
                      <a:cubicBezTo>
                        <a:pt x="112" y="21"/>
                        <a:pt x="112" y="21"/>
                        <a:pt x="112" y="21"/>
                      </a:cubicBezTo>
                      <a:cubicBezTo>
                        <a:pt x="113" y="23"/>
                        <a:pt x="113" y="23"/>
                        <a:pt x="113" y="23"/>
                      </a:cubicBezTo>
                      <a:cubicBezTo>
                        <a:pt x="116" y="24"/>
                        <a:pt x="116" y="24"/>
                        <a:pt x="116" y="24"/>
                      </a:cubicBezTo>
                      <a:cubicBezTo>
                        <a:pt x="117" y="27"/>
                        <a:pt x="117" y="27"/>
                        <a:pt x="117" y="27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119" y="31"/>
                        <a:pt x="119" y="31"/>
                        <a:pt x="119" y="31"/>
                      </a:cubicBezTo>
                      <a:cubicBezTo>
                        <a:pt x="120" y="32"/>
                        <a:pt x="120" y="32"/>
                        <a:pt x="120" y="32"/>
                      </a:cubicBezTo>
                      <a:cubicBezTo>
                        <a:pt x="120" y="33"/>
                        <a:pt x="120" y="33"/>
                        <a:pt x="120" y="33"/>
                      </a:cubicBezTo>
                      <a:cubicBezTo>
                        <a:pt x="120" y="35"/>
                        <a:pt x="120" y="35"/>
                        <a:pt x="120" y="35"/>
                      </a:cubicBezTo>
                      <a:cubicBezTo>
                        <a:pt x="119" y="38"/>
                        <a:pt x="119" y="38"/>
                        <a:pt x="119" y="38"/>
                      </a:cubicBezTo>
                      <a:cubicBezTo>
                        <a:pt x="117" y="36"/>
                        <a:pt x="117" y="36"/>
                        <a:pt x="117" y="36"/>
                      </a:cubicBezTo>
                      <a:cubicBezTo>
                        <a:pt x="116" y="33"/>
                        <a:pt x="116" y="33"/>
                        <a:pt x="116" y="33"/>
                      </a:cubicBezTo>
                      <a:cubicBezTo>
                        <a:pt x="117" y="32"/>
                        <a:pt x="117" y="32"/>
                        <a:pt x="117" y="32"/>
                      </a:cubicBezTo>
                      <a:cubicBezTo>
                        <a:pt x="116" y="27"/>
                        <a:pt x="116" y="27"/>
                        <a:pt x="116" y="27"/>
                      </a:cubicBezTo>
                      <a:cubicBezTo>
                        <a:pt x="112" y="23"/>
                        <a:pt x="112" y="23"/>
                        <a:pt x="112" y="23"/>
                      </a:cubicBezTo>
                      <a:cubicBezTo>
                        <a:pt x="110" y="23"/>
                        <a:pt x="110" y="23"/>
                        <a:pt x="110" y="23"/>
                      </a:cubicBezTo>
                      <a:cubicBezTo>
                        <a:pt x="106" y="21"/>
                        <a:pt x="106" y="21"/>
                        <a:pt x="106" y="21"/>
                      </a:cubicBezTo>
                      <a:cubicBezTo>
                        <a:pt x="100" y="17"/>
                        <a:pt x="100" y="17"/>
                        <a:pt x="100" y="17"/>
                      </a:cubicBezTo>
                      <a:cubicBezTo>
                        <a:pt x="99" y="16"/>
                        <a:pt x="99" y="16"/>
                        <a:pt x="99" y="16"/>
                      </a:cubicBezTo>
                      <a:cubicBezTo>
                        <a:pt x="98" y="14"/>
                        <a:pt x="98" y="14"/>
                        <a:pt x="98" y="14"/>
                      </a:cubicBezTo>
                      <a:close/>
                      <a:moveTo>
                        <a:pt x="85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3"/>
                        <a:pt x="88" y="3"/>
                        <a:pt x="88" y="3"/>
                      </a:cubicBezTo>
                      <a:cubicBezTo>
                        <a:pt x="85" y="1"/>
                        <a:pt x="85" y="1"/>
                        <a:pt x="85" y="1"/>
                      </a:cubicBezTo>
                      <a:cubicBezTo>
                        <a:pt x="85" y="0"/>
                        <a:pt x="85" y="0"/>
                        <a:pt x="85" y="0"/>
                      </a:cubicBezTo>
                      <a:close/>
                      <a:moveTo>
                        <a:pt x="91" y="14"/>
                      </a:moveTo>
                      <a:cubicBezTo>
                        <a:pt x="93" y="13"/>
                        <a:pt x="93" y="13"/>
                        <a:pt x="93" y="13"/>
                      </a:cubicBezTo>
                      <a:cubicBezTo>
                        <a:pt x="94" y="14"/>
                        <a:pt x="94" y="14"/>
                        <a:pt x="94" y="14"/>
                      </a:cubicBezTo>
                      <a:cubicBezTo>
                        <a:pt x="94" y="16"/>
                        <a:pt x="94" y="16"/>
                        <a:pt x="94" y="16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91" y="16"/>
                        <a:pt x="91" y="16"/>
                        <a:pt x="91" y="16"/>
                      </a:cubicBezTo>
                      <a:cubicBezTo>
                        <a:pt x="91" y="14"/>
                        <a:pt x="91" y="14"/>
                        <a:pt x="91" y="14"/>
                      </a:cubicBezTo>
                      <a:close/>
                      <a:moveTo>
                        <a:pt x="90" y="38"/>
                      </a:moveTo>
                      <a:cubicBezTo>
                        <a:pt x="92" y="40"/>
                        <a:pt x="92" y="40"/>
                        <a:pt x="92" y="40"/>
                      </a:cubicBezTo>
                      <a:cubicBezTo>
                        <a:pt x="93" y="39"/>
                        <a:pt x="93" y="39"/>
                        <a:pt x="93" y="39"/>
                      </a:cubicBezTo>
                      <a:cubicBezTo>
                        <a:pt x="91" y="37"/>
                        <a:pt x="91" y="37"/>
                        <a:pt x="91" y="37"/>
                      </a:cubicBezTo>
                      <a:cubicBezTo>
                        <a:pt x="90" y="37"/>
                        <a:pt x="90" y="37"/>
                        <a:pt x="90" y="37"/>
                      </a:cubicBezTo>
                      <a:cubicBezTo>
                        <a:pt x="90" y="38"/>
                        <a:pt x="90" y="38"/>
                        <a:pt x="90" y="38"/>
                      </a:cubicBezTo>
                      <a:close/>
                      <a:moveTo>
                        <a:pt x="74" y="43"/>
                      </a:moveTo>
                      <a:cubicBezTo>
                        <a:pt x="73" y="46"/>
                        <a:pt x="73" y="46"/>
                        <a:pt x="73" y="46"/>
                      </a:cubicBezTo>
                      <a:cubicBezTo>
                        <a:pt x="74" y="48"/>
                        <a:pt x="74" y="48"/>
                        <a:pt x="74" y="48"/>
                      </a:cubicBezTo>
                      <a:cubicBezTo>
                        <a:pt x="76" y="48"/>
                        <a:pt x="76" y="48"/>
                        <a:pt x="76" y="48"/>
                      </a:cubicBezTo>
                      <a:cubicBezTo>
                        <a:pt x="79" y="51"/>
                        <a:pt x="79" y="51"/>
                        <a:pt x="79" y="51"/>
                      </a:cubicBezTo>
                      <a:cubicBezTo>
                        <a:pt x="80" y="52"/>
                        <a:pt x="80" y="52"/>
                        <a:pt x="80" y="52"/>
                      </a:cubicBezTo>
                      <a:cubicBezTo>
                        <a:pt x="81" y="51"/>
                        <a:pt x="81" y="51"/>
                        <a:pt x="81" y="51"/>
                      </a:cubicBezTo>
                      <a:cubicBezTo>
                        <a:pt x="84" y="51"/>
                        <a:pt x="84" y="51"/>
                        <a:pt x="84" y="51"/>
                      </a:cubicBezTo>
                      <a:cubicBezTo>
                        <a:pt x="85" y="53"/>
                        <a:pt x="85" y="53"/>
                        <a:pt x="85" y="53"/>
                      </a:cubicBezTo>
                      <a:cubicBezTo>
                        <a:pt x="88" y="53"/>
                        <a:pt x="88" y="53"/>
                        <a:pt x="88" y="53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93" y="52"/>
                        <a:pt x="93" y="52"/>
                        <a:pt x="93" y="52"/>
                      </a:cubicBezTo>
                      <a:cubicBezTo>
                        <a:pt x="95" y="53"/>
                        <a:pt x="95" y="53"/>
                        <a:pt x="95" y="53"/>
                      </a:cubicBezTo>
                      <a:cubicBezTo>
                        <a:pt x="96" y="52"/>
                        <a:pt x="96" y="52"/>
                        <a:pt x="96" y="52"/>
                      </a:cubicBezTo>
                      <a:cubicBezTo>
                        <a:pt x="99" y="53"/>
                        <a:pt x="99" y="53"/>
                        <a:pt x="99" y="53"/>
                      </a:cubicBezTo>
                      <a:cubicBezTo>
                        <a:pt x="99" y="52"/>
                        <a:pt x="99" y="52"/>
                        <a:pt x="99" y="52"/>
                      </a:cubicBezTo>
                      <a:cubicBezTo>
                        <a:pt x="99" y="50"/>
                        <a:pt x="99" y="50"/>
                        <a:pt x="99" y="50"/>
                      </a:cubicBezTo>
                      <a:cubicBezTo>
                        <a:pt x="102" y="50"/>
                        <a:pt x="102" y="50"/>
                        <a:pt x="102" y="50"/>
                      </a:cubicBezTo>
                      <a:cubicBezTo>
                        <a:pt x="105" y="46"/>
                        <a:pt x="105" y="46"/>
                        <a:pt x="105" y="46"/>
                      </a:cubicBezTo>
                      <a:cubicBezTo>
                        <a:pt x="105" y="44"/>
                        <a:pt x="105" y="44"/>
                        <a:pt x="105" y="44"/>
                      </a:cubicBezTo>
                      <a:cubicBezTo>
                        <a:pt x="107" y="44"/>
                        <a:pt x="107" y="44"/>
                        <a:pt x="107" y="44"/>
                      </a:cubicBezTo>
                      <a:cubicBezTo>
                        <a:pt x="108" y="45"/>
                        <a:pt x="108" y="45"/>
                        <a:pt x="108" y="45"/>
                      </a:cubicBezTo>
                      <a:cubicBezTo>
                        <a:pt x="110" y="44"/>
                        <a:pt x="110" y="44"/>
                        <a:pt x="110" y="44"/>
                      </a:cubicBezTo>
                      <a:cubicBezTo>
                        <a:pt x="111" y="43"/>
                        <a:pt x="111" y="43"/>
                        <a:pt x="111" y="43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9" y="39"/>
                        <a:pt x="109" y="39"/>
                        <a:pt x="109" y="39"/>
                      </a:cubicBezTo>
                      <a:cubicBezTo>
                        <a:pt x="111" y="38"/>
                        <a:pt x="111" y="38"/>
                        <a:pt x="111" y="38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114" y="37"/>
                        <a:pt x="114" y="37"/>
                        <a:pt x="114" y="37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2" y="30"/>
                        <a:pt x="112" y="30"/>
                        <a:pt x="112" y="30"/>
                      </a:cubicBezTo>
                      <a:cubicBezTo>
                        <a:pt x="110" y="31"/>
                        <a:pt x="110" y="31"/>
                        <a:pt x="110" y="31"/>
                      </a:cubicBezTo>
                      <a:cubicBezTo>
                        <a:pt x="110" y="32"/>
                        <a:pt x="110" y="32"/>
                        <a:pt x="110" y="32"/>
                      </a:cubicBezTo>
                      <a:cubicBezTo>
                        <a:pt x="109" y="31"/>
                        <a:pt x="109" y="31"/>
                        <a:pt x="109" y="31"/>
                      </a:cubicBezTo>
                      <a:cubicBezTo>
                        <a:pt x="106" y="31"/>
                        <a:pt x="106" y="31"/>
                        <a:pt x="106" y="31"/>
                      </a:cubicBezTo>
                      <a:cubicBezTo>
                        <a:pt x="105" y="33"/>
                        <a:pt x="105" y="33"/>
                        <a:pt x="105" y="33"/>
                      </a:cubicBezTo>
                      <a:cubicBezTo>
                        <a:pt x="106" y="37"/>
                        <a:pt x="106" y="37"/>
                        <a:pt x="106" y="37"/>
                      </a:cubicBezTo>
                      <a:cubicBezTo>
                        <a:pt x="107" y="38"/>
                        <a:pt x="107" y="38"/>
                        <a:pt x="107" y="38"/>
                      </a:cubicBezTo>
                      <a:cubicBezTo>
                        <a:pt x="106" y="39"/>
                        <a:pt x="106" y="39"/>
                        <a:pt x="106" y="39"/>
                      </a:cubicBezTo>
                      <a:cubicBezTo>
                        <a:pt x="104" y="39"/>
                        <a:pt x="104" y="39"/>
                        <a:pt x="104" y="39"/>
                      </a:cubicBezTo>
                      <a:cubicBezTo>
                        <a:pt x="100" y="42"/>
                        <a:pt x="100" y="42"/>
                        <a:pt x="100" y="42"/>
                      </a:cubicBezTo>
                      <a:cubicBezTo>
                        <a:pt x="100" y="44"/>
                        <a:pt x="100" y="44"/>
                        <a:pt x="100" y="44"/>
                      </a:cubicBezTo>
                      <a:cubicBezTo>
                        <a:pt x="98" y="45"/>
                        <a:pt x="98" y="45"/>
                        <a:pt x="98" y="45"/>
                      </a:cubicBezTo>
                      <a:cubicBezTo>
                        <a:pt x="97" y="44"/>
                        <a:pt x="97" y="44"/>
                        <a:pt x="97" y="44"/>
                      </a:cubicBezTo>
                      <a:cubicBezTo>
                        <a:pt x="96" y="45"/>
                        <a:pt x="96" y="45"/>
                        <a:pt x="96" y="45"/>
                      </a:cubicBezTo>
                      <a:cubicBezTo>
                        <a:pt x="95" y="44"/>
                        <a:pt x="95" y="44"/>
                        <a:pt x="95" y="44"/>
                      </a:cubicBezTo>
                      <a:cubicBezTo>
                        <a:pt x="94" y="44"/>
                        <a:pt x="94" y="44"/>
                        <a:pt x="94" y="44"/>
                      </a:cubicBezTo>
                      <a:cubicBezTo>
                        <a:pt x="92" y="45"/>
                        <a:pt x="92" y="45"/>
                        <a:pt x="92" y="45"/>
                      </a:cubicBezTo>
                      <a:cubicBezTo>
                        <a:pt x="91" y="45"/>
                        <a:pt x="91" y="45"/>
                        <a:pt x="91" y="45"/>
                      </a:cubicBezTo>
                      <a:cubicBezTo>
                        <a:pt x="90" y="43"/>
                        <a:pt x="90" y="43"/>
                        <a:pt x="90" y="43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cubicBezTo>
                        <a:pt x="89" y="40"/>
                        <a:pt x="89" y="40"/>
                        <a:pt x="89" y="40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43"/>
                        <a:pt x="89" y="43"/>
                        <a:pt x="89" y="43"/>
                      </a:cubicBezTo>
                      <a:cubicBezTo>
                        <a:pt x="87" y="44"/>
                        <a:pt x="87" y="44"/>
                        <a:pt x="87" y="44"/>
                      </a:cubicBezTo>
                      <a:cubicBezTo>
                        <a:pt x="85" y="43"/>
                        <a:pt x="85" y="43"/>
                        <a:pt x="85" y="43"/>
                      </a:cubicBezTo>
                      <a:cubicBezTo>
                        <a:pt x="83" y="44"/>
                        <a:pt x="83" y="44"/>
                        <a:pt x="83" y="44"/>
                      </a:cubicBezTo>
                      <a:cubicBezTo>
                        <a:pt x="81" y="44"/>
                        <a:pt x="81" y="44"/>
                        <a:pt x="81" y="44"/>
                      </a:cubicBezTo>
                      <a:cubicBezTo>
                        <a:pt x="80" y="44"/>
                        <a:pt x="80" y="44"/>
                        <a:pt x="80" y="44"/>
                      </a:cubicBezTo>
                      <a:cubicBezTo>
                        <a:pt x="78" y="44"/>
                        <a:pt x="78" y="44"/>
                        <a:pt x="78" y="44"/>
                      </a:cubicBezTo>
                      <a:cubicBezTo>
                        <a:pt x="76" y="44"/>
                        <a:pt x="76" y="44"/>
                        <a:pt x="76" y="44"/>
                      </a:cubicBezTo>
                      <a:cubicBezTo>
                        <a:pt x="74" y="43"/>
                        <a:pt x="74" y="43"/>
                        <a:pt x="74" y="43"/>
                      </a:cubicBezTo>
                      <a:close/>
                      <a:moveTo>
                        <a:pt x="67" y="45"/>
                      </a:moveTo>
                      <a:cubicBezTo>
                        <a:pt x="68" y="44"/>
                        <a:pt x="68" y="44"/>
                        <a:pt x="68" y="44"/>
                      </a:cubicBezTo>
                      <a:cubicBezTo>
                        <a:pt x="70" y="45"/>
                        <a:pt x="70" y="45"/>
                        <a:pt x="70" y="45"/>
                      </a:cubicBezTo>
                      <a:cubicBezTo>
                        <a:pt x="70" y="47"/>
                        <a:pt x="70" y="47"/>
                        <a:pt x="70" y="47"/>
                      </a:cubicBezTo>
                      <a:cubicBezTo>
                        <a:pt x="70" y="48"/>
                        <a:pt x="70" y="48"/>
                        <a:pt x="70" y="48"/>
                      </a:cubicBezTo>
                      <a:cubicBezTo>
                        <a:pt x="68" y="47"/>
                        <a:pt x="68" y="47"/>
                        <a:pt x="68" y="47"/>
                      </a:cubicBezTo>
                      <a:cubicBezTo>
                        <a:pt x="67" y="45"/>
                        <a:pt x="67" y="45"/>
                        <a:pt x="67" y="45"/>
                      </a:cubicBezTo>
                      <a:close/>
                      <a:moveTo>
                        <a:pt x="62" y="41"/>
                      </a:moveTo>
                      <a:cubicBezTo>
                        <a:pt x="61" y="43"/>
                        <a:pt x="61" y="43"/>
                        <a:pt x="61" y="43"/>
                      </a:cubicBezTo>
                      <a:cubicBezTo>
                        <a:pt x="62" y="44"/>
                        <a:pt x="62" y="44"/>
                        <a:pt x="62" y="44"/>
                      </a:cubicBezTo>
                      <a:cubicBezTo>
                        <a:pt x="63" y="44"/>
                        <a:pt x="63" y="44"/>
                        <a:pt x="63" y="44"/>
                      </a:cubicBezTo>
                      <a:cubicBezTo>
                        <a:pt x="63" y="42"/>
                        <a:pt x="63" y="42"/>
                        <a:pt x="63" y="42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lose/>
                      <a:moveTo>
                        <a:pt x="52" y="35"/>
                      </a:moveTo>
                      <a:cubicBezTo>
                        <a:pt x="50" y="36"/>
                        <a:pt x="50" y="36"/>
                        <a:pt x="50" y="36"/>
                      </a:cubicBezTo>
                      <a:cubicBezTo>
                        <a:pt x="51" y="37"/>
                        <a:pt x="51" y="37"/>
                        <a:pt x="51" y="37"/>
                      </a:cubicBezTo>
                      <a:cubicBezTo>
                        <a:pt x="52" y="36"/>
                        <a:pt x="52" y="36"/>
                        <a:pt x="52" y="36"/>
                      </a:cubicBezTo>
                      <a:cubicBezTo>
                        <a:pt x="52" y="35"/>
                        <a:pt x="52" y="35"/>
                        <a:pt x="52" y="35"/>
                      </a:cubicBezTo>
                      <a:close/>
                      <a:moveTo>
                        <a:pt x="114" y="80"/>
                      </a:moveTo>
                      <a:cubicBezTo>
                        <a:pt x="113" y="82"/>
                        <a:pt x="113" y="82"/>
                        <a:pt x="113" y="82"/>
                      </a:cubicBezTo>
                      <a:cubicBezTo>
                        <a:pt x="114" y="83"/>
                        <a:pt x="114" y="83"/>
                        <a:pt x="114" y="83"/>
                      </a:cubicBezTo>
                      <a:cubicBezTo>
                        <a:pt x="114" y="82"/>
                        <a:pt x="114" y="82"/>
                        <a:pt x="114" y="82"/>
                      </a:cubicBezTo>
                      <a:cubicBezTo>
                        <a:pt x="116" y="84"/>
                        <a:pt x="116" y="84"/>
                        <a:pt x="116" y="84"/>
                      </a:cubicBezTo>
                      <a:cubicBezTo>
                        <a:pt x="116" y="83"/>
                        <a:pt x="116" y="83"/>
                        <a:pt x="116" y="83"/>
                      </a:cubicBezTo>
                      <a:cubicBezTo>
                        <a:pt x="114" y="80"/>
                        <a:pt x="114" y="80"/>
                        <a:pt x="114" y="80"/>
                      </a:cubicBezTo>
                      <a:close/>
                      <a:moveTo>
                        <a:pt x="99" y="74"/>
                      </a:moveTo>
                      <a:cubicBezTo>
                        <a:pt x="99" y="75"/>
                        <a:pt x="99" y="75"/>
                        <a:pt x="99" y="75"/>
                      </a:cubicBezTo>
                      <a:cubicBezTo>
                        <a:pt x="99" y="76"/>
                        <a:pt x="99" y="76"/>
                        <a:pt x="99" y="76"/>
                      </a:cubicBezTo>
                      <a:cubicBezTo>
                        <a:pt x="100" y="76"/>
                        <a:pt x="100" y="76"/>
                        <a:pt x="100" y="76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8"/>
                        <a:pt x="100" y="78"/>
                        <a:pt x="100" y="78"/>
                      </a:cubicBezTo>
                      <a:cubicBezTo>
                        <a:pt x="100" y="77"/>
                        <a:pt x="100" y="77"/>
                        <a:pt x="100" y="77"/>
                      </a:cubicBezTo>
                      <a:cubicBezTo>
                        <a:pt x="100" y="74"/>
                        <a:pt x="100" y="74"/>
                        <a:pt x="100" y="74"/>
                      </a:cubicBezTo>
                      <a:cubicBezTo>
                        <a:pt x="99" y="74"/>
                        <a:pt x="99" y="74"/>
                        <a:pt x="99" y="74"/>
                      </a:cubicBezTo>
                      <a:close/>
                      <a:moveTo>
                        <a:pt x="95" y="89"/>
                      </a:moveTo>
                      <a:cubicBezTo>
                        <a:pt x="96" y="89"/>
                        <a:pt x="96" y="89"/>
                        <a:pt x="96" y="89"/>
                      </a:cubicBezTo>
                      <a:cubicBezTo>
                        <a:pt x="97" y="90"/>
                        <a:pt x="97" y="90"/>
                        <a:pt x="97" y="90"/>
                      </a:cubicBezTo>
                      <a:cubicBezTo>
                        <a:pt x="97" y="90"/>
                        <a:pt x="97" y="90"/>
                        <a:pt x="97" y="90"/>
                      </a:cubicBezTo>
                      <a:cubicBezTo>
                        <a:pt x="98" y="90"/>
                        <a:pt x="98" y="90"/>
                        <a:pt x="98" y="90"/>
                      </a:cubicBezTo>
                      <a:cubicBezTo>
                        <a:pt x="98" y="91"/>
                        <a:pt x="98" y="91"/>
                        <a:pt x="98" y="91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1" y="91"/>
                        <a:pt x="101" y="91"/>
                        <a:pt x="101" y="91"/>
                      </a:cubicBezTo>
                      <a:cubicBezTo>
                        <a:pt x="100" y="92"/>
                        <a:pt x="100" y="92"/>
                        <a:pt x="100" y="92"/>
                      </a:cubicBezTo>
                      <a:cubicBezTo>
                        <a:pt x="99" y="92"/>
                        <a:pt x="99" y="92"/>
                        <a:pt x="99" y="92"/>
                      </a:cubicBezTo>
                      <a:cubicBezTo>
                        <a:pt x="98" y="93"/>
                        <a:pt x="98" y="93"/>
                        <a:pt x="98" y="93"/>
                      </a:cubicBezTo>
                      <a:cubicBezTo>
                        <a:pt x="97" y="92"/>
                        <a:pt x="97" y="92"/>
                        <a:pt x="97" y="92"/>
                      </a:cubicBezTo>
                      <a:cubicBezTo>
                        <a:pt x="97" y="91"/>
                        <a:pt x="97" y="91"/>
                        <a:pt x="97" y="91"/>
                      </a:cubicBezTo>
                      <a:cubicBezTo>
                        <a:pt x="97" y="91"/>
                        <a:pt x="97" y="91"/>
                        <a:pt x="97" y="91"/>
                      </a:cubicBezTo>
                      <a:cubicBezTo>
                        <a:pt x="96" y="89"/>
                        <a:pt x="96" y="89"/>
                        <a:pt x="96" y="89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lose/>
                      <a:moveTo>
                        <a:pt x="93" y="85"/>
                      </a:moveTo>
                      <a:cubicBezTo>
                        <a:pt x="94" y="87"/>
                        <a:pt x="94" y="87"/>
                        <a:pt x="94" y="87"/>
                      </a:cubicBezTo>
                      <a:cubicBezTo>
                        <a:pt x="95" y="88"/>
                        <a:pt x="95" y="88"/>
                        <a:pt x="95" y="88"/>
                      </a:cubicBezTo>
                      <a:cubicBezTo>
                        <a:pt x="96" y="88"/>
                        <a:pt x="96" y="88"/>
                        <a:pt x="96" y="88"/>
                      </a:cubicBezTo>
                      <a:cubicBezTo>
                        <a:pt x="96" y="88"/>
                        <a:pt x="96" y="88"/>
                        <a:pt x="96" y="88"/>
                      </a:cubicBezTo>
                      <a:cubicBezTo>
                        <a:pt x="97" y="87"/>
                        <a:pt x="97" y="87"/>
                        <a:pt x="97" y="87"/>
                      </a:cubicBezTo>
                      <a:cubicBezTo>
                        <a:pt x="96" y="87"/>
                        <a:pt x="96" y="87"/>
                        <a:pt x="96" y="87"/>
                      </a:cubicBezTo>
                      <a:cubicBezTo>
                        <a:pt x="96" y="87"/>
                        <a:pt x="96" y="87"/>
                        <a:pt x="96" y="87"/>
                      </a:cubicBezTo>
                      <a:cubicBezTo>
                        <a:pt x="96" y="86"/>
                        <a:pt x="96" y="86"/>
                        <a:pt x="96" y="86"/>
                      </a:cubicBezTo>
                      <a:cubicBezTo>
                        <a:pt x="96" y="85"/>
                        <a:pt x="96" y="85"/>
                        <a:pt x="96" y="85"/>
                      </a:cubicBezTo>
                      <a:cubicBezTo>
                        <a:pt x="95" y="85"/>
                        <a:pt x="95" y="85"/>
                        <a:pt x="95" y="85"/>
                      </a:cubicBezTo>
                      <a:cubicBezTo>
                        <a:pt x="94" y="85"/>
                        <a:pt x="94" y="85"/>
                        <a:pt x="94" y="85"/>
                      </a:cubicBezTo>
                      <a:cubicBezTo>
                        <a:pt x="93" y="85"/>
                        <a:pt x="93" y="85"/>
                        <a:pt x="93" y="85"/>
                      </a:cubicBezTo>
                      <a:close/>
                      <a:moveTo>
                        <a:pt x="89" y="84"/>
                      </a:moveTo>
                      <a:cubicBezTo>
                        <a:pt x="90" y="85"/>
                        <a:pt x="90" y="85"/>
                        <a:pt x="90" y="85"/>
                      </a:cubicBezTo>
                      <a:cubicBezTo>
                        <a:pt x="91" y="85"/>
                        <a:pt x="91" y="85"/>
                        <a:pt x="91" y="85"/>
                      </a:cubicBezTo>
                      <a:cubicBezTo>
                        <a:pt x="91" y="86"/>
                        <a:pt x="91" y="86"/>
                        <a:pt x="91" y="86"/>
                      </a:cubicBezTo>
                      <a:cubicBezTo>
                        <a:pt x="92" y="87"/>
                        <a:pt x="92" y="87"/>
                        <a:pt x="92" y="87"/>
                      </a:cubicBezTo>
                      <a:cubicBezTo>
                        <a:pt x="92" y="85"/>
                        <a:pt x="92" y="85"/>
                        <a:pt x="92" y="85"/>
                      </a:cubicBezTo>
                      <a:cubicBezTo>
                        <a:pt x="91" y="84"/>
                        <a:pt x="91" y="84"/>
                        <a:pt x="91" y="84"/>
                      </a:cubicBezTo>
                      <a:cubicBezTo>
                        <a:pt x="90" y="83"/>
                        <a:pt x="90" y="83"/>
                        <a:pt x="90" y="83"/>
                      </a:cubicBezTo>
                      <a:cubicBezTo>
                        <a:pt x="89" y="84"/>
                        <a:pt x="89" y="84"/>
                        <a:pt x="89" y="84"/>
                      </a:cubicBezTo>
                      <a:close/>
                      <a:moveTo>
                        <a:pt x="41" y="67"/>
                      </a:moveTo>
                      <a:cubicBezTo>
                        <a:pt x="40" y="68"/>
                        <a:pt x="40" y="68"/>
                        <a:pt x="40" y="68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1" y="69"/>
                        <a:pt x="41" y="67"/>
                        <a:pt x="41" y="67"/>
                      </a:cubicBezTo>
                      <a:close/>
                      <a:moveTo>
                        <a:pt x="37" y="68"/>
                      </a:move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7" y="67"/>
                        <a:pt x="37" y="67"/>
                        <a:pt x="37" y="67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lose/>
                      <a:moveTo>
                        <a:pt x="34" y="67"/>
                      </a:moveTo>
                      <a:cubicBezTo>
                        <a:pt x="34" y="68"/>
                        <a:pt x="34" y="68"/>
                        <a:pt x="34" y="68"/>
                      </a:cubicBezTo>
                      <a:cubicBezTo>
                        <a:pt x="35" y="68"/>
                        <a:pt x="35" y="68"/>
                        <a:pt x="35" y="68"/>
                      </a:cubicBezTo>
                      <a:cubicBezTo>
                        <a:pt x="35" y="68"/>
                        <a:pt x="35" y="68"/>
                        <a:pt x="35" y="68"/>
                      </a:cubicBezTo>
                      <a:cubicBezTo>
                        <a:pt x="34" y="67"/>
                        <a:pt x="34" y="67"/>
                        <a:pt x="34" y="67"/>
                      </a:cubicBezTo>
                      <a:close/>
                      <a:moveTo>
                        <a:pt x="36" y="68"/>
                      </a:moveTo>
                      <a:cubicBezTo>
                        <a:pt x="35" y="66"/>
                        <a:pt x="35" y="66"/>
                        <a:pt x="35" y="66"/>
                      </a:cubicBezTo>
                      <a:cubicBezTo>
                        <a:pt x="35" y="65"/>
                        <a:pt x="35" y="65"/>
                        <a:pt x="35" y="65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36" y="68"/>
                        <a:pt x="36" y="68"/>
                        <a:pt x="36" y="68"/>
                      </a:cubicBezTo>
                      <a:close/>
                      <a:moveTo>
                        <a:pt x="29" y="68"/>
                      </a:moveTo>
                      <a:cubicBezTo>
                        <a:pt x="30" y="69"/>
                        <a:pt x="30" y="69"/>
                        <a:pt x="30" y="69"/>
                      </a:cubicBezTo>
                      <a:cubicBezTo>
                        <a:pt x="31" y="69"/>
                        <a:pt x="31" y="69"/>
                        <a:pt x="31" y="69"/>
                      </a:cubicBezTo>
                      <a:cubicBezTo>
                        <a:pt x="30" y="68"/>
                        <a:pt x="30" y="68"/>
                        <a:pt x="30" y="68"/>
                      </a:cubicBezTo>
                      <a:cubicBezTo>
                        <a:pt x="29" y="68"/>
                        <a:pt x="29" y="68"/>
                        <a:pt x="29" y="68"/>
                      </a:cubicBezTo>
                      <a:close/>
                      <a:moveTo>
                        <a:pt x="26" y="75"/>
                      </a:moveTo>
                      <a:cubicBezTo>
                        <a:pt x="27" y="74"/>
                        <a:pt x="27" y="74"/>
                        <a:pt x="27" y="74"/>
                      </a:cubicBezTo>
                      <a:cubicBezTo>
                        <a:pt x="29" y="74"/>
                        <a:pt x="29" y="74"/>
                        <a:pt x="29" y="74"/>
                      </a:cubicBezTo>
                      <a:cubicBezTo>
                        <a:pt x="28" y="75"/>
                        <a:pt x="28" y="75"/>
                        <a:pt x="28" y="75"/>
                      </a:cubicBezTo>
                      <a:cubicBezTo>
                        <a:pt x="28" y="75"/>
                        <a:pt x="26" y="75"/>
                        <a:pt x="26" y="75"/>
                      </a:cubicBezTo>
                      <a:close/>
                      <a:moveTo>
                        <a:pt x="26" y="77"/>
                      </a:moveTo>
                      <a:cubicBezTo>
                        <a:pt x="27" y="77"/>
                        <a:pt x="27" y="77"/>
                        <a:pt x="27" y="77"/>
                      </a:cubicBezTo>
                      <a:cubicBezTo>
                        <a:pt x="26" y="76"/>
                        <a:pt x="26" y="76"/>
                        <a:pt x="26" y="76"/>
                      </a:cubicBezTo>
                      <a:cubicBezTo>
                        <a:pt x="26" y="77"/>
                        <a:pt x="26" y="77"/>
                        <a:pt x="26" y="77"/>
                      </a:cubicBezTo>
                      <a:close/>
                      <a:moveTo>
                        <a:pt x="24" y="76"/>
                      </a:moveTo>
                      <a:cubicBezTo>
                        <a:pt x="25" y="76"/>
                        <a:pt x="25" y="76"/>
                        <a:pt x="25" y="76"/>
                      </a:cubicBezTo>
                      <a:cubicBezTo>
                        <a:pt x="25" y="75"/>
                        <a:pt x="25" y="75"/>
                        <a:pt x="25" y="75"/>
                      </a:cubicBezTo>
                      <a:cubicBezTo>
                        <a:pt x="24" y="76"/>
                        <a:pt x="24" y="76"/>
                        <a:pt x="24" y="76"/>
                      </a:cubicBezTo>
                      <a:close/>
                      <a:moveTo>
                        <a:pt x="23" y="76"/>
                      </a:moveTo>
                      <a:cubicBezTo>
                        <a:pt x="23" y="76"/>
                        <a:pt x="26" y="78"/>
                        <a:pt x="26" y="78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23" y="76"/>
                        <a:pt x="23" y="76"/>
                        <a:pt x="23" y="76"/>
                      </a:cubicBezTo>
                      <a:close/>
                      <a:moveTo>
                        <a:pt x="26" y="72"/>
                      </a:move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7" y="72"/>
                        <a:pt x="27" y="72"/>
                        <a:pt x="27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lose/>
                      <a:moveTo>
                        <a:pt x="28" y="71"/>
                      </a:moveTo>
                      <a:cubicBezTo>
                        <a:pt x="27" y="70"/>
                        <a:pt x="27" y="70"/>
                        <a:pt x="27" y="70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29" y="71"/>
                        <a:pt x="29" y="71"/>
                        <a:pt x="29" y="71"/>
                      </a:cubicBezTo>
                      <a:cubicBezTo>
                        <a:pt x="29" y="71"/>
                        <a:pt x="28" y="71"/>
                        <a:pt x="28" y="71"/>
                      </a:cubicBezTo>
                      <a:close/>
                      <a:moveTo>
                        <a:pt x="3" y="15"/>
                      </a:move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7"/>
                        <a:pt x="1" y="57"/>
                        <a:pt x="1" y="57"/>
                      </a:cubicBez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4" y="82"/>
                        <a:pt x="4" y="82"/>
                        <a:pt x="4" y="82"/>
                      </a:cubicBezTo>
                      <a:cubicBezTo>
                        <a:pt x="5" y="83"/>
                        <a:pt x="5" y="83"/>
                        <a:pt x="5" y="83"/>
                      </a:cubicBezTo>
                      <a:cubicBezTo>
                        <a:pt x="6" y="82"/>
                        <a:pt x="6" y="82"/>
                        <a:pt x="6" y="82"/>
                      </a:cubicBezTo>
                      <a:cubicBezTo>
                        <a:pt x="12" y="82"/>
                        <a:pt x="12" y="82"/>
                        <a:pt x="12" y="82"/>
                      </a:cubicBezTo>
                      <a:cubicBezTo>
                        <a:pt x="13" y="82"/>
                        <a:pt x="13" y="82"/>
                        <a:pt x="13" y="82"/>
                      </a:cubicBezTo>
                      <a:cubicBezTo>
                        <a:pt x="13" y="83"/>
                        <a:pt x="13" y="83"/>
                        <a:pt x="13" y="83"/>
                      </a:cubicBezTo>
                      <a:cubicBezTo>
                        <a:pt x="15" y="84"/>
                        <a:pt x="15" y="84"/>
                        <a:pt x="15" y="84"/>
                      </a:cubicBezTo>
                      <a:cubicBezTo>
                        <a:pt x="16" y="85"/>
                        <a:pt x="16" y="85"/>
                        <a:pt x="16" y="85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22" y="82"/>
                        <a:pt x="22" y="82"/>
                        <a:pt x="22" y="82"/>
                      </a:cubicBezTo>
                      <a:cubicBezTo>
                        <a:pt x="23" y="82"/>
                        <a:pt x="23" y="82"/>
                        <a:pt x="23" y="82"/>
                      </a:cubicBezTo>
                      <a:cubicBezTo>
                        <a:pt x="24" y="81"/>
                        <a:pt x="24" y="81"/>
                        <a:pt x="24" y="81"/>
                      </a:cubicBezTo>
                      <a:cubicBezTo>
                        <a:pt x="23" y="79"/>
                        <a:pt x="23" y="79"/>
                        <a:pt x="23" y="79"/>
                      </a:cubicBezTo>
                      <a:cubicBezTo>
                        <a:pt x="21" y="77"/>
                        <a:pt x="21" y="77"/>
                        <a:pt x="21" y="77"/>
                      </a:cubicBezTo>
                      <a:cubicBezTo>
                        <a:pt x="18" y="75"/>
                        <a:pt x="18" y="75"/>
                        <a:pt x="18" y="75"/>
                      </a:cubicBezTo>
                      <a:cubicBezTo>
                        <a:pt x="16" y="75"/>
                        <a:pt x="16" y="75"/>
                        <a:pt x="16" y="75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3" y="73"/>
                        <a:pt x="13" y="73"/>
                        <a:pt x="13" y="73"/>
                      </a:cubicBezTo>
                      <a:cubicBezTo>
                        <a:pt x="13" y="74"/>
                        <a:pt x="13" y="74"/>
                        <a:pt x="13" y="74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1" y="70"/>
                        <a:pt x="11" y="70"/>
                        <a:pt x="11" y="70"/>
                      </a:cubicBezTo>
                      <a:cubicBezTo>
                        <a:pt x="10" y="68"/>
                        <a:pt x="10" y="68"/>
                        <a:pt x="10" y="68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7" y="66"/>
                        <a:pt x="7" y="66"/>
                        <a:pt x="7" y="66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8" y="66"/>
                        <a:pt x="8" y="66"/>
                        <a:pt x="8" y="66"/>
                      </a:cubicBezTo>
                      <a:cubicBezTo>
                        <a:pt x="8" y="67"/>
                        <a:pt x="8" y="67"/>
                        <a:pt x="8" y="67"/>
                      </a:cubicBezTo>
                      <a:cubicBezTo>
                        <a:pt x="9" y="67"/>
                        <a:pt x="9" y="67"/>
                        <a:pt x="9" y="67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2" y="70"/>
                        <a:pt x="12" y="70"/>
                        <a:pt x="12" y="70"/>
                      </a:cubicBezTo>
                      <a:cubicBezTo>
                        <a:pt x="12" y="72"/>
                        <a:pt x="12" y="72"/>
                        <a:pt x="12" y="72"/>
                      </a:cubicBezTo>
                      <a:cubicBezTo>
                        <a:pt x="13" y="73"/>
                        <a:pt x="13" y="73"/>
                        <a:pt x="13" y="73"/>
                      </a:cubicBezTo>
                      <a:cubicBezTo>
                        <a:pt x="15" y="73"/>
                        <a:pt x="15" y="73"/>
                        <a:pt x="15" y="73"/>
                      </a:cubicBezTo>
                      <a:cubicBezTo>
                        <a:pt x="17" y="74"/>
                        <a:pt x="17" y="74"/>
                        <a:pt x="17" y="74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20" y="74"/>
                        <a:pt x="20" y="74"/>
                        <a:pt x="20" y="74"/>
                      </a:cubicBezTo>
                      <a:cubicBezTo>
                        <a:pt x="23" y="74"/>
                        <a:pt x="23" y="74"/>
                        <a:pt x="23" y="74"/>
                      </a:cubicBezTo>
                      <a:cubicBezTo>
                        <a:pt x="24" y="74"/>
                        <a:pt x="24" y="74"/>
                        <a:pt x="24" y="74"/>
                      </a:cubicBezTo>
                      <a:cubicBezTo>
                        <a:pt x="26" y="73"/>
                        <a:pt x="26" y="73"/>
                        <a:pt x="26" y="73"/>
                      </a:cubicBezTo>
                      <a:cubicBezTo>
                        <a:pt x="26" y="72"/>
                        <a:pt x="26" y="72"/>
                        <a:pt x="26" y="72"/>
                      </a:cubicBezTo>
                      <a:cubicBezTo>
                        <a:pt x="24" y="72"/>
                        <a:pt x="24" y="72"/>
                        <a:pt x="24" y="72"/>
                      </a:cubicBezTo>
                      <a:cubicBezTo>
                        <a:pt x="23" y="70"/>
                        <a:pt x="23" y="70"/>
                        <a:pt x="23" y="70"/>
                      </a:cubicBezTo>
                      <a:cubicBezTo>
                        <a:pt x="22" y="70"/>
                        <a:pt x="22" y="70"/>
                        <a:pt x="22" y="70"/>
                      </a:cubicBezTo>
                      <a:cubicBezTo>
                        <a:pt x="21" y="69"/>
                        <a:pt x="21" y="69"/>
                        <a:pt x="21" y="69"/>
                      </a:cubicBezTo>
                      <a:cubicBezTo>
                        <a:pt x="23" y="70"/>
                        <a:pt x="23" y="70"/>
                        <a:pt x="23" y="70"/>
                      </a:cubicBezTo>
                      <a:cubicBezTo>
                        <a:pt x="24" y="69"/>
                        <a:pt x="24" y="69"/>
                        <a:pt x="24" y="69"/>
                      </a:cubicBezTo>
                      <a:cubicBezTo>
                        <a:pt x="26" y="71"/>
                        <a:pt x="26" y="71"/>
                        <a:pt x="26" y="71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27" y="70"/>
                        <a:pt x="27" y="70"/>
                        <a:pt x="27" y="70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8" y="67"/>
                        <a:pt x="28" y="67"/>
                        <a:pt x="28" y="67"/>
                      </a:cubicBezTo>
                      <a:cubicBezTo>
                        <a:pt x="28" y="66"/>
                        <a:pt x="28" y="66"/>
                        <a:pt x="28" y="66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8" y="64"/>
                        <a:pt x="28" y="64"/>
                        <a:pt x="28" y="64"/>
                      </a:cubicBezTo>
                      <a:cubicBezTo>
                        <a:pt x="29" y="66"/>
                        <a:pt x="29" y="66"/>
                        <a:pt x="29" y="66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32" y="68"/>
                        <a:pt x="32" y="68"/>
                        <a:pt x="32" y="68"/>
                      </a:cubicBezTo>
                      <a:cubicBezTo>
                        <a:pt x="32" y="67"/>
                        <a:pt x="32" y="67"/>
                        <a:pt x="32" y="67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4" y="66"/>
                        <a:pt x="34" y="66"/>
                        <a:pt x="34" y="66"/>
                      </a:cubicBezTo>
                      <a:cubicBezTo>
                        <a:pt x="33" y="65"/>
                        <a:pt x="33" y="65"/>
                        <a:pt x="33" y="65"/>
                      </a:cubicBezTo>
                      <a:cubicBezTo>
                        <a:pt x="34" y="63"/>
                        <a:pt x="34" y="63"/>
                        <a:pt x="34" y="63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7" y="65"/>
                        <a:pt x="37" y="65"/>
                        <a:pt x="37" y="65"/>
                      </a:cubicBezTo>
                      <a:cubicBezTo>
                        <a:pt x="37" y="66"/>
                        <a:pt x="37" y="66"/>
                        <a:pt x="37" y="66"/>
                      </a:cubicBezTo>
                      <a:cubicBezTo>
                        <a:pt x="39" y="67"/>
                        <a:pt x="39" y="67"/>
                        <a:pt x="39" y="67"/>
                      </a:cubicBezTo>
                      <a:cubicBezTo>
                        <a:pt x="40" y="67"/>
                        <a:pt x="40" y="67"/>
                        <a:pt x="40" y="67"/>
                      </a:cubicBezTo>
                      <a:cubicBezTo>
                        <a:pt x="40" y="67"/>
                        <a:pt x="40" y="67"/>
                        <a:pt x="40" y="67"/>
                      </a:cubicBezTo>
                      <a:cubicBezTo>
                        <a:pt x="41" y="66"/>
                        <a:pt x="41" y="66"/>
                        <a:pt x="41" y="66"/>
                      </a:cubicBezTo>
                      <a:cubicBezTo>
                        <a:pt x="41" y="67"/>
                        <a:pt x="41" y="67"/>
                        <a:pt x="41" y="67"/>
                      </a:cubicBezTo>
                      <a:cubicBezTo>
                        <a:pt x="41" y="68"/>
                        <a:pt x="41" y="68"/>
                        <a:pt x="41" y="68"/>
                      </a:cubicBezTo>
                      <a:cubicBezTo>
                        <a:pt x="42" y="69"/>
                        <a:pt x="42" y="69"/>
                        <a:pt x="42" y="69"/>
                      </a:cubicBezTo>
                      <a:cubicBezTo>
                        <a:pt x="43" y="70"/>
                        <a:pt x="43" y="70"/>
                        <a:pt x="43" y="70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50" y="72"/>
                        <a:pt x="50" y="72"/>
                        <a:pt x="50" y="72"/>
                      </a:cubicBezTo>
                      <a:cubicBezTo>
                        <a:pt x="52" y="74"/>
                        <a:pt x="52" y="74"/>
                        <a:pt x="52" y="74"/>
                      </a:cubicBezTo>
                      <a:cubicBezTo>
                        <a:pt x="53" y="77"/>
                        <a:pt x="53" y="77"/>
                        <a:pt x="53" y="77"/>
                      </a:cubicBezTo>
                      <a:cubicBezTo>
                        <a:pt x="55" y="80"/>
                        <a:pt x="55" y="80"/>
                        <a:pt x="55" y="80"/>
                      </a:cubicBezTo>
                      <a:cubicBezTo>
                        <a:pt x="56" y="81"/>
                        <a:pt x="56" y="81"/>
                        <a:pt x="56" y="81"/>
                      </a:cubicBezTo>
                      <a:cubicBezTo>
                        <a:pt x="57" y="82"/>
                        <a:pt x="57" y="82"/>
                        <a:pt x="57" y="82"/>
                      </a:cubicBezTo>
                      <a:cubicBezTo>
                        <a:pt x="58" y="83"/>
                        <a:pt x="58" y="83"/>
                        <a:pt x="58" y="83"/>
                      </a:cubicBezTo>
                      <a:cubicBezTo>
                        <a:pt x="59" y="85"/>
                        <a:pt x="59" y="85"/>
                        <a:pt x="59" y="85"/>
                      </a:cubicBezTo>
                      <a:cubicBezTo>
                        <a:pt x="63" y="89"/>
                        <a:pt x="63" y="89"/>
                        <a:pt x="63" y="89"/>
                      </a:cubicBezTo>
                      <a:cubicBezTo>
                        <a:pt x="63" y="91"/>
                        <a:pt x="63" y="91"/>
                        <a:pt x="63" y="91"/>
                      </a:cubicBezTo>
                      <a:cubicBezTo>
                        <a:pt x="65" y="92"/>
                        <a:pt x="65" y="92"/>
                        <a:pt x="65" y="92"/>
                      </a:cubicBezTo>
                      <a:cubicBezTo>
                        <a:pt x="68" y="93"/>
                        <a:pt x="68" y="93"/>
                        <a:pt x="68" y="93"/>
                      </a:cubicBezTo>
                      <a:cubicBezTo>
                        <a:pt x="69" y="93"/>
                        <a:pt x="69" y="93"/>
                        <a:pt x="69" y="93"/>
                      </a:cubicBezTo>
                      <a:cubicBezTo>
                        <a:pt x="70" y="93"/>
                        <a:pt x="70" y="93"/>
                        <a:pt x="70" y="93"/>
                      </a:cubicBezTo>
                      <a:cubicBezTo>
                        <a:pt x="71" y="93"/>
                        <a:pt x="71" y="93"/>
                        <a:pt x="71" y="93"/>
                      </a:cubicBezTo>
                      <a:cubicBezTo>
                        <a:pt x="74" y="93"/>
                        <a:pt x="74" y="93"/>
                        <a:pt x="74" y="93"/>
                      </a:cubicBezTo>
                      <a:cubicBezTo>
                        <a:pt x="76" y="94"/>
                        <a:pt x="76" y="94"/>
                        <a:pt x="76" y="94"/>
                      </a:cubicBezTo>
                      <a:cubicBezTo>
                        <a:pt x="78" y="93"/>
                        <a:pt x="78" y="93"/>
                        <a:pt x="78" y="93"/>
                      </a:cubicBezTo>
                      <a:cubicBezTo>
                        <a:pt x="81" y="94"/>
                        <a:pt x="81" y="94"/>
                        <a:pt x="81" y="94"/>
                      </a:cubicBezTo>
                      <a:cubicBezTo>
                        <a:pt x="82" y="95"/>
                        <a:pt x="82" y="95"/>
                        <a:pt x="82" y="95"/>
                      </a:cubicBezTo>
                      <a:cubicBezTo>
                        <a:pt x="85" y="94"/>
                        <a:pt x="85" y="94"/>
                        <a:pt x="85" y="94"/>
                      </a:cubicBezTo>
                      <a:cubicBezTo>
                        <a:pt x="86" y="96"/>
                        <a:pt x="86" y="96"/>
                        <a:pt x="86" y="96"/>
                      </a:cubicBezTo>
                      <a:cubicBezTo>
                        <a:pt x="88" y="96"/>
                        <a:pt x="88" y="96"/>
                        <a:pt x="88" y="96"/>
                      </a:cubicBezTo>
                      <a:cubicBezTo>
                        <a:pt x="88" y="96"/>
                        <a:pt x="88" y="96"/>
                        <a:pt x="88" y="96"/>
                      </a:cubicBezTo>
                      <a:cubicBezTo>
                        <a:pt x="87" y="97"/>
                        <a:pt x="87" y="97"/>
                        <a:pt x="87" y="97"/>
                      </a:cubicBezTo>
                      <a:cubicBezTo>
                        <a:pt x="89" y="98"/>
                        <a:pt x="89" y="98"/>
                        <a:pt x="89" y="98"/>
                      </a:cubicBezTo>
                      <a:cubicBezTo>
                        <a:pt x="91" y="99"/>
                        <a:pt x="91" y="99"/>
                        <a:pt x="91" y="99"/>
                      </a:cubicBezTo>
                      <a:cubicBezTo>
                        <a:pt x="93" y="98"/>
                        <a:pt x="93" y="98"/>
                        <a:pt x="93" y="98"/>
                      </a:cubicBezTo>
                      <a:cubicBezTo>
                        <a:pt x="94" y="97"/>
                        <a:pt x="94" y="97"/>
                        <a:pt x="94" y="97"/>
                      </a:cubicBezTo>
                      <a:cubicBezTo>
                        <a:pt x="91" y="96"/>
                        <a:pt x="91" y="96"/>
                        <a:pt x="91" y="96"/>
                      </a:cubicBezTo>
                      <a:cubicBezTo>
                        <a:pt x="91" y="96"/>
                        <a:pt x="91" y="96"/>
                        <a:pt x="91" y="96"/>
                      </a:cubicBezTo>
                      <a:cubicBezTo>
                        <a:pt x="91" y="95"/>
                        <a:pt x="91" y="95"/>
                        <a:pt x="91" y="95"/>
                      </a:cubicBezTo>
                      <a:cubicBezTo>
                        <a:pt x="92" y="94"/>
                        <a:pt x="92" y="94"/>
                        <a:pt x="92" y="94"/>
                      </a:cubicBezTo>
                      <a:cubicBezTo>
                        <a:pt x="94" y="95"/>
                        <a:pt x="94" y="95"/>
                        <a:pt x="94" y="95"/>
                      </a:cubicBezTo>
                      <a:cubicBezTo>
                        <a:pt x="96" y="94"/>
                        <a:pt x="96" y="94"/>
                        <a:pt x="96" y="94"/>
                      </a:cubicBezTo>
                      <a:cubicBezTo>
                        <a:pt x="92" y="93"/>
                        <a:pt x="92" y="93"/>
                        <a:pt x="92" y="93"/>
                      </a:cubicBezTo>
                      <a:cubicBezTo>
                        <a:pt x="88" y="92"/>
                        <a:pt x="88" y="92"/>
                        <a:pt x="88" y="92"/>
                      </a:cubicBezTo>
                      <a:cubicBezTo>
                        <a:pt x="85" y="91"/>
                        <a:pt x="85" y="91"/>
                        <a:pt x="85" y="91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6" y="89"/>
                        <a:pt x="86" y="89"/>
                        <a:pt x="86" y="89"/>
                      </a:cubicBezTo>
                      <a:cubicBezTo>
                        <a:pt x="88" y="89"/>
                        <a:pt x="88" y="89"/>
                        <a:pt x="88" y="89"/>
                      </a:cubicBezTo>
                      <a:cubicBezTo>
                        <a:pt x="89" y="88"/>
                        <a:pt x="89" y="88"/>
                        <a:pt x="89" y="88"/>
                      </a:cubicBezTo>
                      <a:cubicBezTo>
                        <a:pt x="87" y="87"/>
                        <a:pt x="87" y="87"/>
                        <a:pt x="87" y="87"/>
                      </a:cubicBezTo>
                      <a:cubicBezTo>
                        <a:pt x="84" y="87"/>
                        <a:pt x="84" y="87"/>
                        <a:pt x="84" y="87"/>
                      </a:cubicBezTo>
                      <a:cubicBezTo>
                        <a:pt x="81" y="87"/>
                        <a:pt x="81" y="87"/>
                        <a:pt x="81" y="87"/>
                      </a:cubicBezTo>
                      <a:cubicBezTo>
                        <a:pt x="80" y="86"/>
                        <a:pt x="80" y="86"/>
                        <a:pt x="80" y="86"/>
                      </a:cubicBezTo>
                      <a:cubicBezTo>
                        <a:pt x="80" y="84"/>
                        <a:pt x="80" y="84"/>
                        <a:pt x="80" y="84"/>
                      </a:cubicBezTo>
                      <a:cubicBezTo>
                        <a:pt x="81" y="83"/>
                        <a:pt x="81" y="83"/>
                        <a:pt x="81" y="83"/>
                      </a:cubicBezTo>
                      <a:cubicBezTo>
                        <a:pt x="81" y="82"/>
                        <a:pt x="81" y="82"/>
                        <a:pt x="81" y="82"/>
                      </a:cubicBezTo>
                      <a:cubicBezTo>
                        <a:pt x="80" y="81"/>
                        <a:pt x="80" y="81"/>
                        <a:pt x="80" y="81"/>
                      </a:cubicBezTo>
                      <a:cubicBezTo>
                        <a:pt x="79" y="81"/>
                        <a:pt x="79" y="81"/>
                        <a:pt x="79" y="81"/>
                      </a:cubicBezTo>
                      <a:cubicBezTo>
                        <a:pt x="78" y="81"/>
                        <a:pt x="78" y="81"/>
                        <a:pt x="78" y="81"/>
                      </a:cubicBezTo>
                      <a:cubicBezTo>
                        <a:pt x="77" y="81"/>
                        <a:pt x="77" y="81"/>
                        <a:pt x="77" y="81"/>
                      </a:cubicBezTo>
                      <a:cubicBezTo>
                        <a:pt x="76" y="81"/>
                        <a:pt x="76" y="81"/>
                        <a:pt x="76" y="81"/>
                      </a:cubicBezTo>
                      <a:cubicBezTo>
                        <a:pt x="74" y="79"/>
                        <a:pt x="74" y="79"/>
                        <a:pt x="74" y="79"/>
                      </a:cubicBezTo>
                      <a:cubicBezTo>
                        <a:pt x="74" y="76"/>
                        <a:pt x="74" y="76"/>
                        <a:pt x="74" y="76"/>
                      </a:cubicBezTo>
                      <a:cubicBezTo>
                        <a:pt x="72" y="76"/>
                        <a:pt x="72" y="76"/>
                        <a:pt x="72" y="76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69" y="69"/>
                        <a:pt x="69" y="69"/>
                        <a:pt x="69" y="69"/>
                      </a:cubicBezTo>
                      <a:cubicBezTo>
                        <a:pt x="67" y="69"/>
                        <a:pt x="67" y="69"/>
                        <a:pt x="67" y="69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2" y="62"/>
                        <a:pt x="62" y="62"/>
                        <a:pt x="62" y="62"/>
                      </a:cubicBezTo>
                      <a:cubicBezTo>
                        <a:pt x="60" y="61"/>
                        <a:pt x="60" y="61"/>
                        <a:pt x="60" y="61"/>
                      </a:cubicBezTo>
                      <a:cubicBezTo>
                        <a:pt x="59" y="59"/>
                        <a:pt x="59" y="59"/>
                        <a:pt x="59" y="59"/>
                      </a:cubicBezTo>
                      <a:cubicBezTo>
                        <a:pt x="60" y="58"/>
                        <a:pt x="60" y="58"/>
                        <a:pt x="60" y="58"/>
                      </a:cubicBezTo>
                      <a:cubicBezTo>
                        <a:pt x="64" y="58"/>
                        <a:pt x="64" y="58"/>
                        <a:pt x="64" y="58"/>
                      </a:cubicBezTo>
                      <a:cubicBezTo>
                        <a:pt x="67" y="56"/>
                        <a:pt x="67" y="56"/>
                        <a:pt x="67" y="56"/>
                      </a:cubicBezTo>
                      <a:cubicBezTo>
                        <a:pt x="68" y="55"/>
                        <a:pt x="68" y="55"/>
                        <a:pt x="68" y="55"/>
                      </a:cubicBezTo>
                      <a:cubicBezTo>
                        <a:pt x="68" y="53"/>
                        <a:pt x="68" y="53"/>
                        <a:pt x="68" y="53"/>
                      </a:cubicBezTo>
                      <a:cubicBezTo>
                        <a:pt x="65" y="50"/>
                        <a:pt x="65" y="50"/>
                        <a:pt x="65" y="50"/>
                      </a:cubicBezTo>
                      <a:cubicBezTo>
                        <a:pt x="63" y="49"/>
                        <a:pt x="63" y="49"/>
                        <a:pt x="63" y="49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5" y="45"/>
                        <a:pt x="55" y="45"/>
                        <a:pt x="55" y="45"/>
                      </a:cubicBezTo>
                      <a:cubicBezTo>
                        <a:pt x="53" y="46"/>
                        <a:pt x="53" y="46"/>
                        <a:pt x="53" y="46"/>
                      </a:cubicBezTo>
                      <a:cubicBezTo>
                        <a:pt x="48" y="44"/>
                        <a:pt x="48" y="44"/>
                        <a:pt x="48" y="44"/>
                      </a:cubicBezTo>
                      <a:cubicBezTo>
                        <a:pt x="48" y="43"/>
                        <a:pt x="48" y="43"/>
                        <a:pt x="48" y="43"/>
                      </a:cubicBezTo>
                      <a:cubicBezTo>
                        <a:pt x="49" y="40"/>
                        <a:pt x="49" y="40"/>
                        <a:pt x="49" y="40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48" y="37"/>
                        <a:pt x="48" y="37"/>
                        <a:pt x="48" y="37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4" y="33"/>
                        <a:pt x="44" y="33"/>
                        <a:pt x="44" y="33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0" y="31"/>
                        <a:pt x="40" y="31"/>
                        <a:pt x="40" y="31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36" y="28"/>
                        <a:pt x="36" y="28"/>
                        <a:pt x="36" y="28"/>
                      </a:cubicBezTo>
                      <a:cubicBezTo>
                        <a:pt x="36" y="28"/>
                        <a:pt x="36" y="28"/>
                        <a:pt x="36" y="28"/>
                      </a:cubicBez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0" y="25"/>
                        <a:pt x="30" y="25"/>
                        <a:pt x="30" y="25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4" y="22"/>
                        <a:pt x="24" y="22"/>
                        <a:pt x="24" y="22"/>
                      </a:cubicBezTo>
                      <a:cubicBezTo>
                        <a:pt x="19" y="22"/>
                        <a:pt x="19" y="22"/>
                        <a:pt x="19" y="22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20"/>
                        <a:pt x="14" y="20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3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6" name="Freeform 170">
                  <a:extLst>
                    <a:ext uri="{FF2B5EF4-FFF2-40B4-BE49-F238E27FC236}">
                      <a16:creationId xmlns:a16="http://schemas.microsoft.com/office/drawing/2014/main" xmlns="" id="{8E01D1F1-BCDE-42DF-B46F-434009D3D8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14" y="1725"/>
                  <a:ext cx="159" cy="242"/>
                </a:xfrm>
                <a:custGeom>
                  <a:avLst/>
                  <a:gdLst>
                    <a:gd name="T0" fmla="*/ 37 w 97"/>
                    <a:gd name="T1" fmla="*/ 2 h 148"/>
                    <a:gd name="T2" fmla="*/ 49 w 97"/>
                    <a:gd name="T3" fmla="*/ 58 h 148"/>
                    <a:gd name="T4" fmla="*/ 62 w 97"/>
                    <a:gd name="T5" fmla="*/ 60 h 148"/>
                    <a:gd name="T6" fmla="*/ 68 w 97"/>
                    <a:gd name="T7" fmla="*/ 70 h 148"/>
                    <a:gd name="T8" fmla="*/ 66 w 97"/>
                    <a:gd name="T9" fmla="*/ 71 h 148"/>
                    <a:gd name="T10" fmla="*/ 52 w 97"/>
                    <a:gd name="T11" fmla="*/ 61 h 148"/>
                    <a:gd name="T12" fmla="*/ 41 w 97"/>
                    <a:gd name="T13" fmla="*/ 64 h 148"/>
                    <a:gd name="T14" fmla="*/ 34 w 97"/>
                    <a:gd name="T15" fmla="*/ 55 h 148"/>
                    <a:gd name="T16" fmla="*/ 27 w 97"/>
                    <a:gd name="T17" fmla="*/ 50 h 148"/>
                    <a:gd name="T18" fmla="*/ 26 w 97"/>
                    <a:gd name="T19" fmla="*/ 36 h 148"/>
                    <a:gd name="T20" fmla="*/ 36 w 97"/>
                    <a:gd name="T21" fmla="*/ 10 h 148"/>
                    <a:gd name="T22" fmla="*/ 44 w 97"/>
                    <a:gd name="T23" fmla="*/ 18 h 148"/>
                    <a:gd name="T24" fmla="*/ 45 w 97"/>
                    <a:gd name="T25" fmla="*/ 36 h 148"/>
                    <a:gd name="T26" fmla="*/ 46 w 97"/>
                    <a:gd name="T27" fmla="*/ 56 h 148"/>
                    <a:gd name="T28" fmla="*/ 48 w 97"/>
                    <a:gd name="T29" fmla="*/ 48 h 148"/>
                    <a:gd name="T30" fmla="*/ 32 w 97"/>
                    <a:gd name="T31" fmla="*/ 66 h 148"/>
                    <a:gd name="T32" fmla="*/ 43 w 97"/>
                    <a:gd name="T33" fmla="*/ 75 h 148"/>
                    <a:gd name="T34" fmla="*/ 68 w 97"/>
                    <a:gd name="T35" fmla="*/ 59 h 148"/>
                    <a:gd name="T36" fmla="*/ 48 w 97"/>
                    <a:gd name="T37" fmla="*/ 67 h 148"/>
                    <a:gd name="T38" fmla="*/ 50 w 97"/>
                    <a:gd name="T39" fmla="*/ 77 h 148"/>
                    <a:gd name="T40" fmla="*/ 58 w 97"/>
                    <a:gd name="T41" fmla="*/ 68 h 148"/>
                    <a:gd name="T42" fmla="*/ 64 w 97"/>
                    <a:gd name="T43" fmla="*/ 74 h 148"/>
                    <a:gd name="T44" fmla="*/ 62 w 97"/>
                    <a:gd name="T45" fmla="*/ 75 h 148"/>
                    <a:gd name="T46" fmla="*/ 50 w 97"/>
                    <a:gd name="T47" fmla="*/ 97 h 148"/>
                    <a:gd name="T48" fmla="*/ 53 w 97"/>
                    <a:gd name="T49" fmla="*/ 84 h 148"/>
                    <a:gd name="T50" fmla="*/ 59 w 97"/>
                    <a:gd name="T51" fmla="*/ 90 h 148"/>
                    <a:gd name="T52" fmla="*/ 56 w 97"/>
                    <a:gd name="T53" fmla="*/ 96 h 148"/>
                    <a:gd name="T54" fmla="*/ 69 w 97"/>
                    <a:gd name="T55" fmla="*/ 96 h 148"/>
                    <a:gd name="T56" fmla="*/ 64 w 97"/>
                    <a:gd name="T57" fmla="*/ 107 h 148"/>
                    <a:gd name="T58" fmla="*/ 58 w 97"/>
                    <a:gd name="T59" fmla="*/ 97 h 148"/>
                    <a:gd name="T60" fmla="*/ 63 w 97"/>
                    <a:gd name="T61" fmla="*/ 110 h 148"/>
                    <a:gd name="T62" fmla="*/ 74 w 97"/>
                    <a:gd name="T63" fmla="*/ 100 h 148"/>
                    <a:gd name="T64" fmla="*/ 82 w 97"/>
                    <a:gd name="T65" fmla="*/ 102 h 148"/>
                    <a:gd name="T66" fmla="*/ 74 w 97"/>
                    <a:gd name="T67" fmla="*/ 86 h 148"/>
                    <a:gd name="T68" fmla="*/ 86 w 97"/>
                    <a:gd name="T69" fmla="*/ 90 h 148"/>
                    <a:gd name="T70" fmla="*/ 78 w 97"/>
                    <a:gd name="T71" fmla="*/ 74 h 148"/>
                    <a:gd name="T72" fmla="*/ 78 w 97"/>
                    <a:gd name="T73" fmla="*/ 84 h 148"/>
                    <a:gd name="T74" fmla="*/ 73 w 97"/>
                    <a:gd name="T75" fmla="*/ 89 h 148"/>
                    <a:gd name="T76" fmla="*/ 82 w 97"/>
                    <a:gd name="T77" fmla="*/ 99 h 148"/>
                    <a:gd name="T78" fmla="*/ 87 w 97"/>
                    <a:gd name="T79" fmla="*/ 93 h 148"/>
                    <a:gd name="T80" fmla="*/ 86 w 97"/>
                    <a:gd name="T81" fmla="*/ 97 h 148"/>
                    <a:gd name="T82" fmla="*/ 89 w 97"/>
                    <a:gd name="T83" fmla="*/ 105 h 148"/>
                    <a:gd name="T84" fmla="*/ 52 w 97"/>
                    <a:gd name="T85" fmla="*/ 127 h 148"/>
                    <a:gd name="T86" fmla="*/ 66 w 97"/>
                    <a:gd name="T87" fmla="*/ 115 h 148"/>
                    <a:gd name="T88" fmla="*/ 78 w 97"/>
                    <a:gd name="T89" fmla="*/ 116 h 148"/>
                    <a:gd name="T90" fmla="*/ 83 w 97"/>
                    <a:gd name="T91" fmla="*/ 104 h 148"/>
                    <a:gd name="T92" fmla="*/ 91 w 97"/>
                    <a:gd name="T93" fmla="*/ 116 h 148"/>
                    <a:gd name="T94" fmla="*/ 96 w 97"/>
                    <a:gd name="T95" fmla="*/ 134 h 148"/>
                    <a:gd name="T96" fmla="*/ 92 w 97"/>
                    <a:gd name="T97" fmla="*/ 135 h 148"/>
                    <a:gd name="T98" fmla="*/ 86 w 97"/>
                    <a:gd name="T99" fmla="*/ 147 h 148"/>
                    <a:gd name="T100" fmla="*/ 75 w 97"/>
                    <a:gd name="T101" fmla="*/ 144 h 148"/>
                    <a:gd name="T102" fmla="*/ 72 w 97"/>
                    <a:gd name="T103" fmla="*/ 131 h 148"/>
                    <a:gd name="T104" fmla="*/ 63 w 97"/>
                    <a:gd name="T105" fmla="*/ 129 h 148"/>
                    <a:gd name="T106" fmla="*/ 57 w 97"/>
                    <a:gd name="T107" fmla="*/ 126 h 148"/>
                    <a:gd name="T108" fmla="*/ 53 w 97"/>
                    <a:gd name="T109" fmla="*/ 137 h 148"/>
                    <a:gd name="T110" fmla="*/ 31 w 97"/>
                    <a:gd name="T111" fmla="*/ 80 h 148"/>
                    <a:gd name="T112" fmla="*/ 26 w 97"/>
                    <a:gd name="T113" fmla="*/ 81 h 148"/>
                    <a:gd name="T114" fmla="*/ 5 w 97"/>
                    <a:gd name="T115" fmla="*/ 117 h 148"/>
                    <a:gd name="T116" fmla="*/ 21 w 97"/>
                    <a:gd name="T117" fmla="*/ 102 h 148"/>
                    <a:gd name="T118" fmla="*/ 22 w 97"/>
                    <a:gd name="T119" fmla="*/ 94 h 148"/>
                    <a:gd name="T120" fmla="*/ 9 w 97"/>
                    <a:gd name="T121" fmla="*/ 110 h 148"/>
                    <a:gd name="T122" fmla="*/ 4 w 97"/>
                    <a:gd name="T123" fmla="*/ 12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7" h="148">
                      <a:moveTo>
                        <a:pt x="35" y="7"/>
                      </a:move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5" y="7"/>
                        <a:pt x="35" y="7"/>
                        <a:pt x="35" y="7"/>
                      </a:cubicBezTo>
                      <a:close/>
                      <a:moveTo>
                        <a:pt x="34" y="2"/>
                      </a:moveTo>
                      <a:cubicBezTo>
                        <a:pt x="35" y="4"/>
                        <a:pt x="35" y="4"/>
                        <a:pt x="35" y="4"/>
                      </a:cubicBezTo>
                      <a:cubicBezTo>
                        <a:pt x="33" y="4"/>
                        <a:pt x="33" y="4"/>
                        <a:pt x="33" y="4"/>
                      </a:cubicBezTo>
                      <a:cubicBezTo>
                        <a:pt x="34" y="2"/>
                        <a:pt x="34" y="2"/>
                        <a:pt x="34" y="2"/>
                      </a:cubicBezTo>
                      <a:close/>
                      <a:moveTo>
                        <a:pt x="38" y="0"/>
                      </a:move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2"/>
                        <a:pt x="37" y="2"/>
                        <a:pt x="37" y="2"/>
                      </a:cubicBezTo>
                      <a:cubicBezTo>
                        <a:pt x="38" y="0"/>
                        <a:pt x="38" y="0"/>
                        <a:pt x="38" y="0"/>
                      </a:cubicBezTo>
                      <a:close/>
                      <a:moveTo>
                        <a:pt x="42" y="4"/>
                      </a:moveTo>
                      <a:cubicBezTo>
                        <a:pt x="41" y="6"/>
                        <a:pt x="41" y="6"/>
                        <a:pt x="41" y="6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3" y="5"/>
                        <a:pt x="43" y="5"/>
                        <a:pt x="43" y="5"/>
                      </a:cubicBezTo>
                      <a:cubicBezTo>
                        <a:pt x="43" y="5"/>
                        <a:pt x="42" y="4"/>
                        <a:pt x="42" y="4"/>
                      </a:cubicBezTo>
                      <a:close/>
                      <a:moveTo>
                        <a:pt x="43" y="55"/>
                      </a:moveTo>
                      <a:cubicBezTo>
                        <a:pt x="44" y="56"/>
                        <a:pt x="44" y="56"/>
                        <a:pt x="44" y="56"/>
                      </a:cubicBezTo>
                      <a:cubicBezTo>
                        <a:pt x="45" y="58"/>
                        <a:pt x="45" y="58"/>
                        <a:pt x="45" y="58"/>
                      </a:cubicBezTo>
                      <a:cubicBezTo>
                        <a:pt x="47" y="59"/>
                        <a:pt x="47" y="59"/>
                        <a:pt x="47" y="59"/>
                      </a:cubicBezTo>
                      <a:cubicBezTo>
                        <a:pt x="49" y="58"/>
                        <a:pt x="49" y="58"/>
                        <a:pt x="49" y="58"/>
                      </a:cubicBezTo>
                      <a:cubicBezTo>
                        <a:pt x="49" y="57"/>
                        <a:pt x="49" y="57"/>
                        <a:pt x="49" y="57"/>
                      </a:cubicBezTo>
                      <a:cubicBezTo>
                        <a:pt x="52" y="55"/>
                        <a:pt x="52" y="55"/>
                        <a:pt x="52" y="55"/>
                      </a:cubicBezTo>
                      <a:cubicBezTo>
                        <a:pt x="54" y="54"/>
                        <a:pt x="54" y="54"/>
                        <a:pt x="54" y="54"/>
                      </a:cubicBezTo>
                      <a:cubicBezTo>
                        <a:pt x="57" y="56"/>
                        <a:pt x="57" y="56"/>
                        <a:pt x="57" y="56"/>
                      </a:cubicBezTo>
                      <a:cubicBezTo>
                        <a:pt x="58" y="59"/>
                        <a:pt x="58" y="59"/>
                        <a:pt x="58" y="59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58" y="62"/>
                        <a:pt x="58" y="62"/>
                        <a:pt x="58" y="62"/>
                      </a:cubicBezTo>
                      <a:cubicBezTo>
                        <a:pt x="60" y="61"/>
                        <a:pt x="60" y="61"/>
                        <a:pt x="60" y="61"/>
                      </a:cubicBezTo>
                      <a:cubicBezTo>
                        <a:pt x="60" y="59"/>
                        <a:pt x="60" y="59"/>
                        <a:pt x="60" y="59"/>
                      </a:cubicBezTo>
                      <a:cubicBezTo>
                        <a:pt x="60" y="58"/>
                        <a:pt x="60" y="58"/>
                        <a:pt x="60" y="58"/>
                      </a:cubicBezTo>
                      <a:cubicBezTo>
                        <a:pt x="62" y="60"/>
                        <a:pt x="62" y="60"/>
                        <a:pt x="62" y="6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4" y="62"/>
                        <a:pt x="64" y="62"/>
                        <a:pt x="64" y="62"/>
                      </a:cubicBezTo>
                      <a:cubicBezTo>
                        <a:pt x="63" y="62"/>
                        <a:pt x="63" y="62"/>
                        <a:pt x="63" y="62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4" y="69"/>
                        <a:pt x="64" y="69"/>
                        <a:pt x="64" y="69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9" y="70"/>
                        <a:pt x="69" y="70"/>
                        <a:pt x="69" y="70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69" y="72"/>
                        <a:pt x="69" y="72"/>
                        <a:pt x="69" y="72"/>
                      </a:cubicBezTo>
                      <a:cubicBezTo>
                        <a:pt x="70" y="73"/>
                        <a:pt x="70" y="73"/>
                        <a:pt x="70" y="73"/>
                      </a:cubicBezTo>
                      <a:cubicBezTo>
                        <a:pt x="69" y="76"/>
                        <a:pt x="69" y="76"/>
                        <a:pt x="69" y="76"/>
                      </a:cubicBez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66" y="73"/>
                        <a:pt x="66" y="73"/>
                        <a:pt x="66" y="73"/>
                      </a:cubicBezTo>
                      <a:cubicBezTo>
                        <a:pt x="67" y="72"/>
                        <a:pt x="67" y="72"/>
                        <a:pt x="67" y="72"/>
                      </a:cubicBezTo>
                      <a:cubicBezTo>
                        <a:pt x="67" y="71"/>
                        <a:pt x="67" y="71"/>
                        <a:pt x="67" y="71"/>
                      </a:cubicBezTo>
                      <a:cubicBezTo>
                        <a:pt x="66" y="71"/>
                        <a:pt x="66" y="71"/>
                        <a:pt x="66" y="71"/>
                      </a:cubicBezTo>
                      <a:cubicBezTo>
                        <a:pt x="66" y="71"/>
                        <a:pt x="66" y="71"/>
                        <a:pt x="66" y="71"/>
                      </a:cubicBezTo>
                      <a:cubicBezTo>
                        <a:pt x="64" y="72"/>
                        <a:pt x="64" y="72"/>
                        <a:pt x="64" y="72"/>
                      </a:cubicBezTo>
                      <a:cubicBezTo>
                        <a:pt x="62" y="69"/>
                        <a:pt x="62" y="69"/>
                        <a:pt x="62" y="69"/>
                      </a:cubicBezTo>
                      <a:cubicBezTo>
                        <a:pt x="60" y="69"/>
                        <a:pt x="60" y="69"/>
                        <a:pt x="60" y="69"/>
                      </a:cubicBezTo>
                      <a:cubicBezTo>
                        <a:pt x="60" y="67"/>
                        <a:pt x="60" y="67"/>
                        <a:pt x="60" y="67"/>
                      </a:cubicBezTo>
                      <a:cubicBezTo>
                        <a:pt x="60" y="65"/>
                        <a:pt x="60" y="65"/>
                        <a:pt x="60" y="65"/>
                      </a:cubicBezTo>
                      <a:cubicBezTo>
                        <a:pt x="57" y="64"/>
                        <a:pt x="57" y="64"/>
                        <a:pt x="57" y="64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54" y="61"/>
                        <a:pt x="54" y="61"/>
                        <a:pt x="54" y="61"/>
                      </a:cubicBezTo>
                      <a:cubicBezTo>
                        <a:pt x="53" y="60"/>
                        <a:pt x="53" y="60"/>
                        <a:pt x="53" y="60"/>
                      </a:cubicBezTo>
                      <a:cubicBezTo>
                        <a:pt x="52" y="60"/>
                        <a:pt x="52" y="60"/>
                        <a:pt x="52" y="60"/>
                      </a:cubicBezTo>
                      <a:cubicBezTo>
                        <a:pt x="52" y="61"/>
                        <a:pt x="52" y="61"/>
                        <a:pt x="52" y="61"/>
                      </a:cubicBezTo>
                      <a:cubicBezTo>
                        <a:pt x="54" y="64"/>
                        <a:pt x="54" y="64"/>
                        <a:pt x="54" y="64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4" y="68"/>
                        <a:pt x="54" y="68"/>
                        <a:pt x="54" y="68"/>
                      </a:cubicBezTo>
                      <a:cubicBezTo>
                        <a:pt x="52" y="64"/>
                        <a:pt x="52" y="64"/>
                        <a:pt x="52" y="64"/>
                      </a:cubicBezTo>
                      <a:cubicBezTo>
                        <a:pt x="50" y="63"/>
                        <a:pt x="50" y="63"/>
                        <a:pt x="50" y="63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45" y="60"/>
                        <a:pt x="45" y="60"/>
                        <a:pt x="45" y="60"/>
                      </a:cubicBezTo>
                      <a:cubicBezTo>
                        <a:pt x="43" y="60"/>
                        <a:pt x="43" y="60"/>
                        <a:pt x="43" y="60"/>
                      </a:cubicBezTo>
                      <a:cubicBezTo>
                        <a:pt x="42" y="61"/>
                        <a:pt x="42" y="61"/>
                        <a:pt x="42" y="61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1" y="64"/>
                        <a:pt x="41" y="64"/>
                        <a:pt x="41" y="64"/>
                      </a:cubicBezTo>
                      <a:cubicBezTo>
                        <a:pt x="38" y="61"/>
                        <a:pt x="38" y="61"/>
                        <a:pt x="38" y="61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6" y="60"/>
                        <a:pt x="36" y="60"/>
                        <a:pt x="36" y="60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4" y="62"/>
                        <a:pt x="34" y="62"/>
                        <a:pt x="34" y="62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33" y="57"/>
                        <a:pt x="33" y="57"/>
                        <a:pt x="33" y="57"/>
                      </a:cubicBezTo>
                      <a:cubicBezTo>
                        <a:pt x="33" y="56"/>
                        <a:pt x="33" y="56"/>
                        <a:pt x="33" y="56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6" y="52"/>
                        <a:pt x="36" y="52"/>
                        <a:pt x="36" y="52"/>
                      </a:cubicBezTo>
                      <a:cubicBezTo>
                        <a:pt x="34" y="51"/>
                        <a:pt x="34" y="51"/>
                        <a:pt x="34" y="51"/>
                      </a:cubicBezTo>
                      <a:cubicBezTo>
                        <a:pt x="32" y="51"/>
                        <a:pt x="32" y="51"/>
                        <a:pt x="32" y="51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33" y="53"/>
                        <a:pt x="33" y="53"/>
                        <a:pt x="33" y="53"/>
                      </a:cubicBezTo>
                      <a:cubicBezTo>
                        <a:pt x="32" y="55"/>
                        <a:pt x="32" y="55"/>
                        <a:pt x="32" y="55"/>
                      </a:cubicBezTo>
                      <a:cubicBezTo>
                        <a:pt x="31" y="55"/>
                        <a:pt x="31" y="55"/>
                        <a:pt x="31" y="55"/>
                      </a:cubicBezTo>
                      <a:cubicBezTo>
                        <a:pt x="29" y="52"/>
                        <a:pt x="29" y="52"/>
                        <a:pt x="29" y="52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8" y="50"/>
                        <a:pt x="28" y="50"/>
                        <a:pt x="28" y="50"/>
                      </a:cubicBezTo>
                      <a:cubicBezTo>
                        <a:pt x="27" y="50"/>
                        <a:pt x="27" y="50"/>
                        <a:pt x="27" y="50"/>
                      </a:cubicBezTo>
                      <a:cubicBezTo>
                        <a:pt x="26" y="50"/>
                        <a:pt x="26" y="50"/>
                        <a:pt x="26" y="50"/>
                      </a:cubicBezTo>
                      <a:cubicBezTo>
                        <a:pt x="26" y="46"/>
                        <a:pt x="26" y="46"/>
                        <a:pt x="26" y="46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3" y="38"/>
                        <a:pt x="23" y="38"/>
                        <a:pt x="23" y="38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6" y="30"/>
                        <a:pt x="26" y="30"/>
                        <a:pt x="26" y="30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8" y="23"/>
                        <a:pt x="28" y="23"/>
                        <a:pt x="28" y="23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7" y="17"/>
                        <a:pt x="27" y="17"/>
                        <a:pt x="27" y="17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8" y="12"/>
                        <a:pt x="38" y="12"/>
                        <a:pt x="38" y="12"/>
                      </a:cubicBezTo>
                      <a:cubicBezTo>
                        <a:pt x="39" y="13"/>
                        <a:pt x="39" y="13"/>
                        <a:pt x="39" y="13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42" y="12"/>
                        <a:pt x="42" y="12"/>
                        <a:pt x="42" y="12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44" y="10"/>
                        <a:pt x="44" y="10"/>
                        <a:pt x="44" y="10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46" y="11"/>
                        <a:pt x="46" y="11"/>
                        <a:pt x="46" y="11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44" y="18"/>
                        <a:pt x="44" y="18"/>
                        <a:pt x="44" y="18"/>
                      </a:cubicBezTo>
                      <a:cubicBezTo>
                        <a:pt x="46" y="21"/>
                        <a:pt x="46" y="21"/>
                        <a:pt x="46" y="21"/>
                      </a:cubicBezTo>
                      <a:cubicBezTo>
                        <a:pt x="47" y="21"/>
                        <a:pt x="47" y="21"/>
                        <a:pt x="47" y="21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49" y="25"/>
                        <a:pt x="49" y="25"/>
                        <a:pt x="49" y="25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7" y="35"/>
                        <a:pt x="47" y="35"/>
                        <a:pt x="47" y="35"/>
                      </a:cubicBezTo>
                      <a:cubicBezTo>
                        <a:pt x="46" y="38"/>
                        <a:pt x="46" y="38"/>
                        <a:pt x="46" y="38"/>
                      </a:cubicBezTo>
                      <a:cubicBezTo>
                        <a:pt x="46" y="37"/>
                        <a:pt x="46" y="37"/>
                        <a:pt x="46" y="37"/>
                      </a:cubicBezTo>
                      <a:cubicBezTo>
                        <a:pt x="46" y="35"/>
                        <a:pt x="46" y="35"/>
                        <a:pt x="46" y="35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41" y="41"/>
                        <a:pt x="41" y="41"/>
                        <a:pt x="41" y="41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1" y="44"/>
                      </a:cubicBezTo>
                      <a:cubicBezTo>
                        <a:pt x="40" y="47"/>
                        <a:pt x="40" y="47"/>
                        <a:pt x="40" y="47"/>
                      </a:cubicBez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42" y="50"/>
                        <a:pt x="42" y="50"/>
                        <a:pt x="42" y="50"/>
                      </a:cubicBezTo>
                      <a:cubicBezTo>
                        <a:pt x="43" y="52"/>
                        <a:pt x="43" y="52"/>
                        <a:pt x="43" y="52"/>
                      </a:cubicBezTo>
                      <a:cubicBezTo>
                        <a:pt x="43" y="53"/>
                        <a:pt x="43" y="53"/>
                        <a:pt x="43" y="53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lose/>
                      <a:moveTo>
                        <a:pt x="46" y="56"/>
                      </a:moveTo>
                      <a:cubicBezTo>
                        <a:pt x="47" y="57"/>
                        <a:pt x="47" y="57"/>
                        <a:pt x="47" y="57"/>
                      </a:cubicBezTo>
                      <a:cubicBezTo>
                        <a:pt x="48" y="58"/>
                        <a:pt x="48" y="58"/>
                        <a:pt x="48" y="58"/>
                      </a:cubicBezTo>
                      <a:cubicBezTo>
                        <a:pt x="48" y="56"/>
                        <a:pt x="48" y="56"/>
                        <a:pt x="48" y="56"/>
                      </a:cubicBezTo>
                      <a:cubicBezTo>
                        <a:pt x="46" y="56"/>
                        <a:pt x="46" y="56"/>
                        <a:pt x="46" y="56"/>
                      </a:cubicBezTo>
                      <a:close/>
                      <a:moveTo>
                        <a:pt x="45" y="48"/>
                      </a:moveTo>
                      <a:cubicBezTo>
                        <a:pt x="46" y="51"/>
                        <a:pt x="46" y="51"/>
                        <a:pt x="46" y="51"/>
                      </a:cubicBezTo>
                      <a:cubicBezTo>
                        <a:pt x="45" y="52"/>
                        <a:pt x="45" y="52"/>
                        <a:pt x="45" y="52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cubicBezTo>
                        <a:pt x="47" y="47"/>
                        <a:pt x="47" y="47"/>
                        <a:pt x="47" y="47"/>
                      </a:cubicBezTo>
                      <a:cubicBezTo>
                        <a:pt x="45" y="48"/>
                        <a:pt x="45" y="48"/>
                        <a:pt x="45" y="48"/>
                      </a:cubicBezTo>
                      <a:close/>
                      <a:moveTo>
                        <a:pt x="27" y="61"/>
                      </a:moveTo>
                      <a:cubicBezTo>
                        <a:pt x="28" y="62"/>
                        <a:pt x="28" y="62"/>
                        <a:pt x="28" y="62"/>
                      </a:cubicBezTo>
                      <a:cubicBezTo>
                        <a:pt x="30" y="63"/>
                        <a:pt x="30" y="63"/>
                        <a:pt x="30" y="63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lose/>
                      <a:moveTo>
                        <a:pt x="31" y="65"/>
                      </a:moveTo>
                      <a:cubicBezTo>
                        <a:pt x="31" y="66"/>
                        <a:pt x="31" y="66"/>
                        <a:pt x="31" y="66"/>
                      </a:cubicBezTo>
                      <a:cubicBezTo>
                        <a:pt x="32" y="66"/>
                        <a:pt x="32" y="66"/>
                        <a:pt x="32" y="66"/>
                      </a:cubicBezTo>
                      <a:cubicBezTo>
                        <a:pt x="33" y="68"/>
                        <a:pt x="33" y="68"/>
                        <a:pt x="33" y="68"/>
                      </a:cubicBezTo>
                      <a:cubicBezTo>
                        <a:pt x="34" y="69"/>
                        <a:pt x="34" y="69"/>
                        <a:pt x="34" y="69"/>
                      </a:cubicBezTo>
                      <a:cubicBezTo>
                        <a:pt x="36" y="70"/>
                        <a:pt x="36" y="70"/>
                        <a:pt x="36" y="70"/>
                      </a:cubicBezTo>
                      <a:cubicBezTo>
                        <a:pt x="36" y="73"/>
                        <a:pt x="36" y="73"/>
                        <a:pt x="36" y="73"/>
                      </a:cubicBezTo>
                      <a:cubicBezTo>
                        <a:pt x="37" y="74"/>
                        <a:pt x="37" y="74"/>
                        <a:pt x="37" y="74"/>
                      </a:cubicBezTo>
                      <a:cubicBezTo>
                        <a:pt x="37" y="76"/>
                        <a:pt x="37" y="76"/>
                        <a:pt x="37" y="76"/>
                      </a:cubicBezTo>
                      <a:cubicBezTo>
                        <a:pt x="39" y="78"/>
                        <a:pt x="39" y="78"/>
                        <a:pt x="39" y="78"/>
                      </a:cubicBezTo>
                      <a:cubicBezTo>
                        <a:pt x="41" y="79"/>
                        <a:pt x="41" y="79"/>
                        <a:pt x="41" y="79"/>
                      </a:cubicBezTo>
                      <a:cubicBezTo>
                        <a:pt x="42" y="77"/>
                        <a:pt x="42" y="77"/>
                        <a:pt x="42" y="77"/>
                      </a:cubicBezTo>
                      <a:cubicBezTo>
                        <a:pt x="42" y="76"/>
                        <a:pt x="42" y="76"/>
                        <a:pt x="42" y="76"/>
                      </a:cubicBezTo>
                      <a:cubicBezTo>
                        <a:pt x="43" y="75"/>
                        <a:pt x="43" y="75"/>
                        <a:pt x="43" y="75"/>
                      </a:cubicBezTo>
                      <a:cubicBezTo>
                        <a:pt x="43" y="73"/>
                        <a:pt x="43" y="73"/>
                        <a:pt x="43" y="73"/>
                      </a:cubicBezTo>
                      <a:cubicBezTo>
                        <a:pt x="42" y="72"/>
                        <a:pt x="42" y="72"/>
                        <a:pt x="42" y="72"/>
                      </a:cubicBezTo>
                      <a:cubicBezTo>
                        <a:pt x="43" y="70"/>
                        <a:pt x="43" y="70"/>
                        <a:pt x="43" y="70"/>
                      </a:cubicBezTo>
                      <a:cubicBezTo>
                        <a:pt x="43" y="69"/>
                        <a:pt x="43" y="69"/>
                        <a:pt x="43" y="69"/>
                      </a:cubicBezTo>
                      <a:cubicBezTo>
                        <a:pt x="41" y="68"/>
                        <a:pt x="41" y="68"/>
                        <a:pt x="41" y="68"/>
                      </a:cubicBezTo>
                      <a:cubicBezTo>
                        <a:pt x="37" y="64"/>
                        <a:pt x="37" y="64"/>
                        <a:pt x="37" y="64"/>
                      </a:cubicBezTo>
                      <a:cubicBezTo>
                        <a:pt x="35" y="65"/>
                        <a:pt x="35" y="65"/>
                        <a:pt x="35" y="65"/>
                      </a:cubicBezTo>
                      <a:cubicBezTo>
                        <a:pt x="32" y="64"/>
                        <a:pt x="32" y="64"/>
                        <a:pt x="32" y="64"/>
                      </a:cubicBezTo>
                      <a:cubicBezTo>
                        <a:pt x="31" y="65"/>
                        <a:pt x="31" y="65"/>
                        <a:pt x="31" y="65"/>
                      </a:cubicBezTo>
                      <a:close/>
                      <a:moveTo>
                        <a:pt x="69" y="58"/>
                      </a:moveTo>
                      <a:cubicBezTo>
                        <a:pt x="68" y="59"/>
                        <a:pt x="68" y="59"/>
                        <a:pt x="68" y="59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68" y="62"/>
                        <a:pt x="68" y="62"/>
                        <a:pt x="68" y="62"/>
                      </a:cubicBezTo>
                      <a:cubicBezTo>
                        <a:pt x="67" y="63"/>
                        <a:pt x="67" y="63"/>
                        <a:pt x="67" y="63"/>
                      </a:cubicBezTo>
                      <a:cubicBezTo>
                        <a:pt x="68" y="64"/>
                        <a:pt x="68" y="64"/>
                        <a:pt x="68" y="64"/>
                      </a:cubicBezTo>
                      <a:cubicBezTo>
                        <a:pt x="71" y="64"/>
                        <a:pt x="71" y="64"/>
                        <a:pt x="71" y="64"/>
                      </a:cubicBezTo>
                      <a:cubicBezTo>
                        <a:pt x="71" y="61"/>
                        <a:pt x="71" y="61"/>
                        <a:pt x="71" y="61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69" y="58"/>
                        <a:pt x="69" y="58"/>
                        <a:pt x="69" y="58"/>
                      </a:cubicBezTo>
                      <a:close/>
                      <a:moveTo>
                        <a:pt x="46" y="66"/>
                      </a:move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7"/>
                        <a:pt x="48" y="67"/>
                        <a:pt x="48" y="67"/>
                      </a:cubicBezTo>
                      <a:cubicBezTo>
                        <a:pt x="49" y="66"/>
                        <a:pt x="49" y="66"/>
                        <a:pt x="49" y="66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46" y="63"/>
                        <a:pt x="46" y="63"/>
                        <a:pt x="46" y="63"/>
                      </a:cubicBezTo>
                      <a:cubicBezTo>
                        <a:pt x="45" y="65"/>
                        <a:pt x="45" y="65"/>
                        <a:pt x="45" y="65"/>
                      </a:cubicBezTo>
                      <a:cubicBezTo>
                        <a:pt x="46" y="66"/>
                        <a:pt x="46" y="66"/>
                        <a:pt x="46" y="66"/>
                      </a:cubicBezTo>
                      <a:close/>
                      <a:moveTo>
                        <a:pt x="49" y="74"/>
                      </a:move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8" y="77"/>
                        <a:pt x="48" y="77"/>
                        <a:pt x="48" y="77"/>
                      </a:cubicBezTo>
                      <a:cubicBezTo>
                        <a:pt x="49" y="80"/>
                        <a:pt x="49" y="80"/>
                        <a:pt x="49" y="80"/>
                      </a:cubicBezTo>
                      <a:cubicBezTo>
                        <a:pt x="50" y="79"/>
                        <a:pt x="50" y="79"/>
                        <a:pt x="50" y="79"/>
                      </a:cubicBezTo>
                      <a:cubicBezTo>
                        <a:pt x="50" y="77"/>
                        <a:pt x="50" y="77"/>
                        <a:pt x="50" y="77"/>
                      </a:cubicBezTo>
                      <a:cubicBezTo>
                        <a:pt x="50" y="75"/>
                        <a:pt x="50" y="75"/>
                        <a:pt x="50" y="75"/>
                      </a:cubicBezTo>
                      <a:cubicBezTo>
                        <a:pt x="50" y="73"/>
                        <a:pt x="50" y="73"/>
                        <a:pt x="50" y="73"/>
                      </a:cubicBezTo>
                      <a:cubicBezTo>
                        <a:pt x="49" y="74"/>
                        <a:pt x="49" y="74"/>
                        <a:pt x="49" y="74"/>
                      </a:cubicBezTo>
                      <a:close/>
                      <a:moveTo>
                        <a:pt x="54" y="75"/>
                      </a:move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3" y="77"/>
                        <a:pt x="53" y="77"/>
                      </a:cubicBezTo>
                      <a:cubicBezTo>
                        <a:pt x="55" y="77"/>
                        <a:pt x="55" y="77"/>
                        <a:pt x="55" y="77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4" y="75"/>
                        <a:pt x="54" y="75"/>
                        <a:pt x="54" y="75"/>
                      </a:cubicBezTo>
                      <a:close/>
                      <a:moveTo>
                        <a:pt x="60" y="70"/>
                      </a:moveTo>
                      <a:cubicBezTo>
                        <a:pt x="58" y="68"/>
                        <a:pt x="58" y="68"/>
                        <a:pt x="58" y="68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70"/>
                        <a:pt x="57" y="70"/>
                        <a:pt x="57" y="70"/>
                      </a:cubicBezTo>
                      <a:cubicBezTo>
                        <a:pt x="60" y="72"/>
                        <a:pt x="60" y="72"/>
                        <a:pt x="60" y="72"/>
                      </a:cubicBezTo>
                      <a:cubicBezTo>
                        <a:pt x="60" y="71"/>
                        <a:pt x="60" y="71"/>
                        <a:pt x="60" y="71"/>
                      </a:cubicBezTo>
                      <a:cubicBezTo>
                        <a:pt x="60" y="70"/>
                        <a:pt x="60" y="70"/>
                        <a:pt x="60" y="70"/>
                      </a:cubicBezTo>
                      <a:close/>
                      <a:moveTo>
                        <a:pt x="64" y="74"/>
                      </a:moveTo>
                      <a:cubicBezTo>
                        <a:pt x="64" y="75"/>
                        <a:pt x="64" y="75"/>
                        <a:pt x="64" y="75"/>
                      </a:cubicBezTo>
                      <a:cubicBezTo>
                        <a:pt x="66" y="77"/>
                        <a:pt x="66" y="77"/>
                        <a:pt x="66" y="77"/>
                      </a:cubicBezTo>
                      <a:cubicBezTo>
                        <a:pt x="67" y="77"/>
                        <a:pt x="67" y="77"/>
                        <a:pt x="67" y="77"/>
                      </a:cubicBezTo>
                      <a:cubicBezTo>
                        <a:pt x="65" y="74"/>
                        <a:pt x="65" y="74"/>
                        <a:pt x="65" y="74"/>
                      </a:cubicBezTo>
                      <a:cubicBezTo>
                        <a:pt x="64" y="74"/>
                        <a:pt x="64" y="74"/>
                        <a:pt x="64" y="74"/>
                      </a:cubicBezTo>
                      <a:close/>
                      <a:moveTo>
                        <a:pt x="60" y="81"/>
                      </a:moveTo>
                      <a:cubicBezTo>
                        <a:pt x="62" y="79"/>
                        <a:pt x="62" y="79"/>
                        <a:pt x="62" y="79"/>
                      </a:cubicBezTo>
                      <a:cubicBezTo>
                        <a:pt x="64" y="78"/>
                        <a:pt x="64" y="78"/>
                        <a:pt x="64" y="78"/>
                      </a:cubicBezTo>
                      <a:cubicBezTo>
                        <a:pt x="66" y="81"/>
                        <a:pt x="66" y="81"/>
                        <a:pt x="66" y="81"/>
                      </a:cubicBezTo>
                      <a:cubicBezTo>
                        <a:pt x="68" y="82"/>
                        <a:pt x="68" y="82"/>
                        <a:pt x="68" y="82"/>
                      </a:cubicBezTo>
                      <a:cubicBezTo>
                        <a:pt x="69" y="82"/>
                        <a:pt x="69" y="82"/>
                        <a:pt x="69" y="82"/>
                      </a:cubicBezTo>
                      <a:cubicBezTo>
                        <a:pt x="69" y="81"/>
                        <a:pt x="69" y="81"/>
                        <a:pt x="69" y="81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5" y="77"/>
                        <a:pt x="65" y="77"/>
                        <a:pt x="65" y="77"/>
                      </a:cubicBezTo>
                      <a:cubicBezTo>
                        <a:pt x="64" y="77"/>
                        <a:pt x="64" y="77"/>
                        <a:pt x="64" y="77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2" y="75"/>
                        <a:pt x="62" y="75"/>
                        <a:pt x="62" y="75"/>
                      </a:cubicBez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1" y="76"/>
                        <a:pt x="61" y="76"/>
                        <a:pt x="61" y="76"/>
                      </a:cubicBezTo>
                      <a:cubicBezTo>
                        <a:pt x="61" y="78"/>
                        <a:pt x="61" y="78"/>
                        <a:pt x="61" y="78"/>
                      </a:cubicBezTo>
                      <a:cubicBezTo>
                        <a:pt x="60" y="79"/>
                        <a:pt x="60" y="79"/>
                        <a:pt x="60" y="79"/>
                      </a:cubicBezTo>
                      <a:cubicBezTo>
                        <a:pt x="60" y="80"/>
                        <a:pt x="60" y="80"/>
                        <a:pt x="60" y="80"/>
                      </a:cubicBezTo>
                      <a:cubicBezTo>
                        <a:pt x="60" y="81"/>
                        <a:pt x="60" y="81"/>
                        <a:pt x="60" y="81"/>
                      </a:cubicBezTo>
                      <a:close/>
                      <a:moveTo>
                        <a:pt x="51" y="96"/>
                      </a:move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0" y="97"/>
                        <a:pt x="50" y="97"/>
                        <a:pt x="50" y="97"/>
                      </a:cubicBezTo>
                      <a:cubicBezTo>
                        <a:pt x="49" y="93"/>
                        <a:pt x="49" y="93"/>
                        <a:pt x="49" y="93"/>
                      </a:cubicBezTo>
                      <a:cubicBezTo>
                        <a:pt x="49" y="91"/>
                        <a:pt x="49" y="91"/>
                        <a:pt x="49" y="91"/>
                      </a:cubicBezTo>
                      <a:cubicBezTo>
                        <a:pt x="49" y="88"/>
                        <a:pt x="49" y="88"/>
                        <a:pt x="49" y="88"/>
                      </a:cubicBezTo>
                      <a:cubicBezTo>
                        <a:pt x="50" y="86"/>
                        <a:pt x="50" y="86"/>
                        <a:pt x="50" y="86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49" y="84"/>
                        <a:pt x="49" y="84"/>
                        <a:pt x="49" y="84"/>
                      </a:cubicBezTo>
                      <a:cubicBezTo>
                        <a:pt x="47" y="83"/>
                        <a:pt x="47" y="83"/>
                        <a:pt x="47" y="83"/>
                      </a:cubicBezTo>
                      <a:cubicBezTo>
                        <a:pt x="47" y="82"/>
                        <a:pt x="47" y="82"/>
                        <a:pt x="47" y="82"/>
                      </a:cubicBezTo>
                      <a:cubicBezTo>
                        <a:pt x="49" y="81"/>
                        <a:pt x="49" y="81"/>
                        <a:pt x="49" y="81"/>
                      </a:cubicBezTo>
                      <a:cubicBezTo>
                        <a:pt x="51" y="83"/>
                        <a:pt x="51" y="83"/>
                        <a:pt x="51" y="83"/>
                      </a:cubicBezTo>
                      <a:cubicBezTo>
                        <a:pt x="53" y="84"/>
                        <a:pt x="53" y="84"/>
                        <a:pt x="53" y="84"/>
                      </a:cubicBezTo>
                      <a:cubicBezTo>
                        <a:pt x="52" y="84"/>
                        <a:pt x="52" y="84"/>
                        <a:pt x="52" y="84"/>
                      </a:cubicBezTo>
                      <a:cubicBezTo>
                        <a:pt x="53" y="85"/>
                        <a:pt x="53" y="85"/>
                        <a:pt x="53" y="85"/>
                      </a:cubicBezTo>
                      <a:cubicBezTo>
                        <a:pt x="55" y="84"/>
                        <a:pt x="55" y="84"/>
                        <a:pt x="55" y="84"/>
                      </a:cubicBezTo>
                      <a:cubicBezTo>
                        <a:pt x="57" y="85"/>
                        <a:pt x="57" y="85"/>
                        <a:pt x="57" y="85"/>
                      </a:cubicBezTo>
                      <a:cubicBezTo>
                        <a:pt x="58" y="87"/>
                        <a:pt x="58" y="87"/>
                        <a:pt x="58" y="87"/>
                      </a:cubicBezTo>
                      <a:cubicBezTo>
                        <a:pt x="59" y="85"/>
                        <a:pt x="59" y="85"/>
                        <a:pt x="59" y="85"/>
                      </a:cubicBezTo>
                      <a:cubicBezTo>
                        <a:pt x="60" y="84"/>
                        <a:pt x="60" y="84"/>
                        <a:pt x="60" y="84"/>
                      </a:cubicBezTo>
                      <a:cubicBezTo>
                        <a:pt x="61" y="86"/>
                        <a:pt x="61" y="86"/>
                        <a:pt x="61" y="86"/>
                      </a:cubicBezTo>
                      <a:cubicBezTo>
                        <a:pt x="61" y="87"/>
                        <a:pt x="61" y="87"/>
                        <a:pt x="61" y="87"/>
                      </a:cubicBezTo>
                      <a:cubicBezTo>
                        <a:pt x="60" y="88"/>
                        <a:pt x="60" y="88"/>
                        <a:pt x="60" y="88"/>
                      </a:cubicBezTo>
                      <a:cubicBezTo>
                        <a:pt x="59" y="90"/>
                        <a:pt x="59" y="90"/>
                        <a:pt x="59" y="90"/>
                      </a:cubicBezTo>
                      <a:cubicBezTo>
                        <a:pt x="56" y="92"/>
                        <a:pt x="56" y="92"/>
                        <a:pt x="56" y="92"/>
                      </a:cubicBezTo>
                      <a:cubicBezTo>
                        <a:pt x="56" y="94"/>
                        <a:pt x="56" y="94"/>
                        <a:pt x="56" y="94"/>
                      </a:cubicBezTo>
                      <a:cubicBezTo>
                        <a:pt x="55" y="94"/>
                        <a:pt x="55" y="94"/>
                        <a:pt x="55" y="94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53" y="94"/>
                        <a:pt x="53" y="94"/>
                        <a:pt x="53" y="94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lose/>
                      <a:moveTo>
                        <a:pt x="56" y="94"/>
                      </a:moveTo>
                      <a:cubicBezTo>
                        <a:pt x="54" y="95"/>
                        <a:pt x="54" y="95"/>
                        <a:pt x="54" y="95"/>
                      </a:cubicBezTo>
                      <a:cubicBezTo>
                        <a:pt x="54" y="97"/>
                        <a:pt x="54" y="97"/>
                        <a:pt x="54" y="97"/>
                      </a:cubicBezTo>
                      <a:cubicBezTo>
                        <a:pt x="55" y="98"/>
                        <a:pt x="55" y="98"/>
                        <a:pt x="55" y="98"/>
                      </a:cubicBezTo>
                      <a:cubicBezTo>
                        <a:pt x="56" y="96"/>
                        <a:pt x="56" y="96"/>
                        <a:pt x="56" y="96"/>
                      </a:cubicBezTo>
                      <a:cubicBezTo>
                        <a:pt x="57" y="95"/>
                        <a:pt x="57" y="95"/>
                        <a:pt x="57" y="95"/>
                      </a:cubicBezTo>
                      <a:cubicBezTo>
                        <a:pt x="56" y="94"/>
                        <a:pt x="56" y="94"/>
                        <a:pt x="56" y="94"/>
                      </a:cubicBezTo>
                      <a:close/>
                      <a:moveTo>
                        <a:pt x="72" y="94"/>
                      </a:moveTo>
                      <a:cubicBezTo>
                        <a:pt x="72" y="96"/>
                        <a:pt x="72" y="96"/>
                        <a:pt x="72" y="96"/>
                      </a:cubicBezTo>
                      <a:cubicBezTo>
                        <a:pt x="72" y="95"/>
                        <a:pt x="72" y="95"/>
                        <a:pt x="72" y="95"/>
                      </a:cubicBezTo>
                      <a:cubicBezTo>
                        <a:pt x="72" y="94"/>
                        <a:pt x="72" y="94"/>
                        <a:pt x="72" y="94"/>
                      </a:cubicBezTo>
                      <a:close/>
                      <a:moveTo>
                        <a:pt x="64" y="107"/>
                      </a:moveTo>
                      <a:cubicBezTo>
                        <a:pt x="65" y="105"/>
                        <a:pt x="65" y="105"/>
                        <a:pt x="65" y="105"/>
                      </a:cubicBezTo>
                      <a:cubicBezTo>
                        <a:pt x="66" y="101"/>
                        <a:pt x="66" y="101"/>
                        <a:pt x="66" y="101"/>
                      </a:cubicBezTo>
                      <a:cubicBezTo>
                        <a:pt x="69" y="98"/>
                        <a:pt x="69" y="98"/>
                        <a:pt x="69" y="98"/>
                      </a:cubicBezTo>
                      <a:cubicBezTo>
                        <a:pt x="69" y="96"/>
                        <a:pt x="69" y="96"/>
                        <a:pt x="69" y="96"/>
                      </a:cubicBezTo>
                      <a:cubicBezTo>
                        <a:pt x="69" y="94"/>
                        <a:pt x="69" y="94"/>
                        <a:pt x="69" y="94"/>
                      </a:cubicBezTo>
                      <a:cubicBezTo>
                        <a:pt x="69" y="93"/>
                        <a:pt x="69" y="93"/>
                        <a:pt x="69" y="93"/>
                      </a:cubicBezTo>
                      <a:cubicBezTo>
                        <a:pt x="69" y="89"/>
                        <a:pt x="69" y="89"/>
                        <a:pt x="69" y="89"/>
                      </a:cubicBezTo>
                      <a:cubicBezTo>
                        <a:pt x="68" y="90"/>
                        <a:pt x="68" y="90"/>
                        <a:pt x="68" y="90"/>
                      </a:cubicBezTo>
                      <a:cubicBezTo>
                        <a:pt x="68" y="93"/>
                        <a:pt x="68" y="93"/>
                        <a:pt x="68" y="93"/>
                      </a:cubicBezTo>
                      <a:cubicBezTo>
                        <a:pt x="66" y="96"/>
                        <a:pt x="66" y="96"/>
                        <a:pt x="66" y="96"/>
                      </a:cubicBezTo>
                      <a:cubicBezTo>
                        <a:pt x="66" y="99"/>
                        <a:pt x="66" y="99"/>
                        <a:pt x="66" y="99"/>
                      </a:cubicBezTo>
                      <a:cubicBezTo>
                        <a:pt x="65" y="101"/>
                        <a:pt x="65" y="101"/>
                        <a:pt x="65" y="101"/>
                      </a:cubicBezTo>
                      <a:cubicBezTo>
                        <a:pt x="63" y="103"/>
                        <a:pt x="63" y="103"/>
                        <a:pt x="63" y="103"/>
                      </a:cubicBezTo>
                      <a:cubicBezTo>
                        <a:pt x="63" y="105"/>
                        <a:pt x="63" y="105"/>
                        <a:pt x="63" y="105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lose/>
                      <a:moveTo>
                        <a:pt x="62" y="106"/>
                      </a:moveTo>
                      <a:cubicBezTo>
                        <a:pt x="61" y="102"/>
                        <a:pt x="61" y="102"/>
                        <a:pt x="61" y="102"/>
                      </a:cubicBezTo>
                      <a:cubicBezTo>
                        <a:pt x="63" y="97"/>
                        <a:pt x="63" y="97"/>
                        <a:pt x="63" y="97"/>
                      </a:cubicBezTo>
                      <a:cubicBezTo>
                        <a:pt x="64" y="95"/>
                        <a:pt x="64" y="95"/>
                        <a:pt x="64" y="95"/>
                      </a:cubicBezTo>
                      <a:cubicBezTo>
                        <a:pt x="64" y="93"/>
                        <a:pt x="64" y="93"/>
                        <a:pt x="64" y="93"/>
                      </a:cubicBezTo>
                      <a:cubicBezTo>
                        <a:pt x="63" y="92"/>
                        <a:pt x="63" y="92"/>
                        <a:pt x="63" y="92"/>
                      </a:cubicBezTo>
                      <a:cubicBezTo>
                        <a:pt x="62" y="92"/>
                        <a:pt x="62" y="92"/>
                        <a:pt x="62" y="92"/>
                      </a:cubicBezTo>
                      <a:cubicBezTo>
                        <a:pt x="61" y="92"/>
                        <a:pt x="61" y="92"/>
                        <a:pt x="61" y="92"/>
                      </a:cubicBezTo>
                      <a:cubicBezTo>
                        <a:pt x="59" y="93"/>
                        <a:pt x="59" y="93"/>
                        <a:pt x="59" y="93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8" y="97"/>
                        <a:pt x="58" y="97"/>
                        <a:pt x="58" y="97"/>
                      </a:cubicBezTo>
                      <a:cubicBezTo>
                        <a:pt x="59" y="99"/>
                        <a:pt x="59" y="99"/>
                        <a:pt x="59" y="99"/>
                      </a:cubicBezTo>
                      <a:cubicBezTo>
                        <a:pt x="57" y="101"/>
                        <a:pt x="57" y="101"/>
                        <a:pt x="57" y="101"/>
                      </a:cubicBezTo>
                      <a:cubicBezTo>
                        <a:pt x="54" y="102"/>
                        <a:pt x="54" y="102"/>
                        <a:pt x="54" y="102"/>
                      </a:cubicBezTo>
                      <a:cubicBezTo>
                        <a:pt x="54" y="103"/>
                        <a:pt x="54" y="103"/>
                        <a:pt x="54" y="103"/>
                      </a:cubicBezTo>
                      <a:cubicBezTo>
                        <a:pt x="54" y="107"/>
                        <a:pt x="54" y="107"/>
                        <a:pt x="54" y="107"/>
                      </a:cubicBezTo>
                      <a:cubicBezTo>
                        <a:pt x="55" y="107"/>
                        <a:pt x="55" y="107"/>
                        <a:pt x="55" y="107"/>
                      </a:cubicBezTo>
                      <a:cubicBezTo>
                        <a:pt x="58" y="108"/>
                        <a:pt x="58" y="108"/>
                        <a:pt x="58" y="108"/>
                      </a:cubicBezTo>
                      <a:cubicBezTo>
                        <a:pt x="60" y="108"/>
                        <a:pt x="60" y="108"/>
                        <a:pt x="60" y="108"/>
                      </a:cubicBezTo>
                      <a:cubicBezTo>
                        <a:pt x="60" y="111"/>
                        <a:pt x="60" y="111"/>
                        <a:pt x="60" y="111"/>
                      </a:cubicBezTo>
                      <a:cubicBezTo>
                        <a:pt x="61" y="111"/>
                        <a:pt x="61" y="111"/>
                        <a:pt x="61" y="111"/>
                      </a:cubicBezTo>
                      <a:cubicBezTo>
                        <a:pt x="63" y="110"/>
                        <a:pt x="63" y="110"/>
                        <a:pt x="63" y="110"/>
                      </a:cubicBezTo>
                      <a:cubicBezTo>
                        <a:pt x="63" y="109"/>
                        <a:pt x="63" y="109"/>
                        <a:pt x="63" y="109"/>
                      </a:cubicBezTo>
                      <a:cubicBezTo>
                        <a:pt x="62" y="106"/>
                        <a:pt x="62" y="106"/>
                        <a:pt x="62" y="106"/>
                      </a:cubicBezTo>
                      <a:close/>
                      <a:moveTo>
                        <a:pt x="67" y="109"/>
                      </a:moveTo>
                      <a:cubicBezTo>
                        <a:pt x="67" y="110"/>
                        <a:pt x="67" y="110"/>
                        <a:pt x="67" y="110"/>
                      </a:cubicBezTo>
                      <a:cubicBezTo>
                        <a:pt x="67" y="111"/>
                        <a:pt x="67" y="111"/>
                        <a:pt x="67" y="111"/>
                      </a:cubicBezTo>
                      <a:cubicBezTo>
                        <a:pt x="65" y="112"/>
                        <a:pt x="65" y="112"/>
                        <a:pt x="65" y="112"/>
                      </a:cubicBezTo>
                      <a:cubicBezTo>
                        <a:pt x="64" y="111"/>
                        <a:pt x="64" y="111"/>
                        <a:pt x="64" y="111"/>
                      </a:cubicBezTo>
                      <a:cubicBezTo>
                        <a:pt x="65" y="109"/>
                        <a:pt x="65" y="109"/>
                        <a:pt x="65" y="109"/>
                      </a:cubicBezTo>
                      <a:cubicBezTo>
                        <a:pt x="67" y="109"/>
                        <a:pt x="67" y="109"/>
                        <a:pt x="67" y="109"/>
                      </a:cubicBezTo>
                      <a:close/>
                      <a:moveTo>
                        <a:pt x="73" y="100"/>
                      </a:moveTo>
                      <a:cubicBezTo>
                        <a:pt x="74" y="100"/>
                        <a:pt x="74" y="100"/>
                        <a:pt x="74" y="100"/>
                      </a:cubicBezTo>
                      <a:cubicBezTo>
                        <a:pt x="75" y="101"/>
                        <a:pt x="75" y="101"/>
                        <a:pt x="75" y="101"/>
                      </a:cubicBezTo>
                      <a:cubicBezTo>
                        <a:pt x="75" y="103"/>
                        <a:pt x="75" y="103"/>
                        <a:pt x="75" y="103"/>
                      </a:cubicBezTo>
                      <a:cubicBezTo>
                        <a:pt x="74" y="104"/>
                        <a:pt x="74" y="104"/>
                        <a:pt x="74" y="104"/>
                      </a:cubicBezTo>
                      <a:cubicBezTo>
                        <a:pt x="71" y="106"/>
                        <a:pt x="71" y="106"/>
                        <a:pt x="71" y="106"/>
                      </a:cubicBezTo>
                      <a:cubicBezTo>
                        <a:pt x="69" y="106"/>
                        <a:pt x="69" y="106"/>
                        <a:pt x="69" y="106"/>
                      </a:cubicBezTo>
                      <a:cubicBezTo>
                        <a:pt x="69" y="105"/>
                        <a:pt x="69" y="105"/>
                        <a:pt x="69" y="105"/>
                      </a:cubicBezTo>
                      <a:cubicBezTo>
                        <a:pt x="68" y="104"/>
                        <a:pt x="68" y="104"/>
                        <a:pt x="68" y="104"/>
                      </a:cubicBezTo>
                      <a:cubicBezTo>
                        <a:pt x="69" y="102"/>
                        <a:pt x="69" y="102"/>
                        <a:pt x="69" y="102"/>
                      </a:cubicBezTo>
                      <a:cubicBezTo>
                        <a:pt x="73" y="100"/>
                        <a:pt x="73" y="100"/>
                        <a:pt x="73" y="100"/>
                      </a:cubicBezTo>
                      <a:close/>
                      <a:moveTo>
                        <a:pt x="81" y="100"/>
                      </a:moveTo>
                      <a:cubicBezTo>
                        <a:pt x="82" y="102"/>
                        <a:pt x="82" y="102"/>
                        <a:pt x="82" y="102"/>
                      </a:cubicBezTo>
                      <a:cubicBezTo>
                        <a:pt x="82" y="104"/>
                        <a:pt x="82" y="104"/>
                        <a:pt x="82" y="104"/>
                      </a:cubicBezTo>
                      <a:cubicBezTo>
                        <a:pt x="81" y="102"/>
                        <a:pt x="81" y="102"/>
                        <a:pt x="81" y="102"/>
                      </a:cubicBezTo>
                      <a:cubicBezTo>
                        <a:pt x="81" y="100"/>
                        <a:pt x="81" y="100"/>
                        <a:pt x="81" y="100"/>
                      </a:cubicBezTo>
                      <a:close/>
                      <a:moveTo>
                        <a:pt x="76" y="108"/>
                      </a:moveTo>
                      <a:cubicBezTo>
                        <a:pt x="78" y="110"/>
                        <a:pt x="78" y="110"/>
                        <a:pt x="78" y="110"/>
                      </a:cubicBezTo>
                      <a:cubicBezTo>
                        <a:pt x="77" y="111"/>
                        <a:pt x="77" y="111"/>
                        <a:pt x="77" y="111"/>
                      </a:cubicBezTo>
                      <a:cubicBezTo>
                        <a:pt x="76" y="110"/>
                        <a:pt x="76" y="110"/>
                        <a:pt x="76" y="110"/>
                      </a:cubicBezTo>
                      <a:cubicBezTo>
                        <a:pt x="76" y="109"/>
                        <a:pt x="76" y="109"/>
                        <a:pt x="76" y="109"/>
                      </a:cubicBezTo>
                      <a:cubicBezTo>
                        <a:pt x="76" y="108"/>
                        <a:pt x="76" y="108"/>
                        <a:pt x="76" y="108"/>
                      </a:cubicBezTo>
                      <a:close/>
                      <a:moveTo>
                        <a:pt x="75" y="85"/>
                      </a:moveTo>
                      <a:cubicBezTo>
                        <a:pt x="74" y="86"/>
                        <a:pt x="74" y="86"/>
                        <a:pt x="74" y="86"/>
                      </a:cubicBezTo>
                      <a:cubicBezTo>
                        <a:pt x="73" y="87"/>
                        <a:pt x="73" y="87"/>
                        <a:pt x="73" y="87"/>
                      </a:cubicBezTo>
                      <a:cubicBezTo>
                        <a:pt x="71" y="86"/>
                        <a:pt x="71" y="86"/>
                        <a:pt x="71" y="86"/>
                      </a:cubicBezTo>
                      <a:cubicBezTo>
                        <a:pt x="72" y="85"/>
                        <a:pt x="72" y="85"/>
                        <a:pt x="72" y="85"/>
                      </a:cubicBezTo>
                      <a:cubicBezTo>
                        <a:pt x="75" y="85"/>
                        <a:pt x="75" y="85"/>
                        <a:pt x="75" y="85"/>
                      </a:cubicBezTo>
                      <a:close/>
                      <a:moveTo>
                        <a:pt x="79" y="87"/>
                      </a:moveTo>
                      <a:cubicBezTo>
                        <a:pt x="80" y="88"/>
                        <a:pt x="80" y="88"/>
                        <a:pt x="80" y="88"/>
                      </a:cubicBezTo>
                      <a:cubicBezTo>
                        <a:pt x="81" y="90"/>
                        <a:pt x="81" y="90"/>
                        <a:pt x="81" y="90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4" y="90"/>
                        <a:pt x="84" y="90"/>
                        <a:pt x="84" y="90"/>
                      </a:cubicBezTo>
                      <a:cubicBezTo>
                        <a:pt x="85" y="90"/>
                        <a:pt x="85" y="90"/>
                        <a:pt x="85" y="90"/>
                      </a:cubicBezTo>
                      <a:cubicBezTo>
                        <a:pt x="86" y="90"/>
                        <a:pt x="86" y="90"/>
                        <a:pt x="86" y="90"/>
                      </a:cubicBezTo>
                      <a:cubicBezTo>
                        <a:pt x="85" y="89"/>
                        <a:pt x="85" y="89"/>
                        <a:pt x="85" y="89"/>
                      </a:cubicBezTo>
                      <a:cubicBezTo>
                        <a:pt x="84" y="87"/>
                        <a:pt x="84" y="87"/>
                        <a:pt x="84" y="87"/>
                      </a:cubicBezTo>
                      <a:cubicBezTo>
                        <a:pt x="83" y="86"/>
                        <a:pt x="83" y="86"/>
                        <a:pt x="83" y="86"/>
                      </a:cubicBezTo>
                      <a:cubicBezTo>
                        <a:pt x="83" y="83"/>
                        <a:pt x="83" y="83"/>
                        <a:pt x="83" y="83"/>
                      </a:cubicBezTo>
                      <a:cubicBezTo>
                        <a:pt x="83" y="80"/>
                        <a:pt x="83" y="80"/>
                        <a:pt x="83" y="80"/>
                      </a:cubicBezTo>
                      <a:cubicBezTo>
                        <a:pt x="83" y="79"/>
                        <a:pt x="83" y="79"/>
                        <a:pt x="83" y="79"/>
                      </a:cubicBezTo>
                      <a:cubicBezTo>
                        <a:pt x="82" y="78"/>
                        <a:pt x="82" y="78"/>
                        <a:pt x="82" y="78"/>
                      </a:cubicBezTo>
                      <a:cubicBezTo>
                        <a:pt x="81" y="76"/>
                        <a:pt x="81" y="76"/>
                        <a:pt x="81" y="76"/>
                      </a:cubicBezTo>
                      <a:cubicBezTo>
                        <a:pt x="80" y="74"/>
                        <a:pt x="80" y="74"/>
                        <a:pt x="80" y="74"/>
                      </a:cubicBezTo>
                      <a:cubicBezTo>
                        <a:pt x="79" y="74"/>
                        <a:pt x="79" y="74"/>
                        <a:pt x="79" y="74"/>
                      </a:cubicBezTo>
                      <a:cubicBezTo>
                        <a:pt x="78" y="74"/>
                        <a:pt x="78" y="74"/>
                        <a:pt x="78" y="74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6" y="74"/>
                        <a:pt x="76" y="74"/>
                        <a:pt x="76" y="74"/>
                      </a:cubicBezTo>
                      <a:cubicBezTo>
                        <a:pt x="75" y="75"/>
                        <a:pt x="75" y="75"/>
                        <a:pt x="75" y="75"/>
                      </a:cubicBezTo>
                      <a:cubicBezTo>
                        <a:pt x="73" y="75"/>
                        <a:pt x="73" y="75"/>
                        <a:pt x="73" y="75"/>
                      </a:cubicBezTo>
                      <a:cubicBezTo>
                        <a:pt x="72" y="75"/>
                        <a:pt x="72" y="75"/>
                        <a:pt x="72" y="75"/>
                      </a:cubicBezTo>
                      <a:cubicBezTo>
                        <a:pt x="71" y="74"/>
                        <a:pt x="71" y="74"/>
                        <a:pt x="71" y="74"/>
                      </a:cubicBezTo>
                      <a:cubicBezTo>
                        <a:pt x="71" y="76"/>
                        <a:pt x="71" y="76"/>
                        <a:pt x="71" y="76"/>
                      </a:cubicBezTo>
                      <a:cubicBezTo>
                        <a:pt x="73" y="79"/>
                        <a:pt x="73" y="79"/>
                        <a:pt x="73" y="79"/>
                      </a:cubicBezTo>
                      <a:cubicBezTo>
                        <a:pt x="75" y="81"/>
                        <a:pt x="75" y="81"/>
                        <a:pt x="75" y="81"/>
                      </a:cubicBezTo>
                      <a:cubicBezTo>
                        <a:pt x="77" y="83"/>
                        <a:pt x="77" y="83"/>
                        <a:pt x="77" y="83"/>
                      </a:cubicBezTo>
                      <a:cubicBezTo>
                        <a:pt x="78" y="84"/>
                        <a:pt x="78" y="84"/>
                        <a:pt x="78" y="84"/>
                      </a:cubicBezTo>
                      <a:cubicBezTo>
                        <a:pt x="78" y="85"/>
                        <a:pt x="78" y="85"/>
                        <a:pt x="78" y="85"/>
                      </a:cubicBezTo>
                      <a:cubicBezTo>
                        <a:pt x="77" y="86"/>
                        <a:pt x="77" y="86"/>
                        <a:pt x="77" y="86"/>
                      </a:cubicBezTo>
                      <a:cubicBezTo>
                        <a:pt x="77" y="87"/>
                        <a:pt x="77" y="87"/>
                        <a:pt x="77" y="87"/>
                      </a:cubicBezTo>
                      <a:cubicBezTo>
                        <a:pt x="78" y="86"/>
                        <a:pt x="78" y="86"/>
                        <a:pt x="78" y="86"/>
                      </a:cubicBezTo>
                      <a:cubicBezTo>
                        <a:pt x="78" y="87"/>
                        <a:pt x="78" y="87"/>
                        <a:pt x="78" y="87"/>
                      </a:cubicBezTo>
                      <a:cubicBezTo>
                        <a:pt x="79" y="87"/>
                        <a:pt x="79" y="87"/>
                        <a:pt x="79" y="87"/>
                      </a:cubicBezTo>
                      <a:close/>
                      <a:moveTo>
                        <a:pt x="77" y="88"/>
                      </a:moveTo>
                      <a:cubicBezTo>
                        <a:pt x="75" y="88"/>
                        <a:pt x="75" y="88"/>
                        <a:pt x="75" y="88"/>
                      </a:cubicBezTo>
                      <a:cubicBezTo>
                        <a:pt x="73" y="88"/>
                        <a:pt x="73" y="88"/>
                        <a:pt x="73" y="88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73" y="89"/>
                        <a:pt x="73" y="89"/>
                        <a:pt x="73" y="89"/>
                      </a:cubicBezTo>
                      <a:cubicBezTo>
                        <a:pt x="73" y="91"/>
                        <a:pt x="73" y="91"/>
                        <a:pt x="73" y="91"/>
                      </a:cubicBezTo>
                      <a:cubicBezTo>
                        <a:pt x="74" y="93"/>
                        <a:pt x="74" y="93"/>
                        <a:pt x="74" y="93"/>
                      </a:cubicBezTo>
                      <a:cubicBezTo>
                        <a:pt x="75" y="92"/>
                        <a:pt x="75" y="92"/>
                        <a:pt x="75" y="92"/>
                      </a:cubicBezTo>
                      <a:cubicBezTo>
                        <a:pt x="76" y="93"/>
                        <a:pt x="76" y="93"/>
                        <a:pt x="76" y="93"/>
                      </a:cubicBezTo>
                      <a:cubicBezTo>
                        <a:pt x="76" y="95"/>
                        <a:pt x="76" y="95"/>
                        <a:pt x="76" y="95"/>
                      </a:cubicBezTo>
                      <a:cubicBezTo>
                        <a:pt x="77" y="97"/>
                        <a:pt x="77" y="97"/>
                        <a:pt x="77" y="97"/>
                      </a:cubicBezTo>
                      <a:cubicBezTo>
                        <a:pt x="77" y="100"/>
                        <a:pt x="77" y="100"/>
                        <a:pt x="77" y="100"/>
                      </a:cubicBezTo>
                      <a:cubicBezTo>
                        <a:pt x="79" y="101"/>
                        <a:pt x="79" y="101"/>
                        <a:pt x="79" y="101"/>
                      </a:cubicBezTo>
                      <a:cubicBezTo>
                        <a:pt x="79" y="98"/>
                        <a:pt x="79" y="98"/>
                        <a:pt x="79" y="98"/>
                      </a:cubicBezTo>
                      <a:cubicBezTo>
                        <a:pt x="80" y="100"/>
                        <a:pt x="80" y="100"/>
                        <a:pt x="80" y="100"/>
                      </a:cubicBezTo>
                      <a:cubicBezTo>
                        <a:pt x="82" y="99"/>
                        <a:pt x="82" y="99"/>
                        <a:pt x="82" y="99"/>
                      </a:cubicBezTo>
                      <a:cubicBezTo>
                        <a:pt x="82" y="98"/>
                        <a:pt x="82" y="98"/>
                        <a:pt x="82" y="98"/>
                      </a:cubicBezTo>
                      <a:cubicBezTo>
                        <a:pt x="80" y="95"/>
                        <a:pt x="80" y="95"/>
                        <a:pt x="80" y="95"/>
                      </a:cubicBezTo>
                      <a:cubicBezTo>
                        <a:pt x="79" y="94"/>
                        <a:pt x="79" y="94"/>
                        <a:pt x="79" y="94"/>
                      </a:cubicBezTo>
                      <a:cubicBezTo>
                        <a:pt x="78" y="91"/>
                        <a:pt x="78" y="91"/>
                        <a:pt x="78" y="91"/>
                      </a:cubicBezTo>
                      <a:cubicBezTo>
                        <a:pt x="77" y="88"/>
                        <a:pt x="77" y="88"/>
                        <a:pt x="77" y="88"/>
                      </a:cubicBezTo>
                      <a:cubicBezTo>
                        <a:pt x="77" y="88"/>
                        <a:pt x="77" y="88"/>
                        <a:pt x="77" y="88"/>
                      </a:cubicBezTo>
                      <a:close/>
                      <a:moveTo>
                        <a:pt x="87" y="93"/>
                      </a:move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86" y="92"/>
                        <a:pt x="86" y="92"/>
                        <a:pt x="86" y="92"/>
                      </a:cubicBezTo>
                      <a:cubicBezTo>
                        <a:pt x="87" y="93"/>
                        <a:pt x="87" y="93"/>
                        <a:pt x="87" y="93"/>
                      </a:cubicBezTo>
                      <a:close/>
                      <a:moveTo>
                        <a:pt x="87" y="94"/>
                      </a:moveTo>
                      <a:cubicBezTo>
                        <a:pt x="86" y="94"/>
                        <a:pt x="86" y="94"/>
                        <a:pt x="86" y="94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6" y="95"/>
                        <a:pt x="86" y="95"/>
                        <a:pt x="86" y="95"/>
                      </a:cubicBezTo>
                      <a:cubicBezTo>
                        <a:pt x="87" y="94"/>
                        <a:pt x="87" y="94"/>
                        <a:pt x="87" y="94"/>
                      </a:cubicBezTo>
                      <a:close/>
                      <a:moveTo>
                        <a:pt x="86" y="104"/>
                      </a:moveTo>
                      <a:cubicBezTo>
                        <a:pt x="87" y="102"/>
                        <a:pt x="87" y="102"/>
                        <a:pt x="87" y="102"/>
                      </a:cubicBezTo>
                      <a:cubicBezTo>
                        <a:pt x="86" y="100"/>
                        <a:pt x="86" y="100"/>
                        <a:pt x="86" y="100"/>
                      </a:cubicBezTo>
                      <a:cubicBezTo>
                        <a:pt x="86" y="98"/>
                        <a:pt x="86" y="98"/>
                        <a:pt x="86" y="98"/>
                      </a:cubicBezTo>
                      <a:cubicBezTo>
                        <a:pt x="86" y="98"/>
                        <a:pt x="86" y="98"/>
                        <a:pt x="86" y="98"/>
                      </a:cubicBezTo>
                      <a:cubicBezTo>
                        <a:pt x="86" y="97"/>
                        <a:pt x="86" y="97"/>
                        <a:pt x="86" y="97"/>
                      </a:cubicBezTo>
                      <a:cubicBezTo>
                        <a:pt x="85" y="97"/>
                        <a:pt x="85" y="97"/>
                        <a:pt x="85" y="97"/>
                      </a:cubicBezTo>
                      <a:cubicBezTo>
                        <a:pt x="85" y="99"/>
                        <a:pt x="85" y="99"/>
                        <a:pt x="85" y="99"/>
                      </a:cubicBezTo>
                      <a:cubicBezTo>
                        <a:pt x="86" y="102"/>
                        <a:pt x="86" y="102"/>
                        <a:pt x="86" y="102"/>
                      </a:cubicBezTo>
                      <a:cubicBezTo>
                        <a:pt x="85" y="103"/>
                        <a:pt x="85" y="103"/>
                        <a:pt x="85" y="103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lose/>
                      <a:moveTo>
                        <a:pt x="89" y="105"/>
                      </a:moveTo>
                      <a:cubicBezTo>
                        <a:pt x="88" y="106"/>
                        <a:pt x="88" y="106"/>
                        <a:pt x="88" y="106"/>
                      </a:cubicBezTo>
                      <a:cubicBezTo>
                        <a:pt x="89" y="107"/>
                        <a:pt x="89" y="107"/>
                        <a:pt x="89" y="107"/>
                      </a:cubicBezTo>
                      <a:cubicBezTo>
                        <a:pt x="90" y="105"/>
                        <a:pt x="90" y="105"/>
                        <a:pt x="90" y="105"/>
                      </a:cubicBezTo>
                      <a:cubicBezTo>
                        <a:pt x="89" y="105"/>
                        <a:pt x="89" y="105"/>
                        <a:pt x="89" y="105"/>
                      </a:cubicBezTo>
                      <a:close/>
                      <a:moveTo>
                        <a:pt x="90" y="100"/>
                      </a:moveTo>
                      <a:cubicBezTo>
                        <a:pt x="90" y="102"/>
                        <a:pt x="90" y="102"/>
                        <a:pt x="90" y="102"/>
                      </a:cubicBezTo>
                      <a:cubicBezTo>
                        <a:pt x="89" y="103"/>
                        <a:pt x="89" y="103"/>
                        <a:pt x="89" y="103"/>
                      </a:cubicBezTo>
                      <a:cubicBezTo>
                        <a:pt x="90" y="104"/>
                        <a:pt x="90" y="104"/>
                        <a:pt x="90" y="104"/>
                      </a:cubicBezTo>
                      <a:cubicBezTo>
                        <a:pt x="92" y="104"/>
                        <a:pt x="92" y="104"/>
                        <a:pt x="92" y="104"/>
                      </a:cubicBezTo>
                      <a:cubicBezTo>
                        <a:pt x="91" y="102"/>
                        <a:pt x="91" y="102"/>
                        <a:pt x="91" y="102"/>
                      </a:cubicBezTo>
                      <a:cubicBezTo>
                        <a:pt x="90" y="100"/>
                        <a:pt x="90" y="100"/>
                        <a:pt x="90" y="100"/>
                      </a:cubicBezTo>
                      <a:close/>
                      <a:moveTo>
                        <a:pt x="52" y="135"/>
                      </a:moveTo>
                      <a:cubicBezTo>
                        <a:pt x="50" y="133"/>
                        <a:pt x="50" y="133"/>
                        <a:pt x="50" y="133"/>
                      </a:cubicBezTo>
                      <a:cubicBezTo>
                        <a:pt x="52" y="130"/>
                        <a:pt x="52" y="130"/>
                        <a:pt x="52" y="130"/>
                      </a:cubicBezTo>
                      <a:cubicBezTo>
                        <a:pt x="52" y="127"/>
                        <a:pt x="52" y="127"/>
                        <a:pt x="52" y="127"/>
                      </a:cubicBezTo>
                      <a:cubicBezTo>
                        <a:pt x="51" y="126"/>
                        <a:pt x="51" y="126"/>
                        <a:pt x="51" y="126"/>
                      </a:cubicBezTo>
                      <a:cubicBezTo>
                        <a:pt x="53" y="124"/>
                        <a:pt x="53" y="124"/>
                        <a:pt x="53" y="124"/>
                      </a:cubicBezTo>
                      <a:cubicBezTo>
                        <a:pt x="55" y="123"/>
                        <a:pt x="55" y="123"/>
                        <a:pt x="55" y="123"/>
                      </a:cubicBezTo>
                      <a:cubicBezTo>
                        <a:pt x="56" y="122"/>
                        <a:pt x="56" y="122"/>
                        <a:pt x="56" y="122"/>
                      </a:cubicBezTo>
                      <a:cubicBezTo>
                        <a:pt x="58" y="122"/>
                        <a:pt x="58" y="122"/>
                        <a:pt x="58" y="122"/>
                      </a:cubicBezTo>
                      <a:cubicBezTo>
                        <a:pt x="61" y="122"/>
                        <a:pt x="61" y="122"/>
                        <a:pt x="61" y="122"/>
                      </a:cubicBezTo>
                      <a:cubicBezTo>
                        <a:pt x="60" y="120"/>
                        <a:pt x="60" y="120"/>
                        <a:pt x="60" y="120"/>
                      </a:cubicBezTo>
                      <a:cubicBezTo>
                        <a:pt x="61" y="118"/>
                        <a:pt x="61" y="118"/>
                        <a:pt x="61" y="118"/>
                      </a:cubicBezTo>
                      <a:cubicBezTo>
                        <a:pt x="63" y="117"/>
                        <a:pt x="63" y="117"/>
                        <a:pt x="63" y="117"/>
                      </a:cubicBezTo>
                      <a:cubicBezTo>
                        <a:pt x="64" y="115"/>
                        <a:pt x="64" y="115"/>
                        <a:pt x="64" y="115"/>
                      </a:cubicBezTo>
                      <a:cubicBezTo>
                        <a:pt x="66" y="115"/>
                        <a:pt x="66" y="115"/>
                        <a:pt x="66" y="115"/>
                      </a:cubicBezTo>
                      <a:cubicBezTo>
                        <a:pt x="69" y="118"/>
                        <a:pt x="69" y="118"/>
                        <a:pt x="69" y="118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67" y="124"/>
                        <a:pt x="67" y="124"/>
                        <a:pt x="67" y="124"/>
                      </a:cubicBezTo>
                      <a:cubicBezTo>
                        <a:pt x="68" y="122"/>
                        <a:pt x="68" y="122"/>
                        <a:pt x="68" y="122"/>
                      </a:cubicBezTo>
                      <a:cubicBezTo>
                        <a:pt x="70" y="122"/>
                        <a:pt x="70" y="122"/>
                        <a:pt x="70" y="122"/>
                      </a:cubicBezTo>
                      <a:cubicBezTo>
                        <a:pt x="72" y="121"/>
                        <a:pt x="72" y="121"/>
                        <a:pt x="72" y="121"/>
                      </a:cubicBezTo>
                      <a:cubicBezTo>
                        <a:pt x="74" y="117"/>
                        <a:pt x="74" y="117"/>
                        <a:pt x="74" y="117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7" y="119"/>
                        <a:pt x="77" y="119"/>
                        <a:pt x="77" y="119"/>
                      </a:cubicBezTo>
                      <a:cubicBezTo>
                        <a:pt x="78" y="118"/>
                        <a:pt x="78" y="118"/>
                        <a:pt x="78" y="118"/>
                      </a:cubicBezTo>
                      <a:cubicBezTo>
                        <a:pt x="78" y="116"/>
                        <a:pt x="78" y="116"/>
                        <a:pt x="78" y="116"/>
                      </a:cubicBezTo>
                      <a:cubicBezTo>
                        <a:pt x="77" y="116"/>
                        <a:pt x="77" y="116"/>
                        <a:pt x="77" y="116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80" y="113"/>
                        <a:pt x="80" y="113"/>
                        <a:pt x="80" y="113"/>
                      </a:cubicBezTo>
                      <a:cubicBezTo>
                        <a:pt x="81" y="114"/>
                        <a:pt x="81" y="114"/>
                        <a:pt x="81" y="114"/>
                      </a:cubicBezTo>
                      <a:cubicBezTo>
                        <a:pt x="82" y="113"/>
                        <a:pt x="82" y="113"/>
                        <a:pt x="82" y="113"/>
                      </a:cubicBezTo>
                      <a:cubicBezTo>
                        <a:pt x="82" y="110"/>
                        <a:pt x="82" y="110"/>
                        <a:pt x="82" y="110"/>
                      </a:cubicBezTo>
                      <a:cubicBezTo>
                        <a:pt x="83" y="110"/>
                        <a:pt x="83" y="110"/>
                        <a:pt x="83" y="110"/>
                      </a:cubicBezTo>
                      <a:cubicBezTo>
                        <a:pt x="84" y="112"/>
                        <a:pt x="84" y="112"/>
                        <a:pt x="84" y="112"/>
                      </a:cubicBezTo>
                      <a:cubicBezTo>
                        <a:pt x="84" y="110"/>
                        <a:pt x="84" y="110"/>
                        <a:pt x="84" y="110"/>
                      </a:cubicBezTo>
                      <a:cubicBezTo>
                        <a:pt x="83" y="106"/>
                        <a:pt x="83" y="106"/>
                        <a:pt x="83" y="106"/>
                      </a:cubicBezTo>
                      <a:cubicBezTo>
                        <a:pt x="83" y="104"/>
                        <a:pt x="83" y="104"/>
                        <a:pt x="83" y="104"/>
                      </a:cubicBezTo>
                      <a:cubicBezTo>
                        <a:pt x="85" y="105"/>
                        <a:pt x="85" y="105"/>
                        <a:pt x="85" y="105"/>
                      </a:cubicBezTo>
                      <a:cubicBezTo>
                        <a:pt x="86" y="104"/>
                        <a:pt x="86" y="104"/>
                        <a:pt x="86" y="104"/>
                      </a:cubicBezTo>
                      <a:cubicBezTo>
                        <a:pt x="86" y="106"/>
                        <a:pt x="86" y="106"/>
                        <a:pt x="86" y="106"/>
                      </a:cubicBezTo>
                      <a:cubicBezTo>
                        <a:pt x="89" y="108"/>
                        <a:pt x="89" y="108"/>
                        <a:pt x="89" y="108"/>
                      </a:cubicBezTo>
                      <a:cubicBezTo>
                        <a:pt x="90" y="110"/>
                        <a:pt x="90" y="110"/>
                        <a:pt x="90" y="110"/>
                      </a:cubicBezTo>
                      <a:cubicBezTo>
                        <a:pt x="92" y="109"/>
                        <a:pt x="92" y="109"/>
                        <a:pt x="92" y="109"/>
                      </a:cubicBezTo>
                      <a:cubicBezTo>
                        <a:pt x="92" y="111"/>
                        <a:pt x="92" y="111"/>
                        <a:pt x="92" y="111"/>
                      </a:cubicBezTo>
                      <a:cubicBezTo>
                        <a:pt x="93" y="113"/>
                        <a:pt x="93" y="113"/>
                        <a:pt x="93" y="113"/>
                      </a:cubicBezTo>
                      <a:cubicBezTo>
                        <a:pt x="93" y="115"/>
                        <a:pt x="93" y="115"/>
                        <a:pt x="93" y="115"/>
                      </a:cubicBezTo>
                      <a:cubicBezTo>
                        <a:pt x="92" y="115"/>
                        <a:pt x="92" y="115"/>
                        <a:pt x="92" y="115"/>
                      </a:cubicBezTo>
                      <a:cubicBezTo>
                        <a:pt x="91" y="116"/>
                        <a:pt x="91" y="116"/>
                        <a:pt x="91" y="116"/>
                      </a:cubicBezTo>
                      <a:cubicBezTo>
                        <a:pt x="93" y="117"/>
                        <a:pt x="93" y="117"/>
                        <a:pt x="93" y="117"/>
                      </a:cubicBezTo>
                      <a:cubicBezTo>
                        <a:pt x="93" y="118"/>
                        <a:pt x="93" y="118"/>
                        <a:pt x="93" y="118"/>
                      </a:cubicBezTo>
                      <a:cubicBezTo>
                        <a:pt x="93" y="119"/>
                        <a:pt x="93" y="119"/>
                        <a:pt x="93" y="119"/>
                      </a:cubicBezTo>
                      <a:cubicBezTo>
                        <a:pt x="93" y="121"/>
                        <a:pt x="93" y="121"/>
                        <a:pt x="93" y="121"/>
                      </a:cubicBezTo>
                      <a:cubicBezTo>
                        <a:pt x="94" y="120"/>
                        <a:pt x="94" y="120"/>
                        <a:pt x="94" y="120"/>
                      </a:cubicBezTo>
                      <a:cubicBezTo>
                        <a:pt x="94" y="122"/>
                        <a:pt x="94" y="122"/>
                        <a:pt x="94" y="122"/>
                      </a:cubicBezTo>
                      <a:cubicBezTo>
                        <a:pt x="94" y="124"/>
                        <a:pt x="94" y="124"/>
                        <a:pt x="94" y="124"/>
                      </a:cubicBezTo>
                      <a:cubicBezTo>
                        <a:pt x="95" y="126"/>
                        <a:pt x="95" y="126"/>
                        <a:pt x="95" y="126"/>
                      </a:cubicBezTo>
                      <a:cubicBezTo>
                        <a:pt x="96" y="128"/>
                        <a:pt x="96" y="128"/>
                        <a:pt x="96" y="128"/>
                      </a:cubicBezTo>
                      <a:cubicBezTo>
                        <a:pt x="97" y="131"/>
                        <a:pt x="97" y="131"/>
                        <a:pt x="97" y="131"/>
                      </a:cubicBezTo>
                      <a:cubicBezTo>
                        <a:pt x="96" y="134"/>
                        <a:pt x="96" y="134"/>
                        <a:pt x="96" y="134"/>
                      </a:cubicBezTo>
                      <a:cubicBezTo>
                        <a:pt x="95" y="134"/>
                        <a:pt x="95" y="134"/>
                        <a:pt x="95" y="134"/>
                      </a:cubicBezTo>
                      <a:cubicBezTo>
                        <a:pt x="95" y="135"/>
                        <a:pt x="95" y="135"/>
                        <a:pt x="95" y="135"/>
                      </a:cubicBezTo>
                      <a:cubicBezTo>
                        <a:pt x="94" y="134"/>
                        <a:pt x="94" y="134"/>
                        <a:pt x="94" y="134"/>
                      </a:cubicBezTo>
                      <a:cubicBezTo>
                        <a:pt x="93" y="134"/>
                        <a:pt x="93" y="134"/>
                        <a:pt x="93" y="134"/>
                      </a:cubicBezTo>
                      <a:cubicBezTo>
                        <a:pt x="93" y="135"/>
                        <a:pt x="93" y="135"/>
                        <a:pt x="93" y="135"/>
                      </a:cubicBezTo>
                      <a:cubicBezTo>
                        <a:pt x="94" y="138"/>
                        <a:pt x="94" y="138"/>
                        <a:pt x="94" y="138"/>
                      </a:cubicBezTo>
                      <a:cubicBezTo>
                        <a:pt x="93" y="140"/>
                        <a:pt x="93" y="140"/>
                        <a:pt x="93" y="140"/>
                      </a:cubicBezTo>
                      <a:cubicBezTo>
                        <a:pt x="93" y="141"/>
                        <a:pt x="93" y="141"/>
                        <a:pt x="93" y="141"/>
                      </a:cubicBezTo>
                      <a:cubicBezTo>
                        <a:pt x="93" y="140"/>
                        <a:pt x="93" y="140"/>
                        <a:pt x="93" y="140"/>
                      </a:cubicBezTo>
                      <a:cubicBezTo>
                        <a:pt x="92" y="137"/>
                        <a:pt x="92" y="137"/>
                        <a:pt x="92" y="137"/>
                      </a:cubicBezTo>
                      <a:cubicBezTo>
                        <a:pt x="92" y="135"/>
                        <a:pt x="92" y="135"/>
                        <a:pt x="92" y="135"/>
                      </a:cubicBezTo>
                      <a:cubicBezTo>
                        <a:pt x="91" y="134"/>
                        <a:pt x="91" y="134"/>
                        <a:pt x="91" y="134"/>
                      </a:cubicBezTo>
                      <a:cubicBezTo>
                        <a:pt x="90" y="132"/>
                        <a:pt x="90" y="132"/>
                        <a:pt x="90" y="132"/>
                      </a:cubicBezTo>
                      <a:cubicBezTo>
                        <a:pt x="89" y="130"/>
                        <a:pt x="89" y="130"/>
                        <a:pt x="89" y="130"/>
                      </a:cubicBezTo>
                      <a:cubicBezTo>
                        <a:pt x="88" y="131"/>
                        <a:pt x="88" y="131"/>
                        <a:pt x="88" y="131"/>
                      </a:cubicBezTo>
                      <a:cubicBezTo>
                        <a:pt x="85" y="135"/>
                        <a:pt x="85" y="135"/>
                        <a:pt x="85" y="135"/>
                      </a:cubicBezTo>
                      <a:cubicBezTo>
                        <a:pt x="85" y="137"/>
                        <a:pt x="85" y="137"/>
                        <a:pt x="85" y="137"/>
                      </a:cubicBezTo>
                      <a:cubicBezTo>
                        <a:pt x="87" y="138"/>
                        <a:pt x="87" y="138"/>
                        <a:pt x="87" y="138"/>
                      </a:cubicBezTo>
                      <a:cubicBezTo>
                        <a:pt x="88" y="140"/>
                        <a:pt x="88" y="140"/>
                        <a:pt x="88" y="140"/>
                      </a:cubicBezTo>
                      <a:cubicBezTo>
                        <a:pt x="89" y="142"/>
                        <a:pt x="89" y="142"/>
                        <a:pt x="89" y="142"/>
                      </a:cubicBezTo>
                      <a:cubicBezTo>
                        <a:pt x="89" y="144"/>
                        <a:pt x="89" y="144"/>
                        <a:pt x="89" y="144"/>
                      </a:cubicBezTo>
                      <a:cubicBezTo>
                        <a:pt x="86" y="147"/>
                        <a:pt x="86" y="147"/>
                        <a:pt x="86" y="147"/>
                      </a:cubicBezTo>
                      <a:cubicBezTo>
                        <a:pt x="85" y="148"/>
                        <a:pt x="85" y="148"/>
                        <a:pt x="85" y="148"/>
                      </a:cubicBezTo>
                      <a:cubicBezTo>
                        <a:pt x="84" y="147"/>
                        <a:pt x="84" y="147"/>
                        <a:pt x="84" y="147"/>
                      </a:cubicBezTo>
                      <a:cubicBezTo>
                        <a:pt x="83" y="146"/>
                        <a:pt x="83" y="146"/>
                        <a:pt x="83" y="146"/>
                      </a:cubicBezTo>
                      <a:cubicBezTo>
                        <a:pt x="84" y="144"/>
                        <a:pt x="84" y="144"/>
                        <a:pt x="84" y="144"/>
                      </a:cubicBezTo>
                      <a:cubicBezTo>
                        <a:pt x="83" y="144"/>
                        <a:pt x="83" y="144"/>
                        <a:pt x="83" y="144"/>
                      </a:cubicBezTo>
                      <a:cubicBezTo>
                        <a:pt x="82" y="144"/>
                        <a:pt x="82" y="144"/>
                        <a:pt x="82" y="144"/>
                      </a:cubicBezTo>
                      <a:cubicBezTo>
                        <a:pt x="82" y="145"/>
                        <a:pt x="82" y="145"/>
                        <a:pt x="82" y="145"/>
                      </a:cubicBezTo>
                      <a:cubicBezTo>
                        <a:pt x="81" y="146"/>
                        <a:pt x="81" y="146"/>
                        <a:pt x="81" y="146"/>
                      </a:cubicBezTo>
                      <a:cubicBezTo>
                        <a:pt x="79" y="146"/>
                        <a:pt x="79" y="146"/>
                        <a:pt x="79" y="146"/>
                      </a:cubicBezTo>
                      <a:cubicBezTo>
                        <a:pt x="77" y="144"/>
                        <a:pt x="77" y="144"/>
                        <a:pt x="77" y="144"/>
                      </a:cubicBezTo>
                      <a:cubicBezTo>
                        <a:pt x="75" y="144"/>
                        <a:pt x="75" y="144"/>
                        <a:pt x="75" y="144"/>
                      </a:cubicBezTo>
                      <a:cubicBezTo>
                        <a:pt x="73" y="142"/>
                        <a:pt x="73" y="142"/>
                        <a:pt x="73" y="142"/>
                      </a:cubicBezTo>
                      <a:cubicBezTo>
                        <a:pt x="73" y="140"/>
                        <a:pt x="73" y="140"/>
                        <a:pt x="73" y="140"/>
                      </a:cubicBezTo>
                      <a:cubicBezTo>
                        <a:pt x="71" y="138"/>
                        <a:pt x="71" y="138"/>
                        <a:pt x="71" y="138"/>
                      </a:cubicBezTo>
                      <a:cubicBezTo>
                        <a:pt x="72" y="137"/>
                        <a:pt x="72" y="137"/>
                        <a:pt x="72" y="137"/>
                      </a:cubicBezTo>
                      <a:cubicBezTo>
                        <a:pt x="71" y="135"/>
                        <a:pt x="71" y="135"/>
                        <a:pt x="71" y="135"/>
                      </a:cubicBezTo>
                      <a:cubicBezTo>
                        <a:pt x="71" y="134"/>
                        <a:pt x="71" y="134"/>
                        <a:pt x="71" y="134"/>
                      </a:cubicBezTo>
                      <a:cubicBezTo>
                        <a:pt x="71" y="133"/>
                        <a:pt x="71" y="133"/>
                        <a:pt x="71" y="133"/>
                      </a:cubicBezTo>
                      <a:cubicBezTo>
                        <a:pt x="71" y="132"/>
                        <a:pt x="71" y="132"/>
                        <a:pt x="71" y="132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74" y="132"/>
                        <a:pt x="74" y="132"/>
                        <a:pt x="74" y="132"/>
                      </a:cubicBezTo>
                      <a:cubicBezTo>
                        <a:pt x="72" y="131"/>
                        <a:pt x="72" y="131"/>
                        <a:pt x="72" y="131"/>
                      </a:cubicBezTo>
                      <a:cubicBezTo>
                        <a:pt x="72" y="129"/>
                        <a:pt x="72" y="129"/>
                        <a:pt x="72" y="129"/>
                      </a:cubicBezTo>
                      <a:cubicBezTo>
                        <a:pt x="70" y="128"/>
                        <a:pt x="70" y="128"/>
                        <a:pt x="70" y="128"/>
                      </a:cubicBezTo>
                      <a:cubicBezTo>
                        <a:pt x="68" y="127"/>
                        <a:pt x="68" y="127"/>
                        <a:pt x="68" y="127"/>
                      </a:cubicBezTo>
                      <a:cubicBezTo>
                        <a:pt x="67" y="126"/>
                        <a:pt x="67" y="126"/>
                        <a:pt x="67" y="126"/>
                      </a:cubicBezTo>
                      <a:cubicBezTo>
                        <a:pt x="66" y="126"/>
                        <a:pt x="66" y="126"/>
                        <a:pt x="66" y="126"/>
                      </a:cubicBezTo>
                      <a:cubicBezTo>
                        <a:pt x="65" y="127"/>
                        <a:pt x="65" y="127"/>
                        <a:pt x="65" y="127"/>
                      </a:cubicBezTo>
                      <a:cubicBezTo>
                        <a:pt x="65" y="127"/>
                        <a:pt x="65" y="127"/>
                        <a:pt x="65" y="127"/>
                      </a:cubicBez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30"/>
                        <a:pt x="66" y="130"/>
                        <a:pt x="66" y="130"/>
                      </a:cubicBezTo>
                      <a:cubicBezTo>
                        <a:pt x="65" y="130"/>
                        <a:pt x="65" y="130"/>
                        <a:pt x="65" y="130"/>
                      </a:cubicBezTo>
                      <a:cubicBezTo>
                        <a:pt x="63" y="129"/>
                        <a:pt x="63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63" y="127"/>
                        <a:pt x="63" y="127"/>
                        <a:pt x="63" y="127"/>
                      </a:cubicBezTo>
                      <a:cubicBezTo>
                        <a:pt x="62" y="127"/>
                        <a:pt x="62" y="127"/>
                        <a:pt x="62" y="127"/>
                      </a:cubicBezTo>
                      <a:cubicBezTo>
                        <a:pt x="61" y="128"/>
                        <a:pt x="61" y="128"/>
                        <a:pt x="61" y="128"/>
                      </a:cubicBezTo>
                      <a:cubicBezTo>
                        <a:pt x="61" y="129"/>
                        <a:pt x="61" y="129"/>
                        <a:pt x="61" y="129"/>
                      </a:cubicBezTo>
                      <a:cubicBezTo>
                        <a:pt x="60" y="129"/>
                        <a:pt x="60" y="129"/>
                        <a:pt x="60" y="129"/>
                      </a:cubicBezTo>
                      <a:cubicBezTo>
                        <a:pt x="59" y="129"/>
                        <a:pt x="59" y="129"/>
                        <a:pt x="59" y="129"/>
                      </a:cubicBezTo>
                      <a:cubicBezTo>
                        <a:pt x="59" y="129"/>
                        <a:pt x="59" y="129"/>
                        <a:pt x="59" y="129"/>
                      </a:cubicBezTo>
                      <a:cubicBezTo>
                        <a:pt x="59" y="127"/>
                        <a:pt x="59" y="127"/>
                        <a:pt x="59" y="127"/>
                      </a:cubicBezTo>
                      <a:cubicBezTo>
                        <a:pt x="58" y="126"/>
                        <a:pt x="58" y="126"/>
                        <a:pt x="58" y="126"/>
                      </a:cubicBezTo>
                      <a:cubicBezTo>
                        <a:pt x="57" y="126"/>
                        <a:pt x="57" y="126"/>
                        <a:pt x="57" y="126"/>
                      </a:cubicBezTo>
                      <a:cubicBezTo>
                        <a:pt x="56" y="128"/>
                        <a:pt x="56" y="128"/>
                        <a:pt x="56" y="128"/>
                      </a:cubicBezTo>
                      <a:cubicBezTo>
                        <a:pt x="54" y="129"/>
                        <a:pt x="54" y="129"/>
                        <a:pt x="54" y="129"/>
                      </a:cubicBezTo>
                      <a:cubicBezTo>
                        <a:pt x="53" y="134"/>
                        <a:pt x="53" y="134"/>
                        <a:pt x="53" y="134"/>
                      </a:cubicBezTo>
                      <a:cubicBezTo>
                        <a:pt x="52" y="135"/>
                        <a:pt x="52" y="135"/>
                        <a:pt x="52" y="135"/>
                      </a:cubicBezTo>
                      <a:close/>
                      <a:moveTo>
                        <a:pt x="49" y="137"/>
                      </a:moveTo>
                      <a:cubicBezTo>
                        <a:pt x="49" y="138"/>
                        <a:pt x="49" y="138"/>
                        <a:pt x="49" y="138"/>
                      </a:cubicBezTo>
                      <a:cubicBezTo>
                        <a:pt x="50" y="140"/>
                        <a:pt x="50" y="140"/>
                        <a:pt x="50" y="140"/>
                      </a:cubicBezTo>
                      <a:cubicBezTo>
                        <a:pt x="52" y="141"/>
                        <a:pt x="52" y="141"/>
                        <a:pt x="52" y="141"/>
                      </a:cubicBezTo>
                      <a:cubicBezTo>
                        <a:pt x="54" y="138"/>
                        <a:pt x="54" y="138"/>
                        <a:pt x="54" y="138"/>
                      </a:cubicBezTo>
                      <a:cubicBezTo>
                        <a:pt x="54" y="138"/>
                        <a:pt x="54" y="138"/>
                        <a:pt x="54" y="138"/>
                      </a:cubicBezTo>
                      <a:cubicBezTo>
                        <a:pt x="53" y="137"/>
                        <a:pt x="53" y="137"/>
                        <a:pt x="53" y="137"/>
                      </a:cubicBezTo>
                      <a:cubicBezTo>
                        <a:pt x="52" y="136"/>
                        <a:pt x="52" y="136"/>
                        <a:pt x="52" y="136"/>
                      </a:cubicBezTo>
                      <a:cubicBezTo>
                        <a:pt x="51" y="137"/>
                        <a:pt x="51" y="137"/>
                        <a:pt x="51" y="137"/>
                      </a:cubicBezTo>
                      <a:cubicBezTo>
                        <a:pt x="49" y="137"/>
                        <a:pt x="49" y="137"/>
                        <a:pt x="49" y="137"/>
                      </a:cubicBezTo>
                      <a:close/>
                      <a:moveTo>
                        <a:pt x="27" y="80"/>
                      </a:moveTo>
                      <a:cubicBezTo>
                        <a:pt x="26" y="79"/>
                        <a:pt x="26" y="79"/>
                        <a:pt x="26" y="79"/>
                      </a:cubicBezTo>
                      <a:cubicBezTo>
                        <a:pt x="26" y="78"/>
                        <a:pt x="26" y="78"/>
                        <a:pt x="26" y="78"/>
                      </a:cubicBezTo>
                      <a:cubicBezTo>
                        <a:pt x="26" y="77"/>
                        <a:pt x="26" y="77"/>
                        <a:pt x="26" y="77"/>
                      </a:cubicBezTo>
                      <a:cubicBezTo>
                        <a:pt x="28" y="77"/>
                        <a:pt x="28" y="77"/>
                        <a:pt x="28" y="77"/>
                      </a:cubicBezTo>
                      <a:cubicBezTo>
                        <a:pt x="29" y="79"/>
                        <a:pt x="29" y="79"/>
                        <a:pt x="29" y="79"/>
                      </a:cubicBezTo>
                      <a:cubicBezTo>
                        <a:pt x="31" y="79"/>
                        <a:pt x="31" y="79"/>
                        <a:pt x="31" y="79"/>
                      </a:cubicBezTo>
                      <a:cubicBezTo>
                        <a:pt x="31" y="80"/>
                        <a:pt x="31" y="80"/>
                        <a:pt x="31" y="80"/>
                      </a:cubicBezTo>
                      <a:cubicBezTo>
                        <a:pt x="30" y="81"/>
                        <a:pt x="30" y="81"/>
                        <a:pt x="30" y="81"/>
                      </a:cubicBezTo>
                      <a:cubicBezTo>
                        <a:pt x="29" y="80"/>
                        <a:pt x="29" y="80"/>
                        <a:pt x="29" y="80"/>
                      </a:cubicBezTo>
                      <a:cubicBezTo>
                        <a:pt x="27" y="80"/>
                        <a:pt x="27" y="80"/>
                        <a:pt x="27" y="80"/>
                      </a:cubicBezTo>
                      <a:close/>
                      <a:moveTo>
                        <a:pt x="26" y="81"/>
                      </a:moveTo>
                      <a:cubicBezTo>
                        <a:pt x="28" y="82"/>
                        <a:pt x="28" y="82"/>
                        <a:pt x="28" y="82"/>
                      </a:cubicBezTo>
                      <a:cubicBezTo>
                        <a:pt x="29" y="83"/>
                        <a:pt x="29" y="83"/>
                        <a:pt x="29" y="83"/>
                      </a:cubicBezTo>
                      <a:cubicBezTo>
                        <a:pt x="28" y="84"/>
                        <a:pt x="28" y="84"/>
                        <a:pt x="28" y="84"/>
                      </a:cubicBezTo>
                      <a:cubicBezTo>
                        <a:pt x="27" y="85"/>
                        <a:pt x="27" y="85"/>
                        <a:pt x="27" y="85"/>
                      </a:cubicBezTo>
                      <a:cubicBezTo>
                        <a:pt x="26" y="85"/>
                        <a:pt x="26" y="85"/>
                        <a:pt x="26" y="85"/>
                      </a:cubicBezTo>
                      <a:cubicBezTo>
                        <a:pt x="26" y="82"/>
                        <a:pt x="26" y="82"/>
                        <a:pt x="26" y="82"/>
                      </a:cubicBezTo>
                      <a:cubicBezTo>
                        <a:pt x="26" y="81"/>
                        <a:pt x="26" y="81"/>
                        <a:pt x="26" y="81"/>
                      </a:cubicBezTo>
                      <a:close/>
                      <a:moveTo>
                        <a:pt x="27" y="96"/>
                      </a:moveTo>
                      <a:cubicBezTo>
                        <a:pt x="28" y="96"/>
                        <a:pt x="28" y="96"/>
                        <a:pt x="28" y="96"/>
                      </a:cubicBezTo>
                      <a:cubicBezTo>
                        <a:pt x="28" y="95"/>
                        <a:pt x="28" y="95"/>
                        <a:pt x="28" y="95"/>
                      </a:cubicBezTo>
                      <a:cubicBezTo>
                        <a:pt x="29" y="96"/>
                        <a:pt x="29" y="96"/>
                        <a:pt x="29" y="96"/>
                      </a:cubicBezTo>
                      <a:cubicBezTo>
                        <a:pt x="30" y="96"/>
                        <a:pt x="30" y="96"/>
                        <a:pt x="30" y="96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28" y="98"/>
                        <a:pt x="28" y="98"/>
                        <a:pt x="28" y="98"/>
                      </a:cubicBezTo>
                      <a:cubicBezTo>
                        <a:pt x="27" y="97"/>
                        <a:pt x="27" y="97"/>
                        <a:pt x="27" y="97"/>
                      </a:cubicBezTo>
                      <a:cubicBezTo>
                        <a:pt x="27" y="96"/>
                        <a:pt x="27" y="96"/>
                        <a:pt x="27" y="96"/>
                      </a:cubicBezTo>
                      <a:close/>
                      <a:moveTo>
                        <a:pt x="4" y="118"/>
                      </a:moveTo>
                      <a:cubicBezTo>
                        <a:pt x="5" y="117"/>
                        <a:pt x="5" y="117"/>
                        <a:pt x="5" y="117"/>
                      </a:cubicBezTo>
                      <a:cubicBezTo>
                        <a:pt x="7" y="116"/>
                        <a:pt x="7" y="116"/>
                        <a:pt x="7" y="116"/>
                      </a:cubicBezTo>
                      <a:cubicBezTo>
                        <a:pt x="8" y="115"/>
                        <a:pt x="8" y="115"/>
                        <a:pt x="8" y="115"/>
                      </a:cubicBezTo>
                      <a:cubicBezTo>
                        <a:pt x="10" y="114"/>
                        <a:pt x="10" y="114"/>
                        <a:pt x="10" y="114"/>
                      </a:cubicBezTo>
                      <a:cubicBezTo>
                        <a:pt x="12" y="111"/>
                        <a:pt x="12" y="111"/>
                        <a:pt x="12" y="111"/>
                      </a:cubicBezTo>
                      <a:cubicBezTo>
                        <a:pt x="14" y="110"/>
                        <a:pt x="14" y="110"/>
                        <a:pt x="14" y="110"/>
                      </a:cubicBezTo>
                      <a:cubicBezTo>
                        <a:pt x="16" y="109"/>
                        <a:pt x="16" y="109"/>
                        <a:pt x="16" y="109"/>
                      </a:cubicBezTo>
                      <a:cubicBezTo>
                        <a:pt x="16" y="108"/>
                        <a:pt x="16" y="108"/>
                        <a:pt x="16" y="108"/>
                      </a:cubicBezTo>
                      <a:cubicBezTo>
                        <a:pt x="17" y="106"/>
                        <a:pt x="17" y="106"/>
                        <a:pt x="17" y="106"/>
                      </a:cubicBezTo>
                      <a:cubicBezTo>
                        <a:pt x="17" y="103"/>
                        <a:pt x="17" y="103"/>
                        <a:pt x="17" y="103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1" y="102"/>
                        <a:pt x="21" y="102"/>
                        <a:pt x="21" y="102"/>
                      </a:cubicBezTo>
                      <a:cubicBezTo>
                        <a:pt x="22" y="100"/>
                        <a:pt x="22" y="100"/>
                        <a:pt x="22" y="100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25" y="98"/>
                        <a:pt x="25" y="98"/>
                        <a:pt x="25" y="98"/>
                      </a:cubicBezTo>
                      <a:cubicBezTo>
                        <a:pt x="26" y="96"/>
                        <a:pt x="26" y="96"/>
                        <a:pt x="26" y="96"/>
                      </a:cubicBezTo>
                      <a:cubicBezTo>
                        <a:pt x="25" y="94"/>
                        <a:pt x="25" y="94"/>
                        <a:pt x="25" y="94"/>
                      </a:cubicBezTo>
                      <a:cubicBezTo>
                        <a:pt x="23" y="92"/>
                        <a:pt x="23" y="92"/>
                        <a:pt x="23" y="92"/>
                      </a:cubicBezTo>
                      <a:cubicBezTo>
                        <a:pt x="24" y="90"/>
                        <a:pt x="24" y="90"/>
                        <a:pt x="24" y="90"/>
                      </a:cubicBezTo>
                      <a:cubicBezTo>
                        <a:pt x="23" y="87"/>
                        <a:pt x="23" y="87"/>
                        <a:pt x="23" y="87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22" y="91"/>
                        <a:pt x="22" y="91"/>
                        <a:pt x="22" y="91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22" y="95"/>
                        <a:pt x="22" y="95"/>
                        <a:pt x="22" y="95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20" y="98"/>
                        <a:pt x="20" y="98"/>
                        <a:pt x="20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17" y="100"/>
                        <a:pt x="17" y="100"/>
                        <a:pt x="17" y="100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15" y="103"/>
                        <a:pt x="15" y="103"/>
                        <a:pt x="15" y="103"/>
                      </a:cubicBezTo>
                      <a:cubicBezTo>
                        <a:pt x="13" y="107"/>
                        <a:pt x="13" y="107"/>
                        <a:pt x="13" y="107"/>
                      </a:cubicBezTo>
                      <a:cubicBezTo>
                        <a:pt x="11" y="110"/>
                        <a:pt x="11" y="110"/>
                        <a:pt x="11" y="110"/>
                      </a:cubicBezTo>
                      <a:cubicBezTo>
                        <a:pt x="9" y="110"/>
                        <a:pt x="9" y="110"/>
                        <a:pt x="9" y="110"/>
                      </a:cubicBezTo>
                      <a:cubicBezTo>
                        <a:pt x="8" y="112"/>
                        <a:pt x="8" y="112"/>
                        <a:pt x="8" y="112"/>
                      </a:cubicBezTo>
                      <a:cubicBezTo>
                        <a:pt x="7" y="113"/>
                        <a:pt x="7" y="113"/>
                        <a:pt x="7" y="113"/>
                      </a:cubicBez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3" y="118"/>
                        <a:pt x="3" y="118"/>
                        <a:pt x="3" y="118"/>
                      </a:cubicBezTo>
                      <a:cubicBezTo>
                        <a:pt x="4" y="118"/>
                        <a:pt x="4" y="118"/>
                        <a:pt x="4" y="118"/>
                      </a:cubicBezTo>
                      <a:close/>
                      <a:moveTo>
                        <a:pt x="4" y="119"/>
                      </a:moveTo>
                      <a:cubicBezTo>
                        <a:pt x="3" y="120"/>
                        <a:pt x="3" y="120"/>
                        <a:pt x="3" y="120"/>
                      </a:cubicBezTo>
                      <a:cubicBezTo>
                        <a:pt x="4" y="120"/>
                        <a:pt x="4" y="120"/>
                        <a:pt x="4" y="120"/>
                      </a:cubicBezTo>
                      <a:cubicBezTo>
                        <a:pt x="4" y="119"/>
                        <a:pt x="4" y="119"/>
                        <a:pt x="4" y="119"/>
                      </a:cubicBezTo>
                      <a:close/>
                      <a:moveTo>
                        <a:pt x="5" y="120"/>
                      </a:moveTo>
                      <a:cubicBezTo>
                        <a:pt x="4" y="120"/>
                        <a:pt x="4" y="120"/>
                        <a:pt x="4" y="120"/>
                      </a:cubicBezTo>
                      <a:cubicBezTo>
                        <a:pt x="5" y="121"/>
                        <a:pt x="5" y="121"/>
                        <a:pt x="5" y="121"/>
                      </a:cubicBezTo>
                      <a:cubicBezTo>
                        <a:pt x="5" y="120"/>
                        <a:pt x="5" y="120"/>
                        <a:pt x="5" y="120"/>
                      </a:cubicBezTo>
                      <a:close/>
                      <a:moveTo>
                        <a:pt x="2" y="122"/>
                      </a:moveTo>
                      <a:cubicBezTo>
                        <a:pt x="0" y="123"/>
                        <a:pt x="0" y="123"/>
                        <a:pt x="0" y="123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2" y="126"/>
                        <a:pt x="2" y="126"/>
                        <a:pt x="2" y="126"/>
                      </a:cubicBezTo>
                      <a:cubicBezTo>
                        <a:pt x="2" y="123"/>
                        <a:pt x="2" y="123"/>
                        <a:pt x="2" y="123"/>
                      </a:cubicBezTo>
                      <a:cubicBezTo>
                        <a:pt x="3" y="122"/>
                        <a:pt x="3" y="122"/>
                        <a:pt x="3" y="122"/>
                      </a:cubicBezTo>
                      <a:lnTo>
                        <a:pt x="2" y="12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7" name="Freeform 171">
                  <a:extLst>
                    <a:ext uri="{FF2B5EF4-FFF2-40B4-BE49-F238E27FC236}">
                      <a16:creationId xmlns:a16="http://schemas.microsoft.com/office/drawing/2014/main" xmlns="" id="{2C409739-5458-4F71-A79C-31292EF701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3" y="1953"/>
                  <a:ext cx="730" cy="294"/>
                </a:xfrm>
                <a:custGeom>
                  <a:avLst/>
                  <a:gdLst>
                    <a:gd name="T0" fmla="*/ 426 w 447"/>
                    <a:gd name="T1" fmla="*/ 142 h 180"/>
                    <a:gd name="T2" fmla="*/ 404 w 447"/>
                    <a:gd name="T3" fmla="*/ 117 h 180"/>
                    <a:gd name="T4" fmla="*/ 370 w 447"/>
                    <a:gd name="T5" fmla="*/ 110 h 180"/>
                    <a:gd name="T6" fmla="*/ 368 w 447"/>
                    <a:gd name="T7" fmla="*/ 91 h 180"/>
                    <a:gd name="T8" fmla="*/ 381 w 447"/>
                    <a:gd name="T9" fmla="*/ 81 h 180"/>
                    <a:gd name="T10" fmla="*/ 409 w 447"/>
                    <a:gd name="T11" fmla="*/ 88 h 180"/>
                    <a:gd name="T12" fmla="*/ 346 w 447"/>
                    <a:gd name="T13" fmla="*/ 69 h 180"/>
                    <a:gd name="T14" fmla="*/ 294 w 447"/>
                    <a:gd name="T15" fmla="*/ 32 h 180"/>
                    <a:gd name="T16" fmla="*/ 319 w 447"/>
                    <a:gd name="T17" fmla="*/ 73 h 180"/>
                    <a:gd name="T18" fmla="*/ 327 w 447"/>
                    <a:gd name="T19" fmla="*/ 51 h 180"/>
                    <a:gd name="T20" fmla="*/ 316 w 447"/>
                    <a:gd name="T21" fmla="*/ 76 h 180"/>
                    <a:gd name="T22" fmla="*/ 324 w 447"/>
                    <a:gd name="T23" fmla="*/ 105 h 180"/>
                    <a:gd name="T24" fmla="*/ 342 w 447"/>
                    <a:gd name="T25" fmla="*/ 105 h 180"/>
                    <a:gd name="T26" fmla="*/ 300 w 447"/>
                    <a:gd name="T27" fmla="*/ 106 h 180"/>
                    <a:gd name="T28" fmla="*/ 296 w 447"/>
                    <a:gd name="T29" fmla="*/ 88 h 180"/>
                    <a:gd name="T30" fmla="*/ 270 w 447"/>
                    <a:gd name="T31" fmla="*/ 120 h 180"/>
                    <a:gd name="T32" fmla="*/ 271 w 447"/>
                    <a:gd name="T33" fmla="*/ 88 h 180"/>
                    <a:gd name="T34" fmla="*/ 259 w 447"/>
                    <a:gd name="T35" fmla="*/ 73 h 180"/>
                    <a:gd name="T36" fmla="*/ 286 w 447"/>
                    <a:gd name="T37" fmla="*/ 55 h 180"/>
                    <a:gd name="T38" fmla="*/ 239 w 447"/>
                    <a:gd name="T39" fmla="*/ 76 h 180"/>
                    <a:gd name="T40" fmla="*/ 237 w 447"/>
                    <a:gd name="T41" fmla="*/ 125 h 180"/>
                    <a:gd name="T42" fmla="*/ 255 w 447"/>
                    <a:gd name="T43" fmla="*/ 111 h 180"/>
                    <a:gd name="T44" fmla="*/ 264 w 447"/>
                    <a:gd name="T45" fmla="*/ 101 h 180"/>
                    <a:gd name="T46" fmla="*/ 264 w 447"/>
                    <a:gd name="T47" fmla="*/ 76 h 180"/>
                    <a:gd name="T48" fmla="*/ 234 w 447"/>
                    <a:gd name="T49" fmla="*/ 18 h 180"/>
                    <a:gd name="T50" fmla="*/ 205 w 447"/>
                    <a:gd name="T51" fmla="*/ 106 h 180"/>
                    <a:gd name="T52" fmla="*/ 140 w 447"/>
                    <a:gd name="T53" fmla="*/ 82 h 180"/>
                    <a:gd name="T54" fmla="*/ 201 w 447"/>
                    <a:gd name="T55" fmla="*/ 25 h 180"/>
                    <a:gd name="T56" fmla="*/ 225 w 447"/>
                    <a:gd name="T57" fmla="*/ 54 h 180"/>
                    <a:gd name="T58" fmla="*/ 204 w 447"/>
                    <a:gd name="T59" fmla="*/ 88 h 180"/>
                    <a:gd name="T60" fmla="*/ 181 w 447"/>
                    <a:gd name="T61" fmla="*/ 103 h 180"/>
                    <a:gd name="T62" fmla="*/ 147 w 447"/>
                    <a:gd name="T63" fmla="*/ 96 h 180"/>
                    <a:gd name="T64" fmla="*/ 386 w 447"/>
                    <a:gd name="T65" fmla="*/ 77 h 180"/>
                    <a:gd name="T66" fmla="*/ 396 w 447"/>
                    <a:gd name="T67" fmla="*/ 74 h 180"/>
                    <a:gd name="T68" fmla="*/ 382 w 447"/>
                    <a:gd name="T69" fmla="*/ 136 h 180"/>
                    <a:gd name="T70" fmla="*/ 379 w 447"/>
                    <a:gd name="T71" fmla="*/ 126 h 180"/>
                    <a:gd name="T72" fmla="*/ 347 w 447"/>
                    <a:gd name="T73" fmla="*/ 144 h 180"/>
                    <a:gd name="T74" fmla="*/ 339 w 447"/>
                    <a:gd name="T75" fmla="*/ 132 h 180"/>
                    <a:gd name="T76" fmla="*/ 310 w 447"/>
                    <a:gd name="T77" fmla="*/ 145 h 180"/>
                    <a:gd name="T78" fmla="*/ 283 w 447"/>
                    <a:gd name="T79" fmla="*/ 164 h 180"/>
                    <a:gd name="T80" fmla="*/ 256 w 447"/>
                    <a:gd name="T81" fmla="*/ 175 h 180"/>
                    <a:gd name="T82" fmla="*/ 196 w 447"/>
                    <a:gd name="T83" fmla="*/ 138 h 180"/>
                    <a:gd name="T84" fmla="*/ 288 w 447"/>
                    <a:gd name="T85" fmla="*/ 152 h 180"/>
                    <a:gd name="T86" fmla="*/ 237 w 447"/>
                    <a:gd name="T87" fmla="*/ 155 h 180"/>
                    <a:gd name="T88" fmla="*/ 243 w 447"/>
                    <a:gd name="T89" fmla="*/ 158 h 180"/>
                    <a:gd name="T90" fmla="*/ 229 w 447"/>
                    <a:gd name="T91" fmla="*/ 159 h 180"/>
                    <a:gd name="T92" fmla="*/ 205 w 447"/>
                    <a:gd name="T93" fmla="*/ 159 h 180"/>
                    <a:gd name="T94" fmla="*/ 423 w 447"/>
                    <a:gd name="T95" fmla="*/ 151 h 180"/>
                    <a:gd name="T96" fmla="*/ 179 w 447"/>
                    <a:gd name="T97" fmla="*/ 139 h 180"/>
                    <a:gd name="T98" fmla="*/ 149 w 447"/>
                    <a:gd name="T99" fmla="*/ 138 h 180"/>
                    <a:gd name="T100" fmla="*/ 178 w 447"/>
                    <a:gd name="T101" fmla="*/ 155 h 180"/>
                    <a:gd name="T102" fmla="*/ 108 w 447"/>
                    <a:gd name="T103" fmla="*/ 140 h 180"/>
                    <a:gd name="T104" fmla="*/ 104 w 447"/>
                    <a:gd name="T105" fmla="*/ 35 h 180"/>
                    <a:gd name="T106" fmla="*/ 123 w 447"/>
                    <a:gd name="T107" fmla="*/ 101 h 180"/>
                    <a:gd name="T108" fmla="*/ 107 w 447"/>
                    <a:gd name="T109" fmla="*/ 86 h 180"/>
                    <a:gd name="T110" fmla="*/ 69 w 447"/>
                    <a:gd name="T111" fmla="*/ 52 h 180"/>
                    <a:gd name="T112" fmla="*/ 33 w 447"/>
                    <a:gd name="T113" fmla="*/ 80 h 180"/>
                    <a:gd name="T114" fmla="*/ 20 w 447"/>
                    <a:gd name="T115" fmla="*/ 54 h 180"/>
                    <a:gd name="T116" fmla="*/ 36 w 447"/>
                    <a:gd name="T117" fmla="*/ 50 h 180"/>
                    <a:gd name="T118" fmla="*/ 92 w 447"/>
                    <a:gd name="T119" fmla="*/ 128 h 180"/>
                    <a:gd name="T120" fmla="*/ 93 w 447"/>
                    <a:gd name="T121" fmla="*/ 86 h 180"/>
                    <a:gd name="T122" fmla="*/ 65 w 447"/>
                    <a:gd name="T123" fmla="*/ 51 h 180"/>
                    <a:gd name="T124" fmla="*/ 11 w 447"/>
                    <a:gd name="T125" fmla="*/ 13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47" h="180">
                      <a:moveTo>
                        <a:pt x="447" y="94"/>
                      </a:moveTo>
                      <a:cubicBezTo>
                        <a:pt x="445" y="132"/>
                        <a:pt x="445" y="132"/>
                        <a:pt x="445" y="132"/>
                      </a:cubicBezTo>
                      <a:cubicBezTo>
                        <a:pt x="445" y="134"/>
                        <a:pt x="445" y="134"/>
                        <a:pt x="445" y="134"/>
                      </a:cubicBezTo>
                      <a:cubicBezTo>
                        <a:pt x="445" y="136"/>
                        <a:pt x="445" y="136"/>
                        <a:pt x="445" y="136"/>
                      </a:cubicBezTo>
                      <a:cubicBezTo>
                        <a:pt x="445" y="137"/>
                        <a:pt x="445" y="137"/>
                        <a:pt x="445" y="137"/>
                      </a:cubicBezTo>
                      <a:cubicBezTo>
                        <a:pt x="444" y="161"/>
                        <a:pt x="444" y="161"/>
                        <a:pt x="444" y="161"/>
                      </a:cubicBezTo>
                      <a:cubicBezTo>
                        <a:pt x="444" y="161"/>
                        <a:pt x="444" y="161"/>
                        <a:pt x="444" y="161"/>
                      </a:cubicBezTo>
                      <a:cubicBezTo>
                        <a:pt x="441" y="160"/>
                        <a:pt x="441" y="160"/>
                        <a:pt x="441" y="160"/>
                      </a:cubicBezTo>
                      <a:cubicBezTo>
                        <a:pt x="439" y="157"/>
                        <a:pt x="439" y="157"/>
                        <a:pt x="439" y="157"/>
                      </a:cubicBezTo>
                      <a:cubicBezTo>
                        <a:pt x="438" y="156"/>
                        <a:pt x="438" y="156"/>
                        <a:pt x="438" y="156"/>
                      </a:cubicBezTo>
                      <a:cubicBezTo>
                        <a:pt x="438" y="155"/>
                        <a:pt x="438" y="155"/>
                        <a:pt x="438" y="155"/>
                      </a:cubicBezTo>
                      <a:cubicBezTo>
                        <a:pt x="436" y="153"/>
                        <a:pt x="436" y="153"/>
                        <a:pt x="436" y="153"/>
                      </a:cubicBezTo>
                      <a:cubicBezTo>
                        <a:pt x="435" y="153"/>
                        <a:pt x="435" y="153"/>
                        <a:pt x="435" y="153"/>
                      </a:cubicBezTo>
                      <a:cubicBezTo>
                        <a:pt x="435" y="151"/>
                        <a:pt x="435" y="151"/>
                        <a:pt x="435" y="151"/>
                      </a:cubicBezTo>
                      <a:cubicBezTo>
                        <a:pt x="436" y="150"/>
                        <a:pt x="436" y="150"/>
                        <a:pt x="436" y="150"/>
                      </a:cubicBezTo>
                      <a:cubicBezTo>
                        <a:pt x="436" y="147"/>
                        <a:pt x="436" y="147"/>
                        <a:pt x="436" y="147"/>
                      </a:cubicBezTo>
                      <a:cubicBezTo>
                        <a:pt x="435" y="150"/>
                        <a:pt x="435" y="150"/>
                        <a:pt x="435" y="150"/>
                      </a:cubicBezTo>
                      <a:cubicBezTo>
                        <a:pt x="434" y="150"/>
                        <a:pt x="434" y="150"/>
                        <a:pt x="434" y="150"/>
                      </a:cubicBezTo>
                      <a:cubicBezTo>
                        <a:pt x="431" y="150"/>
                        <a:pt x="431" y="150"/>
                        <a:pt x="431" y="150"/>
                      </a:cubicBezTo>
                      <a:cubicBezTo>
                        <a:pt x="429" y="151"/>
                        <a:pt x="429" y="151"/>
                        <a:pt x="429" y="151"/>
                      </a:cubicBezTo>
                      <a:cubicBezTo>
                        <a:pt x="428" y="151"/>
                        <a:pt x="428" y="151"/>
                        <a:pt x="428" y="151"/>
                      </a:cubicBezTo>
                      <a:cubicBezTo>
                        <a:pt x="427" y="150"/>
                        <a:pt x="427" y="150"/>
                        <a:pt x="427" y="150"/>
                      </a:cubicBezTo>
                      <a:cubicBezTo>
                        <a:pt x="425" y="151"/>
                        <a:pt x="425" y="151"/>
                        <a:pt x="425" y="151"/>
                      </a:cubicBezTo>
                      <a:cubicBezTo>
                        <a:pt x="424" y="150"/>
                        <a:pt x="424" y="150"/>
                        <a:pt x="424" y="150"/>
                      </a:cubicBezTo>
                      <a:cubicBezTo>
                        <a:pt x="425" y="149"/>
                        <a:pt x="425" y="149"/>
                        <a:pt x="425" y="149"/>
                      </a:cubicBezTo>
                      <a:cubicBezTo>
                        <a:pt x="425" y="148"/>
                        <a:pt x="425" y="148"/>
                        <a:pt x="425" y="148"/>
                      </a:cubicBezTo>
                      <a:cubicBezTo>
                        <a:pt x="425" y="147"/>
                        <a:pt x="425" y="147"/>
                        <a:pt x="425" y="147"/>
                      </a:cubicBezTo>
                      <a:cubicBezTo>
                        <a:pt x="426" y="146"/>
                        <a:pt x="426" y="146"/>
                        <a:pt x="426" y="146"/>
                      </a:cubicBezTo>
                      <a:cubicBezTo>
                        <a:pt x="426" y="144"/>
                        <a:pt x="426" y="144"/>
                        <a:pt x="426" y="144"/>
                      </a:cubicBezTo>
                      <a:cubicBezTo>
                        <a:pt x="425" y="143"/>
                        <a:pt x="425" y="143"/>
                        <a:pt x="425" y="143"/>
                      </a:cubicBezTo>
                      <a:cubicBezTo>
                        <a:pt x="424" y="142"/>
                        <a:pt x="424" y="142"/>
                        <a:pt x="424" y="142"/>
                      </a:cubicBezTo>
                      <a:cubicBezTo>
                        <a:pt x="425" y="141"/>
                        <a:pt x="425" y="141"/>
                        <a:pt x="425" y="141"/>
                      </a:cubicBezTo>
                      <a:cubicBezTo>
                        <a:pt x="426" y="142"/>
                        <a:pt x="426" y="142"/>
                        <a:pt x="426" y="142"/>
                      </a:cubicBezTo>
                      <a:cubicBezTo>
                        <a:pt x="428" y="141"/>
                        <a:pt x="428" y="141"/>
                        <a:pt x="428" y="141"/>
                      </a:cubicBezTo>
                      <a:cubicBezTo>
                        <a:pt x="429" y="141"/>
                        <a:pt x="429" y="141"/>
                        <a:pt x="429" y="141"/>
                      </a:cubicBezTo>
                      <a:cubicBezTo>
                        <a:pt x="427" y="140"/>
                        <a:pt x="427" y="140"/>
                        <a:pt x="427" y="140"/>
                      </a:cubicBezTo>
                      <a:cubicBezTo>
                        <a:pt x="425" y="141"/>
                        <a:pt x="425" y="141"/>
                        <a:pt x="425" y="141"/>
                      </a:cubicBezTo>
                      <a:cubicBezTo>
                        <a:pt x="424" y="140"/>
                        <a:pt x="424" y="140"/>
                        <a:pt x="424" y="140"/>
                      </a:cubicBezTo>
                      <a:cubicBezTo>
                        <a:pt x="422" y="139"/>
                        <a:pt x="422" y="139"/>
                        <a:pt x="422" y="139"/>
                      </a:cubicBezTo>
                      <a:cubicBezTo>
                        <a:pt x="422" y="137"/>
                        <a:pt x="422" y="137"/>
                        <a:pt x="422" y="137"/>
                      </a:cubicBezTo>
                      <a:cubicBezTo>
                        <a:pt x="423" y="137"/>
                        <a:pt x="423" y="137"/>
                        <a:pt x="423" y="137"/>
                      </a:cubicBezTo>
                      <a:cubicBezTo>
                        <a:pt x="425" y="137"/>
                        <a:pt x="425" y="137"/>
                        <a:pt x="425" y="137"/>
                      </a:cubicBezTo>
                      <a:cubicBezTo>
                        <a:pt x="424" y="136"/>
                        <a:pt x="424" y="136"/>
                        <a:pt x="424" y="136"/>
                      </a:cubicBezTo>
                      <a:cubicBezTo>
                        <a:pt x="422" y="135"/>
                        <a:pt x="422" y="135"/>
                        <a:pt x="422" y="135"/>
                      </a:cubicBezTo>
                      <a:cubicBezTo>
                        <a:pt x="420" y="133"/>
                        <a:pt x="420" y="133"/>
                        <a:pt x="420" y="133"/>
                      </a:cubicBezTo>
                      <a:cubicBezTo>
                        <a:pt x="419" y="132"/>
                        <a:pt x="419" y="132"/>
                        <a:pt x="419" y="132"/>
                      </a:cubicBezTo>
                      <a:cubicBezTo>
                        <a:pt x="420" y="130"/>
                        <a:pt x="420" y="130"/>
                        <a:pt x="420" y="130"/>
                      </a:cubicBezTo>
                      <a:cubicBezTo>
                        <a:pt x="418" y="128"/>
                        <a:pt x="418" y="128"/>
                        <a:pt x="418" y="128"/>
                      </a:cubicBezTo>
                      <a:cubicBezTo>
                        <a:pt x="418" y="127"/>
                        <a:pt x="418" y="127"/>
                        <a:pt x="418" y="127"/>
                      </a:cubicBezTo>
                      <a:cubicBezTo>
                        <a:pt x="420" y="125"/>
                        <a:pt x="420" y="125"/>
                        <a:pt x="420" y="125"/>
                      </a:cubicBezTo>
                      <a:cubicBezTo>
                        <a:pt x="418" y="125"/>
                        <a:pt x="418" y="125"/>
                        <a:pt x="418" y="125"/>
                      </a:cubicBezTo>
                      <a:cubicBezTo>
                        <a:pt x="417" y="125"/>
                        <a:pt x="417" y="125"/>
                        <a:pt x="417" y="125"/>
                      </a:cubicBezTo>
                      <a:cubicBezTo>
                        <a:pt x="417" y="124"/>
                        <a:pt x="417" y="124"/>
                        <a:pt x="417" y="124"/>
                      </a:cubicBezTo>
                      <a:cubicBezTo>
                        <a:pt x="416" y="123"/>
                        <a:pt x="416" y="123"/>
                        <a:pt x="416" y="123"/>
                      </a:cubicBezTo>
                      <a:cubicBezTo>
                        <a:pt x="418" y="122"/>
                        <a:pt x="418" y="122"/>
                        <a:pt x="418" y="122"/>
                      </a:cubicBezTo>
                      <a:cubicBezTo>
                        <a:pt x="415" y="122"/>
                        <a:pt x="415" y="122"/>
                        <a:pt x="415" y="122"/>
                      </a:cubicBezTo>
                      <a:cubicBezTo>
                        <a:pt x="415" y="121"/>
                        <a:pt x="415" y="121"/>
                        <a:pt x="415" y="121"/>
                      </a:cubicBezTo>
                      <a:cubicBezTo>
                        <a:pt x="414" y="122"/>
                        <a:pt x="414" y="122"/>
                        <a:pt x="414" y="122"/>
                      </a:cubicBezTo>
                      <a:cubicBezTo>
                        <a:pt x="413" y="121"/>
                        <a:pt x="413" y="121"/>
                        <a:pt x="413" y="121"/>
                      </a:cubicBezTo>
                      <a:cubicBezTo>
                        <a:pt x="415" y="119"/>
                        <a:pt x="415" y="119"/>
                        <a:pt x="415" y="119"/>
                      </a:cubicBezTo>
                      <a:cubicBezTo>
                        <a:pt x="413" y="120"/>
                        <a:pt x="413" y="120"/>
                        <a:pt x="413" y="120"/>
                      </a:cubicBezTo>
                      <a:cubicBezTo>
                        <a:pt x="412" y="120"/>
                        <a:pt x="412" y="120"/>
                        <a:pt x="412" y="120"/>
                      </a:cubicBezTo>
                      <a:cubicBezTo>
                        <a:pt x="409" y="119"/>
                        <a:pt x="409" y="119"/>
                        <a:pt x="409" y="119"/>
                      </a:cubicBezTo>
                      <a:cubicBezTo>
                        <a:pt x="408" y="117"/>
                        <a:pt x="408" y="117"/>
                        <a:pt x="408" y="117"/>
                      </a:cubicBezTo>
                      <a:cubicBezTo>
                        <a:pt x="406" y="116"/>
                        <a:pt x="406" y="116"/>
                        <a:pt x="406" y="116"/>
                      </a:cubicBezTo>
                      <a:cubicBezTo>
                        <a:pt x="404" y="117"/>
                        <a:pt x="404" y="117"/>
                        <a:pt x="404" y="117"/>
                      </a:cubicBezTo>
                      <a:cubicBezTo>
                        <a:pt x="398" y="115"/>
                        <a:pt x="398" y="115"/>
                        <a:pt x="398" y="115"/>
                      </a:cubicBezTo>
                      <a:cubicBezTo>
                        <a:pt x="392" y="113"/>
                        <a:pt x="392" y="113"/>
                        <a:pt x="392" y="113"/>
                      </a:cubicBezTo>
                      <a:cubicBezTo>
                        <a:pt x="389" y="113"/>
                        <a:pt x="389" y="113"/>
                        <a:pt x="389" y="113"/>
                      </a:cubicBezTo>
                      <a:cubicBezTo>
                        <a:pt x="387" y="112"/>
                        <a:pt x="387" y="112"/>
                        <a:pt x="387" y="112"/>
                      </a:cubicBezTo>
                      <a:cubicBezTo>
                        <a:pt x="387" y="111"/>
                        <a:pt x="387" y="111"/>
                        <a:pt x="387" y="111"/>
                      </a:cubicBezTo>
                      <a:cubicBezTo>
                        <a:pt x="386" y="110"/>
                        <a:pt x="386" y="110"/>
                        <a:pt x="386" y="110"/>
                      </a:cubicBezTo>
                      <a:cubicBezTo>
                        <a:pt x="384" y="110"/>
                        <a:pt x="384" y="110"/>
                        <a:pt x="384" y="110"/>
                      </a:cubicBezTo>
                      <a:cubicBezTo>
                        <a:pt x="384" y="108"/>
                        <a:pt x="384" y="108"/>
                        <a:pt x="384" y="108"/>
                      </a:cubicBezTo>
                      <a:cubicBezTo>
                        <a:pt x="386" y="108"/>
                        <a:pt x="386" y="108"/>
                        <a:pt x="386" y="108"/>
                      </a:cubicBezTo>
                      <a:cubicBezTo>
                        <a:pt x="387" y="108"/>
                        <a:pt x="387" y="108"/>
                        <a:pt x="387" y="108"/>
                      </a:cubicBezTo>
                      <a:cubicBezTo>
                        <a:pt x="386" y="108"/>
                        <a:pt x="386" y="108"/>
                        <a:pt x="386" y="108"/>
                      </a:cubicBezTo>
                      <a:cubicBezTo>
                        <a:pt x="385" y="108"/>
                        <a:pt x="385" y="108"/>
                        <a:pt x="385" y="108"/>
                      </a:cubicBezTo>
                      <a:cubicBezTo>
                        <a:pt x="383" y="108"/>
                        <a:pt x="383" y="108"/>
                        <a:pt x="383" y="108"/>
                      </a:cubicBezTo>
                      <a:cubicBezTo>
                        <a:pt x="382" y="108"/>
                        <a:pt x="382" y="108"/>
                        <a:pt x="382" y="108"/>
                      </a:cubicBezTo>
                      <a:cubicBezTo>
                        <a:pt x="381" y="107"/>
                        <a:pt x="381" y="107"/>
                        <a:pt x="381" y="107"/>
                      </a:cubicBezTo>
                      <a:cubicBezTo>
                        <a:pt x="381" y="107"/>
                        <a:pt x="381" y="107"/>
                        <a:pt x="381" y="107"/>
                      </a:cubicBezTo>
                      <a:cubicBezTo>
                        <a:pt x="380" y="108"/>
                        <a:pt x="380" y="108"/>
                        <a:pt x="380" y="108"/>
                      </a:cubicBezTo>
                      <a:cubicBezTo>
                        <a:pt x="380" y="106"/>
                        <a:pt x="380" y="106"/>
                        <a:pt x="380" y="106"/>
                      </a:cubicBezTo>
                      <a:cubicBezTo>
                        <a:pt x="379" y="105"/>
                        <a:pt x="379" y="105"/>
                        <a:pt x="379" y="105"/>
                      </a:cubicBezTo>
                      <a:cubicBezTo>
                        <a:pt x="378" y="106"/>
                        <a:pt x="378" y="106"/>
                        <a:pt x="378" y="106"/>
                      </a:cubicBezTo>
                      <a:cubicBezTo>
                        <a:pt x="378" y="106"/>
                        <a:pt x="378" y="106"/>
                        <a:pt x="378" y="106"/>
                      </a:cubicBezTo>
                      <a:cubicBezTo>
                        <a:pt x="377" y="105"/>
                        <a:pt x="377" y="105"/>
                        <a:pt x="377" y="105"/>
                      </a:cubicBezTo>
                      <a:cubicBezTo>
                        <a:pt x="376" y="103"/>
                        <a:pt x="376" y="103"/>
                        <a:pt x="376" y="103"/>
                      </a:cubicBezTo>
                      <a:cubicBezTo>
                        <a:pt x="375" y="101"/>
                        <a:pt x="375" y="101"/>
                        <a:pt x="375" y="101"/>
                      </a:cubicBezTo>
                      <a:cubicBezTo>
                        <a:pt x="376" y="99"/>
                        <a:pt x="376" y="99"/>
                        <a:pt x="376" y="99"/>
                      </a:cubicBezTo>
                      <a:cubicBezTo>
                        <a:pt x="376" y="97"/>
                        <a:pt x="376" y="97"/>
                        <a:pt x="376" y="97"/>
                      </a:cubicBezTo>
                      <a:cubicBezTo>
                        <a:pt x="375" y="99"/>
                        <a:pt x="375" y="99"/>
                        <a:pt x="375" y="99"/>
                      </a:cubicBezTo>
                      <a:cubicBezTo>
                        <a:pt x="375" y="101"/>
                        <a:pt x="375" y="101"/>
                        <a:pt x="375" y="101"/>
                      </a:cubicBezTo>
                      <a:cubicBezTo>
                        <a:pt x="374" y="102"/>
                        <a:pt x="374" y="102"/>
                        <a:pt x="374" y="102"/>
                      </a:cubicBezTo>
                      <a:cubicBezTo>
                        <a:pt x="373" y="103"/>
                        <a:pt x="373" y="103"/>
                        <a:pt x="373" y="103"/>
                      </a:cubicBezTo>
                      <a:cubicBezTo>
                        <a:pt x="372" y="105"/>
                        <a:pt x="372" y="105"/>
                        <a:pt x="372" y="105"/>
                      </a:cubicBezTo>
                      <a:cubicBezTo>
                        <a:pt x="372" y="107"/>
                        <a:pt x="372" y="107"/>
                        <a:pt x="372" y="107"/>
                      </a:cubicBezTo>
                      <a:cubicBezTo>
                        <a:pt x="370" y="110"/>
                        <a:pt x="370" y="110"/>
                        <a:pt x="370" y="110"/>
                      </a:cubicBezTo>
                      <a:cubicBezTo>
                        <a:pt x="368" y="110"/>
                        <a:pt x="368" y="110"/>
                        <a:pt x="368" y="110"/>
                      </a:cubicBezTo>
                      <a:cubicBezTo>
                        <a:pt x="367" y="109"/>
                        <a:pt x="367" y="109"/>
                        <a:pt x="367" y="109"/>
                      </a:cubicBezTo>
                      <a:cubicBezTo>
                        <a:pt x="365" y="106"/>
                        <a:pt x="365" y="106"/>
                        <a:pt x="365" y="106"/>
                      </a:cubicBezTo>
                      <a:cubicBezTo>
                        <a:pt x="365" y="105"/>
                        <a:pt x="365" y="105"/>
                        <a:pt x="365" y="105"/>
                      </a:cubicBezTo>
                      <a:cubicBezTo>
                        <a:pt x="366" y="104"/>
                        <a:pt x="366" y="104"/>
                        <a:pt x="366" y="104"/>
                      </a:cubicBezTo>
                      <a:cubicBezTo>
                        <a:pt x="366" y="103"/>
                        <a:pt x="366" y="103"/>
                        <a:pt x="366" y="103"/>
                      </a:cubicBezTo>
                      <a:cubicBezTo>
                        <a:pt x="366" y="102"/>
                        <a:pt x="366" y="102"/>
                        <a:pt x="366" y="102"/>
                      </a:cubicBezTo>
                      <a:cubicBezTo>
                        <a:pt x="365" y="102"/>
                        <a:pt x="365" y="102"/>
                        <a:pt x="365" y="102"/>
                      </a:cubicBezTo>
                      <a:cubicBezTo>
                        <a:pt x="364" y="101"/>
                        <a:pt x="364" y="101"/>
                        <a:pt x="364" y="101"/>
                      </a:cubicBezTo>
                      <a:cubicBezTo>
                        <a:pt x="363" y="99"/>
                        <a:pt x="363" y="99"/>
                        <a:pt x="363" y="99"/>
                      </a:cubicBezTo>
                      <a:cubicBezTo>
                        <a:pt x="361" y="98"/>
                        <a:pt x="361" y="98"/>
                        <a:pt x="361" y="98"/>
                      </a:cubicBezTo>
                      <a:cubicBezTo>
                        <a:pt x="359" y="98"/>
                        <a:pt x="359" y="98"/>
                        <a:pt x="359" y="98"/>
                      </a:cubicBezTo>
                      <a:cubicBezTo>
                        <a:pt x="358" y="97"/>
                        <a:pt x="358" y="97"/>
                        <a:pt x="358" y="97"/>
                      </a:cubicBezTo>
                      <a:cubicBezTo>
                        <a:pt x="360" y="95"/>
                        <a:pt x="360" y="95"/>
                        <a:pt x="360" y="95"/>
                      </a:cubicBezTo>
                      <a:cubicBezTo>
                        <a:pt x="362" y="95"/>
                        <a:pt x="362" y="95"/>
                        <a:pt x="362" y="95"/>
                      </a:cubicBezTo>
                      <a:cubicBezTo>
                        <a:pt x="363" y="96"/>
                        <a:pt x="363" y="96"/>
                        <a:pt x="363" y="96"/>
                      </a:cubicBezTo>
                      <a:cubicBezTo>
                        <a:pt x="365" y="96"/>
                        <a:pt x="365" y="96"/>
                        <a:pt x="365" y="96"/>
                      </a:cubicBezTo>
                      <a:cubicBezTo>
                        <a:pt x="366" y="97"/>
                        <a:pt x="366" y="97"/>
                        <a:pt x="366" y="97"/>
                      </a:cubicBezTo>
                      <a:cubicBezTo>
                        <a:pt x="368" y="96"/>
                        <a:pt x="368" y="96"/>
                        <a:pt x="368" y="96"/>
                      </a:cubicBezTo>
                      <a:cubicBezTo>
                        <a:pt x="369" y="93"/>
                        <a:pt x="369" y="93"/>
                        <a:pt x="369" y="93"/>
                      </a:cubicBezTo>
                      <a:cubicBezTo>
                        <a:pt x="370" y="93"/>
                        <a:pt x="370" y="93"/>
                        <a:pt x="370" y="93"/>
                      </a:cubicBezTo>
                      <a:cubicBezTo>
                        <a:pt x="373" y="94"/>
                        <a:pt x="373" y="94"/>
                        <a:pt x="373" y="94"/>
                      </a:cubicBezTo>
                      <a:cubicBezTo>
                        <a:pt x="374" y="96"/>
                        <a:pt x="374" y="96"/>
                        <a:pt x="374" y="96"/>
                      </a:cubicBezTo>
                      <a:cubicBezTo>
                        <a:pt x="375" y="94"/>
                        <a:pt x="375" y="94"/>
                        <a:pt x="375" y="94"/>
                      </a:cubicBezTo>
                      <a:cubicBezTo>
                        <a:pt x="376" y="93"/>
                        <a:pt x="376" y="93"/>
                        <a:pt x="376" y="93"/>
                      </a:cubicBezTo>
                      <a:cubicBezTo>
                        <a:pt x="377" y="93"/>
                        <a:pt x="377" y="93"/>
                        <a:pt x="377" y="93"/>
                      </a:cubicBezTo>
                      <a:cubicBezTo>
                        <a:pt x="377" y="91"/>
                        <a:pt x="377" y="91"/>
                        <a:pt x="377" y="91"/>
                      </a:cubicBezTo>
                      <a:cubicBezTo>
                        <a:pt x="377" y="90"/>
                        <a:pt x="377" y="90"/>
                        <a:pt x="377" y="90"/>
                      </a:cubicBezTo>
                      <a:cubicBezTo>
                        <a:pt x="372" y="89"/>
                        <a:pt x="372" y="89"/>
                        <a:pt x="372" y="89"/>
                      </a:cubicBezTo>
                      <a:cubicBezTo>
                        <a:pt x="373" y="90"/>
                        <a:pt x="373" y="90"/>
                        <a:pt x="373" y="90"/>
                      </a:cubicBezTo>
                      <a:cubicBezTo>
                        <a:pt x="372" y="90"/>
                        <a:pt x="372" y="90"/>
                        <a:pt x="372" y="90"/>
                      </a:cubicBezTo>
                      <a:cubicBezTo>
                        <a:pt x="371" y="90"/>
                        <a:pt x="371" y="90"/>
                        <a:pt x="371" y="90"/>
                      </a:cubicBezTo>
                      <a:cubicBezTo>
                        <a:pt x="368" y="91"/>
                        <a:pt x="368" y="91"/>
                        <a:pt x="368" y="91"/>
                      </a:cubicBezTo>
                      <a:cubicBezTo>
                        <a:pt x="366" y="90"/>
                        <a:pt x="366" y="90"/>
                        <a:pt x="366" y="90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4" y="90"/>
                        <a:pt x="364" y="90"/>
                        <a:pt x="364" y="90"/>
                      </a:cubicBezTo>
                      <a:cubicBezTo>
                        <a:pt x="362" y="91"/>
                        <a:pt x="362" y="91"/>
                        <a:pt x="362" y="91"/>
                      </a:cubicBezTo>
                      <a:cubicBezTo>
                        <a:pt x="361" y="90"/>
                        <a:pt x="361" y="90"/>
                        <a:pt x="361" y="90"/>
                      </a:cubicBezTo>
                      <a:cubicBezTo>
                        <a:pt x="358" y="89"/>
                        <a:pt x="358" y="89"/>
                        <a:pt x="358" y="89"/>
                      </a:cubicBezTo>
                      <a:cubicBezTo>
                        <a:pt x="358" y="86"/>
                        <a:pt x="358" y="86"/>
                        <a:pt x="358" y="86"/>
                      </a:cubicBezTo>
                      <a:cubicBezTo>
                        <a:pt x="358" y="86"/>
                        <a:pt x="358" y="86"/>
                        <a:pt x="358" y="86"/>
                      </a:cubicBezTo>
                      <a:cubicBezTo>
                        <a:pt x="357" y="84"/>
                        <a:pt x="357" y="84"/>
                        <a:pt x="357" y="84"/>
                      </a:cubicBezTo>
                      <a:cubicBezTo>
                        <a:pt x="355" y="82"/>
                        <a:pt x="355" y="82"/>
                        <a:pt x="355" y="82"/>
                      </a:cubicBezTo>
                      <a:cubicBezTo>
                        <a:pt x="354" y="81"/>
                        <a:pt x="354" y="81"/>
                        <a:pt x="354" y="81"/>
                      </a:cubicBezTo>
                      <a:cubicBezTo>
                        <a:pt x="353" y="82"/>
                        <a:pt x="353" y="82"/>
                        <a:pt x="353" y="82"/>
                      </a:cubicBezTo>
                      <a:cubicBezTo>
                        <a:pt x="351" y="83"/>
                        <a:pt x="351" y="83"/>
                        <a:pt x="351" y="83"/>
                      </a:cubicBezTo>
                      <a:cubicBezTo>
                        <a:pt x="349" y="82"/>
                        <a:pt x="349" y="82"/>
                        <a:pt x="349" y="82"/>
                      </a:cubicBezTo>
                      <a:cubicBezTo>
                        <a:pt x="350" y="81"/>
                        <a:pt x="350" y="81"/>
                        <a:pt x="350" y="81"/>
                      </a:cubicBezTo>
                      <a:cubicBezTo>
                        <a:pt x="352" y="80"/>
                        <a:pt x="352" y="80"/>
                        <a:pt x="352" y="80"/>
                      </a:cubicBezTo>
                      <a:cubicBezTo>
                        <a:pt x="352" y="78"/>
                        <a:pt x="352" y="78"/>
                        <a:pt x="352" y="78"/>
                      </a:cubicBezTo>
                      <a:cubicBezTo>
                        <a:pt x="351" y="77"/>
                        <a:pt x="351" y="77"/>
                        <a:pt x="351" y="77"/>
                      </a:cubicBezTo>
                      <a:cubicBezTo>
                        <a:pt x="353" y="76"/>
                        <a:pt x="353" y="76"/>
                        <a:pt x="353" y="76"/>
                      </a:cubicBezTo>
                      <a:cubicBezTo>
                        <a:pt x="355" y="76"/>
                        <a:pt x="355" y="76"/>
                        <a:pt x="355" y="76"/>
                      </a:cubicBezTo>
                      <a:cubicBezTo>
                        <a:pt x="357" y="74"/>
                        <a:pt x="357" y="74"/>
                        <a:pt x="357" y="74"/>
                      </a:cubicBezTo>
                      <a:cubicBezTo>
                        <a:pt x="358" y="74"/>
                        <a:pt x="358" y="74"/>
                        <a:pt x="358" y="74"/>
                      </a:cubicBezTo>
                      <a:cubicBezTo>
                        <a:pt x="361" y="72"/>
                        <a:pt x="361" y="72"/>
                        <a:pt x="361" y="72"/>
                      </a:cubicBezTo>
                      <a:cubicBezTo>
                        <a:pt x="362" y="71"/>
                        <a:pt x="362" y="71"/>
                        <a:pt x="362" y="71"/>
                      </a:cubicBezTo>
                      <a:cubicBezTo>
                        <a:pt x="365" y="71"/>
                        <a:pt x="365" y="71"/>
                        <a:pt x="365" y="71"/>
                      </a:cubicBezTo>
                      <a:cubicBezTo>
                        <a:pt x="370" y="73"/>
                        <a:pt x="370" y="73"/>
                        <a:pt x="370" y="73"/>
                      </a:cubicBezTo>
                      <a:cubicBezTo>
                        <a:pt x="373" y="75"/>
                        <a:pt x="373" y="75"/>
                        <a:pt x="373" y="75"/>
                      </a:cubicBezTo>
                      <a:cubicBezTo>
                        <a:pt x="376" y="75"/>
                        <a:pt x="376" y="75"/>
                        <a:pt x="376" y="75"/>
                      </a:cubicBezTo>
                      <a:cubicBezTo>
                        <a:pt x="379" y="75"/>
                        <a:pt x="379" y="75"/>
                        <a:pt x="379" y="75"/>
                      </a:cubicBezTo>
                      <a:cubicBezTo>
                        <a:pt x="380" y="76"/>
                        <a:pt x="380" y="76"/>
                        <a:pt x="380" y="76"/>
                      </a:cubicBezTo>
                      <a:cubicBezTo>
                        <a:pt x="379" y="77"/>
                        <a:pt x="379" y="77"/>
                        <a:pt x="379" y="77"/>
                      </a:cubicBezTo>
                      <a:cubicBezTo>
                        <a:pt x="379" y="79"/>
                        <a:pt x="379" y="79"/>
                        <a:pt x="379" y="79"/>
                      </a:cubicBezTo>
                      <a:cubicBezTo>
                        <a:pt x="381" y="81"/>
                        <a:pt x="381" y="81"/>
                        <a:pt x="381" y="81"/>
                      </a:cubicBezTo>
                      <a:cubicBezTo>
                        <a:pt x="382" y="82"/>
                        <a:pt x="382" y="82"/>
                        <a:pt x="382" y="82"/>
                      </a:cubicBezTo>
                      <a:cubicBezTo>
                        <a:pt x="380" y="84"/>
                        <a:pt x="380" y="84"/>
                        <a:pt x="380" y="84"/>
                      </a:cubicBezTo>
                      <a:cubicBezTo>
                        <a:pt x="379" y="86"/>
                        <a:pt x="379" y="86"/>
                        <a:pt x="379" y="86"/>
                      </a:cubicBezTo>
                      <a:cubicBezTo>
                        <a:pt x="380" y="89"/>
                        <a:pt x="380" y="89"/>
                        <a:pt x="380" y="89"/>
                      </a:cubicBezTo>
                      <a:cubicBezTo>
                        <a:pt x="380" y="93"/>
                        <a:pt x="380" y="93"/>
                        <a:pt x="380" y="93"/>
                      </a:cubicBezTo>
                      <a:cubicBezTo>
                        <a:pt x="381" y="95"/>
                        <a:pt x="381" y="95"/>
                        <a:pt x="381" y="95"/>
                      </a:cubicBezTo>
                      <a:cubicBezTo>
                        <a:pt x="382" y="97"/>
                        <a:pt x="382" y="97"/>
                        <a:pt x="382" y="97"/>
                      </a:cubicBezTo>
                      <a:cubicBezTo>
                        <a:pt x="383" y="97"/>
                        <a:pt x="383" y="97"/>
                        <a:pt x="383" y="97"/>
                      </a:cubicBezTo>
                      <a:cubicBezTo>
                        <a:pt x="383" y="94"/>
                        <a:pt x="383" y="94"/>
                        <a:pt x="383" y="94"/>
                      </a:cubicBezTo>
                      <a:cubicBezTo>
                        <a:pt x="384" y="93"/>
                        <a:pt x="384" y="93"/>
                        <a:pt x="384" y="93"/>
                      </a:cubicBezTo>
                      <a:cubicBezTo>
                        <a:pt x="385" y="94"/>
                        <a:pt x="385" y="94"/>
                        <a:pt x="385" y="94"/>
                      </a:cubicBezTo>
                      <a:cubicBezTo>
                        <a:pt x="385" y="96"/>
                        <a:pt x="385" y="96"/>
                        <a:pt x="385" y="96"/>
                      </a:cubicBezTo>
                      <a:cubicBezTo>
                        <a:pt x="386" y="98"/>
                        <a:pt x="386" y="98"/>
                        <a:pt x="386" y="98"/>
                      </a:cubicBezTo>
                      <a:cubicBezTo>
                        <a:pt x="386" y="98"/>
                        <a:pt x="386" y="98"/>
                        <a:pt x="386" y="98"/>
                      </a:cubicBezTo>
                      <a:cubicBezTo>
                        <a:pt x="387" y="99"/>
                        <a:pt x="387" y="99"/>
                        <a:pt x="387" y="99"/>
                      </a:cubicBezTo>
                      <a:cubicBezTo>
                        <a:pt x="389" y="101"/>
                        <a:pt x="389" y="101"/>
                        <a:pt x="389" y="101"/>
                      </a:cubicBezTo>
                      <a:cubicBezTo>
                        <a:pt x="390" y="102"/>
                        <a:pt x="390" y="102"/>
                        <a:pt x="390" y="102"/>
                      </a:cubicBezTo>
                      <a:cubicBezTo>
                        <a:pt x="392" y="102"/>
                        <a:pt x="392" y="102"/>
                        <a:pt x="392" y="102"/>
                      </a:cubicBezTo>
                      <a:cubicBezTo>
                        <a:pt x="394" y="102"/>
                        <a:pt x="394" y="102"/>
                        <a:pt x="394" y="102"/>
                      </a:cubicBezTo>
                      <a:cubicBezTo>
                        <a:pt x="394" y="100"/>
                        <a:pt x="394" y="100"/>
                        <a:pt x="394" y="100"/>
                      </a:cubicBezTo>
                      <a:cubicBezTo>
                        <a:pt x="395" y="99"/>
                        <a:pt x="395" y="99"/>
                        <a:pt x="395" y="99"/>
                      </a:cubicBezTo>
                      <a:cubicBezTo>
                        <a:pt x="396" y="99"/>
                        <a:pt x="396" y="99"/>
                        <a:pt x="396" y="99"/>
                      </a:cubicBezTo>
                      <a:cubicBezTo>
                        <a:pt x="396" y="96"/>
                        <a:pt x="396" y="96"/>
                        <a:pt x="396" y="96"/>
                      </a:cubicBezTo>
                      <a:cubicBezTo>
                        <a:pt x="397" y="94"/>
                        <a:pt x="397" y="94"/>
                        <a:pt x="397" y="94"/>
                      </a:cubicBezTo>
                      <a:cubicBezTo>
                        <a:pt x="399" y="94"/>
                        <a:pt x="399" y="94"/>
                        <a:pt x="399" y="94"/>
                      </a:cubicBezTo>
                      <a:cubicBezTo>
                        <a:pt x="401" y="93"/>
                        <a:pt x="401" y="93"/>
                        <a:pt x="401" y="93"/>
                      </a:cubicBezTo>
                      <a:cubicBezTo>
                        <a:pt x="401" y="91"/>
                        <a:pt x="401" y="91"/>
                        <a:pt x="401" y="91"/>
                      </a:cubicBezTo>
                      <a:cubicBezTo>
                        <a:pt x="402" y="90"/>
                        <a:pt x="402" y="90"/>
                        <a:pt x="402" y="90"/>
                      </a:cubicBezTo>
                      <a:cubicBezTo>
                        <a:pt x="403" y="90"/>
                        <a:pt x="403" y="90"/>
                        <a:pt x="403" y="90"/>
                      </a:cubicBezTo>
                      <a:cubicBezTo>
                        <a:pt x="404" y="90"/>
                        <a:pt x="404" y="90"/>
                        <a:pt x="404" y="90"/>
                      </a:cubicBezTo>
                      <a:cubicBezTo>
                        <a:pt x="406" y="89"/>
                        <a:pt x="406" y="89"/>
                        <a:pt x="406" y="89"/>
                      </a:cubicBezTo>
                      <a:cubicBezTo>
                        <a:pt x="409" y="89"/>
                        <a:pt x="409" y="89"/>
                        <a:pt x="409" y="89"/>
                      </a:cubicBezTo>
                      <a:cubicBezTo>
                        <a:pt x="409" y="88"/>
                        <a:pt x="409" y="88"/>
                        <a:pt x="409" y="88"/>
                      </a:cubicBezTo>
                      <a:cubicBezTo>
                        <a:pt x="408" y="86"/>
                        <a:pt x="408" y="86"/>
                        <a:pt x="408" y="86"/>
                      </a:cubicBezTo>
                      <a:cubicBezTo>
                        <a:pt x="409" y="85"/>
                        <a:pt x="409" y="85"/>
                        <a:pt x="409" y="85"/>
                      </a:cubicBezTo>
                      <a:cubicBezTo>
                        <a:pt x="413" y="82"/>
                        <a:pt x="413" y="82"/>
                        <a:pt x="413" y="82"/>
                      </a:cubicBezTo>
                      <a:cubicBezTo>
                        <a:pt x="416" y="82"/>
                        <a:pt x="416" y="82"/>
                        <a:pt x="416" y="82"/>
                      </a:cubicBezTo>
                      <a:cubicBezTo>
                        <a:pt x="417" y="84"/>
                        <a:pt x="417" y="84"/>
                        <a:pt x="417" y="84"/>
                      </a:cubicBezTo>
                      <a:cubicBezTo>
                        <a:pt x="420" y="85"/>
                        <a:pt x="420" y="85"/>
                        <a:pt x="420" y="85"/>
                      </a:cubicBezTo>
                      <a:cubicBezTo>
                        <a:pt x="424" y="86"/>
                        <a:pt x="424" y="86"/>
                        <a:pt x="424" y="86"/>
                      </a:cubicBezTo>
                      <a:cubicBezTo>
                        <a:pt x="425" y="88"/>
                        <a:pt x="425" y="88"/>
                        <a:pt x="425" y="88"/>
                      </a:cubicBezTo>
                      <a:cubicBezTo>
                        <a:pt x="427" y="88"/>
                        <a:pt x="427" y="88"/>
                        <a:pt x="427" y="88"/>
                      </a:cubicBezTo>
                      <a:cubicBezTo>
                        <a:pt x="430" y="88"/>
                        <a:pt x="430" y="88"/>
                        <a:pt x="430" y="88"/>
                      </a:cubicBezTo>
                      <a:cubicBezTo>
                        <a:pt x="435" y="91"/>
                        <a:pt x="435" y="91"/>
                        <a:pt x="435" y="91"/>
                      </a:cubicBezTo>
                      <a:cubicBezTo>
                        <a:pt x="437" y="91"/>
                        <a:pt x="437" y="91"/>
                        <a:pt x="437" y="91"/>
                      </a:cubicBezTo>
                      <a:cubicBezTo>
                        <a:pt x="438" y="91"/>
                        <a:pt x="438" y="91"/>
                        <a:pt x="438" y="91"/>
                      </a:cubicBezTo>
                      <a:cubicBezTo>
                        <a:pt x="441" y="92"/>
                        <a:pt x="441" y="92"/>
                        <a:pt x="441" y="92"/>
                      </a:cubicBezTo>
                      <a:cubicBezTo>
                        <a:pt x="442" y="91"/>
                        <a:pt x="442" y="91"/>
                        <a:pt x="442" y="91"/>
                      </a:cubicBezTo>
                      <a:cubicBezTo>
                        <a:pt x="444" y="93"/>
                        <a:pt x="444" y="93"/>
                        <a:pt x="444" y="93"/>
                      </a:cubicBezTo>
                      <a:cubicBezTo>
                        <a:pt x="444" y="93"/>
                        <a:pt x="444" y="93"/>
                        <a:pt x="444" y="93"/>
                      </a:cubicBezTo>
                      <a:cubicBezTo>
                        <a:pt x="444" y="94"/>
                        <a:pt x="444" y="94"/>
                        <a:pt x="444" y="94"/>
                      </a:cubicBezTo>
                      <a:cubicBezTo>
                        <a:pt x="445" y="95"/>
                        <a:pt x="445" y="95"/>
                        <a:pt x="445" y="95"/>
                      </a:cubicBezTo>
                      <a:cubicBezTo>
                        <a:pt x="446" y="94"/>
                        <a:pt x="446" y="94"/>
                        <a:pt x="446" y="94"/>
                      </a:cubicBezTo>
                      <a:cubicBezTo>
                        <a:pt x="447" y="94"/>
                        <a:pt x="447" y="94"/>
                        <a:pt x="447" y="94"/>
                      </a:cubicBezTo>
                      <a:close/>
                      <a:moveTo>
                        <a:pt x="331" y="67"/>
                      </a:moveTo>
                      <a:cubicBezTo>
                        <a:pt x="335" y="69"/>
                        <a:pt x="335" y="69"/>
                        <a:pt x="335" y="69"/>
                      </a:cubicBezTo>
                      <a:cubicBezTo>
                        <a:pt x="335" y="70"/>
                        <a:pt x="335" y="70"/>
                        <a:pt x="335" y="70"/>
                      </a:cubicBezTo>
                      <a:cubicBezTo>
                        <a:pt x="333" y="68"/>
                        <a:pt x="333" y="68"/>
                        <a:pt x="333" y="68"/>
                      </a:cubicBezTo>
                      <a:cubicBezTo>
                        <a:pt x="331" y="67"/>
                        <a:pt x="331" y="67"/>
                        <a:pt x="331" y="67"/>
                      </a:cubicBezTo>
                      <a:close/>
                      <a:moveTo>
                        <a:pt x="351" y="71"/>
                      </a:moveTo>
                      <a:cubicBezTo>
                        <a:pt x="352" y="71"/>
                        <a:pt x="352" y="71"/>
                        <a:pt x="352" y="71"/>
                      </a:cubicBezTo>
                      <a:cubicBezTo>
                        <a:pt x="353" y="71"/>
                        <a:pt x="353" y="71"/>
                        <a:pt x="353" y="71"/>
                      </a:cubicBezTo>
                      <a:cubicBezTo>
                        <a:pt x="353" y="69"/>
                        <a:pt x="353" y="69"/>
                        <a:pt x="353" y="69"/>
                      </a:cubicBezTo>
                      <a:cubicBezTo>
                        <a:pt x="351" y="68"/>
                        <a:pt x="351" y="68"/>
                        <a:pt x="351" y="68"/>
                      </a:cubicBezTo>
                      <a:cubicBezTo>
                        <a:pt x="347" y="68"/>
                        <a:pt x="347" y="68"/>
                        <a:pt x="347" y="68"/>
                      </a:cubicBezTo>
                      <a:cubicBezTo>
                        <a:pt x="346" y="69"/>
                        <a:pt x="346" y="69"/>
                        <a:pt x="346" y="69"/>
                      </a:cubicBezTo>
                      <a:cubicBezTo>
                        <a:pt x="344" y="69"/>
                        <a:pt x="344" y="69"/>
                        <a:pt x="344" y="69"/>
                      </a:cubicBezTo>
                      <a:cubicBezTo>
                        <a:pt x="343" y="70"/>
                        <a:pt x="343" y="70"/>
                        <a:pt x="343" y="70"/>
                      </a:cubicBezTo>
                      <a:cubicBezTo>
                        <a:pt x="344" y="70"/>
                        <a:pt x="344" y="70"/>
                        <a:pt x="344" y="70"/>
                      </a:cubicBezTo>
                      <a:cubicBezTo>
                        <a:pt x="343" y="71"/>
                        <a:pt x="343" y="71"/>
                        <a:pt x="343" y="71"/>
                      </a:cubicBezTo>
                      <a:cubicBezTo>
                        <a:pt x="346" y="71"/>
                        <a:pt x="346" y="71"/>
                        <a:pt x="346" y="71"/>
                      </a:cubicBezTo>
                      <a:cubicBezTo>
                        <a:pt x="347" y="72"/>
                        <a:pt x="347" y="72"/>
                        <a:pt x="347" y="72"/>
                      </a:cubicBezTo>
                      <a:cubicBezTo>
                        <a:pt x="349" y="72"/>
                        <a:pt x="349" y="72"/>
                        <a:pt x="349" y="72"/>
                      </a:cubicBezTo>
                      <a:cubicBezTo>
                        <a:pt x="349" y="71"/>
                        <a:pt x="349" y="71"/>
                        <a:pt x="349" y="71"/>
                      </a:cubicBezTo>
                      <a:cubicBezTo>
                        <a:pt x="347" y="70"/>
                        <a:pt x="347" y="70"/>
                        <a:pt x="347" y="70"/>
                      </a:cubicBezTo>
                      <a:cubicBezTo>
                        <a:pt x="347" y="70"/>
                        <a:pt x="347" y="70"/>
                        <a:pt x="347" y="70"/>
                      </a:cubicBezTo>
                      <a:cubicBezTo>
                        <a:pt x="348" y="69"/>
                        <a:pt x="348" y="69"/>
                        <a:pt x="348" y="69"/>
                      </a:cubicBezTo>
                      <a:cubicBezTo>
                        <a:pt x="351" y="71"/>
                        <a:pt x="351" y="71"/>
                        <a:pt x="351" y="71"/>
                      </a:cubicBezTo>
                      <a:close/>
                      <a:moveTo>
                        <a:pt x="347" y="77"/>
                      </a:moveTo>
                      <a:cubicBezTo>
                        <a:pt x="345" y="76"/>
                        <a:pt x="345" y="76"/>
                        <a:pt x="345" y="76"/>
                      </a:cubicBezTo>
                      <a:cubicBezTo>
                        <a:pt x="344" y="76"/>
                        <a:pt x="344" y="76"/>
                        <a:pt x="344" y="76"/>
                      </a:cubicBezTo>
                      <a:cubicBezTo>
                        <a:pt x="345" y="77"/>
                        <a:pt x="345" y="77"/>
                        <a:pt x="345" y="77"/>
                      </a:cubicBezTo>
                      <a:cubicBezTo>
                        <a:pt x="347" y="77"/>
                        <a:pt x="347" y="77"/>
                        <a:pt x="347" y="77"/>
                      </a:cubicBezTo>
                      <a:close/>
                      <a:moveTo>
                        <a:pt x="349" y="75"/>
                      </a:moveTo>
                      <a:cubicBezTo>
                        <a:pt x="348" y="77"/>
                        <a:pt x="348" y="77"/>
                        <a:pt x="348" y="77"/>
                      </a:cubicBezTo>
                      <a:cubicBezTo>
                        <a:pt x="347" y="76"/>
                        <a:pt x="347" y="76"/>
                        <a:pt x="347" y="76"/>
                      </a:cubicBezTo>
                      <a:cubicBezTo>
                        <a:pt x="349" y="75"/>
                        <a:pt x="349" y="75"/>
                        <a:pt x="349" y="75"/>
                      </a:cubicBezTo>
                      <a:close/>
                      <a:moveTo>
                        <a:pt x="348" y="77"/>
                      </a:moveTo>
                      <a:cubicBezTo>
                        <a:pt x="346" y="78"/>
                        <a:pt x="346" y="78"/>
                        <a:pt x="346" y="78"/>
                      </a:cubicBezTo>
                      <a:cubicBezTo>
                        <a:pt x="347" y="81"/>
                        <a:pt x="347" y="81"/>
                        <a:pt x="347" y="81"/>
                      </a:cubicBezTo>
                      <a:cubicBezTo>
                        <a:pt x="349" y="81"/>
                        <a:pt x="349" y="81"/>
                        <a:pt x="349" y="81"/>
                      </a:cubicBezTo>
                      <a:cubicBezTo>
                        <a:pt x="349" y="81"/>
                        <a:pt x="349" y="81"/>
                        <a:pt x="349" y="81"/>
                      </a:cubicBezTo>
                      <a:cubicBezTo>
                        <a:pt x="350" y="77"/>
                        <a:pt x="350" y="77"/>
                        <a:pt x="350" y="77"/>
                      </a:cubicBezTo>
                      <a:cubicBezTo>
                        <a:pt x="348" y="77"/>
                        <a:pt x="348" y="77"/>
                        <a:pt x="348" y="77"/>
                      </a:cubicBezTo>
                      <a:close/>
                      <a:moveTo>
                        <a:pt x="294" y="29"/>
                      </a:moveTo>
                      <a:cubicBezTo>
                        <a:pt x="296" y="31"/>
                        <a:pt x="296" y="31"/>
                        <a:pt x="296" y="31"/>
                      </a:cubicBezTo>
                      <a:cubicBezTo>
                        <a:pt x="297" y="33"/>
                        <a:pt x="297" y="33"/>
                        <a:pt x="297" y="33"/>
                      </a:cubicBezTo>
                      <a:cubicBezTo>
                        <a:pt x="296" y="34"/>
                        <a:pt x="296" y="34"/>
                        <a:pt x="296" y="34"/>
                      </a:cubicBezTo>
                      <a:cubicBezTo>
                        <a:pt x="294" y="32"/>
                        <a:pt x="294" y="32"/>
                        <a:pt x="294" y="32"/>
                      </a:cubicBezTo>
                      <a:cubicBezTo>
                        <a:pt x="294" y="30"/>
                        <a:pt x="294" y="30"/>
                        <a:pt x="294" y="30"/>
                      </a:cubicBezTo>
                      <a:cubicBezTo>
                        <a:pt x="294" y="29"/>
                        <a:pt x="294" y="29"/>
                        <a:pt x="294" y="29"/>
                      </a:cubicBezTo>
                      <a:close/>
                      <a:moveTo>
                        <a:pt x="306" y="21"/>
                      </a:moveTo>
                      <a:cubicBezTo>
                        <a:pt x="307" y="24"/>
                        <a:pt x="307" y="24"/>
                        <a:pt x="307" y="24"/>
                      </a:cubicBezTo>
                      <a:cubicBezTo>
                        <a:pt x="307" y="26"/>
                        <a:pt x="307" y="26"/>
                        <a:pt x="307" y="26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09" y="23"/>
                        <a:pt x="309" y="23"/>
                        <a:pt x="309" y="23"/>
                      </a:cubicBezTo>
                      <a:cubicBezTo>
                        <a:pt x="308" y="22"/>
                        <a:pt x="308" y="22"/>
                        <a:pt x="308" y="22"/>
                      </a:cubicBezTo>
                      <a:cubicBezTo>
                        <a:pt x="307" y="21"/>
                        <a:pt x="307" y="21"/>
                        <a:pt x="307" y="21"/>
                      </a:cubicBezTo>
                      <a:cubicBezTo>
                        <a:pt x="306" y="21"/>
                        <a:pt x="306" y="21"/>
                        <a:pt x="306" y="21"/>
                      </a:cubicBezTo>
                      <a:close/>
                      <a:moveTo>
                        <a:pt x="306" y="26"/>
                      </a:moveTo>
                      <a:cubicBezTo>
                        <a:pt x="307" y="26"/>
                        <a:pt x="307" y="26"/>
                        <a:pt x="307" y="26"/>
                      </a:cubicBezTo>
                      <a:cubicBezTo>
                        <a:pt x="308" y="28"/>
                        <a:pt x="308" y="28"/>
                        <a:pt x="308" y="28"/>
                      </a:cubicBezTo>
                      <a:cubicBezTo>
                        <a:pt x="307" y="28"/>
                        <a:pt x="307" y="28"/>
                        <a:pt x="307" y="28"/>
                      </a:cubicBezTo>
                      <a:cubicBezTo>
                        <a:pt x="307" y="28"/>
                        <a:pt x="306" y="26"/>
                        <a:pt x="306" y="26"/>
                      </a:cubicBezTo>
                      <a:close/>
                      <a:moveTo>
                        <a:pt x="322" y="45"/>
                      </a:moveTo>
                      <a:cubicBezTo>
                        <a:pt x="322" y="48"/>
                        <a:pt x="322" y="48"/>
                        <a:pt x="322" y="48"/>
                      </a:cubicBezTo>
                      <a:cubicBezTo>
                        <a:pt x="323" y="47"/>
                        <a:pt x="323" y="47"/>
                        <a:pt x="323" y="47"/>
                      </a:cubicBezTo>
                      <a:cubicBezTo>
                        <a:pt x="325" y="47"/>
                        <a:pt x="325" y="47"/>
                        <a:pt x="325" y="47"/>
                      </a:cubicBezTo>
                      <a:cubicBezTo>
                        <a:pt x="326" y="45"/>
                        <a:pt x="326" y="45"/>
                        <a:pt x="326" y="45"/>
                      </a:cubicBezTo>
                      <a:cubicBezTo>
                        <a:pt x="326" y="44"/>
                        <a:pt x="326" y="44"/>
                        <a:pt x="326" y="44"/>
                      </a:cubicBezTo>
                      <a:cubicBezTo>
                        <a:pt x="324" y="43"/>
                        <a:pt x="324" y="43"/>
                        <a:pt x="324" y="43"/>
                      </a:cubicBezTo>
                      <a:cubicBezTo>
                        <a:pt x="323" y="44"/>
                        <a:pt x="323" y="44"/>
                        <a:pt x="323" y="44"/>
                      </a:cubicBezTo>
                      <a:cubicBezTo>
                        <a:pt x="322" y="45"/>
                        <a:pt x="322" y="45"/>
                        <a:pt x="322" y="45"/>
                      </a:cubicBezTo>
                      <a:close/>
                      <a:moveTo>
                        <a:pt x="320" y="71"/>
                      </a:moveTo>
                      <a:cubicBezTo>
                        <a:pt x="321" y="74"/>
                        <a:pt x="321" y="74"/>
                        <a:pt x="321" y="74"/>
                      </a:cubicBezTo>
                      <a:cubicBezTo>
                        <a:pt x="323" y="76"/>
                        <a:pt x="323" y="76"/>
                        <a:pt x="323" y="76"/>
                      </a:cubicBezTo>
                      <a:cubicBezTo>
                        <a:pt x="324" y="77"/>
                        <a:pt x="324" y="77"/>
                        <a:pt x="324" y="77"/>
                      </a:cubicBezTo>
                      <a:cubicBezTo>
                        <a:pt x="323" y="77"/>
                        <a:pt x="323" y="77"/>
                        <a:pt x="323" y="77"/>
                      </a:cubicBezTo>
                      <a:cubicBezTo>
                        <a:pt x="323" y="79"/>
                        <a:pt x="323" y="79"/>
                        <a:pt x="323" y="79"/>
                      </a:cubicBezTo>
                      <a:cubicBezTo>
                        <a:pt x="322" y="77"/>
                        <a:pt x="322" y="77"/>
                        <a:pt x="322" y="77"/>
                      </a:cubicBezTo>
                      <a:cubicBezTo>
                        <a:pt x="321" y="76"/>
                        <a:pt x="321" y="76"/>
                        <a:pt x="321" y="76"/>
                      </a:cubicBezTo>
                      <a:cubicBezTo>
                        <a:pt x="319" y="73"/>
                        <a:pt x="319" y="73"/>
                        <a:pt x="319" y="73"/>
                      </a:cubicBezTo>
                      <a:cubicBezTo>
                        <a:pt x="317" y="72"/>
                        <a:pt x="317" y="72"/>
                        <a:pt x="317" y="72"/>
                      </a:cubicBezTo>
                      <a:cubicBezTo>
                        <a:pt x="316" y="70"/>
                        <a:pt x="316" y="70"/>
                        <a:pt x="316" y="70"/>
                      </a:cubicBezTo>
                      <a:cubicBezTo>
                        <a:pt x="317" y="67"/>
                        <a:pt x="317" y="67"/>
                        <a:pt x="317" y="67"/>
                      </a:cubicBezTo>
                      <a:cubicBezTo>
                        <a:pt x="316" y="66"/>
                        <a:pt x="316" y="66"/>
                        <a:pt x="316" y="66"/>
                      </a:cubicBezTo>
                      <a:cubicBezTo>
                        <a:pt x="317" y="65"/>
                        <a:pt x="317" y="65"/>
                        <a:pt x="317" y="65"/>
                      </a:cubicBezTo>
                      <a:cubicBezTo>
                        <a:pt x="315" y="64"/>
                        <a:pt x="315" y="64"/>
                        <a:pt x="315" y="64"/>
                      </a:cubicBezTo>
                      <a:cubicBezTo>
                        <a:pt x="315" y="62"/>
                        <a:pt x="315" y="62"/>
                        <a:pt x="315" y="62"/>
                      </a:cubicBezTo>
                      <a:cubicBezTo>
                        <a:pt x="316" y="60"/>
                        <a:pt x="316" y="60"/>
                        <a:pt x="316" y="60"/>
                      </a:cubicBezTo>
                      <a:cubicBezTo>
                        <a:pt x="315" y="58"/>
                        <a:pt x="315" y="58"/>
                        <a:pt x="315" y="58"/>
                      </a:cubicBezTo>
                      <a:cubicBezTo>
                        <a:pt x="314" y="57"/>
                        <a:pt x="314" y="57"/>
                        <a:pt x="314" y="57"/>
                      </a:cubicBezTo>
                      <a:cubicBezTo>
                        <a:pt x="314" y="54"/>
                        <a:pt x="314" y="54"/>
                        <a:pt x="314" y="54"/>
                      </a:cubicBezTo>
                      <a:cubicBezTo>
                        <a:pt x="316" y="53"/>
                        <a:pt x="316" y="53"/>
                        <a:pt x="316" y="53"/>
                      </a:cubicBezTo>
                      <a:cubicBezTo>
                        <a:pt x="315" y="51"/>
                        <a:pt x="315" y="51"/>
                        <a:pt x="315" y="51"/>
                      </a:cubicBezTo>
                      <a:cubicBezTo>
                        <a:pt x="316" y="48"/>
                        <a:pt x="316" y="48"/>
                        <a:pt x="316" y="48"/>
                      </a:cubicBezTo>
                      <a:cubicBezTo>
                        <a:pt x="319" y="45"/>
                        <a:pt x="319" y="45"/>
                        <a:pt x="319" y="45"/>
                      </a:cubicBezTo>
                      <a:cubicBezTo>
                        <a:pt x="320" y="45"/>
                        <a:pt x="320" y="45"/>
                        <a:pt x="320" y="45"/>
                      </a:cubicBezTo>
                      <a:cubicBezTo>
                        <a:pt x="320" y="46"/>
                        <a:pt x="320" y="46"/>
                        <a:pt x="320" y="46"/>
                      </a:cubicBezTo>
                      <a:cubicBezTo>
                        <a:pt x="318" y="48"/>
                        <a:pt x="318" y="48"/>
                        <a:pt x="318" y="48"/>
                      </a:cubicBezTo>
                      <a:cubicBezTo>
                        <a:pt x="319" y="49"/>
                        <a:pt x="319" y="49"/>
                        <a:pt x="319" y="49"/>
                      </a:cubicBezTo>
                      <a:cubicBezTo>
                        <a:pt x="320" y="50"/>
                        <a:pt x="320" y="50"/>
                        <a:pt x="320" y="50"/>
                      </a:cubicBezTo>
                      <a:cubicBezTo>
                        <a:pt x="320" y="53"/>
                        <a:pt x="320" y="53"/>
                        <a:pt x="320" y="53"/>
                      </a:cubicBezTo>
                      <a:cubicBezTo>
                        <a:pt x="320" y="55"/>
                        <a:pt x="320" y="55"/>
                        <a:pt x="320" y="55"/>
                      </a:cubicBezTo>
                      <a:cubicBezTo>
                        <a:pt x="318" y="56"/>
                        <a:pt x="318" y="56"/>
                        <a:pt x="318" y="56"/>
                      </a:cubicBezTo>
                      <a:cubicBezTo>
                        <a:pt x="317" y="57"/>
                        <a:pt x="317" y="57"/>
                        <a:pt x="317" y="57"/>
                      </a:cubicBezTo>
                      <a:cubicBezTo>
                        <a:pt x="317" y="59"/>
                        <a:pt x="317" y="59"/>
                        <a:pt x="317" y="59"/>
                      </a:cubicBezTo>
                      <a:cubicBezTo>
                        <a:pt x="319" y="58"/>
                        <a:pt x="319" y="58"/>
                        <a:pt x="319" y="58"/>
                      </a:cubicBezTo>
                      <a:cubicBezTo>
                        <a:pt x="319" y="57"/>
                        <a:pt x="319" y="57"/>
                        <a:pt x="319" y="57"/>
                      </a:cubicBezTo>
                      <a:cubicBezTo>
                        <a:pt x="321" y="56"/>
                        <a:pt x="321" y="56"/>
                        <a:pt x="321" y="56"/>
                      </a:cubicBezTo>
                      <a:cubicBezTo>
                        <a:pt x="322" y="55"/>
                        <a:pt x="322" y="55"/>
                        <a:pt x="322" y="55"/>
                      </a:cubicBezTo>
                      <a:cubicBezTo>
                        <a:pt x="321" y="55"/>
                        <a:pt x="321" y="55"/>
                        <a:pt x="321" y="55"/>
                      </a:cubicBezTo>
                      <a:cubicBezTo>
                        <a:pt x="321" y="54"/>
                        <a:pt x="321" y="54"/>
                        <a:pt x="321" y="54"/>
                      </a:cubicBezTo>
                      <a:cubicBezTo>
                        <a:pt x="324" y="52"/>
                        <a:pt x="324" y="52"/>
                        <a:pt x="324" y="52"/>
                      </a:cubicBezTo>
                      <a:cubicBezTo>
                        <a:pt x="327" y="51"/>
                        <a:pt x="327" y="51"/>
                        <a:pt x="327" y="51"/>
                      </a:cubicBezTo>
                      <a:cubicBezTo>
                        <a:pt x="328" y="52"/>
                        <a:pt x="328" y="52"/>
                        <a:pt x="328" y="52"/>
                      </a:cubicBezTo>
                      <a:cubicBezTo>
                        <a:pt x="328" y="54"/>
                        <a:pt x="328" y="54"/>
                        <a:pt x="328" y="54"/>
                      </a:cubicBezTo>
                      <a:cubicBezTo>
                        <a:pt x="327" y="57"/>
                        <a:pt x="327" y="57"/>
                        <a:pt x="327" y="57"/>
                      </a:cubicBezTo>
                      <a:cubicBezTo>
                        <a:pt x="323" y="58"/>
                        <a:pt x="323" y="58"/>
                        <a:pt x="323" y="58"/>
                      </a:cubicBezTo>
                      <a:cubicBezTo>
                        <a:pt x="322" y="60"/>
                        <a:pt x="322" y="60"/>
                        <a:pt x="322" y="60"/>
                      </a:cubicBezTo>
                      <a:cubicBezTo>
                        <a:pt x="323" y="61"/>
                        <a:pt x="323" y="61"/>
                        <a:pt x="323" y="61"/>
                      </a:cubicBezTo>
                      <a:cubicBezTo>
                        <a:pt x="324" y="61"/>
                        <a:pt x="324" y="61"/>
                        <a:pt x="324" y="61"/>
                      </a:cubicBezTo>
                      <a:cubicBezTo>
                        <a:pt x="326" y="63"/>
                        <a:pt x="326" y="63"/>
                        <a:pt x="326" y="63"/>
                      </a:cubicBezTo>
                      <a:cubicBezTo>
                        <a:pt x="327" y="65"/>
                        <a:pt x="327" y="65"/>
                        <a:pt x="327" y="65"/>
                      </a:cubicBezTo>
                      <a:cubicBezTo>
                        <a:pt x="328" y="65"/>
                        <a:pt x="328" y="65"/>
                        <a:pt x="328" y="65"/>
                      </a:cubicBezTo>
                      <a:cubicBezTo>
                        <a:pt x="326" y="65"/>
                        <a:pt x="326" y="65"/>
                        <a:pt x="326" y="65"/>
                      </a:cubicBezTo>
                      <a:cubicBezTo>
                        <a:pt x="325" y="64"/>
                        <a:pt x="325" y="64"/>
                        <a:pt x="325" y="64"/>
                      </a:cubicBezTo>
                      <a:cubicBezTo>
                        <a:pt x="322" y="64"/>
                        <a:pt x="322" y="64"/>
                        <a:pt x="322" y="64"/>
                      </a:cubicBezTo>
                      <a:cubicBezTo>
                        <a:pt x="320" y="64"/>
                        <a:pt x="320" y="64"/>
                        <a:pt x="320" y="64"/>
                      </a:cubicBezTo>
                      <a:cubicBezTo>
                        <a:pt x="318" y="64"/>
                        <a:pt x="318" y="64"/>
                        <a:pt x="318" y="64"/>
                      </a:cubicBezTo>
                      <a:cubicBezTo>
                        <a:pt x="318" y="68"/>
                        <a:pt x="318" y="68"/>
                        <a:pt x="318" y="68"/>
                      </a:cubicBezTo>
                      <a:cubicBezTo>
                        <a:pt x="320" y="71"/>
                        <a:pt x="320" y="71"/>
                        <a:pt x="320" y="71"/>
                      </a:cubicBezTo>
                      <a:close/>
                      <a:moveTo>
                        <a:pt x="312" y="75"/>
                      </a:moveTo>
                      <a:cubicBezTo>
                        <a:pt x="313" y="77"/>
                        <a:pt x="313" y="77"/>
                        <a:pt x="313" y="77"/>
                      </a:cubicBezTo>
                      <a:cubicBezTo>
                        <a:pt x="311" y="76"/>
                        <a:pt x="311" y="76"/>
                        <a:pt x="311" y="76"/>
                      </a:cubicBezTo>
                      <a:cubicBezTo>
                        <a:pt x="312" y="75"/>
                        <a:pt x="312" y="75"/>
                        <a:pt x="312" y="75"/>
                      </a:cubicBezTo>
                      <a:cubicBezTo>
                        <a:pt x="312" y="75"/>
                        <a:pt x="312" y="75"/>
                        <a:pt x="312" y="75"/>
                      </a:cubicBezTo>
                      <a:close/>
                      <a:moveTo>
                        <a:pt x="312" y="72"/>
                      </a:moveTo>
                      <a:cubicBezTo>
                        <a:pt x="311" y="71"/>
                        <a:pt x="311" y="71"/>
                        <a:pt x="311" y="71"/>
                      </a:cubicBezTo>
                      <a:cubicBezTo>
                        <a:pt x="310" y="73"/>
                        <a:pt x="310" y="73"/>
                        <a:pt x="310" y="73"/>
                      </a:cubicBezTo>
                      <a:cubicBezTo>
                        <a:pt x="312" y="74"/>
                        <a:pt x="312" y="74"/>
                        <a:pt x="312" y="74"/>
                      </a:cubicBezTo>
                      <a:cubicBezTo>
                        <a:pt x="312" y="73"/>
                        <a:pt x="312" y="73"/>
                        <a:pt x="312" y="73"/>
                      </a:cubicBezTo>
                      <a:cubicBezTo>
                        <a:pt x="312" y="72"/>
                        <a:pt x="312" y="72"/>
                        <a:pt x="312" y="72"/>
                      </a:cubicBezTo>
                      <a:close/>
                      <a:moveTo>
                        <a:pt x="314" y="73"/>
                      </a:moveTo>
                      <a:cubicBezTo>
                        <a:pt x="313" y="73"/>
                        <a:pt x="313" y="73"/>
                        <a:pt x="313" y="73"/>
                      </a:cubicBezTo>
                      <a:cubicBezTo>
                        <a:pt x="313" y="74"/>
                        <a:pt x="313" y="74"/>
                        <a:pt x="313" y="74"/>
                      </a:cubicBezTo>
                      <a:cubicBezTo>
                        <a:pt x="314" y="76"/>
                        <a:pt x="314" y="76"/>
                        <a:pt x="314" y="76"/>
                      </a:cubicBezTo>
                      <a:cubicBezTo>
                        <a:pt x="316" y="76"/>
                        <a:pt x="316" y="76"/>
                        <a:pt x="316" y="76"/>
                      </a:cubicBezTo>
                      <a:cubicBezTo>
                        <a:pt x="317" y="77"/>
                        <a:pt x="317" y="77"/>
                        <a:pt x="317" y="77"/>
                      </a:cubicBezTo>
                      <a:cubicBezTo>
                        <a:pt x="318" y="76"/>
                        <a:pt x="318" y="76"/>
                        <a:pt x="318" y="76"/>
                      </a:cubicBezTo>
                      <a:cubicBezTo>
                        <a:pt x="317" y="75"/>
                        <a:pt x="317" y="75"/>
                        <a:pt x="317" y="75"/>
                      </a:cubicBezTo>
                      <a:cubicBezTo>
                        <a:pt x="316" y="75"/>
                        <a:pt x="316" y="75"/>
                        <a:pt x="316" y="75"/>
                      </a:cubicBezTo>
                      <a:cubicBezTo>
                        <a:pt x="316" y="73"/>
                        <a:pt x="316" y="73"/>
                        <a:pt x="316" y="73"/>
                      </a:cubicBezTo>
                      <a:cubicBezTo>
                        <a:pt x="315" y="72"/>
                        <a:pt x="315" y="72"/>
                        <a:pt x="315" y="72"/>
                      </a:cubicBezTo>
                      <a:cubicBezTo>
                        <a:pt x="314" y="73"/>
                        <a:pt x="314" y="73"/>
                        <a:pt x="314" y="73"/>
                      </a:cubicBezTo>
                      <a:close/>
                      <a:moveTo>
                        <a:pt x="313" y="84"/>
                      </a:moveTo>
                      <a:cubicBezTo>
                        <a:pt x="316" y="82"/>
                        <a:pt x="316" y="82"/>
                        <a:pt x="316" y="82"/>
                      </a:cubicBezTo>
                      <a:cubicBezTo>
                        <a:pt x="318" y="82"/>
                        <a:pt x="318" y="82"/>
                        <a:pt x="318" y="82"/>
                      </a:cubicBezTo>
                      <a:cubicBezTo>
                        <a:pt x="321" y="85"/>
                        <a:pt x="321" y="85"/>
                        <a:pt x="321" y="85"/>
                      </a:cubicBezTo>
                      <a:cubicBezTo>
                        <a:pt x="320" y="86"/>
                        <a:pt x="320" y="86"/>
                        <a:pt x="320" y="86"/>
                      </a:cubicBezTo>
                      <a:cubicBezTo>
                        <a:pt x="319" y="86"/>
                        <a:pt x="319" y="86"/>
                        <a:pt x="319" y="86"/>
                      </a:cubicBezTo>
                      <a:cubicBezTo>
                        <a:pt x="317" y="86"/>
                        <a:pt x="317" y="86"/>
                        <a:pt x="317" y="86"/>
                      </a:cubicBezTo>
                      <a:cubicBezTo>
                        <a:pt x="316" y="86"/>
                        <a:pt x="316" y="86"/>
                        <a:pt x="316" y="86"/>
                      </a:cubicBezTo>
                      <a:cubicBezTo>
                        <a:pt x="315" y="85"/>
                        <a:pt x="315" y="85"/>
                        <a:pt x="315" y="85"/>
                      </a:cubicBezTo>
                      <a:cubicBezTo>
                        <a:pt x="313" y="84"/>
                        <a:pt x="313" y="84"/>
                        <a:pt x="313" y="84"/>
                      </a:cubicBezTo>
                      <a:close/>
                      <a:moveTo>
                        <a:pt x="341" y="85"/>
                      </a:moveTo>
                      <a:cubicBezTo>
                        <a:pt x="338" y="86"/>
                        <a:pt x="338" y="86"/>
                        <a:pt x="338" y="86"/>
                      </a:cubicBezTo>
                      <a:cubicBezTo>
                        <a:pt x="337" y="87"/>
                        <a:pt x="337" y="87"/>
                        <a:pt x="337" y="87"/>
                      </a:cubicBezTo>
                      <a:cubicBezTo>
                        <a:pt x="337" y="88"/>
                        <a:pt x="337" y="88"/>
                        <a:pt x="337" y="88"/>
                      </a:cubicBezTo>
                      <a:cubicBezTo>
                        <a:pt x="340" y="89"/>
                        <a:pt x="340" y="89"/>
                        <a:pt x="340" y="89"/>
                      </a:cubicBezTo>
                      <a:cubicBezTo>
                        <a:pt x="343" y="88"/>
                        <a:pt x="343" y="88"/>
                        <a:pt x="343" y="88"/>
                      </a:cubicBezTo>
                      <a:cubicBezTo>
                        <a:pt x="342" y="87"/>
                        <a:pt x="342" y="87"/>
                        <a:pt x="342" y="87"/>
                      </a:cubicBezTo>
                      <a:cubicBezTo>
                        <a:pt x="342" y="86"/>
                        <a:pt x="342" y="86"/>
                        <a:pt x="342" y="86"/>
                      </a:cubicBezTo>
                      <a:cubicBezTo>
                        <a:pt x="341" y="85"/>
                        <a:pt x="341" y="85"/>
                        <a:pt x="341" y="85"/>
                      </a:cubicBezTo>
                      <a:close/>
                      <a:moveTo>
                        <a:pt x="325" y="104"/>
                      </a:moveTo>
                      <a:cubicBezTo>
                        <a:pt x="326" y="104"/>
                        <a:pt x="326" y="104"/>
                        <a:pt x="326" y="104"/>
                      </a:cubicBezTo>
                      <a:cubicBezTo>
                        <a:pt x="326" y="105"/>
                        <a:pt x="326" y="105"/>
                        <a:pt x="326" y="105"/>
                      </a:cubicBezTo>
                      <a:cubicBezTo>
                        <a:pt x="325" y="105"/>
                        <a:pt x="325" y="105"/>
                        <a:pt x="325" y="105"/>
                      </a:cubicBezTo>
                      <a:cubicBezTo>
                        <a:pt x="325" y="104"/>
                        <a:pt x="325" y="104"/>
                        <a:pt x="325" y="104"/>
                      </a:cubicBezTo>
                      <a:close/>
                      <a:moveTo>
                        <a:pt x="323" y="105"/>
                      </a:moveTo>
                      <a:cubicBezTo>
                        <a:pt x="324" y="105"/>
                        <a:pt x="324" y="105"/>
                        <a:pt x="324" y="105"/>
                      </a:cubicBezTo>
                      <a:cubicBezTo>
                        <a:pt x="324" y="105"/>
                        <a:pt x="324" y="105"/>
                        <a:pt x="324" y="105"/>
                      </a:cubicBezTo>
                      <a:cubicBezTo>
                        <a:pt x="323" y="105"/>
                        <a:pt x="323" y="105"/>
                        <a:pt x="323" y="105"/>
                      </a:cubicBezTo>
                      <a:cubicBezTo>
                        <a:pt x="323" y="105"/>
                        <a:pt x="323" y="105"/>
                        <a:pt x="323" y="105"/>
                      </a:cubicBezTo>
                      <a:close/>
                      <a:moveTo>
                        <a:pt x="318" y="106"/>
                      </a:moveTo>
                      <a:cubicBezTo>
                        <a:pt x="320" y="105"/>
                        <a:pt x="320" y="105"/>
                        <a:pt x="320" y="105"/>
                      </a:cubicBezTo>
                      <a:cubicBezTo>
                        <a:pt x="321" y="104"/>
                        <a:pt x="321" y="104"/>
                        <a:pt x="321" y="104"/>
                      </a:cubicBezTo>
                      <a:cubicBezTo>
                        <a:pt x="322" y="105"/>
                        <a:pt x="322" y="105"/>
                        <a:pt x="322" y="105"/>
                      </a:cubicBezTo>
                      <a:cubicBezTo>
                        <a:pt x="321" y="107"/>
                        <a:pt x="321" y="107"/>
                        <a:pt x="321" y="107"/>
                      </a:cubicBezTo>
                      <a:cubicBezTo>
                        <a:pt x="321" y="106"/>
                        <a:pt x="321" y="106"/>
                        <a:pt x="321" y="106"/>
                      </a:cubicBezTo>
                      <a:cubicBezTo>
                        <a:pt x="319" y="107"/>
                        <a:pt x="319" y="107"/>
                        <a:pt x="319" y="107"/>
                      </a:cubicBezTo>
                      <a:cubicBezTo>
                        <a:pt x="318" y="106"/>
                        <a:pt x="318" y="106"/>
                        <a:pt x="318" y="106"/>
                      </a:cubicBezTo>
                      <a:close/>
                      <a:moveTo>
                        <a:pt x="317" y="99"/>
                      </a:moveTo>
                      <a:cubicBezTo>
                        <a:pt x="316" y="101"/>
                        <a:pt x="316" y="101"/>
                        <a:pt x="316" y="101"/>
                      </a:cubicBezTo>
                      <a:cubicBezTo>
                        <a:pt x="317" y="101"/>
                        <a:pt x="317" y="101"/>
                        <a:pt x="317" y="101"/>
                      </a:cubicBezTo>
                      <a:cubicBezTo>
                        <a:pt x="317" y="99"/>
                        <a:pt x="317" y="99"/>
                        <a:pt x="317" y="99"/>
                      </a:cubicBezTo>
                      <a:close/>
                      <a:moveTo>
                        <a:pt x="319" y="97"/>
                      </a:moveTo>
                      <a:cubicBezTo>
                        <a:pt x="318" y="98"/>
                        <a:pt x="318" y="98"/>
                        <a:pt x="318" y="98"/>
                      </a:cubicBezTo>
                      <a:cubicBezTo>
                        <a:pt x="318" y="98"/>
                        <a:pt x="318" y="98"/>
                        <a:pt x="318" y="98"/>
                      </a:cubicBezTo>
                      <a:cubicBezTo>
                        <a:pt x="319" y="98"/>
                        <a:pt x="319" y="98"/>
                        <a:pt x="319" y="98"/>
                      </a:cubicBezTo>
                      <a:cubicBezTo>
                        <a:pt x="319" y="97"/>
                        <a:pt x="319" y="97"/>
                        <a:pt x="319" y="97"/>
                      </a:cubicBezTo>
                      <a:close/>
                      <a:moveTo>
                        <a:pt x="320" y="103"/>
                      </a:moveTo>
                      <a:cubicBezTo>
                        <a:pt x="322" y="100"/>
                        <a:pt x="322" y="100"/>
                        <a:pt x="322" y="100"/>
                      </a:cubicBezTo>
                      <a:cubicBezTo>
                        <a:pt x="323" y="102"/>
                        <a:pt x="323" y="102"/>
                        <a:pt x="323" y="102"/>
                      </a:cubicBezTo>
                      <a:cubicBezTo>
                        <a:pt x="324" y="103"/>
                        <a:pt x="324" y="103"/>
                        <a:pt x="324" y="103"/>
                      </a:cubicBezTo>
                      <a:cubicBezTo>
                        <a:pt x="326" y="103"/>
                        <a:pt x="326" y="103"/>
                        <a:pt x="326" y="103"/>
                      </a:cubicBezTo>
                      <a:cubicBezTo>
                        <a:pt x="327" y="101"/>
                        <a:pt x="327" y="101"/>
                        <a:pt x="327" y="101"/>
                      </a:cubicBezTo>
                      <a:cubicBezTo>
                        <a:pt x="329" y="101"/>
                        <a:pt x="329" y="101"/>
                        <a:pt x="329" y="101"/>
                      </a:cubicBezTo>
                      <a:cubicBezTo>
                        <a:pt x="330" y="103"/>
                        <a:pt x="330" y="103"/>
                        <a:pt x="330" y="103"/>
                      </a:cubicBezTo>
                      <a:cubicBezTo>
                        <a:pt x="334" y="103"/>
                        <a:pt x="334" y="103"/>
                        <a:pt x="334" y="103"/>
                      </a:cubicBezTo>
                      <a:cubicBezTo>
                        <a:pt x="335" y="102"/>
                        <a:pt x="335" y="102"/>
                        <a:pt x="335" y="102"/>
                      </a:cubicBezTo>
                      <a:cubicBezTo>
                        <a:pt x="337" y="102"/>
                        <a:pt x="337" y="102"/>
                        <a:pt x="337" y="102"/>
                      </a:cubicBezTo>
                      <a:cubicBezTo>
                        <a:pt x="340" y="104"/>
                        <a:pt x="340" y="104"/>
                        <a:pt x="340" y="104"/>
                      </a:cubicBezTo>
                      <a:cubicBezTo>
                        <a:pt x="342" y="105"/>
                        <a:pt x="342" y="105"/>
                        <a:pt x="342" y="105"/>
                      </a:cubicBezTo>
                      <a:cubicBezTo>
                        <a:pt x="344" y="107"/>
                        <a:pt x="344" y="107"/>
                        <a:pt x="344" y="107"/>
                      </a:cubicBezTo>
                      <a:cubicBezTo>
                        <a:pt x="346" y="107"/>
                        <a:pt x="346" y="107"/>
                        <a:pt x="346" y="107"/>
                      </a:cubicBezTo>
                      <a:cubicBezTo>
                        <a:pt x="347" y="105"/>
                        <a:pt x="347" y="105"/>
                        <a:pt x="347" y="105"/>
                      </a:cubicBezTo>
                      <a:cubicBezTo>
                        <a:pt x="346" y="102"/>
                        <a:pt x="346" y="102"/>
                        <a:pt x="346" y="102"/>
                      </a:cubicBezTo>
                      <a:cubicBezTo>
                        <a:pt x="341" y="99"/>
                        <a:pt x="341" y="99"/>
                        <a:pt x="341" y="99"/>
                      </a:cubicBezTo>
                      <a:cubicBezTo>
                        <a:pt x="337" y="98"/>
                        <a:pt x="337" y="98"/>
                        <a:pt x="337" y="98"/>
                      </a:cubicBezTo>
                      <a:cubicBezTo>
                        <a:pt x="335" y="96"/>
                        <a:pt x="335" y="96"/>
                        <a:pt x="335" y="96"/>
                      </a:cubicBezTo>
                      <a:cubicBezTo>
                        <a:pt x="333" y="96"/>
                        <a:pt x="333" y="96"/>
                        <a:pt x="333" y="96"/>
                      </a:cubicBezTo>
                      <a:cubicBezTo>
                        <a:pt x="332" y="98"/>
                        <a:pt x="332" y="98"/>
                        <a:pt x="332" y="98"/>
                      </a:cubicBezTo>
                      <a:cubicBezTo>
                        <a:pt x="330" y="98"/>
                        <a:pt x="330" y="98"/>
                        <a:pt x="330" y="98"/>
                      </a:cubicBezTo>
                      <a:cubicBezTo>
                        <a:pt x="328" y="97"/>
                        <a:pt x="328" y="97"/>
                        <a:pt x="328" y="97"/>
                      </a:cubicBezTo>
                      <a:cubicBezTo>
                        <a:pt x="325" y="97"/>
                        <a:pt x="325" y="97"/>
                        <a:pt x="325" y="97"/>
                      </a:cubicBezTo>
                      <a:cubicBezTo>
                        <a:pt x="321" y="97"/>
                        <a:pt x="321" y="97"/>
                        <a:pt x="321" y="97"/>
                      </a:cubicBezTo>
                      <a:cubicBezTo>
                        <a:pt x="321" y="98"/>
                        <a:pt x="321" y="98"/>
                        <a:pt x="321" y="98"/>
                      </a:cubicBezTo>
                      <a:cubicBezTo>
                        <a:pt x="320" y="99"/>
                        <a:pt x="320" y="99"/>
                        <a:pt x="320" y="99"/>
                      </a:cubicBezTo>
                      <a:cubicBezTo>
                        <a:pt x="319" y="100"/>
                        <a:pt x="319" y="100"/>
                        <a:pt x="319" y="100"/>
                      </a:cubicBezTo>
                      <a:cubicBezTo>
                        <a:pt x="318" y="102"/>
                        <a:pt x="318" y="102"/>
                        <a:pt x="318" y="102"/>
                      </a:cubicBezTo>
                      <a:cubicBezTo>
                        <a:pt x="319" y="103"/>
                        <a:pt x="319" y="103"/>
                        <a:pt x="319" y="103"/>
                      </a:cubicBezTo>
                      <a:cubicBezTo>
                        <a:pt x="320" y="103"/>
                        <a:pt x="320" y="103"/>
                        <a:pt x="320" y="103"/>
                      </a:cubicBezTo>
                      <a:close/>
                      <a:moveTo>
                        <a:pt x="301" y="100"/>
                      </a:moveTo>
                      <a:cubicBezTo>
                        <a:pt x="302" y="101"/>
                        <a:pt x="302" y="101"/>
                        <a:pt x="302" y="101"/>
                      </a:cubicBezTo>
                      <a:cubicBezTo>
                        <a:pt x="304" y="99"/>
                        <a:pt x="304" y="99"/>
                        <a:pt x="304" y="99"/>
                      </a:cubicBezTo>
                      <a:cubicBezTo>
                        <a:pt x="308" y="99"/>
                        <a:pt x="308" y="99"/>
                        <a:pt x="308" y="99"/>
                      </a:cubicBezTo>
                      <a:cubicBezTo>
                        <a:pt x="310" y="101"/>
                        <a:pt x="310" y="101"/>
                        <a:pt x="310" y="101"/>
                      </a:cubicBezTo>
                      <a:cubicBezTo>
                        <a:pt x="311" y="102"/>
                        <a:pt x="311" y="102"/>
                        <a:pt x="311" y="102"/>
                      </a:cubicBezTo>
                      <a:cubicBezTo>
                        <a:pt x="312" y="104"/>
                        <a:pt x="312" y="104"/>
                        <a:pt x="312" y="104"/>
                      </a:cubicBezTo>
                      <a:cubicBezTo>
                        <a:pt x="312" y="105"/>
                        <a:pt x="312" y="105"/>
                        <a:pt x="312" y="105"/>
                      </a:cubicBezTo>
                      <a:cubicBezTo>
                        <a:pt x="310" y="105"/>
                        <a:pt x="310" y="105"/>
                        <a:pt x="310" y="105"/>
                      </a:cubicBezTo>
                      <a:cubicBezTo>
                        <a:pt x="309" y="107"/>
                        <a:pt x="309" y="107"/>
                        <a:pt x="309" y="107"/>
                      </a:cubicBezTo>
                      <a:cubicBezTo>
                        <a:pt x="306" y="107"/>
                        <a:pt x="306" y="107"/>
                        <a:pt x="306" y="107"/>
                      </a:cubicBezTo>
                      <a:cubicBezTo>
                        <a:pt x="304" y="107"/>
                        <a:pt x="304" y="107"/>
                        <a:pt x="304" y="107"/>
                      </a:cubicBezTo>
                      <a:cubicBezTo>
                        <a:pt x="303" y="106"/>
                        <a:pt x="303" y="106"/>
                        <a:pt x="303" y="106"/>
                      </a:cubicBezTo>
                      <a:cubicBezTo>
                        <a:pt x="300" y="106"/>
                        <a:pt x="300" y="106"/>
                        <a:pt x="300" y="106"/>
                      </a:cubicBezTo>
                      <a:cubicBezTo>
                        <a:pt x="299" y="104"/>
                        <a:pt x="299" y="104"/>
                        <a:pt x="299" y="104"/>
                      </a:cubicBezTo>
                      <a:cubicBezTo>
                        <a:pt x="299" y="101"/>
                        <a:pt x="299" y="101"/>
                        <a:pt x="299" y="101"/>
                      </a:cubicBezTo>
                      <a:cubicBezTo>
                        <a:pt x="301" y="100"/>
                        <a:pt x="301" y="100"/>
                        <a:pt x="301" y="100"/>
                      </a:cubicBezTo>
                      <a:close/>
                      <a:moveTo>
                        <a:pt x="247" y="141"/>
                      </a:moveTo>
                      <a:cubicBezTo>
                        <a:pt x="246" y="140"/>
                        <a:pt x="246" y="140"/>
                        <a:pt x="246" y="140"/>
                      </a:cubicBezTo>
                      <a:cubicBezTo>
                        <a:pt x="245" y="141"/>
                        <a:pt x="245" y="141"/>
                        <a:pt x="245" y="141"/>
                      </a:cubicBezTo>
                      <a:cubicBezTo>
                        <a:pt x="246" y="142"/>
                        <a:pt x="246" y="142"/>
                        <a:pt x="246" y="142"/>
                      </a:cubicBezTo>
                      <a:cubicBezTo>
                        <a:pt x="247" y="141"/>
                        <a:pt x="247" y="141"/>
                        <a:pt x="247" y="141"/>
                      </a:cubicBezTo>
                      <a:close/>
                      <a:moveTo>
                        <a:pt x="245" y="127"/>
                      </a:moveTo>
                      <a:cubicBezTo>
                        <a:pt x="247" y="130"/>
                        <a:pt x="247" y="130"/>
                        <a:pt x="247" y="130"/>
                      </a:cubicBezTo>
                      <a:cubicBezTo>
                        <a:pt x="246" y="132"/>
                        <a:pt x="246" y="132"/>
                        <a:pt x="246" y="132"/>
                      </a:cubicBezTo>
                      <a:cubicBezTo>
                        <a:pt x="245" y="134"/>
                        <a:pt x="245" y="134"/>
                        <a:pt x="245" y="134"/>
                      </a:cubicBezTo>
                      <a:cubicBezTo>
                        <a:pt x="245" y="132"/>
                        <a:pt x="245" y="132"/>
                        <a:pt x="245" y="132"/>
                      </a:cubicBezTo>
                      <a:cubicBezTo>
                        <a:pt x="244" y="131"/>
                        <a:pt x="244" y="131"/>
                        <a:pt x="244" y="131"/>
                      </a:cubicBezTo>
                      <a:cubicBezTo>
                        <a:pt x="245" y="129"/>
                        <a:pt x="245" y="129"/>
                        <a:pt x="245" y="129"/>
                      </a:cubicBezTo>
                      <a:cubicBezTo>
                        <a:pt x="245" y="128"/>
                        <a:pt x="245" y="128"/>
                        <a:pt x="245" y="128"/>
                      </a:cubicBezTo>
                      <a:cubicBezTo>
                        <a:pt x="245" y="127"/>
                        <a:pt x="245" y="127"/>
                        <a:pt x="245" y="127"/>
                      </a:cubicBezTo>
                      <a:close/>
                      <a:moveTo>
                        <a:pt x="299" y="89"/>
                      </a:moveTo>
                      <a:cubicBezTo>
                        <a:pt x="299" y="90"/>
                        <a:pt x="299" y="90"/>
                        <a:pt x="299" y="90"/>
                      </a:cubicBezTo>
                      <a:cubicBezTo>
                        <a:pt x="300" y="92"/>
                        <a:pt x="300" y="92"/>
                        <a:pt x="300" y="92"/>
                      </a:cubicBezTo>
                      <a:cubicBezTo>
                        <a:pt x="300" y="93"/>
                        <a:pt x="300" y="93"/>
                        <a:pt x="300" y="93"/>
                      </a:cubicBezTo>
                      <a:cubicBezTo>
                        <a:pt x="299" y="93"/>
                        <a:pt x="299" y="93"/>
                        <a:pt x="299" y="93"/>
                      </a:cubicBezTo>
                      <a:cubicBezTo>
                        <a:pt x="299" y="91"/>
                        <a:pt x="299" y="91"/>
                        <a:pt x="299" y="91"/>
                      </a:cubicBezTo>
                      <a:cubicBezTo>
                        <a:pt x="298" y="89"/>
                        <a:pt x="298" y="89"/>
                        <a:pt x="298" y="89"/>
                      </a:cubicBezTo>
                      <a:cubicBezTo>
                        <a:pt x="299" y="89"/>
                        <a:pt x="299" y="89"/>
                        <a:pt x="299" y="89"/>
                      </a:cubicBezTo>
                      <a:close/>
                      <a:moveTo>
                        <a:pt x="294" y="86"/>
                      </a:moveTo>
                      <a:cubicBezTo>
                        <a:pt x="295" y="86"/>
                        <a:pt x="295" y="86"/>
                        <a:pt x="295" y="86"/>
                      </a:cubicBezTo>
                      <a:cubicBezTo>
                        <a:pt x="296" y="86"/>
                        <a:pt x="296" y="86"/>
                        <a:pt x="296" y="86"/>
                      </a:cubicBezTo>
                      <a:cubicBezTo>
                        <a:pt x="297" y="86"/>
                        <a:pt x="297" y="86"/>
                        <a:pt x="297" y="86"/>
                      </a:cubicBezTo>
                      <a:cubicBezTo>
                        <a:pt x="301" y="86"/>
                        <a:pt x="301" y="86"/>
                        <a:pt x="301" y="86"/>
                      </a:cubicBezTo>
                      <a:cubicBezTo>
                        <a:pt x="303" y="87"/>
                        <a:pt x="303" y="87"/>
                        <a:pt x="303" y="87"/>
                      </a:cubicBezTo>
                      <a:cubicBezTo>
                        <a:pt x="301" y="87"/>
                        <a:pt x="301" y="87"/>
                        <a:pt x="301" y="87"/>
                      </a:cubicBezTo>
                      <a:cubicBezTo>
                        <a:pt x="296" y="88"/>
                        <a:pt x="296" y="88"/>
                        <a:pt x="296" y="88"/>
                      </a:cubicBezTo>
                      <a:cubicBezTo>
                        <a:pt x="294" y="88"/>
                        <a:pt x="294" y="88"/>
                        <a:pt x="294" y="88"/>
                      </a:cubicBezTo>
                      <a:cubicBezTo>
                        <a:pt x="294" y="87"/>
                        <a:pt x="294" y="87"/>
                        <a:pt x="294" y="87"/>
                      </a:cubicBezTo>
                      <a:cubicBezTo>
                        <a:pt x="294" y="86"/>
                        <a:pt x="294" y="86"/>
                        <a:pt x="294" y="86"/>
                      </a:cubicBezTo>
                      <a:close/>
                      <a:moveTo>
                        <a:pt x="284" y="86"/>
                      </a:moveTo>
                      <a:cubicBezTo>
                        <a:pt x="285" y="85"/>
                        <a:pt x="285" y="85"/>
                        <a:pt x="285" y="85"/>
                      </a:cubicBezTo>
                      <a:cubicBezTo>
                        <a:pt x="286" y="85"/>
                        <a:pt x="286" y="85"/>
                        <a:pt x="286" y="85"/>
                      </a:cubicBezTo>
                      <a:cubicBezTo>
                        <a:pt x="287" y="85"/>
                        <a:pt x="287" y="85"/>
                        <a:pt x="287" y="85"/>
                      </a:cubicBezTo>
                      <a:cubicBezTo>
                        <a:pt x="289" y="85"/>
                        <a:pt x="289" y="85"/>
                        <a:pt x="289" y="85"/>
                      </a:cubicBezTo>
                      <a:cubicBezTo>
                        <a:pt x="290" y="86"/>
                        <a:pt x="290" y="86"/>
                        <a:pt x="290" y="86"/>
                      </a:cubicBezTo>
                      <a:cubicBezTo>
                        <a:pt x="292" y="85"/>
                        <a:pt x="292" y="85"/>
                        <a:pt x="292" y="85"/>
                      </a:cubicBezTo>
                      <a:cubicBezTo>
                        <a:pt x="293" y="86"/>
                        <a:pt x="293" y="86"/>
                        <a:pt x="293" y="86"/>
                      </a:cubicBezTo>
                      <a:cubicBezTo>
                        <a:pt x="293" y="87"/>
                        <a:pt x="293" y="87"/>
                        <a:pt x="293" y="87"/>
                      </a:cubicBezTo>
                      <a:cubicBezTo>
                        <a:pt x="291" y="87"/>
                        <a:pt x="291" y="87"/>
                        <a:pt x="291" y="87"/>
                      </a:cubicBezTo>
                      <a:cubicBezTo>
                        <a:pt x="290" y="88"/>
                        <a:pt x="290" y="88"/>
                        <a:pt x="290" y="88"/>
                      </a:cubicBezTo>
                      <a:cubicBezTo>
                        <a:pt x="288" y="88"/>
                        <a:pt x="288" y="88"/>
                        <a:pt x="288" y="88"/>
                      </a:cubicBezTo>
                      <a:cubicBezTo>
                        <a:pt x="286" y="89"/>
                        <a:pt x="286" y="89"/>
                        <a:pt x="286" y="89"/>
                      </a:cubicBezTo>
                      <a:cubicBezTo>
                        <a:pt x="284" y="89"/>
                        <a:pt x="284" y="89"/>
                        <a:pt x="284" y="89"/>
                      </a:cubicBezTo>
                      <a:cubicBezTo>
                        <a:pt x="284" y="87"/>
                        <a:pt x="284" y="87"/>
                        <a:pt x="284" y="87"/>
                      </a:cubicBezTo>
                      <a:cubicBezTo>
                        <a:pt x="284" y="86"/>
                        <a:pt x="284" y="86"/>
                        <a:pt x="284" y="86"/>
                      </a:cubicBezTo>
                      <a:close/>
                      <a:moveTo>
                        <a:pt x="267" y="123"/>
                      </a:moveTo>
                      <a:cubicBezTo>
                        <a:pt x="269" y="120"/>
                        <a:pt x="269" y="120"/>
                        <a:pt x="269" y="120"/>
                      </a:cubicBezTo>
                      <a:cubicBezTo>
                        <a:pt x="269" y="117"/>
                        <a:pt x="269" y="117"/>
                        <a:pt x="269" y="117"/>
                      </a:cubicBezTo>
                      <a:cubicBezTo>
                        <a:pt x="270" y="114"/>
                        <a:pt x="270" y="114"/>
                        <a:pt x="270" y="114"/>
                      </a:cubicBezTo>
                      <a:cubicBezTo>
                        <a:pt x="270" y="113"/>
                        <a:pt x="270" y="113"/>
                        <a:pt x="270" y="113"/>
                      </a:cubicBezTo>
                      <a:cubicBezTo>
                        <a:pt x="272" y="113"/>
                        <a:pt x="272" y="113"/>
                        <a:pt x="272" y="113"/>
                      </a:cubicBezTo>
                      <a:cubicBezTo>
                        <a:pt x="272" y="115"/>
                        <a:pt x="272" y="115"/>
                        <a:pt x="272" y="115"/>
                      </a:cubicBezTo>
                      <a:cubicBezTo>
                        <a:pt x="272" y="116"/>
                        <a:pt x="272" y="116"/>
                        <a:pt x="272" y="116"/>
                      </a:cubicBezTo>
                      <a:cubicBezTo>
                        <a:pt x="272" y="117"/>
                        <a:pt x="272" y="117"/>
                        <a:pt x="272" y="117"/>
                      </a:cubicBezTo>
                      <a:cubicBezTo>
                        <a:pt x="272" y="116"/>
                        <a:pt x="272" y="116"/>
                        <a:pt x="272" y="116"/>
                      </a:cubicBezTo>
                      <a:cubicBezTo>
                        <a:pt x="271" y="117"/>
                        <a:pt x="271" y="117"/>
                        <a:pt x="271" y="117"/>
                      </a:cubicBezTo>
                      <a:cubicBezTo>
                        <a:pt x="270" y="118"/>
                        <a:pt x="270" y="118"/>
                        <a:pt x="270" y="118"/>
                      </a:cubicBezTo>
                      <a:cubicBezTo>
                        <a:pt x="270" y="119"/>
                        <a:pt x="270" y="119"/>
                        <a:pt x="270" y="119"/>
                      </a:cubicBezTo>
                      <a:cubicBezTo>
                        <a:pt x="270" y="120"/>
                        <a:pt x="270" y="120"/>
                        <a:pt x="270" y="120"/>
                      </a:cubicBezTo>
                      <a:cubicBezTo>
                        <a:pt x="272" y="121"/>
                        <a:pt x="272" y="121"/>
                        <a:pt x="272" y="121"/>
                      </a:cubicBezTo>
                      <a:cubicBezTo>
                        <a:pt x="272" y="121"/>
                        <a:pt x="272" y="121"/>
                        <a:pt x="272" y="121"/>
                      </a:cubicBezTo>
                      <a:cubicBezTo>
                        <a:pt x="271" y="122"/>
                        <a:pt x="271" y="122"/>
                        <a:pt x="271" y="122"/>
                      </a:cubicBezTo>
                      <a:cubicBezTo>
                        <a:pt x="270" y="123"/>
                        <a:pt x="270" y="123"/>
                        <a:pt x="270" y="123"/>
                      </a:cubicBezTo>
                      <a:cubicBezTo>
                        <a:pt x="269" y="125"/>
                        <a:pt x="269" y="125"/>
                        <a:pt x="269" y="125"/>
                      </a:cubicBezTo>
                      <a:cubicBezTo>
                        <a:pt x="268" y="125"/>
                        <a:pt x="268" y="125"/>
                        <a:pt x="268" y="125"/>
                      </a:cubicBezTo>
                      <a:cubicBezTo>
                        <a:pt x="267" y="125"/>
                        <a:pt x="267" y="125"/>
                        <a:pt x="267" y="125"/>
                      </a:cubicBezTo>
                      <a:cubicBezTo>
                        <a:pt x="267" y="123"/>
                        <a:pt x="267" y="123"/>
                        <a:pt x="267" y="123"/>
                      </a:cubicBezTo>
                      <a:close/>
                      <a:moveTo>
                        <a:pt x="262" y="121"/>
                      </a:moveTo>
                      <a:cubicBezTo>
                        <a:pt x="262" y="121"/>
                        <a:pt x="262" y="122"/>
                        <a:pt x="262" y="122"/>
                      </a:cubicBezTo>
                      <a:cubicBezTo>
                        <a:pt x="263" y="123"/>
                        <a:pt x="263" y="123"/>
                        <a:pt x="263" y="123"/>
                      </a:cubicBezTo>
                      <a:cubicBezTo>
                        <a:pt x="265" y="122"/>
                        <a:pt x="265" y="122"/>
                        <a:pt x="265" y="122"/>
                      </a:cubicBezTo>
                      <a:cubicBezTo>
                        <a:pt x="265" y="122"/>
                        <a:pt x="265" y="122"/>
                        <a:pt x="265" y="122"/>
                      </a:cubicBezTo>
                      <a:cubicBezTo>
                        <a:pt x="266" y="121"/>
                        <a:pt x="266" y="121"/>
                        <a:pt x="266" y="121"/>
                      </a:cubicBezTo>
                      <a:cubicBezTo>
                        <a:pt x="266" y="120"/>
                        <a:pt x="266" y="120"/>
                        <a:pt x="266" y="120"/>
                      </a:cubicBezTo>
                      <a:cubicBezTo>
                        <a:pt x="267" y="118"/>
                        <a:pt x="267" y="118"/>
                        <a:pt x="267" y="118"/>
                      </a:cubicBezTo>
                      <a:cubicBezTo>
                        <a:pt x="267" y="117"/>
                        <a:pt x="267" y="117"/>
                        <a:pt x="267" y="117"/>
                      </a:cubicBezTo>
                      <a:cubicBezTo>
                        <a:pt x="267" y="116"/>
                        <a:pt x="267" y="116"/>
                        <a:pt x="267" y="116"/>
                      </a:cubicBezTo>
                      <a:cubicBezTo>
                        <a:pt x="265" y="117"/>
                        <a:pt x="265" y="117"/>
                        <a:pt x="265" y="117"/>
                      </a:cubicBezTo>
                      <a:cubicBezTo>
                        <a:pt x="264" y="118"/>
                        <a:pt x="264" y="118"/>
                        <a:pt x="264" y="118"/>
                      </a:cubicBezTo>
                      <a:cubicBezTo>
                        <a:pt x="264" y="119"/>
                        <a:pt x="264" y="119"/>
                        <a:pt x="264" y="119"/>
                      </a:cubicBezTo>
                      <a:cubicBezTo>
                        <a:pt x="262" y="121"/>
                        <a:pt x="262" y="121"/>
                        <a:pt x="262" y="121"/>
                      </a:cubicBezTo>
                      <a:close/>
                      <a:moveTo>
                        <a:pt x="258" y="120"/>
                      </a:moveTo>
                      <a:cubicBezTo>
                        <a:pt x="258" y="121"/>
                        <a:pt x="258" y="121"/>
                        <a:pt x="258" y="121"/>
                      </a:cubicBezTo>
                      <a:cubicBezTo>
                        <a:pt x="258" y="121"/>
                        <a:pt x="258" y="121"/>
                        <a:pt x="258" y="121"/>
                      </a:cubicBezTo>
                      <a:cubicBezTo>
                        <a:pt x="258" y="124"/>
                        <a:pt x="258" y="124"/>
                        <a:pt x="258" y="124"/>
                      </a:cubicBezTo>
                      <a:cubicBezTo>
                        <a:pt x="259" y="124"/>
                        <a:pt x="259" y="124"/>
                        <a:pt x="259" y="124"/>
                      </a:cubicBezTo>
                      <a:cubicBezTo>
                        <a:pt x="260" y="123"/>
                        <a:pt x="260" y="123"/>
                        <a:pt x="260" y="123"/>
                      </a:cubicBezTo>
                      <a:cubicBezTo>
                        <a:pt x="260" y="121"/>
                        <a:pt x="260" y="121"/>
                        <a:pt x="260" y="121"/>
                      </a:cubicBezTo>
                      <a:cubicBezTo>
                        <a:pt x="259" y="119"/>
                        <a:pt x="259" y="119"/>
                        <a:pt x="259" y="119"/>
                      </a:cubicBezTo>
                      <a:cubicBezTo>
                        <a:pt x="259" y="119"/>
                        <a:pt x="258" y="120"/>
                        <a:pt x="258" y="120"/>
                      </a:cubicBezTo>
                      <a:close/>
                      <a:moveTo>
                        <a:pt x="272" y="87"/>
                      </a:moveTo>
                      <a:cubicBezTo>
                        <a:pt x="271" y="88"/>
                        <a:pt x="271" y="88"/>
                        <a:pt x="271" y="88"/>
                      </a:cubicBezTo>
                      <a:cubicBezTo>
                        <a:pt x="272" y="88"/>
                        <a:pt x="272" y="88"/>
                        <a:pt x="272" y="88"/>
                      </a:cubicBezTo>
                      <a:cubicBezTo>
                        <a:pt x="272" y="88"/>
                        <a:pt x="272" y="87"/>
                        <a:pt x="272" y="87"/>
                      </a:cubicBezTo>
                      <a:close/>
                      <a:moveTo>
                        <a:pt x="274" y="86"/>
                      </a:moveTo>
                      <a:cubicBezTo>
                        <a:pt x="274" y="87"/>
                        <a:pt x="274" y="87"/>
                        <a:pt x="274" y="87"/>
                      </a:cubicBezTo>
                      <a:cubicBezTo>
                        <a:pt x="275" y="87"/>
                        <a:pt x="275" y="87"/>
                        <a:pt x="275" y="87"/>
                      </a:cubicBezTo>
                      <a:cubicBezTo>
                        <a:pt x="274" y="86"/>
                        <a:pt x="274" y="86"/>
                        <a:pt x="274" y="86"/>
                      </a:cubicBezTo>
                      <a:close/>
                      <a:moveTo>
                        <a:pt x="277" y="84"/>
                      </a:moveTo>
                      <a:cubicBezTo>
                        <a:pt x="276" y="85"/>
                        <a:pt x="276" y="85"/>
                        <a:pt x="276" y="85"/>
                      </a:cubicBezTo>
                      <a:cubicBezTo>
                        <a:pt x="277" y="85"/>
                        <a:pt x="277" y="85"/>
                        <a:pt x="277" y="85"/>
                      </a:cubicBezTo>
                      <a:cubicBezTo>
                        <a:pt x="277" y="84"/>
                        <a:pt x="277" y="84"/>
                        <a:pt x="277" y="84"/>
                      </a:cubicBezTo>
                      <a:close/>
                      <a:moveTo>
                        <a:pt x="269" y="82"/>
                      </a:moveTo>
                      <a:cubicBezTo>
                        <a:pt x="271" y="80"/>
                        <a:pt x="271" y="80"/>
                        <a:pt x="271" y="80"/>
                      </a:cubicBezTo>
                      <a:cubicBezTo>
                        <a:pt x="274" y="81"/>
                        <a:pt x="274" y="81"/>
                        <a:pt x="274" y="81"/>
                      </a:cubicBezTo>
                      <a:cubicBezTo>
                        <a:pt x="274" y="81"/>
                        <a:pt x="274" y="81"/>
                        <a:pt x="274" y="81"/>
                      </a:cubicBezTo>
                      <a:cubicBezTo>
                        <a:pt x="273" y="83"/>
                        <a:pt x="273" y="83"/>
                        <a:pt x="273" y="83"/>
                      </a:cubicBezTo>
                      <a:cubicBezTo>
                        <a:pt x="275" y="82"/>
                        <a:pt x="275" y="82"/>
                        <a:pt x="275" y="82"/>
                      </a:cubicBezTo>
                      <a:cubicBezTo>
                        <a:pt x="275" y="81"/>
                        <a:pt x="275" y="81"/>
                        <a:pt x="275" y="81"/>
                      </a:cubicBezTo>
                      <a:cubicBezTo>
                        <a:pt x="277" y="82"/>
                        <a:pt x="277" y="82"/>
                        <a:pt x="277" y="82"/>
                      </a:cubicBezTo>
                      <a:cubicBezTo>
                        <a:pt x="276" y="84"/>
                        <a:pt x="276" y="84"/>
                        <a:pt x="276" y="84"/>
                      </a:cubicBezTo>
                      <a:cubicBezTo>
                        <a:pt x="275" y="84"/>
                        <a:pt x="275" y="84"/>
                        <a:pt x="275" y="84"/>
                      </a:cubicBezTo>
                      <a:cubicBezTo>
                        <a:pt x="274" y="83"/>
                        <a:pt x="274" y="83"/>
                        <a:pt x="274" y="83"/>
                      </a:cubicBezTo>
                      <a:cubicBezTo>
                        <a:pt x="273" y="85"/>
                        <a:pt x="273" y="85"/>
                        <a:pt x="273" y="85"/>
                      </a:cubicBezTo>
                      <a:cubicBezTo>
                        <a:pt x="272" y="83"/>
                        <a:pt x="272" y="83"/>
                        <a:pt x="272" y="83"/>
                      </a:cubicBezTo>
                      <a:cubicBezTo>
                        <a:pt x="270" y="85"/>
                        <a:pt x="270" y="85"/>
                        <a:pt x="270" y="85"/>
                      </a:cubicBezTo>
                      <a:cubicBezTo>
                        <a:pt x="269" y="83"/>
                        <a:pt x="269" y="83"/>
                        <a:pt x="269" y="83"/>
                      </a:cubicBezTo>
                      <a:cubicBezTo>
                        <a:pt x="269" y="82"/>
                        <a:pt x="269" y="82"/>
                        <a:pt x="269" y="82"/>
                      </a:cubicBezTo>
                      <a:close/>
                      <a:moveTo>
                        <a:pt x="259" y="72"/>
                      </a:moveTo>
                      <a:cubicBezTo>
                        <a:pt x="260" y="73"/>
                        <a:pt x="260" y="73"/>
                        <a:pt x="260" y="73"/>
                      </a:cubicBezTo>
                      <a:cubicBezTo>
                        <a:pt x="260" y="71"/>
                        <a:pt x="260" y="71"/>
                        <a:pt x="260" y="71"/>
                      </a:cubicBezTo>
                      <a:cubicBezTo>
                        <a:pt x="260" y="71"/>
                        <a:pt x="259" y="72"/>
                        <a:pt x="259" y="72"/>
                      </a:cubicBezTo>
                      <a:close/>
                      <a:moveTo>
                        <a:pt x="257" y="72"/>
                      </a:moveTo>
                      <a:cubicBezTo>
                        <a:pt x="258" y="72"/>
                        <a:pt x="258" y="72"/>
                        <a:pt x="258" y="72"/>
                      </a:cubicBezTo>
                      <a:cubicBezTo>
                        <a:pt x="259" y="73"/>
                        <a:pt x="259" y="73"/>
                        <a:pt x="259" y="73"/>
                      </a:cubicBezTo>
                      <a:cubicBezTo>
                        <a:pt x="258" y="73"/>
                        <a:pt x="258" y="73"/>
                        <a:pt x="258" y="73"/>
                      </a:cubicBezTo>
                      <a:cubicBezTo>
                        <a:pt x="257" y="72"/>
                        <a:pt x="257" y="72"/>
                        <a:pt x="257" y="72"/>
                      </a:cubicBezTo>
                      <a:close/>
                      <a:moveTo>
                        <a:pt x="245" y="64"/>
                      </a:moveTo>
                      <a:cubicBezTo>
                        <a:pt x="247" y="63"/>
                        <a:pt x="247" y="63"/>
                        <a:pt x="247" y="63"/>
                      </a:cubicBezTo>
                      <a:cubicBezTo>
                        <a:pt x="250" y="64"/>
                        <a:pt x="250" y="64"/>
                        <a:pt x="250" y="64"/>
                      </a:cubicBezTo>
                      <a:cubicBezTo>
                        <a:pt x="253" y="64"/>
                        <a:pt x="253" y="64"/>
                        <a:pt x="253" y="64"/>
                      </a:cubicBezTo>
                      <a:cubicBezTo>
                        <a:pt x="257" y="62"/>
                        <a:pt x="257" y="62"/>
                        <a:pt x="257" y="62"/>
                      </a:cubicBezTo>
                      <a:cubicBezTo>
                        <a:pt x="259" y="63"/>
                        <a:pt x="259" y="63"/>
                        <a:pt x="259" y="63"/>
                      </a:cubicBezTo>
                      <a:cubicBezTo>
                        <a:pt x="260" y="64"/>
                        <a:pt x="260" y="64"/>
                        <a:pt x="260" y="64"/>
                      </a:cubicBezTo>
                      <a:cubicBezTo>
                        <a:pt x="262" y="64"/>
                        <a:pt x="262" y="64"/>
                        <a:pt x="262" y="64"/>
                      </a:cubicBezTo>
                      <a:cubicBezTo>
                        <a:pt x="263" y="63"/>
                        <a:pt x="263" y="63"/>
                        <a:pt x="263" y="63"/>
                      </a:cubicBezTo>
                      <a:cubicBezTo>
                        <a:pt x="267" y="64"/>
                        <a:pt x="267" y="64"/>
                        <a:pt x="267" y="64"/>
                      </a:cubicBezTo>
                      <a:cubicBezTo>
                        <a:pt x="269" y="64"/>
                        <a:pt x="269" y="64"/>
                        <a:pt x="269" y="64"/>
                      </a:cubicBezTo>
                      <a:cubicBezTo>
                        <a:pt x="270" y="63"/>
                        <a:pt x="270" y="63"/>
                        <a:pt x="270" y="63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273" y="64"/>
                        <a:pt x="273" y="64"/>
                        <a:pt x="273" y="64"/>
                      </a:cubicBezTo>
                      <a:cubicBezTo>
                        <a:pt x="274" y="65"/>
                        <a:pt x="274" y="65"/>
                        <a:pt x="274" y="65"/>
                      </a:cubicBezTo>
                      <a:cubicBezTo>
                        <a:pt x="276" y="66"/>
                        <a:pt x="276" y="66"/>
                        <a:pt x="276" y="66"/>
                      </a:cubicBezTo>
                      <a:cubicBezTo>
                        <a:pt x="283" y="64"/>
                        <a:pt x="283" y="64"/>
                        <a:pt x="283" y="64"/>
                      </a:cubicBezTo>
                      <a:cubicBezTo>
                        <a:pt x="286" y="62"/>
                        <a:pt x="286" y="62"/>
                        <a:pt x="286" y="62"/>
                      </a:cubicBezTo>
                      <a:cubicBezTo>
                        <a:pt x="287" y="60"/>
                        <a:pt x="287" y="60"/>
                        <a:pt x="287" y="60"/>
                      </a:cubicBezTo>
                      <a:cubicBezTo>
                        <a:pt x="288" y="60"/>
                        <a:pt x="288" y="60"/>
                        <a:pt x="288" y="60"/>
                      </a:cubicBezTo>
                      <a:cubicBezTo>
                        <a:pt x="289" y="59"/>
                        <a:pt x="289" y="59"/>
                        <a:pt x="289" y="59"/>
                      </a:cubicBezTo>
                      <a:cubicBezTo>
                        <a:pt x="291" y="58"/>
                        <a:pt x="291" y="58"/>
                        <a:pt x="291" y="58"/>
                      </a:cubicBezTo>
                      <a:cubicBezTo>
                        <a:pt x="291" y="56"/>
                        <a:pt x="291" y="56"/>
                        <a:pt x="291" y="56"/>
                      </a:cubicBezTo>
                      <a:cubicBezTo>
                        <a:pt x="292" y="55"/>
                        <a:pt x="292" y="55"/>
                        <a:pt x="292" y="55"/>
                      </a:cubicBezTo>
                      <a:cubicBezTo>
                        <a:pt x="293" y="54"/>
                        <a:pt x="293" y="54"/>
                        <a:pt x="293" y="54"/>
                      </a:cubicBezTo>
                      <a:cubicBezTo>
                        <a:pt x="292" y="53"/>
                        <a:pt x="292" y="53"/>
                        <a:pt x="292" y="53"/>
                      </a:cubicBezTo>
                      <a:cubicBezTo>
                        <a:pt x="292" y="52"/>
                        <a:pt x="292" y="52"/>
                        <a:pt x="292" y="52"/>
                      </a:cubicBezTo>
                      <a:cubicBezTo>
                        <a:pt x="289" y="51"/>
                        <a:pt x="289" y="51"/>
                        <a:pt x="289" y="51"/>
                      </a:cubicBezTo>
                      <a:cubicBezTo>
                        <a:pt x="287" y="52"/>
                        <a:pt x="287" y="52"/>
                        <a:pt x="287" y="52"/>
                      </a:cubicBezTo>
                      <a:cubicBezTo>
                        <a:pt x="287" y="54"/>
                        <a:pt x="287" y="54"/>
                        <a:pt x="287" y="54"/>
                      </a:cubicBezTo>
                      <a:cubicBezTo>
                        <a:pt x="286" y="55"/>
                        <a:pt x="286" y="55"/>
                        <a:pt x="286" y="55"/>
                      </a:cubicBezTo>
                      <a:cubicBezTo>
                        <a:pt x="285" y="56"/>
                        <a:pt x="285" y="56"/>
                        <a:pt x="285" y="56"/>
                      </a:cubicBezTo>
                      <a:cubicBezTo>
                        <a:pt x="283" y="57"/>
                        <a:pt x="283" y="57"/>
                        <a:pt x="283" y="57"/>
                      </a:cubicBezTo>
                      <a:cubicBezTo>
                        <a:pt x="282" y="58"/>
                        <a:pt x="282" y="58"/>
                        <a:pt x="282" y="58"/>
                      </a:cubicBezTo>
                      <a:cubicBezTo>
                        <a:pt x="281" y="59"/>
                        <a:pt x="281" y="59"/>
                        <a:pt x="281" y="59"/>
                      </a:cubicBezTo>
                      <a:cubicBezTo>
                        <a:pt x="279" y="60"/>
                        <a:pt x="279" y="60"/>
                        <a:pt x="279" y="60"/>
                      </a:cubicBezTo>
                      <a:cubicBezTo>
                        <a:pt x="274" y="59"/>
                        <a:pt x="274" y="59"/>
                        <a:pt x="274" y="59"/>
                      </a:cubicBezTo>
                      <a:cubicBezTo>
                        <a:pt x="270" y="58"/>
                        <a:pt x="270" y="58"/>
                        <a:pt x="270" y="58"/>
                      </a:cubicBezTo>
                      <a:cubicBezTo>
                        <a:pt x="269" y="59"/>
                        <a:pt x="269" y="59"/>
                        <a:pt x="269" y="59"/>
                      </a:cubicBezTo>
                      <a:cubicBezTo>
                        <a:pt x="268" y="60"/>
                        <a:pt x="268" y="60"/>
                        <a:pt x="268" y="60"/>
                      </a:cubicBezTo>
                      <a:cubicBezTo>
                        <a:pt x="267" y="58"/>
                        <a:pt x="267" y="58"/>
                        <a:pt x="267" y="58"/>
                      </a:cubicBezTo>
                      <a:cubicBezTo>
                        <a:pt x="265" y="58"/>
                        <a:pt x="265" y="58"/>
                        <a:pt x="265" y="58"/>
                      </a:cubicBezTo>
                      <a:cubicBezTo>
                        <a:pt x="263" y="58"/>
                        <a:pt x="263" y="58"/>
                        <a:pt x="263" y="58"/>
                      </a:cubicBezTo>
                      <a:cubicBezTo>
                        <a:pt x="262" y="57"/>
                        <a:pt x="262" y="57"/>
                        <a:pt x="262" y="57"/>
                      </a:cubicBezTo>
                      <a:cubicBezTo>
                        <a:pt x="259" y="57"/>
                        <a:pt x="259" y="57"/>
                        <a:pt x="259" y="57"/>
                      </a:cubicBezTo>
                      <a:cubicBezTo>
                        <a:pt x="258" y="58"/>
                        <a:pt x="258" y="58"/>
                        <a:pt x="258" y="58"/>
                      </a:cubicBezTo>
                      <a:cubicBezTo>
                        <a:pt x="256" y="57"/>
                        <a:pt x="256" y="57"/>
                        <a:pt x="256" y="57"/>
                      </a:cubicBezTo>
                      <a:cubicBezTo>
                        <a:pt x="254" y="55"/>
                        <a:pt x="254" y="55"/>
                        <a:pt x="254" y="55"/>
                      </a:cubicBezTo>
                      <a:cubicBezTo>
                        <a:pt x="252" y="54"/>
                        <a:pt x="252" y="54"/>
                        <a:pt x="252" y="54"/>
                      </a:cubicBezTo>
                      <a:cubicBezTo>
                        <a:pt x="250" y="55"/>
                        <a:pt x="250" y="55"/>
                        <a:pt x="250" y="55"/>
                      </a:cubicBezTo>
                      <a:cubicBezTo>
                        <a:pt x="250" y="57"/>
                        <a:pt x="250" y="57"/>
                        <a:pt x="250" y="57"/>
                      </a:cubicBezTo>
                      <a:cubicBezTo>
                        <a:pt x="248" y="58"/>
                        <a:pt x="248" y="58"/>
                        <a:pt x="248" y="58"/>
                      </a:cubicBezTo>
                      <a:cubicBezTo>
                        <a:pt x="248" y="60"/>
                        <a:pt x="248" y="60"/>
                        <a:pt x="248" y="60"/>
                      </a:cubicBezTo>
                      <a:cubicBezTo>
                        <a:pt x="246" y="61"/>
                        <a:pt x="246" y="61"/>
                        <a:pt x="246" y="61"/>
                      </a:cubicBezTo>
                      <a:cubicBezTo>
                        <a:pt x="244" y="60"/>
                        <a:pt x="244" y="60"/>
                        <a:pt x="244" y="60"/>
                      </a:cubicBezTo>
                      <a:cubicBezTo>
                        <a:pt x="241" y="60"/>
                        <a:pt x="241" y="60"/>
                        <a:pt x="241" y="60"/>
                      </a:cubicBezTo>
                      <a:cubicBezTo>
                        <a:pt x="241" y="61"/>
                        <a:pt x="241" y="61"/>
                        <a:pt x="241" y="61"/>
                      </a:cubicBezTo>
                      <a:cubicBezTo>
                        <a:pt x="241" y="62"/>
                        <a:pt x="241" y="62"/>
                        <a:pt x="241" y="62"/>
                      </a:cubicBezTo>
                      <a:cubicBezTo>
                        <a:pt x="238" y="65"/>
                        <a:pt x="238" y="65"/>
                        <a:pt x="238" y="65"/>
                      </a:cubicBezTo>
                      <a:cubicBezTo>
                        <a:pt x="238" y="67"/>
                        <a:pt x="238" y="67"/>
                        <a:pt x="238" y="67"/>
                      </a:cubicBezTo>
                      <a:cubicBezTo>
                        <a:pt x="239" y="69"/>
                        <a:pt x="239" y="69"/>
                        <a:pt x="239" y="69"/>
                      </a:cubicBezTo>
                      <a:cubicBezTo>
                        <a:pt x="239" y="72"/>
                        <a:pt x="239" y="72"/>
                        <a:pt x="239" y="72"/>
                      </a:cubicBezTo>
                      <a:cubicBezTo>
                        <a:pt x="238" y="73"/>
                        <a:pt x="238" y="73"/>
                        <a:pt x="238" y="73"/>
                      </a:cubicBezTo>
                      <a:cubicBezTo>
                        <a:pt x="239" y="76"/>
                        <a:pt x="239" y="76"/>
                        <a:pt x="239" y="76"/>
                      </a:cubicBezTo>
                      <a:cubicBezTo>
                        <a:pt x="239" y="78"/>
                        <a:pt x="239" y="78"/>
                        <a:pt x="239" y="78"/>
                      </a:cubicBezTo>
                      <a:cubicBezTo>
                        <a:pt x="239" y="77"/>
                        <a:pt x="239" y="77"/>
                        <a:pt x="239" y="77"/>
                      </a:cubicBezTo>
                      <a:cubicBezTo>
                        <a:pt x="238" y="75"/>
                        <a:pt x="238" y="75"/>
                        <a:pt x="238" y="75"/>
                      </a:cubicBezTo>
                      <a:cubicBezTo>
                        <a:pt x="237" y="76"/>
                        <a:pt x="237" y="76"/>
                        <a:pt x="237" y="76"/>
                      </a:cubicBezTo>
                      <a:cubicBezTo>
                        <a:pt x="236" y="77"/>
                        <a:pt x="236" y="77"/>
                        <a:pt x="236" y="77"/>
                      </a:cubicBezTo>
                      <a:cubicBezTo>
                        <a:pt x="234" y="78"/>
                        <a:pt x="234" y="78"/>
                        <a:pt x="234" y="78"/>
                      </a:cubicBezTo>
                      <a:cubicBezTo>
                        <a:pt x="234" y="80"/>
                        <a:pt x="234" y="80"/>
                        <a:pt x="234" y="80"/>
                      </a:cubicBezTo>
                      <a:cubicBezTo>
                        <a:pt x="234" y="82"/>
                        <a:pt x="234" y="82"/>
                        <a:pt x="234" y="82"/>
                      </a:cubicBezTo>
                      <a:cubicBezTo>
                        <a:pt x="233" y="84"/>
                        <a:pt x="233" y="84"/>
                        <a:pt x="233" y="84"/>
                      </a:cubicBezTo>
                      <a:cubicBezTo>
                        <a:pt x="234" y="88"/>
                        <a:pt x="234" y="88"/>
                        <a:pt x="234" y="88"/>
                      </a:cubicBezTo>
                      <a:cubicBezTo>
                        <a:pt x="233" y="89"/>
                        <a:pt x="233" y="89"/>
                        <a:pt x="233" y="89"/>
                      </a:cubicBezTo>
                      <a:cubicBezTo>
                        <a:pt x="233" y="90"/>
                        <a:pt x="233" y="90"/>
                        <a:pt x="233" y="90"/>
                      </a:cubicBezTo>
                      <a:cubicBezTo>
                        <a:pt x="232" y="91"/>
                        <a:pt x="232" y="91"/>
                        <a:pt x="232" y="91"/>
                      </a:cubicBezTo>
                      <a:cubicBezTo>
                        <a:pt x="232" y="93"/>
                        <a:pt x="232" y="93"/>
                        <a:pt x="232" y="93"/>
                      </a:cubicBezTo>
                      <a:cubicBezTo>
                        <a:pt x="230" y="95"/>
                        <a:pt x="230" y="95"/>
                        <a:pt x="230" y="95"/>
                      </a:cubicBezTo>
                      <a:cubicBezTo>
                        <a:pt x="229" y="98"/>
                        <a:pt x="229" y="98"/>
                        <a:pt x="229" y="98"/>
                      </a:cubicBezTo>
                      <a:cubicBezTo>
                        <a:pt x="229" y="99"/>
                        <a:pt x="229" y="99"/>
                        <a:pt x="229" y="99"/>
                      </a:cubicBezTo>
                      <a:cubicBezTo>
                        <a:pt x="228" y="100"/>
                        <a:pt x="228" y="100"/>
                        <a:pt x="228" y="100"/>
                      </a:cubicBezTo>
                      <a:cubicBezTo>
                        <a:pt x="230" y="103"/>
                        <a:pt x="230" y="103"/>
                        <a:pt x="230" y="103"/>
                      </a:cubicBezTo>
                      <a:cubicBezTo>
                        <a:pt x="231" y="105"/>
                        <a:pt x="231" y="105"/>
                        <a:pt x="231" y="105"/>
                      </a:cubicBezTo>
                      <a:cubicBezTo>
                        <a:pt x="231" y="104"/>
                        <a:pt x="231" y="104"/>
                        <a:pt x="231" y="104"/>
                      </a:cubicBezTo>
                      <a:cubicBezTo>
                        <a:pt x="233" y="104"/>
                        <a:pt x="233" y="104"/>
                        <a:pt x="233" y="104"/>
                      </a:cubicBezTo>
                      <a:cubicBezTo>
                        <a:pt x="234" y="104"/>
                        <a:pt x="234" y="104"/>
                        <a:pt x="234" y="104"/>
                      </a:cubicBezTo>
                      <a:cubicBezTo>
                        <a:pt x="235" y="104"/>
                        <a:pt x="235" y="104"/>
                        <a:pt x="235" y="104"/>
                      </a:cubicBezTo>
                      <a:cubicBezTo>
                        <a:pt x="235" y="106"/>
                        <a:pt x="235" y="106"/>
                        <a:pt x="235" y="106"/>
                      </a:cubicBezTo>
                      <a:cubicBezTo>
                        <a:pt x="237" y="111"/>
                        <a:pt x="237" y="111"/>
                        <a:pt x="237" y="111"/>
                      </a:cubicBezTo>
                      <a:cubicBezTo>
                        <a:pt x="236" y="112"/>
                        <a:pt x="236" y="112"/>
                        <a:pt x="236" y="112"/>
                      </a:cubicBezTo>
                      <a:cubicBezTo>
                        <a:pt x="236" y="115"/>
                        <a:pt x="236" y="115"/>
                        <a:pt x="236" y="115"/>
                      </a:cubicBezTo>
                      <a:cubicBezTo>
                        <a:pt x="234" y="117"/>
                        <a:pt x="234" y="117"/>
                        <a:pt x="234" y="117"/>
                      </a:cubicBezTo>
                      <a:cubicBezTo>
                        <a:pt x="234" y="121"/>
                        <a:pt x="234" y="121"/>
                        <a:pt x="234" y="121"/>
                      </a:cubicBezTo>
                      <a:cubicBezTo>
                        <a:pt x="235" y="124"/>
                        <a:pt x="235" y="124"/>
                        <a:pt x="235" y="124"/>
                      </a:cubicBezTo>
                      <a:cubicBezTo>
                        <a:pt x="236" y="124"/>
                        <a:pt x="236" y="124"/>
                        <a:pt x="236" y="124"/>
                      </a:cubicBezTo>
                      <a:cubicBezTo>
                        <a:pt x="237" y="125"/>
                        <a:pt x="237" y="125"/>
                        <a:pt x="237" y="125"/>
                      </a:cubicBezTo>
                      <a:cubicBezTo>
                        <a:pt x="239" y="125"/>
                        <a:pt x="239" y="125"/>
                        <a:pt x="239" y="125"/>
                      </a:cubicBezTo>
                      <a:cubicBezTo>
                        <a:pt x="240" y="124"/>
                        <a:pt x="240" y="124"/>
                        <a:pt x="240" y="124"/>
                      </a:cubicBezTo>
                      <a:cubicBezTo>
                        <a:pt x="242" y="125"/>
                        <a:pt x="242" y="125"/>
                        <a:pt x="242" y="125"/>
                      </a:cubicBezTo>
                      <a:cubicBezTo>
                        <a:pt x="243" y="124"/>
                        <a:pt x="243" y="124"/>
                        <a:pt x="243" y="124"/>
                      </a:cubicBezTo>
                      <a:cubicBezTo>
                        <a:pt x="244" y="125"/>
                        <a:pt x="244" y="125"/>
                        <a:pt x="244" y="125"/>
                      </a:cubicBezTo>
                      <a:cubicBezTo>
                        <a:pt x="245" y="124"/>
                        <a:pt x="245" y="124"/>
                        <a:pt x="245" y="124"/>
                      </a:cubicBezTo>
                      <a:cubicBezTo>
                        <a:pt x="245" y="122"/>
                        <a:pt x="245" y="122"/>
                        <a:pt x="245" y="122"/>
                      </a:cubicBezTo>
                      <a:cubicBezTo>
                        <a:pt x="243" y="121"/>
                        <a:pt x="243" y="121"/>
                        <a:pt x="243" y="121"/>
                      </a:cubicBezTo>
                      <a:cubicBezTo>
                        <a:pt x="243" y="118"/>
                        <a:pt x="243" y="118"/>
                        <a:pt x="243" y="118"/>
                      </a:cubicBezTo>
                      <a:cubicBezTo>
                        <a:pt x="244" y="116"/>
                        <a:pt x="244" y="116"/>
                        <a:pt x="244" y="116"/>
                      </a:cubicBezTo>
                      <a:cubicBezTo>
                        <a:pt x="244" y="113"/>
                        <a:pt x="244" y="113"/>
                        <a:pt x="244" y="113"/>
                      </a:cubicBezTo>
                      <a:cubicBezTo>
                        <a:pt x="244" y="110"/>
                        <a:pt x="244" y="110"/>
                        <a:pt x="244" y="110"/>
                      </a:cubicBezTo>
                      <a:cubicBezTo>
                        <a:pt x="243" y="109"/>
                        <a:pt x="243" y="109"/>
                        <a:pt x="243" y="109"/>
                      </a:cubicBezTo>
                      <a:cubicBezTo>
                        <a:pt x="245" y="106"/>
                        <a:pt x="245" y="106"/>
                        <a:pt x="245" y="106"/>
                      </a:cubicBezTo>
                      <a:cubicBezTo>
                        <a:pt x="246" y="104"/>
                        <a:pt x="246" y="104"/>
                        <a:pt x="246" y="104"/>
                      </a:cubicBezTo>
                      <a:cubicBezTo>
                        <a:pt x="245" y="101"/>
                        <a:pt x="245" y="101"/>
                        <a:pt x="245" y="101"/>
                      </a:cubicBezTo>
                      <a:cubicBezTo>
                        <a:pt x="244" y="100"/>
                        <a:pt x="244" y="100"/>
                        <a:pt x="244" y="100"/>
                      </a:cubicBezTo>
                      <a:cubicBezTo>
                        <a:pt x="244" y="99"/>
                        <a:pt x="244" y="99"/>
                        <a:pt x="244" y="99"/>
                      </a:cubicBezTo>
                      <a:cubicBezTo>
                        <a:pt x="246" y="97"/>
                        <a:pt x="246" y="97"/>
                        <a:pt x="246" y="97"/>
                      </a:cubicBezTo>
                      <a:cubicBezTo>
                        <a:pt x="247" y="96"/>
                        <a:pt x="247" y="96"/>
                        <a:pt x="247" y="96"/>
                      </a:cubicBezTo>
                      <a:cubicBezTo>
                        <a:pt x="249" y="96"/>
                        <a:pt x="249" y="96"/>
                        <a:pt x="249" y="96"/>
                      </a:cubicBezTo>
                      <a:cubicBezTo>
                        <a:pt x="251" y="96"/>
                        <a:pt x="251" y="96"/>
                        <a:pt x="251" y="96"/>
                      </a:cubicBezTo>
                      <a:cubicBezTo>
                        <a:pt x="251" y="97"/>
                        <a:pt x="251" y="97"/>
                        <a:pt x="251" y="97"/>
                      </a:cubicBezTo>
                      <a:cubicBezTo>
                        <a:pt x="252" y="99"/>
                        <a:pt x="252" y="99"/>
                        <a:pt x="252" y="99"/>
                      </a:cubicBezTo>
                      <a:cubicBezTo>
                        <a:pt x="252" y="101"/>
                        <a:pt x="252" y="101"/>
                        <a:pt x="252" y="101"/>
                      </a:cubicBezTo>
                      <a:cubicBezTo>
                        <a:pt x="250" y="103"/>
                        <a:pt x="250" y="103"/>
                        <a:pt x="250" y="103"/>
                      </a:cubicBezTo>
                      <a:cubicBezTo>
                        <a:pt x="250" y="104"/>
                        <a:pt x="250" y="104"/>
                        <a:pt x="250" y="104"/>
                      </a:cubicBezTo>
                      <a:cubicBezTo>
                        <a:pt x="251" y="106"/>
                        <a:pt x="251" y="106"/>
                        <a:pt x="251" y="106"/>
                      </a:cubicBezTo>
                      <a:cubicBezTo>
                        <a:pt x="252" y="107"/>
                        <a:pt x="252" y="107"/>
                        <a:pt x="252" y="107"/>
                      </a:cubicBezTo>
                      <a:cubicBezTo>
                        <a:pt x="253" y="108"/>
                        <a:pt x="253" y="108"/>
                        <a:pt x="253" y="108"/>
                      </a:cubicBezTo>
                      <a:cubicBezTo>
                        <a:pt x="255" y="109"/>
                        <a:pt x="255" y="109"/>
                        <a:pt x="255" y="109"/>
                      </a:cubicBezTo>
                      <a:cubicBezTo>
                        <a:pt x="256" y="111"/>
                        <a:pt x="256" y="111"/>
                        <a:pt x="256" y="111"/>
                      </a:cubicBezTo>
                      <a:cubicBezTo>
                        <a:pt x="255" y="111"/>
                        <a:pt x="255" y="111"/>
                        <a:pt x="255" y="111"/>
                      </a:cubicBezTo>
                      <a:cubicBezTo>
                        <a:pt x="254" y="115"/>
                        <a:pt x="254" y="115"/>
                        <a:pt x="254" y="115"/>
                      </a:cubicBezTo>
                      <a:cubicBezTo>
                        <a:pt x="255" y="117"/>
                        <a:pt x="255" y="117"/>
                        <a:pt x="255" y="117"/>
                      </a:cubicBezTo>
                      <a:cubicBezTo>
                        <a:pt x="257" y="117"/>
                        <a:pt x="257" y="117"/>
                        <a:pt x="257" y="117"/>
                      </a:cubicBezTo>
                      <a:cubicBezTo>
                        <a:pt x="258" y="117"/>
                        <a:pt x="258" y="117"/>
                        <a:pt x="258" y="117"/>
                      </a:cubicBezTo>
                      <a:cubicBezTo>
                        <a:pt x="260" y="118"/>
                        <a:pt x="260" y="118"/>
                        <a:pt x="260" y="118"/>
                      </a:cubicBezTo>
                      <a:cubicBezTo>
                        <a:pt x="261" y="118"/>
                        <a:pt x="261" y="118"/>
                        <a:pt x="261" y="118"/>
                      </a:cubicBezTo>
                      <a:cubicBezTo>
                        <a:pt x="261" y="117"/>
                        <a:pt x="261" y="117"/>
                        <a:pt x="261" y="117"/>
                      </a:cubicBezTo>
                      <a:cubicBezTo>
                        <a:pt x="261" y="115"/>
                        <a:pt x="261" y="115"/>
                        <a:pt x="261" y="115"/>
                      </a:cubicBezTo>
                      <a:cubicBezTo>
                        <a:pt x="262" y="114"/>
                        <a:pt x="262" y="114"/>
                        <a:pt x="262" y="114"/>
                      </a:cubicBezTo>
                      <a:cubicBezTo>
                        <a:pt x="264" y="113"/>
                        <a:pt x="264" y="113"/>
                        <a:pt x="264" y="113"/>
                      </a:cubicBezTo>
                      <a:cubicBezTo>
                        <a:pt x="266" y="112"/>
                        <a:pt x="266" y="112"/>
                        <a:pt x="266" y="112"/>
                      </a:cubicBezTo>
                      <a:cubicBezTo>
                        <a:pt x="269" y="112"/>
                        <a:pt x="269" y="112"/>
                        <a:pt x="269" y="112"/>
                      </a:cubicBezTo>
                      <a:cubicBezTo>
                        <a:pt x="270" y="111"/>
                        <a:pt x="270" y="111"/>
                        <a:pt x="270" y="111"/>
                      </a:cubicBezTo>
                      <a:cubicBezTo>
                        <a:pt x="271" y="112"/>
                        <a:pt x="271" y="112"/>
                        <a:pt x="271" y="112"/>
                      </a:cubicBezTo>
                      <a:cubicBezTo>
                        <a:pt x="272" y="112"/>
                        <a:pt x="272" y="112"/>
                        <a:pt x="272" y="112"/>
                      </a:cubicBezTo>
                      <a:cubicBezTo>
                        <a:pt x="273" y="110"/>
                        <a:pt x="273" y="110"/>
                        <a:pt x="273" y="110"/>
                      </a:cubicBezTo>
                      <a:cubicBezTo>
                        <a:pt x="273" y="109"/>
                        <a:pt x="273" y="109"/>
                        <a:pt x="273" y="109"/>
                      </a:cubicBezTo>
                      <a:cubicBezTo>
                        <a:pt x="270" y="109"/>
                        <a:pt x="270" y="109"/>
                        <a:pt x="270" y="109"/>
                      </a:cubicBezTo>
                      <a:cubicBezTo>
                        <a:pt x="270" y="109"/>
                        <a:pt x="270" y="109"/>
                        <a:pt x="270" y="109"/>
                      </a:cubicBezTo>
                      <a:cubicBezTo>
                        <a:pt x="269" y="109"/>
                        <a:pt x="269" y="109"/>
                        <a:pt x="269" y="109"/>
                      </a:cubicBezTo>
                      <a:cubicBezTo>
                        <a:pt x="267" y="109"/>
                        <a:pt x="267" y="109"/>
                        <a:pt x="267" y="109"/>
                      </a:cubicBezTo>
                      <a:cubicBezTo>
                        <a:pt x="267" y="108"/>
                        <a:pt x="267" y="108"/>
                        <a:pt x="267" y="108"/>
                      </a:cubicBezTo>
                      <a:cubicBezTo>
                        <a:pt x="266" y="108"/>
                        <a:pt x="266" y="108"/>
                        <a:pt x="266" y="108"/>
                      </a:cubicBezTo>
                      <a:cubicBezTo>
                        <a:pt x="266" y="107"/>
                        <a:pt x="266" y="107"/>
                        <a:pt x="266" y="107"/>
                      </a:cubicBezTo>
                      <a:cubicBezTo>
                        <a:pt x="265" y="107"/>
                        <a:pt x="265" y="107"/>
                        <a:pt x="265" y="107"/>
                      </a:cubicBezTo>
                      <a:cubicBezTo>
                        <a:pt x="264" y="107"/>
                        <a:pt x="264" y="107"/>
                        <a:pt x="264" y="107"/>
                      </a:cubicBezTo>
                      <a:cubicBezTo>
                        <a:pt x="264" y="106"/>
                        <a:pt x="264" y="106"/>
                        <a:pt x="264" y="106"/>
                      </a:cubicBezTo>
                      <a:cubicBezTo>
                        <a:pt x="263" y="106"/>
                        <a:pt x="263" y="106"/>
                        <a:pt x="263" y="106"/>
                      </a:cubicBezTo>
                      <a:cubicBezTo>
                        <a:pt x="262" y="104"/>
                        <a:pt x="262" y="104"/>
                        <a:pt x="262" y="104"/>
                      </a:cubicBezTo>
                      <a:cubicBezTo>
                        <a:pt x="263" y="103"/>
                        <a:pt x="263" y="103"/>
                        <a:pt x="263" y="103"/>
                      </a:cubicBezTo>
                      <a:cubicBezTo>
                        <a:pt x="264" y="102"/>
                        <a:pt x="264" y="102"/>
                        <a:pt x="264" y="102"/>
                      </a:cubicBezTo>
                      <a:cubicBezTo>
                        <a:pt x="264" y="103"/>
                        <a:pt x="264" y="103"/>
                        <a:pt x="264" y="103"/>
                      </a:cubicBezTo>
                      <a:cubicBezTo>
                        <a:pt x="264" y="101"/>
                        <a:pt x="264" y="101"/>
                        <a:pt x="264" y="101"/>
                      </a:cubicBezTo>
                      <a:cubicBezTo>
                        <a:pt x="265" y="101"/>
                        <a:pt x="265" y="101"/>
                        <a:pt x="265" y="101"/>
                      </a:cubicBezTo>
                      <a:cubicBezTo>
                        <a:pt x="265" y="100"/>
                        <a:pt x="265" y="100"/>
                        <a:pt x="265" y="100"/>
                      </a:cubicBezTo>
                      <a:cubicBezTo>
                        <a:pt x="264" y="99"/>
                        <a:pt x="264" y="99"/>
                        <a:pt x="264" y="99"/>
                      </a:cubicBezTo>
                      <a:cubicBezTo>
                        <a:pt x="263" y="99"/>
                        <a:pt x="263" y="99"/>
                        <a:pt x="263" y="99"/>
                      </a:cubicBezTo>
                      <a:cubicBezTo>
                        <a:pt x="263" y="98"/>
                        <a:pt x="263" y="98"/>
                        <a:pt x="263" y="98"/>
                      </a:cubicBezTo>
                      <a:cubicBezTo>
                        <a:pt x="263" y="97"/>
                        <a:pt x="263" y="97"/>
                        <a:pt x="263" y="97"/>
                      </a:cubicBezTo>
                      <a:cubicBezTo>
                        <a:pt x="261" y="96"/>
                        <a:pt x="261" y="96"/>
                        <a:pt x="261" y="96"/>
                      </a:cubicBezTo>
                      <a:cubicBezTo>
                        <a:pt x="260" y="96"/>
                        <a:pt x="260" y="96"/>
                        <a:pt x="260" y="96"/>
                      </a:cubicBezTo>
                      <a:cubicBezTo>
                        <a:pt x="260" y="94"/>
                        <a:pt x="260" y="94"/>
                        <a:pt x="260" y="94"/>
                      </a:cubicBezTo>
                      <a:cubicBezTo>
                        <a:pt x="257" y="91"/>
                        <a:pt x="257" y="91"/>
                        <a:pt x="257" y="91"/>
                      </a:cubicBezTo>
                      <a:cubicBezTo>
                        <a:pt x="256" y="90"/>
                        <a:pt x="256" y="90"/>
                        <a:pt x="256" y="90"/>
                      </a:cubicBezTo>
                      <a:cubicBezTo>
                        <a:pt x="255" y="88"/>
                        <a:pt x="255" y="88"/>
                        <a:pt x="255" y="88"/>
                      </a:cubicBezTo>
                      <a:cubicBezTo>
                        <a:pt x="255" y="87"/>
                        <a:pt x="255" y="87"/>
                        <a:pt x="255" y="87"/>
                      </a:cubicBezTo>
                      <a:cubicBezTo>
                        <a:pt x="256" y="87"/>
                        <a:pt x="256" y="87"/>
                        <a:pt x="256" y="87"/>
                      </a:cubicBezTo>
                      <a:cubicBezTo>
                        <a:pt x="256" y="88"/>
                        <a:pt x="256" y="88"/>
                        <a:pt x="256" y="88"/>
                      </a:cubicBezTo>
                      <a:cubicBezTo>
                        <a:pt x="258" y="88"/>
                        <a:pt x="258" y="88"/>
                        <a:pt x="258" y="88"/>
                      </a:cubicBezTo>
                      <a:cubicBezTo>
                        <a:pt x="259" y="87"/>
                        <a:pt x="259" y="87"/>
                        <a:pt x="259" y="87"/>
                      </a:cubicBezTo>
                      <a:cubicBezTo>
                        <a:pt x="260" y="86"/>
                        <a:pt x="260" y="86"/>
                        <a:pt x="260" y="86"/>
                      </a:cubicBezTo>
                      <a:cubicBezTo>
                        <a:pt x="264" y="84"/>
                        <a:pt x="264" y="84"/>
                        <a:pt x="264" y="84"/>
                      </a:cubicBezTo>
                      <a:cubicBezTo>
                        <a:pt x="266" y="82"/>
                        <a:pt x="266" y="82"/>
                        <a:pt x="266" y="82"/>
                      </a:cubicBezTo>
                      <a:cubicBezTo>
                        <a:pt x="268" y="80"/>
                        <a:pt x="268" y="80"/>
                        <a:pt x="268" y="80"/>
                      </a:cubicBezTo>
                      <a:cubicBezTo>
                        <a:pt x="269" y="79"/>
                        <a:pt x="269" y="79"/>
                        <a:pt x="269" y="79"/>
                      </a:cubicBezTo>
                      <a:cubicBezTo>
                        <a:pt x="270" y="78"/>
                        <a:pt x="270" y="78"/>
                        <a:pt x="270" y="78"/>
                      </a:cubicBezTo>
                      <a:cubicBezTo>
                        <a:pt x="272" y="77"/>
                        <a:pt x="272" y="77"/>
                        <a:pt x="272" y="77"/>
                      </a:cubicBezTo>
                      <a:cubicBezTo>
                        <a:pt x="274" y="78"/>
                        <a:pt x="274" y="78"/>
                        <a:pt x="274" y="78"/>
                      </a:cubicBezTo>
                      <a:cubicBezTo>
                        <a:pt x="275" y="78"/>
                        <a:pt x="275" y="78"/>
                        <a:pt x="275" y="78"/>
                      </a:cubicBezTo>
                      <a:cubicBezTo>
                        <a:pt x="276" y="76"/>
                        <a:pt x="276" y="76"/>
                        <a:pt x="276" y="76"/>
                      </a:cubicBezTo>
                      <a:cubicBezTo>
                        <a:pt x="276" y="74"/>
                        <a:pt x="276" y="74"/>
                        <a:pt x="276" y="74"/>
                      </a:cubicBezTo>
                      <a:cubicBezTo>
                        <a:pt x="274" y="73"/>
                        <a:pt x="274" y="73"/>
                        <a:pt x="274" y="73"/>
                      </a:cubicBezTo>
                      <a:cubicBezTo>
                        <a:pt x="270" y="74"/>
                        <a:pt x="270" y="74"/>
                        <a:pt x="270" y="74"/>
                      </a:cubicBezTo>
                      <a:cubicBezTo>
                        <a:pt x="268" y="75"/>
                        <a:pt x="268" y="75"/>
                        <a:pt x="268" y="75"/>
                      </a:cubicBezTo>
                      <a:cubicBezTo>
                        <a:pt x="265" y="75"/>
                        <a:pt x="265" y="75"/>
                        <a:pt x="265" y="75"/>
                      </a:cubicBezTo>
                      <a:cubicBezTo>
                        <a:pt x="264" y="76"/>
                        <a:pt x="264" y="76"/>
                        <a:pt x="264" y="76"/>
                      </a:cubicBezTo>
                      <a:cubicBezTo>
                        <a:pt x="262" y="77"/>
                        <a:pt x="262" y="77"/>
                        <a:pt x="262" y="77"/>
                      </a:cubicBezTo>
                      <a:cubicBezTo>
                        <a:pt x="260" y="77"/>
                        <a:pt x="260" y="77"/>
                        <a:pt x="260" y="77"/>
                      </a:cubicBezTo>
                      <a:cubicBezTo>
                        <a:pt x="259" y="78"/>
                        <a:pt x="259" y="78"/>
                        <a:pt x="259" y="78"/>
                      </a:cubicBezTo>
                      <a:cubicBezTo>
                        <a:pt x="257" y="77"/>
                        <a:pt x="257" y="77"/>
                        <a:pt x="257" y="77"/>
                      </a:cubicBezTo>
                      <a:cubicBezTo>
                        <a:pt x="255" y="76"/>
                        <a:pt x="255" y="76"/>
                        <a:pt x="255" y="76"/>
                      </a:cubicBezTo>
                      <a:cubicBezTo>
                        <a:pt x="254" y="79"/>
                        <a:pt x="254" y="79"/>
                        <a:pt x="254" y="79"/>
                      </a:cubicBezTo>
                      <a:cubicBezTo>
                        <a:pt x="252" y="82"/>
                        <a:pt x="252" y="82"/>
                        <a:pt x="252" y="82"/>
                      </a:cubicBezTo>
                      <a:cubicBezTo>
                        <a:pt x="250" y="83"/>
                        <a:pt x="250" y="83"/>
                        <a:pt x="250" y="83"/>
                      </a:cubicBezTo>
                      <a:cubicBezTo>
                        <a:pt x="248" y="83"/>
                        <a:pt x="248" y="83"/>
                        <a:pt x="248" y="83"/>
                      </a:cubicBezTo>
                      <a:cubicBezTo>
                        <a:pt x="248" y="82"/>
                        <a:pt x="248" y="82"/>
                        <a:pt x="248" y="82"/>
                      </a:cubicBezTo>
                      <a:cubicBezTo>
                        <a:pt x="245" y="79"/>
                        <a:pt x="245" y="79"/>
                        <a:pt x="245" y="79"/>
                      </a:cubicBezTo>
                      <a:cubicBezTo>
                        <a:pt x="243" y="77"/>
                        <a:pt x="243" y="77"/>
                        <a:pt x="243" y="77"/>
                      </a:cubicBezTo>
                      <a:cubicBezTo>
                        <a:pt x="241" y="73"/>
                        <a:pt x="241" y="73"/>
                        <a:pt x="241" y="73"/>
                      </a:cubicBezTo>
                      <a:cubicBezTo>
                        <a:pt x="242" y="69"/>
                        <a:pt x="242" y="69"/>
                        <a:pt x="242" y="69"/>
                      </a:cubicBezTo>
                      <a:cubicBezTo>
                        <a:pt x="243" y="65"/>
                        <a:pt x="243" y="65"/>
                        <a:pt x="243" y="65"/>
                      </a:cubicBezTo>
                      <a:cubicBezTo>
                        <a:pt x="245" y="64"/>
                        <a:pt x="245" y="64"/>
                        <a:pt x="245" y="64"/>
                      </a:cubicBezTo>
                      <a:close/>
                      <a:moveTo>
                        <a:pt x="247" y="0"/>
                      </a:moveTo>
                      <a:cubicBezTo>
                        <a:pt x="246" y="1"/>
                        <a:pt x="246" y="1"/>
                        <a:pt x="246" y="1"/>
                      </a:cubicBezTo>
                      <a:cubicBezTo>
                        <a:pt x="247" y="2"/>
                        <a:pt x="247" y="2"/>
                        <a:pt x="247" y="2"/>
                      </a:cubicBezTo>
                      <a:cubicBezTo>
                        <a:pt x="247" y="1"/>
                        <a:pt x="247" y="1"/>
                        <a:pt x="247" y="1"/>
                      </a:cubicBezTo>
                      <a:cubicBezTo>
                        <a:pt x="247" y="0"/>
                        <a:pt x="247" y="0"/>
                        <a:pt x="247" y="0"/>
                      </a:cubicBezTo>
                      <a:close/>
                      <a:moveTo>
                        <a:pt x="249" y="6"/>
                      </a:moveTo>
                      <a:cubicBezTo>
                        <a:pt x="251" y="6"/>
                        <a:pt x="251" y="6"/>
                        <a:pt x="251" y="6"/>
                      </a:cubicBezTo>
                      <a:cubicBezTo>
                        <a:pt x="252" y="6"/>
                        <a:pt x="252" y="6"/>
                        <a:pt x="252" y="6"/>
                      </a:cubicBezTo>
                      <a:cubicBezTo>
                        <a:pt x="253" y="6"/>
                        <a:pt x="253" y="6"/>
                        <a:pt x="253" y="6"/>
                      </a:cubicBezTo>
                      <a:cubicBezTo>
                        <a:pt x="254" y="6"/>
                        <a:pt x="254" y="6"/>
                        <a:pt x="254" y="6"/>
                      </a:cubicBezTo>
                      <a:cubicBezTo>
                        <a:pt x="254" y="5"/>
                        <a:pt x="254" y="5"/>
                        <a:pt x="254" y="5"/>
                      </a:cubicBezTo>
                      <a:cubicBezTo>
                        <a:pt x="252" y="4"/>
                        <a:pt x="252" y="4"/>
                        <a:pt x="252" y="4"/>
                      </a:cubicBezTo>
                      <a:cubicBezTo>
                        <a:pt x="250" y="5"/>
                        <a:pt x="250" y="5"/>
                        <a:pt x="250" y="5"/>
                      </a:cubicBezTo>
                      <a:cubicBezTo>
                        <a:pt x="249" y="6"/>
                        <a:pt x="249" y="6"/>
                        <a:pt x="249" y="6"/>
                      </a:cubicBezTo>
                      <a:cubicBezTo>
                        <a:pt x="249" y="6"/>
                        <a:pt x="249" y="6"/>
                        <a:pt x="249" y="6"/>
                      </a:cubicBezTo>
                      <a:close/>
                      <a:moveTo>
                        <a:pt x="235" y="16"/>
                      </a:moveTo>
                      <a:cubicBezTo>
                        <a:pt x="234" y="18"/>
                        <a:pt x="234" y="18"/>
                        <a:pt x="234" y="18"/>
                      </a:cubicBezTo>
                      <a:cubicBezTo>
                        <a:pt x="235" y="19"/>
                        <a:pt x="235" y="19"/>
                        <a:pt x="235" y="19"/>
                      </a:cubicBezTo>
                      <a:cubicBezTo>
                        <a:pt x="235" y="18"/>
                        <a:pt x="235" y="18"/>
                        <a:pt x="235" y="18"/>
                      </a:cubicBezTo>
                      <a:cubicBezTo>
                        <a:pt x="235" y="16"/>
                        <a:pt x="235" y="16"/>
                        <a:pt x="235" y="16"/>
                      </a:cubicBezTo>
                      <a:close/>
                      <a:moveTo>
                        <a:pt x="238" y="14"/>
                      </a:moveTo>
                      <a:cubicBezTo>
                        <a:pt x="241" y="12"/>
                        <a:pt x="241" y="12"/>
                        <a:pt x="241" y="12"/>
                      </a:cubicBezTo>
                      <a:cubicBezTo>
                        <a:pt x="243" y="11"/>
                        <a:pt x="243" y="11"/>
                        <a:pt x="243" y="11"/>
                      </a:cubicBezTo>
                      <a:cubicBezTo>
                        <a:pt x="243" y="13"/>
                        <a:pt x="243" y="13"/>
                        <a:pt x="243" y="13"/>
                      </a:cubicBezTo>
                      <a:cubicBezTo>
                        <a:pt x="241" y="15"/>
                        <a:pt x="241" y="15"/>
                        <a:pt x="241" y="15"/>
                      </a:cubicBezTo>
                      <a:cubicBezTo>
                        <a:pt x="239" y="15"/>
                        <a:pt x="239" y="15"/>
                        <a:pt x="239" y="15"/>
                      </a:cubicBezTo>
                      <a:cubicBezTo>
                        <a:pt x="238" y="14"/>
                        <a:pt x="238" y="14"/>
                        <a:pt x="238" y="14"/>
                      </a:cubicBezTo>
                      <a:close/>
                      <a:moveTo>
                        <a:pt x="218" y="25"/>
                      </a:moveTo>
                      <a:cubicBezTo>
                        <a:pt x="219" y="26"/>
                        <a:pt x="219" y="26"/>
                        <a:pt x="219" y="26"/>
                      </a:cubicBezTo>
                      <a:cubicBezTo>
                        <a:pt x="218" y="26"/>
                        <a:pt x="218" y="26"/>
                        <a:pt x="218" y="26"/>
                      </a:cubicBezTo>
                      <a:cubicBezTo>
                        <a:pt x="218" y="25"/>
                        <a:pt x="218" y="25"/>
                        <a:pt x="218" y="25"/>
                      </a:cubicBezTo>
                      <a:close/>
                      <a:moveTo>
                        <a:pt x="218" y="24"/>
                      </a:moveTo>
                      <a:cubicBezTo>
                        <a:pt x="218" y="25"/>
                        <a:pt x="218" y="25"/>
                        <a:pt x="218" y="25"/>
                      </a:cubicBezTo>
                      <a:cubicBezTo>
                        <a:pt x="219" y="25"/>
                        <a:pt x="219" y="25"/>
                        <a:pt x="219" y="25"/>
                      </a:cubicBezTo>
                      <a:cubicBezTo>
                        <a:pt x="220" y="26"/>
                        <a:pt x="220" y="26"/>
                        <a:pt x="220" y="26"/>
                      </a:cubicBezTo>
                      <a:cubicBezTo>
                        <a:pt x="220" y="25"/>
                        <a:pt x="220" y="25"/>
                        <a:pt x="220" y="25"/>
                      </a:cubicBezTo>
                      <a:cubicBezTo>
                        <a:pt x="218" y="24"/>
                        <a:pt x="218" y="24"/>
                        <a:pt x="218" y="24"/>
                      </a:cubicBezTo>
                      <a:close/>
                      <a:moveTo>
                        <a:pt x="219" y="30"/>
                      </a:moveTo>
                      <a:cubicBezTo>
                        <a:pt x="217" y="30"/>
                        <a:pt x="217" y="30"/>
                        <a:pt x="217" y="30"/>
                      </a:cubicBezTo>
                      <a:cubicBezTo>
                        <a:pt x="219" y="31"/>
                        <a:pt x="219" y="31"/>
                        <a:pt x="219" y="31"/>
                      </a:cubicBezTo>
                      <a:cubicBezTo>
                        <a:pt x="219" y="30"/>
                        <a:pt x="219" y="30"/>
                        <a:pt x="219" y="30"/>
                      </a:cubicBezTo>
                      <a:close/>
                      <a:moveTo>
                        <a:pt x="217" y="32"/>
                      </a:moveTo>
                      <a:cubicBezTo>
                        <a:pt x="218" y="32"/>
                        <a:pt x="218" y="32"/>
                        <a:pt x="218" y="32"/>
                      </a:cubicBezTo>
                      <a:cubicBezTo>
                        <a:pt x="218" y="34"/>
                        <a:pt x="218" y="34"/>
                        <a:pt x="218" y="34"/>
                      </a:cubicBezTo>
                      <a:cubicBezTo>
                        <a:pt x="217" y="34"/>
                        <a:pt x="217" y="34"/>
                        <a:pt x="217" y="34"/>
                      </a:cubicBezTo>
                      <a:cubicBezTo>
                        <a:pt x="217" y="32"/>
                        <a:pt x="217" y="32"/>
                        <a:pt x="217" y="32"/>
                      </a:cubicBezTo>
                      <a:close/>
                      <a:moveTo>
                        <a:pt x="205" y="103"/>
                      </a:moveTo>
                      <a:cubicBezTo>
                        <a:pt x="206" y="104"/>
                        <a:pt x="206" y="104"/>
                        <a:pt x="206" y="104"/>
                      </a:cubicBezTo>
                      <a:cubicBezTo>
                        <a:pt x="205" y="106"/>
                        <a:pt x="205" y="106"/>
                        <a:pt x="205" y="106"/>
                      </a:cubicBezTo>
                      <a:cubicBezTo>
                        <a:pt x="205" y="106"/>
                        <a:pt x="205" y="106"/>
                        <a:pt x="205" y="106"/>
                      </a:cubicBezTo>
                      <a:cubicBezTo>
                        <a:pt x="205" y="104"/>
                        <a:pt x="205" y="104"/>
                        <a:pt x="205" y="104"/>
                      </a:cubicBezTo>
                      <a:cubicBezTo>
                        <a:pt x="205" y="103"/>
                        <a:pt x="205" y="103"/>
                        <a:pt x="205" y="103"/>
                      </a:cubicBezTo>
                      <a:close/>
                      <a:moveTo>
                        <a:pt x="204" y="103"/>
                      </a:moveTo>
                      <a:cubicBezTo>
                        <a:pt x="204" y="107"/>
                        <a:pt x="204" y="107"/>
                        <a:pt x="204" y="107"/>
                      </a:cubicBezTo>
                      <a:cubicBezTo>
                        <a:pt x="204" y="109"/>
                        <a:pt x="204" y="109"/>
                        <a:pt x="204" y="109"/>
                      </a:cubicBezTo>
                      <a:cubicBezTo>
                        <a:pt x="202" y="110"/>
                        <a:pt x="202" y="110"/>
                        <a:pt x="202" y="110"/>
                      </a:cubicBezTo>
                      <a:cubicBezTo>
                        <a:pt x="202" y="109"/>
                        <a:pt x="202" y="109"/>
                        <a:pt x="202" y="109"/>
                      </a:cubicBezTo>
                      <a:cubicBezTo>
                        <a:pt x="202" y="106"/>
                        <a:pt x="202" y="106"/>
                        <a:pt x="202" y="106"/>
                      </a:cubicBezTo>
                      <a:cubicBezTo>
                        <a:pt x="203" y="103"/>
                        <a:pt x="203" y="103"/>
                        <a:pt x="203" y="103"/>
                      </a:cubicBezTo>
                      <a:cubicBezTo>
                        <a:pt x="204" y="102"/>
                        <a:pt x="204" y="102"/>
                        <a:pt x="204" y="102"/>
                      </a:cubicBezTo>
                      <a:cubicBezTo>
                        <a:pt x="204" y="103"/>
                        <a:pt x="204" y="103"/>
                        <a:pt x="204" y="103"/>
                      </a:cubicBezTo>
                      <a:close/>
                      <a:moveTo>
                        <a:pt x="137" y="72"/>
                      </a:moveTo>
                      <a:cubicBezTo>
                        <a:pt x="140" y="73"/>
                        <a:pt x="140" y="73"/>
                        <a:pt x="140" y="73"/>
                      </a:cubicBezTo>
                      <a:cubicBezTo>
                        <a:pt x="140" y="73"/>
                        <a:pt x="140" y="73"/>
                        <a:pt x="140" y="73"/>
                      </a:cubicBezTo>
                      <a:cubicBezTo>
                        <a:pt x="139" y="74"/>
                        <a:pt x="139" y="74"/>
                        <a:pt x="139" y="74"/>
                      </a:cubicBezTo>
                      <a:cubicBezTo>
                        <a:pt x="137" y="73"/>
                        <a:pt x="137" y="73"/>
                        <a:pt x="137" y="73"/>
                      </a:cubicBezTo>
                      <a:cubicBezTo>
                        <a:pt x="137" y="72"/>
                        <a:pt x="137" y="72"/>
                        <a:pt x="137" y="72"/>
                      </a:cubicBezTo>
                      <a:cubicBezTo>
                        <a:pt x="137" y="72"/>
                        <a:pt x="137" y="72"/>
                        <a:pt x="137" y="72"/>
                      </a:cubicBezTo>
                      <a:close/>
                      <a:moveTo>
                        <a:pt x="138" y="76"/>
                      </a:moveTo>
                      <a:cubicBezTo>
                        <a:pt x="141" y="77"/>
                        <a:pt x="141" y="77"/>
                        <a:pt x="141" y="77"/>
                      </a:cubicBezTo>
                      <a:cubicBezTo>
                        <a:pt x="142" y="78"/>
                        <a:pt x="142" y="78"/>
                        <a:pt x="142" y="78"/>
                      </a:cubicBezTo>
                      <a:cubicBezTo>
                        <a:pt x="142" y="78"/>
                        <a:pt x="142" y="78"/>
                        <a:pt x="142" y="78"/>
                      </a:cubicBezTo>
                      <a:cubicBezTo>
                        <a:pt x="143" y="79"/>
                        <a:pt x="143" y="79"/>
                        <a:pt x="143" y="79"/>
                      </a:cubicBezTo>
                      <a:cubicBezTo>
                        <a:pt x="140" y="79"/>
                        <a:pt x="140" y="79"/>
                        <a:pt x="140" y="79"/>
                      </a:cubicBezTo>
                      <a:cubicBezTo>
                        <a:pt x="139" y="79"/>
                        <a:pt x="139" y="79"/>
                        <a:pt x="139" y="79"/>
                      </a:cubicBezTo>
                      <a:cubicBezTo>
                        <a:pt x="138" y="77"/>
                        <a:pt x="138" y="77"/>
                        <a:pt x="138" y="77"/>
                      </a:cubicBezTo>
                      <a:cubicBezTo>
                        <a:pt x="138" y="76"/>
                        <a:pt x="138" y="76"/>
                        <a:pt x="138" y="76"/>
                      </a:cubicBezTo>
                      <a:close/>
                      <a:moveTo>
                        <a:pt x="140" y="79"/>
                      </a:moveTo>
                      <a:cubicBezTo>
                        <a:pt x="143" y="79"/>
                        <a:pt x="143" y="79"/>
                        <a:pt x="143" y="79"/>
                      </a:cubicBezTo>
                      <a:cubicBezTo>
                        <a:pt x="144" y="80"/>
                        <a:pt x="144" y="80"/>
                        <a:pt x="144" y="80"/>
                      </a:cubicBezTo>
                      <a:cubicBezTo>
                        <a:pt x="142" y="82"/>
                        <a:pt x="142" y="82"/>
                        <a:pt x="142" y="82"/>
                      </a:cubicBezTo>
                      <a:cubicBezTo>
                        <a:pt x="141" y="83"/>
                        <a:pt x="141" y="83"/>
                        <a:pt x="141" y="83"/>
                      </a:cubicBezTo>
                      <a:cubicBezTo>
                        <a:pt x="140" y="82"/>
                        <a:pt x="140" y="82"/>
                        <a:pt x="140" y="82"/>
                      </a:cubicBezTo>
                      <a:cubicBezTo>
                        <a:pt x="140" y="80"/>
                        <a:pt x="140" y="80"/>
                        <a:pt x="140" y="80"/>
                      </a:cubicBezTo>
                      <a:cubicBezTo>
                        <a:pt x="140" y="80"/>
                        <a:pt x="140" y="79"/>
                        <a:pt x="140" y="79"/>
                      </a:cubicBezTo>
                      <a:close/>
                      <a:moveTo>
                        <a:pt x="136" y="56"/>
                      </a:moveTo>
                      <a:cubicBezTo>
                        <a:pt x="137" y="53"/>
                        <a:pt x="137" y="53"/>
                        <a:pt x="137" y="53"/>
                      </a:cubicBezTo>
                      <a:cubicBezTo>
                        <a:pt x="139" y="50"/>
                        <a:pt x="139" y="50"/>
                        <a:pt x="139" y="50"/>
                      </a:cubicBezTo>
                      <a:cubicBezTo>
                        <a:pt x="140" y="48"/>
                        <a:pt x="140" y="48"/>
                        <a:pt x="140" y="48"/>
                      </a:cubicBezTo>
                      <a:cubicBezTo>
                        <a:pt x="142" y="48"/>
                        <a:pt x="142" y="48"/>
                        <a:pt x="142" y="48"/>
                      </a:cubicBezTo>
                      <a:cubicBezTo>
                        <a:pt x="144" y="51"/>
                        <a:pt x="144" y="51"/>
                        <a:pt x="144" y="51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9" y="57"/>
                        <a:pt x="149" y="57"/>
                        <a:pt x="149" y="57"/>
                      </a:cubicBezTo>
                      <a:cubicBezTo>
                        <a:pt x="150" y="58"/>
                        <a:pt x="150" y="58"/>
                        <a:pt x="150" y="58"/>
                      </a:cubicBezTo>
                      <a:cubicBezTo>
                        <a:pt x="152" y="58"/>
                        <a:pt x="152" y="58"/>
                        <a:pt x="152" y="58"/>
                      </a:cubicBezTo>
                      <a:cubicBezTo>
                        <a:pt x="154" y="58"/>
                        <a:pt x="154" y="58"/>
                        <a:pt x="154" y="58"/>
                      </a:cubicBezTo>
                      <a:cubicBezTo>
                        <a:pt x="155" y="56"/>
                        <a:pt x="155" y="56"/>
                        <a:pt x="155" y="56"/>
                      </a:cubicBezTo>
                      <a:cubicBezTo>
                        <a:pt x="157" y="57"/>
                        <a:pt x="157" y="57"/>
                        <a:pt x="157" y="57"/>
                      </a:cubicBezTo>
                      <a:cubicBezTo>
                        <a:pt x="159" y="56"/>
                        <a:pt x="159" y="56"/>
                        <a:pt x="159" y="56"/>
                      </a:cubicBezTo>
                      <a:cubicBezTo>
                        <a:pt x="164" y="56"/>
                        <a:pt x="164" y="56"/>
                        <a:pt x="164" y="56"/>
                      </a:cubicBezTo>
                      <a:cubicBezTo>
                        <a:pt x="169" y="54"/>
                        <a:pt x="169" y="54"/>
                        <a:pt x="169" y="54"/>
                      </a:cubicBezTo>
                      <a:cubicBezTo>
                        <a:pt x="171" y="53"/>
                        <a:pt x="171" y="53"/>
                        <a:pt x="171" y="53"/>
                      </a:cubicBezTo>
                      <a:cubicBezTo>
                        <a:pt x="175" y="53"/>
                        <a:pt x="175" y="53"/>
                        <a:pt x="175" y="53"/>
                      </a:cubicBezTo>
                      <a:cubicBezTo>
                        <a:pt x="178" y="54"/>
                        <a:pt x="178" y="54"/>
                        <a:pt x="178" y="54"/>
                      </a:cubicBezTo>
                      <a:cubicBezTo>
                        <a:pt x="179" y="55"/>
                        <a:pt x="179" y="55"/>
                        <a:pt x="179" y="55"/>
                      </a:cubicBezTo>
                      <a:cubicBezTo>
                        <a:pt x="181" y="55"/>
                        <a:pt x="181" y="55"/>
                        <a:pt x="181" y="55"/>
                      </a:cubicBezTo>
                      <a:cubicBezTo>
                        <a:pt x="185" y="53"/>
                        <a:pt x="185" y="53"/>
                        <a:pt x="185" y="53"/>
                      </a:cubicBezTo>
                      <a:cubicBezTo>
                        <a:pt x="189" y="52"/>
                        <a:pt x="189" y="52"/>
                        <a:pt x="189" y="52"/>
                      </a:cubicBezTo>
                      <a:cubicBezTo>
                        <a:pt x="189" y="51"/>
                        <a:pt x="189" y="51"/>
                        <a:pt x="189" y="51"/>
                      </a:cubicBezTo>
                      <a:cubicBezTo>
                        <a:pt x="193" y="45"/>
                        <a:pt x="193" y="45"/>
                        <a:pt x="193" y="45"/>
                      </a:cubicBezTo>
                      <a:cubicBezTo>
                        <a:pt x="195" y="40"/>
                        <a:pt x="195" y="40"/>
                        <a:pt x="195" y="40"/>
                      </a:cubicBezTo>
                      <a:cubicBezTo>
                        <a:pt x="197" y="36"/>
                        <a:pt x="197" y="36"/>
                        <a:pt x="197" y="36"/>
                      </a:cubicBezTo>
                      <a:cubicBezTo>
                        <a:pt x="200" y="28"/>
                        <a:pt x="200" y="28"/>
                        <a:pt x="200" y="28"/>
                      </a:cubicBezTo>
                      <a:cubicBezTo>
                        <a:pt x="200" y="27"/>
                        <a:pt x="200" y="27"/>
                        <a:pt x="200" y="27"/>
                      </a:cubicBezTo>
                      <a:cubicBezTo>
                        <a:pt x="201" y="25"/>
                        <a:pt x="201" y="25"/>
                        <a:pt x="201" y="25"/>
                      </a:cubicBezTo>
                      <a:cubicBezTo>
                        <a:pt x="200" y="24"/>
                        <a:pt x="200" y="24"/>
                        <a:pt x="200" y="24"/>
                      </a:cubicBezTo>
                      <a:cubicBezTo>
                        <a:pt x="202" y="21"/>
                        <a:pt x="202" y="21"/>
                        <a:pt x="202" y="21"/>
                      </a:cubicBezTo>
                      <a:cubicBezTo>
                        <a:pt x="204" y="22"/>
                        <a:pt x="204" y="22"/>
                        <a:pt x="204" y="22"/>
                      </a:cubicBezTo>
                      <a:cubicBezTo>
                        <a:pt x="207" y="22"/>
                        <a:pt x="207" y="22"/>
                        <a:pt x="207" y="22"/>
                      </a:cubicBezTo>
                      <a:cubicBezTo>
                        <a:pt x="211" y="22"/>
                        <a:pt x="211" y="22"/>
                        <a:pt x="211" y="22"/>
                      </a:cubicBezTo>
                      <a:cubicBezTo>
                        <a:pt x="212" y="23"/>
                        <a:pt x="212" y="23"/>
                        <a:pt x="212" y="23"/>
                      </a:cubicBezTo>
                      <a:cubicBezTo>
                        <a:pt x="215" y="22"/>
                        <a:pt x="215" y="22"/>
                        <a:pt x="215" y="22"/>
                      </a:cubicBezTo>
                      <a:cubicBezTo>
                        <a:pt x="217" y="23"/>
                        <a:pt x="217" y="23"/>
                        <a:pt x="217" y="23"/>
                      </a:cubicBezTo>
                      <a:cubicBezTo>
                        <a:pt x="217" y="24"/>
                        <a:pt x="217" y="24"/>
                        <a:pt x="217" y="24"/>
                      </a:cubicBezTo>
                      <a:cubicBezTo>
                        <a:pt x="216" y="24"/>
                        <a:pt x="216" y="24"/>
                        <a:pt x="216" y="24"/>
                      </a:cubicBezTo>
                      <a:cubicBezTo>
                        <a:pt x="216" y="25"/>
                        <a:pt x="216" y="25"/>
                        <a:pt x="216" y="25"/>
                      </a:cubicBezTo>
                      <a:cubicBezTo>
                        <a:pt x="216" y="26"/>
                        <a:pt x="216" y="26"/>
                        <a:pt x="216" y="26"/>
                      </a:cubicBezTo>
                      <a:cubicBezTo>
                        <a:pt x="218" y="27"/>
                        <a:pt x="218" y="27"/>
                        <a:pt x="218" y="27"/>
                      </a:cubicBezTo>
                      <a:cubicBezTo>
                        <a:pt x="220" y="29"/>
                        <a:pt x="220" y="29"/>
                        <a:pt x="220" y="29"/>
                      </a:cubicBezTo>
                      <a:cubicBezTo>
                        <a:pt x="217" y="29"/>
                        <a:pt x="217" y="29"/>
                        <a:pt x="217" y="29"/>
                      </a:cubicBezTo>
                      <a:cubicBezTo>
                        <a:pt x="215" y="29"/>
                        <a:pt x="215" y="29"/>
                        <a:pt x="215" y="29"/>
                      </a:cubicBezTo>
                      <a:cubicBezTo>
                        <a:pt x="214" y="30"/>
                        <a:pt x="214" y="30"/>
                        <a:pt x="214" y="30"/>
                      </a:cubicBezTo>
                      <a:cubicBezTo>
                        <a:pt x="216" y="32"/>
                        <a:pt x="216" y="32"/>
                        <a:pt x="216" y="32"/>
                      </a:cubicBezTo>
                      <a:cubicBezTo>
                        <a:pt x="217" y="32"/>
                        <a:pt x="217" y="32"/>
                        <a:pt x="217" y="32"/>
                      </a:cubicBezTo>
                      <a:cubicBezTo>
                        <a:pt x="217" y="33"/>
                        <a:pt x="217" y="33"/>
                        <a:pt x="217" y="33"/>
                      </a:cubicBezTo>
                      <a:cubicBezTo>
                        <a:pt x="216" y="33"/>
                        <a:pt x="216" y="33"/>
                        <a:pt x="216" y="33"/>
                      </a:cubicBezTo>
                      <a:cubicBezTo>
                        <a:pt x="215" y="35"/>
                        <a:pt x="215" y="35"/>
                        <a:pt x="215" y="35"/>
                      </a:cubicBezTo>
                      <a:cubicBezTo>
                        <a:pt x="217" y="36"/>
                        <a:pt x="217" y="36"/>
                        <a:pt x="217" y="36"/>
                      </a:cubicBezTo>
                      <a:cubicBezTo>
                        <a:pt x="218" y="38"/>
                        <a:pt x="218" y="38"/>
                        <a:pt x="218" y="38"/>
                      </a:cubicBezTo>
                      <a:cubicBezTo>
                        <a:pt x="221" y="42"/>
                        <a:pt x="221" y="42"/>
                        <a:pt x="221" y="42"/>
                      </a:cubicBezTo>
                      <a:cubicBezTo>
                        <a:pt x="222" y="43"/>
                        <a:pt x="222" y="43"/>
                        <a:pt x="222" y="43"/>
                      </a:cubicBezTo>
                      <a:cubicBezTo>
                        <a:pt x="221" y="45"/>
                        <a:pt x="221" y="45"/>
                        <a:pt x="221" y="45"/>
                      </a:cubicBezTo>
                      <a:cubicBezTo>
                        <a:pt x="219" y="45"/>
                        <a:pt x="219" y="45"/>
                        <a:pt x="219" y="45"/>
                      </a:cubicBezTo>
                      <a:cubicBezTo>
                        <a:pt x="218" y="47"/>
                        <a:pt x="218" y="47"/>
                        <a:pt x="218" y="47"/>
                      </a:cubicBezTo>
                      <a:cubicBezTo>
                        <a:pt x="219" y="47"/>
                        <a:pt x="219" y="47"/>
                        <a:pt x="219" y="47"/>
                      </a:cubicBezTo>
                      <a:cubicBezTo>
                        <a:pt x="220" y="49"/>
                        <a:pt x="220" y="49"/>
                        <a:pt x="220" y="49"/>
                      </a:cubicBezTo>
                      <a:cubicBezTo>
                        <a:pt x="221" y="50"/>
                        <a:pt x="221" y="50"/>
                        <a:pt x="221" y="50"/>
                      </a:cubicBezTo>
                      <a:cubicBezTo>
                        <a:pt x="225" y="54"/>
                        <a:pt x="225" y="54"/>
                        <a:pt x="225" y="54"/>
                      </a:cubicBezTo>
                      <a:cubicBezTo>
                        <a:pt x="227" y="54"/>
                        <a:pt x="227" y="54"/>
                        <a:pt x="227" y="54"/>
                      </a:cubicBezTo>
                      <a:cubicBezTo>
                        <a:pt x="228" y="56"/>
                        <a:pt x="228" y="56"/>
                        <a:pt x="228" y="56"/>
                      </a:cubicBezTo>
                      <a:cubicBezTo>
                        <a:pt x="229" y="57"/>
                        <a:pt x="229" y="57"/>
                        <a:pt x="229" y="57"/>
                      </a:cubicBezTo>
                      <a:cubicBezTo>
                        <a:pt x="230" y="57"/>
                        <a:pt x="230" y="57"/>
                        <a:pt x="230" y="57"/>
                      </a:cubicBezTo>
                      <a:cubicBezTo>
                        <a:pt x="230" y="59"/>
                        <a:pt x="230" y="59"/>
                        <a:pt x="230" y="59"/>
                      </a:cubicBezTo>
                      <a:cubicBezTo>
                        <a:pt x="229" y="60"/>
                        <a:pt x="229" y="60"/>
                        <a:pt x="229" y="60"/>
                      </a:cubicBezTo>
                      <a:cubicBezTo>
                        <a:pt x="227" y="59"/>
                        <a:pt x="227" y="59"/>
                        <a:pt x="227" y="59"/>
                      </a:cubicBezTo>
                      <a:cubicBezTo>
                        <a:pt x="226" y="60"/>
                        <a:pt x="226" y="60"/>
                        <a:pt x="226" y="60"/>
                      </a:cubicBezTo>
                      <a:cubicBezTo>
                        <a:pt x="224" y="60"/>
                        <a:pt x="224" y="60"/>
                        <a:pt x="224" y="60"/>
                      </a:cubicBezTo>
                      <a:cubicBezTo>
                        <a:pt x="221" y="57"/>
                        <a:pt x="221" y="57"/>
                        <a:pt x="221" y="57"/>
                      </a:cubicBezTo>
                      <a:cubicBezTo>
                        <a:pt x="221" y="59"/>
                        <a:pt x="221" y="59"/>
                        <a:pt x="221" y="59"/>
                      </a:cubicBezTo>
                      <a:cubicBezTo>
                        <a:pt x="221" y="60"/>
                        <a:pt x="221" y="60"/>
                        <a:pt x="221" y="60"/>
                      </a:cubicBezTo>
                      <a:cubicBezTo>
                        <a:pt x="220" y="59"/>
                        <a:pt x="220" y="59"/>
                        <a:pt x="220" y="59"/>
                      </a:cubicBezTo>
                      <a:cubicBezTo>
                        <a:pt x="218" y="61"/>
                        <a:pt x="218" y="61"/>
                        <a:pt x="218" y="61"/>
                      </a:cubicBezTo>
                      <a:cubicBezTo>
                        <a:pt x="218" y="63"/>
                        <a:pt x="218" y="63"/>
                        <a:pt x="218" y="63"/>
                      </a:cubicBezTo>
                      <a:cubicBezTo>
                        <a:pt x="217" y="64"/>
                        <a:pt x="217" y="64"/>
                        <a:pt x="217" y="64"/>
                      </a:cubicBezTo>
                      <a:cubicBezTo>
                        <a:pt x="217" y="68"/>
                        <a:pt x="217" y="68"/>
                        <a:pt x="217" y="68"/>
                      </a:cubicBezTo>
                      <a:cubicBezTo>
                        <a:pt x="216" y="69"/>
                        <a:pt x="216" y="69"/>
                        <a:pt x="216" y="69"/>
                      </a:cubicBezTo>
                      <a:cubicBezTo>
                        <a:pt x="215" y="72"/>
                        <a:pt x="215" y="72"/>
                        <a:pt x="215" y="72"/>
                      </a:cubicBezTo>
                      <a:cubicBezTo>
                        <a:pt x="212" y="74"/>
                        <a:pt x="212" y="74"/>
                        <a:pt x="212" y="74"/>
                      </a:cubicBezTo>
                      <a:cubicBezTo>
                        <a:pt x="213" y="77"/>
                        <a:pt x="213" y="77"/>
                        <a:pt x="213" y="77"/>
                      </a:cubicBezTo>
                      <a:cubicBezTo>
                        <a:pt x="212" y="79"/>
                        <a:pt x="212" y="79"/>
                        <a:pt x="212" y="79"/>
                      </a:cubicBezTo>
                      <a:cubicBezTo>
                        <a:pt x="211" y="81"/>
                        <a:pt x="211" y="81"/>
                        <a:pt x="211" y="81"/>
                      </a:cubicBezTo>
                      <a:cubicBezTo>
                        <a:pt x="210" y="79"/>
                        <a:pt x="210" y="79"/>
                        <a:pt x="210" y="79"/>
                      </a:cubicBezTo>
                      <a:cubicBezTo>
                        <a:pt x="209" y="78"/>
                        <a:pt x="209" y="78"/>
                        <a:pt x="209" y="78"/>
                      </a:cubicBezTo>
                      <a:cubicBezTo>
                        <a:pt x="209" y="79"/>
                        <a:pt x="209" y="79"/>
                        <a:pt x="209" y="79"/>
                      </a:cubicBezTo>
                      <a:cubicBezTo>
                        <a:pt x="209" y="82"/>
                        <a:pt x="209" y="82"/>
                        <a:pt x="209" y="82"/>
                      </a:cubicBezTo>
                      <a:cubicBezTo>
                        <a:pt x="207" y="84"/>
                        <a:pt x="207" y="84"/>
                        <a:pt x="207" y="84"/>
                      </a:cubicBezTo>
                      <a:cubicBezTo>
                        <a:pt x="207" y="85"/>
                        <a:pt x="207" y="85"/>
                        <a:pt x="207" y="85"/>
                      </a:cubicBezTo>
                      <a:cubicBezTo>
                        <a:pt x="206" y="86"/>
                        <a:pt x="206" y="86"/>
                        <a:pt x="206" y="86"/>
                      </a:cubicBezTo>
                      <a:cubicBezTo>
                        <a:pt x="204" y="86"/>
                        <a:pt x="204" y="86"/>
                        <a:pt x="204" y="86"/>
                      </a:cubicBezTo>
                      <a:cubicBezTo>
                        <a:pt x="204" y="87"/>
                        <a:pt x="204" y="87"/>
                        <a:pt x="204" y="87"/>
                      </a:cubicBezTo>
                      <a:cubicBezTo>
                        <a:pt x="204" y="88"/>
                        <a:pt x="204" y="88"/>
                        <a:pt x="204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90"/>
                        <a:pt x="206" y="90"/>
                        <a:pt x="206" y="90"/>
                      </a:cubicBezTo>
                      <a:cubicBezTo>
                        <a:pt x="205" y="91"/>
                        <a:pt x="205" y="91"/>
                        <a:pt x="205" y="91"/>
                      </a:cubicBezTo>
                      <a:cubicBezTo>
                        <a:pt x="206" y="91"/>
                        <a:pt x="206" y="91"/>
                        <a:pt x="206" y="91"/>
                      </a:cubicBezTo>
                      <a:cubicBezTo>
                        <a:pt x="207" y="91"/>
                        <a:pt x="207" y="91"/>
                        <a:pt x="207" y="91"/>
                      </a:cubicBezTo>
                      <a:cubicBezTo>
                        <a:pt x="207" y="92"/>
                        <a:pt x="207" y="92"/>
                        <a:pt x="207" y="92"/>
                      </a:cubicBezTo>
                      <a:cubicBezTo>
                        <a:pt x="206" y="94"/>
                        <a:pt x="206" y="94"/>
                        <a:pt x="206" y="94"/>
                      </a:cubicBezTo>
                      <a:cubicBezTo>
                        <a:pt x="205" y="93"/>
                        <a:pt x="205" y="93"/>
                        <a:pt x="205" y="93"/>
                      </a:cubicBezTo>
                      <a:cubicBezTo>
                        <a:pt x="205" y="93"/>
                        <a:pt x="205" y="93"/>
                        <a:pt x="205" y="93"/>
                      </a:cubicBezTo>
                      <a:cubicBezTo>
                        <a:pt x="204" y="94"/>
                        <a:pt x="204" y="94"/>
                        <a:pt x="204" y="94"/>
                      </a:cubicBezTo>
                      <a:cubicBezTo>
                        <a:pt x="205" y="95"/>
                        <a:pt x="205" y="95"/>
                        <a:pt x="205" y="95"/>
                      </a:cubicBezTo>
                      <a:cubicBezTo>
                        <a:pt x="206" y="95"/>
                        <a:pt x="206" y="95"/>
                        <a:pt x="206" y="95"/>
                      </a:cubicBezTo>
                      <a:cubicBezTo>
                        <a:pt x="204" y="98"/>
                        <a:pt x="204" y="98"/>
                        <a:pt x="204" y="98"/>
                      </a:cubicBezTo>
                      <a:cubicBezTo>
                        <a:pt x="203" y="98"/>
                        <a:pt x="203" y="98"/>
                        <a:pt x="203" y="98"/>
                      </a:cubicBezTo>
                      <a:cubicBezTo>
                        <a:pt x="203" y="98"/>
                        <a:pt x="203" y="98"/>
                        <a:pt x="203" y="98"/>
                      </a:cubicBezTo>
                      <a:cubicBezTo>
                        <a:pt x="202" y="100"/>
                        <a:pt x="202" y="100"/>
                        <a:pt x="202" y="100"/>
                      </a:cubicBezTo>
                      <a:cubicBezTo>
                        <a:pt x="202" y="101"/>
                        <a:pt x="202" y="101"/>
                        <a:pt x="202" y="101"/>
                      </a:cubicBezTo>
                      <a:cubicBezTo>
                        <a:pt x="200" y="105"/>
                        <a:pt x="200" y="105"/>
                        <a:pt x="200" y="105"/>
                      </a:cubicBezTo>
                      <a:cubicBezTo>
                        <a:pt x="197" y="107"/>
                        <a:pt x="197" y="107"/>
                        <a:pt x="197" y="107"/>
                      </a:cubicBezTo>
                      <a:cubicBezTo>
                        <a:pt x="194" y="108"/>
                        <a:pt x="194" y="108"/>
                        <a:pt x="194" y="108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9" y="110"/>
                        <a:pt x="189" y="110"/>
                        <a:pt x="189" y="110"/>
                      </a:cubicBezTo>
                      <a:cubicBezTo>
                        <a:pt x="188" y="107"/>
                        <a:pt x="188" y="107"/>
                        <a:pt x="188" y="107"/>
                      </a:cubicBezTo>
                      <a:cubicBezTo>
                        <a:pt x="188" y="106"/>
                        <a:pt x="188" y="106"/>
                        <a:pt x="188" y="106"/>
                      </a:cubicBezTo>
                      <a:cubicBezTo>
                        <a:pt x="187" y="104"/>
                        <a:pt x="187" y="104"/>
                        <a:pt x="187" y="104"/>
                      </a:cubicBezTo>
                      <a:cubicBezTo>
                        <a:pt x="187" y="104"/>
                        <a:pt x="187" y="104"/>
                        <a:pt x="187" y="104"/>
                      </a:cubicBezTo>
                      <a:cubicBezTo>
                        <a:pt x="186" y="104"/>
                        <a:pt x="186" y="104"/>
                        <a:pt x="186" y="104"/>
                      </a:cubicBezTo>
                      <a:cubicBezTo>
                        <a:pt x="185" y="103"/>
                        <a:pt x="185" y="103"/>
                        <a:pt x="185" y="103"/>
                      </a:cubicBezTo>
                      <a:cubicBezTo>
                        <a:pt x="184" y="103"/>
                        <a:pt x="184" y="103"/>
                        <a:pt x="184" y="103"/>
                      </a:cubicBezTo>
                      <a:cubicBezTo>
                        <a:pt x="183" y="103"/>
                        <a:pt x="183" y="103"/>
                        <a:pt x="183" y="103"/>
                      </a:cubicBezTo>
                      <a:cubicBezTo>
                        <a:pt x="182" y="101"/>
                        <a:pt x="182" y="101"/>
                        <a:pt x="182" y="101"/>
                      </a:cubicBezTo>
                      <a:cubicBezTo>
                        <a:pt x="181" y="103"/>
                        <a:pt x="181" y="103"/>
                        <a:pt x="181" y="103"/>
                      </a:cubicBezTo>
                      <a:cubicBezTo>
                        <a:pt x="182" y="104"/>
                        <a:pt x="182" y="104"/>
                        <a:pt x="182" y="104"/>
                      </a:cubicBezTo>
                      <a:cubicBezTo>
                        <a:pt x="180" y="104"/>
                        <a:pt x="180" y="104"/>
                        <a:pt x="180" y="104"/>
                      </a:cubicBezTo>
                      <a:cubicBezTo>
                        <a:pt x="179" y="103"/>
                        <a:pt x="179" y="103"/>
                        <a:pt x="179" y="103"/>
                      </a:cubicBezTo>
                      <a:cubicBezTo>
                        <a:pt x="179" y="101"/>
                        <a:pt x="179" y="101"/>
                        <a:pt x="179" y="101"/>
                      </a:cubicBezTo>
                      <a:cubicBezTo>
                        <a:pt x="178" y="100"/>
                        <a:pt x="178" y="100"/>
                        <a:pt x="178" y="100"/>
                      </a:cubicBezTo>
                      <a:cubicBezTo>
                        <a:pt x="177" y="101"/>
                        <a:pt x="177" y="101"/>
                        <a:pt x="177" y="101"/>
                      </a:cubicBezTo>
                      <a:cubicBezTo>
                        <a:pt x="175" y="100"/>
                        <a:pt x="175" y="100"/>
                        <a:pt x="175" y="100"/>
                      </a:cubicBezTo>
                      <a:cubicBezTo>
                        <a:pt x="174" y="100"/>
                        <a:pt x="174" y="100"/>
                        <a:pt x="174" y="100"/>
                      </a:cubicBezTo>
                      <a:cubicBezTo>
                        <a:pt x="173" y="102"/>
                        <a:pt x="173" y="102"/>
                        <a:pt x="173" y="102"/>
                      </a:cubicBezTo>
                      <a:cubicBezTo>
                        <a:pt x="170" y="102"/>
                        <a:pt x="170" y="102"/>
                        <a:pt x="170" y="102"/>
                      </a:cubicBezTo>
                      <a:cubicBezTo>
                        <a:pt x="170" y="103"/>
                        <a:pt x="170" y="103"/>
                        <a:pt x="170" y="103"/>
                      </a:cubicBezTo>
                      <a:cubicBezTo>
                        <a:pt x="169" y="103"/>
                        <a:pt x="169" y="103"/>
                        <a:pt x="169" y="103"/>
                      </a:cubicBezTo>
                      <a:cubicBezTo>
                        <a:pt x="168" y="102"/>
                        <a:pt x="168" y="102"/>
                        <a:pt x="168" y="102"/>
                      </a:cubicBezTo>
                      <a:cubicBezTo>
                        <a:pt x="166" y="103"/>
                        <a:pt x="166" y="103"/>
                        <a:pt x="166" y="103"/>
                      </a:cubicBezTo>
                      <a:cubicBezTo>
                        <a:pt x="164" y="105"/>
                        <a:pt x="164" y="105"/>
                        <a:pt x="164" y="105"/>
                      </a:cubicBezTo>
                      <a:cubicBezTo>
                        <a:pt x="163" y="105"/>
                        <a:pt x="163" y="105"/>
                        <a:pt x="163" y="105"/>
                      </a:cubicBezTo>
                      <a:cubicBezTo>
                        <a:pt x="163" y="104"/>
                        <a:pt x="163" y="104"/>
                        <a:pt x="163" y="104"/>
                      </a:cubicBezTo>
                      <a:cubicBezTo>
                        <a:pt x="163" y="100"/>
                        <a:pt x="163" y="100"/>
                        <a:pt x="163" y="100"/>
                      </a:cubicBezTo>
                      <a:cubicBezTo>
                        <a:pt x="162" y="98"/>
                        <a:pt x="162" y="98"/>
                        <a:pt x="162" y="98"/>
                      </a:cubicBezTo>
                      <a:cubicBezTo>
                        <a:pt x="162" y="96"/>
                        <a:pt x="162" y="96"/>
                        <a:pt x="162" y="96"/>
                      </a:cubicBezTo>
                      <a:cubicBezTo>
                        <a:pt x="162" y="95"/>
                        <a:pt x="162" y="95"/>
                        <a:pt x="162" y="95"/>
                      </a:cubicBezTo>
                      <a:cubicBezTo>
                        <a:pt x="162" y="96"/>
                        <a:pt x="162" y="96"/>
                        <a:pt x="162" y="96"/>
                      </a:cubicBezTo>
                      <a:cubicBezTo>
                        <a:pt x="161" y="98"/>
                        <a:pt x="161" y="98"/>
                        <a:pt x="161" y="98"/>
                      </a:cubicBezTo>
                      <a:cubicBezTo>
                        <a:pt x="160" y="99"/>
                        <a:pt x="160" y="99"/>
                        <a:pt x="160" y="99"/>
                      </a:cubicBezTo>
                      <a:cubicBezTo>
                        <a:pt x="159" y="98"/>
                        <a:pt x="159" y="98"/>
                        <a:pt x="159" y="98"/>
                      </a:cubicBezTo>
                      <a:cubicBezTo>
                        <a:pt x="157" y="99"/>
                        <a:pt x="157" y="99"/>
                        <a:pt x="157" y="99"/>
                      </a:cubicBezTo>
                      <a:cubicBezTo>
                        <a:pt x="154" y="99"/>
                        <a:pt x="154" y="99"/>
                        <a:pt x="154" y="99"/>
                      </a:cubicBezTo>
                      <a:cubicBezTo>
                        <a:pt x="153" y="99"/>
                        <a:pt x="153" y="99"/>
                        <a:pt x="153" y="99"/>
                      </a:cubicBezTo>
                      <a:cubicBezTo>
                        <a:pt x="151" y="99"/>
                        <a:pt x="151" y="99"/>
                        <a:pt x="151" y="99"/>
                      </a:cubicBezTo>
                      <a:cubicBezTo>
                        <a:pt x="150" y="97"/>
                        <a:pt x="150" y="97"/>
                        <a:pt x="150" y="97"/>
                      </a:cubicBezTo>
                      <a:cubicBezTo>
                        <a:pt x="149" y="99"/>
                        <a:pt x="149" y="99"/>
                        <a:pt x="149" y="99"/>
                      </a:cubicBezTo>
                      <a:cubicBezTo>
                        <a:pt x="148" y="99"/>
                        <a:pt x="148" y="99"/>
                        <a:pt x="148" y="99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47" y="94"/>
                        <a:pt x="147" y="94"/>
                        <a:pt x="147" y="94"/>
                      </a:cubicBezTo>
                      <a:cubicBezTo>
                        <a:pt x="146" y="89"/>
                        <a:pt x="146" y="89"/>
                        <a:pt x="146" y="89"/>
                      </a:cubicBezTo>
                      <a:cubicBezTo>
                        <a:pt x="144" y="88"/>
                        <a:pt x="144" y="88"/>
                        <a:pt x="144" y="88"/>
                      </a:cubicBezTo>
                      <a:cubicBezTo>
                        <a:pt x="144" y="87"/>
                        <a:pt x="144" y="87"/>
                        <a:pt x="144" y="87"/>
                      </a:cubicBezTo>
                      <a:cubicBezTo>
                        <a:pt x="145" y="85"/>
                        <a:pt x="145" y="85"/>
                        <a:pt x="145" y="85"/>
                      </a:cubicBezTo>
                      <a:cubicBezTo>
                        <a:pt x="146" y="83"/>
                        <a:pt x="146" y="83"/>
                        <a:pt x="146" y="83"/>
                      </a:cubicBezTo>
                      <a:cubicBezTo>
                        <a:pt x="146" y="82"/>
                        <a:pt x="146" y="82"/>
                        <a:pt x="146" y="82"/>
                      </a:cubicBezTo>
                      <a:cubicBezTo>
                        <a:pt x="145" y="80"/>
                        <a:pt x="145" y="80"/>
                        <a:pt x="145" y="80"/>
                      </a:cubicBezTo>
                      <a:cubicBezTo>
                        <a:pt x="142" y="77"/>
                        <a:pt x="142" y="77"/>
                        <a:pt x="142" y="77"/>
                      </a:cubicBezTo>
                      <a:cubicBezTo>
                        <a:pt x="140" y="76"/>
                        <a:pt x="140" y="76"/>
                        <a:pt x="140" y="76"/>
                      </a:cubicBezTo>
                      <a:cubicBezTo>
                        <a:pt x="138" y="75"/>
                        <a:pt x="138" y="75"/>
                        <a:pt x="138" y="75"/>
                      </a:cubicBezTo>
                      <a:cubicBezTo>
                        <a:pt x="138" y="74"/>
                        <a:pt x="138" y="74"/>
                        <a:pt x="138" y="74"/>
                      </a:cubicBezTo>
                      <a:cubicBezTo>
                        <a:pt x="139" y="74"/>
                        <a:pt x="139" y="74"/>
                        <a:pt x="139" y="74"/>
                      </a:cubicBezTo>
                      <a:cubicBezTo>
                        <a:pt x="141" y="73"/>
                        <a:pt x="141" y="73"/>
                        <a:pt x="141" y="73"/>
                      </a:cubicBezTo>
                      <a:cubicBezTo>
                        <a:pt x="144" y="72"/>
                        <a:pt x="144" y="72"/>
                        <a:pt x="144" y="72"/>
                      </a:cubicBezTo>
                      <a:cubicBezTo>
                        <a:pt x="147" y="70"/>
                        <a:pt x="147" y="70"/>
                        <a:pt x="147" y="70"/>
                      </a:cubicBezTo>
                      <a:cubicBezTo>
                        <a:pt x="148" y="70"/>
                        <a:pt x="148" y="70"/>
                        <a:pt x="148" y="70"/>
                      </a:cubicBezTo>
                      <a:cubicBezTo>
                        <a:pt x="147" y="70"/>
                        <a:pt x="147" y="70"/>
                        <a:pt x="147" y="70"/>
                      </a:cubicBezTo>
                      <a:cubicBezTo>
                        <a:pt x="144" y="71"/>
                        <a:pt x="144" y="71"/>
                        <a:pt x="144" y="71"/>
                      </a:cubicBezTo>
                      <a:cubicBezTo>
                        <a:pt x="141" y="72"/>
                        <a:pt x="141" y="72"/>
                        <a:pt x="141" y="72"/>
                      </a:cubicBezTo>
                      <a:cubicBezTo>
                        <a:pt x="140" y="72"/>
                        <a:pt x="140" y="72"/>
                        <a:pt x="140" y="72"/>
                      </a:cubicBezTo>
                      <a:cubicBezTo>
                        <a:pt x="138" y="72"/>
                        <a:pt x="138" y="72"/>
                        <a:pt x="138" y="72"/>
                      </a:cubicBezTo>
                      <a:cubicBezTo>
                        <a:pt x="137" y="69"/>
                        <a:pt x="137" y="69"/>
                        <a:pt x="137" y="69"/>
                      </a:cubicBezTo>
                      <a:cubicBezTo>
                        <a:pt x="137" y="69"/>
                        <a:pt x="137" y="69"/>
                        <a:pt x="137" y="69"/>
                      </a:cubicBezTo>
                      <a:cubicBezTo>
                        <a:pt x="138" y="69"/>
                        <a:pt x="138" y="69"/>
                        <a:pt x="138" y="69"/>
                      </a:cubicBezTo>
                      <a:cubicBezTo>
                        <a:pt x="138" y="68"/>
                        <a:pt x="138" y="68"/>
                        <a:pt x="138" y="68"/>
                      </a:cubicBezTo>
                      <a:cubicBezTo>
                        <a:pt x="135" y="64"/>
                        <a:pt x="135" y="64"/>
                        <a:pt x="135" y="64"/>
                      </a:cubicBezTo>
                      <a:cubicBezTo>
                        <a:pt x="134" y="60"/>
                        <a:pt x="134" y="60"/>
                        <a:pt x="134" y="60"/>
                      </a:cubicBezTo>
                      <a:cubicBezTo>
                        <a:pt x="136" y="60"/>
                        <a:pt x="136" y="60"/>
                        <a:pt x="136" y="60"/>
                      </a:cubicBezTo>
                      <a:cubicBezTo>
                        <a:pt x="136" y="58"/>
                        <a:pt x="136" y="58"/>
                        <a:pt x="136" y="58"/>
                      </a:cubicBezTo>
                      <a:cubicBezTo>
                        <a:pt x="135" y="57"/>
                        <a:pt x="135" y="57"/>
                        <a:pt x="135" y="57"/>
                      </a:cubicBezTo>
                      <a:cubicBezTo>
                        <a:pt x="136" y="56"/>
                        <a:pt x="136" y="56"/>
                        <a:pt x="136" y="56"/>
                      </a:cubicBezTo>
                      <a:close/>
                      <a:moveTo>
                        <a:pt x="386" y="77"/>
                      </a:moveTo>
                      <a:cubicBezTo>
                        <a:pt x="385" y="77"/>
                        <a:pt x="385" y="77"/>
                        <a:pt x="385" y="77"/>
                      </a:cubicBezTo>
                      <a:cubicBezTo>
                        <a:pt x="386" y="79"/>
                        <a:pt x="386" y="79"/>
                        <a:pt x="386" y="79"/>
                      </a:cubicBezTo>
                      <a:cubicBezTo>
                        <a:pt x="388" y="78"/>
                        <a:pt x="388" y="78"/>
                        <a:pt x="388" y="78"/>
                      </a:cubicBezTo>
                      <a:cubicBezTo>
                        <a:pt x="386" y="77"/>
                        <a:pt x="386" y="77"/>
                        <a:pt x="386" y="77"/>
                      </a:cubicBezTo>
                      <a:close/>
                      <a:moveTo>
                        <a:pt x="391" y="83"/>
                      </a:moveTo>
                      <a:cubicBezTo>
                        <a:pt x="388" y="83"/>
                        <a:pt x="388" y="83"/>
                        <a:pt x="388" y="83"/>
                      </a:cubicBezTo>
                      <a:cubicBezTo>
                        <a:pt x="389" y="84"/>
                        <a:pt x="389" y="84"/>
                        <a:pt x="389" y="84"/>
                      </a:cubicBezTo>
                      <a:cubicBezTo>
                        <a:pt x="391" y="83"/>
                        <a:pt x="391" y="83"/>
                        <a:pt x="391" y="83"/>
                      </a:cubicBezTo>
                      <a:close/>
                      <a:moveTo>
                        <a:pt x="392" y="84"/>
                      </a:moveTo>
                      <a:cubicBezTo>
                        <a:pt x="392" y="84"/>
                        <a:pt x="393" y="85"/>
                        <a:pt x="393" y="85"/>
                      </a:cubicBezTo>
                      <a:cubicBezTo>
                        <a:pt x="396" y="86"/>
                        <a:pt x="396" y="86"/>
                        <a:pt x="396" y="86"/>
                      </a:cubicBezTo>
                      <a:cubicBezTo>
                        <a:pt x="400" y="87"/>
                        <a:pt x="400" y="87"/>
                        <a:pt x="400" y="87"/>
                      </a:cubicBezTo>
                      <a:cubicBezTo>
                        <a:pt x="404" y="86"/>
                        <a:pt x="404" y="86"/>
                        <a:pt x="404" y="86"/>
                      </a:cubicBezTo>
                      <a:cubicBezTo>
                        <a:pt x="405" y="85"/>
                        <a:pt x="405" y="85"/>
                        <a:pt x="405" y="85"/>
                      </a:cubicBezTo>
                      <a:cubicBezTo>
                        <a:pt x="402" y="85"/>
                        <a:pt x="402" y="85"/>
                        <a:pt x="402" y="85"/>
                      </a:cubicBezTo>
                      <a:cubicBezTo>
                        <a:pt x="400" y="85"/>
                        <a:pt x="400" y="85"/>
                        <a:pt x="400" y="85"/>
                      </a:cubicBezTo>
                      <a:cubicBezTo>
                        <a:pt x="398" y="84"/>
                        <a:pt x="398" y="84"/>
                        <a:pt x="398" y="84"/>
                      </a:cubicBezTo>
                      <a:cubicBezTo>
                        <a:pt x="396" y="85"/>
                        <a:pt x="396" y="85"/>
                        <a:pt x="396" y="85"/>
                      </a:cubicBezTo>
                      <a:cubicBezTo>
                        <a:pt x="392" y="84"/>
                        <a:pt x="392" y="84"/>
                        <a:pt x="392" y="84"/>
                      </a:cubicBezTo>
                      <a:close/>
                      <a:moveTo>
                        <a:pt x="392" y="74"/>
                      </a:moveTo>
                      <a:cubicBezTo>
                        <a:pt x="394" y="76"/>
                        <a:pt x="394" y="76"/>
                        <a:pt x="394" y="76"/>
                      </a:cubicBezTo>
                      <a:cubicBezTo>
                        <a:pt x="394" y="75"/>
                        <a:pt x="394" y="75"/>
                        <a:pt x="394" y="75"/>
                      </a:cubicBezTo>
                      <a:cubicBezTo>
                        <a:pt x="395" y="75"/>
                        <a:pt x="395" y="75"/>
                        <a:pt x="395" y="75"/>
                      </a:cubicBezTo>
                      <a:cubicBezTo>
                        <a:pt x="396" y="77"/>
                        <a:pt x="396" y="77"/>
                        <a:pt x="396" y="77"/>
                      </a:cubicBezTo>
                      <a:cubicBezTo>
                        <a:pt x="396" y="79"/>
                        <a:pt x="396" y="79"/>
                        <a:pt x="396" y="79"/>
                      </a:cubicBezTo>
                      <a:cubicBezTo>
                        <a:pt x="397" y="79"/>
                        <a:pt x="397" y="79"/>
                        <a:pt x="397" y="79"/>
                      </a:cubicBezTo>
                      <a:cubicBezTo>
                        <a:pt x="398" y="79"/>
                        <a:pt x="398" y="79"/>
                        <a:pt x="398" y="79"/>
                      </a:cubicBezTo>
                      <a:cubicBezTo>
                        <a:pt x="399" y="79"/>
                        <a:pt x="399" y="79"/>
                        <a:pt x="399" y="79"/>
                      </a:cubicBezTo>
                      <a:cubicBezTo>
                        <a:pt x="401" y="79"/>
                        <a:pt x="401" y="79"/>
                        <a:pt x="401" y="79"/>
                      </a:cubicBezTo>
                      <a:cubicBezTo>
                        <a:pt x="400" y="78"/>
                        <a:pt x="400" y="78"/>
                        <a:pt x="400" y="78"/>
                      </a:cubicBezTo>
                      <a:cubicBezTo>
                        <a:pt x="399" y="77"/>
                        <a:pt x="399" y="77"/>
                        <a:pt x="399" y="77"/>
                      </a:cubicBezTo>
                      <a:cubicBezTo>
                        <a:pt x="398" y="75"/>
                        <a:pt x="398" y="75"/>
                        <a:pt x="398" y="75"/>
                      </a:cubicBezTo>
                      <a:cubicBezTo>
                        <a:pt x="396" y="74"/>
                        <a:pt x="396" y="74"/>
                        <a:pt x="396" y="74"/>
                      </a:cubicBezTo>
                      <a:cubicBezTo>
                        <a:pt x="394" y="74"/>
                        <a:pt x="394" y="74"/>
                        <a:pt x="394" y="74"/>
                      </a:cubicBezTo>
                      <a:cubicBezTo>
                        <a:pt x="392" y="74"/>
                        <a:pt x="392" y="74"/>
                        <a:pt x="392" y="74"/>
                      </a:cubicBezTo>
                      <a:cubicBezTo>
                        <a:pt x="392" y="74"/>
                        <a:pt x="392" y="74"/>
                        <a:pt x="392" y="74"/>
                      </a:cubicBezTo>
                      <a:close/>
                      <a:moveTo>
                        <a:pt x="364" y="124"/>
                      </a:moveTo>
                      <a:cubicBezTo>
                        <a:pt x="364" y="126"/>
                        <a:pt x="364" y="126"/>
                        <a:pt x="364" y="126"/>
                      </a:cubicBezTo>
                      <a:cubicBezTo>
                        <a:pt x="365" y="127"/>
                        <a:pt x="365" y="127"/>
                        <a:pt x="365" y="127"/>
                      </a:cubicBezTo>
                      <a:cubicBezTo>
                        <a:pt x="365" y="128"/>
                        <a:pt x="365" y="128"/>
                        <a:pt x="365" y="128"/>
                      </a:cubicBezTo>
                      <a:cubicBezTo>
                        <a:pt x="365" y="126"/>
                        <a:pt x="365" y="126"/>
                        <a:pt x="365" y="126"/>
                      </a:cubicBezTo>
                      <a:cubicBezTo>
                        <a:pt x="364" y="124"/>
                        <a:pt x="364" y="124"/>
                        <a:pt x="364" y="124"/>
                      </a:cubicBezTo>
                      <a:close/>
                      <a:moveTo>
                        <a:pt x="369" y="122"/>
                      </a:moveTo>
                      <a:cubicBezTo>
                        <a:pt x="367" y="123"/>
                        <a:pt x="367" y="123"/>
                        <a:pt x="367" y="123"/>
                      </a:cubicBezTo>
                      <a:cubicBezTo>
                        <a:pt x="366" y="127"/>
                        <a:pt x="366" y="127"/>
                        <a:pt x="366" y="127"/>
                      </a:cubicBezTo>
                      <a:cubicBezTo>
                        <a:pt x="366" y="128"/>
                        <a:pt x="366" y="128"/>
                        <a:pt x="366" y="128"/>
                      </a:cubicBezTo>
                      <a:cubicBezTo>
                        <a:pt x="367" y="128"/>
                        <a:pt x="367" y="128"/>
                        <a:pt x="367" y="128"/>
                      </a:cubicBezTo>
                      <a:cubicBezTo>
                        <a:pt x="368" y="124"/>
                        <a:pt x="368" y="124"/>
                        <a:pt x="368" y="124"/>
                      </a:cubicBezTo>
                      <a:cubicBezTo>
                        <a:pt x="369" y="122"/>
                        <a:pt x="369" y="122"/>
                        <a:pt x="369" y="122"/>
                      </a:cubicBezTo>
                      <a:close/>
                      <a:moveTo>
                        <a:pt x="384" y="135"/>
                      </a:move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4" y="137"/>
                        <a:pt x="384" y="137"/>
                        <a:pt x="384" y="137"/>
                      </a:cubicBezTo>
                      <a:cubicBezTo>
                        <a:pt x="385" y="136"/>
                        <a:pt x="385" y="136"/>
                        <a:pt x="385" y="136"/>
                      </a:cubicBezTo>
                      <a:cubicBezTo>
                        <a:pt x="384" y="135"/>
                        <a:pt x="384" y="135"/>
                        <a:pt x="384" y="135"/>
                      </a:cubicBezTo>
                      <a:close/>
                      <a:moveTo>
                        <a:pt x="379" y="132"/>
                      </a:moveTo>
                      <a:cubicBezTo>
                        <a:pt x="378" y="131"/>
                        <a:pt x="378" y="131"/>
                        <a:pt x="378" y="131"/>
                      </a:cubicBezTo>
                      <a:cubicBezTo>
                        <a:pt x="378" y="132"/>
                        <a:pt x="378" y="132"/>
                        <a:pt x="378" y="132"/>
                      </a:cubicBezTo>
                      <a:cubicBezTo>
                        <a:pt x="378" y="134"/>
                        <a:pt x="378" y="134"/>
                        <a:pt x="378" y="134"/>
                      </a:cubicBezTo>
                      <a:cubicBezTo>
                        <a:pt x="379" y="135"/>
                        <a:pt x="379" y="135"/>
                        <a:pt x="379" y="135"/>
                      </a:cubicBezTo>
                      <a:cubicBezTo>
                        <a:pt x="379" y="136"/>
                        <a:pt x="379" y="136"/>
                        <a:pt x="379" y="136"/>
                      </a:cubicBezTo>
                      <a:cubicBezTo>
                        <a:pt x="379" y="135"/>
                        <a:pt x="379" y="135"/>
                        <a:pt x="379" y="135"/>
                      </a:cubicBezTo>
                      <a:cubicBezTo>
                        <a:pt x="378" y="135"/>
                        <a:pt x="378" y="135"/>
                        <a:pt x="378" y="135"/>
                      </a:cubicBezTo>
                      <a:cubicBezTo>
                        <a:pt x="378" y="137"/>
                        <a:pt x="378" y="137"/>
                        <a:pt x="378" y="137"/>
                      </a:cubicBezTo>
                      <a:cubicBezTo>
                        <a:pt x="379" y="138"/>
                        <a:pt x="379" y="138"/>
                        <a:pt x="379" y="138"/>
                      </a:cubicBezTo>
                      <a:cubicBezTo>
                        <a:pt x="380" y="138"/>
                        <a:pt x="380" y="138"/>
                        <a:pt x="380" y="138"/>
                      </a:cubicBezTo>
                      <a:cubicBezTo>
                        <a:pt x="382" y="136"/>
                        <a:pt x="382" y="136"/>
                        <a:pt x="382" y="136"/>
                      </a:cubicBezTo>
                      <a:cubicBezTo>
                        <a:pt x="382" y="135"/>
                        <a:pt x="382" y="135"/>
                        <a:pt x="382" y="135"/>
                      </a:cubicBezTo>
                      <a:cubicBezTo>
                        <a:pt x="381" y="135"/>
                        <a:pt x="381" y="135"/>
                        <a:pt x="381" y="135"/>
                      </a:cubicBezTo>
                      <a:cubicBezTo>
                        <a:pt x="380" y="133"/>
                        <a:pt x="380" y="133"/>
                        <a:pt x="380" y="133"/>
                      </a:cubicBezTo>
                      <a:cubicBezTo>
                        <a:pt x="379" y="132"/>
                        <a:pt x="379" y="132"/>
                        <a:pt x="379" y="132"/>
                      </a:cubicBezTo>
                      <a:close/>
                      <a:moveTo>
                        <a:pt x="382" y="132"/>
                      </a:moveTo>
                      <a:cubicBezTo>
                        <a:pt x="382" y="132"/>
                        <a:pt x="382" y="133"/>
                        <a:pt x="382" y="133"/>
                      </a:cubicBezTo>
                      <a:cubicBezTo>
                        <a:pt x="382" y="134"/>
                        <a:pt x="382" y="134"/>
                        <a:pt x="382" y="134"/>
                      </a:cubicBezTo>
                      <a:cubicBezTo>
                        <a:pt x="382" y="134"/>
                        <a:pt x="382" y="134"/>
                        <a:pt x="382" y="134"/>
                      </a:cubicBezTo>
                      <a:cubicBezTo>
                        <a:pt x="383" y="134"/>
                        <a:pt x="383" y="134"/>
                        <a:pt x="383" y="134"/>
                      </a:cubicBezTo>
                      <a:cubicBezTo>
                        <a:pt x="383" y="133"/>
                        <a:pt x="383" y="133"/>
                        <a:pt x="383" y="133"/>
                      </a:cubicBezTo>
                      <a:cubicBezTo>
                        <a:pt x="382" y="132"/>
                        <a:pt x="382" y="132"/>
                        <a:pt x="382" y="132"/>
                      </a:cubicBezTo>
                      <a:close/>
                      <a:moveTo>
                        <a:pt x="380" y="129"/>
                      </a:moveTo>
                      <a:cubicBezTo>
                        <a:pt x="378" y="129"/>
                        <a:pt x="378" y="129"/>
                        <a:pt x="378" y="129"/>
                      </a:cubicBezTo>
                      <a:cubicBezTo>
                        <a:pt x="378" y="130"/>
                        <a:pt x="378" y="130"/>
                        <a:pt x="378" y="130"/>
                      </a:cubicBezTo>
                      <a:cubicBezTo>
                        <a:pt x="380" y="132"/>
                        <a:pt x="380" y="132"/>
                        <a:pt x="380" y="132"/>
                      </a:cubicBezTo>
                      <a:cubicBezTo>
                        <a:pt x="381" y="132"/>
                        <a:pt x="381" y="132"/>
                        <a:pt x="381" y="132"/>
                      </a:cubicBezTo>
                      <a:cubicBezTo>
                        <a:pt x="381" y="132"/>
                        <a:pt x="381" y="132"/>
                        <a:pt x="381" y="132"/>
                      </a:cubicBezTo>
                      <a:cubicBezTo>
                        <a:pt x="380" y="131"/>
                        <a:pt x="380" y="131"/>
                        <a:pt x="380" y="131"/>
                      </a:cubicBezTo>
                      <a:cubicBezTo>
                        <a:pt x="380" y="129"/>
                        <a:pt x="380" y="129"/>
                        <a:pt x="380" y="129"/>
                      </a:cubicBezTo>
                      <a:close/>
                      <a:moveTo>
                        <a:pt x="383" y="128"/>
                      </a:moveTo>
                      <a:cubicBezTo>
                        <a:pt x="381" y="129"/>
                        <a:pt x="381" y="129"/>
                        <a:pt x="381" y="129"/>
                      </a:cubicBezTo>
                      <a:cubicBezTo>
                        <a:pt x="380" y="130"/>
                        <a:pt x="380" y="130"/>
                        <a:pt x="380" y="130"/>
                      </a:cubicBezTo>
                      <a:cubicBezTo>
                        <a:pt x="380" y="130"/>
                        <a:pt x="380" y="130"/>
                        <a:pt x="380" y="130"/>
                      </a:cubicBezTo>
                      <a:cubicBezTo>
                        <a:pt x="382" y="132"/>
                        <a:pt x="382" y="132"/>
                        <a:pt x="382" y="132"/>
                      </a:cubicBezTo>
                      <a:cubicBezTo>
                        <a:pt x="383" y="132"/>
                        <a:pt x="383" y="132"/>
                        <a:pt x="383" y="132"/>
                      </a:cubicBezTo>
                      <a:cubicBezTo>
                        <a:pt x="384" y="131"/>
                        <a:pt x="384" y="131"/>
                        <a:pt x="384" y="131"/>
                      </a:cubicBezTo>
                      <a:cubicBezTo>
                        <a:pt x="384" y="130"/>
                        <a:pt x="384" y="130"/>
                        <a:pt x="384" y="130"/>
                      </a:cubicBezTo>
                      <a:cubicBezTo>
                        <a:pt x="384" y="130"/>
                        <a:pt x="384" y="130"/>
                        <a:pt x="384" y="130"/>
                      </a:cubicBezTo>
                      <a:cubicBezTo>
                        <a:pt x="384" y="129"/>
                        <a:pt x="384" y="129"/>
                        <a:pt x="384" y="129"/>
                      </a:cubicBezTo>
                      <a:cubicBezTo>
                        <a:pt x="384" y="128"/>
                        <a:pt x="384" y="128"/>
                        <a:pt x="384" y="128"/>
                      </a:cubicBezTo>
                      <a:cubicBezTo>
                        <a:pt x="383" y="128"/>
                        <a:pt x="383" y="128"/>
                        <a:pt x="383" y="128"/>
                      </a:cubicBezTo>
                      <a:close/>
                      <a:moveTo>
                        <a:pt x="379" y="126"/>
                      </a:moveTo>
                      <a:cubicBezTo>
                        <a:pt x="379" y="126"/>
                        <a:pt x="379" y="126"/>
                        <a:pt x="379" y="126"/>
                      </a:cubicBezTo>
                      <a:cubicBezTo>
                        <a:pt x="379" y="127"/>
                        <a:pt x="379" y="127"/>
                        <a:pt x="379" y="127"/>
                      </a:cubicBezTo>
                      <a:cubicBezTo>
                        <a:pt x="379" y="126"/>
                        <a:pt x="379" y="126"/>
                        <a:pt x="379" y="126"/>
                      </a:cubicBezTo>
                      <a:cubicBezTo>
                        <a:pt x="379" y="126"/>
                        <a:pt x="379" y="126"/>
                        <a:pt x="379" y="126"/>
                      </a:cubicBezTo>
                      <a:close/>
                      <a:moveTo>
                        <a:pt x="382" y="123"/>
                      </a:moveTo>
                      <a:cubicBezTo>
                        <a:pt x="383" y="124"/>
                        <a:pt x="383" y="124"/>
                        <a:pt x="383" y="124"/>
                      </a:cubicBezTo>
                      <a:cubicBezTo>
                        <a:pt x="384" y="124"/>
                        <a:pt x="384" y="124"/>
                        <a:pt x="384" y="124"/>
                      </a:cubicBezTo>
                      <a:cubicBezTo>
                        <a:pt x="383" y="123"/>
                        <a:pt x="383" y="123"/>
                        <a:pt x="383" y="123"/>
                      </a:cubicBezTo>
                      <a:cubicBezTo>
                        <a:pt x="382" y="123"/>
                        <a:pt x="382" y="123"/>
                        <a:pt x="382" y="123"/>
                      </a:cubicBezTo>
                      <a:close/>
                      <a:moveTo>
                        <a:pt x="382" y="124"/>
                      </a:moveTo>
                      <a:cubicBezTo>
                        <a:pt x="381" y="123"/>
                        <a:pt x="381" y="123"/>
                        <a:pt x="381" y="123"/>
                      </a:cubicBezTo>
                      <a:cubicBezTo>
                        <a:pt x="380" y="125"/>
                        <a:pt x="380" y="125"/>
                        <a:pt x="380" y="125"/>
                      </a:cubicBezTo>
                      <a:cubicBezTo>
                        <a:pt x="379" y="125"/>
                        <a:pt x="379" y="125"/>
                        <a:pt x="379" y="125"/>
                      </a:cubicBezTo>
                      <a:cubicBezTo>
                        <a:pt x="380" y="126"/>
                        <a:pt x="380" y="126"/>
                        <a:pt x="380" y="126"/>
                      </a:cubicBezTo>
                      <a:cubicBezTo>
                        <a:pt x="381" y="126"/>
                        <a:pt x="381" y="126"/>
                        <a:pt x="381" y="126"/>
                      </a:cubicBezTo>
                      <a:cubicBezTo>
                        <a:pt x="381" y="126"/>
                        <a:pt x="381" y="126"/>
                        <a:pt x="381" y="126"/>
                      </a:cubicBezTo>
                      <a:cubicBezTo>
                        <a:pt x="380" y="127"/>
                        <a:pt x="380" y="127"/>
                        <a:pt x="380" y="127"/>
                      </a:cubicBezTo>
                      <a:cubicBezTo>
                        <a:pt x="380" y="128"/>
                        <a:pt x="380" y="128"/>
                        <a:pt x="380" y="128"/>
                      </a:cubicBezTo>
                      <a:cubicBezTo>
                        <a:pt x="381" y="128"/>
                        <a:pt x="381" y="128"/>
                        <a:pt x="381" y="128"/>
                      </a:cubicBezTo>
                      <a:cubicBezTo>
                        <a:pt x="382" y="127"/>
                        <a:pt x="382" y="127"/>
                        <a:pt x="382" y="127"/>
                      </a:cubicBezTo>
                      <a:cubicBezTo>
                        <a:pt x="384" y="127"/>
                        <a:pt x="384" y="127"/>
                        <a:pt x="384" y="127"/>
                      </a:cubicBezTo>
                      <a:cubicBezTo>
                        <a:pt x="384" y="126"/>
                        <a:pt x="384" y="126"/>
                        <a:pt x="384" y="126"/>
                      </a:cubicBezTo>
                      <a:cubicBezTo>
                        <a:pt x="384" y="125"/>
                        <a:pt x="384" y="125"/>
                        <a:pt x="384" y="125"/>
                      </a:cubicBezTo>
                      <a:cubicBezTo>
                        <a:pt x="383" y="125"/>
                        <a:pt x="383" y="125"/>
                        <a:pt x="383" y="125"/>
                      </a:cubicBezTo>
                      <a:cubicBezTo>
                        <a:pt x="382" y="124"/>
                        <a:pt x="382" y="124"/>
                        <a:pt x="382" y="124"/>
                      </a:cubicBezTo>
                      <a:close/>
                      <a:moveTo>
                        <a:pt x="357" y="139"/>
                      </a:moveTo>
                      <a:cubicBezTo>
                        <a:pt x="358" y="138"/>
                        <a:pt x="358" y="138"/>
                        <a:pt x="358" y="138"/>
                      </a:cubicBezTo>
                      <a:cubicBezTo>
                        <a:pt x="358" y="138"/>
                        <a:pt x="358" y="138"/>
                        <a:pt x="358" y="138"/>
                      </a:cubicBezTo>
                      <a:cubicBezTo>
                        <a:pt x="357" y="139"/>
                        <a:pt x="357" y="139"/>
                        <a:pt x="357" y="139"/>
                      </a:cubicBezTo>
                      <a:close/>
                      <a:moveTo>
                        <a:pt x="355" y="140"/>
                      </a:moveTo>
                      <a:cubicBezTo>
                        <a:pt x="357" y="141"/>
                        <a:pt x="357" y="141"/>
                        <a:pt x="357" y="141"/>
                      </a:cubicBezTo>
                      <a:cubicBezTo>
                        <a:pt x="357" y="140"/>
                        <a:pt x="357" y="140"/>
                        <a:pt x="357" y="140"/>
                      </a:cubicBezTo>
                      <a:cubicBezTo>
                        <a:pt x="355" y="140"/>
                        <a:pt x="355" y="140"/>
                        <a:pt x="355" y="140"/>
                      </a:cubicBezTo>
                      <a:close/>
                      <a:moveTo>
                        <a:pt x="347" y="144"/>
                      </a:moveTo>
                      <a:cubicBezTo>
                        <a:pt x="346" y="145"/>
                        <a:pt x="346" y="145"/>
                        <a:pt x="346" y="145"/>
                      </a:cubicBezTo>
                      <a:cubicBezTo>
                        <a:pt x="346" y="145"/>
                        <a:pt x="346" y="145"/>
                        <a:pt x="346" y="145"/>
                      </a:cubicBezTo>
                      <a:cubicBezTo>
                        <a:pt x="346" y="145"/>
                        <a:pt x="347" y="144"/>
                        <a:pt x="347" y="144"/>
                      </a:cubicBezTo>
                      <a:close/>
                      <a:moveTo>
                        <a:pt x="349" y="143"/>
                      </a:moveTo>
                      <a:cubicBezTo>
                        <a:pt x="347" y="143"/>
                        <a:pt x="347" y="143"/>
                        <a:pt x="347" y="143"/>
                      </a:cubicBezTo>
                      <a:cubicBezTo>
                        <a:pt x="348" y="144"/>
                        <a:pt x="348" y="144"/>
                        <a:pt x="348" y="144"/>
                      </a:cubicBezTo>
                      <a:cubicBezTo>
                        <a:pt x="349" y="144"/>
                        <a:pt x="349" y="144"/>
                        <a:pt x="349" y="144"/>
                      </a:cubicBezTo>
                      <a:cubicBezTo>
                        <a:pt x="349" y="143"/>
                        <a:pt x="349" y="143"/>
                        <a:pt x="349" y="143"/>
                      </a:cubicBezTo>
                      <a:close/>
                      <a:moveTo>
                        <a:pt x="349" y="150"/>
                      </a:moveTo>
                      <a:cubicBezTo>
                        <a:pt x="348" y="150"/>
                        <a:pt x="348" y="150"/>
                        <a:pt x="348" y="150"/>
                      </a:cubicBezTo>
                      <a:cubicBezTo>
                        <a:pt x="346" y="151"/>
                        <a:pt x="346" y="151"/>
                        <a:pt x="346" y="151"/>
                      </a:cubicBezTo>
                      <a:cubicBezTo>
                        <a:pt x="346" y="152"/>
                        <a:pt x="346" y="152"/>
                        <a:pt x="346" y="152"/>
                      </a:cubicBezTo>
                      <a:cubicBezTo>
                        <a:pt x="348" y="152"/>
                        <a:pt x="348" y="152"/>
                        <a:pt x="348" y="152"/>
                      </a:cubicBezTo>
                      <a:cubicBezTo>
                        <a:pt x="349" y="151"/>
                        <a:pt x="349" y="151"/>
                        <a:pt x="349" y="151"/>
                      </a:cubicBezTo>
                      <a:cubicBezTo>
                        <a:pt x="349" y="150"/>
                        <a:pt x="349" y="150"/>
                        <a:pt x="349" y="150"/>
                      </a:cubicBezTo>
                      <a:close/>
                      <a:moveTo>
                        <a:pt x="352" y="142"/>
                      </a:moveTo>
                      <a:cubicBezTo>
                        <a:pt x="350" y="145"/>
                        <a:pt x="350" y="145"/>
                        <a:pt x="350" y="145"/>
                      </a:cubicBezTo>
                      <a:cubicBezTo>
                        <a:pt x="350" y="145"/>
                        <a:pt x="350" y="145"/>
                        <a:pt x="350" y="145"/>
                      </a:cubicBezTo>
                      <a:cubicBezTo>
                        <a:pt x="350" y="146"/>
                        <a:pt x="350" y="146"/>
                        <a:pt x="350" y="146"/>
                      </a:cubicBezTo>
                      <a:cubicBezTo>
                        <a:pt x="349" y="147"/>
                        <a:pt x="349" y="147"/>
                        <a:pt x="349" y="147"/>
                      </a:cubicBezTo>
                      <a:cubicBezTo>
                        <a:pt x="349" y="149"/>
                        <a:pt x="349" y="149"/>
                        <a:pt x="349" y="149"/>
                      </a:cubicBezTo>
                      <a:cubicBezTo>
                        <a:pt x="350" y="150"/>
                        <a:pt x="350" y="150"/>
                        <a:pt x="350" y="150"/>
                      </a:cubicBezTo>
                      <a:cubicBezTo>
                        <a:pt x="352" y="149"/>
                        <a:pt x="352" y="149"/>
                        <a:pt x="352" y="149"/>
                      </a:cubicBezTo>
                      <a:cubicBezTo>
                        <a:pt x="354" y="147"/>
                        <a:pt x="354" y="147"/>
                        <a:pt x="354" y="147"/>
                      </a:cubicBezTo>
                      <a:cubicBezTo>
                        <a:pt x="354" y="144"/>
                        <a:pt x="354" y="144"/>
                        <a:pt x="354" y="144"/>
                      </a:cubicBezTo>
                      <a:cubicBezTo>
                        <a:pt x="354" y="143"/>
                        <a:pt x="354" y="143"/>
                        <a:pt x="354" y="143"/>
                      </a:cubicBezTo>
                      <a:cubicBezTo>
                        <a:pt x="355" y="142"/>
                        <a:pt x="355" y="142"/>
                        <a:pt x="355" y="142"/>
                      </a:cubicBezTo>
                      <a:cubicBezTo>
                        <a:pt x="354" y="141"/>
                        <a:pt x="354" y="141"/>
                        <a:pt x="354" y="141"/>
                      </a:cubicBezTo>
                      <a:cubicBezTo>
                        <a:pt x="353" y="141"/>
                        <a:pt x="353" y="141"/>
                        <a:pt x="353" y="141"/>
                      </a:cubicBezTo>
                      <a:cubicBezTo>
                        <a:pt x="352" y="141"/>
                        <a:pt x="352" y="141"/>
                        <a:pt x="352" y="141"/>
                      </a:cubicBezTo>
                      <a:cubicBezTo>
                        <a:pt x="352" y="142"/>
                        <a:pt x="352" y="142"/>
                        <a:pt x="352" y="142"/>
                      </a:cubicBezTo>
                      <a:close/>
                      <a:moveTo>
                        <a:pt x="338" y="132"/>
                      </a:moveTo>
                      <a:cubicBezTo>
                        <a:pt x="339" y="132"/>
                        <a:pt x="339" y="132"/>
                        <a:pt x="339" y="132"/>
                      </a:cubicBezTo>
                      <a:cubicBezTo>
                        <a:pt x="338" y="131"/>
                        <a:pt x="338" y="131"/>
                        <a:pt x="338" y="131"/>
                      </a:cubicBezTo>
                      <a:cubicBezTo>
                        <a:pt x="338" y="132"/>
                        <a:pt x="338" y="132"/>
                        <a:pt x="338" y="132"/>
                      </a:cubicBezTo>
                      <a:close/>
                      <a:moveTo>
                        <a:pt x="333" y="135"/>
                      </a:moveTo>
                      <a:cubicBezTo>
                        <a:pt x="332" y="136"/>
                        <a:pt x="332" y="136"/>
                        <a:pt x="332" y="136"/>
                      </a:cubicBezTo>
                      <a:cubicBezTo>
                        <a:pt x="334" y="136"/>
                        <a:pt x="334" y="136"/>
                        <a:pt x="334" y="136"/>
                      </a:cubicBezTo>
                      <a:cubicBezTo>
                        <a:pt x="333" y="135"/>
                        <a:pt x="333" y="135"/>
                        <a:pt x="333" y="135"/>
                      </a:cubicBezTo>
                      <a:close/>
                      <a:moveTo>
                        <a:pt x="337" y="150"/>
                      </a:moveTo>
                      <a:cubicBezTo>
                        <a:pt x="335" y="151"/>
                        <a:pt x="335" y="151"/>
                        <a:pt x="335" y="151"/>
                      </a:cubicBezTo>
                      <a:cubicBezTo>
                        <a:pt x="336" y="151"/>
                        <a:pt x="336" y="151"/>
                        <a:pt x="336" y="151"/>
                      </a:cubicBezTo>
                      <a:cubicBezTo>
                        <a:pt x="337" y="150"/>
                        <a:pt x="337" y="150"/>
                        <a:pt x="337" y="150"/>
                      </a:cubicBezTo>
                      <a:close/>
                      <a:moveTo>
                        <a:pt x="334" y="147"/>
                      </a:moveTo>
                      <a:cubicBezTo>
                        <a:pt x="335" y="147"/>
                        <a:pt x="335" y="147"/>
                        <a:pt x="335" y="147"/>
                      </a:cubicBezTo>
                      <a:cubicBezTo>
                        <a:pt x="336" y="148"/>
                        <a:pt x="336" y="148"/>
                        <a:pt x="336" y="148"/>
                      </a:cubicBezTo>
                      <a:cubicBezTo>
                        <a:pt x="336" y="149"/>
                        <a:pt x="336" y="149"/>
                        <a:pt x="336" y="149"/>
                      </a:cubicBezTo>
                      <a:cubicBezTo>
                        <a:pt x="335" y="150"/>
                        <a:pt x="335" y="150"/>
                        <a:pt x="335" y="150"/>
                      </a:cubicBezTo>
                      <a:cubicBezTo>
                        <a:pt x="334" y="149"/>
                        <a:pt x="334" y="149"/>
                        <a:pt x="334" y="149"/>
                      </a:cubicBezTo>
                      <a:cubicBezTo>
                        <a:pt x="334" y="147"/>
                        <a:pt x="334" y="147"/>
                        <a:pt x="334" y="147"/>
                      </a:cubicBezTo>
                      <a:close/>
                      <a:moveTo>
                        <a:pt x="323" y="141"/>
                      </a:moveTo>
                      <a:cubicBezTo>
                        <a:pt x="324" y="140"/>
                        <a:pt x="324" y="140"/>
                        <a:pt x="324" y="140"/>
                      </a:cubicBezTo>
                      <a:cubicBezTo>
                        <a:pt x="325" y="141"/>
                        <a:pt x="325" y="141"/>
                        <a:pt x="325" y="141"/>
                      </a:cubicBezTo>
                      <a:cubicBezTo>
                        <a:pt x="324" y="141"/>
                        <a:pt x="324" y="141"/>
                        <a:pt x="324" y="141"/>
                      </a:cubicBezTo>
                      <a:cubicBezTo>
                        <a:pt x="323" y="141"/>
                        <a:pt x="323" y="141"/>
                        <a:pt x="323" y="141"/>
                      </a:cubicBezTo>
                      <a:cubicBezTo>
                        <a:pt x="323" y="141"/>
                        <a:pt x="323" y="141"/>
                        <a:pt x="323" y="141"/>
                      </a:cubicBezTo>
                      <a:close/>
                      <a:moveTo>
                        <a:pt x="325" y="152"/>
                      </a:moveTo>
                      <a:cubicBezTo>
                        <a:pt x="327" y="152"/>
                        <a:pt x="327" y="152"/>
                        <a:pt x="327" y="152"/>
                      </a:cubicBezTo>
                      <a:cubicBezTo>
                        <a:pt x="328" y="153"/>
                        <a:pt x="328" y="153"/>
                        <a:pt x="328" y="153"/>
                      </a:cubicBezTo>
                      <a:cubicBezTo>
                        <a:pt x="326" y="153"/>
                        <a:pt x="326" y="153"/>
                        <a:pt x="326" y="153"/>
                      </a:cubicBezTo>
                      <a:cubicBezTo>
                        <a:pt x="325" y="152"/>
                        <a:pt x="325" y="152"/>
                        <a:pt x="325" y="152"/>
                      </a:cubicBezTo>
                      <a:close/>
                      <a:moveTo>
                        <a:pt x="310" y="145"/>
                      </a:moveTo>
                      <a:cubicBezTo>
                        <a:pt x="312" y="144"/>
                        <a:pt x="312" y="144"/>
                        <a:pt x="312" y="144"/>
                      </a:cubicBezTo>
                      <a:cubicBezTo>
                        <a:pt x="311" y="144"/>
                        <a:pt x="311" y="144"/>
                        <a:pt x="311" y="144"/>
                      </a:cubicBezTo>
                      <a:cubicBezTo>
                        <a:pt x="310" y="144"/>
                        <a:pt x="310" y="144"/>
                        <a:pt x="310" y="144"/>
                      </a:cubicBezTo>
                      <a:cubicBezTo>
                        <a:pt x="310" y="145"/>
                        <a:pt x="310" y="145"/>
                        <a:pt x="310" y="145"/>
                      </a:cubicBezTo>
                      <a:close/>
                      <a:moveTo>
                        <a:pt x="316" y="151"/>
                      </a:moveTo>
                      <a:cubicBezTo>
                        <a:pt x="318" y="151"/>
                        <a:pt x="318" y="151"/>
                        <a:pt x="318" y="151"/>
                      </a:cubicBezTo>
                      <a:cubicBezTo>
                        <a:pt x="320" y="151"/>
                        <a:pt x="320" y="151"/>
                        <a:pt x="320" y="151"/>
                      </a:cubicBezTo>
                      <a:cubicBezTo>
                        <a:pt x="320" y="152"/>
                        <a:pt x="320" y="152"/>
                        <a:pt x="320" y="152"/>
                      </a:cubicBezTo>
                      <a:cubicBezTo>
                        <a:pt x="318" y="153"/>
                        <a:pt x="318" y="153"/>
                        <a:pt x="318" y="153"/>
                      </a:cubicBezTo>
                      <a:cubicBezTo>
                        <a:pt x="316" y="152"/>
                        <a:pt x="316" y="152"/>
                        <a:pt x="316" y="152"/>
                      </a:cubicBezTo>
                      <a:cubicBezTo>
                        <a:pt x="316" y="151"/>
                        <a:pt x="316" y="151"/>
                        <a:pt x="316" y="151"/>
                      </a:cubicBezTo>
                      <a:close/>
                      <a:moveTo>
                        <a:pt x="313" y="152"/>
                      </a:moveTo>
                      <a:cubicBezTo>
                        <a:pt x="314" y="152"/>
                        <a:pt x="314" y="152"/>
                        <a:pt x="314" y="152"/>
                      </a:cubicBezTo>
                      <a:cubicBezTo>
                        <a:pt x="314" y="153"/>
                        <a:pt x="314" y="153"/>
                        <a:pt x="314" y="153"/>
                      </a:cubicBezTo>
                      <a:cubicBezTo>
                        <a:pt x="313" y="152"/>
                        <a:pt x="313" y="152"/>
                        <a:pt x="313" y="152"/>
                      </a:cubicBezTo>
                      <a:close/>
                      <a:moveTo>
                        <a:pt x="308" y="151"/>
                      </a:moveTo>
                      <a:cubicBezTo>
                        <a:pt x="310" y="151"/>
                        <a:pt x="310" y="151"/>
                        <a:pt x="310" y="151"/>
                      </a:cubicBezTo>
                      <a:cubicBezTo>
                        <a:pt x="311" y="151"/>
                        <a:pt x="311" y="151"/>
                        <a:pt x="311" y="151"/>
                      </a:cubicBezTo>
                      <a:cubicBezTo>
                        <a:pt x="309" y="152"/>
                        <a:pt x="309" y="152"/>
                        <a:pt x="309" y="152"/>
                      </a:cubicBezTo>
                      <a:cubicBezTo>
                        <a:pt x="308" y="151"/>
                        <a:pt x="308" y="151"/>
                        <a:pt x="308" y="151"/>
                      </a:cubicBezTo>
                      <a:close/>
                      <a:moveTo>
                        <a:pt x="272" y="172"/>
                      </a:moveTo>
                      <a:cubicBezTo>
                        <a:pt x="272" y="174"/>
                        <a:pt x="272" y="174"/>
                        <a:pt x="272" y="174"/>
                      </a:cubicBezTo>
                      <a:cubicBezTo>
                        <a:pt x="273" y="175"/>
                        <a:pt x="273" y="175"/>
                        <a:pt x="273" y="175"/>
                      </a:cubicBezTo>
                      <a:cubicBezTo>
                        <a:pt x="276" y="175"/>
                        <a:pt x="276" y="175"/>
                        <a:pt x="276" y="175"/>
                      </a:cubicBezTo>
                      <a:cubicBezTo>
                        <a:pt x="279" y="173"/>
                        <a:pt x="279" y="173"/>
                        <a:pt x="279" y="173"/>
                      </a:cubicBezTo>
                      <a:cubicBezTo>
                        <a:pt x="280" y="172"/>
                        <a:pt x="280" y="172"/>
                        <a:pt x="280" y="172"/>
                      </a:cubicBezTo>
                      <a:cubicBezTo>
                        <a:pt x="282" y="173"/>
                        <a:pt x="282" y="173"/>
                        <a:pt x="282" y="173"/>
                      </a:cubicBezTo>
                      <a:cubicBezTo>
                        <a:pt x="284" y="171"/>
                        <a:pt x="284" y="171"/>
                        <a:pt x="284" y="171"/>
                      </a:cubicBezTo>
                      <a:cubicBezTo>
                        <a:pt x="285" y="169"/>
                        <a:pt x="285" y="169"/>
                        <a:pt x="285" y="169"/>
                      </a:cubicBezTo>
                      <a:cubicBezTo>
                        <a:pt x="289" y="167"/>
                        <a:pt x="289" y="167"/>
                        <a:pt x="289" y="167"/>
                      </a:cubicBezTo>
                      <a:cubicBezTo>
                        <a:pt x="289" y="165"/>
                        <a:pt x="289" y="165"/>
                        <a:pt x="289" y="165"/>
                      </a:cubicBezTo>
                      <a:cubicBezTo>
                        <a:pt x="290" y="165"/>
                        <a:pt x="290" y="165"/>
                        <a:pt x="290" y="165"/>
                      </a:cubicBezTo>
                      <a:cubicBezTo>
                        <a:pt x="288" y="163"/>
                        <a:pt x="288" y="163"/>
                        <a:pt x="288" y="163"/>
                      </a:cubicBezTo>
                      <a:cubicBezTo>
                        <a:pt x="286" y="160"/>
                        <a:pt x="286" y="160"/>
                        <a:pt x="286" y="160"/>
                      </a:cubicBezTo>
                      <a:cubicBezTo>
                        <a:pt x="285" y="161"/>
                        <a:pt x="285" y="161"/>
                        <a:pt x="285" y="161"/>
                      </a:cubicBezTo>
                      <a:cubicBezTo>
                        <a:pt x="284" y="161"/>
                        <a:pt x="284" y="161"/>
                        <a:pt x="284" y="161"/>
                      </a:cubicBezTo>
                      <a:cubicBezTo>
                        <a:pt x="283" y="164"/>
                        <a:pt x="283" y="164"/>
                        <a:pt x="283" y="164"/>
                      </a:cubicBezTo>
                      <a:cubicBezTo>
                        <a:pt x="282" y="164"/>
                        <a:pt x="282" y="164"/>
                        <a:pt x="282" y="164"/>
                      </a:cubicBezTo>
                      <a:cubicBezTo>
                        <a:pt x="280" y="165"/>
                        <a:pt x="280" y="165"/>
                        <a:pt x="280" y="165"/>
                      </a:cubicBezTo>
                      <a:cubicBezTo>
                        <a:pt x="278" y="163"/>
                        <a:pt x="278" y="163"/>
                        <a:pt x="278" y="163"/>
                      </a:cubicBezTo>
                      <a:cubicBezTo>
                        <a:pt x="278" y="164"/>
                        <a:pt x="278" y="164"/>
                        <a:pt x="278" y="164"/>
                      </a:cubicBezTo>
                      <a:cubicBezTo>
                        <a:pt x="276" y="165"/>
                        <a:pt x="276" y="165"/>
                        <a:pt x="276" y="165"/>
                      </a:cubicBezTo>
                      <a:cubicBezTo>
                        <a:pt x="275" y="167"/>
                        <a:pt x="275" y="167"/>
                        <a:pt x="275" y="167"/>
                      </a:cubicBezTo>
                      <a:cubicBezTo>
                        <a:pt x="273" y="170"/>
                        <a:pt x="273" y="170"/>
                        <a:pt x="273" y="170"/>
                      </a:cubicBezTo>
                      <a:cubicBezTo>
                        <a:pt x="273" y="171"/>
                        <a:pt x="273" y="171"/>
                        <a:pt x="273" y="171"/>
                      </a:cubicBezTo>
                      <a:cubicBezTo>
                        <a:pt x="274" y="172"/>
                        <a:pt x="274" y="172"/>
                        <a:pt x="274" y="172"/>
                      </a:cubicBezTo>
                      <a:cubicBezTo>
                        <a:pt x="274" y="173"/>
                        <a:pt x="274" y="173"/>
                        <a:pt x="274" y="173"/>
                      </a:cubicBezTo>
                      <a:cubicBezTo>
                        <a:pt x="273" y="173"/>
                        <a:pt x="273" y="173"/>
                        <a:pt x="273" y="173"/>
                      </a:cubicBezTo>
                      <a:cubicBezTo>
                        <a:pt x="272" y="172"/>
                        <a:pt x="272" y="172"/>
                        <a:pt x="272" y="172"/>
                      </a:cubicBezTo>
                      <a:close/>
                      <a:moveTo>
                        <a:pt x="270" y="174"/>
                      </a:moveTo>
                      <a:cubicBezTo>
                        <a:pt x="271" y="172"/>
                        <a:pt x="271" y="172"/>
                        <a:pt x="271" y="172"/>
                      </a:cubicBezTo>
                      <a:cubicBezTo>
                        <a:pt x="270" y="172"/>
                        <a:pt x="270" y="172"/>
                        <a:pt x="270" y="172"/>
                      </a:cubicBezTo>
                      <a:cubicBezTo>
                        <a:pt x="269" y="174"/>
                        <a:pt x="269" y="174"/>
                        <a:pt x="269" y="174"/>
                      </a:cubicBezTo>
                      <a:cubicBezTo>
                        <a:pt x="270" y="174"/>
                        <a:pt x="270" y="174"/>
                        <a:pt x="270" y="174"/>
                      </a:cubicBezTo>
                      <a:close/>
                      <a:moveTo>
                        <a:pt x="271" y="176"/>
                      </a:moveTo>
                      <a:cubicBezTo>
                        <a:pt x="269" y="177"/>
                        <a:pt x="269" y="177"/>
                        <a:pt x="269" y="177"/>
                      </a:cubicBezTo>
                      <a:cubicBezTo>
                        <a:pt x="269" y="177"/>
                        <a:pt x="269" y="177"/>
                        <a:pt x="269" y="177"/>
                      </a:cubicBezTo>
                      <a:cubicBezTo>
                        <a:pt x="266" y="178"/>
                        <a:pt x="266" y="178"/>
                        <a:pt x="266" y="178"/>
                      </a:cubicBezTo>
                      <a:cubicBezTo>
                        <a:pt x="265" y="180"/>
                        <a:pt x="265" y="180"/>
                        <a:pt x="265" y="180"/>
                      </a:cubicBezTo>
                      <a:cubicBezTo>
                        <a:pt x="266" y="180"/>
                        <a:pt x="266" y="180"/>
                        <a:pt x="266" y="180"/>
                      </a:cubicBezTo>
                      <a:cubicBezTo>
                        <a:pt x="270" y="178"/>
                        <a:pt x="270" y="178"/>
                        <a:pt x="270" y="178"/>
                      </a:cubicBezTo>
                      <a:cubicBezTo>
                        <a:pt x="271" y="177"/>
                        <a:pt x="271" y="177"/>
                        <a:pt x="271" y="177"/>
                      </a:cubicBezTo>
                      <a:cubicBezTo>
                        <a:pt x="271" y="176"/>
                        <a:pt x="271" y="176"/>
                        <a:pt x="271" y="176"/>
                      </a:cubicBezTo>
                      <a:close/>
                      <a:moveTo>
                        <a:pt x="256" y="175"/>
                      </a:moveTo>
                      <a:cubicBezTo>
                        <a:pt x="257" y="176"/>
                        <a:pt x="257" y="176"/>
                        <a:pt x="257" y="176"/>
                      </a:cubicBezTo>
                      <a:cubicBezTo>
                        <a:pt x="257" y="177"/>
                        <a:pt x="257" y="177"/>
                        <a:pt x="257" y="177"/>
                      </a:cubicBezTo>
                      <a:cubicBezTo>
                        <a:pt x="256" y="178"/>
                        <a:pt x="256" y="178"/>
                        <a:pt x="256" y="178"/>
                      </a:cubicBezTo>
                      <a:cubicBezTo>
                        <a:pt x="254" y="177"/>
                        <a:pt x="254" y="177"/>
                        <a:pt x="254" y="177"/>
                      </a:cubicBezTo>
                      <a:cubicBezTo>
                        <a:pt x="255" y="176"/>
                        <a:pt x="255" y="176"/>
                        <a:pt x="255" y="176"/>
                      </a:cubicBezTo>
                      <a:cubicBezTo>
                        <a:pt x="256" y="175"/>
                        <a:pt x="256" y="175"/>
                        <a:pt x="256" y="175"/>
                      </a:cubicBezTo>
                      <a:close/>
                      <a:moveTo>
                        <a:pt x="228" y="165"/>
                      </a:moveTo>
                      <a:cubicBezTo>
                        <a:pt x="232" y="162"/>
                        <a:pt x="232" y="162"/>
                        <a:pt x="232" y="162"/>
                      </a:cubicBezTo>
                      <a:cubicBezTo>
                        <a:pt x="235" y="165"/>
                        <a:pt x="235" y="165"/>
                        <a:pt x="235" y="165"/>
                      </a:cubicBezTo>
                      <a:cubicBezTo>
                        <a:pt x="237" y="165"/>
                        <a:pt x="237" y="165"/>
                        <a:pt x="237" y="165"/>
                      </a:cubicBezTo>
                      <a:cubicBezTo>
                        <a:pt x="238" y="164"/>
                        <a:pt x="238" y="164"/>
                        <a:pt x="238" y="164"/>
                      </a:cubicBezTo>
                      <a:cubicBezTo>
                        <a:pt x="241" y="165"/>
                        <a:pt x="241" y="165"/>
                        <a:pt x="241" y="165"/>
                      </a:cubicBezTo>
                      <a:cubicBezTo>
                        <a:pt x="241" y="166"/>
                        <a:pt x="241" y="166"/>
                        <a:pt x="241" y="166"/>
                      </a:cubicBezTo>
                      <a:cubicBezTo>
                        <a:pt x="243" y="166"/>
                        <a:pt x="243" y="166"/>
                        <a:pt x="243" y="166"/>
                      </a:cubicBezTo>
                      <a:cubicBezTo>
                        <a:pt x="245" y="169"/>
                        <a:pt x="245" y="169"/>
                        <a:pt x="245" y="169"/>
                      </a:cubicBezTo>
                      <a:cubicBezTo>
                        <a:pt x="246" y="171"/>
                        <a:pt x="246" y="171"/>
                        <a:pt x="246" y="171"/>
                      </a:cubicBezTo>
                      <a:cubicBezTo>
                        <a:pt x="247" y="172"/>
                        <a:pt x="247" y="172"/>
                        <a:pt x="247" y="172"/>
                      </a:cubicBezTo>
                      <a:cubicBezTo>
                        <a:pt x="244" y="173"/>
                        <a:pt x="244" y="173"/>
                        <a:pt x="244" y="173"/>
                      </a:cubicBezTo>
                      <a:cubicBezTo>
                        <a:pt x="241" y="173"/>
                        <a:pt x="241" y="173"/>
                        <a:pt x="241" y="173"/>
                      </a:cubicBezTo>
                      <a:cubicBezTo>
                        <a:pt x="239" y="172"/>
                        <a:pt x="239" y="172"/>
                        <a:pt x="239" y="172"/>
                      </a:cubicBezTo>
                      <a:cubicBezTo>
                        <a:pt x="238" y="170"/>
                        <a:pt x="238" y="170"/>
                        <a:pt x="238" y="170"/>
                      </a:cubicBezTo>
                      <a:cubicBezTo>
                        <a:pt x="236" y="170"/>
                        <a:pt x="236" y="170"/>
                        <a:pt x="236" y="170"/>
                      </a:cubicBezTo>
                      <a:cubicBezTo>
                        <a:pt x="234" y="168"/>
                        <a:pt x="234" y="168"/>
                        <a:pt x="234" y="168"/>
                      </a:cubicBezTo>
                      <a:cubicBezTo>
                        <a:pt x="232" y="168"/>
                        <a:pt x="232" y="168"/>
                        <a:pt x="232" y="168"/>
                      </a:cubicBezTo>
                      <a:cubicBezTo>
                        <a:pt x="230" y="168"/>
                        <a:pt x="230" y="168"/>
                        <a:pt x="230" y="168"/>
                      </a:cubicBezTo>
                      <a:cubicBezTo>
                        <a:pt x="228" y="166"/>
                        <a:pt x="228" y="166"/>
                        <a:pt x="228" y="166"/>
                      </a:cubicBezTo>
                      <a:cubicBezTo>
                        <a:pt x="228" y="165"/>
                        <a:pt x="228" y="165"/>
                        <a:pt x="228" y="165"/>
                      </a:cubicBezTo>
                      <a:close/>
                      <a:moveTo>
                        <a:pt x="198" y="142"/>
                      </a:moveTo>
                      <a:cubicBezTo>
                        <a:pt x="200" y="142"/>
                        <a:pt x="200" y="142"/>
                        <a:pt x="200" y="142"/>
                      </a:cubicBezTo>
                      <a:cubicBezTo>
                        <a:pt x="200" y="142"/>
                        <a:pt x="200" y="142"/>
                        <a:pt x="200" y="142"/>
                      </a:cubicBezTo>
                      <a:cubicBezTo>
                        <a:pt x="200" y="143"/>
                        <a:pt x="200" y="143"/>
                        <a:pt x="200" y="143"/>
                      </a:cubicBezTo>
                      <a:cubicBezTo>
                        <a:pt x="199" y="142"/>
                        <a:pt x="199" y="142"/>
                        <a:pt x="199" y="142"/>
                      </a:cubicBezTo>
                      <a:cubicBezTo>
                        <a:pt x="198" y="142"/>
                        <a:pt x="198" y="142"/>
                        <a:pt x="198" y="142"/>
                      </a:cubicBezTo>
                      <a:close/>
                      <a:moveTo>
                        <a:pt x="193" y="139"/>
                      </a:move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39"/>
                        <a:pt x="195" y="139"/>
                        <a:pt x="195" y="139"/>
                      </a:cubicBezTo>
                      <a:cubicBezTo>
                        <a:pt x="196" y="139"/>
                        <a:pt x="196" y="139"/>
                        <a:pt x="196" y="139"/>
                      </a:cubicBezTo>
                      <a:cubicBezTo>
                        <a:pt x="197" y="139"/>
                        <a:pt x="197" y="139"/>
                        <a:pt x="197" y="139"/>
                      </a:cubicBezTo>
                      <a:cubicBezTo>
                        <a:pt x="196" y="138"/>
                        <a:pt x="196" y="138"/>
                        <a:pt x="196" y="138"/>
                      </a:cubicBezTo>
                      <a:cubicBezTo>
                        <a:pt x="195" y="138"/>
                        <a:pt x="195" y="138"/>
                        <a:pt x="195" y="138"/>
                      </a:cubicBezTo>
                      <a:cubicBezTo>
                        <a:pt x="193" y="138"/>
                        <a:pt x="193" y="138"/>
                        <a:pt x="193" y="138"/>
                      </a:cubicBezTo>
                      <a:cubicBezTo>
                        <a:pt x="193" y="138"/>
                        <a:pt x="193" y="138"/>
                        <a:pt x="193" y="138"/>
                      </a:cubicBezTo>
                      <a:cubicBezTo>
                        <a:pt x="193" y="139"/>
                        <a:pt x="193" y="139"/>
                        <a:pt x="193" y="139"/>
                      </a:cubicBezTo>
                      <a:close/>
                      <a:moveTo>
                        <a:pt x="297" y="149"/>
                      </a:moveTo>
                      <a:cubicBezTo>
                        <a:pt x="299" y="148"/>
                        <a:pt x="299" y="148"/>
                        <a:pt x="299" y="148"/>
                      </a:cubicBezTo>
                      <a:cubicBezTo>
                        <a:pt x="302" y="148"/>
                        <a:pt x="302" y="148"/>
                        <a:pt x="302" y="148"/>
                      </a:cubicBezTo>
                      <a:cubicBezTo>
                        <a:pt x="303" y="149"/>
                        <a:pt x="303" y="149"/>
                        <a:pt x="303" y="149"/>
                      </a:cubicBezTo>
                      <a:cubicBezTo>
                        <a:pt x="303" y="148"/>
                        <a:pt x="303" y="148"/>
                        <a:pt x="303" y="148"/>
                      </a:cubicBezTo>
                      <a:cubicBezTo>
                        <a:pt x="305" y="147"/>
                        <a:pt x="305" y="147"/>
                        <a:pt x="305" y="147"/>
                      </a:cubicBezTo>
                      <a:cubicBezTo>
                        <a:pt x="306" y="147"/>
                        <a:pt x="306" y="147"/>
                        <a:pt x="306" y="147"/>
                      </a:cubicBezTo>
                      <a:cubicBezTo>
                        <a:pt x="306" y="145"/>
                        <a:pt x="306" y="145"/>
                        <a:pt x="306" y="145"/>
                      </a:cubicBezTo>
                      <a:cubicBezTo>
                        <a:pt x="304" y="145"/>
                        <a:pt x="304" y="145"/>
                        <a:pt x="304" y="145"/>
                      </a:cubicBezTo>
                      <a:cubicBezTo>
                        <a:pt x="303" y="146"/>
                        <a:pt x="303" y="146"/>
                        <a:pt x="303" y="146"/>
                      </a:cubicBezTo>
                      <a:cubicBezTo>
                        <a:pt x="300" y="146"/>
                        <a:pt x="300" y="146"/>
                        <a:pt x="300" y="146"/>
                      </a:cubicBezTo>
                      <a:cubicBezTo>
                        <a:pt x="299" y="145"/>
                        <a:pt x="299" y="145"/>
                        <a:pt x="299" y="145"/>
                      </a:cubicBezTo>
                      <a:cubicBezTo>
                        <a:pt x="297" y="146"/>
                        <a:pt x="297" y="146"/>
                        <a:pt x="297" y="146"/>
                      </a:cubicBezTo>
                      <a:cubicBezTo>
                        <a:pt x="296" y="148"/>
                        <a:pt x="296" y="148"/>
                        <a:pt x="296" y="148"/>
                      </a:cubicBezTo>
                      <a:cubicBezTo>
                        <a:pt x="297" y="149"/>
                        <a:pt x="297" y="149"/>
                        <a:pt x="297" y="149"/>
                      </a:cubicBezTo>
                      <a:close/>
                      <a:moveTo>
                        <a:pt x="294" y="152"/>
                      </a:moveTo>
                      <a:cubicBezTo>
                        <a:pt x="293" y="153"/>
                        <a:pt x="293" y="153"/>
                        <a:pt x="293" y="153"/>
                      </a:cubicBezTo>
                      <a:cubicBezTo>
                        <a:pt x="293" y="153"/>
                        <a:pt x="293" y="153"/>
                        <a:pt x="293" y="153"/>
                      </a:cubicBezTo>
                      <a:cubicBezTo>
                        <a:pt x="294" y="152"/>
                        <a:pt x="294" y="152"/>
                        <a:pt x="294" y="152"/>
                      </a:cubicBezTo>
                      <a:cubicBezTo>
                        <a:pt x="294" y="152"/>
                        <a:pt x="294" y="152"/>
                        <a:pt x="294" y="152"/>
                      </a:cubicBezTo>
                      <a:close/>
                      <a:moveTo>
                        <a:pt x="285" y="152"/>
                      </a:moveTo>
                      <a:cubicBezTo>
                        <a:pt x="283" y="152"/>
                        <a:pt x="283" y="152"/>
                        <a:pt x="283" y="152"/>
                      </a:cubicBezTo>
                      <a:cubicBezTo>
                        <a:pt x="284" y="153"/>
                        <a:pt x="284" y="153"/>
                        <a:pt x="284" y="153"/>
                      </a:cubicBezTo>
                      <a:cubicBezTo>
                        <a:pt x="283" y="154"/>
                        <a:pt x="283" y="154"/>
                        <a:pt x="283" y="154"/>
                      </a:cubicBezTo>
                      <a:cubicBezTo>
                        <a:pt x="283" y="154"/>
                        <a:pt x="283" y="154"/>
                        <a:pt x="283" y="154"/>
                      </a:cubicBezTo>
                      <a:cubicBezTo>
                        <a:pt x="285" y="155"/>
                        <a:pt x="285" y="155"/>
                        <a:pt x="285" y="155"/>
                      </a:cubicBezTo>
                      <a:cubicBezTo>
                        <a:pt x="288" y="154"/>
                        <a:pt x="288" y="154"/>
                        <a:pt x="288" y="154"/>
                      </a:cubicBezTo>
                      <a:cubicBezTo>
                        <a:pt x="289" y="152"/>
                        <a:pt x="289" y="152"/>
                        <a:pt x="289" y="152"/>
                      </a:cubicBezTo>
                      <a:cubicBezTo>
                        <a:pt x="288" y="152"/>
                        <a:pt x="288" y="152"/>
                        <a:pt x="288" y="152"/>
                      </a:cubicBezTo>
                      <a:cubicBezTo>
                        <a:pt x="286" y="152"/>
                        <a:pt x="286" y="152"/>
                        <a:pt x="286" y="152"/>
                      </a:cubicBezTo>
                      <a:cubicBezTo>
                        <a:pt x="285" y="152"/>
                        <a:pt x="285" y="152"/>
                        <a:pt x="285" y="152"/>
                      </a:cubicBezTo>
                      <a:close/>
                      <a:moveTo>
                        <a:pt x="278" y="155"/>
                      </a:moveTo>
                      <a:cubicBezTo>
                        <a:pt x="279" y="155"/>
                        <a:pt x="279" y="155"/>
                        <a:pt x="279" y="155"/>
                      </a:cubicBezTo>
                      <a:cubicBezTo>
                        <a:pt x="280" y="156"/>
                        <a:pt x="280" y="156"/>
                        <a:pt x="280" y="156"/>
                      </a:cubicBezTo>
                      <a:cubicBezTo>
                        <a:pt x="281" y="154"/>
                        <a:pt x="281" y="154"/>
                        <a:pt x="281" y="154"/>
                      </a:cubicBezTo>
                      <a:cubicBezTo>
                        <a:pt x="281" y="153"/>
                        <a:pt x="281" y="153"/>
                        <a:pt x="281" y="153"/>
                      </a:cubicBezTo>
                      <a:cubicBezTo>
                        <a:pt x="280" y="154"/>
                        <a:pt x="280" y="154"/>
                        <a:pt x="280" y="154"/>
                      </a:cubicBezTo>
                      <a:cubicBezTo>
                        <a:pt x="279" y="154"/>
                        <a:pt x="279" y="154"/>
                        <a:pt x="279" y="154"/>
                      </a:cubicBezTo>
                      <a:cubicBezTo>
                        <a:pt x="278" y="155"/>
                        <a:pt x="278" y="155"/>
                        <a:pt x="278" y="155"/>
                      </a:cubicBezTo>
                      <a:close/>
                      <a:moveTo>
                        <a:pt x="272" y="156"/>
                      </a:moveTo>
                      <a:cubicBezTo>
                        <a:pt x="274" y="154"/>
                        <a:pt x="274" y="154"/>
                        <a:pt x="274" y="154"/>
                      </a:cubicBezTo>
                      <a:cubicBezTo>
                        <a:pt x="273" y="153"/>
                        <a:pt x="273" y="153"/>
                        <a:pt x="273" y="153"/>
                      </a:cubicBezTo>
                      <a:cubicBezTo>
                        <a:pt x="274" y="153"/>
                        <a:pt x="274" y="153"/>
                        <a:pt x="274" y="153"/>
                      </a:cubicBezTo>
                      <a:cubicBezTo>
                        <a:pt x="275" y="153"/>
                        <a:pt x="275" y="153"/>
                        <a:pt x="275" y="153"/>
                      </a:cubicBezTo>
                      <a:cubicBezTo>
                        <a:pt x="277" y="152"/>
                        <a:pt x="277" y="152"/>
                        <a:pt x="277" y="152"/>
                      </a:cubicBezTo>
                      <a:cubicBezTo>
                        <a:pt x="278" y="153"/>
                        <a:pt x="278" y="153"/>
                        <a:pt x="278" y="153"/>
                      </a:cubicBezTo>
                      <a:cubicBezTo>
                        <a:pt x="276" y="155"/>
                        <a:pt x="276" y="155"/>
                        <a:pt x="276" y="155"/>
                      </a:cubicBezTo>
                      <a:cubicBezTo>
                        <a:pt x="275" y="156"/>
                        <a:pt x="275" y="156"/>
                        <a:pt x="275" y="156"/>
                      </a:cubicBezTo>
                      <a:cubicBezTo>
                        <a:pt x="273" y="156"/>
                        <a:pt x="273" y="156"/>
                        <a:pt x="273" y="156"/>
                      </a:cubicBezTo>
                      <a:cubicBezTo>
                        <a:pt x="272" y="156"/>
                        <a:pt x="272" y="156"/>
                        <a:pt x="272" y="156"/>
                      </a:cubicBezTo>
                      <a:close/>
                      <a:moveTo>
                        <a:pt x="270" y="155"/>
                      </a:moveTo>
                      <a:cubicBezTo>
                        <a:pt x="268" y="156"/>
                        <a:pt x="268" y="156"/>
                        <a:pt x="268" y="156"/>
                      </a:cubicBezTo>
                      <a:cubicBezTo>
                        <a:pt x="267" y="157"/>
                        <a:pt x="267" y="157"/>
                        <a:pt x="267" y="157"/>
                      </a:cubicBezTo>
                      <a:cubicBezTo>
                        <a:pt x="269" y="156"/>
                        <a:pt x="269" y="156"/>
                        <a:pt x="269" y="156"/>
                      </a:cubicBezTo>
                      <a:cubicBezTo>
                        <a:pt x="270" y="155"/>
                        <a:pt x="270" y="155"/>
                        <a:pt x="270" y="155"/>
                      </a:cubicBezTo>
                      <a:close/>
                      <a:moveTo>
                        <a:pt x="271" y="152"/>
                      </a:moveTo>
                      <a:cubicBezTo>
                        <a:pt x="270" y="153"/>
                        <a:pt x="270" y="153"/>
                        <a:pt x="270" y="153"/>
                      </a:cubicBezTo>
                      <a:cubicBezTo>
                        <a:pt x="271" y="154"/>
                        <a:pt x="271" y="154"/>
                        <a:pt x="271" y="154"/>
                      </a:cubicBezTo>
                      <a:cubicBezTo>
                        <a:pt x="271" y="153"/>
                        <a:pt x="271" y="153"/>
                        <a:pt x="271" y="153"/>
                      </a:cubicBezTo>
                      <a:cubicBezTo>
                        <a:pt x="271" y="152"/>
                        <a:pt x="271" y="152"/>
                        <a:pt x="271" y="152"/>
                      </a:cubicBezTo>
                      <a:close/>
                      <a:moveTo>
                        <a:pt x="237" y="156"/>
                      </a:moveTo>
                      <a:cubicBezTo>
                        <a:pt x="237" y="156"/>
                        <a:pt x="237" y="155"/>
                        <a:pt x="237" y="155"/>
                      </a:cubicBezTo>
                      <a:cubicBezTo>
                        <a:pt x="240" y="153"/>
                        <a:pt x="240" y="153"/>
                        <a:pt x="240" y="153"/>
                      </a:cubicBezTo>
                      <a:cubicBezTo>
                        <a:pt x="245" y="152"/>
                        <a:pt x="245" y="152"/>
                        <a:pt x="245" y="152"/>
                      </a:cubicBezTo>
                      <a:cubicBezTo>
                        <a:pt x="247" y="153"/>
                        <a:pt x="247" y="153"/>
                        <a:pt x="247" y="153"/>
                      </a:cubicBezTo>
                      <a:cubicBezTo>
                        <a:pt x="249" y="153"/>
                        <a:pt x="249" y="153"/>
                        <a:pt x="249" y="153"/>
                      </a:cubicBezTo>
                      <a:cubicBezTo>
                        <a:pt x="251" y="153"/>
                        <a:pt x="251" y="153"/>
                        <a:pt x="251" y="153"/>
                      </a:cubicBezTo>
                      <a:cubicBezTo>
                        <a:pt x="254" y="155"/>
                        <a:pt x="254" y="155"/>
                        <a:pt x="254" y="155"/>
                      </a:cubicBezTo>
                      <a:cubicBezTo>
                        <a:pt x="256" y="154"/>
                        <a:pt x="256" y="154"/>
                        <a:pt x="256" y="154"/>
                      </a:cubicBezTo>
                      <a:cubicBezTo>
                        <a:pt x="259" y="154"/>
                        <a:pt x="259" y="154"/>
                        <a:pt x="259" y="154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262" y="155"/>
                        <a:pt x="262" y="155"/>
                        <a:pt x="262" y="155"/>
                      </a:cubicBezTo>
                      <a:cubicBezTo>
                        <a:pt x="263" y="154"/>
                        <a:pt x="263" y="154"/>
                        <a:pt x="263" y="154"/>
                      </a:cubicBezTo>
                      <a:cubicBezTo>
                        <a:pt x="265" y="153"/>
                        <a:pt x="265" y="153"/>
                        <a:pt x="265" y="153"/>
                      </a:cubicBezTo>
                      <a:cubicBezTo>
                        <a:pt x="266" y="152"/>
                        <a:pt x="266" y="152"/>
                        <a:pt x="266" y="152"/>
                      </a:cubicBezTo>
                      <a:cubicBezTo>
                        <a:pt x="265" y="151"/>
                        <a:pt x="265" y="151"/>
                        <a:pt x="265" y="151"/>
                      </a:cubicBezTo>
                      <a:cubicBezTo>
                        <a:pt x="267" y="150"/>
                        <a:pt x="267" y="150"/>
                        <a:pt x="267" y="150"/>
                      </a:cubicBezTo>
                      <a:cubicBezTo>
                        <a:pt x="269" y="151"/>
                        <a:pt x="269" y="151"/>
                        <a:pt x="269" y="151"/>
                      </a:cubicBezTo>
                      <a:cubicBezTo>
                        <a:pt x="269" y="153"/>
                        <a:pt x="269" y="153"/>
                        <a:pt x="269" y="153"/>
                      </a:cubicBezTo>
                      <a:cubicBezTo>
                        <a:pt x="268" y="154"/>
                        <a:pt x="268" y="154"/>
                        <a:pt x="268" y="154"/>
                      </a:cubicBezTo>
                      <a:cubicBezTo>
                        <a:pt x="267" y="155"/>
                        <a:pt x="267" y="155"/>
                        <a:pt x="267" y="155"/>
                      </a:cubicBezTo>
                      <a:cubicBezTo>
                        <a:pt x="266" y="157"/>
                        <a:pt x="266" y="157"/>
                        <a:pt x="266" y="157"/>
                      </a:cubicBezTo>
                      <a:cubicBezTo>
                        <a:pt x="263" y="157"/>
                        <a:pt x="263" y="157"/>
                        <a:pt x="263" y="157"/>
                      </a:cubicBezTo>
                      <a:cubicBezTo>
                        <a:pt x="263" y="158"/>
                        <a:pt x="263" y="158"/>
                        <a:pt x="263" y="158"/>
                      </a:cubicBezTo>
                      <a:cubicBezTo>
                        <a:pt x="261" y="157"/>
                        <a:pt x="261" y="157"/>
                        <a:pt x="261" y="157"/>
                      </a:cubicBezTo>
                      <a:cubicBezTo>
                        <a:pt x="258" y="157"/>
                        <a:pt x="258" y="157"/>
                        <a:pt x="258" y="157"/>
                      </a:cubicBezTo>
                      <a:cubicBezTo>
                        <a:pt x="256" y="159"/>
                        <a:pt x="256" y="159"/>
                        <a:pt x="256" y="159"/>
                      </a:cubicBezTo>
                      <a:cubicBezTo>
                        <a:pt x="252" y="158"/>
                        <a:pt x="252" y="158"/>
                        <a:pt x="252" y="158"/>
                      </a:cubicBezTo>
                      <a:cubicBezTo>
                        <a:pt x="250" y="159"/>
                        <a:pt x="250" y="159"/>
                        <a:pt x="250" y="159"/>
                      </a:cubicBezTo>
                      <a:cubicBezTo>
                        <a:pt x="250" y="160"/>
                        <a:pt x="250" y="160"/>
                        <a:pt x="250" y="160"/>
                      </a:cubicBezTo>
                      <a:cubicBezTo>
                        <a:pt x="249" y="159"/>
                        <a:pt x="249" y="159"/>
                        <a:pt x="249" y="159"/>
                      </a:cubicBezTo>
                      <a:cubicBezTo>
                        <a:pt x="247" y="159"/>
                        <a:pt x="247" y="159"/>
                        <a:pt x="247" y="159"/>
                      </a:cubicBezTo>
                      <a:cubicBezTo>
                        <a:pt x="246" y="160"/>
                        <a:pt x="246" y="160"/>
                        <a:pt x="246" y="160"/>
                      </a:cubicBezTo>
                      <a:cubicBezTo>
                        <a:pt x="245" y="159"/>
                        <a:pt x="245" y="159"/>
                        <a:pt x="245" y="159"/>
                      </a:cubicBezTo>
                      <a:cubicBezTo>
                        <a:pt x="243" y="158"/>
                        <a:pt x="243" y="158"/>
                        <a:pt x="243" y="158"/>
                      </a:cubicBezTo>
                      <a:cubicBezTo>
                        <a:pt x="242" y="159"/>
                        <a:pt x="242" y="159"/>
                        <a:pt x="242" y="159"/>
                      </a:cubicBezTo>
                      <a:cubicBezTo>
                        <a:pt x="240" y="158"/>
                        <a:pt x="240" y="158"/>
                        <a:pt x="240" y="158"/>
                      </a:cubicBezTo>
                      <a:cubicBezTo>
                        <a:pt x="239" y="158"/>
                        <a:pt x="239" y="158"/>
                        <a:pt x="239" y="158"/>
                      </a:cubicBezTo>
                      <a:cubicBezTo>
                        <a:pt x="237" y="158"/>
                        <a:pt x="237" y="158"/>
                        <a:pt x="237" y="158"/>
                      </a:cubicBezTo>
                      <a:cubicBezTo>
                        <a:pt x="237" y="156"/>
                        <a:pt x="237" y="156"/>
                        <a:pt x="237" y="156"/>
                      </a:cubicBezTo>
                      <a:close/>
                      <a:moveTo>
                        <a:pt x="235" y="156"/>
                      </a:moveTo>
                      <a:cubicBezTo>
                        <a:pt x="235" y="158"/>
                        <a:pt x="235" y="158"/>
                        <a:pt x="235" y="158"/>
                      </a:cubicBezTo>
                      <a:cubicBezTo>
                        <a:pt x="236" y="158"/>
                        <a:pt x="236" y="158"/>
                        <a:pt x="236" y="158"/>
                      </a:cubicBezTo>
                      <a:cubicBezTo>
                        <a:pt x="236" y="157"/>
                        <a:pt x="236" y="157"/>
                        <a:pt x="236" y="157"/>
                      </a:cubicBezTo>
                      <a:cubicBezTo>
                        <a:pt x="235" y="156"/>
                        <a:pt x="235" y="156"/>
                        <a:pt x="235" y="156"/>
                      </a:cubicBezTo>
                      <a:close/>
                      <a:moveTo>
                        <a:pt x="235" y="155"/>
                      </a:moveTo>
                      <a:cubicBezTo>
                        <a:pt x="233" y="155"/>
                        <a:pt x="233" y="155"/>
                        <a:pt x="233" y="155"/>
                      </a:cubicBezTo>
                      <a:cubicBezTo>
                        <a:pt x="232" y="157"/>
                        <a:pt x="232" y="157"/>
                        <a:pt x="232" y="157"/>
                      </a:cubicBezTo>
                      <a:cubicBezTo>
                        <a:pt x="233" y="158"/>
                        <a:pt x="233" y="158"/>
                        <a:pt x="233" y="158"/>
                      </a:cubicBezTo>
                      <a:cubicBezTo>
                        <a:pt x="234" y="156"/>
                        <a:pt x="234" y="156"/>
                        <a:pt x="234" y="156"/>
                      </a:cubicBezTo>
                      <a:cubicBezTo>
                        <a:pt x="235" y="155"/>
                        <a:pt x="235" y="155"/>
                        <a:pt x="235" y="155"/>
                      </a:cubicBezTo>
                      <a:close/>
                      <a:moveTo>
                        <a:pt x="207" y="156"/>
                      </a:moveTo>
                      <a:cubicBezTo>
                        <a:pt x="207" y="158"/>
                        <a:pt x="207" y="158"/>
                        <a:pt x="207" y="158"/>
                      </a:cubicBezTo>
                      <a:cubicBezTo>
                        <a:pt x="207" y="158"/>
                        <a:pt x="207" y="158"/>
                        <a:pt x="207" y="158"/>
                      </a:cubicBezTo>
                      <a:cubicBezTo>
                        <a:pt x="207" y="159"/>
                        <a:pt x="207" y="159"/>
                        <a:pt x="207" y="159"/>
                      </a:cubicBezTo>
                      <a:cubicBezTo>
                        <a:pt x="208" y="160"/>
                        <a:pt x="208" y="160"/>
                        <a:pt x="208" y="160"/>
                      </a:cubicBezTo>
                      <a:cubicBezTo>
                        <a:pt x="209" y="161"/>
                        <a:pt x="209" y="161"/>
                        <a:pt x="209" y="161"/>
                      </a:cubicBezTo>
                      <a:cubicBezTo>
                        <a:pt x="212" y="161"/>
                        <a:pt x="212" y="161"/>
                        <a:pt x="212" y="161"/>
                      </a:cubicBezTo>
                      <a:cubicBezTo>
                        <a:pt x="213" y="161"/>
                        <a:pt x="213" y="161"/>
                        <a:pt x="213" y="161"/>
                      </a:cubicBezTo>
                      <a:cubicBezTo>
                        <a:pt x="215" y="160"/>
                        <a:pt x="215" y="160"/>
                        <a:pt x="215" y="160"/>
                      </a:cubicBezTo>
                      <a:cubicBezTo>
                        <a:pt x="216" y="159"/>
                        <a:pt x="216" y="159"/>
                        <a:pt x="216" y="159"/>
                      </a:cubicBezTo>
                      <a:cubicBezTo>
                        <a:pt x="218" y="160"/>
                        <a:pt x="218" y="160"/>
                        <a:pt x="218" y="160"/>
                      </a:cubicBezTo>
                      <a:cubicBezTo>
                        <a:pt x="220" y="159"/>
                        <a:pt x="220" y="159"/>
                        <a:pt x="220" y="159"/>
                      </a:cubicBezTo>
                      <a:cubicBezTo>
                        <a:pt x="222" y="159"/>
                        <a:pt x="222" y="159"/>
                        <a:pt x="222" y="159"/>
                      </a:cubicBezTo>
                      <a:cubicBezTo>
                        <a:pt x="224" y="157"/>
                        <a:pt x="224" y="157"/>
                        <a:pt x="224" y="157"/>
                      </a:cubicBezTo>
                      <a:cubicBezTo>
                        <a:pt x="225" y="159"/>
                        <a:pt x="225" y="159"/>
                        <a:pt x="225" y="159"/>
                      </a:cubicBezTo>
                      <a:cubicBezTo>
                        <a:pt x="226" y="159"/>
                        <a:pt x="226" y="159"/>
                        <a:pt x="226" y="159"/>
                      </a:cubicBezTo>
                      <a:cubicBezTo>
                        <a:pt x="229" y="159"/>
                        <a:pt x="229" y="159"/>
                        <a:pt x="229" y="159"/>
                      </a:cubicBezTo>
                      <a:cubicBezTo>
                        <a:pt x="228" y="158"/>
                        <a:pt x="228" y="158"/>
                        <a:pt x="228" y="158"/>
                      </a:cubicBezTo>
                      <a:cubicBezTo>
                        <a:pt x="230" y="158"/>
                        <a:pt x="230" y="158"/>
                        <a:pt x="230" y="158"/>
                      </a:cubicBezTo>
                      <a:cubicBezTo>
                        <a:pt x="231" y="156"/>
                        <a:pt x="231" y="156"/>
                        <a:pt x="231" y="156"/>
                      </a:cubicBezTo>
                      <a:cubicBezTo>
                        <a:pt x="230" y="157"/>
                        <a:pt x="230" y="157"/>
                        <a:pt x="230" y="157"/>
                      </a:cubicBezTo>
                      <a:cubicBezTo>
                        <a:pt x="229" y="155"/>
                        <a:pt x="229" y="155"/>
                        <a:pt x="229" y="155"/>
                      </a:cubicBezTo>
                      <a:cubicBezTo>
                        <a:pt x="230" y="153"/>
                        <a:pt x="230" y="153"/>
                        <a:pt x="230" y="153"/>
                      </a:cubicBezTo>
                      <a:cubicBezTo>
                        <a:pt x="228" y="153"/>
                        <a:pt x="228" y="153"/>
                        <a:pt x="228" y="153"/>
                      </a:cubicBezTo>
                      <a:cubicBezTo>
                        <a:pt x="228" y="154"/>
                        <a:pt x="228" y="154"/>
                        <a:pt x="228" y="154"/>
                      </a:cubicBezTo>
                      <a:cubicBezTo>
                        <a:pt x="227" y="155"/>
                        <a:pt x="227" y="155"/>
                        <a:pt x="227" y="155"/>
                      </a:cubicBezTo>
                      <a:cubicBezTo>
                        <a:pt x="227" y="153"/>
                        <a:pt x="227" y="153"/>
                        <a:pt x="227" y="153"/>
                      </a:cubicBezTo>
                      <a:cubicBezTo>
                        <a:pt x="225" y="152"/>
                        <a:pt x="225" y="152"/>
                        <a:pt x="225" y="152"/>
                      </a:cubicBezTo>
                      <a:cubicBezTo>
                        <a:pt x="223" y="153"/>
                        <a:pt x="223" y="153"/>
                        <a:pt x="223" y="153"/>
                      </a:cubicBezTo>
                      <a:cubicBezTo>
                        <a:pt x="221" y="151"/>
                        <a:pt x="221" y="151"/>
                        <a:pt x="221" y="151"/>
                      </a:cubicBezTo>
                      <a:cubicBezTo>
                        <a:pt x="219" y="151"/>
                        <a:pt x="219" y="151"/>
                        <a:pt x="219" y="151"/>
                      </a:cubicBezTo>
                      <a:cubicBezTo>
                        <a:pt x="217" y="152"/>
                        <a:pt x="217" y="152"/>
                        <a:pt x="217" y="152"/>
                      </a:cubicBezTo>
                      <a:cubicBezTo>
                        <a:pt x="217" y="153"/>
                        <a:pt x="217" y="153"/>
                        <a:pt x="217" y="153"/>
                      </a:cubicBezTo>
                      <a:cubicBezTo>
                        <a:pt x="221" y="155"/>
                        <a:pt x="221" y="155"/>
                        <a:pt x="221" y="155"/>
                      </a:cubicBezTo>
                      <a:cubicBezTo>
                        <a:pt x="223" y="156"/>
                        <a:pt x="223" y="156"/>
                        <a:pt x="223" y="156"/>
                      </a:cubicBezTo>
                      <a:cubicBezTo>
                        <a:pt x="220" y="157"/>
                        <a:pt x="220" y="157"/>
                        <a:pt x="220" y="157"/>
                      </a:cubicBezTo>
                      <a:cubicBezTo>
                        <a:pt x="218" y="157"/>
                        <a:pt x="218" y="157"/>
                        <a:pt x="218" y="157"/>
                      </a:cubicBezTo>
                      <a:cubicBezTo>
                        <a:pt x="216" y="156"/>
                        <a:pt x="216" y="156"/>
                        <a:pt x="216" y="156"/>
                      </a:cubicBezTo>
                      <a:cubicBezTo>
                        <a:pt x="216" y="154"/>
                        <a:pt x="216" y="154"/>
                        <a:pt x="216" y="154"/>
                      </a:cubicBezTo>
                      <a:cubicBezTo>
                        <a:pt x="214" y="154"/>
                        <a:pt x="214" y="154"/>
                        <a:pt x="214" y="154"/>
                      </a:cubicBezTo>
                      <a:cubicBezTo>
                        <a:pt x="213" y="154"/>
                        <a:pt x="213" y="154"/>
                        <a:pt x="213" y="154"/>
                      </a:cubicBezTo>
                      <a:cubicBezTo>
                        <a:pt x="211" y="154"/>
                        <a:pt x="211" y="154"/>
                        <a:pt x="211" y="154"/>
                      </a:cubicBezTo>
                      <a:cubicBezTo>
                        <a:pt x="208" y="155"/>
                        <a:pt x="208" y="155"/>
                        <a:pt x="208" y="155"/>
                      </a:cubicBezTo>
                      <a:cubicBezTo>
                        <a:pt x="208" y="155"/>
                        <a:pt x="207" y="156"/>
                        <a:pt x="207" y="156"/>
                      </a:cubicBezTo>
                      <a:close/>
                      <a:moveTo>
                        <a:pt x="201" y="154"/>
                      </a:moveTo>
                      <a:cubicBezTo>
                        <a:pt x="203" y="153"/>
                        <a:pt x="203" y="153"/>
                        <a:pt x="203" y="153"/>
                      </a:cubicBezTo>
                      <a:cubicBezTo>
                        <a:pt x="206" y="154"/>
                        <a:pt x="206" y="154"/>
                        <a:pt x="206" y="154"/>
                      </a:cubicBezTo>
                      <a:cubicBezTo>
                        <a:pt x="206" y="156"/>
                        <a:pt x="206" y="156"/>
                        <a:pt x="206" y="156"/>
                      </a:cubicBezTo>
                      <a:cubicBezTo>
                        <a:pt x="205" y="157"/>
                        <a:pt x="205" y="157"/>
                        <a:pt x="205" y="157"/>
                      </a:cubicBezTo>
                      <a:cubicBezTo>
                        <a:pt x="205" y="159"/>
                        <a:pt x="205" y="159"/>
                        <a:pt x="205" y="159"/>
                      </a:cubicBezTo>
                      <a:cubicBezTo>
                        <a:pt x="204" y="158"/>
                        <a:pt x="204" y="158"/>
                        <a:pt x="204" y="158"/>
                      </a:cubicBezTo>
                      <a:cubicBezTo>
                        <a:pt x="202" y="159"/>
                        <a:pt x="202" y="159"/>
                        <a:pt x="202" y="159"/>
                      </a:cubicBezTo>
                      <a:cubicBezTo>
                        <a:pt x="199" y="158"/>
                        <a:pt x="199" y="158"/>
                        <a:pt x="199" y="158"/>
                      </a:cubicBezTo>
                      <a:cubicBezTo>
                        <a:pt x="198" y="157"/>
                        <a:pt x="198" y="157"/>
                        <a:pt x="198" y="157"/>
                      </a:cubicBezTo>
                      <a:cubicBezTo>
                        <a:pt x="199" y="157"/>
                        <a:pt x="199" y="157"/>
                        <a:pt x="199" y="157"/>
                      </a:cubicBezTo>
                      <a:cubicBezTo>
                        <a:pt x="201" y="157"/>
                        <a:pt x="201" y="157"/>
                        <a:pt x="201" y="157"/>
                      </a:cubicBezTo>
                      <a:cubicBezTo>
                        <a:pt x="201" y="154"/>
                        <a:pt x="201" y="154"/>
                        <a:pt x="201" y="154"/>
                      </a:cubicBezTo>
                      <a:close/>
                      <a:moveTo>
                        <a:pt x="195" y="157"/>
                      </a:moveTo>
                      <a:cubicBezTo>
                        <a:pt x="196" y="156"/>
                        <a:pt x="196" y="156"/>
                        <a:pt x="196" y="156"/>
                      </a:cubicBezTo>
                      <a:cubicBezTo>
                        <a:pt x="197" y="157"/>
                        <a:pt x="197" y="157"/>
                        <a:pt x="197" y="157"/>
                      </a:cubicBezTo>
                      <a:cubicBezTo>
                        <a:pt x="196" y="158"/>
                        <a:pt x="196" y="158"/>
                        <a:pt x="196" y="158"/>
                      </a:cubicBezTo>
                      <a:cubicBezTo>
                        <a:pt x="195" y="157"/>
                        <a:pt x="195" y="157"/>
                        <a:pt x="195" y="157"/>
                      </a:cubicBezTo>
                      <a:close/>
                      <a:moveTo>
                        <a:pt x="186" y="151"/>
                      </a:moveTo>
                      <a:cubicBezTo>
                        <a:pt x="186" y="153"/>
                        <a:pt x="186" y="153"/>
                        <a:pt x="186" y="153"/>
                      </a:cubicBezTo>
                      <a:cubicBezTo>
                        <a:pt x="187" y="154"/>
                        <a:pt x="187" y="154"/>
                        <a:pt x="187" y="154"/>
                      </a:cubicBezTo>
                      <a:cubicBezTo>
                        <a:pt x="189" y="154"/>
                        <a:pt x="189" y="154"/>
                        <a:pt x="189" y="154"/>
                      </a:cubicBezTo>
                      <a:cubicBezTo>
                        <a:pt x="192" y="156"/>
                        <a:pt x="192" y="156"/>
                        <a:pt x="192" y="156"/>
                      </a:cubicBezTo>
                      <a:cubicBezTo>
                        <a:pt x="192" y="157"/>
                        <a:pt x="192" y="157"/>
                        <a:pt x="192" y="157"/>
                      </a:cubicBezTo>
                      <a:cubicBezTo>
                        <a:pt x="193" y="156"/>
                        <a:pt x="193" y="156"/>
                        <a:pt x="193" y="156"/>
                      </a:cubicBezTo>
                      <a:cubicBezTo>
                        <a:pt x="195" y="155"/>
                        <a:pt x="195" y="155"/>
                        <a:pt x="195" y="155"/>
                      </a:cubicBezTo>
                      <a:cubicBezTo>
                        <a:pt x="195" y="155"/>
                        <a:pt x="195" y="155"/>
                        <a:pt x="195" y="155"/>
                      </a:cubicBezTo>
                      <a:cubicBezTo>
                        <a:pt x="197" y="154"/>
                        <a:pt x="197" y="154"/>
                        <a:pt x="197" y="154"/>
                      </a:cubicBezTo>
                      <a:cubicBezTo>
                        <a:pt x="197" y="153"/>
                        <a:pt x="197" y="153"/>
                        <a:pt x="197" y="153"/>
                      </a:cubicBezTo>
                      <a:cubicBezTo>
                        <a:pt x="195" y="151"/>
                        <a:pt x="195" y="151"/>
                        <a:pt x="195" y="151"/>
                      </a:cubicBezTo>
                      <a:cubicBezTo>
                        <a:pt x="193" y="150"/>
                        <a:pt x="193" y="150"/>
                        <a:pt x="193" y="150"/>
                      </a:cubicBezTo>
                      <a:cubicBezTo>
                        <a:pt x="190" y="151"/>
                        <a:pt x="190" y="151"/>
                        <a:pt x="190" y="151"/>
                      </a:cubicBezTo>
                      <a:cubicBezTo>
                        <a:pt x="188" y="150"/>
                        <a:pt x="188" y="150"/>
                        <a:pt x="188" y="150"/>
                      </a:cubicBezTo>
                      <a:cubicBezTo>
                        <a:pt x="186" y="151"/>
                        <a:pt x="186" y="151"/>
                        <a:pt x="186" y="151"/>
                      </a:cubicBezTo>
                      <a:close/>
                      <a:moveTo>
                        <a:pt x="421" y="153"/>
                      </a:moveTo>
                      <a:cubicBezTo>
                        <a:pt x="422" y="153"/>
                        <a:pt x="422" y="153"/>
                        <a:pt x="422" y="153"/>
                      </a:cubicBezTo>
                      <a:cubicBezTo>
                        <a:pt x="424" y="153"/>
                        <a:pt x="424" y="153"/>
                        <a:pt x="424" y="153"/>
                      </a:cubicBezTo>
                      <a:cubicBezTo>
                        <a:pt x="424" y="153"/>
                        <a:pt x="424" y="153"/>
                        <a:pt x="424" y="153"/>
                      </a:cubicBezTo>
                      <a:cubicBezTo>
                        <a:pt x="423" y="151"/>
                        <a:pt x="423" y="151"/>
                        <a:pt x="423" y="151"/>
                      </a:cubicBezTo>
                      <a:cubicBezTo>
                        <a:pt x="423" y="150"/>
                        <a:pt x="423" y="150"/>
                        <a:pt x="423" y="150"/>
                      </a:cubicBezTo>
                      <a:cubicBezTo>
                        <a:pt x="422" y="151"/>
                        <a:pt x="422" y="151"/>
                        <a:pt x="422" y="151"/>
                      </a:cubicBezTo>
                      <a:cubicBezTo>
                        <a:pt x="421" y="153"/>
                        <a:pt x="421" y="153"/>
                        <a:pt x="421" y="153"/>
                      </a:cubicBezTo>
                      <a:close/>
                      <a:moveTo>
                        <a:pt x="411" y="153"/>
                      </a:moveTo>
                      <a:cubicBezTo>
                        <a:pt x="411" y="153"/>
                        <a:pt x="415" y="153"/>
                        <a:pt x="415" y="153"/>
                      </a:cubicBezTo>
                      <a:cubicBezTo>
                        <a:pt x="416" y="152"/>
                        <a:pt x="416" y="152"/>
                        <a:pt x="416" y="152"/>
                      </a:cubicBezTo>
                      <a:cubicBezTo>
                        <a:pt x="419" y="153"/>
                        <a:pt x="419" y="153"/>
                        <a:pt x="419" y="153"/>
                      </a:cubicBezTo>
                      <a:cubicBezTo>
                        <a:pt x="420" y="152"/>
                        <a:pt x="420" y="152"/>
                        <a:pt x="420" y="152"/>
                      </a:cubicBezTo>
                      <a:cubicBezTo>
                        <a:pt x="422" y="150"/>
                        <a:pt x="422" y="150"/>
                        <a:pt x="422" y="150"/>
                      </a:cubicBezTo>
                      <a:cubicBezTo>
                        <a:pt x="423" y="150"/>
                        <a:pt x="423" y="150"/>
                        <a:pt x="423" y="150"/>
                      </a:cubicBezTo>
                      <a:cubicBezTo>
                        <a:pt x="424" y="149"/>
                        <a:pt x="424" y="149"/>
                        <a:pt x="424" y="149"/>
                      </a:cubicBezTo>
                      <a:cubicBezTo>
                        <a:pt x="424" y="148"/>
                        <a:pt x="424" y="148"/>
                        <a:pt x="424" y="148"/>
                      </a:cubicBezTo>
                      <a:cubicBezTo>
                        <a:pt x="424" y="147"/>
                        <a:pt x="424" y="147"/>
                        <a:pt x="424" y="147"/>
                      </a:cubicBezTo>
                      <a:cubicBezTo>
                        <a:pt x="425" y="146"/>
                        <a:pt x="425" y="146"/>
                        <a:pt x="425" y="146"/>
                      </a:cubicBezTo>
                      <a:cubicBezTo>
                        <a:pt x="425" y="145"/>
                        <a:pt x="425" y="145"/>
                        <a:pt x="425" y="145"/>
                      </a:cubicBezTo>
                      <a:cubicBezTo>
                        <a:pt x="424" y="144"/>
                        <a:pt x="424" y="144"/>
                        <a:pt x="424" y="144"/>
                      </a:cubicBezTo>
                      <a:cubicBezTo>
                        <a:pt x="423" y="143"/>
                        <a:pt x="423" y="143"/>
                        <a:pt x="423" y="143"/>
                      </a:cubicBezTo>
                      <a:cubicBezTo>
                        <a:pt x="419" y="143"/>
                        <a:pt x="419" y="143"/>
                        <a:pt x="419" y="143"/>
                      </a:cubicBezTo>
                      <a:cubicBezTo>
                        <a:pt x="417" y="144"/>
                        <a:pt x="417" y="144"/>
                        <a:pt x="417" y="144"/>
                      </a:cubicBezTo>
                      <a:cubicBezTo>
                        <a:pt x="416" y="147"/>
                        <a:pt x="416" y="147"/>
                        <a:pt x="416" y="147"/>
                      </a:cubicBezTo>
                      <a:cubicBezTo>
                        <a:pt x="415" y="149"/>
                        <a:pt x="415" y="149"/>
                        <a:pt x="415" y="149"/>
                      </a:cubicBezTo>
                      <a:cubicBezTo>
                        <a:pt x="411" y="153"/>
                        <a:pt x="411" y="153"/>
                        <a:pt x="411" y="153"/>
                      </a:cubicBezTo>
                      <a:close/>
                      <a:moveTo>
                        <a:pt x="171" y="138"/>
                      </a:moveTo>
                      <a:cubicBezTo>
                        <a:pt x="170" y="140"/>
                        <a:pt x="170" y="140"/>
                        <a:pt x="170" y="140"/>
                      </a:cubicBezTo>
                      <a:cubicBezTo>
                        <a:pt x="172" y="142"/>
                        <a:pt x="172" y="142"/>
                        <a:pt x="172" y="142"/>
                      </a:cubicBezTo>
                      <a:cubicBezTo>
                        <a:pt x="173" y="142"/>
                        <a:pt x="173" y="142"/>
                        <a:pt x="173" y="142"/>
                      </a:cubicBezTo>
                      <a:cubicBezTo>
                        <a:pt x="174" y="141"/>
                        <a:pt x="174" y="141"/>
                        <a:pt x="174" y="141"/>
                      </a:cubicBezTo>
                      <a:cubicBezTo>
                        <a:pt x="178" y="142"/>
                        <a:pt x="178" y="142"/>
                        <a:pt x="178" y="142"/>
                      </a:cubicBezTo>
                      <a:cubicBezTo>
                        <a:pt x="179" y="141"/>
                        <a:pt x="179" y="141"/>
                        <a:pt x="179" y="141"/>
                      </a:cubicBezTo>
                      <a:cubicBezTo>
                        <a:pt x="181" y="141"/>
                        <a:pt x="181" y="141"/>
                        <a:pt x="181" y="141"/>
                      </a:cubicBezTo>
                      <a:cubicBezTo>
                        <a:pt x="182" y="139"/>
                        <a:pt x="182" y="139"/>
                        <a:pt x="182" y="139"/>
                      </a:cubicBezTo>
                      <a:cubicBezTo>
                        <a:pt x="181" y="139"/>
                        <a:pt x="181" y="139"/>
                        <a:pt x="181" y="139"/>
                      </a:cubicBezTo>
                      <a:cubicBezTo>
                        <a:pt x="179" y="139"/>
                        <a:pt x="179" y="139"/>
                        <a:pt x="179" y="139"/>
                      </a:cubicBezTo>
                      <a:cubicBezTo>
                        <a:pt x="177" y="139"/>
                        <a:pt x="177" y="139"/>
                        <a:pt x="177" y="139"/>
                      </a:cubicBezTo>
                      <a:cubicBezTo>
                        <a:pt x="172" y="139"/>
                        <a:pt x="172" y="139"/>
                        <a:pt x="172" y="139"/>
                      </a:cubicBezTo>
                      <a:cubicBezTo>
                        <a:pt x="171" y="138"/>
                        <a:pt x="171" y="138"/>
                        <a:pt x="171" y="138"/>
                      </a:cubicBezTo>
                      <a:close/>
                      <a:moveTo>
                        <a:pt x="98" y="135"/>
                      </a:moveTo>
                      <a:cubicBezTo>
                        <a:pt x="98" y="136"/>
                        <a:pt x="98" y="136"/>
                        <a:pt x="98" y="136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ubicBezTo>
                        <a:pt x="99" y="135"/>
                        <a:pt x="99" y="135"/>
                        <a:pt x="99" y="135"/>
                      </a:cubicBezTo>
                      <a:cubicBezTo>
                        <a:pt x="98" y="135"/>
                        <a:pt x="98" y="135"/>
                        <a:pt x="98" y="135"/>
                      </a:cubicBezTo>
                      <a:close/>
                      <a:moveTo>
                        <a:pt x="99" y="136"/>
                      </a:moveTo>
                      <a:cubicBezTo>
                        <a:pt x="100" y="137"/>
                        <a:pt x="100" y="137"/>
                        <a:pt x="100" y="137"/>
                      </a:cubicBezTo>
                      <a:cubicBezTo>
                        <a:pt x="102" y="136"/>
                        <a:pt x="102" y="136"/>
                        <a:pt x="102" y="136"/>
                      </a:cubicBezTo>
                      <a:cubicBezTo>
                        <a:pt x="102" y="134"/>
                        <a:pt x="102" y="134"/>
                        <a:pt x="102" y="134"/>
                      </a:cubicBezTo>
                      <a:cubicBezTo>
                        <a:pt x="104" y="134"/>
                        <a:pt x="104" y="134"/>
                        <a:pt x="104" y="134"/>
                      </a:cubicBezTo>
                      <a:cubicBezTo>
                        <a:pt x="105" y="132"/>
                        <a:pt x="105" y="132"/>
                        <a:pt x="105" y="132"/>
                      </a:cubicBezTo>
                      <a:cubicBezTo>
                        <a:pt x="105" y="130"/>
                        <a:pt x="105" y="130"/>
                        <a:pt x="105" y="130"/>
                      </a:cubicBezTo>
                      <a:cubicBezTo>
                        <a:pt x="107" y="128"/>
                        <a:pt x="107" y="128"/>
                        <a:pt x="107" y="128"/>
                      </a:cubicBezTo>
                      <a:cubicBezTo>
                        <a:pt x="108" y="128"/>
                        <a:pt x="108" y="128"/>
                        <a:pt x="108" y="128"/>
                      </a:cubicBezTo>
                      <a:cubicBezTo>
                        <a:pt x="110" y="128"/>
                        <a:pt x="110" y="128"/>
                        <a:pt x="110" y="128"/>
                      </a:cubicBezTo>
                      <a:cubicBezTo>
                        <a:pt x="113" y="129"/>
                        <a:pt x="113" y="129"/>
                        <a:pt x="113" y="129"/>
                      </a:cubicBezTo>
                      <a:cubicBezTo>
                        <a:pt x="114" y="130"/>
                        <a:pt x="114" y="130"/>
                        <a:pt x="114" y="130"/>
                      </a:cubicBezTo>
                      <a:cubicBezTo>
                        <a:pt x="115" y="129"/>
                        <a:pt x="115" y="129"/>
                        <a:pt x="115" y="129"/>
                      </a:cubicBezTo>
                      <a:cubicBezTo>
                        <a:pt x="116" y="128"/>
                        <a:pt x="116" y="128"/>
                        <a:pt x="116" y="128"/>
                      </a:cubicBezTo>
                      <a:cubicBezTo>
                        <a:pt x="119" y="129"/>
                        <a:pt x="119" y="129"/>
                        <a:pt x="119" y="129"/>
                      </a:cubicBezTo>
                      <a:cubicBezTo>
                        <a:pt x="121" y="130"/>
                        <a:pt x="121" y="130"/>
                        <a:pt x="121" y="130"/>
                      </a:cubicBezTo>
                      <a:cubicBezTo>
                        <a:pt x="124" y="131"/>
                        <a:pt x="124" y="131"/>
                        <a:pt x="124" y="131"/>
                      </a:cubicBezTo>
                      <a:cubicBezTo>
                        <a:pt x="129" y="131"/>
                        <a:pt x="129" y="131"/>
                        <a:pt x="129" y="131"/>
                      </a:cubicBezTo>
                      <a:cubicBezTo>
                        <a:pt x="130" y="134"/>
                        <a:pt x="130" y="134"/>
                        <a:pt x="130" y="134"/>
                      </a:cubicBezTo>
                      <a:cubicBezTo>
                        <a:pt x="129" y="135"/>
                        <a:pt x="129" y="135"/>
                        <a:pt x="129" y="135"/>
                      </a:cubicBezTo>
                      <a:cubicBezTo>
                        <a:pt x="130" y="136"/>
                        <a:pt x="130" y="136"/>
                        <a:pt x="130" y="136"/>
                      </a:cubicBezTo>
                      <a:cubicBezTo>
                        <a:pt x="133" y="138"/>
                        <a:pt x="133" y="138"/>
                        <a:pt x="133" y="138"/>
                      </a:cubicBezTo>
                      <a:cubicBezTo>
                        <a:pt x="139" y="138"/>
                        <a:pt x="139" y="138"/>
                        <a:pt x="139" y="138"/>
                      </a:cubicBezTo>
                      <a:cubicBezTo>
                        <a:pt x="144" y="139"/>
                        <a:pt x="144" y="139"/>
                        <a:pt x="144" y="139"/>
                      </a:cubicBezTo>
                      <a:cubicBezTo>
                        <a:pt x="149" y="138"/>
                        <a:pt x="149" y="138"/>
                        <a:pt x="149" y="138"/>
                      </a:cubicBezTo>
                      <a:cubicBezTo>
                        <a:pt x="150" y="136"/>
                        <a:pt x="150" y="136"/>
                        <a:pt x="150" y="136"/>
                      </a:cubicBezTo>
                      <a:cubicBezTo>
                        <a:pt x="151" y="132"/>
                        <a:pt x="151" y="132"/>
                        <a:pt x="151" y="132"/>
                      </a:cubicBezTo>
                      <a:cubicBezTo>
                        <a:pt x="152" y="132"/>
                        <a:pt x="152" y="132"/>
                        <a:pt x="152" y="132"/>
                      </a:cubicBezTo>
                      <a:cubicBezTo>
                        <a:pt x="155" y="135"/>
                        <a:pt x="155" y="135"/>
                        <a:pt x="155" y="135"/>
                      </a:cubicBezTo>
                      <a:cubicBezTo>
                        <a:pt x="156" y="135"/>
                        <a:pt x="156" y="135"/>
                        <a:pt x="156" y="135"/>
                      </a:cubicBezTo>
                      <a:cubicBezTo>
                        <a:pt x="158" y="134"/>
                        <a:pt x="158" y="134"/>
                        <a:pt x="158" y="134"/>
                      </a:cubicBezTo>
                      <a:cubicBezTo>
                        <a:pt x="159" y="135"/>
                        <a:pt x="159" y="135"/>
                        <a:pt x="159" y="135"/>
                      </a:cubicBezTo>
                      <a:cubicBezTo>
                        <a:pt x="161" y="137"/>
                        <a:pt x="161" y="137"/>
                        <a:pt x="161" y="137"/>
                      </a:cubicBezTo>
                      <a:cubicBezTo>
                        <a:pt x="163" y="137"/>
                        <a:pt x="163" y="137"/>
                        <a:pt x="163" y="137"/>
                      </a:cubicBezTo>
                      <a:cubicBezTo>
                        <a:pt x="164" y="138"/>
                        <a:pt x="164" y="138"/>
                        <a:pt x="164" y="138"/>
                      </a:cubicBezTo>
                      <a:cubicBezTo>
                        <a:pt x="166" y="138"/>
                        <a:pt x="166" y="138"/>
                        <a:pt x="166" y="138"/>
                      </a:cubicBezTo>
                      <a:cubicBezTo>
                        <a:pt x="168" y="138"/>
                        <a:pt x="168" y="138"/>
                        <a:pt x="168" y="138"/>
                      </a:cubicBezTo>
                      <a:cubicBezTo>
                        <a:pt x="168" y="141"/>
                        <a:pt x="168" y="141"/>
                        <a:pt x="168" y="141"/>
                      </a:cubicBezTo>
                      <a:cubicBezTo>
                        <a:pt x="170" y="143"/>
                        <a:pt x="170" y="143"/>
                        <a:pt x="170" y="143"/>
                      </a:cubicBezTo>
                      <a:cubicBezTo>
                        <a:pt x="170" y="145"/>
                        <a:pt x="170" y="145"/>
                        <a:pt x="170" y="145"/>
                      </a:cubicBezTo>
                      <a:cubicBezTo>
                        <a:pt x="172" y="146"/>
                        <a:pt x="172" y="146"/>
                        <a:pt x="172" y="146"/>
                      </a:cubicBezTo>
                      <a:cubicBezTo>
                        <a:pt x="174" y="147"/>
                        <a:pt x="174" y="147"/>
                        <a:pt x="174" y="147"/>
                      </a:cubicBezTo>
                      <a:cubicBezTo>
                        <a:pt x="176" y="146"/>
                        <a:pt x="176" y="146"/>
                        <a:pt x="176" y="146"/>
                      </a:cubicBezTo>
                      <a:cubicBezTo>
                        <a:pt x="178" y="147"/>
                        <a:pt x="178" y="147"/>
                        <a:pt x="178" y="147"/>
                      </a:cubicBezTo>
                      <a:cubicBezTo>
                        <a:pt x="179" y="147"/>
                        <a:pt x="179" y="147"/>
                        <a:pt x="179" y="147"/>
                      </a:cubicBezTo>
                      <a:cubicBezTo>
                        <a:pt x="180" y="146"/>
                        <a:pt x="180" y="146"/>
                        <a:pt x="180" y="146"/>
                      </a:cubicBezTo>
                      <a:cubicBezTo>
                        <a:pt x="182" y="146"/>
                        <a:pt x="182" y="146"/>
                        <a:pt x="182" y="146"/>
                      </a:cubicBezTo>
                      <a:cubicBezTo>
                        <a:pt x="182" y="147"/>
                        <a:pt x="182" y="147"/>
                        <a:pt x="182" y="147"/>
                      </a:cubicBezTo>
                      <a:cubicBezTo>
                        <a:pt x="184" y="147"/>
                        <a:pt x="184" y="147"/>
                        <a:pt x="184" y="147"/>
                      </a:cubicBezTo>
                      <a:cubicBezTo>
                        <a:pt x="185" y="148"/>
                        <a:pt x="185" y="148"/>
                        <a:pt x="185" y="148"/>
                      </a:cubicBezTo>
                      <a:cubicBezTo>
                        <a:pt x="185" y="153"/>
                        <a:pt x="185" y="153"/>
                        <a:pt x="185" y="153"/>
                      </a:cubicBezTo>
                      <a:cubicBezTo>
                        <a:pt x="184" y="154"/>
                        <a:pt x="184" y="154"/>
                        <a:pt x="184" y="154"/>
                      </a:cubicBezTo>
                      <a:cubicBezTo>
                        <a:pt x="185" y="155"/>
                        <a:pt x="185" y="155"/>
                        <a:pt x="185" y="155"/>
                      </a:cubicBezTo>
                      <a:cubicBezTo>
                        <a:pt x="185" y="158"/>
                        <a:pt x="185" y="158"/>
                        <a:pt x="185" y="158"/>
                      </a:cubicBezTo>
                      <a:cubicBezTo>
                        <a:pt x="184" y="158"/>
                        <a:pt x="184" y="158"/>
                        <a:pt x="184" y="158"/>
                      </a:cubicBezTo>
                      <a:cubicBezTo>
                        <a:pt x="183" y="157"/>
                        <a:pt x="183" y="157"/>
                        <a:pt x="183" y="157"/>
                      </a:cubicBezTo>
                      <a:cubicBezTo>
                        <a:pt x="180" y="157"/>
                        <a:pt x="180" y="157"/>
                        <a:pt x="180" y="157"/>
                      </a:cubicBezTo>
                      <a:cubicBezTo>
                        <a:pt x="178" y="155"/>
                        <a:pt x="178" y="155"/>
                        <a:pt x="178" y="155"/>
                      </a:cubicBezTo>
                      <a:cubicBezTo>
                        <a:pt x="176" y="154"/>
                        <a:pt x="176" y="154"/>
                        <a:pt x="176" y="154"/>
                      </a:cubicBezTo>
                      <a:cubicBezTo>
                        <a:pt x="174" y="152"/>
                        <a:pt x="174" y="152"/>
                        <a:pt x="174" y="152"/>
                      </a:cubicBezTo>
                      <a:cubicBezTo>
                        <a:pt x="173" y="152"/>
                        <a:pt x="173" y="152"/>
                        <a:pt x="173" y="152"/>
                      </a:cubicBezTo>
                      <a:cubicBezTo>
                        <a:pt x="170" y="154"/>
                        <a:pt x="170" y="154"/>
                        <a:pt x="170" y="154"/>
                      </a:cubicBezTo>
                      <a:cubicBezTo>
                        <a:pt x="167" y="154"/>
                        <a:pt x="167" y="154"/>
                        <a:pt x="167" y="154"/>
                      </a:cubicBezTo>
                      <a:cubicBezTo>
                        <a:pt x="165" y="152"/>
                        <a:pt x="165" y="152"/>
                        <a:pt x="165" y="152"/>
                      </a:cubicBezTo>
                      <a:cubicBezTo>
                        <a:pt x="162" y="152"/>
                        <a:pt x="162" y="152"/>
                        <a:pt x="162" y="152"/>
                      </a:cubicBezTo>
                      <a:cubicBezTo>
                        <a:pt x="160" y="154"/>
                        <a:pt x="160" y="154"/>
                        <a:pt x="160" y="154"/>
                      </a:cubicBezTo>
                      <a:cubicBezTo>
                        <a:pt x="157" y="152"/>
                        <a:pt x="157" y="152"/>
                        <a:pt x="157" y="152"/>
                      </a:cubicBezTo>
                      <a:cubicBezTo>
                        <a:pt x="154" y="152"/>
                        <a:pt x="154" y="152"/>
                        <a:pt x="154" y="152"/>
                      </a:cubicBezTo>
                      <a:cubicBezTo>
                        <a:pt x="152" y="153"/>
                        <a:pt x="152" y="153"/>
                        <a:pt x="152" y="153"/>
                      </a:cubicBezTo>
                      <a:cubicBezTo>
                        <a:pt x="147" y="151"/>
                        <a:pt x="147" y="151"/>
                        <a:pt x="147" y="151"/>
                      </a:cubicBezTo>
                      <a:cubicBezTo>
                        <a:pt x="142" y="148"/>
                        <a:pt x="142" y="148"/>
                        <a:pt x="142" y="148"/>
                      </a:cubicBezTo>
                      <a:cubicBezTo>
                        <a:pt x="139" y="148"/>
                        <a:pt x="139" y="148"/>
                        <a:pt x="139" y="148"/>
                      </a:cubicBezTo>
                      <a:cubicBezTo>
                        <a:pt x="137" y="146"/>
                        <a:pt x="137" y="146"/>
                        <a:pt x="137" y="146"/>
                      </a:cubicBezTo>
                      <a:cubicBezTo>
                        <a:pt x="135" y="146"/>
                        <a:pt x="135" y="146"/>
                        <a:pt x="135" y="146"/>
                      </a:cubicBezTo>
                      <a:cubicBezTo>
                        <a:pt x="134" y="148"/>
                        <a:pt x="134" y="148"/>
                        <a:pt x="134" y="148"/>
                      </a:cubicBezTo>
                      <a:cubicBezTo>
                        <a:pt x="132" y="147"/>
                        <a:pt x="132" y="147"/>
                        <a:pt x="132" y="147"/>
                      </a:cubicBezTo>
                      <a:cubicBezTo>
                        <a:pt x="131" y="146"/>
                        <a:pt x="131" y="146"/>
                        <a:pt x="131" y="146"/>
                      </a:cubicBez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128" y="148"/>
                        <a:pt x="128" y="148"/>
                        <a:pt x="128" y="148"/>
                      </a:cubicBezTo>
                      <a:cubicBezTo>
                        <a:pt x="123" y="147"/>
                        <a:pt x="123" y="147"/>
                        <a:pt x="123" y="147"/>
                      </a:cubicBezTo>
                      <a:cubicBezTo>
                        <a:pt x="120" y="144"/>
                        <a:pt x="120" y="144"/>
                        <a:pt x="120" y="144"/>
                      </a:cubicBezTo>
                      <a:cubicBezTo>
                        <a:pt x="117" y="144"/>
                        <a:pt x="117" y="144"/>
                        <a:pt x="117" y="144"/>
                      </a:cubicBezTo>
                      <a:cubicBezTo>
                        <a:pt x="116" y="144"/>
                        <a:pt x="116" y="144"/>
                        <a:pt x="116" y="144"/>
                      </a:cubicBezTo>
                      <a:cubicBezTo>
                        <a:pt x="114" y="145"/>
                        <a:pt x="114" y="145"/>
                        <a:pt x="114" y="145"/>
                      </a:cubicBezTo>
                      <a:cubicBezTo>
                        <a:pt x="112" y="144"/>
                        <a:pt x="112" y="144"/>
                        <a:pt x="112" y="144"/>
                      </a:cubicBezTo>
                      <a:cubicBezTo>
                        <a:pt x="110" y="143"/>
                        <a:pt x="110" y="143"/>
                        <a:pt x="110" y="143"/>
                      </a:cubicBezTo>
                      <a:cubicBezTo>
                        <a:pt x="109" y="142"/>
                        <a:pt x="109" y="142"/>
                        <a:pt x="109" y="142"/>
                      </a:cubicBezTo>
                      <a:cubicBezTo>
                        <a:pt x="110" y="140"/>
                        <a:pt x="110" y="140"/>
                        <a:pt x="110" y="140"/>
                      </a:cubicBezTo>
                      <a:cubicBezTo>
                        <a:pt x="111" y="139"/>
                        <a:pt x="111" y="139"/>
                        <a:pt x="111" y="139"/>
                      </a:cubicBezTo>
                      <a:cubicBezTo>
                        <a:pt x="109" y="139"/>
                        <a:pt x="109" y="139"/>
                        <a:pt x="109" y="139"/>
                      </a:cubicBezTo>
                      <a:cubicBezTo>
                        <a:pt x="108" y="140"/>
                        <a:pt x="108" y="140"/>
                        <a:pt x="108" y="140"/>
                      </a:cubicBezTo>
                      <a:cubicBezTo>
                        <a:pt x="107" y="139"/>
                        <a:pt x="107" y="139"/>
                        <a:pt x="107" y="139"/>
                      </a:cubicBezTo>
                      <a:cubicBezTo>
                        <a:pt x="106" y="137"/>
                        <a:pt x="106" y="137"/>
                        <a:pt x="106" y="137"/>
                      </a:cubicBezTo>
                      <a:cubicBezTo>
                        <a:pt x="104" y="138"/>
                        <a:pt x="104" y="138"/>
                        <a:pt x="104" y="138"/>
                      </a:cubicBezTo>
                      <a:cubicBezTo>
                        <a:pt x="100" y="138"/>
                        <a:pt x="100" y="138"/>
                        <a:pt x="100" y="138"/>
                      </a:cubicBezTo>
                      <a:cubicBezTo>
                        <a:pt x="99" y="137"/>
                        <a:pt x="99" y="137"/>
                        <a:pt x="99" y="137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ubicBezTo>
                        <a:pt x="99" y="136"/>
                        <a:pt x="99" y="136"/>
                        <a:pt x="99" y="136"/>
                      </a:cubicBezTo>
                      <a:close/>
                      <a:moveTo>
                        <a:pt x="125" y="25"/>
                      </a:moveTo>
                      <a:cubicBezTo>
                        <a:pt x="127" y="27"/>
                        <a:pt x="127" y="27"/>
                        <a:pt x="127" y="27"/>
                      </a:cubicBezTo>
                      <a:cubicBezTo>
                        <a:pt x="128" y="27"/>
                        <a:pt x="128" y="27"/>
                        <a:pt x="128" y="27"/>
                      </a:cubicBezTo>
                      <a:cubicBezTo>
                        <a:pt x="127" y="28"/>
                        <a:pt x="127" y="28"/>
                        <a:pt x="127" y="28"/>
                      </a:cubicBezTo>
                      <a:cubicBezTo>
                        <a:pt x="129" y="28"/>
                        <a:pt x="129" y="28"/>
                        <a:pt x="129" y="28"/>
                      </a:cubicBezTo>
                      <a:cubicBezTo>
                        <a:pt x="129" y="25"/>
                        <a:pt x="129" y="25"/>
                        <a:pt x="129" y="25"/>
                      </a:cubicBezTo>
                      <a:cubicBezTo>
                        <a:pt x="127" y="22"/>
                        <a:pt x="127" y="22"/>
                        <a:pt x="127" y="22"/>
                      </a:cubicBezTo>
                      <a:cubicBezTo>
                        <a:pt x="126" y="23"/>
                        <a:pt x="126" y="23"/>
                        <a:pt x="126" y="23"/>
                      </a:cubicBezTo>
                      <a:cubicBezTo>
                        <a:pt x="125" y="25"/>
                        <a:pt x="125" y="25"/>
                        <a:pt x="125" y="25"/>
                      </a:cubicBezTo>
                      <a:close/>
                      <a:moveTo>
                        <a:pt x="108" y="37"/>
                      </a:moveTo>
                      <a:cubicBezTo>
                        <a:pt x="108" y="38"/>
                        <a:pt x="108" y="38"/>
                        <a:pt x="108" y="38"/>
                      </a:cubicBezTo>
                      <a:cubicBezTo>
                        <a:pt x="109" y="38"/>
                        <a:pt x="109" y="38"/>
                        <a:pt x="109" y="38"/>
                      </a:cubicBezTo>
                      <a:cubicBezTo>
                        <a:pt x="108" y="37"/>
                        <a:pt x="108" y="37"/>
                        <a:pt x="108" y="37"/>
                      </a:cubicBezTo>
                      <a:close/>
                      <a:moveTo>
                        <a:pt x="108" y="33"/>
                      </a:moveTo>
                      <a:cubicBezTo>
                        <a:pt x="109" y="31"/>
                        <a:pt x="109" y="31"/>
                        <a:pt x="109" y="31"/>
                      </a:cubicBezTo>
                      <a:cubicBezTo>
                        <a:pt x="108" y="31"/>
                        <a:pt x="108" y="31"/>
                        <a:pt x="108" y="31"/>
                      </a:cubicBezTo>
                      <a:cubicBezTo>
                        <a:pt x="108" y="33"/>
                        <a:pt x="108" y="33"/>
                        <a:pt x="108" y="33"/>
                      </a:cubicBezTo>
                      <a:close/>
                      <a:moveTo>
                        <a:pt x="109" y="34"/>
                      </a:moveTo>
                      <a:cubicBezTo>
                        <a:pt x="108" y="35"/>
                        <a:pt x="108" y="35"/>
                        <a:pt x="108" y="35"/>
                      </a:cubicBezTo>
                      <a:cubicBezTo>
                        <a:pt x="109" y="35"/>
                        <a:pt x="109" y="35"/>
                        <a:pt x="109" y="35"/>
                      </a:cubicBezTo>
                      <a:cubicBezTo>
                        <a:pt x="109" y="34"/>
                        <a:pt x="109" y="34"/>
                        <a:pt x="109" y="34"/>
                      </a:cubicBezTo>
                      <a:close/>
                      <a:moveTo>
                        <a:pt x="103" y="35"/>
                      </a:moveTo>
                      <a:cubicBezTo>
                        <a:pt x="102" y="37"/>
                        <a:pt x="102" y="37"/>
                        <a:pt x="102" y="37"/>
                      </a:cubicBezTo>
                      <a:cubicBezTo>
                        <a:pt x="103" y="38"/>
                        <a:pt x="103" y="38"/>
                        <a:pt x="103" y="38"/>
                      </a:cubicBezTo>
                      <a:cubicBezTo>
                        <a:pt x="105" y="36"/>
                        <a:pt x="105" y="36"/>
                        <a:pt x="105" y="36"/>
                      </a:cubicBezTo>
                      <a:cubicBezTo>
                        <a:pt x="104" y="35"/>
                        <a:pt x="104" y="35"/>
                        <a:pt x="104" y="35"/>
                      </a:cubicBezTo>
                      <a:cubicBezTo>
                        <a:pt x="103" y="35"/>
                        <a:pt x="103" y="35"/>
                        <a:pt x="103" y="35"/>
                      </a:cubicBezTo>
                      <a:close/>
                      <a:moveTo>
                        <a:pt x="86" y="57"/>
                      </a:move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9" y="56"/>
                        <a:pt x="89" y="56"/>
                        <a:pt x="89" y="56"/>
                      </a:cubicBezTo>
                      <a:cubicBezTo>
                        <a:pt x="89" y="55"/>
                        <a:pt x="89" y="55"/>
                        <a:pt x="89" y="55"/>
                      </a:cubicBezTo>
                      <a:cubicBezTo>
                        <a:pt x="86" y="57"/>
                        <a:pt x="86" y="57"/>
                        <a:pt x="86" y="57"/>
                      </a:cubicBezTo>
                      <a:close/>
                      <a:moveTo>
                        <a:pt x="91" y="55"/>
                      </a:moveTo>
                      <a:cubicBezTo>
                        <a:pt x="90" y="57"/>
                        <a:pt x="90" y="57"/>
                        <a:pt x="90" y="57"/>
                      </a:cubicBezTo>
                      <a:cubicBezTo>
                        <a:pt x="92" y="58"/>
                        <a:pt x="92" y="58"/>
                        <a:pt x="92" y="58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4" y="60"/>
                        <a:pt x="94" y="60"/>
                        <a:pt x="94" y="60"/>
                      </a:cubicBezTo>
                      <a:cubicBezTo>
                        <a:pt x="94" y="57"/>
                        <a:pt x="94" y="57"/>
                        <a:pt x="94" y="57"/>
                      </a:cubicBezTo>
                      <a:cubicBezTo>
                        <a:pt x="93" y="56"/>
                        <a:pt x="93" y="56"/>
                        <a:pt x="93" y="56"/>
                      </a:cubicBezTo>
                      <a:cubicBezTo>
                        <a:pt x="94" y="54"/>
                        <a:pt x="94" y="54"/>
                        <a:pt x="94" y="54"/>
                      </a:cubicBezTo>
                      <a:cubicBezTo>
                        <a:pt x="93" y="55"/>
                        <a:pt x="93" y="55"/>
                        <a:pt x="93" y="55"/>
                      </a:cubicBezTo>
                      <a:cubicBezTo>
                        <a:pt x="92" y="55"/>
                        <a:pt x="92" y="55"/>
                        <a:pt x="92" y="55"/>
                      </a:cubicBezTo>
                      <a:cubicBezTo>
                        <a:pt x="91" y="55"/>
                        <a:pt x="91" y="55"/>
                        <a:pt x="91" y="55"/>
                      </a:cubicBezTo>
                      <a:close/>
                      <a:moveTo>
                        <a:pt x="134" y="85"/>
                      </a:moveTo>
                      <a:cubicBezTo>
                        <a:pt x="134" y="86"/>
                        <a:pt x="134" y="86"/>
                        <a:pt x="134" y="86"/>
                      </a:cubicBezTo>
                      <a:cubicBezTo>
                        <a:pt x="135" y="87"/>
                        <a:pt x="135" y="87"/>
                        <a:pt x="135" y="87"/>
                      </a:cubicBezTo>
                      <a:cubicBezTo>
                        <a:pt x="136" y="86"/>
                        <a:pt x="136" y="86"/>
                        <a:pt x="136" y="86"/>
                      </a:cubicBezTo>
                      <a:cubicBezTo>
                        <a:pt x="135" y="85"/>
                        <a:pt x="135" y="85"/>
                        <a:pt x="135" y="85"/>
                      </a:cubicBezTo>
                      <a:cubicBezTo>
                        <a:pt x="134" y="85"/>
                        <a:pt x="134" y="85"/>
                        <a:pt x="134" y="85"/>
                      </a:cubicBezTo>
                      <a:close/>
                      <a:moveTo>
                        <a:pt x="121" y="94"/>
                      </a:moveTo>
                      <a:cubicBezTo>
                        <a:pt x="122" y="96"/>
                        <a:pt x="122" y="96"/>
                        <a:pt x="122" y="96"/>
                      </a:cubicBezTo>
                      <a:cubicBezTo>
                        <a:pt x="122" y="97"/>
                        <a:pt x="122" y="97"/>
                        <a:pt x="122" y="97"/>
                      </a:cubicBezTo>
                      <a:cubicBezTo>
                        <a:pt x="120" y="97"/>
                        <a:pt x="120" y="97"/>
                        <a:pt x="120" y="97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0" y="98"/>
                        <a:pt x="120" y="98"/>
                        <a:pt x="120" y="98"/>
                      </a:cubicBezTo>
                      <a:cubicBezTo>
                        <a:pt x="120" y="98"/>
                        <a:pt x="120" y="98"/>
                        <a:pt x="120" y="98"/>
                      </a:cubicBezTo>
                      <a:cubicBezTo>
                        <a:pt x="122" y="97"/>
                        <a:pt x="122" y="97"/>
                        <a:pt x="122" y="97"/>
                      </a:cubicBezTo>
                      <a:cubicBezTo>
                        <a:pt x="122" y="100"/>
                        <a:pt x="122" y="100"/>
                        <a:pt x="122" y="100"/>
                      </a:cubicBezTo>
                      <a:cubicBezTo>
                        <a:pt x="123" y="101"/>
                        <a:pt x="123" y="101"/>
                        <a:pt x="123" y="101"/>
                      </a:cubicBezTo>
                      <a:cubicBezTo>
                        <a:pt x="125" y="99"/>
                        <a:pt x="125" y="99"/>
                        <a:pt x="125" y="99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7" y="101"/>
                        <a:pt x="127" y="101"/>
                        <a:pt x="127" y="101"/>
                      </a:cubicBezTo>
                      <a:cubicBezTo>
                        <a:pt x="128" y="99"/>
                        <a:pt x="128" y="99"/>
                        <a:pt x="128" y="99"/>
                      </a:cubicBezTo>
                      <a:cubicBezTo>
                        <a:pt x="129" y="99"/>
                        <a:pt x="129" y="99"/>
                        <a:pt x="129" y="99"/>
                      </a:cubicBezTo>
                      <a:cubicBezTo>
                        <a:pt x="128" y="97"/>
                        <a:pt x="128" y="97"/>
                        <a:pt x="128" y="97"/>
                      </a:cubicBezTo>
                      <a:cubicBezTo>
                        <a:pt x="125" y="94"/>
                        <a:pt x="125" y="94"/>
                        <a:pt x="125" y="94"/>
                      </a:cubicBezTo>
                      <a:cubicBezTo>
                        <a:pt x="122" y="94"/>
                        <a:pt x="122" y="94"/>
                        <a:pt x="122" y="94"/>
                      </a:cubicBezTo>
                      <a:cubicBezTo>
                        <a:pt x="121" y="94"/>
                        <a:pt x="121" y="94"/>
                        <a:pt x="121" y="94"/>
                      </a:cubicBezTo>
                      <a:close/>
                      <a:moveTo>
                        <a:pt x="115" y="98"/>
                      </a:moveTo>
                      <a:cubicBezTo>
                        <a:pt x="114" y="100"/>
                        <a:pt x="114" y="100"/>
                        <a:pt x="114" y="100"/>
                      </a:cubicBez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15" y="98"/>
                        <a:pt x="115" y="98"/>
                        <a:pt x="115" y="98"/>
                      </a:cubicBezTo>
                      <a:close/>
                      <a:moveTo>
                        <a:pt x="101" y="85"/>
                      </a:moveTo>
                      <a:cubicBezTo>
                        <a:pt x="101" y="87"/>
                        <a:pt x="101" y="87"/>
                        <a:pt x="101" y="87"/>
                      </a:cubicBezTo>
                      <a:cubicBezTo>
                        <a:pt x="99" y="88"/>
                        <a:pt x="99" y="88"/>
                        <a:pt x="99" y="88"/>
                      </a:cubicBezTo>
                      <a:cubicBezTo>
                        <a:pt x="100" y="90"/>
                        <a:pt x="100" y="90"/>
                        <a:pt x="100" y="90"/>
                      </a:cubicBezTo>
                      <a:cubicBezTo>
                        <a:pt x="104" y="90"/>
                        <a:pt x="104" y="90"/>
                        <a:pt x="104" y="90"/>
                      </a:cubicBezTo>
                      <a:cubicBezTo>
                        <a:pt x="105" y="91"/>
                        <a:pt x="105" y="91"/>
                        <a:pt x="105" y="91"/>
                      </a:cubicBezTo>
                      <a:cubicBezTo>
                        <a:pt x="105" y="93"/>
                        <a:pt x="105" y="93"/>
                        <a:pt x="105" y="93"/>
                      </a:cubicBezTo>
                      <a:cubicBezTo>
                        <a:pt x="106" y="94"/>
                        <a:pt x="106" y="94"/>
                        <a:pt x="106" y="94"/>
                      </a:cubicBezTo>
                      <a:cubicBezTo>
                        <a:pt x="106" y="96"/>
                        <a:pt x="106" y="96"/>
                        <a:pt x="106" y="96"/>
                      </a:cubicBezTo>
                      <a:cubicBezTo>
                        <a:pt x="109" y="98"/>
                        <a:pt x="109" y="98"/>
                        <a:pt x="109" y="98"/>
                      </a:cubicBezTo>
                      <a:cubicBezTo>
                        <a:pt x="110" y="98"/>
                        <a:pt x="110" y="98"/>
                        <a:pt x="110" y="98"/>
                      </a:cubicBezTo>
                      <a:cubicBezTo>
                        <a:pt x="111" y="100"/>
                        <a:pt x="111" y="100"/>
                        <a:pt x="111" y="100"/>
                      </a:cubicBezTo>
                      <a:cubicBezTo>
                        <a:pt x="112" y="100"/>
                        <a:pt x="112" y="100"/>
                        <a:pt x="112" y="100"/>
                      </a:cubicBezTo>
                      <a:cubicBezTo>
                        <a:pt x="113" y="99"/>
                        <a:pt x="113" y="99"/>
                        <a:pt x="113" y="99"/>
                      </a:cubicBezTo>
                      <a:cubicBezTo>
                        <a:pt x="112" y="97"/>
                        <a:pt x="112" y="97"/>
                        <a:pt x="112" y="97"/>
                      </a:cubicBezTo>
                      <a:cubicBezTo>
                        <a:pt x="113" y="94"/>
                        <a:pt x="113" y="94"/>
                        <a:pt x="113" y="94"/>
                      </a:cubicBezTo>
                      <a:cubicBezTo>
                        <a:pt x="110" y="94"/>
                        <a:pt x="110" y="94"/>
                        <a:pt x="110" y="94"/>
                      </a:cubicBezTo>
                      <a:cubicBezTo>
                        <a:pt x="108" y="91"/>
                        <a:pt x="108" y="91"/>
                        <a:pt x="108" y="91"/>
                      </a:cubicBezTo>
                      <a:cubicBezTo>
                        <a:pt x="107" y="87"/>
                        <a:pt x="107" y="87"/>
                        <a:pt x="107" y="87"/>
                      </a:cubicBezTo>
                      <a:cubicBezTo>
                        <a:pt x="107" y="86"/>
                        <a:pt x="107" y="86"/>
                        <a:pt x="107" y="86"/>
                      </a:cubicBezTo>
                      <a:cubicBezTo>
                        <a:pt x="106" y="85"/>
                        <a:pt x="106" y="85"/>
                        <a:pt x="106" y="85"/>
                      </a:cubicBezTo>
                      <a:cubicBezTo>
                        <a:pt x="105" y="84"/>
                        <a:pt x="105" y="84"/>
                        <a:pt x="105" y="84"/>
                      </a:cubicBezTo>
                      <a:cubicBezTo>
                        <a:pt x="104" y="84"/>
                        <a:pt x="104" y="84"/>
                        <a:pt x="104" y="84"/>
                      </a:cubicBezTo>
                      <a:cubicBezTo>
                        <a:pt x="104" y="86"/>
                        <a:pt x="104" y="86"/>
                        <a:pt x="104" y="86"/>
                      </a:cubicBezTo>
                      <a:cubicBezTo>
                        <a:pt x="105" y="87"/>
                        <a:pt x="105" y="87"/>
                        <a:pt x="105" y="87"/>
                      </a:cubicBezTo>
                      <a:cubicBezTo>
                        <a:pt x="103" y="86"/>
                        <a:pt x="103" y="86"/>
                        <a:pt x="103" y="86"/>
                      </a:cubicBezTo>
                      <a:cubicBezTo>
                        <a:pt x="101" y="85"/>
                        <a:pt x="101" y="85"/>
                        <a:pt x="101" y="85"/>
                      </a:cubicBezTo>
                      <a:cubicBezTo>
                        <a:pt x="101" y="85"/>
                        <a:pt x="101" y="85"/>
                        <a:pt x="101" y="85"/>
                      </a:cubicBezTo>
                      <a:close/>
                      <a:moveTo>
                        <a:pt x="91" y="73"/>
                      </a:moveTo>
                      <a:cubicBezTo>
                        <a:pt x="91" y="74"/>
                        <a:pt x="91" y="74"/>
                        <a:pt x="91" y="74"/>
                      </a:cubicBezTo>
                      <a:cubicBezTo>
                        <a:pt x="92" y="76"/>
                        <a:pt x="92" y="76"/>
                        <a:pt x="92" y="76"/>
                      </a:cubicBezTo>
                      <a:cubicBezTo>
                        <a:pt x="94" y="75"/>
                        <a:pt x="94" y="75"/>
                        <a:pt x="94" y="75"/>
                      </a:cubicBezTo>
                      <a:cubicBezTo>
                        <a:pt x="93" y="73"/>
                        <a:pt x="93" y="73"/>
                        <a:pt x="93" y="73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lose/>
                      <a:moveTo>
                        <a:pt x="93" y="69"/>
                      </a:moveTo>
                      <a:cubicBezTo>
                        <a:pt x="92" y="71"/>
                        <a:pt x="92" y="71"/>
                        <a:pt x="92" y="71"/>
                      </a:cubicBezTo>
                      <a:cubicBezTo>
                        <a:pt x="93" y="72"/>
                        <a:pt x="93" y="72"/>
                        <a:pt x="93" y="72"/>
                      </a:cubicBezTo>
                      <a:cubicBezTo>
                        <a:pt x="95" y="71"/>
                        <a:pt x="95" y="71"/>
                        <a:pt x="95" y="71"/>
                      </a:cubicBezTo>
                      <a:cubicBezTo>
                        <a:pt x="97" y="73"/>
                        <a:pt x="97" y="73"/>
                        <a:pt x="97" y="73"/>
                      </a:cubicBezTo>
                      <a:cubicBezTo>
                        <a:pt x="98" y="72"/>
                        <a:pt x="98" y="72"/>
                        <a:pt x="98" y="72"/>
                      </a:cubicBezTo>
                      <a:cubicBezTo>
                        <a:pt x="95" y="69"/>
                        <a:pt x="95" y="69"/>
                        <a:pt x="95" y="69"/>
                      </a:cubicBezTo>
                      <a:cubicBezTo>
                        <a:pt x="93" y="69"/>
                        <a:pt x="93" y="69"/>
                        <a:pt x="93" y="69"/>
                      </a:cubicBezTo>
                      <a:close/>
                      <a:moveTo>
                        <a:pt x="74" y="56"/>
                      </a:moveTo>
                      <a:cubicBezTo>
                        <a:pt x="72" y="58"/>
                        <a:pt x="72" y="58"/>
                        <a:pt x="72" y="58"/>
                      </a:cubicBezTo>
                      <a:cubicBezTo>
                        <a:pt x="73" y="60"/>
                        <a:pt x="73" y="60"/>
                        <a:pt x="73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8" y="61"/>
                        <a:pt x="78" y="61"/>
                        <a:pt x="78" y="61"/>
                      </a:cubicBezTo>
                      <a:cubicBezTo>
                        <a:pt x="79" y="61"/>
                        <a:pt x="79" y="61"/>
                        <a:pt x="79" y="61"/>
                      </a:cubicBezTo>
                      <a:cubicBezTo>
                        <a:pt x="78" y="58"/>
                        <a:pt x="78" y="58"/>
                        <a:pt x="78" y="58"/>
                      </a:cubicBezTo>
                      <a:cubicBezTo>
                        <a:pt x="76" y="56"/>
                        <a:pt x="76" y="56"/>
                        <a:pt x="76" y="56"/>
                      </a:cubicBezTo>
                      <a:cubicBezTo>
                        <a:pt x="74" y="56"/>
                        <a:pt x="74" y="56"/>
                        <a:pt x="74" y="56"/>
                      </a:cubicBezTo>
                      <a:close/>
                      <a:moveTo>
                        <a:pt x="68" y="52"/>
                      </a:moveTo>
                      <a:cubicBezTo>
                        <a:pt x="69" y="52"/>
                        <a:pt x="69" y="52"/>
                        <a:pt x="69" y="52"/>
                      </a:cubicBezTo>
                      <a:cubicBezTo>
                        <a:pt x="72" y="53"/>
                        <a:pt x="72" y="53"/>
                        <a:pt x="72" y="53"/>
                      </a:cubicBezTo>
                      <a:cubicBezTo>
                        <a:pt x="73" y="55"/>
                        <a:pt x="73" y="55"/>
                        <a:pt x="73" y="55"/>
                      </a:cubicBezTo>
                      <a:cubicBezTo>
                        <a:pt x="72" y="57"/>
                        <a:pt x="72" y="57"/>
                        <a:pt x="72" y="57"/>
                      </a:cubicBezTo>
                      <a:cubicBezTo>
                        <a:pt x="71" y="56"/>
                        <a:pt x="71" y="56"/>
                        <a:pt x="71" y="56"/>
                      </a:cubicBezTo>
                      <a:cubicBezTo>
                        <a:pt x="68" y="52"/>
                        <a:pt x="68" y="52"/>
                        <a:pt x="68" y="52"/>
                      </a:cubicBezTo>
                      <a:close/>
                      <a:moveTo>
                        <a:pt x="62" y="48"/>
                      </a:moveTo>
                      <a:cubicBezTo>
                        <a:pt x="63" y="51"/>
                        <a:pt x="63" y="51"/>
                        <a:pt x="63" y="51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4" y="46"/>
                        <a:pt x="64" y="46"/>
                        <a:pt x="64" y="46"/>
                      </a:cubicBezTo>
                      <a:cubicBezTo>
                        <a:pt x="63" y="47"/>
                        <a:pt x="63" y="47"/>
                        <a:pt x="63" y="47"/>
                      </a:cubicBezTo>
                      <a:cubicBezTo>
                        <a:pt x="62" y="48"/>
                        <a:pt x="62" y="48"/>
                        <a:pt x="62" y="48"/>
                      </a:cubicBezTo>
                      <a:close/>
                      <a:moveTo>
                        <a:pt x="68" y="122"/>
                      </a:moveTo>
                      <a:cubicBezTo>
                        <a:pt x="71" y="124"/>
                        <a:pt x="71" y="124"/>
                        <a:pt x="71" y="124"/>
                      </a:cubicBezTo>
                      <a:cubicBezTo>
                        <a:pt x="71" y="122"/>
                        <a:pt x="71" y="122"/>
                        <a:pt x="71" y="122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68" y="122"/>
                        <a:pt x="68" y="122"/>
                        <a:pt x="68" y="122"/>
                      </a:cubicBezTo>
                      <a:close/>
                      <a:moveTo>
                        <a:pt x="50" y="97"/>
                      </a:moveTo>
                      <a:cubicBezTo>
                        <a:pt x="49" y="99"/>
                        <a:pt x="49" y="99"/>
                        <a:pt x="49" y="99"/>
                      </a:cubicBezTo>
                      <a:cubicBezTo>
                        <a:pt x="53" y="102"/>
                        <a:pt x="53" y="102"/>
                        <a:pt x="53" y="102"/>
                      </a:cubicBezTo>
                      <a:cubicBezTo>
                        <a:pt x="52" y="100"/>
                        <a:pt x="52" y="100"/>
                        <a:pt x="52" y="100"/>
                      </a:cubicBezTo>
                      <a:cubicBezTo>
                        <a:pt x="52" y="98"/>
                        <a:pt x="52" y="98"/>
                        <a:pt x="52" y="98"/>
                      </a:cubicBezTo>
                      <a:cubicBezTo>
                        <a:pt x="50" y="97"/>
                        <a:pt x="50" y="97"/>
                        <a:pt x="50" y="97"/>
                      </a:cubicBezTo>
                      <a:close/>
                      <a:moveTo>
                        <a:pt x="47" y="95"/>
                      </a:moveTo>
                      <a:cubicBezTo>
                        <a:pt x="49" y="96"/>
                        <a:pt x="49" y="96"/>
                        <a:pt x="49" y="96"/>
                      </a:cubicBezTo>
                      <a:cubicBezTo>
                        <a:pt x="48" y="97"/>
                        <a:pt x="48" y="97"/>
                        <a:pt x="48" y="97"/>
                      </a:cubicBezTo>
                      <a:cubicBezTo>
                        <a:pt x="47" y="95"/>
                        <a:pt x="47" y="95"/>
                        <a:pt x="47" y="95"/>
                      </a:cubicBezTo>
                      <a:close/>
                      <a:moveTo>
                        <a:pt x="44" y="89"/>
                      </a:moveTo>
                      <a:cubicBezTo>
                        <a:pt x="43" y="90"/>
                        <a:pt x="43" y="90"/>
                        <a:pt x="43" y="90"/>
                      </a:cubicBezTo>
                      <a:cubicBezTo>
                        <a:pt x="44" y="91"/>
                        <a:pt x="44" y="91"/>
                        <a:pt x="44" y="91"/>
                      </a:cubicBezTo>
                      <a:cubicBezTo>
                        <a:pt x="46" y="92"/>
                        <a:pt x="46" y="92"/>
                        <a:pt x="46" y="92"/>
                      </a:cubicBezTo>
                      <a:cubicBezTo>
                        <a:pt x="44" y="89"/>
                        <a:pt x="44" y="89"/>
                        <a:pt x="44" y="89"/>
                      </a:cubicBezTo>
                      <a:close/>
                      <a:moveTo>
                        <a:pt x="33" y="80"/>
                      </a:moveTo>
                      <a:cubicBezTo>
                        <a:pt x="33" y="81"/>
                        <a:pt x="33" y="81"/>
                        <a:pt x="33" y="81"/>
                      </a:cubicBezTo>
                      <a:cubicBezTo>
                        <a:pt x="35" y="82"/>
                        <a:pt x="35" y="82"/>
                        <a:pt x="35" y="82"/>
                      </a:cubicBezTo>
                      <a:cubicBezTo>
                        <a:pt x="38" y="86"/>
                        <a:pt x="38" y="86"/>
                        <a:pt x="38" y="86"/>
                      </a:cubicBezTo>
                      <a:cubicBezTo>
                        <a:pt x="40" y="87"/>
                        <a:pt x="40" y="87"/>
                        <a:pt x="40" y="87"/>
                      </a:cubicBezTo>
                      <a:cubicBezTo>
                        <a:pt x="40" y="83"/>
                        <a:pt x="40" y="83"/>
                        <a:pt x="40" y="83"/>
                      </a:cubicBezTo>
                      <a:cubicBezTo>
                        <a:pt x="38" y="79"/>
                        <a:pt x="38" y="79"/>
                        <a:pt x="38" y="79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33" y="80"/>
                        <a:pt x="33" y="80"/>
                        <a:pt x="33" y="80"/>
                      </a:cubicBezTo>
                      <a:close/>
                      <a:moveTo>
                        <a:pt x="32" y="72"/>
                      </a:moveTo>
                      <a:cubicBezTo>
                        <a:pt x="31" y="74"/>
                        <a:pt x="31" y="74"/>
                        <a:pt x="31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4" y="74"/>
                        <a:pt x="34" y="74"/>
                        <a:pt x="34" y="74"/>
                      </a:cubicBezTo>
                      <a:cubicBezTo>
                        <a:pt x="34" y="73"/>
                        <a:pt x="34" y="73"/>
                        <a:pt x="34" y="73"/>
                      </a:cubicBezTo>
                      <a:cubicBezTo>
                        <a:pt x="32" y="72"/>
                        <a:pt x="32" y="72"/>
                        <a:pt x="32" y="72"/>
                      </a:cubicBezTo>
                      <a:close/>
                      <a:moveTo>
                        <a:pt x="33" y="67"/>
                      </a:move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37" y="68"/>
                        <a:pt x="37" y="68"/>
                        <a:pt x="37" y="68"/>
                      </a:cubicBezTo>
                      <a:cubicBezTo>
                        <a:pt x="37" y="66"/>
                        <a:pt x="37" y="66"/>
                        <a:pt x="37" y="66"/>
                      </a:cubicBezTo>
                      <a:cubicBezTo>
                        <a:pt x="34" y="66"/>
                        <a:pt x="34" y="66"/>
                        <a:pt x="34" y="66"/>
                      </a:cubicBezTo>
                      <a:cubicBezTo>
                        <a:pt x="33" y="67"/>
                        <a:pt x="33" y="67"/>
                        <a:pt x="33" y="67"/>
                      </a:cubicBezTo>
                      <a:close/>
                      <a:moveTo>
                        <a:pt x="20" y="54"/>
                      </a:moveTo>
                      <a:cubicBezTo>
                        <a:pt x="21" y="54"/>
                        <a:pt x="21" y="54"/>
                        <a:pt x="21" y="54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4" y="53"/>
                        <a:pt x="24" y="53"/>
                        <a:pt x="24" y="53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7" y="58"/>
                        <a:pt x="27" y="58"/>
                        <a:pt x="27" y="58"/>
                      </a:cubicBezTo>
                      <a:cubicBezTo>
                        <a:pt x="27" y="59"/>
                        <a:pt x="27" y="59"/>
                        <a:pt x="27" y="59"/>
                      </a:cubicBezTo>
                      <a:cubicBezTo>
                        <a:pt x="26" y="62"/>
                        <a:pt x="26" y="62"/>
                        <a:pt x="26" y="62"/>
                      </a:cubicBezTo>
                      <a:cubicBezTo>
                        <a:pt x="25" y="62"/>
                        <a:pt x="25" y="62"/>
                        <a:pt x="25" y="62"/>
                      </a:cubicBezTo>
                      <a:cubicBezTo>
                        <a:pt x="24" y="58"/>
                        <a:pt x="24" y="58"/>
                        <a:pt x="24" y="58"/>
                      </a:cubicBezTo>
                      <a:cubicBezTo>
                        <a:pt x="22" y="58"/>
                        <a:pt x="22" y="58"/>
                        <a:pt x="22" y="58"/>
                      </a:cubicBezTo>
                      <a:cubicBezTo>
                        <a:pt x="22" y="56"/>
                        <a:pt x="22" y="56"/>
                        <a:pt x="22" y="56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lose/>
                      <a:moveTo>
                        <a:pt x="19" y="46"/>
                      </a:move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6"/>
                        <a:pt x="21" y="46"/>
                        <a:pt x="21" y="46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lose/>
                      <a:moveTo>
                        <a:pt x="6" y="37"/>
                      </a:move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5" y="39"/>
                        <a:pt x="5" y="39"/>
                        <a:pt x="5" y="39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9" y="40"/>
                        <a:pt x="9" y="40"/>
                        <a:pt x="9" y="40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6" y="37"/>
                        <a:pt x="6" y="37"/>
                        <a:pt x="6" y="37"/>
                      </a:cubicBezTo>
                      <a:close/>
                      <a:moveTo>
                        <a:pt x="1" y="10"/>
                      </a:move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10" y="24"/>
                        <a:pt x="10" y="24"/>
                        <a:pt x="10" y="24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9" y="30"/>
                        <a:pt x="19" y="30"/>
                        <a:pt x="19" y="30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7" y="43"/>
                        <a:pt x="27" y="43"/>
                        <a:pt x="27" y="43"/>
                      </a:cubicBezTo>
                      <a:cubicBezTo>
                        <a:pt x="28" y="45"/>
                        <a:pt x="28" y="45"/>
                        <a:pt x="28" y="45"/>
                      </a:cubicBezTo>
                      <a:cubicBezTo>
                        <a:pt x="29" y="46"/>
                        <a:pt x="29" y="46"/>
                        <a:pt x="29" y="46"/>
                      </a:cubicBezTo>
                      <a:cubicBezTo>
                        <a:pt x="31" y="46"/>
                        <a:pt x="31" y="46"/>
                        <a:pt x="31" y="46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0"/>
                        <a:pt x="36" y="50"/>
                        <a:pt x="36" y="50"/>
                      </a:cubicBezTo>
                      <a:cubicBezTo>
                        <a:pt x="36" y="51"/>
                        <a:pt x="36" y="51"/>
                        <a:pt x="36" y="51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37" y="54"/>
                        <a:pt x="37" y="54"/>
                        <a:pt x="37" y="54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41" y="65"/>
                        <a:pt x="41" y="65"/>
                        <a:pt x="41" y="65"/>
                      </a:cubicBezTo>
                      <a:cubicBezTo>
                        <a:pt x="43" y="66"/>
                        <a:pt x="43" y="66"/>
                        <a:pt x="43" y="66"/>
                      </a:cubicBezTo>
                      <a:cubicBezTo>
                        <a:pt x="46" y="68"/>
                        <a:pt x="46" y="68"/>
                        <a:pt x="46" y="68"/>
                      </a:cubicBezTo>
                      <a:cubicBezTo>
                        <a:pt x="46" y="70"/>
                        <a:pt x="46" y="70"/>
                        <a:pt x="46" y="70"/>
                      </a:cubicBezTo>
                      <a:cubicBezTo>
                        <a:pt x="48" y="74"/>
                        <a:pt x="48" y="74"/>
                        <a:pt x="48" y="74"/>
                      </a:cubicBezTo>
                      <a:cubicBezTo>
                        <a:pt x="51" y="76"/>
                        <a:pt x="51" y="76"/>
                        <a:pt x="51" y="76"/>
                      </a:cubicBezTo>
                      <a:cubicBezTo>
                        <a:pt x="51" y="81"/>
                        <a:pt x="51" y="81"/>
                        <a:pt x="51" y="81"/>
                      </a:cubicBezTo>
                      <a:cubicBezTo>
                        <a:pt x="55" y="88"/>
                        <a:pt x="55" y="88"/>
                        <a:pt x="55" y="88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5" y="93"/>
                        <a:pt x="55" y="93"/>
                        <a:pt x="55" y="93"/>
                      </a:cubicBezTo>
                      <a:cubicBezTo>
                        <a:pt x="59" y="96"/>
                        <a:pt x="59" y="96"/>
                        <a:pt x="59" y="96"/>
                      </a:cubicBezTo>
                      <a:cubicBezTo>
                        <a:pt x="62" y="100"/>
                        <a:pt x="62" y="100"/>
                        <a:pt x="62" y="100"/>
                      </a:cubicBezTo>
                      <a:cubicBezTo>
                        <a:pt x="63" y="102"/>
                        <a:pt x="63" y="102"/>
                        <a:pt x="63" y="102"/>
                      </a:cubicBezTo>
                      <a:cubicBezTo>
                        <a:pt x="66" y="103"/>
                        <a:pt x="66" y="103"/>
                        <a:pt x="66" y="103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9" y="106"/>
                        <a:pt x="69" y="106"/>
                        <a:pt x="69" y="106"/>
                      </a:cubicBezTo>
                      <a:cubicBezTo>
                        <a:pt x="70" y="109"/>
                        <a:pt x="70" y="109"/>
                        <a:pt x="70" y="109"/>
                      </a:cubicBezTo>
                      <a:cubicBezTo>
                        <a:pt x="72" y="110"/>
                        <a:pt x="72" y="110"/>
                        <a:pt x="72" y="110"/>
                      </a:cubicBezTo>
                      <a:cubicBezTo>
                        <a:pt x="74" y="113"/>
                        <a:pt x="74" y="113"/>
                        <a:pt x="74" y="113"/>
                      </a:cubicBezTo>
                      <a:cubicBezTo>
                        <a:pt x="79" y="116"/>
                        <a:pt x="79" y="116"/>
                        <a:pt x="79" y="116"/>
                      </a:cubicBezTo>
                      <a:cubicBezTo>
                        <a:pt x="80" y="118"/>
                        <a:pt x="80" y="118"/>
                        <a:pt x="80" y="118"/>
                      </a:cubicBezTo>
                      <a:cubicBezTo>
                        <a:pt x="82" y="119"/>
                        <a:pt x="82" y="119"/>
                        <a:pt x="82" y="119"/>
                      </a:cubicBezTo>
                      <a:cubicBezTo>
                        <a:pt x="88" y="124"/>
                        <a:pt x="88" y="124"/>
                        <a:pt x="88" y="124"/>
                      </a:cubicBezTo>
                      <a:cubicBezTo>
                        <a:pt x="89" y="126"/>
                        <a:pt x="89" y="126"/>
                        <a:pt x="89" y="126"/>
                      </a:cubicBezTo>
                      <a:cubicBezTo>
                        <a:pt x="90" y="126"/>
                        <a:pt x="90" y="126"/>
                        <a:pt x="90" y="126"/>
                      </a:cubicBezTo>
                      <a:cubicBezTo>
                        <a:pt x="91" y="129"/>
                        <a:pt x="91" y="129"/>
                        <a:pt x="91" y="129"/>
                      </a:cubicBezTo>
                      <a:cubicBezTo>
                        <a:pt x="92" y="128"/>
                        <a:pt x="92" y="128"/>
                        <a:pt x="92" y="128"/>
                      </a:cubicBezTo>
                      <a:cubicBezTo>
                        <a:pt x="92" y="126"/>
                        <a:pt x="92" y="126"/>
                        <a:pt x="92" y="126"/>
                      </a:cubicBezTo>
                      <a:cubicBezTo>
                        <a:pt x="91" y="125"/>
                        <a:pt x="91" y="125"/>
                        <a:pt x="91" y="125"/>
                      </a:cubicBezTo>
                      <a:cubicBezTo>
                        <a:pt x="91" y="124"/>
                        <a:pt x="91" y="124"/>
                        <a:pt x="91" y="124"/>
                      </a:cubicBezTo>
                      <a:cubicBezTo>
                        <a:pt x="93" y="124"/>
                        <a:pt x="93" y="124"/>
                        <a:pt x="93" y="124"/>
                      </a:cubicBezTo>
                      <a:cubicBezTo>
                        <a:pt x="97" y="128"/>
                        <a:pt x="97" y="128"/>
                        <a:pt x="97" y="128"/>
                      </a:cubicBezTo>
                      <a:cubicBezTo>
                        <a:pt x="98" y="127"/>
                        <a:pt x="98" y="127"/>
                        <a:pt x="98" y="127"/>
                      </a:cubicBezTo>
                      <a:cubicBezTo>
                        <a:pt x="98" y="124"/>
                        <a:pt x="98" y="124"/>
                        <a:pt x="98" y="124"/>
                      </a:cubicBezTo>
                      <a:cubicBezTo>
                        <a:pt x="98" y="123"/>
                        <a:pt x="98" y="123"/>
                        <a:pt x="98" y="123"/>
                      </a:cubicBezTo>
                      <a:cubicBezTo>
                        <a:pt x="100" y="123"/>
                        <a:pt x="100" y="123"/>
                        <a:pt x="100" y="123"/>
                      </a:cubicBezTo>
                      <a:cubicBezTo>
                        <a:pt x="102" y="126"/>
                        <a:pt x="102" y="126"/>
                        <a:pt x="102" y="126"/>
                      </a:cubicBezTo>
                      <a:cubicBezTo>
                        <a:pt x="103" y="127"/>
                        <a:pt x="103" y="127"/>
                        <a:pt x="103" y="127"/>
                      </a:cubicBezTo>
                      <a:cubicBezTo>
                        <a:pt x="104" y="125"/>
                        <a:pt x="104" y="125"/>
                        <a:pt x="104" y="125"/>
                      </a:cubicBezTo>
                      <a:cubicBezTo>
                        <a:pt x="104" y="121"/>
                        <a:pt x="104" y="121"/>
                        <a:pt x="104" y="121"/>
                      </a:cubicBezTo>
                      <a:cubicBezTo>
                        <a:pt x="105" y="116"/>
                        <a:pt x="105" y="116"/>
                        <a:pt x="105" y="116"/>
                      </a:cubicBezTo>
                      <a:cubicBezTo>
                        <a:pt x="104" y="112"/>
                        <a:pt x="104" y="112"/>
                        <a:pt x="104" y="112"/>
                      </a:cubicBezTo>
                      <a:cubicBezTo>
                        <a:pt x="106" y="108"/>
                        <a:pt x="106" y="108"/>
                        <a:pt x="106" y="108"/>
                      </a:cubicBezTo>
                      <a:cubicBezTo>
                        <a:pt x="105" y="106"/>
                        <a:pt x="105" y="106"/>
                        <a:pt x="105" y="106"/>
                      </a:cubicBezTo>
                      <a:cubicBezTo>
                        <a:pt x="105" y="103"/>
                        <a:pt x="105" y="103"/>
                        <a:pt x="105" y="103"/>
                      </a:cubicBezTo>
                      <a:cubicBezTo>
                        <a:pt x="107" y="103"/>
                        <a:pt x="107" y="103"/>
                        <a:pt x="107" y="103"/>
                      </a:cubicBezTo>
                      <a:cubicBezTo>
                        <a:pt x="107" y="101"/>
                        <a:pt x="107" y="101"/>
                        <a:pt x="107" y="101"/>
                      </a:cubicBezTo>
                      <a:cubicBezTo>
                        <a:pt x="107" y="99"/>
                        <a:pt x="107" y="99"/>
                        <a:pt x="107" y="99"/>
                      </a:cubicBezTo>
                      <a:cubicBezTo>
                        <a:pt x="106" y="99"/>
                        <a:pt x="106" y="99"/>
                        <a:pt x="106" y="99"/>
                      </a:cubicBezTo>
                      <a:cubicBezTo>
                        <a:pt x="104" y="97"/>
                        <a:pt x="104" y="97"/>
                        <a:pt x="104" y="97"/>
                      </a:cubicBezTo>
                      <a:cubicBezTo>
                        <a:pt x="103" y="95"/>
                        <a:pt x="103" y="95"/>
                        <a:pt x="103" y="95"/>
                      </a:cubicBezTo>
                      <a:cubicBezTo>
                        <a:pt x="102" y="94"/>
                        <a:pt x="102" y="94"/>
                        <a:pt x="102" y="94"/>
                      </a:cubicBezTo>
                      <a:cubicBezTo>
                        <a:pt x="101" y="93"/>
                        <a:pt x="101" y="93"/>
                        <a:pt x="101" y="93"/>
                      </a:cubicBezTo>
                      <a:cubicBezTo>
                        <a:pt x="100" y="92"/>
                        <a:pt x="100" y="92"/>
                        <a:pt x="100" y="92"/>
                      </a:cubicBezTo>
                      <a:cubicBezTo>
                        <a:pt x="97" y="92"/>
                        <a:pt x="97" y="92"/>
                        <a:pt x="97" y="92"/>
                      </a:cubicBezTo>
                      <a:cubicBezTo>
                        <a:pt x="95" y="92"/>
                        <a:pt x="95" y="92"/>
                        <a:pt x="95" y="92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ubicBezTo>
                        <a:pt x="93" y="87"/>
                        <a:pt x="93" y="87"/>
                        <a:pt x="93" y="87"/>
                      </a:cubicBezTo>
                      <a:cubicBezTo>
                        <a:pt x="92" y="88"/>
                        <a:pt x="92" y="88"/>
                        <a:pt x="92" y="88"/>
                      </a:cubicBezTo>
                      <a:cubicBezTo>
                        <a:pt x="93" y="86"/>
                        <a:pt x="93" y="86"/>
                        <a:pt x="93" y="86"/>
                      </a:cubicBezTo>
                      <a:cubicBezTo>
                        <a:pt x="92" y="84"/>
                        <a:pt x="92" y="84"/>
                        <a:pt x="92" y="84"/>
                      </a:cubicBezTo>
                      <a:cubicBezTo>
                        <a:pt x="92" y="79"/>
                        <a:pt x="92" y="79"/>
                        <a:pt x="92" y="79"/>
                      </a:cubicBezTo>
                      <a:cubicBezTo>
                        <a:pt x="89" y="80"/>
                        <a:pt x="89" y="80"/>
                        <a:pt x="89" y="80"/>
                      </a:cubicBezTo>
                      <a:cubicBezTo>
                        <a:pt x="88" y="79"/>
                        <a:pt x="88" y="79"/>
                        <a:pt x="88" y="79"/>
                      </a:cubicBezTo>
                      <a:cubicBezTo>
                        <a:pt x="85" y="79"/>
                        <a:pt x="85" y="79"/>
                        <a:pt x="85" y="79"/>
                      </a:cubicBezTo>
                      <a:cubicBezTo>
                        <a:pt x="81" y="77"/>
                        <a:pt x="81" y="77"/>
                        <a:pt x="81" y="77"/>
                      </a:cubicBezTo>
                      <a:cubicBezTo>
                        <a:pt x="81" y="75"/>
                        <a:pt x="81" y="75"/>
                        <a:pt x="81" y="75"/>
                      </a:cubicBezTo>
                      <a:cubicBezTo>
                        <a:pt x="83" y="74"/>
                        <a:pt x="83" y="74"/>
                        <a:pt x="83" y="74"/>
                      </a:cubicBezTo>
                      <a:cubicBezTo>
                        <a:pt x="86" y="73"/>
                        <a:pt x="86" y="73"/>
                        <a:pt x="86" y="73"/>
                      </a:cubicBezTo>
                      <a:cubicBezTo>
                        <a:pt x="84" y="72"/>
                        <a:pt x="84" y="72"/>
                        <a:pt x="84" y="72"/>
                      </a:cubicBezTo>
                      <a:cubicBezTo>
                        <a:pt x="82" y="72"/>
                        <a:pt x="82" y="72"/>
                        <a:pt x="82" y="72"/>
                      </a:cubicBezTo>
                      <a:cubicBezTo>
                        <a:pt x="81" y="72"/>
                        <a:pt x="81" y="72"/>
                        <a:pt x="81" y="72"/>
                      </a:cubicBezTo>
                      <a:cubicBezTo>
                        <a:pt x="79" y="73"/>
                        <a:pt x="79" y="73"/>
                        <a:pt x="79" y="73"/>
                      </a:cubicBezTo>
                      <a:cubicBezTo>
                        <a:pt x="80" y="71"/>
                        <a:pt x="80" y="71"/>
                        <a:pt x="80" y="71"/>
                      </a:cubicBezTo>
                      <a:cubicBezTo>
                        <a:pt x="83" y="69"/>
                        <a:pt x="83" y="69"/>
                        <a:pt x="83" y="69"/>
                      </a:cubicBezTo>
                      <a:cubicBezTo>
                        <a:pt x="86" y="69"/>
                        <a:pt x="86" y="69"/>
                        <a:pt x="86" y="69"/>
                      </a:cubicBezTo>
                      <a:cubicBezTo>
                        <a:pt x="85" y="67"/>
                        <a:pt x="85" y="67"/>
                        <a:pt x="85" y="67"/>
                      </a:cubicBezTo>
                      <a:cubicBezTo>
                        <a:pt x="82" y="64"/>
                        <a:pt x="82" y="64"/>
                        <a:pt x="82" y="64"/>
                      </a:cubicBezTo>
                      <a:cubicBezTo>
                        <a:pt x="80" y="63"/>
                        <a:pt x="80" y="63"/>
                        <a:pt x="80" y="63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6" y="66"/>
                        <a:pt x="76" y="66"/>
                        <a:pt x="76" y="66"/>
                      </a:cubicBezTo>
                      <a:cubicBezTo>
                        <a:pt x="74" y="66"/>
                        <a:pt x="74" y="66"/>
                        <a:pt x="74" y="66"/>
                      </a:cubicBezTo>
                      <a:cubicBezTo>
                        <a:pt x="75" y="66"/>
                        <a:pt x="75" y="66"/>
                        <a:pt x="75" y="66"/>
                      </a:cubicBezTo>
                      <a:cubicBezTo>
                        <a:pt x="76" y="65"/>
                        <a:pt x="76" y="65"/>
                        <a:pt x="76" y="65"/>
                      </a:cubicBezTo>
                      <a:cubicBezTo>
                        <a:pt x="77" y="65"/>
                        <a:pt x="77" y="65"/>
                        <a:pt x="77" y="65"/>
                      </a:cubicBezTo>
                      <a:cubicBezTo>
                        <a:pt x="78" y="64"/>
                        <a:pt x="78" y="64"/>
                        <a:pt x="78" y="64"/>
                      </a:cubicBezTo>
                      <a:cubicBezTo>
                        <a:pt x="77" y="62"/>
                        <a:pt x="77" y="62"/>
                        <a:pt x="77" y="62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2" y="61"/>
                        <a:pt x="72" y="61"/>
                        <a:pt x="72" y="61"/>
                      </a:cubicBezTo>
                      <a:cubicBezTo>
                        <a:pt x="69" y="59"/>
                        <a:pt x="69" y="59"/>
                        <a:pt x="69" y="59"/>
                      </a:cubicBezTo>
                      <a:cubicBezTo>
                        <a:pt x="69" y="58"/>
                        <a:pt x="69" y="58"/>
                        <a:pt x="69" y="58"/>
                      </a:cubicBezTo>
                      <a:cubicBezTo>
                        <a:pt x="69" y="55"/>
                        <a:pt x="69" y="55"/>
                        <a:pt x="69" y="55"/>
                      </a:cubicBezTo>
                      <a:cubicBezTo>
                        <a:pt x="65" y="51"/>
                        <a:pt x="65" y="51"/>
                        <a:pt x="65" y="51"/>
                      </a:cubicBezTo>
                      <a:cubicBezTo>
                        <a:pt x="64" y="51"/>
                        <a:pt x="64" y="51"/>
                        <a:pt x="64" y="51"/>
                      </a:cubicBezTo>
                      <a:cubicBezTo>
                        <a:pt x="62" y="51"/>
                        <a:pt x="62" y="51"/>
                        <a:pt x="62" y="51"/>
                      </a:cubicBezTo>
                      <a:cubicBezTo>
                        <a:pt x="61" y="50"/>
                        <a:pt x="61" y="50"/>
                        <a:pt x="61" y="50"/>
                      </a:cubicBezTo>
                      <a:cubicBezTo>
                        <a:pt x="60" y="46"/>
                        <a:pt x="60" y="46"/>
                        <a:pt x="60" y="46"/>
                      </a:cubicBezTo>
                      <a:cubicBezTo>
                        <a:pt x="58" y="44"/>
                        <a:pt x="58" y="44"/>
                        <a:pt x="58" y="44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2" y="41"/>
                        <a:pt x="52" y="41"/>
                        <a:pt x="52" y="41"/>
                      </a:cubicBezTo>
                      <a:cubicBezTo>
                        <a:pt x="51" y="42"/>
                        <a:pt x="51" y="42"/>
                        <a:pt x="51" y="42"/>
                      </a:cubicBezTo>
                      <a:cubicBezTo>
                        <a:pt x="50" y="42"/>
                        <a:pt x="50" y="42"/>
                        <a:pt x="50" y="42"/>
                      </a:cubicBezTo>
                      <a:cubicBezTo>
                        <a:pt x="49" y="39"/>
                        <a:pt x="49" y="39"/>
                        <a:pt x="49" y="39"/>
                      </a:cubicBezTo>
                      <a:cubicBezTo>
                        <a:pt x="48" y="40"/>
                        <a:pt x="48" y="40"/>
                        <a:pt x="48" y="40"/>
                      </a:cubicBezTo>
                      <a:cubicBezTo>
                        <a:pt x="47" y="39"/>
                        <a:pt x="47" y="39"/>
                        <a:pt x="47" y="39"/>
                      </a:cubicBezTo>
                      <a:cubicBezTo>
                        <a:pt x="47" y="36"/>
                        <a:pt x="47" y="36"/>
                        <a:pt x="47" y="36"/>
                      </a:cubicBezTo>
                      <a:cubicBezTo>
                        <a:pt x="45" y="34"/>
                        <a:pt x="45" y="34"/>
                        <a:pt x="45" y="34"/>
                      </a:cubicBezTo>
                      <a:cubicBezTo>
                        <a:pt x="43" y="33"/>
                        <a:pt x="43" y="33"/>
                        <a:pt x="43" y="33"/>
                      </a:cubicBez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3" y="25"/>
                        <a:pt x="33" y="25"/>
                        <a:pt x="33" y="25"/>
                      </a:cubicBezTo>
                      <a:cubicBezTo>
                        <a:pt x="30" y="25"/>
                        <a:pt x="30" y="25"/>
                        <a:pt x="30" y="25"/>
                      </a:cubicBezTo>
                      <a:cubicBezTo>
                        <a:pt x="30" y="23"/>
                        <a:pt x="30" y="23"/>
                        <a:pt x="30" y="23"/>
                      </a:cubicBezTo>
                      <a:cubicBezTo>
                        <a:pt x="29" y="20"/>
                        <a:pt x="29" y="20"/>
                        <a:pt x="29" y="20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2" y="9"/>
                        <a:pt x="2" y="9"/>
                        <a:pt x="2" y="9"/>
                      </a:cubicBezTo>
                      <a:lnTo>
                        <a:pt x="1" y="1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8" name="Freeform 172">
                  <a:extLst>
                    <a:ext uri="{FF2B5EF4-FFF2-40B4-BE49-F238E27FC236}">
                      <a16:creationId xmlns:a16="http://schemas.microsoft.com/office/drawing/2014/main" xmlns="" id="{EE48DAEC-3F84-423A-9081-56A5277136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27" y="2206"/>
                  <a:ext cx="51" cy="16"/>
                </a:xfrm>
                <a:custGeom>
                  <a:avLst/>
                  <a:gdLst>
                    <a:gd name="T0" fmla="*/ 0 w 51"/>
                    <a:gd name="T1" fmla="*/ 13 h 16"/>
                    <a:gd name="T2" fmla="*/ 3 w 51"/>
                    <a:gd name="T3" fmla="*/ 16 h 16"/>
                    <a:gd name="T4" fmla="*/ 7 w 51"/>
                    <a:gd name="T5" fmla="*/ 15 h 16"/>
                    <a:gd name="T6" fmla="*/ 8 w 51"/>
                    <a:gd name="T7" fmla="*/ 15 h 16"/>
                    <a:gd name="T8" fmla="*/ 10 w 51"/>
                    <a:gd name="T9" fmla="*/ 10 h 16"/>
                    <a:gd name="T10" fmla="*/ 7 w 51"/>
                    <a:gd name="T11" fmla="*/ 11 h 16"/>
                    <a:gd name="T12" fmla="*/ 3 w 51"/>
                    <a:gd name="T13" fmla="*/ 11 h 16"/>
                    <a:gd name="T14" fmla="*/ 0 w 51"/>
                    <a:gd name="T15" fmla="*/ 13 h 16"/>
                    <a:gd name="T16" fmla="*/ 0 w 51"/>
                    <a:gd name="T17" fmla="*/ 13 h 16"/>
                    <a:gd name="T18" fmla="*/ 13 w 51"/>
                    <a:gd name="T19" fmla="*/ 8 h 16"/>
                    <a:gd name="T20" fmla="*/ 16 w 51"/>
                    <a:gd name="T21" fmla="*/ 13 h 16"/>
                    <a:gd name="T22" fmla="*/ 20 w 51"/>
                    <a:gd name="T23" fmla="*/ 16 h 16"/>
                    <a:gd name="T24" fmla="*/ 21 w 51"/>
                    <a:gd name="T25" fmla="*/ 16 h 16"/>
                    <a:gd name="T26" fmla="*/ 23 w 51"/>
                    <a:gd name="T27" fmla="*/ 13 h 16"/>
                    <a:gd name="T28" fmla="*/ 26 w 51"/>
                    <a:gd name="T29" fmla="*/ 11 h 16"/>
                    <a:gd name="T30" fmla="*/ 30 w 51"/>
                    <a:gd name="T31" fmla="*/ 13 h 16"/>
                    <a:gd name="T32" fmla="*/ 36 w 51"/>
                    <a:gd name="T33" fmla="*/ 11 h 16"/>
                    <a:gd name="T34" fmla="*/ 41 w 51"/>
                    <a:gd name="T35" fmla="*/ 8 h 16"/>
                    <a:gd name="T36" fmla="*/ 44 w 51"/>
                    <a:gd name="T37" fmla="*/ 6 h 16"/>
                    <a:gd name="T38" fmla="*/ 46 w 51"/>
                    <a:gd name="T39" fmla="*/ 5 h 16"/>
                    <a:gd name="T40" fmla="*/ 47 w 51"/>
                    <a:gd name="T41" fmla="*/ 5 h 16"/>
                    <a:gd name="T42" fmla="*/ 51 w 51"/>
                    <a:gd name="T43" fmla="*/ 3 h 16"/>
                    <a:gd name="T44" fmla="*/ 51 w 51"/>
                    <a:gd name="T45" fmla="*/ 1 h 16"/>
                    <a:gd name="T46" fmla="*/ 49 w 51"/>
                    <a:gd name="T47" fmla="*/ 0 h 16"/>
                    <a:gd name="T48" fmla="*/ 44 w 51"/>
                    <a:gd name="T49" fmla="*/ 1 h 16"/>
                    <a:gd name="T50" fmla="*/ 39 w 51"/>
                    <a:gd name="T51" fmla="*/ 1 h 16"/>
                    <a:gd name="T52" fmla="*/ 36 w 51"/>
                    <a:gd name="T53" fmla="*/ 1 h 16"/>
                    <a:gd name="T54" fmla="*/ 33 w 51"/>
                    <a:gd name="T55" fmla="*/ 1 h 16"/>
                    <a:gd name="T56" fmla="*/ 28 w 51"/>
                    <a:gd name="T57" fmla="*/ 3 h 16"/>
                    <a:gd name="T58" fmla="*/ 21 w 51"/>
                    <a:gd name="T59" fmla="*/ 1 h 16"/>
                    <a:gd name="T60" fmla="*/ 16 w 51"/>
                    <a:gd name="T61" fmla="*/ 6 h 16"/>
                    <a:gd name="T62" fmla="*/ 13 w 51"/>
                    <a:gd name="T63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1" h="16">
                      <a:moveTo>
                        <a:pt x="0" y="13"/>
                      </a:moveTo>
                      <a:lnTo>
                        <a:pt x="3" y="16"/>
                      </a:lnTo>
                      <a:lnTo>
                        <a:pt x="7" y="15"/>
                      </a:lnTo>
                      <a:lnTo>
                        <a:pt x="8" y="15"/>
                      </a:lnTo>
                      <a:lnTo>
                        <a:pt x="10" y="10"/>
                      </a:lnTo>
                      <a:lnTo>
                        <a:pt x="7" y="11"/>
                      </a:lnTo>
                      <a:lnTo>
                        <a:pt x="3" y="11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  <a:moveTo>
                        <a:pt x="13" y="8"/>
                      </a:moveTo>
                      <a:lnTo>
                        <a:pt x="16" y="13"/>
                      </a:lnTo>
                      <a:lnTo>
                        <a:pt x="20" y="16"/>
                      </a:lnTo>
                      <a:lnTo>
                        <a:pt x="21" y="16"/>
                      </a:lnTo>
                      <a:lnTo>
                        <a:pt x="23" y="13"/>
                      </a:lnTo>
                      <a:lnTo>
                        <a:pt x="26" y="11"/>
                      </a:lnTo>
                      <a:lnTo>
                        <a:pt x="30" y="13"/>
                      </a:lnTo>
                      <a:lnTo>
                        <a:pt x="36" y="11"/>
                      </a:lnTo>
                      <a:lnTo>
                        <a:pt x="41" y="8"/>
                      </a:lnTo>
                      <a:lnTo>
                        <a:pt x="44" y="6"/>
                      </a:lnTo>
                      <a:lnTo>
                        <a:pt x="46" y="5"/>
                      </a:lnTo>
                      <a:lnTo>
                        <a:pt x="47" y="5"/>
                      </a:lnTo>
                      <a:lnTo>
                        <a:pt x="51" y="3"/>
                      </a:lnTo>
                      <a:lnTo>
                        <a:pt x="51" y="1"/>
                      </a:lnTo>
                      <a:lnTo>
                        <a:pt x="49" y="0"/>
                      </a:lnTo>
                      <a:lnTo>
                        <a:pt x="44" y="1"/>
                      </a:lnTo>
                      <a:lnTo>
                        <a:pt x="39" y="1"/>
                      </a:lnTo>
                      <a:lnTo>
                        <a:pt x="36" y="1"/>
                      </a:lnTo>
                      <a:lnTo>
                        <a:pt x="33" y="1"/>
                      </a:lnTo>
                      <a:lnTo>
                        <a:pt x="28" y="3"/>
                      </a:lnTo>
                      <a:lnTo>
                        <a:pt x="21" y="1"/>
                      </a:lnTo>
                      <a:lnTo>
                        <a:pt x="16" y="6"/>
                      </a:lnTo>
                      <a:lnTo>
                        <a:pt x="13" y="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09" name="Freeform 173">
                  <a:extLst>
                    <a:ext uri="{FF2B5EF4-FFF2-40B4-BE49-F238E27FC236}">
                      <a16:creationId xmlns:a16="http://schemas.microsoft.com/office/drawing/2014/main" xmlns="" id="{0DA3C85E-B337-47FB-B4D1-9E3A43CECB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51" y="1938"/>
                  <a:ext cx="304" cy="109"/>
                </a:xfrm>
                <a:custGeom>
                  <a:avLst/>
                  <a:gdLst>
                    <a:gd name="T0" fmla="*/ 183 w 304"/>
                    <a:gd name="T1" fmla="*/ 80 h 109"/>
                    <a:gd name="T2" fmla="*/ 2 w 304"/>
                    <a:gd name="T3" fmla="*/ 36 h 109"/>
                    <a:gd name="T4" fmla="*/ 0 w 304"/>
                    <a:gd name="T5" fmla="*/ 29 h 109"/>
                    <a:gd name="T6" fmla="*/ 165 w 304"/>
                    <a:gd name="T7" fmla="*/ 108 h 109"/>
                    <a:gd name="T8" fmla="*/ 179 w 304"/>
                    <a:gd name="T9" fmla="*/ 108 h 109"/>
                    <a:gd name="T10" fmla="*/ 208 w 304"/>
                    <a:gd name="T11" fmla="*/ 101 h 109"/>
                    <a:gd name="T12" fmla="*/ 231 w 304"/>
                    <a:gd name="T13" fmla="*/ 100 h 109"/>
                    <a:gd name="T14" fmla="*/ 249 w 304"/>
                    <a:gd name="T15" fmla="*/ 60 h 109"/>
                    <a:gd name="T16" fmla="*/ 255 w 304"/>
                    <a:gd name="T17" fmla="*/ 51 h 109"/>
                    <a:gd name="T18" fmla="*/ 276 w 304"/>
                    <a:gd name="T19" fmla="*/ 52 h 109"/>
                    <a:gd name="T20" fmla="*/ 291 w 304"/>
                    <a:gd name="T21" fmla="*/ 52 h 109"/>
                    <a:gd name="T22" fmla="*/ 294 w 304"/>
                    <a:gd name="T23" fmla="*/ 41 h 109"/>
                    <a:gd name="T24" fmla="*/ 296 w 304"/>
                    <a:gd name="T25" fmla="*/ 34 h 109"/>
                    <a:gd name="T26" fmla="*/ 283 w 304"/>
                    <a:gd name="T27" fmla="*/ 31 h 109"/>
                    <a:gd name="T28" fmla="*/ 280 w 304"/>
                    <a:gd name="T29" fmla="*/ 28 h 109"/>
                    <a:gd name="T30" fmla="*/ 280 w 304"/>
                    <a:gd name="T31" fmla="*/ 16 h 109"/>
                    <a:gd name="T32" fmla="*/ 268 w 304"/>
                    <a:gd name="T33" fmla="*/ 6 h 109"/>
                    <a:gd name="T34" fmla="*/ 263 w 304"/>
                    <a:gd name="T35" fmla="*/ 10 h 109"/>
                    <a:gd name="T36" fmla="*/ 254 w 304"/>
                    <a:gd name="T37" fmla="*/ 23 h 109"/>
                    <a:gd name="T38" fmla="*/ 239 w 304"/>
                    <a:gd name="T39" fmla="*/ 37 h 109"/>
                    <a:gd name="T40" fmla="*/ 242 w 304"/>
                    <a:gd name="T41" fmla="*/ 41 h 109"/>
                    <a:gd name="T42" fmla="*/ 241 w 304"/>
                    <a:gd name="T43" fmla="*/ 52 h 109"/>
                    <a:gd name="T44" fmla="*/ 237 w 304"/>
                    <a:gd name="T45" fmla="*/ 44 h 109"/>
                    <a:gd name="T46" fmla="*/ 231 w 304"/>
                    <a:gd name="T47" fmla="*/ 52 h 109"/>
                    <a:gd name="T48" fmla="*/ 221 w 304"/>
                    <a:gd name="T49" fmla="*/ 52 h 109"/>
                    <a:gd name="T50" fmla="*/ 206 w 304"/>
                    <a:gd name="T51" fmla="*/ 72 h 109"/>
                    <a:gd name="T52" fmla="*/ 190 w 304"/>
                    <a:gd name="T53" fmla="*/ 85 h 109"/>
                    <a:gd name="T54" fmla="*/ 180 w 304"/>
                    <a:gd name="T55" fmla="*/ 91 h 109"/>
                    <a:gd name="T56" fmla="*/ 164 w 304"/>
                    <a:gd name="T57" fmla="*/ 98 h 109"/>
                    <a:gd name="T58" fmla="*/ 154 w 304"/>
                    <a:gd name="T59" fmla="*/ 93 h 109"/>
                    <a:gd name="T60" fmla="*/ 267 w 304"/>
                    <a:gd name="T61" fmla="*/ 0 h 109"/>
                    <a:gd name="T62" fmla="*/ 272 w 304"/>
                    <a:gd name="T63" fmla="*/ 3 h 109"/>
                    <a:gd name="T64" fmla="*/ 180 w 304"/>
                    <a:gd name="T65" fmla="*/ 86 h 109"/>
                    <a:gd name="T66" fmla="*/ 183 w 304"/>
                    <a:gd name="T67" fmla="*/ 85 h 109"/>
                    <a:gd name="T68" fmla="*/ 187 w 304"/>
                    <a:gd name="T69" fmla="*/ 80 h 109"/>
                    <a:gd name="T70" fmla="*/ 185 w 304"/>
                    <a:gd name="T71" fmla="*/ 80 h 109"/>
                    <a:gd name="T72" fmla="*/ 0 w 304"/>
                    <a:gd name="T73" fmla="*/ 13 h 109"/>
                    <a:gd name="T74" fmla="*/ 15 w 304"/>
                    <a:gd name="T75" fmla="*/ 15 h 109"/>
                    <a:gd name="T76" fmla="*/ 18 w 304"/>
                    <a:gd name="T77" fmla="*/ 28 h 109"/>
                    <a:gd name="T78" fmla="*/ 30 w 304"/>
                    <a:gd name="T79" fmla="*/ 21 h 109"/>
                    <a:gd name="T80" fmla="*/ 35 w 304"/>
                    <a:gd name="T81" fmla="*/ 19 h 109"/>
                    <a:gd name="T82" fmla="*/ 53 w 304"/>
                    <a:gd name="T83" fmla="*/ 49 h 109"/>
                    <a:gd name="T84" fmla="*/ 53 w 304"/>
                    <a:gd name="T85" fmla="*/ 72 h 109"/>
                    <a:gd name="T86" fmla="*/ 63 w 304"/>
                    <a:gd name="T87" fmla="*/ 82 h 109"/>
                    <a:gd name="T88" fmla="*/ 66 w 304"/>
                    <a:gd name="T89" fmla="*/ 90 h 109"/>
                    <a:gd name="T90" fmla="*/ 66 w 304"/>
                    <a:gd name="T91" fmla="*/ 98 h 109"/>
                    <a:gd name="T92" fmla="*/ 66 w 304"/>
                    <a:gd name="T93" fmla="*/ 100 h 109"/>
                    <a:gd name="T94" fmla="*/ 56 w 304"/>
                    <a:gd name="T95" fmla="*/ 101 h 109"/>
                    <a:gd name="T96" fmla="*/ 41 w 304"/>
                    <a:gd name="T97" fmla="*/ 90 h 109"/>
                    <a:gd name="T98" fmla="*/ 28 w 304"/>
                    <a:gd name="T99" fmla="*/ 80 h 109"/>
                    <a:gd name="T100" fmla="*/ 22 w 304"/>
                    <a:gd name="T101" fmla="*/ 68 h 109"/>
                    <a:gd name="T102" fmla="*/ 10 w 304"/>
                    <a:gd name="T103" fmla="*/ 55 h 109"/>
                    <a:gd name="T104" fmla="*/ 7 w 304"/>
                    <a:gd name="T105" fmla="*/ 3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04" h="109">
                      <a:moveTo>
                        <a:pt x="183" y="80"/>
                      </a:moveTo>
                      <a:lnTo>
                        <a:pt x="183" y="82"/>
                      </a:lnTo>
                      <a:lnTo>
                        <a:pt x="182" y="83"/>
                      </a:lnTo>
                      <a:lnTo>
                        <a:pt x="182" y="82"/>
                      </a:lnTo>
                      <a:lnTo>
                        <a:pt x="183" y="80"/>
                      </a:lnTo>
                      <a:lnTo>
                        <a:pt x="183" y="80"/>
                      </a:lnTo>
                      <a:lnTo>
                        <a:pt x="183" y="80"/>
                      </a:lnTo>
                      <a:close/>
                      <a:moveTo>
                        <a:pt x="0" y="29"/>
                      </a:moveTo>
                      <a:lnTo>
                        <a:pt x="0" y="33"/>
                      </a:lnTo>
                      <a:lnTo>
                        <a:pt x="2" y="36"/>
                      </a:lnTo>
                      <a:lnTo>
                        <a:pt x="4" y="34"/>
                      </a:lnTo>
                      <a:lnTo>
                        <a:pt x="2" y="33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9"/>
                      </a:lnTo>
                      <a:close/>
                      <a:moveTo>
                        <a:pt x="154" y="93"/>
                      </a:moveTo>
                      <a:lnTo>
                        <a:pt x="157" y="98"/>
                      </a:lnTo>
                      <a:lnTo>
                        <a:pt x="162" y="103"/>
                      </a:lnTo>
                      <a:lnTo>
                        <a:pt x="162" y="103"/>
                      </a:lnTo>
                      <a:lnTo>
                        <a:pt x="165" y="108"/>
                      </a:lnTo>
                      <a:lnTo>
                        <a:pt x="167" y="109"/>
                      </a:lnTo>
                      <a:lnTo>
                        <a:pt x="170" y="109"/>
                      </a:lnTo>
                      <a:lnTo>
                        <a:pt x="174" y="109"/>
                      </a:lnTo>
                      <a:lnTo>
                        <a:pt x="175" y="106"/>
                      </a:lnTo>
                      <a:lnTo>
                        <a:pt x="179" y="108"/>
                      </a:lnTo>
                      <a:lnTo>
                        <a:pt x="182" y="106"/>
                      </a:lnTo>
                      <a:lnTo>
                        <a:pt x="190" y="106"/>
                      </a:lnTo>
                      <a:lnTo>
                        <a:pt x="198" y="103"/>
                      </a:lnTo>
                      <a:lnTo>
                        <a:pt x="201" y="101"/>
                      </a:lnTo>
                      <a:lnTo>
                        <a:pt x="208" y="101"/>
                      </a:lnTo>
                      <a:lnTo>
                        <a:pt x="213" y="103"/>
                      </a:lnTo>
                      <a:lnTo>
                        <a:pt x="214" y="104"/>
                      </a:lnTo>
                      <a:lnTo>
                        <a:pt x="218" y="104"/>
                      </a:lnTo>
                      <a:lnTo>
                        <a:pt x="224" y="101"/>
                      </a:lnTo>
                      <a:lnTo>
                        <a:pt x="231" y="100"/>
                      </a:lnTo>
                      <a:lnTo>
                        <a:pt x="231" y="98"/>
                      </a:lnTo>
                      <a:lnTo>
                        <a:pt x="237" y="88"/>
                      </a:lnTo>
                      <a:lnTo>
                        <a:pt x="241" y="80"/>
                      </a:lnTo>
                      <a:lnTo>
                        <a:pt x="244" y="73"/>
                      </a:lnTo>
                      <a:lnTo>
                        <a:pt x="249" y="60"/>
                      </a:lnTo>
                      <a:lnTo>
                        <a:pt x="249" y="59"/>
                      </a:lnTo>
                      <a:lnTo>
                        <a:pt x="250" y="55"/>
                      </a:lnTo>
                      <a:lnTo>
                        <a:pt x="249" y="54"/>
                      </a:lnTo>
                      <a:lnTo>
                        <a:pt x="252" y="49"/>
                      </a:lnTo>
                      <a:lnTo>
                        <a:pt x="255" y="51"/>
                      </a:lnTo>
                      <a:lnTo>
                        <a:pt x="260" y="51"/>
                      </a:lnTo>
                      <a:lnTo>
                        <a:pt x="267" y="51"/>
                      </a:lnTo>
                      <a:lnTo>
                        <a:pt x="268" y="52"/>
                      </a:lnTo>
                      <a:lnTo>
                        <a:pt x="273" y="51"/>
                      </a:lnTo>
                      <a:lnTo>
                        <a:pt x="276" y="52"/>
                      </a:lnTo>
                      <a:lnTo>
                        <a:pt x="276" y="51"/>
                      </a:lnTo>
                      <a:lnTo>
                        <a:pt x="281" y="54"/>
                      </a:lnTo>
                      <a:lnTo>
                        <a:pt x="283" y="54"/>
                      </a:lnTo>
                      <a:lnTo>
                        <a:pt x="286" y="52"/>
                      </a:lnTo>
                      <a:lnTo>
                        <a:pt x="291" y="52"/>
                      </a:lnTo>
                      <a:lnTo>
                        <a:pt x="291" y="51"/>
                      </a:lnTo>
                      <a:lnTo>
                        <a:pt x="286" y="46"/>
                      </a:lnTo>
                      <a:lnTo>
                        <a:pt x="286" y="42"/>
                      </a:lnTo>
                      <a:lnTo>
                        <a:pt x="288" y="41"/>
                      </a:lnTo>
                      <a:lnTo>
                        <a:pt x="294" y="41"/>
                      </a:lnTo>
                      <a:lnTo>
                        <a:pt x="301" y="39"/>
                      </a:lnTo>
                      <a:lnTo>
                        <a:pt x="304" y="37"/>
                      </a:lnTo>
                      <a:lnTo>
                        <a:pt x="303" y="34"/>
                      </a:lnTo>
                      <a:lnTo>
                        <a:pt x="301" y="34"/>
                      </a:lnTo>
                      <a:lnTo>
                        <a:pt x="296" y="34"/>
                      </a:lnTo>
                      <a:lnTo>
                        <a:pt x="294" y="31"/>
                      </a:lnTo>
                      <a:lnTo>
                        <a:pt x="291" y="31"/>
                      </a:lnTo>
                      <a:lnTo>
                        <a:pt x="288" y="28"/>
                      </a:lnTo>
                      <a:lnTo>
                        <a:pt x="285" y="28"/>
                      </a:lnTo>
                      <a:lnTo>
                        <a:pt x="283" y="31"/>
                      </a:lnTo>
                      <a:lnTo>
                        <a:pt x="281" y="29"/>
                      </a:lnTo>
                      <a:lnTo>
                        <a:pt x="285" y="26"/>
                      </a:lnTo>
                      <a:lnTo>
                        <a:pt x="283" y="24"/>
                      </a:lnTo>
                      <a:lnTo>
                        <a:pt x="281" y="24"/>
                      </a:lnTo>
                      <a:lnTo>
                        <a:pt x="280" y="28"/>
                      </a:lnTo>
                      <a:lnTo>
                        <a:pt x="278" y="26"/>
                      </a:lnTo>
                      <a:lnTo>
                        <a:pt x="276" y="24"/>
                      </a:lnTo>
                      <a:lnTo>
                        <a:pt x="276" y="19"/>
                      </a:lnTo>
                      <a:lnTo>
                        <a:pt x="280" y="19"/>
                      </a:lnTo>
                      <a:lnTo>
                        <a:pt x="280" y="16"/>
                      </a:lnTo>
                      <a:lnTo>
                        <a:pt x="276" y="15"/>
                      </a:lnTo>
                      <a:lnTo>
                        <a:pt x="275" y="15"/>
                      </a:lnTo>
                      <a:lnTo>
                        <a:pt x="272" y="13"/>
                      </a:lnTo>
                      <a:lnTo>
                        <a:pt x="272" y="8"/>
                      </a:lnTo>
                      <a:lnTo>
                        <a:pt x="268" y="6"/>
                      </a:lnTo>
                      <a:lnTo>
                        <a:pt x="267" y="6"/>
                      </a:lnTo>
                      <a:lnTo>
                        <a:pt x="268" y="10"/>
                      </a:lnTo>
                      <a:lnTo>
                        <a:pt x="263" y="13"/>
                      </a:lnTo>
                      <a:lnTo>
                        <a:pt x="263" y="13"/>
                      </a:lnTo>
                      <a:lnTo>
                        <a:pt x="263" y="10"/>
                      </a:lnTo>
                      <a:lnTo>
                        <a:pt x="263" y="8"/>
                      </a:lnTo>
                      <a:lnTo>
                        <a:pt x="262" y="8"/>
                      </a:lnTo>
                      <a:lnTo>
                        <a:pt x="259" y="15"/>
                      </a:lnTo>
                      <a:lnTo>
                        <a:pt x="257" y="15"/>
                      </a:lnTo>
                      <a:lnTo>
                        <a:pt x="254" y="23"/>
                      </a:lnTo>
                      <a:lnTo>
                        <a:pt x="254" y="28"/>
                      </a:lnTo>
                      <a:lnTo>
                        <a:pt x="247" y="33"/>
                      </a:lnTo>
                      <a:lnTo>
                        <a:pt x="244" y="33"/>
                      </a:lnTo>
                      <a:lnTo>
                        <a:pt x="241" y="36"/>
                      </a:lnTo>
                      <a:lnTo>
                        <a:pt x="239" y="37"/>
                      </a:lnTo>
                      <a:lnTo>
                        <a:pt x="241" y="37"/>
                      </a:lnTo>
                      <a:lnTo>
                        <a:pt x="239" y="39"/>
                      </a:lnTo>
                      <a:lnTo>
                        <a:pt x="241" y="39"/>
                      </a:lnTo>
                      <a:lnTo>
                        <a:pt x="244" y="39"/>
                      </a:lnTo>
                      <a:lnTo>
                        <a:pt x="242" y="41"/>
                      </a:lnTo>
                      <a:lnTo>
                        <a:pt x="241" y="42"/>
                      </a:lnTo>
                      <a:lnTo>
                        <a:pt x="239" y="42"/>
                      </a:lnTo>
                      <a:lnTo>
                        <a:pt x="241" y="44"/>
                      </a:lnTo>
                      <a:lnTo>
                        <a:pt x="242" y="49"/>
                      </a:lnTo>
                      <a:lnTo>
                        <a:pt x="241" y="52"/>
                      </a:lnTo>
                      <a:lnTo>
                        <a:pt x="239" y="51"/>
                      </a:lnTo>
                      <a:lnTo>
                        <a:pt x="237" y="47"/>
                      </a:lnTo>
                      <a:lnTo>
                        <a:pt x="237" y="44"/>
                      </a:lnTo>
                      <a:lnTo>
                        <a:pt x="237" y="44"/>
                      </a:lnTo>
                      <a:lnTo>
                        <a:pt x="237" y="44"/>
                      </a:lnTo>
                      <a:lnTo>
                        <a:pt x="236" y="44"/>
                      </a:lnTo>
                      <a:lnTo>
                        <a:pt x="234" y="46"/>
                      </a:lnTo>
                      <a:lnTo>
                        <a:pt x="236" y="54"/>
                      </a:lnTo>
                      <a:lnTo>
                        <a:pt x="232" y="54"/>
                      </a:lnTo>
                      <a:lnTo>
                        <a:pt x="231" y="52"/>
                      </a:lnTo>
                      <a:lnTo>
                        <a:pt x="227" y="47"/>
                      </a:lnTo>
                      <a:lnTo>
                        <a:pt x="226" y="47"/>
                      </a:lnTo>
                      <a:lnTo>
                        <a:pt x="223" y="46"/>
                      </a:lnTo>
                      <a:lnTo>
                        <a:pt x="221" y="49"/>
                      </a:lnTo>
                      <a:lnTo>
                        <a:pt x="221" y="52"/>
                      </a:lnTo>
                      <a:lnTo>
                        <a:pt x="218" y="55"/>
                      </a:lnTo>
                      <a:lnTo>
                        <a:pt x="216" y="59"/>
                      </a:lnTo>
                      <a:lnTo>
                        <a:pt x="211" y="64"/>
                      </a:lnTo>
                      <a:lnTo>
                        <a:pt x="210" y="67"/>
                      </a:lnTo>
                      <a:lnTo>
                        <a:pt x="206" y="72"/>
                      </a:lnTo>
                      <a:lnTo>
                        <a:pt x="201" y="75"/>
                      </a:lnTo>
                      <a:lnTo>
                        <a:pt x="188" y="78"/>
                      </a:lnTo>
                      <a:lnTo>
                        <a:pt x="188" y="78"/>
                      </a:lnTo>
                      <a:lnTo>
                        <a:pt x="188" y="83"/>
                      </a:lnTo>
                      <a:lnTo>
                        <a:pt x="190" y="85"/>
                      </a:lnTo>
                      <a:lnTo>
                        <a:pt x="188" y="85"/>
                      </a:lnTo>
                      <a:lnTo>
                        <a:pt x="187" y="85"/>
                      </a:lnTo>
                      <a:lnTo>
                        <a:pt x="182" y="86"/>
                      </a:lnTo>
                      <a:lnTo>
                        <a:pt x="180" y="88"/>
                      </a:lnTo>
                      <a:lnTo>
                        <a:pt x="180" y="91"/>
                      </a:lnTo>
                      <a:lnTo>
                        <a:pt x="179" y="96"/>
                      </a:lnTo>
                      <a:lnTo>
                        <a:pt x="177" y="100"/>
                      </a:lnTo>
                      <a:lnTo>
                        <a:pt x="177" y="101"/>
                      </a:lnTo>
                      <a:lnTo>
                        <a:pt x="170" y="100"/>
                      </a:lnTo>
                      <a:lnTo>
                        <a:pt x="164" y="98"/>
                      </a:lnTo>
                      <a:lnTo>
                        <a:pt x="159" y="98"/>
                      </a:lnTo>
                      <a:lnTo>
                        <a:pt x="157" y="95"/>
                      </a:lnTo>
                      <a:lnTo>
                        <a:pt x="156" y="93"/>
                      </a:lnTo>
                      <a:lnTo>
                        <a:pt x="154" y="93"/>
                      </a:lnTo>
                      <a:lnTo>
                        <a:pt x="154" y="93"/>
                      </a:lnTo>
                      <a:close/>
                      <a:moveTo>
                        <a:pt x="267" y="0"/>
                      </a:moveTo>
                      <a:lnTo>
                        <a:pt x="262" y="3"/>
                      </a:lnTo>
                      <a:lnTo>
                        <a:pt x="265" y="3"/>
                      </a:lnTo>
                      <a:lnTo>
                        <a:pt x="267" y="1"/>
                      </a:lnTo>
                      <a:lnTo>
                        <a:pt x="267" y="0"/>
                      </a:lnTo>
                      <a:lnTo>
                        <a:pt x="267" y="0"/>
                      </a:lnTo>
                      <a:close/>
                      <a:moveTo>
                        <a:pt x="270" y="0"/>
                      </a:moveTo>
                      <a:lnTo>
                        <a:pt x="268" y="3"/>
                      </a:lnTo>
                      <a:lnTo>
                        <a:pt x="268" y="5"/>
                      </a:lnTo>
                      <a:lnTo>
                        <a:pt x="272" y="3"/>
                      </a:lnTo>
                      <a:lnTo>
                        <a:pt x="272" y="0"/>
                      </a:lnTo>
                      <a:lnTo>
                        <a:pt x="270" y="0"/>
                      </a:lnTo>
                      <a:lnTo>
                        <a:pt x="270" y="0"/>
                      </a:lnTo>
                      <a:close/>
                      <a:moveTo>
                        <a:pt x="183" y="85"/>
                      </a:moveTo>
                      <a:lnTo>
                        <a:pt x="180" y="86"/>
                      </a:lnTo>
                      <a:lnTo>
                        <a:pt x="182" y="83"/>
                      </a:lnTo>
                      <a:lnTo>
                        <a:pt x="183" y="85"/>
                      </a:lnTo>
                      <a:lnTo>
                        <a:pt x="183" y="85"/>
                      </a:lnTo>
                      <a:close/>
                      <a:moveTo>
                        <a:pt x="185" y="85"/>
                      </a:moveTo>
                      <a:lnTo>
                        <a:pt x="183" y="85"/>
                      </a:lnTo>
                      <a:lnTo>
                        <a:pt x="183" y="83"/>
                      </a:lnTo>
                      <a:lnTo>
                        <a:pt x="183" y="83"/>
                      </a:lnTo>
                      <a:lnTo>
                        <a:pt x="185" y="85"/>
                      </a:lnTo>
                      <a:lnTo>
                        <a:pt x="185" y="85"/>
                      </a:lnTo>
                      <a:close/>
                      <a:moveTo>
                        <a:pt x="187" y="80"/>
                      </a:moveTo>
                      <a:lnTo>
                        <a:pt x="188" y="83"/>
                      </a:lnTo>
                      <a:lnTo>
                        <a:pt x="187" y="83"/>
                      </a:lnTo>
                      <a:lnTo>
                        <a:pt x="183" y="82"/>
                      </a:lnTo>
                      <a:lnTo>
                        <a:pt x="183" y="80"/>
                      </a:lnTo>
                      <a:lnTo>
                        <a:pt x="185" y="80"/>
                      </a:lnTo>
                      <a:lnTo>
                        <a:pt x="185" y="80"/>
                      </a:lnTo>
                      <a:lnTo>
                        <a:pt x="187" y="80"/>
                      </a:lnTo>
                      <a:lnTo>
                        <a:pt x="187" y="80"/>
                      </a:lnTo>
                      <a:close/>
                      <a:moveTo>
                        <a:pt x="0" y="16"/>
                      </a:moveTo>
                      <a:lnTo>
                        <a:pt x="0" y="13"/>
                      </a:lnTo>
                      <a:lnTo>
                        <a:pt x="4" y="10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2" y="15"/>
                      </a:lnTo>
                      <a:lnTo>
                        <a:pt x="15" y="15"/>
                      </a:lnTo>
                      <a:lnTo>
                        <a:pt x="17" y="18"/>
                      </a:lnTo>
                      <a:lnTo>
                        <a:pt x="17" y="23"/>
                      </a:lnTo>
                      <a:lnTo>
                        <a:pt x="15" y="24"/>
                      </a:lnTo>
                      <a:lnTo>
                        <a:pt x="14" y="26"/>
                      </a:lnTo>
                      <a:lnTo>
                        <a:pt x="18" y="28"/>
                      </a:lnTo>
                      <a:lnTo>
                        <a:pt x="22" y="24"/>
                      </a:lnTo>
                      <a:lnTo>
                        <a:pt x="25" y="24"/>
                      </a:lnTo>
                      <a:lnTo>
                        <a:pt x="27" y="26"/>
                      </a:lnTo>
                      <a:lnTo>
                        <a:pt x="30" y="24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30" y="21"/>
                      </a:lnTo>
                      <a:lnTo>
                        <a:pt x="32" y="21"/>
                      </a:lnTo>
                      <a:lnTo>
                        <a:pt x="33" y="19"/>
                      </a:lnTo>
                      <a:lnTo>
                        <a:pt x="35" y="19"/>
                      </a:lnTo>
                      <a:lnTo>
                        <a:pt x="38" y="23"/>
                      </a:lnTo>
                      <a:lnTo>
                        <a:pt x="49" y="36"/>
                      </a:lnTo>
                      <a:lnTo>
                        <a:pt x="53" y="41"/>
                      </a:lnTo>
                      <a:lnTo>
                        <a:pt x="54" y="47"/>
                      </a:lnTo>
                      <a:lnTo>
                        <a:pt x="53" y="49"/>
                      </a:lnTo>
                      <a:lnTo>
                        <a:pt x="53" y="57"/>
                      </a:lnTo>
                      <a:lnTo>
                        <a:pt x="53" y="59"/>
                      </a:lnTo>
                      <a:lnTo>
                        <a:pt x="53" y="62"/>
                      </a:lnTo>
                      <a:lnTo>
                        <a:pt x="53" y="64"/>
                      </a:lnTo>
                      <a:lnTo>
                        <a:pt x="53" y="72"/>
                      </a:lnTo>
                      <a:lnTo>
                        <a:pt x="56" y="75"/>
                      </a:lnTo>
                      <a:lnTo>
                        <a:pt x="59" y="78"/>
                      </a:lnTo>
                      <a:lnTo>
                        <a:pt x="61" y="78"/>
                      </a:lnTo>
                      <a:lnTo>
                        <a:pt x="63" y="80"/>
                      </a:lnTo>
                      <a:lnTo>
                        <a:pt x="63" y="82"/>
                      </a:lnTo>
                      <a:lnTo>
                        <a:pt x="63" y="86"/>
                      </a:lnTo>
                      <a:lnTo>
                        <a:pt x="64" y="88"/>
                      </a:lnTo>
                      <a:lnTo>
                        <a:pt x="64" y="88"/>
                      </a:lnTo>
                      <a:lnTo>
                        <a:pt x="64" y="90"/>
                      </a:lnTo>
                      <a:lnTo>
                        <a:pt x="66" y="90"/>
                      </a:lnTo>
                      <a:lnTo>
                        <a:pt x="69" y="96"/>
                      </a:lnTo>
                      <a:lnTo>
                        <a:pt x="69" y="101"/>
                      </a:lnTo>
                      <a:lnTo>
                        <a:pt x="66" y="101"/>
                      </a:lnTo>
                      <a:lnTo>
                        <a:pt x="66" y="100"/>
                      </a:lnTo>
                      <a:lnTo>
                        <a:pt x="66" y="98"/>
                      </a:lnTo>
                      <a:lnTo>
                        <a:pt x="64" y="96"/>
                      </a:lnTo>
                      <a:lnTo>
                        <a:pt x="64" y="98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6" y="100"/>
                      </a:lnTo>
                      <a:lnTo>
                        <a:pt x="66" y="101"/>
                      </a:lnTo>
                      <a:lnTo>
                        <a:pt x="63" y="103"/>
                      </a:lnTo>
                      <a:lnTo>
                        <a:pt x="61" y="101"/>
                      </a:lnTo>
                      <a:lnTo>
                        <a:pt x="59" y="101"/>
                      </a:lnTo>
                      <a:lnTo>
                        <a:pt x="56" y="101"/>
                      </a:lnTo>
                      <a:lnTo>
                        <a:pt x="54" y="98"/>
                      </a:lnTo>
                      <a:lnTo>
                        <a:pt x="49" y="96"/>
                      </a:lnTo>
                      <a:lnTo>
                        <a:pt x="45" y="95"/>
                      </a:lnTo>
                      <a:lnTo>
                        <a:pt x="43" y="91"/>
                      </a:lnTo>
                      <a:lnTo>
                        <a:pt x="41" y="90"/>
                      </a:lnTo>
                      <a:lnTo>
                        <a:pt x="38" y="91"/>
                      </a:lnTo>
                      <a:lnTo>
                        <a:pt x="36" y="91"/>
                      </a:lnTo>
                      <a:lnTo>
                        <a:pt x="33" y="86"/>
                      </a:lnTo>
                      <a:lnTo>
                        <a:pt x="33" y="83"/>
                      </a:lnTo>
                      <a:lnTo>
                        <a:pt x="28" y="80"/>
                      </a:lnTo>
                      <a:lnTo>
                        <a:pt x="22" y="77"/>
                      </a:lnTo>
                      <a:lnTo>
                        <a:pt x="20" y="75"/>
                      </a:lnTo>
                      <a:lnTo>
                        <a:pt x="20" y="73"/>
                      </a:lnTo>
                      <a:lnTo>
                        <a:pt x="23" y="72"/>
                      </a:lnTo>
                      <a:lnTo>
                        <a:pt x="22" y="68"/>
                      </a:lnTo>
                      <a:lnTo>
                        <a:pt x="18" y="67"/>
                      </a:lnTo>
                      <a:lnTo>
                        <a:pt x="15" y="62"/>
                      </a:lnTo>
                      <a:lnTo>
                        <a:pt x="12" y="59"/>
                      </a:lnTo>
                      <a:lnTo>
                        <a:pt x="9" y="57"/>
                      </a:lnTo>
                      <a:lnTo>
                        <a:pt x="10" y="55"/>
                      </a:lnTo>
                      <a:lnTo>
                        <a:pt x="7" y="52"/>
                      </a:lnTo>
                      <a:lnTo>
                        <a:pt x="7" y="49"/>
                      </a:lnTo>
                      <a:lnTo>
                        <a:pt x="9" y="49"/>
                      </a:lnTo>
                      <a:lnTo>
                        <a:pt x="9" y="42"/>
                      </a:lnTo>
                      <a:lnTo>
                        <a:pt x="7" y="39"/>
                      </a:lnTo>
                      <a:lnTo>
                        <a:pt x="5" y="34"/>
                      </a:lnTo>
                      <a:lnTo>
                        <a:pt x="4" y="21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0" name="Freeform 174">
                  <a:extLst>
                    <a:ext uri="{FF2B5EF4-FFF2-40B4-BE49-F238E27FC236}">
                      <a16:creationId xmlns:a16="http://schemas.microsoft.com/office/drawing/2014/main" xmlns="" id="{AADD6871-8F93-4A0B-B6F7-06B15B5E4E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4" y="1977"/>
                  <a:ext cx="19" cy="15"/>
                </a:xfrm>
                <a:custGeom>
                  <a:avLst/>
                  <a:gdLst>
                    <a:gd name="T0" fmla="*/ 0 w 19"/>
                    <a:gd name="T1" fmla="*/ 7 h 15"/>
                    <a:gd name="T2" fmla="*/ 3 w 19"/>
                    <a:gd name="T3" fmla="*/ 8 h 15"/>
                    <a:gd name="T4" fmla="*/ 4 w 19"/>
                    <a:gd name="T5" fmla="*/ 8 h 15"/>
                    <a:gd name="T6" fmla="*/ 8 w 19"/>
                    <a:gd name="T7" fmla="*/ 13 h 15"/>
                    <a:gd name="T8" fmla="*/ 9 w 19"/>
                    <a:gd name="T9" fmla="*/ 15 h 15"/>
                    <a:gd name="T10" fmla="*/ 13 w 19"/>
                    <a:gd name="T11" fmla="*/ 15 h 15"/>
                    <a:gd name="T12" fmla="*/ 11 w 19"/>
                    <a:gd name="T13" fmla="*/ 7 h 15"/>
                    <a:gd name="T14" fmla="*/ 13 w 19"/>
                    <a:gd name="T15" fmla="*/ 5 h 15"/>
                    <a:gd name="T16" fmla="*/ 14 w 19"/>
                    <a:gd name="T17" fmla="*/ 5 h 15"/>
                    <a:gd name="T18" fmla="*/ 14 w 19"/>
                    <a:gd name="T19" fmla="*/ 3 h 15"/>
                    <a:gd name="T20" fmla="*/ 14 w 19"/>
                    <a:gd name="T21" fmla="*/ 0 h 15"/>
                    <a:gd name="T22" fmla="*/ 11 w 19"/>
                    <a:gd name="T23" fmla="*/ 2 h 15"/>
                    <a:gd name="T24" fmla="*/ 6 w 19"/>
                    <a:gd name="T25" fmla="*/ 3 h 15"/>
                    <a:gd name="T26" fmla="*/ 1 w 19"/>
                    <a:gd name="T27" fmla="*/ 7 h 15"/>
                    <a:gd name="T28" fmla="*/ 0 w 19"/>
                    <a:gd name="T29" fmla="*/ 7 h 15"/>
                    <a:gd name="T30" fmla="*/ 0 w 19"/>
                    <a:gd name="T31" fmla="*/ 7 h 15"/>
                    <a:gd name="T32" fmla="*/ 14 w 19"/>
                    <a:gd name="T33" fmla="*/ 5 h 15"/>
                    <a:gd name="T34" fmla="*/ 14 w 19"/>
                    <a:gd name="T35" fmla="*/ 8 h 15"/>
                    <a:gd name="T36" fmla="*/ 16 w 19"/>
                    <a:gd name="T37" fmla="*/ 12 h 15"/>
                    <a:gd name="T38" fmla="*/ 18 w 19"/>
                    <a:gd name="T39" fmla="*/ 13 h 15"/>
                    <a:gd name="T40" fmla="*/ 19 w 19"/>
                    <a:gd name="T41" fmla="*/ 10 h 15"/>
                    <a:gd name="T42" fmla="*/ 18 w 19"/>
                    <a:gd name="T43" fmla="*/ 5 h 15"/>
                    <a:gd name="T44" fmla="*/ 16 w 19"/>
                    <a:gd name="T45" fmla="*/ 3 h 15"/>
                    <a:gd name="T46" fmla="*/ 16 w 19"/>
                    <a:gd name="T47" fmla="*/ 5 h 15"/>
                    <a:gd name="T48" fmla="*/ 14 w 19"/>
                    <a:gd name="T49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" h="15">
                      <a:moveTo>
                        <a:pt x="0" y="7"/>
                      </a:move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8" y="13"/>
                      </a:lnTo>
                      <a:lnTo>
                        <a:pt x="9" y="15"/>
                      </a:lnTo>
                      <a:lnTo>
                        <a:pt x="13" y="15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4" y="3"/>
                      </a:lnTo>
                      <a:lnTo>
                        <a:pt x="14" y="0"/>
                      </a:lnTo>
                      <a:lnTo>
                        <a:pt x="11" y="2"/>
                      </a:lnTo>
                      <a:lnTo>
                        <a:pt x="6" y="3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  <a:moveTo>
                        <a:pt x="14" y="5"/>
                      </a:moveTo>
                      <a:lnTo>
                        <a:pt x="14" y="8"/>
                      </a:lnTo>
                      <a:lnTo>
                        <a:pt x="16" y="12"/>
                      </a:lnTo>
                      <a:lnTo>
                        <a:pt x="18" y="13"/>
                      </a:lnTo>
                      <a:lnTo>
                        <a:pt x="19" y="10"/>
                      </a:lnTo>
                      <a:lnTo>
                        <a:pt x="18" y="5"/>
                      </a:lnTo>
                      <a:lnTo>
                        <a:pt x="16" y="3"/>
                      </a:lnTo>
                      <a:lnTo>
                        <a:pt x="16" y="5"/>
                      </a:lnTo>
                      <a:lnTo>
                        <a:pt x="14" y="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1" name="Freeform 175">
                  <a:extLst>
                    <a:ext uri="{FF2B5EF4-FFF2-40B4-BE49-F238E27FC236}">
                      <a16:creationId xmlns:a16="http://schemas.microsoft.com/office/drawing/2014/main" xmlns="" id="{84694C49-E83E-474C-BA28-B99AC43711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65" y="1657"/>
                  <a:ext cx="130" cy="260"/>
                </a:xfrm>
                <a:custGeom>
                  <a:avLst/>
                  <a:gdLst>
                    <a:gd name="T0" fmla="*/ 4 w 130"/>
                    <a:gd name="T1" fmla="*/ 15 h 260"/>
                    <a:gd name="T2" fmla="*/ 13 w 130"/>
                    <a:gd name="T3" fmla="*/ 16 h 260"/>
                    <a:gd name="T4" fmla="*/ 22 w 130"/>
                    <a:gd name="T5" fmla="*/ 13 h 260"/>
                    <a:gd name="T6" fmla="*/ 34 w 130"/>
                    <a:gd name="T7" fmla="*/ 11 h 260"/>
                    <a:gd name="T8" fmla="*/ 49 w 130"/>
                    <a:gd name="T9" fmla="*/ 0 h 260"/>
                    <a:gd name="T10" fmla="*/ 65 w 130"/>
                    <a:gd name="T11" fmla="*/ 8 h 260"/>
                    <a:gd name="T12" fmla="*/ 70 w 130"/>
                    <a:gd name="T13" fmla="*/ 15 h 260"/>
                    <a:gd name="T14" fmla="*/ 78 w 130"/>
                    <a:gd name="T15" fmla="*/ 28 h 260"/>
                    <a:gd name="T16" fmla="*/ 91 w 130"/>
                    <a:gd name="T17" fmla="*/ 31 h 260"/>
                    <a:gd name="T18" fmla="*/ 91 w 130"/>
                    <a:gd name="T19" fmla="*/ 36 h 260"/>
                    <a:gd name="T20" fmla="*/ 81 w 130"/>
                    <a:gd name="T21" fmla="*/ 39 h 260"/>
                    <a:gd name="T22" fmla="*/ 75 w 130"/>
                    <a:gd name="T23" fmla="*/ 44 h 260"/>
                    <a:gd name="T24" fmla="*/ 70 w 130"/>
                    <a:gd name="T25" fmla="*/ 46 h 260"/>
                    <a:gd name="T26" fmla="*/ 70 w 130"/>
                    <a:gd name="T27" fmla="*/ 54 h 260"/>
                    <a:gd name="T28" fmla="*/ 63 w 130"/>
                    <a:gd name="T29" fmla="*/ 62 h 260"/>
                    <a:gd name="T30" fmla="*/ 60 w 130"/>
                    <a:gd name="T31" fmla="*/ 67 h 260"/>
                    <a:gd name="T32" fmla="*/ 58 w 130"/>
                    <a:gd name="T33" fmla="*/ 80 h 260"/>
                    <a:gd name="T34" fmla="*/ 67 w 130"/>
                    <a:gd name="T35" fmla="*/ 90 h 260"/>
                    <a:gd name="T36" fmla="*/ 73 w 130"/>
                    <a:gd name="T37" fmla="*/ 99 h 260"/>
                    <a:gd name="T38" fmla="*/ 84 w 130"/>
                    <a:gd name="T39" fmla="*/ 114 h 260"/>
                    <a:gd name="T40" fmla="*/ 112 w 130"/>
                    <a:gd name="T41" fmla="*/ 137 h 260"/>
                    <a:gd name="T42" fmla="*/ 117 w 130"/>
                    <a:gd name="T43" fmla="*/ 147 h 260"/>
                    <a:gd name="T44" fmla="*/ 122 w 130"/>
                    <a:gd name="T45" fmla="*/ 160 h 260"/>
                    <a:gd name="T46" fmla="*/ 125 w 130"/>
                    <a:gd name="T47" fmla="*/ 175 h 260"/>
                    <a:gd name="T48" fmla="*/ 127 w 130"/>
                    <a:gd name="T49" fmla="*/ 183 h 260"/>
                    <a:gd name="T50" fmla="*/ 127 w 130"/>
                    <a:gd name="T51" fmla="*/ 188 h 260"/>
                    <a:gd name="T52" fmla="*/ 125 w 130"/>
                    <a:gd name="T53" fmla="*/ 194 h 260"/>
                    <a:gd name="T54" fmla="*/ 125 w 130"/>
                    <a:gd name="T55" fmla="*/ 206 h 260"/>
                    <a:gd name="T56" fmla="*/ 116 w 130"/>
                    <a:gd name="T57" fmla="*/ 217 h 260"/>
                    <a:gd name="T58" fmla="*/ 106 w 130"/>
                    <a:gd name="T59" fmla="*/ 225 h 260"/>
                    <a:gd name="T60" fmla="*/ 89 w 130"/>
                    <a:gd name="T61" fmla="*/ 230 h 260"/>
                    <a:gd name="T62" fmla="*/ 84 w 130"/>
                    <a:gd name="T63" fmla="*/ 227 h 260"/>
                    <a:gd name="T64" fmla="*/ 88 w 130"/>
                    <a:gd name="T65" fmla="*/ 232 h 260"/>
                    <a:gd name="T66" fmla="*/ 84 w 130"/>
                    <a:gd name="T67" fmla="*/ 238 h 260"/>
                    <a:gd name="T68" fmla="*/ 80 w 130"/>
                    <a:gd name="T69" fmla="*/ 240 h 260"/>
                    <a:gd name="T70" fmla="*/ 78 w 130"/>
                    <a:gd name="T71" fmla="*/ 247 h 260"/>
                    <a:gd name="T72" fmla="*/ 70 w 130"/>
                    <a:gd name="T73" fmla="*/ 251 h 260"/>
                    <a:gd name="T74" fmla="*/ 60 w 130"/>
                    <a:gd name="T75" fmla="*/ 260 h 260"/>
                    <a:gd name="T76" fmla="*/ 62 w 130"/>
                    <a:gd name="T77" fmla="*/ 256 h 260"/>
                    <a:gd name="T78" fmla="*/ 60 w 130"/>
                    <a:gd name="T79" fmla="*/ 247 h 260"/>
                    <a:gd name="T80" fmla="*/ 65 w 130"/>
                    <a:gd name="T81" fmla="*/ 233 h 260"/>
                    <a:gd name="T82" fmla="*/ 53 w 130"/>
                    <a:gd name="T83" fmla="*/ 232 h 260"/>
                    <a:gd name="T84" fmla="*/ 58 w 130"/>
                    <a:gd name="T85" fmla="*/ 224 h 260"/>
                    <a:gd name="T86" fmla="*/ 76 w 130"/>
                    <a:gd name="T87" fmla="*/ 220 h 260"/>
                    <a:gd name="T88" fmla="*/ 78 w 130"/>
                    <a:gd name="T89" fmla="*/ 214 h 260"/>
                    <a:gd name="T90" fmla="*/ 84 w 130"/>
                    <a:gd name="T91" fmla="*/ 202 h 260"/>
                    <a:gd name="T92" fmla="*/ 99 w 130"/>
                    <a:gd name="T93" fmla="*/ 189 h 260"/>
                    <a:gd name="T94" fmla="*/ 96 w 130"/>
                    <a:gd name="T95" fmla="*/ 166 h 260"/>
                    <a:gd name="T96" fmla="*/ 94 w 130"/>
                    <a:gd name="T97" fmla="*/ 153 h 260"/>
                    <a:gd name="T98" fmla="*/ 94 w 130"/>
                    <a:gd name="T99" fmla="*/ 139 h 260"/>
                    <a:gd name="T100" fmla="*/ 93 w 130"/>
                    <a:gd name="T101" fmla="*/ 131 h 260"/>
                    <a:gd name="T102" fmla="*/ 84 w 130"/>
                    <a:gd name="T103" fmla="*/ 122 h 260"/>
                    <a:gd name="T104" fmla="*/ 76 w 130"/>
                    <a:gd name="T105" fmla="*/ 114 h 260"/>
                    <a:gd name="T106" fmla="*/ 65 w 130"/>
                    <a:gd name="T107" fmla="*/ 101 h 260"/>
                    <a:gd name="T108" fmla="*/ 45 w 130"/>
                    <a:gd name="T109" fmla="*/ 85 h 260"/>
                    <a:gd name="T110" fmla="*/ 37 w 130"/>
                    <a:gd name="T111" fmla="*/ 77 h 260"/>
                    <a:gd name="T112" fmla="*/ 44 w 130"/>
                    <a:gd name="T113" fmla="*/ 67 h 260"/>
                    <a:gd name="T114" fmla="*/ 44 w 130"/>
                    <a:gd name="T115" fmla="*/ 55 h 260"/>
                    <a:gd name="T116" fmla="*/ 34 w 130"/>
                    <a:gd name="T117" fmla="*/ 46 h 260"/>
                    <a:gd name="T118" fmla="*/ 11 w 130"/>
                    <a:gd name="T119" fmla="*/ 36 h 260"/>
                    <a:gd name="T120" fmla="*/ 0 w 130"/>
                    <a:gd name="T121" fmla="*/ 21 h 260"/>
                    <a:gd name="T122" fmla="*/ 44 w 130"/>
                    <a:gd name="T123" fmla="*/ 233 h 260"/>
                    <a:gd name="T124" fmla="*/ 45 w 130"/>
                    <a:gd name="T125" fmla="*/ 229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0" h="260"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1" y="18"/>
                      </a:lnTo>
                      <a:lnTo>
                        <a:pt x="3" y="16"/>
                      </a:lnTo>
                      <a:lnTo>
                        <a:pt x="4" y="15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9" y="16"/>
                      </a:lnTo>
                      <a:lnTo>
                        <a:pt x="11" y="16"/>
                      </a:lnTo>
                      <a:lnTo>
                        <a:pt x="13" y="16"/>
                      </a:lnTo>
                      <a:lnTo>
                        <a:pt x="13" y="13"/>
                      </a:lnTo>
                      <a:lnTo>
                        <a:pt x="16" y="11"/>
                      </a:lnTo>
                      <a:lnTo>
                        <a:pt x="19" y="15"/>
                      </a:lnTo>
                      <a:lnTo>
                        <a:pt x="21" y="13"/>
                      </a:lnTo>
                      <a:lnTo>
                        <a:pt x="22" y="13"/>
                      </a:lnTo>
                      <a:lnTo>
                        <a:pt x="22" y="15"/>
                      </a:lnTo>
                      <a:lnTo>
                        <a:pt x="27" y="13"/>
                      </a:lnTo>
                      <a:lnTo>
                        <a:pt x="27" y="11"/>
                      </a:lnTo>
                      <a:lnTo>
                        <a:pt x="31" y="10"/>
                      </a:lnTo>
                      <a:lnTo>
                        <a:pt x="34" y="11"/>
                      </a:lnTo>
                      <a:lnTo>
                        <a:pt x="39" y="10"/>
                      </a:lnTo>
                      <a:lnTo>
                        <a:pt x="39" y="5"/>
                      </a:lnTo>
                      <a:lnTo>
                        <a:pt x="42" y="3"/>
                      </a:lnTo>
                      <a:lnTo>
                        <a:pt x="47" y="3"/>
                      </a:lnTo>
                      <a:lnTo>
                        <a:pt x="49" y="0"/>
                      </a:lnTo>
                      <a:lnTo>
                        <a:pt x="52" y="3"/>
                      </a:lnTo>
                      <a:lnTo>
                        <a:pt x="52" y="5"/>
                      </a:lnTo>
                      <a:lnTo>
                        <a:pt x="55" y="6"/>
                      </a:lnTo>
                      <a:lnTo>
                        <a:pt x="57" y="8"/>
                      </a:lnTo>
                      <a:lnTo>
                        <a:pt x="65" y="8"/>
                      </a:lnTo>
                      <a:lnTo>
                        <a:pt x="65" y="10"/>
                      </a:lnTo>
                      <a:lnTo>
                        <a:pt x="70" y="8"/>
                      </a:lnTo>
                      <a:lnTo>
                        <a:pt x="73" y="10"/>
                      </a:lnTo>
                      <a:lnTo>
                        <a:pt x="71" y="13"/>
                      </a:lnTo>
                      <a:lnTo>
                        <a:pt x="70" y="15"/>
                      </a:lnTo>
                      <a:lnTo>
                        <a:pt x="68" y="19"/>
                      </a:lnTo>
                      <a:lnTo>
                        <a:pt x="70" y="21"/>
                      </a:lnTo>
                      <a:lnTo>
                        <a:pt x="71" y="24"/>
                      </a:lnTo>
                      <a:lnTo>
                        <a:pt x="76" y="26"/>
                      </a:lnTo>
                      <a:lnTo>
                        <a:pt x="78" y="28"/>
                      </a:lnTo>
                      <a:lnTo>
                        <a:pt x="81" y="29"/>
                      </a:lnTo>
                      <a:lnTo>
                        <a:pt x="84" y="31"/>
                      </a:lnTo>
                      <a:lnTo>
                        <a:pt x="88" y="31"/>
                      </a:lnTo>
                      <a:lnTo>
                        <a:pt x="89" y="31"/>
                      </a:lnTo>
                      <a:lnTo>
                        <a:pt x="91" y="31"/>
                      </a:lnTo>
                      <a:lnTo>
                        <a:pt x="94" y="32"/>
                      </a:lnTo>
                      <a:lnTo>
                        <a:pt x="93" y="32"/>
                      </a:lnTo>
                      <a:lnTo>
                        <a:pt x="94" y="34"/>
                      </a:lnTo>
                      <a:lnTo>
                        <a:pt x="93" y="36"/>
                      </a:lnTo>
                      <a:lnTo>
                        <a:pt x="91" y="36"/>
                      </a:lnTo>
                      <a:lnTo>
                        <a:pt x="89" y="36"/>
                      </a:lnTo>
                      <a:lnTo>
                        <a:pt x="88" y="37"/>
                      </a:lnTo>
                      <a:lnTo>
                        <a:pt x="84" y="37"/>
                      </a:lnTo>
                      <a:lnTo>
                        <a:pt x="81" y="39"/>
                      </a:lnTo>
                      <a:lnTo>
                        <a:pt x="81" y="39"/>
                      </a:lnTo>
                      <a:lnTo>
                        <a:pt x="81" y="42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78" y="44"/>
                      </a:lnTo>
                      <a:lnTo>
                        <a:pt x="75" y="44"/>
                      </a:lnTo>
                      <a:lnTo>
                        <a:pt x="73" y="46"/>
                      </a:lnTo>
                      <a:lnTo>
                        <a:pt x="73" y="46"/>
                      </a:lnTo>
                      <a:lnTo>
                        <a:pt x="71" y="44"/>
                      </a:lnTo>
                      <a:lnTo>
                        <a:pt x="71" y="44"/>
                      </a:lnTo>
                      <a:lnTo>
                        <a:pt x="70" y="46"/>
                      </a:lnTo>
                      <a:lnTo>
                        <a:pt x="70" y="47"/>
                      </a:lnTo>
                      <a:lnTo>
                        <a:pt x="70" y="49"/>
                      </a:lnTo>
                      <a:lnTo>
                        <a:pt x="70" y="52"/>
                      </a:lnTo>
                      <a:lnTo>
                        <a:pt x="70" y="54"/>
                      </a:lnTo>
                      <a:lnTo>
                        <a:pt x="70" y="54"/>
                      </a:lnTo>
                      <a:lnTo>
                        <a:pt x="70" y="57"/>
                      </a:lnTo>
                      <a:lnTo>
                        <a:pt x="70" y="59"/>
                      </a:lnTo>
                      <a:lnTo>
                        <a:pt x="68" y="59"/>
                      </a:lnTo>
                      <a:lnTo>
                        <a:pt x="67" y="62"/>
                      </a:lnTo>
                      <a:lnTo>
                        <a:pt x="63" y="62"/>
                      </a:lnTo>
                      <a:lnTo>
                        <a:pt x="63" y="60"/>
                      </a:lnTo>
                      <a:lnTo>
                        <a:pt x="63" y="62"/>
                      </a:lnTo>
                      <a:lnTo>
                        <a:pt x="62" y="64"/>
                      </a:lnTo>
                      <a:lnTo>
                        <a:pt x="60" y="67"/>
                      </a:lnTo>
                      <a:lnTo>
                        <a:pt x="60" y="67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62" y="72"/>
                      </a:lnTo>
                      <a:lnTo>
                        <a:pt x="60" y="78"/>
                      </a:lnTo>
                      <a:lnTo>
                        <a:pt x="58" y="80"/>
                      </a:lnTo>
                      <a:lnTo>
                        <a:pt x="62" y="83"/>
                      </a:lnTo>
                      <a:lnTo>
                        <a:pt x="62" y="85"/>
                      </a:lnTo>
                      <a:lnTo>
                        <a:pt x="58" y="85"/>
                      </a:lnTo>
                      <a:lnTo>
                        <a:pt x="62" y="86"/>
                      </a:lnTo>
                      <a:lnTo>
                        <a:pt x="67" y="90"/>
                      </a:lnTo>
                      <a:lnTo>
                        <a:pt x="70" y="93"/>
                      </a:lnTo>
                      <a:lnTo>
                        <a:pt x="71" y="93"/>
                      </a:lnTo>
                      <a:lnTo>
                        <a:pt x="73" y="96"/>
                      </a:lnTo>
                      <a:lnTo>
                        <a:pt x="73" y="99"/>
                      </a:lnTo>
                      <a:lnTo>
                        <a:pt x="73" y="99"/>
                      </a:lnTo>
                      <a:lnTo>
                        <a:pt x="75" y="104"/>
                      </a:lnTo>
                      <a:lnTo>
                        <a:pt x="75" y="106"/>
                      </a:lnTo>
                      <a:lnTo>
                        <a:pt x="81" y="111"/>
                      </a:lnTo>
                      <a:lnTo>
                        <a:pt x="84" y="113"/>
                      </a:lnTo>
                      <a:lnTo>
                        <a:pt x="84" y="114"/>
                      </a:lnTo>
                      <a:lnTo>
                        <a:pt x="94" y="119"/>
                      </a:lnTo>
                      <a:lnTo>
                        <a:pt x="101" y="124"/>
                      </a:lnTo>
                      <a:lnTo>
                        <a:pt x="102" y="127"/>
                      </a:lnTo>
                      <a:lnTo>
                        <a:pt x="111" y="132"/>
                      </a:lnTo>
                      <a:lnTo>
                        <a:pt x="112" y="137"/>
                      </a:lnTo>
                      <a:lnTo>
                        <a:pt x="112" y="140"/>
                      </a:lnTo>
                      <a:lnTo>
                        <a:pt x="114" y="140"/>
                      </a:lnTo>
                      <a:lnTo>
                        <a:pt x="114" y="142"/>
                      </a:lnTo>
                      <a:lnTo>
                        <a:pt x="117" y="145"/>
                      </a:lnTo>
                      <a:lnTo>
                        <a:pt x="117" y="147"/>
                      </a:lnTo>
                      <a:lnTo>
                        <a:pt x="119" y="149"/>
                      </a:lnTo>
                      <a:lnTo>
                        <a:pt x="117" y="150"/>
                      </a:lnTo>
                      <a:lnTo>
                        <a:pt x="120" y="153"/>
                      </a:lnTo>
                      <a:lnTo>
                        <a:pt x="120" y="160"/>
                      </a:lnTo>
                      <a:lnTo>
                        <a:pt x="122" y="160"/>
                      </a:lnTo>
                      <a:lnTo>
                        <a:pt x="124" y="165"/>
                      </a:lnTo>
                      <a:lnTo>
                        <a:pt x="124" y="166"/>
                      </a:lnTo>
                      <a:lnTo>
                        <a:pt x="124" y="170"/>
                      </a:lnTo>
                      <a:lnTo>
                        <a:pt x="124" y="171"/>
                      </a:lnTo>
                      <a:lnTo>
                        <a:pt x="125" y="175"/>
                      </a:lnTo>
                      <a:lnTo>
                        <a:pt x="124" y="175"/>
                      </a:lnTo>
                      <a:lnTo>
                        <a:pt x="125" y="180"/>
                      </a:lnTo>
                      <a:lnTo>
                        <a:pt x="125" y="181"/>
                      </a:lnTo>
                      <a:lnTo>
                        <a:pt x="127" y="181"/>
                      </a:lnTo>
                      <a:lnTo>
                        <a:pt x="127" y="183"/>
                      </a:lnTo>
                      <a:lnTo>
                        <a:pt x="130" y="188"/>
                      </a:lnTo>
                      <a:lnTo>
                        <a:pt x="129" y="189"/>
                      </a:lnTo>
                      <a:lnTo>
                        <a:pt x="129" y="189"/>
                      </a:lnTo>
                      <a:lnTo>
                        <a:pt x="129" y="188"/>
                      </a:lnTo>
                      <a:lnTo>
                        <a:pt x="127" y="188"/>
                      </a:lnTo>
                      <a:lnTo>
                        <a:pt x="125" y="188"/>
                      </a:lnTo>
                      <a:lnTo>
                        <a:pt x="127" y="191"/>
                      </a:lnTo>
                      <a:lnTo>
                        <a:pt x="127" y="193"/>
                      </a:lnTo>
                      <a:lnTo>
                        <a:pt x="127" y="194"/>
                      </a:lnTo>
                      <a:lnTo>
                        <a:pt x="125" y="194"/>
                      </a:lnTo>
                      <a:lnTo>
                        <a:pt x="125" y="198"/>
                      </a:lnTo>
                      <a:lnTo>
                        <a:pt x="124" y="199"/>
                      </a:lnTo>
                      <a:lnTo>
                        <a:pt x="125" y="202"/>
                      </a:lnTo>
                      <a:lnTo>
                        <a:pt x="124" y="206"/>
                      </a:lnTo>
                      <a:lnTo>
                        <a:pt x="125" y="206"/>
                      </a:lnTo>
                      <a:lnTo>
                        <a:pt x="124" y="209"/>
                      </a:lnTo>
                      <a:lnTo>
                        <a:pt x="122" y="209"/>
                      </a:lnTo>
                      <a:lnTo>
                        <a:pt x="120" y="212"/>
                      </a:lnTo>
                      <a:lnTo>
                        <a:pt x="119" y="214"/>
                      </a:lnTo>
                      <a:lnTo>
                        <a:pt x="116" y="217"/>
                      </a:lnTo>
                      <a:lnTo>
                        <a:pt x="114" y="219"/>
                      </a:lnTo>
                      <a:lnTo>
                        <a:pt x="111" y="220"/>
                      </a:lnTo>
                      <a:lnTo>
                        <a:pt x="109" y="224"/>
                      </a:lnTo>
                      <a:lnTo>
                        <a:pt x="107" y="224"/>
                      </a:lnTo>
                      <a:lnTo>
                        <a:pt x="106" y="225"/>
                      </a:lnTo>
                      <a:lnTo>
                        <a:pt x="98" y="230"/>
                      </a:lnTo>
                      <a:lnTo>
                        <a:pt x="94" y="230"/>
                      </a:lnTo>
                      <a:lnTo>
                        <a:pt x="93" y="229"/>
                      </a:lnTo>
                      <a:lnTo>
                        <a:pt x="89" y="230"/>
                      </a:lnTo>
                      <a:lnTo>
                        <a:pt x="89" y="230"/>
                      </a:lnTo>
                      <a:lnTo>
                        <a:pt x="89" y="227"/>
                      </a:lnTo>
                      <a:lnTo>
                        <a:pt x="89" y="225"/>
                      </a:lnTo>
                      <a:lnTo>
                        <a:pt x="88" y="227"/>
                      </a:lnTo>
                      <a:lnTo>
                        <a:pt x="88" y="229"/>
                      </a:lnTo>
                      <a:lnTo>
                        <a:pt x="84" y="227"/>
                      </a:lnTo>
                      <a:lnTo>
                        <a:pt x="86" y="229"/>
                      </a:lnTo>
                      <a:lnTo>
                        <a:pt x="86" y="230"/>
                      </a:lnTo>
                      <a:lnTo>
                        <a:pt x="86" y="230"/>
                      </a:lnTo>
                      <a:lnTo>
                        <a:pt x="83" y="230"/>
                      </a:lnTo>
                      <a:lnTo>
                        <a:pt x="88" y="232"/>
                      </a:lnTo>
                      <a:lnTo>
                        <a:pt x="86" y="233"/>
                      </a:lnTo>
                      <a:lnTo>
                        <a:pt x="88" y="237"/>
                      </a:lnTo>
                      <a:lnTo>
                        <a:pt x="86" y="238"/>
                      </a:lnTo>
                      <a:lnTo>
                        <a:pt x="83" y="235"/>
                      </a:lnTo>
                      <a:lnTo>
                        <a:pt x="84" y="238"/>
                      </a:lnTo>
                      <a:lnTo>
                        <a:pt x="84" y="240"/>
                      </a:lnTo>
                      <a:lnTo>
                        <a:pt x="83" y="242"/>
                      </a:lnTo>
                      <a:lnTo>
                        <a:pt x="83" y="242"/>
                      </a:lnTo>
                      <a:lnTo>
                        <a:pt x="81" y="238"/>
                      </a:lnTo>
                      <a:lnTo>
                        <a:pt x="80" y="240"/>
                      </a:lnTo>
                      <a:lnTo>
                        <a:pt x="80" y="242"/>
                      </a:lnTo>
                      <a:lnTo>
                        <a:pt x="80" y="243"/>
                      </a:lnTo>
                      <a:lnTo>
                        <a:pt x="81" y="243"/>
                      </a:lnTo>
                      <a:lnTo>
                        <a:pt x="80" y="245"/>
                      </a:lnTo>
                      <a:lnTo>
                        <a:pt x="78" y="247"/>
                      </a:lnTo>
                      <a:lnTo>
                        <a:pt x="76" y="247"/>
                      </a:lnTo>
                      <a:lnTo>
                        <a:pt x="73" y="248"/>
                      </a:lnTo>
                      <a:lnTo>
                        <a:pt x="73" y="250"/>
                      </a:lnTo>
                      <a:lnTo>
                        <a:pt x="70" y="250"/>
                      </a:lnTo>
                      <a:lnTo>
                        <a:pt x="70" y="251"/>
                      </a:lnTo>
                      <a:lnTo>
                        <a:pt x="70" y="255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0" y="260"/>
                      </a:lnTo>
                      <a:lnTo>
                        <a:pt x="55" y="260"/>
                      </a:lnTo>
                      <a:lnTo>
                        <a:pt x="58" y="258"/>
                      </a:lnTo>
                      <a:lnTo>
                        <a:pt x="62" y="256"/>
                      </a:lnTo>
                      <a:lnTo>
                        <a:pt x="63" y="255"/>
                      </a:lnTo>
                      <a:lnTo>
                        <a:pt x="62" y="256"/>
                      </a:lnTo>
                      <a:lnTo>
                        <a:pt x="58" y="255"/>
                      </a:lnTo>
                      <a:lnTo>
                        <a:pt x="60" y="250"/>
                      </a:lnTo>
                      <a:lnTo>
                        <a:pt x="60" y="250"/>
                      </a:lnTo>
                      <a:lnTo>
                        <a:pt x="58" y="248"/>
                      </a:lnTo>
                      <a:lnTo>
                        <a:pt x="60" y="247"/>
                      </a:lnTo>
                      <a:lnTo>
                        <a:pt x="58" y="242"/>
                      </a:lnTo>
                      <a:lnTo>
                        <a:pt x="62" y="238"/>
                      </a:lnTo>
                      <a:lnTo>
                        <a:pt x="67" y="233"/>
                      </a:lnTo>
                      <a:lnTo>
                        <a:pt x="67" y="232"/>
                      </a:lnTo>
                      <a:lnTo>
                        <a:pt x="65" y="233"/>
                      </a:lnTo>
                      <a:lnTo>
                        <a:pt x="62" y="233"/>
                      </a:lnTo>
                      <a:lnTo>
                        <a:pt x="58" y="233"/>
                      </a:lnTo>
                      <a:lnTo>
                        <a:pt x="58" y="233"/>
                      </a:lnTo>
                      <a:lnTo>
                        <a:pt x="57" y="233"/>
                      </a:lnTo>
                      <a:lnTo>
                        <a:pt x="53" y="232"/>
                      </a:lnTo>
                      <a:lnTo>
                        <a:pt x="53" y="232"/>
                      </a:lnTo>
                      <a:lnTo>
                        <a:pt x="53" y="229"/>
                      </a:lnTo>
                      <a:lnTo>
                        <a:pt x="53" y="229"/>
                      </a:lnTo>
                      <a:lnTo>
                        <a:pt x="55" y="225"/>
                      </a:lnTo>
                      <a:lnTo>
                        <a:pt x="58" y="224"/>
                      </a:lnTo>
                      <a:lnTo>
                        <a:pt x="62" y="219"/>
                      </a:lnTo>
                      <a:lnTo>
                        <a:pt x="63" y="219"/>
                      </a:lnTo>
                      <a:lnTo>
                        <a:pt x="67" y="220"/>
                      </a:lnTo>
                      <a:lnTo>
                        <a:pt x="73" y="219"/>
                      </a:lnTo>
                      <a:lnTo>
                        <a:pt x="76" y="220"/>
                      </a:lnTo>
                      <a:lnTo>
                        <a:pt x="76" y="222"/>
                      </a:lnTo>
                      <a:lnTo>
                        <a:pt x="83" y="222"/>
                      </a:lnTo>
                      <a:lnTo>
                        <a:pt x="81" y="219"/>
                      </a:lnTo>
                      <a:lnTo>
                        <a:pt x="81" y="217"/>
                      </a:lnTo>
                      <a:lnTo>
                        <a:pt x="78" y="214"/>
                      </a:lnTo>
                      <a:lnTo>
                        <a:pt x="75" y="212"/>
                      </a:lnTo>
                      <a:lnTo>
                        <a:pt x="75" y="207"/>
                      </a:lnTo>
                      <a:lnTo>
                        <a:pt x="78" y="204"/>
                      </a:lnTo>
                      <a:lnTo>
                        <a:pt x="83" y="206"/>
                      </a:lnTo>
                      <a:lnTo>
                        <a:pt x="84" y="202"/>
                      </a:lnTo>
                      <a:lnTo>
                        <a:pt x="89" y="199"/>
                      </a:lnTo>
                      <a:lnTo>
                        <a:pt x="94" y="198"/>
                      </a:lnTo>
                      <a:lnTo>
                        <a:pt x="94" y="196"/>
                      </a:lnTo>
                      <a:lnTo>
                        <a:pt x="98" y="194"/>
                      </a:lnTo>
                      <a:lnTo>
                        <a:pt x="99" y="189"/>
                      </a:lnTo>
                      <a:lnTo>
                        <a:pt x="99" y="186"/>
                      </a:lnTo>
                      <a:lnTo>
                        <a:pt x="99" y="181"/>
                      </a:lnTo>
                      <a:lnTo>
                        <a:pt x="99" y="178"/>
                      </a:lnTo>
                      <a:lnTo>
                        <a:pt x="99" y="173"/>
                      </a:lnTo>
                      <a:lnTo>
                        <a:pt x="96" y="166"/>
                      </a:lnTo>
                      <a:lnTo>
                        <a:pt x="94" y="165"/>
                      </a:lnTo>
                      <a:lnTo>
                        <a:pt x="91" y="160"/>
                      </a:lnTo>
                      <a:lnTo>
                        <a:pt x="93" y="160"/>
                      </a:lnTo>
                      <a:lnTo>
                        <a:pt x="94" y="158"/>
                      </a:lnTo>
                      <a:lnTo>
                        <a:pt x="94" y="153"/>
                      </a:lnTo>
                      <a:lnTo>
                        <a:pt x="94" y="152"/>
                      </a:lnTo>
                      <a:lnTo>
                        <a:pt x="93" y="147"/>
                      </a:lnTo>
                      <a:lnTo>
                        <a:pt x="98" y="144"/>
                      </a:lnTo>
                      <a:lnTo>
                        <a:pt x="98" y="140"/>
                      </a:lnTo>
                      <a:lnTo>
                        <a:pt x="94" y="139"/>
                      </a:lnTo>
                      <a:lnTo>
                        <a:pt x="94" y="137"/>
                      </a:lnTo>
                      <a:lnTo>
                        <a:pt x="94" y="134"/>
                      </a:lnTo>
                      <a:lnTo>
                        <a:pt x="96" y="131"/>
                      </a:lnTo>
                      <a:lnTo>
                        <a:pt x="96" y="129"/>
                      </a:lnTo>
                      <a:lnTo>
                        <a:pt x="93" y="131"/>
                      </a:lnTo>
                      <a:lnTo>
                        <a:pt x="91" y="129"/>
                      </a:lnTo>
                      <a:lnTo>
                        <a:pt x="89" y="127"/>
                      </a:lnTo>
                      <a:lnTo>
                        <a:pt x="84" y="126"/>
                      </a:lnTo>
                      <a:lnTo>
                        <a:pt x="84" y="124"/>
                      </a:lnTo>
                      <a:lnTo>
                        <a:pt x="84" y="122"/>
                      </a:lnTo>
                      <a:lnTo>
                        <a:pt x="83" y="121"/>
                      </a:lnTo>
                      <a:lnTo>
                        <a:pt x="81" y="121"/>
                      </a:lnTo>
                      <a:lnTo>
                        <a:pt x="78" y="119"/>
                      </a:lnTo>
                      <a:lnTo>
                        <a:pt x="78" y="116"/>
                      </a:lnTo>
                      <a:lnTo>
                        <a:pt x="76" y="114"/>
                      </a:lnTo>
                      <a:lnTo>
                        <a:pt x="73" y="114"/>
                      </a:lnTo>
                      <a:lnTo>
                        <a:pt x="70" y="113"/>
                      </a:lnTo>
                      <a:lnTo>
                        <a:pt x="70" y="109"/>
                      </a:lnTo>
                      <a:lnTo>
                        <a:pt x="65" y="103"/>
                      </a:lnTo>
                      <a:lnTo>
                        <a:pt x="65" y="101"/>
                      </a:lnTo>
                      <a:lnTo>
                        <a:pt x="62" y="96"/>
                      </a:lnTo>
                      <a:lnTo>
                        <a:pt x="57" y="95"/>
                      </a:lnTo>
                      <a:lnTo>
                        <a:pt x="53" y="88"/>
                      </a:lnTo>
                      <a:lnTo>
                        <a:pt x="50" y="88"/>
                      </a:lnTo>
                      <a:lnTo>
                        <a:pt x="45" y="85"/>
                      </a:lnTo>
                      <a:lnTo>
                        <a:pt x="40" y="85"/>
                      </a:lnTo>
                      <a:lnTo>
                        <a:pt x="37" y="82"/>
                      </a:lnTo>
                      <a:lnTo>
                        <a:pt x="35" y="82"/>
                      </a:lnTo>
                      <a:lnTo>
                        <a:pt x="34" y="78"/>
                      </a:lnTo>
                      <a:lnTo>
                        <a:pt x="37" y="77"/>
                      </a:lnTo>
                      <a:lnTo>
                        <a:pt x="34" y="72"/>
                      </a:lnTo>
                      <a:lnTo>
                        <a:pt x="34" y="70"/>
                      </a:lnTo>
                      <a:lnTo>
                        <a:pt x="35" y="70"/>
                      </a:lnTo>
                      <a:lnTo>
                        <a:pt x="40" y="68"/>
                      </a:lnTo>
                      <a:lnTo>
                        <a:pt x="44" y="67"/>
                      </a:lnTo>
                      <a:lnTo>
                        <a:pt x="45" y="65"/>
                      </a:lnTo>
                      <a:lnTo>
                        <a:pt x="47" y="59"/>
                      </a:lnTo>
                      <a:lnTo>
                        <a:pt x="49" y="59"/>
                      </a:lnTo>
                      <a:lnTo>
                        <a:pt x="49" y="57"/>
                      </a:lnTo>
                      <a:lnTo>
                        <a:pt x="44" y="55"/>
                      </a:lnTo>
                      <a:lnTo>
                        <a:pt x="44" y="52"/>
                      </a:lnTo>
                      <a:lnTo>
                        <a:pt x="44" y="49"/>
                      </a:lnTo>
                      <a:lnTo>
                        <a:pt x="40" y="49"/>
                      </a:lnTo>
                      <a:lnTo>
                        <a:pt x="37" y="46"/>
                      </a:lnTo>
                      <a:lnTo>
                        <a:pt x="34" y="46"/>
                      </a:lnTo>
                      <a:lnTo>
                        <a:pt x="29" y="47"/>
                      </a:lnTo>
                      <a:lnTo>
                        <a:pt x="26" y="46"/>
                      </a:lnTo>
                      <a:lnTo>
                        <a:pt x="19" y="46"/>
                      </a:lnTo>
                      <a:lnTo>
                        <a:pt x="16" y="41"/>
                      </a:lnTo>
                      <a:lnTo>
                        <a:pt x="11" y="36"/>
                      </a:lnTo>
                      <a:lnTo>
                        <a:pt x="11" y="32"/>
                      </a:lnTo>
                      <a:lnTo>
                        <a:pt x="11" y="29"/>
                      </a:lnTo>
                      <a:lnTo>
                        <a:pt x="8" y="28"/>
                      </a:lnTo>
                      <a:lnTo>
                        <a:pt x="6" y="23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  <a:moveTo>
                        <a:pt x="42" y="230"/>
                      </a:moveTo>
                      <a:lnTo>
                        <a:pt x="44" y="232"/>
                      </a:lnTo>
                      <a:lnTo>
                        <a:pt x="44" y="233"/>
                      </a:lnTo>
                      <a:lnTo>
                        <a:pt x="45" y="237"/>
                      </a:lnTo>
                      <a:lnTo>
                        <a:pt x="47" y="235"/>
                      </a:lnTo>
                      <a:lnTo>
                        <a:pt x="47" y="230"/>
                      </a:lnTo>
                      <a:lnTo>
                        <a:pt x="47" y="230"/>
                      </a:lnTo>
                      <a:lnTo>
                        <a:pt x="45" y="229"/>
                      </a:lnTo>
                      <a:lnTo>
                        <a:pt x="42" y="23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2" name="Freeform 176">
                  <a:extLst>
                    <a:ext uri="{FF2B5EF4-FFF2-40B4-BE49-F238E27FC236}">
                      <a16:creationId xmlns:a16="http://schemas.microsoft.com/office/drawing/2014/main" xmlns="" id="{4D058041-29F5-4AA9-BA15-103EC56989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1" y="1812"/>
                  <a:ext cx="83" cy="74"/>
                </a:xfrm>
                <a:custGeom>
                  <a:avLst/>
                  <a:gdLst>
                    <a:gd name="T0" fmla="*/ 39 w 83"/>
                    <a:gd name="T1" fmla="*/ 70 h 74"/>
                    <a:gd name="T2" fmla="*/ 46 w 83"/>
                    <a:gd name="T3" fmla="*/ 64 h 74"/>
                    <a:gd name="T4" fmla="*/ 51 w 83"/>
                    <a:gd name="T5" fmla="*/ 65 h 74"/>
                    <a:gd name="T6" fmla="*/ 60 w 83"/>
                    <a:gd name="T7" fmla="*/ 65 h 74"/>
                    <a:gd name="T8" fmla="*/ 67 w 83"/>
                    <a:gd name="T9" fmla="*/ 67 h 74"/>
                    <a:gd name="T10" fmla="*/ 65 w 83"/>
                    <a:gd name="T11" fmla="*/ 62 h 74"/>
                    <a:gd name="T12" fmla="*/ 59 w 83"/>
                    <a:gd name="T13" fmla="*/ 57 h 74"/>
                    <a:gd name="T14" fmla="*/ 62 w 83"/>
                    <a:gd name="T15" fmla="*/ 49 h 74"/>
                    <a:gd name="T16" fmla="*/ 68 w 83"/>
                    <a:gd name="T17" fmla="*/ 47 h 74"/>
                    <a:gd name="T18" fmla="*/ 78 w 83"/>
                    <a:gd name="T19" fmla="*/ 43 h 74"/>
                    <a:gd name="T20" fmla="*/ 82 w 83"/>
                    <a:gd name="T21" fmla="*/ 39 h 74"/>
                    <a:gd name="T22" fmla="*/ 83 w 83"/>
                    <a:gd name="T23" fmla="*/ 31 h 74"/>
                    <a:gd name="T24" fmla="*/ 83 w 83"/>
                    <a:gd name="T25" fmla="*/ 23 h 74"/>
                    <a:gd name="T26" fmla="*/ 80 w 83"/>
                    <a:gd name="T27" fmla="*/ 11 h 74"/>
                    <a:gd name="T28" fmla="*/ 75 w 83"/>
                    <a:gd name="T29" fmla="*/ 5 h 74"/>
                    <a:gd name="T30" fmla="*/ 70 w 83"/>
                    <a:gd name="T31" fmla="*/ 3 h 74"/>
                    <a:gd name="T32" fmla="*/ 67 w 83"/>
                    <a:gd name="T33" fmla="*/ 0 h 74"/>
                    <a:gd name="T34" fmla="*/ 59 w 83"/>
                    <a:gd name="T35" fmla="*/ 3 h 74"/>
                    <a:gd name="T36" fmla="*/ 60 w 83"/>
                    <a:gd name="T37" fmla="*/ 10 h 74"/>
                    <a:gd name="T38" fmla="*/ 62 w 83"/>
                    <a:gd name="T39" fmla="*/ 16 h 74"/>
                    <a:gd name="T40" fmla="*/ 54 w 83"/>
                    <a:gd name="T41" fmla="*/ 10 h 74"/>
                    <a:gd name="T42" fmla="*/ 47 w 83"/>
                    <a:gd name="T43" fmla="*/ 7 h 74"/>
                    <a:gd name="T44" fmla="*/ 42 w 83"/>
                    <a:gd name="T45" fmla="*/ 5 h 74"/>
                    <a:gd name="T46" fmla="*/ 36 w 83"/>
                    <a:gd name="T47" fmla="*/ 3 h 74"/>
                    <a:gd name="T48" fmla="*/ 28 w 83"/>
                    <a:gd name="T49" fmla="*/ 2 h 74"/>
                    <a:gd name="T50" fmla="*/ 23 w 83"/>
                    <a:gd name="T51" fmla="*/ 3 h 74"/>
                    <a:gd name="T52" fmla="*/ 11 w 83"/>
                    <a:gd name="T53" fmla="*/ 5 h 74"/>
                    <a:gd name="T54" fmla="*/ 5 w 83"/>
                    <a:gd name="T55" fmla="*/ 10 h 74"/>
                    <a:gd name="T56" fmla="*/ 0 w 83"/>
                    <a:gd name="T57" fmla="*/ 18 h 74"/>
                    <a:gd name="T58" fmla="*/ 2 w 83"/>
                    <a:gd name="T59" fmla="*/ 31 h 74"/>
                    <a:gd name="T60" fmla="*/ 6 w 83"/>
                    <a:gd name="T61" fmla="*/ 36 h 74"/>
                    <a:gd name="T62" fmla="*/ 5 w 83"/>
                    <a:gd name="T63" fmla="*/ 44 h 74"/>
                    <a:gd name="T64" fmla="*/ 6 w 83"/>
                    <a:gd name="T65" fmla="*/ 46 h 74"/>
                    <a:gd name="T66" fmla="*/ 10 w 83"/>
                    <a:gd name="T67" fmla="*/ 51 h 74"/>
                    <a:gd name="T68" fmla="*/ 11 w 83"/>
                    <a:gd name="T69" fmla="*/ 57 h 74"/>
                    <a:gd name="T70" fmla="*/ 15 w 83"/>
                    <a:gd name="T71" fmla="*/ 60 h 74"/>
                    <a:gd name="T72" fmla="*/ 15 w 83"/>
                    <a:gd name="T73" fmla="*/ 64 h 74"/>
                    <a:gd name="T74" fmla="*/ 18 w 83"/>
                    <a:gd name="T75" fmla="*/ 67 h 74"/>
                    <a:gd name="T76" fmla="*/ 19 w 83"/>
                    <a:gd name="T77" fmla="*/ 64 h 74"/>
                    <a:gd name="T78" fmla="*/ 23 w 83"/>
                    <a:gd name="T79" fmla="*/ 60 h 74"/>
                    <a:gd name="T80" fmla="*/ 24 w 83"/>
                    <a:gd name="T81" fmla="*/ 65 h 74"/>
                    <a:gd name="T82" fmla="*/ 23 w 83"/>
                    <a:gd name="T83" fmla="*/ 70 h 74"/>
                    <a:gd name="T84" fmla="*/ 23 w 83"/>
                    <a:gd name="T85" fmla="*/ 74 h 74"/>
                    <a:gd name="T86" fmla="*/ 28 w 83"/>
                    <a:gd name="T87" fmla="*/ 70 h 74"/>
                    <a:gd name="T88" fmla="*/ 29 w 83"/>
                    <a:gd name="T89" fmla="*/ 70 h 74"/>
                    <a:gd name="T90" fmla="*/ 34 w 83"/>
                    <a:gd name="T91" fmla="*/ 7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3" h="74">
                      <a:moveTo>
                        <a:pt x="37" y="74"/>
                      </a:moveTo>
                      <a:lnTo>
                        <a:pt x="39" y="70"/>
                      </a:lnTo>
                      <a:lnTo>
                        <a:pt x="42" y="69"/>
                      </a:lnTo>
                      <a:lnTo>
                        <a:pt x="46" y="64"/>
                      </a:lnTo>
                      <a:lnTo>
                        <a:pt x="47" y="64"/>
                      </a:lnTo>
                      <a:lnTo>
                        <a:pt x="51" y="65"/>
                      </a:lnTo>
                      <a:lnTo>
                        <a:pt x="57" y="64"/>
                      </a:lnTo>
                      <a:lnTo>
                        <a:pt x="60" y="65"/>
                      </a:lnTo>
                      <a:lnTo>
                        <a:pt x="60" y="67"/>
                      </a:lnTo>
                      <a:lnTo>
                        <a:pt x="67" y="67"/>
                      </a:lnTo>
                      <a:lnTo>
                        <a:pt x="65" y="64"/>
                      </a:lnTo>
                      <a:lnTo>
                        <a:pt x="65" y="62"/>
                      </a:lnTo>
                      <a:lnTo>
                        <a:pt x="62" y="59"/>
                      </a:lnTo>
                      <a:lnTo>
                        <a:pt x="59" y="57"/>
                      </a:lnTo>
                      <a:lnTo>
                        <a:pt x="59" y="52"/>
                      </a:lnTo>
                      <a:lnTo>
                        <a:pt x="62" y="49"/>
                      </a:lnTo>
                      <a:lnTo>
                        <a:pt x="67" y="51"/>
                      </a:lnTo>
                      <a:lnTo>
                        <a:pt x="68" y="47"/>
                      </a:lnTo>
                      <a:lnTo>
                        <a:pt x="73" y="44"/>
                      </a:lnTo>
                      <a:lnTo>
                        <a:pt x="78" y="43"/>
                      </a:lnTo>
                      <a:lnTo>
                        <a:pt x="78" y="41"/>
                      </a:lnTo>
                      <a:lnTo>
                        <a:pt x="82" y="39"/>
                      </a:lnTo>
                      <a:lnTo>
                        <a:pt x="83" y="34"/>
                      </a:lnTo>
                      <a:lnTo>
                        <a:pt x="83" y="31"/>
                      </a:lnTo>
                      <a:lnTo>
                        <a:pt x="83" y="26"/>
                      </a:lnTo>
                      <a:lnTo>
                        <a:pt x="83" y="23"/>
                      </a:lnTo>
                      <a:lnTo>
                        <a:pt x="83" y="18"/>
                      </a:lnTo>
                      <a:lnTo>
                        <a:pt x="80" y="11"/>
                      </a:lnTo>
                      <a:lnTo>
                        <a:pt x="78" y="10"/>
                      </a:lnTo>
                      <a:lnTo>
                        <a:pt x="75" y="5"/>
                      </a:lnTo>
                      <a:lnTo>
                        <a:pt x="73" y="5"/>
                      </a:lnTo>
                      <a:lnTo>
                        <a:pt x="70" y="3"/>
                      </a:lnTo>
                      <a:lnTo>
                        <a:pt x="68" y="3"/>
                      </a:lnTo>
                      <a:lnTo>
                        <a:pt x="67" y="0"/>
                      </a:lnTo>
                      <a:lnTo>
                        <a:pt x="60" y="2"/>
                      </a:lnTo>
                      <a:lnTo>
                        <a:pt x="59" y="3"/>
                      </a:lnTo>
                      <a:lnTo>
                        <a:pt x="62" y="8"/>
                      </a:lnTo>
                      <a:lnTo>
                        <a:pt x="60" y="10"/>
                      </a:lnTo>
                      <a:lnTo>
                        <a:pt x="62" y="13"/>
                      </a:lnTo>
                      <a:lnTo>
                        <a:pt x="62" y="16"/>
                      </a:lnTo>
                      <a:lnTo>
                        <a:pt x="57" y="13"/>
                      </a:lnTo>
                      <a:lnTo>
                        <a:pt x="54" y="10"/>
                      </a:lnTo>
                      <a:lnTo>
                        <a:pt x="49" y="8"/>
                      </a:lnTo>
                      <a:lnTo>
                        <a:pt x="47" y="7"/>
                      </a:lnTo>
                      <a:lnTo>
                        <a:pt x="44" y="3"/>
                      </a:lnTo>
                      <a:lnTo>
                        <a:pt x="42" y="5"/>
                      </a:lnTo>
                      <a:lnTo>
                        <a:pt x="39" y="3"/>
                      </a:lnTo>
                      <a:lnTo>
                        <a:pt x="36" y="3"/>
                      </a:lnTo>
                      <a:lnTo>
                        <a:pt x="33" y="2"/>
                      </a:lnTo>
                      <a:lnTo>
                        <a:pt x="28" y="2"/>
                      </a:lnTo>
                      <a:lnTo>
                        <a:pt x="24" y="3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1" y="5"/>
                      </a:lnTo>
                      <a:lnTo>
                        <a:pt x="8" y="5"/>
                      </a:lnTo>
                      <a:lnTo>
                        <a:pt x="5" y="10"/>
                      </a:lnTo>
                      <a:lnTo>
                        <a:pt x="3" y="15"/>
                      </a:lnTo>
                      <a:lnTo>
                        <a:pt x="0" y="18"/>
                      </a:lnTo>
                      <a:lnTo>
                        <a:pt x="0" y="25"/>
                      </a:lnTo>
                      <a:lnTo>
                        <a:pt x="2" y="31"/>
                      </a:lnTo>
                      <a:lnTo>
                        <a:pt x="5" y="33"/>
                      </a:lnTo>
                      <a:lnTo>
                        <a:pt x="6" y="36"/>
                      </a:lnTo>
                      <a:lnTo>
                        <a:pt x="5" y="41"/>
                      </a:lnTo>
                      <a:lnTo>
                        <a:pt x="5" y="44"/>
                      </a:lnTo>
                      <a:lnTo>
                        <a:pt x="5" y="44"/>
                      </a:lnTo>
                      <a:lnTo>
                        <a:pt x="6" y="46"/>
                      </a:lnTo>
                      <a:lnTo>
                        <a:pt x="8" y="49"/>
                      </a:lnTo>
                      <a:lnTo>
                        <a:pt x="10" y="51"/>
                      </a:lnTo>
                      <a:lnTo>
                        <a:pt x="10" y="54"/>
                      </a:lnTo>
                      <a:lnTo>
                        <a:pt x="11" y="57"/>
                      </a:lnTo>
                      <a:lnTo>
                        <a:pt x="13" y="57"/>
                      </a:lnTo>
                      <a:lnTo>
                        <a:pt x="15" y="60"/>
                      </a:lnTo>
                      <a:lnTo>
                        <a:pt x="15" y="62"/>
                      </a:lnTo>
                      <a:lnTo>
                        <a:pt x="15" y="64"/>
                      </a:lnTo>
                      <a:lnTo>
                        <a:pt x="16" y="67"/>
                      </a:lnTo>
                      <a:lnTo>
                        <a:pt x="18" y="67"/>
                      </a:lnTo>
                      <a:lnTo>
                        <a:pt x="19" y="67"/>
                      </a:lnTo>
                      <a:lnTo>
                        <a:pt x="19" y="64"/>
                      </a:lnTo>
                      <a:lnTo>
                        <a:pt x="21" y="62"/>
                      </a:lnTo>
                      <a:lnTo>
                        <a:pt x="23" y="60"/>
                      </a:lnTo>
                      <a:lnTo>
                        <a:pt x="23" y="64"/>
                      </a:lnTo>
                      <a:lnTo>
                        <a:pt x="24" y="65"/>
                      </a:lnTo>
                      <a:lnTo>
                        <a:pt x="24" y="67"/>
                      </a:lnTo>
                      <a:lnTo>
                        <a:pt x="23" y="70"/>
                      </a:lnTo>
                      <a:lnTo>
                        <a:pt x="23" y="72"/>
                      </a:lnTo>
                      <a:lnTo>
                        <a:pt x="23" y="74"/>
                      </a:lnTo>
                      <a:lnTo>
                        <a:pt x="24" y="74"/>
                      </a:lnTo>
                      <a:lnTo>
                        <a:pt x="28" y="70"/>
                      </a:lnTo>
                      <a:lnTo>
                        <a:pt x="28" y="70"/>
                      </a:lnTo>
                      <a:lnTo>
                        <a:pt x="29" y="70"/>
                      </a:lnTo>
                      <a:lnTo>
                        <a:pt x="33" y="72"/>
                      </a:lnTo>
                      <a:lnTo>
                        <a:pt x="34" y="72"/>
                      </a:lnTo>
                      <a:lnTo>
                        <a:pt x="37" y="7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3" name="Freeform 177">
                  <a:extLst>
                    <a:ext uri="{FF2B5EF4-FFF2-40B4-BE49-F238E27FC236}">
                      <a16:creationId xmlns:a16="http://schemas.microsoft.com/office/drawing/2014/main" xmlns="" id="{0D1DE585-5880-428E-B95F-67311E98AB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4" y="1675"/>
                  <a:ext cx="129" cy="153"/>
                </a:xfrm>
                <a:custGeom>
                  <a:avLst/>
                  <a:gdLst>
                    <a:gd name="T0" fmla="*/ 17 w 129"/>
                    <a:gd name="T1" fmla="*/ 21 h 153"/>
                    <a:gd name="T2" fmla="*/ 24 w 129"/>
                    <a:gd name="T3" fmla="*/ 16 h 153"/>
                    <a:gd name="T4" fmla="*/ 22 w 129"/>
                    <a:gd name="T5" fmla="*/ 5 h 153"/>
                    <a:gd name="T6" fmla="*/ 31 w 129"/>
                    <a:gd name="T7" fmla="*/ 0 h 153"/>
                    <a:gd name="T8" fmla="*/ 39 w 129"/>
                    <a:gd name="T9" fmla="*/ 10 h 153"/>
                    <a:gd name="T10" fmla="*/ 42 w 129"/>
                    <a:gd name="T11" fmla="*/ 18 h 153"/>
                    <a:gd name="T12" fmla="*/ 57 w 129"/>
                    <a:gd name="T13" fmla="*/ 28 h 153"/>
                    <a:gd name="T14" fmla="*/ 68 w 129"/>
                    <a:gd name="T15" fmla="*/ 28 h 153"/>
                    <a:gd name="T16" fmla="*/ 75 w 129"/>
                    <a:gd name="T17" fmla="*/ 34 h 153"/>
                    <a:gd name="T18" fmla="*/ 80 w 129"/>
                    <a:gd name="T19" fmla="*/ 41 h 153"/>
                    <a:gd name="T20" fmla="*/ 75 w 129"/>
                    <a:gd name="T21" fmla="*/ 49 h 153"/>
                    <a:gd name="T22" fmla="*/ 65 w 129"/>
                    <a:gd name="T23" fmla="*/ 52 h 153"/>
                    <a:gd name="T24" fmla="*/ 65 w 129"/>
                    <a:gd name="T25" fmla="*/ 60 h 153"/>
                    <a:gd name="T26" fmla="*/ 71 w 129"/>
                    <a:gd name="T27" fmla="*/ 67 h 153"/>
                    <a:gd name="T28" fmla="*/ 84 w 129"/>
                    <a:gd name="T29" fmla="*/ 70 h 153"/>
                    <a:gd name="T30" fmla="*/ 96 w 129"/>
                    <a:gd name="T31" fmla="*/ 83 h 153"/>
                    <a:gd name="T32" fmla="*/ 101 w 129"/>
                    <a:gd name="T33" fmla="*/ 95 h 153"/>
                    <a:gd name="T34" fmla="*/ 109 w 129"/>
                    <a:gd name="T35" fmla="*/ 98 h 153"/>
                    <a:gd name="T36" fmla="*/ 114 w 129"/>
                    <a:gd name="T37" fmla="*/ 103 h 153"/>
                    <a:gd name="T38" fmla="*/ 115 w 129"/>
                    <a:gd name="T39" fmla="*/ 108 h 153"/>
                    <a:gd name="T40" fmla="*/ 124 w 129"/>
                    <a:gd name="T41" fmla="*/ 113 h 153"/>
                    <a:gd name="T42" fmla="*/ 125 w 129"/>
                    <a:gd name="T43" fmla="*/ 116 h 153"/>
                    <a:gd name="T44" fmla="*/ 129 w 129"/>
                    <a:gd name="T45" fmla="*/ 122 h 153"/>
                    <a:gd name="T46" fmla="*/ 125 w 129"/>
                    <a:gd name="T47" fmla="*/ 134 h 153"/>
                    <a:gd name="T48" fmla="*/ 124 w 129"/>
                    <a:gd name="T49" fmla="*/ 142 h 153"/>
                    <a:gd name="T50" fmla="*/ 115 w 129"/>
                    <a:gd name="T51" fmla="*/ 140 h 153"/>
                    <a:gd name="T52" fmla="*/ 106 w 129"/>
                    <a:gd name="T53" fmla="*/ 140 h 153"/>
                    <a:gd name="T54" fmla="*/ 109 w 129"/>
                    <a:gd name="T55" fmla="*/ 150 h 153"/>
                    <a:gd name="T56" fmla="*/ 101 w 129"/>
                    <a:gd name="T57" fmla="*/ 147 h 153"/>
                    <a:gd name="T58" fmla="*/ 91 w 129"/>
                    <a:gd name="T59" fmla="*/ 140 h 153"/>
                    <a:gd name="T60" fmla="*/ 96 w 129"/>
                    <a:gd name="T61" fmla="*/ 132 h 153"/>
                    <a:gd name="T62" fmla="*/ 96 w 129"/>
                    <a:gd name="T63" fmla="*/ 124 h 153"/>
                    <a:gd name="T64" fmla="*/ 91 w 129"/>
                    <a:gd name="T65" fmla="*/ 116 h 153"/>
                    <a:gd name="T66" fmla="*/ 86 w 129"/>
                    <a:gd name="T67" fmla="*/ 113 h 153"/>
                    <a:gd name="T68" fmla="*/ 81 w 129"/>
                    <a:gd name="T69" fmla="*/ 104 h 153"/>
                    <a:gd name="T70" fmla="*/ 81 w 129"/>
                    <a:gd name="T71" fmla="*/ 95 h 153"/>
                    <a:gd name="T72" fmla="*/ 76 w 129"/>
                    <a:gd name="T73" fmla="*/ 85 h 153"/>
                    <a:gd name="T74" fmla="*/ 60 w 129"/>
                    <a:gd name="T75" fmla="*/ 73 h 153"/>
                    <a:gd name="T76" fmla="*/ 45 w 129"/>
                    <a:gd name="T77" fmla="*/ 81 h 153"/>
                    <a:gd name="T78" fmla="*/ 34 w 129"/>
                    <a:gd name="T79" fmla="*/ 77 h 153"/>
                    <a:gd name="T80" fmla="*/ 24 w 129"/>
                    <a:gd name="T81" fmla="*/ 83 h 153"/>
                    <a:gd name="T82" fmla="*/ 19 w 129"/>
                    <a:gd name="T83" fmla="*/ 72 h 153"/>
                    <a:gd name="T84" fmla="*/ 21 w 129"/>
                    <a:gd name="T85" fmla="*/ 62 h 153"/>
                    <a:gd name="T86" fmla="*/ 21 w 129"/>
                    <a:gd name="T87" fmla="*/ 52 h 153"/>
                    <a:gd name="T88" fmla="*/ 9 w 129"/>
                    <a:gd name="T89" fmla="*/ 54 h 153"/>
                    <a:gd name="T90" fmla="*/ 8 w 129"/>
                    <a:gd name="T91" fmla="*/ 42 h 153"/>
                    <a:gd name="T92" fmla="*/ 0 w 129"/>
                    <a:gd name="T93" fmla="*/ 36 h 153"/>
                    <a:gd name="T94" fmla="*/ 6 w 129"/>
                    <a:gd name="T95" fmla="*/ 29 h 153"/>
                    <a:gd name="T96" fmla="*/ 6 w 129"/>
                    <a:gd name="T97" fmla="*/ 2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9" h="153">
                      <a:moveTo>
                        <a:pt x="14" y="18"/>
                      </a:moveTo>
                      <a:lnTo>
                        <a:pt x="16" y="19"/>
                      </a:lnTo>
                      <a:lnTo>
                        <a:pt x="17" y="21"/>
                      </a:lnTo>
                      <a:lnTo>
                        <a:pt x="21" y="21"/>
                      </a:lnTo>
                      <a:lnTo>
                        <a:pt x="24" y="21"/>
                      </a:lnTo>
                      <a:lnTo>
                        <a:pt x="24" y="16"/>
                      </a:lnTo>
                      <a:lnTo>
                        <a:pt x="22" y="13"/>
                      </a:lnTo>
                      <a:lnTo>
                        <a:pt x="22" y="10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4" y="0"/>
                      </a:lnTo>
                      <a:lnTo>
                        <a:pt x="31" y="0"/>
                      </a:lnTo>
                      <a:lnTo>
                        <a:pt x="31" y="3"/>
                      </a:lnTo>
                      <a:lnTo>
                        <a:pt x="37" y="5"/>
                      </a:lnTo>
                      <a:lnTo>
                        <a:pt x="39" y="10"/>
                      </a:lnTo>
                      <a:lnTo>
                        <a:pt x="42" y="11"/>
                      </a:lnTo>
                      <a:lnTo>
                        <a:pt x="42" y="14"/>
                      </a:lnTo>
                      <a:lnTo>
                        <a:pt x="42" y="18"/>
                      </a:lnTo>
                      <a:lnTo>
                        <a:pt x="47" y="23"/>
                      </a:lnTo>
                      <a:lnTo>
                        <a:pt x="50" y="28"/>
                      </a:lnTo>
                      <a:lnTo>
                        <a:pt x="57" y="28"/>
                      </a:lnTo>
                      <a:lnTo>
                        <a:pt x="60" y="29"/>
                      </a:lnTo>
                      <a:lnTo>
                        <a:pt x="65" y="28"/>
                      </a:lnTo>
                      <a:lnTo>
                        <a:pt x="68" y="28"/>
                      </a:lnTo>
                      <a:lnTo>
                        <a:pt x="71" y="31"/>
                      </a:lnTo>
                      <a:lnTo>
                        <a:pt x="75" y="31"/>
                      </a:lnTo>
                      <a:lnTo>
                        <a:pt x="75" y="34"/>
                      </a:lnTo>
                      <a:lnTo>
                        <a:pt x="75" y="37"/>
                      </a:lnTo>
                      <a:lnTo>
                        <a:pt x="80" y="39"/>
                      </a:lnTo>
                      <a:lnTo>
                        <a:pt x="80" y="41"/>
                      </a:lnTo>
                      <a:lnTo>
                        <a:pt x="78" y="41"/>
                      </a:lnTo>
                      <a:lnTo>
                        <a:pt x="76" y="47"/>
                      </a:lnTo>
                      <a:lnTo>
                        <a:pt x="75" y="49"/>
                      </a:lnTo>
                      <a:lnTo>
                        <a:pt x="71" y="50"/>
                      </a:lnTo>
                      <a:lnTo>
                        <a:pt x="66" y="52"/>
                      </a:lnTo>
                      <a:lnTo>
                        <a:pt x="65" y="52"/>
                      </a:lnTo>
                      <a:lnTo>
                        <a:pt x="65" y="54"/>
                      </a:lnTo>
                      <a:lnTo>
                        <a:pt x="68" y="59"/>
                      </a:lnTo>
                      <a:lnTo>
                        <a:pt x="65" y="60"/>
                      </a:lnTo>
                      <a:lnTo>
                        <a:pt x="66" y="64"/>
                      </a:lnTo>
                      <a:lnTo>
                        <a:pt x="68" y="64"/>
                      </a:lnTo>
                      <a:lnTo>
                        <a:pt x="71" y="67"/>
                      </a:lnTo>
                      <a:lnTo>
                        <a:pt x="76" y="67"/>
                      </a:lnTo>
                      <a:lnTo>
                        <a:pt x="81" y="70"/>
                      </a:lnTo>
                      <a:lnTo>
                        <a:pt x="84" y="70"/>
                      </a:lnTo>
                      <a:lnTo>
                        <a:pt x="88" y="77"/>
                      </a:lnTo>
                      <a:lnTo>
                        <a:pt x="93" y="78"/>
                      </a:lnTo>
                      <a:lnTo>
                        <a:pt x="96" y="83"/>
                      </a:lnTo>
                      <a:lnTo>
                        <a:pt x="96" y="85"/>
                      </a:lnTo>
                      <a:lnTo>
                        <a:pt x="101" y="91"/>
                      </a:lnTo>
                      <a:lnTo>
                        <a:pt x="101" y="95"/>
                      </a:lnTo>
                      <a:lnTo>
                        <a:pt x="104" y="96"/>
                      </a:lnTo>
                      <a:lnTo>
                        <a:pt x="107" y="96"/>
                      </a:lnTo>
                      <a:lnTo>
                        <a:pt x="109" y="98"/>
                      </a:lnTo>
                      <a:lnTo>
                        <a:pt x="109" y="101"/>
                      </a:lnTo>
                      <a:lnTo>
                        <a:pt x="112" y="103"/>
                      </a:lnTo>
                      <a:lnTo>
                        <a:pt x="114" y="103"/>
                      </a:lnTo>
                      <a:lnTo>
                        <a:pt x="115" y="104"/>
                      </a:lnTo>
                      <a:lnTo>
                        <a:pt x="115" y="106"/>
                      </a:lnTo>
                      <a:lnTo>
                        <a:pt x="115" y="108"/>
                      </a:lnTo>
                      <a:lnTo>
                        <a:pt x="120" y="109"/>
                      </a:lnTo>
                      <a:lnTo>
                        <a:pt x="122" y="111"/>
                      </a:lnTo>
                      <a:lnTo>
                        <a:pt x="124" y="113"/>
                      </a:lnTo>
                      <a:lnTo>
                        <a:pt x="127" y="111"/>
                      </a:lnTo>
                      <a:lnTo>
                        <a:pt x="127" y="113"/>
                      </a:lnTo>
                      <a:lnTo>
                        <a:pt x="125" y="116"/>
                      </a:lnTo>
                      <a:lnTo>
                        <a:pt x="125" y="119"/>
                      </a:lnTo>
                      <a:lnTo>
                        <a:pt x="125" y="121"/>
                      </a:lnTo>
                      <a:lnTo>
                        <a:pt x="129" y="122"/>
                      </a:lnTo>
                      <a:lnTo>
                        <a:pt x="129" y="126"/>
                      </a:lnTo>
                      <a:lnTo>
                        <a:pt x="124" y="129"/>
                      </a:lnTo>
                      <a:lnTo>
                        <a:pt x="125" y="134"/>
                      </a:lnTo>
                      <a:lnTo>
                        <a:pt x="125" y="135"/>
                      </a:lnTo>
                      <a:lnTo>
                        <a:pt x="125" y="140"/>
                      </a:lnTo>
                      <a:lnTo>
                        <a:pt x="124" y="142"/>
                      </a:lnTo>
                      <a:lnTo>
                        <a:pt x="120" y="142"/>
                      </a:lnTo>
                      <a:lnTo>
                        <a:pt x="117" y="140"/>
                      </a:lnTo>
                      <a:lnTo>
                        <a:pt x="115" y="140"/>
                      </a:lnTo>
                      <a:lnTo>
                        <a:pt x="114" y="137"/>
                      </a:lnTo>
                      <a:lnTo>
                        <a:pt x="107" y="139"/>
                      </a:lnTo>
                      <a:lnTo>
                        <a:pt x="106" y="140"/>
                      </a:lnTo>
                      <a:lnTo>
                        <a:pt x="109" y="145"/>
                      </a:lnTo>
                      <a:lnTo>
                        <a:pt x="107" y="147"/>
                      </a:lnTo>
                      <a:lnTo>
                        <a:pt x="109" y="150"/>
                      </a:lnTo>
                      <a:lnTo>
                        <a:pt x="109" y="153"/>
                      </a:lnTo>
                      <a:lnTo>
                        <a:pt x="104" y="150"/>
                      </a:lnTo>
                      <a:lnTo>
                        <a:pt x="101" y="147"/>
                      </a:lnTo>
                      <a:lnTo>
                        <a:pt x="96" y="145"/>
                      </a:lnTo>
                      <a:lnTo>
                        <a:pt x="94" y="144"/>
                      </a:lnTo>
                      <a:lnTo>
                        <a:pt x="91" y="140"/>
                      </a:lnTo>
                      <a:lnTo>
                        <a:pt x="93" y="140"/>
                      </a:lnTo>
                      <a:lnTo>
                        <a:pt x="96" y="137"/>
                      </a:lnTo>
                      <a:lnTo>
                        <a:pt x="96" y="132"/>
                      </a:lnTo>
                      <a:lnTo>
                        <a:pt x="94" y="129"/>
                      </a:lnTo>
                      <a:lnTo>
                        <a:pt x="96" y="126"/>
                      </a:lnTo>
                      <a:lnTo>
                        <a:pt x="96" y="124"/>
                      </a:lnTo>
                      <a:lnTo>
                        <a:pt x="96" y="121"/>
                      </a:lnTo>
                      <a:lnTo>
                        <a:pt x="96" y="119"/>
                      </a:lnTo>
                      <a:lnTo>
                        <a:pt x="91" y="116"/>
                      </a:lnTo>
                      <a:lnTo>
                        <a:pt x="93" y="114"/>
                      </a:lnTo>
                      <a:lnTo>
                        <a:pt x="89" y="113"/>
                      </a:lnTo>
                      <a:lnTo>
                        <a:pt x="86" y="113"/>
                      </a:lnTo>
                      <a:lnTo>
                        <a:pt x="83" y="109"/>
                      </a:lnTo>
                      <a:lnTo>
                        <a:pt x="81" y="106"/>
                      </a:lnTo>
                      <a:lnTo>
                        <a:pt x="81" y="104"/>
                      </a:lnTo>
                      <a:lnTo>
                        <a:pt x="81" y="99"/>
                      </a:lnTo>
                      <a:lnTo>
                        <a:pt x="80" y="96"/>
                      </a:lnTo>
                      <a:lnTo>
                        <a:pt x="81" y="95"/>
                      </a:lnTo>
                      <a:lnTo>
                        <a:pt x="81" y="91"/>
                      </a:lnTo>
                      <a:lnTo>
                        <a:pt x="80" y="88"/>
                      </a:lnTo>
                      <a:lnTo>
                        <a:pt x="76" y="85"/>
                      </a:lnTo>
                      <a:lnTo>
                        <a:pt x="70" y="80"/>
                      </a:lnTo>
                      <a:lnTo>
                        <a:pt x="66" y="75"/>
                      </a:lnTo>
                      <a:lnTo>
                        <a:pt x="60" y="73"/>
                      </a:lnTo>
                      <a:lnTo>
                        <a:pt x="55" y="75"/>
                      </a:lnTo>
                      <a:lnTo>
                        <a:pt x="52" y="81"/>
                      </a:lnTo>
                      <a:lnTo>
                        <a:pt x="45" y="81"/>
                      </a:lnTo>
                      <a:lnTo>
                        <a:pt x="42" y="78"/>
                      </a:lnTo>
                      <a:lnTo>
                        <a:pt x="39" y="78"/>
                      </a:lnTo>
                      <a:lnTo>
                        <a:pt x="34" y="77"/>
                      </a:lnTo>
                      <a:lnTo>
                        <a:pt x="29" y="78"/>
                      </a:lnTo>
                      <a:lnTo>
                        <a:pt x="27" y="81"/>
                      </a:lnTo>
                      <a:lnTo>
                        <a:pt x="24" y="83"/>
                      </a:lnTo>
                      <a:lnTo>
                        <a:pt x="19" y="85"/>
                      </a:lnTo>
                      <a:lnTo>
                        <a:pt x="19" y="77"/>
                      </a:lnTo>
                      <a:lnTo>
                        <a:pt x="19" y="72"/>
                      </a:lnTo>
                      <a:lnTo>
                        <a:pt x="17" y="67"/>
                      </a:lnTo>
                      <a:lnTo>
                        <a:pt x="21" y="65"/>
                      </a:lnTo>
                      <a:lnTo>
                        <a:pt x="21" y="62"/>
                      </a:lnTo>
                      <a:lnTo>
                        <a:pt x="19" y="59"/>
                      </a:lnTo>
                      <a:lnTo>
                        <a:pt x="21" y="55"/>
                      </a:lnTo>
                      <a:lnTo>
                        <a:pt x="21" y="52"/>
                      </a:lnTo>
                      <a:lnTo>
                        <a:pt x="14" y="52"/>
                      </a:lnTo>
                      <a:lnTo>
                        <a:pt x="11" y="55"/>
                      </a:lnTo>
                      <a:lnTo>
                        <a:pt x="9" y="54"/>
                      </a:lnTo>
                      <a:lnTo>
                        <a:pt x="6" y="49"/>
                      </a:lnTo>
                      <a:lnTo>
                        <a:pt x="9" y="47"/>
                      </a:lnTo>
                      <a:lnTo>
                        <a:pt x="8" y="42"/>
                      </a:lnTo>
                      <a:lnTo>
                        <a:pt x="6" y="39"/>
                      </a:lnTo>
                      <a:lnTo>
                        <a:pt x="1" y="39"/>
                      </a:lnTo>
                      <a:lnTo>
                        <a:pt x="0" y="36"/>
                      </a:lnTo>
                      <a:lnTo>
                        <a:pt x="1" y="31"/>
                      </a:lnTo>
                      <a:lnTo>
                        <a:pt x="3" y="31"/>
                      </a:lnTo>
                      <a:lnTo>
                        <a:pt x="6" y="29"/>
                      </a:lnTo>
                      <a:lnTo>
                        <a:pt x="4" y="26"/>
                      </a:lnTo>
                      <a:lnTo>
                        <a:pt x="6" y="24"/>
                      </a:lnTo>
                      <a:lnTo>
                        <a:pt x="6" y="21"/>
                      </a:lnTo>
                      <a:lnTo>
                        <a:pt x="11" y="19"/>
                      </a:lnTo>
                      <a:lnTo>
                        <a:pt x="14" y="1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4" name="Freeform 178">
                  <a:extLst>
                    <a:ext uri="{FF2B5EF4-FFF2-40B4-BE49-F238E27FC236}">
                      <a16:creationId xmlns:a16="http://schemas.microsoft.com/office/drawing/2014/main" xmlns="" id="{C0DB8A40-8B9A-4BA2-82C7-DD083DB3BD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6" y="1711"/>
                  <a:ext cx="134" cy="255"/>
                </a:xfrm>
                <a:custGeom>
                  <a:avLst/>
                  <a:gdLst>
                    <a:gd name="T0" fmla="*/ 29 w 82"/>
                    <a:gd name="T1" fmla="*/ 7 h 156"/>
                    <a:gd name="T2" fmla="*/ 36 w 82"/>
                    <a:gd name="T3" fmla="*/ 10 h 156"/>
                    <a:gd name="T4" fmla="*/ 34 w 82"/>
                    <a:gd name="T5" fmla="*/ 19 h 156"/>
                    <a:gd name="T6" fmla="*/ 40 w 82"/>
                    <a:gd name="T7" fmla="*/ 28 h 156"/>
                    <a:gd name="T8" fmla="*/ 51 w 82"/>
                    <a:gd name="T9" fmla="*/ 28 h 156"/>
                    <a:gd name="T10" fmla="*/ 66 w 82"/>
                    <a:gd name="T11" fmla="*/ 27 h 156"/>
                    <a:gd name="T12" fmla="*/ 72 w 82"/>
                    <a:gd name="T13" fmla="*/ 37 h 156"/>
                    <a:gd name="T14" fmla="*/ 76 w 82"/>
                    <a:gd name="T15" fmla="*/ 47 h 156"/>
                    <a:gd name="T16" fmla="*/ 82 w 82"/>
                    <a:gd name="T17" fmla="*/ 52 h 156"/>
                    <a:gd name="T18" fmla="*/ 82 w 82"/>
                    <a:gd name="T19" fmla="*/ 62 h 156"/>
                    <a:gd name="T20" fmla="*/ 72 w 82"/>
                    <a:gd name="T21" fmla="*/ 63 h 156"/>
                    <a:gd name="T22" fmla="*/ 59 w 82"/>
                    <a:gd name="T23" fmla="*/ 65 h 156"/>
                    <a:gd name="T24" fmla="*/ 52 w 82"/>
                    <a:gd name="T25" fmla="*/ 77 h 156"/>
                    <a:gd name="T26" fmla="*/ 55 w 82"/>
                    <a:gd name="T27" fmla="*/ 89 h 156"/>
                    <a:gd name="T28" fmla="*/ 52 w 82"/>
                    <a:gd name="T29" fmla="*/ 88 h 156"/>
                    <a:gd name="T30" fmla="*/ 46 w 82"/>
                    <a:gd name="T31" fmla="*/ 83 h 156"/>
                    <a:gd name="T32" fmla="*/ 42 w 82"/>
                    <a:gd name="T33" fmla="*/ 84 h 156"/>
                    <a:gd name="T34" fmla="*/ 38 w 82"/>
                    <a:gd name="T35" fmla="*/ 82 h 156"/>
                    <a:gd name="T36" fmla="*/ 36 w 82"/>
                    <a:gd name="T37" fmla="*/ 76 h 156"/>
                    <a:gd name="T38" fmla="*/ 31 w 82"/>
                    <a:gd name="T39" fmla="*/ 76 h 156"/>
                    <a:gd name="T40" fmla="*/ 28 w 82"/>
                    <a:gd name="T41" fmla="*/ 76 h 156"/>
                    <a:gd name="T42" fmla="*/ 29 w 82"/>
                    <a:gd name="T43" fmla="*/ 84 h 156"/>
                    <a:gd name="T44" fmla="*/ 27 w 82"/>
                    <a:gd name="T45" fmla="*/ 92 h 156"/>
                    <a:gd name="T46" fmla="*/ 22 w 82"/>
                    <a:gd name="T47" fmla="*/ 109 h 156"/>
                    <a:gd name="T48" fmla="*/ 23 w 82"/>
                    <a:gd name="T49" fmla="*/ 114 h 156"/>
                    <a:gd name="T50" fmla="*/ 26 w 82"/>
                    <a:gd name="T51" fmla="*/ 120 h 156"/>
                    <a:gd name="T52" fmla="*/ 30 w 82"/>
                    <a:gd name="T53" fmla="*/ 120 h 156"/>
                    <a:gd name="T54" fmla="*/ 33 w 82"/>
                    <a:gd name="T55" fmla="*/ 128 h 156"/>
                    <a:gd name="T56" fmla="*/ 35 w 82"/>
                    <a:gd name="T57" fmla="*/ 129 h 156"/>
                    <a:gd name="T58" fmla="*/ 36 w 82"/>
                    <a:gd name="T59" fmla="*/ 137 h 156"/>
                    <a:gd name="T60" fmla="*/ 37 w 82"/>
                    <a:gd name="T61" fmla="*/ 138 h 156"/>
                    <a:gd name="T62" fmla="*/ 43 w 82"/>
                    <a:gd name="T63" fmla="*/ 145 h 156"/>
                    <a:gd name="T64" fmla="*/ 50 w 82"/>
                    <a:gd name="T65" fmla="*/ 150 h 156"/>
                    <a:gd name="T66" fmla="*/ 50 w 82"/>
                    <a:gd name="T67" fmla="*/ 155 h 156"/>
                    <a:gd name="T68" fmla="*/ 43 w 82"/>
                    <a:gd name="T69" fmla="*/ 154 h 156"/>
                    <a:gd name="T70" fmla="*/ 40 w 82"/>
                    <a:gd name="T71" fmla="*/ 147 h 156"/>
                    <a:gd name="T72" fmla="*/ 33 w 82"/>
                    <a:gd name="T73" fmla="*/ 147 h 156"/>
                    <a:gd name="T74" fmla="*/ 29 w 82"/>
                    <a:gd name="T75" fmla="*/ 141 h 156"/>
                    <a:gd name="T76" fmla="*/ 22 w 82"/>
                    <a:gd name="T77" fmla="*/ 135 h 156"/>
                    <a:gd name="T78" fmla="*/ 19 w 82"/>
                    <a:gd name="T79" fmla="*/ 128 h 156"/>
                    <a:gd name="T80" fmla="*/ 14 w 82"/>
                    <a:gd name="T81" fmla="*/ 126 h 156"/>
                    <a:gd name="T82" fmla="*/ 17 w 82"/>
                    <a:gd name="T83" fmla="*/ 118 h 156"/>
                    <a:gd name="T84" fmla="*/ 18 w 82"/>
                    <a:gd name="T85" fmla="*/ 111 h 156"/>
                    <a:gd name="T86" fmla="*/ 19 w 82"/>
                    <a:gd name="T87" fmla="*/ 102 h 156"/>
                    <a:gd name="T88" fmla="*/ 24 w 82"/>
                    <a:gd name="T89" fmla="*/ 88 h 156"/>
                    <a:gd name="T90" fmla="*/ 22 w 82"/>
                    <a:gd name="T91" fmla="*/ 78 h 156"/>
                    <a:gd name="T92" fmla="*/ 15 w 82"/>
                    <a:gd name="T93" fmla="*/ 65 h 156"/>
                    <a:gd name="T94" fmla="*/ 13 w 82"/>
                    <a:gd name="T95" fmla="*/ 54 h 156"/>
                    <a:gd name="T96" fmla="*/ 13 w 82"/>
                    <a:gd name="T97" fmla="*/ 43 h 156"/>
                    <a:gd name="T98" fmla="*/ 5 w 82"/>
                    <a:gd name="T99" fmla="*/ 31 h 156"/>
                    <a:gd name="T100" fmla="*/ 0 w 82"/>
                    <a:gd name="T101" fmla="*/ 23 h 156"/>
                    <a:gd name="T102" fmla="*/ 5 w 82"/>
                    <a:gd name="T103" fmla="*/ 15 h 156"/>
                    <a:gd name="T104" fmla="*/ 14 w 82"/>
                    <a:gd name="T105" fmla="*/ 9 h 156"/>
                    <a:gd name="T106" fmla="*/ 19 w 82"/>
                    <a:gd name="T107" fmla="*/ 4 h 156"/>
                    <a:gd name="T108" fmla="*/ 23 w 82"/>
                    <a:gd name="T109" fmla="*/ 0 h 156"/>
                    <a:gd name="T110" fmla="*/ 29 w 82"/>
                    <a:gd name="T111" fmla="*/ 146 h 156"/>
                    <a:gd name="T112" fmla="*/ 23 w 82"/>
                    <a:gd name="T113" fmla="*/ 136 h 156"/>
                    <a:gd name="T114" fmla="*/ 15 w 82"/>
                    <a:gd name="T115" fmla="*/ 135 h 156"/>
                    <a:gd name="T116" fmla="*/ 51 w 82"/>
                    <a:gd name="T117" fmla="*/ 90 h 156"/>
                    <a:gd name="T118" fmla="*/ 30 w 82"/>
                    <a:gd name="T119" fmla="*/ 114 h 156"/>
                    <a:gd name="T120" fmla="*/ 31 w 82"/>
                    <a:gd name="T121" fmla="*/ 117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2" h="156">
                      <a:moveTo>
                        <a:pt x="23" y="0"/>
                      </a:moveTo>
                      <a:cubicBezTo>
                        <a:pt x="24" y="2"/>
                        <a:pt x="24" y="2"/>
                        <a:pt x="24" y="2"/>
                      </a:cubicBezTo>
                      <a:cubicBezTo>
                        <a:pt x="27" y="2"/>
                        <a:pt x="27" y="2"/>
                        <a:pt x="27" y="2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9" y="7"/>
                        <a:pt x="29" y="7"/>
                        <a:pt x="29" y="7"/>
                      </a:cubicBezTo>
                      <a:cubicBezTo>
                        <a:pt x="27" y="8"/>
                        <a:pt x="27" y="8"/>
                        <a:pt x="27" y="8"/>
                      </a:cubicBezTo>
                      <a:cubicBezTo>
                        <a:pt x="29" y="11"/>
                        <a:pt x="29" y="11"/>
                        <a:pt x="29" y="11"/>
                      </a:cubicBezTo>
                      <a:cubicBezTo>
                        <a:pt x="30" y="12"/>
                        <a:pt x="30" y="12"/>
                        <a:pt x="30" y="12"/>
                      </a:cubicBezTo>
                      <a:cubicBezTo>
                        <a:pt x="32" y="10"/>
                        <a:pt x="32" y="10"/>
                        <a:pt x="32" y="10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35" y="14"/>
                        <a:pt x="35" y="14"/>
                        <a:pt x="35" y="14"/>
                      </a:cubicBezTo>
                      <a:cubicBezTo>
                        <a:pt x="36" y="16"/>
                        <a:pt x="36" y="16"/>
                        <a:pt x="36" y="16"/>
                      </a:cubicBezTo>
                      <a:cubicBezTo>
                        <a:pt x="36" y="18"/>
                        <a:pt x="36" y="18"/>
                        <a:pt x="36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5" y="22"/>
                        <a:pt x="35" y="22"/>
                        <a:pt x="35" y="22"/>
                      </a:cubicBezTo>
                      <a:cubicBezTo>
                        <a:pt x="35" y="25"/>
                        <a:pt x="35" y="25"/>
                        <a:pt x="35" y="25"/>
                      </a:cubicBezTo>
                      <a:cubicBezTo>
                        <a:pt x="35" y="30"/>
                        <a:pt x="35" y="30"/>
                        <a:pt x="35" y="30"/>
                      </a:cubicBezTo>
                      <a:cubicBezTo>
                        <a:pt x="38" y="29"/>
                        <a:pt x="38" y="29"/>
                        <a:pt x="38" y="29"/>
                      </a:cubicBezTo>
                      <a:cubicBezTo>
                        <a:pt x="40" y="28"/>
                        <a:pt x="40" y="28"/>
                        <a:pt x="40" y="28"/>
                      </a:cubicBezTo>
                      <a:cubicBezTo>
                        <a:pt x="41" y="26"/>
                        <a:pt x="41" y="26"/>
                        <a:pt x="41" y="26"/>
                      </a:cubicBez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7" y="26"/>
                        <a:pt x="47" y="26"/>
                        <a:pt x="47" y="26"/>
                      </a:cubicBezTo>
                      <a:cubicBezTo>
                        <a:pt x="49" y="26"/>
                        <a:pt x="49" y="26"/>
                        <a:pt x="49" y="26"/>
                      </a:cubicBez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5" y="28"/>
                        <a:pt x="55" y="28"/>
                        <a:pt x="55" y="28"/>
                      </a:cubicBezTo>
                      <a:cubicBezTo>
                        <a:pt x="57" y="24"/>
                        <a:pt x="57" y="24"/>
                        <a:pt x="57" y="24"/>
                      </a:cubicBezTo>
                      <a:cubicBezTo>
                        <a:pt x="60" y="23"/>
                        <a:pt x="60" y="23"/>
                        <a:pt x="60" y="23"/>
                      </a:cubicBezTo>
                      <a:cubicBezTo>
                        <a:pt x="64" y="24"/>
                        <a:pt x="64" y="24"/>
                        <a:pt x="64" y="24"/>
                      </a:cubicBezTo>
                      <a:cubicBezTo>
                        <a:pt x="66" y="27"/>
                        <a:pt x="66" y="27"/>
                        <a:pt x="66" y="27"/>
                      </a:cubicBezTo>
                      <a:cubicBezTo>
                        <a:pt x="70" y="30"/>
                        <a:pt x="70" y="30"/>
                        <a:pt x="70" y="30"/>
                      </a:cubicBezTo>
                      <a:cubicBezTo>
                        <a:pt x="72" y="32"/>
                        <a:pt x="72" y="32"/>
                        <a:pt x="72" y="32"/>
                      </a:cubicBezTo>
                      <a:cubicBezTo>
                        <a:pt x="73" y="34"/>
                        <a:pt x="73" y="34"/>
                        <a:pt x="73" y="34"/>
                      </a:cubicBezTo>
                      <a:cubicBezTo>
                        <a:pt x="73" y="36"/>
                        <a:pt x="73" y="36"/>
                        <a:pt x="73" y="36"/>
                      </a:cubicBezTo>
                      <a:cubicBezTo>
                        <a:pt x="72" y="37"/>
                        <a:pt x="72" y="37"/>
                        <a:pt x="72" y="37"/>
                      </a:cubicBezTo>
                      <a:cubicBezTo>
                        <a:pt x="73" y="39"/>
                        <a:pt x="73" y="39"/>
                        <a:pt x="73" y="39"/>
                      </a:cubicBezTo>
                      <a:cubicBezTo>
                        <a:pt x="73" y="42"/>
                        <a:pt x="73" y="42"/>
                        <a:pt x="73" y="42"/>
                      </a:cubicBezTo>
                      <a:cubicBezTo>
                        <a:pt x="73" y="43"/>
                        <a:pt x="73" y="43"/>
                        <a:pt x="73" y="43"/>
                      </a:cubicBezTo>
                      <a:cubicBezTo>
                        <a:pt x="74" y="45"/>
                        <a:pt x="74" y="45"/>
                        <a:pt x="74" y="45"/>
                      </a:cubicBezTo>
                      <a:cubicBezTo>
                        <a:pt x="76" y="47"/>
                        <a:pt x="76" y="47"/>
                        <a:pt x="76" y="47"/>
                      </a:cubicBezTo>
                      <a:cubicBezTo>
                        <a:pt x="78" y="47"/>
                        <a:pt x="78" y="47"/>
                        <a:pt x="78" y="47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79" y="49"/>
                        <a:pt x="79" y="49"/>
                        <a:pt x="79" y="49"/>
                      </a:cubicBezTo>
                      <a:cubicBezTo>
                        <a:pt x="82" y="51"/>
                        <a:pt x="82" y="51"/>
                        <a:pt x="82" y="51"/>
                      </a:cubicBezTo>
                      <a:cubicBezTo>
                        <a:pt x="82" y="52"/>
                        <a:pt x="82" y="52"/>
                        <a:pt x="82" y="52"/>
                      </a:cubicBezTo>
                      <a:cubicBezTo>
                        <a:pt x="82" y="54"/>
                        <a:pt x="82" y="54"/>
                        <a:pt x="82" y="54"/>
                      </a:cubicBezTo>
                      <a:cubicBezTo>
                        <a:pt x="82" y="55"/>
                        <a:pt x="82" y="55"/>
                        <a:pt x="82" y="55"/>
                      </a:cubicBezTo>
                      <a:cubicBezTo>
                        <a:pt x="81" y="57"/>
                        <a:pt x="81" y="57"/>
                        <a:pt x="81" y="57"/>
                      </a:cubicBezTo>
                      <a:cubicBezTo>
                        <a:pt x="82" y="59"/>
                        <a:pt x="82" y="59"/>
                        <a:pt x="82" y="59"/>
                      </a:cubicBezTo>
                      <a:cubicBezTo>
                        <a:pt x="82" y="62"/>
                        <a:pt x="82" y="62"/>
                        <a:pt x="82" y="62"/>
                      </a:cubicBezTo>
                      <a:cubicBezTo>
                        <a:pt x="80" y="64"/>
                        <a:pt x="80" y="64"/>
                        <a:pt x="80" y="64"/>
                      </a:cubicBez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76" y="64"/>
                        <a:pt x="76" y="64"/>
                        <a:pt x="76" y="64"/>
                      </a:cubicBezTo>
                      <a:cubicBezTo>
                        <a:pt x="74" y="64"/>
                        <a:pt x="74" y="64"/>
                        <a:pt x="74" y="64"/>
                      </a:cubicBezTo>
                      <a:cubicBezTo>
                        <a:pt x="72" y="63"/>
                        <a:pt x="72" y="63"/>
                        <a:pt x="72" y="63"/>
                      </a:cubicBezTo>
                      <a:cubicBezTo>
                        <a:pt x="69" y="63"/>
                        <a:pt x="69" y="63"/>
                        <a:pt x="69" y="63"/>
                      </a:cubicBezTo>
                      <a:cubicBezTo>
                        <a:pt x="67" y="64"/>
                        <a:pt x="67" y="64"/>
                        <a:pt x="67" y="64"/>
                      </a:cubicBez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59" y="65"/>
                        <a:pt x="59" y="65"/>
                        <a:pt x="59" y="65"/>
                      </a:cubicBezTo>
                      <a:cubicBezTo>
                        <a:pt x="57" y="65"/>
                        <a:pt x="57" y="65"/>
                        <a:pt x="57" y="65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4" y="71"/>
                        <a:pt x="54" y="71"/>
                        <a:pt x="54" y="71"/>
                      </a:cubicBezTo>
                      <a:cubicBezTo>
                        <a:pt x="52" y="73"/>
                        <a:pt x="52" y="73"/>
                        <a:pt x="52" y="73"/>
                      </a:cubicBezTo>
                      <a:cubicBezTo>
                        <a:pt x="52" y="77"/>
                        <a:pt x="52" y="77"/>
                        <a:pt x="52" y="77"/>
                      </a:cubicBezTo>
                      <a:cubicBezTo>
                        <a:pt x="53" y="81"/>
                        <a:pt x="53" y="81"/>
                        <a:pt x="53" y="81"/>
                      </a:cubicBezTo>
                      <a:cubicBezTo>
                        <a:pt x="55" y="82"/>
                        <a:pt x="55" y="82"/>
                        <a:pt x="55" y="82"/>
                      </a:cubicBezTo>
                      <a:cubicBezTo>
                        <a:pt x="56" y="84"/>
                        <a:pt x="56" y="84"/>
                        <a:pt x="56" y="84"/>
                      </a:cubicBezTo>
                      <a:cubicBezTo>
                        <a:pt x="55" y="87"/>
                        <a:pt x="55" y="87"/>
                        <a:pt x="55" y="87"/>
                      </a:cubicBezTo>
                      <a:cubicBezTo>
                        <a:pt x="55" y="89"/>
                        <a:pt x="55" y="89"/>
                        <a:pt x="55" y="89"/>
                      </a:cubicBezTo>
                      <a:cubicBezTo>
                        <a:pt x="54" y="89"/>
                        <a:pt x="54" y="89"/>
                        <a:pt x="54" y="89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4" y="90"/>
                        <a:pt x="54" y="90"/>
                        <a:pt x="54" y="90"/>
                      </a:cubicBezTo>
                      <a:cubicBezTo>
                        <a:pt x="52" y="88"/>
                        <a:pt x="52" y="88"/>
                        <a:pt x="52" y="88"/>
                      </a:cubicBezTo>
                      <a:cubicBezTo>
                        <a:pt x="51" y="88"/>
                        <a:pt x="51" y="88"/>
                        <a:pt x="51" y="88"/>
                      </a:cubicBezTo>
                      <a:cubicBezTo>
                        <a:pt x="51" y="87"/>
                        <a:pt x="51" y="87"/>
                        <a:pt x="51" y="87"/>
                      </a:cubicBezTo>
                      <a:cubicBezTo>
                        <a:pt x="50" y="87"/>
                        <a:pt x="50" y="87"/>
                        <a:pt x="50" y="87"/>
                      </a:cubicBezTo>
                      <a:cubicBezTo>
                        <a:pt x="47" y="84"/>
                        <a:pt x="47" y="84"/>
                        <a:pt x="47" y="84"/>
                      </a:cubicBezTo>
                      <a:cubicBezTo>
                        <a:pt x="46" y="83"/>
                        <a:pt x="46" y="83"/>
                        <a:pt x="46" y="83"/>
                      </a:cubicBezTo>
                      <a:cubicBezTo>
                        <a:pt x="45" y="84"/>
                        <a:pt x="45" y="84"/>
                        <a:pt x="45" y="84"/>
                      </a:cubicBezTo>
                      <a:cubicBezTo>
                        <a:pt x="45" y="85"/>
                        <a:pt x="45" y="85"/>
                        <a:pt x="45" y="85"/>
                      </a:cubicBezTo>
                      <a:cubicBezTo>
                        <a:pt x="45" y="85"/>
                        <a:pt x="45" y="85"/>
                        <a:pt x="45" y="85"/>
                      </a:cubicBezTo>
                      <a:cubicBezTo>
                        <a:pt x="44" y="85"/>
                        <a:pt x="44" y="85"/>
                        <a:pt x="44" y="85"/>
                      </a:cubicBezTo>
                      <a:cubicBezTo>
                        <a:pt x="42" y="84"/>
                        <a:pt x="42" y="84"/>
                        <a:pt x="42" y="84"/>
                      </a:cubicBezTo>
                      <a:cubicBezTo>
                        <a:pt x="40" y="85"/>
                        <a:pt x="40" y="85"/>
                        <a:pt x="40" y="85"/>
                      </a:cubicBezTo>
                      <a:cubicBezTo>
                        <a:pt x="38" y="84"/>
                        <a:pt x="38" y="84"/>
                        <a:pt x="38" y="84"/>
                      </a:cubicBezTo>
                      <a:cubicBezTo>
                        <a:pt x="37" y="84"/>
                        <a:pt x="37" y="84"/>
                        <a:pt x="37" y="84"/>
                      </a:cubicBezTo>
                      <a:cubicBezTo>
                        <a:pt x="37" y="83"/>
                        <a:pt x="37" y="83"/>
                        <a:pt x="37" y="83"/>
                      </a:cubicBezTo>
                      <a:cubicBezTo>
                        <a:pt x="38" y="82"/>
                        <a:pt x="38" y="82"/>
                        <a:pt x="38" y="82"/>
                      </a:cubicBezTo>
                      <a:cubicBezTo>
                        <a:pt x="37" y="80"/>
                        <a:pt x="37" y="80"/>
                        <a:pt x="37" y="80"/>
                      </a:cubicBezTo>
                      <a:cubicBezTo>
                        <a:pt x="37" y="78"/>
                        <a:pt x="37" y="78"/>
                        <a:pt x="37" y="78"/>
                      </a:cubicBezTo>
                      <a:cubicBezTo>
                        <a:pt x="38" y="77"/>
                        <a:pt x="38" y="77"/>
                        <a:pt x="38" y="77"/>
                      </a:cubicBezTo>
                      <a:cubicBezTo>
                        <a:pt x="37" y="76"/>
                        <a:pt x="37" y="76"/>
                        <a:pt x="37" y="76"/>
                      </a:cubicBezTo>
                      <a:cubicBezTo>
                        <a:pt x="36" y="76"/>
                        <a:pt x="36" y="76"/>
                        <a:pt x="36" y="76"/>
                      </a:cubicBezTo>
                      <a:cubicBezTo>
                        <a:pt x="35" y="75"/>
                        <a:pt x="35" y="75"/>
                        <a:pt x="35" y="75"/>
                      </a:cubicBezTo>
                      <a:cubicBezTo>
                        <a:pt x="35" y="76"/>
                        <a:pt x="35" y="76"/>
                        <a:pt x="35" y="76"/>
                      </a:cubicBezTo>
                      <a:cubicBezTo>
                        <a:pt x="34" y="75"/>
                        <a:pt x="34" y="75"/>
                        <a:pt x="34" y="75"/>
                      </a:cubicBezTo>
                      <a:cubicBezTo>
                        <a:pt x="33" y="76"/>
                        <a:pt x="33" y="76"/>
                        <a:pt x="33" y="76"/>
                      </a:cubicBezTo>
                      <a:cubicBezTo>
                        <a:pt x="31" y="76"/>
                        <a:pt x="31" y="76"/>
                        <a:pt x="31" y="76"/>
                      </a:cubicBezTo>
                      <a:cubicBezTo>
                        <a:pt x="31" y="75"/>
                        <a:pt x="31" y="75"/>
                        <a:pt x="31" y="75"/>
                      </a:cubicBezTo>
                      <a:cubicBezTo>
                        <a:pt x="30" y="76"/>
                        <a:pt x="30" y="76"/>
                        <a:pt x="30" y="76"/>
                      </a:cubicBezTo>
                      <a:cubicBezTo>
                        <a:pt x="29" y="76"/>
                        <a:pt x="29" y="76"/>
                        <a:pt x="29" y="76"/>
                      </a:cubicBezTo>
                      <a:cubicBezTo>
                        <a:pt x="28" y="76"/>
                        <a:pt x="28" y="76"/>
                        <a:pt x="28" y="76"/>
                      </a:cubicBezTo>
                      <a:cubicBezTo>
                        <a:pt x="28" y="76"/>
                        <a:pt x="28" y="76"/>
                        <a:pt x="28" y="76"/>
                      </a:cubicBezTo>
                      <a:cubicBezTo>
                        <a:pt x="28" y="78"/>
                        <a:pt x="28" y="78"/>
                        <a:pt x="28" y="78"/>
                      </a:cubicBezTo>
                      <a:cubicBezTo>
                        <a:pt x="30" y="78"/>
                        <a:pt x="30" y="78"/>
                        <a:pt x="30" y="78"/>
                      </a:cubicBezTo>
                      <a:cubicBezTo>
                        <a:pt x="30" y="80"/>
                        <a:pt x="30" y="80"/>
                        <a:pt x="30" y="80"/>
                      </a:cubicBezTo>
                      <a:cubicBezTo>
                        <a:pt x="29" y="82"/>
                        <a:pt x="29" y="82"/>
                        <a:pt x="29" y="82"/>
                      </a:cubicBezTo>
                      <a:cubicBezTo>
                        <a:pt x="29" y="84"/>
                        <a:pt x="29" y="84"/>
                        <a:pt x="29" y="84"/>
                      </a:cubicBezTo>
                      <a:cubicBezTo>
                        <a:pt x="29" y="85"/>
                        <a:pt x="29" y="85"/>
                        <a:pt x="29" y="85"/>
                      </a:cubicBezTo>
                      <a:cubicBezTo>
                        <a:pt x="29" y="86"/>
                        <a:pt x="29" y="86"/>
                        <a:pt x="29" y="86"/>
                      </a:cubicBezTo>
                      <a:cubicBezTo>
                        <a:pt x="29" y="89"/>
                        <a:pt x="29" y="89"/>
                        <a:pt x="29" y="89"/>
                      </a:cubicBezTo>
                      <a:cubicBezTo>
                        <a:pt x="28" y="90"/>
                        <a:pt x="28" y="90"/>
                        <a:pt x="28" y="90"/>
                      </a:cubicBezTo>
                      <a:cubicBezTo>
                        <a:pt x="27" y="92"/>
                        <a:pt x="27" y="92"/>
                        <a:pt x="27" y="92"/>
                      </a:cubicBezTo>
                      <a:cubicBezTo>
                        <a:pt x="26" y="95"/>
                        <a:pt x="26" y="95"/>
                        <a:pt x="26" y="95"/>
                      </a:cubicBezTo>
                      <a:cubicBezTo>
                        <a:pt x="25" y="102"/>
                        <a:pt x="25" y="102"/>
                        <a:pt x="25" y="102"/>
                      </a:cubicBezTo>
                      <a:cubicBezTo>
                        <a:pt x="23" y="105"/>
                        <a:pt x="23" y="105"/>
                        <a:pt x="23" y="105"/>
                      </a:cubicBezTo>
                      <a:cubicBezTo>
                        <a:pt x="23" y="107"/>
                        <a:pt x="23" y="107"/>
                        <a:pt x="23" y="107"/>
                      </a:cubicBezTo>
                      <a:cubicBezTo>
                        <a:pt x="22" y="109"/>
                        <a:pt x="22" y="109"/>
                        <a:pt x="22" y="109"/>
                      </a:cubicBezTo>
                      <a:cubicBezTo>
                        <a:pt x="23" y="109"/>
                        <a:pt x="23" y="109"/>
                        <a:pt x="23" y="109"/>
                      </a:cubicBezTo>
                      <a:cubicBezTo>
                        <a:pt x="23" y="110"/>
                        <a:pt x="23" y="110"/>
                        <a:pt x="23" y="110"/>
                      </a:cubicBezTo>
                      <a:cubicBezTo>
                        <a:pt x="23" y="111"/>
                        <a:pt x="23" y="111"/>
                        <a:pt x="23" y="111"/>
                      </a:cubicBezTo>
                      <a:cubicBezTo>
                        <a:pt x="23" y="112"/>
                        <a:pt x="23" y="112"/>
                        <a:pt x="23" y="112"/>
                      </a:cubicBezTo>
                      <a:cubicBezTo>
                        <a:pt x="23" y="114"/>
                        <a:pt x="23" y="114"/>
                        <a:pt x="23" y="114"/>
                      </a:cubicBezTo>
                      <a:cubicBezTo>
                        <a:pt x="23" y="115"/>
                        <a:pt x="23" y="115"/>
                        <a:pt x="23" y="115"/>
                      </a:cubicBezTo>
                      <a:cubicBezTo>
                        <a:pt x="25" y="118"/>
                        <a:pt x="25" y="118"/>
                        <a:pt x="25" y="118"/>
                      </a:cubicBezTo>
                      <a:cubicBezTo>
                        <a:pt x="24" y="120"/>
                        <a:pt x="24" y="120"/>
                        <a:pt x="24" y="120"/>
                      </a:cubicBezTo>
                      <a:cubicBezTo>
                        <a:pt x="25" y="121"/>
                        <a:pt x="25" y="121"/>
                        <a:pt x="25" y="121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9" y="119"/>
                        <a:pt x="29" y="119"/>
                        <a:pt x="29" y="119"/>
                      </a:cubicBezTo>
                      <a:cubicBezTo>
                        <a:pt x="30" y="120"/>
                        <a:pt x="30" y="120"/>
                        <a:pt x="30" y="120"/>
                      </a:cubicBezTo>
                      <a:cubicBezTo>
                        <a:pt x="30" y="122"/>
                        <a:pt x="30" y="122"/>
                        <a:pt x="30" y="122"/>
                      </a:cubicBezTo>
                      <a:cubicBezTo>
                        <a:pt x="31" y="123"/>
                        <a:pt x="31" y="123"/>
                        <a:pt x="31" y="123"/>
                      </a:cubicBezTo>
                      <a:cubicBezTo>
                        <a:pt x="31" y="125"/>
                        <a:pt x="31" y="125"/>
                        <a:pt x="31" y="125"/>
                      </a:cubicBezTo>
                      <a:cubicBezTo>
                        <a:pt x="32" y="126"/>
                        <a:pt x="32" y="126"/>
                        <a:pt x="32" y="126"/>
                      </a:cubicBezTo>
                      <a:cubicBezTo>
                        <a:pt x="33" y="128"/>
                        <a:pt x="33" y="128"/>
                        <a:pt x="33" y="128"/>
                      </a:cubicBezTo>
                      <a:cubicBezTo>
                        <a:pt x="34" y="128"/>
                        <a:pt x="34" y="128"/>
                        <a:pt x="34" y="128"/>
                      </a:cubicBezTo>
                      <a:cubicBezTo>
                        <a:pt x="34" y="127"/>
                        <a:pt x="34" y="127"/>
                        <a:pt x="34" y="127"/>
                      </a:cubicBezTo>
                      <a:cubicBezTo>
                        <a:pt x="34" y="126"/>
                        <a:pt x="34" y="126"/>
                        <a:pt x="34" y="126"/>
                      </a:cubicBezTo>
                      <a:cubicBezTo>
                        <a:pt x="34" y="128"/>
                        <a:pt x="34" y="128"/>
                        <a:pt x="34" y="128"/>
                      </a:cubicBezTo>
                      <a:cubicBezTo>
                        <a:pt x="35" y="129"/>
                        <a:pt x="35" y="129"/>
                        <a:pt x="35" y="129"/>
                      </a:cubicBezTo>
                      <a:cubicBezTo>
                        <a:pt x="35" y="131"/>
                        <a:pt x="35" y="131"/>
                        <a:pt x="35" y="131"/>
                      </a:cubicBezTo>
                      <a:cubicBezTo>
                        <a:pt x="36" y="131"/>
                        <a:pt x="36" y="131"/>
                        <a:pt x="36" y="131"/>
                      </a:cubicBezTo>
                      <a:cubicBezTo>
                        <a:pt x="37" y="135"/>
                        <a:pt x="37" y="135"/>
                        <a:pt x="37" y="135"/>
                      </a:cubicBezTo>
                      <a:cubicBezTo>
                        <a:pt x="37" y="136"/>
                        <a:pt x="37" y="136"/>
                        <a:pt x="37" y="136"/>
                      </a:cubicBezTo>
                      <a:cubicBezTo>
                        <a:pt x="36" y="137"/>
                        <a:pt x="36" y="137"/>
                        <a:pt x="36" y="137"/>
                      </a:cubicBezTo>
                      <a:cubicBezTo>
                        <a:pt x="36" y="136"/>
                        <a:pt x="36" y="136"/>
                        <a:pt x="36" y="136"/>
                      </a:cubicBezTo>
                      <a:cubicBezTo>
                        <a:pt x="34" y="137"/>
                        <a:pt x="34" y="137"/>
                        <a:pt x="34" y="137"/>
                      </a:cubicBezTo>
                      <a:cubicBezTo>
                        <a:pt x="34" y="138"/>
                        <a:pt x="34" y="138"/>
                        <a:pt x="34" y="138"/>
                      </a:cubicBezTo>
                      <a:cubicBezTo>
                        <a:pt x="37" y="140"/>
                        <a:pt x="37" y="140"/>
                        <a:pt x="37" y="140"/>
                      </a:cubicBezTo>
                      <a:cubicBezTo>
                        <a:pt x="37" y="138"/>
                        <a:pt x="37" y="138"/>
                        <a:pt x="37" y="138"/>
                      </a:cubicBezTo>
                      <a:cubicBezTo>
                        <a:pt x="38" y="139"/>
                        <a:pt x="38" y="139"/>
                        <a:pt x="38" y="139"/>
                      </a:cubicBezTo>
                      <a:cubicBezTo>
                        <a:pt x="38" y="140"/>
                        <a:pt x="38" y="140"/>
                        <a:pt x="38" y="140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2" y="144"/>
                        <a:pt x="42" y="144"/>
                        <a:pt x="42" y="144"/>
                      </a:cubicBezTo>
                      <a:cubicBezTo>
                        <a:pt x="43" y="145"/>
                        <a:pt x="43" y="145"/>
                        <a:pt x="43" y="145"/>
                      </a:cubicBezTo>
                      <a:cubicBezTo>
                        <a:pt x="44" y="144"/>
                        <a:pt x="44" y="144"/>
                        <a:pt x="44" y="144"/>
                      </a:cubicBezTo>
                      <a:cubicBezTo>
                        <a:pt x="46" y="145"/>
                        <a:pt x="46" y="145"/>
                        <a:pt x="46" y="145"/>
                      </a:cubicBezTo>
                      <a:cubicBezTo>
                        <a:pt x="48" y="145"/>
                        <a:pt x="48" y="145"/>
                        <a:pt x="48" y="145"/>
                      </a:cubicBezTo>
                      <a:cubicBezTo>
                        <a:pt x="49" y="148"/>
                        <a:pt x="49" y="148"/>
                        <a:pt x="49" y="148"/>
                      </a:cubicBezTo>
                      <a:cubicBezTo>
                        <a:pt x="50" y="150"/>
                        <a:pt x="50" y="150"/>
                        <a:pt x="50" y="150"/>
                      </a:cubicBezTo>
                      <a:cubicBezTo>
                        <a:pt x="52" y="151"/>
                        <a:pt x="52" y="151"/>
                        <a:pt x="52" y="151"/>
                      </a:cubicBezTo>
                      <a:cubicBezTo>
                        <a:pt x="52" y="152"/>
                        <a:pt x="52" y="152"/>
                        <a:pt x="52" y="152"/>
                      </a:cubicBezTo>
                      <a:cubicBezTo>
                        <a:pt x="52" y="152"/>
                        <a:pt x="52" y="152"/>
                        <a:pt x="52" y="152"/>
                      </a:cubicBezTo>
                      <a:cubicBezTo>
                        <a:pt x="52" y="154"/>
                        <a:pt x="52" y="154"/>
                        <a:pt x="52" y="154"/>
                      </a:cubicBezTo>
                      <a:cubicBezTo>
                        <a:pt x="50" y="155"/>
                        <a:pt x="50" y="155"/>
                        <a:pt x="50" y="155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5" y="156"/>
                        <a:pt x="45" y="156"/>
                        <a:pt x="45" y="156"/>
                      </a:cubicBezTo>
                      <a:cubicBezTo>
                        <a:pt x="42" y="155"/>
                        <a:pt x="42" y="155"/>
                        <a:pt x="42" y="155"/>
                      </a:cubicBezTo>
                      <a:cubicBezTo>
                        <a:pt x="43" y="154"/>
                        <a:pt x="43" y="154"/>
                        <a:pt x="43" y="154"/>
                      </a:cubicBezTo>
                      <a:cubicBezTo>
                        <a:pt x="44" y="153"/>
                        <a:pt x="44" y="153"/>
                        <a:pt x="44" y="153"/>
                      </a:cubicBezTo>
                      <a:cubicBezTo>
                        <a:pt x="44" y="150"/>
                        <a:pt x="44" y="150"/>
                        <a:pt x="44" y="150"/>
                      </a:cubicBezTo>
                      <a:cubicBezTo>
                        <a:pt x="43" y="148"/>
                        <a:pt x="43" y="148"/>
                        <a:pt x="43" y="148"/>
                      </a:cubicBezTo>
                      <a:cubicBezTo>
                        <a:pt x="41" y="148"/>
                        <a:pt x="41" y="148"/>
                        <a:pt x="41" y="148"/>
                      </a:cubicBezTo>
                      <a:cubicBezTo>
                        <a:pt x="40" y="147"/>
                        <a:pt x="40" y="147"/>
                        <a:pt x="40" y="147"/>
                      </a:cubicBezTo>
                      <a:cubicBezTo>
                        <a:pt x="38" y="147"/>
                        <a:pt x="38" y="147"/>
                        <a:pt x="38" y="147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4" y="147"/>
                        <a:pt x="34" y="147"/>
                        <a:pt x="34" y="147"/>
                      </a:cubicBezTo>
                      <a:cubicBezTo>
                        <a:pt x="34" y="149"/>
                        <a:pt x="34" y="149"/>
                        <a:pt x="34" y="149"/>
                      </a:cubicBezTo>
                      <a:cubicBezTo>
                        <a:pt x="33" y="147"/>
                        <a:pt x="33" y="147"/>
                        <a:pt x="33" y="147"/>
                      </a:cubicBezTo>
                      <a:cubicBezTo>
                        <a:pt x="29" y="144"/>
                        <a:pt x="29" y="144"/>
                        <a:pt x="29" y="144"/>
                      </a:cubicBezTo>
                      <a:cubicBezTo>
                        <a:pt x="29" y="144"/>
                        <a:pt x="29" y="144"/>
                        <a:pt x="29" y="144"/>
                      </a:cubicBezTo>
                      <a:cubicBezTo>
                        <a:pt x="30" y="143"/>
                        <a:pt x="30" y="143"/>
                        <a:pt x="30" y="143"/>
                      </a:cubicBezTo>
                      <a:cubicBezTo>
                        <a:pt x="30" y="142"/>
                        <a:pt x="30" y="142"/>
                        <a:pt x="30" y="142"/>
                      </a:cubicBezTo>
                      <a:cubicBezTo>
                        <a:pt x="29" y="141"/>
                        <a:pt x="29" y="141"/>
                        <a:pt x="29" y="141"/>
                      </a:cubicBezTo>
                      <a:cubicBezTo>
                        <a:pt x="28" y="140"/>
                        <a:pt x="28" y="140"/>
                        <a:pt x="28" y="140"/>
                      </a:cubicBezTo>
                      <a:cubicBezTo>
                        <a:pt x="26" y="139"/>
                        <a:pt x="26" y="139"/>
                        <a:pt x="26" y="139"/>
                      </a:cubicBezTo>
                      <a:cubicBezTo>
                        <a:pt x="26" y="138"/>
                        <a:pt x="26" y="138"/>
                        <a:pt x="26" y="138"/>
                      </a:cubicBezTo>
                      <a:cubicBezTo>
                        <a:pt x="24" y="135"/>
                        <a:pt x="24" y="135"/>
                        <a:pt x="24" y="135"/>
                      </a:cubicBezTo>
                      <a:cubicBezTo>
                        <a:pt x="22" y="135"/>
                        <a:pt x="22" y="135"/>
                        <a:pt x="22" y="135"/>
                      </a:cubicBezTo>
                      <a:cubicBezTo>
                        <a:pt x="21" y="132"/>
                        <a:pt x="21" y="132"/>
                        <a:pt x="21" y="132"/>
                      </a:cubicBezTo>
                      <a:cubicBezTo>
                        <a:pt x="20" y="131"/>
                        <a:pt x="20" y="131"/>
                        <a:pt x="20" y="131"/>
                      </a:cubicBezTo>
                      <a:cubicBezTo>
                        <a:pt x="20" y="130"/>
                        <a:pt x="20" y="130"/>
                        <a:pt x="20" y="130"/>
                      </a:cubicBezTo>
                      <a:cubicBezTo>
                        <a:pt x="18" y="129"/>
                        <a:pt x="18" y="129"/>
                        <a:pt x="18" y="129"/>
                      </a:cubicBezTo>
                      <a:cubicBezTo>
                        <a:pt x="19" y="128"/>
                        <a:pt x="19" y="128"/>
                        <a:pt x="19" y="128"/>
                      </a:cubicBezTo>
                      <a:cubicBezTo>
                        <a:pt x="17" y="129"/>
                        <a:pt x="17" y="129"/>
                        <a:pt x="17" y="129"/>
                      </a:cubicBezTo>
                      <a:cubicBezTo>
                        <a:pt x="17" y="131"/>
                        <a:pt x="17" y="131"/>
                        <a:pt x="17" y="131"/>
                      </a:cubicBezTo>
                      <a:cubicBezTo>
                        <a:pt x="16" y="131"/>
                        <a:pt x="16" y="131"/>
                        <a:pt x="16" y="131"/>
                      </a:cubicBezTo>
                      <a:cubicBezTo>
                        <a:pt x="15" y="129"/>
                        <a:pt x="15" y="129"/>
                        <a:pt x="15" y="129"/>
                      </a:cubicBezTo>
                      <a:cubicBezTo>
                        <a:pt x="14" y="126"/>
                        <a:pt x="14" y="126"/>
                        <a:pt x="14" y="126"/>
                      </a:cubicBezTo>
                      <a:cubicBezTo>
                        <a:pt x="15" y="125"/>
                        <a:pt x="15" y="125"/>
                        <a:pt x="15" y="125"/>
                      </a:cubicBezTo>
                      <a:cubicBezTo>
                        <a:pt x="14" y="122"/>
                        <a:pt x="14" y="122"/>
                        <a:pt x="14" y="122"/>
                      </a:cubicBezTo>
                      <a:cubicBezTo>
                        <a:pt x="16" y="121"/>
                        <a:pt x="16" y="121"/>
                        <a:pt x="16" y="121"/>
                      </a:cubicBezTo>
                      <a:cubicBezTo>
                        <a:pt x="15" y="118"/>
                        <a:pt x="15" y="118"/>
                        <a:pt x="15" y="118"/>
                      </a:cubicBezTo>
                      <a:cubicBezTo>
                        <a:pt x="17" y="118"/>
                        <a:pt x="17" y="118"/>
                        <a:pt x="17" y="118"/>
                      </a:cubicBezTo>
                      <a:cubicBezTo>
                        <a:pt x="17" y="116"/>
                        <a:pt x="17" y="116"/>
                        <a:pt x="17" y="116"/>
                      </a:cubicBezTo>
                      <a:cubicBezTo>
                        <a:pt x="16" y="116"/>
                        <a:pt x="16" y="116"/>
                        <a:pt x="16" y="116"/>
                      </a:cubicBezTo>
                      <a:cubicBezTo>
                        <a:pt x="18" y="114"/>
                        <a:pt x="18" y="114"/>
                        <a:pt x="18" y="114"/>
                      </a:cubicBezTo>
                      <a:cubicBezTo>
                        <a:pt x="17" y="113"/>
                        <a:pt x="17" y="113"/>
                        <a:pt x="17" y="113"/>
                      </a:cubicBezTo>
                      <a:cubicBezTo>
                        <a:pt x="18" y="111"/>
                        <a:pt x="18" y="111"/>
                        <a:pt x="18" y="111"/>
                      </a:cubicBezTo>
                      <a:cubicBezTo>
                        <a:pt x="17" y="111"/>
                        <a:pt x="17" y="111"/>
                        <a:pt x="17" y="111"/>
                      </a:cubicBezTo>
                      <a:cubicBezTo>
                        <a:pt x="18" y="108"/>
                        <a:pt x="18" y="108"/>
                        <a:pt x="18" y="108"/>
                      </a:cubicBezTo>
                      <a:cubicBezTo>
                        <a:pt x="18" y="107"/>
                        <a:pt x="18" y="107"/>
                        <a:pt x="18" y="107"/>
                      </a:cubicBezTo>
                      <a:cubicBezTo>
                        <a:pt x="19" y="105"/>
                        <a:pt x="19" y="105"/>
                        <a:pt x="19" y="105"/>
                      </a:cubicBezTo>
                      <a:cubicBezTo>
                        <a:pt x="19" y="102"/>
                        <a:pt x="19" y="102"/>
                        <a:pt x="19" y="102"/>
                      </a:cubicBezTo>
                      <a:cubicBezTo>
                        <a:pt x="21" y="101"/>
                        <a:pt x="21" y="101"/>
                        <a:pt x="21" y="101"/>
                      </a:cubicBezTo>
                      <a:cubicBezTo>
                        <a:pt x="24" y="95"/>
                        <a:pt x="24" y="95"/>
                        <a:pt x="24" y="95"/>
                      </a:cubicBezTo>
                      <a:cubicBezTo>
                        <a:pt x="25" y="94"/>
                        <a:pt x="25" y="94"/>
                        <a:pt x="25" y="94"/>
                      </a:cubicBezTo>
                      <a:cubicBezTo>
                        <a:pt x="25" y="91"/>
                        <a:pt x="25" y="91"/>
                        <a:pt x="25" y="91"/>
                      </a:cubicBezTo>
                      <a:cubicBezTo>
                        <a:pt x="24" y="88"/>
                        <a:pt x="24" y="88"/>
                        <a:pt x="24" y="88"/>
                      </a:cubicBezTo>
                      <a:cubicBezTo>
                        <a:pt x="24" y="86"/>
                        <a:pt x="24" y="86"/>
                        <a:pt x="24" y="86"/>
                      </a:cubicBezTo>
                      <a:cubicBezTo>
                        <a:pt x="23" y="84"/>
                        <a:pt x="23" y="84"/>
                        <a:pt x="23" y="84"/>
                      </a:cubicBezTo>
                      <a:cubicBezTo>
                        <a:pt x="23" y="81"/>
                        <a:pt x="23" y="81"/>
                        <a:pt x="23" y="81"/>
                      </a:cubicBezTo>
                      <a:cubicBezTo>
                        <a:pt x="21" y="80"/>
                        <a:pt x="21" y="80"/>
                        <a:pt x="21" y="80"/>
                      </a:cubicBezTo>
                      <a:cubicBezTo>
                        <a:pt x="22" y="78"/>
                        <a:pt x="22" y="78"/>
                        <a:pt x="22" y="78"/>
                      </a:cubicBezTo>
                      <a:cubicBezTo>
                        <a:pt x="21" y="76"/>
                        <a:pt x="21" y="76"/>
                        <a:pt x="21" y="76"/>
                      </a:cubicBezTo>
                      <a:cubicBezTo>
                        <a:pt x="22" y="74"/>
                        <a:pt x="22" y="74"/>
                        <a:pt x="22" y="74"/>
                      </a:cubicBezTo>
                      <a:cubicBezTo>
                        <a:pt x="21" y="70"/>
                        <a:pt x="21" y="70"/>
                        <a:pt x="21" y="70"/>
                      </a:cubicBezTo>
                      <a:cubicBezTo>
                        <a:pt x="18" y="67"/>
                        <a:pt x="18" y="67"/>
                        <a:pt x="18" y="67"/>
                      </a:cubicBez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13" y="60"/>
                        <a:pt x="13" y="60"/>
                        <a:pt x="13" y="60"/>
                      </a:cubicBezTo>
                      <a:cubicBezTo>
                        <a:pt x="11" y="56"/>
                        <a:pt x="11" y="56"/>
                        <a:pt x="11" y="56"/>
                      </a:cubicBezTo>
                      <a:cubicBezTo>
                        <a:pt x="13" y="55"/>
                        <a:pt x="13" y="55"/>
                        <a:pt x="13" y="55"/>
                      </a:cubicBez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2" y="49"/>
                        <a:pt x="12" y="49"/>
                        <a:pt x="12" y="49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4"/>
                        <a:pt x="15" y="44"/>
                        <a:pt x="15" y="44"/>
                      </a:cubicBezTo>
                      <a:cubicBezTo>
                        <a:pt x="13" y="43"/>
                        <a:pt x="13" y="43"/>
                        <a:pt x="13" y="43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1"/>
                        <a:pt x="5" y="31"/>
                        <a:pt x="5" y="31"/>
                      </a:cubicBez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3" y="28"/>
                        <a:pt x="3" y="28"/>
                        <a:pt x="3" y="28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lose/>
                      <a:moveTo>
                        <a:pt x="28" y="146"/>
                      </a:moveTo>
                      <a:cubicBezTo>
                        <a:pt x="29" y="148"/>
                        <a:pt x="29" y="148"/>
                        <a:pt x="29" y="148"/>
                      </a:cubicBezTo>
                      <a:cubicBezTo>
                        <a:pt x="30" y="147"/>
                        <a:pt x="30" y="147"/>
                        <a:pt x="30" y="147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ubicBezTo>
                        <a:pt x="28" y="146"/>
                        <a:pt x="28" y="146"/>
                        <a:pt x="28" y="146"/>
                      </a:cubicBezTo>
                      <a:close/>
                      <a:moveTo>
                        <a:pt x="22" y="136"/>
                      </a:moveTo>
                      <a:cubicBezTo>
                        <a:pt x="22" y="138"/>
                        <a:pt x="22" y="138"/>
                        <a:pt x="22" y="138"/>
                      </a:cubicBezTo>
                      <a:cubicBezTo>
                        <a:pt x="23" y="137"/>
                        <a:pt x="23" y="137"/>
                        <a:pt x="23" y="137"/>
                      </a:cubicBezTo>
                      <a:cubicBezTo>
                        <a:pt x="23" y="136"/>
                        <a:pt x="23" y="136"/>
                        <a:pt x="23" y="136"/>
                      </a:cubicBezTo>
                      <a:cubicBezTo>
                        <a:pt x="22" y="136"/>
                        <a:pt x="22" y="136"/>
                        <a:pt x="22" y="136"/>
                      </a:cubicBezTo>
                      <a:close/>
                      <a:moveTo>
                        <a:pt x="15" y="131"/>
                      </a:moveTo>
                      <a:cubicBezTo>
                        <a:pt x="15" y="133"/>
                        <a:pt x="15" y="133"/>
                        <a:pt x="15" y="133"/>
                      </a:cubicBezTo>
                      <a:cubicBezTo>
                        <a:pt x="15" y="133"/>
                        <a:pt x="15" y="133"/>
                        <a:pt x="15" y="133"/>
                      </a:cubicBezTo>
                      <a:cubicBezTo>
                        <a:pt x="15" y="135"/>
                        <a:pt x="15" y="135"/>
                        <a:pt x="15" y="135"/>
                      </a:cubicBezTo>
                      <a:cubicBezTo>
                        <a:pt x="16" y="134"/>
                        <a:pt x="16" y="134"/>
                        <a:pt x="16" y="134"/>
                      </a:cubicBezTo>
                      <a:cubicBezTo>
                        <a:pt x="16" y="131"/>
                        <a:pt x="16" y="131"/>
                        <a:pt x="16" y="131"/>
                      </a:cubicBezTo>
                      <a:cubicBezTo>
                        <a:pt x="16" y="131"/>
                        <a:pt x="15" y="131"/>
                        <a:pt x="15" y="131"/>
                      </a:cubicBezTo>
                      <a:close/>
                      <a:moveTo>
                        <a:pt x="50" y="89"/>
                      </a:moveTo>
                      <a:cubicBezTo>
                        <a:pt x="51" y="90"/>
                        <a:pt x="51" y="90"/>
                        <a:pt x="51" y="90"/>
                      </a:cubicBezTo>
                      <a:cubicBezTo>
                        <a:pt x="52" y="92"/>
                        <a:pt x="52" y="92"/>
                        <a:pt x="52" y="92"/>
                      </a:cubicBezTo>
                      <a:cubicBezTo>
                        <a:pt x="53" y="91"/>
                        <a:pt x="53" y="91"/>
                        <a:pt x="53" y="91"/>
                      </a:cubicBezTo>
                      <a:cubicBezTo>
                        <a:pt x="50" y="89"/>
                        <a:pt x="50" y="89"/>
                        <a:pt x="50" y="89"/>
                      </a:cubicBezTo>
                      <a:close/>
                      <a:moveTo>
                        <a:pt x="31" y="113"/>
                      </a:moveTo>
                      <a:cubicBezTo>
                        <a:pt x="30" y="114"/>
                        <a:pt x="30" y="114"/>
                        <a:pt x="30" y="114"/>
                      </a:cubicBezTo>
                      <a:cubicBezTo>
                        <a:pt x="31" y="114"/>
                        <a:pt x="31" y="114"/>
                        <a:pt x="31" y="114"/>
                      </a:cubicBezTo>
                      <a:cubicBezTo>
                        <a:pt x="31" y="113"/>
                        <a:pt x="31" y="113"/>
                        <a:pt x="31" y="113"/>
                      </a:cubicBezTo>
                      <a:close/>
                      <a:moveTo>
                        <a:pt x="32" y="115"/>
                      </a:moveTo>
                      <a:cubicBezTo>
                        <a:pt x="30" y="116"/>
                        <a:pt x="30" y="116"/>
                        <a:pt x="30" y="116"/>
                      </a:cubicBezTo>
                      <a:cubicBezTo>
                        <a:pt x="31" y="117"/>
                        <a:pt x="31" y="117"/>
                        <a:pt x="31" y="117"/>
                      </a:cubicBezTo>
                      <a:cubicBezTo>
                        <a:pt x="32" y="119"/>
                        <a:pt x="32" y="119"/>
                        <a:pt x="32" y="119"/>
                      </a:cubicBezTo>
                      <a:cubicBezTo>
                        <a:pt x="32" y="117"/>
                        <a:pt x="32" y="117"/>
                        <a:pt x="32" y="117"/>
                      </a:cubicBezTo>
                      <a:lnTo>
                        <a:pt x="32" y="1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5" name="Freeform 179">
                  <a:extLst>
                    <a:ext uri="{FF2B5EF4-FFF2-40B4-BE49-F238E27FC236}">
                      <a16:creationId xmlns:a16="http://schemas.microsoft.com/office/drawing/2014/main" xmlns="" id="{DA9DED52-ABA3-4F60-86FF-D9CC44EF94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09" y="1572"/>
                  <a:ext cx="141" cy="323"/>
                </a:xfrm>
                <a:custGeom>
                  <a:avLst/>
                  <a:gdLst>
                    <a:gd name="T0" fmla="*/ 77 w 141"/>
                    <a:gd name="T1" fmla="*/ 3 h 323"/>
                    <a:gd name="T2" fmla="*/ 90 w 141"/>
                    <a:gd name="T3" fmla="*/ 24 h 323"/>
                    <a:gd name="T4" fmla="*/ 85 w 141"/>
                    <a:gd name="T5" fmla="*/ 46 h 323"/>
                    <a:gd name="T6" fmla="*/ 79 w 141"/>
                    <a:gd name="T7" fmla="*/ 55 h 323"/>
                    <a:gd name="T8" fmla="*/ 82 w 141"/>
                    <a:gd name="T9" fmla="*/ 68 h 323"/>
                    <a:gd name="T10" fmla="*/ 97 w 141"/>
                    <a:gd name="T11" fmla="*/ 77 h 323"/>
                    <a:gd name="T12" fmla="*/ 103 w 141"/>
                    <a:gd name="T13" fmla="*/ 88 h 323"/>
                    <a:gd name="T14" fmla="*/ 116 w 141"/>
                    <a:gd name="T15" fmla="*/ 91 h 323"/>
                    <a:gd name="T16" fmla="*/ 108 w 141"/>
                    <a:gd name="T17" fmla="*/ 109 h 323"/>
                    <a:gd name="T18" fmla="*/ 120 w 141"/>
                    <a:gd name="T19" fmla="*/ 116 h 323"/>
                    <a:gd name="T20" fmla="*/ 141 w 141"/>
                    <a:gd name="T21" fmla="*/ 116 h 323"/>
                    <a:gd name="T22" fmla="*/ 131 w 141"/>
                    <a:gd name="T23" fmla="*/ 132 h 323"/>
                    <a:gd name="T24" fmla="*/ 116 w 141"/>
                    <a:gd name="T25" fmla="*/ 142 h 323"/>
                    <a:gd name="T26" fmla="*/ 110 w 141"/>
                    <a:gd name="T27" fmla="*/ 153 h 323"/>
                    <a:gd name="T28" fmla="*/ 92 w 141"/>
                    <a:gd name="T29" fmla="*/ 165 h 323"/>
                    <a:gd name="T30" fmla="*/ 89 w 141"/>
                    <a:gd name="T31" fmla="*/ 180 h 323"/>
                    <a:gd name="T32" fmla="*/ 105 w 141"/>
                    <a:gd name="T33" fmla="*/ 201 h 323"/>
                    <a:gd name="T34" fmla="*/ 107 w 141"/>
                    <a:gd name="T35" fmla="*/ 219 h 323"/>
                    <a:gd name="T36" fmla="*/ 111 w 141"/>
                    <a:gd name="T37" fmla="*/ 245 h 323"/>
                    <a:gd name="T38" fmla="*/ 121 w 141"/>
                    <a:gd name="T39" fmla="*/ 269 h 323"/>
                    <a:gd name="T40" fmla="*/ 128 w 141"/>
                    <a:gd name="T41" fmla="*/ 292 h 323"/>
                    <a:gd name="T42" fmla="*/ 116 w 141"/>
                    <a:gd name="T43" fmla="*/ 315 h 323"/>
                    <a:gd name="T44" fmla="*/ 111 w 141"/>
                    <a:gd name="T45" fmla="*/ 312 h 323"/>
                    <a:gd name="T46" fmla="*/ 115 w 141"/>
                    <a:gd name="T47" fmla="*/ 302 h 323"/>
                    <a:gd name="T48" fmla="*/ 115 w 141"/>
                    <a:gd name="T49" fmla="*/ 287 h 323"/>
                    <a:gd name="T50" fmla="*/ 111 w 141"/>
                    <a:gd name="T51" fmla="*/ 265 h 323"/>
                    <a:gd name="T52" fmla="*/ 105 w 141"/>
                    <a:gd name="T53" fmla="*/ 258 h 323"/>
                    <a:gd name="T54" fmla="*/ 98 w 141"/>
                    <a:gd name="T55" fmla="*/ 238 h 323"/>
                    <a:gd name="T56" fmla="*/ 93 w 141"/>
                    <a:gd name="T57" fmla="*/ 216 h 323"/>
                    <a:gd name="T58" fmla="*/ 90 w 141"/>
                    <a:gd name="T59" fmla="*/ 211 h 323"/>
                    <a:gd name="T60" fmla="*/ 80 w 141"/>
                    <a:gd name="T61" fmla="*/ 196 h 323"/>
                    <a:gd name="T62" fmla="*/ 80 w 141"/>
                    <a:gd name="T63" fmla="*/ 199 h 323"/>
                    <a:gd name="T64" fmla="*/ 71 w 141"/>
                    <a:gd name="T65" fmla="*/ 206 h 323"/>
                    <a:gd name="T66" fmla="*/ 67 w 141"/>
                    <a:gd name="T67" fmla="*/ 212 h 323"/>
                    <a:gd name="T68" fmla="*/ 53 w 141"/>
                    <a:gd name="T69" fmla="*/ 219 h 323"/>
                    <a:gd name="T70" fmla="*/ 44 w 141"/>
                    <a:gd name="T71" fmla="*/ 222 h 323"/>
                    <a:gd name="T72" fmla="*/ 41 w 141"/>
                    <a:gd name="T73" fmla="*/ 217 h 323"/>
                    <a:gd name="T74" fmla="*/ 44 w 141"/>
                    <a:gd name="T75" fmla="*/ 196 h 323"/>
                    <a:gd name="T76" fmla="*/ 38 w 141"/>
                    <a:gd name="T77" fmla="*/ 178 h 323"/>
                    <a:gd name="T78" fmla="*/ 28 w 141"/>
                    <a:gd name="T79" fmla="*/ 162 h 323"/>
                    <a:gd name="T80" fmla="*/ 18 w 141"/>
                    <a:gd name="T81" fmla="*/ 160 h 323"/>
                    <a:gd name="T82" fmla="*/ 25 w 141"/>
                    <a:gd name="T83" fmla="*/ 162 h 323"/>
                    <a:gd name="T84" fmla="*/ 25 w 141"/>
                    <a:gd name="T85" fmla="*/ 150 h 323"/>
                    <a:gd name="T86" fmla="*/ 12 w 141"/>
                    <a:gd name="T87" fmla="*/ 147 h 323"/>
                    <a:gd name="T88" fmla="*/ 10 w 141"/>
                    <a:gd name="T89" fmla="*/ 145 h 323"/>
                    <a:gd name="T90" fmla="*/ 0 w 141"/>
                    <a:gd name="T91" fmla="*/ 127 h 323"/>
                    <a:gd name="T92" fmla="*/ 9 w 141"/>
                    <a:gd name="T93" fmla="*/ 113 h 323"/>
                    <a:gd name="T94" fmla="*/ 15 w 141"/>
                    <a:gd name="T95" fmla="*/ 96 h 323"/>
                    <a:gd name="T96" fmla="*/ 23 w 141"/>
                    <a:gd name="T97" fmla="*/ 78 h 323"/>
                    <a:gd name="T98" fmla="*/ 31 w 141"/>
                    <a:gd name="T99" fmla="*/ 46 h 323"/>
                    <a:gd name="T100" fmla="*/ 44 w 141"/>
                    <a:gd name="T101" fmla="*/ 19 h 323"/>
                    <a:gd name="T102" fmla="*/ 61 w 141"/>
                    <a:gd name="T103" fmla="*/ 11 h 323"/>
                    <a:gd name="T104" fmla="*/ 20 w 141"/>
                    <a:gd name="T105" fmla="*/ 171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1" h="323">
                      <a:moveTo>
                        <a:pt x="62" y="0"/>
                      </a:moveTo>
                      <a:lnTo>
                        <a:pt x="66" y="0"/>
                      </a:lnTo>
                      <a:lnTo>
                        <a:pt x="69" y="1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77" y="3"/>
                      </a:lnTo>
                      <a:lnTo>
                        <a:pt x="80" y="6"/>
                      </a:lnTo>
                      <a:lnTo>
                        <a:pt x="82" y="11"/>
                      </a:lnTo>
                      <a:lnTo>
                        <a:pt x="84" y="11"/>
                      </a:lnTo>
                      <a:lnTo>
                        <a:pt x="87" y="15"/>
                      </a:lnTo>
                      <a:lnTo>
                        <a:pt x="87" y="19"/>
                      </a:lnTo>
                      <a:lnTo>
                        <a:pt x="90" y="24"/>
                      </a:lnTo>
                      <a:lnTo>
                        <a:pt x="90" y="29"/>
                      </a:lnTo>
                      <a:lnTo>
                        <a:pt x="89" y="36"/>
                      </a:lnTo>
                      <a:lnTo>
                        <a:pt x="89" y="39"/>
                      </a:lnTo>
                      <a:lnTo>
                        <a:pt x="89" y="42"/>
                      </a:lnTo>
                      <a:lnTo>
                        <a:pt x="85" y="42"/>
                      </a:lnTo>
                      <a:lnTo>
                        <a:pt x="85" y="46"/>
                      </a:lnTo>
                      <a:lnTo>
                        <a:pt x="84" y="47"/>
                      </a:lnTo>
                      <a:lnTo>
                        <a:pt x="84" y="49"/>
                      </a:lnTo>
                      <a:lnTo>
                        <a:pt x="84" y="52"/>
                      </a:lnTo>
                      <a:lnTo>
                        <a:pt x="84" y="54"/>
                      </a:lnTo>
                      <a:lnTo>
                        <a:pt x="80" y="54"/>
                      </a:lnTo>
                      <a:lnTo>
                        <a:pt x="79" y="55"/>
                      </a:lnTo>
                      <a:lnTo>
                        <a:pt x="77" y="59"/>
                      </a:lnTo>
                      <a:lnTo>
                        <a:pt x="79" y="60"/>
                      </a:lnTo>
                      <a:lnTo>
                        <a:pt x="77" y="62"/>
                      </a:lnTo>
                      <a:lnTo>
                        <a:pt x="77" y="65"/>
                      </a:lnTo>
                      <a:lnTo>
                        <a:pt x="80" y="67"/>
                      </a:lnTo>
                      <a:lnTo>
                        <a:pt x="82" y="68"/>
                      </a:lnTo>
                      <a:lnTo>
                        <a:pt x="84" y="70"/>
                      </a:lnTo>
                      <a:lnTo>
                        <a:pt x="84" y="75"/>
                      </a:lnTo>
                      <a:lnTo>
                        <a:pt x="85" y="78"/>
                      </a:lnTo>
                      <a:lnTo>
                        <a:pt x="89" y="75"/>
                      </a:lnTo>
                      <a:lnTo>
                        <a:pt x="95" y="73"/>
                      </a:lnTo>
                      <a:lnTo>
                        <a:pt x="97" y="77"/>
                      </a:lnTo>
                      <a:lnTo>
                        <a:pt x="95" y="78"/>
                      </a:lnTo>
                      <a:lnTo>
                        <a:pt x="97" y="80"/>
                      </a:lnTo>
                      <a:lnTo>
                        <a:pt x="102" y="80"/>
                      </a:lnTo>
                      <a:lnTo>
                        <a:pt x="102" y="82"/>
                      </a:lnTo>
                      <a:lnTo>
                        <a:pt x="102" y="85"/>
                      </a:lnTo>
                      <a:lnTo>
                        <a:pt x="103" y="88"/>
                      </a:lnTo>
                      <a:lnTo>
                        <a:pt x="107" y="88"/>
                      </a:lnTo>
                      <a:lnTo>
                        <a:pt x="107" y="90"/>
                      </a:lnTo>
                      <a:lnTo>
                        <a:pt x="107" y="91"/>
                      </a:lnTo>
                      <a:lnTo>
                        <a:pt x="108" y="91"/>
                      </a:lnTo>
                      <a:lnTo>
                        <a:pt x="113" y="90"/>
                      </a:lnTo>
                      <a:lnTo>
                        <a:pt x="116" y="91"/>
                      </a:lnTo>
                      <a:lnTo>
                        <a:pt x="116" y="95"/>
                      </a:lnTo>
                      <a:lnTo>
                        <a:pt x="115" y="98"/>
                      </a:lnTo>
                      <a:lnTo>
                        <a:pt x="115" y="100"/>
                      </a:lnTo>
                      <a:lnTo>
                        <a:pt x="111" y="104"/>
                      </a:lnTo>
                      <a:lnTo>
                        <a:pt x="108" y="108"/>
                      </a:lnTo>
                      <a:lnTo>
                        <a:pt x="108" y="109"/>
                      </a:lnTo>
                      <a:lnTo>
                        <a:pt x="111" y="109"/>
                      </a:lnTo>
                      <a:lnTo>
                        <a:pt x="116" y="109"/>
                      </a:lnTo>
                      <a:lnTo>
                        <a:pt x="116" y="111"/>
                      </a:lnTo>
                      <a:lnTo>
                        <a:pt x="120" y="108"/>
                      </a:lnTo>
                      <a:lnTo>
                        <a:pt x="121" y="111"/>
                      </a:lnTo>
                      <a:lnTo>
                        <a:pt x="120" y="116"/>
                      </a:lnTo>
                      <a:lnTo>
                        <a:pt x="121" y="119"/>
                      </a:lnTo>
                      <a:lnTo>
                        <a:pt x="125" y="121"/>
                      </a:lnTo>
                      <a:lnTo>
                        <a:pt x="126" y="117"/>
                      </a:lnTo>
                      <a:lnTo>
                        <a:pt x="131" y="117"/>
                      </a:lnTo>
                      <a:lnTo>
                        <a:pt x="138" y="116"/>
                      </a:lnTo>
                      <a:lnTo>
                        <a:pt x="141" y="116"/>
                      </a:lnTo>
                      <a:lnTo>
                        <a:pt x="141" y="119"/>
                      </a:lnTo>
                      <a:lnTo>
                        <a:pt x="136" y="122"/>
                      </a:lnTo>
                      <a:lnTo>
                        <a:pt x="131" y="124"/>
                      </a:lnTo>
                      <a:lnTo>
                        <a:pt x="131" y="127"/>
                      </a:lnTo>
                      <a:lnTo>
                        <a:pt x="129" y="129"/>
                      </a:lnTo>
                      <a:lnTo>
                        <a:pt x="131" y="132"/>
                      </a:lnTo>
                      <a:lnTo>
                        <a:pt x="128" y="134"/>
                      </a:lnTo>
                      <a:lnTo>
                        <a:pt x="126" y="134"/>
                      </a:lnTo>
                      <a:lnTo>
                        <a:pt x="125" y="139"/>
                      </a:lnTo>
                      <a:lnTo>
                        <a:pt x="120" y="139"/>
                      </a:lnTo>
                      <a:lnTo>
                        <a:pt x="116" y="140"/>
                      </a:lnTo>
                      <a:lnTo>
                        <a:pt x="116" y="142"/>
                      </a:lnTo>
                      <a:lnTo>
                        <a:pt x="118" y="145"/>
                      </a:lnTo>
                      <a:lnTo>
                        <a:pt x="116" y="147"/>
                      </a:lnTo>
                      <a:lnTo>
                        <a:pt x="113" y="145"/>
                      </a:lnTo>
                      <a:lnTo>
                        <a:pt x="110" y="147"/>
                      </a:lnTo>
                      <a:lnTo>
                        <a:pt x="110" y="152"/>
                      </a:lnTo>
                      <a:lnTo>
                        <a:pt x="110" y="153"/>
                      </a:lnTo>
                      <a:lnTo>
                        <a:pt x="107" y="153"/>
                      </a:lnTo>
                      <a:lnTo>
                        <a:pt x="102" y="157"/>
                      </a:lnTo>
                      <a:lnTo>
                        <a:pt x="97" y="153"/>
                      </a:lnTo>
                      <a:lnTo>
                        <a:pt x="93" y="157"/>
                      </a:lnTo>
                      <a:lnTo>
                        <a:pt x="95" y="163"/>
                      </a:lnTo>
                      <a:lnTo>
                        <a:pt x="92" y="165"/>
                      </a:lnTo>
                      <a:lnTo>
                        <a:pt x="92" y="170"/>
                      </a:lnTo>
                      <a:lnTo>
                        <a:pt x="93" y="173"/>
                      </a:lnTo>
                      <a:lnTo>
                        <a:pt x="90" y="175"/>
                      </a:lnTo>
                      <a:lnTo>
                        <a:pt x="87" y="176"/>
                      </a:lnTo>
                      <a:lnTo>
                        <a:pt x="87" y="180"/>
                      </a:lnTo>
                      <a:lnTo>
                        <a:pt x="89" y="180"/>
                      </a:lnTo>
                      <a:lnTo>
                        <a:pt x="92" y="184"/>
                      </a:lnTo>
                      <a:lnTo>
                        <a:pt x="93" y="186"/>
                      </a:lnTo>
                      <a:lnTo>
                        <a:pt x="95" y="189"/>
                      </a:lnTo>
                      <a:lnTo>
                        <a:pt x="98" y="193"/>
                      </a:lnTo>
                      <a:lnTo>
                        <a:pt x="103" y="201"/>
                      </a:lnTo>
                      <a:lnTo>
                        <a:pt x="105" y="201"/>
                      </a:lnTo>
                      <a:lnTo>
                        <a:pt x="107" y="206"/>
                      </a:lnTo>
                      <a:lnTo>
                        <a:pt x="108" y="209"/>
                      </a:lnTo>
                      <a:lnTo>
                        <a:pt x="111" y="211"/>
                      </a:lnTo>
                      <a:lnTo>
                        <a:pt x="111" y="214"/>
                      </a:lnTo>
                      <a:lnTo>
                        <a:pt x="108" y="216"/>
                      </a:lnTo>
                      <a:lnTo>
                        <a:pt x="107" y="219"/>
                      </a:lnTo>
                      <a:lnTo>
                        <a:pt x="108" y="227"/>
                      </a:lnTo>
                      <a:lnTo>
                        <a:pt x="108" y="229"/>
                      </a:lnTo>
                      <a:lnTo>
                        <a:pt x="105" y="230"/>
                      </a:lnTo>
                      <a:lnTo>
                        <a:pt x="108" y="237"/>
                      </a:lnTo>
                      <a:lnTo>
                        <a:pt x="108" y="240"/>
                      </a:lnTo>
                      <a:lnTo>
                        <a:pt x="111" y="245"/>
                      </a:lnTo>
                      <a:lnTo>
                        <a:pt x="116" y="248"/>
                      </a:lnTo>
                      <a:lnTo>
                        <a:pt x="121" y="253"/>
                      </a:lnTo>
                      <a:lnTo>
                        <a:pt x="123" y="260"/>
                      </a:lnTo>
                      <a:lnTo>
                        <a:pt x="121" y="263"/>
                      </a:lnTo>
                      <a:lnTo>
                        <a:pt x="123" y="266"/>
                      </a:lnTo>
                      <a:lnTo>
                        <a:pt x="121" y="269"/>
                      </a:lnTo>
                      <a:lnTo>
                        <a:pt x="125" y="271"/>
                      </a:lnTo>
                      <a:lnTo>
                        <a:pt x="125" y="276"/>
                      </a:lnTo>
                      <a:lnTo>
                        <a:pt x="126" y="279"/>
                      </a:lnTo>
                      <a:lnTo>
                        <a:pt x="126" y="283"/>
                      </a:lnTo>
                      <a:lnTo>
                        <a:pt x="128" y="287"/>
                      </a:lnTo>
                      <a:lnTo>
                        <a:pt x="128" y="292"/>
                      </a:lnTo>
                      <a:lnTo>
                        <a:pt x="126" y="294"/>
                      </a:lnTo>
                      <a:lnTo>
                        <a:pt x="121" y="304"/>
                      </a:lnTo>
                      <a:lnTo>
                        <a:pt x="118" y="305"/>
                      </a:lnTo>
                      <a:lnTo>
                        <a:pt x="118" y="310"/>
                      </a:lnTo>
                      <a:lnTo>
                        <a:pt x="116" y="314"/>
                      </a:lnTo>
                      <a:lnTo>
                        <a:pt x="116" y="315"/>
                      </a:lnTo>
                      <a:lnTo>
                        <a:pt x="116" y="315"/>
                      </a:lnTo>
                      <a:lnTo>
                        <a:pt x="115" y="318"/>
                      </a:lnTo>
                      <a:lnTo>
                        <a:pt x="115" y="323"/>
                      </a:lnTo>
                      <a:lnTo>
                        <a:pt x="113" y="318"/>
                      </a:lnTo>
                      <a:lnTo>
                        <a:pt x="113" y="314"/>
                      </a:lnTo>
                      <a:lnTo>
                        <a:pt x="111" y="312"/>
                      </a:lnTo>
                      <a:lnTo>
                        <a:pt x="111" y="310"/>
                      </a:lnTo>
                      <a:lnTo>
                        <a:pt x="113" y="310"/>
                      </a:lnTo>
                      <a:lnTo>
                        <a:pt x="113" y="309"/>
                      </a:lnTo>
                      <a:lnTo>
                        <a:pt x="115" y="305"/>
                      </a:lnTo>
                      <a:lnTo>
                        <a:pt x="115" y="304"/>
                      </a:lnTo>
                      <a:lnTo>
                        <a:pt x="115" y="302"/>
                      </a:lnTo>
                      <a:lnTo>
                        <a:pt x="115" y="297"/>
                      </a:lnTo>
                      <a:lnTo>
                        <a:pt x="116" y="297"/>
                      </a:lnTo>
                      <a:lnTo>
                        <a:pt x="116" y="296"/>
                      </a:lnTo>
                      <a:lnTo>
                        <a:pt x="115" y="291"/>
                      </a:lnTo>
                      <a:lnTo>
                        <a:pt x="118" y="289"/>
                      </a:lnTo>
                      <a:lnTo>
                        <a:pt x="115" y="287"/>
                      </a:lnTo>
                      <a:lnTo>
                        <a:pt x="113" y="284"/>
                      </a:lnTo>
                      <a:lnTo>
                        <a:pt x="113" y="281"/>
                      </a:lnTo>
                      <a:lnTo>
                        <a:pt x="115" y="279"/>
                      </a:lnTo>
                      <a:lnTo>
                        <a:pt x="113" y="276"/>
                      </a:lnTo>
                      <a:lnTo>
                        <a:pt x="111" y="274"/>
                      </a:lnTo>
                      <a:lnTo>
                        <a:pt x="111" y="265"/>
                      </a:lnTo>
                      <a:lnTo>
                        <a:pt x="108" y="263"/>
                      </a:lnTo>
                      <a:lnTo>
                        <a:pt x="108" y="260"/>
                      </a:lnTo>
                      <a:lnTo>
                        <a:pt x="107" y="255"/>
                      </a:lnTo>
                      <a:lnTo>
                        <a:pt x="105" y="261"/>
                      </a:lnTo>
                      <a:lnTo>
                        <a:pt x="105" y="261"/>
                      </a:lnTo>
                      <a:lnTo>
                        <a:pt x="105" y="258"/>
                      </a:lnTo>
                      <a:lnTo>
                        <a:pt x="103" y="255"/>
                      </a:lnTo>
                      <a:lnTo>
                        <a:pt x="103" y="248"/>
                      </a:lnTo>
                      <a:lnTo>
                        <a:pt x="102" y="245"/>
                      </a:lnTo>
                      <a:lnTo>
                        <a:pt x="100" y="242"/>
                      </a:lnTo>
                      <a:lnTo>
                        <a:pt x="102" y="242"/>
                      </a:lnTo>
                      <a:lnTo>
                        <a:pt x="98" y="238"/>
                      </a:lnTo>
                      <a:lnTo>
                        <a:pt x="98" y="234"/>
                      </a:lnTo>
                      <a:lnTo>
                        <a:pt x="97" y="234"/>
                      </a:lnTo>
                      <a:lnTo>
                        <a:pt x="95" y="220"/>
                      </a:lnTo>
                      <a:lnTo>
                        <a:pt x="93" y="220"/>
                      </a:lnTo>
                      <a:lnTo>
                        <a:pt x="93" y="217"/>
                      </a:lnTo>
                      <a:lnTo>
                        <a:pt x="93" y="216"/>
                      </a:lnTo>
                      <a:lnTo>
                        <a:pt x="93" y="214"/>
                      </a:lnTo>
                      <a:lnTo>
                        <a:pt x="92" y="211"/>
                      </a:lnTo>
                      <a:lnTo>
                        <a:pt x="93" y="209"/>
                      </a:lnTo>
                      <a:lnTo>
                        <a:pt x="93" y="207"/>
                      </a:lnTo>
                      <a:lnTo>
                        <a:pt x="92" y="209"/>
                      </a:lnTo>
                      <a:lnTo>
                        <a:pt x="90" y="211"/>
                      </a:lnTo>
                      <a:lnTo>
                        <a:pt x="87" y="211"/>
                      </a:lnTo>
                      <a:lnTo>
                        <a:pt x="87" y="206"/>
                      </a:lnTo>
                      <a:lnTo>
                        <a:pt x="85" y="204"/>
                      </a:lnTo>
                      <a:lnTo>
                        <a:pt x="82" y="198"/>
                      </a:lnTo>
                      <a:lnTo>
                        <a:pt x="82" y="196"/>
                      </a:lnTo>
                      <a:lnTo>
                        <a:pt x="80" y="196"/>
                      </a:lnTo>
                      <a:lnTo>
                        <a:pt x="80" y="194"/>
                      </a:lnTo>
                      <a:lnTo>
                        <a:pt x="77" y="193"/>
                      </a:lnTo>
                      <a:lnTo>
                        <a:pt x="79" y="194"/>
                      </a:lnTo>
                      <a:lnTo>
                        <a:pt x="79" y="196"/>
                      </a:lnTo>
                      <a:lnTo>
                        <a:pt x="77" y="198"/>
                      </a:lnTo>
                      <a:lnTo>
                        <a:pt x="80" y="199"/>
                      </a:lnTo>
                      <a:lnTo>
                        <a:pt x="79" y="202"/>
                      </a:lnTo>
                      <a:lnTo>
                        <a:pt x="77" y="204"/>
                      </a:lnTo>
                      <a:lnTo>
                        <a:pt x="79" y="206"/>
                      </a:lnTo>
                      <a:lnTo>
                        <a:pt x="74" y="209"/>
                      </a:lnTo>
                      <a:lnTo>
                        <a:pt x="72" y="209"/>
                      </a:lnTo>
                      <a:lnTo>
                        <a:pt x="71" y="206"/>
                      </a:lnTo>
                      <a:lnTo>
                        <a:pt x="69" y="206"/>
                      </a:lnTo>
                      <a:lnTo>
                        <a:pt x="71" y="209"/>
                      </a:lnTo>
                      <a:lnTo>
                        <a:pt x="71" y="211"/>
                      </a:lnTo>
                      <a:lnTo>
                        <a:pt x="72" y="211"/>
                      </a:lnTo>
                      <a:lnTo>
                        <a:pt x="69" y="212"/>
                      </a:lnTo>
                      <a:lnTo>
                        <a:pt x="67" y="212"/>
                      </a:lnTo>
                      <a:lnTo>
                        <a:pt x="66" y="212"/>
                      </a:lnTo>
                      <a:lnTo>
                        <a:pt x="64" y="214"/>
                      </a:lnTo>
                      <a:lnTo>
                        <a:pt x="58" y="219"/>
                      </a:lnTo>
                      <a:lnTo>
                        <a:pt x="54" y="219"/>
                      </a:lnTo>
                      <a:lnTo>
                        <a:pt x="54" y="219"/>
                      </a:lnTo>
                      <a:lnTo>
                        <a:pt x="53" y="219"/>
                      </a:lnTo>
                      <a:lnTo>
                        <a:pt x="53" y="219"/>
                      </a:lnTo>
                      <a:lnTo>
                        <a:pt x="53" y="220"/>
                      </a:lnTo>
                      <a:lnTo>
                        <a:pt x="51" y="220"/>
                      </a:lnTo>
                      <a:lnTo>
                        <a:pt x="49" y="219"/>
                      </a:lnTo>
                      <a:lnTo>
                        <a:pt x="44" y="220"/>
                      </a:lnTo>
                      <a:lnTo>
                        <a:pt x="44" y="222"/>
                      </a:lnTo>
                      <a:lnTo>
                        <a:pt x="43" y="222"/>
                      </a:lnTo>
                      <a:lnTo>
                        <a:pt x="43" y="219"/>
                      </a:lnTo>
                      <a:lnTo>
                        <a:pt x="46" y="214"/>
                      </a:lnTo>
                      <a:lnTo>
                        <a:pt x="46" y="209"/>
                      </a:lnTo>
                      <a:lnTo>
                        <a:pt x="44" y="214"/>
                      </a:lnTo>
                      <a:lnTo>
                        <a:pt x="41" y="217"/>
                      </a:lnTo>
                      <a:lnTo>
                        <a:pt x="40" y="220"/>
                      </a:lnTo>
                      <a:lnTo>
                        <a:pt x="38" y="219"/>
                      </a:lnTo>
                      <a:lnTo>
                        <a:pt x="40" y="219"/>
                      </a:lnTo>
                      <a:lnTo>
                        <a:pt x="38" y="214"/>
                      </a:lnTo>
                      <a:lnTo>
                        <a:pt x="41" y="199"/>
                      </a:lnTo>
                      <a:lnTo>
                        <a:pt x="44" y="196"/>
                      </a:lnTo>
                      <a:lnTo>
                        <a:pt x="43" y="194"/>
                      </a:lnTo>
                      <a:lnTo>
                        <a:pt x="40" y="188"/>
                      </a:lnTo>
                      <a:lnTo>
                        <a:pt x="40" y="181"/>
                      </a:lnTo>
                      <a:lnTo>
                        <a:pt x="38" y="181"/>
                      </a:lnTo>
                      <a:lnTo>
                        <a:pt x="38" y="180"/>
                      </a:lnTo>
                      <a:lnTo>
                        <a:pt x="38" y="178"/>
                      </a:lnTo>
                      <a:lnTo>
                        <a:pt x="36" y="176"/>
                      </a:lnTo>
                      <a:lnTo>
                        <a:pt x="35" y="171"/>
                      </a:lnTo>
                      <a:lnTo>
                        <a:pt x="33" y="170"/>
                      </a:lnTo>
                      <a:lnTo>
                        <a:pt x="31" y="167"/>
                      </a:lnTo>
                      <a:lnTo>
                        <a:pt x="31" y="163"/>
                      </a:lnTo>
                      <a:lnTo>
                        <a:pt x="28" y="162"/>
                      </a:lnTo>
                      <a:lnTo>
                        <a:pt x="30" y="165"/>
                      </a:lnTo>
                      <a:lnTo>
                        <a:pt x="30" y="170"/>
                      </a:lnTo>
                      <a:lnTo>
                        <a:pt x="25" y="168"/>
                      </a:lnTo>
                      <a:lnTo>
                        <a:pt x="22" y="165"/>
                      </a:lnTo>
                      <a:lnTo>
                        <a:pt x="22" y="163"/>
                      </a:lnTo>
                      <a:lnTo>
                        <a:pt x="18" y="160"/>
                      </a:lnTo>
                      <a:lnTo>
                        <a:pt x="18" y="158"/>
                      </a:lnTo>
                      <a:lnTo>
                        <a:pt x="20" y="158"/>
                      </a:lnTo>
                      <a:lnTo>
                        <a:pt x="22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25" y="162"/>
                      </a:lnTo>
                      <a:lnTo>
                        <a:pt x="22" y="158"/>
                      </a:lnTo>
                      <a:lnTo>
                        <a:pt x="25" y="157"/>
                      </a:lnTo>
                      <a:lnTo>
                        <a:pt x="27" y="158"/>
                      </a:lnTo>
                      <a:lnTo>
                        <a:pt x="28" y="158"/>
                      </a:lnTo>
                      <a:lnTo>
                        <a:pt x="28" y="155"/>
                      </a:lnTo>
                      <a:lnTo>
                        <a:pt x="25" y="150"/>
                      </a:lnTo>
                      <a:lnTo>
                        <a:pt x="20" y="150"/>
                      </a:lnTo>
                      <a:lnTo>
                        <a:pt x="18" y="149"/>
                      </a:lnTo>
                      <a:lnTo>
                        <a:pt x="15" y="147"/>
                      </a:lnTo>
                      <a:lnTo>
                        <a:pt x="15" y="145"/>
                      </a:lnTo>
                      <a:lnTo>
                        <a:pt x="15" y="147"/>
                      </a:lnTo>
                      <a:lnTo>
                        <a:pt x="12" y="147"/>
                      </a:lnTo>
                      <a:lnTo>
                        <a:pt x="12" y="147"/>
                      </a:lnTo>
                      <a:lnTo>
                        <a:pt x="13" y="144"/>
                      </a:lnTo>
                      <a:lnTo>
                        <a:pt x="10" y="144"/>
                      </a:lnTo>
                      <a:lnTo>
                        <a:pt x="9" y="142"/>
                      </a:lnTo>
                      <a:lnTo>
                        <a:pt x="9" y="144"/>
                      </a:lnTo>
                      <a:lnTo>
                        <a:pt x="10" y="145"/>
                      </a:lnTo>
                      <a:lnTo>
                        <a:pt x="4" y="140"/>
                      </a:lnTo>
                      <a:lnTo>
                        <a:pt x="2" y="135"/>
                      </a:lnTo>
                      <a:lnTo>
                        <a:pt x="0" y="132"/>
                      </a:lnTo>
                      <a:lnTo>
                        <a:pt x="0" y="132"/>
                      </a:lnTo>
                      <a:lnTo>
                        <a:pt x="0" y="131"/>
                      </a:lnTo>
                      <a:lnTo>
                        <a:pt x="0" y="127"/>
                      </a:lnTo>
                      <a:lnTo>
                        <a:pt x="4" y="124"/>
                      </a:lnTo>
                      <a:lnTo>
                        <a:pt x="5" y="124"/>
                      </a:lnTo>
                      <a:lnTo>
                        <a:pt x="7" y="121"/>
                      </a:lnTo>
                      <a:lnTo>
                        <a:pt x="7" y="116"/>
                      </a:lnTo>
                      <a:lnTo>
                        <a:pt x="7" y="113"/>
                      </a:lnTo>
                      <a:lnTo>
                        <a:pt x="9" y="113"/>
                      </a:lnTo>
                      <a:lnTo>
                        <a:pt x="10" y="113"/>
                      </a:lnTo>
                      <a:lnTo>
                        <a:pt x="12" y="106"/>
                      </a:lnTo>
                      <a:lnTo>
                        <a:pt x="12" y="103"/>
                      </a:lnTo>
                      <a:lnTo>
                        <a:pt x="12" y="100"/>
                      </a:lnTo>
                      <a:lnTo>
                        <a:pt x="12" y="95"/>
                      </a:lnTo>
                      <a:lnTo>
                        <a:pt x="15" y="96"/>
                      </a:lnTo>
                      <a:lnTo>
                        <a:pt x="15" y="90"/>
                      </a:lnTo>
                      <a:lnTo>
                        <a:pt x="15" y="85"/>
                      </a:lnTo>
                      <a:lnTo>
                        <a:pt x="13" y="78"/>
                      </a:lnTo>
                      <a:lnTo>
                        <a:pt x="17" y="78"/>
                      </a:lnTo>
                      <a:lnTo>
                        <a:pt x="18" y="78"/>
                      </a:lnTo>
                      <a:lnTo>
                        <a:pt x="23" y="78"/>
                      </a:lnTo>
                      <a:lnTo>
                        <a:pt x="27" y="73"/>
                      </a:lnTo>
                      <a:lnTo>
                        <a:pt x="28" y="65"/>
                      </a:lnTo>
                      <a:lnTo>
                        <a:pt x="31" y="57"/>
                      </a:lnTo>
                      <a:lnTo>
                        <a:pt x="27" y="55"/>
                      </a:lnTo>
                      <a:lnTo>
                        <a:pt x="27" y="52"/>
                      </a:lnTo>
                      <a:lnTo>
                        <a:pt x="31" y="46"/>
                      </a:lnTo>
                      <a:lnTo>
                        <a:pt x="33" y="39"/>
                      </a:lnTo>
                      <a:lnTo>
                        <a:pt x="31" y="37"/>
                      </a:lnTo>
                      <a:lnTo>
                        <a:pt x="33" y="33"/>
                      </a:lnTo>
                      <a:lnTo>
                        <a:pt x="38" y="24"/>
                      </a:lnTo>
                      <a:lnTo>
                        <a:pt x="41" y="23"/>
                      </a:lnTo>
                      <a:lnTo>
                        <a:pt x="44" y="19"/>
                      </a:lnTo>
                      <a:lnTo>
                        <a:pt x="46" y="15"/>
                      </a:lnTo>
                      <a:lnTo>
                        <a:pt x="53" y="13"/>
                      </a:lnTo>
                      <a:lnTo>
                        <a:pt x="56" y="10"/>
                      </a:lnTo>
                      <a:lnTo>
                        <a:pt x="59" y="13"/>
                      </a:lnTo>
                      <a:lnTo>
                        <a:pt x="62" y="13"/>
                      </a:lnTo>
                      <a:lnTo>
                        <a:pt x="61" y="11"/>
                      </a:lnTo>
                      <a:lnTo>
                        <a:pt x="61" y="6"/>
                      </a:lnTo>
                      <a:lnTo>
                        <a:pt x="64" y="3"/>
                      </a:lnTo>
                      <a:lnTo>
                        <a:pt x="64" y="1"/>
                      </a:lnTo>
                      <a:lnTo>
                        <a:pt x="62" y="0"/>
                      </a:lnTo>
                      <a:lnTo>
                        <a:pt x="62" y="0"/>
                      </a:lnTo>
                      <a:close/>
                      <a:moveTo>
                        <a:pt x="20" y="171"/>
                      </a:moveTo>
                      <a:lnTo>
                        <a:pt x="22" y="173"/>
                      </a:lnTo>
                      <a:lnTo>
                        <a:pt x="25" y="175"/>
                      </a:lnTo>
                      <a:lnTo>
                        <a:pt x="25" y="173"/>
                      </a:lnTo>
                      <a:lnTo>
                        <a:pt x="23" y="170"/>
                      </a:lnTo>
                      <a:lnTo>
                        <a:pt x="20" y="171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6" name="Freeform 180">
                  <a:extLst>
                    <a:ext uri="{FF2B5EF4-FFF2-40B4-BE49-F238E27FC236}">
                      <a16:creationId xmlns:a16="http://schemas.microsoft.com/office/drawing/2014/main" xmlns="" id="{156DC981-4793-4DBC-8DC7-63C3EE5BCE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25" y="1897"/>
                  <a:ext cx="34" cy="67"/>
                </a:xfrm>
                <a:custGeom>
                  <a:avLst/>
                  <a:gdLst>
                    <a:gd name="T0" fmla="*/ 0 w 34"/>
                    <a:gd name="T1" fmla="*/ 28 h 67"/>
                    <a:gd name="T2" fmla="*/ 1 w 34"/>
                    <a:gd name="T3" fmla="*/ 25 h 67"/>
                    <a:gd name="T4" fmla="*/ 1 w 34"/>
                    <a:gd name="T5" fmla="*/ 26 h 67"/>
                    <a:gd name="T6" fmla="*/ 0 w 34"/>
                    <a:gd name="T7" fmla="*/ 33 h 67"/>
                    <a:gd name="T8" fmla="*/ 6 w 34"/>
                    <a:gd name="T9" fmla="*/ 5 h 67"/>
                    <a:gd name="T10" fmla="*/ 1 w 34"/>
                    <a:gd name="T11" fmla="*/ 0 h 67"/>
                    <a:gd name="T12" fmla="*/ 8 w 34"/>
                    <a:gd name="T13" fmla="*/ 0 h 67"/>
                    <a:gd name="T14" fmla="*/ 6 w 34"/>
                    <a:gd name="T15" fmla="*/ 3 h 67"/>
                    <a:gd name="T16" fmla="*/ 6 w 34"/>
                    <a:gd name="T17" fmla="*/ 5 h 67"/>
                    <a:gd name="T18" fmla="*/ 11 w 34"/>
                    <a:gd name="T19" fmla="*/ 2 h 67"/>
                    <a:gd name="T20" fmla="*/ 16 w 34"/>
                    <a:gd name="T21" fmla="*/ 7 h 67"/>
                    <a:gd name="T22" fmla="*/ 15 w 34"/>
                    <a:gd name="T23" fmla="*/ 7 h 67"/>
                    <a:gd name="T24" fmla="*/ 11 w 34"/>
                    <a:gd name="T25" fmla="*/ 5 h 67"/>
                    <a:gd name="T26" fmla="*/ 8 w 34"/>
                    <a:gd name="T27" fmla="*/ 3 h 67"/>
                    <a:gd name="T28" fmla="*/ 10 w 34"/>
                    <a:gd name="T29" fmla="*/ 2 h 67"/>
                    <a:gd name="T30" fmla="*/ 10 w 34"/>
                    <a:gd name="T31" fmla="*/ 2 h 67"/>
                    <a:gd name="T32" fmla="*/ 6 w 34"/>
                    <a:gd name="T33" fmla="*/ 7 h 67"/>
                    <a:gd name="T34" fmla="*/ 8 w 34"/>
                    <a:gd name="T35" fmla="*/ 8 h 67"/>
                    <a:gd name="T36" fmla="*/ 6 w 34"/>
                    <a:gd name="T37" fmla="*/ 10 h 67"/>
                    <a:gd name="T38" fmla="*/ 5 w 34"/>
                    <a:gd name="T39" fmla="*/ 15 h 67"/>
                    <a:gd name="T40" fmla="*/ 1 w 34"/>
                    <a:gd name="T41" fmla="*/ 13 h 67"/>
                    <a:gd name="T42" fmla="*/ 0 w 34"/>
                    <a:gd name="T43" fmla="*/ 13 h 67"/>
                    <a:gd name="T44" fmla="*/ 3 w 34"/>
                    <a:gd name="T45" fmla="*/ 16 h 67"/>
                    <a:gd name="T46" fmla="*/ 3 w 34"/>
                    <a:gd name="T47" fmla="*/ 20 h 67"/>
                    <a:gd name="T48" fmla="*/ 3 w 34"/>
                    <a:gd name="T49" fmla="*/ 26 h 67"/>
                    <a:gd name="T50" fmla="*/ 1 w 34"/>
                    <a:gd name="T51" fmla="*/ 34 h 67"/>
                    <a:gd name="T52" fmla="*/ 3 w 34"/>
                    <a:gd name="T53" fmla="*/ 42 h 67"/>
                    <a:gd name="T54" fmla="*/ 5 w 34"/>
                    <a:gd name="T55" fmla="*/ 52 h 67"/>
                    <a:gd name="T56" fmla="*/ 8 w 34"/>
                    <a:gd name="T57" fmla="*/ 64 h 67"/>
                    <a:gd name="T58" fmla="*/ 16 w 34"/>
                    <a:gd name="T59" fmla="*/ 65 h 67"/>
                    <a:gd name="T60" fmla="*/ 26 w 34"/>
                    <a:gd name="T61" fmla="*/ 64 h 67"/>
                    <a:gd name="T62" fmla="*/ 34 w 34"/>
                    <a:gd name="T63" fmla="*/ 54 h 67"/>
                    <a:gd name="T64" fmla="*/ 34 w 34"/>
                    <a:gd name="T65" fmla="*/ 47 h 67"/>
                    <a:gd name="T66" fmla="*/ 34 w 34"/>
                    <a:gd name="T67" fmla="*/ 42 h 67"/>
                    <a:gd name="T68" fmla="*/ 34 w 34"/>
                    <a:gd name="T69" fmla="*/ 38 h 67"/>
                    <a:gd name="T70" fmla="*/ 29 w 34"/>
                    <a:gd name="T71" fmla="*/ 28 h 67"/>
                    <a:gd name="T72" fmla="*/ 24 w 34"/>
                    <a:gd name="T73" fmla="*/ 25 h 67"/>
                    <a:gd name="T74" fmla="*/ 23 w 34"/>
                    <a:gd name="T75" fmla="*/ 23 h 67"/>
                    <a:gd name="T76" fmla="*/ 24 w 34"/>
                    <a:gd name="T77" fmla="*/ 20 h 67"/>
                    <a:gd name="T78" fmla="*/ 21 w 34"/>
                    <a:gd name="T79" fmla="*/ 15 h 67"/>
                    <a:gd name="T80" fmla="*/ 19 w 34"/>
                    <a:gd name="T81" fmla="*/ 13 h 67"/>
                    <a:gd name="T82" fmla="*/ 18 w 34"/>
                    <a:gd name="T83" fmla="*/ 10 h 67"/>
                    <a:gd name="T84" fmla="*/ 13 w 34"/>
                    <a:gd name="T85" fmla="*/ 8 h 67"/>
                    <a:gd name="T86" fmla="*/ 11 w 34"/>
                    <a:gd name="T87" fmla="*/ 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" h="67">
                      <a:moveTo>
                        <a:pt x="0" y="33"/>
                      </a:moveTo>
                      <a:lnTo>
                        <a:pt x="0" y="28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" y="26"/>
                      </a:lnTo>
                      <a:lnTo>
                        <a:pt x="1" y="26"/>
                      </a:lnTo>
                      <a:lnTo>
                        <a:pt x="1" y="28"/>
                      </a:lnTo>
                      <a:lnTo>
                        <a:pt x="0" y="33"/>
                      </a:lnTo>
                      <a:lnTo>
                        <a:pt x="0" y="33"/>
                      </a:lnTo>
                      <a:close/>
                      <a:moveTo>
                        <a:pt x="6" y="5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6" y="5"/>
                      </a:lnTo>
                      <a:close/>
                      <a:moveTo>
                        <a:pt x="10" y="2"/>
                      </a:moveTo>
                      <a:lnTo>
                        <a:pt x="11" y="2"/>
                      </a:lnTo>
                      <a:lnTo>
                        <a:pt x="13" y="5"/>
                      </a:lnTo>
                      <a:lnTo>
                        <a:pt x="16" y="7"/>
                      </a:lnTo>
                      <a:lnTo>
                        <a:pt x="16" y="8"/>
                      </a:lnTo>
                      <a:lnTo>
                        <a:pt x="15" y="7"/>
                      </a:lnTo>
                      <a:lnTo>
                        <a:pt x="13" y="7"/>
                      </a:lnTo>
                      <a:lnTo>
                        <a:pt x="11" y="5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close/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6" y="11"/>
                      </a:lnTo>
                      <a:lnTo>
                        <a:pt x="5" y="15"/>
                      </a:lnTo>
                      <a:lnTo>
                        <a:pt x="3" y="15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3" y="16"/>
                      </a:lnTo>
                      <a:lnTo>
                        <a:pt x="1" y="16"/>
                      </a:lnTo>
                      <a:lnTo>
                        <a:pt x="3" y="20"/>
                      </a:lnTo>
                      <a:lnTo>
                        <a:pt x="3" y="25"/>
                      </a:lnTo>
                      <a:lnTo>
                        <a:pt x="3" y="26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1" y="36"/>
                      </a:lnTo>
                      <a:lnTo>
                        <a:pt x="3" y="42"/>
                      </a:lnTo>
                      <a:lnTo>
                        <a:pt x="1" y="44"/>
                      </a:lnTo>
                      <a:lnTo>
                        <a:pt x="5" y="52"/>
                      </a:lnTo>
                      <a:lnTo>
                        <a:pt x="6" y="60"/>
                      </a:lnTo>
                      <a:lnTo>
                        <a:pt x="8" y="64"/>
                      </a:lnTo>
                      <a:lnTo>
                        <a:pt x="13" y="67"/>
                      </a:lnTo>
                      <a:lnTo>
                        <a:pt x="16" y="65"/>
                      </a:lnTo>
                      <a:lnTo>
                        <a:pt x="21" y="65"/>
                      </a:lnTo>
                      <a:lnTo>
                        <a:pt x="26" y="64"/>
                      </a:lnTo>
                      <a:lnTo>
                        <a:pt x="31" y="57"/>
                      </a:lnTo>
                      <a:lnTo>
                        <a:pt x="34" y="54"/>
                      </a:lnTo>
                      <a:lnTo>
                        <a:pt x="34" y="51"/>
                      </a:lnTo>
                      <a:lnTo>
                        <a:pt x="34" y="47"/>
                      </a:lnTo>
                      <a:lnTo>
                        <a:pt x="34" y="47"/>
                      </a:lnTo>
                      <a:lnTo>
                        <a:pt x="34" y="42"/>
                      </a:lnTo>
                      <a:lnTo>
                        <a:pt x="34" y="41"/>
                      </a:lnTo>
                      <a:lnTo>
                        <a:pt x="34" y="38"/>
                      </a:lnTo>
                      <a:lnTo>
                        <a:pt x="33" y="36"/>
                      </a:lnTo>
                      <a:lnTo>
                        <a:pt x="29" y="28"/>
                      </a:lnTo>
                      <a:lnTo>
                        <a:pt x="28" y="23"/>
                      </a:lnTo>
                      <a:lnTo>
                        <a:pt x="24" y="25"/>
                      </a:lnTo>
                      <a:lnTo>
                        <a:pt x="24" y="23"/>
                      </a:lnTo>
                      <a:lnTo>
                        <a:pt x="23" y="23"/>
                      </a:lnTo>
                      <a:lnTo>
                        <a:pt x="24" y="21"/>
                      </a:lnTo>
                      <a:lnTo>
                        <a:pt x="24" y="20"/>
                      </a:lnTo>
                      <a:lnTo>
                        <a:pt x="23" y="20"/>
                      </a:lnTo>
                      <a:lnTo>
                        <a:pt x="21" y="15"/>
                      </a:lnTo>
                      <a:lnTo>
                        <a:pt x="19" y="16"/>
                      </a:lnTo>
                      <a:lnTo>
                        <a:pt x="19" y="13"/>
                      </a:lnTo>
                      <a:lnTo>
                        <a:pt x="18" y="11"/>
                      </a:lnTo>
                      <a:lnTo>
                        <a:pt x="18" y="10"/>
                      </a:lnTo>
                      <a:lnTo>
                        <a:pt x="13" y="8"/>
                      </a:lnTo>
                      <a:lnTo>
                        <a:pt x="13" y="8"/>
                      </a:lnTo>
                      <a:lnTo>
                        <a:pt x="10" y="8"/>
                      </a:lnTo>
                      <a:lnTo>
                        <a:pt x="11" y="7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7" name="Freeform 181">
                  <a:extLst>
                    <a:ext uri="{FF2B5EF4-FFF2-40B4-BE49-F238E27FC236}">
                      <a16:creationId xmlns:a16="http://schemas.microsoft.com/office/drawing/2014/main" xmlns="" id="{CC1CC334-7B27-470B-8969-1CC0CAD06A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29" y="1482"/>
                  <a:ext cx="444" cy="444"/>
                </a:xfrm>
                <a:custGeom>
                  <a:avLst/>
                  <a:gdLst>
                    <a:gd name="T0" fmla="*/ 152 w 444"/>
                    <a:gd name="T1" fmla="*/ 38 h 444"/>
                    <a:gd name="T2" fmla="*/ 175 w 444"/>
                    <a:gd name="T3" fmla="*/ 51 h 444"/>
                    <a:gd name="T4" fmla="*/ 181 w 444"/>
                    <a:gd name="T5" fmla="*/ 87 h 444"/>
                    <a:gd name="T6" fmla="*/ 230 w 444"/>
                    <a:gd name="T7" fmla="*/ 108 h 444"/>
                    <a:gd name="T8" fmla="*/ 289 w 444"/>
                    <a:gd name="T9" fmla="*/ 121 h 444"/>
                    <a:gd name="T10" fmla="*/ 312 w 444"/>
                    <a:gd name="T11" fmla="*/ 98 h 444"/>
                    <a:gd name="T12" fmla="*/ 336 w 444"/>
                    <a:gd name="T13" fmla="*/ 119 h 444"/>
                    <a:gd name="T14" fmla="*/ 356 w 444"/>
                    <a:gd name="T15" fmla="*/ 101 h 444"/>
                    <a:gd name="T16" fmla="*/ 379 w 444"/>
                    <a:gd name="T17" fmla="*/ 83 h 444"/>
                    <a:gd name="T18" fmla="*/ 413 w 444"/>
                    <a:gd name="T19" fmla="*/ 72 h 444"/>
                    <a:gd name="T20" fmla="*/ 429 w 444"/>
                    <a:gd name="T21" fmla="*/ 74 h 444"/>
                    <a:gd name="T22" fmla="*/ 444 w 444"/>
                    <a:gd name="T23" fmla="*/ 91 h 444"/>
                    <a:gd name="T24" fmla="*/ 421 w 444"/>
                    <a:gd name="T25" fmla="*/ 113 h 444"/>
                    <a:gd name="T26" fmla="*/ 407 w 444"/>
                    <a:gd name="T27" fmla="*/ 163 h 444"/>
                    <a:gd name="T28" fmla="*/ 392 w 444"/>
                    <a:gd name="T29" fmla="*/ 193 h 444"/>
                    <a:gd name="T30" fmla="*/ 384 w 444"/>
                    <a:gd name="T31" fmla="*/ 203 h 444"/>
                    <a:gd name="T32" fmla="*/ 372 w 444"/>
                    <a:gd name="T33" fmla="*/ 173 h 444"/>
                    <a:gd name="T34" fmla="*/ 362 w 444"/>
                    <a:gd name="T35" fmla="*/ 180 h 444"/>
                    <a:gd name="T36" fmla="*/ 367 w 444"/>
                    <a:gd name="T37" fmla="*/ 165 h 444"/>
                    <a:gd name="T38" fmla="*/ 364 w 444"/>
                    <a:gd name="T39" fmla="*/ 145 h 444"/>
                    <a:gd name="T40" fmla="*/ 333 w 444"/>
                    <a:gd name="T41" fmla="*/ 136 h 444"/>
                    <a:gd name="T42" fmla="*/ 322 w 444"/>
                    <a:gd name="T43" fmla="*/ 127 h 444"/>
                    <a:gd name="T44" fmla="*/ 310 w 444"/>
                    <a:gd name="T45" fmla="*/ 124 h 444"/>
                    <a:gd name="T46" fmla="*/ 317 w 444"/>
                    <a:gd name="T47" fmla="*/ 145 h 444"/>
                    <a:gd name="T48" fmla="*/ 322 w 444"/>
                    <a:gd name="T49" fmla="*/ 181 h 444"/>
                    <a:gd name="T50" fmla="*/ 325 w 444"/>
                    <a:gd name="T51" fmla="*/ 211 h 444"/>
                    <a:gd name="T52" fmla="*/ 315 w 444"/>
                    <a:gd name="T53" fmla="*/ 207 h 444"/>
                    <a:gd name="T54" fmla="*/ 310 w 444"/>
                    <a:gd name="T55" fmla="*/ 207 h 444"/>
                    <a:gd name="T56" fmla="*/ 294 w 444"/>
                    <a:gd name="T57" fmla="*/ 230 h 444"/>
                    <a:gd name="T58" fmla="*/ 274 w 444"/>
                    <a:gd name="T59" fmla="*/ 243 h 444"/>
                    <a:gd name="T60" fmla="*/ 245 w 444"/>
                    <a:gd name="T61" fmla="*/ 281 h 444"/>
                    <a:gd name="T62" fmla="*/ 215 w 444"/>
                    <a:gd name="T63" fmla="*/ 309 h 444"/>
                    <a:gd name="T64" fmla="*/ 199 w 444"/>
                    <a:gd name="T65" fmla="*/ 341 h 444"/>
                    <a:gd name="T66" fmla="*/ 196 w 444"/>
                    <a:gd name="T67" fmla="*/ 408 h 444"/>
                    <a:gd name="T68" fmla="*/ 189 w 444"/>
                    <a:gd name="T69" fmla="*/ 426 h 444"/>
                    <a:gd name="T70" fmla="*/ 170 w 444"/>
                    <a:gd name="T71" fmla="*/ 441 h 444"/>
                    <a:gd name="T72" fmla="*/ 137 w 444"/>
                    <a:gd name="T73" fmla="*/ 400 h 444"/>
                    <a:gd name="T74" fmla="*/ 114 w 444"/>
                    <a:gd name="T75" fmla="*/ 359 h 444"/>
                    <a:gd name="T76" fmla="*/ 98 w 444"/>
                    <a:gd name="T77" fmla="*/ 322 h 444"/>
                    <a:gd name="T78" fmla="*/ 83 w 444"/>
                    <a:gd name="T79" fmla="*/ 273 h 444"/>
                    <a:gd name="T80" fmla="*/ 73 w 444"/>
                    <a:gd name="T81" fmla="*/ 239 h 444"/>
                    <a:gd name="T82" fmla="*/ 70 w 444"/>
                    <a:gd name="T83" fmla="*/ 212 h 444"/>
                    <a:gd name="T84" fmla="*/ 70 w 444"/>
                    <a:gd name="T85" fmla="*/ 199 h 444"/>
                    <a:gd name="T86" fmla="*/ 57 w 444"/>
                    <a:gd name="T87" fmla="*/ 224 h 444"/>
                    <a:gd name="T88" fmla="*/ 10 w 444"/>
                    <a:gd name="T89" fmla="*/ 201 h 444"/>
                    <a:gd name="T90" fmla="*/ 23 w 444"/>
                    <a:gd name="T91" fmla="*/ 203 h 444"/>
                    <a:gd name="T92" fmla="*/ 26 w 444"/>
                    <a:gd name="T93" fmla="*/ 193 h 444"/>
                    <a:gd name="T94" fmla="*/ 0 w 444"/>
                    <a:gd name="T95" fmla="*/ 178 h 444"/>
                    <a:gd name="T96" fmla="*/ 34 w 444"/>
                    <a:gd name="T97" fmla="*/ 162 h 444"/>
                    <a:gd name="T98" fmla="*/ 31 w 444"/>
                    <a:gd name="T99" fmla="*/ 141 h 444"/>
                    <a:gd name="T100" fmla="*/ 10 w 444"/>
                    <a:gd name="T101" fmla="*/ 119 h 444"/>
                    <a:gd name="T102" fmla="*/ 37 w 444"/>
                    <a:gd name="T103" fmla="*/ 101 h 444"/>
                    <a:gd name="T104" fmla="*/ 73 w 444"/>
                    <a:gd name="T105" fmla="*/ 57 h 444"/>
                    <a:gd name="T106" fmla="*/ 88 w 444"/>
                    <a:gd name="T107" fmla="*/ 21 h 444"/>
                    <a:gd name="T108" fmla="*/ 131 w 444"/>
                    <a:gd name="T109" fmla="*/ 5 h 444"/>
                    <a:gd name="T110" fmla="*/ 322 w 444"/>
                    <a:gd name="T111" fmla="*/ 211 h 444"/>
                    <a:gd name="T112" fmla="*/ 318 w 444"/>
                    <a:gd name="T113" fmla="*/ 214 h 4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44" h="444">
                      <a:moveTo>
                        <a:pt x="142" y="13"/>
                      </a:moveTo>
                      <a:lnTo>
                        <a:pt x="144" y="16"/>
                      </a:lnTo>
                      <a:lnTo>
                        <a:pt x="144" y="18"/>
                      </a:lnTo>
                      <a:lnTo>
                        <a:pt x="148" y="21"/>
                      </a:lnTo>
                      <a:lnTo>
                        <a:pt x="147" y="26"/>
                      </a:lnTo>
                      <a:lnTo>
                        <a:pt x="148" y="29"/>
                      </a:lnTo>
                      <a:lnTo>
                        <a:pt x="148" y="31"/>
                      </a:lnTo>
                      <a:lnTo>
                        <a:pt x="150" y="33"/>
                      </a:lnTo>
                      <a:lnTo>
                        <a:pt x="152" y="36"/>
                      </a:lnTo>
                      <a:lnTo>
                        <a:pt x="152" y="38"/>
                      </a:lnTo>
                      <a:lnTo>
                        <a:pt x="153" y="39"/>
                      </a:lnTo>
                      <a:lnTo>
                        <a:pt x="153" y="42"/>
                      </a:lnTo>
                      <a:lnTo>
                        <a:pt x="157" y="44"/>
                      </a:lnTo>
                      <a:lnTo>
                        <a:pt x="160" y="41"/>
                      </a:lnTo>
                      <a:lnTo>
                        <a:pt x="163" y="41"/>
                      </a:lnTo>
                      <a:lnTo>
                        <a:pt x="165" y="42"/>
                      </a:lnTo>
                      <a:lnTo>
                        <a:pt x="168" y="44"/>
                      </a:lnTo>
                      <a:lnTo>
                        <a:pt x="171" y="47"/>
                      </a:lnTo>
                      <a:lnTo>
                        <a:pt x="173" y="47"/>
                      </a:lnTo>
                      <a:lnTo>
                        <a:pt x="175" y="51"/>
                      </a:lnTo>
                      <a:lnTo>
                        <a:pt x="178" y="52"/>
                      </a:lnTo>
                      <a:lnTo>
                        <a:pt x="180" y="54"/>
                      </a:lnTo>
                      <a:lnTo>
                        <a:pt x="180" y="54"/>
                      </a:lnTo>
                      <a:lnTo>
                        <a:pt x="180" y="60"/>
                      </a:lnTo>
                      <a:lnTo>
                        <a:pt x="178" y="69"/>
                      </a:lnTo>
                      <a:lnTo>
                        <a:pt x="178" y="74"/>
                      </a:lnTo>
                      <a:lnTo>
                        <a:pt x="173" y="80"/>
                      </a:lnTo>
                      <a:lnTo>
                        <a:pt x="175" y="83"/>
                      </a:lnTo>
                      <a:lnTo>
                        <a:pt x="178" y="83"/>
                      </a:lnTo>
                      <a:lnTo>
                        <a:pt x="181" y="87"/>
                      </a:lnTo>
                      <a:lnTo>
                        <a:pt x="183" y="87"/>
                      </a:lnTo>
                      <a:lnTo>
                        <a:pt x="186" y="88"/>
                      </a:lnTo>
                      <a:lnTo>
                        <a:pt x="193" y="90"/>
                      </a:lnTo>
                      <a:lnTo>
                        <a:pt x="199" y="95"/>
                      </a:lnTo>
                      <a:lnTo>
                        <a:pt x="204" y="101"/>
                      </a:lnTo>
                      <a:lnTo>
                        <a:pt x="211" y="103"/>
                      </a:lnTo>
                      <a:lnTo>
                        <a:pt x="214" y="105"/>
                      </a:lnTo>
                      <a:lnTo>
                        <a:pt x="217" y="105"/>
                      </a:lnTo>
                      <a:lnTo>
                        <a:pt x="222" y="108"/>
                      </a:lnTo>
                      <a:lnTo>
                        <a:pt x="230" y="108"/>
                      </a:lnTo>
                      <a:lnTo>
                        <a:pt x="233" y="109"/>
                      </a:lnTo>
                      <a:lnTo>
                        <a:pt x="242" y="108"/>
                      </a:lnTo>
                      <a:lnTo>
                        <a:pt x="250" y="109"/>
                      </a:lnTo>
                      <a:lnTo>
                        <a:pt x="250" y="113"/>
                      </a:lnTo>
                      <a:lnTo>
                        <a:pt x="255" y="118"/>
                      </a:lnTo>
                      <a:lnTo>
                        <a:pt x="263" y="119"/>
                      </a:lnTo>
                      <a:lnTo>
                        <a:pt x="266" y="118"/>
                      </a:lnTo>
                      <a:lnTo>
                        <a:pt x="271" y="118"/>
                      </a:lnTo>
                      <a:lnTo>
                        <a:pt x="284" y="123"/>
                      </a:lnTo>
                      <a:lnTo>
                        <a:pt x="289" y="121"/>
                      </a:lnTo>
                      <a:lnTo>
                        <a:pt x="294" y="124"/>
                      </a:lnTo>
                      <a:lnTo>
                        <a:pt x="304" y="123"/>
                      </a:lnTo>
                      <a:lnTo>
                        <a:pt x="305" y="114"/>
                      </a:lnTo>
                      <a:lnTo>
                        <a:pt x="302" y="108"/>
                      </a:lnTo>
                      <a:lnTo>
                        <a:pt x="304" y="101"/>
                      </a:lnTo>
                      <a:lnTo>
                        <a:pt x="302" y="96"/>
                      </a:lnTo>
                      <a:lnTo>
                        <a:pt x="304" y="96"/>
                      </a:lnTo>
                      <a:lnTo>
                        <a:pt x="305" y="95"/>
                      </a:lnTo>
                      <a:lnTo>
                        <a:pt x="310" y="95"/>
                      </a:lnTo>
                      <a:lnTo>
                        <a:pt x="312" y="98"/>
                      </a:lnTo>
                      <a:lnTo>
                        <a:pt x="312" y="101"/>
                      </a:lnTo>
                      <a:lnTo>
                        <a:pt x="315" y="105"/>
                      </a:lnTo>
                      <a:lnTo>
                        <a:pt x="315" y="105"/>
                      </a:lnTo>
                      <a:lnTo>
                        <a:pt x="315" y="108"/>
                      </a:lnTo>
                      <a:lnTo>
                        <a:pt x="313" y="109"/>
                      </a:lnTo>
                      <a:lnTo>
                        <a:pt x="317" y="116"/>
                      </a:lnTo>
                      <a:lnTo>
                        <a:pt x="322" y="116"/>
                      </a:lnTo>
                      <a:lnTo>
                        <a:pt x="323" y="114"/>
                      </a:lnTo>
                      <a:lnTo>
                        <a:pt x="331" y="119"/>
                      </a:lnTo>
                      <a:lnTo>
                        <a:pt x="336" y="119"/>
                      </a:lnTo>
                      <a:lnTo>
                        <a:pt x="340" y="116"/>
                      </a:lnTo>
                      <a:lnTo>
                        <a:pt x="343" y="114"/>
                      </a:lnTo>
                      <a:lnTo>
                        <a:pt x="346" y="116"/>
                      </a:lnTo>
                      <a:lnTo>
                        <a:pt x="351" y="114"/>
                      </a:lnTo>
                      <a:lnTo>
                        <a:pt x="356" y="116"/>
                      </a:lnTo>
                      <a:lnTo>
                        <a:pt x="362" y="113"/>
                      </a:lnTo>
                      <a:lnTo>
                        <a:pt x="362" y="111"/>
                      </a:lnTo>
                      <a:lnTo>
                        <a:pt x="362" y="106"/>
                      </a:lnTo>
                      <a:lnTo>
                        <a:pt x="358" y="105"/>
                      </a:lnTo>
                      <a:lnTo>
                        <a:pt x="356" y="101"/>
                      </a:lnTo>
                      <a:lnTo>
                        <a:pt x="358" y="96"/>
                      </a:lnTo>
                      <a:lnTo>
                        <a:pt x="359" y="96"/>
                      </a:lnTo>
                      <a:lnTo>
                        <a:pt x="366" y="95"/>
                      </a:lnTo>
                      <a:lnTo>
                        <a:pt x="369" y="95"/>
                      </a:lnTo>
                      <a:lnTo>
                        <a:pt x="371" y="91"/>
                      </a:lnTo>
                      <a:lnTo>
                        <a:pt x="372" y="90"/>
                      </a:lnTo>
                      <a:lnTo>
                        <a:pt x="374" y="90"/>
                      </a:lnTo>
                      <a:lnTo>
                        <a:pt x="374" y="88"/>
                      </a:lnTo>
                      <a:lnTo>
                        <a:pt x="379" y="87"/>
                      </a:lnTo>
                      <a:lnTo>
                        <a:pt x="379" y="83"/>
                      </a:lnTo>
                      <a:lnTo>
                        <a:pt x="382" y="80"/>
                      </a:lnTo>
                      <a:lnTo>
                        <a:pt x="385" y="80"/>
                      </a:lnTo>
                      <a:lnTo>
                        <a:pt x="390" y="78"/>
                      </a:lnTo>
                      <a:lnTo>
                        <a:pt x="395" y="74"/>
                      </a:lnTo>
                      <a:lnTo>
                        <a:pt x="393" y="70"/>
                      </a:lnTo>
                      <a:lnTo>
                        <a:pt x="397" y="70"/>
                      </a:lnTo>
                      <a:lnTo>
                        <a:pt x="400" y="67"/>
                      </a:lnTo>
                      <a:lnTo>
                        <a:pt x="403" y="72"/>
                      </a:lnTo>
                      <a:lnTo>
                        <a:pt x="407" y="70"/>
                      </a:lnTo>
                      <a:lnTo>
                        <a:pt x="413" y="72"/>
                      </a:lnTo>
                      <a:lnTo>
                        <a:pt x="415" y="70"/>
                      </a:lnTo>
                      <a:lnTo>
                        <a:pt x="415" y="67"/>
                      </a:lnTo>
                      <a:lnTo>
                        <a:pt x="421" y="64"/>
                      </a:lnTo>
                      <a:lnTo>
                        <a:pt x="423" y="64"/>
                      </a:lnTo>
                      <a:lnTo>
                        <a:pt x="426" y="67"/>
                      </a:lnTo>
                      <a:lnTo>
                        <a:pt x="428" y="67"/>
                      </a:lnTo>
                      <a:lnTo>
                        <a:pt x="428" y="67"/>
                      </a:lnTo>
                      <a:lnTo>
                        <a:pt x="426" y="72"/>
                      </a:lnTo>
                      <a:lnTo>
                        <a:pt x="428" y="75"/>
                      </a:lnTo>
                      <a:lnTo>
                        <a:pt x="429" y="74"/>
                      </a:lnTo>
                      <a:lnTo>
                        <a:pt x="431" y="74"/>
                      </a:lnTo>
                      <a:lnTo>
                        <a:pt x="433" y="77"/>
                      </a:lnTo>
                      <a:lnTo>
                        <a:pt x="434" y="78"/>
                      </a:lnTo>
                      <a:lnTo>
                        <a:pt x="434" y="82"/>
                      </a:lnTo>
                      <a:lnTo>
                        <a:pt x="431" y="85"/>
                      </a:lnTo>
                      <a:lnTo>
                        <a:pt x="433" y="87"/>
                      </a:lnTo>
                      <a:lnTo>
                        <a:pt x="436" y="88"/>
                      </a:lnTo>
                      <a:lnTo>
                        <a:pt x="438" y="87"/>
                      </a:lnTo>
                      <a:lnTo>
                        <a:pt x="441" y="88"/>
                      </a:lnTo>
                      <a:lnTo>
                        <a:pt x="444" y="91"/>
                      </a:lnTo>
                      <a:lnTo>
                        <a:pt x="444" y="93"/>
                      </a:lnTo>
                      <a:lnTo>
                        <a:pt x="441" y="96"/>
                      </a:lnTo>
                      <a:lnTo>
                        <a:pt x="441" y="101"/>
                      </a:lnTo>
                      <a:lnTo>
                        <a:pt x="442" y="103"/>
                      </a:lnTo>
                      <a:lnTo>
                        <a:pt x="439" y="103"/>
                      </a:lnTo>
                      <a:lnTo>
                        <a:pt x="436" y="100"/>
                      </a:lnTo>
                      <a:lnTo>
                        <a:pt x="433" y="103"/>
                      </a:lnTo>
                      <a:lnTo>
                        <a:pt x="426" y="105"/>
                      </a:lnTo>
                      <a:lnTo>
                        <a:pt x="424" y="109"/>
                      </a:lnTo>
                      <a:lnTo>
                        <a:pt x="421" y="113"/>
                      </a:lnTo>
                      <a:lnTo>
                        <a:pt x="418" y="114"/>
                      </a:lnTo>
                      <a:lnTo>
                        <a:pt x="413" y="123"/>
                      </a:lnTo>
                      <a:lnTo>
                        <a:pt x="411" y="127"/>
                      </a:lnTo>
                      <a:lnTo>
                        <a:pt x="413" y="129"/>
                      </a:lnTo>
                      <a:lnTo>
                        <a:pt x="411" y="136"/>
                      </a:lnTo>
                      <a:lnTo>
                        <a:pt x="407" y="142"/>
                      </a:lnTo>
                      <a:lnTo>
                        <a:pt x="407" y="145"/>
                      </a:lnTo>
                      <a:lnTo>
                        <a:pt x="411" y="147"/>
                      </a:lnTo>
                      <a:lnTo>
                        <a:pt x="408" y="155"/>
                      </a:lnTo>
                      <a:lnTo>
                        <a:pt x="407" y="163"/>
                      </a:lnTo>
                      <a:lnTo>
                        <a:pt x="403" y="168"/>
                      </a:lnTo>
                      <a:lnTo>
                        <a:pt x="398" y="168"/>
                      </a:lnTo>
                      <a:lnTo>
                        <a:pt x="397" y="168"/>
                      </a:lnTo>
                      <a:lnTo>
                        <a:pt x="393" y="168"/>
                      </a:lnTo>
                      <a:lnTo>
                        <a:pt x="395" y="175"/>
                      </a:lnTo>
                      <a:lnTo>
                        <a:pt x="395" y="180"/>
                      </a:lnTo>
                      <a:lnTo>
                        <a:pt x="395" y="186"/>
                      </a:lnTo>
                      <a:lnTo>
                        <a:pt x="392" y="185"/>
                      </a:lnTo>
                      <a:lnTo>
                        <a:pt x="392" y="190"/>
                      </a:lnTo>
                      <a:lnTo>
                        <a:pt x="392" y="193"/>
                      </a:lnTo>
                      <a:lnTo>
                        <a:pt x="392" y="196"/>
                      </a:lnTo>
                      <a:lnTo>
                        <a:pt x="390" y="203"/>
                      </a:lnTo>
                      <a:lnTo>
                        <a:pt x="389" y="203"/>
                      </a:lnTo>
                      <a:lnTo>
                        <a:pt x="387" y="203"/>
                      </a:lnTo>
                      <a:lnTo>
                        <a:pt x="387" y="206"/>
                      </a:lnTo>
                      <a:lnTo>
                        <a:pt x="387" y="207"/>
                      </a:lnTo>
                      <a:lnTo>
                        <a:pt x="385" y="206"/>
                      </a:lnTo>
                      <a:lnTo>
                        <a:pt x="385" y="206"/>
                      </a:lnTo>
                      <a:lnTo>
                        <a:pt x="385" y="203"/>
                      </a:lnTo>
                      <a:lnTo>
                        <a:pt x="384" y="203"/>
                      </a:lnTo>
                      <a:lnTo>
                        <a:pt x="384" y="199"/>
                      </a:lnTo>
                      <a:lnTo>
                        <a:pt x="382" y="196"/>
                      </a:lnTo>
                      <a:lnTo>
                        <a:pt x="380" y="190"/>
                      </a:lnTo>
                      <a:lnTo>
                        <a:pt x="380" y="186"/>
                      </a:lnTo>
                      <a:lnTo>
                        <a:pt x="380" y="183"/>
                      </a:lnTo>
                      <a:lnTo>
                        <a:pt x="379" y="178"/>
                      </a:lnTo>
                      <a:lnTo>
                        <a:pt x="377" y="176"/>
                      </a:lnTo>
                      <a:lnTo>
                        <a:pt x="377" y="175"/>
                      </a:lnTo>
                      <a:lnTo>
                        <a:pt x="374" y="175"/>
                      </a:lnTo>
                      <a:lnTo>
                        <a:pt x="372" y="173"/>
                      </a:lnTo>
                      <a:lnTo>
                        <a:pt x="371" y="175"/>
                      </a:lnTo>
                      <a:lnTo>
                        <a:pt x="371" y="176"/>
                      </a:lnTo>
                      <a:lnTo>
                        <a:pt x="371" y="178"/>
                      </a:lnTo>
                      <a:lnTo>
                        <a:pt x="371" y="180"/>
                      </a:lnTo>
                      <a:lnTo>
                        <a:pt x="369" y="181"/>
                      </a:lnTo>
                      <a:lnTo>
                        <a:pt x="369" y="183"/>
                      </a:lnTo>
                      <a:lnTo>
                        <a:pt x="369" y="185"/>
                      </a:lnTo>
                      <a:lnTo>
                        <a:pt x="367" y="185"/>
                      </a:lnTo>
                      <a:lnTo>
                        <a:pt x="366" y="181"/>
                      </a:lnTo>
                      <a:lnTo>
                        <a:pt x="362" y="180"/>
                      </a:lnTo>
                      <a:lnTo>
                        <a:pt x="362" y="178"/>
                      </a:lnTo>
                      <a:lnTo>
                        <a:pt x="361" y="176"/>
                      </a:lnTo>
                      <a:lnTo>
                        <a:pt x="359" y="172"/>
                      </a:lnTo>
                      <a:lnTo>
                        <a:pt x="359" y="170"/>
                      </a:lnTo>
                      <a:lnTo>
                        <a:pt x="361" y="168"/>
                      </a:lnTo>
                      <a:lnTo>
                        <a:pt x="361" y="167"/>
                      </a:lnTo>
                      <a:lnTo>
                        <a:pt x="364" y="165"/>
                      </a:lnTo>
                      <a:lnTo>
                        <a:pt x="366" y="167"/>
                      </a:lnTo>
                      <a:lnTo>
                        <a:pt x="367" y="167"/>
                      </a:lnTo>
                      <a:lnTo>
                        <a:pt x="367" y="165"/>
                      </a:lnTo>
                      <a:lnTo>
                        <a:pt x="367" y="163"/>
                      </a:lnTo>
                      <a:lnTo>
                        <a:pt x="371" y="162"/>
                      </a:lnTo>
                      <a:lnTo>
                        <a:pt x="372" y="157"/>
                      </a:lnTo>
                      <a:lnTo>
                        <a:pt x="372" y="152"/>
                      </a:lnTo>
                      <a:lnTo>
                        <a:pt x="374" y="149"/>
                      </a:lnTo>
                      <a:lnTo>
                        <a:pt x="372" y="149"/>
                      </a:lnTo>
                      <a:lnTo>
                        <a:pt x="371" y="145"/>
                      </a:lnTo>
                      <a:lnTo>
                        <a:pt x="369" y="145"/>
                      </a:lnTo>
                      <a:lnTo>
                        <a:pt x="367" y="145"/>
                      </a:lnTo>
                      <a:lnTo>
                        <a:pt x="364" y="145"/>
                      </a:lnTo>
                      <a:lnTo>
                        <a:pt x="359" y="145"/>
                      </a:lnTo>
                      <a:lnTo>
                        <a:pt x="354" y="145"/>
                      </a:lnTo>
                      <a:lnTo>
                        <a:pt x="348" y="145"/>
                      </a:lnTo>
                      <a:lnTo>
                        <a:pt x="344" y="145"/>
                      </a:lnTo>
                      <a:lnTo>
                        <a:pt x="341" y="144"/>
                      </a:lnTo>
                      <a:lnTo>
                        <a:pt x="338" y="144"/>
                      </a:lnTo>
                      <a:lnTo>
                        <a:pt x="335" y="142"/>
                      </a:lnTo>
                      <a:lnTo>
                        <a:pt x="335" y="141"/>
                      </a:lnTo>
                      <a:lnTo>
                        <a:pt x="333" y="137"/>
                      </a:lnTo>
                      <a:lnTo>
                        <a:pt x="333" y="136"/>
                      </a:lnTo>
                      <a:lnTo>
                        <a:pt x="333" y="131"/>
                      </a:lnTo>
                      <a:lnTo>
                        <a:pt x="330" y="127"/>
                      </a:lnTo>
                      <a:lnTo>
                        <a:pt x="328" y="127"/>
                      </a:lnTo>
                      <a:lnTo>
                        <a:pt x="328" y="129"/>
                      </a:lnTo>
                      <a:lnTo>
                        <a:pt x="325" y="127"/>
                      </a:lnTo>
                      <a:lnTo>
                        <a:pt x="323" y="126"/>
                      </a:lnTo>
                      <a:lnTo>
                        <a:pt x="322" y="124"/>
                      </a:lnTo>
                      <a:lnTo>
                        <a:pt x="320" y="124"/>
                      </a:lnTo>
                      <a:lnTo>
                        <a:pt x="320" y="126"/>
                      </a:lnTo>
                      <a:lnTo>
                        <a:pt x="322" y="127"/>
                      </a:lnTo>
                      <a:lnTo>
                        <a:pt x="320" y="127"/>
                      </a:lnTo>
                      <a:lnTo>
                        <a:pt x="317" y="127"/>
                      </a:lnTo>
                      <a:lnTo>
                        <a:pt x="315" y="124"/>
                      </a:lnTo>
                      <a:lnTo>
                        <a:pt x="315" y="123"/>
                      </a:lnTo>
                      <a:lnTo>
                        <a:pt x="312" y="121"/>
                      </a:lnTo>
                      <a:lnTo>
                        <a:pt x="312" y="118"/>
                      </a:lnTo>
                      <a:lnTo>
                        <a:pt x="310" y="121"/>
                      </a:lnTo>
                      <a:lnTo>
                        <a:pt x="309" y="121"/>
                      </a:lnTo>
                      <a:lnTo>
                        <a:pt x="309" y="123"/>
                      </a:lnTo>
                      <a:lnTo>
                        <a:pt x="310" y="124"/>
                      </a:lnTo>
                      <a:lnTo>
                        <a:pt x="309" y="129"/>
                      </a:lnTo>
                      <a:lnTo>
                        <a:pt x="305" y="132"/>
                      </a:lnTo>
                      <a:lnTo>
                        <a:pt x="305" y="136"/>
                      </a:lnTo>
                      <a:lnTo>
                        <a:pt x="313" y="139"/>
                      </a:lnTo>
                      <a:lnTo>
                        <a:pt x="315" y="137"/>
                      </a:lnTo>
                      <a:lnTo>
                        <a:pt x="320" y="137"/>
                      </a:lnTo>
                      <a:lnTo>
                        <a:pt x="320" y="141"/>
                      </a:lnTo>
                      <a:lnTo>
                        <a:pt x="320" y="144"/>
                      </a:lnTo>
                      <a:lnTo>
                        <a:pt x="318" y="145"/>
                      </a:lnTo>
                      <a:lnTo>
                        <a:pt x="317" y="145"/>
                      </a:lnTo>
                      <a:lnTo>
                        <a:pt x="313" y="147"/>
                      </a:lnTo>
                      <a:lnTo>
                        <a:pt x="312" y="150"/>
                      </a:lnTo>
                      <a:lnTo>
                        <a:pt x="310" y="152"/>
                      </a:lnTo>
                      <a:lnTo>
                        <a:pt x="310" y="158"/>
                      </a:lnTo>
                      <a:lnTo>
                        <a:pt x="313" y="162"/>
                      </a:lnTo>
                      <a:lnTo>
                        <a:pt x="317" y="163"/>
                      </a:lnTo>
                      <a:lnTo>
                        <a:pt x="322" y="168"/>
                      </a:lnTo>
                      <a:lnTo>
                        <a:pt x="322" y="175"/>
                      </a:lnTo>
                      <a:lnTo>
                        <a:pt x="322" y="178"/>
                      </a:lnTo>
                      <a:lnTo>
                        <a:pt x="322" y="181"/>
                      </a:lnTo>
                      <a:lnTo>
                        <a:pt x="323" y="186"/>
                      </a:lnTo>
                      <a:lnTo>
                        <a:pt x="327" y="193"/>
                      </a:lnTo>
                      <a:lnTo>
                        <a:pt x="327" y="198"/>
                      </a:lnTo>
                      <a:lnTo>
                        <a:pt x="328" y="199"/>
                      </a:lnTo>
                      <a:lnTo>
                        <a:pt x="328" y="204"/>
                      </a:lnTo>
                      <a:lnTo>
                        <a:pt x="328" y="206"/>
                      </a:lnTo>
                      <a:lnTo>
                        <a:pt x="330" y="209"/>
                      </a:lnTo>
                      <a:lnTo>
                        <a:pt x="328" y="212"/>
                      </a:lnTo>
                      <a:lnTo>
                        <a:pt x="325" y="209"/>
                      </a:lnTo>
                      <a:lnTo>
                        <a:pt x="325" y="211"/>
                      </a:lnTo>
                      <a:lnTo>
                        <a:pt x="323" y="209"/>
                      </a:lnTo>
                      <a:lnTo>
                        <a:pt x="323" y="206"/>
                      </a:lnTo>
                      <a:lnTo>
                        <a:pt x="322" y="204"/>
                      </a:lnTo>
                      <a:lnTo>
                        <a:pt x="322" y="206"/>
                      </a:lnTo>
                      <a:lnTo>
                        <a:pt x="322" y="207"/>
                      </a:lnTo>
                      <a:lnTo>
                        <a:pt x="322" y="207"/>
                      </a:lnTo>
                      <a:lnTo>
                        <a:pt x="320" y="207"/>
                      </a:lnTo>
                      <a:lnTo>
                        <a:pt x="318" y="207"/>
                      </a:lnTo>
                      <a:lnTo>
                        <a:pt x="318" y="209"/>
                      </a:lnTo>
                      <a:lnTo>
                        <a:pt x="315" y="207"/>
                      </a:lnTo>
                      <a:lnTo>
                        <a:pt x="313" y="204"/>
                      </a:lnTo>
                      <a:lnTo>
                        <a:pt x="315" y="201"/>
                      </a:lnTo>
                      <a:lnTo>
                        <a:pt x="312" y="199"/>
                      </a:lnTo>
                      <a:lnTo>
                        <a:pt x="310" y="199"/>
                      </a:lnTo>
                      <a:lnTo>
                        <a:pt x="310" y="199"/>
                      </a:lnTo>
                      <a:lnTo>
                        <a:pt x="312" y="201"/>
                      </a:lnTo>
                      <a:lnTo>
                        <a:pt x="313" y="203"/>
                      </a:lnTo>
                      <a:lnTo>
                        <a:pt x="312" y="203"/>
                      </a:lnTo>
                      <a:lnTo>
                        <a:pt x="312" y="204"/>
                      </a:lnTo>
                      <a:lnTo>
                        <a:pt x="310" y="207"/>
                      </a:lnTo>
                      <a:lnTo>
                        <a:pt x="309" y="211"/>
                      </a:lnTo>
                      <a:lnTo>
                        <a:pt x="299" y="214"/>
                      </a:lnTo>
                      <a:lnTo>
                        <a:pt x="297" y="216"/>
                      </a:lnTo>
                      <a:lnTo>
                        <a:pt x="297" y="217"/>
                      </a:lnTo>
                      <a:lnTo>
                        <a:pt x="295" y="221"/>
                      </a:lnTo>
                      <a:lnTo>
                        <a:pt x="295" y="222"/>
                      </a:lnTo>
                      <a:lnTo>
                        <a:pt x="297" y="225"/>
                      </a:lnTo>
                      <a:lnTo>
                        <a:pt x="297" y="227"/>
                      </a:lnTo>
                      <a:lnTo>
                        <a:pt x="297" y="227"/>
                      </a:lnTo>
                      <a:lnTo>
                        <a:pt x="294" y="230"/>
                      </a:lnTo>
                      <a:lnTo>
                        <a:pt x="294" y="234"/>
                      </a:lnTo>
                      <a:lnTo>
                        <a:pt x="292" y="234"/>
                      </a:lnTo>
                      <a:lnTo>
                        <a:pt x="292" y="235"/>
                      </a:lnTo>
                      <a:lnTo>
                        <a:pt x="287" y="240"/>
                      </a:lnTo>
                      <a:lnTo>
                        <a:pt x="286" y="242"/>
                      </a:lnTo>
                      <a:lnTo>
                        <a:pt x="278" y="247"/>
                      </a:lnTo>
                      <a:lnTo>
                        <a:pt x="278" y="245"/>
                      </a:lnTo>
                      <a:lnTo>
                        <a:pt x="278" y="243"/>
                      </a:lnTo>
                      <a:lnTo>
                        <a:pt x="276" y="243"/>
                      </a:lnTo>
                      <a:lnTo>
                        <a:pt x="274" y="243"/>
                      </a:lnTo>
                      <a:lnTo>
                        <a:pt x="273" y="245"/>
                      </a:lnTo>
                      <a:lnTo>
                        <a:pt x="271" y="245"/>
                      </a:lnTo>
                      <a:lnTo>
                        <a:pt x="269" y="250"/>
                      </a:lnTo>
                      <a:lnTo>
                        <a:pt x="273" y="248"/>
                      </a:lnTo>
                      <a:lnTo>
                        <a:pt x="273" y="248"/>
                      </a:lnTo>
                      <a:lnTo>
                        <a:pt x="274" y="248"/>
                      </a:lnTo>
                      <a:lnTo>
                        <a:pt x="264" y="258"/>
                      </a:lnTo>
                      <a:lnTo>
                        <a:pt x="261" y="266"/>
                      </a:lnTo>
                      <a:lnTo>
                        <a:pt x="246" y="278"/>
                      </a:lnTo>
                      <a:lnTo>
                        <a:pt x="245" y="281"/>
                      </a:lnTo>
                      <a:lnTo>
                        <a:pt x="242" y="284"/>
                      </a:lnTo>
                      <a:lnTo>
                        <a:pt x="235" y="288"/>
                      </a:lnTo>
                      <a:lnTo>
                        <a:pt x="232" y="291"/>
                      </a:lnTo>
                      <a:lnTo>
                        <a:pt x="230" y="294"/>
                      </a:lnTo>
                      <a:lnTo>
                        <a:pt x="232" y="297"/>
                      </a:lnTo>
                      <a:lnTo>
                        <a:pt x="229" y="302"/>
                      </a:lnTo>
                      <a:lnTo>
                        <a:pt x="225" y="304"/>
                      </a:lnTo>
                      <a:lnTo>
                        <a:pt x="219" y="304"/>
                      </a:lnTo>
                      <a:lnTo>
                        <a:pt x="215" y="306"/>
                      </a:lnTo>
                      <a:lnTo>
                        <a:pt x="215" y="309"/>
                      </a:lnTo>
                      <a:lnTo>
                        <a:pt x="211" y="315"/>
                      </a:lnTo>
                      <a:lnTo>
                        <a:pt x="209" y="315"/>
                      </a:lnTo>
                      <a:lnTo>
                        <a:pt x="207" y="312"/>
                      </a:lnTo>
                      <a:lnTo>
                        <a:pt x="206" y="312"/>
                      </a:lnTo>
                      <a:lnTo>
                        <a:pt x="199" y="317"/>
                      </a:lnTo>
                      <a:lnTo>
                        <a:pt x="199" y="320"/>
                      </a:lnTo>
                      <a:lnTo>
                        <a:pt x="199" y="327"/>
                      </a:lnTo>
                      <a:lnTo>
                        <a:pt x="201" y="335"/>
                      </a:lnTo>
                      <a:lnTo>
                        <a:pt x="199" y="337"/>
                      </a:lnTo>
                      <a:lnTo>
                        <a:pt x="199" y="341"/>
                      </a:lnTo>
                      <a:lnTo>
                        <a:pt x="199" y="355"/>
                      </a:lnTo>
                      <a:lnTo>
                        <a:pt x="202" y="356"/>
                      </a:lnTo>
                      <a:lnTo>
                        <a:pt x="204" y="363"/>
                      </a:lnTo>
                      <a:lnTo>
                        <a:pt x="201" y="374"/>
                      </a:lnTo>
                      <a:lnTo>
                        <a:pt x="196" y="382"/>
                      </a:lnTo>
                      <a:lnTo>
                        <a:pt x="196" y="387"/>
                      </a:lnTo>
                      <a:lnTo>
                        <a:pt x="197" y="390"/>
                      </a:lnTo>
                      <a:lnTo>
                        <a:pt x="199" y="404"/>
                      </a:lnTo>
                      <a:lnTo>
                        <a:pt x="199" y="407"/>
                      </a:lnTo>
                      <a:lnTo>
                        <a:pt x="196" y="408"/>
                      </a:lnTo>
                      <a:lnTo>
                        <a:pt x="194" y="408"/>
                      </a:lnTo>
                      <a:lnTo>
                        <a:pt x="189" y="408"/>
                      </a:lnTo>
                      <a:lnTo>
                        <a:pt x="188" y="412"/>
                      </a:lnTo>
                      <a:lnTo>
                        <a:pt x="189" y="413"/>
                      </a:lnTo>
                      <a:lnTo>
                        <a:pt x="184" y="418"/>
                      </a:lnTo>
                      <a:lnTo>
                        <a:pt x="183" y="420"/>
                      </a:lnTo>
                      <a:lnTo>
                        <a:pt x="184" y="423"/>
                      </a:lnTo>
                      <a:lnTo>
                        <a:pt x="189" y="425"/>
                      </a:lnTo>
                      <a:lnTo>
                        <a:pt x="189" y="426"/>
                      </a:lnTo>
                      <a:lnTo>
                        <a:pt x="189" y="426"/>
                      </a:lnTo>
                      <a:lnTo>
                        <a:pt x="189" y="426"/>
                      </a:lnTo>
                      <a:lnTo>
                        <a:pt x="186" y="425"/>
                      </a:lnTo>
                      <a:lnTo>
                        <a:pt x="180" y="426"/>
                      </a:lnTo>
                      <a:lnTo>
                        <a:pt x="180" y="426"/>
                      </a:lnTo>
                      <a:lnTo>
                        <a:pt x="173" y="430"/>
                      </a:lnTo>
                      <a:lnTo>
                        <a:pt x="171" y="433"/>
                      </a:lnTo>
                      <a:lnTo>
                        <a:pt x="171" y="435"/>
                      </a:lnTo>
                      <a:lnTo>
                        <a:pt x="170" y="435"/>
                      </a:lnTo>
                      <a:lnTo>
                        <a:pt x="171" y="436"/>
                      </a:lnTo>
                      <a:lnTo>
                        <a:pt x="170" y="441"/>
                      </a:lnTo>
                      <a:lnTo>
                        <a:pt x="163" y="444"/>
                      </a:lnTo>
                      <a:lnTo>
                        <a:pt x="158" y="444"/>
                      </a:lnTo>
                      <a:lnTo>
                        <a:pt x="153" y="441"/>
                      </a:lnTo>
                      <a:lnTo>
                        <a:pt x="148" y="435"/>
                      </a:lnTo>
                      <a:lnTo>
                        <a:pt x="144" y="423"/>
                      </a:lnTo>
                      <a:lnTo>
                        <a:pt x="144" y="417"/>
                      </a:lnTo>
                      <a:lnTo>
                        <a:pt x="142" y="410"/>
                      </a:lnTo>
                      <a:lnTo>
                        <a:pt x="137" y="404"/>
                      </a:lnTo>
                      <a:lnTo>
                        <a:pt x="137" y="400"/>
                      </a:lnTo>
                      <a:lnTo>
                        <a:pt x="137" y="400"/>
                      </a:lnTo>
                      <a:lnTo>
                        <a:pt x="135" y="395"/>
                      </a:lnTo>
                      <a:lnTo>
                        <a:pt x="134" y="390"/>
                      </a:lnTo>
                      <a:lnTo>
                        <a:pt x="129" y="384"/>
                      </a:lnTo>
                      <a:lnTo>
                        <a:pt x="126" y="381"/>
                      </a:lnTo>
                      <a:lnTo>
                        <a:pt x="124" y="381"/>
                      </a:lnTo>
                      <a:lnTo>
                        <a:pt x="121" y="376"/>
                      </a:lnTo>
                      <a:lnTo>
                        <a:pt x="119" y="371"/>
                      </a:lnTo>
                      <a:lnTo>
                        <a:pt x="117" y="369"/>
                      </a:lnTo>
                      <a:lnTo>
                        <a:pt x="117" y="363"/>
                      </a:lnTo>
                      <a:lnTo>
                        <a:pt x="114" y="359"/>
                      </a:lnTo>
                      <a:lnTo>
                        <a:pt x="113" y="353"/>
                      </a:lnTo>
                      <a:lnTo>
                        <a:pt x="111" y="348"/>
                      </a:lnTo>
                      <a:lnTo>
                        <a:pt x="109" y="345"/>
                      </a:lnTo>
                      <a:lnTo>
                        <a:pt x="108" y="341"/>
                      </a:lnTo>
                      <a:lnTo>
                        <a:pt x="108" y="337"/>
                      </a:lnTo>
                      <a:lnTo>
                        <a:pt x="106" y="335"/>
                      </a:lnTo>
                      <a:lnTo>
                        <a:pt x="103" y="330"/>
                      </a:lnTo>
                      <a:lnTo>
                        <a:pt x="103" y="328"/>
                      </a:lnTo>
                      <a:lnTo>
                        <a:pt x="101" y="328"/>
                      </a:lnTo>
                      <a:lnTo>
                        <a:pt x="98" y="322"/>
                      </a:lnTo>
                      <a:lnTo>
                        <a:pt x="98" y="320"/>
                      </a:lnTo>
                      <a:lnTo>
                        <a:pt x="96" y="319"/>
                      </a:lnTo>
                      <a:lnTo>
                        <a:pt x="95" y="314"/>
                      </a:lnTo>
                      <a:lnTo>
                        <a:pt x="91" y="312"/>
                      </a:lnTo>
                      <a:lnTo>
                        <a:pt x="90" y="306"/>
                      </a:lnTo>
                      <a:lnTo>
                        <a:pt x="90" y="296"/>
                      </a:lnTo>
                      <a:lnTo>
                        <a:pt x="83" y="283"/>
                      </a:lnTo>
                      <a:lnTo>
                        <a:pt x="83" y="278"/>
                      </a:lnTo>
                      <a:lnTo>
                        <a:pt x="80" y="274"/>
                      </a:lnTo>
                      <a:lnTo>
                        <a:pt x="83" y="273"/>
                      </a:lnTo>
                      <a:lnTo>
                        <a:pt x="78" y="268"/>
                      </a:lnTo>
                      <a:lnTo>
                        <a:pt x="78" y="265"/>
                      </a:lnTo>
                      <a:lnTo>
                        <a:pt x="80" y="263"/>
                      </a:lnTo>
                      <a:lnTo>
                        <a:pt x="78" y="261"/>
                      </a:lnTo>
                      <a:lnTo>
                        <a:pt x="78" y="258"/>
                      </a:lnTo>
                      <a:lnTo>
                        <a:pt x="73" y="250"/>
                      </a:lnTo>
                      <a:lnTo>
                        <a:pt x="73" y="243"/>
                      </a:lnTo>
                      <a:lnTo>
                        <a:pt x="77" y="242"/>
                      </a:lnTo>
                      <a:lnTo>
                        <a:pt x="73" y="240"/>
                      </a:lnTo>
                      <a:lnTo>
                        <a:pt x="73" y="239"/>
                      </a:lnTo>
                      <a:lnTo>
                        <a:pt x="75" y="234"/>
                      </a:lnTo>
                      <a:lnTo>
                        <a:pt x="75" y="230"/>
                      </a:lnTo>
                      <a:lnTo>
                        <a:pt x="73" y="225"/>
                      </a:lnTo>
                      <a:lnTo>
                        <a:pt x="72" y="224"/>
                      </a:lnTo>
                      <a:lnTo>
                        <a:pt x="70" y="216"/>
                      </a:lnTo>
                      <a:lnTo>
                        <a:pt x="73" y="214"/>
                      </a:lnTo>
                      <a:lnTo>
                        <a:pt x="75" y="212"/>
                      </a:lnTo>
                      <a:lnTo>
                        <a:pt x="77" y="212"/>
                      </a:lnTo>
                      <a:lnTo>
                        <a:pt x="75" y="212"/>
                      </a:lnTo>
                      <a:lnTo>
                        <a:pt x="70" y="212"/>
                      </a:lnTo>
                      <a:lnTo>
                        <a:pt x="68" y="212"/>
                      </a:lnTo>
                      <a:lnTo>
                        <a:pt x="68" y="209"/>
                      </a:lnTo>
                      <a:lnTo>
                        <a:pt x="68" y="206"/>
                      </a:lnTo>
                      <a:lnTo>
                        <a:pt x="68" y="203"/>
                      </a:lnTo>
                      <a:lnTo>
                        <a:pt x="68" y="203"/>
                      </a:lnTo>
                      <a:lnTo>
                        <a:pt x="72" y="203"/>
                      </a:lnTo>
                      <a:lnTo>
                        <a:pt x="73" y="201"/>
                      </a:lnTo>
                      <a:lnTo>
                        <a:pt x="75" y="198"/>
                      </a:lnTo>
                      <a:lnTo>
                        <a:pt x="72" y="199"/>
                      </a:lnTo>
                      <a:lnTo>
                        <a:pt x="70" y="199"/>
                      </a:lnTo>
                      <a:lnTo>
                        <a:pt x="67" y="199"/>
                      </a:lnTo>
                      <a:lnTo>
                        <a:pt x="65" y="198"/>
                      </a:lnTo>
                      <a:lnTo>
                        <a:pt x="65" y="199"/>
                      </a:lnTo>
                      <a:lnTo>
                        <a:pt x="65" y="203"/>
                      </a:lnTo>
                      <a:lnTo>
                        <a:pt x="62" y="209"/>
                      </a:lnTo>
                      <a:lnTo>
                        <a:pt x="65" y="211"/>
                      </a:lnTo>
                      <a:lnTo>
                        <a:pt x="64" y="217"/>
                      </a:lnTo>
                      <a:lnTo>
                        <a:pt x="62" y="219"/>
                      </a:lnTo>
                      <a:lnTo>
                        <a:pt x="62" y="222"/>
                      </a:lnTo>
                      <a:lnTo>
                        <a:pt x="57" y="224"/>
                      </a:lnTo>
                      <a:lnTo>
                        <a:pt x="49" y="229"/>
                      </a:lnTo>
                      <a:lnTo>
                        <a:pt x="44" y="230"/>
                      </a:lnTo>
                      <a:lnTo>
                        <a:pt x="39" y="229"/>
                      </a:lnTo>
                      <a:lnTo>
                        <a:pt x="26" y="219"/>
                      </a:lnTo>
                      <a:lnTo>
                        <a:pt x="21" y="212"/>
                      </a:lnTo>
                      <a:lnTo>
                        <a:pt x="21" y="212"/>
                      </a:lnTo>
                      <a:lnTo>
                        <a:pt x="19" y="212"/>
                      </a:lnTo>
                      <a:lnTo>
                        <a:pt x="18" y="211"/>
                      </a:lnTo>
                      <a:lnTo>
                        <a:pt x="11" y="204"/>
                      </a:lnTo>
                      <a:lnTo>
                        <a:pt x="10" y="201"/>
                      </a:lnTo>
                      <a:lnTo>
                        <a:pt x="11" y="199"/>
                      </a:lnTo>
                      <a:lnTo>
                        <a:pt x="13" y="199"/>
                      </a:lnTo>
                      <a:lnTo>
                        <a:pt x="13" y="201"/>
                      </a:lnTo>
                      <a:lnTo>
                        <a:pt x="15" y="199"/>
                      </a:lnTo>
                      <a:lnTo>
                        <a:pt x="15" y="203"/>
                      </a:lnTo>
                      <a:lnTo>
                        <a:pt x="18" y="204"/>
                      </a:lnTo>
                      <a:lnTo>
                        <a:pt x="19" y="203"/>
                      </a:lnTo>
                      <a:lnTo>
                        <a:pt x="21" y="203"/>
                      </a:lnTo>
                      <a:lnTo>
                        <a:pt x="23" y="203"/>
                      </a:lnTo>
                      <a:lnTo>
                        <a:pt x="23" y="203"/>
                      </a:lnTo>
                      <a:lnTo>
                        <a:pt x="29" y="196"/>
                      </a:lnTo>
                      <a:lnTo>
                        <a:pt x="31" y="196"/>
                      </a:lnTo>
                      <a:lnTo>
                        <a:pt x="34" y="191"/>
                      </a:lnTo>
                      <a:lnTo>
                        <a:pt x="36" y="191"/>
                      </a:lnTo>
                      <a:lnTo>
                        <a:pt x="36" y="190"/>
                      </a:lnTo>
                      <a:lnTo>
                        <a:pt x="33" y="188"/>
                      </a:lnTo>
                      <a:lnTo>
                        <a:pt x="33" y="188"/>
                      </a:lnTo>
                      <a:lnTo>
                        <a:pt x="33" y="190"/>
                      </a:lnTo>
                      <a:lnTo>
                        <a:pt x="33" y="191"/>
                      </a:lnTo>
                      <a:lnTo>
                        <a:pt x="26" y="193"/>
                      </a:lnTo>
                      <a:lnTo>
                        <a:pt x="23" y="193"/>
                      </a:lnTo>
                      <a:lnTo>
                        <a:pt x="19" y="194"/>
                      </a:lnTo>
                      <a:lnTo>
                        <a:pt x="8" y="191"/>
                      </a:lnTo>
                      <a:lnTo>
                        <a:pt x="3" y="186"/>
                      </a:lnTo>
                      <a:lnTo>
                        <a:pt x="2" y="185"/>
                      </a:lnTo>
                      <a:lnTo>
                        <a:pt x="2" y="181"/>
                      </a:lnTo>
                      <a:lnTo>
                        <a:pt x="5" y="176"/>
                      </a:lnTo>
                      <a:lnTo>
                        <a:pt x="8" y="175"/>
                      </a:lnTo>
                      <a:lnTo>
                        <a:pt x="5" y="176"/>
                      </a:lnTo>
                      <a:lnTo>
                        <a:pt x="0" y="178"/>
                      </a:lnTo>
                      <a:lnTo>
                        <a:pt x="0" y="175"/>
                      </a:lnTo>
                      <a:lnTo>
                        <a:pt x="3" y="172"/>
                      </a:lnTo>
                      <a:lnTo>
                        <a:pt x="5" y="172"/>
                      </a:lnTo>
                      <a:lnTo>
                        <a:pt x="6" y="168"/>
                      </a:lnTo>
                      <a:lnTo>
                        <a:pt x="10" y="168"/>
                      </a:lnTo>
                      <a:lnTo>
                        <a:pt x="11" y="167"/>
                      </a:lnTo>
                      <a:lnTo>
                        <a:pt x="23" y="167"/>
                      </a:lnTo>
                      <a:lnTo>
                        <a:pt x="29" y="165"/>
                      </a:lnTo>
                      <a:lnTo>
                        <a:pt x="29" y="163"/>
                      </a:lnTo>
                      <a:lnTo>
                        <a:pt x="34" y="162"/>
                      </a:lnTo>
                      <a:lnTo>
                        <a:pt x="33" y="165"/>
                      </a:lnTo>
                      <a:lnTo>
                        <a:pt x="34" y="167"/>
                      </a:lnTo>
                      <a:lnTo>
                        <a:pt x="37" y="165"/>
                      </a:lnTo>
                      <a:lnTo>
                        <a:pt x="41" y="163"/>
                      </a:lnTo>
                      <a:lnTo>
                        <a:pt x="39" y="162"/>
                      </a:lnTo>
                      <a:lnTo>
                        <a:pt x="39" y="160"/>
                      </a:lnTo>
                      <a:lnTo>
                        <a:pt x="36" y="149"/>
                      </a:lnTo>
                      <a:lnTo>
                        <a:pt x="33" y="145"/>
                      </a:lnTo>
                      <a:lnTo>
                        <a:pt x="34" y="142"/>
                      </a:lnTo>
                      <a:lnTo>
                        <a:pt x="31" y="141"/>
                      </a:lnTo>
                      <a:lnTo>
                        <a:pt x="29" y="141"/>
                      </a:lnTo>
                      <a:lnTo>
                        <a:pt x="23" y="137"/>
                      </a:lnTo>
                      <a:lnTo>
                        <a:pt x="23" y="132"/>
                      </a:lnTo>
                      <a:lnTo>
                        <a:pt x="23" y="127"/>
                      </a:lnTo>
                      <a:lnTo>
                        <a:pt x="21" y="123"/>
                      </a:lnTo>
                      <a:lnTo>
                        <a:pt x="18" y="123"/>
                      </a:lnTo>
                      <a:lnTo>
                        <a:pt x="16" y="124"/>
                      </a:lnTo>
                      <a:lnTo>
                        <a:pt x="13" y="123"/>
                      </a:lnTo>
                      <a:lnTo>
                        <a:pt x="10" y="123"/>
                      </a:lnTo>
                      <a:lnTo>
                        <a:pt x="10" y="119"/>
                      </a:lnTo>
                      <a:lnTo>
                        <a:pt x="13" y="113"/>
                      </a:lnTo>
                      <a:lnTo>
                        <a:pt x="15" y="111"/>
                      </a:lnTo>
                      <a:lnTo>
                        <a:pt x="19" y="105"/>
                      </a:lnTo>
                      <a:lnTo>
                        <a:pt x="19" y="103"/>
                      </a:lnTo>
                      <a:lnTo>
                        <a:pt x="23" y="101"/>
                      </a:lnTo>
                      <a:lnTo>
                        <a:pt x="24" y="100"/>
                      </a:lnTo>
                      <a:lnTo>
                        <a:pt x="28" y="101"/>
                      </a:lnTo>
                      <a:lnTo>
                        <a:pt x="29" y="105"/>
                      </a:lnTo>
                      <a:lnTo>
                        <a:pt x="31" y="105"/>
                      </a:lnTo>
                      <a:lnTo>
                        <a:pt x="37" y="101"/>
                      </a:lnTo>
                      <a:lnTo>
                        <a:pt x="46" y="101"/>
                      </a:lnTo>
                      <a:lnTo>
                        <a:pt x="50" y="95"/>
                      </a:lnTo>
                      <a:lnTo>
                        <a:pt x="54" y="85"/>
                      </a:lnTo>
                      <a:lnTo>
                        <a:pt x="60" y="80"/>
                      </a:lnTo>
                      <a:lnTo>
                        <a:pt x="62" y="77"/>
                      </a:lnTo>
                      <a:lnTo>
                        <a:pt x="64" y="72"/>
                      </a:lnTo>
                      <a:lnTo>
                        <a:pt x="67" y="67"/>
                      </a:lnTo>
                      <a:lnTo>
                        <a:pt x="72" y="64"/>
                      </a:lnTo>
                      <a:lnTo>
                        <a:pt x="73" y="60"/>
                      </a:lnTo>
                      <a:lnTo>
                        <a:pt x="73" y="57"/>
                      </a:lnTo>
                      <a:lnTo>
                        <a:pt x="72" y="56"/>
                      </a:lnTo>
                      <a:lnTo>
                        <a:pt x="75" y="51"/>
                      </a:lnTo>
                      <a:lnTo>
                        <a:pt x="78" y="47"/>
                      </a:lnTo>
                      <a:lnTo>
                        <a:pt x="78" y="44"/>
                      </a:lnTo>
                      <a:lnTo>
                        <a:pt x="80" y="36"/>
                      </a:lnTo>
                      <a:lnTo>
                        <a:pt x="78" y="29"/>
                      </a:lnTo>
                      <a:lnTo>
                        <a:pt x="77" y="29"/>
                      </a:lnTo>
                      <a:lnTo>
                        <a:pt x="82" y="25"/>
                      </a:lnTo>
                      <a:lnTo>
                        <a:pt x="85" y="23"/>
                      </a:lnTo>
                      <a:lnTo>
                        <a:pt x="88" y="21"/>
                      </a:lnTo>
                      <a:lnTo>
                        <a:pt x="90" y="21"/>
                      </a:lnTo>
                      <a:lnTo>
                        <a:pt x="95" y="16"/>
                      </a:lnTo>
                      <a:lnTo>
                        <a:pt x="99" y="8"/>
                      </a:lnTo>
                      <a:lnTo>
                        <a:pt x="103" y="5"/>
                      </a:lnTo>
                      <a:lnTo>
                        <a:pt x="108" y="3"/>
                      </a:lnTo>
                      <a:lnTo>
                        <a:pt x="109" y="0"/>
                      </a:lnTo>
                      <a:lnTo>
                        <a:pt x="113" y="0"/>
                      </a:lnTo>
                      <a:lnTo>
                        <a:pt x="121" y="7"/>
                      </a:lnTo>
                      <a:lnTo>
                        <a:pt x="126" y="3"/>
                      </a:lnTo>
                      <a:lnTo>
                        <a:pt x="131" y="5"/>
                      </a:lnTo>
                      <a:lnTo>
                        <a:pt x="132" y="10"/>
                      </a:lnTo>
                      <a:lnTo>
                        <a:pt x="135" y="10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close/>
                      <a:moveTo>
                        <a:pt x="322" y="211"/>
                      </a:moveTo>
                      <a:lnTo>
                        <a:pt x="322" y="212"/>
                      </a:lnTo>
                      <a:lnTo>
                        <a:pt x="323" y="212"/>
                      </a:lnTo>
                      <a:lnTo>
                        <a:pt x="322" y="211"/>
                      </a:lnTo>
                      <a:lnTo>
                        <a:pt x="322" y="211"/>
                      </a:lnTo>
                      <a:close/>
                      <a:moveTo>
                        <a:pt x="320" y="209"/>
                      </a:moveTo>
                      <a:lnTo>
                        <a:pt x="318" y="211"/>
                      </a:lnTo>
                      <a:lnTo>
                        <a:pt x="318" y="212"/>
                      </a:lnTo>
                      <a:lnTo>
                        <a:pt x="320" y="212"/>
                      </a:lnTo>
                      <a:lnTo>
                        <a:pt x="320" y="211"/>
                      </a:lnTo>
                      <a:lnTo>
                        <a:pt x="320" y="209"/>
                      </a:lnTo>
                      <a:lnTo>
                        <a:pt x="320" y="209"/>
                      </a:lnTo>
                      <a:close/>
                      <a:moveTo>
                        <a:pt x="315" y="209"/>
                      </a:moveTo>
                      <a:lnTo>
                        <a:pt x="317" y="212"/>
                      </a:lnTo>
                      <a:lnTo>
                        <a:pt x="318" y="214"/>
                      </a:lnTo>
                      <a:lnTo>
                        <a:pt x="317" y="211"/>
                      </a:lnTo>
                      <a:lnTo>
                        <a:pt x="315" y="209"/>
                      </a:lnTo>
                      <a:lnTo>
                        <a:pt x="315" y="209"/>
                      </a:lnTo>
                      <a:close/>
                      <a:moveTo>
                        <a:pt x="312" y="211"/>
                      </a:moveTo>
                      <a:lnTo>
                        <a:pt x="312" y="212"/>
                      </a:lnTo>
                      <a:lnTo>
                        <a:pt x="313" y="212"/>
                      </a:lnTo>
                      <a:lnTo>
                        <a:pt x="313" y="207"/>
                      </a:lnTo>
                      <a:lnTo>
                        <a:pt x="313" y="206"/>
                      </a:lnTo>
                      <a:lnTo>
                        <a:pt x="312" y="21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8" name="Freeform 182">
                  <a:extLst>
                    <a:ext uri="{FF2B5EF4-FFF2-40B4-BE49-F238E27FC236}">
                      <a16:creationId xmlns:a16="http://schemas.microsoft.com/office/drawing/2014/main" xmlns="" id="{45D9FD7C-52DD-402E-BD4F-E640BA0B31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34" y="1600"/>
                  <a:ext cx="82" cy="109"/>
                </a:xfrm>
                <a:custGeom>
                  <a:avLst/>
                  <a:gdLst>
                    <a:gd name="T0" fmla="*/ 49 w 50"/>
                    <a:gd name="T1" fmla="*/ 59 h 67"/>
                    <a:gd name="T2" fmla="*/ 46 w 50"/>
                    <a:gd name="T3" fmla="*/ 63 h 67"/>
                    <a:gd name="T4" fmla="*/ 46 w 50"/>
                    <a:gd name="T5" fmla="*/ 67 h 67"/>
                    <a:gd name="T6" fmla="*/ 43 w 50"/>
                    <a:gd name="T7" fmla="*/ 61 h 67"/>
                    <a:gd name="T8" fmla="*/ 42 w 50"/>
                    <a:gd name="T9" fmla="*/ 57 h 67"/>
                    <a:gd name="T10" fmla="*/ 41 w 50"/>
                    <a:gd name="T11" fmla="*/ 58 h 67"/>
                    <a:gd name="T12" fmla="*/ 41 w 50"/>
                    <a:gd name="T13" fmla="*/ 53 h 67"/>
                    <a:gd name="T14" fmla="*/ 37 w 50"/>
                    <a:gd name="T15" fmla="*/ 43 h 67"/>
                    <a:gd name="T16" fmla="*/ 35 w 50"/>
                    <a:gd name="T17" fmla="*/ 44 h 67"/>
                    <a:gd name="T18" fmla="*/ 30 w 50"/>
                    <a:gd name="T19" fmla="*/ 43 h 67"/>
                    <a:gd name="T20" fmla="*/ 26 w 50"/>
                    <a:gd name="T21" fmla="*/ 38 h 67"/>
                    <a:gd name="T22" fmla="*/ 27 w 50"/>
                    <a:gd name="T23" fmla="*/ 45 h 67"/>
                    <a:gd name="T24" fmla="*/ 28 w 50"/>
                    <a:gd name="T25" fmla="*/ 48 h 67"/>
                    <a:gd name="T26" fmla="*/ 24 w 50"/>
                    <a:gd name="T27" fmla="*/ 54 h 67"/>
                    <a:gd name="T28" fmla="*/ 25 w 50"/>
                    <a:gd name="T29" fmla="*/ 51 h 67"/>
                    <a:gd name="T30" fmla="*/ 22 w 50"/>
                    <a:gd name="T31" fmla="*/ 53 h 67"/>
                    <a:gd name="T32" fmla="*/ 22 w 50"/>
                    <a:gd name="T33" fmla="*/ 47 h 67"/>
                    <a:gd name="T34" fmla="*/ 21 w 50"/>
                    <a:gd name="T35" fmla="*/ 49 h 67"/>
                    <a:gd name="T36" fmla="*/ 21 w 50"/>
                    <a:gd name="T37" fmla="*/ 53 h 67"/>
                    <a:gd name="T38" fmla="*/ 20 w 50"/>
                    <a:gd name="T39" fmla="*/ 55 h 67"/>
                    <a:gd name="T40" fmla="*/ 18 w 50"/>
                    <a:gd name="T41" fmla="*/ 56 h 67"/>
                    <a:gd name="T42" fmla="*/ 15 w 50"/>
                    <a:gd name="T43" fmla="*/ 53 h 67"/>
                    <a:gd name="T44" fmla="*/ 13 w 50"/>
                    <a:gd name="T45" fmla="*/ 49 h 67"/>
                    <a:gd name="T46" fmla="*/ 10 w 50"/>
                    <a:gd name="T47" fmla="*/ 39 h 67"/>
                    <a:gd name="T48" fmla="*/ 10 w 50"/>
                    <a:gd name="T49" fmla="*/ 31 h 67"/>
                    <a:gd name="T50" fmla="*/ 3 w 50"/>
                    <a:gd name="T51" fmla="*/ 25 h 67"/>
                    <a:gd name="T52" fmla="*/ 5 w 50"/>
                    <a:gd name="T53" fmla="*/ 18 h 67"/>
                    <a:gd name="T54" fmla="*/ 9 w 50"/>
                    <a:gd name="T55" fmla="*/ 16 h 67"/>
                    <a:gd name="T56" fmla="*/ 6 w 50"/>
                    <a:gd name="T57" fmla="*/ 12 h 67"/>
                    <a:gd name="T58" fmla="*/ 0 w 50"/>
                    <a:gd name="T59" fmla="*/ 9 h 67"/>
                    <a:gd name="T60" fmla="*/ 2 w 50"/>
                    <a:gd name="T61" fmla="*/ 3 h 67"/>
                    <a:gd name="T62" fmla="*/ 4 w 50"/>
                    <a:gd name="T63" fmla="*/ 0 h 67"/>
                    <a:gd name="T64" fmla="*/ 6 w 50"/>
                    <a:gd name="T65" fmla="*/ 4 h 67"/>
                    <a:gd name="T66" fmla="*/ 10 w 50"/>
                    <a:gd name="T67" fmla="*/ 6 h 67"/>
                    <a:gd name="T68" fmla="*/ 10 w 50"/>
                    <a:gd name="T69" fmla="*/ 4 h 67"/>
                    <a:gd name="T70" fmla="*/ 14 w 50"/>
                    <a:gd name="T71" fmla="*/ 7 h 67"/>
                    <a:gd name="T72" fmla="*/ 17 w 50"/>
                    <a:gd name="T73" fmla="*/ 8 h 67"/>
                    <a:gd name="T74" fmla="*/ 18 w 50"/>
                    <a:gd name="T75" fmla="*/ 14 h 67"/>
                    <a:gd name="T76" fmla="*/ 22 w 50"/>
                    <a:gd name="T77" fmla="*/ 16 h 67"/>
                    <a:gd name="T78" fmla="*/ 30 w 50"/>
                    <a:gd name="T79" fmla="*/ 17 h 67"/>
                    <a:gd name="T80" fmla="*/ 38 w 50"/>
                    <a:gd name="T81" fmla="*/ 17 h 67"/>
                    <a:gd name="T82" fmla="*/ 41 w 50"/>
                    <a:gd name="T83" fmla="*/ 19 h 67"/>
                    <a:gd name="T84" fmla="*/ 41 w 50"/>
                    <a:gd name="T85" fmla="*/ 24 h 67"/>
                    <a:gd name="T86" fmla="*/ 38 w 50"/>
                    <a:gd name="T87" fmla="*/ 29 h 67"/>
                    <a:gd name="T88" fmla="*/ 36 w 50"/>
                    <a:gd name="T89" fmla="*/ 29 h 67"/>
                    <a:gd name="T90" fmla="*/ 33 w 50"/>
                    <a:gd name="T91" fmla="*/ 32 h 67"/>
                    <a:gd name="T92" fmla="*/ 35 w 50"/>
                    <a:gd name="T93" fmla="*/ 37 h 67"/>
                    <a:gd name="T94" fmla="*/ 38 w 50"/>
                    <a:gd name="T95" fmla="*/ 41 h 67"/>
                    <a:gd name="T96" fmla="*/ 39 w 50"/>
                    <a:gd name="T97" fmla="*/ 39 h 67"/>
                    <a:gd name="T98" fmla="*/ 40 w 50"/>
                    <a:gd name="T99" fmla="*/ 36 h 67"/>
                    <a:gd name="T100" fmla="*/ 42 w 50"/>
                    <a:gd name="T101" fmla="*/ 35 h 67"/>
                    <a:gd name="T102" fmla="*/ 45 w 50"/>
                    <a:gd name="T103" fmla="*/ 37 h 67"/>
                    <a:gd name="T104" fmla="*/ 46 w 50"/>
                    <a:gd name="T105" fmla="*/ 44 h 67"/>
                    <a:gd name="T106" fmla="*/ 48 w 50"/>
                    <a:gd name="T107" fmla="*/ 52 h 67"/>
                    <a:gd name="T108" fmla="*/ 49 w 50"/>
                    <a:gd name="T109" fmla="*/ 54 h 67"/>
                    <a:gd name="T110" fmla="*/ 36 w 50"/>
                    <a:gd name="T111" fmla="*/ 46 h 67"/>
                    <a:gd name="T112" fmla="*/ 36 w 50"/>
                    <a:gd name="T113" fmla="*/ 48 h 67"/>
                    <a:gd name="T114" fmla="*/ 32 w 50"/>
                    <a:gd name="T115" fmla="*/ 48 h 67"/>
                    <a:gd name="T116" fmla="*/ 34 w 50"/>
                    <a:gd name="T117" fmla="*/ 49 h 67"/>
                    <a:gd name="T118" fmla="*/ 32 w 50"/>
                    <a:gd name="T119" fmla="*/ 46 h 67"/>
                    <a:gd name="T120" fmla="*/ 28 w 50"/>
                    <a:gd name="T121" fmla="*/ 46 h 67"/>
                    <a:gd name="T122" fmla="*/ 31 w 50"/>
                    <a:gd name="T123" fmla="*/ 4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0" h="67">
                      <a:moveTo>
                        <a:pt x="50" y="55"/>
                      </a:moveTo>
                      <a:cubicBezTo>
                        <a:pt x="50" y="57"/>
                        <a:pt x="50" y="57"/>
                        <a:pt x="50" y="57"/>
                      </a:cubicBezTo>
                      <a:cubicBezTo>
                        <a:pt x="49" y="59"/>
                        <a:pt x="49" y="59"/>
                        <a:pt x="49" y="59"/>
                      </a:cubicBezTo>
                      <a:cubicBezTo>
                        <a:pt x="48" y="59"/>
                        <a:pt x="48" y="59"/>
                        <a:pt x="48" y="59"/>
                      </a:cubicBezTo>
                      <a:cubicBezTo>
                        <a:pt x="46" y="61"/>
                        <a:pt x="46" y="61"/>
                        <a:pt x="46" y="61"/>
                      </a:cubicBezTo>
                      <a:cubicBezTo>
                        <a:pt x="46" y="63"/>
                        <a:pt x="46" y="63"/>
                        <a:pt x="46" y="63"/>
                      </a:cubicBezTo>
                      <a:cubicBezTo>
                        <a:pt x="46" y="64"/>
                        <a:pt x="46" y="64"/>
                        <a:pt x="46" y="64"/>
                      </a:cubicBezTo>
                      <a:cubicBezTo>
                        <a:pt x="46" y="64"/>
                        <a:pt x="46" y="64"/>
                        <a:pt x="46" y="64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4" y="63"/>
                        <a:pt x="44" y="63"/>
                        <a:pt x="44" y="6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2" y="60"/>
                        <a:pt x="42" y="60"/>
                        <a:pt x="42" y="60"/>
                      </a:cubicBezTo>
                      <a:cubicBezTo>
                        <a:pt x="42" y="58"/>
                        <a:pt x="42" y="58"/>
                        <a:pt x="42" y="58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8"/>
                        <a:pt x="42" y="58"/>
                        <a:pt x="42" y="58"/>
                      </a:cubicBezTo>
                      <a:cubicBezTo>
                        <a:pt x="41" y="59"/>
                        <a:pt x="41" y="59"/>
                        <a:pt x="41" y="59"/>
                      </a:cubicBezTo>
                      <a:cubicBezTo>
                        <a:pt x="41" y="58"/>
                        <a:pt x="41" y="58"/>
                        <a:pt x="41" y="58"/>
                      </a:cubicBezTo>
                      <a:cubicBezTo>
                        <a:pt x="41" y="55"/>
                        <a:pt x="41" y="55"/>
                        <a:pt x="41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1" y="53"/>
                        <a:pt x="41" y="53"/>
                        <a:pt x="41" y="53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0" y="50"/>
                        <a:pt x="40" y="50"/>
                        <a:pt x="40" y="50"/>
                      </a:cubicBezTo>
                      <a:cubicBezTo>
                        <a:pt x="37" y="43"/>
                        <a:pt x="37" y="43"/>
                        <a:pt x="37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36" y="44"/>
                        <a:pt x="36" y="44"/>
                        <a:pt x="36" y="44"/>
                      </a:cubicBezTo>
                      <a:cubicBezTo>
                        <a:pt x="35" y="44"/>
                        <a:pt x="35" y="44"/>
                        <a:pt x="35" y="44"/>
                      </a:cubicBezTo>
                      <a:cubicBezTo>
                        <a:pt x="33" y="45"/>
                        <a:pt x="33" y="45"/>
                        <a:pt x="33" y="45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29" y="43"/>
                        <a:pt x="29" y="43"/>
                        <a:pt x="29" y="43"/>
                      </a:cubicBezTo>
                      <a:cubicBezTo>
                        <a:pt x="27" y="41"/>
                        <a:pt x="27" y="41"/>
                        <a:pt x="27" y="41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8" y="44"/>
                        <a:pt x="28" y="44"/>
                        <a:pt x="28" y="44"/>
                      </a:cubicBezTo>
                      <a:cubicBezTo>
                        <a:pt x="27" y="45"/>
                        <a:pt x="27" y="45"/>
                        <a:pt x="27" y="45"/>
                      </a:cubicBezTo>
                      <a:cubicBezTo>
                        <a:pt x="25" y="45"/>
                        <a:pt x="25" y="45"/>
                        <a:pt x="25" y="45"/>
                      </a:cubicBezTo>
                      <a:cubicBezTo>
                        <a:pt x="27" y="46"/>
                        <a:pt x="27" y="46"/>
                        <a:pt x="27" y="46"/>
                      </a:cubicBezTo>
                      <a:cubicBezTo>
                        <a:pt x="28" y="48"/>
                        <a:pt x="28" y="48"/>
                        <a:pt x="28" y="48"/>
                      </a:cubicBezTo>
                      <a:cubicBezTo>
                        <a:pt x="28" y="51"/>
                        <a:pt x="28" y="51"/>
                        <a:pt x="28" y="51"/>
                      </a:cubicBezTo>
                      <a:cubicBezTo>
                        <a:pt x="26" y="51"/>
                        <a:pt x="26" y="51"/>
                        <a:pt x="26" y="51"/>
                      </a:cubicBezTo>
                      <a:cubicBezTo>
                        <a:pt x="24" y="54"/>
                        <a:pt x="24" y="54"/>
                        <a:pt x="24" y="54"/>
                      </a:cubicBezTo>
                      <a:cubicBezTo>
                        <a:pt x="23" y="53"/>
                        <a:pt x="23" y="53"/>
                        <a:pt x="23" y="53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5" y="51"/>
                        <a:pt x="25" y="51"/>
                        <a:pt x="25" y="51"/>
                      </a:cubicBezTo>
                      <a:cubicBezTo>
                        <a:pt x="25" y="50"/>
                        <a:pt x="25" y="50"/>
                        <a:pt x="25" y="50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6"/>
                        <a:pt x="21" y="46"/>
                        <a:pt x="21" y="46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51"/>
                        <a:pt x="21" y="51"/>
                        <a:pt x="21" y="51"/>
                      </a:cubicBezTo>
                      <a:cubicBezTo>
                        <a:pt x="20" y="51"/>
                        <a:pt x="20" y="51"/>
                        <a:pt x="20" y="51"/>
                      </a:cubicBezTo>
                      <a:cubicBezTo>
                        <a:pt x="21" y="53"/>
                        <a:pt x="21" y="53"/>
                        <a:pt x="21" y="53"/>
                      </a:cubicBezTo>
                      <a:cubicBezTo>
                        <a:pt x="21" y="55"/>
                        <a:pt x="21" y="55"/>
                        <a:pt x="21" y="55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56"/>
                        <a:pt x="18" y="56"/>
                        <a:pt x="18" y="56"/>
                      </a:cubicBezTo>
                      <a:cubicBezTo>
                        <a:pt x="16" y="56"/>
                        <a:pt x="16" y="56"/>
                        <a:pt x="16" y="56"/>
                      </a:cubicBezTo>
                      <a:cubicBezTo>
                        <a:pt x="16" y="55"/>
                        <a:pt x="16" y="55"/>
                        <a:pt x="16" y="55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3" y="49"/>
                        <a:pt x="13" y="49"/>
                        <a:pt x="13" y="49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0" y="39"/>
                        <a:pt x="10" y="39"/>
                        <a:pt x="10" y="39"/>
                      </a:cubicBezTo>
                      <a:cubicBezTo>
                        <a:pt x="10" y="37"/>
                        <a:pt x="10" y="37"/>
                        <a:pt x="10" y="37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1"/>
                        <a:pt x="10" y="31"/>
                        <a:pt x="10" y="31"/>
                      </a:cubicBezTo>
                      <a:cubicBezTo>
                        <a:pt x="7" y="28"/>
                        <a:pt x="7" y="28"/>
                        <a:pt x="7" y="28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2" y="7"/>
                        <a:pt x="2" y="7"/>
                        <a:pt x="2" y="7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8" y="14"/>
                        <a:pt x="18" y="14"/>
                        <a:pt x="18" y="14"/>
                      </a:cubicBezTo>
                      <a:cubicBezTo>
                        <a:pt x="18" y="15"/>
                        <a:pt x="18" y="15"/>
                        <a:pt x="18" y="15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30" y="17"/>
                        <a:pt x="30" y="17"/>
                        <a:pt x="30" y="17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6" y="17"/>
                        <a:pt x="36" y="17"/>
                        <a:pt x="36" y="17"/>
                      </a:cubicBezTo>
                      <a:cubicBezTo>
                        <a:pt x="38" y="17"/>
                        <a:pt x="38" y="17"/>
                        <a:pt x="38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7"/>
                      </a:cubicBezTo>
                      <a:cubicBezTo>
                        <a:pt x="41" y="19"/>
                        <a:pt x="41" y="19"/>
                        <a:pt x="41" y="19"/>
                      </a:cubicBezTo>
                      <a:cubicBezTo>
                        <a:pt x="42" y="19"/>
                        <a:pt x="42" y="19"/>
                        <a:pt x="42" y="19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1" y="24"/>
                        <a:pt x="41" y="24"/>
                        <a:pt x="41" y="24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38" y="29"/>
                        <a:pt x="38" y="29"/>
                        <a:pt x="38" y="29"/>
                      </a:cubicBezTo>
                      <a:cubicBezTo>
                        <a:pt x="38" y="30"/>
                        <a:pt x="38" y="30"/>
                        <a:pt x="38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6" y="29"/>
                        <a:pt x="36" y="29"/>
                        <a:pt x="36" y="29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31"/>
                        <a:pt x="34" y="31"/>
                        <a:pt x="34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4" y="36"/>
                        <a:pt x="34" y="36"/>
                        <a:pt x="34" y="36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7" y="39"/>
                        <a:pt x="37" y="39"/>
                        <a:pt x="37" y="39"/>
                      </a:cubicBezTo>
                      <a:cubicBezTo>
                        <a:pt x="38" y="41"/>
                        <a:pt x="38" y="41"/>
                        <a:pt x="38" y="41"/>
                      </a:cubicBezTo>
                      <a:cubicBezTo>
                        <a:pt x="39" y="41"/>
                        <a:pt x="39" y="41"/>
                        <a:pt x="39" y="41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39"/>
                        <a:pt x="39" y="39"/>
                        <a:pt x="39" y="39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40" y="37"/>
                        <a:pt x="40" y="37"/>
                        <a:pt x="40" y="37"/>
                      </a:cubicBezTo>
                      <a:cubicBezTo>
                        <a:pt x="40" y="36"/>
                        <a:pt x="40" y="36"/>
                        <a:pt x="40" y="36"/>
                      </a:cubicBezTo>
                      <a:cubicBezTo>
                        <a:pt x="40" y="35"/>
                        <a:pt x="40" y="35"/>
                        <a:pt x="40" y="35"/>
                      </a:cubicBezTo>
                      <a:cubicBezTo>
                        <a:pt x="41" y="34"/>
                        <a:pt x="41" y="34"/>
                        <a:pt x="41" y="34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4" y="35"/>
                        <a:pt x="44" y="35"/>
                        <a:pt x="44" y="35"/>
                      </a:cubicBezTo>
                      <a:cubicBezTo>
                        <a:pt x="44" y="36"/>
                        <a:pt x="44" y="36"/>
                        <a:pt x="44" y="36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6" y="40"/>
                        <a:pt x="46" y="40"/>
                        <a:pt x="46" y="40"/>
                      </a:cubicBezTo>
                      <a:cubicBezTo>
                        <a:pt x="46" y="42"/>
                        <a:pt x="46" y="42"/>
                        <a:pt x="46" y="42"/>
                      </a:cubicBezTo>
                      <a:cubicBezTo>
                        <a:pt x="46" y="44"/>
                        <a:pt x="46" y="44"/>
                        <a:pt x="46" y="44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50"/>
                        <a:pt x="48" y="50"/>
                        <a:pt x="48" y="50"/>
                      </a:cubicBezTo>
                      <a:cubicBezTo>
                        <a:pt x="48" y="52"/>
                        <a:pt x="48" y="52"/>
                        <a:pt x="48" y="52"/>
                      </a:cubicBezTo>
                      <a:cubicBezTo>
                        <a:pt x="49" y="52"/>
                        <a:pt x="49" y="52"/>
                        <a:pt x="49" y="52"/>
                      </a:cubicBezTo>
                      <a:cubicBezTo>
                        <a:pt x="49" y="54"/>
                        <a:pt x="49" y="54"/>
                        <a:pt x="49" y="54"/>
                      </a:cubicBezTo>
                      <a:cubicBezTo>
                        <a:pt x="49" y="54"/>
                        <a:pt x="49" y="54"/>
                        <a:pt x="49" y="54"/>
                      </a:cubicBezTo>
                      <a:cubicBezTo>
                        <a:pt x="50" y="55"/>
                        <a:pt x="50" y="55"/>
                        <a:pt x="50" y="55"/>
                      </a:cubicBezTo>
                      <a:close/>
                      <a:moveTo>
                        <a:pt x="37" y="47"/>
                      </a:moveTo>
                      <a:cubicBezTo>
                        <a:pt x="36" y="46"/>
                        <a:pt x="36" y="46"/>
                        <a:pt x="36" y="46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9"/>
                        <a:pt x="35" y="49"/>
                        <a:pt x="35" y="49"/>
                      </a:cubicBezTo>
                      <a:cubicBezTo>
                        <a:pt x="36" y="48"/>
                        <a:pt x="36" y="48"/>
                        <a:pt x="36" y="48"/>
                      </a:cubicBezTo>
                      <a:cubicBezTo>
                        <a:pt x="37" y="47"/>
                        <a:pt x="37" y="47"/>
                        <a:pt x="37" y="47"/>
                      </a:cubicBezTo>
                      <a:close/>
                      <a:moveTo>
                        <a:pt x="32" y="46"/>
                      </a:move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32" y="50"/>
                        <a:pt x="32" y="50"/>
                        <a:pt x="32" y="5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4" y="49"/>
                        <a:pt x="34" y="49"/>
                        <a:pt x="34" y="49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2" y="45"/>
                        <a:pt x="32" y="45"/>
                        <a:pt x="32" y="45"/>
                      </a:cubicBezTo>
                      <a:cubicBezTo>
                        <a:pt x="32" y="45"/>
                        <a:pt x="32" y="46"/>
                        <a:pt x="32" y="46"/>
                      </a:cubicBezTo>
                      <a:close/>
                      <a:moveTo>
                        <a:pt x="30" y="45"/>
                      </a:moveTo>
                      <a:cubicBezTo>
                        <a:pt x="28" y="46"/>
                        <a:pt x="28" y="46"/>
                        <a:pt x="28" y="46"/>
                      </a:cubicBezTo>
                      <a:cubicBezTo>
                        <a:pt x="28" y="46"/>
                        <a:pt x="28" y="46"/>
                        <a:pt x="28" y="46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31" y="49"/>
                        <a:pt x="31" y="49"/>
                        <a:pt x="31" y="49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lnTo>
                        <a:pt x="30" y="4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19" name="Freeform 183">
                  <a:extLst>
                    <a:ext uri="{FF2B5EF4-FFF2-40B4-BE49-F238E27FC236}">
                      <a16:creationId xmlns:a16="http://schemas.microsoft.com/office/drawing/2014/main" xmlns="" id="{DCAC4954-DB33-43E3-8DFD-B6DE39AD39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2" y="1572"/>
                  <a:ext cx="49" cy="29"/>
                </a:xfrm>
                <a:custGeom>
                  <a:avLst/>
                  <a:gdLst>
                    <a:gd name="T0" fmla="*/ 2 w 49"/>
                    <a:gd name="T1" fmla="*/ 15 h 29"/>
                    <a:gd name="T2" fmla="*/ 5 w 49"/>
                    <a:gd name="T3" fmla="*/ 13 h 29"/>
                    <a:gd name="T4" fmla="*/ 9 w 49"/>
                    <a:gd name="T5" fmla="*/ 5 h 29"/>
                    <a:gd name="T6" fmla="*/ 17 w 49"/>
                    <a:gd name="T7" fmla="*/ 0 h 29"/>
                    <a:gd name="T8" fmla="*/ 22 w 49"/>
                    <a:gd name="T9" fmla="*/ 0 h 29"/>
                    <a:gd name="T10" fmla="*/ 23 w 49"/>
                    <a:gd name="T11" fmla="*/ 3 h 29"/>
                    <a:gd name="T12" fmla="*/ 30 w 49"/>
                    <a:gd name="T13" fmla="*/ 3 h 29"/>
                    <a:gd name="T14" fmla="*/ 33 w 49"/>
                    <a:gd name="T15" fmla="*/ 5 h 29"/>
                    <a:gd name="T16" fmla="*/ 38 w 49"/>
                    <a:gd name="T17" fmla="*/ 3 h 29"/>
                    <a:gd name="T18" fmla="*/ 41 w 49"/>
                    <a:gd name="T19" fmla="*/ 3 h 29"/>
                    <a:gd name="T20" fmla="*/ 45 w 49"/>
                    <a:gd name="T21" fmla="*/ 6 h 29"/>
                    <a:gd name="T22" fmla="*/ 45 w 49"/>
                    <a:gd name="T23" fmla="*/ 6 h 29"/>
                    <a:gd name="T24" fmla="*/ 43 w 49"/>
                    <a:gd name="T25" fmla="*/ 11 h 29"/>
                    <a:gd name="T26" fmla="*/ 45 w 49"/>
                    <a:gd name="T27" fmla="*/ 15 h 29"/>
                    <a:gd name="T28" fmla="*/ 49 w 49"/>
                    <a:gd name="T29" fmla="*/ 16 h 29"/>
                    <a:gd name="T30" fmla="*/ 49 w 49"/>
                    <a:gd name="T31" fmla="*/ 21 h 29"/>
                    <a:gd name="T32" fmla="*/ 49 w 49"/>
                    <a:gd name="T33" fmla="*/ 23 h 29"/>
                    <a:gd name="T34" fmla="*/ 43 w 49"/>
                    <a:gd name="T35" fmla="*/ 26 h 29"/>
                    <a:gd name="T36" fmla="*/ 38 w 49"/>
                    <a:gd name="T37" fmla="*/ 24 h 29"/>
                    <a:gd name="T38" fmla="*/ 33 w 49"/>
                    <a:gd name="T39" fmla="*/ 26 h 29"/>
                    <a:gd name="T40" fmla="*/ 30 w 49"/>
                    <a:gd name="T41" fmla="*/ 24 h 29"/>
                    <a:gd name="T42" fmla="*/ 27 w 49"/>
                    <a:gd name="T43" fmla="*/ 26 h 29"/>
                    <a:gd name="T44" fmla="*/ 23 w 49"/>
                    <a:gd name="T45" fmla="*/ 29 h 29"/>
                    <a:gd name="T46" fmla="*/ 18 w 49"/>
                    <a:gd name="T47" fmla="*/ 29 h 29"/>
                    <a:gd name="T48" fmla="*/ 10 w 49"/>
                    <a:gd name="T49" fmla="*/ 24 h 29"/>
                    <a:gd name="T50" fmla="*/ 9 w 49"/>
                    <a:gd name="T51" fmla="*/ 26 h 29"/>
                    <a:gd name="T52" fmla="*/ 4 w 49"/>
                    <a:gd name="T53" fmla="*/ 26 h 29"/>
                    <a:gd name="T54" fmla="*/ 0 w 49"/>
                    <a:gd name="T55" fmla="*/ 19 h 29"/>
                    <a:gd name="T56" fmla="*/ 2 w 49"/>
                    <a:gd name="T57" fmla="*/ 18 h 29"/>
                    <a:gd name="T58" fmla="*/ 2 w 49"/>
                    <a:gd name="T59" fmla="*/ 1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9" h="29">
                      <a:moveTo>
                        <a:pt x="2" y="15"/>
                      </a:moveTo>
                      <a:lnTo>
                        <a:pt x="5" y="13"/>
                      </a:lnTo>
                      <a:lnTo>
                        <a:pt x="9" y="5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3" y="3"/>
                      </a:lnTo>
                      <a:lnTo>
                        <a:pt x="30" y="3"/>
                      </a:lnTo>
                      <a:lnTo>
                        <a:pt x="33" y="5"/>
                      </a:lnTo>
                      <a:lnTo>
                        <a:pt x="38" y="3"/>
                      </a:lnTo>
                      <a:lnTo>
                        <a:pt x="41" y="3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3" y="11"/>
                      </a:lnTo>
                      <a:lnTo>
                        <a:pt x="45" y="15"/>
                      </a:lnTo>
                      <a:lnTo>
                        <a:pt x="49" y="16"/>
                      </a:lnTo>
                      <a:lnTo>
                        <a:pt x="49" y="21"/>
                      </a:lnTo>
                      <a:lnTo>
                        <a:pt x="49" y="23"/>
                      </a:lnTo>
                      <a:lnTo>
                        <a:pt x="43" y="26"/>
                      </a:lnTo>
                      <a:lnTo>
                        <a:pt x="38" y="24"/>
                      </a:lnTo>
                      <a:lnTo>
                        <a:pt x="33" y="26"/>
                      </a:lnTo>
                      <a:lnTo>
                        <a:pt x="30" y="24"/>
                      </a:lnTo>
                      <a:lnTo>
                        <a:pt x="27" y="26"/>
                      </a:lnTo>
                      <a:lnTo>
                        <a:pt x="23" y="29"/>
                      </a:lnTo>
                      <a:lnTo>
                        <a:pt x="18" y="29"/>
                      </a:lnTo>
                      <a:lnTo>
                        <a:pt x="10" y="24"/>
                      </a:lnTo>
                      <a:lnTo>
                        <a:pt x="9" y="26"/>
                      </a:lnTo>
                      <a:lnTo>
                        <a:pt x="4" y="26"/>
                      </a:lnTo>
                      <a:lnTo>
                        <a:pt x="0" y="19"/>
                      </a:lnTo>
                      <a:lnTo>
                        <a:pt x="2" y="18"/>
                      </a:lnTo>
                      <a:lnTo>
                        <a:pt x="2" y="15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0" name="Freeform 184">
                  <a:extLst>
                    <a:ext uri="{FF2B5EF4-FFF2-40B4-BE49-F238E27FC236}">
                      <a16:creationId xmlns:a16="http://schemas.microsoft.com/office/drawing/2014/main" xmlns="" id="{212CD841-19D6-4F12-B509-752916D390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2" y="1536"/>
                  <a:ext cx="132" cy="70"/>
                </a:xfrm>
                <a:custGeom>
                  <a:avLst/>
                  <a:gdLst>
                    <a:gd name="T0" fmla="*/ 7 w 132"/>
                    <a:gd name="T1" fmla="*/ 0 h 70"/>
                    <a:gd name="T2" fmla="*/ 13 w 132"/>
                    <a:gd name="T3" fmla="*/ 3 h 70"/>
                    <a:gd name="T4" fmla="*/ 18 w 132"/>
                    <a:gd name="T5" fmla="*/ 5 h 70"/>
                    <a:gd name="T6" fmla="*/ 23 w 132"/>
                    <a:gd name="T7" fmla="*/ 2 h 70"/>
                    <a:gd name="T8" fmla="*/ 31 w 132"/>
                    <a:gd name="T9" fmla="*/ 5 h 70"/>
                    <a:gd name="T10" fmla="*/ 38 w 132"/>
                    <a:gd name="T11" fmla="*/ 6 h 70"/>
                    <a:gd name="T12" fmla="*/ 46 w 132"/>
                    <a:gd name="T13" fmla="*/ 11 h 70"/>
                    <a:gd name="T14" fmla="*/ 51 w 132"/>
                    <a:gd name="T15" fmla="*/ 16 h 70"/>
                    <a:gd name="T16" fmla="*/ 54 w 132"/>
                    <a:gd name="T17" fmla="*/ 23 h 70"/>
                    <a:gd name="T18" fmla="*/ 56 w 132"/>
                    <a:gd name="T19" fmla="*/ 18 h 70"/>
                    <a:gd name="T20" fmla="*/ 59 w 132"/>
                    <a:gd name="T21" fmla="*/ 16 h 70"/>
                    <a:gd name="T22" fmla="*/ 65 w 132"/>
                    <a:gd name="T23" fmla="*/ 20 h 70"/>
                    <a:gd name="T24" fmla="*/ 70 w 132"/>
                    <a:gd name="T25" fmla="*/ 26 h 70"/>
                    <a:gd name="T26" fmla="*/ 78 w 132"/>
                    <a:gd name="T27" fmla="*/ 26 h 70"/>
                    <a:gd name="T28" fmla="*/ 80 w 132"/>
                    <a:gd name="T29" fmla="*/ 36 h 70"/>
                    <a:gd name="T30" fmla="*/ 87 w 132"/>
                    <a:gd name="T31" fmla="*/ 37 h 70"/>
                    <a:gd name="T32" fmla="*/ 93 w 132"/>
                    <a:gd name="T33" fmla="*/ 36 h 70"/>
                    <a:gd name="T34" fmla="*/ 101 w 132"/>
                    <a:gd name="T35" fmla="*/ 33 h 70"/>
                    <a:gd name="T36" fmla="*/ 106 w 132"/>
                    <a:gd name="T37" fmla="*/ 39 h 70"/>
                    <a:gd name="T38" fmla="*/ 114 w 132"/>
                    <a:gd name="T39" fmla="*/ 44 h 70"/>
                    <a:gd name="T40" fmla="*/ 121 w 132"/>
                    <a:gd name="T41" fmla="*/ 44 h 70"/>
                    <a:gd name="T42" fmla="*/ 127 w 132"/>
                    <a:gd name="T43" fmla="*/ 42 h 70"/>
                    <a:gd name="T44" fmla="*/ 131 w 132"/>
                    <a:gd name="T45" fmla="*/ 47 h 70"/>
                    <a:gd name="T46" fmla="*/ 132 w 132"/>
                    <a:gd name="T47" fmla="*/ 60 h 70"/>
                    <a:gd name="T48" fmla="*/ 121 w 132"/>
                    <a:gd name="T49" fmla="*/ 70 h 70"/>
                    <a:gd name="T50" fmla="*/ 111 w 132"/>
                    <a:gd name="T51" fmla="*/ 69 h 70"/>
                    <a:gd name="T52" fmla="*/ 93 w 132"/>
                    <a:gd name="T53" fmla="*/ 64 h 70"/>
                    <a:gd name="T54" fmla="*/ 82 w 132"/>
                    <a:gd name="T55" fmla="*/ 64 h 70"/>
                    <a:gd name="T56" fmla="*/ 77 w 132"/>
                    <a:gd name="T57" fmla="*/ 55 h 70"/>
                    <a:gd name="T58" fmla="*/ 60 w 132"/>
                    <a:gd name="T59" fmla="*/ 55 h 70"/>
                    <a:gd name="T60" fmla="*/ 49 w 132"/>
                    <a:gd name="T61" fmla="*/ 54 h 70"/>
                    <a:gd name="T62" fmla="*/ 41 w 132"/>
                    <a:gd name="T63" fmla="*/ 51 h 70"/>
                    <a:gd name="T64" fmla="*/ 31 w 132"/>
                    <a:gd name="T65" fmla="*/ 47 h 70"/>
                    <a:gd name="T66" fmla="*/ 20 w 132"/>
                    <a:gd name="T67" fmla="*/ 36 h 70"/>
                    <a:gd name="T68" fmla="*/ 10 w 132"/>
                    <a:gd name="T69" fmla="*/ 33 h 70"/>
                    <a:gd name="T70" fmla="*/ 5 w 132"/>
                    <a:gd name="T71" fmla="*/ 29 h 70"/>
                    <a:gd name="T72" fmla="*/ 0 w 132"/>
                    <a:gd name="T73" fmla="*/ 26 h 70"/>
                    <a:gd name="T74" fmla="*/ 5 w 132"/>
                    <a:gd name="T75" fmla="*/ 15 h 70"/>
                    <a:gd name="T76" fmla="*/ 7 w 132"/>
                    <a:gd name="T77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2" h="70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6" y="3"/>
                      </a:lnTo>
                      <a:lnTo>
                        <a:pt x="18" y="5"/>
                      </a:lnTo>
                      <a:lnTo>
                        <a:pt x="20" y="2"/>
                      </a:lnTo>
                      <a:lnTo>
                        <a:pt x="23" y="2"/>
                      </a:lnTo>
                      <a:lnTo>
                        <a:pt x="29" y="3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8" y="6"/>
                      </a:lnTo>
                      <a:lnTo>
                        <a:pt x="42" y="11"/>
                      </a:lnTo>
                      <a:lnTo>
                        <a:pt x="46" y="11"/>
                      </a:lnTo>
                      <a:lnTo>
                        <a:pt x="49" y="13"/>
                      </a:lnTo>
                      <a:lnTo>
                        <a:pt x="51" y="16"/>
                      </a:lnTo>
                      <a:lnTo>
                        <a:pt x="52" y="20"/>
                      </a:lnTo>
                      <a:lnTo>
                        <a:pt x="54" y="23"/>
                      </a:lnTo>
                      <a:lnTo>
                        <a:pt x="56" y="21"/>
                      </a:lnTo>
                      <a:lnTo>
                        <a:pt x="56" y="18"/>
                      </a:lnTo>
                      <a:lnTo>
                        <a:pt x="59" y="15"/>
                      </a:lnTo>
                      <a:lnTo>
                        <a:pt x="59" y="16"/>
                      </a:lnTo>
                      <a:lnTo>
                        <a:pt x="62" y="16"/>
                      </a:lnTo>
                      <a:lnTo>
                        <a:pt x="65" y="20"/>
                      </a:lnTo>
                      <a:lnTo>
                        <a:pt x="67" y="23"/>
                      </a:lnTo>
                      <a:lnTo>
                        <a:pt x="70" y="26"/>
                      </a:lnTo>
                      <a:lnTo>
                        <a:pt x="75" y="26"/>
                      </a:lnTo>
                      <a:lnTo>
                        <a:pt x="78" y="26"/>
                      </a:lnTo>
                      <a:lnTo>
                        <a:pt x="78" y="33"/>
                      </a:lnTo>
                      <a:lnTo>
                        <a:pt x="80" y="36"/>
                      </a:lnTo>
                      <a:lnTo>
                        <a:pt x="83" y="36"/>
                      </a:lnTo>
                      <a:lnTo>
                        <a:pt x="87" y="37"/>
                      </a:lnTo>
                      <a:lnTo>
                        <a:pt x="90" y="36"/>
                      </a:lnTo>
                      <a:lnTo>
                        <a:pt x="93" y="36"/>
                      </a:lnTo>
                      <a:lnTo>
                        <a:pt x="95" y="33"/>
                      </a:lnTo>
                      <a:lnTo>
                        <a:pt x="101" y="33"/>
                      </a:lnTo>
                      <a:lnTo>
                        <a:pt x="105" y="34"/>
                      </a:lnTo>
                      <a:lnTo>
                        <a:pt x="106" y="39"/>
                      </a:lnTo>
                      <a:lnTo>
                        <a:pt x="111" y="41"/>
                      </a:lnTo>
                      <a:lnTo>
                        <a:pt x="114" y="44"/>
                      </a:lnTo>
                      <a:lnTo>
                        <a:pt x="116" y="46"/>
                      </a:lnTo>
                      <a:lnTo>
                        <a:pt x="121" y="44"/>
                      </a:lnTo>
                      <a:lnTo>
                        <a:pt x="122" y="44"/>
                      </a:lnTo>
                      <a:lnTo>
                        <a:pt x="127" y="42"/>
                      </a:lnTo>
                      <a:lnTo>
                        <a:pt x="129" y="42"/>
                      </a:lnTo>
                      <a:lnTo>
                        <a:pt x="131" y="47"/>
                      </a:lnTo>
                      <a:lnTo>
                        <a:pt x="129" y="54"/>
                      </a:lnTo>
                      <a:lnTo>
                        <a:pt x="132" y="60"/>
                      </a:lnTo>
                      <a:lnTo>
                        <a:pt x="131" y="69"/>
                      </a:lnTo>
                      <a:lnTo>
                        <a:pt x="121" y="70"/>
                      </a:lnTo>
                      <a:lnTo>
                        <a:pt x="116" y="67"/>
                      </a:lnTo>
                      <a:lnTo>
                        <a:pt x="111" y="69"/>
                      </a:lnTo>
                      <a:lnTo>
                        <a:pt x="98" y="64"/>
                      </a:lnTo>
                      <a:lnTo>
                        <a:pt x="93" y="64"/>
                      </a:lnTo>
                      <a:lnTo>
                        <a:pt x="90" y="65"/>
                      </a:lnTo>
                      <a:lnTo>
                        <a:pt x="82" y="64"/>
                      </a:lnTo>
                      <a:lnTo>
                        <a:pt x="77" y="59"/>
                      </a:lnTo>
                      <a:lnTo>
                        <a:pt x="77" y="55"/>
                      </a:lnTo>
                      <a:lnTo>
                        <a:pt x="69" y="54"/>
                      </a:lnTo>
                      <a:lnTo>
                        <a:pt x="60" y="55"/>
                      </a:lnTo>
                      <a:lnTo>
                        <a:pt x="57" y="54"/>
                      </a:lnTo>
                      <a:lnTo>
                        <a:pt x="49" y="54"/>
                      </a:lnTo>
                      <a:lnTo>
                        <a:pt x="44" y="51"/>
                      </a:lnTo>
                      <a:lnTo>
                        <a:pt x="41" y="51"/>
                      </a:lnTo>
                      <a:lnTo>
                        <a:pt x="38" y="49"/>
                      </a:lnTo>
                      <a:lnTo>
                        <a:pt x="31" y="47"/>
                      </a:lnTo>
                      <a:lnTo>
                        <a:pt x="26" y="41"/>
                      </a:lnTo>
                      <a:lnTo>
                        <a:pt x="20" y="36"/>
                      </a:lnTo>
                      <a:lnTo>
                        <a:pt x="13" y="34"/>
                      </a:lnTo>
                      <a:lnTo>
                        <a:pt x="10" y="33"/>
                      </a:lnTo>
                      <a:lnTo>
                        <a:pt x="8" y="33"/>
                      </a:lnTo>
                      <a:lnTo>
                        <a:pt x="5" y="29"/>
                      </a:lnTo>
                      <a:lnTo>
                        <a:pt x="2" y="29"/>
                      </a:lnTo>
                      <a:lnTo>
                        <a:pt x="0" y="26"/>
                      </a:lnTo>
                      <a:lnTo>
                        <a:pt x="5" y="20"/>
                      </a:lnTo>
                      <a:lnTo>
                        <a:pt x="5" y="15"/>
                      </a:lnTo>
                      <a:lnTo>
                        <a:pt x="7" y="6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1" name="Freeform 185">
                  <a:extLst>
                    <a:ext uri="{FF2B5EF4-FFF2-40B4-BE49-F238E27FC236}">
                      <a16:creationId xmlns:a16="http://schemas.microsoft.com/office/drawing/2014/main" xmlns="" id="{181CC9EE-F230-4D7E-A5B1-8AC75233F1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1" y="1415"/>
                  <a:ext cx="221" cy="247"/>
                </a:xfrm>
                <a:custGeom>
                  <a:avLst/>
                  <a:gdLst>
                    <a:gd name="T0" fmla="*/ 133 w 221"/>
                    <a:gd name="T1" fmla="*/ 239 h 247"/>
                    <a:gd name="T2" fmla="*/ 151 w 221"/>
                    <a:gd name="T3" fmla="*/ 234 h 247"/>
                    <a:gd name="T4" fmla="*/ 161 w 221"/>
                    <a:gd name="T5" fmla="*/ 232 h 247"/>
                    <a:gd name="T6" fmla="*/ 167 w 221"/>
                    <a:gd name="T7" fmla="*/ 229 h 247"/>
                    <a:gd name="T8" fmla="*/ 162 w 221"/>
                    <a:gd name="T9" fmla="*/ 209 h 247"/>
                    <a:gd name="T10" fmla="*/ 151 w 221"/>
                    <a:gd name="T11" fmla="*/ 199 h 247"/>
                    <a:gd name="T12" fmla="*/ 144 w 221"/>
                    <a:gd name="T13" fmla="*/ 191 h 247"/>
                    <a:gd name="T14" fmla="*/ 141 w 221"/>
                    <a:gd name="T15" fmla="*/ 180 h 247"/>
                    <a:gd name="T16" fmla="*/ 151 w 221"/>
                    <a:gd name="T17" fmla="*/ 168 h 247"/>
                    <a:gd name="T18" fmla="*/ 159 w 221"/>
                    <a:gd name="T19" fmla="*/ 172 h 247"/>
                    <a:gd name="T20" fmla="*/ 182 w 221"/>
                    <a:gd name="T21" fmla="*/ 152 h 247"/>
                    <a:gd name="T22" fmla="*/ 195 w 221"/>
                    <a:gd name="T23" fmla="*/ 134 h 247"/>
                    <a:gd name="T24" fmla="*/ 200 w 221"/>
                    <a:gd name="T25" fmla="*/ 123 h 247"/>
                    <a:gd name="T26" fmla="*/ 208 w 221"/>
                    <a:gd name="T27" fmla="*/ 103 h 247"/>
                    <a:gd name="T28" fmla="*/ 213 w 221"/>
                    <a:gd name="T29" fmla="*/ 90 h 247"/>
                    <a:gd name="T30" fmla="*/ 221 w 221"/>
                    <a:gd name="T31" fmla="*/ 82 h 247"/>
                    <a:gd name="T32" fmla="*/ 206 w 221"/>
                    <a:gd name="T33" fmla="*/ 77 h 247"/>
                    <a:gd name="T34" fmla="*/ 188 w 221"/>
                    <a:gd name="T35" fmla="*/ 62 h 247"/>
                    <a:gd name="T36" fmla="*/ 185 w 221"/>
                    <a:gd name="T37" fmla="*/ 41 h 247"/>
                    <a:gd name="T38" fmla="*/ 185 w 221"/>
                    <a:gd name="T39" fmla="*/ 29 h 247"/>
                    <a:gd name="T40" fmla="*/ 174 w 221"/>
                    <a:gd name="T41" fmla="*/ 15 h 247"/>
                    <a:gd name="T42" fmla="*/ 164 w 221"/>
                    <a:gd name="T43" fmla="*/ 8 h 247"/>
                    <a:gd name="T44" fmla="*/ 162 w 221"/>
                    <a:gd name="T45" fmla="*/ 0 h 247"/>
                    <a:gd name="T46" fmla="*/ 147 w 221"/>
                    <a:gd name="T47" fmla="*/ 10 h 247"/>
                    <a:gd name="T48" fmla="*/ 144 w 221"/>
                    <a:gd name="T49" fmla="*/ 41 h 247"/>
                    <a:gd name="T50" fmla="*/ 138 w 221"/>
                    <a:gd name="T51" fmla="*/ 56 h 247"/>
                    <a:gd name="T52" fmla="*/ 133 w 221"/>
                    <a:gd name="T53" fmla="*/ 60 h 247"/>
                    <a:gd name="T54" fmla="*/ 126 w 221"/>
                    <a:gd name="T55" fmla="*/ 70 h 247"/>
                    <a:gd name="T56" fmla="*/ 125 w 221"/>
                    <a:gd name="T57" fmla="*/ 85 h 247"/>
                    <a:gd name="T58" fmla="*/ 118 w 221"/>
                    <a:gd name="T59" fmla="*/ 95 h 247"/>
                    <a:gd name="T60" fmla="*/ 110 w 221"/>
                    <a:gd name="T61" fmla="*/ 95 h 247"/>
                    <a:gd name="T62" fmla="*/ 102 w 221"/>
                    <a:gd name="T63" fmla="*/ 103 h 247"/>
                    <a:gd name="T64" fmla="*/ 89 w 221"/>
                    <a:gd name="T65" fmla="*/ 108 h 247"/>
                    <a:gd name="T66" fmla="*/ 82 w 221"/>
                    <a:gd name="T67" fmla="*/ 116 h 247"/>
                    <a:gd name="T68" fmla="*/ 84 w 221"/>
                    <a:gd name="T69" fmla="*/ 132 h 247"/>
                    <a:gd name="T70" fmla="*/ 66 w 221"/>
                    <a:gd name="T71" fmla="*/ 139 h 247"/>
                    <a:gd name="T72" fmla="*/ 46 w 221"/>
                    <a:gd name="T73" fmla="*/ 142 h 247"/>
                    <a:gd name="T74" fmla="*/ 0 w 221"/>
                    <a:gd name="T75" fmla="*/ 139 h 247"/>
                    <a:gd name="T76" fmla="*/ 18 w 221"/>
                    <a:gd name="T77" fmla="*/ 160 h 247"/>
                    <a:gd name="T78" fmla="*/ 28 w 221"/>
                    <a:gd name="T79" fmla="*/ 165 h 247"/>
                    <a:gd name="T80" fmla="*/ 35 w 221"/>
                    <a:gd name="T81" fmla="*/ 178 h 247"/>
                    <a:gd name="T82" fmla="*/ 43 w 221"/>
                    <a:gd name="T83" fmla="*/ 191 h 247"/>
                    <a:gd name="T84" fmla="*/ 28 w 221"/>
                    <a:gd name="T85" fmla="*/ 194 h 247"/>
                    <a:gd name="T86" fmla="*/ 20 w 221"/>
                    <a:gd name="T87" fmla="*/ 206 h 247"/>
                    <a:gd name="T88" fmla="*/ 23 w 221"/>
                    <a:gd name="T89" fmla="*/ 219 h 247"/>
                    <a:gd name="T90" fmla="*/ 32 w 221"/>
                    <a:gd name="T91" fmla="*/ 219 h 247"/>
                    <a:gd name="T92" fmla="*/ 40 w 221"/>
                    <a:gd name="T93" fmla="*/ 217 h 247"/>
                    <a:gd name="T94" fmla="*/ 48 w 221"/>
                    <a:gd name="T95" fmla="*/ 217 h 247"/>
                    <a:gd name="T96" fmla="*/ 54 w 221"/>
                    <a:gd name="T97" fmla="*/ 217 h 247"/>
                    <a:gd name="T98" fmla="*/ 59 w 221"/>
                    <a:gd name="T99" fmla="*/ 217 h 247"/>
                    <a:gd name="T100" fmla="*/ 72 w 221"/>
                    <a:gd name="T101" fmla="*/ 216 h 247"/>
                    <a:gd name="T102" fmla="*/ 81 w 221"/>
                    <a:gd name="T103" fmla="*/ 214 h 247"/>
                    <a:gd name="T104" fmla="*/ 94 w 221"/>
                    <a:gd name="T105" fmla="*/ 214 h 247"/>
                    <a:gd name="T106" fmla="*/ 98 w 221"/>
                    <a:gd name="T107" fmla="*/ 222 h 247"/>
                    <a:gd name="T108" fmla="*/ 105 w 221"/>
                    <a:gd name="T109" fmla="*/ 222 h 247"/>
                    <a:gd name="T110" fmla="*/ 110 w 221"/>
                    <a:gd name="T111" fmla="*/ 235 h 247"/>
                    <a:gd name="T112" fmla="*/ 112 w 221"/>
                    <a:gd name="T113" fmla="*/ 240 h 247"/>
                    <a:gd name="T114" fmla="*/ 126 w 221"/>
                    <a:gd name="T115" fmla="*/ 245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1" h="247">
                      <a:moveTo>
                        <a:pt x="128" y="245"/>
                      </a:moveTo>
                      <a:lnTo>
                        <a:pt x="128" y="242"/>
                      </a:lnTo>
                      <a:lnTo>
                        <a:pt x="131" y="239"/>
                      </a:lnTo>
                      <a:lnTo>
                        <a:pt x="133" y="239"/>
                      </a:lnTo>
                      <a:lnTo>
                        <a:pt x="134" y="235"/>
                      </a:lnTo>
                      <a:lnTo>
                        <a:pt x="138" y="235"/>
                      </a:lnTo>
                      <a:lnTo>
                        <a:pt x="139" y="234"/>
                      </a:lnTo>
                      <a:lnTo>
                        <a:pt x="151" y="234"/>
                      </a:lnTo>
                      <a:lnTo>
                        <a:pt x="157" y="232"/>
                      </a:lnTo>
                      <a:lnTo>
                        <a:pt x="157" y="230"/>
                      </a:lnTo>
                      <a:lnTo>
                        <a:pt x="162" y="229"/>
                      </a:lnTo>
                      <a:lnTo>
                        <a:pt x="161" y="232"/>
                      </a:lnTo>
                      <a:lnTo>
                        <a:pt x="162" y="234"/>
                      </a:lnTo>
                      <a:lnTo>
                        <a:pt x="165" y="232"/>
                      </a:lnTo>
                      <a:lnTo>
                        <a:pt x="169" y="230"/>
                      </a:lnTo>
                      <a:lnTo>
                        <a:pt x="167" y="229"/>
                      </a:lnTo>
                      <a:lnTo>
                        <a:pt x="167" y="227"/>
                      </a:lnTo>
                      <a:lnTo>
                        <a:pt x="164" y="216"/>
                      </a:lnTo>
                      <a:lnTo>
                        <a:pt x="161" y="212"/>
                      </a:lnTo>
                      <a:lnTo>
                        <a:pt x="162" y="209"/>
                      </a:lnTo>
                      <a:lnTo>
                        <a:pt x="159" y="208"/>
                      </a:lnTo>
                      <a:lnTo>
                        <a:pt x="157" y="208"/>
                      </a:lnTo>
                      <a:lnTo>
                        <a:pt x="151" y="204"/>
                      </a:lnTo>
                      <a:lnTo>
                        <a:pt x="151" y="199"/>
                      </a:lnTo>
                      <a:lnTo>
                        <a:pt x="151" y="194"/>
                      </a:lnTo>
                      <a:lnTo>
                        <a:pt x="149" y="190"/>
                      </a:lnTo>
                      <a:lnTo>
                        <a:pt x="146" y="190"/>
                      </a:lnTo>
                      <a:lnTo>
                        <a:pt x="144" y="191"/>
                      </a:lnTo>
                      <a:lnTo>
                        <a:pt x="141" y="190"/>
                      </a:lnTo>
                      <a:lnTo>
                        <a:pt x="138" y="190"/>
                      </a:lnTo>
                      <a:lnTo>
                        <a:pt x="138" y="186"/>
                      </a:lnTo>
                      <a:lnTo>
                        <a:pt x="141" y="180"/>
                      </a:lnTo>
                      <a:lnTo>
                        <a:pt x="143" y="178"/>
                      </a:lnTo>
                      <a:lnTo>
                        <a:pt x="147" y="172"/>
                      </a:lnTo>
                      <a:lnTo>
                        <a:pt x="147" y="170"/>
                      </a:lnTo>
                      <a:lnTo>
                        <a:pt x="151" y="168"/>
                      </a:lnTo>
                      <a:lnTo>
                        <a:pt x="152" y="167"/>
                      </a:lnTo>
                      <a:lnTo>
                        <a:pt x="156" y="168"/>
                      </a:lnTo>
                      <a:lnTo>
                        <a:pt x="157" y="172"/>
                      </a:lnTo>
                      <a:lnTo>
                        <a:pt x="159" y="172"/>
                      </a:lnTo>
                      <a:lnTo>
                        <a:pt x="165" y="168"/>
                      </a:lnTo>
                      <a:lnTo>
                        <a:pt x="174" y="168"/>
                      </a:lnTo>
                      <a:lnTo>
                        <a:pt x="178" y="162"/>
                      </a:lnTo>
                      <a:lnTo>
                        <a:pt x="182" y="152"/>
                      </a:lnTo>
                      <a:lnTo>
                        <a:pt x="188" y="147"/>
                      </a:lnTo>
                      <a:lnTo>
                        <a:pt x="190" y="144"/>
                      </a:lnTo>
                      <a:lnTo>
                        <a:pt x="192" y="139"/>
                      </a:lnTo>
                      <a:lnTo>
                        <a:pt x="195" y="134"/>
                      </a:lnTo>
                      <a:lnTo>
                        <a:pt x="200" y="131"/>
                      </a:lnTo>
                      <a:lnTo>
                        <a:pt x="201" y="127"/>
                      </a:lnTo>
                      <a:lnTo>
                        <a:pt x="201" y="124"/>
                      </a:lnTo>
                      <a:lnTo>
                        <a:pt x="200" y="123"/>
                      </a:lnTo>
                      <a:lnTo>
                        <a:pt x="203" y="118"/>
                      </a:lnTo>
                      <a:lnTo>
                        <a:pt x="206" y="114"/>
                      </a:lnTo>
                      <a:lnTo>
                        <a:pt x="206" y="111"/>
                      </a:lnTo>
                      <a:lnTo>
                        <a:pt x="208" y="103"/>
                      </a:lnTo>
                      <a:lnTo>
                        <a:pt x="206" y="96"/>
                      </a:lnTo>
                      <a:lnTo>
                        <a:pt x="205" y="96"/>
                      </a:lnTo>
                      <a:lnTo>
                        <a:pt x="210" y="92"/>
                      </a:lnTo>
                      <a:lnTo>
                        <a:pt x="213" y="90"/>
                      </a:lnTo>
                      <a:lnTo>
                        <a:pt x="216" y="88"/>
                      </a:lnTo>
                      <a:lnTo>
                        <a:pt x="218" y="88"/>
                      </a:lnTo>
                      <a:lnTo>
                        <a:pt x="221" y="85"/>
                      </a:lnTo>
                      <a:lnTo>
                        <a:pt x="221" y="82"/>
                      </a:lnTo>
                      <a:lnTo>
                        <a:pt x="216" y="80"/>
                      </a:lnTo>
                      <a:lnTo>
                        <a:pt x="213" y="82"/>
                      </a:lnTo>
                      <a:lnTo>
                        <a:pt x="208" y="80"/>
                      </a:lnTo>
                      <a:lnTo>
                        <a:pt x="206" y="77"/>
                      </a:lnTo>
                      <a:lnTo>
                        <a:pt x="201" y="74"/>
                      </a:lnTo>
                      <a:lnTo>
                        <a:pt x="195" y="72"/>
                      </a:lnTo>
                      <a:lnTo>
                        <a:pt x="188" y="67"/>
                      </a:lnTo>
                      <a:lnTo>
                        <a:pt x="188" y="62"/>
                      </a:lnTo>
                      <a:lnTo>
                        <a:pt x="185" y="52"/>
                      </a:lnTo>
                      <a:lnTo>
                        <a:pt x="183" y="47"/>
                      </a:lnTo>
                      <a:lnTo>
                        <a:pt x="183" y="42"/>
                      </a:lnTo>
                      <a:lnTo>
                        <a:pt x="185" y="41"/>
                      </a:lnTo>
                      <a:lnTo>
                        <a:pt x="185" y="38"/>
                      </a:lnTo>
                      <a:lnTo>
                        <a:pt x="190" y="34"/>
                      </a:lnTo>
                      <a:lnTo>
                        <a:pt x="190" y="31"/>
                      </a:lnTo>
                      <a:lnTo>
                        <a:pt x="185" y="29"/>
                      </a:lnTo>
                      <a:lnTo>
                        <a:pt x="185" y="26"/>
                      </a:lnTo>
                      <a:lnTo>
                        <a:pt x="180" y="23"/>
                      </a:lnTo>
                      <a:lnTo>
                        <a:pt x="177" y="20"/>
                      </a:lnTo>
                      <a:lnTo>
                        <a:pt x="174" y="15"/>
                      </a:lnTo>
                      <a:lnTo>
                        <a:pt x="170" y="16"/>
                      </a:lnTo>
                      <a:lnTo>
                        <a:pt x="167" y="18"/>
                      </a:lnTo>
                      <a:lnTo>
                        <a:pt x="165" y="15"/>
                      </a:lnTo>
                      <a:lnTo>
                        <a:pt x="164" y="8"/>
                      </a:lnTo>
                      <a:lnTo>
                        <a:pt x="172" y="3"/>
                      </a:lnTo>
                      <a:lnTo>
                        <a:pt x="170" y="2"/>
                      </a:lnTo>
                      <a:lnTo>
                        <a:pt x="167" y="2"/>
                      </a:lnTo>
                      <a:lnTo>
                        <a:pt x="162" y="0"/>
                      </a:lnTo>
                      <a:lnTo>
                        <a:pt x="157" y="3"/>
                      </a:lnTo>
                      <a:lnTo>
                        <a:pt x="154" y="7"/>
                      </a:lnTo>
                      <a:lnTo>
                        <a:pt x="149" y="7"/>
                      </a:lnTo>
                      <a:lnTo>
                        <a:pt x="147" y="10"/>
                      </a:lnTo>
                      <a:lnTo>
                        <a:pt x="144" y="13"/>
                      </a:lnTo>
                      <a:lnTo>
                        <a:pt x="151" y="23"/>
                      </a:lnTo>
                      <a:lnTo>
                        <a:pt x="151" y="31"/>
                      </a:lnTo>
                      <a:lnTo>
                        <a:pt x="144" y="41"/>
                      </a:lnTo>
                      <a:lnTo>
                        <a:pt x="147" y="44"/>
                      </a:lnTo>
                      <a:lnTo>
                        <a:pt x="147" y="49"/>
                      </a:lnTo>
                      <a:lnTo>
                        <a:pt x="144" y="56"/>
                      </a:lnTo>
                      <a:lnTo>
                        <a:pt x="138" y="56"/>
                      </a:lnTo>
                      <a:lnTo>
                        <a:pt x="131" y="52"/>
                      </a:lnTo>
                      <a:lnTo>
                        <a:pt x="128" y="56"/>
                      </a:lnTo>
                      <a:lnTo>
                        <a:pt x="130" y="59"/>
                      </a:lnTo>
                      <a:lnTo>
                        <a:pt x="133" y="60"/>
                      </a:lnTo>
                      <a:lnTo>
                        <a:pt x="134" y="65"/>
                      </a:lnTo>
                      <a:lnTo>
                        <a:pt x="134" y="69"/>
                      </a:lnTo>
                      <a:lnTo>
                        <a:pt x="131" y="70"/>
                      </a:lnTo>
                      <a:lnTo>
                        <a:pt x="126" y="70"/>
                      </a:lnTo>
                      <a:lnTo>
                        <a:pt x="126" y="74"/>
                      </a:lnTo>
                      <a:lnTo>
                        <a:pt x="125" y="78"/>
                      </a:lnTo>
                      <a:lnTo>
                        <a:pt x="125" y="83"/>
                      </a:lnTo>
                      <a:lnTo>
                        <a:pt x="125" y="85"/>
                      </a:lnTo>
                      <a:lnTo>
                        <a:pt x="123" y="87"/>
                      </a:lnTo>
                      <a:lnTo>
                        <a:pt x="125" y="93"/>
                      </a:lnTo>
                      <a:lnTo>
                        <a:pt x="121" y="98"/>
                      </a:lnTo>
                      <a:lnTo>
                        <a:pt x="118" y="95"/>
                      </a:lnTo>
                      <a:lnTo>
                        <a:pt x="116" y="95"/>
                      </a:lnTo>
                      <a:lnTo>
                        <a:pt x="115" y="96"/>
                      </a:lnTo>
                      <a:lnTo>
                        <a:pt x="112" y="96"/>
                      </a:lnTo>
                      <a:lnTo>
                        <a:pt x="110" y="95"/>
                      </a:lnTo>
                      <a:lnTo>
                        <a:pt x="107" y="96"/>
                      </a:lnTo>
                      <a:lnTo>
                        <a:pt x="105" y="98"/>
                      </a:lnTo>
                      <a:lnTo>
                        <a:pt x="98" y="103"/>
                      </a:lnTo>
                      <a:lnTo>
                        <a:pt x="102" y="103"/>
                      </a:lnTo>
                      <a:lnTo>
                        <a:pt x="100" y="106"/>
                      </a:lnTo>
                      <a:lnTo>
                        <a:pt x="94" y="108"/>
                      </a:lnTo>
                      <a:lnTo>
                        <a:pt x="92" y="106"/>
                      </a:lnTo>
                      <a:lnTo>
                        <a:pt x="89" y="108"/>
                      </a:lnTo>
                      <a:lnTo>
                        <a:pt x="87" y="109"/>
                      </a:lnTo>
                      <a:lnTo>
                        <a:pt x="87" y="113"/>
                      </a:lnTo>
                      <a:lnTo>
                        <a:pt x="84" y="114"/>
                      </a:lnTo>
                      <a:lnTo>
                        <a:pt x="82" y="116"/>
                      </a:lnTo>
                      <a:lnTo>
                        <a:pt x="82" y="121"/>
                      </a:lnTo>
                      <a:lnTo>
                        <a:pt x="84" y="126"/>
                      </a:lnTo>
                      <a:lnTo>
                        <a:pt x="82" y="129"/>
                      </a:lnTo>
                      <a:lnTo>
                        <a:pt x="84" y="132"/>
                      </a:lnTo>
                      <a:lnTo>
                        <a:pt x="84" y="136"/>
                      </a:lnTo>
                      <a:lnTo>
                        <a:pt x="77" y="139"/>
                      </a:lnTo>
                      <a:lnTo>
                        <a:pt x="72" y="139"/>
                      </a:lnTo>
                      <a:lnTo>
                        <a:pt x="66" y="139"/>
                      </a:lnTo>
                      <a:lnTo>
                        <a:pt x="58" y="139"/>
                      </a:lnTo>
                      <a:lnTo>
                        <a:pt x="53" y="141"/>
                      </a:lnTo>
                      <a:lnTo>
                        <a:pt x="51" y="142"/>
                      </a:lnTo>
                      <a:lnTo>
                        <a:pt x="46" y="142"/>
                      </a:lnTo>
                      <a:lnTo>
                        <a:pt x="40" y="144"/>
                      </a:lnTo>
                      <a:lnTo>
                        <a:pt x="22" y="144"/>
                      </a:lnTo>
                      <a:lnTo>
                        <a:pt x="0" y="137"/>
                      </a:lnTo>
                      <a:lnTo>
                        <a:pt x="0" y="139"/>
                      </a:lnTo>
                      <a:lnTo>
                        <a:pt x="9" y="149"/>
                      </a:lnTo>
                      <a:lnTo>
                        <a:pt x="10" y="154"/>
                      </a:lnTo>
                      <a:lnTo>
                        <a:pt x="15" y="157"/>
                      </a:lnTo>
                      <a:lnTo>
                        <a:pt x="18" y="160"/>
                      </a:lnTo>
                      <a:lnTo>
                        <a:pt x="20" y="162"/>
                      </a:lnTo>
                      <a:lnTo>
                        <a:pt x="25" y="162"/>
                      </a:lnTo>
                      <a:lnTo>
                        <a:pt x="28" y="163"/>
                      </a:lnTo>
                      <a:lnTo>
                        <a:pt x="28" y="165"/>
                      </a:lnTo>
                      <a:lnTo>
                        <a:pt x="33" y="165"/>
                      </a:lnTo>
                      <a:lnTo>
                        <a:pt x="33" y="170"/>
                      </a:lnTo>
                      <a:lnTo>
                        <a:pt x="35" y="175"/>
                      </a:lnTo>
                      <a:lnTo>
                        <a:pt x="35" y="178"/>
                      </a:lnTo>
                      <a:lnTo>
                        <a:pt x="35" y="181"/>
                      </a:lnTo>
                      <a:lnTo>
                        <a:pt x="40" y="181"/>
                      </a:lnTo>
                      <a:lnTo>
                        <a:pt x="43" y="185"/>
                      </a:lnTo>
                      <a:lnTo>
                        <a:pt x="43" y="191"/>
                      </a:lnTo>
                      <a:lnTo>
                        <a:pt x="41" y="193"/>
                      </a:lnTo>
                      <a:lnTo>
                        <a:pt x="36" y="191"/>
                      </a:lnTo>
                      <a:lnTo>
                        <a:pt x="30" y="193"/>
                      </a:lnTo>
                      <a:lnTo>
                        <a:pt x="28" y="194"/>
                      </a:lnTo>
                      <a:lnTo>
                        <a:pt x="23" y="198"/>
                      </a:lnTo>
                      <a:lnTo>
                        <a:pt x="22" y="201"/>
                      </a:lnTo>
                      <a:lnTo>
                        <a:pt x="22" y="203"/>
                      </a:lnTo>
                      <a:lnTo>
                        <a:pt x="20" y="206"/>
                      </a:lnTo>
                      <a:lnTo>
                        <a:pt x="22" y="211"/>
                      </a:lnTo>
                      <a:lnTo>
                        <a:pt x="20" y="216"/>
                      </a:lnTo>
                      <a:lnTo>
                        <a:pt x="20" y="219"/>
                      </a:lnTo>
                      <a:lnTo>
                        <a:pt x="23" y="219"/>
                      </a:lnTo>
                      <a:lnTo>
                        <a:pt x="23" y="221"/>
                      </a:lnTo>
                      <a:lnTo>
                        <a:pt x="23" y="222"/>
                      </a:lnTo>
                      <a:lnTo>
                        <a:pt x="28" y="219"/>
                      </a:lnTo>
                      <a:lnTo>
                        <a:pt x="32" y="219"/>
                      </a:lnTo>
                      <a:lnTo>
                        <a:pt x="33" y="221"/>
                      </a:lnTo>
                      <a:lnTo>
                        <a:pt x="33" y="219"/>
                      </a:lnTo>
                      <a:lnTo>
                        <a:pt x="36" y="217"/>
                      </a:lnTo>
                      <a:lnTo>
                        <a:pt x="40" y="217"/>
                      </a:lnTo>
                      <a:lnTo>
                        <a:pt x="41" y="219"/>
                      </a:lnTo>
                      <a:lnTo>
                        <a:pt x="43" y="217"/>
                      </a:lnTo>
                      <a:lnTo>
                        <a:pt x="46" y="217"/>
                      </a:lnTo>
                      <a:lnTo>
                        <a:pt x="48" y="217"/>
                      </a:lnTo>
                      <a:lnTo>
                        <a:pt x="48" y="216"/>
                      </a:lnTo>
                      <a:lnTo>
                        <a:pt x="49" y="214"/>
                      </a:lnTo>
                      <a:lnTo>
                        <a:pt x="53" y="217"/>
                      </a:lnTo>
                      <a:lnTo>
                        <a:pt x="54" y="217"/>
                      </a:lnTo>
                      <a:lnTo>
                        <a:pt x="54" y="216"/>
                      </a:lnTo>
                      <a:lnTo>
                        <a:pt x="56" y="216"/>
                      </a:lnTo>
                      <a:lnTo>
                        <a:pt x="58" y="217"/>
                      </a:lnTo>
                      <a:lnTo>
                        <a:pt x="59" y="217"/>
                      </a:lnTo>
                      <a:lnTo>
                        <a:pt x="63" y="219"/>
                      </a:lnTo>
                      <a:lnTo>
                        <a:pt x="64" y="219"/>
                      </a:lnTo>
                      <a:lnTo>
                        <a:pt x="67" y="216"/>
                      </a:lnTo>
                      <a:lnTo>
                        <a:pt x="72" y="216"/>
                      </a:lnTo>
                      <a:lnTo>
                        <a:pt x="74" y="216"/>
                      </a:lnTo>
                      <a:lnTo>
                        <a:pt x="77" y="214"/>
                      </a:lnTo>
                      <a:lnTo>
                        <a:pt x="79" y="214"/>
                      </a:lnTo>
                      <a:lnTo>
                        <a:pt x="81" y="214"/>
                      </a:lnTo>
                      <a:lnTo>
                        <a:pt x="81" y="214"/>
                      </a:lnTo>
                      <a:lnTo>
                        <a:pt x="85" y="216"/>
                      </a:lnTo>
                      <a:lnTo>
                        <a:pt x="90" y="214"/>
                      </a:lnTo>
                      <a:lnTo>
                        <a:pt x="94" y="214"/>
                      </a:lnTo>
                      <a:lnTo>
                        <a:pt x="98" y="216"/>
                      </a:lnTo>
                      <a:lnTo>
                        <a:pt x="98" y="219"/>
                      </a:lnTo>
                      <a:lnTo>
                        <a:pt x="98" y="222"/>
                      </a:lnTo>
                      <a:lnTo>
                        <a:pt x="98" y="222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100" y="224"/>
                      </a:lnTo>
                      <a:lnTo>
                        <a:pt x="105" y="222"/>
                      </a:lnTo>
                      <a:lnTo>
                        <a:pt x="105" y="225"/>
                      </a:lnTo>
                      <a:lnTo>
                        <a:pt x="108" y="230"/>
                      </a:lnTo>
                      <a:lnTo>
                        <a:pt x="110" y="235"/>
                      </a:lnTo>
                      <a:lnTo>
                        <a:pt x="110" y="235"/>
                      </a:lnTo>
                      <a:lnTo>
                        <a:pt x="110" y="239"/>
                      </a:lnTo>
                      <a:lnTo>
                        <a:pt x="110" y="239"/>
                      </a:lnTo>
                      <a:lnTo>
                        <a:pt x="110" y="240"/>
                      </a:lnTo>
                      <a:lnTo>
                        <a:pt x="112" y="240"/>
                      </a:lnTo>
                      <a:lnTo>
                        <a:pt x="113" y="243"/>
                      </a:lnTo>
                      <a:lnTo>
                        <a:pt x="115" y="243"/>
                      </a:lnTo>
                      <a:lnTo>
                        <a:pt x="120" y="242"/>
                      </a:lnTo>
                      <a:lnTo>
                        <a:pt x="126" y="245"/>
                      </a:lnTo>
                      <a:lnTo>
                        <a:pt x="125" y="247"/>
                      </a:lnTo>
                      <a:lnTo>
                        <a:pt x="128" y="24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2" name="Freeform 186">
                  <a:extLst>
                    <a:ext uri="{FF2B5EF4-FFF2-40B4-BE49-F238E27FC236}">
                      <a16:creationId xmlns:a16="http://schemas.microsoft.com/office/drawing/2014/main" xmlns="" id="{9E6DE29C-1C78-4C07-B713-4C5DDB09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5" y="1402"/>
                  <a:ext cx="116" cy="98"/>
                </a:xfrm>
                <a:custGeom>
                  <a:avLst/>
                  <a:gdLst>
                    <a:gd name="T0" fmla="*/ 59 w 116"/>
                    <a:gd name="T1" fmla="*/ 96 h 98"/>
                    <a:gd name="T2" fmla="*/ 67 w 116"/>
                    <a:gd name="T3" fmla="*/ 85 h 98"/>
                    <a:gd name="T4" fmla="*/ 73 w 116"/>
                    <a:gd name="T5" fmla="*/ 80 h 98"/>
                    <a:gd name="T6" fmla="*/ 85 w 116"/>
                    <a:gd name="T7" fmla="*/ 87 h 98"/>
                    <a:gd name="T8" fmla="*/ 95 w 116"/>
                    <a:gd name="T9" fmla="*/ 85 h 98"/>
                    <a:gd name="T10" fmla="*/ 99 w 116"/>
                    <a:gd name="T11" fmla="*/ 90 h 98"/>
                    <a:gd name="T12" fmla="*/ 111 w 116"/>
                    <a:gd name="T13" fmla="*/ 88 h 98"/>
                    <a:gd name="T14" fmla="*/ 114 w 116"/>
                    <a:gd name="T15" fmla="*/ 91 h 98"/>
                    <a:gd name="T16" fmla="*/ 116 w 116"/>
                    <a:gd name="T17" fmla="*/ 83 h 98"/>
                    <a:gd name="T18" fmla="*/ 109 w 116"/>
                    <a:gd name="T19" fmla="*/ 75 h 98"/>
                    <a:gd name="T20" fmla="*/ 106 w 116"/>
                    <a:gd name="T21" fmla="*/ 59 h 98"/>
                    <a:gd name="T22" fmla="*/ 99 w 116"/>
                    <a:gd name="T23" fmla="*/ 52 h 98"/>
                    <a:gd name="T24" fmla="*/ 91 w 116"/>
                    <a:gd name="T25" fmla="*/ 39 h 98"/>
                    <a:gd name="T26" fmla="*/ 81 w 116"/>
                    <a:gd name="T27" fmla="*/ 34 h 98"/>
                    <a:gd name="T28" fmla="*/ 77 w 116"/>
                    <a:gd name="T29" fmla="*/ 31 h 98"/>
                    <a:gd name="T30" fmla="*/ 65 w 116"/>
                    <a:gd name="T31" fmla="*/ 29 h 98"/>
                    <a:gd name="T32" fmla="*/ 60 w 116"/>
                    <a:gd name="T33" fmla="*/ 26 h 98"/>
                    <a:gd name="T34" fmla="*/ 55 w 116"/>
                    <a:gd name="T35" fmla="*/ 18 h 98"/>
                    <a:gd name="T36" fmla="*/ 47 w 116"/>
                    <a:gd name="T37" fmla="*/ 3 h 98"/>
                    <a:gd name="T38" fmla="*/ 42 w 116"/>
                    <a:gd name="T39" fmla="*/ 0 h 98"/>
                    <a:gd name="T40" fmla="*/ 39 w 116"/>
                    <a:gd name="T41" fmla="*/ 3 h 98"/>
                    <a:gd name="T42" fmla="*/ 36 w 116"/>
                    <a:gd name="T43" fmla="*/ 5 h 98"/>
                    <a:gd name="T44" fmla="*/ 29 w 116"/>
                    <a:gd name="T45" fmla="*/ 2 h 98"/>
                    <a:gd name="T46" fmla="*/ 29 w 116"/>
                    <a:gd name="T47" fmla="*/ 3 h 98"/>
                    <a:gd name="T48" fmla="*/ 18 w 116"/>
                    <a:gd name="T49" fmla="*/ 11 h 98"/>
                    <a:gd name="T50" fmla="*/ 8 w 116"/>
                    <a:gd name="T51" fmla="*/ 16 h 98"/>
                    <a:gd name="T52" fmla="*/ 1 w 116"/>
                    <a:gd name="T53" fmla="*/ 28 h 98"/>
                    <a:gd name="T54" fmla="*/ 6 w 116"/>
                    <a:gd name="T55" fmla="*/ 29 h 98"/>
                    <a:gd name="T56" fmla="*/ 13 w 116"/>
                    <a:gd name="T57" fmla="*/ 33 h 98"/>
                    <a:gd name="T58" fmla="*/ 21 w 116"/>
                    <a:gd name="T59" fmla="*/ 39 h 98"/>
                    <a:gd name="T60" fmla="*/ 26 w 116"/>
                    <a:gd name="T61" fmla="*/ 44 h 98"/>
                    <a:gd name="T62" fmla="*/ 21 w 116"/>
                    <a:gd name="T63" fmla="*/ 51 h 98"/>
                    <a:gd name="T64" fmla="*/ 19 w 116"/>
                    <a:gd name="T65" fmla="*/ 55 h 98"/>
                    <a:gd name="T66" fmla="*/ 21 w 116"/>
                    <a:gd name="T67" fmla="*/ 65 h 98"/>
                    <a:gd name="T68" fmla="*/ 24 w 116"/>
                    <a:gd name="T69" fmla="*/ 80 h 98"/>
                    <a:gd name="T70" fmla="*/ 37 w 116"/>
                    <a:gd name="T71" fmla="*/ 87 h 98"/>
                    <a:gd name="T72" fmla="*/ 44 w 116"/>
                    <a:gd name="T73" fmla="*/ 93 h 98"/>
                    <a:gd name="T74" fmla="*/ 52 w 116"/>
                    <a:gd name="T75" fmla="*/ 93 h 98"/>
                    <a:gd name="T76" fmla="*/ 57 w 116"/>
                    <a:gd name="T77" fmla="*/ 98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16" h="98">
                      <a:moveTo>
                        <a:pt x="57" y="98"/>
                      </a:moveTo>
                      <a:lnTo>
                        <a:pt x="59" y="96"/>
                      </a:lnTo>
                      <a:lnTo>
                        <a:pt x="63" y="88"/>
                      </a:lnTo>
                      <a:lnTo>
                        <a:pt x="67" y="85"/>
                      </a:lnTo>
                      <a:lnTo>
                        <a:pt x="72" y="83"/>
                      </a:lnTo>
                      <a:lnTo>
                        <a:pt x="73" y="80"/>
                      </a:lnTo>
                      <a:lnTo>
                        <a:pt x="77" y="80"/>
                      </a:lnTo>
                      <a:lnTo>
                        <a:pt x="85" y="87"/>
                      </a:lnTo>
                      <a:lnTo>
                        <a:pt x="90" y="83"/>
                      </a:lnTo>
                      <a:lnTo>
                        <a:pt x="95" y="85"/>
                      </a:lnTo>
                      <a:lnTo>
                        <a:pt x="96" y="90"/>
                      </a:lnTo>
                      <a:lnTo>
                        <a:pt x="99" y="90"/>
                      </a:lnTo>
                      <a:lnTo>
                        <a:pt x="106" y="93"/>
                      </a:lnTo>
                      <a:lnTo>
                        <a:pt x="111" y="88"/>
                      </a:lnTo>
                      <a:lnTo>
                        <a:pt x="114" y="90"/>
                      </a:lnTo>
                      <a:lnTo>
                        <a:pt x="114" y="91"/>
                      </a:lnTo>
                      <a:lnTo>
                        <a:pt x="116" y="88"/>
                      </a:lnTo>
                      <a:lnTo>
                        <a:pt x="116" y="83"/>
                      </a:lnTo>
                      <a:lnTo>
                        <a:pt x="112" y="75"/>
                      </a:lnTo>
                      <a:lnTo>
                        <a:pt x="109" y="75"/>
                      </a:lnTo>
                      <a:lnTo>
                        <a:pt x="106" y="67"/>
                      </a:lnTo>
                      <a:lnTo>
                        <a:pt x="106" y="59"/>
                      </a:lnTo>
                      <a:lnTo>
                        <a:pt x="104" y="55"/>
                      </a:lnTo>
                      <a:lnTo>
                        <a:pt x="99" y="52"/>
                      </a:lnTo>
                      <a:lnTo>
                        <a:pt x="95" y="47"/>
                      </a:lnTo>
                      <a:lnTo>
                        <a:pt x="91" y="39"/>
                      </a:lnTo>
                      <a:lnTo>
                        <a:pt x="86" y="38"/>
                      </a:lnTo>
                      <a:lnTo>
                        <a:pt x="81" y="34"/>
                      </a:lnTo>
                      <a:lnTo>
                        <a:pt x="80" y="31"/>
                      </a:lnTo>
                      <a:lnTo>
                        <a:pt x="77" y="31"/>
                      </a:lnTo>
                      <a:lnTo>
                        <a:pt x="70" y="31"/>
                      </a:lnTo>
                      <a:lnTo>
                        <a:pt x="65" y="29"/>
                      </a:lnTo>
                      <a:lnTo>
                        <a:pt x="63" y="28"/>
                      </a:lnTo>
                      <a:lnTo>
                        <a:pt x="60" y="26"/>
                      </a:lnTo>
                      <a:lnTo>
                        <a:pt x="60" y="21"/>
                      </a:lnTo>
                      <a:lnTo>
                        <a:pt x="55" y="18"/>
                      </a:lnTo>
                      <a:lnTo>
                        <a:pt x="49" y="8"/>
                      </a:lnTo>
                      <a:lnTo>
                        <a:pt x="47" y="3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41" y="2"/>
                      </a:lnTo>
                      <a:lnTo>
                        <a:pt x="39" y="3"/>
                      </a:lnTo>
                      <a:lnTo>
                        <a:pt x="37" y="3"/>
                      </a:lnTo>
                      <a:lnTo>
                        <a:pt x="36" y="5"/>
                      </a:lnTo>
                      <a:lnTo>
                        <a:pt x="32" y="2"/>
                      </a:lnTo>
                      <a:lnTo>
                        <a:pt x="29" y="2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26" y="8"/>
                      </a:lnTo>
                      <a:lnTo>
                        <a:pt x="18" y="11"/>
                      </a:lnTo>
                      <a:lnTo>
                        <a:pt x="6" y="15"/>
                      </a:lnTo>
                      <a:lnTo>
                        <a:pt x="8" y="16"/>
                      </a:lnTo>
                      <a:lnTo>
                        <a:pt x="0" y="21"/>
                      </a:lnTo>
                      <a:lnTo>
                        <a:pt x="1" y="28"/>
                      </a:lnTo>
                      <a:lnTo>
                        <a:pt x="3" y="31"/>
                      </a:lnTo>
                      <a:lnTo>
                        <a:pt x="6" y="29"/>
                      </a:lnTo>
                      <a:lnTo>
                        <a:pt x="10" y="28"/>
                      </a:lnTo>
                      <a:lnTo>
                        <a:pt x="13" y="33"/>
                      </a:lnTo>
                      <a:lnTo>
                        <a:pt x="16" y="36"/>
                      </a:lnTo>
                      <a:lnTo>
                        <a:pt x="21" y="39"/>
                      </a:lnTo>
                      <a:lnTo>
                        <a:pt x="21" y="42"/>
                      </a:lnTo>
                      <a:lnTo>
                        <a:pt x="26" y="44"/>
                      </a:lnTo>
                      <a:lnTo>
                        <a:pt x="26" y="47"/>
                      </a:lnTo>
                      <a:lnTo>
                        <a:pt x="21" y="51"/>
                      </a:lnTo>
                      <a:lnTo>
                        <a:pt x="21" y="54"/>
                      </a:lnTo>
                      <a:lnTo>
                        <a:pt x="19" y="55"/>
                      </a:lnTo>
                      <a:lnTo>
                        <a:pt x="19" y="60"/>
                      </a:lnTo>
                      <a:lnTo>
                        <a:pt x="21" y="65"/>
                      </a:lnTo>
                      <a:lnTo>
                        <a:pt x="24" y="75"/>
                      </a:lnTo>
                      <a:lnTo>
                        <a:pt x="24" y="80"/>
                      </a:lnTo>
                      <a:lnTo>
                        <a:pt x="31" y="85"/>
                      </a:lnTo>
                      <a:lnTo>
                        <a:pt x="37" y="87"/>
                      </a:lnTo>
                      <a:lnTo>
                        <a:pt x="42" y="90"/>
                      </a:lnTo>
                      <a:lnTo>
                        <a:pt x="44" y="93"/>
                      </a:lnTo>
                      <a:lnTo>
                        <a:pt x="49" y="95"/>
                      </a:lnTo>
                      <a:lnTo>
                        <a:pt x="52" y="93"/>
                      </a:lnTo>
                      <a:lnTo>
                        <a:pt x="57" y="95"/>
                      </a:lnTo>
                      <a:lnTo>
                        <a:pt x="57" y="98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3" name="Freeform 187">
                  <a:extLst>
                    <a:ext uri="{FF2B5EF4-FFF2-40B4-BE49-F238E27FC236}">
                      <a16:creationId xmlns:a16="http://schemas.microsoft.com/office/drawing/2014/main" xmlns="" id="{E4E22991-5955-443B-81A0-CB5EF5C3B5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5" y="1381"/>
                  <a:ext cx="211" cy="178"/>
                </a:xfrm>
                <a:custGeom>
                  <a:avLst/>
                  <a:gdLst>
                    <a:gd name="T0" fmla="*/ 194 w 211"/>
                    <a:gd name="T1" fmla="*/ 16 h 178"/>
                    <a:gd name="T2" fmla="*/ 203 w 211"/>
                    <a:gd name="T3" fmla="*/ 16 h 178"/>
                    <a:gd name="T4" fmla="*/ 206 w 211"/>
                    <a:gd name="T5" fmla="*/ 23 h 178"/>
                    <a:gd name="T6" fmla="*/ 198 w 211"/>
                    <a:gd name="T7" fmla="*/ 32 h 178"/>
                    <a:gd name="T8" fmla="*/ 173 w 211"/>
                    <a:gd name="T9" fmla="*/ 37 h 178"/>
                    <a:gd name="T10" fmla="*/ 163 w 211"/>
                    <a:gd name="T11" fmla="*/ 44 h 178"/>
                    <a:gd name="T12" fmla="*/ 167 w 211"/>
                    <a:gd name="T13" fmla="*/ 65 h 178"/>
                    <a:gd name="T14" fmla="*/ 163 w 211"/>
                    <a:gd name="T15" fmla="*/ 83 h 178"/>
                    <a:gd name="T16" fmla="*/ 147 w 211"/>
                    <a:gd name="T17" fmla="*/ 86 h 178"/>
                    <a:gd name="T18" fmla="*/ 149 w 211"/>
                    <a:gd name="T19" fmla="*/ 94 h 178"/>
                    <a:gd name="T20" fmla="*/ 147 w 211"/>
                    <a:gd name="T21" fmla="*/ 104 h 178"/>
                    <a:gd name="T22" fmla="*/ 141 w 211"/>
                    <a:gd name="T23" fmla="*/ 112 h 178"/>
                    <a:gd name="T24" fmla="*/ 139 w 211"/>
                    <a:gd name="T25" fmla="*/ 121 h 178"/>
                    <a:gd name="T26" fmla="*/ 134 w 211"/>
                    <a:gd name="T27" fmla="*/ 129 h 178"/>
                    <a:gd name="T28" fmla="*/ 128 w 211"/>
                    <a:gd name="T29" fmla="*/ 130 h 178"/>
                    <a:gd name="T30" fmla="*/ 121 w 211"/>
                    <a:gd name="T31" fmla="*/ 132 h 178"/>
                    <a:gd name="T32" fmla="*/ 116 w 211"/>
                    <a:gd name="T33" fmla="*/ 140 h 178"/>
                    <a:gd name="T34" fmla="*/ 105 w 211"/>
                    <a:gd name="T35" fmla="*/ 142 h 178"/>
                    <a:gd name="T36" fmla="*/ 100 w 211"/>
                    <a:gd name="T37" fmla="*/ 148 h 178"/>
                    <a:gd name="T38" fmla="*/ 100 w 211"/>
                    <a:gd name="T39" fmla="*/ 160 h 178"/>
                    <a:gd name="T40" fmla="*/ 100 w 211"/>
                    <a:gd name="T41" fmla="*/ 170 h 178"/>
                    <a:gd name="T42" fmla="*/ 82 w 211"/>
                    <a:gd name="T43" fmla="*/ 173 h 178"/>
                    <a:gd name="T44" fmla="*/ 67 w 211"/>
                    <a:gd name="T45" fmla="*/ 176 h 178"/>
                    <a:gd name="T46" fmla="*/ 38 w 211"/>
                    <a:gd name="T47" fmla="*/ 178 h 178"/>
                    <a:gd name="T48" fmla="*/ 30 w 211"/>
                    <a:gd name="T49" fmla="*/ 153 h 178"/>
                    <a:gd name="T50" fmla="*/ 26 w 211"/>
                    <a:gd name="T51" fmla="*/ 137 h 178"/>
                    <a:gd name="T52" fmla="*/ 10 w 211"/>
                    <a:gd name="T53" fmla="*/ 129 h 178"/>
                    <a:gd name="T54" fmla="*/ 5 w 211"/>
                    <a:gd name="T55" fmla="*/ 109 h 178"/>
                    <a:gd name="T56" fmla="*/ 8 w 211"/>
                    <a:gd name="T57" fmla="*/ 99 h 178"/>
                    <a:gd name="T58" fmla="*/ 2 w 211"/>
                    <a:gd name="T59" fmla="*/ 90 h 178"/>
                    <a:gd name="T60" fmla="*/ 2 w 211"/>
                    <a:gd name="T61" fmla="*/ 81 h 178"/>
                    <a:gd name="T62" fmla="*/ 8 w 211"/>
                    <a:gd name="T63" fmla="*/ 76 h 178"/>
                    <a:gd name="T64" fmla="*/ 7 w 211"/>
                    <a:gd name="T65" fmla="*/ 70 h 178"/>
                    <a:gd name="T66" fmla="*/ 8 w 211"/>
                    <a:gd name="T67" fmla="*/ 62 h 178"/>
                    <a:gd name="T68" fmla="*/ 13 w 211"/>
                    <a:gd name="T69" fmla="*/ 62 h 178"/>
                    <a:gd name="T70" fmla="*/ 20 w 211"/>
                    <a:gd name="T71" fmla="*/ 62 h 178"/>
                    <a:gd name="T72" fmla="*/ 26 w 211"/>
                    <a:gd name="T73" fmla="*/ 67 h 178"/>
                    <a:gd name="T74" fmla="*/ 34 w 211"/>
                    <a:gd name="T75" fmla="*/ 65 h 178"/>
                    <a:gd name="T76" fmla="*/ 39 w 211"/>
                    <a:gd name="T77" fmla="*/ 59 h 178"/>
                    <a:gd name="T78" fmla="*/ 49 w 211"/>
                    <a:gd name="T79" fmla="*/ 52 h 178"/>
                    <a:gd name="T80" fmla="*/ 56 w 211"/>
                    <a:gd name="T81" fmla="*/ 49 h 178"/>
                    <a:gd name="T82" fmla="*/ 61 w 211"/>
                    <a:gd name="T83" fmla="*/ 36 h 178"/>
                    <a:gd name="T84" fmla="*/ 59 w 211"/>
                    <a:gd name="T85" fmla="*/ 29 h 178"/>
                    <a:gd name="T86" fmla="*/ 65 w 211"/>
                    <a:gd name="T87" fmla="*/ 26 h 178"/>
                    <a:gd name="T88" fmla="*/ 75 w 211"/>
                    <a:gd name="T89" fmla="*/ 21 h 178"/>
                    <a:gd name="T90" fmla="*/ 83 w 211"/>
                    <a:gd name="T91" fmla="*/ 24 h 178"/>
                    <a:gd name="T92" fmla="*/ 93 w 211"/>
                    <a:gd name="T93" fmla="*/ 27 h 178"/>
                    <a:gd name="T94" fmla="*/ 101 w 211"/>
                    <a:gd name="T95" fmla="*/ 24 h 178"/>
                    <a:gd name="T96" fmla="*/ 113 w 211"/>
                    <a:gd name="T97" fmla="*/ 29 h 178"/>
                    <a:gd name="T98" fmla="*/ 119 w 211"/>
                    <a:gd name="T99" fmla="*/ 24 h 178"/>
                    <a:gd name="T100" fmla="*/ 124 w 211"/>
                    <a:gd name="T101" fmla="*/ 26 h 178"/>
                    <a:gd name="T102" fmla="*/ 129 w 211"/>
                    <a:gd name="T103" fmla="*/ 23 h 178"/>
                    <a:gd name="T104" fmla="*/ 134 w 211"/>
                    <a:gd name="T105" fmla="*/ 18 h 178"/>
                    <a:gd name="T106" fmla="*/ 139 w 211"/>
                    <a:gd name="T107" fmla="*/ 19 h 178"/>
                    <a:gd name="T108" fmla="*/ 142 w 211"/>
                    <a:gd name="T109" fmla="*/ 9 h 178"/>
                    <a:gd name="T110" fmla="*/ 146 w 211"/>
                    <a:gd name="T111" fmla="*/ 0 h 178"/>
                    <a:gd name="T112" fmla="*/ 155 w 211"/>
                    <a:gd name="T113" fmla="*/ 3 h 178"/>
                    <a:gd name="T114" fmla="*/ 155 w 211"/>
                    <a:gd name="T115" fmla="*/ 13 h 178"/>
                    <a:gd name="T116" fmla="*/ 159 w 211"/>
                    <a:gd name="T117" fmla="*/ 19 h 178"/>
                    <a:gd name="T118" fmla="*/ 162 w 211"/>
                    <a:gd name="T119" fmla="*/ 32 h 178"/>
                    <a:gd name="T120" fmla="*/ 168 w 211"/>
                    <a:gd name="T121" fmla="*/ 36 h 178"/>
                    <a:gd name="T122" fmla="*/ 178 w 211"/>
                    <a:gd name="T123" fmla="*/ 29 h 178"/>
                    <a:gd name="T124" fmla="*/ 183 w 211"/>
                    <a:gd name="T125" fmla="*/ 23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1" h="178">
                      <a:moveTo>
                        <a:pt x="183" y="23"/>
                      </a:moveTo>
                      <a:lnTo>
                        <a:pt x="190" y="18"/>
                      </a:lnTo>
                      <a:lnTo>
                        <a:pt x="194" y="16"/>
                      </a:lnTo>
                      <a:lnTo>
                        <a:pt x="196" y="19"/>
                      </a:lnTo>
                      <a:lnTo>
                        <a:pt x="201" y="19"/>
                      </a:lnTo>
                      <a:lnTo>
                        <a:pt x="203" y="16"/>
                      </a:lnTo>
                      <a:lnTo>
                        <a:pt x="211" y="16"/>
                      </a:lnTo>
                      <a:lnTo>
                        <a:pt x="211" y="19"/>
                      </a:lnTo>
                      <a:lnTo>
                        <a:pt x="206" y="23"/>
                      </a:lnTo>
                      <a:lnTo>
                        <a:pt x="209" y="24"/>
                      </a:lnTo>
                      <a:lnTo>
                        <a:pt x="206" y="29"/>
                      </a:lnTo>
                      <a:lnTo>
                        <a:pt x="198" y="32"/>
                      </a:lnTo>
                      <a:lnTo>
                        <a:pt x="183" y="36"/>
                      </a:lnTo>
                      <a:lnTo>
                        <a:pt x="178" y="34"/>
                      </a:lnTo>
                      <a:lnTo>
                        <a:pt x="173" y="37"/>
                      </a:lnTo>
                      <a:lnTo>
                        <a:pt x="170" y="41"/>
                      </a:lnTo>
                      <a:lnTo>
                        <a:pt x="165" y="41"/>
                      </a:lnTo>
                      <a:lnTo>
                        <a:pt x="163" y="44"/>
                      </a:lnTo>
                      <a:lnTo>
                        <a:pt x="160" y="47"/>
                      </a:lnTo>
                      <a:lnTo>
                        <a:pt x="167" y="57"/>
                      </a:lnTo>
                      <a:lnTo>
                        <a:pt x="167" y="65"/>
                      </a:lnTo>
                      <a:lnTo>
                        <a:pt x="160" y="75"/>
                      </a:lnTo>
                      <a:lnTo>
                        <a:pt x="163" y="78"/>
                      </a:lnTo>
                      <a:lnTo>
                        <a:pt x="163" y="83"/>
                      </a:lnTo>
                      <a:lnTo>
                        <a:pt x="160" y="90"/>
                      </a:lnTo>
                      <a:lnTo>
                        <a:pt x="154" y="90"/>
                      </a:lnTo>
                      <a:lnTo>
                        <a:pt x="147" y="86"/>
                      </a:lnTo>
                      <a:lnTo>
                        <a:pt x="144" y="90"/>
                      </a:lnTo>
                      <a:lnTo>
                        <a:pt x="146" y="93"/>
                      </a:lnTo>
                      <a:lnTo>
                        <a:pt x="149" y="94"/>
                      </a:lnTo>
                      <a:lnTo>
                        <a:pt x="150" y="99"/>
                      </a:lnTo>
                      <a:lnTo>
                        <a:pt x="150" y="103"/>
                      </a:lnTo>
                      <a:lnTo>
                        <a:pt x="147" y="104"/>
                      </a:lnTo>
                      <a:lnTo>
                        <a:pt x="142" y="104"/>
                      </a:lnTo>
                      <a:lnTo>
                        <a:pt x="142" y="108"/>
                      </a:lnTo>
                      <a:lnTo>
                        <a:pt x="141" y="112"/>
                      </a:lnTo>
                      <a:lnTo>
                        <a:pt x="141" y="117"/>
                      </a:lnTo>
                      <a:lnTo>
                        <a:pt x="141" y="119"/>
                      </a:lnTo>
                      <a:lnTo>
                        <a:pt x="139" y="121"/>
                      </a:lnTo>
                      <a:lnTo>
                        <a:pt x="141" y="127"/>
                      </a:lnTo>
                      <a:lnTo>
                        <a:pt x="137" y="132"/>
                      </a:lnTo>
                      <a:lnTo>
                        <a:pt x="134" y="129"/>
                      </a:lnTo>
                      <a:lnTo>
                        <a:pt x="132" y="129"/>
                      </a:lnTo>
                      <a:lnTo>
                        <a:pt x="131" y="130"/>
                      </a:lnTo>
                      <a:lnTo>
                        <a:pt x="128" y="130"/>
                      </a:lnTo>
                      <a:lnTo>
                        <a:pt x="126" y="129"/>
                      </a:lnTo>
                      <a:lnTo>
                        <a:pt x="123" y="130"/>
                      </a:lnTo>
                      <a:lnTo>
                        <a:pt x="121" y="132"/>
                      </a:lnTo>
                      <a:lnTo>
                        <a:pt x="114" y="137"/>
                      </a:lnTo>
                      <a:lnTo>
                        <a:pt x="118" y="137"/>
                      </a:lnTo>
                      <a:lnTo>
                        <a:pt x="116" y="140"/>
                      </a:lnTo>
                      <a:lnTo>
                        <a:pt x="110" y="142"/>
                      </a:lnTo>
                      <a:lnTo>
                        <a:pt x="108" y="140"/>
                      </a:lnTo>
                      <a:lnTo>
                        <a:pt x="105" y="142"/>
                      </a:lnTo>
                      <a:lnTo>
                        <a:pt x="103" y="143"/>
                      </a:lnTo>
                      <a:lnTo>
                        <a:pt x="103" y="147"/>
                      </a:lnTo>
                      <a:lnTo>
                        <a:pt x="100" y="148"/>
                      </a:lnTo>
                      <a:lnTo>
                        <a:pt x="98" y="150"/>
                      </a:lnTo>
                      <a:lnTo>
                        <a:pt x="98" y="155"/>
                      </a:lnTo>
                      <a:lnTo>
                        <a:pt x="100" y="160"/>
                      </a:lnTo>
                      <a:lnTo>
                        <a:pt x="98" y="163"/>
                      </a:lnTo>
                      <a:lnTo>
                        <a:pt x="100" y="166"/>
                      </a:lnTo>
                      <a:lnTo>
                        <a:pt x="100" y="170"/>
                      </a:lnTo>
                      <a:lnTo>
                        <a:pt x="93" y="173"/>
                      </a:lnTo>
                      <a:lnTo>
                        <a:pt x="88" y="173"/>
                      </a:lnTo>
                      <a:lnTo>
                        <a:pt x="82" y="173"/>
                      </a:lnTo>
                      <a:lnTo>
                        <a:pt x="74" y="173"/>
                      </a:lnTo>
                      <a:lnTo>
                        <a:pt x="69" y="175"/>
                      </a:lnTo>
                      <a:lnTo>
                        <a:pt x="67" y="176"/>
                      </a:lnTo>
                      <a:lnTo>
                        <a:pt x="62" y="176"/>
                      </a:lnTo>
                      <a:lnTo>
                        <a:pt x="56" y="178"/>
                      </a:lnTo>
                      <a:lnTo>
                        <a:pt x="38" y="178"/>
                      </a:lnTo>
                      <a:lnTo>
                        <a:pt x="16" y="171"/>
                      </a:lnTo>
                      <a:lnTo>
                        <a:pt x="28" y="155"/>
                      </a:lnTo>
                      <a:lnTo>
                        <a:pt x="30" y="153"/>
                      </a:lnTo>
                      <a:lnTo>
                        <a:pt x="28" y="147"/>
                      </a:lnTo>
                      <a:lnTo>
                        <a:pt x="28" y="143"/>
                      </a:lnTo>
                      <a:lnTo>
                        <a:pt x="26" y="137"/>
                      </a:lnTo>
                      <a:lnTo>
                        <a:pt x="12" y="137"/>
                      </a:lnTo>
                      <a:lnTo>
                        <a:pt x="12" y="130"/>
                      </a:lnTo>
                      <a:lnTo>
                        <a:pt x="10" y="129"/>
                      </a:lnTo>
                      <a:lnTo>
                        <a:pt x="12" y="126"/>
                      </a:lnTo>
                      <a:lnTo>
                        <a:pt x="8" y="119"/>
                      </a:lnTo>
                      <a:lnTo>
                        <a:pt x="5" y="109"/>
                      </a:lnTo>
                      <a:lnTo>
                        <a:pt x="5" y="106"/>
                      </a:lnTo>
                      <a:lnTo>
                        <a:pt x="10" y="99"/>
                      </a:lnTo>
                      <a:lnTo>
                        <a:pt x="8" y="99"/>
                      </a:lnTo>
                      <a:lnTo>
                        <a:pt x="3" y="98"/>
                      </a:lnTo>
                      <a:lnTo>
                        <a:pt x="3" y="94"/>
                      </a:lnTo>
                      <a:lnTo>
                        <a:pt x="2" y="90"/>
                      </a:lnTo>
                      <a:lnTo>
                        <a:pt x="2" y="88"/>
                      </a:lnTo>
                      <a:lnTo>
                        <a:pt x="5" y="85"/>
                      </a:lnTo>
                      <a:lnTo>
                        <a:pt x="2" y="81"/>
                      </a:lnTo>
                      <a:lnTo>
                        <a:pt x="0" y="80"/>
                      </a:lnTo>
                      <a:lnTo>
                        <a:pt x="3" y="80"/>
                      </a:lnTo>
                      <a:lnTo>
                        <a:pt x="8" y="76"/>
                      </a:lnTo>
                      <a:lnTo>
                        <a:pt x="8" y="75"/>
                      </a:lnTo>
                      <a:lnTo>
                        <a:pt x="8" y="73"/>
                      </a:lnTo>
                      <a:lnTo>
                        <a:pt x="7" y="70"/>
                      </a:lnTo>
                      <a:lnTo>
                        <a:pt x="8" y="68"/>
                      </a:lnTo>
                      <a:lnTo>
                        <a:pt x="8" y="65"/>
                      </a:lnTo>
                      <a:lnTo>
                        <a:pt x="8" y="62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13" y="62"/>
                      </a:lnTo>
                      <a:lnTo>
                        <a:pt x="15" y="63"/>
                      </a:lnTo>
                      <a:lnTo>
                        <a:pt x="18" y="63"/>
                      </a:lnTo>
                      <a:lnTo>
                        <a:pt x="20" y="62"/>
                      </a:lnTo>
                      <a:lnTo>
                        <a:pt x="23" y="62"/>
                      </a:lnTo>
                      <a:lnTo>
                        <a:pt x="26" y="63"/>
                      </a:lnTo>
                      <a:lnTo>
                        <a:pt x="26" y="67"/>
                      </a:lnTo>
                      <a:lnTo>
                        <a:pt x="28" y="68"/>
                      </a:lnTo>
                      <a:lnTo>
                        <a:pt x="30" y="65"/>
                      </a:lnTo>
                      <a:lnTo>
                        <a:pt x="34" y="65"/>
                      </a:lnTo>
                      <a:lnTo>
                        <a:pt x="36" y="62"/>
                      </a:lnTo>
                      <a:lnTo>
                        <a:pt x="38" y="60"/>
                      </a:lnTo>
                      <a:lnTo>
                        <a:pt x="39" y="59"/>
                      </a:lnTo>
                      <a:lnTo>
                        <a:pt x="38" y="57"/>
                      </a:lnTo>
                      <a:lnTo>
                        <a:pt x="43" y="54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2" y="49"/>
                      </a:lnTo>
                      <a:lnTo>
                        <a:pt x="56" y="49"/>
                      </a:lnTo>
                      <a:lnTo>
                        <a:pt x="56" y="44"/>
                      </a:lnTo>
                      <a:lnTo>
                        <a:pt x="56" y="39"/>
                      </a:lnTo>
                      <a:lnTo>
                        <a:pt x="61" y="36"/>
                      </a:lnTo>
                      <a:lnTo>
                        <a:pt x="61" y="32"/>
                      </a:lnTo>
                      <a:lnTo>
                        <a:pt x="59" y="31"/>
                      </a:lnTo>
                      <a:lnTo>
                        <a:pt x="59" y="29"/>
                      </a:lnTo>
                      <a:lnTo>
                        <a:pt x="61" y="29"/>
                      </a:lnTo>
                      <a:lnTo>
                        <a:pt x="62" y="27"/>
                      </a:lnTo>
                      <a:lnTo>
                        <a:pt x="65" y="26"/>
                      </a:lnTo>
                      <a:lnTo>
                        <a:pt x="67" y="26"/>
                      </a:lnTo>
                      <a:lnTo>
                        <a:pt x="72" y="23"/>
                      </a:lnTo>
                      <a:lnTo>
                        <a:pt x="75" y="21"/>
                      </a:lnTo>
                      <a:lnTo>
                        <a:pt x="79" y="23"/>
                      </a:lnTo>
                      <a:lnTo>
                        <a:pt x="82" y="23"/>
                      </a:lnTo>
                      <a:lnTo>
                        <a:pt x="83" y="24"/>
                      </a:lnTo>
                      <a:lnTo>
                        <a:pt x="88" y="23"/>
                      </a:lnTo>
                      <a:lnTo>
                        <a:pt x="92" y="24"/>
                      </a:lnTo>
                      <a:lnTo>
                        <a:pt x="93" y="27"/>
                      </a:lnTo>
                      <a:lnTo>
                        <a:pt x="97" y="27"/>
                      </a:lnTo>
                      <a:lnTo>
                        <a:pt x="98" y="24"/>
                      </a:lnTo>
                      <a:lnTo>
                        <a:pt x="101" y="24"/>
                      </a:lnTo>
                      <a:lnTo>
                        <a:pt x="105" y="29"/>
                      </a:lnTo>
                      <a:lnTo>
                        <a:pt x="108" y="31"/>
                      </a:lnTo>
                      <a:lnTo>
                        <a:pt x="113" y="29"/>
                      </a:lnTo>
                      <a:lnTo>
                        <a:pt x="116" y="27"/>
                      </a:lnTo>
                      <a:lnTo>
                        <a:pt x="118" y="24"/>
                      </a:lnTo>
                      <a:lnTo>
                        <a:pt x="119" y="24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4" y="26"/>
                      </a:lnTo>
                      <a:lnTo>
                        <a:pt x="131" y="26"/>
                      </a:lnTo>
                      <a:lnTo>
                        <a:pt x="131" y="24"/>
                      </a:lnTo>
                      <a:lnTo>
                        <a:pt x="129" y="23"/>
                      </a:lnTo>
                      <a:lnTo>
                        <a:pt x="129" y="21"/>
                      </a:lnTo>
                      <a:lnTo>
                        <a:pt x="132" y="19"/>
                      </a:lnTo>
                      <a:lnTo>
                        <a:pt x="134" y="18"/>
                      </a:lnTo>
                      <a:lnTo>
                        <a:pt x="136" y="18"/>
                      </a:lnTo>
                      <a:lnTo>
                        <a:pt x="136" y="19"/>
                      </a:lnTo>
                      <a:lnTo>
                        <a:pt x="139" y="19"/>
                      </a:lnTo>
                      <a:lnTo>
                        <a:pt x="141" y="16"/>
                      </a:lnTo>
                      <a:lnTo>
                        <a:pt x="141" y="11"/>
                      </a:lnTo>
                      <a:lnTo>
                        <a:pt x="142" y="9"/>
                      </a:lnTo>
                      <a:lnTo>
                        <a:pt x="144" y="6"/>
                      </a:lnTo>
                      <a:lnTo>
                        <a:pt x="144" y="3"/>
                      </a:lnTo>
                      <a:lnTo>
                        <a:pt x="146" y="0"/>
                      </a:lnTo>
                      <a:lnTo>
                        <a:pt x="149" y="0"/>
                      </a:lnTo>
                      <a:lnTo>
                        <a:pt x="152" y="1"/>
                      </a:lnTo>
                      <a:lnTo>
                        <a:pt x="155" y="3"/>
                      </a:lnTo>
                      <a:lnTo>
                        <a:pt x="155" y="6"/>
                      </a:lnTo>
                      <a:lnTo>
                        <a:pt x="154" y="9"/>
                      </a:lnTo>
                      <a:lnTo>
                        <a:pt x="155" y="13"/>
                      </a:lnTo>
                      <a:lnTo>
                        <a:pt x="159" y="13"/>
                      </a:lnTo>
                      <a:lnTo>
                        <a:pt x="159" y="14"/>
                      </a:lnTo>
                      <a:lnTo>
                        <a:pt x="159" y="19"/>
                      </a:lnTo>
                      <a:lnTo>
                        <a:pt x="159" y="23"/>
                      </a:lnTo>
                      <a:lnTo>
                        <a:pt x="160" y="29"/>
                      </a:lnTo>
                      <a:lnTo>
                        <a:pt x="162" y="32"/>
                      </a:lnTo>
                      <a:lnTo>
                        <a:pt x="162" y="34"/>
                      </a:lnTo>
                      <a:lnTo>
                        <a:pt x="165" y="36"/>
                      </a:lnTo>
                      <a:lnTo>
                        <a:pt x="168" y="36"/>
                      </a:lnTo>
                      <a:lnTo>
                        <a:pt x="172" y="34"/>
                      </a:lnTo>
                      <a:lnTo>
                        <a:pt x="172" y="32"/>
                      </a:lnTo>
                      <a:lnTo>
                        <a:pt x="178" y="29"/>
                      </a:lnTo>
                      <a:lnTo>
                        <a:pt x="180" y="27"/>
                      </a:lnTo>
                      <a:lnTo>
                        <a:pt x="181" y="24"/>
                      </a:lnTo>
                      <a:lnTo>
                        <a:pt x="183" y="23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4" name="Freeform 188">
                  <a:extLst>
                    <a:ext uri="{FF2B5EF4-FFF2-40B4-BE49-F238E27FC236}">
                      <a16:creationId xmlns:a16="http://schemas.microsoft.com/office/drawing/2014/main" xmlns="" id="{BE3A7A94-8D07-4F78-AE7E-7454050730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5" y="997"/>
                  <a:ext cx="100" cy="80"/>
                </a:xfrm>
                <a:custGeom>
                  <a:avLst/>
                  <a:gdLst>
                    <a:gd name="T0" fmla="*/ 48 w 61"/>
                    <a:gd name="T1" fmla="*/ 47 h 49"/>
                    <a:gd name="T2" fmla="*/ 48 w 61"/>
                    <a:gd name="T3" fmla="*/ 43 h 49"/>
                    <a:gd name="T4" fmla="*/ 44 w 61"/>
                    <a:gd name="T5" fmla="*/ 43 h 49"/>
                    <a:gd name="T6" fmla="*/ 44 w 61"/>
                    <a:gd name="T7" fmla="*/ 46 h 49"/>
                    <a:gd name="T8" fmla="*/ 58 w 61"/>
                    <a:gd name="T9" fmla="*/ 38 h 49"/>
                    <a:gd name="T10" fmla="*/ 58 w 61"/>
                    <a:gd name="T11" fmla="*/ 34 h 49"/>
                    <a:gd name="T12" fmla="*/ 39 w 61"/>
                    <a:gd name="T13" fmla="*/ 29 h 49"/>
                    <a:gd name="T14" fmla="*/ 33 w 61"/>
                    <a:gd name="T15" fmla="*/ 37 h 49"/>
                    <a:gd name="T16" fmla="*/ 28 w 61"/>
                    <a:gd name="T17" fmla="*/ 34 h 49"/>
                    <a:gd name="T18" fmla="*/ 28 w 61"/>
                    <a:gd name="T19" fmla="*/ 29 h 49"/>
                    <a:gd name="T20" fmla="*/ 31 w 61"/>
                    <a:gd name="T21" fmla="*/ 29 h 49"/>
                    <a:gd name="T22" fmla="*/ 34 w 61"/>
                    <a:gd name="T23" fmla="*/ 29 h 49"/>
                    <a:gd name="T24" fmla="*/ 35 w 61"/>
                    <a:gd name="T25" fmla="*/ 24 h 49"/>
                    <a:gd name="T26" fmla="*/ 38 w 61"/>
                    <a:gd name="T27" fmla="*/ 31 h 49"/>
                    <a:gd name="T28" fmla="*/ 38 w 61"/>
                    <a:gd name="T29" fmla="*/ 35 h 49"/>
                    <a:gd name="T30" fmla="*/ 34 w 61"/>
                    <a:gd name="T31" fmla="*/ 39 h 49"/>
                    <a:gd name="T32" fmla="*/ 38 w 61"/>
                    <a:gd name="T33" fmla="*/ 39 h 49"/>
                    <a:gd name="T34" fmla="*/ 28 w 61"/>
                    <a:gd name="T35" fmla="*/ 39 h 49"/>
                    <a:gd name="T36" fmla="*/ 33 w 61"/>
                    <a:gd name="T37" fmla="*/ 40 h 49"/>
                    <a:gd name="T38" fmla="*/ 34 w 61"/>
                    <a:gd name="T39" fmla="*/ 43 h 49"/>
                    <a:gd name="T40" fmla="*/ 32 w 61"/>
                    <a:gd name="T41" fmla="*/ 44 h 49"/>
                    <a:gd name="T42" fmla="*/ 27 w 61"/>
                    <a:gd name="T43" fmla="*/ 41 h 49"/>
                    <a:gd name="T44" fmla="*/ 21 w 61"/>
                    <a:gd name="T45" fmla="*/ 29 h 49"/>
                    <a:gd name="T46" fmla="*/ 23 w 61"/>
                    <a:gd name="T47" fmla="*/ 29 h 49"/>
                    <a:gd name="T48" fmla="*/ 22 w 61"/>
                    <a:gd name="T49" fmla="*/ 41 h 49"/>
                    <a:gd name="T50" fmla="*/ 23 w 61"/>
                    <a:gd name="T51" fmla="*/ 41 h 49"/>
                    <a:gd name="T52" fmla="*/ 24 w 61"/>
                    <a:gd name="T53" fmla="*/ 37 h 49"/>
                    <a:gd name="T54" fmla="*/ 22 w 61"/>
                    <a:gd name="T55" fmla="*/ 32 h 49"/>
                    <a:gd name="T56" fmla="*/ 21 w 61"/>
                    <a:gd name="T57" fmla="*/ 39 h 49"/>
                    <a:gd name="T58" fmla="*/ 15 w 61"/>
                    <a:gd name="T59" fmla="*/ 34 h 49"/>
                    <a:gd name="T60" fmla="*/ 26 w 61"/>
                    <a:gd name="T61" fmla="*/ 6 h 49"/>
                    <a:gd name="T62" fmla="*/ 6 w 61"/>
                    <a:gd name="T63" fmla="*/ 14 h 49"/>
                    <a:gd name="T64" fmla="*/ 7 w 61"/>
                    <a:gd name="T65" fmla="*/ 16 h 49"/>
                    <a:gd name="T66" fmla="*/ 5 w 61"/>
                    <a:gd name="T67" fmla="*/ 13 h 49"/>
                    <a:gd name="T68" fmla="*/ 13 w 61"/>
                    <a:gd name="T69" fmla="*/ 12 h 49"/>
                    <a:gd name="T70" fmla="*/ 19 w 61"/>
                    <a:gd name="T71" fmla="*/ 11 h 49"/>
                    <a:gd name="T72" fmla="*/ 20 w 61"/>
                    <a:gd name="T73" fmla="*/ 3 h 49"/>
                    <a:gd name="T74" fmla="*/ 16 w 61"/>
                    <a:gd name="T75" fmla="*/ 4 h 49"/>
                    <a:gd name="T76" fmla="*/ 10 w 61"/>
                    <a:gd name="T77" fmla="*/ 9 h 49"/>
                    <a:gd name="T78" fmla="*/ 4 w 61"/>
                    <a:gd name="T79" fmla="*/ 11 h 49"/>
                    <a:gd name="T80" fmla="*/ 3 w 61"/>
                    <a:gd name="T81" fmla="*/ 15 h 49"/>
                    <a:gd name="T82" fmla="*/ 14 w 61"/>
                    <a:gd name="T83" fmla="*/ 39 h 49"/>
                    <a:gd name="T84" fmla="*/ 13 w 61"/>
                    <a:gd name="T85" fmla="*/ 36 h 49"/>
                    <a:gd name="T86" fmla="*/ 16 w 61"/>
                    <a:gd name="T87" fmla="*/ 30 h 49"/>
                    <a:gd name="T88" fmla="*/ 20 w 61"/>
                    <a:gd name="T89" fmla="*/ 28 h 49"/>
                    <a:gd name="T90" fmla="*/ 22 w 61"/>
                    <a:gd name="T91" fmla="*/ 22 h 49"/>
                    <a:gd name="T92" fmla="*/ 25 w 61"/>
                    <a:gd name="T93" fmla="*/ 22 h 49"/>
                    <a:gd name="T94" fmla="*/ 21 w 61"/>
                    <a:gd name="T95" fmla="*/ 19 h 49"/>
                    <a:gd name="T96" fmla="*/ 18 w 61"/>
                    <a:gd name="T97" fmla="*/ 15 h 49"/>
                    <a:gd name="T98" fmla="*/ 12 w 61"/>
                    <a:gd name="T99" fmla="*/ 13 h 49"/>
                    <a:gd name="T100" fmla="*/ 11 w 61"/>
                    <a:gd name="T101" fmla="*/ 16 h 49"/>
                    <a:gd name="T102" fmla="*/ 9 w 61"/>
                    <a:gd name="T103" fmla="*/ 19 h 49"/>
                    <a:gd name="T104" fmla="*/ 9 w 61"/>
                    <a:gd name="T105" fmla="*/ 15 h 49"/>
                    <a:gd name="T106" fmla="*/ 5 w 61"/>
                    <a:gd name="T107" fmla="*/ 18 h 49"/>
                    <a:gd name="T108" fmla="*/ 3 w 61"/>
                    <a:gd name="T109" fmla="*/ 21 h 49"/>
                    <a:gd name="T110" fmla="*/ 1 w 61"/>
                    <a:gd name="T111" fmla="*/ 24 h 49"/>
                    <a:gd name="T112" fmla="*/ 1 w 61"/>
                    <a:gd name="T113" fmla="*/ 30 h 49"/>
                    <a:gd name="T114" fmla="*/ 5 w 61"/>
                    <a:gd name="T115" fmla="*/ 34 h 49"/>
                    <a:gd name="T116" fmla="*/ 7 w 61"/>
                    <a:gd name="T117" fmla="*/ 3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1" h="49">
                      <a:moveTo>
                        <a:pt x="44" y="47"/>
                      </a:move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6" y="49"/>
                        <a:pt x="46" y="49"/>
                        <a:pt x="46" y="49"/>
                      </a:cubicBezTo>
                      <a:cubicBezTo>
                        <a:pt x="48" y="47"/>
                        <a:pt x="48" y="47"/>
                        <a:pt x="48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49" y="46"/>
                        <a:pt x="49" y="46"/>
                        <a:pt x="49" y="46"/>
                      </a:cubicBezTo>
                      <a:cubicBezTo>
                        <a:pt x="48" y="45"/>
                        <a:pt x="48" y="45"/>
                        <a:pt x="48" y="45"/>
                      </a:cubicBezTo>
                      <a:cubicBezTo>
                        <a:pt x="48" y="43"/>
                        <a:pt x="48" y="43"/>
                        <a:pt x="48" y="43"/>
                      </a:cubicBezTo>
                      <a:cubicBezTo>
                        <a:pt x="47" y="43"/>
                        <a:pt x="47" y="43"/>
                        <a:pt x="47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4" y="43"/>
                        <a:pt x="44" y="43"/>
                        <a:pt x="44" y="43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45" y="45"/>
                        <a:pt x="45" y="45"/>
                        <a:pt x="45" y="45"/>
                      </a:cubicBezTo>
                      <a:cubicBezTo>
                        <a:pt x="44" y="46"/>
                        <a:pt x="44" y="46"/>
                        <a:pt x="44" y="46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lose/>
                      <a:moveTo>
                        <a:pt x="58" y="34"/>
                      </a:moveTo>
                      <a:cubicBezTo>
                        <a:pt x="57" y="36"/>
                        <a:pt x="57" y="36"/>
                        <a:pt x="57" y="36"/>
                      </a:cubicBezTo>
                      <a:cubicBezTo>
                        <a:pt x="58" y="38"/>
                        <a:pt x="58" y="38"/>
                        <a:pt x="58" y="38"/>
                      </a:cubicBezTo>
                      <a:cubicBezTo>
                        <a:pt x="61" y="39"/>
                        <a:pt x="61" y="39"/>
                        <a:pt x="61" y="39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59" y="35"/>
                        <a:pt x="59" y="35"/>
                        <a:pt x="59" y="35"/>
                      </a:cubicBezTo>
                      <a:cubicBezTo>
                        <a:pt x="58" y="34"/>
                        <a:pt x="58" y="34"/>
                        <a:pt x="58" y="34"/>
                      </a:cubicBezTo>
                      <a:close/>
                      <a:moveTo>
                        <a:pt x="39" y="29"/>
                      </a:move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9" y="32"/>
                        <a:pt x="39" y="32"/>
                        <a:pt x="39" y="32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lose/>
                      <a:moveTo>
                        <a:pt x="34" y="39"/>
                      </a:moveTo>
                      <a:cubicBezTo>
                        <a:pt x="33" y="39"/>
                        <a:pt x="33" y="39"/>
                        <a:pt x="33" y="39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27" y="29"/>
                        <a:pt x="27" y="29"/>
                        <a:pt x="27" y="29"/>
                      </a:cubicBezTo>
                      <a:cubicBezTo>
                        <a:pt x="28" y="29"/>
                        <a:pt x="28" y="29"/>
                        <a:pt x="28" y="29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30" y="27"/>
                        <a:pt x="30" y="27"/>
                        <a:pt x="30" y="27"/>
                      </a:cubicBez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1" y="29"/>
                        <a:pt x="31" y="29"/>
                        <a:pt x="31" y="29"/>
                      </a:cubicBezTo>
                      <a:cubicBezTo>
                        <a:pt x="32" y="30"/>
                        <a:pt x="32" y="30"/>
                        <a:pt x="32" y="30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29"/>
                        <a:pt x="34" y="29"/>
                        <a:pt x="34" y="29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3" y="25"/>
                        <a:pt x="33" y="25"/>
                        <a:pt x="33" y="25"/>
                      </a:cubicBezTo>
                      <a:cubicBezTo>
                        <a:pt x="35" y="24"/>
                        <a:pt x="35" y="24"/>
                        <a:pt x="35" y="24"/>
                      </a:cubicBezTo>
                      <a:cubicBezTo>
                        <a:pt x="37" y="24"/>
                        <a:pt x="37" y="24"/>
                        <a:pt x="37" y="24"/>
                      </a:cubicBezTo>
                      <a:cubicBezTo>
                        <a:pt x="38" y="26"/>
                        <a:pt x="38" y="26"/>
                        <a:pt x="38" y="26"/>
                      </a:cubicBezTo>
                      <a:cubicBezTo>
                        <a:pt x="38" y="28"/>
                        <a:pt x="38" y="28"/>
                        <a:pt x="38" y="28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6" y="31"/>
                        <a:pt x="36" y="31"/>
                        <a:pt x="36" y="31"/>
                      </a:cubicBez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5" y="36"/>
                        <a:pt x="35" y="36"/>
                        <a:pt x="35" y="36"/>
                      </a:cubicBez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4" y="39"/>
                        <a:pt x="34" y="39"/>
                        <a:pt x="34" y="39"/>
                      </a:cubicBezTo>
                      <a:close/>
                      <a:moveTo>
                        <a:pt x="35" y="39"/>
                      </a:moveTo>
                      <a:cubicBezTo>
                        <a:pt x="35" y="40"/>
                        <a:pt x="35" y="40"/>
                        <a:pt x="35" y="40"/>
                      </a:cubicBezTo>
                      <a:cubicBezTo>
                        <a:pt x="36" y="39"/>
                        <a:pt x="36" y="39"/>
                        <a:pt x="36" y="39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7" y="38"/>
                        <a:pt x="37" y="38"/>
                        <a:pt x="37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39"/>
                        <a:pt x="35" y="39"/>
                        <a:pt x="35" y="39"/>
                      </a:cubicBezTo>
                      <a:close/>
                      <a:moveTo>
                        <a:pt x="28" y="39"/>
                      </a:moveTo>
                      <a:cubicBezTo>
                        <a:pt x="30" y="42"/>
                        <a:pt x="30" y="42"/>
                        <a:pt x="30" y="42"/>
                      </a:cubicBezTo>
                      <a:cubicBezTo>
                        <a:pt x="31" y="41"/>
                        <a:pt x="31" y="41"/>
                        <a:pt x="31" y="41"/>
                      </a:cubicBezTo>
                      <a:cubicBezTo>
                        <a:pt x="32" y="41"/>
                        <a:pt x="32" y="41"/>
                        <a:pt x="32" y="41"/>
                      </a:cubicBezTo>
                      <a:cubicBezTo>
                        <a:pt x="33" y="40"/>
                        <a:pt x="33" y="40"/>
                        <a:pt x="33" y="40"/>
                      </a:cubicBezTo>
                      <a:cubicBezTo>
                        <a:pt x="34" y="40"/>
                        <a:pt x="34" y="40"/>
                        <a:pt x="34" y="40"/>
                      </a:cubicBezTo>
                      <a:cubicBezTo>
                        <a:pt x="34" y="40"/>
                        <a:pt x="34" y="40"/>
                        <a:pt x="34" y="40"/>
                      </a:cubicBezTo>
                      <a:cubicBezTo>
                        <a:pt x="35" y="41"/>
                        <a:pt x="35" y="41"/>
                        <a:pt x="35" y="41"/>
                      </a:cubicBezTo>
                      <a:cubicBezTo>
                        <a:pt x="34" y="43"/>
                        <a:pt x="34" y="43"/>
                        <a:pt x="34" y="43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33" y="44"/>
                        <a:pt x="33" y="44"/>
                        <a:pt x="33" y="44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4"/>
                        <a:pt x="32" y="44"/>
                        <a:pt x="32" y="44"/>
                      </a:cubicBezTo>
                      <a:cubicBezTo>
                        <a:pt x="29" y="44"/>
                        <a:pt x="29" y="44"/>
                        <a:pt x="29" y="44"/>
                      </a:cubicBezTo>
                      <a:cubicBezTo>
                        <a:pt x="27" y="43"/>
                        <a:pt x="27" y="43"/>
                        <a:pt x="27" y="43"/>
                      </a:cubicBez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27" y="41"/>
                        <a:pt x="27" y="41"/>
                        <a:pt x="27" y="41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39"/>
                        <a:pt x="28" y="39"/>
                        <a:pt x="28" y="39"/>
                      </a:cubicBezTo>
                      <a:close/>
                      <a:moveTo>
                        <a:pt x="21" y="29"/>
                      </a:move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23" y="29"/>
                        <a:pt x="23" y="29"/>
                        <a:pt x="23" y="29"/>
                      </a:cubicBezTo>
                      <a:cubicBezTo>
                        <a:pt x="21" y="29"/>
                        <a:pt x="21" y="29"/>
                        <a:pt x="21" y="29"/>
                      </a:cubicBezTo>
                      <a:close/>
                      <a:moveTo>
                        <a:pt x="20" y="40"/>
                      </a:move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20" y="40"/>
                        <a:pt x="20" y="40"/>
                        <a:pt x="20" y="40"/>
                      </a:cubicBezTo>
                      <a:close/>
                      <a:moveTo>
                        <a:pt x="24" y="37"/>
                      </a:moveTo>
                      <a:cubicBezTo>
                        <a:pt x="24" y="39"/>
                        <a:pt x="24" y="39"/>
                        <a:pt x="24" y="39"/>
                      </a:cubicBezTo>
                      <a:cubicBezTo>
                        <a:pt x="23" y="41"/>
                        <a:pt x="23" y="41"/>
                        <a:pt x="23" y="41"/>
                      </a:cubicBezTo>
                      <a:cubicBezTo>
                        <a:pt x="24" y="42"/>
                        <a:pt x="24" y="42"/>
                        <a:pt x="24" y="42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6" y="38"/>
                        <a:pt x="24" y="37"/>
                        <a:pt x="24" y="37"/>
                      </a:cubicBezTo>
                      <a:close/>
                      <a:moveTo>
                        <a:pt x="16" y="32"/>
                      </a:move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cubicBezTo>
                        <a:pt x="22" y="32"/>
                        <a:pt x="22" y="32"/>
                        <a:pt x="22" y="32"/>
                      </a:cubicBezTo>
                      <a:cubicBezTo>
                        <a:pt x="23" y="35"/>
                        <a:pt x="23" y="35"/>
                        <a:pt x="23" y="35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0" y="38"/>
                        <a:pt x="20" y="38"/>
                        <a:pt x="20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6" y="36"/>
                        <a:pt x="16" y="36"/>
                        <a:pt x="16" y="36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6" y="32"/>
                        <a:pt x="16" y="32"/>
                        <a:pt x="16" y="32"/>
                      </a:cubicBezTo>
                      <a:close/>
                      <a:moveTo>
                        <a:pt x="23" y="7"/>
                      </a:moveTo>
                      <a:cubicBezTo>
                        <a:pt x="24" y="6"/>
                        <a:pt x="24" y="6"/>
                        <a:pt x="24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3" y="7"/>
                        <a:pt x="23" y="7"/>
                        <a:pt x="23" y="7"/>
                      </a:cubicBezTo>
                      <a:close/>
                      <a:moveTo>
                        <a:pt x="6" y="16"/>
                      </a:move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7" y="16"/>
                        <a:pt x="7" y="16"/>
                        <a:pt x="7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lose/>
                      <a:moveTo>
                        <a:pt x="5" y="17"/>
                      </a:move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3" y="12"/>
                        <a:pt x="13" y="12"/>
                        <a:pt x="13" y="12"/>
                      </a:cubicBezTo>
                      <a:cubicBezTo>
                        <a:pt x="14" y="11"/>
                        <a:pt x="14" y="11"/>
                        <a:pt x="14" y="11"/>
                      </a:cubicBezTo>
                      <a:cubicBezTo>
                        <a:pt x="16" y="11"/>
                        <a:pt x="16" y="11"/>
                        <a:pt x="16" y="11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9" y="11"/>
                        <a:pt x="19" y="11"/>
                        <a:pt x="19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20" y="6"/>
                        <a:pt x="20" y="6"/>
                      </a:cubicBezTo>
                      <a:cubicBezTo>
                        <a:pt x="21" y="5"/>
                        <a:pt x="21" y="5"/>
                        <a:pt x="21" y="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5" y="17"/>
                        <a:pt x="5" y="17"/>
                        <a:pt x="5" y="17"/>
                      </a:cubicBezTo>
                      <a:close/>
                      <a:moveTo>
                        <a:pt x="14" y="40"/>
                      </a:move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4" y="39"/>
                        <a:pt x="14" y="39"/>
                        <a:pt x="14" y="39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2" y="36"/>
                        <a:pt x="12" y="36"/>
                        <a:pt x="12" y="36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3" y="32"/>
                        <a:pt x="13" y="32"/>
                        <a:pt x="13" y="32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7" y="28"/>
                        <a:pt x="17" y="28"/>
                        <a:pt x="17" y="28"/>
                      </a:cubicBezTo>
                      <a:cubicBezTo>
                        <a:pt x="18" y="29"/>
                        <a:pt x="18" y="29"/>
                        <a:pt x="18" y="29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20" y="25"/>
                        <a:pt x="20" y="25"/>
                        <a:pt x="20" y="25"/>
                      </a:cubicBezTo>
                      <a:cubicBezTo>
                        <a:pt x="19" y="23"/>
                        <a:pt x="19" y="23"/>
                        <a:pt x="19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22" y="22"/>
                        <a:pt x="22" y="22"/>
                        <a:pt x="22" y="22"/>
                      </a:cubicBezTo>
                      <a:cubicBezTo>
                        <a:pt x="23" y="23"/>
                        <a:pt x="23" y="23"/>
                        <a:pt x="23" y="23"/>
                      </a:cubicBezTo>
                      <a:cubicBezTo>
                        <a:pt x="23" y="23"/>
                        <a:pt x="23" y="23"/>
                        <a:pt x="23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2"/>
                        <a:pt x="25" y="22"/>
                        <a:pt x="25" y="22"/>
                      </a:cubicBezTo>
                      <a:cubicBezTo>
                        <a:pt x="25" y="20"/>
                        <a:pt x="25" y="20"/>
                        <a:pt x="25" y="20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18" y="15"/>
                        <a:pt x="18" y="15"/>
                        <a:pt x="18" y="15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8" y="18"/>
                        <a:pt x="8" y="18"/>
                        <a:pt x="8" y="18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3" y="18"/>
                        <a:pt x="3" y="18"/>
                        <a:pt x="3" y="18"/>
                      </a:cubicBezTo>
                      <a:cubicBezTo>
                        <a:pt x="2" y="18"/>
                        <a:pt x="2" y="18"/>
                        <a:pt x="2" y="18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2" y="21"/>
                        <a:pt x="2" y="21"/>
                        <a:pt x="2" y="21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5" y="37"/>
                        <a:pt x="5" y="37"/>
                        <a:pt x="5" y="37"/>
                      </a:cubicBezTo>
                      <a:cubicBezTo>
                        <a:pt x="5" y="38"/>
                        <a:pt x="5" y="38"/>
                        <a:pt x="5" y="38"/>
                      </a:cubicBezTo>
                      <a:cubicBezTo>
                        <a:pt x="5" y="39"/>
                        <a:pt x="5" y="39"/>
                        <a:pt x="5" y="39"/>
                      </a:cubicBezTo>
                      <a:cubicBezTo>
                        <a:pt x="7" y="39"/>
                        <a:pt x="7" y="39"/>
                        <a:pt x="7" y="39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lnTo>
                        <a:pt x="14" y="4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5" name="Freeform 189">
                  <a:extLst>
                    <a:ext uri="{FF2B5EF4-FFF2-40B4-BE49-F238E27FC236}">
                      <a16:creationId xmlns:a16="http://schemas.microsoft.com/office/drawing/2014/main" xmlns="" id="{E4BD3C24-5122-4A87-8CE5-8E548F60D1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15" y="614"/>
                  <a:ext cx="321" cy="379"/>
                </a:xfrm>
                <a:custGeom>
                  <a:avLst/>
                  <a:gdLst>
                    <a:gd name="T0" fmla="*/ 189 w 197"/>
                    <a:gd name="T1" fmla="*/ 29 h 232"/>
                    <a:gd name="T2" fmla="*/ 196 w 197"/>
                    <a:gd name="T3" fmla="*/ 16 h 232"/>
                    <a:gd name="T4" fmla="*/ 181 w 197"/>
                    <a:gd name="T5" fmla="*/ 10 h 232"/>
                    <a:gd name="T6" fmla="*/ 173 w 197"/>
                    <a:gd name="T7" fmla="*/ 10 h 232"/>
                    <a:gd name="T8" fmla="*/ 167 w 197"/>
                    <a:gd name="T9" fmla="*/ 0 h 232"/>
                    <a:gd name="T10" fmla="*/ 161 w 197"/>
                    <a:gd name="T11" fmla="*/ 14 h 232"/>
                    <a:gd name="T12" fmla="*/ 148 w 197"/>
                    <a:gd name="T13" fmla="*/ 21 h 232"/>
                    <a:gd name="T14" fmla="*/ 142 w 197"/>
                    <a:gd name="T15" fmla="*/ 8 h 232"/>
                    <a:gd name="T16" fmla="*/ 137 w 197"/>
                    <a:gd name="T17" fmla="*/ 24 h 232"/>
                    <a:gd name="T18" fmla="*/ 125 w 197"/>
                    <a:gd name="T19" fmla="*/ 26 h 232"/>
                    <a:gd name="T20" fmla="*/ 113 w 197"/>
                    <a:gd name="T21" fmla="*/ 39 h 232"/>
                    <a:gd name="T22" fmla="*/ 108 w 197"/>
                    <a:gd name="T23" fmla="*/ 43 h 232"/>
                    <a:gd name="T24" fmla="*/ 97 w 197"/>
                    <a:gd name="T25" fmla="*/ 43 h 232"/>
                    <a:gd name="T26" fmla="*/ 87 w 197"/>
                    <a:gd name="T27" fmla="*/ 57 h 232"/>
                    <a:gd name="T28" fmla="*/ 86 w 197"/>
                    <a:gd name="T29" fmla="*/ 63 h 232"/>
                    <a:gd name="T30" fmla="*/ 76 w 197"/>
                    <a:gd name="T31" fmla="*/ 70 h 232"/>
                    <a:gd name="T32" fmla="*/ 78 w 197"/>
                    <a:gd name="T33" fmla="*/ 79 h 232"/>
                    <a:gd name="T34" fmla="*/ 68 w 197"/>
                    <a:gd name="T35" fmla="*/ 89 h 232"/>
                    <a:gd name="T36" fmla="*/ 67 w 197"/>
                    <a:gd name="T37" fmla="*/ 98 h 232"/>
                    <a:gd name="T38" fmla="*/ 63 w 197"/>
                    <a:gd name="T39" fmla="*/ 111 h 232"/>
                    <a:gd name="T40" fmla="*/ 52 w 197"/>
                    <a:gd name="T41" fmla="*/ 125 h 232"/>
                    <a:gd name="T42" fmla="*/ 40 w 197"/>
                    <a:gd name="T43" fmla="*/ 140 h 232"/>
                    <a:gd name="T44" fmla="*/ 54 w 197"/>
                    <a:gd name="T45" fmla="*/ 139 h 232"/>
                    <a:gd name="T46" fmla="*/ 36 w 197"/>
                    <a:gd name="T47" fmla="*/ 145 h 232"/>
                    <a:gd name="T48" fmla="*/ 31 w 197"/>
                    <a:gd name="T49" fmla="*/ 154 h 232"/>
                    <a:gd name="T50" fmla="*/ 23 w 197"/>
                    <a:gd name="T51" fmla="*/ 156 h 232"/>
                    <a:gd name="T52" fmla="*/ 19 w 197"/>
                    <a:gd name="T53" fmla="*/ 164 h 232"/>
                    <a:gd name="T54" fmla="*/ 3 w 197"/>
                    <a:gd name="T55" fmla="*/ 166 h 232"/>
                    <a:gd name="T56" fmla="*/ 6 w 197"/>
                    <a:gd name="T57" fmla="*/ 177 h 232"/>
                    <a:gd name="T58" fmla="*/ 15 w 197"/>
                    <a:gd name="T59" fmla="*/ 180 h 232"/>
                    <a:gd name="T60" fmla="*/ 19 w 197"/>
                    <a:gd name="T61" fmla="*/ 184 h 232"/>
                    <a:gd name="T62" fmla="*/ 5 w 197"/>
                    <a:gd name="T63" fmla="*/ 190 h 232"/>
                    <a:gd name="T64" fmla="*/ 18 w 197"/>
                    <a:gd name="T65" fmla="*/ 193 h 232"/>
                    <a:gd name="T66" fmla="*/ 9 w 197"/>
                    <a:gd name="T67" fmla="*/ 206 h 232"/>
                    <a:gd name="T68" fmla="*/ 14 w 197"/>
                    <a:gd name="T69" fmla="*/ 217 h 232"/>
                    <a:gd name="T70" fmla="*/ 23 w 197"/>
                    <a:gd name="T71" fmla="*/ 232 h 232"/>
                    <a:gd name="T72" fmla="*/ 41 w 197"/>
                    <a:gd name="T73" fmla="*/ 214 h 232"/>
                    <a:gd name="T74" fmla="*/ 49 w 197"/>
                    <a:gd name="T75" fmla="*/ 208 h 232"/>
                    <a:gd name="T76" fmla="*/ 61 w 197"/>
                    <a:gd name="T77" fmla="*/ 215 h 232"/>
                    <a:gd name="T78" fmla="*/ 62 w 197"/>
                    <a:gd name="T79" fmla="*/ 163 h 232"/>
                    <a:gd name="T80" fmla="*/ 75 w 197"/>
                    <a:gd name="T81" fmla="*/ 98 h 232"/>
                    <a:gd name="T82" fmla="*/ 100 w 197"/>
                    <a:gd name="T83" fmla="*/ 60 h 232"/>
                    <a:gd name="T84" fmla="*/ 117 w 197"/>
                    <a:gd name="T85" fmla="*/ 44 h 232"/>
                    <a:gd name="T86" fmla="*/ 151 w 197"/>
                    <a:gd name="T87" fmla="*/ 49 h 232"/>
                    <a:gd name="T88" fmla="*/ 173 w 197"/>
                    <a:gd name="T89" fmla="*/ 23 h 232"/>
                    <a:gd name="T90" fmla="*/ 7 w 197"/>
                    <a:gd name="T91" fmla="*/ 200 h 232"/>
                    <a:gd name="T92" fmla="*/ 3 w 197"/>
                    <a:gd name="T93" fmla="*/ 196 h 232"/>
                    <a:gd name="T94" fmla="*/ 9 w 197"/>
                    <a:gd name="T95" fmla="*/ 165 h 232"/>
                    <a:gd name="T96" fmla="*/ 34 w 197"/>
                    <a:gd name="T97" fmla="*/ 142 h 232"/>
                    <a:gd name="T98" fmla="*/ 58 w 197"/>
                    <a:gd name="T99" fmla="*/ 108 h 232"/>
                    <a:gd name="T100" fmla="*/ 60 w 197"/>
                    <a:gd name="T101" fmla="*/ 73 h 232"/>
                    <a:gd name="T102" fmla="*/ 73 w 197"/>
                    <a:gd name="T103" fmla="*/ 55 h 232"/>
                    <a:gd name="T104" fmla="*/ 79 w 197"/>
                    <a:gd name="T105" fmla="*/ 48 h 232"/>
                    <a:gd name="T106" fmla="*/ 78 w 197"/>
                    <a:gd name="T107" fmla="*/ 54 h 232"/>
                    <a:gd name="T108" fmla="*/ 97 w 197"/>
                    <a:gd name="T109" fmla="*/ 39 h 232"/>
                    <a:gd name="T110" fmla="*/ 97 w 197"/>
                    <a:gd name="T111" fmla="*/ 39 h 232"/>
                    <a:gd name="T112" fmla="*/ 108 w 197"/>
                    <a:gd name="T113" fmla="*/ 29 h 232"/>
                    <a:gd name="T114" fmla="*/ 111 w 197"/>
                    <a:gd name="T115" fmla="*/ 23 h 232"/>
                    <a:gd name="T116" fmla="*/ 136 w 197"/>
                    <a:gd name="T117" fmla="*/ 14 h 232"/>
                    <a:gd name="T118" fmla="*/ 136 w 197"/>
                    <a:gd name="T119" fmla="*/ 10 h 232"/>
                    <a:gd name="T120" fmla="*/ 155 w 197"/>
                    <a:gd name="T121" fmla="*/ 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7" h="232">
                      <a:moveTo>
                        <a:pt x="183" y="41"/>
                      </a:moveTo>
                      <a:cubicBezTo>
                        <a:pt x="184" y="41"/>
                        <a:pt x="184" y="41"/>
                        <a:pt x="184" y="41"/>
                      </a:cubicBezTo>
                      <a:cubicBezTo>
                        <a:pt x="184" y="38"/>
                        <a:pt x="184" y="38"/>
                        <a:pt x="184" y="38"/>
                      </a:cubicBezTo>
                      <a:cubicBezTo>
                        <a:pt x="187" y="35"/>
                        <a:pt x="187" y="35"/>
                        <a:pt x="187" y="35"/>
                      </a:cubicBezTo>
                      <a:cubicBezTo>
                        <a:pt x="189" y="35"/>
                        <a:pt x="189" y="35"/>
                        <a:pt x="189" y="35"/>
                      </a:cubicBezTo>
                      <a:cubicBezTo>
                        <a:pt x="191" y="33"/>
                        <a:pt x="191" y="33"/>
                        <a:pt x="191" y="33"/>
                      </a:cubicBezTo>
                      <a:cubicBezTo>
                        <a:pt x="191" y="30"/>
                        <a:pt x="191" y="30"/>
                        <a:pt x="191" y="30"/>
                      </a:cubicBezTo>
                      <a:cubicBezTo>
                        <a:pt x="192" y="30"/>
                        <a:pt x="192" y="30"/>
                        <a:pt x="192" y="30"/>
                      </a:cubicBezTo>
                      <a:cubicBezTo>
                        <a:pt x="194" y="31"/>
                        <a:pt x="194" y="31"/>
                        <a:pt x="194" y="31"/>
                      </a:cubicBezTo>
                      <a:cubicBezTo>
                        <a:pt x="195" y="29"/>
                        <a:pt x="195" y="29"/>
                        <a:pt x="195" y="29"/>
                      </a:cubicBezTo>
                      <a:cubicBezTo>
                        <a:pt x="195" y="27"/>
                        <a:pt x="195" y="27"/>
                        <a:pt x="195" y="27"/>
                      </a:cubicBezTo>
                      <a:cubicBezTo>
                        <a:pt x="195" y="27"/>
                        <a:pt x="195" y="27"/>
                        <a:pt x="195" y="27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2" y="26"/>
                        <a:pt x="192" y="26"/>
                        <a:pt x="192" y="26"/>
                      </a:cubicBezTo>
                      <a:cubicBezTo>
                        <a:pt x="192" y="27"/>
                        <a:pt x="192" y="27"/>
                        <a:pt x="192" y="27"/>
                      </a:cubicBezTo>
                      <a:cubicBezTo>
                        <a:pt x="191" y="27"/>
                        <a:pt x="191" y="27"/>
                        <a:pt x="191" y="27"/>
                      </a:cubicBezTo>
                      <a:cubicBezTo>
                        <a:pt x="191" y="26"/>
                        <a:pt x="191" y="26"/>
                        <a:pt x="191" y="26"/>
                      </a:cubicBezTo>
                      <a:cubicBezTo>
                        <a:pt x="189" y="26"/>
                        <a:pt x="189" y="26"/>
                        <a:pt x="189" y="26"/>
                      </a:cubicBezTo>
                      <a:cubicBezTo>
                        <a:pt x="190" y="27"/>
                        <a:pt x="190" y="27"/>
                        <a:pt x="190" y="27"/>
                      </a:cubicBezTo>
                      <a:cubicBezTo>
                        <a:pt x="189" y="29"/>
                        <a:pt x="189" y="29"/>
                        <a:pt x="189" y="29"/>
                      </a:cubicBezTo>
                      <a:cubicBezTo>
                        <a:pt x="189" y="28"/>
                        <a:pt x="189" y="28"/>
                        <a:pt x="189" y="28"/>
                      </a:cubicBezTo>
                      <a:cubicBezTo>
                        <a:pt x="188" y="27"/>
                        <a:pt x="188" y="27"/>
                        <a:pt x="188" y="27"/>
                      </a:cubicBezTo>
                      <a:cubicBezTo>
                        <a:pt x="186" y="28"/>
                        <a:pt x="186" y="28"/>
                        <a:pt x="186" y="28"/>
                      </a:cubicBezTo>
                      <a:cubicBezTo>
                        <a:pt x="186" y="29"/>
                        <a:pt x="186" y="29"/>
                        <a:pt x="186" y="29"/>
                      </a:cubicBezTo>
                      <a:cubicBezTo>
                        <a:pt x="186" y="27"/>
                        <a:pt x="186" y="27"/>
                        <a:pt x="186" y="27"/>
                      </a:cubicBezTo>
                      <a:cubicBezTo>
                        <a:pt x="185" y="25"/>
                        <a:pt x="185" y="25"/>
                        <a:pt x="185" y="25"/>
                      </a:cubicBezTo>
                      <a:cubicBezTo>
                        <a:pt x="184" y="25"/>
                        <a:pt x="184" y="25"/>
                        <a:pt x="184" y="25"/>
                      </a:cubicBezTo>
                      <a:cubicBezTo>
                        <a:pt x="184" y="23"/>
                        <a:pt x="184" y="23"/>
                        <a:pt x="184" y="23"/>
                      </a:cubicBezTo>
                      <a:cubicBezTo>
                        <a:pt x="183" y="22"/>
                        <a:pt x="183" y="22"/>
                        <a:pt x="183" y="22"/>
                      </a:cubicBezTo>
                      <a:cubicBezTo>
                        <a:pt x="181" y="23"/>
                        <a:pt x="181" y="23"/>
                        <a:pt x="181" y="23"/>
                      </a:cubicBezTo>
                      <a:cubicBezTo>
                        <a:pt x="180" y="22"/>
                        <a:pt x="180" y="22"/>
                        <a:pt x="180" y="22"/>
                      </a:cubicBezTo>
                      <a:cubicBezTo>
                        <a:pt x="178" y="22"/>
                        <a:pt x="178" y="22"/>
                        <a:pt x="178" y="22"/>
                      </a:cubicBezTo>
                      <a:cubicBezTo>
                        <a:pt x="176" y="20"/>
                        <a:pt x="176" y="20"/>
                        <a:pt x="176" y="20"/>
                      </a:cubicBezTo>
                      <a:cubicBezTo>
                        <a:pt x="177" y="20"/>
                        <a:pt x="177" y="20"/>
                        <a:pt x="177" y="20"/>
                      </a:cubicBezTo>
                      <a:cubicBezTo>
                        <a:pt x="180" y="21"/>
                        <a:pt x="180" y="21"/>
                        <a:pt x="180" y="21"/>
                      </a:cubicBezTo>
                      <a:cubicBezTo>
                        <a:pt x="182" y="20"/>
                        <a:pt x="182" y="20"/>
                        <a:pt x="182" y="20"/>
                      </a:cubicBezTo>
                      <a:cubicBezTo>
                        <a:pt x="184" y="21"/>
                        <a:pt x="184" y="21"/>
                        <a:pt x="184" y="21"/>
                      </a:cubicBezTo>
                      <a:cubicBezTo>
                        <a:pt x="188" y="21"/>
                        <a:pt x="188" y="21"/>
                        <a:pt x="188" y="21"/>
                      </a:cubicBezTo>
                      <a:cubicBezTo>
                        <a:pt x="190" y="20"/>
                        <a:pt x="190" y="20"/>
                        <a:pt x="190" y="20"/>
                      </a:cubicBezTo>
                      <a:cubicBezTo>
                        <a:pt x="192" y="17"/>
                        <a:pt x="192" y="17"/>
                        <a:pt x="192" y="17"/>
                      </a:cubicBezTo>
                      <a:cubicBezTo>
                        <a:pt x="196" y="16"/>
                        <a:pt x="196" y="16"/>
                        <a:pt x="196" y="16"/>
                      </a:cubicBezTo>
                      <a:cubicBezTo>
                        <a:pt x="197" y="15"/>
                        <a:pt x="197" y="15"/>
                        <a:pt x="197" y="15"/>
                      </a:cubicBezTo>
                      <a:cubicBezTo>
                        <a:pt x="197" y="14"/>
                        <a:pt x="197" y="14"/>
                        <a:pt x="197" y="14"/>
                      </a:cubicBezTo>
                      <a:cubicBezTo>
                        <a:pt x="196" y="14"/>
                        <a:pt x="196" y="14"/>
                        <a:pt x="196" y="14"/>
                      </a:cubicBezTo>
                      <a:cubicBezTo>
                        <a:pt x="196" y="13"/>
                        <a:pt x="196" y="13"/>
                        <a:pt x="196" y="13"/>
                      </a:cubicBezTo>
                      <a:cubicBezTo>
                        <a:pt x="194" y="12"/>
                        <a:pt x="194" y="12"/>
                        <a:pt x="194" y="12"/>
                      </a:cubicBezTo>
                      <a:cubicBezTo>
                        <a:pt x="193" y="13"/>
                        <a:pt x="193" y="13"/>
                        <a:pt x="193" y="13"/>
                      </a:cubicBezTo>
                      <a:cubicBezTo>
                        <a:pt x="190" y="11"/>
                        <a:pt x="190" y="11"/>
                        <a:pt x="190" y="11"/>
                      </a:cubicBezTo>
                      <a:cubicBezTo>
                        <a:pt x="189" y="11"/>
                        <a:pt x="189" y="11"/>
                        <a:pt x="189" y="11"/>
                      </a:cubicBezTo>
                      <a:cubicBezTo>
                        <a:pt x="188" y="12"/>
                        <a:pt x="188" y="12"/>
                        <a:pt x="188" y="12"/>
                      </a:cubicBezTo>
                      <a:cubicBezTo>
                        <a:pt x="187" y="12"/>
                        <a:pt x="187" y="12"/>
                        <a:pt x="187" y="12"/>
                      </a:cubicBezTo>
                      <a:cubicBezTo>
                        <a:pt x="186" y="12"/>
                        <a:pt x="186" y="12"/>
                        <a:pt x="186" y="12"/>
                      </a:cubicBezTo>
                      <a:cubicBezTo>
                        <a:pt x="188" y="11"/>
                        <a:pt x="188" y="11"/>
                        <a:pt x="188" y="11"/>
                      </a:cubicBezTo>
                      <a:cubicBezTo>
                        <a:pt x="188" y="9"/>
                        <a:pt x="188" y="9"/>
                        <a:pt x="188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cubicBezTo>
                        <a:pt x="186" y="8"/>
                        <a:pt x="186" y="8"/>
                        <a:pt x="186" y="8"/>
                      </a:cubicBezTo>
                      <a:cubicBezTo>
                        <a:pt x="185" y="8"/>
                        <a:pt x="185" y="8"/>
                        <a:pt x="185" y="8"/>
                      </a:cubicBezTo>
                      <a:cubicBezTo>
                        <a:pt x="183" y="10"/>
                        <a:pt x="183" y="10"/>
                        <a:pt x="183" y="10"/>
                      </a:cubicBezTo>
                      <a:cubicBezTo>
                        <a:pt x="183" y="10"/>
                        <a:pt x="183" y="10"/>
                        <a:pt x="183" y="10"/>
                      </a:cubicBezTo>
                      <a:cubicBezTo>
                        <a:pt x="183" y="9"/>
                        <a:pt x="183" y="9"/>
                        <a:pt x="183" y="9"/>
                      </a:cubicBezTo>
                      <a:cubicBezTo>
                        <a:pt x="182" y="9"/>
                        <a:pt x="182" y="9"/>
                        <a:pt x="182" y="9"/>
                      </a:cubicBezTo>
                      <a:cubicBezTo>
                        <a:pt x="181" y="10"/>
                        <a:pt x="181" y="10"/>
                        <a:pt x="181" y="10"/>
                      </a:cubicBezTo>
                      <a:cubicBezTo>
                        <a:pt x="180" y="10"/>
                        <a:pt x="180" y="10"/>
                        <a:pt x="180" y="10"/>
                      </a:cubicBezTo>
                      <a:cubicBezTo>
                        <a:pt x="180" y="9"/>
                        <a:pt x="180" y="9"/>
                        <a:pt x="180" y="9"/>
                      </a:cubicBezTo>
                      <a:cubicBezTo>
                        <a:pt x="181" y="8"/>
                        <a:pt x="181" y="8"/>
                        <a:pt x="181" y="8"/>
                      </a:cubicBezTo>
                      <a:cubicBezTo>
                        <a:pt x="181" y="7"/>
                        <a:pt x="181" y="7"/>
                        <a:pt x="181" y="7"/>
                      </a:cubicBezTo>
                      <a:cubicBezTo>
                        <a:pt x="179" y="6"/>
                        <a:pt x="179" y="6"/>
                        <a:pt x="179" y="6"/>
                      </a:cubicBezTo>
                      <a:cubicBezTo>
                        <a:pt x="178" y="6"/>
                        <a:pt x="178" y="6"/>
                        <a:pt x="178" y="6"/>
                      </a:cubicBezTo>
                      <a:cubicBezTo>
                        <a:pt x="176" y="7"/>
                        <a:pt x="176" y="7"/>
                        <a:pt x="176" y="7"/>
                      </a:cubicBezTo>
                      <a:cubicBezTo>
                        <a:pt x="176" y="9"/>
                        <a:pt x="176" y="9"/>
                        <a:pt x="176" y="9"/>
                      </a:cubicBezTo>
                      <a:cubicBezTo>
                        <a:pt x="175" y="10"/>
                        <a:pt x="175" y="10"/>
                        <a:pt x="175" y="10"/>
                      </a:cubicBezTo>
                      <a:cubicBezTo>
                        <a:pt x="175" y="11"/>
                        <a:pt x="175" y="11"/>
                        <a:pt x="175" y="11"/>
                      </a:cubicBezTo>
                      <a:cubicBezTo>
                        <a:pt x="176" y="14"/>
                        <a:pt x="176" y="14"/>
                        <a:pt x="176" y="14"/>
                      </a:cubicBezTo>
                      <a:cubicBezTo>
                        <a:pt x="176" y="15"/>
                        <a:pt x="176" y="15"/>
                        <a:pt x="176" y="15"/>
                      </a:cubicBezTo>
                      <a:cubicBezTo>
                        <a:pt x="175" y="16"/>
                        <a:pt x="175" y="16"/>
                        <a:pt x="175" y="16"/>
                      </a:cubicBezTo>
                      <a:cubicBezTo>
                        <a:pt x="174" y="14"/>
                        <a:pt x="174" y="14"/>
                        <a:pt x="174" y="14"/>
                      </a:cubicBezTo>
                      <a:cubicBezTo>
                        <a:pt x="173" y="14"/>
                        <a:pt x="173" y="14"/>
                        <a:pt x="173" y="14"/>
                      </a:cubicBezTo>
                      <a:cubicBezTo>
                        <a:pt x="172" y="15"/>
                        <a:pt x="172" y="15"/>
                        <a:pt x="172" y="15"/>
                      </a:cubicBezTo>
                      <a:cubicBezTo>
                        <a:pt x="171" y="14"/>
                        <a:pt x="171" y="14"/>
                        <a:pt x="171" y="14"/>
                      </a:cubicBezTo>
                      <a:cubicBezTo>
                        <a:pt x="169" y="15"/>
                        <a:pt x="169" y="15"/>
                        <a:pt x="169" y="15"/>
                      </a:cubicBezTo>
                      <a:cubicBezTo>
                        <a:pt x="170" y="13"/>
                        <a:pt x="170" y="13"/>
                        <a:pt x="170" y="13"/>
                      </a:cubicBezTo>
                      <a:cubicBezTo>
                        <a:pt x="172" y="12"/>
                        <a:pt x="172" y="12"/>
                        <a:pt x="172" y="12"/>
                      </a:cubicBezTo>
                      <a:cubicBezTo>
                        <a:pt x="173" y="10"/>
                        <a:pt x="173" y="10"/>
                        <a:pt x="173" y="10"/>
                      </a:cubicBezTo>
                      <a:cubicBezTo>
                        <a:pt x="172" y="9"/>
                        <a:pt x="172" y="9"/>
                        <a:pt x="172" y="9"/>
                      </a:cubicBezTo>
                      <a:cubicBezTo>
                        <a:pt x="172" y="10"/>
                        <a:pt x="172" y="10"/>
                        <a:pt x="172" y="10"/>
                      </a:cubicBezTo>
                      <a:cubicBezTo>
                        <a:pt x="170" y="11"/>
                        <a:pt x="170" y="11"/>
                        <a:pt x="170" y="11"/>
                      </a:cubicBezTo>
                      <a:cubicBezTo>
                        <a:pt x="169" y="11"/>
                        <a:pt x="169" y="11"/>
                        <a:pt x="169" y="11"/>
                      </a:cubicBezTo>
                      <a:cubicBezTo>
                        <a:pt x="169" y="10"/>
                        <a:pt x="169" y="10"/>
                        <a:pt x="169" y="10"/>
                      </a:cubicBezTo>
                      <a:cubicBezTo>
                        <a:pt x="170" y="9"/>
                        <a:pt x="170" y="9"/>
                        <a:pt x="170" y="9"/>
                      </a:cubicBezTo>
                      <a:cubicBezTo>
                        <a:pt x="170" y="8"/>
                        <a:pt x="170" y="8"/>
                        <a:pt x="170" y="8"/>
                      </a:cubicBezTo>
                      <a:cubicBezTo>
                        <a:pt x="169" y="8"/>
                        <a:pt x="169" y="8"/>
                        <a:pt x="169" y="8"/>
                      </a:cubicBezTo>
                      <a:cubicBezTo>
                        <a:pt x="168" y="7"/>
                        <a:pt x="168" y="7"/>
                        <a:pt x="168" y="7"/>
                      </a:cubicBezTo>
                      <a:cubicBezTo>
                        <a:pt x="170" y="6"/>
                        <a:pt x="170" y="6"/>
                        <a:pt x="170" y="6"/>
                      </a:cubicBezTo>
                      <a:cubicBezTo>
                        <a:pt x="170" y="7"/>
                        <a:pt x="170" y="7"/>
                        <a:pt x="170" y="7"/>
                      </a:cubicBezTo>
                      <a:cubicBezTo>
                        <a:pt x="172" y="7"/>
                        <a:pt x="172" y="7"/>
                        <a:pt x="172" y="7"/>
                      </a:cubicBezTo>
                      <a:cubicBezTo>
                        <a:pt x="174" y="4"/>
                        <a:pt x="174" y="4"/>
                        <a:pt x="174" y="4"/>
                      </a:cubicBezTo>
                      <a:cubicBezTo>
                        <a:pt x="173" y="3"/>
                        <a:pt x="173" y="3"/>
                        <a:pt x="173" y="3"/>
                      </a:cubicBezTo>
                      <a:cubicBezTo>
                        <a:pt x="171" y="3"/>
                        <a:pt x="171" y="3"/>
                        <a:pt x="171" y="3"/>
                      </a:cubicBezTo>
                      <a:cubicBezTo>
                        <a:pt x="170" y="3"/>
                        <a:pt x="170" y="3"/>
                        <a:pt x="170" y="3"/>
                      </a:cubicBezTo>
                      <a:cubicBezTo>
                        <a:pt x="171" y="1"/>
                        <a:pt x="171" y="1"/>
                        <a:pt x="171" y="1"/>
                      </a:cubicBezTo>
                      <a:cubicBezTo>
                        <a:pt x="170" y="0"/>
                        <a:pt x="170" y="0"/>
                        <a:pt x="170" y="0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8" y="1"/>
                        <a:pt x="168" y="1"/>
                        <a:pt x="168" y="1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6" y="2"/>
                        <a:pt x="166" y="2"/>
                        <a:pt x="166" y="2"/>
                      </a:cubicBezTo>
                      <a:cubicBezTo>
                        <a:pt x="167" y="4"/>
                        <a:pt x="167" y="4"/>
                        <a:pt x="167" y="4"/>
                      </a:cubicBezTo>
                      <a:cubicBezTo>
                        <a:pt x="166" y="5"/>
                        <a:pt x="166" y="5"/>
                        <a:pt x="166" y="5"/>
                      </a:cubicBezTo>
                      <a:cubicBezTo>
                        <a:pt x="165" y="5"/>
                        <a:pt x="165" y="5"/>
                        <a:pt x="165" y="5"/>
                      </a:cubicBezTo>
                      <a:cubicBezTo>
                        <a:pt x="164" y="3"/>
                        <a:pt x="164" y="3"/>
                        <a:pt x="164" y="3"/>
                      </a:cubicBezTo>
                      <a:cubicBezTo>
                        <a:pt x="163" y="4"/>
                        <a:pt x="163" y="4"/>
                        <a:pt x="163" y="4"/>
                      </a:cubicBezTo>
                      <a:cubicBezTo>
                        <a:pt x="162" y="5"/>
                        <a:pt x="162" y="5"/>
                        <a:pt x="162" y="5"/>
                      </a:cubicBezTo>
                      <a:cubicBezTo>
                        <a:pt x="163" y="6"/>
                        <a:pt x="163" y="6"/>
                        <a:pt x="163" y="6"/>
                      </a:cubicBezTo>
                      <a:cubicBezTo>
                        <a:pt x="164" y="6"/>
                        <a:pt x="164" y="6"/>
                        <a:pt x="164" y="6"/>
                      </a:cubicBezTo>
                      <a:cubicBezTo>
                        <a:pt x="165" y="7"/>
                        <a:pt x="165" y="7"/>
                        <a:pt x="165" y="7"/>
                      </a:cubicBezTo>
                      <a:cubicBezTo>
                        <a:pt x="165" y="8"/>
                        <a:pt x="165" y="8"/>
                        <a:pt x="165" y="8"/>
                      </a:cubicBezTo>
                      <a:cubicBezTo>
                        <a:pt x="164" y="8"/>
                        <a:pt x="164" y="8"/>
                        <a:pt x="164" y="8"/>
                      </a:cubicBezTo>
                      <a:cubicBezTo>
                        <a:pt x="164" y="9"/>
                        <a:pt x="164" y="9"/>
                        <a:pt x="164" y="9"/>
                      </a:cubicBezTo>
                      <a:cubicBezTo>
                        <a:pt x="162" y="10"/>
                        <a:pt x="162" y="10"/>
                        <a:pt x="162" y="10"/>
                      </a:cubicBezTo>
                      <a:cubicBezTo>
                        <a:pt x="162" y="11"/>
                        <a:pt x="162" y="11"/>
                        <a:pt x="162" y="11"/>
                      </a:cubicBezTo>
                      <a:cubicBezTo>
                        <a:pt x="163" y="12"/>
                        <a:pt x="163" y="12"/>
                        <a:pt x="163" y="12"/>
                      </a:cubicBezTo>
                      <a:cubicBezTo>
                        <a:pt x="162" y="13"/>
                        <a:pt x="162" y="13"/>
                        <a:pt x="162" y="13"/>
                      </a:cubicBezTo>
                      <a:cubicBezTo>
                        <a:pt x="162" y="15"/>
                        <a:pt x="162" y="15"/>
                        <a:pt x="162" y="15"/>
                      </a:cubicBezTo>
                      <a:cubicBezTo>
                        <a:pt x="162" y="15"/>
                        <a:pt x="162" y="15"/>
                        <a:pt x="162" y="15"/>
                      </a:cubicBezTo>
                      <a:cubicBezTo>
                        <a:pt x="161" y="14"/>
                        <a:pt x="161" y="14"/>
                        <a:pt x="161" y="14"/>
                      </a:cubicBezTo>
                      <a:cubicBezTo>
                        <a:pt x="159" y="15"/>
                        <a:pt x="159" y="15"/>
                        <a:pt x="159" y="15"/>
                      </a:cubicBezTo>
                      <a:cubicBezTo>
                        <a:pt x="159" y="16"/>
                        <a:pt x="159" y="16"/>
                        <a:pt x="159" y="16"/>
                      </a:cubicBezTo>
                      <a:cubicBezTo>
                        <a:pt x="158" y="17"/>
                        <a:pt x="158" y="17"/>
                        <a:pt x="158" y="17"/>
                      </a:cubicBezTo>
                      <a:cubicBezTo>
                        <a:pt x="158" y="15"/>
                        <a:pt x="158" y="15"/>
                        <a:pt x="158" y="15"/>
                      </a:cubicBezTo>
                      <a:cubicBezTo>
                        <a:pt x="159" y="12"/>
                        <a:pt x="159" y="12"/>
                        <a:pt x="159" y="12"/>
                      </a:cubicBezTo>
                      <a:cubicBezTo>
                        <a:pt x="158" y="11"/>
                        <a:pt x="158" y="11"/>
                        <a:pt x="158" y="11"/>
                      </a:cubicBezTo>
                      <a:cubicBezTo>
                        <a:pt x="158" y="10"/>
                        <a:pt x="158" y="10"/>
                        <a:pt x="158" y="10"/>
                      </a:cubicBezTo>
                      <a:cubicBezTo>
                        <a:pt x="159" y="9"/>
                        <a:pt x="159" y="9"/>
                        <a:pt x="159" y="9"/>
                      </a:cubicBezTo>
                      <a:cubicBezTo>
                        <a:pt x="159" y="6"/>
                        <a:pt x="159" y="6"/>
                        <a:pt x="159" y="6"/>
                      </a:cubicBezTo>
                      <a:cubicBezTo>
                        <a:pt x="159" y="5"/>
                        <a:pt x="159" y="5"/>
                        <a:pt x="159" y="5"/>
                      </a:cubicBezTo>
                      <a:cubicBezTo>
                        <a:pt x="158" y="5"/>
                        <a:pt x="158" y="5"/>
                        <a:pt x="158" y="5"/>
                      </a:cubicBezTo>
                      <a:cubicBezTo>
                        <a:pt x="155" y="9"/>
                        <a:pt x="155" y="9"/>
                        <a:pt x="155" y="9"/>
                      </a:cubicBezTo>
                      <a:cubicBezTo>
                        <a:pt x="155" y="11"/>
                        <a:pt x="155" y="11"/>
                        <a:pt x="155" y="11"/>
                      </a:cubicBezTo>
                      <a:cubicBezTo>
                        <a:pt x="153" y="15"/>
                        <a:pt x="153" y="15"/>
                        <a:pt x="153" y="15"/>
                      </a:cubicBezTo>
                      <a:cubicBezTo>
                        <a:pt x="152" y="17"/>
                        <a:pt x="152" y="17"/>
                        <a:pt x="152" y="17"/>
                      </a:cubicBezTo>
                      <a:cubicBezTo>
                        <a:pt x="153" y="18"/>
                        <a:pt x="153" y="18"/>
                        <a:pt x="153" y="18"/>
                      </a:cubicBezTo>
                      <a:cubicBezTo>
                        <a:pt x="152" y="20"/>
                        <a:pt x="152" y="20"/>
                        <a:pt x="152" y="20"/>
                      </a:cubicBezTo>
                      <a:cubicBezTo>
                        <a:pt x="150" y="23"/>
                        <a:pt x="150" y="23"/>
                        <a:pt x="150" y="23"/>
                      </a:cubicBezTo>
                      <a:cubicBezTo>
                        <a:pt x="149" y="24"/>
                        <a:pt x="149" y="24"/>
                        <a:pt x="149" y="24"/>
                      </a:cubicBezTo>
                      <a:cubicBezTo>
                        <a:pt x="149" y="22"/>
                        <a:pt x="149" y="22"/>
                        <a:pt x="149" y="22"/>
                      </a:cubicBezTo>
                      <a:cubicBezTo>
                        <a:pt x="148" y="21"/>
                        <a:pt x="148" y="21"/>
                        <a:pt x="148" y="21"/>
                      </a:cubicBezTo>
                      <a:cubicBezTo>
                        <a:pt x="150" y="18"/>
                        <a:pt x="150" y="18"/>
                        <a:pt x="150" y="18"/>
                      </a:cubicBezTo>
                      <a:cubicBezTo>
                        <a:pt x="149" y="16"/>
                        <a:pt x="149" y="16"/>
                        <a:pt x="149" y="16"/>
                      </a:cubicBezTo>
                      <a:cubicBezTo>
                        <a:pt x="150" y="15"/>
                        <a:pt x="150" y="15"/>
                        <a:pt x="150" y="15"/>
                      </a:cubicBezTo>
                      <a:cubicBezTo>
                        <a:pt x="149" y="13"/>
                        <a:pt x="149" y="13"/>
                        <a:pt x="149" y="13"/>
                      </a:cubicBezTo>
                      <a:cubicBezTo>
                        <a:pt x="152" y="10"/>
                        <a:pt x="152" y="10"/>
                        <a:pt x="152" y="10"/>
                      </a:cubicBezTo>
                      <a:cubicBezTo>
                        <a:pt x="152" y="8"/>
                        <a:pt x="152" y="8"/>
                        <a:pt x="152" y="8"/>
                      </a:cubicBezTo>
                      <a:cubicBezTo>
                        <a:pt x="153" y="8"/>
                        <a:pt x="153" y="8"/>
                        <a:pt x="153" y="8"/>
                      </a:cubicBezTo>
                      <a:cubicBezTo>
                        <a:pt x="153" y="7"/>
                        <a:pt x="153" y="7"/>
                        <a:pt x="153" y="7"/>
                      </a:cubicBezTo>
                      <a:cubicBezTo>
                        <a:pt x="151" y="7"/>
                        <a:pt x="151" y="7"/>
                        <a:pt x="151" y="7"/>
                      </a:cubicBezTo>
                      <a:cubicBezTo>
                        <a:pt x="150" y="5"/>
                        <a:pt x="150" y="5"/>
                        <a:pt x="150" y="5"/>
                      </a:cubicBezTo>
                      <a:cubicBezTo>
                        <a:pt x="149" y="5"/>
                        <a:pt x="149" y="5"/>
                        <a:pt x="149" y="5"/>
                      </a:cubicBezTo>
                      <a:cubicBezTo>
                        <a:pt x="149" y="7"/>
                        <a:pt x="149" y="7"/>
                        <a:pt x="149" y="7"/>
                      </a:cubicBezTo>
                      <a:cubicBezTo>
                        <a:pt x="148" y="8"/>
                        <a:pt x="148" y="8"/>
                        <a:pt x="148" y="8"/>
                      </a:cubicBezTo>
                      <a:cubicBezTo>
                        <a:pt x="148" y="7"/>
                        <a:pt x="148" y="7"/>
                        <a:pt x="148" y="7"/>
                      </a:cubicBezTo>
                      <a:cubicBezTo>
                        <a:pt x="147" y="5"/>
                        <a:pt x="147" y="5"/>
                        <a:pt x="147" y="5"/>
                      </a:cubicBezTo>
                      <a:cubicBezTo>
                        <a:pt x="145" y="5"/>
                        <a:pt x="145" y="5"/>
                        <a:pt x="145" y="5"/>
                      </a:cubicBezTo>
                      <a:cubicBezTo>
                        <a:pt x="144" y="6"/>
                        <a:pt x="144" y="6"/>
                        <a:pt x="144" y="6"/>
                      </a:cubicBezTo>
                      <a:cubicBezTo>
                        <a:pt x="144" y="8"/>
                        <a:pt x="144" y="8"/>
                        <a:pt x="144" y="8"/>
                      </a:cubicBezTo>
                      <a:cubicBezTo>
                        <a:pt x="144" y="9"/>
                        <a:pt x="144" y="9"/>
                        <a:pt x="144" y="9"/>
                      </a:cubicBezTo>
                      <a:cubicBezTo>
                        <a:pt x="143" y="8"/>
                        <a:pt x="143" y="8"/>
                        <a:pt x="143" y="8"/>
                      </a:cubicBezTo>
                      <a:cubicBezTo>
                        <a:pt x="142" y="8"/>
                        <a:pt x="142" y="8"/>
                        <a:pt x="142" y="8"/>
                      </a:cubicBezTo>
                      <a:cubicBezTo>
                        <a:pt x="141" y="8"/>
                        <a:pt x="141" y="8"/>
                        <a:pt x="141" y="8"/>
                      </a:cubicBezTo>
                      <a:cubicBezTo>
                        <a:pt x="141" y="9"/>
                        <a:pt x="141" y="9"/>
                        <a:pt x="141" y="9"/>
                      </a:cubicBezTo>
                      <a:cubicBezTo>
                        <a:pt x="143" y="11"/>
                        <a:pt x="143" y="11"/>
                        <a:pt x="143" y="11"/>
                      </a:cubicBezTo>
                      <a:cubicBezTo>
                        <a:pt x="144" y="12"/>
                        <a:pt x="144" y="12"/>
                        <a:pt x="144" y="12"/>
                      </a:cubicBezTo>
                      <a:cubicBezTo>
                        <a:pt x="143" y="13"/>
                        <a:pt x="143" y="13"/>
                        <a:pt x="143" y="13"/>
                      </a:cubicBezTo>
                      <a:cubicBezTo>
                        <a:pt x="142" y="12"/>
                        <a:pt x="142" y="12"/>
                        <a:pt x="142" y="12"/>
                      </a:cubicBezTo>
                      <a:cubicBezTo>
                        <a:pt x="141" y="13"/>
                        <a:pt x="141" y="13"/>
                        <a:pt x="141" y="13"/>
                      </a:cubicBezTo>
                      <a:cubicBezTo>
                        <a:pt x="141" y="14"/>
                        <a:pt x="141" y="14"/>
                        <a:pt x="141" y="14"/>
                      </a:cubicBezTo>
                      <a:cubicBezTo>
                        <a:pt x="142" y="15"/>
                        <a:pt x="142" y="15"/>
                        <a:pt x="142" y="15"/>
                      </a:cubicBezTo>
                      <a:cubicBezTo>
                        <a:pt x="141" y="15"/>
                        <a:pt x="141" y="15"/>
                        <a:pt x="141" y="15"/>
                      </a:cubicBez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8" y="16"/>
                        <a:pt x="138" y="16"/>
                        <a:pt x="138" y="16"/>
                      </a:cubicBezTo>
                      <a:cubicBezTo>
                        <a:pt x="136" y="17"/>
                        <a:pt x="136" y="17"/>
                        <a:pt x="136" y="17"/>
                      </a:cubicBezTo>
                      <a:cubicBezTo>
                        <a:pt x="136" y="18"/>
                        <a:pt x="136" y="18"/>
                        <a:pt x="136" y="18"/>
                      </a:cubicBezTo>
                      <a:cubicBezTo>
                        <a:pt x="137" y="18"/>
                        <a:pt x="137" y="18"/>
                        <a:pt x="137" y="18"/>
                      </a:cubicBezTo>
                      <a:cubicBezTo>
                        <a:pt x="135" y="19"/>
                        <a:pt x="135" y="19"/>
                        <a:pt x="135" y="19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6" y="22"/>
                        <a:pt x="136" y="22"/>
                        <a:pt x="136" y="22"/>
                      </a:cubicBezTo>
                      <a:cubicBezTo>
                        <a:pt x="135" y="24"/>
                        <a:pt x="135" y="24"/>
                        <a:pt x="135" y="24"/>
                      </a:cubicBezTo>
                      <a:cubicBezTo>
                        <a:pt x="137" y="24"/>
                        <a:pt x="137" y="24"/>
                        <a:pt x="137" y="24"/>
                      </a:cubicBezTo>
                      <a:cubicBezTo>
                        <a:pt x="137" y="25"/>
                        <a:pt x="137" y="25"/>
                        <a:pt x="137" y="25"/>
                      </a:cubicBezTo>
                      <a:cubicBezTo>
                        <a:pt x="137" y="26"/>
                        <a:pt x="137" y="26"/>
                        <a:pt x="137" y="26"/>
                      </a:cubicBezTo>
                      <a:cubicBezTo>
                        <a:pt x="134" y="26"/>
                        <a:pt x="134" y="26"/>
                        <a:pt x="134" y="26"/>
                      </a:cubicBezTo>
                      <a:cubicBezTo>
                        <a:pt x="134" y="23"/>
                        <a:pt x="134" y="23"/>
                        <a:pt x="134" y="2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133" y="22"/>
                        <a:pt x="133" y="22"/>
                        <a:pt x="133" y="22"/>
                      </a:cubicBezTo>
                      <a:cubicBezTo>
                        <a:pt x="132" y="21"/>
                        <a:pt x="132" y="21"/>
                        <a:pt x="132" y="21"/>
                      </a:cubicBezTo>
                      <a:cubicBezTo>
                        <a:pt x="130" y="21"/>
                        <a:pt x="130" y="21"/>
                        <a:pt x="130" y="21"/>
                      </a:cubicBezTo>
                      <a:cubicBezTo>
                        <a:pt x="128" y="21"/>
                        <a:pt x="128" y="21"/>
                        <a:pt x="128" y="21"/>
                      </a:cubicBezTo>
                      <a:cubicBezTo>
                        <a:pt x="125" y="18"/>
                        <a:pt x="125" y="18"/>
                        <a:pt x="125" y="18"/>
                      </a:cubicBezTo>
                      <a:cubicBezTo>
                        <a:pt x="124" y="18"/>
                        <a:pt x="124" y="18"/>
                        <a:pt x="124" y="18"/>
                      </a:cubicBezTo>
                      <a:cubicBezTo>
                        <a:pt x="123" y="20"/>
                        <a:pt x="123" y="20"/>
                        <a:pt x="123" y="20"/>
                      </a:cubicBezTo>
                      <a:cubicBezTo>
                        <a:pt x="123" y="18"/>
                        <a:pt x="123" y="18"/>
                        <a:pt x="123" y="18"/>
                      </a:cubicBezTo>
                      <a:cubicBezTo>
                        <a:pt x="121" y="20"/>
                        <a:pt x="121" y="20"/>
                        <a:pt x="121" y="20"/>
                      </a:cubicBezTo>
                      <a:cubicBezTo>
                        <a:pt x="119" y="20"/>
                        <a:pt x="119" y="20"/>
                        <a:pt x="119" y="20"/>
                      </a:cubicBezTo>
                      <a:cubicBezTo>
                        <a:pt x="119" y="21"/>
                        <a:pt x="119" y="21"/>
                        <a:pt x="119" y="21"/>
                      </a:cubicBezTo>
                      <a:cubicBezTo>
                        <a:pt x="122" y="23"/>
                        <a:pt x="122" y="23"/>
                        <a:pt x="122" y="23"/>
                      </a:cubicBezTo>
                      <a:cubicBezTo>
                        <a:pt x="123" y="23"/>
                        <a:pt x="123" y="23"/>
                        <a:pt x="123" y="23"/>
                      </a:cubicBezTo>
                      <a:cubicBezTo>
                        <a:pt x="124" y="24"/>
                        <a:pt x="124" y="24"/>
                        <a:pt x="124" y="24"/>
                      </a:cubicBezTo>
                      <a:cubicBezTo>
                        <a:pt x="126" y="25"/>
                        <a:pt x="126" y="25"/>
                        <a:pt x="126" y="25"/>
                      </a:cubicBezTo>
                      <a:cubicBezTo>
                        <a:pt x="125" y="26"/>
                        <a:pt x="125" y="26"/>
                        <a:pt x="125" y="26"/>
                      </a:cubicBezTo>
                      <a:cubicBezTo>
                        <a:pt x="125" y="28"/>
                        <a:pt x="125" y="28"/>
                        <a:pt x="125" y="28"/>
                      </a:cubicBezTo>
                      <a:cubicBezTo>
                        <a:pt x="127" y="30"/>
                        <a:pt x="127" y="30"/>
                        <a:pt x="127" y="30"/>
                      </a:cubicBezTo>
                      <a:cubicBezTo>
                        <a:pt x="126" y="31"/>
                        <a:pt x="126" y="31"/>
                        <a:pt x="126" y="31"/>
                      </a:cubicBezTo>
                      <a:cubicBezTo>
                        <a:pt x="125" y="31"/>
                        <a:pt x="125" y="31"/>
                        <a:pt x="125" y="31"/>
                      </a:cubicBezTo>
                      <a:cubicBezTo>
                        <a:pt x="124" y="28"/>
                        <a:pt x="124" y="28"/>
                        <a:pt x="124" y="28"/>
                      </a:cubicBezTo>
                      <a:cubicBezTo>
                        <a:pt x="122" y="28"/>
                        <a:pt x="122" y="28"/>
                        <a:pt x="122" y="28"/>
                      </a:cubicBezTo>
                      <a:cubicBezTo>
                        <a:pt x="121" y="26"/>
                        <a:pt x="121" y="26"/>
                        <a:pt x="121" y="26"/>
                      </a:cubicBezTo>
                      <a:cubicBezTo>
                        <a:pt x="121" y="28"/>
                        <a:pt x="121" y="28"/>
                        <a:pt x="121" y="28"/>
                      </a:cubicBezTo>
                      <a:cubicBezTo>
                        <a:pt x="119" y="29"/>
                        <a:pt x="119" y="29"/>
                        <a:pt x="119" y="29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118" y="28"/>
                        <a:pt x="118" y="28"/>
                        <a:pt x="118" y="28"/>
                      </a:cubicBezTo>
                      <a:cubicBezTo>
                        <a:pt x="117" y="29"/>
                        <a:pt x="117" y="29"/>
                        <a:pt x="117" y="29"/>
                      </a:cubicBezTo>
                      <a:cubicBezTo>
                        <a:pt x="116" y="31"/>
                        <a:pt x="116" y="31"/>
                        <a:pt x="116" y="31"/>
                      </a:cubicBezTo>
                      <a:cubicBezTo>
                        <a:pt x="116" y="32"/>
                        <a:pt x="116" y="32"/>
                        <a:pt x="116" y="32"/>
                      </a:cubicBezTo>
                      <a:cubicBezTo>
                        <a:pt x="118" y="33"/>
                        <a:pt x="118" y="33"/>
                        <a:pt x="118" y="33"/>
                      </a:cubicBezTo>
                      <a:cubicBezTo>
                        <a:pt x="119" y="35"/>
                        <a:pt x="119" y="35"/>
                        <a:pt x="119" y="35"/>
                      </a:cubicBezTo>
                      <a:cubicBezTo>
                        <a:pt x="117" y="35"/>
                        <a:pt x="117" y="35"/>
                        <a:pt x="117" y="35"/>
                      </a:cubicBezTo>
                      <a:cubicBezTo>
                        <a:pt x="116" y="34"/>
                        <a:pt x="116" y="34"/>
                        <a:pt x="116" y="34"/>
                      </a:cubicBezTo>
                      <a:cubicBezTo>
                        <a:pt x="115" y="36"/>
                        <a:pt x="115" y="36"/>
                        <a:pt x="115" y="36"/>
                      </a:cubicBezTo>
                      <a:cubicBezTo>
                        <a:pt x="115" y="37"/>
                        <a:pt x="115" y="37"/>
                        <a:pt x="115" y="37"/>
                      </a:cubicBezTo>
                      <a:cubicBezTo>
                        <a:pt x="113" y="39"/>
                        <a:pt x="113" y="39"/>
                        <a:pt x="113" y="39"/>
                      </a:cubicBezTo>
                      <a:cubicBezTo>
                        <a:pt x="112" y="38"/>
                        <a:pt x="112" y="38"/>
                        <a:pt x="112" y="38"/>
                      </a:cubicBezTo>
                      <a:cubicBezTo>
                        <a:pt x="114" y="37"/>
                        <a:pt x="114" y="37"/>
                        <a:pt x="114" y="37"/>
                      </a:cubicBezTo>
                      <a:cubicBezTo>
                        <a:pt x="113" y="36"/>
                        <a:pt x="113" y="36"/>
                        <a:pt x="113" y="36"/>
                      </a:cubicBezTo>
                      <a:cubicBezTo>
                        <a:pt x="115" y="33"/>
                        <a:pt x="115" y="33"/>
                        <a:pt x="115" y="33"/>
                      </a:cubicBezTo>
                      <a:cubicBezTo>
                        <a:pt x="114" y="27"/>
                        <a:pt x="114" y="27"/>
                        <a:pt x="114" y="27"/>
                      </a:cubicBezTo>
                      <a:cubicBezTo>
                        <a:pt x="112" y="28"/>
                        <a:pt x="112" y="28"/>
                        <a:pt x="112" y="28"/>
                      </a:cubicBezTo>
                      <a:cubicBezTo>
                        <a:pt x="110" y="32"/>
                        <a:pt x="110" y="32"/>
                        <a:pt x="110" y="32"/>
                      </a:cubicBezTo>
                      <a:cubicBezTo>
                        <a:pt x="110" y="34"/>
                        <a:pt x="110" y="34"/>
                        <a:pt x="110" y="34"/>
                      </a:cubicBezTo>
                      <a:cubicBezTo>
                        <a:pt x="110" y="35"/>
                        <a:pt x="110" y="35"/>
                        <a:pt x="110" y="35"/>
                      </a:cubicBezTo>
                      <a:cubicBezTo>
                        <a:pt x="109" y="37"/>
                        <a:pt x="109" y="37"/>
                        <a:pt x="109" y="37"/>
                      </a:cubicBezTo>
                      <a:cubicBezTo>
                        <a:pt x="109" y="35"/>
                        <a:pt x="109" y="35"/>
                        <a:pt x="109" y="35"/>
                      </a:cubicBezTo>
                      <a:cubicBezTo>
                        <a:pt x="110" y="33"/>
                        <a:pt x="110" y="33"/>
                        <a:pt x="110" y="33"/>
                      </a:cubicBezTo>
                      <a:cubicBezTo>
                        <a:pt x="109" y="30"/>
                        <a:pt x="109" y="30"/>
                        <a:pt x="109" y="30"/>
                      </a:cubicBezTo>
                      <a:cubicBezTo>
                        <a:pt x="108" y="30"/>
                        <a:pt x="108" y="30"/>
                        <a:pt x="108" y="30"/>
                      </a:cubicBezTo>
                      <a:cubicBezTo>
                        <a:pt x="106" y="31"/>
                        <a:pt x="106" y="31"/>
                        <a:pt x="106" y="31"/>
                      </a:cubicBezTo>
                      <a:cubicBezTo>
                        <a:pt x="105" y="34"/>
                        <a:pt x="105" y="34"/>
                        <a:pt x="105" y="34"/>
                      </a:cubicBezTo>
                      <a:cubicBezTo>
                        <a:pt x="106" y="36"/>
                        <a:pt x="106" y="36"/>
                        <a:pt x="106" y="36"/>
                      </a:cubicBezTo>
                      <a:cubicBezTo>
                        <a:pt x="106" y="38"/>
                        <a:pt x="106" y="38"/>
                        <a:pt x="106" y="38"/>
                      </a:cubicBezTo>
                      <a:cubicBezTo>
                        <a:pt x="108" y="40"/>
                        <a:pt x="108" y="40"/>
                        <a:pt x="108" y="40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8" y="43"/>
                        <a:pt x="108" y="43"/>
                        <a:pt x="108" y="43"/>
                      </a:cubicBezTo>
                      <a:cubicBezTo>
                        <a:pt x="107" y="40"/>
                        <a:pt x="107" y="40"/>
                        <a:pt x="107" y="40"/>
                      </a:cubicBezTo>
                      <a:cubicBezTo>
                        <a:pt x="105" y="39"/>
                        <a:pt x="105" y="39"/>
                        <a:pt x="105" y="39"/>
                      </a:cubicBezTo>
                      <a:cubicBezTo>
                        <a:pt x="104" y="36"/>
                        <a:pt x="104" y="36"/>
                        <a:pt x="104" y="36"/>
                      </a:cubicBezTo>
                      <a:cubicBezTo>
                        <a:pt x="103" y="36"/>
                        <a:pt x="103" y="36"/>
                        <a:pt x="103" y="36"/>
                      </a:cubicBezTo>
                      <a:cubicBezTo>
                        <a:pt x="101" y="36"/>
                        <a:pt x="101" y="36"/>
                        <a:pt x="101" y="36"/>
                      </a:cubicBezTo>
                      <a:cubicBezTo>
                        <a:pt x="100" y="38"/>
                        <a:pt x="100" y="38"/>
                        <a:pt x="100" y="38"/>
                      </a:cubicBezTo>
                      <a:cubicBezTo>
                        <a:pt x="103" y="40"/>
                        <a:pt x="103" y="40"/>
                        <a:pt x="103" y="40"/>
                      </a:cubicBezTo>
                      <a:cubicBezTo>
                        <a:pt x="104" y="40"/>
                        <a:pt x="104" y="40"/>
                        <a:pt x="104" y="40"/>
                      </a:cubicBezTo>
                      <a:cubicBezTo>
                        <a:pt x="105" y="41"/>
                        <a:pt x="105" y="41"/>
                        <a:pt x="105" y="41"/>
                      </a:cubicBezTo>
                      <a:cubicBezTo>
                        <a:pt x="103" y="40"/>
                        <a:pt x="103" y="40"/>
                        <a:pt x="103" y="40"/>
                      </a:cubicBezTo>
                      <a:cubicBezTo>
                        <a:pt x="101" y="41"/>
                        <a:pt x="101" y="41"/>
                        <a:pt x="101" y="41"/>
                      </a:cubicBezTo>
                      <a:cubicBezTo>
                        <a:pt x="103" y="43"/>
                        <a:pt x="103" y="43"/>
                        <a:pt x="103" y="43"/>
                      </a:cubicBezTo>
                      <a:cubicBezTo>
                        <a:pt x="101" y="41"/>
                        <a:pt x="101" y="41"/>
                        <a:pt x="101" y="41"/>
                      </a:cubicBezTo>
                      <a:cubicBezTo>
                        <a:pt x="100" y="39"/>
                        <a:pt x="100" y="39"/>
                        <a:pt x="100" y="39"/>
                      </a:cubicBezTo>
                      <a:cubicBezTo>
                        <a:pt x="100" y="39"/>
                        <a:pt x="100" y="39"/>
                        <a:pt x="100" y="39"/>
                      </a:cubicBezTo>
                      <a:cubicBezTo>
                        <a:pt x="99" y="37"/>
                        <a:pt x="99" y="37"/>
                        <a:pt x="99" y="37"/>
                      </a:cubicBezTo>
                      <a:cubicBezTo>
                        <a:pt x="98" y="38"/>
                        <a:pt x="98" y="38"/>
                        <a:pt x="98" y="38"/>
                      </a:cubicBezTo>
                      <a:cubicBezTo>
                        <a:pt x="98" y="40"/>
                        <a:pt x="98" y="40"/>
                        <a:pt x="98" y="40"/>
                      </a:cubicBezTo>
                      <a:cubicBezTo>
                        <a:pt x="99" y="42"/>
                        <a:pt x="99" y="42"/>
                        <a:pt x="99" y="42"/>
                      </a:cubicBezTo>
                      <a:cubicBezTo>
                        <a:pt x="98" y="44"/>
                        <a:pt x="98" y="44"/>
                        <a:pt x="98" y="44"/>
                      </a:cubicBezTo>
                      <a:cubicBezTo>
                        <a:pt x="97" y="43"/>
                        <a:pt x="97" y="43"/>
                        <a:pt x="97" y="43"/>
                      </a:cubicBezTo>
                      <a:cubicBezTo>
                        <a:pt x="95" y="43"/>
                        <a:pt x="95" y="43"/>
                        <a:pt x="95" y="43"/>
                      </a:cubicBezTo>
                      <a:cubicBezTo>
                        <a:pt x="94" y="46"/>
                        <a:pt x="94" y="46"/>
                        <a:pt x="94" y="46"/>
                      </a:cubicBezTo>
                      <a:cubicBezTo>
                        <a:pt x="94" y="46"/>
                        <a:pt x="94" y="46"/>
                        <a:pt x="94" y="46"/>
                      </a:cubicBezTo>
                      <a:cubicBezTo>
                        <a:pt x="95" y="46"/>
                        <a:pt x="95" y="46"/>
                        <a:pt x="95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5" y="47"/>
                        <a:pt x="95" y="47"/>
                        <a:pt x="95" y="47"/>
                      </a:cubicBezTo>
                      <a:cubicBezTo>
                        <a:pt x="94" y="48"/>
                        <a:pt x="94" y="48"/>
                        <a:pt x="94" y="48"/>
                      </a:cubicBezTo>
                      <a:cubicBezTo>
                        <a:pt x="95" y="49"/>
                        <a:pt x="95" y="49"/>
                        <a:pt x="95" y="49"/>
                      </a:cubicBezTo>
                      <a:cubicBezTo>
                        <a:pt x="94" y="50"/>
                        <a:pt x="94" y="50"/>
                        <a:pt x="94" y="50"/>
                      </a:cubicBezTo>
                      <a:cubicBezTo>
                        <a:pt x="93" y="50"/>
                        <a:pt x="93" y="50"/>
                        <a:pt x="93" y="50"/>
                      </a:cubicBezTo>
                      <a:cubicBezTo>
                        <a:pt x="93" y="51"/>
                        <a:pt x="93" y="51"/>
                        <a:pt x="93" y="51"/>
                      </a:cubicBezTo>
                      <a:cubicBezTo>
                        <a:pt x="93" y="51"/>
                        <a:pt x="93" y="51"/>
                        <a:pt x="93" y="51"/>
                      </a:cubicBezTo>
                      <a:cubicBezTo>
                        <a:pt x="92" y="52"/>
                        <a:pt x="92" y="52"/>
                        <a:pt x="92" y="52"/>
                      </a:cubicBezTo>
                      <a:cubicBezTo>
                        <a:pt x="91" y="50"/>
                        <a:pt x="91" y="50"/>
                        <a:pt x="91" y="50"/>
                      </a:cubicBezTo>
                      <a:cubicBezTo>
                        <a:pt x="90" y="51"/>
                        <a:pt x="90" y="51"/>
                        <a:pt x="90" y="51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89" y="54"/>
                        <a:pt x="89" y="54"/>
                        <a:pt x="89" y="54"/>
                      </a:cubicBezTo>
                      <a:cubicBezTo>
                        <a:pt x="87" y="54"/>
                        <a:pt x="87" y="54"/>
                        <a:pt x="87" y="54"/>
                      </a:cubicBezTo>
                      <a:cubicBezTo>
                        <a:pt x="86" y="56"/>
                        <a:pt x="86" y="56"/>
                        <a:pt x="86" y="56"/>
                      </a:cubicBezTo>
                      <a:cubicBezTo>
                        <a:pt x="87" y="57"/>
                        <a:pt x="87" y="57"/>
                        <a:pt x="87" y="57"/>
                      </a:cubicBezTo>
                      <a:cubicBezTo>
                        <a:pt x="91" y="55"/>
                        <a:pt x="91" y="55"/>
                        <a:pt x="91" y="55"/>
                      </a:cubicBezTo>
                      <a:cubicBezTo>
                        <a:pt x="92" y="56"/>
                        <a:pt x="92" y="56"/>
                        <a:pt x="92" y="56"/>
                      </a:cubicBezTo>
                      <a:cubicBezTo>
                        <a:pt x="94" y="55"/>
                        <a:pt x="94" y="55"/>
                        <a:pt x="94" y="55"/>
                      </a:cubicBezTo>
                      <a:cubicBezTo>
                        <a:pt x="95" y="55"/>
                        <a:pt x="95" y="55"/>
                        <a:pt x="95" y="55"/>
                      </a:cubicBezTo>
                      <a:cubicBezTo>
                        <a:pt x="95" y="56"/>
                        <a:pt x="95" y="56"/>
                        <a:pt x="95" y="56"/>
                      </a:cubicBezTo>
                      <a:cubicBezTo>
                        <a:pt x="94" y="58"/>
                        <a:pt x="94" y="58"/>
                        <a:pt x="94" y="58"/>
                      </a:cubicBezTo>
                      <a:cubicBezTo>
                        <a:pt x="94" y="60"/>
                        <a:pt x="94" y="60"/>
                        <a:pt x="94" y="60"/>
                      </a:cubicBezTo>
                      <a:cubicBezTo>
                        <a:pt x="93" y="61"/>
                        <a:pt x="93" y="61"/>
                        <a:pt x="93" y="61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2" y="59"/>
                        <a:pt x="92" y="59"/>
                        <a:pt x="92" y="59"/>
                      </a:cubicBezTo>
                      <a:cubicBezTo>
                        <a:pt x="91" y="59"/>
                        <a:pt x="91" y="59"/>
                        <a:pt x="91" y="59"/>
                      </a:cubicBezTo>
                      <a:cubicBezTo>
                        <a:pt x="90" y="58"/>
                        <a:pt x="90" y="58"/>
                        <a:pt x="90" y="5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9" y="59"/>
                        <a:pt x="89" y="59"/>
                        <a:pt x="89" y="59"/>
                      </a:cubicBezTo>
                      <a:cubicBezTo>
                        <a:pt x="88" y="60"/>
                        <a:pt x="88" y="60"/>
                        <a:pt x="88" y="60"/>
                      </a:cubicBezTo>
                      <a:cubicBezTo>
                        <a:pt x="87" y="59"/>
                        <a:pt x="87" y="59"/>
                        <a:pt x="87" y="59"/>
                      </a:cubicBezTo>
                      <a:cubicBezTo>
                        <a:pt x="86" y="59"/>
                        <a:pt x="86" y="59"/>
                        <a:pt x="86" y="59"/>
                      </a:cubicBezTo>
                      <a:cubicBezTo>
                        <a:pt x="87" y="60"/>
                        <a:pt x="87" y="60"/>
                        <a:pt x="87" y="60"/>
                      </a:cubicBezTo>
                      <a:cubicBezTo>
                        <a:pt x="88" y="62"/>
                        <a:pt x="88" y="62"/>
                        <a:pt x="88" y="62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6" y="63"/>
                        <a:pt x="86" y="63"/>
                        <a:pt x="86" y="63"/>
                      </a:cubicBezTo>
                      <a:cubicBezTo>
                        <a:pt x="87" y="64"/>
                        <a:pt x="87" y="64"/>
                        <a:pt x="87" y="64"/>
                      </a:cubicBezTo>
                      <a:cubicBezTo>
                        <a:pt x="86" y="65"/>
                        <a:pt x="86" y="65"/>
                        <a:pt x="86" y="65"/>
                      </a:cubicBezTo>
                      <a:cubicBezTo>
                        <a:pt x="85" y="64"/>
                        <a:pt x="85" y="64"/>
                        <a:pt x="85" y="64"/>
                      </a:cubicBezTo>
                      <a:cubicBezTo>
                        <a:pt x="85" y="62"/>
                        <a:pt x="85" y="62"/>
                        <a:pt x="85" y="62"/>
                      </a:cubicBezTo>
                      <a:cubicBezTo>
                        <a:pt x="84" y="61"/>
                        <a:pt x="84" y="61"/>
                        <a:pt x="84" y="61"/>
                      </a:cubicBezTo>
                      <a:cubicBezTo>
                        <a:pt x="83" y="62"/>
                        <a:pt x="83" y="62"/>
                        <a:pt x="83" y="62"/>
                      </a:cubicBezTo>
                      <a:cubicBezTo>
                        <a:pt x="81" y="62"/>
                        <a:pt x="81" y="62"/>
                        <a:pt x="81" y="62"/>
                      </a:cubicBezTo>
                      <a:cubicBezTo>
                        <a:pt x="81" y="61"/>
                        <a:pt x="81" y="61"/>
                        <a:pt x="81" y="61"/>
                      </a:cubicBezTo>
                      <a:cubicBezTo>
                        <a:pt x="81" y="60"/>
                        <a:pt x="81" y="60"/>
                        <a:pt x="81" y="60"/>
                      </a:cubicBezTo>
                      <a:cubicBezTo>
                        <a:pt x="80" y="60"/>
                        <a:pt x="80" y="60"/>
                        <a:pt x="80" y="60"/>
                      </a:cubicBezTo>
                      <a:cubicBezTo>
                        <a:pt x="79" y="62"/>
                        <a:pt x="79" y="62"/>
                        <a:pt x="79" y="62"/>
                      </a:cubicBezTo>
                      <a:cubicBezTo>
                        <a:pt x="80" y="63"/>
                        <a:pt x="80" y="63"/>
                        <a:pt x="80" y="63"/>
                      </a:cubicBezTo>
                      <a:cubicBezTo>
                        <a:pt x="82" y="63"/>
                        <a:pt x="82" y="63"/>
                        <a:pt x="82" y="63"/>
                      </a:cubicBezTo>
                      <a:cubicBezTo>
                        <a:pt x="84" y="64"/>
                        <a:pt x="84" y="64"/>
                        <a:pt x="84" y="64"/>
                      </a:cubicBezTo>
                      <a:cubicBezTo>
                        <a:pt x="83" y="66"/>
                        <a:pt x="83" y="66"/>
                        <a:pt x="83" y="66"/>
                      </a:cubicBezTo>
                      <a:cubicBezTo>
                        <a:pt x="79" y="66"/>
                        <a:pt x="79" y="66"/>
                        <a:pt x="79" y="66"/>
                      </a:cubicBezTo>
                      <a:cubicBezTo>
                        <a:pt x="78" y="66"/>
                        <a:pt x="78" y="66"/>
                        <a:pt x="78" y="66"/>
                      </a:cubicBezTo>
                      <a:cubicBezTo>
                        <a:pt x="77" y="66"/>
                        <a:pt x="77" y="66"/>
                        <a:pt x="77" y="66"/>
                      </a:cubicBezTo>
                      <a:cubicBezTo>
                        <a:pt x="76" y="68"/>
                        <a:pt x="76" y="68"/>
                        <a:pt x="76" y="68"/>
                      </a:cubicBezTo>
                      <a:cubicBezTo>
                        <a:pt x="78" y="69"/>
                        <a:pt x="78" y="69"/>
                        <a:pt x="78" y="69"/>
                      </a:cubicBezTo>
                      <a:cubicBezTo>
                        <a:pt x="76" y="70"/>
                        <a:pt x="76" y="70"/>
                        <a:pt x="76" y="70"/>
                      </a:cubicBezTo>
                      <a:cubicBezTo>
                        <a:pt x="78" y="70"/>
                        <a:pt x="78" y="70"/>
                        <a:pt x="78" y="70"/>
                      </a:cubicBezTo>
                      <a:cubicBezTo>
                        <a:pt x="79" y="68"/>
                        <a:pt x="79" y="68"/>
                        <a:pt x="79" y="68"/>
                      </a:cubicBezTo>
                      <a:cubicBezTo>
                        <a:pt x="81" y="68"/>
                        <a:pt x="81" y="68"/>
                        <a:pt x="81" y="68"/>
                      </a:cubicBezTo>
                      <a:cubicBezTo>
                        <a:pt x="82" y="69"/>
                        <a:pt x="82" y="69"/>
                        <a:pt x="82" y="69"/>
                      </a:cubicBezTo>
                      <a:cubicBezTo>
                        <a:pt x="79" y="70"/>
                        <a:pt x="79" y="70"/>
                        <a:pt x="79" y="70"/>
                      </a:cubicBezTo>
                      <a:cubicBezTo>
                        <a:pt x="79" y="72"/>
                        <a:pt x="79" y="72"/>
                        <a:pt x="79" y="72"/>
                      </a:cubicBezTo>
                      <a:cubicBezTo>
                        <a:pt x="80" y="73"/>
                        <a:pt x="80" y="73"/>
                        <a:pt x="80" y="73"/>
                      </a:cubicBezTo>
                      <a:cubicBezTo>
                        <a:pt x="82" y="74"/>
                        <a:pt x="82" y="74"/>
                        <a:pt x="82" y="74"/>
                      </a:cubicBezTo>
                      <a:cubicBezTo>
                        <a:pt x="82" y="76"/>
                        <a:pt x="82" y="76"/>
                        <a:pt x="82" y="76"/>
                      </a:cubicBezTo>
                      <a:cubicBezTo>
                        <a:pt x="81" y="75"/>
                        <a:pt x="81" y="75"/>
                        <a:pt x="81" y="75"/>
                      </a:cubicBezTo>
                      <a:cubicBezTo>
                        <a:pt x="79" y="75"/>
                        <a:pt x="79" y="75"/>
                        <a:pt x="79" y="75"/>
                      </a:cubicBezTo>
                      <a:cubicBezTo>
                        <a:pt x="78" y="73"/>
                        <a:pt x="78" y="73"/>
                        <a:pt x="78" y="73"/>
                      </a:cubicBezTo>
                      <a:cubicBezTo>
                        <a:pt x="77" y="73"/>
                        <a:pt x="77" y="73"/>
                        <a:pt x="77" y="73"/>
                      </a:cubicBezTo>
                      <a:cubicBezTo>
                        <a:pt x="76" y="74"/>
                        <a:pt x="76" y="74"/>
                        <a:pt x="76" y="74"/>
                      </a:cubicBezTo>
                      <a:cubicBezTo>
                        <a:pt x="77" y="75"/>
                        <a:pt x="77" y="75"/>
                        <a:pt x="77" y="75"/>
                      </a:cubicBezTo>
                      <a:cubicBezTo>
                        <a:pt x="75" y="75"/>
                        <a:pt x="75" y="75"/>
                        <a:pt x="75" y="75"/>
                      </a:cubicBezTo>
                      <a:cubicBezTo>
                        <a:pt x="74" y="77"/>
                        <a:pt x="74" y="77"/>
                        <a:pt x="74" y="77"/>
                      </a:cubicBezTo>
                      <a:cubicBezTo>
                        <a:pt x="74" y="78"/>
                        <a:pt x="74" y="78"/>
                        <a:pt x="74" y="78"/>
                      </a:cubicBezTo>
                      <a:cubicBezTo>
                        <a:pt x="76" y="79"/>
                        <a:pt x="76" y="79"/>
                        <a:pt x="76" y="79"/>
                      </a:cubicBezTo>
                      <a:cubicBezTo>
                        <a:pt x="77" y="78"/>
                        <a:pt x="77" y="78"/>
                        <a:pt x="77" y="78"/>
                      </a:cubicBezTo>
                      <a:cubicBezTo>
                        <a:pt x="78" y="79"/>
                        <a:pt x="78" y="79"/>
                        <a:pt x="78" y="79"/>
                      </a:cubicBezTo>
                      <a:cubicBezTo>
                        <a:pt x="80" y="78"/>
                        <a:pt x="80" y="78"/>
                        <a:pt x="80" y="78"/>
                      </a:cubicBezTo>
                      <a:cubicBezTo>
                        <a:pt x="80" y="80"/>
                        <a:pt x="80" y="80"/>
                        <a:pt x="80" y="80"/>
                      </a:cubicBezTo>
                      <a:cubicBezTo>
                        <a:pt x="81" y="81"/>
                        <a:pt x="81" y="81"/>
                        <a:pt x="81" y="81"/>
                      </a:cubicBezTo>
                      <a:cubicBezTo>
                        <a:pt x="81" y="82"/>
                        <a:pt x="81" y="82"/>
                        <a:pt x="81" y="82"/>
                      </a:cubicBezTo>
                      <a:cubicBezTo>
                        <a:pt x="79" y="80"/>
                        <a:pt x="79" y="80"/>
                        <a:pt x="79" y="80"/>
                      </a:cubicBezTo>
                      <a:cubicBezTo>
                        <a:pt x="77" y="80"/>
                        <a:pt x="77" y="80"/>
                        <a:pt x="77" y="80"/>
                      </a:cubicBezTo>
                      <a:cubicBezTo>
                        <a:pt x="76" y="81"/>
                        <a:pt x="76" y="81"/>
                        <a:pt x="76" y="81"/>
                      </a:cubicBezTo>
                      <a:cubicBezTo>
                        <a:pt x="73" y="81"/>
                        <a:pt x="73" y="81"/>
                        <a:pt x="73" y="81"/>
                      </a:cubicBezTo>
                      <a:cubicBezTo>
                        <a:pt x="73" y="83"/>
                        <a:pt x="73" y="83"/>
                        <a:pt x="73" y="83"/>
                      </a:cubicBezTo>
                      <a:cubicBezTo>
                        <a:pt x="72" y="83"/>
                        <a:pt x="72" y="83"/>
                        <a:pt x="72" y="83"/>
                      </a:cubicBezTo>
                      <a:cubicBezTo>
                        <a:pt x="71" y="83"/>
                        <a:pt x="71" y="83"/>
                        <a:pt x="71" y="83"/>
                      </a:cubicBezTo>
                      <a:cubicBezTo>
                        <a:pt x="69" y="84"/>
                        <a:pt x="69" y="84"/>
                        <a:pt x="69" y="84"/>
                      </a:cubicBezTo>
                      <a:cubicBezTo>
                        <a:pt x="67" y="84"/>
                        <a:pt x="67" y="84"/>
                        <a:pt x="67" y="84"/>
                      </a:cubicBezTo>
                      <a:cubicBezTo>
                        <a:pt x="67" y="85"/>
                        <a:pt x="67" y="85"/>
                        <a:pt x="67" y="85"/>
                      </a:cubicBezTo>
                      <a:cubicBezTo>
                        <a:pt x="69" y="86"/>
                        <a:pt x="69" y="86"/>
                        <a:pt x="69" y="86"/>
                      </a:cubicBezTo>
                      <a:cubicBezTo>
                        <a:pt x="70" y="87"/>
                        <a:pt x="70" y="87"/>
                        <a:pt x="70" y="87"/>
                      </a:cubicBezTo>
                      <a:cubicBezTo>
                        <a:pt x="68" y="88"/>
                        <a:pt x="68" y="88"/>
                        <a:pt x="68" y="88"/>
                      </a:cubicBezTo>
                      <a:cubicBezTo>
                        <a:pt x="68" y="87"/>
                        <a:pt x="68" y="87"/>
                        <a:pt x="68" y="87"/>
                      </a:cubicBezTo>
                      <a:cubicBezTo>
                        <a:pt x="67" y="88"/>
                        <a:pt x="67" y="88"/>
                        <a:pt x="67" y="88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6" y="89"/>
                        <a:pt x="66" y="89"/>
                        <a:pt x="66" y="89"/>
                      </a:cubicBezTo>
                      <a:cubicBezTo>
                        <a:pt x="66" y="89"/>
                        <a:pt x="66" y="89"/>
                        <a:pt x="66" y="89"/>
                      </a:cubicBezTo>
                      <a:cubicBezTo>
                        <a:pt x="65" y="89"/>
                        <a:pt x="65" y="89"/>
                        <a:pt x="65" y="89"/>
                      </a:cubicBezTo>
                      <a:cubicBezTo>
                        <a:pt x="67" y="90"/>
                        <a:pt x="67" y="90"/>
                        <a:pt x="67" y="90"/>
                      </a:cubicBezTo>
                      <a:cubicBezTo>
                        <a:pt x="66" y="91"/>
                        <a:pt x="66" y="91"/>
                        <a:pt x="66" y="91"/>
                      </a:cubicBezTo>
                      <a:cubicBezTo>
                        <a:pt x="66" y="92"/>
                        <a:pt x="66" y="92"/>
                        <a:pt x="66" y="92"/>
                      </a:cubicBezTo>
                      <a:cubicBezTo>
                        <a:pt x="67" y="92"/>
                        <a:pt x="67" y="92"/>
                        <a:pt x="67" y="92"/>
                      </a:cubicBezTo>
                      <a:cubicBezTo>
                        <a:pt x="66" y="93"/>
                        <a:pt x="66" y="93"/>
                        <a:pt x="66" y="93"/>
                      </a:cubicBezTo>
                      <a:cubicBezTo>
                        <a:pt x="65" y="93"/>
                        <a:pt x="65" y="93"/>
                        <a:pt x="65" y="93"/>
                      </a:cubicBezTo>
                      <a:cubicBezTo>
                        <a:pt x="64" y="92"/>
                        <a:pt x="64" y="92"/>
                        <a:pt x="64" y="92"/>
                      </a:cubicBezTo>
                      <a:cubicBezTo>
                        <a:pt x="64" y="93"/>
                        <a:pt x="64" y="93"/>
                        <a:pt x="64" y="93"/>
                      </a:cubicBezTo>
                      <a:cubicBezTo>
                        <a:pt x="64" y="95"/>
                        <a:pt x="64" y="95"/>
                        <a:pt x="64" y="95"/>
                      </a:cubicBezTo>
                      <a:cubicBezTo>
                        <a:pt x="65" y="95"/>
                        <a:pt x="65" y="95"/>
                        <a:pt x="65" y="95"/>
                      </a:cubicBezTo>
                      <a:cubicBezTo>
                        <a:pt x="67" y="96"/>
                        <a:pt x="67" y="96"/>
                        <a:pt x="67" y="96"/>
                      </a:cubicBezTo>
                      <a:cubicBezTo>
                        <a:pt x="68" y="97"/>
                        <a:pt x="68" y="97"/>
                        <a:pt x="68" y="97"/>
                      </a:cubicBezTo>
                      <a:cubicBezTo>
                        <a:pt x="69" y="97"/>
                        <a:pt x="69" y="97"/>
                        <a:pt x="69" y="97"/>
                      </a:cubicBezTo>
                      <a:cubicBezTo>
                        <a:pt x="70" y="97"/>
                        <a:pt x="70" y="97"/>
                        <a:pt x="70" y="97"/>
                      </a:cubicBezTo>
                      <a:cubicBezTo>
                        <a:pt x="69" y="98"/>
                        <a:pt x="69" y="98"/>
                        <a:pt x="69" y="98"/>
                      </a:cubicBezTo>
                      <a:cubicBezTo>
                        <a:pt x="69" y="99"/>
                        <a:pt x="69" y="99"/>
                        <a:pt x="69" y="99"/>
                      </a:cubicBezTo>
                      <a:cubicBezTo>
                        <a:pt x="67" y="99"/>
                        <a:pt x="67" y="99"/>
                        <a:pt x="67" y="99"/>
                      </a:cubicBezTo>
                      <a:cubicBezTo>
                        <a:pt x="67" y="98"/>
                        <a:pt x="67" y="98"/>
                        <a:pt x="67" y="98"/>
                      </a:cubicBezTo>
                      <a:cubicBezTo>
                        <a:pt x="64" y="98"/>
                        <a:pt x="64" y="98"/>
                        <a:pt x="64" y="98"/>
                      </a:cubicBezTo>
                      <a:cubicBezTo>
                        <a:pt x="62" y="100"/>
                        <a:pt x="62" y="100"/>
                        <a:pt x="62" y="100"/>
                      </a:cubicBezTo>
                      <a:cubicBezTo>
                        <a:pt x="63" y="100"/>
                        <a:pt x="63" y="100"/>
                        <a:pt x="63" y="100"/>
                      </a:cubicBezTo>
                      <a:cubicBezTo>
                        <a:pt x="65" y="100"/>
                        <a:pt x="65" y="100"/>
                        <a:pt x="65" y="100"/>
                      </a:cubicBezTo>
                      <a:cubicBezTo>
                        <a:pt x="65" y="102"/>
                        <a:pt x="65" y="102"/>
                        <a:pt x="65" y="102"/>
                      </a:cubicBezTo>
                      <a:cubicBezTo>
                        <a:pt x="66" y="103"/>
                        <a:pt x="66" y="103"/>
                        <a:pt x="66" y="103"/>
                      </a:cubicBezTo>
                      <a:cubicBezTo>
                        <a:pt x="66" y="104"/>
                        <a:pt x="66" y="104"/>
                        <a:pt x="66" y="104"/>
                      </a:cubicBez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3" y="104"/>
                        <a:pt x="63" y="104"/>
                        <a:pt x="63" y="104"/>
                      </a:cubicBezTo>
                      <a:cubicBezTo>
                        <a:pt x="63" y="105"/>
                        <a:pt x="63" y="105"/>
                        <a:pt x="63" y="105"/>
                      </a:cubicBezTo>
                      <a:cubicBezTo>
                        <a:pt x="62" y="106"/>
                        <a:pt x="62" y="106"/>
                        <a:pt x="62" y="106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108"/>
                        <a:pt x="63" y="108"/>
                        <a:pt x="63" y="108"/>
                      </a:cubicBezTo>
                      <a:cubicBezTo>
                        <a:pt x="63" y="108"/>
                        <a:pt x="63" y="108"/>
                        <a:pt x="63" y="108"/>
                      </a:cubicBezTo>
                      <a:cubicBezTo>
                        <a:pt x="62" y="107"/>
                        <a:pt x="62" y="107"/>
                        <a:pt x="62" y="107"/>
                      </a:cubicBezTo>
                      <a:cubicBezTo>
                        <a:pt x="61" y="107"/>
                        <a:pt x="61" y="107"/>
                        <a:pt x="61" y="107"/>
                      </a:cubicBezTo>
                      <a:cubicBezTo>
                        <a:pt x="61" y="109"/>
                        <a:pt x="61" y="109"/>
                        <a:pt x="61" y="109"/>
                      </a:cubicBezTo>
                      <a:cubicBezTo>
                        <a:pt x="63" y="109"/>
                        <a:pt x="63" y="109"/>
                        <a:pt x="63" y="109"/>
                      </a:cubicBezTo>
                      <a:cubicBezTo>
                        <a:pt x="63" y="110"/>
                        <a:pt x="63" y="110"/>
                        <a:pt x="63" y="110"/>
                      </a:cubicBezTo>
                      <a:cubicBezTo>
                        <a:pt x="63" y="111"/>
                        <a:pt x="63" y="111"/>
                        <a:pt x="63" y="111"/>
                      </a:cubicBezTo>
                      <a:cubicBezTo>
                        <a:pt x="61" y="110"/>
                        <a:pt x="61" y="110"/>
                        <a:pt x="61" y="110"/>
                      </a:cubicBezTo>
                      <a:cubicBezTo>
                        <a:pt x="60" y="110"/>
                        <a:pt x="60" y="110"/>
                        <a:pt x="60" y="110"/>
                      </a:cubicBezTo>
                      <a:cubicBezTo>
                        <a:pt x="60" y="112"/>
                        <a:pt x="60" y="112"/>
                        <a:pt x="60" y="112"/>
                      </a:cubicBezTo>
                      <a:cubicBezTo>
                        <a:pt x="60" y="112"/>
                        <a:pt x="60" y="112"/>
                        <a:pt x="60" y="112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1" y="116"/>
                        <a:pt x="61" y="116"/>
                        <a:pt x="61" y="116"/>
                      </a:cubicBezTo>
                      <a:cubicBezTo>
                        <a:pt x="62" y="115"/>
                        <a:pt x="62" y="115"/>
                        <a:pt x="62" y="115"/>
                      </a:cubicBezTo>
                      <a:cubicBezTo>
                        <a:pt x="63" y="114"/>
                        <a:pt x="63" y="114"/>
                        <a:pt x="63" y="114"/>
                      </a:cubicBezTo>
                      <a:cubicBezTo>
                        <a:pt x="64" y="114"/>
                        <a:pt x="64" y="114"/>
                        <a:pt x="64" y="114"/>
                      </a:cubicBezTo>
                      <a:cubicBezTo>
                        <a:pt x="63" y="116"/>
                        <a:pt x="63" y="116"/>
                        <a:pt x="63" y="116"/>
                      </a:cubicBezTo>
                      <a:cubicBezTo>
                        <a:pt x="62" y="116"/>
                        <a:pt x="62" y="116"/>
                        <a:pt x="62" y="116"/>
                      </a:cubicBezTo>
                      <a:cubicBezTo>
                        <a:pt x="60" y="118"/>
                        <a:pt x="60" y="118"/>
                        <a:pt x="60" y="118"/>
                      </a:cubicBezTo>
                      <a:cubicBezTo>
                        <a:pt x="59" y="118"/>
                        <a:pt x="59" y="118"/>
                        <a:pt x="59" y="118"/>
                      </a:cubicBezTo>
                      <a:cubicBezTo>
                        <a:pt x="58" y="119"/>
                        <a:pt x="58" y="119"/>
                        <a:pt x="58" y="119"/>
                      </a:cubicBezTo>
                      <a:cubicBezTo>
                        <a:pt x="57" y="120"/>
                        <a:pt x="57" y="120"/>
                        <a:pt x="57" y="120"/>
                      </a:cubicBezTo>
                      <a:cubicBezTo>
                        <a:pt x="56" y="120"/>
                        <a:pt x="56" y="120"/>
                        <a:pt x="56" y="120"/>
                      </a:cubicBezTo>
                      <a:cubicBezTo>
                        <a:pt x="55" y="121"/>
                        <a:pt x="55" y="121"/>
                        <a:pt x="55" y="121"/>
                      </a:cubicBezTo>
                      <a:cubicBezTo>
                        <a:pt x="56" y="122"/>
                        <a:pt x="56" y="122"/>
                        <a:pt x="56" y="122"/>
                      </a:cubicBezTo>
                      <a:cubicBezTo>
                        <a:pt x="56" y="123"/>
                        <a:pt x="56" y="123"/>
                        <a:pt x="56" y="123"/>
                      </a:cubicBezTo>
                      <a:cubicBezTo>
                        <a:pt x="53" y="123"/>
                        <a:pt x="53" y="123"/>
                        <a:pt x="53" y="123"/>
                      </a:cubicBezTo>
                      <a:cubicBezTo>
                        <a:pt x="52" y="125"/>
                        <a:pt x="52" y="125"/>
                        <a:pt x="52" y="125"/>
                      </a:cubicBezTo>
                      <a:cubicBezTo>
                        <a:pt x="52" y="126"/>
                        <a:pt x="52" y="126"/>
                        <a:pt x="52" y="126"/>
                      </a:cubicBezTo>
                      <a:cubicBezTo>
                        <a:pt x="54" y="126"/>
                        <a:pt x="54" y="126"/>
                        <a:pt x="54" y="126"/>
                      </a:cubicBezTo>
                      <a:cubicBezTo>
                        <a:pt x="53" y="127"/>
                        <a:pt x="53" y="127"/>
                        <a:pt x="53" y="127"/>
                      </a:cubicBezTo>
                      <a:cubicBezTo>
                        <a:pt x="52" y="129"/>
                        <a:pt x="52" y="129"/>
                        <a:pt x="52" y="129"/>
                      </a:cubicBezTo>
                      <a:cubicBezTo>
                        <a:pt x="50" y="129"/>
                        <a:pt x="50" y="129"/>
                        <a:pt x="50" y="129"/>
                      </a:cubicBezTo>
                      <a:cubicBezTo>
                        <a:pt x="50" y="127"/>
                        <a:pt x="50" y="127"/>
                        <a:pt x="50" y="127"/>
                      </a:cubicBezTo>
                      <a:cubicBezTo>
                        <a:pt x="49" y="126"/>
                        <a:pt x="49" y="126"/>
                        <a:pt x="49" y="126"/>
                      </a:cubicBezTo>
                      <a:cubicBezTo>
                        <a:pt x="49" y="127"/>
                        <a:pt x="49" y="127"/>
                        <a:pt x="49" y="127"/>
                      </a:cubicBezTo>
                      <a:cubicBezTo>
                        <a:pt x="47" y="127"/>
                        <a:pt x="47" y="127"/>
                        <a:pt x="47" y="127"/>
                      </a:cubicBezTo>
                      <a:cubicBezTo>
                        <a:pt x="48" y="129"/>
                        <a:pt x="48" y="129"/>
                        <a:pt x="48" y="129"/>
                      </a:cubicBezTo>
                      <a:cubicBezTo>
                        <a:pt x="47" y="129"/>
                        <a:pt x="47" y="129"/>
                        <a:pt x="47" y="129"/>
                      </a:cubicBezTo>
                      <a:cubicBezTo>
                        <a:pt x="47" y="130"/>
                        <a:pt x="47" y="130"/>
                        <a:pt x="47" y="130"/>
                      </a:cubicBezTo>
                      <a:cubicBezTo>
                        <a:pt x="47" y="131"/>
                        <a:pt x="47" y="131"/>
                        <a:pt x="47" y="131"/>
                      </a:cubicBezTo>
                      <a:cubicBezTo>
                        <a:pt x="45" y="131"/>
                        <a:pt x="45" y="131"/>
                        <a:pt x="45" y="131"/>
                      </a:cubicBezTo>
                      <a:cubicBezTo>
                        <a:pt x="44" y="132"/>
                        <a:pt x="44" y="132"/>
                        <a:pt x="44" y="132"/>
                      </a:cubicBezTo>
                      <a:cubicBezTo>
                        <a:pt x="44" y="134"/>
                        <a:pt x="44" y="134"/>
                        <a:pt x="44" y="134"/>
                      </a:cubicBezTo>
                      <a:cubicBezTo>
                        <a:pt x="42" y="135"/>
                        <a:pt x="42" y="135"/>
                        <a:pt x="42" y="135"/>
                      </a:cubicBezTo>
                      <a:cubicBezTo>
                        <a:pt x="43" y="136"/>
                        <a:pt x="43" y="136"/>
                        <a:pt x="43" y="136"/>
                      </a:cubicBezTo>
                      <a:cubicBezTo>
                        <a:pt x="42" y="138"/>
                        <a:pt x="42" y="138"/>
                        <a:pt x="42" y="138"/>
                      </a:cubicBezTo>
                      <a:cubicBezTo>
                        <a:pt x="41" y="139"/>
                        <a:pt x="41" y="139"/>
                        <a:pt x="41" y="139"/>
                      </a:cubicBezTo>
                      <a:cubicBezTo>
                        <a:pt x="40" y="140"/>
                        <a:pt x="40" y="140"/>
                        <a:pt x="40" y="140"/>
                      </a:cubicBezTo>
                      <a:cubicBezTo>
                        <a:pt x="40" y="141"/>
                        <a:pt x="40" y="141"/>
                        <a:pt x="40" y="141"/>
                      </a:cubicBezTo>
                      <a:cubicBezTo>
                        <a:pt x="42" y="140"/>
                        <a:pt x="42" y="140"/>
                        <a:pt x="42" y="140"/>
                      </a:cubicBezTo>
                      <a:cubicBezTo>
                        <a:pt x="43" y="140"/>
                        <a:pt x="43" y="140"/>
                        <a:pt x="43" y="140"/>
                      </a:cubicBezTo>
                      <a:cubicBezTo>
                        <a:pt x="43" y="141"/>
                        <a:pt x="43" y="141"/>
                        <a:pt x="43" y="141"/>
                      </a:cubicBezTo>
                      <a:cubicBezTo>
                        <a:pt x="42" y="142"/>
                        <a:pt x="42" y="142"/>
                        <a:pt x="42" y="142"/>
                      </a:cubicBezTo>
                      <a:cubicBezTo>
                        <a:pt x="41" y="144"/>
                        <a:pt x="41" y="144"/>
                        <a:pt x="41" y="144"/>
                      </a:cubicBezTo>
                      <a:cubicBezTo>
                        <a:pt x="42" y="145"/>
                        <a:pt x="42" y="145"/>
                        <a:pt x="42" y="145"/>
                      </a:cubicBezTo>
                      <a:cubicBezTo>
                        <a:pt x="45" y="144"/>
                        <a:pt x="45" y="144"/>
                        <a:pt x="45" y="144"/>
                      </a:cubicBezTo>
                      <a:cubicBezTo>
                        <a:pt x="47" y="144"/>
                        <a:pt x="47" y="144"/>
                        <a:pt x="47" y="144"/>
                      </a:cubicBezTo>
                      <a:cubicBezTo>
                        <a:pt x="50" y="141"/>
                        <a:pt x="50" y="141"/>
                        <a:pt x="50" y="141"/>
                      </a:cubicBezTo>
                      <a:cubicBezTo>
                        <a:pt x="50" y="139"/>
                        <a:pt x="50" y="139"/>
                        <a:pt x="50" y="139"/>
                      </a:cubicBezTo>
                      <a:cubicBezTo>
                        <a:pt x="48" y="140"/>
                        <a:pt x="48" y="140"/>
                        <a:pt x="48" y="140"/>
                      </a:cubicBezTo>
                      <a:cubicBezTo>
                        <a:pt x="49" y="138"/>
                        <a:pt x="49" y="138"/>
                        <a:pt x="49" y="138"/>
                      </a:cubicBezTo>
                      <a:cubicBezTo>
                        <a:pt x="50" y="136"/>
                        <a:pt x="50" y="136"/>
                        <a:pt x="50" y="136"/>
                      </a:cubicBezTo>
                      <a:cubicBezTo>
                        <a:pt x="50" y="136"/>
                        <a:pt x="50" y="136"/>
                        <a:pt x="50" y="136"/>
                      </a:cubicBezTo>
                      <a:cubicBezTo>
                        <a:pt x="51" y="135"/>
                        <a:pt x="51" y="135"/>
                        <a:pt x="51" y="135"/>
                      </a:cubicBezTo>
                      <a:cubicBezTo>
                        <a:pt x="53" y="135"/>
                        <a:pt x="53" y="135"/>
                        <a:pt x="53" y="135"/>
                      </a:cubicBezTo>
                      <a:cubicBezTo>
                        <a:pt x="54" y="135"/>
                        <a:pt x="54" y="135"/>
                        <a:pt x="54" y="135"/>
                      </a:cubicBezTo>
                      <a:cubicBezTo>
                        <a:pt x="51" y="137"/>
                        <a:pt x="51" y="137"/>
                        <a:pt x="51" y="137"/>
                      </a:cubicBezTo>
                      <a:cubicBezTo>
                        <a:pt x="51" y="138"/>
                        <a:pt x="51" y="138"/>
                        <a:pt x="51" y="138"/>
                      </a:cubicBezTo>
                      <a:cubicBezTo>
                        <a:pt x="54" y="139"/>
                        <a:pt x="54" y="139"/>
                        <a:pt x="54" y="139"/>
                      </a:cubicBezTo>
                      <a:cubicBezTo>
                        <a:pt x="53" y="140"/>
                        <a:pt x="53" y="140"/>
                        <a:pt x="53" y="140"/>
                      </a:cubicBezTo>
                      <a:cubicBezTo>
                        <a:pt x="52" y="140"/>
                        <a:pt x="52" y="140"/>
                        <a:pt x="52" y="140"/>
                      </a:cubicBezTo>
                      <a:cubicBezTo>
                        <a:pt x="49" y="143"/>
                        <a:pt x="49" y="143"/>
                        <a:pt x="49" y="143"/>
                      </a:cubicBezTo>
                      <a:cubicBezTo>
                        <a:pt x="51" y="144"/>
                        <a:pt x="51" y="144"/>
                        <a:pt x="51" y="144"/>
                      </a:cubicBezTo>
                      <a:cubicBezTo>
                        <a:pt x="50" y="146"/>
                        <a:pt x="50" y="146"/>
                        <a:pt x="50" y="146"/>
                      </a:cubicBezTo>
                      <a:cubicBezTo>
                        <a:pt x="50" y="147"/>
                        <a:pt x="50" y="147"/>
                        <a:pt x="50" y="147"/>
                      </a:cubicBezTo>
                      <a:cubicBezTo>
                        <a:pt x="48" y="147"/>
                        <a:pt x="48" y="147"/>
                        <a:pt x="48" y="147"/>
                      </a:cubicBezTo>
                      <a:cubicBezTo>
                        <a:pt x="47" y="146"/>
                        <a:pt x="47" y="146"/>
                        <a:pt x="47" y="146"/>
                      </a:cubicBezTo>
                      <a:cubicBezTo>
                        <a:pt x="45" y="146"/>
                        <a:pt x="45" y="146"/>
                        <a:pt x="45" y="146"/>
                      </a:cubicBezTo>
                      <a:cubicBezTo>
                        <a:pt x="44" y="147"/>
                        <a:pt x="44" y="147"/>
                        <a:pt x="44" y="147"/>
                      </a:cubicBezTo>
                      <a:cubicBezTo>
                        <a:pt x="43" y="148"/>
                        <a:pt x="43" y="148"/>
                        <a:pt x="43" y="148"/>
                      </a:cubicBezTo>
                      <a:cubicBezTo>
                        <a:pt x="42" y="149"/>
                        <a:pt x="42" y="149"/>
                        <a:pt x="42" y="149"/>
                      </a:cubicBezTo>
                      <a:cubicBezTo>
                        <a:pt x="40" y="150"/>
                        <a:pt x="40" y="150"/>
                        <a:pt x="40" y="150"/>
                      </a:cubicBezTo>
                      <a:cubicBezTo>
                        <a:pt x="42" y="149"/>
                        <a:pt x="42" y="149"/>
                        <a:pt x="42" y="149"/>
                      </a:cubicBezTo>
                      <a:cubicBezTo>
                        <a:pt x="42" y="148"/>
                        <a:pt x="42" y="148"/>
                        <a:pt x="42" y="148"/>
                      </a:cubicBezTo>
                      <a:cubicBezTo>
                        <a:pt x="41" y="147"/>
                        <a:pt x="41" y="147"/>
                        <a:pt x="41" y="147"/>
                      </a:cubicBezTo>
                      <a:cubicBezTo>
                        <a:pt x="41" y="145"/>
                        <a:pt x="41" y="145"/>
                        <a:pt x="41" y="145"/>
                      </a:cubicBezTo>
                      <a:cubicBezTo>
                        <a:pt x="40" y="143"/>
                        <a:pt x="40" y="143"/>
                        <a:pt x="40" y="143"/>
                      </a:cubicBezTo>
                      <a:cubicBezTo>
                        <a:pt x="39" y="143"/>
                        <a:pt x="39" y="143"/>
                        <a:pt x="39" y="143"/>
                      </a:cubicBezTo>
                      <a:cubicBezTo>
                        <a:pt x="38" y="144"/>
                        <a:pt x="38" y="144"/>
                        <a:pt x="38" y="144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6" y="145"/>
                        <a:pt x="36" y="145"/>
                        <a:pt x="36" y="145"/>
                      </a:cubicBezTo>
                      <a:cubicBezTo>
                        <a:pt x="38" y="145"/>
                        <a:pt x="38" y="145"/>
                        <a:pt x="38" y="145"/>
                      </a:cubicBezTo>
                      <a:cubicBezTo>
                        <a:pt x="36" y="148"/>
                        <a:pt x="36" y="148"/>
                        <a:pt x="36" y="148"/>
                      </a:cubicBezTo>
                      <a:cubicBezTo>
                        <a:pt x="34" y="147"/>
                        <a:pt x="34" y="147"/>
                        <a:pt x="34" y="147"/>
                      </a:cubicBezTo>
                      <a:cubicBezTo>
                        <a:pt x="33" y="147"/>
                        <a:pt x="33" y="147"/>
                        <a:pt x="33" y="147"/>
                      </a:cubicBezTo>
                      <a:cubicBezTo>
                        <a:pt x="31" y="149"/>
                        <a:pt x="31" y="149"/>
                        <a:pt x="31" y="149"/>
                      </a:cubicBezTo>
                      <a:cubicBezTo>
                        <a:pt x="32" y="149"/>
                        <a:pt x="32" y="149"/>
                        <a:pt x="32" y="149"/>
                      </a:cubicBezTo>
                      <a:cubicBezTo>
                        <a:pt x="33" y="149"/>
                        <a:pt x="33" y="149"/>
                        <a:pt x="33" y="149"/>
                      </a:cubicBezTo>
                      <a:cubicBezTo>
                        <a:pt x="34" y="149"/>
                        <a:pt x="34" y="149"/>
                        <a:pt x="34" y="149"/>
                      </a:cubicBezTo>
                      <a:cubicBezTo>
                        <a:pt x="32" y="150"/>
                        <a:pt x="32" y="150"/>
                        <a:pt x="32" y="150"/>
                      </a:cubicBezTo>
                      <a:cubicBezTo>
                        <a:pt x="31" y="152"/>
                        <a:pt x="31" y="152"/>
                        <a:pt x="31" y="152"/>
                      </a:cubicBezTo>
                      <a:cubicBezTo>
                        <a:pt x="30" y="151"/>
                        <a:pt x="30" y="151"/>
                        <a:pt x="30" y="151"/>
                      </a:cubicBezTo>
                      <a:cubicBezTo>
                        <a:pt x="29" y="151"/>
                        <a:pt x="29" y="151"/>
                        <a:pt x="29" y="151"/>
                      </a:cubicBezTo>
                      <a:cubicBezTo>
                        <a:pt x="28" y="152"/>
                        <a:pt x="28" y="152"/>
                        <a:pt x="28" y="152"/>
                      </a:cubicBezTo>
                      <a:cubicBezTo>
                        <a:pt x="30" y="153"/>
                        <a:pt x="30" y="153"/>
                        <a:pt x="30" y="153"/>
                      </a:cubicBezTo>
                      <a:cubicBezTo>
                        <a:pt x="33" y="153"/>
                        <a:pt x="33" y="153"/>
                        <a:pt x="33" y="153"/>
                      </a:cubicBezTo>
                      <a:cubicBezTo>
                        <a:pt x="32" y="154"/>
                        <a:pt x="32" y="154"/>
                        <a:pt x="32" y="154"/>
                      </a:cubicBezTo>
                      <a:cubicBezTo>
                        <a:pt x="33" y="155"/>
                        <a:pt x="33" y="155"/>
                        <a:pt x="33" y="155"/>
                      </a:cubicBezTo>
                      <a:cubicBezTo>
                        <a:pt x="33" y="156"/>
                        <a:pt x="33" y="156"/>
                        <a:pt x="33" y="156"/>
                      </a:cubicBezTo>
                      <a:cubicBezTo>
                        <a:pt x="31" y="155"/>
                        <a:pt x="31" y="155"/>
                        <a:pt x="31" y="155"/>
                      </a:cubicBezTo>
                      <a:cubicBezTo>
                        <a:pt x="31" y="154"/>
                        <a:pt x="31" y="154"/>
                        <a:pt x="31" y="154"/>
                      </a:cubicBezTo>
                      <a:cubicBezTo>
                        <a:pt x="29" y="154"/>
                        <a:pt x="29" y="154"/>
                        <a:pt x="29" y="154"/>
                      </a:cubicBezTo>
                      <a:cubicBezTo>
                        <a:pt x="27" y="152"/>
                        <a:pt x="27" y="152"/>
                        <a:pt x="27" y="152"/>
                      </a:cubicBezTo>
                      <a:cubicBezTo>
                        <a:pt x="27" y="151"/>
                        <a:pt x="27" y="151"/>
                        <a:pt x="27" y="151"/>
                      </a:cubicBezTo>
                      <a:cubicBezTo>
                        <a:pt x="26" y="151"/>
                        <a:pt x="26" y="151"/>
                        <a:pt x="26" y="151"/>
                      </a:cubicBezTo>
                      <a:cubicBezTo>
                        <a:pt x="26" y="153"/>
                        <a:pt x="26" y="153"/>
                        <a:pt x="26" y="153"/>
                      </a:cubicBezTo>
                      <a:cubicBezTo>
                        <a:pt x="28" y="155"/>
                        <a:pt x="28" y="155"/>
                        <a:pt x="28" y="155"/>
                      </a:cubicBezTo>
                      <a:cubicBezTo>
                        <a:pt x="30" y="156"/>
                        <a:pt x="30" y="156"/>
                        <a:pt x="30" y="156"/>
                      </a:cubicBezTo>
                      <a:cubicBezTo>
                        <a:pt x="31" y="157"/>
                        <a:pt x="31" y="157"/>
                        <a:pt x="31" y="157"/>
                      </a:cubicBezTo>
                      <a:cubicBezTo>
                        <a:pt x="32" y="157"/>
                        <a:pt x="32" y="157"/>
                        <a:pt x="32" y="157"/>
                      </a:cubicBezTo>
                      <a:cubicBezTo>
                        <a:pt x="30" y="158"/>
                        <a:pt x="30" y="158"/>
                        <a:pt x="30" y="158"/>
                      </a:cubicBezTo>
                      <a:cubicBezTo>
                        <a:pt x="28" y="157"/>
                        <a:pt x="28" y="157"/>
                        <a:pt x="28" y="157"/>
                      </a:cubicBezTo>
                      <a:cubicBezTo>
                        <a:pt x="25" y="154"/>
                        <a:pt x="25" y="154"/>
                        <a:pt x="25" y="154"/>
                      </a:cubicBezTo>
                      <a:cubicBezTo>
                        <a:pt x="24" y="154"/>
                        <a:pt x="24" y="154"/>
                        <a:pt x="24" y="154"/>
                      </a:cubicBezTo>
                      <a:cubicBezTo>
                        <a:pt x="23" y="153"/>
                        <a:pt x="23" y="153"/>
                        <a:pt x="23" y="153"/>
                      </a:cubicBezTo>
                      <a:cubicBezTo>
                        <a:pt x="21" y="153"/>
                        <a:pt x="21" y="153"/>
                        <a:pt x="21" y="153"/>
                      </a:cubicBezTo>
                      <a:cubicBezTo>
                        <a:pt x="20" y="152"/>
                        <a:pt x="20" y="152"/>
                        <a:pt x="20" y="152"/>
                      </a:cubicBezTo>
                      <a:cubicBezTo>
                        <a:pt x="19" y="153"/>
                        <a:pt x="19" y="153"/>
                        <a:pt x="19" y="153"/>
                      </a:cubicBezTo>
                      <a:cubicBezTo>
                        <a:pt x="19" y="155"/>
                        <a:pt x="19" y="155"/>
                        <a:pt x="19" y="155"/>
                      </a:cubicBezTo>
                      <a:cubicBezTo>
                        <a:pt x="18" y="156"/>
                        <a:pt x="18" y="156"/>
                        <a:pt x="18" y="156"/>
                      </a:cubicBezTo>
                      <a:cubicBezTo>
                        <a:pt x="20" y="157"/>
                        <a:pt x="20" y="157"/>
                        <a:pt x="20" y="157"/>
                      </a:cubicBezTo>
                      <a:cubicBezTo>
                        <a:pt x="23" y="156"/>
                        <a:pt x="23" y="156"/>
                        <a:pt x="23" y="156"/>
                      </a:cubicBezTo>
                      <a:cubicBezTo>
                        <a:pt x="23" y="157"/>
                        <a:pt x="23" y="157"/>
                        <a:pt x="23" y="157"/>
                      </a:cubicBezTo>
                      <a:cubicBezTo>
                        <a:pt x="22" y="158"/>
                        <a:pt x="22" y="158"/>
                        <a:pt x="22" y="158"/>
                      </a:cubicBezTo>
                      <a:cubicBezTo>
                        <a:pt x="23" y="158"/>
                        <a:pt x="23" y="158"/>
                        <a:pt x="23" y="158"/>
                      </a:cubicBezTo>
                      <a:cubicBezTo>
                        <a:pt x="25" y="157"/>
                        <a:pt x="25" y="157"/>
                        <a:pt x="25" y="157"/>
                      </a:cubicBezTo>
                      <a:cubicBezTo>
                        <a:pt x="26" y="157"/>
                        <a:pt x="26" y="157"/>
                        <a:pt x="26" y="157"/>
                      </a:cubicBezTo>
                      <a:cubicBezTo>
                        <a:pt x="26" y="158"/>
                        <a:pt x="26" y="158"/>
                        <a:pt x="26" y="158"/>
                      </a:cubicBezTo>
                      <a:cubicBezTo>
                        <a:pt x="23" y="160"/>
                        <a:pt x="23" y="160"/>
                        <a:pt x="23" y="160"/>
                      </a:cubicBezTo>
                      <a:cubicBezTo>
                        <a:pt x="22" y="161"/>
                        <a:pt x="22" y="161"/>
                        <a:pt x="22" y="161"/>
                      </a:cubicBezTo>
                      <a:cubicBezTo>
                        <a:pt x="20" y="161"/>
                        <a:pt x="20" y="161"/>
                        <a:pt x="20" y="161"/>
                      </a:cubicBezTo>
                      <a:cubicBezTo>
                        <a:pt x="18" y="158"/>
                        <a:pt x="18" y="158"/>
                        <a:pt x="18" y="158"/>
                      </a:cubicBezTo>
                      <a:cubicBezTo>
                        <a:pt x="17" y="158"/>
                        <a:pt x="17" y="158"/>
                        <a:pt x="17" y="158"/>
                      </a:cubicBezTo>
                      <a:cubicBezTo>
                        <a:pt x="16" y="159"/>
                        <a:pt x="16" y="159"/>
                        <a:pt x="16" y="159"/>
                      </a:cubicBezTo>
                      <a:cubicBezTo>
                        <a:pt x="15" y="158"/>
                        <a:pt x="15" y="158"/>
                        <a:pt x="15" y="158"/>
                      </a:cubicBezTo>
                      <a:cubicBezTo>
                        <a:pt x="14" y="159"/>
                        <a:pt x="14" y="159"/>
                        <a:pt x="14" y="159"/>
                      </a:cubicBezTo>
                      <a:cubicBezTo>
                        <a:pt x="13" y="158"/>
                        <a:pt x="13" y="158"/>
                        <a:pt x="13" y="158"/>
                      </a:cubicBezTo>
                      <a:cubicBezTo>
                        <a:pt x="12" y="159"/>
                        <a:pt x="12" y="159"/>
                        <a:pt x="12" y="159"/>
                      </a:cubicBezTo>
                      <a:cubicBezTo>
                        <a:pt x="12" y="160"/>
                        <a:pt x="12" y="160"/>
                        <a:pt x="12" y="160"/>
                      </a:cubicBezTo>
                      <a:cubicBezTo>
                        <a:pt x="15" y="160"/>
                        <a:pt x="15" y="160"/>
                        <a:pt x="15" y="160"/>
                      </a:cubicBezTo>
                      <a:cubicBezTo>
                        <a:pt x="17" y="162"/>
                        <a:pt x="17" y="162"/>
                        <a:pt x="17" y="162"/>
                      </a:cubicBezTo>
                      <a:cubicBezTo>
                        <a:pt x="19" y="163"/>
                        <a:pt x="19" y="163"/>
                        <a:pt x="19" y="163"/>
                      </a:cubicBezTo>
                      <a:cubicBezTo>
                        <a:pt x="19" y="164"/>
                        <a:pt x="19" y="164"/>
                        <a:pt x="19" y="164"/>
                      </a:cubicBezTo>
                      <a:cubicBezTo>
                        <a:pt x="19" y="166"/>
                        <a:pt x="19" y="166"/>
                        <a:pt x="19" y="166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17" y="166"/>
                        <a:pt x="17" y="166"/>
                        <a:pt x="17" y="166"/>
                      </a:cubicBezTo>
                      <a:cubicBezTo>
                        <a:pt x="17" y="163"/>
                        <a:pt x="17" y="163"/>
                        <a:pt x="17" y="163"/>
                      </a:cubicBezTo>
                      <a:cubicBezTo>
                        <a:pt x="16" y="163"/>
                        <a:pt x="16" y="163"/>
                        <a:pt x="16" y="163"/>
                      </a:cubicBezTo>
                      <a:cubicBezTo>
                        <a:pt x="14" y="163"/>
                        <a:pt x="14" y="163"/>
                        <a:pt x="14" y="163"/>
                      </a:cubicBezTo>
                      <a:cubicBezTo>
                        <a:pt x="15" y="164"/>
                        <a:pt x="15" y="164"/>
                        <a:pt x="15" y="164"/>
                      </a:cubicBezTo>
                      <a:cubicBezTo>
                        <a:pt x="14" y="165"/>
                        <a:pt x="14" y="165"/>
                        <a:pt x="14" y="165"/>
                      </a:cubicBezTo>
                      <a:cubicBezTo>
                        <a:pt x="12" y="164"/>
                        <a:pt x="12" y="164"/>
                        <a:pt x="12" y="164"/>
                      </a:cubicBezTo>
                      <a:cubicBezTo>
                        <a:pt x="10" y="166"/>
                        <a:pt x="10" y="166"/>
                        <a:pt x="10" y="166"/>
                      </a:cubicBezTo>
                      <a:cubicBezTo>
                        <a:pt x="12" y="167"/>
                        <a:pt x="12" y="167"/>
                        <a:pt x="12" y="167"/>
                      </a:cubicBezTo>
                      <a:cubicBezTo>
                        <a:pt x="11" y="167"/>
                        <a:pt x="11" y="167"/>
                        <a:pt x="11" y="167"/>
                      </a:cubicBezTo>
                      <a:cubicBezTo>
                        <a:pt x="10" y="168"/>
                        <a:pt x="10" y="168"/>
                        <a:pt x="10" y="168"/>
                      </a:cubicBezTo>
                      <a:cubicBezTo>
                        <a:pt x="9" y="166"/>
                        <a:pt x="9" y="166"/>
                        <a:pt x="9" y="166"/>
                      </a:cubicBezTo>
                      <a:cubicBezTo>
                        <a:pt x="6" y="166"/>
                        <a:pt x="6" y="166"/>
                        <a:pt x="6" y="166"/>
                      </a:cubicBezTo>
                      <a:cubicBezTo>
                        <a:pt x="7" y="168"/>
                        <a:pt x="7" y="168"/>
                        <a:pt x="7" y="168"/>
                      </a:cubicBezTo>
                      <a:cubicBezTo>
                        <a:pt x="6" y="168"/>
                        <a:pt x="6" y="168"/>
                        <a:pt x="6" y="168"/>
                      </a:cubicBezTo>
                      <a:cubicBezTo>
                        <a:pt x="6" y="167"/>
                        <a:pt x="6" y="167"/>
                        <a:pt x="6" y="167"/>
                      </a:cubicBezTo>
                      <a:cubicBezTo>
                        <a:pt x="4" y="165"/>
                        <a:pt x="4" y="165"/>
                        <a:pt x="4" y="165"/>
                      </a:cubicBezTo>
                      <a:cubicBezTo>
                        <a:pt x="3" y="165"/>
                        <a:pt x="3" y="165"/>
                        <a:pt x="3" y="165"/>
                      </a:cubicBezTo>
                      <a:cubicBezTo>
                        <a:pt x="3" y="166"/>
                        <a:pt x="3" y="166"/>
                        <a:pt x="3" y="166"/>
                      </a:cubicBezTo>
                      <a:cubicBezTo>
                        <a:pt x="5" y="168"/>
                        <a:pt x="5" y="168"/>
                        <a:pt x="5" y="168"/>
                      </a:cubicBezTo>
                      <a:cubicBezTo>
                        <a:pt x="4" y="169"/>
                        <a:pt x="4" y="169"/>
                        <a:pt x="4" y="169"/>
                      </a:cubicBezTo>
                      <a:cubicBezTo>
                        <a:pt x="5" y="170"/>
                        <a:pt x="5" y="170"/>
                        <a:pt x="5" y="170"/>
                      </a:cubicBezTo>
                      <a:cubicBezTo>
                        <a:pt x="7" y="169"/>
                        <a:pt x="7" y="169"/>
                        <a:pt x="7" y="169"/>
                      </a:cubicBezTo>
                      <a:cubicBezTo>
                        <a:pt x="10" y="170"/>
                        <a:pt x="10" y="170"/>
                        <a:pt x="10" y="170"/>
                      </a:cubicBezTo>
                      <a:cubicBezTo>
                        <a:pt x="12" y="171"/>
                        <a:pt x="12" y="171"/>
                        <a:pt x="12" y="171"/>
                      </a:cubicBezTo>
                      <a:cubicBezTo>
                        <a:pt x="15" y="171"/>
                        <a:pt x="15" y="171"/>
                        <a:pt x="15" y="171"/>
                      </a:cubicBezTo>
                      <a:cubicBezTo>
                        <a:pt x="16" y="171"/>
                        <a:pt x="16" y="171"/>
                        <a:pt x="16" y="171"/>
                      </a:cubicBezTo>
                      <a:cubicBezTo>
                        <a:pt x="17" y="171"/>
                        <a:pt x="17" y="171"/>
                        <a:pt x="17" y="171"/>
                      </a:cubicBezTo>
                      <a:cubicBezTo>
                        <a:pt x="15" y="172"/>
                        <a:pt x="15" y="172"/>
                        <a:pt x="15" y="172"/>
                      </a:cubicBezTo>
                      <a:cubicBezTo>
                        <a:pt x="13" y="172"/>
                        <a:pt x="13" y="172"/>
                        <a:pt x="13" y="172"/>
                      </a:cubicBezTo>
                      <a:cubicBezTo>
                        <a:pt x="12" y="173"/>
                        <a:pt x="12" y="173"/>
                        <a:pt x="12" y="173"/>
                      </a:cubicBezTo>
                      <a:cubicBezTo>
                        <a:pt x="9" y="171"/>
                        <a:pt x="9" y="171"/>
                        <a:pt x="9" y="171"/>
                      </a:cubicBezTo>
                      <a:cubicBezTo>
                        <a:pt x="7" y="171"/>
                        <a:pt x="7" y="171"/>
                        <a:pt x="7" y="171"/>
                      </a:cubicBezTo>
                      <a:cubicBezTo>
                        <a:pt x="6" y="171"/>
                        <a:pt x="6" y="171"/>
                        <a:pt x="6" y="171"/>
                      </a:cubicBezTo>
                      <a:cubicBezTo>
                        <a:pt x="5" y="172"/>
                        <a:pt x="5" y="172"/>
                        <a:pt x="5" y="172"/>
                      </a:cubicBezTo>
                      <a:cubicBezTo>
                        <a:pt x="3" y="173"/>
                        <a:pt x="3" y="173"/>
                        <a:pt x="3" y="173"/>
                      </a:cubicBezTo>
                      <a:cubicBezTo>
                        <a:pt x="2" y="174"/>
                        <a:pt x="2" y="174"/>
                        <a:pt x="2" y="174"/>
                      </a:cubicBezTo>
                      <a:cubicBezTo>
                        <a:pt x="6" y="175"/>
                        <a:pt x="6" y="175"/>
                        <a:pt x="6" y="175"/>
                      </a:cubicBezTo>
                      <a:cubicBezTo>
                        <a:pt x="4" y="176"/>
                        <a:pt x="4" y="176"/>
                        <a:pt x="4" y="176"/>
                      </a:cubicBezTo>
                      <a:cubicBezTo>
                        <a:pt x="6" y="177"/>
                        <a:pt x="6" y="177"/>
                        <a:pt x="6" y="177"/>
                      </a:cubicBezTo>
                      <a:cubicBezTo>
                        <a:pt x="7" y="176"/>
                        <a:pt x="7" y="176"/>
                        <a:pt x="7" y="176"/>
                      </a:cubicBezTo>
                      <a:cubicBezTo>
                        <a:pt x="9" y="176"/>
                        <a:pt x="9" y="176"/>
                        <a:pt x="9" y="176"/>
                      </a:cubicBezTo>
                      <a:cubicBezTo>
                        <a:pt x="8" y="177"/>
                        <a:pt x="8" y="177"/>
                        <a:pt x="8" y="177"/>
                      </a:cubicBezTo>
                      <a:cubicBezTo>
                        <a:pt x="5" y="177"/>
                        <a:pt x="5" y="177"/>
                        <a:pt x="5" y="177"/>
                      </a:cubicBezTo>
                      <a:cubicBezTo>
                        <a:pt x="4" y="178"/>
                        <a:pt x="4" y="178"/>
                        <a:pt x="4" y="178"/>
                      </a:cubicBezTo>
                      <a:cubicBezTo>
                        <a:pt x="3" y="177"/>
                        <a:pt x="3" y="177"/>
                        <a:pt x="3" y="177"/>
                      </a:cubicBezTo>
                      <a:cubicBezTo>
                        <a:pt x="3" y="178"/>
                        <a:pt x="3" y="178"/>
                        <a:pt x="3" y="178"/>
                      </a:cubicBezTo>
                      <a:cubicBezTo>
                        <a:pt x="5" y="179"/>
                        <a:pt x="5" y="179"/>
                        <a:pt x="5" y="179"/>
                      </a:cubicBezTo>
                      <a:cubicBezTo>
                        <a:pt x="6" y="179"/>
                        <a:pt x="6" y="179"/>
                        <a:pt x="6" y="179"/>
                      </a:cubicBezTo>
                      <a:cubicBezTo>
                        <a:pt x="4" y="180"/>
                        <a:pt x="4" y="180"/>
                        <a:pt x="4" y="180"/>
                      </a:cubicBezTo>
                      <a:cubicBezTo>
                        <a:pt x="3" y="180"/>
                        <a:pt x="3" y="180"/>
                        <a:pt x="3" y="180"/>
                      </a:cubicBezTo>
                      <a:cubicBezTo>
                        <a:pt x="3" y="181"/>
                        <a:pt x="3" y="181"/>
                        <a:pt x="3" y="181"/>
                      </a:cubicBezTo>
                      <a:cubicBezTo>
                        <a:pt x="4" y="181"/>
                        <a:pt x="4" y="181"/>
                        <a:pt x="4" y="181"/>
                      </a:cubicBezTo>
                      <a:cubicBezTo>
                        <a:pt x="5" y="182"/>
                        <a:pt x="5" y="182"/>
                        <a:pt x="5" y="182"/>
                      </a:cubicBezTo>
                      <a:cubicBezTo>
                        <a:pt x="7" y="182"/>
                        <a:pt x="7" y="182"/>
                        <a:pt x="7" y="182"/>
                      </a:cubicBezTo>
                      <a:cubicBezTo>
                        <a:pt x="8" y="181"/>
                        <a:pt x="8" y="181"/>
                        <a:pt x="8" y="181"/>
                      </a:cubicBezTo>
                      <a:cubicBezTo>
                        <a:pt x="11" y="181"/>
                        <a:pt x="11" y="181"/>
                        <a:pt x="11" y="181"/>
                      </a:cubicBezTo>
                      <a:cubicBezTo>
                        <a:pt x="13" y="182"/>
                        <a:pt x="13" y="182"/>
                        <a:pt x="13" y="182"/>
                      </a:cubicBezTo>
                      <a:cubicBezTo>
                        <a:pt x="14" y="182"/>
                        <a:pt x="14" y="182"/>
                        <a:pt x="14" y="182"/>
                      </a:cubicBezTo>
                      <a:cubicBezTo>
                        <a:pt x="15" y="181"/>
                        <a:pt x="15" y="181"/>
                        <a:pt x="15" y="181"/>
                      </a:cubicBezTo>
                      <a:cubicBezTo>
                        <a:pt x="15" y="180"/>
                        <a:pt x="15" y="180"/>
                        <a:pt x="15" y="180"/>
                      </a:cubicBezTo>
                      <a:cubicBezTo>
                        <a:pt x="17" y="180"/>
                        <a:pt x="17" y="180"/>
                        <a:pt x="17" y="180"/>
                      </a:cubicBezTo>
                      <a:cubicBezTo>
                        <a:pt x="17" y="181"/>
                        <a:pt x="17" y="181"/>
                        <a:pt x="17" y="181"/>
                      </a:cubicBezTo>
                      <a:cubicBezTo>
                        <a:pt x="19" y="181"/>
                        <a:pt x="19" y="181"/>
                        <a:pt x="19" y="181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1" y="180"/>
                        <a:pt x="21" y="180"/>
                        <a:pt x="21" y="180"/>
                      </a:cubicBezTo>
                      <a:cubicBezTo>
                        <a:pt x="20" y="181"/>
                        <a:pt x="20" y="181"/>
                        <a:pt x="20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3" y="181"/>
                        <a:pt x="23" y="181"/>
                        <a:pt x="23" y="181"/>
                      </a:cubicBezTo>
                      <a:cubicBezTo>
                        <a:pt x="23" y="179"/>
                        <a:pt x="23" y="179"/>
                        <a:pt x="23" y="179"/>
                      </a:cubicBezTo>
                      <a:cubicBezTo>
                        <a:pt x="24" y="177"/>
                        <a:pt x="24" y="177"/>
                        <a:pt x="24" y="177"/>
                      </a:cubicBezTo>
                      <a:cubicBezTo>
                        <a:pt x="24" y="179"/>
                        <a:pt x="24" y="179"/>
                        <a:pt x="24" y="179"/>
                      </a:cubicBezTo>
                      <a:cubicBezTo>
                        <a:pt x="25" y="181"/>
                        <a:pt x="25" y="181"/>
                        <a:pt x="25" y="181"/>
                      </a:cubicBezTo>
                      <a:cubicBezTo>
                        <a:pt x="24" y="182"/>
                        <a:pt x="24" y="182"/>
                        <a:pt x="24" y="182"/>
                      </a:cubicBezTo>
                      <a:cubicBezTo>
                        <a:pt x="21" y="183"/>
                        <a:pt x="21" y="183"/>
                        <a:pt x="21" y="183"/>
                      </a:cubicBezTo>
                      <a:cubicBezTo>
                        <a:pt x="20" y="184"/>
                        <a:pt x="20" y="184"/>
                        <a:pt x="20" y="184"/>
                      </a:cubicBezTo>
                      <a:cubicBezTo>
                        <a:pt x="21" y="184"/>
                        <a:pt x="21" y="184"/>
                        <a:pt x="21" y="184"/>
                      </a:cubicBezTo>
                      <a:cubicBezTo>
                        <a:pt x="20" y="186"/>
                        <a:pt x="20" y="186"/>
                        <a:pt x="20" y="186"/>
                      </a:cubicBezTo>
                      <a:cubicBezTo>
                        <a:pt x="18" y="186"/>
                        <a:pt x="18" y="186"/>
                        <a:pt x="18" y="186"/>
                      </a:cubicBezTo>
                      <a:cubicBezTo>
                        <a:pt x="18" y="185"/>
                        <a:pt x="18" y="185"/>
                        <a:pt x="18" y="185"/>
                      </a:cubicBezTo>
                      <a:cubicBezTo>
                        <a:pt x="19" y="184"/>
                        <a:pt x="19" y="184"/>
                        <a:pt x="19" y="184"/>
                      </a:cubicBezTo>
                      <a:cubicBezTo>
                        <a:pt x="19" y="182"/>
                        <a:pt x="19" y="182"/>
                        <a:pt x="19" y="182"/>
                      </a:cubicBezTo>
                      <a:cubicBezTo>
                        <a:pt x="17" y="182"/>
                        <a:pt x="17" y="182"/>
                        <a:pt x="17" y="182"/>
                      </a:cubicBezTo>
                      <a:cubicBezTo>
                        <a:pt x="15" y="184"/>
                        <a:pt x="15" y="184"/>
                        <a:pt x="15" y="184"/>
                      </a:cubicBezTo>
                      <a:cubicBezTo>
                        <a:pt x="14" y="185"/>
                        <a:pt x="14" y="185"/>
                        <a:pt x="14" y="185"/>
                      </a:cubicBezTo>
                      <a:cubicBezTo>
                        <a:pt x="13" y="183"/>
                        <a:pt x="13" y="183"/>
                        <a:pt x="13" y="183"/>
                      </a:cubicBezTo>
                      <a:cubicBezTo>
                        <a:pt x="11" y="183"/>
                        <a:pt x="11" y="183"/>
                        <a:pt x="11" y="183"/>
                      </a:cubicBezTo>
                      <a:cubicBezTo>
                        <a:pt x="9" y="183"/>
                        <a:pt x="9" y="183"/>
                        <a:pt x="9" y="183"/>
                      </a:cubicBezTo>
                      <a:cubicBezTo>
                        <a:pt x="8" y="183"/>
                        <a:pt x="8" y="183"/>
                        <a:pt x="8" y="183"/>
                      </a:cubicBezTo>
                      <a:cubicBezTo>
                        <a:pt x="6" y="184"/>
                        <a:pt x="6" y="184"/>
                        <a:pt x="6" y="184"/>
                      </a:cubicBezTo>
                      <a:cubicBezTo>
                        <a:pt x="5" y="184"/>
                        <a:pt x="5" y="184"/>
                        <a:pt x="5" y="184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4" y="185"/>
                        <a:pt x="4" y="185"/>
                        <a:pt x="4" y="185"/>
                      </a:cubicBezTo>
                      <a:cubicBezTo>
                        <a:pt x="3" y="186"/>
                        <a:pt x="3" y="186"/>
                        <a:pt x="3" y="186"/>
                      </a:cubicBezTo>
                      <a:cubicBezTo>
                        <a:pt x="4" y="187"/>
                        <a:pt x="4" y="187"/>
                        <a:pt x="4" y="187"/>
                      </a:cubicBezTo>
                      <a:cubicBezTo>
                        <a:pt x="5" y="187"/>
                        <a:pt x="5" y="187"/>
                        <a:pt x="5" y="187"/>
                      </a:cubicBezTo>
                      <a:cubicBezTo>
                        <a:pt x="6" y="186"/>
                        <a:pt x="6" y="186"/>
                        <a:pt x="6" y="186"/>
                      </a:cubicBezTo>
                      <a:cubicBezTo>
                        <a:pt x="7" y="186"/>
                        <a:pt x="7" y="186"/>
                        <a:pt x="7" y="186"/>
                      </a:cubicBezTo>
                      <a:cubicBezTo>
                        <a:pt x="6" y="187"/>
                        <a:pt x="6" y="187"/>
                        <a:pt x="6" y="187"/>
                      </a:cubicBezTo>
                      <a:cubicBezTo>
                        <a:pt x="6" y="189"/>
                        <a:pt x="6" y="189"/>
                        <a:pt x="6" y="189"/>
                      </a:cubicBezTo>
                      <a:cubicBezTo>
                        <a:pt x="5" y="190"/>
                        <a:pt x="5" y="190"/>
                        <a:pt x="5" y="190"/>
                      </a:cubicBezTo>
                      <a:cubicBezTo>
                        <a:pt x="4" y="189"/>
                        <a:pt x="4" y="189"/>
                        <a:pt x="4" y="189"/>
                      </a:cubicBezTo>
                      <a:cubicBezTo>
                        <a:pt x="5" y="191"/>
                        <a:pt x="5" y="191"/>
                        <a:pt x="5" y="191"/>
                      </a:cubicBezTo>
                      <a:cubicBezTo>
                        <a:pt x="6" y="192"/>
                        <a:pt x="6" y="192"/>
                        <a:pt x="6" y="192"/>
                      </a:cubicBezTo>
                      <a:cubicBezTo>
                        <a:pt x="8" y="189"/>
                        <a:pt x="8" y="189"/>
                        <a:pt x="8" y="189"/>
                      </a:cubicBezTo>
                      <a:cubicBezTo>
                        <a:pt x="10" y="190"/>
                        <a:pt x="10" y="190"/>
                        <a:pt x="10" y="190"/>
                      </a:cubicBezTo>
                      <a:cubicBezTo>
                        <a:pt x="9" y="190"/>
                        <a:pt x="9" y="190"/>
                        <a:pt x="9" y="190"/>
                      </a:cubicBezTo>
                      <a:cubicBezTo>
                        <a:pt x="10" y="192"/>
                        <a:pt x="10" y="192"/>
                        <a:pt x="10" y="192"/>
                      </a:cubicBezTo>
                      <a:cubicBezTo>
                        <a:pt x="7" y="193"/>
                        <a:pt x="7" y="193"/>
                        <a:pt x="7" y="193"/>
                      </a:cubicBezTo>
                      <a:cubicBezTo>
                        <a:pt x="8" y="194"/>
                        <a:pt x="8" y="194"/>
                        <a:pt x="8" y="194"/>
                      </a:cubicBezTo>
                      <a:cubicBezTo>
                        <a:pt x="9" y="194"/>
                        <a:pt x="9" y="194"/>
                        <a:pt x="9" y="194"/>
                      </a:cubicBezTo>
                      <a:cubicBezTo>
                        <a:pt x="8" y="195"/>
                        <a:pt x="8" y="195"/>
                        <a:pt x="8" y="195"/>
                      </a:cubicBezTo>
                      <a:cubicBezTo>
                        <a:pt x="9" y="197"/>
                        <a:pt x="9" y="197"/>
                        <a:pt x="9" y="197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11" y="197"/>
                        <a:pt x="11" y="197"/>
                        <a:pt x="11" y="197"/>
                      </a:cubicBezTo>
                      <a:cubicBezTo>
                        <a:pt x="12" y="196"/>
                        <a:pt x="12" y="196"/>
                        <a:pt x="12" y="196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6" y="192"/>
                        <a:pt x="16" y="192"/>
                        <a:pt x="16" y="192"/>
                      </a:cubicBezTo>
                      <a:cubicBezTo>
                        <a:pt x="18" y="193"/>
                        <a:pt x="18" y="193"/>
                        <a:pt x="18" y="193"/>
                      </a:cubicBezTo>
                      <a:cubicBezTo>
                        <a:pt x="19" y="192"/>
                        <a:pt x="19" y="192"/>
                        <a:pt x="19" y="192"/>
                      </a:cubicBezTo>
                      <a:cubicBezTo>
                        <a:pt x="18" y="193"/>
                        <a:pt x="18" y="193"/>
                        <a:pt x="18" y="193"/>
                      </a:cubicBezTo>
                      <a:cubicBezTo>
                        <a:pt x="16" y="194"/>
                        <a:pt x="16" y="194"/>
                        <a:pt x="16" y="194"/>
                      </a:cubicBezTo>
                      <a:cubicBezTo>
                        <a:pt x="16" y="197"/>
                        <a:pt x="16" y="197"/>
                        <a:pt x="16" y="197"/>
                      </a:cubicBezTo>
                      <a:cubicBezTo>
                        <a:pt x="17" y="198"/>
                        <a:pt x="17" y="198"/>
                        <a:pt x="17" y="198"/>
                      </a:cubicBezTo>
                      <a:cubicBezTo>
                        <a:pt x="16" y="197"/>
                        <a:pt x="16" y="197"/>
                        <a:pt x="16" y="197"/>
                      </a:cubicBezTo>
                      <a:cubicBezTo>
                        <a:pt x="15" y="195"/>
                        <a:pt x="15" y="195"/>
                        <a:pt x="15" y="195"/>
                      </a:cubicBezTo>
                      <a:cubicBezTo>
                        <a:pt x="14" y="195"/>
                        <a:pt x="14" y="195"/>
                        <a:pt x="14" y="195"/>
                      </a:cubicBezTo>
                      <a:cubicBezTo>
                        <a:pt x="13" y="197"/>
                        <a:pt x="13" y="197"/>
                        <a:pt x="13" y="197"/>
                      </a:cubicBezTo>
                      <a:cubicBezTo>
                        <a:pt x="12" y="197"/>
                        <a:pt x="12" y="197"/>
                        <a:pt x="12" y="197"/>
                      </a:cubicBezTo>
                      <a:cubicBezTo>
                        <a:pt x="14" y="198"/>
                        <a:pt x="14" y="198"/>
                        <a:pt x="14" y="198"/>
                      </a:cubicBezTo>
                      <a:cubicBezTo>
                        <a:pt x="12" y="200"/>
                        <a:pt x="12" y="200"/>
                        <a:pt x="12" y="200"/>
                      </a:cubicBezTo>
                      <a:cubicBezTo>
                        <a:pt x="11" y="200"/>
                        <a:pt x="11" y="200"/>
                        <a:pt x="11" y="200"/>
                      </a:cubicBezTo>
                      <a:cubicBezTo>
                        <a:pt x="10" y="201"/>
                        <a:pt x="10" y="201"/>
                        <a:pt x="10" y="201"/>
                      </a:cubicBezTo>
                      <a:cubicBezTo>
                        <a:pt x="11" y="202"/>
                        <a:pt x="11" y="202"/>
                        <a:pt x="11" y="202"/>
                      </a:cubicBezTo>
                      <a:cubicBezTo>
                        <a:pt x="14" y="202"/>
                        <a:pt x="14" y="202"/>
                        <a:pt x="14" y="202"/>
                      </a:cubicBezTo>
                      <a:cubicBezTo>
                        <a:pt x="15" y="203"/>
                        <a:pt x="15" y="203"/>
                        <a:pt x="15" y="203"/>
                      </a:cubicBezTo>
                      <a:cubicBezTo>
                        <a:pt x="13" y="203"/>
                        <a:pt x="13" y="203"/>
                        <a:pt x="13" y="203"/>
                      </a:cubicBezTo>
                      <a:cubicBezTo>
                        <a:pt x="12" y="204"/>
                        <a:pt x="12" y="204"/>
                        <a:pt x="12" y="204"/>
                      </a:cubicBezTo>
                      <a:cubicBezTo>
                        <a:pt x="12" y="206"/>
                        <a:pt x="12" y="206"/>
                        <a:pt x="12" y="206"/>
                      </a:cubicBezTo>
                      <a:cubicBezTo>
                        <a:pt x="10" y="204"/>
                        <a:pt x="10" y="204"/>
                        <a:pt x="10" y="204"/>
                      </a:cubicBezTo>
                      <a:cubicBezTo>
                        <a:pt x="9" y="205"/>
                        <a:pt x="9" y="205"/>
                        <a:pt x="9" y="205"/>
                      </a:cubicBezTo>
                      <a:cubicBezTo>
                        <a:pt x="9" y="206"/>
                        <a:pt x="9" y="206"/>
                        <a:pt x="9" y="206"/>
                      </a:cubicBezTo>
                      <a:cubicBezTo>
                        <a:pt x="8" y="204"/>
                        <a:pt x="8" y="204"/>
                        <a:pt x="8" y="204"/>
                      </a:cubicBezTo>
                      <a:cubicBezTo>
                        <a:pt x="7" y="205"/>
                        <a:pt x="7" y="205"/>
                        <a:pt x="7" y="205"/>
                      </a:cubicBezTo>
                      <a:cubicBezTo>
                        <a:pt x="5" y="207"/>
                        <a:pt x="5" y="207"/>
                        <a:pt x="5" y="207"/>
                      </a:cubicBezTo>
                      <a:cubicBezTo>
                        <a:pt x="6" y="209"/>
                        <a:pt x="6" y="209"/>
                        <a:pt x="6" y="209"/>
                      </a:cubicBezTo>
                      <a:cubicBezTo>
                        <a:pt x="8" y="212"/>
                        <a:pt x="8" y="212"/>
                        <a:pt x="8" y="212"/>
                      </a:cubicBezTo>
                      <a:cubicBezTo>
                        <a:pt x="9" y="210"/>
                        <a:pt x="9" y="210"/>
                        <a:pt x="9" y="210"/>
                      </a:cubicBezTo>
                      <a:cubicBezTo>
                        <a:pt x="10" y="211"/>
                        <a:pt x="10" y="211"/>
                        <a:pt x="10" y="211"/>
                      </a:cubicBezTo>
                      <a:cubicBezTo>
                        <a:pt x="11" y="210"/>
                        <a:pt x="11" y="210"/>
                        <a:pt x="11" y="210"/>
                      </a:cubicBezTo>
                      <a:cubicBezTo>
                        <a:pt x="11" y="210"/>
                        <a:pt x="11" y="210"/>
                        <a:pt x="11" y="210"/>
                      </a:cubicBezTo>
                      <a:cubicBezTo>
                        <a:pt x="11" y="208"/>
                        <a:pt x="11" y="208"/>
                        <a:pt x="11" y="208"/>
                      </a:cubicBezTo>
                      <a:cubicBezTo>
                        <a:pt x="13" y="209"/>
                        <a:pt x="13" y="209"/>
                        <a:pt x="13" y="209"/>
                      </a:cubicBezTo>
                      <a:cubicBezTo>
                        <a:pt x="12" y="210"/>
                        <a:pt x="12" y="210"/>
                        <a:pt x="12" y="210"/>
                      </a:cubicBezTo>
                      <a:cubicBezTo>
                        <a:pt x="14" y="211"/>
                        <a:pt x="14" y="211"/>
                        <a:pt x="14" y="211"/>
                      </a:cubicBezTo>
                      <a:cubicBezTo>
                        <a:pt x="13" y="213"/>
                        <a:pt x="13" y="213"/>
                        <a:pt x="13" y="213"/>
                      </a:cubicBezTo>
                      <a:cubicBezTo>
                        <a:pt x="12" y="214"/>
                        <a:pt x="12" y="214"/>
                        <a:pt x="12" y="214"/>
                      </a:cubicBezTo>
                      <a:cubicBezTo>
                        <a:pt x="13" y="216"/>
                        <a:pt x="13" y="216"/>
                        <a:pt x="13" y="216"/>
                      </a:cubicBezTo>
                      <a:cubicBezTo>
                        <a:pt x="14" y="215"/>
                        <a:pt x="14" y="215"/>
                        <a:pt x="14" y="215"/>
                      </a:cubicBezTo>
                      <a:cubicBezTo>
                        <a:pt x="16" y="215"/>
                        <a:pt x="16" y="215"/>
                        <a:pt x="16" y="215"/>
                      </a:cubicBezTo>
                      <a:cubicBezTo>
                        <a:pt x="17" y="216"/>
                        <a:pt x="17" y="216"/>
                        <a:pt x="17" y="216"/>
                      </a:cubicBezTo>
                      <a:cubicBezTo>
                        <a:pt x="15" y="216"/>
                        <a:pt x="15" y="216"/>
                        <a:pt x="15" y="216"/>
                      </a:cubicBezTo>
                      <a:cubicBezTo>
                        <a:pt x="14" y="217"/>
                        <a:pt x="14" y="217"/>
                        <a:pt x="14" y="217"/>
                      </a:cubicBezTo>
                      <a:cubicBezTo>
                        <a:pt x="15" y="219"/>
                        <a:pt x="15" y="219"/>
                        <a:pt x="15" y="219"/>
                      </a:cubicBezTo>
                      <a:cubicBezTo>
                        <a:pt x="15" y="219"/>
                        <a:pt x="15" y="219"/>
                        <a:pt x="15" y="219"/>
                      </a:cubicBezTo>
                      <a:cubicBezTo>
                        <a:pt x="12" y="217"/>
                        <a:pt x="12" y="217"/>
                        <a:pt x="12" y="217"/>
                      </a:cubicBezTo>
                      <a:cubicBezTo>
                        <a:pt x="10" y="217"/>
                        <a:pt x="10" y="217"/>
                        <a:pt x="10" y="217"/>
                      </a:cubicBezTo>
                      <a:cubicBezTo>
                        <a:pt x="9" y="216"/>
                        <a:pt x="9" y="216"/>
                        <a:pt x="9" y="216"/>
                      </a:cubicBezTo>
                      <a:cubicBezTo>
                        <a:pt x="8" y="216"/>
                        <a:pt x="8" y="216"/>
                        <a:pt x="8" y="216"/>
                      </a:cubicBezTo>
                      <a:cubicBezTo>
                        <a:pt x="8" y="218"/>
                        <a:pt x="8" y="218"/>
                        <a:pt x="8" y="218"/>
                      </a:cubicBezTo>
                      <a:cubicBezTo>
                        <a:pt x="7" y="219"/>
                        <a:pt x="7" y="219"/>
                        <a:pt x="7" y="219"/>
                      </a:cubicBezTo>
                      <a:cubicBezTo>
                        <a:pt x="9" y="223"/>
                        <a:pt x="9" y="223"/>
                        <a:pt x="9" y="223"/>
                      </a:cubicBezTo>
                      <a:cubicBezTo>
                        <a:pt x="11" y="224"/>
                        <a:pt x="11" y="224"/>
                        <a:pt x="11" y="224"/>
                      </a:cubicBezTo>
                      <a:cubicBezTo>
                        <a:pt x="14" y="226"/>
                        <a:pt x="14" y="226"/>
                        <a:pt x="14" y="226"/>
                      </a:cubicBezTo>
                      <a:cubicBezTo>
                        <a:pt x="18" y="227"/>
                        <a:pt x="18" y="227"/>
                        <a:pt x="18" y="227"/>
                      </a:cubicBezTo>
                      <a:cubicBezTo>
                        <a:pt x="18" y="228"/>
                        <a:pt x="18" y="228"/>
                        <a:pt x="18" y="228"/>
                      </a:cubicBezTo>
                      <a:cubicBezTo>
                        <a:pt x="17" y="229"/>
                        <a:pt x="17" y="229"/>
                        <a:pt x="17" y="229"/>
                      </a:cubicBezTo>
                      <a:cubicBezTo>
                        <a:pt x="19" y="230"/>
                        <a:pt x="19" y="230"/>
                        <a:pt x="19" y="230"/>
                      </a:cubicBezTo>
                      <a:cubicBezTo>
                        <a:pt x="20" y="230"/>
                        <a:pt x="20" y="230"/>
                        <a:pt x="20" y="230"/>
                      </a:cubicBezTo>
                      <a:cubicBezTo>
                        <a:pt x="19" y="228"/>
                        <a:pt x="19" y="228"/>
                        <a:pt x="19" y="228"/>
                      </a:cubicBezTo>
                      <a:cubicBezTo>
                        <a:pt x="20" y="228"/>
                        <a:pt x="20" y="228"/>
                        <a:pt x="20" y="228"/>
                      </a:cubicBezTo>
                      <a:cubicBezTo>
                        <a:pt x="22" y="229"/>
                        <a:pt x="22" y="229"/>
                        <a:pt x="22" y="229"/>
                      </a:cubicBezTo>
                      <a:cubicBezTo>
                        <a:pt x="21" y="229"/>
                        <a:pt x="21" y="229"/>
                        <a:pt x="21" y="229"/>
                      </a:cubicBezTo>
                      <a:cubicBezTo>
                        <a:pt x="23" y="232"/>
                        <a:pt x="23" y="232"/>
                        <a:pt x="23" y="232"/>
                      </a:cubicBezTo>
                      <a:cubicBezTo>
                        <a:pt x="24" y="231"/>
                        <a:pt x="24" y="231"/>
                        <a:pt x="24" y="231"/>
                      </a:cubicBezTo>
                      <a:cubicBezTo>
                        <a:pt x="25" y="231"/>
                        <a:pt x="25" y="231"/>
                        <a:pt x="25" y="231"/>
                      </a:cubicBezTo>
                      <a:cubicBezTo>
                        <a:pt x="27" y="230"/>
                        <a:pt x="27" y="230"/>
                        <a:pt x="27" y="230"/>
                      </a:cubicBezTo>
                      <a:cubicBezTo>
                        <a:pt x="29" y="228"/>
                        <a:pt x="29" y="228"/>
                        <a:pt x="29" y="228"/>
                      </a:cubicBezTo>
                      <a:cubicBezTo>
                        <a:pt x="30" y="228"/>
                        <a:pt x="30" y="228"/>
                        <a:pt x="30" y="228"/>
                      </a:cubicBezTo>
                      <a:cubicBezTo>
                        <a:pt x="30" y="227"/>
                        <a:pt x="30" y="227"/>
                        <a:pt x="30" y="227"/>
                      </a:cubicBezTo>
                      <a:cubicBezTo>
                        <a:pt x="31" y="227"/>
                        <a:pt x="31" y="227"/>
                        <a:pt x="31" y="227"/>
                      </a:cubicBezTo>
                      <a:cubicBezTo>
                        <a:pt x="31" y="229"/>
                        <a:pt x="31" y="229"/>
                        <a:pt x="31" y="229"/>
                      </a:cubicBezTo>
                      <a:cubicBezTo>
                        <a:pt x="32" y="229"/>
                        <a:pt x="32" y="229"/>
                        <a:pt x="32" y="229"/>
                      </a:cubicBezTo>
                      <a:cubicBezTo>
                        <a:pt x="36" y="225"/>
                        <a:pt x="36" y="225"/>
                        <a:pt x="36" y="225"/>
                      </a:cubicBezTo>
                      <a:cubicBezTo>
                        <a:pt x="36" y="224"/>
                        <a:pt x="36" y="224"/>
                        <a:pt x="36" y="224"/>
                      </a:cubicBezTo>
                      <a:cubicBezTo>
                        <a:pt x="34" y="222"/>
                        <a:pt x="34" y="222"/>
                        <a:pt x="34" y="222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9" y="222"/>
                        <a:pt x="39" y="222"/>
                        <a:pt x="39" y="222"/>
                      </a:cubicBezTo>
                      <a:cubicBezTo>
                        <a:pt x="38" y="221"/>
                        <a:pt x="38" y="221"/>
                        <a:pt x="38" y="221"/>
                      </a:cubicBezTo>
                      <a:cubicBezTo>
                        <a:pt x="39" y="220"/>
                        <a:pt x="39" y="220"/>
                        <a:pt x="39" y="220"/>
                      </a:cubicBezTo>
                      <a:cubicBezTo>
                        <a:pt x="39" y="219"/>
                        <a:pt x="39" y="219"/>
                        <a:pt x="39" y="219"/>
                      </a:cubicBezTo>
                      <a:cubicBezTo>
                        <a:pt x="41" y="218"/>
                        <a:pt x="41" y="218"/>
                        <a:pt x="41" y="218"/>
                      </a:cubicBezTo>
                      <a:cubicBezTo>
                        <a:pt x="42" y="218"/>
                        <a:pt x="42" y="218"/>
                        <a:pt x="42" y="218"/>
                      </a:cubicBezTo>
                      <a:cubicBezTo>
                        <a:pt x="43" y="216"/>
                        <a:pt x="43" y="216"/>
                        <a:pt x="43" y="216"/>
                      </a:cubicBezTo>
                      <a:cubicBezTo>
                        <a:pt x="41" y="214"/>
                        <a:pt x="41" y="214"/>
                        <a:pt x="41" y="214"/>
                      </a:cubicBezTo>
                      <a:cubicBezTo>
                        <a:pt x="42" y="213"/>
                        <a:pt x="42" y="213"/>
                        <a:pt x="42" y="213"/>
                      </a:cubicBezTo>
                      <a:cubicBezTo>
                        <a:pt x="40" y="211"/>
                        <a:pt x="40" y="211"/>
                        <a:pt x="40" y="211"/>
                      </a:cubicBezTo>
                      <a:cubicBezTo>
                        <a:pt x="39" y="210"/>
                        <a:pt x="39" y="210"/>
                        <a:pt x="39" y="210"/>
                      </a:cubicBezTo>
                      <a:cubicBezTo>
                        <a:pt x="39" y="208"/>
                        <a:pt x="39" y="208"/>
                        <a:pt x="39" y="208"/>
                      </a:cubicBezTo>
                      <a:cubicBezTo>
                        <a:pt x="40" y="209"/>
                        <a:pt x="40" y="209"/>
                        <a:pt x="40" y="209"/>
                      </a:cubicBez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42" y="214"/>
                        <a:pt x="42" y="214"/>
                        <a:pt x="42" y="214"/>
                      </a:cubicBezTo>
                      <a:cubicBezTo>
                        <a:pt x="43" y="215"/>
                        <a:pt x="43" y="215"/>
                        <a:pt x="43" y="215"/>
                      </a:cubicBezTo>
                      <a:cubicBezTo>
                        <a:pt x="44" y="215"/>
                        <a:pt x="44" y="215"/>
                        <a:pt x="44" y="215"/>
                      </a:cubicBezTo>
                      <a:cubicBezTo>
                        <a:pt x="44" y="216"/>
                        <a:pt x="44" y="216"/>
                        <a:pt x="44" y="216"/>
                      </a:cubicBezTo>
                      <a:cubicBezTo>
                        <a:pt x="45" y="217"/>
                        <a:pt x="45" y="217"/>
                        <a:pt x="45" y="217"/>
                      </a:cubicBezTo>
                      <a:cubicBezTo>
                        <a:pt x="47" y="216"/>
                        <a:pt x="47" y="216"/>
                        <a:pt x="47" y="216"/>
                      </a:cubicBezTo>
                      <a:cubicBezTo>
                        <a:pt x="46" y="215"/>
                        <a:pt x="46" y="215"/>
                        <a:pt x="46" y="215"/>
                      </a:cubicBezTo>
                      <a:cubicBezTo>
                        <a:pt x="45" y="214"/>
                        <a:pt x="45" y="214"/>
                        <a:pt x="45" y="214"/>
                      </a:cubicBezTo>
                      <a:cubicBezTo>
                        <a:pt x="46" y="213"/>
                        <a:pt x="46" y="213"/>
                        <a:pt x="46" y="213"/>
                      </a:cubicBezTo>
                      <a:cubicBezTo>
                        <a:pt x="47" y="215"/>
                        <a:pt x="47" y="215"/>
                        <a:pt x="47" y="215"/>
                      </a:cubicBezTo>
                      <a:cubicBezTo>
                        <a:pt x="48" y="215"/>
                        <a:pt x="48" y="215"/>
                        <a:pt x="48" y="215"/>
                      </a:cubicBezTo>
                      <a:cubicBezTo>
                        <a:pt x="50" y="213"/>
                        <a:pt x="50" y="213"/>
                        <a:pt x="50" y="213"/>
                      </a:cubicBezTo>
                      <a:cubicBezTo>
                        <a:pt x="51" y="211"/>
                        <a:pt x="51" y="211"/>
                        <a:pt x="51" y="211"/>
                      </a:cubicBezTo>
                      <a:cubicBezTo>
                        <a:pt x="50" y="209"/>
                        <a:pt x="50" y="209"/>
                        <a:pt x="50" y="209"/>
                      </a:cubicBezTo>
                      <a:cubicBezTo>
                        <a:pt x="49" y="208"/>
                        <a:pt x="49" y="208"/>
                        <a:pt x="49" y="208"/>
                      </a:cubicBezTo>
                      <a:cubicBezTo>
                        <a:pt x="48" y="207"/>
                        <a:pt x="48" y="207"/>
                        <a:pt x="48" y="207"/>
                      </a:cubicBezTo>
                      <a:cubicBezTo>
                        <a:pt x="49" y="207"/>
                        <a:pt x="49" y="207"/>
                        <a:pt x="49" y="207"/>
                      </a:cubicBezTo>
                      <a:cubicBezTo>
                        <a:pt x="49" y="206"/>
                        <a:pt x="49" y="206"/>
                        <a:pt x="49" y="206"/>
                      </a:cubicBezTo>
                      <a:cubicBezTo>
                        <a:pt x="50" y="206"/>
                        <a:pt x="50" y="206"/>
                        <a:pt x="50" y="206"/>
                      </a:cubicBezTo>
                      <a:cubicBezTo>
                        <a:pt x="51" y="205"/>
                        <a:pt x="51" y="205"/>
                        <a:pt x="51" y="205"/>
                      </a:cubicBezTo>
                      <a:cubicBezTo>
                        <a:pt x="50" y="204"/>
                        <a:pt x="50" y="204"/>
                        <a:pt x="50" y="204"/>
                      </a:cubicBezTo>
                      <a:cubicBezTo>
                        <a:pt x="50" y="202"/>
                        <a:pt x="50" y="202"/>
                        <a:pt x="50" y="202"/>
                      </a:cubicBezTo>
                      <a:cubicBezTo>
                        <a:pt x="51" y="201"/>
                        <a:pt x="51" y="201"/>
                        <a:pt x="51" y="201"/>
                      </a:cubicBezTo>
                      <a:cubicBezTo>
                        <a:pt x="53" y="202"/>
                        <a:pt x="53" y="202"/>
                        <a:pt x="53" y="202"/>
                      </a:cubicBezTo>
                      <a:cubicBezTo>
                        <a:pt x="52" y="204"/>
                        <a:pt x="52" y="204"/>
                        <a:pt x="52" y="204"/>
                      </a:cubicBezTo>
                      <a:cubicBezTo>
                        <a:pt x="52" y="206"/>
                        <a:pt x="52" y="206"/>
                        <a:pt x="52" y="206"/>
                      </a:cubicBezTo>
                      <a:cubicBezTo>
                        <a:pt x="52" y="208"/>
                        <a:pt x="52" y="208"/>
                        <a:pt x="52" y="208"/>
                      </a:cubicBezTo>
                      <a:cubicBezTo>
                        <a:pt x="53" y="210"/>
                        <a:pt x="53" y="210"/>
                        <a:pt x="53" y="210"/>
                      </a:cubicBezTo>
                      <a:cubicBezTo>
                        <a:pt x="53" y="211"/>
                        <a:pt x="53" y="211"/>
                        <a:pt x="53" y="211"/>
                      </a:cubicBezTo>
                      <a:cubicBezTo>
                        <a:pt x="55" y="213"/>
                        <a:pt x="55" y="213"/>
                        <a:pt x="55" y="213"/>
                      </a:cubicBezTo>
                      <a:cubicBezTo>
                        <a:pt x="57" y="213"/>
                        <a:pt x="57" y="213"/>
                        <a:pt x="57" y="213"/>
                      </a:cubicBezTo>
                      <a:cubicBezTo>
                        <a:pt x="58" y="214"/>
                        <a:pt x="58" y="214"/>
                        <a:pt x="58" y="214"/>
                      </a:cubicBezTo>
                      <a:cubicBezTo>
                        <a:pt x="58" y="214"/>
                        <a:pt x="58" y="214"/>
                        <a:pt x="58" y="214"/>
                      </a:cubicBezTo>
                      <a:cubicBezTo>
                        <a:pt x="59" y="215"/>
                        <a:pt x="59" y="215"/>
                        <a:pt x="59" y="215"/>
                      </a:cubicBezTo>
                      <a:cubicBezTo>
                        <a:pt x="60" y="217"/>
                        <a:pt x="60" y="217"/>
                        <a:pt x="60" y="217"/>
                      </a:cubicBezTo>
                      <a:cubicBezTo>
                        <a:pt x="61" y="215"/>
                        <a:pt x="61" y="215"/>
                        <a:pt x="61" y="215"/>
                      </a:cubicBezTo>
                      <a:cubicBezTo>
                        <a:pt x="61" y="209"/>
                        <a:pt x="61" y="209"/>
                        <a:pt x="61" y="209"/>
                      </a:cubicBezTo>
                      <a:cubicBezTo>
                        <a:pt x="59" y="207"/>
                        <a:pt x="59" y="207"/>
                        <a:pt x="59" y="207"/>
                      </a:cubicBezTo>
                      <a:cubicBezTo>
                        <a:pt x="60" y="205"/>
                        <a:pt x="60" y="205"/>
                        <a:pt x="60" y="205"/>
                      </a:cubicBezTo>
                      <a:cubicBezTo>
                        <a:pt x="61" y="204"/>
                        <a:pt x="61" y="204"/>
                        <a:pt x="61" y="204"/>
                      </a:cubicBezTo>
                      <a:cubicBezTo>
                        <a:pt x="60" y="202"/>
                        <a:pt x="60" y="202"/>
                        <a:pt x="60" y="202"/>
                      </a:cubicBezTo>
                      <a:cubicBezTo>
                        <a:pt x="61" y="201"/>
                        <a:pt x="61" y="201"/>
                        <a:pt x="61" y="201"/>
                      </a:cubicBezTo>
                      <a:cubicBezTo>
                        <a:pt x="64" y="201"/>
                        <a:pt x="64" y="201"/>
                        <a:pt x="64" y="201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65" y="197"/>
                        <a:pt x="65" y="197"/>
                        <a:pt x="65" y="197"/>
                      </a:cubicBezTo>
                      <a:cubicBezTo>
                        <a:pt x="66" y="194"/>
                        <a:pt x="66" y="194"/>
                        <a:pt x="66" y="194"/>
                      </a:cubicBezTo>
                      <a:cubicBezTo>
                        <a:pt x="65" y="192"/>
                        <a:pt x="65" y="192"/>
                        <a:pt x="65" y="192"/>
                      </a:cubicBezTo>
                      <a:cubicBezTo>
                        <a:pt x="64" y="188"/>
                        <a:pt x="64" y="188"/>
                        <a:pt x="64" y="188"/>
                      </a:cubicBezTo>
                      <a:cubicBezTo>
                        <a:pt x="62" y="184"/>
                        <a:pt x="62" y="184"/>
                        <a:pt x="62" y="184"/>
                      </a:cubicBezTo>
                      <a:cubicBezTo>
                        <a:pt x="62" y="182"/>
                        <a:pt x="62" y="182"/>
                        <a:pt x="62" y="182"/>
                      </a:cubicBezTo>
                      <a:cubicBezTo>
                        <a:pt x="67" y="181"/>
                        <a:pt x="67" y="181"/>
                        <a:pt x="67" y="181"/>
                      </a:cubicBezTo>
                      <a:cubicBezTo>
                        <a:pt x="67" y="178"/>
                        <a:pt x="67" y="178"/>
                        <a:pt x="67" y="178"/>
                      </a:cubicBezTo>
                      <a:cubicBezTo>
                        <a:pt x="68" y="175"/>
                        <a:pt x="68" y="175"/>
                        <a:pt x="68" y="175"/>
                      </a:cubicBezTo>
                      <a:cubicBezTo>
                        <a:pt x="64" y="172"/>
                        <a:pt x="64" y="172"/>
                        <a:pt x="64" y="172"/>
                      </a:cubicBezTo>
                      <a:cubicBezTo>
                        <a:pt x="61" y="170"/>
                        <a:pt x="61" y="170"/>
                        <a:pt x="61" y="170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2" y="163"/>
                        <a:pt x="62" y="163"/>
                        <a:pt x="62" y="163"/>
                      </a:cubicBezTo>
                      <a:cubicBezTo>
                        <a:pt x="61" y="159"/>
                        <a:pt x="61" y="159"/>
                        <a:pt x="61" y="159"/>
                      </a:cubicBezTo>
                      <a:cubicBezTo>
                        <a:pt x="60" y="156"/>
                        <a:pt x="60" y="156"/>
                        <a:pt x="60" y="156"/>
                      </a:cubicBezTo>
                      <a:cubicBezTo>
                        <a:pt x="61" y="153"/>
                        <a:pt x="61" y="153"/>
                        <a:pt x="61" y="153"/>
                      </a:cubicBezTo>
                      <a:cubicBezTo>
                        <a:pt x="61" y="148"/>
                        <a:pt x="61" y="148"/>
                        <a:pt x="61" y="148"/>
                      </a:cubicBezTo>
                      <a:cubicBezTo>
                        <a:pt x="60" y="143"/>
                        <a:pt x="60" y="143"/>
                        <a:pt x="60" y="143"/>
                      </a:cubicBezTo>
                      <a:cubicBezTo>
                        <a:pt x="60" y="138"/>
                        <a:pt x="60" y="138"/>
                        <a:pt x="60" y="138"/>
                      </a:cubicBezTo>
                      <a:cubicBezTo>
                        <a:pt x="63" y="134"/>
                        <a:pt x="63" y="134"/>
                        <a:pt x="63" y="134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67" y="134"/>
                        <a:pt x="67" y="134"/>
                        <a:pt x="67" y="134"/>
                      </a:cubicBezTo>
                      <a:cubicBezTo>
                        <a:pt x="71" y="134"/>
                        <a:pt x="71" y="134"/>
                        <a:pt x="71" y="134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72" y="128"/>
                        <a:pt x="72" y="128"/>
                        <a:pt x="72" y="128"/>
                      </a:cubicBezTo>
                      <a:cubicBezTo>
                        <a:pt x="71" y="126"/>
                        <a:pt x="71" y="126"/>
                        <a:pt x="71" y="126"/>
                      </a:cubicBezTo>
                      <a:cubicBezTo>
                        <a:pt x="71" y="124"/>
                        <a:pt x="71" y="124"/>
                        <a:pt x="71" y="124"/>
                      </a:cubicBezTo>
                      <a:cubicBezTo>
                        <a:pt x="74" y="116"/>
                        <a:pt x="74" y="116"/>
                        <a:pt x="74" y="116"/>
                      </a:cubicBezTo>
                      <a:cubicBezTo>
                        <a:pt x="75" y="111"/>
                        <a:pt x="75" y="111"/>
                        <a:pt x="75" y="111"/>
                      </a:cubicBezTo>
                      <a:cubicBezTo>
                        <a:pt x="76" y="107"/>
                        <a:pt x="76" y="107"/>
                        <a:pt x="76" y="107"/>
                      </a:cubicBezTo>
                      <a:cubicBezTo>
                        <a:pt x="77" y="104"/>
                        <a:pt x="77" y="104"/>
                        <a:pt x="77" y="104"/>
                      </a:cubicBezTo>
                      <a:cubicBezTo>
                        <a:pt x="76" y="101"/>
                        <a:pt x="76" y="101"/>
                        <a:pt x="76" y="101"/>
                      </a:cubicBezTo>
                      <a:cubicBezTo>
                        <a:pt x="75" y="100"/>
                        <a:pt x="75" y="100"/>
                        <a:pt x="75" y="100"/>
                      </a:cubicBezTo>
                      <a:cubicBezTo>
                        <a:pt x="75" y="98"/>
                        <a:pt x="75" y="98"/>
                        <a:pt x="75" y="98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81" y="95"/>
                        <a:pt x="81" y="95"/>
                        <a:pt x="81" y="95"/>
                      </a:cubicBezTo>
                      <a:cubicBezTo>
                        <a:pt x="83" y="94"/>
                        <a:pt x="83" y="94"/>
                        <a:pt x="83" y="94"/>
                      </a:cubicBezTo>
                      <a:cubicBezTo>
                        <a:pt x="83" y="92"/>
                        <a:pt x="83" y="92"/>
                        <a:pt x="83" y="92"/>
                      </a:cubicBezTo>
                      <a:cubicBezTo>
                        <a:pt x="86" y="87"/>
                        <a:pt x="86" y="87"/>
                        <a:pt x="86" y="87"/>
                      </a:cubicBezTo>
                      <a:cubicBezTo>
                        <a:pt x="89" y="83"/>
                        <a:pt x="89" y="83"/>
                        <a:pt x="89" y="83"/>
                      </a:cubicBezTo>
                      <a:cubicBezTo>
                        <a:pt x="89" y="81"/>
                        <a:pt x="89" y="81"/>
                        <a:pt x="89" y="81"/>
                      </a:cubicBezTo>
                      <a:cubicBezTo>
                        <a:pt x="88" y="78"/>
                        <a:pt x="88" y="78"/>
                        <a:pt x="88" y="78"/>
                      </a:cubicBezTo>
                      <a:cubicBezTo>
                        <a:pt x="87" y="77"/>
                        <a:pt x="87" y="77"/>
                        <a:pt x="87" y="77"/>
                      </a:cubicBezTo>
                      <a:cubicBezTo>
                        <a:pt x="87" y="72"/>
                        <a:pt x="87" y="72"/>
                        <a:pt x="87" y="72"/>
                      </a:cubicBezTo>
                      <a:cubicBezTo>
                        <a:pt x="88" y="71"/>
                        <a:pt x="88" y="71"/>
                        <a:pt x="88" y="7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67"/>
                        <a:pt x="90" y="67"/>
                        <a:pt x="90" y="67"/>
                      </a:cubicBezTo>
                      <a:cubicBezTo>
                        <a:pt x="92" y="67"/>
                        <a:pt x="92" y="67"/>
                        <a:pt x="92" y="67"/>
                      </a:cubicBezTo>
                      <a:cubicBezTo>
                        <a:pt x="93" y="63"/>
                        <a:pt x="93" y="63"/>
                        <a:pt x="93" y="63"/>
                      </a:cubicBezTo>
                      <a:cubicBezTo>
                        <a:pt x="95" y="62"/>
                        <a:pt x="95" y="62"/>
                        <a:pt x="95" y="62"/>
                      </a:cubicBezTo>
                      <a:cubicBezTo>
                        <a:pt x="97" y="63"/>
                        <a:pt x="97" y="63"/>
                        <a:pt x="97" y="63"/>
                      </a:cubicBezTo>
                      <a:cubicBezTo>
                        <a:pt x="98" y="64"/>
                        <a:pt x="98" y="64"/>
                        <a:pt x="98" y="64"/>
                      </a:cubicBezTo>
                      <a:cubicBezTo>
                        <a:pt x="99" y="64"/>
                        <a:pt x="99" y="64"/>
                        <a:pt x="99" y="64"/>
                      </a:cubicBezTo>
                      <a:cubicBezTo>
                        <a:pt x="101" y="62"/>
                        <a:pt x="101" y="62"/>
                        <a:pt x="101" y="62"/>
                      </a:cubicBezTo>
                      <a:cubicBezTo>
                        <a:pt x="100" y="60"/>
                        <a:pt x="100" y="60"/>
                        <a:pt x="100" y="60"/>
                      </a:cubicBezTo>
                      <a:cubicBezTo>
                        <a:pt x="101" y="59"/>
                        <a:pt x="101" y="59"/>
                        <a:pt x="101" y="59"/>
                      </a:cubicBezTo>
                      <a:cubicBezTo>
                        <a:pt x="101" y="58"/>
                        <a:pt x="101" y="58"/>
                        <a:pt x="101" y="58"/>
                      </a:cubicBezTo>
                      <a:cubicBezTo>
                        <a:pt x="101" y="57"/>
                        <a:pt x="101" y="57"/>
                        <a:pt x="101" y="57"/>
                      </a:cubicBezTo>
                      <a:cubicBezTo>
                        <a:pt x="100" y="55"/>
                        <a:pt x="100" y="55"/>
                        <a:pt x="100" y="55"/>
                      </a:cubicBezTo>
                      <a:cubicBezTo>
                        <a:pt x="101" y="54"/>
                        <a:pt x="101" y="54"/>
                        <a:pt x="101" y="54"/>
                      </a:cubicBezTo>
                      <a:cubicBezTo>
                        <a:pt x="103" y="54"/>
                        <a:pt x="103" y="54"/>
                        <a:pt x="103" y="54"/>
                      </a:cubicBezTo>
                      <a:cubicBezTo>
                        <a:pt x="106" y="53"/>
                        <a:pt x="106" y="53"/>
                        <a:pt x="106" y="53"/>
                      </a:cubicBezTo>
                      <a:cubicBezTo>
                        <a:pt x="109" y="54"/>
                        <a:pt x="109" y="54"/>
                        <a:pt x="109" y="54"/>
                      </a:cubicBezTo>
                      <a:cubicBezTo>
                        <a:pt x="111" y="55"/>
                        <a:pt x="111" y="55"/>
                        <a:pt x="111" y="55"/>
                      </a:cubicBezTo>
                      <a:cubicBezTo>
                        <a:pt x="113" y="55"/>
                        <a:pt x="113" y="55"/>
                        <a:pt x="113" y="55"/>
                      </a:cubicBezTo>
                      <a:cubicBezTo>
                        <a:pt x="114" y="56"/>
                        <a:pt x="114" y="56"/>
                        <a:pt x="114" y="56"/>
                      </a:cubicBezTo>
                      <a:cubicBezTo>
                        <a:pt x="115" y="56"/>
                        <a:pt x="115" y="56"/>
                        <a:pt x="115" y="56"/>
                      </a:cubicBezTo>
                      <a:cubicBezTo>
                        <a:pt x="116" y="57"/>
                        <a:pt x="116" y="57"/>
                        <a:pt x="116" y="57"/>
                      </a:cubicBezTo>
                      <a:cubicBezTo>
                        <a:pt x="116" y="54"/>
                        <a:pt x="116" y="54"/>
                        <a:pt x="116" y="54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5" y="49"/>
                        <a:pt x="115" y="49"/>
                        <a:pt x="115" y="49"/>
                      </a:cubicBezTo>
                      <a:cubicBezTo>
                        <a:pt x="117" y="49"/>
                        <a:pt x="117" y="49"/>
                        <a:pt x="117" y="49"/>
                      </a:cubicBezTo>
                      <a:cubicBezTo>
                        <a:pt x="116" y="47"/>
                        <a:pt x="116" y="47"/>
                        <a:pt x="116" y="47"/>
                      </a:cubicBezTo>
                      <a:cubicBezTo>
                        <a:pt x="115" y="46"/>
                        <a:pt x="115" y="46"/>
                        <a:pt x="115" y="46"/>
                      </a:cubicBezTo>
                      <a:cubicBezTo>
                        <a:pt x="115" y="44"/>
                        <a:pt x="115" y="44"/>
                        <a:pt x="115" y="44"/>
                      </a:cubicBezTo>
                      <a:cubicBezTo>
                        <a:pt x="117" y="44"/>
                        <a:pt x="117" y="44"/>
                        <a:pt x="117" y="44"/>
                      </a:cubicBezTo>
                      <a:cubicBezTo>
                        <a:pt x="119" y="44"/>
                        <a:pt x="119" y="44"/>
                        <a:pt x="119" y="44"/>
                      </a:cubicBezTo>
                      <a:cubicBezTo>
                        <a:pt x="120" y="44"/>
                        <a:pt x="120" y="44"/>
                        <a:pt x="120" y="44"/>
                      </a:cubicBezTo>
                      <a:cubicBezTo>
                        <a:pt x="120" y="44"/>
                        <a:pt x="120" y="44"/>
                        <a:pt x="120" y="44"/>
                      </a:cubicBezTo>
                      <a:cubicBezTo>
                        <a:pt x="120" y="43"/>
                        <a:pt x="120" y="43"/>
                        <a:pt x="120" y="43"/>
                      </a:cubicBezTo>
                      <a:cubicBezTo>
                        <a:pt x="121" y="43"/>
                        <a:pt x="121" y="43"/>
                        <a:pt x="121" y="43"/>
                      </a:cubicBezTo>
                      <a:cubicBezTo>
                        <a:pt x="122" y="43"/>
                        <a:pt x="122" y="43"/>
                        <a:pt x="122" y="43"/>
                      </a:cubicBezTo>
                      <a:cubicBezTo>
                        <a:pt x="121" y="42"/>
                        <a:pt x="121" y="42"/>
                        <a:pt x="121" y="42"/>
                      </a:cubicBezTo>
                      <a:cubicBezTo>
                        <a:pt x="121" y="40"/>
                        <a:pt x="121" y="40"/>
                        <a:pt x="121" y="40"/>
                      </a:cubicBezTo>
                      <a:cubicBezTo>
                        <a:pt x="123" y="39"/>
                        <a:pt x="123" y="39"/>
                        <a:pt x="123" y="39"/>
                      </a:cubicBezTo>
                      <a:cubicBezTo>
                        <a:pt x="125" y="39"/>
                        <a:pt x="125" y="39"/>
                        <a:pt x="125" y="39"/>
                      </a:cubicBezTo>
                      <a:cubicBezTo>
                        <a:pt x="126" y="41"/>
                        <a:pt x="126" y="41"/>
                        <a:pt x="126" y="41"/>
                      </a:cubicBezTo>
                      <a:cubicBezTo>
                        <a:pt x="130" y="45"/>
                        <a:pt x="130" y="45"/>
                        <a:pt x="130" y="45"/>
                      </a:cubicBezTo>
                      <a:cubicBezTo>
                        <a:pt x="131" y="47"/>
                        <a:pt x="131" y="47"/>
                        <a:pt x="131" y="47"/>
                      </a:cubicBezTo>
                      <a:cubicBezTo>
                        <a:pt x="132" y="49"/>
                        <a:pt x="132" y="49"/>
                        <a:pt x="132" y="49"/>
                      </a:cubicBezTo>
                      <a:cubicBezTo>
                        <a:pt x="135" y="50"/>
                        <a:pt x="135" y="50"/>
                        <a:pt x="135" y="50"/>
                      </a:cubicBezTo>
                      <a:cubicBezTo>
                        <a:pt x="140" y="50"/>
                        <a:pt x="140" y="50"/>
                        <a:pt x="140" y="50"/>
                      </a:cubicBezTo>
                      <a:cubicBezTo>
                        <a:pt x="142" y="48"/>
                        <a:pt x="142" y="48"/>
                        <a:pt x="142" y="48"/>
                      </a:cubicBezTo>
                      <a:cubicBezTo>
                        <a:pt x="143" y="46"/>
                        <a:pt x="143" y="46"/>
                        <a:pt x="143" y="46"/>
                      </a:cubicBezTo>
                      <a:cubicBezTo>
                        <a:pt x="145" y="46"/>
                        <a:pt x="145" y="46"/>
                        <a:pt x="145" y="46"/>
                      </a:cubicBezTo>
                      <a:cubicBezTo>
                        <a:pt x="149" y="49"/>
                        <a:pt x="149" y="49"/>
                        <a:pt x="149" y="49"/>
                      </a:cubicBezTo>
                      <a:cubicBezTo>
                        <a:pt x="151" y="49"/>
                        <a:pt x="151" y="49"/>
                        <a:pt x="151" y="49"/>
                      </a:cubicBezTo>
                      <a:cubicBezTo>
                        <a:pt x="152" y="47"/>
                        <a:pt x="152" y="47"/>
                        <a:pt x="152" y="47"/>
                      </a:cubicBezTo>
                      <a:cubicBezTo>
                        <a:pt x="153" y="46"/>
                        <a:pt x="153" y="46"/>
                        <a:pt x="153" y="46"/>
                      </a:cubicBezTo>
                      <a:cubicBezTo>
                        <a:pt x="155" y="45"/>
                        <a:pt x="155" y="45"/>
                        <a:pt x="155" y="45"/>
                      </a:cubicBezTo>
                      <a:cubicBezTo>
                        <a:pt x="156" y="45"/>
                        <a:pt x="156" y="45"/>
                        <a:pt x="156" y="45"/>
                      </a:cubicBezTo>
                      <a:cubicBezTo>
                        <a:pt x="158" y="44"/>
                        <a:pt x="158" y="44"/>
                        <a:pt x="158" y="44"/>
                      </a:cubicBezTo>
                      <a:cubicBezTo>
                        <a:pt x="159" y="42"/>
                        <a:pt x="159" y="42"/>
                        <a:pt x="159" y="42"/>
                      </a:cubicBezTo>
                      <a:cubicBezTo>
                        <a:pt x="158" y="41"/>
                        <a:pt x="158" y="41"/>
                        <a:pt x="158" y="41"/>
                      </a:cubicBezTo>
                      <a:cubicBezTo>
                        <a:pt x="157" y="38"/>
                        <a:pt x="157" y="38"/>
                        <a:pt x="157" y="38"/>
                      </a:cubicBezTo>
                      <a:cubicBezTo>
                        <a:pt x="158" y="33"/>
                        <a:pt x="158" y="33"/>
                        <a:pt x="158" y="33"/>
                      </a:cubicBezTo>
                      <a:cubicBezTo>
                        <a:pt x="158" y="31"/>
                        <a:pt x="158" y="31"/>
                        <a:pt x="158" y="31"/>
                      </a:cubicBezTo>
                      <a:cubicBezTo>
                        <a:pt x="157" y="30"/>
                        <a:pt x="157" y="30"/>
                        <a:pt x="157" y="30"/>
                      </a:cubicBezTo>
                      <a:cubicBezTo>
                        <a:pt x="158" y="29"/>
                        <a:pt x="158" y="29"/>
                        <a:pt x="158" y="29"/>
                      </a:cubicBezTo>
                      <a:cubicBezTo>
                        <a:pt x="160" y="27"/>
                        <a:pt x="160" y="27"/>
                        <a:pt x="160" y="27"/>
                      </a:cubicBezTo>
                      <a:cubicBezTo>
                        <a:pt x="160" y="26"/>
                        <a:pt x="160" y="26"/>
                        <a:pt x="160" y="26"/>
                      </a:cubicBezTo>
                      <a:cubicBezTo>
                        <a:pt x="162" y="25"/>
                        <a:pt x="162" y="25"/>
                        <a:pt x="162" y="25"/>
                      </a:cubicBezTo>
                      <a:cubicBezTo>
                        <a:pt x="164" y="25"/>
                        <a:pt x="164" y="25"/>
                        <a:pt x="164" y="25"/>
                      </a:cubicBezTo>
                      <a:cubicBezTo>
                        <a:pt x="166" y="25"/>
                        <a:pt x="166" y="25"/>
                        <a:pt x="166" y="25"/>
                      </a:cubicBezTo>
                      <a:cubicBezTo>
                        <a:pt x="166" y="24"/>
                        <a:pt x="166" y="24"/>
                        <a:pt x="166" y="24"/>
                      </a:cubicBezTo>
                      <a:cubicBezTo>
                        <a:pt x="167" y="22"/>
                        <a:pt x="167" y="22"/>
                        <a:pt x="167" y="22"/>
                      </a:cubicBezTo>
                      <a:cubicBezTo>
                        <a:pt x="171" y="22"/>
                        <a:pt x="171" y="22"/>
                        <a:pt x="171" y="22"/>
                      </a:cubicBezTo>
                      <a:cubicBezTo>
                        <a:pt x="173" y="23"/>
                        <a:pt x="173" y="23"/>
                        <a:pt x="173" y="23"/>
                      </a:cubicBezTo>
                      <a:cubicBezTo>
                        <a:pt x="176" y="26"/>
                        <a:pt x="176" y="26"/>
                        <a:pt x="176" y="26"/>
                      </a:cubicBezTo>
                      <a:cubicBezTo>
                        <a:pt x="177" y="28"/>
                        <a:pt x="177" y="28"/>
                        <a:pt x="177" y="28"/>
                      </a:cubicBezTo>
                      <a:cubicBezTo>
                        <a:pt x="179" y="29"/>
                        <a:pt x="179" y="29"/>
                        <a:pt x="179" y="29"/>
                      </a:cubicBezTo>
                      <a:cubicBezTo>
                        <a:pt x="182" y="29"/>
                        <a:pt x="182" y="29"/>
                        <a:pt x="182" y="29"/>
                      </a:cubicBezTo>
                      <a:cubicBezTo>
                        <a:pt x="183" y="31"/>
                        <a:pt x="183" y="31"/>
                        <a:pt x="183" y="31"/>
                      </a:cubicBezTo>
                      <a:cubicBezTo>
                        <a:pt x="185" y="33"/>
                        <a:pt x="185" y="33"/>
                        <a:pt x="185" y="33"/>
                      </a:cubicBezTo>
                      <a:cubicBezTo>
                        <a:pt x="184" y="35"/>
                        <a:pt x="184" y="35"/>
                        <a:pt x="184" y="35"/>
                      </a:cubicBezTo>
                      <a:cubicBezTo>
                        <a:pt x="183" y="37"/>
                        <a:pt x="183" y="37"/>
                        <a:pt x="183" y="37"/>
                      </a:cubicBezTo>
                      <a:cubicBezTo>
                        <a:pt x="183" y="41"/>
                        <a:pt x="183" y="41"/>
                        <a:pt x="183" y="41"/>
                      </a:cubicBezTo>
                      <a:close/>
                      <a:moveTo>
                        <a:pt x="9" y="213"/>
                      </a:moveTo>
                      <a:cubicBezTo>
                        <a:pt x="10" y="214"/>
                        <a:pt x="10" y="214"/>
                        <a:pt x="10" y="214"/>
                      </a:cubicBezTo>
                      <a:cubicBezTo>
                        <a:pt x="9" y="215"/>
                        <a:pt x="9" y="215"/>
                        <a:pt x="9" y="215"/>
                      </a:cubicBezTo>
                      <a:cubicBezTo>
                        <a:pt x="9" y="213"/>
                        <a:pt x="9" y="213"/>
                        <a:pt x="9" y="213"/>
                      </a:cubicBezTo>
                      <a:close/>
                      <a:moveTo>
                        <a:pt x="5" y="202"/>
                      </a:moveTo>
                      <a:cubicBezTo>
                        <a:pt x="4" y="202"/>
                        <a:pt x="6" y="202"/>
                        <a:pt x="6" y="202"/>
                      </a:cubicBezTo>
                      <a:cubicBezTo>
                        <a:pt x="7" y="203"/>
                        <a:pt x="7" y="203"/>
                        <a:pt x="7" y="203"/>
                      </a:cubicBezTo>
                      <a:cubicBezTo>
                        <a:pt x="6" y="204"/>
                        <a:pt x="6" y="204"/>
                        <a:pt x="6" y="204"/>
                      </a:cubicBezTo>
                      <a:cubicBezTo>
                        <a:pt x="5" y="202"/>
                        <a:pt x="5" y="202"/>
                        <a:pt x="5" y="202"/>
                      </a:cubicBezTo>
                      <a:close/>
                      <a:moveTo>
                        <a:pt x="8" y="198"/>
                      </a:moveTo>
                      <a:cubicBezTo>
                        <a:pt x="8" y="200"/>
                        <a:pt x="8" y="200"/>
                        <a:pt x="8" y="200"/>
                      </a:cubicBezTo>
                      <a:cubicBezTo>
                        <a:pt x="7" y="200"/>
                        <a:pt x="7" y="200"/>
                        <a:pt x="7" y="200"/>
                      </a:cubicBezTo>
                      <a:cubicBezTo>
                        <a:pt x="8" y="198"/>
                        <a:pt x="8" y="198"/>
                        <a:pt x="8" y="198"/>
                      </a:cubicBezTo>
                      <a:close/>
                      <a:moveTo>
                        <a:pt x="6" y="197"/>
                      </a:moveTo>
                      <a:cubicBezTo>
                        <a:pt x="6" y="199"/>
                        <a:pt x="6" y="199"/>
                        <a:pt x="6" y="199"/>
                      </a:cubicBezTo>
                      <a:cubicBezTo>
                        <a:pt x="4" y="199"/>
                        <a:pt x="4" y="199"/>
                        <a:pt x="4" y="199"/>
                      </a:cubicBezTo>
                      <a:cubicBezTo>
                        <a:pt x="6" y="197"/>
                        <a:pt x="6" y="197"/>
                        <a:pt x="6" y="197"/>
                      </a:cubicBezTo>
                      <a:close/>
                      <a:moveTo>
                        <a:pt x="3" y="190"/>
                      </a:moveTo>
                      <a:cubicBezTo>
                        <a:pt x="1" y="189"/>
                        <a:pt x="1" y="189"/>
                        <a:pt x="1" y="189"/>
                      </a:cubicBezTo>
                      <a:cubicBezTo>
                        <a:pt x="3" y="188"/>
                        <a:pt x="3" y="188"/>
                        <a:pt x="3" y="188"/>
                      </a:cubicBezTo>
                      <a:cubicBezTo>
                        <a:pt x="3" y="188"/>
                        <a:pt x="3" y="190"/>
                        <a:pt x="3" y="190"/>
                      </a:cubicBezTo>
                      <a:close/>
                      <a:moveTo>
                        <a:pt x="2" y="191"/>
                      </a:moveTo>
                      <a:cubicBezTo>
                        <a:pt x="4" y="191"/>
                        <a:pt x="4" y="191"/>
                        <a:pt x="4" y="191"/>
                      </a:cubicBezTo>
                      <a:cubicBezTo>
                        <a:pt x="3" y="192"/>
                        <a:pt x="3" y="192"/>
                        <a:pt x="3" y="192"/>
                      </a:cubicBezTo>
                      <a:cubicBezTo>
                        <a:pt x="2" y="191"/>
                        <a:pt x="2" y="191"/>
                        <a:pt x="2" y="191"/>
                      </a:cubicBezTo>
                      <a:close/>
                      <a:moveTo>
                        <a:pt x="6" y="193"/>
                      </a:moveTo>
                      <a:cubicBezTo>
                        <a:pt x="6" y="193"/>
                        <a:pt x="7" y="195"/>
                        <a:pt x="7" y="195"/>
                      </a:cubicBezTo>
                      <a:cubicBezTo>
                        <a:pt x="7" y="197"/>
                        <a:pt x="7" y="197"/>
                        <a:pt x="7" y="197"/>
                      </a:cubicBezTo>
                      <a:cubicBezTo>
                        <a:pt x="6" y="193"/>
                        <a:pt x="6" y="193"/>
                        <a:pt x="6" y="193"/>
                      </a:cubicBezTo>
                      <a:close/>
                      <a:moveTo>
                        <a:pt x="3" y="196"/>
                      </a:moveTo>
                      <a:cubicBezTo>
                        <a:pt x="2" y="194"/>
                        <a:pt x="2" y="194"/>
                        <a:pt x="2" y="194"/>
                      </a:cubicBezTo>
                      <a:cubicBezTo>
                        <a:pt x="4" y="194"/>
                        <a:pt x="4" y="194"/>
                        <a:pt x="4" y="194"/>
                      </a:cubicBezTo>
                      <a:cubicBezTo>
                        <a:pt x="3" y="196"/>
                        <a:pt x="3" y="196"/>
                        <a:pt x="3" y="196"/>
                      </a:cubicBezTo>
                      <a:close/>
                      <a:moveTo>
                        <a:pt x="2" y="184"/>
                      </a:moveTo>
                      <a:cubicBezTo>
                        <a:pt x="0" y="186"/>
                        <a:pt x="0" y="186"/>
                        <a:pt x="0" y="186"/>
                      </a:cubicBezTo>
                      <a:cubicBezTo>
                        <a:pt x="1" y="186"/>
                        <a:pt x="1" y="186"/>
                        <a:pt x="1" y="186"/>
                      </a:cubicBezTo>
                      <a:cubicBezTo>
                        <a:pt x="2" y="185"/>
                        <a:pt x="2" y="185"/>
                        <a:pt x="2" y="185"/>
                      </a:cubicBezTo>
                      <a:cubicBezTo>
                        <a:pt x="2" y="184"/>
                        <a:pt x="2" y="184"/>
                        <a:pt x="2" y="184"/>
                      </a:cubicBezTo>
                      <a:close/>
                      <a:moveTo>
                        <a:pt x="1" y="170"/>
                      </a:moveTo>
                      <a:cubicBezTo>
                        <a:pt x="3" y="171"/>
                        <a:pt x="3" y="171"/>
                        <a:pt x="3" y="171"/>
                      </a:cubicBezTo>
                      <a:cubicBezTo>
                        <a:pt x="2" y="172"/>
                        <a:pt x="2" y="172"/>
                        <a:pt x="2" y="172"/>
                      </a:cubicBezTo>
                      <a:cubicBezTo>
                        <a:pt x="1" y="170"/>
                        <a:pt x="1" y="170"/>
                        <a:pt x="1" y="170"/>
                      </a:cubicBezTo>
                      <a:close/>
                      <a:moveTo>
                        <a:pt x="2" y="167"/>
                      </a:moveTo>
                      <a:cubicBezTo>
                        <a:pt x="4" y="168"/>
                        <a:pt x="4" y="168"/>
                        <a:pt x="4" y="168"/>
                      </a:cubicBezTo>
                      <a:cubicBezTo>
                        <a:pt x="3" y="169"/>
                        <a:pt x="3" y="169"/>
                        <a:pt x="3" y="169"/>
                      </a:cubicBezTo>
                      <a:cubicBezTo>
                        <a:pt x="2" y="167"/>
                        <a:pt x="2" y="167"/>
                        <a:pt x="2" y="167"/>
                      </a:cubicBezTo>
                      <a:close/>
                      <a:moveTo>
                        <a:pt x="7" y="163"/>
                      </a:moveTo>
                      <a:cubicBezTo>
                        <a:pt x="8" y="165"/>
                        <a:pt x="8" y="165"/>
                        <a:pt x="8" y="165"/>
                      </a:cubicBezTo>
                      <a:cubicBezTo>
                        <a:pt x="6" y="165"/>
                        <a:pt x="6" y="165"/>
                        <a:pt x="6" y="165"/>
                      </a:cubicBezTo>
                      <a:cubicBezTo>
                        <a:pt x="7" y="163"/>
                        <a:pt x="7" y="163"/>
                        <a:pt x="7" y="163"/>
                      </a:cubicBezTo>
                      <a:close/>
                      <a:moveTo>
                        <a:pt x="9" y="162"/>
                      </a:moveTo>
                      <a:cubicBezTo>
                        <a:pt x="10" y="162"/>
                        <a:pt x="10" y="162"/>
                        <a:pt x="10" y="162"/>
                      </a:cubicBezTo>
                      <a:cubicBezTo>
                        <a:pt x="11" y="163"/>
                        <a:pt x="11" y="163"/>
                        <a:pt x="11" y="163"/>
                      </a:cubicBezTo>
                      <a:cubicBezTo>
                        <a:pt x="9" y="165"/>
                        <a:pt x="9" y="165"/>
                        <a:pt x="9" y="165"/>
                      </a:cubicBezTo>
                      <a:cubicBezTo>
                        <a:pt x="9" y="162"/>
                        <a:pt x="9" y="162"/>
                        <a:pt x="9" y="162"/>
                      </a:cubicBezTo>
                      <a:close/>
                      <a:moveTo>
                        <a:pt x="26" y="149"/>
                      </a:moveTo>
                      <a:cubicBezTo>
                        <a:pt x="26" y="149"/>
                        <a:pt x="28" y="148"/>
                        <a:pt x="28" y="148"/>
                      </a:cubicBezTo>
                      <a:cubicBezTo>
                        <a:pt x="28" y="150"/>
                        <a:pt x="28" y="150"/>
                        <a:pt x="28" y="150"/>
                      </a:cubicBezTo>
                      <a:cubicBezTo>
                        <a:pt x="27" y="151"/>
                        <a:pt x="27" y="151"/>
                        <a:pt x="27" y="151"/>
                      </a:cubicBezTo>
                      <a:cubicBezTo>
                        <a:pt x="26" y="149"/>
                        <a:pt x="26" y="149"/>
                        <a:pt x="26" y="149"/>
                      </a:cubicBezTo>
                      <a:close/>
                      <a:moveTo>
                        <a:pt x="27" y="146"/>
                      </a:moveTo>
                      <a:cubicBezTo>
                        <a:pt x="27" y="146"/>
                        <a:pt x="26" y="147"/>
                        <a:pt x="26" y="147"/>
                      </a:cubicBezTo>
                      <a:cubicBezTo>
                        <a:pt x="24" y="145"/>
                        <a:pt x="24" y="145"/>
                        <a:pt x="24" y="145"/>
                      </a:cubicBezTo>
                      <a:cubicBezTo>
                        <a:pt x="26" y="145"/>
                        <a:pt x="26" y="145"/>
                        <a:pt x="26" y="145"/>
                      </a:cubicBezTo>
                      <a:cubicBezTo>
                        <a:pt x="27" y="146"/>
                        <a:pt x="27" y="146"/>
                        <a:pt x="27" y="146"/>
                      </a:cubicBezTo>
                      <a:close/>
                      <a:moveTo>
                        <a:pt x="29" y="142"/>
                      </a:moveTo>
                      <a:cubicBezTo>
                        <a:pt x="32" y="139"/>
                        <a:pt x="32" y="139"/>
                        <a:pt x="32" y="139"/>
                      </a:cubicBezTo>
                      <a:cubicBezTo>
                        <a:pt x="33" y="141"/>
                        <a:pt x="33" y="141"/>
                        <a:pt x="33" y="141"/>
                      </a:cubicBezTo>
                      <a:cubicBezTo>
                        <a:pt x="31" y="142"/>
                        <a:pt x="31" y="142"/>
                        <a:pt x="31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lose/>
                      <a:moveTo>
                        <a:pt x="29" y="146"/>
                      </a:moveTo>
                      <a:cubicBezTo>
                        <a:pt x="30" y="144"/>
                        <a:pt x="30" y="144"/>
                        <a:pt x="30" y="144"/>
                      </a:cubicBezTo>
                      <a:cubicBezTo>
                        <a:pt x="32" y="144"/>
                        <a:pt x="32" y="144"/>
                        <a:pt x="32" y="144"/>
                      </a:cubicBezTo>
                      <a:cubicBezTo>
                        <a:pt x="33" y="142"/>
                        <a:pt x="33" y="142"/>
                        <a:pt x="33" y="142"/>
                      </a:cubicBezTo>
                      <a:cubicBezTo>
                        <a:pt x="34" y="142"/>
                        <a:pt x="34" y="142"/>
                        <a:pt x="34" y="142"/>
                      </a:cubicBezTo>
                      <a:cubicBezTo>
                        <a:pt x="35" y="144"/>
                        <a:pt x="35" y="144"/>
                        <a:pt x="35" y="144"/>
                      </a:cubicBezTo>
                      <a:cubicBezTo>
                        <a:pt x="34" y="145"/>
                        <a:pt x="34" y="145"/>
                        <a:pt x="34" y="145"/>
                      </a:cubicBezTo>
                      <a:cubicBezTo>
                        <a:pt x="32" y="145"/>
                        <a:pt x="32" y="145"/>
                        <a:pt x="32" y="145"/>
                      </a:cubicBezTo>
                      <a:cubicBezTo>
                        <a:pt x="30" y="146"/>
                        <a:pt x="30" y="146"/>
                        <a:pt x="30" y="146"/>
                      </a:cubicBezTo>
                      <a:cubicBezTo>
                        <a:pt x="29" y="146"/>
                        <a:pt x="29" y="146"/>
                        <a:pt x="29" y="146"/>
                      </a:cubicBezTo>
                      <a:close/>
                      <a:moveTo>
                        <a:pt x="54" y="118"/>
                      </a:moveTo>
                      <a:cubicBezTo>
                        <a:pt x="55" y="116"/>
                        <a:pt x="55" y="116"/>
                        <a:pt x="55" y="116"/>
                      </a:cubicBezTo>
                      <a:cubicBezTo>
                        <a:pt x="57" y="116"/>
                        <a:pt x="57" y="116"/>
                        <a:pt x="57" y="116"/>
                      </a:cubicBezTo>
                      <a:cubicBezTo>
                        <a:pt x="55" y="118"/>
                        <a:pt x="55" y="118"/>
                        <a:pt x="55" y="118"/>
                      </a:cubicBezTo>
                      <a:cubicBezTo>
                        <a:pt x="54" y="118"/>
                        <a:pt x="54" y="118"/>
                        <a:pt x="54" y="118"/>
                      </a:cubicBezTo>
                      <a:close/>
                      <a:moveTo>
                        <a:pt x="52" y="122"/>
                      </a:moveTo>
                      <a:cubicBezTo>
                        <a:pt x="51" y="121"/>
                        <a:pt x="51" y="121"/>
                        <a:pt x="51" y="121"/>
                      </a:cubicBezTo>
                      <a:cubicBezTo>
                        <a:pt x="50" y="121"/>
                        <a:pt x="50" y="121"/>
                        <a:pt x="50" y="121"/>
                      </a:cubicBezTo>
                      <a:cubicBezTo>
                        <a:pt x="51" y="120"/>
                        <a:pt x="51" y="120"/>
                        <a:pt x="51" y="120"/>
                      </a:cubicBezTo>
                      <a:cubicBezTo>
                        <a:pt x="54" y="119"/>
                        <a:pt x="54" y="119"/>
                        <a:pt x="54" y="119"/>
                      </a:cubicBezTo>
                      <a:cubicBezTo>
                        <a:pt x="55" y="119"/>
                        <a:pt x="55" y="119"/>
                        <a:pt x="55" y="119"/>
                      </a:cubicBezTo>
                      <a:cubicBezTo>
                        <a:pt x="53" y="122"/>
                        <a:pt x="53" y="122"/>
                        <a:pt x="53" y="122"/>
                      </a:cubicBezTo>
                      <a:cubicBezTo>
                        <a:pt x="52" y="122"/>
                        <a:pt x="52" y="122"/>
                        <a:pt x="52" y="122"/>
                      </a:cubicBezTo>
                      <a:close/>
                      <a:moveTo>
                        <a:pt x="57" y="106"/>
                      </a:moveTo>
                      <a:cubicBezTo>
                        <a:pt x="58" y="106"/>
                        <a:pt x="58" y="106"/>
                        <a:pt x="58" y="106"/>
                      </a:cubicBezTo>
                      <a:cubicBezTo>
                        <a:pt x="58" y="108"/>
                        <a:pt x="58" y="108"/>
                        <a:pt x="58" y="108"/>
                      </a:cubicBezTo>
                      <a:cubicBezTo>
                        <a:pt x="57" y="108"/>
                        <a:pt x="57" y="108"/>
                        <a:pt x="57" y="108"/>
                      </a:cubicBezTo>
                      <a:cubicBezTo>
                        <a:pt x="56" y="107"/>
                        <a:pt x="56" y="107"/>
                        <a:pt x="56" y="107"/>
                      </a:cubicBezTo>
                      <a:cubicBezTo>
                        <a:pt x="57" y="106"/>
                        <a:pt x="57" y="106"/>
                        <a:pt x="57" y="106"/>
                      </a:cubicBezTo>
                      <a:close/>
                      <a:moveTo>
                        <a:pt x="61" y="102"/>
                      </a:moveTo>
                      <a:cubicBezTo>
                        <a:pt x="61" y="101"/>
                        <a:pt x="61" y="101"/>
                        <a:pt x="61" y="101"/>
                      </a:cubicBezTo>
                      <a:cubicBezTo>
                        <a:pt x="63" y="101"/>
                        <a:pt x="63" y="101"/>
                        <a:pt x="63" y="101"/>
                      </a:cubicBezTo>
                      <a:cubicBezTo>
                        <a:pt x="61" y="103"/>
                        <a:pt x="61" y="103"/>
                        <a:pt x="61" y="103"/>
                      </a:cubicBezTo>
                      <a:cubicBezTo>
                        <a:pt x="61" y="102"/>
                        <a:pt x="61" y="102"/>
                        <a:pt x="61" y="102"/>
                      </a:cubicBezTo>
                      <a:close/>
                      <a:moveTo>
                        <a:pt x="59" y="99"/>
                      </a:moveTo>
                      <a:cubicBezTo>
                        <a:pt x="61" y="97"/>
                        <a:pt x="61" y="97"/>
                        <a:pt x="61" y="97"/>
                      </a:cubicBez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0" y="101"/>
                        <a:pt x="60" y="101"/>
                        <a:pt x="60" y="101"/>
                      </a:cubicBezTo>
                      <a:cubicBezTo>
                        <a:pt x="59" y="99"/>
                        <a:pt x="59" y="99"/>
                        <a:pt x="59" y="99"/>
                      </a:cubicBezTo>
                      <a:close/>
                      <a:moveTo>
                        <a:pt x="71" y="81"/>
                      </a:moveTo>
                      <a:cubicBezTo>
                        <a:pt x="72" y="80"/>
                        <a:pt x="72" y="80"/>
                        <a:pt x="72" y="80"/>
                      </a:cubicBez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72" y="82"/>
                        <a:pt x="72" y="82"/>
                        <a:pt x="72" y="82"/>
                      </a:cubicBezTo>
                      <a:cubicBezTo>
                        <a:pt x="71" y="81"/>
                        <a:pt x="71" y="81"/>
                        <a:pt x="71" y="81"/>
                      </a:cubicBezTo>
                      <a:close/>
                      <a:moveTo>
                        <a:pt x="60" y="71"/>
                      </a:moveTo>
                      <a:cubicBezTo>
                        <a:pt x="60" y="72"/>
                        <a:pt x="60" y="72"/>
                        <a:pt x="60" y="72"/>
                      </a:cubicBezTo>
                      <a:cubicBezTo>
                        <a:pt x="60" y="73"/>
                        <a:pt x="60" y="73"/>
                        <a:pt x="60" y="73"/>
                      </a:cubicBezTo>
                      <a:cubicBezTo>
                        <a:pt x="59" y="72"/>
                        <a:pt x="59" y="72"/>
                        <a:pt x="59" y="72"/>
                      </a:cubicBezTo>
                      <a:cubicBezTo>
                        <a:pt x="60" y="71"/>
                        <a:pt x="60" y="71"/>
                        <a:pt x="60" y="71"/>
                      </a:cubicBezTo>
                      <a:close/>
                      <a:moveTo>
                        <a:pt x="63" y="66"/>
                      </a:move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2" y="63"/>
                        <a:pt x="62" y="63"/>
                        <a:pt x="62" y="63"/>
                      </a:cubicBezTo>
                      <a:cubicBezTo>
                        <a:pt x="63" y="66"/>
                        <a:pt x="63" y="66"/>
                        <a:pt x="63" y="66"/>
                      </a:cubicBezTo>
                      <a:close/>
                      <a:moveTo>
                        <a:pt x="64" y="64"/>
                      </a:moveTo>
                      <a:cubicBezTo>
                        <a:pt x="64" y="63"/>
                        <a:pt x="64" y="63"/>
                        <a:pt x="64" y="63"/>
                      </a:cubicBezTo>
                      <a:cubicBezTo>
                        <a:pt x="64" y="62"/>
                        <a:pt x="64" y="62"/>
                        <a:pt x="64" y="6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4" y="64"/>
                        <a:pt x="64" y="64"/>
                        <a:pt x="64" y="64"/>
                      </a:cubicBezTo>
                      <a:close/>
                      <a:moveTo>
                        <a:pt x="70" y="60"/>
                      </a:moveTo>
                      <a:cubicBezTo>
                        <a:pt x="70" y="61"/>
                        <a:pt x="70" y="61"/>
                        <a:pt x="70" y="61"/>
                      </a:cubicBez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67" y="60"/>
                        <a:pt x="67" y="60"/>
                        <a:pt x="67" y="60"/>
                      </a:cubicBezTo>
                      <a:cubicBezTo>
                        <a:pt x="70" y="60"/>
                        <a:pt x="70" y="60"/>
                        <a:pt x="70" y="60"/>
                      </a:cubicBezTo>
                      <a:close/>
                      <a:moveTo>
                        <a:pt x="73" y="55"/>
                      </a:moveTo>
                      <a:cubicBezTo>
                        <a:pt x="74" y="54"/>
                        <a:pt x="74" y="54"/>
                        <a:pt x="74" y="54"/>
                      </a:cubicBezTo>
                      <a:cubicBezTo>
                        <a:pt x="76" y="55"/>
                        <a:pt x="76" y="55"/>
                        <a:pt x="76" y="55"/>
                      </a:cubicBezTo>
                      <a:cubicBezTo>
                        <a:pt x="73" y="55"/>
                        <a:pt x="73" y="55"/>
                        <a:pt x="73" y="55"/>
                      </a:cubicBezTo>
                      <a:close/>
                      <a:moveTo>
                        <a:pt x="76" y="56"/>
                      </a:move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3" y="59"/>
                        <a:pt x="73" y="59"/>
                        <a:pt x="73" y="59"/>
                      </a:cubicBezTo>
                      <a:cubicBezTo>
                        <a:pt x="71" y="61"/>
                        <a:pt x="71" y="61"/>
                        <a:pt x="71" y="61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6" y="56"/>
                        <a:pt x="76" y="56"/>
                        <a:pt x="76" y="56"/>
                      </a:cubicBezTo>
                      <a:close/>
                      <a:moveTo>
                        <a:pt x="77" y="46"/>
                      </a:moveTo>
                      <a:cubicBezTo>
                        <a:pt x="77" y="49"/>
                        <a:pt x="77" y="49"/>
                        <a:pt x="77" y="49"/>
                      </a:cubicBezTo>
                      <a:cubicBezTo>
                        <a:pt x="77" y="52"/>
                        <a:pt x="77" y="52"/>
                        <a:pt x="77" y="52"/>
                      </a:cubicBezTo>
                      <a:cubicBezTo>
                        <a:pt x="75" y="53"/>
                        <a:pt x="75" y="53"/>
                        <a:pt x="75" y="53"/>
                      </a:cubicBezTo>
                      <a:cubicBezTo>
                        <a:pt x="74" y="52"/>
                        <a:pt x="74" y="52"/>
                        <a:pt x="74" y="52"/>
                      </a:cubicBezTo>
                      <a:cubicBezTo>
                        <a:pt x="76" y="50"/>
                        <a:pt x="76" y="50"/>
                        <a:pt x="76" y="50"/>
                      </a:cubicBezTo>
                      <a:cubicBezTo>
                        <a:pt x="75" y="50"/>
                        <a:pt x="75" y="50"/>
                        <a:pt x="75" y="50"/>
                      </a:cubicBezTo>
                      <a:cubicBezTo>
                        <a:pt x="72" y="52"/>
                        <a:pt x="72" y="52"/>
                        <a:pt x="72" y="52"/>
                      </a:cubicBezTo>
                      <a:cubicBezTo>
                        <a:pt x="72" y="51"/>
                        <a:pt x="72" y="51"/>
                        <a:pt x="72" y="51"/>
                      </a:cubicBezTo>
                      <a:cubicBezTo>
                        <a:pt x="72" y="49"/>
                        <a:pt x="72" y="49"/>
                        <a:pt x="72" y="49"/>
                      </a:cubicBezTo>
                      <a:cubicBezTo>
                        <a:pt x="74" y="50"/>
                        <a:pt x="74" y="50"/>
                        <a:pt x="74" y="50"/>
                      </a:cubicBezTo>
                      <a:cubicBezTo>
                        <a:pt x="76" y="48"/>
                        <a:pt x="76" y="48"/>
                        <a:pt x="76" y="48"/>
                      </a:cubicBezTo>
                      <a:cubicBezTo>
                        <a:pt x="76" y="47"/>
                        <a:pt x="76" y="47"/>
                        <a:pt x="76" y="47"/>
                      </a:cubicBezTo>
                      <a:cubicBezTo>
                        <a:pt x="77" y="46"/>
                        <a:pt x="77" y="46"/>
                        <a:pt x="77" y="46"/>
                      </a:cubicBezTo>
                      <a:close/>
                      <a:moveTo>
                        <a:pt x="79" y="48"/>
                      </a:moveTo>
                      <a:cubicBezTo>
                        <a:pt x="78" y="47"/>
                        <a:pt x="78" y="47"/>
                        <a:pt x="78" y="47"/>
                      </a:cubicBezTo>
                      <a:cubicBezTo>
                        <a:pt x="78" y="44"/>
                        <a:pt x="78" y="44"/>
                        <a:pt x="78" y="44"/>
                      </a:cubicBezTo>
                      <a:cubicBezTo>
                        <a:pt x="81" y="42"/>
                        <a:pt x="81" y="42"/>
                        <a:pt x="81" y="42"/>
                      </a:cubicBezTo>
                      <a:cubicBezTo>
                        <a:pt x="81" y="40"/>
                        <a:pt x="81" y="40"/>
                        <a:pt x="81" y="40"/>
                      </a:cubicBezTo>
                      <a:cubicBezTo>
                        <a:pt x="83" y="39"/>
                        <a:pt x="83" y="39"/>
                        <a:pt x="83" y="39"/>
                      </a:cubicBezTo>
                      <a:cubicBezTo>
                        <a:pt x="84" y="41"/>
                        <a:pt x="84" y="41"/>
                        <a:pt x="84" y="41"/>
                      </a:cubicBezTo>
                      <a:cubicBezTo>
                        <a:pt x="82" y="42"/>
                        <a:pt x="82" y="42"/>
                        <a:pt x="82" y="42"/>
                      </a:cubicBezTo>
                      <a:cubicBezTo>
                        <a:pt x="81" y="44"/>
                        <a:pt x="81" y="44"/>
                        <a:pt x="81" y="44"/>
                      </a:cubicBezTo>
                      <a:cubicBezTo>
                        <a:pt x="79" y="48"/>
                        <a:pt x="79" y="48"/>
                        <a:pt x="79" y="48"/>
                      </a:cubicBezTo>
                      <a:close/>
                      <a:moveTo>
                        <a:pt x="85" y="49"/>
                      </a:moveTo>
                      <a:cubicBezTo>
                        <a:pt x="88" y="51"/>
                        <a:pt x="88" y="51"/>
                        <a:pt x="88" y="51"/>
                      </a:cubicBezTo>
                      <a:cubicBezTo>
                        <a:pt x="84" y="55"/>
                        <a:pt x="84" y="55"/>
                        <a:pt x="84" y="55"/>
                      </a:cubicBezTo>
                      <a:cubicBezTo>
                        <a:pt x="82" y="56"/>
                        <a:pt x="82" y="56"/>
                        <a:pt x="82" y="56"/>
                      </a:cubicBezTo>
                      <a:cubicBezTo>
                        <a:pt x="81" y="58"/>
                        <a:pt x="81" y="58"/>
                        <a:pt x="81" y="58"/>
                      </a:cubicBezTo>
                      <a:cubicBezTo>
                        <a:pt x="80" y="57"/>
                        <a:pt x="80" y="57"/>
                        <a:pt x="80" y="57"/>
                      </a:cubicBezTo>
                      <a:cubicBezTo>
                        <a:pt x="80" y="55"/>
                        <a:pt x="80" y="55"/>
                        <a:pt x="80" y="55"/>
                      </a:cubicBezTo>
                      <a:cubicBezTo>
                        <a:pt x="78" y="58"/>
                        <a:pt x="78" y="58"/>
                        <a:pt x="78" y="58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7" y="56"/>
                        <a:pt x="77" y="56"/>
                        <a:pt x="77" y="56"/>
                      </a:cubicBezTo>
                      <a:cubicBezTo>
                        <a:pt x="78" y="55"/>
                        <a:pt x="78" y="55"/>
                        <a:pt x="78" y="55"/>
                      </a:cubicBezTo>
                      <a:cubicBezTo>
                        <a:pt x="78" y="54"/>
                        <a:pt x="78" y="54"/>
                        <a:pt x="78" y="54"/>
                      </a:cubicBezTo>
                      <a:cubicBezTo>
                        <a:pt x="79" y="52"/>
                        <a:pt x="79" y="52"/>
                        <a:pt x="79" y="52"/>
                      </a:cubicBezTo>
                      <a:cubicBezTo>
                        <a:pt x="79" y="50"/>
                        <a:pt x="79" y="50"/>
                        <a:pt x="79" y="50"/>
                      </a:cubicBezTo>
                      <a:cubicBezTo>
                        <a:pt x="82" y="46"/>
                        <a:pt x="82" y="46"/>
                        <a:pt x="82" y="46"/>
                      </a:cubicBezTo>
                      <a:cubicBezTo>
                        <a:pt x="80" y="52"/>
                        <a:pt x="80" y="52"/>
                        <a:pt x="80" y="52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2" y="51"/>
                        <a:pt x="82" y="51"/>
                        <a:pt x="82" y="51"/>
                      </a:cubicBezTo>
                      <a:cubicBezTo>
                        <a:pt x="85" y="51"/>
                        <a:pt x="85" y="51"/>
                        <a:pt x="85" y="51"/>
                      </a:cubicBezTo>
                      <a:cubicBezTo>
                        <a:pt x="84" y="49"/>
                        <a:pt x="84" y="49"/>
                        <a:pt x="84" y="49"/>
                      </a:cubicBezTo>
                      <a:cubicBezTo>
                        <a:pt x="84" y="48"/>
                        <a:pt x="84" y="48"/>
                        <a:pt x="84" y="48"/>
                      </a:cubicBezTo>
                      <a:cubicBezTo>
                        <a:pt x="85" y="49"/>
                        <a:pt x="85" y="49"/>
                        <a:pt x="85" y="49"/>
                      </a:cubicBezTo>
                      <a:close/>
                      <a:moveTo>
                        <a:pt x="85" y="47"/>
                      </a:moveTo>
                      <a:cubicBezTo>
                        <a:pt x="84" y="46"/>
                        <a:pt x="84" y="46"/>
                        <a:pt x="84" y="46"/>
                      </a:cubicBezTo>
                      <a:cubicBezTo>
                        <a:pt x="86" y="45"/>
                        <a:pt x="86" y="45"/>
                        <a:pt x="86" y="45"/>
                      </a:cubicBezTo>
                      <a:cubicBezTo>
                        <a:pt x="88" y="46"/>
                        <a:pt x="88" y="46"/>
                        <a:pt x="88" y="46"/>
                      </a:cubicBezTo>
                      <a:cubicBezTo>
                        <a:pt x="88" y="48"/>
                        <a:pt x="88" y="48"/>
                        <a:pt x="88" y="48"/>
                      </a:cubicBezTo>
                      <a:cubicBezTo>
                        <a:pt x="85" y="47"/>
                        <a:pt x="85" y="47"/>
                        <a:pt x="85" y="47"/>
                      </a:cubicBezTo>
                      <a:close/>
                      <a:moveTo>
                        <a:pt x="90" y="49"/>
                      </a:moveTo>
                      <a:cubicBezTo>
                        <a:pt x="91" y="47"/>
                        <a:pt x="91" y="47"/>
                        <a:pt x="91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0" y="49"/>
                        <a:pt x="90" y="49"/>
                        <a:pt x="90" y="49"/>
                      </a:cubicBezTo>
                      <a:close/>
                      <a:moveTo>
                        <a:pt x="97" y="39"/>
                      </a:moveTo>
                      <a:cubicBezTo>
                        <a:pt x="96" y="40"/>
                        <a:pt x="96" y="40"/>
                        <a:pt x="96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5" y="42"/>
                        <a:pt x="95" y="42"/>
                        <a:pt x="95" y="42"/>
                      </a:cubicBezTo>
                      <a:cubicBezTo>
                        <a:pt x="94" y="43"/>
                        <a:pt x="94" y="43"/>
                        <a:pt x="94" y="43"/>
                      </a:cubicBezTo>
                      <a:cubicBezTo>
                        <a:pt x="92" y="43"/>
                        <a:pt x="92" y="43"/>
                        <a:pt x="92" y="43"/>
                      </a:cubicBezTo>
                      <a:cubicBezTo>
                        <a:pt x="91" y="45"/>
                        <a:pt x="91" y="45"/>
                        <a:pt x="91" y="45"/>
                      </a:cubicBezTo>
                      <a:cubicBezTo>
                        <a:pt x="90" y="45"/>
                        <a:pt x="90" y="45"/>
                        <a:pt x="90" y="45"/>
                      </a:cubicBezTo>
                      <a:cubicBezTo>
                        <a:pt x="90" y="44"/>
                        <a:pt x="90" y="44"/>
                        <a:pt x="90" y="44"/>
                      </a:cubicBezTo>
                      <a:cubicBezTo>
                        <a:pt x="89" y="43"/>
                        <a:pt x="89" y="43"/>
                        <a:pt x="89" y="43"/>
                      </a:cubicBezTo>
                      <a:cubicBezTo>
                        <a:pt x="90" y="41"/>
                        <a:pt x="90" y="41"/>
                        <a:pt x="90" y="41"/>
                      </a:cubicBezTo>
                      <a:cubicBezTo>
                        <a:pt x="88" y="41"/>
                        <a:pt x="88" y="41"/>
                        <a:pt x="88" y="41"/>
                      </a:cubicBezTo>
                      <a:cubicBezTo>
                        <a:pt x="89" y="39"/>
                        <a:pt x="89" y="39"/>
                        <a:pt x="89" y="39"/>
                      </a:cubicBezTo>
                      <a:cubicBezTo>
                        <a:pt x="92" y="39"/>
                        <a:pt x="92" y="39"/>
                        <a:pt x="92" y="39"/>
                      </a:cubicBezTo>
                      <a:cubicBezTo>
                        <a:pt x="90" y="37"/>
                        <a:pt x="90" y="37"/>
                        <a:pt x="90" y="37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2" y="36"/>
                        <a:pt x="92" y="36"/>
                        <a:pt x="92" y="36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95" y="35"/>
                        <a:pt x="95" y="35"/>
                        <a:pt x="95" y="35"/>
                      </a:cubicBezTo>
                      <a:cubicBezTo>
                        <a:pt x="95" y="36"/>
                        <a:pt x="95" y="36"/>
                        <a:pt x="95" y="36"/>
                      </a:cubicBezTo>
                      <a:cubicBezTo>
                        <a:pt x="96" y="37"/>
                        <a:pt x="96" y="37"/>
                        <a:pt x="96" y="37"/>
                      </a:cubicBezTo>
                      <a:cubicBezTo>
                        <a:pt x="97" y="39"/>
                        <a:pt x="97" y="39"/>
                        <a:pt x="97" y="39"/>
                      </a:cubicBezTo>
                      <a:close/>
                      <a:moveTo>
                        <a:pt x="97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100" y="31"/>
                        <a:pt x="100" y="31"/>
                        <a:pt x="100" y="31"/>
                      </a:cubicBezTo>
                      <a:cubicBezTo>
                        <a:pt x="102" y="31"/>
                        <a:pt x="102" y="31"/>
                        <a:pt x="102" y="31"/>
                      </a:cubicBezTo>
                      <a:cubicBezTo>
                        <a:pt x="103" y="30"/>
                        <a:pt x="103" y="30"/>
                        <a:pt x="103" y="30"/>
                      </a:cubicBezTo>
                      <a:cubicBezTo>
                        <a:pt x="104" y="32"/>
                        <a:pt x="104" y="32"/>
                        <a:pt x="104" y="32"/>
                      </a:cubicBezTo>
                      <a:cubicBezTo>
                        <a:pt x="103" y="33"/>
                        <a:pt x="103" y="33"/>
                        <a:pt x="103" y="33"/>
                      </a:cubicBezTo>
                      <a:cubicBezTo>
                        <a:pt x="103" y="35"/>
                        <a:pt x="103" y="35"/>
                        <a:pt x="103" y="35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99" y="36"/>
                        <a:pt x="99" y="36"/>
                        <a:pt x="99" y="36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lose/>
                      <a:moveTo>
                        <a:pt x="105" y="22"/>
                      </a:moveTo>
                      <a:cubicBezTo>
                        <a:pt x="104" y="21"/>
                        <a:pt x="104" y="21"/>
                        <a:pt x="104" y="21"/>
                      </a:cubicBezTo>
                      <a:cubicBezTo>
                        <a:pt x="106" y="20"/>
                        <a:pt x="106" y="20"/>
                        <a:pt x="106" y="20"/>
                      </a:cubicBezTo>
                      <a:cubicBezTo>
                        <a:pt x="105" y="22"/>
                        <a:pt x="105" y="22"/>
                        <a:pt x="105" y="22"/>
                      </a:cubicBezTo>
                      <a:close/>
                      <a:moveTo>
                        <a:pt x="101" y="26"/>
                      </a:moveTo>
                      <a:cubicBezTo>
                        <a:pt x="101" y="24"/>
                        <a:pt x="101" y="24"/>
                        <a:pt x="101" y="24"/>
                      </a:cubicBezTo>
                      <a:cubicBezTo>
                        <a:pt x="104" y="23"/>
                        <a:pt x="104" y="23"/>
                        <a:pt x="104" y="23"/>
                      </a:cubicBezTo>
                      <a:cubicBezTo>
                        <a:pt x="104" y="24"/>
                        <a:pt x="104" y="24"/>
                        <a:pt x="104" y="24"/>
                      </a:cubicBezTo>
                      <a:cubicBezTo>
                        <a:pt x="104" y="24"/>
                        <a:pt x="101" y="26"/>
                        <a:pt x="101" y="26"/>
                      </a:cubicBezTo>
                      <a:close/>
                      <a:moveTo>
                        <a:pt x="108" y="29"/>
                      </a:moveTo>
                      <a:cubicBezTo>
                        <a:pt x="108" y="27"/>
                        <a:pt x="108" y="27"/>
                        <a:pt x="108" y="27"/>
                      </a:cubicBezTo>
                      <a:cubicBezTo>
                        <a:pt x="109" y="29"/>
                        <a:pt x="109" y="29"/>
                        <a:pt x="109" y="29"/>
                      </a:cubicBezTo>
                      <a:cubicBezTo>
                        <a:pt x="108" y="29"/>
                        <a:pt x="108" y="29"/>
                        <a:pt x="108" y="29"/>
                      </a:cubicBezTo>
                      <a:close/>
                      <a:moveTo>
                        <a:pt x="107" y="29"/>
                      </a:moveTo>
                      <a:cubicBezTo>
                        <a:pt x="106" y="30"/>
                        <a:pt x="106" y="30"/>
                        <a:pt x="106" y="30"/>
                      </a:cubicBezTo>
                      <a:cubicBezTo>
                        <a:pt x="105" y="30"/>
                        <a:pt x="105" y="30"/>
                        <a:pt x="105" y="30"/>
                      </a:cubicBezTo>
                      <a:cubicBezTo>
                        <a:pt x="102" y="27"/>
                        <a:pt x="102" y="27"/>
                        <a:pt x="102" y="27"/>
                      </a:cubicBezTo>
                      <a:cubicBezTo>
                        <a:pt x="105" y="25"/>
                        <a:pt x="105" y="25"/>
                        <a:pt x="105" y="25"/>
                      </a:cubicBezTo>
                      <a:cubicBezTo>
                        <a:pt x="106" y="26"/>
                        <a:pt x="106" y="26"/>
                        <a:pt x="106" y="26"/>
                      </a:cubicBezTo>
                      <a:cubicBezTo>
                        <a:pt x="108" y="25"/>
                        <a:pt x="108" y="25"/>
                        <a:pt x="108" y="25"/>
                      </a:cubicBezTo>
                      <a:cubicBezTo>
                        <a:pt x="108" y="26"/>
                        <a:pt x="108" y="26"/>
                        <a:pt x="108" y="26"/>
                      </a:cubicBezTo>
                      <a:cubicBezTo>
                        <a:pt x="106" y="27"/>
                        <a:pt x="106" y="27"/>
                        <a:pt x="106" y="27"/>
                      </a:cubicBezTo>
                      <a:cubicBezTo>
                        <a:pt x="107" y="29"/>
                        <a:pt x="107" y="29"/>
                        <a:pt x="107" y="29"/>
                      </a:cubicBezTo>
                      <a:close/>
                      <a:moveTo>
                        <a:pt x="112" y="24"/>
                      </a:moveTo>
                      <a:cubicBezTo>
                        <a:pt x="111" y="25"/>
                        <a:pt x="111" y="25"/>
                        <a:pt x="111" y="25"/>
                      </a:cubicBezTo>
                      <a:cubicBezTo>
                        <a:pt x="109" y="24"/>
                        <a:pt x="109" y="24"/>
                        <a:pt x="109" y="24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08" y="20"/>
                        <a:pt x="108" y="20"/>
                        <a:pt x="108" y="20"/>
                      </a:cubicBezTo>
                      <a:cubicBezTo>
                        <a:pt x="109" y="19"/>
                        <a:pt x="109" y="19"/>
                        <a:pt x="109" y="19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11" y="23"/>
                        <a:pt x="111" y="23"/>
                        <a:pt x="111" y="23"/>
                      </a:cubicBezTo>
                      <a:cubicBezTo>
                        <a:pt x="112" y="24"/>
                        <a:pt x="112" y="24"/>
                        <a:pt x="112" y="24"/>
                      </a:cubicBezTo>
                      <a:close/>
                      <a:moveTo>
                        <a:pt x="117" y="27"/>
                      </a:moveTo>
                      <a:cubicBezTo>
                        <a:pt x="116" y="26"/>
                        <a:pt x="116" y="26"/>
                        <a:pt x="116" y="26"/>
                      </a:cubicBezTo>
                      <a:cubicBezTo>
                        <a:pt x="115" y="25"/>
                        <a:pt x="115" y="25"/>
                        <a:pt x="115" y="25"/>
                      </a:cubicBezTo>
                      <a:cubicBezTo>
                        <a:pt x="114" y="22"/>
                        <a:pt x="114" y="22"/>
                        <a:pt x="114" y="22"/>
                      </a:cubicBezTo>
                      <a:cubicBezTo>
                        <a:pt x="116" y="20"/>
                        <a:pt x="116" y="20"/>
                        <a:pt x="116" y="20"/>
                      </a:cubicBezTo>
                      <a:cubicBezTo>
                        <a:pt x="118" y="22"/>
                        <a:pt x="118" y="22"/>
                        <a:pt x="118" y="22"/>
                      </a:cubicBezTo>
                      <a:cubicBezTo>
                        <a:pt x="117" y="24"/>
                        <a:pt x="117" y="24"/>
                        <a:pt x="117" y="24"/>
                      </a:cubicBezTo>
                      <a:cubicBezTo>
                        <a:pt x="118" y="25"/>
                        <a:pt x="118" y="25"/>
                        <a:pt x="118" y="25"/>
                      </a:cubicBezTo>
                      <a:cubicBezTo>
                        <a:pt x="117" y="27"/>
                        <a:pt x="117" y="27"/>
                        <a:pt x="117" y="27"/>
                      </a:cubicBezTo>
                      <a:close/>
                      <a:moveTo>
                        <a:pt x="132" y="20"/>
                      </a:moveTo>
                      <a:cubicBezTo>
                        <a:pt x="130" y="19"/>
                        <a:pt x="130" y="19"/>
                        <a:pt x="130" y="19"/>
                      </a:cubicBezTo>
                      <a:cubicBezTo>
                        <a:pt x="128" y="18"/>
                        <a:pt x="128" y="18"/>
                        <a:pt x="128" y="18"/>
                      </a:cubicBezTo>
                      <a:cubicBezTo>
                        <a:pt x="129" y="17"/>
                        <a:pt x="129" y="17"/>
                        <a:pt x="129" y="17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2" y="18"/>
                        <a:pt x="132" y="18"/>
                        <a:pt x="132" y="18"/>
                      </a:cubicBezTo>
                      <a:cubicBezTo>
                        <a:pt x="132" y="20"/>
                        <a:pt x="132" y="20"/>
                        <a:pt x="132" y="20"/>
                      </a:cubicBezTo>
                      <a:close/>
                      <a:moveTo>
                        <a:pt x="134" y="18"/>
                      </a:moveTo>
                      <a:cubicBezTo>
                        <a:pt x="132" y="15"/>
                        <a:pt x="132" y="15"/>
                        <a:pt x="132" y="15"/>
                      </a:cubicBezTo>
                      <a:cubicBezTo>
                        <a:pt x="135" y="12"/>
                        <a:pt x="135" y="12"/>
                        <a:pt x="135" y="12"/>
                      </a:cubicBezTo>
                      <a:cubicBezTo>
                        <a:pt x="136" y="14"/>
                        <a:pt x="136" y="14"/>
                        <a:pt x="136" y="14"/>
                      </a:cubicBezTo>
                      <a:cubicBezTo>
                        <a:pt x="134" y="16"/>
                        <a:pt x="134" y="16"/>
                        <a:pt x="134" y="16"/>
                      </a:cubicBezTo>
                      <a:cubicBezTo>
                        <a:pt x="134" y="18"/>
                        <a:pt x="134" y="18"/>
                        <a:pt x="134" y="18"/>
                      </a:cubicBezTo>
                      <a:close/>
                      <a:moveTo>
                        <a:pt x="130" y="14"/>
                      </a:moveTo>
                      <a:cubicBezTo>
                        <a:pt x="129" y="15"/>
                        <a:pt x="129" y="15"/>
                        <a:pt x="129" y="15"/>
                      </a:cubicBezTo>
                      <a:cubicBezTo>
                        <a:pt x="126" y="14"/>
                        <a:pt x="126" y="14"/>
                        <a:pt x="126" y="14"/>
                      </a:cubicBezTo>
                      <a:cubicBezTo>
                        <a:pt x="125" y="12"/>
                        <a:pt x="125" y="12"/>
                        <a:pt x="125" y="12"/>
                      </a:cubicBezTo>
                      <a:cubicBezTo>
                        <a:pt x="127" y="12"/>
                        <a:pt x="127" y="12"/>
                        <a:pt x="127" y="12"/>
                      </a:cubicBezTo>
                      <a:cubicBezTo>
                        <a:pt x="128" y="11"/>
                        <a:pt x="128" y="11"/>
                        <a:pt x="128" y="11"/>
                      </a:cubicBezTo>
                      <a:cubicBezTo>
                        <a:pt x="129" y="12"/>
                        <a:pt x="129" y="12"/>
                        <a:pt x="129" y="12"/>
                      </a:cubicBezTo>
                      <a:cubicBezTo>
                        <a:pt x="130" y="10"/>
                        <a:pt x="130" y="10"/>
                        <a:pt x="130" y="10"/>
                      </a:cubicBezTo>
                      <a:cubicBezTo>
                        <a:pt x="132" y="11"/>
                        <a:pt x="132" y="11"/>
                        <a:pt x="132" y="11"/>
                      </a:cubicBezTo>
                      <a:cubicBezTo>
                        <a:pt x="135" y="8"/>
                        <a:pt x="135" y="8"/>
                        <a:pt x="135" y="8"/>
                      </a:cubicBezTo>
                      <a:cubicBezTo>
                        <a:pt x="135" y="9"/>
                        <a:pt x="135" y="9"/>
                        <a:pt x="135" y="9"/>
                      </a:cubicBezTo>
                      <a:cubicBezTo>
                        <a:pt x="130" y="14"/>
                        <a:pt x="130" y="14"/>
                        <a:pt x="130" y="14"/>
                      </a:cubicBezTo>
                      <a:close/>
                      <a:moveTo>
                        <a:pt x="136" y="10"/>
                      </a:moveTo>
                      <a:cubicBezTo>
                        <a:pt x="136" y="10"/>
                        <a:pt x="139" y="9"/>
                        <a:pt x="139" y="9"/>
                      </a:cubicBezTo>
                      <a:cubicBezTo>
                        <a:pt x="141" y="11"/>
                        <a:pt x="141" y="11"/>
                        <a:pt x="141" y="1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38" y="14"/>
                        <a:pt x="138" y="14"/>
                        <a:pt x="138" y="14"/>
                      </a:cubicBezTo>
                      <a:cubicBezTo>
                        <a:pt x="137" y="12"/>
                        <a:pt x="137" y="12"/>
                        <a:pt x="137" y="12"/>
                      </a:cubicBezTo>
                      <a:cubicBezTo>
                        <a:pt x="136" y="10"/>
                        <a:pt x="136" y="10"/>
                        <a:pt x="136" y="10"/>
                      </a:cubicBezTo>
                      <a:close/>
                      <a:moveTo>
                        <a:pt x="141" y="6"/>
                      </a:moveTo>
                      <a:cubicBezTo>
                        <a:pt x="141" y="6"/>
                        <a:pt x="141" y="6"/>
                        <a:pt x="141" y="6"/>
                      </a:cubicBezTo>
                      <a:cubicBezTo>
                        <a:pt x="140" y="7"/>
                        <a:pt x="140" y="7"/>
                        <a:pt x="140" y="7"/>
                      </a:cubicBezTo>
                      <a:cubicBezTo>
                        <a:pt x="139" y="5"/>
                        <a:pt x="139" y="5"/>
                        <a:pt x="139" y="5"/>
                      </a:cubicBezTo>
                      <a:cubicBezTo>
                        <a:pt x="140" y="4"/>
                        <a:pt x="140" y="4"/>
                        <a:pt x="140" y="4"/>
                      </a:cubicBezTo>
                      <a:cubicBezTo>
                        <a:pt x="141" y="6"/>
                        <a:pt x="141" y="6"/>
                        <a:pt x="141" y="6"/>
                      </a:cubicBezTo>
                      <a:close/>
                      <a:moveTo>
                        <a:pt x="145" y="2"/>
                      </a:moveTo>
                      <a:cubicBezTo>
                        <a:pt x="144" y="2"/>
                        <a:pt x="144" y="2"/>
                        <a:pt x="144" y="2"/>
                      </a:cubicBezTo>
                      <a:cubicBezTo>
                        <a:pt x="145" y="1"/>
                        <a:pt x="145" y="1"/>
                        <a:pt x="145" y="1"/>
                      </a:cubicBezTo>
                      <a:cubicBezTo>
                        <a:pt x="146" y="1"/>
                        <a:pt x="146" y="1"/>
                        <a:pt x="146" y="1"/>
                      </a:cubicBezTo>
                      <a:cubicBezTo>
                        <a:pt x="145" y="2"/>
                        <a:pt x="145" y="2"/>
                        <a:pt x="145" y="2"/>
                      </a:cubicBezTo>
                      <a:close/>
                      <a:moveTo>
                        <a:pt x="148" y="3"/>
                      </a:moveTo>
                      <a:cubicBezTo>
                        <a:pt x="148" y="2"/>
                        <a:pt x="148" y="2"/>
                        <a:pt x="148" y="2"/>
                      </a:cubicBezTo>
                      <a:cubicBezTo>
                        <a:pt x="149" y="2"/>
                        <a:pt x="149" y="2"/>
                        <a:pt x="149" y="2"/>
                      </a:cubicBezTo>
                      <a:cubicBezTo>
                        <a:pt x="150" y="2"/>
                        <a:pt x="150" y="2"/>
                        <a:pt x="150" y="2"/>
                      </a:cubicBezTo>
                      <a:cubicBezTo>
                        <a:pt x="151" y="1"/>
                        <a:pt x="151" y="1"/>
                        <a:pt x="151" y="1"/>
                      </a:cubicBezTo>
                      <a:cubicBezTo>
                        <a:pt x="151" y="0"/>
                        <a:pt x="151" y="0"/>
                        <a:pt x="151" y="0"/>
                      </a:cubicBezTo>
                      <a:cubicBezTo>
                        <a:pt x="152" y="1"/>
                        <a:pt x="152" y="1"/>
                        <a:pt x="152" y="1"/>
                      </a:cubicBezTo>
                      <a:cubicBezTo>
                        <a:pt x="154" y="1"/>
                        <a:pt x="154" y="1"/>
                        <a:pt x="154" y="1"/>
                      </a:cubicBezTo>
                      <a:cubicBezTo>
                        <a:pt x="153" y="3"/>
                        <a:pt x="153" y="3"/>
                        <a:pt x="153" y="3"/>
                      </a:cubicBezTo>
                      <a:cubicBezTo>
                        <a:pt x="155" y="3"/>
                        <a:pt x="155" y="3"/>
                        <a:pt x="155" y="3"/>
                      </a:cubicBezTo>
                      <a:cubicBezTo>
                        <a:pt x="154" y="5"/>
                        <a:pt x="154" y="5"/>
                        <a:pt x="154" y="5"/>
                      </a:cubicBezTo>
                      <a:cubicBezTo>
                        <a:pt x="152" y="5"/>
                        <a:pt x="152" y="5"/>
                        <a:pt x="152" y="5"/>
                      </a:cubicBezTo>
                      <a:cubicBezTo>
                        <a:pt x="150" y="4"/>
                        <a:pt x="150" y="4"/>
                        <a:pt x="150" y="4"/>
                      </a:cubicBezTo>
                      <a:lnTo>
                        <a:pt x="148" y="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6" name="Freeform 190">
                  <a:extLst>
                    <a:ext uri="{FF2B5EF4-FFF2-40B4-BE49-F238E27FC236}">
                      <a16:creationId xmlns:a16="http://schemas.microsoft.com/office/drawing/2014/main" xmlns="" id="{D46FE708-ECEE-4F9D-80E1-81660389CA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06" y="686"/>
                  <a:ext cx="159" cy="365"/>
                </a:xfrm>
                <a:custGeom>
                  <a:avLst/>
                  <a:gdLst>
                    <a:gd name="T0" fmla="*/ 7 w 159"/>
                    <a:gd name="T1" fmla="*/ 263 h 365"/>
                    <a:gd name="T2" fmla="*/ 16 w 159"/>
                    <a:gd name="T3" fmla="*/ 245 h 365"/>
                    <a:gd name="T4" fmla="*/ 20 w 159"/>
                    <a:gd name="T5" fmla="*/ 214 h 365"/>
                    <a:gd name="T6" fmla="*/ 8 w 159"/>
                    <a:gd name="T7" fmla="*/ 178 h 365"/>
                    <a:gd name="T8" fmla="*/ 25 w 159"/>
                    <a:gd name="T9" fmla="*/ 147 h 365"/>
                    <a:gd name="T10" fmla="*/ 33 w 159"/>
                    <a:gd name="T11" fmla="*/ 103 h 365"/>
                    <a:gd name="T12" fmla="*/ 44 w 159"/>
                    <a:gd name="T13" fmla="*/ 82 h 365"/>
                    <a:gd name="T14" fmla="*/ 51 w 159"/>
                    <a:gd name="T15" fmla="*/ 46 h 365"/>
                    <a:gd name="T16" fmla="*/ 67 w 159"/>
                    <a:gd name="T17" fmla="*/ 31 h 365"/>
                    <a:gd name="T18" fmla="*/ 74 w 159"/>
                    <a:gd name="T19" fmla="*/ 22 h 365"/>
                    <a:gd name="T20" fmla="*/ 93 w 159"/>
                    <a:gd name="T21" fmla="*/ 18 h 365"/>
                    <a:gd name="T22" fmla="*/ 100 w 159"/>
                    <a:gd name="T23" fmla="*/ 8 h 365"/>
                    <a:gd name="T24" fmla="*/ 106 w 159"/>
                    <a:gd name="T25" fmla="*/ 4 h 365"/>
                    <a:gd name="T26" fmla="*/ 134 w 159"/>
                    <a:gd name="T27" fmla="*/ 22 h 365"/>
                    <a:gd name="T28" fmla="*/ 144 w 159"/>
                    <a:gd name="T29" fmla="*/ 33 h 365"/>
                    <a:gd name="T30" fmla="*/ 147 w 159"/>
                    <a:gd name="T31" fmla="*/ 56 h 365"/>
                    <a:gd name="T32" fmla="*/ 150 w 159"/>
                    <a:gd name="T33" fmla="*/ 82 h 365"/>
                    <a:gd name="T34" fmla="*/ 152 w 159"/>
                    <a:gd name="T35" fmla="*/ 97 h 365"/>
                    <a:gd name="T36" fmla="*/ 137 w 159"/>
                    <a:gd name="T37" fmla="*/ 97 h 365"/>
                    <a:gd name="T38" fmla="*/ 126 w 159"/>
                    <a:gd name="T39" fmla="*/ 98 h 365"/>
                    <a:gd name="T40" fmla="*/ 126 w 159"/>
                    <a:gd name="T41" fmla="*/ 111 h 365"/>
                    <a:gd name="T42" fmla="*/ 126 w 159"/>
                    <a:gd name="T43" fmla="*/ 115 h 365"/>
                    <a:gd name="T44" fmla="*/ 126 w 159"/>
                    <a:gd name="T45" fmla="*/ 129 h 365"/>
                    <a:gd name="T46" fmla="*/ 121 w 159"/>
                    <a:gd name="T47" fmla="*/ 146 h 365"/>
                    <a:gd name="T48" fmla="*/ 108 w 159"/>
                    <a:gd name="T49" fmla="*/ 160 h 365"/>
                    <a:gd name="T50" fmla="*/ 98 w 159"/>
                    <a:gd name="T51" fmla="*/ 170 h 365"/>
                    <a:gd name="T52" fmla="*/ 88 w 159"/>
                    <a:gd name="T53" fmla="*/ 175 h 365"/>
                    <a:gd name="T54" fmla="*/ 82 w 159"/>
                    <a:gd name="T55" fmla="*/ 188 h 365"/>
                    <a:gd name="T56" fmla="*/ 77 w 159"/>
                    <a:gd name="T57" fmla="*/ 206 h 365"/>
                    <a:gd name="T58" fmla="*/ 79 w 159"/>
                    <a:gd name="T59" fmla="*/ 221 h 365"/>
                    <a:gd name="T60" fmla="*/ 82 w 159"/>
                    <a:gd name="T61" fmla="*/ 234 h 365"/>
                    <a:gd name="T62" fmla="*/ 96 w 159"/>
                    <a:gd name="T63" fmla="*/ 245 h 365"/>
                    <a:gd name="T64" fmla="*/ 95 w 159"/>
                    <a:gd name="T65" fmla="*/ 268 h 365"/>
                    <a:gd name="T66" fmla="*/ 82 w 159"/>
                    <a:gd name="T67" fmla="*/ 265 h 365"/>
                    <a:gd name="T68" fmla="*/ 69 w 159"/>
                    <a:gd name="T69" fmla="*/ 265 h 365"/>
                    <a:gd name="T70" fmla="*/ 79 w 159"/>
                    <a:gd name="T71" fmla="*/ 268 h 365"/>
                    <a:gd name="T72" fmla="*/ 96 w 159"/>
                    <a:gd name="T73" fmla="*/ 273 h 365"/>
                    <a:gd name="T74" fmla="*/ 88 w 159"/>
                    <a:gd name="T75" fmla="*/ 276 h 365"/>
                    <a:gd name="T76" fmla="*/ 80 w 159"/>
                    <a:gd name="T77" fmla="*/ 286 h 365"/>
                    <a:gd name="T78" fmla="*/ 74 w 159"/>
                    <a:gd name="T79" fmla="*/ 294 h 365"/>
                    <a:gd name="T80" fmla="*/ 75 w 159"/>
                    <a:gd name="T81" fmla="*/ 307 h 365"/>
                    <a:gd name="T82" fmla="*/ 77 w 159"/>
                    <a:gd name="T83" fmla="*/ 327 h 365"/>
                    <a:gd name="T84" fmla="*/ 62 w 159"/>
                    <a:gd name="T85" fmla="*/ 347 h 365"/>
                    <a:gd name="T86" fmla="*/ 46 w 159"/>
                    <a:gd name="T87" fmla="*/ 358 h 365"/>
                    <a:gd name="T88" fmla="*/ 28 w 159"/>
                    <a:gd name="T89" fmla="*/ 360 h 365"/>
                    <a:gd name="T90" fmla="*/ 28 w 159"/>
                    <a:gd name="T91" fmla="*/ 340 h 365"/>
                    <a:gd name="T92" fmla="*/ 13 w 159"/>
                    <a:gd name="T93" fmla="*/ 321 h 365"/>
                    <a:gd name="T94" fmla="*/ 7 w 159"/>
                    <a:gd name="T95" fmla="*/ 304 h 365"/>
                    <a:gd name="T96" fmla="*/ 7 w 159"/>
                    <a:gd name="T97" fmla="*/ 296 h 365"/>
                    <a:gd name="T98" fmla="*/ 0 w 159"/>
                    <a:gd name="T99" fmla="*/ 288 h 365"/>
                    <a:gd name="T100" fmla="*/ 100 w 159"/>
                    <a:gd name="T101" fmla="*/ 275 h 365"/>
                    <a:gd name="T102" fmla="*/ 5 w 159"/>
                    <a:gd name="T103" fmla="*/ 303 h 365"/>
                    <a:gd name="T104" fmla="*/ 111 w 159"/>
                    <a:gd name="T105" fmla="*/ 294 h 365"/>
                    <a:gd name="T106" fmla="*/ 113 w 159"/>
                    <a:gd name="T107" fmla="*/ 306 h 365"/>
                    <a:gd name="T108" fmla="*/ 103 w 159"/>
                    <a:gd name="T109" fmla="*/ 330 h 365"/>
                    <a:gd name="T110" fmla="*/ 110 w 159"/>
                    <a:gd name="T111" fmla="*/ 316 h 365"/>
                    <a:gd name="T112" fmla="*/ 103 w 159"/>
                    <a:gd name="T113" fmla="*/ 309 h 365"/>
                    <a:gd name="T114" fmla="*/ 101 w 159"/>
                    <a:gd name="T115" fmla="*/ 325 h 365"/>
                    <a:gd name="T116" fmla="*/ 77 w 159"/>
                    <a:gd name="T117" fmla="*/ 347 h 365"/>
                    <a:gd name="T118" fmla="*/ 82 w 159"/>
                    <a:gd name="T119" fmla="*/ 322 h 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9" h="365">
                      <a:moveTo>
                        <a:pt x="3" y="278"/>
                      </a:moveTo>
                      <a:lnTo>
                        <a:pt x="5" y="280"/>
                      </a:lnTo>
                      <a:lnTo>
                        <a:pt x="7" y="283"/>
                      </a:lnTo>
                      <a:lnTo>
                        <a:pt x="8" y="280"/>
                      </a:lnTo>
                      <a:lnTo>
                        <a:pt x="8" y="270"/>
                      </a:lnTo>
                      <a:lnTo>
                        <a:pt x="5" y="267"/>
                      </a:lnTo>
                      <a:lnTo>
                        <a:pt x="7" y="263"/>
                      </a:lnTo>
                      <a:lnTo>
                        <a:pt x="8" y="262"/>
                      </a:lnTo>
                      <a:lnTo>
                        <a:pt x="7" y="258"/>
                      </a:lnTo>
                      <a:lnTo>
                        <a:pt x="8" y="257"/>
                      </a:lnTo>
                      <a:lnTo>
                        <a:pt x="13" y="257"/>
                      </a:lnTo>
                      <a:lnTo>
                        <a:pt x="15" y="254"/>
                      </a:lnTo>
                      <a:lnTo>
                        <a:pt x="15" y="250"/>
                      </a:lnTo>
                      <a:lnTo>
                        <a:pt x="16" y="245"/>
                      </a:lnTo>
                      <a:lnTo>
                        <a:pt x="15" y="242"/>
                      </a:lnTo>
                      <a:lnTo>
                        <a:pt x="13" y="236"/>
                      </a:lnTo>
                      <a:lnTo>
                        <a:pt x="10" y="229"/>
                      </a:lnTo>
                      <a:lnTo>
                        <a:pt x="10" y="226"/>
                      </a:lnTo>
                      <a:lnTo>
                        <a:pt x="18" y="224"/>
                      </a:lnTo>
                      <a:lnTo>
                        <a:pt x="18" y="219"/>
                      </a:lnTo>
                      <a:lnTo>
                        <a:pt x="20" y="214"/>
                      </a:lnTo>
                      <a:lnTo>
                        <a:pt x="13" y="209"/>
                      </a:lnTo>
                      <a:lnTo>
                        <a:pt x="8" y="206"/>
                      </a:lnTo>
                      <a:lnTo>
                        <a:pt x="8" y="200"/>
                      </a:lnTo>
                      <a:lnTo>
                        <a:pt x="10" y="195"/>
                      </a:lnTo>
                      <a:lnTo>
                        <a:pt x="8" y="188"/>
                      </a:lnTo>
                      <a:lnTo>
                        <a:pt x="7" y="183"/>
                      </a:lnTo>
                      <a:lnTo>
                        <a:pt x="8" y="178"/>
                      </a:lnTo>
                      <a:lnTo>
                        <a:pt x="8" y="170"/>
                      </a:lnTo>
                      <a:lnTo>
                        <a:pt x="7" y="162"/>
                      </a:lnTo>
                      <a:lnTo>
                        <a:pt x="7" y="154"/>
                      </a:lnTo>
                      <a:lnTo>
                        <a:pt x="12" y="147"/>
                      </a:lnTo>
                      <a:lnTo>
                        <a:pt x="15" y="146"/>
                      </a:lnTo>
                      <a:lnTo>
                        <a:pt x="18" y="147"/>
                      </a:lnTo>
                      <a:lnTo>
                        <a:pt x="25" y="147"/>
                      </a:lnTo>
                      <a:lnTo>
                        <a:pt x="26" y="144"/>
                      </a:lnTo>
                      <a:lnTo>
                        <a:pt x="26" y="138"/>
                      </a:lnTo>
                      <a:lnTo>
                        <a:pt x="25" y="134"/>
                      </a:lnTo>
                      <a:lnTo>
                        <a:pt x="25" y="131"/>
                      </a:lnTo>
                      <a:lnTo>
                        <a:pt x="30" y="118"/>
                      </a:lnTo>
                      <a:lnTo>
                        <a:pt x="31" y="110"/>
                      </a:lnTo>
                      <a:lnTo>
                        <a:pt x="33" y="103"/>
                      </a:lnTo>
                      <a:lnTo>
                        <a:pt x="34" y="98"/>
                      </a:lnTo>
                      <a:lnTo>
                        <a:pt x="33" y="93"/>
                      </a:lnTo>
                      <a:lnTo>
                        <a:pt x="31" y="92"/>
                      </a:lnTo>
                      <a:lnTo>
                        <a:pt x="31" y="89"/>
                      </a:lnTo>
                      <a:lnTo>
                        <a:pt x="36" y="85"/>
                      </a:lnTo>
                      <a:lnTo>
                        <a:pt x="41" y="84"/>
                      </a:lnTo>
                      <a:lnTo>
                        <a:pt x="44" y="82"/>
                      </a:lnTo>
                      <a:lnTo>
                        <a:pt x="44" y="79"/>
                      </a:lnTo>
                      <a:lnTo>
                        <a:pt x="49" y="71"/>
                      </a:lnTo>
                      <a:lnTo>
                        <a:pt x="54" y="64"/>
                      </a:lnTo>
                      <a:lnTo>
                        <a:pt x="54" y="61"/>
                      </a:lnTo>
                      <a:lnTo>
                        <a:pt x="52" y="56"/>
                      </a:lnTo>
                      <a:lnTo>
                        <a:pt x="51" y="54"/>
                      </a:lnTo>
                      <a:lnTo>
                        <a:pt x="51" y="46"/>
                      </a:lnTo>
                      <a:lnTo>
                        <a:pt x="52" y="44"/>
                      </a:lnTo>
                      <a:lnTo>
                        <a:pt x="56" y="43"/>
                      </a:lnTo>
                      <a:lnTo>
                        <a:pt x="56" y="38"/>
                      </a:lnTo>
                      <a:lnTo>
                        <a:pt x="59" y="38"/>
                      </a:lnTo>
                      <a:lnTo>
                        <a:pt x="61" y="31"/>
                      </a:lnTo>
                      <a:lnTo>
                        <a:pt x="64" y="30"/>
                      </a:lnTo>
                      <a:lnTo>
                        <a:pt x="67" y="31"/>
                      </a:lnTo>
                      <a:lnTo>
                        <a:pt x="69" y="33"/>
                      </a:lnTo>
                      <a:lnTo>
                        <a:pt x="70" y="33"/>
                      </a:lnTo>
                      <a:lnTo>
                        <a:pt x="74" y="30"/>
                      </a:lnTo>
                      <a:lnTo>
                        <a:pt x="72" y="26"/>
                      </a:lnTo>
                      <a:lnTo>
                        <a:pt x="74" y="25"/>
                      </a:lnTo>
                      <a:lnTo>
                        <a:pt x="74" y="23"/>
                      </a:lnTo>
                      <a:lnTo>
                        <a:pt x="74" y="22"/>
                      </a:lnTo>
                      <a:lnTo>
                        <a:pt x="72" y="18"/>
                      </a:lnTo>
                      <a:lnTo>
                        <a:pt x="74" y="17"/>
                      </a:lnTo>
                      <a:lnTo>
                        <a:pt x="77" y="17"/>
                      </a:lnTo>
                      <a:lnTo>
                        <a:pt x="82" y="15"/>
                      </a:lnTo>
                      <a:lnTo>
                        <a:pt x="87" y="17"/>
                      </a:lnTo>
                      <a:lnTo>
                        <a:pt x="90" y="18"/>
                      </a:lnTo>
                      <a:lnTo>
                        <a:pt x="93" y="18"/>
                      </a:lnTo>
                      <a:lnTo>
                        <a:pt x="95" y="20"/>
                      </a:lnTo>
                      <a:lnTo>
                        <a:pt x="96" y="20"/>
                      </a:lnTo>
                      <a:lnTo>
                        <a:pt x="98" y="22"/>
                      </a:lnTo>
                      <a:lnTo>
                        <a:pt x="98" y="17"/>
                      </a:lnTo>
                      <a:lnTo>
                        <a:pt x="96" y="15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98" y="5"/>
                      </a:lnTo>
                      <a:lnTo>
                        <a:pt x="96" y="4"/>
                      </a:lnTo>
                      <a:lnTo>
                        <a:pt x="96" y="0"/>
                      </a:lnTo>
                      <a:lnTo>
                        <a:pt x="100" y="0"/>
                      </a:lnTo>
                      <a:lnTo>
                        <a:pt x="103" y="0"/>
                      </a:lnTo>
                      <a:lnTo>
                        <a:pt x="105" y="0"/>
                      </a:lnTo>
                      <a:lnTo>
                        <a:pt x="106" y="4"/>
                      </a:lnTo>
                      <a:lnTo>
                        <a:pt x="111" y="5"/>
                      </a:lnTo>
                      <a:lnTo>
                        <a:pt x="116" y="12"/>
                      </a:lnTo>
                      <a:lnTo>
                        <a:pt x="121" y="15"/>
                      </a:lnTo>
                      <a:lnTo>
                        <a:pt x="128" y="15"/>
                      </a:lnTo>
                      <a:lnTo>
                        <a:pt x="129" y="17"/>
                      </a:lnTo>
                      <a:lnTo>
                        <a:pt x="131" y="17"/>
                      </a:lnTo>
                      <a:lnTo>
                        <a:pt x="134" y="22"/>
                      </a:lnTo>
                      <a:lnTo>
                        <a:pt x="136" y="23"/>
                      </a:lnTo>
                      <a:lnTo>
                        <a:pt x="137" y="25"/>
                      </a:lnTo>
                      <a:lnTo>
                        <a:pt x="137" y="23"/>
                      </a:lnTo>
                      <a:lnTo>
                        <a:pt x="141" y="28"/>
                      </a:lnTo>
                      <a:lnTo>
                        <a:pt x="142" y="28"/>
                      </a:lnTo>
                      <a:lnTo>
                        <a:pt x="144" y="30"/>
                      </a:lnTo>
                      <a:lnTo>
                        <a:pt x="144" y="33"/>
                      </a:lnTo>
                      <a:lnTo>
                        <a:pt x="144" y="38"/>
                      </a:lnTo>
                      <a:lnTo>
                        <a:pt x="142" y="41"/>
                      </a:lnTo>
                      <a:lnTo>
                        <a:pt x="144" y="44"/>
                      </a:lnTo>
                      <a:lnTo>
                        <a:pt x="147" y="44"/>
                      </a:lnTo>
                      <a:lnTo>
                        <a:pt x="149" y="49"/>
                      </a:lnTo>
                      <a:lnTo>
                        <a:pt x="147" y="51"/>
                      </a:lnTo>
                      <a:lnTo>
                        <a:pt x="147" y="56"/>
                      </a:lnTo>
                      <a:lnTo>
                        <a:pt x="149" y="57"/>
                      </a:lnTo>
                      <a:lnTo>
                        <a:pt x="150" y="64"/>
                      </a:lnTo>
                      <a:lnTo>
                        <a:pt x="149" y="67"/>
                      </a:lnTo>
                      <a:lnTo>
                        <a:pt x="150" y="69"/>
                      </a:lnTo>
                      <a:lnTo>
                        <a:pt x="150" y="75"/>
                      </a:lnTo>
                      <a:lnTo>
                        <a:pt x="149" y="77"/>
                      </a:lnTo>
                      <a:lnTo>
                        <a:pt x="150" y="82"/>
                      </a:lnTo>
                      <a:lnTo>
                        <a:pt x="154" y="84"/>
                      </a:lnTo>
                      <a:lnTo>
                        <a:pt x="157" y="90"/>
                      </a:lnTo>
                      <a:lnTo>
                        <a:pt x="159" y="92"/>
                      </a:lnTo>
                      <a:lnTo>
                        <a:pt x="159" y="95"/>
                      </a:lnTo>
                      <a:lnTo>
                        <a:pt x="157" y="95"/>
                      </a:lnTo>
                      <a:lnTo>
                        <a:pt x="155" y="97"/>
                      </a:lnTo>
                      <a:lnTo>
                        <a:pt x="152" y="97"/>
                      </a:lnTo>
                      <a:lnTo>
                        <a:pt x="150" y="93"/>
                      </a:lnTo>
                      <a:lnTo>
                        <a:pt x="147" y="97"/>
                      </a:lnTo>
                      <a:lnTo>
                        <a:pt x="145" y="95"/>
                      </a:lnTo>
                      <a:lnTo>
                        <a:pt x="144" y="97"/>
                      </a:lnTo>
                      <a:lnTo>
                        <a:pt x="141" y="97"/>
                      </a:lnTo>
                      <a:lnTo>
                        <a:pt x="139" y="93"/>
                      </a:lnTo>
                      <a:lnTo>
                        <a:pt x="137" y="97"/>
                      </a:lnTo>
                      <a:lnTo>
                        <a:pt x="136" y="93"/>
                      </a:lnTo>
                      <a:lnTo>
                        <a:pt x="134" y="95"/>
                      </a:lnTo>
                      <a:lnTo>
                        <a:pt x="132" y="98"/>
                      </a:lnTo>
                      <a:lnTo>
                        <a:pt x="132" y="100"/>
                      </a:lnTo>
                      <a:lnTo>
                        <a:pt x="129" y="102"/>
                      </a:lnTo>
                      <a:lnTo>
                        <a:pt x="128" y="98"/>
                      </a:lnTo>
                      <a:lnTo>
                        <a:pt x="126" y="98"/>
                      </a:lnTo>
                      <a:lnTo>
                        <a:pt x="128" y="102"/>
                      </a:lnTo>
                      <a:lnTo>
                        <a:pt x="131" y="103"/>
                      </a:lnTo>
                      <a:lnTo>
                        <a:pt x="128" y="106"/>
                      </a:lnTo>
                      <a:lnTo>
                        <a:pt x="124" y="106"/>
                      </a:lnTo>
                      <a:lnTo>
                        <a:pt x="123" y="108"/>
                      </a:lnTo>
                      <a:lnTo>
                        <a:pt x="126" y="108"/>
                      </a:lnTo>
                      <a:lnTo>
                        <a:pt x="126" y="111"/>
                      </a:lnTo>
                      <a:lnTo>
                        <a:pt x="124" y="111"/>
                      </a:lnTo>
                      <a:lnTo>
                        <a:pt x="123" y="110"/>
                      </a:lnTo>
                      <a:lnTo>
                        <a:pt x="121" y="108"/>
                      </a:lnTo>
                      <a:lnTo>
                        <a:pt x="121" y="110"/>
                      </a:lnTo>
                      <a:lnTo>
                        <a:pt x="123" y="113"/>
                      </a:lnTo>
                      <a:lnTo>
                        <a:pt x="124" y="113"/>
                      </a:lnTo>
                      <a:lnTo>
                        <a:pt x="126" y="115"/>
                      </a:lnTo>
                      <a:lnTo>
                        <a:pt x="124" y="116"/>
                      </a:lnTo>
                      <a:lnTo>
                        <a:pt x="123" y="121"/>
                      </a:lnTo>
                      <a:lnTo>
                        <a:pt x="123" y="124"/>
                      </a:lnTo>
                      <a:lnTo>
                        <a:pt x="119" y="124"/>
                      </a:lnTo>
                      <a:lnTo>
                        <a:pt x="123" y="128"/>
                      </a:lnTo>
                      <a:lnTo>
                        <a:pt x="124" y="128"/>
                      </a:lnTo>
                      <a:lnTo>
                        <a:pt x="126" y="129"/>
                      </a:lnTo>
                      <a:lnTo>
                        <a:pt x="124" y="131"/>
                      </a:lnTo>
                      <a:lnTo>
                        <a:pt x="126" y="133"/>
                      </a:lnTo>
                      <a:lnTo>
                        <a:pt x="128" y="133"/>
                      </a:lnTo>
                      <a:lnTo>
                        <a:pt x="124" y="138"/>
                      </a:lnTo>
                      <a:lnTo>
                        <a:pt x="123" y="138"/>
                      </a:lnTo>
                      <a:lnTo>
                        <a:pt x="121" y="141"/>
                      </a:lnTo>
                      <a:lnTo>
                        <a:pt x="121" y="146"/>
                      </a:lnTo>
                      <a:lnTo>
                        <a:pt x="118" y="151"/>
                      </a:lnTo>
                      <a:lnTo>
                        <a:pt x="116" y="151"/>
                      </a:lnTo>
                      <a:lnTo>
                        <a:pt x="113" y="154"/>
                      </a:lnTo>
                      <a:lnTo>
                        <a:pt x="111" y="152"/>
                      </a:lnTo>
                      <a:lnTo>
                        <a:pt x="111" y="154"/>
                      </a:lnTo>
                      <a:lnTo>
                        <a:pt x="111" y="157"/>
                      </a:lnTo>
                      <a:lnTo>
                        <a:pt x="108" y="160"/>
                      </a:lnTo>
                      <a:lnTo>
                        <a:pt x="106" y="164"/>
                      </a:lnTo>
                      <a:lnTo>
                        <a:pt x="105" y="162"/>
                      </a:lnTo>
                      <a:lnTo>
                        <a:pt x="105" y="160"/>
                      </a:lnTo>
                      <a:lnTo>
                        <a:pt x="101" y="160"/>
                      </a:lnTo>
                      <a:lnTo>
                        <a:pt x="100" y="164"/>
                      </a:lnTo>
                      <a:lnTo>
                        <a:pt x="100" y="167"/>
                      </a:lnTo>
                      <a:lnTo>
                        <a:pt x="98" y="170"/>
                      </a:lnTo>
                      <a:lnTo>
                        <a:pt x="96" y="167"/>
                      </a:lnTo>
                      <a:lnTo>
                        <a:pt x="95" y="167"/>
                      </a:lnTo>
                      <a:lnTo>
                        <a:pt x="95" y="170"/>
                      </a:lnTo>
                      <a:lnTo>
                        <a:pt x="93" y="172"/>
                      </a:lnTo>
                      <a:lnTo>
                        <a:pt x="92" y="170"/>
                      </a:lnTo>
                      <a:lnTo>
                        <a:pt x="90" y="172"/>
                      </a:lnTo>
                      <a:lnTo>
                        <a:pt x="88" y="175"/>
                      </a:lnTo>
                      <a:lnTo>
                        <a:pt x="92" y="175"/>
                      </a:lnTo>
                      <a:lnTo>
                        <a:pt x="90" y="177"/>
                      </a:lnTo>
                      <a:lnTo>
                        <a:pt x="87" y="180"/>
                      </a:lnTo>
                      <a:lnTo>
                        <a:pt x="83" y="180"/>
                      </a:lnTo>
                      <a:lnTo>
                        <a:pt x="83" y="182"/>
                      </a:lnTo>
                      <a:lnTo>
                        <a:pt x="83" y="185"/>
                      </a:lnTo>
                      <a:lnTo>
                        <a:pt x="82" y="188"/>
                      </a:lnTo>
                      <a:lnTo>
                        <a:pt x="77" y="188"/>
                      </a:lnTo>
                      <a:lnTo>
                        <a:pt x="75" y="188"/>
                      </a:lnTo>
                      <a:lnTo>
                        <a:pt x="79" y="193"/>
                      </a:lnTo>
                      <a:lnTo>
                        <a:pt x="79" y="196"/>
                      </a:lnTo>
                      <a:lnTo>
                        <a:pt x="79" y="198"/>
                      </a:lnTo>
                      <a:lnTo>
                        <a:pt x="79" y="201"/>
                      </a:lnTo>
                      <a:lnTo>
                        <a:pt x="77" y="206"/>
                      </a:lnTo>
                      <a:lnTo>
                        <a:pt x="80" y="209"/>
                      </a:lnTo>
                      <a:lnTo>
                        <a:pt x="80" y="213"/>
                      </a:lnTo>
                      <a:lnTo>
                        <a:pt x="77" y="211"/>
                      </a:lnTo>
                      <a:lnTo>
                        <a:pt x="77" y="211"/>
                      </a:lnTo>
                      <a:lnTo>
                        <a:pt x="79" y="216"/>
                      </a:lnTo>
                      <a:lnTo>
                        <a:pt x="75" y="219"/>
                      </a:lnTo>
                      <a:lnTo>
                        <a:pt x="79" y="221"/>
                      </a:lnTo>
                      <a:lnTo>
                        <a:pt x="79" y="222"/>
                      </a:lnTo>
                      <a:lnTo>
                        <a:pt x="77" y="222"/>
                      </a:lnTo>
                      <a:lnTo>
                        <a:pt x="79" y="226"/>
                      </a:lnTo>
                      <a:lnTo>
                        <a:pt x="75" y="229"/>
                      </a:lnTo>
                      <a:lnTo>
                        <a:pt x="77" y="231"/>
                      </a:lnTo>
                      <a:lnTo>
                        <a:pt x="79" y="234"/>
                      </a:lnTo>
                      <a:lnTo>
                        <a:pt x="82" y="234"/>
                      </a:lnTo>
                      <a:lnTo>
                        <a:pt x="82" y="237"/>
                      </a:lnTo>
                      <a:lnTo>
                        <a:pt x="83" y="236"/>
                      </a:lnTo>
                      <a:lnTo>
                        <a:pt x="85" y="239"/>
                      </a:lnTo>
                      <a:lnTo>
                        <a:pt x="87" y="236"/>
                      </a:lnTo>
                      <a:lnTo>
                        <a:pt x="90" y="237"/>
                      </a:lnTo>
                      <a:lnTo>
                        <a:pt x="90" y="240"/>
                      </a:lnTo>
                      <a:lnTo>
                        <a:pt x="96" y="245"/>
                      </a:lnTo>
                      <a:lnTo>
                        <a:pt x="95" y="247"/>
                      </a:lnTo>
                      <a:lnTo>
                        <a:pt x="100" y="250"/>
                      </a:lnTo>
                      <a:lnTo>
                        <a:pt x="100" y="252"/>
                      </a:lnTo>
                      <a:lnTo>
                        <a:pt x="103" y="255"/>
                      </a:lnTo>
                      <a:lnTo>
                        <a:pt x="101" y="260"/>
                      </a:lnTo>
                      <a:lnTo>
                        <a:pt x="96" y="265"/>
                      </a:lnTo>
                      <a:lnTo>
                        <a:pt x="95" y="268"/>
                      </a:lnTo>
                      <a:lnTo>
                        <a:pt x="92" y="268"/>
                      </a:lnTo>
                      <a:lnTo>
                        <a:pt x="88" y="267"/>
                      </a:lnTo>
                      <a:lnTo>
                        <a:pt x="88" y="265"/>
                      </a:lnTo>
                      <a:lnTo>
                        <a:pt x="85" y="263"/>
                      </a:lnTo>
                      <a:lnTo>
                        <a:pt x="83" y="262"/>
                      </a:lnTo>
                      <a:lnTo>
                        <a:pt x="83" y="263"/>
                      </a:lnTo>
                      <a:lnTo>
                        <a:pt x="82" y="265"/>
                      </a:lnTo>
                      <a:lnTo>
                        <a:pt x="80" y="263"/>
                      </a:lnTo>
                      <a:lnTo>
                        <a:pt x="79" y="262"/>
                      </a:lnTo>
                      <a:lnTo>
                        <a:pt x="77" y="265"/>
                      </a:lnTo>
                      <a:lnTo>
                        <a:pt x="74" y="265"/>
                      </a:lnTo>
                      <a:lnTo>
                        <a:pt x="74" y="263"/>
                      </a:lnTo>
                      <a:lnTo>
                        <a:pt x="70" y="267"/>
                      </a:lnTo>
                      <a:lnTo>
                        <a:pt x="69" y="265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70" y="268"/>
                      </a:lnTo>
                      <a:lnTo>
                        <a:pt x="72" y="268"/>
                      </a:lnTo>
                      <a:lnTo>
                        <a:pt x="72" y="268"/>
                      </a:lnTo>
                      <a:lnTo>
                        <a:pt x="77" y="267"/>
                      </a:lnTo>
                      <a:lnTo>
                        <a:pt x="79" y="268"/>
                      </a:lnTo>
                      <a:lnTo>
                        <a:pt x="82" y="270"/>
                      </a:lnTo>
                      <a:lnTo>
                        <a:pt x="83" y="272"/>
                      </a:lnTo>
                      <a:lnTo>
                        <a:pt x="87" y="270"/>
                      </a:lnTo>
                      <a:lnTo>
                        <a:pt x="88" y="272"/>
                      </a:lnTo>
                      <a:lnTo>
                        <a:pt x="90" y="270"/>
                      </a:lnTo>
                      <a:lnTo>
                        <a:pt x="95" y="272"/>
                      </a:lnTo>
                      <a:lnTo>
                        <a:pt x="96" y="273"/>
                      </a:lnTo>
                      <a:lnTo>
                        <a:pt x="96" y="276"/>
                      </a:lnTo>
                      <a:lnTo>
                        <a:pt x="95" y="278"/>
                      </a:lnTo>
                      <a:lnTo>
                        <a:pt x="93" y="278"/>
                      </a:lnTo>
                      <a:lnTo>
                        <a:pt x="90" y="281"/>
                      </a:lnTo>
                      <a:lnTo>
                        <a:pt x="88" y="281"/>
                      </a:lnTo>
                      <a:lnTo>
                        <a:pt x="88" y="278"/>
                      </a:lnTo>
                      <a:lnTo>
                        <a:pt x="88" y="276"/>
                      </a:lnTo>
                      <a:lnTo>
                        <a:pt x="87" y="280"/>
                      </a:lnTo>
                      <a:lnTo>
                        <a:pt x="87" y="281"/>
                      </a:lnTo>
                      <a:lnTo>
                        <a:pt x="85" y="281"/>
                      </a:lnTo>
                      <a:lnTo>
                        <a:pt x="82" y="283"/>
                      </a:lnTo>
                      <a:lnTo>
                        <a:pt x="82" y="286"/>
                      </a:lnTo>
                      <a:lnTo>
                        <a:pt x="80" y="285"/>
                      </a:lnTo>
                      <a:lnTo>
                        <a:pt x="80" y="286"/>
                      </a:lnTo>
                      <a:lnTo>
                        <a:pt x="79" y="289"/>
                      </a:lnTo>
                      <a:lnTo>
                        <a:pt x="77" y="288"/>
                      </a:lnTo>
                      <a:lnTo>
                        <a:pt x="75" y="288"/>
                      </a:lnTo>
                      <a:lnTo>
                        <a:pt x="74" y="289"/>
                      </a:lnTo>
                      <a:lnTo>
                        <a:pt x="77" y="291"/>
                      </a:lnTo>
                      <a:lnTo>
                        <a:pt x="80" y="294"/>
                      </a:lnTo>
                      <a:lnTo>
                        <a:pt x="74" y="294"/>
                      </a:lnTo>
                      <a:lnTo>
                        <a:pt x="79" y="296"/>
                      </a:lnTo>
                      <a:lnTo>
                        <a:pt x="79" y="298"/>
                      </a:lnTo>
                      <a:lnTo>
                        <a:pt x="77" y="301"/>
                      </a:lnTo>
                      <a:lnTo>
                        <a:pt x="80" y="304"/>
                      </a:lnTo>
                      <a:lnTo>
                        <a:pt x="77" y="306"/>
                      </a:lnTo>
                      <a:lnTo>
                        <a:pt x="74" y="304"/>
                      </a:lnTo>
                      <a:lnTo>
                        <a:pt x="75" y="307"/>
                      </a:lnTo>
                      <a:lnTo>
                        <a:pt x="74" y="309"/>
                      </a:lnTo>
                      <a:lnTo>
                        <a:pt x="77" y="312"/>
                      </a:lnTo>
                      <a:lnTo>
                        <a:pt x="74" y="314"/>
                      </a:lnTo>
                      <a:lnTo>
                        <a:pt x="77" y="317"/>
                      </a:lnTo>
                      <a:lnTo>
                        <a:pt x="74" y="321"/>
                      </a:lnTo>
                      <a:lnTo>
                        <a:pt x="74" y="324"/>
                      </a:lnTo>
                      <a:lnTo>
                        <a:pt x="77" y="327"/>
                      </a:lnTo>
                      <a:lnTo>
                        <a:pt x="75" y="329"/>
                      </a:lnTo>
                      <a:lnTo>
                        <a:pt x="75" y="337"/>
                      </a:lnTo>
                      <a:lnTo>
                        <a:pt x="72" y="340"/>
                      </a:lnTo>
                      <a:lnTo>
                        <a:pt x="70" y="347"/>
                      </a:lnTo>
                      <a:lnTo>
                        <a:pt x="67" y="350"/>
                      </a:lnTo>
                      <a:lnTo>
                        <a:pt x="65" y="348"/>
                      </a:lnTo>
                      <a:lnTo>
                        <a:pt x="62" y="347"/>
                      </a:lnTo>
                      <a:lnTo>
                        <a:pt x="59" y="348"/>
                      </a:lnTo>
                      <a:lnTo>
                        <a:pt x="54" y="348"/>
                      </a:lnTo>
                      <a:lnTo>
                        <a:pt x="52" y="345"/>
                      </a:lnTo>
                      <a:lnTo>
                        <a:pt x="52" y="352"/>
                      </a:lnTo>
                      <a:lnTo>
                        <a:pt x="47" y="352"/>
                      </a:lnTo>
                      <a:lnTo>
                        <a:pt x="44" y="356"/>
                      </a:lnTo>
                      <a:lnTo>
                        <a:pt x="46" y="358"/>
                      </a:lnTo>
                      <a:lnTo>
                        <a:pt x="47" y="361"/>
                      </a:lnTo>
                      <a:lnTo>
                        <a:pt x="44" y="365"/>
                      </a:lnTo>
                      <a:lnTo>
                        <a:pt x="39" y="363"/>
                      </a:lnTo>
                      <a:lnTo>
                        <a:pt x="31" y="365"/>
                      </a:lnTo>
                      <a:lnTo>
                        <a:pt x="28" y="365"/>
                      </a:lnTo>
                      <a:lnTo>
                        <a:pt x="26" y="363"/>
                      </a:lnTo>
                      <a:lnTo>
                        <a:pt x="28" y="360"/>
                      </a:lnTo>
                      <a:lnTo>
                        <a:pt x="28" y="353"/>
                      </a:lnTo>
                      <a:lnTo>
                        <a:pt x="25" y="352"/>
                      </a:lnTo>
                      <a:lnTo>
                        <a:pt x="23" y="348"/>
                      </a:lnTo>
                      <a:lnTo>
                        <a:pt x="21" y="347"/>
                      </a:lnTo>
                      <a:lnTo>
                        <a:pt x="21" y="345"/>
                      </a:lnTo>
                      <a:lnTo>
                        <a:pt x="26" y="345"/>
                      </a:lnTo>
                      <a:lnTo>
                        <a:pt x="28" y="340"/>
                      </a:lnTo>
                      <a:lnTo>
                        <a:pt x="28" y="337"/>
                      </a:lnTo>
                      <a:lnTo>
                        <a:pt x="25" y="338"/>
                      </a:lnTo>
                      <a:lnTo>
                        <a:pt x="21" y="335"/>
                      </a:lnTo>
                      <a:lnTo>
                        <a:pt x="20" y="332"/>
                      </a:lnTo>
                      <a:lnTo>
                        <a:pt x="16" y="332"/>
                      </a:lnTo>
                      <a:lnTo>
                        <a:pt x="16" y="327"/>
                      </a:lnTo>
                      <a:lnTo>
                        <a:pt x="13" y="321"/>
                      </a:lnTo>
                      <a:lnTo>
                        <a:pt x="12" y="319"/>
                      </a:lnTo>
                      <a:lnTo>
                        <a:pt x="10" y="316"/>
                      </a:lnTo>
                      <a:lnTo>
                        <a:pt x="8" y="314"/>
                      </a:lnTo>
                      <a:lnTo>
                        <a:pt x="7" y="312"/>
                      </a:lnTo>
                      <a:lnTo>
                        <a:pt x="8" y="311"/>
                      </a:lnTo>
                      <a:lnTo>
                        <a:pt x="8" y="307"/>
                      </a:lnTo>
                      <a:lnTo>
                        <a:pt x="7" y="304"/>
                      </a:lnTo>
                      <a:lnTo>
                        <a:pt x="8" y="303"/>
                      </a:lnTo>
                      <a:lnTo>
                        <a:pt x="12" y="299"/>
                      </a:lnTo>
                      <a:lnTo>
                        <a:pt x="10" y="298"/>
                      </a:lnTo>
                      <a:lnTo>
                        <a:pt x="7" y="296"/>
                      </a:lnTo>
                      <a:lnTo>
                        <a:pt x="8" y="294"/>
                      </a:lnTo>
                      <a:lnTo>
                        <a:pt x="7" y="294"/>
                      </a:lnTo>
                      <a:lnTo>
                        <a:pt x="7" y="296"/>
                      </a:lnTo>
                      <a:lnTo>
                        <a:pt x="8" y="299"/>
                      </a:lnTo>
                      <a:lnTo>
                        <a:pt x="5" y="301"/>
                      </a:lnTo>
                      <a:lnTo>
                        <a:pt x="5" y="298"/>
                      </a:lnTo>
                      <a:lnTo>
                        <a:pt x="5" y="296"/>
                      </a:lnTo>
                      <a:lnTo>
                        <a:pt x="2" y="294"/>
                      </a:lnTo>
                      <a:lnTo>
                        <a:pt x="2" y="289"/>
                      </a:lnTo>
                      <a:lnTo>
                        <a:pt x="0" y="288"/>
                      </a:lnTo>
                      <a:lnTo>
                        <a:pt x="0" y="281"/>
                      </a:lnTo>
                      <a:lnTo>
                        <a:pt x="2" y="280"/>
                      </a:lnTo>
                      <a:lnTo>
                        <a:pt x="3" y="278"/>
                      </a:lnTo>
                      <a:lnTo>
                        <a:pt x="3" y="278"/>
                      </a:lnTo>
                      <a:close/>
                      <a:moveTo>
                        <a:pt x="95" y="270"/>
                      </a:moveTo>
                      <a:lnTo>
                        <a:pt x="98" y="273"/>
                      </a:lnTo>
                      <a:lnTo>
                        <a:pt x="100" y="275"/>
                      </a:lnTo>
                      <a:lnTo>
                        <a:pt x="100" y="270"/>
                      </a:lnTo>
                      <a:lnTo>
                        <a:pt x="103" y="267"/>
                      </a:lnTo>
                      <a:lnTo>
                        <a:pt x="103" y="265"/>
                      </a:lnTo>
                      <a:lnTo>
                        <a:pt x="98" y="265"/>
                      </a:lnTo>
                      <a:lnTo>
                        <a:pt x="95" y="270"/>
                      </a:lnTo>
                      <a:lnTo>
                        <a:pt x="95" y="270"/>
                      </a:lnTo>
                      <a:close/>
                      <a:moveTo>
                        <a:pt x="5" y="303"/>
                      </a:moveTo>
                      <a:lnTo>
                        <a:pt x="3" y="304"/>
                      </a:lnTo>
                      <a:lnTo>
                        <a:pt x="5" y="304"/>
                      </a:lnTo>
                      <a:lnTo>
                        <a:pt x="7" y="301"/>
                      </a:lnTo>
                      <a:lnTo>
                        <a:pt x="5" y="303"/>
                      </a:lnTo>
                      <a:lnTo>
                        <a:pt x="5" y="303"/>
                      </a:lnTo>
                      <a:close/>
                      <a:moveTo>
                        <a:pt x="110" y="291"/>
                      </a:moveTo>
                      <a:lnTo>
                        <a:pt x="111" y="294"/>
                      </a:lnTo>
                      <a:lnTo>
                        <a:pt x="113" y="293"/>
                      </a:lnTo>
                      <a:lnTo>
                        <a:pt x="111" y="291"/>
                      </a:lnTo>
                      <a:lnTo>
                        <a:pt x="110" y="291"/>
                      </a:lnTo>
                      <a:lnTo>
                        <a:pt x="110" y="291"/>
                      </a:lnTo>
                      <a:close/>
                      <a:moveTo>
                        <a:pt x="111" y="306"/>
                      </a:moveTo>
                      <a:lnTo>
                        <a:pt x="111" y="307"/>
                      </a:lnTo>
                      <a:lnTo>
                        <a:pt x="113" y="306"/>
                      </a:lnTo>
                      <a:lnTo>
                        <a:pt x="116" y="306"/>
                      </a:lnTo>
                      <a:lnTo>
                        <a:pt x="116" y="304"/>
                      </a:lnTo>
                      <a:lnTo>
                        <a:pt x="113" y="304"/>
                      </a:lnTo>
                      <a:lnTo>
                        <a:pt x="111" y="306"/>
                      </a:lnTo>
                      <a:lnTo>
                        <a:pt x="111" y="306"/>
                      </a:lnTo>
                      <a:close/>
                      <a:moveTo>
                        <a:pt x="100" y="332"/>
                      </a:moveTo>
                      <a:lnTo>
                        <a:pt x="103" y="330"/>
                      </a:lnTo>
                      <a:lnTo>
                        <a:pt x="105" y="329"/>
                      </a:lnTo>
                      <a:lnTo>
                        <a:pt x="103" y="327"/>
                      </a:lnTo>
                      <a:lnTo>
                        <a:pt x="103" y="325"/>
                      </a:lnTo>
                      <a:lnTo>
                        <a:pt x="108" y="322"/>
                      </a:lnTo>
                      <a:lnTo>
                        <a:pt x="108" y="321"/>
                      </a:lnTo>
                      <a:lnTo>
                        <a:pt x="110" y="317"/>
                      </a:lnTo>
                      <a:lnTo>
                        <a:pt x="110" y="316"/>
                      </a:lnTo>
                      <a:lnTo>
                        <a:pt x="108" y="314"/>
                      </a:lnTo>
                      <a:lnTo>
                        <a:pt x="108" y="312"/>
                      </a:lnTo>
                      <a:lnTo>
                        <a:pt x="110" y="309"/>
                      </a:lnTo>
                      <a:lnTo>
                        <a:pt x="110" y="309"/>
                      </a:lnTo>
                      <a:lnTo>
                        <a:pt x="108" y="307"/>
                      </a:lnTo>
                      <a:lnTo>
                        <a:pt x="106" y="309"/>
                      </a:lnTo>
                      <a:lnTo>
                        <a:pt x="103" y="309"/>
                      </a:lnTo>
                      <a:lnTo>
                        <a:pt x="101" y="311"/>
                      </a:lnTo>
                      <a:lnTo>
                        <a:pt x="100" y="314"/>
                      </a:lnTo>
                      <a:lnTo>
                        <a:pt x="98" y="316"/>
                      </a:lnTo>
                      <a:lnTo>
                        <a:pt x="98" y="321"/>
                      </a:lnTo>
                      <a:lnTo>
                        <a:pt x="98" y="321"/>
                      </a:lnTo>
                      <a:lnTo>
                        <a:pt x="101" y="325"/>
                      </a:lnTo>
                      <a:lnTo>
                        <a:pt x="101" y="325"/>
                      </a:lnTo>
                      <a:lnTo>
                        <a:pt x="101" y="327"/>
                      </a:lnTo>
                      <a:lnTo>
                        <a:pt x="100" y="330"/>
                      </a:lnTo>
                      <a:lnTo>
                        <a:pt x="100" y="332"/>
                      </a:lnTo>
                      <a:lnTo>
                        <a:pt x="100" y="332"/>
                      </a:lnTo>
                      <a:close/>
                      <a:moveTo>
                        <a:pt x="77" y="342"/>
                      </a:moveTo>
                      <a:lnTo>
                        <a:pt x="77" y="345"/>
                      </a:lnTo>
                      <a:lnTo>
                        <a:pt x="77" y="347"/>
                      </a:lnTo>
                      <a:lnTo>
                        <a:pt x="77" y="348"/>
                      </a:lnTo>
                      <a:lnTo>
                        <a:pt x="79" y="345"/>
                      </a:lnTo>
                      <a:lnTo>
                        <a:pt x="80" y="340"/>
                      </a:lnTo>
                      <a:lnTo>
                        <a:pt x="82" y="334"/>
                      </a:lnTo>
                      <a:lnTo>
                        <a:pt x="82" y="329"/>
                      </a:lnTo>
                      <a:lnTo>
                        <a:pt x="83" y="324"/>
                      </a:lnTo>
                      <a:lnTo>
                        <a:pt x="82" y="322"/>
                      </a:lnTo>
                      <a:lnTo>
                        <a:pt x="80" y="325"/>
                      </a:lnTo>
                      <a:lnTo>
                        <a:pt x="80" y="327"/>
                      </a:lnTo>
                      <a:lnTo>
                        <a:pt x="79" y="332"/>
                      </a:lnTo>
                      <a:lnTo>
                        <a:pt x="77" y="332"/>
                      </a:lnTo>
                      <a:lnTo>
                        <a:pt x="77" y="34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7" name="Freeform 191">
                  <a:extLst>
                    <a:ext uri="{FF2B5EF4-FFF2-40B4-BE49-F238E27FC236}">
                      <a16:creationId xmlns:a16="http://schemas.microsoft.com/office/drawing/2014/main" xmlns="" id="{88770D2F-AB6D-47EF-9D7D-7E9534AC713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11" y="650"/>
                  <a:ext cx="158" cy="291"/>
                </a:xfrm>
                <a:custGeom>
                  <a:avLst/>
                  <a:gdLst>
                    <a:gd name="T0" fmla="*/ 88 w 97"/>
                    <a:gd name="T1" fmla="*/ 147 h 178"/>
                    <a:gd name="T2" fmla="*/ 90 w 97"/>
                    <a:gd name="T3" fmla="*/ 120 h 178"/>
                    <a:gd name="T4" fmla="*/ 83 w 97"/>
                    <a:gd name="T5" fmla="*/ 101 h 178"/>
                    <a:gd name="T6" fmla="*/ 80 w 97"/>
                    <a:gd name="T7" fmla="*/ 89 h 178"/>
                    <a:gd name="T8" fmla="*/ 77 w 97"/>
                    <a:gd name="T9" fmla="*/ 68 h 178"/>
                    <a:gd name="T10" fmla="*/ 74 w 97"/>
                    <a:gd name="T11" fmla="*/ 44 h 178"/>
                    <a:gd name="T12" fmla="*/ 62 w 97"/>
                    <a:gd name="T13" fmla="*/ 34 h 178"/>
                    <a:gd name="T14" fmla="*/ 61 w 97"/>
                    <a:gd name="T15" fmla="*/ 21 h 178"/>
                    <a:gd name="T16" fmla="*/ 62 w 97"/>
                    <a:gd name="T17" fmla="*/ 7 h 178"/>
                    <a:gd name="T18" fmla="*/ 47 w 97"/>
                    <a:gd name="T19" fmla="*/ 0 h 178"/>
                    <a:gd name="T20" fmla="*/ 40 w 97"/>
                    <a:gd name="T21" fmla="*/ 5 h 178"/>
                    <a:gd name="T22" fmla="*/ 38 w 97"/>
                    <a:gd name="T23" fmla="*/ 19 h 178"/>
                    <a:gd name="T24" fmla="*/ 32 w 97"/>
                    <a:gd name="T25" fmla="*/ 25 h 178"/>
                    <a:gd name="T26" fmla="*/ 20 w 97"/>
                    <a:gd name="T27" fmla="*/ 28 h 178"/>
                    <a:gd name="T28" fmla="*/ 5 w 97"/>
                    <a:gd name="T29" fmla="*/ 17 h 178"/>
                    <a:gd name="T30" fmla="*/ 0 w 97"/>
                    <a:gd name="T31" fmla="*/ 21 h 178"/>
                    <a:gd name="T32" fmla="*/ 14 w 97"/>
                    <a:gd name="T33" fmla="*/ 31 h 178"/>
                    <a:gd name="T34" fmla="*/ 20 w 97"/>
                    <a:gd name="T35" fmla="*/ 36 h 178"/>
                    <a:gd name="T36" fmla="*/ 23 w 97"/>
                    <a:gd name="T37" fmla="*/ 47 h 178"/>
                    <a:gd name="T38" fmla="*/ 27 w 97"/>
                    <a:gd name="T39" fmla="*/ 57 h 178"/>
                    <a:gd name="T40" fmla="*/ 28 w 97"/>
                    <a:gd name="T41" fmla="*/ 72 h 178"/>
                    <a:gd name="T42" fmla="*/ 35 w 97"/>
                    <a:gd name="T43" fmla="*/ 81 h 178"/>
                    <a:gd name="T44" fmla="*/ 43 w 97"/>
                    <a:gd name="T45" fmla="*/ 90 h 178"/>
                    <a:gd name="T46" fmla="*/ 45 w 97"/>
                    <a:gd name="T47" fmla="*/ 97 h 178"/>
                    <a:gd name="T48" fmla="*/ 35 w 97"/>
                    <a:gd name="T49" fmla="*/ 102 h 178"/>
                    <a:gd name="T50" fmla="*/ 29 w 97"/>
                    <a:gd name="T51" fmla="*/ 108 h 178"/>
                    <a:gd name="T52" fmla="*/ 28 w 97"/>
                    <a:gd name="T53" fmla="*/ 117 h 178"/>
                    <a:gd name="T54" fmla="*/ 21 w 97"/>
                    <a:gd name="T55" fmla="*/ 118 h 178"/>
                    <a:gd name="T56" fmla="*/ 19 w 97"/>
                    <a:gd name="T57" fmla="*/ 125 h 178"/>
                    <a:gd name="T58" fmla="*/ 14 w 97"/>
                    <a:gd name="T59" fmla="*/ 126 h 178"/>
                    <a:gd name="T60" fmla="*/ 14 w 97"/>
                    <a:gd name="T61" fmla="*/ 134 h 178"/>
                    <a:gd name="T62" fmla="*/ 15 w 97"/>
                    <a:gd name="T63" fmla="*/ 141 h 178"/>
                    <a:gd name="T64" fmla="*/ 19 w 97"/>
                    <a:gd name="T65" fmla="*/ 151 h 178"/>
                    <a:gd name="T66" fmla="*/ 17 w 97"/>
                    <a:gd name="T67" fmla="*/ 164 h 178"/>
                    <a:gd name="T68" fmla="*/ 24 w 97"/>
                    <a:gd name="T69" fmla="*/ 167 h 178"/>
                    <a:gd name="T70" fmla="*/ 31 w 97"/>
                    <a:gd name="T71" fmla="*/ 170 h 178"/>
                    <a:gd name="T72" fmla="*/ 34 w 97"/>
                    <a:gd name="T73" fmla="*/ 178 h 178"/>
                    <a:gd name="T74" fmla="*/ 40 w 97"/>
                    <a:gd name="T75" fmla="*/ 175 h 178"/>
                    <a:gd name="T76" fmla="*/ 53 w 97"/>
                    <a:gd name="T77" fmla="*/ 169 h 178"/>
                    <a:gd name="T78" fmla="*/ 57 w 97"/>
                    <a:gd name="T79" fmla="*/ 168 h 178"/>
                    <a:gd name="T80" fmla="*/ 61 w 97"/>
                    <a:gd name="T81" fmla="*/ 168 h 178"/>
                    <a:gd name="T82" fmla="*/ 68 w 97"/>
                    <a:gd name="T83" fmla="*/ 166 h 178"/>
                    <a:gd name="T84" fmla="*/ 74 w 97"/>
                    <a:gd name="T85" fmla="*/ 165 h 178"/>
                    <a:gd name="T86" fmla="*/ 38 w 97"/>
                    <a:gd name="T87" fmla="*/ 93 h 178"/>
                    <a:gd name="T88" fmla="*/ 40 w 97"/>
                    <a:gd name="T89" fmla="*/ 93 h 178"/>
                    <a:gd name="T90" fmla="*/ 12 w 97"/>
                    <a:gd name="T91" fmla="*/ 122 h 178"/>
                    <a:gd name="T92" fmla="*/ 12 w 97"/>
                    <a:gd name="T93" fmla="*/ 122 h 178"/>
                    <a:gd name="T94" fmla="*/ 32 w 97"/>
                    <a:gd name="T95" fmla="*/ 174 h 178"/>
                    <a:gd name="T96" fmla="*/ 29 w 97"/>
                    <a:gd name="T97" fmla="*/ 169 h 178"/>
                    <a:gd name="T98" fmla="*/ 24 w 97"/>
                    <a:gd name="T99" fmla="*/ 168 h 178"/>
                    <a:gd name="T100" fmla="*/ 18 w 97"/>
                    <a:gd name="T101" fmla="*/ 168 h 178"/>
                    <a:gd name="T102" fmla="*/ 6 w 97"/>
                    <a:gd name="T103" fmla="*/ 168 h 178"/>
                    <a:gd name="T104" fmla="*/ 9 w 97"/>
                    <a:gd name="T105" fmla="*/ 173 h 178"/>
                    <a:gd name="T106" fmla="*/ 5 w 97"/>
                    <a:gd name="T107" fmla="*/ 172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7" h="178">
                      <a:moveTo>
                        <a:pt x="76" y="165"/>
                      </a:moveTo>
                      <a:cubicBezTo>
                        <a:pt x="76" y="162"/>
                        <a:pt x="76" y="162"/>
                        <a:pt x="76" y="162"/>
                      </a:cubicBezTo>
                      <a:cubicBezTo>
                        <a:pt x="81" y="157"/>
                        <a:pt x="81" y="157"/>
                        <a:pt x="81" y="157"/>
                      </a:cubicBezTo>
                      <a:cubicBezTo>
                        <a:pt x="83" y="156"/>
                        <a:pt x="83" y="156"/>
                        <a:pt x="83" y="156"/>
                      </a:cubicBezTo>
                      <a:cubicBezTo>
                        <a:pt x="85" y="152"/>
                        <a:pt x="85" y="152"/>
                        <a:pt x="85" y="152"/>
                      </a:cubicBezTo>
                      <a:cubicBezTo>
                        <a:pt x="88" y="147"/>
                        <a:pt x="88" y="147"/>
                        <a:pt x="88" y="147"/>
                      </a:cubicBezTo>
                      <a:cubicBezTo>
                        <a:pt x="90" y="143"/>
                        <a:pt x="90" y="143"/>
                        <a:pt x="90" y="143"/>
                      </a:cubicBezTo>
                      <a:cubicBezTo>
                        <a:pt x="94" y="136"/>
                        <a:pt x="94" y="136"/>
                        <a:pt x="94" y="136"/>
                      </a:cubicBezTo>
                      <a:cubicBezTo>
                        <a:pt x="97" y="129"/>
                        <a:pt x="97" y="129"/>
                        <a:pt x="97" y="129"/>
                      </a:cubicBezTo>
                      <a:cubicBezTo>
                        <a:pt x="96" y="126"/>
                        <a:pt x="96" y="126"/>
                        <a:pt x="96" y="126"/>
                      </a:cubicBezTo>
                      <a:cubicBezTo>
                        <a:pt x="92" y="121"/>
                        <a:pt x="92" y="121"/>
                        <a:pt x="92" y="121"/>
                      </a:cubicBezTo>
                      <a:cubicBezTo>
                        <a:pt x="90" y="120"/>
                        <a:pt x="90" y="120"/>
                        <a:pt x="90" y="120"/>
                      </a:cubicBezTo>
                      <a:cubicBezTo>
                        <a:pt x="85" y="114"/>
                        <a:pt x="85" y="114"/>
                        <a:pt x="85" y="114"/>
                      </a:cubicBezTo>
                      <a:cubicBezTo>
                        <a:pt x="86" y="111"/>
                        <a:pt x="86" y="111"/>
                        <a:pt x="86" y="111"/>
                      </a:cubicBezTo>
                      <a:cubicBezTo>
                        <a:pt x="88" y="108"/>
                        <a:pt x="88" y="108"/>
                        <a:pt x="88" y="108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85" y="103"/>
                        <a:pt x="85" y="103"/>
                        <a:pt x="85" y="103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97"/>
                        <a:pt x="83" y="97"/>
                        <a:pt x="83" y="97"/>
                      </a:cubicBezTo>
                      <a:cubicBezTo>
                        <a:pt x="84" y="96"/>
                        <a:pt x="84" y="96"/>
                        <a:pt x="84" y="96"/>
                      </a:cubicBezTo>
                      <a:cubicBezTo>
                        <a:pt x="83" y="94"/>
                        <a:pt x="83" y="94"/>
                        <a:pt x="83" y="94"/>
                      </a:cubicBezTo>
                      <a:cubicBezTo>
                        <a:pt x="81" y="94"/>
                        <a:pt x="81" y="94"/>
                        <a:pt x="81" y="94"/>
                      </a:cubicBezTo>
                      <a:cubicBezTo>
                        <a:pt x="80" y="92"/>
                        <a:pt x="80" y="92"/>
                        <a:pt x="80" y="92"/>
                      </a:cubicBezTo>
                      <a:cubicBezTo>
                        <a:pt x="80" y="89"/>
                        <a:pt x="80" y="89"/>
                        <a:pt x="80" y="89"/>
                      </a:cubicBezTo>
                      <a:cubicBezTo>
                        <a:pt x="81" y="87"/>
                        <a:pt x="81" y="87"/>
                        <a:pt x="81" y="87"/>
                      </a:cubicBezTo>
                      <a:cubicBezTo>
                        <a:pt x="79" y="87"/>
                        <a:pt x="79" y="87"/>
                        <a:pt x="79" y="87"/>
                      </a:cubicBez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79" y="79"/>
                        <a:pt x="79" y="79"/>
                        <a:pt x="79" y="79"/>
                      </a:cubicBezTo>
                      <a:cubicBezTo>
                        <a:pt x="81" y="78"/>
                        <a:pt x="81" y="78"/>
                        <a:pt x="81" y="78"/>
                      </a:cubicBezTo>
                      <a:cubicBezTo>
                        <a:pt x="77" y="68"/>
                        <a:pt x="77" y="68"/>
                        <a:pt x="77" y="68"/>
                      </a:cubicBezTo>
                      <a:cubicBezTo>
                        <a:pt x="73" y="60"/>
                        <a:pt x="73" y="60"/>
                        <a:pt x="73" y="60"/>
                      </a:cubicBezTo>
                      <a:cubicBezTo>
                        <a:pt x="72" y="58"/>
                        <a:pt x="72" y="58"/>
                        <a:pt x="72" y="58"/>
                      </a:cubicBezTo>
                      <a:cubicBezTo>
                        <a:pt x="70" y="55"/>
                        <a:pt x="70" y="55"/>
                        <a:pt x="70" y="55"/>
                      </a:cubicBezTo>
                      <a:cubicBezTo>
                        <a:pt x="71" y="50"/>
                        <a:pt x="71" y="50"/>
                        <a:pt x="71" y="50"/>
                      </a:cubicBezTo>
                      <a:cubicBezTo>
                        <a:pt x="73" y="47"/>
                        <a:pt x="73" y="47"/>
                        <a:pt x="73" y="47"/>
                      </a:cubicBezTo>
                      <a:cubicBezTo>
                        <a:pt x="74" y="44"/>
                        <a:pt x="74" y="44"/>
                        <a:pt x="74" y="44"/>
                      </a:cubicBezTo>
                      <a:cubicBezTo>
                        <a:pt x="73" y="43"/>
                        <a:pt x="73" y="43"/>
                        <a:pt x="73" y="43"/>
                      </a:cubicBezTo>
                      <a:cubicBezTo>
                        <a:pt x="69" y="40"/>
                        <a:pt x="69" y="40"/>
                        <a:pt x="69" y="40"/>
                      </a:cubicBezTo>
                      <a:cubicBezTo>
                        <a:pt x="68" y="38"/>
                        <a:pt x="68" y="38"/>
                        <a:pt x="68" y="38"/>
                      </a:cubicBezTo>
                      <a:cubicBezTo>
                        <a:pt x="66" y="36"/>
                        <a:pt x="66" y="36"/>
                        <a:pt x="66" y="36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61" y="30"/>
                        <a:pt x="61" y="30"/>
                        <a:pt x="61" y="30"/>
                      </a:cubicBezTo>
                      <a:cubicBezTo>
                        <a:pt x="59" y="28"/>
                        <a:pt x="59" y="28"/>
                        <a:pt x="59" y="28"/>
                      </a:cubicBezTo>
                      <a:cubicBezTo>
                        <a:pt x="60" y="25"/>
                        <a:pt x="60" y="25"/>
                        <a:pt x="60" y="25"/>
                      </a:cubicBezTo>
                      <a:cubicBezTo>
                        <a:pt x="61" y="22"/>
                        <a:pt x="61" y="22"/>
                        <a:pt x="61" y="22"/>
                      </a:cubicBezTo>
                      <a:cubicBezTo>
                        <a:pt x="59" y="22"/>
                        <a:pt x="59" y="22"/>
                        <a:pt x="59" y="22"/>
                      </a:cubicBezTo>
                      <a:cubicBezTo>
                        <a:pt x="61" y="21"/>
                        <a:pt x="61" y="21"/>
                        <a:pt x="61" y="21"/>
                      </a:cubicBezTo>
                      <a:cubicBezTo>
                        <a:pt x="63" y="20"/>
                        <a:pt x="63" y="20"/>
                        <a:pt x="63" y="20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4" y="13"/>
                        <a:pt x="64" y="13"/>
                        <a:pt x="64" y="13"/>
                      </a:cubicBezTo>
                      <a:cubicBezTo>
                        <a:pt x="65" y="11"/>
                        <a:pt x="65" y="11"/>
                        <a:pt x="65" y="11"/>
                      </a:cubicBezTo>
                      <a:cubicBezTo>
                        <a:pt x="63" y="9"/>
                        <a:pt x="63" y="9"/>
                        <a:pt x="63" y="9"/>
                      </a:cubicBezTo>
                      <a:cubicBezTo>
                        <a:pt x="62" y="7"/>
                        <a:pt x="62" y="7"/>
                        <a:pt x="62" y="7"/>
                      </a:cubicBez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7" y="6"/>
                        <a:pt x="57" y="6"/>
                        <a:pt x="57" y="6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3" y="1"/>
                        <a:pt x="53" y="1"/>
                        <a:pt x="53" y="1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6" y="2"/>
                        <a:pt x="46" y="2"/>
                        <a:pt x="46" y="2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4" y="3"/>
                        <a:pt x="44" y="3"/>
                        <a:pt x="44" y="3"/>
                      </a:cubicBezTo>
                      <a:cubicBezTo>
                        <a:pt x="42" y="3"/>
                        <a:pt x="42" y="3"/>
                        <a:pt x="42" y="3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5"/>
                        <a:pt x="40" y="5"/>
                        <a:pt x="40" y="5"/>
                      </a:cubicBezTo>
                      <a:cubicBezTo>
                        <a:pt x="38" y="7"/>
                        <a:pt x="38" y="7"/>
                        <a:pt x="38" y="7"/>
                      </a:cubicBezTo>
                      <a:cubicBezTo>
                        <a:pt x="37" y="8"/>
                        <a:pt x="37" y="8"/>
                        <a:pt x="37" y="8"/>
                      </a:cubicBezTo>
                      <a:cubicBezTo>
                        <a:pt x="38" y="9"/>
                        <a:pt x="38" y="9"/>
                        <a:pt x="38" y="9"/>
                      </a:cubicBezTo>
                      <a:cubicBezTo>
                        <a:pt x="38" y="11"/>
                        <a:pt x="38" y="11"/>
                        <a:pt x="38" y="11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6" y="23"/>
                        <a:pt x="36" y="23"/>
                        <a:pt x="36" y="23"/>
                      </a:cubicBezTo>
                      <a:cubicBezTo>
                        <a:pt x="35" y="23"/>
                        <a:pt x="35" y="23"/>
                        <a:pt x="35" y="23"/>
                      </a:cubicBez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25" y="24"/>
                        <a:pt x="25" y="24"/>
                        <a:pt x="2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15" y="28"/>
                        <a:pt x="15" y="28"/>
                        <a:pt x="15" y="28"/>
                      </a:cubicBezTo>
                      <a:cubicBezTo>
                        <a:pt x="12" y="27"/>
                        <a:pt x="12" y="27"/>
                        <a:pt x="12" y="27"/>
                      </a:cubicBez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5" y="17"/>
                        <a:pt x="5" y="17"/>
                        <a:pt x="5" y="17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2" y="21"/>
                        <a:pt x="2" y="21"/>
                        <a:pt x="2" y="21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7" y="29"/>
                        <a:pt x="7" y="29"/>
                        <a:pt x="7" y="29"/>
                      </a:cubicBezTo>
                      <a:cubicBezTo>
                        <a:pt x="10" y="31"/>
                        <a:pt x="10" y="31"/>
                        <a:pt x="10" y="31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cubicBezTo>
                        <a:pt x="16" y="32"/>
                        <a:pt x="16" y="32"/>
                        <a:pt x="16" y="32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20" y="37"/>
                        <a:pt x="20" y="37"/>
                        <a:pt x="20" y="37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3" y="39"/>
                        <a:pt x="23" y="39"/>
                        <a:pt x="23" y="39"/>
                      </a:cubicBezTo>
                      <a:cubicBezTo>
                        <a:pt x="24" y="40"/>
                        <a:pt x="24" y="40"/>
                        <a:pt x="24" y="40"/>
                      </a:cubicBezTo>
                      <a:cubicBezTo>
                        <a:pt x="24" y="42"/>
                        <a:pt x="24" y="42"/>
                        <a:pt x="24" y="42"/>
                      </a:cubicBezTo>
                      <a:cubicBezTo>
                        <a:pt x="24" y="45"/>
                        <a:pt x="24" y="45"/>
                        <a:pt x="24" y="45"/>
                      </a:cubicBezTo>
                      <a:cubicBezTo>
                        <a:pt x="23" y="47"/>
                        <a:pt x="23" y="47"/>
                        <a:pt x="23" y="47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7" y="52"/>
                        <a:pt x="27" y="52"/>
                        <a:pt x="27" y="52"/>
                      </a:cubicBezTo>
                      <a:cubicBezTo>
                        <a:pt x="26" y="53"/>
                        <a:pt x="26" y="53"/>
                        <a:pt x="26" y="53"/>
                      </a:cubicBezTo>
                      <a:cubicBezTo>
                        <a:pt x="26" y="56"/>
                        <a:pt x="26" y="56"/>
                        <a:pt x="26" y="56"/>
                      </a:cubicBezTo>
                      <a:cubicBezTo>
                        <a:pt x="27" y="57"/>
                        <a:pt x="27" y="57"/>
                        <a:pt x="27" y="57"/>
                      </a:cubicBezTo>
                      <a:cubicBezTo>
                        <a:pt x="28" y="61"/>
                        <a:pt x="28" y="61"/>
                        <a:pt x="28" y="61"/>
                      </a:cubicBezTo>
                      <a:cubicBezTo>
                        <a:pt x="27" y="63"/>
                        <a:pt x="27" y="63"/>
                        <a:pt x="27" y="63"/>
                      </a:cubicBezTo>
                      <a:cubicBezTo>
                        <a:pt x="28" y="64"/>
                        <a:pt x="28" y="64"/>
                        <a:pt x="28" y="64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7" y="69"/>
                        <a:pt x="27" y="69"/>
                        <a:pt x="27" y="69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3" y="78"/>
                        <a:pt x="33" y="78"/>
                        <a:pt x="33" y="78"/>
                      </a:cubicBezTo>
                      <a:cubicBezTo>
                        <a:pt x="33" y="80"/>
                        <a:pt x="33" y="80"/>
                        <a:pt x="33" y="80"/>
                      </a:cubicBezTo>
                      <a:cubicBezTo>
                        <a:pt x="33" y="81"/>
                        <a:pt x="33" y="81"/>
                        <a:pt x="33" y="81"/>
                      </a:cubicBezTo>
                      <a:cubicBezTo>
                        <a:pt x="35" y="81"/>
                        <a:pt x="35" y="81"/>
                        <a:pt x="35" y="81"/>
                      </a:cubicBezTo>
                      <a:cubicBezTo>
                        <a:pt x="37" y="83"/>
                        <a:pt x="37" y="83"/>
                        <a:pt x="37" y="83"/>
                      </a:cubicBezTo>
                      <a:cubicBezTo>
                        <a:pt x="40" y="83"/>
                        <a:pt x="40" y="83"/>
                        <a:pt x="40" y="83"/>
                      </a:cubicBezTo>
                      <a:cubicBezTo>
                        <a:pt x="43" y="85"/>
                        <a:pt x="43" y="85"/>
                        <a:pt x="43" y="85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3" y="87"/>
                        <a:pt x="43" y="87"/>
                        <a:pt x="43" y="87"/>
                      </a:cubicBezTo>
                      <a:cubicBezTo>
                        <a:pt x="43" y="90"/>
                        <a:pt x="43" y="90"/>
                        <a:pt x="43" y="90"/>
                      </a:cubicBezTo>
                      <a:cubicBezTo>
                        <a:pt x="42" y="91"/>
                        <a:pt x="42" y="91"/>
                        <a:pt x="42" y="91"/>
                      </a:cubicBezTo>
                      <a:cubicBezTo>
                        <a:pt x="45" y="93"/>
                        <a:pt x="45" y="93"/>
                        <a:pt x="45" y="93"/>
                      </a:cubicBezTo>
                      <a:cubicBezTo>
                        <a:pt x="43" y="93"/>
                        <a:pt x="43" y="93"/>
                        <a:pt x="43" y="93"/>
                      </a:cubicBezTo>
                      <a:cubicBezTo>
                        <a:pt x="42" y="93"/>
                        <a:pt x="42" y="93"/>
                        <a:pt x="42" y="93"/>
                      </a:cubicBezTo>
                      <a:cubicBezTo>
                        <a:pt x="45" y="95"/>
                        <a:pt x="45" y="95"/>
                        <a:pt x="45" y="95"/>
                      </a:cubicBezTo>
                      <a:cubicBezTo>
                        <a:pt x="45" y="97"/>
                        <a:pt x="45" y="97"/>
                        <a:pt x="45" y="97"/>
                      </a:cubicBezTo>
                      <a:cubicBezTo>
                        <a:pt x="42" y="95"/>
                        <a:pt x="42" y="95"/>
                        <a:pt x="42" y="95"/>
                      </a:cubicBezTo>
                      <a:cubicBezTo>
                        <a:pt x="39" y="95"/>
                        <a:pt x="39" y="95"/>
                        <a:pt x="39" y="95"/>
                      </a:cubicBezTo>
                      <a:cubicBezTo>
                        <a:pt x="37" y="97"/>
                        <a:pt x="37" y="97"/>
                        <a:pt x="37" y="97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35" y="100"/>
                        <a:pt x="35" y="100"/>
                        <a:pt x="35" y="100"/>
                      </a:cubicBezTo>
                      <a:cubicBezTo>
                        <a:pt x="35" y="102"/>
                        <a:pt x="35" y="102"/>
                        <a:pt x="35" y="102"/>
                      </a:cubicBezTo>
                      <a:cubicBezTo>
                        <a:pt x="34" y="102"/>
                        <a:pt x="34" y="102"/>
                        <a:pt x="34" y="102"/>
                      </a:cubicBezTo>
                      <a:cubicBezTo>
                        <a:pt x="31" y="105"/>
                        <a:pt x="31" y="105"/>
                        <a:pt x="31" y="105"/>
                      </a:cubicBezTo>
                      <a:cubicBezTo>
                        <a:pt x="31" y="109"/>
                        <a:pt x="31" y="109"/>
                        <a:pt x="31" y="109"/>
                      </a:cubicBezTo>
                      <a:cubicBezTo>
                        <a:pt x="30" y="109"/>
                        <a:pt x="30" y="109"/>
                        <a:pt x="30" y="109"/>
                      </a:cubicBezTo>
                      <a:cubicBezTo>
                        <a:pt x="29" y="108"/>
                        <a:pt x="29" y="108"/>
                        <a:pt x="29" y="108"/>
                      </a:cubicBezTo>
                      <a:cubicBezTo>
                        <a:pt x="29" y="108"/>
                        <a:pt x="29" y="108"/>
                        <a:pt x="29" y="108"/>
                      </a:cubicBezTo>
                      <a:cubicBezTo>
                        <a:pt x="29" y="110"/>
                        <a:pt x="29" y="110"/>
                        <a:pt x="29" y="110"/>
                      </a:cubicBezTo>
                      <a:cubicBezTo>
                        <a:pt x="29" y="112"/>
                        <a:pt x="29" y="112"/>
                        <a:pt x="29" y="112"/>
                      </a:cubicBezTo>
                      <a:cubicBezTo>
                        <a:pt x="27" y="112"/>
                        <a:pt x="27" y="112"/>
                        <a:pt x="27" y="112"/>
                      </a:cubicBezTo>
                      <a:cubicBezTo>
                        <a:pt x="26" y="113"/>
                        <a:pt x="26" y="113"/>
                        <a:pt x="26" y="113"/>
                      </a:cubicBezTo>
                      <a:cubicBezTo>
                        <a:pt x="26" y="116"/>
                        <a:pt x="26" y="116"/>
                        <a:pt x="26" y="116"/>
                      </a:cubicBezTo>
                      <a:cubicBezTo>
                        <a:pt x="28" y="117"/>
                        <a:pt x="28" y="117"/>
                        <a:pt x="28" y="117"/>
                      </a:cubicBezTo>
                      <a:cubicBezTo>
                        <a:pt x="25" y="116"/>
                        <a:pt x="25" y="116"/>
                        <a:pt x="25" y="116"/>
                      </a:cubicBezTo>
                      <a:cubicBezTo>
                        <a:pt x="25" y="115"/>
                        <a:pt x="25" y="115"/>
                        <a:pt x="25" y="115"/>
                      </a:cubicBezTo>
                      <a:cubicBezTo>
                        <a:pt x="23" y="116"/>
                        <a:pt x="23" y="116"/>
                        <a:pt x="23" y="116"/>
                      </a:cubicBezTo>
                      <a:cubicBezTo>
                        <a:pt x="22" y="118"/>
                        <a:pt x="22" y="118"/>
                        <a:pt x="22" y="118"/>
                      </a:cubicBezTo>
                      <a:cubicBezTo>
                        <a:pt x="23" y="119"/>
                        <a:pt x="23" y="119"/>
                        <a:pt x="23" y="119"/>
                      </a:cubicBezTo>
                      <a:cubicBezTo>
                        <a:pt x="21" y="118"/>
                        <a:pt x="21" y="118"/>
                        <a:pt x="21" y="118"/>
                      </a:cubicBezTo>
                      <a:cubicBezTo>
                        <a:pt x="21" y="119"/>
                        <a:pt x="21" y="119"/>
                        <a:pt x="21" y="119"/>
                      </a:cubicBezTo>
                      <a:cubicBezTo>
                        <a:pt x="22" y="120"/>
                        <a:pt x="22" y="120"/>
                        <a:pt x="22" y="120"/>
                      </a:cubicBezTo>
                      <a:cubicBezTo>
                        <a:pt x="22" y="121"/>
                        <a:pt x="22" y="121"/>
                        <a:pt x="22" y="121"/>
                      </a:cubicBezTo>
                      <a:cubicBezTo>
                        <a:pt x="21" y="122"/>
                        <a:pt x="21" y="122"/>
                        <a:pt x="21" y="122"/>
                      </a:cubicBezTo>
                      <a:cubicBezTo>
                        <a:pt x="21" y="124"/>
                        <a:pt x="21" y="124"/>
                        <a:pt x="21" y="124"/>
                      </a:cubicBezTo>
                      <a:cubicBezTo>
                        <a:pt x="19" y="125"/>
                        <a:pt x="19" y="125"/>
                        <a:pt x="19" y="125"/>
                      </a:cubicBezTo>
                      <a:cubicBezTo>
                        <a:pt x="18" y="124"/>
                        <a:pt x="18" y="124"/>
                        <a:pt x="18" y="124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5" y="123"/>
                        <a:pt x="15" y="123"/>
                        <a:pt x="15" y="123"/>
                      </a:cubicBezTo>
                      <a:cubicBezTo>
                        <a:pt x="16" y="125"/>
                        <a:pt x="16" y="125"/>
                        <a:pt x="16" y="125"/>
                      </a:cubicBezTo>
                      <a:cubicBezTo>
                        <a:pt x="14" y="126"/>
                        <a:pt x="14" y="126"/>
                        <a:pt x="14" y="126"/>
                      </a:cubicBezTo>
                      <a:cubicBezTo>
                        <a:pt x="15" y="128"/>
                        <a:pt x="15" y="128"/>
                        <a:pt x="15" y="128"/>
                      </a:cubicBezTo>
                      <a:cubicBezTo>
                        <a:pt x="15" y="130"/>
                        <a:pt x="15" y="130"/>
                        <a:pt x="15" y="130"/>
                      </a:cubicBezTo>
                      <a:cubicBezTo>
                        <a:pt x="14" y="130"/>
                        <a:pt x="14" y="130"/>
                        <a:pt x="14" y="130"/>
                      </a:cubicBezTo>
                      <a:cubicBezTo>
                        <a:pt x="13" y="132"/>
                        <a:pt x="13" y="132"/>
                        <a:pt x="13" y="132"/>
                      </a:cubicBezTo>
                      <a:cubicBezTo>
                        <a:pt x="13" y="134"/>
                        <a:pt x="13" y="134"/>
                        <a:pt x="13" y="134"/>
                      </a:cubicBezTo>
                      <a:cubicBezTo>
                        <a:pt x="14" y="134"/>
                        <a:pt x="14" y="134"/>
                        <a:pt x="14" y="134"/>
                      </a:cubicBezTo>
                      <a:cubicBezTo>
                        <a:pt x="13" y="136"/>
                        <a:pt x="13" y="136"/>
                        <a:pt x="13" y="136"/>
                      </a:cubicBezTo>
                      <a:cubicBezTo>
                        <a:pt x="14" y="137"/>
                        <a:pt x="14" y="137"/>
                        <a:pt x="14" y="137"/>
                      </a:cubicBezTo>
                      <a:cubicBezTo>
                        <a:pt x="15" y="137"/>
                        <a:pt x="15" y="137"/>
                        <a:pt x="15" y="137"/>
                      </a:cubicBezTo>
                      <a:cubicBezTo>
                        <a:pt x="16" y="138"/>
                        <a:pt x="16" y="138"/>
                        <a:pt x="16" y="138"/>
                      </a:cubicBezTo>
                      <a:cubicBezTo>
                        <a:pt x="16" y="140"/>
                        <a:pt x="16" y="140"/>
                        <a:pt x="16" y="140"/>
                      </a:cubicBezTo>
                      <a:cubicBezTo>
                        <a:pt x="15" y="141"/>
                        <a:pt x="15" y="141"/>
                        <a:pt x="15" y="141"/>
                      </a:cubicBezTo>
                      <a:cubicBezTo>
                        <a:pt x="16" y="143"/>
                        <a:pt x="16" y="143"/>
                        <a:pt x="16" y="143"/>
                      </a:cubicBezTo>
                      <a:cubicBezTo>
                        <a:pt x="15" y="144"/>
                        <a:pt x="15" y="144"/>
                        <a:pt x="15" y="144"/>
                      </a:cubicBezTo>
                      <a:cubicBezTo>
                        <a:pt x="17" y="147"/>
                        <a:pt x="17" y="147"/>
                        <a:pt x="17" y="147"/>
                      </a:cubicBezTo>
                      <a:cubicBezTo>
                        <a:pt x="18" y="148"/>
                        <a:pt x="18" y="148"/>
                        <a:pt x="18" y="148"/>
                      </a:cubicBezTo>
                      <a:cubicBezTo>
                        <a:pt x="18" y="149"/>
                        <a:pt x="18" y="149"/>
                        <a:pt x="18" y="149"/>
                      </a:cubicBezTo>
                      <a:cubicBezTo>
                        <a:pt x="19" y="151"/>
                        <a:pt x="19" y="151"/>
                        <a:pt x="19" y="151"/>
                      </a:cubicBezTo>
                      <a:cubicBezTo>
                        <a:pt x="18" y="152"/>
                        <a:pt x="18" y="152"/>
                        <a:pt x="18" y="152"/>
                      </a:cubicBezTo>
                      <a:cubicBezTo>
                        <a:pt x="18" y="155"/>
                        <a:pt x="18" y="155"/>
                        <a:pt x="18" y="155"/>
                      </a:cubicBezTo>
                      <a:cubicBezTo>
                        <a:pt x="17" y="156"/>
                        <a:pt x="17" y="156"/>
                        <a:pt x="17" y="156"/>
                      </a:cubicBezTo>
                      <a:cubicBezTo>
                        <a:pt x="17" y="160"/>
                        <a:pt x="17" y="160"/>
                        <a:pt x="17" y="160"/>
                      </a:cubicBezTo>
                      <a:cubicBezTo>
                        <a:pt x="18" y="162"/>
                        <a:pt x="18" y="162"/>
                        <a:pt x="18" y="162"/>
                      </a:cubicBezTo>
                      <a:cubicBezTo>
                        <a:pt x="17" y="164"/>
                        <a:pt x="17" y="164"/>
                        <a:pt x="17" y="164"/>
                      </a:cubicBezTo>
                      <a:cubicBezTo>
                        <a:pt x="17" y="165"/>
                        <a:pt x="17" y="165"/>
                        <a:pt x="17" y="165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21" y="165"/>
                        <a:pt x="21" y="165"/>
                        <a:pt x="21" y="165"/>
                      </a:cubicBezTo>
                      <a:cubicBezTo>
                        <a:pt x="22" y="166"/>
                        <a:pt x="22" y="166"/>
                        <a:pt x="22" y="166"/>
                      </a:cubicBezTo>
                      <a:cubicBezTo>
                        <a:pt x="22" y="165"/>
                        <a:pt x="22" y="165"/>
                        <a:pt x="22" y="165"/>
                      </a:cubicBezTo>
                      <a:cubicBezTo>
                        <a:pt x="24" y="167"/>
                        <a:pt x="24" y="167"/>
                        <a:pt x="24" y="167"/>
                      </a:cubicBezTo>
                      <a:cubicBezTo>
                        <a:pt x="25" y="167"/>
                        <a:pt x="25" y="167"/>
                        <a:pt x="25" y="167"/>
                      </a:cubicBezTo>
                      <a:cubicBezTo>
                        <a:pt x="27" y="168"/>
                        <a:pt x="27" y="168"/>
                        <a:pt x="27" y="168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30" y="170"/>
                        <a:pt x="30" y="170"/>
                        <a:pt x="30" y="170"/>
                      </a:cubicBezTo>
                      <a:cubicBezTo>
                        <a:pt x="31" y="170"/>
                        <a:pt x="31" y="170"/>
                        <a:pt x="31" y="170"/>
                      </a:cubicBezTo>
                      <a:cubicBezTo>
                        <a:pt x="33" y="168"/>
                        <a:pt x="33" y="168"/>
                        <a:pt x="33" y="168"/>
                      </a:cubicBezTo>
                      <a:cubicBezTo>
                        <a:pt x="33" y="169"/>
                        <a:pt x="33" y="169"/>
                        <a:pt x="33" y="169"/>
                      </a:cubicBezTo>
                      <a:cubicBezTo>
                        <a:pt x="32" y="171"/>
                        <a:pt x="32" y="171"/>
                        <a:pt x="32" y="171"/>
                      </a:cubicBezTo>
                      <a:cubicBezTo>
                        <a:pt x="34" y="174"/>
                        <a:pt x="34" y="174"/>
                        <a:pt x="34" y="174"/>
                      </a:cubicBezTo>
                      <a:cubicBezTo>
                        <a:pt x="35" y="176"/>
                        <a:pt x="35" y="176"/>
                        <a:pt x="35" y="176"/>
                      </a:cubicBezTo>
                      <a:cubicBezTo>
                        <a:pt x="34" y="178"/>
                        <a:pt x="34" y="178"/>
                        <a:pt x="34" y="178"/>
                      </a:cubicBezTo>
                      <a:cubicBezTo>
                        <a:pt x="35" y="178"/>
                        <a:pt x="35" y="178"/>
                        <a:pt x="35" y="178"/>
                      </a:cubicBezTo>
                      <a:cubicBezTo>
                        <a:pt x="36" y="175"/>
                        <a:pt x="36" y="175"/>
                        <a:pt x="36" y="175"/>
                      </a:cubicBezTo>
                      <a:cubicBezTo>
                        <a:pt x="37" y="175"/>
                        <a:pt x="37" y="175"/>
                        <a:pt x="37" y="175"/>
                      </a:cubicBezTo>
                      <a:cubicBezTo>
                        <a:pt x="37" y="176"/>
                        <a:pt x="37" y="176"/>
                        <a:pt x="37" y="176"/>
                      </a:cubicBezTo>
                      <a:cubicBezTo>
                        <a:pt x="39" y="175"/>
                        <a:pt x="39" y="175"/>
                        <a:pt x="39" y="175"/>
                      </a:cubicBezTo>
                      <a:cubicBezTo>
                        <a:pt x="40" y="175"/>
                        <a:pt x="40" y="175"/>
                        <a:pt x="40" y="175"/>
                      </a:cubicBezTo>
                      <a:cubicBezTo>
                        <a:pt x="43" y="173"/>
                        <a:pt x="43" y="173"/>
                        <a:pt x="43" y="173"/>
                      </a:cubicBezTo>
                      <a:cubicBezTo>
                        <a:pt x="45" y="173"/>
                        <a:pt x="45" y="173"/>
                        <a:pt x="45" y="173"/>
                      </a:cubicBezTo>
                      <a:cubicBezTo>
                        <a:pt x="49" y="170"/>
                        <a:pt x="49" y="170"/>
                        <a:pt x="49" y="170"/>
                      </a:cubicBezTo>
                      <a:cubicBezTo>
                        <a:pt x="49" y="169"/>
                        <a:pt x="49" y="169"/>
                        <a:pt x="49" y="169"/>
                      </a:cubicBezTo>
                      <a:cubicBezTo>
                        <a:pt x="52" y="170"/>
                        <a:pt x="52" y="170"/>
                        <a:pt x="52" y="170"/>
                      </a:cubicBezTo>
                      <a:cubicBezTo>
                        <a:pt x="53" y="169"/>
                        <a:pt x="53" y="169"/>
                        <a:pt x="53" y="169"/>
                      </a:cubicBezTo>
                      <a:cubicBezTo>
                        <a:pt x="55" y="167"/>
                        <a:pt x="55" y="167"/>
                        <a:pt x="55" y="167"/>
                      </a:cubicBezTo>
                      <a:cubicBezTo>
                        <a:pt x="55" y="168"/>
                        <a:pt x="55" y="168"/>
                        <a:pt x="55" y="168"/>
                      </a:cubicBezTo>
                      <a:cubicBezTo>
                        <a:pt x="54" y="170"/>
                        <a:pt x="54" y="170"/>
                        <a:pt x="54" y="170"/>
                      </a:cubicBezTo>
                      <a:cubicBezTo>
                        <a:pt x="55" y="170"/>
                        <a:pt x="55" y="170"/>
                        <a:pt x="55" y="170"/>
                      </a:cubicBezTo>
                      <a:cubicBezTo>
                        <a:pt x="57" y="168"/>
                        <a:pt x="57" y="168"/>
                        <a:pt x="57" y="168"/>
                      </a:cubicBezTo>
                      <a:cubicBezTo>
                        <a:pt x="57" y="168"/>
                        <a:pt x="57" y="168"/>
                        <a:pt x="57" y="168"/>
                      </a:cubicBezTo>
                      <a:cubicBezTo>
                        <a:pt x="57" y="166"/>
                        <a:pt x="57" y="166"/>
                        <a:pt x="57" y="166"/>
                      </a:cubicBezTo>
                      <a:cubicBezTo>
                        <a:pt x="57" y="165"/>
                        <a:pt x="57" y="165"/>
                        <a:pt x="57" y="165"/>
                      </a:cubicBezTo>
                      <a:cubicBezTo>
                        <a:pt x="58" y="167"/>
                        <a:pt x="58" y="167"/>
                        <a:pt x="58" y="167"/>
                      </a:cubicBezTo>
                      <a:cubicBezTo>
                        <a:pt x="59" y="167"/>
                        <a:pt x="59" y="167"/>
                        <a:pt x="59" y="167"/>
                      </a:cubicBezTo>
                      <a:cubicBezTo>
                        <a:pt x="60" y="166"/>
                        <a:pt x="60" y="166"/>
                        <a:pt x="60" y="166"/>
                      </a:cubicBezTo>
                      <a:cubicBezTo>
                        <a:pt x="61" y="168"/>
                        <a:pt x="61" y="168"/>
                        <a:pt x="61" y="168"/>
                      </a:cubicBezTo>
                      <a:cubicBezTo>
                        <a:pt x="62" y="167"/>
                        <a:pt x="62" y="167"/>
                        <a:pt x="62" y="167"/>
                      </a:cubicBezTo>
                      <a:cubicBezTo>
                        <a:pt x="62" y="166"/>
                        <a:pt x="62" y="166"/>
                        <a:pt x="62" y="166"/>
                      </a:cubicBezTo>
                      <a:cubicBezTo>
                        <a:pt x="63" y="166"/>
                        <a:pt x="63" y="166"/>
                        <a:pt x="63" y="166"/>
                      </a:cubicBezTo>
                      <a:cubicBezTo>
                        <a:pt x="64" y="167"/>
                        <a:pt x="64" y="167"/>
                        <a:pt x="64" y="167"/>
                      </a:cubicBezTo>
                      <a:cubicBezTo>
                        <a:pt x="65" y="166"/>
                        <a:pt x="65" y="166"/>
                        <a:pt x="65" y="166"/>
                      </a:cubicBezTo>
                      <a:cubicBezTo>
                        <a:pt x="68" y="166"/>
                        <a:pt x="68" y="166"/>
                        <a:pt x="68" y="166"/>
                      </a:cubicBezTo>
                      <a:cubicBezTo>
                        <a:pt x="69" y="167"/>
                        <a:pt x="69" y="167"/>
                        <a:pt x="69" y="167"/>
                      </a:cubicBezTo>
                      <a:cubicBezTo>
                        <a:pt x="72" y="167"/>
                        <a:pt x="72" y="167"/>
                        <a:pt x="72" y="167"/>
                      </a:cubicBezTo>
                      <a:cubicBezTo>
                        <a:pt x="72" y="166"/>
                        <a:pt x="72" y="166"/>
                        <a:pt x="72" y="166"/>
                      </a:cubicBezTo>
                      <a:cubicBezTo>
                        <a:pt x="71" y="165"/>
                        <a:pt x="71" y="165"/>
                        <a:pt x="71" y="165"/>
                      </a:cubicBezTo>
                      <a:cubicBezTo>
                        <a:pt x="72" y="164"/>
                        <a:pt x="72" y="164"/>
                        <a:pt x="72" y="164"/>
                      </a:cubicBezTo>
                      <a:cubicBezTo>
                        <a:pt x="74" y="165"/>
                        <a:pt x="74" y="165"/>
                        <a:pt x="74" y="165"/>
                      </a:cubicBezTo>
                      <a:cubicBezTo>
                        <a:pt x="74" y="166"/>
                        <a:pt x="74" y="166"/>
                        <a:pt x="74" y="166"/>
                      </a:cubicBezTo>
                      <a:cubicBezTo>
                        <a:pt x="76" y="166"/>
                        <a:pt x="76" y="166"/>
                        <a:pt x="76" y="166"/>
                      </a:cubicBezTo>
                      <a:cubicBezTo>
                        <a:pt x="76" y="166"/>
                        <a:pt x="76" y="165"/>
                        <a:pt x="76" y="165"/>
                      </a:cubicBezTo>
                      <a:close/>
                      <a:moveTo>
                        <a:pt x="40" y="93"/>
                      </a:moveTo>
                      <a:cubicBezTo>
                        <a:pt x="40" y="94"/>
                        <a:pt x="40" y="94"/>
                        <a:pt x="40" y="94"/>
                      </a:cubicBezTo>
                      <a:cubicBezTo>
                        <a:pt x="38" y="93"/>
                        <a:pt x="38" y="93"/>
                        <a:pt x="38" y="93"/>
                      </a:cubicBezTo>
                      <a:cubicBezTo>
                        <a:pt x="37" y="91"/>
                        <a:pt x="37" y="91"/>
                        <a:pt x="37" y="91"/>
                      </a:cubicBezTo>
                      <a:cubicBezTo>
                        <a:pt x="38" y="90"/>
                        <a:pt x="38" y="90"/>
                        <a:pt x="38" y="90"/>
                      </a:cubicBezTo>
                      <a:cubicBezTo>
                        <a:pt x="41" y="91"/>
                        <a:pt x="41" y="91"/>
                        <a:pt x="41" y="91"/>
                      </a:cubicBezTo>
                      <a:cubicBezTo>
                        <a:pt x="41" y="91"/>
                        <a:pt x="41" y="91"/>
                        <a:pt x="41" y="91"/>
                      </a:cubicBezTo>
                      <a:cubicBezTo>
                        <a:pt x="39" y="92"/>
                        <a:pt x="39" y="92"/>
                        <a:pt x="39" y="92"/>
                      </a:cubicBezTo>
                      <a:cubicBezTo>
                        <a:pt x="40" y="93"/>
                        <a:pt x="40" y="93"/>
                        <a:pt x="40" y="93"/>
                      </a:cubicBezTo>
                      <a:close/>
                      <a:moveTo>
                        <a:pt x="13" y="121"/>
                      </a:moveTo>
                      <a:cubicBezTo>
                        <a:pt x="13" y="119"/>
                        <a:pt x="13" y="119"/>
                        <a:pt x="13" y="119"/>
                      </a:cubicBezTo>
                      <a:cubicBezTo>
                        <a:pt x="14" y="120"/>
                        <a:pt x="14" y="120"/>
                        <a:pt x="14" y="120"/>
                      </a:cubicBezTo>
                      <a:cubicBezTo>
                        <a:pt x="14" y="121"/>
                        <a:pt x="14" y="121"/>
                        <a:pt x="14" y="121"/>
                      </a:cubicBezTo>
                      <a:cubicBezTo>
                        <a:pt x="13" y="121"/>
                        <a:pt x="13" y="121"/>
                        <a:pt x="13" y="121"/>
                      </a:cubicBezTo>
                      <a:close/>
                      <a:moveTo>
                        <a:pt x="12" y="122"/>
                      </a:moveTo>
                      <a:cubicBezTo>
                        <a:pt x="13" y="123"/>
                        <a:pt x="13" y="123"/>
                        <a:pt x="13" y="123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4"/>
                        <a:pt x="14" y="124"/>
                        <a:pt x="14" y="124"/>
                      </a:cubicBezTo>
                      <a:cubicBezTo>
                        <a:pt x="13" y="125"/>
                        <a:pt x="13" y="125"/>
                        <a:pt x="13" y="125"/>
                      </a:cubicBezTo>
                      <a:cubicBezTo>
                        <a:pt x="12" y="124"/>
                        <a:pt x="12" y="124"/>
                        <a:pt x="12" y="124"/>
                      </a:cubicBezTo>
                      <a:cubicBezTo>
                        <a:pt x="12" y="122"/>
                        <a:pt x="12" y="122"/>
                        <a:pt x="12" y="122"/>
                      </a:cubicBezTo>
                      <a:close/>
                      <a:moveTo>
                        <a:pt x="32" y="174"/>
                      </a:moveTo>
                      <a:cubicBezTo>
                        <a:pt x="33" y="176"/>
                        <a:pt x="33" y="176"/>
                        <a:pt x="33" y="176"/>
                      </a:cubicBezTo>
                      <a:cubicBezTo>
                        <a:pt x="31" y="176"/>
                        <a:pt x="31" y="176"/>
                        <a:pt x="31" y="176"/>
                      </a:cubicBezTo>
                      <a:cubicBezTo>
                        <a:pt x="31" y="176"/>
                        <a:pt x="31" y="176"/>
                        <a:pt x="31" y="176"/>
                      </a:cubicBezTo>
                      <a:cubicBezTo>
                        <a:pt x="32" y="175"/>
                        <a:pt x="32" y="175"/>
                        <a:pt x="32" y="175"/>
                      </a:cubicBezTo>
                      <a:cubicBezTo>
                        <a:pt x="32" y="174"/>
                        <a:pt x="32" y="174"/>
                        <a:pt x="32" y="174"/>
                      </a:cubicBezTo>
                      <a:close/>
                      <a:moveTo>
                        <a:pt x="30" y="172"/>
                      </a:moveTo>
                      <a:cubicBezTo>
                        <a:pt x="30" y="172"/>
                        <a:pt x="30" y="173"/>
                        <a:pt x="30" y="173"/>
                      </a:cubicBezTo>
                      <a:cubicBezTo>
                        <a:pt x="29" y="173"/>
                        <a:pt x="29" y="173"/>
                        <a:pt x="29" y="173"/>
                      </a:cubicBezTo>
                      <a:cubicBezTo>
                        <a:pt x="30" y="172"/>
                        <a:pt x="30" y="172"/>
                        <a:pt x="30" y="172"/>
                      </a:cubicBezTo>
                      <a:close/>
                      <a:moveTo>
                        <a:pt x="26" y="170"/>
                      </a:moveTo>
                      <a:cubicBezTo>
                        <a:pt x="29" y="169"/>
                        <a:pt x="29" y="169"/>
                        <a:pt x="29" y="169"/>
                      </a:cubicBezTo>
                      <a:cubicBezTo>
                        <a:pt x="29" y="170"/>
                        <a:pt x="29" y="170"/>
                        <a:pt x="29" y="170"/>
                      </a:cubicBezTo>
                      <a:cubicBezTo>
                        <a:pt x="27" y="172"/>
                        <a:pt x="27" y="172"/>
                        <a:pt x="27" y="172"/>
                      </a:cubicBezTo>
                      <a:cubicBezTo>
                        <a:pt x="25" y="171"/>
                        <a:pt x="25" y="171"/>
                        <a:pt x="25" y="171"/>
                      </a:cubicBezTo>
                      <a:cubicBezTo>
                        <a:pt x="26" y="170"/>
                        <a:pt x="26" y="170"/>
                        <a:pt x="26" y="170"/>
                      </a:cubicBezTo>
                      <a:close/>
                      <a:moveTo>
                        <a:pt x="22" y="167"/>
                      </a:moveTo>
                      <a:cubicBezTo>
                        <a:pt x="24" y="168"/>
                        <a:pt x="24" y="168"/>
                        <a:pt x="24" y="168"/>
                      </a:cubicBezTo>
                      <a:cubicBezTo>
                        <a:pt x="23" y="169"/>
                        <a:pt x="23" y="169"/>
                        <a:pt x="23" y="169"/>
                      </a:cubicBezTo>
                      <a:cubicBezTo>
                        <a:pt x="22" y="168"/>
                        <a:pt x="22" y="168"/>
                        <a:pt x="22" y="168"/>
                      </a:cubicBezTo>
                      <a:cubicBezTo>
                        <a:pt x="22" y="167"/>
                        <a:pt x="22" y="167"/>
                        <a:pt x="22" y="167"/>
                      </a:cubicBezTo>
                      <a:close/>
                      <a:moveTo>
                        <a:pt x="17" y="167"/>
                      </a:moveTo>
                      <a:cubicBezTo>
                        <a:pt x="19" y="168"/>
                        <a:pt x="19" y="168"/>
                        <a:pt x="19" y="168"/>
                      </a:cubicBezTo>
                      <a:cubicBezTo>
                        <a:pt x="18" y="168"/>
                        <a:pt x="18" y="168"/>
                        <a:pt x="18" y="168"/>
                      </a:cubicBezTo>
                      <a:cubicBezTo>
                        <a:pt x="18" y="168"/>
                        <a:pt x="17" y="167"/>
                        <a:pt x="17" y="167"/>
                      </a:cubicBezTo>
                      <a:close/>
                      <a:moveTo>
                        <a:pt x="5" y="170"/>
                      </a:moveTo>
                      <a:cubicBezTo>
                        <a:pt x="7" y="171"/>
                        <a:pt x="7" y="171"/>
                        <a:pt x="7" y="171"/>
                      </a:cubicBezTo>
                      <a:cubicBezTo>
                        <a:pt x="7" y="170"/>
                        <a:pt x="7" y="170"/>
                        <a:pt x="7" y="170"/>
                      </a:cubicBezTo>
                      <a:cubicBezTo>
                        <a:pt x="6" y="169"/>
                        <a:pt x="6" y="169"/>
                        <a:pt x="6" y="169"/>
                      </a:cubicBezTo>
                      <a:cubicBezTo>
                        <a:pt x="6" y="168"/>
                        <a:pt x="6" y="168"/>
                        <a:pt x="6" y="168"/>
                      </a:cubicBezTo>
                      <a:cubicBezTo>
                        <a:pt x="7" y="168"/>
                        <a:pt x="7" y="168"/>
                        <a:pt x="7" y="168"/>
                      </a:cubicBezTo>
                      <a:cubicBezTo>
                        <a:pt x="10" y="170"/>
                        <a:pt x="10" y="170"/>
                        <a:pt x="10" y="170"/>
                      </a:cubicBezTo>
                      <a:cubicBezTo>
                        <a:pt x="10" y="171"/>
                        <a:pt x="10" y="171"/>
                        <a:pt x="10" y="171"/>
                      </a:cubicBezTo>
                      <a:cubicBezTo>
                        <a:pt x="9" y="171"/>
                        <a:pt x="9" y="171"/>
                        <a:pt x="9" y="171"/>
                      </a:cubicBezTo>
                      <a:cubicBezTo>
                        <a:pt x="8" y="172"/>
                        <a:pt x="8" y="172"/>
                        <a:pt x="8" y="172"/>
                      </a:cubicBezTo>
                      <a:cubicBezTo>
                        <a:pt x="9" y="173"/>
                        <a:pt x="9" y="173"/>
                        <a:pt x="9" y="173"/>
                      </a:cubicBezTo>
                      <a:cubicBezTo>
                        <a:pt x="10" y="173"/>
                        <a:pt x="10" y="173"/>
                        <a:pt x="10" y="173"/>
                      </a:cubicBezTo>
                      <a:cubicBezTo>
                        <a:pt x="11" y="175"/>
                        <a:pt x="11" y="175"/>
                        <a:pt x="11" y="175"/>
                      </a:cubicBezTo>
                      <a:cubicBezTo>
                        <a:pt x="10" y="176"/>
                        <a:pt x="10" y="176"/>
                        <a:pt x="10" y="176"/>
                      </a:cubicBezTo>
                      <a:cubicBezTo>
                        <a:pt x="8" y="174"/>
                        <a:pt x="8" y="174"/>
                        <a:pt x="8" y="174"/>
                      </a:cubicBezTo>
                      <a:cubicBezTo>
                        <a:pt x="6" y="173"/>
                        <a:pt x="6" y="173"/>
                        <a:pt x="6" y="173"/>
                      </a:cubicBezTo>
                      <a:cubicBezTo>
                        <a:pt x="5" y="172"/>
                        <a:pt x="5" y="172"/>
                        <a:pt x="5" y="172"/>
                      </a:cubicBezTo>
                      <a:cubicBezTo>
                        <a:pt x="4" y="171"/>
                        <a:pt x="4" y="171"/>
                        <a:pt x="4" y="171"/>
                      </a:cubicBezTo>
                      <a:lnTo>
                        <a:pt x="5" y="17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8" name="Freeform 192">
                  <a:extLst>
                    <a:ext uri="{FF2B5EF4-FFF2-40B4-BE49-F238E27FC236}">
                      <a16:creationId xmlns:a16="http://schemas.microsoft.com/office/drawing/2014/main" xmlns="" id="{091F31D0-1002-4364-BD31-D93039651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53" y="943"/>
                  <a:ext cx="85" cy="59"/>
                </a:xfrm>
                <a:custGeom>
                  <a:avLst/>
                  <a:gdLst>
                    <a:gd name="T0" fmla="*/ 83 w 85"/>
                    <a:gd name="T1" fmla="*/ 54 h 59"/>
                    <a:gd name="T2" fmla="*/ 85 w 85"/>
                    <a:gd name="T3" fmla="*/ 49 h 59"/>
                    <a:gd name="T4" fmla="*/ 77 w 85"/>
                    <a:gd name="T5" fmla="*/ 31 h 59"/>
                    <a:gd name="T6" fmla="*/ 80 w 85"/>
                    <a:gd name="T7" fmla="*/ 18 h 59"/>
                    <a:gd name="T8" fmla="*/ 83 w 85"/>
                    <a:gd name="T9" fmla="*/ 10 h 59"/>
                    <a:gd name="T10" fmla="*/ 83 w 85"/>
                    <a:gd name="T11" fmla="*/ 8 h 59"/>
                    <a:gd name="T12" fmla="*/ 82 w 85"/>
                    <a:gd name="T13" fmla="*/ 8 h 59"/>
                    <a:gd name="T14" fmla="*/ 64 w 85"/>
                    <a:gd name="T15" fmla="*/ 3 h 59"/>
                    <a:gd name="T16" fmla="*/ 56 w 85"/>
                    <a:gd name="T17" fmla="*/ 1 h 59"/>
                    <a:gd name="T18" fmla="*/ 49 w 85"/>
                    <a:gd name="T19" fmla="*/ 0 h 59"/>
                    <a:gd name="T20" fmla="*/ 47 w 85"/>
                    <a:gd name="T21" fmla="*/ 1 h 59"/>
                    <a:gd name="T22" fmla="*/ 49 w 85"/>
                    <a:gd name="T23" fmla="*/ 5 h 59"/>
                    <a:gd name="T24" fmla="*/ 44 w 85"/>
                    <a:gd name="T25" fmla="*/ 6 h 59"/>
                    <a:gd name="T26" fmla="*/ 38 w 85"/>
                    <a:gd name="T27" fmla="*/ 3 h 59"/>
                    <a:gd name="T28" fmla="*/ 34 w 85"/>
                    <a:gd name="T29" fmla="*/ 6 h 59"/>
                    <a:gd name="T30" fmla="*/ 31 w 85"/>
                    <a:gd name="T31" fmla="*/ 10 h 59"/>
                    <a:gd name="T32" fmla="*/ 23 w 85"/>
                    <a:gd name="T33" fmla="*/ 11 h 59"/>
                    <a:gd name="T34" fmla="*/ 21 w 85"/>
                    <a:gd name="T35" fmla="*/ 26 h 59"/>
                    <a:gd name="T36" fmla="*/ 25 w 85"/>
                    <a:gd name="T37" fmla="*/ 24 h 59"/>
                    <a:gd name="T38" fmla="*/ 26 w 85"/>
                    <a:gd name="T39" fmla="*/ 28 h 59"/>
                    <a:gd name="T40" fmla="*/ 25 w 85"/>
                    <a:gd name="T41" fmla="*/ 32 h 59"/>
                    <a:gd name="T42" fmla="*/ 31 w 85"/>
                    <a:gd name="T43" fmla="*/ 41 h 59"/>
                    <a:gd name="T44" fmla="*/ 33 w 85"/>
                    <a:gd name="T45" fmla="*/ 37 h 59"/>
                    <a:gd name="T46" fmla="*/ 38 w 85"/>
                    <a:gd name="T47" fmla="*/ 37 h 59"/>
                    <a:gd name="T48" fmla="*/ 36 w 85"/>
                    <a:gd name="T49" fmla="*/ 47 h 59"/>
                    <a:gd name="T50" fmla="*/ 43 w 85"/>
                    <a:gd name="T51" fmla="*/ 44 h 59"/>
                    <a:gd name="T52" fmla="*/ 51 w 85"/>
                    <a:gd name="T53" fmla="*/ 46 h 59"/>
                    <a:gd name="T54" fmla="*/ 52 w 85"/>
                    <a:gd name="T55" fmla="*/ 42 h 59"/>
                    <a:gd name="T56" fmla="*/ 56 w 85"/>
                    <a:gd name="T57" fmla="*/ 47 h 59"/>
                    <a:gd name="T58" fmla="*/ 64 w 85"/>
                    <a:gd name="T59" fmla="*/ 50 h 59"/>
                    <a:gd name="T60" fmla="*/ 67 w 85"/>
                    <a:gd name="T61" fmla="*/ 55 h 59"/>
                    <a:gd name="T62" fmla="*/ 75 w 85"/>
                    <a:gd name="T63" fmla="*/ 57 h 59"/>
                    <a:gd name="T64" fmla="*/ 80 w 85"/>
                    <a:gd name="T65" fmla="*/ 57 h 59"/>
                    <a:gd name="T66" fmla="*/ 20 w 85"/>
                    <a:gd name="T67" fmla="*/ 19 h 59"/>
                    <a:gd name="T68" fmla="*/ 16 w 85"/>
                    <a:gd name="T69" fmla="*/ 21 h 59"/>
                    <a:gd name="T70" fmla="*/ 16 w 85"/>
                    <a:gd name="T71" fmla="*/ 19 h 59"/>
                    <a:gd name="T72" fmla="*/ 8 w 85"/>
                    <a:gd name="T73" fmla="*/ 24 h 59"/>
                    <a:gd name="T74" fmla="*/ 3 w 85"/>
                    <a:gd name="T75" fmla="*/ 24 h 59"/>
                    <a:gd name="T76" fmla="*/ 7 w 85"/>
                    <a:gd name="T77" fmla="*/ 21 h 59"/>
                    <a:gd name="T78" fmla="*/ 8 w 85"/>
                    <a:gd name="T79" fmla="*/ 19 h 59"/>
                    <a:gd name="T80" fmla="*/ 12 w 85"/>
                    <a:gd name="T81" fmla="*/ 21 h 59"/>
                    <a:gd name="T82" fmla="*/ 16 w 85"/>
                    <a:gd name="T83" fmla="*/ 24 h 59"/>
                    <a:gd name="T84" fmla="*/ 12 w 85"/>
                    <a:gd name="T85" fmla="*/ 24 h 59"/>
                    <a:gd name="T86" fmla="*/ 10 w 85"/>
                    <a:gd name="T87" fmla="*/ 28 h 59"/>
                    <a:gd name="T88" fmla="*/ 16 w 85"/>
                    <a:gd name="T89" fmla="*/ 28 h 59"/>
                    <a:gd name="T90" fmla="*/ 21 w 85"/>
                    <a:gd name="T91" fmla="*/ 31 h 59"/>
                    <a:gd name="T92" fmla="*/ 16 w 85"/>
                    <a:gd name="T93" fmla="*/ 29 h 59"/>
                    <a:gd name="T94" fmla="*/ 2 w 85"/>
                    <a:gd name="T95" fmla="*/ 47 h 59"/>
                    <a:gd name="T96" fmla="*/ 7 w 85"/>
                    <a:gd name="T97" fmla="*/ 46 h 59"/>
                    <a:gd name="T98" fmla="*/ 8 w 85"/>
                    <a:gd name="T99" fmla="*/ 41 h 59"/>
                    <a:gd name="T100" fmla="*/ 15 w 85"/>
                    <a:gd name="T101" fmla="*/ 37 h 59"/>
                    <a:gd name="T102" fmla="*/ 18 w 85"/>
                    <a:gd name="T103" fmla="*/ 34 h 59"/>
                    <a:gd name="T104" fmla="*/ 18 w 85"/>
                    <a:gd name="T105" fmla="*/ 32 h 59"/>
                    <a:gd name="T106" fmla="*/ 15 w 85"/>
                    <a:gd name="T107" fmla="*/ 31 h 59"/>
                    <a:gd name="T108" fmla="*/ 8 w 85"/>
                    <a:gd name="T109" fmla="*/ 29 h 59"/>
                    <a:gd name="T110" fmla="*/ 7 w 85"/>
                    <a:gd name="T111" fmla="*/ 31 h 59"/>
                    <a:gd name="T112" fmla="*/ 3 w 85"/>
                    <a:gd name="T113" fmla="*/ 32 h 59"/>
                    <a:gd name="T114" fmla="*/ 2 w 85"/>
                    <a:gd name="T115" fmla="*/ 32 h 59"/>
                    <a:gd name="T116" fmla="*/ 2 w 85"/>
                    <a:gd name="T117" fmla="*/ 34 h 59"/>
                    <a:gd name="T118" fmla="*/ 0 w 85"/>
                    <a:gd name="T119" fmla="*/ 36 h 59"/>
                    <a:gd name="T120" fmla="*/ 3 w 85"/>
                    <a:gd name="T121" fmla="*/ 39 h 59"/>
                    <a:gd name="T122" fmla="*/ 5 w 85"/>
                    <a:gd name="T123" fmla="*/ 44 h 59"/>
                    <a:gd name="T124" fmla="*/ 2 w 85"/>
                    <a:gd name="T125" fmla="*/ 47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5" h="59">
                      <a:moveTo>
                        <a:pt x="80" y="57"/>
                      </a:moveTo>
                      <a:lnTo>
                        <a:pt x="83" y="54"/>
                      </a:lnTo>
                      <a:lnTo>
                        <a:pt x="82" y="50"/>
                      </a:lnTo>
                      <a:lnTo>
                        <a:pt x="85" y="49"/>
                      </a:lnTo>
                      <a:lnTo>
                        <a:pt x="85" y="46"/>
                      </a:lnTo>
                      <a:lnTo>
                        <a:pt x="77" y="31"/>
                      </a:lnTo>
                      <a:lnTo>
                        <a:pt x="79" y="19"/>
                      </a:lnTo>
                      <a:lnTo>
                        <a:pt x="80" y="18"/>
                      </a:lnTo>
                      <a:lnTo>
                        <a:pt x="82" y="13"/>
                      </a:lnTo>
                      <a:lnTo>
                        <a:pt x="83" y="10"/>
                      </a:lnTo>
                      <a:lnTo>
                        <a:pt x="85" y="10"/>
                      </a:lnTo>
                      <a:lnTo>
                        <a:pt x="83" y="8"/>
                      </a:lnTo>
                      <a:lnTo>
                        <a:pt x="83" y="6"/>
                      </a:lnTo>
                      <a:lnTo>
                        <a:pt x="82" y="8"/>
                      </a:lnTo>
                      <a:lnTo>
                        <a:pt x="70" y="6"/>
                      </a:lnTo>
                      <a:lnTo>
                        <a:pt x="64" y="3"/>
                      </a:lnTo>
                      <a:lnTo>
                        <a:pt x="59" y="3"/>
                      </a:lnTo>
                      <a:lnTo>
                        <a:pt x="56" y="1"/>
                      </a:lnTo>
                      <a:lnTo>
                        <a:pt x="52" y="3"/>
                      </a:lnTo>
                      <a:lnTo>
                        <a:pt x="49" y="0"/>
                      </a:lnTo>
                      <a:lnTo>
                        <a:pt x="49" y="1"/>
                      </a:lnTo>
                      <a:lnTo>
                        <a:pt x="47" y="1"/>
                      </a:lnTo>
                      <a:lnTo>
                        <a:pt x="47" y="3"/>
                      </a:lnTo>
                      <a:lnTo>
                        <a:pt x="49" y="5"/>
                      </a:lnTo>
                      <a:lnTo>
                        <a:pt x="46" y="6"/>
                      </a:lnTo>
                      <a:lnTo>
                        <a:pt x="44" y="6"/>
                      </a:lnTo>
                      <a:lnTo>
                        <a:pt x="39" y="5"/>
                      </a:lnTo>
                      <a:lnTo>
                        <a:pt x="38" y="3"/>
                      </a:lnTo>
                      <a:lnTo>
                        <a:pt x="36" y="6"/>
                      </a:lnTo>
                      <a:lnTo>
                        <a:pt x="34" y="6"/>
                      </a:lnTo>
                      <a:lnTo>
                        <a:pt x="31" y="8"/>
                      </a:lnTo>
                      <a:lnTo>
                        <a:pt x="31" y="10"/>
                      </a:lnTo>
                      <a:lnTo>
                        <a:pt x="28" y="10"/>
                      </a:lnTo>
                      <a:lnTo>
                        <a:pt x="23" y="11"/>
                      </a:lnTo>
                      <a:lnTo>
                        <a:pt x="21" y="15"/>
                      </a:lnTo>
                      <a:lnTo>
                        <a:pt x="21" y="26"/>
                      </a:lnTo>
                      <a:lnTo>
                        <a:pt x="23" y="26"/>
                      </a:lnTo>
                      <a:lnTo>
                        <a:pt x="25" y="24"/>
                      </a:lnTo>
                      <a:lnTo>
                        <a:pt x="28" y="26"/>
                      </a:lnTo>
                      <a:lnTo>
                        <a:pt x="26" y="28"/>
                      </a:lnTo>
                      <a:lnTo>
                        <a:pt x="25" y="28"/>
                      </a:lnTo>
                      <a:lnTo>
                        <a:pt x="25" y="32"/>
                      </a:lnTo>
                      <a:lnTo>
                        <a:pt x="26" y="36"/>
                      </a:lnTo>
                      <a:lnTo>
                        <a:pt x="31" y="41"/>
                      </a:lnTo>
                      <a:lnTo>
                        <a:pt x="33" y="39"/>
                      </a:lnTo>
                      <a:lnTo>
                        <a:pt x="33" y="37"/>
                      </a:lnTo>
                      <a:lnTo>
                        <a:pt x="36" y="34"/>
                      </a:lnTo>
                      <a:lnTo>
                        <a:pt x="38" y="37"/>
                      </a:lnTo>
                      <a:lnTo>
                        <a:pt x="36" y="46"/>
                      </a:lnTo>
                      <a:lnTo>
                        <a:pt x="36" y="47"/>
                      </a:lnTo>
                      <a:lnTo>
                        <a:pt x="38" y="47"/>
                      </a:lnTo>
                      <a:lnTo>
                        <a:pt x="43" y="44"/>
                      </a:lnTo>
                      <a:lnTo>
                        <a:pt x="46" y="42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2" y="42"/>
                      </a:lnTo>
                      <a:lnTo>
                        <a:pt x="56" y="44"/>
                      </a:lnTo>
                      <a:lnTo>
                        <a:pt x="56" y="47"/>
                      </a:lnTo>
                      <a:lnTo>
                        <a:pt x="59" y="47"/>
                      </a:lnTo>
                      <a:lnTo>
                        <a:pt x="64" y="50"/>
                      </a:lnTo>
                      <a:lnTo>
                        <a:pt x="65" y="54"/>
                      </a:lnTo>
                      <a:lnTo>
                        <a:pt x="67" y="55"/>
                      </a:lnTo>
                      <a:lnTo>
                        <a:pt x="70" y="59"/>
                      </a:lnTo>
                      <a:lnTo>
                        <a:pt x="75" y="57"/>
                      </a:lnTo>
                      <a:lnTo>
                        <a:pt x="80" y="57"/>
                      </a:lnTo>
                      <a:lnTo>
                        <a:pt x="80" y="57"/>
                      </a:lnTo>
                      <a:close/>
                      <a:moveTo>
                        <a:pt x="16" y="19"/>
                      </a:moveTo>
                      <a:lnTo>
                        <a:pt x="20" y="19"/>
                      </a:lnTo>
                      <a:lnTo>
                        <a:pt x="20" y="21"/>
                      </a:lnTo>
                      <a:lnTo>
                        <a:pt x="16" y="21"/>
                      </a:lnTo>
                      <a:lnTo>
                        <a:pt x="16" y="19"/>
                      </a:lnTo>
                      <a:lnTo>
                        <a:pt x="16" y="19"/>
                      </a:lnTo>
                      <a:close/>
                      <a:moveTo>
                        <a:pt x="10" y="28"/>
                      </a:moveTo>
                      <a:lnTo>
                        <a:pt x="8" y="24"/>
                      </a:lnTo>
                      <a:lnTo>
                        <a:pt x="7" y="24"/>
                      </a:lnTo>
                      <a:lnTo>
                        <a:pt x="3" y="24"/>
                      </a:lnTo>
                      <a:lnTo>
                        <a:pt x="2" y="24"/>
                      </a:lnTo>
                      <a:lnTo>
                        <a:pt x="7" y="21"/>
                      </a:lnTo>
                      <a:lnTo>
                        <a:pt x="8" y="19"/>
                      </a:lnTo>
                      <a:lnTo>
                        <a:pt x="8" y="19"/>
                      </a:lnTo>
                      <a:lnTo>
                        <a:pt x="10" y="19"/>
                      </a:lnTo>
                      <a:lnTo>
                        <a:pt x="12" y="21"/>
                      </a:lnTo>
                      <a:lnTo>
                        <a:pt x="15" y="21"/>
                      </a:lnTo>
                      <a:lnTo>
                        <a:pt x="16" y="24"/>
                      </a:lnTo>
                      <a:lnTo>
                        <a:pt x="15" y="23"/>
                      </a:lnTo>
                      <a:lnTo>
                        <a:pt x="12" y="24"/>
                      </a:lnTo>
                      <a:lnTo>
                        <a:pt x="10" y="28"/>
                      </a:lnTo>
                      <a:lnTo>
                        <a:pt x="10" y="28"/>
                      </a:lnTo>
                      <a:close/>
                      <a:moveTo>
                        <a:pt x="16" y="29"/>
                      </a:move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0" y="32"/>
                      </a:lnTo>
                      <a:lnTo>
                        <a:pt x="16" y="29"/>
                      </a:lnTo>
                      <a:lnTo>
                        <a:pt x="16" y="29"/>
                      </a:lnTo>
                      <a:close/>
                      <a:moveTo>
                        <a:pt x="2" y="47"/>
                      </a:moveTo>
                      <a:lnTo>
                        <a:pt x="3" y="49"/>
                      </a:lnTo>
                      <a:lnTo>
                        <a:pt x="7" y="46"/>
                      </a:lnTo>
                      <a:lnTo>
                        <a:pt x="7" y="44"/>
                      </a:lnTo>
                      <a:lnTo>
                        <a:pt x="8" y="41"/>
                      </a:lnTo>
                      <a:lnTo>
                        <a:pt x="13" y="39"/>
                      </a:lnTo>
                      <a:lnTo>
                        <a:pt x="15" y="37"/>
                      </a:lnTo>
                      <a:lnTo>
                        <a:pt x="16" y="34"/>
                      </a:lnTo>
                      <a:lnTo>
                        <a:pt x="18" y="34"/>
                      </a:lnTo>
                      <a:lnTo>
                        <a:pt x="20" y="34"/>
                      </a:lnTo>
                      <a:lnTo>
                        <a:pt x="18" y="32"/>
                      </a:lnTo>
                      <a:lnTo>
                        <a:pt x="16" y="32"/>
                      </a:lnTo>
                      <a:lnTo>
                        <a:pt x="15" y="31"/>
                      </a:lnTo>
                      <a:lnTo>
                        <a:pt x="10" y="29"/>
                      </a:lnTo>
                      <a:lnTo>
                        <a:pt x="8" y="29"/>
                      </a:lnTo>
                      <a:lnTo>
                        <a:pt x="7" y="31"/>
                      </a:lnTo>
                      <a:lnTo>
                        <a:pt x="7" y="31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2" y="32"/>
                      </a:lnTo>
                      <a:lnTo>
                        <a:pt x="0" y="32"/>
                      </a:lnTo>
                      <a:lnTo>
                        <a:pt x="2" y="34"/>
                      </a:lnTo>
                      <a:lnTo>
                        <a:pt x="2" y="36"/>
                      </a:lnTo>
                      <a:lnTo>
                        <a:pt x="0" y="36"/>
                      </a:lnTo>
                      <a:lnTo>
                        <a:pt x="0" y="39"/>
                      </a:lnTo>
                      <a:lnTo>
                        <a:pt x="3" y="39"/>
                      </a:lnTo>
                      <a:lnTo>
                        <a:pt x="5" y="42"/>
                      </a:lnTo>
                      <a:lnTo>
                        <a:pt x="5" y="44"/>
                      </a:lnTo>
                      <a:lnTo>
                        <a:pt x="3" y="44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29" name="Freeform 193">
                  <a:extLst>
                    <a:ext uri="{FF2B5EF4-FFF2-40B4-BE49-F238E27FC236}">
                      <a16:creationId xmlns:a16="http://schemas.microsoft.com/office/drawing/2014/main" xmlns="" id="{B4C2C0EA-737A-4EDE-B558-ABB06FA1A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5" y="985"/>
                  <a:ext cx="101" cy="56"/>
                </a:xfrm>
                <a:custGeom>
                  <a:avLst/>
                  <a:gdLst>
                    <a:gd name="T0" fmla="*/ 100 w 101"/>
                    <a:gd name="T1" fmla="*/ 39 h 56"/>
                    <a:gd name="T2" fmla="*/ 96 w 101"/>
                    <a:gd name="T3" fmla="*/ 31 h 56"/>
                    <a:gd name="T4" fmla="*/ 93 w 101"/>
                    <a:gd name="T5" fmla="*/ 26 h 56"/>
                    <a:gd name="T6" fmla="*/ 93 w 101"/>
                    <a:gd name="T7" fmla="*/ 22 h 56"/>
                    <a:gd name="T8" fmla="*/ 91 w 101"/>
                    <a:gd name="T9" fmla="*/ 18 h 56"/>
                    <a:gd name="T10" fmla="*/ 83 w 101"/>
                    <a:gd name="T11" fmla="*/ 15 h 56"/>
                    <a:gd name="T12" fmla="*/ 75 w 101"/>
                    <a:gd name="T13" fmla="*/ 13 h 56"/>
                    <a:gd name="T14" fmla="*/ 72 w 101"/>
                    <a:gd name="T15" fmla="*/ 8 h 56"/>
                    <a:gd name="T16" fmla="*/ 64 w 101"/>
                    <a:gd name="T17" fmla="*/ 5 h 56"/>
                    <a:gd name="T18" fmla="*/ 60 w 101"/>
                    <a:gd name="T19" fmla="*/ 0 h 56"/>
                    <a:gd name="T20" fmla="*/ 59 w 101"/>
                    <a:gd name="T21" fmla="*/ 4 h 56"/>
                    <a:gd name="T22" fmla="*/ 51 w 101"/>
                    <a:gd name="T23" fmla="*/ 2 h 56"/>
                    <a:gd name="T24" fmla="*/ 44 w 101"/>
                    <a:gd name="T25" fmla="*/ 5 h 56"/>
                    <a:gd name="T26" fmla="*/ 46 w 101"/>
                    <a:gd name="T27" fmla="*/ 17 h 56"/>
                    <a:gd name="T28" fmla="*/ 38 w 101"/>
                    <a:gd name="T29" fmla="*/ 28 h 56"/>
                    <a:gd name="T30" fmla="*/ 31 w 101"/>
                    <a:gd name="T31" fmla="*/ 23 h 56"/>
                    <a:gd name="T32" fmla="*/ 23 w 101"/>
                    <a:gd name="T33" fmla="*/ 13 h 56"/>
                    <a:gd name="T34" fmla="*/ 21 w 101"/>
                    <a:gd name="T35" fmla="*/ 8 h 56"/>
                    <a:gd name="T36" fmla="*/ 15 w 101"/>
                    <a:gd name="T37" fmla="*/ 12 h 56"/>
                    <a:gd name="T38" fmla="*/ 10 w 101"/>
                    <a:gd name="T39" fmla="*/ 13 h 56"/>
                    <a:gd name="T40" fmla="*/ 8 w 101"/>
                    <a:gd name="T41" fmla="*/ 22 h 56"/>
                    <a:gd name="T42" fmla="*/ 6 w 101"/>
                    <a:gd name="T43" fmla="*/ 26 h 56"/>
                    <a:gd name="T44" fmla="*/ 2 w 101"/>
                    <a:gd name="T45" fmla="*/ 35 h 56"/>
                    <a:gd name="T46" fmla="*/ 0 w 101"/>
                    <a:gd name="T47" fmla="*/ 39 h 56"/>
                    <a:gd name="T48" fmla="*/ 3 w 101"/>
                    <a:gd name="T49" fmla="*/ 49 h 56"/>
                    <a:gd name="T50" fmla="*/ 6 w 101"/>
                    <a:gd name="T51" fmla="*/ 49 h 56"/>
                    <a:gd name="T52" fmla="*/ 11 w 101"/>
                    <a:gd name="T53" fmla="*/ 41 h 56"/>
                    <a:gd name="T54" fmla="*/ 24 w 101"/>
                    <a:gd name="T55" fmla="*/ 39 h 56"/>
                    <a:gd name="T56" fmla="*/ 29 w 101"/>
                    <a:gd name="T57" fmla="*/ 41 h 56"/>
                    <a:gd name="T58" fmla="*/ 36 w 101"/>
                    <a:gd name="T59" fmla="*/ 38 h 56"/>
                    <a:gd name="T60" fmla="*/ 39 w 101"/>
                    <a:gd name="T61" fmla="*/ 41 h 56"/>
                    <a:gd name="T62" fmla="*/ 47 w 101"/>
                    <a:gd name="T63" fmla="*/ 44 h 56"/>
                    <a:gd name="T64" fmla="*/ 54 w 101"/>
                    <a:gd name="T65" fmla="*/ 41 h 56"/>
                    <a:gd name="T66" fmla="*/ 64 w 101"/>
                    <a:gd name="T67" fmla="*/ 44 h 56"/>
                    <a:gd name="T68" fmla="*/ 72 w 101"/>
                    <a:gd name="T69" fmla="*/ 49 h 56"/>
                    <a:gd name="T70" fmla="*/ 80 w 101"/>
                    <a:gd name="T71" fmla="*/ 56 h 56"/>
                    <a:gd name="T72" fmla="*/ 82 w 101"/>
                    <a:gd name="T73" fmla="*/ 56 h 56"/>
                    <a:gd name="T74" fmla="*/ 93 w 101"/>
                    <a:gd name="T75" fmla="*/ 53 h 56"/>
                    <a:gd name="T76" fmla="*/ 96 w 101"/>
                    <a:gd name="T77" fmla="*/ 48 h 56"/>
                    <a:gd name="T78" fmla="*/ 101 w 101"/>
                    <a:gd name="T79" fmla="*/ 4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01" h="56">
                      <a:moveTo>
                        <a:pt x="101" y="44"/>
                      </a:moveTo>
                      <a:lnTo>
                        <a:pt x="100" y="39"/>
                      </a:lnTo>
                      <a:lnTo>
                        <a:pt x="98" y="36"/>
                      </a:lnTo>
                      <a:lnTo>
                        <a:pt x="96" y="31"/>
                      </a:lnTo>
                      <a:lnTo>
                        <a:pt x="95" y="30"/>
                      </a:lnTo>
                      <a:lnTo>
                        <a:pt x="93" y="26"/>
                      </a:lnTo>
                      <a:lnTo>
                        <a:pt x="93" y="23"/>
                      </a:lnTo>
                      <a:lnTo>
                        <a:pt x="93" y="22"/>
                      </a:lnTo>
                      <a:lnTo>
                        <a:pt x="91" y="20"/>
                      </a:lnTo>
                      <a:lnTo>
                        <a:pt x="91" y="18"/>
                      </a:lnTo>
                      <a:lnTo>
                        <a:pt x="91" y="15"/>
                      </a:lnTo>
                      <a:lnTo>
                        <a:pt x="83" y="15"/>
                      </a:lnTo>
                      <a:lnTo>
                        <a:pt x="78" y="17"/>
                      </a:lnTo>
                      <a:lnTo>
                        <a:pt x="75" y="13"/>
                      </a:lnTo>
                      <a:lnTo>
                        <a:pt x="73" y="12"/>
                      </a:lnTo>
                      <a:lnTo>
                        <a:pt x="72" y="8"/>
                      </a:lnTo>
                      <a:lnTo>
                        <a:pt x="67" y="5"/>
                      </a:lnTo>
                      <a:lnTo>
                        <a:pt x="64" y="5"/>
                      </a:lnTo>
                      <a:lnTo>
                        <a:pt x="64" y="2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59" y="4"/>
                      </a:lnTo>
                      <a:lnTo>
                        <a:pt x="54" y="0"/>
                      </a:lnTo>
                      <a:lnTo>
                        <a:pt x="51" y="2"/>
                      </a:lnTo>
                      <a:lnTo>
                        <a:pt x="46" y="5"/>
                      </a:lnTo>
                      <a:lnTo>
                        <a:pt x="44" y="5"/>
                      </a:lnTo>
                      <a:lnTo>
                        <a:pt x="44" y="8"/>
                      </a:lnTo>
                      <a:lnTo>
                        <a:pt x="46" y="17"/>
                      </a:lnTo>
                      <a:lnTo>
                        <a:pt x="44" y="22"/>
                      </a:lnTo>
                      <a:lnTo>
                        <a:pt x="38" y="28"/>
                      </a:lnTo>
                      <a:lnTo>
                        <a:pt x="34" y="28"/>
                      </a:lnTo>
                      <a:lnTo>
                        <a:pt x="31" y="23"/>
                      </a:lnTo>
                      <a:lnTo>
                        <a:pt x="31" y="22"/>
                      </a:lnTo>
                      <a:lnTo>
                        <a:pt x="23" y="13"/>
                      </a:lnTo>
                      <a:lnTo>
                        <a:pt x="23" y="8"/>
                      </a:lnTo>
                      <a:lnTo>
                        <a:pt x="21" y="8"/>
                      </a:lnTo>
                      <a:lnTo>
                        <a:pt x="18" y="12"/>
                      </a:lnTo>
                      <a:lnTo>
                        <a:pt x="15" y="12"/>
                      </a:lnTo>
                      <a:lnTo>
                        <a:pt x="13" y="13"/>
                      </a:lnTo>
                      <a:lnTo>
                        <a:pt x="10" y="13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0"/>
                      </a:lnTo>
                      <a:lnTo>
                        <a:pt x="6" y="26"/>
                      </a:lnTo>
                      <a:lnTo>
                        <a:pt x="2" y="31"/>
                      </a:lnTo>
                      <a:lnTo>
                        <a:pt x="2" y="35"/>
                      </a:lnTo>
                      <a:lnTo>
                        <a:pt x="2" y="38"/>
                      </a:lnTo>
                      <a:lnTo>
                        <a:pt x="0" y="39"/>
                      </a:lnTo>
                      <a:lnTo>
                        <a:pt x="2" y="48"/>
                      </a:lnTo>
                      <a:lnTo>
                        <a:pt x="3" y="49"/>
                      </a:lnTo>
                      <a:lnTo>
                        <a:pt x="3" y="49"/>
                      </a:lnTo>
                      <a:lnTo>
                        <a:pt x="6" y="49"/>
                      </a:lnTo>
                      <a:lnTo>
                        <a:pt x="6" y="46"/>
                      </a:lnTo>
                      <a:lnTo>
                        <a:pt x="11" y="41"/>
                      </a:lnTo>
                      <a:lnTo>
                        <a:pt x="20" y="39"/>
                      </a:lnTo>
                      <a:lnTo>
                        <a:pt x="24" y="39"/>
                      </a:lnTo>
                      <a:lnTo>
                        <a:pt x="28" y="39"/>
                      </a:lnTo>
                      <a:lnTo>
                        <a:pt x="29" y="41"/>
                      </a:lnTo>
                      <a:lnTo>
                        <a:pt x="33" y="39"/>
                      </a:lnTo>
                      <a:lnTo>
                        <a:pt x="36" y="38"/>
                      </a:lnTo>
                      <a:lnTo>
                        <a:pt x="38" y="41"/>
                      </a:lnTo>
                      <a:lnTo>
                        <a:pt x="39" y="41"/>
                      </a:lnTo>
                      <a:lnTo>
                        <a:pt x="42" y="44"/>
                      </a:lnTo>
                      <a:lnTo>
                        <a:pt x="47" y="44"/>
                      </a:lnTo>
                      <a:lnTo>
                        <a:pt x="49" y="44"/>
                      </a:lnTo>
                      <a:lnTo>
                        <a:pt x="54" y="41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9"/>
                      </a:lnTo>
                      <a:lnTo>
                        <a:pt x="72" y="49"/>
                      </a:lnTo>
                      <a:lnTo>
                        <a:pt x="75" y="54"/>
                      </a:lnTo>
                      <a:lnTo>
                        <a:pt x="80" y="56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87" y="54"/>
                      </a:lnTo>
                      <a:lnTo>
                        <a:pt x="93" y="53"/>
                      </a:lnTo>
                      <a:lnTo>
                        <a:pt x="95" y="49"/>
                      </a:lnTo>
                      <a:lnTo>
                        <a:pt x="96" y="48"/>
                      </a:lnTo>
                      <a:lnTo>
                        <a:pt x="98" y="44"/>
                      </a:lnTo>
                      <a:lnTo>
                        <a:pt x="101" y="4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0" name="Freeform 194">
                  <a:extLst>
                    <a:ext uri="{FF2B5EF4-FFF2-40B4-BE49-F238E27FC236}">
                      <a16:creationId xmlns:a16="http://schemas.microsoft.com/office/drawing/2014/main" xmlns="" id="{251F0738-0EB9-4AE5-820A-1A4E517CE6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8" y="1023"/>
                  <a:ext cx="79" cy="59"/>
                </a:xfrm>
                <a:custGeom>
                  <a:avLst/>
                  <a:gdLst>
                    <a:gd name="T0" fmla="*/ 26 w 79"/>
                    <a:gd name="T1" fmla="*/ 44 h 59"/>
                    <a:gd name="T2" fmla="*/ 25 w 79"/>
                    <a:gd name="T3" fmla="*/ 37 h 59"/>
                    <a:gd name="T4" fmla="*/ 26 w 79"/>
                    <a:gd name="T5" fmla="*/ 36 h 59"/>
                    <a:gd name="T6" fmla="*/ 25 w 79"/>
                    <a:gd name="T7" fmla="*/ 34 h 59"/>
                    <a:gd name="T8" fmla="*/ 23 w 79"/>
                    <a:gd name="T9" fmla="*/ 33 h 59"/>
                    <a:gd name="T10" fmla="*/ 23 w 79"/>
                    <a:gd name="T11" fmla="*/ 29 h 59"/>
                    <a:gd name="T12" fmla="*/ 21 w 79"/>
                    <a:gd name="T13" fmla="*/ 29 h 59"/>
                    <a:gd name="T14" fmla="*/ 15 w 79"/>
                    <a:gd name="T15" fmla="*/ 31 h 59"/>
                    <a:gd name="T16" fmla="*/ 10 w 79"/>
                    <a:gd name="T17" fmla="*/ 28 h 59"/>
                    <a:gd name="T18" fmla="*/ 7 w 79"/>
                    <a:gd name="T19" fmla="*/ 23 h 59"/>
                    <a:gd name="T20" fmla="*/ 2 w 79"/>
                    <a:gd name="T21" fmla="*/ 23 h 59"/>
                    <a:gd name="T22" fmla="*/ 0 w 79"/>
                    <a:gd name="T23" fmla="*/ 23 h 59"/>
                    <a:gd name="T24" fmla="*/ 2 w 79"/>
                    <a:gd name="T25" fmla="*/ 21 h 59"/>
                    <a:gd name="T26" fmla="*/ 0 w 79"/>
                    <a:gd name="T27" fmla="*/ 16 h 59"/>
                    <a:gd name="T28" fmla="*/ 0 w 79"/>
                    <a:gd name="T29" fmla="*/ 11 h 59"/>
                    <a:gd name="T30" fmla="*/ 3 w 79"/>
                    <a:gd name="T31" fmla="*/ 11 h 59"/>
                    <a:gd name="T32" fmla="*/ 3 w 79"/>
                    <a:gd name="T33" fmla="*/ 8 h 59"/>
                    <a:gd name="T34" fmla="*/ 8 w 79"/>
                    <a:gd name="T35" fmla="*/ 3 h 59"/>
                    <a:gd name="T36" fmla="*/ 17 w 79"/>
                    <a:gd name="T37" fmla="*/ 1 h 59"/>
                    <a:gd name="T38" fmla="*/ 21 w 79"/>
                    <a:gd name="T39" fmla="*/ 1 h 59"/>
                    <a:gd name="T40" fmla="*/ 25 w 79"/>
                    <a:gd name="T41" fmla="*/ 1 h 59"/>
                    <a:gd name="T42" fmla="*/ 26 w 79"/>
                    <a:gd name="T43" fmla="*/ 3 h 59"/>
                    <a:gd name="T44" fmla="*/ 30 w 79"/>
                    <a:gd name="T45" fmla="*/ 1 h 59"/>
                    <a:gd name="T46" fmla="*/ 33 w 79"/>
                    <a:gd name="T47" fmla="*/ 0 h 59"/>
                    <a:gd name="T48" fmla="*/ 35 w 79"/>
                    <a:gd name="T49" fmla="*/ 3 h 59"/>
                    <a:gd name="T50" fmla="*/ 36 w 79"/>
                    <a:gd name="T51" fmla="*/ 3 h 59"/>
                    <a:gd name="T52" fmla="*/ 39 w 79"/>
                    <a:gd name="T53" fmla="*/ 6 h 59"/>
                    <a:gd name="T54" fmla="*/ 44 w 79"/>
                    <a:gd name="T55" fmla="*/ 6 h 59"/>
                    <a:gd name="T56" fmla="*/ 46 w 79"/>
                    <a:gd name="T57" fmla="*/ 6 h 59"/>
                    <a:gd name="T58" fmla="*/ 51 w 79"/>
                    <a:gd name="T59" fmla="*/ 3 h 59"/>
                    <a:gd name="T60" fmla="*/ 56 w 79"/>
                    <a:gd name="T61" fmla="*/ 6 h 59"/>
                    <a:gd name="T62" fmla="*/ 61 w 79"/>
                    <a:gd name="T63" fmla="*/ 6 h 59"/>
                    <a:gd name="T64" fmla="*/ 66 w 79"/>
                    <a:gd name="T65" fmla="*/ 11 h 59"/>
                    <a:gd name="T66" fmla="*/ 69 w 79"/>
                    <a:gd name="T67" fmla="*/ 11 h 59"/>
                    <a:gd name="T68" fmla="*/ 72 w 79"/>
                    <a:gd name="T69" fmla="*/ 16 h 59"/>
                    <a:gd name="T70" fmla="*/ 77 w 79"/>
                    <a:gd name="T71" fmla="*/ 18 h 59"/>
                    <a:gd name="T72" fmla="*/ 79 w 79"/>
                    <a:gd name="T73" fmla="*/ 18 h 59"/>
                    <a:gd name="T74" fmla="*/ 75 w 79"/>
                    <a:gd name="T75" fmla="*/ 23 h 59"/>
                    <a:gd name="T76" fmla="*/ 77 w 79"/>
                    <a:gd name="T77" fmla="*/ 24 h 59"/>
                    <a:gd name="T78" fmla="*/ 77 w 79"/>
                    <a:gd name="T79" fmla="*/ 28 h 59"/>
                    <a:gd name="T80" fmla="*/ 72 w 79"/>
                    <a:gd name="T81" fmla="*/ 31 h 59"/>
                    <a:gd name="T82" fmla="*/ 69 w 79"/>
                    <a:gd name="T83" fmla="*/ 36 h 59"/>
                    <a:gd name="T84" fmla="*/ 67 w 79"/>
                    <a:gd name="T85" fmla="*/ 36 h 59"/>
                    <a:gd name="T86" fmla="*/ 66 w 79"/>
                    <a:gd name="T87" fmla="*/ 41 h 59"/>
                    <a:gd name="T88" fmla="*/ 70 w 79"/>
                    <a:gd name="T89" fmla="*/ 44 h 59"/>
                    <a:gd name="T90" fmla="*/ 70 w 79"/>
                    <a:gd name="T91" fmla="*/ 47 h 59"/>
                    <a:gd name="T92" fmla="*/ 67 w 79"/>
                    <a:gd name="T93" fmla="*/ 47 h 59"/>
                    <a:gd name="T94" fmla="*/ 66 w 79"/>
                    <a:gd name="T95" fmla="*/ 46 h 59"/>
                    <a:gd name="T96" fmla="*/ 62 w 79"/>
                    <a:gd name="T97" fmla="*/ 46 h 59"/>
                    <a:gd name="T98" fmla="*/ 61 w 79"/>
                    <a:gd name="T99" fmla="*/ 51 h 59"/>
                    <a:gd name="T100" fmla="*/ 56 w 79"/>
                    <a:gd name="T101" fmla="*/ 51 h 59"/>
                    <a:gd name="T102" fmla="*/ 57 w 79"/>
                    <a:gd name="T103" fmla="*/ 55 h 59"/>
                    <a:gd name="T104" fmla="*/ 56 w 79"/>
                    <a:gd name="T105" fmla="*/ 55 h 59"/>
                    <a:gd name="T106" fmla="*/ 51 w 79"/>
                    <a:gd name="T107" fmla="*/ 57 h 59"/>
                    <a:gd name="T108" fmla="*/ 48 w 79"/>
                    <a:gd name="T109" fmla="*/ 55 h 59"/>
                    <a:gd name="T110" fmla="*/ 41 w 79"/>
                    <a:gd name="T111" fmla="*/ 57 h 59"/>
                    <a:gd name="T112" fmla="*/ 38 w 79"/>
                    <a:gd name="T113" fmla="*/ 59 h 59"/>
                    <a:gd name="T114" fmla="*/ 36 w 79"/>
                    <a:gd name="T115" fmla="*/ 55 h 59"/>
                    <a:gd name="T116" fmla="*/ 36 w 79"/>
                    <a:gd name="T117" fmla="*/ 52 h 59"/>
                    <a:gd name="T118" fmla="*/ 35 w 79"/>
                    <a:gd name="T119" fmla="*/ 46 h 59"/>
                    <a:gd name="T120" fmla="*/ 33 w 79"/>
                    <a:gd name="T121" fmla="*/ 46 h 59"/>
                    <a:gd name="T122" fmla="*/ 30 w 79"/>
                    <a:gd name="T123" fmla="*/ 44 h 59"/>
                    <a:gd name="T124" fmla="*/ 26 w 79"/>
                    <a:gd name="T125" fmla="*/ 44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9" h="59">
                      <a:moveTo>
                        <a:pt x="26" y="44"/>
                      </a:moveTo>
                      <a:lnTo>
                        <a:pt x="25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23" y="33"/>
                      </a:lnTo>
                      <a:lnTo>
                        <a:pt x="23" y="29"/>
                      </a:lnTo>
                      <a:lnTo>
                        <a:pt x="21" y="29"/>
                      </a:lnTo>
                      <a:lnTo>
                        <a:pt x="15" y="31"/>
                      </a:lnTo>
                      <a:lnTo>
                        <a:pt x="10" y="28"/>
                      </a:lnTo>
                      <a:lnTo>
                        <a:pt x="7" y="23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2" y="21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3" y="11"/>
                      </a:lnTo>
                      <a:lnTo>
                        <a:pt x="3" y="8"/>
                      </a:lnTo>
                      <a:lnTo>
                        <a:pt x="8" y="3"/>
                      </a:lnTo>
                      <a:lnTo>
                        <a:pt x="17" y="1"/>
                      </a:lnTo>
                      <a:lnTo>
                        <a:pt x="21" y="1"/>
                      </a:lnTo>
                      <a:lnTo>
                        <a:pt x="25" y="1"/>
                      </a:lnTo>
                      <a:lnTo>
                        <a:pt x="26" y="3"/>
                      </a:lnTo>
                      <a:lnTo>
                        <a:pt x="30" y="1"/>
                      </a:lnTo>
                      <a:lnTo>
                        <a:pt x="33" y="0"/>
                      </a:lnTo>
                      <a:lnTo>
                        <a:pt x="35" y="3"/>
                      </a:lnTo>
                      <a:lnTo>
                        <a:pt x="36" y="3"/>
                      </a:lnTo>
                      <a:lnTo>
                        <a:pt x="39" y="6"/>
                      </a:lnTo>
                      <a:lnTo>
                        <a:pt x="44" y="6"/>
                      </a:lnTo>
                      <a:lnTo>
                        <a:pt x="46" y="6"/>
                      </a:lnTo>
                      <a:lnTo>
                        <a:pt x="51" y="3"/>
                      </a:lnTo>
                      <a:lnTo>
                        <a:pt x="56" y="6"/>
                      </a:lnTo>
                      <a:lnTo>
                        <a:pt x="61" y="6"/>
                      </a:lnTo>
                      <a:lnTo>
                        <a:pt x="66" y="11"/>
                      </a:lnTo>
                      <a:lnTo>
                        <a:pt x="69" y="11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79" y="18"/>
                      </a:lnTo>
                      <a:lnTo>
                        <a:pt x="75" y="23"/>
                      </a:lnTo>
                      <a:lnTo>
                        <a:pt x="77" y="24"/>
                      </a:lnTo>
                      <a:lnTo>
                        <a:pt x="77" y="28"/>
                      </a:lnTo>
                      <a:lnTo>
                        <a:pt x="72" y="31"/>
                      </a:lnTo>
                      <a:lnTo>
                        <a:pt x="69" y="36"/>
                      </a:lnTo>
                      <a:lnTo>
                        <a:pt x="67" y="36"/>
                      </a:lnTo>
                      <a:lnTo>
                        <a:pt x="66" y="41"/>
                      </a:lnTo>
                      <a:lnTo>
                        <a:pt x="70" y="44"/>
                      </a:lnTo>
                      <a:lnTo>
                        <a:pt x="70" y="47"/>
                      </a:lnTo>
                      <a:lnTo>
                        <a:pt x="67" y="47"/>
                      </a:lnTo>
                      <a:lnTo>
                        <a:pt x="66" y="46"/>
                      </a:lnTo>
                      <a:lnTo>
                        <a:pt x="62" y="46"/>
                      </a:lnTo>
                      <a:lnTo>
                        <a:pt x="61" y="51"/>
                      </a:lnTo>
                      <a:lnTo>
                        <a:pt x="56" y="51"/>
                      </a:lnTo>
                      <a:lnTo>
                        <a:pt x="57" y="55"/>
                      </a:lnTo>
                      <a:lnTo>
                        <a:pt x="56" y="55"/>
                      </a:lnTo>
                      <a:lnTo>
                        <a:pt x="51" y="57"/>
                      </a:lnTo>
                      <a:lnTo>
                        <a:pt x="48" y="55"/>
                      </a:lnTo>
                      <a:lnTo>
                        <a:pt x="41" y="57"/>
                      </a:lnTo>
                      <a:lnTo>
                        <a:pt x="38" y="59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5" y="46"/>
                      </a:lnTo>
                      <a:lnTo>
                        <a:pt x="33" y="46"/>
                      </a:lnTo>
                      <a:lnTo>
                        <a:pt x="30" y="44"/>
                      </a:lnTo>
                      <a:lnTo>
                        <a:pt x="26" y="4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1" name="Freeform 195">
                  <a:extLst>
                    <a:ext uri="{FF2B5EF4-FFF2-40B4-BE49-F238E27FC236}">
                      <a16:creationId xmlns:a16="http://schemas.microsoft.com/office/drawing/2014/main" xmlns="" id="{AB29DF54-B2C8-41F4-9B79-9AF3B89889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6" y="1028"/>
                  <a:ext cx="132" cy="104"/>
                </a:xfrm>
                <a:custGeom>
                  <a:avLst/>
                  <a:gdLst>
                    <a:gd name="T0" fmla="*/ 3 w 132"/>
                    <a:gd name="T1" fmla="*/ 52 h 104"/>
                    <a:gd name="T2" fmla="*/ 13 w 132"/>
                    <a:gd name="T3" fmla="*/ 52 h 104"/>
                    <a:gd name="T4" fmla="*/ 19 w 132"/>
                    <a:gd name="T5" fmla="*/ 50 h 104"/>
                    <a:gd name="T6" fmla="*/ 23 w 132"/>
                    <a:gd name="T7" fmla="*/ 46 h 104"/>
                    <a:gd name="T8" fmla="*/ 28 w 132"/>
                    <a:gd name="T9" fmla="*/ 41 h 104"/>
                    <a:gd name="T10" fmla="*/ 32 w 132"/>
                    <a:gd name="T11" fmla="*/ 42 h 104"/>
                    <a:gd name="T12" fmla="*/ 28 w 132"/>
                    <a:gd name="T13" fmla="*/ 36 h 104"/>
                    <a:gd name="T14" fmla="*/ 31 w 132"/>
                    <a:gd name="T15" fmla="*/ 31 h 104"/>
                    <a:gd name="T16" fmla="*/ 39 w 132"/>
                    <a:gd name="T17" fmla="*/ 23 h 104"/>
                    <a:gd name="T18" fmla="*/ 37 w 132"/>
                    <a:gd name="T19" fmla="*/ 18 h 104"/>
                    <a:gd name="T20" fmla="*/ 46 w 132"/>
                    <a:gd name="T21" fmla="*/ 11 h 104"/>
                    <a:gd name="T22" fmla="*/ 54 w 132"/>
                    <a:gd name="T23" fmla="*/ 6 h 104"/>
                    <a:gd name="T24" fmla="*/ 57 w 132"/>
                    <a:gd name="T25" fmla="*/ 1 h 104"/>
                    <a:gd name="T26" fmla="*/ 63 w 132"/>
                    <a:gd name="T27" fmla="*/ 3 h 104"/>
                    <a:gd name="T28" fmla="*/ 70 w 132"/>
                    <a:gd name="T29" fmla="*/ 5 h 104"/>
                    <a:gd name="T30" fmla="*/ 78 w 132"/>
                    <a:gd name="T31" fmla="*/ 5 h 104"/>
                    <a:gd name="T32" fmla="*/ 85 w 132"/>
                    <a:gd name="T33" fmla="*/ 6 h 104"/>
                    <a:gd name="T34" fmla="*/ 91 w 132"/>
                    <a:gd name="T35" fmla="*/ 6 h 104"/>
                    <a:gd name="T36" fmla="*/ 99 w 132"/>
                    <a:gd name="T37" fmla="*/ 10 h 104"/>
                    <a:gd name="T38" fmla="*/ 99 w 132"/>
                    <a:gd name="T39" fmla="*/ 18 h 104"/>
                    <a:gd name="T40" fmla="*/ 103 w 132"/>
                    <a:gd name="T41" fmla="*/ 26 h 104"/>
                    <a:gd name="T42" fmla="*/ 108 w 132"/>
                    <a:gd name="T43" fmla="*/ 34 h 104"/>
                    <a:gd name="T44" fmla="*/ 116 w 132"/>
                    <a:gd name="T45" fmla="*/ 42 h 104"/>
                    <a:gd name="T46" fmla="*/ 122 w 132"/>
                    <a:gd name="T47" fmla="*/ 49 h 104"/>
                    <a:gd name="T48" fmla="*/ 129 w 132"/>
                    <a:gd name="T49" fmla="*/ 57 h 104"/>
                    <a:gd name="T50" fmla="*/ 130 w 132"/>
                    <a:gd name="T51" fmla="*/ 62 h 104"/>
                    <a:gd name="T52" fmla="*/ 119 w 132"/>
                    <a:gd name="T53" fmla="*/ 68 h 104"/>
                    <a:gd name="T54" fmla="*/ 114 w 132"/>
                    <a:gd name="T55" fmla="*/ 68 h 104"/>
                    <a:gd name="T56" fmla="*/ 117 w 132"/>
                    <a:gd name="T57" fmla="*/ 77 h 104"/>
                    <a:gd name="T58" fmla="*/ 121 w 132"/>
                    <a:gd name="T59" fmla="*/ 85 h 104"/>
                    <a:gd name="T60" fmla="*/ 121 w 132"/>
                    <a:gd name="T61" fmla="*/ 90 h 104"/>
                    <a:gd name="T62" fmla="*/ 109 w 132"/>
                    <a:gd name="T63" fmla="*/ 91 h 104"/>
                    <a:gd name="T64" fmla="*/ 106 w 132"/>
                    <a:gd name="T65" fmla="*/ 103 h 104"/>
                    <a:gd name="T66" fmla="*/ 101 w 132"/>
                    <a:gd name="T67" fmla="*/ 101 h 104"/>
                    <a:gd name="T68" fmla="*/ 93 w 132"/>
                    <a:gd name="T69" fmla="*/ 101 h 104"/>
                    <a:gd name="T70" fmla="*/ 86 w 132"/>
                    <a:gd name="T71" fmla="*/ 104 h 104"/>
                    <a:gd name="T72" fmla="*/ 83 w 132"/>
                    <a:gd name="T73" fmla="*/ 101 h 104"/>
                    <a:gd name="T74" fmla="*/ 75 w 132"/>
                    <a:gd name="T75" fmla="*/ 103 h 104"/>
                    <a:gd name="T76" fmla="*/ 67 w 132"/>
                    <a:gd name="T77" fmla="*/ 101 h 104"/>
                    <a:gd name="T78" fmla="*/ 63 w 132"/>
                    <a:gd name="T79" fmla="*/ 103 h 104"/>
                    <a:gd name="T80" fmla="*/ 55 w 132"/>
                    <a:gd name="T81" fmla="*/ 103 h 104"/>
                    <a:gd name="T82" fmla="*/ 52 w 132"/>
                    <a:gd name="T83" fmla="*/ 99 h 104"/>
                    <a:gd name="T84" fmla="*/ 39 w 132"/>
                    <a:gd name="T85" fmla="*/ 95 h 104"/>
                    <a:gd name="T86" fmla="*/ 32 w 132"/>
                    <a:gd name="T87" fmla="*/ 98 h 104"/>
                    <a:gd name="T88" fmla="*/ 18 w 132"/>
                    <a:gd name="T89" fmla="*/ 99 h 104"/>
                    <a:gd name="T90" fmla="*/ 10 w 132"/>
                    <a:gd name="T91" fmla="*/ 99 h 104"/>
                    <a:gd name="T92" fmla="*/ 6 w 132"/>
                    <a:gd name="T93" fmla="*/ 98 h 104"/>
                    <a:gd name="T94" fmla="*/ 3 w 132"/>
                    <a:gd name="T95" fmla="*/ 88 h 104"/>
                    <a:gd name="T96" fmla="*/ 8 w 132"/>
                    <a:gd name="T97" fmla="*/ 81 h 104"/>
                    <a:gd name="T98" fmla="*/ 6 w 132"/>
                    <a:gd name="T99" fmla="*/ 70 h 104"/>
                    <a:gd name="T100" fmla="*/ 3 w 132"/>
                    <a:gd name="T101" fmla="*/ 63 h 104"/>
                    <a:gd name="T102" fmla="*/ 0 w 132"/>
                    <a:gd name="T103" fmla="*/ 5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2" h="104">
                      <a:moveTo>
                        <a:pt x="0" y="54"/>
                      </a:moveTo>
                      <a:lnTo>
                        <a:pt x="3" y="52"/>
                      </a:lnTo>
                      <a:lnTo>
                        <a:pt x="10" y="50"/>
                      </a:lnTo>
                      <a:lnTo>
                        <a:pt x="13" y="52"/>
                      </a:lnTo>
                      <a:lnTo>
                        <a:pt x="18" y="50"/>
                      </a:lnTo>
                      <a:lnTo>
                        <a:pt x="19" y="50"/>
                      </a:lnTo>
                      <a:lnTo>
                        <a:pt x="18" y="46"/>
                      </a:lnTo>
                      <a:lnTo>
                        <a:pt x="23" y="46"/>
                      </a:lnTo>
                      <a:lnTo>
                        <a:pt x="24" y="41"/>
                      </a:lnTo>
                      <a:lnTo>
                        <a:pt x="28" y="41"/>
                      </a:lnTo>
                      <a:lnTo>
                        <a:pt x="29" y="42"/>
                      </a:lnTo>
                      <a:lnTo>
                        <a:pt x="32" y="42"/>
                      </a:lnTo>
                      <a:lnTo>
                        <a:pt x="32" y="39"/>
                      </a:lnTo>
                      <a:lnTo>
                        <a:pt x="28" y="36"/>
                      </a:lnTo>
                      <a:lnTo>
                        <a:pt x="29" y="31"/>
                      </a:lnTo>
                      <a:lnTo>
                        <a:pt x="31" y="31"/>
                      </a:lnTo>
                      <a:lnTo>
                        <a:pt x="34" y="26"/>
                      </a:lnTo>
                      <a:lnTo>
                        <a:pt x="39" y="23"/>
                      </a:lnTo>
                      <a:lnTo>
                        <a:pt x="39" y="19"/>
                      </a:lnTo>
                      <a:lnTo>
                        <a:pt x="37" y="18"/>
                      </a:lnTo>
                      <a:lnTo>
                        <a:pt x="41" y="13"/>
                      </a:lnTo>
                      <a:lnTo>
                        <a:pt x="46" y="11"/>
                      </a:lnTo>
                      <a:lnTo>
                        <a:pt x="52" y="10"/>
                      </a:lnTo>
                      <a:lnTo>
                        <a:pt x="54" y="6"/>
                      </a:lnTo>
                      <a:lnTo>
                        <a:pt x="55" y="5"/>
                      </a:lnTo>
                      <a:lnTo>
                        <a:pt x="57" y="1"/>
                      </a:lnTo>
                      <a:lnTo>
                        <a:pt x="60" y="0"/>
                      </a:lnTo>
                      <a:lnTo>
                        <a:pt x="63" y="3"/>
                      </a:lnTo>
                      <a:lnTo>
                        <a:pt x="67" y="0"/>
                      </a:lnTo>
                      <a:lnTo>
                        <a:pt x="70" y="5"/>
                      </a:lnTo>
                      <a:lnTo>
                        <a:pt x="73" y="3"/>
                      </a:lnTo>
                      <a:lnTo>
                        <a:pt x="78" y="5"/>
                      </a:lnTo>
                      <a:lnTo>
                        <a:pt x="80" y="10"/>
                      </a:lnTo>
                      <a:lnTo>
                        <a:pt x="85" y="6"/>
                      </a:lnTo>
                      <a:lnTo>
                        <a:pt x="90" y="5"/>
                      </a:lnTo>
                      <a:lnTo>
                        <a:pt x="91" y="6"/>
                      </a:lnTo>
                      <a:lnTo>
                        <a:pt x="93" y="6"/>
                      </a:lnTo>
                      <a:lnTo>
                        <a:pt x="99" y="10"/>
                      </a:lnTo>
                      <a:lnTo>
                        <a:pt x="101" y="13"/>
                      </a:lnTo>
                      <a:lnTo>
                        <a:pt x="99" y="18"/>
                      </a:lnTo>
                      <a:lnTo>
                        <a:pt x="103" y="21"/>
                      </a:lnTo>
                      <a:lnTo>
                        <a:pt x="103" y="26"/>
                      </a:lnTo>
                      <a:lnTo>
                        <a:pt x="106" y="29"/>
                      </a:lnTo>
                      <a:lnTo>
                        <a:pt x="108" y="34"/>
                      </a:lnTo>
                      <a:lnTo>
                        <a:pt x="112" y="41"/>
                      </a:lnTo>
                      <a:lnTo>
                        <a:pt x="116" y="42"/>
                      </a:lnTo>
                      <a:lnTo>
                        <a:pt x="117" y="47"/>
                      </a:lnTo>
                      <a:lnTo>
                        <a:pt x="122" y="49"/>
                      </a:lnTo>
                      <a:lnTo>
                        <a:pt x="127" y="54"/>
                      </a:lnTo>
                      <a:lnTo>
                        <a:pt x="129" y="57"/>
                      </a:lnTo>
                      <a:lnTo>
                        <a:pt x="132" y="60"/>
                      </a:lnTo>
                      <a:lnTo>
                        <a:pt x="130" y="62"/>
                      </a:lnTo>
                      <a:lnTo>
                        <a:pt x="127" y="67"/>
                      </a:lnTo>
                      <a:lnTo>
                        <a:pt x="119" y="68"/>
                      </a:lnTo>
                      <a:lnTo>
                        <a:pt x="116" y="65"/>
                      </a:lnTo>
                      <a:lnTo>
                        <a:pt x="114" y="68"/>
                      </a:lnTo>
                      <a:lnTo>
                        <a:pt x="114" y="72"/>
                      </a:lnTo>
                      <a:lnTo>
                        <a:pt x="117" y="77"/>
                      </a:lnTo>
                      <a:lnTo>
                        <a:pt x="117" y="81"/>
                      </a:lnTo>
                      <a:lnTo>
                        <a:pt x="121" y="85"/>
                      </a:lnTo>
                      <a:lnTo>
                        <a:pt x="121" y="90"/>
                      </a:lnTo>
                      <a:lnTo>
                        <a:pt x="121" y="90"/>
                      </a:lnTo>
                      <a:lnTo>
                        <a:pt x="114" y="91"/>
                      </a:lnTo>
                      <a:lnTo>
                        <a:pt x="109" y="91"/>
                      </a:lnTo>
                      <a:lnTo>
                        <a:pt x="108" y="98"/>
                      </a:lnTo>
                      <a:lnTo>
                        <a:pt x="106" y="103"/>
                      </a:lnTo>
                      <a:lnTo>
                        <a:pt x="103" y="104"/>
                      </a:lnTo>
                      <a:lnTo>
                        <a:pt x="101" y="101"/>
                      </a:lnTo>
                      <a:lnTo>
                        <a:pt x="96" y="103"/>
                      </a:lnTo>
                      <a:lnTo>
                        <a:pt x="93" y="101"/>
                      </a:lnTo>
                      <a:lnTo>
                        <a:pt x="90" y="101"/>
                      </a:lnTo>
                      <a:lnTo>
                        <a:pt x="86" y="104"/>
                      </a:lnTo>
                      <a:lnTo>
                        <a:pt x="85" y="104"/>
                      </a:lnTo>
                      <a:lnTo>
                        <a:pt x="83" y="101"/>
                      </a:lnTo>
                      <a:lnTo>
                        <a:pt x="80" y="99"/>
                      </a:lnTo>
                      <a:lnTo>
                        <a:pt x="75" y="103"/>
                      </a:lnTo>
                      <a:lnTo>
                        <a:pt x="72" y="103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3" y="103"/>
                      </a:lnTo>
                      <a:lnTo>
                        <a:pt x="62" y="101"/>
                      </a:lnTo>
                      <a:lnTo>
                        <a:pt x="55" y="103"/>
                      </a:lnTo>
                      <a:lnTo>
                        <a:pt x="55" y="101"/>
                      </a:lnTo>
                      <a:lnTo>
                        <a:pt x="52" y="99"/>
                      </a:lnTo>
                      <a:lnTo>
                        <a:pt x="42" y="98"/>
                      </a:lnTo>
                      <a:lnTo>
                        <a:pt x="39" y="95"/>
                      </a:lnTo>
                      <a:lnTo>
                        <a:pt x="36" y="95"/>
                      </a:lnTo>
                      <a:lnTo>
                        <a:pt x="32" y="98"/>
                      </a:lnTo>
                      <a:lnTo>
                        <a:pt x="28" y="98"/>
                      </a:lnTo>
                      <a:lnTo>
                        <a:pt x="18" y="99"/>
                      </a:lnTo>
                      <a:lnTo>
                        <a:pt x="14" y="101"/>
                      </a:lnTo>
                      <a:lnTo>
                        <a:pt x="10" y="99"/>
                      </a:lnTo>
                      <a:lnTo>
                        <a:pt x="6" y="99"/>
                      </a:lnTo>
                      <a:lnTo>
                        <a:pt x="6" y="98"/>
                      </a:lnTo>
                      <a:lnTo>
                        <a:pt x="3" y="93"/>
                      </a:lnTo>
                      <a:lnTo>
                        <a:pt x="3" y="88"/>
                      </a:lnTo>
                      <a:lnTo>
                        <a:pt x="5" y="83"/>
                      </a:lnTo>
                      <a:lnTo>
                        <a:pt x="8" y="81"/>
                      </a:lnTo>
                      <a:lnTo>
                        <a:pt x="8" y="72"/>
                      </a:lnTo>
                      <a:lnTo>
                        <a:pt x="6" y="70"/>
                      </a:lnTo>
                      <a:lnTo>
                        <a:pt x="5" y="67"/>
                      </a:lnTo>
                      <a:lnTo>
                        <a:pt x="3" y="63"/>
                      </a:lnTo>
                      <a:lnTo>
                        <a:pt x="1" y="55"/>
                      </a:lnTo>
                      <a:lnTo>
                        <a:pt x="0" y="54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2" name="Freeform 196">
                  <a:extLst>
                    <a:ext uri="{FF2B5EF4-FFF2-40B4-BE49-F238E27FC236}">
                      <a16:creationId xmlns:a16="http://schemas.microsoft.com/office/drawing/2014/main" xmlns="" id="{E69EECD4-4D99-4E0C-B844-CBD95EBB83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6" y="1111"/>
                  <a:ext cx="261" cy="167"/>
                </a:xfrm>
                <a:custGeom>
                  <a:avLst/>
                  <a:gdLst>
                    <a:gd name="T0" fmla="*/ 38 w 261"/>
                    <a:gd name="T1" fmla="*/ 15 h 167"/>
                    <a:gd name="T2" fmla="*/ 62 w 261"/>
                    <a:gd name="T3" fmla="*/ 16 h 167"/>
                    <a:gd name="T4" fmla="*/ 77 w 261"/>
                    <a:gd name="T5" fmla="*/ 20 h 167"/>
                    <a:gd name="T6" fmla="*/ 93 w 261"/>
                    <a:gd name="T7" fmla="*/ 18 h 167"/>
                    <a:gd name="T8" fmla="*/ 106 w 261"/>
                    <a:gd name="T9" fmla="*/ 20 h 167"/>
                    <a:gd name="T10" fmla="*/ 119 w 261"/>
                    <a:gd name="T11" fmla="*/ 8 h 167"/>
                    <a:gd name="T12" fmla="*/ 137 w 261"/>
                    <a:gd name="T13" fmla="*/ 3 h 167"/>
                    <a:gd name="T14" fmla="*/ 163 w 261"/>
                    <a:gd name="T15" fmla="*/ 2 h 167"/>
                    <a:gd name="T16" fmla="*/ 180 w 261"/>
                    <a:gd name="T17" fmla="*/ 20 h 167"/>
                    <a:gd name="T18" fmla="*/ 188 w 261"/>
                    <a:gd name="T19" fmla="*/ 36 h 167"/>
                    <a:gd name="T20" fmla="*/ 209 w 261"/>
                    <a:gd name="T21" fmla="*/ 43 h 167"/>
                    <a:gd name="T22" fmla="*/ 227 w 261"/>
                    <a:gd name="T23" fmla="*/ 52 h 167"/>
                    <a:gd name="T24" fmla="*/ 247 w 261"/>
                    <a:gd name="T25" fmla="*/ 52 h 167"/>
                    <a:gd name="T26" fmla="*/ 261 w 261"/>
                    <a:gd name="T27" fmla="*/ 59 h 167"/>
                    <a:gd name="T28" fmla="*/ 258 w 261"/>
                    <a:gd name="T29" fmla="*/ 77 h 167"/>
                    <a:gd name="T30" fmla="*/ 247 w 261"/>
                    <a:gd name="T31" fmla="*/ 95 h 167"/>
                    <a:gd name="T32" fmla="*/ 237 w 261"/>
                    <a:gd name="T33" fmla="*/ 108 h 167"/>
                    <a:gd name="T34" fmla="*/ 225 w 261"/>
                    <a:gd name="T35" fmla="*/ 113 h 167"/>
                    <a:gd name="T36" fmla="*/ 212 w 261"/>
                    <a:gd name="T37" fmla="*/ 119 h 167"/>
                    <a:gd name="T38" fmla="*/ 198 w 261"/>
                    <a:gd name="T39" fmla="*/ 119 h 167"/>
                    <a:gd name="T40" fmla="*/ 194 w 261"/>
                    <a:gd name="T41" fmla="*/ 131 h 167"/>
                    <a:gd name="T42" fmla="*/ 196 w 261"/>
                    <a:gd name="T43" fmla="*/ 124 h 167"/>
                    <a:gd name="T44" fmla="*/ 186 w 261"/>
                    <a:gd name="T45" fmla="*/ 132 h 167"/>
                    <a:gd name="T46" fmla="*/ 175 w 261"/>
                    <a:gd name="T47" fmla="*/ 134 h 167"/>
                    <a:gd name="T48" fmla="*/ 186 w 261"/>
                    <a:gd name="T49" fmla="*/ 137 h 167"/>
                    <a:gd name="T50" fmla="*/ 189 w 261"/>
                    <a:gd name="T51" fmla="*/ 141 h 167"/>
                    <a:gd name="T52" fmla="*/ 194 w 261"/>
                    <a:gd name="T53" fmla="*/ 149 h 167"/>
                    <a:gd name="T54" fmla="*/ 188 w 261"/>
                    <a:gd name="T55" fmla="*/ 132 h 167"/>
                    <a:gd name="T56" fmla="*/ 202 w 261"/>
                    <a:gd name="T57" fmla="*/ 149 h 167"/>
                    <a:gd name="T58" fmla="*/ 216 w 261"/>
                    <a:gd name="T59" fmla="*/ 144 h 167"/>
                    <a:gd name="T60" fmla="*/ 217 w 261"/>
                    <a:gd name="T61" fmla="*/ 154 h 167"/>
                    <a:gd name="T62" fmla="*/ 194 w 261"/>
                    <a:gd name="T63" fmla="*/ 159 h 167"/>
                    <a:gd name="T64" fmla="*/ 173 w 261"/>
                    <a:gd name="T65" fmla="*/ 163 h 167"/>
                    <a:gd name="T66" fmla="*/ 165 w 261"/>
                    <a:gd name="T67" fmla="*/ 149 h 167"/>
                    <a:gd name="T68" fmla="*/ 173 w 261"/>
                    <a:gd name="T69" fmla="*/ 141 h 167"/>
                    <a:gd name="T70" fmla="*/ 170 w 261"/>
                    <a:gd name="T71" fmla="*/ 136 h 167"/>
                    <a:gd name="T72" fmla="*/ 153 w 261"/>
                    <a:gd name="T73" fmla="*/ 132 h 167"/>
                    <a:gd name="T74" fmla="*/ 147 w 261"/>
                    <a:gd name="T75" fmla="*/ 126 h 167"/>
                    <a:gd name="T76" fmla="*/ 152 w 261"/>
                    <a:gd name="T77" fmla="*/ 124 h 167"/>
                    <a:gd name="T78" fmla="*/ 147 w 261"/>
                    <a:gd name="T79" fmla="*/ 121 h 167"/>
                    <a:gd name="T80" fmla="*/ 140 w 261"/>
                    <a:gd name="T81" fmla="*/ 121 h 167"/>
                    <a:gd name="T82" fmla="*/ 131 w 261"/>
                    <a:gd name="T83" fmla="*/ 131 h 167"/>
                    <a:gd name="T84" fmla="*/ 118 w 261"/>
                    <a:gd name="T85" fmla="*/ 144 h 167"/>
                    <a:gd name="T86" fmla="*/ 118 w 261"/>
                    <a:gd name="T87" fmla="*/ 150 h 167"/>
                    <a:gd name="T88" fmla="*/ 101 w 261"/>
                    <a:gd name="T89" fmla="*/ 150 h 167"/>
                    <a:gd name="T90" fmla="*/ 100 w 261"/>
                    <a:gd name="T91" fmla="*/ 142 h 167"/>
                    <a:gd name="T92" fmla="*/ 108 w 261"/>
                    <a:gd name="T93" fmla="*/ 126 h 167"/>
                    <a:gd name="T94" fmla="*/ 118 w 261"/>
                    <a:gd name="T95" fmla="*/ 123 h 167"/>
                    <a:gd name="T96" fmla="*/ 108 w 261"/>
                    <a:gd name="T97" fmla="*/ 108 h 167"/>
                    <a:gd name="T98" fmla="*/ 95 w 261"/>
                    <a:gd name="T99" fmla="*/ 90 h 167"/>
                    <a:gd name="T100" fmla="*/ 78 w 261"/>
                    <a:gd name="T101" fmla="*/ 87 h 167"/>
                    <a:gd name="T102" fmla="*/ 69 w 261"/>
                    <a:gd name="T103" fmla="*/ 83 h 167"/>
                    <a:gd name="T104" fmla="*/ 65 w 261"/>
                    <a:gd name="T105" fmla="*/ 95 h 167"/>
                    <a:gd name="T106" fmla="*/ 42 w 261"/>
                    <a:gd name="T107" fmla="*/ 103 h 167"/>
                    <a:gd name="T108" fmla="*/ 23 w 261"/>
                    <a:gd name="T109" fmla="*/ 98 h 167"/>
                    <a:gd name="T110" fmla="*/ 8 w 261"/>
                    <a:gd name="T111" fmla="*/ 93 h 167"/>
                    <a:gd name="T112" fmla="*/ 5 w 261"/>
                    <a:gd name="T113" fmla="*/ 74 h 167"/>
                    <a:gd name="T114" fmla="*/ 18 w 261"/>
                    <a:gd name="T115" fmla="*/ 49 h 167"/>
                    <a:gd name="T116" fmla="*/ 23 w 261"/>
                    <a:gd name="T117" fmla="*/ 38 h 167"/>
                    <a:gd name="T118" fmla="*/ 16 w 261"/>
                    <a:gd name="T119" fmla="*/ 18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61" h="167">
                      <a:moveTo>
                        <a:pt x="16" y="16"/>
                      </a:moveTo>
                      <a:lnTo>
                        <a:pt x="20" y="16"/>
                      </a:lnTo>
                      <a:lnTo>
                        <a:pt x="24" y="18"/>
                      </a:lnTo>
                      <a:lnTo>
                        <a:pt x="28" y="16"/>
                      </a:lnTo>
                      <a:lnTo>
                        <a:pt x="38" y="15"/>
                      </a:lnTo>
                      <a:lnTo>
                        <a:pt x="42" y="15"/>
                      </a:lnTo>
                      <a:lnTo>
                        <a:pt x="46" y="12"/>
                      </a:lnTo>
                      <a:lnTo>
                        <a:pt x="49" y="12"/>
                      </a:lnTo>
                      <a:lnTo>
                        <a:pt x="52" y="15"/>
                      </a:lnTo>
                      <a:lnTo>
                        <a:pt x="62" y="16"/>
                      </a:lnTo>
                      <a:lnTo>
                        <a:pt x="65" y="18"/>
                      </a:lnTo>
                      <a:lnTo>
                        <a:pt x="65" y="20"/>
                      </a:lnTo>
                      <a:lnTo>
                        <a:pt x="72" y="18"/>
                      </a:lnTo>
                      <a:lnTo>
                        <a:pt x="73" y="20"/>
                      </a:lnTo>
                      <a:lnTo>
                        <a:pt x="77" y="20"/>
                      </a:lnTo>
                      <a:lnTo>
                        <a:pt x="77" y="18"/>
                      </a:lnTo>
                      <a:lnTo>
                        <a:pt x="82" y="20"/>
                      </a:lnTo>
                      <a:lnTo>
                        <a:pt x="85" y="20"/>
                      </a:lnTo>
                      <a:lnTo>
                        <a:pt x="90" y="16"/>
                      </a:lnTo>
                      <a:lnTo>
                        <a:pt x="93" y="18"/>
                      </a:lnTo>
                      <a:lnTo>
                        <a:pt x="95" y="21"/>
                      </a:lnTo>
                      <a:lnTo>
                        <a:pt x="96" y="21"/>
                      </a:lnTo>
                      <a:lnTo>
                        <a:pt x="100" y="18"/>
                      </a:lnTo>
                      <a:lnTo>
                        <a:pt x="103" y="18"/>
                      </a:lnTo>
                      <a:lnTo>
                        <a:pt x="106" y="20"/>
                      </a:lnTo>
                      <a:lnTo>
                        <a:pt x="111" y="18"/>
                      </a:lnTo>
                      <a:lnTo>
                        <a:pt x="113" y="21"/>
                      </a:lnTo>
                      <a:lnTo>
                        <a:pt x="116" y="20"/>
                      </a:lnTo>
                      <a:lnTo>
                        <a:pt x="118" y="15"/>
                      </a:lnTo>
                      <a:lnTo>
                        <a:pt x="119" y="8"/>
                      </a:lnTo>
                      <a:lnTo>
                        <a:pt x="124" y="8"/>
                      </a:lnTo>
                      <a:lnTo>
                        <a:pt x="131" y="7"/>
                      </a:lnTo>
                      <a:lnTo>
                        <a:pt x="134" y="7"/>
                      </a:lnTo>
                      <a:lnTo>
                        <a:pt x="137" y="7"/>
                      </a:lnTo>
                      <a:lnTo>
                        <a:pt x="137" y="3"/>
                      </a:lnTo>
                      <a:lnTo>
                        <a:pt x="139" y="0"/>
                      </a:lnTo>
                      <a:lnTo>
                        <a:pt x="147" y="3"/>
                      </a:lnTo>
                      <a:lnTo>
                        <a:pt x="155" y="3"/>
                      </a:lnTo>
                      <a:lnTo>
                        <a:pt x="160" y="2"/>
                      </a:lnTo>
                      <a:lnTo>
                        <a:pt x="163" y="2"/>
                      </a:lnTo>
                      <a:lnTo>
                        <a:pt x="165" y="8"/>
                      </a:lnTo>
                      <a:lnTo>
                        <a:pt x="168" y="12"/>
                      </a:lnTo>
                      <a:lnTo>
                        <a:pt x="167" y="15"/>
                      </a:lnTo>
                      <a:lnTo>
                        <a:pt x="171" y="21"/>
                      </a:lnTo>
                      <a:lnTo>
                        <a:pt x="180" y="20"/>
                      </a:lnTo>
                      <a:lnTo>
                        <a:pt x="183" y="23"/>
                      </a:lnTo>
                      <a:lnTo>
                        <a:pt x="183" y="26"/>
                      </a:lnTo>
                      <a:lnTo>
                        <a:pt x="186" y="26"/>
                      </a:lnTo>
                      <a:lnTo>
                        <a:pt x="186" y="31"/>
                      </a:lnTo>
                      <a:lnTo>
                        <a:pt x="188" y="36"/>
                      </a:lnTo>
                      <a:lnTo>
                        <a:pt x="196" y="43"/>
                      </a:lnTo>
                      <a:lnTo>
                        <a:pt x="198" y="39"/>
                      </a:lnTo>
                      <a:lnTo>
                        <a:pt x="202" y="43"/>
                      </a:lnTo>
                      <a:lnTo>
                        <a:pt x="206" y="41"/>
                      </a:lnTo>
                      <a:lnTo>
                        <a:pt x="209" y="43"/>
                      </a:lnTo>
                      <a:lnTo>
                        <a:pt x="216" y="38"/>
                      </a:lnTo>
                      <a:lnTo>
                        <a:pt x="217" y="38"/>
                      </a:lnTo>
                      <a:lnTo>
                        <a:pt x="220" y="46"/>
                      </a:lnTo>
                      <a:lnTo>
                        <a:pt x="225" y="49"/>
                      </a:lnTo>
                      <a:lnTo>
                        <a:pt x="227" y="52"/>
                      </a:lnTo>
                      <a:lnTo>
                        <a:pt x="230" y="49"/>
                      </a:lnTo>
                      <a:lnTo>
                        <a:pt x="235" y="51"/>
                      </a:lnTo>
                      <a:lnTo>
                        <a:pt x="240" y="51"/>
                      </a:lnTo>
                      <a:lnTo>
                        <a:pt x="243" y="52"/>
                      </a:lnTo>
                      <a:lnTo>
                        <a:pt x="247" y="52"/>
                      </a:lnTo>
                      <a:lnTo>
                        <a:pt x="250" y="54"/>
                      </a:lnTo>
                      <a:lnTo>
                        <a:pt x="255" y="56"/>
                      </a:lnTo>
                      <a:lnTo>
                        <a:pt x="258" y="54"/>
                      </a:lnTo>
                      <a:lnTo>
                        <a:pt x="258" y="57"/>
                      </a:lnTo>
                      <a:lnTo>
                        <a:pt x="261" y="59"/>
                      </a:lnTo>
                      <a:lnTo>
                        <a:pt x="261" y="62"/>
                      </a:lnTo>
                      <a:lnTo>
                        <a:pt x="258" y="65"/>
                      </a:lnTo>
                      <a:lnTo>
                        <a:pt x="255" y="67"/>
                      </a:lnTo>
                      <a:lnTo>
                        <a:pt x="253" y="74"/>
                      </a:lnTo>
                      <a:lnTo>
                        <a:pt x="258" y="77"/>
                      </a:lnTo>
                      <a:lnTo>
                        <a:pt x="260" y="82"/>
                      </a:lnTo>
                      <a:lnTo>
                        <a:pt x="258" y="88"/>
                      </a:lnTo>
                      <a:lnTo>
                        <a:pt x="258" y="92"/>
                      </a:lnTo>
                      <a:lnTo>
                        <a:pt x="255" y="93"/>
                      </a:lnTo>
                      <a:lnTo>
                        <a:pt x="247" y="95"/>
                      </a:lnTo>
                      <a:lnTo>
                        <a:pt x="243" y="100"/>
                      </a:lnTo>
                      <a:lnTo>
                        <a:pt x="242" y="101"/>
                      </a:lnTo>
                      <a:lnTo>
                        <a:pt x="242" y="108"/>
                      </a:lnTo>
                      <a:lnTo>
                        <a:pt x="238" y="110"/>
                      </a:lnTo>
                      <a:lnTo>
                        <a:pt x="237" y="108"/>
                      </a:lnTo>
                      <a:lnTo>
                        <a:pt x="235" y="108"/>
                      </a:lnTo>
                      <a:lnTo>
                        <a:pt x="232" y="110"/>
                      </a:lnTo>
                      <a:lnTo>
                        <a:pt x="229" y="110"/>
                      </a:lnTo>
                      <a:lnTo>
                        <a:pt x="225" y="111"/>
                      </a:lnTo>
                      <a:lnTo>
                        <a:pt x="225" y="113"/>
                      </a:lnTo>
                      <a:lnTo>
                        <a:pt x="220" y="114"/>
                      </a:lnTo>
                      <a:lnTo>
                        <a:pt x="219" y="116"/>
                      </a:lnTo>
                      <a:lnTo>
                        <a:pt x="216" y="119"/>
                      </a:lnTo>
                      <a:lnTo>
                        <a:pt x="216" y="119"/>
                      </a:lnTo>
                      <a:lnTo>
                        <a:pt x="212" y="119"/>
                      </a:lnTo>
                      <a:lnTo>
                        <a:pt x="209" y="123"/>
                      </a:lnTo>
                      <a:lnTo>
                        <a:pt x="204" y="121"/>
                      </a:lnTo>
                      <a:lnTo>
                        <a:pt x="202" y="123"/>
                      </a:lnTo>
                      <a:lnTo>
                        <a:pt x="199" y="123"/>
                      </a:lnTo>
                      <a:lnTo>
                        <a:pt x="198" y="119"/>
                      </a:lnTo>
                      <a:lnTo>
                        <a:pt x="196" y="119"/>
                      </a:lnTo>
                      <a:lnTo>
                        <a:pt x="198" y="121"/>
                      </a:lnTo>
                      <a:lnTo>
                        <a:pt x="199" y="124"/>
                      </a:lnTo>
                      <a:lnTo>
                        <a:pt x="198" y="126"/>
                      </a:lnTo>
                      <a:lnTo>
                        <a:pt x="194" y="131"/>
                      </a:lnTo>
                      <a:lnTo>
                        <a:pt x="193" y="131"/>
                      </a:lnTo>
                      <a:lnTo>
                        <a:pt x="193" y="131"/>
                      </a:lnTo>
                      <a:lnTo>
                        <a:pt x="193" y="129"/>
                      </a:lnTo>
                      <a:lnTo>
                        <a:pt x="196" y="126"/>
                      </a:lnTo>
                      <a:lnTo>
                        <a:pt x="196" y="124"/>
                      </a:lnTo>
                      <a:lnTo>
                        <a:pt x="194" y="123"/>
                      </a:lnTo>
                      <a:lnTo>
                        <a:pt x="194" y="124"/>
                      </a:lnTo>
                      <a:lnTo>
                        <a:pt x="189" y="131"/>
                      </a:lnTo>
                      <a:lnTo>
                        <a:pt x="186" y="131"/>
                      </a:lnTo>
                      <a:lnTo>
                        <a:pt x="186" y="132"/>
                      </a:lnTo>
                      <a:lnTo>
                        <a:pt x="183" y="132"/>
                      </a:lnTo>
                      <a:lnTo>
                        <a:pt x="180" y="131"/>
                      </a:lnTo>
                      <a:lnTo>
                        <a:pt x="178" y="132"/>
                      </a:lnTo>
                      <a:lnTo>
                        <a:pt x="175" y="132"/>
                      </a:lnTo>
                      <a:lnTo>
                        <a:pt x="175" y="134"/>
                      </a:lnTo>
                      <a:lnTo>
                        <a:pt x="176" y="134"/>
                      </a:lnTo>
                      <a:lnTo>
                        <a:pt x="181" y="134"/>
                      </a:lnTo>
                      <a:lnTo>
                        <a:pt x="183" y="137"/>
                      </a:lnTo>
                      <a:lnTo>
                        <a:pt x="185" y="139"/>
                      </a:lnTo>
                      <a:lnTo>
                        <a:pt x="186" y="137"/>
                      </a:lnTo>
                      <a:lnTo>
                        <a:pt x="188" y="139"/>
                      </a:lnTo>
                      <a:lnTo>
                        <a:pt x="186" y="141"/>
                      </a:lnTo>
                      <a:lnTo>
                        <a:pt x="186" y="142"/>
                      </a:lnTo>
                      <a:lnTo>
                        <a:pt x="188" y="141"/>
                      </a:lnTo>
                      <a:lnTo>
                        <a:pt x="189" y="141"/>
                      </a:lnTo>
                      <a:lnTo>
                        <a:pt x="189" y="144"/>
                      </a:lnTo>
                      <a:lnTo>
                        <a:pt x="191" y="142"/>
                      </a:lnTo>
                      <a:lnTo>
                        <a:pt x="193" y="144"/>
                      </a:lnTo>
                      <a:lnTo>
                        <a:pt x="193" y="147"/>
                      </a:lnTo>
                      <a:lnTo>
                        <a:pt x="194" y="149"/>
                      </a:lnTo>
                      <a:lnTo>
                        <a:pt x="199" y="150"/>
                      </a:lnTo>
                      <a:lnTo>
                        <a:pt x="201" y="149"/>
                      </a:lnTo>
                      <a:lnTo>
                        <a:pt x="194" y="144"/>
                      </a:lnTo>
                      <a:lnTo>
                        <a:pt x="189" y="137"/>
                      </a:lnTo>
                      <a:lnTo>
                        <a:pt x="188" y="132"/>
                      </a:lnTo>
                      <a:lnTo>
                        <a:pt x="189" y="132"/>
                      </a:lnTo>
                      <a:lnTo>
                        <a:pt x="191" y="136"/>
                      </a:lnTo>
                      <a:lnTo>
                        <a:pt x="193" y="139"/>
                      </a:lnTo>
                      <a:lnTo>
                        <a:pt x="201" y="149"/>
                      </a:lnTo>
                      <a:lnTo>
                        <a:pt x="202" y="149"/>
                      </a:lnTo>
                      <a:lnTo>
                        <a:pt x="204" y="146"/>
                      </a:lnTo>
                      <a:lnTo>
                        <a:pt x="207" y="146"/>
                      </a:lnTo>
                      <a:lnTo>
                        <a:pt x="209" y="149"/>
                      </a:lnTo>
                      <a:lnTo>
                        <a:pt x="211" y="144"/>
                      </a:lnTo>
                      <a:lnTo>
                        <a:pt x="216" y="144"/>
                      </a:lnTo>
                      <a:lnTo>
                        <a:pt x="220" y="144"/>
                      </a:lnTo>
                      <a:lnTo>
                        <a:pt x="219" y="147"/>
                      </a:lnTo>
                      <a:lnTo>
                        <a:pt x="217" y="147"/>
                      </a:lnTo>
                      <a:lnTo>
                        <a:pt x="219" y="150"/>
                      </a:lnTo>
                      <a:lnTo>
                        <a:pt x="217" y="154"/>
                      </a:lnTo>
                      <a:lnTo>
                        <a:pt x="211" y="154"/>
                      </a:lnTo>
                      <a:lnTo>
                        <a:pt x="206" y="152"/>
                      </a:lnTo>
                      <a:lnTo>
                        <a:pt x="201" y="154"/>
                      </a:lnTo>
                      <a:lnTo>
                        <a:pt x="199" y="159"/>
                      </a:lnTo>
                      <a:lnTo>
                        <a:pt x="194" y="159"/>
                      </a:lnTo>
                      <a:lnTo>
                        <a:pt x="186" y="163"/>
                      </a:lnTo>
                      <a:lnTo>
                        <a:pt x="181" y="167"/>
                      </a:lnTo>
                      <a:lnTo>
                        <a:pt x="175" y="167"/>
                      </a:lnTo>
                      <a:lnTo>
                        <a:pt x="173" y="163"/>
                      </a:lnTo>
                      <a:lnTo>
                        <a:pt x="173" y="163"/>
                      </a:lnTo>
                      <a:lnTo>
                        <a:pt x="175" y="157"/>
                      </a:lnTo>
                      <a:lnTo>
                        <a:pt x="175" y="155"/>
                      </a:lnTo>
                      <a:lnTo>
                        <a:pt x="170" y="150"/>
                      </a:lnTo>
                      <a:lnTo>
                        <a:pt x="168" y="150"/>
                      </a:lnTo>
                      <a:lnTo>
                        <a:pt x="165" y="149"/>
                      </a:lnTo>
                      <a:lnTo>
                        <a:pt x="162" y="150"/>
                      </a:lnTo>
                      <a:lnTo>
                        <a:pt x="160" y="150"/>
                      </a:lnTo>
                      <a:lnTo>
                        <a:pt x="163" y="144"/>
                      </a:lnTo>
                      <a:lnTo>
                        <a:pt x="168" y="141"/>
                      </a:lnTo>
                      <a:lnTo>
                        <a:pt x="173" y="141"/>
                      </a:lnTo>
                      <a:lnTo>
                        <a:pt x="175" y="139"/>
                      </a:lnTo>
                      <a:lnTo>
                        <a:pt x="173" y="137"/>
                      </a:lnTo>
                      <a:lnTo>
                        <a:pt x="171" y="134"/>
                      </a:lnTo>
                      <a:lnTo>
                        <a:pt x="170" y="132"/>
                      </a:lnTo>
                      <a:lnTo>
                        <a:pt x="170" y="136"/>
                      </a:lnTo>
                      <a:lnTo>
                        <a:pt x="167" y="134"/>
                      </a:lnTo>
                      <a:lnTo>
                        <a:pt x="163" y="132"/>
                      </a:lnTo>
                      <a:lnTo>
                        <a:pt x="160" y="132"/>
                      </a:lnTo>
                      <a:lnTo>
                        <a:pt x="157" y="134"/>
                      </a:lnTo>
                      <a:lnTo>
                        <a:pt x="153" y="132"/>
                      </a:lnTo>
                      <a:lnTo>
                        <a:pt x="152" y="132"/>
                      </a:lnTo>
                      <a:lnTo>
                        <a:pt x="149" y="131"/>
                      </a:lnTo>
                      <a:lnTo>
                        <a:pt x="150" y="129"/>
                      </a:lnTo>
                      <a:lnTo>
                        <a:pt x="152" y="128"/>
                      </a:lnTo>
                      <a:lnTo>
                        <a:pt x="147" y="126"/>
                      </a:lnTo>
                      <a:lnTo>
                        <a:pt x="140" y="126"/>
                      </a:lnTo>
                      <a:lnTo>
                        <a:pt x="139" y="124"/>
                      </a:lnTo>
                      <a:lnTo>
                        <a:pt x="144" y="124"/>
                      </a:lnTo>
                      <a:lnTo>
                        <a:pt x="149" y="124"/>
                      </a:lnTo>
                      <a:lnTo>
                        <a:pt x="152" y="124"/>
                      </a:lnTo>
                      <a:lnTo>
                        <a:pt x="153" y="124"/>
                      </a:lnTo>
                      <a:lnTo>
                        <a:pt x="157" y="121"/>
                      </a:lnTo>
                      <a:lnTo>
                        <a:pt x="152" y="123"/>
                      </a:lnTo>
                      <a:lnTo>
                        <a:pt x="150" y="121"/>
                      </a:lnTo>
                      <a:lnTo>
                        <a:pt x="147" y="121"/>
                      </a:lnTo>
                      <a:lnTo>
                        <a:pt x="147" y="118"/>
                      </a:lnTo>
                      <a:lnTo>
                        <a:pt x="145" y="121"/>
                      </a:lnTo>
                      <a:lnTo>
                        <a:pt x="144" y="123"/>
                      </a:lnTo>
                      <a:lnTo>
                        <a:pt x="140" y="123"/>
                      </a:lnTo>
                      <a:lnTo>
                        <a:pt x="140" y="121"/>
                      </a:lnTo>
                      <a:lnTo>
                        <a:pt x="139" y="119"/>
                      </a:lnTo>
                      <a:lnTo>
                        <a:pt x="136" y="124"/>
                      </a:lnTo>
                      <a:lnTo>
                        <a:pt x="132" y="124"/>
                      </a:lnTo>
                      <a:lnTo>
                        <a:pt x="131" y="126"/>
                      </a:lnTo>
                      <a:lnTo>
                        <a:pt x="131" y="131"/>
                      </a:lnTo>
                      <a:lnTo>
                        <a:pt x="127" y="134"/>
                      </a:lnTo>
                      <a:lnTo>
                        <a:pt x="126" y="134"/>
                      </a:lnTo>
                      <a:lnTo>
                        <a:pt x="126" y="136"/>
                      </a:lnTo>
                      <a:lnTo>
                        <a:pt x="121" y="144"/>
                      </a:lnTo>
                      <a:lnTo>
                        <a:pt x="118" y="144"/>
                      </a:lnTo>
                      <a:lnTo>
                        <a:pt x="118" y="142"/>
                      </a:lnTo>
                      <a:lnTo>
                        <a:pt x="118" y="144"/>
                      </a:lnTo>
                      <a:lnTo>
                        <a:pt x="116" y="146"/>
                      </a:lnTo>
                      <a:lnTo>
                        <a:pt x="118" y="149"/>
                      </a:lnTo>
                      <a:lnTo>
                        <a:pt x="118" y="150"/>
                      </a:lnTo>
                      <a:lnTo>
                        <a:pt x="118" y="150"/>
                      </a:lnTo>
                      <a:lnTo>
                        <a:pt x="114" y="149"/>
                      </a:lnTo>
                      <a:lnTo>
                        <a:pt x="109" y="149"/>
                      </a:lnTo>
                      <a:lnTo>
                        <a:pt x="108" y="150"/>
                      </a:lnTo>
                      <a:lnTo>
                        <a:pt x="101" y="150"/>
                      </a:lnTo>
                      <a:lnTo>
                        <a:pt x="96" y="150"/>
                      </a:lnTo>
                      <a:lnTo>
                        <a:pt x="95" y="146"/>
                      </a:lnTo>
                      <a:lnTo>
                        <a:pt x="96" y="144"/>
                      </a:lnTo>
                      <a:lnTo>
                        <a:pt x="100" y="144"/>
                      </a:lnTo>
                      <a:lnTo>
                        <a:pt x="100" y="142"/>
                      </a:lnTo>
                      <a:lnTo>
                        <a:pt x="103" y="136"/>
                      </a:lnTo>
                      <a:lnTo>
                        <a:pt x="104" y="136"/>
                      </a:lnTo>
                      <a:lnTo>
                        <a:pt x="104" y="132"/>
                      </a:lnTo>
                      <a:lnTo>
                        <a:pt x="104" y="126"/>
                      </a:lnTo>
                      <a:lnTo>
                        <a:pt x="108" y="126"/>
                      </a:lnTo>
                      <a:lnTo>
                        <a:pt x="111" y="124"/>
                      </a:lnTo>
                      <a:lnTo>
                        <a:pt x="114" y="128"/>
                      </a:lnTo>
                      <a:lnTo>
                        <a:pt x="119" y="128"/>
                      </a:lnTo>
                      <a:lnTo>
                        <a:pt x="119" y="126"/>
                      </a:lnTo>
                      <a:lnTo>
                        <a:pt x="118" y="123"/>
                      </a:lnTo>
                      <a:lnTo>
                        <a:pt x="118" y="119"/>
                      </a:lnTo>
                      <a:lnTo>
                        <a:pt x="118" y="116"/>
                      </a:lnTo>
                      <a:lnTo>
                        <a:pt x="113" y="114"/>
                      </a:lnTo>
                      <a:lnTo>
                        <a:pt x="109" y="110"/>
                      </a:lnTo>
                      <a:lnTo>
                        <a:pt x="108" y="108"/>
                      </a:lnTo>
                      <a:lnTo>
                        <a:pt x="104" y="106"/>
                      </a:lnTo>
                      <a:lnTo>
                        <a:pt x="104" y="103"/>
                      </a:lnTo>
                      <a:lnTo>
                        <a:pt x="104" y="96"/>
                      </a:lnTo>
                      <a:lnTo>
                        <a:pt x="100" y="95"/>
                      </a:lnTo>
                      <a:lnTo>
                        <a:pt x="95" y="90"/>
                      </a:lnTo>
                      <a:lnTo>
                        <a:pt x="95" y="90"/>
                      </a:lnTo>
                      <a:lnTo>
                        <a:pt x="93" y="92"/>
                      </a:lnTo>
                      <a:lnTo>
                        <a:pt x="88" y="92"/>
                      </a:lnTo>
                      <a:lnTo>
                        <a:pt x="83" y="87"/>
                      </a:lnTo>
                      <a:lnTo>
                        <a:pt x="78" y="87"/>
                      </a:lnTo>
                      <a:lnTo>
                        <a:pt x="77" y="83"/>
                      </a:lnTo>
                      <a:lnTo>
                        <a:pt x="75" y="85"/>
                      </a:lnTo>
                      <a:lnTo>
                        <a:pt x="72" y="85"/>
                      </a:lnTo>
                      <a:lnTo>
                        <a:pt x="70" y="87"/>
                      </a:lnTo>
                      <a:lnTo>
                        <a:pt x="69" y="83"/>
                      </a:lnTo>
                      <a:lnTo>
                        <a:pt x="67" y="85"/>
                      </a:lnTo>
                      <a:lnTo>
                        <a:pt x="65" y="83"/>
                      </a:lnTo>
                      <a:lnTo>
                        <a:pt x="65" y="88"/>
                      </a:lnTo>
                      <a:lnTo>
                        <a:pt x="65" y="90"/>
                      </a:lnTo>
                      <a:lnTo>
                        <a:pt x="65" y="95"/>
                      </a:lnTo>
                      <a:lnTo>
                        <a:pt x="62" y="95"/>
                      </a:lnTo>
                      <a:lnTo>
                        <a:pt x="59" y="96"/>
                      </a:lnTo>
                      <a:lnTo>
                        <a:pt x="47" y="100"/>
                      </a:lnTo>
                      <a:lnTo>
                        <a:pt x="46" y="103"/>
                      </a:lnTo>
                      <a:lnTo>
                        <a:pt x="42" y="103"/>
                      </a:lnTo>
                      <a:lnTo>
                        <a:pt x="36" y="105"/>
                      </a:lnTo>
                      <a:lnTo>
                        <a:pt x="33" y="103"/>
                      </a:lnTo>
                      <a:lnTo>
                        <a:pt x="33" y="100"/>
                      </a:lnTo>
                      <a:lnTo>
                        <a:pt x="28" y="98"/>
                      </a:lnTo>
                      <a:lnTo>
                        <a:pt x="23" y="98"/>
                      </a:lnTo>
                      <a:lnTo>
                        <a:pt x="18" y="95"/>
                      </a:lnTo>
                      <a:lnTo>
                        <a:pt x="15" y="95"/>
                      </a:lnTo>
                      <a:lnTo>
                        <a:pt x="13" y="96"/>
                      </a:lnTo>
                      <a:lnTo>
                        <a:pt x="10" y="96"/>
                      </a:lnTo>
                      <a:lnTo>
                        <a:pt x="8" y="93"/>
                      </a:lnTo>
                      <a:lnTo>
                        <a:pt x="5" y="92"/>
                      </a:lnTo>
                      <a:lnTo>
                        <a:pt x="0" y="87"/>
                      </a:lnTo>
                      <a:lnTo>
                        <a:pt x="2" y="87"/>
                      </a:lnTo>
                      <a:lnTo>
                        <a:pt x="2" y="82"/>
                      </a:lnTo>
                      <a:lnTo>
                        <a:pt x="5" y="74"/>
                      </a:lnTo>
                      <a:lnTo>
                        <a:pt x="8" y="75"/>
                      </a:lnTo>
                      <a:lnTo>
                        <a:pt x="8" y="70"/>
                      </a:lnTo>
                      <a:lnTo>
                        <a:pt x="8" y="65"/>
                      </a:lnTo>
                      <a:lnTo>
                        <a:pt x="18" y="54"/>
                      </a:lnTo>
                      <a:lnTo>
                        <a:pt x="18" y="49"/>
                      </a:lnTo>
                      <a:lnTo>
                        <a:pt x="21" y="47"/>
                      </a:lnTo>
                      <a:lnTo>
                        <a:pt x="23" y="46"/>
                      </a:lnTo>
                      <a:lnTo>
                        <a:pt x="24" y="43"/>
                      </a:lnTo>
                      <a:lnTo>
                        <a:pt x="23" y="39"/>
                      </a:lnTo>
                      <a:lnTo>
                        <a:pt x="23" y="38"/>
                      </a:lnTo>
                      <a:lnTo>
                        <a:pt x="24" y="36"/>
                      </a:lnTo>
                      <a:lnTo>
                        <a:pt x="21" y="33"/>
                      </a:lnTo>
                      <a:lnTo>
                        <a:pt x="18" y="28"/>
                      </a:lnTo>
                      <a:lnTo>
                        <a:pt x="16" y="26"/>
                      </a:lnTo>
                      <a:lnTo>
                        <a:pt x="16" y="18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3" name="Freeform 197">
                  <a:extLst>
                    <a:ext uri="{FF2B5EF4-FFF2-40B4-BE49-F238E27FC236}">
                      <a16:creationId xmlns:a16="http://schemas.microsoft.com/office/drawing/2014/main" xmlns="" id="{8AE09E61-0F25-468F-A4F0-EC84A7EB13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1" y="1194"/>
                  <a:ext cx="54" cy="63"/>
                </a:xfrm>
                <a:custGeom>
                  <a:avLst/>
                  <a:gdLst>
                    <a:gd name="T0" fmla="*/ 0 w 54"/>
                    <a:gd name="T1" fmla="*/ 12 h 63"/>
                    <a:gd name="T2" fmla="*/ 0 w 54"/>
                    <a:gd name="T3" fmla="*/ 7 h 63"/>
                    <a:gd name="T4" fmla="*/ 0 w 54"/>
                    <a:gd name="T5" fmla="*/ 5 h 63"/>
                    <a:gd name="T6" fmla="*/ 0 w 54"/>
                    <a:gd name="T7" fmla="*/ 0 h 63"/>
                    <a:gd name="T8" fmla="*/ 2 w 54"/>
                    <a:gd name="T9" fmla="*/ 2 h 63"/>
                    <a:gd name="T10" fmla="*/ 4 w 54"/>
                    <a:gd name="T11" fmla="*/ 0 h 63"/>
                    <a:gd name="T12" fmla="*/ 5 w 54"/>
                    <a:gd name="T13" fmla="*/ 4 h 63"/>
                    <a:gd name="T14" fmla="*/ 7 w 54"/>
                    <a:gd name="T15" fmla="*/ 2 h 63"/>
                    <a:gd name="T16" fmla="*/ 10 w 54"/>
                    <a:gd name="T17" fmla="*/ 2 h 63"/>
                    <a:gd name="T18" fmla="*/ 12 w 54"/>
                    <a:gd name="T19" fmla="*/ 0 h 63"/>
                    <a:gd name="T20" fmla="*/ 13 w 54"/>
                    <a:gd name="T21" fmla="*/ 4 h 63"/>
                    <a:gd name="T22" fmla="*/ 18 w 54"/>
                    <a:gd name="T23" fmla="*/ 4 h 63"/>
                    <a:gd name="T24" fmla="*/ 23 w 54"/>
                    <a:gd name="T25" fmla="*/ 9 h 63"/>
                    <a:gd name="T26" fmla="*/ 28 w 54"/>
                    <a:gd name="T27" fmla="*/ 9 h 63"/>
                    <a:gd name="T28" fmla="*/ 30 w 54"/>
                    <a:gd name="T29" fmla="*/ 7 h 63"/>
                    <a:gd name="T30" fmla="*/ 30 w 54"/>
                    <a:gd name="T31" fmla="*/ 7 h 63"/>
                    <a:gd name="T32" fmla="*/ 35 w 54"/>
                    <a:gd name="T33" fmla="*/ 12 h 63"/>
                    <a:gd name="T34" fmla="*/ 39 w 54"/>
                    <a:gd name="T35" fmla="*/ 13 h 63"/>
                    <a:gd name="T36" fmla="*/ 39 w 54"/>
                    <a:gd name="T37" fmla="*/ 20 h 63"/>
                    <a:gd name="T38" fmla="*/ 39 w 54"/>
                    <a:gd name="T39" fmla="*/ 23 h 63"/>
                    <a:gd name="T40" fmla="*/ 43 w 54"/>
                    <a:gd name="T41" fmla="*/ 25 h 63"/>
                    <a:gd name="T42" fmla="*/ 44 w 54"/>
                    <a:gd name="T43" fmla="*/ 27 h 63"/>
                    <a:gd name="T44" fmla="*/ 48 w 54"/>
                    <a:gd name="T45" fmla="*/ 31 h 63"/>
                    <a:gd name="T46" fmla="*/ 53 w 54"/>
                    <a:gd name="T47" fmla="*/ 33 h 63"/>
                    <a:gd name="T48" fmla="*/ 53 w 54"/>
                    <a:gd name="T49" fmla="*/ 36 h 63"/>
                    <a:gd name="T50" fmla="*/ 53 w 54"/>
                    <a:gd name="T51" fmla="*/ 40 h 63"/>
                    <a:gd name="T52" fmla="*/ 54 w 54"/>
                    <a:gd name="T53" fmla="*/ 43 h 63"/>
                    <a:gd name="T54" fmla="*/ 54 w 54"/>
                    <a:gd name="T55" fmla="*/ 45 h 63"/>
                    <a:gd name="T56" fmla="*/ 49 w 54"/>
                    <a:gd name="T57" fmla="*/ 45 h 63"/>
                    <a:gd name="T58" fmla="*/ 46 w 54"/>
                    <a:gd name="T59" fmla="*/ 41 h 63"/>
                    <a:gd name="T60" fmla="*/ 43 w 54"/>
                    <a:gd name="T61" fmla="*/ 43 h 63"/>
                    <a:gd name="T62" fmla="*/ 39 w 54"/>
                    <a:gd name="T63" fmla="*/ 43 h 63"/>
                    <a:gd name="T64" fmla="*/ 39 w 54"/>
                    <a:gd name="T65" fmla="*/ 49 h 63"/>
                    <a:gd name="T66" fmla="*/ 39 w 54"/>
                    <a:gd name="T67" fmla="*/ 53 h 63"/>
                    <a:gd name="T68" fmla="*/ 38 w 54"/>
                    <a:gd name="T69" fmla="*/ 53 h 63"/>
                    <a:gd name="T70" fmla="*/ 35 w 54"/>
                    <a:gd name="T71" fmla="*/ 59 h 63"/>
                    <a:gd name="T72" fmla="*/ 35 w 54"/>
                    <a:gd name="T73" fmla="*/ 61 h 63"/>
                    <a:gd name="T74" fmla="*/ 31 w 54"/>
                    <a:gd name="T75" fmla="*/ 61 h 63"/>
                    <a:gd name="T76" fmla="*/ 30 w 54"/>
                    <a:gd name="T77" fmla="*/ 63 h 63"/>
                    <a:gd name="T78" fmla="*/ 30 w 54"/>
                    <a:gd name="T79" fmla="*/ 63 h 63"/>
                    <a:gd name="T80" fmla="*/ 26 w 54"/>
                    <a:gd name="T81" fmla="*/ 58 h 63"/>
                    <a:gd name="T82" fmla="*/ 28 w 54"/>
                    <a:gd name="T83" fmla="*/ 43 h 63"/>
                    <a:gd name="T84" fmla="*/ 25 w 54"/>
                    <a:gd name="T85" fmla="*/ 38 h 63"/>
                    <a:gd name="T86" fmla="*/ 25 w 54"/>
                    <a:gd name="T87" fmla="*/ 33 h 63"/>
                    <a:gd name="T88" fmla="*/ 15 w 54"/>
                    <a:gd name="T89" fmla="*/ 27 h 63"/>
                    <a:gd name="T90" fmla="*/ 15 w 54"/>
                    <a:gd name="T91" fmla="*/ 23 h 63"/>
                    <a:gd name="T92" fmla="*/ 8 w 54"/>
                    <a:gd name="T93" fmla="*/ 17 h 63"/>
                    <a:gd name="T94" fmla="*/ 7 w 54"/>
                    <a:gd name="T95" fmla="*/ 10 h 63"/>
                    <a:gd name="T96" fmla="*/ 0 w 54"/>
                    <a:gd name="T97" fmla="*/ 1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4" h="63">
                      <a:moveTo>
                        <a:pt x="0" y="12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5" y="4"/>
                      </a:lnTo>
                      <a:lnTo>
                        <a:pt x="7" y="2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3" y="4"/>
                      </a:lnTo>
                      <a:lnTo>
                        <a:pt x="18" y="4"/>
                      </a:lnTo>
                      <a:lnTo>
                        <a:pt x="23" y="9"/>
                      </a:lnTo>
                      <a:lnTo>
                        <a:pt x="28" y="9"/>
                      </a:lnTo>
                      <a:lnTo>
                        <a:pt x="30" y="7"/>
                      </a:lnTo>
                      <a:lnTo>
                        <a:pt x="30" y="7"/>
                      </a:lnTo>
                      <a:lnTo>
                        <a:pt x="35" y="12"/>
                      </a:lnTo>
                      <a:lnTo>
                        <a:pt x="39" y="13"/>
                      </a:lnTo>
                      <a:lnTo>
                        <a:pt x="39" y="20"/>
                      </a:lnTo>
                      <a:lnTo>
                        <a:pt x="39" y="23"/>
                      </a:lnTo>
                      <a:lnTo>
                        <a:pt x="43" y="25"/>
                      </a:lnTo>
                      <a:lnTo>
                        <a:pt x="44" y="27"/>
                      </a:lnTo>
                      <a:lnTo>
                        <a:pt x="48" y="31"/>
                      </a:lnTo>
                      <a:lnTo>
                        <a:pt x="53" y="33"/>
                      </a:lnTo>
                      <a:lnTo>
                        <a:pt x="53" y="36"/>
                      </a:lnTo>
                      <a:lnTo>
                        <a:pt x="53" y="40"/>
                      </a:lnTo>
                      <a:lnTo>
                        <a:pt x="54" y="43"/>
                      </a:lnTo>
                      <a:lnTo>
                        <a:pt x="54" y="45"/>
                      </a:lnTo>
                      <a:lnTo>
                        <a:pt x="49" y="45"/>
                      </a:lnTo>
                      <a:lnTo>
                        <a:pt x="46" y="41"/>
                      </a:lnTo>
                      <a:lnTo>
                        <a:pt x="43" y="43"/>
                      </a:lnTo>
                      <a:lnTo>
                        <a:pt x="39" y="43"/>
                      </a:lnTo>
                      <a:lnTo>
                        <a:pt x="39" y="49"/>
                      </a:lnTo>
                      <a:lnTo>
                        <a:pt x="39" y="53"/>
                      </a:lnTo>
                      <a:lnTo>
                        <a:pt x="38" y="53"/>
                      </a:lnTo>
                      <a:lnTo>
                        <a:pt x="35" y="59"/>
                      </a:lnTo>
                      <a:lnTo>
                        <a:pt x="35" y="61"/>
                      </a:lnTo>
                      <a:lnTo>
                        <a:pt x="31" y="61"/>
                      </a:lnTo>
                      <a:lnTo>
                        <a:pt x="30" y="63"/>
                      </a:lnTo>
                      <a:lnTo>
                        <a:pt x="30" y="63"/>
                      </a:lnTo>
                      <a:lnTo>
                        <a:pt x="26" y="58"/>
                      </a:lnTo>
                      <a:lnTo>
                        <a:pt x="28" y="43"/>
                      </a:lnTo>
                      <a:lnTo>
                        <a:pt x="25" y="38"/>
                      </a:lnTo>
                      <a:lnTo>
                        <a:pt x="25" y="33"/>
                      </a:lnTo>
                      <a:lnTo>
                        <a:pt x="15" y="27"/>
                      </a:lnTo>
                      <a:lnTo>
                        <a:pt x="15" y="23"/>
                      </a:lnTo>
                      <a:lnTo>
                        <a:pt x="8" y="17"/>
                      </a:lnTo>
                      <a:lnTo>
                        <a:pt x="7" y="1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4" name="Freeform 198">
                  <a:extLst>
                    <a:ext uri="{FF2B5EF4-FFF2-40B4-BE49-F238E27FC236}">
                      <a16:creationId xmlns:a16="http://schemas.microsoft.com/office/drawing/2014/main" xmlns="" id="{F06BA489-1EA5-4722-8CB3-6FD521F6C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3" y="1204"/>
                  <a:ext cx="141" cy="92"/>
                </a:xfrm>
                <a:custGeom>
                  <a:avLst/>
                  <a:gdLst>
                    <a:gd name="T0" fmla="*/ 36 w 141"/>
                    <a:gd name="T1" fmla="*/ 3 h 92"/>
                    <a:gd name="T2" fmla="*/ 41 w 141"/>
                    <a:gd name="T3" fmla="*/ 2 h 92"/>
                    <a:gd name="T4" fmla="*/ 51 w 141"/>
                    <a:gd name="T5" fmla="*/ 5 h 92"/>
                    <a:gd name="T6" fmla="*/ 56 w 141"/>
                    <a:gd name="T7" fmla="*/ 10 h 92"/>
                    <a:gd name="T8" fmla="*/ 65 w 141"/>
                    <a:gd name="T9" fmla="*/ 10 h 92"/>
                    <a:gd name="T10" fmla="*/ 70 w 141"/>
                    <a:gd name="T11" fmla="*/ 7 h 92"/>
                    <a:gd name="T12" fmla="*/ 85 w 141"/>
                    <a:gd name="T13" fmla="*/ 2 h 92"/>
                    <a:gd name="T14" fmla="*/ 96 w 141"/>
                    <a:gd name="T15" fmla="*/ 7 h 92"/>
                    <a:gd name="T16" fmla="*/ 103 w 141"/>
                    <a:gd name="T17" fmla="*/ 17 h 92"/>
                    <a:gd name="T18" fmla="*/ 113 w 141"/>
                    <a:gd name="T19" fmla="*/ 28 h 92"/>
                    <a:gd name="T20" fmla="*/ 114 w 141"/>
                    <a:gd name="T21" fmla="*/ 48 h 92"/>
                    <a:gd name="T22" fmla="*/ 119 w 141"/>
                    <a:gd name="T23" fmla="*/ 57 h 92"/>
                    <a:gd name="T24" fmla="*/ 131 w 141"/>
                    <a:gd name="T25" fmla="*/ 57 h 92"/>
                    <a:gd name="T26" fmla="*/ 137 w 141"/>
                    <a:gd name="T27" fmla="*/ 56 h 92"/>
                    <a:gd name="T28" fmla="*/ 139 w 141"/>
                    <a:gd name="T29" fmla="*/ 59 h 92"/>
                    <a:gd name="T30" fmla="*/ 141 w 141"/>
                    <a:gd name="T31" fmla="*/ 64 h 92"/>
                    <a:gd name="T32" fmla="*/ 134 w 141"/>
                    <a:gd name="T33" fmla="*/ 69 h 92"/>
                    <a:gd name="T34" fmla="*/ 129 w 141"/>
                    <a:gd name="T35" fmla="*/ 72 h 92"/>
                    <a:gd name="T36" fmla="*/ 127 w 141"/>
                    <a:gd name="T37" fmla="*/ 77 h 92"/>
                    <a:gd name="T38" fmla="*/ 126 w 141"/>
                    <a:gd name="T39" fmla="*/ 84 h 92"/>
                    <a:gd name="T40" fmla="*/ 123 w 141"/>
                    <a:gd name="T41" fmla="*/ 88 h 92"/>
                    <a:gd name="T42" fmla="*/ 118 w 141"/>
                    <a:gd name="T43" fmla="*/ 84 h 92"/>
                    <a:gd name="T44" fmla="*/ 114 w 141"/>
                    <a:gd name="T45" fmla="*/ 84 h 92"/>
                    <a:gd name="T46" fmla="*/ 103 w 141"/>
                    <a:gd name="T47" fmla="*/ 80 h 92"/>
                    <a:gd name="T48" fmla="*/ 90 w 141"/>
                    <a:gd name="T49" fmla="*/ 87 h 92"/>
                    <a:gd name="T50" fmla="*/ 85 w 141"/>
                    <a:gd name="T51" fmla="*/ 90 h 92"/>
                    <a:gd name="T52" fmla="*/ 77 w 141"/>
                    <a:gd name="T53" fmla="*/ 90 h 92"/>
                    <a:gd name="T54" fmla="*/ 70 w 141"/>
                    <a:gd name="T55" fmla="*/ 88 h 92"/>
                    <a:gd name="T56" fmla="*/ 65 w 141"/>
                    <a:gd name="T57" fmla="*/ 90 h 92"/>
                    <a:gd name="T58" fmla="*/ 56 w 141"/>
                    <a:gd name="T59" fmla="*/ 90 h 92"/>
                    <a:gd name="T60" fmla="*/ 52 w 141"/>
                    <a:gd name="T61" fmla="*/ 88 h 92"/>
                    <a:gd name="T62" fmla="*/ 44 w 141"/>
                    <a:gd name="T63" fmla="*/ 90 h 92"/>
                    <a:gd name="T64" fmla="*/ 43 w 141"/>
                    <a:gd name="T65" fmla="*/ 85 h 92"/>
                    <a:gd name="T66" fmla="*/ 41 w 141"/>
                    <a:gd name="T67" fmla="*/ 82 h 92"/>
                    <a:gd name="T68" fmla="*/ 36 w 141"/>
                    <a:gd name="T69" fmla="*/ 77 h 92"/>
                    <a:gd name="T70" fmla="*/ 38 w 141"/>
                    <a:gd name="T71" fmla="*/ 72 h 92"/>
                    <a:gd name="T72" fmla="*/ 31 w 141"/>
                    <a:gd name="T73" fmla="*/ 75 h 92"/>
                    <a:gd name="T74" fmla="*/ 25 w 141"/>
                    <a:gd name="T75" fmla="*/ 74 h 92"/>
                    <a:gd name="T76" fmla="*/ 18 w 141"/>
                    <a:gd name="T77" fmla="*/ 69 h 92"/>
                    <a:gd name="T78" fmla="*/ 20 w 141"/>
                    <a:gd name="T79" fmla="*/ 64 h 92"/>
                    <a:gd name="T80" fmla="*/ 10 w 141"/>
                    <a:gd name="T81" fmla="*/ 59 h 92"/>
                    <a:gd name="T82" fmla="*/ 5 w 141"/>
                    <a:gd name="T83" fmla="*/ 49 h 92"/>
                    <a:gd name="T84" fmla="*/ 0 w 141"/>
                    <a:gd name="T85" fmla="*/ 46 h 92"/>
                    <a:gd name="T86" fmla="*/ 7 w 141"/>
                    <a:gd name="T87" fmla="*/ 43 h 92"/>
                    <a:gd name="T88" fmla="*/ 12 w 141"/>
                    <a:gd name="T89" fmla="*/ 39 h 92"/>
                    <a:gd name="T90" fmla="*/ 15 w 141"/>
                    <a:gd name="T91" fmla="*/ 33 h 92"/>
                    <a:gd name="T92" fmla="*/ 25 w 141"/>
                    <a:gd name="T93" fmla="*/ 15 h 92"/>
                    <a:gd name="T94" fmla="*/ 31 w 141"/>
                    <a:gd name="T95" fmla="*/ 8 h 92"/>
                    <a:gd name="T96" fmla="*/ 33 w 141"/>
                    <a:gd name="T97" fmla="*/ 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1" h="92">
                      <a:moveTo>
                        <a:pt x="33" y="3"/>
                      </a:moveTo>
                      <a:lnTo>
                        <a:pt x="36" y="3"/>
                      </a:lnTo>
                      <a:lnTo>
                        <a:pt x="38" y="2"/>
                      </a:lnTo>
                      <a:lnTo>
                        <a:pt x="41" y="2"/>
                      </a:lnTo>
                      <a:lnTo>
                        <a:pt x="46" y="5"/>
                      </a:lnTo>
                      <a:lnTo>
                        <a:pt x="51" y="5"/>
                      </a:lnTo>
                      <a:lnTo>
                        <a:pt x="56" y="7"/>
                      </a:lnTo>
                      <a:lnTo>
                        <a:pt x="56" y="10"/>
                      </a:lnTo>
                      <a:lnTo>
                        <a:pt x="59" y="12"/>
                      </a:lnTo>
                      <a:lnTo>
                        <a:pt x="65" y="10"/>
                      </a:lnTo>
                      <a:lnTo>
                        <a:pt x="69" y="10"/>
                      </a:lnTo>
                      <a:lnTo>
                        <a:pt x="70" y="7"/>
                      </a:lnTo>
                      <a:lnTo>
                        <a:pt x="82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96" y="7"/>
                      </a:lnTo>
                      <a:lnTo>
                        <a:pt x="103" y="13"/>
                      </a:lnTo>
                      <a:lnTo>
                        <a:pt x="103" y="17"/>
                      </a:lnTo>
                      <a:lnTo>
                        <a:pt x="113" y="23"/>
                      </a:lnTo>
                      <a:lnTo>
                        <a:pt x="113" y="28"/>
                      </a:lnTo>
                      <a:lnTo>
                        <a:pt x="116" y="33"/>
                      </a:lnTo>
                      <a:lnTo>
                        <a:pt x="114" y="48"/>
                      </a:lnTo>
                      <a:lnTo>
                        <a:pt x="118" y="53"/>
                      </a:lnTo>
                      <a:lnTo>
                        <a:pt x="119" y="57"/>
                      </a:lnTo>
                      <a:lnTo>
                        <a:pt x="124" y="57"/>
                      </a:lnTo>
                      <a:lnTo>
                        <a:pt x="131" y="57"/>
                      </a:lnTo>
                      <a:lnTo>
                        <a:pt x="132" y="56"/>
                      </a:lnTo>
                      <a:lnTo>
                        <a:pt x="137" y="56"/>
                      </a:lnTo>
                      <a:lnTo>
                        <a:pt x="141" y="57"/>
                      </a:lnTo>
                      <a:lnTo>
                        <a:pt x="139" y="59"/>
                      </a:lnTo>
                      <a:lnTo>
                        <a:pt x="141" y="61"/>
                      </a:lnTo>
                      <a:lnTo>
                        <a:pt x="141" y="64"/>
                      </a:lnTo>
                      <a:lnTo>
                        <a:pt x="137" y="67"/>
                      </a:lnTo>
                      <a:lnTo>
                        <a:pt x="134" y="69"/>
                      </a:lnTo>
                      <a:lnTo>
                        <a:pt x="129" y="69"/>
                      </a:lnTo>
                      <a:lnTo>
                        <a:pt x="129" y="72"/>
                      </a:lnTo>
                      <a:lnTo>
                        <a:pt x="126" y="74"/>
                      </a:lnTo>
                      <a:lnTo>
                        <a:pt x="127" y="77"/>
                      </a:lnTo>
                      <a:lnTo>
                        <a:pt x="127" y="82"/>
                      </a:lnTo>
                      <a:lnTo>
                        <a:pt x="126" y="84"/>
                      </a:lnTo>
                      <a:lnTo>
                        <a:pt x="127" y="88"/>
                      </a:lnTo>
                      <a:lnTo>
                        <a:pt x="123" y="88"/>
                      </a:lnTo>
                      <a:lnTo>
                        <a:pt x="123" y="87"/>
                      </a:lnTo>
                      <a:lnTo>
                        <a:pt x="118" y="84"/>
                      </a:lnTo>
                      <a:lnTo>
                        <a:pt x="116" y="85"/>
                      </a:lnTo>
                      <a:lnTo>
                        <a:pt x="114" y="84"/>
                      </a:lnTo>
                      <a:lnTo>
                        <a:pt x="108" y="82"/>
                      </a:lnTo>
                      <a:lnTo>
                        <a:pt x="103" y="80"/>
                      </a:lnTo>
                      <a:lnTo>
                        <a:pt x="100" y="82"/>
                      </a:lnTo>
                      <a:lnTo>
                        <a:pt x="90" y="87"/>
                      </a:lnTo>
                      <a:lnTo>
                        <a:pt x="88" y="88"/>
                      </a:lnTo>
                      <a:lnTo>
                        <a:pt x="85" y="90"/>
                      </a:lnTo>
                      <a:lnTo>
                        <a:pt x="83" y="92"/>
                      </a:lnTo>
                      <a:lnTo>
                        <a:pt x="77" y="90"/>
                      </a:lnTo>
                      <a:lnTo>
                        <a:pt x="74" y="90"/>
                      </a:lnTo>
                      <a:lnTo>
                        <a:pt x="70" y="88"/>
                      </a:lnTo>
                      <a:lnTo>
                        <a:pt x="69" y="90"/>
                      </a:lnTo>
                      <a:lnTo>
                        <a:pt x="65" y="90"/>
                      </a:lnTo>
                      <a:lnTo>
                        <a:pt x="61" y="92"/>
                      </a:lnTo>
                      <a:lnTo>
                        <a:pt x="56" y="90"/>
                      </a:lnTo>
                      <a:lnTo>
                        <a:pt x="54" y="90"/>
                      </a:lnTo>
                      <a:lnTo>
                        <a:pt x="52" y="88"/>
                      </a:lnTo>
                      <a:lnTo>
                        <a:pt x="47" y="88"/>
                      </a:lnTo>
                      <a:lnTo>
                        <a:pt x="44" y="90"/>
                      </a:lnTo>
                      <a:lnTo>
                        <a:pt x="43" y="87"/>
                      </a:lnTo>
                      <a:lnTo>
                        <a:pt x="43" y="85"/>
                      </a:lnTo>
                      <a:lnTo>
                        <a:pt x="44" y="84"/>
                      </a:lnTo>
                      <a:lnTo>
                        <a:pt x="41" y="82"/>
                      </a:lnTo>
                      <a:lnTo>
                        <a:pt x="38" y="82"/>
                      </a:lnTo>
                      <a:lnTo>
                        <a:pt x="36" y="77"/>
                      </a:lnTo>
                      <a:lnTo>
                        <a:pt x="36" y="75"/>
                      </a:lnTo>
                      <a:lnTo>
                        <a:pt x="38" y="72"/>
                      </a:lnTo>
                      <a:lnTo>
                        <a:pt x="33" y="70"/>
                      </a:lnTo>
                      <a:lnTo>
                        <a:pt x="31" y="75"/>
                      </a:lnTo>
                      <a:lnTo>
                        <a:pt x="28" y="72"/>
                      </a:lnTo>
                      <a:lnTo>
                        <a:pt x="25" y="74"/>
                      </a:lnTo>
                      <a:lnTo>
                        <a:pt x="23" y="70"/>
                      </a:lnTo>
                      <a:lnTo>
                        <a:pt x="18" y="69"/>
                      </a:lnTo>
                      <a:lnTo>
                        <a:pt x="16" y="67"/>
                      </a:lnTo>
                      <a:lnTo>
                        <a:pt x="20" y="64"/>
                      </a:lnTo>
                      <a:lnTo>
                        <a:pt x="15" y="61"/>
                      </a:lnTo>
                      <a:lnTo>
                        <a:pt x="10" y="59"/>
                      </a:lnTo>
                      <a:lnTo>
                        <a:pt x="10" y="56"/>
                      </a:lnTo>
                      <a:lnTo>
                        <a:pt x="5" y="49"/>
                      </a:lnTo>
                      <a:lnTo>
                        <a:pt x="3" y="48"/>
                      </a:lnTo>
                      <a:lnTo>
                        <a:pt x="0" y="46"/>
                      </a:lnTo>
                      <a:lnTo>
                        <a:pt x="3" y="43"/>
                      </a:lnTo>
                      <a:lnTo>
                        <a:pt x="7" y="43"/>
                      </a:lnTo>
                      <a:lnTo>
                        <a:pt x="8" y="39"/>
                      </a:lnTo>
                      <a:lnTo>
                        <a:pt x="12" y="39"/>
                      </a:lnTo>
                      <a:lnTo>
                        <a:pt x="15" y="36"/>
                      </a:lnTo>
                      <a:lnTo>
                        <a:pt x="15" y="33"/>
                      </a:lnTo>
                      <a:lnTo>
                        <a:pt x="21" y="25"/>
                      </a:lnTo>
                      <a:lnTo>
                        <a:pt x="25" y="15"/>
                      </a:lnTo>
                      <a:lnTo>
                        <a:pt x="28" y="8"/>
                      </a:lnTo>
                      <a:lnTo>
                        <a:pt x="31" y="8"/>
                      </a:lnTo>
                      <a:lnTo>
                        <a:pt x="33" y="5"/>
                      </a:lnTo>
                      <a:lnTo>
                        <a:pt x="33" y="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5" name="Freeform 199">
                  <a:extLst>
                    <a:ext uri="{FF2B5EF4-FFF2-40B4-BE49-F238E27FC236}">
                      <a16:creationId xmlns:a16="http://schemas.microsoft.com/office/drawing/2014/main" xmlns="" id="{13A2CB3C-9C82-4923-ABA8-3DDC4DC1F3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4" y="1198"/>
                  <a:ext cx="92" cy="60"/>
                </a:xfrm>
                <a:custGeom>
                  <a:avLst/>
                  <a:gdLst>
                    <a:gd name="T0" fmla="*/ 59 w 92"/>
                    <a:gd name="T1" fmla="*/ 52 h 60"/>
                    <a:gd name="T2" fmla="*/ 62 w 92"/>
                    <a:gd name="T3" fmla="*/ 49 h 60"/>
                    <a:gd name="T4" fmla="*/ 66 w 92"/>
                    <a:gd name="T5" fmla="*/ 49 h 60"/>
                    <a:gd name="T6" fmla="*/ 67 w 92"/>
                    <a:gd name="T7" fmla="*/ 45 h 60"/>
                    <a:gd name="T8" fmla="*/ 71 w 92"/>
                    <a:gd name="T9" fmla="*/ 45 h 60"/>
                    <a:gd name="T10" fmla="*/ 74 w 92"/>
                    <a:gd name="T11" fmla="*/ 42 h 60"/>
                    <a:gd name="T12" fmla="*/ 74 w 92"/>
                    <a:gd name="T13" fmla="*/ 39 h 60"/>
                    <a:gd name="T14" fmla="*/ 80 w 92"/>
                    <a:gd name="T15" fmla="*/ 31 h 60"/>
                    <a:gd name="T16" fmla="*/ 84 w 92"/>
                    <a:gd name="T17" fmla="*/ 21 h 60"/>
                    <a:gd name="T18" fmla="*/ 87 w 92"/>
                    <a:gd name="T19" fmla="*/ 14 h 60"/>
                    <a:gd name="T20" fmla="*/ 90 w 92"/>
                    <a:gd name="T21" fmla="*/ 14 h 60"/>
                    <a:gd name="T22" fmla="*/ 92 w 92"/>
                    <a:gd name="T23" fmla="*/ 11 h 60"/>
                    <a:gd name="T24" fmla="*/ 90 w 92"/>
                    <a:gd name="T25" fmla="*/ 6 h 60"/>
                    <a:gd name="T26" fmla="*/ 87 w 92"/>
                    <a:gd name="T27" fmla="*/ 5 h 60"/>
                    <a:gd name="T28" fmla="*/ 82 w 92"/>
                    <a:gd name="T29" fmla="*/ 0 h 60"/>
                    <a:gd name="T30" fmla="*/ 79 w 92"/>
                    <a:gd name="T31" fmla="*/ 3 h 60"/>
                    <a:gd name="T32" fmla="*/ 74 w 92"/>
                    <a:gd name="T33" fmla="*/ 1 h 60"/>
                    <a:gd name="T34" fmla="*/ 67 w 92"/>
                    <a:gd name="T35" fmla="*/ 1 h 60"/>
                    <a:gd name="T36" fmla="*/ 64 w 92"/>
                    <a:gd name="T37" fmla="*/ 1 h 60"/>
                    <a:gd name="T38" fmla="*/ 59 w 92"/>
                    <a:gd name="T39" fmla="*/ 1 h 60"/>
                    <a:gd name="T40" fmla="*/ 56 w 92"/>
                    <a:gd name="T41" fmla="*/ 6 h 60"/>
                    <a:gd name="T42" fmla="*/ 53 w 92"/>
                    <a:gd name="T43" fmla="*/ 8 h 60"/>
                    <a:gd name="T44" fmla="*/ 53 w 92"/>
                    <a:gd name="T45" fmla="*/ 11 h 60"/>
                    <a:gd name="T46" fmla="*/ 48 w 92"/>
                    <a:gd name="T47" fmla="*/ 6 h 60"/>
                    <a:gd name="T48" fmla="*/ 43 w 92"/>
                    <a:gd name="T49" fmla="*/ 11 h 60"/>
                    <a:gd name="T50" fmla="*/ 40 w 92"/>
                    <a:gd name="T51" fmla="*/ 13 h 60"/>
                    <a:gd name="T52" fmla="*/ 38 w 92"/>
                    <a:gd name="T53" fmla="*/ 16 h 60"/>
                    <a:gd name="T54" fmla="*/ 30 w 92"/>
                    <a:gd name="T55" fmla="*/ 16 h 60"/>
                    <a:gd name="T56" fmla="*/ 25 w 92"/>
                    <a:gd name="T57" fmla="*/ 18 h 60"/>
                    <a:gd name="T58" fmla="*/ 18 w 92"/>
                    <a:gd name="T59" fmla="*/ 18 h 60"/>
                    <a:gd name="T60" fmla="*/ 8 w 92"/>
                    <a:gd name="T61" fmla="*/ 11 h 60"/>
                    <a:gd name="T62" fmla="*/ 8 w 92"/>
                    <a:gd name="T63" fmla="*/ 13 h 60"/>
                    <a:gd name="T64" fmla="*/ 8 w 92"/>
                    <a:gd name="T65" fmla="*/ 16 h 60"/>
                    <a:gd name="T66" fmla="*/ 8 w 92"/>
                    <a:gd name="T67" fmla="*/ 19 h 60"/>
                    <a:gd name="T68" fmla="*/ 2 w 92"/>
                    <a:gd name="T69" fmla="*/ 19 h 60"/>
                    <a:gd name="T70" fmla="*/ 0 w 92"/>
                    <a:gd name="T71" fmla="*/ 21 h 60"/>
                    <a:gd name="T72" fmla="*/ 4 w 92"/>
                    <a:gd name="T73" fmla="*/ 24 h 60"/>
                    <a:gd name="T74" fmla="*/ 2 w 92"/>
                    <a:gd name="T75" fmla="*/ 27 h 60"/>
                    <a:gd name="T76" fmla="*/ 2 w 92"/>
                    <a:gd name="T77" fmla="*/ 31 h 60"/>
                    <a:gd name="T78" fmla="*/ 4 w 92"/>
                    <a:gd name="T79" fmla="*/ 34 h 60"/>
                    <a:gd name="T80" fmla="*/ 2 w 92"/>
                    <a:gd name="T81" fmla="*/ 37 h 60"/>
                    <a:gd name="T82" fmla="*/ 0 w 92"/>
                    <a:gd name="T83" fmla="*/ 37 h 60"/>
                    <a:gd name="T84" fmla="*/ 5 w 92"/>
                    <a:gd name="T85" fmla="*/ 42 h 60"/>
                    <a:gd name="T86" fmla="*/ 5 w 92"/>
                    <a:gd name="T87" fmla="*/ 47 h 60"/>
                    <a:gd name="T88" fmla="*/ 8 w 92"/>
                    <a:gd name="T89" fmla="*/ 47 h 60"/>
                    <a:gd name="T90" fmla="*/ 15 w 92"/>
                    <a:gd name="T91" fmla="*/ 54 h 60"/>
                    <a:gd name="T92" fmla="*/ 18 w 92"/>
                    <a:gd name="T93" fmla="*/ 55 h 60"/>
                    <a:gd name="T94" fmla="*/ 20 w 92"/>
                    <a:gd name="T95" fmla="*/ 57 h 60"/>
                    <a:gd name="T96" fmla="*/ 28 w 92"/>
                    <a:gd name="T97" fmla="*/ 59 h 60"/>
                    <a:gd name="T98" fmla="*/ 35 w 92"/>
                    <a:gd name="T99" fmla="*/ 60 h 60"/>
                    <a:gd name="T100" fmla="*/ 36 w 92"/>
                    <a:gd name="T101" fmla="*/ 57 h 60"/>
                    <a:gd name="T102" fmla="*/ 38 w 92"/>
                    <a:gd name="T103" fmla="*/ 59 h 60"/>
                    <a:gd name="T104" fmla="*/ 41 w 92"/>
                    <a:gd name="T105" fmla="*/ 57 h 60"/>
                    <a:gd name="T106" fmla="*/ 44 w 92"/>
                    <a:gd name="T107" fmla="*/ 54 h 60"/>
                    <a:gd name="T108" fmla="*/ 48 w 92"/>
                    <a:gd name="T109" fmla="*/ 55 h 60"/>
                    <a:gd name="T110" fmla="*/ 48 w 92"/>
                    <a:gd name="T111" fmla="*/ 54 h 60"/>
                    <a:gd name="T112" fmla="*/ 53 w 92"/>
                    <a:gd name="T113" fmla="*/ 50 h 60"/>
                    <a:gd name="T114" fmla="*/ 54 w 92"/>
                    <a:gd name="T115" fmla="*/ 50 h 60"/>
                    <a:gd name="T116" fmla="*/ 57 w 92"/>
                    <a:gd name="T117" fmla="*/ 52 h 60"/>
                    <a:gd name="T118" fmla="*/ 59 w 92"/>
                    <a:gd name="T119" fmla="*/ 52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2" h="60">
                      <a:moveTo>
                        <a:pt x="59" y="52"/>
                      </a:moveTo>
                      <a:lnTo>
                        <a:pt x="62" y="49"/>
                      </a:lnTo>
                      <a:lnTo>
                        <a:pt x="66" y="49"/>
                      </a:lnTo>
                      <a:lnTo>
                        <a:pt x="67" y="45"/>
                      </a:lnTo>
                      <a:lnTo>
                        <a:pt x="71" y="45"/>
                      </a:lnTo>
                      <a:lnTo>
                        <a:pt x="74" y="42"/>
                      </a:lnTo>
                      <a:lnTo>
                        <a:pt x="74" y="39"/>
                      </a:lnTo>
                      <a:lnTo>
                        <a:pt x="80" y="31"/>
                      </a:lnTo>
                      <a:lnTo>
                        <a:pt x="84" y="21"/>
                      </a:lnTo>
                      <a:lnTo>
                        <a:pt x="87" y="14"/>
                      </a:lnTo>
                      <a:lnTo>
                        <a:pt x="90" y="14"/>
                      </a:lnTo>
                      <a:lnTo>
                        <a:pt x="92" y="11"/>
                      </a:lnTo>
                      <a:lnTo>
                        <a:pt x="90" y="6"/>
                      </a:lnTo>
                      <a:lnTo>
                        <a:pt x="87" y="5"/>
                      </a:lnTo>
                      <a:lnTo>
                        <a:pt x="82" y="0"/>
                      </a:lnTo>
                      <a:lnTo>
                        <a:pt x="79" y="3"/>
                      </a:lnTo>
                      <a:lnTo>
                        <a:pt x="74" y="1"/>
                      </a:lnTo>
                      <a:lnTo>
                        <a:pt x="67" y="1"/>
                      </a:lnTo>
                      <a:lnTo>
                        <a:pt x="64" y="1"/>
                      </a:lnTo>
                      <a:lnTo>
                        <a:pt x="59" y="1"/>
                      </a:lnTo>
                      <a:lnTo>
                        <a:pt x="56" y="6"/>
                      </a:lnTo>
                      <a:lnTo>
                        <a:pt x="53" y="8"/>
                      </a:lnTo>
                      <a:lnTo>
                        <a:pt x="53" y="11"/>
                      </a:lnTo>
                      <a:lnTo>
                        <a:pt x="48" y="6"/>
                      </a:lnTo>
                      <a:lnTo>
                        <a:pt x="43" y="11"/>
                      </a:lnTo>
                      <a:lnTo>
                        <a:pt x="40" y="13"/>
                      </a:lnTo>
                      <a:lnTo>
                        <a:pt x="38" y="16"/>
                      </a:lnTo>
                      <a:lnTo>
                        <a:pt x="30" y="16"/>
                      </a:lnTo>
                      <a:lnTo>
                        <a:pt x="25" y="18"/>
                      </a:lnTo>
                      <a:lnTo>
                        <a:pt x="18" y="18"/>
                      </a:lnTo>
                      <a:lnTo>
                        <a:pt x="8" y="11"/>
                      </a:lnTo>
                      <a:lnTo>
                        <a:pt x="8" y="13"/>
                      </a:lnTo>
                      <a:lnTo>
                        <a:pt x="8" y="16"/>
                      </a:lnTo>
                      <a:lnTo>
                        <a:pt x="8" y="19"/>
                      </a:lnTo>
                      <a:lnTo>
                        <a:pt x="2" y="19"/>
                      </a:lnTo>
                      <a:lnTo>
                        <a:pt x="0" y="21"/>
                      </a:lnTo>
                      <a:lnTo>
                        <a:pt x="4" y="24"/>
                      </a:lnTo>
                      <a:lnTo>
                        <a:pt x="2" y="27"/>
                      </a:lnTo>
                      <a:lnTo>
                        <a:pt x="2" y="31"/>
                      </a:lnTo>
                      <a:lnTo>
                        <a:pt x="4" y="34"/>
                      </a:lnTo>
                      <a:lnTo>
                        <a:pt x="2" y="37"/>
                      </a:lnTo>
                      <a:lnTo>
                        <a:pt x="0" y="37"/>
                      </a:lnTo>
                      <a:lnTo>
                        <a:pt x="5" y="42"/>
                      </a:lnTo>
                      <a:lnTo>
                        <a:pt x="5" y="47"/>
                      </a:lnTo>
                      <a:lnTo>
                        <a:pt x="8" y="47"/>
                      </a:lnTo>
                      <a:lnTo>
                        <a:pt x="15" y="54"/>
                      </a:lnTo>
                      <a:lnTo>
                        <a:pt x="18" y="55"/>
                      </a:lnTo>
                      <a:lnTo>
                        <a:pt x="20" y="57"/>
                      </a:lnTo>
                      <a:lnTo>
                        <a:pt x="28" y="59"/>
                      </a:lnTo>
                      <a:lnTo>
                        <a:pt x="35" y="60"/>
                      </a:lnTo>
                      <a:lnTo>
                        <a:pt x="36" y="57"/>
                      </a:lnTo>
                      <a:lnTo>
                        <a:pt x="38" y="59"/>
                      </a:lnTo>
                      <a:lnTo>
                        <a:pt x="41" y="57"/>
                      </a:lnTo>
                      <a:lnTo>
                        <a:pt x="44" y="54"/>
                      </a:lnTo>
                      <a:lnTo>
                        <a:pt x="48" y="55"/>
                      </a:lnTo>
                      <a:lnTo>
                        <a:pt x="48" y="54"/>
                      </a:lnTo>
                      <a:lnTo>
                        <a:pt x="53" y="50"/>
                      </a:lnTo>
                      <a:lnTo>
                        <a:pt x="54" y="50"/>
                      </a:lnTo>
                      <a:lnTo>
                        <a:pt x="57" y="52"/>
                      </a:lnTo>
                      <a:lnTo>
                        <a:pt x="59" y="5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6" name="Freeform 200">
                  <a:extLst>
                    <a:ext uri="{FF2B5EF4-FFF2-40B4-BE49-F238E27FC236}">
                      <a16:creationId xmlns:a16="http://schemas.microsoft.com/office/drawing/2014/main" xmlns="" id="{091E8C08-BA92-4EA7-9CA2-F3A33052B2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1" y="1181"/>
                  <a:ext cx="80" cy="35"/>
                </a:xfrm>
                <a:custGeom>
                  <a:avLst/>
                  <a:gdLst>
                    <a:gd name="T0" fmla="*/ 1 w 80"/>
                    <a:gd name="T1" fmla="*/ 28 h 35"/>
                    <a:gd name="T2" fmla="*/ 11 w 80"/>
                    <a:gd name="T3" fmla="*/ 35 h 35"/>
                    <a:gd name="T4" fmla="*/ 18 w 80"/>
                    <a:gd name="T5" fmla="*/ 35 h 35"/>
                    <a:gd name="T6" fmla="*/ 23 w 80"/>
                    <a:gd name="T7" fmla="*/ 33 h 35"/>
                    <a:gd name="T8" fmla="*/ 31 w 80"/>
                    <a:gd name="T9" fmla="*/ 33 h 35"/>
                    <a:gd name="T10" fmla="*/ 33 w 80"/>
                    <a:gd name="T11" fmla="*/ 30 h 35"/>
                    <a:gd name="T12" fmla="*/ 36 w 80"/>
                    <a:gd name="T13" fmla="*/ 28 h 35"/>
                    <a:gd name="T14" fmla="*/ 41 w 80"/>
                    <a:gd name="T15" fmla="*/ 23 h 35"/>
                    <a:gd name="T16" fmla="*/ 46 w 80"/>
                    <a:gd name="T17" fmla="*/ 28 h 35"/>
                    <a:gd name="T18" fmla="*/ 46 w 80"/>
                    <a:gd name="T19" fmla="*/ 25 h 35"/>
                    <a:gd name="T20" fmla="*/ 49 w 80"/>
                    <a:gd name="T21" fmla="*/ 23 h 35"/>
                    <a:gd name="T22" fmla="*/ 52 w 80"/>
                    <a:gd name="T23" fmla="*/ 18 h 35"/>
                    <a:gd name="T24" fmla="*/ 57 w 80"/>
                    <a:gd name="T25" fmla="*/ 18 h 35"/>
                    <a:gd name="T26" fmla="*/ 60 w 80"/>
                    <a:gd name="T27" fmla="*/ 18 h 35"/>
                    <a:gd name="T28" fmla="*/ 67 w 80"/>
                    <a:gd name="T29" fmla="*/ 18 h 35"/>
                    <a:gd name="T30" fmla="*/ 72 w 80"/>
                    <a:gd name="T31" fmla="*/ 20 h 35"/>
                    <a:gd name="T32" fmla="*/ 77 w 80"/>
                    <a:gd name="T33" fmla="*/ 17 h 35"/>
                    <a:gd name="T34" fmla="*/ 77 w 80"/>
                    <a:gd name="T35" fmla="*/ 12 h 35"/>
                    <a:gd name="T36" fmla="*/ 80 w 80"/>
                    <a:gd name="T37" fmla="*/ 4 h 35"/>
                    <a:gd name="T38" fmla="*/ 80 w 80"/>
                    <a:gd name="T39" fmla="*/ 4 h 35"/>
                    <a:gd name="T40" fmla="*/ 73 w 80"/>
                    <a:gd name="T41" fmla="*/ 0 h 35"/>
                    <a:gd name="T42" fmla="*/ 67 w 80"/>
                    <a:gd name="T43" fmla="*/ 0 h 35"/>
                    <a:gd name="T44" fmla="*/ 65 w 80"/>
                    <a:gd name="T45" fmla="*/ 0 h 35"/>
                    <a:gd name="T46" fmla="*/ 62 w 80"/>
                    <a:gd name="T47" fmla="*/ 0 h 35"/>
                    <a:gd name="T48" fmla="*/ 60 w 80"/>
                    <a:gd name="T49" fmla="*/ 0 h 35"/>
                    <a:gd name="T50" fmla="*/ 59 w 80"/>
                    <a:gd name="T51" fmla="*/ 2 h 35"/>
                    <a:gd name="T52" fmla="*/ 55 w 80"/>
                    <a:gd name="T53" fmla="*/ 0 h 35"/>
                    <a:gd name="T54" fmla="*/ 52 w 80"/>
                    <a:gd name="T55" fmla="*/ 0 h 35"/>
                    <a:gd name="T56" fmla="*/ 49 w 80"/>
                    <a:gd name="T57" fmla="*/ 0 h 35"/>
                    <a:gd name="T58" fmla="*/ 47 w 80"/>
                    <a:gd name="T59" fmla="*/ 2 h 35"/>
                    <a:gd name="T60" fmla="*/ 46 w 80"/>
                    <a:gd name="T61" fmla="*/ 4 h 35"/>
                    <a:gd name="T62" fmla="*/ 42 w 80"/>
                    <a:gd name="T63" fmla="*/ 4 h 35"/>
                    <a:gd name="T64" fmla="*/ 41 w 80"/>
                    <a:gd name="T65" fmla="*/ 4 h 35"/>
                    <a:gd name="T66" fmla="*/ 41 w 80"/>
                    <a:gd name="T67" fmla="*/ 4 h 35"/>
                    <a:gd name="T68" fmla="*/ 34 w 80"/>
                    <a:gd name="T69" fmla="*/ 4 h 35"/>
                    <a:gd name="T70" fmla="*/ 31 w 80"/>
                    <a:gd name="T71" fmla="*/ 7 h 35"/>
                    <a:gd name="T72" fmla="*/ 26 w 80"/>
                    <a:gd name="T73" fmla="*/ 7 h 35"/>
                    <a:gd name="T74" fmla="*/ 23 w 80"/>
                    <a:gd name="T75" fmla="*/ 12 h 35"/>
                    <a:gd name="T76" fmla="*/ 16 w 80"/>
                    <a:gd name="T77" fmla="*/ 12 h 35"/>
                    <a:gd name="T78" fmla="*/ 10 w 80"/>
                    <a:gd name="T79" fmla="*/ 15 h 35"/>
                    <a:gd name="T80" fmla="*/ 10 w 80"/>
                    <a:gd name="T81" fmla="*/ 13 h 35"/>
                    <a:gd name="T82" fmla="*/ 5 w 80"/>
                    <a:gd name="T83" fmla="*/ 13 h 35"/>
                    <a:gd name="T84" fmla="*/ 1 w 80"/>
                    <a:gd name="T85" fmla="*/ 15 h 35"/>
                    <a:gd name="T86" fmla="*/ 1 w 80"/>
                    <a:gd name="T87" fmla="*/ 15 h 35"/>
                    <a:gd name="T88" fmla="*/ 0 w 80"/>
                    <a:gd name="T89" fmla="*/ 22 h 35"/>
                    <a:gd name="T90" fmla="*/ 1 w 80"/>
                    <a:gd name="T91" fmla="*/ 2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0" h="35">
                      <a:moveTo>
                        <a:pt x="1" y="28"/>
                      </a:moveTo>
                      <a:lnTo>
                        <a:pt x="11" y="35"/>
                      </a:lnTo>
                      <a:lnTo>
                        <a:pt x="18" y="35"/>
                      </a:lnTo>
                      <a:lnTo>
                        <a:pt x="23" y="33"/>
                      </a:lnTo>
                      <a:lnTo>
                        <a:pt x="31" y="33"/>
                      </a:lnTo>
                      <a:lnTo>
                        <a:pt x="33" y="30"/>
                      </a:lnTo>
                      <a:lnTo>
                        <a:pt x="36" y="28"/>
                      </a:lnTo>
                      <a:lnTo>
                        <a:pt x="41" y="23"/>
                      </a:lnTo>
                      <a:lnTo>
                        <a:pt x="46" y="28"/>
                      </a:lnTo>
                      <a:lnTo>
                        <a:pt x="46" y="25"/>
                      </a:lnTo>
                      <a:lnTo>
                        <a:pt x="49" y="23"/>
                      </a:lnTo>
                      <a:lnTo>
                        <a:pt x="52" y="18"/>
                      </a:lnTo>
                      <a:lnTo>
                        <a:pt x="57" y="18"/>
                      </a:lnTo>
                      <a:lnTo>
                        <a:pt x="60" y="18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7" y="17"/>
                      </a:lnTo>
                      <a:lnTo>
                        <a:pt x="77" y="12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73" y="0"/>
                      </a:lnTo>
                      <a:lnTo>
                        <a:pt x="67" y="0"/>
                      </a:lnTo>
                      <a:lnTo>
                        <a:pt x="65" y="0"/>
                      </a:lnTo>
                      <a:lnTo>
                        <a:pt x="62" y="0"/>
                      </a:lnTo>
                      <a:lnTo>
                        <a:pt x="60" y="0"/>
                      </a:lnTo>
                      <a:lnTo>
                        <a:pt x="59" y="2"/>
                      </a:lnTo>
                      <a:lnTo>
                        <a:pt x="55" y="0"/>
                      </a:lnTo>
                      <a:lnTo>
                        <a:pt x="52" y="0"/>
                      </a:lnTo>
                      <a:lnTo>
                        <a:pt x="49" y="0"/>
                      </a:lnTo>
                      <a:lnTo>
                        <a:pt x="47" y="2"/>
                      </a:lnTo>
                      <a:lnTo>
                        <a:pt x="46" y="4"/>
                      </a:lnTo>
                      <a:lnTo>
                        <a:pt x="42" y="4"/>
                      </a:lnTo>
                      <a:lnTo>
                        <a:pt x="41" y="4"/>
                      </a:lnTo>
                      <a:lnTo>
                        <a:pt x="41" y="4"/>
                      </a:lnTo>
                      <a:lnTo>
                        <a:pt x="34" y="4"/>
                      </a:lnTo>
                      <a:lnTo>
                        <a:pt x="31" y="7"/>
                      </a:lnTo>
                      <a:lnTo>
                        <a:pt x="26" y="7"/>
                      </a:lnTo>
                      <a:lnTo>
                        <a:pt x="23" y="12"/>
                      </a:lnTo>
                      <a:lnTo>
                        <a:pt x="16" y="12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5" y="13"/>
                      </a:lnTo>
                      <a:lnTo>
                        <a:pt x="1" y="15"/>
                      </a:lnTo>
                      <a:lnTo>
                        <a:pt x="1" y="15"/>
                      </a:lnTo>
                      <a:lnTo>
                        <a:pt x="0" y="22"/>
                      </a:lnTo>
                      <a:lnTo>
                        <a:pt x="1" y="2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7" name="Freeform 201">
                  <a:extLst>
                    <a:ext uri="{FF2B5EF4-FFF2-40B4-BE49-F238E27FC236}">
                      <a16:creationId xmlns:a16="http://schemas.microsoft.com/office/drawing/2014/main" xmlns="" id="{7F19C6D2-8EC3-48B5-909D-B1EAB83A0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" y="1284"/>
                  <a:ext cx="91" cy="61"/>
                </a:xfrm>
                <a:custGeom>
                  <a:avLst/>
                  <a:gdLst>
                    <a:gd name="T0" fmla="*/ 5 w 91"/>
                    <a:gd name="T1" fmla="*/ 2 h 61"/>
                    <a:gd name="T2" fmla="*/ 7 w 91"/>
                    <a:gd name="T3" fmla="*/ 5 h 61"/>
                    <a:gd name="T4" fmla="*/ 8 w 91"/>
                    <a:gd name="T5" fmla="*/ 10 h 61"/>
                    <a:gd name="T6" fmla="*/ 16 w 91"/>
                    <a:gd name="T7" fmla="*/ 8 h 61"/>
                    <a:gd name="T8" fmla="*/ 20 w 91"/>
                    <a:gd name="T9" fmla="*/ 10 h 61"/>
                    <a:gd name="T10" fmla="*/ 29 w 91"/>
                    <a:gd name="T11" fmla="*/ 10 h 61"/>
                    <a:gd name="T12" fmla="*/ 34 w 91"/>
                    <a:gd name="T13" fmla="*/ 8 h 61"/>
                    <a:gd name="T14" fmla="*/ 41 w 91"/>
                    <a:gd name="T15" fmla="*/ 10 h 61"/>
                    <a:gd name="T16" fmla="*/ 49 w 91"/>
                    <a:gd name="T17" fmla="*/ 10 h 61"/>
                    <a:gd name="T18" fmla="*/ 54 w 91"/>
                    <a:gd name="T19" fmla="*/ 7 h 61"/>
                    <a:gd name="T20" fmla="*/ 67 w 91"/>
                    <a:gd name="T21" fmla="*/ 0 h 61"/>
                    <a:gd name="T22" fmla="*/ 78 w 91"/>
                    <a:gd name="T23" fmla="*/ 4 h 61"/>
                    <a:gd name="T24" fmla="*/ 82 w 91"/>
                    <a:gd name="T25" fmla="*/ 4 h 61"/>
                    <a:gd name="T26" fmla="*/ 87 w 91"/>
                    <a:gd name="T27" fmla="*/ 8 h 61"/>
                    <a:gd name="T28" fmla="*/ 91 w 91"/>
                    <a:gd name="T29" fmla="*/ 8 h 61"/>
                    <a:gd name="T30" fmla="*/ 88 w 91"/>
                    <a:gd name="T31" fmla="*/ 17 h 61"/>
                    <a:gd name="T32" fmla="*/ 82 w 91"/>
                    <a:gd name="T33" fmla="*/ 20 h 61"/>
                    <a:gd name="T34" fmla="*/ 82 w 91"/>
                    <a:gd name="T35" fmla="*/ 31 h 61"/>
                    <a:gd name="T36" fmla="*/ 77 w 91"/>
                    <a:gd name="T37" fmla="*/ 36 h 61"/>
                    <a:gd name="T38" fmla="*/ 83 w 91"/>
                    <a:gd name="T39" fmla="*/ 41 h 61"/>
                    <a:gd name="T40" fmla="*/ 85 w 91"/>
                    <a:gd name="T41" fmla="*/ 44 h 61"/>
                    <a:gd name="T42" fmla="*/ 80 w 91"/>
                    <a:gd name="T43" fmla="*/ 46 h 61"/>
                    <a:gd name="T44" fmla="*/ 70 w 91"/>
                    <a:gd name="T45" fmla="*/ 43 h 61"/>
                    <a:gd name="T46" fmla="*/ 67 w 91"/>
                    <a:gd name="T47" fmla="*/ 44 h 61"/>
                    <a:gd name="T48" fmla="*/ 64 w 91"/>
                    <a:gd name="T49" fmla="*/ 48 h 61"/>
                    <a:gd name="T50" fmla="*/ 57 w 91"/>
                    <a:gd name="T51" fmla="*/ 51 h 61"/>
                    <a:gd name="T52" fmla="*/ 59 w 91"/>
                    <a:gd name="T53" fmla="*/ 57 h 61"/>
                    <a:gd name="T54" fmla="*/ 51 w 91"/>
                    <a:gd name="T55" fmla="*/ 59 h 61"/>
                    <a:gd name="T56" fmla="*/ 44 w 91"/>
                    <a:gd name="T57" fmla="*/ 59 h 61"/>
                    <a:gd name="T58" fmla="*/ 39 w 91"/>
                    <a:gd name="T59" fmla="*/ 61 h 61"/>
                    <a:gd name="T60" fmla="*/ 36 w 91"/>
                    <a:gd name="T61" fmla="*/ 57 h 61"/>
                    <a:gd name="T62" fmla="*/ 28 w 91"/>
                    <a:gd name="T63" fmla="*/ 57 h 61"/>
                    <a:gd name="T64" fmla="*/ 21 w 91"/>
                    <a:gd name="T65" fmla="*/ 61 h 61"/>
                    <a:gd name="T66" fmla="*/ 15 w 91"/>
                    <a:gd name="T67" fmla="*/ 59 h 61"/>
                    <a:gd name="T68" fmla="*/ 13 w 91"/>
                    <a:gd name="T69" fmla="*/ 56 h 61"/>
                    <a:gd name="T70" fmla="*/ 8 w 91"/>
                    <a:gd name="T71" fmla="*/ 44 h 61"/>
                    <a:gd name="T72" fmla="*/ 3 w 91"/>
                    <a:gd name="T73" fmla="*/ 40 h 61"/>
                    <a:gd name="T74" fmla="*/ 2 w 91"/>
                    <a:gd name="T75" fmla="*/ 33 h 61"/>
                    <a:gd name="T76" fmla="*/ 7 w 91"/>
                    <a:gd name="T77" fmla="*/ 26 h 61"/>
                    <a:gd name="T78" fmla="*/ 5 w 91"/>
                    <a:gd name="T79" fmla="*/ 18 h 61"/>
                    <a:gd name="T80" fmla="*/ 0 w 91"/>
                    <a:gd name="T81" fmla="*/ 7 h 61"/>
                    <a:gd name="T82" fmla="*/ 2 w 91"/>
                    <a:gd name="T83" fmla="*/ 2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1" h="61">
                      <a:moveTo>
                        <a:pt x="2" y="2"/>
                      </a:moveTo>
                      <a:lnTo>
                        <a:pt x="5" y="2"/>
                      </a:lnTo>
                      <a:lnTo>
                        <a:pt x="8" y="4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8" y="10"/>
                      </a:lnTo>
                      <a:lnTo>
                        <a:pt x="11" y="8"/>
                      </a:lnTo>
                      <a:lnTo>
                        <a:pt x="16" y="8"/>
                      </a:lnTo>
                      <a:lnTo>
                        <a:pt x="18" y="10"/>
                      </a:lnTo>
                      <a:lnTo>
                        <a:pt x="20" y="10"/>
                      </a:lnTo>
                      <a:lnTo>
                        <a:pt x="25" y="12"/>
                      </a:lnTo>
                      <a:lnTo>
                        <a:pt x="29" y="10"/>
                      </a:lnTo>
                      <a:lnTo>
                        <a:pt x="33" y="10"/>
                      </a:lnTo>
                      <a:lnTo>
                        <a:pt x="34" y="8"/>
                      </a:lnTo>
                      <a:lnTo>
                        <a:pt x="38" y="10"/>
                      </a:lnTo>
                      <a:lnTo>
                        <a:pt x="41" y="10"/>
                      </a:lnTo>
                      <a:lnTo>
                        <a:pt x="47" y="12"/>
                      </a:lnTo>
                      <a:lnTo>
                        <a:pt x="49" y="10"/>
                      </a:lnTo>
                      <a:lnTo>
                        <a:pt x="52" y="8"/>
                      </a:lnTo>
                      <a:lnTo>
                        <a:pt x="54" y="7"/>
                      </a:lnTo>
                      <a:lnTo>
                        <a:pt x="64" y="2"/>
                      </a:lnTo>
                      <a:lnTo>
                        <a:pt x="67" y="0"/>
                      </a:lnTo>
                      <a:lnTo>
                        <a:pt x="72" y="2"/>
                      </a:lnTo>
                      <a:lnTo>
                        <a:pt x="78" y="4"/>
                      </a:lnTo>
                      <a:lnTo>
                        <a:pt x="80" y="5"/>
                      </a:lnTo>
                      <a:lnTo>
                        <a:pt x="82" y="4"/>
                      </a:lnTo>
                      <a:lnTo>
                        <a:pt x="87" y="7"/>
                      </a:lnTo>
                      <a:lnTo>
                        <a:pt x="87" y="8"/>
                      </a:lnTo>
                      <a:lnTo>
                        <a:pt x="91" y="8"/>
                      </a:lnTo>
                      <a:lnTo>
                        <a:pt x="91" y="8"/>
                      </a:lnTo>
                      <a:lnTo>
                        <a:pt x="90" y="15"/>
                      </a:lnTo>
                      <a:lnTo>
                        <a:pt x="88" y="17"/>
                      </a:lnTo>
                      <a:lnTo>
                        <a:pt x="85" y="17"/>
                      </a:lnTo>
                      <a:lnTo>
                        <a:pt x="82" y="20"/>
                      </a:lnTo>
                      <a:lnTo>
                        <a:pt x="82" y="28"/>
                      </a:lnTo>
                      <a:lnTo>
                        <a:pt x="82" y="31"/>
                      </a:lnTo>
                      <a:lnTo>
                        <a:pt x="77" y="35"/>
                      </a:lnTo>
                      <a:lnTo>
                        <a:pt x="77" y="36"/>
                      </a:lnTo>
                      <a:lnTo>
                        <a:pt x="80" y="36"/>
                      </a:lnTo>
                      <a:lnTo>
                        <a:pt x="83" y="41"/>
                      </a:lnTo>
                      <a:lnTo>
                        <a:pt x="85" y="44"/>
                      </a:lnTo>
                      <a:lnTo>
                        <a:pt x="85" y="44"/>
                      </a:lnTo>
                      <a:lnTo>
                        <a:pt x="82" y="44"/>
                      </a:lnTo>
                      <a:lnTo>
                        <a:pt x="80" y="46"/>
                      </a:lnTo>
                      <a:lnTo>
                        <a:pt x="75" y="43"/>
                      </a:lnTo>
                      <a:lnTo>
                        <a:pt x="70" y="43"/>
                      </a:lnTo>
                      <a:lnTo>
                        <a:pt x="69" y="44"/>
                      </a:lnTo>
                      <a:lnTo>
                        <a:pt x="67" y="44"/>
                      </a:lnTo>
                      <a:lnTo>
                        <a:pt x="64" y="48"/>
                      </a:lnTo>
                      <a:lnTo>
                        <a:pt x="64" y="48"/>
                      </a:lnTo>
                      <a:lnTo>
                        <a:pt x="62" y="48"/>
                      </a:lnTo>
                      <a:lnTo>
                        <a:pt x="57" y="51"/>
                      </a:lnTo>
                      <a:lnTo>
                        <a:pt x="57" y="54"/>
                      </a:lnTo>
                      <a:lnTo>
                        <a:pt x="59" y="57"/>
                      </a:lnTo>
                      <a:lnTo>
                        <a:pt x="57" y="59"/>
                      </a:lnTo>
                      <a:lnTo>
                        <a:pt x="51" y="59"/>
                      </a:lnTo>
                      <a:lnTo>
                        <a:pt x="47" y="61"/>
                      </a:lnTo>
                      <a:lnTo>
                        <a:pt x="44" y="59"/>
                      </a:lnTo>
                      <a:lnTo>
                        <a:pt x="41" y="59"/>
                      </a:lnTo>
                      <a:lnTo>
                        <a:pt x="39" y="61"/>
                      </a:lnTo>
                      <a:lnTo>
                        <a:pt x="36" y="61"/>
                      </a:lnTo>
                      <a:lnTo>
                        <a:pt x="36" y="57"/>
                      </a:lnTo>
                      <a:lnTo>
                        <a:pt x="31" y="57"/>
                      </a:lnTo>
                      <a:lnTo>
                        <a:pt x="28" y="57"/>
                      </a:lnTo>
                      <a:lnTo>
                        <a:pt x="25" y="59"/>
                      </a:lnTo>
                      <a:lnTo>
                        <a:pt x="21" y="61"/>
                      </a:lnTo>
                      <a:lnTo>
                        <a:pt x="16" y="61"/>
                      </a:lnTo>
                      <a:lnTo>
                        <a:pt x="15" y="59"/>
                      </a:lnTo>
                      <a:lnTo>
                        <a:pt x="15" y="59"/>
                      </a:lnTo>
                      <a:lnTo>
                        <a:pt x="13" y="56"/>
                      </a:lnTo>
                      <a:lnTo>
                        <a:pt x="13" y="53"/>
                      </a:lnTo>
                      <a:lnTo>
                        <a:pt x="8" y="44"/>
                      </a:lnTo>
                      <a:lnTo>
                        <a:pt x="2" y="40"/>
                      </a:lnTo>
                      <a:lnTo>
                        <a:pt x="3" y="40"/>
                      </a:lnTo>
                      <a:lnTo>
                        <a:pt x="3" y="36"/>
                      </a:lnTo>
                      <a:lnTo>
                        <a:pt x="2" y="33"/>
                      </a:lnTo>
                      <a:lnTo>
                        <a:pt x="2" y="31"/>
                      </a:lnTo>
                      <a:lnTo>
                        <a:pt x="7" y="26"/>
                      </a:lnTo>
                      <a:lnTo>
                        <a:pt x="8" y="23"/>
                      </a:lnTo>
                      <a:lnTo>
                        <a:pt x="5" y="18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8" name="Freeform 202">
                  <a:extLst>
                    <a:ext uri="{FF2B5EF4-FFF2-40B4-BE49-F238E27FC236}">
                      <a16:creationId xmlns:a16="http://schemas.microsoft.com/office/drawing/2014/main" xmlns="" id="{3F5271B2-725E-4ECA-8C62-DE60361840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5" y="1324"/>
                  <a:ext cx="39" cy="32"/>
                </a:xfrm>
                <a:custGeom>
                  <a:avLst/>
                  <a:gdLst>
                    <a:gd name="T0" fmla="*/ 26 w 39"/>
                    <a:gd name="T1" fmla="*/ 0 h 32"/>
                    <a:gd name="T2" fmla="*/ 32 w 39"/>
                    <a:gd name="T3" fmla="*/ 4 h 32"/>
                    <a:gd name="T4" fmla="*/ 37 w 39"/>
                    <a:gd name="T5" fmla="*/ 13 h 32"/>
                    <a:gd name="T6" fmla="*/ 37 w 39"/>
                    <a:gd name="T7" fmla="*/ 16 h 32"/>
                    <a:gd name="T8" fmla="*/ 39 w 39"/>
                    <a:gd name="T9" fmla="*/ 19 h 32"/>
                    <a:gd name="T10" fmla="*/ 35 w 39"/>
                    <a:gd name="T11" fmla="*/ 21 h 32"/>
                    <a:gd name="T12" fmla="*/ 34 w 39"/>
                    <a:gd name="T13" fmla="*/ 21 h 32"/>
                    <a:gd name="T14" fmla="*/ 29 w 39"/>
                    <a:gd name="T15" fmla="*/ 24 h 32"/>
                    <a:gd name="T16" fmla="*/ 22 w 39"/>
                    <a:gd name="T17" fmla="*/ 24 h 32"/>
                    <a:gd name="T18" fmla="*/ 19 w 39"/>
                    <a:gd name="T19" fmla="*/ 26 h 32"/>
                    <a:gd name="T20" fmla="*/ 19 w 39"/>
                    <a:gd name="T21" fmla="*/ 27 h 32"/>
                    <a:gd name="T22" fmla="*/ 14 w 39"/>
                    <a:gd name="T23" fmla="*/ 29 h 32"/>
                    <a:gd name="T24" fmla="*/ 8 w 39"/>
                    <a:gd name="T25" fmla="*/ 32 h 32"/>
                    <a:gd name="T26" fmla="*/ 8 w 39"/>
                    <a:gd name="T27" fmla="*/ 32 h 32"/>
                    <a:gd name="T28" fmla="*/ 4 w 39"/>
                    <a:gd name="T29" fmla="*/ 31 h 32"/>
                    <a:gd name="T30" fmla="*/ 3 w 39"/>
                    <a:gd name="T31" fmla="*/ 26 h 32"/>
                    <a:gd name="T32" fmla="*/ 0 w 39"/>
                    <a:gd name="T33" fmla="*/ 22 h 32"/>
                    <a:gd name="T34" fmla="*/ 0 w 39"/>
                    <a:gd name="T35" fmla="*/ 16 h 32"/>
                    <a:gd name="T36" fmla="*/ 0 w 39"/>
                    <a:gd name="T37" fmla="*/ 11 h 32"/>
                    <a:gd name="T38" fmla="*/ 0 w 39"/>
                    <a:gd name="T39" fmla="*/ 11 h 32"/>
                    <a:gd name="T40" fmla="*/ 1 w 39"/>
                    <a:gd name="T41" fmla="*/ 9 h 32"/>
                    <a:gd name="T42" fmla="*/ 1 w 39"/>
                    <a:gd name="T43" fmla="*/ 8 h 32"/>
                    <a:gd name="T44" fmla="*/ 4 w 39"/>
                    <a:gd name="T45" fmla="*/ 4 h 32"/>
                    <a:gd name="T46" fmla="*/ 8 w 39"/>
                    <a:gd name="T47" fmla="*/ 4 h 32"/>
                    <a:gd name="T48" fmla="*/ 11 w 39"/>
                    <a:gd name="T49" fmla="*/ 1 h 32"/>
                    <a:gd name="T50" fmla="*/ 18 w 39"/>
                    <a:gd name="T51" fmla="*/ 1 h 32"/>
                    <a:gd name="T52" fmla="*/ 19 w 39"/>
                    <a:gd name="T53" fmla="*/ 1 h 32"/>
                    <a:gd name="T54" fmla="*/ 24 w 39"/>
                    <a:gd name="T55" fmla="*/ 0 h 32"/>
                    <a:gd name="T56" fmla="*/ 26 w 39"/>
                    <a:gd name="T5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9" h="32">
                      <a:moveTo>
                        <a:pt x="26" y="0"/>
                      </a:moveTo>
                      <a:lnTo>
                        <a:pt x="32" y="4"/>
                      </a:lnTo>
                      <a:lnTo>
                        <a:pt x="37" y="13"/>
                      </a:lnTo>
                      <a:lnTo>
                        <a:pt x="37" y="16"/>
                      </a:lnTo>
                      <a:lnTo>
                        <a:pt x="39" y="19"/>
                      </a:lnTo>
                      <a:lnTo>
                        <a:pt x="35" y="21"/>
                      </a:lnTo>
                      <a:lnTo>
                        <a:pt x="34" y="21"/>
                      </a:lnTo>
                      <a:lnTo>
                        <a:pt x="29" y="24"/>
                      </a:lnTo>
                      <a:lnTo>
                        <a:pt x="22" y="24"/>
                      </a:lnTo>
                      <a:lnTo>
                        <a:pt x="19" y="26"/>
                      </a:lnTo>
                      <a:lnTo>
                        <a:pt x="19" y="27"/>
                      </a:lnTo>
                      <a:lnTo>
                        <a:pt x="14" y="29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4" y="31"/>
                      </a:lnTo>
                      <a:lnTo>
                        <a:pt x="3" y="26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0" y="11"/>
                      </a:lnTo>
                      <a:lnTo>
                        <a:pt x="1" y="9"/>
                      </a:lnTo>
                      <a:lnTo>
                        <a:pt x="1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1" y="1"/>
                      </a:lnTo>
                      <a:lnTo>
                        <a:pt x="18" y="1"/>
                      </a:lnTo>
                      <a:lnTo>
                        <a:pt x="19" y="1"/>
                      </a:lnTo>
                      <a:lnTo>
                        <a:pt x="24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9" name="Freeform 203">
                  <a:extLst>
                    <a:ext uri="{FF2B5EF4-FFF2-40B4-BE49-F238E27FC236}">
                      <a16:creationId xmlns:a16="http://schemas.microsoft.com/office/drawing/2014/main" xmlns="" id="{A57E7A24-C69F-44C3-B6C7-DA4A89BD3D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3" y="1319"/>
                  <a:ext cx="30" cy="58"/>
                </a:xfrm>
                <a:custGeom>
                  <a:avLst/>
                  <a:gdLst>
                    <a:gd name="T0" fmla="*/ 22 w 30"/>
                    <a:gd name="T1" fmla="*/ 16 h 58"/>
                    <a:gd name="T2" fmla="*/ 22 w 30"/>
                    <a:gd name="T3" fmla="*/ 21 h 58"/>
                    <a:gd name="T4" fmla="*/ 22 w 30"/>
                    <a:gd name="T5" fmla="*/ 27 h 58"/>
                    <a:gd name="T6" fmla="*/ 25 w 30"/>
                    <a:gd name="T7" fmla="*/ 31 h 58"/>
                    <a:gd name="T8" fmla="*/ 26 w 30"/>
                    <a:gd name="T9" fmla="*/ 36 h 58"/>
                    <a:gd name="T10" fmla="*/ 30 w 30"/>
                    <a:gd name="T11" fmla="*/ 37 h 58"/>
                    <a:gd name="T12" fmla="*/ 30 w 30"/>
                    <a:gd name="T13" fmla="*/ 42 h 58"/>
                    <a:gd name="T14" fmla="*/ 26 w 30"/>
                    <a:gd name="T15" fmla="*/ 47 h 58"/>
                    <a:gd name="T16" fmla="*/ 20 w 30"/>
                    <a:gd name="T17" fmla="*/ 49 h 58"/>
                    <a:gd name="T18" fmla="*/ 20 w 30"/>
                    <a:gd name="T19" fmla="*/ 52 h 58"/>
                    <a:gd name="T20" fmla="*/ 18 w 30"/>
                    <a:gd name="T21" fmla="*/ 57 h 58"/>
                    <a:gd name="T22" fmla="*/ 15 w 30"/>
                    <a:gd name="T23" fmla="*/ 58 h 58"/>
                    <a:gd name="T24" fmla="*/ 13 w 30"/>
                    <a:gd name="T25" fmla="*/ 57 h 58"/>
                    <a:gd name="T26" fmla="*/ 10 w 30"/>
                    <a:gd name="T27" fmla="*/ 49 h 58"/>
                    <a:gd name="T28" fmla="*/ 4 w 30"/>
                    <a:gd name="T29" fmla="*/ 49 h 58"/>
                    <a:gd name="T30" fmla="*/ 2 w 30"/>
                    <a:gd name="T31" fmla="*/ 47 h 58"/>
                    <a:gd name="T32" fmla="*/ 4 w 30"/>
                    <a:gd name="T33" fmla="*/ 42 h 58"/>
                    <a:gd name="T34" fmla="*/ 2 w 30"/>
                    <a:gd name="T35" fmla="*/ 40 h 58"/>
                    <a:gd name="T36" fmla="*/ 2 w 30"/>
                    <a:gd name="T37" fmla="*/ 36 h 58"/>
                    <a:gd name="T38" fmla="*/ 4 w 30"/>
                    <a:gd name="T39" fmla="*/ 32 h 58"/>
                    <a:gd name="T40" fmla="*/ 2 w 30"/>
                    <a:gd name="T41" fmla="*/ 27 h 58"/>
                    <a:gd name="T42" fmla="*/ 4 w 30"/>
                    <a:gd name="T43" fmla="*/ 21 h 58"/>
                    <a:gd name="T44" fmla="*/ 5 w 30"/>
                    <a:gd name="T45" fmla="*/ 19 h 58"/>
                    <a:gd name="T46" fmla="*/ 5 w 30"/>
                    <a:gd name="T47" fmla="*/ 18 h 58"/>
                    <a:gd name="T48" fmla="*/ 0 w 30"/>
                    <a:gd name="T49" fmla="*/ 14 h 58"/>
                    <a:gd name="T50" fmla="*/ 0 w 30"/>
                    <a:gd name="T51" fmla="*/ 9 h 58"/>
                    <a:gd name="T52" fmla="*/ 4 w 30"/>
                    <a:gd name="T53" fmla="*/ 5 h 58"/>
                    <a:gd name="T54" fmla="*/ 7 w 30"/>
                    <a:gd name="T55" fmla="*/ 0 h 58"/>
                    <a:gd name="T56" fmla="*/ 7 w 30"/>
                    <a:gd name="T57" fmla="*/ 0 h 58"/>
                    <a:gd name="T58" fmla="*/ 8 w 30"/>
                    <a:gd name="T59" fmla="*/ 3 h 58"/>
                    <a:gd name="T60" fmla="*/ 12 w 30"/>
                    <a:gd name="T61" fmla="*/ 0 h 58"/>
                    <a:gd name="T62" fmla="*/ 12 w 30"/>
                    <a:gd name="T63" fmla="*/ 0 h 58"/>
                    <a:gd name="T64" fmla="*/ 13 w 30"/>
                    <a:gd name="T65" fmla="*/ 0 h 58"/>
                    <a:gd name="T66" fmla="*/ 15 w 30"/>
                    <a:gd name="T67" fmla="*/ 5 h 58"/>
                    <a:gd name="T68" fmla="*/ 17 w 30"/>
                    <a:gd name="T69" fmla="*/ 5 h 58"/>
                    <a:gd name="T70" fmla="*/ 20 w 30"/>
                    <a:gd name="T71" fmla="*/ 6 h 58"/>
                    <a:gd name="T72" fmla="*/ 22 w 30"/>
                    <a:gd name="T73" fmla="*/ 9 h 58"/>
                    <a:gd name="T74" fmla="*/ 22 w 30"/>
                    <a:gd name="T75" fmla="*/ 14 h 58"/>
                    <a:gd name="T76" fmla="*/ 22 w 30"/>
                    <a:gd name="T77" fmla="*/ 1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0" h="58">
                      <a:moveTo>
                        <a:pt x="22" y="16"/>
                      </a:moveTo>
                      <a:lnTo>
                        <a:pt x="22" y="21"/>
                      </a:lnTo>
                      <a:lnTo>
                        <a:pt x="22" y="27"/>
                      </a:lnTo>
                      <a:lnTo>
                        <a:pt x="25" y="31"/>
                      </a:lnTo>
                      <a:lnTo>
                        <a:pt x="26" y="36"/>
                      </a:lnTo>
                      <a:lnTo>
                        <a:pt x="30" y="37"/>
                      </a:lnTo>
                      <a:lnTo>
                        <a:pt x="30" y="42"/>
                      </a:lnTo>
                      <a:lnTo>
                        <a:pt x="26" y="47"/>
                      </a:lnTo>
                      <a:lnTo>
                        <a:pt x="20" y="49"/>
                      </a:lnTo>
                      <a:lnTo>
                        <a:pt x="20" y="52"/>
                      </a:lnTo>
                      <a:lnTo>
                        <a:pt x="18" y="57"/>
                      </a:lnTo>
                      <a:lnTo>
                        <a:pt x="15" y="58"/>
                      </a:lnTo>
                      <a:lnTo>
                        <a:pt x="13" y="57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2" y="47"/>
                      </a:lnTo>
                      <a:lnTo>
                        <a:pt x="4" y="42"/>
                      </a:lnTo>
                      <a:lnTo>
                        <a:pt x="2" y="40"/>
                      </a:lnTo>
                      <a:lnTo>
                        <a:pt x="2" y="36"/>
                      </a:lnTo>
                      <a:lnTo>
                        <a:pt x="4" y="32"/>
                      </a:lnTo>
                      <a:lnTo>
                        <a:pt x="2" y="27"/>
                      </a:lnTo>
                      <a:lnTo>
                        <a:pt x="4" y="21"/>
                      </a:lnTo>
                      <a:lnTo>
                        <a:pt x="5" y="19"/>
                      </a:lnTo>
                      <a:lnTo>
                        <a:pt x="5" y="18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4" y="5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20" y="6"/>
                      </a:lnTo>
                      <a:lnTo>
                        <a:pt x="22" y="9"/>
                      </a:lnTo>
                      <a:lnTo>
                        <a:pt x="22" y="14"/>
                      </a:lnTo>
                      <a:lnTo>
                        <a:pt x="22" y="16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40" name="Freeform 204">
                  <a:extLst>
                    <a:ext uri="{FF2B5EF4-FFF2-40B4-BE49-F238E27FC236}">
                      <a16:creationId xmlns:a16="http://schemas.microsoft.com/office/drawing/2014/main" xmlns="" id="{1DA70590-5121-4816-B42F-DFCE5E1462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2" y="1248"/>
                  <a:ext cx="65" cy="87"/>
                </a:xfrm>
                <a:custGeom>
                  <a:avLst/>
                  <a:gdLst>
                    <a:gd name="T0" fmla="*/ 3 w 65"/>
                    <a:gd name="T1" fmla="*/ 7 h 87"/>
                    <a:gd name="T2" fmla="*/ 10 w 65"/>
                    <a:gd name="T3" fmla="*/ 5 h 87"/>
                    <a:gd name="T4" fmla="*/ 15 w 65"/>
                    <a:gd name="T5" fmla="*/ 0 h 87"/>
                    <a:gd name="T6" fmla="*/ 19 w 65"/>
                    <a:gd name="T7" fmla="*/ 2 h 87"/>
                    <a:gd name="T8" fmla="*/ 26 w 65"/>
                    <a:gd name="T9" fmla="*/ 5 h 87"/>
                    <a:gd name="T10" fmla="*/ 31 w 65"/>
                    <a:gd name="T11" fmla="*/ 15 h 87"/>
                    <a:gd name="T12" fmla="*/ 41 w 65"/>
                    <a:gd name="T13" fmla="*/ 20 h 87"/>
                    <a:gd name="T14" fmla="*/ 39 w 65"/>
                    <a:gd name="T15" fmla="*/ 25 h 87"/>
                    <a:gd name="T16" fmla="*/ 46 w 65"/>
                    <a:gd name="T17" fmla="*/ 30 h 87"/>
                    <a:gd name="T18" fmla="*/ 52 w 65"/>
                    <a:gd name="T19" fmla="*/ 31 h 87"/>
                    <a:gd name="T20" fmla="*/ 59 w 65"/>
                    <a:gd name="T21" fmla="*/ 28 h 87"/>
                    <a:gd name="T22" fmla="*/ 57 w 65"/>
                    <a:gd name="T23" fmla="*/ 33 h 87"/>
                    <a:gd name="T24" fmla="*/ 57 w 65"/>
                    <a:gd name="T25" fmla="*/ 43 h 87"/>
                    <a:gd name="T26" fmla="*/ 62 w 65"/>
                    <a:gd name="T27" fmla="*/ 54 h 87"/>
                    <a:gd name="T28" fmla="*/ 64 w 65"/>
                    <a:gd name="T29" fmla="*/ 62 h 87"/>
                    <a:gd name="T30" fmla="*/ 59 w 65"/>
                    <a:gd name="T31" fmla="*/ 69 h 87"/>
                    <a:gd name="T32" fmla="*/ 60 w 65"/>
                    <a:gd name="T33" fmla="*/ 76 h 87"/>
                    <a:gd name="T34" fmla="*/ 52 w 65"/>
                    <a:gd name="T35" fmla="*/ 77 h 87"/>
                    <a:gd name="T36" fmla="*/ 44 w 65"/>
                    <a:gd name="T37" fmla="*/ 77 h 87"/>
                    <a:gd name="T38" fmla="*/ 37 w 65"/>
                    <a:gd name="T39" fmla="*/ 80 h 87"/>
                    <a:gd name="T40" fmla="*/ 34 w 65"/>
                    <a:gd name="T41" fmla="*/ 85 h 87"/>
                    <a:gd name="T42" fmla="*/ 33 w 65"/>
                    <a:gd name="T43" fmla="*/ 85 h 87"/>
                    <a:gd name="T44" fmla="*/ 31 w 65"/>
                    <a:gd name="T45" fmla="*/ 77 h 87"/>
                    <a:gd name="T46" fmla="*/ 26 w 65"/>
                    <a:gd name="T47" fmla="*/ 76 h 87"/>
                    <a:gd name="T48" fmla="*/ 23 w 65"/>
                    <a:gd name="T49" fmla="*/ 71 h 87"/>
                    <a:gd name="T50" fmla="*/ 26 w 65"/>
                    <a:gd name="T51" fmla="*/ 67 h 87"/>
                    <a:gd name="T52" fmla="*/ 21 w 65"/>
                    <a:gd name="T53" fmla="*/ 62 h 87"/>
                    <a:gd name="T54" fmla="*/ 16 w 65"/>
                    <a:gd name="T55" fmla="*/ 61 h 87"/>
                    <a:gd name="T56" fmla="*/ 15 w 65"/>
                    <a:gd name="T57" fmla="*/ 56 h 87"/>
                    <a:gd name="T58" fmla="*/ 11 w 65"/>
                    <a:gd name="T59" fmla="*/ 51 h 87"/>
                    <a:gd name="T60" fmla="*/ 8 w 65"/>
                    <a:gd name="T61" fmla="*/ 43 h 87"/>
                    <a:gd name="T62" fmla="*/ 13 w 65"/>
                    <a:gd name="T63" fmla="*/ 44 h 87"/>
                    <a:gd name="T64" fmla="*/ 11 w 65"/>
                    <a:gd name="T65" fmla="*/ 40 h 87"/>
                    <a:gd name="T66" fmla="*/ 5 w 65"/>
                    <a:gd name="T67" fmla="*/ 36 h 87"/>
                    <a:gd name="T68" fmla="*/ 8 w 65"/>
                    <a:gd name="T69" fmla="*/ 30 h 87"/>
                    <a:gd name="T70" fmla="*/ 6 w 65"/>
                    <a:gd name="T71" fmla="*/ 25 h 87"/>
                    <a:gd name="T72" fmla="*/ 5 w 65"/>
                    <a:gd name="T73" fmla="*/ 25 h 87"/>
                    <a:gd name="T74" fmla="*/ 6 w 65"/>
                    <a:gd name="T75" fmla="*/ 22 h 87"/>
                    <a:gd name="T76" fmla="*/ 8 w 65"/>
                    <a:gd name="T77" fmla="*/ 20 h 87"/>
                    <a:gd name="T78" fmla="*/ 3 w 65"/>
                    <a:gd name="T79" fmla="*/ 18 h 87"/>
                    <a:gd name="T80" fmla="*/ 2 w 65"/>
                    <a:gd name="T81" fmla="*/ 9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5" h="87">
                      <a:moveTo>
                        <a:pt x="0" y="9"/>
                      </a:moveTo>
                      <a:lnTo>
                        <a:pt x="3" y="7"/>
                      </a:lnTo>
                      <a:lnTo>
                        <a:pt x="6" y="4"/>
                      </a:lnTo>
                      <a:lnTo>
                        <a:pt x="10" y="5"/>
                      </a:lnTo>
                      <a:lnTo>
                        <a:pt x="10" y="4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9" y="2"/>
                      </a:lnTo>
                      <a:lnTo>
                        <a:pt x="24" y="4"/>
                      </a:lnTo>
                      <a:lnTo>
                        <a:pt x="26" y="5"/>
                      </a:lnTo>
                      <a:lnTo>
                        <a:pt x="31" y="12"/>
                      </a:lnTo>
                      <a:lnTo>
                        <a:pt x="31" y="15"/>
                      </a:lnTo>
                      <a:lnTo>
                        <a:pt x="36" y="17"/>
                      </a:lnTo>
                      <a:lnTo>
                        <a:pt x="41" y="20"/>
                      </a:lnTo>
                      <a:lnTo>
                        <a:pt x="37" y="23"/>
                      </a:lnTo>
                      <a:lnTo>
                        <a:pt x="39" y="25"/>
                      </a:lnTo>
                      <a:lnTo>
                        <a:pt x="44" y="26"/>
                      </a:lnTo>
                      <a:lnTo>
                        <a:pt x="46" y="30"/>
                      </a:lnTo>
                      <a:lnTo>
                        <a:pt x="49" y="28"/>
                      </a:lnTo>
                      <a:lnTo>
                        <a:pt x="52" y="31"/>
                      </a:lnTo>
                      <a:lnTo>
                        <a:pt x="54" y="26"/>
                      </a:lnTo>
                      <a:lnTo>
                        <a:pt x="59" y="28"/>
                      </a:lnTo>
                      <a:lnTo>
                        <a:pt x="57" y="31"/>
                      </a:lnTo>
                      <a:lnTo>
                        <a:pt x="57" y="33"/>
                      </a:lnTo>
                      <a:lnTo>
                        <a:pt x="59" y="40"/>
                      </a:lnTo>
                      <a:lnTo>
                        <a:pt x="57" y="43"/>
                      </a:lnTo>
                      <a:lnTo>
                        <a:pt x="59" y="49"/>
                      </a:lnTo>
                      <a:lnTo>
                        <a:pt x="62" y="54"/>
                      </a:lnTo>
                      <a:lnTo>
                        <a:pt x="65" y="59"/>
                      </a:lnTo>
                      <a:lnTo>
                        <a:pt x="64" y="62"/>
                      </a:lnTo>
                      <a:lnTo>
                        <a:pt x="59" y="67"/>
                      </a:lnTo>
                      <a:lnTo>
                        <a:pt x="59" y="69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57" y="76"/>
                      </a:lnTo>
                      <a:lnTo>
                        <a:pt x="52" y="77"/>
                      </a:lnTo>
                      <a:lnTo>
                        <a:pt x="51" y="77"/>
                      </a:lnTo>
                      <a:lnTo>
                        <a:pt x="44" y="77"/>
                      </a:lnTo>
                      <a:lnTo>
                        <a:pt x="41" y="80"/>
                      </a:lnTo>
                      <a:lnTo>
                        <a:pt x="37" y="80"/>
                      </a:lnTo>
                      <a:lnTo>
                        <a:pt x="34" y="84"/>
                      </a:lnTo>
                      <a:lnTo>
                        <a:pt x="34" y="85"/>
                      </a:lnTo>
                      <a:lnTo>
                        <a:pt x="33" y="87"/>
                      </a:lnTo>
                      <a:lnTo>
                        <a:pt x="33" y="85"/>
                      </a:lnTo>
                      <a:lnTo>
                        <a:pt x="33" y="80"/>
                      </a:lnTo>
                      <a:lnTo>
                        <a:pt x="31" y="77"/>
                      </a:lnTo>
                      <a:lnTo>
                        <a:pt x="28" y="76"/>
                      </a:lnTo>
                      <a:lnTo>
                        <a:pt x="26" y="76"/>
                      </a:lnTo>
                      <a:lnTo>
                        <a:pt x="24" y="71"/>
                      </a:lnTo>
                      <a:lnTo>
                        <a:pt x="23" y="71"/>
                      </a:lnTo>
                      <a:lnTo>
                        <a:pt x="23" y="69"/>
                      </a:lnTo>
                      <a:lnTo>
                        <a:pt x="26" y="67"/>
                      </a:lnTo>
                      <a:lnTo>
                        <a:pt x="26" y="62"/>
                      </a:lnTo>
                      <a:lnTo>
                        <a:pt x="21" y="62"/>
                      </a:lnTo>
                      <a:lnTo>
                        <a:pt x="19" y="61"/>
                      </a:lnTo>
                      <a:lnTo>
                        <a:pt x="16" y="61"/>
                      </a:lnTo>
                      <a:lnTo>
                        <a:pt x="15" y="58"/>
                      </a:lnTo>
                      <a:lnTo>
                        <a:pt x="15" y="56"/>
                      </a:lnTo>
                      <a:lnTo>
                        <a:pt x="11" y="53"/>
                      </a:lnTo>
                      <a:lnTo>
                        <a:pt x="11" y="51"/>
                      </a:lnTo>
                      <a:lnTo>
                        <a:pt x="8" y="48"/>
                      </a:lnTo>
                      <a:lnTo>
                        <a:pt x="8" y="43"/>
                      </a:lnTo>
                      <a:lnTo>
                        <a:pt x="10" y="43"/>
                      </a:lnTo>
                      <a:lnTo>
                        <a:pt x="13" y="44"/>
                      </a:lnTo>
                      <a:lnTo>
                        <a:pt x="13" y="43"/>
                      </a:lnTo>
                      <a:lnTo>
                        <a:pt x="11" y="40"/>
                      </a:lnTo>
                      <a:lnTo>
                        <a:pt x="10" y="40"/>
                      </a:lnTo>
                      <a:lnTo>
                        <a:pt x="5" y="36"/>
                      </a:lnTo>
                      <a:lnTo>
                        <a:pt x="5" y="35"/>
                      </a:lnTo>
                      <a:lnTo>
                        <a:pt x="8" y="30"/>
                      </a:lnTo>
                      <a:lnTo>
                        <a:pt x="8" y="25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5" y="25"/>
                      </a:lnTo>
                      <a:lnTo>
                        <a:pt x="3" y="22"/>
                      </a:lnTo>
                      <a:lnTo>
                        <a:pt x="6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5" y="20"/>
                      </a:lnTo>
                      <a:lnTo>
                        <a:pt x="3" y="18"/>
                      </a:lnTo>
                      <a:lnTo>
                        <a:pt x="3" y="13"/>
                      </a:lnTo>
                      <a:lnTo>
                        <a:pt x="2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BCBEC0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395" name="Freeform 206">
                <a:extLst>
                  <a:ext uri="{FF2B5EF4-FFF2-40B4-BE49-F238E27FC236}">
                    <a16:creationId xmlns:a16="http://schemas.microsoft.com/office/drawing/2014/main" xmlns="" id="{6C7B9A3D-ACFC-4748-BF2B-B3DF47A4A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9" y="1297"/>
                <a:ext cx="29" cy="36"/>
              </a:xfrm>
              <a:custGeom>
                <a:avLst/>
                <a:gdLst>
                  <a:gd name="T0" fmla="*/ 14 w 29"/>
                  <a:gd name="T1" fmla="*/ 36 h 36"/>
                  <a:gd name="T2" fmla="*/ 14 w 29"/>
                  <a:gd name="T3" fmla="*/ 31 h 36"/>
                  <a:gd name="T4" fmla="*/ 18 w 29"/>
                  <a:gd name="T5" fmla="*/ 27 h 36"/>
                  <a:gd name="T6" fmla="*/ 21 w 29"/>
                  <a:gd name="T7" fmla="*/ 22 h 36"/>
                  <a:gd name="T8" fmla="*/ 21 w 29"/>
                  <a:gd name="T9" fmla="*/ 22 h 36"/>
                  <a:gd name="T10" fmla="*/ 22 w 29"/>
                  <a:gd name="T11" fmla="*/ 25 h 36"/>
                  <a:gd name="T12" fmla="*/ 26 w 29"/>
                  <a:gd name="T13" fmla="*/ 22 h 36"/>
                  <a:gd name="T14" fmla="*/ 26 w 29"/>
                  <a:gd name="T15" fmla="*/ 20 h 36"/>
                  <a:gd name="T16" fmla="*/ 29 w 29"/>
                  <a:gd name="T17" fmla="*/ 18 h 36"/>
                  <a:gd name="T18" fmla="*/ 29 w 29"/>
                  <a:gd name="T19" fmla="*/ 13 h 36"/>
                  <a:gd name="T20" fmla="*/ 24 w 29"/>
                  <a:gd name="T21" fmla="*/ 13 h 36"/>
                  <a:gd name="T22" fmla="*/ 22 w 29"/>
                  <a:gd name="T23" fmla="*/ 12 h 36"/>
                  <a:gd name="T24" fmla="*/ 19 w 29"/>
                  <a:gd name="T25" fmla="*/ 12 h 36"/>
                  <a:gd name="T26" fmla="*/ 18 w 29"/>
                  <a:gd name="T27" fmla="*/ 9 h 36"/>
                  <a:gd name="T28" fmla="*/ 18 w 29"/>
                  <a:gd name="T29" fmla="*/ 7 h 36"/>
                  <a:gd name="T30" fmla="*/ 14 w 29"/>
                  <a:gd name="T31" fmla="*/ 4 h 36"/>
                  <a:gd name="T32" fmla="*/ 13 w 29"/>
                  <a:gd name="T33" fmla="*/ 4 h 36"/>
                  <a:gd name="T34" fmla="*/ 11 w 29"/>
                  <a:gd name="T35" fmla="*/ 4 h 36"/>
                  <a:gd name="T36" fmla="*/ 8 w 29"/>
                  <a:gd name="T37" fmla="*/ 0 h 36"/>
                  <a:gd name="T38" fmla="*/ 6 w 29"/>
                  <a:gd name="T39" fmla="*/ 2 h 36"/>
                  <a:gd name="T40" fmla="*/ 6 w 29"/>
                  <a:gd name="T41" fmla="*/ 4 h 36"/>
                  <a:gd name="T42" fmla="*/ 9 w 29"/>
                  <a:gd name="T43" fmla="*/ 7 h 36"/>
                  <a:gd name="T44" fmla="*/ 9 w 29"/>
                  <a:gd name="T45" fmla="*/ 9 h 36"/>
                  <a:gd name="T46" fmla="*/ 8 w 29"/>
                  <a:gd name="T47" fmla="*/ 10 h 36"/>
                  <a:gd name="T48" fmla="*/ 5 w 29"/>
                  <a:gd name="T49" fmla="*/ 10 h 36"/>
                  <a:gd name="T50" fmla="*/ 5 w 29"/>
                  <a:gd name="T51" fmla="*/ 13 h 36"/>
                  <a:gd name="T52" fmla="*/ 3 w 29"/>
                  <a:gd name="T53" fmla="*/ 18 h 36"/>
                  <a:gd name="T54" fmla="*/ 1 w 29"/>
                  <a:gd name="T55" fmla="*/ 22 h 36"/>
                  <a:gd name="T56" fmla="*/ 0 w 29"/>
                  <a:gd name="T57" fmla="*/ 22 h 36"/>
                  <a:gd name="T58" fmla="*/ 1 w 29"/>
                  <a:gd name="T59" fmla="*/ 23 h 36"/>
                  <a:gd name="T60" fmla="*/ 5 w 29"/>
                  <a:gd name="T61" fmla="*/ 25 h 36"/>
                  <a:gd name="T62" fmla="*/ 11 w 29"/>
                  <a:gd name="T63" fmla="*/ 33 h 36"/>
                  <a:gd name="T64" fmla="*/ 11 w 29"/>
                  <a:gd name="T65" fmla="*/ 35 h 36"/>
                  <a:gd name="T66" fmla="*/ 14 w 29"/>
                  <a:gd name="T6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" h="36">
                    <a:moveTo>
                      <a:pt x="14" y="36"/>
                    </a:moveTo>
                    <a:lnTo>
                      <a:pt x="14" y="31"/>
                    </a:lnTo>
                    <a:lnTo>
                      <a:pt x="18" y="27"/>
                    </a:lnTo>
                    <a:lnTo>
                      <a:pt x="21" y="22"/>
                    </a:lnTo>
                    <a:lnTo>
                      <a:pt x="21" y="22"/>
                    </a:lnTo>
                    <a:lnTo>
                      <a:pt x="22" y="25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9" y="18"/>
                    </a:lnTo>
                    <a:lnTo>
                      <a:pt x="29" y="13"/>
                    </a:lnTo>
                    <a:lnTo>
                      <a:pt x="24" y="13"/>
                    </a:lnTo>
                    <a:lnTo>
                      <a:pt x="22" y="12"/>
                    </a:lnTo>
                    <a:lnTo>
                      <a:pt x="19" y="12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4" y="4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8" y="10"/>
                    </a:lnTo>
                    <a:lnTo>
                      <a:pt x="5" y="10"/>
                    </a:lnTo>
                    <a:lnTo>
                      <a:pt x="5" y="13"/>
                    </a:lnTo>
                    <a:lnTo>
                      <a:pt x="3" y="18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1" y="23"/>
                    </a:lnTo>
                    <a:lnTo>
                      <a:pt x="5" y="25"/>
                    </a:lnTo>
                    <a:lnTo>
                      <a:pt x="11" y="33"/>
                    </a:lnTo>
                    <a:lnTo>
                      <a:pt x="11" y="35"/>
                    </a:lnTo>
                    <a:lnTo>
                      <a:pt x="14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6" name="Freeform 207">
                <a:extLst>
                  <a:ext uri="{FF2B5EF4-FFF2-40B4-BE49-F238E27FC236}">
                    <a16:creationId xmlns:a16="http://schemas.microsoft.com/office/drawing/2014/main" xmlns="" id="{4FD257E8-B718-40C2-A93E-267D9A1DC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3" y="1245"/>
                <a:ext cx="87" cy="69"/>
              </a:xfrm>
              <a:custGeom>
                <a:avLst/>
                <a:gdLst>
                  <a:gd name="T0" fmla="*/ 52 w 53"/>
                  <a:gd name="T1" fmla="*/ 15 h 42"/>
                  <a:gd name="T2" fmla="*/ 51 w 53"/>
                  <a:gd name="T3" fmla="*/ 14 h 42"/>
                  <a:gd name="T4" fmla="*/ 49 w 53"/>
                  <a:gd name="T5" fmla="*/ 7 h 42"/>
                  <a:gd name="T6" fmla="*/ 42 w 53"/>
                  <a:gd name="T7" fmla="*/ 7 h 42"/>
                  <a:gd name="T8" fmla="*/ 34 w 53"/>
                  <a:gd name="T9" fmla="*/ 4 h 42"/>
                  <a:gd name="T10" fmla="*/ 28 w 53"/>
                  <a:gd name="T11" fmla="*/ 1 h 42"/>
                  <a:gd name="T12" fmla="*/ 18 w 53"/>
                  <a:gd name="T13" fmla="*/ 6 h 42"/>
                  <a:gd name="T14" fmla="*/ 12 w 53"/>
                  <a:gd name="T15" fmla="*/ 11 h 42"/>
                  <a:gd name="T16" fmla="*/ 4 w 53"/>
                  <a:gd name="T17" fmla="*/ 12 h 42"/>
                  <a:gd name="T18" fmla="*/ 1 w 53"/>
                  <a:gd name="T19" fmla="*/ 16 h 42"/>
                  <a:gd name="T20" fmla="*/ 4 w 53"/>
                  <a:gd name="T21" fmla="*/ 20 h 42"/>
                  <a:gd name="T22" fmla="*/ 8 w 53"/>
                  <a:gd name="T23" fmla="*/ 12 h 42"/>
                  <a:gd name="T24" fmla="*/ 13 w 53"/>
                  <a:gd name="T25" fmla="*/ 16 h 42"/>
                  <a:gd name="T26" fmla="*/ 18 w 53"/>
                  <a:gd name="T27" fmla="*/ 24 h 42"/>
                  <a:gd name="T28" fmla="*/ 19 w 53"/>
                  <a:gd name="T29" fmla="*/ 26 h 42"/>
                  <a:gd name="T30" fmla="*/ 17 w 53"/>
                  <a:gd name="T31" fmla="*/ 29 h 42"/>
                  <a:gd name="T32" fmla="*/ 24 w 53"/>
                  <a:gd name="T33" fmla="*/ 32 h 42"/>
                  <a:gd name="T34" fmla="*/ 28 w 53"/>
                  <a:gd name="T35" fmla="*/ 35 h 42"/>
                  <a:gd name="T36" fmla="*/ 39 w 53"/>
                  <a:gd name="T37" fmla="*/ 41 h 42"/>
                  <a:gd name="T38" fmla="*/ 36 w 53"/>
                  <a:gd name="T39" fmla="*/ 42 h 42"/>
                  <a:gd name="T40" fmla="*/ 39 w 53"/>
                  <a:gd name="T41" fmla="*/ 40 h 42"/>
                  <a:gd name="T42" fmla="*/ 24 w 53"/>
                  <a:gd name="T43" fmla="*/ 24 h 42"/>
                  <a:gd name="T44" fmla="*/ 23 w 53"/>
                  <a:gd name="T45" fmla="*/ 20 h 42"/>
                  <a:gd name="T46" fmla="*/ 20 w 53"/>
                  <a:gd name="T47" fmla="*/ 17 h 42"/>
                  <a:gd name="T48" fmla="*/ 22 w 53"/>
                  <a:gd name="T49" fmla="*/ 13 h 42"/>
                  <a:gd name="T50" fmla="*/ 26 w 53"/>
                  <a:gd name="T51" fmla="*/ 15 h 42"/>
                  <a:gd name="T52" fmla="*/ 29 w 53"/>
                  <a:gd name="T53" fmla="*/ 14 h 42"/>
                  <a:gd name="T54" fmla="*/ 32 w 53"/>
                  <a:gd name="T55" fmla="*/ 13 h 42"/>
                  <a:gd name="T56" fmla="*/ 36 w 53"/>
                  <a:gd name="T57" fmla="*/ 14 h 42"/>
                  <a:gd name="T58" fmla="*/ 40 w 53"/>
                  <a:gd name="T59" fmla="*/ 15 h 42"/>
                  <a:gd name="T60" fmla="*/ 46 w 53"/>
                  <a:gd name="T61" fmla="*/ 15 h 42"/>
                  <a:gd name="T62" fmla="*/ 51 w 53"/>
                  <a:gd name="T63" fmla="*/ 17 h 42"/>
                  <a:gd name="T64" fmla="*/ 35 w 53"/>
                  <a:gd name="T65" fmla="*/ 42 h 42"/>
                  <a:gd name="T66" fmla="*/ 28 w 53"/>
                  <a:gd name="T67" fmla="*/ 38 h 42"/>
                  <a:gd name="T68" fmla="*/ 28 w 53"/>
                  <a:gd name="T69" fmla="*/ 38 h 42"/>
                  <a:gd name="T70" fmla="*/ 33 w 53"/>
                  <a:gd name="T71" fmla="*/ 37 h 42"/>
                  <a:gd name="T72" fmla="*/ 28 w 53"/>
                  <a:gd name="T73" fmla="*/ 36 h 42"/>
                  <a:gd name="T74" fmla="*/ 17 w 53"/>
                  <a:gd name="T75" fmla="*/ 25 h 42"/>
                  <a:gd name="T76" fmla="*/ 13 w 53"/>
                  <a:gd name="T77" fmla="*/ 21 h 42"/>
                  <a:gd name="T78" fmla="*/ 13 w 53"/>
                  <a:gd name="T79" fmla="*/ 21 h 42"/>
                  <a:gd name="T80" fmla="*/ 16 w 53"/>
                  <a:gd name="T81" fmla="*/ 30 h 42"/>
                  <a:gd name="T82" fmla="*/ 12 w 53"/>
                  <a:gd name="T83" fmla="*/ 24 h 42"/>
                  <a:gd name="T84" fmla="*/ 8 w 53"/>
                  <a:gd name="T85" fmla="*/ 18 h 42"/>
                  <a:gd name="T86" fmla="*/ 10 w 53"/>
                  <a:gd name="T87" fmla="*/ 23 h 42"/>
                  <a:gd name="T88" fmla="*/ 8 w 53"/>
                  <a:gd name="T89" fmla="*/ 18 h 42"/>
                  <a:gd name="T90" fmla="*/ 11 w 53"/>
                  <a:gd name="T91" fmla="*/ 19 h 42"/>
                  <a:gd name="T92" fmla="*/ 8 w 53"/>
                  <a:gd name="T93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3" h="42">
                    <a:moveTo>
                      <a:pt x="51" y="17"/>
                    </a:moveTo>
                    <a:cubicBezTo>
                      <a:pt x="50" y="15"/>
                      <a:pt x="50" y="15"/>
                      <a:pt x="50" y="15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6" y="15"/>
                      <a:pt x="46" y="15"/>
                      <a:pt x="46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51" y="17"/>
                      <a:pt x="51" y="17"/>
                      <a:pt x="51" y="17"/>
                    </a:cubicBezTo>
                    <a:close/>
                    <a:moveTo>
                      <a:pt x="30" y="41"/>
                    </a:moveTo>
                    <a:cubicBezTo>
                      <a:pt x="31" y="40"/>
                      <a:pt x="34" y="40"/>
                      <a:pt x="34" y="4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0" y="41"/>
                      <a:pt x="30" y="41"/>
                      <a:pt x="30" y="41"/>
                    </a:cubicBezTo>
                    <a:close/>
                    <a:moveTo>
                      <a:pt x="28" y="38"/>
                    </a:moveTo>
                    <a:cubicBezTo>
                      <a:pt x="33" y="38"/>
                      <a:pt x="33" y="38"/>
                      <a:pt x="33" y="38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28" y="38"/>
                      <a:pt x="28" y="38"/>
                      <a:pt x="28" y="38"/>
                    </a:cubicBezTo>
                    <a:close/>
                    <a:moveTo>
                      <a:pt x="28" y="36"/>
                    </a:move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8" y="36"/>
                      <a:pt x="28" y="36"/>
                      <a:pt x="28" y="36"/>
                    </a:cubicBezTo>
                    <a:close/>
                    <a:moveTo>
                      <a:pt x="15" y="23"/>
                    </a:moveTo>
                    <a:cubicBezTo>
                      <a:pt x="16" y="24"/>
                      <a:pt x="16" y="24"/>
                      <a:pt x="16" y="24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5" y="23"/>
                      <a:pt x="15" y="23"/>
                      <a:pt x="15" y="23"/>
                    </a:cubicBezTo>
                    <a:close/>
                    <a:moveTo>
                      <a:pt x="13" y="21"/>
                    </a:moveTo>
                    <a:cubicBezTo>
                      <a:pt x="15" y="23"/>
                      <a:pt x="15" y="23"/>
                      <a:pt x="15" y="23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1"/>
                      <a:pt x="13" y="21"/>
                      <a:pt x="13" y="21"/>
                    </a:cubicBezTo>
                    <a:close/>
                    <a:moveTo>
                      <a:pt x="13" y="27"/>
                    </a:move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3" y="27"/>
                      <a:pt x="13" y="27"/>
                      <a:pt x="13" y="27"/>
                    </a:cubicBezTo>
                    <a:close/>
                    <a:moveTo>
                      <a:pt x="11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4"/>
                      <a:pt x="11" y="24"/>
                      <a:pt x="11" y="24"/>
                    </a:cubicBezTo>
                    <a:close/>
                    <a:moveTo>
                      <a:pt x="8" y="18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8" y="18"/>
                      <a:pt x="8" y="18"/>
                      <a:pt x="8" y="18"/>
                    </a:cubicBezTo>
                    <a:close/>
                    <a:moveTo>
                      <a:pt x="9" y="14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9" y="14"/>
                      <a:pt x="9" y="1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7" name="Freeform 208">
                <a:extLst>
                  <a:ext uri="{FF2B5EF4-FFF2-40B4-BE49-F238E27FC236}">
                    <a16:creationId xmlns:a16="http://schemas.microsoft.com/office/drawing/2014/main" xmlns="" id="{C26C002B-05F0-4507-858C-196B1F88F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6" y="1266"/>
                <a:ext cx="59" cy="53"/>
              </a:xfrm>
              <a:custGeom>
                <a:avLst/>
                <a:gdLst>
                  <a:gd name="T0" fmla="*/ 31 w 59"/>
                  <a:gd name="T1" fmla="*/ 44 h 53"/>
                  <a:gd name="T2" fmla="*/ 8 w 59"/>
                  <a:gd name="T3" fmla="*/ 22 h 53"/>
                  <a:gd name="T4" fmla="*/ 8 w 59"/>
                  <a:gd name="T5" fmla="*/ 18 h 53"/>
                  <a:gd name="T6" fmla="*/ 5 w 59"/>
                  <a:gd name="T7" fmla="*/ 12 h 53"/>
                  <a:gd name="T8" fmla="*/ 0 w 59"/>
                  <a:gd name="T9" fmla="*/ 8 h 53"/>
                  <a:gd name="T10" fmla="*/ 2 w 59"/>
                  <a:gd name="T11" fmla="*/ 5 h 53"/>
                  <a:gd name="T12" fmla="*/ 3 w 59"/>
                  <a:gd name="T13" fmla="*/ 0 h 53"/>
                  <a:gd name="T14" fmla="*/ 8 w 59"/>
                  <a:gd name="T15" fmla="*/ 5 h 53"/>
                  <a:gd name="T16" fmla="*/ 10 w 59"/>
                  <a:gd name="T17" fmla="*/ 2 h 53"/>
                  <a:gd name="T18" fmla="*/ 15 w 59"/>
                  <a:gd name="T19" fmla="*/ 2 h 53"/>
                  <a:gd name="T20" fmla="*/ 18 w 59"/>
                  <a:gd name="T21" fmla="*/ 2 h 53"/>
                  <a:gd name="T22" fmla="*/ 23 w 59"/>
                  <a:gd name="T23" fmla="*/ 0 h 53"/>
                  <a:gd name="T24" fmla="*/ 26 w 59"/>
                  <a:gd name="T25" fmla="*/ 2 h 53"/>
                  <a:gd name="T26" fmla="*/ 33 w 59"/>
                  <a:gd name="T27" fmla="*/ 2 h 53"/>
                  <a:gd name="T28" fmla="*/ 36 w 59"/>
                  <a:gd name="T29" fmla="*/ 2 h 53"/>
                  <a:gd name="T30" fmla="*/ 43 w 59"/>
                  <a:gd name="T31" fmla="*/ 4 h 53"/>
                  <a:gd name="T32" fmla="*/ 49 w 59"/>
                  <a:gd name="T33" fmla="*/ 7 h 53"/>
                  <a:gd name="T34" fmla="*/ 52 w 59"/>
                  <a:gd name="T35" fmla="*/ 7 h 53"/>
                  <a:gd name="T36" fmla="*/ 54 w 59"/>
                  <a:gd name="T37" fmla="*/ 12 h 53"/>
                  <a:gd name="T38" fmla="*/ 51 w 59"/>
                  <a:gd name="T39" fmla="*/ 18 h 53"/>
                  <a:gd name="T40" fmla="*/ 57 w 59"/>
                  <a:gd name="T41" fmla="*/ 22 h 53"/>
                  <a:gd name="T42" fmla="*/ 59 w 59"/>
                  <a:gd name="T43" fmla="*/ 26 h 53"/>
                  <a:gd name="T44" fmla="*/ 54 w 59"/>
                  <a:gd name="T45" fmla="*/ 25 h 53"/>
                  <a:gd name="T46" fmla="*/ 57 w 59"/>
                  <a:gd name="T47" fmla="*/ 33 h 53"/>
                  <a:gd name="T48" fmla="*/ 54 w 59"/>
                  <a:gd name="T49" fmla="*/ 35 h 53"/>
                  <a:gd name="T50" fmla="*/ 49 w 59"/>
                  <a:gd name="T51" fmla="*/ 33 h 53"/>
                  <a:gd name="T52" fmla="*/ 52 w 59"/>
                  <a:gd name="T53" fmla="*/ 38 h 53"/>
                  <a:gd name="T54" fmla="*/ 51 w 59"/>
                  <a:gd name="T55" fmla="*/ 41 h 53"/>
                  <a:gd name="T56" fmla="*/ 48 w 59"/>
                  <a:gd name="T57" fmla="*/ 44 h 53"/>
                  <a:gd name="T58" fmla="*/ 44 w 59"/>
                  <a:gd name="T59" fmla="*/ 53 h 53"/>
                  <a:gd name="T60" fmla="*/ 39 w 59"/>
                  <a:gd name="T61" fmla="*/ 48 h 53"/>
                  <a:gd name="T62" fmla="*/ 33 w 59"/>
                  <a:gd name="T63" fmla="*/ 48 h 53"/>
                  <a:gd name="T64" fmla="*/ 30 w 59"/>
                  <a:gd name="T65" fmla="*/ 4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9" h="53">
                    <a:moveTo>
                      <a:pt x="30" y="48"/>
                    </a:moveTo>
                    <a:lnTo>
                      <a:pt x="31" y="44"/>
                    </a:lnTo>
                    <a:lnTo>
                      <a:pt x="20" y="33"/>
                    </a:lnTo>
                    <a:lnTo>
                      <a:pt x="8" y="22"/>
                    </a:lnTo>
                    <a:lnTo>
                      <a:pt x="7" y="18"/>
                    </a:lnTo>
                    <a:lnTo>
                      <a:pt x="8" y="18"/>
                    </a:lnTo>
                    <a:lnTo>
                      <a:pt x="7" y="15"/>
                    </a:lnTo>
                    <a:lnTo>
                      <a:pt x="5" y="12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5" y="4"/>
                    </a:lnTo>
                    <a:lnTo>
                      <a:pt x="26" y="2"/>
                    </a:lnTo>
                    <a:lnTo>
                      <a:pt x="30" y="4"/>
                    </a:lnTo>
                    <a:lnTo>
                      <a:pt x="33" y="2"/>
                    </a:lnTo>
                    <a:lnTo>
                      <a:pt x="33" y="4"/>
                    </a:lnTo>
                    <a:lnTo>
                      <a:pt x="36" y="2"/>
                    </a:lnTo>
                    <a:lnTo>
                      <a:pt x="39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49" y="7"/>
                    </a:lnTo>
                    <a:lnTo>
                      <a:pt x="51" y="8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1" y="17"/>
                    </a:lnTo>
                    <a:lnTo>
                      <a:pt x="51" y="18"/>
                    </a:lnTo>
                    <a:lnTo>
                      <a:pt x="56" y="22"/>
                    </a:lnTo>
                    <a:lnTo>
                      <a:pt x="57" y="22"/>
                    </a:lnTo>
                    <a:lnTo>
                      <a:pt x="59" y="25"/>
                    </a:lnTo>
                    <a:lnTo>
                      <a:pt x="59" y="26"/>
                    </a:lnTo>
                    <a:lnTo>
                      <a:pt x="56" y="25"/>
                    </a:lnTo>
                    <a:lnTo>
                      <a:pt x="54" y="25"/>
                    </a:lnTo>
                    <a:lnTo>
                      <a:pt x="54" y="30"/>
                    </a:lnTo>
                    <a:lnTo>
                      <a:pt x="57" y="33"/>
                    </a:lnTo>
                    <a:lnTo>
                      <a:pt x="56" y="35"/>
                    </a:lnTo>
                    <a:lnTo>
                      <a:pt x="54" y="35"/>
                    </a:lnTo>
                    <a:lnTo>
                      <a:pt x="51" y="31"/>
                    </a:lnTo>
                    <a:lnTo>
                      <a:pt x="49" y="33"/>
                    </a:lnTo>
                    <a:lnTo>
                      <a:pt x="49" y="35"/>
                    </a:lnTo>
                    <a:lnTo>
                      <a:pt x="52" y="38"/>
                    </a:lnTo>
                    <a:lnTo>
                      <a:pt x="52" y="40"/>
                    </a:lnTo>
                    <a:lnTo>
                      <a:pt x="51" y="41"/>
                    </a:lnTo>
                    <a:lnTo>
                      <a:pt x="48" y="41"/>
                    </a:lnTo>
                    <a:lnTo>
                      <a:pt x="48" y="44"/>
                    </a:lnTo>
                    <a:lnTo>
                      <a:pt x="46" y="49"/>
                    </a:lnTo>
                    <a:lnTo>
                      <a:pt x="44" y="53"/>
                    </a:lnTo>
                    <a:lnTo>
                      <a:pt x="43" y="53"/>
                    </a:lnTo>
                    <a:lnTo>
                      <a:pt x="39" y="48"/>
                    </a:lnTo>
                    <a:lnTo>
                      <a:pt x="38" y="49"/>
                    </a:lnTo>
                    <a:lnTo>
                      <a:pt x="33" y="48"/>
                    </a:lnTo>
                    <a:lnTo>
                      <a:pt x="30" y="48"/>
                    </a:lnTo>
                    <a:lnTo>
                      <a:pt x="30" y="4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8" name="Freeform 209">
                <a:extLst>
                  <a:ext uri="{FF2B5EF4-FFF2-40B4-BE49-F238E27FC236}">
                    <a16:creationId xmlns:a16="http://schemas.microsoft.com/office/drawing/2014/main" xmlns="" id="{F8D9D9EA-DC9A-42D1-9610-5E46D546F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" y="1235"/>
                <a:ext cx="46" cy="30"/>
              </a:xfrm>
              <a:custGeom>
                <a:avLst/>
                <a:gdLst>
                  <a:gd name="T0" fmla="*/ 2 w 46"/>
                  <a:gd name="T1" fmla="*/ 30 h 30"/>
                  <a:gd name="T2" fmla="*/ 7 w 46"/>
                  <a:gd name="T3" fmla="*/ 30 h 30"/>
                  <a:gd name="T4" fmla="*/ 10 w 46"/>
                  <a:gd name="T5" fmla="*/ 26 h 30"/>
                  <a:gd name="T6" fmla="*/ 14 w 46"/>
                  <a:gd name="T7" fmla="*/ 26 h 30"/>
                  <a:gd name="T8" fmla="*/ 20 w 46"/>
                  <a:gd name="T9" fmla="*/ 28 h 30"/>
                  <a:gd name="T10" fmla="*/ 23 w 46"/>
                  <a:gd name="T11" fmla="*/ 28 h 30"/>
                  <a:gd name="T12" fmla="*/ 25 w 46"/>
                  <a:gd name="T13" fmla="*/ 23 h 30"/>
                  <a:gd name="T14" fmla="*/ 30 w 46"/>
                  <a:gd name="T15" fmla="*/ 20 h 30"/>
                  <a:gd name="T16" fmla="*/ 30 w 46"/>
                  <a:gd name="T17" fmla="*/ 17 h 30"/>
                  <a:gd name="T18" fmla="*/ 40 w 46"/>
                  <a:gd name="T19" fmla="*/ 12 h 30"/>
                  <a:gd name="T20" fmla="*/ 46 w 46"/>
                  <a:gd name="T21" fmla="*/ 12 h 30"/>
                  <a:gd name="T22" fmla="*/ 46 w 46"/>
                  <a:gd name="T23" fmla="*/ 5 h 30"/>
                  <a:gd name="T24" fmla="*/ 41 w 46"/>
                  <a:gd name="T25" fmla="*/ 0 h 30"/>
                  <a:gd name="T26" fmla="*/ 38 w 46"/>
                  <a:gd name="T27" fmla="*/ 2 h 30"/>
                  <a:gd name="T28" fmla="*/ 32 w 46"/>
                  <a:gd name="T29" fmla="*/ 5 h 30"/>
                  <a:gd name="T30" fmla="*/ 30 w 46"/>
                  <a:gd name="T31" fmla="*/ 5 h 30"/>
                  <a:gd name="T32" fmla="*/ 27 w 46"/>
                  <a:gd name="T33" fmla="*/ 5 h 30"/>
                  <a:gd name="T34" fmla="*/ 23 w 46"/>
                  <a:gd name="T35" fmla="*/ 7 h 30"/>
                  <a:gd name="T36" fmla="*/ 20 w 46"/>
                  <a:gd name="T37" fmla="*/ 7 h 30"/>
                  <a:gd name="T38" fmla="*/ 17 w 46"/>
                  <a:gd name="T39" fmla="*/ 8 h 30"/>
                  <a:gd name="T40" fmla="*/ 14 w 46"/>
                  <a:gd name="T41" fmla="*/ 7 h 30"/>
                  <a:gd name="T42" fmla="*/ 7 w 46"/>
                  <a:gd name="T43" fmla="*/ 7 h 30"/>
                  <a:gd name="T44" fmla="*/ 4 w 46"/>
                  <a:gd name="T45" fmla="*/ 7 h 30"/>
                  <a:gd name="T46" fmla="*/ 0 w 46"/>
                  <a:gd name="T47" fmla="*/ 12 h 30"/>
                  <a:gd name="T48" fmla="*/ 2 w 46"/>
                  <a:gd name="T49" fmla="*/ 13 h 30"/>
                  <a:gd name="T50" fmla="*/ 0 w 46"/>
                  <a:gd name="T51" fmla="*/ 17 h 30"/>
                  <a:gd name="T52" fmla="*/ 0 w 46"/>
                  <a:gd name="T53" fmla="*/ 23 h 30"/>
                  <a:gd name="T54" fmla="*/ 0 w 46"/>
                  <a:gd name="T55" fmla="*/ 23 h 30"/>
                  <a:gd name="T56" fmla="*/ 4 w 46"/>
                  <a:gd name="T57" fmla="*/ 25 h 30"/>
                  <a:gd name="T58" fmla="*/ 4 w 46"/>
                  <a:gd name="T59" fmla="*/ 26 h 30"/>
                  <a:gd name="T60" fmla="*/ 2 w 46"/>
                  <a:gd name="T61" fmla="*/ 28 h 30"/>
                  <a:gd name="T62" fmla="*/ 2 w 46"/>
                  <a:gd name="T6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" h="30">
                    <a:moveTo>
                      <a:pt x="2" y="30"/>
                    </a:moveTo>
                    <a:lnTo>
                      <a:pt x="7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20" y="28"/>
                    </a:lnTo>
                    <a:lnTo>
                      <a:pt x="23" y="28"/>
                    </a:lnTo>
                    <a:lnTo>
                      <a:pt x="25" y="23"/>
                    </a:lnTo>
                    <a:lnTo>
                      <a:pt x="30" y="20"/>
                    </a:lnTo>
                    <a:lnTo>
                      <a:pt x="30" y="17"/>
                    </a:lnTo>
                    <a:lnTo>
                      <a:pt x="40" y="12"/>
                    </a:lnTo>
                    <a:lnTo>
                      <a:pt x="46" y="12"/>
                    </a:lnTo>
                    <a:lnTo>
                      <a:pt x="46" y="5"/>
                    </a:lnTo>
                    <a:lnTo>
                      <a:pt x="41" y="0"/>
                    </a:lnTo>
                    <a:lnTo>
                      <a:pt x="38" y="2"/>
                    </a:lnTo>
                    <a:lnTo>
                      <a:pt x="32" y="5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3" y="7"/>
                    </a:lnTo>
                    <a:lnTo>
                      <a:pt x="20" y="7"/>
                    </a:lnTo>
                    <a:lnTo>
                      <a:pt x="17" y="8"/>
                    </a:lnTo>
                    <a:lnTo>
                      <a:pt x="14" y="7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" y="25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9" name="Freeform 210">
                <a:extLst>
                  <a:ext uri="{FF2B5EF4-FFF2-40B4-BE49-F238E27FC236}">
                    <a16:creationId xmlns:a16="http://schemas.microsoft.com/office/drawing/2014/main" xmlns="" id="{F6BADF63-6EC8-415F-B492-8DF235D20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1190"/>
                <a:ext cx="109" cy="53"/>
              </a:xfrm>
              <a:custGeom>
                <a:avLst/>
                <a:gdLst>
                  <a:gd name="T0" fmla="*/ 67 w 109"/>
                  <a:gd name="T1" fmla="*/ 52 h 53"/>
                  <a:gd name="T2" fmla="*/ 77 w 109"/>
                  <a:gd name="T3" fmla="*/ 53 h 53"/>
                  <a:gd name="T4" fmla="*/ 83 w 109"/>
                  <a:gd name="T5" fmla="*/ 52 h 53"/>
                  <a:gd name="T6" fmla="*/ 90 w 109"/>
                  <a:gd name="T7" fmla="*/ 50 h 53"/>
                  <a:gd name="T8" fmla="*/ 98 w 109"/>
                  <a:gd name="T9" fmla="*/ 47 h 53"/>
                  <a:gd name="T10" fmla="*/ 105 w 109"/>
                  <a:gd name="T11" fmla="*/ 42 h 53"/>
                  <a:gd name="T12" fmla="*/ 103 w 109"/>
                  <a:gd name="T13" fmla="*/ 35 h 53"/>
                  <a:gd name="T14" fmla="*/ 101 w 109"/>
                  <a:gd name="T15" fmla="*/ 29 h 53"/>
                  <a:gd name="T16" fmla="*/ 109 w 109"/>
                  <a:gd name="T17" fmla="*/ 27 h 53"/>
                  <a:gd name="T18" fmla="*/ 109 w 109"/>
                  <a:gd name="T19" fmla="*/ 21 h 53"/>
                  <a:gd name="T20" fmla="*/ 109 w 109"/>
                  <a:gd name="T21" fmla="*/ 6 h 53"/>
                  <a:gd name="T22" fmla="*/ 100 w 109"/>
                  <a:gd name="T23" fmla="*/ 3 h 53"/>
                  <a:gd name="T24" fmla="*/ 92 w 109"/>
                  <a:gd name="T25" fmla="*/ 4 h 53"/>
                  <a:gd name="T26" fmla="*/ 82 w 109"/>
                  <a:gd name="T27" fmla="*/ 1 h 53"/>
                  <a:gd name="T28" fmla="*/ 77 w 109"/>
                  <a:gd name="T29" fmla="*/ 3 h 53"/>
                  <a:gd name="T30" fmla="*/ 75 w 109"/>
                  <a:gd name="T31" fmla="*/ 6 h 53"/>
                  <a:gd name="T32" fmla="*/ 69 w 109"/>
                  <a:gd name="T33" fmla="*/ 8 h 53"/>
                  <a:gd name="T34" fmla="*/ 59 w 109"/>
                  <a:gd name="T35" fmla="*/ 3 h 53"/>
                  <a:gd name="T36" fmla="*/ 59 w 109"/>
                  <a:gd name="T37" fmla="*/ 9 h 53"/>
                  <a:gd name="T38" fmla="*/ 54 w 109"/>
                  <a:gd name="T39" fmla="*/ 13 h 53"/>
                  <a:gd name="T40" fmla="*/ 47 w 109"/>
                  <a:gd name="T41" fmla="*/ 21 h 53"/>
                  <a:gd name="T42" fmla="*/ 51 w 109"/>
                  <a:gd name="T43" fmla="*/ 24 h 53"/>
                  <a:gd name="T44" fmla="*/ 49 w 109"/>
                  <a:gd name="T45" fmla="*/ 29 h 53"/>
                  <a:gd name="T46" fmla="*/ 43 w 109"/>
                  <a:gd name="T47" fmla="*/ 27 h 53"/>
                  <a:gd name="T48" fmla="*/ 36 w 109"/>
                  <a:gd name="T49" fmla="*/ 27 h 53"/>
                  <a:gd name="T50" fmla="*/ 28 w 109"/>
                  <a:gd name="T51" fmla="*/ 31 h 53"/>
                  <a:gd name="T52" fmla="*/ 23 w 109"/>
                  <a:gd name="T53" fmla="*/ 31 h 53"/>
                  <a:gd name="T54" fmla="*/ 16 w 109"/>
                  <a:gd name="T55" fmla="*/ 29 h 53"/>
                  <a:gd name="T56" fmla="*/ 13 w 109"/>
                  <a:gd name="T57" fmla="*/ 31 h 53"/>
                  <a:gd name="T58" fmla="*/ 8 w 109"/>
                  <a:gd name="T59" fmla="*/ 32 h 53"/>
                  <a:gd name="T60" fmla="*/ 3 w 109"/>
                  <a:gd name="T61" fmla="*/ 31 h 53"/>
                  <a:gd name="T62" fmla="*/ 0 w 109"/>
                  <a:gd name="T63" fmla="*/ 31 h 53"/>
                  <a:gd name="T64" fmla="*/ 2 w 109"/>
                  <a:gd name="T65" fmla="*/ 35 h 53"/>
                  <a:gd name="T66" fmla="*/ 3 w 109"/>
                  <a:gd name="T67" fmla="*/ 39 h 53"/>
                  <a:gd name="T68" fmla="*/ 8 w 109"/>
                  <a:gd name="T69" fmla="*/ 39 h 53"/>
                  <a:gd name="T70" fmla="*/ 13 w 109"/>
                  <a:gd name="T71" fmla="*/ 39 h 53"/>
                  <a:gd name="T72" fmla="*/ 18 w 109"/>
                  <a:gd name="T73" fmla="*/ 42 h 53"/>
                  <a:gd name="T74" fmla="*/ 23 w 109"/>
                  <a:gd name="T75" fmla="*/ 44 h 53"/>
                  <a:gd name="T76" fmla="*/ 34 w 109"/>
                  <a:gd name="T77" fmla="*/ 40 h 53"/>
                  <a:gd name="T78" fmla="*/ 39 w 109"/>
                  <a:gd name="T79" fmla="*/ 44 h 53"/>
                  <a:gd name="T80" fmla="*/ 57 w 109"/>
                  <a:gd name="T81" fmla="*/ 50 h 53"/>
                  <a:gd name="T82" fmla="*/ 64 w 109"/>
                  <a:gd name="T83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9" h="53">
                    <a:moveTo>
                      <a:pt x="64" y="52"/>
                    </a:moveTo>
                    <a:lnTo>
                      <a:pt x="67" y="52"/>
                    </a:lnTo>
                    <a:lnTo>
                      <a:pt x="74" y="52"/>
                    </a:lnTo>
                    <a:lnTo>
                      <a:pt x="77" y="53"/>
                    </a:lnTo>
                    <a:lnTo>
                      <a:pt x="80" y="52"/>
                    </a:lnTo>
                    <a:lnTo>
                      <a:pt x="83" y="52"/>
                    </a:lnTo>
                    <a:lnTo>
                      <a:pt x="87" y="50"/>
                    </a:lnTo>
                    <a:lnTo>
                      <a:pt x="90" y="50"/>
                    </a:lnTo>
                    <a:lnTo>
                      <a:pt x="92" y="50"/>
                    </a:lnTo>
                    <a:lnTo>
                      <a:pt x="98" y="47"/>
                    </a:lnTo>
                    <a:lnTo>
                      <a:pt x="103" y="45"/>
                    </a:lnTo>
                    <a:lnTo>
                      <a:pt x="105" y="42"/>
                    </a:lnTo>
                    <a:lnTo>
                      <a:pt x="103" y="39"/>
                    </a:lnTo>
                    <a:lnTo>
                      <a:pt x="103" y="35"/>
                    </a:lnTo>
                    <a:lnTo>
                      <a:pt x="105" y="32"/>
                    </a:lnTo>
                    <a:lnTo>
                      <a:pt x="101" y="29"/>
                    </a:lnTo>
                    <a:lnTo>
                      <a:pt x="103" y="27"/>
                    </a:lnTo>
                    <a:lnTo>
                      <a:pt x="109" y="27"/>
                    </a:lnTo>
                    <a:lnTo>
                      <a:pt x="109" y="24"/>
                    </a:lnTo>
                    <a:lnTo>
                      <a:pt x="109" y="21"/>
                    </a:lnTo>
                    <a:lnTo>
                      <a:pt x="108" y="13"/>
                    </a:lnTo>
                    <a:lnTo>
                      <a:pt x="109" y="6"/>
                    </a:lnTo>
                    <a:lnTo>
                      <a:pt x="103" y="4"/>
                    </a:lnTo>
                    <a:lnTo>
                      <a:pt x="100" y="3"/>
                    </a:lnTo>
                    <a:lnTo>
                      <a:pt x="96" y="4"/>
                    </a:lnTo>
                    <a:lnTo>
                      <a:pt x="92" y="4"/>
                    </a:lnTo>
                    <a:lnTo>
                      <a:pt x="87" y="1"/>
                    </a:lnTo>
                    <a:lnTo>
                      <a:pt x="82" y="1"/>
                    </a:lnTo>
                    <a:lnTo>
                      <a:pt x="78" y="0"/>
                    </a:lnTo>
                    <a:lnTo>
                      <a:pt x="77" y="3"/>
                    </a:lnTo>
                    <a:lnTo>
                      <a:pt x="75" y="4"/>
                    </a:lnTo>
                    <a:lnTo>
                      <a:pt x="75" y="6"/>
                    </a:lnTo>
                    <a:lnTo>
                      <a:pt x="70" y="6"/>
                    </a:lnTo>
                    <a:lnTo>
                      <a:pt x="69" y="8"/>
                    </a:lnTo>
                    <a:lnTo>
                      <a:pt x="62" y="4"/>
                    </a:lnTo>
                    <a:lnTo>
                      <a:pt x="59" y="3"/>
                    </a:lnTo>
                    <a:lnTo>
                      <a:pt x="59" y="6"/>
                    </a:lnTo>
                    <a:lnTo>
                      <a:pt x="59" y="9"/>
                    </a:lnTo>
                    <a:lnTo>
                      <a:pt x="56" y="9"/>
                    </a:lnTo>
                    <a:lnTo>
                      <a:pt x="54" y="13"/>
                    </a:lnTo>
                    <a:lnTo>
                      <a:pt x="51" y="14"/>
                    </a:lnTo>
                    <a:lnTo>
                      <a:pt x="47" y="21"/>
                    </a:lnTo>
                    <a:lnTo>
                      <a:pt x="47" y="22"/>
                    </a:lnTo>
                    <a:lnTo>
                      <a:pt x="51" y="24"/>
                    </a:lnTo>
                    <a:lnTo>
                      <a:pt x="51" y="27"/>
                    </a:lnTo>
                    <a:lnTo>
                      <a:pt x="49" y="29"/>
                    </a:lnTo>
                    <a:lnTo>
                      <a:pt x="46" y="26"/>
                    </a:lnTo>
                    <a:lnTo>
                      <a:pt x="43" y="27"/>
                    </a:lnTo>
                    <a:lnTo>
                      <a:pt x="39" y="26"/>
                    </a:lnTo>
                    <a:lnTo>
                      <a:pt x="36" y="27"/>
                    </a:lnTo>
                    <a:lnTo>
                      <a:pt x="31" y="31"/>
                    </a:lnTo>
                    <a:lnTo>
                      <a:pt x="28" y="31"/>
                    </a:lnTo>
                    <a:lnTo>
                      <a:pt x="26" y="31"/>
                    </a:lnTo>
                    <a:lnTo>
                      <a:pt x="23" y="31"/>
                    </a:lnTo>
                    <a:lnTo>
                      <a:pt x="21" y="29"/>
                    </a:lnTo>
                    <a:lnTo>
                      <a:pt x="16" y="29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1" y="32"/>
                    </a:lnTo>
                    <a:lnTo>
                      <a:pt x="8" y="32"/>
                    </a:lnTo>
                    <a:lnTo>
                      <a:pt x="5" y="29"/>
                    </a:lnTo>
                    <a:lnTo>
                      <a:pt x="3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2" y="32"/>
                    </a:lnTo>
                    <a:lnTo>
                      <a:pt x="2" y="35"/>
                    </a:lnTo>
                    <a:lnTo>
                      <a:pt x="3" y="35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8" y="39"/>
                    </a:lnTo>
                    <a:lnTo>
                      <a:pt x="11" y="42"/>
                    </a:lnTo>
                    <a:lnTo>
                      <a:pt x="13" y="39"/>
                    </a:lnTo>
                    <a:lnTo>
                      <a:pt x="16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3" y="44"/>
                    </a:lnTo>
                    <a:lnTo>
                      <a:pt x="31" y="39"/>
                    </a:lnTo>
                    <a:lnTo>
                      <a:pt x="34" y="40"/>
                    </a:lnTo>
                    <a:lnTo>
                      <a:pt x="41" y="40"/>
                    </a:lnTo>
                    <a:lnTo>
                      <a:pt x="39" y="44"/>
                    </a:lnTo>
                    <a:lnTo>
                      <a:pt x="47" y="47"/>
                    </a:lnTo>
                    <a:lnTo>
                      <a:pt x="57" y="50"/>
                    </a:lnTo>
                    <a:lnTo>
                      <a:pt x="62" y="49"/>
                    </a:lnTo>
                    <a:lnTo>
                      <a:pt x="64" y="52"/>
                    </a:lnTo>
                    <a:lnTo>
                      <a:pt x="64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1" name="Freeform 211">
                <a:extLst>
                  <a:ext uri="{FF2B5EF4-FFF2-40B4-BE49-F238E27FC236}">
                    <a16:creationId xmlns:a16="http://schemas.microsoft.com/office/drawing/2014/main" xmlns="" id="{16F16860-99E3-495F-8E47-579CBCB70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6" y="1147"/>
                <a:ext cx="116" cy="51"/>
              </a:xfrm>
              <a:custGeom>
                <a:avLst/>
                <a:gdLst>
                  <a:gd name="T0" fmla="*/ 44 w 116"/>
                  <a:gd name="T1" fmla="*/ 3 h 51"/>
                  <a:gd name="T2" fmla="*/ 47 w 116"/>
                  <a:gd name="T3" fmla="*/ 2 h 51"/>
                  <a:gd name="T4" fmla="*/ 55 w 116"/>
                  <a:gd name="T5" fmla="*/ 2 h 51"/>
                  <a:gd name="T6" fmla="*/ 59 w 116"/>
                  <a:gd name="T7" fmla="*/ 7 h 51"/>
                  <a:gd name="T8" fmla="*/ 63 w 116"/>
                  <a:gd name="T9" fmla="*/ 8 h 51"/>
                  <a:gd name="T10" fmla="*/ 62 w 116"/>
                  <a:gd name="T11" fmla="*/ 13 h 51"/>
                  <a:gd name="T12" fmla="*/ 63 w 116"/>
                  <a:gd name="T13" fmla="*/ 18 h 51"/>
                  <a:gd name="T14" fmla="*/ 67 w 116"/>
                  <a:gd name="T15" fmla="*/ 16 h 51"/>
                  <a:gd name="T16" fmla="*/ 65 w 116"/>
                  <a:gd name="T17" fmla="*/ 11 h 51"/>
                  <a:gd name="T18" fmla="*/ 75 w 116"/>
                  <a:gd name="T19" fmla="*/ 15 h 51"/>
                  <a:gd name="T20" fmla="*/ 78 w 116"/>
                  <a:gd name="T21" fmla="*/ 18 h 51"/>
                  <a:gd name="T22" fmla="*/ 88 w 116"/>
                  <a:gd name="T23" fmla="*/ 18 h 51"/>
                  <a:gd name="T24" fmla="*/ 103 w 116"/>
                  <a:gd name="T25" fmla="*/ 28 h 51"/>
                  <a:gd name="T26" fmla="*/ 108 w 116"/>
                  <a:gd name="T27" fmla="*/ 33 h 51"/>
                  <a:gd name="T28" fmla="*/ 112 w 116"/>
                  <a:gd name="T29" fmla="*/ 31 h 51"/>
                  <a:gd name="T30" fmla="*/ 116 w 116"/>
                  <a:gd name="T31" fmla="*/ 38 h 51"/>
                  <a:gd name="T32" fmla="*/ 106 w 116"/>
                  <a:gd name="T33" fmla="*/ 41 h 51"/>
                  <a:gd name="T34" fmla="*/ 98 w 116"/>
                  <a:gd name="T35" fmla="*/ 46 h 51"/>
                  <a:gd name="T36" fmla="*/ 85 w 116"/>
                  <a:gd name="T37" fmla="*/ 49 h 51"/>
                  <a:gd name="T38" fmla="*/ 80 w 116"/>
                  <a:gd name="T39" fmla="*/ 47 h 51"/>
                  <a:gd name="T40" fmla="*/ 70 w 116"/>
                  <a:gd name="T41" fmla="*/ 47 h 51"/>
                  <a:gd name="T42" fmla="*/ 63 w 116"/>
                  <a:gd name="T43" fmla="*/ 47 h 51"/>
                  <a:gd name="T44" fmla="*/ 54 w 116"/>
                  <a:gd name="T45" fmla="*/ 44 h 51"/>
                  <a:gd name="T46" fmla="*/ 45 w 116"/>
                  <a:gd name="T47" fmla="*/ 43 h 51"/>
                  <a:gd name="T48" fmla="*/ 42 w 116"/>
                  <a:gd name="T49" fmla="*/ 47 h 51"/>
                  <a:gd name="T50" fmla="*/ 37 w 116"/>
                  <a:gd name="T51" fmla="*/ 49 h 51"/>
                  <a:gd name="T52" fmla="*/ 29 w 116"/>
                  <a:gd name="T53" fmla="*/ 47 h 51"/>
                  <a:gd name="T54" fmla="*/ 26 w 116"/>
                  <a:gd name="T55" fmla="*/ 46 h 51"/>
                  <a:gd name="T56" fmla="*/ 16 w 116"/>
                  <a:gd name="T57" fmla="*/ 38 h 51"/>
                  <a:gd name="T58" fmla="*/ 8 w 116"/>
                  <a:gd name="T59" fmla="*/ 31 h 51"/>
                  <a:gd name="T60" fmla="*/ 8 w 116"/>
                  <a:gd name="T61" fmla="*/ 25 h 51"/>
                  <a:gd name="T62" fmla="*/ 0 w 116"/>
                  <a:gd name="T63" fmla="*/ 16 h 51"/>
                  <a:gd name="T64" fmla="*/ 1 w 116"/>
                  <a:gd name="T65" fmla="*/ 13 h 51"/>
                  <a:gd name="T66" fmla="*/ 6 w 116"/>
                  <a:gd name="T67" fmla="*/ 16 h 51"/>
                  <a:gd name="T68" fmla="*/ 14 w 116"/>
                  <a:gd name="T69" fmla="*/ 11 h 51"/>
                  <a:gd name="T70" fmla="*/ 21 w 116"/>
                  <a:gd name="T71" fmla="*/ 7 h 51"/>
                  <a:gd name="T72" fmla="*/ 27 w 116"/>
                  <a:gd name="T73" fmla="*/ 5 h 51"/>
                  <a:gd name="T74" fmla="*/ 32 w 116"/>
                  <a:gd name="T75" fmla="*/ 3 h 51"/>
                  <a:gd name="T76" fmla="*/ 37 w 116"/>
                  <a:gd name="T77" fmla="*/ 2 h 51"/>
                  <a:gd name="T78" fmla="*/ 42 w 116"/>
                  <a:gd name="T79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6" h="51">
                    <a:moveTo>
                      <a:pt x="42" y="0"/>
                    </a:moveTo>
                    <a:lnTo>
                      <a:pt x="44" y="3"/>
                    </a:lnTo>
                    <a:lnTo>
                      <a:pt x="44" y="2"/>
                    </a:lnTo>
                    <a:lnTo>
                      <a:pt x="47" y="2"/>
                    </a:lnTo>
                    <a:lnTo>
                      <a:pt x="49" y="2"/>
                    </a:lnTo>
                    <a:lnTo>
                      <a:pt x="55" y="2"/>
                    </a:lnTo>
                    <a:lnTo>
                      <a:pt x="55" y="3"/>
                    </a:lnTo>
                    <a:lnTo>
                      <a:pt x="59" y="7"/>
                    </a:lnTo>
                    <a:lnTo>
                      <a:pt x="60" y="7"/>
                    </a:lnTo>
                    <a:lnTo>
                      <a:pt x="63" y="8"/>
                    </a:lnTo>
                    <a:lnTo>
                      <a:pt x="62" y="11"/>
                    </a:lnTo>
                    <a:lnTo>
                      <a:pt x="62" y="13"/>
                    </a:lnTo>
                    <a:lnTo>
                      <a:pt x="63" y="15"/>
                    </a:lnTo>
                    <a:lnTo>
                      <a:pt x="63" y="18"/>
                    </a:lnTo>
                    <a:lnTo>
                      <a:pt x="65" y="18"/>
                    </a:lnTo>
                    <a:lnTo>
                      <a:pt x="67" y="16"/>
                    </a:lnTo>
                    <a:lnTo>
                      <a:pt x="68" y="16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75" y="15"/>
                    </a:lnTo>
                    <a:lnTo>
                      <a:pt x="80" y="15"/>
                    </a:lnTo>
                    <a:lnTo>
                      <a:pt x="78" y="18"/>
                    </a:lnTo>
                    <a:lnTo>
                      <a:pt x="81" y="20"/>
                    </a:lnTo>
                    <a:lnTo>
                      <a:pt x="88" y="18"/>
                    </a:lnTo>
                    <a:lnTo>
                      <a:pt x="93" y="20"/>
                    </a:lnTo>
                    <a:lnTo>
                      <a:pt x="103" y="28"/>
                    </a:lnTo>
                    <a:lnTo>
                      <a:pt x="104" y="33"/>
                    </a:lnTo>
                    <a:lnTo>
                      <a:pt x="108" y="33"/>
                    </a:lnTo>
                    <a:lnTo>
                      <a:pt x="109" y="31"/>
                    </a:lnTo>
                    <a:lnTo>
                      <a:pt x="112" y="31"/>
                    </a:lnTo>
                    <a:lnTo>
                      <a:pt x="116" y="34"/>
                    </a:lnTo>
                    <a:lnTo>
                      <a:pt x="116" y="38"/>
                    </a:lnTo>
                    <a:lnTo>
                      <a:pt x="109" y="38"/>
                    </a:lnTo>
                    <a:lnTo>
                      <a:pt x="106" y="41"/>
                    </a:lnTo>
                    <a:lnTo>
                      <a:pt x="101" y="41"/>
                    </a:lnTo>
                    <a:lnTo>
                      <a:pt x="98" y="46"/>
                    </a:lnTo>
                    <a:lnTo>
                      <a:pt x="91" y="46"/>
                    </a:lnTo>
                    <a:lnTo>
                      <a:pt x="85" y="49"/>
                    </a:lnTo>
                    <a:lnTo>
                      <a:pt x="85" y="47"/>
                    </a:lnTo>
                    <a:lnTo>
                      <a:pt x="80" y="47"/>
                    </a:lnTo>
                    <a:lnTo>
                      <a:pt x="76" y="49"/>
                    </a:lnTo>
                    <a:lnTo>
                      <a:pt x="70" y="47"/>
                    </a:lnTo>
                    <a:lnTo>
                      <a:pt x="67" y="46"/>
                    </a:lnTo>
                    <a:lnTo>
                      <a:pt x="63" y="47"/>
                    </a:lnTo>
                    <a:lnTo>
                      <a:pt x="59" y="47"/>
                    </a:lnTo>
                    <a:lnTo>
                      <a:pt x="54" y="44"/>
                    </a:lnTo>
                    <a:lnTo>
                      <a:pt x="49" y="44"/>
                    </a:lnTo>
                    <a:lnTo>
                      <a:pt x="45" y="43"/>
                    </a:lnTo>
                    <a:lnTo>
                      <a:pt x="44" y="46"/>
                    </a:lnTo>
                    <a:lnTo>
                      <a:pt x="42" y="47"/>
                    </a:lnTo>
                    <a:lnTo>
                      <a:pt x="42" y="49"/>
                    </a:lnTo>
                    <a:lnTo>
                      <a:pt x="37" y="49"/>
                    </a:lnTo>
                    <a:lnTo>
                      <a:pt x="36" y="51"/>
                    </a:lnTo>
                    <a:lnTo>
                      <a:pt x="29" y="47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19" y="39"/>
                    </a:lnTo>
                    <a:lnTo>
                      <a:pt x="16" y="38"/>
                    </a:lnTo>
                    <a:lnTo>
                      <a:pt x="11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5"/>
                    </a:lnTo>
                    <a:lnTo>
                      <a:pt x="5" y="20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4" y="11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9" y="5"/>
                    </a:lnTo>
                    <a:lnTo>
                      <a:pt x="32" y="3"/>
                    </a:lnTo>
                    <a:lnTo>
                      <a:pt x="32" y="0"/>
                    </a:lnTo>
                    <a:lnTo>
                      <a:pt x="37" y="2"/>
                    </a:lnTo>
                    <a:lnTo>
                      <a:pt x="39" y="0"/>
                    </a:lnTo>
                    <a:lnTo>
                      <a:pt x="42" y="2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3" name="Freeform 212">
                <a:extLst>
                  <a:ext uri="{FF2B5EF4-FFF2-40B4-BE49-F238E27FC236}">
                    <a16:creationId xmlns:a16="http://schemas.microsoft.com/office/drawing/2014/main" xmlns="" id="{1A7DE021-BAAD-42F2-88FC-DDC47FFFC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" y="1060"/>
                <a:ext cx="132" cy="162"/>
              </a:xfrm>
              <a:custGeom>
                <a:avLst/>
                <a:gdLst>
                  <a:gd name="T0" fmla="*/ 49 w 132"/>
                  <a:gd name="T1" fmla="*/ 4 h 162"/>
                  <a:gd name="T2" fmla="*/ 57 w 132"/>
                  <a:gd name="T3" fmla="*/ 10 h 162"/>
                  <a:gd name="T4" fmla="*/ 59 w 132"/>
                  <a:gd name="T5" fmla="*/ 17 h 162"/>
                  <a:gd name="T6" fmla="*/ 65 w 132"/>
                  <a:gd name="T7" fmla="*/ 15 h 162"/>
                  <a:gd name="T8" fmla="*/ 73 w 132"/>
                  <a:gd name="T9" fmla="*/ 15 h 162"/>
                  <a:gd name="T10" fmla="*/ 67 w 132"/>
                  <a:gd name="T11" fmla="*/ 22 h 162"/>
                  <a:gd name="T12" fmla="*/ 77 w 132"/>
                  <a:gd name="T13" fmla="*/ 25 h 162"/>
                  <a:gd name="T14" fmla="*/ 88 w 132"/>
                  <a:gd name="T15" fmla="*/ 18 h 162"/>
                  <a:gd name="T16" fmla="*/ 93 w 132"/>
                  <a:gd name="T17" fmla="*/ 12 h 162"/>
                  <a:gd name="T18" fmla="*/ 91 w 132"/>
                  <a:gd name="T19" fmla="*/ 15 h 162"/>
                  <a:gd name="T20" fmla="*/ 98 w 132"/>
                  <a:gd name="T21" fmla="*/ 15 h 162"/>
                  <a:gd name="T22" fmla="*/ 108 w 132"/>
                  <a:gd name="T23" fmla="*/ 20 h 162"/>
                  <a:gd name="T24" fmla="*/ 114 w 132"/>
                  <a:gd name="T25" fmla="*/ 28 h 162"/>
                  <a:gd name="T26" fmla="*/ 124 w 132"/>
                  <a:gd name="T27" fmla="*/ 36 h 162"/>
                  <a:gd name="T28" fmla="*/ 124 w 132"/>
                  <a:gd name="T29" fmla="*/ 53 h 162"/>
                  <a:gd name="T30" fmla="*/ 127 w 132"/>
                  <a:gd name="T31" fmla="*/ 64 h 162"/>
                  <a:gd name="T32" fmla="*/ 132 w 132"/>
                  <a:gd name="T33" fmla="*/ 77 h 162"/>
                  <a:gd name="T34" fmla="*/ 127 w 132"/>
                  <a:gd name="T35" fmla="*/ 89 h 162"/>
                  <a:gd name="T36" fmla="*/ 117 w 132"/>
                  <a:gd name="T37" fmla="*/ 92 h 162"/>
                  <a:gd name="T38" fmla="*/ 104 w 132"/>
                  <a:gd name="T39" fmla="*/ 98 h 162"/>
                  <a:gd name="T40" fmla="*/ 91 w 132"/>
                  <a:gd name="T41" fmla="*/ 100 h 162"/>
                  <a:gd name="T42" fmla="*/ 98 w 132"/>
                  <a:gd name="T43" fmla="*/ 112 h 162"/>
                  <a:gd name="T44" fmla="*/ 106 w 132"/>
                  <a:gd name="T45" fmla="*/ 125 h 162"/>
                  <a:gd name="T46" fmla="*/ 116 w 132"/>
                  <a:gd name="T47" fmla="*/ 139 h 162"/>
                  <a:gd name="T48" fmla="*/ 104 w 132"/>
                  <a:gd name="T49" fmla="*/ 151 h 162"/>
                  <a:gd name="T50" fmla="*/ 106 w 132"/>
                  <a:gd name="T51" fmla="*/ 159 h 162"/>
                  <a:gd name="T52" fmla="*/ 93 w 132"/>
                  <a:gd name="T53" fmla="*/ 157 h 162"/>
                  <a:gd name="T54" fmla="*/ 80 w 132"/>
                  <a:gd name="T55" fmla="*/ 161 h 162"/>
                  <a:gd name="T56" fmla="*/ 70 w 132"/>
                  <a:gd name="T57" fmla="*/ 161 h 162"/>
                  <a:gd name="T58" fmla="*/ 60 w 132"/>
                  <a:gd name="T59" fmla="*/ 161 h 162"/>
                  <a:gd name="T60" fmla="*/ 51 w 132"/>
                  <a:gd name="T61" fmla="*/ 157 h 162"/>
                  <a:gd name="T62" fmla="*/ 44 w 132"/>
                  <a:gd name="T63" fmla="*/ 154 h 162"/>
                  <a:gd name="T64" fmla="*/ 36 w 132"/>
                  <a:gd name="T65" fmla="*/ 157 h 162"/>
                  <a:gd name="T66" fmla="*/ 29 w 132"/>
                  <a:gd name="T67" fmla="*/ 156 h 162"/>
                  <a:gd name="T68" fmla="*/ 31 w 132"/>
                  <a:gd name="T69" fmla="*/ 141 h 162"/>
                  <a:gd name="T70" fmla="*/ 33 w 132"/>
                  <a:gd name="T71" fmla="*/ 128 h 162"/>
                  <a:gd name="T72" fmla="*/ 21 w 132"/>
                  <a:gd name="T73" fmla="*/ 126 h 162"/>
                  <a:gd name="T74" fmla="*/ 13 w 132"/>
                  <a:gd name="T75" fmla="*/ 123 h 162"/>
                  <a:gd name="T76" fmla="*/ 8 w 132"/>
                  <a:gd name="T77" fmla="*/ 115 h 162"/>
                  <a:gd name="T78" fmla="*/ 5 w 132"/>
                  <a:gd name="T79" fmla="*/ 102 h 162"/>
                  <a:gd name="T80" fmla="*/ 2 w 132"/>
                  <a:gd name="T81" fmla="*/ 89 h 162"/>
                  <a:gd name="T82" fmla="*/ 3 w 132"/>
                  <a:gd name="T83" fmla="*/ 76 h 162"/>
                  <a:gd name="T84" fmla="*/ 15 w 132"/>
                  <a:gd name="T85" fmla="*/ 69 h 162"/>
                  <a:gd name="T86" fmla="*/ 18 w 132"/>
                  <a:gd name="T87" fmla="*/ 61 h 162"/>
                  <a:gd name="T88" fmla="*/ 13 w 132"/>
                  <a:gd name="T89" fmla="*/ 54 h 162"/>
                  <a:gd name="T90" fmla="*/ 19 w 132"/>
                  <a:gd name="T91" fmla="*/ 48 h 162"/>
                  <a:gd name="T92" fmla="*/ 23 w 132"/>
                  <a:gd name="T93" fmla="*/ 41 h 162"/>
                  <a:gd name="T94" fmla="*/ 16 w 132"/>
                  <a:gd name="T95" fmla="*/ 35 h 162"/>
                  <a:gd name="T96" fmla="*/ 29 w 132"/>
                  <a:gd name="T97" fmla="*/ 31 h 162"/>
                  <a:gd name="T98" fmla="*/ 33 w 132"/>
                  <a:gd name="T99" fmla="*/ 35 h 162"/>
                  <a:gd name="T100" fmla="*/ 36 w 132"/>
                  <a:gd name="T101" fmla="*/ 36 h 162"/>
                  <a:gd name="T102" fmla="*/ 37 w 132"/>
                  <a:gd name="T103" fmla="*/ 31 h 162"/>
                  <a:gd name="T104" fmla="*/ 47 w 132"/>
                  <a:gd name="T105" fmla="*/ 27 h 162"/>
                  <a:gd name="T106" fmla="*/ 47 w 132"/>
                  <a:gd name="T107" fmla="*/ 27 h 162"/>
                  <a:gd name="T108" fmla="*/ 44 w 132"/>
                  <a:gd name="T109" fmla="*/ 20 h 162"/>
                  <a:gd name="T110" fmla="*/ 39 w 132"/>
                  <a:gd name="T111" fmla="*/ 14 h 162"/>
                  <a:gd name="T112" fmla="*/ 41 w 132"/>
                  <a:gd name="T113" fmla="*/ 5 h 162"/>
                  <a:gd name="T114" fmla="*/ 37 w 132"/>
                  <a:gd name="T1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2" h="162">
                    <a:moveTo>
                      <a:pt x="37" y="0"/>
                    </a:moveTo>
                    <a:lnTo>
                      <a:pt x="41" y="0"/>
                    </a:lnTo>
                    <a:lnTo>
                      <a:pt x="47" y="2"/>
                    </a:lnTo>
                    <a:lnTo>
                      <a:pt x="49" y="4"/>
                    </a:lnTo>
                    <a:lnTo>
                      <a:pt x="52" y="2"/>
                    </a:lnTo>
                    <a:lnTo>
                      <a:pt x="55" y="7"/>
                    </a:lnTo>
                    <a:lnTo>
                      <a:pt x="59" y="7"/>
                    </a:lnTo>
                    <a:lnTo>
                      <a:pt x="57" y="10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59" y="15"/>
                    </a:lnTo>
                    <a:lnTo>
                      <a:pt x="59" y="17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5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2" y="14"/>
                    </a:lnTo>
                    <a:lnTo>
                      <a:pt x="73" y="15"/>
                    </a:lnTo>
                    <a:lnTo>
                      <a:pt x="73" y="18"/>
                    </a:lnTo>
                    <a:lnTo>
                      <a:pt x="72" y="20"/>
                    </a:lnTo>
                    <a:lnTo>
                      <a:pt x="70" y="20"/>
                    </a:lnTo>
                    <a:lnTo>
                      <a:pt x="67" y="22"/>
                    </a:lnTo>
                    <a:lnTo>
                      <a:pt x="70" y="23"/>
                    </a:lnTo>
                    <a:lnTo>
                      <a:pt x="72" y="22"/>
                    </a:lnTo>
                    <a:lnTo>
                      <a:pt x="75" y="23"/>
                    </a:lnTo>
                    <a:lnTo>
                      <a:pt x="77" y="25"/>
                    </a:lnTo>
                    <a:lnTo>
                      <a:pt x="80" y="25"/>
                    </a:lnTo>
                    <a:lnTo>
                      <a:pt x="80" y="22"/>
                    </a:lnTo>
                    <a:lnTo>
                      <a:pt x="82" y="18"/>
                    </a:lnTo>
                    <a:lnTo>
                      <a:pt x="88" y="18"/>
                    </a:lnTo>
                    <a:lnTo>
                      <a:pt x="88" y="17"/>
                    </a:lnTo>
                    <a:lnTo>
                      <a:pt x="91" y="15"/>
                    </a:lnTo>
                    <a:lnTo>
                      <a:pt x="91" y="14"/>
                    </a:lnTo>
                    <a:lnTo>
                      <a:pt x="93" y="12"/>
                    </a:lnTo>
                    <a:lnTo>
                      <a:pt x="98" y="14"/>
                    </a:lnTo>
                    <a:lnTo>
                      <a:pt x="95" y="14"/>
                    </a:lnTo>
                    <a:lnTo>
                      <a:pt x="93" y="15"/>
                    </a:lnTo>
                    <a:lnTo>
                      <a:pt x="91" y="15"/>
                    </a:lnTo>
                    <a:lnTo>
                      <a:pt x="91" y="17"/>
                    </a:lnTo>
                    <a:lnTo>
                      <a:pt x="91" y="18"/>
                    </a:lnTo>
                    <a:lnTo>
                      <a:pt x="95" y="15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1" y="17"/>
                    </a:lnTo>
                    <a:lnTo>
                      <a:pt x="104" y="17"/>
                    </a:lnTo>
                    <a:lnTo>
                      <a:pt x="108" y="20"/>
                    </a:lnTo>
                    <a:lnTo>
                      <a:pt x="111" y="20"/>
                    </a:lnTo>
                    <a:lnTo>
                      <a:pt x="113" y="23"/>
                    </a:lnTo>
                    <a:lnTo>
                      <a:pt x="113" y="27"/>
                    </a:lnTo>
                    <a:lnTo>
                      <a:pt x="114" y="28"/>
                    </a:lnTo>
                    <a:lnTo>
                      <a:pt x="117" y="28"/>
                    </a:lnTo>
                    <a:lnTo>
                      <a:pt x="119" y="30"/>
                    </a:lnTo>
                    <a:lnTo>
                      <a:pt x="122" y="30"/>
                    </a:lnTo>
                    <a:lnTo>
                      <a:pt x="124" y="36"/>
                    </a:lnTo>
                    <a:lnTo>
                      <a:pt x="124" y="41"/>
                    </a:lnTo>
                    <a:lnTo>
                      <a:pt x="119" y="45"/>
                    </a:lnTo>
                    <a:lnTo>
                      <a:pt x="119" y="46"/>
                    </a:lnTo>
                    <a:lnTo>
                      <a:pt x="124" y="53"/>
                    </a:lnTo>
                    <a:lnTo>
                      <a:pt x="124" y="56"/>
                    </a:lnTo>
                    <a:lnTo>
                      <a:pt x="126" y="58"/>
                    </a:lnTo>
                    <a:lnTo>
                      <a:pt x="126" y="61"/>
                    </a:lnTo>
                    <a:lnTo>
                      <a:pt x="127" y="64"/>
                    </a:lnTo>
                    <a:lnTo>
                      <a:pt x="126" y="67"/>
                    </a:lnTo>
                    <a:lnTo>
                      <a:pt x="129" y="74"/>
                    </a:lnTo>
                    <a:lnTo>
                      <a:pt x="131" y="74"/>
                    </a:lnTo>
                    <a:lnTo>
                      <a:pt x="132" y="77"/>
                    </a:lnTo>
                    <a:lnTo>
                      <a:pt x="132" y="85"/>
                    </a:lnTo>
                    <a:lnTo>
                      <a:pt x="132" y="89"/>
                    </a:lnTo>
                    <a:lnTo>
                      <a:pt x="129" y="87"/>
                    </a:lnTo>
                    <a:lnTo>
                      <a:pt x="127" y="89"/>
                    </a:lnTo>
                    <a:lnTo>
                      <a:pt x="122" y="87"/>
                    </a:lnTo>
                    <a:lnTo>
                      <a:pt x="122" y="90"/>
                    </a:lnTo>
                    <a:lnTo>
                      <a:pt x="119" y="92"/>
                    </a:lnTo>
                    <a:lnTo>
                      <a:pt x="117" y="92"/>
                    </a:lnTo>
                    <a:lnTo>
                      <a:pt x="113" y="92"/>
                    </a:lnTo>
                    <a:lnTo>
                      <a:pt x="111" y="94"/>
                    </a:lnTo>
                    <a:lnTo>
                      <a:pt x="108" y="94"/>
                    </a:lnTo>
                    <a:lnTo>
                      <a:pt x="104" y="98"/>
                    </a:lnTo>
                    <a:lnTo>
                      <a:pt x="101" y="98"/>
                    </a:lnTo>
                    <a:lnTo>
                      <a:pt x="96" y="103"/>
                    </a:lnTo>
                    <a:lnTo>
                      <a:pt x="93" y="102"/>
                    </a:lnTo>
                    <a:lnTo>
                      <a:pt x="91" y="100"/>
                    </a:lnTo>
                    <a:lnTo>
                      <a:pt x="90" y="102"/>
                    </a:lnTo>
                    <a:lnTo>
                      <a:pt x="90" y="103"/>
                    </a:lnTo>
                    <a:lnTo>
                      <a:pt x="95" y="107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8" y="118"/>
                    </a:lnTo>
                    <a:lnTo>
                      <a:pt x="101" y="120"/>
                    </a:lnTo>
                    <a:lnTo>
                      <a:pt x="106" y="125"/>
                    </a:lnTo>
                    <a:lnTo>
                      <a:pt x="109" y="126"/>
                    </a:lnTo>
                    <a:lnTo>
                      <a:pt x="116" y="133"/>
                    </a:lnTo>
                    <a:lnTo>
                      <a:pt x="116" y="136"/>
                    </a:lnTo>
                    <a:lnTo>
                      <a:pt x="116" y="139"/>
                    </a:lnTo>
                    <a:lnTo>
                      <a:pt x="113" y="139"/>
                    </a:lnTo>
                    <a:lnTo>
                      <a:pt x="111" y="143"/>
                    </a:lnTo>
                    <a:lnTo>
                      <a:pt x="108" y="144"/>
                    </a:lnTo>
                    <a:lnTo>
                      <a:pt x="104" y="151"/>
                    </a:lnTo>
                    <a:lnTo>
                      <a:pt x="104" y="152"/>
                    </a:lnTo>
                    <a:lnTo>
                      <a:pt x="108" y="154"/>
                    </a:lnTo>
                    <a:lnTo>
                      <a:pt x="108" y="157"/>
                    </a:lnTo>
                    <a:lnTo>
                      <a:pt x="106" y="159"/>
                    </a:lnTo>
                    <a:lnTo>
                      <a:pt x="103" y="156"/>
                    </a:lnTo>
                    <a:lnTo>
                      <a:pt x="100" y="157"/>
                    </a:lnTo>
                    <a:lnTo>
                      <a:pt x="96" y="156"/>
                    </a:lnTo>
                    <a:lnTo>
                      <a:pt x="93" y="157"/>
                    </a:lnTo>
                    <a:lnTo>
                      <a:pt x="88" y="161"/>
                    </a:lnTo>
                    <a:lnTo>
                      <a:pt x="85" y="161"/>
                    </a:lnTo>
                    <a:lnTo>
                      <a:pt x="83" y="161"/>
                    </a:lnTo>
                    <a:lnTo>
                      <a:pt x="80" y="161"/>
                    </a:lnTo>
                    <a:lnTo>
                      <a:pt x="78" y="159"/>
                    </a:lnTo>
                    <a:lnTo>
                      <a:pt x="73" y="159"/>
                    </a:lnTo>
                    <a:lnTo>
                      <a:pt x="70" y="159"/>
                    </a:lnTo>
                    <a:lnTo>
                      <a:pt x="70" y="161"/>
                    </a:lnTo>
                    <a:lnTo>
                      <a:pt x="68" y="162"/>
                    </a:lnTo>
                    <a:lnTo>
                      <a:pt x="65" y="162"/>
                    </a:lnTo>
                    <a:lnTo>
                      <a:pt x="62" y="159"/>
                    </a:lnTo>
                    <a:lnTo>
                      <a:pt x="60" y="161"/>
                    </a:lnTo>
                    <a:lnTo>
                      <a:pt x="57" y="161"/>
                    </a:lnTo>
                    <a:lnTo>
                      <a:pt x="57" y="161"/>
                    </a:lnTo>
                    <a:lnTo>
                      <a:pt x="55" y="161"/>
                    </a:lnTo>
                    <a:lnTo>
                      <a:pt x="51" y="157"/>
                    </a:lnTo>
                    <a:lnTo>
                      <a:pt x="49" y="157"/>
                    </a:lnTo>
                    <a:lnTo>
                      <a:pt x="47" y="157"/>
                    </a:lnTo>
                    <a:lnTo>
                      <a:pt x="46" y="157"/>
                    </a:lnTo>
                    <a:lnTo>
                      <a:pt x="44" y="154"/>
                    </a:lnTo>
                    <a:lnTo>
                      <a:pt x="41" y="156"/>
                    </a:lnTo>
                    <a:lnTo>
                      <a:pt x="41" y="157"/>
                    </a:lnTo>
                    <a:lnTo>
                      <a:pt x="41" y="159"/>
                    </a:lnTo>
                    <a:lnTo>
                      <a:pt x="36" y="157"/>
                    </a:lnTo>
                    <a:lnTo>
                      <a:pt x="34" y="159"/>
                    </a:lnTo>
                    <a:lnTo>
                      <a:pt x="31" y="159"/>
                    </a:lnTo>
                    <a:lnTo>
                      <a:pt x="31" y="159"/>
                    </a:lnTo>
                    <a:lnTo>
                      <a:pt x="29" y="156"/>
                    </a:lnTo>
                    <a:lnTo>
                      <a:pt x="26" y="154"/>
                    </a:lnTo>
                    <a:lnTo>
                      <a:pt x="26" y="149"/>
                    </a:lnTo>
                    <a:lnTo>
                      <a:pt x="28" y="144"/>
                    </a:lnTo>
                    <a:lnTo>
                      <a:pt x="31" y="141"/>
                    </a:lnTo>
                    <a:lnTo>
                      <a:pt x="31" y="139"/>
                    </a:lnTo>
                    <a:lnTo>
                      <a:pt x="33" y="134"/>
                    </a:lnTo>
                    <a:lnTo>
                      <a:pt x="36" y="131"/>
                    </a:lnTo>
                    <a:lnTo>
                      <a:pt x="33" y="128"/>
                    </a:lnTo>
                    <a:lnTo>
                      <a:pt x="29" y="128"/>
                    </a:lnTo>
                    <a:lnTo>
                      <a:pt x="26" y="126"/>
                    </a:lnTo>
                    <a:lnTo>
                      <a:pt x="23" y="128"/>
                    </a:lnTo>
                    <a:lnTo>
                      <a:pt x="21" y="126"/>
                    </a:lnTo>
                    <a:lnTo>
                      <a:pt x="18" y="126"/>
                    </a:lnTo>
                    <a:lnTo>
                      <a:pt x="16" y="128"/>
                    </a:lnTo>
                    <a:lnTo>
                      <a:pt x="13" y="125"/>
                    </a:lnTo>
                    <a:lnTo>
                      <a:pt x="13" y="123"/>
                    </a:lnTo>
                    <a:lnTo>
                      <a:pt x="10" y="121"/>
                    </a:lnTo>
                    <a:lnTo>
                      <a:pt x="10" y="121"/>
                    </a:lnTo>
                    <a:lnTo>
                      <a:pt x="10" y="116"/>
                    </a:lnTo>
                    <a:lnTo>
                      <a:pt x="8" y="115"/>
                    </a:lnTo>
                    <a:lnTo>
                      <a:pt x="8" y="112"/>
                    </a:lnTo>
                    <a:lnTo>
                      <a:pt x="3" y="107"/>
                    </a:lnTo>
                    <a:lnTo>
                      <a:pt x="3" y="107"/>
                    </a:lnTo>
                    <a:lnTo>
                      <a:pt x="5" y="102"/>
                    </a:lnTo>
                    <a:lnTo>
                      <a:pt x="3" y="98"/>
                    </a:lnTo>
                    <a:lnTo>
                      <a:pt x="3" y="97"/>
                    </a:lnTo>
                    <a:lnTo>
                      <a:pt x="0" y="92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3" y="85"/>
                    </a:lnTo>
                    <a:lnTo>
                      <a:pt x="3" y="81"/>
                    </a:lnTo>
                    <a:lnTo>
                      <a:pt x="3" y="76"/>
                    </a:lnTo>
                    <a:lnTo>
                      <a:pt x="5" y="72"/>
                    </a:lnTo>
                    <a:lnTo>
                      <a:pt x="6" y="69"/>
                    </a:lnTo>
                    <a:lnTo>
                      <a:pt x="11" y="69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5" y="66"/>
                    </a:lnTo>
                    <a:lnTo>
                      <a:pt x="18" y="64"/>
                    </a:lnTo>
                    <a:lnTo>
                      <a:pt x="18" y="61"/>
                    </a:lnTo>
                    <a:lnTo>
                      <a:pt x="19" y="58"/>
                    </a:lnTo>
                    <a:lnTo>
                      <a:pt x="18" y="58"/>
                    </a:lnTo>
                    <a:lnTo>
                      <a:pt x="13" y="58"/>
                    </a:lnTo>
                    <a:lnTo>
                      <a:pt x="13" y="54"/>
                    </a:lnTo>
                    <a:lnTo>
                      <a:pt x="15" y="51"/>
                    </a:lnTo>
                    <a:lnTo>
                      <a:pt x="18" y="53"/>
                    </a:lnTo>
                    <a:lnTo>
                      <a:pt x="19" y="51"/>
                    </a:lnTo>
                    <a:lnTo>
                      <a:pt x="19" y="48"/>
                    </a:lnTo>
                    <a:lnTo>
                      <a:pt x="21" y="46"/>
                    </a:lnTo>
                    <a:lnTo>
                      <a:pt x="21" y="43"/>
                    </a:lnTo>
                    <a:lnTo>
                      <a:pt x="23" y="43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1" y="40"/>
                    </a:lnTo>
                    <a:lnTo>
                      <a:pt x="18" y="38"/>
                    </a:lnTo>
                    <a:lnTo>
                      <a:pt x="16" y="35"/>
                    </a:lnTo>
                    <a:lnTo>
                      <a:pt x="18" y="33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9" y="31"/>
                    </a:lnTo>
                    <a:lnTo>
                      <a:pt x="29" y="36"/>
                    </a:lnTo>
                    <a:lnTo>
                      <a:pt x="33" y="38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6" y="33"/>
                    </a:lnTo>
                    <a:lnTo>
                      <a:pt x="36" y="36"/>
                    </a:lnTo>
                    <a:lnTo>
                      <a:pt x="39" y="41"/>
                    </a:lnTo>
                    <a:lnTo>
                      <a:pt x="37" y="38"/>
                    </a:lnTo>
                    <a:lnTo>
                      <a:pt x="37" y="33"/>
                    </a:lnTo>
                    <a:lnTo>
                      <a:pt x="37" y="31"/>
                    </a:lnTo>
                    <a:lnTo>
                      <a:pt x="39" y="28"/>
                    </a:lnTo>
                    <a:lnTo>
                      <a:pt x="42" y="27"/>
                    </a:lnTo>
                    <a:lnTo>
                      <a:pt x="44" y="28"/>
                    </a:lnTo>
                    <a:lnTo>
                      <a:pt x="47" y="27"/>
                    </a:lnTo>
                    <a:lnTo>
                      <a:pt x="52" y="33"/>
                    </a:lnTo>
                    <a:lnTo>
                      <a:pt x="60" y="35"/>
                    </a:lnTo>
                    <a:lnTo>
                      <a:pt x="54" y="31"/>
                    </a:lnTo>
                    <a:lnTo>
                      <a:pt x="47" y="27"/>
                    </a:lnTo>
                    <a:lnTo>
                      <a:pt x="44" y="25"/>
                    </a:lnTo>
                    <a:lnTo>
                      <a:pt x="42" y="25"/>
                    </a:lnTo>
                    <a:lnTo>
                      <a:pt x="42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2" y="15"/>
                    </a:lnTo>
                    <a:lnTo>
                      <a:pt x="39" y="15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4" y="12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9" y="5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5" name="Freeform 213">
                <a:extLst>
                  <a:ext uri="{FF2B5EF4-FFF2-40B4-BE49-F238E27FC236}">
                    <a16:creationId xmlns:a16="http://schemas.microsoft.com/office/drawing/2014/main" xmlns="" id="{DE60C85D-89DE-4FD0-9496-EF6174C44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1225"/>
                <a:ext cx="3" cy="4"/>
              </a:xfrm>
              <a:custGeom>
                <a:avLst/>
                <a:gdLst>
                  <a:gd name="T0" fmla="*/ 2 w 3"/>
                  <a:gd name="T1" fmla="*/ 0 h 4"/>
                  <a:gd name="T2" fmla="*/ 3 w 3"/>
                  <a:gd name="T3" fmla="*/ 0 h 4"/>
                  <a:gd name="T4" fmla="*/ 3 w 3"/>
                  <a:gd name="T5" fmla="*/ 4 h 4"/>
                  <a:gd name="T6" fmla="*/ 2 w 3"/>
                  <a:gd name="T7" fmla="*/ 4 h 4"/>
                  <a:gd name="T8" fmla="*/ 0 w 3"/>
                  <a:gd name="T9" fmla="*/ 2 h 4"/>
                  <a:gd name="T10" fmla="*/ 2 w 3"/>
                  <a:gd name="T11" fmla="*/ 0 h 4"/>
                  <a:gd name="T12" fmla="*/ 2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7" name="Freeform 214">
                <a:extLst>
                  <a:ext uri="{FF2B5EF4-FFF2-40B4-BE49-F238E27FC236}">
                    <a16:creationId xmlns:a16="http://schemas.microsoft.com/office/drawing/2014/main" xmlns="" id="{86EF4876-5F3C-4F62-85C7-83E14AB12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9" y="1214"/>
                <a:ext cx="72" cy="41"/>
              </a:xfrm>
              <a:custGeom>
                <a:avLst/>
                <a:gdLst>
                  <a:gd name="T0" fmla="*/ 31 w 72"/>
                  <a:gd name="T1" fmla="*/ 5 h 41"/>
                  <a:gd name="T2" fmla="*/ 38 w 72"/>
                  <a:gd name="T3" fmla="*/ 5 h 41"/>
                  <a:gd name="T4" fmla="*/ 38 w 72"/>
                  <a:gd name="T5" fmla="*/ 2 h 41"/>
                  <a:gd name="T6" fmla="*/ 43 w 72"/>
                  <a:gd name="T7" fmla="*/ 3 h 41"/>
                  <a:gd name="T8" fmla="*/ 46 w 72"/>
                  <a:gd name="T9" fmla="*/ 3 h 41"/>
                  <a:gd name="T10" fmla="*/ 52 w 72"/>
                  <a:gd name="T11" fmla="*/ 7 h 41"/>
                  <a:gd name="T12" fmla="*/ 56 w 72"/>
                  <a:gd name="T13" fmla="*/ 11 h 41"/>
                  <a:gd name="T14" fmla="*/ 56 w 72"/>
                  <a:gd name="T15" fmla="*/ 15 h 41"/>
                  <a:gd name="T16" fmla="*/ 62 w 72"/>
                  <a:gd name="T17" fmla="*/ 15 h 41"/>
                  <a:gd name="T18" fmla="*/ 67 w 72"/>
                  <a:gd name="T19" fmla="*/ 15 h 41"/>
                  <a:gd name="T20" fmla="*/ 72 w 72"/>
                  <a:gd name="T21" fmla="*/ 18 h 41"/>
                  <a:gd name="T22" fmla="*/ 70 w 72"/>
                  <a:gd name="T23" fmla="*/ 26 h 41"/>
                  <a:gd name="T24" fmla="*/ 64 w 72"/>
                  <a:gd name="T25" fmla="*/ 34 h 41"/>
                  <a:gd name="T26" fmla="*/ 57 w 72"/>
                  <a:gd name="T27" fmla="*/ 33 h 41"/>
                  <a:gd name="T28" fmla="*/ 51 w 72"/>
                  <a:gd name="T29" fmla="*/ 34 h 41"/>
                  <a:gd name="T30" fmla="*/ 46 w 72"/>
                  <a:gd name="T31" fmla="*/ 38 h 41"/>
                  <a:gd name="T32" fmla="*/ 41 w 72"/>
                  <a:gd name="T33" fmla="*/ 31 h 41"/>
                  <a:gd name="T34" fmla="*/ 33 w 72"/>
                  <a:gd name="T35" fmla="*/ 39 h 41"/>
                  <a:gd name="T36" fmla="*/ 21 w 72"/>
                  <a:gd name="T37" fmla="*/ 41 h 41"/>
                  <a:gd name="T38" fmla="*/ 18 w 72"/>
                  <a:gd name="T39" fmla="*/ 38 h 41"/>
                  <a:gd name="T40" fmla="*/ 15 w 72"/>
                  <a:gd name="T41" fmla="*/ 33 h 41"/>
                  <a:gd name="T42" fmla="*/ 8 w 72"/>
                  <a:gd name="T43" fmla="*/ 29 h 41"/>
                  <a:gd name="T44" fmla="*/ 8 w 72"/>
                  <a:gd name="T45" fmla="*/ 34 h 41"/>
                  <a:gd name="T46" fmla="*/ 0 w 72"/>
                  <a:gd name="T47" fmla="*/ 36 h 41"/>
                  <a:gd name="T48" fmla="*/ 2 w 72"/>
                  <a:gd name="T49" fmla="*/ 33 h 41"/>
                  <a:gd name="T50" fmla="*/ 3 w 72"/>
                  <a:gd name="T51" fmla="*/ 29 h 41"/>
                  <a:gd name="T52" fmla="*/ 8 w 72"/>
                  <a:gd name="T53" fmla="*/ 18 h 41"/>
                  <a:gd name="T54" fmla="*/ 15 w 72"/>
                  <a:gd name="T55" fmla="*/ 13 h 41"/>
                  <a:gd name="T56" fmla="*/ 16 w 72"/>
                  <a:gd name="T57" fmla="*/ 8 h 41"/>
                  <a:gd name="T58" fmla="*/ 15 w 72"/>
                  <a:gd name="T59" fmla="*/ 5 h 41"/>
                  <a:gd name="T60" fmla="*/ 20 w 72"/>
                  <a:gd name="T61" fmla="*/ 7 h 41"/>
                  <a:gd name="T62" fmla="*/ 28 w 72"/>
                  <a:gd name="T63" fmla="*/ 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2" h="41">
                    <a:moveTo>
                      <a:pt x="28" y="5"/>
                    </a:moveTo>
                    <a:lnTo>
                      <a:pt x="31" y="5"/>
                    </a:lnTo>
                    <a:lnTo>
                      <a:pt x="33" y="3"/>
                    </a:lnTo>
                    <a:lnTo>
                      <a:pt x="38" y="5"/>
                    </a:lnTo>
                    <a:lnTo>
                      <a:pt x="38" y="3"/>
                    </a:lnTo>
                    <a:lnTo>
                      <a:pt x="38" y="2"/>
                    </a:lnTo>
                    <a:lnTo>
                      <a:pt x="41" y="0"/>
                    </a:lnTo>
                    <a:lnTo>
                      <a:pt x="43" y="3"/>
                    </a:lnTo>
                    <a:lnTo>
                      <a:pt x="44" y="3"/>
                    </a:lnTo>
                    <a:lnTo>
                      <a:pt x="46" y="3"/>
                    </a:lnTo>
                    <a:lnTo>
                      <a:pt x="48" y="3"/>
                    </a:lnTo>
                    <a:lnTo>
                      <a:pt x="52" y="7"/>
                    </a:lnTo>
                    <a:lnTo>
                      <a:pt x="56" y="8"/>
                    </a:lnTo>
                    <a:lnTo>
                      <a:pt x="56" y="11"/>
                    </a:lnTo>
                    <a:lnTo>
                      <a:pt x="54" y="13"/>
                    </a:lnTo>
                    <a:lnTo>
                      <a:pt x="56" y="15"/>
                    </a:lnTo>
                    <a:lnTo>
                      <a:pt x="61" y="15"/>
                    </a:lnTo>
                    <a:lnTo>
                      <a:pt x="62" y="15"/>
                    </a:lnTo>
                    <a:lnTo>
                      <a:pt x="65" y="18"/>
                    </a:lnTo>
                    <a:lnTo>
                      <a:pt x="67" y="15"/>
                    </a:lnTo>
                    <a:lnTo>
                      <a:pt x="70" y="15"/>
                    </a:lnTo>
                    <a:lnTo>
                      <a:pt x="72" y="18"/>
                    </a:lnTo>
                    <a:lnTo>
                      <a:pt x="69" y="21"/>
                    </a:lnTo>
                    <a:lnTo>
                      <a:pt x="70" y="26"/>
                    </a:lnTo>
                    <a:lnTo>
                      <a:pt x="64" y="28"/>
                    </a:lnTo>
                    <a:lnTo>
                      <a:pt x="64" y="34"/>
                    </a:lnTo>
                    <a:lnTo>
                      <a:pt x="61" y="33"/>
                    </a:lnTo>
                    <a:lnTo>
                      <a:pt x="57" y="33"/>
                    </a:lnTo>
                    <a:lnTo>
                      <a:pt x="51" y="31"/>
                    </a:lnTo>
                    <a:lnTo>
                      <a:pt x="51" y="34"/>
                    </a:lnTo>
                    <a:lnTo>
                      <a:pt x="48" y="41"/>
                    </a:lnTo>
                    <a:lnTo>
                      <a:pt x="46" y="38"/>
                    </a:lnTo>
                    <a:lnTo>
                      <a:pt x="41" y="34"/>
                    </a:lnTo>
                    <a:lnTo>
                      <a:pt x="41" y="31"/>
                    </a:lnTo>
                    <a:lnTo>
                      <a:pt x="38" y="29"/>
                    </a:lnTo>
                    <a:lnTo>
                      <a:pt x="33" y="39"/>
                    </a:lnTo>
                    <a:lnTo>
                      <a:pt x="28" y="38"/>
                    </a:lnTo>
                    <a:lnTo>
                      <a:pt x="21" y="41"/>
                    </a:lnTo>
                    <a:lnTo>
                      <a:pt x="18" y="41"/>
                    </a:lnTo>
                    <a:lnTo>
                      <a:pt x="18" y="38"/>
                    </a:lnTo>
                    <a:lnTo>
                      <a:pt x="16" y="36"/>
                    </a:lnTo>
                    <a:lnTo>
                      <a:pt x="15" y="33"/>
                    </a:lnTo>
                    <a:lnTo>
                      <a:pt x="13" y="29"/>
                    </a:lnTo>
                    <a:lnTo>
                      <a:pt x="8" y="29"/>
                    </a:lnTo>
                    <a:lnTo>
                      <a:pt x="7" y="31"/>
                    </a:lnTo>
                    <a:lnTo>
                      <a:pt x="8" y="34"/>
                    </a:lnTo>
                    <a:lnTo>
                      <a:pt x="5" y="36"/>
                    </a:lnTo>
                    <a:lnTo>
                      <a:pt x="0" y="36"/>
                    </a:lnTo>
                    <a:lnTo>
                      <a:pt x="0" y="33"/>
                    </a:lnTo>
                    <a:lnTo>
                      <a:pt x="2" y="33"/>
                    </a:lnTo>
                    <a:lnTo>
                      <a:pt x="5" y="33"/>
                    </a:lnTo>
                    <a:lnTo>
                      <a:pt x="3" y="29"/>
                    </a:lnTo>
                    <a:lnTo>
                      <a:pt x="5" y="25"/>
                    </a:lnTo>
                    <a:lnTo>
                      <a:pt x="8" y="18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3" y="7"/>
                    </a:lnTo>
                    <a:lnTo>
                      <a:pt x="15" y="5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3" y="7"/>
                    </a:lnTo>
                    <a:lnTo>
                      <a:pt x="28" y="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9" name="Freeform 215">
                <a:extLst>
                  <a:ext uri="{FF2B5EF4-FFF2-40B4-BE49-F238E27FC236}">
                    <a16:creationId xmlns:a16="http://schemas.microsoft.com/office/drawing/2014/main" xmlns="" id="{01B001D7-B614-459B-9C88-7B180220E2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02" y="1096"/>
                <a:ext cx="57" cy="53"/>
              </a:xfrm>
              <a:custGeom>
                <a:avLst/>
                <a:gdLst>
                  <a:gd name="T0" fmla="*/ 37 w 57"/>
                  <a:gd name="T1" fmla="*/ 49 h 53"/>
                  <a:gd name="T2" fmla="*/ 37 w 57"/>
                  <a:gd name="T3" fmla="*/ 40 h 53"/>
                  <a:gd name="T4" fmla="*/ 40 w 57"/>
                  <a:gd name="T5" fmla="*/ 33 h 53"/>
                  <a:gd name="T6" fmla="*/ 49 w 57"/>
                  <a:gd name="T7" fmla="*/ 33 h 53"/>
                  <a:gd name="T8" fmla="*/ 49 w 57"/>
                  <a:gd name="T9" fmla="*/ 30 h 53"/>
                  <a:gd name="T10" fmla="*/ 52 w 57"/>
                  <a:gd name="T11" fmla="*/ 25 h 53"/>
                  <a:gd name="T12" fmla="*/ 52 w 57"/>
                  <a:gd name="T13" fmla="*/ 22 h 53"/>
                  <a:gd name="T14" fmla="*/ 47 w 57"/>
                  <a:gd name="T15" fmla="*/ 18 h 53"/>
                  <a:gd name="T16" fmla="*/ 52 w 57"/>
                  <a:gd name="T17" fmla="*/ 17 h 53"/>
                  <a:gd name="T18" fmla="*/ 53 w 57"/>
                  <a:gd name="T19" fmla="*/ 12 h 53"/>
                  <a:gd name="T20" fmla="*/ 55 w 57"/>
                  <a:gd name="T21" fmla="*/ 7 h 53"/>
                  <a:gd name="T22" fmla="*/ 57 w 57"/>
                  <a:gd name="T23" fmla="*/ 5 h 53"/>
                  <a:gd name="T24" fmla="*/ 50 w 57"/>
                  <a:gd name="T25" fmla="*/ 2 h 53"/>
                  <a:gd name="T26" fmla="*/ 42 w 57"/>
                  <a:gd name="T27" fmla="*/ 0 h 53"/>
                  <a:gd name="T28" fmla="*/ 36 w 57"/>
                  <a:gd name="T29" fmla="*/ 2 h 53"/>
                  <a:gd name="T30" fmla="*/ 31 w 57"/>
                  <a:gd name="T31" fmla="*/ 4 h 53"/>
                  <a:gd name="T32" fmla="*/ 21 w 57"/>
                  <a:gd name="T33" fmla="*/ 10 h 53"/>
                  <a:gd name="T34" fmla="*/ 18 w 57"/>
                  <a:gd name="T35" fmla="*/ 12 h 53"/>
                  <a:gd name="T36" fmla="*/ 14 w 57"/>
                  <a:gd name="T37" fmla="*/ 18 h 53"/>
                  <a:gd name="T38" fmla="*/ 14 w 57"/>
                  <a:gd name="T39" fmla="*/ 25 h 53"/>
                  <a:gd name="T40" fmla="*/ 11 w 57"/>
                  <a:gd name="T41" fmla="*/ 30 h 53"/>
                  <a:gd name="T42" fmla="*/ 9 w 57"/>
                  <a:gd name="T43" fmla="*/ 35 h 53"/>
                  <a:gd name="T44" fmla="*/ 16 w 57"/>
                  <a:gd name="T45" fmla="*/ 38 h 53"/>
                  <a:gd name="T46" fmla="*/ 11 w 57"/>
                  <a:gd name="T47" fmla="*/ 40 h 53"/>
                  <a:gd name="T48" fmla="*/ 11 w 57"/>
                  <a:gd name="T49" fmla="*/ 43 h 53"/>
                  <a:gd name="T50" fmla="*/ 13 w 57"/>
                  <a:gd name="T51" fmla="*/ 45 h 53"/>
                  <a:gd name="T52" fmla="*/ 8 w 57"/>
                  <a:gd name="T53" fmla="*/ 41 h 53"/>
                  <a:gd name="T54" fmla="*/ 1 w 57"/>
                  <a:gd name="T55" fmla="*/ 41 h 53"/>
                  <a:gd name="T56" fmla="*/ 6 w 57"/>
                  <a:gd name="T57" fmla="*/ 43 h 53"/>
                  <a:gd name="T58" fmla="*/ 9 w 57"/>
                  <a:gd name="T59" fmla="*/ 45 h 53"/>
                  <a:gd name="T60" fmla="*/ 9 w 57"/>
                  <a:gd name="T61" fmla="*/ 46 h 53"/>
                  <a:gd name="T62" fmla="*/ 3 w 57"/>
                  <a:gd name="T63" fmla="*/ 45 h 53"/>
                  <a:gd name="T64" fmla="*/ 0 w 57"/>
                  <a:gd name="T65" fmla="*/ 45 h 53"/>
                  <a:gd name="T66" fmla="*/ 3 w 57"/>
                  <a:gd name="T67" fmla="*/ 48 h 53"/>
                  <a:gd name="T68" fmla="*/ 8 w 57"/>
                  <a:gd name="T69" fmla="*/ 49 h 53"/>
                  <a:gd name="T70" fmla="*/ 11 w 57"/>
                  <a:gd name="T71" fmla="*/ 48 h 53"/>
                  <a:gd name="T72" fmla="*/ 14 w 57"/>
                  <a:gd name="T73" fmla="*/ 46 h 53"/>
                  <a:gd name="T74" fmla="*/ 21 w 57"/>
                  <a:gd name="T75" fmla="*/ 45 h 53"/>
                  <a:gd name="T76" fmla="*/ 26 w 57"/>
                  <a:gd name="T77" fmla="*/ 46 h 53"/>
                  <a:gd name="T78" fmla="*/ 31 w 57"/>
                  <a:gd name="T79" fmla="*/ 48 h 53"/>
                  <a:gd name="T80" fmla="*/ 32 w 57"/>
                  <a:gd name="T81" fmla="*/ 53 h 53"/>
                  <a:gd name="T82" fmla="*/ 36 w 57"/>
                  <a:gd name="T83" fmla="*/ 53 h 53"/>
                  <a:gd name="T84" fmla="*/ 8 w 57"/>
                  <a:gd name="T85" fmla="*/ 38 h 53"/>
                  <a:gd name="T86" fmla="*/ 8 w 57"/>
                  <a:gd name="T87" fmla="*/ 40 h 53"/>
                  <a:gd name="T88" fmla="*/ 4 w 57"/>
                  <a:gd name="T89" fmla="*/ 40 h 53"/>
                  <a:gd name="T90" fmla="*/ 6 w 57"/>
                  <a:gd name="T91" fmla="*/ 36 h 53"/>
                  <a:gd name="T92" fmla="*/ 11 w 57"/>
                  <a:gd name="T93" fmla="*/ 38 h 53"/>
                  <a:gd name="T94" fmla="*/ 9 w 57"/>
                  <a:gd name="T95" fmla="*/ 38 h 53"/>
                  <a:gd name="T96" fmla="*/ 6 w 57"/>
                  <a:gd name="T97" fmla="*/ 3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7" h="53">
                    <a:moveTo>
                      <a:pt x="36" y="53"/>
                    </a:moveTo>
                    <a:lnTo>
                      <a:pt x="37" y="49"/>
                    </a:lnTo>
                    <a:lnTo>
                      <a:pt x="37" y="45"/>
                    </a:lnTo>
                    <a:lnTo>
                      <a:pt x="37" y="40"/>
                    </a:lnTo>
                    <a:lnTo>
                      <a:pt x="39" y="36"/>
                    </a:lnTo>
                    <a:lnTo>
                      <a:pt x="40" y="33"/>
                    </a:lnTo>
                    <a:lnTo>
                      <a:pt x="45" y="33"/>
                    </a:lnTo>
                    <a:lnTo>
                      <a:pt x="49" y="33"/>
                    </a:lnTo>
                    <a:lnTo>
                      <a:pt x="50" y="33"/>
                    </a:lnTo>
                    <a:lnTo>
                      <a:pt x="49" y="30"/>
                    </a:lnTo>
                    <a:lnTo>
                      <a:pt x="52" y="28"/>
                    </a:lnTo>
                    <a:lnTo>
                      <a:pt x="52" y="25"/>
                    </a:lnTo>
                    <a:lnTo>
                      <a:pt x="53" y="22"/>
                    </a:lnTo>
                    <a:lnTo>
                      <a:pt x="52" y="22"/>
                    </a:lnTo>
                    <a:lnTo>
                      <a:pt x="47" y="22"/>
                    </a:lnTo>
                    <a:lnTo>
                      <a:pt x="47" y="18"/>
                    </a:lnTo>
                    <a:lnTo>
                      <a:pt x="49" y="15"/>
                    </a:lnTo>
                    <a:lnTo>
                      <a:pt x="52" y="17"/>
                    </a:lnTo>
                    <a:lnTo>
                      <a:pt x="53" y="15"/>
                    </a:lnTo>
                    <a:lnTo>
                      <a:pt x="53" y="12"/>
                    </a:lnTo>
                    <a:lnTo>
                      <a:pt x="55" y="10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5"/>
                    </a:lnTo>
                    <a:lnTo>
                      <a:pt x="53" y="5"/>
                    </a:lnTo>
                    <a:lnTo>
                      <a:pt x="50" y="2"/>
                    </a:lnTo>
                    <a:lnTo>
                      <a:pt x="47" y="0"/>
                    </a:lnTo>
                    <a:lnTo>
                      <a:pt x="42" y="0"/>
                    </a:lnTo>
                    <a:lnTo>
                      <a:pt x="39" y="4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1" y="4"/>
                    </a:lnTo>
                    <a:lnTo>
                      <a:pt x="27" y="7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18" y="12"/>
                    </a:lnTo>
                    <a:lnTo>
                      <a:pt x="16" y="15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5"/>
                    </a:lnTo>
                    <a:lnTo>
                      <a:pt x="13" y="28"/>
                    </a:lnTo>
                    <a:lnTo>
                      <a:pt x="11" y="30"/>
                    </a:lnTo>
                    <a:lnTo>
                      <a:pt x="9" y="31"/>
                    </a:lnTo>
                    <a:lnTo>
                      <a:pt x="9" y="35"/>
                    </a:lnTo>
                    <a:lnTo>
                      <a:pt x="13" y="38"/>
                    </a:lnTo>
                    <a:lnTo>
                      <a:pt x="16" y="38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9" y="41"/>
                    </a:lnTo>
                    <a:lnTo>
                      <a:pt x="11" y="43"/>
                    </a:lnTo>
                    <a:lnTo>
                      <a:pt x="13" y="43"/>
                    </a:lnTo>
                    <a:lnTo>
                      <a:pt x="13" y="45"/>
                    </a:lnTo>
                    <a:lnTo>
                      <a:pt x="9" y="45"/>
                    </a:lnTo>
                    <a:lnTo>
                      <a:pt x="8" y="41"/>
                    </a:lnTo>
                    <a:lnTo>
                      <a:pt x="4" y="40"/>
                    </a:lnTo>
                    <a:lnTo>
                      <a:pt x="1" y="41"/>
                    </a:lnTo>
                    <a:lnTo>
                      <a:pt x="3" y="43"/>
                    </a:lnTo>
                    <a:lnTo>
                      <a:pt x="6" y="43"/>
                    </a:lnTo>
                    <a:lnTo>
                      <a:pt x="8" y="46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9" y="46"/>
                    </a:lnTo>
                    <a:lnTo>
                      <a:pt x="8" y="46"/>
                    </a:lnTo>
                    <a:lnTo>
                      <a:pt x="3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3" y="48"/>
                    </a:lnTo>
                    <a:lnTo>
                      <a:pt x="6" y="48"/>
                    </a:lnTo>
                    <a:lnTo>
                      <a:pt x="8" y="49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13" y="46"/>
                    </a:lnTo>
                    <a:lnTo>
                      <a:pt x="14" y="46"/>
                    </a:lnTo>
                    <a:lnTo>
                      <a:pt x="16" y="45"/>
                    </a:lnTo>
                    <a:lnTo>
                      <a:pt x="21" y="45"/>
                    </a:lnTo>
                    <a:lnTo>
                      <a:pt x="22" y="46"/>
                    </a:lnTo>
                    <a:lnTo>
                      <a:pt x="26" y="46"/>
                    </a:lnTo>
                    <a:lnTo>
                      <a:pt x="27" y="48"/>
                    </a:lnTo>
                    <a:lnTo>
                      <a:pt x="31" y="48"/>
                    </a:lnTo>
                    <a:lnTo>
                      <a:pt x="32" y="51"/>
                    </a:lnTo>
                    <a:lnTo>
                      <a:pt x="32" y="53"/>
                    </a:lnTo>
                    <a:lnTo>
                      <a:pt x="36" y="53"/>
                    </a:lnTo>
                    <a:lnTo>
                      <a:pt x="36" y="53"/>
                    </a:lnTo>
                    <a:close/>
                    <a:moveTo>
                      <a:pt x="4" y="40"/>
                    </a:moveTo>
                    <a:lnTo>
                      <a:pt x="8" y="38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6" y="36"/>
                    </a:moveTo>
                    <a:lnTo>
                      <a:pt x="8" y="36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6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3" name="Freeform 216">
                <a:extLst>
                  <a:ext uri="{FF2B5EF4-FFF2-40B4-BE49-F238E27FC236}">
                    <a16:creationId xmlns:a16="http://schemas.microsoft.com/office/drawing/2014/main" xmlns="" id="{F8AF6B9C-AE82-4DAD-B2EC-BDC65F2E7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141"/>
                <a:ext cx="44" cy="37"/>
              </a:xfrm>
              <a:custGeom>
                <a:avLst/>
                <a:gdLst>
                  <a:gd name="T0" fmla="*/ 42 w 44"/>
                  <a:gd name="T1" fmla="*/ 26 h 37"/>
                  <a:gd name="T2" fmla="*/ 44 w 44"/>
                  <a:gd name="T3" fmla="*/ 21 h 37"/>
                  <a:gd name="T4" fmla="*/ 42 w 44"/>
                  <a:gd name="T5" fmla="*/ 17 h 37"/>
                  <a:gd name="T6" fmla="*/ 42 w 44"/>
                  <a:gd name="T7" fmla="*/ 16 h 37"/>
                  <a:gd name="T8" fmla="*/ 39 w 44"/>
                  <a:gd name="T9" fmla="*/ 11 h 37"/>
                  <a:gd name="T10" fmla="*/ 41 w 44"/>
                  <a:gd name="T11" fmla="*/ 8 h 37"/>
                  <a:gd name="T12" fmla="*/ 37 w 44"/>
                  <a:gd name="T13" fmla="*/ 8 h 37"/>
                  <a:gd name="T14" fmla="*/ 37 w 44"/>
                  <a:gd name="T15" fmla="*/ 6 h 37"/>
                  <a:gd name="T16" fmla="*/ 36 w 44"/>
                  <a:gd name="T17" fmla="*/ 3 h 37"/>
                  <a:gd name="T18" fmla="*/ 32 w 44"/>
                  <a:gd name="T19" fmla="*/ 3 h 37"/>
                  <a:gd name="T20" fmla="*/ 31 w 44"/>
                  <a:gd name="T21" fmla="*/ 1 h 37"/>
                  <a:gd name="T22" fmla="*/ 27 w 44"/>
                  <a:gd name="T23" fmla="*/ 1 h 37"/>
                  <a:gd name="T24" fmla="*/ 26 w 44"/>
                  <a:gd name="T25" fmla="*/ 0 h 37"/>
                  <a:gd name="T26" fmla="*/ 21 w 44"/>
                  <a:gd name="T27" fmla="*/ 0 h 37"/>
                  <a:gd name="T28" fmla="*/ 19 w 44"/>
                  <a:gd name="T29" fmla="*/ 1 h 37"/>
                  <a:gd name="T30" fmla="*/ 18 w 44"/>
                  <a:gd name="T31" fmla="*/ 1 h 37"/>
                  <a:gd name="T32" fmla="*/ 16 w 44"/>
                  <a:gd name="T33" fmla="*/ 3 h 37"/>
                  <a:gd name="T34" fmla="*/ 14 w 44"/>
                  <a:gd name="T35" fmla="*/ 3 h 37"/>
                  <a:gd name="T36" fmla="*/ 13 w 44"/>
                  <a:gd name="T37" fmla="*/ 4 h 37"/>
                  <a:gd name="T38" fmla="*/ 11 w 44"/>
                  <a:gd name="T39" fmla="*/ 3 h 37"/>
                  <a:gd name="T40" fmla="*/ 8 w 44"/>
                  <a:gd name="T41" fmla="*/ 3 h 37"/>
                  <a:gd name="T42" fmla="*/ 6 w 44"/>
                  <a:gd name="T43" fmla="*/ 1 h 37"/>
                  <a:gd name="T44" fmla="*/ 5 w 44"/>
                  <a:gd name="T45" fmla="*/ 0 h 37"/>
                  <a:gd name="T46" fmla="*/ 1 w 44"/>
                  <a:gd name="T47" fmla="*/ 3 h 37"/>
                  <a:gd name="T48" fmla="*/ 0 w 44"/>
                  <a:gd name="T49" fmla="*/ 6 h 37"/>
                  <a:gd name="T50" fmla="*/ 1 w 44"/>
                  <a:gd name="T51" fmla="*/ 8 h 37"/>
                  <a:gd name="T52" fmla="*/ 1 w 44"/>
                  <a:gd name="T53" fmla="*/ 13 h 37"/>
                  <a:gd name="T54" fmla="*/ 6 w 44"/>
                  <a:gd name="T55" fmla="*/ 14 h 37"/>
                  <a:gd name="T56" fmla="*/ 6 w 44"/>
                  <a:gd name="T57" fmla="*/ 17 h 37"/>
                  <a:gd name="T58" fmla="*/ 11 w 44"/>
                  <a:gd name="T59" fmla="*/ 21 h 37"/>
                  <a:gd name="T60" fmla="*/ 13 w 44"/>
                  <a:gd name="T61" fmla="*/ 21 h 37"/>
                  <a:gd name="T62" fmla="*/ 14 w 44"/>
                  <a:gd name="T63" fmla="*/ 22 h 37"/>
                  <a:gd name="T64" fmla="*/ 16 w 44"/>
                  <a:gd name="T65" fmla="*/ 24 h 37"/>
                  <a:gd name="T66" fmla="*/ 16 w 44"/>
                  <a:gd name="T67" fmla="*/ 29 h 37"/>
                  <a:gd name="T68" fmla="*/ 21 w 44"/>
                  <a:gd name="T69" fmla="*/ 31 h 37"/>
                  <a:gd name="T70" fmla="*/ 23 w 44"/>
                  <a:gd name="T71" fmla="*/ 29 h 37"/>
                  <a:gd name="T72" fmla="*/ 24 w 44"/>
                  <a:gd name="T73" fmla="*/ 29 h 37"/>
                  <a:gd name="T74" fmla="*/ 26 w 44"/>
                  <a:gd name="T75" fmla="*/ 31 h 37"/>
                  <a:gd name="T76" fmla="*/ 27 w 44"/>
                  <a:gd name="T77" fmla="*/ 31 h 37"/>
                  <a:gd name="T78" fmla="*/ 31 w 44"/>
                  <a:gd name="T79" fmla="*/ 35 h 37"/>
                  <a:gd name="T80" fmla="*/ 34 w 44"/>
                  <a:gd name="T81" fmla="*/ 35 h 37"/>
                  <a:gd name="T82" fmla="*/ 37 w 44"/>
                  <a:gd name="T83" fmla="*/ 37 h 37"/>
                  <a:gd name="T84" fmla="*/ 39 w 44"/>
                  <a:gd name="T85" fmla="*/ 37 h 37"/>
                  <a:gd name="T86" fmla="*/ 41 w 44"/>
                  <a:gd name="T87" fmla="*/ 37 h 37"/>
                  <a:gd name="T88" fmla="*/ 41 w 44"/>
                  <a:gd name="T89" fmla="*/ 35 h 37"/>
                  <a:gd name="T90" fmla="*/ 39 w 44"/>
                  <a:gd name="T91" fmla="*/ 34 h 37"/>
                  <a:gd name="T92" fmla="*/ 39 w 44"/>
                  <a:gd name="T93" fmla="*/ 32 h 37"/>
                  <a:gd name="T94" fmla="*/ 39 w 44"/>
                  <a:gd name="T95" fmla="*/ 31 h 37"/>
                  <a:gd name="T96" fmla="*/ 41 w 44"/>
                  <a:gd name="T97" fmla="*/ 27 h 37"/>
                  <a:gd name="T98" fmla="*/ 41 w 44"/>
                  <a:gd name="T99" fmla="*/ 26 h 37"/>
                  <a:gd name="T100" fmla="*/ 42 w 44"/>
                  <a:gd name="T101" fmla="*/ 2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4" h="37">
                    <a:moveTo>
                      <a:pt x="42" y="26"/>
                    </a:moveTo>
                    <a:lnTo>
                      <a:pt x="44" y="21"/>
                    </a:lnTo>
                    <a:lnTo>
                      <a:pt x="42" y="17"/>
                    </a:lnTo>
                    <a:lnTo>
                      <a:pt x="42" y="16"/>
                    </a:lnTo>
                    <a:lnTo>
                      <a:pt x="39" y="11"/>
                    </a:lnTo>
                    <a:lnTo>
                      <a:pt x="41" y="8"/>
                    </a:lnTo>
                    <a:lnTo>
                      <a:pt x="37" y="8"/>
                    </a:lnTo>
                    <a:lnTo>
                      <a:pt x="37" y="6"/>
                    </a:lnTo>
                    <a:lnTo>
                      <a:pt x="36" y="3"/>
                    </a:lnTo>
                    <a:lnTo>
                      <a:pt x="32" y="3"/>
                    </a:lnTo>
                    <a:lnTo>
                      <a:pt x="31" y="1"/>
                    </a:lnTo>
                    <a:lnTo>
                      <a:pt x="27" y="1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9" y="1"/>
                    </a:lnTo>
                    <a:lnTo>
                      <a:pt x="18" y="1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13" y="4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3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16" y="29"/>
                    </a:lnTo>
                    <a:lnTo>
                      <a:pt x="21" y="31"/>
                    </a:lnTo>
                    <a:lnTo>
                      <a:pt x="23" y="29"/>
                    </a:lnTo>
                    <a:lnTo>
                      <a:pt x="24" y="29"/>
                    </a:lnTo>
                    <a:lnTo>
                      <a:pt x="26" y="31"/>
                    </a:lnTo>
                    <a:lnTo>
                      <a:pt x="27" y="31"/>
                    </a:lnTo>
                    <a:lnTo>
                      <a:pt x="31" y="35"/>
                    </a:lnTo>
                    <a:lnTo>
                      <a:pt x="34" y="35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1" y="37"/>
                    </a:lnTo>
                    <a:lnTo>
                      <a:pt x="41" y="35"/>
                    </a:lnTo>
                    <a:lnTo>
                      <a:pt x="39" y="34"/>
                    </a:lnTo>
                    <a:lnTo>
                      <a:pt x="39" y="32"/>
                    </a:lnTo>
                    <a:lnTo>
                      <a:pt x="39" y="31"/>
                    </a:lnTo>
                    <a:lnTo>
                      <a:pt x="41" y="27"/>
                    </a:lnTo>
                    <a:lnTo>
                      <a:pt x="41" y="26"/>
                    </a:lnTo>
                    <a:lnTo>
                      <a:pt x="42" y="2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5" name="Freeform 217">
                <a:extLst>
                  <a:ext uri="{FF2B5EF4-FFF2-40B4-BE49-F238E27FC236}">
                    <a16:creationId xmlns:a16="http://schemas.microsoft.com/office/drawing/2014/main" xmlns="" id="{E100124A-BA4C-46E1-8C97-187D24B49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6" y="1167"/>
                <a:ext cx="10" cy="14"/>
              </a:xfrm>
              <a:custGeom>
                <a:avLst/>
                <a:gdLst>
                  <a:gd name="T0" fmla="*/ 2 w 10"/>
                  <a:gd name="T1" fmla="*/ 11 h 14"/>
                  <a:gd name="T2" fmla="*/ 2 w 10"/>
                  <a:gd name="T3" fmla="*/ 9 h 14"/>
                  <a:gd name="T4" fmla="*/ 0 w 10"/>
                  <a:gd name="T5" fmla="*/ 8 h 14"/>
                  <a:gd name="T6" fmla="*/ 0 w 10"/>
                  <a:gd name="T7" fmla="*/ 6 h 14"/>
                  <a:gd name="T8" fmla="*/ 0 w 10"/>
                  <a:gd name="T9" fmla="*/ 5 h 14"/>
                  <a:gd name="T10" fmla="*/ 2 w 10"/>
                  <a:gd name="T11" fmla="*/ 1 h 14"/>
                  <a:gd name="T12" fmla="*/ 2 w 10"/>
                  <a:gd name="T13" fmla="*/ 0 h 14"/>
                  <a:gd name="T14" fmla="*/ 3 w 10"/>
                  <a:gd name="T15" fmla="*/ 0 h 14"/>
                  <a:gd name="T16" fmla="*/ 8 w 10"/>
                  <a:gd name="T17" fmla="*/ 5 h 14"/>
                  <a:gd name="T18" fmla="*/ 8 w 10"/>
                  <a:gd name="T19" fmla="*/ 8 h 14"/>
                  <a:gd name="T20" fmla="*/ 10 w 10"/>
                  <a:gd name="T21" fmla="*/ 9 h 14"/>
                  <a:gd name="T22" fmla="*/ 10 w 10"/>
                  <a:gd name="T23" fmla="*/ 14 h 14"/>
                  <a:gd name="T24" fmla="*/ 8 w 10"/>
                  <a:gd name="T25" fmla="*/ 14 h 14"/>
                  <a:gd name="T26" fmla="*/ 3 w 10"/>
                  <a:gd name="T27" fmla="*/ 14 h 14"/>
                  <a:gd name="T28" fmla="*/ 2 w 10"/>
                  <a:gd name="T29" fmla="*/ 11 h 14"/>
                  <a:gd name="T30" fmla="*/ 2 w 10"/>
                  <a:gd name="T3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14">
                    <a:moveTo>
                      <a:pt x="2" y="11"/>
                    </a:moveTo>
                    <a:lnTo>
                      <a:pt x="2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10" y="9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9" name="Freeform 218">
                <a:extLst>
                  <a:ext uri="{FF2B5EF4-FFF2-40B4-BE49-F238E27FC236}">
                    <a16:creationId xmlns:a16="http://schemas.microsoft.com/office/drawing/2014/main" xmlns="" id="{9A2DB79C-9FFC-4398-B69F-28A7C6A3D8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0" y="879"/>
                <a:ext cx="11" cy="26"/>
              </a:xfrm>
              <a:custGeom>
                <a:avLst/>
                <a:gdLst>
                  <a:gd name="T0" fmla="*/ 3 w 7"/>
                  <a:gd name="T1" fmla="*/ 13 h 16"/>
                  <a:gd name="T2" fmla="*/ 5 w 7"/>
                  <a:gd name="T3" fmla="*/ 16 h 16"/>
                  <a:gd name="T4" fmla="*/ 4 w 7"/>
                  <a:gd name="T5" fmla="*/ 14 h 16"/>
                  <a:gd name="T6" fmla="*/ 5 w 7"/>
                  <a:gd name="T7" fmla="*/ 13 h 16"/>
                  <a:gd name="T8" fmla="*/ 3 w 7"/>
                  <a:gd name="T9" fmla="*/ 13 h 16"/>
                  <a:gd name="T10" fmla="*/ 4 w 7"/>
                  <a:gd name="T11" fmla="*/ 8 h 16"/>
                  <a:gd name="T12" fmla="*/ 3 w 7"/>
                  <a:gd name="T13" fmla="*/ 9 h 16"/>
                  <a:gd name="T14" fmla="*/ 5 w 7"/>
                  <a:gd name="T15" fmla="*/ 10 h 16"/>
                  <a:gd name="T16" fmla="*/ 5 w 7"/>
                  <a:gd name="T17" fmla="*/ 9 h 16"/>
                  <a:gd name="T18" fmla="*/ 4 w 7"/>
                  <a:gd name="T19" fmla="*/ 8 h 16"/>
                  <a:gd name="T20" fmla="*/ 0 w 7"/>
                  <a:gd name="T21" fmla="*/ 2 h 16"/>
                  <a:gd name="T22" fmla="*/ 0 w 7"/>
                  <a:gd name="T23" fmla="*/ 4 h 16"/>
                  <a:gd name="T24" fmla="*/ 1 w 7"/>
                  <a:gd name="T25" fmla="*/ 5 h 16"/>
                  <a:gd name="T26" fmla="*/ 0 w 7"/>
                  <a:gd name="T27" fmla="*/ 2 h 16"/>
                  <a:gd name="T28" fmla="*/ 5 w 7"/>
                  <a:gd name="T29" fmla="*/ 0 h 16"/>
                  <a:gd name="T30" fmla="*/ 7 w 7"/>
                  <a:gd name="T31" fmla="*/ 2 h 16"/>
                  <a:gd name="T32" fmla="*/ 6 w 7"/>
                  <a:gd name="T33" fmla="*/ 0 h 16"/>
                  <a:gd name="T34" fmla="*/ 5 w 7"/>
                  <a:gd name="T35" fmla="*/ 0 h 16"/>
                  <a:gd name="T36" fmla="*/ 2 w 7"/>
                  <a:gd name="T37" fmla="*/ 0 h 16"/>
                  <a:gd name="T38" fmla="*/ 3 w 7"/>
                  <a:gd name="T39" fmla="*/ 0 h 16"/>
                  <a:gd name="T40" fmla="*/ 5 w 7"/>
                  <a:gd name="T41" fmla="*/ 2 h 16"/>
                  <a:gd name="T42" fmla="*/ 5 w 7"/>
                  <a:gd name="T43" fmla="*/ 3 h 16"/>
                  <a:gd name="T44" fmla="*/ 4 w 7"/>
                  <a:gd name="T45" fmla="*/ 3 h 16"/>
                  <a:gd name="T46" fmla="*/ 2 w 7"/>
                  <a:gd name="T47" fmla="*/ 0 h 16"/>
                  <a:gd name="T48" fmla="*/ 2 w 7"/>
                  <a:gd name="T49" fmla="*/ 1 h 16"/>
                  <a:gd name="T50" fmla="*/ 4 w 7"/>
                  <a:gd name="T51" fmla="*/ 5 h 16"/>
                  <a:gd name="T52" fmla="*/ 6 w 7"/>
                  <a:gd name="T53" fmla="*/ 6 h 16"/>
                  <a:gd name="T54" fmla="*/ 4 w 7"/>
                  <a:gd name="T55" fmla="*/ 6 h 16"/>
                  <a:gd name="T56" fmla="*/ 2 w 7"/>
                  <a:gd name="T57" fmla="*/ 4 h 16"/>
                  <a:gd name="T58" fmla="*/ 1 w 7"/>
                  <a:gd name="T59" fmla="*/ 1 h 16"/>
                  <a:gd name="T60" fmla="*/ 2 w 7"/>
                  <a:gd name="T61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" h="16">
                    <a:moveTo>
                      <a:pt x="3" y="13"/>
                    </a:moveTo>
                    <a:cubicBezTo>
                      <a:pt x="5" y="16"/>
                      <a:pt x="5" y="16"/>
                      <a:pt x="5" y="16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3" y="13"/>
                      <a:pt x="3" y="13"/>
                      <a:pt x="3" y="13"/>
                    </a:cubicBezTo>
                    <a:close/>
                    <a:moveTo>
                      <a:pt x="4" y="8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  <a:moveTo>
                      <a:pt x="0" y="2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  <a:moveTo>
                      <a:pt x="5" y="0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  <a:moveTo>
                      <a:pt x="2" y="1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1"/>
                      <a:pt x="1" y="1"/>
                      <a:pt x="1" y="1"/>
                    </a:cubicBez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3" name="Freeform 219">
                <a:extLst>
                  <a:ext uri="{FF2B5EF4-FFF2-40B4-BE49-F238E27FC236}">
                    <a16:creationId xmlns:a16="http://schemas.microsoft.com/office/drawing/2014/main" xmlns="" id="{675F20B2-7F72-4189-B86F-EB32F7ECD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1051"/>
                <a:ext cx="64" cy="85"/>
              </a:xfrm>
              <a:custGeom>
                <a:avLst/>
                <a:gdLst>
                  <a:gd name="T0" fmla="*/ 28 w 64"/>
                  <a:gd name="T1" fmla="*/ 83 h 85"/>
                  <a:gd name="T2" fmla="*/ 33 w 64"/>
                  <a:gd name="T3" fmla="*/ 78 h 85"/>
                  <a:gd name="T4" fmla="*/ 37 w 64"/>
                  <a:gd name="T5" fmla="*/ 76 h 85"/>
                  <a:gd name="T6" fmla="*/ 49 w 64"/>
                  <a:gd name="T7" fmla="*/ 73 h 85"/>
                  <a:gd name="T8" fmla="*/ 54 w 64"/>
                  <a:gd name="T9" fmla="*/ 72 h 85"/>
                  <a:gd name="T10" fmla="*/ 57 w 64"/>
                  <a:gd name="T11" fmla="*/ 68 h 85"/>
                  <a:gd name="T12" fmla="*/ 60 w 64"/>
                  <a:gd name="T13" fmla="*/ 60 h 85"/>
                  <a:gd name="T14" fmla="*/ 64 w 64"/>
                  <a:gd name="T15" fmla="*/ 47 h 85"/>
                  <a:gd name="T16" fmla="*/ 64 w 64"/>
                  <a:gd name="T17" fmla="*/ 42 h 85"/>
                  <a:gd name="T18" fmla="*/ 59 w 64"/>
                  <a:gd name="T19" fmla="*/ 34 h 85"/>
                  <a:gd name="T20" fmla="*/ 59 w 64"/>
                  <a:gd name="T21" fmla="*/ 29 h 85"/>
                  <a:gd name="T22" fmla="*/ 49 w 64"/>
                  <a:gd name="T23" fmla="*/ 21 h 85"/>
                  <a:gd name="T24" fmla="*/ 44 w 64"/>
                  <a:gd name="T25" fmla="*/ 27 h 85"/>
                  <a:gd name="T26" fmla="*/ 44 w 64"/>
                  <a:gd name="T27" fmla="*/ 13 h 85"/>
                  <a:gd name="T28" fmla="*/ 49 w 64"/>
                  <a:gd name="T29" fmla="*/ 8 h 85"/>
                  <a:gd name="T30" fmla="*/ 54 w 64"/>
                  <a:gd name="T31" fmla="*/ 3 h 85"/>
                  <a:gd name="T32" fmla="*/ 49 w 64"/>
                  <a:gd name="T33" fmla="*/ 1 h 85"/>
                  <a:gd name="T34" fmla="*/ 44 w 64"/>
                  <a:gd name="T35" fmla="*/ 9 h 85"/>
                  <a:gd name="T36" fmla="*/ 44 w 64"/>
                  <a:gd name="T37" fmla="*/ 1 h 85"/>
                  <a:gd name="T38" fmla="*/ 41 w 64"/>
                  <a:gd name="T39" fmla="*/ 5 h 85"/>
                  <a:gd name="T40" fmla="*/ 34 w 64"/>
                  <a:gd name="T41" fmla="*/ 6 h 85"/>
                  <a:gd name="T42" fmla="*/ 34 w 64"/>
                  <a:gd name="T43" fmla="*/ 9 h 85"/>
                  <a:gd name="T44" fmla="*/ 33 w 64"/>
                  <a:gd name="T45" fmla="*/ 13 h 85"/>
                  <a:gd name="T46" fmla="*/ 33 w 64"/>
                  <a:gd name="T47" fmla="*/ 16 h 85"/>
                  <a:gd name="T48" fmla="*/ 37 w 64"/>
                  <a:gd name="T49" fmla="*/ 16 h 85"/>
                  <a:gd name="T50" fmla="*/ 31 w 64"/>
                  <a:gd name="T51" fmla="*/ 23 h 85"/>
                  <a:gd name="T52" fmla="*/ 23 w 64"/>
                  <a:gd name="T53" fmla="*/ 26 h 85"/>
                  <a:gd name="T54" fmla="*/ 15 w 64"/>
                  <a:gd name="T55" fmla="*/ 23 h 85"/>
                  <a:gd name="T56" fmla="*/ 11 w 64"/>
                  <a:gd name="T57" fmla="*/ 24 h 85"/>
                  <a:gd name="T58" fmla="*/ 13 w 64"/>
                  <a:gd name="T59" fmla="*/ 29 h 85"/>
                  <a:gd name="T60" fmla="*/ 8 w 64"/>
                  <a:gd name="T61" fmla="*/ 27 h 85"/>
                  <a:gd name="T62" fmla="*/ 16 w 64"/>
                  <a:gd name="T63" fmla="*/ 34 h 85"/>
                  <a:gd name="T64" fmla="*/ 13 w 64"/>
                  <a:gd name="T65" fmla="*/ 37 h 85"/>
                  <a:gd name="T66" fmla="*/ 8 w 64"/>
                  <a:gd name="T67" fmla="*/ 40 h 85"/>
                  <a:gd name="T68" fmla="*/ 11 w 64"/>
                  <a:gd name="T69" fmla="*/ 44 h 85"/>
                  <a:gd name="T70" fmla="*/ 24 w 64"/>
                  <a:gd name="T71" fmla="*/ 47 h 85"/>
                  <a:gd name="T72" fmla="*/ 16 w 64"/>
                  <a:gd name="T73" fmla="*/ 54 h 85"/>
                  <a:gd name="T74" fmla="*/ 10 w 64"/>
                  <a:gd name="T75" fmla="*/ 60 h 85"/>
                  <a:gd name="T76" fmla="*/ 16 w 64"/>
                  <a:gd name="T77" fmla="*/ 60 h 85"/>
                  <a:gd name="T78" fmla="*/ 23 w 64"/>
                  <a:gd name="T79" fmla="*/ 58 h 85"/>
                  <a:gd name="T80" fmla="*/ 13 w 64"/>
                  <a:gd name="T81" fmla="*/ 62 h 85"/>
                  <a:gd name="T82" fmla="*/ 10 w 64"/>
                  <a:gd name="T83" fmla="*/ 67 h 85"/>
                  <a:gd name="T84" fmla="*/ 8 w 64"/>
                  <a:gd name="T85" fmla="*/ 68 h 85"/>
                  <a:gd name="T86" fmla="*/ 5 w 64"/>
                  <a:gd name="T87" fmla="*/ 67 h 85"/>
                  <a:gd name="T88" fmla="*/ 11 w 64"/>
                  <a:gd name="T89" fmla="*/ 70 h 85"/>
                  <a:gd name="T90" fmla="*/ 2 w 64"/>
                  <a:gd name="T91" fmla="*/ 76 h 85"/>
                  <a:gd name="T92" fmla="*/ 13 w 64"/>
                  <a:gd name="T93" fmla="*/ 76 h 85"/>
                  <a:gd name="T94" fmla="*/ 8 w 64"/>
                  <a:gd name="T95" fmla="*/ 83 h 85"/>
                  <a:gd name="T96" fmla="*/ 10 w 64"/>
                  <a:gd name="T97" fmla="*/ 83 h 85"/>
                  <a:gd name="T98" fmla="*/ 15 w 64"/>
                  <a:gd name="T9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4" h="85">
                    <a:moveTo>
                      <a:pt x="16" y="85"/>
                    </a:moveTo>
                    <a:lnTo>
                      <a:pt x="21" y="85"/>
                    </a:lnTo>
                    <a:lnTo>
                      <a:pt x="28" y="83"/>
                    </a:lnTo>
                    <a:lnTo>
                      <a:pt x="31" y="80"/>
                    </a:lnTo>
                    <a:lnTo>
                      <a:pt x="29" y="78"/>
                    </a:lnTo>
                    <a:lnTo>
                      <a:pt x="33" y="78"/>
                    </a:lnTo>
                    <a:lnTo>
                      <a:pt x="31" y="80"/>
                    </a:lnTo>
                    <a:lnTo>
                      <a:pt x="34" y="80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41" y="73"/>
                    </a:lnTo>
                    <a:lnTo>
                      <a:pt x="49" y="73"/>
                    </a:lnTo>
                    <a:lnTo>
                      <a:pt x="51" y="70"/>
                    </a:lnTo>
                    <a:lnTo>
                      <a:pt x="52" y="73"/>
                    </a:lnTo>
                    <a:lnTo>
                      <a:pt x="54" y="72"/>
                    </a:lnTo>
                    <a:lnTo>
                      <a:pt x="55" y="72"/>
                    </a:lnTo>
                    <a:lnTo>
                      <a:pt x="60" y="72"/>
                    </a:lnTo>
                    <a:lnTo>
                      <a:pt x="57" y="68"/>
                    </a:lnTo>
                    <a:lnTo>
                      <a:pt x="59" y="67"/>
                    </a:lnTo>
                    <a:lnTo>
                      <a:pt x="62" y="63"/>
                    </a:lnTo>
                    <a:lnTo>
                      <a:pt x="60" y="60"/>
                    </a:lnTo>
                    <a:lnTo>
                      <a:pt x="64" y="58"/>
                    </a:lnTo>
                    <a:lnTo>
                      <a:pt x="64" y="55"/>
                    </a:lnTo>
                    <a:lnTo>
                      <a:pt x="64" y="47"/>
                    </a:lnTo>
                    <a:lnTo>
                      <a:pt x="60" y="47"/>
                    </a:lnTo>
                    <a:lnTo>
                      <a:pt x="64" y="45"/>
                    </a:lnTo>
                    <a:lnTo>
                      <a:pt x="64" y="42"/>
                    </a:lnTo>
                    <a:lnTo>
                      <a:pt x="62" y="39"/>
                    </a:lnTo>
                    <a:lnTo>
                      <a:pt x="62" y="36"/>
                    </a:lnTo>
                    <a:lnTo>
                      <a:pt x="59" y="34"/>
                    </a:lnTo>
                    <a:lnTo>
                      <a:pt x="60" y="31"/>
                    </a:lnTo>
                    <a:lnTo>
                      <a:pt x="62" y="32"/>
                    </a:lnTo>
                    <a:lnTo>
                      <a:pt x="59" y="29"/>
                    </a:lnTo>
                    <a:lnTo>
                      <a:pt x="57" y="29"/>
                    </a:lnTo>
                    <a:lnTo>
                      <a:pt x="54" y="23"/>
                    </a:lnTo>
                    <a:lnTo>
                      <a:pt x="49" y="21"/>
                    </a:lnTo>
                    <a:lnTo>
                      <a:pt x="47" y="23"/>
                    </a:lnTo>
                    <a:lnTo>
                      <a:pt x="47" y="26"/>
                    </a:lnTo>
                    <a:lnTo>
                      <a:pt x="44" y="27"/>
                    </a:lnTo>
                    <a:lnTo>
                      <a:pt x="37" y="21"/>
                    </a:lnTo>
                    <a:lnTo>
                      <a:pt x="41" y="13"/>
                    </a:lnTo>
                    <a:lnTo>
                      <a:pt x="44" y="13"/>
                    </a:lnTo>
                    <a:lnTo>
                      <a:pt x="46" y="9"/>
                    </a:lnTo>
                    <a:lnTo>
                      <a:pt x="47" y="9"/>
                    </a:lnTo>
                    <a:lnTo>
                      <a:pt x="49" y="8"/>
                    </a:lnTo>
                    <a:lnTo>
                      <a:pt x="47" y="8"/>
                    </a:lnTo>
                    <a:lnTo>
                      <a:pt x="51" y="5"/>
                    </a:lnTo>
                    <a:lnTo>
                      <a:pt x="54" y="3"/>
                    </a:lnTo>
                    <a:lnTo>
                      <a:pt x="51" y="1"/>
                    </a:lnTo>
                    <a:lnTo>
                      <a:pt x="47" y="0"/>
                    </a:lnTo>
                    <a:lnTo>
                      <a:pt x="49" y="1"/>
                    </a:lnTo>
                    <a:lnTo>
                      <a:pt x="46" y="1"/>
                    </a:lnTo>
                    <a:lnTo>
                      <a:pt x="46" y="5"/>
                    </a:lnTo>
                    <a:lnTo>
                      <a:pt x="44" y="9"/>
                    </a:lnTo>
                    <a:lnTo>
                      <a:pt x="44" y="6"/>
                    </a:lnTo>
                    <a:lnTo>
                      <a:pt x="46" y="5"/>
                    </a:lnTo>
                    <a:lnTo>
                      <a:pt x="44" y="1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39" y="3"/>
                    </a:lnTo>
                    <a:lnTo>
                      <a:pt x="34" y="5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3" y="9"/>
                    </a:lnTo>
                    <a:lnTo>
                      <a:pt x="34" y="9"/>
                    </a:lnTo>
                    <a:lnTo>
                      <a:pt x="34" y="11"/>
                    </a:lnTo>
                    <a:lnTo>
                      <a:pt x="33" y="11"/>
                    </a:lnTo>
                    <a:lnTo>
                      <a:pt x="33" y="13"/>
                    </a:lnTo>
                    <a:lnTo>
                      <a:pt x="29" y="13"/>
                    </a:lnTo>
                    <a:lnTo>
                      <a:pt x="29" y="16"/>
                    </a:lnTo>
                    <a:lnTo>
                      <a:pt x="33" y="16"/>
                    </a:lnTo>
                    <a:lnTo>
                      <a:pt x="33" y="18"/>
                    </a:lnTo>
                    <a:lnTo>
                      <a:pt x="36" y="16"/>
                    </a:lnTo>
                    <a:lnTo>
                      <a:pt x="37" y="16"/>
                    </a:lnTo>
                    <a:lnTo>
                      <a:pt x="34" y="19"/>
                    </a:lnTo>
                    <a:lnTo>
                      <a:pt x="29" y="21"/>
                    </a:lnTo>
                    <a:lnTo>
                      <a:pt x="31" y="23"/>
                    </a:lnTo>
                    <a:lnTo>
                      <a:pt x="26" y="24"/>
                    </a:lnTo>
                    <a:lnTo>
                      <a:pt x="24" y="23"/>
                    </a:lnTo>
                    <a:lnTo>
                      <a:pt x="23" y="26"/>
                    </a:lnTo>
                    <a:lnTo>
                      <a:pt x="21" y="23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0" y="21"/>
                    </a:lnTo>
                    <a:lnTo>
                      <a:pt x="10" y="26"/>
                    </a:lnTo>
                    <a:lnTo>
                      <a:pt x="11" y="24"/>
                    </a:lnTo>
                    <a:lnTo>
                      <a:pt x="11" y="26"/>
                    </a:lnTo>
                    <a:lnTo>
                      <a:pt x="13" y="27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11" y="31"/>
                    </a:lnTo>
                    <a:lnTo>
                      <a:pt x="15" y="31"/>
                    </a:lnTo>
                    <a:lnTo>
                      <a:pt x="16" y="34"/>
                    </a:lnTo>
                    <a:lnTo>
                      <a:pt x="11" y="34"/>
                    </a:lnTo>
                    <a:lnTo>
                      <a:pt x="11" y="36"/>
                    </a:lnTo>
                    <a:lnTo>
                      <a:pt x="13" y="37"/>
                    </a:lnTo>
                    <a:lnTo>
                      <a:pt x="8" y="37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10" y="42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5" y="42"/>
                    </a:lnTo>
                    <a:lnTo>
                      <a:pt x="15" y="47"/>
                    </a:lnTo>
                    <a:lnTo>
                      <a:pt x="24" y="47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5" y="57"/>
                    </a:lnTo>
                    <a:lnTo>
                      <a:pt x="10" y="60"/>
                    </a:lnTo>
                    <a:lnTo>
                      <a:pt x="11" y="60"/>
                    </a:lnTo>
                    <a:lnTo>
                      <a:pt x="15" y="58"/>
                    </a:lnTo>
                    <a:lnTo>
                      <a:pt x="16" y="60"/>
                    </a:lnTo>
                    <a:lnTo>
                      <a:pt x="19" y="60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6" y="58"/>
                    </a:lnTo>
                    <a:lnTo>
                      <a:pt x="19" y="62"/>
                    </a:lnTo>
                    <a:lnTo>
                      <a:pt x="13" y="62"/>
                    </a:lnTo>
                    <a:lnTo>
                      <a:pt x="13" y="63"/>
                    </a:lnTo>
                    <a:lnTo>
                      <a:pt x="10" y="65"/>
                    </a:lnTo>
                    <a:lnTo>
                      <a:pt x="10" y="67"/>
                    </a:lnTo>
                    <a:lnTo>
                      <a:pt x="10" y="68"/>
                    </a:lnTo>
                    <a:lnTo>
                      <a:pt x="11" y="68"/>
                    </a:lnTo>
                    <a:lnTo>
                      <a:pt x="8" y="68"/>
                    </a:lnTo>
                    <a:lnTo>
                      <a:pt x="6" y="67"/>
                    </a:lnTo>
                    <a:lnTo>
                      <a:pt x="5" y="68"/>
                    </a:lnTo>
                    <a:lnTo>
                      <a:pt x="5" y="67"/>
                    </a:lnTo>
                    <a:lnTo>
                      <a:pt x="0" y="70"/>
                    </a:lnTo>
                    <a:lnTo>
                      <a:pt x="2" y="70"/>
                    </a:lnTo>
                    <a:lnTo>
                      <a:pt x="11" y="70"/>
                    </a:lnTo>
                    <a:lnTo>
                      <a:pt x="8" y="73"/>
                    </a:lnTo>
                    <a:lnTo>
                      <a:pt x="3" y="73"/>
                    </a:lnTo>
                    <a:lnTo>
                      <a:pt x="2" y="76"/>
                    </a:lnTo>
                    <a:lnTo>
                      <a:pt x="5" y="76"/>
                    </a:lnTo>
                    <a:lnTo>
                      <a:pt x="5" y="80"/>
                    </a:lnTo>
                    <a:lnTo>
                      <a:pt x="13" y="76"/>
                    </a:lnTo>
                    <a:lnTo>
                      <a:pt x="6" y="80"/>
                    </a:lnTo>
                    <a:lnTo>
                      <a:pt x="5" y="83"/>
                    </a:lnTo>
                    <a:lnTo>
                      <a:pt x="8" y="83"/>
                    </a:lnTo>
                    <a:lnTo>
                      <a:pt x="13" y="80"/>
                    </a:lnTo>
                    <a:lnTo>
                      <a:pt x="13" y="81"/>
                    </a:lnTo>
                    <a:lnTo>
                      <a:pt x="10" y="83"/>
                    </a:lnTo>
                    <a:lnTo>
                      <a:pt x="11" y="83"/>
                    </a:lnTo>
                    <a:lnTo>
                      <a:pt x="11" y="85"/>
                    </a:lnTo>
                    <a:lnTo>
                      <a:pt x="15" y="85"/>
                    </a:lnTo>
                    <a:lnTo>
                      <a:pt x="16" y="8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4" name="Freeform 220">
                <a:extLst>
                  <a:ext uri="{FF2B5EF4-FFF2-40B4-BE49-F238E27FC236}">
                    <a16:creationId xmlns:a16="http://schemas.microsoft.com/office/drawing/2014/main" xmlns="" id="{6E6DD017-8BF6-4F41-9D58-6FEB6A057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6" y="918"/>
                <a:ext cx="138" cy="255"/>
              </a:xfrm>
              <a:custGeom>
                <a:avLst/>
                <a:gdLst>
                  <a:gd name="T0" fmla="*/ 4 w 84"/>
                  <a:gd name="T1" fmla="*/ 89 h 156"/>
                  <a:gd name="T2" fmla="*/ 20 w 84"/>
                  <a:gd name="T3" fmla="*/ 90 h 156"/>
                  <a:gd name="T4" fmla="*/ 18 w 84"/>
                  <a:gd name="T5" fmla="*/ 98 h 156"/>
                  <a:gd name="T6" fmla="*/ 60 w 84"/>
                  <a:gd name="T7" fmla="*/ 0 h 156"/>
                  <a:gd name="T8" fmla="*/ 58 w 84"/>
                  <a:gd name="T9" fmla="*/ 2 h 156"/>
                  <a:gd name="T10" fmla="*/ 56 w 84"/>
                  <a:gd name="T11" fmla="*/ 6 h 156"/>
                  <a:gd name="T12" fmla="*/ 77 w 84"/>
                  <a:gd name="T13" fmla="*/ 135 h 156"/>
                  <a:gd name="T14" fmla="*/ 56 w 84"/>
                  <a:gd name="T15" fmla="*/ 147 h 156"/>
                  <a:gd name="T16" fmla="*/ 10 w 84"/>
                  <a:gd name="T17" fmla="*/ 65 h 156"/>
                  <a:gd name="T18" fmla="*/ 14 w 84"/>
                  <a:gd name="T19" fmla="*/ 58 h 156"/>
                  <a:gd name="T20" fmla="*/ 40 w 84"/>
                  <a:gd name="T21" fmla="*/ 31 h 156"/>
                  <a:gd name="T22" fmla="*/ 39 w 84"/>
                  <a:gd name="T23" fmla="*/ 35 h 156"/>
                  <a:gd name="T24" fmla="*/ 17 w 84"/>
                  <a:gd name="T25" fmla="*/ 41 h 156"/>
                  <a:gd name="T26" fmla="*/ 12 w 84"/>
                  <a:gd name="T27" fmla="*/ 46 h 156"/>
                  <a:gd name="T28" fmla="*/ 7 w 84"/>
                  <a:gd name="T29" fmla="*/ 53 h 156"/>
                  <a:gd name="T30" fmla="*/ 8 w 84"/>
                  <a:gd name="T31" fmla="*/ 55 h 156"/>
                  <a:gd name="T32" fmla="*/ 14 w 84"/>
                  <a:gd name="T33" fmla="*/ 54 h 156"/>
                  <a:gd name="T34" fmla="*/ 17 w 84"/>
                  <a:gd name="T35" fmla="*/ 54 h 156"/>
                  <a:gd name="T36" fmla="*/ 19 w 84"/>
                  <a:gd name="T37" fmla="*/ 66 h 156"/>
                  <a:gd name="T38" fmla="*/ 19 w 84"/>
                  <a:gd name="T39" fmla="*/ 74 h 156"/>
                  <a:gd name="T40" fmla="*/ 24 w 84"/>
                  <a:gd name="T41" fmla="*/ 82 h 156"/>
                  <a:gd name="T42" fmla="*/ 27 w 84"/>
                  <a:gd name="T43" fmla="*/ 100 h 156"/>
                  <a:gd name="T44" fmla="*/ 25 w 84"/>
                  <a:gd name="T45" fmla="*/ 154 h 156"/>
                  <a:gd name="T46" fmla="*/ 37 w 84"/>
                  <a:gd name="T47" fmla="*/ 153 h 156"/>
                  <a:gd name="T48" fmla="*/ 49 w 84"/>
                  <a:gd name="T49" fmla="*/ 147 h 156"/>
                  <a:gd name="T50" fmla="*/ 63 w 84"/>
                  <a:gd name="T51" fmla="*/ 145 h 156"/>
                  <a:gd name="T52" fmla="*/ 78 w 84"/>
                  <a:gd name="T53" fmla="*/ 141 h 156"/>
                  <a:gd name="T54" fmla="*/ 75 w 84"/>
                  <a:gd name="T55" fmla="*/ 135 h 156"/>
                  <a:gd name="T56" fmla="*/ 77 w 84"/>
                  <a:gd name="T57" fmla="*/ 130 h 156"/>
                  <a:gd name="T58" fmla="*/ 83 w 84"/>
                  <a:gd name="T59" fmla="*/ 125 h 156"/>
                  <a:gd name="T60" fmla="*/ 68 w 84"/>
                  <a:gd name="T61" fmla="*/ 115 h 156"/>
                  <a:gd name="T62" fmla="*/ 63 w 84"/>
                  <a:gd name="T63" fmla="*/ 104 h 156"/>
                  <a:gd name="T64" fmla="*/ 65 w 84"/>
                  <a:gd name="T65" fmla="*/ 98 h 156"/>
                  <a:gd name="T66" fmla="*/ 52 w 84"/>
                  <a:gd name="T67" fmla="*/ 78 h 156"/>
                  <a:gd name="T68" fmla="*/ 35 w 84"/>
                  <a:gd name="T69" fmla="*/ 72 h 156"/>
                  <a:gd name="T70" fmla="*/ 39 w 84"/>
                  <a:gd name="T71" fmla="*/ 67 h 156"/>
                  <a:gd name="T72" fmla="*/ 49 w 84"/>
                  <a:gd name="T73" fmla="*/ 54 h 156"/>
                  <a:gd name="T74" fmla="*/ 37 w 84"/>
                  <a:gd name="T75" fmla="*/ 50 h 156"/>
                  <a:gd name="T76" fmla="*/ 33 w 84"/>
                  <a:gd name="T77" fmla="*/ 46 h 156"/>
                  <a:gd name="T78" fmla="*/ 34 w 84"/>
                  <a:gd name="T79" fmla="*/ 38 h 156"/>
                  <a:gd name="T80" fmla="*/ 25 w 84"/>
                  <a:gd name="T81" fmla="*/ 39 h 156"/>
                  <a:gd name="T82" fmla="*/ 22 w 84"/>
                  <a:gd name="T83" fmla="*/ 47 h 156"/>
                  <a:gd name="T84" fmla="*/ 20 w 84"/>
                  <a:gd name="T85" fmla="*/ 52 h 156"/>
                  <a:gd name="T86" fmla="*/ 21 w 84"/>
                  <a:gd name="T87" fmla="*/ 56 h 156"/>
                  <a:gd name="T88" fmla="*/ 19 w 84"/>
                  <a:gd name="T89" fmla="*/ 61 h 156"/>
                  <a:gd name="T90" fmla="*/ 20 w 84"/>
                  <a:gd name="T91" fmla="*/ 66 h 156"/>
                  <a:gd name="T92" fmla="*/ 20 w 84"/>
                  <a:gd name="T93" fmla="*/ 75 h 156"/>
                  <a:gd name="T94" fmla="*/ 23 w 84"/>
                  <a:gd name="T95" fmla="*/ 76 h 156"/>
                  <a:gd name="T96" fmla="*/ 26 w 84"/>
                  <a:gd name="T97" fmla="*/ 71 h 156"/>
                  <a:gd name="T98" fmla="*/ 26 w 84"/>
                  <a:gd name="T99" fmla="*/ 88 h 156"/>
                  <a:gd name="T100" fmla="*/ 35 w 84"/>
                  <a:gd name="T101" fmla="*/ 89 h 156"/>
                  <a:gd name="T102" fmla="*/ 44 w 84"/>
                  <a:gd name="T103" fmla="*/ 98 h 156"/>
                  <a:gd name="T104" fmla="*/ 42 w 84"/>
                  <a:gd name="T105" fmla="*/ 109 h 156"/>
                  <a:gd name="T106" fmla="*/ 27 w 84"/>
                  <a:gd name="T107" fmla="*/ 117 h 156"/>
                  <a:gd name="T108" fmla="*/ 30 w 84"/>
                  <a:gd name="T109" fmla="*/ 126 h 156"/>
                  <a:gd name="T110" fmla="*/ 26 w 84"/>
                  <a:gd name="T111" fmla="*/ 134 h 156"/>
                  <a:gd name="T112" fmla="*/ 37 w 84"/>
                  <a:gd name="T113" fmla="*/ 135 h 156"/>
                  <a:gd name="T114" fmla="*/ 41 w 84"/>
                  <a:gd name="T115" fmla="*/ 140 h 156"/>
                  <a:gd name="T116" fmla="*/ 25 w 84"/>
                  <a:gd name="T117" fmla="*/ 149 h 156"/>
                  <a:gd name="T118" fmla="*/ 23 w 84"/>
                  <a:gd name="T11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156">
                    <a:moveTo>
                      <a:pt x="15" y="101"/>
                    </a:moveTo>
                    <a:cubicBezTo>
                      <a:pt x="13" y="99"/>
                      <a:pt x="13" y="99"/>
                      <a:pt x="13" y="99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10" y="95"/>
                      <a:pt x="10" y="95"/>
                      <a:pt x="10" y="95"/>
                    </a:cubicBezTo>
                    <a:cubicBezTo>
                      <a:pt x="7" y="94"/>
                      <a:pt x="7" y="94"/>
                      <a:pt x="7" y="94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6" y="97"/>
                      <a:pt x="6" y="97"/>
                      <a:pt x="6" y="97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2" y="83"/>
                      <a:pt x="12" y="83"/>
                      <a:pt x="12" y="83"/>
                    </a:cubicBezTo>
                    <a:cubicBezTo>
                      <a:pt x="15" y="84"/>
                      <a:pt x="15" y="84"/>
                      <a:pt x="15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7" y="86"/>
                      <a:pt x="17" y="86"/>
                      <a:pt x="17" y="86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1"/>
                      <a:pt x="18" y="91"/>
                      <a:pt x="18" y="91"/>
                    </a:cubicBezTo>
                    <a:cubicBezTo>
                      <a:pt x="21" y="91"/>
                      <a:pt x="21" y="91"/>
                      <a:pt x="21" y="91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0" y="92"/>
                      <a:pt x="20" y="92"/>
                      <a:pt x="20" y="92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19" y="95"/>
                      <a:pt x="19" y="95"/>
                      <a:pt x="19" y="95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7" y="99"/>
                      <a:pt x="17" y="99"/>
                      <a:pt x="17" y="99"/>
                    </a:cubicBezTo>
                    <a:cubicBezTo>
                      <a:pt x="16" y="99"/>
                      <a:pt x="16" y="99"/>
                      <a:pt x="16" y="99"/>
                    </a:cubicBezTo>
                    <a:cubicBezTo>
                      <a:pt x="16" y="101"/>
                      <a:pt x="16" y="101"/>
                      <a:pt x="16" y="101"/>
                    </a:cubicBezTo>
                    <a:cubicBezTo>
                      <a:pt x="15" y="101"/>
                      <a:pt x="15" y="101"/>
                      <a:pt x="15" y="101"/>
                    </a:cubicBezTo>
                    <a:close/>
                    <a:moveTo>
                      <a:pt x="56" y="14"/>
                    </a:move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6" y="14"/>
                      <a:pt x="56" y="14"/>
                      <a:pt x="56" y="14"/>
                    </a:cubicBezTo>
                    <a:close/>
                    <a:moveTo>
                      <a:pt x="60" y="2"/>
                    </a:moveTo>
                    <a:cubicBezTo>
                      <a:pt x="59" y="1"/>
                      <a:pt x="59" y="1"/>
                      <a:pt x="59" y="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2"/>
                      <a:pt x="60" y="2"/>
                      <a:pt x="60" y="2"/>
                    </a:cubicBezTo>
                    <a:close/>
                    <a:moveTo>
                      <a:pt x="56" y="7"/>
                    </a:move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6" y="7"/>
                      <a:pt x="56" y="7"/>
                    </a:cubicBezTo>
                    <a:close/>
                    <a:moveTo>
                      <a:pt x="58" y="5"/>
                    </a:moveTo>
                    <a:cubicBezTo>
                      <a:pt x="57" y="4"/>
                      <a:pt x="57" y="4"/>
                      <a:pt x="57" y="4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58" y="5"/>
                      <a:pt x="58" y="5"/>
                      <a:pt x="58" y="5"/>
                    </a:cubicBezTo>
                    <a:close/>
                    <a:moveTo>
                      <a:pt x="57" y="11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8" y="9"/>
                      <a:pt x="58" y="9"/>
                      <a:pt x="58" y="9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7" y="11"/>
                      <a:pt x="57" y="11"/>
                      <a:pt x="57" y="11"/>
                    </a:cubicBezTo>
                    <a:close/>
                    <a:moveTo>
                      <a:pt x="76" y="135"/>
                    </a:moveTo>
                    <a:cubicBezTo>
                      <a:pt x="77" y="136"/>
                      <a:pt x="77" y="136"/>
                      <a:pt x="77" y="136"/>
                    </a:cubicBezTo>
                    <a:cubicBezTo>
                      <a:pt x="78" y="136"/>
                      <a:pt x="78" y="136"/>
                      <a:pt x="78" y="136"/>
                    </a:cubicBezTo>
                    <a:cubicBezTo>
                      <a:pt x="77" y="135"/>
                      <a:pt x="77" y="135"/>
                      <a:pt x="77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6" y="135"/>
                      <a:pt x="76" y="135"/>
                      <a:pt x="76" y="135"/>
                    </a:cubicBezTo>
                    <a:close/>
                    <a:moveTo>
                      <a:pt x="56" y="147"/>
                    </a:moveTo>
                    <a:cubicBezTo>
                      <a:pt x="58" y="145"/>
                      <a:pt x="58" y="145"/>
                      <a:pt x="58" y="145"/>
                    </a:cubicBezTo>
                    <a:cubicBezTo>
                      <a:pt x="59" y="146"/>
                      <a:pt x="59" y="146"/>
                      <a:pt x="59" y="146"/>
                    </a:cubicBezTo>
                    <a:cubicBezTo>
                      <a:pt x="60" y="146"/>
                      <a:pt x="60" y="146"/>
                      <a:pt x="60" y="146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58" y="148"/>
                      <a:pt x="58" y="148"/>
                      <a:pt x="58" y="148"/>
                    </a:cubicBezTo>
                    <a:cubicBezTo>
                      <a:pt x="57" y="147"/>
                      <a:pt x="57" y="147"/>
                      <a:pt x="57" y="147"/>
                    </a:cubicBezTo>
                    <a:cubicBezTo>
                      <a:pt x="56" y="147"/>
                      <a:pt x="56" y="147"/>
                      <a:pt x="56" y="147"/>
                    </a:cubicBezTo>
                    <a:close/>
                    <a:moveTo>
                      <a:pt x="24" y="75"/>
                    </a:moveTo>
                    <a:cubicBezTo>
                      <a:pt x="24" y="76"/>
                      <a:pt x="24" y="76"/>
                      <a:pt x="24" y="76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4" y="75"/>
                      <a:pt x="24" y="75"/>
                      <a:pt x="24" y="75"/>
                    </a:cubicBezTo>
                    <a:close/>
                    <a:moveTo>
                      <a:pt x="15" y="73"/>
                    </a:move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5" y="73"/>
                      <a:pt x="15" y="73"/>
                      <a:pt x="15" y="73"/>
                    </a:cubicBezTo>
                    <a:close/>
                    <a:moveTo>
                      <a:pt x="10" y="67"/>
                    </a:moveTo>
                    <a:cubicBezTo>
                      <a:pt x="10" y="65"/>
                      <a:pt x="10" y="65"/>
                      <a:pt x="10" y="65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0" y="67"/>
                      <a:pt x="10" y="67"/>
                      <a:pt x="10" y="67"/>
                    </a:cubicBezTo>
                    <a:close/>
                    <a:moveTo>
                      <a:pt x="12" y="65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2" y="65"/>
                      <a:pt x="12" y="65"/>
                      <a:pt x="12" y="65"/>
                    </a:cubicBezTo>
                    <a:close/>
                    <a:moveTo>
                      <a:pt x="16" y="61"/>
                    </a:moveTo>
                    <a:cubicBezTo>
                      <a:pt x="17" y="60"/>
                      <a:pt x="17" y="60"/>
                      <a:pt x="17" y="60"/>
                    </a:cubicBezTo>
                    <a:cubicBezTo>
                      <a:pt x="16" y="60"/>
                      <a:pt x="16" y="60"/>
                      <a:pt x="16" y="60"/>
                    </a:cubicBezTo>
                    <a:cubicBezTo>
                      <a:pt x="16" y="61"/>
                      <a:pt x="16" y="61"/>
                      <a:pt x="16" y="61"/>
                    </a:cubicBezTo>
                    <a:close/>
                    <a:moveTo>
                      <a:pt x="14" y="58"/>
                    </a:moveTo>
                    <a:cubicBezTo>
                      <a:pt x="15" y="60"/>
                      <a:pt x="15" y="60"/>
                      <a:pt x="15" y="60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4" y="58"/>
                      <a:pt x="14" y="58"/>
                      <a:pt x="14" y="58"/>
                    </a:cubicBezTo>
                    <a:close/>
                    <a:moveTo>
                      <a:pt x="40" y="29"/>
                    </a:move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lose/>
                    <a:moveTo>
                      <a:pt x="38" y="30"/>
                    </a:moveTo>
                    <a:cubicBezTo>
                      <a:pt x="39" y="30"/>
                      <a:pt x="39" y="30"/>
                      <a:pt x="39" y="3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42" y="31"/>
                      <a:pt x="42" y="31"/>
                      <a:pt x="42" y="31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30"/>
                      <a:pt x="38" y="30"/>
                      <a:pt x="38" y="30"/>
                    </a:cubicBezTo>
                    <a:close/>
                    <a:moveTo>
                      <a:pt x="37" y="33"/>
                    </a:move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lose/>
                    <a:moveTo>
                      <a:pt x="10" y="45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7" y="41"/>
                      <a:pt x="17" y="41"/>
                      <a:pt x="17" y="41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0" y="45"/>
                      <a:pt x="10" y="45"/>
                      <a:pt x="10" y="45"/>
                    </a:cubicBezTo>
                    <a:close/>
                    <a:moveTo>
                      <a:pt x="10" y="48"/>
                    </a:moveTo>
                    <a:cubicBezTo>
                      <a:pt x="11" y="49"/>
                      <a:pt x="11" y="49"/>
                      <a:pt x="11" y="49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8"/>
                      <a:pt x="10" y="48"/>
                      <a:pt x="10" y="48"/>
                    </a:cubicBezTo>
                    <a:close/>
                    <a:moveTo>
                      <a:pt x="9" y="51"/>
                    </a:moveTo>
                    <a:cubicBezTo>
                      <a:pt x="8" y="51"/>
                      <a:pt x="8" y="51"/>
                      <a:pt x="8" y="51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9" y="51"/>
                      <a:pt x="9" y="51"/>
                      <a:pt x="9" y="51"/>
                    </a:cubicBezTo>
                    <a:close/>
                    <a:moveTo>
                      <a:pt x="8" y="53"/>
                    </a:moveTo>
                    <a:cubicBezTo>
                      <a:pt x="7" y="53"/>
                      <a:pt x="7" y="53"/>
                      <a:pt x="7" y="53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8" y="53"/>
                      <a:pt x="8" y="53"/>
                      <a:pt x="8" y="53"/>
                    </a:cubicBezTo>
                    <a:close/>
                    <a:moveTo>
                      <a:pt x="7" y="58"/>
                    </a:moveTo>
                    <a:cubicBezTo>
                      <a:pt x="7" y="59"/>
                      <a:pt x="7" y="59"/>
                      <a:pt x="7" y="59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7" y="58"/>
                      <a:pt x="7" y="58"/>
                      <a:pt x="7" y="58"/>
                    </a:cubicBezTo>
                    <a:close/>
                    <a:moveTo>
                      <a:pt x="8" y="57"/>
                    </a:moveTo>
                    <a:cubicBezTo>
                      <a:pt x="8" y="56"/>
                      <a:pt x="8" y="56"/>
                      <a:pt x="8" y="56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8" y="57"/>
                      <a:pt x="8" y="57"/>
                      <a:pt x="8" y="57"/>
                    </a:cubicBezTo>
                    <a:close/>
                    <a:moveTo>
                      <a:pt x="18" y="58"/>
                    </a:moveTo>
                    <a:cubicBezTo>
                      <a:pt x="18" y="56"/>
                      <a:pt x="18" y="56"/>
                      <a:pt x="18" y="56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7" y="51"/>
                      <a:pt x="17" y="51"/>
                      <a:pt x="17" y="51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8" y="58"/>
                      <a:pt x="18" y="58"/>
                      <a:pt x="18" y="58"/>
                    </a:cubicBezTo>
                    <a:close/>
                    <a:moveTo>
                      <a:pt x="15" y="69"/>
                    </a:move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7" y="66"/>
                      <a:pt x="17" y="66"/>
                      <a:pt x="17" y="66"/>
                    </a:cubicBezTo>
                    <a:cubicBezTo>
                      <a:pt x="16" y="67"/>
                      <a:pt x="16" y="67"/>
                      <a:pt x="16" y="67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5" y="69"/>
                      <a:pt x="15" y="69"/>
                      <a:pt x="15" y="69"/>
                    </a:cubicBezTo>
                    <a:close/>
                    <a:moveTo>
                      <a:pt x="17" y="76"/>
                    </a:moveTo>
                    <a:cubicBezTo>
                      <a:pt x="17" y="74"/>
                      <a:pt x="17" y="74"/>
                      <a:pt x="17" y="74"/>
                    </a:cubicBezTo>
                    <a:cubicBezTo>
                      <a:pt x="20" y="71"/>
                      <a:pt x="20" y="71"/>
                      <a:pt x="20" y="71"/>
                    </a:cubicBezTo>
                    <a:cubicBezTo>
                      <a:pt x="19" y="74"/>
                      <a:pt x="19" y="74"/>
                      <a:pt x="19" y="74"/>
                    </a:cubicBezTo>
                    <a:cubicBezTo>
                      <a:pt x="17" y="76"/>
                      <a:pt x="17" y="76"/>
                      <a:pt x="17" y="76"/>
                    </a:cubicBezTo>
                    <a:close/>
                    <a:moveTo>
                      <a:pt x="15" y="78"/>
                    </a:moveTo>
                    <a:cubicBezTo>
                      <a:pt x="17" y="77"/>
                      <a:pt x="17" y="77"/>
                      <a:pt x="17" y="77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8"/>
                      <a:pt x="15" y="78"/>
                      <a:pt x="15" y="78"/>
                    </a:cubicBezTo>
                    <a:close/>
                    <a:moveTo>
                      <a:pt x="22" y="78"/>
                    </a:moveTo>
                    <a:cubicBezTo>
                      <a:pt x="23" y="81"/>
                      <a:pt x="23" y="81"/>
                      <a:pt x="23" y="81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4" y="77"/>
                      <a:pt x="24" y="77"/>
                      <a:pt x="24" y="77"/>
                    </a:cubicBezTo>
                    <a:cubicBezTo>
                      <a:pt x="22" y="78"/>
                      <a:pt x="22" y="78"/>
                      <a:pt x="22" y="78"/>
                    </a:cubicBezTo>
                    <a:close/>
                    <a:moveTo>
                      <a:pt x="29" y="111"/>
                    </a:moveTo>
                    <a:cubicBezTo>
                      <a:pt x="31" y="112"/>
                      <a:pt x="31" y="112"/>
                      <a:pt x="31" y="112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2" y="110"/>
                      <a:pt x="32" y="110"/>
                      <a:pt x="32" y="110"/>
                    </a:cubicBezTo>
                    <a:cubicBezTo>
                      <a:pt x="31" y="109"/>
                      <a:pt x="31" y="109"/>
                      <a:pt x="31" y="109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9" y="109"/>
                      <a:pt x="28" y="110"/>
                      <a:pt x="29" y="111"/>
                    </a:cubicBezTo>
                    <a:close/>
                    <a:moveTo>
                      <a:pt x="27" y="100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1" y="95"/>
                      <a:pt x="31" y="95"/>
                      <a:pt x="31" y="95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28" y="100"/>
                      <a:pt x="28" y="100"/>
                      <a:pt x="28" y="100"/>
                    </a:cubicBezTo>
                    <a:cubicBezTo>
                      <a:pt x="27" y="100"/>
                      <a:pt x="27" y="100"/>
                      <a:pt x="27" y="100"/>
                    </a:cubicBezTo>
                    <a:close/>
                    <a:moveTo>
                      <a:pt x="23" y="156"/>
                    </a:moveTo>
                    <a:cubicBezTo>
                      <a:pt x="24" y="155"/>
                      <a:pt x="24" y="155"/>
                      <a:pt x="24" y="155"/>
                    </a:cubicBezTo>
                    <a:cubicBezTo>
                      <a:pt x="24" y="155"/>
                      <a:pt x="24" y="155"/>
                      <a:pt x="24" y="155"/>
                    </a:cubicBezTo>
                    <a:cubicBezTo>
                      <a:pt x="25" y="153"/>
                      <a:pt x="25" y="153"/>
                      <a:pt x="25" y="153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6" y="153"/>
                      <a:pt x="26" y="153"/>
                      <a:pt x="26" y="153"/>
                    </a:cubicBezTo>
                    <a:cubicBezTo>
                      <a:pt x="27" y="153"/>
                      <a:pt x="27" y="153"/>
                      <a:pt x="27" y="153"/>
                    </a:cubicBezTo>
                    <a:cubicBezTo>
                      <a:pt x="28" y="151"/>
                      <a:pt x="28" y="151"/>
                      <a:pt x="28" y="151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31" y="151"/>
                      <a:pt x="31" y="151"/>
                      <a:pt x="31" y="151"/>
                    </a:cubicBezTo>
                    <a:cubicBezTo>
                      <a:pt x="32" y="151"/>
                      <a:pt x="32" y="151"/>
                      <a:pt x="32" y="151"/>
                    </a:cubicBezTo>
                    <a:cubicBezTo>
                      <a:pt x="33" y="151"/>
                      <a:pt x="33" y="151"/>
                      <a:pt x="33" y="151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6" y="153"/>
                      <a:pt x="36" y="153"/>
                      <a:pt x="36" y="153"/>
                    </a:cubicBezTo>
                    <a:cubicBezTo>
                      <a:pt x="37" y="153"/>
                      <a:pt x="37" y="153"/>
                      <a:pt x="37" y="153"/>
                    </a:cubicBezTo>
                    <a:cubicBezTo>
                      <a:pt x="37" y="152"/>
                      <a:pt x="37" y="152"/>
                      <a:pt x="37" y="152"/>
                    </a:cubicBezTo>
                    <a:cubicBezTo>
                      <a:pt x="38" y="151"/>
                      <a:pt x="38" y="151"/>
                      <a:pt x="38" y="151"/>
                    </a:cubicBezTo>
                    <a:cubicBezTo>
                      <a:pt x="39" y="150"/>
                      <a:pt x="39" y="150"/>
                      <a:pt x="39" y="150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9" y="148"/>
                      <a:pt x="39" y="148"/>
                      <a:pt x="39" y="148"/>
                    </a:cubicBezTo>
                    <a:cubicBezTo>
                      <a:pt x="40" y="148"/>
                      <a:pt x="40" y="148"/>
                      <a:pt x="40" y="148"/>
                    </a:cubicBezTo>
                    <a:cubicBezTo>
                      <a:pt x="41" y="147"/>
                      <a:pt x="41" y="147"/>
                      <a:pt x="41" y="147"/>
                    </a:cubicBezTo>
                    <a:cubicBezTo>
                      <a:pt x="44" y="146"/>
                      <a:pt x="44" y="146"/>
                      <a:pt x="44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8" y="148"/>
                      <a:pt x="48" y="148"/>
                      <a:pt x="48" y="148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1" y="147"/>
                      <a:pt x="51" y="147"/>
                      <a:pt x="51" y="147"/>
                    </a:cubicBezTo>
                    <a:cubicBezTo>
                      <a:pt x="52" y="148"/>
                      <a:pt x="52" y="148"/>
                      <a:pt x="52" y="148"/>
                    </a:cubicBezTo>
                    <a:cubicBezTo>
                      <a:pt x="53" y="146"/>
                      <a:pt x="53" y="146"/>
                      <a:pt x="53" y="146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6" y="146"/>
                      <a:pt x="56" y="146"/>
                      <a:pt x="56" y="146"/>
                    </a:cubicBezTo>
                    <a:cubicBezTo>
                      <a:pt x="58" y="144"/>
                      <a:pt x="58" y="144"/>
                      <a:pt x="58" y="144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61" y="144"/>
                      <a:pt x="61" y="144"/>
                      <a:pt x="61" y="144"/>
                    </a:cubicBezTo>
                    <a:cubicBezTo>
                      <a:pt x="62" y="145"/>
                      <a:pt x="62" y="145"/>
                      <a:pt x="62" y="145"/>
                    </a:cubicBezTo>
                    <a:cubicBezTo>
                      <a:pt x="63" y="145"/>
                      <a:pt x="63" y="145"/>
                      <a:pt x="63" y="145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9" y="144"/>
                      <a:pt x="69" y="144"/>
                      <a:pt x="69" y="144"/>
                    </a:cubicBezTo>
                    <a:cubicBezTo>
                      <a:pt x="71" y="144"/>
                      <a:pt x="71" y="144"/>
                      <a:pt x="71" y="144"/>
                    </a:cubicBezTo>
                    <a:cubicBezTo>
                      <a:pt x="72" y="145"/>
                      <a:pt x="72" y="145"/>
                      <a:pt x="72" y="145"/>
                    </a:cubicBezTo>
                    <a:cubicBezTo>
                      <a:pt x="74" y="143"/>
                      <a:pt x="74" y="143"/>
                      <a:pt x="74" y="143"/>
                    </a:cubicBezTo>
                    <a:cubicBezTo>
                      <a:pt x="75" y="143"/>
                      <a:pt x="75" y="143"/>
                      <a:pt x="75" y="143"/>
                    </a:cubicBezTo>
                    <a:cubicBezTo>
                      <a:pt x="77" y="142"/>
                      <a:pt x="77" y="142"/>
                      <a:pt x="77" y="142"/>
                    </a:cubicBezTo>
                    <a:cubicBezTo>
                      <a:pt x="78" y="142"/>
                      <a:pt x="78" y="142"/>
                      <a:pt x="78" y="142"/>
                    </a:cubicBezTo>
                    <a:cubicBezTo>
                      <a:pt x="79" y="142"/>
                      <a:pt x="79" y="142"/>
                      <a:pt x="79" y="142"/>
                    </a:cubicBezTo>
                    <a:cubicBezTo>
                      <a:pt x="78" y="141"/>
                      <a:pt x="78" y="141"/>
                      <a:pt x="78" y="141"/>
                    </a:cubicBezTo>
                    <a:cubicBezTo>
                      <a:pt x="81" y="139"/>
                      <a:pt x="81" y="139"/>
                      <a:pt x="81" y="139"/>
                    </a:cubicBezTo>
                    <a:cubicBezTo>
                      <a:pt x="82" y="139"/>
                      <a:pt x="82" y="139"/>
                      <a:pt x="82" y="139"/>
                    </a:cubicBezTo>
                    <a:cubicBezTo>
                      <a:pt x="82" y="138"/>
                      <a:pt x="82" y="138"/>
                      <a:pt x="82" y="138"/>
                    </a:cubicBezTo>
                    <a:cubicBezTo>
                      <a:pt x="82" y="137"/>
                      <a:pt x="82" y="137"/>
                      <a:pt x="82" y="137"/>
                    </a:cubicBezTo>
                    <a:cubicBezTo>
                      <a:pt x="82" y="135"/>
                      <a:pt x="82" y="135"/>
                      <a:pt x="82" y="135"/>
                    </a:cubicBezTo>
                    <a:cubicBezTo>
                      <a:pt x="80" y="135"/>
                      <a:pt x="80" y="135"/>
                      <a:pt x="80" y="135"/>
                    </a:cubicBezTo>
                    <a:cubicBezTo>
                      <a:pt x="78" y="136"/>
                      <a:pt x="78" y="136"/>
                      <a:pt x="78" y="136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75" y="136"/>
                      <a:pt x="75" y="136"/>
                      <a:pt x="75" y="136"/>
                    </a:cubicBezTo>
                    <a:cubicBezTo>
                      <a:pt x="74" y="136"/>
                      <a:pt x="74" y="136"/>
                      <a:pt x="74" y="136"/>
                    </a:cubicBezTo>
                    <a:cubicBezTo>
                      <a:pt x="75" y="135"/>
                      <a:pt x="75" y="135"/>
                      <a:pt x="75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6" y="135"/>
                      <a:pt x="76" y="135"/>
                      <a:pt x="76" y="135"/>
                    </a:cubicBezTo>
                    <a:cubicBezTo>
                      <a:pt x="74" y="134"/>
                      <a:pt x="74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5" y="133"/>
                      <a:pt x="75" y="133"/>
                      <a:pt x="75" y="133"/>
                    </a:cubicBezTo>
                    <a:cubicBezTo>
                      <a:pt x="76" y="133"/>
                      <a:pt x="76" y="133"/>
                      <a:pt x="76" y="133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7" y="131"/>
                      <a:pt x="77" y="131"/>
                      <a:pt x="77" y="131"/>
                    </a:cubicBezTo>
                    <a:cubicBezTo>
                      <a:pt x="76" y="131"/>
                      <a:pt x="76" y="131"/>
                      <a:pt x="76" y="131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78" y="130"/>
                      <a:pt x="78" y="130"/>
                      <a:pt x="78" y="130"/>
                    </a:cubicBezTo>
                    <a:cubicBezTo>
                      <a:pt x="80" y="129"/>
                      <a:pt x="80" y="129"/>
                      <a:pt x="80" y="129"/>
                    </a:cubicBezTo>
                    <a:cubicBezTo>
                      <a:pt x="80" y="129"/>
                      <a:pt x="80" y="129"/>
                      <a:pt x="80" y="129"/>
                    </a:cubicBezTo>
                    <a:cubicBezTo>
                      <a:pt x="80" y="128"/>
                      <a:pt x="80" y="128"/>
                      <a:pt x="80" y="128"/>
                    </a:cubicBezTo>
                    <a:cubicBezTo>
                      <a:pt x="80" y="128"/>
                      <a:pt x="80" y="128"/>
                      <a:pt x="80" y="128"/>
                    </a:cubicBezTo>
                    <a:cubicBezTo>
                      <a:pt x="78" y="128"/>
                      <a:pt x="78" y="128"/>
                      <a:pt x="78" y="128"/>
                    </a:cubicBezTo>
                    <a:cubicBezTo>
                      <a:pt x="79" y="126"/>
                      <a:pt x="79" y="126"/>
                      <a:pt x="79" y="126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1" y="126"/>
                      <a:pt x="81" y="126"/>
                      <a:pt x="81" y="126"/>
                    </a:cubicBezTo>
                    <a:cubicBezTo>
                      <a:pt x="83" y="125"/>
                      <a:pt x="83" y="125"/>
                      <a:pt x="83" y="125"/>
                    </a:cubicBezTo>
                    <a:cubicBezTo>
                      <a:pt x="83" y="123"/>
                      <a:pt x="83" y="123"/>
                      <a:pt x="83" y="123"/>
                    </a:cubicBezTo>
                    <a:cubicBezTo>
                      <a:pt x="84" y="120"/>
                      <a:pt x="84" y="120"/>
                      <a:pt x="84" y="120"/>
                    </a:cubicBezTo>
                    <a:cubicBezTo>
                      <a:pt x="83" y="119"/>
                      <a:pt x="83" y="119"/>
                      <a:pt x="83" y="119"/>
                    </a:cubicBezTo>
                    <a:cubicBezTo>
                      <a:pt x="83" y="116"/>
                      <a:pt x="83" y="116"/>
                      <a:pt x="83" y="116"/>
                    </a:cubicBezTo>
                    <a:cubicBezTo>
                      <a:pt x="79" y="114"/>
                      <a:pt x="79" y="114"/>
                      <a:pt x="79" y="114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6"/>
                      <a:pt x="72" y="116"/>
                      <a:pt x="72" y="116"/>
                    </a:cubicBezTo>
                    <a:cubicBezTo>
                      <a:pt x="71" y="117"/>
                      <a:pt x="71" y="117"/>
                      <a:pt x="71" y="117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68" y="115"/>
                      <a:pt x="68" y="115"/>
                      <a:pt x="68" y="115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110"/>
                      <a:pt x="71" y="110"/>
                      <a:pt x="71" y="110"/>
                    </a:cubicBezTo>
                    <a:cubicBezTo>
                      <a:pt x="68" y="107"/>
                      <a:pt x="68" y="107"/>
                      <a:pt x="68" y="107"/>
                    </a:cubicBezTo>
                    <a:cubicBezTo>
                      <a:pt x="68" y="107"/>
                      <a:pt x="68" y="107"/>
                      <a:pt x="68" y="107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4" y="104"/>
                      <a:pt x="64" y="104"/>
                      <a:pt x="64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61" y="104"/>
                      <a:pt x="61" y="104"/>
                      <a:pt x="61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3" y="104"/>
                      <a:pt x="63" y="104"/>
                      <a:pt x="63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7" y="105"/>
                      <a:pt x="67" y="105"/>
                      <a:pt x="67" y="105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5" y="100"/>
                      <a:pt x="65" y="100"/>
                      <a:pt x="65" y="100"/>
                    </a:cubicBezTo>
                    <a:cubicBezTo>
                      <a:pt x="65" y="99"/>
                      <a:pt x="65" y="99"/>
                      <a:pt x="65" y="99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ubicBezTo>
                      <a:pt x="62" y="94"/>
                      <a:pt x="62" y="94"/>
                      <a:pt x="62" y="94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57" y="92"/>
                      <a:pt x="57" y="92"/>
                      <a:pt x="57" y="92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6" y="90"/>
                      <a:pt x="56" y="90"/>
                      <a:pt x="56" y="90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4" y="85"/>
                      <a:pt x="54" y="85"/>
                      <a:pt x="54" y="85"/>
                    </a:cubicBezTo>
                    <a:cubicBezTo>
                      <a:pt x="53" y="80"/>
                      <a:pt x="53" y="80"/>
                      <a:pt x="53" y="80"/>
                    </a:cubicBezTo>
                    <a:cubicBezTo>
                      <a:pt x="52" y="78"/>
                      <a:pt x="52" y="78"/>
                      <a:pt x="52" y="78"/>
                    </a:cubicBezTo>
                    <a:cubicBezTo>
                      <a:pt x="51" y="78"/>
                      <a:pt x="51" y="78"/>
                      <a:pt x="51" y="78"/>
                    </a:cubicBezTo>
                    <a:cubicBezTo>
                      <a:pt x="48" y="74"/>
                      <a:pt x="48" y="74"/>
                      <a:pt x="48" y="74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3" y="73"/>
                      <a:pt x="43" y="73"/>
                      <a:pt x="43" y="73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39" y="73"/>
                      <a:pt x="39" y="73"/>
                      <a:pt x="39" y="73"/>
                    </a:cubicBezTo>
                    <a:cubicBezTo>
                      <a:pt x="38" y="73"/>
                      <a:pt x="38" y="73"/>
                      <a:pt x="38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6" y="72"/>
                      <a:pt x="36" y="72"/>
                      <a:pt x="36" y="72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7" y="61"/>
                      <a:pt x="47" y="61"/>
                      <a:pt x="47" y="6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7" y="59"/>
                      <a:pt x="47" y="59"/>
                      <a:pt x="47" y="59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9" y="54"/>
                      <a:pt x="49" y="54"/>
                      <a:pt x="49" y="54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0" y="38"/>
                      <a:pt x="40" y="38"/>
                      <a:pt x="40" y="38"/>
                    </a:cubicBezTo>
                    <a:cubicBezTo>
                      <a:pt x="40" y="37"/>
                      <a:pt x="40" y="37"/>
                      <a:pt x="40" y="37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6" y="37"/>
                      <a:pt x="36" y="37"/>
                      <a:pt x="36" y="37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8" y="39"/>
                      <a:pt x="28" y="39"/>
                      <a:pt x="28" y="39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4" y="43"/>
                      <a:pt x="24" y="43"/>
                    </a:cubicBezTo>
                    <a:cubicBezTo>
                      <a:pt x="23" y="45"/>
                      <a:pt x="23" y="45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23" y="47"/>
                      <a:pt x="23" y="47"/>
                      <a:pt x="23" y="47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2" y="52"/>
                      <a:pt x="22" y="52"/>
                      <a:pt x="22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5"/>
                      <a:pt x="21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19" y="59"/>
                      <a:pt x="19" y="59"/>
                      <a:pt x="19" y="59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20" y="61"/>
                      <a:pt x="20" y="61"/>
                      <a:pt x="20" y="61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20" y="65"/>
                      <a:pt x="20" y="65"/>
                      <a:pt x="20" y="65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3" y="64"/>
                      <a:pt x="23" y="64"/>
                      <a:pt x="23" y="64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1" y="74"/>
                      <a:pt x="21" y="74"/>
                      <a:pt x="21" y="74"/>
                    </a:cubicBezTo>
                    <a:cubicBezTo>
                      <a:pt x="20" y="75"/>
                      <a:pt x="20" y="75"/>
                      <a:pt x="20" y="75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1" y="77"/>
                      <a:pt x="21" y="77"/>
                      <a:pt x="21" y="77"/>
                    </a:cubicBezTo>
                    <a:cubicBezTo>
                      <a:pt x="23" y="76"/>
                      <a:pt x="23" y="76"/>
                      <a:pt x="23" y="76"/>
                    </a:cubicBezTo>
                    <a:cubicBezTo>
                      <a:pt x="22" y="72"/>
                      <a:pt x="22" y="72"/>
                      <a:pt x="22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7" y="72"/>
                      <a:pt x="27" y="72"/>
                      <a:pt x="27" y="72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27" y="78"/>
                      <a:pt x="27" y="78"/>
                      <a:pt x="27" y="78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4" y="87"/>
                      <a:pt x="24" y="87"/>
                      <a:pt x="24" y="87"/>
                    </a:cubicBezTo>
                    <a:cubicBezTo>
                      <a:pt x="24" y="89"/>
                      <a:pt x="24" y="89"/>
                      <a:pt x="24" y="89"/>
                    </a:cubicBezTo>
                    <a:cubicBezTo>
                      <a:pt x="26" y="92"/>
                      <a:pt x="26" y="92"/>
                      <a:pt x="26" y="92"/>
                    </a:cubicBezTo>
                    <a:cubicBezTo>
                      <a:pt x="26" y="89"/>
                      <a:pt x="26" y="89"/>
                      <a:pt x="26" y="89"/>
                    </a:cubicBezTo>
                    <a:cubicBezTo>
                      <a:pt x="27" y="89"/>
                      <a:pt x="27" y="89"/>
                      <a:pt x="27" y="89"/>
                    </a:cubicBezTo>
                    <a:cubicBezTo>
                      <a:pt x="30" y="91"/>
                      <a:pt x="30" y="91"/>
                      <a:pt x="30" y="91"/>
                    </a:cubicBezTo>
                    <a:cubicBezTo>
                      <a:pt x="30" y="89"/>
                      <a:pt x="30" y="89"/>
                      <a:pt x="30" y="89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6" y="89"/>
                      <a:pt x="36" y="89"/>
                      <a:pt x="36" y="89"/>
                    </a:cubicBezTo>
                    <a:cubicBezTo>
                      <a:pt x="37" y="87"/>
                      <a:pt x="37" y="87"/>
                      <a:pt x="37" y="87"/>
                    </a:cubicBezTo>
                    <a:cubicBezTo>
                      <a:pt x="42" y="87"/>
                      <a:pt x="42" y="87"/>
                      <a:pt x="42" y="87"/>
                    </a:cubicBezTo>
                    <a:cubicBezTo>
                      <a:pt x="38" y="88"/>
                      <a:pt x="38" y="88"/>
                      <a:pt x="38" y="88"/>
                    </a:cubicBezTo>
                    <a:cubicBezTo>
                      <a:pt x="37" y="94"/>
                      <a:pt x="37" y="94"/>
                      <a:pt x="37" y="94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40" y="97"/>
                      <a:pt x="40" y="97"/>
                      <a:pt x="40" y="97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4" y="98"/>
                      <a:pt x="44" y="98"/>
                      <a:pt x="44" y="98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2" y="105"/>
                      <a:pt x="42" y="105"/>
                      <a:pt x="42" y="105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08"/>
                      <a:pt x="42" y="108"/>
                      <a:pt x="42" y="108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5" y="110"/>
                      <a:pt x="45" y="110"/>
                      <a:pt x="45" y="110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2" y="109"/>
                      <a:pt x="42" y="109"/>
                      <a:pt x="42" y="109"/>
                    </a:cubicBezTo>
                    <a:cubicBezTo>
                      <a:pt x="41" y="109"/>
                      <a:pt x="41" y="109"/>
                      <a:pt x="41" y="109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2" y="111"/>
                      <a:pt x="42" y="111"/>
                      <a:pt x="42" y="111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0" y="110"/>
                      <a:pt x="40" y="110"/>
                      <a:pt x="40" y="110"/>
                    </a:cubicBezTo>
                    <a:cubicBezTo>
                      <a:pt x="37" y="111"/>
                      <a:pt x="37" y="111"/>
                      <a:pt x="37" y="111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2" y="112"/>
                      <a:pt x="32" y="112"/>
                      <a:pt x="32" y="112"/>
                    </a:cubicBezTo>
                    <a:cubicBezTo>
                      <a:pt x="30" y="115"/>
                      <a:pt x="30" y="115"/>
                      <a:pt x="30" y="115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7" y="117"/>
                      <a:pt x="27" y="117"/>
                      <a:pt x="27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3" y="116"/>
                      <a:pt x="33" y="116"/>
                      <a:pt x="33" y="116"/>
                    </a:cubicBezTo>
                    <a:cubicBezTo>
                      <a:pt x="33" y="117"/>
                      <a:pt x="33" y="117"/>
                      <a:pt x="33" y="117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2" y="125"/>
                      <a:pt x="32" y="125"/>
                      <a:pt x="32" y="125"/>
                    </a:cubicBezTo>
                    <a:cubicBezTo>
                      <a:pt x="30" y="126"/>
                      <a:pt x="30" y="126"/>
                      <a:pt x="30" y="126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8" y="127"/>
                      <a:pt x="28" y="127"/>
                      <a:pt x="28" y="127"/>
                    </a:cubicBezTo>
                    <a:cubicBezTo>
                      <a:pt x="26" y="128"/>
                      <a:pt x="26" y="128"/>
                      <a:pt x="26" y="128"/>
                    </a:cubicBezTo>
                    <a:cubicBezTo>
                      <a:pt x="25" y="128"/>
                      <a:pt x="25" y="128"/>
                      <a:pt x="25" y="128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4" y="130"/>
                      <a:pt x="24" y="130"/>
                      <a:pt x="24" y="130"/>
                    </a:cubicBezTo>
                    <a:cubicBezTo>
                      <a:pt x="24" y="131"/>
                      <a:pt x="24" y="131"/>
                      <a:pt x="24" y="131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6" y="134"/>
                      <a:pt x="26" y="134"/>
                      <a:pt x="26" y="134"/>
                    </a:cubicBezTo>
                    <a:cubicBezTo>
                      <a:pt x="27" y="133"/>
                      <a:pt x="27" y="133"/>
                      <a:pt x="27" y="133"/>
                    </a:cubicBezTo>
                    <a:cubicBezTo>
                      <a:pt x="28" y="132"/>
                      <a:pt x="28" y="132"/>
                      <a:pt x="28" y="132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3" y="133"/>
                      <a:pt x="33" y="133"/>
                      <a:pt x="33" y="133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4" y="135"/>
                      <a:pt x="34" y="135"/>
                      <a:pt x="34" y="135"/>
                    </a:cubicBezTo>
                    <a:cubicBezTo>
                      <a:pt x="34" y="134"/>
                      <a:pt x="34" y="134"/>
                      <a:pt x="34" y="134"/>
                    </a:cubicBezTo>
                    <a:cubicBezTo>
                      <a:pt x="35" y="134"/>
                      <a:pt x="35" y="134"/>
                      <a:pt x="35" y="134"/>
                    </a:cubicBezTo>
                    <a:cubicBezTo>
                      <a:pt x="37" y="135"/>
                      <a:pt x="37" y="135"/>
                      <a:pt x="37" y="135"/>
                    </a:cubicBezTo>
                    <a:cubicBezTo>
                      <a:pt x="38" y="137"/>
                      <a:pt x="38" y="137"/>
                      <a:pt x="38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2" y="135"/>
                      <a:pt x="42" y="135"/>
                      <a:pt x="42" y="135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46" y="133"/>
                      <a:pt x="46" y="133"/>
                      <a:pt x="46" y="133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43" y="137"/>
                      <a:pt x="43" y="137"/>
                      <a:pt x="43" y="137"/>
                    </a:cubicBezTo>
                    <a:cubicBezTo>
                      <a:pt x="43" y="140"/>
                      <a:pt x="43" y="140"/>
                      <a:pt x="43" y="140"/>
                    </a:cubicBezTo>
                    <a:cubicBezTo>
                      <a:pt x="41" y="140"/>
                      <a:pt x="41" y="140"/>
                      <a:pt x="41" y="140"/>
                    </a:cubicBezTo>
                    <a:cubicBezTo>
                      <a:pt x="40" y="140"/>
                      <a:pt x="40" y="140"/>
                      <a:pt x="40" y="140"/>
                    </a:cubicBezTo>
                    <a:cubicBezTo>
                      <a:pt x="39" y="139"/>
                      <a:pt x="39" y="139"/>
                      <a:pt x="39" y="139"/>
                    </a:cubicBezTo>
                    <a:cubicBezTo>
                      <a:pt x="35" y="139"/>
                      <a:pt x="35" y="139"/>
                      <a:pt x="35" y="139"/>
                    </a:cubicBezTo>
                    <a:cubicBezTo>
                      <a:pt x="32" y="140"/>
                      <a:pt x="32" y="140"/>
                      <a:pt x="32" y="140"/>
                    </a:cubicBezTo>
                    <a:cubicBezTo>
                      <a:pt x="32" y="141"/>
                      <a:pt x="32" y="141"/>
                      <a:pt x="32" y="141"/>
                    </a:cubicBezTo>
                    <a:cubicBezTo>
                      <a:pt x="31" y="142"/>
                      <a:pt x="31" y="142"/>
                      <a:pt x="31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46"/>
                      <a:pt x="29" y="146"/>
                      <a:pt x="29" y="146"/>
                    </a:cubicBezTo>
                    <a:cubicBezTo>
                      <a:pt x="27" y="147"/>
                      <a:pt x="27" y="147"/>
                      <a:pt x="27" y="147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5" y="149"/>
                      <a:pt x="25" y="149"/>
                      <a:pt x="25" y="149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4" y="151"/>
                      <a:pt x="24" y="151"/>
                      <a:pt x="24" y="151"/>
                    </a:cubicBezTo>
                    <a:cubicBezTo>
                      <a:pt x="23" y="152"/>
                      <a:pt x="23" y="152"/>
                      <a:pt x="23" y="152"/>
                    </a:cubicBezTo>
                    <a:cubicBezTo>
                      <a:pt x="21" y="153"/>
                      <a:pt x="21" y="153"/>
                      <a:pt x="21" y="153"/>
                    </a:cubicBezTo>
                    <a:cubicBezTo>
                      <a:pt x="20" y="153"/>
                      <a:pt x="20" y="153"/>
                      <a:pt x="20" y="153"/>
                    </a:cubicBezTo>
                    <a:cubicBezTo>
                      <a:pt x="18" y="154"/>
                      <a:pt x="18" y="154"/>
                      <a:pt x="18" y="154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2" y="155"/>
                      <a:pt x="22" y="155"/>
                      <a:pt x="22" y="155"/>
                    </a:cubicBezTo>
                    <a:lnTo>
                      <a:pt x="23" y="15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6" name="Freeform 221">
                <a:extLst>
                  <a:ext uri="{FF2B5EF4-FFF2-40B4-BE49-F238E27FC236}">
                    <a16:creationId xmlns:a16="http://schemas.microsoft.com/office/drawing/2014/main" xmlns="" id="{FE230BCF-BD73-4E77-B1E0-8D9360728A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1" y="1147"/>
                <a:ext cx="205" cy="196"/>
              </a:xfrm>
              <a:custGeom>
                <a:avLst/>
                <a:gdLst>
                  <a:gd name="T0" fmla="*/ 161 w 205"/>
                  <a:gd name="T1" fmla="*/ 96 h 196"/>
                  <a:gd name="T2" fmla="*/ 148 w 205"/>
                  <a:gd name="T3" fmla="*/ 103 h 196"/>
                  <a:gd name="T4" fmla="*/ 153 w 205"/>
                  <a:gd name="T5" fmla="*/ 92 h 196"/>
                  <a:gd name="T6" fmla="*/ 164 w 205"/>
                  <a:gd name="T7" fmla="*/ 75 h 196"/>
                  <a:gd name="T8" fmla="*/ 171 w 205"/>
                  <a:gd name="T9" fmla="*/ 74 h 196"/>
                  <a:gd name="T10" fmla="*/ 173 w 205"/>
                  <a:gd name="T11" fmla="*/ 57 h 196"/>
                  <a:gd name="T12" fmla="*/ 178 w 205"/>
                  <a:gd name="T13" fmla="*/ 41 h 196"/>
                  <a:gd name="T14" fmla="*/ 163 w 205"/>
                  <a:gd name="T15" fmla="*/ 39 h 196"/>
                  <a:gd name="T16" fmla="*/ 153 w 205"/>
                  <a:gd name="T17" fmla="*/ 34 h 196"/>
                  <a:gd name="T18" fmla="*/ 140 w 205"/>
                  <a:gd name="T19" fmla="*/ 29 h 196"/>
                  <a:gd name="T20" fmla="*/ 129 w 205"/>
                  <a:gd name="T21" fmla="*/ 23 h 196"/>
                  <a:gd name="T22" fmla="*/ 119 w 205"/>
                  <a:gd name="T23" fmla="*/ 15 h 196"/>
                  <a:gd name="T24" fmla="*/ 107 w 205"/>
                  <a:gd name="T25" fmla="*/ 2 h 196"/>
                  <a:gd name="T26" fmla="*/ 93 w 205"/>
                  <a:gd name="T27" fmla="*/ 5 h 196"/>
                  <a:gd name="T28" fmla="*/ 88 w 205"/>
                  <a:gd name="T29" fmla="*/ 25 h 196"/>
                  <a:gd name="T30" fmla="*/ 70 w 205"/>
                  <a:gd name="T31" fmla="*/ 31 h 196"/>
                  <a:gd name="T32" fmla="*/ 58 w 205"/>
                  <a:gd name="T33" fmla="*/ 36 h 196"/>
                  <a:gd name="T34" fmla="*/ 52 w 205"/>
                  <a:gd name="T35" fmla="*/ 29 h 196"/>
                  <a:gd name="T36" fmla="*/ 42 w 205"/>
                  <a:gd name="T37" fmla="*/ 33 h 196"/>
                  <a:gd name="T38" fmla="*/ 47 w 205"/>
                  <a:gd name="T39" fmla="*/ 46 h 196"/>
                  <a:gd name="T40" fmla="*/ 39 w 205"/>
                  <a:gd name="T41" fmla="*/ 51 h 196"/>
                  <a:gd name="T42" fmla="*/ 24 w 205"/>
                  <a:gd name="T43" fmla="*/ 46 h 196"/>
                  <a:gd name="T44" fmla="*/ 13 w 205"/>
                  <a:gd name="T45" fmla="*/ 49 h 196"/>
                  <a:gd name="T46" fmla="*/ 1 w 205"/>
                  <a:gd name="T47" fmla="*/ 57 h 196"/>
                  <a:gd name="T48" fmla="*/ 3 w 205"/>
                  <a:gd name="T49" fmla="*/ 57 h 196"/>
                  <a:gd name="T50" fmla="*/ 6 w 205"/>
                  <a:gd name="T51" fmla="*/ 62 h 196"/>
                  <a:gd name="T52" fmla="*/ 6 w 205"/>
                  <a:gd name="T53" fmla="*/ 69 h 196"/>
                  <a:gd name="T54" fmla="*/ 19 w 205"/>
                  <a:gd name="T55" fmla="*/ 72 h 196"/>
                  <a:gd name="T56" fmla="*/ 29 w 205"/>
                  <a:gd name="T57" fmla="*/ 74 h 196"/>
                  <a:gd name="T58" fmla="*/ 34 w 205"/>
                  <a:gd name="T59" fmla="*/ 80 h 196"/>
                  <a:gd name="T60" fmla="*/ 42 w 205"/>
                  <a:gd name="T61" fmla="*/ 80 h 196"/>
                  <a:gd name="T62" fmla="*/ 37 w 205"/>
                  <a:gd name="T63" fmla="*/ 90 h 196"/>
                  <a:gd name="T64" fmla="*/ 52 w 205"/>
                  <a:gd name="T65" fmla="*/ 100 h 196"/>
                  <a:gd name="T66" fmla="*/ 52 w 205"/>
                  <a:gd name="T67" fmla="*/ 111 h 196"/>
                  <a:gd name="T68" fmla="*/ 57 w 205"/>
                  <a:gd name="T69" fmla="*/ 116 h 196"/>
                  <a:gd name="T70" fmla="*/ 53 w 205"/>
                  <a:gd name="T71" fmla="*/ 132 h 196"/>
                  <a:gd name="T72" fmla="*/ 47 w 205"/>
                  <a:gd name="T73" fmla="*/ 157 h 196"/>
                  <a:gd name="T74" fmla="*/ 53 w 205"/>
                  <a:gd name="T75" fmla="*/ 163 h 196"/>
                  <a:gd name="T76" fmla="*/ 75 w 205"/>
                  <a:gd name="T77" fmla="*/ 172 h 196"/>
                  <a:gd name="T78" fmla="*/ 93 w 205"/>
                  <a:gd name="T79" fmla="*/ 172 h 196"/>
                  <a:gd name="T80" fmla="*/ 112 w 205"/>
                  <a:gd name="T81" fmla="*/ 175 h 196"/>
                  <a:gd name="T82" fmla="*/ 122 w 205"/>
                  <a:gd name="T83" fmla="*/ 154 h 196"/>
                  <a:gd name="T84" fmla="*/ 135 w 205"/>
                  <a:gd name="T85" fmla="*/ 157 h 196"/>
                  <a:gd name="T86" fmla="*/ 160 w 205"/>
                  <a:gd name="T87" fmla="*/ 163 h 196"/>
                  <a:gd name="T88" fmla="*/ 174 w 205"/>
                  <a:gd name="T89" fmla="*/ 149 h 196"/>
                  <a:gd name="T90" fmla="*/ 166 w 205"/>
                  <a:gd name="T91" fmla="*/ 127 h 196"/>
                  <a:gd name="T92" fmla="*/ 166 w 205"/>
                  <a:gd name="T93" fmla="*/ 113 h 196"/>
                  <a:gd name="T94" fmla="*/ 200 w 205"/>
                  <a:gd name="T95" fmla="*/ 196 h 196"/>
                  <a:gd name="T96" fmla="*/ 196 w 205"/>
                  <a:gd name="T97" fmla="*/ 190 h 196"/>
                  <a:gd name="T98" fmla="*/ 192 w 205"/>
                  <a:gd name="T99" fmla="*/ 185 h 196"/>
                  <a:gd name="T100" fmla="*/ 192 w 205"/>
                  <a:gd name="T101" fmla="*/ 178 h 196"/>
                  <a:gd name="T102" fmla="*/ 200 w 205"/>
                  <a:gd name="T103" fmla="*/ 170 h 196"/>
                  <a:gd name="T104" fmla="*/ 204 w 205"/>
                  <a:gd name="T105" fmla="*/ 163 h 196"/>
                  <a:gd name="T106" fmla="*/ 204 w 205"/>
                  <a:gd name="T107" fmla="*/ 19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5" h="196">
                    <a:moveTo>
                      <a:pt x="166" y="108"/>
                    </a:moveTo>
                    <a:lnTo>
                      <a:pt x="166" y="105"/>
                    </a:lnTo>
                    <a:lnTo>
                      <a:pt x="164" y="103"/>
                    </a:lnTo>
                    <a:lnTo>
                      <a:pt x="163" y="100"/>
                    </a:lnTo>
                    <a:lnTo>
                      <a:pt x="161" y="96"/>
                    </a:lnTo>
                    <a:lnTo>
                      <a:pt x="156" y="96"/>
                    </a:lnTo>
                    <a:lnTo>
                      <a:pt x="155" y="98"/>
                    </a:lnTo>
                    <a:lnTo>
                      <a:pt x="156" y="101"/>
                    </a:lnTo>
                    <a:lnTo>
                      <a:pt x="153" y="103"/>
                    </a:lnTo>
                    <a:lnTo>
                      <a:pt x="148" y="103"/>
                    </a:lnTo>
                    <a:lnTo>
                      <a:pt x="148" y="100"/>
                    </a:lnTo>
                    <a:lnTo>
                      <a:pt x="150" y="100"/>
                    </a:lnTo>
                    <a:lnTo>
                      <a:pt x="153" y="100"/>
                    </a:lnTo>
                    <a:lnTo>
                      <a:pt x="151" y="96"/>
                    </a:lnTo>
                    <a:lnTo>
                      <a:pt x="153" y="92"/>
                    </a:lnTo>
                    <a:lnTo>
                      <a:pt x="156" y="85"/>
                    </a:lnTo>
                    <a:lnTo>
                      <a:pt x="160" y="83"/>
                    </a:lnTo>
                    <a:lnTo>
                      <a:pt x="163" y="80"/>
                    </a:lnTo>
                    <a:lnTo>
                      <a:pt x="166" y="78"/>
                    </a:lnTo>
                    <a:lnTo>
                      <a:pt x="164" y="75"/>
                    </a:lnTo>
                    <a:lnTo>
                      <a:pt x="161" y="74"/>
                    </a:lnTo>
                    <a:lnTo>
                      <a:pt x="163" y="72"/>
                    </a:lnTo>
                    <a:lnTo>
                      <a:pt x="168" y="70"/>
                    </a:lnTo>
                    <a:lnTo>
                      <a:pt x="168" y="74"/>
                    </a:lnTo>
                    <a:lnTo>
                      <a:pt x="171" y="74"/>
                    </a:lnTo>
                    <a:lnTo>
                      <a:pt x="176" y="72"/>
                    </a:lnTo>
                    <a:lnTo>
                      <a:pt x="174" y="69"/>
                    </a:lnTo>
                    <a:lnTo>
                      <a:pt x="171" y="67"/>
                    </a:lnTo>
                    <a:lnTo>
                      <a:pt x="171" y="62"/>
                    </a:lnTo>
                    <a:lnTo>
                      <a:pt x="173" y="57"/>
                    </a:lnTo>
                    <a:lnTo>
                      <a:pt x="176" y="54"/>
                    </a:lnTo>
                    <a:lnTo>
                      <a:pt x="176" y="52"/>
                    </a:lnTo>
                    <a:lnTo>
                      <a:pt x="178" y="47"/>
                    </a:lnTo>
                    <a:lnTo>
                      <a:pt x="181" y="44"/>
                    </a:lnTo>
                    <a:lnTo>
                      <a:pt x="178" y="41"/>
                    </a:lnTo>
                    <a:lnTo>
                      <a:pt x="174" y="41"/>
                    </a:lnTo>
                    <a:lnTo>
                      <a:pt x="171" y="39"/>
                    </a:lnTo>
                    <a:lnTo>
                      <a:pt x="168" y="41"/>
                    </a:lnTo>
                    <a:lnTo>
                      <a:pt x="166" y="39"/>
                    </a:lnTo>
                    <a:lnTo>
                      <a:pt x="163" y="39"/>
                    </a:lnTo>
                    <a:lnTo>
                      <a:pt x="161" y="41"/>
                    </a:lnTo>
                    <a:lnTo>
                      <a:pt x="158" y="38"/>
                    </a:lnTo>
                    <a:lnTo>
                      <a:pt x="158" y="36"/>
                    </a:lnTo>
                    <a:lnTo>
                      <a:pt x="155" y="34"/>
                    </a:lnTo>
                    <a:lnTo>
                      <a:pt x="153" y="34"/>
                    </a:lnTo>
                    <a:lnTo>
                      <a:pt x="148" y="34"/>
                    </a:lnTo>
                    <a:lnTo>
                      <a:pt x="147" y="31"/>
                    </a:lnTo>
                    <a:lnTo>
                      <a:pt x="145" y="31"/>
                    </a:lnTo>
                    <a:lnTo>
                      <a:pt x="143" y="31"/>
                    </a:lnTo>
                    <a:lnTo>
                      <a:pt x="140" y="29"/>
                    </a:lnTo>
                    <a:lnTo>
                      <a:pt x="137" y="29"/>
                    </a:lnTo>
                    <a:lnTo>
                      <a:pt x="133" y="25"/>
                    </a:lnTo>
                    <a:lnTo>
                      <a:pt x="132" y="25"/>
                    </a:lnTo>
                    <a:lnTo>
                      <a:pt x="130" y="23"/>
                    </a:lnTo>
                    <a:lnTo>
                      <a:pt x="129" y="23"/>
                    </a:lnTo>
                    <a:lnTo>
                      <a:pt x="127" y="25"/>
                    </a:lnTo>
                    <a:lnTo>
                      <a:pt x="122" y="23"/>
                    </a:lnTo>
                    <a:lnTo>
                      <a:pt x="122" y="18"/>
                    </a:lnTo>
                    <a:lnTo>
                      <a:pt x="120" y="16"/>
                    </a:lnTo>
                    <a:lnTo>
                      <a:pt x="119" y="15"/>
                    </a:lnTo>
                    <a:lnTo>
                      <a:pt x="117" y="15"/>
                    </a:lnTo>
                    <a:lnTo>
                      <a:pt x="112" y="11"/>
                    </a:lnTo>
                    <a:lnTo>
                      <a:pt x="112" y="8"/>
                    </a:lnTo>
                    <a:lnTo>
                      <a:pt x="107" y="7"/>
                    </a:lnTo>
                    <a:lnTo>
                      <a:pt x="107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99" y="3"/>
                    </a:lnTo>
                    <a:lnTo>
                      <a:pt x="98" y="2"/>
                    </a:lnTo>
                    <a:lnTo>
                      <a:pt x="93" y="5"/>
                    </a:lnTo>
                    <a:lnTo>
                      <a:pt x="93" y="8"/>
                    </a:lnTo>
                    <a:lnTo>
                      <a:pt x="93" y="11"/>
                    </a:lnTo>
                    <a:lnTo>
                      <a:pt x="93" y="18"/>
                    </a:lnTo>
                    <a:lnTo>
                      <a:pt x="88" y="23"/>
                    </a:lnTo>
                    <a:lnTo>
                      <a:pt x="88" y="25"/>
                    </a:lnTo>
                    <a:lnTo>
                      <a:pt x="83" y="26"/>
                    </a:lnTo>
                    <a:lnTo>
                      <a:pt x="80" y="26"/>
                    </a:lnTo>
                    <a:lnTo>
                      <a:pt x="76" y="25"/>
                    </a:lnTo>
                    <a:lnTo>
                      <a:pt x="71" y="28"/>
                    </a:lnTo>
                    <a:lnTo>
                      <a:pt x="70" y="31"/>
                    </a:lnTo>
                    <a:lnTo>
                      <a:pt x="71" y="33"/>
                    </a:lnTo>
                    <a:lnTo>
                      <a:pt x="73" y="34"/>
                    </a:lnTo>
                    <a:lnTo>
                      <a:pt x="70" y="36"/>
                    </a:lnTo>
                    <a:lnTo>
                      <a:pt x="65" y="38"/>
                    </a:lnTo>
                    <a:lnTo>
                      <a:pt x="58" y="36"/>
                    </a:lnTo>
                    <a:lnTo>
                      <a:pt x="57" y="36"/>
                    </a:lnTo>
                    <a:lnTo>
                      <a:pt x="53" y="36"/>
                    </a:lnTo>
                    <a:lnTo>
                      <a:pt x="53" y="34"/>
                    </a:lnTo>
                    <a:lnTo>
                      <a:pt x="52" y="33"/>
                    </a:lnTo>
                    <a:lnTo>
                      <a:pt x="52" y="29"/>
                    </a:lnTo>
                    <a:lnTo>
                      <a:pt x="50" y="29"/>
                    </a:lnTo>
                    <a:lnTo>
                      <a:pt x="47" y="29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2" y="33"/>
                    </a:lnTo>
                    <a:lnTo>
                      <a:pt x="42" y="34"/>
                    </a:lnTo>
                    <a:lnTo>
                      <a:pt x="47" y="39"/>
                    </a:lnTo>
                    <a:lnTo>
                      <a:pt x="47" y="41"/>
                    </a:lnTo>
                    <a:lnTo>
                      <a:pt x="47" y="44"/>
                    </a:lnTo>
                    <a:lnTo>
                      <a:pt x="47" y="46"/>
                    </a:lnTo>
                    <a:lnTo>
                      <a:pt x="49" y="47"/>
                    </a:lnTo>
                    <a:lnTo>
                      <a:pt x="49" y="51"/>
                    </a:lnTo>
                    <a:lnTo>
                      <a:pt x="44" y="51"/>
                    </a:lnTo>
                    <a:lnTo>
                      <a:pt x="40" y="51"/>
                    </a:lnTo>
                    <a:lnTo>
                      <a:pt x="39" y="51"/>
                    </a:lnTo>
                    <a:lnTo>
                      <a:pt x="35" y="51"/>
                    </a:lnTo>
                    <a:lnTo>
                      <a:pt x="34" y="51"/>
                    </a:lnTo>
                    <a:lnTo>
                      <a:pt x="31" y="52"/>
                    </a:lnTo>
                    <a:lnTo>
                      <a:pt x="26" y="47"/>
                    </a:lnTo>
                    <a:lnTo>
                      <a:pt x="24" y="46"/>
                    </a:lnTo>
                    <a:lnTo>
                      <a:pt x="21" y="47"/>
                    </a:lnTo>
                    <a:lnTo>
                      <a:pt x="18" y="49"/>
                    </a:lnTo>
                    <a:lnTo>
                      <a:pt x="16" y="49"/>
                    </a:lnTo>
                    <a:lnTo>
                      <a:pt x="14" y="51"/>
                    </a:lnTo>
                    <a:lnTo>
                      <a:pt x="13" y="49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3" y="52"/>
                    </a:lnTo>
                    <a:lnTo>
                      <a:pt x="0" y="56"/>
                    </a:lnTo>
                    <a:lnTo>
                      <a:pt x="1" y="57"/>
                    </a:lnTo>
                    <a:lnTo>
                      <a:pt x="4" y="56"/>
                    </a:lnTo>
                    <a:lnTo>
                      <a:pt x="6" y="57"/>
                    </a:lnTo>
                    <a:lnTo>
                      <a:pt x="8" y="57"/>
                    </a:lnTo>
                    <a:lnTo>
                      <a:pt x="4" y="57"/>
                    </a:lnTo>
                    <a:lnTo>
                      <a:pt x="3" y="57"/>
                    </a:lnTo>
                    <a:lnTo>
                      <a:pt x="4" y="60"/>
                    </a:lnTo>
                    <a:lnTo>
                      <a:pt x="4" y="59"/>
                    </a:lnTo>
                    <a:lnTo>
                      <a:pt x="6" y="59"/>
                    </a:lnTo>
                    <a:lnTo>
                      <a:pt x="8" y="60"/>
                    </a:lnTo>
                    <a:lnTo>
                      <a:pt x="6" y="62"/>
                    </a:lnTo>
                    <a:lnTo>
                      <a:pt x="3" y="64"/>
                    </a:lnTo>
                    <a:lnTo>
                      <a:pt x="3" y="64"/>
                    </a:lnTo>
                    <a:lnTo>
                      <a:pt x="6" y="64"/>
                    </a:lnTo>
                    <a:lnTo>
                      <a:pt x="6" y="67"/>
                    </a:lnTo>
                    <a:lnTo>
                      <a:pt x="6" y="69"/>
                    </a:lnTo>
                    <a:lnTo>
                      <a:pt x="9" y="67"/>
                    </a:lnTo>
                    <a:lnTo>
                      <a:pt x="11" y="67"/>
                    </a:lnTo>
                    <a:lnTo>
                      <a:pt x="14" y="67"/>
                    </a:lnTo>
                    <a:lnTo>
                      <a:pt x="19" y="69"/>
                    </a:lnTo>
                    <a:lnTo>
                      <a:pt x="19" y="72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4"/>
                    </a:lnTo>
                    <a:lnTo>
                      <a:pt x="29" y="75"/>
                    </a:lnTo>
                    <a:lnTo>
                      <a:pt x="32" y="74"/>
                    </a:lnTo>
                    <a:lnTo>
                      <a:pt x="34" y="75"/>
                    </a:lnTo>
                    <a:lnTo>
                      <a:pt x="32" y="78"/>
                    </a:lnTo>
                    <a:lnTo>
                      <a:pt x="34" y="80"/>
                    </a:lnTo>
                    <a:lnTo>
                      <a:pt x="35" y="80"/>
                    </a:lnTo>
                    <a:lnTo>
                      <a:pt x="39" y="78"/>
                    </a:lnTo>
                    <a:lnTo>
                      <a:pt x="42" y="78"/>
                    </a:lnTo>
                    <a:lnTo>
                      <a:pt x="44" y="82"/>
                    </a:lnTo>
                    <a:lnTo>
                      <a:pt x="42" y="80"/>
                    </a:lnTo>
                    <a:lnTo>
                      <a:pt x="39" y="80"/>
                    </a:lnTo>
                    <a:lnTo>
                      <a:pt x="37" y="83"/>
                    </a:lnTo>
                    <a:lnTo>
                      <a:pt x="39" y="83"/>
                    </a:lnTo>
                    <a:lnTo>
                      <a:pt x="39" y="87"/>
                    </a:lnTo>
                    <a:lnTo>
                      <a:pt x="37" y="90"/>
                    </a:lnTo>
                    <a:lnTo>
                      <a:pt x="39" y="92"/>
                    </a:lnTo>
                    <a:lnTo>
                      <a:pt x="40" y="92"/>
                    </a:lnTo>
                    <a:lnTo>
                      <a:pt x="45" y="96"/>
                    </a:lnTo>
                    <a:lnTo>
                      <a:pt x="49" y="98"/>
                    </a:lnTo>
                    <a:lnTo>
                      <a:pt x="52" y="100"/>
                    </a:lnTo>
                    <a:lnTo>
                      <a:pt x="52" y="103"/>
                    </a:lnTo>
                    <a:lnTo>
                      <a:pt x="53" y="105"/>
                    </a:lnTo>
                    <a:lnTo>
                      <a:pt x="53" y="108"/>
                    </a:lnTo>
                    <a:lnTo>
                      <a:pt x="52" y="108"/>
                    </a:lnTo>
                    <a:lnTo>
                      <a:pt x="52" y="111"/>
                    </a:lnTo>
                    <a:lnTo>
                      <a:pt x="53" y="111"/>
                    </a:lnTo>
                    <a:lnTo>
                      <a:pt x="58" y="116"/>
                    </a:lnTo>
                    <a:lnTo>
                      <a:pt x="62" y="124"/>
                    </a:lnTo>
                    <a:lnTo>
                      <a:pt x="58" y="121"/>
                    </a:lnTo>
                    <a:lnTo>
                      <a:pt x="57" y="116"/>
                    </a:lnTo>
                    <a:lnTo>
                      <a:pt x="53" y="114"/>
                    </a:lnTo>
                    <a:lnTo>
                      <a:pt x="52" y="116"/>
                    </a:lnTo>
                    <a:lnTo>
                      <a:pt x="50" y="124"/>
                    </a:lnTo>
                    <a:lnTo>
                      <a:pt x="52" y="131"/>
                    </a:lnTo>
                    <a:lnTo>
                      <a:pt x="53" y="132"/>
                    </a:lnTo>
                    <a:lnTo>
                      <a:pt x="52" y="134"/>
                    </a:lnTo>
                    <a:lnTo>
                      <a:pt x="50" y="144"/>
                    </a:lnTo>
                    <a:lnTo>
                      <a:pt x="49" y="154"/>
                    </a:lnTo>
                    <a:lnTo>
                      <a:pt x="44" y="155"/>
                    </a:lnTo>
                    <a:lnTo>
                      <a:pt x="47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50" y="162"/>
                    </a:lnTo>
                    <a:lnTo>
                      <a:pt x="49" y="165"/>
                    </a:lnTo>
                    <a:lnTo>
                      <a:pt x="53" y="163"/>
                    </a:lnTo>
                    <a:lnTo>
                      <a:pt x="60" y="167"/>
                    </a:lnTo>
                    <a:lnTo>
                      <a:pt x="63" y="170"/>
                    </a:lnTo>
                    <a:lnTo>
                      <a:pt x="67" y="168"/>
                    </a:lnTo>
                    <a:lnTo>
                      <a:pt x="70" y="172"/>
                    </a:lnTo>
                    <a:lnTo>
                      <a:pt x="75" y="172"/>
                    </a:lnTo>
                    <a:lnTo>
                      <a:pt x="76" y="173"/>
                    </a:lnTo>
                    <a:lnTo>
                      <a:pt x="80" y="170"/>
                    </a:lnTo>
                    <a:lnTo>
                      <a:pt x="86" y="170"/>
                    </a:lnTo>
                    <a:lnTo>
                      <a:pt x="89" y="172"/>
                    </a:lnTo>
                    <a:lnTo>
                      <a:pt x="93" y="172"/>
                    </a:lnTo>
                    <a:lnTo>
                      <a:pt x="98" y="173"/>
                    </a:lnTo>
                    <a:lnTo>
                      <a:pt x="106" y="173"/>
                    </a:lnTo>
                    <a:lnTo>
                      <a:pt x="111" y="177"/>
                    </a:lnTo>
                    <a:lnTo>
                      <a:pt x="112" y="177"/>
                    </a:lnTo>
                    <a:lnTo>
                      <a:pt x="112" y="175"/>
                    </a:lnTo>
                    <a:lnTo>
                      <a:pt x="111" y="170"/>
                    </a:lnTo>
                    <a:lnTo>
                      <a:pt x="112" y="165"/>
                    </a:lnTo>
                    <a:lnTo>
                      <a:pt x="112" y="162"/>
                    </a:lnTo>
                    <a:lnTo>
                      <a:pt x="115" y="159"/>
                    </a:lnTo>
                    <a:lnTo>
                      <a:pt x="122" y="154"/>
                    </a:lnTo>
                    <a:lnTo>
                      <a:pt x="124" y="154"/>
                    </a:lnTo>
                    <a:lnTo>
                      <a:pt x="125" y="154"/>
                    </a:lnTo>
                    <a:lnTo>
                      <a:pt x="129" y="155"/>
                    </a:lnTo>
                    <a:lnTo>
                      <a:pt x="133" y="157"/>
                    </a:lnTo>
                    <a:lnTo>
                      <a:pt x="135" y="157"/>
                    </a:lnTo>
                    <a:lnTo>
                      <a:pt x="138" y="155"/>
                    </a:lnTo>
                    <a:lnTo>
                      <a:pt x="140" y="155"/>
                    </a:lnTo>
                    <a:lnTo>
                      <a:pt x="150" y="162"/>
                    </a:lnTo>
                    <a:lnTo>
                      <a:pt x="153" y="163"/>
                    </a:lnTo>
                    <a:lnTo>
                      <a:pt x="160" y="163"/>
                    </a:lnTo>
                    <a:lnTo>
                      <a:pt x="163" y="162"/>
                    </a:lnTo>
                    <a:lnTo>
                      <a:pt x="161" y="160"/>
                    </a:lnTo>
                    <a:lnTo>
                      <a:pt x="164" y="157"/>
                    </a:lnTo>
                    <a:lnTo>
                      <a:pt x="174" y="149"/>
                    </a:lnTo>
                    <a:lnTo>
                      <a:pt x="174" y="149"/>
                    </a:lnTo>
                    <a:lnTo>
                      <a:pt x="174" y="145"/>
                    </a:lnTo>
                    <a:lnTo>
                      <a:pt x="176" y="141"/>
                    </a:lnTo>
                    <a:lnTo>
                      <a:pt x="171" y="141"/>
                    </a:lnTo>
                    <a:lnTo>
                      <a:pt x="166" y="137"/>
                    </a:lnTo>
                    <a:lnTo>
                      <a:pt x="166" y="127"/>
                    </a:lnTo>
                    <a:lnTo>
                      <a:pt x="161" y="124"/>
                    </a:lnTo>
                    <a:lnTo>
                      <a:pt x="164" y="121"/>
                    </a:lnTo>
                    <a:lnTo>
                      <a:pt x="168" y="121"/>
                    </a:lnTo>
                    <a:lnTo>
                      <a:pt x="168" y="116"/>
                    </a:lnTo>
                    <a:lnTo>
                      <a:pt x="166" y="113"/>
                    </a:lnTo>
                    <a:lnTo>
                      <a:pt x="164" y="110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  <a:moveTo>
                      <a:pt x="200" y="196"/>
                    </a:moveTo>
                    <a:lnTo>
                      <a:pt x="196" y="194"/>
                    </a:lnTo>
                    <a:lnTo>
                      <a:pt x="194" y="193"/>
                    </a:lnTo>
                    <a:lnTo>
                      <a:pt x="196" y="191"/>
                    </a:lnTo>
                    <a:lnTo>
                      <a:pt x="196" y="191"/>
                    </a:lnTo>
                    <a:lnTo>
                      <a:pt x="196" y="190"/>
                    </a:lnTo>
                    <a:lnTo>
                      <a:pt x="194" y="190"/>
                    </a:lnTo>
                    <a:lnTo>
                      <a:pt x="194" y="188"/>
                    </a:lnTo>
                    <a:lnTo>
                      <a:pt x="192" y="186"/>
                    </a:lnTo>
                    <a:lnTo>
                      <a:pt x="191" y="185"/>
                    </a:lnTo>
                    <a:lnTo>
                      <a:pt x="192" y="185"/>
                    </a:lnTo>
                    <a:lnTo>
                      <a:pt x="192" y="183"/>
                    </a:lnTo>
                    <a:lnTo>
                      <a:pt x="191" y="181"/>
                    </a:lnTo>
                    <a:lnTo>
                      <a:pt x="189" y="180"/>
                    </a:lnTo>
                    <a:lnTo>
                      <a:pt x="192" y="180"/>
                    </a:lnTo>
                    <a:lnTo>
                      <a:pt x="192" y="178"/>
                    </a:lnTo>
                    <a:lnTo>
                      <a:pt x="191" y="177"/>
                    </a:lnTo>
                    <a:lnTo>
                      <a:pt x="192" y="172"/>
                    </a:lnTo>
                    <a:lnTo>
                      <a:pt x="197" y="170"/>
                    </a:lnTo>
                    <a:lnTo>
                      <a:pt x="199" y="168"/>
                    </a:lnTo>
                    <a:lnTo>
                      <a:pt x="200" y="170"/>
                    </a:lnTo>
                    <a:lnTo>
                      <a:pt x="202" y="170"/>
                    </a:lnTo>
                    <a:lnTo>
                      <a:pt x="202" y="167"/>
                    </a:lnTo>
                    <a:lnTo>
                      <a:pt x="202" y="165"/>
                    </a:lnTo>
                    <a:lnTo>
                      <a:pt x="202" y="163"/>
                    </a:lnTo>
                    <a:lnTo>
                      <a:pt x="204" y="163"/>
                    </a:lnTo>
                    <a:lnTo>
                      <a:pt x="205" y="167"/>
                    </a:lnTo>
                    <a:lnTo>
                      <a:pt x="204" y="172"/>
                    </a:lnTo>
                    <a:lnTo>
                      <a:pt x="205" y="178"/>
                    </a:lnTo>
                    <a:lnTo>
                      <a:pt x="204" y="185"/>
                    </a:lnTo>
                    <a:lnTo>
                      <a:pt x="204" y="190"/>
                    </a:lnTo>
                    <a:lnTo>
                      <a:pt x="202" y="194"/>
                    </a:lnTo>
                    <a:lnTo>
                      <a:pt x="200" y="19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5" name="Freeform 222">
                <a:extLst>
                  <a:ext uri="{FF2B5EF4-FFF2-40B4-BE49-F238E27FC236}">
                    <a16:creationId xmlns:a16="http://schemas.microsoft.com/office/drawing/2014/main" xmlns="" id="{6639168B-B00A-4D9A-A055-C064A154B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1449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4 h 5"/>
                  <a:gd name="T8" fmla="*/ 5 w 5"/>
                  <a:gd name="T9" fmla="*/ 2 h 5"/>
                  <a:gd name="T10" fmla="*/ 2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3" name="Freeform 223">
                <a:extLst>
                  <a:ext uri="{FF2B5EF4-FFF2-40B4-BE49-F238E27FC236}">
                    <a16:creationId xmlns:a16="http://schemas.microsoft.com/office/drawing/2014/main" xmlns="" id="{AA153BB0-88BA-46B5-B3BD-43ABB379ED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2" y="1229"/>
                <a:ext cx="182" cy="207"/>
              </a:xfrm>
              <a:custGeom>
                <a:avLst/>
                <a:gdLst>
                  <a:gd name="T0" fmla="*/ 5 w 182"/>
                  <a:gd name="T1" fmla="*/ 55 h 207"/>
                  <a:gd name="T2" fmla="*/ 7 w 182"/>
                  <a:gd name="T3" fmla="*/ 34 h 207"/>
                  <a:gd name="T4" fmla="*/ 15 w 182"/>
                  <a:gd name="T5" fmla="*/ 23 h 207"/>
                  <a:gd name="T6" fmla="*/ 33 w 182"/>
                  <a:gd name="T7" fmla="*/ 23 h 207"/>
                  <a:gd name="T8" fmla="*/ 48 w 182"/>
                  <a:gd name="T9" fmla="*/ 18 h 207"/>
                  <a:gd name="T10" fmla="*/ 59 w 182"/>
                  <a:gd name="T11" fmla="*/ 3 h 207"/>
                  <a:gd name="T12" fmla="*/ 80 w 182"/>
                  <a:gd name="T13" fmla="*/ 5 h 207"/>
                  <a:gd name="T14" fmla="*/ 101 w 182"/>
                  <a:gd name="T15" fmla="*/ 18 h 207"/>
                  <a:gd name="T16" fmla="*/ 97 w 182"/>
                  <a:gd name="T17" fmla="*/ 29 h 207"/>
                  <a:gd name="T18" fmla="*/ 82 w 182"/>
                  <a:gd name="T19" fmla="*/ 37 h 207"/>
                  <a:gd name="T20" fmla="*/ 84 w 182"/>
                  <a:gd name="T21" fmla="*/ 52 h 207"/>
                  <a:gd name="T22" fmla="*/ 100 w 182"/>
                  <a:gd name="T23" fmla="*/ 68 h 207"/>
                  <a:gd name="T24" fmla="*/ 113 w 182"/>
                  <a:gd name="T25" fmla="*/ 88 h 207"/>
                  <a:gd name="T26" fmla="*/ 128 w 182"/>
                  <a:gd name="T27" fmla="*/ 103 h 207"/>
                  <a:gd name="T28" fmla="*/ 146 w 182"/>
                  <a:gd name="T29" fmla="*/ 104 h 207"/>
                  <a:gd name="T30" fmla="*/ 146 w 182"/>
                  <a:gd name="T31" fmla="*/ 114 h 207"/>
                  <a:gd name="T32" fmla="*/ 177 w 182"/>
                  <a:gd name="T33" fmla="*/ 130 h 207"/>
                  <a:gd name="T34" fmla="*/ 180 w 182"/>
                  <a:gd name="T35" fmla="*/ 144 h 207"/>
                  <a:gd name="T36" fmla="*/ 172 w 182"/>
                  <a:gd name="T37" fmla="*/ 139 h 207"/>
                  <a:gd name="T38" fmla="*/ 162 w 182"/>
                  <a:gd name="T39" fmla="*/ 132 h 207"/>
                  <a:gd name="T40" fmla="*/ 155 w 182"/>
                  <a:gd name="T41" fmla="*/ 140 h 207"/>
                  <a:gd name="T42" fmla="*/ 155 w 182"/>
                  <a:gd name="T43" fmla="*/ 148 h 207"/>
                  <a:gd name="T44" fmla="*/ 160 w 182"/>
                  <a:gd name="T45" fmla="*/ 163 h 207"/>
                  <a:gd name="T46" fmla="*/ 150 w 182"/>
                  <a:gd name="T47" fmla="*/ 181 h 207"/>
                  <a:gd name="T48" fmla="*/ 141 w 182"/>
                  <a:gd name="T49" fmla="*/ 178 h 207"/>
                  <a:gd name="T50" fmla="*/ 146 w 182"/>
                  <a:gd name="T51" fmla="*/ 168 h 207"/>
                  <a:gd name="T52" fmla="*/ 146 w 182"/>
                  <a:gd name="T53" fmla="*/ 153 h 207"/>
                  <a:gd name="T54" fmla="*/ 137 w 182"/>
                  <a:gd name="T55" fmla="*/ 142 h 207"/>
                  <a:gd name="T56" fmla="*/ 128 w 182"/>
                  <a:gd name="T57" fmla="*/ 134 h 207"/>
                  <a:gd name="T58" fmla="*/ 121 w 182"/>
                  <a:gd name="T59" fmla="*/ 126 h 207"/>
                  <a:gd name="T60" fmla="*/ 108 w 182"/>
                  <a:gd name="T61" fmla="*/ 117 h 207"/>
                  <a:gd name="T62" fmla="*/ 97 w 182"/>
                  <a:gd name="T63" fmla="*/ 114 h 207"/>
                  <a:gd name="T64" fmla="*/ 79 w 182"/>
                  <a:gd name="T65" fmla="*/ 98 h 207"/>
                  <a:gd name="T66" fmla="*/ 64 w 182"/>
                  <a:gd name="T67" fmla="*/ 83 h 207"/>
                  <a:gd name="T68" fmla="*/ 54 w 182"/>
                  <a:gd name="T69" fmla="*/ 67 h 207"/>
                  <a:gd name="T70" fmla="*/ 43 w 182"/>
                  <a:gd name="T71" fmla="*/ 57 h 207"/>
                  <a:gd name="T72" fmla="*/ 13 w 182"/>
                  <a:gd name="T73" fmla="*/ 67 h 207"/>
                  <a:gd name="T74" fmla="*/ 28 w 182"/>
                  <a:gd name="T75" fmla="*/ 117 h 207"/>
                  <a:gd name="T76" fmla="*/ 26 w 182"/>
                  <a:gd name="T77" fmla="*/ 121 h 207"/>
                  <a:gd name="T78" fmla="*/ 66 w 182"/>
                  <a:gd name="T79" fmla="*/ 95 h 207"/>
                  <a:gd name="T80" fmla="*/ 59 w 182"/>
                  <a:gd name="T81" fmla="*/ 86 h 207"/>
                  <a:gd name="T82" fmla="*/ 52 w 182"/>
                  <a:gd name="T83" fmla="*/ 85 h 207"/>
                  <a:gd name="T84" fmla="*/ 39 w 182"/>
                  <a:gd name="T85" fmla="*/ 160 h 207"/>
                  <a:gd name="T86" fmla="*/ 48 w 182"/>
                  <a:gd name="T87" fmla="*/ 158 h 207"/>
                  <a:gd name="T88" fmla="*/ 44 w 182"/>
                  <a:gd name="T89" fmla="*/ 134 h 207"/>
                  <a:gd name="T90" fmla="*/ 44 w 182"/>
                  <a:gd name="T91" fmla="*/ 119 h 207"/>
                  <a:gd name="T92" fmla="*/ 30 w 182"/>
                  <a:gd name="T93" fmla="*/ 126 h 207"/>
                  <a:gd name="T94" fmla="*/ 28 w 182"/>
                  <a:gd name="T95" fmla="*/ 134 h 207"/>
                  <a:gd name="T96" fmla="*/ 31 w 182"/>
                  <a:gd name="T97" fmla="*/ 144 h 207"/>
                  <a:gd name="T98" fmla="*/ 31 w 182"/>
                  <a:gd name="T99" fmla="*/ 161 h 207"/>
                  <a:gd name="T100" fmla="*/ 136 w 182"/>
                  <a:gd name="T101" fmla="*/ 201 h 207"/>
                  <a:gd name="T102" fmla="*/ 139 w 182"/>
                  <a:gd name="T103" fmla="*/ 179 h 207"/>
                  <a:gd name="T104" fmla="*/ 123 w 182"/>
                  <a:gd name="T105" fmla="*/ 181 h 207"/>
                  <a:gd name="T106" fmla="*/ 100 w 182"/>
                  <a:gd name="T107" fmla="*/ 179 h 207"/>
                  <a:gd name="T108" fmla="*/ 97 w 182"/>
                  <a:gd name="T109" fmla="*/ 191 h 207"/>
                  <a:gd name="T110" fmla="*/ 118 w 182"/>
                  <a:gd name="T111" fmla="*/ 201 h 207"/>
                  <a:gd name="T112" fmla="*/ 134 w 182"/>
                  <a:gd name="T113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2" h="207">
                    <a:moveTo>
                      <a:pt x="13" y="67"/>
                    </a:moveTo>
                    <a:lnTo>
                      <a:pt x="13" y="63"/>
                    </a:lnTo>
                    <a:lnTo>
                      <a:pt x="15" y="59"/>
                    </a:lnTo>
                    <a:lnTo>
                      <a:pt x="10" y="59"/>
                    </a:lnTo>
                    <a:lnTo>
                      <a:pt x="5" y="55"/>
                    </a:lnTo>
                    <a:lnTo>
                      <a:pt x="5" y="45"/>
                    </a:lnTo>
                    <a:lnTo>
                      <a:pt x="0" y="42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7" y="34"/>
                    </a:lnTo>
                    <a:lnTo>
                      <a:pt x="5" y="31"/>
                    </a:lnTo>
                    <a:lnTo>
                      <a:pt x="3" y="28"/>
                    </a:lnTo>
                    <a:lnTo>
                      <a:pt x="5" y="26"/>
                    </a:lnTo>
                    <a:lnTo>
                      <a:pt x="8" y="26"/>
                    </a:lnTo>
                    <a:lnTo>
                      <a:pt x="15" y="23"/>
                    </a:lnTo>
                    <a:lnTo>
                      <a:pt x="20" y="24"/>
                    </a:lnTo>
                    <a:lnTo>
                      <a:pt x="25" y="14"/>
                    </a:lnTo>
                    <a:lnTo>
                      <a:pt x="28" y="16"/>
                    </a:lnTo>
                    <a:lnTo>
                      <a:pt x="28" y="19"/>
                    </a:lnTo>
                    <a:lnTo>
                      <a:pt x="33" y="23"/>
                    </a:lnTo>
                    <a:lnTo>
                      <a:pt x="35" y="26"/>
                    </a:lnTo>
                    <a:lnTo>
                      <a:pt x="38" y="19"/>
                    </a:lnTo>
                    <a:lnTo>
                      <a:pt x="38" y="16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51" y="19"/>
                    </a:lnTo>
                    <a:lnTo>
                      <a:pt x="51" y="13"/>
                    </a:lnTo>
                    <a:lnTo>
                      <a:pt x="57" y="11"/>
                    </a:lnTo>
                    <a:lnTo>
                      <a:pt x="56" y="6"/>
                    </a:lnTo>
                    <a:lnTo>
                      <a:pt x="59" y="3"/>
                    </a:lnTo>
                    <a:lnTo>
                      <a:pt x="64" y="5"/>
                    </a:lnTo>
                    <a:lnTo>
                      <a:pt x="72" y="0"/>
                    </a:lnTo>
                    <a:lnTo>
                      <a:pt x="75" y="1"/>
                    </a:lnTo>
                    <a:lnTo>
                      <a:pt x="82" y="1"/>
                    </a:lnTo>
                    <a:lnTo>
                      <a:pt x="80" y="5"/>
                    </a:lnTo>
                    <a:lnTo>
                      <a:pt x="88" y="8"/>
                    </a:lnTo>
                    <a:lnTo>
                      <a:pt x="98" y="11"/>
                    </a:lnTo>
                    <a:lnTo>
                      <a:pt x="103" y="10"/>
                    </a:lnTo>
                    <a:lnTo>
                      <a:pt x="105" y="13"/>
                    </a:lnTo>
                    <a:lnTo>
                      <a:pt x="101" y="18"/>
                    </a:lnTo>
                    <a:lnTo>
                      <a:pt x="103" y="19"/>
                    </a:lnTo>
                    <a:lnTo>
                      <a:pt x="101" y="23"/>
                    </a:lnTo>
                    <a:lnTo>
                      <a:pt x="101" y="29"/>
                    </a:lnTo>
                    <a:lnTo>
                      <a:pt x="98" y="28"/>
                    </a:lnTo>
                    <a:lnTo>
                      <a:pt x="97" y="29"/>
                    </a:lnTo>
                    <a:lnTo>
                      <a:pt x="93" y="31"/>
                    </a:lnTo>
                    <a:lnTo>
                      <a:pt x="90" y="31"/>
                    </a:lnTo>
                    <a:lnTo>
                      <a:pt x="87" y="34"/>
                    </a:lnTo>
                    <a:lnTo>
                      <a:pt x="84" y="34"/>
                    </a:lnTo>
                    <a:lnTo>
                      <a:pt x="82" y="37"/>
                    </a:lnTo>
                    <a:lnTo>
                      <a:pt x="84" y="41"/>
                    </a:lnTo>
                    <a:lnTo>
                      <a:pt x="87" y="44"/>
                    </a:lnTo>
                    <a:lnTo>
                      <a:pt x="84" y="47"/>
                    </a:lnTo>
                    <a:lnTo>
                      <a:pt x="82" y="49"/>
                    </a:lnTo>
                    <a:lnTo>
                      <a:pt x="84" y="52"/>
                    </a:lnTo>
                    <a:lnTo>
                      <a:pt x="85" y="57"/>
                    </a:lnTo>
                    <a:lnTo>
                      <a:pt x="87" y="60"/>
                    </a:lnTo>
                    <a:lnTo>
                      <a:pt x="93" y="63"/>
                    </a:lnTo>
                    <a:lnTo>
                      <a:pt x="97" y="65"/>
                    </a:lnTo>
                    <a:lnTo>
                      <a:pt x="100" y="68"/>
                    </a:lnTo>
                    <a:lnTo>
                      <a:pt x="110" y="78"/>
                    </a:lnTo>
                    <a:lnTo>
                      <a:pt x="110" y="81"/>
                    </a:lnTo>
                    <a:lnTo>
                      <a:pt x="111" y="81"/>
                    </a:lnTo>
                    <a:lnTo>
                      <a:pt x="111" y="85"/>
                    </a:lnTo>
                    <a:lnTo>
                      <a:pt x="113" y="88"/>
                    </a:lnTo>
                    <a:lnTo>
                      <a:pt x="116" y="91"/>
                    </a:lnTo>
                    <a:lnTo>
                      <a:pt x="118" y="95"/>
                    </a:lnTo>
                    <a:lnTo>
                      <a:pt x="123" y="99"/>
                    </a:lnTo>
                    <a:lnTo>
                      <a:pt x="126" y="101"/>
                    </a:lnTo>
                    <a:lnTo>
                      <a:pt x="128" y="103"/>
                    </a:lnTo>
                    <a:lnTo>
                      <a:pt x="131" y="103"/>
                    </a:lnTo>
                    <a:lnTo>
                      <a:pt x="136" y="103"/>
                    </a:lnTo>
                    <a:lnTo>
                      <a:pt x="139" y="104"/>
                    </a:lnTo>
                    <a:lnTo>
                      <a:pt x="142" y="103"/>
                    </a:lnTo>
                    <a:lnTo>
                      <a:pt x="146" y="104"/>
                    </a:lnTo>
                    <a:lnTo>
                      <a:pt x="144" y="108"/>
                    </a:lnTo>
                    <a:lnTo>
                      <a:pt x="141" y="109"/>
                    </a:lnTo>
                    <a:lnTo>
                      <a:pt x="141" y="111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52" y="116"/>
                    </a:lnTo>
                    <a:lnTo>
                      <a:pt x="164" y="122"/>
                    </a:lnTo>
                    <a:lnTo>
                      <a:pt x="168" y="126"/>
                    </a:lnTo>
                    <a:lnTo>
                      <a:pt x="172" y="129"/>
                    </a:lnTo>
                    <a:lnTo>
                      <a:pt x="177" y="130"/>
                    </a:lnTo>
                    <a:lnTo>
                      <a:pt x="180" y="132"/>
                    </a:lnTo>
                    <a:lnTo>
                      <a:pt x="182" y="135"/>
                    </a:lnTo>
                    <a:lnTo>
                      <a:pt x="180" y="139"/>
                    </a:lnTo>
                    <a:lnTo>
                      <a:pt x="178" y="140"/>
                    </a:lnTo>
                    <a:lnTo>
                      <a:pt x="180" y="144"/>
                    </a:lnTo>
                    <a:lnTo>
                      <a:pt x="178" y="144"/>
                    </a:lnTo>
                    <a:lnTo>
                      <a:pt x="178" y="145"/>
                    </a:lnTo>
                    <a:lnTo>
                      <a:pt x="175" y="144"/>
                    </a:lnTo>
                    <a:lnTo>
                      <a:pt x="173" y="140"/>
                    </a:lnTo>
                    <a:lnTo>
                      <a:pt x="172" y="139"/>
                    </a:lnTo>
                    <a:lnTo>
                      <a:pt x="172" y="135"/>
                    </a:lnTo>
                    <a:lnTo>
                      <a:pt x="170" y="134"/>
                    </a:lnTo>
                    <a:lnTo>
                      <a:pt x="165" y="134"/>
                    </a:lnTo>
                    <a:lnTo>
                      <a:pt x="165" y="134"/>
                    </a:lnTo>
                    <a:lnTo>
                      <a:pt x="162" y="132"/>
                    </a:lnTo>
                    <a:lnTo>
                      <a:pt x="159" y="132"/>
                    </a:lnTo>
                    <a:lnTo>
                      <a:pt x="159" y="132"/>
                    </a:lnTo>
                    <a:lnTo>
                      <a:pt x="157" y="137"/>
                    </a:lnTo>
                    <a:lnTo>
                      <a:pt x="155" y="139"/>
                    </a:lnTo>
                    <a:lnTo>
                      <a:pt x="155" y="140"/>
                    </a:lnTo>
                    <a:lnTo>
                      <a:pt x="155" y="144"/>
                    </a:lnTo>
                    <a:lnTo>
                      <a:pt x="152" y="145"/>
                    </a:lnTo>
                    <a:lnTo>
                      <a:pt x="152" y="147"/>
                    </a:lnTo>
                    <a:lnTo>
                      <a:pt x="154" y="148"/>
                    </a:lnTo>
                    <a:lnTo>
                      <a:pt x="155" y="148"/>
                    </a:lnTo>
                    <a:lnTo>
                      <a:pt x="160" y="153"/>
                    </a:lnTo>
                    <a:lnTo>
                      <a:pt x="162" y="155"/>
                    </a:lnTo>
                    <a:lnTo>
                      <a:pt x="160" y="160"/>
                    </a:lnTo>
                    <a:lnTo>
                      <a:pt x="162" y="161"/>
                    </a:lnTo>
                    <a:lnTo>
                      <a:pt x="160" y="163"/>
                    </a:lnTo>
                    <a:lnTo>
                      <a:pt x="159" y="163"/>
                    </a:lnTo>
                    <a:lnTo>
                      <a:pt x="155" y="166"/>
                    </a:lnTo>
                    <a:lnTo>
                      <a:pt x="155" y="175"/>
                    </a:lnTo>
                    <a:lnTo>
                      <a:pt x="150" y="178"/>
                    </a:lnTo>
                    <a:lnTo>
                      <a:pt x="150" y="181"/>
                    </a:lnTo>
                    <a:lnTo>
                      <a:pt x="147" y="184"/>
                    </a:lnTo>
                    <a:lnTo>
                      <a:pt x="144" y="184"/>
                    </a:lnTo>
                    <a:lnTo>
                      <a:pt x="139" y="181"/>
                    </a:lnTo>
                    <a:lnTo>
                      <a:pt x="139" y="178"/>
                    </a:lnTo>
                    <a:lnTo>
                      <a:pt x="141" y="178"/>
                    </a:lnTo>
                    <a:lnTo>
                      <a:pt x="142" y="176"/>
                    </a:lnTo>
                    <a:lnTo>
                      <a:pt x="144" y="175"/>
                    </a:lnTo>
                    <a:lnTo>
                      <a:pt x="144" y="171"/>
                    </a:lnTo>
                    <a:lnTo>
                      <a:pt x="144" y="168"/>
                    </a:lnTo>
                    <a:lnTo>
                      <a:pt x="146" y="168"/>
                    </a:lnTo>
                    <a:lnTo>
                      <a:pt x="146" y="168"/>
                    </a:lnTo>
                    <a:lnTo>
                      <a:pt x="147" y="165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6" y="153"/>
                    </a:lnTo>
                    <a:lnTo>
                      <a:pt x="144" y="152"/>
                    </a:lnTo>
                    <a:lnTo>
                      <a:pt x="142" y="147"/>
                    </a:lnTo>
                    <a:lnTo>
                      <a:pt x="141" y="142"/>
                    </a:lnTo>
                    <a:lnTo>
                      <a:pt x="139" y="140"/>
                    </a:lnTo>
                    <a:lnTo>
                      <a:pt x="137" y="142"/>
                    </a:lnTo>
                    <a:lnTo>
                      <a:pt x="133" y="140"/>
                    </a:lnTo>
                    <a:lnTo>
                      <a:pt x="133" y="137"/>
                    </a:lnTo>
                    <a:lnTo>
                      <a:pt x="129" y="137"/>
                    </a:lnTo>
                    <a:lnTo>
                      <a:pt x="128" y="135"/>
                    </a:lnTo>
                    <a:lnTo>
                      <a:pt x="128" y="134"/>
                    </a:lnTo>
                    <a:lnTo>
                      <a:pt x="128" y="130"/>
                    </a:lnTo>
                    <a:lnTo>
                      <a:pt x="126" y="129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21" y="126"/>
                    </a:lnTo>
                    <a:lnTo>
                      <a:pt x="118" y="126"/>
                    </a:lnTo>
                    <a:lnTo>
                      <a:pt x="116" y="126"/>
                    </a:lnTo>
                    <a:lnTo>
                      <a:pt x="115" y="124"/>
                    </a:lnTo>
                    <a:lnTo>
                      <a:pt x="111" y="117"/>
                    </a:lnTo>
                    <a:lnTo>
                      <a:pt x="108" y="117"/>
                    </a:lnTo>
                    <a:lnTo>
                      <a:pt x="105" y="117"/>
                    </a:lnTo>
                    <a:lnTo>
                      <a:pt x="103" y="119"/>
                    </a:lnTo>
                    <a:lnTo>
                      <a:pt x="100" y="119"/>
                    </a:lnTo>
                    <a:lnTo>
                      <a:pt x="98" y="116"/>
                    </a:lnTo>
                    <a:lnTo>
                      <a:pt x="97" y="114"/>
                    </a:lnTo>
                    <a:lnTo>
                      <a:pt x="93" y="114"/>
                    </a:lnTo>
                    <a:lnTo>
                      <a:pt x="87" y="109"/>
                    </a:lnTo>
                    <a:lnTo>
                      <a:pt x="80" y="101"/>
                    </a:lnTo>
                    <a:lnTo>
                      <a:pt x="79" y="99"/>
                    </a:lnTo>
                    <a:lnTo>
                      <a:pt x="79" y="98"/>
                    </a:lnTo>
                    <a:lnTo>
                      <a:pt x="75" y="93"/>
                    </a:lnTo>
                    <a:lnTo>
                      <a:pt x="70" y="93"/>
                    </a:lnTo>
                    <a:lnTo>
                      <a:pt x="70" y="90"/>
                    </a:lnTo>
                    <a:lnTo>
                      <a:pt x="66" y="86"/>
                    </a:lnTo>
                    <a:lnTo>
                      <a:pt x="64" y="83"/>
                    </a:lnTo>
                    <a:lnTo>
                      <a:pt x="59" y="81"/>
                    </a:lnTo>
                    <a:lnTo>
                      <a:pt x="59" y="77"/>
                    </a:lnTo>
                    <a:lnTo>
                      <a:pt x="57" y="75"/>
                    </a:lnTo>
                    <a:lnTo>
                      <a:pt x="57" y="72"/>
                    </a:lnTo>
                    <a:lnTo>
                      <a:pt x="54" y="67"/>
                    </a:lnTo>
                    <a:lnTo>
                      <a:pt x="52" y="65"/>
                    </a:lnTo>
                    <a:lnTo>
                      <a:pt x="52" y="63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3" y="57"/>
                    </a:lnTo>
                    <a:lnTo>
                      <a:pt x="33" y="54"/>
                    </a:lnTo>
                    <a:lnTo>
                      <a:pt x="25" y="59"/>
                    </a:lnTo>
                    <a:lnTo>
                      <a:pt x="25" y="62"/>
                    </a:lnTo>
                    <a:lnTo>
                      <a:pt x="21" y="65"/>
                    </a:lnTo>
                    <a:lnTo>
                      <a:pt x="13" y="67"/>
                    </a:lnTo>
                    <a:lnTo>
                      <a:pt x="13" y="67"/>
                    </a:lnTo>
                    <a:close/>
                    <a:moveTo>
                      <a:pt x="26" y="121"/>
                    </a:moveTo>
                    <a:lnTo>
                      <a:pt x="26" y="121"/>
                    </a:lnTo>
                    <a:lnTo>
                      <a:pt x="26" y="119"/>
                    </a:lnTo>
                    <a:lnTo>
                      <a:pt x="28" y="117"/>
                    </a:lnTo>
                    <a:lnTo>
                      <a:pt x="26" y="117"/>
                    </a:lnTo>
                    <a:lnTo>
                      <a:pt x="26" y="119"/>
                    </a:lnTo>
                    <a:lnTo>
                      <a:pt x="25" y="119"/>
                    </a:lnTo>
                    <a:lnTo>
                      <a:pt x="26" y="121"/>
                    </a:lnTo>
                    <a:lnTo>
                      <a:pt x="26" y="121"/>
                    </a:lnTo>
                    <a:close/>
                    <a:moveTo>
                      <a:pt x="66" y="95"/>
                    </a:moveTo>
                    <a:lnTo>
                      <a:pt x="67" y="96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6" y="95"/>
                    </a:lnTo>
                    <a:close/>
                    <a:moveTo>
                      <a:pt x="52" y="85"/>
                    </a:moveTo>
                    <a:lnTo>
                      <a:pt x="52" y="86"/>
                    </a:lnTo>
                    <a:lnTo>
                      <a:pt x="54" y="88"/>
                    </a:lnTo>
                    <a:lnTo>
                      <a:pt x="57" y="86"/>
                    </a:lnTo>
                    <a:lnTo>
                      <a:pt x="59" y="86"/>
                    </a:lnTo>
                    <a:lnTo>
                      <a:pt x="59" y="85"/>
                    </a:lnTo>
                    <a:lnTo>
                      <a:pt x="57" y="83"/>
                    </a:lnTo>
                    <a:lnTo>
                      <a:pt x="57" y="85"/>
                    </a:lnTo>
                    <a:lnTo>
                      <a:pt x="52" y="85"/>
                    </a:lnTo>
                    <a:lnTo>
                      <a:pt x="52" y="85"/>
                    </a:lnTo>
                    <a:close/>
                    <a:moveTo>
                      <a:pt x="35" y="165"/>
                    </a:moveTo>
                    <a:lnTo>
                      <a:pt x="35" y="163"/>
                    </a:lnTo>
                    <a:lnTo>
                      <a:pt x="36" y="165"/>
                    </a:lnTo>
                    <a:lnTo>
                      <a:pt x="39" y="163"/>
                    </a:lnTo>
                    <a:lnTo>
                      <a:pt x="39" y="160"/>
                    </a:lnTo>
                    <a:lnTo>
                      <a:pt x="39" y="158"/>
                    </a:lnTo>
                    <a:lnTo>
                      <a:pt x="43" y="158"/>
                    </a:lnTo>
                    <a:lnTo>
                      <a:pt x="44" y="160"/>
                    </a:lnTo>
                    <a:lnTo>
                      <a:pt x="46" y="160"/>
                    </a:lnTo>
                    <a:lnTo>
                      <a:pt x="48" y="158"/>
                    </a:lnTo>
                    <a:lnTo>
                      <a:pt x="48" y="152"/>
                    </a:lnTo>
                    <a:lnTo>
                      <a:pt x="49" y="150"/>
                    </a:lnTo>
                    <a:lnTo>
                      <a:pt x="48" y="144"/>
                    </a:lnTo>
                    <a:lnTo>
                      <a:pt x="49" y="137"/>
                    </a:lnTo>
                    <a:lnTo>
                      <a:pt x="44" y="134"/>
                    </a:lnTo>
                    <a:lnTo>
                      <a:pt x="48" y="132"/>
                    </a:lnTo>
                    <a:lnTo>
                      <a:pt x="49" y="129"/>
                    </a:lnTo>
                    <a:lnTo>
                      <a:pt x="48" y="126"/>
                    </a:lnTo>
                    <a:lnTo>
                      <a:pt x="46" y="122"/>
                    </a:lnTo>
                    <a:lnTo>
                      <a:pt x="44" y="119"/>
                    </a:lnTo>
                    <a:lnTo>
                      <a:pt x="43" y="121"/>
                    </a:lnTo>
                    <a:lnTo>
                      <a:pt x="39" y="117"/>
                    </a:lnTo>
                    <a:lnTo>
                      <a:pt x="38" y="117"/>
                    </a:lnTo>
                    <a:lnTo>
                      <a:pt x="31" y="126"/>
                    </a:lnTo>
                    <a:lnTo>
                      <a:pt x="30" y="126"/>
                    </a:lnTo>
                    <a:lnTo>
                      <a:pt x="25" y="122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30" y="135"/>
                    </a:lnTo>
                    <a:lnTo>
                      <a:pt x="30" y="139"/>
                    </a:lnTo>
                    <a:lnTo>
                      <a:pt x="28" y="142"/>
                    </a:lnTo>
                    <a:lnTo>
                      <a:pt x="28" y="144"/>
                    </a:lnTo>
                    <a:lnTo>
                      <a:pt x="31" y="144"/>
                    </a:lnTo>
                    <a:lnTo>
                      <a:pt x="31" y="145"/>
                    </a:lnTo>
                    <a:lnTo>
                      <a:pt x="30" y="148"/>
                    </a:lnTo>
                    <a:lnTo>
                      <a:pt x="28" y="153"/>
                    </a:lnTo>
                    <a:lnTo>
                      <a:pt x="30" y="155"/>
                    </a:lnTo>
                    <a:lnTo>
                      <a:pt x="31" y="161"/>
                    </a:lnTo>
                    <a:lnTo>
                      <a:pt x="35" y="165"/>
                    </a:lnTo>
                    <a:lnTo>
                      <a:pt x="35" y="165"/>
                    </a:lnTo>
                    <a:close/>
                    <a:moveTo>
                      <a:pt x="134" y="207"/>
                    </a:moveTo>
                    <a:lnTo>
                      <a:pt x="134" y="202"/>
                    </a:lnTo>
                    <a:lnTo>
                      <a:pt x="136" y="201"/>
                    </a:lnTo>
                    <a:lnTo>
                      <a:pt x="134" y="197"/>
                    </a:lnTo>
                    <a:lnTo>
                      <a:pt x="133" y="194"/>
                    </a:lnTo>
                    <a:lnTo>
                      <a:pt x="134" y="186"/>
                    </a:lnTo>
                    <a:lnTo>
                      <a:pt x="137" y="183"/>
                    </a:lnTo>
                    <a:lnTo>
                      <a:pt x="139" y="179"/>
                    </a:lnTo>
                    <a:lnTo>
                      <a:pt x="136" y="176"/>
                    </a:lnTo>
                    <a:lnTo>
                      <a:pt x="133" y="179"/>
                    </a:lnTo>
                    <a:lnTo>
                      <a:pt x="131" y="179"/>
                    </a:lnTo>
                    <a:lnTo>
                      <a:pt x="126" y="178"/>
                    </a:lnTo>
                    <a:lnTo>
                      <a:pt x="123" y="181"/>
                    </a:lnTo>
                    <a:lnTo>
                      <a:pt x="116" y="181"/>
                    </a:lnTo>
                    <a:lnTo>
                      <a:pt x="110" y="183"/>
                    </a:lnTo>
                    <a:lnTo>
                      <a:pt x="106" y="181"/>
                    </a:lnTo>
                    <a:lnTo>
                      <a:pt x="103" y="179"/>
                    </a:lnTo>
                    <a:lnTo>
                      <a:pt x="100" y="179"/>
                    </a:lnTo>
                    <a:lnTo>
                      <a:pt x="98" y="181"/>
                    </a:lnTo>
                    <a:lnTo>
                      <a:pt x="97" y="179"/>
                    </a:lnTo>
                    <a:lnTo>
                      <a:pt x="93" y="183"/>
                    </a:lnTo>
                    <a:lnTo>
                      <a:pt x="92" y="188"/>
                    </a:lnTo>
                    <a:lnTo>
                      <a:pt x="97" y="191"/>
                    </a:lnTo>
                    <a:lnTo>
                      <a:pt x="100" y="189"/>
                    </a:lnTo>
                    <a:lnTo>
                      <a:pt x="105" y="194"/>
                    </a:lnTo>
                    <a:lnTo>
                      <a:pt x="108" y="194"/>
                    </a:lnTo>
                    <a:lnTo>
                      <a:pt x="111" y="197"/>
                    </a:lnTo>
                    <a:lnTo>
                      <a:pt x="118" y="201"/>
                    </a:lnTo>
                    <a:lnTo>
                      <a:pt x="119" y="199"/>
                    </a:lnTo>
                    <a:lnTo>
                      <a:pt x="123" y="202"/>
                    </a:lnTo>
                    <a:lnTo>
                      <a:pt x="124" y="204"/>
                    </a:lnTo>
                    <a:lnTo>
                      <a:pt x="131" y="207"/>
                    </a:lnTo>
                    <a:lnTo>
                      <a:pt x="134" y="207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5" name="Freeform 224">
                <a:extLst>
                  <a:ext uri="{FF2B5EF4-FFF2-40B4-BE49-F238E27FC236}">
                    <a16:creationId xmlns:a16="http://schemas.microsoft.com/office/drawing/2014/main" xmlns="" id="{6B9657C6-4641-4764-A6FA-7460D136B7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24" y="1296"/>
                <a:ext cx="196" cy="150"/>
              </a:xfrm>
              <a:custGeom>
                <a:avLst/>
                <a:gdLst>
                  <a:gd name="T0" fmla="*/ 70 w 120"/>
                  <a:gd name="T1" fmla="*/ 6 h 92"/>
                  <a:gd name="T2" fmla="*/ 71 w 120"/>
                  <a:gd name="T3" fmla="*/ 10 h 92"/>
                  <a:gd name="T4" fmla="*/ 80 w 120"/>
                  <a:gd name="T5" fmla="*/ 13 h 92"/>
                  <a:gd name="T6" fmla="*/ 87 w 120"/>
                  <a:gd name="T7" fmla="*/ 14 h 92"/>
                  <a:gd name="T8" fmla="*/ 94 w 120"/>
                  <a:gd name="T9" fmla="*/ 13 h 92"/>
                  <a:gd name="T10" fmla="*/ 101 w 120"/>
                  <a:gd name="T11" fmla="*/ 15 h 92"/>
                  <a:gd name="T12" fmla="*/ 110 w 120"/>
                  <a:gd name="T13" fmla="*/ 17 h 92"/>
                  <a:gd name="T14" fmla="*/ 109 w 120"/>
                  <a:gd name="T15" fmla="*/ 23 h 92"/>
                  <a:gd name="T16" fmla="*/ 104 w 120"/>
                  <a:gd name="T17" fmla="*/ 29 h 92"/>
                  <a:gd name="T18" fmla="*/ 96 w 120"/>
                  <a:gd name="T19" fmla="*/ 32 h 92"/>
                  <a:gd name="T20" fmla="*/ 92 w 120"/>
                  <a:gd name="T21" fmla="*/ 36 h 92"/>
                  <a:gd name="T22" fmla="*/ 90 w 120"/>
                  <a:gd name="T23" fmla="*/ 39 h 92"/>
                  <a:gd name="T24" fmla="*/ 87 w 120"/>
                  <a:gd name="T25" fmla="*/ 43 h 92"/>
                  <a:gd name="T26" fmla="*/ 80 w 120"/>
                  <a:gd name="T27" fmla="*/ 52 h 92"/>
                  <a:gd name="T28" fmla="*/ 84 w 120"/>
                  <a:gd name="T29" fmla="*/ 58 h 92"/>
                  <a:gd name="T30" fmla="*/ 81 w 120"/>
                  <a:gd name="T31" fmla="*/ 64 h 92"/>
                  <a:gd name="T32" fmla="*/ 77 w 120"/>
                  <a:gd name="T33" fmla="*/ 74 h 92"/>
                  <a:gd name="T34" fmla="*/ 74 w 120"/>
                  <a:gd name="T35" fmla="*/ 76 h 92"/>
                  <a:gd name="T36" fmla="*/ 66 w 120"/>
                  <a:gd name="T37" fmla="*/ 84 h 92"/>
                  <a:gd name="T38" fmla="*/ 61 w 120"/>
                  <a:gd name="T39" fmla="*/ 84 h 92"/>
                  <a:gd name="T40" fmla="*/ 56 w 120"/>
                  <a:gd name="T41" fmla="*/ 84 h 92"/>
                  <a:gd name="T42" fmla="*/ 49 w 120"/>
                  <a:gd name="T43" fmla="*/ 83 h 92"/>
                  <a:gd name="T44" fmla="*/ 41 w 120"/>
                  <a:gd name="T45" fmla="*/ 87 h 92"/>
                  <a:gd name="T46" fmla="*/ 36 w 120"/>
                  <a:gd name="T47" fmla="*/ 91 h 92"/>
                  <a:gd name="T48" fmla="*/ 27 w 120"/>
                  <a:gd name="T49" fmla="*/ 88 h 92"/>
                  <a:gd name="T50" fmla="*/ 21 w 120"/>
                  <a:gd name="T51" fmla="*/ 79 h 92"/>
                  <a:gd name="T52" fmla="*/ 17 w 120"/>
                  <a:gd name="T53" fmla="*/ 76 h 92"/>
                  <a:gd name="T54" fmla="*/ 20 w 120"/>
                  <a:gd name="T55" fmla="*/ 68 h 92"/>
                  <a:gd name="T56" fmla="*/ 17 w 120"/>
                  <a:gd name="T57" fmla="*/ 63 h 92"/>
                  <a:gd name="T58" fmla="*/ 17 w 120"/>
                  <a:gd name="T59" fmla="*/ 54 h 92"/>
                  <a:gd name="T60" fmla="*/ 19 w 120"/>
                  <a:gd name="T61" fmla="*/ 49 h 92"/>
                  <a:gd name="T62" fmla="*/ 22 w 120"/>
                  <a:gd name="T63" fmla="*/ 42 h 92"/>
                  <a:gd name="T64" fmla="*/ 25 w 120"/>
                  <a:gd name="T65" fmla="*/ 29 h 92"/>
                  <a:gd name="T66" fmla="*/ 25 w 120"/>
                  <a:gd name="T67" fmla="*/ 24 h 92"/>
                  <a:gd name="T68" fmla="*/ 19 w 120"/>
                  <a:gd name="T69" fmla="*/ 23 h 92"/>
                  <a:gd name="T70" fmla="*/ 9 w 120"/>
                  <a:gd name="T71" fmla="*/ 22 h 92"/>
                  <a:gd name="T72" fmla="*/ 4 w 120"/>
                  <a:gd name="T73" fmla="*/ 21 h 92"/>
                  <a:gd name="T74" fmla="*/ 4 w 120"/>
                  <a:gd name="T75" fmla="*/ 18 h 92"/>
                  <a:gd name="T76" fmla="*/ 5 w 120"/>
                  <a:gd name="T77" fmla="*/ 14 h 92"/>
                  <a:gd name="T78" fmla="*/ 3 w 120"/>
                  <a:gd name="T79" fmla="*/ 12 h 92"/>
                  <a:gd name="T80" fmla="*/ 1 w 120"/>
                  <a:gd name="T81" fmla="*/ 11 h 92"/>
                  <a:gd name="T82" fmla="*/ 5 w 120"/>
                  <a:gd name="T83" fmla="*/ 5 h 92"/>
                  <a:gd name="T84" fmla="*/ 11 w 120"/>
                  <a:gd name="T85" fmla="*/ 4 h 92"/>
                  <a:gd name="T86" fmla="*/ 13 w 120"/>
                  <a:gd name="T87" fmla="*/ 0 h 92"/>
                  <a:gd name="T88" fmla="*/ 17 w 120"/>
                  <a:gd name="T89" fmla="*/ 0 h 92"/>
                  <a:gd name="T90" fmla="*/ 23 w 120"/>
                  <a:gd name="T91" fmla="*/ 2 h 92"/>
                  <a:gd name="T92" fmla="*/ 31 w 120"/>
                  <a:gd name="T93" fmla="*/ 1 h 92"/>
                  <a:gd name="T94" fmla="*/ 41 w 120"/>
                  <a:gd name="T95" fmla="*/ 4 h 92"/>
                  <a:gd name="T96" fmla="*/ 52 w 120"/>
                  <a:gd name="T97" fmla="*/ 3 h 92"/>
                  <a:gd name="T98" fmla="*/ 58 w 120"/>
                  <a:gd name="T99" fmla="*/ 3 h 92"/>
                  <a:gd name="T100" fmla="*/ 66 w 120"/>
                  <a:gd name="T101" fmla="*/ 5 h 92"/>
                  <a:gd name="T102" fmla="*/ 115 w 120"/>
                  <a:gd name="T103" fmla="*/ 48 h 92"/>
                  <a:gd name="T104" fmla="*/ 120 w 120"/>
                  <a:gd name="T105" fmla="*/ 48 h 92"/>
                  <a:gd name="T106" fmla="*/ 115 w 120"/>
                  <a:gd name="T107" fmla="*/ 48 h 92"/>
                  <a:gd name="T108" fmla="*/ 112 w 120"/>
                  <a:gd name="T109" fmla="*/ 50 h 92"/>
                  <a:gd name="T110" fmla="*/ 106 w 120"/>
                  <a:gd name="T111" fmla="*/ 51 h 92"/>
                  <a:gd name="T112" fmla="*/ 109 w 120"/>
                  <a:gd name="T113" fmla="*/ 54 h 92"/>
                  <a:gd name="T114" fmla="*/ 100 w 120"/>
                  <a:gd name="T115" fmla="*/ 58 h 92"/>
                  <a:gd name="T116" fmla="*/ 96 w 120"/>
                  <a:gd name="T11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92">
                    <a:moveTo>
                      <a:pt x="68" y="4"/>
                    </a:moveTo>
                    <a:cubicBezTo>
                      <a:pt x="70" y="5"/>
                      <a:pt x="70" y="5"/>
                      <a:pt x="70" y="5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2" y="8"/>
                      <a:pt x="72" y="8"/>
                      <a:pt x="72" y="8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80" y="13"/>
                      <a:pt x="80" y="13"/>
                      <a:pt x="80" y="13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4" y="14"/>
                      <a:pt x="84" y="14"/>
                      <a:pt x="84" y="14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8" y="15"/>
                      <a:pt x="88" y="15"/>
                      <a:pt x="88" y="15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8" y="14"/>
                      <a:pt x="98" y="14"/>
                      <a:pt x="98" y="14"/>
                    </a:cubicBezTo>
                    <a:cubicBezTo>
                      <a:pt x="101" y="15"/>
                      <a:pt x="101" y="15"/>
                      <a:pt x="101" y="15"/>
                    </a:cubicBezTo>
                    <a:cubicBezTo>
                      <a:pt x="106" y="15"/>
                      <a:pt x="106" y="15"/>
                      <a:pt x="106" y="15"/>
                    </a:cubicBezTo>
                    <a:cubicBezTo>
                      <a:pt x="109" y="17"/>
                      <a:pt x="109" y="17"/>
                      <a:pt x="109" y="17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0" y="18"/>
                      <a:pt x="110" y="18"/>
                      <a:pt x="110" y="18"/>
                    </a:cubicBezTo>
                    <a:cubicBezTo>
                      <a:pt x="109" y="19"/>
                      <a:pt x="109" y="19"/>
                      <a:pt x="109" y="19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09" y="25"/>
                      <a:pt x="109" y="25"/>
                      <a:pt x="109" y="25"/>
                    </a:cubicBezTo>
                    <a:cubicBezTo>
                      <a:pt x="108" y="27"/>
                      <a:pt x="108" y="27"/>
                      <a:pt x="108" y="27"/>
                    </a:cubicBezTo>
                    <a:cubicBezTo>
                      <a:pt x="104" y="29"/>
                      <a:pt x="104" y="29"/>
                      <a:pt x="104" y="29"/>
                    </a:cubicBezTo>
                    <a:cubicBezTo>
                      <a:pt x="104" y="29"/>
                      <a:pt x="103" y="31"/>
                      <a:pt x="103" y="31"/>
                    </a:cubicBezTo>
                    <a:cubicBezTo>
                      <a:pt x="103" y="31"/>
                      <a:pt x="100" y="32"/>
                      <a:pt x="100" y="32"/>
                    </a:cubicBezTo>
                    <a:cubicBezTo>
                      <a:pt x="96" y="32"/>
                      <a:pt x="96" y="32"/>
                      <a:pt x="96" y="32"/>
                    </a:cubicBezTo>
                    <a:cubicBezTo>
                      <a:pt x="94" y="34"/>
                      <a:pt x="94" y="34"/>
                      <a:pt x="94" y="34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2" y="36"/>
                      <a:pt x="92" y="36"/>
                      <a:pt x="92" y="36"/>
                    </a:cubicBezTo>
                    <a:cubicBezTo>
                      <a:pt x="92" y="38"/>
                      <a:pt x="92" y="38"/>
                      <a:pt x="92" y="38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0" y="39"/>
                      <a:pt x="90" y="39"/>
                      <a:pt x="90" y="39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5" y="44"/>
                      <a:pt x="85" y="44"/>
                      <a:pt x="85" y="44"/>
                    </a:cubicBezTo>
                    <a:cubicBezTo>
                      <a:pt x="81" y="51"/>
                      <a:pt x="81" y="51"/>
                      <a:pt x="81" y="51"/>
                    </a:cubicBezTo>
                    <a:cubicBezTo>
                      <a:pt x="80" y="52"/>
                      <a:pt x="80" y="52"/>
                      <a:pt x="80" y="52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4" y="58"/>
                      <a:pt x="84" y="58"/>
                      <a:pt x="84" y="58"/>
                    </a:cubicBezTo>
                    <a:cubicBezTo>
                      <a:pt x="86" y="61"/>
                      <a:pt x="86" y="61"/>
                      <a:pt x="86" y="61"/>
                    </a:cubicBezTo>
                    <a:cubicBezTo>
                      <a:pt x="84" y="63"/>
                      <a:pt x="84" y="63"/>
                      <a:pt x="84" y="63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81" y="66"/>
                      <a:pt x="81" y="66"/>
                      <a:pt x="81" y="66"/>
                    </a:cubicBezTo>
                    <a:cubicBezTo>
                      <a:pt x="78" y="71"/>
                      <a:pt x="78" y="71"/>
                      <a:pt x="78" y="71"/>
                    </a:cubicBezTo>
                    <a:cubicBezTo>
                      <a:pt x="77" y="74"/>
                      <a:pt x="77" y="74"/>
                      <a:pt x="77" y="74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7" y="76"/>
                      <a:pt x="77" y="76"/>
                      <a:pt x="77" y="76"/>
                    </a:cubicBezTo>
                    <a:cubicBezTo>
                      <a:pt x="74" y="76"/>
                      <a:pt x="74" y="76"/>
                      <a:pt x="74" y="76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8" y="81"/>
                      <a:pt x="68" y="81"/>
                      <a:pt x="68" y="81"/>
                    </a:cubicBezTo>
                    <a:cubicBezTo>
                      <a:pt x="66" y="84"/>
                      <a:pt x="66" y="84"/>
                      <a:pt x="66" y="84"/>
                    </a:cubicBezTo>
                    <a:cubicBezTo>
                      <a:pt x="64" y="83"/>
                      <a:pt x="64" y="83"/>
                      <a:pt x="64" y="83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59" y="85"/>
                      <a:pt x="59" y="85"/>
                      <a:pt x="59" y="85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3" y="84"/>
                      <a:pt x="53" y="84"/>
                      <a:pt x="53" y="84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4" y="84"/>
                      <a:pt x="44" y="84"/>
                      <a:pt x="44" y="84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6" y="89"/>
                      <a:pt x="36" y="89"/>
                      <a:pt x="36" y="89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3" y="92"/>
                      <a:pt x="33" y="92"/>
                      <a:pt x="33" y="92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5" y="84"/>
                      <a:pt x="25" y="84"/>
                      <a:pt x="25" y="84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1" y="79"/>
                      <a:pt x="21" y="79"/>
                      <a:pt x="21" y="79"/>
                    </a:cubicBezTo>
                    <a:cubicBezTo>
                      <a:pt x="18" y="79"/>
                      <a:pt x="18" y="79"/>
                      <a:pt x="18" y="79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76"/>
                      <a:pt x="17" y="76"/>
                      <a:pt x="17" y="76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5" y="7"/>
                      <a:pt x="65" y="7"/>
                      <a:pt x="65" y="7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8" y="4"/>
                      <a:pt x="68" y="4"/>
                      <a:pt x="68" y="4"/>
                    </a:cubicBezTo>
                    <a:close/>
                    <a:moveTo>
                      <a:pt x="115" y="48"/>
                    </a:moveTo>
                    <a:cubicBezTo>
                      <a:pt x="118" y="48"/>
                      <a:pt x="118" y="48"/>
                      <a:pt x="118" y="48"/>
                    </a:cubicBezTo>
                    <a:cubicBezTo>
                      <a:pt x="120" y="49"/>
                      <a:pt x="120" y="49"/>
                      <a:pt x="120" y="49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118" y="46"/>
                      <a:pt x="118" y="46"/>
                      <a:pt x="118" y="46"/>
                    </a:cubicBezTo>
                    <a:cubicBezTo>
                      <a:pt x="115" y="46"/>
                      <a:pt x="115" y="46"/>
                      <a:pt x="115" y="46"/>
                    </a:cubicBezTo>
                    <a:cubicBezTo>
                      <a:pt x="115" y="48"/>
                      <a:pt x="115" y="48"/>
                      <a:pt x="115" y="48"/>
                    </a:cubicBezTo>
                    <a:close/>
                    <a:moveTo>
                      <a:pt x="109" y="54"/>
                    </a:moveTo>
                    <a:cubicBezTo>
                      <a:pt x="110" y="52"/>
                      <a:pt x="110" y="52"/>
                      <a:pt x="110" y="52"/>
                    </a:cubicBezTo>
                    <a:cubicBezTo>
                      <a:pt x="112" y="50"/>
                      <a:pt x="112" y="50"/>
                      <a:pt x="112" y="50"/>
                    </a:cubicBezTo>
                    <a:cubicBezTo>
                      <a:pt x="110" y="50"/>
                      <a:pt x="110" y="50"/>
                      <a:pt x="110" y="50"/>
                    </a:cubicBezTo>
                    <a:cubicBezTo>
                      <a:pt x="108" y="49"/>
                      <a:pt x="108" y="49"/>
                      <a:pt x="108" y="49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6" y="52"/>
                      <a:pt x="106" y="52"/>
                      <a:pt x="106" y="52"/>
                    </a:cubicBezTo>
                    <a:cubicBezTo>
                      <a:pt x="108" y="53"/>
                      <a:pt x="108" y="53"/>
                      <a:pt x="108" y="53"/>
                    </a:cubicBezTo>
                    <a:cubicBezTo>
                      <a:pt x="109" y="54"/>
                      <a:pt x="109" y="54"/>
                      <a:pt x="109" y="54"/>
                    </a:cubicBezTo>
                    <a:close/>
                    <a:moveTo>
                      <a:pt x="98" y="61"/>
                    </a:moveTo>
                    <a:cubicBezTo>
                      <a:pt x="99" y="59"/>
                      <a:pt x="99" y="59"/>
                      <a:pt x="99" y="59"/>
                    </a:cubicBezTo>
                    <a:cubicBezTo>
                      <a:pt x="100" y="58"/>
                      <a:pt x="100" y="58"/>
                      <a:pt x="100" y="58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7" y="58"/>
                      <a:pt x="97" y="58"/>
                      <a:pt x="97" y="58"/>
                    </a:cubicBezTo>
                    <a:cubicBezTo>
                      <a:pt x="96" y="60"/>
                      <a:pt x="96" y="60"/>
                      <a:pt x="96" y="60"/>
                    </a:cubicBezTo>
                    <a:lnTo>
                      <a:pt x="98" y="61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9" name="Freeform 225">
                <a:extLst>
                  <a:ext uri="{FF2B5EF4-FFF2-40B4-BE49-F238E27FC236}">
                    <a16:creationId xmlns:a16="http://schemas.microsoft.com/office/drawing/2014/main" xmlns="" id="{64A952AF-F17D-41A9-9064-E53D1146C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9" y="1328"/>
                <a:ext cx="49" cy="100"/>
              </a:xfrm>
              <a:custGeom>
                <a:avLst/>
                <a:gdLst>
                  <a:gd name="T0" fmla="*/ 32 w 49"/>
                  <a:gd name="T1" fmla="*/ 92 h 100"/>
                  <a:gd name="T2" fmla="*/ 34 w 49"/>
                  <a:gd name="T3" fmla="*/ 82 h 100"/>
                  <a:gd name="T4" fmla="*/ 37 w 49"/>
                  <a:gd name="T5" fmla="*/ 76 h 100"/>
                  <a:gd name="T6" fmla="*/ 32 w 49"/>
                  <a:gd name="T7" fmla="*/ 71 h 100"/>
                  <a:gd name="T8" fmla="*/ 37 w 49"/>
                  <a:gd name="T9" fmla="*/ 59 h 100"/>
                  <a:gd name="T10" fmla="*/ 29 w 49"/>
                  <a:gd name="T11" fmla="*/ 48 h 100"/>
                  <a:gd name="T12" fmla="*/ 36 w 49"/>
                  <a:gd name="T13" fmla="*/ 48 h 100"/>
                  <a:gd name="T14" fmla="*/ 37 w 49"/>
                  <a:gd name="T15" fmla="*/ 40 h 100"/>
                  <a:gd name="T16" fmla="*/ 41 w 49"/>
                  <a:gd name="T17" fmla="*/ 25 h 100"/>
                  <a:gd name="T18" fmla="*/ 45 w 49"/>
                  <a:gd name="T19" fmla="*/ 15 h 100"/>
                  <a:gd name="T20" fmla="*/ 49 w 49"/>
                  <a:gd name="T21" fmla="*/ 12 h 100"/>
                  <a:gd name="T22" fmla="*/ 45 w 49"/>
                  <a:gd name="T23" fmla="*/ 4 h 100"/>
                  <a:gd name="T24" fmla="*/ 36 w 49"/>
                  <a:gd name="T25" fmla="*/ 5 h 100"/>
                  <a:gd name="T26" fmla="*/ 21 w 49"/>
                  <a:gd name="T27" fmla="*/ 7 h 100"/>
                  <a:gd name="T28" fmla="*/ 21 w 49"/>
                  <a:gd name="T29" fmla="*/ 0 h 100"/>
                  <a:gd name="T30" fmla="*/ 11 w 49"/>
                  <a:gd name="T31" fmla="*/ 2 h 100"/>
                  <a:gd name="T32" fmla="*/ 13 w 49"/>
                  <a:gd name="T33" fmla="*/ 10 h 100"/>
                  <a:gd name="T34" fmla="*/ 13 w 49"/>
                  <a:gd name="T35" fmla="*/ 22 h 100"/>
                  <a:gd name="T36" fmla="*/ 14 w 49"/>
                  <a:gd name="T37" fmla="*/ 30 h 100"/>
                  <a:gd name="T38" fmla="*/ 9 w 49"/>
                  <a:gd name="T39" fmla="*/ 36 h 100"/>
                  <a:gd name="T40" fmla="*/ 6 w 49"/>
                  <a:gd name="T41" fmla="*/ 46 h 100"/>
                  <a:gd name="T42" fmla="*/ 3 w 49"/>
                  <a:gd name="T43" fmla="*/ 56 h 100"/>
                  <a:gd name="T44" fmla="*/ 0 w 49"/>
                  <a:gd name="T45" fmla="*/ 67 h 100"/>
                  <a:gd name="T46" fmla="*/ 5 w 49"/>
                  <a:gd name="T47" fmla="*/ 64 h 100"/>
                  <a:gd name="T48" fmla="*/ 8 w 49"/>
                  <a:gd name="T49" fmla="*/ 64 h 100"/>
                  <a:gd name="T50" fmla="*/ 5 w 49"/>
                  <a:gd name="T51" fmla="*/ 69 h 100"/>
                  <a:gd name="T52" fmla="*/ 5 w 49"/>
                  <a:gd name="T53" fmla="*/ 74 h 100"/>
                  <a:gd name="T54" fmla="*/ 11 w 49"/>
                  <a:gd name="T55" fmla="*/ 72 h 100"/>
                  <a:gd name="T56" fmla="*/ 11 w 49"/>
                  <a:gd name="T57" fmla="*/ 79 h 100"/>
                  <a:gd name="T58" fmla="*/ 9 w 49"/>
                  <a:gd name="T59" fmla="*/ 90 h 100"/>
                  <a:gd name="T60" fmla="*/ 6 w 49"/>
                  <a:gd name="T61" fmla="*/ 98 h 100"/>
                  <a:gd name="T62" fmla="*/ 13 w 49"/>
                  <a:gd name="T63" fmla="*/ 97 h 100"/>
                  <a:gd name="T64" fmla="*/ 23 w 49"/>
                  <a:gd name="T65" fmla="*/ 100 h 100"/>
                  <a:gd name="T66" fmla="*/ 31 w 49"/>
                  <a:gd name="T67" fmla="*/ 97 h 100"/>
                  <a:gd name="T68" fmla="*/ 32 w 49"/>
                  <a:gd name="T69" fmla="*/ 97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9" h="100">
                    <a:moveTo>
                      <a:pt x="32" y="97"/>
                    </a:moveTo>
                    <a:lnTo>
                      <a:pt x="32" y="92"/>
                    </a:lnTo>
                    <a:lnTo>
                      <a:pt x="29" y="89"/>
                    </a:lnTo>
                    <a:lnTo>
                      <a:pt x="34" y="82"/>
                    </a:lnTo>
                    <a:lnTo>
                      <a:pt x="37" y="79"/>
                    </a:lnTo>
                    <a:lnTo>
                      <a:pt x="37" y="76"/>
                    </a:lnTo>
                    <a:lnTo>
                      <a:pt x="34" y="76"/>
                    </a:lnTo>
                    <a:lnTo>
                      <a:pt x="32" y="71"/>
                    </a:lnTo>
                    <a:lnTo>
                      <a:pt x="37" y="66"/>
                    </a:lnTo>
                    <a:lnTo>
                      <a:pt x="37" y="59"/>
                    </a:lnTo>
                    <a:lnTo>
                      <a:pt x="32" y="56"/>
                    </a:lnTo>
                    <a:lnTo>
                      <a:pt x="29" y="48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9" y="43"/>
                    </a:lnTo>
                    <a:lnTo>
                      <a:pt x="37" y="40"/>
                    </a:lnTo>
                    <a:lnTo>
                      <a:pt x="41" y="36"/>
                    </a:lnTo>
                    <a:lnTo>
                      <a:pt x="41" y="25"/>
                    </a:lnTo>
                    <a:lnTo>
                      <a:pt x="41" y="22"/>
                    </a:lnTo>
                    <a:lnTo>
                      <a:pt x="45" y="15"/>
                    </a:lnTo>
                    <a:lnTo>
                      <a:pt x="49" y="15"/>
                    </a:lnTo>
                    <a:lnTo>
                      <a:pt x="49" y="12"/>
                    </a:lnTo>
                    <a:lnTo>
                      <a:pt x="45" y="7"/>
                    </a:lnTo>
                    <a:lnTo>
                      <a:pt x="45" y="4"/>
                    </a:lnTo>
                    <a:lnTo>
                      <a:pt x="37" y="2"/>
                    </a:lnTo>
                    <a:lnTo>
                      <a:pt x="36" y="5"/>
                    </a:lnTo>
                    <a:lnTo>
                      <a:pt x="26" y="4"/>
                    </a:lnTo>
                    <a:lnTo>
                      <a:pt x="21" y="7"/>
                    </a:lnTo>
                    <a:lnTo>
                      <a:pt x="19" y="4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3" y="10"/>
                    </a:lnTo>
                    <a:lnTo>
                      <a:pt x="13" y="20"/>
                    </a:lnTo>
                    <a:lnTo>
                      <a:pt x="13" y="22"/>
                    </a:lnTo>
                    <a:lnTo>
                      <a:pt x="11" y="27"/>
                    </a:lnTo>
                    <a:lnTo>
                      <a:pt x="14" y="30"/>
                    </a:lnTo>
                    <a:lnTo>
                      <a:pt x="13" y="31"/>
                    </a:lnTo>
                    <a:lnTo>
                      <a:pt x="9" y="36"/>
                    </a:lnTo>
                    <a:lnTo>
                      <a:pt x="9" y="41"/>
                    </a:lnTo>
                    <a:lnTo>
                      <a:pt x="6" y="46"/>
                    </a:lnTo>
                    <a:lnTo>
                      <a:pt x="6" y="49"/>
                    </a:lnTo>
                    <a:lnTo>
                      <a:pt x="3" y="56"/>
                    </a:lnTo>
                    <a:lnTo>
                      <a:pt x="0" y="64"/>
                    </a:lnTo>
                    <a:lnTo>
                      <a:pt x="0" y="67"/>
                    </a:lnTo>
                    <a:lnTo>
                      <a:pt x="3" y="67"/>
                    </a:lnTo>
                    <a:lnTo>
                      <a:pt x="5" y="64"/>
                    </a:lnTo>
                    <a:lnTo>
                      <a:pt x="8" y="62"/>
                    </a:lnTo>
                    <a:lnTo>
                      <a:pt x="8" y="64"/>
                    </a:lnTo>
                    <a:lnTo>
                      <a:pt x="8" y="66"/>
                    </a:lnTo>
                    <a:lnTo>
                      <a:pt x="5" y="69"/>
                    </a:lnTo>
                    <a:lnTo>
                      <a:pt x="3" y="72"/>
                    </a:lnTo>
                    <a:lnTo>
                      <a:pt x="5" y="74"/>
                    </a:lnTo>
                    <a:lnTo>
                      <a:pt x="8" y="71"/>
                    </a:lnTo>
                    <a:lnTo>
                      <a:pt x="11" y="72"/>
                    </a:lnTo>
                    <a:lnTo>
                      <a:pt x="9" y="74"/>
                    </a:lnTo>
                    <a:lnTo>
                      <a:pt x="11" y="79"/>
                    </a:lnTo>
                    <a:lnTo>
                      <a:pt x="9" y="82"/>
                    </a:lnTo>
                    <a:lnTo>
                      <a:pt x="9" y="90"/>
                    </a:lnTo>
                    <a:lnTo>
                      <a:pt x="8" y="97"/>
                    </a:lnTo>
                    <a:lnTo>
                      <a:pt x="6" y="98"/>
                    </a:lnTo>
                    <a:lnTo>
                      <a:pt x="8" y="100"/>
                    </a:lnTo>
                    <a:lnTo>
                      <a:pt x="13" y="97"/>
                    </a:lnTo>
                    <a:lnTo>
                      <a:pt x="19" y="98"/>
                    </a:lnTo>
                    <a:lnTo>
                      <a:pt x="23" y="100"/>
                    </a:lnTo>
                    <a:lnTo>
                      <a:pt x="27" y="98"/>
                    </a:lnTo>
                    <a:lnTo>
                      <a:pt x="31" y="97"/>
                    </a:lnTo>
                    <a:lnTo>
                      <a:pt x="32" y="97"/>
                    </a:lnTo>
                    <a:lnTo>
                      <a:pt x="32" y="97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4" name="Freeform 226">
                <a:extLst>
                  <a:ext uri="{FF2B5EF4-FFF2-40B4-BE49-F238E27FC236}">
                    <a16:creationId xmlns:a16="http://schemas.microsoft.com/office/drawing/2014/main" xmlns="" id="{FB1AC820-2B0E-4D81-A146-468A3AA0C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50" y="1332"/>
                <a:ext cx="137" cy="135"/>
              </a:xfrm>
              <a:custGeom>
                <a:avLst/>
                <a:gdLst>
                  <a:gd name="T0" fmla="*/ 51 w 84"/>
                  <a:gd name="T1" fmla="*/ 7 h 83"/>
                  <a:gd name="T2" fmla="*/ 34 w 84"/>
                  <a:gd name="T3" fmla="*/ 8 h 83"/>
                  <a:gd name="T4" fmla="*/ 14 w 84"/>
                  <a:gd name="T5" fmla="*/ 15 h 83"/>
                  <a:gd name="T6" fmla="*/ 9 w 84"/>
                  <a:gd name="T7" fmla="*/ 34 h 83"/>
                  <a:gd name="T8" fmla="*/ 22 w 84"/>
                  <a:gd name="T9" fmla="*/ 45 h 83"/>
                  <a:gd name="T10" fmla="*/ 32 w 84"/>
                  <a:gd name="T11" fmla="*/ 48 h 83"/>
                  <a:gd name="T12" fmla="*/ 16 w 84"/>
                  <a:gd name="T13" fmla="*/ 48 h 83"/>
                  <a:gd name="T14" fmla="*/ 24 w 84"/>
                  <a:gd name="T15" fmla="*/ 63 h 83"/>
                  <a:gd name="T16" fmla="*/ 30 w 84"/>
                  <a:gd name="T17" fmla="*/ 64 h 83"/>
                  <a:gd name="T18" fmla="*/ 31 w 84"/>
                  <a:gd name="T19" fmla="*/ 55 h 83"/>
                  <a:gd name="T20" fmla="*/ 37 w 84"/>
                  <a:gd name="T21" fmla="*/ 55 h 83"/>
                  <a:gd name="T22" fmla="*/ 40 w 84"/>
                  <a:gd name="T23" fmla="*/ 51 h 83"/>
                  <a:gd name="T24" fmla="*/ 34 w 84"/>
                  <a:gd name="T25" fmla="*/ 40 h 83"/>
                  <a:gd name="T26" fmla="*/ 31 w 84"/>
                  <a:gd name="T27" fmla="*/ 33 h 83"/>
                  <a:gd name="T28" fmla="*/ 31 w 84"/>
                  <a:gd name="T29" fmla="*/ 27 h 83"/>
                  <a:gd name="T30" fmla="*/ 30 w 84"/>
                  <a:gd name="T31" fmla="*/ 18 h 83"/>
                  <a:gd name="T32" fmla="*/ 37 w 84"/>
                  <a:gd name="T33" fmla="*/ 21 h 83"/>
                  <a:gd name="T34" fmla="*/ 44 w 84"/>
                  <a:gd name="T35" fmla="*/ 20 h 83"/>
                  <a:gd name="T36" fmla="*/ 47 w 84"/>
                  <a:gd name="T37" fmla="*/ 13 h 83"/>
                  <a:gd name="T38" fmla="*/ 62 w 84"/>
                  <a:gd name="T39" fmla="*/ 10 h 83"/>
                  <a:gd name="T40" fmla="*/ 40 w 84"/>
                  <a:gd name="T41" fmla="*/ 78 h 83"/>
                  <a:gd name="T42" fmla="*/ 54 w 84"/>
                  <a:gd name="T43" fmla="*/ 83 h 83"/>
                  <a:gd name="T44" fmla="*/ 66 w 84"/>
                  <a:gd name="T45" fmla="*/ 78 h 83"/>
                  <a:gd name="T46" fmla="*/ 58 w 84"/>
                  <a:gd name="T47" fmla="*/ 77 h 83"/>
                  <a:gd name="T48" fmla="*/ 46 w 84"/>
                  <a:gd name="T49" fmla="*/ 75 h 83"/>
                  <a:gd name="T50" fmla="*/ 42 w 84"/>
                  <a:gd name="T51" fmla="*/ 77 h 83"/>
                  <a:gd name="T52" fmla="*/ 1 w 84"/>
                  <a:gd name="T53" fmla="*/ 29 h 83"/>
                  <a:gd name="T54" fmla="*/ 12 w 84"/>
                  <a:gd name="T55" fmla="*/ 39 h 83"/>
                  <a:gd name="T56" fmla="*/ 12 w 84"/>
                  <a:gd name="T57" fmla="*/ 45 h 83"/>
                  <a:gd name="T58" fmla="*/ 10 w 84"/>
                  <a:gd name="T59" fmla="*/ 47 h 83"/>
                  <a:gd name="T60" fmla="*/ 13 w 84"/>
                  <a:gd name="T61" fmla="*/ 53 h 83"/>
                  <a:gd name="T62" fmla="*/ 74 w 84"/>
                  <a:gd name="T63" fmla="*/ 72 h 83"/>
                  <a:gd name="T64" fmla="*/ 74 w 84"/>
                  <a:gd name="T65" fmla="*/ 78 h 83"/>
                  <a:gd name="T66" fmla="*/ 84 w 84"/>
                  <a:gd name="T67" fmla="*/ 66 h 83"/>
                  <a:gd name="T68" fmla="*/ 79 w 84"/>
                  <a:gd name="T69" fmla="*/ 72 h 83"/>
                  <a:gd name="T70" fmla="*/ 67 w 84"/>
                  <a:gd name="T71" fmla="*/ 50 h 83"/>
                  <a:gd name="T72" fmla="*/ 67 w 84"/>
                  <a:gd name="T73" fmla="*/ 52 h 83"/>
                  <a:gd name="T74" fmla="*/ 60 w 84"/>
                  <a:gd name="T75" fmla="*/ 44 h 83"/>
                  <a:gd name="T76" fmla="*/ 58 w 84"/>
                  <a:gd name="T77" fmla="*/ 34 h 83"/>
                  <a:gd name="T78" fmla="*/ 65 w 84"/>
                  <a:gd name="T79" fmla="*/ 36 h 83"/>
                  <a:gd name="T80" fmla="*/ 60 w 84"/>
                  <a:gd name="T81" fmla="*/ 35 h 83"/>
                  <a:gd name="T82" fmla="*/ 51 w 84"/>
                  <a:gd name="T83" fmla="*/ 22 h 83"/>
                  <a:gd name="T84" fmla="*/ 51 w 84"/>
                  <a:gd name="T85" fmla="*/ 25 h 83"/>
                  <a:gd name="T86" fmla="*/ 45 w 84"/>
                  <a:gd name="T87" fmla="*/ 16 h 83"/>
                  <a:gd name="T88" fmla="*/ 36 w 84"/>
                  <a:gd name="T89" fmla="*/ 33 h 83"/>
                  <a:gd name="T90" fmla="*/ 48 w 84"/>
                  <a:gd name="T91" fmla="*/ 39 h 83"/>
                  <a:gd name="T92" fmla="*/ 62 w 84"/>
                  <a:gd name="T93" fmla="*/ 55 h 83"/>
                  <a:gd name="T94" fmla="*/ 48 w 84"/>
                  <a:gd name="T95" fmla="*/ 60 h 83"/>
                  <a:gd name="T96" fmla="*/ 46 w 84"/>
                  <a:gd name="T97" fmla="*/ 53 h 83"/>
                  <a:gd name="T98" fmla="*/ 57 w 84"/>
                  <a:gd name="T99" fmla="*/ 60 h 83"/>
                  <a:gd name="T100" fmla="*/ 57 w 84"/>
                  <a:gd name="T101" fmla="*/ 55 h 83"/>
                  <a:gd name="T102" fmla="*/ 50 w 84"/>
                  <a:gd name="T103" fmla="*/ 49 h 83"/>
                  <a:gd name="T104" fmla="*/ 32 w 84"/>
                  <a:gd name="T105" fmla="*/ 36 h 83"/>
                  <a:gd name="T106" fmla="*/ 44 w 84"/>
                  <a:gd name="T107" fmla="*/ 43 h 83"/>
                  <a:gd name="T108" fmla="*/ 46 w 84"/>
                  <a:gd name="T109" fmla="*/ 49 h 83"/>
                  <a:gd name="T110" fmla="*/ 38 w 84"/>
                  <a:gd name="T111" fmla="*/ 41 h 83"/>
                  <a:gd name="T112" fmla="*/ 34 w 84"/>
                  <a:gd name="T113" fmla="*/ 66 h 83"/>
                  <a:gd name="T114" fmla="*/ 34 w 84"/>
                  <a:gd name="T115" fmla="*/ 6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4" h="83">
                    <a:moveTo>
                      <a:pt x="63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59" y="2"/>
                      <a:pt x="59" y="2"/>
                      <a:pt x="59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8" y="8"/>
                      <a:pt x="48" y="8"/>
                      <a:pt x="48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3" y="43"/>
                      <a:pt x="23" y="43"/>
                      <a:pt x="23" y="43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29" y="46"/>
                      <a:pt x="29" y="46"/>
                      <a:pt x="29" y="46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48"/>
                      <a:pt x="29" y="48"/>
                      <a:pt x="29" y="48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29" y="64"/>
                      <a:pt x="29" y="64"/>
                      <a:pt x="29" y="64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1" y="62"/>
                      <a:pt x="31" y="62"/>
                      <a:pt x="31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3" y="63"/>
                      <a:pt x="33" y="63"/>
                      <a:pt x="33" y="63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5" y="63"/>
                      <a:pt x="35" y="63"/>
                      <a:pt x="35" y="63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5" y="55"/>
                      <a:pt x="35" y="55"/>
                      <a:pt x="35" y="5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6" y="56"/>
                      <a:pt x="36" y="56"/>
                      <a:pt x="36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7" y="55"/>
                      <a:pt x="37" y="55"/>
                      <a:pt x="37" y="55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5" y="52"/>
                      <a:pt x="35" y="52"/>
                      <a:pt x="35" y="52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49"/>
                      <a:pt x="35" y="49"/>
                      <a:pt x="35" y="49"/>
                    </a:cubicBezTo>
                    <a:cubicBezTo>
                      <a:pt x="36" y="50"/>
                      <a:pt x="36" y="50"/>
                      <a:pt x="36" y="50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3" y="50"/>
                      <a:pt x="43" y="50"/>
                      <a:pt x="43" y="50"/>
                    </a:cubicBezTo>
                    <a:cubicBezTo>
                      <a:pt x="41" y="48"/>
                      <a:pt x="41" y="48"/>
                      <a:pt x="41" y="48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3" y="40"/>
                      <a:pt x="33" y="40"/>
                      <a:pt x="33" y="40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0" y="34"/>
                      <a:pt x="30" y="34"/>
                      <a:pt x="30" y="34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9" y="23"/>
                      <a:pt x="39" y="23"/>
                      <a:pt x="39" y="23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8" y="19"/>
                      <a:pt x="38" y="19"/>
                      <a:pt x="38" y="19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8" y="13"/>
                      <a:pt x="48" y="13"/>
                      <a:pt x="48" y="13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8"/>
                      <a:pt x="62" y="8"/>
                      <a:pt x="62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3" y="0"/>
                      <a:pt x="63" y="0"/>
                      <a:pt x="63" y="0"/>
                    </a:cubicBezTo>
                    <a:close/>
                    <a:moveTo>
                      <a:pt x="41" y="77"/>
                    </a:move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7" y="80"/>
                      <a:pt x="47" y="80"/>
                      <a:pt x="47" y="80"/>
                    </a:cubicBezTo>
                    <a:cubicBezTo>
                      <a:pt x="49" y="81"/>
                      <a:pt x="49" y="81"/>
                      <a:pt x="49" y="81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54" y="83"/>
                      <a:pt x="54" y="83"/>
                      <a:pt x="54" y="83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58" y="82"/>
                      <a:pt x="58" y="82"/>
                      <a:pt x="58" y="82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6" y="81"/>
                      <a:pt x="66" y="81"/>
                      <a:pt x="66" y="81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6" y="78"/>
                      <a:pt x="66" y="78"/>
                      <a:pt x="66" y="7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62" y="80"/>
                      <a:pt x="62" y="80"/>
                      <a:pt x="62" y="80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62" y="79"/>
                      <a:pt x="62" y="79"/>
                      <a:pt x="62" y="79"/>
                    </a:cubicBezTo>
                    <a:cubicBezTo>
                      <a:pt x="61" y="77"/>
                      <a:pt x="61" y="77"/>
                      <a:pt x="61" y="77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0" y="78"/>
                      <a:pt x="50" y="78"/>
                      <a:pt x="50" y="78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6" y="76"/>
                      <a:pt x="46" y="76"/>
                      <a:pt x="46" y="76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5" y="76"/>
                      <a:pt x="45" y="76"/>
                      <a:pt x="45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1" y="77"/>
                      <a:pt x="41" y="77"/>
                      <a:pt x="41" y="77"/>
                    </a:cubicBezTo>
                    <a:close/>
                    <a:moveTo>
                      <a:pt x="3" y="27"/>
                    </a:moveTo>
                    <a:cubicBezTo>
                      <a:pt x="3" y="29"/>
                      <a:pt x="3" y="29"/>
                      <a:pt x="3" y="29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3" y="27"/>
                      <a:pt x="3" y="27"/>
                      <a:pt x="3" y="27"/>
                    </a:cubicBezTo>
                    <a:close/>
                    <a:moveTo>
                      <a:pt x="10" y="41"/>
                    </a:moveTo>
                    <a:cubicBezTo>
                      <a:pt x="10" y="40"/>
                      <a:pt x="10" y="40"/>
                      <a:pt x="10" y="40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0" y="41"/>
                      <a:pt x="10" y="41"/>
                      <a:pt x="10" y="41"/>
                    </a:cubicBezTo>
                    <a:close/>
                    <a:moveTo>
                      <a:pt x="10" y="44"/>
                    </a:moveTo>
                    <a:cubicBezTo>
                      <a:pt x="10" y="42"/>
                      <a:pt x="10" y="42"/>
                      <a:pt x="10" y="42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0" y="44"/>
                      <a:pt x="10" y="44"/>
                      <a:pt x="10" y="44"/>
                    </a:cubicBezTo>
                    <a:close/>
                    <a:moveTo>
                      <a:pt x="14" y="51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13" y="53"/>
                      <a:pt x="13" y="53"/>
                      <a:pt x="13" y="53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4" y="51"/>
                      <a:pt x="14" y="51"/>
                      <a:pt x="14" y="51"/>
                    </a:cubicBezTo>
                    <a:close/>
                    <a:moveTo>
                      <a:pt x="74" y="73"/>
                    </a:move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2"/>
                      <a:pt x="74" y="72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3"/>
                      <a:pt x="74" y="73"/>
                      <a:pt x="74" y="73"/>
                    </a:cubicBezTo>
                    <a:close/>
                    <a:moveTo>
                      <a:pt x="74" y="78"/>
                    </a:moveTo>
                    <a:cubicBezTo>
                      <a:pt x="73" y="76"/>
                      <a:pt x="73" y="76"/>
                      <a:pt x="73" y="76"/>
                    </a:cubicBezTo>
                    <a:cubicBezTo>
                      <a:pt x="73" y="75"/>
                      <a:pt x="73" y="75"/>
                      <a:pt x="73" y="75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5"/>
                      <a:pt x="74" y="75"/>
                      <a:pt x="74" y="75"/>
                    </a:cubicBezTo>
                    <a:cubicBezTo>
                      <a:pt x="75" y="76"/>
                      <a:pt x="75" y="76"/>
                      <a:pt x="75" y="76"/>
                    </a:cubicBezTo>
                    <a:cubicBezTo>
                      <a:pt x="74" y="78"/>
                      <a:pt x="74" y="78"/>
                      <a:pt x="74" y="78"/>
                    </a:cubicBezTo>
                    <a:cubicBezTo>
                      <a:pt x="74" y="78"/>
                      <a:pt x="74" y="78"/>
                      <a:pt x="74" y="78"/>
                    </a:cubicBezTo>
                    <a:close/>
                    <a:moveTo>
                      <a:pt x="79" y="72"/>
                    </a:moveTo>
                    <a:cubicBezTo>
                      <a:pt x="78" y="71"/>
                      <a:pt x="78" y="71"/>
                      <a:pt x="78" y="71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4" y="66"/>
                      <a:pt x="84" y="66"/>
                      <a:pt x="84" y="66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8"/>
                      <a:pt x="83" y="68"/>
                      <a:pt x="83" y="68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70"/>
                      <a:pt x="82" y="70"/>
                      <a:pt x="82" y="70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79" y="72"/>
                      <a:pt x="79" y="72"/>
                      <a:pt x="79" y="72"/>
                    </a:cubicBezTo>
                    <a:cubicBezTo>
                      <a:pt x="79" y="72"/>
                      <a:pt x="79" y="72"/>
                      <a:pt x="79" y="72"/>
                    </a:cubicBezTo>
                    <a:close/>
                    <a:moveTo>
                      <a:pt x="66" y="66"/>
                    </a:moveTo>
                    <a:cubicBezTo>
                      <a:pt x="65" y="65"/>
                      <a:pt x="65" y="65"/>
                      <a:pt x="65" y="65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5"/>
                      <a:pt x="67" y="65"/>
                      <a:pt x="67" y="65"/>
                    </a:cubicBezTo>
                    <a:cubicBezTo>
                      <a:pt x="67" y="65"/>
                      <a:pt x="66" y="66"/>
                      <a:pt x="66" y="66"/>
                    </a:cubicBezTo>
                    <a:close/>
                    <a:moveTo>
                      <a:pt x="65" y="52"/>
                    </a:moveTo>
                    <a:cubicBezTo>
                      <a:pt x="67" y="50"/>
                      <a:pt x="67" y="50"/>
                      <a:pt x="67" y="50"/>
                    </a:cubicBezTo>
                    <a:cubicBezTo>
                      <a:pt x="68" y="50"/>
                      <a:pt x="68" y="50"/>
                      <a:pt x="68" y="50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2"/>
                      <a:pt x="70" y="52"/>
                      <a:pt x="70" y="52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9" y="53"/>
                      <a:pt x="69" y="53"/>
                      <a:pt x="69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lose/>
                    <a:moveTo>
                      <a:pt x="62" y="41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61" y="44"/>
                      <a:pt x="61" y="44"/>
                      <a:pt x="61" y="44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  <a:moveTo>
                      <a:pt x="60" y="35"/>
                    </a:moveTo>
                    <a:cubicBezTo>
                      <a:pt x="58" y="34"/>
                      <a:pt x="58" y="34"/>
                      <a:pt x="58" y="34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5" y="33"/>
                      <a:pt x="65" y="33"/>
                      <a:pt x="65" y="33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5" y="36"/>
                      <a:pt x="65" y="36"/>
                      <a:pt x="65" y="36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63" y="33"/>
                      <a:pt x="63" y="33"/>
                      <a:pt x="63" y="33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1" y="34"/>
                      <a:pt x="61" y="34"/>
                      <a:pt x="61" y="34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5"/>
                      <a:pt x="60" y="35"/>
                      <a:pt x="60" y="35"/>
                    </a:cubicBezTo>
                    <a:close/>
                    <a:moveTo>
                      <a:pt x="55" y="17"/>
                    </a:move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5" y="17"/>
                      <a:pt x="55" y="17"/>
                      <a:pt x="55" y="17"/>
                    </a:cubicBezTo>
                    <a:close/>
                    <a:moveTo>
                      <a:pt x="51" y="22"/>
                    </a:moveTo>
                    <a:cubicBezTo>
                      <a:pt x="52" y="22"/>
                      <a:pt x="52" y="22"/>
                      <a:pt x="52" y="22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2"/>
                      <a:pt x="51" y="22"/>
                    </a:cubicBezTo>
                    <a:close/>
                    <a:moveTo>
                      <a:pt x="46" y="14"/>
                    </a:moveTo>
                    <a:cubicBezTo>
                      <a:pt x="47" y="14"/>
                      <a:pt x="47" y="14"/>
                      <a:pt x="47" y="14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8" y="15"/>
                      <a:pt x="48" y="15"/>
                      <a:pt x="48" y="15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6" y="14"/>
                      <a:pt x="46" y="14"/>
                      <a:pt x="46" y="14"/>
                    </a:cubicBezTo>
                    <a:close/>
                    <a:moveTo>
                      <a:pt x="37" y="34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34"/>
                      <a:pt x="37" y="34"/>
                      <a:pt x="37" y="34"/>
                    </a:cubicBezTo>
                    <a:close/>
                    <a:moveTo>
                      <a:pt x="35" y="34"/>
                    </a:moveTo>
                    <a:cubicBezTo>
                      <a:pt x="36" y="33"/>
                      <a:pt x="36" y="33"/>
                      <a:pt x="36" y="33"/>
                    </a:cubicBezTo>
                    <a:cubicBezTo>
                      <a:pt x="37" y="34"/>
                      <a:pt x="37" y="34"/>
                      <a:pt x="37" y="34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5" y="34"/>
                      <a:pt x="35" y="34"/>
                      <a:pt x="35" y="34"/>
                    </a:cubicBezTo>
                    <a:close/>
                    <a:moveTo>
                      <a:pt x="46" y="36"/>
                    </a:moveTo>
                    <a:cubicBezTo>
                      <a:pt x="47" y="36"/>
                      <a:pt x="47" y="36"/>
                      <a:pt x="47" y="36"/>
                    </a:cubicBezTo>
                    <a:cubicBezTo>
                      <a:pt x="48" y="37"/>
                      <a:pt x="48" y="37"/>
                      <a:pt x="48" y="37"/>
                    </a:cubicBezTo>
                    <a:cubicBezTo>
                      <a:pt x="49" y="37"/>
                      <a:pt x="49" y="37"/>
                      <a:pt x="49" y="37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6" y="36"/>
                      <a:pt x="46" y="36"/>
                      <a:pt x="46" y="36"/>
                    </a:cubicBezTo>
                    <a:close/>
                    <a:moveTo>
                      <a:pt x="62" y="55"/>
                    </a:moveTo>
                    <a:cubicBezTo>
                      <a:pt x="61" y="54"/>
                      <a:pt x="61" y="54"/>
                      <a:pt x="61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63" y="54"/>
                      <a:pt x="63" y="54"/>
                      <a:pt x="63" y="54"/>
                    </a:cubicBezTo>
                    <a:cubicBezTo>
                      <a:pt x="62" y="55"/>
                      <a:pt x="62" y="55"/>
                      <a:pt x="62" y="55"/>
                    </a:cubicBezTo>
                    <a:close/>
                    <a:moveTo>
                      <a:pt x="46" y="65"/>
                    </a:moveTo>
                    <a:cubicBezTo>
                      <a:pt x="47" y="64"/>
                      <a:pt x="47" y="64"/>
                      <a:pt x="47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6" y="65"/>
                      <a:pt x="46" y="65"/>
                      <a:pt x="46" y="65"/>
                    </a:cubicBezTo>
                    <a:close/>
                    <a:moveTo>
                      <a:pt x="47" y="59"/>
                    </a:move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7" y="59"/>
                      <a:pt x="47" y="59"/>
                      <a:pt x="47" y="59"/>
                    </a:cubicBezTo>
                    <a:close/>
                    <a:moveTo>
                      <a:pt x="47" y="57"/>
                    </a:moveTo>
                    <a:cubicBezTo>
                      <a:pt x="47" y="55"/>
                      <a:pt x="47" y="55"/>
                      <a:pt x="47" y="55"/>
                    </a:cubicBezTo>
                    <a:cubicBezTo>
                      <a:pt x="47" y="56"/>
                      <a:pt x="47" y="56"/>
                      <a:pt x="47" y="56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lose/>
                    <a:moveTo>
                      <a:pt x="46" y="55"/>
                    </a:moveTo>
                    <a:cubicBezTo>
                      <a:pt x="45" y="54"/>
                      <a:pt x="45" y="54"/>
                      <a:pt x="45" y="5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6" y="55"/>
                      <a:pt x="46" y="55"/>
                      <a:pt x="46" y="55"/>
                    </a:cubicBezTo>
                    <a:close/>
                    <a:moveTo>
                      <a:pt x="54" y="61"/>
                    </a:moveTo>
                    <a:cubicBezTo>
                      <a:pt x="54" y="60"/>
                      <a:pt x="54" y="60"/>
                      <a:pt x="54" y="60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61"/>
                      <a:pt x="54" y="61"/>
                      <a:pt x="54" y="61"/>
                    </a:cubicBezTo>
                    <a:close/>
                    <a:moveTo>
                      <a:pt x="57" y="60"/>
                    </a:moveTo>
                    <a:cubicBezTo>
                      <a:pt x="56" y="59"/>
                      <a:pt x="56" y="59"/>
                      <a:pt x="56" y="59"/>
                    </a:cubicBezTo>
                    <a:cubicBezTo>
                      <a:pt x="57" y="58"/>
                      <a:pt x="57" y="58"/>
                      <a:pt x="57" y="58"/>
                    </a:cubicBezTo>
                    <a:cubicBezTo>
                      <a:pt x="58" y="58"/>
                      <a:pt x="58" y="58"/>
                      <a:pt x="58" y="58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7" y="60"/>
                      <a:pt x="57" y="60"/>
                      <a:pt x="57" y="60"/>
                    </a:cubicBezTo>
                    <a:close/>
                    <a:moveTo>
                      <a:pt x="56" y="56"/>
                    </a:moveTo>
                    <a:cubicBezTo>
                      <a:pt x="56" y="55"/>
                      <a:pt x="56" y="55"/>
                      <a:pt x="56" y="55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6" y="56"/>
                      <a:pt x="56" y="56"/>
                      <a:pt x="56" y="56"/>
                    </a:cubicBezTo>
                    <a:close/>
                    <a:moveTo>
                      <a:pt x="53" y="53"/>
                    </a:moveTo>
                    <a:cubicBezTo>
                      <a:pt x="54" y="53"/>
                      <a:pt x="54" y="53"/>
                      <a:pt x="54" y="53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3" y="53"/>
                      <a:pt x="53" y="53"/>
                      <a:pt x="53" y="53"/>
                    </a:cubicBezTo>
                    <a:close/>
                    <a:moveTo>
                      <a:pt x="49" y="50"/>
                    </a:moveTo>
                    <a:cubicBezTo>
                      <a:pt x="50" y="49"/>
                      <a:pt x="50" y="49"/>
                      <a:pt x="50" y="49"/>
                    </a:cubicBezTo>
                    <a:cubicBezTo>
                      <a:pt x="51" y="51"/>
                      <a:pt x="51" y="51"/>
                      <a:pt x="51" y="51"/>
                    </a:cubicBezTo>
                    <a:cubicBezTo>
                      <a:pt x="52" y="52"/>
                      <a:pt x="52" y="52"/>
                      <a:pt x="52" y="52"/>
                    </a:cubicBezTo>
                    <a:cubicBezTo>
                      <a:pt x="52" y="53"/>
                      <a:pt x="52" y="53"/>
                      <a:pt x="52" y="53"/>
                    </a:cubicBezTo>
                    <a:cubicBezTo>
                      <a:pt x="52" y="53"/>
                      <a:pt x="52" y="53"/>
                      <a:pt x="52" y="53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9" y="50"/>
                      <a:pt x="49" y="50"/>
                      <a:pt x="49" y="50"/>
                    </a:cubicBezTo>
                    <a:close/>
                    <a:moveTo>
                      <a:pt x="31" y="37"/>
                    </a:moveTo>
                    <a:cubicBezTo>
                      <a:pt x="32" y="36"/>
                      <a:pt x="32" y="36"/>
                      <a:pt x="32" y="36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6"/>
                      <a:pt x="45" y="46"/>
                      <a:pt x="45" y="46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7" y="49"/>
                      <a:pt x="47" y="49"/>
                      <a:pt x="47" y="49"/>
                    </a:cubicBezTo>
                    <a:cubicBezTo>
                      <a:pt x="47" y="49"/>
                      <a:pt x="47" y="49"/>
                      <a:pt x="47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43"/>
                      <a:pt x="40" y="43"/>
                      <a:pt x="40" y="43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1" y="37"/>
                      <a:pt x="31" y="37"/>
                      <a:pt x="31" y="37"/>
                    </a:cubicBezTo>
                    <a:close/>
                    <a:moveTo>
                      <a:pt x="34" y="67"/>
                    </a:moveTo>
                    <a:cubicBezTo>
                      <a:pt x="34" y="66"/>
                      <a:pt x="34" y="66"/>
                      <a:pt x="34" y="66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34" y="67"/>
                      <a:pt x="34" y="67"/>
                      <a:pt x="34" y="67"/>
                    </a:cubicBezTo>
                    <a:close/>
                    <a:moveTo>
                      <a:pt x="34" y="65"/>
                    </a:moveTo>
                    <a:cubicBezTo>
                      <a:pt x="34" y="66"/>
                      <a:pt x="34" y="66"/>
                      <a:pt x="34" y="66"/>
                    </a:cubicBezTo>
                    <a:cubicBezTo>
                      <a:pt x="34" y="66"/>
                      <a:pt x="34" y="66"/>
                      <a:pt x="34" y="66"/>
                    </a:cubicBezTo>
                    <a:lnTo>
                      <a:pt x="34" y="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5" name="Freeform 227">
                <a:extLst>
                  <a:ext uri="{FF2B5EF4-FFF2-40B4-BE49-F238E27FC236}">
                    <a16:creationId xmlns:a16="http://schemas.microsoft.com/office/drawing/2014/main" xmlns="" id="{053333AD-B101-4595-99B0-D4356E73FB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27" y="1324"/>
                <a:ext cx="88" cy="73"/>
              </a:xfrm>
              <a:custGeom>
                <a:avLst/>
                <a:gdLst>
                  <a:gd name="T0" fmla="*/ 2 w 88"/>
                  <a:gd name="T1" fmla="*/ 13 h 73"/>
                  <a:gd name="T2" fmla="*/ 16 w 88"/>
                  <a:gd name="T3" fmla="*/ 14 h 73"/>
                  <a:gd name="T4" fmla="*/ 28 w 88"/>
                  <a:gd name="T5" fmla="*/ 17 h 73"/>
                  <a:gd name="T6" fmla="*/ 26 w 88"/>
                  <a:gd name="T7" fmla="*/ 9 h 73"/>
                  <a:gd name="T8" fmla="*/ 25 w 88"/>
                  <a:gd name="T9" fmla="*/ 1 h 73"/>
                  <a:gd name="T10" fmla="*/ 36 w 88"/>
                  <a:gd name="T11" fmla="*/ 8 h 73"/>
                  <a:gd name="T12" fmla="*/ 46 w 88"/>
                  <a:gd name="T13" fmla="*/ 11 h 73"/>
                  <a:gd name="T14" fmla="*/ 52 w 88"/>
                  <a:gd name="T15" fmla="*/ 6 h 73"/>
                  <a:gd name="T16" fmla="*/ 61 w 88"/>
                  <a:gd name="T17" fmla="*/ 1 h 73"/>
                  <a:gd name="T18" fmla="*/ 65 w 88"/>
                  <a:gd name="T19" fmla="*/ 11 h 73"/>
                  <a:gd name="T20" fmla="*/ 74 w 88"/>
                  <a:gd name="T21" fmla="*/ 21 h 73"/>
                  <a:gd name="T22" fmla="*/ 77 w 88"/>
                  <a:gd name="T23" fmla="*/ 26 h 73"/>
                  <a:gd name="T24" fmla="*/ 85 w 88"/>
                  <a:gd name="T25" fmla="*/ 27 h 73"/>
                  <a:gd name="T26" fmla="*/ 85 w 88"/>
                  <a:gd name="T27" fmla="*/ 31 h 73"/>
                  <a:gd name="T28" fmla="*/ 78 w 88"/>
                  <a:gd name="T29" fmla="*/ 32 h 73"/>
                  <a:gd name="T30" fmla="*/ 74 w 88"/>
                  <a:gd name="T31" fmla="*/ 40 h 73"/>
                  <a:gd name="T32" fmla="*/ 74 w 88"/>
                  <a:gd name="T33" fmla="*/ 45 h 73"/>
                  <a:gd name="T34" fmla="*/ 74 w 88"/>
                  <a:gd name="T35" fmla="*/ 50 h 73"/>
                  <a:gd name="T36" fmla="*/ 72 w 88"/>
                  <a:gd name="T37" fmla="*/ 53 h 73"/>
                  <a:gd name="T38" fmla="*/ 72 w 88"/>
                  <a:gd name="T39" fmla="*/ 62 h 73"/>
                  <a:gd name="T40" fmla="*/ 72 w 88"/>
                  <a:gd name="T41" fmla="*/ 57 h 73"/>
                  <a:gd name="T42" fmla="*/ 69 w 88"/>
                  <a:gd name="T43" fmla="*/ 55 h 73"/>
                  <a:gd name="T44" fmla="*/ 69 w 88"/>
                  <a:gd name="T45" fmla="*/ 62 h 73"/>
                  <a:gd name="T46" fmla="*/ 69 w 88"/>
                  <a:gd name="T47" fmla="*/ 65 h 73"/>
                  <a:gd name="T48" fmla="*/ 67 w 88"/>
                  <a:gd name="T49" fmla="*/ 73 h 73"/>
                  <a:gd name="T50" fmla="*/ 64 w 88"/>
                  <a:gd name="T51" fmla="*/ 70 h 73"/>
                  <a:gd name="T52" fmla="*/ 56 w 88"/>
                  <a:gd name="T53" fmla="*/ 63 h 73"/>
                  <a:gd name="T54" fmla="*/ 57 w 88"/>
                  <a:gd name="T55" fmla="*/ 57 h 73"/>
                  <a:gd name="T56" fmla="*/ 59 w 88"/>
                  <a:gd name="T57" fmla="*/ 53 h 73"/>
                  <a:gd name="T58" fmla="*/ 56 w 88"/>
                  <a:gd name="T59" fmla="*/ 49 h 73"/>
                  <a:gd name="T60" fmla="*/ 54 w 88"/>
                  <a:gd name="T61" fmla="*/ 49 h 73"/>
                  <a:gd name="T62" fmla="*/ 49 w 88"/>
                  <a:gd name="T63" fmla="*/ 50 h 73"/>
                  <a:gd name="T64" fmla="*/ 44 w 88"/>
                  <a:gd name="T65" fmla="*/ 53 h 73"/>
                  <a:gd name="T66" fmla="*/ 39 w 88"/>
                  <a:gd name="T67" fmla="*/ 58 h 73"/>
                  <a:gd name="T68" fmla="*/ 38 w 88"/>
                  <a:gd name="T69" fmla="*/ 60 h 73"/>
                  <a:gd name="T70" fmla="*/ 34 w 88"/>
                  <a:gd name="T71" fmla="*/ 63 h 73"/>
                  <a:gd name="T72" fmla="*/ 31 w 88"/>
                  <a:gd name="T73" fmla="*/ 62 h 73"/>
                  <a:gd name="T74" fmla="*/ 33 w 88"/>
                  <a:gd name="T75" fmla="*/ 57 h 73"/>
                  <a:gd name="T76" fmla="*/ 34 w 88"/>
                  <a:gd name="T77" fmla="*/ 52 h 73"/>
                  <a:gd name="T78" fmla="*/ 26 w 88"/>
                  <a:gd name="T79" fmla="*/ 49 h 73"/>
                  <a:gd name="T80" fmla="*/ 16 w 88"/>
                  <a:gd name="T81" fmla="*/ 39 h 73"/>
                  <a:gd name="T82" fmla="*/ 20 w 88"/>
                  <a:gd name="T83" fmla="*/ 34 h 73"/>
                  <a:gd name="T84" fmla="*/ 13 w 88"/>
                  <a:gd name="T85" fmla="*/ 26 h 73"/>
                  <a:gd name="T86" fmla="*/ 10 w 88"/>
                  <a:gd name="T87" fmla="*/ 17 h 73"/>
                  <a:gd name="T88" fmla="*/ 2 w 88"/>
                  <a:gd name="T89" fmla="*/ 14 h 73"/>
                  <a:gd name="T90" fmla="*/ 28 w 88"/>
                  <a:gd name="T91" fmla="*/ 63 h 73"/>
                  <a:gd name="T92" fmla="*/ 16 w 88"/>
                  <a:gd name="T93" fmla="*/ 50 h 73"/>
                  <a:gd name="T94" fmla="*/ 12 w 88"/>
                  <a:gd name="T95" fmla="*/ 45 h 73"/>
                  <a:gd name="T96" fmla="*/ 7 w 88"/>
                  <a:gd name="T97" fmla="*/ 44 h 73"/>
                  <a:gd name="T98" fmla="*/ 0 w 88"/>
                  <a:gd name="T99" fmla="*/ 45 h 73"/>
                  <a:gd name="T100" fmla="*/ 2 w 88"/>
                  <a:gd name="T101" fmla="*/ 45 h 73"/>
                  <a:gd name="T102" fmla="*/ 7 w 88"/>
                  <a:gd name="T103" fmla="*/ 49 h 73"/>
                  <a:gd name="T104" fmla="*/ 7 w 88"/>
                  <a:gd name="T105" fmla="*/ 53 h 73"/>
                  <a:gd name="T106" fmla="*/ 15 w 88"/>
                  <a:gd name="T107" fmla="*/ 60 h 73"/>
                  <a:gd name="T108" fmla="*/ 23 w 88"/>
                  <a:gd name="T109" fmla="*/ 63 h 73"/>
                  <a:gd name="T110" fmla="*/ 28 w 88"/>
                  <a:gd name="T111" fmla="*/ 6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8" h="73">
                    <a:moveTo>
                      <a:pt x="2" y="14"/>
                    </a:moveTo>
                    <a:lnTo>
                      <a:pt x="2" y="13"/>
                    </a:lnTo>
                    <a:lnTo>
                      <a:pt x="8" y="9"/>
                    </a:lnTo>
                    <a:lnTo>
                      <a:pt x="16" y="14"/>
                    </a:lnTo>
                    <a:lnTo>
                      <a:pt x="23" y="14"/>
                    </a:lnTo>
                    <a:lnTo>
                      <a:pt x="28" y="17"/>
                    </a:lnTo>
                    <a:lnTo>
                      <a:pt x="30" y="13"/>
                    </a:lnTo>
                    <a:lnTo>
                      <a:pt x="26" y="9"/>
                    </a:lnTo>
                    <a:lnTo>
                      <a:pt x="23" y="6"/>
                    </a:lnTo>
                    <a:lnTo>
                      <a:pt x="25" y="1"/>
                    </a:lnTo>
                    <a:lnTo>
                      <a:pt x="30" y="1"/>
                    </a:lnTo>
                    <a:lnTo>
                      <a:pt x="36" y="8"/>
                    </a:lnTo>
                    <a:lnTo>
                      <a:pt x="38" y="11"/>
                    </a:lnTo>
                    <a:lnTo>
                      <a:pt x="46" y="11"/>
                    </a:lnTo>
                    <a:lnTo>
                      <a:pt x="47" y="9"/>
                    </a:lnTo>
                    <a:lnTo>
                      <a:pt x="52" y="6"/>
                    </a:lnTo>
                    <a:lnTo>
                      <a:pt x="57" y="0"/>
                    </a:lnTo>
                    <a:lnTo>
                      <a:pt x="61" y="1"/>
                    </a:lnTo>
                    <a:lnTo>
                      <a:pt x="65" y="8"/>
                    </a:lnTo>
                    <a:lnTo>
                      <a:pt x="65" y="11"/>
                    </a:lnTo>
                    <a:lnTo>
                      <a:pt x="67" y="16"/>
                    </a:lnTo>
                    <a:lnTo>
                      <a:pt x="74" y="21"/>
                    </a:lnTo>
                    <a:lnTo>
                      <a:pt x="74" y="22"/>
                    </a:lnTo>
                    <a:lnTo>
                      <a:pt x="77" y="26"/>
                    </a:lnTo>
                    <a:lnTo>
                      <a:pt x="82" y="26"/>
                    </a:lnTo>
                    <a:lnTo>
                      <a:pt x="85" y="27"/>
                    </a:lnTo>
                    <a:lnTo>
                      <a:pt x="88" y="31"/>
                    </a:lnTo>
                    <a:lnTo>
                      <a:pt x="85" y="31"/>
                    </a:lnTo>
                    <a:lnTo>
                      <a:pt x="83" y="32"/>
                    </a:lnTo>
                    <a:lnTo>
                      <a:pt x="78" y="32"/>
                    </a:lnTo>
                    <a:lnTo>
                      <a:pt x="74" y="35"/>
                    </a:lnTo>
                    <a:lnTo>
                      <a:pt x="74" y="40"/>
                    </a:lnTo>
                    <a:lnTo>
                      <a:pt x="75" y="44"/>
                    </a:lnTo>
                    <a:lnTo>
                      <a:pt x="74" y="45"/>
                    </a:lnTo>
                    <a:lnTo>
                      <a:pt x="74" y="49"/>
                    </a:lnTo>
                    <a:lnTo>
                      <a:pt x="74" y="50"/>
                    </a:lnTo>
                    <a:lnTo>
                      <a:pt x="74" y="52"/>
                    </a:lnTo>
                    <a:lnTo>
                      <a:pt x="72" y="53"/>
                    </a:lnTo>
                    <a:lnTo>
                      <a:pt x="72" y="60"/>
                    </a:lnTo>
                    <a:lnTo>
                      <a:pt x="72" y="62"/>
                    </a:lnTo>
                    <a:lnTo>
                      <a:pt x="70" y="60"/>
                    </a:lnTo>
                    <a:lnTo>
                      <a:pt x="72" y="57"/>
                    </a:lnTo>
                    <a:lnTo>
                      <a:pt x="70" y="53"/>
                    </a:lnTo>
                    <a:lnTo>
                      <a:pt x="69" y="55"/>
                    </a:lnTo>
                    <a:lnTo>
                      <a:pt x="67" y="57"/>
                    </a:lnTo>
                    <a:lnTo>
                      <a:pt x="69" y="62"/>
                    </a:lnTo>
                    <a:lnTo>
                      <a:pt x="69" y="65"/>
                    </a:lnTo>
                    <a:lnTo>
                      <a:pt x="69" y="65"/>
                    </a:lnTo>
                    <a:lnTo>
                      <a:pt x="69" y="71"/>
                    </a:lnTo>
                    <a:lnTo>
                      <a:pt x="67" y="73"/>
                    </a:lnTo>
                    <a:lnTo>
                      <a:pt x="65" y="71"/>
                    </a:lnTo>
                    <a:lnTo>
                      <a:pt x="64" y="70"/>
                    </a:lnTo>
                    <a:lnTo>
                      <a:pt x="61" y="68"/>
                    </a:lnTo>
                    <a:lnTo>
                      <a:pt x="56" y="63"/>
                    </a:lnTo>
                    <a:lnTo>
                      <a:pt x="61" y="60"/>
                    </a:lnTo>
                    <a:lnTo>
                      <a:pt x="57" y="57"/>
                    </a:lnTo>
                    <a:lnTo>
                      <a:pt x="57" y="55"/>
                    </a:lnTo>
                    <a:lnTo>
                      <a:pt x="59" y="53"/>
                    </a:lnTo>
                    <a:lnTo>
                      <a:pt x="57" y="52"/>
                    </a:lnTo>
                    <a:lnTo>
                      <a:pt x="56" y="49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2" y="49"/>
                    </a:lnTo>
                    <a:lnTo>
                      <a:pt x="49" y="50"/>
                    </a:lnTo>
                    <a:lnTo>
                      <a:pt x="46" y="50"/>
                    </a:lnTo>
                    <a:lnTo>
                      <a:pt x="44" y="53"/>
                    </a:lnTo>
                    <a:lnTo>
                      <a:pt x="43" y="55"/>
                    </a:lnTo>
                    <a:lnTo>
                      <a:pt x="39" y="58"/>
                    </a:lnTo>
                    <a:lnTo>
                      <a:pt x="38" y="58"/>
                    </a:lnTo>
                    <a:lnTo>
                      <a:pt x="38" y="60"/>
                    </a:lnTo>
                    <a:lnTo>
                      <a:pt x="36" y="62"/>
                    </a:lnTo>
                    <a:lnTo>
                      <a:pt x="34" y="63"/>
                    </a:lnTo>
                    <a:lnTo>
                      <a:pt x="31" y="62"/>
                    </a:lnTo>
                    <a:lnTo>
                      <a:pt x="31" y="62"/>
                    </a:lnTo>
                    <a:lnTo>
                      <a:pt x="31" y="58"/>
                    </a:lnTo>
                    <a:lnTo>
                      <a:pt x="33" y="57"/>
                    </a:lnTo>
                    <a:lnTo>
                      <a:pt x="31" y="53"/>
                    </a:lnTo>
                    <a:lnTo>
                      <a:pt x="34" y="52"/>
                    </a:lnTo>
                    <a:lnTo>
                      <a:pt x="31" y="49"/>
                    </a:lnTo>
                    <a:lnTo>
                      <a:pt x="26" y="49"/>
                    </a:lnTo>
                    <a:lnTo>
                      <a:pt x="20" y="44"/>
                    </a:lnTo>
                    <a:lnTo>
                      <a:pt x="16" y="39"/>
                    </a:lnTo>
                    <a:lnTo>
                      <a:pt x="20" y="37"/>
                    </a:lnTo>
                    <a:lnTo>
                      <a:pt x="20" y="34"/>
                    </a:lnTo>
                    <a:lnTo>
                      <a:pt x="13" y="29"/>
                    </a:lnTo>
                    <a:lnTo>
                      <a:pt x="13" y="26"/>
                    </a:lnTo>
                    <a:lnTo>
                      <a:pt x="13" y="21"/>
                    </a:lnTo>
                    <a:lnTo>
                      <a:pt x="10" y="17"/>
                    </a:lnTo>
                    <a:lnTo>
                      <a:pt x="5" y="17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  <a:moveTo>
                      <a:pt x="28" y="63"/>
                    </a:moveTo>
                    <a:lnTo>
                      <a:pt x="21" y="52"/>
                    </a:lnTo>
                    <a:lnTo>
                      <a:pt x="16" y="50"/>
                    </a:lnTo>
                    <a:lnTo>
                      <a:pt x="15" y="45"/>
                    </a:lnTo>
                    <a:lnTo>
                      <a:pt x="12" y="45"/>
                    </a:lnTo>
                    <a:lnTo>
                      <a:pt x="10" y="47"/>
                    </a:lnTo>
                    <a:lnTo>
                      <a:pt x="7" y="44"/>
                    </a:lnTo>
                    <a:lnTo>
                      <a:pt x="3" y="45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5" y="49"/>
                    </a:lnTo>
                    <a:lnTo>
                      <a:pt x="7" y="49"/>
                    </a:lnTo>
                    <a:lnTo>
                      <a:pt x="7" y="52"/>
                    </a:lnTo>
                    <a:lnTo>
                      <a:pt x="7" y="53"/>
                    </a:lnTo>
                    <a:lnTo>
                      <a:pt x="15" y="57"/>
                    </a:lnTo>
                    <a:lnTo>
                      <a:pt x="15" y="60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8" y="65"/>
                    </a:lnTo>
                    <a:lnTo>
                      <a:pt x="28" y="6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56" name="Freeform 228">
                <a:extLst>
                  <a:ext uri="{FF2B5EF4-FFF2-40B4-BE49-F238E27FC236}">
                    <a16:creationId xmlns:a16="http://schemas.microsoft.com/office/drawing/2014/main" xmlns="" id="{3CEF1090-4E9A-47FC-AA3A-A611554A4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369"/>
                <a:ext cx="323" cy="268"/>
              </a:xfrm>
              <a:custGeom>
                <a:avLst/>
                <a:gdLst>
                  <a:gd name="T0" fmla="*/ 13 w 323"/>
                  <a:gd name="T1" fmla="*/ 7 h 268"/>
                  <a:gd name="T2" fmla="*/ 29 w 323"/>
                  <a:gd name="T3" fmla="*/ 18 h 268"/>
                  <a:gd name="T4" fmla="*/ 40 w 323"/>
                  <a:gd name="T5" fmla="*/ 18 h 268"/>
                  <a:gd name="T6" fmla="*/ 49 w 323"/>
                  <a:gd name="T7" fmla="*/ 10 h 268"/>
                  <a:gd name="T8" fmla="*/ 60 w 323"/>
                  <a:gd name="T9" fmla="*/ 4 h 268"/>
                  <a:gd name="T10" fmla="*/ 63 w 323"/>
                  <a:gd name="T11" fmla="*/ 10 h 268"/>
                  <a:gd name="T12" fmla="*/ 70 w 323"/>
                  <a:gd name="T13" fmla="*/ 25 h 268"/>
                  <a:gd name="T14" fmla="*/ 78 w 323"/>
                  <a:gd name="T15" fmla="*/ 31 h 268"/>
                  <a:gd name="T16" fmla="*/ 83 w 323"/>
                  <a:gd name="T17" fmla="*/ 44 h 268"/>
                  <a:gd name="T18" fmla="*/ 99 w 323"/>
                  <a:gd name="T19" fmla="*/ 46 h 268"/>
                  <a:gd name="T20" fmla="*/ 124 w 323"/>
                  <a:gd name="T21" fmla="*/ 59 h 268"/>
                  <a:gd name="T22" fmla="*/ 160 w 323"/>
                  <a:gd name="T23" fmla="*/ 56 h 268"/>
                  <a:gd name="T24" fmla="*/ 168 w 323"/>
                  <a:gd name="T25" fmla="*/ 43 h 268"/>
                  <a:gd name="T26" fmla="*/ 187 w 323"/>
                  <a:gd name="T27" fmla="*/ 28 h 268"/>
                  <a:gd name="T28" fmla="*/ 204 w 323"/>
                  <a:gd name="T29" fmla="*/ 25 h 268"/>
                  <a:gd name="T30" fmla="*/ 228 w 323"/>
                  <a:gd name="T31" fmla="*/ 36 h 268"/>
                  <a:gd name="T32" fmla="*/ 245 w 323"/>
                  <a:gd name="T33" fmla="*/ 44 h 268"/>
                  <a:gd name="T34" fmla="*/ 271 w 323"/>
                  <a:gd name="T35" fmla="*/ 61 h 268"/>
                  <a:gd name="T36" fmla="*/ 272 w 323"/>
                  <a:gd name="T37" fmla="*/ 77 h 268"/>
                  <a:gd name="T38" fmla="*/ 272 w 323"/>
                  <a:gd name="T39" fmla="*/ 88 h 268"/>
                  <a:gd name="T40" fmla="*/ 266 w 323"/>
                  <a:gd name="T41" fmla="*/ 100 h 268"/>
                  <a:gd name="T42" fmla="*/ 274 w 323"/>
                  <a:gd name="T43" fmla="*/ 111 h 268"/>
                  <a:gd name="T44" fmla="*/ 274 w 323"/>
                  <a:gd name="T45" fmla="*/ 141 h 268"/>
                  <a:gd name="T46" fmla="*/ 292 w 323"/>
                  <a:gd name="T47" fmla="*/ 159 h 268"/>
                  <a:gd name="T48" fmla="*/ 290 w 323"/>
                  <a:gd name="T49" fmla="*/ 200 h 268"/>
                  <a:gd name="T50" fmla="*/ 308 w 323"/>
                  <a:gd name="T51" fmla="*/ 209 h 268"/>
                  <a:gd name="T52" fmla="*/ 315 w 323"/>
                  <a:gd name="T53" fmla="*/ 224 h 268"/>
                  <a:gd name="T54" fmla="*/ 321 w 323"/>
                  <a:gd name="T55" fmla="*/ 239 h 268"/>
                  <a:gd name="T56" fmla="*/ 302 w 323"/>
                  <a:gd name="T57" fmla="*/ 247 h 268"/>
                  <a:gd name="T58" fmla="*/ 300 w 323"/>
                  <a:gd name="T59" fmla="*/ 265 h 268"/>
                  <a:gd name="T60" fmla="*/ 287 w 323"/>
                  <a:gd name="T61" fmla="*/ 263 h 268"/>
                  <a:gd name="T62" fmla="*/ 280 w 323"/>
                  <a:gd name="T63" fmla="*/ 263 h 268"/>
                  <a:gd name="T64" fmla="*/ 256 w 323"/>
                  <a:gd name="T65" fmla="*/ 260 h 268"/>
                  <a:gd name="T66" fmla="*/ 240 w 323"/>
                  <a:gd name="T67" fmla="*/ 257 h 268"/>
                  <a:gd name="T68" fmla="*/ 225 w 323"/>
                  <a:gd name="T69" fmla="*/ 244 h 268"/>
                  <a:gd name="T70" fmla="*/ 218 w 323"/>
                  <a:gd name="T71" fmla="*/ 231 h 268"/>
                  <a:gd name="T72" fmla="*/ 202 w 323"/>
                  <a:gd name="T73" fmla="*/ 234 h 268"/>
                  <a:gd name="T74" fmla="*/ 179 w 323"/>
                  <a:gd name="T75" fmla="*/ 239 h 268"/>
                  <a:gd name="T76" fmla="*/ 163 w 323"/>
                  <a:gd name="T77" fmla="*/ 232 h 268"/>
                  <a:gd name="T78" fmla="*/ 153 w 323"/>
                  <a:gd name="T79" fmla="*/ 224 h 268"/>
                  <a:gd name="T80" fmla="*/ 137 w 323"/>
                  <a:gd name="T81" fmla="*/ 219 h 268"/>
                  <a:gd name="T82" fmla="*/ 124 w 323"/>
                  <a:gd name="T83" fmla="*/ 203 h 268"/>
                  <a:gd name="T84" fmla="*/ 122 w 323"/>
                  <a:gd name="T85" fmla="*/ 200 h 268"/>
                  <a:gd name="T86" fmla="*/ 111 w 323"/>
                  <a:gd name="T87" fmla="*/ 178 h 268"/>
                  <a:gd name="T88" fmla="*/ 99 w 323"/>
                  <a:gd name="T89" fmla="*/ 180 h 268"/>
                  <a:gd name="T90" fmla="*/ 94 w 323"/>
                  <a:gd name="T91" fmla="*/ 175 h 268"/>
                  <a:gd name="T92" fmla="*/ 91 w 323"/>
                  <a:gd name="T93" fmla="*/ 182 h 268"/>
                  <a:gd name="T94" fmla="*/ 83 w 323"/>
                  <a:gd name="T95" fmla="*/ 175 h 268"/>
                  <a:gd name="T96" fmla="*/ 73 w 323"/>
                  <a:gd name="T97" fmla="*/ 154 h 268"/>
                  <a:gd name="T98" fmla="*/ 65 w 323"/>
                  <a:gd name="T99" fmla="*/ 136 h 268"/>
                  <a:gd name="T100" fmla="*/ 44 w 323"/>
                  <a:gd name="T101" fmla="*/ 128 h 268"/>
                  <a:gd name="T102" fmla="*/ 40 w 323"/>
                  <a:gd name="T103" fmla="*/ 115 h 268"/>
                  <a:gd name="T104" fmla="*/ 34 w 323"/>
                  <a:gd name="T105" fmla="*/ 108 h 268"/>
                  <a:gd name="T106" fmla="*/ 37 w 323"/>
                  <a:gd name="T107" fmla="*/ 92 h 268"/>
                  <a:gd name="T108" fmla="*/ 39 w 323"/>
                  <a:gd name="T109" fmla="*/ 80 h 268"/>
                  <a:gd name="T110" fmla="*/ 42 w 323"/>
                  <a:gd name="T111" fmla="*/ 75 h 268"/>
                  <a:gd name="T112" fmla="*/ 26 w 323"/>
                  <a:gd name="T113" fmla="*/ 71 h 268"/>
                  <a:gd name="T114" fmla="*/ 18 w 323"/>
                  <a:gd name="T115" fmla="*/ 57 h 268"/>
                  <a:gd name="T116" fmla="*/ 13 w 323"/>
                  <a:gd name="T117" fmla="*/ 48 h 268"/>
                  <a:gd name="T118" fmla="*/ 8 w 323"/>
                  <a:gd name="T119" fmla="*/ 28 h 268"/>
                  <a:gd name="T120" fmla="*/ 1 w 323"/>
                  <a:gd name="T121" fmla="*/ 12 h 268"/>
                  <a:gd name="T122" fmla="*/ 8 w 323"/>
                  <a:gd name="T123" fmla="*/ 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3" h="268">
                    <a:moveTo>
                      <a:pt x="8" y="0"/>
                    </a:moveTo>
                    <a:lnTo>
                      <a:pt x="8" y="0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7"/>
                    </a:lnTo>
                    <a:lnTo>
                      <a:pt x="13" y="8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24" y="18"/>
                    </a:lnTo>
                    <a:lnTo>
                      <a:pt x="29" y="18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7" y="17"/>
                    </a:lnTo>
                    <a:lnTo>
                      <a:pt x="40" y="18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4" y="13"/>
                    </a:lnTo>
                    <a:lnTo>
                      <a:pt x="45" y="13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2" y="5"/>
                    </a:lnTo>
                    <a:lnTo>
                      <a:pt x="55" y="5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3" y="7"/>
                    </a:lnTo>
                    <a:lnTo>
                      <a:pt x="65" y="8"/>
                    </a:lnTo>
                    <a:lnTo>
                      <a:pt x="63" y="10"/>
                    </a:lnTo>
                    <a:lnTo>
                      <a:pt x="63" y="12"/>
                    </a:lnTo>
                    <a:lnTo>
                      <a:pt x="67" y="15"/>
                    </a:lnTo>
                    <a:lnTo>
                      <a:pt x="62" y="18"/>
                    </a:lnTo>
                    <a:lnTo>
                      <a:pt x="67" y="23"/>
                    </a:lnTo>
                    <a:lnTo>
                      <a:pt x="70" y="25"/>
                    </a:lnTo>
                    <a:lnTo>
                      <a:pt x="71" y="26"/>
                    </a:lnTo>
                    <a:lnTo>
                      <a:pt x="73" y="28"/>
                    </a:lnTo>
                    <a:lnTo>
                      <a:pt x="75" y="26"/>
                    </a:lnTo>
                    <a:lnTo>
                      <a:pt x="75" y="28"/>
                    </a:lnTo>
                    <a:lnTo>
                      <a:pt x="78" y="31"/>
                    </a:lnTo>
                    <a:lnTo>
                      <a:pt x="78" y="35"/>
                    </a:lnTo>
                    <a:lnTo>
                      <a:pt x="76" y="39"/>
                    </a:lnTo>
                    <a:lnTo>
                      <a:pt x="78" y="39"/>
                    </a:lnTo>
                    <a:lnTo>
                      <a:pt x="80" y="41"/>
                    </a:lnTo>
                    <a:lnTo>
                      <a:pt x="83" y="44"/>
                    </a:lnTo>
                    <a:lnTo>
                      <a:pt x="88" y="44"/>
                    </a:lnTo>
                    <a:lnTo>
                      <a:pt x="89" y="44"/>
                    </a:lnTo>
                    <a:lnTo>
                      <a:pt x="94" y="43"/>
                    </a:lnTo>
                    <a:lnTo>
                      <a:pt x="98" y="46"/>
                    </a:lnTo>
                    <a:lnTo>
                      <a:pt x="99" y="46"/>
                    </a:lnTo>
                    <a:lnTo>
                      <a:pt x="101" y="49"/>
                    </a:lnTo>
                    <a:lnTo>
                      <a:pt x="102" y="53"/>
                    </a:lnTo>
                    <a:lnTo>
                      <a:pt x="111" y="56"/>
                    </a:lnTo>
                    <a:lnTo>
                      <a:pt x="114" y="56"/>
                    </a:lnTo>
                    <a:lnTo>
                      <a:pt x="124" y="59"/>
                    </a:lnTo>
                    <a:lnTo>
                      <a:pt x="129" y="59"/>
                    </a:lnTo>
                    <a:lnTo>
                      <a:pt x="138" y="56"/>
                    </a:lnTo>
                    <a:lnTo>
                      <a:pt x="147" y="54"/>
                    </a:lnTo>
                    <a:lnTo>
                      <a:pt x="156" y="56"/>
                    </a:lnTo>
                    <a:lnTo>
                      <a:pt x="160" y="56"/>
                    </a:lnTo>
                    <a:lnTo>
                      <a:pt x="161" y="53"/>
                    </a:lnTo>
                    <a:lnTo>
                      <a:pt x="158" y="49"/>
                    </a:lnTo>
                    <a:lnTo>
                      <a:pt x="156" y="44"/>
                    </a:lnTo>
                    <a:lnTo>
                      <a:pt x="160" y="43"/>
                    </a:lnTo>
                    <a:lnTo>
                      <a:pt x="168" y="43"/>
                    </a:lnTo>
                    <a:lnTo>
                      <a:pt x="169" y="38"/>
                    </a:lnTo>
                    <a:lnTo>
                      <a:pt x="171" y="35"/>
                    </a:lnTo>
                    <a:lnTo>
                      <a:pt x="174" y="35"/>
                    </a:lnTo>
                    <a:lnTo>
                      <a:pt x="181" y="30"/>
                    </a:lnTo>
                    <a:lnTo>
                      <a:pt x="187" y="28"/>
                    </a:lnTo>
                    <a:lnTo>
                      <a:pt x="194" y="30"/>
                    </a:lnTo>
                    <a:lnTo>
                      <a:pt x="194" y="25"/>
                    </a:lnTo>
                    <a:lnTo>
                      <a:pt x="197" y="25"/>
                    </a:lnTo>
                    <a:lnTo>
                      <a:pt x="200" y="26"/>
                    </a:lnTo>
                    <a:lnTo>
                      <a:pt x="204" y="25"/>
                    </a:lnTo>
                    <a:lnTo>
                      <a:pt x="210" y="30"/>
                    </a:lnTo>
                    <a:lnTo>
                      <a:pt x="215" y="31"/>
                    </a:lnTo>
                    <a:lnTo>
                      <a:pt x="223" y="38"/>
                    </a:lnTo>
                    <a:lnTo>
                      <a:pt x="227" y="38"/>
                    </a:lnTo>
                    <a:lnTo>
                      <a:pt x="228" y="36"/>
                    </a:lnTo>
                    <a:lnTo>
                      <a:pt x="235" y="38"/>
                    </a:lnTo>
                    <a:lnTo>
                      <a:pt x="238" y="39"/>
                    </a:lnTo>
                    <a:lnTo>
                      <a:pt x="240" y="44"/>
                    </a:lnTo>
                    <a:lnTo>
                      <a:pt x="241" y="44"/>
                    </a:lnTo>
                    <a:lnTo>
                      <a:pt x="245" y="44"/>
                    </a:lnTo>
                    <a:lnTo>
                      <a:pt x="251" y="46"/>
                    </a:lnTo>
                    <a:lnTo>
                      <a:pt x="256" y="54"/>
                    </a:lnTo>
                    <a:lnTo>
                      <a:pt x="264" y="56"/>
                    </a:lnTo>
                    <a:lnTo>
                      <a:pt x="267" y="57"/>
                    </a:lnTo>
                    <a:lnTo>
                      <a:pt x="271" y="61"/>
                    </a:lnTo>
                    <a:lnTo>
                      <a:pt x="269" y="64"/>
                    </a:lnTo>
                    <a:lnTo>
                      <a:pt x="271" y="67"/>
                    </a:lnTo>
                    <a:lnTo>
                      <a:pt x="271" y="71"/>
                    </a:lnTo>
                    <a:lnTo>
                      <a:pt x="272" y="74"/>
                    </a:lnTo>
                    <a:lnTo>
                      <a:pt x="272" y="77"/>
                    </a:lnTo>
                    <a:lnTo>
                      <a:pt x="272" y="80"/>
                    </a:lnTo>
                    <a:lnTo>
                      <a:pt x="271" y="82"/>
                    </a:lnTo>
                    <a:lnTo>
                      <a:pt x="272" y="85"/>
                    </a:lnTo>
                    <a:lnTo>
                      <a:pt x="272" y="87"/>
                    </a:lnTo>
                    <a:lnTo>
                      <a:pt x="272" y="88"/>
                    </a:lnTo>
                    <a:lnTo>
                      <a:pt x="267" y="92"/>
                    </a:lnTo>
                    <a:lnTo>
                      <a:pt x="264" y="92"/>
                    </a:lnTo>
                    <a:lnTo>
                      <a:pt x="266" y="93"/>
                    </a:lnTo>
                    <a:lnTo>
                      <a:pt x="269" y="97"/>
                    </a:lnTo>
                    <a:lnTo>
                      <a:pt x="266" y="100"/>
                    </a:lnTo>
                    <a:lnTo>
                      <a:pt x="266" y="102"/>
                    </a:lnTo>
                    <a:lnTo>
                      <a:pt x="267" y="106"/>
                    </a:lnTo>
                    <a:lnTo>
                      <a:pt x="267" y="110"/>
                    </a:lnTo>
                    <a:lnTo>
                      <a:pt x="272" y="111"/>
                    </a:lnTo>
                    <a:lnTo>
                      <a:pt x="274" y="111"/>
                    </a:lnTo>
                    <a:lnTo>
                      <a:pt x="269" y="118"/>
                    </a:lnTo>
                    <a:lnTo>
                      <a:pt x="269" y="121"/>
                    </a:lnTo>
                    <a:lnTo>
                      <a:pt x="272" y="131"/>
                    </a:lnTo>
                    <a:lnTo>
                      <a:pt x="276" y="138"/>
                    </a:lnTo>
                    <a:lnTo>
                      <a:pt x="274" y="141"/>
                    </a:lnTo>
                    <a:lnTo>
                      <a:pt x="276" y="142"/>
                    </a:lnTo>
                    <a:lnTo>
                      <a:pt x="276" y="149"/>
                    </a:lnTo>
                    <a:lnTo>
                      <a:pt x="290" y="149"/>
                    </a:lnTo>
                    <a:lnTo>
                      <a:pt x="292" y="155"/>
                    </a:lnTo>
                    <a:lnTo>
                      <a:pt x="292" y="159"/>
                    </a:lnTo>
                    <a:lnTo>
                      <a:pt x="294" y="165"/>
                    </a:lnTo>
                    <a:lnTo>
                      <a:pt x="292" y="167"/>
                    </a:lnTo>
                    <a:lnTo>
                      <a:pt x="280" y="185"/>
                    </a:lnTo>
                    <a:lnTo>
                      <a:pt x="289" y="195"/>
                    </a:lnTo>
                    <a:lnTo>
                      <a:pt x="290" y="200"/>
                    </a:lnTo>
                    <a:lnTo>
                      <a:pt x="295" y="203"/>
                    </a:lnTo>
                    <a:lnTo>
                      <a:pt x="298" y="206"/>
                    </a:lnTo>
                    <a:lnTo>
                      <a:pt x="300" y="208"/>
                    </a:lnTo>
                    <a:lnTo>
                      <a:pt x="305" y="208"/>
                    </a:lnTo>
                    <a:lnTo>
                      <a:pt x="308" y="209"/>
                    </a:lnTo>
                    <a:lnTo>
                      <a:pt x="308" y="211"/>
                    </a:lnTo>
                    <a:lnTo>
                      <a:pt x="313" y="211"/>
                    </a:lnTo>
                    <a:lnTo>
                      <a:pt x="313" y="216"/>
                    </a:lnTo>
                    <a:lnTo>
                      <a:pt x="315" y="221"/>
                    </a:lnTo>
                    <a:lnTo>
                      <a:pt x="315" y="224"/>
                    </a:lnTo>
                    <a:lnTo>
                      <a:pt x="315" y="227"/>
                    </a:lnTo>
                    <a:lnTo>
                      <a:pt x="320" y="227"/>
                    </a:lnTo>
                    <a:lnTo>
                      <a:pt x="323" y="231"/>
                    </a:lnTo>
                    <a:lnTo>
                      <a:pt x="323" y="237"/>
                    </a:lnTo>
                    <a:lnTo>
                      <a:pt x="321" y="239"/>
                    </a:lnTo>
                    <a:lnTo>
                      <a:pt x="316" y="237"/>
                    </a:lnTo>
                    <a:lnTo>
                      <a:pt x="310" y="239"/>
                    </a:lnTo>
                    <a:lnTo>
                      <a:pt x="308" y="240"/>
                    </a:lnTo>
                    <a:lnTo>
                      <a:pt x="303" y="244"/>
                    </a:lnTo>
                    <a:lnTo>
                      <a:pt x="302" y="247"/>
                    </a:lnTo>
                    <a:lnTo>
                      <a:pt x="302" y="249"/>
                    </a:lnTo>
                    <a:lnTo>
                      <a:pt x="300" y="252"/>
                    </a:lnTo>
                    <a:lnTo>
                      <a:pt x="302" y="257"/>
                    </a:lnTo>
                    <a:lnTo>
                      <a:pt x="300" y="262"/>
                    </a:lnTo>
                    <a:lnTo>
                      <a:pt x="300" y="265"/>
                    </a:lnTo>
                    <a:lnTo>
                      <a:pt x="300" y="265"/>
                    </a:lnTo>
                    <a:lnTo>
                      <a:pt x="298" y="267"/>
                    </a:lnTo>
                    <a:lnTo>
                      <a:pt x="297" y="268"/>
                    </a:lnTo>
                    <a:lnTo>
                      <a:pt x="292" y="265"/>
                    </a:lnTo>
                    <a:lnTo>
                      <a:pt x="287" y="263"/>
                    </a:lnTo>
                    <a:lnTo>
                      <a:pt x="285" y="262"/>
                    </a:lnTo>
                    <a:lnTo>
                      <a:pt x="284" y="262"/>
                    </a:lnTo>
                    <a:lnTo>
                      <a:pt x="284" y="265"/>
                    </a:lnTo>
                    <a:lnTo>
                      <a:pt x="282" y="265"/>
                    </a:lnTo>
                    <a:lnTo>
                      <a:pt x="280" y="263"/>
                    </a:lnTo>
                    <a:lnTo>
                      <a:pt x="279" y="263"/>
                    </a:lnTo>
                    <a:lnTo>
                      <a:pt x="276" y="262"/>
                    </a:lnTo>
                    <a:lnTo>
                      <a:pt x="269" y="262"/>
                    </a:lnTo>
                    <a:lnTo>
                      <a:pt x="264" y="260"/>
                    </a:lnTo>
                    <a:lnTo>
                      <a:pt x="256" y="260"/>
                    </a:lnTo>
                    <a:lnTo>
                      <a:pt x="251" y="257"/>
                    </a:lnTo>
                    <a:lnTo>
                      <a:pt x="249" y="257"/>
                    </a:lnTo>
                    <a:lnTo>
                      <a:pt x="246" y="260"/>
                    </a:lnTo>
                    <a:lnTo>
                      <a:pt x="243" y="257"/>
                    </a:lnTo>
                    <a:lnTo>
                      <a:pt x="240" y="257"/>
                    </a:lnTo>
                    <a:lnTo>
                      <a:pt x="231" y="257"/>
                    </a:lnTo>
                    <a:lnTo>
                      <a:pt x="231" y="255"/>
                    </a:lnTo>
                    <a:lnTo>
                      <a:pt x="228" y="254"/>
                    </a:lnTo>
                    <a:lnTo>
                      <a:pt x="228" y="250"/>
                    </a:lnTo>
                    <a:lnTo>
                      <a:pt x="225" y="244"/>
                    </a:lnTo>
                    <a:lnTo>
                      <a:pt x="223" y="239"/>
                    </a:lnTo>
                    <a:lnTo>
                      <a:pt x="222" y="234"/>
                    </a:lnTo>
                    <a:lnTo>
                      <a:pt x="220" y="232"/>
                    </a:lnTo>
                    <a:lnTo>
                      <a:pt x="218" y="232"/>
                    </a:lnTo>
                    <a:lnTo>
                      <a:pt x="218" y="231"/>
                    </a:lnTo>
                    <a:lnTo>
                      <a:pt x="214" y="231"/>
                    </a:lnTo>
                    <a:lnTo>
                      <a:pt x="210" y="231"/>
                    </a:lnTo>
                    <a:lnTo>
                      <a:pt x="207" y="234"/>
                    </a:lnTo>
                    <a:lnTo>
                      <a:pt x="204" y="234"/>
                    </a:lnTo>
                    <a:lnTo>
                      <a:pt x="202" y="234"/>
                    </a:lnTo>
                    <a:lnTo>
                      <a:pt x="202" y="236"/>
                    </a:lnTo>
                    <a:lnTo>
                      <a:pt x="196" y="239"/>
                    </a:lnTo>
                    <a:lnTo>
                      <a:pt x="191" y="244"/>
                    </a:lnTo>
                    <a:lnTo>
                      <a:pt x="184" y="239"/>
                    </a:lnTo>
                    <a:lnTo>
                      <a:pt x="179" y="239"/>
                    </a:lnTo>
                    <a:lnTo>
                      <a:pt x="176" y="239"/>
                    </a:lnTo>
                    <a:lnTo>
                      <a:pt x="174" y="240"/>
                    </a:lnTo>
                    <a:lnTo>
                      <a:pt x="168" y="234"/>
                    </a:lnTo>
                    <a:lnTo>
                      <a:pt x="166" y="234"/>
                    </a:lnTo>
                    <a:lnTo>
                      <a:pt x="163" y="232"/>
                    </a:lnTo>
                    <a:lnTo>
                      <a:pt x="160" y="232"/>
                    </a:lnTo>
                    <a:lnTo>
                      <a:pt x="155" y="227"/>
                    </a:lnTo>
                    <a:lnTo>
                      <a:pt x="156" y="226"/>
                    </a:lnTo>
                    <a:lnTo>
                      <a:pt x="156" y="224"/>
                    </a:lnTo>
                    <a:lnTo>
                      <a:pt x="153" y="224"/>
                    </a:lnTo>
                    <a:lnTo>
                      <a:pt x="153" y="222"/>
                    </a:lnTo>
                    <a:lnTo>
                      <a:pt x="148" y="222"/>
                    </a:lnTo>
                    <a:lnTo>
                      <a:pt x="147" y="221"/>
                    </a:lnTo>
                    <a:lnTo>
                      <a:pt x="142" y="219"/>
                    </a:lnTo>
                    <a:lnTo>
                      <a:pt x="137" y="219"/>
                    </a:lnTo>
                    <a:lnTo>
                      <a:pt x="133" y="218"/>
                    </a:lnTo>
                    <a:lnTo>
                      <a:pt x="129" y="206"/>
                    </a:lnTo>
                    <a:lnTo>
                      <a:pt x="127" y="204"/>
                    </a:lnTo>
                    <a:lnTo>
                      <a:pt x="125" y="204"/>
                    </a:lnTo>
                    <a:lnTo>
                      <a:pt x="124" y="203"/>
                    </a:lnTo>
                    <a:lnTo>
                      <a:pt x="124" y="201"/>
                    </a:lnTo>
                    <a:lnTo>
                      <a:pt x="125" y="201"/>
                    </a:lnTo>
                    <a:lnTo>
                      <a:pt x="125" y="201"/>
                    </a:lnTo>
                    <a:lnTo>
                      <a:pt x="124" y="200"/>
                    </a:lnTo>
                    <a:lnTo>
                      <a:pt x="122" y="200"/>
                    </a:lnTo>
                    <a:lnTo>
                      <a:pt x="120" y="198"/>
                    </a:lnTo>
                    <a:lnTo>
                      <a:pt x="120" y="193"/>
                    </a:lnTo>
                    <a:lnTo>
                      <a:pt x="114" y="187"/>
                    </a:lnTo>
                    <a:lnTo>
                      <a:pt x="114" y="183"/>
                    </a:lnTo>
                    <a:lnTo>
                      <a:pt x="111" y="178"/>
                    </a:lnTo>
                    <a:lnTo>
                      <a:pt x="109" y="178"/>
                    </a:lnTo>
                    <a:lnTo>
                      <a:pt x="104" y="182"/>
                    </a:lnTo>
                    <a:lnTo>
                      <a:pt x="102" y="182"/>
                    </a:lnTo>
                    <a:lnTo>
                      <a:pt x="101" y="178"/>
                    </a:lnTo>
                    <a:lnTo>
                      <a:pt x="99" y="180"/>
                    </a:lnTo>
                    <a:lnTo>
                      <a:pt x="96" y="178"/>
                    </a:lnTo>
                    <a:lnTo>
                      <a:pt x="96" y="175"/>
                    </a:lnTo>
                    <a:lnTo>
                      <a:pt x="96" y="173"/>
                    </a:lnTo>
                    <a:lnTo>
                      <a:pt x="96" y="175"/>
                    </a:lnTo>
                    <a:lnTo>
                      <a:pt x="94" y="175"/>
                    </a:lnTo>
                    <a:lnTo>
                      <a:pt x="91" y="175"/>
                    </a:lnTo>
                    <a:lnTo>
                      <a:pt x="94" y="177"/>
                    </a:lnTo>
                    <a:lnTo>
                      <a:pt x="94" y="180"/>
                    </a:lnTo>
                    <a:lnTo>
                      <a:pt x="93" y="182"/>
                    </a:lnTo>
                    <a:lnTo>
                      <a:pt x="91" y="182"/>
                    </a:lnTo>
                    <a:lnTo>
                      <a:pt x="88" y="178"/>
                    </a:lnTo>
                    <a:lnTo>
                      <a:pt x="88" y="177"/>
                    </a:lnTo>
                    <a:lnTo>
                      <a:pt x="86" y="178"/>
                    </a:lnTo>
                    <a:lnTo>
                      <a:pt x="86" y="177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8" y="164"/>
                    </a:lnTo>
                    <a:lnTo>
                      <a:pt x="73" y="164"/>
                    </a:lnTo>
                    <a:lnTo>
                      <a:pt x="71" y="159"/>
                    </a:lnTo>
                    <a:lnTo>
                      <a:pt x="73" y="154"/>
                    </a:lnTo>
                    <a:lnTo>
                      <a:pt x="76" y="152"/>
                    </a:lnTo>
                    <a:lnTo>
                      <a:pt x="73" y="144"/>
                    </a:lnTo>
                    <a:lnTo>
                      <a:pt x="70" y="142"/>
                    </a:lnTo>
                    <a:lnTo>
                      <a:pt x="67" y="138"/>
                    </a:lnTo>
                    <a:lnTo>
                      <a:pt x="65" y="136"/>
                    </a:lnTo>
                    <a:lnTo>
                      <a:pt x="63" y="136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7" y="129"/>
                    </a:lnTo>
                    <a:lnTo>
                      <a:pt x="44" y="128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5" y="121"/>
                    </a:lnTo>
                    <a:lnTo>
                      <a:pt x="40" y="118"/>
                    </a:lnTo>
                    <a:lnTo>
                      <a:pt x="40" y="115"/>
                    </a:lnTo>
                    <a:lnTo>
                      <a:pt x="37" y="115"/>
                    </a:lnTo>
                    <a:lnTo>
                      <a:pt x="36" y="113"/>
                    </a:lnTo>
                    <a:lnTo>
                      <a:pt x="32" y="111"/>
                    </a:lnTo>
                    <a:lnTo>
                      <a:pt x="32" y="110"/>
                    </a:lnTo>
                    <a:lnTo>
                      <a:pt x="34" y="108"/>
                    </a:lnTo>
                    <a:lnTo>
                      <a:pt x="34" y="106"/>
                    </a:lnTo>
                    <a:lnTo>
                      <a:pt x="34" y="105"/>
                    </a:lnTo>
                    <a:lnTo>
                      <a:pt x="34" y="98"/>
                    </a:lnTo>
                    <a:lnTo>
                      <a:pt x="36" y="97"/>
                    </a:lnTo>
                    <a:lnTo>
                      <a:pt x="37" y="92"/>
                    </a:lnTo>
                    <a:lnTo>
                      <a:pt x="39" y="92"/>
                    </a:lnTo>
                    <a:lnTo>
                      <a:pt x="40" y="92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9" y="80"/>
                    </a:lnTo>
                    <a:lnTo>
                      <a:pt x="40" y="80"/>
                    </a:lnTo>
                    <a:lnTo>
                      <a:pt x="44" y="79"/>
                    </a:lnTo>
                    <a:lnTo>
                      <a:pt x="45" y="79"/>
                    </a:lnTo>
                    <a:lnTo>
                      <a:pt x="44" y="77"/>
                    </a:lnTo>
                    <a:lnTo>
                      <a:pt x="42" y="75"/>
                    </a:lnTo>
                    <a:lnTo>
                      <a:pt x="37" y="77"/>
                    </a:lnTo>
                    <a:lnTo>
                      <a:pt x="36" y="75"/>
                    </a:lnTo>
                    <a:lnTo>
                      <a:pt x="31" y="72"/>
                    </a:lnTo>
                    <a:lnTo>
                      <a:pt x="27" y="72"/>
                    </a:lnTo>
                    <a:lnTo>
                      <a:pt x="26" y="71"/>
                    </a:lnTo>
                    <a:lnTo>
                      <a:pt x="24" y="67"/>
                    </a:lnTo>
                    <a:lnTo>
                      <a:pt x="22" y="64"/>
                    </a:lnTo>
                    <a:lnTo>
                      <a:pt x="19" y="64"/>
                    </a:lnTo>
                    <a:lnTo>
                      <a:pt x="18" y="61"/>
                    </a:lnTo>
                    <a:lnTo>
                      <a:pt x="18" y="57"/>
                    </a:lnTo>
                    <a:lnTo>
                      <a:pt x="16" y="54"/>
                    </a:lnTo>
                    <a:lnTo>
                      <a:pt x="14" y="54"/>
                    </a:lnTo>
                    <a:lnTo>
                      <a:pt x="13" y="54"/>
                    </a:lnTo>
                    <a:lnTo>
                      <a:pt x="14" y="51"/>
                    </a:lnTo>
                    <a:lnTo>
                      <a:pt x="13" y="48"/>
                    </a:lnTo>
                    <a:lnTo>
                      <a:pt x="9" y="41"/>
                    </a:lnTo>
                    <a:lnTo>
                      <a:pt x="4" y="39"/>
                    </a:lnTo>
                    <a:lnTo>
                      <a:pt x="6" y="38"/>
                    </a:lnTo>
                    <a:lnTo>
                      <a:pt x="4" y="33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3" y="25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4" y="7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16" name="Freeform 229">
                <a:extLst>
                  <a:ext uri="{FF2B5EF4-FFF2-40B4-BE49-F238E27FC236}">
                    <a16:creationId xmlns:a16="http://schemas.microsoft.com/office/drawing/2014/main" xmlns="" id="{DD30A150-DA72-411B-87FB-140CB55FE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1338"/>
                <a:ext cx="57" cy="49"/>
              </a:xfrm>
              <a:custGeom>
                <a:avLst/>
                <a:gdLst>
                  <a:gd name="T0" fmla="*/ 0 w 57"/>
                  <a:gd name="T1" fmla="*/ 3 h 49"/>
                  <a:gd name="T2" fmla="*/ 5 w 57"/>
                  <a:gd name="T3" fmla="*/ 2 h 49"/>
                  <a:gd name="T4" fmla="*/ 13 w 57"/>
                  <a:gd name="T5" fmla="*/ 0 h 49"/>
                  <a:gd name="T6" fmla="*/ 15 w 57"/>
                  <a:gd name="T7" fmla="*/ 0 h 49"/>
                  <a:gd name="T8" fmla="*/ 23 w 57"/>
                  <a:gd name="T9" fmla="*/ 0 h 49"/>
                  <a:gd name="T10" fmla="*/ 28 w 57"/>
                  <a:gd name="T11" fmla="*/ 3 h 49"/>
                  <a:gd name="T12" fmla="*/ 33 w 57"/>
                  <a:gd name="T13" fmla="*/ 3 h 49"/>
                  <a:gd name="T14" fmla="*/ 36 w 57"/>
                  <a:gd name="T15" fmla="*/ 7 h 49"/>
                  <a:gd name="T16" fmla="*/ 36 w 57"/>
                  <a:gd name="T17" fmla="*/ 12 h 49"/>
                  <a:gd name="T18" fmla="*/ 36 w 57"/>
                  <a:gd name="T19" fmla="*/ 15 h 49"/>
                  <a:gd name="T20" fmla="*/ 43 w 57"/>
                  <a:gd name="T21" fmla="*/ 20 h 49"/>
                  <a:gd name="T22" fmla="*/ 43 w 57"/>
                  <a:gd name="T23" fmla="*/ 23 h 49"/>
                  <a:gd name="T24" fmla="*/ 39 w 57"/>
                  <a:gd name="T25" fmla="*/ 25 h 49"/>
                  <a:gd name="T26" fmla="*/ 43 w 57"/>
                  <a:gd name="T27" fmla="*/ 30 h 49"/>
                  <a:gd name="T28" fmla="*/ 49 w 57"/>
                  <a:gd name="T29" fmla="*/ 35 h 49"/>
                  <a:gd name="T30" fmla="*/ 54 w 57"/>
                  <a:gd name="T31" fmla="*/ 35 h 49"/>
                  <a:gd name="T32" fmla="*/ 57 w 57"/>
                  <a:gd name="T33" fmla="*/ 38 h 49"/>
                  <a:gd name="T34" fmla="*/ 54 w 57"/>
                  <a:gd name="T35" fmla="*/ 39 h 49"/>
                  <a:gd name="T36" fmla="*/ 56 w 57"/>
                  <a:gd name="T37" fmla="*/ 43 h 49"/>
                  <a:gd name="T38" fmla="*/ 54 w 57"/>
                  <a:gd name="T39" fmla="*/ 44 h 49"/>
                  <a:gd name="T40" fmla="*/ 54 w 57"/>
                  <a:gd name="T41" fmla="*/ 48 h 49"/>
                  <a:gd name="T42" fmla="*/ 51 w 57"/>
                  <a:gd name="T43" fmla="*/ 49 h 49"/>
                  <a:gd name="T44" fmla="*/ 44 w 57"/>
                  <a:gd name="T45" fmla="*/ 38 h 49"/>
                  <a:gd name="T46" fmla="*/ 39 w 57"/>
                  <a:gd name="T47" fmla="*/ 36 h 49"/>
                  <a:gd name="T48" fmla="*/ 38 w 57"/>
                  <a:gd name="T49" fmla="*/ 31 h 49"/>
                  <a:gd name="T50" fmla="*/ 35 w 57"/>
                  <a:gd name="T51" fmla="*/ 31 h 49"/>
                  <a:gd name="T52" fmla="*/ 33 w 57"/>
                  <a:gd name="T53" fmla="*/ 33 h 49"/>
                  <a:gd name="T54" fmla="*/ 30 w 57"/>
                  <a:gd name="T55" fmla="*/ 30 h 49"/>
                  <a:gd name="T56" fmla="*/ 26 w 57"/>
                  <a:gd name="T57" fmla="*/ 31 h 49"/>
                  <a:gd name="T58" fmla="*/ 23 w 57"/>
                  <a:gd name="T59" fmla="*/ 31 h 49"/>
                  <a:gd name="T60" fmla="*/ 23 w 57"/>
                  <a:gd name="T61" fmla="*/ 28 h 49"/>
                  <a:gd name="T62" fmla="*/ 20 w 57"/>
                  <a:gd name="T63" fmla="*/ 26 h 49"/>
                  <a:gd name="T64" fmla="*/ 17 w 57"/>
                  <a:gd name="T65" fmla="*/ 26 h 49"/>
                  <a:gd name="T66" fmla="*/ 12 w 57"/>
                  <a:gd name="T67" fmla="*/ 26 h 49"/>
                  <a:gd name="T68" fmla="*/ 7 w 57"/>
                  <a:gd name="T69" fmla="*/ 23 h 49"/>
                  <a:gd name="T70" fmla="*/ 7 w 57"/>
                  <a:gd name="T71" fmla="*/ 17 h 49"/>
                  <a:gd name="T72" fmla="*/ 8 w 57"/>
                  <a:gd name="T73" fmla="*/ 12 h 49"/>
                  <a:gd name="T74" fmla="*/ 7 w 57"/>
                  <a:gd name="T75" fmla="*/ 8 h 49"/>
                  <a:gd name="T76" fmla="*/ 4 w 57"/>
                  <a:gd name="T77" fmla="*/ 8 h 49"/>
                  <a:gd name="T78" fmla="*/ 4 w 57"/>
                  <a:gd name="T79" fmla="*/ 5 h 49"/>
                  <a:gd name="T80" fmla="*/ 0 w 57"/>
                  <a:gd name="T81" fmla="*/ 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7" h="49">
                    <a:moveTo>
                      <a:pt x="0" y="3"/>
                    </a:moveTo>
                    <a:lnTo>
                      <a:pt x="5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23" y="0"/>
                    </a:lnTo>
                    <a:lnTo>
                      <a:pt x="28" y="3"/>
                    </a:lnTo>
                    <a:lnTo>
                      <a:pt x="33" y="3"/>
                    </a:lnTo>
                    <a:lnTo>
                      <a:pt x="36" y="7"/>
                    </a:lnTo>
                    <a:lnTo>
                      <a:pt x="36" y="12"/>
                    </a:lnTo>
                    <a:lnTo>
                      <a:pt x="36" y="15"/>
                    </a:lnTo>
                    <a:lnTo>
                      <a:pt x="43" y="20"/>
                    </a:lnTo>
                    <a:lnTo>
                      <a:pt x="43" y="23"/>
                    </a:lnTo>
                    <a:lnTo>
                      <a:pt x="39" y="25"/>
                    </a:lnTo>
                    <a:lnTo>
                      <a:pt x="43" y="30"/>
                    </a:lnTo>
                    <a:lnTo>
                      <a:pt x="49" y="35"/>
                    </a:lnTo>
                    <a:lnTo>
                      <a:pt x="54" y="35"/>
                    </a:lnTo>
                    <a:lnTo>
                      <a:pt x="57" y="38"/>
                    </a:lnTo>
                    <a:lnTo>
                      <a:pt x="54" y="39"/>
                    </a:lnTo>
                    <a:lnTo>
                      <a:pt x="56" y="43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1" y="49"/>
                    </a:lnTo>
                    <a:lnTo>
                      <a:pt x="44" y="38"/>
                    </a:lnTo>
                    <a:lnTo>
                      <a:pt x="39" y="36"/>
                    </a:lnTo>
                    <a:lnTo>
                      <a:pt x="38" y="31"/>
                    </a:lnTo>
                    <a:lnTo>
                      <a:pt x="35" y="31"/>
                    </a:lnTo>
                    <a:lnTo>
                      <a:pt x="33" y="33"/>
                    </a:lnTo>
                    <a:lnTo>
                      <a:pt x="30" y="30"/>
                    </a:lnTo>
                    <a:lnTo>
                      <a:pt x="26" y="31"/>
                    </a:lnTo>
                    <a:lnTo>
                      <a:pt x="23" y="31"/>
                    </a:lnTo>
                    <a:lnTo>
                      <a:pt x="23" y="28"/>
                    </a:lnTo>
                    <a:lnTo>
                      <a:pt x="20" y="26"/>
                    </a:lnTo>
                    <a:lnTo>
                      <a:pt x="17" y="26"/>
                    </a:lnTo>
                    <a:lnTo>
                      <a:pt x="12" y="26"/>
                    </a:lnTo>
                    <a:lnTo>
                      <a:pt x="7" y="23"/>
                    </a:lnTo>
                    <a:lnTo>
                      <a:pt x="7" y="17"/>
                    </a:lnTo>
                    <a:lnTo>
                      <a:pt x="8" y="12"/>
                    </a:lnTo>
                    <a:lnTo>
                      <a:pt x="7" y="8"/>
                    </a:lnTo>
                    <a:lnTo>
                      <a:pt x="4" y="8"/>
                    </a:lnTo>
                    <a:lnTo>
                      <a:pt x="4" y="5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17" name="Freeform 230">
                <a:extLst>
                  <a:ext uri="{FF2B5EF4-FFF2-40B4-BE49-F238E27FC236}">
                    <a16:creationId xmlns:a16="http://schemas.microsoft.com/office/drawing/2014/main" xmlns="" id="{578F6889-A402-424E-A151-B884F5E162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41" y="1325"/>
                <a:ext cx="294" cy="121"/>
              </a:xfrm>
              <a:custGeom>
                <a:avLst/>
                <a:gdLst>
                  <a:gd name="T0" fmla="*/ 15 w 294"/>
                  <a:gd name="T1" fmla="*/ 13 h 121"/>
                  <a:gd name="T2" fmla="*/ 23 w 294"/>
                  <a:gd name="T3" fmla="*/ 2 h 121"/>
                  <a:gd name="T4" fmla="*/ 43 w 294"/>
                  <a:gd name="T5" fmla="*/ 15 h 121"/>
                  <a:gd name="T6" fmla="*/ 39 w 294"/>
                  <a:gd name="T7" fmla="*/ 23 h 121"/>
                  <a:gd name="T8" fmla="*/ 17 w 294"/>
                  <a:gd name="T9" fmla="*/ 34 h 121"/>
                  <a:gd name="T10" fmla="*/ 13 w 294"/>
                  <a:gd name="T11" fmla="*/ 31 h 121"/>
                  <a:gd name="T12" fmla="*/ 5 w 294"/>
                  <a:gd name="T13" fmla="*/ 28 h 121"/>
                  <a:gd name="T14" fmla="*/ 224 w 294"/>
                  <a:gd name="T15" fmla="*/ 20 h 121"/>
                  <a:gd name="T16" fmla="*/ 206 w 294"/>
                  <a:gd name="T17" fmla="*/ 18 h 121"/>
                  <a:gd name="T18" fmla="*/ 180 w 294"/>
                  <a:gd name="T19" fmla="*/ 21 h 121"/>
                  <a:gd name="T20" fmla="*/ 159 w 294"/>
                  <a:gd name="T21" fmla="*/ 15 h 121"/>
                  <a:gd name="T22" fmla="*/ 146 w 294"/>
                  <a:gd name="T23" fmla="*/ 8 h 121"/>
                  <a:gd name="T24" fmla="*/ 129 w 294"/>
                  <a:gd name="T25" fmla="*/ 3 h 121"/>
                  <a:gd name="T26" fmla="*/ 102 w 294"/>
                  <a:gd name="T27" fmla="*/ 7 h 121"/>
                  <a:gd name="T28" fmla="*/ 85 w 294"/>
                  <a:gd name="T29" fmla="*/ 18 h 121"/>
                  <a:gd name="T30" fmla="*/ 66 w 294"/>
                  <a:gd name="T31" fmla="*/ 20 h 121"/>
                  <a:gd name="T32" fmla="*/ 53 w 294"/>
                  <a:gd name="T33" fmla="*/ 28 h 121"/>
                  <a:gd name="T34" fmla="*/ 46 w 294"/>
                  <a:gd name="T35" fmla="*/ 34 h 121"/>
                  <a:gd name="T36" fmla="*/ 39 w 294"/>
                  <a:gd name="T37" fmla="*/ 36 h 121"/>
                  <a:gd name="T38" fmla="*/ 22 w 294"/>
                  <a:gd name="T39" fmla="*/ 36 h 121"/>
                  <a:gd name="T40" fmla="*/ 10 w 294"/>
                  <a:gd name="T41" fmla="*/ 52 h 121"/>
                  <a:gd name="T42" fmla="*/ 22 w 294"/>
                  <a:gd name="T43" fmla="*/ 54 h 121"/>
                  <a:gd name="T44" fmla="*/ 22 w 294"/>
                  <a:gd name="T45" fmla="*/ 67 h 121"/>
                  <a:gd name="T46" fmla="*/ 22 w 294"/>
                  <a:gd name="T47" fmla="*/ 72 h 121"/>
                  <a:gd name="T48" fmla="*/ 13 w 294"/>
                  <a:gd name="T49" fmla="*/ 74 h 121"/>
                  <a:gd name="T50" fmla="*/ 20 w 294"/>
                  <a:gd name="T51" fmla="*/ 83 h 121"/>
                  <a:gd name="T52" fmla="*/ 26 w 294"/>
                  <a:gd name="T53" fmla="*/ 97 h 121"/>
                  <a:gd name="T54" fmla="*/ 30 w 294"/>
                  <a:gd name="T55" fmla="*/ 105 h 121"/>
                  <a:gd name="T56" fmla="*/ 31 w 294"/>
                  <a:gd name="T57" fmla="*/ 108 h 121"/>
                  <a:gd name="T58" fmla="*/ 39 w 294"/>
                  <a:gd name="T59" fmla="*/ 111 h 121"/>
                  <a:gd name="T60" fmla="*/ 49 w 294"/>
                  <a:gd name="T61" fmla="*/ 108 h 121"/>
                  <a:gd name="T62" fmla="*/ 57 w 294"/>
                  <a:gd name="T63" fmla="*/ 113 h 121"/>
                  <a:gd name="T64" fmla="*/ 71 w 294"/>
                  <a:gd name="T65" fmla="*/ 116 h 121"/>
                  <a:gd name="T66" fmla="*/ 80 w 294"/>
                  <a:gd name="T67" fmla="*/ 110 h 121"/>
                  <a:gd name="T68" fmla="*/ 108 w 294"/>
                  <a:gd name="T69" fmla="*/ 118 h 121"/>
                  <a:gd name="T70" fmla="*/ 136 w 294"/>
                  <a:gd name="T71" fmla="*/ 116 h 121"/>
                  <a:gd name="T72" fmla="*/ 160 w 294"/>
                  <a:gd name="T73" fmla="*/ 108 h 121"/>
                  <a:gd name="T74" fmla="*/ 160 w 294"/>
                  <a:gd name="T75" fmla="*/ 113 h 121"/>
                  <a:gd name="T76" fmla="*/ 173 w 294"/>
                  <a:gd name="T77" fmla="*/ 119 h 121"/>
                  <a:gd name="T78" fmla="*/ 183 w 294"/>
                  <a:gd name="T79" fmla="*/ 108 h 121"/>
                  <a:gd name="T80" fmla="*/ 208 w 294"/>
                  <a:gd name="T81" fmla="*/ 105 h 121"/>
                  <a:gd name="T82" fmla="*/ 232 w 294"/>
                  <a:gd name="T83" fmla="*/ 98 h 121"/>
                  <a:gd name="T84" fmla="*/ 260 w 294"/>
                  <a:gd name="T85" fmla="*/ 98 h 121"/>
                  <a:gd name="T86" fmla="*/ 284 w 294"/>
                  <a:gd name="T87" fmla="*/ 93 h 121"/>
                  <a:gd name="T88" fmla="*/ 293 w 294"/>
                  <a:gd name="T89" fmla="*/ 92 h 121"/>
                  <a:gd name="T90" fmla="*/ 286 w 294"/>
                  <a:gd name="T91" fmla="*/ 70 h 121"/>
                  <a:gd name="T92" fmla="*/ 280 w 294"/>
                  <a:gd name="T93" fmla="*/ 51 h 121"/>
                  <a:gd name="T94" fmla="*/ 280 w 294"/>
                  <a:gd name="T95" fmla="*/ 39 h 121"/>
                  <a:gd name="T96" fmla="*/ 267 w 294"/>
                  <a:gd name="T97" fmla="*/ 21 h 121"/>
                  <a:gd name="T98" fmla="*/ 249 w 294"/>
                  <a:gd name="T99" fmla="*/ 10 h 121"/>
                  <a:gd name="T100" fmla="*/ 237 w 294"/>
                  <a:gd name="T101" fmla="*/ 7 h 121"/>
                  <a:gd name="T102" fmla="*/ 36 w 294"/>
                  <a:gd name="T103" fmla="*/ 113 h 121"/>
                  <a:gd name="T104" fmla="*/ 7 w 294"/>
                  <a:gd name="T10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94" h="121">
                    <a:moveTo>
                      <a:pt x="5" y="28"/>
                    </a:moveTo>
                    <a:lnTo>
                      <a:pt x="8" y="26"/>
                    </a:lnTo>
                    <a:lnTo>
                      <a:pt x="10" y="23"/>
                    </a:lnTo>
                    <a:lnTo>
                      <a:pt x="10" y="20"/>
                    </a:lnTo>
                    <a:lnTo>
                      <a:pt x="13" y="16"/>
                    </a:lnTo>
                    <a:lnTo>
                      <a:pt x="15" y="13"/>
                    </a:lnTo>
                    <a:lnTo>
                      <a:pt x="12" y="12"/>
                    </a:lnTo>
                    <a:lnTo>
                      <a:pt x="12" y="7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18" y="2"/>
                    </a:lnTo>
                    <a:lnTo>
                      <a:pt x="23" y="2"/>
                    </a:lnTo>
                    <a:lnTo>
                      <a:pt x="28" y="5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10"/>
                    </a:lnTo>
                    <a:lnTo>
                      <a:pt x="38" y="15"/>
                    </a:lnTo>
                    <a:lnTo>
                      <a:pt x="43" y="15"/>
                    </a:lnTo>
                    <a:lnTo>
                      <a:pt x="46" y="18"/>
                    </a:lnTo>
                    <a:lnTo>
                      <a:pt x="49" y="20"/>
                    </a:lnTo>
                    <a:lnTo>
                      <a:pt x="49" y="23"/>
                    </a:lnTo>
                    <a:lnTo>
                      <a:pt x="46" y="25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6" y="23"/>
                    </a:lnTo>
                    <a:lnTo>
                      <a:pt x="35" y="25"/>
                    </a:lnTo>
                    <a:lnTo>
                      <a:pt x="30" y="25"/>
                    </a:lnTo>
                    <a:lnTo>
                      <a:pt x="26" y="26"/>
                    </a:lnTo>
                    <a:lnTo>
                      <a:pt x="25" y="31"/>
                    </a:lnTo>
                    <a:lnTo>
                      <a:pt x="17" y="34"/>
                    </a:lnTo>
                    <a:lnTo>
                      <a:pt x="10" y="41"/>
                    </a:lnTo>
                    <a:lnTo>
                      <a:pt x="10" y="38"/>
                    </a:lnTo>
                    <a:lnTo>
                      <a:pt x="12" y="33"/>
                    </a:lnTo>
                    <a:lnTo>
                      <a:pt x="13" y="33"/>
                    </a:lnTo>
                    <a:lnTo>
                      <a:pt x="17" y="31"/>
                    </a:lnTo>
                    <a:lnTo>
                      <a:pt x="13" y="31"/>
                    </a:lnTo>
                    <a:lnTo>
                      <a:pt x="12" y="31"/>
                    </a:lnTo>
                    <a:lnTo>
                      <a:pt x="10" y="31"/>
                    </a:lnTo>
                    <a:lnTo>
                      <a:pt x="7" y="30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close/>
                    <a:moveTo>
                      <a:pt x="237" y="7"/>
                    </a:moveTo>
                    <a:lnTo>
                      <a:pt x="237" y="8"/>
                    </a:lnTo>
                    <a:lnTo>
                      <a:pt x="234" y="13"/>
                    </a:lnTo>
                    <a:lnTo>
                      <a:pt x="231" y="15"/>
                    </a:lnTo>
                    <a:lnTo>
                      <a:pt x="226" y="18"/>
                    </a:lnTo>
                    <a:lnTo>
                      <a:pt x="224" y="20"/>
                    </a:lnTo>
                    <a:lnTo>
                      <a:pt x="219" y="21"/>
                    </a:lnTo>
                    <a:lnTo>
                      <a:pt x="218" y="21"/>
                    </a:lnTo>
                    <a:lnTo>
                      <a:pt x="211" y="21"/>
                    </a:lnTo>
                    <a:lnTo>
                      <a:pt x="209" y="20"/>
                    </a:lnTo>
                    <a:lnTo>
                      <a:pt x="208" y="20"/>
                    </a:lnTo>
                    <a:lnTo>
                      <a:pt x="206" y="18"/>
                    </a:lnTo>
                    <a:lnTo>
                      <a:pt x="203" y="20"/>
                    </a:lnTo>
                    <a:lnTo>
                      <a:pt x="196" y="20"/>
                    </a:lnTo>
                    <a:lnTo>
                      <a:pt x="190" y="23"/>
                    </a:lnTo>
                    <a:lnTo>
                      <a:pt x="185" y="21"/>
                    </a:lnTo>
                    <a:lnTo>
                      <a:pt x="182" y="20"/>
                    </a:lnTo>
                    <a:lnTo>
                      <a:pt x="180" y="21"/>
                    </a:lnTo>
                    <a:lnTo>
                      <a:pt x="173" y="18"/>
                    </a:lnTo>
                    <a:lnTo>
                      <a:pt x="170" y="16"/>
                    </a:lnTo>
                    <a:lnTo>
                      <a:pt x="165" y="13"/>
                    </a:lnTo>
                    <a:lnTo>
                      <a:pt x="164" y="13"/>
                    </a:lnTo>
                    <a:lnTo>
                      <a:pt x="162" y="15"/>
                    </a:lnTo>
                    <a:lnTo>
                      <a:pt x="159" y="15"/>
                    </a:lnTo>
                    <a:lnTo>
                      <a:pt x="157" y="12"/>
                    </a:lnTo>
                    <a:lnTo>
                      <a:pt x="155" y="7"/>
                    </a:lnTo>
                    <a:lnTo>
                      <a:pt x="154" y="5"/>
                    </a:lnTo>
                    <a:lnTo>
                      <a:pt x="151" y="5"/>
                    </a:lnTo>
                    <a:lnTo>
                      <a:pt x="147" y="10"/>
                    </a:lnTo>
                    <a:lnTo>
                      <a:pt x="146" y="8"/>
                    </a:lnTo>
                    <a:lnTo>
                      <a:pt x="144" y="10"/>
                    </a:lnTo>
                    <a:lnTo>
                      <a:pt x="139" y="3"/>
                    </a:lnTo>
                    <a:lnTo>
                      <a:pt x="139" y="2"/>
                    </a:lnTo>
                    <a:lnTo>
                      <a:pt x="137" y="0"/>
                    </a:lnTo>
                    <a:lnTo>
                      <a:pt x="134" y="3"/>
                    </a:lnTo>
                    <a:lnTo>
                      <a:pt x="129" y="3"/>
                    </a:lnTo>
                    <a:lnTo>
                      <a:pt x="126" y="2"/>
                    </a:lnTo>
                    <a:lnTo>
                      <a:pt x="123" y="3"/>
                    </a:lnTo>
                    <a:lnTo>
                      <a:pt x="115" y="2"/>
                    </a:lnTo>
                    <a:lnTo>
                      <a:pt x="111" y="3"/>
                    </a:lnTo>
                    <a:lnTo>
                      <a:pt x="105" y="7"/>
                    </a:lnTo>
                    <a:lnTo>
                      <a:pt x="102" y="7"/>
                    </a:lnTo>
                    <a:lnTo>
                      <a:pt x="95" y="8"/>
                    </a:lnTo>
                    <a:lnTo>
                      <a:pt x="93" y="10"/>
                    </a:lnTo>
                    <a:lnTo>
                      <a:pt x="90" y="12"/>
                    </a:lnTo>
                    <a:lnTo>
                      <a:pt x="88" y="13"/>
                    </a:lnTo>
                    <a:lnTo>
                      <a:pt x="87" y="15"/>
                    </a:lnTo>
                    <a:lnTo>
                      <a:pt x="85" y="18"/>
                    </a:lnTo>
                    <a:lnTo>
                      <a:pt x="84" y="20"/>
                    </a:lnTo>
                    <a:lnTo>
                      <a:pt x="84" y="21"/>
                    </a:lnTo>
                    <a:lnTo>
                      <a:pt x="79" y="21"/>
                    </a:lnTo>
                    <a:lnTo>
                      <a:pt x="71" y="18"/>
                    </a:lnTo>
                    <a:lnTo>
                      <a:pt x="67" y="18"/>
                    </a:lnTo>
                    <a:lnTo>
                      <a:pt x="66" y="20"/>
                    </a:lnTo>
                    <a:lnTo>
                      <a:pt x="62" y="20"/>
                    </a:lnTo>
                    <a:lnTo>
                      <a:pt x="57" y="20"/>
                    </a:lnTo>
                    <a:lnTo>
                      <a:pt x="54" y="20"/>
                    </a:lnTo>
                    <a:lnTo>
                      <a:pt x="51" y="21"/>
                    </a:lnTo>
                    <a:lnTo>
                      <a:pt x="49" y="23"/>
                    </a:lnTo>
                    <a:lnTo>
                      <a:pt x="53" y="28"/>
                    </a:lnTo>
                    <a:lnTo>
                      <a:pt x="57" y="28"/>
                    </a:lnTo>
                    <a:lnTo>
                      <a:pt x="61" y="28"/>
                    </a:lnTo>
                    <a:lnTo>
                      <a:pt x="61" y="30"/>
                    </a:lnTo>
                    <a:lnTo>
                      <a:pt x="54" y="30"/>
                    </a:lnTo>
                    <a:lnTo>
                      <a:pt x="48" y="31"/>
                    </a:lnTo>
                    <a:lnTo>
                      <a:pt x="46" y="34"/>
                    </a:lnTo>
                    <a:lnTo>
                      <a:pt x="48" y="36"/>
                    </a:lnTo>
                    <a:lnTo>
                      <a:pt x="51" y="36"/>
                    </a:lnTo>
                    <a:lnTo>
                      <a:pt x="51" y="38"/>
                    </a:lnTo>
                    <a:lnTo>
                      <a:pt x="49" y="38"/>
                    </a:lnTo>
                    <a:lnTo>
                      <a:pt x="41" y="38"/>
                    </a:lnTo>
                    <a:lnTo>
                      <a:pt x="39" y="36"/>
                    </a:lnTo>
                    <a:lnTo>
                      <a:pt x="35" y="38"/>
                    </a:lnTo>
                    <a:lnTo>
                      <a:pt x="33" y="36"/>
                    </a:lnTo>
                    <a:lnTo>
                      <a:pt x="31" y="36"/>
                    </a:lnTo>
                    <a:lnTo>
                      <a:pt x="28" y="39"/>
                    </a:lnTo>
                    <a:lnTo>
                      <a:pt x="26" y="39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2" y="41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10" y="49"/>
                    </a:lnTo>
                    <a:lnTo>
                      <a:pt x="10" y="52"/>
                    </a:lnTo>
                    <a:lnTo>
                      <a:pt x="8" y="54"/>
                    </a:lnTo>
                    <a:lnTo>
                      <a:pt x="10" y="56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18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2" y="67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3" y="69"/>
                    </a:lnTo>
                    <a:lnTo>
                      <a:pt x="18" y="70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0" y="74"/>
                    </a:lnTo>
                    <a:lnTo>
                      <a:pt x="18" y="77"/>
                    </a:lnTo>
                    <a:lnTo>
                      <a:pt x="17" y="77"/>
                    </a:lnTo>
                    <a:lnTo>
                      <a:pt x="15" y="72"/>
                    </a:lnTo>
                    <a:lnTo>
                      <a:pt x="13" y="72"/>
                    </a:lnTo>
                    <a:lnTo>
                      <a:pt x="13" y="74"/>
                    </a:lnTo>
                    <a:lnTo>
                      <a:pt x="15" y="77"/>
                    </a:lnTo>
                    <a:lnTo>
                      <a:pt x="13" y="79"/>
                    </a:lnTo>
                    <a:lnTo>
                      <a:pt x="13" y="82"/>
                    </a:lnTo>
                    <a:lnTo>
                      <a:pt x="17" y="83"/>
                    </a:lnTo>
                    <a:lnTo>
                      <a:pt x="17" y="82"/>
                    </a:lnTo>
                    <a:lnTo>
                      <a:pt x="20" y="83"/>
                    </a:lnTo>
                    <a:lnTo>
                      <a:pt x="22" y="83"/>
                    </a:lnTo>
                    <a:lnTo>
                      <a:pt x="26" y="87"/>
                    </a:lnTo>
                    <a:lnTo>
                      <a:pt x="26" y="90"/>
                    </a:lnTo>
                    <a:lnTo>
                      <a:pt x="25" y="92"/>
                    </a:lnTo>
                    <a:lnTo>
                      <a:pt x="26" y="95"/>
                    </a:lnTo>
                    <a:lnTo>
                      <a:pt x="26" y="97"/>
                    </a:lnTo>
                    <a:lnTo>
                      <a:pt x="28" y="97"/>
                    </a:lnTo>
                    <a:lnTo>
                      <a:pt x="33" y="100"/>
                    </a:lnTo>
                    <a:lnTo>
                      <a:pt x="31" y="103"/>
                    </a:lnTo>
                    <a:lnTo>
                      <a:pt x="28" y="101"/>
                    </a:lnTo>
                    <a:lnTo>
                      <a:pt x="28" y="105"/>
                    </a:lnTo>
                    <a:lnTo>
                      <a:pt x="30" y="105"/>
                    </a:lnTo>
                    <a:lnTo>
                      <a:pt x="35" y="103"/>
                    </a:lnTo>
                    <a:lnTo>
                      <a:pt x="41" y="103"/>
                    </a:lnTo>
                    <a:lnTo>
                      <a:pt x="41" y="105"/>
                    </a:lnTo>
                    <a:lnTo>
                      <a:pt x="39" y="106"/>
                    </a:lnTo>
                    <a:lnTo>
                      <a:pt x="36" y="108"/>
                    </a:lnTo>
                    <a:lnTo>
                      <a:pt x="31" y="108"/>
                    </a:lnTo>
                    <a:lnTo>
                      <a:pt x="30" y="110"/>
                    </a:lnTo>
                    <a:lnTo>
                      <a:pt x="31" y="110"/>
                    </a:lnTo>
                    <a:lnTo>
                      <a:pt x="35" y="110"/>
                    </a:lnTo>
                    <a:lnTo>
                      <a:pt x="38" y="110"/>
                    </a:lnTo>
                    <a:lnTo>
                      <a:pt x="39" y="108"/>
                    </a:lnTo>
                    <a:lnTo>
                      <a:pt x="39" y="111"/>
                    </a:lnTo>
                    <a:lnTo>
                      <a:pt x="39" y="111"/>
                    </a:lnTo>
                    <a:lnTo>
                      <a:pt x="43" y="110"/>
                    </a:lnTo>
                    <a:lnTo>
                      <a:pt x="44" y="106"/>
                    </a:lnTo>
                    <a:lnTo>
                      <a:pt x="46" y="106"/>
                    </a:lnTo>
                    <a:lnTo>
                      <a:pt x="48" y="108"/>
                    </a:lnTo>
                    <a:lnTo>
                      <a:pt x="49" y="108"/>
                    </a:lnTo>
                    <a:lnTo>
                      <a:pt x="53" y="110"/>
                    </a:lnTo>
                    <a:lnTo>
                      <a:pt x="54" y="108"/>
                    </a:lnTo>
                    <a:lnTo>
                      <a:pt x="57" y="108"/>
                    </a:lnTo>
                    <a:lnTo>
                      <a:pt x="56" y="110"/>
                    </a:lnTo>
                    <a:lnTo>
                      <a:pt x="56" y="111"/>
                    </a:lnTo>
                    <a:lnTo>
                      <a:pt x="57" y="113"/>
                    </a:lnTo>
                    <a:lnTo>
                      <a:pt x="57" y="115"/>
                    </a:lnTo>
                    <a:lnTo>
                      <a:pt x="61" y="118"/>
                    </a:lnTo>
                    <a:lnTo>
                      <a:pt x="62" y="118"/>
                    </a:lnTo>
                    <a:lnTo>
                      <a:pt x="66" y="119"/>
                    </a:lnTo>
                    <a:lnTo>
                      <a:pt x="69" y="118"/>
                    </a:lnTo>
                    <a:lnTo>
                      <a:pt x="71" y="116"/>
                    </a:lnTo>
                    <a:lnTo>
                      <a:pt x="74" y="116"/>
                    </a:lnTo>
                    <a:lnTo>
                      <a:pt x="75" y="115"/>
                    </a:lnTo>
                    <a:lnTo>
                      <a:pt x="79" y="116"/>
                    </a:lnTo>
                    <a:lnTo>
                      <a:pt x="80" y="116"/>
                    </a:lnTo>
                    <a:lnTo>
                      <a:pt x="80" y="111"/>
                    </a:lnTo>
                    <a:lnTo>
                      <a:pt x="80" y="110"/>
                    </a:lnTo>
                    <a:lnTo>
                      <a:pt x="80" y="106"/>
                    </a:lnTo>
                    <a:lnTo>
                      <a:pt x="87" y="106"/>
                    </a:lnTo>
                    <a:lnTo>
                      <a:pt x="92" y="106"/>
                    </a:lnTo>
                    <a:lnTo>
                      <a:pt x="100" y="110"/>
                    </a:lnTo>
                    <a:lnTo>
                      <a:pt x="103" y="110"/>
                    </a:lnTo>
                    <a:lnTo>
                      <a:pt x="108" y="118"/>
                    </a:lnTo>
                    <a:lnTo>
                      <a:pt x="113" y="119"/>
                    </a:lnTo>
                    <a:lnTo>
                      <a:pt x="126" y="118"/>
                    </a:lnTo>
                    <a:lnTo>
                      <a:pt x="131" y="116"/>
                    </a:lnTo>
                    <a:lnTo>
                      <a:pt x="133" y="116"/>
                    </a:lnTo>
                    <a:lnTo>
                      <a:pt x="133" y="118"/>
                    </a:lnTo>
                    <a:lnTo>
                      <a:pt x="136" y="116"/>
                    </a:lnTo>
                    <a:lnTo>
                      <a:pt x="136" y="113"/>
                    </a:lnTo>
                    <a:lnTo>
                      <a:pt x="142" y="105"/>
                    </a:lnTo>
                    <a:lnTo>
                      <a:pt x="144" y="105"/>
                    </a:lnTo>
                    <a:lnTo>
                      <a:pt x="151" y="106"/>
                    </a:lnTo>
                    <a:lnTo>
                      <a:pt x="155" y="108"/>
                    </a:lnTo>
                    <a:lnTo>
                      <a:pt x="160" y="108"/>
                    </a:lnTo>
                    <a:lnTo>
                      <a:pt x="160" y="106"/>
                    </a:lnTo>
                    <a:lnTo>
                      <a:pt x="164" y="103"/>
                    </a:lnTo>
                    <a:lnTo>
                      <a:pt x="167" y="105"/>
                    </a:lnTo>
                    <a:lnTo>
                      <a:pt x="167" y="106"/>
                    </a:lnTo>
                    <a:lnTo>
                      <a:pt x="164" y="111"/>
                    </a:lnTo>
                    <a:lnTo>
                      <a:pt x="160" y="113"/>
                    </a:lnTo>
                    <a:lnTo>
                      <a:pt x="160" y="115"/>
                    </a:lnTo>
                    <a:lnTo>
                      <a:pt x="164" y="118"/>
                    </a:lnTo>
                    <a:lnTo>
                      <a:pt x="164" y="121"/>
                    </a:lnTo>
                    <a:lnTo>
                      <a:pt x="167" y="121"/>
                    </a:lnTo>
                    <a:lnTo>
                      <a:pt x="170" y="121"/>
                    </a:lnTo>
                    <a:lnTo>
                      <a:pt x="173" y="119"/>
                    </a:lnTo>
                    <a:lnTo>
                      <a:pt x="172" y="116"/>
                    </a:lnTo>
                    <a:lnTo>
                      <a:pt x="175" y="115"/>
                    </a:lnTo>
                    <a:lnTo>
                      <a:pt x="175" y="108"/>
                    </a:lnTo>
                    <a:lnTo>
                      <a:pt x="175" y="106"/>
                    </a:lnTo>
                    <a:lnTo>
                      <a:pt x="180" y="106"/>
                    </a:lnTo>
                    <a:lnTo>
                      <a:pt x="183" y="108"/>
                    </a:lnTo>
                    <a:lnTo>
                      <a:pt x="190" y="105"/>
                    </a:lnTo>
                    <a:lnTo>
                      <a:pt x="193" y="105"/>
                    </a:lnTo>
                    <a:lnTo>
                      <a:pt x="195" y="103"/>
                    </a:lnTo>
                    <a:lnTo>
                      <a:pt x="203" y="103"/>
                    </a:lnTo>
                    <a:lnTo>
                      <a:pt x="206" y="103"/>
                    </a:lnTo>
                    <a:lnTo>
                      <a:pt x="208" y="105"/>
                    </a:lnTo>
                    <a:lnTo>
                      <a:pt x="213" y="106"/>
                    </a:lnTo>
                    <a:lnTo>
                      <a:pt x="219" y="106"/>
                    </a:lnTo>
                    <a:lnTo>
                      <a:pt x="221" y="105"/>
                    </a:lnTo>
                    <a:lnTo>
                      <a:pt x="224" y="103"/>
                    </a:lnTo>
                    <a:lnTo>
                      <a:pt x="227" y="100"/>
                    </a:lnTo>
                    <a:lnTo>
                      <a:pt x="232" y="98"/>
                    </a:lnTo>
                    <a:lnTo>
                      <a:pt x="237" y="98"/>
                    </a:lnTo>
                    <a:lnTo>
                      <a:pt x="239" y="98"/>
                    </a:lnTo>
                    <a:lnTo>
                      <a:pt x="247" y="98"/>
                    </a:lnTo>
                    <a:lnTo>
                      <a:pt x="253" y="97"/>
                    </a:lnTo>
                    <a:lnTo>
                      <a:pt x="258" y="97"/>
                    </a:lnTo>
                    <a:lnTo>
                      <a:pt x="260" y="98"/>
                    </a:lnTo>
                    <a:lnTo>
                      <a:pt x="263" y="93"/>
                    </a:lnTo>
                    <a:lnTo>
                      <a:pt x="268" y="93"/>
                    </a:lnTo>
                    <a:lnTo>
                      <a:pt x="270" y="93"/>
                    </a:lnTo>
                    <a:lnTo>
                      <a:pt x="276" y="93"/>
                    </a:lnTo>
                    <a:lnTo>
                      <a:pt x="281" y="93"/>
                    </a:lnTo>
                    <a:lnTo>
                      <a:pt x="284" y="93"/>
                    </a:lnTo>
                    <a:lnTo>
                      <a:pt x="288" y="95"/>
                    </a:lnTo>
                    <a:lnTo>
                      <a:pt x="288" y="97"/>
                    </a:lnTo>
                    <a:lnTo>
                      <a:pt x="289" y="98"/>
                    </a:lnTo>
                    <a:lnTo>
                      <a:pt x="293" y="98"/>
                    </a:lnTo>
                    <a:lnTo>
                      <a:pt x="294" y="95"/>
                    </a:lnTo>
                    <a:lnTo>
                      <a:pt x="293" y="92"/>
                    </a:lnTo>
                    <a:lnTo>
                      <a:pt x="289" y="85"/>
                    </a:lnTo>
                    <a:lnTo>
                      <a:pt x="284" y="83"/>
                    </a:lnTo>
                    <a:lnTo>
                      <a:pt x="286" y="82"/>
                    </a:lnTo>
                    <a:lnTo>
                      <a:pt x="284" y="77"/>
                    </a:lnTo>
                    <a:lnTo>
                      <a:pt x="288" y="72"/>
                    </a:lnTo>
                    <a:lnTo>
                      <a:pt x="286" y="70"/>
                    </a:lnTo>
                    <a:lnTo>
                      <a:pt x="283" y="69"/>
                    </a:lnTo>
                    <a:lnTo>
                      <a:pt x="283" y="65"/>
                    </a:lnTo>
                    <a:lnTo>
                      <a:pt x="283" y="62"/>
                    </a:lnTo>
                    <a:lnTo>
                      <a:pt x="281" y="56"/>
                    </a:lnTo>
                    <a:lnTo>
                      <a:pt x="280" y="52"/>
                    </a:lnTo>
                    <a:lnTo>
                      <a:pt x="280" y="51"/>
                    </a:lnTo>
                    <a:lnTo>
                      <a:pt x="284" y="51"/>
                    </a:lnTo>
                    <a:lnTo>
                      <a:pt x="286" y="46"/>
                    </a:lnTo>
                    <a:lnTo>
                      <a:pt x="288" y="44"/>
                    </a:lnTo>
                    <a:lnTo>
                      <a:pt x="286" y="41"/>
                    </a:lnTo>
                    <a:lnTo>
                      <a:pt x="283" y="39"/>
                    </a:lnTo>
                    <a:lnTo>
                      <a:pt x="280" y="39"/>
                    </a:lnTo>
                    <a:lnTo>
                      <a:pt x="275" y="39"/>
                    </a:lnTo>
                    <a:lnTo>
                      <a:pt x="270" y="36"/>
                    </a:lnTo>
                    <a:lnTo>
                      <a:pt x="270" y="30"/>
                    </a:lnTo>
                    <a:lnTo>
                      <a:pt x="271" y="25"/>
                    </a:lnTo>
                    <a:lnTo>
                      <a:pt x="270" y="21"/>
                    </a:lnTo>
                    <a:lnTo>
                      <a:pt x="267" y="21"/>
                    </a:lnTo>
                    <a:lnTo>
                      <a:pt x="267" y="18"/>
                    </a:lnTo>
                    <a:lnTo>
                      <a:pt x="263" y="15"/>
                    </a:lnTo>
                    <a:lnTo>
                      <a:pt x="260" y="15"/>
                    </a:lnTo>
                    <a:lnTo>
                      <a:pt x="253" y="10"/>
                    </a:lnTo>
                    <a:lnTo>
                      <a:pt x="252" y="8"/>
                    </a:lnTo>
                    <a:lnTo>
                      <a:pt x="249" y="10"/>
                    </a:lnTo>
                    <a:lnTo>
                      <a:pt x="247" y="12"/>
                    </a:lnTo>
                    <a:lnTo>
                      <a:pt x="244" y="10"/>
                    </a:lnTo>
                    <a:lnTo>
                      <a:pt x="242" y="12"/>
                    </a:lnTo>
                    <a:lnTo>
                      <a:pt x="240" y="10"/>
                    </a:lnTo>
                    <a:lnTo>
                      <a:pt x="239" y="8"/>
                    </a:lnTo>
                    <a:lnTo>
                      <a:pt x="237" y="7"/>
                    </a:lnTo>
                    <a:lnTo>
                      <a:pt x="237" y="7"/>
                    </a:lnTo>
                    <a:close/>
                    <a:moveTo>
                      <a:pt x="36" y="113"/>
                    </a:moveTo>
                    <a:lnTo>
                      <a:pt x="36" y="111"/>
                    </a:lnTo>
                    <a:lnTo>
                      <a:pt x="38" y="111"/>
                    </a:lnTo>
                    <a:lnTo>
                      <a:pt x="38" y="113"/>
                    </a:lnTo>
                    <a:lnTo>
                      <a:pt x="36" y="113"/>
                    </a:lnTo>
                    <a:lnTo>
                      <a:pt x="36" y="113"/>
                    </a:lnTo>
                    <a:lnTo>
                      <a:pt x="36" y="113"/>
                    </a:lnTo>
                    <a:close/>
                    <a:moveTo>
                      <a:pt x="0" y="39"/>
                    </a:moveTo>
                    <a:lnTo>
                      <a:pt x="4" y="41"/>
                    </a:lnTo>
                    <a:lnTo>
                      <a:pt x="7" y="39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4" y="39"/>
                    </a:lnTo>
                    <a:lnTo>
                      <a:pt x="2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18" name="Freeform 231">
                <a:extLst>
                  <a:ext uri="{FF2B5EF4-FFF2-40B4-BE49-F238E27FC236}">
                    <a16:creationId xmlns:a16="http://schemas.microsoft.com/office/drawing/2014/main" xmlns="" id="{4E45B62D-8F4C-40B3-8DBE-E499A6194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1418"/>
                <a:ext cx="153" cy="151"/>
              </a:xfrm>
              <a:custGeom>
                <a:avLst/>
                <a:gdLst>
                  <a:gd name="T0" fmla="*/ 153 w 153"/>
                  <a:gd name="T1" fmla="*/ 128 h 151"/>
                  <a:gd name="T2" fmla="*/ 147 w 153"/>
                  <a:gd name="T3" fmla="*/ 124 h 151"/>
                  <a:gd name="T4" fmla="*/ 140 w 153"/>
                  <a:gd name="T5" fmla="*/ 115 h 151"/>
                  <a:gd name="T6" fmla="*/ 140 w 153"/>
                  <a:gd name="T7" fmla="*/ 105 h 151"/>
                  <a:gd name="T8" fmla="*/ 140 w 153"/>
                  <a:gd name="T9" fmla="*/ 95 h 151"/>
                  <a:gd name="T10" fmla="*/ 134 w 153"/>
                  <a:gd name="T11" fmla="*/ 89 h 151"/>
                  <a:gd name="T12" fmla="*/ 130 w 153"/>
                  <a:gd name="T13" fmla="*/ 87 h 151"/>
                  <a:gd name="T14" fmla="*/ 116 w 153"/>
                  <a:gd name="T15" fmla="*/ 80 h 151"/>
                  <a:gd name="T16" fmla="*/ 111 w 153"/>
                  <a:gd name="T17" fmla="*/ 79 h 151"/>
                  <a:gd name="T18" fmla="*/ 111 w 153"/>
                  <a:gd name="T19" fmla="*/ 75 h 151"/>
                  <a:gd name="T20" fmla="*/ 107 w 153"/>
                  <a:gd name="T21" fmla="*/ 69 h 151"/>
                  <a:gd name="T22" fmla="*/ 104 w 153"/>
                  <a:gd name="T23" fmla="*/ 66 h 151"/>
                  <a:gd name="T24" fmla="*/ 99 w 153"/>
                  <a:gd name="T25" fmla="*/ 62 h 151"/>
                  <a:gd name="T26" fmla="*/ 101 w 153"/>
                  <a:gd name="T27" fmla="*/ 59 h 151"/>
                  <a:gd name="T28" fmla="*/ 101 w 153"/>
                  <a:gd name="T29" fmla="*/ 56 h 151"/>
                  <a:gd name="T30" fmla="*/ 103 w 153"/>
                  <a:gd name="T31" fmla="*/ 48 h 151"/>
                  <a:gd name="T32" fmla="*/ 106 w 153"/>
                  <a:gd name="T33" fmla="*/ 43 h 151"/>
                  <a:gd name="T34" fmla="*/ 107 w 153"/>
                  <a:gd name="T35" fmla="*/ 36 h 151"/>
                  <a:gd name="T36" fmla="*/ 106 w 153"/>
                  <a:gd name="T37" fmla="*/ 31 h 151"/>
                  <a:gd name="T38" fmla="*/ 111 w 153"/>
                  <a:gd name="T39" fmla="*/ 30 h 151"/>
                  <a:gd name="T40" fmla="*/ 111 w 153"/>
                  <a:gd name="T41" fmla="*/ 28 h 151"/>
                  <a:gd name="T42" fmla="*/ 104 w 153"/>
                  <a:gd name="T43" fmla="*/ 28 h 151"/>
                  <a:gd name="T44" fmla="*/ 98 w 153"/>
                  <a:gd name="T45" fmla="*/ 23 h 151"/>
                  <a:gd name="T46" fmla="*/ 93 w 153"/>
                  <a:gd name="T47" fmla="*/ 22 h 151"/>
                  <a:gd name="T48" fmla="*/ 89 w 153"/>
                  <a:gd name="T49" fmla="*/ 15 h 151"/>
                  <a:gd name="T50" fmla="*/ 85 w 153"/>
                  <a:gd name="T51" fmla="*/ 12 h 151"/>
                  <a:gd name="T52" fmla="*/ 83 w 153"/>
                  <a:gd name="T53" fmla="*/ 5 h 151"/>
                  <a:gd name="T54" fmla="*/ 76 w 153"/>
                  <a:gd name="T55" fmla="*/ 5 h 151"/>
                  <a:gd name="T56" fmla="*/ 75 w 153"/>
                  <a:gd name="T57" fmla="*/ 2 h 151"/>
                  <a:gd name="T58" fmla="*/ 68 w 153"/>
                  <a:gd name="T59" fmla="*/ 0 h 151"/>
                  <a:gd name="T60" fmla="*/ 57 w 153"/>
                  <a:gd name="T61" fmla="*/ 0 h 151"/>
                  <a:gd name="T62" fmla="*/ 50 w 153"/>
                  <a:gd name="T63" fmla="*/ 0 h 151"/>
                  <a:gd name="T64" fmla="*/ 47 w 153"/>
                  <a:gd name="T65" fmla="*/ 5 h 151"/>
                  <a:gd name="T66" fmla="*/ 44 w 153"/>
                  <a:gd name="T67" fmla="*/ 8 h 151"/>
                  <a:gd name="T68" fmla="*/ 34 w 153"/>
                  <a:gd name="T69" fmla="*/ 13 h 151"/>
                  <a:gd name="T70" fmla="*/ 31 w 153"/>
                  <a:gd name="T71" fmla="*/ 23 h 151"/>
                  <a:gd name="T72" fmla="*/ 34 w 153"/>
                  <a:gd name="T73" fmla="*/ 35 h 151"/>
                  <a:gd name="T74" fmla="*/ 32 w 153"/>
                  <a:gd name="T75" fmla="*/ 43 h 151"/>
                  <a:gd name="T76" fmla="*/ 29 w 153"/>
                  <a:gd name="T77" fmla="*/ 51 h 151"/>
                  <a:gd name="T78" fmla="*/ 0 w 153"/>
                  <a:gd name="T79" fmla="*/ 74 h 151"/>
                  <a:gd name="T80" fmla="*/ 0 w 153"/>
                  <a:gd name="T81" fmla="*/ 74 h 151"/>
                  <a:gd name="T82" fmla="*/ 22 w 153"/>
                  <a:gd name="T83" fmla="*/ 97 h 151"/>
                  <a:gd name="T84" fmla="*/ 125 w 153"/>
                  <a:gd name="T85" fmla="*/ 151 h 151"/>
                  <a:gd name="T86" fmla="*/ 132 w 153"/>
                  <a:gd name="T87" fmla="*/ 136 h 151"/>
                  <a:gd name="T88" fmla="*/ 145 w 153"/>
                  <a:gd name="T89" fmla="*/ 134 h 151"/>
                  <a:gd name="T90" fmla="*/ 150 w 153"/>
                  <a:gd name="T91" fmla="*/ 134 h 151"/>
                  <a:gd name="T92" fmla="*/ 153 w 153"/>
                  <a:gd name="T93" fmla="*/ 129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151">
                    <a:moveTo>
                      <a:pt x="153" y="129"/>
                    </a:moveTo>
                    <a:lnTo>
                      <a:pt x="153" y="128"/>
                    </a:lnTo>
                    <a:lnTo>
                      <a:pt x="150" y="126"/>
                    </a:lnTo>
                    <a:lnTo>
                      <a:pt x="147" y="124"/>
                    </a:lnTo>
                    <a:lnTo>
                      <a:pt x="145" y="115"/>
                    </a:lnTo>
                    <a:lnTo>
                      <a:pt x="140" y="115"/>
                    </a:lnTo>
                    <a:lnTo>
                      <a:pt x="138" y="110"/>
                    </a:lnTo>
                    <a:lnTo>
                      <a:pt x="140" y="105"/>
                    </a:lnTo>
                    <a:lnTo>
                      <a:pt x="143" y="103"/>
                    </a:lnTo>
                    <a:lnTo>
                      <a:pt x="140" y="95"/>
                    </a:lnTo>
                    <a:lnTo>
                      <a:pt x="137" y="93"/>
                    </a:lnTo>
                    <a:lnTo>
                      <a:pt x="134" y="89"/>
                    </a:lnTo>
                    <a:lnTo>
                      <a:pt x="132" y="87"/>
                    </a:lnTo>
                    <a:lnTo>
                      <a:pt x="130" y="87"/>
                    </a:lnTo>
                    <a:lnTo>
                      <a:pt x="117" y="79"/>
                    </a:lnTo>
                    <a:lnTo>
                      <a:pt x="116" y="80"/>
                    </a:lnTo>
                    <a:lnTo>
                      <a:pt x="114" y="80"/>
                    </a:lnTo>
                    <a:lnTo>
                      <a:pt x="111" y="79"/>
                    </a:lnTo>
                    <a:lnTo>
                      <a:pt x="111" y="75"/>
                    </a:lnTo>
                    <a:lnTo>
                      <a:pt x="111" y="75"/>
                    </a:lnTo>
                    <a:lnTo>
                      <a:pt x="112" y="72"/>
                    </a:lnTo>
                    <a:lnTo>
                      <a:pt x="107" y="69"/>
                    </a:lnTo>
                    <a:lnTo>
                      <a:pt x="107" y="66"/>
                    </a:lnTo>
                    <a:lnTo>
                      <a:pt x="104" y="66"/>
                    </a:lnTo>
                    <a:lnTo>
                      <a:pt x="103" y="64"/>
                    </a:lnTo>
                    <a:lnTo>
                      <a:pt x="99" y="62"/>
                    </a:lnTo>
                    <a:lnTo>
                      <a:pt x="99" y="61"/>
                    </a:lnTo>
                    <a:lnTo>
                      <a:pt x="101" y="59"/>
                    </a:lnTo>
                    <a:lnTo>
                      <a:pt x="101" y="57"/>
                    </a:lnTo>
                    <a:lnTo>
                      <a:pt x="101" y="56"/>
                    </a:lnTo>
                    <a:lnTo>
                      <a:pt x="101" y="49"/>
                    </a:lnTo>
                    <a:lnTo>
                      <a:pt x="103" y="48"/>
                    </a:lnTo>
                    <a:lnTo>
                      <a:pt x="104" y="43"/>
                    </a:lnTo>
                    <a:lnTo>
                      <a:pt x="106" y="43"/>
                    </a:lnTo>
                    <a:lnTo>
                      <a:pt x="107" y="43"/>
                    </a:lnTo>
                    <a:lnTo>
                      <a:pt x="107" y="36"/>
                    </a:lnTo>
                    <a:lnTo>
                      <a:pt x="106" y="36"/>
                    </a:lnTo>
                    <a:lnTo>
                      <a:pt x="106" y="31"/>
                    </a:lnTo>
                    <a:lnTo>
                      <a:pt x="107" y="31"/>
                    </a:lnTo>
                    <a:lnTo>
                      <a:pt x="111" y="30"/>
                    </a:lnTo>
                    <a:lnTo>
                      <a:pt x="112" y="30"/>
                    </a:lnTo>
                    <a:lnTo>
                      <a:pt x="111" y="28"/>
                    </a:lnTo>
                    <a:lnTo>
                      <a:pt x="109" y="26"/>
                    </a:lnTo>
                    <a:lnTo>
                      <a:pt x="104" y="28"/>
                    </a:lnTo>
                    <a:lnTo>
                      <a:pt x="103" y="26"/>
                    </a:lnTo>
                    <a:lnTo>
                      <a:pt x="98" y="23"/>
                    </a:lnTo>
                    <a:lnTo>
                      <a:pt x="94" y="23"/>
                    </a:lnTo>
                    <a:lnTo>
                      <a:pt x="93" y="22"/>
                    </a:lnTo>
                    <a:lnTo>
                      <a:pt x="91" y="18"/>
                    </a:lnTo>
                    <a:lnTo>
                      <a:pt x="89" y="15"/>
                    </a:lnTo>
                    <a:lnTo>
                      <a:pt x="86" y="15"/>
                    </a:lnTo>
                    <a:lnTo>
                      <a:pt x="85" y="12"/>
                    </a:lnTo>
                    <a:lnTo>
                      <a:pt x="85" y="8"/>
                    </a:lnTo>
                    <a:lnTo>
                      <a:pt x="83" y="5"/>
                    </a:lnTo>
                    <a:lnTo>
                      <a:pt x="81" y="5"/>
                    </a:lnTo>
                    <a:lnTo>
                      <a:pt x="76" y="5"/>
                    </a:lnTo>
                    <a:lnTo>
                      <a:pt x="75" y="4"/>
                    </a:lnTo>
                    <a:lnTo>
                      <a:pt x="75" y="2"/>
                    </a:lnTo>
                    <a:lnTo>
                      <a:pt x="71" y="0"/>
                    </a:lnTo>
                    <a:lnTo>
                      <a:pt x="68" y="0"/>
                    </a:lnTo>
                    <a:lnTo>
                      <a:pt x="63" y="0"/>
                    </a:lnTo>
                    <a:lnTo>
                      <a:pt x="57" y="0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0" y="12"/>
                    </a:lnTo>
                    <a:lnTo>
                      <a:pt x="34" y="13"/>
                    </a:lnTo>
                    <a:lnTo>
                      <a:pt x="31" y="18"/>
                    </a:lnTo>
                    <a:lnTo>
                      <a:pt x="31" y="23"/>
                    </a:lnTo>
                    <a:lnTo>
                      <a:pt x="34" y="30"/>
                    </a:lnTo>
                    <a:lnTo>
                      <a:pt x="34" y="35"/>
                    </a:lnTo>
                    <a:lnTo>
                      <a:pt x="31" y="39"/>
                    </a:lnTo>
                    <a:lnTo>
                      <a:pt x="32" y="43"/>
                    </a:lnTo>
                    <a:lnTo>
                      <a:pt x="32" y="48"/>
                    </a:lnTo>
                    <a:lnTo>
                      <a:pt x="29" y="51"/>
                    </a:lnTo>
                    <a:lnTo>
                      <a:pt x="27" y="5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8" y="95"/>
                    </a:lnTo>
                    <a:lnTo>
                      <a:pt x="22" y="97"/>
                    </a:lnTo>
                    <a:lnTo>
                      <a:pt x="96" y="149"/>
                    </a:lnTo>
                    <a:lnTo>
                      <a:pt x="125" y="151"/>
                    </a:lnTo>
                    <a:lnTo>
                      <a:pt x="129" y="142"/>
                    </a:lnTo>
                    <a:lnTo>
                      <a:pt x="132" y="136"/>
                    </a:lnTo>
                    <a:lnTo>
                      <a:pt x="140" y="133"/>
                    </a:lnTo>
                    <a:lnTo>
                      <a:pt x="145" y="134"/>
                    </a:lnTo>
                    <a:lnTo>
                      <a:pt x="148" y="133"/>
                    </a:lnTo>
                    <a:lnTo>
                      <a:pt x="150" y="134"/>
                    </a:lnTo>
                    <a:lnTo>
                      <a:pt x="151" y="129"/>
                    </a:lnTo>
                    <a:lnTo>
                      <a:pt x="153" y="1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19" name="Freeform 232">
                <a:extLst>
                  <a:ext uri="{FF2B5EF4-FFF2-40B4-BE49-F238E27FC236}">
                    <a16:creationId xmlns:a16="http://schemas.microsoft.com/office/drawing/2014/main" xmlns="" id="{C9D3D5E3-55BA-41B5-BD58-44CEF38DE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1551"/>
                <a:ext cx="28" cy="27"/>
              </a:xfrm>
              <a:custGeom>
                <a:avLst/>
                <a:gdLst>
                  <a:gd name="T0" fmla="*/ 0 w 28"/>
                  <a:gd name="T1" fmla="*/ 18 h 27"/>
                  <a:gd name="T2" fmla="*/ 4 w 28"/>
                  <a:gd name="T3" fmla="*/ 9 h 27"/>
                  <a:gd name="T4" fmla="*/ 7 w 28"/>
                  <a:gd name="T5" fmla="*/ 3 h 27"/>
                  <a:gd name="T6" fmla="*/ 15 w 28"/>
                  <a:gd name="T7" fmla="*/ 0 h 27"/>
                  <a:gd name="T8" fmla="*/ 20 w 28"/>
                  <a:gd name="T9" fmla="*/ 1 h 27"/>
                  <a:gd name="T10" fmla="*/ 23 w 28"/>
                  <a:gd name="T11" fmla="*/ 0 h 27"/>
                  <a:gd name="T12" fmla="*/ 25 w 28"/>
                  <a:gd name="T13" fmla="*/ 1 h 27"/>
                  <a:gd name="T14" fmla="*/ 25 w 28"/>
                  <a:gd name="T15" fmla="*/ 1 h 27"/>
                  <a:gd name="T16" fmla="*/ 26 w 28"/>
                  <a:gd name="T17" fmla="*/ 9 h 27"/>
                  <a:gd name="T18" fmla="*/ 17 w 28"/>
                  <a:gd name="T19" fmla="*/ 11 h 27"/>
                  <a:gd name="T20" fmla="*/ 23 w 28"/>
                  <a:gd name="T21" fmla="*/ 14 h 27"/>
                  <a:gd name="T22" fmla="*/ 25 w 28"/>
                  <a:gd name="T23" fmla="*/ 13 h 27"/>
                  <a:gd name="T24" fmla="*/ 25 w 28"/>
                  <a:gd name="T25" fmla="*/ 16 h 27"/>
                  <a:gd name="T26" fmla="*/ 25 w 28"/>
                  <a:gd name="T27" fmla="*/ 18 h 27"/>
                  <a:gd name="T28" fmla="*/ 28 w 28"/>
                  <a:gd name="T29" fmla="*/ 21 h 27"/>
                  <a:gd name="T30" fmla="*/ 26 w 28"/>
                  <a:gd name="T31" fmla="*/ 21 h 27"/>
                  <a:gd name="T32" fmla="*/ 26 w 28"/>
                  <a:gd name="T33" fmla="*/ 21 h 27"/>
                  <a:gd name="T34" fmla="*/ 28 w 28"/>
                  <a:gd name="T35" fmla="*/ 22 h 27"/>
                  <a:gd name="T36" fmla="*/ 18 w 28"/>
                  <a:gd name="T37" fmla="*/ 27 h 27"/>
                  <a:gd name="T38" fmla="*/ 17 w 28"/>
                  <a:gd name="T39" fmla="*/ 21 h 27"/>
                  <a:gd name="T40" fmla="*/ 2 w 28"/>
                  <a:gd name="T41" fmla="*/ 18 h 27"/>
                  <a:gd name="T42" fmla="*/ 0 w 28"/>
                  <a:gd name="T43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27">
                    <a:moveTo>
                      <a:pt x="0" y="18"/>
                    </a:moveTo>
                    <a:lnTo>
                      <a:pt x="4" y="9"/>
                    </a:lnTo>
                    <a:lnTo>
                      <a:pt x="7" y="3"/>
                    </a:lnTo>
                    <a:lnTo>
                      <a:pt x="15" y="0"/>
                    </a:lnTo>
                    <a:lnTo>
                      <a:pt x="20" y="1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5" y="1"/>
                    </a:lnTo>
                    <a:lnTo>
                      <a:pt x="26" y="9"/>
                    </a:lnTo>
                    <a:lnTo>
                      <a:pt x="17" y="11"/>
                    </a:lnTo>
                    <a:lnTo>
                      <a:pt x="23" y="14"/>
                    </a:lnTo>
                    <a:lnTo>
                      <a:pt x="25" y="13"/>
                    </a:lnTo>
                    <a:lnTo>
                      <a:pt x="25" y="16"/>
                    </a:lnTo>
                    <a:lnTo>
                      <a:pt x="25" y="18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22"/>
                    </a:lnTo>
                    <a:lnTo>
                      <a:pt x="18" y="27"/>
                    </a:lnTo>
                    <a:lnTo>
                      <a:pt x="17" y="21"/>
                    </a:lnTo>
                    <a:lnTo>
                      <a:pt x="2" y="18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0" name="Freeform 233">
                <a:extLst>
                  <a:ext uri="{FF2B5EF4-FFF2-40B4-BE49-F238E27FC236}">
                    <a16:creationId xmlns:a16="http://schemas.microsoft.com/office/drawing/2014/main" xmlns="" id="{3FFF966D-532F-44ED-AC5B-6559FEFDB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53"/>
                <a:ext cx="34" cy="19"/>
              </a:xfrm>
              <a:custGeom>
                <a:avLst/>
                <a:gdLst>
                  <a:gd name="T0" fmla="*/ 5 w 34"/>
                  <a:gd name="T1" fmla="*/ 19 h 19"/>
                  <a:gd name="T2" fmla="*/ 1 w 34"/>
                  <a:gd name="T3" fmla="*/ 16 h 19"/>
                  <a:gd name="T4" fmla="*/ 0 w 34"/>
                  <a:gd name="T5" fmla="*/ 14 h 19"/>
                  <a:gd name="T6" fmla="*/ 0 w 34"/>
                  <a:gd name="T7" fmla="*/ 9 h 19"/>
                  <a:gd name="T8" fmla="*/ 1 w 34"/>
                  <a:gd name="T9" fmla="*/ 9 h 19"/>
                  <a:gd name="T10" fmla="*/ 3 w 34"/>
                  <a:gd name="T11" fmla="*/ 8 h 19"/>
                  <a:gd name="T12" fmla="*/ 6 w 34"/>
                  <a:gd name="T13" fmla="*/ 8 h 19"/>
                  <a:gd name="T14" fmla="*/ 8 w 34"/>
                  <a:gd name="T15" fmla="*/ 8 h 19"/>
                  <a:gd name="T16" fmla="*/ 10 w 34"/>
                  <a:gd name="T17" fmla="*/ 6 h 19"/>
                  <a:gd name="T18" fmla="*/ 10 w 34"/>
                  <a:gd name="T19" fmla="*/ 3 h 19"/>
                  <a:gd name="T20" fmla="*/ 13 w 34"/>
                  <a:gd name="T21" fmla="*/ 3 h 19"/>
                  <a:gd name="T22" fmla="*/ 16 w 34"/>
                  <a:gd name="T23" fmla="*/ 4 h 19"/>
                  <a:gd name="T24" fmla="*/ 19 w 34"/>
                  <a:gd name="T25" fmla="*/ 4 h 19"/>
                  <a:gd name="T26" fmla="*/ 26 w 34"/>
                  <a:gd name="T27" fmla="*/ 3 h 19"/>
                  <a:gd name="T28" fmla="*/ 31 w 34"/>
                  <a:gd name="T29" fmla="*/ 0 h 19"/>
                  <a:gd name="T30" fmla="*/ 34 w 34"/>
                  <a:gd name="T31" fmla="*/ 0 h 19"/>
                  <a:gd name="T32" fmla="*/ 34 w 34"/>
                  <a:gd name="T33" fmla="*/ 0 h 19"/>
                  <a:gd name="T34" fmla="*/ 32 w 34"/>
                  <a:gd name="T35" fmla="*/ 1 h 19"/>
                  <a:gd name="T36" fmla="*/ 29 w 34"/>
                  <a:gd name="T37" fmla="*/ 3 h 19"/>
                  <a:gd name="T38" fmla="*/ 26 w 34"/>
                  <a:gd name="T39" fmla="*/ 8 h 19"/>
                  <a:gd name="T40" fmla="*/ 26 w 34"/>
                  <a:gd name="T41" fmla="*/ 11 h 19"/>
                  <a:gd name="T42" fmla="*/ 26 w 34"/>
                  <a:gd name="T43" fmla="*/ 14 h 19"/>
                  <a:gd name="T44" fmla="*/ 23 w 34"/>
                  <a:gd name="T45" fmla="*/ 13 h 19"/>
                  <a:gd name="T46" fmla="*/ 19 w 34"/>
                  <a:gd name="T47" fmla="*/ 14 h 19"/>
                  <a:gd name="T48" fmla="*/ 16 w 34"/>
                  <a:gd name="T49" fmla="*/ 18 h 19"/>
                  <a:gd name="T50" fmla="*/ 13 w 34"/>
                  <a:gd name="T51" fmla="*/ 18 h 19"/>
                  <a:gd name="T52" fmla="*/ 11 w 34"/>
                  <a:gd name="T53" fmla="*/ 19 h 19"/>
                  <a:gd name="T54" fmla="*/ 10 w 34"/>
                  <a:gd name="T55" fmla="*/ 19 h 19"/>
                  <a:gd name="T56" fmla="*/ 5 w 34"/>
                  <a:gd name="T5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19">
                    <a:moveTo>
                      <a:pt x="5" y="19"/>
                    </a:moveTo>
                    <a:lnTo>
                      <a:pt x="1" y="16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13" y="3"/>
                    </a:lnTo>
                    <a:lnTo>
                      <a:pt x="16" y="4"/>
                    </a:lnTo>
                    <a:lnTo>
                      <a:pt x="19" y="4"/>
                    </a:lnTo>
                    <a:lnTo>
                      <a:pt x="26" y="3"/>
                    </a:lnTo>
                    <a:lnTo>
                      <a:pt x="31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1"/>
                    </a:lnTo>
                    <a:lnTo>
                      <a:pt x="29" y="3"/>
                    </a:lnTo>
                    <a:lnTo>
                      <a:pt x="26" y="8"/>
                    </a:lnTo>
                    <a:lnTo>
                      <a:pt x="26" y="11"/>
                    </a:lnTo>
                    <a:lnTo>
                      <a:pt x="26" y="14"/>
                    </a:lnTo>
                    <a:lnTo>
                      <a:pt x="23" y="13"/>
                    </a:lnTo>
                    <a:lnTo>
                      <a:pt x="19" y="14"/>
                    </a:lnTo>
                    <a:lnTo>
                      <a:pt x="16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10" y="19"/>
                    </a:lnTo>
                    <a:lnTo>
                      <a:pt x="5" y="1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1" name="Freeform 234">
                <a:extLst>
                  <a:ext uri="{FF2B5EF4-FFF2-40B4-BE49-F238E27FC236}">
                    <a16:creationId xmlns:a16="http://schemas.microsoft.com/office/drawing/2014/main" xmlns="" id="{41B5033B-E54B-4A5A-BB5F-155E6FBF2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1" y="1422"/>
                <a:ext cx="100" cy="89"/>
              </a:xfrm>
              <a:custGeom>
                <a:avLst/>
                <a:gdLst>
                  <a:gd name="T0" fmla="*/ 80 w 100"/>
                  <a:gd name="T1" fmla="*/ 50 h 89"/>
                  <a:gd name="T2" fmla="*/ 85 w 100"/>
                  <a:gd name="T3" fmla="*/ 44 h 89"/>
                  <a:gd name="T4" fmla="*/ 84 w 100"/>
                  <a:gd name="T5" fmla="*/ 35 h 89"/>
                  <a:gd name="T6" fmla="*/ 87 w 100"/>
                  <a:gd name="T7" fmla="*/ 26 h 89"/>
                  <a:gd name="T8" fmla="*/ 84 w 100"/>
                  <a:gd name="T9" fmla="*/ 14 h 89"/>
                  <a:gd name="T10" fmla="*/ 93 w 100"/>
                  <a:gd name="T11" fmla="*/ 8 h 89"/>
                  <a:gd name="T12" fmla="*/ 98 w 100"/>
                  <a:gd name="T13" fmla="*/ 4 h 89"/>
                  <a:gd name="T14" fmla="*/ 98 w 100"/>
                  <a:gd name="T15" fmla="*/ 0 h 89"/>
                  <a:gd name="T16" fmla="*/ 87 w 100"/>
                  <a:gd name="T17" fmla="*/ 1 h 89"/>
                  <a:gd name="T18" fmla="*/ 77 w 100"/>
                  <a:gd name="T19" fmla="*/ 1 h 89"/>
                  <a:gd name="T20" fmla="*/ 67 w 100"/>
                  <a:gd name="T21" fmla="*/ 3 h 89"/>
                  <a:gd name="T22" fmla="*/ 61 w 100"/>
                  <a:gd name="T23" fmla="*/ 8 h 89"/>
                  <a:gd name="T24" fmla="*/ 53 w 100"/>
                  <a:gd name="T25" fmla="*/ 9 h 89"/>
                  <a:gd name="T26" fmla="*/ 46 w 100"/>
                  <a:gd name="T27" fmla="*/ 6 h 89"/>
                  <a:gd name="T28" fmla="*/ 35 w 100"/>
                  <a:gd name="T29" fmla="*/ 6 h 89"/>
                  <a:gd name="T30" fmla="*/ 30 w 100"/>
                  <a:gd name="T31" fmla="*/ 8 h 89"/>
                  <a:gd name="T32" fmla="*/ 20 w 100"/>
                  <a:gd name="T33" fmla="*/ 9 h 89"/>
                  <a:gd name="T34" fmla="*/ 15 w 100"/>
                  <a:gd name="T35" fmla="*/ 11 h 89"/>
                  <a:gd name="T36" fmla="*/ 12 w 100"/>
                  <a:gd name="T37" fmla="*/ 19 h 89"/>
                  <a:gd name="T38" fmla="*/ 10 w 100"/>
                  <a:gd name="T39" fmla="*/ 24 h 89"/>
                  <a:gd name="T40" fmla="*/ 4 w 100"/>
                  <a:gd name="T41" fmla="*/ 24 h 89"/>
                  <a:gd name="T42" fmla="*/ 0 w 100"/>
                  <a:gd name="T43" fmla="*/ 24 h 89"/>
                  <a:gd name="T44" fmla="*/ 5 w 100"/>
                  <a:gd name="T45" fmla="*/ 35 h 89"/>
                  <a:gd name="T46" fmla="*/ 5 w 100"/>
                  <a:gd name="T47" fmla="*/ 42 h 89"/>
                  <a:gd name="T48" fmla="*/ 12 w 100"/>
                  <a:gd name="T49" fmla="*/ 49 h 89"/>
                  <a:gd name="T50" fmla="*/ 15 w 100"/>
                  <a:gd name="T51" fmla="*/ 53 h 89"/>
                  <a:gd name="T52" fmla="*/ 17 w 100"/>
                  <a:gd name="T53" fmla="*/ 62 h 89"/>
                  <a:gd name="T54" fmla="*/ 13 w 100"/>
                  <a:gd name="T55" fmla="*/ 62 h 89"/>
                  <a:gd name="T56" fmla="*/ 9 w 100"/>
                  <a:gd name="T57" fmla="*/ 68 h 89"/>
                  <a:gd name="T58" fmla="*/ 5 w 100"/>
                  <a:gd name="T59" fmla="*/ 71 h 89"/>
                  <a:gd name="T60" fmla="*/ 9 w 100"/>
                  <a:gd name="T61" fmla="*/ 75 h 89"/>
                  <a:gd name="T62" fmla="*/ 9 w 100"/>
                  <a:gd name="T63" fmla="*/ 83 h 89"/>
                  <a:gd name="T64" fmla="*/ 15 w 100"/>
                  <a:gd name="T65" fmla="*/ 86 h 89"/>
                  <a:gd name="T66" fmla="*/ 20 w 100"/>
                  <a:gd name="T67" fmla="*/ 89 h 89"/>
                  <a:gd name="T68" fmla="*/ 53 w 100"/>
                  <a:gd name="T69" fmla="*/ 7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0" h="89">
                    <a:moveTo>
                      <a:pt x="53" y="70"/>
                    </a:moveTo>
                    <a:lnTo>
                      <a:pt x="80" y="50"/>
                    </a:lnTo>
                    <a:lnTo>
                      <a:pt x="82" y="47"/>
                    </a:lnTo>
                    <a:lnTo>
                      <a:pt x="85" y="44"/>
                    </a:lnTo>
                    <a:lnTo>
                      <a:pt x="85" y="39"/>
                    </a:lnTo>
                    <a:lnTo>
                      <a:pt x="84" y="35"/>
                    </a:lnTo>
                    <a:lnTo>
                      <a:pt x="87" y="31"/>
                    </a:lnTo>
                    <a:lnTo>
                      <a:pt x="87" y="26"/>
                    </a:lnTo>
                    <a:lnTo>
                      <a:pt x="84" y="19"/>
                    </a:lnTo>
                    <a:lnTo>
                      <a:pt x="84" y="14"/>
                    </a:lnTo>
                    <a:lnTo>
                      <a:pt x="87" y="9"/>
                    </a:lnTo>
                    <a:lnTo>
                      <a:pt x="93" y="8"/>
                    </a:lnTo>
                    <a:lnTo>
                      <a:pt x="97" y="4"/>
                    </a:lnTo>
                    <a:lnTo>
                      <a:pt x="98" y="4"/>
                    </a:lnTo>
                    <a:lnTo>
                      <a:pt x="100" y="1"/>
                    </a:lnTo>
                    <a:lnTo>
                      <a:pt x="98" y="0"/>
                    </a:lnTo>
                    <a:lnTo>
                      <a:pt x="93" y="0"/>
                    </a:lnTo>
                    <a:lnTo>
                      <a:pt x="87" y="1"/>
                    </a:lnTo>
                    <a:lnTo>
                      <a:pt x="79" y="1"/>
                    </a:lnTo>
                    <a:lnTo>
                      <a:pt x="77" y="1"/>
                    </a:lnTo>
                    <a:lnTo>
                      <a:pt x="72" y="1"/>
                    </a:lnTo>
                    <a:lnTo>
                      <a:pt x="67" y="3"/>
                    </a:lnTo>
                    <a:lnTo>
                      <a:pt x="64" y="6"/>
                    </a:lnTo>
                    <a:lnTo>
                      <a:pt x="61" y="8"/>
                    </a:lnTo>
                    <a:lnTo>
                      <a:pt x="59" y="9"/>
                    </a:lnTo>
                    <a:lnTo>
                      <a:pt x="53" y="9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3" y="6"/>
                    </a:lnTo>
                    <a:lnTo>
                      <a:pt x="35" y="6"/>
                    </a:lnTo>
                    <a:lnTo>
                      <a:pt x="33" y="8"/>
                    </a:lnTo>
                    <a:lnTo>
                      <a:pt x="30" y="8"/>
                    </a:lnTo>
                    <a:lnTo>
                      <a:pt x="23" y="11"/>
                    </a:lnTo>
                    <a:lnTo>
                      <a:pt x="20" y="9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5" y="18"/>
                    </a:lnTo>
                    <a:lnTo>
                      <a:pt x="12" y="19"/>
                    </a:lnTo>
                    <a:lnTo>
                      <a:pt x="13" y="22"/>
                    </a:lnTo>
                    <a:lnTo>
                      <a:pt x="10" y="24"/>
                    </a:lnTo>
                    <a:lnTo>
                      <a:pt x="7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5" y="35"/>
                    </a:lnTo>
                    <a:lnTo>
                      <a:pt x="5" y="39"/>
                    </a:lnTo>
                    <a:lnTo>
                      <a:pt x="5" y="42"/>
                    </a:lnTo>
                    <a:lnTo>
                      <a:pt x="4" y="49"/>
                    </a:lnTo>
                    <a:lnTo>
                      <a:pt x="12" y="49"/>
                    </a:lnTo>
                    <a:lnTo>
                      <a:pt x="12" y="53"/>
                    </a:lnTo>
                    <a:lnTo>
                      <a:pt x="15" y="53"/>
                    </a:lnTo>
                    <a:lnTo>
                      <a:pt x="15" y="58"/>
                    </a:lnTo>
                    <a:lnTo>
                      <a:pt x="17" y="62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0" y="63"/>
                    </a:lnTo>
                    <a:lnTo>
                      <a:pt x="9" y="68"/>
                    </a:lnTo>
                    <a:lnTo>
                      <a:pt x="7" y="71"/>
                    </a:lnTo>
                    <a:lnTo>
                      <a:pt x="5" y="71"/>
                    </a:lnTo>
                    <a:lnTo>
                      <a:pt x="7" y="73"/>
                    </a:lnTo>
                    <a:lnTo>
                      <a:pt x="9" y="75"/>
                    </a:lnTo>
                    <a:lnTo>
                      <a:pt x="9" y="81"/>
                    </a:lnTo>
                    <a:lnTo>
                      <a:pt x="9" y="83"/>
                    </a:lnTo>
                    <a:lnTo>
                      <a:pt x="10" y="85"/>
                    </a:lnTo>
                    <a:lnTo>
                      <a:pt x="15" y="86"/>
                    </a:lnTo>
                    <a:lnTo>
                      <a:pt x="18" y="89"/>
                    </a:lnTo>
                    <a:lnTo>
                      <a:pt x="20" y="89"/>
                    </a:lnTo>
                    <a:lnTo>
                      <a:pt x="22" y="89"/>
                    </a:lnTo>
                    <a:lnTo>
                      <a:pt x="53" y="70"/>
                    </a:lnTo>
                    <a:lnTo>
                      <a:pt x="53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2" name="Freeform 235">
                <a:extLst>
                  <a:ext uri="{FF2B5EF4-FFF2-40B4-BE49-F238E27FC236}">
                    <a16:creationId xmlns:a16="http://schemas.microsoft.com/office/drawing/2014/main" xmlns="" id="{4A088E28-437E-4A1E-906C-2DA0E8554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2" y="1493"/>
                <a:ext cx="24" cy="72"/>
              </a:xfrm>
              <a:custGeom>
                <a:avLst/>
                <a:gdLst>
                  <a:gd name="T0" fmla="*/ 16 w 24"/>
                  <a:gd name="T1" fmla="*/ 72 h 72"/>
                  <a:gd name="T2" fmla="*/ 18 w 24"/>
                  <a:gd name="T3" fmla="*/ 69 h 72"/>
                  <a:gd name="T4" fmla="*/ 18 w 24"/>
                  <a:gd name="T5" fmla="*/ 69 h 72"/>
                  <a:gd name="T6" fmla="*/ 18 w 24"/>
                  <a:gd name="T7" fmla="*/ 66 h 72"/>
                  <a:gd name="T8" fmla="*/ 19 w 24"/>
                  <a:gd name="T9" fmla="*/ 64 h 72"/>
                  <a:gd name="T10" fmla="*/ 19 w 24"/>
                  <a:gd name="T11" fmla="*/ 61 h 72"/>
                  <a:gd name="T12" fmla="*/ 19 w 24"/>
                  <a:gd name="T13" fmla="*/ 58 h 72"/>
                  <a:gd name="T14" fmla="*/ 19 w 24"/>
                  <a:gd name="T15" fmla="*/ 53 h 72"/>
                  <a:gd name="T16" fmla="*/ 21 w 24"/>
                  <a:gd name="T17" fmla="*/ 51 h 72"/>
                  <a:gd name="T18" fmla="*/ 21 w 24"/>
                  <a:gd name="T19" fmla="*/ 48 h 72"/>
                  <a:gd name="T20" fmla="*/ 21 w 24"/>
                  <a:gd name="T21" fmla="*/ 45 h 72"/>
                  <a:gd name="T22" fmla="*/ 21 w 24"/>
                  <a:gd name="T23" fmla="*/ 43 h 72"/>
                  <a:gd name="T24" fmla="*/ 23 w 24"/>
                  <a:gd name="T25" fmla="*/ 35 h 72"/>
                  <a:gd name="T26" fmla="*/ 21 w 24"/>
                  <a:gd name="T27" fmla="*/ 35 h 72"/>
                  <a:gd name="T28" fmla="*/ 19 w 24"/>
                  <a:gd name="T29" fmla="*/ 35 h 72"/>
                  <a:gd name="T30" fmla="*/ 16 w 24"/>
                  <a:gd name="T31" fmla="*/ 36 h 72"/>
                  <a:gd name="T32" fmla="*/ 14 w 24"/>
                  <a:gd name="T33" fmla="*/ 35 h 72"/>
                  <a:gd name="T34" fmla="*/ 16 w 24"/>
                  <a:gd name="T35" fmla="*/ 30 h 72"/>
                  <a:gd name="T36" fmla="*/ 16 w 24"/>
                  <a:gd name="T37" fmla="*/ 23 h 72"/>
                  <a:gd name="T38" fmla="*/ 14 w 24"/>
                  <a:gd name="T39" fmla="*/ 22 h 72"/>
                  <a:gd name="T40" fmla="*/ 16 w 24"/>
                  <a:gd name="T41" fmla="*/ 17 h 72"/>
                  <a:gd name="T42" fmla="*/ 19 w 24"/>
                  <a:gd name="T43" fmla="*/ 17 h 72"/>
                  <a:gd name="T44" fmla="*/ 19 w 24"/>
                  <a:gd name="T45" fmla="*/ 20 h 72"/>
                  <a:gd name="T46" fmla="*/ 21 w 24"/>
                  <a:gd name="T47" fmla="*/ 20 h 72"/>
                  <a:gd name="T48" fmla="*/ 23 w 24"/>
                  <a:gd name="T49" fmla="*/ 18 h 72"/>
                  <a:gd name="T50" fmla="*/ 23 w 24"/>
                  <a:gd name="T51" fmla="*/ 15 h 72"/>
                  <a:gd name="T52" fmla="*/ 24 w 24"/>
                  <a:gd name="T53" fmla="*/ 15 h 72"/>
                  <a:gd name="T54" fmla="*/ 23 w 24"/>
                  <a:gd name="T55" fmla="*/ 15 h 72"/>
                  <a:gd name="T56" fmla="*/ 23 w 24"/>
                  <a:gd name="T57" fmla="*/ 12 h 72"/>
                  <a:gd name="T58" fmla="*/ 23 w 24"/>
                  <a:gd name="T59" fmla="*/ 7 h 72"/>
                  <a:gd name="T60" fmla="*/ 24 w 24"/>
                  <a:gd name="T61" fmla="*/ 2 h 72"/>
                  <a:gd name="T62" fmla="*/ 24 w 24"/>
                  <a:gd name="T63" fmla="*/ 0 h 72"/>
                  <a:gd name="T64" fmla="*/ 23 w 24"/>
                  <a:gd name="T65" fmla="*/ 0 h 72"/>
                  <a:gd name="T66" fmla="*/ 21 w 24"/>
                  <a:gd name="T67" fmla="*/ 4 h 72"/>
                  <a:gd name="T68" fmla="*/ 16 w 24"/>
                  <a:gd name="T69" fmla="*/ 4 h 72"/>
                  <a:gd name="T70" fmla="*/ 14 w 24"/>
                  <a:gd name="T71" fmla="*/ 4 h 72"/>
                  <a:gd name="T72" fmla="*/ 11 w 24"/>
                  <a:gd name="T73" fmla="*/ 9 h 72"/>
                  <a:gd name="T74" fmla="*/ 10 w 24"/>
                  <a:gd name="T75" fmla="*/ 20 h 72"/>
                  <a:gd name="T76" fmla="*/ 5 w 24"/>
                  <a:gd name="T77" fmla="*/ 30 h 72"/>
                  <a:gd name="T78" fmla="*/ 0 w 24"/>
                  <a:gd name="T79" fmla="*/ 36 h 72"/>
                  <a:gd name="T80" fmla="*/ 1 w 24"/>
                  <a:gd name="T81" fmla="*/ 36 h 72"/>
                  <a:gd name="T82" fmla="*/ 5 w 24"/>
                  <a:gd name="T83" fmla="*/ 41 h 72"/>
                  <a:gd name="T84" fmla="*/ 6 w 24"/>
                  <a:gd name="T85" fmla="*/ 48 h 72"/>
                  <a:gd name="T86" fmla="*/ 11 w 24"/>
                  <a:gd name="T87" fmla="*/ 54 h 72"/>
                  <a:gd name="T88" fmla="*/ 14 w 24"/>
                  <a:gd name="T89" fmla="*/ 63 h 72"/>
                  <a:gd name="T90" fmla="*/ 13 w 24"/>
                  <a:gd name="T91" fmla="*/ 66 h 72"/>
                  <a:gd name="T92" fmla="*/ 16 w 24"/>
                  <a:gd name="T9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72">
                    <a:moveTo>
                      <a:pt x="16" y="72"/>
                    </a:moveTo>
                    <a:lnTo>
                      <a:pt x="18" y="69"/>
                    </a:lnTo>
                    <a:lnTo>
                      <a:pt x="18" y="69"/>
                    </a:lnTo>
                    <a:lnTo>
                      <a:pt x="18" y="66"/>
                    </a:lnTo>
                    <a:lnTo>
                      <a:pt x="19" y="64"/>
                    </a:lnTo>
                    <a:lnTo>
                      <a:pt x="19" y="61"/>
                    </a:lnTo>
                    <a:lnTo>
                      <a:pt x="19" y="58"/>
                    </a:lnTo>
                    <a:lnTo>
                      <a:pt x="19" y="53"/>
                    </a:lnTo>
                    <a:lnTo>
                      <a:pt x="21" y="51"/>
                    </a:lnTo>
                    <a:lnTo>
                      <a:pt x="21" y="48"/>
                    </a:lnTo>
                    <a:lnTo>
                      <a:pt x="21" y="45"/>
                    </a:lnTo>
                    <a:lnTo>
                      <a:pt x="21" y="43"/>
                    </a:lnTo>
                    <a:lnTo>
                      <a:pt x="23" y="35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16" y="36"/>
                    </a:lnTo>
                    <a:lnTo>
                      <a:pt x="14" y="35"/>
                    </a:lnTo>
                    <a:lnTo>
                      <a:pt x="16" y="30"/>
                    </a:lnTo>
                    <a:lnTo>
                      <a:pt x="16" y="23"/>
                    </a:lnTo>
                    <a:lnTo>
                      <a:pt x="14" y="22"/>
                    </a:lnTo>
                    <a:lnTo>
                      <a:pt x="16" y="17"/>
                    </a:lnTo>
                    <a:lnTo>
                      <a:pt x="19" y="17"/>
                    </a:lnTo>
                    <a:lnTo>
                      <a:pt x="19" y="20"/>
                    </a:lnTo>
                    <a:lnTo>
                      <a:pt x="21" y="20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5"/>
                    </a:lnTo>
                    <a:lnTo>
                      <a:pt x="23" y="15"/>
                    </a:lnTo>
                    <a:lnTo>
                      <a:pt x="23" y="12"/>
                    </a:lnTo>
                    <a:lnTo>
                      <a:pt x="23" y="7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1" y="9"/>
                    </a:lnTo>
                    <a:lnTo>
                      <a:pt x="10" y="20"/>
                    </a:lnTo>
                    <a:lnTo>
                      <a:pt x="5" y="30"/>
                    </a:lnTo>
                    <a:lnTo>
                      <a:pt x="0" y="36"/>
                    </a:lnTo>
                    <a:lnTo>
                      <a:pt x="1" y="36"/>
                    </a:lnTo>
                    <a:lnTo>
                      <a:pt x="5" y="41"/>
                    </a:lnTo>
                    <a:lnTo>
                      <a:pt x="6" y="48"/>
                    </a:lnTo>
                    <a:lnTo>
                      <a:pt x="11" y="54"/>
                    </a:lnTo>
                    <a:lnTo>
                      <a:pt x="14" y="63"/>
                    </a:lnTo>
                    <a:lnTo>
                      <a:pt x="13" y="66"/>
                    </a:lnTo>
                    <a:lnTo>
                      <a:pt x="16" y="7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3" name="Freeform 236">
                <a:extLst>
                  <a:ext uri="{FF2B5EF4-FFF2-40B4-BE49-F238E27FC236}">
                    <a16:creationId xmlns:a16="http://schemas.microsoft.com/office/drawing/2014/main" xmlns="" id="{36CBECD2-9455-4C14-82B2-6EEE7BF5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1493"/>
                <a:ext cx="5" cy="17"/>
              </a:xfrm>
              <a:custGeom>
                <a:avLst/>
                <a:gdLst>
                  <a:gd name="T0" fmla="*/ 1 w 5"/>
                  <a:gd name="T1" fmla="*/ 15 h 17"/>
                  <a:gd name="T2" fmla="*/ 0 w 5"/>
                  <a:gd name="T3" fmla="*/ 15 h 17"/>
                  <a:gd name="T4" fmla="*/ 0 w 5"/>
                  <a:gd name="T5" fmla="*/ 12 h 17"/>
                  <a:gd name="T6" fmla="*/ 0 w 5"/>
                  <a:gd name="T7" fmla="*/ 7 h 17"/>
                  <a:gd name="T8" fmla="*/ 1 w 5"/>
                  <a:gd name="T9" fmla="*/ 2 h 17"/>
                  <a:gd name="T10" fmla="*/ 1 w 5"/>
                  <a:gd name="T11" fmla="*/ 0 h 17"/>
                  <a:gd name="T12" fmla="*/ 1 w 5"/>
                  <a:gd name="T13" fmla="*/ 0 h 17"/>
                  <a:gd name="T14" fmla="*/ 3 w 5"/>
                  <a:gd name="T15" fmla="*/ 2 h 17"/>
                  <a:gd name="T16" fmla="*/ 5 w 5"/>
                  <a:gd name="T17" fmla="*/ 4 h 17"/>
                  <a:gd name="T18" fmla="*/ 5 w 5"/>
                  <a:gd name="T19" fmla="*/ 10 h 17"/>
                  <a:gd name="T20" fmla="*/ 5 w 5"/>
                  <a:gd name="T21" fmla="*/ 12 h 17"/>
                  <a:gd name="T22" fmla="*/ 5 w 5"/>
                  <a:gd name="T23" fmla="*/ 12 h 17"/>
                  <a:gd name="T24" fmla="*/ 3 w 5"/>
                  <a:gd name="T25" fmla="*/ 15 h 17"/>
                  <a:gd name="T26" fmla="*/ 1 w 5"/>
                  <a:gd name="T27" fmla="*/ 17 h 17"/>
                  <a:gd name="T28" fmla="*/ 1 w 5"/>
                  <a:gd name="T29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17">
                    <a:moveTo>
                      <a:pt x="1" y="15"/>
                    </a:moveTo>
                    <a:lnTo>
                      <a:pt x="0" y="15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5"/>
                    </a:lnTo>
                    <a:lnTo>
                      <a:pt x="1" y="17"/>
                    </a:lnTo>
                    <a:lnTo>
                      <a:pt x="1" y="1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4" name="Freeform 237">
                <a:extLst>
                  <a:ext uri="{FF2B5EF4-FFF2-40B4-BE49-F238E27FC236}">
                    <a16:creationId xmlns:a16="http://schemas.microsoft.com/office/drawing/2014/main" xmlns="" id="{AC4C5E0E-5A29-4101-B800-633A97484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510"/>
                <a:ext cx="10" cy="19"/>
              </a:xfrm>
              <a:custGeom>
                <a:avLst/>
                <a:gdLst>
                  <a:gd name="T0" fmla="*/ 7 w 10"/>
                  <a:gd name="T1" fmla="*/ 18 h 19"/>
                  <a:gd name="T2" fmla="*/ 5 w 10"/>
                  <a:gd name="T3" fmla="*/ 18 h 19"/>
                  <a:gd name="T4" fmla="*/ 2 w 10"/>
                  <a:gd name="T5" fmla="*/ 19 h 19"/>
                  <a:gd name="T6" fmla="*/ 0 w 10"/>
                  <a:gd name="T7" fmla="*/ 18 h 19"/>
                  <a:gd name="T8" fmla="*/ 2 w 10"/>
                  <a:gd name="T9" fmla="*/ 13 h 19"/>
                  <a:gd name="T10" fmla="*/ 2 w 10"/>
                  <a:gd name="T11" fmla="*/ 6 h 19"/>
                  <a:gd name="T12" fmla="*/ 0 w 10"/>
                  <a:gd name="T13" fmla="*/ 5 h 19"/>
                  <a:gd name="T14" fmla="*/ 2 w 10"/>
                  <a:gd name="T15" fmla="*/ 0 h 19"/>
                  <a:gd name="T16" fmla="*/ 5 w 10"/>
                  <a:gd name="T17" fmla="*/ 0 h 19"/>
                  <a:gd name="T18" fmla="*/ 5 w 10"/>
                  <a:gd name="T19" fmla="*/ 3 h 19"/>
                  <a:gd name="T20" fmla="*/ 7 w 10"/>
                  <a:gd name="T21" fmla="*/ 3 h 19"/>
                  <a:gd name="T22" fmla="*/ 9 w 10"/>
                  <a:gd name="T23" fmla="*/ 1 h 19"/>
                  <a:gd name="T24" fmla="*/ 9 w 10"/>
                  <a:gd name="T25" fmla="*/ 1 h 19"/>
                  <a:gd name="T26" fmla="*/ 10 w 10"/>
                  <a:gd name="T27" fmla="*/ 3 h 19"/>
                  <a:gd name="T28" fmla="*/ 9 w 10"/>
                  <a:gd name="T29" fmla="*/ 5 h 19"/>
                  <a:gd name="T30" fmla="*/ 9 w 10"/>
                  <a:gd name="T31" fmla="*/ 10 h 19"/>
                  <a:gd name="T32" fmla="*/ 9 w 10"/>
                  <a:gd name="T33" fmla="*/ 13 h 19"/>
                  <a:gd name="T34" fmla="*/ 9 w 10"/>
                  <a:gd name="T35" fmla="*/ 18 h 19"/>
                  <a:gd name="T36" fmla="*/ 7 w 10"/>
                  <a:gd name="T37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9">
                    <a:moveTo>
                      <a:pt x="7" y="18"/>
                    </a:moveTo>
                    <a:lnTo>
                      <a:pt x="5" y="18"/>
                    </a:lnTo>
                    <a:lnTo>
                      <a:pt x="2" y="19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2" y="6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9" y="10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5" name="Freeform 238">
                <a:extLst>
                  <a:ext uri="{FF2B5EF4-FFF2-40B4-BE49-F238E27FC236}">
                    <a16:creationId xmlns:a16="http://schemas.microsoft.com/office/drawing/2014/main" xmlns="" id="{C18DE297-9B9F-4390-BEC6-217ACD85B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471"/>
                <a:ext cx="22" cy="26"/>
              </a:xfrm>
              <a:custGeom>
                <a:avLst/>
                <a:gdLst>
                  <a:gd name="T0" fmla="*/ 0 w 22"/>
                  <a:gd name="T1" fmla="*/ 26 h 26"/>
                  <a:gd name="T2" fmla="*/ 2 w 22"/>
                  <a:gd name="T3" fmla="*/ 26 h 26"/>
                  <a:gd name="T4" fmla="*/ 7 w 22"/>
                  <a:gd name="T5" fmla="*/ 26 h 26"/>
                  <a:gd name="T6" fmla="*/ 9 w 22"/>
                  <a:gd name="T7" fmla="*/ 22 h 26"/>
                  <a:gd name="T8" fmla="*/ 12 w 22"/>
                  <a:gd name="T9" fmla="*/ 22 h 26"/>
                  <a:gd name="T10" fmla="*/ 14 w 22"/>
                  <a:gd name="T11" fmla="*/ 19 h 26"/>
                  <a:gd name="T12" fmla="*/ 15 w 22"/>
                  <a:gd name="T13" fmla="*/ 14 h 26"/>
                  <a:gd name="T14" fmla="*/ 18 w 22"/>
                  <a:gd name="T15" fmla="*/ 13 h 26"/>
                  <a:gd name="T16" fmla="*/ 20 w 22"/>
                  <a:gd name="T17" fmla="*/ 13 h 26"/>
                  <a:gd name="T18" fmla="*/ 22 w 22"/>
                  <a:gd name="T19" fmla="*/ 13 h 26"/>
                  <a:gd name="T20" fmla="*/ 20 w 22"/>
                  <a:gd name="T21" fmla="*/ 9 h 26"/>
                  <a:gd name="T22" fmla="*/ 20 w 22"/>
                  <a:gd name="T23" fmla="*/ 4 h 26"/>
                  <a:gd name="T24" fmla="*/ 17 w 22"/>
                  <a:gd name="T25" fmla="*/ 4 h 26"/>
                  <a:gd name="T26" fmla="*/ 17 w 22"/>
                  <a:gd name="T27" fmla="*/ 0 h 26"/>
                  <a:gd name="T28" fmla="*/ 9 w 22"/>
                  <a:gd name="T29" fmla="*/ 0 h 26"/>
                  <a:gd name="T30" fmla="*/ 9 w 22"/>
                  <a:gd name="T31" fmla="*/ 1 h 26"/>
                  <a:gd name="T32" fmla="*/ 7 w 22"/>
                  <a:gd name="T33" fmla="*/ 1 h 26"/>
                  <a:gd name="T34" fmla="*/ 7 w 22"/>
                  <a:gd name="T35" fmla="*/ 13 h 26"/>
                  <a:gd name="T36" fmla="*/ 4 w 22"/>
                  <a:gd name="T37" fmla="*/ 18 h 26"/>
                  <a:gd name="T38" fmla="*/ 0 w 22"/>
                  <a:gd name="T39" fmla="*/ 21 h 26"/>
                  <a:gd name="T40" fmla="*/ 0 w 22"/>
                  <a:gd name="T41" fmla="*/ 26 h 26"/>
                  <a:gd name="T42" fmla="*/ 0 w 22"/>
                  <a:gd name="T4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26">
                    <a:moveTo>
                      <a:pt x="0" y="26"/>
                    </a:moveTo>
                    <a:lnTo>
                      <a:pt x="2" y="26"/>
                    </a:lnTo>
                    <a:lnTo>
                      <a:pt x="7" y="26"/>
                    </a:lnTo>
                    <a:lnTo>
                      <a:pt x="9" y="22"/>
                    </a:lnTo>
                    <a:lnTo>
                      <a:pt x="12" y="22"/>
                    </a:lnTo>
                    <a:lnTo>
                      <a:pt x="14" y="19"/>
                    </a:lnTo>
                    <a:lnTo>
                      <a:pt x="15" y="14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22" y="13"/>
                    </a:lnTo>
                    <a:lnTo>
                      <a:pt x="20" y="9"/>
                    </a:lnTo>
                    <a:lnTo>
                      <a:pt x="20" y="4"/>
                    </a:lnTo>
                    <a:lnTo>
                      <a:pt x="17" y="4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7" y="13"/>
                    </a:lnTo>
                    <a:lnTo>
                      <a:pt x="4" y="18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6" name="Freeform 239">
                <a:extLst>
                  <a:ext uri="{FF2B5EF4-FFF2-40B4-BE49-F238E27FC236}">
                    <a16:creationId xmlns:a16="http://schemas.microsoft.com/office/drawing/2014/main" xmlns="" id="{D2815929-266A-47B6-B1C6-4F57BB62D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1492"/>
                <a:ext cx="64" cy="80"/>
              </a:xfrm>
              <a:custGeom>
                <a:avLst/>
                <a:gdLst>
                  <a:gd name="T0" fmla="*/ 2 w 64"/>
                  <a:gd name="T1" fmla="*/ 70 h 80"/>
                  <a:gd name="T2" fmla="*/ 2 w 64"/>
                  <a:gd name="T3" fmla="*/ 70 h 80"/>
                  <a:gd name="T4" fmla="*/ 2 w 64"/>
                  <a:gd name="T5" fmla="*/ 67 h 80"/>
                  <a:gd name="T6" fmla="*/ 3 w 64"/>
                  <a:gd name="T7" fmla="*/ 65 h 80"/>
                  <a:gd name="T8" fmla="*/ 3 w 64"/>
                  <a:gd name="T9" fmla="*/ 62 h 80"/>
                  <a:gd name="T10" fmla="*/ 3 w 64"/>
                  <a:gd name="T11" fmla="*/ 59 h 80"/>
                  <a:gd name="T12" fmla="*/ 3 w 64"/>
                  <a:gd name="T13" fmla="*/ 54 h 80"/>
                  <a:gd name="T14" fmla="*/ 5 w 64"/>
                  <a:gd name="T15" fmla="*/ 52 h 80"/>
                  <a:gd name="T16" fmla="*/ 5 w 64"/>
                  <a:gd name="T17" fmla="*/ 49 h 80"/>
                  <a:gd name="T18" fmla="*/ 5 w 64"/>
                  <a:gd name="T19" fmla="*/ 46 h 80"/>
                  <a:gd name="T20" fmla="*/ 5 w 64"/>
                  <a:gd name="T21" fmla="*/ 44 h 80"/>
                  <a:gd name="T22" fmla="*/ 7 w 64"/>
                  <a:gd name="T23" fmla="*/ 31 h 80"/>
                  <a:gd name="T24" fmla="*/ 7 w 64"/>
                  <a:gd name="T25" fmla="*/ 28 h 80"/>
                  <a:gd name="T26" fmla="*/ 7 w 64"/>
                  <a:gd name="T27" fmla="*/ 23 h 80"/>
                  <a:gd name="T28" fmla="*/ 8 w 64"/>
                  <a:gd name="T29" fmla="*/ 21 h 80"/>
                  <a:gd name="T30" fmla="*/ 7 w 64"/>
                  <a:gd name="T31" fmla="*/ 19 h 80"/>
                  <a:gd name="T32" fmla="*/ 7 w 64"/>
                  <a:gd name="T33" fmla="*/ 16 h 80"/>
                  <a:gd name="T34" fmla="*/ 8 w 64"/>
                  <a:gd name="T35" fmla="*/ 18 h 80"/>
                  <a:gd name="T36" fmla="*/ 10 w 64"/>
                  <a:gd name="T37" fmla="*/ 16 h 80"/>
                  <a:gd name="T38" fmla="*/ 12 w 64"/>
                  <a:gd name="T39" fmla="*/ 13 h 80"/>
                  <a:gd name="T40" fmla="*/ 13 w 64"/>
                  <a:gd name="T41" fmla="*/ 15 h 80"/>
                  <a:gd name="T42" fmla="*/ 18 w 64"/>
                  <a:gd name="T43" fmla="*/ 16 h 80"/>
                  <a:gd name="T44" fmla="*/ 21 w 64"/>
                  <a:gd name="T45" fmla="*/ 19 h 80"/>
                  <a:gd name="T46" fmla="*/ 23 w 64"/>
                  <a:gd name="T47" fmla="*/ 19 h 80"/>
                  <a:gd name="T48" fmla="*/ 25 w 64"/>
                  <a:gd name="T49" fmla="*/ 19 h 80"/>
                  <a:gd name="T50" fmla="*/ 56 w 64"/>
                  <a:gd name="T51" fmla="*/ 0 h 80"/>
                  <a:gd name="T52" fmla="*/ 64 w 64"/>
                  <a:gd name="T53" fmla="*/ 21 h 80"/>
                  <a:gd name="T54" fmla="*/ 64 w 64"/>
                  <a:gd name="T55" fmla="*/ 21 h 80"/>
                  <a:gd name="T56" fmla="*/ 57 w 64"/>
                  <a:gd name="T57" fmla="*/ 28 h 80"/>
                  <a:gd name="T58" fmla="*/ 34 w 64"/>
                  <a:gd name="T59" fmla="*/ 34 h 80"/>
                  <a:gd name="T60" fmla="*/ 52 w 64"/>
                  <a:gd name="T61" fmla="*/ 54 h 80"/>
                  <a:gd name="T62" fmla="*/ 46 w 64"/>
                  <a:gd name="T63" fmla="*/ 62 h 80"/>
                  <a:gd name="T64" fmla="*/ 44 w 64"/>
                  <a:gd name="T65" fmla="*/ 67 h 80"/>
                  <a:gd name="T66" fmla="*/ 33 w 64"/>
                  <a:gd name="T67" fmla="*/ 68 h 80"/>
                  <a:gd name="T68" fmla="*/ 21 w 64"/>
                  <a:gd name="T69" fmla="*/ 80 h 80"/>
                  <a:gd name="T70" fmla="*/ 5 w 64"/>
                  <a:gd name="T71" fmla="*/ 77 h 80"/>
                  <a:gd name="T72" fmla="*/ 0 w 64"/>
                  <a:gd name="T73" fmla="*/ 77 h 80"/>
                  <a:gd name="T74" fmla="*/ 0 w 64"/>
                  <a:gd name="T75" fmla="*/ 75 h 80"/>
                  <a:gd name="T76" fmla="*/ 2 w 64"/>
                  <a:gd name="T77" fmla="*/ 72 h 80"/>
                  <a:gd name="T78" fmla="*/ 2 w 64"/>
                  <a:gd name="T79" fmla="*/ 70 h 80"/>
                  <a:gd name="T80" fmla="*/ 2 w 64"/>
                  <a:gd name="T8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" h="80">
                    <a:moveTo>
                      <a:pt x="2" y="70"/>
                    </a:moveTo>
                    <a:lnTo>
                      <a:pt x="2" y="70"/>
                    </a:lnTo>
                    <a:lnTo>
                      <a:pt x="2" y="67"/>
                    </a:lnTo>
                    <a:lnTo>
                      <a:pt x="3" y="65"/>
                    </a:lnTo>
                    <a:lnTo>
                      <a:pt x="3" y="62"/>
                    </a:lnTo>
                    <a:lnTo>
                      <a:pt x="3" y="59"/>
                    </a:lnTo>
                    <a:lnTo>
                      <a:pt x="3" y="54"/>
                    </a:lnTo>
                    <a:lnTo>
                      <a:pt x="5" y="52"/>
                    </a:lnTo>
                    <a:lnTo>
                      <a:pt x="5" y="49"/>
                    </a:lnTo>
                    <a:lnTo>
                      <a:pt x="5" y="46"/>
                    </a:lnTo>
                    <a:lnTo>
                      <a:pt x="5" y="44"/>
                    </a:lnTo>
                    <a:lnTo>
                      <a:pt x="7" y="31"/>
                    </a:lnTo>
                    <a:lnTo>
                      <a:pt x="7" y="28"/>
                    </a:lnTo>
                    <a:lnTo>
                      <a:pt x="7" y="23"/>
                    </a:lnTo>
                    <a:lnTo>
                      <a:pt x="8" y="21"/>
                    </a:lnTo>
                    <a:lnTo>
                      <a:pt x="7" y="19"/>
                    </a:lnTo>
                    <a:lnTo>
                      <a:pt x="7" y="16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2" y="13"/>
                    </a:lnTo>
                    <a:lnTo>
                      <a:pt x="13" y="15"/>
                    </a:lnTo>
                    <a:lnTo>
                      <a:pt x="18" y="16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56" y="0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57" y="28"/>
                    </a:lnTo>
                    <a:lnTo>
                      <a:pt x="34" y="34"/>
                    </a:lnTo>
                    <a:lnTo>
                      <a:pt x="52" y="54"/>
                    </a:lnTo>
                    <a:lnTo>
                      <a:pt x="46" y="62"/>
                    </a:lnTo>
                    <a:lnTo>
                      <a:pt x="44" y="67"/>
                    </a:lnTo>
                    <a:lnTo>
                      <a:pt x="33" y="68"/>
                    </a:lnTo>
                    <a:lnTo>
                      <a:pt x="21" y="80"/>
                    </a:lnTo>
                    <a:lnTo>
                      <a:pt x="5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2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7" name="Freeform 240">
                <a:extLst>
                  <a:ext uri="{FF2B5EF4-FFF2-40B4-BE49-F238E27FC236}">
                    <a16:creationId xmlns:a16="http://schemas.microsoft.com/office/drawing/2014/main" xmlns="" id="{C9AB2C24-D608-45A2-930C-A9061D46C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6" y="1513"/>
                <a:ext cx="329" cy="284"/>
              </a:xfrm>
              <a:custGeom>
                <a:avLst/>
                <a:gdLst>
                  <a:gd name="T0" fmla="*/ 200 w 329"/>
                  <a:gd name="T1" fmla="*/ 59 h 284"/>
                  <a:gd name="T2" fmla="*/ 80 w 329"/>
                  <a:gd name="T3" fmla="*/ 2 h 284"/>
                  <a:gd name="T4" fmla="*/ 36 w 329"/>
                  <a:gd name="T5" fmla="*/ 13 h 284"/>
                  <a:gd name="T6" fmla="*/ 46 w 329"/>
                  <a:gd name="T7" fmla="*/ 46 h 284"/>
                  <a:gd name="T8" fmla="*/ 7 w 329"/>
                  <a:gd name="T9" fmla="*/ 56 h 284"/>
                  <a:gd name="T10" fmla="*/ 2 w 329"/>
                  <a:gd name="T11" fmla="*/ 69 h 284"/>
                  <a:gd name="T12" fmla="*/ 4 w 329"/>
                  <a:gd name="T13" fmla="*/ 74 h 284"/>
                  <a:gd name="T14" fmla="*/ 9 w 329"/>
                  <a:gd name="T15" fmla="*/ 75 h 284"/>
                  <a:gd name="T16" fmla="*/ 17 w 329"/>
                  <a:gd name="T17" fmla="*/ 87 h 284"/>
                  <a:gd name="T18" fmla="*/ 22 w 329"/>
                  <a:gd name="T19" fmla="*/ 95 h 284"/>
                  <a:gd name="T20" fmla="*/ 28 w 329"/>
                  <a:gd name="T21" fmla="*/ 105 h 284"/>
                  <a:gd name="T22" fmla="*/ 33 w 329"/>
                  <a:gd name="T23" fmla="*/ 113 h 284"/>
                  <a:gd name="T24" fmla="*/ 40 w 329"/>
                  <a:gd name="T25" fmla="*/ 124 h 284"/>
                  <a:gd name="T26" fmla="*/ 43 w 329"/>
                  <a:gd name="T27" fmla="*/ 132 h 284"/>
                  <a:gd name="T28" fmla="*/ 46 w 329"/>
                  <a:gd name="T29" fmla="*/ 141 h 284"/>
                  <a:gd name="T30" fmla="*/ 54 w 329"/>
                  <a:gd name="T31" fmla="*/ 142 h 284"/>
                  <a:gd name="T32" fmla="*/ 64 w 329"/>
                  <a:gd name="T33" fmla="*/ 152 h 284"/>
                  <a:gd name="T34" fmla="*/ 67 w 329"/>
                  <a:gd name="T35" fmla="*/ 157 h 284"/>
                  <a:gd name="T36" fmla="*/ 72 w 329"/>
                  <a:gd name="T37" fmla="*/ 172 h 284"/>
                  <a:gd name="T38" fmla="*/ 71 w 329"/>
                  <a:gd name="T39" fmla="*/ 180 h 284"/>
                  <a:gd name="T40" fmla="*/ 76 w 329"/>
                  <a:gd name="T41" fmla="*/ 194 h 284"/>
                  <a:gd name="T42" fmla="*/ 87 w 329"/>
                  <a:gd name="T43" fmla="*/ 208 h 284"/>
                  <a:gd name="T44" fmla="*/ 94 w 329"/>
                  <a:gd name="T45" fmla="*/ 212 h 284"/>
                  <a:gd name="T46" fmla="*/ 100 w 329"/>
                  <a:gd name="T47" fmla="*/ 219 h 284"/>
                  <a:gd name="T48" fmla="*/ 107 w 329"/>
                  <a:gd name="T49" fmla="*/ 222 h 284"/>
                  <a:gd name="T50" fmla="*/ 113 w 329"/>
                  <a:gd name="T51" fmla="*/ 243 h 284"/>
                  <a:gd name="T52" fmla="*/ 128 w 329"/>
                  <a:gd name="T53" fmla="*/ 261 h 284"/>
                  <a:gd name="T54" fmla="*/ 139 w 329"/>
                  <a:gd name="T55" fmla="*/ 273 h 284"/>
                  <a:gd name="T56" fmla="*/ 147 w 329"/>
                  <a:gd name="T57" fmla="*/ 268 h 284"/>
                  <a:gd name="T58" fmla="*/ 151 w 329"/>
                  <a:gd name="T59" fmla="*/ 252 h 284"/>
                  <a:gd name="T60" fmla="*/ 178 w 329"/>
                  <a:gd name="T61" fmla="*/ 261 h 284"/>
                  <a:gd name="T62" fmla="*/ 223 w 329"/>
                  <a:gd name="T63" fmla="*/ 243 h 284"/>
                  <a:gd name="T64" fmla="*/ 325 w 329"/>
                  <a:gd name="T65" fmla="*/ 163 h 284"/>
                  <a:gd name="T66" fmla="*/ 275 w 329"/>
                  <a:gd name="T67" fmla="*/ 162 h 284"/>
                  <a:gd name="T68" fmla="*/ 267 w 329"/>
                  <a:gd name="T69" fmla="*/ 139 h 284"/>
                  <a:gd name="T70" fmla="*/ 265 w 329"/>
                  <a:gd name="T71" fmla="*/ 136 h 284"/>
                  <a:gd name="T72" fmla="*/ 263 w 329"/>
                  <a:gd name="T73" fmla="*/ 132 h 284"/>
                  <a:gd name="T74" fmla="*/ 255 w 329"/>
                  <a:gd name="T75" fmla="*/ 129 h 284"/>
                  <a:gd name="T76" fmla="*/ 252 w 329"/>
                  <a:gd name="T77" fmla="*/ 124 h 284"/>
                  <a:gd name="T78" fmla="*/ 241 w 329"/>
                  <a:gd name="T79" fmla="*/ 106 h 284"/>
                  <a:gd name="T80" fmla="*/ 239 w 329"/>
                  <a:gd name="T81" fmla="*/ 98 h 284"/>
                  <a:gd name="T82" fmla="*/ 236 w 329"/>
                  <a:gd name="T83" fmla="*/ 92 h 284"/>
                  <a:gd name="T84" fmla="*/ 226 w 329"/>
                  <a:gd name="T85" fmla="*/ 82 h 284"/>
                  <a:gd name="T86" fmla="*/ 229 w 329"/>
                  <a:gd name="T87" fmla="*/ 82 h 284"/>
                  <a:gd name="T88" fmla="*/ 219 w 329"/>
                  <a:gd name="T89" fmla="*/ 78 h 284"/>
                  <a:gd name="T90" fmla="*/ 213 w 329"/>
                  <a:gd name="T91" fmla="*/ 64 h 284"/>
                  <a:gd name="T92" fmla="*/ 211 w 329"/>
                  <a:gd name="T93" fmla="*/ 6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9" h="284">
                    <a:moveTo>
                      <a:pt x="211" y="60"/>
                    </a:moveTo>
                    <a:lnTo>
                      <a:pt x="201" y="65"/>
                    </a:lnTo>
                    <a:lnTo>
                      <a:pt x="200" y="59"/>
                    </a:lnTo>
                    <a:lnTo>
                      <a:pt x="185" y="56"/>
                    </a:lnTo>
                    <a:lnTo>
                      <a:pt x="154" y="54"/>
                    </a:lnTo>
                    <a:lnTo>
                      <a:pt x="80" y="2"/>
                    </a:lnTo>
                    <a:lnTo>
                      <a:pt x="66" y="0"/>
                    </a:lnTo>
                    <a:lnTo>
                      <a:pt x="59" y="7"/>
                    </a:lnTo>
                    <a:lnTo>
                      <a:pt x="36" y="13"/>
                    </a:lnTo>
                    <a:lnTo>
                      <a:pt x="54" y="33"/>
                    </a:lnTo>
                    <a:lnTo>
                      <a:pt x="48" y="41"/>
                    </a:lnTo>
                    <a:lnTo>
                      <a:pt x="46" y="46"/>
                    </a:lnTo>
                    <a:lnTo>
                      <a:pt x="35" y="47"/>
                    </a:lnTo>
                    <a:lnTo>
                      <a:pt x="23" y="59"/>
                    </a:lnTo>
                    <a:lnTo>
                      <a:pt x="7" y="56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2" y="69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5"/>
                    </a:lnTo>
                    <a:lnTo>
                      <a:pt x="5" y="74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7" y="87"/>
                    </a:lnTo>
                    <a:lnTo>
                      <a:pt x="17" y="88"/>
                    </a:lnTo>
                    <a:lnTo>
                      <a:pt x="18" y="92"/>
                    </a:lnTo>
                    <a:lnTo>
                      <a:pt x="22" y="95"/>
                    </a:lnTo>
                    <a:lnTo>
                      <a:pt x="23" y="95"/>
                    </a:lnTo>
                    <a:lnTo>
                      <a:pt x="28" y="103"/>
                    </a:lnTo>
                    <a:lnTo>
                      <a:pt x="28" y="105"/>
                    </a:lnTo>
                    <a:lnTo>
                      <a:pt x="30" y="108"/>
                    </a:lnTo>
                    <a:lnTo>
                      <a:pt x="31" y="108"/>
                    </a:lnTo>
                    <a:lnTo>
                      <a:pt x="33" y="113"/>
                    </a:lnTo>
                    <a:lnTo>
                      <a:pt x="35" y="114"/>
                    </a:lnTo>
                    <a:lnTo>
                      <a:pt x="38" y="116"/>
                    </a:lnTo>
                    <a:lnTo>
                      <a:pt x="40" y="124"/>
                    </a:lnTo>
                    <a:lnTo>
                      <a:pt x="43" y="126"/>
                    </a:lnTo>
                    <a:lnTo>
                      <a:pt x="43" y="131"/>
                    </a:lnTo>
                    <a:lnTo>
                      <a:pt x="43" y="132"/>
                    </a:lnTo>
                    <a:lnTo>
                      <a:pt x="43" y="136"/>
                    </a:lnTo>
                    <a:lnTo>
                      <a:pt x="46" y="137"/>
                    </a:lnTo>
                    <a:lnTo>
                      <a:pt x="46" y="141"/>
                    </a:lnTo>
                    <a:lnTo>
                      <a:pt x="48" y="142"/>
                    </a:lnTo>
                    <a:lnTo>
                      <a:pt x="51" y="139"/>
                    </a:lnTo>
                    <a:lnTo>
                      <a:pt x="54" y="142"/>
                    </a:lnTo>
                    <a:lnTo>
                      <a:pt x="59" y="144"/>
                    </a:lnTo>
                    <a:lnTo>
                      <a:pt x="63" y="149"/>
                    </a:lnTo>
                    <a:lnTo>
                      <a:pt x="64" y="152"/>
                    </a:lnTo>
                    <a:lnTo>
                      <a:pt x="66" y="152"/>
                    </a:lnTo>
                    <a:lnTo>
                      <a:pt x="66" y="155"/>
                    </a:lnTo>
                    <a:lnTo>
                      <a:pt x="67" y="157"/>
                    </a:lnTo>
                    <a:lnTo>
                      <a:pt x="69" y="163"/>
                    </a:lnTo>
                    <a:lnTo>
                      <a:pt x="72" y="165"/>
                    </a:lnTo>
                    <a:lnTo>
                      <a:pt x="72" y="172"/>
                    </a:lnTo>
                    <a:lnTo>
                      <a:pt x="74" y="173"/>
                    </a:lnTo>
                    <a:lnTo>
                      <a:pt x="72" y="178"/>
                    </a:lnTo>
                    <a:lnTo>
                      <a:pt x="71" y="180"/>
                    </a:lnTo>
                    <a:lnTo>
                      <a:pt x="72" y="181"/>
                    </a:lnTo>
                    <a:lnTo>
                      <a:pt x="74" y="188"/>
                    </a:lnTo>
                    <a:lnTo>
                      <a:pt x="76" y="194"/>
                    </a:lnTo>
                    <a:lnTo>
                      <a:pt x="77" y="196"/>
                    </a:lnTo>
                    <a:lnTo>
                      <a:pt x="79" y="199"/>
                    </a:lnTo>
                    <a:lnTo>
                      <a:pt x="87" y="208"/>
                    </a:lnTo>
                    <a:lnTo>
                      <a:pt x="89" y="209"/>
                    </a:lnTo>
                    <a:lnTo>
                      <a:pt x="92" y="209"/>
                    </a:lnTo>
                    <a:lnTo>
                      <a:pt x="94" y="212"/>
                    </a:lnTo>
                    <a:lnTo>
                      <a:pt x="95" y="212"/>
                    </a:lnTo>
                    <a:lnTo>
                      <a:pt x="100" y="216"/>
                    </a:lnTo>
                    <a:lnTo>
                      <a:pt x="100" y="219"/>
                    </a:lnTo>
                    <a:lnTo>
                      <a:pt x="105" y="219"/>
                    </a:lnTo>
                    <a:lnTo>
                      <a:pt x="103" y="222"/>
                    </a:lnTo>
                    <a:lnTo>
                      <a:pt x="107" y="222"/>
                    </a:lnTo>
                    <a:lnTo>
                      <a:pt x="110" y="237"/>
                    </a:lnTo>
                    <a:lnTo>
                      <a:pt x="113" y="239"/>
                    </a:lnTo>
                    <a:lnTo>
                      <a:pt x="113" y="243"/>
                    </a:lnTo>
                    <a:lnTo>
                      <a:pt x="125" y="255"/>
                    </a:lnTo>
                    <a:lnTo>
                      <a:pt x="128" y="255"/>
                    </a:lnTo>
                    <a:lnTo>
                      <a:pt x="128" y="261"/>
                    </a:lnTo>
                    <a:lnTo>
                      <a:pt x="133" y="263"/>
                    </a:lnTo>
                    <a:lnTo>
                      <a:pt x="136" y="271"/>
                    </a:lnTo>
                    <a:lnTo>
                      <a:pt x="139" y="273"/>
                    </a:lnTo>
                    <a:lnTo>
                      <a:pt x="141" y="273"/>
                    </a:lnTo>
                    <a:lnTo>
                      <a:pt x="143" y="270"/>
                    </a:lnTo>
                    <a:lnTo>
                      <a:pt x="147" y="268"/>
                    </a:lnTo>
                    <a:lnTo>
                      <a:pt x="144" y="261"/>
                    </a:lnTo>
                    <a:lnTo>
                      <a:pt x="146" y="255"/>
                    </a:lnTo>
                    <a:lnTo>
                      <a:pt x="151" y="252"/>
                    </a:lnTo>
                    <a:lnTo>
                      <a:pt x="156" y="257"/>
                    </a:lnTo>
                    <a:lnTo>
                      <a:pt x="165" y="257"/>
                    </a:lnTo>
                    <a:lnTo>
                      <a:pt x="178" y="261"/>
                    </a:lnTo>
                    <a:lnTo>
                      <a:pt x="193" y="270"/>
                    </a:lnTo>
                    <a:lnTo>
                      <a:pt x="193" y="284"/>
                    </a:lnTo>
                    <a:lnTo>
                      <a:pt x="223" y="243"/>
                    </a:lnTo>
                    <a:lnTo>
                      <a:pt x="327" y="212"/>
                    </a:lnTo>
                    <a:lnTo>
                      <a:pt x="329" y="176"/>
                    </a:lnTo>
                    <a:lnTo>
                      <a:pt x="325" y="163"/>
                    </a:lnTo>
                    <a:lnTo>
                      <a:pt x="325" y="163"/>
                    </a:lnTo>
                    <a:lnTo>
                      <a:pt x="321" y="168"/>
                    </a:lnTo>
                    <a:lnTo>
                      <a:pt x="275" y="162"/>
                    </a:lnTo>
                    <a:lnTo>
                      <a:pt x="270" y="149"/>
                    </a:lnTo>
                    <a:lnTo>
                      <a:pt x="267" y="144"/>
                    </a:lnTo>
                    <a:lnTo>
                      <a:pt x="267" y="139"/>
                    </a:lnTo>
                    <a:lnTo>
                      <a:pt x="267" y="139"/>
                    </a:lnTo>
                    <a:lnTo>
                      <a:pt x="267" y="139"/>
                    </a:lnTo>
                    <a:lnTo>
                      <a:pt x="265" y="136"/>
                    </a:lnTo>
                    <a:lnTo>
                      <a:pt x="265" y="134"/>
                    </a:lnTo>
                    <a:lnTo>
                      <a:pt x="267" y="132"/>
                    </a:lnTo>
                    <a:lnTo>
                      <a:pt x="263" y="132"/>
                    </a:lnTo>
                    <a:lnTo>
                      <a:pt x="263" y="132"/>
                    </a:lnTo>
                    <a:lnTo>
                      <a:pt x="260" y="132"/>
                    </a:lnTo>
                    <a:lnTo>
                      <a:pt x="255" y="129"/>
                    </a:lnTo>
                    <a:lnTo>
                      <a:pt x="255" y="127"/>
                    </a:lnTo>
                    <a:lnTo>
                      <a:pt x="254" y="129"/>
                    </a:lnTo>
                    <a:lnTo>
                      <a:pt x="252" y="124"/>
                    </a:lnTo>
                    <a:lnTo>
                      <a:pt x="250" y="121"/>
                    </a:lnTo>
                    <a:lnTo>
                      <a:pt x="242" y="111"/>
                    </a:lnTo>
                    <a:lnTo>
                      <a:pt x="241" y="106"/>
                    </a:lnTo>
                    <a:lnTo>
                      <a:pt x="242" y="106"/>
                    </a:lnTo>
                    <a:lnTo>
                      <a:pt x="242" y="105"/>
                    </a:lnTo>
                    <a:lnTo>
                      <a:pt x="239" y="98"/>
                    </a:lnTo>
                    <a:lnTo>
                      <a:pt x="239" y="95"/>
                    </a:lnTo>
                    <a:lnTo>
                      <a:pt x="237" y="92"/>
                    </a:lnTo>
                    <a:lnTo>
                      <a:pt x="236" y="92"/>
                    </a:lnTo>
                    <a:lnTo>
                      <a:pt x="231" y="85"/>
                    </a:lnTo>
                    <a:lnTo>
                      <a:pt x="229" y="85"/>
                    </a:lnTo>
                    <a:lnTo>
                      <a:pt x="226" y="82"/>
                    </a:lnTo>
                    <a:lnTo>
                      <a:pt x="227" y="82"/>
                    </a:lnTo>
                    <a:lnTo>
                      <a:pt x="227" y="80"/>
                    </a:lnTo>
                    <a:lnTo>
                      <a:pt x="229" y="82"/>
                    </a:lnTo>
                    <a:lnTo>
                      <a:pt x="227" y="80"/>
                    </a:lnTo>
                    <a:lnTo>
                      <a:pt x="226" y="78"/>
                    </a:lnTo>
                    <a:lnTo>
                      <a:pt x="219" y="78"/>
                    </a:lnTo>
                    <a:lnTo>
                      <a:pt x="216" y="70"/>
                    </a:lnTo>
                    <a:lnTo>
                      <a:pt x="214" y="65"/>
                    </a:lnTo>
                    <a:lnTo>
                      <a:pt x="213" y="64"/>
                    </a:lnTo>
                    <a:lnTo>
                      <a:pt x="213" y="62"/>
                    </a:lnTo>
                    <a:lnTo>
                      <a:pt x="213" y="62"/>
                    </a:lnTo>
                    <a:lnTo>
                      <a:pt x="211" y="6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8" name="Freeform 241">
                <a:extLst>
                  <a:ext uri="{FF2B5EF4-FFF2-40B4-BE49-F238E27FC236}">
                    <a16:creationId xmlns:a16="http://schemas.microsoft.com/office/drawing/2014/main" xmlns="" id="{6610C144-034F-40A2-AD15-6F6279025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618"/>
                <a:ext cx="13" cy="27"/>
              </a:xfrm>
              <a:custGeom>
                <a:avLst/>
                <a:gdLst>
                  <a:gd name="T0" fmla="*/ 9 w 13"/>
                  <a:gd name="T1" fmla="*/ 27 h 27"/>
                  <a:gd name="T2" fmla="*/ 6 w 13"/>
                  <a:gd name="T3" fmla="*/ 27 h 27"/>
                  <a:gd name="T4" fmla="*/ 1 w 13"/>
                  <a:gd name="T5" fmla="*/ 24 h 27"/>
                  <a:gd name="T6" fmla="*/ 1 w 13"/>
                  <a:gd name="T7" fmla="*/ 22 h 27"/>
                  <a:gd name="T8" fmla="*/ 1 w 13"/>
                  <a:gd name="T9" fmla="*/ 22 h 27"/>
                  <a:gd name="T10" fmla="*/ 1 w 13"/>
                  <a:gd name="T11" fmla="*/ 19 h 27"/>
                  <a:gd name="T12" fmla="*/ 1 w 13"/>
                  <a:gd name="T13" fmla="*/ 18 h 27"/>
                  <a:gd name="T14" fmla="*/ 0 w 13"/>
                  <a:gd name="T15" fmla="*/ 16 h 27"/>
                  <a:gd name="T16" fmla="*/ 0 w 13"/>
                  <a:gd name="T17" fmla="*/ 11 h 27"/>
                  <a:gd name="T18" fmla="*/ 1 w 13"/>
                  <a:gd name="T19" fmla="*/ 11 h 27"/>
                  <a:gd name="T20" fmla="*/ 3 w 13"/>
                  <a:gd name="T21" fmla="*/ 11 h 27"/>
                  <a:gd name="T22" fmla="*/ 1 w 13"/>
                  <a:gd name="T23" fmla="*/ 6 h 27"/>
                  <a:gd name="T24" fmla="*/ 3 w 13"/>
                  <a:gd name="T25" fmla="*/ 6 h 27"/>
                  <a:gd name="T26" fmla="*/ 1 w 13"/>
                  <a:gd name="T27" fmla="*/ 5 h 27"/>
                  <a:gd name="T28" fmla="*/ 3 w 13"/>
                  <a:gd name="T29" fmla="*/ 3 h 27"/>
                  <a:gd name="T30" fmla="*/ 3 w 13"/>
                  <a:gd name="T31" fmla="*/ 1 h 27"/>
                  <a:gd name="T32" fmla="*/ 4 w 13"/>
                  <a:gd name="T33" fmla="*/ 1 h 27"/>
                  <a:gd name="T34" fmla="*/ 4 w 13"/>
                  <a:gd name="T35" fmla="*/ 0 h 27"/>
                  <a:gd name="T36" fmla="*/ 6 w 13"/>
                  <a:gd name="T37" fmla="*/ 0 h 27"/>
                  <a:gd name="T38" fmla="*/ 8 w 13"/>
                  <a:gd name="T39" fmla="*/ 3 h 27"/>
                  <a:gd name="T40" fmla="*/ 9 w 13"/>
                  <a:gd name="T41" fmla="*/ 5 h 27"/>
                  <a:gd name="T42" fmla="*/ 9 w 13"/>
                  <a:gd name="T43" fmla="*/ 5 h 27"/>
                  <a:gd name="T44" fmla="*/ 11 w 13"/>
                  <a:gd name="T45" fmla="*/ 5 h 27"/>
                  <a:gd name="T46" fmla="*/ 9 w 13"/>
                  <a:gd name="T47" fmla="*/ 11 h 27"/>
                  <a:gd name="T48" fmla="*/ 9 w 13"/>
                  <a:gd name="T49" fmla="*/ 11 h 27"/>
                  <a:gd name="T50" fmla="*/ 9 w 13"/>
                  <a:gd name="T51" fmla="*/ 16 h 27"/>
                  <a:gd name="T52" fmla="*/ 11 w 13"/>
                  <a:gd name="T53" fmla="*/ 16 h 27"/>
                  <a:gd name="T54" fmla="*/ 13 w 13"/>
                  <a:gd name="T55" fmla="*/ 19 h 27"/>
                  <a:gd name="T56" fmla="*/ 11 w 13"/>
                  <a:gd name="T57" fmla="*/ 27 h 27"/>
                  <a:gd name="T58" fmla="*/ 9 w 13"/>
                  <a:gd name="T59" fmla="*/ 27 h 27"/>
                  <a:gd name="T60" fmla="*/ 9 w 13"/>
                  <a:gd name="T6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" h="27">
                    <a:moveTo>
                      <a:pt x="9" y="27"/>
                    </a:moveTo>
                    <a:lnTo>
                      <a:pt x="6" y="27"/>
                    </a:lnTo>
                    <a:lnTo>
                      <a:pt x="1" y="24"/>
                    </a:lnTo>
                    <a:lnTo>
                      <a:pt x="1" y="22"/>
                    </a:lnTo>
                    <a:lnTo>
                      <a:pt x="1" y="22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3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9" y="2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29" name="Freeform 242">
                <a:extLst>
                  <a:ext uri="{FF2B5EF4-FFF2-40B4-BE49-F238E27FC236}">
                    <a16:creationId xmlns:a16="http://schemas.microsoft.com/office/drawing/2014/main" xmlns="" id="{19E658E4-7969-4EA2-9ECE-E8DF6F01C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" y="1621"/>
                <a:ext cx="75" cy="60"/>
              </a:xfrm>
              <a:custGeom>
                <a:avLst/>
                <a:gdLst>
                  <a:gd name="T0" fmla="*/ 0 w 75"/>
                  <a:gd name="T1" fmla="*/ 31 h 60"/>
                  <a:gd name="T2" fmla="*/ 0 w 75"/>
                  <a:gd name="T3" fmla="*/ 36 h 60"/>
                  <a:gd name="T4" fmla="*/ 3 w 75"/>
                  <a:gd name="T5" fmla="*/ 41 h 60"/>
                  <a:gd name="T6" fmla="*/ 8 w 75"/>
                  <a:gd name="T7" fmla="*/ 54 h 60"/>
                  <a:gd name="T8" fmla="*/ 54 w 75"/>
                  <a:gd name="T9" fmla="*/ 60 h 60"/>
                  <a:gd name="T10" fmla="*/ 58 w 75"/>
                  <a:gd name="T11" fmla="*/ 55 h 60"/>
                  <a:gd name="T12" fmla="*/ 72 w 75"/>
                  <a:gd name="T13" fmla="*/ 13 h 60"/>
                  <a:gd name="T14" fmla="*/ 75 w 75"/>
                  <a:gd name="T15" fmla="*/ 13 h 60"/>
                  <a:gd name="T16" fmla="*/ 75 w 75"/>
                  <a:gd name="T17" fmla="*/ 8 h 60"/>
                  <a:gd name="T18" fmla="*/ 75 w 75"/>
                  <a:gd name="T19" fmla="*/ 6 h 60"/>
                  <a:gd name="T20" fmla="*/ 73 w 75"/>
                  <a:gd name="T21" fmla="*/ 6 h 60"/>
                  <a:gd name="T22" fmla="*/ 72 w 75"/>
                  <a:gd name="T23" fmla="*/ 6 h 60"/>
                  <a:gd name="T24" fmla="*/ 72 w 75"/>
                  <a:gd name="T25" fmla="*/ 6 h 60"/>
                  <a:gd name="T26" fmla="*/ 72 w 75"/>
                  <a:gd name="T27" fmla="*/ 5 h 60"/>
                  <a:gd name="T28" fmla="*/ 70 w 75"/>
                  <a:gd name="T29" fmla="*/ 0 h 60"/>
                  <a:gd name="T30" fmla="*/ 68 w 75"/>
                  <a:gd name="T31" fmla="*/ 0 h 60"/>
                  <a:gd name="T32" fmla="*/ 68 w 75"/>
                  <a:gd name="T33" fmla="*/ 2 h 60"/>
                  <a:gd name="T34" fmla="*/ 67 w 75"/>
                  <a:gd name="T35" fmla="*/ 3 h 60"/>
                  <a:gd name="T36" fmla="*/ 57 w 75"/>
                  <a:gd name="T37" fmla="*/ 10 h 60"/>
                  <a:gd name="T38" fmla="*/ 57 w 75"/>
                  <a:gd name="T39" fmla="*/ 13 h 60"/>
                  <a:gd name="T40" fmla="*/ 49 w 75"/>
                  <a:gd name="T41" fmla="*/ 21 h 60"/>
                  <a:gd name="T42" fmla="*/ 47 w 75"/>
                  <a:gd name="T43" fmla="*/ 24 h 60"/>
                  <a:gd name="T44" fmla="*/ 49 w 75"/>
                  <a:gd name="T45" fmla="*/ 24 h 60"/>
                  <a:gd name="T46" fmla="*/ 49 w 75"/>
                  <a:gd name="T47" fmla="*/ 26 h 60"/>
                  <a:gd name="T48" fmla="*/ 45 w 75"/>
                  <a:gd name="T49" fmla="*/ 31 h 60"/>
                  <a:gd name="T50" fmla="*/ 44 w 75"/>
                  <a:gd name="T51" fmla="*/ 29 h 60"/>
                  <a:gd name="T52" fmla="*/ 42 w 75"/>
                  <a:gd name="T53" fmla="*/ 29 h 60"/>
                  <a:gd name="T54" fmla="*/ 40 w 75"/>
                  <a:gd name="T55" fmla="*/ 29 h 60"/>
                  <a:gd name="T56" fmla="*/ 40 w 75"/>
                  <a:gd name="T57" fmla="*/ 33 h 60"/>
                  <a:gd name="T58" fmla="*/ 39 w 75"/>
                  <a:gd name="T59" fmla="*/ 33 h 60"/>
                  <a:gd name="T60" fmla="*/ 39 w 75"/>
                  <a:gd name="T61" fmla="*/ 34 h 60"/>
                  <a:gd name="T62" fmla="*/ 34 w 75"/>
                  <a:gd name="T63" fmla="*/ 34 h 60"/>
                  <a:gd name="T64" fmla="*/ 31 w 75"/>
                  <a:gd name="T65" fmla="*/ 36 h 60"/>
                  <a:gd name="T66" fmla="*/ 29 w 75"/>
                  <a:gd name="T67" fmla="*/ 33 h 60"/>
                  <a:gd name="T68" fmla="*/ 26 w 75"/>
                  <a:gd name="T69" fmla="*/ 34 h 60"/>
                  <a:gd name="T70" fmla="*/ 26 w 75"/>
                  <a:gd name="T71" fmla="*/ 33 h 60"/>
                  <a:gd name="T72" fmla="*/ 23 w 75"/>
                  <a:gd name="T73" fmla="*/ 33 h 60"/>
                  <a:gd name="T74" fmla="*/ 18 w 75"/>
                  <a:gd name="T75" fmla="*/ 33 h 60"/>
                  <a:gd name="T76" fmla="*/ 11 w 75"/>
                  <a:gd name="T77" fmla="*/ 37 h 60"/>
                  <a:gd name="T78" fmla="*/ 8 w 75"/>
                  <a:gd name="T79" fmla="*/ 36 h 60"/>
                  <a:gd name="T80" fmla="*/ 6 w 75"/>
                  <a:gd name="T81" fmla="*/ 36 h 60"/>
                  <a:gd name="T82" fmla="*/ 3 w 75"/>
                  <a:gd name="T83" fmla="*/ 37 h 60"/>
                  <a:gd name="T84" fmla="*/ 3 w 75"/>
                  <a:gd name="T85" fmla="*/ 29 h 60"/>
                  <a:gd name="T86" fmla="*/ 1 w 75"/>
                  <a:gd name="T87" fmla="*/ 31 h 60"/>
                  <a:gd name="T88" fmla="*/ 0 w 75"/>
                  <a:gd name="T89" fmla="*/ 3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60">
                    <a:moveTo>
                      <a:pt x="0" y="31"/>
                    </a:moveTo>
                    <a:lnTo>
                      <a:pt x="0" y="36"/>
                    </a:lnTo>
                    <a:lnTo>
                      <a:pt x="3" y="41"/>
                    </a:lnTo>
                    <a:lnTo>
                      <a:pt x="8" y="54"/>
                    </a:lnTo>
                    <a:lnTo>
                      <a:pt x="54" y="60"/>
                    </a:lnTo>
                    <a:lnTo>
                      <a:pt x="58" y="55"/>
                    </a:lnTo>
                    <a:lnTo>
                      <a:pt x="72" y="13"/>
                    </a:lnTo>
                    <a:lnTo>
                      <a:pt x="75" y="13"/>
                    </a:lnTo>
                    <a:lnTo>
                      <a:pt x="75" y="8"/>
                    </a:lnTo>
                    <a:lnTo>
                      <a:pt x="75" y="6"/>
                    </a:lnTo>
                    <a:lnTo>
                      <a:pt x="73" y="6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7" y="3"/>
                    </a:lnTo>
                    <a:lnTo>
                      <a:pt x="57" y="10"/>
                    </a:lnTo>
                    <a:lnTo>
                      <a:pt x="57" y="13"/>
                    </a:lnTo>
                    <a:lnTo>
                      <a:pt x="49" y="21"/>
                    </a:lnTo>
                    <a:lnTo>
                      <a:pt x="47" y="24"/>
                    </a:lnTo>
                    <a:lnTo>
                      <a:pt x="49" y="24"/>
                    </a:lnTo>
                    <a:lnTo>
                      <a:pt x="49" y="26"/>
                    </a:lnTo>
                    <a:lnTo>
                      <a:pt x="45" y="31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0" y="29"/>
                    </a:lnTo>
                    <a:lnTo>
                      <a:pt x="40" y="33"/>
                    </a:lnTo>
                    <a:lnTo>
                      <a:pt x="39" y="33"/>
                    </a:lnTo>
                    <a:lnTo>
                      <a:pt x="39" y="34"/>
                    </a:lnTo>
                    <a:lnTo>
                      <a:pt x="34" y="34"/>
                    </a:lnTo>
                    <a:lnTo>
                      <a:pt x="31" y="36"/>
                    </a:lnTo>
                    <a:lnTo>
                      <a:pt x="29" y="33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3" y="33"/>
                    </a:lnTo>
                    <a:lnTo>
                      <a:pt x="18" y="33"/>
                    </a:lnTo>
                    <a:lnTo>
                      <a:pt x="11" y="37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3" y="37"/>
                    </a:lnTo>
                    <a:lnTo>
                      <a:pt x="3" y="29"/>
                    </a:lnTo>
                    <a:lnTo>
                      <a:pt x="1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0" name="Freeform 243">
                <a:extLst>
                  <a:ext uri="{FF2B5EF4-FFF2-40B4-BE49-F238E27FC236}">
                    <a16:creationId xmlns:a16="http://schemas.microsoft.com/office/drawing/2014/main" xmlns="" id="{42C46A07-7BAC-447E-B593-03650F0646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0" y="1392"/>
                <a:ext cx="47" cy="21"/>
              </a:xfrm>
              <a:custGeom>
                <a:avLst/>
                <a:gdLst>
                  <a:gd name="T0" fmla="*/ 19 w 47"/>
                  <a:gd name="T1" fmla="*/ 0 h 21"/>
                  <a:gd name="T2" fmla="*/ 22 w 47"/>
                  <a:gd name="T3" fmla="*/ 2 h 21"/>
                  <a:gd name="T4" fmla="*/ 22 w 47"/>
                  <a:gd name="T5" fmla="*/ 0 h 21"/>
                  <a:gd name="T6" fmla="*/ 21 w 47"/>
                  <a:gd name="T7" fmla="*/ 0 h 21"/>
                  <a:gd name="T8" fmla="*/ 19 w 47"/>
                  <a:gd name="T9" fmla="*/ 0 h 21"/>
                  <a:gd name="T10" fmla="*/ 19 w 47"/>
                  <a:gd name="T11" fmla="*/ 0 h 21"/>
                  <a:gd name="T12" fmla="*/ 6 w 47"/>
                  <a:gd name="T13" fmla="*/ 0 h 21"/>
                  <a:gd name="T14" fmla="*/ 9 w 47"/>
                  <a:gd name="T15" fmla="*/ 2 h 21"/>
                  <a:gd name="T16" fmla="*/ 8 w 47"/>
                  <a:gd name="T17" fmla="*/ 0 h 21"/>
                  <a:gd name="T18" fmla="*/ 6 w 47"/>
                  <a:gd name="T19" fmla="*/ 0 h 21"/>
                  <a:gd name="T20" fmla="*/ 6 w 47"/>
                  <a:gd name="T21" fmla="*/ 0 h 21"/>
                  <a:gd name="T22" fmla="*/ 0 w 47"/>
                  <a:gd name="T23" fmla="*/ 3 h 21"/>
                  <a:gd name="T24" fmla="*/ 1 w 47"/>
                  <a:gd name="T25" fmla="*/ 7 h 21"/>
                  <a:gd name="T26" fmla="*/ 5 w 47"/>
                  <a:gd name="T27" fmla="*/ 7 h 21"/>
                  <a:gd name="T28" fmla="*/ 6 w 47"/>
                  <a:gd name="T29" fmla="*/ 7 h 21"/>
                  <a:gd name="T30" fmla="*/ 3 w 47"/>
                  <a:gd name="T31" fmla="*/ 3 h 21"/>
                  <a:gd name="T32" fmla="*/ 0 w 47"/>
                  <a:gd name="T33" fmla="*/ 3 h 21"/>
                  <a:gd name="T34" fmla="*/ 0 w 47"/>
                  <a:gd name="T35" fmla="*/ 3 h 21"/>
                  <a:gd name="T36" fmla="*/ 44 w 47"/>
                  <a:gd name="T37" fmla="*/ 18 h 21"/>
                  <a:gd name="T38" fmla="*/ 40 w 47"/>
                  <a:gd name="T39" fmla="*/ 18 h 21"/>
                  <a:gd name="T40" fmla="*/ 42 w 47"/>
                  <a:gd name="T41" fmla="*/ 20 h 21"/>
                  <a:gd name="T42" fmla="*/ 45 w 47"/>
                  <a:gd name="T43" fmla="*/ 21 h 21"/>
                  <a:gd name="T44" fmla="*/ 47 w 47"/>
                  <a:gd name="T45" fmla="*/ 20 h 21"/>
                  <a:gd name="T46" fmla="*/ 45 w 47"/>
                  <a:gd name="T47" fmla="*/ 18 h 21"/>
                  <a:gd name="T48" fmla="*/ 44 w 47"/>
                  <a:gd name="T49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21">
                    <a:moveTo>
                      <a:pt x="19" y="0"/>
                    </a:moveTo>
                    <a:lnTo>
                      <a:pt x="22" y="2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6" y="0"/>
                    </a:moveTo>
                    <a:lnTo>
                      <a:pt x="9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  <a:moveTo>
                      <a:pt x="0" y="3"/>
                    </a:moveTo>
                    <a:lnTo>
                      <a:pt x="1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  <a:moveTo>
                      <a:pt x="44" y="18"/>
                    </a:moveTo>
                    <a:lnTo>
                      <a:pt x="40" y="18"/>
                    </a:lnTo>
                    <a:lnTo>
                      <a:pt x="42" y="20"/>
                    </a:lnTo>
                    <a:lnTo>
                      <a:pt x="45" y="21"/>
                    </a:lnTo>
                    <a:lnTo>
                      <a:pt x="47" y="20"/>
                    </a:lnTo>
                    <a:lnTo>
                      <a:pt x="45" y="18"/>
                    </a:lnTo>
                    <a:lnTo>
                      <a:pt x="44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1" name="Freeform 244">
                <a:extLst>
                  <a:ext uri="{FF2B5EF4-FFF2-40B4-BE49-F238E27FC236}">
                    <a16:creationId xmlns:a16="http://schemas.microsoft.com/office/drawing/2014/main" xmlns="" id="{8E98D4B3-542D-47FC-9ED3-CC00B93D2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9" y="1505"/>
                <a:ext cx="7" cy="3"/>
              </a:xfrm>
              <a:custGeom>
                <a:avLst/>
                <a:gdLst>
                  <a:gd name="T0" fmla="*/ 2 w 4"/>
                  <a:gd name="T1" fmla="*/ 2 h 2"/>
                  <a:gd name="T2" fmla="*/ 1 w 4"/>
                  <a:gd name="T3" fmla="*/ 1 h 2"/>
                  <a:gd name="T4" fmla="*/ 0 w 4"/>
                  <a:gd name="T5" fmla="*/ 0 h 2"/>
                  <a:gd name="T6" fmla="*/ 3 w 4"/>
                  <a:gd name="T7" fmla="*/ 0 h 2"/>
                  <a:gd name="T8" fmla="*/ 4 w 4"/>
                  <a:gd name="T9" fmla="*/ 1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2" name="Freeform 245">
                <a:extLst>
                  <a:ext uri="{FF2B5EF4-FFF2-40B4-BE49-F238E27FC236}">
                    <a16:creationId xmlns:a16="http://schemas.microsoft.com/office/drawing/2014/main" xmlns="" id="{490689D7-9E8C-49A5-A75A-BA35EBD7C8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5" y="1572"/>
                <a:ext cx="70" cy="26"/>
              </a:xfrm>
              <a:custGeom>
                <a:avLst/>
                <a:gdLst>
                  <a:gd name="T0" fmla="*/ 7 w 43"/>
                  <a:gd name="T1" fmla="*/ 12 h 16"/>
                  <a:gd name="T2" fmla="*/ 7 w 43"/>
                  <a:gd name="T3" fmla="*/ 11 h 16"/>
                  <a:gd name="T4" fmla="*/ 7 w 43"/>
                  <a:gd name="T5" fmla="*/ 10 h 16"/>
                  <a:gd name="T6" fmla="*/ 7 w 43"/>
                  <a:gd name="T7" fmla="*/ 11 h 16"/>
                  <a:gd name="T8" fmla="*/ 8 w 43"/>
                  <a:gd name="T9" fmla="*/ 11 h 16"/>
                  <a:gd name="T10" fmla="*/ 7 w 43"/>
                  <a:gd name="T11" fmla="*/ 12 h 16"/>
                  <a:gd name="T12" fmla="*/ 0 w 43"/>
                  <a:gd name="T13" fmla="*/ 16 h 16"/>
                  <a:gd name="T14" fmla="*/ 0 w 43"/>
                  <a:gd name="T15" fmla="*/ 15 h 16"/>
                  <a:gd name="T16" fmla="*/ 1 w 43"/>
                  <a:gd name="T17" fmla="*/ 14 h 16"/>
                  <a:gd name="T18" fmla="*/ 1 w 43"/>
                  <a:gd name="T19" fmla="*/ 14 h 16"/>
                  <a:gd name="T20" fmla="*/ 1 w 43"/>
                  <a:gd name="T21" fmla="*/ 16 h 16"/>
                  <a:gd name="T22" fmla="*/ 1 w 43"/>
                  <a:gd name="T23" fmla="*/ 16 h 16"/>
                  <a:gd name="T24" fmla="*/ 0 w 43"/>
                  <a:gd name="T25" fmla="*/ 16 h 16"/>
                  <a:gd name="T26" fmla="*/ 2 w 43"/>
                  <a:gd name="T27" fmla="*/ 7 h 16"/>
                  <a:gd name="T28" fmla="*/ 2 w 43"/>
                  <a:gd name="T29" fmla="*/ 5 h 16"/>
                  <a:gd name="T30" fmla="*/ 1 w 43"/>
                  <a:gd name="T31" fmla="*/ 4 h 16"/>
                  <a:gd name="T32" fmla="*/ 2 w 43"/>
                  <a:gd name="T33" fmla="*/ 3 h 16"/>
                  <a:gd name="T34" fmla="*/ 3 w 43"/>
                  <a:gd name="T35" fmla="*/ 4 h 16"/>
                  <a:gd name="T36" fmla="*/ 3 w 43"/>
                  <a:gd name="T37" fmla="*/ 6 h 16"/>
                  <a:gd name="T38" fmla="*/ 2 w 43"/>
                  <a:gd name="T39" fmla="*/ 7 h 16"/>
                  <a:gd name="T40" fmla="*/ 17 w 43"/>
                  <a:gd name="T41" fmla="*/ 10 h 16"/>
                  <a:gd name="T42" fmla="*/ 15 w 43"/>
                  <a:gd name="T43" fmla="*/ 10 h 16"/>
                  <a:gd name="T44" fmla="*/ 12 w 43"/>
                  <a:gd name="T45" fmla="*/ 12 h 16"/>
                  <a:gd name="T46" fmla="*/ 10 w 43"/>
                  <a:gd name="T47" fmla="*/ 11 h 16"/>
                  <a:gd name="T48" fmla="*/ 9 w 43"/>
                  <a:gd name="T49" fmla="*/ 10 h 16"/>
                  <a:gd name="T50" fmla="*/ 11 w 43"/>
                  <a:gd name="T51" fmla="*/ 8 h 16"/>
                  <a:gd name="T52" fmla="*/ 13 w 43"/>
                  <a:gd name="T53" fmla="*/ 9 h 16"/>
                  <a:gd name="T54" fmla="*/ 15 w 43"/>
                  <a:gd name="T55" fmla="*/ 8 h 16"/>
                  <a:gd name="T56" fmla="*/ 16 w 43"/>
                  <a:gd name="T57" fmla="*/ 7 h 16"/>
                  <a:gd name="T58" fmla="*/ 18 w 43"/>
                  <a:gd name="T59" fmla="*/ 7 h 16"/>
                  <a:gd name="T60" fmla="*/ 17 w 43"/>
                  <a:gd name="T61" fmla="*/ 10 h 16"/>
                  <a:gd name="T62" fmla="*/ 21 w 43"/>
                  <a:gd name="T63" fmla="*/ 10 h 16"/>
                  <a:gd name="T64" fmla="*/ 20 w 43"/>
                  <a:gd name="T65" fmla="*/ 13 h 16"/>
                  <a:gd name="T66" fmla="*/ 22 w 43"/>
                  <a:gd name="T67" fmla="*/ 15 h 16"/>
                  <a:gd name="T68" fmla="*/ 24 w 43"/>
                  <a:gd name="T69" fmla="*/ 14 h 16"/>
                  <a:gd name="T70" fmla="*/ 25 w 43"/>
                  <a:gd name="T71" fmla="*/ 13 h 16"/>
                  <a:gd name="T72" fmla="*/ 24 w 43"/>
                  <a:gd name="T73" fmla="*/ 11 h 16"/>
                  <a:gd name="T74" fmla="*/ 23 w 43"/>
                  <a:gd name="T75" fmla="*/ 10 h 16"/>
                  <a:gd name="T76" fmla="*/ 21 w 43"/>
                  <a:gd name="T77" fmla="*/ 10 h 16"/>
                  <a:gd name="T78" fmla="*/ 39 w 43"/>
                  <a:gd name="T79" fmla="*/ 3 h 16"/>
                  <a:gd name="T80" fmla="*/ 40 w 43"/>
                  <a:gd name="T81" fmla="*/ 0 h 16"/>
                  <a:gd name="T82" fmla="*/ 42 w 43"/>
                  <a:gd name="T83" fmla="*/ 0 h 16"/>
                  <a:gd name="T84" fmla="*/ 43 w 43"/>
                  <a:gd name="T85" fmla="*/ 2 h 16"/>
                  <a:gd name="T86" fmla="*/ 41 w 43"/>
                  <a:gd name="T87" fmla="*/ 2 h 16"/>
                  <a:gd name="T88" fmla="*/ 39 w 43"/>
                  <a:gd name="T89" fmla="*/ 3 h 16"/>
                  <a:gd name="T90" fmla="*/ 33 w 43"/>
                  <a:gd name="T91" fmla="*/ 11 h 16"/>
                  <a:gd name="T92" fmla="*/ 35 w 43"/>
                  <a:gd name="T93" fmla="*/ 9 h 16"/>
                  <a:gd name="T94" fmla="*/ 36 w 43"/>
                  <a:gd name="T95" fmla="*/ 7 h 16"/>
                  <a:gd name="T96" fmla="*/ 39 w 43"/>
                  <a:gd name="T97" fmla="*/ 6 h 16"/>
                  <a:gd name="T98" fmla="*/ 39 w 43"/>
                  <a:gd name="T99" fmla="*/ 8 h 16"/>
                  <a:gd name="T100" fmla="*/ 37 w 43"/>
                  <a:gd name="T101" fmla="*/ 11 h 16"/>
                  <a:gd name="T102" fmla="*/ 35 w 43"/>
                  <a:gd name="T103" fmla="*/ 12 h 16"/>
                  <a:gd name="T104" fmla="*/ 33 w 43"/>
                  <a:gd name="T105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3" h="16">
                    <a:moveTo>
                      <a:pt x="7" y="12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2"/>
                      <a:pt x="7" y="12"/>
                    </a:cubicBezTo>
                    <a:close/>
                    <a:moveTo>
                      <a:pt x="0" y="16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6"/>
                      <a:pt x="0" y="16"/>
                    </a:cubicBezTo>
                    <a:close/>
                    <a:moveTo>
                      <a:pt x="2" y="7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3" y="4"/>
                      <a:pt x="3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7"/>
                      <a:pt x="2" y="7"/>
                    </a:cubicBezTo>
                    <a:close/>
                    <a:moveTo>
                      <a:pt x="17" y="10"/>
                    </a:moveTo>
                    <a:cubicBezTo>
                      <a:pt x="15" y="10"/>
                      <a:pt x="15" y="10"/>
                      <a:pt x="15" y="10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10"/>
                      <a:pt x="17" y="10"/>
                      <a:pt x="17" y="10"/>
                    </a:cubicBezTo>
                    <a:close/>
                    <a:moveTo>
                      <a:pt x="21" y="10"/>
                    </a:moveTo>
                    <a:cubicBezTo>
                      <a:pt x="20" y="13"/>
                      <a:pt x="20" y="13"/>
                      <a:pt x="20" y="13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10"/>
                      <a:pt x="21" y="10"/>
                      <a:pt x="21" y="10"/>
                    </a:cubicBezTo>
                    <a:close/>
                    <a:moveTo>
                      <a:pt x="39" y="3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39" y="3"/>
                      <a:pt x="39" y="3"/>
                      <a:pt x="39" y="3"/>
                    </a:cubicBezTo>
                    <a:close/>
                    <a:moveTo>
                      <a:pt x="33" y="11"/>
                    </a:moveTo>
                    <a:cubicBezTo>
                      <a:pt x="35" y="9"/>
                      <a:pt x="35" y="9"/>
                      <a:pt x="35" y="9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5" y="12"/>
                      <a:pt x="35" y="12"/>
                      <a:pt x="35" y="12"/>
                    </a:cubicBezTo>
                    <a:lnTo>
                      <a:pt x="33" y="1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3" name="Freeform 246">
                <a:extLst>
                  <a:ext uri="{FF2B5EF4-FFF2-40B4-BE49-F238E27FC236}">
                    <a16:creationId xmlns:a16="http://schemas.microsoft.com/office/drawing/2014/main" xmlns="" id="{785A64C8-36E3-4FE0-822F-F414B4022E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6" y="1773"/>
                <a:ext cx="40" cy="39"/>
              </a:xfrm>
              <a:custGeom>
                <a:avLst/>
                <a:gdLst>
                  <a:gd name="T0" fmla="*/ 2 w 25"/>
                  <a:gd name="T1" fmla="*/ 3 h 24"/>
                  <a:gd name="T2" fmla="*/ 4 w 25"/>
                  <a:gd name="T3" fmla="*/ 1 h 24"/>
                  <a:gd name="T4" fmla="*/ 4 w 25"/>
                  <a:gd name="T5" fmla="*/ 0 h 24"/>
                  <a:gd name="T6" fmla="*/ 2 w 25"/>
                  <a:gd name="T7" fmla="*/ 0 h 24"/>
                  <a:gd name="T8" fmla="*/ 1 w 25"/>
                  <a:gd name="T9" fmla="*/ 1 h 24"/>
                  <a:gd name="T10" fmla="*/ 0 w 25"/>
                  <a:gd name="T11" fmla="*/ 1 h 24"/>
                  <a:gd name="T12" fmla="*/ 1 w 25"/>
                  <a:gd name="T13" fmla="*/ 2 h 24"/>
                  <a:gd name="T14" fmla="*/ 2 w 25"/>
                  <a:gd name="T15" fmla="*/ 3 h 24"/>
                  <a:gd name="T16" fmla="*/ 5 w 25"/>
                  <a:gd name="T17" fmla="*/ 4 h 24"/>
                  <a:gd name="T18" fmla="*/ 4 w 25"/>
                  <a:gd name="T19" fmla="*/ 3 h 24"/>
                  <a:gd name="T20" fmla="*/ 5 w 25"/>
                  <a:gd name="T21" fmla="*/ 2 h 24"/>
                  <a:gd name="T22" fmla="*/ 6 w 25"/>
                  <a:gd name="T23" fmla="*/ 2 h 24"/>
                  <a:gd name="T24" fmla="*/ 6 w 25"/>
                  <a:gd name="T25" fmla="*/ 4 h 24"/>
                  <a:gd name="T26" fmla="*/ 5 w 25"/>
                  <a:gd name="T27" fmla="*/ 4 h 24"/>
                  <a:gd name="T28" fmla="*/ 12 w 25"/>
                  <a:gd name="T29" fmla="*/ 6 h 24"/>
                  <a:gd name="T30" fmla="*/ 11 w 25"/>
                  <a:gd name="T31" fmla="*/ 6 h 24"/>
                  <a:gd name="T32" fmla="*/ 11 w 25"/>
                  <a:gd name="T33" fmla="*/ 7 h 24"/>
                  <a:gd name="T34" fmla="*/ 10 w 25"/>
                  <a:gd name="T35" fmla="*/ 6 h 24"/>
                  <a:gd name="T36" fmla="*/ 10 w 25"/>
                  <a:gd name="T37" fmla="*/ 5 h 24"/>
                  <a:gd name="T38" fmla="*/ 11 w 25"/>
                  <a:gd name="T39" fmla="*/ 5 h 24"/>
                  <a:gd name="T40" fmla="*/ 12 w 25"/>
                  <a:gd name="T41" fmla="*/ 6 h 24"/>
                  <a:gd name="T42" fmla="*/ 12 w 25"/>
                  <a:gd name="T43" fmla="*/ 6 h 24"/>
                  <a:gd name="T44" fmla="*/ 12 w 25"/>
                  <a:gd name="T45" fmla="*/ 6 h 24"/>
                  <a:gd name="T46" fmla="*/ 15 w 25"/>
                  <a:gd name="T47" fmla="*/ 6 h 24"/>
                  <a:gd name="T48" fmla="*/ 14 w 25"/>
                  <a:gd name="T49" fmla="*/ 7 h 24"/>
                  <a:gd name="T50" fmla="*/ 13 w 25"/>
                  <a:gd name="T51" fmla="*/ 6 h 24"/>
                  <a:gd name="T52" fmla="*/ 14 w 25"/>
                  <a:gd name="T53" fmla="*/ 5 h 24"/>
                  <a:gd name="T54" fmla="*/ 15 w 25"/>
                  <a:gd name="T55" fmla="*/ 6 h 24"/>
                  <a:gd name="T56" fmla="*/ 24 w 25"/>
                  <a:gd name="T57" fmla="*/ 6 h 24"/>
                  <a:gd name="T58" fmla="*/ 23 w 25"/>
                  <a:gd name="T59" fmla="*/ 4 h 24"/>
                  <a:gd name="T60" fmla="*/ 24 w 25"/>
                  <a:gd name="T61" fmla="*/ 3 h 24"/>
                  <a:gd name="T62" fmla="*/ 24 w 25"/>
                  <a:gd name="T63" fmla="*/ 5 h 24"/>
                  <a:gd name="T64" fmla="*/ 24 w 25"/>
                  <a:gd name="T65" fmla="*/ 6 h 24"/>
                  <a:gd name="T66" fmla="*/ 23 w 25"/>
                  <a:gd name="T67" fmla="*/ 12 h 24"/>
                  <a:gd name="T68" fmla="*/ 22 w 25"/>
                  <a:gd name="T69" fmla="*/ 11 h 24"/>
                  <a:gd name="T70" fmla="*/ 23 w 25"/>
                  <a:gd name="T71" fmla="*/ 10 h 24"/>
                  <a:gd name="T72" fmla="*/ 25 w 25"/>
                  <a:gd name="T73" fmla="*/ 10 h 24"/>
                  <a:gd name="T74" fmla="*/ 25 w 25"/>
                  <a:gd name="T75" fmla="*/ 12 h 24"/>
                  <a:gd name="T76" fmla="*/ 24 w 25"/>
                  <a:gd name="T77" fmla="*/ 12 h 24"/>
                  <a:gd name="T78" fmla="*/ 23 w 25"/>
                  <a:gd name="T79" fmla="*/ 12 h 24"/>
                  <a:gd name="T80" fmla="*/ 21 w 25"/>
                  <a:gd name="T81" fmla="*/ 21 h 24"/>
                  <a:gd name="T82" fmla="*/ 20 w 25"/>
                  <a:gd name="T83" fmla="*/ 20 h 24"/>
                  <a:gd name="T84" fmla="*/ 21 w 25"/>
                  <a:gd name="T85" fmla="*/ 20 h 24"/>
                  <a:gd name="T86" fmla="*/ 22 w 25"/>
                  <a:gd name="T87" fmla="*/ 21 h 24"/>
                  <a:gd name="T88" fmla="*/ 21 w 25"/>
                  <a:gd name="T89" fmla="*/ 21 h 24"/>
                  <a:gd name="T90" fmla="*/ 16 w 25"/>
                  <a:gd name="T91" fmla="*/ 23 h 24"/>
                  <a:gd name="T92" fmla="*/ 16 w 25"/>
                  <a:gd name="T93" fmla="*/ 21 h 24"/>
                  <a:gd name="T94" fmla="*/ 15 w 25"/>
                  <a:gd name="T95" fmla="*/ 20 h 24"/>
                  <a:gd name="T96" fmla="*/ 17 w 25"/>
                  <a:gd name="T97" fmla="*/ 20 h 24"/>
                  <a:gd name="T98" fmla="*/ 19 w 25"/>
                  <a:gd name="T99" fmla="*/ 22 h 24"/>
                  <a:gd name="T100" fmla="*/ 18 w 25"/>
                  <a:gd name="T101" fmla="*/ 24 h 24"/>
                  <a:gd name="T102" fmla="*/ 16 w 25"/>
                  <a:gd name="T103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" h="24">
                    <a:moveTo>
                      <a:pt x="2" y="3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3"/>
                      <a:pt x="2" y="3"/>
                    </a:cubicBezTo>
                    <a:close/>
                    <a:moveTo>
                      <a:pt x="5" y="4"/>
                    </a:moveTo>
                    <a:cubicBezTo>
                      <a:pt x="4" y="3"/>
                      <a:pt x="4" y="3"/>
                      <a:pt x="4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5" y="4"/>
                      <a:pt x="5" y="4"/>
                    </a:cubicBezTo>
                    <a:close/>
                    <a:moveTo>
                      <a:pt x="12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  <a:moveTo>
                      <a:pt x="15" y="6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5" y="6"/>
                      <a:pt x="15" y="6"/>
                      <a:pt x="15" y="6"/>
                    </a:cubicBezTo>
                    <a:close/>
                    <a:moveTo>
                      <a:pt x="24" y="6"/>
                    </a:moveTo>
                    <a:cubicBezTo>
                      <a:pt x="23" y="4"/>
                      <a:pt x="23" y="4"/>
                      <a:pt x="23" y="4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3" y="12"/>
                    </a:moveTo>
                    <a:cubicBezTo>
                      <a:pt x="22" y="11"/>
                      <a:pt x="22" y="11"/>
                      <a:pt x="22" y="1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2"/>
                      <a:pt x="23" y="12"/>
                    </a:cubicBezTo>
                    <a:close/>
                    <a:moveTo>
                      <a:pt x="21" y="21"/>
                    </a:moveTo>
                    <a:cubicBezTo>
                      <a:pt x="20" y="20"/>
                      <a:pt x="20" y="20"/>
                      <a:pt x="20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23"/>
                    </a:moveTo>
                    <a:cubicBezTo>
                      <a:pt x="16" y="21"/>
                      <a:pt x="16" y="21"/>
                      <a:pt x="16" y="21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8" y="24"/>
                      <a:pt x="18" y="24"/>
                      <a:pt x="18" y="24"/>
                    </a:cubicBezTo>
                    <a:lnTo>
                      <a:pt x="16" y="2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4" name="Freeform 247">
                <a:extLst>
                  <a:ext uri="{FF2B5EF4-FFF2-40B4-BE49-F238E27FC236}">
                    <a16:creationId xmlns:a16="http://schemas.microsoft.com/office/drawing/2014/main" xmlns="" id="{906F0251-C61C-40DC-B20A-0621F6C79A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7" y="1613"/>
                <a:ext cx="118" cy="171"/>
              </a:xfrm>
              <a:custGeom>
                <a:avLst/>
                <a:gdLst>
                  <a:gd name="T0" fmla="*/ 46 w 118"/>
                  <a:gd name="T1" fmla="*/ 112 h 171"/>
                  <a:gd name="T2" fmla="*/ 44 w 118"/>
                  <a:gd name="T3" fmla="*/ 63 h 171"/>
                  <a:gd name="T4" fmla="*/ 61 w 118"/>
                  <a:gd name="T5" fmla="*/ 21 h 171"/>
                  <a:gd name="T6" fmla="*/ 67 w 118"/>
                  <a:gd name="T7" fmla="*/ 37 h 171"/>
                  <a:gd name="T8" fmla="*/ 77 w 118"/>
                  <a:gd name="T9" fmla="*/ 47 h 171"/>
                  <a:gd name="T10" fmla="*/ 82 w 118"/>
                  <a:gd name="T11" fmla="*/ 47 h 171"/>
                  <a:gd name="T12" fmla="*/ 93 w 118"/>
                  <a:gd name="T13" fmla="*/ 49 h 171"/>
                  <a:gd name="T14" fmla="*/ 98 w 118"/>
                  <a:gd name="T15" fmla="*/ 47 h 171"/>
                  <a:gd name="T16" fmla="*/ 105 w 118"/>
                  <a:gd name="T17" fmla="*/ 57 h 171"/>
                  <a:gd name="T18" fmla="*/ 108 w 118"/>
                  <a:gd name="T19" fmla="*/ 63 h 171"/>
                  <a:gd name="T20" fmla="*/ 118 w 118"/>
                  <a:gd name="T21" fmla="*/ 68 h 171"/>
                  <a:gd name="T22" fmla="*/ 118 w 118"/>
                  <a:gd name="T23" fmla="*/ 73 h 171"/>
                  <a:gd name="T24" fmla="*/ 116 w 118"/>
                  <a:gd name="T25" fmla="*/ 78 h 171"/>
                  <a:gd name="T26" fmla="*/ 110 w 118"/>
                  <a:gd name="T27" fmla="*/ 90 h 171"/>
                  <a:gd name="T28" fmla="*/ 105 w 118"/>
                  <a:gd name="T29" fmla="*/ 98 h 171"/>
                  <a:gd name="T30" fmla="*/ 102 w 118"/>
                  <a:gd name="T31" fmla="*/ 106 h 171"/>
                  <a:gd name="T32" fmla="*/ 97 w 118"/>
                  <a:gd name="T33" fmla="*/ 104 h 171"/>
                  <a:gd name="T34" fmla="*/ 98 w 118"/>
                  <a:gd name="T35" fmla="*/ 101 h 171"/>
                  <a:gd name="T36" fmla="*/ 95 w 118"/>
                  <a:gd name="T37" fmla="*/ 101 h 171"/>
                  <a:gd name="T38" fmla="*/ 93 w 118"/>
                  <a:gd name="T39" fmla="*/ 106 h 171"/>
                  <a:gd name="T40" fmla="*/ 92 w 118"/>
                  <a:gd name="T41" fmla="*/ 108 h 171"/>
                  <a:gd name="T42" fmla="*/ 90 w 118"/>
                  <a:gd name="T43" fmla="*/ 116 h 171"/>
                  <a:gd name="T44" fmla="*/ 89 w 118"/>
                  <a:gd name="T45" fmla="*/ 119 h 171"/>
                  <a:gd name="T46" fmla="*/ 90 w 118"/>
                  <a:gd name="T47" fmla="*/ 122 h 171"/>
                  <a:gd name="T48" fmla="*/ 93 w 118"/>
                  <a:gd name="T49" fmla="*/ 129 h 171"/>
                  <a:gd name="T50" fmla="*/ 85 w 118"/>
                  <a:gd name="T51" fmla="*/ 130 h 171"/>
                  <a:gd name="T52" fmla="*/ 80 w 118"/>
                  <a:gd name="T53" fmla="*/ 130 h 171"/>
                  <a:gd name="T54" fmla="*/ 72 w 118"/>
                  <a:gd name="T55" fmla="*/ 139 h 171"/>
                  <a:gd name="T56" fmla="*/ 71 w 118"/>
                  <a:gd name="T57" fmla="*/ 145 h 171"/>
                  <a:gd name="T58" fmla="*/ 66 w 118"/>
                  <a:gd name="T59" fmla="*/ 148 h 171"/>
                  <a:gd name="T60" fmla="*/ 56 w 118"/>
                  <a:gd name="T61" fmla="*/ 148 h 171"/>
                  <a:gd name="T62" fmla="*/ 53 w 118"/>
                  <a:gd name="T63" fmla="*/ 152 h 171"/>
                  <a:gd name="T64" fmla="*/ 53 w 118"/>
                  <a:gd name="T65" fmla="*/ 157 h 171"/>
                  <a:gd name="T66" fmla="*/ 54 w 118"/>
                  <a:gd name="T67" fmla="*/ 158 h 171"/>
                  <a:gd name="T68" fmla="*/ 53 w 118"/>
                  <a:gd name="T69" fmla="*/ 160 h 171"/>
                  <a:gd name="T70" fmla="*/ 48 w 118"/>
                  <a:gd name="T71" fmla="*/ 165 h 171"/>
                  <a:gd name="T72" fmla="*/ 41 w 118"/>
                  <a:gd name="T73" fmla="*/ 165 h 171"/>
                  <a:gd name="T74" fmla="*/ 33 w 118"/>
                  <a:gd name="T75" fmla="*/ 168 h 171"/>
                  <a:gd name="T76" fmla="*/ 28 w 118"/>
                  <a:gd name="T77" fmla="*/ 171 h 171"/>
                  <a:gd name="T78" fmla="*/ 23 w 118"/>
                  <a:gd name="T79" fmla="*/ 170 h 171"/>
                  <a:gd name="T80" fmla="*/ 12 w 118"/>
                  <a:gd name="T81" fmla="*/ 160 h 171"/>
                  <a:gd name="T82" fmla="*/ 0 w 118"/>
                  <a:gd name="T83" fmla="*/ 134 h 171"/>
                  <a:gd name="T84" fmla="*/ 0 w 118"/>
                  <a:gd name="T85" fmla="*/ 126 h 171"/>
                  <a:gd name="T86" fmla="*/ 58 w 118"/>
                  <a:gd name="T87" fmla="*/ 11 h 171"/>
                  <a:gd name="T88" fmla="*/ 61 w 118"/>
                  <a:gd name="T89" fmla="*/ 5 h 171"/>
                  <a:gd name="T90" fmla="*/ 59 w 118"/>
                  <a:gd name="T91" fmla="*/ 3 h 171"/>
                  <a:gd name="T92" fmla="*/ 59 w 118"/>
                  <a:gd name="T93" fmla="*/ 1 h 171"/>
                  <a:gd name="T94" fmla="*/ 59 w 118"/>
                  <a:gd name="T95" fmla="*/ 0 h 171"/>
                  <a:gd name="T96" fmla="*/ 58 w 118"/>
                  <a:gd name="T97" fmla="*/ 0 h 171"/>
                  <a:gd name="T98" fmla="*/ 56 w 118"/>
                  <a:gd name="T99" fmla="*/ 5 h 171"/>
                  <a:gd name="T100" fmla="*/ 54 w 118"/>
                  <a:gd name="T101" fmla="*/ 6 h 171"/>
                  <a:gd name="T102" fmla="*/ 56 w 118"/>
                  <a:gd name="T103" fmla="*/ 8 h 171"/>
                  <a:gd name="T104" fmla="*/ 58 w 118"/>
                  <a:gd name="T105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8" h="171">
                    <a:moveTo>
                      <a:pt x="0" y="126"/>
                    </a:moveTo>
                    <a:lnTo>
                      <a:pt x="46" y="112"/>
                    </a:lnTo>
                    <a:lnTo>
                      <a:pt x="48" y="76"/>
                    </a:lnTo>
                    <a:lnTo>
                      <a:pt x="44" y="63"/>
                    </a:lnTo>
                    <a:lnTo>
                      <a:pt x="58" y="21"/>
                    </a:lnTo>
                    <a:lnTo>
                      <a:pt x="61" y="21"/>
                    </a:lnTo>
                    <a:lnTo>
                      <a:pt x="62" y="31"/>
                    </a:lnTo>
                    <a:lnTo>
                      <a:pt x="67" y="37"/>
                    </a:lnTo>
                    <a:lnTo>
                      <a:pt x="67" y="39"/>
                    </a:lnTo>
                    <a:lnTo>
                      <a:pt x="77" y="47"/>
                    </a:lnTo>
                    <a:lnTo>
                      <a:pt x="80" y="47"/>
                    </a:lnTo>
                    <a:lnTo>
                      <a:pt x="82" y="47"/>
                    </a:lnTo>
                    <a:lnTo>
                      <a:pt x="85" y="47"/>
                    </a:lnTo>
                    <a:lnTo>
                      <a:pt x="93" y="49"/>
                    </a:lnTo>
                    <a:lnTo>
                      <a:pt x="97" y="47"/>
                    </a:lnTo>
                    <a:lnTo>
                      <a:pt x="98" y="47"/>
                    </a:lnTo>
                    <a:lnTo>
                      <a:pt x="103" y="54"/>
                    </a:lnTo>
                    <a:lnTo>
                      <a:pt x="105" y="57"/>
                    </a:lnTo>
                    <a:lnTo>
                      <a:pt x="107" y="60"/>
                    </a:lnTo>
                    <a:lnTo>
                      <a:pt x="108" y="63"/>
                    </a:lnTo>
                    <a:lnTo>
                      <a:pt x="115" y="68"/>
                    </a:lnTo>
                    <a:lnTo>
                      <a:pt x="118" y="68"/>
                    </a:lnTo>
                    <a:lnTo>
                      <a:pt x="118" y="70"/>
                    </a:lnTo>
                    <a:lnTo>
                      <a:pt x="118" y="73"/>
                    </a:lnTo>
                    <a:lnTo>
                      <a:pt x="116" y="76"/>
                    </a:lnTo>
                    <a:lnTo>
                      <a:pt x="116" y="78"/>
                    </a:lnTo>
                    <a:lnTo>
                      <a:pt x="116" y="81"/>
                    </a:lnTo>
                    <a:lnTo>
                      <a:pt x="110" y="90"/>
                    </a:lnTo>
                    <a:lnTo>
                      <a:pt x="107" y="94"/>
                    </a:lnTo>
                    <a:lnTo>
                      <a:pt x="105" y="98"/>
                    </a:lnTo>
                    <a:lnTo>
                      <a:pt x="103" y="99"/>
                    </a:lnTo>
                    <a:lnTo>
                      <a:pt x="102" y="106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8" y="103"/>
                    </a:lnTo>
                    <a:lnTo>
                      <a:pt x="98" y="101"/>
                    </a:lnTo>
                    <a:lnTo>
                      <a:pt x="97" y="101"/>
                    </a:lnTo>
                    <a:lnTo>
                      <a:pt x="95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93" y="108"/>
                    </a:lnTo>
                    <a:lnTo>
                      <a:pt x="92" y="108"/>
                    </a:lnTo>
                    <a:lnTo>
                      <a:pt x="90" y="112"/>
                    </a:lnTo>
                    <a:lnTo>
                      <a:pt x="90" y="116"/>
                    </a:lnTo>
                    <a:lnTo>
                      <a:pt x="89" y="119"/>
                    </a:lnTo>
                    <a:lnTo>
                      <a:pt x="89" y="119"/>
                    </a:lnTo>
                    <a:lnTo>
                      <a:pt x="90" y="122"/>
                    </a:lnTo>
                    <a:lnTo>
                      <a:pt x="90" y="122"/>
                    </a:lnTo>
                    <a:lnTo>
                      <a:pt x="92" y="127"/>
                    </a:lnTo>
                    <a:lnTo>
                      <a:pt x="93" y="129"/>
                    </a:lnTo>
                    <a:lnTo>
                      <a:pt x="92" y="130"/>
                    </a:lnTo>
                    <a:lnTo>
                      <a:pt x="85" y="130"/>
                    </a:lnTo>
                    <a:lnTo>
                      <a:pt x="84" y="132"/>
                    </a:lnTo>
                    <a:lnTo>
                      <a:pt x="80" y="130"/>
                    </a:lnTo>
                    <a:lnTo>
                      <a:pt x="77" y="132"/>
                    </a:lnTo>
                    <a:lnTo>
                      <a:pt x="72" y="139"/>
                    </a:lnTo>
                    <a:lnTo>
                      <a:pt x="72" y="143"/>
                    </a:lnTo>
                    <a:lnTo>
                      <a:pt x="71" y="145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1" y="148"/>
                    </a:lnTo>
                    <a:lnTo>
                      <a:pt x="56" y="148"/>
                    </a:lnTo>
                    <a:lnTo>
                      <a:pt x="54" y="150"/>
                    </a:lnTo>
                    <a:lnTo>
                      <a:pt x="53" y="152"/>
                    </a:lnTo>
                    <a:lnTo>
                      <a:pt x="53" y="153"/>
                    </a:lnTo>
                    <a:lnTo>
                      <a:pt x="53" y="157"/>
                    </a:lnTo>
                    <a:lnTo>
                      <a:pt x="54" y="157"/>
                    </a:lnTo>
                    <a:lnTo>
                      <a:pt x="54" y="158"/>
                    </a:lnTo>
                    <a:lnTo>
                      <a:pt x="53" y="158"/>
                    </a:lnTo>
                    <a:lnTo>
                      <a:pt x="53" y="160"/>
                    </a:lnTo>
                    <a:lnTo>
                      <a:pt x="49" y="165"/>
                    </a:lnTo>
                    <a:lnTo>
                      <a:pt x="48" y="165"/>
                    </a:lnTo>
                    <a:lnTo>
                      <a:pt x="44" y="163"/>
                    </a:lnTo>
                    <a:lnTo>
                      <a:pt x="41" y="165"/>
                    </a:lnTo>
                    <a:lnTo>
                      <a:pt x="40" y="165"/>
                    </a:lnTo>
                    <a:lnTo>
                      <a:pt x="33" y="168"/>
                    </a:lnTo>
                    <a:lnTo>
                      <a:pt x="30" y="166"/>
                    </a:lnTo>
                    <a:lnTo>
                      <a:pt x="28" y="171"/>
                    </a:lnTo>
                    <a:lnTo>
                      <a:pt x="25" y="171"/>
                    </a:lnTo>
                    <a:lnTo>
                      <a:pt x="23" y="170"/>
                    </a:lnTo>
                    <a:lnTo>
                      <a:pt x="22" y="171"/>
                    </a:lnTo>
                    <a:lnTo>
                      <a:pt x="12" y="160"/>
                    </a:lnTo>
                    <a:lnTo>
                      <a:pt x="15" y="152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26"/>
                    </a:lnTo>
                    <a:close/>
                    <a:moveTo>
                      <a:pt x="58" y="14"/>
                    </a:moveTo>
                    <a:lnTo>
                      <a:pt x="58" y="11"/>
                    </a:lnTo>
                    <a:lnTo>
                      <a:pt x="59" y="10"/>
                    </a:lnTo>
                    <a:lnTo>
                      <a:pt x="61" y="5"/>
                    </a:lnTo>
                    <a:lnTo>
                      <a:pt x="59" y="5"/>
                    </a:lnTo>
                    <a:lnTo>
                      <a:pt x="59" y="3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1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8" y="0"/>
                    </a:lnTo>
                    <a:lnTo>
                      <a:pt x="56" y="5"/>
                    </a:lnTo>
                    <a:lnTo>
                      <a:pt x="56" y="5"/>
                    </a:lnTo>
                    <a:lnTo>
                      <a:pt x="54" y="5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8" y="13"/>
                    </a:lnTo>
                    <a:lnTo>
                      <a:pt x="58" y="1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5" name="Freeform 248">
                <a:extLst>
                  <a:ext uri="{FF2B5EF4-FFF2-40B4-BE49-F238E27FC236}">
                    <a16:creationId xmlns:a16="http://schemas.microsoft.com/office/drawing/2014/main" xmlns="" id="{ED8B414F-597A-46B5-B854-8BEF04FD63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0" y="1739"/>
                <a:ext cx="193" cy="120"/>
              </a:xfrm>
              <a:custGeom>
                <a:avLst/>
                <a:gdLst>
                  <a:gd name="T0" fmla="*/ 5 w 193"/>
                  <a:gd name="T1" fmla="*/ 47 h 120"/>
                  <a:gd name="T2" fmla="*/ 9 w 193"/>
                  <a:gd name="T3" fmla="*/ 44 h 120"/>
                  <a:gd name="T4" fmla="*/ 10 w 193"/>
                  <a:gd name="T5" fmla="*/ 35 h 120"/>
                  <a:gd name="T6" fmla="*/ 17 w 193"/>
                  <a:gd name="T7" fmla="*/ 26 h 120"/>
                  <a:gd name="T8" fmla="*/ 31 w 193"/>
                  <a:gd name="T9" fmla="*/ 31 h 120"/>
                  <a:gd name="T10" fmla="*/ 59 w 193"/>
                  <a:gd name="T11" fmla="*/ 44 h 120"/>
                  <a:gd name="T12" fmla="*/ 89 w 193"/>
                  <a:gd name="T13" fmla="*/ 17 h 120"/>
                  <a:gd name="T14" fmla="*/ 147 w 193"/>
                  <a:gd name="T15" fmla="*/ 8 h 120"/>
                  <a:gd name="T16" fmla="*/ 159 w 193"/>
                  <a:gd name="T17" fmla="*/ 34 h 120"/>
                  <a:gd name="T18" fmla="*/ 165 w 193"/>
                  <a:gd name="T19" fmla="*/ 45 h 120"/>
                  <a:gd name="T20" fmla="*/ 154 w 193"/>
                  <a:gd name="T21" fmla="*/ 53 h 120"/>
                  <a:gd name="T22" fmla="*/ 154 w 193"/>
                  <a:gd name="T23" fmla="*/ 58 h 120"/>
                  <a:gd name="T24" fmla="*/ 154 w 193"/>
                  <a:gd name="T25" fmla="*/ 62 h 120"/>
                  <a:gd name="T26" fmla="*/ 144 w 193"/>
                  <a:gd name="T27" fmla="*/ 67 h 120"/>
                  <a:gd name="T28" fmla="*/ 129 w 193"/>
                  <a:gd name="T29" fmla="*/ 71 h 120"/>
                  <a:gd name="T30" fmla="*/ 110 w 193"/>
                  <a:gd name="T31" fmla="*/ 78 h 120"/>
                  <a:gd name="T32" fmla="*/ 105 w 193"/>
                  <a:gd name="T33" fmla="*/ 80 h 120"/>
                  <a:gd name="T34" fmla="*/ 97 w 193"/>
                  <a:gd name="T35" fmla="*/ 89 h 120"/>
                  <a:gd name="T36" fmla="*/ 93 w 193"/>
                  <a:gd name="T37" fmla="*/ 88 h 120"/>
                  <a:gd name="T38" fmla="*/ 90 w 193"/>
                  <a:gd name="T39" fmla="*/ 89 h 120"/>
                  <a:gd name="T40" fmla="*/ 85 w 193"/>
                  <a:gd name="T41" fmla="*/ 88 h 120"/>
                  <a:gd name="T42" fmla="*/ 80 w 193"/>
                  <a:gd name="T43" fmla="*/ 94 h 120"/>
                  <a:gd name="T44" fmla="*/ 72 w 193"/>
                  <a:gd name="T45" fmla="*/ 98 h 120"/>
                  <a:gd name="T46" fmla="*/ 61 w 193"/>
                  <a:gd name="T47" fmla="*/ 99 h 120"/>
                  <a:gd name="T48" fmla="*/ 56 w 193"/>
                  <a:gd name="T49" fmla="*/ 98 h 120"/>
                  <a:gd name="T50" fmla="*/ 53 w 193"/>
                  <a:gd name="T51" fmla="*/ 98 h 120"/>
                  <a:gd name="T52" fmla="*/ 46 w 193"/>
                  <a:gd name="T53" fmla="*/ 101 h 120"/>
                  <a:gd name="T54" fmla="*/ 43 w 193"/>
                  <a:gd name="T55" fmla="*/ 104 h 120"/>
                  <a:gd name="T56" fmla="*/ 38 w 193"/>
                  <a:gd name="T57" fmla="*/ 111 h 120"/>
                  <a:gd name="T58" fmla="*/ 33 w 193"/>
                  <a:gd name="T59" fmla="*/ 109 h 120"/>
                  <a:gd name="T60" fmla="*/ 27 w 193"/>
                  <a:gd name="T61" fmla="*/ 112 h 120"/>
                  <a:gd name="T62" fmla="*/ 22 w 193"/>
                  <a:gd name="T63" fmla="*/ 112 h 120"/>
                  <a:gd name="T64" fmla="*/ 17 w 193"/>
                  <a:gd name="T65" fmla="*/ 109 h 120"/>
                  <a:gd name="T66" fmla="*/ 13 w 193"/>
                  <a:gd name="T67" fmla="*/ 102 h 120"/>
                  <a:gd name="T68" fmla="*/ 13 w 193"/>
                  <a:gd name="T69" fmla="*/ 96 h 120"/>
                  <a:gd name="T70" fmla="*/ 9 w 193"/>
                  <a:gd name="T71" fmla="*/ 88 h 120"/>
                  <a:gd name="T72" fmla="*/ 2 w 193"/>
                  <a:gd name="T73" fmla="*/ 68 h 120"/>
                  <a:gd name="T74" fmla="*/ 0 w 193"/>
                  <a:gd name="T75" fmla="*/ 65 h 120"/>
                  <a:gd name="T76" fmla="*/ 2 w 193"/>
                  <a:gd name="T77" fmla="*/ 63 h 120"/>
                  <a:gd name="T78" fmla="*/ 4 w 193"/>
                  <a:gd name="T79" fmla="*/ 62 h 120"/>
                  <a:gd name="T80" fmla="*/ 4 w 193"/>
                  <a:gd name="T81" fmla="*/ 49 h 120"/>
                  <a:gd name="T82" fmla="*/ 2 w 193"/>
                  <a:gd name="T83" fmla="*/ 45 h 120"/>
                  <a:gd name="T84" fmla="*/ 157 w 193"/>
                  <a:gd name="T85" fmla="*/ 119 h 120"/>
                  <a:gd name="T86" fmla="*/ 157 w 193"/>
                  <a:gd name="T87" fmla="*/ 120 h 120"/>
                  <a:gd name="T88" fmla="*/ 154 w 193"/>
                  <a:gd name="T89" fmla="*/ 120 h 120"/>
                  <a:gd name="T90" fmla="*/ 175 w 193"/>
                  <a:gd name="T91" fmla="*/ 114 h 120"/>
                  <a:gd name="T92" fmla="*/ 177 w 193"/>
                  <a:gd name="T93" fmla="*/ 111 h 120"/>
                  <a:gd name="T94" fmla="*/ 180 w 193"/>
                  <a:gd name="T95" fmla="*/ 112 h 120"/>
                  <a:gd name="T96" fmla="*/ 185 w 193"/>
                  <a:gd name="T97" fmla="*/ 112 h 120"/>
                  <a:gd name="T98" fmla="*/ 190 w 193"/>
                  <a:gd name="T99" fmla="*/ 112 h 120"/>
                  <a:gd name="T100" fmla="*/ 193 w 193"/>
                  <a:gd name="T101" fmla="*/ 114 h 120"/>
                  <a:gd name="T102" fmla="*/ 188 w 193"/>
                  <a:gd name="T103" fmla="*/ 116 h 120"/>
                  <a:gd name="T104" fmla="*/ 180 w 193"/>
                  <a:gd name="T105" fmla="*/ 119 h 120"/>
                  <a:gd name="T106" fmla="*/ 175 w 193"/>
                  <a:gd name="T107" fmla="*/ 116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3" h="120">
                    <a:moveTo>
                      <a:pt x="2" y="45"/>
                    </a:moveTo>
                    <a:lnTo>
                      <a:pt x="5" y="47"/>
                    </a:lnTo>
                    <a:lnTo>
                      <a:pt x="7" y="47"/>
                    </a:lnTo>
                    <a:lnTo>
                      <a:pt x="9" y="44"/>
                    </a:lnTo>
                    <a:lnTo>
                      <a:pt x="13" y="42"/>
                    </a:lnTo>
                    <a:lnTo>
                      <a:pt x="10" y="35"/>
                    </a:lnTo>
                    <a:lnTo>
                      <a:pt x="12" y="29"/>
                    </a:lnTo>
                    <a:lnTo>
                      <a:pt x="17" y="26"/>
                    </a:lnTo>
                    <a:lnTo>
                      <a:pt x="22" y="31"/>
                    </a:lnTo>
                    <a:lnTo>
                      <a:pt x="31" y="31"/>
                    </a:lnTo>
                    <a:lnTo>
                      <a:pt x="44" y="35"/>
                    </a:lnTo>
                    <a:lnTo>
                      <a:pt x="59" y="44"/>
                    </a:lnTo>
                    <a:lnTo>
                      <a:pt x="59" y="58"/>
                    </a:lnTo>
                    <a:lnTo>
                      <a:pt x="89" y="17"/>
                    </a:lnTo>
                    <a:lnTo>
                      <a:pt x="147" y="0"/>
                    </a:lnTo>
                    <a:lnTo>
                      <a:pt x="147" y="8"/>
                    </a:lnTo>
                    <a:lnTo>
                      <a:pt x="162" y="26"/>
                    </a:lnTo>
                    <a:lnTo>
                      <a:pt x="159" y="34"/>
                    </a:lnTo>
                    <a:lnTo>
                      <a:pt x="169" y="45"/>
                    </a:lnTo>
                    <a:lnTo>
                      <a:pt x="165" y="45"/>
                    </a:lnTo>
                    <a:lnTo>
                      <a:pt x="159" y="47"/>
                    </a:lnTo>
                    <a:lnTo>
                      <a:pt x="154" y="53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4" y="60"/>
                    </a:lnTo>
                    <a:lnTo>
                      <a:pt x="154" y="62"/>
                    </a:lnTo>
                    <a:lnTo>
                      <a:pt x="147" y="63"/>
                    </a:lnTo>
                    <a:lnTo>
                      <a:pt x="144" y="67"/>
                    </a:lnTo>
                    <a:lnTo>
                      <a:pt x="139" y="70"/>
                    </a:lnTo>
                    <a:lnTo>
                      <a:pt x="129" y="71"/>
                    </a:lnTo>
                    <a:lnTo>
                      <a:pt x="128" y="73"/>
                    </a:lnTo>
                    <a:lnTo>
                      <a:pt x="110" y="78"/>
                    </a:lnTo>
                    <a:lnTo>
                      <a:pt x="108" y="78"/>
                    </a:lnTo>
                    <a:lnTo>
                      <a:pt x="105" y="80"/>
                    </a:lnTo>
                    <a:lnTo>
                      <a:pt x="102" y="84"/>
                    </a:lnTo>
                    <a:lnTo>
                      <a:pt x="97" y="89"/>
                    </a:lnTo>
                    <a:lnTo>
                      <a:pt x="95" y="89"/>
                    </a:lnTo>
                    <a:lnTo>
                      <a:pt x="93" y="88"/>
                    </a:lnTo>
                    <a:lnTo>
                      <a:pt x="92" y="89"/>
                    </a:lnTo>
                    <a:lnTo>
                      <a:pt x="90" y="89"/>
                    </a:lnTo>
                    <a:lnTo>
                      <a:pt x="89" y="88"/>
                    </a:lnTo>
                    <a:lnTo>
                      <a:pt x="85" y="88"/>
                    </a:lnTo>
                    <a:lnTo>
                      <a:pt x="80" y="93"/>
                    </a:lnTo>
                    <a:lnTo>
                      <a:pt x="80" y="94"/>
                    </a:lnTo>
                    <a:lnTo>
                      <a:pt x="77" y="96"/>
                    </a:lnTo>
                    <a:lnTo>
                      <a:pt x="72" y="98"/>
                    </a:lnTo>
                    <a:lnTo>
                      <a:pt x="64" y="99"/>
                    </a:lnTo>
                    <a:lnTo>
                      <a:pt x="61" y="99"/>
                    </a:lnTo>
                    <a:lnTo>
                      <a:pt x="61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3" y="98"/>
                    </a:lnTo>
                    <a:lnTo>
                      <a:pt x="51" y="98"/>
                    </a:lnTo>
                    <a:lnTo>
                      <a:pt x="46" y="101"/>
                    </a:lnTo>
                    <a:lnTo>
                      <a:pt x="44" y="104"/>
                    </a:lnTo>
                    <a:lnTo>
                      <a:pt x="43" y="104"/>
                    </a:lnTo>
                    <a:lnTo>
                      <a:pt x="40" y="109"/>
                    </a:lnTo>
                    <a:lnTo>
                      <a:pt x="38" y="111"/>
                    </a:lnTo>
                    <a:lnTo>
                      <a:pt x="36" y="109"/>
                    </a:lnTo>
                    <a:lnTo>
                      <a:pt x="33" y="109"/>
                    </a:lnTo>
                    <a:lnTo>
                      <a:pt x="30" y="111"/>
                    </a:lnTo>
                    <a:lnTo>
                      <a:pt x="27" y="112"/>
                    </a:lnTo>
                    <a:lnTo>
                      <a:pt x="22" y="111"/>
                    </a:lnTo>
                    <a:lnTo>
                      <a:pt x="22" y="112"/>
                    </a:lnTo>
                    <a:lnTo>
                      <a:pt x="18" y="112"/>
                    </a:lnTo>
                    <a:lnTo>
                      <a:pt x="17" y="109"/>
                    </a:lnTo>
                    <a:lnTo>
                      <a:pt x="17" y="106"/>
                    </a:lnTo>
                    <a:lnTo>
                      <a:pt x="13" y="102"/>
                    </a:lnTo>
                    <a:lnTo>
                      <a:pt x="12" y="98"/>
                    </a:lnTo>
                    <a:lnTo>
                      <a:pt x="13" y="96"/>
                    </a:lnTo>
                    <a:lnTo>
                      <a:pt x="13" y="91"/>
                    </a:lnTo>
                    <a:lnTo>
                      <a:pt x="9" y="88"/>
                    </a:lnTo>
                    <a:lnTo>
                      <a:pt x="7" y="73"/>
                    </a:lnTo>
                    <a:lnTo>
                      <a:pt x="2" y="68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2" y="62"/>
                    </a:lnTo>
                    <a:lnTo>
                      <a:pt x="4" y="62"/>
                    </a:lnTo>
                    <a:lnTo>
                      <a:pt x="5" y="57"/>
                    </a:lnTo>
                    <a:lnTo>
                      <a:pt x="4" y="49"/>
                    </a:lnTo>
                    <a:lnTo>
                      <a:pt x="2" y="45"/>
                    </a:lnTo>
                    <a:lnTo>
                      <a:pt x="2" y="45"/>
                    </a:lnTo>
                    <a:close/>
                    <a:moveTo>
                      <a:pt x="154" y="120"/>
                    </a:moveTo>
                    <a:lnTo>
                      <a:pt x="157" y="119"/>
                    </a:lnTo>
                    <a:lnTo>
                      <a:pt x="160" y="120"/>
                    </a:lnTo>
                    <a:lnTo>
                      <a:pt x="157" y="120"/>
                    </a:lnTo>
                    <a:lnTo>
                      <a:pt x="154" y="120"/>
                    </a:lnTo>
                    <a:lnTo>
                      <a:pt x="154" y="120"/>
                    </a:lnTo>
                    <a:close/>
                    <a:moveTo>
                      <a:pt x="173" y="116"/>
                    </a:moveTo>
                    <a:lnTo>
                      <a:pt x="175" y="114"/>
                    </a:lnTo>
                    <a:lnTo>
                      <a:pt x="175" y="112"/>
                    </a:lnTo>
                    <a:lnTo>
                      <a:pt x="177" y="111"/>
                    </a:lnTo>
                    <a:lnTo>
                      <a:pt x="180" y="111"/>
                    </a:lnTo>
                    <a:lnTo>
                      <a:pt x="180" y="112"/>
                    </a:lnTo>
                    <a:lnTo>
                      <a:pt x="182" y="112"/>
                    </a:lnTo>
                    <a:lnTo>
                      <a:pt x="185" y="112"/>
                    </a:lnTo>
                    <a:lnTo>
                      <a:pt x="188" y="111"/>
                    </a:lnTo>
                    <a:lnTo>
                      <a:pt x="190" y="112"/>
                    </a:lnTo>
                    <a:lnTo>
                      <a:pt x="191" y="112"/>
                    </a:lnTo>
                    <a:lnTo>
                      <a:pt x="193" y="114"/>
                    </a:lnTo>
                    <a:lnTo>
                      <a:pt x="191" y="116"/>
                    </a:lnTo>
                    <a:lnTo>
                      <a:pt x="188" y="116"/>
                    </a:lnTo>
                    <a:lnTo>
                      <a:pt x="185" y="117"/>
                    </a:lnTo>
                    <a:lnTo>
                      <a:pt x="180" y="119"/>
                    </a:lnTo>
                    <a:lnTo>
                      <a:pt x="177" y="117"/>
                    </a:lnTo>
                    <a:lnTo>
                      <a:pt x="175" y="116"/>
                    </a:lnTo>
                    <a:lnTo>
                      <a:pt x="173" y="11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6" name="Freeform 249">
                <a:extLst>
                  <a:ext uri="{FF2B5EF4-FFF2-40B4-BE49-F238E27FC236}">
                    <a16:creationId xmlns:a16="http://schemas.microsoft.com/office/drawing/2014/main" xmlns="" id="{5E7C400D-CE3F-4A45-9B36-783E51BDE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0" y="1524"/>
                <a:ext cx="197" cy="170"/>
              </a:xfrm>
              <a:custGeom>
                <a:avLst/>
                <a:gdLst>
                  <a:gd name="T0" fmla="*/ 156 w 197"/>
                  <a:gd name="T1" fmla="*/ 32 h 170"/>
                  <a:gd name="T2" fmla="*/ 147 w 197"/>
                  <a:gd name="T3" fmla="*/ 10 h 170"/>
                  <a:gd name="T4" fmla="*/ 140 w 197"/>
                  <a:gd name="T5" fmla="*/ 7 h 170"/>
                  <a:gd name="T6" fmla="*/ 119 w 197"/>
                  <a:gd name="T7" fmla="*/ 10 h 170"/>
                  <a:gd name="T8" fmla="*/ 114 w 197"/>
                  <a:gd name="T9" fmla="*/ 12 h 170"/>
                  <a:gd name="T10" fmla="*/ 107 w 197"/>
                  <a:gd name="T11" fmla="*/ 9 h 170"/>
                  <a:gd name="T12" fmla="*/ 107 w 197"/>
                  <a:gd name="T13" fmla="*/ 4 h 170"/>
                  <a:gd name="T14" fmla="*/ 96 w 197"/>
                  <a:gd name="T15" fmla="*/ 2 h 170"/>
                  <a:gd name="T16" fmla="*/ 98 w 197"/>
                  <a:gd name="T17" fmla="*/ 4 h 170"/>
                  <a:gd name="T18" fmla="*/ 89 w 197"/>
                  <a:gd name="T19" fmla="*/ 5 h 170"/>
                  <a:gd name="T20" fmla="*/ 91 w 197"/>
                  <a:gd name="T21" fmla="*/ 4 h 170"/>
                  <a:gd name="T22" fmla="*/ 86 w 197"/>
                  <a:gd name="T23" fmla="*/ 2 h 170"/>
                  <a:gd name="T24" fmla="*/ 78 w 197"/>
                  <a:gd name="T25" fmla="*/ 7 h 170"/>
                  <a:gd name="T26" fmla="*/ 70 w 197"/>
                  <a:gd name="T27" fmla="*/ 14 h 170"/>
                  <a:gd name="T28" fmla="*/ 55 w 197"/>
                  <a:gd name="T29" fmla="*/ 10 h 170"/>
                  <a:gd name="T30" fmla="*/ 44 w 197"/>
                  <a:gd name="T31" fmla="*/ 7 h 170"/>
                  <a:gd name="T32" fmla="*/ 32 w 197"/>
                  <a:gd name="T33" fmla="*/ 4 h 170"/>
                  <a:gd name="T34" fmla="*/ 6 w 197"/>
                  <a:gd name="T35" fmla="*/ 2 h 170"/>
                  <a:gd name="T36" fmla="*/ 3 w 197"/>
                  <a:gd name="T37" fmla="*/ 5 h 170"/>
                  <a:gd name="T38" fmla="*/ 3 w 197"/>
                  <a:gd name="T39" fmla="*/ 20 h 170"/>
                  <a:gd name="T40" fmla="*/ 1 w 197"/>
                  <a:gd name="T41" fmla="*/ 35 h 170"/>
                  <a:gd name="T42" fmla="*/ 197 w 197"/>
                  <a:gd name="T43" fmla="*/ 169 h 170"/>
                  <a:gd name="T44" fmla="*/ 191 w 197"/>
                  <a:gd name="T45" fmla="*/ 164 h 170"/>
                  <a:gd name="T46" fmla="*/ 184 w 197"/>
                  <a:gd name="T47" fmla="*/ 157 h 170"/>
                  <a:gd name="T48" fmla="*/ 174 w 197"/>
                  <a:gd name="T49" fmla="*/ 154 h 170"/>
                  <a:gd name="T50" fmla="*/ 173 w 197"/>
                  <a:gd name="T51" fmla="*/ 139 h 170"/>
                  <a:gd name="T52" fmla="*/ 173 w 197"/>
                  <a:gd name="T53" fmla="*/ 138 h 170"/>
                  <a:gd name="T54" fmla="*/ 174 w 197"/>
                  <a:gd name="T55" fmla="*/ 136 h 170"/>
                  <a:gd name="T56" fmla="*/ 171 w 197"/>
                  <a:gd name="T57" fmla="*/ 131 h 170"/>
                  <a:gd name="T58" fmla="*/ 161 w 197"/>
                  <a:gd name="T59" fmla="*/ 115 h 170"/>
                  <a:gd name="T60" fmla="*/ 148 w 197"/>
                  <a:gd name="T61" fmla="*/ 94 h 170"/>
                  <a:gd name="T62" fmla="*/ 147 w 197"/>
                  <a:gd name="T63" fmla="*/ 82 h 170"/>
                  <a:gd name="T64" fmla="*/ 138 w 197"/>
                  <a:gd name="T65" fmla="*/ 72 h 170"/>
                  <a:gd name="T66" fmla="*/ 138 w 197"/>
                  <a:gd name="T67" fmla="*/ 64 h 170"/>
                  <a:gd name="T68" fmla="*/ 122 w 197"/>
                  <a:gd name="T69" fmla="*/ 48 h 170"/>
                  <a:gd name="T70" fmla="*/ 119 w 197"/>
                  <a:gd name="T71" fmla="*/ 36 h 170"/>
                  <a:gd name="T72" fmla="*/ 121 w 197"/>
                  <a:gd name="T73" fmla="*/ 35 h 170"/>
                  <a:gd name="T74" fmla="*/ 124 w 197"/>
                  <a:gd name="T75" fmla="*/ 40 h 170"/>
                  <a:gd name="T76" fmla="*/ 130 w 197"/>
                  <a:gd name="T77" fmla="*/ 51 h 170"/>
                  <a:gd name="T78" fmla="*/ 137 w 197"/>
                  <a:gd name="T79" fmla="*/ 59 h 170"/>
                  <a:gd name="T80" fmla="*/ 150 w 197"/>
                  <a:gd name="T81" fmla="*/ 71 h 170"/>
                  <a:gd name="T82" fmla="*/ 153 w 197"/>
                  <a:gd name="T83" fmla="*/ 61 h 170"/>
                  <a:gd name="T84" fmla="*/ 155 w 197"/>
                  <a:gd name="T85" fmla="*/ 5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7" h="170">
                    <a:moveTo>
                      <a:pt x="158" y="41"/>
                    </a:moveTo>
                    <a:lnTo>
                      <a:pt x="155" y="35"/>
                    </a:lnTo>
                    <a:lnTo>
                      <a:pt x="156" y="32"/>
                    </a:lnTo>
                    <a:lnTo>
                      <a:pt x="153" y="23"/>
                    </a:lnTo>
                    <a:lnTo>
                      <a:pt x="148" y="17"/>
                    </a:lnTo>
                    <a:lnTo>
                      <a:pt x="147" y="10"/>
                    </a:lnTo>
                    <a:lnTo>
                      <a:pt x="143" y="5"/>
                    </a:lnTo>
                    <a:lnTo>
                      <a:pt x="142" y="5"/>
                    </a:lnTo>
                    <a:lnTo>
                      <a:pt x="140" y="7"/>
                    </a:lnTo>
                    <a:lnTo>
                      <a:pt x="137" y="9"/>
                    </a:lnTo>
                    <a:lnTo>
                      <a:pt x="125" y="7"/>
                    </a:lnTo>
                    <a:lnTo>
                      <a:pt x="119" y="10"/>
                    </a:lnTo>
                    <a:lnTo>
                      <a:pt x="112" y="5"/>
                    </a:lnTo>
                    <a:lnTo>
                      <a:pt x="112" y="9"/>
                    </a:lnTo>
                    <a:lnTo>
                      <a:pt x="114" y="12"/>
                    </a:lnTo>
                    <a:lnTo>
                      <a:pt x="114" y="14"/>
                    </a:lnTo>
                    <a:lnTo>
                      <a:pt x="111" y="10"/>
                    </a:lnTo>
                    <a:lnTo>
                      <a:pt x="107" y="9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7" y="4"/>
                    </a:lnTo>
                    <a:lnTo>
                      <a:pt x="106" y="4"/>
                    </a:lnTo>
                    <a:lnTo>
                      <a:pt x="103" y="4"/>
                    </a:lnTo>
                    <a:lnTo>
                      <a:pt x="96" y="2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3" y="4"/>
                    </a:lnTo>
                    <a:lnTo>
                      <a:pt x="89" y="5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1" y="4"/>
                    </a:lnTo>
                    <a:lnTo>
                      <a:pt x="93" y="2"/>
                    </a:lnTo>
                    <a:lnTo>
                      <a:pt x="91" y="2"/>
                    </a:lnTo>
                    <a:lnTo>
                      <a:pt x="86" y="2"/>
                    </a:lnTo>
                    <a:lnTo>
                      <a:pt x="85" y="4"/>
                    </a:lnTo>
                    <a:lnTo>
                      <a:pt x="80" y="7"/>
                    </a:lnTo>
                    <a:lnTo>
                      <a:pt x="78" y="7"/>
                    </a:lnTo>
                    <a:lnTo>
                      <a:pt x="73" y="9"/>
                    </a:lnTo>
                    <a:lnTo>
                      <a:pt x="70" y="12"/>
                    </a:lnTo>
                    <a:lnTo>
                      <a:pt x="70" y="14"/>
                    </a:lnTo>
                    <a:lnTo>
                      <a:pt x="65" y="14"/>
                    </a:lnTo>
                    <a:lnTo>
                      <a:pt x="58" y="10"/>
                    </a:lnTo>
                    <a:lnTo>
                      <a:pt x="55" y="10"/>
                    </a:lnTo>
                    <a:lnTo>
                      <a:pt x="50" y="10"/>
                    </a:lnTo>
                    <a:lnTo>
                      <a:pt x="45" y="7"/>
                    </a:lnTo>
                    <a:lnTo>
                      <a:pt x="44" y="7"/>
                    </a:lnTo>
                    <a:lnTo>
                      <a:pt x="42" y="9"/>
                    </a:lnTo>
                    <a:lnTo>
                      <a:pt x="37" y="5"/>
                    </a:lnTo>
                    <a:lnTo>
                      <a:pt x="32" y="4"/>
                    </a:lnTo>
                    <a:lnTo>
                      <a:pt x="19" y="4"/>
                    </a:lnTo>
                    <a:lnTo>
                      <a:pt x="13" y="0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3" y="20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1" y="35"/>
                    </a:lnTo>
                    <a:lnTo>
                      <a:pt x="3" y="43"/>
                    </a:lnTo>
                    <a:lnTo>
                      <a:pt x="8" y="170"/>
                    </a:lnTo>
                    <a:lnTo>
                      <a:pt x="197" y="169"/>
                    </a:lnTo>
                    <a:lnTo>
                      <a:pt x="197" y="169"/>
                    </a:lnTo>
                    <a:lnTo>
                      <a:pt x="194" y="169"/>
                    </a:lnTo>
                    <a:lnTo>
                      <a:pt x="191" y="164"/>
                    </a:lnTo>
                    <a:lnTo>
                      <a:pt x="191" y="162"/>
                    </a:lnTo>
                    <a:lnTo>
                      <a:pt x="187" y="161"/>
                    </a:lnTo>
                    <a:lnTo>
                      <a:pt x="184" y="157"/>
                    </a:lnTo>
                    <a:lnTo>
                      <a:pt x="183" y="157"/>
                    </a:lnTo>
                    <a:lnTo>
                      <a:pt x="179" y="157"/>
                    </a:lnTo>
                    <a:lnTo>
                      <a:pt x="174" y="154"/>
                    </a:lnTo>
                    <a:lnTo>
                      <a:pt x="173" y="146"/>
                    </a:lnTo>
                    <a:lnTo>
                      <a:pt x="173" y="144"/>
                    </a:lnTo>
                    <a:lnTo>
                      <a:pt x="173" y="139"/>
                    </a:lnTo>
                    <a:lnTo>
                      <a:pt x="171" y="138"/>
                    </a:lnTo>
                    <a:lnTo>
                      <a:pt x="173" y="136"/>
                    </a:lnTo>
                    <a:lnTo>
                      <a:pt x="173" y="138"/>
                    </a:lnTo>
                    <a:lnTo>
                      <a:pt x="178" y="138"/>
                    </a:lnTo>
                    <a:lnTo>
                      <a:pt x="176" y="136"/>
                    </a:lnTo>
                    <a:lnTo>
                      <a:pt x="174" y="136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71" y="131"/>
                    </a:lnTo>
                    <a:lnTo>
                      <a:pt x="170" y="130"/>
                    </a:lnTo>
                    <a:lnTo>
                      <a:pt x="168" y="125"/>
                    </a:lnTo>
                    <a:lnTo>
                      <a:pt x="161" y="115"/>
                    </a:lnTo>
                    <a:lnTo>
                      <a:pt x="158" y="113"/>
                    </a:lnTo>
                    <a:lnTo>
                      <a:pt x="158" y="110"/>
                    </a:lnTo>
                    <a:lnTo>
                      <a:pt x="148" y="94"/>
                    </a:lnTo>
                    <a:lnTo>
                      <a:pt x="148" y="90"/>
                    </a:lnTo>
                    <a:lnTo>
                      <a:pt x="147" y="89"/>
                    </a:lnTo>
                    <a:lnTo>
                      <a:pt x="147" y="82"/>
                    </a:lnTo>
                    <a:lnTo>
                      <a:pt x="145" y="81"/>
                    </a:lnTo>
                    <a:lnTo>
                      <a:pt x="145" y="79"/>
                    </a:lnTo>
                    <a:lnTo>
                      <a:pt x="138" y="72"/>
                    </a:lnTo>
                    <a:lnTo>
                      <a:pt x="138" y="69"/>
                    </a:lnTo>
                    <a:lnTo>
                      <a:pt x="140" y="67"/>
                    </a:lnTo>
                    <a:lnTo>
                      <a:pt x="138" y="64"/>
                    </a:lnTo>
                    <a:lnTo>
                      <a:pt x="129" y="56"/>
                    </a:lnTo>
                    <a:lnTo>
                      <a:pt x="129" y="54"/>
                    </a:lnTo>
                    <a:lnTo>
                      <a:pt x="122" y="48"/>
                    </a:lnTo>
                    <a:lnTo>
                      <a:pt x="122" y="43"/>
                    </a:lnTo>
                    <a:lnTo>
                      <a:pt x="119" y="40"/>
                    </a:lnTo>
                    <a:lnTo>
                      <a:pt x="119" y="36"/>
                    </a:lnTo>
                    <a:lnTo>
                      <a:pt x="119" y="35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2" y="35"/>
                    </a:lnTo>
                    <a:lnTo>
                      <a:pt x="122" y="38"/>
                    </a:lnTo>
                    <a:lnTo>
                      <a:pt x="124" y="40"/>
                    </a:lnTo>
                    <a:lnTo>
                      <a:pt x="125" y="43"/>
                    </a:lnTo>
                    <a:lnTo>
                      <a:pt x="130" y="48"/>
                    </a:lnTo>
                    <a:lnTo>
                      <a:pt x="130" y="51"/>
                    </a:lnTo>
                    <a:lnTo>
                      <a:pt x="132" y="54"/>
                    </a:lnTo>
                    <a:lnTo>
                      <a:pt x="137" y="56"/>
                    </a:lnTo>
                    <a:lnTo>
                      <a:pt x="137" y="59"/>
                    </a:lnTo>
                    <a:lnTo>
                      <a:pt x="145" y="67"/>
                    </a:lnTo>
                    <a:lnTo>
                      <a:pt x="150" y="69"/>
                    </a:lnTo>
                    <a:lnTo>
                      <a:pt x="150" y="71"/>
                    </a:lnTo>
                    <a:lnTo>
                      <a:pt x="150" y="69"/>
                    </a:lnTo>
                    <a:lnTo>
                      <a:pt x="153" y="66"/>
                    </a:lnTo>
                    <a:lnTo>
                      <a:pt x="153" y="61"/>
                    </a:lnTo>
                    <a:lnTo>
                      <a:pt x="152" y="59"/>
                    </a:lnTo>
                    <a:lnTo>
                      <a:pt x="155" y="54"/>
                    </a:lnTo>
                    <a:lnTo>
                      <a:pt x="155" y="51"/>
                    </a:lnTo>
                    <a:lnTo>
                      <a:pt x="156" y="41"/>
                    </a:lnTo>
                    <a:lnTo>
                      <a:pt x="158" y="41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7" name="Freeform 250">
                <a:extLst>
                  <a:ext uri="{FF2B5EF4-FFF2-40B4-BE49-F238E27FC236}">
                    <a16:creationId xmlns:a16="http://schemas.microsoft.com/office/drawing/2014/main" xmlns="" id="{0A5A9608-DF8E-4551-A341-D35B9EE42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1693"/>
                <a:ext cx="263" cy="309"/>
              </a:xfrm>
              <a:custGeom>
                <a:avLst/>
                <a:gdLst>
                  <a:gd name="T0" fmla="*/ 233 w 263"/>
                  <a:gd name="T1" fmla="*/ 5 h 309"/>
                  <a:gd name="T2" fmla="*/ 235 w 263"/>
                  <a:gd name="T3" fmla="*/ 13 h 309"/>
                  <a:gd name="T4" fmla="*/ 237 w 263"/>
                  <a:gd name="T5" fmla="*/ 14 h 309"/>
                  <a:gd name="T6" fmla="*/ 240 w 263"/>
                  <a:gd name="T7" fmla="*/ 42 h 309"/>
                  <a:gd name="T8" fmla="*/ 255 w 263"/>
                  <a:gd name="T9" fmla="*/ 63 h 309"/>
                  <a:gd name="T10" fmla="*/ 259 w 263"/>
                  <a:gd name="T11" fmla="*/ 70 h 309"/>
                  <a:gd name="T12" fmla="*/ 248 w 263"/>
                  <a:gd name="T13" fmla="*/ 77 h 309"/>
                  <a:gd name="T14" fmla="*/ 241 w 263"/>
                  <a:gd name="T15" fmla="*/ 81 h 309"/>
                  <a:gd name="T16" fmla="*/ 240 w 263"/>
                  <a:gd name="T17" fmla="*/ 93 h 309"/>
                  <a:gd name="T18" fmla="*/ 233 w 263"/>
                  <a:gd name="T19" fmla="*/ 114 h 309"/>
                  <a:gd name="T20" fmla="*/ 235 w 263"/>
                  <a:gd name="T21" fmla="*/ 130 h 309"/>
                  <a:gd name="T22" fmla="*/ 225 w 263"/>
                  <a:gd name="T23" fmla="*/ 155 h 309"/>
                  <a:gd name="T24" fmla="*/ 217 w 263"/>
                  <a:gd name="T25" fmla="*/ 166 h 309"/>
                  <a:gd name="T26" fmla="*/ 204 w 263"/>
                  <a:gd name="T27" fmla="*/ 186 h 309"/>
                  <a:gd name="T28" fmla="*/ 201 w 263"/>
                  <a:gd name="T29" fmla="*/ 202 h 309"/>
                  <a:gd name="T30" fmla="*/ 194 w 263"/>
                  <a:gd name="T31" fmla="*/ 225 h 309"/>
                  <a:gd name="T32" fmla="*/ 183 w 263"/>
                  <a:gd name="T33" fmla="*/ 227 h 309"/>
                  <a:gd name="T34" fmla="*/ 183 w 263"/>
                  <a:gd name="T35" fmla="*/ 237 h 309"/>
                  <a:gd name="T36" fmla="*/ 196 w 263"/>
                  <a:gd name="T37" fmla="*/ 245 h 309"/>
                  <a:gd name="T38" fmla="*/ 206 w 263"/>
                  <a:gd name="T39" fmla="*/ 255 h 309"/>
                  <a:gd name="T40" fmla="*/ 214 w 263"/>
                  <a:gd name="T41" fmla="*/ 271 h 309"/>
                  <a:gd name="T42" fmla="*/ 201 w 263"/>
                  <a:gd name="T43" fmla="*/ 291 h 309"/>
                  <a:gd name="T44" fmla="*/ 192 w 263"/>
                  <a:gd name="T45" fmla="*/ 299 h 309"/>
                  <a:gd name="T46" fmla="*/ 174 w 263"/>
                  <a:gd name="T47" fmla="*/ 304 h 309"/>
                  <a:gd name="T48" fmla="*/ 166 w 263"/>
                  <a:gd name="T49" fmla="*/ 309 h 309"/>
                  <a:gd name="T50" fmla="*/ 157 w 263"/>
                  <a:gd name="T51" fmla="*/ 304 h 309"/>
                  <a:gd name="T52" fmla="*/ 147 w 263"/>
                  <a:gd name="T53" fmla="*/ 307 h 309"/>
                  <a:gd name="T54" fmla="*/ 140 w 263"/>
                  <a:gd name="T55" fmla="*/ 305 h 309"/>
                  <a:gd name="T56" fmla="*/ 132 w 263"/>
                  <a:gd name="T57" fmla="*/ 296 h 309"/>
                  <a:gd name="T58" fmla="*/ 122 w 263"/>
                  <a:gd name="T59" fmla="*/ 287 h 309"/>
                  <a:gd name="T60" fmla="*/ 114 w 263"/>
                  <a:gd name="T61" fmla="*/ 291 h 309"/>
                  <a:gd name="T62" fmla="*/ 104 w 263"/>
                  <a:gd name="T63" fmla="*/ 294 h 309"/>
                  <a:gd name="T64" fmla="*/ 93 w 263"/>
                  <a:gd name="T65" fmla="*/ 286 h 309"/>
                  <a:gd name="T66" fmla="*/ 86 w 263"/>
                  <a:gd name="T67" fmla="*/ 279 h 309"/>
                  <a:gd name="T68" fmla="*/ 78 w 263"/>
                  <a:gd name="T69" fmla="*/ 268 h 309"/>
                  <a:gd name="T70" fmla="*/ 70 w 263"/>
                  <a:gd name="T71" fmla="*/ 260 h 309"/>
                  <a:gd name="T72" fmla="*/ 60 w 263"/>
                  <a:gd name="T73" fmla="*/ 248 h 309"/>
                  <a:gd name="T74" fmla="*/ 55 w 263"/>
                  <a:gd name="T75" fmla="*/ 243 h 309"/>
                  <a:gd name="T76" fmla="*/ 50 w 263"/>
                  <a:gd name="T77" fmla="*/ 235 h 309"/>
                  <a:gd name="T78" fmla="*/ 37 w 263"/>
                  <a:gd name="T79" fmla="*/ 227 h 309"/>
                  <a:gd name="T80" fmla="*/ 31 w 263"/>
                  <a:gd name="T81" fmla="*/ 222 h 309"/>
                  <a:gd name="T82" fmla="*/ 28 w 263"/>
                  <a:gd name="T83" fmla="*/ 211 h 309"/>
                  <a:gd name="T84" fmla="*/ 19 w 263"/>
                  <a:gd name="T85" fmla="*/ 191 h 309"/>
                  <a:gd name="T86" fmla="*/ 14 w 263"/>
                  <a:gd name="T87" fmla="*/ 183 h 309"/>
                  <a:gd name="T88" fmla="*/ 8 w 263"/>
                  <a:gd name="T89" fmla="*/ 171 h 309"/>
                  <a:gd name="T90" fmla="*/ 8 w 263"/>
                  <a:gd name="T91" fmla="*/ 158 h 309"/>
                  <a:gd name="T92" fmla="*/ 0 w 263"/>
                  <a:gd name="T93" fmla="*/ 153 h 309"/>
                  <a:gd name="T94" fmla="*/ 5 w 263"/>
                  <a:gd name="T95" fmla="*/ 137 h 309"/>
                  <a:gd name="T96" fmla="*/ 10 w 263"/>
                  <a:gd name="T97" fmla="*/ 126 h 309"/>
                  <a:gd name="T98" fmla="*/ 16 w 263"/>
                  <a:gd name="T99" fmla="*/ 109 h 309"/>
                  <a:gd name="T100" fmla="*/ 32 w 263"/>
                  <a:gd name="T101" fmla="*/ 104 h 309"/>
                  <a:gd name="T102" fmla="*/ 44 w 263"/>
                  <a:gd name="T103" fmla="*/ 1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3" h="309">
                    <a:moveTo>
                      <a:pt x="44" y="1"/>
                    </a:moveTo>
                    <a:lnTo>
                      <a:pt x="233" y="0"/>
                    </a:lnTo>
                    <a:lnTo>
                      <a:pt x="233" y="1"/>
                    </a:lnTo>
                    <a:lnTo>
                      <a:pt x="233" y="3"/>
                    </a:lnTo>
                    <a:lnTo>
                      <a:pt x="233" y="5"/>
                    </a:lnTo>
                    <a:lnTo>
                      <a:pt x="233" y="5"/>
                    </a:lnTo>
                    <a:lnTo>
                      <a:pt x="233" y="6"/>
                    </a:lnTo>
                    <a:lnTo>
                      <a:pt x="233" y="6"/>
                    </a:lnTo>
                    <a:lnTo>
                      <a:pt x="235" y="8"/>
                    </a:lnTo>
                    <a:lnTo>
                      <a:pt x="235" y="13"/>
                    </a:lnTo>
                    <a:lnTo>
                      <a:pt x="238" y="16"/>
                    </a:lnTo>
                    <a:lnTo>
                      <a:pt x="238" y="18"/>
                    </a:lnTo>
                    <a:lnTo>
                      <a:pt x="238" y="18"/>
                    </a:lnTo>
                    <a:lnTo>
                      <a:pt x="237" y="16"/>
                    </a:lnTo>
                    <a:lnTo>
                      <a:pt x="237" y="14"/>
                    </a:lnTo>
                    <a:lnTo>
                      <a:pt x="235" y="16"/>
                    </a:lnTo>
                    <a:lnTo>
                      <a:pt x="237" y="18"/>
                    </a:lnTo>
                    <a:lnTo>
                      <a:pt x="240" y="31"/>
                    </a:lnTo>
                    <a:lnTo>
                      <a:pt x="241" y="36"/>
                    </a:lnTo>
                    <a:lnTo>
                      <a:pt x="240" y="42"/>
                    </a:lnTo>
                    <a:lnTo>
                      <a:pt x="241" y="49"/>
                    </a:lnTo>
                    <a:lnTo>
                      <a:pt x="245" y="55"/>
                    </a:lnTo>
                    <a:lnTo>
                      <a:pt x="248" y="55"/>
                    </a:lnTo>
                    <a:lnTo>
                      <a:pt x="255" y="60"/>
                    </a:lnTo>
                    <a:lnTo>
                      <a:pt x="255" y="63"/>
                    </a:lnTo>
                    <a:lnTo>
                      <a:pt x="258" y="63"/>
                    </a:lnTo>
                    <a:lnTo>
                      <a:pt x="261" y="65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59" y="70"/>
                    </a:lnTo>
                    <a:lnTo>
                      <a:pt x="258" y="72"/>
                    </a:lnTo>
                    <a:lnTo>
                      <a:pt x="255" y="73"/>
                    </a:lnTo>
                    <a:lnTo>
                      <a:pt x="253" y="75"/>
                    </a:lnTo>
                    <a:lnTo>
                      <a:pt x="250" y="75"/>
                    </a:lnTo>
                    <a:lnTo>
                      <a:pt x="248" y="77"/>
                    </a:lnTo>
                    <a:lnTo>
                      <a:pt x="245" y="77"/>
                    </a:lnTo>
                    <a:lnTo>
                      <a:pt x="245" y="78"/>
                    </a:lnTo>
                    <a:lnTo>
                      <a:pt x="245" y="80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40" y="83"/>
                    </a:lnTo>
                    <a:lnTo>
                      <a:pt x="240" y="86"/>
                    </a:lnTo>
                    <a:lnTo>
                      <a:pt x="238" y="90"/>
                    </a:lnTo>
                    <a:lnTo>
                      <a:pt x="238" y="91"/>
                    </a:lnTo>
                    <a:lnTo>
                      <a:pt x="240" y="93"/>
                    </a:lnTo>
                    <a:lnTo>
                      <a:pt x="238" y="95"/>
                    </a:lnTo>
                    <a:lnTo>
                      <a:pt x="237" y="99"/>
                    </a:lnTo>
                    <a:lnTo>
                      <a:pt x="235" y="108"/>
                    </a:lnTo>
                    <a:lnTo>
                      <a:pt x="233" y="111"/>
                    </a:lnTo>
                    <a:lnTo>
                      <a:pt x="233" y="114"/>
                    </a:lnTo>
                    <a:lnTo>
                      <a:pt x="232" y="116"/>
                    </a:lnTo>
                    <a:lnTo>
                      <a:pt x="232" y="119"/>
                    </a:lnTo>
                    <a:lnTo>
                      <a:pt x="233" y="127"/>
                    </a:lnTo>
                    <a:lnTo>
                      <a:pt x="233" y="130"/>
                    </a:lnTo>
                    <a:lnTo>
                      <a:pt x="235" y="130"/>
                    </a:lnTo>
                    <a:lnTo>
                      <a:pt x="233" y="130"/>
                    </a:lnTo>
                    <a:lnTo>
                      <a:pt x="232" y="135"/>
                    </a:lnTo>
                    <a:lnTo>
                      <a:pt x="232" y="142"/>
                    </a:lnTo>
                    <a:lnTo>
                      <a:pt x="227" y="148"/>
                    </a:lnTo>
                    <a:lnTo>
                      <a:pt x="225" y="155"/>
                    </a:lnTo>
                    <a:lnTo>
                      <a:pt x="223" y="153"/>
                    </a:lnTo>
                    <a:lnTo>
                      <a:pt x="222" y="155"/>
                    </a:lnTo>
                    <a:lnTo>
                      <a:pt x="220" y="158"/>
                    </a:lnTo>
                    <a:lnTo>
                      <a:pt x="217" y="165"/>
                    </a:lnTo>
                    <a:lnTo>
                      <a:pt x="217" y="166"/>
                    </a:lnTo>
                    <a:lnTo>
                      <a:pt x="212" y="170"/>
                    </a:lnTo>
                    <a:lnTo>
                      <a:pt x="210" y="175"/>
                    </a:lnTo>
                    <a:lnTo>
                      <a:pt x="207" y="188"/>
                    </a:lnTo>
                    <a:lnTo>
                      <a:pt x="206" y="186"/>
                    </a:lnTo>
                    <a:lnTo>
                      <a:pt x="204" y="186"/>
                    </a:lnTo>
                    <a:lnTo>
                      <a:pt x="204" y="189"/>
                    </a:lnTo>
                    <a:lnTo>
                      <a:pt x="201" y="193"/>
                    </a:lnTo>
                    <a:lnTo>
                      <a:pt x="199" y="196"/>
                    </a:lnTo>
                    <a:lnTo>
                      <a:pt x="201" y="197"/>
                    </a:lnTo>
                    <a:lnTo>
                      <a:pt x="201" y="202"/>
                    </a:lnTo>
                    <a:lnTo>
                      <a:pt x="197" y="206"/>
                    </a:lnTo>
                    <a:lnTo>
                      <a:pt x="197" y="211"/>
                    </a:lnTo>
                    <a:lnTo>
                      <a:pt x="197" y="217"/>
                    </a:lnTo>
                    <a:lnTo>
                      <a:pt x="196" y="224"/>
                    </a:lnTo>
                    <a:lnTo>
                      <a:pt x="194" y="225"/>
                    </a:lnTo>
                    <a:lnTo>
                      <a:pt x="194" y="227"/>
                    </a:lnTo>
                    <a:lnTo>
                      <a:pt x="191" y="227"/>
                    </a:lnTo>
                    <a:lnTo>
                      <a:pt x="189" y="227"/>
                    </a:lnTo>
                    <a:lnTo>
                      <a:pt x="186" y="227"/>
                    </a:lnTo>
                    <a:lnTo>
                      <a:pt x="183" y="227"/>
                    </a:lnTo>
                    <a:lnTo>
                      <a:pt x="183" y="230"/>
                    </a:lnTo>
                    <a:lnTo>
                      <a:pt x="181" y="230"/>
                    </a:lnTo>
                    <a:lnTo>
                      <a:pt x="179" y="233"/>
                    </a:lnTo>
                    <a:lnTo>
                      <a:pt x="179" y="237"/>
                    </a:lnTo>
                    <a:lnTo>
                      <a:pt x="183" y="237"/>
                    </a:lnTo>
                    <a:lnTo>
                      <a:pt x="189" y="237"/>
                    </a:lnTo>
                    <a:lnTo>
                      <a:pt x="191" y="240"/>
                    </a:lnTo>
                    <a:lnTo>
                      <a:pt x="194" y="242"/>
                    </a:lnTo>
                    <a:lnTo>
                      <a:pt x="194" y="245"/>
                    </a:lnTo>
                    <a:lnTo>
                      <a:pt x="196" y="245"/>
                    </a:lnTo>
                    <a:lnTo>
                      <a:pt x="199" y="251"/>
                    </a:lnTo>
                    <a:lnTo>
                      <a:pt x="202" y="251"/>
                    </a:lnTo>
                    <a:lnTo>
                      <a:pt x="201" y="253"/>
                    </a:lnTo>
                    <a:lnTo>
                      <a:pt x="202" y="255"/>
                    </a:lnTo>
                    <a:lnTo>
                      <a:pt x="206" y="255"/>
                    </a:lnTo>
                    <a:lnTo>
                      <a:pt x="207" y="256"/>
                    </a:lnTo>
                    <a:lnTo>
                      <a:pt x="209" y="260"/>
                    </a:lnTo>
                    <a:lnTo>
                      <a:pt x="212" y="263"/>
                    </a:lnTo>
                    <a:lnTo>
                      <a:pt x="212" y="268"/>
                    </a:lnTo>
                    <a:lnTo>
                      <a:pt x="214" y="271"/>
                    </a:lnTo>
                    <a:lnTo>
                      <a:pt x="215" y="276"/>
                    </a:lnTo>
                    <a:lnTo>
                      <a:pt x="209" y="282"/>
                    </a:lnTo>
                    <a:lnTo>
                      <a:pt x="206" y="289"/>
                    </a:lnTo>
                    <a:lnTo>
                      <a:pt x="204" y="287"/>
                    </a:lnTo>
                    <a:lnTo>
                      <a:pt x="201" y="291"/>
                    </a:lnTo>
                    <a:lnTo>
                      <a:pt x="199" y="292"/>
                    </a:lnTo>
                    <a:lnTo>
                      <a:pt x="199" y="294"/>
                    </a:lnTo>
                    <a:lnTo>
                      <a:pt x="196" y="296"/>
                    </a:lnTo>
                    <a:lnTo>
                      <a:pt x="196" y="296"/>
                    </a:lnTo>
                    <a:lnTo>
                      <a:pt x="192" y="299"/>
                    </a:lnTo>
                    <a:lnTo>
                      <a:pt x="191" y="300"/>
                    </a:lnTo>
                    <a:lnTo>
                      <a:pt x="188" y="302"/>
                    </a:lnTo>
                    <a:lnTo>
                      <a:pt x="184" y="302"/>
                    </a:lnTo>
                    <a:lnTo>
                      <a:pt x="178" y="302"/>
                    </a:lnTo>
                    <a:lnTo>
                      <a:pt x="174" y="304"/>
                    </a:lnTo>
                    <a:lnTo>
                      <a:pt x="173" y="304"/>
                    </a:lnTo>
                    <a:lnTo>
                      <a:pt x="171" y="304"/>
                    </a:lnTo>
                    <a:lnTo>
                      <a:pt x="170" y="304"/>
                    </a:lnTo>
                    <a:lnTo>
                      <a:pt x="166" y="305"/>
                    </a:lnTo>
                    <a:lnTo>
                      <a:pt x="166" y="309"/>
                    </a:lnTo>
                    <a:lnTo>
                      <a:pt x="165" y="309"/>
                    </a:lnTo>
                    <a:lnTo>
                      <a:pt x="161" y="307"/>
                    </a:lnTo>
                    <a:lnTo>
                      <a:pt x="161" y="304"/>
                    </a:lnTo>
                    <a:lnTo>
                      <a:pt x="158" y="304"/>
                    </a:lnTo>
                    <a:lnTo>
                      <a:pt x="157" y="304"/>
                    </a:lnTo>
                    <a:lnTo>
                      <a:pt x="152" y="302"/>
                    </a:lnTo>
                    <a:lnTo>
                      <a:pt x="148" y="302"/>
                    </a:lnTo>
                    <a:lnTo>
                      <a:pt x="147" y="304"/>
                    </a:lnTo>
                    <a:lnTo>
                      <a:pt x="147" y="305"/>
                    </a:lnTo>
                    <a:lnTo>
                      <a:pt x="147" y="307"/>
                    </a:lnTo>
                    <a:lnTo>
                      <a:pt x="147" y="307"/>
                    </a:lnTo>
                    <a:lnTo>
                      <a:pt x="145" y="307"/>
                    </a:lnTo>
                    <a:lnTo>
                      <a:pt x="142" y="307"/>
                    </a:lnTo>
                    <a:lnTo>
                      <a:pt x="142" y="307"/>
                    </a:lnTo>
                    <a:lnTo>
                      <a:pt x="140" y="305"/>
                    </a:lnTo>
                    <a:lnTo>
                      <a:pt x="140" y="302"/>
                    </a:lnTo>
                    <a:lnTo>
                      <a:pt x="139" y="302"/>
                    </a:lnTo>
                    <a:lnTo>
                      <a:pt x="139" y="299"/>
                    </a:lnTo>
                    <a:lnTo>
                      <a:pt x="137" y="297"/>
                    </a:lnTo>
                    <a:lnTo>
                      <a:pt x="132" y="296"/>
                    </a:lnTo>
                    <a:lnTo>
                      <a:pt x="132" y="294"/>
                    </a:lnTo>
                    <a:lnTo>
                      <a:pt x="129" y="292"/>
                    </a:lnTo>
                    <a:lnTo>
                      <a:pt x="127" y="289"/>
                    </a:lnTo>
                    <a:lnTo>
                      <a:pt x="125" y="287"/>
                    </a:lnTo>
                    <a:lnTo>
                      <a:pt x="122" y="287"/>
                    </a:lnTo>
                    <a:lnTo>
                      <a:pt x="121" y="289"/>
                    </a:lnTo>
                    <a:lnTo>
                      <a:pt x="119" y="291"/>
                    </a:lnTo>
                    <a:lnTo>
                      <a:pt x="116" y="292"/>
                    </a:lnTo>
                    <a:lnTo>
                      <a:pt x="116" y="292"/>
                    </a:lnTo>
                    <a:lnTo>
                      <a:pt x="114" y="291"/>
                    </a:lnTo>
                    <a:lnTo>
                      <a:pt x="112" y="291"/>
                    </a:lnTo>
                    <a:lnTo>
                      <a:pt x="109" y="291"/>
                    </a:lnTo>
                    <a:lnTo>
                      <a:pt x="108" y="292"/>
                    </a:lnTo>
                    <a:lnTo>
                      <a:pt x="106" y="294"/>
                    </a:lnTo>
                    <a:lnTo>
                      <a:pt x="104" y="294"/>
                    </a:lnTo>
                    <a:lnTo>
                      <a:pt x="101" y="294"/>
                    </a:lnTo>
                    <a:lnTo>
                      <a:pt x="98" y="291"/>
                    </a:lnTo>
                    <a:lnTo>
                      <a:pt x="96" y="289"/>
                    </a:lnTo>
                    <a:lnTo>
                      <a:pt x="94" y="287"/>
                    </a:lnTo>
                    <a:lnTo>
                      <a:pt x="93" y="286"/>
                    </a:lnTo>
                    <a:lnTo>
                      <a:pt x="91" y="284"/>
                    </a:lnTo>
                    <a:lnTo>
                      <a:pt x="91" y="284"/>
                    </a:lnTo>
                    <a:lnTo>
                      <a:pt x="91" y="282"/>
                    </a:lnTo>
                    <a:lnTo>
                      <a:pt x="90" y="281"/>
                    </a:lnTo>
                    <a:lnTo>
                      <a:pt x="86" y="279"/>
                    </a:lnTo>
                    <a:lnTo>
                      <a:pt x="85" y="278"/>
                    </a:lnTo>
                    <a:lnTo>
                      <a:pt x="85" y="273"/>
                    </a:lnTo>
                    <a:lnTo>
                      <a:pt x="85" y="271"/>
                    </a:lnTo>
                    <a:lnTo>
                      <a:pt x="83" y="269"/>
                    </a:lnTo>
                    <a:lnTo>
                      <a:pt x="78" y="268"/>
                    </a:lnTo>
                    <a:lnTo>
                      <a:pt x="76" y="266"/>
                    </a:lnTo>
                    <a:lnTo>
                      <a:pt x="76" y="263"/>
                    </a:lnTo>
                    <a:lnTo>
                      <a:pt x="75" y="261"/>
                    </a:lnTo>
                    <a:lnTo>
                      <a:pt x="72" y="261"/>
                    </a:lnTo>
                    <a:lnTo>
                      <a:pt x="70" y="260"/>
                    </a:lnTo>
                    <a:lnTo>
                      <a:pt x="70" y="255"/>
                    </a:lnTo>
                    <a:lnTo>
                      <a:pt x="68" y="253"/>
                    </a:lnTo>
                    <a:lnTo>
                      <a:pt x="63" y="250"/>
                    </a:lnTo>
                    <a:lnTo>
                      <a:pt x="63" y="250"/>
                    </a:lnTo>
                    <a:lnTo>
                      <a:pt x="60" y="248"/>
                    </a:lnTo>
                    <a:lnTo>
                      <a:pt x="59" y="248"/>
                    </a:lnTo>
                    <a:lnTo>
                      <a:pt x="57" y="248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5" y="243"/>
                    </a:lnTo>
                    <a:lnTo>
                      <a:pt x="57" y="240"/>
                    </a:lnTo>
                    <a:lnTo>
                      <a:pt x="57" y="238"/>
                    </a:lnTo>
                    <a:lnTo>
                      <a:pt x="57" y="237"/>
                    </a:lnTo>
                    <a:lnTo>
                      <a:pt x="54" y="237"/>
                    </a:lnTo>
                    <a:lnTo>
                      <a:pt x="50" y="235"/>
                    </a:lnTo>
                    <a:lnTo>
                      <a:pt x="49" y="233"/>
                    </a:lnTo>
                    <a:lnTo>
                      <a:pt x="47" y="232"/>
                    </a:lnTo>
                    <a:lnTo>
                      <a:pt x="44" y="232"/>
                    </a:lnTo>
                    <a:lnTo>
                      <a:pt x="41" y="230"/>
                    </a:lnTo>
                    <a:lnTo>
                      <a:pt x="37" y="227"/>
                    </a:lnTo>
                    <a:lnTo>
                      <a:pt x="37" y="224"/>
                    </a:lnTo>
                    <a:lnTo>
                      <a:pt x="39" y="222"/>
                    </a:lnTo>
                    <a:lnTo>
                      <a:pt x="37" y="220"/>
                    </a:lnTo>
                    <a:lnTo>
                      <a:pt x="32" y="220"/>
                    </a:lnTo>
                    <a:lnTo>
                      <a:pt x="31" y="222"/>
                    </a:lnTo>
                    <a:lnTo>
                      <a:pt x="28" y="222"/>
                    </a:lnTo>
                    <a:lnTo>
                      <a:pt x="24" y="220"/>
                    </a:lnTo>
                    <a:lnTo>
                      <a:pt x="24" y="215"/>
                    </a:lnTo>
                    <a:lnTo>
                      <a:pt x="26" y="212"/>
                    </a:lnTo>
                    <a:lnTo>
                      <a:pt x="28" y="211"/>
                    </a:lnTo>
                    <a:lnTo>
                      <a:pt x="28" y="207"/>
                    </a:lnTo>
                    <a:lnTo>
                      <a:pt x="26" y="206"/>
                    </a:lnTo>
                    <a:lnTo>
                      <a:pt x="24" y="199"/>
                    </a:lnTo>
                    <a:lnTo>
                      <a:pt x="19" y="193"/>
                    </a:lnTo>
                    <a:lnTo>
                      <a:pt x="19" y="191"/>
                    </a:lnTo>
                    <a:lnTo>
                      <a:pt x="16" y="188"/>
                    </a:lnTo>
                    <a:lnTo>
                      <a:pt x="16" y="188"/>
                    </a:lnTo>
                    <a:lnTo>
                      <a:pt x="16" y="184"/>
                    </a:lnTo>
                    <a:lnTo>
                      <a:pt x="14" y="183"/>
                    </a:lnTo>
                    <a:lnTo>
                      <a:pt x="14" y="183"/>
                    </a:lnTo>
                    <a:lnTo>
                      <a:pt x="14" y="179"/>
                    </a:lnTo>
                    <a:lnTo>
                      <a:pt x="16" y="178"/>
                    </a:lnTo>
                    <a:lnTo>
                      <a:pt x="14" y="175"/>
                    </a:lnTo>
                    <a:lnTo>
                      <a:pt x="10" y="173"/>
                    </a:lnTo>
                    <a:lnTo>
                      <a:pt x="8" y="171"/>
                    </a:lnTo>
                    <a:lnTo>
                      <a:pt x="8" y="166"/>
                    </a:lnTo>
                    <a:lnTo>
                      <a:pt x="6" y="163"/>
                    </a:lnTo>
                    <a:lnTo>
                      <a:pt x="8" y="162"/>
                    </a:lnTo>
                    <a:lnTo>
                      <a:pt x="6" y="160"/>
                    </a:lnTo>
                    <a:lnTo>
                      <a:pt x="8" y="158"/>
                    </a:lnTo>
                    <a:lnTo>
                      <a:pt x="8" y="157"/>
                    </a:lnTo>
                    <a:lnTo>
                      <a:pt x="6" y="157"/>
                    </a:lnTo>
                    <a:lnTo>
                      <a:pt x="3" y="158"/>
                    </a:lnTo>
                    <a:lnTo>
                      <a:pt x="0" y="157"/>
                    </a:lnTo>
                    <a:lnTo>
                      <a:pt x="0" y="153"/>
                    </a:lnTo>
                    <a:lnTo>
                      <a:pt x="5" y="147"/>
                    </a:lnTo>
                    <a:lnTo>
                      <a:pt x="6" y="145"/>
                    </a:lnTo>
                    <a:lnTo>
                      <a:pt x="6" y="142"/>
                    </a:lnTo>
                    <a:lnTo>
                      <a:pt x="3" y="140"/>
                    </a:lnTo>
                    <a:lnTo>
                      <a:pt x="5" y="137"/>
                    </a:lnTo>
                    <a:lnTo>
                      <a:pt x="8" y="135"/>
                    </a:lnTo>
                    <a:lnTo>
                      <a:pt x="10" y="132"/>
                    </a:lnTo>
                    <a:lnTo>
                      <a:pt x="8" y="130"/>
                    </a:lnTo>
                    <a:lnTo>
                      <a:pt x="6" y="129"/>
                    </a:lnTo>
                    <a:lnTo>
                      <a:pt x="10" y="126"/>
                    </a:lnTo>
                    <a:lnTo>
                      <a:pt x="11" y="126"/>
                    </a:lnTo>
                    <a:lnTo>
                      <a:pt x="16" y="119"/>
                    </a:lnTo>
                    <a:lnTo>
                      <a:pt x="18" y="114"/>
                    </a:lnTo>
                    <a:lnTo>
                      <a:pt x="16" y="113"/>
                    </a:lnTo>
                    <a:lnTo>
                      <a:pt x="16" y="109"/>
                    </a:lnTo>
                    <a:lnTo>
                      <a:pt x="19" y="106"/>
                    </a:lnTo>
                    <a:lnTo>
                      <a:pt x="24" y="106"/>
                    </a:lnTo>
                    <a:lnTo>
                      <a:pt x="26" y="108"/>
                    </a:lnTo>
                    <a:lnTo>
                      <a:pt x="29" y="106"/>
                    </a:lnTo>
                    <a:lnTo>
                      <a:pt x="32" y="104"/>
                    </a:lnTo>
                    <a:lnTo>
                      <a:pt x="31" y="41"/>
                    </a:lnTo>
                    <a:lnTo>
                      <a:pt x="31" y="41"/>
                    </a:lnTo>
                    <a:lnTo>
                      <a:pt x="31" y="36"/>
                    </a:lnTo>
                    <a:lnTo>
                      <a:pt x="45" y="34"/>
                    </a:ln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8" name="Freeform 251">
                <a:extLst>
                  <a:ext uri="{FF2B5EF4-FFF2-40B4-BE49-F238E27FC236}">
                    <a16:creationId xmlns:a16="http://schemas.microsoft.com/office/drawing/2014/main" xmlns="" id="{AF43ABAF-1D2F-4BA9-B1CE-9474F8DEC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1812"/>
                <a:ext cx="242" cy="188"/>
              </a:xfrm>
              <a:custGeom>
                <a:avLst/>
                <a:gdLst>
                  <a:gd name="T0" fmla="*/ 33 w 242"/>
                  <a:gd name="T1" fmla="*/ 149 h 188"/>
                  <a:gd name="T2" fmla="*/ 28 w 242"/>
                  <a:gd name="T3" fmla="*/ 137 h 188"/>
                  <a:gd name="T4" fmla="*/ 22 w 242"/>
                  <a:gd name="T5" fmla="*/ 134 h 188"/>
                  <a:gd name="T6" fmla="*/ 17 w 242"/>
                  <a:gd name="T7" fmla="*/ 126 h 188"/>
                  <a:gd name="T8" fmla="*/ 12 w 242"/>
                  <a:gd name="T9" fmla="*/ 121 h 188"/>
                  <a:gd name="T10" fmla="*/ 0 w 242"/>
                  <a:gd name="T11" fmla="*/ 118 h 188"/>
                  <a:gd name="T12" fmla="*/ 4 w 242"/>
                  <a:gd name="T13" fmla="*/ 111 h 188"/>
                  <a:gd name="T14" fmla="*/ 10 w 242"/>
                  <a:gd name="T15" fmla="*/ 108 h 188"/>
                  <a:gd name="T16" fmla="*/ 15 w 242"/>
                  <a:gd name="T17" fmla="*/ 106 h 188"/>
                  <a:gd name="T18" fmla="*/ 18 w 242"/>
                  <a:gd name="T19" fmla="*/ 92 h 188"/>
                  <a:gd name="T20" fmla="*/ 22 w 242"/>
                  <a:gd name="T21" fmla="*/ 78 h 188"/>
                  <a:gd name="T22" fmla="*/ 25 w 242"/>
                  <a:gd name="T23" fmla="*/ 70 h 188"/>
                  <a:gd name="T24" fmla="*/ 28 w 242"/>
                  <a:gd name="T25" fmla="*/ 69 h 188"/>
                  <a:gd name="T26" fmla="*/ 38 w 242"/>
                  <a:gd name="T27" fmla="*/ 47 h 188"/>
                  <a:gd name="T28" fmla="*/ 43 w 242"/>
                  <a:gd name="T29" fmla="*/ 36 h 188"/>
                  <a:gd name="T30" fmla="*/ 48 w 242"/>
                  <a:gd name="T31" fmla="*/ 29 h 188"/>
                  <a:gd name="T32" fmla="*/ 54 w 242"/>
                  <a:gd name="T33" fmla="*/ 11 h 188"/>
                  <a:gd name="T34" fmla="*/ 61 w 242"/>
                  <a:gd name="T35" fmla="*/ 11 h 188"/>
                  <a:gd name="T36" fmla="*/ 69 w 242"/>
                  <a:gd name="T37" fmla="*/ 0 h 188"/>
                  <a:gd name="T38" fmla="*/ 77 w 242"/>
                  <a:gd name="T39" fmla="*/ 7 h 188"/>
                  <a:gd name="T40" fmla="*/ 87 w 242"/>
                  <a:gd name="T41" fmla="*/ 3 h 188"/>
                  <a:gd name="T42" fmla="*/ 92 w 242"/>
                  <a:gd name="T43" fmla="*/ 3 h 188"/>
                  <a:gd name="T44" fmla="*/ 100 w 242"/>
                  <a:gd name="T45" fmla="*/ 7 h 188"/>
                  <a:gd name="T46" fmla="*/ 110 w 242"/>
                  <a:gd name="T47" fmla="*/ 10 h 188"/>
                  <a:gd name="T48" fmla="*/ 121 w 242"/>
                  <a:gd name="T49" fmla="*/ 18 h 188"/>
                  <a:gd name="T50" fmla="*/ 125 w 242"/>
                  <a:gd name="T51" fmla="*/ 21 h 188"/>
                  <a:gd name="T52" fmla="*/ 136 w 242"/>
                  <a:gd name="T53" fmla="*/ 29 h 188"/>
                  <a:gd name="T54" fmla="*/ 141 w 242"/>
                  <a:gd name="T55" fmla="*/ 39 h 188"/>
                  <a:gd name="T56" fmla="*/ 144 w 242"/>
                  <a:gd name="T57" fmla="*/ 46 h 188"/>
                  <a:gd name="T58" fmla="*/ 142 w 242"/>
                  <a:gd name="T59" fmla="*/ 57 h 188"/>
                  <a:gd name="T60" fmla="*/ 138 w 242"/>
                  <a:gd name="T61" fmla="*/ 65 h 188"/>
                  <a:gd name="T62" fmla="*/ 149 w 242"/>
                  <a:gd name="T63" fmla="*/ 65 h 188"/>
                  <a:gd name="T64" fmla="*/ 156 w 242"/>
                  <a:gd name="T65" fmla="*/ 67 h 188"/>
                  <a:gd name="T66" fmla="*/ 164 w 242"/>
                  <a:gd name="T67" fmla="*/ 85 h 188"/>
                  <a:gd name="T68" fmla="*/ 170 w 242"/>
                  <a:gd name="T69" fmla="*/ 96 h 188"/>
                  <a:gd name="T70" fmla="*/ 242 w 242"/>
                  <a:gd name="T71" fmla="*/ 113 h 188"/>
                  <a:gd name="T72" fmla="*/ 172 w 242"/>
                  <a:gd name="T73" fmla="*/ 163 h 188"/>
                  <a:gd name="T74" fmla="*/ 162 w 242"/>
                  <a:gd name="T75" fmla="*/ 168 h 188"/>
                  <a:gd name="T76" fmla="*/ 154 w 242"/>
                  <a:gd name="T77" fmla="*/ 175 h 188"/>
                  <a:gd name="T78" fmla="*/ 142 w 242"/>
                  <a:gd name="T79" fmla="*/ 181 h 188"/>
                  <a:gd name="T80" fmla="*/ 133 w 242"/>
                  <a:gd name="T81" fmla="*/ 181 h 188"/>
                  <a:gd name="T82" fmla="*/ 126 w 242"/>
                  <a:gd name="T83" fmla="*/ 177 h 188"/>
                  <a:gd name="T84" fmla="*/ 115 w 242"/>
                  <a:gd name="T85" fmla="*/ 178 h 188"/>
                  <a:gd name="T86" fmla="*/ 105 w 242"/>
                  <a:gd name="T87" fmla="*/ 188 h 188"/>
                  <a:gd name="T88" fmla="*/ 97 w 242"/>
                  <a:gd name="T89" fmla="*/ 186 h 188"/>
                  <a:gd name="T90" fmla="*/ 84 w 242"/>
                  <a:gd name="T91" fmla="*/ 186 h 188"/>
                  <a:gd name="T92" fmla="*/ 76 w 242"/>
                  <a:gd name="T93" fmla="*/ 180 h 188"/>
                  <a:gd name="T94" fmla="*/ 58 w 242"/>
                  <a:gd name="T95" fmla="*/ 172 h 188"/>
                  <a:gd name="T96" fmla="*/ 46 w 242"/>
                  <a:gd name="T97" fmla="*/ 172 h 188"/>
                  <a:gd name="T98" fmla="*/ 41 w 242"/>
                  <a:gd name="T99" fmla="*/ 159 h 188"/>
                  <a:gd name="T100" fmla="*/ 36 w 242"/>
                  <a:gd name="T101" fmla="*/ 15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2" h="188">
                    <a:moveTo>
                      <a:pt x="36" y="157"/>
                    </a:moveTo>
                    <a:lnTo>
                      <a:pt x="35" y="152"/>
                    </a:lnTo>
                    <a:lnTo>
                      <a:pt x="33" y="149"/>
                    </a:lnTo>
                    <a:lnTo>
                      <a:pt x="33" y="144"/>
                    </a:lnTo>
                    <a:lnTo>
                      <a:pt x="30" y="141"/>
                    </a:lnTo>
                    <a:lnTo>
                      <a:pt x="28" y="137"/>
                    </a:lnTo>
                    <a:lnTo>
                      <a:pt x="27" y="136"/>
                    </a:lnTo>
                    <a:lnTo>
                      <a:pt x="23" y="136"/>
                    </a:lnTo>
                    <a:lnTo>
                      <a:pt x="22" y="134"/>
                    </a:lnTo>
                    <a:lnTo>
                      <a:pt x="23" y="132"/>
                    </a:lnTo>
                    <a:lnTo>
                      <a:pt x="20" y="132"/>
                    </a:lnTo>
                    <a:lnTo>
                      <a:pt x="17" y="126"/>
                    </a:lnTo>
                    <a:lnTo>
                      <a:pt x="15" y="126"/>
                    </a:lnTo>
                    <a:lnTo>
                      <a:pt x="15" y="123"/>
                    </a:lnTo>
                    <a:lnTo>
                      <a:pt x="12" y="121"/>
                    </a:lnTo>
                    <a:lnTo>
                      <a:pt x="10" y="118"/>
                    </a:lnTo>
                    <a:lnTo>
                      <a:pt x="4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1"/>
                    </a:lnTo>
                    <a:lnTo>
                      <a:pt x="4" y="111"/>
                    </a:lnTo>
                    <a:lnTo>
                      <a:pt x="4" y="108"/>
                    </a:lnTo>
                    <a:lnTo>
                      <a:pt x="7" y="108"/>
                    </a:lnTo>
                    <a:lnTo>
                      <a:pt x="10" y="108"/>
                    </a:lnTo>
                    <a:lnTo>
                      <a:pt x="12" y="108"/>
                    </a:lnTo>
                    <a:lnTo>
                      <a:pt x="15" y="108"/>
                    </a:lnTo>
                    <a:lnTo>
                      <a:pt x="15" y="106"/>
                    </a:lnTo>
                    <a:lnTo>
                      <a:pt x="17" y="105"/>
                    </a:lnTo>
                    <a:lnTo>
                      <a:pt x="18" y="98"/>
                    </a:lnTo>
                    <a:lnTo>
                      <a:pt x="18" y="92"/>
                    </a:lnTo>
                    <a:lnTo>
                      <a:pt x="18" y="87"/>
                    </a:lnTo>
                    <a:lnTo>
                      <a:pt x="22" y="83"/>
                    </a:lnTo>
                    <a:lnTo>
                      <a:pt x="22" y="78"/>
                    </a:lnTo>
                    <a:lnTo>
                      <a:pt x="20" y="77"/>
                    </a:lnTo>
                    <a:lnTo>
                      <a:pt x="22" y="74"/>
                    </a:lnTo>
                    <a:lnTo>
                      <a:pt x="25" y="70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8" y="69"/>
                    </a:lnTo>
                    <a:lnTo>
                      <a:pt x="31" y="56"/>
                    </a:lnTo>
                    <a:lnTo>
                      <a:pt x="33" y="51"/>
                    </a:lnTo>
                    <a:lnTo>
                      <a:pt x="38" y="47"/>
                    </a:lnTo>
                    <a:lnTo>
                      <a:pt x="38" y="46"/>
                    </a:lnTo>
                    <a:lnTo>
                      <a:pt x="41" y="39"/>
                    </a:lnTo>
                    <a:lnTo>
                      <a:pt x="43" y="36"/>
                    </a:lnTo>
                    <a:lnTo>
                      <a:pt x="44" y="34"/>
                    </a:lnTo>
                    <a:lnTo>
                      <a:pt x="46" y="36"/>
                    </a:lnTo>
                    <a:lnTo>
                      <a:pt x="48" y="29"/>
                    </a:lnTo>
                    <a:lnTo>
                      <a:pt x="53" y="23"/>
                    </a:lnTo>
                    <a:lnTo>
                      <a:pt x="53" y="16"/>
                    </a:lnTo>
                    <a:lnTo>
                      <a:pt x="54" y="11"/>
                    </a:lnTo>
                    <a:lnTo>
                      <a:pt x="56" y="11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2" y="10"/>
                    </a:lnTo>
                    <a:lnTo>
                      <a:pt x="64" y="10"/>
                    </a:lnTo>
                    <a:lnTo>
                      <a:pt x="69" y="0"/>
                    </a:lnTo>
                    <a:lnTo>
                      <a:pt x="71" y="2"/>
                    </a:lnTo>
                    <a:lnTo>
                      <a:pt x="71" y="3"/>
                    </a:lnTo>
                    <a:lnTo>
                      <a:pt x="77" y="7"/>
                    </a:lnTo>
                    <a:lnTo>
                      <a:pt x="80" y="7"/>
                    </a:lnTo>
                    <a:lnTo>
                      <a:pt x="84" y="3"/>
                    </a:lnTo>
                    <a:lnTo>
                      <a:pt x="87" y="3"/>
                    </a:lnTo>
                    <a:lnTo>
                      <a:pt x="89" y="5"/>
                    </a:lnTo>
                    <a:lnTo>
                      <a:pt x="90" y="3"/>
                    </a:lnTo>
                    <a:lnTo>
                      <a:pt x="92" y="3"/>
                    </a:lnTo>
                    <a:lnTo>
                      <a:pt x="97" y="8"/>
                    </a:lnTo>
                    <a:lnTo>
                      <a:pt x="98" y="7"/>
                    </a:lnTo>
                    <a:lnTo>
                      <a:pt x="100" y="7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0" y="10"/>
                    </a:lnTo>
                    <a:lnTo>
                      <a:pt x="115" y="15"/>
                    </a:lnTo>
                    <a:lnTo>
                      <a:pt x="116" y="18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5" y="20"/>
                    </a:lnTo>
                    <a:lnTo>
                      <a:pt x="125" y="21"/>
                    </a:lnTo>
                    <a:lnTo>
                      <a:pt x="129" y="25"/>
                    </a:lnTo>
                    <a:lnTo>
                      <a:pt x="133" y="28"/>
                    </a:lnTo>
                    <a:lnTo>
                      <a:pt x="136" y="29"/>
                    </a:lnTo>
                    <a:lnTo>
                      <a:pt x="139" y="34"/>
                    </a:lnTo>
                    <a:lnTo>
                      <a:pt x="139" y="36"/>
                    </a:lnTo>
                    <a:lnTo>
                      <a:pt x="141" y="39"/>
                    </a:lnTo>
                    <a:lnTo>
                      <a:pt x="142" y="39"/>
                    </a:lnTo>
                    <a:lnTo>
                      <a:pt x="147" y="44"/>
                    </a:lnTo>
                    <a:lnTo>
                      <a:pt x="144" y="46"/>
                    </a:lnTo>
                    <a:lnTo>
                      <a:pt x="142" y="49"/>
                    </a:lnTo>
                    <a:lnTo>
                      <a:pt x="142" y="52"/>
                    </a:lnTo>
                    <a:lnTo>
                      <a:pt x="142" y="57"/>
                    </a:lnTo>
                    <a:lnTo>
                      <a:pt x="141" y="59"/>
                    </a:lnTo>
                    <a:lnTo>
                      <a:pt x="141" y="62"/>
                    </a:lnTo>
                    <a:lnTo>
                      <a:pt x="138" y="65"/>
                    </a:lnTo>
                    <a:lnTo>
                      <a:pt x="139" y="69"/>
                    </a:lnTo>
                    <a:lnTo>
                      <a:pt x="146" y="67"/>
                    </a:lnTo>
                    <a:lnTo>
                      <a:pt x="149" y="65"/>
                    </a:lnTo>
                    <a:lnTo>
                      <a:pt x="154" y="64"/>
                    </a:lnTo>
                    <a:lnTo>
                      <a:pt x="157" y="65"/>
                    </a:lnTo>
                    <a:lnTo>
                      <a:pt x="156" y="67"/>
                    </a:lnTo>
                    <a:lnTo>
                      <a:pt x="157" y="74"/>
                    </a:lnTo>
                    <a:lnTo>
                      <a:pt x="159" y="83"/>
                    </a:lnTo>
                    <a:lnTo>
                      <a:pt x="164" y="85"/>
                    </a:lnTo>
                    <a:lnTo>
                      <a:pt x="162" y="90"/>
                    </a:lnTo>
                    <a:lnTo>
                      <a:pt x="165" y="95"/>
                    </a:lnTo>
                    <a:lnTo>
                      <a:pt x="170" y="96"/>
                    </a:lnTo>
                    <a:lnTo>
                      <a:pt x="175" y="100"/>
                    </a:lnTo>
                    <a:lnTo>
                      <a:pt x="221" y="114"/>
                    </a:lnTo>
                    <a:lnTo>
                      <a:pt x="242" y="113"/>
                    </a:lnTo>
                    <a:lnTo>
                      <a:pt x="191" y="163"/>
                    </a:lnTo>
                    <a:lnTo>
                      <a:pt x="182" y="163"/>
                    </a:lnTo>
                    <a:lnTo>
                      <a:pt x="172" y="163"/>
                    </a:lnTo>
                    <a:lnTo>
                      <a:pt x="170" y="165"/>
                    </a:lnTo>
                    <a:lnTo>
                      <a:pt x="167" y="167"/>
                    </a:lnTo>
                    <a:lnTo>
                      <a:pt x="162" y="168"/>
                    </a:lnTo>
                    <a:lnTo>
                      <a:pt x="162" y="172"/>
                    </a:lnTo>
                    <a:lnTo>
                      <a:pt x="159" y="173"/>
                    </a:lnTo>
                    <a:lnTo>
                      <a:pt x="154" y="175"/>
                    </a:lnTo>
                    <a:lnTo>
                      <a:pt x="149" y="177"/>
                    </a:lnTo>
                    <a:lnTo>
                      <a:pt x="144" y="178"/>
                    </a:lnTo>
                    <a:lnTo>
                      <a:pt x="142" y="181"/>
                    </a:lnTo>
                    <a:lnTo>
                      <a:pt x="142" y="181"/>
                    </a:lnTo>
                    <a:lnTo>
                      <a:pt x="139" y="181"/>
                    </a:lnTo>
                    <a:lnTo>
                      <a:pt x="133" y="181"/>
                    </a:lnTo>
                    <a:lnTo>
                      <a:pt x="129" y="181"/>
                    </a:lnTo>
                    <a:lnTo>
                      <a:pt x="128" y="177"/>
                    </a:lnTo>
                    <a:lnTo>
                      <a:pt x="126" y="177"/>
                    </a:lnTo>
                    <a:lnTo>
                      <a:pt x="118" y="177"/>
                    </a:lnTo>
                    <a:lnTo>
                      <a:pt x="116" y="178"/>
                    </a:lnTo>
                    <a:lnTo>
                      <a:pt x="115" y="178"/>
                    </a:lnTo>
                    <a:lnTo>
                      <a:pt x="111" y="180"/>
                    </a:lnTo>
                    <a:lnTo>
                      <a:pt x="110" y="181"/>
                    </a:lnTo>
                    <a:lnTo>
                      <a:pt x="105" y="188"/>
                    </a:lnTo>
                    <a:lnTo>
                      <a:pt x="102" y="188"/>
                    </a:lnTo>
                    <a:lnTo>
                      <a:pt x="100" y="188"/>
                    </a:lnTo>
                    <a:lnTo>
                      <a:pt x="97" y="186"/>
                    </a:lnTo>
                    <a:lnTo>
                      <a:pt x="93" y="188"/>
                    </a:lnTo>
                    <a:lnTo>
                      <a:pt x="89" y="186"/>
                    </a:lnTo>
                    <a:lnTo>
                      <a:pt x="84" y="186"/>
                    </a:lnTo>
                    <a:lnTo>
                      <a:pt x="82" y="185"/>
                    </a:lnTo>
                    <a:lnTo>
                      <a:pt x="79" y="183"/>
                    </a:lnTo>
                    <a:lnTo>
                      <a:pt x="76" y="180"/>
                    </a:lnTo>
                    <a:lnTo>
                      <a:pt x="69" y="173"/>
                    </a:lnTo>
                    <a:lnTo>
                      <a:pt x="66" y="172"/>
                    </a:lnTo>
                    <a:lnTo>
                      <a:pt x="58" y="172"/>
                    </a:lnTo>
                    <a:lnTo>
                      <a:pt x="54" y="170"/>
                    </a:lnTo>
                    <a:lnTo>
                      <a:pt x="49" y="172"/>
                    </a:lnTo>
                    <a:lnTo>
                      <a:pt x="46" y="172"/>
                    </a:lnTo>
                    <a:lnTo>
                      <a:pt x="44" y="168"/>
                    </a:lnTo>
                    <a:lnTo>
                      <a:pt x="44" y="159"/>
                    </a:lnTo>
                    <a:lnTo>
                      <a:pt x="41" y="159"/>
                    </a:lnTo>
                    <a:lnTo>
                      <a:pt x="38" y="159"/>
                    </a:lnTo>
                    <a:lnTo>
                      <a:pt x="36" y="155"/>
                    </a:lnTo>
                    <a:lnTo>
                      <a:pt x="36" y="15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39" name="Freeform 252">
                <a:extLst>
                  <a:ext uri="{FF2B5EF4-FFF2-40B4-BE49-F238E27FC236}">
                    <a16:creationId xmlns:a16="http://schemas.microsoft.com/office/drawing/2014/main" xmlns="" id="{DEB474A6-C5A1-4CC5-97A1-BAF7EED8A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1760"/>
                <a:ext cx="104" cy="96"/>
              </a:xfrm>
              <a:custGeom>
                <a:avLst/>
                <a:gdLst>
                  <a:gd name="T0" fmla="*/ 89 w 104"/>
                  <a:gd name="T1" fmla="*/ 91 h 96"/>
                  <a:gd name="T2" fmla="*/ 86 w 104"/>
                  <a:gd name="T3" fmla="*/ 88 h 96"/>
                  <a:gd name="T4" fmla="*/ 83 w 104"/>
                  <a:gd name="T5" fmla="*/ 81 h 96"/>
                  <a:gd name="T6" fmla="*/ 76 w 104"/>
                  <a:gd name="T7" fmla="*/ 77 h 96"/>
                  <a:gd name="T8" fmla="*/ 72 w 104"/>
                  <a:gd name="T9" fmla="*/ 72 h 96"/>
                  <a:gd name="T10" fmla="*/ 68 w 104"/>
                  <a:gd name="T11" fmla="*/ 70 h 96"/>
                  <a:gd name="T12" fmla="*/ 62 w 104"/>
                  <a:gd name="T13" fmla="*/ 67 h 96"/>
                  <a:gd name="T14" fmla="*/ 54 w 104"/>
                  <a:gd name="T15" fmla="*/ 62 h 96"/>
                  <a:gd name="T16" fmla="*/ 47 w 104"/>
                  <a:gd name="T17" fmla="*/ 59 h 96"/>
                  <a:gd name="T18" fmla="*/ 44 w 104"/>
                  <a:gd name="T19" fmla="*/ 60 h 96"/>
                  <a:gd name="T20" fmla="*/ 37 w 104"/>
                  <a:gd name="T21" fmla="*/ 55 h 96"/>
                  <a:gd name="T22" fmla="*/ 34 w 104"/>
                  <a:gd name="T23" fmla="*/ 55 h 96"/>
                  <a:gd name="T24" fmla="*/ 27 w 104"/>
                  <a:gd name="T25" fmla="*/ 59 h 96"/>
                  <a:gd name="T26" fmla="*/ 18 w 104"/>
                  <a:gd name="T27" fmla="*/ 55 h 96"/>
                  <a:gd name="T28" fmla="*/ 16 w 104"/>
                  <a:gd name="T29" fmla="*/ 52 h 96"/>
                  <a:gd name="T30" fmla="*/ 9 w 104"/>
                  <a:gd name="T31" fmla="*/ 62 h 96"/>
                  <a:gd name="T32" fmla="*/ 5 w 104"/>
                  <a:gd name="T33" fmla="*/ 63 h 96"/>
                  <a:gd name="T34" fmla="*/ 1 w 104"/>
                  <a:gd name="T35" fmla="*/ 60 h 96"/>
                  <a:gd name="T36" fmla="*/ 0 w 104"/>
                  <a:gd name="T37" fmla="*/ 49 h 96"/>
                  <a:gd name="T38" fmla="*/ 1 w 104"/>
                  <a:gd name="T39" fmla="*/ 44 h 96"/>
                  <a:gd name="T40" fmla="*/ 5 w 104"/>
                  <a:gd name="T41" fmla="*/ 32 h 96"/>
                  <a:gd name="T42" fmla="*/ 8 w 104"/>
                  <a:gd name="T43" fmla="*/ 26 h 96"/>
                  <a:gd name="T44" fmla="*/ 6 w 104"/>
                  <a:gd name="T45" fmla="*/ 23 h 96"/>
                  <a:gd name="T46" fmla="*/ 8 w 104"/>
                  <a:gd name="T47" fmla="*/ 16 h 96"/>
                  <a:gd name="T48" fmla="*/ 13 w 104"/>
                  <a:gd name="T49" fmla="*/ 14 h 96"/>
                  <a:gd name="T50" fmla="*/ 13 w 104"/>
                  <a:gd name="T51" fmla="*/ 11 h 96"/>
                  <a:gd name="T52" fmla="*/ 16 w 104"/>
                  <a:gd name="T53" fmla="*/ 10 h 96"/>
                  <a:gd name="T54" fmla="*/ 21 w 104"/>
                  <a:gd name="T55" fmla="*/ 8 h 96"/>
                  <a:gd name="T56" fmla="*/ 26 w 104"/>
                  <a:gd name="T57" fmla="*/ 5 h 96"/>
                  <a:gd name="T58" fmla="*/ 31 w 104"/>
                  <a:gd name="T59" fmla="*/ 0 h 96"/>
                  <a:gd name="T60" fmla="*/ 34 w 104"/>
                  <a:gd name="T61" fmla="*/ 5 h 96"/>
                  <a:gd name="T62" fmla="*/ 42 w 104"/>
                  <a:gd name="T63" fmla="*/ 34 h 96"/>
                  <a:gd name="T64" fmla="*/ 45 w 104"/>
                  <a:gd name="T65" fmla="*/ 39 h 96"/>
                  <a:gd name="T66" fmla="*/ 47 w 104"/>
                  <a:gd name="T67" fmla="*/ 41 h 96"/>
                  <a:gd name="T68" fmla="*/ 49 w 104"/>
                  <a:gd name="T69" fmla="*/ 49 h 96"/>
                  <a:gd name="T70" fmla="*/ 52 w 104"/>
                  <a:gd name="T71" fmla="*/ 46 h 96"/>
                  <a:gd name="T72" fmla="*/ 50 w 104"/>
                  <a:gd name="T73" fmla="*/ 42 h 96"/>
                  <a:gd name="T74" fmla="*/ 55 w 104"/>
                  <a:gd name="T75" fmla="*/ 46 h 96"/>
                  <a:gd name="T76" fmla="*/ 57 w 104"/>
                  <a:gd name="T77" fmla="*/ 50 h 96"/>
                  <a:gd name="T78" fmla="*/ 60 w 104"/>
                  <a:gd name="T79" fmla="*/ 52 h 96"/>
                  <a:gd name="T80" fmla="*/ 63 w 104"/>
                  <a:gd name="T81" fmla="*/ 52 h 96"/>
                  <a:gd name="T82" fmla="*/ 68 w 104"/>
                  <a:gd name="T83" fmla="*/ 55 h 96"/>
                  <a:gd name="T84" fmla="*/ 75 w 104"/>
                  <a:gd name="T85" fmla="*/ 59 h 96"/>
                  <a:gd name="T86" fmla="*/ 81 w 104"/>
                  <a:gd name="T87" fmla="*/ 65 h 96"/>
                  <a:gd name="T88" fmla="*/ 86 w 104"/>
                  <a:gd name="T89" fmla="*/ 72 h 96"/>
                  <a:gd name="T90" fmla="*/ 89 w 104"/>
                  <a:gd name="T91" fmla="*/ 73 h 96"/>
                  <a:gd name="T92" fmla="*/ 91 w 104"/>
                  <a:gd name="T93" fmla="*/ 75 h 96"/>
                  <a:gd name="T94" fmla="*/ 96 w 104"/>
                  <a:gd name="T95" fmla="*/ 81 h 96"/>
                  <a:gd name="T96" fmla="*/ 98 w 104"/>
                  <a:gd name="T97" fmla="*/ 86 h 96"/>
                  <a:gd name="T98" fmla="*/ 101 w 104"/>
                  <a:gd name="T99" fmla="*/ 90 h 96"/>
                  <a:gd name="T100" fmla="*/ 103 w 104"/>
                  <a:gd name="T101" fmla="*/ 88 h 96"/>
                  <a:gd name="T102" fmla="*/ 104 w 104"/>
                  <a:gd name="T103" fmla="*/ 90 h 96"/>
                  <a:gd name="T104" fmla="*/ 99 w 104"/>
                  <a:gd name="T105" fmla="*/ 95 h 96"/>
                  <a:gd name="T106" fmla="*/ 94 w 104"/>
                  <a:gd name="T10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4" h="96">
                    <a:moveTo>
                      <a:pt x="94" y="96"/>
                    </a:moveTo>
                    <a:lnTo>
                      <a:pt x="89" y="91"/>
                    </a:lnTo>
                    <a:lnTo>
                      <a:pt x="88" y="91"/>
                    </a:lnTo>
                    <a:lnTo>
                      <a:pt x="86" y="88"/>
                    </a:lnTo>
                    <a:lnTo>
                      <a:pt x="86" y="86"/>
                    </a:lnTo>
                    <a:lnTo>
                      <a:pt x="83" y="81"/>
                    </a:lnTo>
                    <a:lnTo>
                      <a:pt x="80" y="80"/>
                    </a:lnTo>
                    <a:lnTo>
                      <a:pt x="76" y="77"/>
                    </a:lnTo>
                    <a:lnTo>
                      <a:pt x="72" y="73"/>
                    </a:lnTo>
                    <a:lnTo>
                      <a:pt x="72" y="72"/>
                    </a:lnTo>
                    <a:lnTo>
                      <a:pt x="68" y="72"/>
                    </a:lnTo>
                    <a:lnTo>
                      <a:pt x="68" y="70"/>
                    </a:lnTo>
                    <a:lnTo>
                      <a:pt x="63" y="70"/>
                    </a:lnTo>
                    <a:lnTo>
                      <a:pt x="62" y="67"/>
                    </a:lnTo>
                    <a:lnTo>
                      <a:pt x="57" y="62"/>
                    </a:lnTo>
                    <a:lnTo>
                      <a:pt x="54" y="62"/>
                    </a:lnTo>
                    <a:lnTo>
                      <a:pt x="50" y="59"/>
                    </a:lnTo>
                    <a:lnTo>
                      <a:pt x="47" y="59"/>
                    </a:lnTo>
                    <a:lnTo>
                      <a:pt x="45" y="59"/>
                    </a:lnTo>
                    <a:lnTo>
                      <a:pt x="44" y="60"/>
                    </a:lnTo>
                    <a:lnTo>
                      <a:pt x="39" y="55"/>
                    </a:lnTo>
                    <a:lnTo>
                      <a:pt x="37" y="55"/>
                    </a:lnTo>
                    <a:lnTo>
                      <a:pt x="36" y="57"/>
                    </a:lnTo>
                    <a:lnTo>
                      <a:pt x="34" y="55"/>
                    </a:lnTo>
                    <a:lnTo>
                      <a:pt x="31" y="55"/>
                    </a:lnTo>
                    <a:lnTo>
                      <a:pt x="27" y="59"/>
                    </a:lnTo>
                    <a:lnTo>
                      <a:pt x="24" y="59"/>
                    </a:lnTo>
                    <a:lnTo>
                      <a:pt x="18" y="55"/>
                    </a:lnTo>
                    <a:lnTo>
                      <a:pt x="18" y="54"/>
                    </a:lnTo>
                    <a:lnTo>
                      <a:pt x="16" y="52"/>
                    </a:lnTo>
                    <a:lnTo>
                      <a:pt x="11" y="62"/>
                    </a:lnTo>
                    <a:lnTo>
                      <a:pt x="9" y="62"/>
                    </a:lnTo>
                    <a:lnTo>
                      <a:pt x="8" y="63"/>
                    </a:lnTo>
                    <a:lnTo>
                      <a:pt x="5" y="63"/>
                    </a:lnTo>
                    <a:lnTo>
                      <a:pt x="1" y="63"/>
                    </a:lnTo>
                    <a:lnTo>
                      <a:pt x="1" y="60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1" y="47"/>
                    </a:lnTo>
                    <a:lnTo>
                      <a:pt x="1" y="44"/>
                    </a:lnTo>
                    <a:lnTo>
                      <a:pt x="3" y="41"/>
                    </a:lnTo>
                    <a:lnTo>
                      <a:pt x="5" y="32"/>
                    </a:lnTo>
                    <a:lnTo>
                      <a:pt x="6" y="28"/>
                    </a:lnTo>
                    <a:lnTo>
                      <a:pt x="8" y="26"/>
                    </a:lnTo>
                    <a:lnTo>
                      <a:pt x="6" y="24"/>
                    </a:lnTo>
                    <a:lnTo>
                      <a:pt x="6" y="23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9" y="14"/>
                    </a:lnTo>
                    <a:lnTo>
                      <a:pt x="13" y="14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6" y="5"/>
                    </a:lnTo>
                    <a:lnTo>
                      <a:pt x="27" y="3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4" y="5"/>
                    </a:lnTo>
                    <a:lnTo>
                      <a:pt x="40" y="23"/>
                    </a:lnTo>
                    <a:lnTo>
                      <a:pt x="42" y="34"/>
                    </a:lnTo>
                    <a:lnTo>
                      <a:pt x="44" y="34"/>
                    </a:lnTo>
                    <a:lnTo>
                      <a:pt x="45" y="39"/>
                    </a:lnTo>
                    <a:lnTo>
                      <a:pt x="45" y="41"/>
                    </a:lnTo>
                    <a:lnTo>
                      <a:pt x="47" y="41"/>
                    </a:lnTo>
                    <a:lnTo>
                      <a:pt x="49" y="44"/>
                    </a:lnTo>
                    <a:lnTo>
                      <a:pt x="49" y="49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46"/>
                    </a:lnTo>
                    <a:lnTo>
                      <a:pt x="50" y="42"/>
                    </a:lnTo>
                    <a:lnTo>
                      <a:pt x="52" y="42"/>
                    </a:lnTo>
                    <a:lnTo>
                      <a:pt x="55" y="46"/>
                    </a:lnTo>
                    <a:lnTo>
                      <a:pt x="54" y="47"/>
                    </a:lnTo>
                    <a:lnTo>
                      <a:pt x="57" y="50"/>
                    </a:lnTo>
                    <a:lnTo>
                      <a:pt x="58" y="54"/>
                    </a:lnTo>
                    <a:lnTo>
                      <a:pt x="60" y="52"/>
                    </a:lnTo>
                    <a:lnTo>
                      <a:pt x="62" y="52"/>
                    </a:lnTo>
                    <a:lnTo>
                      <a:pt x="63" y="52"/>
                    </a:lnTo>
                    <a:lnTo>
                      <a:pt x="65" y="52"/>
                    </a:lnTo>
                    <a:lnTo>
                      <a:pt x="68" y="55"/>
                    </a:lnTo>
                    <a:lnTo>
                      <a:pt x="70" y="57"/>
                    </a:lnTo>
                    <a:lnTo>
                      <a:pt x="75" y="59"/>
                    </a:lnTo>
                    <a:lnTo>
                      <a:pt x="75" y="60"/>
                    </a:lnTo>
                    <a:lnTo>
                      <a:pt x="81" y="65"/>
                    </a:lnTo>
                    <a:lnTo>
                      <a:pt x="83" y="70"/>
                    </a:lnTo>
                    <a:lnTo>
                      <a:pt x="86" y="72"/>
                    </a:lnTo>
                    <a:lnTo>
                      <a:pt x="88" y="73"/>
                    </a:lnTo>
                    <a:lnTo>
                      <a:pt x="89" y="73"/>
                    </a:lnTo>
                    <a:lnTo>
                      <a:pt x="89" y="73"/>
                    </a:lnTo>
                    <a:lnTo>
                      <a:pt x="91" y="75"/>
                    </a:lnTo>
                    <a:lnTo>
                      <a:pt x="93" y="81"/>
                    </a:lnTo>
                    <a:lnTo>
                      <a:pt x="96" y="81"/>
                    </a:lnTo>
                    <a:lnTo>
                      <a:pt x="98" y="85"/>
                    </a:lnTo>
                    <a:lnTo>
                      <a:pt x="98" y="86"/>
                    </a:lnTo>
                    <a:lnTo>
                      <a:pt x="99" y="90"/>
                    </a:lnTo>
                    <a:lnTo>
                      <a:pt x="101" y="90"/>
                    </a:lnTo>
                    <a:lnTo>
                      <a:pt x="103" y="90"/>
                    </a:lnTo>
                    <a:lnTo>
                      <a:pt x="103" y="88"/>
                    </a:lnTo>
                    <a:lnTo>
                      <a:pt x="104" y="90"/>
                    </a:lnTo>
                    <a:lnTo>
                      <a:pt x="104" y="90"/>
                    </a:lnTo>
                    <a:lnTo>
                      <a:pt x="101" y="93"/>
                    </a:lnTo>
                    <a:lnTo>
                      <a:pt x="99" y="95"/>
                    </a:lnTo>
                    <a:lnTo>
                      <a:pt x="98" y="96"/>
                    </a:lnTo>
                    <a:lnTo>
                      <a:pt x="94" y="9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0" name="Freeform 253">
                <a:extLst>
                  <a:ext uri="{FF2B5EF4-FFF2-40B4-BE49-F238E27FC236}">
                    <a16:creationId xmlns:a16="http://schemas.microsoft.com/office/drawing/2014/main" xmlns="" id="{A34CBA24-BDE7-4A42-B4B6-F66452687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850"/>
                <a:ext cx="24" cy="31"/>
              </a:xfrm>
              <a:custGeom>
                <a:avLst/>
                <a:gdLst>
                  <a:gd name="T0" fmla="*/ 19 w 24"/>
                  <a:gd name="T1" fmla="*/ 27 h 31"/>
                  <a:gd name="T2" fmla="*/ 16 w 24"/>
                  <a:gd name="T3" fmla="*/ 26 h 31"/>
                  <a:gd name="T4" fmla="*/ 11 w 24"/>
                  <a:gd name="T5" fmla="*/ 27 h 31"/>
                  <a:gd name="T6" fmla="*/ 8 w 24"/>
                  <a:gd name="T7" fmla="*/ 29 h 31"/>
                  <a:gd name="T8" fmla="*/ 1 w 24"/>
                  <a:gd name="T9" fmla="*/ 31 h 31"/>
                  <a:gd name="T10" fmla="*/ 0 w 24"/>
                  <a:gd name="T11" fmla="*/ 27 h 31"/>
                  <a:gd name="T12" fmla="*/ 3 w 24"/>
                  <a:gd name="T13" fmla="*/ 24 h 31"/>
                  <a:gd name="T14" fmla="*/ 3 w 24"/>
                  <a:gd name="T15" fmla="*/ 21 h 31"/>
                  <a:gd name="T16" fmla="*/ 4 w 24"/>
                  <a:gd name="T17" fmla="*/ 19 h 31"/>
                  <a:gd name="T18" fmla="*/ 4 w 24"/>
                  <a:gd name="T19" fmla="*/ 14 h 31"/>
                  <a:gd name="T20" fmla="*/ 4 w 24"/>
                  <a:gd name="T21" fmla="*/ 11 h 31"/>
                  <a:gd name="T22" fmla="*/ 6 w 24"/>
                  <a:gd name="T23" fmla="*/ 8 h 31"/>
                  <a:gd name="T24" fmla="*/ 13 w 24"/>
                  <a:gd name="T25" fmla="*/ 6 h 31"/>
                  <a:gd name="T26" fmla="*/ 14 w 24"/>
                  <a:gd name="T27" fmla="*/ 5 h 31"/>
                  <a:gd name="T28" fmla="*/ 16 w 24"/>
                  <a:gd name="T29" fmla="*/ 3 h 31"/>
                  <a:gd name="T30" fmla="*/ 19 w 24"/>
                  <a:gd name="T31" fmla="*/ 0 h 31"/>
                  <a:gd name="T32" fmla="*/ 19 w 24"/>
                  <a:gd name="T33" fmla="*/ 0 h 31"/>
                  <a:gd name="T34" fmla="*/ 19 w 24"/>
                  <a:gd name="T35" fmla="*/ 1 h 31"/>
                  <a:gd name="T36" fmla="*/ 22 w 24"/>
                  <a:gd name="T37" fmla="*/ 5 h 31"/>
                  <a:gd name="T38" fmla="*/ 24 w 24"/>
                  <a:gd name="T39" fmla="*/ 5 h 31"/>
                  <a:gd name="T40" fmla="*/ 24 w 24"/>
                  <a:gd name="T41" fmla="*/ 6 h 31"/>
                  <a:gd name="T42" fmla="*/ 24 w 24"/>
                  <a:gd name="T43" fmla="*/ 11 h 31"/>
                  <a:gd name="T44" fmla="*/ 22 w 24"/>
                  <a:gd name="T45" fmla="*/ 13 h 31"/>
                  <a:gd name="T46" fmla="*/ 19 w 24"/>
                  <a:gd name="T47" fmla="*/ 16 h 31"/>
                  <a:gd name="T48" fmla="*/ 18 w 24"/>
                  <a:gd name="T49" fmla="*/ 16 h 31"/>
                  <a:gd name="T50" fmla="*/ 16 w 24"/>
                  <a:gd name="T51" fmla="*/ 18 h 31"/>
                  <a:gd name="T52" fmla="*/ 13 w 24"/>
                  <a:gd name="T53" fmla="*/ 18 h 31"/>
                  <a:gd name="T54" fmla="*/ 14 w 24"/>
                  <a:gd name="T55" fmla="*/ 21 h 31"/>
                  <a:gd name="T56" fmla="*/ 16 w 24"/>
                  <a:gd name="T57" fmla="*/ 21 h 31"/>
                  <a:gd name="T58" fmla="*/ 18 w 24"/>
                  <a:gd name="T59" fmla="*/ 19 h 31"/>
                  <a:gd name="T60" fmla="*/ 22 w 24"/>
                  <a:gd name="T61" fmla="*/ 19 h 31"/>
                  <a:gd name="T62" fmla="*/ 22 w 24"/>
                  <a:gd name="T63" fmla="*/ 21 h 31"/>
                  <a:gd name="T64" fmla="*/ 19 w 24"/>
                  <a:gd name="T65" fmla="*/ 27 h 31"/>
                  <a:gd name="T66" fmla="*/ 19 w 24"/>
                  <a:gd name="T67" fmla="*/ 2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19" y="27"/>
                    </a:moveTo>
                    <a:lnTo>
                      <a:pt x="16" y="26"/>
                    </a:lnTo>
                    <a:lnTo>
                      <a:pt x="11" y="27"/>
                    </a:lnTo>
                    <a:lnTo>
                      <a:pt x="8" y="29"/>
                    </a:lnTo>
                    <a:lnTo>
                      <a:pt x="1" y="31"/>
                    </a:lnTo>
                    <a:lnTo>
                      <a:pt x="0" y="27"/>
                    </a:lnTo>
                    <a:lnTo>
                      <a:pt x="3" y="24"/>
                    </a:lnTo>
                    <a:lnTo>
                      <a:pt x="3" y="21"/>
                    </a:lnTo>
                    <a:lnTo>
                      <a:pt x="4" y="19"/>
                    </a:lnTo>
                    <a:lnTo>
                      <a:pt x="4" y="14"/>
                    </a:lnTo>
                    <a:lnTo>
                      <a:pt x="4" y="11"/>
                    </a:lnTo>
                    <a:lnTo>
                      <a:pt x="6" y="8"/>
                    </a:lnTo>
                    <a:lnTo>
                      <a:pt x="13" y="6"/>
                    </a:lnTo>
                    <a:lnTo>
                      <a:pt x="14" y="5"/>
                    </a:lnTo>
                    <a:lnTo>
                      <a:pt x="16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22" y="5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6" y="18"/>
                    </a:lnTo>
                    <a:lnTo>
                      <a:pt x="13" y="18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19"/>
                    </a:lnTo>
                    <a:lnTo>
                      <a:pt x="22" y="19"/>
                    </a:lnTo>
                    <a:lnTo>
                      <a:pt x="22" y="21"/>
                    </a:lnTo>
                    <a:lnTo>
                      <a:pt x="19" y="27"/>
                    </a:lnTo>
                    <a:lnTo>
                      <a:pt x="19" y="2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1" name="Freeform 254">
                <a:extLst>
                  <a:ext uri="{FF2B5EF4-FFF2-40B4-BE49-F238E27FC236}">
                    <a16:creationId xmlns:a16="http://schemas.microsoft.com/office/drawing/2014/main" xmlns="" id="{416213E0-658E-4809-BF41-2A7B79901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1863"/>
                <a:ext cx="161" cy="219"/>
              </a:xfrm>
              <a:custGeom>
                <a:avLst/>
                <a:gdLst>
                  <a:gd name="T0" fmla="*/ 16 w 161"/>
                  <a:gd name="T1" fmla="*/ 127 h 219"/>
                  <a:gd name="T2" fmla="*/ 31 w 161"/>
                  <a:gd name="T3" fmla="*/ 122 h 219"/>
                  <a:gd name="T4" fmla="*/ 39 w 161"/>
                  <a:gd name="T5" fmla="*/ 116 h 219"/>
                  <a:gd name="T6" fmla="*/ 54 w 161"/>
                  <a:gd name="T7" fmla="*/ 112 h 219"/>
                  <a:gd name="T8" fmla="*/ 93 w 161"/>
                  <a:gd name="T9" fmla="*/ 63 h 219"/>
                  <a:gd name="T10" fmla="*/ 37 w 161"/>
                  <a:gd name="T11" fmla="*/ 44 h 219"/>
                  <a:gd name="T12" fmla="*/ 31 w 161"/>
                  <a:gd name="T13" fmla="*/ 32 h 219"/>
                  <a:gd name="T14" fmla="*/ 29 w 161"/>
                  <a:gd name="T15" fmla="*/ 14 h 219"/>
                  <a:gd name="T16" fmla="*/ 34 w 161"/>
                  <a:gd name="T17" fmla="*/ 9 h 219"/>
                  <a:gd name="T18" fmla="*/ 47 w 161"/>
                  <a:gd name="T19" fmla="*/ 23 h 219"/>
                  <a:gd name="T20" fmla="*/ 59 w 161"/>
                  <a:gd name="T21" fmla="*/ 27 h 219"/>
                  <a:gd name="T22" fmla="*/ 67 w 161"/>
                  <a:gd name="T23" fmla="*/ 23 h 219"/>
                  <a:gd name="T24" fmla="*/ 75 w 161"/>
                  <a:gd name="T25" fmla="*/ 19 h 219"/>
                  <a:gd name="T26" fmla="*/ 85 w 161"/>
                  <a:gd name="T27" fmla="*/ 21 h 219"/>
                  <a:gd name="T28" fmla="*/ 101 w 161"/>
                  <a:gd name="T29" fmla="*/ 13 h 219"/>
                  <a:gd name="T30" fmla="*/ 111 w 161"/>
                  <a:gd name="T31" fmla="*/ 14 h 219"/>
                  <a:gd name="T32" fmla="*/ 122 w 161"/>
                  <a:gd name="T33" fmla="*/ 13 h 219"/>
                  <a:gd name="T34" fmla="*/ 134 w 161"/>
                  <a:gd name="T35" fmla="*/ 8 h 219"/>
                  <a:gd name="T36" fmla="*/ 140 w 161"/>
                  <a:gd name="T37" fmla="*/ 8 h 219"/>
                  <a:gd name="T38" fmla="*/ 148 w 161"/>
                  <a:gd name="T39" fmla="*/ 5 h 219"/>
                  <a:gd name="T40" fmla="*/ 152 w 161"/>
                  <a:gd name="T41" fmla="*/ 0 h 219"/>
                  <a:gd name="T42" fmla="*/ 155 w 161"/>
                  <a:gd name="T43" fmla="*/ 1 h 219"/>
                  <a:gd name="T44" fmla="*/ 161 w 161"/>
                  <a:gd name="T45" fmla="*/ 3 h 219"/>
                  <a:gd name="T46" fmla="*/ 158 w 161"/>
                  <a:gd name="T47" fmla="*/ 9 h 219"/>
                  <a:gd name="T48" fmla="*/ 160 w 161"/>
                  <a:gd name="T49" fmla="*/ 13 h 219"/>
                  <a:gd name="T50" fmla="*/ 157 w 161"/>
                  <a:gd name="T51" fmla="*/ 19 h 219"/>
                  <a:gd name="T52" fmla="*/ 158 w 161"/>
                  <a:gd name="T53" fmla="*/ 26 h 219"/>
                  <a:gd name="T54" fmla="*/ 161 w 161"/>
                  <a:gd name="T55" fmla="*/ 26 h 219"/>
                  <a:gd name="T56" fmla="*/ 160 w 161"/>
                  <a:gd name="T57" fmla="*/ 27 h 219"/>
                  <a:gd name="T58" fmla="*/ 155 w 161"/>
                  <a:gd name="T59" fmla="*/ 31 h 219"/>
                  <a:gd name="T60" fmla="*/ 155 w 161"/>
                  <a:gd name="T61" fmla="*/ 39 h 219"/>
                  <a:gd name="T62" fmla="*/ 145 w 161"/>
                  <a:gd name="T63" fmla="*/ 59 h 219"/>
                  <a:gd name="T64" fmla="*/ 139 w 161"/>
                  <a:gd name="T65" fmla="*/ 65 h 219"/>
                  <a:gd name="T66" fmla="*/ 139 w 161"/>
                  <a:gd name="T67" fmla="*/ 72 h 219"/>
                  <a:gd name="T68" fmla="*/ 122 w 161"/>
                  <a:gd name="T69" fmla="*/ 103 h 219"/>
                  <a:gd name="T70" fmla="*/ 111 w 161"/>
                  <a:gd name="T71" fmla="*/ 124 h 219"/>
                  <a:gd name="T72" fmla="*/ 80 w 161"/>
                  <a:gd name="T73" fmla="*/ 155 h 219"/>
                  <a:gd name="T74" fmla="*/ 63 w 161"/>
                  <a:gd name="T75" fmla="*/ 166 h 219"/>
                  <a:gd name="T76" fmla="*/ 44 w 161"/>
                  <a:gd name="T77" fmla="*/ 183 h 219"/>
                  <a:gd name="T78" fmla="*/ 32 w 161"/>
                  <a:gd name="T79" fmla="*/ 196 h 219"/>
                  <a:gd name="T80" fmla="*/ 24 w 161"/>
                  <a:gd name="T81" fmla="*/ 204 h 219"/>
                  <a:gd name="T82" fmla="*/ 0 w 161"/>
                  <a:gd name="T83" fmla="*/ 209 h 219"/>
                  <a:gd name="T84" fmla="*/ 14 w 161"/>
                  <a:gd name="T85" fmla="*/ 13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1" h="219">
                    <a:moveTo>
                      <a:pt x="14" y="130"/>
                    </a:moveTo>
                    <a:lnTo>
                      <a:pt x="14" y="130"/>
                    </a:lnTo>
                    <a:lnTo>
                      <a:pt x="16" y="127"/>
                    </a:lnTo>
                    <a:lnTo>
                      <a:pt x="21" y="126"/>
                    </a:lnTo>
                    <a:lnTo>
                      <a:pt x="26" y="124"/>
                    </a:lnTo>
                    <a:lnTo>
                      <a:pt x="31" y="122"/>
                    </a:lnTo>
                    <a:lnTo>
                      <a:pt x="34" y="121"/>
                    </a:lnTo>
                    <a:lnTo>
                      <a:pt x="34" y="117"/>
                    </a:lnTo>
                    <a:lnTo>
                      <a:pt x="39" y="116"/>
                    </a:lnTo>
                    <a:lnTo>
                      <a:pt x="42" y="114"/>
                    </a:lnTo>
                    <a:lnTo>
                      <a:pt x="44" y="112"/>
                    </a:lnTo>
                    <a:lnTo>
                      <a:pt x="54" y="112"/>
                    </a:lnTo>
                    <a:lnTo>
                      <a:pt x="63" y="112"/>
                    </a:lnTo>
                    <a:lnTo>
                      <a:pt x="114" y="62"/>
                    </a:lnTo>
                    <a:lnTo>
                      <a:pt x="93" y="63"/>
                    </a:lnTo>
                    <a:lnTo>
                      <a:pt x="47" y="49"/>
                    </a:lnTo>
                    <a:lnTo>
                      <a:pt x="42" y="45"/>
                    </a:lnTo>
                    <a:lnTo>
                      <a:pt x="37" y="44"/>
                    </a:lnTo>
                    <a:lnTo>
                      <a:pt x="34" y="39"/>
                    </a:lnTo>
                    <a:lnTo>
                      <a:pt x="36" y="34"/>
                    </a:lnTo>
                    <a:lnTo>
                      <a:pt x="31" y="32"/>
                    </a:lnTo>
                    <a:lnTo>
                      <a:pt x="29" y="2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2" y="8"/>
                    </a:lnTo>
                    <a:lnTo>
                      <a:pt x="34" y="9"/>
                    </a:lnTo>
                    <a:lnTo>
                      <a:pt x="34" y="9"/>
                    </a:lnTo>
                    <a:lnTo>
                      <a:pt x="44" y="21"/>
                    </a:lnTo>
                    <a:lnTo>
                      <a:pt x="46" y="23"/>
                    </a:lnTo>
                    <a:lnTo>
                      <a:pt x="47" y="23"/>
                    </a:lnTo>
                    <a:lnTo>
                      <a:pt x="50" y="27"/>
                    </a:lnTo>
                    <a:lnTo>
                      <a:pt x="55" y="27"/>
                    </a:lnTo>
                    <a:lnTo>
                      <a:pt x="59" y="27"/>
                    </a:lnTo>
                    <a:lnTo>
                      <a:pt x="60" y="26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73" y="19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80" y="19"/>
                    </a:lnTo>
                    <a:lnTo>
                      <a:pt x="81" y="19"/>
                    </a:lnTo>
                    <a:lnTo>
                      <a:pt x="85" y="21"/>
                    </a:lnTo>
                    <a:lnTo>
                      <a:pt x="88" y="19"/>
                    </a:lnTo>
                    <a:lnTo>
                      <a:pt x="98" y="14"/>
                    </a:lnTo>
                    <a:lnTo>
                      <a:pt x="101" y="13"/>
                    </a:lnTo>
                    <a:lnTo>
                      <a:pt x="104" y="14"/>
                    </a:lnTo>
                    <a:lnTo>
                      <a:pt x="106" y="14"/>
                    </a:lnTo>
                    <a:lnTo>
                      <a:pt x="111" y="14"/>
                    </a:lnTo>
                    <a:lnTo>
                      <a:pt x="116" y="11"/>
                    </a:lnTo>
                    <a:lnTo>
                      <a:pt x="121" y="11"/>
                    </a:lnTo>
                    <a:lnTo>
                      <a:pt x="122" y="13"/>
                    </a:lnTo>
                    <a:lnTo>
                      <a:pt x="124" y="13"/>
                    </a:lnTo>
                    <a:lnTo>
                      <a:pt x="132" y="11"/>
                    </a:lnTo>
                    <a:lnTo>
                      <a:pt x="134" y="8"/>
                    </a:lnTo>
                    <a:lnTo>
                      <a:pt x="139" y="8"/>
                    </a:lnTo>
                    <a:lnTo>
                      <a:pt x="140" y="9"/>
                    </a:lnTo>
                    <a:lnTo>
                      <a:pt x="140" y="8"/>
                    </a:lnTo>
                    <a:lnTo>
                      <a:pt x="145" y="6"/>
                    </a:lnTo>
                    <a:lnTo>
                      <a:pt x="148" y="5"/>
                    </a:lnTo>
                    <a:lnTo>
                      <a:pt x="148" y="5"/>
                    </a:lnTo>
                    <a:lnTo>
                      <a:pt x="150" y="1"/>
                    </a:lnTo>
                    <a:lnTo>
                      <a:pt x="150" y="1"/>
                    </a:lnTo>
                    <a:lnTo>
                      <a:pt x="152" y="0"/>
                    </a:lnTo>
                    <a:lnTo>
                      <a:pt x="153" y="0"/>
                    </a:lnTo>
                    <a:lnTo>
                      <a:pt x="153" y="0"/>
                    </a:lnTo>
                    <a:lnTo>
                      <a:pt x="155" y="1"/>
                    </a:lnTo>
                    <a:lnTo>
                      <a:pt x="158" y="1"/>
                    </a:lnTo>
                    <a:lnTo>
                      <a:pt x="160" y="1"/>
                    </a:lnTo>
                    <a:lnTo>
                      <a:pt x="161" y="3"/>
                    </a:lnTo>
                    <a:lnTo>
                      <a:pt x="160" y="5"/>
                    </a:lnTo>
                    <a:lnTo>
                      <a:pt x="158" y="8"/>
                    </a:lnTo>
                    <a:lnTo>
                      <a:pt x="158" y="9"/>
                    </a:lnTo>
                    <a:lnTo>
                      <a:pt x="158" y="11"/>
                    </a:lnTo>
                    <a:lnTo>
                      <a:pt x="158" y="13"/>
                    </a:lnTo>
                    <a:lnTo>
                      <a:pt x="160" y="13"/>
                    </a:lnTo>
                    <a:lnTo>
                      <a:pt x="160" y="14"/>
                    </a:lnTo>
                    <a:lnTo>
                      <a:pt x="158" y="16"/>
                    </a:lnTo>
                    <a:lnTo>
                      <a:pt x="157" y="19"/>
                    </a:lnTo>
                    <a:lnTo>
                      <a:pt x="158" y="21"/>
                    </a:lnTo>
                    <a:lnTo>
                      <a:pt x="160" y="24"/>
                    </a:lnTo>
                    <a:lnTo>
                      <a:pt x="158" y="26"/>
                    </a:lnTo>
                    <a:lnTo>
                      <a:pt x="160" y="26"/>
                    </a:lnTo>
                    <a:lnTo>
                      <a:pt x="160" y="24"/>
                    </a:lnTo>
                    <a:lnTo>
                      <a:pt x="161" y="26"/>
                    </a:lnTo>
                    <a:lnTo>
                      <a:pt x="161" y="27"/>
                    </a:lnTo>
                    <a:lnTo>
                      <a:pt x="161" y="27"/>
                    </a:lnTo>
                    <a:lnTo>
                      <a:pt x="160" y="27"/>
                    </a:lnTo>
                    <a:lnTo>
                      <a:pt x="158" y="27"/>
                    </a:lnTo>
                    <a:lnTo>
                      <a:pt x="157" y="27"/>
                    </a:lnTo>
                    <a:lnTo>
                      <a:pt x="155" y="31"/>
                    </a:lnTo>
                    <a:lnTo>
                      <a:pt x="157" y="34"/>
                    </a:lnTo>
                    <a:lnTo>
                      <a:pt x="155" y="37"/>
                    </a:lnTo>
                    <a:lnTo>
                      <a:pt x="155" y="39"/>
                    </a:lnTo>
                    <a:lnTo>
                      <a:pt x="155" y="44"/>
                    </a:lnTo>
                    <a:lnTo>
                      <a:pt x="150" y="52"/>
                    </a:lnTo>
                    <a:lnTo>
                      <a:pt x="145" y="59"/>
                    </a:lnTo>
                    <a:lnTo>
                      <a:pt x="143" y="62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9" y="68"/>
                    </a:lnTo>
                    <a:lnTo>
                      <a:pt x="140" y="70"/>
                    </a:lnTo>
                    <a:lnTo>
                      <a:pt x="139" y="72"/>
                    </a:lnTo>
                    <a:lnTo>
                      <a:pt x="129" y="90"/>
                    </a:lnTo>
                    <a:lnTo>
                      <a:pt x="129" y="94"/>
                    </a:lnTo>
                    <a:lnTo>
                      <a:pt x="122" y="103"/>
                    </a:lnTo>
                    <a:lnTo>
                      <a:pt x="122" y="106"/>
                    </a:lnTo>
                    <a:lnTo>
                      <a:pt x="112" y="121"/>
                    </a:lnTo>
                    <a:lnTo>
                      <a:pt x="111" y="124"/>
                    </a:lnTo>
                    <a:lnTo>
                      <a:pt x="106" y="129"/>
                    </a:lnTo>
                    <a:lnTo>
                      <a:pt x="98" y="139"/>
                    </a:lnTo>
                    <a:lnTo>
                      <a:pt x="80" y="155"/>
                    </a:lnTo>
                    <a:lnTo>
                      <a:pt x="72" y="161"/>
                    </a:lnTo>
                    <a:lnTo>
                      <a:pt x="67" y="163"/>
                    </a:lnTo>
                    <a:lnTo>
                      <a:pt x="63" y="166"/>
                    </a:lnTo>
                    <a:lnTo>
                      <a:pt x="57" y="170"/>
                    </a:lnTo>
                    <a:lnTo>
                      <a:pt x="47" y="181"/>
                    </a:lnTo>
                    <a:lnTo>
                      <a:pt x="44" y="183"/>
                    </a:lnTo>
                    <a:lnTo>
                      <a:pt x="36" y="192"/>
                    </a:lnTo>
                    <a:lnTo>
                      <a:pt x="34" y="192"/>
                    </a:lnTo>
                    <a:lnTo>
                      <a:pt x="32" y="196"/>
                    </a:lnTo>
                    <a:lnTo>
                      <a:pt x="29" y="197"/>
                    </a:lnTo>
                    <a:lnTo>
                      <a:pt x="26" y="201"/>
                    </a:lnTo>
                    <a:lnTo>
                      <a:pt x="24" y="204"/>
                    </a:lnTo>
                    <a:lnTo>
                      <a:pt x="11" y="219"/>
                    </a:lnTo>
                    <a:lnTo>
                      <a:pt x="11" y="219"/>
                    </a:lnTo>
                    <a:lnTo>
                      <a:pt x="0" y="209"/>
                    </a:lnTo>
                    <a:lnTo>
                      <a:pt x="0" y="145"/>
                    </a:lnTo>
                    <a:lnTo>
                      <a:pt x="14" y="130"/>
                    </a:lnTo>
                    <a:lnTo>
                      <a:pt x="14" y="13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2" name="Freeform 255">
                <a:extLst>
                  <a:ext uri="{FF2B5EF4-FFF2-40B4-BE49-F238E27FC236}">
                    <a16:creationId xmlns:a16="http://schemas.microsoft.com/office/drawing/2014/main" xmlns="" id="{66004CA2-33D8-4391-8A4A-6CC510BEBD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9" y="1967"/>
                <a:ext cx="166" cy="165"/>
              </a:xfrm>
              <a:custGeom>
                <a:avLst/>
                <a:gdLst>
                  <a:gd name="T0" fmla="*/ 44 w 166"/>
                  <a:gd name="T1" fmla="*/ 20 h 165"/>
                  <a:gd name="T2" fmla="*/ 46 w 166"/>
                  <a:gd name="T3" fmla="*/ 17 h 165"/>
                  <a:gd name="T4" fmla="*/ 51 w 166"/>
                  <a:gd name="T5" fmla="*/ 15 h 165"/>
                  <a:gd name="T6" fmla="*/ 60 w 166"/>
                  <a:gd name="T7" fmla="*/ 0 h 165"/>
                  <a:gd name="T8" fmla="*/ 65 w 166"/>
                  <a:gd name="T9" fmla="*/ 4 h 165"/>
                  <a:gd name="T10" fmla="*/ 68 w 166"/>
                  <a:gd name="T11" fmla="*/ 13 h 165"/>
                  <a:gd name="T12" fmla="*/ 73 w 166"/>
                  <a:gd name="T13" fmla="*/ 17 h 165"/>
                  <a:gd name="T14" fmla="*/ 82 w 166"/>
                  <a:gd name="T15" fmla="*/ 17 h 165"/>
                  <a:gd name="T16" fmla="*/ 93 w 166"/>
                  <a:gd name="T17" fmla="*/ 18 h 165"/>
                  <a:gd name="T18" fmla="*/ 103 w 166"/>
                  <a:gd name="T19" fmla="*/ 28 h 165"/>
                  <a:gd name="T20" fmla="*/ 108 w 166"/>
                  <a:gd name="T21" fmla="*/ 31 h 165"/>
                  <a:gd name="T22" fmla="*/ 117 w 166"/>
                  <a:gd name="T23" fmla="*/ 33 h 165"/>
                  <a:gd name="T24" fmla="*/ 124 w 166"/>
                  <a:gd name="T25" fmla="*/ 33 h 165"/>
                  <a:gd name="T26" fmla="*/ 129 w 166"/>
                  <a:gd name="T27" fmla="*/ 33 h 165"/>
                  <a:gd name="T28" fmla="*/ 135 w 166"/>
                  <a:gd name="T29" fmla="*/ 25 h 165"/>
                  <a:gd name="T30" fmla="*/ 140 w 166"/>
                  <a:gd name="T31" fmla="*/ 23 h 165"/>
                  <a:gd name="T32" fmla="*/ 150 w 166"/>
                  <a:gd name="T33" fmla="*/ 22 h 165"/>
                  <a:gd name="T34" fmla="*/ 153 w 166"/>
                  <a:gd name="T35" fmla="*/ 26 h 165"/>
                  <a:gd name="T36" fmla="*/ 163 w 166"/>
                  <a:gd name="T37" fmla="*/ 26 h 165"/>
                  <a:gd name="T38" fmla="*/ 152 w 166"/>
                  <a:gd name="T39" fmla="*/ 41 h 165"/>
                  <a:gd name="T40" fmla="*/ 163 w 166"/>
                  <a:gd name="T41" fmla="*/ 115 h 165"/>
                  <a:gd name="T42" fmla="*/ 158 w 166"/>
                  <a:gd name="T43" fmla="*/ 123 h 165"/>
                  <a:gd name="T44" fmla="*/ 155 w 166"/>
                  <a:gd name="T45" fmla="*/ 124 h 165"/>
                  <a:gd name="T46" fmla="*/ 150 w 166"/>
                  <a:gd name="T47" fmla="*/ 128 h 165"/>
                  <a:gd name="T48" fmla="*/ 142 w 166"/>
                  <a:gd name="T49" fmla="*/ 133 h 165"/>
                  <a:gd name="T50" fmla="*/ 140 w 166"/>
                  <a:gd name="T51" fmla="*/ 134 h 165"/>
                  <a:gd name="T52" fmla="*/ 137 w 166"/>
                  <a:gd name="T53" fmla="*/ 139 h 165"/>
                  <a:gd name="T54" fmla="*/ 135 w 166"/>
                  <a:gd name="T55" fmla="*/ 144 h 165"/>
                  <a:gd name="T56" fmla="*/ 134 w 166"/>
                  <a:gd name="T57" fmla="*/ 151 h 165"/>
                  <a:gd name="T58" fmla="*/ 126 w 166"/>
                  <a:gd name="T59" fmla="*/ 164 h 165"/>
                  <a:gd name="T60" fmla="*/ 121 w 166"/>
                  <a:gd name="T61" fmla="*/ 165 h 165"/>
                  <a:gd name="T62" fmla="*/ 100 w 166"/>
                  <a:gd name="T63" fmla="*/ 151 h 165"/>
                  <a:gd name="T64" fmla="*/ 100 w 166"/>
                  <a:gd name="T65" fmla="*/ 146 h 165"/>
                  <a:gd name="T66" fmla="*/ 39 w 166"/>
                  <a:gd name="T67" fmla="*/ 106 h 165"/>
                  <a:gd name="T68" fmla="*/ 39 w 166"/>
                  <a:gd name="T69" fmla="*/ 90 h 165"/>
                  <a:gd name="T70" fmla="*/ 42 w 166"/>
                  <a:gd name="T71" fmla="*/ 84 h 165"/>
                  <a:gd name="T72" fmla="*/ 47 w 166"/>
                  <a:gd name="T73" fmla="*/ 77 h 165"/>
                  <a:gd name="T74" fmla="*/ 49 w 166"/>
                  <a:gd name="T75" fmla="*/ 72 h 165"/>
                  <a:gd name="T76" fmla="*/ 55 w 166"/>
                  <a:gd name="T77" fmla="*/ 71 h 165"/>
                  <a:gd name="T78" fmla="*/ 55 w 166"/>
                  <a:gd name="T79" fmla="*/ 64 h 165"/>
                  <a:gd name="T80" fmla="*/ 60 w 166"/>
                  <a:gd name="T81" fmla="*/ 57 h 165"/>
                  <a:gd name="T82" fmla="*/ 57 w 166"/>
                  <a:gd name="T83" fmla="*/ 51 h 165"/>
                  <a:gd name="T84" fmla="*/ 57 w 166"/>
                  <a:gd name="T85" fmla="*/ 48 h 165"/>
                  <a:gd name="T86" fmla="*/ 52 w 166"/>
                  <a:gd name="T87" fmla="*/ 43 h 165"/>
                  <a:gd name="T88" fmla="*/ 49 w 166"/>
                  <a:gd name="T89" fmla="*/ 35 h 165"/>
                  <a:gd name="T90" fmla="*/ 46 w 166"/>
                  <a:gd name="T91" fmla="*/ 31 h 165"/>
                  <a:gd name="T92" fmla="*/ 44 w 166"/>
                  <a:gd name="T93" fmla="*/ 28 h 165"/>
                  <a:gd name="T94" fmla="*/ 42 w 166"/>
                  <a:gd name="T95" fmla="*/ 22 h 165"/>
                  <a:gd name="T96" fmla="*/ 41 w 166"/>
                  <a:gd name="T97" fmla="*/ 22 h 165"/>
                  <a:gd name="T98" fmla="*/ 0 w 166"/>
                  <a:gd name="T99" fmla="*/ 108 h 165"/>
                  <a:gd name="T100" fmla="*/ 13 w 166"/>
                  <a:gd name="T101" fmla="*/ 108 h 165"/>
                  <a:gd name="T102" fmla="*/ 0 w 166"/>
                  <a:gd name="T103" fmla="*/ 10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6" h="165">
                    <a:moveTo>
                      <a:pt x="41" y="22"/>
                    </a:moveTo>
                    <a:lnTo>
                      <a:pt x="44" y="20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9" y="13"/>
                    </a:lnTo>
                    <a:lnTo>
                      <a:pt x="51" y="15"/>
                    </a:lnTo>
                    <a:lnTo>
                      <a:pt x="54" y="8"/>
                    </a:lnTo>
                    <a:lnTo>
                      <a:pt x="60" y="0"/>
                    </a:lnTo>
                    <a:lnTo>
                      <a:pt x="62" y="4"/>
                    </a:lnTo>
                    <a:lnTo>
                      <a:pt x="65" y="4"/>
                    </a:lnTo>
                    <a:lnTo>
                      <a:pt x="68" y="4"/>
                    </a:lnTo>
                    <a:lnTo>
                      <a:pt x="68" y="13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78" y="15"/>
                    </a:lnTo>
                    <a:lnTo>
                      <a:pt x="82" y="17"/>
                    </a:lnTo>
                    <a:lnTo>
                      <a:pt x="90" y="17"/>
                    </a:lnTo>
                    <a:lnTo>
                      <a:pt x="93" y="18"/>
                    </a:lnTo>
                    <a:lnTo>
                      <a:pt x="100" y="25"/>
                    </a:lnTo>
                    <a:lnTo>
                      <a:pt x="103" y="28"/>
                    </a:lnTo>
                    <a:lnTo>
                      <a:pt x="106" y="30"/>
                    </a:lnTo>
                    <a:lnTo>
                      <a:pt x="108" y="31"/>
                    </a:lnTo>
                    <a:lnTo>
                      <a:pt x="113" y="31"/>
                    </a:lnTo>
                    <a:lnTo>
                      <a:pt x="117" y="33"/>
                    </a:lnTo>
                    <a:lnTo>
                      <a:pt x="121" y="31"/>
                    </a:lnTo>
                    <a:lnTo>
                      <a:pt x="124" y="33"/>
                    </a:lnTo>
                    <a:lnTo>
                      <a:pt x="126" y="33"/>
                    </a:lnTo>
                    <a:lnTo>
                      <a:pt x="129" y="33"/>
                    </a:lnTo>
                    <a:lnTo>
                      <a:pt x="134" y="26"/>
                    </a:lnTo>
                    <a:lnTo>
                      <a:pt x="135" y="25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2" y="22"/>
                    </a:lnTo>
                    <a:lnTo>
                      <a:pt x="150" y="22"/>
                    </a:lnTo>
                    <a:lnTo>
                      <a:pt x="152" y="22"/>
                    </a:lnTo>
                    <a:lnTo>
                      <a:pt x="153" y="26"/>
                    </a:lnTo>
                    <a:lnTo>
                      <a:pt x="157" y="26"/>
                    </a:lnTo>
                    <a:lnTo>
                      <a:pt x="163" y="26"/>
                    </a:lnTo>
                    <a:lnTo>
                      <a:pt x="166" y="26"/>
                    </a:lnTo>
                    <a:lnTo>
                      <a:pt x="152" y="41"/>
                    </a:lnTo>
                    <a:lnTo>
                      <a:pt x="152" y="105"/>
                    </a:lnTo>
                    <a:lnTo>
                      <a:pt x="163" y="115"/>
                    </a:lnTo>
                    <a:lnTo>
                      <a:pt x="163" y="116"/>
                    </a:lnTo>
                    <a:lnTo>
                      <a:pt x="158" y="123"/>
                    </a:lnTo>
                    <a:lnTo>
                      <a:pt x="157" y="123"/>
                    </a:lnTo>
                    <a:lnTo>
                      <a:pt x="155" y="124"/>
                    </a:lnTo>
                    <a:lnTo>
                      <a:pt x="155" y="126"/>
                    </a:lnTo>
                    <a:lnTo>
                      <a:pt x="150" y="128"/>
                    </a:lnTo>
                    <a:lnTo>
                      <a:pt x="147" y="133"/>
                    </a:lnTo>
                    <a:lnTo>
                      <a:pt x="142" y="133"/>
                    </a:lnTo>
                    <a:lnTo>
                      <a:pt x="140" y="133"/>
                    </a:lnTo>
                    <a:lnTo>
                      <a:pt x="140" y="134"/>
                    </a:lnTo>
                    <a:lnTo>
                      <a:pt x="139" y="138"/>
                    </a:lnTo>
                    <a:lnTo>
                      <a:pt x="137" y="139"/>
                    </a:lnTo>
                    <a:lnTo>
                      <a:pt x="139" y="139"/>
                    </a:lnTo>
                    <a:lnTo>
                      <a:pt x="135" y="144"/>
                    </a:lnTo>
                    <a:lnTo>
                      <a:pt x="134" y="147"/>
                    </a:lnTo>
                    <a:lnTo>
                      <a:pt x="134" y="151"/>
                    </a:lnTo>
                    <a:lnTo>
                      <a:pt x="131" y="155"/>
                    </a:lnTo>
                    <a:lnTo>
                      <a:pt x="126" y="164"/>
                    </a:lnTo>
                    <a:lnTo>
                      <a:pt x="122" y="165"/>
                    </a:lnTo>
                    <a:lnTo>
                      <a:pt x="121" y="165"/>
                    </a:lnTo>
                    <a:lnTo>
                      <a:pt x="101" y="152"/>
                    </a:lnTo>
                    <a:lnTo>
                      <a:pt x="100" y="151"/>
                    </a:lnTo>
                    <a:lnTo>
                      <a:pt x="100" y="147"/>
                    </a:lnTo>
                    <a:lnTo>
                      <a:pt x="100" y="146"/>
                    </a:lnTo>
                    <a:lnTo>
                      <a:pt x="96" y="141"/>
                    </a:lnTo>
                    <a:lnTo>
                      <a:pt x="39" y="106"/>
                    </a:lnTo>
                    <a:lnTo>
                      <a:pt x="34" y="106"/>
                    </a:lnTo>
                    <a:lnTo>
                      <a:pt x="39" y="90"/>
                    </a:lnTo>
                    <a:lnTo>
                      <a:pt x="39" y="87"/>
                    </a:lnTo>
                    <a:lnTo>
                      <a:pt x="42" y="84"/>
                    </a:lnTo>
                    <a:lnTo>
                      <a:pt x="44" y="79"/>
                    </a:lnTo>
                    <a:lnTo>
                      <a:pt x="47" y="77"/>
                    </a:lnTo>
                    <a:lnTo>
                      <a:pt x="47" y="74"/>
                    </a:lnTo>
                    <a:lnTo>
                      <a:pt x="49" y="72"/>
                    </a:lnTo>
                    <a:lnTo>
                      <a:pt x="49" y="71"/>
                    </a:lnTo>
                    <a:lnTo>
                      <a:pt x="55" y="71"/>
                    </a:lnTo>
                    <a:lnTo>
                      <a:pt x="55" y="67"/>
                    </a:lnTo>
                    <a:lnTo>
                      <a:pt x="55" y="64"/>
                    </a:lnTo>
                    <a:lnTo>
                      <a:pt x="60" y="61"/>
                    </a:lnTo>
                    <a:lnTo>
                      <a:pt x="60" y="57"/>
                    </a:lnTo>
                    <a:lnTo>
                      <a:pt x="59" y="54"/>
                    </a:lnTo>
                    <a:lnTo>
                      <a:pt x="57" y="51"/>
                    </a:lnTo>
                    <a:lnTo>
                      <a:pt x="59" y="49"/>
                    </a:lnTo>
                    <a:lnTo>
                      <a:pt x="57" y="48"/>
                    </a:lnTo>
                    <a:lnTo>
                      <a:pt x="54" y="48"/>
                    </a:lnTo>
                    <a:lnTo>
                      <a:pt x="52" y="43"/>
                    </a:lnTo>
                    <a:lnTo>
                      <a:pt x="49" y="38"/>
                    </a:lnTo>
                    <a:lnTo>
                      <a:pt x="49" y="35"/>
                    </a:lnTo>
                    <a:lnTo>
                      <a:pt x="47" y="31"/>
                    </a:lnTo>
                    <a:lnTo>
                      <a:pt x="46" y="31"/>
                    </a:lnTo>
                    <a:lnTo>
                      <a:pt x="46" y="28"/>
                    </a:lnTo>
                    <a:lnTo>
                      <a:pt x="44" y="28"/>
                    </a:lnTo>
                    <a:lnTo>
                      <a:pt x="44" y="23"/>
                    </a:lnTo>
                    <a:lnTo>
                      <a:pt x="42" y="22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41" y="22"/>
                    </a:lnTo>
                    <a:close/>
                    <a:moveTo>
                      <a:pt x="0" y="108"/>
                    </a:moveTo>
                    <a:lnTo>
                      <a:pt x="6" y="108"/>
                    </a:lnTo>
                    <a:lnTo>
                      <a:pt x="13" y="108"/>
                    </a:lnTo>
                    <a:lnTo>
                      <a:pt x="2" y="108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3" name="Freeform 256">
                <a:extLst>
                  <a:ext uri="{FF2B5EF4-FFF2-40B4-BE49-F238E27FC236}">
                    <a16:creationId xmlns:a16="http://schemas.microsoft.com/office/drawing/2014/main" xmlns="" id="{FECA98F8-0676-4AB3-839C-3D144EC20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6" y="1989"/>
                <a:ext cx="93" cy="93"/>
              </a:xfrm>
              <a:custGeom>
                <a:avLst/>
                <a:gdLst>
                  <a:gd name="T0" fmla="*/ 72 w 93"/>
                  <a:gd name="T1" fmla="*/ 65 h 93"/>
                  <a:gd name="T2" fmla="*/ 77 w 93"/>
                  <a:gd name="T3" fmla="*/ 57 h 93"/>
                  <a:gd name="T4" fmla="*/ 80 w 93"/>
                  <a:gd name="T5" fmla="*/ 52 h 93"/>
                  <a:gd name="T6" fmla="*/ 82 w 93"/>
                  <a:gd name="T7" fmla="*/ 49 h 93"/>
                  <a:gd name="T8" fmla="*/ 88 w 93"/>
                  <a:gd name="T9" fmla="*/ 45 h 93"/>
                  <a:gd name="T10" fmla="*/ 93 w 93"/>
                  <a:gd name="T11" fmla="*/ 39 h 93"/>
                  <a:gd name="T12" fmla="*/ 92 w 93"/>
                  <a:gd name="T13" fmla="*/ 32 h 93"/>
                  <a:gd name="T14" fmla="*/ 92 w 93"/>
                  <a:gd name="T15" fmla="*/ 27 h 93"/>
                  <a:gd name="T16" fmla="*/ 87 w 93"/>
                  <a:gd name="T17" fmla="*/ 26 h 93"/>
                  <a:gd name="T18" fmla="*/ 82 w 93"/>
                  <a:gd name="T19" fmla="*/ 16 h 93"/>
                  <a:gd name="T20" fmla="*/ 80 w 93"/>
                  <a:gd name="T21" fmla="*/ 9 h 93"/>
                  <a:gd name="T22" fmla="*/ 79 w 93"/>
                  <a:gd name="T23" fmla="*/ 6 h 93"/>
                  <a:gd name="T24" fmla="*/ 77 w 93"/>
                  <a:gd name="T25" fmla="*/ 1 h 93"/>
                  <a:gd name="T26" fmla="*/ 70 w 93"/>
                  <a:gd name="T27" fmla="*/ 3 h 93"/>
                  <a:gd name="T28" fmla="*/ 66 w 93"/>
                  <a:gd name="T29" fmla="*/ 6 h 93"/>
                  <a:gd name="T30" fmla="*/ 56 w 93"/>
                  <a:gd name="T31" fmla="*/ 6 h 93"/>
                  <a:gd name="T32" fmla="*/ 51 w 93"/>
                  <a:gd name="T33" fmla="*/ 8 h 93"/>
                  <a:gd name="T34" fmla="*/ 48 w 93"/>
                  <a:gd name="T35" fmla="*/ 8 h 93"/>
                  <a:gd name="T36" fmla="*/ 44 w 93"/>
                  <a:gd name="T37" fmla="*/ 13 h 93"/>
                  <a:gd name="T38" fmla="*/ 39 w 93"/>
                  <a:gd name="T39" fmla="*/ 11 h 93"/>
                  <a:gd name="T40" fmla="*/ 36 w 93"/>
                  <a:gd name="T41" fmla="*/ 8 h 93"/>
                  <a:gd name="T42" fmla="*/ 30 w 93"/>
                  <a:gd name="T43" fmla="*/ 6 h 93"/>
                  <a:gd name="T44" fmla="*/ 25 w 93"/>
                  <a:gd name="T45" fmla="*/ 8 h 93"/>
                  <a:gd name="T46" fmla="*/ 25 w 93"/>
                  <a:gd name="T47" fmla="*/ 11 h 93"/>
                  <a:gd name="T48" fmla="*/ 25 w 93"/>
                  <a:gd name="T49" fmla="*/ 11 h 93"/>
                  <a:gd name="T50" fmla="*/ 23 w 93"/>
                  <a:gd name="T51" fmla="*/ 17 h 93"/>
                  <a:gd name="T52" fmla="*/ 21 w 93"/>
                  <a:gd name="T53" fmla="*/ 27 h 93"/>
                  <a:gd name="T54" fmla="*/ 23 w 93"/>
                  <a:gd name="T55" fmla="*/ 32 h 93"/>
                  <a:gd name="T56" fmla="*/ 26 w 93"/>
                  <a:gd name="T57" fmla="*/ 37 h 93"/>
                  <a:gd name="T58" fmla="*/ 18 w 93"/>
                  <a:gd name="T59" fmla="*/ 50 h 93"/>
                  <a:gd name="T60" fmla="*/ 12 w 93"/>
                  <a:gd name="T61" fmla="*/ 58 h 93"/>
                  <a:gd name="T62" fmla="*/ 3 w 93"/>
                  <a:gd name="T63" fmla="*/ 71 h 93"/>
                  <a:gd name="T64" fmla="*/ 3 w 93"/>
                  <a:gd name="T65" fmla="*/ 81 h 93"/>
                  <a:gd name="T66" fmla="*/ 2 w 93"/>
                  <a:gd name="T67" fmla="*/ 91 h 93"/>
                  <a:gd name="T68" fmla="*/ 2 w 93"/>
                  <a:gd name="T69" fmla="*/ 93 h 93"/>
                  <a:gd name="T70" fmla="*/ 7 w 93"/>
                  <a:gd name="T71" fmla="*/ 89 h 93"/>
                  <a:gd name="T72" fmla="*/ 10 w 93"/>
                  <a:gd name="T73" fmla="*/ 91 h 93"/>
                  <a:gd name="T74" fmla="*/ 13 w 93"/>
                  <a:gd name="T75" fmla="*/ 91 h 93"/>
                  <a:gd name="T76" fmla="*/ 17 w 93"/>
                  <a:gd name="T77" fmla="*/ 88 h 93"/>
                  <a:gd name="T78" fmla="*/ 17 w 93"/>
                  <a:gd name="T79" fmla="*/ 88 h 93"/>
                  <a:gd name="T80" fmla="*/ 20 w 93"/>
                  <a:gd name="T81" fmla="*/ 86 h 93"/>
                  <a:gd name="T82" fmla="*/ 35 w 93"/>
                  <a:gd name="T83" fmla="*/ 86 h 93"/>
                  <a:gd name="T84" fmla="*/ 67 w 93"/>
                  <a:gd name="T85" fmla="*/ 8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3" h="93">
                    <a:moveTo>
                      <a:pt x="72" y="68"/>
                    </a:moveTo>
                    <a:lnTo>
                      <a:pt x="72" y="65"/>
                    </a:lnTo>
                    <a:lnTo>
                      <a:pt x="75" y="62"/>
                    </a:lnTo>
                    <a:lnTo>
                      <a:pt x="77" y="57"/>
                    </a:lnTo>
                    <a:lnTo>
                      <a:pt x="80" y="55"/>
                    </a:lnTo>
                    <a:lnTo>
                      <a:pt x="80" y="52"/>
                    </a:lnTo>
                    <a:lnTo>
                      <a:pt x="82" y="50"/>
                    </a:lnTo>
                    <a:lnTo>
                      <a:pt x="82" y="49"/>
                    </a:lnTo>
                    <a:lnTo>
                      <a:pt x="88" y="49"/>
                    </a:lnTo>
                    <a:lnTo>
                      <a:pt x="88" y="45"/>
                    </a:lnTo>
                    <a:lnTo>
                      <a:pt x="88" y="42"/>
                    </a:lnTo>
                    <a:lnTo>
                      <a:pt x="93" y="39"/>
                    </a:lnTo>
                    <a:lnTo>
                      <a:pt x="93" y="35"/>
                    </a:lnTo>
                    <a:lnTo>
                      <a:pt x="92" y="32"/>
                    </a:lnTo>
                    <a:lnTo>
                      <a:pt x="90" y="29"/>
                    </a:lnTo>
                    <a:lnTo>
                      <a:pt x="92" y="27"/>
                    </a:lnTo>
                    <a:lnTo>
                      <a:pt x="90" y="26"/>
                    </a:lnTo>
                    <a:lnTo>
                      <a:pt x="87" y="26"/>
                    </a:lnTo>
                    <a:lnTo>
                      <a:pt x="85" y="21"/>
                    </a:lnTo>
                    <a:lnTo>
                      <a:pt x="82" y="16"/>
                    </a:lnTo>
                    <a:lnTo>
                      <a:pt x="82" y="13"/>
                    </a:lnTo>
                    <a:lnTo>
                      <a:pt x="80" y="9"/>
                    </a:lnTo>
                    <a:lnTo>
                      <a:pt x="79" y="9"/>
                    </a:lnTo>
                    <a:lnTo>
                      <a:pt x="79" y="6"/>
                    </a:lnTo>
                    <a:lnTo>
                      <a:pt x="77" y="6"/>
                    </a:lnTo>
                    <a:lnTo>
                      <a:pt x="77" y="1"/>
                    </a:lnTo>
                    <a:lnTo>
                      <a:pt x="75" y="0"/>
                    </a:lnTo>
                    <a:lnTo>
                      <a:pt x="70" y="3"/>
                    </a:lnTo>
                    <a:lnTo>
                      <a:pt x="69" y="4"/>
                    </a:lnTo>
                    <a:lnTo>
                      <a:pt x="66" y="6"/>
                    </a:lnTo>
                    <a:lnTo>
                      <a:pt x="62" y="6"/>
                    </a:lnTo>
                    <a:lnTo>
                      <a:pt x="56" y="6"/>
                    </a:lnTo>
                    <a:lnTo>
                      <a:pt x="52" y="8"/>
                    </a:lnTo>
                    <a:lnTo>
                      <a:pt x="51" y="8"/>
                    </a:lnTo>
                    <a:lnTo>
                      <a:pt x="49" y="8"/>
                    </a:lnTo>
                    <a:lnTo>
                      <a:pt x="48" y="8"/>
                    </a:lnTo>
                    <a:lnTo>
                      <a:pt x="44" y="9"/>
                    </a:lnTo>
                    <a:lnTo>
                      <a:pt x="44" y="13"/>
                    </a:lnTo>
                    <a:lnTo>
                      <a:pt x="43" y="13"/>
                    </a:lnTo>
                    <a:lnTo>
                      <a:pt x="39" y="11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5" y="8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5" y="8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1" y="27"/>
                    </a:lnTo>
                    <a:lnTo>
                      <a:pt x="21" y="31"/>
                    </a:lnTo>
                    <a:lnTo>
                      <a:pt x="23" y="32"/>
                    </a:lnTo>
                    <a:lnTo>
                      <a:pt x="25" y="34"/>
                    </a:lnTo>
                    <a:lnTo>
                      <a:pt x="26" y="37"/>
                    </a:lnTo>
                    <a:lnTo>
                      <a:pt x="26" y="39"/>
                    </a:lnTo>
                    <a:lnTo>
                      <a:pt x="18" y="50"/>
                    </a:lnTo>
                    <a:lnTo>
                      <a:pt x="12" y="55"/>
                    </a:lnTo>
                    <a:lnTo>
                      <a:pt x="12" y="58"/>
                    </a:lnTo>
                    <a:lnTo>
                      <a:pt x="5" y="70"/>
                    </a:lnTo>
                    <a:lnTo>
                      <a:pt x="3" y="71"/>
                    </a:lnTo>
                    <a:lnTo>
                      <a:pt x="3" y="75"/>
                    </a:lnTo>
                    <a:lnTo>
                      <a:pt x="3" y="81"/>
                    </a:lnTo>
                    <a:lnTo>
                      <a:pt x="2" y="88"/>
                    </a:lnTo>
                    <a:lnTo>
                      <a:pt x="2" y="91"/>
                    </a:lnTo>
                    <a:lnTo>
                      <a:pt x="0" y="91"/>
                    </a:lnTo>
                    <a:lnTo>
                      <a:pt x="2" y="93"/>
                    </a:lnTo>
                    <a:lnTo>
                      <a:pt x="3" y="91"/>
                    </a:lnTo>
                    <a:lnTo>
                      <a:pt x="7" y="89"/>
                    </a:lnTo>
                    <a:lnTo>
                      <a:pt x="8" y="91"/>
                    </a:lnTo>
                    <a:lnTo>
                      <a:pt x="10" y="91"/>
                    </a:lnTo>
                    <a:lnTo>
                      <a:pt x="12" y="91"/>
                    </a:lnTo>
                    <a:lnTo>
                      <a:pt x="13" y="91"/>
                    </a:lnTo>
                    <a:lnTo>
                      <a:pt x="13" y="88"/>
                    </a:lnTo>
                    <a:lnTo>
                      <a:pt x="17" y="88"/>
                    </a:lnTo>
                    <a:lnTo>
                      <a:pt x="17" y="88"/>
                    </a:lnTo>
                    <a:lnTo>
                      <a:pt x="17" y="88"/>
                    </a:lnTo>
                    <a:lnTo>
                      <a:pt x="18" y="88"/>
                    </a:lnTo>
                    <a:lnTo>
                      <a:pt x="20" y="86"/>
                    </a:lnTo>
                    <a:lnTo>
                      <a:pt x="33" y="86"/>
                    </a:lnTo>
                    <a:lnTo>
                      <a:pt x="35" y="86"/>
                    </a:lnTo>
                    <a:lnTo>
                      <a:pt x="46" y="86"/>
                    </a:lnTo>
                    <a:lnTo>
                      <a:pt x="67" y="84"/>
                    </a:lnTo>
                    <a:lnTo>
                      <a:pt x="72" y="6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4" name="Freeform 257">
                <a:extLst>
                  <a:ext uri="{FF2B5EF4-FFF2-40B4-BE49-F238E27FC236}">
                    <a16:creationId xmlns:a16="http://schemas.microsoft.com/office/drawing/2014/main" xmlns="" id="{31954F4E-AE1C-4C63-9B2F-47EB07684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" y="1876"/>
                <a:ext cx="206" cy="142"/>
              </a:xfrm>
              <a:custGeom>
                <a:avLst/>
                <a:gdLst>
                  <a:gd name="T0" fmla="*/ 131 w 206"/>
                  <a:gd name="T1" fmla="*/ 5 h 142"/>
                  <a:gd name="T2" fmla="*/ 141 w 206"/>
                  <a:gd name="T3" fmla="*/ 23 h 142"/>
                  <a:gd name="T4" fmla="*/ 139 w 206"/>
                  <a:gd name="T5" fmla="*/ 32 h 142"/>
                  <a:gd name="T6" fmla="*/ 147 w 206"/>
                  <a:gd name="T7" fmla="*/ 37 h 142"/>
                  <a:gd name="T8" fmla="*/ 152 w 206"/>
                  <a:gd name="T9" fmla="*/ 44 h 142"/>
                  <a:gd name="T10" fmla="*/ 164 w 206"/>
                  <a:gd name="T11" fmla="*/ 50 h 142"/>
                  <a:gd name="T12" fmla="*/ 172 w 206"/>
                  <a:gd name="T13" fmla="*/ 55 h 142"/>
                  <a:gd name="T14" fmla="*/ 169 w 206"/>
                  <a:gd name="T15" fmla="*/ 62 h 142"/>
                  <a:gd name="T16" fmla="*/ 178 w 206"/>
                  <a:gd name="T17" fmla="*/ 67 h 142"/>
                  <a:gd name="T18" fmla="*/ 185 w 206"/>
                  <a:gd name="T19" fmla="*/ 77 h 142"/>
                  <a:gd name="T20" fmla="*/ 191 w 206"/>
                  <a:gd name="T21" fmla="*/ 83 h 142"/>
                  <a:gd name="T22" fmla="*/ 200 w 206"/>
                  <a:gd name="T23" fmla="*/ 90 h 142"/>
                  <a:gd name="T24" fmla="*/ 206 w 206"/>
                  <a:gd name="T25" fmla="*/ 99 h 142"/>
                  <a:gd name="T26" fmla="*/ 200 w 206"/>
                  <a:gd name="T27" fmla="*/ 98 h 142"/>
                  <a:gd name="T28" fmla="*/ 185 w 206"/>
                  <a:gd name="T29" fmla="*/ 98 h 142"/>
                  <a:gd name="T30" fmla="*/ 177 w 206"/>
                  <a:gd name="T31" fmla="*/ 96 h 142"/>
                  <a:gd name="T32" fmla="*/ 172 w 206"/>
                  <a:gd name="T33" fmla="*/ 98 h 142"/>
                  <a:gd name="T34" fmla="*/ 162 w 206"/>
                  <a:gd name="T35" fmla="*/ 101 h 142"/>
                  <a:gd name="T36" fmla="*/ 157 w 206"/>
                  <a:gd name="T37" fmla="*/ 101 h 142"/>
                  <a:gd name="T38" fmla="*/ 146 w 206"/>
                  <a:gd name="T39" fmla="*/ 103 h 142"/>
                  <a:gd name="T40" fmla="*/ 134 w 206"/>
                  <a:gd name="T41" fmla="*/ 104 h 142"/>
                  <a:gd name="T42" fmla="*/ 123 w 206"/>
                  <a:gd name="T43" fmla="*/ 109 h 142"/>
                  <a:gd name="T44" fmla="*/ 121 w 206"/>
                  <a:gd name="T45" fmla="*/ 114 h 142"/>
                  <a:gd name="T46" fmla="*/ 111 w 206"/>
                  <a:gd name="T47" fmla="*/ 113 h 142"/>
                  <a:gd name="T48" fmla="*/ 100 w 206"/>
                  <a:gd name="T49" fmla="*/ 111 h 142"/>
                  <a:gd name="T50" fmla="*/ 89 w 206"/>
                  <a:gd name="T51" fmla="*/ 104 h 142"/>
                  <a:gd name="T52" fmla="*/ 79 w 206"/>
                  <a:gd name="T53" fmla="*/ 99 h 142"/>
                  <a:gd name="T54" fmla="*/ 71 w 206"/>
                  <a:gd name="T55" fmla="*/ 103 h 142"/>
                  <a:gd name="T56" fmla="*/ 67 w 206"/>
                  <a:gd name="T57" fmla="*/ 109 h 142"/>
                  <a:gd name="T58" fmla="*/ 67 w 206"/>
                  <a:gd name="T59" fmla="*/ 116 h 142"/>
                  <a:gd name="T60" fmla="*/ 62 w 206"/>
                  <a:gd name="T61" fmla="*/ 122 h 142"/>
                  <a:gd name="T62" fmla="*/ 56 w 206"/>
                  <a:gd name="T63" fmla="*/ 121 h 142"/>
                  <a:gd name="T64" fmla="*/ 41 w 206"/>
                  <a:gd name="T65" fmla="*/ 124 h 142"/>
                  <a:gd name="T66" fmla="*/ 27 w 206"/>
                  <a:gd name="T67" fmla="*/ 142 h 142"/>
                  <a:gd name="T68" fmla="*/ 25 w 206"/>
                  <a:gd name="T69" fmla="*/ 135 h 142"/>
                  <a:gd name="T70" fmla="*/ 12 w 206"/>
                  <a:gd name="T71" fmla="*/ 119 h 142"/>
                  <a:gd name="T72" fmla="*/ 2 w 206"/>
                  <a:gd name="T73" fmla="*/ 109 h 142"/>
                  <a:gd name="T74" fmla="*/ 2 w 206"/>
                  <a:gd name="T75" fmla="*/ 90 h 142"/>
                  <a:gd name="T76" fmla="*/ 4 w 206"/>
                  <a:gd name="T77" fmla="*/ 80 h 142"/>
                  <a:gd name="T78" fmla="*/ 12 w 206"/>
                  <a:gd name="T79" fmla="*/ 62 h 142"/>
                  <a:gd name="T80" fmla="*/ 20 w 206"/>
                  <a:gd name="T81" fmla="*/ 59 h 142"/>
                  <a:gd name="T82" fmla="*/ 30 w 206"/>
                  <a:gd name="T83" fmla="*/ 60 h 142"/>
                  <a:gd name="T84" fmla="*/ 35 w 206"/>
                  <a:gd name="T85" fmla="*/ 54 h 142"/>
                  <a:gd name="T86" fmla="*/ 45 w 206"/>
                  <a:gd name="T87" fmla="*/ 55 h 142"/>
                  <a:gd name="T88" fmla="*/ 66 w 206"/>
                  <a:gd name="T89" fmla="*/ 49 h 142"/>
                  <a:gd name="T90" fmla="*/ 71 w 206"/>
                  <a:gd name="T91" fmla="*/ 41 h 142"/>
                  <a:gd name="T92" fmla="*/ 72 w 206"/>
                  <a:gd name="T93" fmla="*/ 34 h 142"/>
                  <a:gd name="T94" fmla="*/ 87 w 206"/>
                  <a:gd name="T95" fmla="*/ 34 h 142"/>
                  <a:gd name="T96" fmla="*/ 100 w 206"/>
                  <a:gd name="T97" fmla="*/ 28 h 142"/>
                  <a:gd name="T98" fmla="*/ 102 w 206"/>
                  <a:gd name="T99" fmla="*/ 18 h 142"/>
                  <a:gd name="T100" fmla="*/ 110 w 206"/>
                  <a:gd name="T101" fmla="*/ 11 h 142"/>
                  <a:gd name="T102" fmla="*/ 116 w 206"/>
                  <a:gd name="T103" fmla="*/ 5 h 142"/>
                  <a:gd name="T104" fmla="*/ 129 w 206"/>
                  <a:gd name="T105" fmla="*/ 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6" h="142">
                    <a:moveTo>
                      <a:pt x="129" y="0"/>
                    </a:moveTo>
                    <a:lnTo>
                      <a:pt x="131" y="1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9" y="16"/>
                    </a:lnTo>
                    <a:lnTo>
                      <a:pt x="141" y="23"/>
                    </a:lnTo>
                    <a:lnTo>
                      <a:pt x="143" y="24"/>
                    </a:lnTo>
                    <a:lnTo>
                      <a:pt x="143" y="28"/>
                    </a:lnTo>
                    <a:lnTo>
                      <a:pt x="141" y="29"/>
                    </a:lnTo>
                    <a:lnTo>
                      <a:pt x="139" y="32"/>
                    </a:lnTo>
                    <a:lnTo>
                      <a:pt x="139" y="37"/>
                    </a:lnTo>
                    <a:lnTo>
                      <a:pt x="143" y="39"/>
                    </a:lnTo>
                    <a:lnTo>
                      <a:pt x="146" y="39"/>
                    </a:lnTo>
                    <a:lnTo>
                      <a:pt x="147" y="37"/>
                    </a:lnTo>
                    <a:lnTo>
                      <a:pt x="152" y="37"/>
                    </a:lnTo>
                    <a:lnTo>
                      <a:pt x="154" y="39"/>
                    </a:lnTo>
                    <a:lnTo>
                      <a:pt x="152" y="41"/>
                    </a:lnTo>
                    <a:lnTo>
                      <a:pt x="152" y="44"/>
                    </a:lnTo>
                    <a:lnTo>
                      <a:pt x="156" y="47"/>
                    </a:lnTo>
                    <a:lnTo>
                      <a:pt x="159" y="49"/>
                    </a:lnTo>
                    <a:lnTo>
                      <a:pt x="162" y="49"/>
                    </a:lnTo>
                    <a:lnTo>
                      <a:pt x="164" y="50"/>
                    </a:lnTo>
                    <a:lnTo>
                      <a:pt x="165" y="52"/>
                    </a:lnTo>
                    <a:lnTo>
                      <a:pt x="169" y="54"/>
                    </a:lnTo>
                    <a:lnTo>
                      <a:pt x="172" y="54"/>
                    </a:lnTo>
                    <a:lnTo>
                      <a:pt x="172" y="55"/>
                    </a:lnTo>
                    <a:lnTo>
                      <a:pt x="172" y="57"/>
                    </a:lnTo>
                    <a:lnTo>
                      <a:pt x="170" y="60"/>
                    </a:lnTo>
                    <a:lnTo>
                      <a:pt x="169" y="60"/>
                    </a:lnTo>
                    <a:lnTo>
                      <a:pt x="169" y="62"/>
                    </a:lnTo>
                    <a:lnTo>
                      <a:pt x="172" y="65"/>
                    </a:lnTo>
                    <a:lnTo>
                      <a:pt x="174" y="65"/>
                    </a:lnTo>
                    <a:lnTo>
                      <a:pt x="175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83" y="70"/>
                    </a:lnTo>
                    <a:lnTo>
                      <a:pt x="185" y="72"/>
                    </a:lnTo>
                    <a:lnTo>
                      <a:pt x="185" y="77"/>
                    </a:lnTo>
                    <a:lnTo>
                      <a:pt x="187" y="78"/>
                    </a:lnTo>
                    <a:lnTo>
                      <a:pt x="190" y="78"/>
                    </a:lnTo>
                    <a:lnTo>
                      <a:pt x="191" y="80"/>
                    </a:lnTo>
                    <a:lnTo>
                      <a:pt x="191" y="83"/>
                    </a:lnTo>
                    <a:lnTo>
                      <a:pt x="193" y="85"/>
                    </a:lnTo>
                    <a:lnTo>
                      <a:pt x="198" y="86"/>
                    </a:lnTo>
                    <a:lnTo>
                      <a:pt x="200" y="88"/>
                    </a:lnTo>
                    <a:lnTo>
                      <a:pt x="200" y="90"/>
                    </a:lnTo>
                    <a:lnTo>
                      <a:pt x="200" y="95"/>
                    </a:lnTo>
                    <a:lnTo>
                      <a:pt x="201" y="96"/>
                    </a:lnTo>
                    <a:lnTo>
                      <a:pt x="205" y="98"/>
                    </a:lnTo>
                    <a:lnTo>
                      <a:pt x="206" y="99"/>
                    </a:lnTo>
                    <a:lnTo>
                      <a:pt x="206" y="101"/>
                    </a:lnTo>
                    <a:lnTo>
                      <a:pt x="206" y="99"/>
                    </a:lnTo>
                    <a:lnTo>
                      <a:pt x="203" y="98"/>
                    </a:lnTo>
                    <a:lnTo>
                      <a:pt x="200" y="98"/>
                    </a:lnTo>
                    <a:lnTo>
                      <a:pt x="195" y="99"/>
                    </a:lnTo>
                    <a:lnTo>
                      <a:pt x="193" y="99"/>
                    </a:lnTo>
                    <a:lnTo>
                      <a:pt x="187" y="99"/>
                    </a:lnTo>
                    <a:lnTo>
                      <a:pt x="185" y="98"/>
                    </a:lnTo>
                    <a:lnTo>
                      <a:pt x="183" y="98"/>
                    </a:lnTo>
                    <a:lnTo>
                      <a:pt x="182" y="96"/>
                    </a:lnTo>
                    <a:lnTo>
                      <a:pt x="180" y="98"/>
                    </a:lnTo>
                    <a:lnTo>
                      <a:pt x="177" y="96"/>
                    </a:lnTo>
                    <a:lnTo>
                      <a:pt x="175" y="95"/>
                    </a:lnTo>
                    <a:lnTo>
                      <a:pt x="172" y="95"/>
                    </a:lnTo>
                    <a:lnTo>
                      <a:pt x="172" y="96"/>
                    </a:lnTo>
                    <a:lnTo>
                      <a:pt x="172" y="98"/>
                    </a:lnTo>
                    <a:lnTo>
                      <a:pt x="170" y="101"/>
                    </a:lnTo>
                    <a:lnTo>
                      <a:pt x="169" y="101"/>
                    </a:lnTo>
                    <a:lnTo>
                      <a:pt x="167" y="101"/>
                    </a:lnTo>
                    <a:lnTo>
                      <a:pt x="162" y="101"/>
                    </a:lnTo>
                    <a:lnTo>
                      <a:pt x="160" y="103"/>
                    </a:lnTo>
                    <a:lnTo>
                      <a:pt x="159" y="103"/>
                    </a:lnTo>
                    <a:lnTo>
                      <a:pt x="159" y="101"/>
                    </a:lnTo>
                    <a:lnTo>
                      <a:pt x="157" y="101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49" y="103"/>
                    </a:lnTo>
                    <a:lnTo>
                      <a:pt x="146" y="103"/>
                    </a:lnTo>
                    <a:lnTo>
                      <a:pt x="144" y="104"/>
                    </a:lnTo>
                    <a:lnTo>
                      <a:pt x="138" y="106"/>
                    </a:lnTo>
                    <a:lnTo>
                      <a:pt x="136" y="106"/>
                    </a:lnTo>
                    <a:lnTo>
                      <a:pt x="134" y="104"/>
                    </a:lnTo>
                    <a:lnTo>
                      <a:pt x="131" y="104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3" y="109"/>
                    </a:lnTo>
                    <a:lnTo>
                      <a:pt x="123" y="111"/>
                    </a:lnTo>
                    <a:lnTo>
                      <a:pt x="126" y="113"/>
                    </a:lnTo>
                    <a:lnTo>
                      <a:pt x="125" y="114"/>
                    </a:lnTo>
                    <a:lnTo>
                      <a:pt x="121" y="114"/>
                    </a:lnTo>
                    <a:lnTo>
                      <a:pt x="120" y="114"/>
                    </a:lnTo>
                    <a:lnTo>
                      <a:pt x="116" y="113"/>
                    </a:lnTo>
                    <a:lnTo>
                      <a:pt x="113" y="113"/>
                    </a:lnTo>
                    <a:lnTo>
                      <a:pt x="111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3" y="113"/>
                    </a:lnTo>
                    <a:lnTo>
                      <a:pt x="100" y="111"/>
                    </a:lnTo>
                    <a:lnTo>
                      <a:pt x="97" y="111"/>
                    </a:lnTo>
                    <a:lnTo>
                      <a:pt x="95" y="109"/>
                    </a:lnTo>
                    <a:lnTo>
                      <a:pt x="90" y="106"/>
                    </a:lnTo>
                    <a:lnTo>
                      <a:pt x="89" y="104"/>
                    </a:lnTo>
                    <a:lnTo>
                      <a:pt x="84" y="101"/>
                    </a:lnTo>
                    <a:lnTo>
                      <a:pt x="82" y="101"/>
                    </a:lnTo>
                    <a:lnTo>
                      <a:pt x="80" y="99"/>
                    </a:lnTo>
                    <a:lnTo>
                      <a:pt x="79" y="99"/>
                    </a:lnTo>
                    <a:lnTo>
                      <a:pt x="77" y="101"/>
                    </a:lnTo>
                    <a:lnTo>
                      <a:pt x="76" y="99"/>
                    </a:lnTo>
                    <a:lnTo>
                      <a:pt x="72" y="103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9" y="106"/>
                    </a:lnTo>
                    <a:lnTo>
                      <a:pt x="67" y="108"/>
                    </a:lnTo>
                    <a:lnTo>
                      <a:pt x="67" y="109"/>
                    </a:lnTo>
                    <a:lnTo>
                      <a:pt x="67" y="111"/>
                    </a:lnTo>
                    <a:lnTo>
                      <a:pt x="64" y="111"/>
                    </a:lnTo>
                    <a:lnTo>
                      <a:pt x="64" y="113"/>
                    </a:lnTo>
                    <a:lnTo>
                      <a:pt x="67" y="116"/>
                    </a:lnTo>
                    <a:lnTo>
                      <a:pt x="66" y="117"/>
                    </a:lnTo>
                    <a:lnTo>
                      <a:pt x="66" y="119"/>
                    </a:lnTo>
                    <a:lnTo>
                      <a:pt x="66" y="122"/>
                    </a:lnTo>
                    <a:lnTo>
                      <a:pt x="62" y="122"/>
                    </a:lnTo>
                    <a:lnTo>
                      <a:pt x="61" y="124"/>
                    </a:lnTo>
                    <a:lnTo>
                      <a:pt x="59" y="122"/>
                    </a:lnTo>
                    <a:lnTo>
                      <a:pt x="58" y="121"/>
                    </a:lnTo>
                    <a:lnTo>
                      <a:pt x="56" y="121"/>
                    </a:lnTo>
                    <a:lnTo>
                      <a:pt x="53" y="121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4"/>
                    </a:lnTo>
                    <a:lnTo>
                      <a:pt x="41" y="126"/>
                    </a:lnTo>
                    <a:lnTo>
                      <a:pt x="38" y="126"/>
                    </a:lnTo>
                    <a:lnTo>
                      <a:pt x="35" y="130"/>
                    </a:lnTo>
                    <a:lnTo>
                      <a:pt x="27" y="142"/>
                    </a:lnTo>
                    <a:lnTo>
                      <a:pt x="27" y="142"/>
                    </a:lnTo>
                    <a:lnTo>
                      <a:pt x="27" y="140"/>
                    </a:lnTo>
                    <a:lnTo>
                      <a:pt x="27" y="139"/>
                    </a:lnTo>
                    <a:lnTo>
                      <a:pt x="25" y="135"/>
                    </a:lnTo>
                    <a:lnTo>
                      <a:pt x="20" y="130"/>
                    </a:lnTo>
                    <a:lnTo>
                      <a:pt x="18" y="129"/>
                    </a:lnTo>
                    <a:lnTo>
                      <a:pt x="17" y="124"/>
                    </a:lnTo>
                    <a:lnTo>
                      <a:pt x="12" y="119"/>
                    </a:lnTo>
                    <a:lnTo>
                      <a:pt x="12" y="116"/>
                    </a:lnTo>
                    <a:lnTo>
                      <a:pt x="9" y="113"/>
                    </a:lnTo>
                    <a:lnTo>
                      <a:pt x="4" y="109"/>
                    </a:lnTo>
                    <a:lnTo>
                      <a:pt x="2" y="109"/>
                    </a:lnTo>
                    <a:lnTo>
                      <a:pt x="2" y="103"/>
                    </a:lnTo>
                    <a:lnTo>
                      <a:pt x="2" y="98"/>
                    </a:lnTo>
                    <a:lnTo>
                      <a:pt x="0" y="95"/>
                    </a:lnTo>
                    <a:lnTo>
                      <a:pt x="2" y="90"/>
                    </a:lnTo>
                    <a:lnTo>
                      <a:pt x="0" y="86"/>
                    </a:lnTo>
                    <a:lnTo>
                      <a:pt x="0" y="83"/>
                    </a:lnTo>
                    <a:lnTo>
                      <a:pt x="2" y="80"/>
                    </a:lnTo>
                    <a:lnTo>
                      <a:pt x="4" y="80"/>
                    </a:lnTo>
                    <a:lnTo>
                      <a:pt x="7" y="75"/>
                    </a:lnTo>
                    <a:lnTo>
                      <a:pt x="9" y="72"/>
                    </a:lnTo>
                    <a:lnTo>
                      <a:pt x="10" y="65"/>
                    </a:lnTo>
                    <a:lnTo>
                      <a:pt x="12" y="62"/>
                    </a:lnTo>
                    <a:lnTo>
                      <a:pt x="15" y="62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20" y="59"/>
                    </a:lnTo>
                    <a:lnTo>
                      <a:pt x="20" y="62"/>
                    </a:lnTo>
                    <a:lnTo>
                      <a:pt x="23" y="62"/>
                    </a:lnTo>
                    <a:lnTo>
                      <a:pt x="25" y="60"/>
                    </a:lnTo>
                    <a:lnTo>
                      <a:pt x="30" y="60"/>
                    </a:lnTo>
                    <a:lnTo>
                      <a:pt x="31" y="57"/>
                    </a:lnTo>
                    <a:lnTo>
                      <a:pt x="31" y="54"/>
                    </a:lnTo>
                    <a:lnTo>
                      <a:pt x="33" y="52"/>
                    </a:lnTo>
                    <a:lnTo>
                      <a:pt x="35" y="54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1" y="59"/>
                    </a:lnTo>
                    <a:lnTo>
                      <a:pt x="45" y="55"/>
                    </a:lnTo>
                    <a:lnTo>
                      <a:pt x="49" y="54"/>
                    </a:lnTo>
                    <a:lnTo>
                      <a:pt x="53" y="50"/>
                    </a:lnTo>
                    <a:lnTo>
                      <a:pt x="62" y="49"/>
                    </a:lnTo>
                    <a:lnTo>
                      <a:pt x="66" y="49"/>
                    </a:lnTo>
                    <a:lnTo>
                      <a:pt x="69" y="46"/>
                    </a:lnTo>
                    <a:lnTo>
                      <a:pt x="74" y="42"/>
                    </a:lnTo>
                    <a:lnTo>
                      <a:pt x="72" y="41"/>
                    </a:lnTo>
                    <a:lnTo>
                      <a:pt x="71" y="41"/>
                    </a:lnTo>
                    <a:lnTo>
                      <a:pt x="67" y="37"/>
                    </a:lnTo>
                    <a:lnTo>
                      <a:pt x="69" y="34"/>
                    </a:lnTo>
                    <a:lnTo>
                      <a:pt x="71" y="32"/>
                    </a:lnTo>
                    <a:lnTo>
                      <a:pt x="72" y="34"/>
                    </a:lnTo>
                    <a:lnTo>
                      <a:pt x="77" y="32"/>
                    </a:lnTo>
                    <a:lnTo>
                      <a:pt x="79" y="34"/>
                    </a:lnTo>
                    <a:lnTo>
                      <a:pt x="84" y="34"/>
                    </a:lnTo>
                    <a:lnTo>
                      <a:pt x="87" y="34"/>
                    </a:lnTo>
                    <a:lnTo>
                      <a:pt x="94" y="34"/>
                    </a:lnTo>
                    <a:lnTo>
                      <a:pt x="97" y="31"/>
                    </a:lnTo>
                    <a:lnTo>
                      <a:pt x="100" y="29"/>
                    </a:lnTo>
                    <a:lnTo>
                      <a:pt x="100" y="28"/>
                    </a:lnTo>
                    <a:lnTo>
                      <a:pt x="100" y="24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2" y="18"/>
                    </a:lnTo>
                    <a:lnTo>
                      <a:pt x="105" y="16"/>
                    </a:lnTo>
                    <a:lnTo>
                      <a:pt x="107" y="16"/>
                    </a:lnTo>
                    <a:lnTo>
                      <a:pt x="108" y="16"/>
                    </a:lnTo>
                    <a:lnTo>
                      <a:pt x="110" y="11"/>
                    </a:lnTo>
                    <a:lnTo>
                      <a:pt x="111" y="11"/>
                    </a:lnTo>
                    <a:lnTo>
                      <a:pt x="111" y="8"/>
                    </a:lnTo>
                    <a:lnTo>
                      <a:pt x="113" y="6"/>
                    </a:lnTo>
                    <a:lnTo>
                      <a:pt x="116" y="5"/>
                    </a:lnTo>
                    <a:lnTo>
                      <a:pt x="120" y="1"/>
                    </a:lnTo>
                    <a:lnTo>
                      <a:pt x="123" y="1"/>
                    </a:lnTo>
                    <a:lnTo>
                      <a:pt x="125" y="3"/>
                    </a:lnTo>
                    <a:lnTo>
                      <a:pt x="129" y="1"/>
                    </a:lnTo>
                    <a:lnTo>
                      <a:pt x="129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5" name="Freeform 258">
                <a:extLst>
                  <a:ext uri="{FF2B5EF4-FFF2-40B4-BE49-F238E27FC236}">
                    <a16:creationId xmlns:a16="http://schemas.microsoft.com/office/drawing/2014/main" xmlns="" id="{3388607B-50AC-4216-B4E4-0281CE5C8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1500"/>
                <a:ext cx="245" cy="234"/>
              </a:xfrm>
              <a:custGeom>
                <a:avLst/>
                <a:gdLst>
                  <a:gd name="T0" fmla="*/ 231 w 245"/>
                  <a:gd name="T1" fmla="*/ 229 h 234"/>
                  <a:gd name="T2" fmla="*/ 239 w 245"/>
                  <a:gd name="T3" fmla="*/ 67 h 234"/>
                  <a:gd name="T4" fmla="*/ 236 w 245"/>
                  <a:gd name="T5" fmla="*/ 54 h 234"/>
                  <a:gd name="T6" fmla="*/ 239 w 245"/>
                  <a:gd name="T7" fmla="*/ 44 h 234"/>
                  <a:gd name="T8" fmla="*/ 237 w 245"/>
                  <a:gd name="T9" fmla="*/ 36 h 234"/>
                  <a:gd name="T10" fmla="*/ 241 w 245"/>
                  <a:gd name="T11" fmla="*/ 26 h 234"/>
                  <a:gd name="T12" fmla="*/ 236 w 245"/>
                  <a:gd name="T13" fmla="*/ 20 h 234"/>
                  <a:gd name="T14" fmla="*/ 231 w 245"/>
                  <a:gd name="T15" fmla="*/ 20 h 234"/>
                  <a:gd name="T16" fmla="*/ 218 w 245"/>
                  <a:gd name="T17" fmla="*/ 16 h 234"/>
                  <a:gd name="T18" fmla="*/ 208 w 245"/>
                  <a:gd name="T19" fmla="*/ 13 h 234"/>
                  <a:gd name="T20" fmla="*/ 208 w 245"/>
                  <a:gd name="T21" fmla="*/ 11 h 234"/>
                  <a:gd name="T22" fmla="*/ 201 w 245"/>
                  <a:gd name="T23" fmla="*/ 5 h 234"/>
                  <a:gd name="T24" fmla="*/ 192 w 245"/>
                  <a:gd name="T25" fmla="*/ 3 h 234"/>
                  <a:gd name="T26" fmla="*/ 190 w 245"/>
                  <a:gd name="T27" fmla="*/ 5 h 234"/>
                  <a:gd name="T28" fmla="*/ 185 w 245"/>
                  <a:gd name="T29" fmla="*/ 3 h 234"/>
                  <a:gd name="T30" fmla="*/ 172 w 245"/>
                  <a:gd name="T31" fmla="*/ 7 h 234"/>
                  <a:gd name="T32" fmla="*/ 162 w 245"/>
                  <a:gd name="T33" fmla="*/ 13 h 234"/>
                  <a:gd name="T34" fmla="*/ 159 w 245"/>
                  <a:gd name="T35" fmla="*/ 20 h 234"/>
                  <a:gd name="T36" fmla="*/ 161 w 245"/>
                  <a:gd name="T37" fmla="*/ 33 h 234"/>
                  <a:gd name="T38" fmla="*/ 162 w 245"/>
                  <a:gd name="T39" fmla="*/ 42 h 234"/>
                  <a:gd name="T40" fmla="*/ 157 w 245"/>
                  <a:gd name="T41" fmla="*/ 49 h 234"/>
                  <a:gd name="T42" fmla="*/ 147 w 245"/>
                  <a:gd name="T43" fmla="*/ 54 h 234"/>
                  <a:gd name="T44" fmla="*/ 134 w 245"/>
                  <a:gd name="T45" fmla="*/ 46 h 234"/>
                  <a:gd name="T46" fmla="*/ 123 w 245"/>
                  <a:gd name="T47" fmla="*/ 39 h 234"/>
                  <a:gd name="T48" fmla="*/ 107 w 245"/>
                  <a:gd name="T49" fmla="*/ 33 h 234"/>
                  <a:gd name="T50" fmla="*/ 98 w 245"/>
                  <a:gd name="T51" fmla="*/ 34 h 234"/>
                  <a:gd name="T52" fmla="*/ 89 w 245"/>
                  <a:gd name="T53" fmla="*/ 21 h 234"/>
                  <a:gd name="T54" fmla="*/ 84 w 245"/>
                  <a:gd name="T55" fmla="*/ 11 h 234"/>
                  <a:gd name="T56" fmla="*/ 69 w 245"/>
                  <a:gd name="T57" fmla="*/ 7 h 234"/>
                  <a:gd name="T58" fmla="*/ 54 w 245"/>
                  <a:gd name="T59" fmla="*/ 3 h 234"/>
                  <a:gd name="T60" fmla="*/ 36 w 245"/>
                  <a:gd name="T61" fmla="*/ 5 h 234"/>
                  <a:gd name="T62" fmla="*/ 30 w 245"/>
                  <a:gd name="T63" fmla="*/ 0 h 234"/>
                  <a:gd name="T64" fmla="*/ 30 w 245"/>
                  <a:gd name="T65" fmla="*/ 8 h 234"/>
                  <a:gd name="T66" fmla="*/ 28 w 245"/>
                  <a:gd name="T67" fmla="*/ 15 h 234"/>
                  <a:gd name="T68" fmla="*/ 18 w 245"/>
                  <a:gd name="T69" fmla="*/ 23 h 234"/>
                  <a:gd name="T70" fmla="*/ 12 w 245"/>
                  <a:gd name="T71" fmla="*/ 26 h 234"/>
                  <a:gd name="T72" fmla="*/ 10 w 245"/>
                  <a:gd name="T73" fmla="*/ 29 h 234"/>
                  <a:gd name="T74" fmla="*/ 10 w 245"/>
                  <a:gd name="T75" fmla="*/ 38 h 234"/>
                  <a:gd name="T76" fmla="*/ 10 w 245"/>
                  <a:gd name="T77" fmla="*/ 42 h 234"/>
                  <a:gd name="T78" fmla="*/ 9 w 245"/>
                  <a:gd name="T79" fmla="*/ 44 h 234"/>
                  <a:gd name="T80" fmla="*/ 5 w 245"/>
                  <a:gd name="T81" fmla="*/ 49 h 234"/>
                  <a:gd name="T82" fmla="*/ 2 w 245"/>
                  <a:gd name="T83" fmla="*/ 51 h 234"/>
                  <a:gd name="T84" fmla="*/ 0 w 245"/>
                  <a:gd name="T85" fmla="*/ 52 h 234"/>
                  <a:gd name="T86" fmla="*/ 2 w 245"/>
                  <a:gd name="T87" fmla="*/ 59 h 234"/>
                  <a:gd name="T88" fmla="*/ 4 w 245"/>
                  <a:gd name="T89" fmla="*/ 72 h 234"/>
                  <a:gd name="T90" fmla="*/ 5 w 245"/>
                  <a:gd name="T91" fmla="*/ 80 h 234"/>
                  <a:gd name="T92" fmla="*/ 7 w 245"/>
                  <a:gd name="T93" fmla="*/ 93 h 234"/>
                  <a:gd name="T94" fmla="*/ 5 w 245"/>
                  <a:gd name="T95" fmla="*/ 103 h 234"/>
                  <a:gd name="T96" fmla="*/ 7 w 245"/>
                  <a:gd name="T97" fmla="*/ 113 h 234"/>
                  <a:gd name="T98" fmla="*/ 2 w 245"/>
                  <a:gd name="T99" fmla="*/ 118 h 234"/>
                  <a:gd name="T100" fmla="*/ 0 w 245"/>
                  <a:gd name="T101" fmla="*/ 121 h 234"/>
                  <a:gd name="T102" fmla="*/ 5 w 245"/>
                  <a:gd name="T103" fmla="*/ 129 h 234"/>
                  <a:gd name="T104" fmla="*/ 10 w 245"/>
                  <a:gd name="T105" fmla="*/ 136 h 234"/>
                  <a:gd name="T106" fmla="*/ 10 w 245"/>
                  <a:gd name="T107" fmla="*/ 142 h 234"/>
                  <a:gd name="T108" fmla="*/ 12 w 245"/>
                  <a:gd name="T109" fmla="*/ 149 h 234"/>
                  <a:gd name="T110" fmla="*/ 15 w 245"/>
                  <a:gd name="T111" fmla="*/ 154 h 234"/>
                  <a:gd name="T112" fmla="*/ 27 w 245"/>
                  <a:gd name="T113" fmla="*/ 154 h 234"/>
                  <a:gd name="T114" fmla="*/ 32 w 245"/>
                  <a:gd name="T115" fmla="*/ 158 h 234"/>
                  <a:gd name="T116" fmla="*/ 36 w 245"/>
                  <a:gd name="T117" fmla="*/ 167 h 234"/>
                  <a:gd name="T118" fmla="*/ 41 w 245"/>
                  <a:gd name="T119" fmla="*/ 172 h 234"/>
                  <a:gd name="T120" fmla="*/ 71 w 245"/>
                  <a:gd name="T121" fmla="*/ 181 h 234"/>
                  <a:gd name="T122" fmla="*/ 231 w 245"/>
                  <a:gd name="T123" fmla="*/ 234 h 234"/>
                  <a:gd name="T124" fmla="*/ 231 w 245"/>
                  <a:gd name="T125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5" h="234">
                    <a:moveTo>
                      <a:pt x="231" y="234"/>
                    </a:moveTo>
                    <a:lnTo>
                      <a:pt x="231" y="229"/>
                    </a:lnTo>
                    <a:lnTo>
                      <a:pt x="245" y="227"/>
                    </a:lnTo>
                    <a:lnTo>
                      <a:pt x="239" y="67"/>
                    </a:lnTo>
                    <a:lnTo>
                      <a:pt x="237" y="59"/>
                    </a:lnTo>
                    <a:lnTo>
                      <a:pt x="236" y="54"/>
                    </a:lnTo>
                    <a:lnTo>
                      <a:pt x="237" y="49"/>
                    </a:lnTo>
                    <a:lnTo>
                      <a:pt x="239" y="44"/>
                    </a:lnTo>
                    <a:lnTo>
                      <a:pt x="239" y="39"/>
                    </a:lnTo>
                    <a:lnTo>
                      <a:pt x="237" y="36"/>
                    </a:lnTo>
                    <a:lnTo>
                      <a:pt x="239" y="29"/>
                    </a:lnTo>
                    <a:lnTo>
                      <a:pt x="241" y="26"/>
                    </a:lnTo>
                    <a:lnTo>
                      <a:pt x="239" y="21"/>
                    </a:lnTo>
                    <a:lnTo>
                      <a:pt x="236" y="20"/>
                    </a:lnTo>
                    <a:lnTo>
                      <a:pt x="234" y="18"/>
                    </a:lnTo>
                    <a:lnTo>
                      <a:pt x="231" y="20"/>
                    </a:lnTo>
                    <a:lnTo>
                      <a:pt x="219" y="18"/>
                    </a:lnTo>
                    <a:lnTo>
                      <a:pt x="218" y="16"/>
                    </a:lnTo>
                    <a:lnTo>
                      <a:pt x="213" y="15"/>
                    </a:lnTo>
                    <a:lnTo>
                      <a:pt x="208" y="13"/>
                    </a:lnTo>
                    <a:lnTo>
                      <a:pt x="206" y="11"/>
                    </a:lnTo>
                    <a:lnTo>
                      <a:pt x="208" y="11"/>
                    </a:lnTo>
                    <a:lnTo>
                      <a:pt x="208" y="10"/>
                    </a:lnTo>
                    <a:lnTo>
                      <a:pt x="201" y="5"/>
                    </a:lnTo>
                    <a:lnTo>
                      <a:pt x="198" y="5"/>
                    </a:lnTo>
                    <a:lnTo>
                      <a:pt x="192" y="3"/>
                    </a:lnTo>
                    <a:lnTo>
                      <a:pt x="192" y="3"/>
                    </a:lnTo>
                    <a:lnTo>
                      <a:pt x="190" y="5"/>
                    </a:lnTo>
                    <a:lnTo>
                      <a:pt x="185" y="3"/>
                    </a:lnTo>
                    <a:lnTo>
                      <a:pt x="185" y="3"/>
                    </a:lnTo>
                    <a:lnTo>
                      <a:pt x="180" y="5"/>
                    </a:lnTo>
                    <a:lnTo>
                      <a:pt x="172" y="7"/>
                    </a:lnTo>
                    <a:lnTo>
                      <a:pt x="165" y="10"/>
                    </a:lnTo>
                    <a:lnTo>
                      <a:pt x="162" y="13"/>
                    </a:lnTo>
                    <a:lnTo>
                      <a:pt x="161" y="18"/>
                    </a:lnTo>
                    <a:lnTo>
                      <a:pt x="159" y="20"/>
                    </a:lnTo>
                    <a:lnTo>
                      <a:pt x="157" y="28"/>
                    </a:lnTo>
                    <a:lnTo>
                      <a:pt x="161" y="33"/>
                    </a:lnTo>
                    <a:lnTo>
                      <a:pt x="162" y="39"/>
                    </a:lnTo>
                    <a:lnTo>
                      <a:pt x="162" y="42"/>
                    </a:lnTo>
                    <a:lnTo>
                      <a:pt x="157" y="47"/>
                    </a:lnTo>
                    <a:lnTo>
                      <a:pt x="157" y="49"/>
                    </a:lnTo>
                    <a:lnTo>
                      <a:pt x="151" y="52"/>
                    </a:lnTo>
                    <a:lnTo>
                      <a:pt x="147" y="54"/>
                    </a:lnTo>
                    <a:lnTo>
                      <a:pt x="141" y="51"/>
                    </a:lnTo>
                    <a:lnTo>
                      <a:pt x="134" y="46"/>
                    </a:lnTo>
                    <a:lnTo>
                      <a:pt x="130" y="42"/>
                    </a:lnTo>
                    <a:lnTo>
                      <a:pt x="123" y="39"/>
                    </a:lnTo>
                    <a:lnTo>
                      <a:pt x="112" y="33"/>
                    </a:lnTo>
                    <a:lnTo>
                      <a:pt x="107" y="33"/>
                    </a:lnTo>
                    <a:lnTo>
                      <a:pt x="105" y="34"/>
                    </a:lnTo>
                    <a:lnTo>
                      <a:pt x="98" y="34"/>
                    </a:lnTo>
                    <a:lnTo>
                      <a:pt x="94" y="31"/>
                    </a:lnTo>
                    <a:lnTo>
                      <a:pt x="89" y="21"/>
                    </a:lnTo>
                    <a:lnTo>
                      <a:pt x="89" y="16"/>
                    </a:lnTo>
                    <a:lnTo>
                      <a:pt x="84" y="11"/>
                    </a:lnTo>
                    <a:lnTo>
                      <a:pt x="74" y="10"/>
                    </a:lnTo>
                    <a:lnTo>
                      <a:pt x="69" y="7"/>
                    </a:lnTo>
                    <a:lnTo>
                      <a:pt x="59" y="7"/>
                    </a:lnTo>
                    <a:lnTo>
                      <a:pt x="54" y="3"/>
                    </a:lnTo>
                    <a:lnTo>
                      <a:pt x="45" y="7"/>
                    </a:lnTo>
                    <a:lnTo>
                      <a:pt x="36" y="5"/>
                    </a:lnTo>
                    <a:lnTo>
                      <a:pt x="33" y="2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8"/>
                    </a:lnTo>
                    <a:lnTo>
                      <a:pt x="32" y="10"/>
                    </a:lnTo>
                    <a:lnTo>
                      <a:pt x="28" y="15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15" y="26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10" y="29"/>
                    </a:lnTo>
                    <a:lnTo>
                      <a:pt x="9" y="33"/>
                    </a:lnTo>
                    <a:lnTo>
                      <a:pt x="10" y="38"/>
                    </a:lnTo>
                    <a:lnTo>
                      <a:pt x="12" y="41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9" y="44"/>
                    </a:lnTo>
                    <a:lnTo>
                      <a:pt x="7" y="47"/>
                    </a:lnTo>
                    <a:lnTo>
                      <a:pt x="5" y="49"/>
                    </a:lnTo>
                    <a:lnTo>
                      <a:pt x="4" y="51"/>
                    </a:lnTo>
                    <a:lnTo>
                      <a:pt x="2" y="51"/>
                    </a:lnTo>
                    <a:lnTo>
                      <a:pt x="2" y="51"/>
                    </a:lnTo>
                    <a:lnTo>
                      <a:pt x="0" y="52"/>
                    </a:lnTo>
                    <a:lnTo>
                      <a:pt x="0" y="57"/>
                    </a:lnTo>
                    <a:lnTo>
                      <a:pt x="2" y="59"/>
                    </a:lnTo>
                    <a:lnTo>
                      <a:pt x="4" y="62"/>
                    </a:lnTo>
                    <a:lnTo>
                      <a:pt x="4" y="72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5" y="88"/>
                    </a:lnTo>
                    <a:lnTo>
                      <a:pt x="7" y="93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7" y="108"/>
                    </a:lnTo>
                    <a:lnTo>
                      <a:pt x="7" y="113"/>
                    </a:lnTo>
                    <a:lnTo>
                      <a:pt x="5" y="116"/>
                    </a:lnTo>
                    <a:lnTo>
                      <a:pt x="2" y="118"/>
                    </a:lnTo>
                    <a:lnTo>
                      <a:pt x="0" y="119"/>
                    </a:lnTo>
                    <a:lnTo>
                      <a:pt x="0" y="121"/>
                    </a:lnTo>
                    <a:lnTo>
                      <a:pt x="2" y="124"/>
                    </a:lnTo>
                    <a:lnTo>
                      <a:pt x="5" y="129"/>
                    </a:lnTo>
                    <a:lnTo>
                      <a:pt x="9" y="136"/>
                    </a:lnTo>
                    <a:lnTo>
                      <a:pt x="10" y="136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0" y="147"/>
                    </a:lnTo>
                    <a:lnTo>
                      <a:pt x="12" y="149"/>
                    </a:lnTo>
                    <a:lnTo>
                      <a:pt x="14" y="152"/>
                    </a:lnTo>
                    <a:lnTo>
                      <a:pt x="15" y="154"/>
                    </a:lnTo>
                    <a:lnTo>
                      <a:pt x="22" y="154"/>
                    </a:lnTo>
                    <a:lnTo>
                      <a:pt x="27" y="154"/>
                    </a:lnTo>
                    <a:lnTo>
                      <a:pt x="30" y="155"/>
                    </a:lnTo>
                    <a:lnTo>
                      <a:pt x="32" y="158"/>
                    </a:lnTo>
                    <a:lnTo>
                      <a:pt x="35" y="165"/>
                    </a:lnTo>
                    <a:lnTo>
                      <a:pt x="36" y="167"/>
                    </a:lnTo>
                    <a:lnTo>
                      <a:pt x="38" y="170"/>
                    </a:lnTo>
                    <a:lnTo>
                      <a:pt x="41" y="172"/>
                    </a:lnTo>
                    <a:lnTo>
                      <a:pt x="69" y="178"/>
                    </a:lnTo>
                    <a:lnTo>
                      <a:pt x="71" y="181"/>
                    </a:lnTo>
                    <a:lnTo>
                      <a:pt x="103" y="168"/>
                    </a:lnTo>
                    <a:lnTo>
                      <a:pt x="231" y="234"/>
                    </a:lnTo>
                    <a:lnTo>
                      <a:pt x="231" y="234"/>
                    </a:lnTo>
                    <a:lnTo>
                      <a:pt x="231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6" name="Freeform 259">
                <a:extLst>
                  <a:ext uri="{FF2B5EF4-FFF2-40B4-BE49-F238E27FC236}">
                    <a16:creationId xmlns:a16="http://schemas.microsoft.com/office/drawing/2014/main" xmlns="" id="{9F80C0B3-216C-4F32-BDB1-CEA45BBC2F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3" y="1425"/>
                <a:ext cx="63" cy="126"/>
              </a:xfrm>
              <a:custGeom>
                <a:avLst/>
                <a:gdLst>
                  <a:gd name="T0" fmla="*/ 35 w 63"/>
                  <a:gd name="T1" fmla="*/ 126 h 126"/>
                  <a:gd name="T2" fmla="*/ 38 w 63"/>
                  <a:gd name="T3" fmla="*/ 122 h 126"/>
                  <a:gd name="T4" fmla="*/ 41 w 63"/>
                  <a:gd name="T5" fmla="*/ 119 h 126"/>
                  <a:gd name="T6" fmla="*/ 43 w 63"/>
                  <a:gd name="T7" fmla="*/ 116 h 126"/>
                  <a:gd name="T8" fmla="*/ 40 w 63"/>
                  <a:gd name="T9" fmla="*/ 108 h 126"/>
                  <a:gd name="T10" fmla="*/ 41 w 63"/>
                  <a:gd name="T11" fmla="*/ 103 h 126"/>
                  <a:gd name="T12" fmla="*/ 46 w 63"/>
                  <a:gd name="T13" fmla="*/ 101 h 126"/>
                  <a:gd name="T14" fmla="*/ 49 w 63"/>
                  <a:gd name="T15" fmla="*/ 96 h 126"/>
                  <a:gd name="T16" fmla="*/ 63 w 63"/>
                  <a:gd name="T17" fmla="*/ 85 h 126"/>
                  <a:gd name="T18" fmla="*/ 61 w 63"/>
                  <a:gd name="T19" fmla="*/ 77 h 126"/>
                  <a:gd name="T20" fmla="*/ 59 w 63"/>
                  <a:gd name="T21" fmla="*/ 75 h 126"/>
                  <a:gd name="T22" fmla="*/ 54 w 63"/>
                  <a:gd name="T23" fmla="*/ 70 h 126"/>
                  <a:gd name="T24" fmla="*/ 51 w 63"/>
                  <a:gd name="T25" fmla="*/ 67 h 126"/>
                  <a:gd name="T26" fmla="*/ 51 w 63"/>
                  <a:gd name="T27" fmla="*/ 68 h 126"/>
                  <a:gd name="T28" fmla="*/ 48 w 63"/>
                  <a:gd name="T29" fmla="*/ 68 h 126"/>
                  <a:gd name="T30" fmla="*/ 45 w 63"/>
                  <a:gd name="T31" fmla="*/ 67 h 126"/>
                  <a:gd name="T32" fmla="*/ 36 w 63"/>
                  <a:gd name="T33" fmla="*/ 59 h 126"/>
                  <a:gd name="T34" fmla="*/ 46 w 63"/>
                  <a:gd name="T35" fmla="*/ 49 h 126"/>
                  <a:gd name="T36" fmla="*/ 51 w 63"/>
                  <a:gd name="T37" fmla="*/ 42 h 126"/>
                  <a:gd name="T38" fmla="*/ 53 w 63"/>
                  <a:gd name="T39" fmla="*/ 39 h 126"/>
                  <a:gd name="T40" fmla="*/ 51 w 63"/>
                  <a:gd name="T41" fmla="*/ 36 h 126"/>
                  <a:gd name="T42" fmla="*/ 46 w 63"/>
                  <a:gd name="T43" fmla="*/ 28 h 126"/>
                  <a:gd name="T44" fmla="*/ 43 w 63"/>
                  <a:gd name="T45" fmla="*/ 19 h 126"/>
                  <a:gd name="T46" fmla="*/ 46 w 63"/>
                  <a:gd name="T47" fmla="*/ 13 h 126"/>
                  <a:gd name="T48" fmla="*/ 49 w 63"/>
                  <a:gd name="T49" fmla="*/ 5 h 126"/>
                  <a:gd name="T50" fmla="*/ 43 w 63"/>
                  <a:gd name="T51" fmla="*/ 10 h 126"/>
                  <a:gd name="T52" fmla="*/ 40 w 63"/>
                  <a:gd name="T53" fmla="*/ 10 h 126"/>
                  <a:gd name="T54" fmla="*/ 35 w 63"/>
                  <a:gd name="T55" fmla="*/ 5 h 126"/>
                  <a:gd name="T56" fmla="*/ 33 w 63"/>
                  <a:gd name="T57" fmla="*/ 0 h 126"/>
                  <a:gd name="T58" fmla="*/ 30 w 63"/>
                  <a:gd name="T59" fmla="*/ 3 h 126"/>
                  <a:gd name="T60" fmla="*/ 25 w 63"/>
                  <a:gd name="T61" fmla="*/ 1 h 126"/>
                  <a:gd name="T62" fmla="*/ 15 w 63"/>
                  <a:gd name="T63" fmla="*/ 8 h 126"/>
                  <a:gd name="T64" fmla="*/ 14 w 63"/>
                  <a:gd name="T65" fmla="*/ 10 h 126"/>
                  <a:gd name="T66" fmla="*/ 14 w 63"/>
                  <a:gd name="T67" fmla="*/ 16 h 126"/>
                  <a:gd name="T68" fmla="*/ 12 w 63"/>
                  <a:gd name="T69" fmla="*/ 29 h 126"/>
                  <a:gd name="T70" fmla="*/ 14 w 63"/>
                  <a:gd name="T71" fmla="*/ 36 h 126"/>
                  <a:gd name="T72" fmla="*/ 14 w 63"/>
                  <a:gd name="T73" fmla="*/ 37 h 126"/>
                  <a:gd name="T74" fmla="*/ 14 w 63"/>
                  <a:gd name="T75" fmla="*/ 42 h 126"/>
                  <a:gd name="T76" fmla="*/ 12 w 63"/>
                  <a:gd name="T77" fmla="*/ 50 h 126"/>
                  <a:gd name="T78" fmla="*/ 9 w 63"/>
                  <a:gd name="T79" fmla="*/ 54 h 126"/>
                  <a:gd name="T80" fmla="*/ 2 w 63"/>
                  <a:gd name="T81" fmla="*/ 59 h 126"/>
                  <a:gd name="T82" fmla="*/ 2 w 63"/>
                  <a:gd name="T83" fmla="*/ 67 h 126"/>
                  <a:gd name="T84" fmla="*/ 2 w 63"/>
                  <a:gd name="T85" fmla="*/ 73 h 126"/>
                  <a:gd name="T86" fmla="*/ 7 w 63"/>
                  <a:gd name="T87" fmla="*/ 77 h 126"/>
                  <a:gd name="T88" fmla="*/ 12 w 63"/>
                  <a:gd name="T89" fmla="*/ 85 h 126"/>
                  <a:gd name="T90" fmla="*/ 17 w 63"/>
                  <a:gd name="T91" fmla="*/ 88 h 126"/>
                  <a:gd name="T92" fmla="*/ 23 w 63"/>
                  <a:gd name="T93" fmla="*/ 93 h 126"/>
                  <a:gd name="T94" fmla="*/ 33 w 63"/>
                  <a:gd name="T95" fmla="*/ 126 h 126"/>
                  <a:gd name="T96" fmla="*/ 48 w 63"/>
                  <a:gd name="T97" fmla="*/ 64 h 126"/>
                  <a:gd name="T98" fmla="*/ 51 w 63"/>
                  <a:gd name="T99" fmla="*/ 65 h 126"/>
                  <a:gd name="T100" fmla="*/ 48 w 63"/>
                  <a:gd name="T101" fmla="*/ 6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" h="126">
                    <a:moveTo>
                      <a:pt x="33" y="126"/>
                    </a:moveTo>
                    <a:lnTo>
                      <a:pt x="35" y="126"/>
                    </a:lnTo>
                    <a:lnTo>
                      <a:pt x="36" y="124"/>
                    </a:lnTo>
                    <a:lnTo>
                      <a:pt x="38" y="122"/>
                    </a:lnTo>
                    <a:lnTo>
                      <a:pt x="40" y="119"/>
                    </a:lnTo>
                    <a:lnTo>
                      <a:pt x="41" y="119"/>
                    </a:lnTo>
                    <a:lnTo>
                      <a:pt x="41" y="117"/>
                    </a:lnTo>
                    <a:lnTo>
                      <a:pt x="43" y="116"/>
                    </a:lnTo>
                    <a:lnTo>
                      <a:pt x="41" y="113"/>
                    </a:lnTo>
                    <a:lnTo>
                      <a:pt x="40" y="108"/>
                    </a:lnTo>
                    <a:lnTo>
                      <a:pt x="41" y="104"/>
                    </a:lnTo>
                    <a:lnTo>
                      <a:pt x="41" y="103"/>
                    </a:lnTo>
                    <a:lnTo>
                      <a:pt x="43" y="101"/>
                    </a:lnTo>
                    <a:lnTo>
                      <a:pt x="46" y="101"/>
                    </a:lnTo>
                    <a:lnTo>
                      <a:pt x="49" y="98"/>
                    </a:lnTo>
                    <a:lnTo>
                      <a:pt x="49" y="96"/>
                    </a:lnTo>
                    <a:lnTo>
                      <a:pt x="59" y="90"/>
                    </a:lnTo>
                    <a:lnTo>
                      <a:pt x="63" y="85"/>
                    </a:lnTo>
                    <a:lnTo>
                      <a:pt x="61" y="83"/>
                    </a:lnTo>
                    <a:lnTo>
                      <a:pt x="61" y="77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54" y="72"/>
                    </a:lnTo>
                    <a:lnTo>
                      <a:pt x="54" y="70"/>
                    </a:lnTo>
                    <a:lnTo>
                      <a:pt x="54" y="68"/>
                    </a:lnTo>
                    <a:lnTo>
                      <a:pt x="51" y="67"/>
                    </a:lnTo>
                    <a:lnTo>
                      <a:pt x="49" y="67"/>
                    </a:lnTo>
                    <a:lnTo>
                      <a:pt x="51" y="68"/>
                    </a:lnTo>
                    <a:lnTo>
                      <a:pt x="49" y="70"/>
                    </a:lnTo>
                    <a:lnTo>
                      <a:pt x="48" y="68"/>
                    </a:lnTo>
                    <a:lnTo>
                      <a:pt x="46" y="67"/>
                    </a:lnTo>
                    <a:lnTo>
                      <a:pt x="45" y="67"/>
                    </a:lnTo>
                    <a:lnTo>
                      <a:pt x="40" y="64"/>
                    </a:lnTo>
                    <a:lnTo>
                      <a:pt x="36" y="59"/>
                    </a:lnTo>
                    <a:lnTo>
                      <a:pt x="38" y="54"/>
                    </a:lnTo>
                    <a:lnTo>
                      <a:pt x="46" y="49"/>
                    </a:lnTo>
                    <a:lnTo>
                      <a:pt x="51" y="44"/>
                    </a:lnTo>
                    <a:lnTo>
                      <a:pt x="51" y="42"/>
                    </a:lnTo>
                    <a:lnTo>
                      <a:pt x="51" y="41"/>
                    </a:lnTo>
                    <a:lnTo>
                      <a:pt x="53" y="39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1" y="29"/>
                    </a:lnTo>
                    <a:lnTo>
                      <a:pt x="46" y="28"/>
                    </a:lnTo>
                    <a:lnTo>
                      <a:pt x="41" y="23"/>
                    </a:lnTo>
                    <a:lnTo>
                      <a:pt x="43" y="19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9" y="8"/>
                    </a:lnTo>
                    <a:lnTo>
                      <a:pt x="49" y="5"/>
                    </a:lnTo>
                    <a:lnTo>
                      <a:pt x="48" y="5"/>
                    </a:lnTo>
                    <a:lnTo>
                      <a:pt x="43" y="10"/>
                    </a:lnTo>
                    <a:lnTo>
                      <a:pt x="41" y="11"/>
                    </a:lnTo>
                    <a:lnTo>
                      <a:pt x="40" y="10"/>
                    </a:lnTo>
                    <a:lnTo>
                      <a:pt x="36" y="5"/>
                    </a:lnTo>
                    <a:lnTo>
                      <a:pt x="35" y="5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30" y="3"/>
                    </a:lnTo>
                    <a:lnTo>
                      <a:pt x="28" y="0"/>
                    </a:lnTo>
                    <a:lnTo>
                      <a:pt x="25" y="1"/>
                    </a:lnTo>
                    <a:lnTo>
                      <a:pt x="18" y="3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5" y="11"/>
                    </a:lnTo>
                    <a:lnTo>
                      <a:pt x="14" y="16"/>
                    </a:lnTo>
                    <a:lnTo>
                      <a:pt x="14" y="21"/>
                    </a:lnTo>
                    <a:lnTo>
                      <a:pt x="12" y="29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5" y="37"/>
                    </a:lnTo>
                    <a:lnTo>
                      <a:pt x="14" y="37"/>
                    </a:lnTo>
                    <a:lnTo>
                      <a:pt x="12" y="41"/>
                    </a:lnTo>
                    <a:lnTo>
                      <a:pt x="14" y="42"/>
                    </a:lnTo>
                    <a:lnTo>
                      <a:pt x="12" y="44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9" y="54"/>
                    </a:lnTo>
                    <a:lnTo>
                      <a:pt x="5" y="54"/>
                    </a:lnTo>
                    <a:lnTo>
                      <a:pt x="2" y="59"/>
                    </a:lnTo>
                    <a:lnTo>
                      <a:pt x="0" y="67"/>
                    </a:lnTo>
                    <a:lnTo>
                      <a:pt x="2" y="67"/>
                    </a:lnTo>
                    <a:lnTo>
                      <a:pt x="4" y="72"/>
                    </a:lnTo>
                    <a:lnTo>
                      <a:pt x="2" y="73"/>
                    </a:lnTo>
                    <a:lnTo>
                      <a:pt x="5" y="77"/>
                    </a:lnTo>
                    <a:lnTo>
                      <a:pt x="7" y="77"/>
                    </a:lnTo>
                    <a:lnTo>
                      <a:pt x="10" y="80"/>
                    </a:lnTo>
                    <a:lnTo>
                      <a:pt x="12" y="85"/>
                    </a:lnTo>
                    <a:lnTo>
                      <a:pt x="15" y="86"/>
                    </a:lnTo>
                    <a:lnTo>
                      <a:pt x="17" y="88"/>
                    </a:lnTo>
                    <a:lnTo>
                      <a:pt x="20" y="88"/>
                    </a:lnTo>
                    <a:lnTo>
                      <a:pt x="23" y="93"/>
                    </a:lnTo>
                    <a:lnTo>
                      <a:pt x="33" y="126"/>
                    </a:lnTo>
                    <a:lnTo>
                      <a:pt x="33" y="126"/>
                    </a:lnTo>
                    <a:close/>
                    <a:moveTo>
                      <a:pt x="48" y="64"/>
                    </a:moveTo>
                    <a:lnTo>
                      <a:pt x="48" y="64"/>
                    </a:lnTo>
                    <a:lnTo>
                      <a:pt x="51" y="64"/>
                    </a:lnTo>
                    <a:lnTo>
                      <a:pt x="51" y="65"/>
                    </a:lnTo>
                    <a:lnTo>
                      <a:pt x="49" y="67"/>
                    </a:lnTo>
                    <a:lnTo>
                      <a:pt x="48" y="6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7" name="Freeform 260">
                <a:extLst>
                  <a:ext uri="{FF2B5EF4-FFF2-40B4-BE49-F238E27FC236}">
                    <a16:creationId xmlns:a16="http://schemas.microsoft.com/office/drawing/2014/main" xmlns="" id="{AE697BA2-D576-4FAB-8CD4-E87CBE5DC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" y="1428"/>
                <a:ext cx="318" cy="315"/>
              </a:xfrm>
              <a:custGeom>
                <a:avLst/>
                <a:gdLst>
                  <a:gd name="T0" fmla="*/ 313 w 318"/>
                  <a:gd name="T1" fmla="*/ 239 h 315"/>
                  <a:gd name="T2" fmla="*/ 307 w 318"/>
                  <a:gd name="T3" fmla="*/ 227 h 315"/>
                  <a:gd name="T4" fmla="*/ 292 w 318"/>
                  <a:gd name="T5" fmla="*/ 226 h 315"/>
                  <a:gd name="T6" fmla="*/ 287 w 318"/>
                  <a:gd name="T7" fmla="*/ 219 h 315"/>
                  <a:gd name="T8" fmla="*/ 287 w 318"/>
                  <a:gd name="T9" fmla="*/ 208 h 315"/>
                  <a:gd name="T10" fmla="*/ 279 w 318"/>
                  <a:gd name="T11" fmla="*/ 196 h 315"/>
                  <a:gd name="T12" fmla="*/ 279 w 318"/>
                  <a:gd name="T13" fmla="*/ 190 h 315"/>
                  <a:gd name="T14" fmla="*/ 284 w 318"/>
                  <a:gd name="T15" fmla="*/ 180 h 315"/>
                  <a:gd name="T16" fmla="*/ 284 w 318"/>
                  <a:gd name="T17" fmla="*/ 165 h 315"/>
                  <a:gd name="T18" fmla="*/ 282 w 318"/>
                  <a:gd name="T19" fmla="*/ 150 h 315"/>
                  <a:gd name="T20" fmla="*/ 279 w 318"/>
                  <a:gd name="T21" fmla="*/ 131 h 315"/>
                  <a:gd name="T22" fmla="*/ 279 w 318"/>
                  <a:gd name="T23" fmla="*/ 123 h 315"/>
                  <a:gd name="T24" fmla="*/ 263 w 318"/>
                  <a:gd name="T25" fmla="*/ 85 h 315"/>
                  <a:gd name="T26" fmla="*/ 256 w 318"/>
                  <a:gd name="T27" fmla="*/ 77 h 315"/>
                  <a:gd name="T28" fmla="*/ 248 w 318"/>
                  <a:gd name="T29" fmla="*/ 70 h 315"/>
                  <a:gd name="T30" fmla="*/ 246 w 318"/>
                  <a:gd name="T31" fmla="*/ 64 h 315"/>
                  <a:gd name="T32" fmla="*/ 255 w 318"/>
                  <a:gd name="T33" fmla="*/ 51 h 315"/>
                  <a:gd name="T34" fmla="*/ 258 w 318"/>
                  <a:gd name="T35" fmla="*/ 41 h 315"/>
                  <a:gd name="T36" fmla="*/ 260 w 318"/>
                  <a:gd name="T37" fmla="*/ 34 h 315"/>
                  <a:gd name="T38" fmla="*/ 258 w 318"/>
                  <a:gd name="T39" fmla="*/ 31 h 315"/>
                  <a:gd name="T40" fmla="*/ 260 w 318"/>
                  <a:gd name="T41" fmla="*/ 13 h 315"/>
                  <a:gd name="T42" fmla="*/ 261 w 318"/>
                  <a:gd name="T43" fmla="*/ 5 h 315"/>
                  <a:gd name="T44" fmla="*/ 253 w 318"/>
                  <a:gd name="T45" fmla="*/ 3 h 315"/>
                  <a:gd name="T46" fmla="*/ 238 w 318"/>
                  <a:gd name="T47" fmla="*/ 2 h 315"/>
                  <a:gd name="T48" fmla="*/ 230 w 318"/>
                  <a:gd name="T49" fmla="*/ 5 h 315"/>
                  <a:gd name="T50" fmla="*/ 224 w 318"/>
                  <a:gd name="T51" fmla="*/ 2 h 315"/>
                  <a:gd name="T52" fmla="*/ 219 w 318"/>
                  <a:gd name="T53" fmla="*/ 7 h 315"/>
                  <a:gd name="T54" fmla="*/ 211 w 318"/>
                  <a:gd name="T55" fmla="*/ 8 h 315"/>
                  <a:gd name="T56" fmla="*/ 201 w 318"/>
                  <a:gd name="T57" fmla="*/ 5 h 315"/>
                  <a:gd name="T58" fmla="*/ 191 w 318"/>
                  <a:gd name="T59" fmla="*/ 5 h 315"/>
                  <a:gd name="T60" fmla="*/ 184 w 318"/>
                  <a:gd name="T61" fmla="*/ 5 h 315"/>
                  <a:gd name="T62" fmla="*/ 178 w 318"/>
                  <a:gd name="T63" fmla="*/ 7 h 315"/>
                  <a:gd name="T64" fmla="*/ 166 w 318"/>
                  <a:gd name="T65" fmla="*/ 8 h 315"/>
                  <a:gd name="T66" fmla="*/ 155 w 318"/>
                  <a:gd name="T67" fmla="*/ 10 h 315"/>
                  <a:gd name="T68" fmla="*/ 140 w 318"/>
                  <a:gd name="T69" fmla="*/ 16 h 315"/>
                  <a:gd name="T70" fmla="*/ 134 w 318"/>
                  <a:gd name="T71" fmla="*/ 23 h 315"/>
                  <a:gd name="T72" fmla="*/ 129 w 318"/>
                  <a:gd name="T73" fmla="*/ 23 h 315"/>
                  <a:gd name="T74" fmla="*/ 122 w 318"/>
                  <a:gd name="T75" fmla="*/ 26 h 315"/>
                  <a:gd name="T76" fmla="*/ 116 w 318"/>
                  <a:gd name="T77" fmla="*/ 31 h 315"/>
                  <a:gd name="T78" fmla="*/ 104 w 318"/>
                  <a:gd name="T79" fmla="*/ 36 h 315"/>
                  <a:gd name="T80" fmla="*/ 108 w 318"/>
                  <a:gd name="T81" fmla="*/ 43 h 315"/>
                  <a:gd name="T82" fmla="*/ 109 w 318"/>
                  <a:gd name="T83" fmla="*/ 52 h 315"/>
                  <a:gd name="T84" fmla="*/ 111 w 318"/>
                  <a:gd name="T85" fmla="*/ 72 h 315"/>
                  <a:gd name="T86" fmla="*/ 116 w 318"/>
                  <a:gd name="T87" fmla="*/ 82 h 315"/>
                  <a:gd name="T88" fmla="*/ 121 w 318"/>
                  <a:gd name="T89" fmla="*/ 83 h 315"/>
                  <a:gd name="T90" fmla="*/ 117 w 318"/>
                  <a:gd name="T91" fmla="*/ 92 h 315"/>
                  <a:gd name="T92" fmla="*/ 91 w 318"/>
                  <a:gd name="T93" fmla="*/ 100 h 315"/>
                  <a:gd name="T94" fmla="*/ 86 w 318"/>
                  <a:gd name="T95" fmla="*/ 111 h 315"/>
                  <a:gd name="T96" fmla="*/ 57 w 318"/>
                  <a:gd name="T97" fmla="*/ 132 h 315"/>
                  <a:gd name="T98" fmla="*/ 31 w 318"/>
                  <a:gd name="T99" fmla="*/ 141 h 315"/>
                  <a:gd name="T100" fmla="*/ 16 w 318"/>
                  <a:gd name="T101" fmla="*/ 144 h 315"/>
                  <a:gd name="T102" fmla="*/ 1 w 318"/>
                  <a:gd name="T103" fmla="*/ 157 h 315"/>
                  <a:gd name="T104" fmla="*/ 0 w 318"/>
                  <a:gd name="T105" fmla="*/ 175 h 315"/>
                  <a:gd name="T106" fmla="*/ 57 w 318"/>
                  <a:gd name="T107" fmla="*/ 214 h 315"/>
                  <a:gd name="T108" fmla="*/ 163 w 318"/>
                  <a:gd name="T109" fmla="*/ 293 h 315"/>
                  <a:gd name="T110" fmla="*/ 176 w 318"/>
                  <a:gd name="T111" fmla="*/ 297 h 315"/>
                  <a:gd name="T112" fmla="*/ 186 w 318"/>
                  <a:gd name="T113" fmla="*/ 304 h 315"/>
                  <a:gd name="T114" fmla="*/ 186 w 318"/>
                  <a:gd name="T115" fmla="*/ 314 h 315"/>
                  <a:gd name="T116" fmla="*/ 202 w 318"/>
                  <a:gd name="T117" fmla="*/ 312 h 315"/>
                  <a:gd name="T118" fmla="*/ 227 w 318"/>
                  <a:gd name="T119" fmla="*/ 307 h 315"/>
                  <a:gd name="T120" fmla="*/ 318 w 318"/>
                  <a:gd name="T121" fmla="*/ 244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8" h="315">
                    <a:moveTo>
                      <a:pt x="318" y="244"/>
                    </a:moveTo>
                    <a:lnTo>
                      <a:pt x="315" y="242"/>
                    </a:lnTo>
                    <a:lnTo>
                      <a:pt x="313" y="239"/>
                    </a:lnTo>
                    <a:lnTo>
                      <a:pt x="312" y="237"/>
                    </a:lnTo>
                    <a:lnTo>
                      <a:pt x="309" y="230"/>
                    </a:lnTo>
                    <a:lnTo>
                      <a:pt x="307" y="227"/>
                    </a:lnTo>
                    <a:lnTo>
                      <a:pt x="304" y="226"/>
                    </a:lnTo>
                    <a:lnTo>
                      <a:pt x="299" y="226"/>
                    </a:lnTo>
                    <a:lnTo>
                      <a:pt x="292" y="226"/>
                    </a:lnTo>
                    <a:lnTo>
                      <a:pt x="291" y="224"/>
                    </a:lnTo>
                    <a:lnTo>
                      <a:pt x="289" y="221"/>
                    </a:lnTo>
                    <a:lnTo>
                      <a:pt x="287" y="219"/>
                    </a:lnTo>
                    <a:lnTo>
                      <a:pt x="287" y="214"/>
                    </a:lnTo>
                    <a:lnTo>
                      <a:pt x="287" y="212"/>
                    </a:lnTo>
                    <a:lnTo>
                      <a:pt x="287" y="208"/>
                    </a:lnTo>
                    <a:lnTo>
                      <a:pt x="286" y="208"/>
                    </a:lnTo>
                    <a:lnTo>
                      <a:pt x="282" y="201"/>
                    </a:lnTo>
                    <a:lnTo>
                      <a:pt x="279" y="196"/>
                    </a:lnTo>
                    <a:lnTo>
                      <a:pt x="277" y="193"/>
                    </a:lnTo>
                    <a:lnTo>
                      <a:pt x="277" y="191"/>
                    </a:lnTo>
                    <a:lnTo>
                      <a:pt x="279" y="190"/>
                    </a:lnTo>
                    <a:lnTo>
                      <a:pt x="282" y="188"/>
                    </a:lnTo>
                    <a:lnTo>
                      <a:pt x="284" y="185"/>
                    </a:lnTo>
                    <a:lnTo>
                      <a:pt x="284" y="180"/>
                    </a:lnTo>
                    <a:lnTo>
                      <a:pt x="282" y="175"/>
                    </a:lnTo>
                    <a:lnTo>
                      <a:pt x="282" y="173"/>
                    </a:lnTo>
                    <a:lnTo>
                      <a:pt x="284" y="165"/>
                    </a:lnTo>
                    <a:lnTo>
                      <a:pt x="282" y="160"/>
                    </a:lnTo>
                    <a:lnTo>
                      <a:pt x="282" y="152"/>
                    </a:lnTo>
                    <a:lnTo>
                      <a:pt x="282" y="150"/>
                    </a:lnTo>
                    <a:lnTo>
                      <a:pt x="281" y="144"/>
                    </a:lnTo>
                    <a:lnTo>
                      <a:pt x="281" y="134"/>
                    </a:lnTo>
                    <a:lnTo>
                      <a:pt x="279" y="131"/>
                    </a:lnTo>
                    <a:lnTo>
                      <a:pt x="277" y="129"/>
                    </a:lnTo>
                    <a:lnTo>
                      <a:pt x="277" y="124"/>
                    </a:lnTo>
                    <a:lnTo>
                      <a:pt x="279" y="123"/>
                    </a:lnTo>
                    <a:lnTo>
                      <a:pt x="269" y="90"/>
                    </a:lnTo>
                    <a:lnTo>
                      <a:pt x="266" y="85"/>
                    </a:lnTo>
                    <a:lnTo>
                      <a:pt x="263" y="85"/>
                    </a:lnTo>
                    <a:lnTo>
                      <a:pt x="261" y="83"/>
                    </a:lnTo>
                    <a:lnTo>
                      <a:pt x="258" y="82"/>
                    </a:lnTo>
                    <a:lnTo>
                      <a:pt x="256" y="77"/>
                    </a:lnTo>
                    <a:lnTo>
                      <a:pt x="253" y="74"/>
                    </a:lnTo>
                    <a:lnTo>
                      <a:pt x="251" y="74"/>
                    </a:lnTo>
                    <a:lnTo>
                      <a:pt x="248" y="70"/>
                    </a:lnTo>
                    <a:lnTo>
                      <a:pt x="250" y="69"/>
                    </a:lnTo>
                    <a:lnTo>
                      <a:pt x="248" y="64"/>
                    </a:lnTo>
                    <a:lnTo>
                      <a:pt x="246" y="64"/>
                    </a:lnTo>
                    <a:lnTo>
                      <a:pt x="248" y="56"/>
                    </a:lnTo>
                    <a:lnTo>
                      <a:pt x="251" y="51"/>
                    </a:lnTo>
                    <a:lnTo>
                      <a:pt x="255" y="51"/>
                    </a:lnTo>
                    <a:lnTo>
                      <a:pt x="256" y="49"/>
                    </a:lnTo>
                    <a:lnTo>
                      <a:pt x="258" y="47"/>
                    </a:lnTo>
                    <a:lnTo>
                      <a:pt x="258" y="41"/>
                    </a:lnTo>
                    <a:lnTo>
                      <a:pt x="260" y="39"/>
                    </a:lnTo>
                    <a:lnTo>
                      <a:pt x="258" y="38"/>
                    </a:lnTo>
                    <a:lnTo>
                      <a:pt x="260" y="34"/>
                    </a:lnTo>
                    <a:lnTo>
                      <a:pt x="261" y="34"/>
                    </a:lnTo>
                    <a:lnTo>
                      <a:pt x="260" y="33"/>
                    </a:lnTo>
                    <a:lnTo>
                      <a:pt x="258" y="31"/>
                    </a:lnTo>
                    <a:lnTo>
                      <a:pt x="258" y="26"/>
                    </a:lnTo>
                    <a:lnTo>
                      <a:pt x="260" y="18"/>
                    </a:lnTo>
                    <a:lnTo>
                      <a:pt x="260" y="13"/>
                    </a:lnTo>
                    <a:lnTo>
                      <a:pt x="261" y="8"/>
                    </a:lnTo>
                    <a:lnTo>
                      <a:pt x="260" y="7"/>
                    </a:lnTo>
                    <a:lnTo>
                      <a:pt x="261" y="5"/>
                    </a:lnTo>
                    <a:lnTo>
                      <a:pt x="260" y="3"/>
                    </a:lnTo>
                    <a:lnTo>
                      <a:pt x="255" y="5"/>
                    </a:lnTo>
                    <a:lnTo>
                      <a:pt x="253" y="3"/>
                    </a:lnTo>
                    <a:lnTo>
                      <a:pt x="246" y="7"/>
                    </a:lnTo>
                    <a:lnTo>
                      <a:pt x="243" y="3"/>
                    </a:lnTo>
                    <a:lnTo>
                      <a:pt x="238" y="2"/>
                    </a:lnTo>
                    <a:lnTo>
                      <a:pt x="238" y="3"/>
                    </a:lnTo>
                    <a:lnTo>
                      <a:pt x="235" y="5"/>
                    </a:lnTo>
                    <a:lnTo>
                      <a:pt x="230" y="5"/>
                    </a:lnTo>
                    <a:lnTo>
                      <a:pt x="230" y="2"/>
                    </a:lnTo>
                    <a:lnTo>
                      <a:pt x="227" y="0"/>
                    </a:lnTo>
                    <a:lnTo>
                      <a:pt x="224" y="2"/>
                    </a:lnTo>
                    <a:lnTo>
                      <a:pt x="224" y="3"/>
                    </a:lnTo>
                    <a:lnTo>
                      <a:pt x="220" y="5"/>
                    </a:lnTo>
                    <a:lnTo>
                      <a:pt x="219" y="7"/>
                    </a:lnTo>
                    <a:lnTo>
                      <a:pt x="217" y="7"/>
                    </a:lnTo>
                    <a:lnTo>
                      <a:pt x="214" y="7"/>
                    </a:lnTo>
                    <a:lnTo>
                      <a:pt x="211" y="8"/>
                    </a:lnTo>
                    <a:lnTo>
                      <a:pt x="207" y="8"/>
                    </a:lnTo>
                    <a:lnTo>
                      <a:pt x="206" y="5"/>
                    </a:lnTo>
                    <a:lnTo>
                      <a:pt x="201" y="5"/>
                    </a:lnTo>
                    <a:lnTo>
                      <a:pt x="199" y="5"/>
                    </a:lnTo>
                    <a:lnTo>
                      <a:pt x="194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3"/>
                    </a:lnTo>
                    <a:lnTo>
                      <a:pt x="184" y="5"/>
                    </a:lnTo>
                    <a:lnTo>
                      <a:pt x="184" y="8"/>
                    </a:lnTo>
                    <a:lnTo>
                      <a:pt x="179" y="8"/>
                    </a:lnTo>
                    <a:lnTo>
                      <a:pt x="178" y="7"/>
                    </a:lnTo>
                    <a:lnTo>
                      <a:pt x="173" y="10"/>
                    </a:lnTo>
                    <a:lnTo>
                      <a:pt x="171" y="10"/>
                    </a:lnTo>
                    <a:lnTo>
                      <a:pt x="166" y="8"/>
                    </a:lnTo>
                    <a:lnTo>
                      <a:pt x="163" y="10"/>
                    </a:lnTo>
                    <a:lnTo>
                      <a:pt x="158" y="10"/>
                    </a:lnTo>
                    <a:lnTo>
                      <a:pt x="155" y="10"/>
                    </a:lnTo>
                    <a:lnTo>
                      <a:pt x="147" y="15"/>
                    </a:lnTo>
                    <a:lnTo>
                      <a:pt x="142" y="16"/>
                    </a:lnTo>
                    <a:lnTo>
                      <a:pt x="140" y="16"/>
                    </a:lnTo>
                    <a:lnTo>
                      <a:pt x="135" y="18"/>
                    </a:lnTo>
                    <a:lnTo>
                      <a:pt x="135" y="21"/>
                    </a:lnTo>
                    <a:lnTo>
                      <a:pt x="134" y="23"/>
                    </a:lnTo>
                    <a:lnTo>
                      <a:pt x="132" y="23"/>
                    </a:lnTo>
                    <a:lnTo>
                      <a:pt x="131" y="23"/>
                    </a:lnTo>
                    <a:lnTo>
                      <a:pt x="129" y="23"/>
                    </a:lnTo>
                    <a:lnTo>
                      <a:pt x="127" y="25"/>
                    </a:lnTo>
                    <a:lnTo>
                      <a:pt x="127" y="25"/>
                    </a:lnTo>
                    <a:lnTo>
                      <a:pt x="122" y="26"/>
                    </a:lnTo>
                    <a:lnTo>
                      <a:pt x="117" y="28"/>
                    </a:lnTo>
                    <a:lnTo>
                      <a:pt x="116" y="29"/>
                    </a:lnTo>
                    <a:lnTo>
                      <a:pt x="116" y="31"/>
                    </a:lnTo>
                    <a:lnTo>
                      <a:pt x="113" y="34"/>
                    </a:lnTo>
                    <a:lnTo>
                      <a:pt x="108" y="36"/>
                    </a:lnTo>
                    <a:lnTo>
                      <a:pt x="104" y="36"/>
                    </a:lnTo>
                    <a:lnTo>
                      <a:pt x="104" y="38"/>
                    </a:lnTo>
                    <a:lnTo>
                      <a:pt x="106" y="39"/>
                    </a:lnTo>
                    <a:lnTo>
                      <a:pt x="108" y="43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9" y="52"/>
                    </a:lnTo>
                    <a:lnTo>
                      <a:pt x="108" y="57"/>
                    </a:lnTo>
                    <a:lnTo>
                      <a:pt x="109" y="61"/>
                    </a:lnTo>
                    <a:lnTo>
                      <a:pt x="111" y="72"/>
                    </a:lnTo>
                    <a:lnTo>
                      <a:pt x="113" y="77"/>
                    </a:lnTo>
                    <a:lnTo>
                      <a:pt x="113" y="80"/>
                    </a:lnTo>
                    <a:lnTo>
                      <a:pt x="116" y="82"/>
                    </a:lnTo>
                    <a:lnTo>
                      <a:pt x="117" y="83"/>
                    </a:lnTo>
                    <a:lnTo>
                      <a:pt x="119" y="83"/>
                    </a:lnTo>
                    <a:lnTo>
                      <a:pt x="121" y="83"/>
                    </a:lnTo>
                    <a:lnTo>
                      <a:pt x="119" y="88"/>
                    </a:lnTo>
                    <a:lnTo>
                      <a:pt x="119" y="90"/>
                    </a:lnTo>
                    <a:lnTo>
                      <a:pt x="117" y="92"/>
                    </a:lnTo>
                    <a:lnTo>
                      <a:pt x="98" y="92"/>
                    </a:lnTo>
                    <a:lnTo>
                      <a:pt x="95" y="93"/>
                    </a:lnTo>
                    <a:lnTo>
                      <a:pt x="91" y="100"/>
                    </a:lnTo>
                    <a:lnTo>
                      <a:pt x="88" y="103"/>
                    </a:lnTo>
                    <a:lnTo>
                      <a:pt x="86" y="106"/>
                    </a:lnTo>
                    <a:lnTo>
                      <a:pt x="86" y="111"/>
                    </a:lnTo>
                    <a:lnTo>
                      <a:pt x="85" y="114"/>
                    </a:lnTo>
                    <a:lnTo>
                      <a:pt x="73" y="123"/>
                    </a:lnTo>
                    <a:lnTo>
                      <a:pt x="57" y="132"/>
                    </a:lnTo>
                    <a:lnTo>
                      <a:pt x="44" y="141"/>
                    </a:lnTo>
                    <a:lnTo>
                      <a:pt x="37" y="141"/>
                    </a:lnTo>
                    <a:lnTo>
                      <a:pt x="31" y="141"/>
                    </a:lnTo>
                    <a:lnTo>
                      <a:pt x="29" y="142"/>
                    </a:lnTo>
                    <a:lnTo>
                      <a:pt x="24" y="142"/>
                    </a:lnTo>
                    <a:lnTo>
                      <a:pt x="16" y="144"/>
                    </a:lnTo>
                    <a:lnTo>
                      <a:pt x="11" y="147"/>
                    </a:lnTo>
                    <a:lnTo>
                      <a:pt x="8" y="152"/>
                    </a:lnTo>
                    <a:lnTo>
                      <a:pt x="1" y="157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57" y="214"/>
                    </a:lnTo>
                    <a:lnTo>
                      <a:pt x="57" y="214"/>
                    </a:lnTo>
                    <a:lnTo>
                      <a:pt x="162" y="284"/>
                    </a:lnTo>
                    <a:lnTo>
                      <a:pt x="163" y="293"/>
                    </a:lnTo>
                    <a:lnTo>
                      <a:pt x="166" y="296"/>
                    </a:lnTo>
                    <a:lnTo>
                      <a:pt x="173" y="296"/>
                    </a:lnTo>
                    <a:lnTo>
                      <a:pt x="176" y="297"/>
                    </a:lnTo>
                    <a:lnTo>
                      <a:pt x="179" y="301"/>
                    </a:lnTo>
                    <a:lnTo>
                      <a:pt x="183" y="301"/>
                    </a:lnTo>
                    <a:lnTo>
                      <a:pt x="186" y="304"/>
                    </a:lnTo>
                    <a:lnTo>
                      <a:pt x="186" y="307"/>
                    </a:lnTo>
                    <a:lnTo>
                      <a:pt x="184" y="312"/>
                    </a:lnTo>
                    <a:lnTo>
                      <a:pt x="186" y="314"/>
                    </a:lnTo>
                    <a:lnTo>
                      <a:pt x="189" y="315"/>
                    </a:lnTo>
                    <a:lnTo>
                      <a:pt x="197" y="315"/>
                    </a:lnTo>
                    <a:lnTo>
                      <a:pt x="202" y="312"/>
                    </a:lnTo>
                    <a:lnTo>
                      <a:pt x="202" y="312"/>
                    </a:lnTo>
                    <a:lnTo>
                      <a:pt x="202" y="312"/>
                    </a:lnTo>
                    <a:lnTo>
                      <a:pt x="227" y="307"/>
                    </a:lnTo>
                    <a:lnTo>
                      <a:pt x="246" y="289"/>
                    </a:lnTo>
                    <a:lnTo>
                      <a:pt x="318" y="244"/>
                    </a:lnTo>
                    <a:lnTo>
                      <a:pt x="318" y="24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8" name="Freeform 261">
                <a:extLst>
                  <a:ext uri="{FF2B5EF4-FFF2-40B4-BE49-F238E27FC236}">
                    <a16:creationId xmlns:a16="http://schemas.microsoft.com/office/drawing/2014/main" xmlns="" id="{39AEBBF6-A233-4DF1-80BD-764CEF62A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" y="1449"/>
                <a:ext cx="185" cy="149"/>
              </a:xfrm>
              <a:custGeom>
                <a:avLst/>
                <a:gdLst>
                  <a:gd name="T0" fmla="*/ 65 w 185"/>
                  <a:gd name="T1" fmla="*/ 136 h 149"/>
                  <a:gd name="T2" fmla="*/ 75 w 185"/>
                  <a:gd name="T3" fmla="*/ 126 h 149"/>
                  <a:gd name="T4" fmla="*/ 88 w 185"/>
                  <a:gd name="T5" fmla="*/ 121 h 149"/>
                  <a:gd name="T6" fmla="*/ 95 w 185"/>
                  <a:gd name="T7" fmla="*/ 120 h 149"/>
                  <a:gd name="T8" fmla="*/ 108 w 185"/>
                  <a:gd name="T9" fmla="*/ 120 h 149"/>
                  <a:gd name="T10" fmla="*/ 137 w 185"/>
                  <a:gd name="T11" fmla="*/ 102 h 149"/>
                  <a:gd name="T12" fmla="*/ 150 w 185"/>
                  <a:gd name="T13" fmla="*/ 90 h 149"/>
                  <a:gd name="T14" fmla="*/ 152 w 185"/>
                  <a:gd name="T15" fmla="*/ 82 h 149"/>
                  <a:gd name="T16" fmla="*/ 159 w 185"/>
                  <a:gd name="T17" fmla="*/ 72 h 149"/>
                  <a:gd name="T18" fmla="*/ 181 w 185"/>
                  <a:gd name="T19" fmla="*/ 71 h 149"/>
                  <a:gd name="T20" fmla="*/ 183 w 185"/>
                  <a:gd name="T21" fmla="*/ 67 h 149"/>
                  <a:gd name="T22" fmla="*/ 183 w 185"/>
                  <a:gd name="T23" fmla="*/ 62 h 149"/>
                  <a:gd name="T24" fmla="*/ 180 w 185"/>
                  <a:gd name="T25" fmla="*/ 61 h 149"/>
                  <a:gd name="T26" fmla="*/ 177 w 185"/>
                  <a:gd name="T27" fmla="*/ 56 h 149"/>
                  <a:gd name="T28" fmla="*/ 173 w 185"/>
                  <a:gd name="T29" fmla="*/ 40 h 149"/>
                  <a:gd name="T30" fmla="*/ 173 w 185"/>
                  <a:gd name="T31" fmla="*/ 31 h 149"/>
                  <a:gd name="T32" fmla="*/ 172 w 185"/>
                  <a:gd name="T33" fmla="*/ 25 h 149"/>
                  <a:gd name="T34" fmla="*/ 170 w 185"/>
                  <a:gd name="T35" fmla="*/ 18 h 149"/>
                  <a:gd name="T36" fmla="*/ 168 w 185"/>
                  <a:gd name="T37" fmla="*/ 15 h 149"/>
                  <a:gd name="T38" fmla="*/ 157 w 185"/>
                  <a:gd name="T39" fmla="*/ 15 h 149"/>
                  <a:gd name="T40" fmla="*/ 154 w 185"/>
                  <a:gd name="T41" fmla="*/ 10 h 149"/>
                  <a:gd name="T42" fmla="*/ 152 w 185"/>
                  <a:gd name="T43" fmla="*/ 8 h 149"/>
                  <a:gd name="T44" fmla="*/ 144 w 185"/>
                  <a:gd name="T45" fmla="*/ 13 h 149"/>
                  <a:gd name="T46" fmla="*/ 137 w 185"/>
                  <a:gd name="T47" fmla="*/ 12 h 149"/>
                  <a:gd name="T48" fmla="*/ 129 w 185"/>
                  <a:gd name="T49" fmla="*/ 15 h 149"/>
                  <a:gd name="T50" fmla="*/ 121 w 185"/>
                  <a:gd name="T51" fmla="*/ 8 h 149"/>
                  <a:gd name="T52" fmla="*/ 118 w 185"/>
                  <a:gd name="T53" fmla="*/ 5 h 149"/>
                  <a:gd name="T54" fmla="*/ 119 w 185"/>
                  <a:gd name="T55" fmla="*/ 2 h 149"/>
                  <a:gd name="T56" fmla="*/ 114 w 185"/>
                  <a:gd name="T57" fmla="*/ 2 h 149"/>
                  <a:gd name="T58" fmla="*/ 111 w 185"/>
                  <a:gd name="T59" fmla="*/ 4 h 149"/>
                  <a:gd name="T60" fmla="*/ 108 w 185"/>
                  <a:gd name="T61" fmla="*/ 15 h 149"/>
                  <a:gd name="T62" fmla="*/ 103 w 185"/>
                  <a:gd name="T63" fmla="*/ 26 h 149"/>
                  <a:gd name="T64" fmla="*/ 95 w 185"/>
                  <a:gd name="T65" fmla="*/ 38 h 149"/>
                  <a:gd name="T66" fmla="*/ 88 w 185"/>
                  <a:gd name="T67" fmla="*/ 40 h 149"/>
                  <a:gd name="T68" fmla="*/ 79 w 185"/>
                  <a:gd name="T69" fmla="*/ 46 h 149"/>
                  <a:gd name="T70" fmla="*/ 70 w 185"/>
                  <a:gd name="T71" fmla="*/ 51 h 149"/>
                  <a:gd name="T72" fmla="*/ 65 w 185"/>
                  <a:gd name="T73" fmla="*/ 56 h 149"/>
                  <a:gd name="T74" fmla="*/ 61 w 185"/>
                  <a:gd name="T75" fmla="*/ 67 h 149"/>
                  <a:gd name="T76" fmla="*/ 54 w 185"/>
                  <a:gd name="T77" fmla="*/ 77 h 149"/>
                  <a:gd name="T78" fmla="*/ 49 w 185"/>
                  <a:gd name="T79" fmla="*/ 89 h 149"/>
                  <a:gd name="T80" fmla="*/ 49 w 185"/>
                  <a:gd name="T81" fmla="*/ 100 h 149"/>
                  <a:gd name="T82" fmla="*/ 52 w 185"/>
                  <a:gd name="T83" fmla="*/ 103 h 149"/>
                  <a:gd name="T84" fmla="*/ 41 w 185"/>
                  <a:gd name="T85" fmla="*/ 120 h 149"/>
                  <a:gd name="T86" fmla="*/ 36 w 185"/>
                  <a:gd name="T87" fmla="*/ 129 h 149"/>
                  <a:gd name="T88" fmla="*/ 20 w 185"/>
                  <a:gd name="T89" fmla="*/ 141 h 149"/>
                  <a:gd name="T90" fmla="*/ 0 w 185"/>
                  <a:gd name="T91" fmla="*/ 149 h 149"/>
                  <a:gd name="T92" fmla="*/ 64 w 185"/>
                  <a:gd name="T93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5" h="149">
                    <a:moveTo>
                      <a:pt x="64" y="149"/>
                    </a:moveTo>
                    <a:lnTo>
                      <a:pt x="65" y="136"/>
                    </a:lnTo>
                    <a:lnTo>
                      <a:pt x="72" y="131"/>
                    </a:lnTo>
                    <a:lnTo>
                      <a:pt x="75" y="126"/>
                    </a:lnTo>
                    <a:lnTo>
                      <a:pt x="80" y="123"/>
                    </a:lnTo>
                    <a:lnTo>
                      <a:pt x="88" y="121"/>
                    </a:lnTo>
                    <a:lnTo>
                      <a:pt x="93" y="121"/>
                    </a:lnTo>
                    <a:lnTo>
                      <a:pt x="95" y="120"/>
                    </a:lnTo>
                    <a:lnTo>
                      <a:pt x="101" y="120"/>
                    </a:lnTo>
                    <a:lnTo>
                      <a:pt x="108" y="120"/>
                    </a:lnTo>
                    <a:lnTo>
                      <a:pt x="121" y="111"/>
                    </a:lnTo>
                    <a:lnTo>
                      <a:pt x="137" y="102"/>
                    </a:lnTo>
                    <a:lnTo>
                      <a:pt x="149" y="93"/>
                    </a:lnTo>
                    <a:lnTo>
                      <a:pt x="150" y="90"/>
                    </a:lnTo>
                    <a:lnTo>
                      <a:pt x="150" y="85"/>
                    </a:lnTo>
                    <a:lnTo>
                      <a:pt x="152" y="82"/>
                    </a:lnTo>
                    <a:lnTo>
                      <a:pt x="155" y="79"/>
                    </a:lnTo>
                    <a:lnTo>
                      <a:pt x="159" y="72"/>
                    </a:lnTo>
                    <a:lnTo>
                      <a:pt x="162" y="71"/>
                    </a:lnTo>
                    <a:lnTo>
                      <a:pt x="181" y="71"/>
                    </a:lnTo>
                    <a:lnTo>
                      <a:pt x="183" y="69"/>
                    </a:lnTo>
                    <a:lnTo>
                      <a:pt x="183" y="67"/>
                    </a:lnTo>
                    <a:lnTo>
                      <a:pt x="185" y="62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1"/>
                    </a:lnTo>
                    <a:lnTo>
                      <a:pt x="177" y="59"/>
                    </a:lnTo>
                    <a:lnTo>
                      <a:pt x="177" y="56"/>
                    </a:lnTo>
                    <a:lnTo>
                      <a:pt x="175" y="51"/>
                    </a:lnTo>
                    <a:lnTo>
                      <a:pt x="173" y="40"/>
                    </a:lnTo>
                    <a:lnTo>
                      <a:pt x="172" y="36"/>
                    </a:lnTo>
                    <a:lnTo>
                      <a:pt x="173" y="31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2"/>
                    </a:lnTo>
                    <a:lnTo>
                      <a:pt x="170" y="18"/>
                    </a:lnTo>
                    <a:lnTo>
                      <a:pt x="168" y="17"/>
                    </a:lnTo>
                    <a:lnTo>
                      <a:pt x="168" y="15"/>
                    </a:lnTo>
                    <a:lnTo>
                      <a:pt x="165" y="15"/>
                    </a:lnTo>
                    <a:lnTo>
                      <a:pt x="157" y="15"/>
                    </a:lnTo>
                    <a:lnTo>
                      <a:pt x="154" y="13"/>
                    </a:lnTo>
                    <a:lnTo>
                      <a:pt x="154" y="10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49" y="12"/>
                    </a:lnTo>
                    <a:lnTo>
                      <a:pt x="144" y="13"/>
                    </a:lnTo>
                    <a:lnTo>
                      <a:pt x="139" y="12"/>
                    </a:lnTo>
                    <a:lnTo>
                      <a:pt x="137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6" y="13"/>
                    </a:lnTo>
                    <a:lnTo>
                      <a:pt x="121" y="8"/>
                    </a:lnTo>
                    <a:lnTo>
                      <a:pt x="119" y="7"/>
                    </a:lnTo>
                    <a:lnTo>
                      <a:pt x="118" y="5"/>
                    </a:lnTo>
                    <a:lnTo>
                      <a:pt x="118" y="4"/>
                    </a:lnTo>
                    <a:lnTo>
                      <a:pt x="119" y="2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3" y="4"/>
                    </a:lnTo>
                    <a:lnTo>
                      <a:pt x="111" y="4"/>
                    </a:lnTo>
                    <a:lnTo>
                      <a:pt x="108" y="7"/>
                    </a:lnTo>
                    <a:lnTo>
                      <a:pt x="108" y="15"/>
                    </a:lnTo>
                    <a:lnTo>
                      <a:pt x="105" y="20"/>
                    </a:lnTo>
                    <a:lnTo>
                      <a:pt x="103" y="26"/>
                    </a:lnTo>
                    <a:lnTo>
                      <a:pt x="101" y="31"/>
                    </a:lnTo>
                    <a:lnTo>
                      <a:pt x="95" y="38"/>
                    </a:lnTo>
                    <a:lnTo>
                      <a:pt x="92" y="38"/>
                    </a:lnTo>
                    <a:lnTo>
                      <a:pt x="88" y="40"/>
                    </a:lnTo>
                    <a:lnTo>
                      <a:pt x="83" y="43"/>
                    </a:lnTo>
                    <a:lnTo>
                      <a:pt x="79" y="46"/>
                    </a:lnTo>
                    <a:lnTo>
                      <a:pt x="77" y="48"/>
                    </a:lnTo>
                    <a:lnTo>
                      <a:pt x="70" y="51"/>
                    </a:lnTo>
                    <a:lnTo>
                      <a:pt x="67" y="53"/>
                    </a:lnTo>
                    <a:lnTo>
                      <a:pt x="65" y="56"/>
                    </a:lnTo>
                    <a:lnTo>
                      <a:pt x="57" y="61"/>
                    </a:lnTo>
                    <a:lnTo>
                      <a:pt x="61" y="67"/>
                    </a:lnTo>
                    <a:lnTo>
                      <a:pt x="59" y="71"/>
                    </a:lnTo>
                    <a:lnTo>
                      <a:pt x="54" y="77"/>
                    </a:lnTo>
                    <a:lnTo>
                      <a:pt x="49" y="85"/>
                    </a:lnTo>
                    <a:lnTo>
                      <a:pt x="49" y="89"/>
                    </a:lnTo>
                    <a:lnTo>
                      <a:pt x="51" y="93"/>
                    </a:lnTo>
                    <a:lnTo>
                      <a:pt x="49" y="100"/>
                    </a:lnTo>
                    <a:lnTo>
                      <a:pt x="51" y="102"/>
                    </a:lnTo>
                    <a:lnTo>
                      <a:pt x="52" y="103"/>
                    </a:lnTo>
                    <a:lnTo>
                      <a:pt x="51" y="108"/>
                    </a:lnTo>
                    <a:lnTo>
                      <a:pt x="41" y="120"/>
                    </a:lnTo>
                    <a:lnTo>
                      <a:pt x="41" y="124"/>
                    </a:lnTo>
                    <a:lnTo>
                      <a:pt x="36" y="129"/>
                    </a:lnTo>
                    <a:lnTo>
                      <a:pt x="31" y="129"/>
                    </a:lnTo>
                    <a:lnTo>
                      <a:pt x="20" y="141"/>
                    </a:lnTo>
                    <a:lnTo>
                      <a:pt x="5" y="142"/>
                    </a:lnTo>
                    <a:lnTo>
                      <a:pt x="0" y="149"/>
                    </a:lnTo>
                    <a:lnTo>
                      <a:pt x="64" y="149"/>
                    </a:lnTo>
                    <a:lnTo>
                      <a:pt x="64" y="149"/>
                    </a:lnTo>
                    <a:lnTo>
                      <a:pt x="64" y="149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9" name="Freeform 262">
                <a:extLst>
                  <a:ext uri="{FF2B5EF4-FFF2-40B4-BE49-F238E27FC236}">
                    <a16:creationId xmlns:a16="http://schemas.microsoft.com/office/drawing/2014/main" xmlns="" id="{C74792EE-E3A0-4523-8950-5DC275484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8" y="1598"/>
                <a:ext cx="129" cy="108"/>
              </a:xfrm>
              <a:custGeom>
                <a:avLst/>
                <a:gdLst>
                  <a:gd name="T0" fmla="*/ 129 w 129"/>
                  <a:gd name="T1" fmla="*/ 5 h 108"/>
                  <a:gd name="T2" fmla="*/ 129 w 129"/>
                  <a:gd name="T3" fmla="*/ 0 h 108"/>
                  <a:gd name="T4" fmla="*/ 65 w 129"/>
                  <a:gd name="T5" fmla="*/ 0 h 108"/>
                  <a:gd name="T6" fmla="*/ 60 w 129"/>
                  <a:gd name="T7" fmla="*/ 8 h 108"/>
                  <a:gd name="T8" fmla="*/ 60 w 129"/>
                  <a:gd name="T9" fmla="*/ 15 h 108"/>
                  <a:gd name="T10" fmla="*/ 57 w 129"/>
                  <a:gd name="T11" fmla="*/ 15 h 108"/>
                  <a:gd name="T12" fmla="*/ 46 w 129"/>
                  <a:gd name="T13" fmla="*/ 21 h 108"/>
                  <a:gd name="T14" fmla="*/ 44 w 129"/>
                  <a:gd name="T15" fmla="*/ 25 h 108"/>
                  <a:gd name="T16" fmla="*/ 41 w 129"/>
                  <a:gd name="T17" fmla="*/ 26 h 108"/>
                  <a:gd name="T18" fmla="*/ 42 w 129"/>
                  <a:gd name="T19" fmla="*/ 31 h 108"/>
                  <a:gd name="T20" fmla="*/ 32 w 129"/>
                  <a:gd name="T21" fmla="*/ 46 h 108"/>
                  <a:gd name="T22" fmla="*/ 31 w 129"/>
                  <a:gd name="T23" fmla="*/ 49 h 108"/>
                  <a:gd name="T24" fmla="*/ 24 w 129"/>
                  <a:gd name="T25" fmla="*/ 57 h 108"/>
                  <a:gd name="T26" fmla="*/ 21 w 129"/>
                  <a:gd name="T27" fmla="*/ 57 h 108"/>
                  <a:gd name="T28" fmla="*/ 18 w 129"/>
                  <a:gd name="T29" fmla="*/ 67 h 108"/>
                  <a:gd name="T30" fmla="*/ 18 w 129"/>
                  <a:gd name="T31" fmla="*/ 69 h 108"/>
                  <a:gd name="T32" fmla="*/ 11 w 129"/>
                  <a:gd name="T33" fmla="*/ 78 h 108"/>
                  <a:gd name="T34" fmla="*/ 11 w 129"/>
                  <a:gd name="T35" fmla="*/ 80 h 108"/>
                  <a:gd name="T36" fmla="*/ 13 w 129"/>
                  <a:gd name="T37" fmla="*/ 80 h 108"/>
                  <a:gd name="T38" fmla="*/ 11 w 129"/>
                  <a:gd name="T39" fmla="*/ 82 h 108"/>
                  <a:gd name="T40" fmla="*/ 6 w 129"/>
                  <a:gd name="T41" fmla="*/ 91 h 108"/>
                  <a:gd name="T42" fmla="*/ 3 w 129"/>
                  <a:gd name="T43" fmla="*/ 91 h 108"/>
                  <a:gd name="T44" fmla="*/ 1 w 129"/>
                  <a:gd name="T45" fmla="*/ 95 h 108"/>
                  <a:gd name="T46" fmla="*/ 1 w 129"/>
                  <a:gd name="T47" fmla="*/ 98 h 108"/>
                  <a:gd name="T48" fmla="*/ 0 w 129"/>
                  <a:gd name="T49" fmla="*/ 101 h 108"/>
                  <a:gd name="T50" fmla="*/ 0 w 129"/>
                  <a:gd name="T51" fmla="*/ 108 h 108"/>
                  <a:gd name="T52" fmla="*/ 64 w 129"/>
                  <a:gd name="T53" fmla="*/ 106 h 108"/>
                  <a:gd name="T54" fmla="*/ 64 w 129"/>
                  <a:gd name="T55" fmla="*/ 77 h 108"/>
                  <a:gd name="T56" fmla="*/ 65 w 129"/>
                  <a:gd name="T57" fmla="*/ 72 h 108"/>
                  <a:gd name="T58" fmla="*/ 68 w 129"/>
                  <a:gd name="T59" fmla="*/ 70 h 108"/>
                  <a:gd name="T60" fmla="*/ 72 w 129"/>
                  <a:gd name="T61" fmla="*/ 70 h 108"/>
                  <a:gd name="T62" fmla="*/ 78 w 129"/>
                  <a:gd name="T63" fmla="*/ 70 h 108"/>
                  <a:gd name="T64" fmla="*/ 78 w 129"/>
                  <a:gd name="T65" fmla="*/ 26 h 108"/>
                  <a:gd name="T66" fmla="*/ 129 w 129"/>
                  <a:gd name="T67" fmla="*/ 28 h 108"/>
                  <a:gd name="T68" fmla="*/ 129 w 129"/>
                  <a:gd name="T69" fmla="*/ 5 h 108"/>
                  <a:gd name="T70" fmla="*/ 129 w 129"/>
                  <a:gd name="T71" fmla="*/ 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" h="108">
                    <a:moveTo>
                      <a:pt x="129" y="5"/>
                    </a:moveTo>
                    <a:lnTo>
                      <a:pt x="129" y="0"/>
                    </a:lnTo>
                    <a:lnTo>
                      <a:pt x="65" y="0"/>
                    </a:lnTo>
                    <a:lnTo>
                      <a:pt x="60" y="8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46" y="21"/>
                    </a:lnTo>
                    <a:lnTo>
                      <a:pt x="44" y="25"/>
                    </a:lnTo>
                    <a:lnTo>
                      <a:pt x="41" y="26"/>
                    </a:lnTo>
                    <a:lnTo>
                      <a:pt x="42" y="31"/>
                    </a:lnTo>
                    <a:lnTo>
                      <a:pt x="32" y="46"/>
                    </a:lnTo>
                    <a:lnTo>
                      <a:pt x="31" y="49"/>
                    </a:lnTo>
                    <a:lnTo>
                      <a:pt x="24" y="57"/>
                    </a:lnTo>
                    <a:lnTo>
                      <a:pt x="21" y="57"/>
                    </a:lnTo>
                    <a:lnTo>
                      <a:pt x="18" y="67"/>
                    </a:lnTo>
                    <a:lnTo>
                      <a:pt x="18" y="69"/>
                    </a:lnTo>
                    <a:lnTo>
                      <a:pt x="11" y="78"/>
                    </a:lnTo>
                    <a:lnTo>
                      <a:pt x="11" y="80"/>
                    </a:lnTo>
                    <a:lnTo>
                      <a:pt x="13" y="80"/>
                    </a:lnTo>
                    <a:lnTo>
                      <a:pt x="11" y="82"/>
                    </a:lnTo>
                    <a:lnTo>
                      <a:pt x="6" y="91"/>
                    </a:lnTo>
                    <a:lnTo>
                      <a:pt x="3" y="91"/>
                    </a:lnTo>
                    <a:lnTo>
                      <a:pt x="1" y="95"/>
                    </a:lnTo>
                    <a:lnTo>
                      <a:pt x="1" y="98"/>
                    </a:lnTo>
                    <a:lnTo>
                      <a:pt x="0" y="101"/>
                    </a:lnTo>
                    <a:lnTo>
                      <a:pt x="0" y="108"/>
                    </a:lnTo>
                    <a:lnTo>
                      <a:pt x="64" y="106"/>
                    </a:lnTo>
                    <a:lnTo>
                      <a:pt x="64" y="77"/>
                    </a:lnTo>
                    <a:lnTo>
                      <a:pt x="65" y="72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8" y="70"/>
                    </a:lnTo>
                    <a:lnTo>
                      <a:pt x="78" y="26"/>
                    </a:lnTo>
                    <a:lnTo>
                      <a:pt x="129" y="28"/>
                    </a:lnTo>
                    <a:lnTo>
                      <a:pt x="129" y="5"/>
                    </a:lnTo>
                    <a:lnTo>
                      <a:pt x="129" y="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50" name="Freeform 263">
                <a:extLst>
                  <a:ext uri="{FF2B5EF4-FFF2-40B4-BE49-F238E27FC236}">
                    <a16:creationId xmlns:a16="http://schemas.microsoft.com/office/drawing/2014/main" xmlns="" id="{D963AADA-D65A-49CF-AF5B-A0E267DDFC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6" y="1603"/>
                <a:ext cx="188" cy="211"/>
              </a:xfrm>
              <a:custGeom>
                <a:avLst/>
                <a:gdLst>
                  <a:gd name="T0" fmla="*/ 66 w 188"/>
                  <a:gd name="T1" fmla="*/ 101 h 211"/>
                  <a:gd name="T2" fmla="*/ 67 w 188"/>
                  <a:gd name="T3" fmla="*/ 67 h 211"/>
                  <a:gd name="T4" fmla="*/ 74 w 188"/>
                  <a:gd name="T5" fmla="*/ 65 h 211"/>
                  <a:gd name="T6" fmla="*/ 80 w 188"/>
                  <a:gd name="T7" fmla="*/ 21 h 211"/>
                  <a:gd name="T8" fmla="*/ 131 w 188"/>
                  <a:gd name="T9" fmla="*/ 0 h 211"/>
                  <a:gd name="T10" fmla="*/ 188 w 188"/>
                  <a:gd name="T11" fmla="*/ 39 h 211"/>
                  <a:gd name="T12" fmla="*/ 170 w 188"/>
                  <a:gd name="T13" fmla="*/ 39 h 211"/>
                  <a:gd name="T14" fmla="*/ 186 w 188"/>
                  <a:gd name="T15" fmla="*/ 186 h 211"/>
                  <a:gd name="T16" fmla="*/ 124 w 188"/>
                  <a:gd name="T17" fmla="*/ 201 h 211"/>
                  <a:gd name="T18" fmla="*/ 121 w 188"/>
                  <a:gd name="T19" fmla="*/ 198 h 211"/>
                  <a:gd name="T20" fmla="*/ 116 w 188"/>
                  <a:gd name="T21" fmla="*/ 201 h 211"/>
                  <a:gd name="T22" fmla="*/ 115 w 188"/>
                  <a:gd name="T23" fmla="*/ 194 h 211"/>
                  <a:gd name="T24" fmla="*/ 103 w 188"/>
                  <a:gd name="T25" fmla="*/ 196 h 211"/>
                  <a:gd name="T26" fmla="*/ 98 w 188"/>
                  <a:gd name="T27" fmla="*/ 203 h 211"/>
                  <a:gd name="T28" fmla="*/ 95 w 188"/>
                  <a:gd name="T29" fmla="*/ 193 h 211"/>
                  <a:gd name="T30" fmla="*/ 85 w 188"/>
                  <a:gd name="T31" fmla="*/ 194 h 211"/>
                  <a:gd name="T32" fmla="*/ 87 w 188"/>
                  <a:gd name="T33" fmla="*/ 203 h 211"/>
                  <a:gd name="T34" fmla="*/ 80 w 188"/>
                  <a:gd name="T35" fmla="*/ 207 h 211"/>
                  <a:gd name="T36" fmla="*/ 75 w 188"/>
                  <a:gd name="T37" fmla="*/ 211 h 211"/>
                  <a:gd name="T38" fmla="*/ 70 w 188"/>
                  <a:gd name="T39" fmla="*/ 206 h 211"/>
                  <a:gd name="T40" fmla="*/ 67 w 188"/>
                  <a:gd name="T41" fmla="*/ 201 h 211"/>
                  <a:gd name="T42" fmla="*/ 64 w 188"/>
                  <a:gd name="T43" fmla="*/ 196 h 211"/>
                  <a:gd name="T44" fmla="*/ 59 w 188"/>
                  <a:gd name="T45" fmla="*/ 189 h 211"/>
                  <a:gd name="T46" fmla="*/ 56 w 188"/>
                  <a:gd name="T47" fmla="*/ 189 h 211"/>
                  <a:gd name="T48" fmla="*/ 52 w 188"/>
                  <a:gd name="T49" fmla="*/ 189 h 211"/>
                  <a:gd name="T50" fmla="*/ 49 w 188"/>
                  <a:gd name="T51" fmla="*/ 186 h 211"/>
                  <a:gd name="T52" fmla="*/ 43 w 188"/>
                  <a:gd name="T53" fmla="*/ 181 h 211"/>
                  <a:gd name="T54" fmla="*/ 33 w 188"/>
                  <a:gd name="T55" fmla="*/ 178 h 211"/>
                  <a:gd name="T56" fmla="*/ 15 w 188"/>
                  <a:gd name="T57" fmla="*/ 183 h 211"/>
                  <a:gd name="T58" fmla="*/ 10 w 188"/>
                  <a:gd name="T59" fmla="*/ 186 h 211"/>
                  <a:gd name="T60" fmla="*/ 8 w 188"/>
                  <a:gd name="T61" fmla="*/ 181 h 211"/>
                  <a:gd name="T62" fmla="*/ 15 w 188"/>
                  <a:gd name="T63" fmla="*/ 167 h 211"/>
                  <a:gd name="T64" fmla="*/ 12 w 188"/>
                  <a:gd name="T65" fmla="*/ 139 h 211"/>
                  <a:gd name="T66" fmla="*/ 10 w 188"/>
                  <a:gd name="T67" fmla="*/ 129 h 211"/>
                  <a:gd name="T68" fmla="*/ 13 w 188"/>
                  <a:gd name="T69" fmla="*/ 124 h 211"/>
                  <a:gd name="T70" fmla="*/ 13 w 188"/>
                  <a:gd name="T71" fmla="*/ 119 h 211"/>
                  <a:gd name="T72" fmla="*/ 7 w 188"/>
                  <a:gd name="T73" fmla="*/ 113 h 211"/>
                  <a:gd name="T74" fmla="*/ 5 w 188"/>
                  <a:gd name="T75" fmla="*/ 108 h 211"/>
                  <a:gd name="T76" fmla="*/ 0 w 188"/>
                  <a:gd name="T77" fmla="*/ 106 h 211"/>
                  <a:gd name="T78" fmla="*/ 2 w 188"/>
                  <a:gd name="T79" fmla="*/ 10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8" h="211">
                    <a:moveTo>
                      <a:pt x="2" y="103"/>
                    </a:moveTo>
                    <a:lnTo>
                      <a:pt x="66" y="101"/>
                    </a:lnTo>
                    <a:lnTo>
                      <a:pt x="66" y="72"/>
                    </a:lnTo>
                    <a:lnTo>
                      <a:pt x="67" y="67"/>
                    </a:lnTo>
                    <a:lnTo>
                      <a:pt x="70" y="65"/>
                    </a:lnTo>
                    <a:lnTo>
                      <a:pt x="74" y="65"/>
                    </a:lnTo>
                    <a:lnTo>
                      <a:pt x="80" y="65"/>
                    </a:lnTo>
                    <a:lnTo>
                      <a:pt x="80" y="21"/>
                    </a:lnTo>
                    <a:lnTo>
                      <a:pt x="131" y="23"/>
                    </a:lnTo>
                    <a:lnTo>
                      <a:pt x="131" y="0"/>
                    </a:lnTo>
                    <a:lnTo>
                      <a:pt x="188" y="39"/>
                    </a:lnTo>
                    <a:lnTo>
                      <a:pt x="188" y="39"/>
                    </a:lnTo>
                    <a:lnTo>
                      <a:pt x="188" y="39"/>
                    </a:lnTo>
                    <a:lnTo>
                      <a:pt x="170" y="39"/>
                    </a:lnTo>
                    <a:lnTo>
                      <a:pt x="181" y="183"/>
                    </a:lnTo>
                    <a:lnTo>
                      <a:pt x="186" y="186"/>
                    </a:lnTo>
                    <a:lnTo>
                      <a:pt x="181" y="201"/>
                    </a:lnTo>
                    <a:lnTo>
                      <a:pt x="124" y="201"/>
                    </a:lnTo>
                    <a:lnTo>
                      <a:pt x="123" y="199"/>
                    </a:lnTo>
                    <a:lnTo>
                      <a:pt x="121" y="198"/>
                    </a:lnTo>
                    <a:lnTo>
                      <a:pt x="119" y="198"/>
                    </a:lnTo>
                    <a:lnTo>
                      <a:pt x="116" y="201"/>
                    </a:lnTo>
                    <a:lnTo>
                      <a:pt x="115" y="198"/>
                    </a:lnTo>
                    <a:lnTo>
                      <a:pt x="115" y="194"/>
                    </a:lnTo>
                    <a:lnTo>
                      <a:pt x="111" y="193"/>
                    </a:lnTo>
                    <a:lnTo>
                      <a:pt x="103" y="196"/>
                    </a:lnTo>
                    <a:lnTo>
                      <a:pt x="100" y="204"/>
                    </a:lnTo>
                    <a:lnTo>
                      <a:pt x="98" y="203"/>
                    </a:lnTo>
                    <a:lnTo>
                      <a:pt x="95" y="198"/>
                    </a:lnTo>
                    <a:lnTo>
                      <a:pt x="95" y="193"/>
                    </a:lnTo>
                    <a:lnTo>
                      <a:pt x="90" y="193"/>
                    </a:lnTo>
                    <a:lnTo>
                      <a:pt x="85" y="194"/>
                    </a:lnTo>
                    <a:lnTo>
                      <a:pt x="85" y="201"/>
                    </a:lnTo>
                    <a:lnTo>
                      <a:pt x="87" y="203"/>
                    </a:lnTo>
                    <a:lnTo>
                      <a:pt x="85" y="207"/>
                    </a:lnTo>
                    <a:lnTo>
                      <a:pt x="80" y="207"/>
                    </a:lnTo>
                    <a:lnTo>
                      <a:pt x="75" y="211"/>
                    </a:lnTo>
                    <a:lnTo>
                      <a:pt x="75" y="211"/>
                    </a:lnTo>
                    <a:lnTo>
                      <a:pt x="75" y="207"/>
                    </a:lnTo>
                    <a:lnTo>
                      <a:pt x="70" y="206"/>
                    </a:lnTo>
                    <a:lnTo>
                      <a:pt x="67" y="204"/>
                    </a:lnTo>
                    <a:lnTo>
                      <a:pt x="67" y="201"/>
                    </a:lnTo>
                    <a:lnTo>
                      <a:pt x="64" y="201"/>
                    </a:lnTo>
                    <a:lnTo>
                      <a:pt x="64" y="196"/>
                    </a:lnTo>
                    <a:lnTo>
                      <a:pt x="61" y="194"/>
                    </a:lnTo>
                    <a:lnTo>
                      <a:pt x="59" y="189"/>
                    </a:lnTo>
                    <a:lnTo>
                      <a:pt x="59" y="188"/>
                    </a:lnTo>
                    <a:lnTo>
                      <a:pt x="56" y="189"/>
                    </a:lnTo>
                    <a:lnTo>
                      <a:pt x="54" y="188"/>
                    </a:lnTo>
                    <a:lnTo>
                      <a:pt x="52" y="189"/>
                    </a:lnTo>
                    <a:lnTo>
                      <a:pt x="49" y="188"/>
                    </a:lnTo>
                    <a:lnTo>
                      <a:pt x="49" y="186"/>
                    </a:lnTo>
                    <a:lnTo>
                      <a:pt x="46" y="181"/>
                    </a:lnTo>
                    <a:lnTo>
                      <a:pt x="43" y="181"/>
                    </a:lnTo>
                    <a:lnTo>
                      <a:pt x="34" y="178"/>
                    </a:lnTo>
                    <a:lnTo>
                      <a:pt x="33" y="178"/>
                    </a:lnTo>
                    <a:lnTo>
                      <a:pt x="25" y="181"/>
                    </a:lnTo>
                    <a:lnTo>
                      <a:pt x="15" y="183"/>
                    </a:lnTo>
                    <a:lnTo>
                      <a:pt x="12" y="186"/>
                    </a:lnTo>
                    <a:lnTo>
                      <a:pt x="10" y="186"/>
                    </a:lnTo>
                    <a:lnTo>
                      <a:pt x="7" y="188"/>
                    </a:lnTo>
                    <a:lnTo>
                      <a:pt x="8" y="181"/>
                    </a:lnTo>
                    <a:lnTo>
                      <a:pt x="10" y="171"/>
                    </a:lnTo>
                    <a:lnTo>
                      <a:pt x="15" y="167"/>
                    </a:lnTo>
                    <a:lnTo>
                      <a:pt x="15" y="155"/>
                    </a:lnTo>
                    <a:lnTo>
                      <a:pt x="12" y="139"/>
                    </a:lnTo>
                    <a:lnTo>
                      <a:pt x="8" y="131"/>
                    </a:lnTo>
                    <a:lnTo>
                      <a:pt x="10" y="129"/>
                    </a:lnTo>
                    <a:lnTo>
                      <a:pt x="12" y="129"/>
                    </a:lnTo>
                    <a:lnTo>
                      <a:pt x="13" y="124"/>
                    </a:lnTo>
                    <a:lnTo>
                      <a:pt x="12" y="121"/>
                    </a:lnTo>
                    <a:lnTo>
                      <a:pt x="13" y="119"/>
                    </a:lnTo>
                    <a:lnTo>
                      <a:pt x="8" y="111"/>
                    </a:lnTo>
                    <a:lnTo>
                      <a:pt x="7" y="113"/>
                    </a:lnTo>
                    <a:lnTo>
                      <a:pt x="7" y="113"/>
                    </a:lnTo>
                    <a:lnTo>
                      <a:pt x="5" y="108"/>
                    </a:lnTo>
                    <a:lnTo>
                      <a:pt x="2" y="113"/>
                    </a:lnTo>
                    <a:lnTo>
                      <a:pt x="0" y="106"/>
                    </a:lnTo>
                    <a:lnTo>
                      <a:pt x="2" y="103"/>
                    </a:lnTo>
                    <a:lnTo>
                      <a:pt x="2" y="103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1" name="Freeform 264">
                <a:extLst>
                  <a:ext uri="{FF2B5EF4-FFF2-40B4-BE49-F238E27FC236}">
                    <a16:creationId xmlns:a16="http://schemas.microsoft.com/office/drawing/2014/main" xmlns="" id="{B8362130-5AFE-4460-8537-11D8C649F5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42"/>
                <a:ext cx="258" cy="245"/>
              </a:xfrm>
              <a:custGeom>
                <a:avLst/>
                <a:gdLst>
                  <a:gd name="T0" fmla="*/ 10 w 258"/>
                  <a:gd name="T1" fmla="*/ 168 h 245"/>
                  <a:gd name="T2" fmla="*/ 10 w 258"/>
                  <a:gd name="T3" fmla="*/ 155 h 245"/>
                  <a:gd name="T4" fmla="*/ 20 w 258"/>
                  <a:gd name="T5" fmla="*/ 159 h 245"/>
                  <a:gd name="T6" fmla="*/ 28 w 258"/>
                  <a:gd name="T7" fmla="*/ 157 h 245"/>
                  <a:gd name="T8" fmla="*/ 40 w 258"/>
                  <a:gd name="T9" fmla="*/ 159 h 245"/>
                  <a:gd name="T10" fmla="*/ 46 w 258"/>
                  <a:gd name="T11" fmla="*/ 159 h 245"/>
                  <a:gd name="T12" fmla="*/ 106 w 258"/>
                  <a:gd name="T13" fmla="*/ 162 h 245"/>
                  <a:gd name="T14" fmla="*/ 95 w 258"/>
                  <a:gd name="T15" fmla="*/ 0 h 245"/>
                  <a:gd name="T16" fmla="*/ 219 w 258"/>
                  <a:gd name="T17" fmla="*/ 79 h 245"/>
                  <a:gd name="T18" fmla="*/ 232 w 258"/>
                  <a:gd name="T19" fmla="*/ 83 h 245"/>
                  <a:gd name="T20" fmla="*/ 242 w 258"/>
                  <a:gd name="T21" fmla="*/ 90 h 245"/>
                  <a:gd name="T22" fmla="*/ 242 w 258"/>
                  <a:gd name="T23" fmla="*/ 100 h 245"/>
                  <a:gd name="T24" fmla="*/ 258 w 258"/>
                  <a:gd name="T25" fmla="*/ 98 h 245"/>
                  <a:gd name="T26" fmla="*/ 257 w 258"/>
                  <a:gd name="T27" fmla="*/ 144 h 245"/>
                  <a:gd name="T28" fmla="*/ 253 w 258"/>
                  <a:gd name="T29" fmla="*/ 155 h 245"/>
                  <a:gd name="T30" fmla="*/ 235 w 258"/>
                  <a:gd name="T31" fmla="*/ 162 h 245"/>
                  <a:gd name="T32" fmla="*/ 221 w 258"/>
                  <a:gd name="T33" fmla="*/ 165 h 245"/>
                  <a:gd name="T34" fmla="*/ 203 w 258"/>
                  <a:gd name="T35" fmla="*/ 168 h 245"/>
                  <a:gd name="T36" fmla="*/ 198 w 258"/>
                  <a:gd name="T37" fmla="*/ 167 h 245"/>
                  <a:gd name="T38" fmla="*/ 187 w 258"/>
                  <a:gd name="T39" fmla="*/ 167 h 245"/>
                  <a:gd name="T40" fmla="*/ 170 w 258"/>
                  <a:gd name="T41" fmla="*/ 173 h 245"/>
                  <a:gd name="T42" fmla="*/ 147 w 258"/>
                  <a:gd name="T43" fmla="*/ 190 h 245"/>
                  <a:gd name="T44" fmla="*/ 133 w 258"/>
                  <a:gd name="T45" fmla="*/ 191 h 245"/>
                  <a:gd name="T46" fmla="*/ 126 w 258"/>
                  <a:gd name="T47" fmla="*/ 201 h 245"/>
                  <a:gd name="T48" fmla="*/ 118 w 258"/>
                  <a:gd name="T49" fmla="*/ 216 h 245"/>
                  <a:gd name="T50" fmla="*/ 113 w 258"/>
                  <a:gd name="T51" fmla="*/ 226 h 245"/>
                  <a:gd name="T52" fmla="*/ 110 w 258"/>
                  <a:gd name="T53" fmla="*/ 234 h 245"/>
                  <a:gd name="T54" fmla="*/ 108 w 258"/>
                  <a:gd name="T55" fmla="*/ 242 h 245"/>
                  <a:gd name="T56" fmla="*/ 98 w 258"/>
                  <a:gd name="T57" fmla="*/ 242 h 245"/>
                  <a:gd name="T58" fmla="*/ 90 w 258"/>
                  <a:gd name="T59" fmla="*/ 242 h 245"/>
                  <a:gd name="T60" fmla="*/ 82 w 258"/>
                  <a:gd name="T61" fmla="*/ 244 h 245"/>
                  <a:gd name="T62" fmla="*/ 72 w 258"/>
                  <a:gd name="T63" fmla="*/ 245 h 245"/>
                  <a:gd name="T64" fmla="*/ 67 w 258"/>
                  <a:gd name="T65" fmla="*/ 240 h 245"/>
                  <a:gd name="T66" fmla="*/ 66 w 258"/>
                  <a:gd name="T67" fmla="*/ 234 h 245"/>
                  <a:gd name="T68" fmla="*/ 59 w 258"/>
                  <a:gd name="T69" fmla="*/ 237 h 245"/>
                  <a:gd name="T70" fmla="*/ 64 w 258"/>
                  <a:gd name="T71" fmla="*/ 226 h 245"/>
                  <a:gd name="T72" fmla="*/ 59 w 258"/>
                  <a:gd name="T73" fmla="*/ 219 h 245"/>
                  <a:gd name="T74" fmla="*/ 54 w 258"/>
                  <a:gd name="T75" fmla="*/ 211 h 245"/>
                  <a:gd name="T76" fmla="*/ 44 w 258"/>
                  <a:gd name="T77" fmla="*/ 213 h 245"/>
                  <a:gd name="T78" fmla="*/ 36 w 258"/>
                  <a:gd name="T79" fmla="*/ 217 h 245"/>
                  <a:gd name="T80" fmla="*/ 26 w 258"/>
                  <a:gd name="T81" fmla="*/ 216 h 245"/>
                  <a:gd name="T82" fmla="*/ 18 w 258"/>
                  <a:gd name="T83" fmla="*/ 216 h 245"/>
                  <a:gd name="T84" fmla="*/ 20 w 258"/>
                  <a:gd name="T85" fmla="*/ 211 h 245"/>
                  <a:gd name="T86" fmla="*/ 17 w 258"/>
                  <a:gd name="T87" fmla="*/ 204 h 245"/>
                  <a:gd name="T88" fmla="*/ 13 w 258"/>
                  <a:gd name="T89" fmla="*/ 198 h 245"/>
                  <a:gd name="T90" fmla="*/ 8 w 258"/>
                  <a:gd name="T91" fmla="*/ 195 h 245"/>
                  <a:gd name="T92" fmla="*/ 2 w 258"/>
                  <a:gd name="T93" fmla="*/ 185 h 245"/>
                  <a:gd name="T94" fmla="*/ 4 w 258"/>
                  <a:gd name="T95" fmla="*/ 173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8" h="245">
                    <a:moveTo>
                      <a:pt x="0" y="172"/>
                    </a:moveTo>
                    <a:lnTo>
                      <a:pt x="5" y="168"/>
                    </a:lnTo>
                    <a:lnTo>
                      <a:pt x="10" y="168"/>
                    </a:lnTo>
                    <a:lnTo>
                      <a:pt x="12" y="164"/>
                    </a:lnTo>
                    <a:lnTo>
                      <a:pt x="10" y="162"/>
                    </a:lnTo>
                    <a:lnTo>
                      <a:pt x="10" y="155"/>
                    </a:lnTo>
                    <a:lnTo>
                      <a:pt x="15" y="154"/>
                    </a:lnTo>
                    <a:lnTo>
                      <a:pt x="20" y="154"/>
                    </a:lnTo>
                    <a:lnTo>
                      <a:pt x="20" y="159"/>
                    </a:lnTo>
                    <a:lnTo>
                      <a:pt x="23" y="164"/>
                    </a:lnTo>
                    <a:lnTo>
                      <a:pt x="25" y="165"/>
                    </a:lnTo>
                    <a:lnTo>
                      <a:pt x="28" y="157"/>
                    </a:lnTo>
                    <a:lnTo>
                      <a:pt x="36" y="154"/>
                    </a:lnTo>
                    <a:lnTo>
                      <a:pt x="40" y="155"/>
                    </a:lnTo>
                    <a:lnTo>
                      <a:pt x="40" y="159"/>
                    </a:lnTo>
                    <a:lnTo>
                      <a:pt x="41" y="162"/>
                    </a:lnTo>
                    <a:lnTo>
                      <a:pt x="44" y="159"/>
                    </a:lnTo>
                    <a:lnTo>
                      <a:pt x="46" y="159"/>
                    </a:lnTo>
                    <a:lnTo>
                      <a:pt x="48" y="160"/>
                    </a:lnTo>
                    <a:lnTo>
                      <a:pt x="49" y="162"/>
                    </a:lnTo>
                    <a:lnTo>
                      <a:pt x="106" y="162"/>
                    </a:lnTo>
                    <a:lnTo>
                      <a:pt x="111" y="147"/>
                    </a:lnTo>
                    <a:lnTo>
                      <a:pt x="106" y="144"/>
                    </a:lnTo>
                    <a:lnTo>
                      <a:pt x="95" y="0"/>
                    </a:lnTo>
                    <a:lnTo>
                      <a:pt x="113" y="0"/>
                    </a:lnTo>
                    <a:lnTo>
                      <a:pt x="218" y="70"/>
                    </a:lnTo>
                    <a:lnTo>
                      <a:pt x="219" y="79"/>
                    </a:lnTo>
                    <a:lnTo>
                      <a:pt x="222" y="82"/>
                    </a:lnTo>
                    <a:lnTo>
                      <a:pt x="229" y="82"/>
                    </a:lnTo>
                    <a:lnTo>
                      <a:pt x="232" y="83"/>
                    </a:lnTo>
                    <a:lnTo>
                      <a:pt x="235" y="87"/>
                    </a:lnTo>
                    <a:lnTo>
                      <a:pt x="239" y="87"/>
                    </a:lnTo>
                    <a:lnTo>
                      <a:pt x="242" y="90"/>
                    </a:lnTo>
                    <a:lnTo>
                      <a:pt x="242" y="93"/>
                    </a:lnTo>
                    <a:lnTo>
                      <a:pt x="240" y="98"/>
                    </a:lnTo>
                    <a:lnTo>
                      <a:pt x="242" y="100"/>
                    </a:lnTo>
                    <a:lnTo>
                      <a:pt x="245" y="101"/>
                    </a:lnTo>
                    <a:lnTo>
                      <a:pt x="253" y="101"/>
                    </a:lnTo>
                    <a:lnTo>
                      <a:pt x="258" y="98"/>
                    </a:lnTo>
                    <a:lnTo>
                      <a:pt x="258" y="98"/>
                    </a:lnTo>
                    <a:lnTo>
                      <a:pt x="258" y="131"/>
                    </a:lnTo>
                    <a:lnTo>
                      <a:pt x="257" y="144"/>
                    </a:lnTo>
                    <a:lnTo>
                      <a:pt x="255" y="146"/>
                    </a:lnTo>
                    <a:lnTo>
                      <a:pt x="253" y="152"/>
                    </a:lnTo>
                    <a:lnTo>
                      <a:pt x="253" y="155"/>
                    </a:lnTo>
                    <a:lnTo>
                      <a:pt x="245" y="160"/>
                    </a:lnTo>
                    <a:lnTo>
                      <a:pt x="240" y="162"/>
                    </a:lnTo>
                    <a:lnTo>
                      <a:pt x="235" y="162"/>
                    </a:lnTo>
                    <a:lnTo>
                      <a:pt x="231" y="165"/>
                    </a:lnTo>
                    <a:lnTo>
                      <a:pt x="227" y="165"/>
                    </a:lnTo>
                    <a:lnTo>
                      <a:pt x="221" y="165"/>
                    </a:lnTo>
                    <a:lnTo>
                      <a:pt x="218" y="168"/>
                    </a:lnTo>
                    <a:lnTo>
                      <a:pt x="213" y="167"/>
                    </a:lnTo>
                    <a:lnTo>
                      <a:pt x="203" y="168"/>
                    </a:lnTo>
                    <a:lnTo>
                      <a:pt x="200" y="168"/>
                    </a:lnTo>
                    <a:lnTo>
                      <a:pt x="198" y="168"/>
                    </a:lnTo>
                    <a:lnTo>
                      <a:pt x="198" y="167"/>
                    </a:lnTo>
                    <a:lnTo>
                      <a:pt x="195" y="167"/>
                    </a:lnTo>
                    <a:lnTo>
                      <a:pt x="190" y="165"/>
                    </a:lnTo>
                    <a:lnTo>
                      <a:pt x="187" y="167"/>
                    </a:lnTo>
                    <a:lnTo>
                      <a:pt x="178" y="167"/>
                    </a:lnTo>
                    <a:lnTo>
                      <a:pt x="173" y="170"/>
                    </a:lnTo>
                    <a:lnTo>
                      <a:pt x="170" y="173"/>
                    </a:lnTo>
                    <a:lnTo>
                      <a:pt x="157" y="180"/>
                    </a:lnTo>
                    <a:lnTo>
                      <a:pt x="149" y="186"/>
                    </a:lnTo>
                    <a:lnTo>
                      <a:pt x="147" y="190"/>
                    </a:lnTo>
                    <a:lnTo>
                      <a:pt x="139" y="191"/>
                    </a:lnTo>
                    <a:lnTo>
                      <a:pt x="138" y="191"/>
                    </a:lnTo>
                    <a:lnTo>
                      <a:pt x="133" y="191"/>
                    </a:lnTo>
                    <a:lnTo>
                      <a:pt x="133" y="195"/>
                    </a:lnTo>
                    <a:lnTo>
                      <a:pt x="129" y="195"/>
                    </a:lnTo>
                    <a:lnTo>
                      <a:pt x="126" y="201"/>
                    </a:lnTo>
                    <a:lnTo>
                      <a:pt x="126" y="203"/>
                    </a:lnTo>
                    <a:lnTo>
                      <a:pt x="123" y="208"/>
                    </a:lnTo>
                    <a:lnTo>
                      <a:pt x="118" y="216"/>
                    </a:lnTo>
                    <a:lnTo>
                      <a:pt x="115" y="219"/>
                    </a:lnTo>
                    <a:lnTo>
                      <a:pt x="111" y="222"/>
                    </a:lnTo>
                    <a:lnTo>
                      <a:pt x="113" y="226"/>
                    </a:lnTo>
                    <a:lnTo>
                      <a:pt x="113" y="229"/>
                    </a:lnTo>
                    <a:lnTo>
                      <a:pt x="110" y="230"/>
                    </a:lnTo>
                    <a:lnTo>
                      <a:pt x="110" y="234"/>
                    </a:lnTo>
                    <a:lnTo>
                      <a:pt x="111" y="235"/>
                    </a:lnTo>
                    <a:lnTo>
                      <a:pt x="110" y="240"/>
                    </a:lnTo>
                    <a:lnTo>
                      <a:pt x="108" y="242"/>
                    </a:lnTo>
                    <a:lnTo>
                      <a:pt x="105" y="245"/>
                    </a:lnTo>
                    <a:lnTo>
                      <a:pt x="100" y="244"/>
                    </a:lnTo>
                    <a:lnTo>
                      <a:pt x="98" y="242"/>
                    </a:lnTo>
                    <a:lnTo>
                      <a:pt x="100" y="242"/>
                    </a:lnTo>
                    <a:lnTo>
                      <a:pt x="95" y="240"/>
                    </a:lnTo>
                    <a:lnTo>
                      <a:pt x="90" y="242"/>
                    </a:lnTo>
                    <a:lnTo>
                      <a:pt x="90" y="244"/>
                    </a:lnTo>
                    <a:lnTo>
                      <a:pt x="89" y="245"/>
                    </a:lnTo>
                    <a:lnTo>
                      <a:pt x="82" y="244"/>
                    </a:lnTo>
                    <a:lnTo>
                      <a:pt x="79" y="242"/>
                    </a:lnTo>
                    <a:lnTo>
                      <a:pt x="77" y="242"/>
                    </a:lnTo>
                    <a:lnTo>
                      <a:pt x="72" y="245"/>
                    </a:lnTo>
                    <a:lnTo>
                      <a:pt x="72" y="242"/>
                    </a:lnTo>
                    <a:lnTo>
                      <a:pt x="71" y="240"/>
                    </a:lnTo>
                    <a:lnTo>
                      <a:pt x="67" y="240"/>
                    </a:lnTo>
                    <a:lnTo>
                      <a:pt x="67" y="239"/>
                    </a:lnTo>
                    <a:lnTo>
                      <a:pt x="66" y="237"/>
                    </a:lnTo>
                    <a:lnTo>
                      <a:pt x="66" y="234"/>
                    </a:lnTo>
                    <a:lnTo>
                      <a:pt x="64" y="234"/>
                    </a:lnTo>
                    <a:lnTo>
                      <a:pt x="62" y="235"/>
                    </a:lnTo>
                    <a:lnTo>
                      <a:pt x="59" y="237"/>
                    </a:lnTo>
                    <a:lnTo>
                      <a:pt x="61" y="232"/>
                    </a:lnTo>
                    <a:lnTo>
                      <a:pt x="64" y="229"/>
                    </a:lnTo>
                    <a:lnTo>
                      <a:pt x="64" y="226"/>
                    </a:lnTo>
                    <a:lnTo>
                      <a:pt x="59" y="226"/>
                    </a:lnTo>
                    <a:lnTo>
                      <a:pt x="57" y="224"/>
                    </a:lnTo>
                    <a:lnTo>
                      <a:pt x="59" y="219"/>
                    </a:lnTo>
                    <a:lnTo>
                      <a:pt x="57" y="216"/>
                    </a:lnTo>
                    <a:lnTo>
                      <a:pt x="54" y="213"/>
                    </a:lnTo>
                    <a:lnTo>
                      <a:pt x="54" y="211"/>
                    </a:lnTo>
                    <a:lnTo>
                      <a:pt x="51" y="213"/>
                    </a:lnTo>
                    <a:lnTo>
                      <a:pt x="49" y="214"/>
                    </a:lnTo>
                    <a:lnTo>
                      <a:pt x="44" y="213"/>
                    </a:lnTo>
                    <a:lnTo>
                      <a:pt x="43" y="213"/>
                    </a:lnTo>
                    <a:lnTo>
                      <a:pt x="40" y="216"/>
                    </a:lnTo>
                    <a:lnTo>
                      <a:pt x="36" y="217"/>
                    </a:lnTo>
                    <a:lnTo>
                      <a:pt x="33" y="219"/>
                    </a:lnTo>
                    <a:lnTo>
                      <a:pt x="30" y="219"/>
                    </a:lnTo>
                    <a:lnTo>
                      <a:pt x="26" y="216"/>
                    </a:lnTo>
                    <a:lnTo>
                      <a:pt x="25" y="216"/>
                    </a:lnTo>
                    <a:lnTo>
                      <a:pt x="20" y="217"/>
                    </a:lnTo>
                    <a:lnTo>
                      <a:pt x="18" y="216"/>
                    </a:lnTo>
                    <a:lnTo>
                      <a:pt x="18" y="216"/>
                    </a:lnTo>
                    <a:lnTo>
                      <a:pt x="20" y="214"/>
                    </a:lnTo>
                    <a:lnTo>
                      <a:pt x="20" y="211"/>
                    </a:lnTo>
                    <a:lnTo>
                      <a:pt x="15" y="209"/>
                    </a:lnTo>
                    <a:lnTo>
                      <a:pt x="15" y="206"/>
                    </a:lnTo>
                    <a:lnTo>
                      <a:pt x="17" y="204"/>
                    </a:lnTo>
                    <a:lnTo>
                      <a:pt x="17" y="203"/>
                    </a:lnTo>
                    <a:lnTo>
                      <a:pt x="15" y="199"/>
                    </a:lnTo>
                    <a:lnTo>
                      <a:pt x="13" y="198"/>
                    </a:lnTo>
                    <a:lnTo>
                      <a:pt x="12" y="196"/>
                    </a:lnTo>
                    <a:lnTo>
                      <a:pt x="10" y="196"/>
                    </a:lnTo>
                    <a:lnTo>
                      <a:pt x="8" y="195"/>
                    </a:lnTo>
                    <a:lnTo>
                      <a:pt x="7" y="191"/>
                    </a:lnTo>
                    <a:lnTo>
                      <a:pt x="2" y="188"/>
                    </a:lnTo>
                    <a:lnTo>
                      <a:pt x="2" y="185"/>
                    </a:lnTo>
                    <a:lnTo>
                      <a:pt x="4" y="178"/>
                    </a:lnTo>
                    <a:lnTo>
                      <a:pt x="4" y="177"/>
                    </a:lnTo>
                    <a:lnTo>
                      <a:pt x="4" y="173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2" name="Freeform 265">
                <a:extLst>
                  <a:ext uri="{FF2B5EF4-FFF2-40B4-BE49-F238E27FC236}">
                    <a16:creationId xmlns:a16="http://schemas.microsoft.com/office/drawing/2014/main" xmlns="" id="{655B19E5-A527-486B-BEBF-F4C6B04C9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1" y="1807"/>
                <a:ext cx="119" cy="90"/>
              </a:xfrm>
              <a:custGeom>
                <a:avLst/>
                <a:gdLst>
                  <a:gd name="T0" fmla="*/ 1 w 119"/>
                  <a:gd name="T1" fmla="*/ 70 h 90"/>
                  <a:gd name="T2" fmla="*/ 0 w 119"/>
                  <a:gd name="T3" fmla="*/ 65 h 90"/>
                  <a:gd name="T4" fmla="*/ 3 w 119"/>
                  <a:gd name="T5" fmla="*/ 61 h 90"/>
                  <a:gd name="T6" fmla="*/ 5 w 119"/>
                  <a:gd name="T7" fmla="*/ 54 h 90"/>
                  <a:gd name="T8" fmla="*/ 13 w 119"/>
                  <a:gd name="T9" fmla="*/ 43 h 90"/>
                  <a:gd name="T10" fmla="*/ 16 w 119"/>
                  <a:gd name="T11" fmla="*/ 36 h 90"/>
                  <a:gd name="T12" fmla="*/ 23 w 119"/>
                  <a:gd name="T13" fmla="*/ 30 h 90"/>
                  <a:gd name="T14" fmla="*/ 28 w 119"/>
                  <a:gd name="T15" fmla="*/ 26 h 90"/>
                  <a:gd name="T16" fmla="*/ 37 w 119"/>
                  <a:gd name="T17" fmla="*/ 25 h 90"/>
                  <a:gd name="T18" fmla="*/ 47 w 119"/>
                  <a:gd name="T19" fmla="*/ 15 h 90"/>
                  <a:gd name="T20" fmla="*/ 63 w 119"/>
                  <a:gd name="T21" fmla="*/ 5 h 90"/>
                  <a:gd name="T22" fmla="*/ 77 w 119"/>
                  <a:gd name="T23" fmla="*/ 2 h 90"/>
                  <a:gd name="T24" fmla="*/ 85 w 119"/>
                  <a:gd name="T25" fmla="*/ 2 h 90"/>
                  <a:gd name="T26" fmla="*/ 88 w 119"/>
                  <a:gd name="T27" fmla="*/ 3 h 90"/>
                  <a:gd name="T28" fmla="*/ 88 w 119"/>
                  <a:gd name="T29" fmla="*/ 10 h 90"/>
                  <a:gd name="T30" fmla="*/ 85 w 119"/>
                  <a:gd name="T31" fmla="*/ 16 h 90"/>
                  <a:gd name="T32" fmla="*/ 101 w 119"/>
                  <a:gd name="T33" fmla="*/ 34 h 90"/>
                  <a:gd name="T34" fmla="*/ 112 w 119"/>
                  <a:gd name="T35" fmla="*/ 34 h 90"/>
                  <a:gd name="T36" fmla="*/ 116 w 119"/>
                  <a:gd name="T37" fmla="*/ 38 h 90"/>
                  <a:gd name="T38" fmla="*/ 116 w 119"/>
                  <a:gd name="T39" fmla="*/ 43 h 90"/>
                  <a:gd name="T40" fmla="*/ 117 w 119"/>
                  <a:gd name="T41" fmla="*/ 49 h 90"/>
                  <a:gd name="T42" fmla="*/ 119 w 119"/>
                  <a:gd name="T43" fmla="*/ 51 h 90"/>
                  <a:gd name="T44" fmla="*/ 112 w 119"/>
                  <a:gd name="T45" fmla="*/ 56 h 90"/>
                  <a:gd name="T46" fmla="*/ 106 w 119"/>
                  <a:gd name="T47" fmla="*/ 57 h 90"/>
                  <a:gd name="T48" fmla="*/ 103 w 119"/>
                  <a:gd name="T49" fmla="*/ 62 h 90"/>
                  <a:gd name="T50" fmla="*/ 101 w 119"/>
                  <a:gd name="T51" fmla="*/ 67 h 90"/>
                  <a:gd name="T52" fmla="*/ 96 w 119"/>
                  <a:gd name="T53" fmla="*/ 70 h 90"/>
                  <a:gd name="T54" fmla="*/ 80 w 119"/>
                  <a:gd name="T55" fmla="*/ 65 h 90"/>
                  <a:gd name="T56" fmla="*/ 78 w 119"/>
                  <a:gd name="T57" fmla="*/ 65 h 90"/>
                  <a:gd name="T58" fmla="*/ 70 w 119"/>
                  <a:gd name="T59" fmla="*/ 67 h 90"/>
                  <a:gd name="T60" fmla="*/ 57 w 119"/>
                  <a:gd name="T61" fmla="*/ 69 h 90"/>
                  <a:gd name="T62" fmla="*/ 44 w 119"/>
                  <a:gd name="T63" fmla="*/ 69 h 90"/>
                  <a:gd name="T64" fmla="*/ 37 w 119"/>
                  <a:gd name="T65" fmla="*/ 74 h 90"/>
                  <a:gd name="T66" fmla="*/ 41 w 119"/>
                  <a:gd name="T67" fmla="*/ 80 h 90"/>
                  <a:gd name="T68" fmla="*/ 42 w 119"/>
                  <a:gd name="T69" fmla="*/ 88 h 90"/>
                  <a:gd name="T70" fmla="*/ 36 w 119"/>
                  <a:gd name="T71" fmla="*/ 87 h 90"/>
                  <a:gd name="T72" fmla="*/ 31 w 119"/>
                  <a:gd name="T73" fmla="*/ 88 h 90"/>
                  <a:gd name="T74" fmla="*/ 23 w 119"/>
                  <a:gd name="T75" fmla="*/ 87 h 90"/>
                  <a:gd name="T76" fmla="*/ 18 w 119"/>
                  <a:gd name="T77" fmla="*/ 83 h 90"/>
                  <a:gd name="T78" fmla="*/ 13 w 119"/>
                  <a:gd name="T79" fmla="*/ 82 h 90"/>
                  <a:gd name="T80" fmla="*/ 5 w 119"/>
                  <a:gd name="T81" fmla="*/ 79 h 90"/>
                  <a:gd name="T82" fmla="*/ 0 w 119"/>
                  <a:gd name="T83" fmla="*/ 7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9" h="90">
                    <a:moveTo>
                      <a:pt x="0" y="75"/>
                    </a:moveTo>
                    <a:lnTo>
                      <a:pt x="1" y="70"/>
                    </a:lnTo>
                    <a:lnTo>
                      <a:pt x="0" y="69"/>
                    </a:lnTo>
                    <a:lnTo>
                      <a:pt x="0" y="65"/>
                    </a:lnTo>
                    <a:lnTo>
                      <a:pt x="3" y="64"/>
                    </a:lnTo>
                    <a:lnTo>
                      <a:pt x="3" y="61"/>
                    </a:lnTo>
                    <a:lnTo>
                      <a:pt x="1" y="57"/>
                    </a:lnTo>
                    <a:lnTo>
                      <a:pt x="5" y="54"/>
                    </a:lnTo>
                    <a:lnTo>
                      <a:pt x="8" y="51"/>
                    </a:lnTo>
                    <a:lnTo>
                      <a:pt x="13" y="43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9" y="30"/>
                    </a:lnTo>
                    <a:lnTo>
                      <a:pt x="23" y="30"/>
                    </a:lnTo>
                    <a:lnTo>
                      <a:pt x="23" y="26"/>
                    </a:lnTo>
                    <a:lnTo>
                      <a:pt x="28" y="26"/>
                    </a:lnTo>
                    <a:lnTo>
                      <a:pt x="29" y="26"/>
                    </a:lnTo>
                    <a:lnTo>
                      <a:pt x="37" y="25"/>
                    </a:lnTo>
                    <a:lnTo>
                      <a:pt x="39" y="21"/>
                    </a:lnTo>
                    <a:lnTo>
                      <a:pt x="47" y="15"/>
                    </a:lnTo>
                    <a:lnTo>
                      <a:pt x="60" y="8"/>
                    </a:lnTo>
                    <a:lnTo>
                      <a:pt x="63" y="5"/>
                    </a:lnTo>
                    <a:lnTo>
                      <a:pt x="68" y="2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88" y="2"/>
                    </a:lnTo>
                    <a:lnTo>
                      <a:pt x="88" y="3"/>
                    </a:lnTo>
                    <a:lnTo>
                      <a:pt x="88" y="5"/>
                    </a:lnTo>
                    <a:lnTo>
                      <a:pt x="88" y="10"/>
                    </a:lnTo>
                    <a:lnTo>
                      <a:pt x="85" y="13"/>
                    </a:lnTo>
                    <a:lnTo>
                      <a:pt x="85" y="16"/>
                    </a:lnTo>
                    <a:lnTo>
                      <a:pt x="101" y="28"/>
                    </a:lnTo>
                    <a:lnTo>
                      <a:pt x="101" y="34"/>
                    </a:lnTo>
                    <a:lnTo>
                      <a:pt x="106" y="38"/>
                    </a:lnTo>
                    <a:lnTo>
                      <a:pt x="112" y="34"/>
                    </a:lnTo>
                    <a:lnTo>
                      <a:pt x="114" y="36"/>
                    </a:lnTo>
                    <a:lnTo>
                      <a:pt x="116" y="38"/>
                    </a:lnTo>
                    <a:lnTo>
                      <a:pt x="116" y="39"/>
                    </a:lnTo>
                    <a:lnTo>
                      <a:pt x="116" y="43"/>
                    </a:lnTo>
                    <a:lnTo>
                      <a:pt x="114" y="44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119" y="51"/>
                    </a:lnTo>
                    <a:lnTo>
                      <a:pt x="116" y="56"/>
                    </a:lnTo>
                    <a:lnTo>
                      <a:pt x="112" y="56"/>
                    </a:lnTo>
                    <a:lnTo>
                      <a:pt x="108" y="59"/>
                    </a:lnTo>
                    <a:lnTo>
                      <a:pt x="106" y="57"/>
                    </a:lnTo>
                    <a:lnTo>
                      <a:pt x="103" y="59"/>
                    </a:lnTo>
                    <a:lnTo>
                      <a:pt x="103" y="62"/>
                    </a:lnTo>
                    <a:lnTo>
                      <a:pt x="101" y="64"/>
                    </a:lnTo>
                    <a:lnTo>
                      <a:pt x="101" y="67"/>
                    </a:lnTo>
                    <a:lnTo>
                      <a:pt x="98" y="69"/>
                    </a:lnTo>
                    <a:lnTo>
                      <a:pt x="96" y="70"/>
                    </a:lnTo>
                    <a:lnTo>
                      <a:pt x="80" y="65"/>
                    </a:lnTo>
                    <a:lnTo>
                      <a:pt x="80" y="65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5" y="67"/>
                    </a:lnTo>
                    <a:lnTo>
                      <a:pt x="70" y="67"/>
                    </a:lnTo>
                    <a:lnTo>
                      <a:pt x="65" y="69"/>
                    </a:lnTo>
                    <a:lnTo>
                      <a:pt x="57" y="69"/>
                    </a:lnTo>
                    <a:lnTo>
                      <a:pt x="55" y="69"/>
                    </a:lnTo>
                    <a:lnTo>
                      <a:pt x="44" y="69"/>
                    </a:lnTo>
                    <a:lnTo>
                      <a:pt x="37" y="69"/>
                    </a:lnTo>
                    <a:lnTo>
                      <a:pt x="37" y="74"/>
                    </a:lnTo>
                    <a:lnTo>
                      <a:pt x="39" y="79"/>
                    </a:lnTo>
                    <a:lnTo>
                      <a:pt x="41" y="80"/>
                    </a:lnTo>
                    <a:lnTo>
                      <a:pt x="42" y="83"/>
                    </a:lnTo>
                    <a:lnTo>
                      <a:pt x="42" y="88"/>
                    </a:lnTo>
                    <a:lnTo>
                      <a:pt x="39" y="88"/>
                    </a:lnTo>
                    <a:lnTo>
                      <a:pt x="36" y="87"/>
                    </a:lnTo>
                    <a:lnTo>
                      <a:pt x="34" y="87"/>
                    </a:lnTo>
                    <a:lnTo>
                      <a:pt x="31" y="88"/>
                    </a:lnTo>
                    <a:lnTo>
                      <a:pt x="28" y="90"/>
                    </a:lnTo>
                    <a:lnTo>
                      <a:pt x="23" y="87"/>
                    </a:lnTo>
                    <a:lnTo>
                      <a:pt x="21" y="85"/>
                    </a:lnTo>
                    <a:lnTo>
                      <a:pt x="18" y="83"/>
                    </a:lnTo>
                    <a:lnTo>
                      <a:pt x="14" y="83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5" y="79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3" name="Freeform 266">
                <a:extLst>
                  <a:ext uri="{FF2B5EF4-FFF2-40B4-BE49-F238E27FC236}">
                    <a16:creationId xmlns:a16="http://schemas.microsoft.com/office/drawing/2014/main" xmlns="" id="{296C303B-9129-4D7F-AB72-6C3AA2B78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8" y="1781"/>
                <a:ext cx="103" cy="77"/>
              </a:xfrm>
              <a:custGeom>
                <a:avLst/>
                <a:gdLst>
                  <a:gd name="T0" fmla="*/ 18 w 103"/>
                  <a:gd name="T1" fmla="*/ 8 h 77"/>
                  <a:gd name="T2" fmla="*/ 23 w 103"/>
                  <a:gd name="T3" fmla="*/ 5 h 77"/>
                  <a:gd name="T4" fmla="*/ 41 w 103"/>
                  <a:gd name="T5" fmla="*/ 0 h 77"/>
                  <a:gd name="T6" fmla="*/ 51 w 103"/>
                  <a:gd name="T7" fmla="*/ 3 h 77"/>
                  <a:gd name="T8" fmla="*/ 57 w 103"/>
                  <a:gd name="T9" fmla="*/ 8 h 77"/>
                  <a:gd name="T10" fmla="*/ 60 w 103"/>
                  <a:gd name="T11" fmla="*/ 11 h 77"/>
                  <a:gd name="T12" fmla="*/ 64 w 103"/>
                  <a:gd name="T13" fmla="*/ 11 h 77"/>
                  <a:gd name="T14" fmla="*/ 67 w 103"/>
                  <a:gd name="T15" fmla="*/ 11 h 77"/>
                  <a:gd name="T16" fmla="*/ 72 w 103"/>
                  <a:gd name="T17" fmla="*/ 18 h 77"/>
                  <a:gd name="T18" fmla="*/ 75 w 103"/>
                  <a:gd name="T19" fmla="*/ 23 h 77"/>
                  <a:gd name="T20" fmla="*/ 78 w 103"/>
                  <a:gd name="T21" fmla="*/ 28 h 77"/>
                  <a:gd name="T22" fmla="*/ 83 w 103"/>
                  <a:gd name="T23" fmla="*/ 33 h 77"/>
                  <a:gd name="T24" fmla="*/ 87 w 103"/>
                  <a:gd name="T25" fmla="*/ 38 h 77"/>
                  <a:gd name="T26" fmla="*/ 85 w 103"/>
                  <a:gd name="T27" fmla="*/ 46 h 77"/>
                  <a:gd name="T28" fmla="*/ 90 w 103"/>
                  <a:gd name="T29" fmla="*/ 52 h 77"/>
                  <a:gd name="T30" fmla="*/ 93 w 103"/>
                  <a:gd name="T31" fmla="*/ 57 h 77"/>
                  <a:gd name="T32" fmla="*/ 96 w 103"/>
                  <a:gd name="T33" fmla="*/ 59 h 77"/>
                  <a:gd name="T34" fmla="*/ 100 w 103"/>
                  <a:gd name="T35" fmla="*/ 64 h 77"/>
                  <a:gd name="T36" fmla="*/ 98 w 103"/>
                  <a:gd name="T37" fmla="*/ 67 h 77"/>
                  <a:gd name="T38" fmla="*/ 103 w 103"/>
                  <a:gd name="T39" fmla="*/ 72 h 77"/>
                  <a:gd name="T40" fmla="*/ 101 w 103"/>
                  <a:gd name="T41" fmla="*/ 77 h 77"/>
                  <a:gd name="T42" fmla="*/ 98 w 103"/>
                  <a:gd name="T43" fmla="*/ 74 h 77"/>
                  <a:gd name="T44" fmla="*/ 93 w 103"/>
                  <a:gd name="T45" fmla="*/ 72 h 77"/>
                  <a:gd name="T46" fmla="*/ 87 w 103"/>
                  <a:gd name="T47" fmla="*/ 72 h 77"/>
                  <a:gd name="T48" fmla="*/ 78 w 103"/>
                  <a:gd name="T49" fmla="*/ 70 h 77"/>
                  <a:gd name="T50" fmla="*/ 62 w 103"/>
                  <a:gd name="T51" fmla="*/ 67 h 77"/>
                  <a:gd name="T52" fmla="*/ 59 w 103"/>
                  <a:gd name="T53" fmla="*/ 67 h 77"/>
                  <a:gd name="T54" fmla="*/ 41 w 103"/>
                  <a:gd name="T55" fmla="*/ 65 h 77"/>
                  <a:gd name="T56" fmla="*/ 33 w 103"/>
                  <a:gd name="T57" fmla="*/ 72 h 77"/>
                  <a:gd name="T58" fmla="*/ 16 w 103"/>
                  <a:gd name="T59" fmla="*/ 74 h 77"/>
                  <a:gd name="T60" fmla="*/ 13 w 103"/>
                  <a:gd name="T61" fmla="*/ 70 h 77"/>
                  <a:gd name="T62" fmla="*/ 15 w 103"/>
                  <a:gd name="T63" fmla="*/ 69 h 77"/>
                  <a:gd name="T64" fmla="*/ 20 w 103"/>
                  <a:gd name="T65" fmla="*/ 67 h 77"/>
                  <a:gd name="T66" fmla="*/ 10 w 103"/>
                  <a:gd name="T67" fmla="*/ 67 h 77"/>
                  <a:gd name="T68" fmla="*/ 11 w 103"/>
                  <a:gd name="T69" fmla="*/ 65 h 77"/>
                  <a:gd name="T70" fmla="*/ 13 w 103"/>
                  <a:gd name="T71" fmla="*/ 59 h 77"/>
                  <a:gd name="T72" fmla="*/ 25 w 103"/>
                  <a:gd name="T73" fmla="*/ 56 h 77"/>
                  <a:gd name="T74" fmla="*/ 31 w 103"/>
                  <a:gd name="T75" fmla="*/ 54 h 77"/>
                  <a:gd name="T76" fmla="*/ 34 w 103"/>
                  <a:gd name="T77" fmla="*/ 54 h 77"/>
                  <a:gd name="T78" fmla="*/ 38 w 103"/>
                  <a:gd name="T79" fmla="*/ 52 h 77"/>
                  <a:gd name="T80" fmla="*/ 46 w 103"/>
                  <a:gd name="T81" fmla="*/ 54 h 77"/>
                  <a:gd name="T82" fmla="*/ 54 w 103"/>
                  <a:gd name="T83" fmla="*/ 57 h 77"/>
                  <a:gd name="T84" fmla="*/ 59 w 103"/>
                  <a:gd name="T85" fmla="*/ 56 h 77"/>
                  <a:gd name="T86" fmla="*/ 57 w 103"/>
                  <a:gd name="T87" fmla="*/ 54 h 77"/>
                  <a:gd name="T88" fmla="*/ 47 w 103"/>
                  <a:gd name="T89" fmla="*/ 49 h 77"/>
                  <a:gd name="T90" fmla="*/ 38 w 103"/>
                  <a:gd name="T91" fmla="*/ 46 h 77"/>
                  <a:gd name="T92" fmla="*/ 31 w 103"/>
                  <a:gd name="T93" fmla="*/ 47 h 77"/>
                  <a:gd name="T94" fmla="*/ 23 w 103"/>
                  <a:gd name="T95" fmla="*/ 52 h 77"/>
                  <a:gd name="T96" fmla="*/ 13 w 103"/>
                  <a:gd name="T97" fmla="*/ 52 h 77"/>
                  <a:gd name="T98" fmla="*/ 15 w 103"/>
                  <a:gd name="T99" fmla="*/ 51 h 77"/>
                  <a:gd name="T100" fmla="*/ 13 w 103"/>
                  <a:gd name="T101" fmla="*/ 47 h 77"/>
                  <a:gd name="T102" fmla="*/ 10 w 103"/>
                  <a:gd name="T103" fmla="*/ 44 h 77"/>
                  <a:gd name="T104" fmla="*/ 0 w 103"/>
                  <a:gd name="T105" fmla="*/ 33 h 77"/>
                  <a:gd name="T106" fmla="*/ 15 w 103"/>
                  <a:gd name="T107" fmla="*/ 1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3" h="77">
                    <a:moveTo>
                      <a:pt x="15" y="10"/>
                    </a:moveTo>
                    <a:lnTo>
                      <a:pt x="18" y="8"/>
                    </a:lnTo>
                    <a:lnTo>
                      <a:pt x="20" y="8"/>
                    </a:lnTo>
                    <a:lnTo>
                      <a:pt x="23" y="5"/>
                    </a:lnTo>
                    <a:lnTo>
                      <a:pt x="33" y="3"/>
                    </a:lnTo>
                    <a:lnTo>
                      <a:pt x="41" y="0"/>
                    </a:lnTo>
                    <a:lnTo>
                      <a:pt x="42" y="0"/>
                    </a:lnTo>
                    <a:lnTo>
                      <a:pt x="51" y="3"/>
                    </a:lnTo>
                    <a:lnTo>
                      <a:pt x="54" y="3"/>
                    </a:lnTo>
                    <a:lnTo>
                      <a:pt x="57" y="8"/>
                    </a:lnTo>
                    <a:lnTo>
                      <a:pt x="57" y="10"/>
                    </a:lnTo>
                    <a:lnTo>
                      <a:pt x="60" y="11"/>
                    </a:lnTo>
                    <a:lnTo>
                      <a:pt x="62" y="10"/>
                    </a:lnTo>
                    <a:lnTo>
                      <a:pt x="64" y="11"/>
                    </a:lnTo>
                    <a:lnTo>
                      <a:pt x="67" y="10"/>
                    </a:lnTo>
                    <a:lnTo>
                      <a:pt x="67" y="11"/>
                    </a:lnTo>
                    <a:lnTo>
                      <a:pt x="69" y="16"/>
                    </a:lnTo>
                    <a:lnTo>
                      <a:pt x="72" y="18"/>
                    </a:lnTo>
                    <a:lnTo>
                      <a:pt x="72" y="23"/>
                    </a:lnTo>
                    <a:lnTo>
                      <a:pt x="75" y="23"/>
                    </a:lnTo>
                    <a:lnTo>
                      <a:pt x="75" y="26"/>
                    </a:lnTo>
                    <a:lnTo>
                      <a:pt x="78" y="28"/>
                    </a:lnTo>
                    <a:lnTo>
                      <a:pt x="83" y="29"/>
                    </a:lnTo>
                    <a:lnTo>
                      <a:pt x="83" y="33"/>
                    </a:lnTo>
                    <a:lnTo>
                      <a:pt x="87" y="34"/>
                    </a:lnTo>
                    <a:lnTo>
                      <a:pt x="87" y="38"/>
                    </a:lnTo>
                    <a:lnTo>
                      <a:pt x="87" y="39"/>
                    </a:lnTo>
                    <a:lnTo>
                      <a:pt x="85" y="46"/>
                    </a:lnTo>
                    <a:lnTo>
                      <a:pt x="85" y="49"/>
                    </a:lnTo>
                    <a:lnTo>
                      <a:pt x="90" y="52"/>
                    </a:lnTo>
                    <a:lnTo>
                      <a:pt x="91" y="56"/>
                    </a:lnTo>
                    <a:lnTo>
                      <a:pt x="93" y="57"/>
                    </a:lnTo>
                    <a:lnTo>
                      <a:pt x="95" y="57"/>
                    </a:lnTo>
                    <a:lnTo>
                      <a:pt x="96" y="59"/>
                    </a:lnTo>
                    <a:lnTo>
                      <a:pt x="98" y="60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8" y="67"/>
                    </a:lnTo>
                    <a:lnTo>
                      <a:pt x="98" y="70"/>
                    </a:lnTo>
                    <a:lnTo>
                      <a:pt x="103" y="72"/>
                    </a:lnTo>
                    <a:lnTo>
                      <a:pt x="103" y="75"/>
                    </a:lnTo>
                    <a:lnTo>
                      <a:pt x="101" y="77"/>
                    </a:lnTo>
                    <a:lnTo>
                      <a:pt x="101" y="75"/>
                    </a:lnTo>
                    <a:lnTo>
                      <a:pt x="98" y="74"/>
                    </a:lnTo>
                    <a:lnTo>
                      <a:pt x="96" y="72"/>
                    </a:lnTo>
                    <a:lnTo>
                      <a:pt x="93" y="72"/>
                    </a:lnTo>
                    <a:lnTo>
                      <a:pt x="91" y="74"/>
                    </a:lnTo>
                    <a:lnTo>
                      <a:pt x="87" y="72"/>
                    </a:lnTo>
                    <a:lnTo>
                      <a:pt x="82" y="72"/>
                    </a:lnTo>
                    <a:lnTo>
                      <a:pt x="78" y="70"/>
                    </a:lnTo>
                    <a:lnTo>
                      <a:pt x="72" y="67"/>
                    </a:lnTo>
                    <a:lnTo>
                      <a:pt x="62" y="67"/>
                    </a:lnTo>
                    <a:lnTo>
                      <a:pt x="59" y="67"/>
                    </a:lnTo>
                    <a:lnTo>
                      <a:pt x="59" y="67"/>
                    </a:lnTo>
                    <a:lnTo>
                      <a:pt x="56" y="67"/>
                    </a:lnTo>
                    <a:lnTo>
                      <a:pt x="41" y="65"/>
                    </a:lnTo>
                    <a:lnTo>
                      <a:pt x="34" y="69"/>
                    </a:lnTo>
                    <a:lnTo>
                      <a:pt x="33" y="72"/>
                    </a:lnTo>
                    <a:lnTo>
                      <a:pt x="21" y="72"/>
                    </a:lnTo>
                    <a:lnTo>
                      <a:pt x="16" y="74"/>
                    </a:lnTo>
                    <a:lnTo>
                      <a:pt x="13" y="74"/>
                    </a:lnTo>
                    <a:lnTo>
                      <a:pt x="13" y="70"/>
                    </a:lnTo>
                    <a:lnTo>
                      <a:pt x="11" y="69"/>
                    </a:lnTo>
                    <a:lnTo>
                      <a:pt x="15" y="69"/>
                    </a:lnTo>
                    <a:lnTo>
                      <a:pt x="16" y="70"/>
                    </a:lnTo>
                    <a:lnTo>
                      <a:pt x="20" y="67"/>
                    </a:lnTo>
                    <a:lnTo>
                      <a:pt x="13" y="65"/>
                    </a:lnTo>
                    <a:lnTo>
                      <a:pt x="10" y="67"/>
                    </a:lnTo>
                    <a:lnTo>
                      <a:pt x="10" y="67"/>
                    </a:lnTo>
                    <a:lnTo>
                      <a:pt x="11" y="65"/>
                    </a:lnTo>
                    <a:lnTo>
                      <a:pt x="11" y="60"/>
                    </a:lnTo>
                    <a:lnTo>
                      <a:pt x="13" y="59"/>
                    </a:lnTo>
                    <a:lnTo>
                      <a:pt x="23" y="59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1" y="54"/>
                    </a:lnTo>
                    <a:lnTo>
                      <a:pt x="33" y="54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42" y="54"/>
                    </a:lnTo>
                    <a:lnTo>
                      <a:pt x="46" y="54"/>
                    </a:lnTo>
                    <a:lnTo>
                      <a:pt x="49" y="56"/>
                    </a:lnTo>
                    <a:lnTo>
                      <a:pt x="54" y="57"/>
                    </a:lnTo>
                    <a:lnTo>
                      <a:pt x="59" y="59"/>
                    </a:lnTo>
                    <a:lnTo>
                      <a:pt x="59" y="56"/>
                    </a:lnTo>
                    <a:lnTo>
                      <a:pt x="57" y="54"/>
                    </a:lnTo>
                    <a:lnTo>
                      <a:pt x="57" y="54"/>
                    </a:lnTo>
                    <a:lnTo>
                      <a:pt x="49" y="49"/>
                    </a:lnTo>
                    <a:lnTo>
                      <a:pt x="47" y="49"/>
                    </a:lnTo>
                    <a:lnTo>
                      <a:pt x="42" y="47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1" y="47"/>
                    </a:lnTo>
                    <a:lnTo>
                      <a:pt x="25" y="52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3" y="52"/>
                    </a:lnTo>
                    <a:lnTo>
                      <a:pt x="13" y="52"/>
                    </a:lnTo>
                    <a:lnTo>
                      <a:pt x="15" y="51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3" y="44"/>
                    </a:lnTo>
                    <a:lnTo>
                      <a:pt x="10" y="44"/>
                    </a:lnTo>
                    <a:lnTo>
                      <a:pt x="7" y="38"/>
                    </a:lnTo>
                    <a:lnTo>
                      <a:pt x="0" y="33"/>
                    </a:lnTo>
                    <a:lnTo>
                      <a:pt x="10" y="23"/>
                    </a:lnTo>
                    <a:lnTo>
                      <a:pt x="15" y="16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4" name="Freeform 267">
                <a:extLst>
                  <a:ext uri="{FF2B5EF4-FFF2-40B4-BE49-F238E27FC236}">
                    <a16:creationId xmlns:a16="http://schemas.microsoft.com/office/drawing/2014/main" xmlns="" id="{35B1C984-50C4-4B3F-BF6C-471E53AD6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8" y="1827"/>
                <a:ext cx="49" cy="14"/>
              </a:xfrm>
              <a:custGeom>
                <a:avLst/>
                <a:gdLst>
                  <a:gd name="T0" fmla="*/ 1 w 49"/>
                  <a:gd name="T1" fmla="*/ 14 h 14"/>
                  <a:gd name="T2" fmla="*/ 3 w 49"/>
                  <a:gd name="T3" fmla="*/ 13 h 14"/>
                  <a:gd name="T4" fmla="*/ 13 w 49"/>
                  <a:gd name="T5" fmla="*/ 13 h 14"/>
                  <a:gd name="T6" fmla="*/ 15 w 49"/>
                  <a:gd name="T7" fmla="*/ 10 h 14"/>
                  <a:gd name="T8" fmla="*/ 18 w 49"/>
                  <a:gd name="T9" fmla="*/ 10 h 14"/>
                  <a:gd name="T10" fmla="*/ 21 w 49"/>
                  <a:gd name="T11" fmla="*/ 8 h 14"/>
                  <a:gd name="T12" fmla="*/ 23 w 49"/>
                  <a:gd name="T13" fmla="*/ 8 h 14"/>
                  <a:gd name="T14" fmla="*/ 24 w 49"/>
                  <a:gd name="T15" fmla="*/ 8 h 14"/>
                  <a:gd name="T16" fmla="*/ 26 w 49"/>
                  <a:gd name="T17" fmla="*/ 6 h 14"/>
                  <a:gd name="T18" fmla="*/ 28 w 49"/>
                  <a:gd name="T19" fmla="*/ 6 h 14"/>
                  <a:gd name="T20" fmla="*/ 32 w 49"/>
                  <a:gd name="T21" fmla="*/ 8 h 14"/>
                  <a:gd name="T22" fmla="*/ 36 w 49"/>
                  <a:gd name="T23" fmla="*/ 8 h 14"/>
                  <a:gd name="T24" fmla="*/ 39 w 49"/>
                  <a:gd name="T25" fmla="*/ 10 h 14"/>
                  <a:gd name="T26" fmla="*/ 44 w 49"/>
                  <a:gd name="T27" fmla="*/ 11 h 14"/>
                  <a:gd name="T28" fmla="*/ 49 w 49"/>
                  <a:gd name="T29" fmla="*/ 13 h 14"/>
                  <a:gd name="T30" fmla="*/ 49 w 49"/>
                  <a:gd name="T31" fmla="*/ 10 h 14"/>
                  <a:gd name="T32" fmla="*/ 47 w 49"/>
                  <a:gd name="T33" fmla="*/ 8 h 14"/>
                  <a:gd name="T34" fmla="*/ 47 w 49"/>
                  <a:gd name="T35" fmla="*/ 8 h 14"/>
                  <a:gd name="T36" fmla="*/ 39 w 49"/>
                  <a:gd name="T37" fmla="*/ 3 h 14"/>
                  <a:gd name="T38" fmla="*/ 37 w 49"/>
                  <a:gd name="T39" fmla="*/ 3 h 14"/>
                  <a:gd name="T40" fmla="*/ 32 w 49"/>
                  <a:gd name="T41" fmla="*/ 1 h 14"/>
                  <a:gd name="T42" fmla="*/ 28 w 49"/>
                  <a:gd name="T43" fmla="*/ 0 h 14"/>
                  <a:gd name="T44" fmla="*/ 24 w 49"/>
                  <a:gd name="T45" fmla="*/ 0 h 14"/>
                  <a:gd name="T46" fmla="*/ 21 w 49"/>
                  <a:gd name="T47" fmla="*/ 1 h 14"/>
                  <a:gd name="T48" fmla="*/ 15 w 49"/>
                  <a:gd name="T49" fmla="*/ 6 h 14"/>
                  <a:gd name="T50" fmla="*/ 13 w 49"/>
                  <a:gd name="T51" fmla="*/ 6 h 14"/>
                  <a:gd name="T52" fmla="*/ 11 w 49"/>
                  <a:gd name="T53" fmla="*/ 6 h 14"/>
                  <a:gd name="T54" fmla="*/ 3 w 49"/>
                  <a:gd name="T55" fmla="*/ 6 h 14"/>
                  <a:gd name="T56" fmla="*/ 5 w 49"/>
                  <a:gd name="T57" fmla="*/ 10 h 14"/>
                  <a:gd name="T58" fmla="*/ 8 w 49"/>
                  <a:gd name="T59" fmla="*/ 11 h 14"/>
                  <a:gd name="T60" fmla="*/ 11 w 49"/>
                  <a:gd name="T61" fmla="*/ 11 h 14"/>
                  <a:gd name="T62" fmla="*/ 10 w 49"/>
                  <a:gd name="T63" fmla="*/ 13 h 14"/>
                  <a:gd name="T64" fmla="*/ 5 w 49"/>
                  <a:gd name="T65" fmla="*/ 13 h 14"/>
                  <a:gd name="T66" fmla="*/ 1 w 49"/>
                  <a:gd name="T67" fmla="*/ 8 h 14"/>
                  <a:gd name="T68" fmla="*/ 0 w 49"/>
                  <a:gd name="T69" fmla="*/ 11 h 14"/>
                  <a:gd name="T70" fmla="*/ 1 w 49"/>
                  <a:gd name="T71" fmla="*/ 14 h 14"/>
                  <a:gd name="T72" fmla="*/ 1 w 49"/>
                  <a:gd name="T7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14">
                    <a:moveTo>
                      <a:pt x="1" y="14"/>
                    </a:moveTo>
                    <a:lnTo>
                      <a:pt x="3" y="13"/>
                    </a:lnTo>
                    <a:lnTo>
                      <a:pt x="13" y="13"/>
                    </a:lnTo>
                    <a:lnTo>
                      <a:pt x="15" y="10"/>
                    </a:lnTo>
                    <a:lnTo>
                      <a:pt x="18" y="10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4" y="8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39" y="10"/>
                    </a:lnTo>
                    <a:lnTo>
                      <a:pt x="44" y="11"/>
                    </a:lnTo>
                    <a:lnTo>
                      <a:pt x="49" y="13"/>
                    </a:lnTo>
                    <a:lnTo>
                      <a:pt x="49" y="10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39" y="3"/>
                    </a:lnTo>
                    <a:lnTo>
                      <a:pt x="37" y="3"/>
                    </a:lnTo>
                    <a:lnTo>
                      <a:pt x="32" y="1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5" y="6"/>
                    </a:lnTo>
                    <a:lnTo>
                      <a:pt x="13" y="6"/>
                    </a:lnTo>
                    <a:lnTo>
                      <a:pt x="11" y="6"/>
                    </a:lnTo>
                    <a:lnTo>
                      <a:pt x="3" y="6"/>
                    </a:lnTo>
                    <a:lnTo>
                      <a:pt x="5" y="10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0" y="13"/>
                    </a:lnTo>
                    <a:lnTo>
                      <a:pt x="5" y="13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4"/>
                    </a:lnTo>
                    <a:lnTo>
                      <a:pt x="1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5" name="Freeform 268">
                <a:extLst>
                  <a:ext uri="{FF2B5EF4-FFF2-40B4-BE49-F238E27FC236}">
                    <a16:creationId xmlns:a16="http://schemas.microsoft.com/office/drawing/2014/main" xmlns="" id="{B6589573-6F4A-469A-84B3-4D85D1F91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1846"/>
                <a:ext cx="47" cy="31"/>
              </a:xfrm>
              <a:custGeom>
                <a:avLst/>
                <a:gdLst>
                  <a:gd name="T0" fmla="*/ 0 w 47"/>
                  <a:gd name="T1" fmla="*/ 9 h 31"/>
                  <a:gd name="T2" fmla="*/ 3 w 47"/>
                  <a:gd name="T3" fmla="*/ 9 h 31"/>
                  <a:gd name="T4" fmla="*/ 8 w 47"/>
                  <a:gd name="T5" fmla="*/ 7 h 31"/>
                  <a:gd name="T6" fmla="*/ 20 w 47"/>
                  <a:gd name="T7" fmla="*/ 7 h 31"/>
                  <a:gd name="T8" fmla="*/ 21 w 47"/>
                  <a:gd name="T9" fmla="*/ 4 h 31"/>
                  <a:gd name="T10" fmla="*/ 28 w 47"/>
                  <a:gd name="T11" fmla="*/ 0 h 31"/>
                  <a:gd name="T12" fmla="*/ 43 w 47"/>
                  <a:gd name="T13" fmla="*/ 2 h 31"/>
                  <a:gd name="T14" fmla="*/ 46 w 47"/>
                  <a:gd name="T15" fmla="*/ 2 h 31"/>
                  <a:gd name="T16" fmla="*/ 46 w 47"/>
                  <a:gd name="T17" fmla="*/ 7 h 31"/>
                  <a:gd name="T18" fmla="*/ 46 w 47"/>
                  <a:gd name="T19" fmla="*/ 10 h 31"/>
                  <a:gd name="T20" fmla="*/ 46 w 47"/>
                  <a:gd name="T21" fmla="*/ 15 h 31"/>
                  <a:gd name="T22" fmla="*/ 47 w 47"/>
                  <a:gd name="T23" fmla="*/ 17 h 31"/>
                  <a:gd name="T24" fmla="*/ 47 w 47"/>
                  <a:gd name="T25" fmla="*/ 20 h 31"/>
                  <a:gd name="T26" fmla="*/ 44 w 47"/>
                  <a:gd name="T27" fmla="*/ 22 h 31"/>
                  <a:gd name="T28" fmla="*/ 39 w 47"/>
                  <a:gd name="T29" fmla="*/ 23 h 31"/>
                  <a:gd name="T30" fmla="*/ 34 w 47"/>
                  <a:gd name="T31" fmla="*/ 25 h 31"/>
                  <a:gd name="T32" fmla="*/ 33 w 47"/>
                  <a:gd name="T33" fmla="*/ 26 h 31"/>
                  <a:gd name="T34" fmla="*/ 29 w 47"/>
                  <a:gd name="T35" fmla="*/ 30 h 31"/>
                  <a:gd name="T36" fmla="*/ 26 w 47"/>
                  <a:gd name="T37" fmla="*/ 31 h 31"/>
                  <a:gd name="T38" fmla="*/ 26 w 47"/>
                  <a:gd name="T39" fmla="*/ 30 h 31"/>
                  <a:gd name="T40" fmla="*/ 26 w 47"/>
                  <a:gd name="T41" fmla="*/ 28 h 31"/>
                  <a:gd name="T42" fmla="*/ 20 w 47"/>
                  <a:gd name="T43" fmla="*/ 28 h 31"/>
                  <a:gd name="T44" fmla="*/ 23 w 47"/>
                  <a:gd name="T45" fmla="*/ 25 h 31"/>
                  <a:gd name="T46" fmla="*/ 21 w 47"/>
                  <a:gd name="T47" fmla="*/ 25 h 31"/>
                  <a:gd name="T48" fmla="*/ 21 w 47"/>
                  <a:gd name="T49" fmla="*/ 23 h 31"/>
                  <a:gd name="T50" fmla="*/ 21 w 47"/>
                  <a:gd name="T51" fmla="*/ 22 h 31"/>
                  <a:gd name="T52" fmla="*/ 18 w 47"/>
                  <a:gd name="T53" fmla="*/ 22 h 31"/>
                  <a:gd name="T54" fmla="*/ 16 w 47"/>
                  <a:gd name="T55" fmla="*/ 20 h 31"/>
                  <a:gd name="T56" fmla="*/ 25 w 47"/>
                  <a:gd name="T57" fmla="*/ 20 h 31"/>
                  <a:gd name="T58" fmla="*/ 26 w 47"/>
                  <a:gd name="T59" fmla="*/ 18 h 31"/>
                  <a:gd name="T60" fmla="*/ 21 w 47"/>
                  <a:gd name="T61" fmla="*/ 17 h 31"/>
                  <a:gd name="T62" fmla="*/ 18 w 47"/>
                  <a:gd name="T63" fmla="*/ 17 h 31"/>
                  <a:gd name="T64" fmla="*/ 13 w 47"/>
                  <a:gd name="T65" fmla="*/ 18 h 31"/>
                  <a:gd name="T66" fmla="*/ 12 w 47"/>
                  <a:gd name="T67" fmla="*/ 18 h 31"/>
                  <a:gd name="T68" fmla="*/ 12 w 47"/>
                  <a:gd name="T69" fmla="*/ 17 h 31"/>
                  <a:gd name="T70" fmla="*/ 8 w 47"/>
                  <a:gd name="T71" fmla="*/ 17 h 31"/>
                  <a:gd name="T72" fmla="*/ 5 w 47"/>
                  <a:gd name="T73" fmla="*/ 13 h 31"/>
                  <a:gd name="T74" fmla="*/ 8 w 47"/>
                  <a:gd name="T75" fmla="*/ 10 h 31"/>
                  <a:gd name="T76" fmla="*/ 7 w 47"/>
                  <a:gd name="T77" fmla="*/ 10 h 31"/>
                  <a:gd name="T78" fmla="*/ 0 w 47"/>
                  <a:gd name="T79" fmla="*/ 10 h 31"/>
                  <a:gd name="T80" fmla="*/ 0 w 47"/>
                  <a:gd name="T81" fmla="*/ 9 h 31"/>
                  <a:gd name="T82" fmla="*/ 0 w 47"/>
                  <a:gd name="T83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7" h="31">
                    <a:moveTo>
                      <a:pt x="0" y="9"/>
                    </a:moveTo>
                    <a:lnTo>
                      <a:pt x="3" y="9"/>
                    </a:lnTo>
                    <a:lnTo>
                      <a:pt x="8" y="7"/>
                    </a:lnTo>
                    <a:lnTo>
                      <a:pt x="20" y="7"/>
                    </a:lnTo>
                    <a:lnTo>
                      <a:pt x="21" y="4"/>
                    </a:lnTo>
                    <a:lnTo>
                      <a:pt x="28" y="0"/>
                    </a:lnTo>
                    <a:lnTo>
                      <a:pt x="43" y="2"/>
                    </a:lnTo>
                    <a:lnTo>
                      <a:pt x="46" y="2"/>
                    </a:lnTo>
                    <a:lnTo>
                      <a:pt x="46" y="7"/>
                    </a:lnTo>
                    <a:lnTo>
                      <a:pt x="46" y="10"/>
                    </a:lnTo>
                    <a:lnTo>
                      <a:pt x="46" y="15"/>
                    </a:lnTo>
                    <a:lnTo>
                      <a:pt x="47" y="17"/>
                    </a:lnTo>
                    <a:lnTo>
                      <a:pt x="47" y="20"/>
                    </a:lnTo>
                    <a:lnTo>
                      <a:pt x="44" y="22"/>
                    </a:lnTo>
                    <a:lnTo>
                      <a:pt x="39" y="23"/>
                    </a:lnTo>
                    <a:lnTo>
                      <a:pt x="34" y="25"/>
                    </a:lnTo>
                    <a:lnTo>
                      <a:pt x="33" y="26"/>
                    </a:lnTo>
                    <a:lnTo>
                      <a:pt x="29" y="30"/>
                    </a:lnTo>
                    <a:lnTo>
                      <a:pt x="26" y="31"/>
                    </a:lnTo>
                    <a:lnTo>
                      <a:pt x="26" y="30"/>
                    </a:lnTo>
                    <a:lnTo>
                      <a:pt x="26" y="28"/>
                    </a:lnTo>
                    <a:lnTo>
                      <a:pt x="20" y="28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21" y="22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25" y="20"/>
                    </a:lnTo>
                    <a:lnTo>
                      <a:pt x="26" y="18"/>
                    </a:lnTo>
                    <a:lnTo>
                      <a:pt x="21" y="17"/>
                    </a:lnTo>
                    <a:lnTo>
                      <a:pt x="18" y="17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2" y="17"/>
                    </a:lnTo>
                    <a:lnTo>
                      <a:pt x="8" y="17"/>
                    </a:lnTo>
                    <a:lnTo>
                      <a:pt x="5" y="13"/>
                    </a:lnTo>
                    <a:lnTo>
                      <a:pt x="8" y="10"/>
                    </a:lnTo>
                    <a:lnTo>
                      <a:pt x="7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6" name="Freeform 269">
                <a:extLst>
                  <a:ext uri="{FF2B5EF4-FFF2-40B4-BE49-F238E27FC236}">
                    <a16:creationId xmlns:a16="http://schemas.microsoft.com/office/drawing/2014/main" xmlns="" id="{FFC529F7-4503-4706-843B-C475F03E1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" y="1848"/>
                <a:ext cx="113" cy="113"/>
              </a:xfrm>
              <a:custGeom>
                <a:avLst/>
                <a:gdLst>
                  <a:gd name="T0" fmla="*/ 4 w 113"/>
                  <a:gd name="T1" fmla="*/ 24 h 113"/>
                  <a:gd name="T2" fmla="*/ 10 w 113"/>
                  <a:gd name="T3" fmla="*/ 21 h 113"/>
                  <a:gd name="T4" fmla="*/ 18 w 113"/>
                  <a:gd name="T5" fmla="*/ 18 h 113"/>
                  <a:gd name="T6" fmla="*/ 17 w 113"/>
                  <a:gd name="T7" fmla="*/ 13 h 113"/>
                  <a:gd name="T8" fmla="*/ 17 w 113"/>
                  <a:gd name="T9" fmla="*/ 5 h 113"/>
                  <a:gd name="T10" fmla="*/ 20 w 113"/>
                  <a:gd name="T11" fmla="*/ 0 h 113"/>
                  <a:gd name="T12" fmla="*/ 36 w 113"/>
                  <a:gd name="T13" fmla="*/ 3 h 113"/>
                  <a:gd name="T14" fmla="*/ 45 w 113"/>
                  <a:gd name="T15" fmla="*/ 5 h 113"/>
                  <a:gd name="T16" fmla="*/ 51 w 113"/>
                  <a:gd name="T17" fmla="*/ 5 h 113"/>
                  <a:gd name="T18" fmla="*/ 56 w 113"/>
                  <a:gd name="T19" fmla="*/ 7 h 113"/>
                  <a:gd name="T20" fmla="*/ 59 w 113"/>
                  <a:gd name="T21" fmla="*/ 10 h 113"/>
                  <a:gd name="T22" fmla="*/ 66 w 113"/>
                  <a:gd name="T23" fmla="*/ 10 h 113"/>
                  <a:gd name="T24" fmla="*/ 71 w 113"/>
                  <a:gd name="T25" fmla="*/ 13 h 113"/>
                  <a:gd name="T26" fmla="*/ 77 w 113"/>
                  <a:gd name="T27" fmla="*/ 11 h 113"/>
                  <a:gd name="T28" fmla="*/ 84 w 113"/>
                  <a:gd name="T29" fmla="*/ 7 h 113"/>
                  <a:gd name="T30" fmla="*/ 90 w 113"/>
                  <a:gd name="T31" fmla="*/ 8 h 113"/>
                  <a:gd name="T32" fmla="*/ 95 w 113"/>
                  <a:gd name="T33" fmla="*/ 5 h 113"/>
                  <a:gd name="T34" fmla="*/ 98 w 113"/>
                  <a:gd name="T35" fmla="*/ 10 h 113"/>
                  <a:gd name="T36" fmla="*/ 98 w 113"/>
                  <a:gd name="T37" fmla="*/ 18 h 113"/>
                  <a:gd name="T38" fmla="*/ 105 w 113"/>
                  <a:gd name="T39" fmla="*/ 20 h 113"/>
                  <a:gd name="T40" fmla="*/ 102 w 113"/>
                  <a:gd name="T41" fmla="*/ 26 h 113"/>
                  <a:gd name="T42" fmla="*/ 103 w 113"/>
                  <a:gd name="T43" fmla="*/ 29 h 113"/>
                  <a:gd name="T44" fmla="*/ 107 w 113"/>
                  <a:gd name="T45" fmla="*/ 28 h 113"/>
                  <a:gd name="T46" fmla="*/ 108 w 113"/>
                  <a:gd name="T47" fmla="*/ 33 h 113"/>
                  <a:gd name="T48" fmla="*/ 112 w 113"/>
                  <a:gd name="T49" fmla="*/ 34 h 113"/>
                  <a:gd name="T50" fmla="*/ 113 w 113"/>
                  <a:gd name="T51" fmla="*/ 39 h 113"/>
                  <a:gd name="T52" fmla="*/ 107 w 113"/>
                  <a:gd name="T53" fmla="*/ 42 h 113"/>
                  <a:gd name="T54" fmla="*/ 107 w 113"/>
                  <a:gd name="T55" fmla="*/ 46 h 113"/>
                  <a:gd name="T56" fmla="*/ 107 w 113"/>
                  <a:gd name="T57" fmla="*/ 56 h 113"/>
                  <a:gd name="T58" fmla="*/ 110 w 113"/>
                  <a:gd name="T59" fmla="*/ 62 h 113"/>
                  <a:gd name="T60" fmla="*/ 112 w 113"/>
                  <a:gd name="T61" fmla="*/ 69 h 113"/>
                  <a:gd name="T62" fmla="*/ 107 w 113"/>
                  <a:gd name="T63" fmla="*/ 69 h 113"/>
                  <a:gd name="T64" fmla="*/ 110 w 113"/>
                  <a:gd name="T65" fmla="*/ 75 h 113"/>
                  <a:gd name="T66" fmla="*/ 110 w 113"/>
                  <a:gd name="T67" fmla="*/ 80 h 113"/>
                  <a:gd name="T68" fmla="*/ 103 w 113"/>
                  <a:gd name="T69" fmla="*/ 90 h 113"/>
                  <a:gd name="T70" fmla="*/ 103 w 113"/>
                  <a:gd name="T71" fmla="*/ 95 h 113"/>
                  <a:gd name="T72" fmla="*/ 98 w 113"/>
                  <a:gd name="T73" fmla="*/ 103 h 113"/>
                  <a:gd name="T74" fmla="*/ 74 w 113"/>
                  <a:gd name="T75" fmla="*/ 113 h 113"/>
                  <a:gd name="T76" fmla="*/ 66 w 113"/>
                  <a:gd name="T77" fmla="*/ 109 h 113"/>
                  <a:gd name="T78" fmla="*/ 59 w 113"/>
                  <a:gd name="T79" fmla="*/ 101 h 113"/>
                  <a:gd name="T80" fmla="*/ 61 w 113"/>
                  <a:gd name="T81" fmla="*/ 100 h 113"/>
                  <a:gd name="T82" fmla="*/ 67 w 113"/>
                  <a:gd name="T83" fmla="*/ 74 h 113"/>
                  <a:gd name="T84" fmla="*/ 67 w 113"/>
                  <a:gd name="T85" fmla="*/ 70 h 113"/>
                  <a:gd name="T86" fmla="*/ 69 w 113"/>
                  <a:gd name="T87" fmla="*/ 65 h 113"/>
                  <a:gd name="T88" fmla="*/ 66 w 113"/>
                  <a:gd name="T89" fmla="*/ 60 h 113"/>
                  <a:gd name="T90" fmla="*/ 63 w 113"/>
                  <a:gd name="T91" fmla="*/ 51 h 113"/>
                  <a:gd name="T92" fmla="*/ 59 w 113"/>
                  <a:gd name="T93" fmla="*/ 44 h 113"/>
                  <a:gd name="T94" fmla="*/ 41 w 113"/>
                  <a:gd name="T95" fmla="*/ 46 h 113"/>
                  <a:gd name="T96" fmla="*/ 35 w 113"/>
                  <a:gd name="T97" fmla="*/ 52 h 113"/>
                  <a:gd name="T98" fmla="*/ 30 w 113"/>
                  <a:gd name="T99" fmla="*/ 57 h 113"/>
                  <a:gd name="T100" fmla="*/ 25 w 113"/>
                  <a:gd name="T101" fmla="*/ 56 h 113"/>
                  <a:gd name="T102" fmla="*/ 20 w 113"/>
                  <a:gd name="T103" fmla="*/ 47 h 113"/>
                  <a:gd name="T104" fmla="*/ 15 w 113"/>
                  <a:gd name="T105" fmla="*/ 46 h 113"/>
                  <a:gd name="T106" fmla="*/ 17 w 113"/>
                  <a:gd name="T107" fmla="*/ 42 h 113"/>
                  <a:gd name="T108" fmla="*/ 12 w 113"/>
                  <a:gd name="T109" fmla="*/ 42 h 113"/>
                  <a:gd name="T110" fmla="*/ 5 w 113"/>
                  <a:gd name="T111" fmla="*/ 42 h 113"/>
                  <a:gd name="T112" fmla="*/ 4 w 113"/>
                  <a:gd name="T113" fmla="*/ 31 h 113"/>
                  <a:gd name="T114" fmla="*/ 0 w 113"/>
                  <a:gd name="T115" fmla="*/ 2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3" h="113">
                    <a:moveTo>
                      <a:pt x="0" y="28"/>
                    </a:moveTo>
                    <a:lnTo>
                      <a:pt x="4" y="24"/>
                    </a:lnTo>
                    <a:lnTo>
                      <a:pt x="5" y="23"/>
                    </a:lnTo>
                    <a:lnTo>
                      <a:pt x="10" y="21"/>
                    </a:lnTo>
                    <a:lnTo>
                      <a:pt x="15" y="20"/>
                    </a:lnTo>
                    <a:lnTo>
                      <a:pt x="18" y="18"/>
                    </a:lnTo>
                    <a:lnTo>
                      <a:pt x="18" y="15"/>
                    </a:lnTo>
                    <a:lnTo>
                      <a:pt x="17" y="13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6" y="3"/>
                    </a:lnTo>
                    <a:lnTo>
                      <a:pt x="40" y="5"/>
                    </a:lnTo>
                    <a:lnTo>
                      <a:pt x="45" y="5"/>
                    </a:lnTo>
                    <a:lnTo>
                      <a:pt x="49" y="7"/>
                    </a:lnTo>
                    <a:lnTo>
                      <a:pt x="51" y="5"/>
                    </a:lnTo>
                    <a:lnTo>
                      <a:pt x="54" y="5"/>
                    </a:lnTo>
                    <a:lnTo>
                      <a:pt x="56" y="7"/>
                    </a:lnTo>
                    <a:lnTo>
                      <a:pt x="59" y="8"/>
                    </a:lnTo>
                    <a:lnTo>
                      <a:pt x="59" y="10"/>
                    </a:lnTo>
                    <a:lnTo>
                      <a:pt x="61" y="11"/>
                    </a:lnTo>
                    <a:lnTo>
                      <a:pt x="66" y="10"/>
                    </a:lnTo>
                    <a:lnTo>
                      <a:pt x="67" y="10"/>
                    </a:lnTo>
                    <a:lnTo>
                      <a:pt x="71" y="13"/>
                    </a:lnTo>
                    <a:lnTo>
                      <a:pt x="74" y="13"/>
                    </a:lnTo>
                    <a:lnTo>
                      <a:pt x="77" y="11"/>
                    </a:lnTo>
                    <a:lnTo>
                      <a:pt x="81" y="10"/>
                    </a:lnTo>
                    <a:lnTo>
                      <a:pt x="84" y="7"/>
                    </a:lnTo>
                    <a:lnTo>
                      <a:pt x="85" y="7"/>
                    </a:lnTo>
                    <a:lnTo>
                      <a:pt x="90" y="8"/>
                    </a:lnTo>
                    <a:lnTo>
                      <a:pt x="92" y="7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8" y="10"/>
                    </a:lnTo>
                    <a:lnTo>
                      <a:pt x="100" y="13"/>
                    </a:lnTo>
                    <a:lnTo>
                      <a:pt x="98" y="18"/>
                    </a:lnTo>
                    <a:lnTo>
                      <a:pt x="100" y="20"/>
                    </a:lnTo>
                    <a:lnTo>
                      <a:pt x="105" y="20"/>
                    </a:lnTo>
                    <a:lnTo>
                      <a:pt x="105" y="23"/>
                    </a:lnTo>
                    <a:lnTo>
                      <a:pt x="102" y="26"/>
                    </a:lnTo>
                    <a:lnTo>
                      <a:pt x="100" y="31"/>
                    </a:lnTo>
                    <a:lnTo>
                      <a:pt x="103" y="29"/>
                    </a:lnTo>
                    <a:lnTo>
                      <a:pt x="105" y="28"/>
                    </a:lnTo>
                    <a:lnTo>
                      <a:pt x="107" y="28"/>
                    </a:lnTo>
                    <a:lnTo>
                      <a:pt x="107" y="31"/>
                    </a:lnTo>
                    <a:lnTo>
                      <a:pt x="108" y="33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3" y="36"/>
                    </a:lnTo>
                    <a:lnTo>
                      <a:pt x="113" y="39"/>
                    </a:lnTo>
                    <a:lnTo>
                      <a:pt x="112" y="39"/>
                    </a:lnTo>
                    <a:lnTo>
                      <a:pt x="107" y="42"/>
                    </a:lnTo>
                    <a:lnTo>
                      <a:pt x="107" y="44"/>
                    </a:lnTo>
                    <a:lnTo>
                      <a:pt x="107" y="46"/>
                    </a:lnTo>
                    <a:lnTo>
                      <a:pt x="108" y="54"/>
                    </a:lnTo>
                    <a:lnTo>
                      <a:pt x="107" y="56"/>
                    </a:lnTo>
                    <a:lnTo>
                      <a:pt x="108" y="62"/>
                    </a:lnTo>
                    <a:lnTo>
                      <a:pt x="110" y="62"/>
                    </a:lnTo>
                    <a:lnTo>
                      <a:pt x="112" y="65"/>
                    </a:lnTo>
                    <a:lnTo>
                      <a:pt x="112" y="69"/>
                    </a:lnTo>
                    <a:lnTo>
                      <a:pt x="108" y="67"/>
                    </a:lnTo>
                    <a:lnTo>
                      <a:pt x="107" y="69"/>
                    </a:lnTo>
                    <a:lnTo>
                      <a:pt x="107" y="70"/>
                    </a:lnTo>
                    <a:lnTo>
                      <a:pt x="110" y="75"/>
                    </a:lnTo>
                    <a:lnTo>
                      <a:pt x="110" y="75"/>
                    </a:lnTo>
                    <a:lnTo>
                      <a:pt x="110" y="80"/>
                    </a:lnTo>
                    <a:lnTo>
                      <a:pt x="105" y="88"/>
                    </a:lnTo>
                    <a:lnTo>
                      <a:pt x="103" y="90"/>
                    </a:lnTo>
                    <a:lnTo>
                      <a:pt x="102" y="91"/>
                    </a:lnTo>
                    <a:lnTo>
                      <a:pt x="103" y="95"/>
                    </a:lnTo>
                    <a:lnTo>
                      <a:pt x="100" y="101"/>
                    </a:lnTo>
                    <a:lnTo>
                      <a:pt x="98" y="103"/>
                    </a:lnTo>
                    <a:lnTo>
                      <a:pt x="98" y="105"/>
                    </a:lnTo>
                    <a:lnTo>
                      <a:pt x="74" y="113"/>
                    </a:lnTo>
                    <a:lnTo>
                      <a:pt x="69" y="109"/>
                    </a:lnTo>
                    <a:lnTo>
                      <a:pt x="66" y="109"/>
                    </a:lnTo>
                    <a:lnTo>
                      <a:pt x="63" y="103"/>
                    </a:lnTo>
                    <a:lnTo>
                      <a:pt x="59" y="101"/>
                    </a:lnTo>
                    <a:lnTo>
                      <a:pt x="61" y="100"/>
                    </a:lnTo>
                    <a:lnTo>
                      <a:pt x="61" y="100"/>
                    </a:lnTo>
                    <a:lnTo>
                      <a:pt x="67" y="95"/>
                    </a:lnTo>
                    <a:lnTo>
                      <a:pt x="67" y="74"/>
                    </a:lnTo>
                    <a:lnTo>
                      <a:pt x="69" y="70"/>
                    </a:lnTo>
                    <a:lnTo>
                      <a:pt x="67" y="70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66" y="60"/>
                    </a:lnTo>
                    <a:lnTo>
                      <a:pt x="67" y="57"/>
                    </a:lnTo>
                    <a:lnTo>
                      <a:pt x="63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46" y="44"/>
                    </a:lnTo>
                    <a:lnTo>
                      <a:pt x="41" y="46"/>
                    </a:lnTo>
                    <a:lnTo>
                      <a:pt x="40" y="47"/>
                    </a:lnTo>
                    <a:lnTo>
                      <a:pt x="35" y="52"/>
                    </a:lnTo>
                    <a:lnTo>
                      <a:pt x="35" y="54"/>
                    </a:lnTo>
                    <a:lnTo>
                      <a:pt x="30" y="57"/>
                    </a:lnTo>
                    <a:lnTo>
                      <a:pt x="27" y="57"/>
                    </a:lnTo>
                    <a:lnTo>
                      <a:pt x="25" y="56"/>
                    </a:lnTo>
                    <a:lnTo>
                      <a:pt x="20" y="52"/>
                    </a:lnTo>
                    <a:lnTo>
                      <a:pt x="20" y="47"/>
                    </a:lnTo>
                    <a:lnTo>
                      <a:pt x="17" y="47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7" y="42"/>
                    </a:lnTo>
                    <a:lnTo>
                      <a:pt x="14" y="41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5" y="42"/>
                    </a:lnTo>
                    <a:lnTo>
                      <a:pt x="2" y="38"/>
                    </a:lnTo>
                    <a:lnTo>
                      <a:pt x="4" y="31"/>
                    </a:lnTo>
                    <a:lnTo>
                      <a:pt x="2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7" name="Freeform 270">
                <a:extLst>
                  <a:ext uri="{FF2B5EF4-FFF2-40B4-BE49-F238E27FC236}">
                    <a16:creationId xmlns:a16="http://schemas.microsoft.com/office/drawing/2014/main" xmlns="" id="{B18DC147-B06B-4C26-B71D-AA6ECE389B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" y="1892"/>
                <a:ext cx="44" cy="56"/>
              </a:xfrm>
              <a:custGeom>
                <a:avLst/>
                <a:gdLst>
                  <a:gd name="T0" fmla="*/ 13 w 44"/>
                  <a:gd name="T1" fmla="*/ 47 h 56"/>
                  <a:gd name="T2" fmla="*/ 11 w 44"/>
                  <a:gd name="T3" fmla="*/ 44 h 56"/>
                  <a:gd name="T4" fmla="*/ 11 w 44"/>
                  <a:gd name="T5" fmla="*/ 43 h 56"/>
                  <a:gd name="T6" fmla="*/ 10 w 44"/>
                  <a:gd name="T7" fmla="*/ 43 h 56"/>
                  <a:gd name="T8" fmla="*/ 8 w 44"/>
                  <a:gd name="T9" fmla="*/ 44 h 56"/>
                  <a:gd name="T10" fmla="*/ 8 w 44"/>
                  <a:gd name="T11" fmla="*/ 46 h 56"/>
                  <a:gd name="T12" fmla="*/ 11 w 44"/>
                  <a:gd name="T13" fmla="*/ 46 h 56"/>
                  <a:gd name="T14" fmla="*/ 13 w 44"/>
                  <a:gd name="T15" fmla="*/ 47 h 56"/>
                  <a:gd name="T16" fmla="*/ 13 w 44"/>
                  <a:gd name="T17" fmla="*/ 47 h 56"/>
                  <a:gd name="T18" fmla="*/ 2 w 44"/>
                  <a:gd name="T19" fmla="*/ 13 h 56"/>
                  <a:gd name="T20" fmla="*/ 5 w 44"/>
                  <a:gd name="T21" fmla="*/ 13 h 56"/>
                  <a:gd name="T22" fmla="*/ 10 w 44"/>
                  <a:gd name="T23" fmla="*/ 10 h 56"/>
                  <a:gd name="T24" fmla="*/ 10 w 44"/>
                  <a:gd name="T25" fmla="*/ 8 h 56"/>
                  <a:gd name="T26" fmla="*/ 15 w 44"/>
                  <a:gd name="T27" fmla="*/ 3 h 56"/>
                  <a:gd name="T28" fmla="*/ 16 w 44"/>
                  <a:gd name="T29" fmla="*/ 2 h 56"/>
                  <a:gd name="T30" fmla="*/ 21 w 44"/>
                  <a:gd name="T31" fmla="*/ 0 h 56"/>
                  <a:gd name="T32" fmla="*/ 34 w 44"/>
                  <a:gd name="T33" fmla="*/ 0 h 56"/>
                  <a:gd name="T34" fmla="*/ 36 w 44"/>
                  <a:gd name="T35" fmla="*/ 3 h 56"/>
                  <a:gd name="T36" fmla="*/ 38 w 44"/>
                  <a:gd name="T37" fmla="*/ 7 h 56"/>
                  <a:gd name="T38" fmla="*/ 42 w 44"/>
                  <a:gd name="T39" fmla="*/ 13 h 56"/>
                  <a:gd name="T40" fmla="*/ 41 w 44"/>
                  <a:gd name="T41" fmla="*/ 16 h 56"/>
                  <a:gd name="T42" fmla="*/ 44 w 44"/>
                  <a:gd name="T43" fmla="*/ 20 h 56"/>
                  <a:gd name="T44" fmla="*/ 44 w 44"/>
                  <a:gd name="T45" fmla="*/ 21 h 56"/>
                  <a:gd name="T46" fmla="*/ 42 w 44"/>
                  <a:gd name="T47" fmla="*/ 23 h 56"/>
                  <a:gd name="T48" fmla="*/ 42 w 44"/>
                  <a:gd name="T49" fmla="*/ 26 h 56"/>
                  <a:gd name="T50" fmla="*/ 44 w 44"/>
                  <a:gd name="T51" fmla="*/ 26 h 56"/>
                  <a:gd name="T52" fmla="*/ 42 w 44"/>
                  <a:gd name="T53" fmla="*/ 30 h 56"/>
                  <a:gd name="T54" fmla="*/ 42 w 44"/>
                  <a:gd name="T55" fmla="*/ 51 h 56"/>
                  <a:gd name="T56" fmla="*/ 36 w 44"/>
                  <a:gd name="T57" fmla="*/ 56 h 56"/>
                  <a:gd name="T58" fmla="*/ 33 w 44"/>
                  <a:gd name="T59" fmla="*/ 54 h 56"/>
                  <a:gd name="T60" fmla="*/ 28 w 44"/>
                  <a:gd name="T61" fmla="*/ 54 h 56"/>
                  <a:gd name="T62" fmla="*/ 20 w 44"/>
                  <a:gd name="T63" fmla="*/ 49 h 56"/>
                  <a:gd name="T64" fmla="*/ 15 w 44"/>
                  <a:gd name="T65" fmla="*/ 49 h 56"/>
                  <a:gd name="T66" fmla="*/ 16 w 44"/>
                  <a:gd name="T67" fmla="*/ 46 h 56"/>
                  <a:gd name="T68" fmla="*/ 15 w 44"/>
                  <a:gd name="T69" fmla="*/ 44 h 56"/>
                  <a:gd name="T70" fmla="*/ 11 w 44"/>
                  <a:gd name="T71" fmla="*/ 43 h 56"/>
                  <a:gd name="T72" fmla="*/ 13 w 44"/>
                  <a:gd name="T73" fmla="*/ 39 h 56"/>
                  <a:gd name="T74" fmla="*/ 13 w 44"/>
                  <a:gd name="T75" fmla="*/ 38 h 56"/>
                  <a:gd name="T76" fmla="*/ 10 w 44"/>
                  <a:gd name="T77" fmla="*/ 39 h 56"/>
                  <a:gd name="T78" fmla="*/ 7 w 44"/>
                  <a:gd name="T79" fmla="*/ 36 h 56"/>
                  <a:gd name="T80" fmla="*/ 7 w 44"/>
                  <a:gd name="T81" fmla="*/ 33 h 56"/>
                  <a:gd name="T82" fmla="*/ 5 w 44"/>
                  <a:gd name="T83" fmla="*/ 26 h 56"/>
                  <a:gd name="T84" fmla="*/ 2 w 44"/>
                  <a:gd name="T85" fmla="*/ 26 h 56"/>
                  <a:gd name="T86" fmla="*/ 0 w 44"/>
                  <a:gd name="T87" fmla="*/ 25 h 56"/>
                  <a:gd name="T88" fmla="*/ 3 w 44"/>
                  <a:gd name="T89" fmla="*/ 20 h 56"/>
                  <a:gd name="T90" fmla="*/ 0 w 44"/>
                  <a:gd name="T91" fmla="*/ 18 h 56"/>
                  <a:gd name="T92" fmla="*/ 2 w 44"/>
                  <a:gd name="T93" fmla="*/ 16 h 56"/>
                  <a:gd name="T94" fmla="*/ 3 w 44"/>
                  <a:gd name="T95" fmla="*/ 13 h 56"/>
                  <a:gd name="T96" fmla="*/ 2 w 44"/>
                  <a:gd name="T97" fmla="*/ 1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4" h="56">
                    <a:moveTo>
                      <a:pt x="13" y="47"/>
                    </a:moveTo>
                    <a:lnTo>
                      <a:pt x="11" y="44"/>
                    </a:lnTo>
                    <a:lnTo>
                      <a:pt x="11" y="43"/>
                    </a:lnTo>
                    <a:lnTo>
                      <a:pt x="10" y="43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11" y="46"/>
                    </a:lnTo>
                    <a:lnTo>
                      <a:pt x="13" y="47"/>
                    </a:lnTo>
                    <a:lnTo>
                      <a:pt x="13" y="47"/>
                    </a:lnTo>
                    <a:close/>
                    <a:moveTo>
                      <a:pt x="2" y="13"/>
                    </a:moveTo>
                    <a:lnTo>
                      <a:pt x="5" y="13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5" y="3"/>
                    </a:lnTo>
                    <a:lnTo>
                      <a:pt x="16" y="2"/>
                    </a:lnTo>
                    <a:lnTo>
                      <a:pt x="21" y="0"/>
                    </a:lnTo>
                    <a:lnTo>
                      <a:pt x="34" y="0"/>
                    </a:lnTo>
                    <a:lnTo>
                      <a:pt x="36" y="3"/>
                    </a:lnTo>
                    <a:lnTo>
                      <a:pt x="38" y="7"/>
                    </a:lnTo>
                    <a:lnTo>
                      <a:pt x="42" y="13"/>
                    </a:lnTo>
                    <a:lnTo>
                      <a:pt x="41" y="16"/>
                    </a:lnTo>
                    <a:lnTo>
                      <a:pt x="44" y="20"/>
                    </a:lnTo>
                    <a:lnTo>
                      <a:pt x="44" y="21"/>
                    </a:lnTo>
                    <a:lnTo>
                      <a:pt x="42" y="23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2" y="30"/>
                    </a:lnTo>
                    <a:lnTo>
                      <a:pt x="42" y="51"/>
                    </a:lnTo>
                    <a:lnTo>
                      <a:pt x="36" y="56"/>
                    </a:lnTo>
                    <a:lnTo>
                      <a:pt x="33" y="54"/>
                    </a:lnTo>
                    <a:lnTo>
                      <a:pt x="28" y="54"/>
                    </a:lnTo>
                    <a:lnTo>
                      <a:pt x="20" y="49"/>
                    </a:lnTo>
                    <a:lnTo>
                      <a:pt x="15" y="49"/>
                    </a:lnTo>
                    <a:lnTo>
                      <a:pt x="16" y="46"/>
                    </a:lnTo>
                    <a:lnTo>
                      <a:pt x="15" y="44"/>
                    </a:lnTo>
                    <a:lnTo>
                      <a:pt x="11" y="43"/>
                    </a:lnTo>
                    <a:lnTo>
                      <a:pt x="13" y="39"/>
                    </a:lnTo>
                    <a:lnTo>
                      <a:pt x="13" y="38"/>
                    </a:lnTo>
                    <a:lnTo>
                      <a:pt x="10" y="39"/>
                    </a:lnTo>
                    <a:lnTo>
                      <a:pt x="7" y="36"/>
                    </a:lnTo>
                    <a:lnTo>
                      <a:pt x="7" y="33"/>
                    </a:lnTo>
                    <a:lnTo>
                      <a:pt x="5" y="26"/>
                    </a:lnTo>
                    <a:lnTo>
                      <a:pt x="2" y="26"/>
                    </a:lnTo>
                    <a:lnTo>
                      <a:pt x="0" y="25"/>
                    </a:lnTo>
                    <a:lnTo>
                      <a:pt x="3" y="20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3" y="13"/>
                    </a:lnTo>
                    <a:lnTo>
                      <a:pt x="2" y="1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8" name="Freeform 271">
                <a:extLst>
                  <a:ext uri="{FF2B5EF4-FFF2-40B4-BE49-F238E27FC236}">
                    <a16:creationId xmlns:a16="http://schemas.microsoft.com/office/drawing/2014/main" xmlns="" id="{9629A3F9-F5E9-4ADB-AE08-008E20D26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4" y="1917"/>
                <a:ext cx="64" cy="70"/>
              </a:xfrm>
              <a:custGeom>
                <a:avLst/>
                <a:gdLst>
                  <a:gd name="T0" fmla="*/ 0 w 64"/>
                  <a:gd name="T1" fmla="*/ 29 h 70"/>
                  <a:gd name="T2" fmla="*/ 0 w 64"/>
                  <a:gd name="T3" fmla="*/ 26 h 70"/>
                  <a:gd name="T4" fmla="*/ 2 w 64"/>
                  <a:gd name="T5" fmla="*/ 22 h 70"/>
                  <a:gd name="T6" fmla="*/ 7 w 64"/>
                  <a:gd name="T7" fmla="*/ 21 h 70"/>
                  <a:gd name="T8" fmla="*/ 10 w 64"/>
                  <a:gd name="T9" fmla="*/ 16 h 70"/>
                  <a:gd name="T10" fmla="*/ 9 w 64"/>
                  <a:gd name="T11" fmla="*/ 14 h 70"/>
                  <a:gd name="T12" fmla="*/ 10 w 64"/>
                  <a:gd name="T13" fmla="*/ 9 h 70"/>
                  <a:gd name="T14" fmla="*/ 13 w 64"/>
                  <a:gd name="T15" fmla="*/ 8 h 70"/>
                  <a:gd name="T16" fmla="*/ 13 w 64"/>
                  <a:gd name="T17" fmla="*/ 6 h 70"/>
                  <a:gd name="T18" fmla="*/ 13 w 64"/>
                  <a:gd name="T19" fmla="*/ 3 h 70"/>
                  <a:gd name="T20" fmla="*/ 18 w 64"/>
                  <a:gd name="T21" fmla="*/ 1 h 70"/>
                  <a:gd name="T22" fmla="*/ 20 w 64"/>
                  <a:gd name="T23" fmla="*/ 1 h 70"/>
                  <a:gd name="T24" fmla="*/ 27 w 64"/>
                  <a:gd name="T25" fmla="*/ 0 h 70"/>
                  <a:gd name="T26" fmla="*/ 30 w 64"/>
                  <a:gd name="T27" fmla="*/ 1 h 70"/>
                  <a:gd name="T28" fmla="*/ 31 w 64"/>
                  <a:gd name="T29" fmla="*/ 5 h 70"/>
                  <a:gd name="T30" fmla="*/ 35 w 64"/>
                  <a:gd name="T31" fmla="*/ 6 h 70"/>
                  <a:gd name="T32" fmla="*/ 35 w 64"/>
                  <a:gd name="T33" fmla="*/ 13 h 70"/>
                  <a:gd name="T34" fmla="*/ 33 w 64"/>
                  <a:gd name="T35" fmla="*/ 16 h 70"/>
                  <a:gd name="T36" fmla="*/ 38 w 64"/>
                  <a:gd name="T37" fmla="*/ 21 h 70"/>
                  <a:gd name="T38" fmla="*/ 40 w 64"/>
                  <a:gd name="T39" fmla="*/ 21 h 70"/>
                  <a:gd name="T40" fmla="*/ 44 w 64"/>
                  <a:gd name="T41" fmla="*/ 16 h 70"/>
                  <a:gd name="T42" fmla="*/ 46 w 64"/>
                  <a:gd name="T43" fmla="*/ 18 h 70"/>
                  <a:gd name="T44" fmla="*/ 48 w 64"/>
                  <a:gd name="T45" fmla="*/ 19 h 70"/>
                  <a:gd name="T46" fmla="*/ 49 w 64"/>
                  <a:gd name="T47" fmla="*/ 21 h 70"/>
                  <a:gd name="T48" fmla="*/ 48 w 64"/>
                  <a:gd name="T49" fmla="*/ 22 h 70"/>
                  <a:gd name="T50" fmla="*/ 49 w 64"/>
                  <a:gd name="T51" fmla="*/ 26 h 70"/>
                  <a:gd name="T52" fmla="*/ 46 w 64"/>
                  <a:gd name="T53" fmla="*/ 32 h 70"/>
                  <a:gd name="T54" fmla="*/ 44 w 64"/>
                  <a:gd name="T55" fmla="*/ 34 h 70"/>
                  <a:gd name="T56" fmla="*/ 44 w 64"/>
                  <a:gd name="T57" fmla="*/ 37 h 70"/>
                  <a:gd name="T58" fmla="*/ 48 w 64"/>
                  <a:gd name="T59" fmla="*/ 39 h 70"/>
                  <a:gd name="T60" fmla="*/ 49 w 64"/>
                  <a:gd name="T61" fmla="*/ 37 h 70"/>
                  <a:gd name="T62" fmla="*/ 51 w 64"/>
                  <a:gd name="T63" fmla="*/ 37 h 70"/>
                  <a:gd name="T64" fmla="*/ 54 w 64"/>
                  <a:gd name="T65" fmla="*/ 40 h 70"/>
                  <a:gd name="T66" fmla="*/ 56 w 64"/>
                  <a:gd name="T67" fmla="*/ 39 h 70"/>
                  <a:gd name="T68" fmla="*/ 58 w 64"/>
                  <a:gd name="T69" fmla="*/ 40 h 70"/>
                  <a:gd name="T70" fmla="*/ 59 w 64"/>
                  <a:gd name="T71" fmla="*/ 44 h 70"/>
                  <a:gd name="T72" fmla="*/ 61 w 64"/>
                  <a:gd name="T73" fmla="*/ 45 h 70"/>
                  <a:gd name="T74" fmla="*/ 62 w 64"/>
                  <a:gd name="T75" fmla="*/ 45 h 70"/>
                  <a:gd name="T76" fmla="*/ 64 w 64"/>
                  <a:gd name="T77" fmla="*/ 49 h 70"/>
                  <a:gd name="T78" fmla="*/ 62 w 64"/>
                  <a:gd name="T79" fmla="*/ 50 h 70"/>
                  <a:gd name="T80" fmla="*/ 62 w 64"/>
                  <a:gd name="T81" fmla="*/ 52 h 70"/>
                  <a:gd name="T82" fmla="*/ 61 w 64"/>
                  <a:gd name="T83" fmla="*/ 54 h 70"/>
                  <a:gd name="T84" fmla="*/ 61 w 64"/>
                  <a:gd name="T85" fmla="*/ 57 h 70"/>
                  <a:gd name="T86" fmla="*/ 62 w 64"/>
                  <a:gd name="T87" fmla="*/ 60 h 70"/>
                  <a:gd name="T88" fmla="*/ 61 w 64"/>
                  <a:gd name="T89" fmla="*/ 63 h 70"/>
                  <a:gd name="T90" fmla="*/ 62 w 64"/>
                  <a:gd name="T91" fmla="*/ 67 h 70"/>
                  <a:gd name="T92" fmla="*/ 62 w 64"/>
                  <a:gd name="T93" fmla="*/ 70 h 70"/>
                  <a:gd name="T94" fmla="*/ 46 w 64"/>
                  <a:gd name="T95" fmla="*/ 63 h 70"/>
                  <a:gd name="T96" fmla="*/ 35 w 64"/>
                  <a:gd name="T97" fmla="*/ 55 h 70"/>
                  <a:gd name="T98" fmla="*/ 31 w 64"/>
                  <a:gd name="T99" fmla="*/ 55 h 70"/>
                  <a:gd name="T100" fmla="*/ 22 w 64"/>
                  <a:gd name="T101" fmla="*/ 44 h 70"/>
                  <a:gd name="T102" fmla="*/ 15 w 64"/>
                  <a:gd name="T103" fmla="*/ 40 h 70"/>
                  <a:gd name="T104" fmla="*/ 12 w 64"/>
                  <a:gd name="T105" fmla="*/ 40 h 70"/>
                  <a:gd name="T106" fmla="*/ 9 w 64"/>
                  <a:gd name="T107" fmla="*/ 34 h 70"/>
                  <a:gd name="T108" fmla="*/ 5 w 64"/>
                  <a:gd name="T109" fmla="*/ 32 h 70"/>
                  <a:gd name="T110" fmla="*/ 7 w 64"/>
                  <a:gd name="T111" fmla="*/ 31 h 70"/>
                  <a:gd name="T112" fmla="*/ 4 w 64"/>
                  <a:gd name="T113" fmla="*/ 29 h 70"/>
                  <a:gd name="T114" fmla="*/ 0 w 64"/>
                  <a:gd name="T115" fmla="*/ 2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4" h="70">
                    <a:moveTo>
                      <a:pt x="0" y="29"/>
                    </a:moveTo>
                    <a:lnTo>
                      <a:pt x="0" y="26"/>
                    </a:lnTo>
                    <a:lnTo>
                      <a:pt x="2" y="22"/>
                    </a:lnTo>
                    <a:lnTo>
                      <a:pt x="7" y="21"/>
                    </a:lnTo>
                    <a:lnTo>
                      <a:pt x="10" y="16"/>
                    </a:lnTo>
                    <a:lnTo>
                      <a:pt x="9" y="14"/>
                    </a:lnTo>
                    <a:lnTo>
                      <a:pt x="10" y="9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7" y="0"/>
                    </a:lnTo>
                    <a:lnTo>
                      <a:pt x="30" y="1"/>
                    </a:lnTo>
                    <a:lnTo>
                      <a:pt x="31" y="5"/>
                    </a:lnTo>
                    <a:lnTo>
                      <a:pt x="35" y="6"/>
                    </a:lnTo>
                    <a:lnTo>
                      <a:pt x="35" y="13"/>
                    </a:lnTo>
                    <a:lnTo>
                      <a:pt x="33" y="16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44" y="16"/>
                    </a:lnTo>
                    <a:lnTo>
                      <a:pt x="46" y="18"/>
                    </a:lnTo>
                    <a:lnTo>
                      <a:pt x="48" y="19"/>
                    </a:lnTo>
                    <a:lnTo>
                      <a:pt x="49" y="21"/>
                    </a:lnTo>
                    <a:lnTo>
                      <a:pt x="48" y="22"/>
                    </a:lnTo>
                    <a:lnTo>
                      <a:pt x="49" y="26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4" y="37"/>
                    </a:lnTo>
                    <a:lnTo>
                      <a:pt x="48" y="39"/>
                    </a:lnTo>
                    <a:lnTo>
                      <a:pt x="49" y="37"/>
                    </a:lnTo>
                    <a:lnTo>
                      <a:pt x="51" y="37"/>
                    </a:lnTo>
                    <a:lnTo>
                      <a:pt x="54" y="40"/>
                    </a:lnTo>
                    <a:lnTo>
                      <a:pt x="56" y="39"/>
                    </a:lnTo>
                    <a:lnTo>
                      <a:pt x="58" y="40"/>
                    </a:lnTo>
                    <a:lnTo>
                      <a:pt x="59" y="44"/>
                    </a:lnTo>
                    <a:lnTo>
                      <a:pt x="61" y="45"/>
                    </a:lnTo>
                    <a:lnTo>
                      <a:pt x="62" y="45"/>
                    </a:lnTo>
                    <a:lnTo>
                      <a:pt x="64" y="49"/>
                    </a:lnTo>
                    <a:lnTo>
                      <a:pt x="62" y="50"/>
                    </a:lnTo>
                    <a:lnTo>
                      <a:pt x="62" y="52"/>
                    </a:lnTo>
                    <a:lnTo>
                      <a:pt x="61" y="54"/>
                    </a:lnTo>
                    <a:lnTo>
                      <a:pt x="61" y="57"/>
                    </a:lnTo>
                    <a:lnTo>
                      <a:pt x="62" y="60"/>
                    </a:lnTo>
                    <a:lnTo>
                      <a:pt x="61" y="63"/>
                    </a:lnTo>
                    <a:lnTo>
                      <a:pt x="62" y="67"/>
                    </a:lnTo>
                    <a:lnTo>
                      <a:pt x="62" y="70"/>
                    </a:lnTo>
                    <a:lnTo>
                      <a:pt x="46" y="63"/>
                    </a:lnTo>
                    <a:lnTo>
                      <a:pt x="35" y="55"/>
                    </a:lnTo>
                    <a:lnTo>
                      <a:pt x="31" y="55"/>
                    </a:lnTo>
                    <a:lnTo>
                      <a:pt x="22" y="44"/>
                    </a:lnTo>
                    <a:lnTo>
                      <a:pt x="15" y="40"/>
                    </a:lnTo>
                    <a:lnTo>
                      <a:pt x="12" y="40"/>
                    </a:lnTo>
                    <a:lnTo>
                      <a:pt x="9" y="34"/>
                    </a:lnTo>
                    <a:lnTo>
                      <a:pt x="5" y="32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9" name="Freeform 272">
                <a:extLst>
                  <a:ext uri="{FF2B5EF4-FFF2-40B4-BE49-F238E27FC236}">
                    <a16:creationId xmlns:a16="http://schemas.microsoft.com/office/drawing/2014/main" xmlns="" id="{A41C42B9-91AD-4915-BFC0-A3AA82BE7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1882"/>
                <a:ext cx="98" cy="105"/>
              </a:xfrm>
              <a:custGeom>
                <a:avLst/>
                <a:gdLst>
                  <a:gd name="T0" fmla="*/ 18 w 98"/>
                  <a:gd name="T1" fmla="*/ 102 h 105"/>
                  <a:gd name="T2" fmla="*/ 18 w 98"/>
                  <a:gd name="T3" fmla="*/ 95 h 105"/>
                  <a:gd name="T4" fmla="*/ 17 w 98"/>
                  <a:gd name="T5" fmla="*/ 89 h 105"/>
                  <a:gd name="T6" fmla="*/ 18 w 98"/>
                  <a:gd name="T7" fmla="*/ 85 h 105"/>
                  <a:gd name="T8" fmla="*/ 18 w 98"/>
                  <a:gd name="T9" fmla="*/ 80 h 105"/>
                  <a:gd name="T10" fmla="*/ 15 w 98"/>
                  <a:gd name="T11" fmla="*/ 79 h 105"/>
                  <a:gd name="T12" fmla="*/ 12 w 98"/>
                  <a:gd name="T13" fmla="*/ 74 h 105"/>
                  <a:gd name="T14" fmla="*/ 7 w 98"/>
                  <a:gd name="T15" fmla="*/ 72 h 105"/>
                  <a:gd name="T16" fmla="*/ 4 w 98"/>
                  <a:gd name="T17" fmla="*/ 74 h 105"/>
                  <a:gd name="T18" fmla="*/ 0 w 98"/>
                  <a:gd name="T19" fmla="*/ 69 h 105"/>
                  <a:gd name="T20" fmla="*/ 5 w 98"/>
                  <a:gd name="T21" fmla="*/ 61 h 105"/>
                  <a:gd name="T22" fmla="*/ 5 w 98"/>
                  <a:gd name="T23" fmla="*/ 56 h 105"/>
                  <a:gd name="T24" fmla="*/ 12 w 98"/>
                  <a:gd name="T25" fmla="*/ 46 h 105"/>
                  <a:gd name="T26" fmla="*/ 12 w 98"/>
                  <a:gd name="T27" fmla="*/ 41 h 105"/>
                  <a:gd name="T28" fmla="*/ 9 w 98"/>
                  <a:gd name="T29" fmla="*/ 35 h 105"/>
                  <a:gd name="T30" fmla="*/ 14 w 98"/>
                  <a:gd name="T31" fmla="*/ 35 h 105"/>
                  <a:gd name="T32" fmla="*/ 12 w 98"/>
                  <a:gd name="T33" fmla="*/ 28 h 105"/>
                  <a:gd name="T34" fmla="*/ 9 w 98"/>
                  <a:gd name="T35" fmla="*/ 22 h 105"/>
                  <a:gd name="T36" fmla="*/ 9 w 98"/>
                  <a:gd name="T37" fmla="*/ 12 h 105"/>
                  <a:gd name="T38" fmla="*/ 9 w 98"/>
                  <a:gd name="T39" fmla="*/ 8 h 105"/>
                  <a:gd name="T40" fmla="*/ 20 w 98"/>
                  <a:gd name="T41" fmla="*/ 2 h 105"/>
                  <a:gd name="T42" fmla="*/ 25 w 98"/>
                  <a:gd name="T43" fmla="*/ 4 h 105"/>
                  <a:gd name="T44" fmla="*/ 33 w 98"/>
                  <a:gd name="T45" fmla="*/ 4 h 105"/>
                  <a:gd name="T46" fmla="*/ 38 w 98"/>
                  <a:gd name="T47" fmla="*/ 0 h 105"/>
                  <a:gd name="T48" fmla="*/ 41 w 98"/>
                  <a:gd name="T49" fmla="*/ 2 h 105"/>
                  <a:gd name="T50" fmla="*/ 48 w 98"/>
                  <a:gd name="T51" fmla="*/ 5 h 105"/>
                  <a:gd name="T52" fmla="*/ 53 w 98"/>
                  <a:gd name="T53" fmla="*/ 0 h 105"/>
                  <a:gd name="T54" fmla="*/ 64 w 98"/>
                  <a:gd name="T55" fmla="*/ 7 h 105"/>
                  <a:gd name="T56" fmla="*/ 67 w 98"/>
                  <a:gd name="T57" fmla="*/ 8 h 105"/>
                  <a:gd name="T58" fmla="*/ 74 w 98"/>
                  <a:gd name="T59" fmla="*/ 10 h 105"/>
                  <a:gd name="T60" fmla="*/ 81 w 98"/>
                  <a:gd name="T61" fmla="*/ 15 h 105"/>
                  <a:gd name="T62" fmla="*/ 87 w 98"/>
                  <a:gd name="T63" fmla="*/ 12 h 105"/>
                  <a:gd name="T64" fmla="*/ 92 w 98"/>
                  <a:gd name="T65" fmla="*/ 13 h 105"/>
                  <a:gd name="T66" fmla="*/ 95 w 98"/>
                  <a:gd name="T67" fmla="*/ 15 h 105"/>
                  <a:gd name="T68" fmla="*/ 95 w 98"/>
                  <a:gd name="T69" fmla="*/ 23 h 105"/>
                  <a:gd name="T70" fmla="*/ 97 w 98"/>
                  <a:gd name="T71" fmla="*/ 28 h 105"/>
                  <a:gd name="T72" fmla="*/ 97 w 98"/>
                  <a:gd name="T73" fmla="*/ 36 h 105"/>
                  <a:gd name="T74" fmla="*/ 95 w 98"/>
                  <a:gd name="T75" fmla="*/ 41 h 105"/>
                  <a:gd name="T76" fmla="*/ 90 w 98"/>
                  <a:gd name="T77" fmla="*/ 53 h 105"/>
                  <a:gd name="T78" fmla="*/ 89 w 98"/>
                  <a:gd name="T79" fmla="*/ 59 h 105"/>
                  <a:gd name="T80" fmla="*/ 87 w 98"/>
                  <a:gd name="T81" fmla="*/ 67 h 105"/>
                  <a:gd name="T82" fmla="*/ 85 w 98"/>
                  <a:gd name="T83" fmla="*/ 71 h 105"/>
                  <a:gd name="T84" fmla="*/ 90 w 98"/>
                  <a:gd name="T85" fmla="*/ 79 h 105"/>
                  <a:gd name="T86" fmla="*/ 94 w 98"/>
                  <a:gd name="T87" fmla="*/ 84 h 105"/>
                  <a:gd name="T88" fmla="*/ 95 w 98"/>
                  <a:gd name="T89" fmla="*/ 90 h 105"/>
                  <a:gd name="T90" fmla="*/ 90 w 98"/>
                  <a:gd name="T91" fmla="*/ 92 h 105"/>
                  <a:gd name="T92" fmla="*/ 87 w 98"/>
                  <a:gd name="T93" fmla="*/ 89 h 105"/>
                  <a:gd name="T94" fmla="*/ 82 w 98"/>
                  <a:gd name="T95" fmla="*/ 93 h 105"/>
                  <a:gd name="T96" fmla="*/ 67 w 98"/>
                  <a:gd name="T97" fmla="*/ 92 h 105"/>
                  <a:gd name="T98" fmla="*/ 41 w 98"/>
                  <a:gd name="T99" fmla="*/ 93 h 105"/>
                  <a:gd name="T100" fmla="*/ 30 w 98"/>
                  <a:gd name="T101" fmla="*/ 98 h 105"/>
                  <a:gd name="T102" fmla="*/ 25 w 98"/>
                  <a:gd name="T103" fmla="*/ 100 h 105"/>
                  <a:gd name="T104" fmla="*/ 18 w 98"/>
                  <a:gd name="T10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8" h="105">
                    <a:moveTo>
                      <a:pt x="18" y="105"/>
                    </a:moveTo>
                    <a:lnTo>
                      <a:pt x="18" y="102"/>
                    </a:lnTo>
                    <a:lnTo>
                      <a:pt x="17" y="98"/>
                    </a:lnTo>
                    <a:lnTo>
                      <a:pt x="18" y="95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18" y="87"/>
                    </a:lnTo>
                    <a:lnTo>
                      <a:pt x="18" y="85"/>
                    </a:lnTo>
                    <a:lnTo>
                      <a:pt x="20" y="84"/>
                    </a:lnTo>
                    <a:lnTo>
                      <a:pt x="18" y="80"/>
                    </a:lnTo>
                    <a:lnTo>
                      <a:pt x="17" y="80"/>
                    </a:lnTo>
                    <a:lnTo>
                      <a:pt x="15" y="79"/>
                    </a:lnTo>
                    <a:lnTo>
                      <a:pt x="14" y="75"/>
                    </a:lnTo>
                    <a:lnTo>
                      <a:pt x="12" y="74"/>
                    </a:lnTo>
                    <a:lnTo>
                      <a:pt x="10" y="75"/>
                    </a:lnTo>
                    <a:lnTo>
                      <a:pt x="7" y="72"/>
                    </a:lnTo>
                    <a:lnTo>
                      <a:pt x="5" y="72"/>
                    </a:lnTo>
                    <a:lnTo>
                      <a:pt x="4" y="74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2" y="67"/>
                    </a:lnTo>
                    <a:lnTo>
                      <a:pt x="5" y="61"/>
                    </a:lnTo>
                    <a:lnTo>
                      <a:pt x="4" y="57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12" y="46"/>
                    </a:lnTo>
                    <a:lnTo>
                      <a:pt x="12" y="41"/>
                    </a:lnTo>
                    <a:lnTo>
                      <a:pt x="12" y="41"/>
                    </a:lnTo>
                    <a:lnTo>
                      <a:pt x="9" y="36"/>
                    </a:lnTo>
                    <a:lnTo>
                      <a:pt x="9" y="35"/>
                    </a:lnTo>
                    <a:lnTo>
                      <a:pt x="10" y="33"/>
                    </a:lnTo>
                    <a:lnTo>
                      <a:pt x="14" y="35"/>
                    </a:lnTo>
                    <a:lnTo>
                      <a:pt x="14" y="31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9" y="22"/>
                    </a:lnTo>
                    <a:lnTo>
                      <a:pt x="10" y="20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4" y="5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5" y="4"/>
                    </a:lnTo>
                    <a:lnTo>
                      <a:pt x="32" y="5"/>
                    </a:lnTo>
                    <a:lnTo>
                      <a:pt x="33" y="4"/>
                    </a:lnTo>
                    <a:lnTo>
                      <a:pt x="33" y="2"/>
                    </a:lnTo>
                    <a:lnTo>
                      <a:pt x="38" y="0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3" y="4"/>
                    </a:lnTo>
                    <a:lnTo>
                      <a:pt x="48" y="5"/>
                    </a:lnTo>
                    <a:lnTo>
                      <a:pt x="51" y="2"/>
                    </a:lnTo>
                    <a:lnTo>
                      <a:pt x="53" y="0"/>
                    </a:lnTo>
                    <a:lnTo>
                      <a:pt x="58" y="4"/>
                    </a:lnTo>
                    <a:lnTo>
                      <a:pt x="64" y="7"/>
                    </a:lnTo>
                    <a:lnTo>
                      <a:pt x="66" y="7"/>
                    </a:lnTo>
                    <a:lnTo>
                      <a:pt x="67" y="8"/>
                    </a:lnTo>
                    <a:lnTo>
                      <a:pt x="71" y="8"/>
                    </a:lnTo>
                    <a:lnTo>
                      <a:pt x="74" y="10"/>
                    </a:lnTo>
                    <a:lnTo>
                      <a:pt x="76" y="12"/>
                    </a:lnTo>
                    <a:lnTo>
                      <a:pt x="81" y="15"/>
                    </a:lnTo>
                    <a:lnTo>
                      <a:pt x="84" y="13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92" y="13"/>
                    </a:lnTo>
                    <a:lnTo>
                      <a:pt x="95" y="13"/>
                    </a:lnTo>
                    <a:lnTo>
                      <a:pt x="95" y="15"/>
                    </a:lnTo>
                    <a:lnTo>
                      <a:pt x="94" y="20"/>
                    </a:lnTo>
                    <a:lnTo>
                      <a:pt x="95" y="23"/>
                    </a:lnTo>
                    <a:lnTo>
                      <a:pt x="95" y="26"/>
                    </a:lnTo>
                    <a:lnTo>
                      <a:pt x="97" y="28"/>
                    </a:lnTo>
                    <a:lnTo>
                      <a:pt x="98" y="33"/>
                    </a:lnTo>
                    <a:lnTo>
                      <a:pt x="97" y="36"/>
                    </a:lnTo>
                    <a:lnTo>
                      <a:pt x="97" y="40"/>
                    </a:lnTo>
                    <a:lnTo>
                      <a:pt x="95" y="41"/>
                    </a:lnTo>
                    <a:lnTo>
                      <a:pt x="89" y="49"/>
                    </a:lnTo>
                    <a:lnTo>
                      <a:pt x="90" y="53"/>
                    </a:lnTo>
                    <a:lnTo>
                      <a:pt x="89" y="54"/>
                    </a:lnTo>
                    <a:lnTo>
                      <a:pt x="89" y="59"/>
                    </a:lnTo>
                    <a:lnTo>
                      <a:pt x="87" y="61"/>
                    </a:lnTo>
                    <a:lnTo>
                      <a:pt x="87" y="67"/>
                    </a:lnTo>
                    <a:lnTo>
                      <a:pt x="85" y="69"/>
                    </a:lnTo>
                    <a:lnTo>
                      <a:pt x="85" y="71"/>
                    </a:lnTo>
                    <a:lnTo>
                      <a:pt x="87" y="72"/>
                    </a:lnTo>
                    <a:lnTo>
                      <a:pt x="90" y="79"/>
                    </a:lnTo>
                    <a:lnTo>
                      <a:pt x="90" y="82"/>
                    </a:lnTo>
                    <a:lnTo>
                      <a:pt x="94" y="84"/>
                    </a:lnTo>
                    <a:lnTo>
                      <a:pt x="95" y="87"/>
                    </a:lnTo>
                    <a:lnTo>
                      <a:pt x="95" y="90"/>
                    </a:lnTo>
                    <a:lnTo>
                      <a:pt x="92" y="92"/>
                    </a:lnTo>
                    <a:lnTo>
                      <a:pt x="90" y="92"/>
                    </a:lnTo>
                    <a:lnTo>
                      <a:pt x="89" y="92"/>
                    </a:lnTo>
                    <a:lnTo>
                      <a:pt x="87" y="89"/>
                    </a:lnTo>
                    <a:lnTo>
                      <a:pt x="84" y="89"/>
                    </a:lnTo>
                    <a:lnTo>
                      <a:pt x="82" y="93"/>
                    </a:lnTo>
                    <a:lnTo>
                      <a:pt x="76" y="90"/>
                    </a:lnTo>
                    <a:lnTo>
                      <a:pt x="67" y="92"/>
                    </a:lnTo>
                    <a:lnTo>
                      <a:pt x="46" y="92"/>
                    </a:lnTo>
                    <a:lnTo>
                      <a:pt x="41" y="93"/>
                    </a:lnTo>
                    <a:lnTo>
                      <a:pt x="41" y="95"/>
                    </a:lnTo>
                    <a:lnTo>
                      <a:pt x="30" y="98"/>
                    </a:lnTo>
                    <a:lnTo>
                      <a:pt x="28" y="100"/>
                    </a:lnTo>
                    <a:lnTo>
                      <a:pt x="25" y="100"/>
                    </a:lnTo>
                    <a:lnTo>
                      <a:pt x="20" y="105"/>
                    </a:lnTo>
                    <a:lnTo>
                      <a:pt x="18" y="10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0" name="Freeform 273">
                <a:extLst>
                  <a:ext uri="{FF2B5EF4-FFF2-40B4-BE49-F238E27FC236}">
                    <a16:creationId xmlns:a16="http://schemas.microsoft.com/office/drawing/2014/main" xmlns="" id="{659C7CAD-54B3-409A-846E-2171F4136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1872"/>
                <a:ext cx="67" cy="108"/>
              </a:xfrm>
              <a:custGeom>
                <a:avLst/>
                <a:gdLst>
                  <a:gd name="T0" fmla="*/ 5 w 67"/>
                  <a:gd name="T1" fmla="*/ 102 h 108"/>
                  <a:gd name="T2" fmla="*/ 10 w 67"/>
                  <a:gd name="T3" fmla="*/ 100 h 108"/>
                  <a:gd name="T4" fmla="*/ 9 w 67"/>
                  <a:gd name="T5" fmla="*/ 94 h 108"/>
                  <a:gd name="T6" fmla="*/ 5 w 67"/>
                  <a:gd name="T7" fmla="*/ 89 h 108"/>
                  <a:gd name="T8" fmla="*/ 0 w 67"/>
                  <a:gd name="T9" fmla="*/ 81 h 108"/>
                  <a:gd name="T10" fmla="*/ 2 w 67"/>
                  <a:gd name="T11" fmla="*/ 77 h 108"/>
                  <a:gd name="T12" fmla="*/ 4 w 67"/>
                  <a:gd name="T13" fmla="*/ 69 h 108"/>
                  <a:gd name="T14" fmla="*/ 5 w 67"/>
                  <a:gd name="T15" fmla="*/ 63 h 108"/>
                  <a:gd name="T16" fmla="*/ 10 w 67"/>
                  <a:gd name="T17" fmla="*/ 51 h 108"/>
                  <a:gd name="T18" fmla="*/ 12 w 67"/>
                  <a:gd name="T19" fmla="*/ 46 h 108"/>
                  <a:gd name="T20" fmla="*/ 12 w 67"/>
                  <a:gd name="T21" fmla="*/ 38 h 108"/>
                  <a:gd name="T22" fmla="*/ 10 w 67"/>
                  <a:gd name="T23" fmla="*/ 33 h 108"/>
                  <a:gd name="T24" fmla="*/ 10 w 67"/>
                  <a:gd name="T25" fmla="*/ 25 h 108"/>
                  <a:gd name="T26" fmla="*/ 9 w 67"/>
                  <a:gd name="T27" fmla="*/ 15 h 108"/>
                  <a:gd name="T28" fmla="*/ 5 w 67"/>
                  <a:gd name="T29" fmla="*/ 9 h 108"/>
                  <a:gd name="T30" fmla="*/ 12 w 67"/>
                  <a:gd name="T31" fmla="*/ 4 h 108"/>
                  <a:gd name="T32" fmla="*/ 25 w 67"/>
                  <a:gd name="T33" fmla="*/ 4 h 108"/>
                  <a:gd name="T34" fmla="*/ 38 w 67"/>
                  <a:gd name="T35" fmla="*/ 2 h 108"/>
                  <a:gd name="T36" fmla="*/ 46 w 67"/>
                  <a:gd name="T37" fmla="*/ 0 h 108"/>
                  <a:gd name="T38" fmla="*/ 48 w 67"/>
                  <a:gd name="T39" fmla="*/ 5 h 108"/>
                  <a:gd name="T40" fmla="*/ 49 w 67"/>
                  <a:gd name="T41" fmla="*/ 9 h 108"/>
                  <a:gd name="T42" fmla="*/ 54 w 67"/>
                  <a:gd name="T43" fmla="*/ 15 h 108"/>
                  <a:gd name="T44" fmla="*/ 58 w 67"/>
                  <a:gd name="T45" fmla="*/ 22 h 108"/>
                  <a:gd name="T46" fmla="*/ 59 w 67"/>
                  <a:gd name="T47" fmla="*/ 28 h 108"/>
                  <a:gd name="T48" fmla="*/ 61 w 67"/>
                  <a:gd name="T49" fmla="*/ 35 h 108"/>
                  <a:gd name="T50" fmla="*/ 59 w 67"/>
                  <a:gd name="T51" fmla="*/ 40 h 108"/>
                  <a:gd name="T52" fmla="*/ 61 w 67"/>
                  <a:gd name="T53" fmla="*/ 43 h 108"/>
                  <a:gd name="T54" fmla="*/ 61 w 67"/>
                  <a:gd name="T55" fmla="*/ 48 h 108"/>
                  <a:gd name="T56" fmla="*/ 62 w 67"/>
                  <a:gd name="T57" fmla="*/ 56 h 108"/>
                  <a:gd name="T58" fmla="*/ 61 w 67"/>
                  <a:gd name="T59" fmla="*/ 69 h 108"/>
                  <a:gd name="T60" fmla="*/ 59 w 67"/>
                  <a:gd name="T61" fmla="*/ 76 h 108"/>
                  <a:gd name="T62" fmla="*/ 62 w 67"/>
                  <a:gd name="T63" fmla="*/ 84 h 108"/>
                  <a:gd name="T64" fmla="*/ 66 w 67"/>
                  <a:gd name="T65" fmla="*/ 85 h 108"/>
                  <a:gd name="T66" fmla="*/ 59 w 67"/>
                  <a:gd name="T67" fmla="*/ 90 h 108"/>
                  <a:gd name="T68" fmla="*/ 43 w 67"/>
                  <a:gd name="T69" fmla="*/ 100 h 108"/>
                  <a:gd name="T70" fmla="*/ 20 w 67"/>
                  <a:gd name="T71" fmla="*/ 108 h 108"/>
                  <a:gd name="T72" fmla="*/ 5 w 67"/>
                  <a:gd name="T73" fmla="*/ 10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7" h="108">
                    <a:moveTo>
                      <a:pt x="4" y="102"/>
                    </a:moveTo>
                    <a:lnTo>
                      <a:pt x="5" y="102"/>
                    </a:lnTo>
                    <a:lnTo>
                      <a:pt x="7" y="102"/>
                    </a:lnTo>
                    <a:lnTo>
                      <a:pt x="10" y="100"/>
                    </a:lnTo>
                    <a:lnTo>
                      <a:pt x="10" y="97"/>
                    </a:lnTo>
                    <a:lnTo>
                      <a:pt x="9" y="94"/>
                    </a:lnTo>
                    <a:lnTo>
                      <a:pt x="5" y="92"/>
                    </a:lnTo>
                    <a:lnTo>
                      <a:pt x="5" y="89"/>
                    </a:lnTo>
                    <a:lnTo>
                      <a:pt x="2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2" y="77"/>
                    </a:lnTo>
                    <a:lnTo>
                      <a:pt x="2" y="71"/>
                    </a:lnTo>
                    <a:lnTo>
                      <a:pt x="4" y="69"/>
                    </a:lnTo>
                    <a:lnTo>
                      <a:pt x="4" y="64"/>
                    </a:lnTo>
                    <a:lnTo>
                      <a:pt x="5" y="63"/>
                    </a:lnTo>
                    <a:lnTo>
                      <a:pt x="4" y="59"/>
                    </a:lnTo>
                    <a:lnTo>
                      <a:pt x="10" y="51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3" y="43"/>
                    </a:lnTo>
                    <a:lnTo>
                      <a:pt x="12" y="38"/>
                    </a:lnTo>
                    <a:lnTo>
                      <a:pt x="10" y="36"/>
                    </a:lnTo>
                    <a:lnTo>
                      <a:pt x="10" y="33"/>
                    </a:lnTo>
                    <a:lnTo>
                      <a:pt x="9" y="30"/>
                    </a:lnTo>
                    <a:lnTo>
                      <a:pt x="10" y="25"/>
                    </a:lnTo>
                    <a:lnTo>
                      <a:pt x="10" y="18"/>
                    </a:lnTo>
                    <a:lnTo>
                      <a:pt x="9" y="15"/>
                    </a:lnTo>
                    <a:lnTo>
                      <a:pt x="7" y="14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12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33" y="4"/>
                    </a:lnTo>
                    <a:lnTo>
                      <a:pt x="38" y="2"/>
                    </a:lnTo>
                    <a:lnTo>
                      <a:pt x="43" y="2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5"/>
                    </a:lnTo>
                    <a:lnTo>
                      <a:pt x="49" y="7"/>
                    </a:lnTo>
                    <a:lnTo>
                      <a:pt x="49" y="9"/>
                    </a:lnTo>
                    <a:lnTo>
                      <a:pt x="54" y="12"/>
                    </a:lnTo>
                    <a:lnTo>
                      <a:pt x="54" y="15"/>
                    </a:lnTo>
                    <a:lnTo>
                      <a:pt x="58" y="17"/>
                    </a:lnTo>
                    <a:lnTo>
                      <a:pt x="58" y="22"/>
                    </a:lnTo>
                    <a:lnTo>
                      <a:pt x="58" y="27"/>
                    </a:lnTo>
                    <a:lnTo>
                      <a:pt x="59" y="28"/>
                    </a:lnTo>
                    <a:lnTo>
                      <a:pt x="61" y="28"/>
                    </a:lnTo>
                    <a:lnTo>
                      <a:pt x="61" y="35"/>
                    </a:lnTo>
                    <a:lnTo>
                      <a:pt x="59" y="36"/>
                    </a:lnTo>
                    <a:lnTo>
                      <a:pt x="59" y="40"/>
                    </a:lnTo>
                    <a:lnTo>
                      <a:pt x="61" y="41"/>
                    </a:lnTo>
                    <a:lnTo>
                      <a:pt x="61" y="43"/>
                    </a:lnTo>
                    <a:lnTo>
                      <a:pt x="59" y="46"/>
                    </a:lnTo>
                    <a:lnTo>
                      <a:pt x="61" y="48"/>
                    </a:lnTo>
                    <a:lnTo>
                      <a:pt x="61" y="53"/>
                    </a:lnTo>
                    <a:lnTo>
                      <a:pt x="62" y="56"/>
                    </a:lnTo>
                    <a:lnTo>
                      <a:pt x="62" y="66"/>
                    </a:lnTo>
                    <a:lnTo>
                      <a:pt x="61" y="69"/>
                    </a:lnTo>
                    <a:lnTo>
                      <a:pt x="61" y="71"/>
                    </a:lnTo>
                    <a:lnTo>
                      <a:pt x="59" y="76"/>
                    </a:lnTo>
                    <a:lnTo>
                      <a:pt x="61" y="79"/>
                    </a:lnTo>
                    <a:lnTo>
                      <a:pt x="62" y="84"/>
                    </a:lnTo>
                    <a:lnTo>
                      <a:pt x="64" y="84"/>
                    </a:lnTo>
                    <a:lnTo>
                      <a:pt x="66" y="85"/>
                    </a:lnTo>
                    <a:lnTo>
                      <a:pt x="67" y="89"/>
                    </a:lnTo>
                    <a:lnTo>
                      <a:pt x="59" y="90"/>
                    </a:lnTo>
                    <a:lnTo>
                      <a:pt x="51" y="94"/>
                    </a:lnTo>
                    <a:lnTo>
                      <a:pt x="43" y="100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3" y="105"/>
                    </a:lnTo>
                    <a:lnTo>
                      <a:pt x="5" y="103"/>
                    </a:lnTo>
                    <a:lnTo>
                      <a:pt x="4" y="10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1" name="Freeform 274">
                <a:extLst>
                  <a:ext uri="{FF2B5EF4-FFF2-40B4-BE49-F238E27FC236}">
                    <a16:creationId xmlns:a16="http://schemas.microsoft.com/office/drawing/2014/main" xmlns="" id="{CE27A4DC-11D7-4691-A401-2C83A08DF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1" y="1872"/>
                <a:ext cx="31" cy="89"/>
              </a:xfrm>
              <a:custGeom>
                <a:avLst/>
                <a:gdLst>
                  <a:gd name="T0" fmla="*/ 16 w 31"/>
                  <a:gd name="T1" fmla="*/ 5 h 89"/>
                  <a:gd name="T2" fmla="*/ 0 w 31"/>
                  <a:gd name="T3" fmla="*/ 0 h 89"/>
                  <a:gd name="T4" fmla="*/ 0 w 31"/>
                  <a:gd name="T5" fmla="*/ 0 h 89"/>
                  <a:gd name="T6" fmla="*/ 0 w 31"/>
                  <a:gd name="T7" fmla="*/ 5 h 89"/>
                  <a:gd name="T8" fmla="*/ 1 w 31"/>
                  <a:gd name="T9" fmla="*/ 7 h 89"/>
                  <a:gd name="T10" fmla="*/ 1 w 31"/>
                  <a:gd name="T11" fmla="*/ 9 h 89"/>
                  <a:gd name="T12" fmla="*/ 6 w 31"/>
                  <a:gd name="T13" fmla="*/ 12 h 89"/>
                  <a:gd name="T14" fmla="*/ 6 w 31"/>
                  <a:gd name="T15" fmla="*/ 15 h 89"/>
                  <a:gd name="T16" fmla="*/ 10 w 31"/>
                  <a:gd name="T17" fmla="*/ 17 h 89"/>
                  <a:gd name="T18" fmla="*/ 10 w 31"/>
                  <a:gd name="T19" fmla="*/ 22 h 89"/>
                  <a:gd name="T20" fmla="*/ 10 w 31"/>
                  <a:gd name="T21" fmla="*/ 27 h 89"/>
                  <a:gd name="T22" fmla="*/ 11 w 31"/>
                  <a:gd name="T23" fmla="*/ 28 h 89"/>
                  <a:gd name="T24" fmla="*/ 13 w 31"/>
                  <a:gd name="T25" fmla="*/ 28 h 89"/>
                  <a:gd name="T26" fmla="*/ 13 w 31"/>
                  <a:gd name="T27" fmla="*/ 35 h 89"/>
                  <a:gd name="T28" fmla="*/ 11 w 31"/>
                  <a:gd name="T29" fmla="*/ 36 h 89"/>
                  <a:gd name="T30" fmla="*/ 11 w 31"/>
                  <a:gd name="T31" fmla="*/ 40 h 89"/>
                  <a:gd name="T32" fmla="*/ 13 w 31"/>
                  <a:gd name="T33" fmla="*/ 41 h 89"/>
                  <a:gd name="T34" fmla="*/ 13 w 31"/>
                  <a:gd name="T35" fmla="*/ 43 h 89"/>
                  <a:gd name="T36" fmla="*/ 11 w 31"/>
                  <a:gd name="T37" fmla="*/ 46 h 89"/>
                  <a:gd name="T38" fmla="*/ 13 w 31"/>
                  <a:gd name="T39" fmla="*/ 48 h 89"/>
                  <a:gd name="T40" fmla="*/ 13 w 31"/>
                  <a:gd name="T41" fmla="*/ 53 h 89"/>
                  <a:gd name="T42" fmla="*/ 14 w 31"/>
                  <a:gd name="T43" fmla="*/ 56 h 89"/>
                  <a:gd name="T44" fmla="*/ 14 w 31"/>
                  <a:gd name="T45" fmla="*/ 66 h 89"/>
                  <a:gd name="T46" fmla="*/ 13 w 31"/>
                  <a:gd name="T47" fmla="*/ 69 h 89"/>
                  <a:gd name="T48" fmla="*/ 13 w 31"/>
                  <a:gd name="T49" fmla="*/ 71 h 89"/>
                  <a:gd name="T50" fmla="*/ 11 w 31"/>
                  <a:gd name="T51" fmla="*/ 76 h 89"/>
                  <a:gd name="T52" fmla="*/ 13 w 31"/>
                  <a:gd name="T53" fmla="*/ 79 h 89"/>
                  <a:gd name="T54" fmla="*/ 14 w 31"/>
                  <a:gd name="T55" fmla="*/ 84 h 89"/>
                  <a:gd name="T56" fmla="*/ 16 w 31"/>
                  <a:gd name="T57" fmla="*/ 84 h 89"/>
                  <a:gd name="T58" fmla="*/ 18 w 31"/>
                  <a:gd name="T59" fmla="*/ 85 h 89"/>
                  <a:gd name="T60" fmla="*/ 19 w 31"/>
                  <a:gd name="T61" fmla="*/ 89 h 89"/>
                  <a:gd name="T62" fmla="*/ 21 w 31"/>
                  <a:gd name="T63" fmla="*/ 89 h 89"/>
                  <a:gd name="T64" fmla="*/ 29 w 31"/>
                  <a:gd name="T65" fmla="*/ 82 h 89"/>
                  <a:gd name="T66" fmla="*/ 31 w 31"/>
                  <a:gd name="T67" fmla="*/ 84 h 89"/>
                  <a:gd name="T68" fmla="*/ 31 w 31"/>
                  <a:gd name="T69" fmla="*/ 81 h 89"/>
                  <a:gd name="T70" fmla="*/ 29 w 31"/>
                  <a:gd name="T71" fmla="*/ 76 h 89"/>
                  <a:gd name="T72" fmla="*/ 29 w 31"/>
                  <a:gd name="T73" fmla="*/ 72 h 89"/>
                  <a:gd name="T74" fmla="*/ 28 w 31"/>
                  <a:gd name="T75" fmla="*/ 67 h 89"/>
                  <a:gd name="T76" fmla="*/ 28 w 31"/>
                  <a:gd name="T77" fmla="*/ 48 h 89"/>
                  <a:gd name="T78" fmla="*/ 28 w 31"/>
                  <a:gd name="T79" fmla="*/ 46 h 89"/>
                  <a:gd name="T80" fmla="*/ 29 w 31"/>
                  <a:gd name="T81" fmla="*/ 43 h 89"/>
                  <a:gd name="T82" fmla="*/ 29 w 31"/>
                  <a:gd name="T83" fmla="*/ 40 h 89"/>
                  <a:gd name="T84" fmla="*/ 29 w 31"/>
                  <a:gd name="T85" fmla="*/ 36 h 89"/>
                  <a:gd name="T86" fmla="*/ 29 w 31"/>
                  <a:gd name="T87" fmla="*/ 33 h 89"/>
                  <a:gd name="T88" fmla="*/ 28 w 31"/>
                  <a:gd name="T89" fmla="*/ 25 h 89"/>
                  <a:gd name="T90" fmla="*/ 24 w 31"/>
                  <a:gd name="T91" fmla="*/ 17 h 89"/>
                  <a:gd name="T92" fmla="*/ 23 w 31"/>
                  <a:gd name="T93" fmla="*/ 17 h 89"/>
                  <a:gd name="T94" fmla="*/ 21 w 31"/>
                  <a:gd name="T95" fmla="*/ 14 h 89"/>
                  <a:gd name="T96" fmla="*/ 16 w 31"/>
                  <a:gd name="T97" fmla="*/ 12 h 89"/>
                  <a:gd name="T98" fmla="*/ 16 w 31"/>
                  <a:gd name="T99" fmla="*/ 7 h 89"/>
                  <a:gd name="T100" fmla="*/ 16 w 31"/>
                  <a:gd name="T101" fmla="*/ 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" h="89">
                    <a:moveTo>
                      <a:pt x="16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1" y="9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10" y="17"/>
                    </a:lnTo>
                    <a:lnTo>
                      <a:pt x="10" y="22"/>
                    </a:lnTo>
                    <a:lnTo>
                      <a:pt x="10" y="27"/>
                    </a:lnTo>
                    <a:lnTo>
                      <a:pt x="11" y="28"/>
                    </a:lnTo>
                    <a:lnTo>
                      <a:pt x="13" y="28"/>
                    </a:lnTo>
                    <a:lnTo>
                      <a:pt x="13" y="35"/>
                    </a:lnTo>
                    <a:lnTo>
                      <a:pt x="11" y="36"/>
                    </a:lnTo>
                    <a:lnTo>
                      <a:pt x="11" y="40"/>
                    </a:lnTo>
                    <a:lnTo>
                      <a:pt x="13" y="41"/>
                    </a:lnTo>
                    <a:lnTo>
                      <a:pt x="13" y="43"/>
                    </a:lnTo>
                    <a:lnTo>
                      <a:pt x="11" y="46"/>
                    </a:lnTo>
                    <a:lnTo>
                      <a:pt x="13" y="48"/>
                    </a:lnTo>
                    <a:lnTo>
                      <a:pt x="13" y="53"/>
                    </a:lnTo>
                    <a:lnTo>
                      <a:pt x="14" y="56"/>
                    </a:lnTo>
                    <a:lnTo>
                      <a:pt x="14" y="66"/>
                    </a:lnTo>
                    <a:lnTo>
                      <a:pt x="13" y="69"/>
                    </a:lnTo>
                    <a:lnTo>
                      <a:pt x="13" y="71"/>
                    </a:lnTo>
                    <a:lnTo>
                      <a:pt x="11" y="76"/>
                    </a:lnTo>
                    <a:lnTo>
                      <a:pt x="13" y="79"/>
                    </a:lnTo>
                    <a:lnTo>
                      <a:pt x="14" y="84"/>
                    </a:lnTo>
                    <a:lnTo>
                      <a:pt x="16" y="84"/>
                    </a:lnTo>
                    <a:lnTo>
                      <a:pt x="18" y="85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9" y="82"/>
                    </a:lnTo>
                    <a:lnTo>
                      <a:pt x="31" y="84"/>
                    </a:lnTo>
                    <a:lnTo>
                      <a:pt x="31" y="81"/>
                    </a:lnTo>
                    <a:lnTo>
                      <a:pt x="29" y="76"/>
                    </a:lnTo>
                    <a:lnTo>
                      <a:pt x="29" y="72"/>
                    </a:lnTo>
                    <a:lnTo>
                      <a:pt x="28" y="67"/>
                    </a:lnTo>
                    <a:lnTo>
                      <a:pt x="28" y="48"/>
                    </a:lnTo>
                    <a:lnTo>
                      <a:pt x="28" y="46"/>
                    </a:lnTo>
                    <a:lnTo>
                      <a:pt x="29" y="43"/>
                    </a:lnTo>
                    <a:lnTo>
                      <a:pt x="29" y="40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8" y="25"/>
                    </a:lnTo>
                    <a:lnTo>
                      <a:pt x="24" y="17"/>
                    </a:lnTo>
                    <a:lnTo>
                      <a:pt x="23" y="17"/>
                    </a:lnTo>
                    <a:lnTo>
                      <a:pt x="21" y="14"/>
                    </a:lnTo>
                    <a:lnTo>
                      <a:pt x="16" y="12"/>
                    </a:lnTo>
                    <a:lnTo>
                      <a:pt x="16" y="7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2" name="Freeform 275">
                <a:extLst>
                  <a:ext uri="{FF2B5EF4-FFF2-40B4-BE49-F238E27FC236}">
                    <a16:creationId xmlns:a16="http://schemas.microsoft.com/office/drawing/2014/main" xmlns="" id="{A89073EC-96D7-449F-8731-3ED98D212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850"/>
                <a:ext cx="49" cy="106"/>
              </a:xfrm>
              <a:custGeom>
                <a:avLst/>
                <a:gdLst>
                  <a:gd name="T0" fmla="*/ 23 w 49"/>
                  <a:gd name="T1" fmla="*/ 8 h 106"/>
                  <a:gd name="T2" fmla="*/ 16 w 49"/>
                  <a:gd name="T3" fmla="*/ 13 h 106"/>
                  <a:gd name="T4" fmla="*/ 10 w 49"/>
                  <a:gd name="T5" fmla="*/ 14 h 106"/>
                  <a:gd name="T6" fmla="*/ 7 w 49"/>
                  <a:gd name="T7" fmla="*/ 19 h 106"/>
                  <a:gd name="T8" fmla="*/ 5 w 49"/>
                  <a:gd name="T9" fmla="*/ 24 h 106"/>
                  <a:gd name="T10" fmla="*/ 0 w 49"/>
                  <a:gd name="T11" fmla="*/ 29 h 106"/>
                  <a:gd name="T12" fmla="*/ 5 w 49"/>
                  <a:gd name="T13" fmla="*/ 36 h 106"/>
                  <a:gd name="T14" fmla="*/ 8 w 49"/>
                  <a:gd name="T15" fmla="*/ 39 h 106"/>
                  <a:gd name="T16" fmla="*/ 13 w 49"/>
                  <a:gd name="T17" fmla="*/ 55 h 106"/>
                  <a:gd name="T18" fmla="*/ 13 w 49"/>
                  <a:gd name="T19" fmla="*/ 62 h 106"/>
                  <a:gd name="T20" fmla="*/ 12 w 49"/>
                  <a:gd name="T21" fmla="*/ 68 h 106"/>
                  <a:gd name="T22" fmla="*/ 12 w 49"/>
                  <a:gd name="T23" fmla="*/ 89 h 106"/>
                  <a:gd name="T24" fmla="*/ 13 w 49"/>
                  <a:gd name="T25" fmla="*/ 98 h 106"/>
                  <a:gd name="T26" fmla="*/ 15 w 49"/>
                  <a:gd name="T27" fmla="*/ 106 h 106"/>
                  <a:gd name="T28" fmla="*/ 31 w 49"/>
                  <a:gd name="T29" fmla="*/ 103 h 106"/>
                  <a:gd name="T30" fmla="*/ 31 w 49"/>
                  <a:gd name="T31" fmla="*/ 99 h 106"/>
                  <a:gd name="T32" fmla="*/ 31 w 49"/>
                  <a:gd name="T33" fmla="*/ 88 h 106"/>
                  <a:gd name="T34" fmla="*/ 31 w 49"/>
                  <a:gd name="T35" fmla="*/ 80 h 106"/>
                  <a:gd name="T36" fmla="*/ 31 w 49"/>
                  <a:gd name="T37" fmla="*/ 75 h 106"/>
                  <a:gd name="T38" fmla="*/ 31 w 49"/>
                  <a:gd name="T39" fmla="*/ 73 h 106"/>
                  <a:gd name="T40" fmla="*/ 29 w 49"/>
                  <a:gd name="T41" fmla="*/ 68 h 106"/>
                  <a:gd name="T42" fmla="*/ 31 w 49"/>
                  <a:gd name="T43" fmla="*/ 63 h 106"/>
                  <a:gd name="T44" fmla="*/ 31 w 49"/>
                  <a:gd name="T45" fmla="*/ 58 h 106"/>
                  <a:gd name="T46" fmla="*/ 36 w 49"/>
                  <a:gd name="T47" fmla="*/ 57 h 106"/>
                  <a:gd name="T48" fmla="*/ 39 w 49"/>
                  <a:gd name="T49" fmla="*/ 52 h 106"/>
                  <a:gd name="T50" fmla="*/ 43 w 49"/>
                  <a:gd name="T51" fmla="*/ 45 h 106"/>
                  <a:gd name="T52" fmla="*/ 46 w 49"/>
                  <a:gd name="T53" fmla="*/ 44 h 106"/>
                  <a:gd name="T54" fmla="*/ 44 w 49"/>
                  <a:gd name="T55" fmla="*/ 39 h 106"/>
                  <a:gd name="T56" fmla="*/ 46 w 49"/>
                  <a:gd name="T57" fmla="*/ 36 h 106"/>
                  <a:gd name="T58" fmla="*/ 49 w 49"/>
                  <a:gd name="T59" fmla="*/ 34 h 106"/>
                  <a:gd name="T60" fmla="*/ 47 w 49"/>
                  <a:gd name="T61" fmla="*/ 24 h 106"/>
                  <a:gd name="T62" fmla="*/ 43 w 49"/>
                  <a:gd name="T63" fmla="*/ 18 h 106"/>
                  <a:gd name="T64" fmla="*/ 44 w 49"/>
                  <a:gd name="T65" fmla="*/ 14 h 106"/>
                  <a:gd name="T66" fmla="*/ 36 w 49"/>
                  <a:gd name="T67" fmla="*/ 8 h 106"/>
                  <a:gd name="T68" fmla="*/ 28 w 49"/>
                  <a:gd name="T69" fmla="*/ 0 h 106"/>
                  <a:gd name="T70" fmla="*/ 28 w 49"/>
                  <a:gd name="T71" fmla="*/ 5 h 106"/>
                  <a:gd name="T72" fmla="*/ 23 w 49"/>
                  <a:gd name="T73" fmla="*/ 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106">
                    <a:moveTo>
                      <a:pt x="23" y="6"/>
                    </a:moveTo>
                    <a:lnTo>
                      <a:pt x="23" y="8"/>
                    </a:lnTo>
                    <a:lnTo>
                      <a:pt x="20" y="13"/>
                    </a:lnTo>
                    <a:lnTo>
                      <a:pt x="16" y="13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5" y="21"/>
                    </a:lnTo>
                    <a:lnTo>
                      <a:pt x="5" y="24"/>
                    </a:lnTo>
                    <a:lnTo>
                      <a:pt x="2" y="26"/>
                    </a:lnTo>
                    <a:lnTo>
                      <a:pt x="0" y="29"/>
                    </a:lnTo>
                    <a:lnTo>
                      <a:pt x="0" y="34"/>
                    </a:lnTo>
                    <a:lnTo>
                      <a:pt x="5" y="36"/>
                    </a:lnTo>
                    <a:lnTo>
                      <a:pt x="7" y="39"/>
                    </a:lnTo>
                    <a:lnTo>
                      <a:pt x="8" y="39"/>
                    </a:lnTo>
                    <a:lnTo>
                      <a:pt x="12" y="47"/>
                    </a:lnTo>
                    <a:lnTo>
                      <a:pt x="13" y="55"/>
                    </a:lnTo>
                    <a:lnTo>
                      <a:pt x="13" y="58"/>
                    </a:lnTo>
                    <a:lnTo>
                      <a:pt x="13" y="62"/>
                    </a:lnTo>
                    <a:lnTo>
                      <a:pt x="13" y="65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89"/>
                    </a:lnTo>
                    <a:lnTo>
                      <a:pt x="13" y="94"/>
                    </a:lnTo>
                    <a:lnTo>
                      <a:pt x="13" y="98"/>
                    </a:lnTo>
                    <a:lnTo>
                      <a:pt x="15" y="103"/>
                    </a:lnTo>
                    <a:lnTo>
                      <a:pt x="15" y="106"/>
                    </a:lnTo>
                    <a:lnTo>
                      <a:pt x="20" y="106"/>
                    </a:lnTo>
                    <a:lnTo>
                      <a:pt x="31" y="103"/>
                    </a:lnTo>
                    <a:lnTo>
                      <a:pt x="31" y="103"/>
                    </a:lnTo>
                    <a:lnTo>
                      <a:pt x="31" y="99"/>
                    </a:lnTo>
                    <a:lnTo>
                      <a:pt x="31" y="91"/>
                    </a:lnTo>
                    <a:lnTo>
                      <a:pt x="31" y="88"/>
                    </a:lnTo>
                    <a:lnTo>
                      <a:pt x="31" y="86"/>
                    </a:lnTo>
                    <a:lnTo>
                      <a:pt x="31" y="80"/>
                    </a:lnTo>
                    <a:lnTo>
                      <a:pt x="31" y="76"/>
                    </a:lnTo>
                    <a:lnTo>
                      <a:pt x="31" y="75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31" y="70"/>
                    </a:lnTo>
                    <a:lnTo>
                      <a:pt x="29" y="68"/>
                    </a:lnTo>
                    <a:lnTo>
                      <a:pt x="31" y="65"/>
                    </a:lnTo>
                    <a:lnTo>
                      <a:pt x="31" y="63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4" y="57"/>
                    </a:lnTo>
                    <a:lnTo>
                      <a:pt x="36" y="57"/>
                    </a:lnTo>
                    <a:lnTo>
                      <a:pt x="38" y="55"/>
                    </a:lnTo>
                    <a:lnTo>
                      <a:pt x="39" y="52"/>
                    </a:lnTo>
                    <a:lnTo>
                      <a:pt x="41" y="49"/>
                    </a:lnTo>
                    <a:lnTo>
                      <a:pt x="43" y="45"/>
                    </a:lnTo>
                    <a:lnTo>
                      <a:pt x="44" y="44"/>
                    </a:lnTo>
                    <a:lnTo>
                      <a:pt x="46" y="44"/>
                    </a:lnTo>
                    <a:lnTo>
                      <a:pt x="47" y="42"/>
                    </a:lnTo>
                    <a:lnTo>
                      <a:pt x="44" y="39"/>
                    </a:lnTo>
                    <a:lnTo>
                      <a:pt x="44" y="37"/>
                    </a:lnTo>
                    <a:lnTo>
                      <a:pt x="46" y="36"/>
                    </a:lnTo>
                    <a:lnTo>
                      <a:pt x="49" y="36"/>
                    </a:lnTo>
                    <a:lnTo>
                      <a:pt x="49" y="34"/>
                    </a:lnTo>
                    <a:lnTo>
                      <a:pt x="47" y="27"/>
                    </a:lnTo>
                    <a:lnTo>
                      <a:pt x="47" y="24"/>
                    </a:lnTo>
                    <a:lnTo>
                      <a:pt x="44" y="21"/>
                    </a:lnTo>
                    <a:lnTo>
                      <a:pt x="43" y="18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1" y="9"/>
                    </a:lnTo>
                    <a:lnTo>
                      <a:pt x="36" y="8"/>
                    </a:lnTo>
                    <a:lnTo>
                      <a:pt x="34" y="5"/>
                    </a:lnTo>
                    <a:lnTo>
                      <a:pt x="28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3" name="Freeform 276">
                <a:extLst>
                  <a:ext uri="{FF2B5EF4-FFF2-40B4-BE49-F238E27FC236}">
                    <a16:creationId xmlns:a16="http://schemas.microsoft.com/office/drawing/2014/main" xmlns="" id="{F8D93C23-E91B-4D0E-B74B-29136AAB9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2" y="1668"/>
                <a:ext cx="184" cy="270"/>
              </a:xfrm>
              <a:custGeom>
                <a:avLst/>
                <a:gdLst>
                  <a:gd name="T0" fmla="*/ 183 w 184"/>
                  <a:gd name="T1" fmla="*/ 66 h 270"/>
                  <a:gd name="T2" fmla="*/ 178 w 184"/>
                  <a:gd name="T3" fmla="*/ 133 h 270"/>
                  <a:gd name="T4" fmla="*/ 168 w 184"/>
                  <a:gd name="T5" fmla="*/ 134 h 270"/>
                  <a:gd name="T6" fmla="*/ 168 w 184"/>
                  <a:gd name="T7" fmla="*/ 144 h 270"/>
                  <a:gd name="T8" fmla="*/ 158 w 184"/>
                  <a:gd name="T9" fmla="*/ 154 h 270"/>
                  <a:gd name="T10" fmla="*/ 160 w 184"/>
                  <a:gd name="T11" fmla="*/ 160 h 270"/>
                  <a:gd name="T12" fmla="*/ 158 w 184"/>
                  <a:gd name="T13" fmla="*/ 167 h 270"/>
                  <a:gd name="T14" fmla="*/ 152 w 184"/>
                  <a:gd name="T15" fmla="*/ 178 h 270"/>
                  <a:gd name="T16" fmla="*/ 158 w 184"/>
                  <a:gd name="T17" fmla="*/ 182 h 270"/>
                  <a:gd name="T18" fmla="*/ 158 w 184"/>
                  <a:gd name="T19" fmla="*/ 185 h 270"/>
                  <a:gd name="T20" fmla="*/ 160 w 184"/>
                  <a:gd name="T21" fmla="*/ 191 h 270"/>
                  <a:gd name="T22" fmla="*/ 166 w 184"/>
                  <a:gd name="T23" fmla="*/ 200 h 270"/>
                  <a:gd name="T24" fmla="*/ 166 w 184"/>
                  <a:gd name="T25" fmla="*/ 208 h 270"/>
                  <a:gd name="T26" fmla="*/ 160 w 184"/>
                  <a:gd name="T27" fmla="*/ 209 h 270"/>
                  <a:gd name="T28" fmla="*/ 150 w 184"/>
                  <a:gd name="T29" fmla="*/ 214 h 270"/>
                  <a:gd name="T30" fmla="*/ 147 w 184"/>
                  <a:gd name="T31" fmla="*/ 219 h 270"/>
                  <a:gd name="T32" fmla="*/ 142 w 184"/>
                  <a:gd name="T33" fmla="*/ 224 h 270"/>
                  <a:gd name="T34" fmla="*/ 137 w 184"/>
                  <a:gd name="T35" fmla="*/ 231 h 270"/>
                  <a:gd name="T36" fmla="*/ 137 w 184"/>
                  <a:gd name="T37" fmla="*/ 237 h 270"/>
                  <a:gd name="T38" fmla="*/ 124 w 184"/>
                  <a:gd name="T39" fmla="*/ 242 h 270"/>
                  <a:gd name="T40" fmla="*/ 114 w 184"/>
                  <a:gd name="T41" fmla="*/ 240 h 270"/>
                  <a:gd name="T42" fmla="*/ 106 w 184"/>
                  <a:gd name="T43" fmla="*/ 242 h 270"/>
                  <a:gd name="T44" fmla="*/ 109 w 184"/>
                  <a:gd name="T45" fmla="*/ 249 h 270"/>
                  <a:gd name="T46" fmla="*/ 103 w 184"/>
                  <a:gd name="T47" fmla="*/ 257 h 270"/>
                  <a:gd name="T48" fmla="*/ 86 w 184"/>
                  <a:gd name="T49" fmla="*/ 262 h 270"/>
                  <a:gd name="T50" fmla="*/ 75 w 184"/>
                  <a:gd name="T51" fmla="*/ 267 h 270"/>
                  <a:gd name="T52" fmla="*/ 70 w 184"/>
                  <a:gd name="T53" fmla="*/ 260 h 270"/>
                  <a:gd name="T54" fmla="*/ 67 w 184"/>
                  <a:gd name="T55" fmla="*/ 268 h 270"/>
                  <a:gd name="T56" fmla="*/ 57 w 184"/>
                  <a:gd name="T57" fmla="*/ 270 h 270"/>
                  <a:gd name="T58" fmla="*/ 54 w 184"/>
                  <a:gd name="T59" fmla="*/ 262 h 270"/>
                  <a:gd name="T60" fmla="*/ 47 w 184"/>
                  <a:gd name="T61" fmla="*/ 250 h 270"/>
                  <a:gd name="T62" fmla="*/ 33 w 184"/>
                  <a:gd name="T63" fmla="*/ 239 h 270"/>
                  <a:gd name="T64" fmla="*/ 29 w 184"/>
                  <a:gd name="T65" fmla="*/ 234 h 270"/>
                  <a:gd name="T66" fmla="*/ 31 w 184"/>
                  <a:gd name="T67" fmla="*/ 226 h 270"/>
                  <a:gd name="T68" fmla="*/ 37 w 184"/>
                  <a:gd name="T69" fmla="*/ 227 h 270"/>
                  <a:gd name="T70" fmla="*/ 46 w 184"/>
                  <a:gd name="T71" fmla="*/ 226 h 270"/>
                  <a:gd name="T72" fmla="*/ 52 w 184"/>
                  <a:gd name="T73" fmla="*/ 227 h 270"/>
                  <a:gd name="T74" fmla="*/ 49 w 184"/>
                  <a:gd name="T75" fmla="*/ 222 h 270"/>
                  <a:gd name="T76" fmla="*/ 42 w 184"/>
                  <a:gd name="T77" fmla="*/ 214 h 270"/>
                  <a:gd name="T78" fmla="*/ 46 w 184"/>
                  <a:gd name="T79" fmla="*/ 204 h 270"/>
                  <a:gd name="T80" fmla="*/ 44 w 184"/>
                  <a:gd name="T81" fmla="*/ 200 h 270"/>
                  <a:gd name="T82" fmla="*/ 42 w 184"/>
                  <a:gd name="T83" fmla="*/ 190 h 270"/>
                  <a:gd name="T84" fmla="*/ 36 w 184"/>
                  <a:gd name="T85" fmla="*/ 180 h 270"/>
                  <a:gd name="T86" fmla="*/ 26 w 184"/>
                  <a:gd name="T87" fmla="*/ 172 h 270"/>
                  <a:gd name="T88" fmla="*/ 19 w 184"/>
                  <a:gd name="T89" fmla="*/ 146 h 270"/>
                  <a:gd name="T90" fmla="*/ 23 w 184"/>
                  <a:gd name="T91" fmla="*/ 142 h 270"/>
                  <a:gd name="T92" fmla="*/ 49 w 184"/>
                  <a:gd name="T93" fmla="*/ 90 h 270"/>
                  <a:gd name="T94" fmla="*/ 55 w 184"/>
                  <a:gd name="T95" fmla="*/ 51 h 270"/>
                  <a:gd name="T96" fmla="*/ 47 w 184"/>
                  <a:gd name="T97" fmla="*/ 31 h 270"/>
                  <a:gd name="T98" fmla="*/ 37 w 184"/>
                  <a:gd name="T99" fmla="*/ 7 h 270"/>
                  <a:gd name="T100" fmla="*/ 0 w 184"/>
                  <a:gd name="T101" fmla="*/ 17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4" h="270">
                    <a:moveTo>
                      <a:pt x="37" y="7"/>
                    </a:moveTo>
                    <a:lnTo>
                      <a:pt x="55" y="0"/>
                    </a:lnTo>
                    <a:lnTo>
                      <a:pt x="183" y="66"/>
                    </a:lnTo>
                    <a:lnTo>
                      <a:pt x="184" y="129"/>
                    </a:lnTo>
                    <a:lnTo>
                      <a:pt x="181" y="131"/>
                    </a:lnTo>
                    <a:lnTo>
                      <a:pt x="178" y="133"/>
                    </a:lnTo>
                    <a:lnTo>
                      <a:pt x="176" y="131"/>
                    </a:lnTo>
                    <a:lnTo>
                      <a:pt x="171" y="131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0" y="139"/>
                    </a:lnTo>
                    <a:lnTo>
                      <a:pt x="168" y="144"/>
                    </a:lnTo>
                    <a:lnTo>
                      <a:pt x="163" y="151"/>
                    </a:lnTo>
                    <a:lnTo>
                      <a:pt x="162" y="151"/>
                    </a:lnTo>
                    <a:lnTo>
                      <a:pt x="158" y="154"/>
                    </a:lnTo>
                    <a:lnTo>
                      <a:pt x="160" y="155"/>
                    </a:lnTo>
                    <a:lnTo>
                      <a:pt x="162" y="157"/>
                    </a:lnTo>
                    <a:lnTo>
                      <a:pt x="160" y="160"/>
                    </a:lnTo>
                    <a:lnTo>
                      <a:pt x="157" y="162"/>
                    </a:lnTo>
                    <a:lnTo>
                      <a:pt x="155" y="165"/>
                    </a:lnTo>
                    <a:lnTo>
                      <a:pt x="158" y="167"/>
                    </a:lnTo>
                    <a:lnTo>
                      <a:pt x="158" y="170"/>
                    </a:lnTo>
                    <a:lnTo>
                      <a:pt x="157" y="172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5" y="183"/>
                    </a:lnTo>
                    <a:lnTo>
                      <a:pt x="158" y="182"/>
                    </a:lnTo>
                    <a:lnTo>
                      <a:pt x="160" y="182"/>
                    </a:lnTo>
                    <a:lnTo>
                      <a:pt x="160" y="183"/>
                    </a:lnTo>
                    <a:lnTo>
                      <a:pt x="158" y="185"/>
                    </a:lnTo>
                    <a:lnTo>
                      <a:pt x="160" y="187"/>
                    </a:lnTo>
                    <a:lnTo>
                      <a:pt x="158" y="188"/>
                    </a:lnTo>
                    <a:lnTo>
                      <a:pt x="160" y="191"/>
                    </a:lnTo>
                    <a:lnTo>
                      <a:pt x="160" y="196"/>
                    </a:lnTo>
                    <a:lnTo>
                      <a:pt x="162" y="198"/>
                    </a:lnTo>
                    <a:lnTo>
                      <a:pt x="166" y="200"/>
                    </a:lnTo>
                    <a:lnTo>
                      <a:pt x="168" y="203"/>
                    </a:lnTo>
                    <a:lnTo>
                      <a:pt x="166" y="204"/>
                    </a:lnTo>
                    <a:lnTo>
                      <a:pt x="166" y="208"/>
                    </a:lnTo>
                    <a:lnTo>
                      <a:pt x="166" y="209"/>
                    </a:lnTo>
                    <a:lnTo>
                      <a:pt x="162" y="211"/>
                    </a:lnTo>
                    <a:lnTo>
                      <a:pt x="160" y="209"/>
                    </a:lnTo>
                    <a:lnTo>
                      <a:pt x="157" y="209"/>
                    </a:lnTo>
                    <a:lnTo>
                      <a:pt x="153" y="213"/>
                    </a:lnTo>
                    <a:lnTo>
                      <a:pt x="150" y="214"/>
                    </a:lnTo>
                    <a:lnTo>
                      <a:pt x="148" y="216"/>
                    </a:lnTo>
                    <a:lnTo>
                      <a:pt x="148" y="219"/>
                    </a:lnTo>
                    <a:lnTo>
                      <a:pt x="147" y="219"/>
                    </a:lnTo>
                    <a:lnTo>
                      <a:pt x="145" y="224"/>
                    </a:lnTo>
                    <a:lnTo>
                      <a:pt x="144" y="224"/>
                    </a:lnTo>
                    <a:lnTo>
                      <a:pt x="142" y="224"/>
                    </a:lnTo>
                    <a:lnTo>
                      <a:pt x="139" y="226"/>
                    </a:lnTo>
                    <a:lnTo>
                      <a:pt x="139" y="229"/>
                    </a:lnTo>
                    <a:lnTo>
                      <a:pt x="137" y="231"/>
                    </a:lnTo>
                    <a:lnTo>
                      <a:pt x="137" y="232"/>
                    </a:lnTo>
                    <a:lnTo>
                      <a:pt x="137" y="236"/>
                    </a:lnTo>
                    <a:lnTo>
                      <a:pt x="137" y="237"/>
                    </a:lnTo>
                    <a:lnTo>
                      <a:pt x="134" y="239"/>
                    </a:lnTo>
                    <a:lnTo>
                      <a:pt x="131" y="242"/>
                    </a:lnTo>
                    <a:lnTo>
                      <a:pt x="124" y="242"/>
                    </a:lnTo>
                    <a:lnTo>
                      <a:pt x="121" y="242"/>
                    </a:lnTo>
                    <a:lnTo>
                      <a:pt x="116" y="242"/>
                    </a:lnTo>
                    <a:lnTo>
                      <a:pt x="114" y="240"/>
                    </a:lnTo>
                    <a:lnTo>
                      <a:pt x="109" y="242"/>
                    </a:lnTo>
                    <a:lnTo>
                      <a:pt x="108" y="240"/>
                    </a:lnTo>
                    <a:lnTo>
                      <a:pt x="106" y="242"/>
                    </a:lnTo>
                    <a:lnTo>
                      <a:pt x="104" y="245"/>
                    </a:lnTo>
                    <a:lnTo>
                      <a:pt x="108" y="249"/>
                    </a:lnTo>
                    <a:lnTo>
                      <a:pt x="109" y="249"/>
                    </a:lnTo>
                    <a:lnTo>
                      <a:pt x="111" y="250"/>
                    </a:lnTo>
                    <a:lnTo>
                      <a:pt x="106" y="254"/>
                    </a:lnTo>
                    <a:lnTo>
                      <a:pt x="103" y="257"/>
                    </a:lnTo>
                    <a:lnTo>
                      <a:pt x="99" y="257"/>
                    </a:lnTo>
                    <a:lnTo>
                      <a:pt x="90" y="258"/>
                    </a:lnTo>
                    <a:lnTo>
                      <a:pt x="86" y="262"/>
                    </a:lnTo>
                    <a:lnTo>
                      <a:pt x="82" y="263"/>
                    </a:lnTo>
                    <a:lnTo>
                      <a:pt x="78" y="267"/>
                    </a:lnTo>
                    <a:lnTo>
                      <a:pt x="75" y="267"/>
                    </a:lnTo>
                    <a:lnTo>
                      <a:pt x="73" y="265"/>
                    </a:lnTo>
                    <a:lnTo>
                      <a:pt x="72" y="262"/>
                    </a:lnTo>
                    <a:lnTo>
                      <a:pt x="70" y="260"/>
                    </a:lnTo>
                    <a:lnTo>
                      <a:pt x="68" y="262"/>
                    </a:lnTo>
                    <a:lnTo>
                      <a:pt x="68" y="265"/>
                    </a:lnTo>
                    <a:lnTo>
                      <a:pt x="67" y="268"/>
                    </a:lnTo>
                    <a:lnTo>
                      <a:pt x="62" y="268"/>
                    </a:lnTo>
                    <a:lnTo>
                      <a:pt x="60" y="270"/>
                    </a:lnTo>
                    <a:lnTo>
                      <a:pt x="57" y="270"/>
                    </a:lnTo>
                    <a:lnTo>
                      <a:pt x="57" y="267"/>
                    </a:lnTo>
                    <a:lnTo>
                      <a:pt x="54" y="265"/>
                    </a:lnTo>
                    <a:lnTo>
                      <a:pt x="54" y="262"/>
                    </a:lnTo>
                    <a:lnTo>
                      <a:pt x="52" y="257"/>
                    </a:lnTo>
                    <a:lnTo>
                      <a:pt x="49" y="254"/>
                    </a:lnTo>
                    <a:lnTo>
                      <a:pt x="47" y="250"/>
                    </a:lnTo>
                    <a:lnTo>
                      <a:pt x="41" y="244"/>
                    </a:lnTo>
                    <a:lnTo>
                      <a:pt x="36" y="239"/>
                    </a:lnTo>
                    <a:lnTo>
                      <a:pt x="33" y="239"/>
                    </a:lnTo>
                    <a:lnTo>
                      <a:pt x="33" y="237"/>
                    </a:lnTo>
                    <a:lnTo>
                      <a:pt x="31" y="236"/>
                    </a:lnTo>
                    <a:lnTo>
                      <a:pt x="29" y="234"/>
                    </a:lnTo>
                    <a:lnTo>
                      <a:pt x="29" y="231"/>
                    </a:lnTo>
                    <a:lnTo>
                      <a:pt x="31" y="229"/>
                    </a:lnTo>
                    <a:lnTo>
                      <a:pt x="31" y="226"/>
                    </a:lnTo>
                    <a:lnTo>
                      <a:pt x="34" y="226"/>
                    </a:lnTo>
                    <a:lnTo>
                      <a:pt x="36" y="226"/>
                    </a:lnTo>
                    <a:lnTo>
                      <a:pt x="37" y="227"/>
                    </a:lnTo>
                    <a:lnTo>
                      <a:pt x="41" y="226"/>
                    </a:lnTo>
                    <a:lnTo>
                      <a:pt x="42" y="227"/>
                    </a:lnTo>
                    <a:lnTo>
                      <a:pt x="46" y="226"/>
                    </a:lnTo>
                    <a:lnTo>
                      <a:pt x="49" y="227"/>
                    </a:lnTo>
                    <a:lnTo>
                      <a:pt x="50" y="227"/>
                    </a:lnTo>
                    <a:lnTo>
                      <a:pt x="52" y="227"/>
                    </a:lnTo>
                    <a:lnTo>
                      <a:pt x="54" y="227"/>
                    </a:lnTo>
                    <a:lnTo>
                      <a:pt x="52" y="226"/>
                    </a:lnTo>
                    <a:lnTo>
                      <a:pt x="49" y="222"/>
                    </a:lnTo>
                    <a:lnTo>
                      <a:pt x="47" y="219"/>
                    </a:lnTo>
                    <a:lnTo>
                      <a:pt x="46" y="218"/>
                    </a:lnTo>
                    <a:lnTo>
                      <a:pt x="42" y="214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6" y="204"/>
                    </a:lnTo>
                    <a:lnTo>
                      <a:pt x="44" y="203"/>
                    </a:lnTo>
                    <a:lnTo>
                      <a:pt x="44" y="201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2" y="193"/>
                    </a:lnTo>
                    <a:lnTo>
                      <a:pt x="42" y="190"/>
                    </a:lnTo>
                    <a:lnTo>
                      <a:pt x="41" y="188"/>
                    </a:lnTo>
                    <a:lnTo>
                      <a:pt x="41" y="183"/>
                    </a:lnTo>
                    <a:lnTo>
                      <a:pt x="36" y="180"/>
                    </a:lnTo>
                    <a:lnTo>
                      <a:pt x="29" y="177"/>
                    </a:lnTo>
                    <a:lnTo>
                      <a:pt x="28" y="177"/>
                    </a:lnTo>
                    <a:lnTo>
                      <a:pt x="26" y="172"/>
                    </a:lnTo>
                    <a:lnTo>
                      <a:pt x="23" y="167"/>
                    </a:lnTo>
                    <a:lnTo>
                      <a:pt x="19" y="165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21" y="144"/>
                    </a:lnTo>
                    <a:lnTo>
                      <a:pt x="23" y="142"/>
                    </a:lnTo>
                    <a:lnTo>
                      <a:pt x="23" y="141"/>
                    </a:lnTo>
                    <a:lnTo>
                      <a:pt x="49" y="113"/>
                    </a:lnTo>
                    <a:lnTo>
                      <a:pt x="49" y="90"/>
                    </a:lnTo>
                    <a:lnTo>
                      <a:pt x="54" y="59"/>
                    </a:lnTo>
                    <a:lnTo>
                      <a:pt x="55" y="57"/>
                    </a:lnTo>
                    <a:lnTo>
                      <a:pt x="55" y="51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7" y="31"/>
                    </a:lnTo>
                    <a:lnTo>
                      <a:pt x="39" y="10"/>
                    </a:lnTo>
                    <a:lnTo>
                      <a:pt x="37" y="7"/>
                    </a:lnTo>
                    <a:lnTo>
                      <a:pt x="37" y="7"/>
                    </a:lnTo>
                    <a:close/>
                    <a:moveTo>
                      <a:pt x="5" y="173"/>
                    </a:moveTo>
                    <a:lnTo>
                      <a:pt x="3" y="177"/>
                    </a:lnTo>
                    <a:lnTo>
                      <a:pt x="0" y="177"/>
                    </a:lnTo>
                    <a:lnTo>
                      <a:pt x="0" y="175"/>
                    </a:lnTo>
                    <a:lnTo>
                      <a:pt x="5" y="17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4" name="Freeform 277">
                <a:extLst>
                  <a:ext uri="{FF2B5EF4-FFF2-40B4-BE49-F238E27FC236}">
                    <a16:creationId xmlns:a16="http://schemas.microsoft.com/office/drawing/2014/main" xmlns="" id="{9BD37362-9AC2-4F1E-8030-BC8F1B7B0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672"/>
                <a:ext cx="241" cy="192"/>
              </a:xfrm>
              <a:custGeom>
                <a:avLst/>
                <a:gdLst>
                  <a:gd name="T0" fmla="*/ 52 w 241"/>
                  <a:gd name="T1" fmla="*/ 187 h 192"/>
                  <a:gd name="T2" fmla="*/ 45 w 241"/>
                  <a:gd name="T3" fmla="*/ 183 h 192"/>
                  <a:gd name="T4" fmla="*/ 39 w 241"/>
                  <a:gd name="T5" fmla="*/ 181 h 192"/>
                  <a:gd name="T6" fmla="*/ 36 w 241"/>
                  <a:gd name="T7" fmla="*/ 184 h 192"/>
                  <a:gd name="T8" fmla="*/ 29 w 241"/>
                  <a:gd name="T9" fmla="*/ 179 h 192"/>
                  <a:gd name="T10" fmla="*/ 31 w 241"/>
                  <a:gd name="T11" fmla="*/ 174 h 192"/>
                  <a:gd name="T12" fmla="*/ 29 w 241"/>
                  <a:gd name="T13" fmla="*/ 171 h 192"/>
                  <a:gd name="T14" fmla="*/ 21 w 241"/>
                  <a:gd name="T15" fmla="*/ 173 h 192"/>
                  <a:gd name="T16" fmla="*/ 16 w 241"/>
                  <a:gd name="T17" fmla="*/ 163 h 192"/>
                  <a:gd name="T18" fmla="*/ 0 w 241"/>
                  <a:gd name="T19" fmla="*/ 148 h 192"/>
                  <a:gd name="T20" fmla="*/ 3 w 241"/>
                  <a:gd name="T21" fmla="*/ 140 h 192"/>
                  <a:gd name="T22" fmla="*/ 8 w 241"/>
                  <a:gd name="T23" fmla="*/ 138 h 192"/>
                  <a:gd name="T24" fmla="*/ 23 w 241"/>
                  <a:gd name="T25" fmla="*/ 138 h 192"/>
                  <a:gd name="T26" fmla="*/ 32 w 241"/>
                  <a:gd name="T27" fmla="*/ 135 h 192"/>
                  <a:gd name="T28" fmla="*/ 40 w 241"/>
                  <a:gd name="T29" fmla="*/ 132 h 192"/>
                  <a:gd name="T30" fmla="*/ 50 w 241"/>
                  <a:gd name="T31" fmla="*/ 130 h 192"/>
                  <a:gd name="T32" fmla="*/ 58 w 241"/>
                  <a:gd name="T33" fmla="*/ 122 h 192"/>
                  <a:gd name="T34" fmla="*/ 62 w 241"/>
                  <a:gd name="T35" fmla="*/ 114 h 192"/>
                  <a:gd name="T36" fmla="*/ 63 w 241"/>
                  <a:gd name="T37" fmla="*/ 68 h 192"/>
                  <a:gd name="T38" fmla="*/ 107 w 241"/>
                  <a:gd name="T39" fmla="*/ 45 h 192"/>
                  <a:gd name="T40" fmla="*/ 207 w 241"/>
                  <a:gd name="T41" fmla="*/ 6 h 192"/>
                  <a:gd name="T42" fmla="*/ 223 w 241"/>
                  <a:gd name="T43" fmla="*/ 3 h 192"/>
                  <a:gd name="T44" fmla="*/ 233 w 241"/>
                  <a:gd name="T45" fmla="*/ 27 h 192"/>
                  <a:gd name="T46" fmla="*/ 232 w 241"/>
                  <a:gd name="T47" fmla="*/ 34 h 192"/>
                  <a:gd name="T48" fmla="*/ 241 w 241"/>
                  <a:gd name="T49" fmla="*/ 53 h 192"/>
                  <a:gd name="T50" fmla="*/ 235 w 241"/>
                  <a:gd name="T51" fmla="*/ 86 h 192"/>
                  <a:gd name="T52" fmla="*/ 209 w 241"/>
                  <a:gd name="T53" fmla="*/ 137 h 192"/>
                  <a:gd name="T54" fmla="*/ 207 w 241"/>
                  <a:gd name="T55" fmla="*/ 140 h 192"/>
                  <a:gd name="T56" fmla="*/ 205 w 241"/>
                  <a:gd name="T57" fmla="*/ 142 h 192"/>
                  <a:gd name="T58" fmla="*/ 202 w 241"/>
                  <a:gd name="T59" fmla="*/ 161 h 192"/>
                  <a:gd name="T60" fmla="*/ 201 w 241"/>
                  <a:gd name="T61" fmla="*/ 166 h 192"/>
                  <a:gd name="T62" fmla="*/ 197 w 241"/>
                  <a:gd name="T63" fmla="*/ 166 h 192"/>
                  <a:gd name="T64" fmla="*/ 194 w 241"/>
                  <a:gd name="T65" fmla="*/ 168 h 192"/>
                  <a:gd name="T66" fmla="*/ 191 w 241"/>
                  <a:gd name="T67" fmla="*/ 169 h 192"/>
                  <a:gd name="T68" fmla="*/ 183 w 241"/>
                  <a:gd name="T69" fmla="*/ 171 h 192"/>
                  <a:gd name="T70" fmla="*/ 174 w 241"/>
                  <a:gd name="T71" fmla="*/ 168 h 192"/>
                  <a:gd name="T72" fmla="*/ 163 w 241"/>
                  <a:gd name="T73" fmla="*/ 169 h 192"/>
                  <a:gd name="T74" fmla="*/ 152 w 241"/>
                  <a:gd name="T75" fmla="*/ 169 h 192"/>
                  <a:gd name="T76" fmla="*/ 143 w 241"/>
                  <a:gd name="T77" fmla="*/ 178 h 192"/>
                  <a:gd name="T78" fmla="*/ 135 w 241"/>
                  <a:gd name="T79" fmla="*/ 174 h 192"/>
                  <a:gd name="T80" fmla="*/ 125 w 241"/>
                  <a:gd name="T81" fmla="*/ 171 h 192"/>
                  <a:gd name="T82" fmla="*/ 122 w 241"/>
                  <a:gd name="T83" fmla="*/ 168 h 192"/>
                  <a:gd name="T84" fmla="*/ 117 w 241"/>
                  <a:gd name="T85" fmla="*/ 166 h 192"/>
                  <a:gd name="T86" fmla="*/ 112 w 241"/>
                  <a:gd name="T87" fmla="*/ 168 h 192"/>
                  <a:gd name="T88" fmla="*/ 107 w 241"/>
                  <a:gd name="T89" fmla="*/ 169 h 192"/>
                  <a:gd name="T90" fmla="*/ 104 w 241"/>
                  <a:gd name="T91" fmla="*/ 173 h 192"/>
                  <a:gd name="T92" fmla="*/ 98 w 241"/>
                  <a:gd name="T93" fmla="*/ 165 h 192"/>
                  <a:gd name="T94" fmla="*/ 91 w 241"/>
                  <a:gd name="T95" fmla="*/ 161 h 192"/>
                  <a:gd name="T96" fmla="*/ 88 w 241"/>
                  <a:gd name="T97" fmla="*/ 160 h 192"/>
                  <a:gd name="T98" fmla="*/ 81 w 241"/>
                  <a:gd name="T99" fmla="*/ 158 h 192"/>
                  <a:gd name="T100" fmla="*/ 76 w 241"/>
                  <a:gd name="T101" fmla="*/ 160 h 192"/>
                  <a:gd name="T102" fmla="*/ 72 w 241"/>
                  <a:gd name="T103" fmla="*/ 160 h 192"/>
                  <a:gd name="T104" fmla="*/ 65 w 241"/>
                  <a:gd name="T105" fmla="*/ 160 h 192"/>
                  <a:gd name="T106" fmla="*/ 62 w 241"/>
                  <a:gd name="T107" fmla="*/ 161 h 192"/>
                  <a:gd name="T108" fmla="*/ 58 w 241"/>
                  <a:gd name="T109" fmla="*/ 166 h 192"/>
                  <a:gd name="T110" fmla="*/ 58 w 241"/>
                  <a:gd name="T111" fmla="*/ 169 h 192"/>
                  <a:gd name="T112" fmla="*/ 58 w 241"/>
                  <a:gd name="T113" fmla="*/ 173 h 192"/>
                  <a:gd name="T114" fmla="*/ 60 w 241"/>
                  <a:gd name="T115" fmla="*/ 176 h 192"/>
                  <a:gd name="T116" fmla="*/ 54 w 241"/>
                  <a:gd name="T117" fmla="*/ 179 h 192"/>
                  <a:gd name="T118" fmla="*/ 54 w 241"/>
                  <a:gd name="T119" fmla="*/ 184 h 192"/>
                  <a:gd name="T120" fmla="*/ 57 w 241"/>
                  <a:gd name="T121" fmla="*/ 187 h 192"/>
                  <a:gd name="T122" fmla="*/ 55 w 241"/>
                  <a:gd name="T123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1" h="192">
                    <a:moveTo>
                      <a:pt x="55" y="192"/>
                    </a:moveTo>
                    <a:lnTo>
                      <a:pt x="52" y="187"/>
                    </a:lnTo>
                    <a:lnTo>
                      <a:pt x="47" y="186"/>
                    </a:lnTo>
                    <a:lnTo>
                      <a:pt x="45" y="183"/>
                    </a:lnTo>
                    <a:lnTo>
                      <a:pt x="39" y="178"/>
                    </a:lnTo>
                    <a:lnTo>
                      <a:pt x="39" y="181"/>
                    </a:lnTo>
                    <a:lnTo>
                      <a:pt x="39" y="183"/>
                    </a:lnTo>
                    <a:lnTo>
                      <a:pt x="36" y="184"/>
                    </a:lnTo>
                    <a:lnTo>
                      <a:pt x="32" y="184"/>
                    </a:lnTo>
                    <a:lnTo>
                      <a:pt x="29" y="179"/>
                    </a:lnTo>
                    <a:lnTo>
                      <a:pt x="31" y="178"/>
                    </a:lnTo>
                    <a:lnTo>
                      <a:pt x="31" y="174"/>
                    </a:lnTo>
                    <a:lnTo>
                      <a:pt x="31" y="173"/>
                    </a:lnTo>
                    <a:lnTo>
                      <a:pt x="29" y="171"/>
                    </a:lnTo>
                    <a:lnTo>
                      <a:pt x="27" y="169"/>
                    </a:lnTo>
                    <a:lnTo>
                      <a:pt x="21" y="173"/>
                    </a:lnTo>
                    <a:lnTo>
                      <a:pt x="16" y="169"/>
                    </a:lnTo>
                    <a:lnTo>
                      <a:pt x="16" y="163"/>
                    </a:lnTo>
                    <a:lnTo>
                      <a:pt x="0" y="151"/>
                    </a:lnTo>
                    <a:lnTo>
                      <a:pt x="0" y="148"/>
                    </a:lnTo>
                    <a:lnTo>
                      <a:pt x="3" y="145"/>
                    </a:lnTo>
                    <a:lnTo>
                      <a:pt x="3" y="140"/>
                    </a:lnTo>
                    <a:lnTo>
                      <a:pt x="5" y="138"/>
                    </a:lnTo>
                    <a:lnTo>
                      <a:pt x="8" y="138"/>
                    </a:lnTo>
                    <a:lnTo>
                      <a:pt x="18" y="137"/>
                    </a:lnTo>
                    <a:lnTo>
                      <a:pt x="23" y="138"/>
                    </a:lnTo>
                    <a:lnTo>
                      <a:pt x="26" y="135"/>
                    </a:lnTo>
                    <a:lnTo>
                      <a:pt x="32" y="135"/>
                    </a:lnTo>
                    <a:lnTo>
                      <a:pt x="36" y="135"/>
                    </a:lnTo>
                    <a:lnTo>
                      <a:pt x="40" y="132"/>
                    </a:lnTo>
                    <a:lnTo>
                      <a:pt x="45" y="132"/>
                    </a:lnTo>
                    <a:lnTo>
                      <a:pt x="50" y="130"/>
                    </a:lnTo>
                    <a:lnTo>
                      <a:pt x="58" y="125"/>
                    </a:lnTo>
                    <a:lnTo>
                      <a:pt x="58" y="122"/>
                    </a:lnTo>
                    <a:lnTo>
                      <a:pt x="60" y="116"/>
                    </a:lnTo>
                    <a:lnTo>
                      <a:pt x="62" y="114"/>
                    </a:lnTo>
                    <a:lnTo>
                      <a:pt x="63" y="101"/>
                    </a:lnTo>
                    <a:lnTo>
                      <a:pt x="63" y="68"/>
                    </a:lnTo>
                    <a:lnTo>
                      <a:pt x="88" y="63"/>
                    </a:lnTo>
                    <a:lnTo>
                      <a:pt x="107" y="45"/>
                    </a:lnTo>
                    <a:lnTo>
                      <a:pt x="179" y="0"/>
                    </a:lnTo>
                    <a:lnTo>
                      <a:pt x="207" y="6"/>
                    </a:lnTo>
                    <a:lnTo>
                      <a:pt x="209" y="9"/>
                    </a:lnTo>
                    <a:lnTo>
                      <a:pt x="223" y="3"/>
                    </a:lnTo>
                    <a:lnTo>
                      <a:pt x="225" y="6"/>
                    </a:lnTo>
                    <a:lnTo>
                      <a:pt x="233" y="27"/>
                    </a:lnTo>
                    <a:lnTo>
                      <a:pt x="232" y="32"/>
                    </a:lnTo>
                    <a:lnTo>
                      <a:pt x="232" y="34"/>
                    </a:lnTo>
                    <a:lnTo>
                      <a:pt x="241" y="47"/>
                    </a:lnTo>
                    <a:lnTo>
                      <a:pt x="241" y="53"/>
                    </a:lnTo>
                    <a:lnTo>
                      <a:pt x="240" y="55"/>
                    </a:lnTo>
                    <a:lnTo>
                      <a:pt x="235" y="86"/>
                    </a:lnTo>
                    <a:lnTo>
                      <a:pt x="235" y="109"/>
                    </a:lnTo>
                    <a:lnTo>
                      <a:pt x="209" y="137"/>
                    </a:lnTo>
                    <a:lnTo>
                      <a:pt x="209" y="138"/>
                    </a:lnTo>
                    <a:lnTo>
                      <a:pt x="207" y="140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61"/>
                    </a:lnTo>
                    <a:lnTo>
                      <a:pt x="202" y="161"/>
                    </a:lnTo>
                    <a:lnTo>
                      <a:pt x="201" y="165"/>
                    </a:lnTo>
                    <a:lnTo>
                      <a:pt x="201" y="166"/>
                    </a:lnTo>
                    <a:lnTo>
                      <a:pt x="199" y="166"/>
                    </a:lnTo>
                    <a:lnTo>
                      <a:pt x="197" y="166"/>
                    </a:lnTo>
                    <a:lnTo>
                      <a:pt x="194" y="166"/>
                    </a:lnTo>
                    <a:lnTo>
                      <a:pt x="194" y="168"/>
                    </a:lnTo>
                    <a:lnTo>
                      <a:pt x="191" y="169"/>
                    </a:lnTo>
                    <a:lnTo>
                      <a:pt x="191" y="169"/>
                    </a:lnTo>
                    <a:lnTo>
                      <a:pt x="186" y="171"/>
                    </a:lnTo>
                    <a:lnTo>
                      <a:pt x="183" y="171"/>
                    </a:lnTo>
                    <a:lnTo>
                      <a:pt x="179" y="171"/>
                    </a:lnTo>
                    <a:lnTo>
                      <a:pt x="174" y="168"/>
                    </a:lnTo>
                    <a:lnTo>
                      <a:pt x="166" y="168"/>
                    </a:lnTo>
                    <a:lnTo>
                      <a:pt x="163" y="169"/>
                    </a:lnTo>
                    <a:lnTo>
                      <a:pt x="155" y="168"/>
                    </a:lnTo>
                    <a:lnTo>
                      <a:pt x="152" y="169"/>
                    </a:lnTo>
                    <a:lnTo>
                      <a:pt x="148" y="174"/>
                    </a:lnTo>
                    <a:lnTo>
                      <a:pt x="143" y="178"/>
                    </a:lnTo>
                    <a:lnTo>
                      <a:pt x="140" y="178"/>
                    </a:lnTo>
                    <a:lnTo>
                      <a:pt x="135" y="174"/>
                    </a:lnTo>
                    <a:lnTo>
                      <a:pt x="130" y="174"/>
                    </a:lnTo>
                    <a:lnTo>
                      <a:pt x="125" y="171"/>
                    </a:lnTo>
                    <a:lnTo>
                      <a:pt x="122" y="169"/>
                    </a:lnTo>
                    <a:lnTo>
                      <a:pt x="122" y="168"/>
                    </a:lnTo>
                    <a:lnTo>
                      <a:pt x="121" y="166"/>
                    </a:lnTo>
                    <a:lnTo>
                      <a:pt x="117" y="166"/>
                    </a:lnTo>
                    <a:lnTo>
                      <a:pt x="117" y="166"/>
                    </a:lnTo>
                    <a:lnTo>
                      <a:pt x="112" y="168"/>
                    </a:lnTo>
                    <a:lnTo>
                      <a:pt x="111" y="169"/>
                    </a:lnTo>
                    <a:lnTo>
                      <a:pt x="107" y="169"/>
                    </a:lnTo>
                    <a:lnTo>
                      <a:pt x="106" y="171"/>
                    </a:lnTo>
                    <a:lnTo>
                      <a:pt x="104" y="173"/>
                    </a:lnTo>
                    <a:lnTo>
                      <a:pt x="101" y="169"/>
                    </a:lnTo>
                    <a:lnTo>
                      <a:pt x="98" y="165"/>
                    </a:lnTo>
                    <a:lnTo>
                      <a:pt x="96" y="163"/>
                    </a:lnTo>
                    <a:lnTo>
                      <a:pt x="91" y="161"/>
                    </a:lnTo>
                    <a:lnTo>
                      <a:pt x="89" y="161"/>
                    </a:lnTo>
                    <a:lnTo>
                      <a:pt x="88" y="160"/>
                    </a:lnTo>
                    <a:lnTo>
                      <a:pt x="83" y="160"/>
                    </a:lnTo>
                    <a:lnTo>
                      <a:pt x="81" y="158"/>
                    </a:lnTo>
                    <a:lnTo>
                      <a:pt x="78" y="158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2" y="160"/>
                    </a:lnTo>
                    <a:lnTo>
                      <a:pt x="68" y="160"/>
                    </a:lnTo>
                    <a:lnTo>
                      <a:pt x="65" y="160"/>
                    </a:lnTo>
                    <a:lnTo>
                      <a:pt x="63" y="161"/>
                    </a:lnTo>
                    <a:lnTo>
                      <a:pt x="62" y="161"/>
                    </a:lnTo>
                    <a:lnTo>
                      <a:pt x="58" y="165"/>
                    </a:lnTo>
                    <a:lnTo>
                      <a:pt x="58" y="166"/>
                    </a:lnTo>
                    <a:lnTo>
                      <a:pt x="58" y="168"/>
                    </a:lnTo>
                    <a:lnTo>
                      <a:pt x="58" y="169"/>
                    </a:lnTo>
                    <a:lnTo>
                      <a:pt x="58" y="169"/>
                    </a:lnTo>
                    <a:lnTo>
                      <a:pt x="58" y="173"/>
                    </a:lnTo>
                    <a:lnTo>
                      <a:pt x="60" y="174"/>
                    </a:lnTo>
                    <a:lnTo>
                      <a:pt x="60" y="176"/>
                    </a:lnTo>
                    <a:lnTo>
                      <a:pt x="57" y="176"/>
                    </a:lnTo>
                    <a:lnTo>
                      <a:pt x="54" y="179"/>
                    </a:lnTo>
                    <a:lnTo>
                      <a:pt x="55" y="181"/>
                    </a:lnTo>
                    <a:lnTo>
                      <a:pt x="54" y="184"/>
                    </a:lnTo>
                    <a:lnTo>
                      <a:pt x="55" y="187"/>
                    </a:lnTo>
                    <a:lnTo>
                      <a:pt x="57" y="187"/>
                    </a:lnTo>
                    <a:lnTo>
                      <a:pt x="57" y="189"/>
                    </a:lnTo>
                    <a:lnTo>
                      <a:pt x="55" y="19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5" name="Freeform 278">
                <a:extLst>
                  <a:ext uri="{FF2B5EF4-FFF2-40B4-BE49-F238E27FC236}">
                    <a16:creationId xmlns:a16="http://schemas.microsoft.com/office/drawing/2014/main" xmlns="" id="{43B05580-29C2-4224-AF4D-6FFF306F8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83" cy="160"/>
              </a:xfrm>
              <a:custGeom>
                <a:avLst/>
                <a:gdLst>
                  <a:gd name="T0" fmla="*/ 172 w 183"/>
                  <a:gd name="T1" fmla="*/ 10 h 160"/>
                  <a:gd name="T2" fmla="*/ 161 w 183"/>
                  <a:gd name="T3" fmla="*/ 7 h 160"/>
                  <a:gd name="T4" fmla="*/ 157 w 183"/>
                  <a:gd name="T5" fmla="*/ 8 h 160"/>
                  <a:gd name="T6" fmla="*/ 151 w 183"/>
                  <a:gd name="T7" fmla="*/ 11 h 160"/>
                  <a:gd name="T8" fmla="*/ 143 w 183"/>
                  <a:gd name="T9" fmla="*/ 13 h 160"/>
                  <a:gd name="T10" fmla="*/ 126 w 183"/>
                  <a:gd name="T11" fmla="*/ 10 h 160"/>
                  <a:gd name="T12" fmla="*/ 112 w 183"/>
                  <a:gd name="T13" fmla="*/ 11 h 160"/>
                  <a:gd name="T14" fmla="*/ 100 w 183"/>
                  <a:gd name="T15" fmla="*/ 20 h 160"/>
                  <a:gd name="T16" fmla="*/ 85 w 183"/>
                  <a:gd name="T17" fmla="*/ 13 h 160"/>
                  <a:gd name="T18" fmla="*/ 81 w 183"/>
                  <a:gd name="T19" fmla="*/ 8 h 160"/>
                  <a:gd name="T20" fmla="*/ 72 w 183"/>
                  <a:gd name="T21" fmla="*/ 10 h 160"/>
                  <a:gd name="T22" fmla="*/ 66 w 183"/>
                  <a:gd name="T23" fmla="*/ 13 h 160"/>
                  <a:gd name="T24" fmla="*/ 58 w 183"/>
                  <a:gd name="T25" fmla="*/ 7 h 160"/>
                  <a:gd name="T26" fmla="*/ 49 w 183"/>
                  <a:gd name="T27" fmla="*/ 3 h 160"/>
                  <a:gd name="T28" fmla="*/ 41 w 183"/>
                  <a:gd name="T29" fmla="*/ 0 h 160"/>
                  <a:gd name="T30" fmla="*/ 32 w 183"/>
                  <a:gd name="T31" fmla="*/ 2 h 160"/>
                  <a:gd name="T32" fmla="*/ 25 w 183"/>
                  <a:gd name="T33" fmla="*/ 2 h 160"/>
                  <a:gd name="T34" fmla="*/ 18 w 183"/>
                  <a:gd name="T35" fmla="*/ 7 h 160"/>
                  <a:gd name="T36" fmla="*/ 18 w 183"/>
                  <a:gd name="T37" fmla="*/ 11 h 160"/>
                  <a:gd name="T38" fmla="*/ 20 w 183"/>
                  <a:gd name="T39" fmla="*/ 16 h 160"/>
                  <a:gd name="T40" fmla="*/ 14 w 183"/>
                  <a:gd name="T41" fmla="*/ 21 h 160"/>
                  <a:gd name="T42" fmla="*/ 15 w 183"/>
                  <a:gd name="T43" fmla="*/ 29 h 160"/>
                  <a:gd name="T44" fmla="*/ 15 w 183"/>
                  <a:gd name="T45" fmla="*/ 34 h 160"/>
                  <a:gd name="T46" fmla="*/ 18 w 183"/>
                  <a:gd name="T47" fmla="*/ 44 h 160"/>
                  <a:gd name="T48" fmla="*/ 20 w 183"/>
                  <a:gd name="T49" fmla="*/ 56 h 160"/>
                  <a:gd name="T50" fmla="*/ 15 w 183"/>
                  <a:gd name="T51" fmla="*/ 59 h 160"/>
                  <a:gd name="T52" fmla="*/ 15 w 183"/>
                  <a:gd name="T53" fmla="*/ 64 h 160"/>
                  <a:gd name="T54" fmla="*/ 10 w 183"/>
                  <a:gd name="T55" fmla="*/ 72 h 160"/>
                  <a:gd name="T56" fmla="*/ 5 w 183"/>
                  <a:gd name="T57" fmla="*/ 77 h 160"/>
                  <a:gd name="T58" fmla="*/ 2 w 183"/>
                  <a:gd name="T59" fmla="*/ 83 h 160"/>
                  <a:gd name="T60" fmla="*/ 2 w 183"/>
                  <a:gd name="T61" fmla="*/ 90 h 160"/>
                  <a:gd name="T62" fmla="*/ 2 w 183"/>
                  <a:gd name="T63" fmla="*/ 95 h 160"/>
                  <a:gd name="T64" fmla="*/ 2 w 183"/>
                  <a:gd name="T65" fmla="*/ 106 h 160"/>
                  <a:gd name="T66" fmla="*/ 2 w 183"/>
                  <a:gd name="T67" fmla="*/ 119 h 160"/>
                  <a:gd name="T68" fmla="*/ 14 w 183"/>
                  <a:gd name="T69" fmla="*/ 121 h 160"/>
                  <a:gd name="T70" fmla="*/ 36 w 183"/>
                  <a:gd name="T71" fmla="*/ 142 h 160"/>
                  <a:gd name="T72" fmla="*/ 40 w 183"/>
                  <a:gd name="T73" fmla="*/ 154 h 160"/>
                  <a:gd name="T74" fmla="*/ 64 w 183"/>
                  <a:gd name="T75" fmla="*/ 159 h 160"/>
                  <a:gd name="T76" fmla="*/ 77 w 183"/>
                  <a:gd name="T77" fmla="*/ 155 h 160"/>
                  <a:gd name="T78" fmla="*/ 85 w 183"/>
                  <a:gd name="T79" fmla="*/ 150 h 160"/>
                  <a:gd name="T80" fmla="*/ 90 w 183"/>
                  <a:gd name="T81" fmla="*/ 154 h 160"/>
                  <a:gd name="T82" fmla="*/ 95 w 183"/>
                  <a:gd name="T83" fmla="*/ 142 h 160"/>
                  <a:gd name="T84" fmla="*/ 97 w 183"/>
                  <a:gd name="T85" fmla="*/ 134 h 160"/>
                  <a:gd name="T86" fmla="*/ 102 w 183"/>
                  <a:gd name="T87" fmla="*/ 127 h 160"/>
                  <a:gd name="T88" fmla="*/ 108 w 183"/>
                  <a:gd name="T89" fmla="*/ 118 h 160"/>
                  <a:gd name="T90" fmla="*/ 113 w 183"/>
                  <a:gd name="T91" fmla="*/ 114 h 160"/>
                  <a:gd name="T92" fmla="*/ 120 w 183"/>
                  <a:gd name="T93" fmla="*/ 116 h 160"/>
                  <a:gd name="T94" fmla="*/ 128 w 183"/>
                  <a:gd name="T95" fmla="*/ 123 h 160"/>
                  <a:gd name="T96" fmla="*/ 134 w 183"/>
                  <a:gd name="T97" fmla="*/ 118 h 160"/>
                  <a:gd name="T98" fmla="*/ 139 w 183"/>
                  <a:gd name="T99" fmla="*/ 114 h 160"/>
                  <a:gd name="T100" fmla="*/ 141 w 183"/>
                  <a:gd name="T101" fmla="*/ 105 h 160"/>
                  <a:gd name="T102" fmla="*/ 146 w 183"/>
                  <a:gd name="T103" fmla="*/ 95 h 160"/>
                  <a:gd name="T104" fmla="*/ 156 w 183"/>
                  <a:gd name="T105" fmla="*/ 87 h 160"/>
                  <a:gd name="T106" fmla="*/ 156 w 183"/>
                  <a:gd name="T107" fmla="*/ 75 h 160"/>
                  <a:gd name="T108" fmla="*/ 165 w 183"/>
                  <a:gd name="T109" fmla="*/ 69 h 160"/>
                  <a:gd name="T110" fmla="*/ 165 w 183"/>
                  <a:gd name="T111" fmla="*/ 57 h 160"/>
                  <a:gd name="T112" fmla="*/ 172 w 183"/>
                  <a:gd name="T113" fmla="*/ 47 h 160"/>
                  <a:gd name="T114" fmla="*/ 177 w 183"/>
                  <a:gd name="T115" fmla="*/ 44 h 160"/>
                  <a:gd name="T116" fmla="*/ 183 w 183"/>
                  <a:gd name="T117" fmla="*/ 38 h 160"/>
                  <a:gd name="T118" fmla="*/ 180 w 183"/>
                  <a:gd name="T119" fmla="*/ 29 h 160"/>
                  <a:gd name="T120" fmla="*/ 177 w 183"/>
                  <a:gd name="T121" fmla="*/ 21 h 160"/>
                  <a:gd name="T122" fmla="*/ 175 w 183"/>
                  <a:gd name="T123" fmla="*/ 1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3" h="160">
                    <a:moveTo>
                      <a:pt x="175" y="15"/>
                    </a:moveTo>
                    <a:lnTo>
                      <a:pt x="174" y="15"/>
                    </a:lnTo>
                    <a:lnTo>
                      <a:pt x="172" y="10"/>
                    </a:lnTo>
                    <a:lnTo>
                      <a:pt x="169" y="5"/>
                    </a:lnTo>
                    <a:lnTo>
                      <a:pt x="162" y="3"/>
                    </a:lnTo>
                    <a:lnTo>
                      <a:pt x="161" y="7"/>
                    </a:lnTo>
                    <a:lnTo>
                      <a:pt x="161" y="8"/>
                    </a:lnTo>
                    <a:lnTo>
                      <a:pt x="159" y="8"/>
                    </a:lnTo>
                    <a:lnTo>
                      <a:pt x="157" y="8"/>
                    </a:lnTo>
                    <a:lnTo>
                      <a:pt x="154" y="8"/>
                    </a:lnTo>
                    <a:lnTo>
                      <a:pt x="154" y="10"/>
                    </a:lnTo>
                    <a:lnTo>
                      <a:pt x="151" y="11"/>
                    </a:lnTo>
                    <a:lnTo>
                      <a:pt x="149" y="15"/>
                    </a:lnTo>
                    <a:lnTo>
                      <a:pt x="146" y="15"/>
                    </a:lnTo>
                    <a:lnTo>
                      <a:pt x="143" y="13"/>
                    </a:lnTo>
                    <a:lnTo>
                      <a:pt x="139" y="13"/>
                    </a:lnTo>
                    <a:lnTo>
                      <a:pt x="134" y="10"/>
                    </a:lnTo>
                    <a:lnTo>
                      <a:pt x="126" y="10"/>
                    </a:lnTo>
                    <a:lnTo>
                      <a:pt x="123" y="11"/>
                    </a:lnTo>
                    <a:lnTo>
                      <a:pt x="115" y="10"/>
                    </a:lnTo>
                    <a:lnTo>
                      <a:pt x="112" y="11"/>
                    </a:lnTo>
                    <a:lnTo>
                      <a:pt x="108" y="16"/>
                    </a:lnTo>
                    <a:lnTo>
                      <a:pt x="103" y="20"/>
                    </a:lnTo>
                    <a:lnTo>
                      <a:pt x="100" y="20"/>
                    </a:lnTo>
                    <a:lnTo>
                      <a:pt x="95" y="16"/>
                    </a:lnTo>
                    <a:lnTo>
                      <a:pt x="90" y="16"/>
                    </a:lnTo>
                    <a:lnTo>
                      <a:pt x="85" y="13"/>
                    </a:lnTo>
                    <a:lnTo>
                      <a:pt x="82" y="11"/>
                    </a:lnTo>
                    <a:lnTo>
                      <a:pt x="82" y="10"/>
                    </a:lnTo>
                    <a:lnTo>
                      <a:pt x="81" y="8"/>
                    </a:lnTo>
                    <a:lnTo>
                      <a:pt x="77" y="8"/>
                    </a:lnTo>
                    <a:lnTo>
                      <a:pt x="77" y="8"/>
                    </a:lnTo>
                    <a:lnTo>
                      <a:pt x="72" y="10"/>
                    </a:lnTo>
                    <a:lnTo>
                      <a:pt x="71" y="11"/>
                    </a:lnTo>
                    <a:lnTo>
                      <a:pt x="67" y="11"/>
                    </a:lnTo>
                    <a:lnTo>
                      <a:pt x="66" y="13"/>
                    </a:lnTo>
                    <a:lnTo>
                      <a:pt x="64" y="15"/>
                    </a:lnTo>
                    <a:lnTo>
                      <a:pt x="61" y="11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1" y="3"/>
                    </a:lnTo>
                    <a:lnTo>
                      <a:pt x="49" y="3"/>
                    </a:lnTo>
                    <a:lnTo>
                      <a:pt x="48" y="2"/>
                    </a:lnTo>
                    <a:lnTo>
                      <a:pt x="43" y="2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5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7" y="18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7" y="31"/>
                    </a:lnTo>
                    <a:lnTo>
                      <a:pt x="15" y="34"/>
                    </a:lnTo>
                    <a:lnTo>
                      <a:pt x="14" y="38"/>
                    </a:lnTo>
                    <a:lnTo>
                      <a:pt x="15" y="41"/>
                    </a:lnTo>
                    <a:lnTo>
                      <a:pt x="18" y="44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17" y="56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8" y="62"/>
                    </a:lnTo>
                    <a:lnTo>
                      <a:pt x="17" y="64"/>
                    </a:lnTo>
                    <a:lnTo>
                      <a:pt x="15" y="64"/>
                    </a:lnTo>
                    <a:lnTo>
                      <a:pt x="14" y="65"/>
                    </a:lnTo>
                    <a:lnTo>
                      <a:pt x="12" y="69"/>
                    </a:lnTo>
                    <a:lnTo>
                      <a:pt x="10" y="72"/>
                    </a:lnTo>
                    <a:lnTo>
                      <a:pt x="9" y="75"/>
                    </a:lnTo>
                    <a:lnTo>
                      <a:pt x="7" y="77"/>
                    </a:lnTo>
                    <a:lnTo>
                      <a:pt x="5" y="77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2" y="83"/>
                    </a:lnTo>
                    <a:lnTo>
                      <a:pt x="2" y="85"/>
                    </a:lnTo>
                    <a:lnTo>
                      <a:pt x="0" y="88"/>
                    </a:lnTo>
                    <a:lnTo>
                      <a:pt x="2" y="90"/>
                    </a:lnTo>
                    <a:lnTo>
                      <a:pt x="2" y="93"/>
                    </a:lnTo>
                    <a:lnTo>
                      <a:pt x="2" y="93"/>
                    </a:lnTo>
                    <a:lnTo>
                      <a:pt x="2" y="95"/>
                    </a:lnTo>
                    <a:lnTo>
                      <a:pt x="2" y="96"/>
                    </a:lnTo>
                    <a:lnTo>
                      <a:pt x="2" y="100"/>
                    </a:lnTo>
                    <a:lnTo>
                      <a:pt x="2" y="106"/>
                    </a:lnTo>
                    <a:lnTo>
                      <a:pt x="2" y="108"/>
                    </a:lnTo>
                    <a:lnTo>
                      <a:pt x="2" y="111"/>
                    </a:lnTo>
                    <a:lnTo>
                      <a:pt x="2" y="119"/>
                    </a:lnTo>
                    <a:lnTo>
                      <a:pt x="2" y="123"/>
                    </a:lnTo>
                    <a:lnTo>
                      <a:pt x="9" y="124"/>
                    </a:lnTo>
                    <a:lnTo>
                      <a:pt x="14" y="121"/>
                    </a:lnTo>
                    <a:lnTo>
                      <a:pt x="25" y="127"/>
                    </a:lnTo>
                    <a:lnTo>
                      <a:pt x="32" y="134"/>
                    </a:lnTo>
                    <a:lnTo>
                      <a:pt x="36" y="142"/>
                    </a:lnTo>
                    <a:lnTo>
                      <a:pt x="36" y="147"/>
                    </a:lnTo>
                    <a:lnTo>
                      <a:pt x="38" y="149"/>
                    </a:lnTo>
                    <a:lnTo>
                      <a:pt x="40" y="154"/>
                    </a:lnTo>
                    <a:lnTo>
                      <a:pt x="43" y="159"/>
                    </a:lnTo>
                    <a:lnTo>
                      <a:pt x="49" y="160"/>
                    </a:lnTo>
                    <a:lnTo>
                      <a:pt x="64" y="159"/>
                    </a:lnTo>
                    <a:lnTo>
                      <a:pt x="67" y="157"/>
                    </a:lnTo>
                    <a:lnTo>
                      <a:pt x="71" y="157"/>
                    </a:lnTo>
                    <a:lnTo>
                      <a:pt x="77" y="155"/>
                    </a:lnTo>
                    <a:lnTo>
                      <a:pt x="81" y="155"/>
                    </a:lnTo>
                    <a:lnTo>
                      <a:pt x="84" y="155"/>
                    </a:lnTo>
                    <a:lnTo>
                      <a:pt x="85" y="150"/>
                    </a:lnTo>
                    <a:lnTo>
                      <a:pt x="89" y="154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94" y="145"/>
                    </a:lnTo>
                    <a:lnTo>
                      <a:pt x="95" y="142"/>
                    </a:lnTo>
                    <a:lnTo>
                      <a:pt x="95" y="139"/>
                    </a:lnTo>
                    <a:lnTo>
                      <a:pt x="95" y="134"/>
                    </a:lnTo>
                    <a:lnTo>
                      <a:pt x="97" y="134"/>
                    </a:lnTo>
                    <a:lnTo>
                      <a:pt x="97" y="131"/>
                    </a:lnTo>
                    <a:lnTo>
                      <a:pt x="98" y="129"/>
                    </a:lnTo>
                    <a:lnTo>
                      <a:pt x="102" y="127"/>
                    </a:lnTo>
                    <a:lnTo>
                      <a:pt x="103" y="126"/>
                    </a:lnTo>
                    <a:lnTo>
                      <a:pt x="108" y="121"/>
                    </a:lnTo>
                    <a:lnTo>
                      <a:pt x="108" y="118"/>
                    </a:lnTo>
                    <a:lnTo>
                      <a:pt x="108" y="116"/>
                    </a:lnTo>
                    <a:lnTo>
                      <a:pt x="112" y="116"/>
                    </a:lnTo>
                    <a:lnTo>
                      <a:pt x="113" y="114"/>
                    </a:lnTo>
                    <a:lnTo>
                      <a:pt x="115" y="114"/>
                    </a:lnTo>
                    <a:lnTo>
                      <a:pt x="118" y="116"/>
                    </a:lnTo>
                    <a:lnTo>
                      <a:pt x="120" y="116"/>
                    </a:lnTo>
                    <a:lnTo>
                      <a:pt x="123" y="118"/>
                    </a:lnTo>
                    <a:lnTo>
                      <a:pt x="125" y="121"/>
                    </a:lnTo>
                    <a:lnTo>
                      <a:pt x="128" y="123"/>
                    </a:lnTo>
                    <a:lnTo>
                      <a:pt x="130" y="124"/>
                    </a:lnTo>
                    <a:lnTo>
                      <a:pt x="133" y="123"/>
                    </a:lnTo>
                    <a:lnTo>
                      <a:pt x="134" y="118"/>
                    </a:lnTo>
                    <a:lnTo>
                      <a:pt x="134" y="118"/>
                    </a:lnTo>
                    <a:lnTo>
                      <a:pt x="136" y="114"/>
                    </a:lnTo>
                    <a:lnTo>
                      <a:pt x="139" y="114"/>
                    </a:lnTo>
                    <a:lnTo>
                      <a:pt x="141" y="111"/>
                    </a:lnTo>
                    <a:lnTo>
                      <a:pt x="141" y="109"/>
                    </a:lnTo>
                    <a:lnTo>
                      <a:pt x="141" y="105"/>
                    </a:lnTo>
                    <a:lnTo>
                      <a:pt x="146" y="100"/>
                    </a:lnTo>
                    <a:lnTo>
                      <a:pt x="147" y="98"/>
                    </a:lnTo>
                    <a:lnTo>
                      <a:pt x="146" y="95"/>
                    </a:lnTo>
                    <a:lnTo>
                      <a:pt x="147" y="93"/>
                    </a:lnTo>
                    <a:lnTo>
                      <a:pt x="152" y="88"/>
                    </a:lnTo>
                    <a:lnTo>
                      <a:pt x="156" y="87"/>
                    </a:lnTo>
                    <a:lnTo>
                      <a:pt x="156" y="83"/>
                    </a:lnTo>
                    <a:lnTo>
                      <a:pt x="156" y="80"/>
                    </a:lnTo>
                    <a:lnTo>
                      <a:pt x="156" y="75"/>
                    </a:lnTo>
                    <a:lnTo>
                      <a:pt x="159" y="74"/>
                    </a:lnTo>
                    <a:lnTo>
                      <a:pt x="162" y="72"/>
                    </a:lnTo>
                    <a:lnTo>
                      <a:pt x="165" y="69"/>
                    </a:lnTo>
                    <a:lnTo>
                      <a:pt x="165" y="65"/>
                    </a:lnTo>
                    <a:lnTo>
                      <a:pt x="165" y="60"/>
                    </a:lnTo>
                    <a:lnTo>
                      <a:pt x="165" y="57"/>
                    </a:lnTo>
                    <a:lnTo>
                      <a:pt x="167" y="56"/>
                    </a:lnTo>
                    <a:lnTo>
                      <a:pt x="170" y="49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5" y="44"/>
                    </a:lnTo>
                    <a:lnTo>
                      <a:pt x="177" y="44"/>
                    </a:lnTo>
                    <a:lnTo>
                      <a:pt x="179" y="42"/>
                    </a:lnTo>
                    <a:lnTo>
                      <a:pt x="182" y="41"/>
                    </a:lnTo>
                    <a:lnTo>
                      <a:pt x="183" y="38"/>
                    </a:lnTo>
                    <a:lnTo>
                      <a:pt x="182" y="34"/>
                    </a:lnTo>
                    <a:lnTo>
                      <a:pt x="182" y="33"/>
                    </a:lnTo>
                    <a:lnTo>
                      <a:pt x="180" y="29"/>
                    </a:lnTo>
                    <a:lnTo>
                      <a:pt x="177" y="28"/>
                    </a:lnTo>
                    <a:lnTo>
                      <a:pt x="177" y="26"/>
                    </a:lnTo>
                    <a:lnTo>
                      <a:pt x="177" y="21"/>
                    </a:lnTo>
                    <a:lnTo>
                      <a:pt x="175" y="18"/>
                    </a:lnTo>
                    <a:lnTo>
                      <a:pt x="175" y="15"/>
                    </a:lnTo>
                    <a:lnTo>
                      <a:pt x="175" y="1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6" name="Freeform 279">
                <a:extLst>
                  <a:ext uri="{FF2B5EF4-FFF2-40B4-BE49-F238E27FC236}">
                    <a16:creationId xmlns:a16="http://schemas.microsoft.com/office/drawing/2014/main" xmlns="" id="{C4FB3D50-00B2-47C9-9AB8-A28017C11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052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0 w 5"/>
                  <a:gd name="T3" fmla="*/ 3 h 5"/>
                  <a:gd name="T4" fmla="*/ 4 w 5"/>
                  <a:gd name="T5" fmla="*/ 0 h 5"/>
                  <a:gd name="T6" fmla="*/ 5 w 5"/>
                  <a:gd name="T7" fmla="*/ 2 h 5"/>
                  <a:gd name="T8" fmla="*/ 5 w 5"/>
                  <a:gd name="T9" fmla="*/ 5 h 5"/>
                  <a:gd name="T10" fmla="*/ 4 w 5"/>
                  <a:gd name="T11" fmla="*/ 5 h 5"/>
                  <a:gd name="T12" fmla="*/ 2 w 5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7" name="Freeform 280">
                <a:extLst>
                  <a:ext uri="{FF2B5EF4-FFF2-40B4-BE49-F238E27FC236}">
                    <a16:creationId xmlns:a16="http://schemas.microsoft.com/office/drawing/2014/main" xmlns="" id="{CB0D53C2-ADFA-49E7-89B8-BB89DD9A8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1995"/>
                <a:ext cx="9" cy="11"/>
              </a:xfrm>
              <a:custGeom>
                <a:avLst/>
                <a:gdLst>
                  <a:gd name="T0" fmla="*/ 0 w 9"/>
                  <a:gd name="T1" fmla="*/ 10 h 11"/>
                  <a:gd name="T2" fmla="*/ 0 w 9"/>
                  <a:gd name="T3" fmla="*/ 8 h 11"/>
                  <a:gd name="T4" fmla="*/ 2 w 9"/>
                  <a:gd name="T5" fmla="*/ 8 h 11"/>
                  <a:gd name="T6" fmla="*/ 4 w 9"/>
                  <a:gd name="T7" fmla="*/ 3 h 11"/>
                  <a:gd name="T8" fmla="*/ 7 w 9"/>
                  <a:gd name="T9" fmla="*/ 0 h 11"/>
                  <a:gd name="T10" fmla="*/ 9 w 9"/>
                  <a:gd name="T11" fmla="*/ 2 h 11"/>
                  <a:gd name="T12" fmla="*/ 9 w 9"/>
                  <a:gd name="T13" fmla="*/ 7 h 11"/>
                  <a:gd name="T14" fmla="*/ 5 w 9"/>
                  <a:gd name="T15" fmla="*/ 11 h 11"/>
                  <a:gd name="T16" fmla="*/ 4 w 9"/>
                  <a:gd name="T17" fmla="*/ 11 h 11"/>
                  <a:gd name="T18" fmla="*/ 0 w 9"/>
                  <a:gd name="T1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8" name="Freeform 281">
                <a:extLst>
                  <a:ext uri="{FF2B5EF4-FFF2-40B4-BE49-F238E27FC236}">
                    <a16:creationId xmlns:a16="http://schemas.microsoft.com/office/drawing/2014/main" xmlns="" id="{7CC2EBEF-A8DA-4BB4-BA78-2B22DF3F7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1845"/>
                <a:ext cx="120" cy="184"/>
              </a:xfrm>
              <a:custGeom>
                <a:avLst/>
                <a:gdLst>
                  <a:gd name="T0" fmla="*/ 4 w 120"/>
                  <a:gd name="T1" fmla="*/ 130 h 184"/>
                  <a:gd name="T2" fmla="*/ 5 w 120"/>
                  <a:gd name="T3" fmla="*/ 119 h 184"/>
                  <a:gd name="T4" fmla="*/ 8 w 120"/>
                  <a:gd name="T5" fmla="*/ 114 h 184"/>
                  <a:gd name="T6" fmla="*/ 18 w 120"/>
                  <a:gd name="T7" fmla="*/ 106 h 184"/>
                  <a:gd name="T8" fmla="*/ 22 w 120"/>
                  <a:gd name="T9" fmla="*/ 101 h 184"/>
                  <a:gd name="T10" fmla="*/ 28 w 120"/>
                  <a:gd name="T11" fmla="*/ 101 h 184"/>
                  <a:gd name="T12" fmla="*/ 35 w 120"/>
                  <a:gd name="T13" fmla="*/ 106 h 184"/>
                  <a:gd name="T14" fmla="*/ 43 w 120"/>
                  <a:gd name="T15" fmla="*/ 108 h 184"/>
                  <a:gd name="T16" fmla="*/ 46 w 120"/>
                  <a:gd name="T17" fmla="*/ 99 h 184"/>
                  <a:gd name="T18" fmla="*/ 51 w 120"/>
                  <a:gd name="T19" fmla="*/ 94 h 184"/>
                  <a:gd name="T20" fmla="*/ 57 w 120"/>
                  <a:gd name="T21" fmla="*/ 83 h 184"/>
                  <a:gd name="T22" fmla="*/ 62 w 120"/>
                  <a:gd name="T23" fmla="*/ 73 h 184"/>
                  <a:gd name="T24" fmla="*/ 66 w 120"/>
                  <a:gd name="T25" fmla="*/ 65 h 184"/>
                  <a:gd name="T26" fmla="*/ 72 w 120"/>
                  <a:gd name="T27" fmla="*/ 57 h 184"/>
                  <a:gd name="T28" fmla="*/ 75 w 120"/>
                  <a:gd name="T29" fmla="*/ 45 h 184"/>
                  <a:gd name="T30" fmla="*/ 80 w 120"/>
                  <a:gd name="T31" fmla="*/ 34 h 184"/>
                  <a:gd name="T32" fmla="*/ 85 w 120"/>
                  <a:gd name="T33" fmla="*/ 29 h 184"/>
                  <a:gd name="T34" fmla="*/ 92 w 120"/>
                  <a:gd name="T35" fmla="*/ 26 h 184"/>
                  <a:gd name="T36" fmla="*/ 92 w 120"/>
                  <a:gd name="T37" fmla="*/ 18 h 184"/>
                  <a:gd name="T38" fmla="*/ 87 w 120"/>
                  <a:gd name="T39" fmla="*/ 11 h 184"/>
                  <a:gd name="T40" fmla="*/ 85 w 120"/>
                  <a:gd name="T41" fmla="*/ 0 h 184"/>
                  <a:gd name="T42" fmla="*/ 97 w 120"/>
                  <a:gd name="T43" fmla="*/ 11 h 184"/>
                  <a:gd name="T44" fmla="*/ 100 w 120"/>
                  <a:gd name="T45" fmla="*/ 21 h 184"/>
                  <a:gd name="T46" fmla="*/ 100 w 120"/>
                  <a:gd name="T47" fmla="*/ 26 h 184"/>
                  <a:gd name="T48" fmla="*/ 98 w 120"/>
                  <a:gd name="T49" fmla="*/ 34 h 184"/>
                  <a:gd name="T50" fmla="*/ 103 w 120"/>
                  <a:gd name="T51" fmla="*/ 42 h 184"/>
                  <a:gd name="T52" fmla="*/ 110 w 120"/>
                  <a:gd name="T53" fmla="*/ 50 h 184"/>
                  <a:gd name="T54" fmla="*/ 105 w 120"/>
                  <a:gd name="T55" fmla="*/ 50 h 184"/>
                  <a:gd name="T56" fmla="*/ 97 w 120"/>
                  <a:gd name="T57" fmla="*/ 49 h 184"/>
                  <a:gd name="T58" fmla="*/ 90 w 120"/>
                  <a:gd name="T59" fmla="*/ 49 h 184"/>
                  <a:gd name="T60" fmla="*/ 85 w 120"/>
                  <a:gd name="T61" fmla="*/ 54 h 184"/>
                  <a:gd name="T62" fmla="*/ 89 w 120"/>
                  <a:gd name="T63" fmla="*/ 60 h 184"/>
                  <a:gd name="T64" fmla="*/ 97 w 120"/>
                  <a:gd name="T65" fmla="*/ 67 h 184"/>
                  <a:gd name="T66" fmla="*/ 108 w 120"/>
                  <a:gd name="T67" fmla="*/ 80 h 184"/>
                  <a:gd name="T68" fmla="*/ 108 w 120"/>
                  <a:gd name="T69" fmla="*/ 93 h 184"/>
                  <a:gd name="T70" fmla="*/ 102 w 120"/>
                  <a:gd name="T71" fmla="*/ 103 h 184"/>
                  <a:gd name="T72" fmla="*/ 95 w 120"/>
                  <a:gd name="T73" fmla="*/ 111 h 184"/>
                  <a:gd name="T74" fmla="*/ 95 w 120"/>
                  <a:gd name="T75" fmla="*/ 121 h 184"/>
                  <a:gd name="T76" fmla="*/ 95 w 120"/>
                  <a:gd name="T77" fmla="*/ 134 h 184"/>
                  <a:gd name="T78" fmla="*/ 102 w 120"/>
                  <a:gd name="T79" fmla="*/ 144 h 184"/>
                  <a:gd name="T80" fmla="*/ 110 w 120"/>
                  <a:gd name="T81" fmla="*/ 155 h 184"/>
                  <a:gd name="T82" fmla="*/ 118 w 120"/>
                  <a:gd name="T83" fmla="*/ 166 h 184"/>
                  <a:gd name="T84" fmla="*/ 120 w 120"/>
                  <a:gd name="T85" fmla="*/ 173 h 184"/>
                  <a:gd name="T86" fmla="*/ 118 w 120"/>
                  <a:gd name="T87" fmla="*/ 176 h 184"/>
                  <a:gd name="T88" fmla="*/ 118 w 120"/>
                  <a:gd name="T89" fmla="*/ 183 h 184"/>
                  <a:gd name="T90" fmla="*/ 115 w 120"/>
                  <a:gd name="T91" fmla="*/ 184 h 184"/>
                  <a:gd name="T92" fmla="*/ 111 w 120"/>
                  <a:gd name="T93" fmla="*/ 183 h 184"/>
                  <a:gd name="T94" fmla="*/ 103 w 120"/>
                  <a:gd name="T95" fmla="*/ 181 h 184"/>
                  <a:gd name="T96" fmla="*/ 102 w 120"/>
                  <a:gd name="T97" fmla="*/ 183 h 184"/>
                  <a:gd name="T98" fmla="*/ 97 w 120"/>
                  <a:gd name="T99" fmla="*/ 181 h 184"/>
                  <a:gd name="T100" fmla="*/ 92 w 120"/>
                  <a:gd name="T101" fmla="*/ 179 h 184"/>
                  <a:gd name="T102" fmla="*/ 69 w 120"/>
                  <a:gd name="T103" fmla="*/ 178 h 184"/>
                  <a:gd name="T104" fmla="*/ 64 w 120"/>
                  <a:gd name="T105" fmla="*/ 178 h 184"/>
                  <a:gd name="T106" fmla="*/ 59 w 120"/>
                  <a:gd name="T107" fmla="*/ 178 h 184"/>
                  <a:gd name="T108" fmla="*/ 51 w 120"/>
                  <a:gd name="T109" fmla="*/ 178 h 184"/>
                  <a:gd name="T110" fmla="*/ 43 w 120"/>
                  <a:gd name="T111" fmla="*/ 178 h 184"/>
                  <a:gd name="T112" fmla="*/ 41 w 120"/>
                  <a:gd name="T113" fmla="*/ 179 h 184"/>
                  <a:gd name="T114" fmla="*/ 20 w 120"/>
                  <a:gd name="T115" fmla="*/ 179 h 184"/>
                  <a:gd name="T116" fmla="*/ 18 w 120"/>
                  <a:gd name="T117" fmla="*/ 175 h 184"/>
                  <a:gd name="T118" fmla="*/ 17 w 120"/>
                  <a:gd name="T119" fmla="*/ 158 h 184"/>
                  <a:gd name="T120" fmla="*/ 15 w 120"/>
                  <a:gd name="T121" fmla="*/ 147 h 184"/>
                  <a:gd name="T122" fmla="*/ 7 w 120"/>
                  <a:gd name="T123" fmla="*/ 147 h 184"/>
                  <a:gd name="T124" fmla="*/ 0 w 120"/>
                  <a:gd name="T125" fmla="*/ 139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0" h="184">
                    <a:moveTo>
                      <a:pt x="0" y="139"/>
                    </a:moveTo>
                    <a:lnTo>
                      <a:pt x="0" y="135"/>
                    </a:lnTo>
                    <a:lnTo>
                      <a:pt x="4" y="130"/>
                    </a:lnTo>
                    <a:lnTo>
                      <a:pt x="5" y="127"/>
                    </a:lnTo>
                    <a:lnTo>
                      <a:pt x="5" y="124"/>
                    </a:lnTo>
                    <a:lnTo>
                      <a:pt x="5" y="119"/>
                    </a:lnTo>
                    <a:lnTo>
                      <a:pt x="7" y="119"/>
                    </a:lnTo>
                    <a:lnTo>
                      <a:pt x="7" y="116"/>
                    </a:lnTo>
                    <a:lnTo>
                      <a:pt x="8" y="114"/>
                    </a:lnTo>
                    <a:lnTo>
                      <a:pt x="12" y="112"/>
                    </a:lnTo>
                    <a:lnTo>
                      <a:pt x="13" y="111"/>
                    </a:lnTo>
                    <a:lnTo>
                      <a:pt x="18" y="106"/>
                    </a:lnTo>
                    <a:lnTo>
                      <a:pt x="18" y="103"/>
                    </a:lnTo>
                    <a:lnTo>
                      <a:pt x="18" y="101"/>
                    </a:lnTo>
                    <a:lnTo>
                      <a:pt x="22" y="101"/>
                    </a:lnTo>
                    <a:lnTo>
                      <a:pt x="23" y="99"/>
                    </a:lnTo>
                    <a:lnTo>
                      <a:pt x="25" y="99"/>
                    </a:lnTo>
                    <a:lnTo>
                      <a:pt x="28" y="101"/>
                    </a:lnTo>
                    <a:lnTo>
                      <a:pt x="30" y="101"/>
                    </a:lnTo>
                    <a:lnTo>
                      <a:pt x="33" y="103"/>
                    </a:lnTo>
                    <a:lnTo>
                      <a:pt x="35" y="106"/>
                    </a:lnTo>
                    <a:lnTo>
                      <a:pt x="38" y="108"/>
                    </a:lnTo>
                    <a:lnTo>
                      <a:pt x="40" y="109"/>
                    </a:lnTo>
                    <a:lnTo>
                      <a:pt x="43" y="108"/>
                    </a:lnTo>
                    <a:lnTo>
                      <a:pt x="44" y="103"/>
                    </a:lnTo>
                    <a:lnTo>
                      <a:pt x="44" y="103"/>
                    </a:lnTo>
                    <a:lnTo>
                      <a:pt x="46" y="99"/>
                    </a:lnTo>
                    <a:lnTo>
                      <a:pt x="49" y="99"/>
                    </a:lnTo>
                    <a:lnTo>
                      <a:pt x="51" y="96"/>
                    </a:lnTo>
                    <a:lnTo>
                      <a:pt x="51" y="94"/>
                    </a:lnTo>
                    <a:lnTo>
                      <a:pt x="51" y="90"/>
                    </a:lnTo>
                    <a:lnTo>
                      <a:pt x="56" y="85"/>
                    </a:lnTo>
                    <a:lnTo>
                      <a:pt x="57" y="83"/>
                    </a:lnTo>
                    <a:lnTo>
                      <a:pt x="56" y="80"/>
                    </a:lnTo>
                    <a:lnTo>
                      <a:pt x="57" y="78"/>
                    </a:lnTo>
                    <a:lnTo>
                      <a:pt x="62" y="73"/>
                    </a:lnTo>
                    <a:lnTo>
                      <a:pt x="66" y="72"/>
                    </a:lnTo>
                    <a:lnTo>
                      <a:pt x="66" y="68"/>
                    </a:lnTo>
                    <a:lnTo>
                      <a:pt x="66" y="65"/>
                    </a:lnTo>
                    <a:lnTo>
                      <a:pt x="66" y="60"/>
                    </a:lnTo>
                    <a:lnTo>
                      <a:pt x="69" y="59"/>
                    </a:lnTo>
                    <a:lnTo>
                      <a:pt x="72" y="57"/>
                    </a:lnTo>
                    <a:lnTo>
                      <a:pt x="75" y="54"/>
                    </a:lnTo>
                    <a:lnTo>
                      <a:pt x="75" y="50"/>
                    </a:lnTo>
                    <a:lnTo>
                      <a:pt x="75" y="45"/>
                    </a:lnTo>
                    <a:lnTo>
                      <a:pt x="75" y="42"/>
                    </a:lnTo>
                    <a:lnTo>
                      <a:pt x="77" y="41"/>
                    </a:lnTo>
                    <a:lnTo>
                      <a:pt x="80" y="34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5" y="29"/>
                    </a:lnTo>
                    <a:lnTo>
                      <a:pt x="87" y="29"/>
                    </a:lnTo>
                    <a:lnTo>
                      <a:pt x="89" y="27"/>
                    </a:lnTo>
                    <a:lnTo>
                      <a:pt x="92" y="26"/>
                    </a:lnTo>
                    <a:lnTo>
                      <a:pt x="93" y="23"/>
                    </a:lnTo>
                    <a:lnTo>
                      <a:pt x="92" y="19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7" y="13"/>
                    </a:lnTo>
                    <a:lnTo>
                      <a:pt x="87" y="11"/>
                    </a:lnTo>
                    <a:lnTo>
                      <a:pt x="87" y="6"/>
                    </a:lnTo>
                    <a:lnTo>
                      <a:pt x="85" y="3"/>
                    </a:lnTo>
                    <a:lnTo>
                      <a:pt x="85" y="0"/>
                    </a:lnTo>
                    <a:lnTo>
                      <a:pt x="92" y="3"/>
                    </a:lnTo>
                    <a:lnTo>
                      <a:pt x="97" y="6"/>
                    </a:lnTo>
                    <a:lnTo>
                      <a:pt x="97" y="11"/>
                    </a:lnTo>
                    <a:lnTo>
                      <a:pt x="98" y="13"/>
                    </a:lnTo>
                    <a:lnTo>
                      <a:pt x="98" y="16"/>
                    </a:lnTo>
                    <a:lnTo>
                      <a:pt x="100" y="21"/>
                    </a:lnTo>
                    <a:lnTo>
                      <a:pt x="100" y="23"/>
                    </a:lnTo>
                    <a:lnTo>
                      <a:pt x="100" y="24"/>
                    </a:lnTo>
                    <a:lnTo>
                      <a:pt x="100" y="26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34"/>
                    </a:lnTo>
                    <a:lnTo>
                      <a:pt x="98" y="37"/>
                    </a:lnTo>
                    <a:lnTo>
                      <a:pt x="102" y="41"/>
                    </a:lnTo>
                    <a:lnTo>
                      <a:pt x="103" y="42"/>
                    </a:lnTo>
                    <a:lnTo>
                      <a:pt x="105" y="45"/>
                    </a:lnTo>
                    <a:lnTo>
                      <a:pt x="108" y="49"/>
                    </a:lnTo>
                    <a:lnTo>
                      <a:pt x="110" y="50"/>
                    </a:lnTo>
                    <a:lnTo>
                      <a:pt x="108" y="50"/>
                    </a:lnTo>
                    <a:lnTo>
                      <a:pt x="106" y="50"/>
                    </a:lnTo>
                    <a:lnTo>
                      <a:pt x="105" y="50"/>
                    </a:lnTo>
                    <a:lnTo>
                      <a:pt x="102" y="49"/>
                    </a:lnTo>
                    <a:lnTo>
                      <a:pt x="98" y="50"/>
                    </a:lnTo>
                    <a:lnTo>
                      <a:pt x="97" y="49"/>
                    </a:lnTo>
                    <a:lnTo>
                      <a:pt x="93" y="50"/>
                    </a:lnTo>
                    <a:lnTo>
                      <a:pt x="92" y="49"/>
                    </a:lnTo>
                    <a:lnTo>
                      <a:pt x="90" y="49"/>
                    </a:lnTo>
                    <a:lnTo>
                      <a:pt x="87" y="49"/>
                    </a:lnTo>
                    <a:lnTo>
                      <a:pt x="87" y="52"/>
                    </a:lnTo>
                    <a:lnTo>
                      <a:pt x="85" y="54"/>
                    </a:lnTo>
                    <a:lnTo>
                      <a:pt x="85" y="57"/>
                    </a:lnTo>
                    <a:lnTo>
                      <a:pt x="87" y="59"/>
                    </a:lnTo>
                    <a:lnTo>
                      <a:pt x="89" y="60"/>
                    </a:lnTo>
                    <a:lnTo>
                      <a:pt x="89" y="62"/>
                    </a:lnTo>
                    <a:lnTo>
                      <a:pt x="92" y="62"/>
                    </a:lnTo>
                    <a:lnTo>
                      <a:pt x="97" y="67"/>
                    </a:lnTo>
                    <a:lnTo>
                      <a:pt x="103" y="73"/>
                    </a:lnTo>
                    <a:lnTo>
                      <a:pt x="105" y="77"/>
                    </a:lnTo>
                    <a:lnTo>
                      <a:pt x="108" y="80"/>
                    </a:lnTo>
                    <a:lnTo>
                      <a:pt x="110" y="85"/>
                    </a:lnTo>
                    <a:lnTo>
                      <a:pt x="110" y="88"/>
                    </a:lnTo>
                    <a:lnTo>
                      <a:pt x="108" y="93"/>
                    </a:lnTo>
                    <a:lnTo>
                      <a:pt x="105" y="93"/>
                    </a:lnTo>
                    <a:lnTo>
                      <a:pt x="103" y="96"/>
                    </a:lnTo>
                    <a:lnTo>
                      <a:pt x="102" y="103"/>
                    </a:lnTo>
                    <a:lnTo>
                      <a:pt x="100" y="106"/>
                    </a:lnTo>
                    <a:lnTo>
                      <a:pt x="97" y="111"/>
                    </a:lnTo>
                    <a:lnTo>
                      <a:pt x="95" y="111"/>
                    </a:lnTo>
                    <a:lnTo>
                      <a:pt x="93" y="114"/>
                    </a:lnTo>
                    <a:lnTo>
                      <a:pt x="93" y="117"/>
                    </a:lnTo>
                    <a:lnTo>
                      <a:pt x="95" y="121"/>
                    </a:lnTo>
                    <a:lnTo>
                      <a:pt x="93" y="126"/>
                    </a:lnTo>
                    <a:lnTo>
                      <a:pt x="95" y="129"/>
                    </a:lnTo>
                    <a:lnTo>
                      <a:pt x="95" y="134"/>
                    </a:lnTo>
                    <a:lnTo>
                      <a:pt x="95" y="140"/>
                    </a:lnTo>
                    <a:lnTo>
                      <a:pt x="97" y="140"/>
                    </a:lnTo>
                    <a:lnTo>
                      <a:pt x="102" y="144"/>
                    </a:lnTo>
                    <a:lnTo>
                      <a:pt x="105" y="147"/>
                    </a:lnTo>
                    <a:lnTo>
                      <a:pt x="105" y="150"/>
                    </a:lnTo>
                    <a:lnTo>
                      <a:pt x="110" y="155"/>
                    </a:lnTo>
                    <a:lnTo>
                      <a:pt x="111" y="160"/>
                    </a:lnTo>
                    <a:lnTo>
                      <a:pt x="113" y="161"/>
                    </a:lnTo>
                    <a:lnTo>
                      <a:pt x="118" y="166"/>
                    </a:lnTo>
                    <a:lnTo>
                      <a:pt x="120" y="170"/>
                    </a:lnTo>
                    <a:lnTo>
                      <a:pt x="120" y="171"/>
                    </a:lnTo>
                    <a:lnTo>
                      <a:pt x="120" y="173"/>
                    </a:lnTo>
                    <a:lnTo>
                      <a:pt x="120" y="173"/>
                    </a:lnTo>
                    <a:lnTo>
                      <a:pt x="120" y="175"/>
                    </a:lnTo>
                    <a:lnTo>
                      <a:pt x="118" y="176"/>
                    </a:lnTo>
                    <a:lnTo>
                      <a:pt x="116" y="179"/>
                    </a:lnTo>
                    <a:lnTo>
                      <a:pt x="116" y="179"/>
                    </a:lnTo>
                    <a:lnTo>
                      <a:pt x="118" y="183"/>
                    </a:lnTo>
                    <a:lnTo>
                      <a:pt x="118" y="184"/>
                    </a:lnTo>
                    <a:lnTo>
                      <a:pt x="115" y="184"/>
                    </a:lnTo>
                    <a:lnTo>
                      <a:pt x="115" y="184"/>
                    </a:lnTo>
                    <a:lnTo>
                      <a:pt x="113" y="184"/>
                    </a:lnTo>
                    <a:lnTo>
                      <a:pt x="113" y="183"/>
                    </a:lnTo>
                    <a:lnTo>
                      <a:pt x="111" y="183"/>
                    </a:lnTo>
                    <a:lnTo>
                      <a:pt x="108" y="183"/>
                    </a:lnTo>
                    <a:lnTo>
                      <a:pt x="106" y="183"/>
                    </a:lnTo>
                    <a:lnTo>
                      <a:pt x="103" y="181"/>
                    </a:lnTo>
                    <a:lnTo>
                      <a:pt x="103" y="181"/>
                    </a:lnTo>
                    <a:lnTo>
                      <a:pt x="102" y="183"/>
                    </a:lnTo>
                    <a:lnTo>
                      <a:pt x="102" y="183"/>
                    </a:lnTo>
                    <a:lnTo>
                      <a:pt x="100" y="181"/>
                    </a:lnTo>
                    <a:lnTo>
                      <a:pt x="98" y="181"/>
                    </a:lnTo>
                    <a:lnTo>
                      <a:pt x="97" y="181"/>
                    </a:lnTo>
                    <a:lnTo>
                      <a:pt x="95" y="179"/>
                    </a:lnTo>
                    <a:lnTo>
                      <a:pt x="93" y="179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71" y="179"/>
                    </a:lnTo>
                    <a:lnTo>
                      <a:pt x="69" y="178"/>
                    </a:lnTo>
                    <a:lnTo>
                      <a:pt x="69" y="178"/>
                    </a:lnTo>
                    <a:lnTo>
                      <a:pt x="67" y="178"/>
                    </a:lnTo>
                    <a:lnTo>
                      <a:pt x="64" y="178"/>
                    </a:lnTo>
                    <a:lnTo>
                      <a:pt x="64" y="178"/>
                    </a:lnTo>
                    <a:lnTo>
                      <a:pt x="61" y="178"/>
                    </a:lnTo>
                    <a:lnTo>
                      <a:pt x="59" y="178"/>
                    </a:lnTo>
                    <a:lnTo>
                      <a:pt x="57" y="178"/>
                    </a:lnTo>
                    <a:lnTo>
                      <a:pt x="53" y="178"/>
                    </a:lnTo>
                    <a:lnTo>
                      <a:pt x="51" y="178"/>
                    </a:lnTo>
                    <a:lnTo>
                      <a:pt x="46" y="178"/>
                    </a:lnTo>
                    <a:lnTo>
                      <a:pt x="44" y="178"/>
                    </a:lnTo>
                    <a:lnTo>
                      <a:pt x="43" y="178"/>
                    </a:lnTo>
                    <a:lnTo>
                      <a:pt x="41" y="179"/>
                    </a:lnTo>
                    <a:lnTo>
                      <a:pt x="41" y="179"/>
                    </a:lnTo>
                    <a:lnTo>
                      <a:pt x="41" y="179"/>
                    </a:lnTo>
                    <a:lnTo>
                      <a:pt x="23" y="179"/>
                    </a:lnTo>
                    <a:lnTo>
                      <a:pt x="22" y="179"/>
                    </a:lnTo>
                    <a:lnTo>
                      <a:pt x="20" y="179"/>
                    </a:lnTo>
                    <a:lnTo>
                      <a:pt x="18" y="179"/>
                    </a:lnTo>
                    <a:lnTo>
                      <a:pt x="20" y="176"/>
                    </a:lnTo>
                    <a:lnTo>
                      <a:pt x="18" y="175"/>
                    </a:lnTo>
                    <a:lnTo>
                      <a:pt x="20" y="168"/>
                    </a:lnTo>
                    <a:lnTo>
                      <a:pt x="20" y="161"/>
                    </a:lnTo>
                    <a:lnTo>
                      <a:pt x="17" y="158"/>
                    </a:lnTo>
                    <a:lnTo>
                      <a:pt x="17" y="153"/>
                    </a:lnTo>
                    <a:lnTo>
                      <a:pt x="18" y="152"/>
                    </a:lnTo>
                    <a:lnTo>
                      <a:pt x="15" y="147"/>
                    </a:lnTo>
                    <a:lnTo>
                      <a:pt x="10" y="150"/>
                    </a:lnTo>
                    <a:lnTo>
                      <a:pt x="8" y="148"/>
                    </a:lnTo>
                    <a:lnTo>
                      <a:pt x="7" y="147"/>
                    </a:lnTo>
                    <a:lnTo>
                      <a:pt x="4" y="137"/>
                    </a:lnTo>
                    <a:lnTo>
                      <a:pt x="2" y="139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9" name="Freeform 282">
                <a:extLst>
                  <a:ext uri="{FF2B5EF4-FFF2-40B4-BE49-F238E27FC236}">
                    <a16:creationId xmlns:a16="http://schemas.microsoft.com/office/drawing/2014/main" xmlns="" id="{61553565-52D5-4A35-A65A-F7BBF818F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2023"/>
                <a:ext cx="90" cy="99"/>
              </a:xfrm>
              <a:custGeom>
                <a:avLst/>
                <a:gdLst>
                  <a:gd name="T0" fmla="*/ 41 w 90"/>
                  <a:gd name="T1" fmla="*/ 1 h 99"/>
                  <a:gd name="T2" fmla="*/ 44 w 90"/>
                  <a:gd name="T3" fmla="*/ 0 h 99"/>
                  <a:gd name="T4" fmla="*/ 51 w 90"/>
                  <a:gd name="T5" fmla="*/ 0 h 99"/>
                  <a:gd name="T6" fmla="*/ 57 w 90"/>
                  <a:gd name="T7" fmla="*/ 0 h 99"/>
                  <a:gd name="T8" fmla="*/ 61 w 90"/>
                  <a:gd name="T9" fmla="*/ 0 h 99"/>
                  <a:gd name="T10" fmla="*/ 64 w 90"/>
                  <a:gd name="T11" fmla="*/ 0 h 99"/>
                  <a:gd name="T12" fmla="*/ 69 w 90"/>
                  <a:gd name="T13" fmla="*/ 0 h 99"/>
                  <a:gd name="T14" fmla="*/ 71 w 90"/>
                  <a:gd name="T15" fmla="*/ 1 h 99"/>
                  <a:gd name="T16" fmla="*/ 69 w 90"/>
                  <a:gd name="T17" fmla="*/ 5 h 99"/>
                  <a:gd name="T18" fmla="*/ 71 w 90"/>
                  <a:gd name="T19" fmla="*/ 11 h 99"/>
                  <a:gd name="T20" fmla="*/ 71 w 90"/>
                  <a:gd name="T21" fmla="*/ 16 h 99"/>
                  <a:gd name="T22" fmla="*/ 75 w 90"/>
                  <a:gd name="T23" fmla="*/ 16 h 99"/>
                  <a:gd name="T24" fmla="*/ 80 w 90"/>
                  <a:gd name="T25" fmla="*/ 15 h 99"/>
                  <a:gd name="T26" fmla="*/ 89 w 90"/>
                  <a:gd name="T27" fmla="*/ 15 h 99"/>
                  <a:gd name="T28" fmla="*/ 90 w 90"/>
                  <a:gd name="T29" fmla="*/ 19 h 99"/>
                  <a:gd name="T30" fmla="*/ 90 w 90"/>
                  <a:gd name="T31" fmla="*/ 24 h 99"/>
                  <a:gd name="T32" fmla="*/ 87 w 90"/>
                  <a:gd name="T33" fmla="*/ 28 h 99"/>
                  <a:gd name="T34" fmla="*/ 84 w 90"/>
                  <a:gd name="T35" fmla="*/ 31 h 99"/>
                  <a:gd name="T36" fmla="*/ 85 w 90"/>
                  <a:gd name="T37" fmla="*/ 34 h 99"/>
                  <a:gd name="T38" fmla="*/ 84 w 90"/>
                  <a:gd name="T39" fmla="*/ 36 h 99"/>
                  <a:gd name="T40" fmla="*/ 82 w 90"/>
                  <a:gd name="T41" fmla="*/ 37 h 99"/>
                  <a:gd name="T42" fmla="*/ 84 w 90"/>
                  <a:gd name="T43" fmla="*/ 41 h 99"/>
                  <a:gd name="T44" fmla="*/ 85 w 90"/>
                  <a:gd name="T45" fmla="*/ 42 h 99"/>
                  <a:gd name="T46" fmla="*/ 89 w 90"/>
                  <a:gd name="T47" fmla="*/ 47 h 99"/>
                  <a:gd name="T48" fmla="*/ 90 w 90"/>
                  <a:gd name="T49" fmla="*/ 52 h 99"/>
                  <a:gd name="T50" fmla="*/ 85 w 90"/>
                  <a:gd name="T51" fmla="*/ 70 h 99"/>
                  <a:gd name="T52" fmla="*/ 85 w 90"/>
                  <a:gd name="T53" fmla="*/ 77 h 99"/>
                  <a:gd name="T54" fmla="*/ 84 w 90"/>
                  <a:gd name="T55" fmla="*/ 73 h 99"/>
                  <a:gd name="T56" fmla="*/ 77 w 90"/>
                  <a:gd name="T57" fmla="*/ 73 h 99"/>
                  <a:gd name="T58" fmla="*/ 72 w 90"/>
                  <a:gd name="T59" fmla="*/ 73 h 99"/>
                  <a:gd name="T60" fmla="*/ 67 w 90"/>
                  <a:gd name="T61" fmla="*/ 72 h 99"/>
                  <a:gd name="T62" fmla="*/ 61 w 90"/>
                  <a:gd name="T63" fmla="*/ 65 h 99"/>
                  <a:gd name="T64" fmla="*/ 61 w 90"/>
                  <a:gd name="T65" fmla="*/ 70 h 99"/>
                  <a:gd name="T66" fmla="*/ 54 w 90"/>
                  <a:gd name="T67" fmla="*/ 73 h 99"/>
                  <a:gd name="T68" fmla="*/ 51 w 90"/>
                  <a:gd name="T69" fmla="*/ 75 h 99"/>
                  <a:gd name="T70" fmla="*/ 46 w 90"/>
                  <a:gd name="T71" fmla="*/ 75 h 99"/>
                  <a:gd name="T72" fmla="*/ 41 w 90"/>
                  <a:gd name="T73" fmla="*/ 77 h 99"/>
                  <a:gd name="T74" fmla="*/ 43 w 90"/>
                  <a:gd name="T75" fmla="*/ 83 h 99"/>
                  <a:gd name="T76" fmla="*/ 48 w 90"/>
                  <a:gd name="T77" fmla="*/ 82 h 99"/>
                  <a:gd name="T78" fmla="*/ 51 w 90"/>
                  <a:gd name="T79" fmla="*/ 85 h 99"/>
                  <a:gd name="T80" fmla="*/ 51 w 90"/>
                  <a:gd name="T81" fmla="*/ 95 h 99"/>
                  <a:gd name="T82" fmla="*/ 46 w 90"/>
                  <a:gd name="T83" fmla="*/ 91 h 99"/>
                  <a:gd name="T84" fmla="*/ 43 w 90"/>
                  <a:gd name="T85" fmla="*/ 93 h 99"/>
                  <a:gd name="T86" fmla="*/ 40 w 90"/>
                  <a:gd name="T87" fmla="*/ 96 h 99"/>
                  <a:gd name="T88" fmla="*/ 38 w 90"/>
                  <a:gd name="T89" fmla="*/ 99 h 99"/>
                  <a:gd name="T90" fmla="*/ 35 w 90"/>
                  <a:gd name="T91" fmla="*/ 95 h 99"/>
                  <a:gd name="T92" fmla="*/ 26 w 90"/>
                  <a:gd name="T93" fmla="*/ 88 h 99"/>
                  <a:gd name="T94" fmla="*/ 15 w 90"/>
                  <a:gd name="T95" fmla="*/ 78 h 99"/>
                  <a:gd name="T96" fmla="*/ 13 w 90"/>
                  <a:gd name="T97" fmla="*/ 73 h 99"/>
                  <a:gd name="T98" fmla="*/ 8 w 90"/>
                  <a:gd name="T99" fmla="*/ 68 h 99"/>
                  <a:gd name="T100" fmla="*/ 5 w 90"/>
                  <a:gd name="T101" fmla="*/ 59 h 99"/>
                  <a:gd name="T102" fmla="*/ 4 w 90"/>
                  <a:gd name="T103" fmla="*/ 55 h 99"/>
                  <a:gd name="T104" fmla="*/ 0 w 90"/>
                  <a:gd name="T105" fmla="*/ 46 h 99"/>
                  <a:gd name="T106" fmla="*/ 7 w 90"/>
                  <a:gd name="T107" fmla="*/ 46 h 99"/>
                  <a:gd name="T108" fmla="*/ 8 w 90"/>
                  <a:gd name="T109" fmla="*/ 31 h 99"/>
                  <a:gd name="T110" fmla="*/ 18 w 90"/>
                  <a:gd name="T111" fmla="*/ 32 h 99"/>
                  <a:gd name="T112" fmla="*/ 10 w 90"/>
                  <a:gd name="T113" fmla="*/ 26 h 99"/>
                  <a:gd name="T114" fmla="*/ 13 w 90"/>
                  <a:gd name="T115" fmla="*/ 21 h 99"/>
                  <a:gd name="T116" fmla="*/ 17 w 90"/>
                  <a:gd name="T117" fmla="*/ 19 h 99"/>
                  <a:gd name="T118" fmla="*/ 20 w 90"/>
                  <a:gd name="T119" fmla="*/ 21 h 99"/>
                  <a:gd name="T120" fmla="*/ 41 w 90"/>
                  <a:gd name="T121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0" h="99">
                    <a:moveTo>
                      <a:pt x="41" y="1"/>
                    </a:moveTo>
                    <a:lnTo>
                      <a:pt x="41" y="1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3" y="0"/>
                    </a:lnTo>
                    <a:lnTo>
                      <a:pt x="57" y="0"/>
                    </a:lnTo>
                    <a:lnTo>
                      <a:pt x="59" y="0"/>
                    </a:lnTo>
                    <a:lnTo>
                      <a:pt x="61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1" y="1"/>
                    </a:lnTo>
                    <a:lnTo>
                      <a:pt x="71" y="1"/>
                    </a:lnTo>
                    <a:lnTo>
                      <a:pt x="69" y="5"/>
                    </a:lnTo>
                    <a:lnTo>
                      <a:pt x="71" y="8"/>
                    </a:lnTo>
                    <a:lnTo>
                      <a:pt x="71" y="11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2" y="18"/>
                    </a:lnTo>
                    <a:lnTo>
                      <a:pt x="75" y="16"/>
                    </a:lnTo>
                    <a:lnTo>
                      <a:pt x="77" y="16"/>
                    </a:lnTo>
                    <a:lnTo>
                      <a:pt x="80" y="15"/>
                    </a:lnTo>
                    <a:lnTo>
                      <a:pt x="84" y="15"/>
                    </a:lnTo>
                    <a:lnTo>
                      <a:pt x="89" y="15"/>
                    </a:lnTo>
                    <a:lnTo>
                      <a:pt x="90" y="15"/>
                    </a:lnTo>
                    <a:lnTo>
                      <a:pt x="90" y="19"/>
                    </a:lnTo>
                    <a:lnTo>
                      <a:pt x="90" y="23"/>
                    </a:lnTo>
                    <a:lnTo>
                      <a:pt x="90" y="24"/>
                    </a:lnTo>
                    <a:lnTo>
                      <a:pt x="90" y="28"/>
                    </a:lnTo>
                    <a:lnTo>
                      <a:pt x="87" y="28"/>
                    </a:lnTo>
                    <a:lnTo>
                      <a:pt x="84" y="29"/>
                    </a:lnTo>
                    <a:lnTo>
                      <a:pt x="84" y="31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5" y="36"/>
                    </a:lnTo>
                    <a:lnTo>
                      <a:pt x="84" y="36"/>
                    </a:lnTo>
                    <a:lnTo>
                      <a:pt x="82" y="37"/>
                    </a:lnTo>
                    <a:lnTo>
                      <a:pt x="82" y="37"/>
                    </a:lnTo>
                    <a:lnTo>
                      <a:pt x="84" y="39"/>
                    </a:lnTo>
                    <a:lnTo>
                      <a:pt x="84" y="41"/>
                    </a:lnTo>
                    <a:lnTo>
                      <a:pt x="85" y="42"/>
                    </a:lnTo>
                    <a:lnTo>
                      <a:pt x="85" y="42"/>
                    </a:lnTo>
                    <a:lnTo>
                      <a:pt x="89" y="46"/>
                    </a:lnTo>
                    <a:lnTo>
                      <a:pt x="89" y="47"/>
                    </a:lnTo>
                    <a:lnTo>
                      <a:pt x="90" y="49"/>
                    </a:lnTo>
                    <a:lnTo>
                      <a:pt x="90" y="52"/>
                    </a:lnTo>
                    <a:lnTo>
                      <a:pt x="89" y="59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4" y="73"/>
                    </a:lnTo>
                    <a:lnTo>
                      <a:pt x="80" y="72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2" y="73"/>
                    </a:lnTo>
                    <a:lnTo>
                      <a:pt x="69" y="75"/>
                    </a:lnTo>
                    <a:lnTo>
                      <a:pt x="67" y="72"/>
                    </a:lnTo>
                    <a:lnTo>
                      <a:pt x="64" y="65"/>
                    </a:lnTo>
                    <a:lnTo>
                      <a:pt x="61" y="65"/>
                    </a:lnTo>
                    <a:lnTo>
                      <a:pt x="59" y="67"/>
                    </a:lnTo>
                    <a:lnTo>
                      <a:pt x="61" y="70"/>
                    </a:lnTo>
                    <a:lnTo>
                      <a:pt x="59" y="73"/>
                    </a:lnTo>
                    <a:lnTo>
                      <a:pt x="54" y="73"/>
                    </a:lnTo>
                    <a:lnTo>
                      <a:pt x="51" y="73"/>
                    </a:lnTo>
                    <a:lnTo>
                      <a:pt x="51" y="75"/>
                    </a:lnTo>
                    <a:lnTo>
                      <a:pt x="49" y="77"/>
                    </a:lnTo>
                    <a:lnTo>
                      <a:pt x="46" y="75"/>
                    </a:lnTo>
                    <a:lnTo>
                      <a:pt x="43" y="75"/>
                    </a:lnTo>
                    <a:lnTo>
                      <a:pt x="41" y="77"/>
                    </a:lnTo>
                    <a:lnTo>
                      <a:pt x="43" y="80"/>
                    </a:lnTo>
                    <a:lnTo>
                      <a:pt x="43" y="83"/>
                    </a:lnTo>
                    <a:lnTo>
                      <a:pt x="44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5"/>
                    </a:lnTo>
                    <a:lnTo>
                      <a:pt x="51" y="93"/>
                    </a:lnTo>
                    <a:lnTo>
                      <a:pt x="51" y="95"/>
                    </a:lnTo>
                    <a:lnTo>
                      <a:pt x="48" y="91"/>
                    </a:lnTo>
                    <a:lnTo>
                      <a:pt x="46" y="91"/>
                    </a:lnTo>
                    <a:lnTo>
                      <a:pt x="44" y="93"/>
                    </a:lnTo>
                    <a:lnTo>
                      <a:pt x="43" y="93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38" y="99"/>
                    </a:lnTo>
                    <a:lnTo>
                      <a:pt x="38" y="99"/>
                    </a:lnTo>
                    <a:lnTo>
                      <a:pt x="35" y="98"/>
                    </a:lnTo>
                    <a:lnTo>
                      <a:pt x="35" y="95"/>
                    </a:lnTo>
                    <a:lnTo>
                      <a:pt x="28" y="93"/>
                    </a:lnTo>
                    <a:lnTo>
                      <a:pt x="26" y="88"/>
                    </a:lnTo>
                    <a:lnTo>
                      <a:pt x="20" y="83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3" y="73"/>
                    </a:lnTo>
                    <a:lnTo>
                      <a:pt x="10" y="70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5" y="59"/>
                    </a:lnTo>
                    <a:lnTo>
                      <a:pt x="5" y="57"/>
                    </a:lnTo>
                    <a:lnTo>
                      <a:pt x="4" y="55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5" y="47"/>
                    </a:lnTo>
                    <a:lnTo>
                      <a:pt x="7" y="46"/>
                    </a:lnTo>
                    <a:lnTo>
                      <a:pt x="8" y="36"/>
                    </a:lnTo>
                    <a:lnTo>
                      <a:pt x="8" y="31"/>
                    </a:lnTo>
                    <a:lnTo>
                      <a:pt x="10" y="34"/>
                    </a:lnTo>
                    <a:lnTo>
                      <a:pt x="18" y="32"/>
                    </a:lnTo>
                    <a:lnTo>
                      <a:pt x="13" y="31"/>
                    </a:lnTo>
                    <a:lnTo>
                      <a:pt x="10" y="26"/>
                    </a:lnTo>
                    <a:lnTo>
                      <a:pt x="13" y="24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20" y="21"/>
                    </a:lnTo>
                    <a:lnTo>
                      <a:pt x="41" y="21"/>
                    </a:lnTo>
                    <a:lnTo>
                      <a:pt x="41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0" name="Freeform 283">
                <a:extLst>
                  <a:ext uri="{FF2B5EF4-FFF2-40B4-BE49-F238E27FC236}">
                    <a16:creationId xmlns:a16="http://schemas.microsoft.com/office/drawing/2014/main" xmlns="" id="{CA7ED0A2-D6A9-41F7-92A7-4B31B703C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" y="2024"/>
                <a:ext cx="33" cy="20"/>
              </a:xfrm>
              <a:custGeom>
                <a:avLst/>
                <a:gdLst>
                  <a:gd name="T0" fmla="*/ 5 w 33"/>
                  <a:gd name="T1" fmla="*/ 20 h 20"/>
                  <a:gd name="T2" fmla="*/ 7 w 33"/>
                  <a:gd name="T3" fmla="*/ 20 h 20"/>
                  <a:gd name="T4" fmla="*/ 9 w 33"/>
                  <a:gd name="T5" fmla="*/ 18 h 20"/>
                  <a:gd name="T6" fmla="*/ 10 w 33"/>
                  <a:gd name="T7" fmla="*/ 18 h 20"/>
                  <a:gd name="T8" fmla="*/ 12 w 33"/>
                  <a:gd name="T9" fmla="*/ 20 h 20"/>
                  <a:gd name="T10" fmla="*/ 33 w 33"/>
                  <a:gd name="T11" fmla="*/ 20 h 20"/>
                  <a:gd name="T12" fmla="*/ 33 w 33"/>
                  <a:gd name="T13" fmla="*/ 0 h 20"/>
                  <a:gd name="T14" fmla="*/ 15 w 33"/>
                  <a:gd name="T15" fmla="*/ 0 h 20"/>
                  <a:gd name="T16" fmla="*/ 14 w 33"/>
                  <a:gd name="T17" fmla="*/ 0 h 20"/>
                  <a:gd name="T18" fmla="*/ 12 w 33"/>
                  <a:gd name="T19" fmla="*/ 0 h 20"/>
                  <a:gd name="T20" fmla="*/ 10 w 33"/>
                  <a:gd name="T21" fmla="*/ 0 h 20"/>
                  <a:gd name="T22" fmla="*/ 9 w 33"/>
                  <a:gd name="T23" fmla="*/ 0 h 20"/>
                  <a:gd name="T24" fmla="*/ 10 w 33"/>
                  <a:gd name="T25" fmla="*/ 4 h 20"/>
                  <a:gd name="T26" fmla="*/ 5 w 33"/>
                  <a:gd name="T27" fmla="*/ 9 h 20"/>
                  <a:gd name="T28" fmla="*/ 0 w 33"/>
                  <a:gd name="T29" fmla="*/ 17 h 20"/>
                  <a:gd name="T30" fmla="*/ 5 w 33"/>
                  <a:gd name="T31" fmla="*/ 18 h 20"/>
                  <a:gd name="T32" fmla="*/ 5 w 33"/>
                  <a:gd name="T3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20">
                    <a:moveTo>
                      <a:pt x="5" y="20"/>
                    </a:moveTo>
                    <a:lnTo>
                      <a:pt x="7" y="20"/>
                    </a:lnTo>
                    <a:lnTo>
                      <a:pt x="9" y="18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33" y="20"/>
                    </a:lnTo>
                    <a:lnTo>
                      <a:pt x="33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10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5" y="18"/>
                    </a:lnTo>
                    <a:lnTo>
                      <a:pt x="5" y="2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1" name="Freeform 284">
                <a:extLst>
                  <a:ext uri="{FF2B5EF4-FFF2-40B4-BE49-F238E27FC236}">
                    <a16:creationId xmlns:a16="http://schemas.microsoft.com/office/drawing/2014/main" xmlns="" id="{0254D356-452C-4E53-9AAA-3590CD97F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1997"/>
                <a:ext cx="121" cy="145"/>
              </a:xfrm>
              <a:custGeom>
                <a:avLst/>
                <a:gdLst>
                  <a:gd name="T0" fmla="*/ 3 w 121"/>
                  <a:gd name="T1" fmla="*/ 121 h 145"/>
                  <a:gd name="T2" fmla="*/ 8 w 121"/>
                  <a:gd name="T3" fmla="*/ 117 h 145"/>
                  <a:gd name="T4" fmla="*/ 13 w 121"/>
                  <a:gd name="T5" fmla="*/ 119 h 145"/>
                  <a:gd name="T6" fmla="*/ 10 w 121"/>
                  <a:gd name="T7" fmla="*/ 108 h 145"/>
                  <a:gd name="T8" fmla="*/ 5 w 121"/>
                  <a:gd name="T9" fmla="*/ 106 h 145"/>
                  <a:gd name="T10" fmla="*/ 8 w 121"/>
                  <a:gd name="T11" fmla="*/ 101 h 145"/>
                  <a:gd name="T12" fmla="*/ 13 w 121"/>
                  <a:gd name="T13" fmla="*/ 99 h 145"/>
                  <a:gd name="T14" fmla="*/ 23 w 121"/>
                  <a:gd name="T15" fmla="*/ 96 h 145"/>
                  <a:gd name="T16" fmla="*/ 26 w 121"/>
                  <a:gd name="T17" fmla="*/ 91 h 145"/>
                  <a:gd name="T18" fmla="*/ 34 w 121"/>
                  <a:gd name="T19" fmla="*/ 99 h 145"/>
                  <a:gd name="T20" fmla="*/ 42 w 121"/>
                  <a:gd name="T21" fmla="*/ 98 h 145"/>
                  <a:gd name="T22" fmla="*/ 47 w 121"/>
                  <a:gd name="T23" fmla="*/ 103 h 145"/>
                  <a:gd name="T24" fmla="*/ 51 w 121"/>
                  <a:gd name="T25" fmla="*/ 85 h 145"/>
                  <a:gd name="T26" fmla="*/ 51 w 121"/>
                  <a:gd name="T27" fmla="*/ 73 h 145"/>
                  <a:gd name="T28" fmla="*/ 47 w 121"/>
                  <a:gd name="T29" fmla="*/ 68 h 145"/>
                  <a:gd name="T30" fmla="*/ 44 w 121"/>
                  <a:gd name="T31" fmla="*/ 63 h 145"/>
                  <a:gd name="T32" fmla="*/ 47 w 121"/>
                  <a:gd name="T33" fmla="*/ 62 h 145"/>
                  <a:gd name="T34" fmla="*/ 46 w 121"/>
                  <a:gd name="T35" fmla="*/ 57 h 145"/>
                  <a:gd name="T36" fmla="*/ 52 w 121"/>
                  <a:gd name="T37" fmla="*/ 54 h 145"/>
                  <a:gd name="T38" fmla="*/ 52 w 121"/>
                  <a:gd name="T39" fmla="*/ 45 h 145"/>
                  <a:gd name="T40" fmla="*/ 46 w 121"/>
                  <a:gd name="T41" fmla="*/ 41 h 145"/>
                  <a:gd name="T42" fmla="*/ 37 w 121"/>
                  <a:gd name="T43" fmla="*/ 42 h 145"/>
                  <a:gd name="T44" fmla="*/ 33 w 121"/>
                  <a:gd name="T45" fmla="*/ 41 h 145"/>
                  <a:gd name="T46" fmla="*/ 31 w 121"/>
                  <a:gd name="T47" fmla="*/ 31 h 145"/>
                  <a:gd name="T48" fmla="*/ 54 w 121"/>
                  <a:gd name="T49" fmla="*/ 27 h 145"/>
                  <a:gd name="T50" fmla="*/ 59 w 121"/>
                  <a:gd name="T51" fmla="*/ 29 h 145"/>
                  <a:gd name="T52" fmla="*/ 64 w 121"/>
                  <a:gd name="T53" fmla="*/ 31 h 145"/>
                  <a:gd name="T54" fmla="*/ 65 w 121"/>
                  <a:gd name="T55" fmla="*/ 29 h 145"/>
                  <a:gd name="T56" fmla="*/ 73 w 121"/>
                  <a:gd name="T57" fmla="*/ 31 h 145"/>
                  <a:gd name="T58" fmla="*/ 77 w 121"/>
                  <a:gd name="T59" fmla="*/ 32 h 145"/>
                  <a:gd name="T60" fmla="*/ 80 w 121"/>
                  <a:gd name="T61" fmla="*/ 31 h 145"/>
                  <a:gd name="T62" fmla="*/ 80 w 121"/>
                  <a:gd name="T63" fmla="*/ 24 h 145"/>
                  <a:gd name="T64" fmla="*/ 93 w 121"/>
                  <a:gd name="T65" fmla="*/ 5 h 145"/>
                  <a:gd name="T66" fmla="*/ 104 w 121"/>
                  <a:gd name="T67" fmla="*/ 0 h 145"/>
                  <a:gd name="T68" fmla="*/ 111 w 121"/>
                  <a:gd name="T69" fmla="*/ 0 h 145"/>
                  <a:gd name="T70" fmla="*/ 116 w 121"/>
                  <a:gd name="T71" fmla="*/ 3 h 145"/>
                  <a:gd name="T72" fmla="*/ 121 w 121"/>
                  <a:gd name="T73" fmla="*/ 1 h 145"/>
                  <a:gd name="T74" fmla="*/ 119 w 121"/>
                  <a:gd name="T75" fmla="*/ 13 h 145"/>
                  <a:gd name="T76" fmla="*/ 113 w 121"/>
                  <a:gd name="T77" fmla="*/ 31 h 145"/>
                  <a:gd name="T78" fmla="*/ 109 w 121"/>
                  <a:gd name="T79" fmla="*/ 41 h 145"/>
                  <a:gd name="T80" fmla="*/ 108 w 121"/>
                  <a:gd name="T81" fmla="*/ 52 h 145"/>
                  <a:gd name="T82" fmla="*/ 106 w 121"/>
                  <a:gd name="T83" fmla="*/ 58 h 145"/>
                  <a:gd name="T84" fmla="*/ 100 w 121"/>
                  <a:gd name="T85" fmla="*/ 78 h 145"/>
                  <a:gd name="T86" fmla="*/ 91 w 121"/>
                  <a:gd name="T87" fmla="*/ 81 h 145"/>
                  <a:gd name="T88" fmla="*/ 85 w 121"/>
                  <a:gd name="T89" fmla="*/ 91 h 145"/>
                  <a:gd name="T90" fmla="*/ 78 w 121"/>
                  <a:gd name="T91" fmla="*/ 104 h 145"/>
                  <a:gd name="T92" fmla="*/ 78 w 121"/>
                  <a:gd name="T93" fmla="*/ 119 h 145"/>
                  <a:gd name="T94" fmla="*/ 73 w 121"/>
                  <a:gd name="T95" fmla="*/ 127 h 145"/>
                  <a:gd name="T96" fmla="*/ 64 w 121"/>
                  <a:gd name="T97" fmla="*/ 137 h 145"/>
                  <a:gd name="T98" fmla="*/ 54 w 121"/>
                  <a:gd name="T99" fmla="*/ 140 h 145"/>
                  <a:gd name="T100" fmla="*/ 54 w 121"/>
                  <a:gd name="T101" fmla="*/ 134 h 145"/>
                  <a:gd name="T102" fmla="*/ 46 w 121"/>
                  <a:gd name="T103" fmla="*/ 135 h 145"/>
                  <a:gd name="T104" fmla="*/ 41 w 121"/>
                  <a:gd name="T105" fmla="*/ 139 h 145"/>
                  <a:gd name="T106" fmla="*/ 36 w 121"/>
                  <a:gd name="T107" fmla="*/ 140 h 145"/>
                  <a:gd name="T108" fmla="*/ 31 w 121"/>
                  <a:gd name="T109" fmla="*/ 139 h 145"/>
                  <a:gd name="T110" fmla="*/ 29 w 121"/>
                  <a:gd name="T111" fmla="*/ 135 h 145"/>
                  <a:gd name="T112" fmla="*/ 23 w 121"/>
                  <a:gd name="T113" fmla="*/ 135 h 145"/>
                  <a:gd name="T114" fmla="*/ 18 w 121"/>
                  <a:gd name="T115" fmla="*/ 140 h 145"/>
                  <a:gd name="T116" fmla="*/ 13 w 121"/>
                  <a:gd name="T117" fmla="*/ 145 h 145"/>
                  <a:gd name="T118" fmla="*/ 10 w 121"/>
                  <a:gd name="T119" fmla="*/ 137 h 145"/>
                  <a:gd name="T120" fmla="*/ 3 w 121"/>
                  <a:gd name="T121" fmla="*/ 129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1" h="145">
                    <a:moveTo>
                      <a:pt x="0" y="125"/>
                    </a:moveTo>
                    <a:lnTo>
                      <a:pt x="2" y="122"/>
                    </a:lnTo>
                    <a:lnTo>
                      <a:pt x="3" y="121"/>
                    </a:lnTo>
                    <a:lnTo>
                      <a:pt x="5" y="119"/>
                    </a:lnTo>
                    <a:lnTo>
                      <a:pt x="6" y="119"/>
                    </a:lnTo>
                    <a:lnTo>
                      <a:pt x="8" y="117"/>
                    </a:lnTo>
                    <a:lnTo>
                      <a:pt x="10" y="117"/>
                    </a:lnTo>
                    <a:lnTo>
                      <a:pt x="13" y="121"/>
                    </a:lnTo>
                    <a:lnTo>
                      <a:pt x="13" y="119"/>
                    </a:lnTo>
                    <a:lnTo>
                      <a:pt x="13" y="111"/>
                    </a:lnTo>
                    <a:lnTo>
                      <a:pt x="11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5" y="109"/>
                    </a:lnTo>
                    <a:lnTo>
                      <a:pt x="5" y="106"/>
                    </a:lnTo>
                    <a:lnTo>
                      <a:pt x="3" y="103"/>
                    </a:lnTo>
                    <a:lnTo>
                      <a:pt x="5" y="101"/>
                    </a:lnTo>
                    <a:lnTo>
                      <a:pt x="8" y="101"/>
                    </a:lnTo>
                    <a:lnTo>
                      <a:pt x="11" y="103"/>
                    </a:lnTo>
                    <a:lnTo>
                      <a:pt x="13" y="101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3" y="96"/>
                    </a:lnTo>
                    <a:lnTo>
                      <a:pt x="21" y="93"/>
                    </a:lnTo>
                    <a:lnTo>
                      <a:pt x="23" y="91"/>
                    </a:lnTo>
                    <a:lnTo>
                      <a:pt x="26" y="91"/>
                    </a:lnTo>
                    <a:lnTo>
                      <a:pt x="29" y="98"/>
                    </a:lnTo>
                    <a:lnTo>
                      <a:pt x="31" y="101"/>
                    </a:lnTo>
                    <a:lnTo>
                      <a:pt x="34" y="99"/>
                    </a:lnTo>
                    <a:lnTo>
                      <a:pt x="37" y="99"/>
                    </a:lnTo>
                    <a:lnTo>
                      <a:pt x="39" y="99"/>
                    </a:lnTo>
                    <a:lnTo>
                      <a:pt x="42" y="98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7" y="103"/>
                    </a:lnTo>
                    <a:lnTo>
                      <a:pt x="47" y="99"/>
                    </a:lnTo>
                    <a:lnTo>
                      <a:pt x="47" y="96"/>
                    </a:lnTo>
                    <a:lnTo>
                      <a:pt x="51" y="85"/>
                    </a:lnTo>
                    <a:lnTo>
                      <a:pt x="52" y="78"/>
                    </a:lnTo>
                    <a:lnTo>
                      <a:pt x="52" y="75"/>
                    </a:lnTo>
                    <a:lnTo>
                      <a:pt x="51" y="73"/>
                    </a:lnTo>
                    <a:lnTo>
                      <a:pt x="51" y="72"/>
                    </a:lnTo>
                    <a:lnTo>
                      <a:pt x="47" y="68"/>
                    </a:lnTo>
                    <a:lnTo>
                      <a:pt x="47" y="68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6" y="62"/>
                    </a:lnTo>
                    <a:lnTo>
                      <a:pt x="47" y="62"/>
                    </a:lnTo>
                    <a:lnTo>
                      <a:pt x="47" y="60"/>
                    </a:lnTo>
                    <a:lnTo>
                      <a:pt x="47" y="58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9" y="54"/>
                    </a:lnTo>
                    <a:lnTo>
                      <a:pt x="52" y="54"/>
                    </a:lnTo>
                    <a:lnTo>
                      <a:pt x="52" y="50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1"/>
                    </a:lnTo>
                    <a:lnTo>
                      <a:pt x="51" y="41"/>
                    </a:lnTo>
                    <a:lnTo>
                      <a:pt x="46" y="41"/>
                    </a:lnTo>
                    <a:lnTo>
                      <a:pt x="42" y="41"/>
                    </a:lnTo>
                    <a:lnTo>
                      <a:pt x="39" y="42"/>
                    </a:lnTo>
                    <a:lnTo>
                      <a:pt x="37" y="42"/>
                    </a:lnTo>
                    <a:lnTo>
                      <a:pt x="34" y="44"/>
                    </a:lnTo>
                    <a:lnTo>
                      <a:pt x="33" y="42"/>
                    </a:lnTo>
                    <a:lnTo>
                      <a:pt x="33" y="41"/>
                    </a:lnTo>
                    <a:lnTo>
                      <a:pt x="33" y="37"/>
                    </a:lnTo>
                    <a:lnTo>
                      <a:pt x="33" y="34"/>
                    </a:lnTo>
                    <a:lnTo>
                      <a:pt x="31" y="31"/>
                    </a:lnTo>
                    <a:lnTo>
                      <a:pt x="33" y="27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5" y="27"/>
                    </a:lnTo>
                    <a:lnTo>
                      <a:pt x="57" y="27"/>
                    </a:lnTo>
                    <a:lnTo>
                      <a:pt x="59" y="29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1"/>
                    </a:lnTo>
                    <a:lnTo>
                      <a:pt x="64" y="31"/>
                    </a:lnTo>
                    <a:lnTo>
                      <a:pt x="65" y="29"/>
                    </a:lnTo>
                    <a:lnTo>
                      <a:pt x="65" y="29"/>
                    </a:lnTo>
                    <a:lnTo>
                      <a:pt x="68" y="31"/>
                    </a:lnTo>
                    <a:lnTo>
                      <a:pt x="70" y="31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5" y="32"/>
                    </a:lnTo>
                    <a:lnTo>
                      <a:pt x="77" y="32"/>
                    </a:lnTo>
                    <a:lnTo>
                      <a:pt x="77" y="32"/>
                    </a:lnTo>
                    <a:lnTo>
                      <a:pt x="80" y="32"/>
                    </a:lnTo>
                    <a:lnTo>
                      <a:pt x="80" y="31"/>
                    </a:lnTo>
                    <a:lnTo>
                      <a:pt x="78" y="27"/>
                    </a:lnTo>
                    <a:lnTo>
                      <a:pt x="78" y="27"/>
                    </a:lnTo>
                    <a:lnTo>
                      <a:pt x="80" y="24"/>
                    </a:lnTo>
                    <a:lnTo>
                      <a:pt x="82" y="23"/>
                    </a:lnTo>
                    <a:lnTo>
                      <a:pt x="90" y="9"/>
                    </a:lnTo>
                    <a:lnTo>
                      <a:pt x="93" y="5"/>
                    </a:lnTo>
                    <a:lnTo>
                      <a:pt x="96" y="5"/>
                    </a:lnTo>
                    <a:lnTo>
                      <a:pt x="96" y="3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1" y="0"/>
                    </a:lnTo>
                    <a:lnTo>
                      <a:pt x="113" y="0"/>
                    </a:lnTo>
                    <a:lnTo>
                      <a:pt x="114" y="1"/>
                    </a:lnTo>
                    <a:lnTo>
                      <a:pt x="116" y="3"/>
                    </a:lnTo>
                    <a:lnTo>
                      <a:pt x="117" y="1"/>
                    </a:lnTo>
                    <a:lnTo>
                      <a:pt x="121" y="1"/>
                    </a:lnTo>
                    <a:lnTo>
                      <a:pt x="121" y="1"/>
                    </a:lnTo>
                    <a:lnTo>
                      <a:pt x="121" y="5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7" y="16"/>
                    </a:lnTo>
                    <a:lnTo>
                      <a:pt x="111" y="26"/>
                    </a:lnTo>
                    <a:lnTo>
                      <a:pt x="113" y="31"/>
                    </a:lnTo>
                    <a:lnTo>
                      <a:pt x="111" y="34"/>
                    </a:lnTo>
                    <a:lnTo>
                      <a:pt x="111" y="37"/>
                    </a:lnTo>
                    <a:lnTo>
                      <a:pt x="109" y="41"/>
                    </a:lnTo>
                    <a:lnTo>
                      <a:pt x="108" y="45"/>
                    </a:lnTo>
                    <a:lnTo>
                      <a:pt x="109" y="47"/>
                    </a:lnTo>
                    <a:lnTo>
                      <a:pt x="108" y="52"/>
                    </a:lnTo>
                    <a:lnTo>
                      <a:pt x="109" y="54"/>
                    </a:lnTo>
                    <a:lnTo>
                      <a:pt x="108" y="58"/>
                    </a:lnTo>
                    <a:lnTo>
                      <a:pt x="106" y="58"/>
                    </a:lnTo>
                    <a:lnTo>
                      <a:pt x="104" y="65"/>
                    </a:lnTo>
                    <a:lnTo>
                      <a:pt x="104" y="70"/>
                    </a:lnTo>
                    <a:lnTo>
                      <a:pt x="100" y="78"/>
                    </a:lnTo>
                    <a:lnTo>
                      <a:pt x="96" y="80"/>
                    </a:lnTo>
                    <a:lnTo>
                      <a:pt x="93" y="81"/>
                    </a:lnTo>
                    <a:lnTo>
                      <a:pt x="91" y="81"/>
                    </a:lnTo>
                    <a:lnTo>
                      <a:pt x="88" y="83"/>
                    </a:lnTo>
                    <a:lnTo>
                      <a:pt x="85" y="88"/>
                    </a:lnTo>
                    <a:lnTo>
                      <a:pt x="85" y="91"/>
                    </a:lnTo>
                    <a:lnTo>
                      <a:pt x="80" y="96"/>
                    </a:lnTo>
                    <a:lnTo>
                      <a:pt x="78" y="99"/>
                    </a:lnTo>
                    <a:lnTo>
                      <a:pt x="78" y="104"/>
                    </a:lnTo>
                    <a:lnTo>
                      <a:pt x="80" y="106"/>
                    </a:lnTo>
                    <a:lnTo>
                      <a:pt x="80" y="114"/>
                    </a:lnTo>
                    <a:lnTo>
                      <a:pt x="78" y="119"/>
                    </a:lnTo>
                    <a:lnTo>
                      <a:pt x="78" y="122"/>
                    </a:lnTo>
                    <a:lnTo>
                      <a:pt x="75" y="125"/>
                    </a:lnTo>
                    <a:lnTo>
                      <a:pt x="73" y="127"/>
                    </a:lnTo>
                    <a:lnTo>
                      <a:pt x="70" y="129"/>
                    </a:lnTo>
                    <a:lnTo>
                      <a:pt x="70" y="130"/>
                    </a:lnTo>
                    <a:lnTo>
                      <a:pt x="64" y="137"/>
                    </a:lnTo>
                    <a:lnTo>
                      <a:pt x="60" y="140"/>
                    </a:lnTo>
                    <a:lnTo>
                      <a:pt x="57" y="142"/>
                    </a:lnTo>
                    <a:lnTo>
                      <a:pt x="54" y="140"/>
                    </a:lnTo>
                    <a:lnTo>
                      <a:pt x="52" y="137"/>
                    </a:lnTo>
                    <a:lnTo>
                      <a:pt x="52" y="137"/>
                    </a:lnTo>
                    <a:lnTo>
                      <a:pt x="54" y="134"/>
                    </a:lnTo>
                    <a:lnTo>
                      <a:pt x="54" y="132"/>
                    </a:lnTo>
                    <a:lnTo>
                      <a:pt x="49" y="134"/>
                    </a:lnTo>
                    <a:lnTo>
                      <a:pt x="46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9"/>
                    </a:lnTo>
                    <a:lnTo>
                      <a:pt x="39" y="142"/>
                    </a:lnTo>
                    <a:lnTo>
                      <a:pt x="36" y="142"/>
                    </a:lnTo>
                    <a:lnTo>
                      <a:pt x="36" y="140"/>
                    </a:lnTo>
                    <a:lnTo>
                      <a:pt x="36" y="139"/>
                    </a:lnTo>
                    <a:lnTo>
                      <a:pt x="33" y="139"/>
                    </a:lnTo>
                    <a:lnTo>
                      <a:pt x="31" y="139"/>
                    </a:lnTo>
                    <a:lnTo>
                      <a:pt x="31" y="140"/>
                    </a:lnTo>
                    <a:lnTo>
                      <a:pt x="31" y="137"/>
                    </a:lnTo>
                    <a:lnTo>
                      <a:pt x="29" y="135"/>
                    </a:lnTo>
                    <a:lnTo>
                      <a:pt x="28" y="134"/>
                    </a:lnTo>
                    <a:lnTo>
                      <a:pt x="26" y="134"/>
                    </a:lnTo>
                    <a:lnTo>
                      <a:pt x="23" y="135"/>
                    </a:lnTo>
                    <a:lnTo>
                      <a:pt x="21" y="135"/>
                    </a:lnTo>
                    <a:lnTo>
                      <a:pt x="19" y="139"/>
                    </a:lnTo>
                    <a:lnTo>
                      <a:pt x="18" y="140"/>
                    </a:lnTo>
                    <a:lnTo>
                      <a:pt x="16" y="140"/>
                    </a:lnTo>
                    <a:lnTo>
                      <a:pt x="15" y="143"/>
                    </a:lnTo>
                    <a:lnTo>
                      <a:pt x="13" y="145"/>
                    </a:lnTo>
                    <a:lnTo>
                      <a:pt x="11" y="143"/>
                    </a:lnTo>
                    <a:lnTo>
                      <a:pt x="11" y="140"/>
                    </a:lnTo>
                    <a:lnTo>
                      <a:pt x="10" y="137"/>
                    </a:lnTo>
                    <a:lnTo>
                      <a:pt x="10" y="134"/>
                    </a:lnTo>
                    <a:lnTo>
                      <a:pt x="5" y="130"/>
                    </a:lnTo>
                    <a:lnTo>
                      <a:pt x="3" y="129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2" name="Freeform 285">
                <a:extLst>
                  <a:ext uri="{FF2B5EF4-FFF2-40B4-BE49-F238E27FC236}">
                    <a16:creationId xmlns:a16="http://schemas.microsoft.com/office/drawing/2014/main" xmlns="" id="{78CFB640-E1B6-4786-BC9B-58C75713B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7" y="2131"/>
                <a:ext cx="18" cy="23"/>
              </a:xfrm>
              <a:custGeom>
                <a:avLst/>
                <a:gdLst>
                  <a:gd name="T0" fmla="*/ 18 w 18"/>
                  <a:gd name="T1" fmla="*/ 6 h 23"/>
                  <a:gd name="T2" fmla="*/ 18 w 18"/>
                  <a:gd name="T3" fmla="*/ 3 h 23"/>
                  <a:gd name="T4" fmla="*/ 16 w 18"/>
                  <a:gd name="T5" fmla="*/ 1 h 23"/>
                  <a:gd name="T6" fmla="*/ 15 w 18"/>
                  <a:gd name="T7" fmla="*/ 0 h 23"/>
                  <a:gd name="T8" fmla="*/ 13 w 18"/>
                  <a:gd name="T9" fmla="*/ 0 h 23"/>
                  <a:gd name="T10" fmla="*/ 10 w 18"/>
                  <a:gd name="T11" fmla="*/ 1 h 23"/>
                  <a:gd name="T12" fmla="*/ 8 w 18"/>
                  <a:gd name="T13" fmla="*/ 1 h 23"/>
                  <a:gd name="T14" fmla="*/ 6 w 18"/>
                  <a:gd name="T15" fmla="*/ 5 h 23"/>
                  <a:gd name="T16" fmla="*/ 5 w 18"/>
                  <a:gd name="T17" fmla="*/ 6 h 23"/>
                  <a:gd name="T18" fmla="*/ 3 w 18"/>
                  <a:gd name="T19" fmla="*/ 6 h 23"/>
                  <a:gd name="T20" fmla="*/ 2 w 18"/>
                  <a:gd name="T21" fmla="*/ 9 h 23"/>
                  <a:gd name="T22" fmla="*/ 0 w 18"/>
                  <a:gd name="T23" fmla="*/ 11 h 23"/>
                  <a:gd name="T24" fmla="*/ 2 w 18"/>
                  <a:gd name="T25" fmla="*/ 13 h 23"/>
                  <a:gd name="T26" fmla="*/ 3 w 18"/>
                  <a:gd name="T27" fmla="*/ 18 h 23"/>
                  <a:gd name="T28" fmla="*/ 2 w 18"/>
                  <a:gd name="T29" fmla="*/ 21 h 23"/>
                  <a:gd name="T30" fmla="*/ 2 w 18"/>
                  <a:gd name="T31" fmla="*/ 23 h 23"/>
                  <a:gd name="T32" fmla="*/ 5 w 18"/>
                  <a:gd name="T33" fmla="*/ 21 h 23"/>
                  <a:gd name="T34" fmla="*/ 8 w 18"/>
                  <a:gd name="T35" fmla="*/ 21 h 23"/>
                  <a:gd name="T36" fmla="*/ 10 w 18"/>
                  <a:gd name="T37" fmla="*/ 19 h 23"/>
                  <a:gd name="T38" fmla="*/ 10 w 18"/>
                  <a:gd name="T39" fmla="*/ 13 h 23"/>
                  <a:gd name="T40" fmla="*/ 11 w 18"/>
                  <a:gd name="T41" fmla="*/ 11 h 23"/>
                  <a:gd name="T42" fmla="*/ 15 w 18"/>
                  <a:gd name="T43" fmla="*/ 8 h 23"/>
                  <a:gd name="T44" fmla="*/ 18 w 18"/>
                  <a:gd name="T45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23">
                    <a:moveTo>
                      <a:pt x="18" y="6"/>
                    </a:moveTo>
                    <a:lnTo>
                      <a:pt x="18" y="3"/>
                    </a:lnTo>
                    <a:lnTo>
                      <a:pt x="16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6" y="5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8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5" y="21"/>
                    </a:lnTo>
                    <a:lnTo>
                      <a:pt x="8" y="21"/>
                    </a:lnTo>
                    <a:lnTo>
                      <a:pt x="10" y="19"/>
                    </a:lnTo>
                    <a:lnTo>
                      <a:pt x="10" y="13"/>
                    </a:lnTo>
                    <a:lnTo>
                      <a:pt x="11" y="11"/>
                    </a:lnTo>
                    <a:lnTo>
                      <a:pt x="15" y="8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3" name="Freeform 286">
                <a:extLst>
                  <a:ext uri="{FF2B5EF4-FFF2-40B4-BE49-F238E27FC236}">
                    <a16:creationId xmlns:a16="http://schemas.microsoft.com/office/drawing/2014/main" xmlns="" id="{DA3988F6-031A-4099-80A3-12A7D7B63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3" y="2073"/>
                <a:ext cx="176" cy="185"/>
              </a:xfrm>
              <a:custGeom>
                <a:avLst/>
                <a:gdLst>
                  <a:gd name="T0" fmla="*/ 21 w 176"/>
                  <a:gd name="T1" fmla="*/ 4 h 185"/>
                  <a:gd name="T2" fmla="*/ 75 w 176"/>
                  <a:gd name="T3" fmla="*/ 0 h 185"/>
                  <a:gd name="T4" fmla="*/ 136 w 176"/>
                  <a:gd name="T5" fmla="*/ 41 h 185"/>
                  <a:gd name="T6" fmla="*/ 157 w 176"/>
                  <a:gd name="T7" fmla="*/ 59 h 185"/>
                  <a:gd name="T8" fmla="*/ 157 w 176"/>
                  <a:gd name="T9" fmla="*/ 63 h 185"/>
                  <a:gd name="T10" fmla="*/ 150 w 176"/>
                  <a:gd name="T11" fmla="*/ 82 h 185"/>
                  <a:gd name="T12" fmla="*/ 158 w 176"/>
                  <a:gd name="T13" fmla="*/ 94 h 185"/>
                  <a:gd name="T14" fmla="*/ 162 w 176"/>
                  <a:gd name="T15" fmla="*/ 102 h 185"/>
                  <a:gd name="T16" fmla="*/ 157 w 176"/>
                  <a:gd name="T17" fmla="*/ 107 h 185"/>
                  <a:gd name="T18" fmla="*/ 160 w 176"/>
                  <a:gd name="T19" fmla="*/ 118 h 185"/>
                  <a:gd name="T20" fmla="*/ 160 w 176"/>
                  <a:gd name="T21" fmla="*/ 128 h 185"/>
                  <a:gd name="T22" fmla="*/ 160 w 176"/>
                  <a:gd name="T23" fmla="*/ 133 h 185"/>
                  <a:gd name="T24" fmla="*/ 162 w 176"/>
                  <a:gd name="T25" fmla="*/ 139 h 185"/>
                  <a:gd name="T26" fmla="*/ 168 w 176"/>
                  <a:gd name="T27" fmla="*/ 152 h 185"/>
                  <a:gd name="T28" fmla="*/ 176 w 176"/>
                  <a:gd name="T29" fmla="*/ 157 h 185"/>
                  <a:gd name="T30" fmla="*/ 175 w 176"/>
                  <a:gd name="T31" fmla="*/ 159 h 185"/>
                  <a:gd name="T32" fmla="*/ 168 w 176"/>
                  <a:gd name="T33" fmla="*/ 164 h 185"/>
                  <a:gd name="T34" fmla="*/ 158 w 176"/>
                  <a:gd name="T35" fmla="*/ 167 h 185"/>
                  <a:gd name="T36" fmla="*/ 153 w 176"/>
                  <a:gd name="T37" fmla="*/ 167 h 185"/>
                  <a:gd name="T38" fmla="*/ 142 w 176"/>
                  <a:gd name="T39" fmla="*/ 172 h 185"/>
                  <a:gd name="T40" fmla="*/ 136 w 176"/>
                  <a:gd name="T41" fmla="*/ 169 h 185"/>
                  <a:gd name="T42" fmla="*/ 134 w 176"/>
                  <a:gd name="T43" fmla="*/ 175 h 185"/>
                  <a:gd name="T44" fmla="*/ 124 w 176"/>
                  <a:gd name="T45" fmla="*/ 175 h 185"/>
                  <a:gd name="T46" fmla="*/ 121 w 176"/>
                  <a:gd name="T47" fmla="*/ 174 h 185"/>
                  <a:gd name="T48" fmla="*/ 114 w 176"/>
                  <a:gd name="T49" fmla="*/ 177 h 185"/>
                  <a:gd name="T50" fmla="*/ 108 w 176"/>
                  <a:gd name="T51" fmla="*/ 175 h 185"/>
                  <a:gd name="T52" fmla="*/ 101 w 176"/>
                  <a:gd name="T53" fmla="*/ 174 h 185"/>
                  <a:gd name="T54" fmla="*/ 98 w 176"/>
                  <a:gd name="T55" fmla="*/ 174 h 185"/>
                  <a:gd name="T56" fmla="*/ 78 w 176"/>
                  <a:gd name="T57" fmla="*/ 185 h 185"/>
                  <a:gd name="T58" fmla="*/ 72 w 176"/>
                  <a:gd name="T59" fmla="*/ 146 h 185"/>
                  <a:gd name="T60" fmla="*/ 69 w 176"/>
                  <a:gd name="T61" fmla="*/ 143 h 185"/>
                  <a:gd name="T62" fmla="*/ 64 w 176"/>
                  <a:gd name="T63" fmla="*/ 141 h 185"/>
                  <a:gd name="T64" fmla="*/ 60 w 176"/>
                  <a:gd name="T65" fmla="*/ 141 h 185"/>
                  <a:gd name="T66" fmla="*/ 57 w 176"/>
                  <a:gd name="T67" fmla="*/ 139 h 185"/>
                  <a:gd name="T68" fmla="*/ 52 w 176"/>
                  <a:gd name="T69" fmla="*/ 136 h 185"/>
                  <a:gd name="T70" fmla="*/ 49 w 176"/>
                  <a:gd name="T71" fmla="*/ 131 h 185"/>
                  <a:gd name="T72" fmla="*/ 36 w 176"/>
                  <a:gd name="T73" fmla="*/ 128 h 185"/>
                  <a:gd name="T74" fmla="*/ 33 w 176"/>
                  <a:gd name="T75" fmla="*/ 123 h 185"/>
                  <a:gd name="T76" fmla="*/ 26 w 176"/>
                  <a:gd name="T77" fmla="*/ 123 h 185"/>
                  <a:gd name="T78" fmla="*/ 5 w 176"/>
                  <a:gd name="T79" fmla="*/ 92 h 185"/>
                  <a:gd name="T80" fmla="*/ 8 w 176"/>
                  <a:gd name="T81" fmla="*/ 59 h 185"/>
                  <a:gd name="T82" fmla="*/ 20 w 176"/>
                  <a:gd name="T83" fmla="*/ 49 h 185"/>
                  <a:gd name="T84" fmla="*/ 26 w 176"/>
                  <a:gd name="T85" fmla="*/ 43 h 185"/>
                  <a:gd name="T86" fmla="*/ 24 w 176"/>
                  <a:gd name="T87" fmla="*/ 35 h 185"/>
                  <a:gd name="T88" fmla="*/ 21 w 176"/>
                  <a:gd name="T89" fmla="*/ 30 h 185"/>
                  <a:gd name="T90" fmla="*/ 21 w 176"/>
                  <a:gd name="T91" fmla="*/ 27 h 185"/>
                  <a:gd name="T92" fmla="*/ 24 w 176"/>
                  <a:gd name="T93" fmla="*/ 25 h 185"/>
                  <a:gd name="T94" fmla="*/ 26 w 176"/>
                  <a:gd name="T95" fmla="*/ 18 h 185"/>
                  <a:gd name="T96" fmla="*/ 23 w 176"/>
                  <a:gd name="T97" fmla="*/ 9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6" h="185">
                    <a:moveTo>
                      <a:pt x="20" y="4"/>
                    </a:moveTo>
                    <a:lnTo>
                      <a:pt x="20" y="4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42" y="2"/>
                    </a:lnTo>
                    <a:lnTo>
                      <a:pt x="75" y="0"/>
                    </a:lnTo>
                    <a:lnTo>
                      <a:pt x="132" y="35"/>
                    </a:lnTo>
                    <a:lnTo>
                      <a:pt x="136" y="40"/>
                    </a:lnTo>
                    <a:lnTo>
                      <a:pt x="136" y="41"/>
                    </a:lnTo>
                    <a:lnTo>
                      <a:pt x="136" y="45"/>
                    </a:lnTo>
                    <a:lnTo>
                      <a:pt x="137" y="46"/>
                    </a:lnTo>
                    <a:lnTo>
                      <a:pt x="157" y="59"/>
                    </a:lnTo>
                    <a:lnTo>
                      <a:pt x="157" y="59"/>
                    </a:lnTo>
                    <a:lnTo>
                      <a:pt x="157" y="61"/>
                    </a:lnTo>
                    <a:lnTo>
                      <a:pt x="157" y="63"/>
                    </a:lnTo>
                    <a:lnTo>
                      <a:pt x="157" y="64"/>
                    </a:lnTo>
                    <a:lnTo>
                      <a:pt x="153" y="76"/>
                    </a:lnTo>
                    <a:lnTo>
                      <a:pt x="150" y="82"/>
                    </a:lnTo>
                    <a:lnTo>
                      <a:pt x="150" y="85"/>
                    </a:lnTo>
                    <a:lnTo>
                      <a:pt x="155" y="90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2" y="100"/>
                    </a:lnTo>
                    <a:lnTo>
                      <a:pt x="162" y="102"/>
                    </a:lnTo>
                    <a:lnTo>
                      <a:pt x="160" y="100"/>
                    </a:lnTo>
                    <a:lnTo>
                      <a:pt x="158" y="102"/>
                    </a:lnTo>
                    <a:lnTo>
                      <a:pt x="157" y="107"/>
                    </a:lnTo>
                    <a:lnTo>
                      <a:pt x="158" y="112"/>
                    </a:lnTo>
                    <a:lnTo>
                      <a:pt x="160" y="115"/>
                    </a:lnTo>
                    <a:lnTo>
                      <a:pt x="160" y="118"/>
                    </a:lnTo>
                    <a:lnTo>
                      <a:pt x="157" y="120"/>
                    </a:lnTo>
                    <a:lnTo>
                      <a:pt x="158" y="123"/>
                    </a:lnTo>
                    <a:lnTo>
                      <a:pt x="160" y="128"/>
                    </a:lnTo>
                    <a:lnTo>
                      <a:pt x="158" y="128"/>
                    </a:lnTo>
                    <a:lnTo>
                      <a:pt x="160" y="130"/>
                    </a:lnTo>
                    <a:lnTo>
                      <a:pt x="160" y="133"/>
                    </a:lnTo>
                    <a:lnTo>
                      <a:pt x="162" y="134"/>
                    </a:lnTo>
                    <a:lnTo>
                      <a:pt x="160" y="138"/>
                    </a:lnTo>
                    <a:lnTo>
                      <a:pt x="162" y="139"/>
                    </a:lnTo>
                    <a:lnTo>
                      <a:pt x="163" y="144"/>
                    </a:lnTo>
                    <a:lnTo>
                      <a:pt x="163" y="148"/>
                    </a:lnTo>
                    <a:lnTo>
                      <a:pt x="168" y="152"/>
                    </a:lnTo>
                    <a:lnTo>
                      <a:pt x="173" y="152"/>
                    </a:lnTo>
                    <a:lnTo>
                      <a:pt x="176" y="156"/>
                    </a:lnTo>
                    <a:lnTo>
                      <a:pt x="176" y="157"/>
                    </a:lnTo>
                    <a:lnTo>
                      <a:pt x="176" y="157"/>
                    </a:lnTo>
                    <a:lnTo>
                      <a:pt x="176" y="157"/>
                    </a:lnTo>
                    <a:lnTo>
                      <a:pt x="175" y="159"/>
                    </a:lnTo>
                    <a:lnTo>
                      <a:pt x="171" y="159"/>
                    </a:lnTo>
                    <a:lnTo>
                      <a:pt x="170" y="161"/>
                    </a:lnTo>
                    <a:lnTo>
                      <a:pt x="168" y="164"/>
                    </a:lnTo>
                    <a:lnTo>
                      <a:pt x="165" y="164"/>
                    </a:lnTo>
                    <a:lnTo>
                      <a:pt x="162" y="165"/>
                    </a:lnTo>
                    <a:lnTo>
                      <a:pt x="158" y="167"/>
                    </a:lnTo>
                    <a:lnTo>
                      <a:pt x="157" y="169"/>
                    </a:lnTo>
                    <a:lnTo>
                      <a:pt x="155" y="169"/>
                    </a:lnTo>
                    <a:lnTo>
                      <a:pt x="153" y="167"/>
                    </a:lnTo>
                    <a:lnTo>
                      <a:pt x="147" y="170"/>
                    </a:lnTo>
                    <a:lnTo>
                      <a:pt x="145" y="170"/>
                    </a:lnTo>
                    <a:lnTo>
                      <a:pt x="142" y="172"/>
                    </a:lnTo>
                    <a:lnTo>
                      <a:pt x="140" y="170"/>
                    </a:lnTo>
                    <a:lnTo>
                      <a:pt x="139" y="170"/>
                    </a:lnTo>
                    <a:lnTo>
                      <a:pt x="136" y="169"/>
                    </a:lnTo>
                    <a:lnTo>
                      <a:pt x="134" y="170"/>
                    </a:lnTo>
                    <a:lnTo>
                      <a:pt x="136" y="172"/>
                    </a:lnTo>
                    <a:lnTo>
                      <a:pt x="134" y="175"/>
                    </a:lnTo>
                    <a:lnTo>
                      <a:pt x="129" y="175"/>
                    </a:lnTo>
                    <a:lnTo>
                      <a:pt x="126" y="177"/>
                    </a:lnTo>
                    <a:lnTo>
                      <a:pt x="124" y="175"/>
                    </a:lnTo>
                    <a:lnTo>
                      <a:pt x="122" y="175"/>
                    </a:lnTo>
                    <a:lnTo>
                      <a:pt x="122" y="174"/>
                    </a:lnTo>
                    <a:lnTo>
                      <a:pt x="121" y="174"/>
                    </a:lnTo>
                    <a:lnTo>
                      <a:pt x="119" y="174"/>
                    </a:lnTo>
                    <a:lnTo>
                      <a:pt x="118" y="175"/>
                    </a:lnTo>
                    <a:lnTo>
                      <a:pt x="114" y="177"/>
                    </a:lnTo>
                    <a:lnTo>
                      <a:pt x="109" y="179"/>
                    </a:lnTo>
                    <a:lnTo>
                      <a:pt x="109" y="177"/>
                    </a:lnTo>
                    <a:lnTo>
                      <a:pt x="108" y="175"/>
                    </a:lnTo>
                    <a:lnTo>
                      <a:pt x="106" y="175"/>
                    </a:lnTo>
                    <a:lnTo>
                      <a:pt x="104" y="174"/>
                    </a:lnTo>
                    <a:lnTo>
                      <a:pt x="101" y="174"/>
                    </a:lnTo>
                    <a:lnTo>
                      <a:pt x="101" y="172"/>
                    </a:lnTo>
                    <a:lnTo>
                      <a:pt x="100" y="172"/>
                    </a:lnTo>
                    <a:lnTo>
                      <a:pt x="98" y="174"/>
                    </a:lnTo>
                    <a:lnTo>
                      <a:pt x="96" y="174"/>
                    </a:lnTo>
                    <a:lnTo>
                      <a:pt x="82" y="174"/>
                    </a:lnTo>
                    <a:lnTo>
                      <a:pt x="78" y="185"/>
                    </a:lnTo>
                    <a:lnTo>
                      <a:pt x="78" y="159"/>
                    </a:lnTo>
                    <a:lnTo>
                      <a:pt x="77" y="152"/>
                    </a:lnTo>
                    <a:lnTo>
                      <a:pt x="72" y="146"/>
                    </a:lnTo>
                    <a:lnTo>
                      <a:pt x="70" y="144"/>
                    </a:lnTo>
                    <a:lnTo>
                      <a:pt x="69" y="143"/>
                    </a:lnTo>
                    <a:lnTo>
                      <a:pt x="69" y="143"/>
                    </a:lnTo>
                    <a:lnTo>
                      <a:pt x="67" y="143"/>
                    </a:lnTo>
                    <a:lnTo>
                      <a:pt x="65" y="141"/>
                    </a:lnTo>
                    <a:lnTo>
                      <a:pt x="64" y="141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41"/>
                    </a:lnTo>
                    <a:lnTo>
                      <a:pt x="59" y="138"/>
                    </a:lnTo>
                    <a:lnTo>
                      <a:pt x="57" y="138"/>
                    </a:lnTo>
                    <a:lnTo>
                      <a:pt x="57" y="139"/>
                    </a:lnTo>
                    <a:lnTo>
                      <a:pt x="57" y="139"/>
                    </a:lnTo>
                    <a:lnTo>
                      <a:pt x="55" y="139"/>
                    </a:lnTo>
                    <a:lnTo>
                      <a:pt x="52" y="136"/>
                    </a:lnTo>
                    <a:lnTo>
                      <a:pt x="52" y="133"/>
                    </a:lnTo>
                    <a:lnTo>
                      <a:pt x="49" y="133"/>
                    </a:lnTo>
                    <a:lnTo>
                      <a:pt x="49" y="131"/>
                    </a:lnTo>
                    <a:lnTo>
                      <a:pt x="47" y="131"/>
                    </a:lnTo>
                    <a:lnTo>
                      <a:pt x="39" y="128"/>
                    </a:lnTo>
                    <a:lnTo>
                      <a:pt x="36" y="128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3" y="123"/>
                    </a:lnTo>
                    <a:lnTo>
                      <a:pt x="31" y="123"/>
                    </a:lnTo>
                    <a:lnTo>
                      <a:pt x="28" y="123"/>
                    </a:lnTo>
                    <a:lnTo>
                      <a:pt x="26" y="123"/>
                    </a:lnTo>
                    <a:lnTo>
                      <a:pt x="21" y="120"/>
                    </a:lnTo>
                    <a:lnTo>
                      <a:pt x="16" y="107"/>
                    </a:lnTo>
                    <a:lnTo>
                      <a:pt x="5" y="92"/>
                    </a:lnTo>
                    <a:lnTo>
                      <a:pt x="2" y="72"/>
                    </a:lnTo>
                    <a:lnTo>
                      <a:pt x="0" y="59"/>
                    </a:lnTo>
                    <a:lnTo>
                      <a:pt x="8" y="59"/>
                    </a:lnTo>
                    <a:lnTo>
                      <a:pt x="13" y="58"/>
                    </a:lnTo>
                    <a:lnTo>
                      <a:pt x="16" y="53"/>
                    </a:lnTo>
                    <a:lnTo>
                      <a:pt x="20" y="49"/>
                    </a:lnTo>
                    <a:lnTo>
                      <a:pt x="21" y="48"/>
                    </a:lnTo>
                    <a:lnTo>
                      <a:pt x="24" y="45"/>
                    </a:lnTo>
                    <a:lnTo>
                      <a:pt x="26" y="43"/>
                    </a:lnTo>
                    <a:lnTo>
                      <a:pt x="26" y="40"/>
                    </a:lnTo>
                    <a:lnTo>
                      <a:pt x="26" y="35"/>
                    </a:lnTo>
                    <a:lnTo>
                      <a:pt x="24" y="35"/>
                    </a:lnTo>
                    <a:lnTo>
                      <a:pt x="23" y="33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4" y="27"/>
                    </a:lnTo>
                    <a:lnTo>
                      <a:pt x="24" y="25"/>
                    </a:lnTo>
                    <a:lnTo>
                      <a:pt x="26" y="23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4" y="14"/>
                    </a:lnTo>
                    <a:lnTo>
                      <a:pt x="23" y="10"/>
                    </a:lnTo>
                    <a:lnTo>
                      <a:pt x="23" y="9"/>
                    </a:lnTo>
                    <a:lnTo>
                      <a:pt x="21" y="7"/>
                    </a:lnTo>
                    <a:lnTo>
                      <a:pt x="20" y="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4" name="Freeform 287">
                <a:extLst>
                  <a:ext uri="{FF2B5EF4-FFF2-40B4-BE49-F238E27FC236}">
                    <a16:creationId xmlns:a16="http://schemas.microsoft.com/office/drawing/2014/main" xmlns="" id="{3E84B0D4-411F-45A3-A734-A1CFC92D7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077"/>
                <a:ext cx="31" cy="28"/>
              </a:xfrm>
              <a:custGeom>
                <a:avLst/>
                <a:gdLst>
                  <a:gd name="T0" fmla="*/ 8 w 31"/>
                  <a:gd name="T1" fmla="*/ 3 h 28"/>
                  <a:gd name="T2" fmla="*/ 10 w 31"/>
                  <a:gd name="T3" fmla="*/ 5 h 28"/>
                  <a:gd name="T4" fmla="*/ 11 w 31"/>
                  <a:gd name="T5" fmla="*/ 3 h 28"/>
                  <a:gd name="T6" fmla="*/ 15 w 31"/>
                  <a:gd name="T7" fmla="*/ 1 h 28"/>
                  <a:gd name="T8" fmla="*/ 16 w 31"/>
                  <a:gd name="T9" fmla="*/ 3 h 28"/>
                  <a:gd name="T10" fmla="*/ 18 w 31"/>
                  <a:gd name="T11" fmla="*/ 3 h 28"/>
                  <a:gd name="T12" fmla="*/ 20 w 31"/>
                  <a:gd name="T13" fmla="*/ 3 h 28"/>
                  <a:gd name="T14" fmla="*/ 21 w 31"/>
                  <a:gd name="T15" fmla="*/ 3 h 28"/>
                  <a:gd name="T16" fmla="*/ 21 w 31"/>
                  <a:gd name="T17" fmla="*/ 0 h 28"/>
                  <a:gd name="T18" fmla="*/ 25 w 31"/>
                  <a:gd name="T19" fmla="*/ 0 h 28"/>
                  <a:gd name="T20" fmla="*/ 26 w 31"/>
                  <a:gd name="T21" fmla="*/ 3 h 28"/>
                  <a:gd name="T22" fmla="*/ 28 w 31"/>
                  <a:gd name="T23" fmla="*/ 5 h 28"/>
                  <a:gd name="T24" fmla="*/ 28 w 31"/>
                  <a:gd name="T25" fmla="*/ 6 h 28"/>
                  <a:gd name="T26" fmla="*/ 29 w 31"/>
                  <a:gd name="T27" fmla="*/ 10 h 28"/>
                  <a:gd name="T28" fmla="*/ 31 w 31"/>
                  <a:gd name="T29" fmla="*/ 14 h 28"/>
                  <a:gd name="T30" fmla="*/ 31 w 31"/>
                  <a:gd name="T31" fmla="*/ 18 h 28"/>
                  <a:gd name="T32" fmla="*/ 31 w 31"/>
                  <a:gd name="T33" fmla="*/ 19 h 28"/>
                  <a:gd name="T34" fmla="*/ 29 w 31"/>
                  <a:gd name="T35" fmla="*/ 21 h 28"/>
                  <a:gd name="T36" fmla="*/ 29 w 31"/>
                  <a:gd name="T37" fmla="*/ 23 h 28"/>
                  <a:gd name="T38" fmla="*/ 28 w 31"/>
                  <a:gd name="T39" fmla="*/ 24 h 28"/>
                  <a:gd name="T40" fmla="*/ 26 w 31"/>
                  <a:gd name="T41" fmla="*/ 23 h 28"/>
                  <a:gd name="T42" fmla="*/ 25 w 31"/>
                  <a:gd name="T43" fmla="*/ 23 h 28"/>
                  <a:gd name="T44" fmla="*/ 25 w 31"/>
                  <a:gd name="T45" fmla="*/ 21 h 28"/>
                  <a:gd name="T46" fmla="*/ 23 w 31"/>
                  <a:gd name="T47" fmla="*/ 21 h 28"/>
                  <a:gd name="T48" fmla="*/ 23 w 31"/>
                  <a:gd name="T49" fmla="*/ 18 h 28"/>
                  <a:gd name="T50" fmla="*/ 21 w 31"/>
                  <a:gd name="T51" fmla="*/ 18 h 28"/>
                  <a:gd name="T52" fmla="*/ 20 w 31"/>
                  <a:gd name="T53" fmla="*/ 16 h 28"/>
                  <a:gd name="T54" fmla="*/ 18 w 31"/>
                  <a:gd name="T55" fmla="*/ 16 h 28"/>
                  <a:gd name="T56" fmla="*/ 18 w 31"/>
                  <a:gd name="T57" fmla="*/ 19 h 28"/>
                  <a:gd name="T58" fmla="*/ 16 w 31"/>
                  <a:gd name="T59" fmla="*/ 24 h 28"/>
                  <a:gd name="T60" fmla="*/ 16 w 31"/>
                  <a:gd name="T61" fmla="*/ 26 h 28"/>
                  <a:gd name="T62" fmla="*/ 13 w 31"/>
                  <a:gd name="T63" fmla="*/ 28 h 28"/>
                  <a:gd name="T64" fmla="*/ 11 w 31"/>
                  <a:gd name="T65" fmla="*/ 26 h 28"/>
                  <a:gd name="T66" fmla="*/ 10 w 31"/>
                  <a:gd name="T67" fmla="*/ 26 h 28"/>
                  <a:gd name="T68" fmla="*/ 10 w 31"/>
                  <a:gd name="T69" fmla="*/ 28 h 28"/>
                  <a:gd name="T70" fmla="*/ 7 w 31"/>
                  <a:gd name="T71" fmla="*/ 26 h 28"/>
                  <a:gd name="T72" fmla="*/ 5 w 31"/>
                  <a:gd name="T73" fmla="*/ 23 h 28"/>
                  <a:gd name="T74" fmla="*/ 3 w 31"/>
                  <a:gd name="T75" fmla="*/ 23 h 28"/>
                  <a:gd name="T76" fmla="*/ 2 w 31"/>
                  <a:gd name="T77" fmla="*/ 23 h 28"/>
                  <a:gd name="T78" fmla="*/ 0 w 31"/>
                  <a:gd name="T79" fmla="*/ 23 h 28"/>
                  <a:gd name="T80" fmla="*/ 0 w 31"/>
                  <a:gd name="T81" fmla="*/ 21 h 28"/>
                  <a:gd name="T82" fmla="*/ 2 w 31"/>
                  <a:gd name="T83" fmla="*/ 11 h 28"/>
                  <a:gd name="T84" fmla="*/ 5 w 31"/>
                  <a:gd name="T85" fmla="*/ 6 h 28"/>
                  <a:gd name="T86" fmla="*/ 8 w 31"/>
                  <a:gd name="T87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" h="28">
                    <a:moveTo>
                      <a:pt x="8" y="3"/>
                    </a:moveTo>
                    <a:lnTo>
                      <a:pt x="10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16" y="3"/>
                    </a:lnTo>
                    <a:lnTo>
                      <a:pt x="18" y="3"/>
                    </a:lnTo>
                    <a:lnTo>
                      <a:pt x="20" y="3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25" y="0"/>
                    </a:lnTo>
                    <a:lnTo>
                      <a:pt x="26" y="3"/>
                    </a:lnTo>
                    <a:lnTo>
                      <a:pt x="28" y="5"/>
                    </a:lnTo>
                    <a:lnTo>
                      <a:pt x="28" y="6"/>
                    </a:lnTo>
                    <a:lnTo>
                      <a:pt x="29" y="10"/>
                    </a:lnTo>
                    <a:lnTo>
                      <a:pt x="31" y="14"/>
                    </a:lnTo>
                    <a:lnTo>
                      <a:pt x="31" y="18"/>
                    </a:lnTo>
                    <a:lnTo>
                      <a:pt x="31" y="19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28" y="24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8" y="19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3" y="28"/>
                    </a:lnTo>
                    <a:lnTo>
                      <a:pt x="11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7" y="26"/>
                    </a:lnTo>
                    <a:lnTo>
                      <a:pt x="5" y="23"/>
                    </a:lnTo>
                    <a:lnTo>
                      <a:pt x="3" y="23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5" name="Freeform 288">
                <a:extLst>
                  <a:ext uri="{FF2B5EF4-FFF2-40B4-BE49-F238E27FC236}">
                    <a16:creationId xmlns:a16="http://schemas.microsoft.com/office/drawing/2014/main" xmlns="" id="{30F854D7-6AAF-41C3-BE55-0C5ED70B6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093"/>
                <a:ext cx="31" cy="39"/>
              </a:xfrm>
              <a:custGeom>
                <a:avLst/>
                <a:gdLst>
                  <a:gd name="T0" fmla="*/ 5 w 31"/>
                  <a:gd name="T1" fmla="*/ 39 h 39"/>
                  <a:gd name="T2" fmla="*/ 13 w 31"/>
                  <a:gd name="T3" fmla="*/ 39 h 39"/>
                  <a:gd name="T4" fmla="*/ 18 w 31"/>
                  <a:gd name="T5" fmla="*/ 38 h 39"/>
                  <a:gd name="T6" fmla="*/ 21 w 31"/>
                  <a:gd name="T7" fmla="*/ 33 h 39"/>
                  <a:gd name="T8" fmla="*/ 25 w 31"/>
                  <a:gd name="T9" fmla="*/ 29 h 39"/>
                  <a:gd name="T10" fmla="*/ 26 w 31"/>
                  <a:gd name="T11" fmla="*/ 28 h 39"/>
                  <a:gd name="T12" fmla="*/ 29 w 31"/>
                  <a:gd name="T13" fmla="*/ 25 h 39"/>
                  <a:gd name="T14" fmla="*/ 31 w 31"/>
                  <a:gd name="T15" fmla="*/ 23 h 39"/>
                  <a:gd name="T16" fmla="*/ 31 w 31"/>
                  <a:gd name="T17" fmla="*/ 20 h 39"/>
                  <a:gd name="T18" fmla="*/ 31 w 31"/>
                  <a:gd name="T19" fmla="*/ 15 h 39"/>
                  <a:gd name="T20" fmla="*/ 29 w 31"/>
                  <a:gd name="T21" fmla="*/ 15 h 39"/>
                  <a:gd name="T22" fmla="*/ 28 w 31"/>
                  <a:gd name="T23" fmla="*/ 13 h 39"/>
                  <a:gd name="T24" fmla="*/ 26 w 31"/>
                  <a:gd name="T25" fmla="*/ 12 h 39"/>
                  <a:gd name="T26" fmla="*/ 26 w 31"/>
                  <a:gd name="T27" fmla="*/ 10 h 39"/>
                  <a:gd name="T28" fmla="*/ 25 w 31"/>
                  <a:gd name="T29" fmla="*/ 8 h 39"/>
                  <a:gd name="T30" fmla="*/ 25 w 31"/>
                  <a:gd name="T31" fmla="*/ 5 h 39"/>
                  <a:gd name="T32" fmla="*/ 23 w 31"/>
                  <a:gd name="T33" fmla="*/ 5 h 39"/>
                  <a:gd name="T34" fmla="*/ 23 w 31"/>
                  <a:gd name="T35" fmla="*/ 2 h 39"/>
                  <a:gd name="T36" fmla="*/ 21 w 31"/>
                  <a:gd name="T37" fmla="*/ 2 h 39"/>
                  <a:gd name="T38" fmla="*/ 20 w 31"/>
                  <a:gd name="T39" fmla="*/ 0 h 39"/>
                  <a:gd name="T40" fmla="*/ 18 w 31"/>
                  <a:gd name="T41" fmla="*/ 0 h 39"/>
                  <a:gd name="T42" fmla="*/ 18 w 31"/>
                  <a:gd name="T43" fmla="*/ 3 h 39"/>
                  <a:gd name="T44" fmla="*/ 16 w 31"/>
                  <a:gd name="T45" fmla="*/ 8 h 39"/>
                  <a:gd name="T46" fmla="*/ 16 w 31"/>
                  <a:gd name="T47" fmla="*/ 10 h 39"/>
                  <a:gd name="T48" fmla="*/ 13 w 31"/>
                  <a:gd name="T49" fmla="*/ 12 h 39"/>
                  <a:gd name="T50" fmla="*/ 11 w 31"/>
                  <a:gd name="T51" fmla="*/ 10 h 39"/>
                  <a:gd name="T52" fmla="*/ 10 w 31"/>
                  <a:gd name="T53" fmla="*/ 10 h 39"/>
                  <a:gd name="T54" fmla="*/ 10 w 31"/>
                  <a:gd name="T55" fmla="*/ 12 h 39"/>
                  <a:gd name="T56" fmla="*/ 7 w 31"/>
                  <a:gd name="T57" fmla="*/ 10 h 39"/>
                  <a:gd name="T58" fmla="*/ 5 w 31"/>
                  <a:gd name="T59" fmla="*/ 7 h 39"/>
                  <a:gd name="T60" fmla="*/ 3 w 31"/>
                  <a:gd name="T61" fmla="*/ 7 h 39"/>
                  <a:gd name="T62" fmla="*/ 2 w 31"/>
                  <a:gd name="T63" fmla="*/ 7 h 39"/>
                  <a:gd name="T64" fmla="*/ 0 w 31"/>
                  <a:gd name="T65" fmla="*/ 7 h 39"/>
                  <a:gd name="T66" fmla="*/ 0 w 31"/>
                  <a:gd name="T67" fmla="*/ 8 h 39"/>
                  <a:gd name="T68" fmla="*/ 2 w 31"/>
                  <a:gd name="T69" fmla="*/ 12 h 39"/>
                  <a:gd name="T70" fmla="*/ 2 w 31"/>
                  <a:gd name="T71" fmla="*/ 16 h 39"/>
                  <a:gd name="T72" fmla="*/ 2 w 31"/>
                  <a:gd name="T73" fmla="*/ 20 h 39"/>
                  <a:gd name="T74" fmla="*/ 5 w 31"/>
                  <a:gd name="T7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" h="39">
                    <a:moveTo>
                      <a:pt x="5" y="39"/>
                    </a:moveTo>
                    <a:lnTo>
                      <a:pt x="13" y="39"/>
                    </a:lnTo>
                    <a:lnTo>
                      <a:pt x="18" y="38"/>
                    </a:lnTo>
                    <a:lnTo>
                      <a:pt x="21" y="33"/>
                    </a:lnTo>
                    <a:lnTo>
                      <a:pt x="25" y="29"/>
                    </a:lnTo>
                    <a:lnTo>
                      <a:pt x="26" y="28"/>
                    </a:lnTo>
                    <a:lnTo>
                      <a:pt x="29" y="25"/>
                    </a:lnTo>
                    <a:lnTo>
                      <a:pt x="31" y="23"/>
                    </a:lnTo>
                    <a:lnTo>
                      <a:pt x="31" y="20"/>
                    </a:lnTo>
                    <a:lnTo>
                      <a:pt x="31" y="15"/>
                    </a:lnTo>
                    <a:lnTo>
                      <a:pt x="29" y="15"/>
                    </a:lnTo>
                    <a:lnTo>
                      <a:pt x="28" y="13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5" y="8"/>
                    </a:lnTo>
                    <a:lnTo>
                      <a:pt x="25" y="5"/>
                    </a:lnTo>
                    <a:lnTo>
                      <a:pt x="23" y="5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3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7" y="10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5" y="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6" name="Freeform 289">
                <a:extLst>
                  <a:ext uri="{FF2B5EF4-FFF2-40B4-BE49-F238E27FC236}">
                    <a16:creationId xmlns:a16="http://schemas.microsoft.com/office/drawing/2014/main" xmlns="" id="{C4BA9FAE-2AAA-4A01-AD45-CC0148F5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" y="1971"/>
                <a:ext cx="303" cy="307"/>
              </a:xfrm>
              <a:custGeom>
                <a:avLst/>
                <a:gdLst>
                  <a:gd name="T0" fmla="*/ 9 w 303"/>
                  <a:gd name="T1" fmla="*/ 171 h 307"/>
                  <a:gd name="T2" fmla="*/ 21 w 303"/>
                  <a:gd name="T3" fmla="*/ 168 h 307"/>
                  <a:gd name="T4" fmla="*/ 34 w 303"/>
                  <a:gd name="T5" fmla="*/ 160 h 307"/>
                  <a:gd name="T6" fmla="*/ 42 w 303"/>
                  <a:gd name="T7" fmla="*/ 168 h 307"/>
                  <a:gd name="T8" fmla="*/ 60 w 303"/>
                  <a:gd name="T9" fmla="*/ 151 h 307"/>
                  <a:gd name="T10" fmla="*/ 63 w 303"/>
                  <a:gd name="T11" fmla="*/ 125 h 307"/>
                  <a:gd name="T12" fmla="*/ 78 w 303"/>
                  <a:gd name="T13" fmla="*/ 107 h 307"/>
                  <a:gd name="T14" fmla="*/ 93 w 303"/>
                  <a:gd name="T15" fmla="*/ 84 h 307"/>
                  <a:gd name="T16" fmla="*/ 96 w 303"/>
                  <a:gd name="T17" fmla="*/ 63 h 307"/>
                  <a:gd name="T18" fmla="*/ 106 w 303"/>
                  <a:gd name="T19" fmla="*/ 37 h 307"/>
                  <a:gd name="T20" fmla="*/ 104 w 303"/>
                  <a:gd name="T21" fmla="*/ 18 h 307"/>
                  <a:gd name="T22" fmla="*/ 109 w 303"/>
                  <a:gd name="T23" fmla="*/ 8 h 307"/>
                  <a:gd name="T24" fmla="*/ 120 w 303"/>
                  <a:gd name="T25" fmla="*/ 4 h 307"/>
                  <a:gd name="T26" fmla="*/ 137 w 303"/>
                  <a:gd name="T27" fmla="*/ 16 h 307"/>
                  <a:gd name="T28" fmla="*/ 153 w 303"/>
                  <a:gd name="T29" fmla="*/ 18 h 307"/>
                  <a:gd name="T30" fmla="*/ 163 w 303"/>
                  <a:gd name="T31" fmla="*/ 16 h 307"/>
                  <a:gd name="T32" fmla="*/ 176 w 303"/>
                  <a:gd name="T33" fmla="*/ 11 h 307"/>
                  <a:gd name="T34" fmla="*/ 197 w 303"/>
                  <a:gd name="T35" fmla="*/ 4 h 307"/>
                  <a:gd name="T36" fmla="*/ 207 w 303"/>
                  <a:gd name="T37" fmla="*/ 6 h 307"/>
                  <a:gd name="T38" fmla="*/ 215 w 303"/>
                  <a:gd name="T39" fmla="*/ 0 h 307"/>
                  <a:gd name="T40" fmla="*/ 227 w 303"/>
                  <a:gd name="T41" fmla="*/ 4 h 307"/>
                  <a:gd name="T42" fmla="*/ 246 w 303"/>
                  <a:gd name="T43" fmla="*/ 6 h 307"/>
                  <a:gd name="T44" fmla="*/ 259 w 303"/>
                  <a:gd name="T45" fmla="*/ 16 h 307"/>
                  <a:gd name="T46" fmla="*/ 271 w 303"/>
                  <a:gd name="T47" fmla="*/ 14 h 307"/>
                  <a:gd name="T48" fmla="*/ 282 w 303"/>
                  <a:gd name="T49" fmla="*/ 11 h 307"/>
                  <a:gd name="T50" fmla="*/ 294 w 303"/>
                  <a:gd name="T51" fmla="*/ 24 h 307"/>
                  <a:gd name="T52" fmla="*/ 302 w 303"/>
                  <a:gd name="T53" fmla="*/ 29 h 307"/>
                  <a:gd name="T54" fmla="*/ 300 w 303"/>
                  <a:gd name="T55" fmla="*/ 50 h 307"/>
                  <a:gd name="T56" fmla="*/ 289 w 303"/>
                  <a:gd name="T57" fmla="*/ 76 h 307"/>
                  <a:gd name="T58" fmla="*/ 279 w 303"/>
                  <a:gd name="T59" fmla="*/ 109 h 307"/>
                  <a:gd name="T60" fmla="*/ 271 w 303"/>
                  <a:gd name="T61" fmla="*/ 138 h 307"/>
                  <a:gd name="T62" fmla="*/ 292 w 303"/>
                  <a:gd name="T63" fmla="*/ 222 h 307"/>
                  <a:gd name="T64" fmla="*/ 264 w 303"/>
                  <a:gd name="T65" fmla="*/ 248 h 307"/>
                  <a:gd name="T66" fmla="*/ 261 w 303"/>
                  <a:gd name="T67" fmla="*/ 259 h 307"/>
                  <a:gd name="T68" fmla="*/ 258 w 303"/>
                  <a:gd name="T69" fmla="*/ 281 h 307"/>
                  <a:gd name="T70" fmla="*/ 274 w 303"/>
                  <a:gd name="T71" fmla="*/ 292 h 307"/>
                  <a:gd name="T72" fmla="*/ 279 w 303"/>
                  <a:gd name="T73" fmla="*/ 307 h 307"/>
                  <a:gd name="T74" fmla="*/ 267 w 303"/>
                  <a:gd name="T75" fmla="*/ 307 h 307"/>
                  <a:gd name="T76" fmla="*/ 246 w 303"/>
                  <a:gd name="T77" fmla="*/ 289 h 307"/>
                  <a:gd name="T78" fmla="*/ 236 w 303"/>
                  <a:gd name="T79" fmla="*/ 277 h 307"/>
                  <a:gd name="T80" fmla="*/ 225 w 303"/>
                  <a:gd name="T81" fmla="*/ 284 h 307"/>
                  <a:gd name="T82" fmla="*/ 209 w 303"/>
                  <a:gd name="T83" fmla="*/ 279 h 307"/>
                  <a:gd name="T84" fmla="*/ 202 w 303"/>
                  <a:gd name="T85" fmla="*/ 272 h 307"/>
                  <a:gd name="T86" fmla="*/ 194 w 303"/>
                  <a:gd name="T87" fmla="*/ 274 h 307"/>
                  <a:gd name="T88" fmla="*/ 187 w 303"/>
                  <a:gd name="T89" fmla="*/ 267 h 307"/>
                  <a:gd name="T90" fmla="*/ 174 w 303"/>
                  <a:gd name="T91" fmla="*/ 271 h 307"/>
                  <a:gd name="T92" fmla="*/ 163 w 303"/>
                  <a:gd name="T93" fmla="*/ 271 h 307"/>
                  <a:gd name="T94" fmla="*/ 160 w 303"/>
                  <a:gd name="T95" fmla="*/ 266 h 307"/>
                  <a:gd name="T96" fmla="*/ 158 w 303"/>
                  <a:gd name="T97" fmla="*/ 253 h 307"/>
                  <a:gd name="T98" fmla="*/ 155 w 303"/>
                  <a:gd name="T99" fmla="*/ 245 h 307"/>
                  <a:gd name="T100" fmla="*/ 153 w 303"/>
                  <a:gd name="T101" fmla="*/ 228 h 307"/>
                  <a:gd name="T102" fmla="*/ 151 w 303"/>
                  <a:gd name="T103" fmla="*/ 217 h 307"/>
                  <a:gd name="T104" fmla="*/ 135 w 303"/>
                  <a:gd name="T105" fmla="*/ 204 h 307"/>
                  <a:gd name="T106" fmla="*/ 116 w 303"/>
                  <a:gd name="T107" fmla="*/ 207 h 307"/>
                  <a:gd name="T108" fmla="*/ 99 w 303"/>
                  <a:gd name="T109" fmla="*/ 220 h 307"/>
                  <a:gd name="T110" fmla="*/ 81 w 303"/>
                  <a:gd name="T111" fmla="*/ 212 h 307"/>
                  <a:gd name="T112" fmla="*/ 76 w 303"/>
                  <a:gd name="T113" fmla="*/ 199 h 307"/>
                  <a:gd name="T114" fmla="*/ 73 w 303"/>
                  <a:gd name="T115" fmla="*/ 187 h 307"/>
                  <a:gd name="T116" fmla="*/ 36 w 303"/>
                  <a:gd name="T117" fmla="*/ 184 h 307"/>
                  <a:gd name="T118" fmla="*/ 16 w 303"/>
                  <a:gd name="T119" fmla="*/ 184 h 307"/>
                  <a:gd name="T120" fmla="*/ 8 w 303"/>
                  <a:gd name="T121" fmla="*/ 18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3" h="307">
                    <a:moveTo>
                      <a:pt x="0" y="183"/>
                    </a:moveTo>
                    <a:lnTo>
                      <a:pt x="3" y="181"/>
                    </a:lnTo>
                    <a:lnTo>
                      <a:pt x="6" y="181"/>
                    </a:lnTo>
                    <a:lnTo>
                      <a:pt x="8" y="179"/>
                    </a:lnTo>
                    <a:lnTo>
                      <a:pt x="8" y="173"/>
                    </a:lnTo>
                    <a:lnTo>
                      <a:pt x="9" y="171"/>
                    </a:lnTo>
                    <a:lnTo>
                      <a:pt x="13" y="168"/>
                    </a:lnTo>
                    <a:lnTo>
                      <a:pt x="16" y="165"/>
                    </a:lnTo>
                    <a:lnTo>
                      <a:pt x="18" y="165"/>
                    </a:lnTo>
                    <a:lnTo>
                      <a:pt x="21" y="165"/>
                    </a:lnTo>
                    <a:lnTo>
                      <a:pt x="21" y="166"/>
                    </a:lnTo>
                    <a:lnTo>
                      <a:pt x="21" y="168"/>
                    </a:lnTo>
                    <a:lnTo>
                      <a:pt x="24" y="168"/>
                    </a:lnTo>
                    <a:lnTo>
                      <a:pt x="26" y="165"/>
                    </a:lnTo>
                    <a:lnTo>
                      <a:pt x="26" y="161"/>
                    </a:lnTo>
                    <a:lnTo>
                      <a:pt x="27" y="161"/>
                    </a:lnTo>
                    <a:lnTo>
                      <a:pt x="31" y="161"/>
                    </a:lnTo>
                    <a:lnTo>
                      <a:pt x="34" y="160"/>
                    </a:lnTo>
                    <a:lnTo>
                      <a:pt x="39" y="158"/>
                    </a:lnTo>
                    <a:lnTo>
                      <a:pt x="39" y="160"/>
                    </a:lnTo>
                    <a:lnTo>
                      <a:pt x="37" y="163"/>
                    </a:lnTo>
                    <a:lnTo>
                      <a:pt x="37" y="163"/>
                    </a:lnTo>
                    <a:lnTo>
                      <a:pt x="39" y="166"/>
                    </a:lnTo>
                    <a:lnTo>
                      <a:pt x="42" y="168"/>
                    </a:lnTo>
                    <a:lnTo>
                      <a:pt x="45" y="166"/>
                    </a:lnTo>
                    <a:lnTo>
                      <a:pt x="49" y="163"/>
                    </a:lnTo>
                    <a:lnTo>
                      <a:pt x="55" y="156"/>
                    </a:lnTo>
                    <a:lnTo>
                      <a:pt x="55" y="155"/>
                    </a:lnTo>
                    <a:lnTo>
                      <a:pt x="58" y="153"/>
                    </a:lnTo>
                    <a:lnTo>
                      <a:pt x="60" y="151"/>
                    </a:lnTo>
                    <a:lnTo>
                      <a:pt x="63" y="148"/>
                    </a:lnTo>
                    <a:lnTo>
                      <a:pt x="63" y="145"/>
                    </a:lnTo>
                    <a:lnTo>
                      <a:pt x="65" y="140"/>
                    </a:lnTo>
                    <a:lnTo>
                      <a:pt x="65" y="132"/>
                    </a:lnTo>
                    <a:lnTo>
                      <a:pt x="63" y="130"/>
                    </a:lnTo>
                    <a:lnTo>
                      <a:pt x="63" y="125"/>
                    </a:lnTo>
                    <a:lnTo>
                      <a:pt x="65" y="122"/>
                    </a:lnTo>
                    <a:lnTo>
                      <a:pt x="70" y="117"/>
                    </a:lnTo>
                    <a:lnTo>
                      <a:pt x="70" y="114"/>
                    </a:lnTo>
                    <a:lnTo>
                      <a:pt x="73" y="109"/>
                    </a:lnTo>
                    <a:lnTo>
                      <a:pt x="76" y="107"/>
                    </a:lnTo>
                    <a:lnTo>
                      <a:pt x="78" y="107"/>
                    </a:lnTo>
                    <a:lnTo>
                      <a:pt x="81" y="106"/>
                    </a:lnTo>
                    <a:lnTo>
                      <a:pt x="85" y="104"/>
                    </a:lnTo>
                    <a:lnTo>
                      <a:pt x="89" y="96"/>
                    </a:lnTo>
                    <a:lnTo>
                      <a:pt x="89" y="91"/>
                    </a:lnTo>
                    <a:lnTo>
                      <a:pt x="91" y="84"/>
                    </a:lnTo>
                    <a:lnTo>
                      <a:pt x="93" y="84"/>
                    </a:lnTo>
                    <a:lnTo>
                      <a:pt x="94" y="80"/>
                    </a:lnTo>
                    <a:lnTo>
                      <a:pt x="93" y="78"/>
                    </a:lnTo>
                    <a:lnTo>
                      <a:pt x="94" y="73"/>
                    </a:lnTo>
                    <a:lnTo>
                      <a:pt x="93" y="71"/>
                    </a:lnTo>
                    <a:lnTo>
                      <a:pt x="94" y="67"/>
                    </a:lnTo>
                    <a:lnTo>
                      <a:pt x="96" y="63"/>
                    </a:lnTo>
                    <a:lnTo>
                      <a:pt x="96" y="60"/>
                    </a:lnTo>
                    <a:lnTo>
                      <a:pt x="98" y="57"/>
                    </a:lnTo>
                    <a:lnTo>
                      <a:pt x="96" y="52"/>
                    </a:lnTo>
                    <a:lnTo>
                      <a:pt x="102" y="42"/>
                    </a:lnTo>
                    <a:lnTo>
                      <a:pt x="104" y="39"/>
                    </a:lnTo>
                    <a:lnTo>
                      <a:pt x="106" y="37"/>
                    </a:lnTo>
                    <a:lnTo>
                      <a:pt x="106" y="31"/>
                    </a:lnTo>
                    <a:lnTo>
                      <a:pt x="106" y="27"/>
                    </a:lnTo>
                    <a:lnTo>
                      <a:pt x="106" y="24"/>
                    </a:lnTo>
                    <a:lnTo>
                      <a:pt x="106" y="22"/>
                    </a:lnTo>
                    <a:lnTo>
                      <a:pt x="107" y="21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07" y="16"/>
                    </a:lnTo>
                    <a:lnTo>
                      <a:pt x="107" y="14"/>
                    </a:lnTo>
                    <a:lnTo>
                      <a:pt x="107" y="13"/>
                    </a:lnTo>
                    <a:lnTo>
                      <a:pt x="109" y="11"/>
                    </a:lnTo>
                    <a:lnTo>
                      <a:pt x="109" y="8"/>
                    </a:lnTo>
                    <a:lnTo>
                      <a:pt x="111" y="8"/>
                    </a:lnTo>
                    <a:lnTo>
                      <a:pt x="112" y="8"/>
                    </a:lnTo>
                    <a:lnTo>
                      <a:pt x="116" y="4"/>
                    </a:lnTo>
                    <a:lnTo>
                      <a:pt x="117" y="6"/>
                    </a:lnTo>
                    <a:lnTo>
                      <a:pt x="119" y="4"/>
                    </a:lnTo>
                    <a:lnTo>
                      <a:pt x="120" y="4"/>
                    </a:lnTo>
                    <a:lnTo>
                      <a:pt x="122" y="6"/>
                    </a:lnTo>
                    <a:lnTo>
                      <a:pt x="124" y="6"/>
                    </a:lnTo>
                    <a:lnTo>
                      <a:pt x="129" y="9"/>
                    </a:lnTo>
                    <a:lnTo>
                      <a:pt x="130" y="11"/>
                    </a:lnTo>
                    <a:lnTo>
                      <a:pt x="135" y="14"/>
                    </a:lnTo>
                    <a:lnTo>
                      <a:pt x="137" y="16"/>
                    </a:lnTo>
                    <a:lnTo>
                      <a:pt x="140" y="16"/>
                    </a:lnTo>
                    <a:lnTo>
                      <a:pt x="143" y="18"/>
                    </a:lnTo>
                    <a:lnTo>
                      <a:pt x="147" y="18"/>
                    </a:lnTo>
                    <a:lnTo>
                      <a:pt x="148" y="18"/>
                    </a:lnTo>
                    <a:lnTo>
                      <a:pt x="151" y="18"/>
                    </a:lnTo>
                    <a:lnTo>
                      <a:pt x="153" y="18"/>
                    </a:lnTo>
                    <a:lnTo>
                      <a:pt x="156" y="18"/>
                    </a:lnTo>
                    <a:lnTo>
                      <a:pt x="160" y="19"/>
                    </a:lnTo>
                    <a:lnTo>
                      <a:pt x="161" y="19"/>
                    </a:lnTo>
                    <a:lnTo>
                      <a:pt x="165" y="19"/>
                    </a:lnTo>
                    <a:lnTo>
                      <a:pt x="166" y="18"/>
                    </a:lnTo>
                    <a:lnTo>
                      <a:pt x="163" y="16"/>
                    </a:lnTo>
                    <a:lnTo>
                      <a:pt x="163" y="14"/>
                    </a:lnTo>
                    <a:lnTo>
                      <a:pt x="166" y="11"/>
                    </a:lnTo>
                    <a:lnTo>
                      <a:pt x="168" y="9"/>
                    </a:lnTo>
                    <a:lnTo>
                      <a:pt x="171" y="9"/>
                    </a:lnTo>
                    <a:lnTo>
                      <a:pt x="174" y="9"/>
                    </a:lnTo>
                    <a:lnTo>
                      <a:pt x="176" y="11"/>
                    </a:lnTo>
                    <a:lnTo>
                      <a:pt x="178" y="11"/>
                    </a:lnTo>
                    <a:lnTo>
                      <a:pt x="184" y="9"/>
                    </a:lnTo>
                    <a:lnTo>
                      <a:pt x="186" y="8"/>
                    </a:lnTo>
                    <a:lnTo>
                      <a:pt x="189" y="8"/>
                    </a:lnTo>
                    <a:lnTo>
                      <a:pt x="196" y="4"/>
                    </a:lnTo>
                    <a:lnTo>
                      <a:pt x="197" y="4"/>
                    </a:lnTo>
                    <a:lnTo>
                      <a:pt x="197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8"/>
                    </a:lnTo>
                    <a:lnTo>
                      <a:pt x="202" y="6"/>
                    </a:lnTo>
                    <a:lnTo>
                      <a:pt x="207" y="6"/>
                    </a:lnTo>
                    <a:lnTo>
                      <a:pt x="209" y="6"/>
                    </a:lnTo>
                    <a:lnTo>
                      <a:pt x="210" y="6"/>
                    </a:lnTo>
                    <a:lnTo>
                      <a:pt x="212" y="3"/>
                    </a:lnTo>
                    <a:lnTo>
                      <a:pt x="212" y="1"/>
                    </a:lnTo>
                    <a:lnTo>
                      <a:pt x="212" y="0"/>
                    </a:lnTo>
                    <a:lnTo>
                      <a:pt x="215" y="0"/>
                    </a:lnTo>
                    <a:lnTo>
                      <a:pt x="217" y="1"/>
                    </a:lnTo>
                    <a:lnTo>
                      <a:pt x="220" y="3"/>
                    </a:lnTo>
                    <a:lnTo>
                      <a:pt x="222" y="1"/>
                    </a:lnTo>
                    <a:lnTo>
                      <a:pt x="223" y="3"/>
                    </a:lnTo>
                    <a:lnTo>
                      <a:pt x="225" y="3"/>
                    </a:lnTo>
                    <a:lnTo>
                      <a:pt x="227" y="4"/>
                    </a:lnTo>
                    <a:lnTo>
                      <a:pt x="233" y="4"/>
                    </a:lnTo>
                    <a:lnTo>
                      <a:pt x="235" y="4"/>
                    </a:lnTo>
                    <a:lnTo>
                      <a:pt x="240" y="3"/>
                    </a:lnTo>
                    <a:lnTo>
                      <a:pt x="243" y="3"/>
                    </a:lnTo>
                    <a:lnTo>
                      <a:pt x="246" y="4"/>
                    </a:lnTo>
                    <a:lnTo>
                      <a:pt x="246" y="6"/>
                    </a:lnTo>
                    <a:lnTo>
                      <a:pt x="248" y="8"/>
                    </a:lnTo>
                    <a:lnTo>
                      <a:pt x="249" y="9"/>
                    </a:lnTo>
                    <a:lnTo>
                      <a:pt x="251" y="11"/>
                    </a:lnTo>
                    <a:lnTo>
                      <a:pt x="253" y="13"/>
                    </a:lnTo>
                    <a:lnTo>
                      <a:pt x="256" y="16"/>
                    </a:lnTo>
                    <a:lnTo>
                      <a:pt x="259" y="16"/>
                    </a:lnTo>
                    <a:lnTo>
                      <a:pt x="261" y="16"/>
                    </a:lnTo>
                    <a:lnTo>
                      <a:pt x="263" y="14"/>
                    </a:lnTo>
                    <a:lnTo>
                      <a:pt x="264" y="13"/>
                    </a:lnTo>
                    <a:lnTo>
                      <a:pt x="267" y="13"/>
                    </a:lnTo>
                    <a:lnTo>
                      <a:pt x="269" y="13"/>
                    </a:lnTo>
                    <a:lnTo>
                      <a:pt x="271" y="14"/>
                    </a:lnTo>
                    <a:lnTo>
                      <a:pt x="271" y="14"/>
                    </a:lnTo>
                    <a:lnTo>
                      <a:pt x="274" y="13"/>
                    </a:lnTo>
                    <a:lnTo>
                      <a:pt x="276" y="11"/>
                    </a:lnTo>
                    <a:lnTo>
                      <a:pt x="277" y="9"/>
                    </a:lnTo>
                    <a:lnTo>
                      <a:pt x="280" y="9"/>
                    </a:lnTo>
                    <a:lnTo>
                      <a:pt x="282" y="11"/>
                    </a:lnTo>
                    <a:lnTo>
                      <a:pt x="284" y="14"/>
                    </a:lnTo>
                    <a:lnTo>
                      <a:pt x="287" y="16"/>
                    </a:lnTo>
                    <a:lnTo>
                      <a:pt x="287" y="18"/>
                    </a:lnTo>
                    <a:lnTo>
                      <a:pt x="292" y="19"/>
                    </a:lnTo>
                    <a:lnTo>
                      <a:pt x="294" y="21"/>
                    </a:lnTo>
                    <a:lnTo>
                      <a:pt x="294" y="24"/>
                    </a:lnTo>
                    <a:lnTo>
                      <a:pt x="295" y="24"/>
                    </a:lnTo>
                    <a:lnTo>
                      <a:pt x="295" y="27"/>
                    </a:lnTo>
                    <a:lnTo>
                      <a:pt x="297" y="29"/>
                    </a:lnTo>
                    <a:lnTo>
                      <a:pt x="297" y="29"/>
                    </a:lnTo>
                    <a:lnTo>
                      <a:pt x="300" y="29"/>
                    </a:lnTo>
                    <a:lnTo>
                      <a:pt x="302" y="29"/>
                    </a:lnTo>
                    <a:lnTo>
                      <a:pt x="302" y="32"/>
                    </a:lnTo>
                    <a:lnTo>
                      <a:pt x="300" y="35"/>
                    </a:lnTo>
                    <a:lnTo>
                      <a:pt x="300" y="39"/>
                    </a:lnTo>
                    <a:lnTo>
                      <a:pt x="298" y="45"/>
                    </a:lnTo>
                    <a:lnTo>
                      <a:pt x="298" y="49"/>
                    </a:lnTo>
                    <a:lnTo>
                      <a:pt x="300" y="50"/>
                    </a:lnTo>
                    <a:lnTo>
                      <a:pt x="302" y="52"/>
                    </a:lnTo>
                    <a:lnTo>
                      <a:pt x="303" y="55"/>
                    </a:lnTo>
                    <a:lnTo>
                      <a:pt x="303" y="57"/>
                    </a:lnTo>
                    <a:lnTo>
                      <a:pt x="295" y="68"/>
                    </a:lnTo>
                    <a:lnTo>
                      <a:pt x="289" y="73"/>
                    </a:lnTo>
                    <a:lnTo>
                      <a:pt x="289" y="76"/>
                    </a:lnTo>
                    <a:lnTo>
                      <a:pt x="282" y="88"/>
                    </a:lnTo>
                    <a:lnTo>
                      <a:pt x="280" y="89"/>
                    </a:lnTo>
                    <a:lnTo>
                      <a:pt x="280" y="93"/>
                    </a:lnTo>
                    <a:lnTo>
                      <a:pt x="280" y="99"/>
                    </a:lnTo>
                    <a:lnTo>
                      <a:pt x="279" y="106"/>
                    </a:lnTo>
                    <a:lnTo>
                      <a:pt x="279" y="109"/>
                    </a:lnTo>
                    <a:lnTo>
                      <a:pt x="274" y="112"/>
                    </a:lnTo>
                    <a:lnTo>
                      <a:pt x="271" y="117"/>
                    </a:lnTo>
                    <a:lnTo>
                      <a:pt x="269" y="127"/>
                    </a:lnTo>
                    <a:lnTo>
                      <a:pt x="269" y="130"/>
                    </a:lnTo>
                    <a:lnTo>
                      <a:pt x="271" y="134"/>
                    </a:lnTo>
                    <a:lnTo>
                      <a:pt x="271" y="138"/>
                    </a:lnTo>
                    <a:lnTo>
                      <a:pt x="271" y="142"/>
                    </a:lnTo>
                    <a:lnTo>
                      <a:pt x="276" y="174"/>
                    </a:lnTo>
                    <a:lnTo>
                      <a:pt x="279" y="194"/>
                    </a:lnTo>
                    <a:lnTo>
                      <a:pt x="290" y="209"/>
                    </a:lnTo>
                    <a:lnTo>
                      <a:pt x="295" y="222"/>
                    </a:lnTo>
                    <a:lnTo>
                      <a:pt x="292" y="222"/>
                    </a:lnTo>
                    <a:lnTo>
                      <a:pt x="266" y="227"/>
                    </a:lnTo>
                    <a:lnTo>
                      <a:pt x="259" y="240"/>
                    </a:lnTo>
                    <a:lnTo>
                      <a:pt x="261" y="243"/>
                    </a:lnTo>
                    <a:lnTo>
                      <a:pt x="263" y="245"/>
                    </a:lnTo>
                    <a:lnTo>
                      <a:pt x="264" y="246"/>
                    </a:lnTo>
                    <a:lnTo>
                      <a:pt x="264" y="248"/>
                    </a:lnTo>
                    <a:lnTo>
                      <a:pt x="263" y="250"/>
                    </a:lnTo>
                    <a:lnTo>
                      <a:pt x="263" y="251"/>
                    </a:lnTo>
                    <a:lnTo>
                      <a:pt x="263" y="253"/>
                    </a:lnTo>
                    <a:lnTo>
                      <a:pt x="263" y="256"/>
                    </a:lnTo>
                    <a:lnTo>
                      <a:pt x="263" y="259"/>
                    </a:lnTo>
                    <a:lnTo>
                      <a:pt x="261" y="259"/>
                    </a:lnTo>
                    <a:lnTo>
                      <a:pt x="263" y="261"/>
                    </a:lnTo>
                    <a:lnTo>
                      <a:pt x="261" y="263"/>
                    </a:lnTo>
                    <a:lnTo>
                      <a:pt x="258" y="266"/>
                    </a:lnTo>
                    <a:lnTo>
                      <a:pt x="258" y="267"/>
                    </a:lnTo>
                    <a:lnTo>
                      <a:pt x="258" y="277"/>
                    </a:lnTo>
                    <a:lnTo>
                      <a:pt x="258" y="281"/>
                    </a:lnTo>
                    <a:lnTo>
                      <a:pt x="261" y="282"/>
                    </a:lnTo>
                    <a:lnTo>
                      <a:pt x="264" y="287"/>
                    </a:lnTo>
                    <a:lnTo>
                      <a:pt x="266" y="290"/>
                    </a:lnTo>
                    <a:lnTo>
                      <a:pt x="267" y="292"/>
                    </a:lnTo>
                    <a:lnTo>
                      <a:pt x="274" y="292"/>
                    </a:lnTo>
                    <a:lnTo>
                      <a:pt x="274" y="292"/>
                    </a:lnTo>
                    <a:lnTo>
                      <a:pt x="274" y="290"/>
                    </a:lnTo>
                    <a:lnTo>
                      <a:pt x="272" y="289"/>
                    </a:lnTo>
                    <a:lnTo>
                      <a:pt x="276" y="287"/>
                    </a:lnTo>
                    <a:lnTo>
                      <a:pt x="279" y="289"/>
                    </a:lnTo>
                    <a:lnTo>
                      <a:pt x="279" y="305"/>
                    </a:lnTo>
                    <a:lnTo>
                      <a:pt x="279" y="307"/>
                    </a:lnTo>
                    <a:lnTo>
                      <a:pt x="276" y="307"/>
                    </a:lnTo>
                    <a:lnTo>
                      <a:pt x="276" y="305"/>
                    </a:lnTo>
                    <a:lnTo>
                      <a:pt x="274" y="305"/>
                    </a:lnTo>
                    <a:lnTo>
                      <a:pt x="272" y="307"/>
                    </a:lnTo>
                    <a:lnTo>
                      <a:pt x="269" y="307"/>
                    </a:lnTo>
                    <a:lnTo>
                      <a:pt x="267" y="307"/>
                    </a:lnTo>
                    <a:lnTo>
                      <a:pt x="264" y="303"/>
                    </a:lnTo>
                    <a:lnTo>
                      <a:pt x="261" y="300"/>
                    </a:lnTo>
                    <a:lnTo>
                      <a:pt x="258" y="297"/>
                    </a:lnTo>
                    <a:lnTo>
                      <a:pt x="254" y="294"/>
                    </a:lnTo>
                    <a:lnTo>
                      <a:pt x="251" y="290"/>
                    </a:lnTo>
                    <a:lnTo>
                      <a:pt x="246" y="289"/>
                    </a:lnTo>
                    <a:lnTo>
                      <a:pt x="241" y="287"/>
                    </a:lnTo>
                    <a:lnTo>
                      <a:pt x="241" y="284"/>
                    </a:lnTo>
                    <a:lnTo>
                      <a:pt x="238" y="282"/>
                    </a:lnTo>
                    <a:lnTo>
                      <a:pt x="238" y="277"/>
                    </a:lnTo>
                    <a:lnTo>
                      <a:pt x="238" y="277"/>
                    </a:lnTo>
                    <a:lnTo>
                      <a:pt x="236" y="277"/>
                    </a:lnTo>
                    <a:lnTo>
                      <a:pt x="235" y="277"/>
                    </a:lnTo>
                    <a:lnTo>
                      <a:pt x="233" y="282"/>
                    </a:lnTo>
                    <a:lnTo>
                      <a:pt x="233" y="284"/>
                    </a:lnTo>
                    <a:lnTo>
                      <a:pt x="228" y="285"/>
                    </a:lnTo>
                    <a:lnTo>
                      <a:pt x="225" y="285"/>
                    </a:lnTo>
                    <a:lnTo>
                      <a:pt x="225" y="284"/>
                    </a:lnTo>
                    <a:lnTo>
                      <a:pt x="222" y="284"/>
                    </a:lnTo>
                    <a:lnTo>
                      <a:pt x="218" y="282"/>
                    </a:lnTo>
                    <a:lnTo>
                      <a:pt x="214" y="281"/>
                    </a:lnTo>
                    <a:lnTo>
                      <a:pt x="214" y="281"/>
                    </a:lnTo>
                    <a:lnTo>
                      <a:pt x="210" y="279"/>
                    </a:lnTo>
                    <a:lnTo>
                      <a:pt x="209" y="279"/>
                    </a:lnTo>
                    <a:lnTo>
                      <a:pt x="209" y="277"/>
                    </a:lnTo>
                    <a:lnTo>
                      <a:pt x="209" y="276"/>
                    </a:lnTo>
                    <a:lnTo>
                      <a:pt x="207" y="274"/>
                    </a:lnTo>
                    <a:lnTo>
                      <a:pt x="207" y="271"/>
                    </a:lnTo>
                    <a:lnTo>
                      <a:pt x="207" y="271"/>
                    </a:lnTo>
                    <a:lnTo>
                      <a:pt x="202" y="272"/>
                    </a:lnTo>
                    <a:lnTo>
                      <a:pt x="200" y="272"/>
                    </a:lnTo>
                    <a:lnTo>
                      <a:pt x="199" y="272"/>
                    </a:lnTo>
                    <a:lnTo>
                      <a:pt x="197" y="274"/>
                    </a:lnTo>
                    <a:lnTo>
                      <a:pt x="196" y="276"/>
                    </a:lnTo>
                    <a:lnTo>
                      <a:pt x="194" y="276"/>
                    </a:lnTo>
                    <a:lnTo>
                      <a:pt x="194" y="274"/>
                    </a:lnTo>
                    <a:lnTo>
                      <a:pt x="194" y="271"/>
                    </a:lnTo>
                    <a:lnTo>
                      <a:pt x="192" y="271"/>
                    </a:lnTo>
                    <a:lnTo>
                      <a:pt x="191" y="269"/>
                    </a:lnTo>
                    <a:lnTo>
                      <a:pt x="187" y="269"/>
                    </a:lnTo>
                    <a:lnTo>
                      <a:pt x="187" y="269"/>
                    </a:lnTo>
                    <a:lnTo>
                      <a:pt x="187" y="267"/>
                    </a:lnTo>
                    <a:lnTo>
                      <a:pt x="184" y="269"/>
                    </a:lnTo>
                    <a:lnTo>
                      <a:pt x="181" y="269"/>
                    </a:lnTo>
                    <a:lnTo>
                      <a:pt x="179" y="271"/>
                    </a:lnTo>
                    <a:lnTo>
                      <a:pt x="178" y="271"/>
                    </a:lnTo>
                    <a:lnTo>
                      <a:pt x="176" y="272"/>
                    </a:lnTo>
                    <a:lnTo>
                      <a:pt x="174" y="271"/>
                    </a:lnTo>
                    <a:lnTo>
                      <a:pt x="169" y="271"/>
                    </a:lnTo>
                    <a:lnTo>
                      <a:pt x="168" y="271"/>
                    </a:lnTo>
                    <a:lnTo>
                      <a:pt x="166" y="269"/>
                    </a:lnTo>
                    <a:lnTo>
                      <a:pt x="165" y="269"/>
                    </a:lnTo>
                    <a:lnTo>
                      <a:pt x="163" y="269"/>
                    </a:lnTo>
                    <a:lnTo>
                      <a:pt x="163" y="271"/>
                    </a:lnTo>
                    <a:lnTo>
                      <a:pt x="161" y="271"/>
                    </a:lnTo>
                    <a:lnTo>
                      <a:pt x="160" y="271"/>
                    </a:lnTo>
                    <a:lnTo>
                      <a:pt x="160" y="271"/>
                    </a:lnTo>
                    <a:lnTo>
                      <a:pt x="160" y="267"/>
                    </a:lnTo>
                    <a:lnTo>
                      <a:pt x="160" y="266"/>
                    </a:lnTo>
                    <a:lnTo>
                      <a:pt x="160" y="266"/>
                    </a:lnTo>
                    <a:lnTo>
                      <a:pt x="161" y="263"/>
                    </a:lnTo>
                    <a:lnTo>
                      <a:pt x="160" y="261"/>
                    </a:lnTo>
                    <a:lnTo>
                      <a:pt x="158" y="258"/>
                    </a:lnTo>
                    <a:lnTo>
                      <a:pt x="160" y="258"/>
                    </a:lnTo>
                    <a:lnTo>
                      <a:pt x="160" y="256"/>
                    </a:lnTo>
                    <a:lnTo>
                      <a:pt x="158" y="253"/>
                    </a:lnTo>
                    <a:lnTo>
                      <a:pt x="158" y="251"/>
                    </a:lnTo>
                    <a:lnTo>
                      <a:pt x="158" y="250"/>
                    </a:lnTo>
                    <a:lnTo>
                      <a:pt x="158" y="248"/>
                    </a:lnTo>
                    <a:lnTo>
                      <a:pt x="156" y="248"/>
                    </a:lnTo>
                    <a:lnTo>
                      <a:pt x="155" y="245"/>
                    </a:lnTo>
                    <a:lnTo>
                      <a:pt x="155" y="245"/>
                    </a:lnTo>
                    <a:lnTo>
                      <a:pt x="155" y="243"/>
                    </a:lnTo>
                    <a:lnTo>
                      <a:pt x="153" y="241"/>
                    </a:lnTo>
                    <a:lnTo>
                      <a:pt x="153" y="240"/>
                    </a:lnTo>
                    <a:lnTo>
                      <a:pt x="151" y="238"/>
                    </a:lnTo>
                    <a:lnTo>
                      <a:pt x="153" y="235"/>
                    </a:lnTo>
                    <a:lnTo>
                      <a:pt x="153" y="228"/>
                    </a:lnTo>
                    <a:lnTo>
                      <a:pt x="151" y="227"/>
                    </a:lnTo>
                    <a:lnTo>
                      <a:pt x="153" y="225"/>
                    </a:lnTo>
                    <a:lnTo>
                      <a:pt x="153" y="225"/>
                    </a:lnTo>
                    <a:lnTo>
                      <a:pt x="153" y="222"/>
                    </a:lnTo>
                    <a:lnTo>
                      <a:pt x="151" y="220"/>
                    </a:lnTo>
                    <a:lnTo>
                      <a:pt x="151" y="217"/>
                    </a:lnTo>
                    <a:lnTo>
                      <a:pt x="153" y="214"/>
                    </a:lnTo>
                    <a:lnTo>
                      <a:pt x="153" y="212"/>
                    </a:lnTo>
                    <a:lnTo>
                      <a:pt x="153" y="209"/>
                    </a:lnTo>
                    <a:lnTo>
                      <a:pt x="153" y="207"/>
                    </a:lnTo>
                    <a:lnTo>
                      <a:pt x="135" y="205"/>
                    </a:lnTo>
                    <a:lnTo>
                      <a:pt x="135" y="204"/>
                    </a:lnTo>
                    <a:lnTo>
                      <a:pt x="135" y="202"/>
                    </a:lnTo>
                    <a:lnTo>
                      <a:pt x="135" y="201"/>
                    </a:lnTo>
                    <a:lnTo>
                      <a:pt x="130" y="201"/>
                    </a:lnTo>
                    <a:lnTo>
                      <a:pt x="130" y="202"/>
                    </a:lnTo>
                    <a:lnTo>
                      <a:pt x="116" y="202"/>
                    </a:lnTo>
                    <a:lnTo>
                      <a:pt x="116" y="207"/>
                    </a:lnTo>
                    <a:lnTo>
                      <a:pt x="114" y="209"/>
                    </a:lnTo>
                    <a:lnTo>
                      <a:pt x="112" y="210"/>
                    </a:lnTo>
                    <a:lnTo>
                      <a:pt x="112" y="214"/>
                    </a:lnTo>
                    <a:lnTo>
                      <a:pt x="112" y="217"/>
                    </a:lnTo>
                    <a:lnTo>
                      <a:pt x="101" y="218"/>
                    </a:lnTo>
                    <a:lnTo>
                      <a:pt x="99" y="220"/>
                    </a:lnTo>
                    <a:lnTo>
                      <a:pt x="94" y="218"/>
                    </a:lnTo>
                    <a:lnTo>
                      <a:pt x="91" y="218"/>
                    </a:lnTo>
                    <a:lnTo>
                      <a:pt x="89" y="218"/>
                    </a:lnTo>
                    <a:lnTo>
                      <a:pt x="85" y="220"/>
                    </a:lnTo>
                    <a:lnTo>
                      <a:pt x="83" y="218"/>
                    </a:lnTo>
                    <a:lnTo>
                      <a:pt x="81" y="212"/>
                    </a:lnTo>
                    <a:lnTo>
                      <a:pt x="80" y="210"/>
                    </a:lnTo>
                    <a:lnTo>
                      <a:pt x="78" y="207"/>
                    </a:lnTo>
                    <a:lnTo>
                      <a:pt x="78" y="207"/>
                    </a:lnTo>
                    <a:lnTo>
                      <a:pt x="76" y="204"/>
                    </a:lnTo>
                    <a:lnTo>
                      <a:pt x="76" y="204"/>
                    </a:lnTo>
                    <a:lnTo>
                      <a:pt x="76" y="199"/>
                    </a:lnTo>
                    <a:lnTo>
                      <a:pt x="75" y="196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5" y="191"/>
                    </a:lnTo>
                    <a:lnTo>
                      <a:pt x="73" y="189"/>
                    </a:lnTo>
                    <a:lnTo>
                      <a:pt x="73" y="187"/>
                    </a:lnTo>
                    <a:lnTo>
                      <a:pt x="73" y="186"/>
                    </a:lnTo>
                    <a:lnTo>
                      <a:pt x="73" y="184"/>
                    </a:lnTo>
                    <a:lnTo>
                      <a:pt x="57" y="184"/>
                    </a:lnTo>
                    <a:lnTo>
                      <a:pt x="45" y="184"/>
                    </a:lnTo>
                    <a:lnTo>
                      <a:pt x="40" y="184"/>
                    </a:lnTo>
                    <a:lnTo>
                      <a:pt x="36" y="184"/>
                    </a:lnTo>
                    <a:lnTo>
                      <a:pt x="32" y="184"/>
                    </a:lnTo>
                    <a:lnTo>
                      <a:pt x="27" y="184"/>
                    </a:lnTo>
                    <a:lnTo>
                      <a:pt x="24" y="184"/>
                    </a:lnTo>
                    <a:lnTo>
                      <a:pt x="21" y="184"/>
                    </a:lnTo>
                    <a:lnTo>
                      <a:pt x="19" y="184"/>
                    </a:lnTo>
                    <a:lnTo>
                      <a:pt x="16" y="184"/>
                    </a:lnTo>
                    <a:lnTo>
                      <a:pt x="14" y="184"/>
                    </a:lnTo>
                    <a:lnTo>
                      <a:pt x="11" y="186"/>
                    </a:lnTo>
                    <a:lnTo>
                      <a:pt x="9" y="186"/>
                    </a:lnTo>
                    <a:lnTo>
                      <a:pt x="9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6" y="186"/>
                    </a:lnTo>
                    <a:lnTo>
                      <a:pt x="1" y="184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7" name="Freeform 290">
                <a:extLst>
                  <a:ext uri="{FF2B5EF4-FFF2-40B4-BE49-F238E27FC236}">
                    <a16:creationId xmlns:a16="http://schemas.microsoft.com/office/drawing/2014/main" xmlns="" id="{CCC6EB4F-25FC-4B76-AF2C-6EB5D302D7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" y="2211"/>
                <a:ext cx="51" cy="130"/>
              </a:xfrm>
              <a:custGeom>
                <a:avLst/>
                <a:gdLst>
                  <a:gd name="T0" fmla="*/ 5 w 51"/>
                  <a:gd name="T1" fmla="*/ 0 h 130"/>
                  <a:gd name="T2" fmla="*/ 8 w 51"/>
                  <a:gd name="T3" fmla="*/ 3 h 130"/>
                  <a:gd name="T4" fmla="*/ 12 w 51"/>
                  <a:gd name="T5" fmla="*/ 3 h 130"/>
                  <a:gd name="T6" fmla="*/ 13 w 51"/>
                  <a:gd name="T7" fmla="*/ 3 h 130"/>
                  <a:gd name="T8" fmla="*/ 17 w 51"/>
                  <a:gd name="T9" fmla="*/ 5 h 130"/>
                  <a:gd name="T10" fmla="*/ 18 w 51"/>
                  <a:gd name="T11" fmla="*/ 6 h 130"/>
                  <a:gd name="T12" fmla="*/ 25 w 51"/>
                  <a:gd name="T13" fmla="*/ 14 h 130"/>
                  <a:gd name="T14" fmla="*/ 26 w 51"/>
                  <a:gd name="T15" fmla="*/ 47 h 130"/>
                  <a:gd name="T16" fmla="*/ 28 w 51"/>
                  <a:gd name="T17" fmla="*/ 65 h 130"/>
                  <a:gd name="T18" fmla="*/ 35 w 51"/>
                  <a:gd name="T19" fmla="*/ 70 h 130"/>
                  <a:gd name="T20" fmla="*/ 38 w 51"/>
                  <a:gd name="T21" fmla="*/ 72 h 130"/>
                  <a:gd name="T22" fmla="*/ 44 w 51"/>
                  <a:gd name="T23" fmla="*/ 80 h 130"/>
                  <a:gd name="T24" fmla="*/ 49 w 51"/>
                  <a:gd name="T25" fmla="*/ 90 h 130"/>
                  <a:gd name="T26" fmla="*/ 51 w 51"/>
                  <a:gd name="T27" fmla="*/ 93 h 130"/>
                  <a:gd name="T28" fmla="*/ 48 w 51"/>
                  <a:gd name="T29" fmla="*/ 96 h 130"/>
                  <a:gd name="T30" fmla="*/ 46 w 51"/>
                  <a:gd name="T31" fmla="*/ 98 h 130"/>
                  <a:gd name="T32" fmla="*/ 46 w 51"/>
                  <a:gd name="T33" fmla="*/ 99 h 130"/>
                  <a:gd name="T34" fmla="*/ 48 w 51"/>
                  <a:gd name="T35" fmla="*/ 108 h 130"/>
                  <a:gd name="T36" fmla="*/ 44 w 51"/>
                  <a:gd name="T37" fmla="*/ 112 h 130"/>
                  <a:gd name="T38" fmla="*/ 39 w 51"/>
                  <a:gd name="T39" fmla="*/ 117 h 130"/>
                  <a:gd name="T40" fmla="*/ 38 w 51"/>
                  <a:gd name="T41" fmla="*/ 124 h 130"/>
                  <a:gd name="T42" fmla="*/ 38 w 51"/>
                  <a:gd name="T43" fmla="*/ 130 h 130"/>
                  <a:gd name="T44" fmla="*/ 35 w 51"/>
                  <a:gd name="T45" fmla="*/ 129 h 130"/>
                  <a:gd name="T46" fmla="*/ 33 w 51"/>
                  <a:gd name="T47" fmla="*/ 124 h 130"/>
                  <a:gd name="T48" fmla="*/ 30 w 51"/>
                  <a:gd name="T49" fmla="*/ 121 h 130"/>
                  <a:gd name="T50" fmla="*/ 23 w 51"/>
                  <a:gd name="T51" fmla="*/ 116 h 130"/>
                  <a:gd name="T52" fmla="*/ 21 w 51"/>
                  <a:gd name="T53" fmla="*/ 109 h 130"/>
                  <a:gd name="T54" fmla="*/ 23 w 51"/>
                  <a:gd name="T55" fmla="*/ 103 h 130"/>
                  <a:gd name="T56" fmla="*/ 28 w 51"/>
                  <a:gd name="T57" fmla="*/ 96 h 130"/>
                  <a:gd name="T58" fmla="*/ 28 w 51"/>
                  <a:gd name="T59" fmla="*/ 88 h 130"/>
                  <a:gd name="T60" fmla="*/ 21 w 51"/>
                  <a:gd name="T61" fmla="*/ 85 h 130"/>
                  <a:gd name="T62" fmla="*/ 18 w 51"/>
                  <a:gd name="T63" fmla="*/ 86 h 130"/>
                  <a:gd name="T64" fmla="*/ 15 w 51"/>
                  <a:gd name="T65" fmla="*/ 86 h 130"/>
                  <a:gd name="T66" fmla="*/ 12 w 51"/>
                  <a:gd name="T67" fmla="*/ 83 h 130"/>
                  <a:gd name="T68" fmla="*/ 10 w 51"/>
                  <a:gd name="T69" fmla="*/ 80 h 130"/>
                  <a:gd name="T70" fmla="*/ 5 w 51"/>
                  <a:gd name="T71" fmla="*/ 78 h 130"/>
                  <a:gd name="T72" fmla="*/ 2 w 51"/>
                  <a:gd name="T73" fmla="*/ 75 h 130"/>
                  <a:gd name="T74" fmla="*/ 0 w 51"/>
                  <a:gd name="T75" fmla="*/ 70 h 130"/>
                  <a:gd name="T76" fmla="*/ 3 w 51"/>
                  <a:gd name="T77" fmla="*/ 67 h 130"/>
                  <a:gd name="T78" fmla="*/ 5 w 51"/>
                  <a:gd name="T79" fmla="*/ 62 h 130"/>
                  <a:gd name="T80" fmla="*/ 3 w 51"/>
                  <a:gd name="T81" fmla="*/ 59 h 130"/>
                  <a:gd name="T82" fmla="*/ 8 w 51"/>
                  <a:gd name="T83" fmla="*/ 55 h 130"/>
                  <a:gd name="T84" fmla="*/ 12 w 51"/>
                  <a:gd name="T85" fmla="*/ 52 h 130"/>
                  <a:gd name="T86" fmla="*/ 12 w 51"/>
                  <a:gd name="T87" fmla="*/ 50 h 130"/>
                  <a:gd name="T88" fmla="*/ 10 w 51"/>
                  <a:gd name="T89" fmla="*/ 47 h 130"/>
                  <a:gd name="T90" fmla="*/ 10 w 51"/>
                  <a:gd name="T91" fmla="*/ 45 h 130"/>
                  <a:gd name="T92" fmla="*/ 10 w 51"/>
                  <a:gd name="T93" fmla="*/ 41 h 130"/>
                  <a:gd name="T94" fmla="*/ 10 w 51"/>
                  <a:gd name="T95" fmla="*/ 37 h 130"/>
                  <a:gd name="T96" fmla="*/ 8 w 51"/>
                  <a:gd name="T97" fmla="*/ 31 h 130"/>
                  <a:gd name="T98" fmla="*/ 13 w 51"/>
                  <a:gd name="T99" fmla="*/ 24 h 130"/>
                  <a:gd name="T100" fmla="*/ 13 w 51"/>
                  <a:gd name="T101" fmla="*/ 23 h 130"/>
                  <a:gd name="T102" fmla="*/ 13 w 51"/>
                  <a:gd name="T103" fmla="*/ 18 h 130"/>
                  <a:gd name="T104" fmla="*/ 10 w 51"/>
                  <a:gd name="T105" fmla="*/ 13 h 130"/>
                  <a:gd name="T106" fmla="*/ 12 w 51"/>
                  <a:gd name="T107" fmla="*/ 8 h 130"/>
                  <a:gd name="T108" fmla="*/ 8 w 51"/>
                  <a:gd name="T109" fmla="*/ 6 h 130"/>
                  <a:gd name="T110" fmla="*/ 5 w 51"/>
                  <a:gd name="T111" fmla="*/ 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" h="130">
                    <a:moveTo>
                      <a:pt x="5" y="1"/>
                    </a:moveTo>
                    <a:lnTo>
                      <a:pt x="5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5" y="14"/>
                    </a:lnTo>
                    <a:lnTo>
                      <a:pt x="26" y="21"/>
                    </a:lnTo>
                    <a:lnTo>
                      <a:pt x="26" y="47"/>
                    </a:lnTo>
                    <a:lnTo>
                      <a:pt x="25" y="50"/>
                    </a:lnTo>
                    <a:lnTo>
                      <a:pt x="28" y="65"/>
                    </a:lnTo>
                    <a:lnTo>
                      <a:pt x="33" y="68"/>
                    </a:lnTo>
                    <a:lnTo>
                      <a:pt x="35" y="70"/>
                    </a:lnTo>
                    <a:lnTo>
                      <a:pt x="36" y="72"/>
                    </a:lnTo>
                    <a:lnTo>
                      <a:pt x="38" y="72"/>
                    </a:lnTo>
                    <a:lnTo>
                      <a:pt x="43" y="78"/>
                    </a:lnTo>
                    <a:lnTo>
                      <a:pt x="44" y="80"/>
                    </a:lnTo>
                    <a:lnTo>
                      <a:pt x="48" y="85"/>
                    </a:lnTo>
                    <a:lnTo>
                      <a:pt x="49" y="90"/>
                    </a:lnTo>
                    <a:lnTo>
                      <a:pt x="51" y="91"/>
                    </a:lnTo>
                    <a:lnTo>
                      <a:pt x="51" y="93"/>
                    </a:lnTo>
                    <a:lnTo>
                      <a:pt x="48" y="94"/>
                    </a:lnTo>
                    <a:lnTo>
                      <a:pt x="48" y="96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98"/>
                    </a:lnTo>
                    <a:lnTo>
                      <a:pt x="46" y="99"/>
                    </a:lnTo>
                    <a:lnTo>
                      <a:pt x="48" y="101"/>
                    </a:lnTo>
                    <a:lnTo>
                      <a:pt x="48" y="108"/>
                    </a:lnTo>
                    <a:lnTo>
                      <a:pt x="46" y="111"/>
                    </a:lnTo>
                    <a:lnTo>
                      <a:pt x="44" y="112"/>
                    </a:lnTo>
                    <a:lnTo>
                      <a:pt x="41" y="112"/>
                    </a:lnTo>
                    <a:lnTo>
                      <a:pt x="39" y="117"/>
                    </a:lnTo>
                    <a:lnTo>
                      <a:pt x="39" y="121"/>
                    </a:lnTo>
                    <a:lnTo>
                      <a:pt x="38" y="124"/>
                    </a:lnTo>
                    <a:lnTo>
                      <a:pt x="38" y="127"/>
                    </a:lnTo>
                    <a:lnTo>
                      <a:pt x="38" y="130"/>
                    </a:lnTo>
                    <a:lnTo>
                      <a:pt x="35" y="130"/>
                    </a:lnTo>
                    <a:lnTo>
                      <a:pt x="35" y="129"/>
                    </a:lnTo>
                    <a:lnTo>
                      <a:pt x="35" y="127"/>
                    </a:lnTo>
                    <a:lnTo>
                      <a:pt x="33" y="124"/>
                    </a:lnTo>
                    <a:lnTo>
                      <a:pt x="31" y="122"/>
                    </a:lnTo>
                    <a:lnTo>
                      <a:pt x="30" y="121"/>
                    </a:lnTo>
                    <a:lnTo>
                      <a:pt x="26" y="119"/>
                    </a:lnTo>
                    <a:lnTo>
                      <a:pt x="23" y="116"/>
                    </a:lnTo>
                    <a:lnTo>
                      <a:pt x="23" y="112"/>
                    </a:lnTo>
                    <a:lnTo>
                      <a:pt x="21" y="109"/>
                    </a:lnTo>
                    <a:lnTo>
                      <a:pt x="21" y="106"/>
                    </a:lnTo>
                    <a:lnTo>
                      <a:pt x="23" y="103"/>
                    </a:lnTo>
                    <a:lnTo>
                      <a:pt x="25" y="99"/>
                    </a:lnTo>
                    <a:lnTo>
                      <a:pt x="28" y="96"/>
                    </a:lnTo>
                    <a:lnTo>
                      <a:pt x="28" y="93"/>
                    </a:lnTo>
                    <a:lnTo>
                      <a:pt x="28" y="88"/>
                    </a:lnTo>
                    <a:lnTo>
                      <a:pt x="26" y="85"/>
                    </a:lnTo>
                    <a:lnTo>
                      <a:pt x="21" y="85"/>
                    </a:lnTo>
                    <a:lnTo>
                      <a:pt x="18" y="85"/>
                    </a:lnTo>
                    <a:lnTo>
                      <a:pt x="18" y="86"/>
                    </a:lnTo>
                    <a:lnTo>
                      <a:pt x="15" y="86"/>
                    </a:lnTo>
                    <a:lnTo>
                      <a:pt x="15" y="86"/>
                    </a:lnTo>
                    <a:lnTo>
                      <a:pt x="12" y="85"/>
                    </a:lnTo>
                    <a:lnTo>
                      <a:pt x="12" y="83"/>
                    </a:lnTo>
                    <a:lnTo>
                      <a:pt x="10" y="81"/>
                    </a:lnTo>
                    <a:lnTo>
                      <a:pt x="10" y="80"/>
                    </a:lnTo>
                    <a:lnTo>
                      <a:pt x="8" y="78"/>
                    </a:lnTo>
                    <a:lnTo>
                      <a:pt x="5" y="78"/>
                    </a:lnTo>
                    <a:lnTo>
                      <a:pt x="3" y="78"/>
                    </a:lnTo>
                    <a:lnTo>
                      <a:pt x="2" y="75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5" y="62"/>
                    </a:lnTo>
                    <a:lnTo>
                      <a:pt x="3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8" y="55"/>
                    </a:lnTo>
                    <a:lnTo>
                      <a:pt x="10" y="54"/>
                    </a:lnTo>
                    <a:lnTo>
                      <a:pt x="12" y="52"/>
                    </a:lnTo>
                    <a:lnTo>
                      <a:pt x="13" y="52"/>
                    </a:lnTo>
                    <a:lnTo>
                      <a:pt x="12" y="50"/>
                    </a:lnTo>
                    <a:lnTo>
                      <a:pt x="10" y="49"/>
                    </a:lnTo>
                    <a:lnTo>
                      <a:pt x="10" y="47"/>
                    </a:lnTo>
                    <a:lnTo>
                      <a:pt x="10" y="45"/>
                    </a:lnTo>
                    <a:lnTo>
                      <a:pt x="10" y="45"/>
                    </a:lnTo>
                    <a:lnTo>
                      <a:pt x="12" y="44"/>
                    </a:lnTo>
                    <a:lnTo>
                      <a:pt x="10" y="41"/>
                    </a:lnTo>
                    <a:lnTo>
                      <a:pt x="12" y="39"/>
                    </a:lnTo>
                    <a:lnTo>
                      <a:pt x="10" y="37"/>
                    </a:lnTo>
                    <a:lnTo>
                      <a:pt x="10" y="34"/>
                    </a:lnTo>
                    <a:lnTo>
                      <a:pt x="8" y="31"/>
                    </a:lnTo>
                    <a:lnTo>
                      <a:pt x="10" y="29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0" y="14"/>
                    </a:lnTo>
                    <a:lnTo>
                      <a:pt x="10" y="13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8" name="Freeform 291">
                <a:extLst>
                  <a:ext uri="{FF2B5EF4-FFF2-40B4-BE49-F238E27FC236}">
                    <a16:creationId xmlns:a16="http://schemas.microsoft.com/office/drawing/2014/main" xmlns="" id="{75A794BF-5E3D-4428-83B6-E82B9D412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" y="2193"/>
                <a:ext cx="186" cy="161"/>
              </a:xfrm>
              <a:custGeom>
                <a:avLst/>
                <a:gdLst>
                  <a:gd name="T0" fmla="*/ 39 w 186"/>
                  <a:gd name="T1" fmla="*/ 49 h 161"/>
                  <a:gd name="T2" fmla="*/ 43 w 186"/>
                  <a:gd name="T3" fmla="*/ 54 h 161"/>
                  <a:gd name="T4" fmla="*/ 49 w 186"/>
                  <a:gd name="T5" fmla="*/ 50 h 161"/>
                  <a:gd name="T6" fmla="*/ 56 w 186"/>
                  <a:gd name="T7" fmla="*/ 54 h 161"/>
                  <a:gd name="T8" fmla="*/ 61 w 186"/>
                  <a:gd name="T9" fmla="*/ 59 h 161"/>
                  <a:gd name="T10" fmla="*/ 72 w 186"/>
                  <a:gd name="T11" fmla="*/ 62 h 161"/>
                  <a:gd name="T12" fmla="*/ 80 w 186"/>
                  <a:gd name="T13" fmla="*/ 60 h 161"/>
                  <a:gd name="T14" fmla="*/ 85 w 186"/>
                  <a:gd name="T15" fmla="*/ 55 h 161"/>
                  <a:gd name="T16" fmla="*/ 93 w 186"/>
                  <a:gd name="T17" fmla="*/ 67 h 161"/>
                  <a:gd name="T18" fmla="*/ 108 w 186"/>
                  <a:gd name="T19" fmla="*/ 78 h 161"/>
                  <a:gd name="T20" fmla="*/ 119 w 186"/>
                  <a:gd name="T21" fmla="*/ 85 h 161"/>
                  <a:gd name="T22" fmla="*/ 126 w 186"/>
                  <a:gd name="T23" fmla="*/ 85 h 161"/>
                  <a:gd name="T24" fmla="*/ 119 w 186"/>
                  <a:gd name="T25" fmla="*/ 67 h 161"/>
                  <a:gd name="T26" fmla="*/ 114 w 186"/>
                  <a:gd name="T27" fmla="*/ 70 h 161"/>
                  <a:gd name="T28" fmla="*/ 105 w 186"/>
                  <a:gd name="T29" fmla="*/ 59 h 161"/>
                  <a:gd name="T30" fmla="*/ 108 w 186"/>
                  <a:gd name="T31" fmla="*/ 41 h 161"/>
                  <a:gd name="T32" fmla="*/ 110 w 186"/>
                  <a:gd name="T33" fmla="*/ 34 h 161"/>
                  <a:gd name="T34" fmla="*/ 111 w 186"/>
                  <a:gd name="T35" fmla="*/ 26 h 161"/>
                  <a:gd name="T36" fmla="*/ 106 w 186"/>
                  <a:gd name="T37" fmla="*/ 18 h 161"/>
                  <a:gd name="T38" fmla="*/ 149 w 186"/>
                  <a:gd name="T39" fmla="*/ 3 h 161"/>
                  <a:gd name="T40" fmla="*/ 155 w 186"/>
                  <a:gd name="T41" fmla="*/ 6 h 161"/>
                  <a:gd name="T42" fmla="*/ 170 w 186"/>
                  <a:gd name="T43" fmla="*/ 11 h 161"/>
                  <a:gd name="T44" fmla="*/ 176 w 186"/>
                  <a:gd name="T45" fmla="*/ 19 h 161"/>
                  <a:gd name="T46" fmla="*/ 181 w 186"/>
                  <a:gd name="T47" fmla="*/ 24 h 161"/>
                  <a:gd name="T48" fmla="*/ 183 w 186"/>
                  <a:gd name="T49" fmla="*/ 31 h 161"/>
                  <a:gd name="T50" fmla="*/ 186 w 186"/>
                  <a:gd name="T51" fmla="*/ 41 h 161"/>
                  <a:gd name="T52" fmla="*/ 181 w 186"/>
                  <a:gd name="T53" fmla="*/ 49 h 161"/>
                  <a:gd name="T54" fmla="*/ 183 w 186"/>
                  <a:gd name="T55" fmla="*/ 59 h 161"/>
                  <a:gd name="T56" fmla="*/ 183 w 186"/>
                  <a:gd name="T57" fmla="*/ 65 h 161"/>
                  <a:gd name="T58" fmla="*/ 185 w 186"/>
                  <a:gd name="T59" fmla="*/ 70 h 161"/>
                  <a:gd name="T60" fmla="*/ 176 w 186"/>
                  <a:gd name="T61" fmla="*/ 77 h 161"/>
                  <a:gd name="T62" fmla="*/ 176 w 186"/>
                  <a:gd name="T63" fmla="*/ 85 h 161"/>
                  <a:gd name="T64" fmla="*/ 175 w 186"/>
                  <a:gd name="T65" fmla="*/ 93 h 161"/>
                  <a:gd name="T66" fmla="*/ 173 w 186"/>
                  <a:gd name="T67" fmla="*/ 98 h 161"/>
                  <a:gd name="T68" fmla="*/ 141 w 186"/>
                  <a:gd name="T69" fmla="*/ 109 h 161"/>
                  <a:gd name="T70" fmla="*/ 134 w 186"/>
                  <a:gd name="T71" fmla="*/ 122 h 161"/>
                  <a:gd name="T72" fmla="*/ 127 w 186"/>
                  <a:gd name="T73" fmla="*/ 122 h 161"/>
                  <a:gd name="T74" fmla="*/ 118 w 186"/>
                  <a:gd name="T75" fmla="*/ 124 h 161"/>
                  <a:gd name="T76" fmla="*/ 110 w 186"/>
                  <a:gd name="T77" fmla="*/ 130 h 161"/>
                  <a:gd name="T78" fmla="*/ 108 w 186"/>
                  <a:gd name="T79" fmla="*/ 135 h 161"/>
                  <a:gd name="T80" fmla="*/ 80 w 186"/>
                  <a:gd name="T81" fmla="*/ 160 h 161"/>
                  <a:gd name="T82" fmla="*/ 70 w 186"/>
                  <a:gd name="T83" fmla="*/ 160 h 161"/>
                  <a:gd name="T84" fmla="*/ 64 w 186"/>
                  <a:gd name="T85" fmla="*/ 158 h 161"/>
                  <a:gd name="T86" fmla="*/ 56 w 186"/>
                  <a:gd name="T87" fmla="*/ 158 h 161"/>
                  <a:gd name="T88" fmla="*/ 47 w 186"/>
                  <a:gd name="T89" fmla="*/ 153 h 161"/>
                  <a:gd name="T90" fmla="*/ 43 w 186"/>
                  <a:gd name="T91" fmla="*/ 153 h 161"/>
                  <a:gd name="T92" fmla="*/ 21 w 186"/>
                  <a:gd name="T93" fmla="*/ 157 h 161"/>
                  <a:gd name="T94" fmla="*/ 15 w 186"/>
                  <a:gd name="T95" fmla="*/ 148 h 161"/>
                  <a:gd name="T96" fmla="*/ 5 w 186"/>
                  <a:gd name="T97" fmla="*/ 140 h 161"/>
                  <a:gd name="T98" fmla="*/ 0 w 186"/>
                  <a:gd name="T99" fmla="*/ 132 h 161"/>
                  <a:gd name="T100" fmla="*/ 34 w 186"/>
                  <a:gd name="T101" fmla="*/ 72 h 161"/>
                  <a:gd name="T102" fmla="*/ 34 w 186"/>
                  <a:gd name="T103" fmla="*/ 62 h 161"/>
                  <a:gd name="T104" fmla="*/ 34 w 186"/>
                  <a:gd name="T105" fmla="*/ 4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6" h="161">
                    <a:moveTo>
                      <a:pt x="34" y="47"/>
                    </a:moveTo>
                    <a:lnTo>
                      <a:pt x="34" y="47"/>
                    </a:lnTo>
                    <a:lnTo>
                      <a:pt x="38" y="47"/>
                    </a:lnTo>
                    <a:lnTo>
                      <a:pt x="39" y="49"/>
                    </a:lnTo>
                    <a:lnTo>
                      <a:pt x="41" y="49"/>
                    </a:lnTo>
                    <a:lnTo>
                      <a:pt x="41" y="52"/>
                    </a:lnTo>
                    <a:lnTo>
                      <a:pt x="41" y="54"/>
                    </a:lnTo>
                    <a:lnTo>
                      <a:pt x="43" y="54"/>
                    </a:lnTo>
                    <a:lnTo>
                      <a:pt x="44" y="52"/>
                    </a:lnTo>
                    <a:lnTo>
                      <a:pt x="46" y="50"/>
                    </a:lnTo>
                    <a:lnTo>
                      <a:pt x="47" y="50"/>
                    </a:lnTo>
                    <a:lnTo>
                      <a:pt x="49" y="50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54" y="52"/>
                    </a:lnTo>
                    <a:lnTo>
                      <a:pt x="56" y="54"/>
                    </a:lnTo>
                    <a:lnTo>
                      <a:pt x="56" y="55"/>
                    </a:lnTo>
                    <a:lnTo>
                      <a:pt x="56" y="57"/>
                    </a:lnTo>
                    <a:lnTo>
                      <a:pt x="57" y="57"/>
                    </a:lnTo>
                    <a:lnTo>
                      <a:pt x="61" y="59"/>
                    </a:lnTo>
                    <a:lnTo>
                      <a:pt x="61" y="59"/>
                    </a:lnTo>
                    <a:lnTo>
                      <a:pt x="65" y="60"/>
                    </a:lnTo>
                    <a:lnTo>
                      <a:pt x="69" y="62"/>
                    </a:lnTo>
                    <a:lnTo>
                      <a:pt x="72" y="62"/>
                    </a:lnTo>
                    <a:lnTo>
                      <a:pt x="72" y="63"/>
                    </a:lnTo>
                    <a:lnTo>
                      <a:pt x="75" y="63"/>
                    </a:lnTo>
                    <a:lnTo>
                      <a:pt x="80" y="62"/>
                    </a:lnTo>
                    <a:lnTo>
                      <a:pt x="80" y="60"/>
                    </a:lnTo>
                    <a:lnTo>
                      <a:pt x="82" y="55"/>
                    </a:lnTo>
                    <a:lnTo>
                      <a:pt x="83" y="55"/>
                    </a:lnTo>
                    <a:lnTo>
                      <a:pt x="85" y="55"/>
                    </a:lnTo>
                    <a:lnTo>
                      <a:pt x="85" y="55"/>
                    </a:lnTo>
                    <a:lnTo>
                      <a:pt x="85" y="60"/>
                    </a:lnTo>
                    <a:lnTo>
                      <a:pt x="88" y="62"/>
                    </a:lnTo>
                    <a:lnTo>
                      <a:pt x="88" y="65"/>
                    </a:lnTo>
                    <a:lnTo>
                      <a:pt x="93" y="67"/>
                    </a:lnTo>
                    <a:lnTo>
                      <a:pt x="98" y="68"/>
                    </a:lnTo>
                    <a:lnTo>
                      <a:pt x="101" y="72"/>
                    </a:lnTo>
                    <a:lnTo>
                      <a:pt x="105" y="75"/>
                    </a:lnTo>
                    <a:lnTo>
                      <a:pt x="108" y="78"/>
                    </a:lnTo>
                    <a:lnTo>
                      <a:pt x="111" y="81"/>
                    </a:lnTo>
                    <a:lnTo>
                      <a:pt x="114" y="85"/>
                    </a:lnTo>
                    <a:lnTo>
                      <a:pt x="116" y="85"/>
                    </a:lnTo>
                    <a:lnTo>
                      <a:pt x="119" y="85"/>
                    </a:lnTo>
                    <a:lnTo>
                      <a:pt x="121" y="83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6" y="85"/>
                    </a:lnTo>
                    <a:lnTo>
                      <a:pt x="126" y="83"/>
                    </a:lnTo>
                    <a:lnTo>
                      <a:pt x="126" y="67"/>
                    </a:lnTo>
                    <a:lnTo>
                      <a:pt x="123" y="65"/>
                    </a:lnTo>
                    <a:lnTo>
                      <a:pt x="119" y="67"/>
                    </a:lnTo>
                    <a:lnTo>
                      <a:pt x="121" y="68"/>
                    </a:lnTo>
                    <a:lnTo>
                      <a:pt x="121" y="70"/>
                    </a:lnTo>
                    <a:lnTo>
                      <a:pt x="121" y="70"/>
                    </a:lnTo>
                    <a:lnTo>
                      <a:pt x="114" y="70"/>
                    </a:lnTo>
                    <a:lnTo>
                      <a:pt x="113" y="68"/>
                    </a:lnTo>
                    <a:lnTo>
                      <a:pt x="111" y="65"/>
                    </a:lnTo>
                    <a:lnTo>
                      <a:pt x="108" y="60"/>
                    </a:lnTo>
                    <a:lnTo>
                      <a:pt x="105" y="59"/>
                    </a:lnTo>
                    <a:lnTo>
                      <a:pt x="105" y="55"/>
                    </a:lnTo>
                    <a:lnTo>
                      <a:pt x="105" y="45"/>
                    </a:lnTo>
                    <a:lnTo>
                      <a:pt x="105" y="44"/>
                    </a:lnTo>
                    <a:lnTo>
                      <a:pt x="108" y="41"/>
                    </a:lnTo>
                    <a:lnTo>
                      <a:pt x="110" y="39"/>
                    </a:lnTo>
                    <a:lnTo>
                      <a:pt x="108" y="37"/>
                    </a:lnTo>
                    <a:lnTo>
                      <a:pt x="110" y="37"/>
                    </a:lnTo>
                    <a:lnTo>
                      <a:pt x="110" y="34"/>
                    </a:lnTo>
                    <a:lnTo>
                      <a:pt x="110" y="31"/>
                    </a:lnTo>
                    <a:lnTo>
                      <a:pt x="110" y="29"/>
                    </a:lnTo>
                    <a:lnTo>
                      <a:pt x="110" y="28"/>
                    </a:lnTo>
                    <a:lnTo>
                      <a:pt x="111" y="26"/>
                    </a:lnTo>
                    <a:lnTo>
                      <a:pt x="111" y="24"/>
                    </a:lnTo>
                    <a:lnTo>
                      <a:pt x="110" y="23"/>
                    </a:lnTo>
                    <a:lnTo>
                      <a:pt x="108" y="21"/>
                    </a:lnTo>
                    <a:lnTo>
                      <a:pt x="106" y="18"/>
                    </a:lnTo>
                    <a:lnTo>
                      <a:pt x="113" y="5"/>
                    </a:lnTo>
                    <a:lnTo>
                      <a:pt x="139" y="0"/>
                    </a:lnTo>
                    <a:lnTo>
                      <a:pt x="147" y="3"/>
                    </a:lnTo>
                    <a:lnTo>
                      <a:pt x="149" y="3"/>
                    </a:lnTo>
                    <a:lnTo>
                      <a:pt x="152" y="3"/>
                    </a:lnTo>
                    <a:lnTo>
                      <a:pt x="154" y="3"/>
                    </a:lnTo>
                    <a:lnTo>
                      <a:pt x="155" y="5"/>
                    </a:lnTo>
                    <a:lnTo>
                      <a:pt x="155" y="6"/>
                    </a:lnTo>
                    <a:lnTo>
                      <a:pt x="157" y="8"/>
                    </a:lnTo>
                    <a:lnTo>
                      <a:pt x="160" y="8"/>
                    </a:lnTo>
                    <a:lnTo>
                      <a:pt x="168" y="11"/>
                    </a:lnTo>
                    <a:lnTo>
                      <a:pt x="170" y="11"/>
                    </a:lnTo>
                    <a:lnTo>
                      <a:pt x="170" y="13"/>
                    </a:lnTo>
                    <a:lnTo>
                      <a:pt x="173" y="13"/>
                    </a:lnTo>
                    <a:lnTo>
                      <a:pt x="173" y="16"/>
                    </a:lnTo>
                    <a:lnTo>
                      <a:pt x="176" y="19"/>
                    </a:lnTo>
                    <a:lnTo>
                      <a:pt x="178" y="19"/>
                    </a:lnTo>
                    <a:lnTo>
                      <a:pt x="178" y="21"/>
                    </a:lnTo>
                    <a:lnTo>
                      <a:pt x="180" y="23"/>
                    </a:lnTo>
                    <a:lnTo>
                      <a:pt x="181" y="24"/>
                    </a:lnTo>
                    <a:lnTo>
                      <a:pt x="183" y="26"/>
                    </a:lnTo>
                    <a:lnTo>
                      <a:pt x="185" y="26"/>
                    </a:lnTo>
                    <a:lnTo>
                      <a:pt x="185" y="28"/>
                    </a:lnTo>
                    <a:lnTo>
                      <a:pt x="183" y="31"/>
                    </a:lnTo>
                    <a:lnTo>
                      <a:pt x="183" y="32"/>
                    </a:lnTo>
                    <a:lnTo>
                      <a:pt x="186" y="36"/>
                    </a:lnTo>
                    <a:lnTo>
                      <a:pt x="186" y="37"/>
                    </a:lnTo>
                    <a:lnTo>
                      <a:pt x="186" y="41"/>
                    </a:lnTo>
                    <a:lnTo>
                      <a:pt x="186" y="42"/>
                    </a:lnTo>
                    <a:lnTo>
                      <a:pt x="186" y="42"/>
                    </a:lnTo>
                    <a:lnTo>
                      <a:pt x="183" y="47"/>
                    </a:lnTo>
                    <a:lnTo>
                      <a:pt x="181" y="49"/>
                    </a:lnTo>
                    <a:lnTo>
                      <a:pt x="183" y="52"/>
                    </a:lnTo>
                    <a:lnTo>
                      <a:pt x="183" y="55"/>
                    </a:lnTo>
                    <a:lnTo>
                      <a:pt x="185" y="57"/>
                    </a:lnTo>
                    <a:lnTo>
                      <a:pt x="183" y="59"/>
                    </a:lnTo>
                    <a:lnTo>
                      <a:pt x="185" y="62"/>
                    </a:lnTo>
                    <a:lnTo>
                      <a:pt x="183" y="63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3" y="67"/>
                    </a:lnTo>
                    <a:lnTo>
                      <a:pt x="185" y="68"/>
                    </a:lnTo>
                    <a:lnTo>
                      <a:pt x="186" y="70"/>
                    </a:lnTo>
                    <a:lnTo>
                      <a:pt x="185" y="70"/>
                    </a:lnTo>
                    <a:lnTo>
                      <a:pt x="183" y="72"/>
                    </a:lnTo>
                    <a:lnTo>
                      <a:pt x="181" y="73"/>
                    </a:lnTo>
                    <a:lnTo>
                      <a:pt x="178" y="75"/>
                    </a:lnTo>
                    <a:lnTo>
                      <a:pt x="176" y="77"/>
                    </a:lnTo>
                    <a:lnTo>
                      <a:pt x="176" y="78"/>
                    </a:lnTo>
                    <a:lnTo>
                      <a:pt x="178" y="80"/>
                    </a:lnTo>
                    <a:lnTo>
                      <a:pt x="176" y="81"/>
                    </a:lnTo>
                    <a:lnTo>
                      <a:pt x="176" y="85"/>
                    </a:lnTo>
                    <a:lnTo>
                      <a:pt x="175" y="86"/>
                    </a:lnTo>
                    <a:lnTo>
                      <a:pt x="173" y="88"/>
                    </a:lnTo>
                    <a:lnTo>
                      <a:pt x="173" y="90"/>
                    </a:lnTo>
                    <a:lnTo>
                      <a:pt x="175" y="93"/>
                    </a:lnTo>
                    <a:lnTo>
                      <a:pt x="176" y="96"/>
                    </a:lnTo>
                    <a:lnTo>
                      <a:pt x="178" y="96"/>
                    </a:lnTo>
                    <a:lnTo>
                      <a:pt x="176" y="96"/>
                    </a:lnTo>
                    <a:lnTo>
                      <a:pt x="173" y="98"/>
                    </a:lnTo>
                    <a:lnTo>
                      <a:pt x="163" y="103"/>
                    </a:lnTo>
                    <a:lnTo>
                      <a:pt x="160" y="103"/>
                    </a:lnTo>
                    <a:lnTo>
                      <a:pt x="144" y="109"/>
                    </a:lnTo>
                    <a:lnTo>
                      <a:pt x="141" y="109"/>
                    </a:lnTo>
                    <a:lnTo>
                      <a:pt x="134" y="112"/>
                    </a:lnTo>
                    <a:lnTo>
                      <a:pt x="134" y="116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29" y="122"/>
                    </a:lnTo>
                    <a:lnTo>
                      <a:pt x="127" y="122"/>
                    </a:lnTo>
                    <a:lnTo>
                      <a:pt x="127" y="121"/>
                    </a:lnTo>
                    <a:lnTo>
                      <a:pt x="123" y="121"/>
                    </a:lnTo>
                    <a:lnTo>
                      <a:pt x="119" y="122"/>
                    </a:lnTo>
                    <a:lnTo>
                      <a:pt x="118" y="124"/>
                    </a:lnTo>
                    <a:lnTo>
                      <a:pt x="114" y="124"/>
                    </a:lnTo>
                    <a:lnTo>
                      <a:pt x="111" y="127"/>
                    </a:lnTo>
                    <a:lnTo>
                      <a:pt x="110" y="129"/>
                    </a:lnTo>
                    <a:lnTo>
                      <a:pt x="110" y="130"/>
                    </a:lnTo>
                    <a:lnTo>
                      <a:pt x="110" y="132"/>
                    </a:lnTo>
                    <a:lnTo>
                      <a:pt x="110" y="134"/>
                    </a:lnTo>
                    <a:lnTo>
                      <a:pt x="110" y="135"/>
                    </a:lnTo>
                    <a:lnTo>
                      <a:pt x="108" y="135"/>
                    </a:lnTo>
                    <a:lnTo>
                      <a:pt x="103" y="139"/>
                    </a:lnTo>
                    <a:lnTo>
                      <a:pt x="93" y="144"/>
                    </a:lnTo>
                    <a:lnTo>
                      <a:pt x="85" y="153"/>
                    </a:lnTo>
                    <a:lnTo>
                      <a:pt x="80" y="160"/>
                    </a:lnTo>
                    <a:lnTo>
                      <a:pt x="77" y="161"/>
                    </a:lnTo>
                    <a:lnTo>
                      <a:pt x="74" y="161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8"/>
                    </a:lnTo>
                    <a:lnTo>
                      <a:pt x="69" y="158"/>
                    </a:lnTo>
                    <a:lnTo>
                      <a:pt x="67" y="158"/>
                    </a:lnTo>
                    <a:lnTo>
                      <a:pt x="64" y="158"/>
                    </a:lnTo>
                    <a:lnTo>
                      <a:pt x="61" y="160"/>
                    </a:lnTo>
                    <a:lnTo>
                      <a:pt x="59" y="160"/>
                    </a:lnTo>
                    <a:lnTo>
                      <a:pt x="59" y="160"/>
                    </a:lnTo>
                    <a:lnTo>
                      <a:pt x="56" y="158"/>
                    </a:lnTo>
                    <a:lnTo>
                      <a:pt x="51" y="157"/>
                    </a:lnTo>
                    <a:lnTo>
                      <a:pt x="49" y="157"/>
                    </a:lnTo>
                    <a:lnTo>
                      <a:pt x="47" y="155"/>
                    </a:lnTo>
                    <a:lnTo>
                      <a:pt x="47" y="153"/>
                    </a:lnTo>
                    <a:lnTo>
                      <a:pt x="46" y="153"/>
                    </a:lnTo>
                    <a:lnTo>
                      <a:pt x="44" y="153"/>
                    </a:lnTo>
                    <a:lnTo>
                      <a:pt x="43" y="153"/>
                    </a:lnTo>
                    <a:lnTo>
                      <a:pt x="43" y="153"/>
                    </a:lnTo>
                    <a:lnTo>
                      <a:pt x="41" y="152"/>
                    </a:lnTo>
                    <a:lnTo>
                      <a:pt x="38" y="153"/>
                    </a:lnTo>
                    <a:lnTo>
                      <a:pt x="36" y="153"/>
                    </a:lnTo>
                    <a:lnTo>
                      <a:pt x="21" y="157"/>
                    </a:lnTo>
                    <a:lnTo>
                      <a:pt x="20" y="153"/>
                    </a:lnTo>
                    <a:lnTo>
                      <a:pt x="18" y="153"/>
                    </a:lnTo>
                    <a:lnTo>
                      <a:pt x="16" y="150"/>
                    </a:lnTo>
                    <a:lnTo>
                      <a:pt x="15" y="148"/>
                    </a:lnTo>
                    <a:lnTo>
                      <a:pt x="13" y="148"/>
                    </a:lnTo>
                    <a:lnTo>
                      <a:pt x="12" y="147"/>
                    </a:lnTo>
                    <a:lnTo>
                      <a:pt x="8" y="142"/>
                    </a:lnTo>
                    <a:lnTo>
                      <a:pt x="5" y="140"/>
                    </a:lnTo>
                    <a:lnTo>
                      <a:pt x="5" y="139"/>
                    </a:lnTo>
                    <a:lnTo>
                      <a:pt x="2" y="137"/>
                    </a:lnTo>
                    <a:lnTo>
                      <a:pt x="0" y="135"/>
                    </a:lnTo>
                    <a:lnTo>
                      <a:pt x="0" y="132"/>
                    </a:lnTo>
                    <a:lnTo>
                      <a:pt x="0" y="78"/>
                    </a:lnTo>
                    <a:lnTo>
                      <a:pt x="34" y="78"/>
                    </a:lnTo>
                    <a:lnTo>
                      <a:pt x="34" y="77"/>
                    </a:lnTo>
                    <a:lnTo>
                      <a:pt x="34" y="72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4" y="65"/>
                    </a:lnTo>
                    <a:lnTo>
                      <a:pt x="34" y="62"/>
                    </a:lnTo>
                    <a:lnTo>
                      <a:pt x="34" y="57"/>
                    </a:lnTo>
                    <a:lnTo>
                      <a:pt x="33" y="49"/>
                    </a:lnTo>
                    <a:lnTo>
                      <a:pt x="34" y="49"/>
                    </a:lnTo>
                    <a:lnTo>
                      <a:pt x="34" y="47"/>
                    </a:lnTo>
                    <a:lnTo>
                      <a:pt x="34" y="47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9" name="Freeform 292">
                <a:extLst>
                  <a:ext uri="{FF2B5EF4-FFF2-40B4-BE49-F238E27FC236}">
                    <a16:creationId xmlns:a16="http://schemas.microsoft.com/office/drawing/2014/main" xmlns="" id="{21B4AC29-7264-4449-977D-B319FCC63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2155"/>
                <a:ext cx="199" cy="199"/>
              </a:xfrm>
              <a:custGeom>
                <a:avLst/>
                <a:gdLst>
                  <a:gd name="T0" fmla="*/ 179 w 199"/>
                  <a:gd name="T1" fmla="*/ 188 h 199"/>
                  <a:gd name="T2" fmla="*/ 171 w 199"/>
                  <a:gd name="T3" fmla="*/ 180 h 199"/>
                  <a:gd name="T4" fmla="*/ 163 w 199"/>
                  <a:gd name="T5" fmla="*/ 173 h 199"/>
                  <a:gd name="T6" fmla="*/ 197 w 199"/>
                  <a:gd name="T7" fmla="*/ 115 h 199"/>
                  <a:gd name="T8" fmla="*/ 197 w 199"/>
                  <a:gd name="T9" fmla="*/ 103 h 199"/>
                  <a:gd name="T10" fmla="*/ 197 w 199"/>
                  <a:gd name="T11" fmla="*/ 87 h 199"/>
                  <a:gd name="T12" fmla="*/ 191 w 199"/>
                  <a:gd name="T13" fmla="*/ 85 h 199"/>
                  <a:gd name="T14" fmla="*/ 184 w 199"/>
                  <a:gd name="T15" fmla="*/ 87 h 199"/>
                  <a:gd name="T16" fmla="*/ 175 w 199"/>
                  <a:gd name="T17" fmla="*/ 85 h 199"/>
                  <a:gd name="T18" fmla="*/ 170 w 199"/>
                  <a:gd name="T19" fmla="*/ 87 h 199"/>
                  <a:gd name="T20" fmla="*/ 170 w 199"/>
                  <a:gd name="T21" fmla="*/ 82 h 199"/>
                  <a:gd name="T22" fmla="*/ 170 w 199"/>
                  <a:gd name="T23" fmla="*/ 74 h 199"/>
                  <a:gd name="T24" fmla="*/ 168 w 199"/>
                  <a:gd name="T25" fmla="*/ 66 h 199"/>
                  <a:gd name="T26" fmla="*/ 165 w 199"/>
                  <a:gd name="T27" fmla="*/ 61 h 199"/>
                  <a:gd name="T28" fmla="*/ 161 w 199"/>
                  <a:gd name="T29" fmla="*/ 54 h 199"/>
                  <a:gd name="T30" fmla="*/ 163 w 199"/>
                  <a:gd name="T31" fmla="*/ 41 h 199"/>
                  <a:gd name="T32" fmla="*/ 161 w 199"/>
                  <a:gd name="T33" fmla="*/ 33 h 199"/>
                  <a:gd name="T34" fmla="*/ 163 w 199"/>
                  <a:gd name="T35" fmla="*/ 23 h 199"/>
                  <a:gd name="T36" fmla="*/ 145 w 199"/>
                  <a:gd name="T37" fmla="*/ 17 h 199"/>
                  <a:gd name="T38" fmla="*/ 126 w 199"/>
                  <a:gd name="T39" fmla="*/ 23 h 199"/>
                  <a:gd name="T40" fmla="*/ 122 w 199"/>
                  <a:gd name="T41" fmla="*/ 33 h 199"/>
                  <a:gd name="T42" fmla="*/ 101 w 199"/>
                  <a:gd name="T43" fmla="*/ 34 h 199"/>
                  <a:gd name="T44" fmla="*/ 91 w 199"/>
                  <a:gd name="T45" fmla="*/ 28 h 199"/>
                  <a:gd name="T46" fmla="*/ 86 w 199"/>
                  <a:gd name="T47" fmla="*/ 20 h 199"/>
                  <a:gd name="T48" fmla="*/ 85 w 199"/>
                  <a:gd name="T49" fmla="*/ 10 h 199"/>
                  <a:gd name="T50" fmla="*/ 83 w 199"/>
                  <a:gd name="T51" fmla="*/ 3 h 199"/>
                  <a:gd name="T52" fmla="*/ 55 w 199"/>
                  <a:gd name="T53" fmla="*/ 0 h 199"/>
                  <a:gd name="T54" fmla="*/ 37 w 199"/>
                  <a:gd name="T55" fmla="*/ 0 h 199"/>
                  <a:gd name="T56" fmla="*/ 26 w 199"/>
                  <a:gd name="T57" fmla="*/ 0 h 199"/>
                  <a:gd name="T58" fmla="*/ 19 w 199"/>
                  <a:gd name="T59" fmla="*/ 2 h 199"/>
                  <a:gd name="T60" fmla="*/ 13 w 199"/>
                  <a:gd name="T61" fmla="*/ 5 h 199"/>
                  <a:gd name="T62" fmla="*/ 24 w 199"/>
                  <a:gd name="T63" fmla="*/ 33 h 199"/>
                  <a:gd name="T64" fmla="*/ 26 w 199"/>
                  <a:gd name="T65" fmla="*/ 54 h 199"/>
                  <a:gd name="T66" fmla="*/ 34 w 199"/>
                  <a:gd name="T67" fmla="*/ 77 h 199"/>
                  <a:gd name="T68" fmla="*/ 29 w 199"/>
                  <a:gd name="T69" fmla="*/ 108 h 199"/>
                  <a:gd name="T70" fmla="*/ 11 w 199"/>
                  <a:gd name="T71" fmla="*/ 126 h 199"/>
                  <a:gd name="T72" fmla="*/ 6 w 199"/>
                  <a:gd name="T73" fmla="*/ 150 h 199"/>
                  <a:gd name="T74" fmla="*/ 0 w 199"/>
                  <a:gd name="T75" fmla="*/ 173 h 199"/>
                  <a:gd name="T76" fmla="*/ 0 w 199"/>
                  <a:gd name="T77" fmla="*/ 188 h 199"/>
                  <a:gd name="T78" fmla="*/ 5 w 199"/>
                  <a:gd name="T79" fmla="*/ 186 h 199"/>
                  <a:gd name="T80" fmla="*/ 13 w 199"/>
                  <a:gd name="T81" fmla="*/ 186 h 199"/>
                  <a:gd name="T82" fmla="*/ 23 w 199"/>
                  <a:gd name="T83" fmla="*/ 182 h 199"/>
                  <a:gd name="T84" fmla="*/ 28 w 199"/>
                  <a:gd name="T85" fmla="*/ 183 h 199"/>
                  <a:gd name="T86" fmla="*/ 31 w 199"/>
                  <a:gd name="T87" fmla="*/ 186 h 199"/>
                  <a:gd name="T88" fmla="*/ 41 w 199"/>
                  <a:gd name="T89" fmla="*/ 190 h 199"/>
                  <a:gd name="T90" fmla="*/ 104 w 199"/>
                  <a:gd name="T91" fmla="*/ 188 h 199"/>
                  <a:gd name="T92" fmla="*/ 112 w 199"/>
                  <a:gd name="T93" fmla="*/ 195 h 199"/>
                  <a:gd name="T94" fmla="*/ 121 w 199"/>
                  <a:gd name="T95" fmla="*/ 196 h 199"/>
                  <a:gd name="T96" fmla="*/ 130 w 199"/>
                  <a:gd name="T97" fmla="*/ 196 h 199"/>
                  <a:gd name="T98" fmla="*/ 137 w 199"/>
                  <a:gd name="T99" fmla="*/ 195 h 199"/>
                  <a:gd name="T100" fmla="*/ 147 w 199"/>
                  <a:gd name="T101" fmla="*/ 199 h 199"/>
                  <a:gd name="T102" fmla="*/ 152 w 199"/>
                  <a:gd name="T103" fmla="*/ 199 h 199"/>
                  <a:gd name="T104" fmla="*/ 155 w 199"/>
                  <a:gd name="T105" fmla="*/ 199 h 199"/>
                  <a:gd name="T106" fmla="*/ 184 w 199"/>
                  <a:gd name="T107" fmla="*/ 195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9" h="199">
                    <a:moveTo>
                      <a:pt x="184" y="195"/>
                    </a:moveTo>
                    <a:lnTo>
                      <a:pt x="183" y="191"/>
                    </a:lnTo>
                    <a:lnTo>
                      <a:pt x="181" y="191"/>
                    </a:lnTo>
                    <a:lnTo>
                      <a:pt x="179" y="188"/>
                    </a:lnTo>
                    <a:lnTo>
                      <a:pt x="178" y="186"/>
                    </a:lnTo>
                    <a:lnTo>
                      <a:pt x="176" y="186"/>
                    </a:lnTo>
                    <a:lnTo>
                      <a:pt x="175" y="185"/>
                    </a:lnTo>
                    <a:lnTo>
                      <a:pt x="171" y="180"/>
                    </a:lnTo>
                    <a:lnTo>
                      <a:pt x="168" y="178"/>
                    </a:lnTo>
                    <a:lnTo>
                      <a:pt x="168" y="177"/>
                    </a:lnTo>
                    <a:lnTo>
                      <a:pt x="165" y="175"/>
                    </a:lnTo>
                    <a:lnTo>
                      <a:pt x="163" y="173"/>
                    </a:lnTo>
                    <a:lnTo>
                      <a:pt x="163" y="170"/>
                    </a:lnTo>
                    <a:lnTo>
                      <a:pt x="163" y="116"/>
                    </a:lnTo>
                    <a:lnTo>
                      <a:pt x="197" y="116"/>
                    </a:lnTo>
                    <a:lnTo>
                      <a:pt x="197" y="115"/>
                    </a:lnTo>
                    <a:lnTo>
                      <a:pt x="197" y="110"/>
                    </a:lnTo>
                    <a:lnTo>
                      <a:pt x="199" y="110"/>
                    </a:lnTo>
                    <a:lnTo>
                      <a:pt x="199" y="106"/>
                    </a:lnTo>
                    <a:lnTo>
                      <a:pt x="197" y="103"/>
                    </a:lnTo>
                    <a:lnTo>
                      <a:pt x="197" y="100"/>
                    </a:lnTo>
                    <a:lnTo>
                      <a:pt x="197" y="95"/>
                    </a:lnTo>
                    <a:lnTo>
                      <a:pt x="196" y="87"/>
                    </a:lnTo>
                    <a:lnTo>
                      <a:pt x="197" y="87"/>
                    </a:lnTo>
                    <a:lnTo>
                      <a:pt x="197" y="85"/>
                    </a:lnTo>
                    <a:lnTo>
                      <a:pt x="197" y="83"/>
                    </a:lnTo>
                    <a:lnTo>
                      <a:pt x="194" y="85"/>
                    </a:lnTo>
                    <a:lnTo>
                      <a:pt x="191" y="85"/>
                    </a:lnTo>
                    <a:lnTo>
                      <a:pt x="189" y="87"/>
                    </a:lnTo>
                    <a:lnTo>
                      <a:pt x="188" y="87"/>
                    </a:lnTo>
                    <a:lnTo>
                      <a:pt x="186" y="88"/>
                    </a:lnTo>
                    <a:lnTo>
                      <a:pt x="184" y="87"/>
                    </a:lnTo>
                    <a:lnTo>
                      <a:pt x="179" y="87"/>
                    </a:lnTo>
                    <a:lnTo>
                      <a:pt x="178" y="87"/>
                    </a:lnTo>
                    <a:lnTo>
                      <a:pt x="176" y="85"/>
                    </a:lnTo>
                    <a:lnTo>
                      <a:pt x="175" y="85"/>
                    </a:lnTo>
                    <a:lnTo>
                      <a:pt x="173" y="85"/>
                    </a:lnTo>
                    <a:lnTo>
                      <a:pt x="173" y="87"/>
                    </a:lnTo>
                    <a:lnTo>
                      <a:pt x="171" y="87"/>
                    </a:lnTo>
                    <a:lnTo>
                      <a:pt x="170" y="87"/>
                    </a:lnTo>
                    <a:lnTo>
                      <a:pt x="170" y="87"/>
                    </a:lnTo>
                    <a:lnTo>
                      <a:pt x="170" y="83"/>
                    </a:lnTo>
                    <a:lnTo>
                      <a:pt x="170" y="82"/>
                    </a:lnTo>
                    <a:lnTo>
                      <a:pt x="170" y="82"/>
                    </a:lnTo>
                    <a:lnTo>
                      <a:pt x="171" y="79"/>
                    </a:lnTo>
                    <a:lnTo>
                      <a:pt x="170" y="77"/>
                    </a:lnTo>
                    <a:lnTo>
                      <a:pt x="168" y="74"/>
                    </a:lnTo>
                    <a:lnTo>
                      <a:pt x="170" y="74"/>
                    </a:lnTo>
                    <a:lnTo>
                      <a:pt x="170" y="72"/>
                    </a:lnTo>
                    <a:lnTo>
                      <a:pt x="168" y="69"/>
                    </a:lnTo>
                    <a:lnTo>
                      <a:pt x="168" y="67"/>
                    </a:lnTo>
                    <a:lnTo>
                      <a:pt x="168" y="66"/>
                    </a:lnTo>
                    <a:lnTo>
                      <a:pt x="168" y="64"/>
                    </a:lnTo>
                    <a:lnTo>
                      <a:pt x="166" y="64"/>
                    </a:lnTo>
                    <a:lnTo>
                      <a:pt x="165" y="61"/>
                    </a:lnTo>
                    <a:lnTo>
                      <a:pt x="165" y="61"/>
                    </a:lnTo>
                    <a:lnTo>
                      <a:pt x="165" y="59"/>
                    </a:lnTo>
                    <a:lnTo>
                      <a:pt x="163" y="57"/>
                    </a:lnTo>
                    <a:lnTo>
                      <a:pt x="163" y="56"/>
                    </a:lnTo>
                    <a:lnTo>
                      <a:pt x="161" y="54"/>
                    </a:lnTo>
                    <a:lnTo>
                      <a:pt x="163" y="51"/>
                    </a:lnTo>
                    <a:lnTo>
                      <a:pt x="163" y="44"/>
                    </a:lnTo>
                    <a:lnTo>
                      <a:pt x="161" y="43"/>
                    </a:lnTo>
                    <a:lnTo>
                      <a:pt x="163" y="41"/>
                    </a:lnTo>
                    <a:lnTo>
                      <a:pt x="163" y="41"/>
                    </a:lnTo>
                    <a:lnTo>
                      <a:pt x="163" y="38"/>
                    </a:lnTo>
                    <a:lnTo>
                      <a:pt x="161" y="36"/>
                    </a:lnTo>
                    <a:lnTo>
                      <a:pt x="161" y="33"/>
                    </a:lnTo>
                    <a:lnTo>
                      <a:pt x="163" y="30"/>
                    </a:lnTo>
                    <a:lnTo>
                      <a:pt x="163" y="28"/>
                    </a:lnTo>
                    <a:lnTo>
                      <a:pt x="163" y="25"/>
                    </a:lnTo>
                    <a:lnTo>
                      <a:pt x="163" y="23"/>
                    </a:lnTo>
                    <a:lnTo>
                      <a:pt x="145" y="21"/>
                    </a:lnTo>
                    <a:lnTo>
                      <a:pt x="145" y="20"/>
                    </a:lnTo>
                    <a:lnTo>
                      <a:pt x="145" y="18"/>
                    </a:lnTo>
                    <a:lnTo>
                      <a:pt x="145" y="17"/>
                    </a:lnTo>
                    <a:lnTo>
                      <a:pt x="140" y="17"/>
                    </a:lnTo>
                    <a:lnTo>
                      <a:pt x="140" y="18"/>
                    </a:lnTo>
                    <a:lnTo>
                      <a:pt x="126" y="18"/>
                    </a:lnTo>
                    <a:lnTo>
                      <a:pt x="126" y="23"/>
                    </a:lnTo>
                    <a:lnTo>
                      <a:pt x="124" y="25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2" y="33"/>
                    </a:lnTo>
                    <a:lnTo>
                      <a:pt x="111" y="34"/>
                    </a:lnTo>
                    <a:lnTo>
                      <a:pt x="109" y="36"/>
                    </a:lnTo>
                    <a:lnTo>
                      <a:pt x="104" y="34"/>
                    </a:lnTo>
                    <a:lnTo>
                      <a:pt x="101" y="34"/>
                    </a:lnTo>
                    <a:lnTo>
                      <a:pt x="99" y="34"/>
                    </a:lnTo>
                    <a:lnTo>
                      <a:pt x="95" y="36"/>
                    </a:lnTo>
                    <a:lnTo>
                      <a:pt x="93" y="34"/>
                    </a:lnTo>
                    <a:lnTo>
                      <a:pt x="91" y="28"/>
                    </a:lnTo>
                    <a:lnTo>
                      <a:pt x="90" y="26"/>
                    </a:lnTo>
                    <a:lnTo>
                      <a:pt x="88" y="23"/>
                    </a:lnTo>
                    <a:lnTo>
                      <a:pt x="88" y="23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5"/>
                    </a:lnTo>
                    <a:lnTo>
                      <a:pt x="85" y="12"/>
                    </a:lnTo>
                    <a:lnTo>
                      <a:pt x="85" y="10"/>
                    </a:lnTo>
                    <a:lnTo>
                      <a:pt x="85" y="8"/>
                    </a:lnTo>
                    <a:lnTo>
                      <a:pt x="85" y="7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2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3" y="5"/>
                    </a:lnTo>
                    <a:lnTo>
                      <a:pt x="14" y="7"/>
                    </a:lnTo>
                    <a:lnTo>
                      <a:pt x="14" y="10"/>
                    </a:lnTo>
                    <a:lnTo>
                      <a:pt x="24" y="20"/>
                    </a:lnTo>
                    <a:lnTo>
                      <a:pt x="24" y="33"/>
                    </a:lnTo>
                    <a:lnTo>
                      <a:pt x="29" y="39"/>
                    </a:lnTo>
                    <a:lnTo>
                      <a:pt x="28" y="46"/>
                    </a:lnTo>
                    <a:lnTo>
                      <a:pt x="23" y="52"/>
                    </a:lnTo>
                    <a:lnTo>
                      <a:pt x="26" y="54"/>
                    </a:lnTo>
                    <a:lnTo>
                      <a:pt x="26" y="59"/>
                    </a:lnTo>
                    <a:lnTo>
                      <a:pt x="28" y="64"/>
                    </a:lnTo>
                    <a:lnTo>
                      <a:pt x="28" y="67"/>
                    </a:lnTo>
                    <a:lnTo>
                      <a:pt x="34" y="77"/>
                    </a:lnTo>
                    <a:lnTo>
                      <a:pt x="34" y="80"/>
                    </a:lnTo>
                    <a:lnTo>
                      <a:pt x="36" y="82"/>
                    </a:lnTo>
                    <a:lnTo>
                      <a:pt x="36" y="97"/>
                    </a:lnTo>
                    <a:lnTo>
                      <a:pt x="29" y="108"/>
                    </a:lnTo>
                    <a:lnTo>
                      <a:pt x="28" y="108"/>
                    </a:lnTo>
                    <a:lnTo>
                      <a:pt x="21" y="115"/>
                    </a:lnTo>
                    <a:lnTo>
                      <a:pt x="21" y="118"/>
                    </a:lnTo>
                    <a:lnTo>
                      <a:pt x="11" y="126"/>
                    </a:lnTo>
                    <a:lnTo>
                      <a:pt x="11" y="131"/>
                    </a:lnTo>
                    <a:lnTo>
                      <a:pt x="10" y="133"/>
                    </a:lnTo>
                    <a:lnTo>
                      <a:pt x="10" y="146"/>
                    </a:lnTo>
                    <a:lnTo>
                      <a:pt x="6" y="150"/>
                    </a:lnTo>
                    <a:lnTo>
                      <a:pt x="5" y="157"/>
                    </a:lnTo>
                    <a:lnTo>
                      <a:pt x="1" y="162"/>
                    </a:lnTo>
                    <a:lnTo>
                      <a:pt x="1" y="168"/>
                    </a:lnTo>
                    <a:lnTo>
                      <a:pt x="0" y="173"/>
                    </a:lnTo>
                    <a:lnTo>
                      <a:pt x="0" y="182"/>
                    </a:lnTo>
                    <a:lnTo>
                      <a:pt x="0" y="186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3" y="188"/>
                    </a:lnTo>
                    <a:lnTo>
                      <a:pt x="3" y="190"/>
                    </a:lnTo>
                    <a:lnTo>
                      <a:pt x="5" y="188"/>
                    </a:lnTo>
                    <a:lnTo>
                      <a:pt x="5" y="186"/>
                    </a:lnTo>
                    <a:lnTo>
                      <a:pt x="6" y="186"/>
                    </a:lnTo>
                    <a:lnTo>
                      <a:pt x="10" y="186"/>
                    </a:lnTo>
                    <a:lnTo>
                      <a:pt x="13" y="188"/>
                    </a:lnTo>
                    <a:lnTo>
                      <a:pt x="13" y="186"/>
                    </a:lnTo>
                    <a:lnTo>
                      <a:pt x="14" y="185"/>
                    </a:lnTo>
                    <a:lnTo>
                      <a:pt x="19" y="182"/>
                    </a:lnTo>
                    <a:lnTo>
                      <a:pt x="21" y="182"/>
                    </a:lnTo>
                    <a:lnTo>
                      <a:pt x="23" y="182"/>
                    </a:lnTo>
                    <a:lnTo>
                      <a:pt x="24" y="183"/>
                    </a:lnTo>
                    <a:lnTo>
                      <a:pt x="24" y="182"/>
                    </a:lnTo>
                    <a:lnTo>
                      <a:pt x="26" y="182"/>
                    </a:lnTo>
                    <a:lnTo>
                      <a:pt x="28" y="183"/>
                    </a:lnTo>
                    <a:lnTo>
                      <a:pt x="28" y="183"/>
                    </a:lnTo>
                    <a:lnTo>
                      <a:pt x="31" y="185"/>
                    </a:lnTo>
                    <a:lnTo>
                      <a:pt x="29" y="186"/>
                    </a:lnTo>
                    <a:lnTo>
                      <a:pt x="31" y="186"/>
                    </a:lnTo>
                    <a:lnTo>
                      <a:pt x="34" y="190"/>
                    </a:lnTo>
                    <a:lnTo>
                      <a:pt x="37" y="191"/>
                    </a:lnTo>
                    <a:lnTo>
                      <a:pt x="41" y="190"/>
                    </a:lnTo>
                    <a:lnTo>
                      <a:pt x="41" y="190"/>
                    </a:lnTo>
                    <a:lnTo>
                      <a:pt x="44" y="188"/>
                    </a:lnTo>
                    <a:lnTo>
                      <a:pt x="46" y="188"/>
                    </a:lnTo>
                    <a:lnTo>
                      <a:pt x="46" y="188"/>
                    </a:lnTo>
                    <a:lnTo>
                      <a:pt x="104" y="188"/>
                    </a:lnTo>
                    <a:lnTo>
                      <a:pt x="106" y="190"/>
                    </a:lnTo>
                    <a:lnTo>
                      <a:pt x="108" y="193"/>
                    </a:lnTo>
                    <a:lnTo>
                      <a:pt x="109" y="193"/>
                    </a:lnTo>
                    <a:lnTo>
                      <a:pt x="112" y="195"/>
                    </a:lnTo>
                    <a:lnTo>
                      <a:pt x="116" y="196"/>
                    </a:lnTo>
                    <a:lnTo>
                      <a:pt x="117" y="195"/>
                    </a:lnTo>
                    <a:lnTo>
                      <a:pt x="119" y="196"/>
                    </a:lnTo>
                    <a:lnTo>
                      <a:pt x="121" y="196"/>
                    </a:lnTo>
                    <a:lnTo>
                      <a:pt x="122" y="198"/>
                    </a:lnTo>
                    <a:lnTo>
                      <a:pt x="124" y="196"/>
                    </a:lnTo>
                    <a:lnTo>
                      <a:pt x="127" y="196"/>
                    </a:lnTo>
                    <a:lnTo>
                      <a:pt x="130" y="196"/>
                    </a:lnTo>
                    <a:lnTo>
                      <a:pt x="134" y="196"/>
                    </a:lnTo>
                    <a:lnTo>
                      <a:pt x="134" y="195"/>
                    </a:lnTo>
                    <a:lnTo>
                      <a:pt x="134" y="195"/>
                    </a:lnTo>
                    <a:lnTo>
                      <a:pt x="137" y="195"/>
                    </a:lnTo>
                    <a:lnTo>
                      <a:pt x="140" y="198"/>
                    </a:lnTo>
                    <a:lnTo>
                      <a:pt x="142" y="199"/>
                    </a:lnTo>
                    <a:lnTo>
                      <a:pt x="145" y="199"/>
                    </a:lnTo>
                    <a:lnTo>
                      <a:pt x="147" y="199"/>
                    </a:lnTo>
                    <a:lnTo>
                      <a:pt x="147" y="198"/>
                    </a:lnTo>
                    <a:lnTo>
                      <a:pt x="148" y="198"/>
                    </a:lnTo>
                    <a:lnTo>
                      <a:pt x="150" y="198"/>
                    </a:lnTo>
                    <a:lnTo>
                      <a:pt x="152" y="199"/>
                    </a:lnTo>
                    <a:lnTo>
                      <a:pt x="153" y="198"/>
                    </a:lnTo>
                    <a:lnTo>
                      <a:pt x="153" y="199"/>
                    </a:lnTo>
                    <a:lnTo>
                      <a:pt x="155" y="199"/>
                    </a:lnTo>
                    <a:lnTo>
                      <a:pt x="155" y="199"/>
                    </a:lnTo>
                    <a:lnTo>
                      <a:pt x="157" y="199"/>
                    </a:lnTo>
                    <a:lnTo>
                      <a:pt x="158" y="199"/>
                    </a:lnTo>
                    <a:lnTo>
                      <a:pt x="160" y="199"/>
                    </a:lnTo>
                    <a:lnTo>
                      <a:pt x="184" y="19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0" name="Freeform 293">
                <a:extLst>
                  <a:ext uri="{FF2B5EF4-FFF2-40B4-BE49-F238E27FC236}">
                    <a16:creationId xmlns:a16="http://schemas.microsoft.com/office/drawing/2014/main" xmlns="" id="{FBF1E7CA-A248-4F9C-8D8E-D330F680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" y="2314"/>
                <a:ext cx="126" cy="116"/>
              </a:xfrm>
              <a:custGeom>
                <a:avLst/>
                <a:gdLst>
                  <a:gd name="T0" fmla="*/ 7 w 126"/>
                  <a:gd name="T1" fmla="*/ 37 h 116"/>
                  <a:gd name="T2" fmla="*/ 12 w 126"/>
                  <a:gd name="T3" fmla="*/ 39 h 116"/>
                  <a:gd name="T4" fmla="*/ 20 w 126"/>
                  <a:gd name="T5" fmla="*/ 37 h 116"/>
                  <a:gd name="T6" fmla="*/ 23 w 126"/>
                  <a:gd name="T7" fmla="*/ 39 h 116"/>
                  <a:gd name="T8" fmla="*/ 31 w 126"/>
                  <a:gd name="T9" fmla="*/ 39 h 116"/>
                  <a:gd name="T10" fmla="*/ 54 w 126"/>
                  <a:gd name="T11" fmla="*/ 18 h 116"/>
                  <a:gd name="T12" fmla="*/ 61 w 126"/>
                  <a:gd name="T13" fmla="*/ 13 h 116"/>
                  <a:gd name="T14" fmla="*/ 61 w 126"/>
                  <a:gd name="T15" fmla="*/ 8 h 116"/>
                  <a:gd name="T16" fmla="*/ 69 w 126"/>
                  <a:gd name="T17" fmla="*/ 3 h 116"/>
                  <a:gd name="T18" fmla="*/ 78 w 126"/>
                  <a:gd name="T19" fmla="*/ 0 h 116"/>
                  <a:gd name="T20" fmla="*/ 83 w 126"/>
                  <a:gd name="T21" fmla="*/ 1 h 116"/>
                  <a:gd name="T22" fmla="*/ 87 w 126"/>
                  <a:gd name="T23" fmla="*/ 8 h 116"/>
                  <a:gd name="T24" fmla="*/ 95 w 126"/>
                  <a:gd name="T25" fmla="*/ 9 h 116"/>
                  <a:gd name="T26" fmla="*/ 101 w 126"/>
                  <a:gd name="T27" fmla="*/ 8 h 116"/>
                  <a:gd name="T28" fmla="*/ 111 w 126"/>
                  <a:gd name="T29" fmla="*/ 16 h 116"/>
                  <a:gd name="T30" fmla="*/ 121 w 126"/>
                  <a:gd name="T31" fmla="*/ 21 h 116"/>
                  <a:gd name="T32" fmla="*/ 124 w 126"/>
                  <a:gd name="T33" fmla="*/ 26 h 116"/>
                  <a:gd name="T34" fmla="*/ 124 w 126"/>
                  <a:gd name="T35" fmla="*/ 32 h 116"/>
                  <a:gd name="T36" fmla="*/ 123 w 126"/>
                  <a:gd name="T37" fmla="*/ 42 h 116"/>
                  <a:gd name="T38" fmla="*/ 124 w 126"/>
                  <a:gd name="T39" fmla="*/ 45 h 116"/>
                  <a:gd name="T40" fmla="*/ 121 w 126"/>
                  <a:gd name="T41" fmla="*/ 52 h 116"/>
                  <a:gd name="T42" fmla="*/ 119 w 126"/>
                  <a:gd name="T43" fmla="*/ 58 h 116"/>
                  <a:gd name="T44" fmla="*/ 121 w 126"/>
                  <a:gd name="T45" fmla="*/ 65 h 116"/>
                  <a:gd name="T46" fmla="*/ 123 w 126"/>
                  <a:gd name="T47" fmla="*/ 72 h 116"/>
                  <a:gd name="T48" fmla="*/ 116 w 126"/>
                  <a:gd name="T49" fmla="*/ 78 h 116"/>
                  <a:gd name="T50" fmla="*/ 114 w 126"/>
                  <a:gd name="T51" fmla="*/ 85 h 116"/>
                  <a:gd name="T52" fmla="*/ 113 w 126"/>
                  <a:gd name="T53" fmla="*/ 93 h 116"/>
                  <a:gd name="T54" fmla="*/ 93 w 126"/>
                  <a:gd name="T55" fmla="*/ 114 h 116"/>
                  <a:gd name="T56" fmla="*/ 80 w 126"/>
                  <a:gd name="T57" fmla="*/ 114 h 116"/>
                  <a:gd name="T58" fmla="*/ 74 w 126"/>
                  <a:gd name="T59" fmla="*/ 112 h 116"/>
                  <a:gd name="T60" fmla="*/ 64 w 126"/>
                  <a:gd name="T61" fmla="*/ 109 h 116"/>
                  <a:gd name="T62" fmla="*/ 61 w 126"/>
                  <a:gd name="T63" fmla="*/ 104 h 116"/>
                  <a:gd name="T64" fmla="*/ 54 w 126"/>
                  <a:gd name="T65" fmla="*/ 101 h 116"/>
                  <a:gd name="T66" fmla="*/ 47 w 126"/>
                  <a:gd name="T67" fmla="*/ 101 h 116"/>
                  <a:gd name="T68" fmla="*/ 39 w 126"/>
                  <a:gd name="T69" fmla="*/ 94 h 116"/>
                  <a:gd name="T70" fmla="*/ 36 w 126"/>
                  <a:gd name="T71" fmla="*/ 86 h 116"/>
                  <a:gd name="T72" fmla="*/ 33 w 126"/>
                  <a:gd name="T73" fmla="*/ 81 h 116"/>
                  <a:gd name="T74" fmla="*/ 31 w 126"/>
                  <a:gd name="T75" fmla="*/ 78 h 116"/>
                  <a:gd name="T76" fmla="*/ 25 w 126"/>
                  <a:gd name="T77" fmla="*/ 73 h 116"/>
                  <a:gd name="T78" fmla="*/ 16 w 126"/>
                  <a:gd name="T79" fmla="*/ 62 h 116"/>
                  <a:gd name="T80" fmla="*/ 13 w 126"/>
                  <a:gd name="T81" fmla="*/ 57 h 116"/>
                  <a:gd name="T82" fmla="*/ 10 w 126"/>
                  <a:gd name="T83" fmla="*/ 50 h 116"/>
                  <a:gd name="T84" fmla="*/ 7 w 126"/>
                  <a:gd name="T85" fmla="*/ 47 h 116"/>
                  <a:gd name="T86" fmla="*/ 2 w 126"/>
                  <a:gd name="T87" fmla="*/ 42 h 116"/>
                  <a:gd name="T88" fmla="*/ 2 w 126"/>
                  <a:gd name="T89" fmla="*/ 37 h 116"/>
                  <a:gd name="T90" fmla="*/ 0 w 126"/>
                  <a:gd name="T91" fmla="*/ 3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116">
                    <a:moveTo>
                      <a:pt x="0" y="36"/>
                    </a:moveTo>
                    <a:lnTo>
                      <a:pt x="2" y="36"/>
                    </a:lnTo>
                    <a:lnTo>
                      <a:pt x="7" y="37"/>
                    </a:lnTo>
                    <a:lnTo>
                      <a:pt x="10" y="39"/>
                    </a:lnTo>
                    <a:lnTo>
                      <a:pt x="10" y="39"/>
                    </a:lnTo>
                    <a:lnTo>
                      <a:pt x="12" y="39"/>
                    </a:lnTo>
                    <a:lnTo>
                      <a:pt x="15" y="37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1" y="39"/>
                    </a:lnTo>
                    <a:lnTo>
                      <a:pt x="23" y="39"/>
                    </a:lnTo>
                    <a:lnTo>
                      <a:pt x="25" y="40"/>
                    </a:lnTo>
                    <a:lnTo>
                      <a:pt x="28" y="40"/>
                    </a:lnTo>
                    <a:lnTo>
                      <a:pt x="31" y="39"/>
                    </a:lnTo>
                    <a:lnTo>
                      <a:pt x="36" y="32"/>
                    </a:lnTo>
                    <a:lnTo>
                      <a:pt x="44" y="23"/>
                    </a:lnTo>
                    <a:lnTo>
                      <a:pt x="54" y="18"/>
                    </a:lnTo>
                    <a:lnTo>
                      <a:pt x="59" y="14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61" y="8"/>
                    </a:lnTo>
                    <a:lnTo>
                      <a:pt x="62" y="6"/>
                    </a:lnTo>
                    <a:lnTo>
                      <a:pt x="65" y="3"/>
                    </a:lnTo>
                    <a:lnTo>
                      <a:pt x="69" y="3"/>
                    </a:lnTo>
                    <a:lnTo>
                      <a:pt x="70" y="1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1"/>
                    </a:lnTo>
                    <a:lnTo>
                      <a:pt x="80" y="1"/>
                    </a:lnTo>
                    <a:lnTo>
                      <a:pt x="83" y="1"/>
                    </a:lnTo>
                    <a:lnTo>
                      <a:pt x="85" y="1"/>
                    </a:lnTo>
                    <a:lnTo>
                      <a:pt x="85" y="1"/>
                    </a:lnTo>
                    <a:lnTo>
                      <a:pt x="87" y="8"/>
                    </a:lnTo>
                    <a:lnTo>
                      <a:pt x="92" y="8"/>
                    </a:lnTo>
                    <a:lnTo>
                      <a:pt x="93" y="8"/>
                    </a:lnTo>
                    <a:lnTo>
                      <a:pt x="95" y="9"/>
                    </a:lnTo>
                    <a:lnTo>
                      <a:pt x="96" y="9"/>
                    </a:lnTo>
                    <a:lnTo>
                      <a:pt x="98" y="8"/>
                    </a:lnTo>
                    <a:lnTo>
                      <a:pt x="101" y="8"/>
                    </a:lnTo>
                    <a:lnTo>
                      <a:pt x="106" y="11"/>
                    </a:lnTo>
                    <a:lnTo>
                      <a:pt x="110" y="14"/>
                    </a:lnTo>
                    <a:lnTo>
                      <a:pt x="111" y="16"/>
                    </a:lnTo>
                    <a:lnTo>
                      <a:pt x="116" y="16"/>
                    </a:lnTo>
                    <a:lnTo>
                      <a:pt x="119" y="18"/>
                    </a:lnTo>
                    <a:lnTo>
                      <a:pt x="121" y="21"/>
                    </a:lnTo>
                    <a:lnTo>
                      <a:pt x="124" y="21"/>
                    </a:lnTo>
                    <a:lnTo>
                      <a:pt x="126" y="23"/>
                    </a:lnTo>
                    <a:lnTo>
                      <a:pt x="124" y="26"/>
                    </a:lnTo>
                    <a:lnTo>
                      <a:pt x="124" y="27"/>
                    </a:lnTo>
                    <a:lnTo>
                      <a:pt x="124" y="31"/>
                    </a:lnTo>
                    <a:lnTo>
                      <a:pt x="124" y="32"/>
                    </a:lnTo>
                    <a:lnTo>
                      <a:pt x="124" y="34"/>
                    </a:lnTo>
                    <a:lnTo>
                      <a:pt x="123" y="37"/>
                    </a:lnTo>
                    <a:lnTo>
                      <a:pt x="123" y="42"/>
                    </a:lnTo>
                    <a:lnTo>
                      <a:pt x="121" y="44"/>
                    </a:lnTo>
                    <a:lnTo>
                      <a:pt x="123" y="45"/>
                    </a:lnTo>
                    <a:lnTo>
                      <a:pt x="124" y="45"/>
                    </a:lnTo>
                    <a:lnTo>
                      <a:pt x="123" y="49"/>
                    </a:lnTo>
                    <a:lnTo>
                      <a:pt x="121" y="50"/>
                    </a:lnTo>
                    <a:lnTo>
                      <a:pt x="121" y="52"/>
                    </a:lnTo>
                    <a:lnTo>
                      <a:pt x="121" y="55"/>
                    </a:lnTo>
                    <a:lnTo>
                      <a:pt x="119" y="57"/>
                    </a:lnTo>
                    <a:lnTo>
                      <a:pt x="119" y="58"/>
                    </a:lnTo>
                    <a:lnTo>
                      <a:pt x="121" y="60"/>
                    </a:lnTo>
                    <a:lnTo>
                      <a:pt x="123" y="63"/>
                    </a:lnTo>
                    <a:lnTo>
                      <a:pt x="121" y="65"/>
                    </a:lnTo>
                    <a:lnTo>
                      <a:pt x="121" y="68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1" y="75"/>
                    </a:lnTo>
                    <a:lnTo>
                      <a:pt x="118" y="76"/>
                    </a:lnTo>
                    <a:lnTo>
                      <a:pt x="116" y="78"/>
                    </a:lnTo>
                    <a:lnTo>
                      <a:pt x="114" y="80"/>
                    </a:lnTo>
                    <a:lnTo>
                      <a:pt x="114" y="81"/>
                    </a:lnTo>
                    <a:lnTo>
                      <a:pt x="114" y="85"/>
                    </a:lnTo>
                    <a:lnTo>
                      <a:pt x="114" y="86"/>
                    </a:lnTo>
                    <a:lnTo>
                      <a:pt x="114" y="91"/>
                    </a:lnTo>
                    <a:lnTo>
                      <a:pt x="113" y="93"/>
                    </a:lnTo>
                    <a:lnTo>
                      <a:pt x="113" y="98"/>
                    </a:lnTo>
                    <a:lnTo>
                      <a:pt x="95" y="116"/>
                    </a:lnTo>
                    <a:lnTo>
                      <a:pt x="93" y="114"/>
                    </a:lnTo>
                    <a:lnTo>
                      <a:pt x="87" y="112"/>
                    </a:lnTo>
                    <a:lnTo>
                      <a:pt x="83" y="114"/>
                    </a:lnTo>
                    <a:lnTo>
                      <a:pt x="80" y="114"/>
                    </a:lnTo>
                    <a:lnTo>
                      <a:pt x="80" y="112"/>
                    </a:lnTo>
                    <a:lnTo>
                      <a:pt x="77" y="111"/>
                    </a:lnTo>
                    <a:lnTo>
                      <a:pt x="74" y="112"/>
                    </a:lnTo>
                    <a:lnTo>
                      <a:pt x="72" y="109"/>
                    </a:lnTo>
                    <a:lnTo>
                      <a:pt x="69" y="109"/>
                    </a:lnTo>
                    <a:lnTo>
                      <a:pt x="64" y="109"/>
                    </a:lnTo>
                    <a:lnTo>
                      <a:pt x="62" y="107"/>
                    </a:lnTo>
                    <a:lnTo>
                      <a:pt x="61" y="106"/>
                    </a:lnTo>
                    <a:lnTo>
                      <a:pt x="61" y="104"/>
                    </a:lnTo>
                    <a:lnTo>
                      <a:pt x="61" y="104"/>
                    </a:lnTo>
                    <a:lnTo>
                      <a:pt x="57" y="104"/>
                    </a:lnTo>
                    <a:lnTo>
                      <a:pt x="54" y="101"/>
                    </a:lnTo>
                    <a:lnTo>
                      <a:pt x="52" y="101"/>
                    </a:lnTo>
                    <a:lnTo>
                      <a:pt x="49" y="99"/>
                    </a:lnTo>
                    <a:lnTo>
                      <a:pt x="47" y="101"/>
                    </a:lnTo>
                    <a:lnTo>
                      <a:pt x="43" y="99"/>
                    </a:lnTo>
                    <a:lnTo>
                      <a:pt x="41" y="98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38" y="90"/>
                    </a:lnTo>
                    <a:lnTo>
                      <a:pt x="36" y="86"/>
                    </a:lnTo>
                    <a:lnTo>
                      <a:pt x="38" y="85"/>
                    </a:lnTo>
                    <a:lnTo>
                      <a:pt x="34" y="81"/>
                    </a:lnTo>
                    <a:lnTo>
                      <a:pt x="33" y="81"/>
                    </a:lnTo>
                    <a:lnTo>
                      <a:pt x="31" y="80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29" y="76"/>
                    </a:lnTo>
                    <a:lnTo>
                      <a:pt x="28" y="75"/>
                    </a:lnTo>
                    <a:lnTo>
                      <a:pt x="25" y="73"/>
                    </a:lnTo>
                    <a:lnTo>
                      <a:pt x="23" y="70"/>
                    </a:lnTo>
                    <a:lnTo>
                      <a:pt x="18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5" y="60"/>
                    </a:lnTo>
                    <a:lnTo>
                      <a:pt x="13" y="57"/>
                    </a:lnTo>
                    <a:lnTo>
                      <a:pt x="12" y="55"/>
                    </a:lnTo>
                    <a:lnTo>
                      <a:pt x="12" y="54"/>
                    </a:lnTo>
                    <a:lnTo>
                      <a:pt x="10" y="50"/>
                    </a:lnTo>
                    <a:lnTo>
                      <a:pt x="8" y="50"/>
                    </a:lnTo>
                    <a:lnTo>
                      <a:pt x="8" y="49"/>
                    </a:lnTo>
                    <a:lnTo>
                      <a:pt x="7" y="47"/>
                    </a:lnTo>
                    <a:lnTo>
                      <a:pt x="5" y="45"/>
                    </a:lnTo>
                    <a:lnTo>
                      <a:pt x="3" y="44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1" name="Freeform 294">
                <a:extLst>
                  <a:ext uri="{FF2B5EF4-FFF2-40B4-BE49-F238E27FC236}">
                    <a16:creationId xmlns:a16="http://schemas.microsoft.com/office/drawing/2014/main" xmlns="" id="{755E87F0-CE43-4E0E-BBF0-C21910D86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6" y="2350"/>
                <a:ext cx="149" cy="152"/>
              </a:xfrm>
              <a:custGeom>
                <a:avLst/>
                <a:gdLst>
                  <a:gd name="T0" fmla="*/ 87 w 149"/>
                  <a:gd name="T1" fmla="*/ 3 h 152"/>
                  <a:gd name="T2" fmla="*/ 88 w 149"/>
                  <a:gd name="T3" fmla="*/ 8 h 152"/>
                  <a:gd name="T4" fmla="*/ 93 w 149"/>
                  <a:gd name="T5" fmla="*/ 13 h 152"/>
                  <a:gd name="T6" fmla="*/ 97 w 149"/>
                  <a:gd name="T7" fmla="*/ 18 h 152"/>
                  <a:gd name="T8" fmla="*/ 100 w 149"/>
                  <a:gd name="T9" fmla="*/ 24 h 152"/>
                  <a:gd name="T10" fmla="*/ 103 w 149"/>
                  <a:gd name="T11" fmla="*/ 27 h 152"/>
                  <a:gd name="T12" fmla="*/ 113 w 149"/>
                  <a:gd name="T13" fmla="*/ 39 h 152"/>
                  <a:gd name="T14" fmla="*/ 116 w 149"/>
                  <a:gd name="T15" fmla="*/ 42 h 152"/>
                  <a:gd name="T16" fmla="*/ 119 w 149"/>
                  <a:gd name="T17" fmla="*/ 45 h 152"/>
                  <a:gd name="T18" fmla="*/ 123 w 149"/>
                  <a:gd name="T19" fmla="*/ 54 h 152"/>
                  <a:gd name="T20" fmla="*/ 126 w 149"/>
                  <a:gd name="T21" fmla="*/ 62 h 152"/>
                  <a:gd name="T22" fmla="*/ 134 w 149"/>
                  <a:gd name="T23" fmla="*/ 63 h 152"/>
                  <a:gd name="T24" fmla="*/ 142 w 149"/>
                  <a:gd name="T25" fmla="*/ 68 h 152"/>
                  <a:gd name="T26" fmla="*/ 146 w 149"/>
                  <a:gd name="T27" fmla="*/ 70 h 152"/>
                  <a:gd name="T28" fmla="*/ 147 w 149"/>
                  <a:gd name="T29" fmla="*/ 73 h 152"/>
                  <a:gd name="T30" fmla="*/ 141 w 149"/>
                  <a:gd name="T31" fmla="*/ 76 h 152"/>
                  <a:gd name="T32" fmla="*/ 137 w 149"/>
                  <a:gd name="T33" fmla="*/ 81 h 152"/>
                  <a:gd name="T34" fmla="*/ 132 w 149"/>
                  <a:gd name="T35" fmla="*/ 85 h 152"/>
                  <a:gd name="T36" fmla="*/ 124 w 149"/>
                  <a:gd name="T37" fmla="*/ 86 h 152"/>
                  <a:gd name="T38" fmla="*/ 119 w 149"/>
                  <a:gd name="T39" fmla="*/ 91 h 152"/>
                  <a:gd name="T40" fmla="*/ 114 w 149"/>
                  <a:gd name="T41" fmla="*/ 94 h 152"/>
                  <a:gd name="T42" fmla="*/ 108 w 149"/>
                  <a:gd name="T43" fmla="*/ 104 h 152"/>
                  <a:gd name="T44" fmla="*/ 106 w 149"/>
                  <a:gd name="T45" fmla="*/ 109 h 152"/>
                  <a:gd name="T46" fmla="*/ 101 w 149"/>
                  <a:gd name="T47" fmla="*/ 112 h 152"/>
                  <a:gd name="T48" fmla="*/ 98 w 149"/>
                  <a:gd name="T49" fmla="*/ 117 h 152"/>
                  <a:gd name="T50" fmla="*/ 92 w 149"/>
                  <a:gd name="T51" fmla="*/ 119 h 152"/>
                  <a:gd name="T52" fmla="*/ 88 w 149"/>
                  <a:gd name="T53" fmla="*/ 127 h 152"/>
                  <a:gd name="T54" fmla="*/ 88 w 149"/>
                  <a:gd name="T55" fmla="*/ 134 h 152"/>
                  <a:gd name="T56" fmla="*/ 82 w 149"/>
                  <a:gd name="T57" fmla="*/ 134 h 152"/>
                  <a:gd name="T58" fmla="*/ 72 w 149"/>
                  <a:gd name="T59" fmla="*/ 135 h 152"/>
                  <a:gd name="T60" fmla="*/ 61 w 149"/>
                  <a:gd name="T61" fmla="*/ 132 h 152"/>
                  <a:gd name="T62" fmla="*/ 52 w 149"/>
                  <a:gd name="T63" fmla="*/ 129 h 152"/>
                  <a:gd name="T64" fmla="*/ 43 w 149"/>
                  <a:gd name="T65" fmla="*/ 138 h 152"/>
                  <a:gd name="T66" fmla="*/ 33 w 149"/>
                  <a:gd name="T67" fmla="*/ 147 h 152"/>
                  <a:gd name="T68" fmla="*/ 23 w 149"/>
                  <a:gd name="T69" fmla="*/ 152 h 152"/>
                  <a:gd name="T70" fmla="*/ 13 w 149"/>
                  <a:gd name="T71" fmla="*/ 152 h 152"/>
                  <a:gd name="T72" fmla="*/ 12 w 149"/>
                  <a:gd name="T73" fmla="*/ 143 h 152"/>
                  <a:gd name="T74" fmla="*/ 5 w 149"/>
                  <a:gd name="T75" fmla="*/ 125 h 152"/>
                  <a:gd name="T76" fmla="*/ 0 w 149"/>
                  <a:gd name="T77" fmla="*/ 122 h 152"/>
                  <a:gd name="T78" fmla="*/ 18 w 149"/>
                  <a:gd name="T79" fmla="*/ 70 h 152"/>
                  <a:gd name="T80" fmla="*/ 48 w 149"/>
                  <a:gd name="T81" fmla="*/ 8 h 152"/>
                  <a:gd name="T82" fmla="*/ 54 w 149"/>
                  <a:gd name="T83" fmla="*/ 6 h 152"/>
                  <a:gd name="T84" fmla="*/ 57 w 149"/>
                  <a:gd name="T85" fmla="*/ 11 h 152"/>
                  <a:gd name="T86" fmla="*/ 57 w 149"/>
                  <a:gd name="T87" fmla="*/ 14 h 152"/>
                  <a:gd name="T88" fmla="*/ 69 w 149"/>
                  <a:gd name="T89" fmla="*/ 3 h 152"/>
                  <a:gd name="T90" fmla="*/ 75 w 149"/>
                  <a:gd name="T91" fmla="*/ 4 h 152"/>
                  <a:gd name="T92" fmla="*/ 85 w 149"/>
                  <a:gd name="T93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9" h="152">
                    <a:moveTo>
                      <a:pt x="87" y="0"/>
                    </a:moveTo>
                    <a:lnTo>
                      <a:pt x="87" y="1"/>
                    </a:lnTo>
                    <a:lnTo>
                      <a:pt x="87" y="3"/>
                    </a:lnTo>
                    <a:lnTo>
                      <a:pt x="87" y="4"/>
                    </a:lnTo>
                    <a:lnTo>
                      <a:pt x="87" y="6"/>
                    </a:lnTo>
                    <a:lnTo>
                      <a:pt x="88" y="8"/>
                    </a:lnTo>
                    <a:lnTo>
                      <a:pt x="90" y="9"/>
                    </a:lnTo>
                    <a:lnTo>
                      <a:pt x="92" y="11"/>
                    </a:lnTo>
                    <a:lnTo>
                      <a:pt x="93" y="13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7" y="18"/>
                    </a:lnTo>
                    <a:lnTo>
                      <a:pt x="97" y="19"/>
                    </a:lnTo>
                    <a:lnTo>
                      <a:pt x="98" y="21"/>
                    </a:lnTo>
                    <a:lnTo>
                      <a:pt x="100" y="24"/>
                    </a:lnTo>
                    <a:lnTo>
                      <a:pt x="101" y="26"/>
                    </a:lnTo>
                    <a:lnTo>
                      <a:pt x="101" y="26"/>
                    </a:lnTo>
                    <a:lnTo>
                      <a:pt x="103" y="27"/>
                    </a:lnTo>
                    <a:lnTo>
                      <a:pt x="108" y="34"/>
                    </a:lnTo>
                    <a:lnTo>
                      <a:pt x="110" y="37"/>
                    </a:lnTo>
                    <a:lnTo>
                      <a:pt x="113" y="39"/>
                    </a:lnTo>
                    <a:lnTo>
                      <a:pt x="114" y="40"/>
                    </a:lnTo>
                    <a:lnTo>
                      <a:pt x="116" y="42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5"/>
                    </a:lnTo>
                    <a:lnTo>
                      <a:pt x="119" y="45"/>
                    </a:lnTo>
                    <a:lnTo>
                      <a:pt x="123" y="49"/>
                    </a:lnTo>
                    <a:lnTo>
                      <a:pt x="121" y="50"/>
                    </a:lnTo>
                    <a:lnTo>
                      <a:pt x="123" y="54"/>
                    </a:lnTo>
                    <a:lnTo>
                      <a:pt x="123" y="57"/>
                    </a:lnTo>
                    <a:lnTo>
                      <a:pt x="124" y="58"/>
                    </a:lnTo>
                    <a:lnTo>
                      <a:pt x="126" y="62"/>
                    </a:lnTo>
                    <a:lnTo>
                      <a:pt x="128" y="63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37" y="65"/>
                    </a:lnTo>
                    <a:lnTo>
                      <a:pt x="139" y="65"/>
                    </a:lnTo>
                    <a:lnTo>
                      <a:pt x="142" y="68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6" y="70"/>
                    </a:lnTo>
                    <a:lnTo>
                      <a:pt x="147" y="71"/>
                    </a:lnTo>
                    <a:lnTo>
                      <a:pt x="149" y="73"/>
                    </a:lnTo>
                    <a:lnTo>
                      <a:pt x="147" y="73"/>
                    </a:lnTo>
                    <a:lnTo>
                      <a:pt x="146" y="75"/>
                    </a:lnTo>
                    <a:lnTo>
                      <a:pt x="142" y="75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41" y="81"/>
                    </a:lnTo>
                    <a:lnTo>
                      <a:pt x="137" y="81"/>
                    </a:lnTo>
                    <a:lnTo>
                      <a:pt x="136" y="83"/>
                    </a:lnTo>
                    <a:lnTo>
                      <a:pt x="134" y="83"/>
                    </a:lnTo>
                    <a:lnTo>
                      <a:pt x="132" y="85"/>
                    </a:lnTo>
                    <a:lnTo>
                      <a:pt x="131" y="83"/>
                    </a:lnTo>
                    <a:lnTo>
                      <a:pt x="128" y="83"/>
                    </a:lnTo>
                    <a:lnTo>
                      <a:pt x="124" y="86"/>
                    </a:lnTo>
                    <a:lnTo>
                      <a:pt x="123" y="88"/>
                    </a:lnTo>
                    <a:lnTo>
                      <a:pt x="121" y="89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6" y="93"/>
                    </a:lnTo>
                    <a:lnTo>
                      <a:pt x="114" y="94"/>
                    </a:lnTo>
                    <a:lnTo>
                      <a:pt x="113" y="94"/>
                    </a:lnTo>
                    <a:lnTo>
                      <a:pt x="108" y="101"/>
                    </a:lnTo>
                    <a:lnTo>
                      <a:pt x="108" y="104"/>
                    </a:lnTo>
                    <a:lnTo>
                      <a:pt x="108" y="106"/>
                    </a:lnTo>
                    <a:lnTo>
                      <a:pt x="108" y="109"/>
                    </a:lnTo>
                    <a:lnTo>
                      <a:pt x="106" y="109"/>
                    </a:lnTo>
                    <a:lnTo>
                      <a:pt x="105" y="111"/>
                    </a:lnTo>
                    <a:lnTo>
                      <a:pt x="103" y="111"/>
                    </a:lnTo>
                    <a:lnTo>
                      <a:pt x="101" y="112"/>
                    </a:lnTo>
                    <a:lnTo>
                      <a:pt x="101" y="114"/>
                    </a:lnTo>
                    <a:lnTo>
                      <a:pt x="100" y="116"/>
                    </a:lnTo>
                    <a:lnTo>
                      <a:pt x="98" y="117"/>
                    </a:lnTo>
                    <a:lnTo>
                      <a:pt x="97" y="117"/>
                    </a:lnTo>
                    <a:lnTo>
                      <a:pt x="95" y="119"/>
                    </a:lnTo>
                    <a:lnTo>
                      <a:pt x="92" y="119"/>
                    </a:lnTo>
                    <a:lnTo>
                      <a:pt x="90" y="122"/>
                    </a:lnTo>
                    <a:lnTo>
                      <a:pt x="90" y="125"/>
                    </a:lnTo>
                    <a:lnTo>
                      <a:pt x="88" y="127"/>
                    </a:lnTo>
                    <a:lnTo>
                      <a:pt x="88" y="130"/>
                    </a:lnTo>
                    <a:lnTo>
                      <a:pt x="88" y="132"/>
                    </a:lnTo>
                    <a:lnTo>
                      <a:pt x="88" y="134"/>
                    </a:lnTo>
                    <a:lnTo>
                      <a:pt x="85" y="137"/>
                    </a:lnTo>
                    <a:lnTo>
                      <a:pt x="83" y="135"/>
                    </a:lnTo>
                    <a:lnTo>
                      <a:pt x="82" y="134"/>
                    </a:lnTo>
                    <a:lnTo>
                      <a:pt x="79" y="134"/>
                    </a:lnTo>
                    <a:lnTo>
                      <a:pt x="75" y="134"/>
                    </a:lnTo>
                    <a:lnTo>
                      <a:pt x="72" y="135"/>
                    </a:lnTo>
                    <a:lnTo>
                      <a:pt x="69" y="134"/>
                    </a:lnTo>
                    <a:lnTo>
                      <a:pt x="67" y="135"/>
                    </a:lnTo>
                    <a:lnTo>
                      <a:pt x="61" y="132"/>
                    </a:lnTo>
                    <a:lnTo>
                      <a:pt x="59" y="130"/>
                    </a:lnTo>
                    <a:lnTo>
                      <a:pt x="57" y="129"/>
                    </a:lnTo>
                    <a:lnTo>
                      <a:pt x="52" y="129"/>
                    </a:lnTo>
                    <a:lnTo>
                      <a:pt x="49" y="129"/>
                    </a:lnTo>
                    <a:lnTo>
                      <a:pt x="44" y="132"/>
                    </a:lnTo>
                    <a:lnTo>
                      <a:pt x="43" y="138"/>
                    </a:lnTo>
                    <a:lnTo>
                      <a:pt x="39" y="142"/>
                    </a:lnTo>
                    <a:lnTo>
                      <a:pt x="34" y="143"/>
                    </a:lnTo>
                    <a:lnTo>
                      <a:pt x="33" y="147"/>
                    </a:lnTo>
                    <a:lnTo>
                      <a:pt x="30" y="148"/>
                    </a:lnTo>
                    <a:lnTo>
                      <a:pt x="26" y="150"/>
                    </a:lnTo>
                    <a:lnTo>
                      <a:pt x="23" y="152"/>
                    </a:lnTo>
                    <a:lnTo>
                      <a:pt x="20" y="150"/>
                    </a:lnTo>
                    <a:lnTo>
                      <a:pt x="18" y="152"/>
                    </a:lnTo>
                    <a:lnTo>
                      <a:pt x="13" y="152"/>
                    </a:lnTo>
                    <a:lnTo>
                      <a:pt x="8" y="152"/>
                    </a:lnTo>
                    <a:lnTo>
                      <a:pt x="8" y="148"/>
                    </a:lnTo>
                    <a:lnTo>
                      <a:pt x="12" y="143"/>
                    </a:lnTo>
                    <a:lnTo>
                      <a:pt x="12" y="138"/>
                    </a:lnTo>
                    <a:lnTo>
                      <a:pt x="7" y="130"/>
                    </a:lnTo>
                    <a:lnTo>
                      <a:pt x="5" y="125"/>
                    </a:lnTo>
                    <a:lnTo>
                      <a:pt x="0" y="121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1"/>
                    </a:lnTo>
                    <a:lnTo>
                      <a:pt x="3" y="70"/>
                    </a:lnTo>
                    <a:lnTo>
                      <a:pt x="18" y="70"/>
                    </a:lnTo>
                    <a:lnTo>
                      <a:pt x="20" y="11"/>
                    </a:lnTo>
                    <a:lnTo>
                      <a:pt x="33" y="13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6" y="8"/>
                    </a:lnTo>
                    <a:lnTo>
                      <a:pt x="57" y="9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7" y="14"/>
                    </a:lnTo>
                    <a:lnTo>
                      <a:pt x="57" y="14"/>
                    </a:lnTo>
                    <a:lnTo>
                      <a:pt x="64" y="11"/>
                    </a:lnTo>
                    <a:lnTo>
                      <a:pt x="66" y="6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4" y="4"/>
                    </a:lnTo>
                    <a:lnTo>
                      <a:pt x="75" y="4"/>
                    </a:lnTo>
                    <a:lnTo>
                      <a:pt x="77" y="3"/>
                    </a:lnTo>
                    <a:lnTo>
                      <a:pt x="82" y="1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7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2" name="Freeform 295">
                <a:extLst>
                  <a:ext uri="{FF2B5EF4-FFF2-40B4-BE49-F238E27FC236}">
                    <a16:creationId xmlns:a16="http://schemas.microsoft.com/office/drawing/2014/main" xmlns="" id="{112DCEBE-70C5-44D2-96F7-A10E7B493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2337"/>
                <a:ext cx="212" cy="204"/>
              </a:xfrm>
              <a:custGeom>
                <a:avLst/>
                <a:gdLst>
                  <a:gd name="T0" fmla="*/ 130 w 212"/>
                  <a:gd name="T1" fmla="*/ 83 h 204"/>
                  <a:gd name="T2" fmla="*/ 160 w 212"/>
                  <a:gd name="T3" fmla="*/ 26 h 204"/>
                  <a:gd name="T4" fmla="*/ 181 w 212"/>
                  <a:gd name="T5" fmla="*/ 19 h 204"/>
                  <a:gd name="T6" fmla="*/ 184 w 212"/>
                  <a:gd name="T7" fmla="*/ 22 h 204"/>
                  <a:gd name="T8" fmla="*/ 184 w 212"/>
                  <a:gd name="T9" fmla="*/ 27 h 204"/>
                  <a:gd name="T10" fmla="*/ 193 w 212"/>
                  <a:gd name="T11" fmla="*/ 19 h 204"/>
                  <a:gd name="T12" fmla="*/ 201 w 212"/>
                  <a:gd name="T13" fmla="*/ 17 h 204"/>
                  <a:gd name="T14" fmla="*/ 209 w 212"/>
                  <a:gd name="T15" fmla="*/ 14 h 204"/>
                  <a:gd name="T16" fmla="*/ 210 w 212"/>
                  <a:gd name="T17" fmla="*/ 9 h 204"/>
                  <a:gd name="T18" fmla="*/ 206 w 212"/>
                  <a:gd name="T19" fmla="*/ 9 h 204"/>
                  <a:gd name="T20" fmla="*/ 201 w 212"/>
                  <a:gd name="T21" fmla="*/ 9 h 204"/>
                  <a:gd name="T22" fmla="*/ 158 w 212"/>
                  <a:gd name="T23" fmla="*/ 17 h 204"/>
                  <a:gd name="T24" fmla="*/ 155 w 212"/>
                  <a:gd name="T25" fmla="*/ 17 h 204"/>
                  <a:gd name="T26" fmla="*/ 152 w 212"/>
                  <a:gd name="T27" fmla="*/ 17 h 204"/>
                  <a:gd name="T28" fmla="*/ 147 w 212"/>
                  <a:gd name="T29" fmla="*/ 16 h 204"/>
                  <a:gd name="T30" fmla="*/ 142 w 212"/>
                  <a:gd name="T31" fmla="*/ 17 h 204"/>
                  <a:gd name="T32" fmla="*/ 134 w 212"/>
                  <a:gd name="T33" fmla="*/ 13 h 204"/>
                  <a:gd name="T34" fmla="*/ 130 w 212"/>
                  <a:gd name="T35" fmla="*/ 14 h 204"/>
                  <a:gd name="T36" fmla="*/ 122 w 212"/>
                  <a:gd name="T37" fmla="*/ 16 h 204"/>
                  <a:gd name="T38" fmla="*/ 117 w 212"/>
                  <a:gd name="T39" fmla="*/ 13 h 204"/>
                  <a:gd name="T40" fmla="*/ 109 w 212"/>
                  <a:gd name="T41" fmla="*/ 11 h 204"/>
                  <a:gd name="T42" fmla="*/ 104 w 212"/>
                  <a:gd name="T43" fmla="*/ 6 h 204"/>
                  <a:gd name="T44" fmla="*/ 44 w 212"/>
                  <a:gd name="T45" fmla="*/ 6 h 204"/>
                  <a:gd name="T46" fmla="*/ 37 w 212"/>
                  <a:gd name="T47" fmla="*/ 9 h 204"/>
                  <a:gd name="T48" fmla="*/ 29 w 212"/>
                  <a:gd name="T49" fmla="*/ 4 h 204"/>
                  <a:gd name="T50" fmla="*/ 28 w 212"/>
                  <a:gd name="T51" fmla="*/ 1 h 204"/>
                  <a:gd name="T52" fmla="*/ 24 w 212"/>
                  <a:gd name="T53" fmla="*/ 1 h 204"/>
                  <a:gd name="T54" fmla="*/ 19 w 212"/>
                  <a:gd name="T55" fmla="*/ 0 h 204"/>
                  <a:gd name="T56" fmla="*/ 13 w 212"/>
                  <a:gd name="T57" fmla="*/ 6 h 204"/>
                  <a:gd name="T58" fmla="*/ 5 w 212"/>
                  <a:gd name="T59" fmla="*/ 4 h 204"/>
                  <a:gd name="T60" fmla="*/ 3 w 212"/>
                  <a:gd name="T61" fmla="*/ 6 h 204"/>
                  <a:gd name="T62" fmla="*/ 1 w 212"/>
                  <a:gd name="T63" fmla="*/ 19 h 204"/>
                  <a:gd name="T64" fmla="*/ 23 w 212"/>
                  <a:gd name="T65" fmla="*/ 57 h 204"/>
                  <a:gd name="T66" fmla="*/ 32 w 212"/>
                  <a:gd name="T67" fmla="*/ 80 h 204"/>
                  <a:gd name="T68" fmla="*/ 39 w 212"/>
                  <a:gd name="T69" fmla="*/ 99 h 204"/>
                  <a:gd name="T70" fmla="*/ 46 w 212"/>
                  <a:gd name="T71" fmla="*/ 134 h 204"/>
                  <a:gd name="T72" fmla="*/ 44 w 212"/>
                  <a:gd name="T73" fmla="*/ 147 h 204"/>
                  <a:gd name="T74" fmla="*/ 50 w 212"/>
                  <a:gd name="T75" fmla="*/ 158 h 204"/>
                  <a:gd name="T76" fmla="*/ 49 w 212"/>
                  <a:gd name="T77" fmla="*/ 166 h 204"/>
                  <a:gd name="T78" fmla="*/ 55 w 212"/>
                  <a:gd name="T79" fmla="*/ 179 h 204"/>
                  <a:gd name="T80" fmla="*/ 63 w 212"/>
                  <a:gd name="T81" fmla="*/ 192 h 204"/>
                  <a:gd name="T82" fmla="*/ 75 w 212"/>
                  <a:gd name="T83" fmla="*/ 194 h 204"/>
                  <a:gd name="T84" fmla="*/ 75 w 212"/>
                  <a:gd name="T85" fmla="*/ 189 h 204"/>
                  <a:gd name="T86" fmla="*/ 85 w 212"/>
                  <a:gd name="T87" fmla="*/ 191 h 204"/>
                  <a:gd name="T88" fmla="*/ 90 w 212"/>
                  <a:gd name="T89" fmla="*/ 200 h 204"/>
                  <a:gd name="T90" fmla="*/ 98 w 212"/>
                  <a:gd name="T91" fmla="*/ 202 h 204"/>
                  <a:gd name="T92" fmla="*/ 104 w 212"/>
                  <a:gd name="T93" fmla="*/ 200 h 204"/>
                  <a:gd name="T94" fmla="*/ 109 w 212"/>
                  <a:gd name="T95" fmla="*/ 204 h 204"/>
                  <a:gd name="T96" fmla="*/ 112 w 212"/>
                  <a:gd name="T97" fmla="*/ 197 h 204"/>
                  <a:gd name="T98" fmla="*/ 124 w 212"/>
                  <a:gd name="T99" fmla="*/ 192 h 204"/>
                  <a:gd name="T100" fmla="*/ 127 w 212"/>
                  <a:gd name="T101" fmla="*/ 13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2" h="204">
                    <a:moveTo>
                      <a:pt x="127" y="135"/>
                    </a:moveTo>
                    <a:lnTo>
                      <a:pt x="127" y="134"/>
                    </a:lnTo>
                    <a:lnTo>
                      <a:pt x="130" y="83"/>
                    </a:lnTo>
                    <a:lnTo>
                      <a:pt x="145" y="83"/>
                    </a:lnTo>
                    <a:lnTo>
                      <a:pt x="147" y="24"/>
                    </a:lnTo>
                    <a:lnTo>
                      <a:pt x="160" y="26"/>
                    </a:lnTo>
                    <a:lnTo>
                      <a:pt x="175" y="21"/>
                    </a:lnTo>
                    <a:lnTo>
                      <a:pt x="179" y="21"/>
                    </a:lnTo>
                    <a:lnTo>
                      <a:pt x="181" y="19"/>
                    </a:lnTo>
                    <a:lnTo>
                      <a:pt x="181" y="19"/>
                    </a:lnTo>
                    <a:lnTo>
                      <a:pt x="183" y="21"/>
                    </a:lnTo>
                    <a:lnTo>
                      <a:pt x="184" y="22"/>
                    </a:lnTo>
                    <a:lnTo>
                      <a:pt x="184" y="24"/>
                    </a:lnTo>
                    <a:lnTo>
                      <a:pt x="184" y="24"/>
                    </a:lnTo>
                    <a:lnTo>
                      <a:pt x="184" y="27"/>
                    </a:lnTo>
                    <a:lnTo>
                      <a:pt x="184" y="27"/>
                    </a:lnTo>
                    <a:lnTo>
                      <a:pt x="191" y="24"/>
                    </a:lnTo>
                    <a:lnTo>
                      <a:pt x="193" y="19"/>
                    </a:lnTo>
                    <a:lnTo>
                      <a:pt x="196" y="16"/>
                    </a:lnTo>
                    <a:lnTo>
                      <a:pt x="199" y="16"/>
                    </a:lnTo>
                    <a:lnTo>
                      <a:pt x="201" y="17"/>
                    </a:lnTo>
                    <a:lnTo>
                      <a:pt x="202" y="17"/>
                    </a:lnTo>
                    <a:lnTo>
                      <a:pt x="204" y="16"/>
                    </a:lnTo>
                    <a:lnTo>
                      <a:pt x="209" y="14"/>
                    </a:lnTo>
                    <a:lnTo>
                      <a:pt x="212" y="13"/>
                    </a:lnTo>
                    <a:lnTo>
                      <a:pt x="210" y="11"/>
                    </a:lnTo>
                    <a:lnTo>
                      <a:pt x="210" y="9"/>
                    </a:lnTo>
                    <a:lnTo>
                      <a:pt x="209" y="9"/>
                    </a:lnTo>
                    <a:lnTo>
                      <a:pt x="207" y="9"/>
                    </a:lnTo>
                    <a:lnTo>
                      <a:pt x="206" y="9"/>
                    </a:lnTo>
                    <a:lnTo>
                      <a:pt x="206" y="9"/>
                    </a:lnTo>
                    <a:lnTo>
                      <a:pt x="204" y="8"/>
                    </a:lnTo>
                    <a:lnTo>
                      <a:pt x="201" y="9"/>
                    </a:lnTo>
                    <a:lnTo>
                      <a:pt x="199" y="9"/>
                    </a:lnTo>
                    <a:lnTo>
                      <a:pt x="160" y="17"/>
                    </a:lnTo>
                    <a:lnTo>
                      <a:pt x="158" y="17"/>
                    </a:lnTo>
                    <a:lnTo>
                      <a:pt x="157" y="17"/>
                    </a:lnTo>
                    <a:lnTo>
                      <a:pt x="155" y="17"/>
                    </a:lnTo>
                    <a:lnTo>
                      <a:pt x="155" y="17"/>
                    </a:lnTo>
                    <a:lnTo>
                      <a:pt x="153" y="17"/>
                    </a:lnTo>
                    <a:lnTo>
                      <a:pt x="153" y="16"/>
                    </a:lnTo>
                    <a:lnTo>
                      <a:pt x="152" y="17"/>
                    </a:lnTo>
                    <a:lnTo>
                      <a:pt x="150" y="16"/>
                    </a:lnTo>
                    <a:lnTo>
                      <a:pt x="148" y="16"/>
                    </a:lnTo>
                    <a:lnTo>
                      <a:pt x="147" y="16"/>
                    </a:lnTo>
                    <a:lnTo>
                      <a:pt x="147" y="17"/>
                    </a:lnTo>
                    <a:lnTo>
                      <a:pt x="145" y="17"/>
                    </a:lnTo>
                    <a:lnTo>
                      <a:pt x="142" y="17"/>
                    </a:lnTo>
                    <a:lnTo>
                      <a:pt x="140" y="16"/>
                    </a:lnTo>
                    <a:lnTo>
                      <a:pt x="137" y="13"/>
                    </a:lnTo>
                    <a:lnTo>
                      <a:pt x="134" y="13"/>
                    </a:lnTo>
                    <a:lnTo>
                      <a:pt x="134" y="13"/>
                    </a:lnTo>
                    <a:lnTo>
                      <a:pt x="134" y="14"/>
                    </a:lnTo>
                    <a:lnTo>
                      <a:pt x="130" y="14"/>
                    </a:lnTo>
                    <a:lnTo>
                      <a:pt x="127" y="14"/>
                    </a:lnTo>
                    <a:lnTo>
                      <a:pt x="124" y="14"/>
                    </a:lnTo>
                    <a:lnTo>
                      <a:pt x="122" y="16"/>
                    </a:lnTo>
                    <a:lnTo>
                      <a:pt x="121" y="14"/>
                    </a:lnTo>
                    <a:lnTo>
                      <a:pt x="119" y="14"/>
                    </a:lnTo>
                    <a:lnTo>
                      <a:pt x="117" y="13"/>
                    </a:lnTo>
                    <a:lnTo>
                      <a:pt x="116" y="14"/>
                    </a:lnTo>
                    <a:lnTo>
                      <a:pt x="112" y="13"/>
                    </a:lnTo>
                    <a:lnTo>
                      <a:pt x="109" y="11"/>
                    </a:lnTo>
                    <a:lnTo>
                      <a:pt x="108" y="11"/>
                    </a:lnTo>
                    <a:lnTo>
                      <a:pt x="106" y="8"/>
                    </a:lnTo>
                    <a:lnTo>
                      <a:pt x="104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1" y="8"/>
                    </a:lnTo>
                    <a:lnTo>
                      <a:pt x="41" y="8"/>
                    </a:lnTo>
                    <a:lnTo>
                      <a:pt x="37" y="9"/>
                    </a:lnTo>
                    <a:lnTo>
                      <a:pt x="34" y="8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31" y="3"/>
                    </a:lnTo>
                    <a:lnTo>
                      <a:pt x="28" y="1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1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4" y="3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19"/>
                    </a:lnTo>
                    <a:lnTo>
                      <a:pt x="10" y="29"/>
                    </a:lnTo>
                    <a:lnTo>
                      <a:pt x="14" y="39"/>
                    </a:lnTo>
                    <a:lnTo>
                      <a:pt x="23" y="57"/>
                    </a:lnTo>
                    <a:lnTo>
                      <a:pt x="24" y="63"/>
                    </a:lnTo>
                    <a:lnTo>
                      <a:pt x="32" y="75"/>
                    </a:lnTo>
                    <a:lnTo>
                      <a:pt x="32" y="80"/>
                    </a:lnTo>
                    <a:lnTo>
                      <a:pt x="41" y="93"/>
                    </a:lnTo>
                    <a:lnTo>
                      <a:pt x="41" y="99"/>
                    </a:lnTo>
                    <a:lnTo>
                      <a:pt x="39" y="99"/>
                    </a:lnTo>
                    <a:lnTo>
                      <a:pt x="41" y="107"/>
                    </a:lnTo>
                    <a:lnTo>
                      <a:pt x="41" y="120"/>
                    </a:lnTo>
                    <a:lnTo>
                      <a:pt x="46" y="134"/>
                    </a:lnTo>
                    <a:lnTo>
                      <a:pt x="46" y="140"/>
                    </a:lnTo>
                    <a:lnTo>
                      <a:pt x="47" y="145"/>
                    </a:lnTo>
                    <a:lnTo>
                      <a:pt x="44" y="147"/>
                    </a:lnTo>
                    <a:lnTo>
                      <a:pt x="47" y="148"/>
                    </a:lnTo>
                    <a:lnTo>
                      <a:pt x="47" y="156"/>
                    </a:lnTo>
                    <a:lnTo>
                      <a:pt x="50" y="158"/>
                    </a:lnTo>
                    <a:lnTo>
                      <a:pt x="50" y="161"/>
                    </a:lnTo>
                    <a:lnTo>
                      <a:pt x="49" y="163"/>
                    </a:lnTo>
                    <a:lnTo>
                      <a:pt x="49" y="166"/>
                    </a:lnTo>
                    <a:lnTo>
                      <a:pt x="52" y="168"/>
                    </a:lnTo>
                    <a:lnTo>
                      <a:pt x="52" y="174"/>
                    </a:lnTo>
                    <a:lnTo>
                      <a:pt x="55" y="179"/>
                    </a:lnTo>
                    <a:lnTo>
                      <a:pt x="59" y="186"/>
                    </a:lnTo>
                    <a:lnTo>
                      <a:pt x="63" y="191"/>
                    </a:lnTo>
                    <a:lnTo>
                      <a:pt x="63" y="192"/>
                    </a:lnTo>
                    <a:lnTo>
                      <a:pt x="68" y="197"/>
                    </a:lnTo>
                    <a:lnTo>
                      <a:pt x="72" y="196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3" y="191"/>
                    </a:lnTo>
                    <a:lnTo>
                      <a:pt x="75" y="189"/>
                    </a:lnTo>
                    <a:lnTo>
                      <a:pt x="80" y="187"/>
                    </a:lnTo>
                    <a:lnTo>
                      <a:pt x="81" y="191"/>
                    </a:lnTo>
                    <a:lnTo>
                      <a:pt x="85" y="191"/>
                    </a:lnTo>
                    <a:lnTo>
                      <a:pt x="83" y="194"/>
                    </a:lnTo>
                    <a:lnTo>
                      <a:pt x="85" y="199"/>
                    </a:lnTo>
                    <a:lnTo>
                      <a:pt x="90" y="200"/>
                    </a:lnTo>
                    <a:lnTo>
                      <a:pt x="95" y="202"/>
                    </a:lnTo>
                    <a:lnTo>
                      <a:pt x="96" y="200"/>
                    </a:lnTo>
                    <a:lnTo>
                      <a:pt x="98" y="202"/>
                    </a:lnTo>
                    <a:lnTo>
                      <a:pt x="101" y="202"/>
                    </a:lnTo>
                    <a:lnTo>
                      <a:pt x="103" y="200"/>
                    </a:lnTo>
                    <a:lnTo>
                      <a:pt x="104" y="200"/>
                    </a:lnTo>
                    <a:lnTo>
                      <a:pt x="106" y="204"/>
                    </a:lnTo>
                    <a:lnTo>
                      <a:pt x="108" y="204"/>
                    </a:lnTo>
                    <a:lnTo>
                      <a:pt x="109" y="204"/>
                    </a:lnTo>
                    <a:lnTo>
                      <a:pt x="109" y="200"/>
                    </a:lnTo>
                    <a:lnTo>
                      <a:pt x="111" y="199"/>
                    </a:lnTo>
                    <a:lnTo>
                      <a:pt x="112" y="197"/>
                    </a:lnTo>
                    <a:lnTo>
                      <a:pt x="114" y="196"/>
                    </a:lnTo>
                    <a:lnTo>
                      <a:pt x="119" y="192"/>
                    </a:lnTo>
                    <a:lnTo>
                      <a:pt x="124" y="192"/>
                    </a:lnTo>
                    <a:lnTo>
                      <a:pt x="126" y="192"/>
                    </a:lnTo>
                    <a:lnTo>
                      <a:pt x="127" y="135"/>
                    </a:lnTo>
                    <a:lnTo>
                      <a:pt x="127" y="13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3" name="Freeform 296">
                <a:extLst>
                  <a:ext uri="{FF2B5EF4-FFF2-40B4-BE49-F238E27FC236}">
                    <a16:creationId xmlns:a16="http://schemas.microsoft.com/office/drawing/2014/main" xmlns="" id="{28C68ED6-8727-4DEB-803B-737854E36C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" y="2420"/>
                <a:ext cx="62" cy="47"/>
              </a:xfrm>
              <a:custGeom>
                <a:avLst/>
                <a:gdLst>
                  <a:gd name="T0" fmla="*/ 5 w 62"/>
                  <a:gd name="T1" fmla="*/ 6 h 47"/>
                  <a:gd name="T2" fmla="*/ 8 w 62"/>
                  <a:gd name="T3" fmla="*/ 5 h 47"/>
                  <a:gd name="T4" fmla="*/ 13 w 62"/>
                  <a:gd name="T5" fmla="*/ 11 h 47"/>
                  <a:gd name="T6" fmla="*/ 16 w 62"/>
                  <a:gd name="T7" fmla="*/ 15 h 47"/>
                  <a:gd name="T8" fmla="*/ 25 w 62"/>
                  <a:gd name="T9" fmla="*/ 29 h 47"/>
                  <a:gd name="T10" fmla="*/ 29 w 62"/>
                  <a:gd name="T11" fmla="*/ 29 h 47"/>
                  <a:gd name="T12" fmla="*/ 39 w 62"/>
                  <a:gd name="T13" fmla="*/ 41 h 47"/>
                  <a:gd name="T14" fmla="*/ 43 w 62"/>
                  <a:gd name="T15" fmla="*/ 47 h 47"/>
                  <a:gd name="T16" fmla="*/ 38 w 62"/>
                  <a:gd name="T17" fmla="*/ 46 h 47"/>
                  <a:gd name="T18" fmla="*/ 33 w 62"/>
                  <a:gd name="T19" fmla="*/ 44 h 47"/>
                  <a:gd name="T20" fmla="*/ 28 w 62"/>
                  <a:gd name="T21" fmla="*/ 39 h 47"/>
                  <a:gd name="T22" fmla="*/ 23 w 62"/>
                  <a:gd name="T23" fmla="*/ 34 h 47"/>
                  <a:gd name="T24" fmla="*/ 20 w 62"/>
                  <a:gd name="T25" fmla="*/ 34 h 47"/>
                  <a:gd name="T26" fmla="*/ 15 w 62"/>
                  <a:gd name="T27" fmla="*/ 26 h 47"/>
                  <a:gd name="T28" fmla="*/ 12 w 62"/>
                  <a:gd name="T29" fmla="*/ 24 h 47"/>
                  <a:gd name="T30" fmla="*/ 10 w 62"/>
                  <a:gd name="T31" fmla="*/ 19 h 47"/>
                  <a:gd name="T32" fmla="*/ 2 w 62"/>
                  <a:gd name="T33" fmla="*/ 8 h 47"/>
                  <a:gd name="T34" fmla="*/ 0 w 62"/>
                  <a:gd name="T35" fmla="*/ 3 h 47"/>
                  <a:gd name="T36" fmla="*/ 0 w 62"/>
                  <a:gd name="T37" fmla="*/ 0 h 47"/>
                  <a:gd name="T38" fmla="*/ 61 w 62"/>
                  <a:gd name="T39" fmla="*/ 28 h 47"/>
                  <a:gd name="T40" fmla="*/ 62 w 62"/>
                  <a:gd name="T41" fmla="*/ 33 h 47"/>
                  <a:gd name="T42" fmla="*/ 59 w 62"/>
                  <a:gd name="T43" fmla="*/ 34 h 47"/>
                  <a:gd name="T44" fmla="*/ 56 w 62"/>
                  <a:gd name="T45" fmla="*/ 28 h 47"/>
                  <a:gd name="T46" fmla="*/ 51 w 62"/>
                  <a:gd name="T47" fmla="*/ 11 h 47"/>
                  <a:gd name="T48" fmla="*/ 47 w 62"/>
                  <a:gd name="T49" fmla="*/ 16 h 47"/>
                  <a:gd name="T50" fmla="*/ 49 w 62"/>
                  <a:gd name="T51" fmla="*/ 21 h 47"/>
                  <a:gd name="T52" fmla="*/ 54 w 62"/>
                  <a:gd name="T53" fmla="*/ 21 h 47"/>
                  <a:gd name="T54" fmla="*/ 51 w 62"/>
                  <a:gd name="T55" fmla="*/ 16 h 47"/>
                  <a:gd name="T56" fmla="*/ 51 w 62"/>
                  <a:gd name="T57" fmla="*/ 11 h 47"/>
                  <a:gd name="T58" fmla="*/ 39 w 62"/>
                  <a:gd name="T59" fmla="*/ 8 h 47"/>
                  <a:gd name="T60" fmla="*/ 38 w 62"/>
                  <a:gd name="T61" fmla="*/ 13 h 47"/>
                  <a:gd name="T62" fmla="*/ 43 w 62"/>
                  <a:gd name="T63" fmla="*/ 10 h 47"/>
                  <a:gd name="T64" fmla="*/ 39 w 62"/>
                  <a:gd name="T65" fmla="*/ 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47">
                    <a:moveTo>
                      <a:pt x="0" y="0"/>
                    </a:moveTo>
                    <a:lnTo>
                      <a:pt x="5" y="6"/>
                    </a:lnTo>
                    <a:lnTo>
                      <a:pt x="7" y="3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13" y="11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23" y="23"/>
                    </a:lnTo>
                    <a:lnTo>
                      <a:pt x="25" y="29"/>
                    </a:lnTo>
                    <a:lnTo>
                      <a:pt x="28" y="28"/>
                    </a:lnTo>
                    <a:lnTo>
                      <a:pt x="29" y="29"/>
                    </a:lnTo>
                    <a:lnTo>
                      <a:pt x="34" y="37"/>
                    </a:lnTo>
                    <a:lnTo>
                      <a:pt x="39" y="41"/>
                    </a:lnTo>
                    <a:lnTo>
                      <a:pt x="43" y="42"/>
                    </a:lnTo>
                    <a:lnTo>
                      <a:pt x="43" y="47"/>
                    </a:lnTo>
                    <a:lnTo>
                      <a:pt x="39" y="46"/>
                    </a:lnTo>
                    <a:lnTo>
                      <a:pt x="38" y="46"/>
                    </a:lnTo>
                    <a:lnTo>
                      <a:pt x="34" y="44"/>
                    </a:lnTo>
                    <a:lnTo>
                      <a:pt x="33" y="44"/>
                    </a:lnTo>
                    <a:lnTo>
                      <a:pt x="29" y="42"/>
                    </a:lnTo>
                    <a:lnTo>
                      <a:pt x="28" y="39"/>
                    </a:lnTo>
                    <a:lnTo>
                      <a:pt x="25" y="39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20" y="34"/>
                    </a:lnTo>
                    <a:lnTo>
                      <a:pt x="18" y="29"/>
                    </a:lnTo>
                    <a:lnTo>
                      <a:pt x="15" y="26"/>
                    </a:lnTo>
                    <a:lnTo>
                      <a:pt x="13" y="24"/>
                    </a:lnTo>
                    <a:lnTo>
                      <a:pt x="12" y="24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7" y="16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56" y="28"/>
                    </a:moveTo>
                    <a:lnTo>
                      <a:pt x="61" y="28"/>
                    </a:lnTo>
                    <a:lnTo>
                      <a:pt x="62" y="29"/>
                    </a:lnTo>
                    <a:lnTo>
                      <a:pt x="62" y="33"/>
                    </a:lnTo>
                    <a:lnTo>
                      <a:pt x="61" y="33"/>
                    </a:lnTo>
                    <a:lnTo>
                      <a:pt x="59" y="34"/>
                    </a:lnTo>
                    <a:lnTo>
                      <a:pt x="57" y="31"/>
                    </a:lnTo>
                    <a:lnTo>
                      <a:pt x="56" y="28"/>
                    </a:lnTo>
                    <a:lnTo>
                      <a:pt x="56" y="28"/>
                    </a:lnTo>
                    <a:close/>
                    <a:moveTo>
                      <a:pt x="51" y="11"/>
                    </a:moveTo>
                    <a:lnTo>
                      <a:pt x="47" y="15"/>
                    </a:lnTo>
                    <a:lnTo>
                      <a:pt x="47" y="16"/>
                    </a:lnTo>
                    <a:lnTo>
                      <a:pt x="47" y="18"/>
                    </a:lnTo>
                    <a:lnTo>
                      <a:pt x="49" y="21"/>
                    </a:lnTo>
                    <a:lnTo>
                      <a:pt x="52" y="23"/>
                    </a:lnTo>
                    <a:lnTo>
                      <a:pt x="54" y="21"/>
                    </a:lnTo>
                    <a:lnTo>
                      <a:pt x="51" y="18"/>
                    </a:lnTo>
                    <a:lnTo>
                      <a:pt x="51" y="16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1" y="11"/>
                    </a:lnTo>
                    <a:close/>
                    <a:moveTo>
                      <a:pt x="39" y="8"/>
                    </a:moveTo>
                    <a:lnTo>
                      <a:pt x="39" y="10"/>
                    </a:lnTo>
                    <a:lnTo>
                      <a:pt x="38" y="13"/>
                    </a:lnTo>
                    <a:lnTo>
                      <a:pt x="41" y="13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39" y="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4" name="Freeform 297">
                <a:extLst>
                  <a:ext uri="{FF2B5EF4-FFF2-40B4-BE49-F238E27FC236}">
                    <a16:creationId xmlns:a16="http://schemas.microsoft.com/office/drawing/2014/main" xmlns="" id="{E58A370C-FAAE-441E-AFFA-C14DE6AFC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3052"/>
                <a:ext cx="5" cy="7"/>
              </a:xfrm>
              <a:custGeom>
                <a:avLst/>
                <a:gdLst>
                  <a:gd name="T0" fmla="*/ 0 w 5"/>
                  <a:gd name="T1" fmla="*/ 0 h 7"/>
                  <a:gd name="T2" fmla="*/ 0 w 5"/>
                  <a:gd name="T3" fmla="*/ 3 h 7"/>
                  <a:gd name="T4" fmla="*/ 0 w 5"/>
                  <a:gd name="T5" fmla="*/ 5 h 7"/>
                  <a:gd name="T6" fmla="*/ 3 w 5"/>
                  <a:gd name="T7" fmla="*/ 5 h 7"/>
                  <a:gd name="T8" fmla="*/ 3 w 5"/>
                  <a:gd name="T9" fmla="*/ 7 h 7"/>
                  <a:gd name="T10" fmla="*/ 5 w 5"/>
                  <a:gd name="T11" fmla="*/ 7 h 7"/>
                  <a:gd name="T12" fmla="*/ 1 w 5"/>
                  <a:gd name="T13" fmla="*/ 2 h 7"/>
                  <a:gd name="T14" fmla="*/ 0 w 5"/>
                  <a:gd name="T15" fmla="*/ 0 h 7"/>
                  <a:gd name="T16" fmla="*/ 0 w 5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5" name="Freeform 298">
                <a:extLst>
                  <a:ext uri="{FF2B5EF4-FFF2-40B4-BE49-F238E27FC236}">
                    <a16:creationId xmlns:a16="http://schemas.microsoft.com/office/drawing/2014/main" xmlns="" id="{7BC63086-2D90-4DC6-8E1A-E7B2FB2B32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0" y="2951"/>
                <a:ext cx="27" cy="21"/>
              </a:xfrm>
              <a:custGeom>
                <a:avLst/>
                <a:gdLst>
                  <a:gd name="T0" fmla="*/ 9 w 27"/>
                  <a:gd name="T1" fmla="*/ 6 h 21"/>
                  <a:gd name="T2" fmla="*/ 10 w 27"/>
                  <a:gd name="T3" fmla="*/ 5 h 21"/>
                  <a:gd name="T4" fmla="*/ 14 w 27"/>
                  <a:gd name="T5" fmla="*/ 3 h 21"/>
                  <a:gd name="T6" fmla="*/ 14 w 27"/>
                  <a:gd name="T7" fmla="*/ 5 h 21"/>
                  <a:gd name="T8" fmla="*/ 12 w 27"/>
                  <a:gd name="T9" fmla="*/ 6 h 21"/>
                  <a:gd name="T10" fmla="*/ 10 w 27"/>
                  <a:gd name="T11" fmla="*/ 6 h 21"/>
                  <a:gd name="T12" fmla="*/ 9 w 27"/>
                  <a:gd name="T13" fmla="*/ 6 h 21"/>
                  <a:gd name="T14" fmla="*/ 9 w 27"/>
                  <a:gd name="T15" fmla="*/ 6 h 21"/>
                  <a:gd name="T16" fmla="*/ 2 w 27"/>
                  <a:gd name="T17" fmla="*/ 19 h 21"/>
                  <a:gd name="T18" fmla="*/ 4 w 27"/>
                  <a:gd name="T19" fmla="*/ 19 h 21"/>
                  <a:gd name="T20" fmla="*/ 7 w 27"/>
                  <a:gd name="T21" fmla="*/ 16 h 21"/>
                  <a:gd name="T22" fmla="*/ 9 w 27"/>
                  <a:gd name="T23" fmla="*/ 16 h 21"/>
                  <a:gd name="T24" fmla="*/ 10 w 27"/>
                  <a:gd name="T25" fmla="*/ 18 h 21"/>
                  <a:gd name="T26" fmla="*/ 12 w 27"/>
                  <a:gd name="T27" fmla="*/ 19 h 21"/>
                  <a:gd name="T28" fmla="*/ 14 w 27"/>
                  <a:gd name="T29" fmla="*/ 19 h 21"/>
                  <a:gd name="T30" fmla="*/ 15 w 27"/>
                  <a:gd name="T31" fmla="*/ 16 h 21"/>
                  <a:gd name="T32" fmla="*/ 17 w 27"/>
                  <a:gd name="T33" fmla="*/ 18 h 21"/>
                  <a:gd name="T34" fmla="*/ 17 w 27"/>
                  <a:gd name="T35" fmla="*/ 19 h 21"/>
                  <a:gd name="T36" fmla="*/ 18 w 27"/>
                  <a:gd name="T37" fmla="*/ 21 h 21"/>
                  <a:gd name="T38" fmla="*/ 22 w 27"/>
                  <a:gd name="T39" fmla="*/ 21 h 21"/>
                  <a:gd name="T40" fmla="*/ 23 w 27"/>
                  <a:gd name="T41" fmla="*/ 18 h 21"/>
                  <a:gd name="T42" fmla="*/ 23 w 27"/>
                  <a:gd name="T43" fmla="*/ 18 h 21"/>
                  <a:gd name="T44" fmla="*/ 20 w 27"/>
                  <a:gd name="T45" fmla="*/ 18 h 21"/>
                  <a:gd name="T46" fmla="*/ 18 w 27"/>
                  <a:gd name="T47" fmla="*/ 16 h 21"/>
                  <a:gd name="T48" fmla="*/ 20 w 27"/>
                  <a:gd name="T49" fmla="*/ 15 h 21"/>
                  <a:gd name="T50" fmla="*/ 22 w 27"/>
                  <a:gd name="T51" fmla="*/ 13 h 21"/>
                  <a:gd name="T52" fmla="*/ 25 w 27"/>
                  <a:gd name="T53" fmla="*/ 15 h 21"/>
                  <a:gd name="T54" fmla="*/ 27 w 27"/>
                  <a:gd name="T55" fmla="*/ 11 h 21"/>
                  <a:gd name="T56" fmla="*/ 25 w 27"/>
                  <a:gd name="T57" fmla="*/ 10 h 21"/>
                  <a:gd name="T58" fmla="*/ 23 w 27"/>
                  <a:gd name="T59" fmla="*/ 10 h 21"/>
                  <a:gd name="T60" fmla="*/ 22 w 27"/>
                  <a:gd name="T61" fmla="*/ 10 h 21"/>
                  <a:gd name="T62" fmla="*/ 18 w 27"/>
                  <a:gd name="T63" fmla="*/ 13 h 21"/>
                  <a:gd name="T64" fmla="*/ 17 w 27"/>
                  <a:gd name="T65" fmla="*/ 13 h 21"/>
                  <a:gd name="T66" fmla="*/ 15 w 27"/>
                  <a:gd name="T67" fmla="*/ 10 h 21"/>
                  <a:gd name="T68" fmla="*/ 17 w 27"/>
                  <a:gd name="T69" fmla="*/ 8 h 21"/>
                  <a:gd name="T70" fmla="*/ 17 w 27"/>
                  <a:gd name="T71" fmla="*/ 5 h 21"/>
                  <a:gd name="T72" fmla="*/ 15 w 27"/>
                  <a:gd name="T73" fmla="*/ 6 h 21"/>
                  <a:gd name="T74" fmla="*/ 14 w 27"/>
                  <a:gd name="T75" fmla="*/ 8 h 21"/>
                  <a:gd name="T76" fmla="*/ 12 w 27"/>
                  <a:gd name="T77" fmla="*/ 10 h 21"/>
                  <a:gd name="T78" fmla="*/ 10 w 27"/>
                  <a:gd name="T79" fmla="*/ 10 h 21"/>
                  <a:gd name="T80" fmla="*/ 7 w 27"/>
                  <a:gd name="T81" fmla="*/ 8 h 21"/>
                  <a:gd name="T82" fmla="*/ 5 w 27"/>
                  <a:gd name="T83" fmla="*/ 6 h 21"/>
                  <a:gd name="T84" fmla="*/ 7 w 27"/>
                  <a:gd name="T85" fmla="*/ 3 h 21"/>
                  <a:gd name="T86" fmla="*/ 5 w 27"/>
                  <a:gd name="T87" fmla="*/ 2 h 21"/>
                  <a:gd name="T88" fmla="*/ 7 w 27"/>
                  <a:gd name="T89" fmla="*/ 0 h 21"/>
                  <a:gd name="T90" fmla="*/ 7 w 27"/>
                  <a:gd name="T91" fmla="*/ 0 h 21"/>
                  <a:gd name="T92" fmla="*/ 5 w 27"/>
                  <a:gd name="T93" fmla="*/ 2 h 21"/>
                  <a:gd name="T94" fmla="*/ 4 w 27"/>
                  <a:gd name="T95" fmla="*/ 3 h 21"/>
                  <a:gd name="T96" fmla="*/ 4 w 27"/>
                  <a:gd name="T97" fmla="*/ 5 h 21"/>
                  <a:gd name="T98" fmla="*/ 4 w 27"/>
                  <a:gd name="T99" fmla="*/ 8 h 21"/>
                  <a:gd name="T100" fmla="*/ 5 w 27"/>
                  <a:gd name="T101" fmla="*/ 10 h 21"/>
                  <a:gd name="T102" fmla="*/ 5 w 27"/>
                  <a:gd name="T103" fmla="*/ 10 h 21"/>
                  <a:gd name="T104" fmla="*/ 2 w 27"/>
                  <a:gd name="T105" fmla="*/ 13 h 21"/>
                  <a:gd name="T106" fmla="*/ 0 w 27"/>
                  <a:gd name="T107" fmla="*/ 16 h 21"/>
                  <a:gd name="T108" fmla="*/ 2 w 27"/>
                  <a:gd name="T10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" h="21">
                    <a:moveTo>
                      <a:pt x="9" y="6"/>
                    </a:moveTo>
                    <a:lnTo>
                      <a:pt x="10" y="5"/>
                    </a:lnTo>
                    <a:lnTo>
                      <a:pt x="14" y="3"/>
                    </a:lnTo>
                    <a:lnTo>
                      <a:pt x="14" y="5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9" y="6"/>
                    </a:lnTo>
                    <a:lnTo>
                      <a:pt x="9" y="6"/>
                    </a:lnTo>
                    <a:close/>
                    <a:moveTo>
                      <a:pt x="2" y="19"/>
                    </a:moveTo>
                    <a:lnTo>
                      <a:pt x="4" y="19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0" y="18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5" y="16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8" y="21"/>
                    </a:lnTo>
                    <a:lnTo>
                      <a:pt x="22" y="21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20" y="15"/>
                    </a:lnTo>
                    <a:lnTo>
                      <a:pt x="22" y="13"/>
                    </a:lnTo>
                    <a:lnTo>
                      <a:pt x="25" y="15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3" y="10"/>
                    </a:lnTo>
                    <a:lnTo>
                      <a:pt x="22" y="10"/>
                    </a:lnTo>
                    <a:lnTo>
                      <a:pt x="18" y="13"/>
                    </a:lnTo>
                    <a:lnTo>
                      <a:pt x="17" y="13"/>
                    </a:lnTo>
                    <a:lnTo>
                      <a:pt x="15" y="10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5" y="6"/>
                    </a:lnTo>
                    <a:lnTo>
                      <a:pt x="14" y="8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7" y="8"/>
                    </a:lnTo>
                    <a:lnTo>
                      <a:pt x="5" y="6"/>
                    </a:lnTo>
                    <a:lnTo>
                      <a:pt x="7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4" y="8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2" y="1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6" name="Freeform 299">
                <a:extLst>
                  <a:ext uri="{FF2B5EF4-FFF2-40B4-BE49-F238E27FC236}">
                    <a16:creationId xmlns:a16="http://schemas.microsoft.com/office/drawing/2014/main" xmlns="" id="{292CB762-CE5C-40AA-A16C-8EAB6877A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7" y="2390"/>
                <a:ext cx="10" cy="10"/>
              </a:xfrm>
              <a:custGeom>
                <a:avLst/>
                <a:gdLst>
                  <a:gd name="T0" fmla="*/ 4 w 10"/>
                  <a:gd name="T1" fmla="*/ 0 h 10"/>
                  <a:gd name="T2" fmla="*/ 2 w 10"/>
                  <a:gd name="T3" fmla="*/ 5 h 10"/>
                  <a:gd name="T4" fmla="*/ 0 w 10"/>
                  <a:gd name="T5" fmla="*/ 7 h 10"/>
                  <a:gd name="T6" fmla="*/ 5 w 10"/>
                  <a:gd name="T7" fmla="*/ 10 h 10"/>
                  <a:gd name="T8" fmla="*/ 9 w 10"/>
                  <a:gd name="T9" fmla="*/ 9 h 10"/>
                  <a:gd name="T10" fmla="*/ 9 w 10"/>
                  <a:gd name="T11" fmla="*/ 5 h 10"/>
                  <a:gd name="T12" fmla="*/ 10 w 10"/>
                  <a:gd name="T13" fmla="*/ 4 h 10"/>
                  <a:gd name="T14" fmla="*/ 10 w 10"/>
                  <a:gd name="T15" fmla="*/ 0 h 10"/>
                  <a:gd name="T16" fmla="*/ 7 w 10"/>
                  <a:gd name="T17" fmla="*/ 0 h 10"/>
                  <a:gd name="T18" fmla="*/ 5 w 10"/>
                  <a:gd name="T19" fmla="*/ 0 h 10"/>
                  <a:gd name="T20" fmla="*/ 4 w 10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5" y="10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7" name="Freeform 300">
                <a:extLst>
                  <a:ext uri="{FF2B5EF4-FFF2-40B4-BE49-F238E27FC236}">
                    <a16:creationId xmlns:a16="http://schemas.microsoft.com/office/drawing/2014/main" xmlns="" id="{AFAF4B02-63E2-46B3-8063-1A02418EA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2404"/>
                <a:ext cx="9" cy="9"/>
              </a:xfrm>
              <a:custGeom>
                <a:avLst/>
                <a:gdLst>
                  <a:gd name="T0" fmla="*/ 0 w 9"/>
                  <a:gd name="T1" fmla="*/ 0 h 9"/>
                  <a:gd name="T2" fmla="*/ 0 w 9"/>
                  <a:gd name="T3" fmla="*/ 4 h 9"/>
                  <a:gd name="T4" fmla="*/ 4 w 9"/>
                  <a:gd name="T5" fmla="*/ 9 h 9"/>
                  <a:gd name="T6" fmla="*/ 5 w 9"/>
                  <a:gd name="T7" fmla="*/ 9 h 9"/>
                  <a:gd name="T8" fmla="*/ 9 w 9"/>
                  <a:gd name="T9" fmla="*/ 6 h 9"/>
                  <a:gd name="T10" fmla="*/ 7 w 9"/>
                  <a:gd name="T11" fmla="*/ 4 h 9"/>
                  <a:gd name="T12" fmla="*/ 5 w 9"/>
                  <a:gd name="T13" fmla="*/ 0 h 9"/>
                  <a:gd name="T14" fmla="*/ 2 w 9"/>
                  <a:gd name="T15" fmla="*/ 0 h 9"/>
                  <a:gd name="T16" fmla="*/ 0 w 9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4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8" name="Freeform 301">
                <a:extLst>
                  <a:ext uri="{FF2B5EF4-FFF2-40B4-BE49-F238E27FC236}">
                    <a16:creationId xmlns:a16="http://schemas.microsoft.com/office/drawing/2014/main" xmlns="" id="{3E4636ED-BAF3-4E16-8D8F-26AB045DEA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0" y="2255"/>
                <a:ext cx="121" cy="230"/>
              </a:xfrm>
              <a:custGeom>
                <a:avLst/>
                <a:gdLst>
                  <a:gd name="T0" fmla="*/ 35 w 121"/>
                  <a:gd name="T1" fmla="*/ 227 h 230"/>
                  <a:gd name="T2" fmla="*/ 56 w 121"/>
                  <a:gd name="T3" fmla="*/ 220 h 230"/>
                  <a:gd name="T4" fmla="*/ 64 w 121"/>
                  <a:gd name="T5" fmla="*/ 207 h 230"/>
                  <a:gd name="T6" fmla="*/ 67 w 121"/>
                  <a:gd name="T7" fmla="*/ 198 h 230"/>
                  <a:gd name="T8" fmla="*/ 71 w 121"/>
                  <a:gd name="T9" fmla="*/ 189 h 230"/>
                  <a:gd name="T10" fmla="*/ 80 w 121"/>
                  <a:gd name="T11" fmla="*/ 166 h 230"/>
                  <a:gd name="T12" fmla="*/ 93 w 121"/>
                  <a:gd name="T13" fmla="*/ 134 h 230"/>
                  <a:gd name="T14" fmla="*/ 100 w 121"/>
                  <a:gd name="T15" fmla="*/ 114 h 230"/>
                  <a:gd name="T16" fmla="*/ 107 w 121"/>
                  <a:gd name="T17" fmla="*/ 91 h 230"/>
                  <a:gd name="T18" fmla="*/ 108 w 121"/>
                  <a:gd name="T19" fmla="*/ 78 h 230"/>
                  <a:gd name="T20" fmla="*/ 110 w 121"/>
                  <a:gd name="T21" fmla="*/ 68 h 230"/>
                  <a:gd name="T22" fmla="*/ 111 w 121"/>
                  <a:gd name="T23" fmla="*/ 59 h 230"/>
                  <a:gd name="T24" fmla="*/ 118 w 121"/>
                  <a:gd name="T25" fmla="*/ 67 h 230"/>
                  <a:gd name="T26" fmla="*/ 120 w 121"/>
                  <a:gd name="T27" fmla="*/ 59 h 230"/>
                  <a:gd name="T28" fmla="*/ 118 w 121"/>
                  <a:gd name="T29" fmla="*/ 46 h 230"/>
                  <a:gd name="T30" fmla="*/ 118 w 121"/>
                  <a:gd name="T31" fmla="*/ 36 h 230"/>
                  <a:gd name="T32" fmla="*/ 115 w 121"/>
                  <a:gd name="T33" fmla="*/ 15 h 230"/>
                  <a:gd name="T34" fmla="*/ 107 w 121"/>
                  <a:gd name="T35" fmla="*/ 6 h 230"/>
                  <a:gd name="T36" fmla="*/ 105 w 121"/>
                  <a:gd name="T37" fmla="*/ 6 h 230"/>
                  <a:gd name="T38" fmla="*/ 100 w 121"/>
                  <a:gd name="T39" fmla="*/ 10 h 230"/>
                  <a:gd name="T40" fmla="*/ 98 w 121"/>
                  <a:gd name="T41" fmla="*/ 18 h 230"/>
                  <a:gd name="T42" fmla="*/ 92 w 121"/>
                  <a:gd name="T43" fmla="*/ 28 h 230"/>
                  <a:gd name="T44" fmla="*/ 87 w 121"/>
                  <a:gd name="T45" fmla="*/ 28 h 230"/>
                  <a:gd name="T46" fmla="*/ 87 w 121"/>
                  <a:gd name="T47" fmla="*/ 36 h 230"/>
                  <a:gd name="T48" fmla="*/ 82 w 121"/>
                  <a:gd name="T49" fmla="*/ 39 h 230"/>
                  <a:gd name="T50" fmla="*/ 85 w 121"/>
                  <a:gd name="T51" fmla="*/ 47 h 230"/>
                  <a:gd name="T52" fmla="*/ 75 w 121"/>
                  <a:gd name="T53" fmla="*/ 50 h 230"/>
                  <a:gd name="T54" fmla="*/ 72 w 121"/>
                  <a:gd name="T55" fmla="*/ 47 h 230"/>
                  <a:gd name="T56" fmla="*/ 71 w 121"/>
                  <a:gd name="T57" fmla="*/ 55 h 230"/>
                  <a:gd name="T58" fmla="*/ 69 w 121"/>
                  <a:gd name="T59" fmla="*/ 60 h 230"/>
                  <a:gd name="T60" fmla="*/ 67 w 121"/>
                  <a:gd name="T61" fmla="*/ 54 h 230"/>
                  <a:gd name="T62" fmla="*/ 61 w 121"/>
                  <a:gd name="T63" fmla="*/ 67 h 230"/>
                  <a:gd name="T64" fmla="*/ 56 w 121"/>
                  <a:gd name="T65" fmla="*/ 62 h 230"/>
                  <a:gd name="T66" fmla="*/ 46 w 121"/>
                  <a:gd name="T67" fmla="*/ 64 h 230"/>
                  <a:gd name="T68" fmla="*/ 43 w 121"/>
                  <a:gd name="T69" fmla="*/ 65 h 230"/>
                  <a:gd name="T70" fmla="*/ 33 w 121"/>
                  <a:gd name="T71" fmla="*/ 72 h 230"/>
                  <a:gd name="T72" fmla="*/ 25 w 121"/>
                  <a:gd name="T73" fmla="*/ 72 h 230"/>
                  <a:gd name="T74" fmla="*/ 17 w 121"/>
                  <a:gd name="T75" fmla="*/ 91 h 230"/>
                  <a:gd name="T76" fmla="*/ 18 w 121"/>
                  <a:gd name="T77" fmla="*/ 103 h 230"/>
                  <a:gd name="T78" fmla="*/ 25 w 121"/>
                  <a:gd name="T79" fmla="*/ 121 h 230"/>
                  <a:gd name="T80" fmla="*/ 22 w 121"/>
                  <a:gd name="T81" fmla="*/ 134 h 230"/>
                  <a:gd name="T82" fmla="*/ 15 w 121"/>
                  <a:gd name="T83" fmla="*/ 144 h 230"/>
                  <a:gd name="T84" fmla="*/ 5 w 121"/>
                  <a:gd name="T85" fmla="*/ 155 h 230"/>
                  <a:gd name="T86" fmla="*/ 2 w 121"/>
                  <a:gd name="T87" fmla="*/ 170 h 230"/>
                  <a:gd name="T88" fmla="*/ 5 w 121"/>
                  <a:gd name="T89" fmla="*/ 184 h 230"/>
                  <a:gd name="T90" fmla="*/ 9 w 121"/>
                  <a:gd name="T91" fmla="*/ 193 h 230"/>
                  <a:gd name="T92" fmla="*/ 5 w 121"/>
                  <a:gd name="T93" fmla="*/ 202 h 230"/>
                  <a:gd name="T94" fmla="*/ 9 w 121"/>
                  <a:gd name="T95" fmla="*/ 214 h 230"/>
                  <a:gd name="T96" fmla="*/ 15 w 121"/>
                  <a:gd name="T97" fmla="*/ 222 h 230"/>
                  <a:gd name="T98" fmla="*/ 23 w 121"/>
                  <a:gd name="T99" fmla="*/ 227 h 230"/>
                  <a:gd name="T100" fmla="*/ 27 w 121"/>
                  <a:gd name="T101" fmla="*/ 230 h 230"/>
                  <a:gd name="T102" fmla="*/ 97 w 121"/>
                  <a:gd name="T103" fmla="*/ 13 h 230"/>
                  <a:gd name="T104" fmla="*/ 95 w 121"/>
                  <a:gd name="T105" fmla="*/ 21 h 230"/>
                  <a:gd name="T106" fmla="*/ 93 w 121"/>
                  <a:gd name="T107" fmla="*/ 21 h 230"/>
                  <a:gd name="T108" fmla="*/ 92 w 121"/>
                  <a:gd name="T109" fmla="*/ 21 h 230"/>
                  <a:gd name="T110" fmla="*/ 89 w 121"/>
                  <a:gd name="T111" fmla="*/ 21 h 230"/>
                  <a:gd name="T112" fmla="*/ 111 w 121"/>
                  <a:gd name="T113" fmla="*/ 82 h 230"/>
                  <a:gd name="T114" fmla="*/ 113 w 121"/>
                  <a:gd name="T115" fmla="*/ 8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1" h="230">
                    <a:moveTo>
                      <a:pt x="27" y="230"/>
                    </a:moveTo>
                    <a:lnTo>
                      <a:pt x="28" y="229"/>
                    </a:lnTo>
                    <a:lnTo>
                      <a:pt x="31" y="229"/>
                    </a:lnTo>
                    <a:lnTo>
                      <a:pt x="35" y="227"/>
                    </a:lnTo>
                    <a:lnTo>
                      <a:pt x="38" y="224"/>
                    </a:lnTo>
                    <a:lnTo>
                      <a:pt x="48" y="222"/>
                    </a:lnTo>
                    <a:lnTo>
                      <a:pt x="51" y="222"/>
                    </a:lnTo>
                    <a:lnTo>
                      <a:pt x="56" y="220"/>
                    </a:lnTo>
                    <a:lnTo>
                      <a:pt x="58" y="217"/>
                    </a:lnTo>
                    <a:lnTo>
                      <a:pt x="61" y="217"/>
                    </a:lnTo>
                    <a:lnTo>
                      <a:pt x="62" y="212"/>
                    </a:lnTo>
                    <a:lnTo>
                      <a:pt x="64" y="207"/>
                    </a:lnTo>
                    <a:lnTo>
                      <a:pt x="64" y="206"/>
                    </a:lnTo>
                    <a:lnTo>
                      <a:pt x="67" y="204"/>
                    </a:lnTo>
                    <a:lnTo>
                      <a:pt x="67" y="199"/>
                    </a:lnTo>
                    <a:lnTo>
                      <a:pt x="67" y="198"/>
                    </a:lnTo>
                    <a:lnTo>
                      <a:pt x="69" y="196"/>
                    </a:lnTo>
                    <a:lnTo>
                      <a:pt x="71" y="191"/>
                    </a:lnTo>
                    <a:lnTo>
                      <a:pt x="71" y="189"/>
                    </a:lnTo>
                    <a:lnTo>
                      <a:pt x="71" y="189"/>
                    </a:lnTo>
                    <a:lnTo>
                      <a:pt x="74" y="184"/>
                    </a:lnTo>
                    <a:lnTo>
                      <a:pt x="77" y="175"/>
                    </a:lnTo>
                    <a:lnTo>
                      <a:pt x="79" y="168"/>
                    </a:lnTo>
                    <a:lnTo>
                      <a:pt x="80" y="166"/>
                    </a:lnTo>
                    <a:lnTo>
                      <a:pt x="82" y="160"/>
                    </a:lnTo>
                    <a:lnTo>
                      <a:pt x="87" y="152"/>
                    </a:lnTo>
                    <a:lnTo>
                      <a:pt x="90" y="139"/>
                    </a:lnTo>
                    <a:lnTo>
                      <a:pt x="93" y="134"/>
                    </a:lnTo>
                    <a:lnTo>
                      <a:pt x="93" y="127"/>
                    </a:lnTo>
                    <a:lnTo>
                      <a:pt x="97" y="122"/>
                    </a:lnTo>
                    <a:lnTo>
                      <a:pt x="97" y="119"/>
                    </a:lnTo>
                    <a:lnTo>
                      <a:pt x="100" y="114"/>
                    </a:lnTo>
                    <a:lnTo>
                      <a:pt x="102" y="104"/>
                    </a:lnTo>
                    <a:lnTo>
                      <a:pt x="103" y="98"/>
                    </a:lnTo>
                    <a:lnTo>
                      <a:pt x="105" y="96"/>
                    </a:lnTo>
                    <a:lnTo>
                      <a:pt x="107" y="91"/>
                    </a:lnTo>
                    <a:lnTo>
                      <a:pt x="105" y="90"/>
                    </a:lnTo>
                    <a:lnTo>
                      <a:pt x="105" y="85"/>
                    </a:lnTo>
                    <a:lnTo>
                      <a:pt x="108" y="80"/>
                    </a:lnTo>
                    <a:lnTo>
                      <a:pt x="108" y="78"/>
                    </a:lnTo>
                    <a:lnTo>
                      <a:pt x="110" y="75"/>
                    </a:lnTo>
                    <a:lnTo>
                      <a:pt x="110" y="72"/>
                    </a:lnTo>
                    <a:lnTo>
                      <a:pt x="108" y="70"/>
                    </a:lnTo>
                    <a:lnTo>
                      <a:pt x="110" y="68"/>
                    </a:lnTo>
                    <a:lnTo>
                      <a:pt x="110" y="64"/>
                    </a:lnTo>
                    <a:lnTo>
                      <a:pt x="108" y="64"/>
                    </a:lnTo>
                    <a:lnTo>
                      <a:pt x="108" y="59"/>
                    </a:lnTo>
                    <a:lnTo>
                      <a:pt x="111" y="59"/>
                    </a:lnTo>
                    <a:lnTo>
                      <a:pt x="113" y="59"/>
                    </a:lnTo>
                    <a:lnTo>
                      <a:pt x="113" y="62"/>
                    </a:lnTo>
                    <a:lnTo>
                      <a:pt x="116" y="67"/>
                    </a:lnTo>
                    <a:lnTo>
                      <a:pt x="118" y="67"/>
                    </a:lnTo>
                    <a:lnTo>
                      <a:pt x="118" y="65"/>
                    </a:lnTo>
                    <a:lnTo>
                      <a:pt x="120" y="62"/>
                    </a:lnTo>
                    <a:lnTo>
                      <a:pt x="120" y="60"/>
                    </a:lnTo>
                    <a:lnTo>
                      <a:pt x="120" y="59"/>
                    </a:lnTo>
                    <a:lnTo>
                      <a:pt x="121" y="57"/>
                    </a:lnTo>
                    <a:lnTo>
                      <a:pt x="121" y="54"/>
                    </a:lnTo>
                    <a:lnTo>
                      <a:pt x="118" y="49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8" y="41"/>
                    </a:lnTo>
                    <a:lnTo>
                      <a:pt x="116" y="37"/>
                    </a:lnTo>
                    <a:lnTo>
                      <a:pt x="118" y="36"/>
                    </a:lnTo>
                    <a:lnTo>
                      <a:pt x="118" y="28"/>
                    </a:lnTo>
                    <a:lnTo>
                      <a:pt x="116" y="24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3" y="15"/>
                    </a:lnTo>
                    <a:lnTo>
                      <a:pt x="110" y="11"/>
                    </a:lnTo>
                    <a:lnTo>
                      <a:pt x="110" y="8"/>
                    </a:lnTo>
                    <a:lnTo>
                      <a:pt x="107" y="6"/>
                    </a:lnTo>
                    <a:lnTo>
                      <a:pt x="108" y="3"/>
                    </a:lnTo>
                    <a:lnTo>
                      <a:pt x="108" y="0"/>
                    </a:lnTo>
                    <a:lnTo>
                      <a:pt x="103" y="3"/>
                    </a:lnTo>
                    <a:lnTo>
                      <a:pt x="105" y="6"/>
                    </a:lnTo>
                    <a:lnTo>
                      <a:pt x="102" y="8"/>
                    </a:lnTo>
                    <a:lnTo>
                      <a:pt x="100" y="6"/>
                    </a:lnTo>
                    <a:lnTo>
                      <a:pt x="97" y="6"/>
                    </a:lnTo>
                    <a:lnTo>
                      <a:pt x="100" y="10"/>
                    </a:lnTo>
                    <a:lnTo>
                      <a:pt x="100" y="11"/>
                    </a:lnTo>
                    <a:lnTo>
                      <a:pt x="102" y="13"/>
                    </a:lnTo>
                    <a:lnTo>
                      <a:pt x="102" y="15"/>
                    </a:lnTo>
                    <a:lnTo>
                      <a:pt x="98" y="18"/>
                    </a:lnTo>
                    <a:lnTo>
                      <a:pt x="98" y="23"/>
                    </a:lnTo>
                    <a:lnTo>
                      <a:pt x="97" y="26"/>
                    </a:lnTo>
                    <a:lnTo>
                      <a:pt x="95" y="24"/>
                    </a:lnTo>
                    <a:lnTo>
                      <a:pt x="92" y="28"/>
                    </a:lnTo>
                    <a:lnTo>
                      <a:pt x="92" y="31"/>
                    </a:lnTo>
                    <a:lnTo>
                      <a:pt x="90" y="33"/>
                    </a:lnTo>
                    <a:lnTo>
                      <a:pt x="89" y="31"/>
                    </a:lnTo>
                    <a:lnTo>
                      <a:pt x="87" y="28"/>
                    </a:lnTo>
                    <a:lnTo>
                      <a:pt x="87" y="28"/>
                    </a:lnTo>
                    <a:lnTo>
                      <a:pt x="84" y="29"/>
                    </a:lnTo>
                    <a:lnTo>
                      <a:pt x="84" y="33"/>
                    </a:lnTo>
                    <a:lnTo>
                      <a:pt x="87" y="36"/>
                    </a:lnTo>
                    <a:lnTo>
                      <a:pt x="89" y="37"/>
                    </a:lnTo>
                    <a:lnTo>
                      <a:pt x="87" y="39"/>
                    </a:lnTo>
                    <a:lnTo>
                      <a:pt x="85" y="37"/>
                    </a:lnTo>
                    <a:lnTo>
                      <a:pt x="82" y="39"/>
                    </a:lnTo>
                    <a:lnTo>
                      <a:pt x="82" y="42"/>
                    </a:lnTo>
                    <a:lnTo>
                      <a:pt x="85" y="42"/>
                    </a:lnTo>
                    <a:lnTo>
                      <a:pt x="85" y="44"/>
                    </a:lnTo>
                    <a:lnTo>
                      <a:pt x="85" y="47"/>
                    </a:lnTo>
                    <a:lnTo>
                      <a:pt x="84" y="44"/>
                    </a:lnTo>
                    <a:lnTo>
                      <a:pt x="80" y="46"/>
                    </a:lnTo>
                    <a:lnTo>
                      <a:pt x="80" y="47"/>
                    </a:lnTo>
                    <a:lnTo>
                      <a:pt x="75" y="50"/>
                    </a:lnTo>
                    <a:lnTo>
                      <a:pt x="75" y="47"/>
                    </a:lnTo>
                    <a:lnTo>
                      <a:pt x="77" y="47"/>
                    </a:lnTo>
                    <a:lnTo>
                      <a:pt x="75" y="44"/>
                    </a:lnTo>
                    <a:lnTo>
                      <a:pt x="72" y="47"/>
                    </a:lnTo>
                    <a:lnTo>
                      <a:pt x="74" y="49"/>
                    </a:lnTo>
                    <a:lnTo>
                      <a:pt x="74" y="50"/>
                    </a:lnTo>
                    <a:lnTo>
                      <a:pt x="71" y="52"/>
                    </a:lnTo>
                    <a:lnTo>
                      <a:pt x="71" y="55"/>
                    </a:lnTo>
                    <a:lnTo>
                      <a:pt x="74" y="55"/>
                    </a:lnTo>
                    <a:lnTo>
                      <a:pt x="74" y="57"/>
                    </a:lnTo>
                    <a:lnTo>
                      <a:pt x="71" y="59"/>
                    </a:lnTo>
                    <a:lnTo>
                      <a:pt x="69" y="60"/>
                    </a:lnTo>
                    <a:lnTo>
                      <a:pt x="69" y="57"/>
                    </a:lnTo>
                    <a:lnTo>
                      <a:pt x="67" y="57"/>
                    </a:lnTo>
                    <a:lnTo>
                      <a:pt x="69" y="55"/>
                    </a:lnTo>
                    <a:lnTo>
                      <a:pt x="67" y="54"/>
                    </a:lnTo>
                    <a:lnTo>
                      <a:pt x="61" y="59"/>
                    </a:lnTo>
                    <a:lnTo>
                      <a:pt x="61" y="64"/>
                    </a:lnTo>
                    <a:lnTo>
                      <a:pt x="61" y="65"/>
                    </a:lnTo>
                    <a:lnTo>
                      <a:pt x="61" y="67"/>
                    </a:lnTo>
                    <a:lnTo>
                      <a:pt x="58" y="67"/>
                    </a:lnTo>
                    <a:lnTo>
                      <a:pt x="58" y="65"/>
                    </a:lnTo>
                    <a:lnTo>
                      <a:pt x="58" y="62"/>
                    </a:lnTo>
                    <a:lnTo>
                      <a:pt x="56" y="62"/>
                    </a:lnTo>
                    <a:lnTo>
                      <a:pt x="51" y="65"/>
                    </a:lnTo>
                    <a:lnTo>
                      <a:pt x="48" y="62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3" y="68"/>
                    </a:lnTo>
                    <a:lnTo>
                      <a:pt x="43" y="65"/>
                    </a:lnTo>
                    <a:lnTo>
                      <a:pt x="41" y="65"/>
                    </a:lnTo>
                    <a:lnTo>
                      <a:pt x="40" y="68"/>
                    </a:lnTo>
                    <a:lnTo>
                      <a:pt x="38" y="65"/>
                    </a:lnTo>
                    <a:lnTo>
                      <a:pt x="33" y="72"/>
                    </a:lnTo>
                    <a:lnTo>
                      <a:pt x="31" y="72"/>
                    </a:lnTo>
                    <a:lnTo>
                      <a:pt x="30" y="70"/>
                    </a:lnTo>
                    <a:lnTo>
                      <a:pt x="27" y="70"/>
                    </a:lnTo>
                    <a:lnTo>
                      <a:pt x="25" y="72"/>
                    </a:lnTo>
                    <a:lnTo>
                      <a:pt x="25" y="77"/>
                    </a:lnTo>
                    <a:lnTo>
                      <a:pt x="20" y="85"/>
                    </a:lnTo>
                    <a:lnTo>
                      <a:pt x="22" y="86"/>
                    </a:lnTo>
                    <a:lnTo>
                      <a:pt x="17" y="91"/>
                    </a:lnTo>
                    <a:lnTo>
                      <a:pt x="17" y="93"/>
                    </a:lnTo>
                    <a:lnTo>
                      <a:pt x="18" y="95"/>
                    </a:lnTo>
                    <a:lnTo>
                      <a:pt x="17" y="98"/>
                    </a:lnTo>
                    <a:lnTo>
                      <a:pt x="18" y="103"/>
                    </a:lnTo>
                    <a:lnTo>
                      <a:pt x="18" y="108"/>
                    </a:lnTo>
                    <a:lnTo>
                      <a:pt x="22" y="116"/>
                    </a:lnTo>
                    <a:lnTo>
                      <a:pt x="22" y="117"/>
                    </a:lnTo>
                    <a:lnTo>
                      <a:pt x="25" y="121"/>
                    </a:lnTo>
                    <a:lnTo>
                      <a:pt x="25" y="122"/>
                    </a:lnTo>
                    <a:lnTo>
                      <a:pt x="23" y="124"/>
                    </a:lnTo>
                    <a:lnTo>
                      <a:pt x="23" y="127"/>
                    </a:lnTo>
                    <a:lnTo>
                      <a:pt x="22" y="134"/>
                    </a:lnTo>
                    <a:lnTo>
                      <a:pt x="18" y="137"/>
                    </a:lnTo>
                    <a:lnTo>
                      <a:pt x="18" y="140"/>
                    </a:lnTo>
                    <a:lnTo>
                      <a:pt x="17" y="140"/>
                    </a:lnTo>
                    <a:lnTo>
                      <a:pt x="15" y="144"/>
                    </a:lnTo>
                    <a:lnTo>
                      <a:pt x="12" y="147"/>
                    </a:lnTo>
                    <a:lnTo>
                      <a:pt x="12" y="152"/>
                    </a:lnTo>
                    <a:lnTo>
                      <a:pt x="10" y="155"/>
                    </a:lnTo>
                    <a:lnTo>
                      <a:pt x="5" y="155"/>
                    </a:lnTo>
                    <a:lnTo>
                      <a:pt x="4" y="157"/>
                    </a:lnTo>
                    <a:lnTo>
                      <a:pt x="5" y="162"/>
                    </a:lnTo>
                    <a:lnTo>
                      <a:pt x="2" y="166"/>
                    </a:lnTo>
                    <a:lnTo>
                      <a:pt x="2" y="170"/>
                    </a:lnTo>
                    <a:lnTo>
                      <a:pt x="0" y="173"/>
                    </a:lnTo>
                    <a:lnTo>
                      <a:pt x="2" y="175"/>
                    </a:lnTo>
                    <a:lnTo>
                      <a:pt x="2" y="180"/>
                    </a:lnTo>
                    <a:lnTo>
                      <a:pt x="5" y="184"/>
                    </a:lnTo>
                    <a:lnTo>
                      <a:pt x="5" y="189"/>
                    </a:lnTo>
                    <a:lnTo>
                      <a:pt x="5" y="191"/>
                    </a:lnTo>
                    <a:lnTo>
                      <a:pt x="7" y="193"/>
                    </a:lnTo>
                    <a:lnTo>
                      <a:pt x="9" y="193"/>
                    </a:lnTo>
                    <a:lnTo>
                      <a:pt x="9" y="193"/>
                    </a:lnTo>
                    <a:lnTo>
                      <a:pt x="5" y="194"/>
                    </a:lnTo>
                    <a:lnTo>
                      <a:pt x="5" y="198"/>
                    </a:lnTo>
                    <a:lnTo>
                      <a:pt x="5" y="202"/>
                    </a:lnTo>
                    <a:lnTo>
                      <a:pt x="5" y="209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9" y="214"/>
                    </a:lnTo>
                    <a:lnTo>
                      <a:pt x="10" y="217"/>
                    </a:lnTo>
                    <a:lnTo>
                      <a:pt x="12" y="219"/>
                    </a:lnTo>
                    <a:lnTo>
                      <a:pt x="13" y="220"/>
                    </a:lnTo>
                    <a:lnTo>
                      <a:pt x="15" y="222"/>
                    </a:lnTo>
                    <a:lnTo>
                      <a:pt x="17" y="222"/>
                    </a:lnTo>
                    <a:lnTo>
                      <a:pt x="18" y="224"/>
                    </a:lnTo>
                    <a:lnTo>
                      <a:pt x="20" y="224"/>
                    </a:lnTo>
                    <a:lnTo>
                      <a:pt x="23" y="227"/>
                    </a:lnTo>
                    <a:lnTo>
                      <a:pt x="25" y="227"/>
                    </a:lnTo>
                    <a:lnTo>
                      <a:pt x="25" y="229"/>
                    </a:lnTo>
                    <a:lnTo>
                      <a:pt x="27" y="230"/>
                    </a:lnTo>
                    <a:lnTo>
                      <a:pt x="27" y="230"/>
                    </a:lnTo>
                    <a:close/>
                    <a:moveTo>
                      <a:pt x="95" y="16"/>
                    </a:moveTo>
                    <a:lnTo>
                      <a:pt x="95" y="15"/>
                    </a:lnTo>
                    <a:lnTo>
                      <a:pt x="97" y="13"/>
                    </a:lnTo>
                    <a:lnTo>
                      <a:pt x="97" y="13"/>
                    </a:lnTo>
                    <a:lnTo>
                      <a:pt x="95" y="16"/>
                    </a:lnTo>
                    <a:lnTo>
                      <a:pt x="95" y="16"/>
                    </a:lnTo>
                    <a:close/>
                    <a:moveTo>
                      <a:pt x="93" y="21"/>
                    </a:moveTo>
                    <a:lnTo>
                      <a:pt x="95" y="21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3" y="21"/>
                    </a:lnTo>
                    <a:lnTo>
                      <a:pt x="93" y="21"/>
                    </a:lnTo>
                    <a:close/>
                    <a:moveTo>
                      <a:pt x="89" y="21"/>
                    </a:moveTo>
                    <a:lnTo>
                      <a:pt x="90" y="19"/>
                    </a:lnTo>
                    <a:lnTo>
                      <a:pt x="90" y="21"/>
                    </a:lnTo>
                    <a:lnTo>
                      <a:pt x="92" y="21"/>
                    </a:lnTo>
                    <a:lnTo>
                      <a:pt x="92" y="24"/>
                    </a:lnTo>
                    <a:lnTo>
                      <a:pt x="90" y="23"/>
                    </a:lnTo>
                    <a:lnTo>
                      <a:pt x="87" y="23"/>
                    </a:lnTo>
                    <a:lnTo>
                      <a:pt x="89" y="21"/>
                    </a:lnTo>
                    <a:lnTo>
                      <a:pt x="89" y="21"/>
                    </a:lnTo>
                    <a:close/>
                    <a:moveTo>
                      <a:pt x="110" y="85"/>
                    </a:moveTo>
                    <a:lnTo>
                      <a:pt x="110" y="83"/>
                    </a:lnTo>
                    <a:lnTo>
                      <a:pt x="111" y="82"/>
                    </a:lnTo>
                    <a:lnTo>
                      <a:pt x="111" y="80"/>
                    </a:lnTo>
                    <a:lnTo>
                      <a:pt x="113" y="80"/>
                    </a:lnTo>
                    <a:lnTo>
                      <a:pt x="113" y="78"/>
                    </a:lnTo>
                    <a:lnTo>
                      <a:pt x="113" y="80"/>
                    </a:lnTo>
                    <a:lnTo>
                      <a:pt x="111" y="83"/>
                    </a:lnTo>
                    <a:lnTo>
                      <a:pt x="110" y="8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9" name="Freeform 302">
                <a:extLst>
                  <a:ext uri="{FF2B5EF4-FFF2-40B4-BE49-F238E27FC236}">
                    <a16:creationId xmlns:a16="http://schemas.microsoft.com/office/drawing/2014/main" xmlns="" id="{31CE9E35-B8BF-4494-89CF-1897453B2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" y="2230"/>
                <a:ext cx="165" cy="273"/>
              </a:xfrm>
              <a:custGeom>
                <a:avLst/>
                <a:gdLst>
                  <a:gd name="T0" fmla="*/ 29 w 165"/>
                  <a:gd name="T1" fmla="*/ 170 h 273"/>
                  <a:gd name="T2" fmla="*/ 33 w 165"/>
                  <a:gd name="T3" fmla="*/ 160 h 273"/>
                  <a:gd name="T4" fmla="*/ 36 w 165"/>
                  <a:gd name="T5" fmla="*/ 149 h 273"/>
                  <a:gd name="T6" fmla="*/ 36 w 165"/>
                  <a:gd name="T7" fmla="*/ 139 h 273"/>
                  <a:gd name="T8" fmla="*/ 38 w 165"/>
                  <a:gd name="T9" fmla="*/ 129 h 273"/>
                  <a:gd name="T10" fmla="*/ 39 w 165"/>
                  <a:gd name="T11" fmla="*/ 116 h 273"/>
                  <a:gd name="T12" fmla="*/ 39 w 165"/>
                  <a:gd name="T13" fmla="*/ 105 h 273"/>
                  <a:gd name="T14" fmla="*/ 25 w 165"/>
                  <a:gd name="T15" fmla="*/ 98 h 273"/>
                  <a:gd name="T16" fmla="*/ 10 w 165"/>
                  <a:gd name="T17" fmla="*/ 93 h 273"/>
                  <a:gd name="T18" fmla="*/ 0 w 165"/>
                  <a:gd name="T19" fmla="*/ 79 h 273"/>
                  <a:gd name="T20" fmla="*/ 29 w 165"/>
                  <a:gd name="T21" fmla="*/ 66 h 273"/>
                  <a:gd name="T22" fmla="*/ 49 w 165"/>
                  <a:gd name="T23" fmla="*/ 62 h 273"/>
                  <a:gd name="T24" fmla="*/ 57 w 165"/>
                  <a:gd name="T25" fmla="*/ 67 h 273"/>
                  <a:gd name="T26" fmla="*/ 67 w 165"/>
                  <a:gd name="T27" fmla="*/ 74 h 273"/>
                  <a:gd name="T28" fmla="*/ 60 w 165"/>
                  <a:gd name="T29" fmla="*/ 90 h 273"/>
                  <a:gd name="T30" fmla="*/ 70 w 165"/>
                  <a:gd name="T31" fmla="*/ 103 h 273"/>
                  <a:gd name="T32" fmla="*/ 77 w 165"/>
                  <a:gd name="T33" fmla="*/ 111 h 273"/>
                  <a:gd name="T34" fmla="*/ 80 w 165"/>
                  <a:gd name="T35" fmla="*/ 93 h 273"/>
                  <a:gd name="T36" fmla="*/ 85 w 165"/>
                  <a:gd name="T37" fmla="*/ 80 h 273"/>
                  <a:gd name="T38" fmla="*/ 87 w 165"/>
                  <a:gd name="T39" fmla="*/ 75 h 273"/>
                  <a:gd name="T40" fmla="*/ 83 w 165"/>
                  <a:gd name="T41" fmla="*/ 61 h 273"/>
                  <a:gd name="T42" fmla="*/ 72 w 165"/>
                  <a:gd name="T43" fmla="*/ 49 h 273"/>
                  <a:gd name="T44" fmla="*/ 85 w 165"/>
                  <a:gd name="T45" fmla="*/ 17 h 273"/>
                  <a:gd name="T46" fmla="*/ 93 w 165"/>
                  <a:gd name="T47" fmla="*/ 18 h 273"/>
                  <a:gd name="T48" fmla="*/ 105 w 165"/>
                  <a:gd name="T49" fmla="*/ 18 h 273"/>
                  <a:gd name="T50" fmla="*/ 111 w 165"/>
                  <a:gd name="T51" fmla="*/ 18 h 273"/>
                  <a:gd name="T52" fmla="*/ 121 w 165"/>
                  <a:gd name="T53" fmla="*/ 13 h 273"/>
                  <a:gd name="T54" fmla="*/ 132 w 165"/>
                  <a:gd name="T55" fmla="*/ 13 h 273"/>
                  <a:gd name="T56" fmla="*/ 145 w 165"/>
                  <a:gd name="T57" fmla="*/ 10 h 273"/>
                  <a:gd name="T58" fmla="*/ 158 w 165"/>
                  <a:gd name="T59" fmla="*/ 2 h 273"/>
                  <a:gd name="T60" fmla="*/ 165 w 165"/>
                  <a:gd name="T61" fmla="*/ 5 h 273"/>
                  <a:gd name="T62" fmla="*/ 162 w 165"/>
                  <a:gd name="T63" fmla="*/ 15 h 273"/>
                  <a:gd name="T64" fmla="*/ 162 w 165"/>
                  <a:gd name="T65" fmla="*/ 28 h 273"/>
                  <a:gd name="T66" fmla="*/ 162 w 165"/>
                  <a:gd name="T67" fmla="*/ 43 h 273"/>
                  <a:gd name="T68" fmla="*/ 158 w 165"/>
                  <a:gd name="T69" fmla="*/ 61 h 273"/>
                  <a:gd name="T70" fmla="*/ 163 w 165"/>
                  <a:gd name="T71" fmla="*/ 69 h 273"/>
                  <a:gd name="T72" fmla="*/ 160 w 165"/>
                  <a:gd name="T73" fmla="*/ 75 h 273"/>
                  <a:gd name="T74" fmla="*/ 158 w 165"/>
                  <a:gd name="T75" fmla="*/ 80 h 273"/>
                  <a:gd name="T76" fmla="*/ 150 w 165"/>
                  <a:gd name="T77" fmla="*/ 95 h 273"/>
                  <a:gd name="T78" fmla="*/ 134 w 165"/>
                  <a:gd name="T79" fmla="*/ 107 h 273"/>
                  <a:gd name="T80" fmla="*/ 109 w 165"/>
                  <a:gd name="T81" fmla="*/ 120 h 273"/>
                  <a:gd name="T82" fmla="*/ 101 w 165"/>
                  <a:gd name="T83" fmla="*/ 123 h 273"/>
                  <a:gd name="T84" fmla="*/ 91 w 165"/>
                  <a:gd name="T85" fmla="*/ 136 h 273"/>
                  <a:gd name="T86" fmla="*/ 77 w 165"/>
                  <a:gd name="T87" fmla="*/ 146 h 273"/>
                  <a:gd name="T88" fmla="*/ 65 w 165"/>
                  <a:gd name="T89" fmla="*/ 152 h 273"/>
                  <a:gd name="T90" fmla="*/ 64 w 165"/>
                  <a:gd name="T91" fmla="*/ 159 h 273"/>
                  <a:gd name="T92" fmla="*/ 65 w 165"/>
                  <a:gd name="T93" fmla="*/ 175 h 273"/>
                  <a:gd name="T94" fmla="*/ 70 w 165"/>
                  <a:gd name="T95" fmla="*/ 195 h 273"/>
                  <a:gd name="T96" fmla="*/ 74 w 165"/>
                  <a:gd name="T97" fmla="*/ 196 h 273"/>
                  <a:gd name="T98" fmla="*/ 74 w 165"/>
                  <a:gd name="T99" fmla="*/ 206 h 273"/>
                  <a:gd name="T100" fmla="*/ 70 w 165"/>
                  <a:gd name="T101" fmla="*/ 219 h 273"/>
                  <a:gd name="T102" fmla="*/ 70 w 165"/>
                  <a:gd name="T103" fmla="*/ 231 h 273"/>
                  <a:gd name="T104" fmla="*/ 31 w 165"/>
                  <a:gd name="T105" fmla="*/ 250 h 273"/>
                  <a:gd name="T106" fmla="*/ 23 w 165"/>
                  <a:gd name="T107" fmla="*/ 258 h 273"/>
                  <a:gd name="T108" fmla="*/ 29 w 165"/>
                  <a:gd name="T109" fmla="*/ 263 h 273"/>
                  <a:gd name="T110" fmla="*/ 29 w 165"/>
                  <a:gd name="T111" fmla="*/ 270 h 273"/>
                  <a:gd name="T112" fmla="*/ 18 w 165"/>
                  <a:gd name="T113" fmla="*/ 270 h 273"/>
                  <a:gd name="T114" fmla="*/ 16 w 165"/>
                  <a:gd name="T115" fmla="*/ 260 h 273"/>
                  <a:gd name="T116" fmla="*/ 16 w 165"/>
                  <a:gd name="T117" fmla="*/ 244 h 273"/>
                  <a:gd name="T118" fmla="*/ 15 w 165"/>
                  <a:gd name="T119" fmla="*/ 221 h 273"/>
                  <a:gd name="T120" fmla="*/ 10 w 165"/>
                  <a:gd name="T121" fmla="*/ 20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5" h="273">
                    <a:moveTo>
                      <a:pt x="10" y="200"/>
                    </a:moveTo>
                    <a:lnTo>
                      <a:pt x="28" y="182"/>
                    </a:lnTo>
                    <a:lnTo>
                      <a:pt x="28" y="177"/>
                    </a:lnTo>
                    <a:lnTo>
                      <a:pt x="29" y="175"/>
                    </a:lnTo>
                    <a:lnTo>
                      <a:pt x="29" y="170"/>
                    </a:lnTo>
                    <a:lnTo>
                      <a:pt x="29" y="169"/>
                    </a:lnTo>
                    <a:lnTo>
                      <a:pt x="29" y="165"/>
                    </a:lnTo>
                    <a:lnTo>
                      <a:pt x="29" y="164"/>
                    </a:lnTo>
                    <a:lnTo>
                      <a:pt x="31" y="162"/>
                    </a:lnTo>
                    <a:lnTo>
                      <a:pt x="33" y="160"/>
                    </a:lnTo>
                    <a:lnTo>
                      <a:pt x="36" y="159"/>
                    </a:lnTo>
                    <a:lnTo>
                      <a:pt x="38" y="156"/>
                    </a:lnTo>
                    <a:lnTo>
                      <a:pt x="38" y="154"/>
                    </a:lnTo>
                    <a:lnTo>
                      <a:pt x="36" y="152"/>
                    </a:lnTo>
                    <a:lnTo>
                      <a:pt x="36" y="149"/>
                    </a:lnTo>
                    <a:lnTo>
                      <a:pt x="38" y="147"/>
                    </a:lnTo>
                    <a:lnTo>
                      <a:pt x="36" y="144"/>
                    </a:lnTo>
                    <a:lnTo>
                      <a:pt x="34" y="142"/>
                    </a:lnTo>
                    <a:lnTo>
                      <a:pt x="34" y="141"/>
                    </a:lnTo>
                    <a:lnTo>
                      <a:pt x="36" y="139"/>
                    </a:lnTo>
                    <a:lnTo>
                      <a:pt x="36" y="136"/>
                    </a:lnTo>
                    <a:lnTo>
                      <a:pt x="36" y="134"/>
                    </a:lnTo>
                    <a:lnTo>
                      <a:pt x="38" y="133"/>
                    </a:lnTo>
                    <a:lnTo>
                      <a:pt x="39" y="129"/>
                    </a:lnTo>
                    <a:lnTo>
                      <a:pt x="38" y="129"/>
                    </a:lnTo>
                    <a:lnTo>
                      <a:pt x="36" y="128"/>
                    </a:lnTo>
                    <a:lnTo>
                      <a:pt x="38" y="126"/>
                    </a:lnTo>
                    <a:lnTo>
                      <a:pt x="38" y="121"/>
                    </a:lnTo>
                    <a:lnTo>
                      <a:pt x="39" y="118"/>
                    </a:lnTo>
                    <a:lnTo>
                      <a:pt x="39" y="116"/>
                    </a:lnTo>
                    <a:lnTo>
                      <a:pt x="39" y="115"/>
                    </a:lnTo>
                    <a:lnTo>
                      <a:pt x="39" y="111"/>
                    </a:lnTo>
                    <a:lnTo>
                      <a:pt x="39" y="110"/>
                    </a:lnTo>
                    <a:lnTo>
                      <a:pt x="41" y="107"/>
                    </a:lnTo>
                    <a:lnTo>
                      <a:pt x="39" y="105"/>
                    </a:lnTo>
                    <a:lnTo>
                      <a:pt x="36" y="105"/>
                    </a:lnTo>
                    <a:lnTo>
                      <a:pt x="34" y="102"/>
                    </a:lnTo>
                    <a:lnTo>
                      <a:pt x="31" y="100"/>
                    </a:lnTo>
                    <a:lnTo>
                      <a:pt x="26" y="100"/>
                    </a:lnTo>
                    <a:lnTo>
                      <a:pt x="25" y="98"/>
                    </a:lnTo>
                    <a:lnTo>
                      <a:pt x="21" y="95"/>
                    </a:lnTo>
                    <a:lnTo>
                      <a:pt x="16" y="92"/>
                    </a:lnTo>
                    <a:lnTo>
                      <a:pt x="13" y="92"/>
                    </a:lnTo>
                    <a:lnTo>
                      <a:pt x="11" y="93"/>
                    </a:lnTo>
                    <a:lnTo>
                      <a:pt x="10" y="93"/>
                    </a:lnTo>
                    <a:lnTo>
                      <a:pt x="8" y="92"/>
                    </a:lnTo>
                    <a:lnTo>
                      <a:pt x="7" y="92"/>
                    </a:lnTo>
                    <a:lnTo>
                      <a:pt x="2" y="92"/>
                    </a:lnTo>
                    <a:lnTo>
                      <a:pt x="0" y="84"/>
                    </a:lnTo>
                    <a:lnTo>
                      <a:pt x="0" y="79"/>
                    </a:lnTo>
                    <a:lnTo>
                      <a:pt x="0" y="75"/>
                    </a:lnTo>
                    <a:lnTo>
                      <a:pt x="7" y="72"/>
                    </a:lnTo>
                    <a:lnTo>
                      <a:pt x="10" y="72"/>
                    </a:lnTo>
                    <a:lnTo>
                      <a:pt x="26" y="66"/>
                    </a:lnTo>
                    <a:lnTo>
                      <a:pt x="29" y="66"/>
                    </a:lnTo>
                    <a:lnTo>
                      <a:pt x="39" y="61"/>
                    </a:lnTo>
                    <a:lnTo>
                      <a:pt x="42" y="59"/>
                    </a:lnTo>
                    <a:lnTo>
                      <a:pt x="47" y="59"/>
                    </a:lnTo>
                    <a:lnTo>
                      <a:pt x="49" y="61"/>
                    </a:lnTo>
                    <a:lnTo>
                      <a:pt x="49" y="62"/>
                    </a:lnTo>
                    <a:lnTo>
                      <a:pt x="51" y="64"/>
                    </a:lnTo>
                    <a:lnTo>
                      <a:pt x="51" y="66"/>
                    </a:lnTo>
                    <a:lnTo>
                      <a:pt x="54" y="67"/>
                    </a:lnTo>
                    <a:lnTo>
                      <a:pt x="54" y="67"/>
                    </a:lnTo>
                    <a:lnTo>
                      <a:pt x="57" y="67"/>
                    </a:lnTo>
                    <a:lnTo>
                      <a:pt x="57" y="66"/>
                    </a:lnTo>
                    <a:lnTo>
                      <a:pt x="60" y="66"/>
                    </a:lnTo>
                    <a:lnTo>
                      <a:pt x="65" y="66"/>
                    </a:lnTo>
                    <a:lnTo>
                      <a:pt x="67" y="69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4" y="80"/>
                    </a:lnTo>
                    <a:lnTo>
                      <a:pt x="62" y="84"/>
                    </a:lnTo>
                    <a:lnTo>
                      <a:pt x="60" y="87"/>
                    </a:lnTo>
                    <a:lnTo>
                      <a:pt x="60" y="90"/>
                    </a:lnTo>
                    <a:lnTo>
                      <a:pt x="62" y="93"/>
                    </a:lnTo>
                    <a:lnTo>
                      <a:pt x="62" y="97"/>
                    </a:lnTo>
                    <a:lnTo>
                      <a:pt x="65" y="100"/>
                    </a:lnTo>
                    <a:lnTo>
                      <a:pt x="69" y="102"/>
                    </a:lnTo>
                    <a:lnTo>
                      <a:pt x="70" y="103"/>
                    </a:lnTo>
                    <a:lnTo>
                      <a:pt x="72" y="105"/>
                    </a:lnTo>
                    <a:lnTo>
                      <a:pt x="74" y="108"/>
                    </a:lnTo>
                    <a:lnTo>
                      <a:pt x="74" y="110"/>
                    </a:lnTo>
                    <a:lnTo>
                      <a:pt x="74" y="111"/>
                    </a:lnTo>
                    <a:lnTo>
                      <a:pt x="77" y="111"/>
                    </a:lnTo>
                    <a:lnTo>
                      <a:pt x="77" y="108"/>
                    </a:lnTo>
                    <a:lnTo>
                      <a:pt x="77" y="105"/>
                    </a:lnTo>
                    <a:lnTo>
                      <a:pt x="78" y="102"/>
                    </a:lnTo>
                    <a:lnTo>
                      <a:pt x="78" y="98"/>
                    </a:lnTo>
                    <a:lnTo>
                      <a:pt x="80" y="93"/>
                    </a:lnTo>
                    <a:lnTo>
                      <a:pt x="83" y="93"/>
                    </a:lnTo>
                    <a:lnTo>
                      <a:pt x="85" y="92"/>
                    </a:lnTo>
                    <a:lnTo>
                      <a:pt x="87" y="89"/>
                    </a:lnTo>
                    <a:lnTo>
                      <a:pt x="87" y="82"/>
                    </a:lnTo>
                    <a:lnTo>
                      <a:pt x="85" y="80"/>
                    </a:lnTo>
                    <a:lnTo>
                      <a:pt x="85" y="79"/>
                    </a:lnTo>
                    <a:lnTo>
                      <a:pt x="85" y="79"/>
                    </a:lnTo>
                    <a:lnTo>
                      <a:pt x="85" y="77"/>
                    </a:lnTo>
                    <a:lnTo>
                      <a:pt x="87" y="77"/>
                    </a:lnTo>
                    <a:lnTo>
                      <a:pt x="87" y="75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8" y="71"/>
                    </a:lnTo>
                    <a:lnTo>
                      <a:pt x="87" y="66"/>
                    </a:lnTo>
                    <a:lnTo>
                      <a:pt x="83" y="61"/>
                    </a:lnTo>
                    <a:lnTo>
                      <a:pt x="82" y="59"/>
                    </a:lnTo>
                    <a:lnTo>
                      <a:pt x="77" y="53"/>
                    </a:lnTo>
                    <a:lnTo>
                      <a:pt x="75" y="53"/>
                    </a:lnTo>
                    <a:lnTo>
                      <a:pt x="74" y="51"/>
                    </a:lnTo>
                    <a:lnTo>
                      <a:pt x="72" y="49"/>
                    </a:lnTo>
                    <a:lnTo>
                      <a:pt x="67" y="46"/>
                    </a:lnTo>
                    <a:lnTo>
                      <a:pt x="64" y="31"/>
                    </a:lnTo>
                    <a:lnTo>
                      <a:pt x="69" y="17"/>
                    </a:lnTo>
                    <a:lnTo>
                      <a:pt x="83" y="17"/>
                    </a:lnTo>
                    <a:lnTo>
                      <a:pt x="85" y="17"/>
                    </a:lnTo>
                    <a:lnTo>
                      <a:pt x="87" y="15"/>
                    </a:lnTo>
                    <a:lnTo>
                      <a:pt x="88" y="15"/>
                    </a:lnTo>
                    <a:lnTo>
                      <a:pt x="88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8"/>
                    </a:lnTo>
                    <a:lnTo>
                      <a:pt x="96" y="20"/>
                    </a:lnTo>
                    <a:lnTo>
                      <a:pt x="96" y="22"/>
                    </a:lnTo>
                    <a:lnTo>
                      <a:pt x="101" y="20"/>
                    </a:lnTo>
                    <a:lnTo>
                      <a:pt x="105" y="18"/>
                    </a:lnTo>
                    <a:lnTo>
                      <a:pt x="106" y="17"/>
                    </a:lnTo>
                    <a:lnTo>
                      <a:pt x="108" y="17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3" y="20"/>
                    </a:lnTo>
                    <a:lnTo>
                      <a:pt x="116" y="18"/>
                    </a:lnTo>
                    <a:lnTo>
                      <a:pt x="121" y="18"/>
                    </a:lnTo>
                    <a:lnTo>
                      <a:pt x="123" y="15"/>
                    </a:lnTo>
                    <a:lnTo>
                      <a:pt x="121" y="13"/>
                    </a:lnTo>
                    <a:lnTo>
                      <a:pt x="123" y="12"/>
                    </a:lnTo>
                    <a:lnTo>
                      <a:pt x="126" y="13"/>
                    </a:lnTo>
                    <a:lnTo>
                      <a:pt x="127" y="13"/>
                    </a:lnTo>
                    <a:lnTo>
                      <a:pt x="129" y="15"/>
                    </a:lnTo>
                    <a:lnTo>
                      <a:pt x="132" y="13"/>
                    </a:lnTo>
                    <a:lnTo>
                      <a:pt x="134" y="13"/>
                    </a:lnTo>
                    <a:lnTo>
                      <a:pt x="140" y="10"/>
                    </a:lnTo>
                    <a:lnTo>
                      <a:pt x="142" y="12"/>
                    </a:lnTo>
                    <a:lnTo>
                      <a:pt x="144" y="12"/>
                    </a:lnTo>
                    <a:lnTo>
                      <a:pt x="145" y="10"/>
                    </a:lnTo>
                    <a:lnTo>
                      <a:pt x="149" y="8"/>
                    </a:lnTo>
                    <a:lnTo>
                      <a:pt x="152" y="7"/>
                    </a:lnTo>
                    <a:lnTo>
                      <a:pt x="155" y="7"/>
                    </a:lnTo>
                    <a:lnTo>
                      <a:pt x="157" y="4"/>
                    </a:lnTo>
                    <a:lnTo>
                      <a:pt x="158" y="2"/>
                    </a:lnTo>
                    <a:lnTo>
                      <a:pt x="162" y="2"/>
                    </a:lnTo>
                    <a:lnTo>
                      <a:pt x="163" y="0"/>
                    </a:lnTo>
                    <a:lnTo>
                      <a:pt x="163" y="0"/>
                    </a:lnTo>
                    <a:lnTo>
                      <a:pt x="165" y="2"/>
                    </a:lnTo>
                    <a:lnTo>
                      <a:pt x="165" y="5"/>
                    </a:lnTo>
                    <a:lnTo>
                      <a:pt x="163" y="7"/>
                    </a:lnTo>
                    <a:lnTo>
                      <a:pt x="165" y="8"/>
                    </a:lnTo>
                    <a:lnTo>
                      <a:pt x="162" y="13"/>
                    </a:lnTo>
                    <a:lnTo>
                      <a:pt x="160" y="15"/>
                    </a:lnTo>
                    <a:lnTo>
                      <a:pt x="162" y="15"/>
                    </a:lnTo>
                    <a:lnTo>
                      <a:pt x="162" y="17"/>
                    </a:lnTo>
                    <a:lnTo>
                      <a:pt x="160" y="18"/>
                    </a:lnTo>
                    <a:lnTo>
                      <a:pt x="162" y="23"/>
                    </a:lnTo>
                    <a:lnTo>
                      <a:pt x="163" y="26"/>
                    </a:lnTo>
                    <a:lnTo>
                      <a:pt x="162" y="28"/>
                    </a:lnTo>
                    <a:lnTo>
                      <a:pt x="162" y="31"/>
                    </a:lnTo>
                    <a:lnTo>
                      <a:pt x="163" y="33"/>
                    </a:lnTo>
                    <a:lnTo>
                      <a:pt x="163" y="38"/>
                    </a:lnTo>
                    <a:lnTo>
                      <a:pt x="162" y="40"/>
                    </a:lnTo>
                    <a:lnTo>
                      <a:pt x="162" y="43"/>
                    </a:lnTo>
                    <a:lnTo>
                      <a:pt x="160" y="51"/>
                    </a:lnTo>
                    <a:lnTo>
                      <a:pt x="160" y="51"/>
                    </a:lnTo>
                    <a:lnTo>
                      <a:pt x="162" y="53"/>
                    </a:lnTo>
                    <a:lnTo>
                      <a:pt x="162" y="59"/>
                    </a:lnTo>
                    <a:lnTo>
                      <a:pt x="158" y="61"/>
                    </a:lnTo>
                    <a:lnTo>
                      <a:pt x="158" y="61"/>
                    </a:lnTo>
                    <a:lnTo>
                      <a:pt x="160" y="62"/>
                    </a:lnTo>
                    <a:lnTo>
                      <a:pt x="163" y="62"/>
                    </a:lnTo>
                    <a:lnTo>
                      <a:pt x="163" y="62"/>
                    </a:lnTo>
                    <a:lnTo>
                      <a:pt x="163" y="69"/>
                    </a:lnTo>
                    <a:lnTo>
                      <a:pt x="163" y="72"/>
                    </a:lnTo>
                    <a:lnTo>
                      <a:pt x="160" y="72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5"/>
                    </a:lnTo>
                    <a:lnTo>
                      <a:pt x="157" y="77"/>
                    </a:lnTo>
                    <a:lnTo>
                      <a:pt x="158" y="79"/>
                    </a:lnTo>
                    <a:lnTo>
                      <a:pt x="158" y="79"/>
                    </a:lnTo>
                    <a:lnTo>
                      <a:pt x="160" y="79"/>
                    </a:lnTo>
                    <a:lnTo>
                      <a:pt x="158" y="80"/>
                    </a:lnTo>
                    <a:lnTo>
                      <a:pt x="158" y="84"/>
                    </a:lnTo>
                    <a:lnTo>
                      <a:pt x="157" y="84"/>
                    </a:lnTo>
                    <a:lnTo>
                      <a:pt x="154" y="89"/>
                    </a:lnTo>
                    <a:lnTo>
                      <a:pt x="154" y="90"/>
                    </a:lnTo>
                    <a:lnTo>
                      <a:pt x="150" y="95"/>
                    </a:lnTo>
                    <a:lnTo>
                      <a:pt x="147" y="95"/>
                    </a:lnTo>
                    <a:lnTo>
                      <a:pt x="147" y="98"/>
                    </a:lnTo>
                    <a:lnTo>
                      <a:pt x="137" y="105"/>
                    </a:lnTo>
                    <a:lnTo>
                      <a:pt x="136" y="105"/>
                    </a:lnTo>
                    <a:lnTo>
                      <a:pt x="134" y="107"/>
                    </a:lnTo>
                    <a:lnTo>
                      <a:pt x="124" y="111"/>
                    </a:lnTo>
                    <a:lnTo>
                      <a:pt x="121" y="111"/>
                    </a:lnTo>
                    <a:lnTo>
                      <a:pt x="121" y="113"/>
                    </a:lnTo>
                    <a:lnTo>
                      <a:pt x="116" y="115"/>
                    </a:lnTo>
                    <a:lnTo>
                      <a:pt x="109" y="120"/>
                    </a:lnTo>
                    <a:lnTo>
                      <a:pt x="108" y="118"/>
                    </a:lnTo>
                    <a:lnTo>
                      <a:pt x="108" y="120"/>
                    </a:lnTo>
                    <a:lnTo>
                      <a:pt x="105" y="124"/>
                    </a:lnTo>
                    <a:lnTo>
                      <a:pt x="103" y="126"/>
                    </a:lnTo>
                    <a:lnTo>
                      <a:pt x="101" y="123"/>
                    </a:lnTo>
                    <a:lnTo>
                      <a:pt x="100" y="128"/>
                    </a:lnTo>
                    <a:lnTo>
                      <a:pt x="98" y="128"/>
                    </a:lnTo>
                    <a:lnTo>
                      <a:pt x="98" y="131"/>
                    </a:lnTo>
                    <a:lnTo>
                      <a:pt x="91" y="134"/>
                    </a:lnTo>
                    <a:lnTo>
                      <a:pt x="91" y="136"/>
                    </a:lnTo>
                    <a:lnTo>
                      <a:pt x="90" y="138"/>
                    </a:lnTo>
                    <a:lnTo>
                      <a:pt x="88" y="138"/>
                    </a:lnTo>
                    <a:lnTo>
                      <a:pt x="88" y="139"/>
                    </a:lnTo>
                    <a:lnTo>
                      <a:pt x="85" y="141"/>
                    </a:lnTo>
                    <a:lnTo>
                      <a:pt x="77" y="146"/>
                    </a:lnTo>
                    <a:lnTo>
                      <a:pt x="77" y="149"/>
                    </a:lnTo>
                    <a:lnTo>
                      <a:pt x="74" y="152"/>
                    </a:lnTo>
                    <a:lnTo>
                      <a:pt x="70" y="152"/>
                    </a:lnTo>
                    <a:lnTo>
                      <a:pt x="69" y="154"/>
                    </a:lnTo>
                    <a:lnTo>
                      <a:pt x="65" y="152"/>
                    </a:lnTo>
                    <a:lnTo>
                      <a:pt x="64" y="152"/>
                    </a:lnTo>
                    <a:lnTo>
                      <a:pt x="64" y="154"/>
                    </a:lnTo>
                    <a:lnTo>
                      <a:pt x="65" y="156"/>
                    </a:lnTo>
                    <a:lnTo>
                      <a:pt x="65" y="157"/>
                    </a:lnTo>
                    <a:lnTo>
                      <a:pt x="64" y="159"/>
                    </a:lnTo>
                    <a:lnTo>
                      <a:pt x="65" y="162"/>
                    </a:lnTo>
                    <a:lnTo>
                      <a:pt x="64" y="164"/>
                    </a:lnTo>
                    <a:lnTo>
                      <a:pt x="67" y="170"/>
                    </a:lnTo>
                    <a:lnTo>
                      <a:pt x="67" y="174"/>
                    </a:lnTo>
                    <a:lnTo>
                      <a:pt x="65" y="175"/>
                    </a:lnTo>
                    <a:lnTo>
                      <a:pt x="67" y="175"/>
                    </a:lnTo>
                    <a:lnTo>
                      <a:pt x="69" y="178"/>
                    </a:lnTo>
                    <a:lnTo>
                      <a:pt x="69" y="182"/>
                    </a:lnTo>
                    <a:lnTo>
                      <a:pt x="70" y="185"/>
                    </a:lnTo>
                    <a:lnTo>
                      <a:pt x="70" y="195"/>
                    </a:lnTo>
                    <a:lnTo>
                      <a:pt x="72" y="200"/>
                    </a:lnTo>
                    <a:lnTo>
                      <a:pt x="72" y="200"/>
                    </a:lnTo>
                    <a:lnTo>
                      <a:pt x="72" y="196"/>
                    </a:lnTo>
                    <a:lnTo>
                      <a:pt x="74" y="191"/>
                    </a:lnTo>
                    <a:lnTo>
                      <a:pt x="74" y="196"/>
                    </a:lnTo>
                    <a:lnTo>
                      <a:pt x="75" y="195"/>
                    </a:lnTo>
                    <a:lnTo>
                      <a:pt x="75" y="200"/>
                    </a:lnTo>
                    <a:lnTo>
                      <a:pt x="74" y="201"/>
                    </a:lnTo>
                    <a:lnTo>
                      <a:pt x="74" y="206"/>
                    </a:lnTo>
                    <a:lnTo>
                      <a:pt x="74" y="206"/>
                    </a:lnTo>
                    <a:lnTo>
                      <a:pt x="72" y="211"/>
                    </a:lnTo>
                    <a:lnTo>
                      <a:pt x="72" y="214"/>
                    </a:lnTo>
                    <a:lnTo>
                      <a:pt x="70" y="216"/>
                    </a:lnTo>
                    <a:lnTo>
                      <a:pt x="70" y="219"/>
                    </a:lnTo>
                    <a:lnTo>
                      <a:pt x="70" y="219"/>
                    </a:lnTo>
                    <a:lnTo>
                      <a:pt x="70" y="223"/>
                    </a:lnTo>
                    <a:lnTo>
                      <a:pt x="72" y="221"/>
                    </a:lnTo>
                    <a:lnTo>
                      <a:pt x="74" y="223"/>
                    </a:lnTo>
                    <a:lnTo>
                      <a:pt x="72" y="226"/>
                    </a:lnTo>
                    <a:lnTo>
                      <a:pt x="70" y="231"/>
                    </a:lnTo>
                    <a:lnTo>
                      <a:pt x="64" y="236"/>
                    </a:lnTo>
                    <a:lnTo>
                      <a:pt x="54" y="241"/>
                    </a:lnTo>
                    <a:lnTo>
                      <a:pt x="41" y="244"/>
                    </a:lnTo>
                    <a:lnTo>
                      <a:pt x="34" y="249"/>
                    </a:lnTo>
                    <a:lnTo>
                      <a:pt x="31" y="250"/>
                    </a:lnTo>
                    <a:lnTo>
                      <a:pt x="29" y="252"/>
                    </a:lnTo>
                    <a:lnTo>
                      <a:pt x="28" y="254"/>
                    </a:lnTo>
                    <a:lnTo>
                      <a:pt x="26" y="257"/>
                    </a:lnTo>
                    <a:lnTo>
                      <a:pt x="25" y="257"/>
                    </a:lnTo>
                    <a:lnTo>
                      <a:pt x="23" y="258"/>
                    </a:lnTo>
                    <a:lnTo>
                      <a:pt x="25" y="260"/>
                    </a:lnTo>
                    <a:lnTo>
                      <a:pt x="26" y="262"/>
                    </a:lnTo>
                    <a:lnTo>
                      <a:pt x="26" y="265"/>
                    </a:lnTo>
                    <a:lnTo>
                      <a:pt x="26" y="263"/>
                    </a:lnTo>
                    <a:lnTo>
                      <a:pt x="29" y="263"/>
                    </a:lnTo>
                    <a:lnTo>
                      <a:pt x="29" y="262"/>
                    </a:lnTo>
                    <a:lnTo>
                      <a:pt x="31" y="262"/>
                    </a:lnTo>
                    <a:lnTo>
                      <a:pt x="31" y="263"/>
                    </a:lnTo>
                    <a:lnTo>
                      <a:pt x="31" y="267"/>
                    </a:lnTo>
                    <a:lnTo>
                      <a:pt x="29" y="270"/>
                    </a:lnTo>
                    <a:lnTo>
                      <a:pt x="29" y="273"/>
                    </a:lnTo>
                    <a:lnTo>
                      <a:pt x="26" y="273"/>
                    </a:lnTo>
                    <a:lnTo>
                      <a:pt x="20" y="272"/>
                    </a:lnTo>
                    <a:lnTo>
                      <a:pt x="18" y="272"/>
                    </a:lnTo>
                    <a:lnTo>
                      <a:pt x="18" y="270"/>
                    </a:lnTo>
                    <a:lnTo>
                      <a:pt x="20" y="268"/>
                    </a:lnTo>
                    <a:lnTo>
                      <a:pt x="20" y="265"/>
                    </a:lnTo>
                    <a:lnTo>
                      <a:pt x="20" y="265"/>
                    </a:lnTo>
                    <a:lnTo>
                      <a:pt x="18" y="262"/>
                    </a:lnTo>
                    <a:lnTo>
                      <a:pt x="16" y="260"/>
                    </a:lnTo>
                    <a:lnTo>
                      <a:pt x="15" y="260"/>
                    </a:lnTo>
                    <a:lnTo>
                      <a:pt x="15" y="258"/>
                    </a:lnTo>
                    <a:lnTo>
                      <a:pt x="15" y="254"/>
                    </a:lnTo>
                    <a:lnTo>
                      <a:pt x="15" y="249"/>
                    </a:lnTo>
                    <a:lnTo>
                      <a:pt x="16" y="244"/>
                    </a:lnTo>
                    <a:lnTo>
                      <a:pt x="16" y="231"/>
                    </a:lnTo>
                    <a:lnTo>
                      <a:pt x="15" y="227"/>
                    </a:lnTo>
                    <a:lnTo>
                      <a:pt x="15" y="224"/>
                    </a:lnTo>
                    <a:lnTo>
                      <a:pt x="15" y="221"/>
                    </a:lnTo>
                    <a:lnTo>
                      <a:pt x="15" y="221"/>
                    </a:lnTo>
                    <a:lnTo>
                      <a:pt x="15" y="213"/>
                    </a:lnTo>
                    <a:lnTo>
                      <a:pt x="13" y="209"/>
                    </a:lnTo>
                    <a:lnTo>
                      <a:pt x="11" y="205"/>
                    </a:lnTo>
                    <a:lnTo>
                      <a:pt x="11" y="200"/>
                    </a:lnTo>
                    <a:lnTo>
                      <a:pt x="10" y="20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0" name="Freeform 303">
                <a:extLst>
                  <a:ext uri="{FF2B5EF4-FFF2-40B4-BE49-F238E27FC236}">
                    <a16:creationId xmlns:a16="http://schemas.microsoft.com/office/drawing/2014/main" xmlns="" id="{D698752D-FD9C-43C4-B6C7-880DB1F0E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2484"/>
                <a:ext cx="23" cy="26"/>
              </a:xfrm>
              <a:custGeom>
                <a:avLst/>
                <a:gdLst>
                  <a:gd name="T0" fmla="*/ 18 w 23"/>
                  <a:gd name="T1" fmla="*/ 4 h 26"/>
                  <a:gd name="T2" fmla="*/ 18 w 23"/>
                  <a:gd name="T3" fmla="*/ 6 h 26"/>
                  <a:gd name="T4" fmla="*/ 19 w 23"/>
                  <a:gd name="T5" fmla="*/ 6 h 26"/>
                  <a:gd name="T6" fmla="*/ 21 w 23"/>
                  <a:gd name="T7" fmla="*/ 8 h 26"/>
                  <a:gd name="T8" fmla="*/ 23 w 23"/>
                  <a:gd name="T9" fmla="*/ 11 h 26"/>
                  <a:gd name="T10" fmla="*/ 23 w 23"/>
                  <a:gd name="T11" fmla="*/ 11 h 26"/>
                  <a:gd name="T12" fmla="*/ 23 w 23"/>
                  <a:gd name="T13" fmla="*/ 14 h 26"/>
                  <a:gd name="T14" fmla="*/ 21 w 23"/>
                  <a:gd name="T15" fmla="*/ 16 h 26"/>
                  <a:gd name="T16" fmla="*/ 21 w 23"/>
                  <a:gd name="T17" fmla="*/ 18 h 26"/>
                  <a:gd name="T18" fmla="*/ 21 w 23"/>
                  <a:gd name="T19" fmla="*/ 18 h 26"/>
                  <a:gd name="T20" fmla="*/ 19 w 23"/>
                  <a:gd name="T21" fmla="*/ 19 h 26"/>
                  <a:gd name="T22" fmla="*/ 19 w 23"/>
                  <a:gd name="T23" fmla="*/ 21 h 26"/>
                  <a:gd name="T24" fmla="*/ 18 w 23"/>
                  <a:gd name="T25" fmla="*/ 24 h 26"/>
                  <a:gd name="T26" fmla="*/ 16 w 23"/>
                  <a:gd name="T27" fmla="*/ 26 h 26"/>
                  <a:gd name="T28" fmla="*/ 10 w 23"/>
                  <a:gd name="T29" fmla="*/ 26 h 26"/>
                  <a:gd name="T30" fmla="*/ 5 w 23"/>
                  <a:gd name="T31" fmla="*/ 22 h 26"/>
                  <a:gd name="T32" fmla="*/ 3 w 23"/>
                  <a:gd name="T33" fmla="*/ 19 h 26"/>
                  <a:gd name="T34" fmla="*/ 1 w 23"/>
                  <a:gd name="T35" fmla="*/ 18 h 26"/>
                  <a:gd name="T36" fmla="*/ 0 w 23"/>
                  <a:gd name="T37" fmla="*/ 14 h 26"/>
                  <a:gd name="T38" fmla="*/ 1 w 23"/>
                  <a:gd name="T39" fmla="*/ 11 h 26"/>
                  <a:gd name="T40" fmla="*/ 5 w 23"/>
                  <a:gd name="T41" fmla="*/ 4 h 26"/>
                  <a:gd name="T42" fmla="*/ 6 w 23"/>
                  <a:gd name="T43" fmla="*/ 1 h 26"/>
                  <a:gd name="T44" fmla="*/ 8 w 23"/>
                  <a:gd name="T45" fmla="*/ 0 h 26"/>
                  <a:gd name="T46" fmla="*/ 13 w 23"/>
                  <a:gd name="T47" fmla="*/ 1 h 26"/>
                  <a:gd name="T48" fmla="*/ 14 w 23"/>
                  <a:gd name="T49" fmla="*/ 4 h 26"/>
                  <a:gd name="T50" fmla="*/ 18 w 23"/>
                  <a:gd name="T51" fmla="*/ 4 h 26"/>
                  <a:gd name="T52" fmla="*/ 18 w 23"/>
                  <a:gd name="T5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6">
                    <a:moveTo>
                      <a:pt x="18" y="4"/>
                    </a:moveTo>
                    <a:lnTo>
                      <a:pt x="18" y="6"/>
                    </a:lnTo>
                    <a:lnTo>
                      <a:pt x="19" y="6"/>
                    </a:lnTo>
                    <a:lnTo>
                      <a:pt x="21" y="8"/>
                    </a:lnTo>
                    <a:lnTo>
                      <a:pt x="23" y="11"/>
                    </a:lnTo>
                    <a:lnTo>
                      <a:pt x="23" y="11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9" y="21"/>
                    </a:lnTo>
                    <a:lnTo>
                      <a:pt x="18" y="24"/>
                    </a:lnTo>
                    <a:lnTo>
                      <a:pt x="16" y="26"/>
                    </a:lnTo>
                    <a:lnTo>
                      <a:pt x="10" y="26"/>
                    </a:lnTo>
                    <a:lnTo>
                      <a:pt x="5" y="22"/>
                    </a:lnTo>
                    <a:lnTo>
                      <a:pt x="3" y="19"/>
                    </a:lnTo>
                    <a:lnTo>
                      <a:pt x="1" y="18"/>
                    </a:lnTo>
                    <a:lnTo>
                      <a:pt x="0" y="14"/>
                    </a:lnTo>
                    <a:lnTo>
                      <a:pt x="1" y="11"/>
                    </a:lnTo>
                    <a:lnTo>
                      <a:pt x="5" y="4"/>
                    </a:lnTo>
                    <a:lnTo>
                      <a:pt x="6" y="1"/>
                    </a:lnTo>
                    <a:lnTo>
                      <a:pt x="8" y="0"/>
                    </a:lnTo>
                    <a:lnTo>
                      <a:pt x="13" y="1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1" name="Freeform 304">
                <a:extLst>
                  <a:ext uri="{FF2B5EF4-FFF2-40B4-BE49-F238E27FC236}">
                    <a16:creationId xmlns:a16="http://schemas.microsoft.com/office/drawing/2014/main" xmlns="" id="{55D8506B-4CAD-4A19-82D7-828661107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7" y="2423"/>
                <a:ext cx="258" cy="224"/>
              </a:xfrm>
              <a:custGeom>
                <a:avLst/>
                <a:gdLst>
                  <a:gd name="T0" fmla="*/ 5 w 258"/>
                  <a:gd name="T1" fmla="*/ 105 h 224"/>
                  <a:gd name="T2" fmla="*/ 15 w 258"/>
                  <a:gd name="T3" fmla="*/ 108 h 224"/>
                  <a:gd name="T4" fmla="*/ 30 w 258"/>
                  <a:gd name="T5" fmla="*/ 116 h 224"/>
                  <a:gd name="T6" fmla="*/ 40 w 258"/>
                  <a:gd name="T7" fmla="*/ 118 h 224"/>
                  <a:gd name="T8" fmla="*/ 46 w 258"/>
                  <a:gd name="T9" fmla="*/ 110 h 224"/>
                  <a:gd name="T10" fmla="*/ 64 w 258"/>
                  <a:gd name="T11" fmla="*/ 52 h 224"/>
                  <a:gd name="T12" fmla="*/ 67 w 258"/>
                  <a:gd name="T13" fmla="*/ 79 h 224"/>
                  <a:gd name="T14" fmla="*/ 85 w 258"/>
                  <a:gd name="T15" fmla="*/ 77 h 224"/>
                  <a:gd name="T16" fmla="*/ 102 w 258"/>
                  <a:gd name="T17" fmla="*/ 65 h 224"/>
                  <a:gd name="T18" fmla="*/ 118 w 258"/>
                  <a:gd name="T19" fmla="*/ 57 h 224"/>
                  <a:gd name="T20" fmla="*/ 134 w 258"/>
                  <a:gd name="T21" fmla="*/ 61 h 224"/>
                  <a:gd name="T22" fmla="*/ 147 w 258"/>
                  <a:gd name="T23" fmla="*/ 61 h 224"/>
                  <a:gd name="T24" fmla="*/ 149 w 258"/>
                  <a:gd name="T25" fmla="*/ 49 h 224"/>
                  <a:gd name="T26" fmla="*/ 159 w 258"/>
                  <a:gd name="T27" fmla="*/ 43 h 224"/>
                  <a:gd name="T28" fmla="*/ 165 w 258"/>
                  <a:gd name="T29" fmla="*/ 36 h 224"/>
                  <a:gd name="T30" fmla="*/ 172 w 258"/>
                  <a:gd name="T31" fmla="*/ 21 h 224"/>
                  <a:gd name="T32" fmla="*/ 180 w 258"/>
                  <a:gd name="T33" fmla="*/ 16 h 224"/>
                  <a:gd name="T34" fmla="*/ 191 w 258"/>
                  <a:gd name="T35" fmla="*/ 12 h 224"/>
                  <a:gd name="T36" fmla="*/ 200 w 258"/>
                  <a:gd name="T37" fmla="*/ 5 h 224"/>
                  <a:gd name="T38" fmla="*/ 213 w 258"/>
                  <a:gd name="T39" fmla="*/ 0 h 224"/>
                  <a:gd name="T40" fmla="*/ 224 w 258"/>
                  <a:gd name="T41" fmla="*/ 5 h 224"/>
                  <a:gd name="T42" fmla="*/ 240 w 258"/>
                  <a:gd name="T43" fmla="*/ 12 h 224"/>
                  <a:gd name="T44" fmla="*/ 244 w 258"/>
                  <a:gd name="T45" fmla="*/ 31 h 224"/>
                  <a:gd name="T46" fmla="*/ 244 w 258"/>
                  <a:gd name="T47" fmla="*/ 61 h 224"/>
                  <a:gd name="T48" fmla="*/ 232 w 258"/>
                  <a:gd name="T49" fmla="*/ 62 h 224"/>
                  <a:gd name="T50" fmla="*/ 229 w 258"/>
                  <a:gd name="T51" fmla="*/ 80 h 224"/>
                  <a:gd name="T52" fmla="*/ 245 w 258"/>
                  <a:gd name="T53" fmla="*/ 82 h 224"/>
                  <a:gd name="T54" fmla="*/ 258 w 258"/>
                  <a:gd name="T55" fmla="*/ 80 h 224"/>
                  <a:gd name="T56" fmla="*/ 254 w 258"/>
                  <a:gd name="T57" fmla="*/ 95 h 224"/>
                  <a:gd name="T58" fmla="*/ 244 w 258"/>
                  <a:gd name="T59" fmla="*/ 116 h 224"/>
                  <a:gd name="T60" fmla="*/ 232 w 258"/>
                  <a:gd name="T61" fmla="*/ 123 h 224"/>
                  <a:gd name="T62" fmla="*/ 222 w 258"/>
                  <a:gd name="T63" fmla="*/ 136 h 224"/>
                  <a:gd name="T64" fmla="*/ 205 w 258"/>
                  <a:gd name="T65" fmla="*/ 164 h 224"/>
                  <a:gd name="T66" fmla="*/ 182 w 258"/>
                  <a:gd name="T67" fmla="*/ 185 h 224"/>
                  <a:gd name="T68" fmla="*/ 162 w 258"/>
                  <a:gd name="T69" fmla="*/ 199 h 224"/>
                  <a:gd name="T70" fmla="*/ 146 w 258"/>
                  <a:gd name="T71" fmla="*/ 203 h 224"/>
                  <a:gd name="T72" fmla="*/ 138 w 258"/>
                  <a:gd name="T73" fmla="*/ 211 h 224"/>
                  <a:gd name="T74" fmla="*/ 126 w 258"/>
                  <a:gd name="T75" fmla="*/ 213 h 224"/>
                  <a:gd name="T76" fmla="*/ 103 w 258"/>
                  <a:gd name="T77" fmla="*/ 209 h 224"/>
                  <a:gd name="T78" fmla="*/ 85 w 258"/>
                  <a:gd name="T79" fmla="*/ 211 h 224"/>
                  <a:gd name="T80" fmla="*/ 79 w 258"/>
                  <a:gd name="T81" fmla="*/ 216 h 224"/>
                  <a:gd name="T82" fmla="*/ 62 w 258"/>
                  <a:gd name="T83" fmla="*/ 217 h 224"/>
                  <a:gd name="T84" fmla="*/ 49 w 258"/>
                  <a:gd name="T85" fmla="*/ 222 h 224"/>
                  <a:gd name="T86" fmla="*/ 36 w 258"/>
                  <a:gd name="T87" fmla="*/ 214 h 224"/>
                  <a:gd name="T88" fmla="*/ 28 w 258"/>
                  <a:gd name="T89" fmla="*/ 211 h 224"/>
                  <a:gd name="T90" fmla="*/ 25 w 258"/>
                  <a:gd name="T91" fmla="*/ 208 h 224"/>
                  <a:gd name="T92" fmla="*/ 18 w 258"/>
                  <a:gd name="T93" fmla="*/ 188 h 224"/>
                  <a:gd name="T94" fmla="*/ 25 w 258"/>
                  <a:gd name="T95" fmla="*/ 183 h 224"/>
                  <a:gd name="T96" fmla="*/ 20 w 258"/>
                  <a:gd name="T97" fmla="*/ 159 h 224"/>
                  <a:gd name="T98" fmla="*/ 7 w 258"/>
                  <a:gd name="T99" fmla="*/ 119 h 224"/>
                  <a:gd name="T100" fmla="*/ 170 w 258"/>
                  <a:gd name="T101" fmla="*/ 142 h 224"/>
                  <a:gd name="T102" fmla="*/ 182 w 258"/>
                  <a:gd name="T103" fmla="*/ 146 h 224"/>
                  <a:gd name="T104" fmla="*/ 191 w 258"/>
                  <a:gd name="T105" fmla="*/ 137 h 224"/>
                  <a:gd name="T106" fmla="*/ 195 w 258"/>
                  <a:gd name="T107" fmla="*/ 131 h 224"/>
                  <a:gd name="T108" fmla="*/ 195 w 258"/>
                  <a:gd name="T109" fmla="*/ 114 h 224"/>
                  <a:gd name="T110" fmla="*/ 185 w 258"/>
                  <a:gd name="T111" fmla="*/ 113 h 224"/>
                  <a:gd name="T112" fmla="*/ 172 w 258"/>
                  <a:gd name="T113" fmla="*/ 121 h 224"/>
                  <a:gd name="T114" fmla="*/ 167 w 258"/>
                  <a:gd name="T115" fmla="*/ 13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8" h="224">
                    <a:moveTo>
                      <a:pt x="0" y="111"/>
                    </a:moveTo>
                    <a:lnTo>
                      <a:pt x="4" y="110"/>
                    </a:lnTo>
                    <a:lnTo>
                      <a:pt x="7" y="108"/>
                    </a:lnTo>
                    <a:lnTo>
                      <a:pt x="7" y="106"/>
                    </a:lnTo>
                    <a:lnTo>
                      <a:pt x="5" y="105"/>
                    </a:lnTo>
                    <a:lnTo>
                      <a:pt x="7" y="103"/>
                    </a:lnTo>
                    <a:lnTo>
                      <a:pt x="12" y="101"/>
                    </a:lnTo>
                    <a:lnTo>
                      <a:pt x="13" y="105"/>
                    </a:lnTo>
                    <a:lnTo>
                      <a:pt x="17" y="105"/>
                    </a:lnTo>
                    <a:lnTo>
                      <a:pt x="15" y="108"/>
                    </a:lnTo>
                    <a:lnTo>
                      <a:pt x="17" y="113"/>
                    </a:lnTo>
                    <a:lnTo>
                      <a:pt x="22" y="114"/>
                    </a:lnTo>
                    <a:lnTo>
                      <a:pt x="27" y="116"/>
                    </a:lnTo>
                    <a:lnTo>
                      <a:pt x="28" y="114"/>
                    </a:lnTo>
                    <a:lnTo>
                      <a:pt x="30" y="116"/>
                    </a:lnTo>
                    <a:lnTo>
                      <a:pt x="33" y="116"/>
                    </a:lnTo>
                    <a:lnTo>
                      <a:pt x="35" y="114"/>
                    </a:lnTo>
                    <a:lnTo>
                      <a:pt x="36" y="114"/>
                    </a:lnTo>
                    <a:lnTo>
                      <a:pt x="38" y="118"/>
                    </a:lnTo>
                    <a:lnTo>
                      <a:pt x="40" y="118"/>
                    </a:lnTo>
                    <a:lnTo>
                      <a:pt x="41" y="118"/>
                    </a:lnTo>
                    <a:lnTo>
                      <a:pt x="41" y="114"/>
                    </a:lnTo>
                    <a:lnTo>
                      <a:pt x="43" y="113"/>
                    </a:lnTo>
                    <a:lnTo>
                      <a:pt x="44" y="111"/>
                    </a:lnTo>
                    <a:lnTo>
                      <a:pt x="46" y="110"/>
                    </a:lnTo>
                    <a:lnTo>
                      <a:pt x="51" y="106"/>
                    </a:lnTo>
                    <a:lnTo>
                      <a:pt x="56" y="106"/>
                    </a:lnTo>
                    <a:lnTo>
                      <a:pt x="58" y="106"/>
                    </a:lnTo>
                    <a:lnTo>
                      <a:pt x="59" y="48"/>
                    </a:lnTo>
                    <a:lnTo>
                      <a:pt x="64" y="52"/>
                    </a:lnTo>
                    <a:lnTo>
                      <a:pt x="66" y="57"/>
                    </a:lnTo>
                    <a:lnTo>
                      <a:pt x="71" y="65"/>
                    </a:lnTo>
                    <a:lnTo>
                      <a:pt x="71" y="70"/>
                    </a:lnTo>
                    <a:lnTo>
                      <a:pt x="67" y="75"/>
                    </a:lnTo>
                    <a:lnTo>
                      <a:pt x="67" y="79"/>
                    </a:lnTo>
                    <a:lnTo>
                      <a:pt x="72" y="79"/>
                    </a:lnTo>
                    <a:lnTo>
                      <a:pt x="77" y="79"/>
                    </a:lnTo>
                    <a:lnTo>
                      <a:pt x="79" y="77"/>
                    </a:lnTo>
                    <a:lnTo>
                      <a:pt x="82" y="79"/>
                    </a:lnTo>
                    <a:lnTo>
                      <a:pt x="85" y="77"/>
                    </a:lnTo>
                    <a:lnTo>
                      <a:pt x="89" y="75"/>
                    </a:lnTo>
                    <a:lnTo>
                      <a:pt x="92" y="74"/>
                    </a:lnTo>
                    <a:lnTo>
                      <a:pt x="93" y="70"/>
                    </a:lnTo>
                    <a:lnTo>
                      <a:pt x="98" y="69"/>
                    </a:lnTo>
                    <a:lnTo>
                      <a:pt x="102" y="65"/>
                    </a:lnTo>
                    <a:lnTo>
                      <a:pt x="103" y="59"/>
                    </a:lnTo>
                    <a:lnTo>
                      <a:pt x="108" y="56"/>
                    </a:lnTo>
                    <a:lnTo>
                      <a:pt x="111" y="56"/>
                    </a:lnTo>
                    <a:lnTo>
                      <a:pt x="116" y="56"/>
                    </a:lnTo>
                    <a:lnTo>
                      <a:pt x="118" y="57"/>
                    </a:lnTo>
                    <a:lnTo>
                      <a:pt x="120" y="59"/>
                    </a:lnTo>
                    <a:lnTo>
                      <a:pt x="126" y="62"/>
                    </a:lnTo>
                    <a:lnTo>
                      <a:pt x="128" y="61"/>
                    </a:lnTo>
                    <a:lnTo>
                      <a:pt x="131" y="62"/>
                    </a:lnTo>
                    <a:lnTo>
                      <a:pt x="134" y="61"/>
                    </a:lnTo>
                    <a:lnTo>
                      <a:pt x="138" y="61"/>
                    </a:lnTo>
                    <a:lnTo>
                      <a:pt x="141" y="61"/>
                    </a:lnTo>
                    <a:lnTo>
                      <a:pt x="142" y="62"/>
                    </a:lnTo>
                    <a:lnTo>
                      <a:pt x="144" y="64"/>
                    </a:lnTo>
                    <a:lnTo>
                      <a:pt x="147" y="61"/>
                    </a:lnTo>
                    <a:lnTo>
                      <a:pt x="147" y="59"/>
                    </a:lnTo>
                    <a:lnTo>
                      <a:pt x="147" y="57"/>
                    </a:lnTo>
                    <a:lnTo>
                      <a:pt x="147" y="54"/>
                    </a:lnTo>
                    <a:lnTo>
                      <a:pt x="149" y="52"/>
                    </a:lnTo>
                    <a:lnTo>
                      <a:pt x="149" y="49"/>
                    </a:lnTo>
                    <a:lnTo>
                      <a:pt x="151" y="46"/>
                    </a:lnTo>
                    <a:lnTo>
                      <a:pt x="154" y="46"/>
                    </a:lnTo>
                    <a:lnTo>
                      <a:pt x="156" y="44"/>
                    </a:lnTo>
                    <a:lnTo>
                      <a:pt x="157" y="44"/>
                    </a:lnTo>
                    <a:lnTo>
                      <a:pt x="159" y="43"/>
                    </a:lnTo>
                    <a:lnTo>
                      <a:pt x="160" y="41"/>
                    </a:lnTo>
                    <a:lnTo>
                      <a:pt x="160" y="39"/>
                    </a:lnTo>
                    <a:lnTo>
                      <a:pt x="162" y="38"/>
                    </a:lnTo>
                    <a:lnTo>
                      <a:pt x="164" y="38"/>
                    </a:lnTo>
                    <a:lnTo>
                      <a:pt x="165" y="36"/>
                    </a:lnTo>
                    <a:lnTo>
                      <a:pt x="167" y="36"/>
                    </a:lnTo>
                    <a:lnTo>
                      <a:pt x="167" y="33"/>
                    </a:lnTo>
                    <a:lnTo>
                      <a:pt x="167" y="31"/>
                    </a:lnTo>
                    <a:lnTo>
                      <a:pt x="167" y="28"/>
                    </a:lnTo>
                    <a:lnTo>
                      <a:pt x="172" y="21"/>
                    </a:lnTo>
                    <a:lnTo>
                      <a:pt x="173" y="21"/>
                    </a:lnTo>
                    <a:lnTo>
                      <a:pt x="175" y="20"/>
                    </a:lnTo>
                    <a:lnTo>
                      <a:pt x="177" y="18"/>
                    </a:lnTo>
                    <a:lnTo>
                      <a:pt x="178" y="18"/>
                    </a:lnTo>
                    <a:lnTo>
                      <a:pt x="180" y="16"/>
                    </a:lnTo>
                    <a:lnTo>
                      <a:pt x="182" y="15"/>
                    </a:lnTo>
                    <a:lnTo>
                      <a:pt x="183" y="13"/>
                    </a:lnTo>
                    <a:lnTo>
                      <a:pt x="187" y="10"/>
                    </a:lnTo>
                    <a:lnTo>
                      <a:pt x="190" y="10"/>
                    </a:lnTo>
                    <a:lnTo>
                      <a:pt x="191" y="12"/>
                    </a:lnTo>
                    <a:lnTo>
                      <a:pt x="193" y="10"/>
                    </a:lnTo>
                    <a:lnTo>
                      <a:pt x="195" y="10"/>
                    </a:lnTo>
                    <a:lnTo>
                      <a:pt x="196" y="8"/>
                    </a:lnTo>
                    <a:lnTo>
                      <a:pt x="200" y="8"/>
                    </a:lnTo>
                    <a:lnTo>
                      <a:pt x="200" y="5"/>
                    </a:lnTo>
                    <a:lnTo>
                      <a:pt x="200" y="3"/>
                    </a:lnTo>
                    <a:lnTo>
                      <a:pt x="201" y="2"/>
                    </a:lnTo>
                    <a:lnTo>
                      <a:pt x="205" y="2"/>
                    </a:lnTo>
                    <a:lnTo>
                      <a:pt x="206" y="0"/>
                    </a:lnTo>
                    <a:lnTo>
                      <a:pt x="213" y="0"/>
                    </a:lnTo>
                    <a:lnTo>
                      <a:pt x="216" y="0"/>
                    </a:lnTo>
                    <a:lnTo>
                      <a:pt x="218" y="3"/>
                    </a:lnTo>
                    <a:lnTo>
                      <a:pt x="221" y="2"/>
                    </a:lnTo>
                    <a:lnTo>
                      <a:pt x="224" y="3"/>
                    </a:lnTo>
                    <a:lnTo>
                      <a:pt x="224" y="5"/>
                    </a:lnTo>
                    <a:lnTo>
                      <a:pt x="227" y="5"/>
                    </a:lnTo>
                    <a:lnTo>
                      <a:pt x="231" y="3"/>
                    </a:lnTo>
                    <a:lnTo>
                      <a:pt x="237" y="5"/>
                    </a:lnTo>
                    <a:lnTo>
                      <a:pt x="240" y="7"/>
                    </a:lnTo>
                    <a:lnTo>
                      <a:pt x="240" y="12"/>
                    </a:lnTo>
                    <a:lnTo>
                      <a:pt x="242" y="16"/>
                    </a:lnTo>
                    <a:lnTo>
                      <a:pt x="244" y="20"/>
                    </a:lnTo>
                    <a:lnTo>
                      <a:pt x="244" y="28"/>
                    </a:lnTo>
                    <a:lnTo>
                      <a:pt x="244" y="28"/>
                    </a:lnTo>
                    <a:lnTo>
                      <a:pt x="244" y="31"/>
                    </a:lnTo>
                    <a:lnTo>
                      <a:pt x="244" y="34"/>
                    </a:lnTo>
                    <a:lnTo>
                      <a:pt x="245" y="38"/>
                    </a:lnTo>
                    <a:lnTo>
                      <a:pt x="245" y="51"/>
                    </a:lnTo>
                    <a:lnTo>
                      <a:pt x="244" y="56"/>
                    </a:lnTo>
                    <a:lnTo>
                      <a:pt x="244" y="61"/>
                    </a:lnTo>
                    <a:lnTo>
                      <a:pt x="244" y="65"/>
                    </a:lnTo>
                    <a:lnTo>
                      <a:pt x="240" y="65"/>
                    </a:lnTo>
                    <a:lnTo>
                      <a:pt x="239" y="62"/>
                    </a:lnTo>
                    <a:lnTo>
                      <a:pt x="234" y="61"/>
                    </a:lnTo>
                    <a:lnTo>
                      <a:pt x="232" y="62"/>
                    </a:lnTo>
                    <a:lnTo>
                      <a:pt x="231" y="65"/>
                    </a:lnTo>
                    <a:lnTo>
                      <a:pt x="227" y="72"/>
                    </a:lnTo>
                    <a:lnTo>
                      <a:pt x="226" y="75"/>
                    </a:lnTo>
                    <a:lnTo>
                      <a:pt x="227" y="79"/>
                    </a:lnTo>
                    <a:lnTo>
                      <a:pt x="229" y="80"/>
                    </a:lnTo>
                    <a:lnTo>
                      <a:pt x="231" y="83"/>
                    </a:lnTo>
                    <a:lnTo>
                      <a:pt x="236" y="87"/>
                    </a:lnTo>
                    <a:lnTo>
                      <a:pt x="242" y="87"/>
                    </a:lnTo>
                    <a:lnTo>
                      <a:pt x="244" y="85"/>
                    </a:lnTo>
                    <a:lnTo>
                      <a:pt x="245" y="82"/>
                    </a:lnTo>
                    <a:lnTo>
                      <a:pt x="245" y="80"/>
                    </a:lnTo>
                    <a:lnTo>
                      <a:pt x="247" y="79"/>
                    </a:lnTo>
                    <a:lnTo>
                      <a:pt x="249" y="79"/>
                    </a:lnTo>
                    <a:lnTo>
                      <a:pt x="255" y="80"/>
                    </a:lnTo>
                    <a:lnTo>
                      <a:pt x="258" y="80"/>
                    </a:lnTo>
                    <a:lnTo>
                      <a:pt x="258" y="80"/>
                    </a:lnTo>
                    <a:lnTo>
                      <a:pt x="255" y="83"/>
                    </a:lnTo>
                    <a:lnTo>
                      <a:pt x="257" y="83"/>
                    </a:lnTo>
                    <a:lnTo>
                      <a:pt x="255" y="88"/>
                    </a:lnTo>
                    <a:lnTo>
                      <a:pt x="254" y="95"/>
                    </a:lnTo>
                    <a:lnTo>
                      <a:pt x="252" y="98"/>
                    </a:lnTo>
                    <a:lnTo>
                      <a:pt x="250" y="105"/>
                    </a:lnTo>
                    <a:lnTo>
                      <a:pt x="249" y="108"/>
                    </a:lnTo>
                    <a:lnTo>
                      <a:pt x="247" y="111"/>
                    </a:lnTo>
                    <a:lnTo>
                      <a:pt x="244" y="116"/>
                    </a:lnTo>
                    <a:lnTo>
                      <a:pt x="242" y="116"/>
                    </a:lnTo>
                    <a:lnTo>
                      <a:pt x="240" y="118"/>
                    </a:lnTo>
                    <a:lnTo>
                      <a:pt x="237" y="119"/>
                    </a:lnTo>
                    <a:lnTo>
                      <a:pt x="236" y="121"/>
                    </a:lnTo>
                    <a:lnTo>
                      <a:pt x="232" y="123"/>
                    </a:lnTo>
                    <a:lnTo>
                      <a:pt x="231" y="128"/>
                    </a:lnTo>
                    <a:lnTo>
                      <a:pt x="227" y="131"/>
                    </a:lnTo>
                    <a:lnTo>
                      <a:pt x="227" y="132"/>
                    </a:lnTo>
                    <a:lnTo>
                      <a:pt x="226" y="136"/>
                    </a:lnTo>
                    <a:lnTo>
                      <a:pt x="222" y="136"/>
                    </a:lnTo>
                    <a:lnTo>
                      <a:pt x="219" y="141"/>
                    </a:lnTo>
                    <a:lnTo>
                      <a:pt x="213" y="152"/>
                    </a:lnTo>
                    <a:lnTo>
                      <a:pt x="208" y="157"/>
                    </a:lnTo>
                    <a:lnTo>
                      <a:pt x="208" y="162"/>
                    </a:lnTo>
                    <a:lnTo>
                      <a:pt x="205" y="164"/>
                    </a:lnTo>
                    <a:lnTo>
                      <a:pt x="201" y="167"/>
                    </a:lnTo>
                    <a:lnTo>
                      <a:pt x="200" y="167"/>
                    </a:lnTo>
                    <a:lnTo>
                      <a:pt x="200" y="167"/>
                    </a:lnTo>
                    <a:lnTo>
                      <a:pt x="183" y="185"/>
                    </a:lnTo>
                    <a:lnTo>
                      <a:pt x="182" y="185"/>
                    </a:lnTo>
                    <a:lnTo>
                      <a:pt x="182" y="185"/>
                    </a:lnTo>
                    <a:lnTo>
                      <a:pt x="178" y="188"/>
                    </a:lnTo>
                    <a:lnTo>
                      <a:pt x="167" y="196"/>
                    </a:lnTo>
                    <a:lnTo>
                      <a:pt x="165" y="198"/>
                    </a:lnTo>
                    <a:lnTo>
                      <a:pt x="162" y="199"/>
                    </a:lnTo>
                    <a:lnTo>
                      <a:pt x="162" y="201"/>
                    </a:lnTo>
                    <a:lnTo>
                      <a:pt x="156" y="203"/>
                    </a:lnTo>
                    <a:lnTo>
                      <a:pt x="152" y="204"/>
                    </a:lnTo>
                    <a:lnTo>
                      <a:pt x="149" y="204"/>
                    </a:lnTo>
                    <a:lnTo>
                      <a:pt x="146" y="203"/>
                    </a:lnTo>
                    <a:lnTo>
                      <a:pt x="141" y="203"/>
                    </a:lnTo>
                    <a:lnTo>
                      <a:pt x="138" y="204"/>
                    </a:lnTo>
                    <a:lnTo>
                      <a:pt x="136" y="208"/>
                    </a:lnTo>
                    <a:lnTo>
                      <a:pt x="138" y="209"/>
                    </a:lnTo>
                    <a:lnTo>
                      <a:pt x="138" y="211"/>
                    </a:lnTo>
                    <a:lnTo>
                      <a:pt x="133" y="211"/>
                    </a:lnTo>
                    <a:lnTo>
                      <a:pt x="129" y="209"/>
                    </a:lnTo>
                    <a:lnTo>
                      <a:pt x="126" y="209"/>
                    </a:lnTo>
                    <a:lnTo>
                      <a:pt x="125" y="211"/>
                    </a:lnTo>
                    <a:lnTo>
                      <a:pt x="126" y="213"/>
                    </a:lnTo>
                    <a:lnTo>
                      <a:pt x="125" y="214"/>
                    </a:lnTo>
                    <a:lnTo>
                      <a:pt x="116" y="213"/>
                    </a:lnTo>
                    <a:lnTo>
                      <a:pt x="115" y="211"/>
                    </a:lnTo>
                    <a:lnTo>
                      <a:pt x="108" y="209"/>
                    </a:lnTo>
                    <a:lnTo>
                      <a:pt x="103" y="209"/>
                    </a:lnTo>
                    <a:lnTo>
                      <a:pt x="103" y="211"/>
                    </a:lnTo>
                    <a:lnTo>
                      <a:pt x="100" y="213"/>
                    </a:lnTo>
                    <a:lnTo>
                      <a:pt x="97" y="209"/>
                    </a:lnTo>
                    <a:lnTo>
                      <a:pt x="89" y="209"/>
                    </a:lnTo>
                    <a:lnTo>
                      <a:pt x="85" y="211"/>
                    </a:lnTo>
                    <a:lnTo>
                      <a:pt x="85" y="214"/>
                    </a:lnTo>
                    <a:lnTo>
                      <a:pt x="84" y="213"/>
                    </a:lnTo>
                    <a:lnTo>
                      <a:pt x="80" y="214"/>
                    </a:lnTo>
                    <a:lnTo>
                      <a:pt x="79" y="214"/>
                    </a:lnTo>
                    <a:lnTo>
                      <a:pt x="79" y="216"/>
                    </a:lnTo>
                    <a:lnTo>
                      <a:pt x="74" y="216"/>
                    </a:lnTo>
                    <a:lnTo>
                      <a:pt x="72" y="217"/>
                    </a:lnTo>
                    <a:lnTo>
                      <a:pt x="67" y="216"/>
                    </a:lnTo>
                    <a:lnTo>
                      <a:pt x="64" y="216"/>
                    </a:lnTo>
                    <a:lnTo>
                      <a:pt x="62" y="217"/>
                    </a:lnTo>
                    <a:lnTo>
                      <a:pt x="59" y="216"/>
                    </a:lnTo>
                    <a:lnTo>
                      <a:pt x="56" y="221"/>
                    </a:lnTo>
                    <a:lnTo>
                      <a:pt x="53" y="221"/>
                    </a:lnTo>
                    <a:lnTo>
                      <a:pt x="51" y="224"/>
                    </a:lnTo>
                    <a:lnTo>
                      <a:pt x="49" y="222"/>
                    </a:lnTo>
                    <a:lnTo>
                      <a:pt x="49" y="224"/>
                    </a:lnTo>
                    <a:lnTo>
                      <a:pt x="41" y="219"/>
                    </a:lnTo>
                    <a:lnTo>
                      <a:pt x="40" y="221"/>
                    </a:lnTo>
                    <a:lnTo>
                      <a:pt x="40" y="216"/>
                    </a:lnTo>
                    <a:lnTo>
                      <a:pt x="36" y="214"/>
                    </a:lnTo>
                    <a:lnTo>
                      <a:pt x="33" y="216"/>
                    </a:lnTo>
                    <a:lnTo>
                      <a:pt x="31" y="216"/>
                    </a:lnTo>
                    <a:lnTo>
                      <a:pt x="33" y="214"/>
                    </a:lnTo>
                    <a:lnTo>
                      <a:pt x="33" y="211"/>
                    </a:lnTo>
                    <a:lnTo>
                      <a:pt x="28" y="211"/>
                    </a:lnTo>
                    <a:lnTo>
                      <a:pt x="27" y="213"/>
                    </a:lnTo>
                    <a:lnTo>
                      <a:pt x="27" y="216"/>
                    </a:lnTo>
                    <a:lnTo>
                      <a:pt x="25" y="214"/>
                    </a:lnTo>
                    <a:lnTo>
                      <a:pt x="25" y="211"/>
                    </a:lnTo>
                    <a:lnTo>
                      <a:pt x="25" y="208"/>
                    </a:lnTo>
                    <a:lnTo>
                      <a:pt x="25" y="204"/>
                    </a:lnTo>
                    <a:lnTo>
                      <a:pt x="27" y="201"/>
                    </a:lnTo>
                    <a:lnTo>
                      <a:pt x="23" y="195"/>
                    </a:lnTo>
                    <a:lnTo>
                      <a:pt x="22" y="193"/>
                    </a:lnTo>
                    <a:lnTo>
                      <a:pt x="18" y="188"/>
                    </a:lnTo>
                    <a:lnTo>
                      <a:pt x="18" y="185"/>
                    </a:lnTo>
                    <a:lnTo>
                      <a:pt x="20" y="183"/>
                    </a:lnTo>
                    <a:lnTo>
                      <a:pt x="22" y="185"/>
                    </a:lnTo>
                    <a:lnTo>
                      <a:pt x="23" y="185"/>
                    </a:lnTo>
                    <a:lnTo>
                      <a:pt x="25" y="183"/>
                    </a:lnTo>
                    <a:lnTo>
                      <a:pt x="27" y="177"/>
                    </a:lnTo>
                    <a:lnTo>
                      <a:pt x="25" y="172"/>
                    </a:lnTo>
                    <a:lnTo>
                      <a:pt x="25" y="170"/>
                    </a:lnTo>
                    <a:lnTo>
                      <a:pt x="20" y="162"/>
                    </a:lnTo>
                    <a:lnTo>
                      <a:pt x="20" y="159"/>
                    </a:lnTo>
                    <a:lnTo>
                      <a:pt x="15" y="152"/>
                    </a:lnTo>
                    <a:lnTo>
                      <a:pt x="13" y="142"/>
                    </a:lnTo>
                    <a:lnTo>
                      <a:pt x="10" y="134"/>
                    </a:lnTo>
                    <a:lnTo>
                      <a:pt x="10" y="129"/>
                    </a:lnTo>
                    <a:lnTo>
                      <a:pt x="7" y="119"/>
                    </a:lnTo>
                    <a:lnTo>
                      <a:pt x="2" y="116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0" y="111"/>
                    </a:lnTo>
                    <a:close/>
                    <a:moveTo>
                      <a:pt x="170" y="142"/>
                    </a:moveTo>
                    <a:lnTo>
                      <a:pt x="172" y="144"/>
                    </a:lnTo>
                    <a:lnTo>
                      <a:pt x="173" y="146"/>
                    </a:lnTo>
                    <a:lnTo>
                      <a:pt x="178" y="147"/>
                    </a:lnTo>
                    <a:lnTo>
                      <a:pt x="180" y="147"/>
                    </a:lnTo>
                    <a:lnTo>
                      <a:pt x="182" y="146"/>
                    </a:lnTo>
                    <a:lnTo>
                      <a:pt x="182" y="144"/>
                    </a:lnTo>
                    <a:lnTo>
                      <a:pt x="183" y="141"/>
                    </a:lnTo>
                    <a:lnTo>
                      <a:pt x="187" y="139"/>
                    </a:lnTo>
                    <a:lnTo>
                      <a:pt x="188" y="139"/>
                    </a:lnTo>
                    <a:lnTo>
                      <a:pt x="191" y="137"/>
                    </a:lnTo>
                    <a:lnTo>
                      <a:pt x="193" y="139"/>
                    </a:lnTo>
                    <a:lnTo>
                      <a:pt x="196" y="136"/>
                    </a:lnTo>
                    <a:lnTo>
                      <a:pt x="196" y="134"/>
                    </a:lnTo>
                    <a:lnTo>
                      <a:pt x="196" y="132"/>
                    </a:lnTo>
                    <a:lnTo>
                      <a:pt x="195" y="131"/>
                    </a:lnTo>
                    <a:lnTo>
                      <a:pt x="198" y="129"/>
                    </a:lnTo>
                    <a:lnTo>
                      <a:pt x="201" y="128"/>
                    </a:lnTo>
                    <a:lnTo>
                      <a:pt x="201" y="123"/>
                    </a:lnTo>
                    <a:lnTo>
                      <a:pt x="198" y="116"/>
                    </a:lnTo>
                    <a:lnTo>
                      <a:pt x="195" y="114"/>
                    </a:lnTo>
                    <a:lnTo>
                      <a:pt x="193" y="114"/>
                    </a:lnTo>
                    <a:lnTo>
                      <a:pt x="190" y="113"/>
                    </a:lnTo>
                    <a:lnTo>
                      <a:pt x="190" y="113"/>
                    </a:lnTo>
                    <a:lnTo>
                      <a:pt x="188" y="113"/>
                    </a:lnTo>
                    <a:lnTo>
                      <a:pt x="185" y="113"/>
                    </a:lnTo>
                    <a:lnTo>
                      <a:pt x="185" y="114"/>
                    </a:lnTo>
                    <a:lnTo>
                      <a:pt x="183" y="114"/>
                    </a:lnTo>
                    <a:lnTo>
                      <a:pt x="182" y="116"/>
                    </a:lnTo>
                    <a:lnTo>
                      <a:pt x="175" y="118"/>
                    </a:lnTo>
                    <a:lnTo>
                      <a:pt x="172" y="121"/>
                    </a:lnTo>
                    <a:lnTo>
                      <a:pt x="170" y="124"/>
                    </a:lnTo>
                    <a:lnTo>
                      <a:pt x="167" y="128"/>
                    </a:lnTo>
                    <a:lnTo>
                      <a:pt x="164" y="129"/>
                    </a:lnTo>
                    <a:lnTo>
                      <a:pt x="165" y="132"/>
                    </a:lnTo>
                    <a:lnTo>
                      <a:pt x="167" y="134"/>
                    </a:lnTo>
                    <a:lnTo>
                      <a:pt x="169" y="136"/>
                    </a:lnTo>
                    <a:lnTo>
                      <a:pt x="170" y="139"/>
                    </a:lnTo>
                    <a:lnTo>
                      <a:pt x="170" y="142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2" name="Freeform 305">
                <a:extLst>
                  <a:ext uri="{FF2B5EF4-FFF2-40B4-BE49-F238E27FC236}">
                    <a16:creationId xmlns:a16="http://schemas.microsoft.com/office/drawing/2014/main" xmlns="" id="{1CB16326-0BEA-4005-B44C-3D6D7E189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2536"/>
                <a:ext cx="37" cy="34"/>
              </a:xfrm>
              <a:custGeom>
                <a:avLst/>
                <a:gdLst>
                  <a:gd name="T0" fmla="*/ 6 w 37"/>
                  <a:gd name="T1" fmla="*/ 29 h 34"/>
                  <a:gd name="T2" fmla="*/ 6 w 37"/>
                  <a:gd name="T3" fmla="*/ 26 h 34"/>
                  <a:gd name="T4" fmla="*/ 5 w 37"/>
                  <a:gd name="T5" fmla="*/ 23 h 34"/>
                  <a:gd name="T6" fmla="*/ 3 w 37"/>
                  <a:gd name="T7" fmla="*/ 21 h 34"/>
                  <a:gd name="T8" fmla="*/ 1 w 37"/>
                  <a:gd name="T9" fmla="*/ 19 h 34"/>
                  <a:gd name="T10" fmla="*/ 0 w 37"/>
                  <a:gd name="T11" fmla="*/ 16 h 34"/>
                  <a:gd name="T12" fmla="*/ 3 w 37"/>
                  <a:gd name="T13" fmla="*/ 15 h 34"/>
                  <a:gd name="T14" fmla="*/ 6 w 37"/>
                  <a:gd name="T15" fmla="*/ 11 h 34"/>
                  <a:gd name="T16" fmla="*/ 8 w 37"/>
                  <a:gd name="T17" fmla="*/ 8 h 34"/>
                  <a:gd name="T18" fmla="*/ 11 w 37"/>
                  <a:gd name="T19" fmla="*/ 5 h 34"/>
                  <a:gd name="T20" fmla="*/ 18 w 37"/>
                  <a:gd name="T21" fmla="*/ 3 h 34"/>
                  <a:gd name="T22" fmla="*/ 19 w 37"/>
                  <a:gd name="T23" fmla="*/ 1 h 34"/>
                  <a:gd name="T24" fmla="*/ 21 w 37"/>
                  <a:gd name="T25" fmla="*/ 1 h 34"/>
                  <a:gd name="T26" fmla="*/ 21 w 37"/>
                  <a:gd name="T27" fmla="*/ 0 h 34"/>
                  <a:gd name="T28" fmla="*/ 24 w 37"/>
                  <a:gd name="T29" fmla="*/ 0 h 34"/>
                  <a:gd name="T30" fmla="*/ 26 w 37"/>
                  <a:gd name="T31" fmla="*/ 0 h 34"/>
                  <a:gd name="T32" fmla="*/ 26 w 37"/>
                  <a:gd name="T33" fmla="*/ 0 h 34"/>
                  <a:gd name="T34" fmla="*/ 29 w 37"/>
                  <a:gd name="T35" fmla="*/ 1 h 34"/>
                  <a:gd name="T36" fmla="*/ 31 w 37"/>
                  <a:gd name="T37" fmla="*/ 1 h 34"/>
                  <a:gd name="T38" fmla="*/ 34 w 37"/>
                  <a:gd name="T39" fmla="*/ 3 h 34"/>
                  <a:gd name="T40" fmla="*/ 37 w 37"/>
                  <a:gd name="T41" fmla="*/ 10 h 34"/>
                  <a:gd name="T42" fmla="*/ 37 w 37"/>
                  <a:gd name="T43" fmla="*/ 15 h 34"/>
                  <a:gd name="T44" fmla="*/ 34 w 37"/>
                  <a:gd name="T45" fmla="*/ 16 h 34"/>
                  <a:gd name="T46" fmla="*/ 31 w 37"/>
                  <a:gd name="T47" fmla="*/ 18 h 34"/>
                  <a:gd name="T48" fmla="*/ 32 w 37"/>
                  <a:gd name="T49" fmla="*/ 19 h 34"/>
                  <a:gd name="T50" fmla="*/ 32 w 37"/>
                  <a:gd name="T51" fmla="*/ 21 h 34"/>
                  <a:gd name="T52" fmla="*/ 32 w 37"/>
                  <a:gd name="T53" fmla="*/ 23 h 34"/>
                  <a:gd name="T54" fmla="*/ 29 w 37"/>
                  <a:gd name="T55" fmla="*/ 26 h 34"/>
                  <a:gd name="T56" fmla="*/ 27 w 37"/>
                  <a:gd name="T57" fmla="*/ 24 h 34"/>
                  <a:gd name="T58" fmla="*/ 24 w 37"/>
                  <a:gd name="T59" fmla="*/ 26 h 34"/>
                  <a:gd name="T60" fmla="*/ 23 w 37"/>
                  <a:gd name="T61" fmla="*/ 26 h 34"/>
                  <a:gd name="T62" fmla="*/ 19 w 37"/>
                  <a:gd name="T63" fmla="*/ 28 h 34"/>
                  <a:gd name="T64" fmla="*/ 18 w 37"/>
                  <a:gd name="T65" fmla="*/ 31 h 34"/>
                  <a:gd name="T66" fmla="*/ 18 w 37"/>
                  <a:gd name="T67" fmla="*/ 33 h 34"/>
                  <a:gd name="T68" fmla="*/ 16 w 37"/>
                  <a:gd name="T69" fmla="*/ 34 h 34"/>
                  <a:gd name="T70" fmla="*/ 14 w 37"/>
                  <a:gd name="T71" fmla="*/ 34 h 34"/>
                  <a:gd name="T72" fmla="*/ 9 w 37"/>
                  <a:gd name="T73" fmla="*/ 33 h 34"/>
                  <a:gd name="T74" fmla="*/ 8 w 37"/>
                  <a:gd name="T75" fmla="*/ 31 h 34"/>
                  <a:gd name="T76" fmla="*/ 6 w 37"/>
                  <a:gd name="T77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" h="34">
                    <a:moveTo>
                      <a:pt x="6" y="29"/>
                    </a:moveTo>
                    <a:lnTo>
                      <a:pt x="6" y="26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1" y="19"/>
                    </a:lnTo>
                    <a:lnTo>
                      <a:pt x="0" y="16"/>
                    </a:lnTo>
                    <a:lnTo>
                      <a:pt x="3" y="15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1" y="5"/>
                    </a:lnTo>
                    <a:lnTo>
                      <a:pt x="18" y="3"/>
                    </a:lnTo>
                    <a:lnTo>
                      <a:pt x="19" y="1"/>
                    </a:lnTo>
                    <a:lnTo>
                      <a:pt x="21" y="1"/>
                    </a:lnTo>
                    <a:lnTo>
                      <a:pt x="21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4" y="3"/>
                    </a:lnTo>
                    <a:lnTo>
                      <a:pt x="37" y="10"/>
                    </a:lnTo>
                    <a:lnTo>
                      <a:pt x="37" y="15"/>
                    </a:lnTo>
                    <a:lnTo>
                      <a:pt x="34" y="16"/>
                    </a:lnTo>
                    <a:lnTo>
                      <a:pt x="31" y="18"/>
                    </a:lnTo>
                    <a:lnTo>
                      <a:pt x="32" y="19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29" y="26"/>
                    </a:lnTo>
                    <a:lnTo>
                      <a:pt x="27" y="24"/>
                    </a:lnTo>
                    <a:lnTo>
                      <a:pt x="24" y="26"/>
                    </a:lnTo>
                    <a:lnTo>
                      <a:pt x="23" y="26"/>
                    </a:lnTo>
                    <a:lnTo>
                      <a:pt x="19" y="28"/>
                    </a:lnTo>
                    <a:lnTo>
                      <a:pt x="18" y="31"/>
                    </a:lnTo>
                    <a:lnTo>
                      <a:pt x="18" y="33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9" y="33"/>
                    </a:lnTo>
                    <a:lnTo>
                      <a:pt x="8" y="31"/>
                    </a:lnTo>
                    <a:lnTo>
                      <a:pt x="6" y="2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3" name="Freeform 306">
                <a:extLst>
                  <a:ext uri="{FF2B5EF4-FFF2-40B4-BE49-F238E27FC236}">
                    <a16:creationId xmlns:a16="http://schemas.microsoft.com/office/drawing/2014/main" xmlns="" id="{6F6546E8-BDF0-4A19-9BAA-CD62E7FFED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" y="2234"/>
                <a:ext cx="641" cy="704"/>
              </a:xfrm>
              <a:custGeom>
                <a:avLst/>
                <a:gdLst>
                  <a:gd name="T0" fmla="*/ 390 w 393"/>
                  <a:gd name="T1" fmla="*/ 181 h 431"/>
                  <a:gd name="T2" fmla="*/ 336 w 393"/>
                  <a:gd name="T3" fmla="*/ 93 h 431"/>
                  <a:gd name="T4" fmla="*/ 268 w 393"/>
                  <a:gd name="T5" fmla="*/ 73 h 431"/>
                  <a:gd name="T6" fmla="*/ 242 w 393"/>
                  <a:gd name="T7" fmla="*/ 41 h 431"/>
                  <a:gd name="T8" fmla="*/ 244 w 393"/>
                  <a:gd name="T9" fmla="*/ 43 h 431"/>
                  <a:gd name="T10" fmla="*/ 238 w 393"/>
                  <a:gd name="T11" fmla="*/ 17 h 431"/>
                  <a:gd name="T12" fmla="*/ 187 w 393"/>
                  <a:gd name="T13" fmla="*/ 12 h 431"/>
                  <a:gd name="T14" fmla="*/ 186 w 393"/>
                  <a:gd name="T15" fmla="*/ 11 h 431"/>
                  <a:gd name="T16" fmla="*/ 126 w 393"/>
                  <a:gd name="T17" fmla="*/ 56 h 431"/>
                  <a:gd name="T18" fmla="*/ 2 w 393"/>
                  <a:gd name="T19" fmla="*/ 162 h 431"/>
                  <a:gd name="T20" fmla="*/ 214 w 393"/>
                  <a:gd name="T21" fmla="*/ 308 h 431"/>
                  <a:gd name="T22" fmla="*/ 289 w 393"/>
                  <a:gd name="T23" fmla="*/ 357 h 431"/>
                  <a:gd name="T24" fmla="*/ 266 w 393"/>
                  <a:gd name="T25" fmla="*/ 380 h 431"/>
                  <a:gd name="T26" fmla="*/ 297 w 393"/>
                  <a:gd name="T27" fmla="*/ 373 h 431"/>
                  <a:gd name="T28" fmla="*/ 287 w 393"/>
                  <a:gd name="T29" fmla="*/ 416 h 431"/>
                  <a:gd name="T30" fmla="*/ 261 w 393"/>
                  <a:gd name="T31" fmla="*/ 414 h 431"/>
                  <a:gd name="T32" fmla="*/ 267 w 393"/>
                  <a:gd name="T33" fmla="*/ 385 h 431"/>
                  <a:gd name="T34" fmla="*/ 295 w 393"/>
                  <a:gd name="T35" fmla="*/ 388 h 431"/>
                  <a:gd name="T36" fmla="*/ 284 w 393"/>
                  <a:gd name="T37" fmla="*/ 419 h 431"/>
                  <a:gd name="T38" fmla="*/ 273 w 393"/>
                  <a:gd name="T39" fmla="*/ 429 h 431"/>
                  <a:gd name="T40" fmla="*/ 19 w 393"/>
                  <a:gd name="T41" fmla="*/ 284 h 431"/>
                  <a:gd name="T42" fmla="*/ 46 w 393"/>
                  <a:gd name="T43" fmla="*/ 275 h 431"/>
                  <a:gd name="T44" fmla="*/ 83 w 393"/>
                  <a:gd name="T45" fmla="*/ 272 h 431"/>
                  <a:gd name="T46" fmla="*/ 127 w 393"/>
                  <a:gd name="T47" fmla="*/ 253 h 431"/>
                  <a:gd name="T48" fmla="*/ 181 w 393"/>
                  <a:gd name="T49" fmla="*/ 252 h 431"/>
                  <a:gd name="T50" fmla="*/ 198 w 393"/>
                  <a:gd name="T51" fmla="*/ 286 h 431"/>
                  <a:gd name="T52" fmla="*/ 214 w 393"/>
                  <a:gd name="T53" fmla="*/ 276 h 431"/>
                  <a:gd name="T54" fmla="*/ 218 w 393"/>
                  <a:gd name="T55" fmla="*/ 288 h 431"/>
                  <a:gd name="T56" fmla="*/ 221 w 393"/>
                  <a:gd name="T57" fmla="*/ 304 h 431"/>
                  <a:gd name="T58" fmla="*/ 231 w 393"/>
                  <a:gd name="T59" fmla="*/ 329 h 431"/>
                  <a:gd name="T60" fmla="*/ 262 w 393"/>
                  <a:gd name="T61" fmla="*/ 354 h 431"/>
                  <a:gd name="T62" fmla="*/ 282 w 393"/>
                  <a:gd name="T63" fmla="*/ 350 h 431"/>
                  <a:gd name="T64" fmla="*/ 303 w 393"/>
                  <a:gd name="T65" fmla="*/ 347 h 431"/>
                  <a:gd name="T66" fmla="*/ 333 w 393"/>
                  <a:gd name="T67" fmla="*/ 319 h 431"/>
                  <a:gd name="T68" fmla="*/ 364 w 393"/>
                  <a:gd name="T69" fmla="*/ 272 h 431"/>
                  <a:gd name="T70" fmla="*/ 383 w 393"/>
                  <a:gd name="T71" fmla="*/ 228 h 431"/>
                  <a:gd name="T72" fmla="*/ 388 w 393"/>
                  <a:gd name="T73" fmla="*/ 177 h 431"/>
                  <a:gd name="T74" fmla="*/ 371 w 393"/>
                  <a:gd name="T75" fmla="*/ 148 h 431"/>
                  <a:gd name="T76" fmla="*/ 361 w 393"/>
                  <a:gd name="T77" fmla="*/ 131 h 431"/>
                  <a:gd name="T78" fmla="*/ 346 w 393"/>
                  <a:gd name="T79" fmla="*/ 108 h 431"/>
                  <a:gd name="T80" fmla="*/ 332 w 393"/>
                  <a:gd name="T81" fmla="*/ 76 h 431"/>
                  <a:gd name="T82" fmla="*/ 319 w 393"/>
                  <a:gd name="T83" fmla="*/ 44 h 431"/>
                  <a:gd name="T84" fmla="*/ 308 w 393"/>
                  <a:gd name="T85" fmla="*/ 14 h 431"/>
                  <a:gd name="T86" fmla="*/ 295 w 393"/>
                  <a:gd name="T87" fmla="*/ 33 h 431"/>
                  <a:gd name="T88" fmla="*/ 283 w 393"/>
                  <a:gd name="T89" fmla="*/ 82 h 431"/>
                  <a:gd name="T90" fmla="*/ 247 w 393"/>
                  <a:gd name="T91" fmla="*/ 63 h 431"/>
                  <a:gd name="T92" fmla="*/ 239 w 393"/>
                  <a:gd name="T93" fmla="*/ 34 h 431"/>
                  <a:gd name="T94" fmla="*/ 243 w 393"/>
                  <a:gd name="T95" fmla="*/ 23 h 431"/>
                  <a:gd name="T96" fmla="*/ 228 w 393"/>
                  <a:gd name="T97" fmla="*/ 19 h 431"/>
                  <a:gd name="T98" fmla="*/ 203 w 393"/>
                  <a:gd name="T99" fmla="*/ 12 h 431"/>
                  <a:gd name="T100" fmla="*/ 192 w 393"/>
                  <a:gd name="T101" fmla="*/ 24 h 431"/>
                  <a:gd name="T102" fmla="*/ 178 w 393"/>
                  <a:gd name="T103" fmla="*/ 38 h 431"/>
                  <a:gd name="T104" fmla="*/ 172 w 393"/>
                  <a:gd name="T105" fmla="*/ 51 h 431"/>
                  <a:gd name="T106" fmla="*/ 160 w 393"/>
                  <a:gd name="T107" fmla="*/ 55 h 431"/>
                  <a:gd name="T108" fmla="*/ 141 w 393"/>
                  <a:gd name="T109" fmla="*/ 42 h 431"/>
                  <a:gd name="T110" fmla="*/ 129 w 393"/>
                  <a:gd name="T111" fmla="*/ 55 h 431"/>
                  <a:gd name="T112" fmla="*/ 121 w 393"/>
                  <a:gd name="T113" fmla="*/ 67 h 431"/>
                  <a:gd name="T114" fmla="*/ 110 w 393"/>
                  <a:gd name="T115" fmla="*/ 71 h 431"/>
                  <a:gd name="T116" fmla="*/ 94 w 393"/>
                  <a:gd name="T117" fmla="*/ 92 h 431"/>
                  <a:gd name="T118" fmla="*/ 45 w 393"/>
                  <a:gd name="T119" fmla="*/ 113 h 431"/>
                  <a:gd name="T120" fmla="*/ 15 w 393"/>
                  <a:gd name="T121" fmla="*/ 129 h 431"/>
                  <a:gd name="T122" fmla="*/ 8 w 393"/>
                  <a:gd name="T123" fmla="*/ 172 h 431"/>
                  <a:gd name="T124" fmla="*/ 13 w 393"/>
                  <a:gd name="T125" fmla="*/ 229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431">
                    <a:moveTo>
                      <a:pt x="389" y="206"/>
                    </a:moveTo>
                    <a:cubicBezTo>
                      <a:pt x="390" y="202"/>
                      <a:pt x="390" y="202"/>
                      <a:pt x="390" y="202"/>
                    </a:cubicBezTo>
                    <a:cubicBezTo>
                      <a:pt x="390" y="204"/>
                      <a:pt x="390" y="204"/>
                      <a:pt x="390" y="204"/>
                    </a:cubicBezTo>
                    <a:cubicBezTo>
                      <a:pt x="389" y="206"/>
                      <a:pt x="389" y="206"/>
                      <a:pt x="389" y="206"/>
                    </a:cubicBezTo>
                    <a:close/>
                    <a:moveTo>
                      <a:pt x="390" y="181"/>
                    </a:moveTo>
                    <a:cubicBezTo>
                      <a:pt x="389" y="178"/>
                      <a:pt x="389" y="178"/>
                      <a:pt x="389" y="178"/>
                    </a:cubicBezTo>
                    <a:cubicBezTo>
                      <a:pt x="389" y="176"/>
                      <a:pt x="389" y="176"/>
                      <a:pt x="389" y="176"/>
                    </a:cubicBezTo>
                    <a:cubicBezTo>
                      <a:pt x="389" y="174"/>
                      <a:pt x="389" y="174"/>
                      <a:pt x="389" y="174"/>
                    </a:cubicBezTo>
                    <a:cubicBezTo>
                      <a:pt x="391" y="172"/>
                      <a:pt x="391" y="172"/>
                      <a:pt x="391" y="172"/>
                    </a:cubicBezTo>
                    <a:cubicBezTo>
                      <a:pt x="392" y="170"/>
                      <a:pt x="392" y="170"/>
                      <a:pt x="392" y="170"/>
                    </a:cubicBezTo>
                    <a:cubicBezTo>
                      <a:pt x="392" y="169"/>
                      <a:pt x="392" y="169"/>
                      <a:pt x="392" y="169"/>
                    </a:cubicBezTo>
                    <a:cubicBezTo>
                      <a:pt x="392" y="167"/>
                      <a:pt x="392" y="167"/>
                      <a:pt x="392" y="167"/>
                    </a:cubicBezTo>
                    <a:cubicBezTo>
                      <a:pt x="393" y="167"/>
                      <a:pt x="393" y="167"/>
                      <a:pt x="393" y="167"/>
                    </a:cubicBezTo>
                    <a:cubicBezTo>
                      <a:pt x="393" y="170"/>
                      <a:pt x="393" y="170"/>
                      <a:pt x="393" y="170"/>
                    </a:cubicBezTo>
                    <a:cubicBezTo>
                      <a:pt x="393" y="172"/>
                      <a:pt x="393" y="172"/>
                      <a:pt x="393" y="172"/>
                    </a:cubicBezTo>
                    <a:cubicBezTo>
                      <a:pt x="391" y="175"/>
                      <a:pt x="391" y="175"/>
                      <a:pt x="391" y="175"/>
                    </a:cubicBezTo>
                    <a:cubicBezTo>
                      <a:pt x="390" y="179"/>
                      <a:pt x="390" y="179"/>
                      <a:pt x="390" y="179"/>
                    </a:cubicBezTo>
                    <a:cubicBezTo>
                      <a:pt x="391" y="181"/>
                      <a:pt x="391" y="181"/>
                      <a:pt x="391" y="181"/>
                    </a:cubicBezTo>
                    <a:cubicBezTo>
                      <a:pt x="390" y="181"/>
                      <a:pt x="390" y="181"/>
                      <a:pt x="390" y="181"/>
                    </a:cubicBezTo>
                    <a:close/>
                    <a:moveTo>
                      <a:pt x="374" y="152"/>
                    </a:moveTo>
                    <a:cubicBezTo>
                      <a:pt x="375" y="154"/>
                      <a:pt x="375" y="154"/>
                      <a:pt x="375" y="154"/>
                    </a:cubicBezTo>
                    <a:cubicBezTo>
                      <a:pt x="376" y="156"/>
                      <a:pt x="376" y="156"/>
                      <a:pt x="376" y="156"/>
                    </a:cubicBezTo>
                    <a:cubicBezTo>
                      <a:pt x="377" y="154"/>
                      <a:pt x="377" y="154"/>
                      <a:pt x="377" y="154"/>
                    </a:cubicBezTo>
                    <a:cubicBezTo>
                      <a:pt x="376" y="153"/>
                      <a:pt x="376" y="153"/>
                      <a:pt x="376" y="153"/>
                    </a:cubicBezTo>
                    <a:cubicBezTo>
                      <a:pt x="376" y="152"/>
                      <a:pt x="376" y="152"/>
                      <a:pt x="376" y="152"/>
                    </a:cubicBezTo>
                    <a:cubicBezTo>
                      <a:pt x="375" y="152"/>
                      <a:pt x="375" y="152"/>
                      <a:pt x="375" y="152"/>
                    </a:cubicBezTo>
                    <a:cubicBezTo>
                      <a:pt x="374" y="151"/>
                      <a:pt x="374" y="151"/>
                      <a:pt x="374" y="151"/>
                    </a:cubicBezTo>
                    <a:cubicBezTo>
                      <a:pt x="374" y="152"/>
                      <a:pt x="374" y="152"/>
                      <a:pt x="374" y="152"/>
                    </a:cubicBezTo>
                    <a:close/>
                    <a:moveTo>
                      <a:pt x="371" y="138"/>
                    </a:moveTo>
                    <a:cubicBezTo>
                      <a:pt x="371" y="136"/>
                      <a:pt x="371" y="136"/>
                      <a:pt x="371" y="136"/>
                    </a:cubicBezTo>
                    <a:cubicBezTo>
                      <a:pt x="370" y="137"/>
                      <a:pt x="370" y="137"/>
                      <a:pt x="370" y="137"/>
                    </a:cubicBezTo>
                    <a:cubicBezTo>
                      <a:pt x="371" y="138"/>
                      <a:pt x="371" y="138"/>
                      <a:pt x="371" y="138"/>
                    </a:cubicBezTo>
                    <a:close/>
                    <a:moveTo>
                      <a:pt x="334" y="94"/>
                    </a:moveTo>
                    <a:cubicBezTo>
                      <a:pt x="335" y="92"/>
                      <a:pt x="335" y="92"/>
                      <a:pt x="335" y="92"/>
                    </a:cubicBezTo>
                    <a:cubicBezTo>
                      <a:pt x="333" y="90"/>
                      <a:pt x="333" y="90"/>
                      <a:pt x="333" y="90"/>
                    </a:cubicBezTo>
                    <a:cubicBezTo>
                      <a:pt x="335" y="90"/>
                      <a:pt x="335" y="90"/>
                      <a:pt x="335" y="90"/>
                    </a:cubicBezTo>
                    <a:cubicBezTo>
                      <a:pt x="336" y="90"/>
                      <a:pt x="336" y="90"/>
                      <a:pt x="336" y="90"/>
                    </a:cubicBezTo>
                    <a:cubicBezTo>
                      <a:pt x="336" y="93"/>
                      <a:pt x="336" y="93"/>
                      <a:pt x="336" y="93"/>
                    </a:cubicBezTo>
                    <a:cubicBezTo>
                      <a:pt x="335" y="95"/>
                      <a:pt x="335" y="95"/>
                      <a:pt x="335" y="95"/>
                    </a:cubicBezTo>
                    <a:cubicBezTo>
                      <a:pt x="334" y="94"/>
                      <a:pt x="334" y="94"/>
                      <a:pt x="334" y="94"/>
                    </a:cubicBezTo>
                    <a:close/>
                    <a:moveTo>
                      <a:pt x="302" y="0"/>
                    </a:moveTo>
                    <a:cubicBezTo>
                      <a:pt x="303" y="1"/>
                      <a:pt x="303" y="1"/>
                      <a:pt x="303" y="1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302" y="0"/>
                      <a:pt x="302" y="0"/>
                      <a:pt x="302" y="0"/>
                    </a:cubicBezTo>
                    <a:close/>
                    <a:moveTo>
                      <a:pt x="301" y="5"/>
                    </a:moveTo>
                    <a:cubicBezTo>
                      <a:pt x="301" y="7"/>
                      <a:pt x="301" y="7"/>
                      <a:pt x="301" y="7"/>
                    </a:cubicBezTo>
                    <a:cubicBezTo>
                      <a:pt x="302" y="7"/>
                      <a:pt x="302" y="7"/>
                      <a:pt x="302" y="7"/>
                    </a:cubicBezTo>
                    <a:cubicBezTo>
                      <a:pt x="303" y="7"/>
                      <a:pt x="303" y="7"/>
                      <a:pt x="303" y="7"/>
                    </a:cubicBezTo>
                    <a:cubicBezTo>
                      <a:pt x="302" y="5"/>
                      <a:pt x="302" y="5"/>
                      <a:pt x="302" y="5"/>
                    </a:cubicBezTo>
                    <a:cubicBezTo>
                      <a:pt x="301" y="5"/>
                      <a:pt x="301" y="5"/>
                      <a:pt x="301" y="5"/>
                    </a:cubicBezTo>
                    <a:close/>
                    <a:moveTo>
                      <a:pt x="270" y="76"/>
                    </a:moveTo>
                    <a:cubicBezTo>
                      <a:pt x="270" y="77"/>
                      <a:pt x="270" y="77"/>
                      <a:pt x="270" y="77"/>
                    </a:cubicBezTo>
                    <a:cubicBezTo>
                      <a:pt x="271" y="76"/>
                      <a:pt x="271" y="76"/>
                      <a:pt x="271" y="76"/>
                    </a:cubicBezTo>
                    <a:cubicBezTo>
                      <a:pt x="271" y="75"/>
                      <a:pt x="271" y="75"/>
                      <a:pt x="271" y="75"/>
                    </a:cubicBezTo>
                    <a:cubicBezTo>
                      <a:pt x="270" y="76"/>
                      <a:pt x="270" y="76"/>
                      <a:pt x="270" y="76"/>
                    </a:cubicBezTo>
                    <a:close/>
                    <a:moveTo>
                      <a:pt x="268" y="72"/>
                    </a:moveTo>
                    <a:cubicBezTo>
                      <a:pt x="268" y="73"/>
                      <a:pt x="268" y="73"/>
                      <a:pt x="268" y="73"/>
                    </a:cubicBezTo>
                    <a:cubicBezTo>
                      <a:pt x="270" y="72"/>
                      <a:pt x="270" y="72"/>
                      <a:pt x="270" y="72"/>
                    </a:cubicBezTo>
                    <a:cubicBezTo>
                      <a:pt x="271" y="71"/>
                      <a:pt x="271" y="71"/>
                      <a:pt x="271" y="71"/>
                    </a:cubicBezTo>
                    <a:cubicBezTo>
                      <a:pt x="273" y="70"/>
                      <a:pt x="273" y="70"/>
                      <a:pt x="273" y="70"/>
                    </a:cubicBezTo>
                    <a:cubicBezTo>
                      <a:pt x="273" y="70"/>
                      <a:pt x="273" y="70"/>
                      <a:pt x="273" y="70"/>
                    </a:cubicBezTo>
                    <a:cubicBezTo>
                      <a:pt x="270" y="69"/>
                      <a:pt x="270" y="69"/>
                      <a:pt x="270" y="69"/>
                    </a:cubicBezTo>
                    <a:cubicBezTo>
                      <a:pt x="268" y="71"/>
                      <a:pt x="268" y="71"/>
                      <a:pt x="268" y="71"/>
                    </a:cubicBezTo>
                    <a:cubicBezTo>
                      <a:pt x="268" y="71"/>
                      <a:pt x="268" y="72"/>
                      <a:pt x="268" y="72"/>
                    </a:cubicBezTo>
                    <a:close/>
                    <a:moveTo>
                      <a:pt x="248" y="62"/>
                    </a:moveTo>
                    <a:cubicBezTo>
                      <a:pt x="247" y="61"/>
                      <a:pt x="247" y="61"/>
                      <a:pt x="247" y="61"/>
                    </a:cubicBezTo>
                    <a:cubicBezTo>
                      <a:pt x="248" y="59"/>
                      <a:pt x="248" y="59"/>
                      <a:pt x="248" y="59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8" y="62"/>
                      <a:pt x="248" y="62"/>
                      <a:pt x="248" y="62"/>
                    </a:cubicBezTo>
                    <a:close/>
                    <a:moveTo>
                      <a:pt x="242" y="41"/>
                    </a:moveTo>
                    <a:cubicBezTo>
                      <a:pt x="241" y="40"/>
                      <a:pt x="241" y="40"/>
                      <a:pt x="241" y="40"/>
                    </a:cubicBezTo>
                    <a:cubicBezTo>
                      <a:pt x="241" y="40"/>
                      <a:pt x="241" y="40"/>
                      <a:pt x="241" y="40"/>
                    </a:cubicBezTo>
                    <a:cubicBezTo>
                      <a:pt x="241" y="40"/>
                      <a:pt x="241" y="40"/>
                      <a:pt x="241" y="40"/>
                    </a:cubicBezTo>
                    <a:cubicBezTo>
                      <a:pt x="242" y="38"/>
                      <a:pt x="242" y="38"/>
                      <a:pt x="242" y="38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2" y="41"/>
                      <a:pt x="242" y="41"/>
                      <a:pt x="242" y="41"/>
                    </a:cubicBezTo>
                    <a:close/>
                    <a:moveTo>
                      <a:pt x="244" y="43"/>
                    </a:moveTo>
                    <a:cubicBezTo>
                      <a:pt x="243" y="44"/>
                      <a:pt x="243" y="44"/>
                      <a:pt x="243" y="44"/>
                    </a:cubicBezTo>
                    <a:cubicBezTo>
                      <a:pt x="244" y="44"/>
                      <a:pt x="244" y="44"/>
                      <a:pt x="244" y="44"/>
                    </a:cubicBezTo>
                    <a:cubicBezTo>
                      <a:pt x="245" y="44"/>
                      <a:pt x="245" y="44"/>
                      <a:pt x="245" y="44"/>
                    </a:cubicBezTo>
                    <a:cubicBezTo>
                      <a:pt x="248" y="44"/>
                      <a:pt x="248" y="44"/>
                      <a:pt x="248" y="44"/>
                    </a:cubicBezTo>
                    <a:cubicBezTo>
                      <a:pt x="248" y="43"/>
                      <a:pt x="248" y="43"/>
                      <a:pt x="248" y="43"/>
                    </a:cubicBezTo>
                    <a:cubicBezTo>
                      <a:pt x="248" y="42"/>
                      <a:pt x="248" y="42"/>
                      <a:pt x="248" y="42"/>
                    </a:cubicBezTo>
                    <a:cubicBezTo>
                      <a:pt x="247" y="43"/>
                      <a:pt x="247" y="43"/>
                      <a:pt x="247" y="43"/>
                    </a:cubicBezTo>
                    <a:cubicBezTo>
                      <a:pt x="246" y="42"/>
                      <a:pt x="246" y="42"/>
                      <a:pt x="246" y="42"/>
                    </a:cubicBezTo>
                    <a:cubicBezTo>
                      <a:pt x="248" y="40"/>
                      <a:pt x="248" y="40"/>
                      <a:pt x="248" y="40"/>
                    </a:cubicBezTo>
                    <a:cubicBezTo>
                      <a:pt x="248" y="40"/>
                      <a:pt x="248" y="40"/>
                      <a:pt x="248" y="40"/>
                    </a:cubicBezTo>
                    <a:cubicBezTo>
                      <a:pt x="246" y="40"/>
                      <a:pt x="246" y="40"/>
                      <a:pt x="246" y="40"/>
                    </a:cubicBezTo>
                    <a:cubicBezTo>
                      <a:pt x="246" y="39"/>
                      <a:pt x="246" y="39"/>
                      <a:pt x="246" y="39"/>
                    </a:cubicBezTo>
                    <a:cubicBezTo>
                      <a:pt x="245" y="39"/>
                      <a:pt x="245" y="39"/>
                      <a:pt x="245" y="39"/>
                    </a:cubicBezTo>
                    <a:cubicBezTo>
                      <a:pt x="245" y="40"/>
                      <a:pt x="245" y="40"/>
                      <a:pt x="245" y="40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4" y="41"/>
                      <a:pt x="244" y="41"/>
                      <a:pt x="244" y="41"/>
                    </a:cubicBezTo>
                    <a:cubicBezTo>
                      <a:pt x="243" y="41"/>
                      <a:pt x="243" y="41"/>
                      <a:pt x="243" y="41"/>
                    </a:cubicBezTo>
                    <a:cubicBezTo>
                      <a:pt x="244" y="43"/>
                      <a:pt x="244" y="43"/>
                      <a:pt x="244" y="43"/>
                    </a:cubicBezTo>
                    <a:close/>
                    <a:moveTo>
                      <a:pt x="245" y="13"/>
                    </a:move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2"/>
                      <a:pt x="247" y="12"/>
                      <a:pt x="247" y="12"/>
                    </a:cubicBezTo>
                    <a:cubicBezTo>
                      <a:pt x="249" y="11"/>
                      <a:pt x="249" y="11"/>
                      <a:pt x="249" y="11"/>
                    </a:cubicBezTo>
                    <a:cubicBezTo>
                      <a:pt x="248" y="10"/>
                      <a:pt x="248" y="10"/>
                      <a:pt x="248" y="10"/>
                    </a:cubicBezTo>
                    <a:cubicBezTo>
                      <a:pt x="246" y="12"/>
                      <a:pt x="246" y="12"/>
                      <a:pt x="246" y="12"/>
                    </a:cubicBezTo>
                    <a:cubicBezTo>
                      <a:pt x="245" y="13"/>
                      <a:pt x="245" y="13"/>
                      <a:pt x="245" y="13"/>
                    </a:cubicBezTo>
                    <a:close/>
                    <a:moveTo>
                      <a:pt x="243" y="15"/>
                    </a:moveTo>
                    <a:cubicBezTo>
                      <a:pt x="244" y="15"/>
                      <a:pt x="244" y="15"/>
                      <a:pt x="244" y="15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43" y="15"/>
                      <a:pt x="243" y="15"/>
                      <a:pt x="243" y="15"/>
                    </a:cubicBezTo>
                    <a:close/>
                    <a:moveTo>
                      <a:pt x="242" y="15"/>
                    </a:moveTo>
                    <a:cubicBezTo>
                      <a:pt x="242" y="16"/>
                      <a:pt x="242" y="16"/>
                      <a:pt x="242" y="16"/>
                    </a:cubicBezTo>
                    <a:cubicBezTo>
                      <a:pt x="243" y="15"/>
                      <a:pt x="243" y="15"/>
                      <a:pt x="243" y="15"/>
                    </a:cubicBezTo>
                    <a:cubicBezTo>
                      <a:pt x="242" y="15"/>
                      <a:pt x="242" y="15"/>
                      <a:pt x="242" y="15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38" y="17"/>
                      <a:pt x="238" y="17"/>
                      <a:pt x="238" y="17"/>
                    </a:cubicBezTo>
                    <a:close/>
                    <a:moveTo>
                      <a:pt x="236" y="20"/>
                    </a:move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8"/>
                      <a:pt x="238" y="18"/>
                      <a:pt x="238" y="18"/>
                    </a:cubicBezTo>
                    <a:cubicBezTo>
                      <a:pt x="239" y="18"/>
                      <a:pt x="239" y="18"/>
                      <a:pt x="239" y="18"/>
                    </a:cubicBezTo>
                    <a:cubicBezTo>
                      <a:pt x="239" y="19"/>
                      <a:pt x="239" y="19"/>
                      <a:pt x="239" y="19"/>
                    </a:cubicBezTo>
                    <a:cubicBezTo>
                      <a:pt x="237" y="19"/>
                      <a:pt x="237" y="19"/>
                      <a:pt x="237" y="19"/>
                    </a:cubicBezTo>
                    <a:cubicBezTo>
                      <a:pt x="236" y="20"/>
                      <a:pt x="236" y="20"/>
                      <a:pt x="236" y="20"/>
                    </a:cubicBezTo>
                    <a:close/>
                    <a:moveTo>
                      <a:pt x="233" y="21"/>
                    </a:moveTo>
                    <a:cubicBezTo>
                      <a:pt x="234" y="21"/>
                      <a:pt x="234" y="21"/>
                      <a:pt x="234" y="21"/>
                    </a:cubicBezTo>
                    <a:cubicBezTo>
                      <a:pt x="235" y="21"/>
                      <a:pt x="235" y="21"/>
                      <a:pt x="235" y="21"/>
                    </a:cubicBezTo>
                    <a:cubicBezTo>
                      <a:pt x="235" y="20"/>
                      <a:pt x="235" y="20"/>
                      <a:pt x="235" y="20"/>
                    </a:cubicBezTo>
                    <a:cubicBezTo>
                      <a:pt x="233" y="21"/>
                      <a:pt x="233" y="21"/>
                      <a:pt x="233" y="21"/>
                    </a:cubicBezTo>
                    <a:close/>
                    <a:moveTo>
                      <a:pt x="208" y="13"/>
                    </a:moveTo>
                    <a:cubicBezTo>
                      <a:pt x="207" y="11"/>
                      <a:pt x="207" y="11"/>
                      <a:pt x="207" y="11"/>
                    </a:cubicBezTo>
                    <a:cubicBezTo>
                      <a:pt x="207" y="10"/>
                      <a:pt x="207" y="10"/>
                      <a:pt x="207" y="10"/>
                    </a:cubicBezTo>
                    <a:cubicBezTo>
                      <a:pt x="209" y="9"/>
                      <a:pt x="209" y="9"/>
                      <a:pt x="209" y="9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208" y="13"/>
                      <a:pt x="208" y="13"/>
                      <a:pt x="208" y="13"/>
                    </a:cubicBezTo>
                    <a:close/>
                    <a:moveTo>
                      <a:pt x="187" y="12"/>
                    </a:moveTo>
                    <a:cubicBezTo>
                      <a:pt x="187" y="14"/>
                      <a:pt x="187" y="14"/>
                      <a:pt x="187" y="14"/>
                    </a:cubicBezTo>
                    <a:cubicBezTo>
                      <a:pt x="189" y="16"/>
                      <a:pt x="189" y="16"/>
                      <a:pt x="189" y="16"/>
                    </a:cubicBezTo>
                    <a:cubicBezTo>
                      <a:pt x="190" y="18"/>
                      <a:pt x="190" y="18"/>
                      <a:pt x="190" y="18"/>
                    </a:cubicBezTo>
                    <a:cubicBezTo>
                      <a:pt x="193" y="19"/>
                      <a:pt x="193" y="19"/>
                      <a:pt x="193" y="19"/>
                    </a:cubicBezTo>
                    <a:cubicBezTo>
                      <a:pt x="196" y="16"/>
                      <a:pt x="196" y="16"/>
                      <a:pt x="196" y="16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8" y="14"/>
                      <a:pt x="198" y="14"/>
                      <a:pt x="198" y="14"/>
                    </a:cubicBezTo>
                    <a:cubicBezTo>
                      <a:pt x="197" y="13"/>
                      <a:pt x="197" y="13"/>
                      <a:pt x="197" y="13"/>
                    </a:cubicBezTo>
                    <a:cubicBezTo>
                      <a:pt x="196" y="12"/>
                      <a:pt x="196" y="12"/>
                      <a:pt x="196" y="12"/>
                    </a:cubicBezTo>
                    <a:cubicBezTo>
                      <a:pt x="196" y="12"/>
                      <a:pt x="196" y="12"/>
                      <a:pt x="196" y="12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0" y="13"/>
                      <a:pt x="190" y="13"/>
                      <a:pt x="190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88" y="12"/>
                      <a:pt x="188" y="12"/>
                      <a:pt x="188" y="12"/>
                    </a:cubicBezTo>
                    <a:cubicBezTo>
                      <a:pt x="187" y="11"/>
                      <a:pt x="187" y="11"/>
                      <a:pt x="187" y="11"/>
                    </a:cubicBezTo>
                    <a:cubicBezTo>
                      <a:pt x="186" y="11"/>
                      <a:pt x="186" y="11"/>
                      <a:pt x="186" y="11"/>
                    </a:cubicBezTo>
                    <a:cubicBezTo>
                      <a:pt x="187" y="12"/>
                      <a:pt x="187" y="12"/>
                      <a:pt x="187" y="12"/>
                    </a:cubicBezTo>
                    <a:close/>
                    <a:moveTo>
                      <a:pt x="186" y="12"/>
                    </a:moveTo>
                    <a:cubicBezTo>
                      <a:pt x="187" y="16"/>
                      <a:pt x="187" y="16"/>
                      <a:pt x="187" y="16"/>
                    </a:cubicBezTo>
                    <a:cubicBezTo>
                      <a:pt x="188" y="16"/>
                      <a:pt x="188" y="16"/>
                      <a:pt x="188" y="16"/>
                    </a:cubicBezTo>
                    <a:cubicBezTo>
                      <a:pt x="189" y="17"/>
                      <a:pt x="189" y="17"/>
                      <a:pt x="189" y="17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4" y="16"/>
                      <a:pt x="184" y="16"/>
                      <a:pt x="184" y="16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5" y="15"/>
                      <a:pt x="185" y="15"/>
                      <a:pt x="185" y="15"/>
                    </a:cubicBezTo>
                    <a:cubicBezTo>
                      <a:pt x="185" y="15"/>
                      <a:pt x="185" y="15"/>
                      <a:pt x="185" y="15"/>
                    </a:cubicBezTo>
                    <a:cubicBezTo>
                      <a:pt x="185" y="14"/>
                      <a:pt x="185" y="14"/>
                      <a:pt x="185" y="14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6" y="12"/>
                      <a:pt x="186" y="12"/>
                      <a:pt x="186" y="12"/>
                    </a:cubicBezTo>
                    <a:close/>
                    <a:moveTo>
                      <a:pt x="124" y="55"/>
                    </a:moveTo>
                    <a:cubicBezTo>
                      <a:pt x="125" y="56"/>
                      <a:pt x="125" y="56"/>
                      <a:pt x="125" y="56"/>
                    </a:cubicBezTo>
                    <a:cubicBezTo>
                      <a:pt x="126" y="56"/>
                      <a:pt x="126" y="56"/>
                      <a:pt x="126" y="56"/>
                    </a:cubicBezTo>
                    <a:cubicBezTo>
                      <a:pt x="125" y="54"/>
                      <a:pt x="125" y="54"/>
                      <a:pt x="125" y="54"/>
                    </a:cubicBezTo>
                    <a:cubicBezTo>
                      <a:pt x="125" y="54"/>
                      <a:pt x="124" y="55"/>
                      <a:pt x="124" y="55"/>
                    </a:cubicBezTo>
                    <a:close/>
                    <a:moveTo>
                      <a:pt x="125" y="62"/>
                    </a:moveTo>
                    <a:cubicBezTo>
                      <a:pt x="124" y="60"/>
                      <a:pt x="124" y="60"/>
                      <a:pt x="124" y="60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4" y="61"/>
                      <a:pt x="124" y="61"/>
                      <a:pt x="124" y="61"/>
                    </a:cubicBezTo>
                    <a:cubicBezTo>
                      <a:pt x="125" y="62"/>
                      <a:pt x="125" y="62"/>
                      <a:pt x="125" y="62"/>
                    </a:cubicBezTo>
                    <a:close/>
                    <a:moveTo>
                      <a:pt x="133" y="47"/>
                    </a:moveTo>
                    <a:cubicBezTo>
                      <a:pt x="132" y="47"/>
                      <a:pt x="132" y="47"/>
                      <a:pt x="132" y="47"/>
                    </a:cubicBezTo>
                    <a:cubicBezTo>
                      <a:pt x="132" y="46"/>
                      <a:pt x="132" y="46"/>
                      <a:pt x="132" y="46"/>
                    </a:cubicBezTo>
                    <a:cubicBezTo>
                      <a:pt x="133" y="46"/>
                      <a:pt x="133" y="46"/>
                      <a:pt x="133" y="46"/>
                    </a:cubicBezTo>
                    <a:cubicBezTo>
                      <a:pt x="133" y="47"/>
                      <a:pt x="133" y="47"/>
                      <a:pt x="133" y="47"/>
                    </a:cubicBezTo>
                    <a:close/>
                    <a:moveTo>
                      <a:pt x="30" y="115"/>
                    </a:moveTo>
                    <a:cubicBezTo>
                      <a:pt x="30" y="114"/>
                      <a:pt x="30" y="114"/>
                      <a:pt x="30" y="114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0" y="115"/>
                      <a:pt x="30" y="115"/>
                      <a:pt x="30" y="115"/>
                    </a:cubicBezTo>
                    <a:close/>
                    <a:moveTo>
                      <a:pt x="1" y="167"/>
                    </a:moveTo>
                    <a:cubicBezTo>
                      <a:pt x="2" y="162"/>
                      <a:pt x="2" y="162"/>
                      <a:pt x="2" y="162"/>
                    </a:cubicBezTo>
                    <a:cubicBezTo>
                      <a:pt x="2" y="165"/>
                      <a:pt x="2" y="165"/>
                      <a:pt x="2" y="165"/>
                    </a:cubicBezTo>
                    <a:cubicBezTo>
                      <a:pt x="2" y="165"/>
                      <a:pt x="1" y="167"/>
                      <a:pt x="1" y="167"/>
                    </a:cubicBezTo>
                    <a:close/>
                    <a:moveTo>
                      <a:pt x="1" y="174"/>
                    </a:moveTo>
                    <a:cubicBezTo>
                      <a:pt x="0" y="170"/>
                      <a:pt x="0" y="170"/>
                      <a:pt x="0" y="170"/>
                    </a:cubicBezTo>
                    <a:cubicBezTo>
                      <a:pt x="1" y="168"/>
                      <a:pt x="1" y="168"/>
                      <a:pt x="1" y="168"/>
                    </a:cubicBezTo>
                    <a:cubicBezTo>
                      <a:pt x="2" y="171"/>
                      <a:pt x="2" y="171"/>
                      <a:pt x="2" y="171"/>
                    </a:cubicBezTo>
                    <a:cubicBezTo>
                      <a:pt x="1" y="174"/>
                      <a:pt x="1" y="174"/>
                      <a:pt x="1" y="174"/>
                    </a:cubicBezTo>
                    <a:close/>
                    <a:moveTo>
                      <a:pt x="216" y="303"/>
                    </a:moveTo>
                    <a:cubicBezTo>
                      <a:pt x="215" y="304"/>
                      <a:pt x="215" y="304"/>
                      <a:pt x="215" y="304"/>
                    </a:cubicBezTo>
                    <a:cubicBezTo>
                      <a:pt x="216" y="305"/>
                      <a:pt x="216" y="305"/>
                      <a:pt x="216" y="305"/>
                    </a:cubicBezTo>
                    <a:cubicBezTo>
                      <a:pt x="217" y="305"/>
                      <a:pt x="217" y="305"/>
                      <a:pt x="217" y="305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18" y="306"/>
                      <a:pt x="218" y="306"/>
                      <a:pt x="218" y="306"/>
                    </a:cubicBezTo>
                    <a:cubicBezTo>
                      <a:pt x="219" y="306"/>
                      <a:pt x="219" y="306"/>
                      <a:pt x="219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19" y="308"/>
                      <a:pt x="219" y="308"/>
                      <a:pt x="219" y="308"/>
                    </a:cubicBezTo>
                    <a:cubicBezTo>
                      <a:pt x="216" y="307"/>
                      <a:pt x="216" y="307"/>
                      <a:pt x="216" y="307"/>
                    </a:cubicBezTo>
                    <a:cubicBezTo>
                      <a:pt x="215" y="308"/>
                      <a:pt x="215" y="308"/>
                      <a:pt x="215" y="308"/>
                    </a:cubicBezTo>
                    <a:cubicBezTo>
                      <a:pt x="214" y="308"/>
                      <a:pt x="214" y="308"/>
                      <a:pt x="214" y="308"/>
                    </a:cubicBezTo>
                    <a:cubicBezTo>
                      <a:pt x="214" y="309"/>
                      <a:pt x="214" y="309"/>
                      <a:pt x="214" y="309"/>
                    </a:cubicBezTo>
                    <a:cubicBezTo>
                      <a:pt x="213" y="309"/>
                      <a:pt x="213" y="309"/>
                      <a:pt x="213" y="309"/>
                    </a:cubicBezTo>
                    <a:cubicBezTo>
                      <a:pt x="212" y="308"/>
                      <a:pt x="212" y="308"/>
                      <a:pt x="212" y="308"/>
                    </a:cubicBezTo>
                    <a:cubicBezTo>
                      <a:pt x="211" y="308"/>
                      <a:pt x="211" y="308"/>
                      <a:pt x="211" y="308"/>
                    </a:cubicBezTo>
                    <a:cubicBezTo>
                      <a:pt x="209" y="308"/>
                      <a:pt x="209" y="308"/>
                      <a:pt x="209" y="308"/>
                    </a:cubicBezTo>
                    <a:cubicBezTo>
                      <a:pt x="209" y="308"/>
                      <a:pt x="209" y="308"/>
                      <a:pt x="209" y="308"/>
                    </a:cubicBezTo>
                    <a:cubicBezTo>
                      <a:pt x="206" y="308"/>
                      <a:pt x="206" y="308"/>
                      <a:pt x="206" y="308"/>
                    </a:cubicBezTo>
                    <a:cubicBezTo>
                      <a:pt x="205" y="307"/>
                      <a:pt x="205" y="307"/>
                      <a:pt x="205" y="307"/>
                    </a:cubicBezTo>
                    <a:cubicBezTo>
                      <a:pt x="205" y="306"/>
                      <a:pt x="205" y="306"/>
                      <a:pt x="205" y="306"/>
                    </a:cubicBezTo>
                    <a:cubicBezTo>
                      <a:pt x="207" y="305"/>
                      <a:pt x="207" y="305"/>
                      <a:pt x="207" y="305"/>
                    </a:cubicBezTo>
                    <a:cubicBezTo>
                      <a:pt x="212" y="303"/>
                      <a:pt x="212" y="303"/>
                      <a:pt x="212" y="303"/>
                    </a:cubicBezTo>
                    <a:cubicBezTo>
                      <a:pt x="214" y="303"/>
                      <a:pt x="214" y="303"/>
                      <a:pt x="214" y="303"/>
                    </a:cubicBezTo>
                    <a:cubicBezTo>
                      <a:pt x="216" y="303"/>
                      <a:pt x="216" y="303"/>
                      <a:pt x="216" y="303"/>
                    </a:cubicBezTo>
                    <a:close/>
                    <a:moveTo>
                      <a:pt x="279" y="350"/>
                    </a:moveTo>
                    <a:cubicBezTo>
                      <a:pt x="280" y="349"/>
                      <a:pt x="280" y="349"/>
                      <a:pt x="280" y="349"/>
                    </a:cubicBezTo>
                    <a:cubicBezTo>
                      <a:pt x="280" y="350"/>
                      <a:pt x="280" y="350"/>
                      <a:pt x="280" y="350"/>
                    </a:cubicBezTo>
                    <a:cubicBezTo>
                      <a:pt x="280" y="351"/>
                      <a:pt x="280" y="351"/>
                      <a:pt x="280" y="351"/>
                    </a:cubicBezTo>
                    <a:cubicBezTo>
                      <a:pt x="279" y="350"/>
                      <a:pt x="279" y="350"/>
                      <a:pt x="279" y="350"/>
                    </a:cubicBezTo>
                    <a:close/>
                    <a:moveTo>
                      <a:pt x="289" y="357"/>
                    </a:moveTo>
                    <a:cubicBezTo>
                      <a:pt x="290" y="357"/>
                      <a:pt x="290" y="357"/>
                      <a:pt x="290" y="357"/>
                    </a:cubicBezTo>
                    <a:cubicBezTo>
                      <a:pt x="290" y="356"/>
                      <a:pt x="290" y="356"/>
                      <a:pt x="290" y="356"/>
                    </a:cubicBezTo>
                    <a:cubicBezTo>
                      <a:pt x="289" y="357"/>
                      <a:pt x="289" y="357"/>
                      <a:pt x="289" y="357"/>
                    </a:cubicBezTo>
                    <a:close/>
                    <a:moveTo>
                      <a:pt x="266" y="383"/>
                    </a:moveTo>
                    <a:cubicBezTo>
                      <a:pt x="266" y="384"/>
                      <a:pt x="266" y="384"/>
                      <a:pt x="266" y="384"/>
                    </a:cubicBezTo>
                    <a:cubicBezTo>
                      <a:pt x="267" y="385"/>
                      <a:pt x="267" y="385"/>
                      <a:pt x="267" y="385"/>
                    </a:cubicBezTo>
                    <a:cubicBezTo>
                      <a:pt x="268" y="384"/>
                      <a:pt x="268" y="384"/>
                      <a:pt x="268" y="384"/>
                    </a:cubicBezTo>
                    <a:cubicBezTo>
                      <a:pt x="267" y="383"/>
                      <a:pt x="267" y="383"/>
                      <a:pt x="267" y="383"/>
                    </a:cubicBezTo>
                    <a:cubicBezTo>
                      <a:pt x="266" y="383"/>
                      <a:pt x="266" y="383"/>
                      <a:pt x="266" y="383"/>
                    </a:cubicBezTo>
                    <a:close/>
                    <a:moveTo>
                      <a:pt x="266" y="379"/>
                    </a:moveTo>
                    <a:cubicBezTo>
                      <a:pt x="266" y="381"/>
                      <a:pt x="266" y="381"/>
                      <a:pt x="266" y="381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67" y="379"/>
                      <a:pt x="267" y="379"/>
                      <a:pt x="267" y="379"/>
                    </a:cubicBezTo>
                    <a:cubicBezTo>
                      <a:pt x="266" y="379"/>
                      <a:pt x="266" y="379"/>
                      <a:pt x="266" y="379"/>
                    </a:cubicBezTo>
                    <a:close/>
                    <a:moveTo>
                      <a:pt x="265" y="381"/>
                    </a:moveTo>
                    <a:cubicBezTo>
                      <a:pt x="264" y="381"/>
                      <a:pt x="264" y="381"/>
                      <a:pt x="264" y="381"/>
                    </a:cubicBezTo>
                    <a:cubicBezTo>
                      <a:pt x="264" y="379"/>
                      <a:pt x="264" y="379"/>
                      <a:pt x="264" y="379"/>
                    </a:cubicBezTo>
                    <a:cubicBezTo>
                      <a:pt x="265" y="378"/>
                      <a:pt x="265" y="378"/>
                      <a:pt x="265" y="378"/>
                    </a:cubicBezTo>
                    <a:cubicBezTo>
                      <a:pt x="266" y="380"/>
                      <a:pt x="266" y="380"/>
                      <a:pt x="266" y="380"/>
                    </a:cubicBezTo>
                    <a:cubicBezTo>
                      <a:pt x="265" y="381"/>
                      <a:pt x="265" y="381"/>
                      <a:pt x="265" y="381"/>
                    </a:cubicBezTo>
                    <a:close/>
                    <a:moveTo>
                      <a:pt x="259" y="374"/>
                    </a:moveTo>
                    <a:cubicBezTo>
                      <a:pt x="259" y="373"/>
                      <a:pt x="259" y="373"/>
                      <a:pt x="259" y="373"/>
                    </a:cubicBezTo>
                    <a:cubicBezTo>
                      <a:pt x="258" y="371"/>
                      <a:pt x="258" y="371"/>
                      <a:pt x="258" y="371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259" y="368"/>
                      <a:pt x="259" y="368"/>
                      <a:pt x="259" y="368"/>
                    </a:cubicBezTo>
                    <a:cubicBezTo>
                      <a:pt x="261" y="366"/>
                      <a:pt x="261" y="366"/>
                      <a:pt x="261" y="366"/>
                    </a:cubicBezTo>
                    <a:cubicBezTo>
                      <a:pt x="262" y="365"/>
                      <a:pt x="262" y="365"/>
                      <a:pt x="262" y="365"/>
                    </a:cubicBezTo>
                    <a:cubicBezTo>
                      <a:pt x="263" y="366"/>
                      <a:pt x="263" y="366"/>
                      <a:pt x="263" y="366"/>
                    </a:cubicBezTo>
                    <a:cubicBezTo>
                      <a:pt x="263" y="369"/>
                      <a:pt x="263" y="369"/>
                      <a:pt x="263" y="369"/>
                    </a:cubicBezTo>
                    <a:cubicBezTo>
                      <a:pt x="263" y="371"/>
                      <a:pt x="263" y="371"/>
                      <a:pt x="263" y="371"/>
                    </a:cubicBezTo>
                    <a:cubicBezTo>
                      <a:pt x="262" y="373"/>
                      <a:pt x="262" y="373"/>
                      <a:pt x="262" y="373"/>
                    </a:cubicBezTo>
                    <a:cubicBezTo>
                      <a:pt x="262" y="374"/>
                      <a:pt x="262" y="374"/>
                      <a:pt x="262" y="374"/>
                    </a:cubicBezTo>
                    <a:cubicBezTo>
                      <a:pt x="260" y="375"/>
                      <a:pt x="260" y="375"/>
                      <a:pt x="260" y="375"/>
                    </a:cubicBezTo>
                    <a:cubicBezTo>
                      <a:pt x="259" y="374"/>
                      <a:pt x="259" y="374"/>
                      <a:pt x="259" y="374"/>
                    </a:cubicBezTo>
                    <a:close/>
                    <a:moveTo>
                      <a:pt x="297" y="379"/>
                    </a:moveTo>
                    <a:cubicBezTo>
                      <a:pt x="301" y="378"/>
                      <a:pt x="301" y="378"/>
                      <a:pt x="301" y="378"/>
                    </a:cubicBezTo>
                    <a:cubicBezTo>
                      <a:pt x="301" y="376"/>
                      <a:pt x="301" y="376"/>
                      <a:pt x="301" y="376"/>
                    </a:cubicBezTo>
                    <a:cubicBezTo>
                      <a:pt x="297" y="373"/>
                      <a:pt x="297" y="373"/>
                      <a:pt x="297" y="373"/>
                    </a:cubicBezTo>
                    <a:cubicBezTo>
                      <a:pt x="296" y="373"/>
                      <a:pt x="296" y="373"/>
                      <a:pt x="296" y="373"/>
                    </a:cubicBezTo>
                    <a:cubicBezTo>
                      <a:pt x="297" y="375"/>
                      <a:pt x="297" y="375"/>
                      <a:pt x="297" y="375"/>
                    </a:cubicBezTo>
                    <a:cubicBezTo>
                      <a:pt x="296" y="377"/>
                      <a:pt x="296" y="377"/>
                      <a:pt x="296" y="377"/>
                    </a:cubicBezTo>
                    <a:cubicBezTo>
                      <a:pt x="297" y="378"/>
                      <a:pt x="297" y="378"/>
                      <a:pt x="297" y="378"/>
                    </a:cubicBezTo>
                    <a:cubicBezTo>
                      <a:pt x="297" y="379"/>
                      <a:pt x="297" y="379"/>
                      <a:pt x="297" y="379"/>
                    </a:cubicBezTo>
                    <a:close/>
                    <a:moveTo>
                      <a:pt x="295" y="381"/>
                    </a:moveTo>
                    <a:cubicBezTo>
                      <a:pt x="296" y="383"/>
                      <a:pt x="296" y="383"/>
                      <a:pt x="296" y="383"/>
                    </a:cubicBezTo>
                    <a:cubicBezTo>
                      <a:pt x="299" y="383"/>
                      <a:pt x="299" y="383"/>
                      <a:pt x="299" y="383"/>
                    </a:cubicBezTo>
                    <a:cubicBezTo>
                      <a:pt x="300" y="383"/>
                      <a:pt x="300" y="383"/>
                      <a:pt x="300" y="383"/>
                    </a:cubicBezTo>
                    <a:cubicBezTo>
                      <a:pt x="301" y="382"/>
                      <a:pt x="301" y="382"/>
                      <a:pt x="301" y="382"/>
                    </a:cubicBezTo>
                    <a:cubicBezTo>
                      <a:pt x="299" y="380"/>
                      <a:pt x="299" y="380"/>
                      <a:pt x="299" y="380"/>
                    </a:cubicBezTo>
                    <a:cubicBezTo>
                      <a:pt x="296" y="381"/>
                      <a:pt x="296" y="381"/>
                      <a:pt x="296" y="381"/>
                    </a:cubicBezTo>
                    <a:cubicBezTo>
                      <a:pt x="295" y="381"/>
                      <a:pt x="295" y="381"/>
                      <a:pt x="295" y="381"/>
                    </a:cubicBezTo>
                    <a:close/>
                    <a:moveTo>
                      <a:pt x="297" y="386"/>
                    </a:moveTo>
                    <a:cubicBezTo>
                      <a:pt x="296" y="385"/>
                      <a:pt x="296" y="385"/>
                      <a:pt x="296" y="385"/>
                    </a:cubicBezTo>
                    <a:cubicBezTo>
                      <a:pt x="298" y="385"/>
                      <a:pt x="298" y="385"/>
                      <a:pt x="298" y="385"/>
                    </a:cubicBezTo>
                    <a:cubicBezTo>
                      <a:pt x="297" y="386"/>
                      <a:pt x="297" y="386"/>
                      <a:pt x="297" y="386"/>
                    </a:cubicBezTo>
                    <a:close/>
                    <a:moveTo>
                      <a:pt x="287" y="418"/>
                    </a:moveTo>
                    <a:cubicBezTo>
                      <a:pt x="287" y="416"/>
                      <a:pt x="287" y="416"/>
                      <a:pt x="287" y="416"/>
                    </a:cubicBezTo>
                    <a:cubicBezTo>
                      <a:pt x="288" y="418"/>
                      <a:pt x="288" y="418"/>
                      <a:pt x="288" y="418"/>
                    </a:cubicBezTo>
                    <a:cubicBezTo>
                      <a:pt x="287" y="418"/>
                      <a:pt x="287" y="418"/>
                      <a:pt x="287" y="418"/>
                    </a:cubicBezTo>
                    <a:close/>
                    <a:moveTo>
                      <a:pt x="276" y="430"/>
                    </a:moveTo>
                    <a:cubicBezTo>
                      <a:pt x="274" y="429"/>
                      <a:pt x="274" y="429"/>
                      <a:pt x="274" y="429"/>
                    </a:cubicBezTo>
                    <a:cubicBezTo>
                      <a:pt x="276" y="427"/>
                      <a:pt x="276" y="427"/>
                      <a:pt x="276" y="427"/>
                    </a:cubicBezTo>
                    <a:cubicBezTo>
                      <a:pt x="276" y="425"/>
                      <a:pt x="276" y="425"/>
                      <a:pt x="276" y="425"/>
                    </a:cubicBezTo>
                    <a:cubicBezTo>
                      <a:pt x="277" y="425"/>
                      <a:pt x="277" y="425"/>
                      <a:pt x="277" y="425"/>
                    </a:cubicBezTo>
                    <a:cubicBezTo>
                      <a:pt x="277" y="426"/>
                      <a:pt x="277" y="426"/>
                      <a:pt x="277" y="426"/>
                    </a:cubicBezTo>
                    <a:cubicBezTo>
                      <a:pt x="276" y="427"/>
                      <a:pt x="276" y="427"/>
                      <a:pt x="276" y="427"/>
                    </a:cubicBezTo>
                    <a:cubicBezTo>
                      <a:pt x="276" y="430"/>
                      <a:pt x="276" y="430"/>
                      <a:pt x="276" y="430"/>
                    </a:cubicBezTo>
                    <a:close/>
                    <a:moveTo>
                      <a:pt x="263" y="429"/>
                    </a:moveTo>
                    <a:cubicBezTo>
                      <a:pt x="263" y="427"/>
                      <a:pt x="263" y="427"/>
                      <a:pt x="263" y="427"/>
                    </a:cubicBezTo>
                    <a:cubicBezTo>
                      <a:pt x="264" y="425"/>
                      <a:pt x="264" y="425"/>
                      <a:pt x="264" y="425"/>
                    </a:cubicBezTo>
                    <a:cubicBezTo>
                      <a:pt x="262" y="425"/>
                      <a:pt x="262" y="425"/>
                      <a:pt x="262" y="425"/>
                    </a:cubicBezTo>
                    <a:cubicBezTo>
                      <a:pt x="262" y="422"/>
                      <a:pt x="262" y="422"/>
                      <a:pt x="262" y="422"/>
                    </a:cubicBezTo>
                    <a:cubicBezTo>
                      <a:pt x="262" y="421"/>
                      <a:pt x="262" y="421"/>
                      <a:pt x="262" y="421"/>
                    </a:cubicBezTo>
                    <a:cubicBezTo>
                      <a:pt x="261" y="421"/>
                      <a:pt x="261" y="421"/>
                      <a:pt x="261" y="421"/>
                    </a:cubicBezTo>
                    <a:cubicBezTo>
                      <a:pt x="261" y="415"/>
                      <a:pt x="261" y="415"/>
                      <a:pt x="261" y="415"/>
                    </a:cubicBezTo>
                    <a:cubicBezTo>
                      <a:pt x="261" y="414"/>
                      <a:pt x="261" y="414"/>
                      <a:pt x="261" y="414"/>
                    </a:cubicBezTo>
                    <a:cubicBezTo>
                      <a:pt x="260" y="413"/>
                      <a:pt x="260" y="413"/>
                      <a:pt x="260" y="413"/>
                    </a:cubicBezTo>
                    <a:cubicBezTo>
                      <a:pt x="260" y="409"/>
                      <a:pt x="260" y="409"/>
                      <a:pt x="260" y="409"/>
                    </a:cubicBezTo>
                    <a:cubicBezTo>
                      <a:pt x="261" y="407"/>
                      <a:pt x="261" y="407"/>
                      <a:pt x="261" y="407"/>
                    </a:cubicBezTo>
                    <a:cubicBezTo>
                      <a:pt x="262" y="409"/>
                      <a:pt x="262" y="409"/>
                      <a:pt x="262" y="409"/>
                    </a:cubicBezTo>
                    <a:cubicBezTo>
                      <a:pt x="264" y="409"/>
                      <a:pt x="264" y="409"/>
                      <a:pt x="264" y="409"/>
                    </a:cubicBezTo>
                    <a:cubicBezTo>
                      <a:pt x="263" y="408"/>
                      <a:pt x="263" y="408"/>
                      <a:pt x="263" y="408"/>
                    </a:cubicBezTo>
                    <a:cubicBezTo>
                      <a:pt x="263" y="406"/>
                      <a:pt x="263" y="406"/>
                      <a:pt x="263" y="406"/>
                    </a:cubicBezTo>
                    <a:cubicBezTo>
                      <a:pt x="262" y="406"/>
                      <a:pt x="262" y="406"/>
                      <a:pt x="262" y="406"/>
                    </a:cubicBezTo>
                    <a:cubicBezTo>
                      <a:pt x="262" y="403"/>
                      <a:pt x="262" y="403"/>
                      <a:pt x="262" y="403"/>
                    </a:cubicBezTo>
                    <a:cubicBezTo>
                      <a:pt x="262" y="399"/>
                      <a:pt x="262" y="399"/>
                      <a:pt x="262" y="399"/>
                    </a:cubicBezTo>
                    <a:cubicBezTo>
                      <a:pt x="262" y="395"/>
                      <a:pt x="262" y="395"/>
                      <a:pt x="262" y="395"/>
                    </a:cubicBezTo>
                    <a:cubicBezTo>
                      <a:pt x="262" y="393"/>
                      <a:pt x="262" y="393"/>
                      <a:pt x="262" y="393"/>
                    </a:cubicBezTo>
                    <a:cubicBezTo>
                      <a:pt x="262" y="389"/>
                      <a:pt x="262" y="389"/>
                      <a:pt x="262" y="389"/>
                    </a:cubicBezTo>
                    <a:cubicBezTo>
                      <a:pt x="262" y="387"/>
                      <a:pt x="262" y="387"/>
                      <a:pt x="262" y="387"/>
                    </a:cubicBezTo>
                    <a:cubicBezTo>
                      <a:pt x="262" y="386"/>
                      <a:pt x="262" y="386"/>
                      <a:pt x="262" y="386"/>
                    </a:cubicBezTo>
                    <a:cubicBezTo>
                      <a:pt x="262" y="384"/>
                      <a:pt x="262" y="384"/>
                      <a:pt x="262" y="384"/>
                    </a:cubicBezTo>
                    <a:cubicBezTo>
                      <a:pt x="263" y="383"/>
                      <a:pt x="263" y="383"/>
                      <a:pt x="263" y="383"/>
                    </a:cubicBezTo>
                    <a:cubicBezTo>
                      <a:pt x="265" y="384"/>
                      <a:pt x="265" y="384"/>
                      <a:pt x="265" y="384"/>
                    </a:cubicBezTo>
                    <a:cubicBezTo>
                      <a:pt x="267" y="385"/>
                      <a:pt x="267" y="385"/>
                      <a:pt x="267" y="385"/>
                    </a:cubicBezTo>
                    <a:cubicBezTo>
                      <a:pt x="268" y="387"/>
                      <a:pt x="268" y="387"/>
                      <a:pt x="268" y="387"/>
                    </a:cubicBezTo>
                    <a:cubicBezTo>
                      <a:pt x="268" y="385"/>
                      <a:pt x="268" y="385"/>
                      <a:pt x="268" y="385"/>
                    </a:cubicBezTo>
                    <a:cubicBezTo>
                      <a:pt x="269" y="384"/>
                      <a:pt x="269" y="384"/>
                      <a:pt x="269" y="384"/>
                    </a:cubicBezTo>
                    <a:cubicBezTo>
                      <a:pt x="269" y="387"/>
                      <a:pt x="269" y="387"/>
                      <a:pt x="269" y="387"/>
                    </a:cubicBezTo>
                    <a:cubicBezTo>
                      <a:pt x="273" y="389"/>
                      <a:pt x="273" y="389"/>
                      <a:pt x="273" y="389"/>
                    </a:cubicBezTo>
                    <a:cubicBezTo>
                      <a:pt x="275" y="392"/>
                      <a:pt x="275" y="392"/>
                      <a:pt x="275" y="392"/>
                    </a:cubicBezTo>
                    <a:cubicBezTo>
                      <a:pt x="277" y="393"/>
                      <a:pt x="277" y="393"/>
                      <a:pt x="277" y="393"/>
                    </a:cubicBezTo>
                    <a:cubicBezTo>
                      <a:pt x="278" y="392"/>
                      <a:pt x="278" y="392"/>
                      <a:pt x="278" y="392"/>
                    </a:cubicBezTo>
                    <a:cubicBezTo>
                      <a:pt x="280" y="392"/>
                      <a:pt x="280" y="392"/>
                      <a:pt x="280" y="392"/>
                    </a:cubicBezTo>
                    <a:cubicBezTo>
                      <a:pt x="282" y="393"/>
                      <a:pt x="282" y="393"/>
                      <a:pt x="282" y="393"/>
                    </a:cubicBezTo>
                    <a:cubicBezTo>
                      <a:pt x="282" y="392"/>
                      <a:pt x="282" y="392"/>
                      <a:pt x="282" y="392"/>
                    </a:cubicBezTo>
                    <a:cubicBezTo>
                      <a:pt x="283" y="391"/>
                      <a:pt x="283" y="391"/>
                      <a:pt x="283" y="391"/>
                    </a:cubicBezTo>
                    <a:cubicBezTo>
                      <a:pt x="289" y="391"/>
                      <a:pt x="289" y="391"/>
                      <a:pt x="289" y="391"/>
                    </a:cubicBezTo>
                    <a:cubicBezTo>
                      <a:pt x="290" y="391"/>
                      <a:pt x="290" y="391"/>
                      <a:pt x="290" y="391"/>
                    </a:cubicBezTo>
                    <a:cubicBezTo>
                      <a:pt x="291" y="390"/>
                      <a:pt x="291" y="390"/>
                      <a:pt x="291" y="390"/>
                    </a:cubicBezTo>
                    <a:cubicBezTo>
                      <a:pt x="292" y="390"/>
                      <a:pt x="292" y="390"/>
                      <a:pt x="292" y="390"/>
                    </a:cubicBezTo>
                    <a:cubicBezTo>
                      <a:pt x="293" y="390"/>
                      <a:pt x="293" y="390"/>
                      <a:pt x="293" y="390"/>
                    </a:cubicBezTo>
                    <a:cubicBezTo>
                      <a:pt x="294" y="388"/>
                      <a:pt x="294" y="388"/>
                      <a:pt x="294" y="388"/>
                    </a:cubicBezTo>
                    <a:cubicBezTo>
                      <a:pt x="295" y="388"/>
                      <a:pt x="295" y="388"/>
                      <a:pt x="295" y="388"/>
                    </a:cubicBezTo>
                    <a:cubicBezTo>
                      <a:pt x="297" y="390"/>
                      <a:pt x="297" y="390"/>
                      <a:pt x="297" y="390"/>
                    </a:cubicBezTo>
                    <a:cubicBezTo>
                      <a:pt x="296" y="392"/>
                      <a:pt x="296" y="392"/>
                      <a:pt x="296" y="392"/>
                    </a:cubicBezTo>
                    <a:cubicBezTo>
                      <a:pt x="295" y="397"/>
                      <a:pt x="295" y="397"/>
                      <a:pt x="295" y="397"/>
                    </a:cubicBezTo>
                    <a:cubicBezTo>
                      <a:pt x="294" y="399"/>
                      <a:pt x="294" y="399"/>
                      <a:pt x="294" y="399"/>
                    </a:cubicBezTo>
                    <a:cubicBezTo>
                      <a:pt x="293" y="402"/>
                      <a:pt x="293" y="402"/>
                      <a:pt x="293" y="402"/>
                    </a:cubicBezTo>
                    <a:cubicBezTo>
                      <a:pt x="292" y="404"/>
                      <a:pt x="292" y="404"/>
                      <a:pt x="292" y="404"/>
                    </a:cubicBezTo>
                    <a:cubicBezTo>
                      <a:pt x="293" y="407"/>
                      <a:pt x="293" y="407"/>
                      <a:pt x="293" y="407"/>
                    </a:cubicBezTo>
                    <a:cubicBezTo>
                      <a:pt x="292" y="408"/>
                      <a:pt x="292" y="408"/>
                      <a:pt x="292" y="408"/>
                    </a:cubicBezTo>
                    <a:cubicBezTo>
                      <a:pt x="292" y="410"/>
                      <a:pt x="292" y="410"/>
                      <a:pt x="292" y="410"/>
                    </a:cubicBezTo>
                    <a:cubicBezTo>
                      <a:pt x="291" y="412"/>
                      <a:pt x="291" y="412"/>
                      <a:pt x="291" y="412"/>
                    </a:cubicBezTo>
                    <a:cubicBezTo>
                      <a:pt x="291" y="410"/>
                      <a:pt x="291" y="410"/>
                      <a:pt x="291" y="410"/>
                    </a:cubicBezTo>
                    <a:cubicBezTo>
                      <a:pt x="290" y="408"/>
                      <a:pt x="290" y="408"/>
                      <a:pt x="290" y="408"/>
                    </a:cubicBezTo>
                    <a:cubicBezTo>
                      <a:pt x="289" y="409"/>
                      <a:pt x="289" y="409"/>
                      <a:pt x="289" y="409"/>
                    </a:cubicBezTo>
                    <a:cubicBezTo>
                      <a:pt x="288" y="410"/>
                      <a:pt x="288" y="410"/>
                      <a:pt x="288" y="410"/>
                    </a:cubicBezTo>
                    <a:cubicBezTo>
                      <a:pt x="288" y="415"/>
                      <a:pt x="288" y="415"/>
                      <a:pt x="288" y="415"/>
                    </a:cubicBezTo>
                    <a:cubicBezTo>
                      <a:pt x="287" y="415"/>
                      <a:pt x="287" y="415"/>
                      <a:pt x="287" y="415"/>
                    </a:cubicBezTo>
                    <a:cubicBezTo>
                      <a:pt x="285" y="415"/>
                      <a:pt x="285" y="415"/>
                      <a:pt x="285" y="415"/>
                    </a:cubicBezTo>
                    <a:cubicBezTo>
                      <a:pt x="285" y="418"/>
                      <a:pt x="285" y="418"/>
                      <a:pt x="285" y="418"/>
                    </a:cubicBezTo>
                    <a:cubicBezTo>
                      <a:pt x="284" y="419"/>
                      <a:pt x="284" y="419"/>
                      <a:pt x="284" y="419"/>
                    </a:cubicBezTo>
                    <a:cubicBezTo>
                      <a:pt x="286" y="421"/>
                      <a:pt x="286" y="421"/>
                      <a:pt x="286" y="421"/>
                    </a:cubicBezTo>
                    <a:cubicBezTo>
                      <a:pt x="286" y="422"/>
                      <a:pt x="286" y="422"/>
                      <a:pt x="286" y="422"/>
                    </a:cubicBezTo>
                    <a:cubicBezTo>
                      <a:pt x="283" y="425"/>
                      <a:pt x="283" y="425"/>
                      <a:pt x="283" y="425"/>
                    </a:cubicBezTo>
                    <a:cubicBezTo>
                      <a:pt x="283" y="425"/>
                      <a:pt x="283" y="425"/>
                      <a:pt x="283" y="425"/>
                    </a:cubicBezTo>
                    <a:cubicBezTo>
                      <a:pt x="281" y="426"/>
                      <a:pt x="281" y="426"/>
                      <a:pt x="281" y="426"/>
                    </a:cubicBezTo>
                    <a:cubicBezTo>
                      <a:pt x="281" y="423"/>
                      <a:pt x="281" y="423"/>
                      <a:pt x="281" y="423"/>
                    </a:cubicBezTo>
                    <a:cubicBezTo>
                      <a:pt x="283" y="423"/>
                      <a:pt x="283" y="423"/>
                      <a:pt x="283" y="423"/>
                    </a:cubicBezTo>
                    <a:cubicBezTo>
                      <a:pt x="283" y="422"/>
                      <a:pt x="283" y="422"/>
                      <a:pt x="283" y="422"/>
                    </a:cubicBezTo>
                    <a:cubicBezTo>
                      <a:pt x="282" y="421"/>
                      <a:pt x="282" y="421"/>
                      <a:pt x="282" y="421"/>
                    </a:cubicBezTo>
                    <a:cubicBezTo>
                      <a:pt x="280" y="421"/>
                      <a:pt x="280" y="421"/>
                      <a:pt x="280" y="421"/>
                    </a:cubicBezTo>
                    <a:cubicBezTo>
                      <a:pt x="279" y="423"/>
                      <a:pt x="279" y="423"/>
                      <a:pt x="279" y="423"/>
                    </a:cubicBezTo>
                    <a:cubicBezTo>
                      <a:pt x="278" y="422"/>
                      <a:pt x="278" y="422"/>
                      <a:pt x="278" y="422"/>
                    </a:cubicBezTo>
                    <a:cubicBezTo>
                      <a:pt x="278" y="420"/>
                      <a:pt x="278" y="420"/>
                      <a:pt x="278" y="420"/>
                    </a:cubicBezTo>
                    <a:cubicBezTo>
                      <a:pt x="277" y="422"/>
                      <a:pt x="277" y="422"/>
                      <a:pt x="277" y="422"/>
                    </a:cubicBezTo>
                    <a:cubicBezTo>
                      <a:pt x="276" y="424"/>
                      <a:pt x="276" y="424"/>
                      <a:pt x="276" y="424"/>
                    </a:cubicBezTo>
                    <a:cubicBezTo>
                      <a:pt x="275" y="425"/>
                      <a:pt x="275" y="425"/>
                      <a:pt x="275" y="425"/>
                    </a:cubicBezTo>
                    <a:cubicBezTo>
                      <a:pt x="274" y="424"/>
                      <a:pt x="274" y="424"/>
                      <a:pt x="274" y="424"/>
                    </a:cubicBezTo>
                    <a:cubicBezTo>
                      <a:pt x="273" y="427"/>
                      <a:pt x="273" y="427"/>
                      <a:pt x="273" y="427"/>
                    </a:cubicBezTo>
                    <a:cubicBezTo>
                      <a:pt x="273" y="429"/>
                      <a:pt x="273" y="429"/>
                      <a:pt x="273" y="429"/>
                    </a:cubicBezTo>
                    <a:cubicBezTo>
                      <a:pt x="271" y="431"/>
                      <a:pt x="271" y="431"/>
                      <a:pt x="271" y="431"/>
                    </a:cubicBezTo>
                    <a:cubicBezTo>
                      <a:pt x="269" y="431"/>
                      <a:pt x="269" y="431"/>
                      <a:pt x="269" y="431"/>
                    </a:cubicBezTo>
                    <a:cubicBezTo>
                      <a:pt x="268" y="430"/>
                      <a:pt x="268" y="430"/>
                      <a:pt x="268" y="430"/>
                    </a:cubicBezTo>
                    <a:cubicBezTo>
                      <a:pt x="268" y="428"/>
                      <a:pt x="268" y="428"/>
                      <a:pt x="268" y="428"/>
                    </a:cubicBezTo>
                    <a:cubicBezTo>
                      <a:pt x="267" y="430"/>
                      <a:pt x="267" y="430"/>
                      <a:pt x="267" y="430"/>
                    </a:cubicBezTo>
                    <a:cubicBezTo>
                      <a:pt x="265" y="429"/>
                      <a:pt x="265" y="429"/>
                      <a:pt x="265" y="429"/>
                    </a:cubicBezTo>
                    <a:cubicBezTo>
                      <a:pt x="264" y="429"/>
                      <a:pt x="264" y="429"/>
                      <a:pt x="264" y="429"/>
                    </a:cubicBezTo>
                    <a:cubicBezTo>
                      <a:pt x="264" y="429"/>
                      <a:pt x="263" y="429"/>
                      <a:pt x="263" y="429"/>
                    </a:cubicBezTo>
                    <a:close/>
                    <a:moveTo>
                      <a:pt x="4" y="274"/>
                    </a:moveTo>
                    <a:cubicBezTo>
                      <a:pt x="6" y="275"/>
                      <a:pt x="6" y="275"/>
                      <a:pt x="6" y="275"/>
                    </a:cubicBezTo>
                    <a:cubicBezTo>
                      <a:pt x="7" y="275"/>
                      <a:pt x="7" y="275"/>
                      <a:pt x="7" y="275"/>
                    </a:cubicBezTo>
                    <a:cubicBezTo>
                      <a:pt x="11" y="279"/>
                      <a:pt x="11" y="279"/>
                      <a:pt x="11" y="279"/>
                    </a:cubicBezTo>
                    <a:cubicBezTo>
                      <a:pt x="11" y="281"/>
                      <a:pt x="11" y="281"/>
                      <a:pt x="11" y="281"/>
                    </a:cubicBezTo>
                    <a:cubicBezTo>
                      <a:pt x="12" y="282"/>
                      <a:pt x="12" y="282"/>
                      <a:pt x="12" y="282"/>
                    </a:cubicBezTo>
                    <a:cubicBezTo>
                      <a:pt x="14" y="282"/>
                      <a:pt x="14" y="282"/>
                      <a:pt x="14" y="282"/>
                    </a:cubicBezTo>
                    <a:cubicBezTo>
                      <a:pt x="15" y="283"/>
                      <a:pt x="15" y="283"/>
                      <a:pt x="15" y="283"/>
                    </a:cubicBezTo>
                    <a:cubicBezTo>
                      <a:pt x="18" y="284"/>
                      <a:pt x="18" y="284"/>
                      <a:pt x="18" y="284"/>
                    </a:cubicBezTo>
                    <a:cubicBezTo>
                      <a:pt x="19" y="283"/>
                      <a:pt x="19" y="283"/>
                      <a:pt x="19" y="283"/>
                    </a:cubicBezTo>
                    <a:cubicBezTo>
                      <a:pt x="19" y="284"/>
                      <a:pt x="19" y="284"/>
                      <a:pt x="19" y="284"/>
                    </a:cubicBezTo>
                    <a:cubicBezTo>
                      <a:pt x="22" y="284"/>
                      <a:pt x="22" y="284"/>
                      <a:pt x="22" y="284"/>
                    </a:cubicBezTo>
                    <a:cubicBezTo>
                      <a:pt x="24" y="284"/>
                      <a:pt x="24" y="284"/>
                      <a:pt x="24" y="284"/>
                    </a:cubicBezTo>
                    <a:cubicBezTo>
                      <a:pt x="25" y="285"/>
                      <a:pt x="25" y="285"/>
                      <a:pt x="25" y="285"/>
                    </a:cubicBezTo>
                    <a:cubicBezTo>
                      <a:pt x="26" y="284"/>
                      <a:pt x="26" y="284"/>
                      <a:pt x="26" y="284"/>
                    </a:cubicBezTo>
                    <a:cubicBezTo>
                      <a:pt x="26" y="285"/>
                      <a:pt x="26" y="285"/>
                      <a:pt x="26" y="285"/>
                    </a:cubicBezTo>
                    <a:cubicBezTo>
                      <a:pt x="29" y="284"/>
                      <a:pt x="29" y="284"/>
                      <a:pt x="29" y="284"/>
                    </a:cubicBezTo>
                    <a:cubicBezTo>
                      <a:pt x="32" y="284"/>
                      <a:pt x="32" y="284"/>
                      <a:pt x="32" y="284"/>
                    </a:cubicBezTo>
                    <a:cubicBezTo>
                      <a:pt x="32" y="283"/>
                      <a:pt x="32" y="283"/>
                      <a:pt x="32" y="283"/>
                    </a:cubicBezTo>
                    <a:cubicBezTo>
                      <a:pt x="33" y="283"/>
                      <a:pt x="33" y="283"/>
                      <a:pt x="33" y="283"/>
                    </a:cubicBezTo>
                    <a:cubicBezTo>
                      <a:pt x="35" y="280"/>
                      <a:pt x="35" y="280"/>
                      <a:pt x="35" y="280"/>
                    </a:cubicBezTo>
                    <a:cubicBezTo>
                      <a:pt x="38" y="281"/>
                      <a:pt x="38" y="281"/>
                      <a:pt x="38" y="281"/>
                    </a:cubicBezTo>
                    <a:cubicBezTo>
                      <a:pt x="38" y="279"/>
                      <a:pt x="38" y="279"/>
                      <a:pt x="38" y="279"/>
                    </a:cubicBezTo>
                    <a:cubicBezTo>
                      <a:pt x="40" y="278"/>
                      <a:pt x="40" y="278"/>
                      <a:pt x="40" y="278"/>
                    </a:cubicBezTo>
                    <a:cubicBezTo>
                      <a:pt x="41" y="278"/>
                      <a:pt x="41" y="278"/>
                      <a:pt x="41" y="278"/>
                    </a:cubicBezTo>
                    <a:cubicBezTo>
                      <a:pt x="43" y="279"/>
                      <a:pt x="43" y="279"/>
                      <a:pt x="43" y="279"/>
                    </a:cubicBezTo>
                    <a:cubicBezTo>
                      <a:pt x="44" y="277"/>
                      <a:pt x="44" y="277"/>
                      <a:pt x="44" y="277"/>
                    </a:cubicBezTo>
                    <a:cubicBezTo>
                      <a:pt x="45" y="278"/>
                      <a:pt x="45" y="278"/>
                      <a:pt x="45" y="278"/>
                    </a:cubicBezTo>
                    <a:cubicBezTo>
                      <a:pt x="46" y="277"/>
                      <a:pt x="46" y="277"/>
                      <a:pt x="46" y="277"/>
                    </a:cubicBezTo>
                    <a:cubicBezTo>
                      <a:pt x="46" y="275"/>
                      <a:pt x="46" y="275"/>
                      <a:pt x="46" y="275"/>
                    </a:cubicBezTo>
                    <a:cubicBezTo>
                      <a:pt x="52" y="271"/>
                      <a:pt x="52" y="271"/>
                      <a:pt x="52" y="271"/>
                    </a:cubicBezTo>
                    <a:cubicBezTo>
                      <a:pt x="54" y="272"/>
                      <a:pt x="54" y="272"/>
                      <a:pt x="54" y="272"/>
                    </a:cubicBezTo>
                    <a:cubicBezTo>
                      <a:pt x="55" y="272"/>
                      <a:pt x="55" y="272"/>
                      <a:pt x="55" y="272"/>
                    </a:cubicBezTo>
                    <a:cubicBezTo>
                      <a:pt x="57" y="271"/>
                      <a:pt x="57" y="271"/>
                      <a:pt x="57" y="271"/>
                    </a:cubicBezTo>
                    <a:cubicBezTo>
                      <a:pt x="62" y="270"/>
                      <a:pt x="62" y="270"/>
                      <a:pt x="62" y="270"/>
                    </a:cubicBezTo>
                    <a:cubicBezTo>
                      <a:pt x="63" y="271"/>
                      <a:pt x="63" y="271"/>
                      <a:pt x="63" y="271"/>
                    </a:cubicBezTo>
                    <a:cubicBezTo>
                      <a:pt x="66" y="270"/>
                      <a:pt x="66" y="270"/>
                      <a:pt x="66" y="270"/>
                    </a:cubicBezTo>
                    <a:cubicBezTo>
                      <a:pt x="67" y="271"/>
                      <a:pt x="67" y="271"/>
                      <a:pt x="67" y="271"/>
                    </a:cubicBezTo>
                    <a:cubicBezTo>
                      <a:pt x="68" y="271"/>
                      <a:pt x="68" y="271"/>
                      <a:pt x="68" y="271"/>
                    </a:cubicBezTo>
                    <a:cubicBezTo>
                      <a:pt x="70" y="270"/>
                      <a:pt x="70" y="270"/>
                      <a:pt x="70" y="270"/>
                    </a:cubicBezTo>
                    <a:cubicBezTo>
                      <a:pt x="71" y="273"/>
                      <a:pt x="71" y="273"/>
                      <a:pt x="71" y="273"/>
                    </a:cubicBezTo>
                    <a:cubicBezTo>
                      <a:pt x="72" y="273"/>
                      <a:pt x="72" y="273"/>
                      <a:pt x="72" y="273"/>
                    </a:cubicBezTo>
                    <a:cubicBezTo>
                      <a:pt x="74" y="272"/>
                      <a:pt x="74" y="272"/>
                      <a:pt x="74" y="272"/>
                    </a:cubicBezTo>
                    <a:cubicBezTo>
                      <a:pt x="75" y="273"/>
                      <a:pt x="75" y="273"/>
                      <a:pt x="75" y="273"/>
                    </a:cubicBezTo>
                    <a:cubicBezTo>
                      <a:pt x="76" y="272"/>
                      <a:pt x="76" y="272"/>
                      <a:pt x="76" y="272"/>
                    </a:cubicBezTo>
                    <a:cubicBezTo>
                      <a:pt x="80" y="272"/>
                      <a:pt x="80" y="272"/>
                      <a:pt x="80" y="272"/>
                    </a:cubicBezTo>
                    <a:cubicBezTo>
                      <a:pt x="80" y="273"/>
                      <a:pt x="80" y="273"/>
                      <a:pt x="80" y="273"/>
                    </a:cubicBezTo>
                    <a:cubicBezTo>
                      <a:pt x="81" y="274"/>
                      <a:pt x="81" y="274"/>
                      <a:pt x="81" y="274"/>
                    </a:cubicBezTo>
                    <a:cubicBezTo>
                      <a:pt x="83" y="272"/>
                      <a:pt x="83" y="272"/>
                      <a:pt x="83" y="272"/>
                    </a:cubicBezTo>
                    <a:cubicBezTo>
                      <a:pt x="85" y="272"/>
                      <a:pt x="85" y="272"/>
                      <a:pt x="85" y="272"/>
                    </a:cubicBezTo>
                    <a:cubicBezTo>
                      <a:pt x="87" y="270"/>
                      <a:pt x="87" y="270"/>
                      <a:pt x="87" y="270"/>
                    </a:cubicBezTo>
                    <a:cubicBezTo>
                      <a:pt x="88" y="268"/>
                      <a:pt x="88" y="268"/>
                      <a:pt x="88" y="268"/>
                    </a:cubicBezTo>
                    <a:cubicBezTo>
                      <a:pt x="89" y="268"/>
                      <a:pt x="89" y="268"/>
                      <a:pt x="89" y="268"/>
                    </a:cubicBezTo>
                    <a:cubicBezTo>
                      <a:pt x="91" y="266"/>
                      <a:pt x="91" y="266"/>
                      <a:pt x="91" y="266"/>
                    </a:cubicBezTo>
                    <a:cubicBezTo>
                      <a:pt x="92" y="262"/>
                      <a:pt x="92" y="262"/>
                      <a:pt x="92" y="262"/>
                    </a:cubicBezTo>
                    <a:cubicBezTo>
                      <a:pt x="95" y="260"/>
                      <a:pt x="95" y="260"/>
                      <a:pt x="95" y="260"/>
                    </a:cubicBezTo>
                    <a:cubicBezTo>
                      <a:pt x="98" y="259"/>
                      <a:pt x="98" y="259"/>
                      <a:pt x="98" y="259"/>
                    </a:cubicBezTo>
                    <a:cubicBezTo>
                      <a:pt x="99" y="260"/>
                      <a:pt x="99" y="260"/>
                      <a:pt x="99" y="260"/>
                    </a:cubicBezTo>
                    <a:cubicBezTo>
                      <a:pt x="103" y="259"/>
                      <a:pt x="103" y="259"/>
                      <a:pt x="103" y="259"/>
                    </a:cubicBezTo>
                    <a:cubicBezTo>
                      <a:pt x="108" y="255"/>
                      <a:pt x="108" y="255"/>
                      <a:pt x="108" y="255"/>
                    </a:cubicBezTo>
                    <a:cubicBezTo>
                      <a:pt x="111" y="252"/>
                      <a:pt x="111" y="252"/>
                      <a:pt x="111" y="252"/>
                    </a:cubicBezTo>
                    <a:cubicBezTo>
                      <a:pt x="112" y="252"/>
                      <a:pt x="112" y="252"/>
                      <a:pt x="112" y="252"/>
                    </a:cubicBezTo>
                    <a:cubicBezTo>
                      <a:pt x="114" y="252"/>
                      <a:pt x="114" y="252"/>
                      <a:pt x="114" y="252"/>
                    </a:cubicBezTo>
                    <a:cubicBezTo>
                      <a:pt x="115" y="252"/>
                      <a:pt x="115" y="252"/>
                      <a:pt x="115" y="252"/>
                    </a:cubicBezTo>
                    <a:cubicBezTo>
                      <a:pt x="118" y="253"/>
                      <a:pt x="118" y="253"/>
                      <a:pt x="118" y="253"/>
                    </a:cubicBezTo>
                    <a:cubicBezTo>
                      <a:pt x="121" y="253"/>
                      <a:pt x="121" y="253"/>
                      <a:pt x="121" y="253"/>
                    </a:cubicBezTo>
                    <a:cubicBezTo>
                      <a:pt x="123" y="253"/>
                      <a:pt x="123" y="253"/>
                      <a:pt x="123" y="253"/>
                    </a:cubicBezTo>
                    <a:cubicBezTo>
                      <a:pt x="127" y="253"/>
                      <a:pt x="127" y="253"/>
                      <a:pt x="127" y="253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35" y="250"/>
                      <a:pt x="135" y="250"/>
                      <a:pt x="135" y="250"/>
                    </a:cubicBezTo>
                    <a:cubicBezTo>
                      <a:pt x="137" y="248"/>
                      <a:pt x="137" y="248"/>
                      <a:pt x="137" y="248"/>
                    </a:cubicBezTo>
                    <a:cubicBezTo>
                      <a:pt x="139" y="248"/>
                      <a:pt x="139" y="248"/>
                      <a:pt x="139" y="248"/>
                    </a:cubicBezTo>
                    <a:cubicBezTo>
                      <a:pt x="142" y="246"/>
                      <a:pt x="142" y="246"/>
                      <a:pt x="142" y="246"/>
                    </a:cubicBezTo>
                    <a:cubicBezTo>
                      <a:pt x="146" y="246"/>
                      <a:pt x="146" y="246"/>
                      <a:pt x="146" y="246"/>
                    </a:cubicBezTo>
                    <a:cubicBezTo>
                      <a:pt x="156" y="245"/>
                      <a:pt x="156" y="245"/>
                      <a:pt x="156" y="245"/>
                    </a:cubicBezTo>
                    <a:cubicBezTo>
                      <a:pt x="160" y="246"/>
                      <a:pt x="160" y="246"/>
                      <a:pt x="160" y="246"/>
                    </a:cubicBezTo>
                    <a:cubicBezTo>
                      <a:pt x="162" y="246"/>
                      <a:pt x="162" y="246"/>
                      <a:pt x="162" y="246"/>
                    </a:cubicBezTo>
                    <a:cubicBezTo>
                      <a:pt x="165" y="245"/>
                      <a:pt x="165" y="245"/>
                      <a:pt x="165" y="245"/>
                    </a:cubicBezTo>
                    <a:cubicBezTo>
                      <a:pt x="167" y="246"/>
                      <a:pt x="167" y="246"/>
                      <a:pt x="167" y="246"/>
                    </a:cubicBezTo>
                    <a:cubicBezTo>
                      <a:pt x="170" y="248"/>
                      <a:pt x="170" y="248"/>
                      <a:pt x="170" y="248"/>
                    </a:cubicBezTo>
                    <a:cubicBezTo>
                      <a:pt x="173" y="252"/>
                      <a:pt x="173" y="252"/>
                      <a:pt x="173" y="252"/>
                    </a:cubicBezTo>
                    <a:cubicBezTo>
                      <a:pt x="174" y="253"/>
                      <a:pt x="174" y="253"/>
                      <a:pt x="174" y="253"/>
                    </a:cubicBezTo>
                    <a:cubicBezTo>
                      <a:pt x="176" y="252"/>
                      <a:pt x="176" y="252"/>
                      <a:pt x="176" y="252"/>
                    </a:cubicBezTo>
                    <a:cubicBezTo>
                      <a:pt x="177" y="251"/>
                      <a:pt x="177" y="251"/>
                      <a:pt x="177" y="251"/>
                    </a:cubicBezTo>
                    <a:cubicBezTo>
                      <a:pt x="178" y="252"/>
                      <a:pt x="178" y="252"/>
                      <a:pt x="178" y="252"/>
                    </a:cubicBezTo>
                    <a:cubicBezTo>
                      <a:pt x="179" y="252"/>
                      <a:pt x="179" y="252"/>
                      <a:pt x="179" y="252"/>
                    </a:cubicBezTo>
                    <a:cubicBezTo>
                      <a:pt x="181" y="252"/>
                      <a:pt x="181" y="252"/>
                      <a:pt x="181" y="252"/>
                    </a:cubicBezTo>
                    <a:cubicBezTo>
                      <a:pt x="183" y="255"/>
                      <a:pt x="183" y="255"/>
                      <a:pt x="183" y="255"/>
                    </a:cubicBezTo>
                    <a:cubicBezTo>
                      <a:pt x="185" y="255"/>
                      <a:pt x="185" y="255"/>
                      <a:pt x="185" y="255"/>
                    </a:cubicBezTo>
                    <a:cubicBezTo>
                      <a:pt x="186" y="255"/>
                      <a:pt x="186" y="255"/>
                      <a:pt x="186" y="255"/>
                    </a:cubicBezTo>
                    <a:cubicBezTo>
                      <a:pt x="190" y="258"/>
                      <a:pt x="190" y="258"/>
                      <a:pt x="190" y="258"/>
                    </a:cubicBezTo>
                    <a:cubicBezTo>
                      <a:pt x="190" y="260"/>
                      <a:pt x="190" y="260"/>
                      <a:pt x="190" y="260"/>
                    </a:cubicBezTo>
                    <a:cubicBezTo>
                      <a:pt x="191" y="260"/>
                      <a:pt x="191" y="260"/>
                      <a:pt x="191" y="260"/>
                    </a:cubicBezTo>
                    <a:cubicBezTo>
                      <a:pt x="193" y="261"/>
                      <a:pt x="193" y="261"/>
                      <a:pt x="193" y="261"/>
                    </a:cubicBezTo>
                    <a:cubicBezTo>
                      <a:pt x="192" y="263"/>
                      <a:pt x="192" y="263"/>
                      <a:pt x="192" y="263"/>
                    </a:cubicBezTo>
                    <a:cubicBezTo>
                      <a:pt x="191" y="263"/>
                      <a:pt x="191" y="263"/>
                      <a:pt x="191" y="263"/>
                    </a:cubicBezTo>
                    <a:cubicBezTo>
                      <a:pt x="190" y="264"/>
                      <a:pt x="190" y="264"/>
                      <a:pt x="190" y="264"/>
                    </a:cubicBezTo>
                    <a:cubicBezTo>
                      <a:pt x="192" y="268"/>
                      <a:pt x="192" y="268"/>
                      <a:pt x="192" y="268"/>
                    </a:cubicBezTo>
                    <a:cubicBezTo>
                      <a:pt x="194" y="268"/>
                      <a:pt x="194" y="268"/>
                      <a:pt x="194" y="268"/>
                    </a:cubicBezTo>
                    <a:cubicBezTo>
                      <a:pt x="196" y="270"/>
                      <a:pt x="196" y="270"/>
                      <a:pt x="196" y="270"/>
                    </a:cubicBezTo>
                    <a:cubicBezTo>
                      <a:pt x="196" y="273"/>
                      <a:pt x="196" y="273"/>
                      <a:pt x="196" y="273"/>
                    </a:cubicBezTo>
                    <a:cubicBezTo>
                      <a:pt x="196" y="275"/>
                      <a:pt x="196" y="275"/>
                      <a:pt x="196" y="275"/>
                    </a:cubicBezTo>
                    <a:cubicBezTo>
                      <a:pt x="198" y="280"/>
                      <a:pt x="198" y="280"/>
                      <a:pt x="198" y="280"/>
                    </a:cubicBezTo>
                    <a:cubicBezTo>
                      <a:pt x="197" y="282"/>
                      <a:pt x="197" y="282"/>
                      <a:pt x="197" y="282"/>
                    </a:cubicBezTo>
                    <a:cubicBezTo>
                      <a:pt x="198" y="283"/>
                      <a:pt x="198" y="283"/>
                      <a:pt x="198" y="283"/>
                    </a:cubicBezTo>
                    <a:cubicBezTo>
                      <a:pt x="198" y="286"/>
                      <a:pt x="198" y="286"/>
                      <a:pt x="198" y="286"/>
                    </a:cubicBezTo>
                    <a:cubicBezTo>
                      <a:pt x="197" y="287"/>
                      <a:pt x="197" y="287"/>
                      <a:pt x="197" y="287"/>
                    </a:cubicBezTo>
                    <a:cubicBezTo>
                      <a:pt x="196" y="286"/>
                      <a:pt x="196" y="286"/>
                      <a:pt x="196" y="286"/>
                    </a:cubicBezTo>
                    <a:cubicBezTo>
                      <a:pt x="195" y="287"/>
                      <a:pt x="195" y="287"/>
                      <a:pt x="195" y="287"/>
                    </a:cubicBezTo>
                    <a:cubicBezTo>
                      <a:pt x="197" y="289"/>
                      <a:pt x="197" y="289"/>
                      <a:pt x="197" y="289"/>
                    </a:cubicBezTo>
                    <a:cubicBezTo>
                      <a:pt x="198" y="290"/>
                      <a:pt x="198" y="290"/>
                      <a:pt x="198" y="290"/>
                    </a:cubicBezTo>
                    <a:cubicBezTo>
                      <a:pt x="199" y="292"/>
                      <a:pt x="199" y="292"/>
                      <a:pt x="199" y="292"/>
                    </a:cubicBezTo>
                    <a:cubicBezTo>
                      <a:pt x="201" y="291"/>
                      <a:pt x="201" y="291"/>
                      <a:pt x="201" y="291"/>
                    </a:cubicBezTo>
                    <a:cubicBezTo>
                      <a:pt x="202" y="293"/>
                      <a:pt x="202" y="293"/>
                      <a:pt x="202" y="293"/>
                    </a:cubicBezTo>
                    <a:cubicBezTo>
                      <a:pt x="202" y="291"/>
                      <a:pt x="202" y="291"/>
                      <a:pt x="202" y="291"/>
                    </a:cubicBezTo>
                    <a:cubicBezTo>
                      <a:pt x="201" y="289"/>
                      <a:pt x="201" y="289"/>
                      <a:pt x="201" y="289"/>
                    </a:cubicBezTo>
                    <a:cubicBezTo>
                      <a:pt x="203" y="288"/>
                      <a:pt x="203" y="288"/>
                      <a:pt x="203" y="288"/>
                    </a:cubicBezTo>
                    <a:cubicBezTo>
                      <a:pt x="203" y="286"/>
                      <a:pt x="203" y="286"/>
                      <a:pt x="203" y="286"/>
                    </a:cubicBezTo>
                    <a:cubicBezTo>
                      <a:pt x="205" y="286"/>
                      <a:pt x="205" y="286"/>
                      <a:pt x="205" y="286"/>
                    </a:cubicBezTo>
                    <a:cubicBezTo>
                      <a:pt x="206" y="284"/>
                      <a:pt x="206" y="284"/>
                      <a:pt x="206" y="284"/>
                    </a:cubicBezTo>
                    <a:cubicBezTo>
                      <a:pt x="208" y="284"/>
                      <a:pt x="208" y="284"/>
                      <a:pt x="208" y="284"/>
                    </a:cubicBezTo>
                    <a:cubicBezTo>
                      <a:pt x="208" y="282"/>
                      <a:pt x="208" y="282"/>
                      <a:pt x="208" y="282"/>
                    </a:cubicBezTo>
                    <a:cubicBezTo>
                      <a:pt x="210" y="280"/>
                      <a:pt x="210" y="280"/>
                      <a:pt x="210" y="280"/>
                    </a:cubicBezTo>
                    <a:cubicBezTo>
                      <a:pt x="214" y="277"/>
                      <a:pt x="214" y="277"/>
                      <a:pt x="214" y="277"/>
                    </a:cubicBezTo>
                    <a:cubicBezTo>
                      <a:pt x="214" y="276"/>
                      <a:pt x="214" y="276"/>
                      <a:pt x="214" y="276"/>
                    </a:cubicBezTo>
                    <a:cubicBezTo>
                      <a:pt x="215" y="276"/>
                      <a:pt x="215" y="276"/>
                      <a:pt x="215" y="276"/>
                    </a:cubicBezTo>
                    <a:cubicBezTo>
                      <a:pt x="218" y="275"/>
                      <a:pt x="218" y="275"/>
                      <a:pt x="218" y="275"/>
                    </a:cubicBezTo>
                    <a:cubicBezTo>
                      <a:pt x="219" y="272"/>
                      <a:pt x="219" y="272"/>
                      <a:pt x="219" y="272"/>
                    </a:cubicBezTo>
                    <a:cubicBezTo>
                      <a:pt x="222" y="268"/>
                      <a:pt x="222" y="268"/>
                      <a:pt x="222" y="268"/>
                    </a:cubicBezTo>
                    <a:cubicBezTo>
                      <a:pt x="225" y="267"/>
                      <a:pt x="225" y="267"/>
                      <a:pt x="225" y="267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5" y="263"/>
                      <a:pt x="225" y="263"/>
                      <a:pt x="225" y="263"/>
                    </a:cubicBezTo>
                    <a:cubicBezTo>
                      <a:pt x="225" y="261"/>
                      <a:pt x="225" y="261"/>
                      <a:pt x="225" y="261"/>
                    </a:cubicBezTo>
                    <a:cubicBezTo>
                      <a:pt x="227" y="264"/>
                      <a:pt x="227" y="264"/>
                      <a:pt x="227" y="264"/>
                    </a:cubicBezTo>
                    <a:cubicBezTo>
                      <a:pt x="227" y="266"/>
                      <a:pt x="227" y="266"/>
                      <a:pt x="227" y="266"/>
                    </a:cubicBezTo>
                    <a:cubicBezTo>
                      <a:pt x="227" y="269"/>
                      <a:pt x="227" y="269"/>
                      <a:pt x="227" y="269"/>
                    </a:cubicBezTo>
                    <a:cubicBezTo>
                      <a:pt x="225" y="270"/>
                      <a:pt x="225" y="270"/>
                      <a:pt x="225" y="270"/>
                    </a:cubicBezTo>
                    <a:cubicBezTo>
                      <a:pt x="225" y="275"/>
                      <a:pt x="225" y="275"/>
                      <a:pt x="225" y="275"/>
                    </a:cubicBezTo>
                    <a:cubicBezTo>
                      <a:pt x="221" y="278"/>
                      <a:pt x="221" y="278"/>
                      <a:pt x="221" y="278"/>
                    </a:cubicBezTo>
                    <a:cubicBezTo>
                      <a:pt x="220" y="280"/>
                      <a:pt x="220" y="280"/>
                      <a:pt x="220" y="280"/>
                    </a:cubicBezTo>
                    <a:cubicBezTo>
                      <a:pt x="219" y="282"/>
                      <a:pt x="219" y="282"/>
                      <a:pt x="219" y="282"/>
                    </a:cubicBezTo>
                    <a:cubicBezTo>
                      <a:pt x="219" y="284"/>
                      <a:pt x="219" y="284"/>
                      <a:pt x="219" y="284"/>
                    </a:cubicBezTo>
                    <a:cubicBezTo>
                      <a:pt x="217" y="287"/>
                      <a:pt x="217" y="287"/>
                      <a:pt x="217" y="287"/>
                    </a:cubicBezTo>
                    <a:cubicBezTo>
                      <a:pt x="218" y="288"/>
                      <a:pt x="218" y="288"/>
                      <a:pt x="218" y="288"/>
                    </a:cubicBezTo>
                    <a:cubicBezTo>
                      <a:pt x="216" y="293"/>
                      <a:pt x="216" y="293"/>
                      <a:pt x="216" y="293"/>
                    </a:cubicBezTo>
                    <a:cubicBezTo>
                      <a:pt x="211" y="293"/>
                      <a:pt x="211" y="293"/>
                      <a:pt x="211" y="293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09" y="297"/>
                      <a:pt x="209" y="297"/>
                      <a:pt x="209" y="297"/>
                    </a:cubicBezTo>
                    <a:cubicBezTo>
                      <a:pt x="209" y="298"/>
                      <a:pt x="209" y="298"/>
                      <a:pt x="209" y="298"/>
                    </a:cubicBezTo>
                    <a:cubicBezTo>
                      <a:pt x="212" y="297"/>
                      <a:pt x="212" y="297"/>
                      <a:pt x="212" y="297"/>
                    </a:cubicBezTo>
                    <a:cubicBezTo>
                      <a:pt x="215" y="296"/>
                      <a:pt x="215" y="296"/>
                      <a:pt x="215" y="296"/>
                    </a:cubicBezTo>
                    <a:cubicBezTo>
                      <a:pt x="218" y="297"/>
                      <a:pt x="218" y="297"/>
                      <a:pt x="218" y="297"/>
                    </a:cubicBezTo>
                    <a:cubicBezTo>
                      <a:pt x="221" y="292"/>
                      <a:pt x="221" y="292"/>
                      <a:pt x="221" y="292"/>
                    </a:cubicBezTo>
                    <a:cubicBezTo>
                      <a:pt x="222" y="287"/>
                      <a:pt x="222" y="287"/>
                      <a:pt x="222" y="287"/>
                    </a:cubicBezTo>
                    <a:cubicBezTo>
                      <a:pt x="225" y="284"/>
                      <a:pt x="225" y="284"/>
                      <a:pt x="225" y="284"/>
                    </a:cubicBezTo>
                    <a:cubicBezTo>
                      <a:pt x="226" y="285"/>
                      <a:pt x="226" y="285"/>
                      <a:pt x="226" y="285"/>
                    </a:cubicBezTo>
                    <a:cubicBezTo>
                      <a:pt x="226" y="289"/>
                      <a:pt x="226" y="289"/>
                      <a:pt x="226" y="289"/>
                    </a:cubicBezTo>
                    <a:cubicBezTo>
                      <a:pt x="227" y="292"/>
                      <a:pt x="227" y="292"/>
                      <a:pt x="227" y="292"/>
                    </a:cubicBezTo>
                    <a:cubicBezTo>
                      <a:pt x="226" y="293"/>
                      <a:pt x="226" y="293"/>
                      <a:pt x="226" y="293"/>
                    </a:cubicBezTo>
                    <a:cubicBezTo>
                      <a:pt x="226" y="297"/>
                      <a:pt x="226" y="297"/>
                      <a:pt x="226" y="297"/>
                    </a:cubicBezTo>
                    <a:cubicBezTo>
                      <a:pt x="224" y="301"/>
                      <a:pt x="224" y="301"/>
                      <a:pt x="224" y="301"/>
                    </a:cubicBezTo>
                    <a:cubicBezTo>
                      <a:pt x="220" y="303"/>
                      <a:pt x="220" y="303"/>
                      <a:pt x="220" y="303"/>
                    </a:cubicBezTo>
                    <a:cubicBezTo>
                      <a:pt x="221" y="304"/>
                      <a:pt x="221" y="304"/>
                      <a:pt x="221" y="304"/>
                    </a:cubicBezTo>
                    <a:cubicBezTo>
                      <a:pt x="223" y="304"/>
                      <a:pt x="223" y="304"/>
                      <a:pt x="223" y="304"/>
                    </a:cubicBezTo>
                    <a:cubicBezTo>
                      <a:pt x="226" y="304"/>
                      <a:pt x="226" y="304"/>
                      <a:pt x="226" y="304"/>
                    </a:cubicBezTo>
                    <a:cubicBezTo>
                      <a:pt x="227" y="303"/>
                      <a:pt x="227" y="303"/>
                      <a:pt x="227" y="303"/>
                    </a:cubicBezTo>
                    <a:cubicBezTo>
                      <a:pt x="229" y="302"/>
                      <a:pt x="229" y="302"/>
                      <a:pt x="229" y="302"/>
                    </a:cubicBezTo>
                    <a:cubicBezTo>
                      <a:pt x="231" y="301"/>
                      <a:pt x="231" y="301"/>
                      <a:pt x="231" y="301"/>
                    </a:cubicBezTo>
                    <a:cubicBezTo>
                      <a:pt x="232" y="301"/>
                      <a:pt x="232" y="301"/>
                      <a:pt x="232" y="301"/>
                    </a:cubicBezTo>
                    <a:cubicBezTo>
                      <a:pt x="234" y="301"/>
                      <a:pt x="234" y="301"/>
                      <a:pt x="234" y="301"/>
                    </a:cubicBezTo>
                    <a:cubicBezTo>
                      <a:pt x="233" y="303"/>
                      <a:pt x="233" y="303"/>
                      <a:pt x="233" y="303"/>
                    </a:cubicBezTo>
                    <a:cubicBezTo>
                      <a:pt x="232" y="304"/>
                      <a:pt x="232" y="304"/>
                      <a:pt x="232" y="304"/>
                    </a:cubicBezTo>
                    <a:cubicBezTo>
                      <a:pt x="230" y="304"/>
                      <a:pt x="230" y="304"/>
                      <a:pt x="230" y="304"/>
                    </a:cubicBezTo>
                    <a:cubicBezTo>
                      <a:pt x="229" y="305"/>
                      <a:pt x="229" y="305"/>
                      <a:pt x="229" y="305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32" y="310"/>
                      <a:pt x="232" y="310"/>
                      <a:pt x="232" y="310"/>
                    </a:cubicBezTo>
                    <a:cubicBezTo>
                      <a:pt x="233" y="313"/>
                      <a:pt x="233" y="313"/>
                      <a:pt x="233" y="313"/>
                    </a:cubicBezTo>
                    <a:cubicBezTo>
                      <a:pt x="233" y="317"/>
                      <a:pt x="233" y="317"/>
                      <a:pt x="233" y="317"/>
                    </a:cubicBezTo>
                    <a:cubicBezTo>
                      <a:pt x="233" y="321"/>
                      <a:pt x="233" y="321"/>
                      <a:pt x="233" y="321"/>
                    </a:cubicBezTo>
                    <a:cubicBezTo>
                      <a:pt x="230" y="324"/>
                      <a:pt x="230" y="324"/>
                      <a:pt x="230" y="324"/>
                    </a:cubicBezTo>
                    <a:cubicBezTo>
                      <a:pt x="231" y="325"/>
                      <a:pt x="231" y="325"/>
                      <a:pt x="231" y="325"/>
                    </a:cubicBezTo>
                    <a:cubicBezTo>
                      <a:pt x="231" y="329"/>
                      <a:pt x="231" y="329"/>
                      <a:pt x="231" y="329"/>
                    </a:cubicBezTo>
                    <a:cubicBezTo>
                      <a:pt x="232" y="330"/>
                      <a:pt x="232" y="330"/>
                      <a:pt x="232" y="330"/>
                    </a:cubicBezTo>
                    <a:cubicBezTo>
                      <a:pt x="234" y="333"/>
                      <a:pt x="234" y="333"/>
                      <a:pt x="234" y="333"/>
                    </a:cubicBezTo>
                    <a:cubicBezTo>
                      <a:pt x="234" y="336"/>
                      <a:pt x="234" y="336"/>
                      <a:pt x="234" y="336"/>
                    </a:cubicBezTo>
                    <a:cubicBezTo>
                      <a:pt x="238" y="341"/>
                      <a:pt x="238" y="341"/>
                      <a:pt x="238" y="341"/>
                    </a:cubicBezTo>
                    <a:cubicBezTo>
                      <a:pt x="240" y="341"/>
                      <a:pt x="240" y="341"/>
                      <a:pt x="240" y="341"/>
                    </a:cubicBezTo>
                    <a:cubicBezTo>
                      <a:pt x="242" y="343"/>
                      <a:pt x="242" y="343"/>
                      <a:pt x="242" y="343"/>
                    </a:cubicBezTo>
                    <a:cubicBezTo>
                      <a:pt x="243" y="345"/>
                      <a:pt x="243" y="345"/>
                      <a:pt x="243" y="345"/>
                    </a:cubicBezTo>
                    <a:cubicBezTo>
                      <a:pt x="245" y="345"/>
                      <a:pt x="245" y="345"/>
                      <a:pt x="245" y="345"/>
                    </a:cubicBezTo>
                    <a:cubicBezTo>
                      <a:pt x="245" y="344"/>
                      <a:pt x="245" y="344"/>
                      <a:pt x="245" y="344"/>
                    </a:cubicBezTo>
                    <a:cubicBezTo>
                      <a:pt x="247" y="344"/>
                      <a:pt x="247" y="344"/>
                      <a:pt x="247" y="344"/>
                    </a:cubicBezTo>
                    <a:cubicBezTo>
                      <a:pt x="249" y="345"/>
                      <a:pt x="249" y="345"/>
                      <a:pt x="249" y="345"/>
                    </a:cubicBezTo>
                    <a:cubicBezTo>
                      <a:pt x="251" y="347"/>
                      <a:pt x="251" y="347"/>
                      <a:pt x="251" y="347"/>
                    </a:cubicBezTo>
                    <a:cubicBezTo>
                      <a:pt x="253" y="348"/>
                      <a:pt x="253" y="348"/>
                      <a:pt x="253" y="348"/>
                    </a:cubicBezTo>
                    <a:cubicBezTo>
                      <a:pt x="256" y="350"/>
                      <a:pt x="256" y="350"/>
                      <a:pt x="256" y="350"/>
                    </a:cubicBezTo>
                    <a:cubicBezTo>
                      <a:pt x="256" y="352"/>
                      <a:pt x="256" y="352"/>
                      <a:pt x="256" y="352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60" y="355"/>
                      <a:pt x="260" y="355"/>
                      <a:pt x="260" y="355"/>
                    </a:cubicBezTo>
                    <a:cubicBezTo>
                      <a:pt x="261" y="355"/>
                      <a:pt x="261" y="355"/>
                      <a:pt x="261" y="355"/>
                    </a:cubicBezTo>
                    <a:cubicBezTo>
                      <a:pt x="262" y="354"/>
                      <a:pt x="262" y="354"/>
                      <a:pt x="262" y="354"/>
                    </a:cubicBezTo>
                    <a:cubicBezTo>
                      <a:pt x="266" y="352"/>
                      <a:pt x="266" y="352"/>
                      <a:pt x="266" y="352"/>
                    </a:cubicBezTo>
                    <a:cubicBezTo>
                      <a:pt x="267" y="350"/>
                      <a:pt x="267" y="350"/>
                      <a:pt x="267" y="350"/>
                    </a:cubicBez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72" y="347"/>
                      <a:pt x="272" y="347"/>
                      <a:pt x="272" y="347"/>
                    </a:cubicBezTo>
                    <a:cubicBezTo>
                      <a:pt x="273" y="348"/>
                      <a:pt x="273" y="348"/>
                      <a:pt x="273" y="348"/>
                    </a:cubicBezTo>
                    <a:cubicBezTo>
                      <a:pt x="274" y="347"/>
                      <a:pt x="274" y="347"/>
                      <a:pt x="274" y="347"/>
                    </a:cubicBezTo>
                    <a:cubicBezTo>
                      <a:pt x="274" y="346"/>
                      <a:pt x="274" y="346"/>
                      <a:pt x="274" y="346"/>
                    </a:cubicBezTo>
                    <a:cubicBezTo>
                      <a:pt x="272" y="345"/>
                      <a:pt x="272" y="345"/>
                      <a:pt x="272" y="345"/>
                    </a:cubicBezTo>
                    <a:cubicBezTo>
                      <a:pt x="272" y="344"/>
                      <a:pt x="272" y="344"/>
                      <a:pt x="272" y="344"/>
                    </a:cubicBezTo>
                    <a:cubicBezTo>
                      <a:pt x="276" y="341"/>
                      <a:pt x="276" y="341"/>
                      <a:pt x="276" y="341"/>
                    </a:cubicBezTo>
                    <a:cubicBezTo>
                      <a:pt x="279" y="344"/>
                      <a:pt x="279" y="344"/>
                      <a:pt x="279" y="344"/>
                    </a:cubicBezTo>
                    <a:cubicBezTo>
                      <a:pt x="279" y="346"/>
                      <a:pt x="279" y="346"/>
                      <a:pt x="279" y="346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6" y="350"/>
                      <a:pt x="276" y="350"/>
                      <a:pt x="276" y="350"/>
                    </a:cubicBezTo>
                    <a:cubicBezTo>
                      <a:pt x="278" y="350"/>
                      <a:pt x="278" y="350"/>
                      <a:pt x="278" y="350"/>
                    </a:cubicBezTo>
                    <a:cubicBezTo>
                      <a:pt x="279" y="349"/>
                      <a:pt x="279" y="349"/>
                      <a:pt x="279" y="349"/>
                    </a:cubicBezTo>
                    <a:cubicBezTo>
                      <a:pt x="280" y="347"/>
                      <a:pt x="280" y="347"/>
                      <a:pt x="280" y="347"/>
                    </a:cubicBezTo>
                    <a:cubicBezTo>
                      <a:pt x="282" y="348"/>
                      <a:pt x="282" y="348"/>
                      <a:pt x="282" y="348"/>
                    </a:cubicBezTo>
                    <a:cubicBezTo>
                      <a:pt x="282" y="350"/>
                      <a:pt x="282" y="350"/>
                      <a:pt x="282" y="350"/>
                    </a:cubicBezTo>
                    <a:cubicBezTo>
                      <a:pt x="281" y="350"/>
                      <a:pt x="281" y="350"/>
                      <a:pt x="281" y="350"/>
                    </a:cubicBezTo>
                    <a:cubicBezTo>
                      <a:pt x="280" y="352"/>
                      <a:pt x="280" y="352"/>
                      <a:pt x="280" y="352"/>
                    </a:cubicBezTo>
                    <a:cubicBezTo>
                      <a:pt x="282" y="355"/>
                      <a:pt x="282" y="355"/>
                      <a:pt x="282" y="355"/>
                    </a:cubicBezTo>
                    <a:cubicBezTo>
                      <a:pt x="283" y="358"/>
                      <a:pt x="283" y="358"/>
                      <a:pt x="283" y="358"/>
                    </a:cubicBezTo>
                    <a:cubicBezTo>
                      <a:pt x="284" y="358"/>
                      <a:pt x="284" y="358"/>
                      <a:pt x="284" y="358"/>
                    </a:cubicBezTo>
                    <a:cubicBezTo>
                      <a:pt x="285" y="358"/>
                      <a:pt x="285" y="358"/>
                      <a:pt x="285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6" y="362"/>
                      <a:pt x="286" y="362"/>
                      <a:pt x="286" y="362"/>
                    </a:cubicBezTo>
                    <a:cubicBezTo>
                      <a:pt x="288" y="360"/>
                      <a:pt x="288" y="360"/>
                      <a:pt x="288" y="360"/>
                    </a:cubicBezTo>
                    <a:cubicBezTo>
                      <a:pt x="288" y="357"/>
                      <a:pt x="288" y="357"/>
                      <a:pt x="288" y="357"/>
                    </a:cubicBezTo>
                    <a:cubicBezTo>
                      <a:pt x="286" y="358"/>
                      <a:pt x="286" y="358"/>
                      <a:pt x="286" y="358"/>
                    </a:cubicBezTo>
                    <a:cubicBezTo>
                      <a:pt x="286" y="357"/>
                      <a:pt x="286" y="357"/>
                      <a:pt x="286" y="357"/>
                    </a:cubicBezTo>
                    <a:cubicBezTo>
                      <a:pt x="287" y="356"/>
                      <a:pt x="287" y="356"/>
                      <a:pt x="287" y="356"/>
                    </a:cubicBezTo>
                    <a:cubicBezTo>
                      <a:pt x="292" y="356"/>
                      <a:pt x="292" y="356"/>
                      <a:pt x="292" y="356"/>
                    </a:cubicBezTo>
                    <a:cubicBezTo>
                      <a:pt x="292" y="357"/>
                      <a:pt x="292" y="357"/>
                      <a:pt x="292" y="357"/>
                    </a:cubicBezTo>
                    <a:cubicBezTo>
                      <a:pt x="293" y="356"/>
                      <a:pt x="293" y="356"/>
                      <a:pt x="293" y="356"/>
                    </a:cubicBezTo>
                    <a:cubicBezTo>
                      <a:pt x="295" y="352"/>
                      <a:pt x="295" y="352"/>
                      <a:pt x="295" y="352"/>
                    </a:cubicBezTo>
                    <a:cubicBezTo>
                      <a:pt x="300" y="349"/>
                      <a:pt x="300" y="349"/>
                      <a:pt x="300" y="349"/>
                    </a:cubicBezTo>
                    <a:cubicBezTo>
                      <a:pt x="303" y="347"/>
                      <a:pt x="303" y="347"/>
                      <a:pt x="303" y="347"/>
                    </a:cubicBezTo>
                    <a:cubicBezTo>
                      <a:pt x="302" y="347"/>
                      <a:pt x="302" y="347"/>
                      <a:pt x="302" y="347"/>
                    </a:cubicBezTo>
                    <a:cubicBezTo>
                      <a:pt x="301" y="347"/>
                      <a:pt x="301" y="347"/>
                      <a:pt x="301" y="347"/>
                    </a:cubicBezTo>
                    <a:cubicBezTo>
                      <a:pt x="301" y="347"/>
                      <a:pt x="301" y="347"/>
                      <a:pt x="301" y="34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301" y="346"/>
                      <a:pt x="301" y="346"/>
                      <a:pt x="301" y="346"/>
                    </a:cubicBezTo>
                    <a:cubicBezTo>
                      <a:pt x="304" y="346"/>
                      <a:pt x="304" y="346"/>
                      <a:pt x="304" y="346"/>
                    </a:cubicBezTo>
                    <a:cubicBezTo>
                      <a:pt x="307" y="345"/>
                      <a:pt x="307" y="345"/>
                      <a:pt x="307" y="345"/>
                    </a:cubicBezTo>
                    <a:cubicBezTo>
                      <a:pt x="315" y="343"/>
                      <a:pt x="315" y="343"/>
                      <a:pt x="315" y="343"/>
                    </a:cubicBezTo>
                    <a:cubicBezTo>
                      <a:pt x="321" y="345"/>
                      <a:pt x="321" y="345"/>
                      <a:pt x="321" y="345"/>
                    </a:cubicBezTo>
                    <a:cubicBezTo>
                      <a:pt x="323" y="343"/>
                      <a:pt x="323" y="343"/>
                      <a:pt x="323" y="343"/>
                    </a:cubicBezTo>
                    <a:cubicBezTo>
                      <a:pt x="323" y="341"/>
                      <a:pt x="323" y="341"/>
                      <a:pt x="323" y="341"/>
                    </a:cubicBezTo>
                    <a:cubicBezTo>
                      <a:pt x="325" y="341"/>
                      <a:pt x="325" y="341"/>
                      <a:pt x="325" y="341"/>
                    </a:cubicBezTo>
                    <a:cubicBezTo>
                      <a:pt x="327" y="340"/>
                      <a:pt x="327" y="340"/>
                      <a:pt x="327" y="340"/>
                    </a:cubicBezTo>
                    <a:cubicBezTo>
                      <a:pt x="329" y="337"/>
                      <a:pt x="329" y="337"/>
                      <a:pt x="329" y="337"/>
                    </a:cubicBezTo>
                    <a:cubicBezTo>
                      <a:pt x="328" y="333"/>
                      <a:pt x="328" y="333"/>
                      <a:pt x="328" y="333"/>
                    </a:cubicBezTo>
                    <a:cubicBezTo>
                      <a:pt x="328" y="331"/>
                      <a:pt x="328" y="331"/>
                      <a:pt x="328" y="331"/>
                    </a:cubicBezTo>
                    <a:cubicBezTo>
                      <a:pt x="331" y="327"/>
                      <a:pt x="331" y="327"/>
                      <a:pt x="331" y="327"/>
                    </a:cubicBezTo>
                    <a:cubicBezTo>
                      <a:pt x="331" y="321"/>
                      <a:pt x="331" y="321"/>
                      <a:pt x="331" y="321"/>
                    </a:cubicBezTo>
                    <a:cubicBezTo>
                      <a:pt x="333" y="319"/>
                      <a:pt x="333" y="319"/>
                      <a:pt x="333" y="319"/>
                    </a:cubicBezTo>
                    <a:cubicBezTo>
                      <a:pt x="333" y="315"/>
                      <a:pt x="333" y="315"/>
                      <a:pt x="333" y="315"/>
                    </a:cubicBezTo>
                    <a:cubicBezTo>
                      <a:pt x="335" y="314"/>
                      <a:pt x="335" y="314"/>
                      <a:pt x="335" y="314"/>
                    </a:cubicBezTo>
                    <a:cubicBezTo>
                      <a:pt x="335" y="312"/>
                      <a:pt x="335" y="312"/>
                      <a:pt x="335" y="312"/>
                    </a:cubicBezTo>
                    <a:cubicBezTo>
                      <a:pt x="341" y="305"/>
                      <a:pt x="341" y="305"/>
                      <a:pt x="341" y="305"/>
                    </a:cubicBezTo>
                    <a:cubicBezTo>
                      <a:pt x="342" y="305"/>
                      <a:pt x="342" y="305"/>
                      <a:pt x="342" y="305"/>
                    </a:cubicBezTo>
                    <a:cubicBezTo>
                      <a:pt x="344" y="300"/>
                      <a:pt x="344" y="300"/>
                      <a:pt x="344" y="300"/>
                    </a:cubicBezTo>
                    <a:cubicBezTo>
                      <a:pt x="346" y="297"/>
                      <a:pt x="346" y="297"/>
                      <a:pt x="346" y="297"/>
                    </a:cubicBezTo>
                    <a:cubicBezTo>
                      <a:pt x="347" y="293"/>
                      <a:pt x="347" y="293"/>
                      <a:pt x="347" y="293"/>
                    </a:cubicBezTo>
                    <a:cubicBezTo>
                      <a:pt x="350" y="291"/>
                      <a:pt x="350" y="291"/>
                      <a:pt x="350" y="291"/>
                    </a:cubicBezTo>
                    <a:cubicBezTo>
                      <a:pt x="349" y="289"/>
                      <a:pt x="349" y="289"/>
                      <a:pt x="349" y="289"/>
                    </a:cubicBezTo>
                    <a:cubicBezTo>
                      <a:pt x="351" y="288"/>
                      <a:pt x="351" y="288"/>
                      <a:pt x="351" y="288"/>
                    </a:cubicBezTo>
                    <a:cubicBezTo>
                      <a:pt x="353" y="284"/>
                      <a:pt x="353" y="284"/>
                      <a:pt x="353" y="284"/>
                    </a:cubicBezTo>
                    <a:cubicBezTo>
                      <a:pt x="351" y="283"/>
                      <a:pt x="351" y="283"/>
                      <a:pt x="351" y="283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56" y="278"/>
                      <a:pt x="356" y="278"/>
                      <a:pt x="356" y="278"/>
                    </a:cubicBezTo>
                    <a:cubicBezTo>
                      <a:pt x="358" y="277"/>
                      <a:pt x="358" y="277"/>
                      <a:pt x="358" y="277"/>
                    </a:cubicBezTo>
                    <a:cubicBezTo>
                      <a:pt x="359" y="274"/>
                      <a:pt x="359" y="274"/>
                      <a:pt x="359" y="274"/>
                    </a:cubicBezTo>
                    <a:cubicBezTo>
                      <a:pt x="362" y="273"/>
                      <a:pt x="362" y="273"/>
                      <a:pt x="362" y="273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361" y="272"/>
                      <a:pt x="361" y="272"/>
                      <a:pt x="361" y="272"/>
                    </a:cubicBezTo>
                    <a:cubicBezTo>
                      <a:pt x="362" y="271"/>
                      <a:pt x="362" y="271"/>
                      <a:pt x="362" y="271"/>
                    </a:cubicBezTo>
                    <a:cubicBezTo>
                      <a:pt x="365" y="271"/>
                      <a:pt x="365" y="271"/>
                      <a:pt x="365" y="271"/>
                    </a:cubicBezTo>
                    <a:cubicBezTo>
                      <a:pt x="368" y="268"/>
                      <a:pt x="368" y="268"/>
                      <a:pt x="368" y="268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68" y="265"/>
                      <a:pt x="368" y="265"/>
                      <a:pt x="368" y="265"/>
                    </a:cubicBezTo>
                    <a:cubicBezTo>
                      <a:pt x="369" y="263"/>
                      <a:pt x="369" y="263"/>
                      <a:pt x="369" y="263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372" y="258"/>
                      <a:pt x="372" y="258"/>
                      <a:pt x="372" y="258"/>
                    </a:cubicBezTo>
                    <a:cubicBezTo>
                      <a:pt x="374" y="257"/>
                      <a:pt x="374" y="257"/>
                      <a:pt x="374" y="257"/>
                    </a:cubicBezTo>
                    <a:cubicBezTo>
                      <a:pt x="376" y="254"/>
                      <a:pt x="376" y="254"/>
                      <a:pt x="376" y="254"/>
                    </a:cubicBezTo>
                    <a:cubicBezTo>
                      <a:pt x="376" y="252"/>
                      <a:pt x="376" y="252"/>
                      <a:pt x="376" y="252"/>
                    </a:cubicBezTo>
                    <a:cubicBezTo>
                      <a:pt x="377" y="249"/>
                      <a:pt x="377" y="249"/>
                      <a:pt x="377" y="249"/>
                    </a:cubicBezTo>
                    <a:cubicBezTo>
                      <a:pt x="376" y="248"/>
                      <a:pt x="376" y="248"/>
                      <a:pt x="376" y="248"/>
                    </a:cubicBezTo>
                    <a:cubicBezTo>
                      <a:pt x="377" y="246"/>
                      <a:pt x="377" y="246"/>
                      <a:pt x="377" y="246"/>
                    </a:cubicBezTo>
                    <a:cubicBezTo>
                      <a:pt x="379" y="240"/>
                      <a:pt x="379" y="240"/>
                      <a:pt x="379" y="240"/>
                    </a:cubicBezTo>
                    <a:cubicBezTo>
                      <a:pt x="380" y="236"/>
                      <a:pt x="380" y="236"/>
                      <a:pt x="380" y="236"/>
                    </a:cubicBezTo>
                    <a:cubicBezTo>
                      <a:pt x="383" y="230"/>
                      <a:pt x="383" y="230"/>
                      <a:pt x="383" y="230"/>
                    </a:cubicBezTo>
                    <a:cubicBezTo>
                      <a:pt x="383" y="228"/>
                      <a:pt x="383" y="228"/>
                      <a:pt x="383" y="228"/>
                    </a:cubicBezTo>
                    <a:cubicBezTo>
                      <a:pt x="385" y="223"/>
                      <a:pt x="385" y="223"/>
                      <a:pt x="385" y="223"/>
                    </a:cubicBezTo>
                    <a:cubicBezTo>
                      <a:pt x="388" y="221"/>
                      <a:pt x="388" y="221"/>
                      <a:pt x="388" y="221"/>
                    </a:cubicBezTo>
                    <a:cubicBezTo>
                      <a:pt x="389" y="218"/>
                      <a:pt x="389" y="218"/>
                      <a:pt x="389" y="218"/>
                    </a:cubicBezTo>
                    <a:cubicBezTo>
                      <a:pt x="388" y="215"/>
                      <a:pt x="388" y="215"/>
                      <a:pt x="388" y="215"/>
                    </a:cubicBezTo>
                    <a:cubicBezTo>
                      <a:pt x="390" y="213"/>
                      <a:pt x="390" y="213"/>
                      <a:pt x="390" y="213"/>
                    </a:cubicBezTo>
                    <a:cubicBezTo>
                      <a:pt x="388" y="209"/>
                      <a:pt x="388" y="209"/>
                      <a:pt x="388" y="209"/>
                    </a:cubicBezTo>
                    <a:cubicBezTo>
                      <a:pt x="388" y="206"/>
                      <a:pt x="388" y="206"/>
                      <a:pt x="388" y="206"/>
                    </a:cubicBezTo>
                    <a:cubicBezTo>
                      <a:pt x="387" y="202"/>
                      <a:pt x="387" y="202"/>
                      <a:pt x="387" y="202"/>
                    </a:cubicBezTo>
                    <a:cubicBezTo>
                      <a:pt x="386" y="201"/>
                      <a:pt x="386" y="201"/>
                      <a:pt x="386" y="201"/>
                    </a:cubicBezTo>
                    <a:cubicBezTo>
                      <a:pt x="386" y="199"/>
                      <a:pt x="386" y="199"/>
                      <a:pt x="386" y="199"/>
                    </a:cubicBezTo>
                    <a:cubicBezTo>
                      <a:pt x="387" y="198"/>
                      <a:pt x="387" y="198"/>
                      <a:pt x="387" y="198"/>
                    </a:cubicBezTo>
                    <a:cubicBezTo>
                      <a:pt x="387" y="196"/>
                      <a:pt x="387" y="196"/>
                      <a:pt x="387" y="196"/>
                    </a:cubicBezTo>
                    <a:cubicBezTo>
                      <a:pt x="389" y="193"/>
                      <a:pt x="389" y="193"/>
                      <a:pt x="389" y="193"/>
                    </a:cubicBezTo>
                    <a:cubicBezTo>
                      <a:pt x="389" y="192"/>
                      <a:pt x="389" y="192"/>
                      <a:pt x="389" y="192"/>
                    </a:cubicBezTo>
                    <a:cubicBezTo>
                      <a:pt x="388" y="186"/>
                      <a:pt x="388" y="186"/>
                      <a:pt x="388" y="186"/>
                    </a:cubicBezTo>
                    <a:cubicBezTo>
                      <a:pt x="390" y="184"/>
                      <a:pt x="390" y="184"/>
                      <a:pt x="390" y="184"/>
                    </a:cubicBezTo>
                    <a:cubicBezTo>
                      <a:pt x="389" y="183"/>
                      <a:pt x="389" y="183"/>
                      <a:pt x="389" y="183"/>
                    </a:cubicBezTo>
                    <a:cubicBezTo>
                      <a:pt x="388" y="181"/>
                      <a:pt x="388" y="181"/>
                      <a:pt x="388" y="181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89" y="175"/>
                      <a:pt x="389" y="175"/>
                      <a:pt x="389" y="175"/>
                    </a:cubicBezTo>
                    <a:cubicBezTo>
                      <a:pt x="387" y="174"/>
                      <a:pt x="387" y="174"/>
                      <a:pt x="387" y="174"/>
                    </a:cubicBezTo>
                    <a:cubicBezTo>
                      <a:pt x="386" y="172"/>
                      <a:pt x="386" y="172"/>
                      <a:pt x="386" y="172"/>
                    </a:cubicBezTo>
                    <a:cubicBezTo>
                      <a:pt x="386" y="170"/>
                      <a:pt x="386" y="170"/>
                      <a:pt x="386" y="170"/>
                    </a:cubicBezTo>
                    <a:cubicBezTo>
                      <a:pt x="384" y="168"/>
                      <a:pt x="384" y="168"/>
                      <a:pt x="384" y="168"/>
                    </a:cubicBezTo>
                    <a:cubicBezTo>
                      <a:pt x="382" y="165"/>
                      <a:pt x="382" y="165"/>
                      <a:pt x="382" y="165"/>
                    </a:cubicBezTo>
                    <a:cubicBezTo>
                      <a:pt x="382" y="162"/>
                      <a:pt x="382" y="162"/>
                      <a:pt x="382" y="162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79" y="160"/>
                      <a:pt x="379" y="160"/>
                      <a:pt x="379" y="160"/>
                    </a:cubicBezTo>
                    <a:cubicBezTo>
                      <a:pt x="378" y="160"/>
                      <a:pt x="378" y="160"/>
                      <a:pt x="378" y="160"/>
                    </a:cubicBezTo>
                    <a:cubicBezTo>
                      <a:pt x="376" y="159"/>
                      <a:pt x="376" y="159"/>
                      <a:pt x="376" y="159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75" y="156"/>
                      <a:pt x="375" y="156"/>
                      <a:pt x="375" y="156"/>
                    </a:cubicBezTo>
                    <a:cubicBezTo>
                      <a:pt x="375" y="155"/>
                      <a:pt x="375" y="155"/>
                      <a:pt x="375" y="155"/>
                    </a:cubicBezTo>
                    <a:cubicBezTo>
                      <a:pt x="373" y="153"/>
                      <a:pt x="373" y="153"/>
                      <a:pt x="373" y="153"/>
                    </a:cubicBezTo>
                    <a:cubicBezTo>
                      <a:pt x="371" y="152"/>
                      <a:pt x="371" y="152"/>
                      <a:pt x="371" y="152"/>
                    </a:cubicBezTo>
                    <a:cubicBezTo>
                      <a:pt x="372" y="150"/>
                      <a:pt x="372" y="150"/>
                      <a:pt x="372" y="150"/>
                    </a:cubicBezTo>
                    <a:cubicBezTo>
                      <a:pt x="371" y="148"/>
                      <a:pt x="371" y="148"/>
                      <a:pt x="371" y="148"/>
                    </a:cubicBezTo>
                    <a:cubicBezTo>
                      <a:pt x="372" y="145"/>
                      <a:pt x="372" y="145"/>
                      <a:pt x="372" y="145"/>
                    </a:cubicBezTo>
                    <a:cubicBezTo>
                      <a:pt x="373" y="142"/>
                      <a:pt x="373" y="142"/>
                      <a:pt x="373" y="142"/>
                    </a:cubicBezTo>
                    <a:cubicBezTo>
                      <a:pt x="372" y="141"/>
                      <a:pt x="372" y="141"/>
                      <a:pt x="372" y="141"/>
                    </a:cubicBezTo>
                    <a:cubicBezTo>
                      <a:pt x="373" y="139"/>
                      <a:pt x="373" y="139"/>
                      <a:pt x="373" y="139"/>
                    </a:cubicBezTo>
                    <a:cubicBezTo>
                      <a:pt x="371" y="138"/>
                      <a:pt x="371" y="138"/>
                      <a:pt x="371" y="138"/>
                    </a:cubicBezTo>
                    <a:cubicBezTo>
                      <a:pt x="371" y="139"/>
                      <a:pt x="371" y="139"/>
                      <a:pt x="371" y="139"/>
                    </a:cubicBezTo>
                    <a:cubicBezTo>
                      <a:pt x="371" y="140"/>
                      <a:pt x="371" y="140"/>
                      <a:pt x="371" y="140"/>
                    </a:cubicBezTo>
                    <a:cubicBezTo>
                      <a:pt x="371" y="141"/>
                      <a:pt x="371" y="141"/>
                      <a:pt x="371" y="141"/>
                    </a:cubicBezTo>
                    <a:cubicBezTo>
                      <a:pt x="366" y="137"/>
                      <a:pt x="366" y="137"/>
                      <a:pt x="366" y="137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7"/>
                      <a:pt x="365" y="137"/>
                      <a:pt x="365" y="137"/>
                    </a:cubicBezTo>
                    <a:cubicBezTo>
                      <a:pt x="364" y="138"/>
                      <a:pt x="364" y="138"/>
                      <a:pt x="364" y="138"/>
                    </a:cubicBezTo>
                    <a:cubicBezTo>
                      <a:pt x="365" y="141"/>
                      <a:pt x="365" y="141"/>
                      <a:pt x="365" y="141"/>
                    </a:cubicBezTo>
                    <a:cubicBezTo>
                      <a:pt x="363" y="139"/>
                      <a:pt x="363" y="139"/>
                      <a:pt x="363" y="139"/>
                    </a:cubicBezTo>
                    <a:cubicBezTo>
                      <a:pt x="362" y="140"/>
                      <a:pt x="362" y="140"/>
                      <a:pt x="362" y="140"/>
                    </a:cubicBezTo>
                    <a:cubicBezTo>
                      <a:pt x="362" y="138"/>
                      <a:pt x="362" y="138"/>
                      <a:pt x="362" y="138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61" y="131"/>
                      <a:pt x="361" y="131"/>
                      <a:pt x="361" y="131"/>
                    </a:cubicBezTo>
                    <a:cubicBezTo>
                      <a:pt x="361" y="130"/>
                      <a:pt x="361" y="130"/>
                      <a:pt x="361" y="130"/>
                    </a:cubicBezTo>
                    <a:cubicBezTo>
                      <a:pt x="361" y="129"/>
                      <a:pt x="361" y="129"/>
                      <a:pt x="361" y="129"/>
                    </a:cubicBezTo>
                    <a:cubicBezTo>
                      <a:pt x="360" y="128"/>
                      <a:pt x="360" y="128"/>
                      <a:pt x="360" y="128"/>
                    </a:cubicBezTo>
                    <a:cubicBezTo>
                      <a:pt x="360" y="126"/>
                      <a:pt x="360" y="126"/>
                      <a:pt x="360" y="126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3"/>
                      <a:pt x="359" y="123"/>
                      <a:pt x="359" y="123"/>
                    </a:cubicBezTo>
                    <a:cubicBezTo>
                      <a:pt x="356" y="120"/>
                      <a:pt x="356" y="120"/>
                      <a:pt x="356" y="120"/>
                    </a:cubicBezTo>
                    <a:cubicBezTo>
                      <a:pt x="355" y="118"/>
                      <a:pt x="355" y="118"/>
                      <a:pt x="355" y="118"/>
                    </a:cubicBezTo>
                    <a:cubicBezTo>
                      <a:pt x="355" y="116"/>
                      <a:pt x="355" y="116"/>
                      <a:pt x="355" y="116"/>
                    </a:cubicBezTo>
                    <a:cubicBezTo>
                      <a:pt x="357" y="117"/>
                      <a:pt x="357" y="117"/>
                      <a:pt x="357" y="117"/>
                    </a:cubicBezTo>
                    <a:cubicBezTo>
                      <a:pt x="357" y="115"/>
                      <a:pt x="357" y="115"/>
                      <a:pt x="357" y="115"/>
                    </a:cubicBezTo>
                    <a:cubicBezTo>
                      <a:pt x="355" y="112"/>
                      <a:pt x="355" y="112"/>
                      <a:pt x="355" y="112"/>
                    </a:cubicBezTo>
                    <a:cubicBezTo>
                      <a:pt x="355" y="112"/>
                      <a:pt x="355" y="112"/>
                      <a:pt x="355" y="112"/>
                    </a:cubicBezTo>
                    <a:cubicBezTo>
                      <a:pt x="353" y="112"/>
                      <a:pt x="353" y="112"/>
                      <a:pt x="353" y="112"/>
                    </a:cubicBezTo>
                    <a:cubicBezTo>
                      <a:pt x="351" y="109"/>
                      <a:pt x="351" y="109"/>
                      <a:pt x="351" y="109"/>
                    </a:cubicBezTo>
                    <a:cubicBezTo>
                      <a:pt x="350" y="109"/>
                      <a:pt x="350" y="109"/>
                      <a:pt x="350" y="109"/>
                    </a:cubicBezTo>
                    <a:cubicBezTo>
                      <a:pt x="348" y="108"/>
                      <a:pt x="348" y="108"/>
                      <a:pt x="348" y="108"/>
                    </a:cubicBezTo>
                    <a:cubicBezTo>
                      <a:pt x="347" y="109"/>
                      <a:pt x="347" y="109"/>
                      <a:pt x="347" y="109"/>
                    </a:cubicBezTo>
                    <a:cubicBezTo>
                      <a:pt x="346" y="108"/>
                      <a:pt x="346" y="108"/>
                      <a:pt x="346" y="108"/>
                    </a:cubicBezTo>
                    <a:cubicBezTo>
                      <a:pt x="344" y="107"/>
                      <a:pt x="344" y="107"/>
                      <a:pt x="344" y="107"/>
                    </a:cubicBezTo>
                    <a:cubicBezTo>
                      <a:pt x="343" y="108"/>
                      <a:pt x="343" y="108"/>
                      <a:pt x="343" y="108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6" y="106"/>
                      <a:pt x="346" y="106"/>
                    </a:cubicBezTo>
                    <a:cubicBezTo>
                      <a:pt x="346" y="104"/>
                      <a:pt x="346" y="104"/>
                      <a:pt x="346" y="104"/>
                    </a:cubicBezTo>
                    <a:cubicBezTo>
                      <a:pt x="345" y="103"/>
                      <a:pt x="345" y="103"/>
                      <a:pt x="345" y="103"/>
                    </a:cubicBezTo>
                    <a:cubicBezTo>
                      <a:pt x="343" y="103"/>
                      <a:pt x="343" y="103"/>
                      <a:pt x="343" y="103"/>
                    </a:cubicBezTo>
                    <a:cubicBezTo>
                      <a:pt x="341" y="103"/>
                      <a:pt x="341" y="103"/>
                      <a:pt x="341" y="103"/>
                    </a:cubicBezTo>
                    <a:cubicBezTo>
                      <a:pt x="341" y="102"/>
                      <a:pt x="341" y="102"/>
                      <a:pt x="341" y="102"/>
                    </a:cubicBezTo>
                    <a:cubicBezTo>
                      <a:pt x="340" y="102"/>
                      <a:pt x="340" y="102"/>
                      <a:pt x="340" y="102"/>
                    </a:cubicBezTo>
                    <a:cubicBezTo>
                      <a:pt x="336" y="100"/>
                      <a:pt x="336" y="100"/>
                      <a:pt x="336" y="100"/>
                    </a:cubicBezTo>
                    <a:cubicBezTo>
                      <a:pt x="334" y="96"/>
                      <a:pt x="334" y="96"/>
                      <a:pt x="334" y="96"/>
                    </a:cubicBezTo>
                    <a:cubicBezTo>
                      <a:pt x="334" y="93"/>
                      <a:pt x="334" y="93"/>
                      <a:pt x="334" y="93"/>
                    </a:cubicBezTo>
                    <a:cubicBezTo>
                      <a:pt x="332" y="90"/>
                      <a:pt x="332" y="90"/>
                      <a:pt x="332" y="90"/>
                    </a:cubicBezTo>
                    <a:cubicBezTo>
                      <a:pt x="333" y="88"/>
                      <a:pt x="333" y="88"/>
                      <a:pt x="333" y="88"/>
                    </a:cubicBezTo>
                    <a:cubicBezTo>
                      <a:pt x="333" y="88"/>
                      <a:pt x="333" y="88"/>
                      <a:pt x="333" y="88"/>
                    </a:cubicBezTo>
                    <a:cubicBezTo>
                      <a:pt x="334" y="84"/>
                      <a:pt x="334" y="84"/>
                      <a:pt x="334" y="84"/>
                    </a:cubicBezTo>
                    <a:cubicBezTo>
                      <a:pt x="333" y="79"/>
                      <a:pt x="333" y="79"/>
                      <a:pt x="333" y="79"/>
                    </a:cubicBezTo>
                    <a:cubicBezTo>
                      <a:pt x="332" y="76"/>
                      <a:pt x="332" y="76"/>
                      <a:pt x="332" y="76"/>
                    </a:cubicBezTo>
                    <a:cubicBezTo>
                      <a:pt x="333" y="76"/>
                      <a:pt x="333" y="76"/>
                      <a:pt x="333" y="76"/>
                    </a:cubicBezTo>
                    <a:cubicBezTo>
                      <a:pt x="332" y="75"/>
                      <a:pt x="332" y="75"/>
                      <a:pt x="332" y="75"/>
                    </a:cubicBezTo>
                    <a:cubicBezTo>
                      <a:pt x="330" y="75"/>
                      <a:pt x="330" y="75"/>
                      <a:pt x="330" y="75"/>
                    </a:cubicBezTo>
                    <a:cubicBezTo>
                      <a:pt x="328" y="71"/>
                      <a:pt x="328" y="71"/>
                      <a:pt x="328" y="71"/>
                    </a:cubicBezTo>
                    <a:cubicBezTo>
                      <a:pt x="328" y="66"/>
                      <a:pt x="328" y="66"/>
                      <a:pt x="328" y="66"/>
                    </a:cubicBezTo>
                    <a:cubicBezTo>
                      <a:pt x="329" y="65"/>
                      <a:pt x="329" y="65"/>
                      <a:pt x="329" y="65"/>
                    </a:cubicBezTo>
                    <a:cubicBezTo>
                      <a:pt x="329" y="64"/>
                      <a:pt x="329" y="64"/>
                      <a:pt x="329" y="64"/>
                    </a:cubicBezTo>
                    <a:cubicBezTo>
                      <a:pt x="328" y="63"/>
                      <a:pt x="328" y="63"/>
                      <a:pt x="328" y="63"/>
                    </a:cubicBezTo>
                    <a:cubicBezTo>
                      <a:pt x="328" y="57"/>
                      <a:pt x="328" y="57"/>
                      <a:pt x="328" y="57"/>
                    </a:cubicBezTo>
                    <a:cubicBezTo>
                      <a:pt x="328" y="55"/>
                      <a:pt x="328" y="55"/>
                      <a:pt x="328" y="55"/>
                    </a:cubicBezTo>
                    <a:cubicBezTo>
                      <a:pt x="328" y="53"/>
                      <a:pt x="328" y="53"/>
                      <a:pt x="328" y="53"/>
                    </a:cubicBezTo>
                    <a:cubicBezTo>
                      <a:pt x="329" y="53"/>
                      <a:pt x="329" y="53"/>
                      <a:pt x="329" y="53"/>
                    </a:cubicBezTo>
                    <a:cubicBezTo>
                      <a:pt x="329" y="51"/>
                      <a:pt x="329" y="51"/>
                      <a:pt x="329" y="51"/>
                    </a:cubicBezTo>
                    <a:cubicBezTo>
                      <a:pt x="325" y="48"/>
                      <a:pt x="325" y="48"/>
                      <a:pt x="325" y="48"/>
                    </a:cubicBezTo>
                    <a:cubicBezTo>
                      <a:pt x="323" y="47"/>
                      <a:pt x="323" y="47"/>
                      <a:pt x="323" y="47"/>
                    </a:cubicBezTo>
                    <a:cubicBezTo>
                      <a:pt x="324" y="46"/>
                      <a:pt x="324" y="46"/>
                      <a:pt x="324" y="46"/>
                    </a:cubicBezTo>
                    <a:cubicBezTo>
                      <a:pt x="322" y="44"/>
                      <a:pt x="322" y="44"/>
                      <a:pt x="322" y="44"/>
                    </a:cubicBezTo>
                    <a:cubicBezTo>
                      <a:pt x="320" y="45"/>
                      <a:pt x="320" y="45"/>
                      <a:pt x="320" y="45"/>
                    </a:cubicBezTo>
                    <a:cubicBezTo>
                      <a:pt x="319" y="44"/>
                      <a:pt x="319" y="44"/>
                      <a:pt x="319" y="44"/>
                    </a:cubicBezTo>
                    <a:cubicBezTo>
                      <a:pt x="318" y="47"/>
                      <a:pt x="318" y="47"/>
                      <a:pt x="318" y="47"/>
                    </a:cubicBezTo>
                    <a:cubicBezTo>
                      <a:pt x="316" y="47"/>
                      <a:pt x="316" y="47"/>
                      <a:pt x="316" y="47"/>
                    </a:cubicBezTo>
                    <a:cubicBezTo>
                      <a:pt x="314" y="44"/>
                      <a:pt x="314" y="44"/>
                      <a:pt x="314" y="44"/>
                    </a:cubicBezTo>
                    <a:cubicBezTo>
                      <a:pt x="314" y="42"/>
                      <a:pt x="314" y="42"/>
                      <a:pt x="314" y="42"/>
                    </a:cubicBezTo>
                    <a:cubicBezTo>
                      <a:pt x="313" y="39"/>
                      <a:pt x="313" y="39"/>
                      <a:pt x="313" y="39"/>
                    </a:cubicBezTo>
                    <a:cubicBezTo>
                      <a:pt x="314" y="35"/>
                      <a:pt x="314" y="35"/>
                      <a:pt x="314" y="35"/>
                    </a:cubicBezTo>
                    <a:cubicBezTo>
                      <a:pt x="313" y="31"/>
                      <a:pt x="313" y="31"/>
                      <a:pt x="313" y="31"/>
                    </a:cubicBezTo>
                    <a:cubicBezTo>
                      <a:pt x="313" y="31"/>
                      <a:pt x="313" y="31"/>
                      <a:pt x="313" y="31"/>
                    </a:cubicBezTo>
                    <a:cubicBezTo>
                      <a:pt x="312" y="30"/>
                      <a:pt x="312" y="30"/>
                      <a:pt x="312" y="30"/>
                    </a:cubicBezTo>
                    <a:cubicBezTo>
                      <a:pt x="313" y="28"/>
                      <a:pt x="313" y="28"/>
                      <a:pt x="313" y="28"/>
                    </a:cubicBezTo>
                    <a:cubicBezTo>
                      <a:pt x="311" y="26"/>
                      <a:pt x="311" y="26"/>
                      <a:pt x="311" y="26"/>
                    </a:cubicBezTo>
                    <a:cubicBezTo>
                      <a:pt x="311" y="24"/>
                      <a:pt x="311" y="24"/>
                      <a:pt x="311" y="24"/>
                    </a:cubicBezTo>
                    <a:cubicBezTo>
                      <a:pt x="310" y="23"/>
                      <a:pt x="310" y="23"/>
                      <a:pt x="310" y="23"/>
                    </a:cubicBezTo>
                    <a:cubicBezTo>
                      <a:pt x="310" y="21"/>
                      <a:pt x="310" y="21"/>
                      <a:pt x="310" y="21"/>
                    </a:cubicBezTo>
                    <a:cubicBezTo>
                      <a:pt x="311" y="20"/>
                      <a:pt x="311" y="20"/>
                      <a:pt x="311" y="20"/>
                    </a:cubicBezTo>
                    <a:cubicBezTo>
                      <a:pt x="310" y="19"/>
                      <a:pt x="310" y="19"/>
                      <a:pt x="310" y="19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7" y="18"/>
                      <a:pt x="307" y="18"/>
                      <a:pt x="307" y="18"/>
                    </a:cubicBezTo>
                    <a:cubicBezTo>
                      <a:pt x="308" y="14"/>
                      <a:pt x="308" y="14"/>
                      <a:pt x="308" y="14"/>
                    </a:cubicBezTo>
                    <a:cubicBezTo>
                      <a:pt x="307" y="12"/>
                      <a:pt x="307" y="12"/>
                      <a:pt x="307" y="12"/>
                    </a:cubicBezTo>
                    <a:cubicBezTo>
                      <a:pt x="307" y="10"/>
                      <a:pt x="307" y="10"/>
                      <a:pt x="307" y="10"/>
                    </a:cubicBezTo>
                    <a:cubicBezTo>
                      <a:pt x="305" y="9"/>
                      <a:pt x="305" y="9"/>
                      <a:pt x="305" y="9"/>
                    </a:cubicBezTo>
                    <a:cubicBezTo>
                      <a:pt x="305" y="8"/>
                      <a:pt x="305" y="8"/>
                      <a:pt x="305" y="8"/>
                    </a:cubicBezTo>
                    <a:cubicBezTo>
                      <a:pt x="303" y="9"/>
                      <a:pt x="303" y="9"/>
                      <a:pt x="303" y="9"/>
                    </a:cubicBezTo>
                    <a:cubicBezTo>
                      <a:pt x="301" y="10"/>
                      <a:pt x="301" y="10"/>
                      <a:pt x="301" y="10"/>
                    </a:cubicBezTo>
                    <a:cubicBezTo>
                      <a:pt x="301" y="14"/>
                      <a:pt x="301" y="14"/>
                      <a:pt x="301" y="14"/>
                    </a:cubicBezTo>
                    <a:cubicBezTo>
                      <a:pt x="300" y="17"/>
                      <a:pt x="300" y="17"/>
                      <a:pt x="300" y="17"/>
                    </a:cubicBezTo>
                    <a:cubicBezTo>
                      <a:pt x="300" y="18"/>
                      <a:pt x="300" y="18"/>
                      <a:pt x="300" y="18"/>
                    </a:cubicBezTo>
                    <a:cubicBezTo>
                      <a:pt x="300" y="20"/>
                      <a:pt x="300" y="20"/>
                      <a:pt x="300" y="20"/>
                    </a:cubicBezTo>
                    <a:cubicBezTo>
                      <a:pt x="299" y="20"/>
                      <a:pt x="299" y="20"/>
                      <a:pt x="299" y="20"/>
                    </a:cubicBezTo>
                    <a:cubicBezTo>
                      <a:pt x="298" y="23"/>
                      <a:pt x="298" y="23"/>
                      <a:pt x="298" y="23"/>
                    </a:cubicBezTo>
                    <a:cubicBezTo>
                      <a:pt x="296" y="25"/>
                      <a:pt x="296" y="25"/>
                      <a:pt x="296" y="25"/>
                    </a:cubicBezTo>
                    <a:cubicBezTo>
                      <a:pt x="297" y="27"/>
                      <a:pt x="297" y="27"/>
                      <a:pt x="297" y="27"/>
                    </a:cubicBezTo>
                    <a:cubicBezTo>
                      <a:pt x="299" y="28"/>
                      <a:pt x="299" y="28"/>
                      <a:pt x="299" y="28"/>
                    </a:cubicBezTo>
                    <a:cubicBezTo>
                      <a:pt x="298" y="29"/>
                      <a:pt x="298" y="29"/>
                      <a:pt x="298" y="29"/>
                    </a:cubicBezTo>
                    <a:cubicBezTo>
                      <a:pt x="297" y="29"/>
                      <a:pt x="297" y="29"/>
                      <a:pt x="297" y="29"/>
                    </a:cubicBezTo>
                    <a:cubicBezTo>
                      <a:pt x="296" y="31"/>
                      <a:pt x="296" y="31"/>
                      <a:pt x="296" y="31"/>
                    </a:cubicBezTo>
                    <a:cubicBezTo>
                      <a:pt x="295" y="33"/>
                      <a:pt x="295" y="33"/>
                      <a:pt x="295" y="33"/>
                    </a:cubicBezTo>
                    <a:cubicBezTo>
                      <a:pt x="296" y="35"/>
                      <a:pt x="296" y="35"/>
                      <a:pt x="296" y="35"/>
                    </a:cubicBezTo>
                    <a:cubicBezTo>
                      <a:pt x="297" y="37"/>
                      <a:pt x="297" y="37"/>
                      <a:pt x="297" y="37"/>
                    </a:cubicBezTo>
                    <a:cubicBezTo>
                      <a:pt x="295" y="36"/>
                      <a:pt x="295" y="36"/>
                      <a:pt x="295" y="36"/>
                    </a:cubicBezTo>
                    <a:cubicBezTo>
                      <a:pt x="294" y="37"/>
                      <a:pt x="294" y="37"/>
                      <a:pt x="294" y="37"/>
                    </a:cubicBezTo>
                    <a:cubicBezTo>
                      <a:pt x="293" y="42"/>
                      <a:pt x="293" y="42"/>
                      <a:pt x="293" y="42"/>
                    </a:cubicBezTo>
                    <a:cubicBezTo>
                      <a:pt x="294" y="45"/>
                      <a:pt x="294" y="45"/>
                      <a:pt x="294" y="45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4" y="54"/>
                      <a:pt x="294" y="54"/>
                      <a:pt x="294" y="54"/>
                    </a:cubicBezTo>
                    <a:cubicBezTo>
                      <a:pt x="292" y="56"/>
                      <a:pt x="292" y="56"/>
                      <a:pt x="292" y="56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0" y="61"/>
                      <a:pt x="290" y="61"/>
                      <a:pt x="290" y="61"/>
                    </a:cubicBezTo>
                    <a:cubicBezTo>
                      <a:pt x="290" y="67"/>
                      <a:pt x="290" y="67"/>
                      <a:pt x="290" y="67"/>
                    </a:cubicBezTo>
                    <a:cubicBezTo>
                      <a:pt x="288" y="69"/>
                      <a:pt x="288" y="69"/>
                      <a:pt x="288" y="69"/>
                    </a:cubicBezTo>
                    <a:cubicBezTo>
                      <a:pt x="289" y="71"/>
                      <a:pt x="289" y="71"/>
                      <a:pt x="289" y="71"/>
                    </a:cubicBezTo>
                    <a:cubicBezTo>
                      <a:pt x="288" y="74"/>
                      <a:pt x="288" y="74"/>
                      <a:pt x="288" y="74"/>
                    </a:cubicBezTo>
                    <a:cubicBezTo>
                      <a:pt x="286" y="76"/>
                      <a:pt x="286" y="76"/>
                      <a:pt x="286" y="76"/>
                    </a:cubicBezTo>
                    <a:cubicBezTo>
                      <a:pt x="286" y="79"/>
                      <a:pt x="286" y="79"/>
                      <a:pt x="286" y="79"/>
                    </a:cubicBezTo>
                    <a:cubicBezTo>
                      <a:pt x="283" y="82"/>
                      <a:pt x="283" y="82"/>
                      <a:pt x="283" y="82"/>
                    </a:cubicBezTo>
                    <a:cubicBezTo>
                      <a:pt x="277" y="84"/>
                      <a:pt x="277" y="84"/>
                      <a:pt x="277" y="84"/>
                    </a:cubicBezTo>
                    <a:cubicBezTo>
                      <a:pt x="274" y="82"/>
                      <a:pt x="274" y="82"/>
                      <a:pt x="274" y="82"/>
                    </a:cubicBezTo>
                    <a:cubicBezTo>
                      <a:pt x="272" y="82"/>
                      <a:pt x="272" y="82"/>
                      <a:pt x="272" y="82"/>
                    </a:cubicBezTo>
                    <a:cubicBezTo>
                      <a:pt x="270" y="81"/>
                      <a:pt x="270" y="81"/>
                      <a:pt x="270" y="81"/>
                    </a:cubicBezTo>
                    <a:cubicBezTo>
                      <a:pt x="268" y="79"/>
                      <a:pt x="268" y="79"/>
                      <a:pt x="268" y="79"/>
                    </a:cubicBezTo>
                    <a:cubicBezTo>
                      <a:pt x="268" y="77"/>
                      <a:pt x="268" y="77"/>
                      <a:pt x="268" y="77"/>
                    </a:cubicBezTo>
                    <a:cubicBezTo>
                      <a:pt x="267" y="76"/>
                      <a:pt x="267" y="76"/>
                      <a:pt x="267" y="76"/>
                    </a:cubicBezTo>
                    <a:cubicBezTo>
                      <a:pt x="267" y="74"/>
                      <a:pt x="267" y="74"/>
                      <a:pt x="267" y="74"/>
                    </a:cubicBezTo>
                    <a:cubicBezTo>
                      <a:pt x="264" y="74"/>
                      <a:pt x="264" y="74"/>
                      <a:pt x="264" y="74"/>
                    </a:cubicBezTo>
                    <a:cubicBezTo>
                      <a:pt x="262" y="73"/>
                      <a:pt x="262" y="73"/>
                      <a:pt x="262" y="73"/>
                    </a:cubicBezTo>
                    <a:cubicBezTo>
                      <a:pt x="259" y="73"/>
                      <a:pt x="259" y="73"/>
                      <a:pt x="259" y="73"/>
                    </a:cubicBezTo>
                    <a:cubicBezTo>
                      <a:pt x="257" y="71"/>
                      <a:pt x="257" y="71"/>
                      <a:pt x="257" y="71"/>
                    </a:cubicBezTo>
                    <a:cubicBezTo>
                      <a:pt x="256" y="69"/>
                      <a:pt x="256" y="69"/>
                      <a:pt x="256" y="69"/>
                    </a:cubicBezTo>
                    <a:cubicBezTo>
                      <a:pt x="254" y="67"/>
                      <a:pt x="254" y="67"/>
                      <a:pt x="254" y="67"/>
                    </a:cubicBezTo>
                    <a:cubicBezTo>
                      <a:pt x="251" y="66"/>
                      <a:pt x="251" y="66"/>
                      <a:pt x="251" y="66"/>
                    </a:cubicBezTo>
                    <a:cubicBezTo>
                      <a:pt x="249" y="65"/>
                      <a:pt x="249" y="65"/>
                      <a:pt x="249" y="65"/>
                    </a:cubicBezTo>
                    <a:cubicBezTo>
                      <a:pt x="249" y="64"/>
                      <a:pt x="249" y="64"/>
                      <a:pt x="249" y="64"/>
                    </a:cubicBezTo>
                    <a:cubicBezTo>
                      <a:pt x="248" y="64"/>
                      <a:pt x="248" y="64"/>
                      <a:pt x="248" y="64"/>
                    </a:cubicBezTo>
                    <a:cubicBezTo>
                      <a:pt x="247" y="63"/>
                      <a:pt x="247" y="63"/>
                      <a:pt x="247" y="63"/>
                    </a:cubicBezTo>
                    <a:cubicBezTo>
                      <a:pt x="245" y="63"/>
                      <a:pt x="245" y="63"/>
                      <a:pt x="245" y="63"/>
                    </a:cubicBezTo>
                    <a:cubicBezTo>
                      <a:pt x="243" y="62"/>
                      <a:pt x="243" y="62"/>
                      <a:pt x="243" y="62"/>
                    </a:cubicBezTo>
                    <a:cubicBezTo>
                      <a:pt x="243" y="61"/>
                      <a:pt x="243" y="61"/>
                      <a:pt x="243" y="61"/>
                    </a:cubicBezTo>
                    <a:cubicBezTo>
                      <a:pt x="241" y="59"/>
                      <a:pt x="241" y="59"/>
                      <a:pt x="241" y="59"/>
                    </a:cubicBezTo>
                    <a:cubicBezTo>
                      <a:pt x="240" y="57"/>
                      <a:pt x="240" y="57"/>
                      <a:pt x="240" y="57"/>
                    </a:cubicBezTo>
                    <a:cubicBezTo>
                      <a:pt x="238" y="55"/>
                      <a:pt x="238" y="55"/>
                      <a:pt x="238" y="55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4" y="52"/>
                      <a:pt x="234" y="52"/>
                      <a:pt x="234" y="52"/>
                    </a:cubicBezTo>
                    <a:cubicBezTo>
                      <a:pt x="234" y="50"/>
                      <a:pt x="234" y="50"/>
                      <a:pt x="234" y="50"/>
                    </a:cubicBezTo>
                    <a:cubicBezTo>
                      <a:pt x="236" y="47"/>
                      <a:pt x="236" y="47"/>
                      <a:pt x="236" y="47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8" y="43"/>
                      <a:pt x="238" y="43"/>
                      <a:pt x="238" y="43"/>
                    </a:cubicBezTo>
                    <a:cubicBezTo>
                      <a:pt x="239" y="40"/>
                      <a:pt x="239" y="40"/>
                      <a:pt x="239" y="40"/>
                    </a:cubicBezTo>
                    <a:cubicBezTo>
                      <a:pt x="240" y="38"/>
                      <a:pt x="240" y="38"/>
                      <a:pt x="240" y="38"/>
                    </a:cubicBezTo>
                    <a:cubicBezTo>
                      <a:pt x="238" y="40"/>
                      <a:pt x="238" y="40"/>
                      <a:pt x="238" y="40"/>
                    </a:cubicBezTo>
                    <a:cubicBezTo>
                      <a:pt x="237" y="37"/>
                      <a:pt x="237" y="37"/>
                      <a:pt x="237" y="37"/>
                    </a:cubicBezTo>
                    <a:cubicBezTo>
                      <a:pt x="239" y="36"/>
                      <a:pt x="239" y="36"/>
                      <a:pt x="239" y="36"/>
                    </a:cubicBezTo>
                    <a:cubicBezTo>
                      <a:pt x="238" y="33"/>
                      <a:pt x="238" y="33"/>
                      <a:pt x="238" y="33"/>
                    </a:cubicBezTo>
                    <a:cubicBezTo>
                      <a:pt x="239" y="34"/>
                      <a:pt x="239" y="34"/>
                      <a:pt x="239" y="34"/>
                    </a:cubicBezTo>
                    <a:cubicBezTo>
                      <a:pt x="240" y="33"/>
                      <a:pt x="240" y="33"/>
                      <a:pt x="240" y="33"/>
                    </a:cubicBezTo>
                    <a:cubicBezTo>
                      <a:pt x="241" y="34"/>
                      <a:pt x="241" y="34"/>
                      <a:pt x="241" y="34"/>
                    </a:cubicBezTo>
                    <a:cubicBezTo>
                      <a:pt x="243" y="34"/>
                      <a:pt x="243" y="34"/>
                      <a:pt x="243" y="34"/>
                    </a:cubicBezTo>
                    <a:cubicBezTo>
                      <a:pt x="245" y="33"/>
                      <a:pt x="245" y="33"/>
                      <a:pt x="245" y="33"/>
                    </a:cubicBezTo>
                    <a:cubicBezTo>
                      <a:pt x="246" y="31"/>
                      <a:pt x="246" y="31"/>
                      <a:pt x="246" y="31"/>
                    </a:cubicBezTo>
                    <a:cubicBezTo>
                      <a:pt x="244" y="29"/>
                      <a:pt x="244" y="29"/>
                      <a:pt x="244" y="29"/>
                    </a:cubicBezTo>
                    <a:cubicBezTo>
                      <a:pt x="246" y="28"/>
                      <a:pt x="246" y="28"/>
                      <a:pt x="246" y="28"/>
                    </a:cubicBezTo>
                    <a:cubicBezTo>
                      <a:pt x="247" y="29"/>
                      <a:pt x="247" y="29"/>
                      <a:pt x="247" y="29"/>
                    </a:cubicBezTo>
                    <a:cubicBezTo>
                      <a:pt x="248" y="25"/>
                      <a:pt x="248" y="25"/>
                      <a:pt x="248" y="25"/>
                    </a:cubicBezTo>
                    <a:cubicBezTo>
                      <a:pt x="249" y="25"/>
                      <a:pt x="249" y="25"/>
                      <a:pt x="249" y="25"/>
                    </a:cubicBezTo>
                    <a:cubicBezTo>
                      <a:pt x="250" y="23"/>
                      <a:pt x="250" y="23"/>
                      <a:pt x="250" y="23"/>
                    </a:cubicBezTo>
                    <a:cubicBezTo>
                      <a:pt x="251" y="22"/>
                      <a:pt x="251" y="22"/>
                      <a:pt x="251" y="22"/>
                    </a:cubicBezTo>
                    <a:cubicBezTo>
                      <a:pt x="249" y="21"/>
                      <a:pt x="249" y="21"/>
                      <a:pt x="249" y="21"/>
                    </a:cubicBezTo>
                    <a:cubicBezTo>
                      <a:pt x="247" y="22"/>
                      <a:pt x="247" y="22"/>
                      <a:pt x="247" y="22"/>
                    </a:cubicBezTo>
                    <a:cubicBezTo>
                      <a:pt x="246" y="22"/>
                      <a:pt x="246" y="22"/>
                      <a:pt x="246" y="22"/>
                    </a:cubicBezTo>
                    <a:cubicBezTo>
                      <a:pt x="246" y="18"/>
                      <a:pt x="246" y="18"/>
                      <a:pt x="246" y="18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24"/>
                      <a:pt x="243" y="24"/>
                      <a:pt x="243" y="24"/>
                    </a:cubicBezTo>
                    <a:cubicBezTo>
                      <a:pt x="241" y="25"/>
                      <a:pt x="241" y="25"/>
                      <a:pt x="241" y="25"/>
                    </a:cubicBezTo>
                    <a:cubicBezTo>
                      <a:pt x="240" y="24"/>
                      <a:pt x="240" y="24"/>
                      <a:pt x="240" y="24"/>
                    </a:cubicBezTo>
                    <a:cubicBezTo>
                      <a:pt x="240" y="23"/>
                      <a:pt x="240" y="23"/>
                      <a:pt x="240" y="23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38" y="23"/>
                      <a:pt x="238" y="23"/>
                      <a:pt x="238" y="23"/>
                    </a:cubicBezTo>
                    <a:cubicBezTo>
                      <a:pt x="237" y="23"/>
                      <a:pt x="237" y="23"/>
                      <a:pt x="237" y="23"/>
                    </a:cubicBezTo>
                    <a:cubicBezTo>
                      <a:pt x="237" y="22"/>
                      <a:pt x="237" y="22"/>
                      <a:pt x="237" y="22"/>
                    </a:cubicBezTo>
                    <a:cubicBezTo>
                      <a:pt x="238" y="21"/>
                      <a:pt x="238" y="21"/>
                      <a:pt x="238" y="21"/>
                    </a:cubicBezTo>
                    <a:cubicBezTo>
                      <a:pt x="238" y="20"/>
                      <a:pt x="238" y="20"/>
                      <a:pt x="238" y="20"/>
                    </a:cubicBezTo>
                    <a:cubicBezTo>
                      <a:pt x="237" y="20"/>
                      <a:pt x="237" y="20"/>
                      <a:pt x="237" y="20"/>
                    </a:cubicBezTo>
                    <a:cubicBezTo>
                      <a:pt x="236" y="21"/>
                      <a:pt x="236" y="21"/>
                      <a:pt x="236" y="21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234" y="23"/>
                      <a:pt x="234" y="23"/>
                      <a:pt x="234" y="23"/>
                    </a:cubicBezTo>
                    <a:cubicBezTo>
                      <a:pt x="232" y="23"/>
                      <a:pt x="232" y="23"/>
                      <a:pt x="232" y="23"/>
                    </a:cubicBezTo>
                    <a:cubicBezTo>
                      <a:pt x="232" y="22"/>
                      <a:pt x="232" y="22"/>
                      <a:pt x="232" y="22"/>
                    </a:cubicBezTo>
                    <a:cubicBezTo>
                      <a:pt x="230" y="22"/>
                      <a:pt x="230" y="22"/>
                      <a:pt x="230" y="22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28" y="19"/>
                      <a:pt x="228" y="19"/>
                      <a:pt x="228" y="19"/>
                    </a:cubicBezTo>
                    <a:cubicBezTo>
                      <a:pt x="228" y="19"/>
                      <a:pt x="228" y="19"/>
                      <a:pt x="228" y="19"/>
                    </a:cubicBezTo>
                    <a:cubicBezTo>
                      <a:pt x="225" y="20"/>
                      <a:pt x="225" y="20"/>
                      <a:pt x="225" y="20"/>
                    </a:cubicBezTo>
                    <a:cubicBezTo>
                      <a:pt x="224" y="20"/>
                      <a:pt x="224" y="20"/>
                      <a:pt x="224" y="20"/>
                    </a:cubicBezTo>
                    <a:cubicBezTo>
                      <a:pt x="223" y="20"/>
                      <a:pt x="223" y="20"/>
                      <a:pt x="223" y="20"/>
                    </a:cubicBezTo>
                    <a:cubicBezTo>
                      <a:pt x="222" y="19"/>
                      <a:pt x="222" y="19"/>
                      <a:pt x="222" y="19"/>
                    </a:cubicBezTo>
                    <a:cubicBezTo>
                      <a:pt x="221" y="19"/>
                      <a:pt x="221" y="19"/>
                      <a:pt x="221" y="19"/>
                    </a:cubicBezTo>
                    <a:cubicBezTo>
                      <a:pt x="220" y="16"/>
                      <a:pt x="220" y="16"/>
                      <a:pt x="220" y="16"/>
                    </a:cubicBezTo>
                    <a:cubicBezTo>
                      <a:pt x="218" y="17"/>
                      <a:pt x="218" y="17"/>
                      <a:pt x="218" y="17"/>
                    </a:cubicBezTo>
                    <a:cubicBezTo>
                      <a:pt x="215" y="17"/>
                      <a:pt x="215" y="17"/>
                      <a:pt x="215" y="17"/>
                    </a:cubicBezTo>
                    <a:cubicBezTo>
                      <a:pt x="213" y="16"/>
                      <a:pt x="213" y="16"/>
                      <a:pt x="213" y="16"/>
                    </a:cubicBezTo>
                    <a:cubicBezTo>
                      <a:pt x="214" y="15"/>
                      <a:pt x="214" y="15"/>
                      <a:pt x="214" y="15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1" y="13"/>
                      <a:pt x="211" y="13"/>
                      <a:pt x="211" y="13"/>
                    </a:cubicBezTo>
                    <a:cubicBezTo>
                      <a:pt x="211" y="14"/>
                      <a:pt x="211" y="14"/>
                      <a:pt x="211" y="14"/>
                    </a:cubicBezTo>
                    <a:cubicBezTo>
                      <a:pt x="208" y="15"/>
                      <a:pt x="208" y="15"/>
                      <a:pt x="208" y="15"/>
                    </a:cubicBezTo>
                    <a:cubicBezTo>
                      <a:pt x="208" y="13"/>
                      <a:pt x="208" y="13"/>
                      <a:pt x="208" y="13"/>
                    </a:cubicBezTo>
                    <a:cubicBezTo>
                      <a:pt x="206" y="12"/>
                      <a:pt x="206" y="12"/>
                      <a:pt x="206" y="12"/>
                    </a:cubicBezTo>
                    <a:cubicBezTo>
                      <a:pt x="204" y="11"/>
                      <a:pt x="204" y="11"/>
                      <a:pt x="204" y="11"/>
                    </a:cubicBezTo>
                    <a:cubicBezTo>
                      <a:pt x="203" y="12"/>
                      <a:pt x="203" y="12"/>
                      <a:pt x="203" y="12"/>
                    </a:cubicBezTo>
                    <a:cubicBezTo>
                      <a:pt x="202" y="11"/>
                      <a:pt x="202" y="11"/>
                      <a:pt x="202" y="11"/>
                    </a:cubicBezTo>
                    <a:cubicBezTo>
                      <a:pt x="200" y="12"/>
                      <a:pt x="200" y="12"/>
                      <a:pt x="200" y="12"/>
                    </a:cubicBezTo>
                    <a:cubicBezTo>
                      <a:pt x="202" y="13"/>
                      <a:pt x="202" y="13"/>
                      <a:pt x="202" y="13"/>
                    </a:cubicBezTo>
                    <a:cubicBezTo>
                      <a:pt x="202" y="14"/>
                      <a:pt x="202" y="14"/>
                      <a:pt x="202" y="14"/>
                    </a:cubicBezTo>
                    <a:cubicBezTo>
                      <a:pt x="203" y="14"/>
                      <a:pt x="203" y="14"/>
                      <a:pt x="203" y="14"/>
                    </a:cubicBezTo>
                    <a:cubicBezTo>
                      <a:pt x="205" y="14"/>
                      <a:pt x="205" y="14"/>
                      <a:pt x="205" y="14"/>
                    </a:cubicBezTo>
                    <a:cubicBezTo>
                      <a:pt x="208" y="16"/>
                      <a:pt x="208" y="16"/>
                      <a:pt x="208" y="16"/>
                    </a:cubicBezTo>
                    <a:cubicBezTo>
                      <a:pt x="208" y="17"/>
                      <a:pt x="208" y="17"/>
                      <a:pt x="208" y="17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6" y="21"/>
                      <a:pt x="206" y="21"/>
                      <a:pt x="206" y="21"/>
                    </a:cubicBezTo>
                    <a:cubicBezTo>
                      <a:pt x="205" y="23"/>
                      <a:pt x="205" y="23"/>
                      <a:pt x="205" y="23"/>
                    </a:cubicBezTo>
                    <a:cubicBezTo>
                      <a:pt x="205" y="22"/>
                      <a:pt x="205" y="22"/>
                      <a:pt x="205" y="22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202" y="22"/>
                      <a:pt x="202" y="22"/>
                      <a:pt x="202" y="22"/>
                    </a:cubicBezTo>
                    <a:cubicBezTo>
                      <a:pt x="196" y="23"/>
                      <a:pt x="196" y="23"/>
                      <a:pt x="196" y="23"/>
                    </a:cubicBezTo>
                    <a:cubicBezTo>
                      <a:pt x="194" y="21"/>
                      <a:pt x="194" y="21"/>
                      <a:pt x="194" y="21"/>
                    </a:cubicBezTo>
                    <a:cubicBezTo>
                      <a:pt x="194" y="21"/>
                      <a:pt x="194" y="21"/>
                      <a:pt x="194" y="21"/>
                    </a:cubicBezTo>
                    <a:cubicBezTo>
                      <a:pt x="192" y="22"/>
                      <a:pt x="192" y="22"/>
                      <a:pt x="192" y="22"/>
                    </a:cubicBezTo>
                    <a:cubicBezTo>
                      <a:pt x="192" y="24"/>
                      <a:pt x="192" y="24"/>
                      <a:pt x="192" y="24"/>
                    </a:cubicBezTo>
                    <a:cubicBezTo>
                      <a:pt x="190" y="24"/>
                      <a:pt x="190" y="24"/>
                      <a:pt x="190" y="24"/>
                    </a:cubicBezTo>
                    <a:cubicBezTo>
                      <a:pt x="191" y="26"/>
                      <a:pt x="191" y="26"/>
                      <a:pt x="191" y="26"/>
                    </a:cubicBezTo>
                    <a:cubicBezTo>
                      <a:pt x="190" y="25"/>
                      <a:pt x="190" y="25"/>
                      <a:pt x="190" y="25"/>
                    </a:cubicBezTo>
                    <a:cubicBezTo>
                      <a:pt x="188" y="25"/>
                      <a:pt x="188" y="25"/>
                      <a:pt x="188" y="25"/>
                    </a:cubicBezTo>
                    <a:cubicBezTo>
                      <a:pt x="187" y="26"/>
                      <a:pt x="187" y="26"/>
                      <a:pt x="187" y="26"/>
                    </a:cubicBezTo>
                    <a:cubicBezTo>
                      <a:pt x="188" y="27"/>
                      <a:pt x="188" y="27"/>
                      <a:pt x="188" y="27"/>
                    </a:cubicBezTo>
                    <a:cubicBezTo>
                      <a:pt x="188" y="28"/>
                      <a:pt x="188" y="28"/>
                      <a:pt x="188" y="28"/>
                    </a:cubicBezTo>
                    <a:cubicBezTo>
                      <a:pt x="185" y="27"/>
                      <a:pt x="185" y="27"/>
                      <a:pt x="185" y="27"/>
                    </a:cubicBezTo>
                    <a:cubicBezTo>
                      <a:pt x="184" y="29"/>
                      <a:pt x="184" y="29"/>
                      <a:pt x="184" y="29"/>
                    </a:cubicBezTo>
                    <a:cubicBezTo>
                      <a:pt x="185" y="30"/>
                      <a:pt x="185" y="30"/>
                      <a:pt x="185" y="30"/>
                    </a:cubicBezTo>
                    <a:cubicBezTo>
                      <a:pt x="184" y="30"/>
                      <a:pt x="184" y="30"/>
                      <a:pt x="184" y="30"/>
                    </a:cubicBezTo>
                    <a:cubicBezTo>
                      <a:pt x="182" y="31"/>
                      <a:pt x="182" y="31"/>
                      <a:pt x="182" y="31"/>
                    </a:cubicBezTo>
                    <a:cubicBezTo>
                      <a:pt x="182" y="32"/>
                      <a:pt x="182" y="32"/>
                      <a:pt x="182" y="32"/>
                    </a:cubicBezTo>
                    <a:cubicBezTo>
                      <a:pt x="184" y="34"/>
                      <a:pt x="184" y="34"/>
                      <a:pt x="184" y="34"/>
                    </a:cubicBezTo>
                    <a:cubicBezTo>
                      <a:pt x="184" y="35"/>
                      <a:pt x="184" y="35"/>
                      <a:pt x="184" y="35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1" y="35"/>
                      <a:pt x="181" y="35"/>
                      <a:pt x="181" y="35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178" y="38"/>
                      <a:pt x="178" y="38"/>
                      <a:pt x="178" y="38"/>
                    </a:cubicBezTo>
                    <a:cubicBezTo>
                      <a:pt x="176" y="41"/>
                      <a:pt x="176" y="41"/>
                      <a:pt x="176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4" y="44"/>
                      <a:pt x="174" y="44"/>
                      <a:pt x="174" y="44"/>
                    </a:cubicBezTo>
                    <a:cubicBezTo>
                      <a:pt x="173" y="45"/>
                      <a:pt x="173" y="45"/>
                      <a:pt x="173" y="45"/>
                    </a:cubicBezTo>
                    <a:cubicBezTo>
                      <a:pt x="174" y="47"/>
                      <a:pt x="174" y="47"/>
                      <a:pt x="174" y="47"/>
                    </a:cubicBezTo>
                    <a:cubicBezTo>
                      <a:pt x="177" y="47"/>
                      <a:pt x="177" y="47"/>
                      <a:pt x="177" y="47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75" y="49"/>
                      <a:pt x="175" y="49"/>
                      <a:pt x="175" y="49"/>
                    </a:cubicBezTo>
                    <a:cubicBezTo>
                      <a:pt x="179" y="50"/>
                      <a:pt x="179" y="50"/>
                      <a:pt x="179" y="50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5" y="49"/>
                      <a:pt x="175" y="49"/>
                      <a:pt x="175" y="49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6" y="52"/>
                      <a:pt x="176" y="52"/>
                      <a:pt x="176" y="52"/>
                    </a:cubicBezTo>
                    <a:cubicBezTo>
                      <a:pt x="176" y="54"/>
                      <a:pt x="176" y="54"/>
                      <a:pt x="176" y="54"/>
                    </a:cubicBezTo>
                    <a:cubicBezTo>
                      <a:pt x="178" y="56"/>
                      <a:pt x="178" y="56"/>
                      <a:pt x="178" y="56"/>
                    </a:cubicBezTo>
                    <a:cubicBezTo>
                      <a:pt x="175" y="54"/>
                      <a:pt x="175" y="54"/>
                      <a:pt x="175" y="54"/>
                    </a:cubicBezTo>
                    <a:cubicBezTo>
                      <a:pt x="174" y="51"/>
                      <a:pt x="174" y="51"/>
                      <a:pt x="174" y="51"/>
                    </a:cubicBezTo>
                    <a:cubicBezTo>
                      <a:pt x="172" y="51"/>
                      <a:pt x="172" y="51"/>
                      <a:pt x="172" y="51"/>
                    </a:cubicBezTo>
                    <a:cubicBezTo>
                      <a:pt x="172" y="52"/>
                      <a:pt x="172" y="52"/>
                      <a:pt x="172" y="52"/>
                    </a:cubicBezTo>
                    <a:cubicBezTo>
                      <a:pt x="171" y="54"/>
                      <a:pt x="171" y="54"/>
                      <a:pt x="171" y="54"/>
                    </a:cubicBezTo>
                    <a:cubicBezTo>
                      <a:pt x="171" y="52"/>
                      <a:pt x="171" y="52"/>
                      <a:pt x="171" y="52"/>
                    </a:cubicBezTo>
                    <a:cubicBezTo>
                      <a:pt x="167" y="50"/>
                      <a:pt x="167" y="50"/>
                      <a:pt x="167" y="50"/>
                    </a:cubicBezTo>
                    <a:cubicBezTo>
                      <a:pt x="164" y="50"/>
                      <a:pt x="164" y="50"/>
                      <a:pt x="164" y="50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4" y="52"/>
                      <a:pt x="164" y="52"/>
                      <a:pt x="164" y="52"/>
                    </a:cubicBezTo>
                    <a:cubicBezTo>
                      <a:pt x="163" y="51"/>
                      <a:pt x="163" y="51"/>
                      <a:pt x="163" y="51"/>
                    </a:cubicBezTo>
                    <a:cubicBezTo>
                      <a:pt x="162" y="51"/>
                      <a:pt x="162" y="51"/>
                      <a:pt x="162" y="51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2" y="54"/>
                      <a:pt x="162" y="54"/>
                      <a:pt x="162" y="54"/>
                    </a:cubicBezTo>
                    <a:cubicBezTo>
                      <a:pt x="162" y="56"/>
                      <a:pt x="162" y="56"/>
                      <a:pt x="162" y="56"/>
                    </a:cubicBezTo>
                    <a:cubicBezTo>
                      <a:pt x="162" y="55"/>
                      <a:pt x="162" y="55"/>
                      <a:pt x="162" y="55"/>
                    </a:cubicBezTo>
                    <a:cubicBezTo>
                      <a:pt x="161" y="55"/>
                      <a:pt x="161" y="55"/>
                      <a:pt x="161" y="55"/>
                    </a:cubicBezTo>
                    <a:cubicBezTo>
                      <a:pt x="161" y="56"/>
                      <a:pt x="161" y="56"/>
                      <a:pt x="161" y="56"/>
                    </a:cubicBezTo>
                    <a:cubicBezTo>
                      <a:pt x="159" y="57"/>
                      <a:pt x="159" y="57"/>
                      <a:pt x="159" y="57"/>
                    </a:cubicBezTo>
                    <a:cubicBezTo>
                      <a:pt x="156" y="58"/>
                      <a:pt x="156" y="58"/>
                      <a:pt x="156" y="58"/>
                    </a:cubicBezTo>
                    <a:cubicBezTo>
                      <a:pt x="158" y="57"/>
                      <a:pt x="158" y="57"/>
                      <a:pt x="158" y="57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0" y="48"/>
                      <a:pt x="160" y="48"/>
                      <a:pt x="160" y="48"/>
                    </a:cubicBezTo>
                    <a:cubicBezTo>
                      <a:pt x="159" y="48"/>
                      <a:pt x="159" y="48"/>
                      <a:pt x="159" y="48"/>
                    </a:cubicBezTo>
                    <a:cubicBezTo>
                      <a:pt x="156" y="43"/>
                      <a:pt x="156" y="43"/>
                      <a:pt x="156" y="43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52" y="40"/>
                      <a:pt x="152" y="40"/>
                      <a:pt x="152" y="40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49" y="39"/>
                      <a:pt x="149" y="39"/>
                      <a:pt x="149" y="39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47" y="43"/>
                      <a:pt x="147" y="43"/>
                      <a:pt x="147" y="43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6" y="42"/>
                      <a:pt x="146" y="42"/>
                      <a:pt x="146" y="42"/>
                    </a:cubicBezTo>
                    <a:cubicBezTo>
                      <a:pt x="145" y="42"/>
                      <a:pt x="145" y="42"/>
                      <a:pt x="145" y="42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3" y="40"/>
                      <a:pt x="143" y="40"/>
                      <a:pt x="143" y="40"/>
                    </a:cubicBezTo>
                    <a:cubicBezTo>
                      <a:pt x="142" y="40"/>
                      <a:pt x="142" y="40"/>
                      <a:pt x="142" y="40"/>
                    </a:cubicBezTo>
                    <a:cubicBezTo>
                      <a:pt x="141" y="42"/>
                      <a:pt x="141" y="42"/>
                      <a:pt x="141" y="42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41" y="44"/>
                      <a:pt x="141" y="44"/>
                      <a:pt x="141" y="44"/>
                    </a:cubicBezTo>
                    <a:cubicBezTo>
                      <a:pt x="140" y="46"/>
                      <a:pt x="140" y="46"/>
                      <a:pt x="140" y="46"/>
                    </a:cubicBezTo>
                    <a:cubicBezTo>
                      <a:pt x="141" y="47"/>
                      <a:pt x="141" y="47"/>
                      <a:pt x="141" y="47"/>
                    </a:cubicBezTo>
                    <a:cubicBezTo>
                      <a:pt x="139" y="48"/>
                      <a:pt x="139" y="48"/>
                      <a:pt x="139" y="48"/>
                    </a:cubicBezTo>
                    <a:cubicBezTo>
                      <a:pt x="138" y="47"/>
                      <a:pt x="138" y="47"/>
                      <a:pt x="138" y="47"/>
                    </a:cubicBezTo>
                    <a:cubicBezTo>
                      <a:pt x="137" y="47"/>
                      <a:pt x="137" y="47"/>
                      <a:pt x="137" y="47"/>
                    </a:cubicBezTo>
                    <a:cubicBezTo>
                      <a:pt x="137" y="46"/>
                      <a:pt x="137" y="46"/>
                      <a:pt x="137" y="46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37" y="44"/>
                      <a:pt x="137" y="44"/>
                      <a:pt x="137" y="44"/>
                    </a:cubicBezTo>
                    <a:cubicBezTo>
                      <a:pt x="136" y="46"/>
                      <a:pt x="136" y="46"/>
                      <a:pt x="136" y="46"/>
                    </a:cubicBezTo>
                    <a:cubicBezTo>
                      <a:pt x="134" y="47"/>
                      <a:pt x="134" y="47"/>
                      <a:pt x="134" y="47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3" y="50"/>
                      <a:pt x="133" y="50"/>
                      <a:pt x="133" y="50"/>
                    </a:cubicBezTo>
                    <a:cubicBezTo>
                      <a:pt x="136" y="51"/>
                      <a:pt x="136" y="51"/>
                      <a:pt x="136" y="51"/>
                    </a:cubicBezTo>
                    <a:cubicBezTo>
                      <a:pt x="133" y="53"/>
                      <a:pt x="133" y="53"/>
                      <a:pt x="133" y="53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29" y="54"/>
                      <a:pt x="129" y="54"/>
                      <a:pt x="129" y="54"/>
                    </a:cubicBezTo>
                    <a:cubicBezTo>
                      <a:pt x="129" y="55"/>
                      <a:pt x="129" y="55"/>
                      <a:pt x="129" y="55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0" y="57"/>
                      <a:pt x="130" y="57"/>
                      <a:pt x="130" y="57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6" y="57"/>
                      <a:pt x="126" y="57"/>
                      <a:pt x="126" y="57"/>
                    </a:cubicBezTo>
                    <a:cubicBezTo>
                      <a:pt x="124" y="57"/>
                      <a:pt x="124" y="57"/>
                      <a:pt x="124" y="57"/>
                    </a:cubicBezTo>
                    <a:cubicBezTo>
                      <a:pt x="125" y="59"/>
                      <a:pt x="125" y="59"/>
                      <a:pt x="125" y="59"/>
                    </a:cubicBezTo>
                    <a:cubicBezTo>
                      <a:pt x="125" y="60"/>
                      <a:pt x="125" y="60"/>
                      <a:pt x="125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6" y="61"/>
                      <a:pt x="126" y="61"/>
                      <a:pt x="126" y="61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6" y="64"/>
                      <a:pt x="126" y="64"/>
                      <a:pt x="126" y="64"/>
                    </a:cubicBezTo>
                    <a:cubicBezTo>
                      <a:pt x="124" y="65"/>
                      <a:pt x="124" y="65"/>
                      <a:pt x="124" y="65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4" y="69"/>
                      <a:pt x="124" y="69"/>
                      <a:pt x="124" y="69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21" y="67"/>
                      <a:pt x="121" y="67"/>
                      <a:pt x="121" y="67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8" y="66"/>
                      <a:pt x="118" y="66"/>
                      <a:pt x="118" y="66"/>
                    </a:cubicBezTo>
                    <a:cubicBezTo>
                      <a:pt x="116" y="65"/>
                      <a:pt x="116" y="65"/>
                      <a:pt x="116" y="65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7" y="68"/>
                      <a:pt x="117" y="68"/>
                      <a:pt x="117" y="68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5" y="70"/>
                      <a:pt x="115" y="70"/>
                      <a:pt x="115" y="70"/>
                    </a:cubicBezTo>
                    <a:cubicBezTo>
                      <a:pt x="117" y="72"/>
                      <a:pt x="117" y="72"/>
                      <a:pt x="117" y="72"/>
                    </a:cubicBezTo>
                    <a:cubicBezTo>
                      <a:pt x="119" y="72"/>
                      <a:pt x="119" y="72"/>
                      <a:pt x="119" y="72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5"/>
                      <a:pt x="118" y="75"/>
                      <a:pt x="118" y="75"/>
                    </a:cubicBezTo>
                    <a:cubicBezTo>
                      <a:pt x="117" y="75"/>
                      <a:pt x="117" y="75"/>
                      <a:pt x="117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6" y="79"/>
                      <a:pt x="116" y="79"/>
                      <a:pt x="116" y="79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2" y="75"/>
                      <a:pt x="112" y="75"/>
                      <a:pt x="112" y="75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5" y="73"/>
                      <a:pt x="105" y="73"/>
                      <a:pt x="105" y="73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102" y="75"/>
                      <a:pt x="102" y="75"/>
                      <a:pt x="102" y="75"/>
                    </a:cubicBezTo>
                    <a:cubicBezTo>
                      <a:pt x="100" y="76"/>
                      <a:pt x="100" y="76"/>
                      <a:pt x="100" y="76"/>
                    </a:cubicBezTo>
                    <a:cubicBezTo>
                      <a:pt x="100" y="79"/>
                      <a:pt x="100" y="79"/>
                      <a:pt x="100" y="79"/>
                    </a:cubicBezTo>
                    <a:cubicBezTo>
                      <a:pt x="100" y="84"/>
                      <a:pt x="100" y="84"/>
                      <a:pt x="100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1" y="86"/>
                      <a:pt x="101" y="86"/>
                      <a:pt x="101" y="86"/>
                    </a:cubicBezTo>
                    <a:cubicBezTo>
                      <a:pt x="100" y="87"/>
                      <a:pt x="100" y="87"/>
                      <a:pt x="100" y="87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6" y="90"/>
                      <a:pt x="96" y="90"/>
                      <a:pt x="96" y="90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4" y="95"/>
                      <a:pt x="94" y="95"/>
                      <a:pt x="94" y="95"/>
                    </a:cubicBezTo>
                    <a:cubicBezTo>
                      <a:pt x="93" y="96"/>
                      <a:pt x="93" y="96"/>
                      <a:pt x="93" y="96"/>
                    </a:cubicBezTo>
                    <a:cubicBezTo>
                      <a:pt x="90" y="100"/>
                      <a:pt x="90" y="100"/>
                      <a:pt x="90" y="100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79" y="104"/>
                      <a:pt x="79" y="104"/>
                      <a:pt x="79" y="104"/>
                    </a:cubicBezTo>
                    <a:cubicBezTo>
                      <a:pt x="77" y="105"/>
                      <a:pt x="77" y="105"/>
                      <a:pt x="77" y="105"/>
                    </a:cubicBezTo>
                    <a:cubicBezTo>
                      <a:pt x="74" y="105"/>
                      <a:pt x="74" y="105"/>
                      <a:pt x="74" y="105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69" y="105"/>
                      <a:pt x="69" y="105"/>
                      <a:pt x="69" y="105"/>
                    </a:cubicBezTo>
                    <a:cubicBezTo>
                      <a:pt x="66" y="107"/>
                      <a:pt x="66" y="107"/>
                      <a:pt x="66" y="107"/>
                    </a:cubicBezTo>
                    <a:cubicBezTo>
                      <a:pt x="66" y="108"/>
                      <a:pt x="66" y="108"/>
                      <a:pt x="66" y="108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58" y="109"/>
                      <a:pt x="58" y="109"/>
                      <a:pt x="58" y="109"/>
                    </a:cubicBezTo>
                    <a:cubicBezTo>
                      <a:pt x="56" y="110"/>
                      <a:pt x="56" y="110"/>
                      <a:pt x="56" y="110"/>
                    </a:cubicBezTo>
                    <a:cubicBezTo>
                      <a:pt x="55" y="112"/>
                      <a:pt x="55" y="112"/>
                      <a:pt x="55" y="112"/>
                    </a:cubicBezTo>
                    <a:cubicBezTo>
                      <a:pt x="52" y="113"/>
                      <a:pt x="52" y="113"/>
                      <a:pt x="52" y="113"/>
                    </a:cubicBezTo>
                    <a:cubicBezTo>
                      <a:pt x="49" y="113"/>
                      <a:pt x="49" y="113"/>
                      <a:pt x="49" y="113"/>
                    </a:cubicBezTo>
                    <a:cubicBezTo>
                      <a:pt x="47" y="113"/>
                      <a:pt x="47" y="113"/>
                      <a:pt x="47" y="113"/>
                    </a:cubicBezTo>
                    <a:cubicBezTo>
                      <a:pt x="45" y="113"/>
                      <a:pt x="45" y="113"/>
                      <a:pt x="45" y="113"/>
                    </a:cubicBezTo>
                    <a:cubicBezTo>
                      <a:pt x="45" y="112"/>
                      <a:pt x="45" y="112"/>
                      <a:pt x="45" y="112"/>
                    </a:cubicBezTo>
                    <a:cubicBezTo>
                      <a:pt x="43" y="113"/>
                      <a:pt x="43" y="113"/>
                      <a:pt x="43" y="113"/>
                    </a:cubicBezTo>
                    <a:cubicBezTo>
                      <a:pt x="42" y="115"/>
                      <a:pt x="42" y="115"/>
                      <a:pt x="42" y="115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1" y="127"/>
                      <a:pt x="21" y="127"/>
                      <a:pt x="21" y="127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18" y="132"/>
                      <a:pt x="18" y="132"/>
                      <a:pt x="18" y="132"/>
                    </a:cubicBezTo>
                    <a:cubicBezTo>
                      <a:pt x="17" y="131"/>
                      <a:pt x="17" y="131"/>
                      <a:pt x="17" y="131"/>
                    </a:cubicBezTo>
                    <a:cubicBezTo>
                      <a:pt x="18" y="130"/>
                      <a:pt x="18" y="130"/>
                      <a:pt x="18" y="130"/>
                    </a:cubicBezTo>
                    <a:cubicBezTo>
                      <a:pt x="17" y="128"/>
                      <a:pt x="17" y="128"/>
                      <a:pt x="17" y="128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8" y="124"/>
                      <a:pt x="18" y="124"/>
                      <a:pt x="18" y="124"/>
                    </a:cubicBezTo>
                    <a:cubicBezTo>
                      <a:pt x="15" y="126"/>
                      <a:pt x="15" y="126"/>
                      <a:pt x="15" y="126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12" y="133"/>
                      <a:pt x="12" y="133"/>
                      <a:pt x="12" y="133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3" y="139"/>
                      <a:pt x="13" y="139"/>
                      <a:pt x="13" y="139"/>
                    </a:cubicBezTo>
                    <a:cubicBezTo>
                      <a:pt x="13" y="144"/>
                      <a:pt x="13" y="144"/>
                      <a:pt x="13" y="144"/>
                    </a:cubicBezTo>
                    <a:cubicBezTo>
                      <a:pt x="9" y="148"/>
                      <a:pt x="9" y="148"/>
                      <a:pt x="9" y="148"/>
                    </a:cubicBezTo>
                    <a:cubicBezTo>
                      <a:pt x="8" y="155"/>
                      <a:pt x="8" y="155"/>
                      <a:pt x="8" y="155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8" y="163"/>
                      <a:pt x="8" y="163"/>
                      <a:pt x="8" y="163"/>
                    </a:cubicBezTo>
                    <a:cubicBezTo>
                      <a:pt x="12" y="169"/>
                      <a:pt x="12" y="169"/>
                      <a:pt x="12" y="169"/>
                    </a:cubicBezTo>
                    <a:cubicBezTo>
                      <a:pt x="12" y="171"/>
                      <a:pt x="12" y="171"/>
                      <a:pt x="12" y="171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13" y="178"/>
                      <a:pt x="13" y="178"/>
                      <a:pt x="13" y="178"/>
                    </a:cubicBezTo>
                    <a:cubicBezTo>
                      <a:pt x="11" y="179"/>
                      <a:pt x="11" y="179"/>
                      <a:pt x="11" y="179"/>
                    </a:cubicBezTo>
                    <a:cubicBezTo>
                      <a:pt x="10" y="177"/>
                      <a:pt x="10" y="177"/>
                      <a:pt x="10" y="177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8" y="176"/>
                      <a:pt x="8" y="176"/>
                      <a:pt x="8" y="176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" y="172"/>
                      <a:pt x="8" y="172"/>
                      <a:pt x="8" y="172"/>
                    </a:cubicBezTo>
                    <a:cubicBezTo>
                      <a:pt x="6" y="168"/>
                      <a:pt x="6" y="168"/>
                      <a:pt x="6" y="168"/>
                    </a:cubicBezTo>
                    <a:cubicBezTo>
                      <a:pt x="5" y="170"/>
                      <a:pt x="5" y="170"/>
                      <a:pt x="5" y="170"/>
                    </a:cubicBezTo>
                    <a:cubicBezTo>
                      <a:pt x="5" y="174"/>
                      <a:pt x="5" y="174"/>
                      <a:pt x="5" y="174"/>
                    </a:cubicBezTo>
                    <a:cubicBezTo>
                      <a:pt x="8" y="177"/>
                      <a:pt x="8" y="177"/>
                      <a:pt x="8" y="177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7" y="181"/>
                      <a:pt x="7" y="181"/>
                      <a:pt x="7" y="181"/>
                    </a:cubicBezTo>
                    <a:cubicBezTo>
                      <a:pt x="5" y="178"/>
                      <a:pt x="5" y="178"/>
                      <a:pt x="5" y="178"/>
                    </a:cubicBezTo>
                    <a:cubicBezTo>
                      <a:pt x="4" y="175"/>
                      <a:pt x="4" y="175"/>
                      <a:pt x="4" y="175"/>
                    </a:cubicBezTo>
                    <a:cubicBezTo>
                      <a:pt x="3" y="176"/>
                      <a:pt x="3" y="176"/>
                      <a:pt x="3" y="176"/>
                    </a:cubicBezTo>
                    <a:cubicBezTo>
                      <a:pt x="2" y="177"/>
                      <a:pt x="2" y="177"/>
                      <a:pt x="2" y="177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7" y="184"/>
                      <a:pt x="7" y="184"/>
                      <a:pt x="7" y="184"/>
                    </a:cubicBezTo>
                    <a:cubicBezTo>
                      <a:pt x="9" y="190"/>
                      <a:pt x="9" y="190"/>
                      <a:pt x="9" y="190"/>
                    </a:cubicBezTo>
                    <a:cubicBezTo>
                      <a:pt x="9" y="200"/>
                      <a:pt x="9" y="200"/>
                      <a:pt x="9" y="200"/>
                    </a:cubicBezTo>
                    <a:cubicBezTo>
                      <a:pt x="10" y="202"/>
                      <a:pt x="10" y="202"/>
                      <a:pt x="10" y="202"/>
                    </a:cubicBezTo>
                    <a:cubicBezTo>
                      <a:pt x="11" y="207"/>
                      <a:pt x="11" y="207"/>
                      <a:pt x="11" y="207"/>
                    </a:cubicBezTo>
                    <a:cubicBezTo>
                      <a:pt x="14" y="215"/>
                      <a:pt x="14" y="215"/>
                      <a:pt x="14" y="215"/>
                    </a:cubicBezTo>
                    <a:cubicBezTo>
                      <a:pt x="13" y="217"/>
                      <a:pt x="13" y="217"/>
                      <a:pt x="13" y="217"/>
                    </a:cubicBezTo>
                    <a:cubicBezTo>
                      <a:pt x="13" y="229"/>
                      <a:pt x="13" y="229"/>
                      <a:pt x="13" y="229"/>
                    </a:cubicBezTo>
                    <a:cubicBezTo>
                      <a:pt x="13" y="230"/>
                      <a:pt x="13" y="230"/>
                      <a:pt x="13" y="230"/>
                    </a:cubicBezTo>
                    <a:cubicBezTo>
                      <a:pt x="14" y="233"/>
                      <a:pt x="14" y="233"/>
                      <a:pt x="14" y="233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16" y="244"/>
                      <a:pt x="16" y="244"/>
                      <a:pt x="16" y="244"/>
                    </a:cubicBezTo>
                    <a:cubicBezTo>
                      <a:pt x="14" y="245"/>
                      <a:pt x="14" y="245"/>
                      <a:pt x="14" y="245"/>
                    </a:cubicBezTo>
                    <a:cubicBezTo>
                      <a:pt x="15" y="246"/>
                      <a:pt x="15" y="246"/>
                      <a:pt x="15" y="246"/>
                    </a:cubicBezTo>
                    <a:cubicBezTo>
                      <a:pt x="15" y="249"/>
                      <a:pt x="15" y="249"/>
                      <a:pt x="15" y="249"/>
                    </a:cubicBezTo>
                    <a:cubicBezTo>
                      <a:pt x="14" y="253"/>
                      <a:pt x="14" y="253"/>
                      <a:pt x="14" y="253"/>
                    </a:cubicBezTo>
                    <a:cubicBezTo>
                      <a:pt x="12" y="255"/>
                      <a:pt x="12" y="255"/>
                      <a:pt x="12" y="255"/>
                    </a:cubicBezTo>
                    <a:cubicBezTo>
                      <a:pt x="13" y="256"/>
                      <a:pt x="13" y="256"/>
                      <a:pt x="13" y="256"/>
                    </a:cubicBezTo>
                    <a:cubicBezTo>
                      <a:pt x="12" y="259"/>
                      <a:pt x="12" y="259"/>
                      <a:pt x="12" y="259"/>
                    </a:cubicBezTo>
                    <a:cubicBezTo>
                      <a:pt x="11" y="260"/>
                      <a:pt x="11" y="260"/>
                      <a:pt x="11" y="260"/>
                    </a:cubicBezTo>
                    <a:cubicBezTo>
                      <a:pt x="11" y="262"/>
                      <a:pt x="11" y="262"/>
                      <a:pt x="11" y="262"/>
                    </a:cubicBezTo>
                    <a:cubicBezTo>
                      <a:pt x="8" y="265"/>
                      <a:pt x="8" y="265"/>
                      <a:pt x="8" y="265"/>
                    </a:cubicBezTo>
                    <a:cubicBezTo>
                      <a:pt x="7" y="264"/>
                      <a:pt x="7" y="264"/>
                      <a:pt x="7" y="264"/>
                    </a:cubicBezTo>
                    <a:cubicBezTo>
                      <a:pt x="4" y="267"/>
                      <a:pt x="4" y="267"/>
                      <a:pt x="4" y="267"/>
                    </a:cubicBezTo>
                    <a:lnTo>
                      <a:pt x="4" y="27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4" name="Freeform 307">
                <a:extLst>
                  <a:ext uri="{FF2B5EF4-FFF2-40B4-BE49-F238E27FC236}">
                    <a16:creationId xmlns:a16="http://schemas.microsoft.com/office/drawing/2014/main" xmlns="" id="{FDB7538D-5A68-44A1-B433-39F469F8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8" y="2740"/>
                <a:ext cx="320" cy="500"/>
              </a:xfrm>
              <a:custGeom>
                <a:avLst/>
                <a:gdLst>
                  <a:gd name="T0" fmla="*/ 21 w 320"/>
                  <a:gd name="T1" fmla="*/ 497 h 500"/>
                  <a:gd name="T2" fmla="*/ 0 w 320"/>
                  <a:gd name="T3" fmla="*/ 435 h 500"/>
                  <a:gd name="T4" fmla="*/ 0 w 320"/>
                  <a:gd name="T5" fmla="*/ 435 h 500"/>
                  <a:gd name="T6" fmla="*/ 274 w 320"/>
                  <a:gd name="T7" fmla="*/ 56 h 500"/>
                  <a:gd name="T8" fmla="*/ 281 w 320"/>
                  <a:gd name="T9" fmla="*/ 56 h 500"/>
                  <a:gd name="T10" fmla="*/ 233 w 320"/>
                  <a:gd name="T11" fmla="*/ 188 h 500"/>
                  <a:gd name="T12" fmla="*/ 256 w 320"/>
                  <a:gd name="T13" fmla="*/ 178 h 500"/>
                  <a:gd name="T14" fmla="*/ 278 w 320"/>
                  <a:gd name="T15" fmla="*/ 152 h 500"/>
                  <a:gd name="T16" fmla="*/ 287 w 320"/>
                  <a:gd name="T17" fmla="*/ 131 h 500"/>
                  <a:gd name="T18" fmla="*/ 299 w 320"/>
                  <a:gd name="T19" fmla="*/ 128 h 500"/>
                  <a:gd name="T20" fmla="*/ 313 w 320"/>
                  <a:gd name="T21" fmla="*/ 106 h 500"/>
                  <a:gd name="T22" fmla="*/ 312 w 320"/>
                  <a:gd name="T23" fmla="*/ 92 h 500"/>
                  <a:gd name="T24" fmla="*/ 282 w 320"/>
                  <a:gd name="T25" fmla="*/ 88 h 500"/>
                  <a:gd name="T26" fmla="*/ 281 w 320"/>
                  <a:gd name="T27" fmla="*/ 64 h 500"/>
                  <a:gd name="T28" fmla="*/ 276 w 320"/>
                  <a:gd name="T29" fmla="*/ 74 h 500"/>
                  <a:gd name="T30" fmla="*/ 264 w 320"/>
                  <a:gd name="T31" fmla="*/ 72 h 500"/>
                  <a:gd name="T32" fmla="*/ 269 w 320"/>
                  <a:gd name="T33" fmla="*/ 52 h 500"/>
                  <a:gd name="T34" fmla="*/ 273 w 320"/>
                  <a:gd name="T35" fmla="*/ 33 h 500"/>
                  <a:gd name="T36" fmla="*/ 264 w 320"/>
                  <a:gd name="T37" fmla="*/ 20 h 500"/>
                  <a:gd name="T38" fmla="*/ 260 w 320"/>
                  <a:gd name="T39" fmla="*/ 12 h 500"/>
                  <a:gd name="T40" fmla="*/ 253 w 320"/>
                  <a:gd name="T41" fmla="*/ 2 h 500"/>
                  <a:gd name="T42" fmla="*/ 251 w 320"/>
                  <a:gd name="T43" fmla="*/ 21 h 500"/>
                  <a:gd name="T44" fmla="*/ 253 w 320"/>
                  <a:gd name="T45" fmla="*/ 33 h 500"/>
                  <a:gd name="T46" fmla="*/ 260 w 320"/>
                  <a:gd name="T47" fmla="*/ 51 h 500"/>
                  <a:gd name="T48" fmla="*/ 261 w 320"/>
                  <a:gd name="T49" fmla="*/ 61 h 500"/>
                  <a:gd name="T50" fmla="*/ 263 w 320"/>
                  <a:gd name="T51" fmla="*/ 74 h 500"/>
                  <a:gd name="T52" fmla="*/ 260 w 320"/>
                  <a:gd name="T53" fmla="*/ 93 h 500"/>
                  <a:gd name="T54" fmla="*/ 253 w 320"/>
                  <a:gd name="T55" fmla="*/ 106 h 500"/>
                  <a:gd name="T56" fmla="*/ 230 w 320"/>
                  <a:gd name="T57" fmla="*/ 131 h 500"/>
                  <a:gd name="T58" fmla="*/ 246 w 320"/>
                  <a:gd name="T59" fmla="*/ 157 h 500"/>
                  <a:gd name="T60" fmla="*/ 219 w 320"/>
                  <a:gd name="T61" fmla="*/ 173 h 500"/>
                  <a:gd name="T62" fmla="*/ 219 w 320"/>
                  <a:gd name="T63" fmla="*/ 173 h 500"/>
                  <a:gd name="T64" fmla="*/ 219 w 320"/>
                  <a:gd name="T65" fmla="*/ 175 h 500"/>
                  <a:gd name="T66" fmla="*/ 70 w 320"/>
                  <a:gd name="T67" fmla="*/ 333 h 500"/>
                  <a:gd name="T68" fmla="*/ 73 w 320"/>
                  <a:gd name="T69" fmla="*/ 322 h 500"/>
                  <a:gd name="T70" fmla="*/ 77 w 320"/>
                  <a:gd name="T71" fmla="*/ 327 h 500"/>
                  <a:gd name="T72" fmla="*/ 73 w 320"/>
                  <a:gd name="T73" fmla="*/ 333 h 500"/>
                  <a:gd name="T74" fmla="*/ 65 w 320"/>
                  <a:gd name="T75" fmla="*/ 297 h 500"/>
                  <a:gd name="T76" fmla="*/ 75 w 320"/>
                  <a:gd name="T77" fmla="*/ 281 h 500"/>
                  <a:gd name="T78" fmla="*/ 90 w 320"/>
                  <a:gd name="T79" fmla="*/ 270 h 500"/>
                  <a:gd name="T80" fmla="*/ 103 w 320"/>
                  <a:gd name="T81" fmla="*/ 257 h 500"/>
                  <a:gd name="T82" fmla="*/ 126 w 320"/>
                  <a:gd name="T83" fmla="*/ 248 h 500"/>
                  <a:gd name="T84" fmla="*/ 148 w 320"/>
                  <a:gd name="T85" fmla="*/ 227 h 500"/>
                  <a:gd name="T86" fmla="*/ 173 w 320"/>
                  <a:gd name="T87" fmla="*/ 201 h 500"/>
                  <a:gd name="T88" fmla="*/ 191 w 320"/>
                  <a:gd name="T89" fmla="*/ 180 h 500"/>
                  <a:gd name="T90" fmla="*/ 206 w 320"/>
                  <a:gd name="T91" fmla="*/ 170 h 500"/>
                  <a:gd name="T92" fmla="*/ 209 w 320"/>
                  <a:gd name="T93" fmla="*/ 181 h 500"/>
                  <a:gd name="T94" fmla="*/ 220 w 320"/>
                  <a:gd name="T95" fmla="*/ 180 h 500"/>
                  <a:gd name="T96" fmla="*/ 225 w 320"/>
                  <a:gd name="T97" fmla="*/ 181 h 500"/>
                  <a:gd name="T98" fmla="*/ 212 w 320"/>
                  <a:gd name="T99" fmla="*/ 206 h 500"/>
                  <a:gd name="T100" fmla="*/ 191 w 320"/>
                  <a:gd name="T101" fmla="*/ 230 h 500"/>
                  <a:gd name="T102" fmla="*/ 184 w 320"/>
                  <a:gd name="T103" fmla="*/ 252 h 500"/>
                  <a:gd name="T104" fmla="*/ 178 w 320"/>
                  <a:gd name="T105" fmla="*/ 250 h 500"/>
                  <a:gd name="T106" fmla="*/ 170 w 320"/>
                  <a:gd name="T107" fmla="*/ 248 h 500"/>
                  <a:gd name="T108" fmla="*/ 155 w 320"/>
                  <a:gd name="T109" fmla="*/ 258 h 500"/>
                  <a:gd name="T110" fmla="*/ 135 w 320"/>
                  <a:gd name="T111" fmla="*/ 291 h 500"/>
                  <a:gd name="T112" fmla="*/ 126 w 320"/>
                  <a:gd name="T113" fmla="*/ 304 h 500"/>
                  <a:gd name="T114" fmla="*/ 109 w 320"/>
                  <a:gd name="T115" fmla="*/ 315 h 500"/>
                  <a:gd name="T116" fmla="*/ 88 w 320"/>
                  <a:gd name="T117" fmla="*/ 319 h 500"/>
                  <a:gd name="T118" fmla="*/ 75 w 320"/>
                  <a:gd name="T119" fmla="*/ 306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0" h="500">
                    <a:moveTo>
                      <a:pt x="67" y="289"/>
                    </a:moveTo>
                    <a:lnTo>
                      <a:pt x="68" y="291"/>
                    </a:lnTo>
                    <a:lnTo>
                      <a:pt x="70" y="291"/>
                    </a:lnTo>
                    <a:lnTo>
                      <a:pt x="70" y="289"/>
                    </a:lnTo>
                    <a:lnTo>
                      <a:pt x="67" y="289"/>
                    </a:lnTo>
                    <a:lnTo>
                      <a:pt x="67" y="289"/>
                    </a:lnTo>
                    <a:lnTo>
                      <a:pt x="67" y="289"/>
                    </a:lnTo>
                    <a:lnTo>
                      <a:pt x="67" y="289"/>
                    </a:lnTo>
                    <a:close/>
                    <a:moveTo>
                      <a:pt x="21" y="497"/>
                    </a:moveTo>
                    <a:lnTo>
                      <a:pt x="23" y="500"/>
                    </a:lnTo>
                    <a:lnTo>
                      <a:pt x="26" y="500"/>
                    </a:lnTo>
                    <a:lnTo>
                      <a:pt x="29" y="495"/>
                    </a:lnTo>
                    <a:lnTo>
                      <a:pt x="28" y="494"/>
                    </a:lnTo>
                    <a:lnTo>
                      <a:pt x="24" y="497"/>
                    </a:lnTo>
                    <a:lnTo>
                      <a:pt x="23" y="497"/>
                    </a:lnTo>
                    <a:lnTo>
                      <a:pt x="21" y="497"/>
                    </a:lnTo>
                    <a:lnTo>
                      <a:pt x="21" y="497"/>
                    </a:lnTo>
                    <a:close/>
                    <a:moveTo>
                      <a:pt x="0" y="435"/>
                    </a:moveTo>
                    <a:lnTo>
                      <a:pt x="6" y="428"/>
                    </a:lnTo>
                    <a:lnTo>
                      <a:pt x="8" y="428"/>
                    </a:lnTo>
                    <a:lnTo>
                      <a:pt x="8" y="430"/>
                    </a:lnTo>
                    <a:lnTo>
                      <a:pt x="6" y="433"/>
                    </a:lnTo>
                    <a:lnTo>
                      <a:pt x="8" y="436"/>
                    </a:lnTo>
                    <a:lnTo>
                      <a:pt x="6" y="438"/>
                    </a:lnTo>
                    <a:lnTo>
                      <a:pt x="3" y="436"/>
                    </a:lnTo>
                    <a:lnTo>
                      <a:pt x="2" y="438"/>
                    </a:lnTo>
                    <a:lnTo>
                      <a:pt x="0" y="435"/>
                    </a:lnTo>
                    <a:lnTo>
                      <a:pt x="0" y="435"/>
                    </a:lnTo>
                    <a:close/>
                    <a:moveTo>
                      <a:pt x="271" y="70"/>
                    </a:moveTo>
                    <a:lnTo>
                      <a:pt x="273" y="70"/>
                    </a:lnTo>
                    <a:lnTo>
                      <a:pt x="273" y="72"/>
                    </a:lnTo>
                    <a:lnTo>
                      <a:pt x="271" y="72"/>
                    </a:lnTo>
                    <a:lnTo>
                      <a:pt x="271" y="70"/>
                    </a:lnTo>
                    <a:lnTo>
                      <a:pt x="271" y="70"/>
                    </a:lnTo>
                    <a:close/>
                    <a:moveTo>
                      <a:pt x="276" y="57"/>
                    </a:moveTo>
                    <a:lnTo>
                      <a:pt x="274" y="56"/>
                    </a:lnTo>
                    <a:lnTo>
                      <a:pt x="276" y="56"/>
                    </a:lnTo>
                    <a:lnTo>
                      <a:pt x="276" y="57"/>
                    </a:lnTo>
                    <a:lnTo>
                      <a:pt x="276" y="57"/>
                    </a:lnTo>
                    <a:close/>
                    <a:moveTo>
                      <a:pt x="281" y="59"/>
                    </a:moveTo>
                    <a:lnTo>
                      <a:pt x="279" y="56"/>
                    </a:lnTo>
                    <a:lnTo>
                      <a:pt x="281" y="52"/>
                    </a:lnTo>
                    <a:lnTo>
                      <a:pt x="281" y="54"/>
                    </a:lnTo>
                    <a:lnTo>
                      <a:pt x="281" y="56"/>
                    </a:lnTo>
                    <a:lnTo>
                      <a:pt x="281" y="56"/>
                    </a:lnTo>
                    <a:lnTo>
                      <a:pt x="281" y="57"/>
                    </a:lnTo>
                    <a:lnTo>
                      <a:pt x="281" y="59"/>
                    </a:lnTo>
                    <a:lnTo>
                      <a:pt x="281" y="59"/>
                    </a:lnTo>
                    <a:close/>
                    <a:moveTo>
                      <a:pt x="229" y="185"/>
                    </a:moveTo>
                    <a:lnTo>
                      <a:pt x="232" y="186"/>
                    </a:lnTo>
                    <a:lnTo>
                      <a:pt x="233" y="185"/>
                    </a:lnTo>
                    <a:lnTo>
                      <a:pt x="235" y="185"/>
                    </a:lnTo>
                    <a:lnTo>
                      <a:pt x="235" y="186"/>
                    </a:lnTo>
                    <a:lnTo>
                      <a:pt x="233" y="188"/>
                    </a:lnTo>
                    <a:lnTo>
                      <a:pt x="235" y="188"/>
                    </a:lnTo>
                    <a:lnTo>
                      <a:pt x="237" y="188"/>
                    </a:lnTo>
                    <a:lnTo>
                      <a:pt x="237" y="190"/>
                    </a:lnTo>
                    <a:lnTo>
                      <a:pt x="237" y="191"/>
                    </a:lnTo>
                    <a:lnTo>
                      <a:pt x="238" y="193"/>
                    </a:lnTo>
                    <a:lnTo>
                      <a:pt x="240" y="193"/>
                    </a:lnTo>
                    <a:lnTo>
                      <a:pt x="246" y="188"/>
                    </a:lnTo>
                    <a:lnTo>
                      <a:pt x="251" y="185"/>
                    </a:lnTo>
                    <a:lnTo>
                      <a:pt x="256" y="178"/>
                    </a:lnTo>
                    <a:lnTo>
                      <a:pt x="260" y="173"/>
                    </a:lnTo>
                    <a:lnTo>
                      <a:pt x="266" y="167"/>
                    </a:lnTo>
                    <a:lnTo>
                      <a:pt x="268" y="165"/>
                    </a:lnTo>
                    <a:lnTo>
                      <a:pt x="271" y="165"/>
                    </a:lnTo>
                    <a:lnTo>
                      <a:pt x="271" y="163"/>
                    </a:lnTo>
                    <a:lnTo>
                      <a:pt x="271" y="160"/>
                    </a:lnTo>
                    <a:lnTo>
                      <a:pt x="273" y="159"/>
                    </a:lnTo>
                    <a:lnTo>
                      <a:pt x="276" y="157"/>
                    </a:lnTo>
                    <a:lnTo>
                      <a:pt x="278" y="152"/>
                    </a:lnTo>
                    <a:lnTo>
                      <a:pt x="281" y="147"/>
                    </a:lnTo>
                    <a:lnTo>
                      <a:pt x="281" y="146"/>
                    </a:lnTo>
                    <a:lnTo>
                      <a:pt x="282" y="144"/>
                    </a:lnTo>
                    <a:lnTo>
                      <a:pt x="281" y="141"/>
                    </a:lnTo>
                    <a:lnTo>
                      <a:pt x="278" y="141"/>
                    </a:lnTo>
                    <a:lnTo>
                      <a:pt x="276" y="141"/>
                    </a:lnTo>
                    <a:lnTo>
                      <a:pt x="278" y="139"/>
                    </a:lnTo>
                    <a:lnTo>
                      <a:pt x="279" y="139"/>
                    </a:lnTo>
                    <a:lnTo>
                      <a:pt x="287" y="131"/>
                    </a:lnTo>
                    <a:lnTo>
                      <a:pt x="291" y="129"/>
                    </a:lnTo>
                    <a:lnTo>
                      <a:pt x="295" y="131"/>
                    </a:lnTo>
                    <a:lnTo>
                      <a:pt x="297" y="131"/>
                    </a:lnTo>
                    <a:lnTo>
                      <a:pt x="297" y="132"/>
                    </a:lnTo>
                    <a:lnTo>
                      <a:pt x="297" y="136"/>
                    </a:lnTo>
                    <a:lnTo>
                      <a:pt x="300" y="132"/>
                    </a:lnTo>
                    <a:lnTo>
                      <a:pt x="302" y="131"/>
                    </a:lnTo>
                    <a:lnTo>
                      <a:pt x="299" y="129"/>
                    </a:lnTo>
                    <a:lnTo>
                      <a:pt x="299" y="128"/>
                    </a:lnTo>
                    <a:lnTo>
                      <a:pt x="300" y="121"/>
                    </a:lnTo>
                    <a:lnTo>
                      <a:pt x="302" y="119"/>
                    </a:lnTo>
                    <a:lnTo>
                      <a:pt x="305" y="119"/>
                    </a:lnTo>
                    <a:lnTo>
                      <a:pt x="305" y="121"/>
                    </a:lnTo>
                    <a:lnTo>
                      <a:pt x="307" y="119"/>
                    </a:lnTo>
                    <a:lnTo>
                      <a:pt x="309" y="118"/>
                    </a:lnTo>
                    <a:lnTo>
                      <a:pt x="313" y="110"/>
                    </a:lnTo>
                    <a:lnTo>
                      <a:pt x="313" y="108"/>
                    </a:lnTo>
                    <a:lnTo>
                      <a:pt x="313" y="106"/>
                    </a:lnTo>
                    <a:lnTo>
                      <a:pt x="313" y="101"/>
                    </a:lnTo>
                    <a:lnTo>
                      <a:pt x="317" y="100"/>
                    </a:lnTo>
                    <a:lnTo>
                      <a:pt x="320" y="98"/>
                    </a:lnTo>
                    <a:lnTo>
                      <a:pt x="318" y="97"/>
                    </a:lnTo>
                    <a:lnTo>
                      <a:pt x="315" y="95"/>
                    </a:lnTo>
                    <a:lnTo>
                      <a:pt x="313" y="93"/>
                    </a:lnTo>
                    <a:lnTo>
                      <a:pt x="315" y="93"/>
                    </a:lnTo>
                    <a:lnTo>
                      <a:pt x="315" y="92"/>
                    </a:lnTo>
                    <a:lnTo>
                      <a:pt x="312" y="92"/>
                    </a:lnTo>
                    <a:lnTo>
                      <a:pt x="309" y="93"/>
                    </a:lnTo>
                    <a:lnTo>
                      <a:pt x="302" y="100"/>
                    </a:lnTo>
                    <a:lnTo>
                      <a:pt x="299" y="100"/>
                    </a:lnTo>
                    <a:lnTo>
                      <a:pt x="297" y="101"/>
                    </a:lnTo>
                    <a:lnTo>
                      <a:pt x="294" y="100"/>
                    </a:lnTo>
                    <a:lnTo>
                      <a:pt x="287" y="93"/>
                    </a:lnTo>
                    <a:lnTo>
                      <a:pt x="286" y="93"/>
                    </a:lnTo>
                    <a:lnTo>
                      <a:pt x="282" y="90"/>
                    </a:lnTo>
                    <a:lnTo>
                      <a:pt x="282" y="88"/>
                    </a:lnTo>
                    <a:lnTo>
                      <a:pt x="284" y="87"/>
                    </a:lnTo>
                    <a:lnTo>
                      <a:pt x="284" y="82"/>
                    </a:lnTo>
                    <a:lnTo>
                      <a:pt x="282" y="77"/>
                    </a:lnTo>
                    <a:lnTo>
                      <a:pt x="282" y="75"/>
                    </a:lnTo>
                    <a:lnTo>
                      <a:pt x="281" y="74"/>
                    </a:lnTo>
                    <a:lnTo>
                      <a:pt x="281" y="70"/>
                    </a:lnTo>
                    <a:lnTo>
                      <a:pt x="282" y="67"/>
                    </a:lnTo>
                    <a:lnTo>
                      <a:pt x="281" y="67"/>
                    </a:lnTo>
                    <a:lnTo>
                      <a:pt x="281" y="64"/>
                    </a:lnTo>
                    <a:lnTo>
                      <a:pt x="279" y="62"/>
                    </a:lnTo>
                    <a:lnTo>
                      <a:pt x="278" y="62"/>
                    </a:lnTo>
                    <a:lnTo>
                      <a:pt x="276" y="61"/>
                    </a:lnTo>
                    <a:lnTo>
                      <a:pt x="274" y="62"/>
                    </a:lnTo>
                    <a:lnTo>
                      <a:pt x="278" y="65"/>
                    </a:lnTo>
                    <a:lnTo>
                      <a:pt x="278" y="67"/>
                    </a:lnTo>
                    <a:lnTo>
                      <a:pt x="278" y="69"/>
                    </a:lnTo>
                    <a:lnTo>
                      <a:pt x="274" y="72"/>
                    </a:lnTo>
                    <a:lnTo>
                      <a:pt x="276" y="74"/>
                    </a:lnTo>
                    <a:lnTo>
                      <a:pt x="278" y="77"/>
                    </a:lnTo>
                    <a:lnTo>
                      <a:pt x="278" y="79"/>
                    </a:lnTo>
                    <a:lnTo>
                      <a:pt x="274" y="79"/>
                    </a:lnTo>
                    <a:lnTo>
                      <a:pt x="273" y="77"/>
                    </a:lnTo>
                    <a:lnTo>
                      <a:pt x="273" y="74"/>
                    </a:lnTo>
                    <a:lnTo>
                      <a:pt x="269" y="74"/>
                    </a:lnTo>
                    <a:lnTo>
                      <a:pt x="269" y="72"/>
                    </a:lnTo>
                    <a:lnTo>
                      <a:pt x="266" y="70"/>
                    </a:lnTo>
                    <a:lnTo>
                      <a:pt x="264" y="72"/>
                    </a:lnTo>
                    <a:lnTo>
                      <a:pt x="264" y="70"/>
                    </a:lnTo>
                    <a:lnTo>
                      <a:pt x="268" y="69"/>
                    </a:lnTo>
                    <a:lnTo>
                      <a:pt x="268" y="65"/>
                    </a:lnTo>
                    <a:lnTo>
                      <a:pt x="266" y="64"/>
                    </a:lnTo>
                    <a:lnTo>
                      <a:pt x="268" y="61"/>
                    </a:lnTo>
                    <a:lnTo>
                      <a:pt x="269" y="61"/>
                    </a:lnTo>
                    <a:lnTo>
                      <a:pt x="271" y="57"/>
                    </a:lnTo>
                    <a:lnTo>
                      <a:pt x="269" y="54"/>
                    </a:lnTo>
                    <a:lnTo>
                      <a:pt x="269" y="52"/>
                    </a:lnTo>
                    <a:lnTo>
                      <a:pt x="269" y="49"/>
                    </a:lnTo>
                    <a:lnTo>
                      <a:pt x="269" y="46"/>
                    </a:lnTo>
                    <a:lnTo>
                      <a:pt x="266" y="44"/>
                    </a:lnTo>
                    <a:lnTo>
                      <a:pt x="266" y="43"/>
                    </a:lnTo>
                    <a:lnTo>
                      <a:pt x="268" y="43"/>
                    </a:lnTo>
                    <a:lnTo>
                      <a:pt x="271" y="43"/>
                    </a:lnTo>
                    <a:lnTo>
                      <a:pt x="271" y="39"/>
                    </a:lnTo>
                    <a:lnTo>
                      <a:pt x="273" y="38"/>
                    </a:lnTo>
                    <a:lnTo>
                      <a:pt x="273" y="33"/>
                    </a:lnTo>
                    <a:lnTo>
                      <a:pt x="271" y="30"/>
                    </a:lnTo>
                    <a:lnTo>
                      <a:pt x="273" y="26"/>
                    </a:lnTo>
                    <a:lnTo>
                      <a:pt x="271" y="26"/>
                    </a:lnTo>
                    <a:lnTo>
                      <a:pt x="266" y="28"/>
                    </a:lnTo>
                    <a:lnTo>
                      <a:pt x="264" y="26"/>
                    </a:lnTo>
                    <a:lnTo>
                      <a:pt x="266" y="25"/>
                    </a:lnTo>
                    <a:lnTo>
                      <a:pt x="264" y="23"/>
                    </a:lnTo>
                    <a:lnTo>
                      <a:pt x="263" y="23"/>
                    </a:lnTo>
                    <a:lnTo>
                      <a:pt x="264" y="20"/>
                    </a:lnTo>
                    <a:lnTo>
                      <a:pt x="266" y="20"/>
                    </a:lnTo>
                    <a:lnTo>
                      <a:pt x="266" y="18"/>
                    </a:lnTo>
                    <a:lnTo>
                      <a:pt x="263" y="16"/>
                    </a:lnTo>
                    <a:lnTo>
                      <a:pt x="261" y="15"/>
                    </a:lnTo>
                    <a:lnTo>
                      <a:pt x="260" y="16"/>
                    </a:lnTo>
                    <a:lnTo>
                      <a:pt x="258" y="13"/>
                    </a:lnTo>
                    <a:lnTo>
                      <a:pt x="260" y="13"/>
                    </a:lnTo>
                    <a:lnTo>
                      <a:pt x="261" y="12"/>
                    </a:lnTo>
                    <a:lnTo>
                      <a:pt x="260" y="12"/>
                    </a:lnTo>
                    <a:lnTo>
                      <a:pt x="258" y="12"/>
                    </a:lnTo>
                    <a:lnTo>
                      <a:pt x="258" y="13"/>
                    </a:lnTo>
                    <a:lnTo>
                      <a:pt x="256" y="16"/>
                    </a:lnTo>
                    <a:lnTo>
                      <a:pt x="255" y="15"/>
                    </a:lnTo>
                    <a:lnTo>
                      <a:pt x="255" y="13"/>
                    </a:lnTo>
                    <a:lnTo>
                      <a:pt x="255" y="10"/>
                    </a:lnTo>
                    <a:lnTo>
                      <a:pt x="253" y="7"/>
                    </a:lnTo>
                    <a:lnTo>
                      <a:pt x="253" y="3"/>
                    </a:lnTo>
                    <a:lnTo>
                      <a:pt x="253" y="2"/>
                    </a:lnTo>
                    <a:lnTo>
                      <a:pt x="255" y="2"/>
                    </a:lnTo>
                    <a:lnTo>
                      <a:pt x="253" y="0"/>
                    </a:lnTo>
                    <a:lnTo>
                      <a:pt x="251" y="2"/>
                    </a:lnTo>
                    <a:lnTo>
                      <a:pt x="246" y="2"/>
                    </a:lnTo>
                    <a:lnTo>
                      <a:pt x="246" y="2"/>
                    </a:lnTo>
                    <a:lnTo>
                      <a:pt x="248" y="5"/>
                    </a:lnTo>
                    <a:lnTo>
                      <a:pt x="251" y="13"/>
                    </a:lnTo>
                    <a:lnTo>
                      <a:pt x="253" y="16"/>
                    </a:lnTo>
                    <a:lnTo>
                      <a:pt x="251" y="21"/>
                    </a:lnTo>
                    <a:lnTo>
                      <a:pt x="251" y="23"/>
                    </a:lnTo>
                    <a:lnTo>
                      <a:pt x="250" y="23"/>
                    </a:lnTo>
                    <a:lnTo>
                      <a:pt x="250" y="23"/>
                    </a:lnTo>
                    <a:lnTo>
                      <a:pt x="251" y="30"/>
                    </a:lnTo>
                    <a:lnTo>
                      <a:pt x="251" y="31"/>
                    </a:lnTo>
                    <a:lnTo>
                      <a:pt x="255" y="30"/>
                    </a:lnTo>
                    <a:lnTo>
                      <a:pt x="258" y="30"/>
                    </a:lnTo>
                    <a:lnTo>
                      <a:pt x="255" y="30"/>
                    </a:lnTo>
                    <a:lnTo>
                      <a:pt x="253" y="33"/>
                    </a:lnTo>
                    <a:lnTo>
                      <a:pt x="253" y="36"/>
                    </a:lnTo>
                    <a:lnTo>
                      <a:pt x="256" y="41"/>
                    </a:lnTo>
                    <a:lnTo>
                      <a:pt x="256" y="49"/>
                    </a:lnTo>
                    <a:lnTo>
                      <a:pt x="256" y="54"/>
                    </a:lnTo>
                    <a:lnTo>
                      <a:pt x="256" y="57"/>
                    </a:lnTo>
                    <a:lnTo>
                      <a:pt x="258" y="57"/>
                    </a:lnTo>
                    <a:lnTo>
                      <a:pt x="260" y="54"/>
                    </a:lnTo>
                    <a:lnTo>
                      <a:pt x="258" y="52"/>
                    </a:lnTo>
                    <a:lnTo>
                      <a:pt x="260" y="51"/>
                    </a:lnTo>
                    <a:lnTo>
                      <a:pt x="260" y="52"/>
                    </a:lnTo>
                    <a:lnTo>
                      <a:pt x="260" y="56"/>
                    </a:lnTo>
                    <a:lnTo>
                      <a:pt x="261" y="56"/>
                    </a:lnTo>
                    <a:lnTo>
                      <a:pt x="263" y="54"/>
                    </a:lnTo>
                    <a:lnTo>
                      <a:pt x="261" y="52"/>
                    </a:lnTo>
                    <a:lnTo>
                      <a:pt x="263" y="52"/>
                    </a:lnTo>
                    <a:lnTo>
                      <a:pt x="263" y="56"/>
                    </a:lnTo>
                    <a:lnTo>
                      <a:pt x="261" y="59"/>
                    </a:lnTo>
                    <a:lnTo>
                      <a:pt x="261" y="61"/>
                    </a:lnTo>
                    <a:lnTo>
                      <a:pt x="260" y="62"/>
                    </a:lnTo>
                    <a:lnTo>
                      <a:pt x="260" y="62"/>
                    </a:lnTo>
                    <a:lnTo>
                      <a:pt x="258" y="61"/>
                    </a:lnTo>
                    <a:lnTo>
                      <a:pt x="256" y="61"/>
                    </a:lnTo>
                    <a:lnTo>
                      <a:pt x="258" y="65"/>
                    </a:lnTo>
                    <a:lnTo>
                      <a:pt x="260" y="72"/>
                    </a:lnTo>
                    <a:lnTo>
                      <a:pt x="261" y="72"/>
                    </a:lnTo>
                    <a:lnTo>
                      <a:pt x="261" y="72"/>
                    </a:lnTo>
                    <a:lnTo>
                      <a:pt x="263" y="74"/>
                    </a:lnTo>
                    <a:lnTo>
                      <a:pt x="263" y="75"/>
                    </a:lnTo>
                    <a:lnTo>
                      <a:pt x="264" y="77"/>
                    </a:lnTo>
                    <a:lnTo>
                      <a:pt x="261" y="79"/>
                    </a:lnTo>
                    <a:lnTo>
                      <a:pt x="261" y="80"/>
                    </a:lnTo>
                    <a:lnTo>
                      <a:pt x="263" y="82"/>
                    </a:lnTo>
                    <a:lnTo>
                      <a:pt x="261" y="83"/>
                    </a:lnTo>
                    <a:lnTo>
                      <a:pt x="260" y="88"/>
                    </a:lnTo>
                    <a:lnTo>
                      <a:pt x="260" y="92"/>
                    </a:lnTo>
                    <a:lnTo>
                      <a:pt x="260" y="93"/>
                    </a:lnTo>
                    <a:lnTo>
                      <a:pt x="261" y="95"/>
                    </a:lnTo>
                    <a:lnTo>
                      <a:pt x="260" y="95"/>
                    </a:lnTo>
                    <a:lnTo>
                      <a:pt x="258" y="97"/>
                    </a:lnTo>
                    <a:lnTo>
                      <a:pt x="256" y="98"/>
                    </a:lnTo>
                    <a:lnTo>
                      <a:pt x="256" y="100"/>
                    </a:lnTo>
                    <a:lnTo>
                      <a:pt x="258" y="101"/>
                    </a:lnTo>
                    <a:lnTo>
                      <a:pt x="256" y="103"/>
                    </a:lnTo>
                    <a:lnTo>
                      <a:pt x="255" y="103"/>
                    </a:lnTo>
                    <a:lnTo>
                      <a:pt x="253" y="106"/>
                    </a:lnTo>
                    <a:lnTo>
                      <a:pt x="251" y="118"/>
                    </a:lnTo>
                    <a:lnTo>
                      <a:pt x="250" y="121"/>
                    </a:lnTo>
                    <a:lnTo>
                      <a:pt x="248" y="123"/>
                    </a:lnTo>
                    <a:lnTo>
                      <a:pt x="246" y="123"/>
                    </a:lnTo>
                    <a:lnTo>
                      <a:pt x="243" y="121"/>
                    </a:lnTo>
                    <a:lnTo>
                      <a:pt x="240" y="121"/>
                    </a:lnTo>
                    <a:lnTo>
                      <a:pt x="235" y="124"/>
                    </a:lnTo>
                    <a:lnTo>
                      <a:pt x="232" y="128"/>
                    </a:lnTo>
                    <a:lnTo>
                      <a:pt x="230" y="131"/>
                    </a:lnTo>
                    <a:lnTo>
                      <a:pt x="232" y="136"/>
                    </a:lnTo>
                    <a:lnTo>
                      <a:pt x="233" y="139"/>
                    </a:lnTo>
                    <a:lnTo>
                      <a:pt x="238" y="142"/>
                    </a:lnTo>
                    <a:lnTo>
                      <a:pt x="242" y="146"/>
                    </a:lnTo>
                    <a:lnTo>
                      <a:pt x="245" y="147"/>
                    </a:lnTo>
                    <a:lnTo>
                      <a:pt x="246" y="149"/>
                    </a:lnTo>
                    <a:lnTo>
                      <a:pt x="248" y="155"/>
                    </a:lnTo>
                    <a:lnTo>
                      <a:pt x="248" y="157"/>
                    </a:lnTo>
                    <a:lnTo>
                      <a:pt x="246" y="157"/>
                    </a:lnTo>
                    <a:lnTo>
                      <a:pt x="246" y="162"/>
                    </a:lnTo>
                    <a:lnTo>
                      <a:pt x="245" y="165"/>
                    </a:lnTo>
                    <a:lnTo>
                      <a:pt x="240" y="172"/>
                    </a:lnTo>
                    <a:lnTo>
                      <a:pt x="235" y="177"/>
                    </a:lnTo>
                    <a:lnTo>
                      <a:pt x="230" y="181"/>
                    </a:lnTo>
                    <a:lnTo>
                      <a:pt x="229" y="183"/>
                    </a:lnTo>
                    <a:lnTo>
                      <a:pt x="229" y="185"/>
                    </a:lnTo>
                    <a:lnTo>
                      <a:pt x="229" y="185"/>
                    </a:lnTo>
                    <a:close/>
                    <a:moveTo>
                      <a:pt x="219" y="173"/>
                    </a:moveTo>
                    <a:lnTo>
                      <a:pt x="219" y="170"/>
                    </a:lnTo>
                    <a:lnTo>
                      <a:pt x="220" y="168"/>
                    </a:lnTo>
                    <a:lnTo>
                      <a:pt x="224" y="168"/>
                    </a:lnTo>
                    <a:lnTo>
                      <a:pt x="222" y="170"/>
                    </a:lnTo>
                    <a:lnTo>
                      <a:pt x="220" y="172"/>
                    </a:lnTo>
                    <a:lnTo>
                      <a:pt x="219" y="173"/>
                    </a:lnTo>
                    <a:lnTo>
                      <a:pt x="219" y="173"/>
                    </a:lnTo>
                    <a:lnTo>
                      <a:pt x="219" y="173"/>
                    </a:lnTo>
                    <a:lnTo>
                      <a:pt x="219" y="173"/>
                    </a:lnTo>
                    <a:close/>
                    <a:moveTo>
                      <a:pt x="217" y="177"/>
                    </a:moveTo>
                    <a:lnTo>
                      <a:pt x="219" y="175"/>
                    </a:lnTo>
                    <a:lnTo>
                      <a:pt x="220" y="175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7" y="177"/>
                    </a:lnTo>
                    <a:close/>
                    <a:moveTo>
                      <a:pt x="215" y="177"/>
                    </a:moveTo>
                    <a:lnTo>
                      <a:pt x="217" y="177"/>
                    </a:lnTo>
                    <a:lnTo>
                      <a:pt x="219" y="175"/>
                    </a:lnTo>
                    <a:lnTo>
                      <a:pt x="219" y="175"/>
                    </a:lnTo>
                    <a:lnTo>
                      <a:pt x="215" y="177"/>
                    </a:lnTo>
                    <a:lnTo>
                      <a:pt x="215" y="177"/>
                    </a:lnTo>
                    <a:close/>
                    <a:moveTo>
                      <a:pt x="86" y="327"/>
                    </a:moveTo>
                    <a:lnTo>
                      <a:pt x="88" y="325"/>
                    </a:lnTo>
                    <a:lnTo>
                      <a:pt x="86" y="327"/>
                    </a:lnTo>
                    <a:lnTo>
                      <a:pt x="86" y="327"/>
                    </a:lnTo>
                    <a:lnTo>
                      <a:pt x="86" y="327"/>
                    </a:lnTo>
                    <a:close/>
                    <a:moveTo>
                      <a:pt x="70" y="333"/>
                    </a:moveTo>
                    <a:lnTo>
                      <a:pt x="68" y="335"/>
                    </a:lnTo>
                    <a:lnTo>
                      <a:pt x="67" y="335"/>
                    </a:lnTo>
                    <a:lnTo>
                      <a:pt x="67" y="333"/>
                    </a:lnTo>
                    <a:lnTo>
                      <a:pt x="70" y="330"/>
                    </a:lnTo>
                    <a:lnTo>
                      <a:pt x="70" y="330"/>
                    </a:lnTo>
                    <a:lnTo>
                      <a:pt x="70" y="329"/>
                    </a:lnTo>
                    <a:lnTo>
                      <a:pt x="73" y="327"/>
                    </a:lnTo>
                    <a:lnTo>
                      <a:pt x="73" y="325"/>
                    </a:lnTo>
                    <a:lnTo>
                      <a:pt x="73" y="322"/>
                    </a:lnTo>
                    <a:lnTo>
                      <a:pt x="73" y="319"/>
                    </a:lnTo>
                    <a:lnTo>
                      <a:pt x="77" y="319"/>
                    </a:lnTo>
                    <a:lnTo>
                      <a:pt x="80" y="322"/>
                    </a:lnTo>
                    <a:lnTo>
                      <a:pt x="82" y="325"/>
                    </a:lnTo>
                    <a:lnTo>
                      <a:pt x="82" y="325"/>
                    </a:lnTo>
                    <a:lnTo>
                      <a:pt x="82" y="327"/>
                    </a:lnTo>
                    <a:lnTo>
                      <a:pt x="80" y="327"/>
                    </a:lnTo>
                    <a:lnTo>
                      <a:pt x="78" y="325"/>
                    </a:lnTo>
                    <a:lnTo>
                      <a:pt x="77" y="327"/>
                    </a:lnTo>
                    <a:lnTo>
                      <a:pt x="78" y="327"/>
                    </a:lnTo>
                    <a:lnTo>
                      <a:pt x="80" y="329"/>
                    </a:lnTo>
                    <a:lnTo>
                      <a:pt x="82" y="329"/>
                    </a:lnTo>
                    <a:lnTo>
                      <a:pt x="82" y="330"/>
                    </a:lnTo>
                    <a:lnTo>
                      <a:pt x="80" y="332"/>
                    </a:lnTo>
                    <a:lnTo>
                      <a:pt x="80" y="330"/>
                    </a:lnTo>
                    <a:lnTo>
                      <a:pt x="77" y="332"/>
                    </a:lnTo>
                    <a:lnTo>
                      <a:pt x="75" y="333"/>
                    </a:lnTo>
                    <a:lnTo>
                      <a:pt x="73" y="333"/>
                    </a:lnTo>
                    <a:lnTo>
                      <a:pt x="72" y="332"/>
                    </a:lnTo>
                    <a:lnTo>
                      <a:pt x="70" y="333"/>
                    </a:lnTo>
                    <a:lnTo>
                      <a:pt x="70" y="333"/>
                    </a:lnTo>
                    <a:close/>
                    <a:moveTo>
                      <a:pt x="68" y="306"/>
                    </a:moveTo>
                    <a:lnTo>
                      <a:pt x="67" y="302"/>
                    </a:lnTo>
                    <a:lnTo>
                      <a:pt x="67" y="301"/>
                    </a:lnTo>
                    <a:lnTo>
                      <a:pt x="68" y="299"/>
                    </a:lnTo>
                    <a:lnTo>
                      <a:pt x="67" y="299"/>
                    </a:lnTo>
                    <a:lnTo>
                      <a:pt x="65" y="297"/>
                    </a:lnTo>
                    <a:lnTo>
                      <a:pt x="68" y="294"/>
                    </a:lnTo>
                    <a:lnTo>
                      <a:pt x="72" y="294"/>
                    </a:lnTo>
                    <a:lnTo>
                      <a:pt x="75" y="294"/>
                    </a:lnTo>
                    <a:lnTo>
                      <a:pt x="75" y="293"/>
                    </a:lnTo>
                    <a:lnTo>
                      <a:pt x="75" y="291"/>
                    </a:lnTo>
                    <a:lnTo>
                      <a:pt x="72" y="289"/>
                    </a:lnTo>
                    <a:lnTo>
                      <a:pt x="72" y="286"/>
                    </a:lnTo>
                    <a:lnTo>
                      <a:pt x="75" y="283"/>
                    </a:lnTo>
                    <a:lnTo>
                      <a:pt x="75" y="281"/>
                    </a:lnTo>
                    <a:lnTo>
                      <a:pt x="77" y="279"/>
                    </a:lnTo>
                    <a:lnTo>
                      <a:pt x="78" y="279"/>
                    </a:lnTo>
                    <a:lnTo>
                      <a:pt x="80" y="283"/>
                    </a:lnTo>
                    <a:lnTo>
                      <a:pt x="80" y="281"/>
                    </a:lnTo>
                    <a:lnTo>
                      <a:pt x="82" y="276"/>
                    </a:lnTo>
                    <a:lnTo>
                      <a:pt x="82" y="273"/>
                    </a:lnTo>
                    <a:lnTo>
                      <a:pt x="83" y="273"/>
                    </a:lnTo>
                    <a:lnTo>
                      <a:pt x="88" y="268"/>
                    </a:lnTo>
                    <a:lnTo>
                      <a:pt x="90" y="270"/>
                    </a:lnTo>
                    <a:lnTo>
                      <a:pt x="91" y="268"/>
                    </a:lnTo>
                    <a:lnTo>
                      <a:pt x="91" y="265"/>
                    </a:lnTo>
                    <a:lnTo>
                      <a:pt x="93" y="263"/>
                    </a:lnTo>
                    <a:lnTo>
                      <a:pt x="95" y="262"/>
                    </a:lnTo>
                    <a:lnTo>
                      <a:pt x="96" y="262"/>
                    </a:lnTo>
                    <a:lnTo>
                      <a:pt x="96" y="265"/>
                    </a:lnTo>
                    <a:lnTo>
                      <a:pt x="98" y="260"/>
                    </a:lnTo>
                    <a:lnTo>
                      <a:pt x="99" y="257"/>
                    </a:lnTo>
                    <a:lnTo>
                      <a:pt x="103" y="257"/>
                    </a:lnTo>
                    <a:lnTo>
                      <a:pt x="106" y="253"/>
                    </a:lnTo>
                    <a:lnTo>
                      <a:pt x="108" y="250"/>
                    </a:lnTo>
                    <a:lnTo>
                      <a:pt x="113" y="245"/>
                    </a:lnTo>
                    <a:lnTo>
                      <a:pt x="116" y="245"/>
                    </a:lnTo>
                    <a:lnTo>
                      <a:pt x="117" y="247"/>
                    </a:lnTo>
                    <a:lnTo>
                      <a:pt x="119" y="247"/>
                    </a:lnTo>
                    <a:lnTo>
                      <a:pt x="122" y="245"/>
                    </a:lnTo>
                    <a:lnTo>
                      <a:pt x="124" y="245"/>
                    </a:lnTo>
                    <a:lnTo>
                      <a:pt x="126" y="248"/>
                    </a:lnTo>
                    <a:lnTo>
                      <a:pt x="126" y="245"/>
                    </a:lnTo>
                    <a:lnTo>
                      <a:pt x="124" y="242"/>
                    </a:lnTo>
                    <a:lnTo>
                      <a:pt x="126" y="240"/>
                    </a:lnTo>
                    <a:lnTo>
                      <a:pt x="131" y="237"/>
                    </a:lnTo>
                    <a:lnTo>
                      <a:pt x="134" y="237"/>
                    </a:lnTo>
                    <a:lnTo>
                      <a:pt x="139" y="232"/>
                    </a:lnTo>
                    <a:lnTo>
                      <a:pt x="145" y="229"/>
                    </a:lnTo>
                    <a:lnTo>
                      <a:pt x="147" y="229"/>
                    </a:lnTo>
                    <a:lnTo>
                      <a:pt x="148" y="227"/>
                    </a:lnTo>
                    <a:lnTo>
                      <a:pt x="152" y="224"/>
                    </a:lnTo>
                    <a:lnTo>
                      <a:pt x="155" y="224"/>
                    </a:lnTo>
                    <a:lnTo>
                      <a:pt x="162" y="219"/>
                    </a:lnTo>
                    <a:lnTo>
                      <a:pt x="166" y="213"/>
                    </a:lnTo>
                    <a:lnTo>
                      <a:pt x="168" y="209"/>
                    </a:lnTo>
                    <a:lnTo>
                      <a:pt x="170" y="208"/>
                    </a:lnTo>
                    <a:lnTo>
                      <a:pt x="170" y="204"/>
                    </a:lnTo>
                    <a:lnTo>
                      <a:pt x="171" y="201"/>
                    </a:lnTo>
                    <a:lnTo>
                      <a:pt x="173" y="201"/>
                    </a:lnTo>
                    <a:lnTo>
                      <a:pt x="173" y="198"/>
                    </a:lnTo>
                    <a:lnTo>
                      <a:pt x="175" y="195"/>
                    </a:lnTo>
                    <a:lnTo>
                      <a:pt x="176" y="193"/>
                    </a:lnTo>
                    <a:lnTo>
                      <a:pt x="180" y="193"/>
                    </a:lnTo>
                    <a:lnTo>
                      <a:pt x="183" y="191"/>
                    </a:lnTo>
                    <a:lnTo>
                      <a:pt x="184" y="190"/>
                    </a:lnTo>
                    <a:lnTo>
                      <a:pt x="188" y="185"/>
                    </a:lnTo>
                    <a:lnTo>
                      <a:pt x="189" y="185"/>
                    </a:lnTo>
                    <a:lnTo>
                      <a:pt x="191" y="180"/>
                    </a:lnTo>
                    <a:lnTo>
                      <a:pt x="194" y="173"/>
                    </a:lnTo>
                    <a:lnTo>
                      <a:pt x="196" y="168"/>
                    </a:lnTo>
                    <a:lnTo>
                      <a:pt x="197" y="167"/>
                    </a:lnTo>
                    <a:lnTo>
                      <a:pt x="201" y="165"/>
                    </a:lnTo>
                    <a:lnTo>
                      <a:pt x="204" y="163"/>
                    </a:lnTo>
                    <a:lnTo>
                      <a:pt x="207" y="163"/>
                    </a:lnTo>
                    <a:lnTo>
                      <a:pt x="206" y="165"/>
                    </a:lnTo>
                    <a:lnTo>
                      <a:pt x="204" y="168"/>
                    </a:lnTo>
                    <a:lnTo>
                      <a:pt x="206" y="170"/>
                    </a:lnTo>
                    <a:lnTo>
                      <a:pt x="207" y="170"/>
                    </a:lnTo>
                    <a:lnTo>
                      <a:pt x="209" y="168"/>
                    </a:lnTo>
                    <a:lnTo>
                      <a:pt x="209" y="170"/>
                    </a:lnTo>
                    <a:lnTo>
                      <a:pt x="209" y="172"/>
                    </a:lnTo>
                    <a:lnTo>
                      <a:pt x="211" y="172"/>
                    </a:lnTo>
                    <a:lnTo>
                      <a:pt x="211" y="173"/>
                    </a:lnTo>
                    <a:lnTo>
                      <a:pt x="209" y="175"/>
                    </a:lnTo>
                    <a:lnTo>
                      <a:pt x="207" y="177"/>
                    </a:lnTo>
                    <a:lnTo>
                      <a:pt x="209" y="181"/>
                    </a:lnTo>
                    <a:lnTo>
                      <a:pt x="211" y="181"/>
                    </a:lnTo>
                    <a:lnTo>
                      <a:pt x="212" y="178"/>
                    </a:lnTo>
                    <a:lnTo>
                      <a:pt x="214" y="178"/>
                    </a:lnTo>
                    <a:lnTo>
                      <a:pt x="217" y="178"/>
                    </a:lnTo>
                    <a:lnTo>
                      <a:pt x="217" y="178"/>
                    </a:lnTo>
                    <a:lnTo>
                      <a:pt x="217" y="180"/>
                    </a:lnTo>
                    <a:lnTo>
                      <a:pt x="219" y="181"/>
                    </a:lnTo>
                    <a:lnTo>
                      <a:pt x="222" y="180"/>
                    </a:lnTo>
                    <a:lnTo>
                      <a:pt x="220" y="180"/>
                    </a:lnTo>
                    <a:lnTo>
                      <a:pt x="220" y="178"/>
                    </a:lnTo>
                    <a:lnTo>
                      <a:pt x="222" y="175"/>
                    </a:lnTo>
                    <a:lnTo>
                      <a:pt x="224" y="175"/>
                    </a:lnTo>
                    <a:lnTo>
                      <a:pt x="224" y="177"/>
                    </a:lnTo>
                    <a:lnTo>
                      <a:pt x="225" y="177"/>
                    </a:lnTo>
                    <a:lnTo>
                      <a:pt x="224" y="180"/>
                    </a:lnTo>
                    <a:lnTo>
                      <a:pt x="220" y="183"/>
                    </a:lnTo>
                    <a:lnTo>
                      <a:pt x="222" y="181"/>
                    </a:lnTo>
                    <a:lnTo>
                      <a:pt x="225" y="181"/>
                    </a:lnTo>
                    <a:lnTo>
                      <a:pt x="222" y="185"/>
                    </a:lnTo>
                    <a:lnTo>
                      <a:pt x="220" y="185"/>
                    </a:lnTo>
                    <a:lnTo>
                      <a:pt x="220" y="188"/>
                    </a:lnTo>
                    <a:lnTo>
                      <a:pt x="219" y="191"/>
                    </a:lnTo>
                    <a:lnTo>
                      <a:pt x="220" y="195"/>
                    </a:lnTo>
                    <a:lnTo>
                      <a:pt x="220" y="196"/>
                    </a:lnTo>
                    <a:lnTo>
                      <a:pt x="222" y="198"/>
                    </a:lnTo>
                    <a:lnTo>
                      <a:pt x="220" y="199"/>
                    </a:lnTo>
                    <a:lnTo>
                      <a:pt x="212" y="206"/>
                    </a:lnTo>
                    <a:lnTo>
                      <a:pt x="211" y="208"/>
                    </a:lnTo>
                    <a:lnTo>
                      <a:pt x="206" y="214"/>
                    </a:lnTo>
                    <a:lnTo>
                      <a:pt x="206" y="216"/>
                    </a:lnTo>
                    <a:lnTo>
                      <a:pt x="204" y="216"/>
                    </a:lnTo>
                    <a:lnTo>
                      <a:pt x="201" y="219"/>
                    </a:lnTo>
                    <a:lnTo>
                      <a:pt x="199" y="222"/>
                    </a:lnTo>
                    <a:lnTo>
                      <a:pt x="196" y="226"/>
                    </a:lnTo>
                    <a:lnTo>
                      <a:pt x="196" y="227"/>
                    </a:lnTo>
                    <a:lnTo>
                      <a:pt x="191" y="230"/>
                    </a:lnTo>
                    <a:lnTo>
                      <a:pt x="186" y="232"/>
                    </a:lnTo>
                    <a:lnTo>
                      <a:pt x="184" y="234"/>
                    </a:lnTo>
                    <a:lnTo>
                      <a:pt x="183" y="239"/>
                    </a:lnTo>
                    <a:lnTo>
                      <a:pt x="183" y="242"/>
                    </a:lnTo>
                    <a:lnTo>
                      <a:pt x="183" y="244"/>
                    </a:lnTo>
                    <a:lnTo>
                      <a:pt x="184" y="244"/>
                    </a:lnTo>
                    <a:lnTo>
                      <a:pt x="186" y="247"/>
                    </a:lnTo>
                    <a:lnTo>
                      <a:pt x="186" y="250"/>
                    </a:lnTo>
                    <a:lnTo>
                      <a:pt x="184" y="252"/>
                    </a:lnTo>
                    <a:lnTo>
                      <a:pt x="183" y="252"/>
                    </a:lnTo>
                    <a:lnTo>
                      <a:pt x="183" y="248"/>
                    </a:lnTo>
                    <a:lnTo>
                      <a:pt x="183" y="247"/>
                    </a:lnTo>
                    <a:lnTo>
                      <a:pt x="181" y="248"/>
                    </a:lnTo>
                    <a:lnTo>
                      <a:pt x="181" y="250"/>
                    </a:lnTo>
                    <a:lnTo>
                      <a:pt x="181" y="252"/>
                    </a:lnTo>
                    <a:lnTo>
                      <a:pt x="178" y="250"/>
                    </a:lnTo>
                    <a:lnTo>
                      <a:pt x="175" y="250"/>
                    </a:lnTo>
                    <a:lnTo>
                      <a:pt x="178" y="250"/>
                    </a:lnTo>
                    <a:lnTo>
                      <a:pt x="178" y="248"/>
                    </a:lnTo>
                    <a:lnTo>
                      <a:pt x="176" y="247"/>
                    </a:lnTo>
                    <a:lnTo>
                      <a:pt x="175" y="248"/>
                    </a:lnTo>
                    <a:lnTo>
                      <a:pt x="173" y="250"/>
                    </a:lnTo>
                    <a:lnTo>
                      <a:pt x="171" y="252"/>
                    </a:lnTo>
                    <a:lnTo>
                      <a:pt x="171" y="250"/>
                    </a:lnTo>
                    <a:lnTo>
                      <a:pt x="170" y="247"/>
                    </a:lnTo>
                    <a:lnTo>
                      <a:pt x="166" y="247"/>
                    </a:lnTo>
                    <a:lnTo>
                      <a:pt x="170" y="248"/>
                    </a:lnTo>
                    <a:lnTo>
                      <a:pt x="170" y="252"/>
                    </a:lnTo>
                    <a:lnTo>
                      <a:pt x="166" y="253"/>
                    </a:lnTo>
                    <a:lnTo>
                      <a:pt x="165" y="253"/>
                    </a:lnTo>
                    <a:lnTo>
                      <a:pt x="163" y="255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58" y="255"/>
                    </a:lnTo>
                    <a:lnTo>
                      <a:pt x="157" y="258"/>
                    </a:lnTo>
                    <a:lnTo>
                      <a:pt x="155" y="258"/>
                    </a:lnTo>
                    <a:lnTo>
                      <a:pt x="152" y="262"/>
                    </a:lnTo>
                    <a:lnTo>
                      <a:pt x="152" y="265"/>
                    </a:lnTo>
                    <a:lnTo>
                      <a:pt x="150" y="268"/>
                    </a:lnTo>
                    <a:lnTo>
                      <a:pt x="147" y="273"/>
                    </a:lnTo>
                    <a:lnTo>
                      <a:pt x="147" y="276"/>
                    </a:lnTo>
                    <a:lnTo>
                      <a:pt x="145" y="279"/>
                    </a:lnTo>
                    <a:lnTo>
                      <a:pt x="139" y="284"/>
                    </a:lnTo>
                    <a:lnTo>
                      <a:pt x="135" y="286"/>
                    </a:lnTo>
                    <a:lnTo>
                      <a:pt x="135" y="291"/>
                    </a:lnTo>
                    <a:lnTo>
                      <a:pt x="132" y="296"/>
                    </a:lnTo>
                    <a:lnTo>
                      <a:pt x="129" y="301"/>
                    </a:lnTo>
                    <a:lnTo>
                      <a:pt x="129" y="301"/>
                    </a:lnTo>
                    <a:lnTo>
                      <a:pt x="129" y="302"/>
                    </a:lnTo>
                    <a:lnTo>
                      <a:pt x="127" y="302"/>
                    </a:lnTo>
                    <a:lnTo>
                      <a:pt x="131" y="302"/>
                    </a:lnTo>
                    <a:lnTo>
                      <a:pt x="131" y="302"/>
                    </a:lnTo>
                    <a:lnTo>
                      <a:pt x="129" y="304"/>
                    </a:lnTo>
                    <a:lnTo>
                      <a:pt x="126" y="304"/>
                    </a:lnTo>
                    <a:lnTo>
                      <a:pt x="121" y="306"/>
                    </a:lnTo>
                    <a:lnTo>
                      <a:pt x="119" y="309"/>
                    </a:lnTo>
                    <a:lnTo>
                      <a:pt x="117" y="312"/>
                    </a:lnTo>
                    <a:lnTo>
                      <a:pt x="114" y="314"/>
                    </a:lnTo>
                    <a:lnTo>
                      <a:pt x="114" y="312"/>
                    </a:lnTo>
                    <a:lnTo>
                      <a:pt x="113" y="311"/>
                    </a:lnTo>
                    <a:lnTo>
                      <a:pt x="113" y="314"/>
                    </a:lnTo>
                    <a:lnTo>
                      <a:pt x="113" y="315"/>
                    </a:lnTo>
                    <a:lnTo>
                      <a:pt x="109" y="315"/>
                    </a:lnTo>
                    <a:lnTo>
                      <a:pt x="104" y="320"/>
                    </a:lnTo>
                    <a:lnTo>
                      <a:pt x="99" y="322"/>
                    </a:lnTo>
                    <a:lnTo>
                      <a:pt x="96" y="324"/>
                    </a:lnTo>
                    <a:lnTo>
                      <a:pt x="93" y="322"/>
                    </a:lnTo>
                    <a:lnTo>
                      <a:pt x="93" y="320"/>
                    </a:lnTo>
                    <a:lnTo>
                      <a:pt x="90" y="322"/>
                    </a:lnTo>
                    <a:lnTo>
                      <a:pt x="88" y="322"/>
                    </a:lnTo>
                    <a:lnTo>
                      <a:pt x="91" y="320"/>
                    </a:lnTo>
                    <a:lnTo>
                      <a:pt x="88" y="319"/>
                    </a:lnTo>
                    <a:lnTo>
                      <a:pt x="85" y="315"/>
                    </a:lnTo>
                    <a:lnTo>
                      <a:pt x="85" y="314"/>
                    </a:lnTo>
                    <a:lnTo>
                      <a:pt x="85" y="312"/>
                    </a:lnTo>
                    <a:lnTo>
                      <a:pt x="82" y="312"/>
                    </a:lnTo>
                    <a:lnTo>
                      <a:pt x="80" y="311"/>
                    </a:lnTo>
                    <a:lnTo>
                      <a:pt x="80" y="309"/>
                    </a:lnTo>
                    <a:lnTo>
                      <a:pt x="80" y="307"/>
                    </a:lnTo>
                    <a:lnTo>
                      <a:pt x="77" y="306"/>
                    </a:lnTo>
                    <a:lnTo>
                      <a:pt x="75" y="306"/>
                    </a:lnTo>
                    <a:lnTo>
                      <a:pt x="75" y="307"/>
                    </a:lnTo>
                    <a:lnTo>
                      <a:pt x="73" y="307"/>
                    </a:lnTo>
                    <a:lnTo>
                      <a:pt x="73" y="306"/>
                    </a:lnTo>
                    <a:lnTo>
                      <a:pt x="70" y="306"/>
                    </a:lnTo>
                    <a:lnTo>
                      <a:pt x="68" y="30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5" name="Freeform 308">
                <a:extLst>
                  <a:ext uri="{FF2B5EF4-FFF2-40B4-BE49-F238E27FC236}">
                    <a16:creationId xmlns:a16="http://schemas.microsoft.com/office/drawing/2014/main" xmlns="" id="{FE58721A-D79D-4760-B875-EB790E705B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2" y="761"/>
                <a:ext cx="139" cy="90"/>
              </a:xfrm>
              <a:custGeom>
                <a:avLst/>
                <a:gdLst>
                  <a:gd name="T0" fmla="*/ 51 w 139"/>
                  <a:gd name="T1" fmla="*/ 89 h 90"/>
                  <a:gd name="T2" fmla="*/ 44 w 139"/>
                  <a:gd name="T3" fmla="*/ 79 h 90"/>
                  <a:gd name="T4" fmla="*/ 61 w 139"/>
                  <a:gd name="T5" fmla="*/ 87 h 90"/>
                  <a:gd name="T6" fmla="*/ 75 w 139"/>
                  <a:gd name="T7" fmla="*/ 80 h 90"/>
                  <a:gd name="T8" fmla="*/ 87 w 139"/>
                  <a:gd name="T9" fmla="*/ 76 h 90"/>
                  <a:gd name="T10" fmla="*/ 93 w 139"/>
                  <a:gd name="T11" fmla="*/ 74 h 90"/>
                  <a:gd name="T12" fmla="*/ 100 w 139"/>
                  <a:gd name="T13" fmla="*/ 74 h 90"/>
                  <a:gd name="T14" fmla="*/ 118 w 139"/>
                  <a:gd name="T15" fmla="*/ 59 h 90"/>
                  <a:gd name="T16" fmla="*/ 126 w 139"/>
                  <a:gd name="T17" fmla="*/ 59 h 90"/>
                  <a:gd name="T18" fmla="*/ 126 w 139"/>
                  <a:gd name="T19" fmla="*/ 49 h 90"/>
                  <a:gd name="T20" fmla="*/ 136 w 139"/>
                  <a:gd name="T21" fmla="*/ 48 h 90"/>
                  <a:gd name="T22" fmla="*/ 133 w 139"/>
                  <a:gd name="T23" fmla="*/ 35 h 90"/>
                  <a:gd name="T24" fmla="*/ 131 w 139"/>
                  <a:gd name="T25" fmla="*/ 28 h 90"/>
                  <a:gd name="T26" fmla="*/ 126 w 139"/>
                  <a:gd name="T27" fmla="*/ 25 h 90"/>
                  <a:gd name="T28" fmla="*/ 126 w 139"/>
                  <a:gd name="T29" fmla="*/ 14 h 90"/>
                  <a:gd name="T30" fmla="*/ 124 w 139"/>
                  <a:gd name="T31" fmla="*/ 7 h 90"/>
                  <a:gd name="T32" fmla="*/ 118 w 139"/>
                  <a:gd name="T33" fmla="*/ 9 h 90"/>
                  <a:gd name="T34" fmla="*/ 113 w 139"/>
                  <a:gd name="T35" fmla="*/ 5 h 90"/>
                  <a:gd name="T36" fmla="*/ 103 w 139"/>
                  <a:gd name="T37" fmla="*/ 5 h 90"/>
                  <a:gd name="T38" fmla="*/ 97 w 139"/>
                  <a:gd name="T39" fmla="*/ 9 h 90"/>
                  <a:gd name="T40" fmla="*/ 85 w 139"/>
                  <a:gd name="T41" fmla="*/ 10 h 90"/>
                  <a:gd name="T42" fmla="*/ 82 w 139"/>
                  <a:gd name="T43" fmla="*/ 20 h 90"/>
                  <a:gd name="T44" fmla="*/ 75 w 139"/>
                  <a:gd name="T45" fmla="*/ 14 h 90"/>
                  <a:gd name="T46" fmla="*/ 67 w 139"/>
                  <a:gd name="T47" fmla="*/ 18 h 90"/>
                  <a:gd name="T48" fmla="*/ 59 w 139"/>
                  <a:gd name="T49" fmla="*/ 10 h 90"/>
                  <a:gd name="T50" fmla="*/ 54 w 139"/>
                  <a:gd name="T51" fmla="*/ 27 h 90"/>
                  <a:gd name="T52" fmla="*/ 46 w 139"/>
                  <a:gd name="T53" fmla="*/ 31 h 90"/>
                  <a:gd name="T54" fmla="*/ 39 w 139"/>
                  <a:gd name="T55" fmla="*/ 30 h 90"/>
                  <a:gd name="T56" fmla="*/ 38 w 139"/>
                  <a:gd name="T57" fmla="*/ 18 h 90"/>
                  <a:gd name="T58" fmla="*/ 41 w 139"/>
                  <a:gd name="T59" fmla="*/ 12 h 90"/>
                  <a:gd name="T60" fmla="*/ 31 w 139"/>
                  <a:gd name="T61" fmla="*/ 4 h 90"/>
                  <a:gd name="T62" fmla="*/ 20 w 139"/>
                  <a:gd name="T63" fmla="*/ 2 h 90"/>
                  <a:gd name="T64" fmla="*/ 26 w 139"/>
                  <a:gd name="T65" fmla="*/ 4 h 90"/>
                  <a:gd name="T66" fmla="*/ 23 w 139"/>
                  <a:gd name="T67" fmla="*/ 5 h 90"/>
                  <a:gd name="T68" fmla="*/ 28 w 139"/>
                  <a:gd name="T69" fmla="*/ 14 h 90"/>
                  <a:gd name="T70" fmla="*/ 18 w 139"/>
                  <a:gd name="T71" fmla="*/ 7 h 90"/>
                  <a:gd name="T72" fmla="*/ 13 w 139"/>
                  <a:gd name="T73" fmla="*/ 9 h 90"/>
                  <a:gd name="T74" fmla="*/ 15 w 139"/>
                  <a:gd name="T75" fmla="*/ 15 h 90"/>
                  <a:gd name="T76" fmla="*/ 13 w 139"/>
                  <a:gd name="T77" fmla="*/ 18 h 90"/>
                  <a:gd name="T78" fmla="*/ 7 w 139"/>
                  <a:gd name="T79" fmla="*/ 17 h 90"/>
                  <a:gd name="T80" fmla="*/ 4 w 139"/>
                  <a:gd name="T81" fmla="*/ 22 h 90"/>
                  <a:gd name="T82" fmla="*/ 10 w 139"/>
                  <a:gd name="T83" fmla="*/ 30 h 90"/>
                  <a:gd name="T84" fmla="*/ 17 w 139"/>
                  <a:gd name="T85" fmla="*/ 25 h 90"/>
                  <a:gd name="T86" fmla="*/ 25 w 139"/>
                  <a:gd name="T87" fmla="*/ 25 h 90"/>
                  <a:gd name="T88" fmla="*/ 30 w 139"/>
                  <a:gd name="T89" fmla="*/ 25 h 90"/>
                  <a:gd name="T90" fmla="*/ 35 w 139"/>
                  <a:gd name="T91" fmla="*/ 30 h 90"/>
                  <a:gd name="T92" fmla="*/ 23 w 139"/>
                  <a:gd name="T93" fmla="*/ 35 h 90"/>
                  <a:gd name="T94" fmla="*/ 35 w 139"/>
                  <a:gd name="T95" fmla="*/ 36 h 90"/>
                  <a:gd name="T96" fmla="*/ 22 w 139"/>
                  <a:gd name="T97" fmla="*/ 40 h 90"/>
                  <a:gd name="T98" fmla="*/ 18 w 139"/>
                  <a:gd name="T99" fmla="*/ 40 h 90"/>
                  <a:gd name="T100" fmla="*/ 7 w 139"/>
                  <a:gd name="T101" fmla="*/ 40 h 90"/>
                  <a:gd name="T102" fmla="*/ 10 w 139"/>
                  <a:gd name="T103" fmla="*/ 48 h 90"/>
                  <a:gd name="T104" fmla="*/ 25 w 139"/>
                  <a:gd name="T105" fmla="*/ 49 h 90"/>
                  <a:gd name="T106" fmla="*/ 28 w 139"/>
                  <a:gd name="T107" fmla="*/ 56 h 90"/>
                  <a:gd name="T108" fmla="*/ 28 w 139"/>
                  <a:gd name="T109" fmla="*/ 61 h 90"/>
                  <a:gd name="T110" fmla="*/ 31 w 139"/>
                  <a:gd name="T111" fmla="*/ 61 h 90"/>
                  <a:gd name="T112" fmla="*/ 23 w 139"/>
                  <a:gd name="T113" fmla="*/ 66 h 90"/>
                  <a:gd name="T114" fmla="*/ 17 w 139"/>
                  <a:gd name="T115" fmla="*/ 66 h 90"/>
                  <a:gd name="T116" fmla="*/ 22 w 139"/>
                  <a:gd name="T117" fmla="*/ 76 h 90"/>
                  <a:gd name="T118" fmla="*/ 36 w 139"/>
                  <a:gd name="T119" fmla="*/ 7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9" h="90">
                    <a:moveTo>
                      <a:pt x="49" y="90"/>
                    </a:moveTo>
                    <a:lnTo>
                      <a:pt x="48" y="89"/>
                    </a:lnTo>
                    <a:lnTo>
                      <a:pt x="49" y="85"/>
                    </a:lnTo>
                    <a:lnTo>
                      <a:pt x="51" y="85"/>
                    </a:lnTo>
                    <a:lnTo>
                      <a:pt x="51" y="89"/>
                    </a:lnTo>
                    <a:lnTo>
                      <a:pt x="49" y="90"/>
                    </a:lnTo>
                    <a:lnTo>
                      <a:pt x="49" y="90"/>
                    </a:lnTo>
                    <a:close/>
                    <a:moveTo>
                      <a:pt x="41" y="76"/>
                    </a:moveTo>
                    <a:lnTo>
                      <a:pt x="44" y="76"/>
                    </a:lnTo>
                    <a:lnTo>
                      <a:pt x="44" y="79"/>
                    </a:lnTo>
                    <a:lnTo>
                      <a:pt x="48" y="82"/>
                    </a:lnTo>
                    <a:lnTo>
                      <a:pt x="51" y="84"/>
                    </a:lnTo>
                    <a:lnTo>
                      <a:pt x="53" y="80"/>
                    </a:lnTo>
                    <a:lnTo>
                      <a:pt x="56" y="82"/>
                    </a:lnTo>
                    <a:lnTo>
                      <a:pt x="61" y="87"/>
                    </a:lnTo>
                    <a:lnTo>
                      <a:pt x="67" y="85"/>
                    </a:lnTo>
                    <a:lnTo>
                      <a:pt x="71" y="87"/>
                    </a:lnTo>
                    <a:lnTo>
                      <a:pt x="74" y="85"/>
                    </a:lnTo>
                    <a:lnTo>
                      <a:pt x="74" y="82"/>
                    </a:lnTo>
                    <a:lnTo>
                      <a:pt x="75" y="80"/>
                    </a:lnTo>
                    <a:lnTo>
                      <a:pt x="75" y="82"/>
                    </a:lnTo>
                    <a:lnTo>
                      <a:pt x="79" y="84"/>
                    </a:lnTo>
                    <a:lnTo>
                      <a:pt x="82" y="80"/>
                    </a:lnTo>
                    <a:lnTo>
                      <a:pt x="82" y="76"/>
                    </a:lnTo>
                    <a:lnTo>
                      <a:pt x="87" y="76"/>
                    </a:lnTo>
                    <a:lnTo>
                      <a:pt x="85" y="77"/>
                    </a:lnTo>
                    <a:lnTo>
                      <a:pt x="87" y="79"/>
                    </a:lnTo>
                    <a:lnTo>
                      <a:pt x="88" y="77"/>
                    </a:lnTo>
                    <a:lnTo>
                      <a:pt x="90" y="77"/>
                    </a:lnTo>
                    <a:lnTo>
                      <a:pt x="93" y="74"/>
                    </a:lnTo>
                    <a:lnTo>
                      <a:pt x="95" y="74"/>
                    </a:lnTo>
                    <a:lnTo>
                      <a:pt x="95" y="74"/>
                    </a:lnTo>
                    <a:lnTo>
                      <a:pt x="98" y="74"/>
                    </a:lnTo>
                    <a:lnTo>
                      <a:pt x="98" y="76"/>
                    </a:lnTo>
                    <a:lnTo>
                      <a:pt x="100" y="74"/>
                    </a:lnTo>
                    <a:lnTo>
                      <a:pt x="106" y="69"/>
                    </a:lnTo>
                    <a:lnTo>
                      <a:pt x="108" y="64"/>
                    </a:lnTo>
                    <a:lnTo>
                      <a:pt x="116" y="63"/>
                    </a:lnTo>
                    <a:lnTo>
                      <a:pt x="118" y="61"/>
                    </a:lnTo>
                    <a:lnTo>
                      <a:pt x="118" y="59"/>
                    </a:lnTo>
                    <a:lnTo>
                      <a:pt x="118" y="58"/>
                    </a:lnTo>
                    <a:lnTo>
                      <a:pt x="120" y="58"/>
                    </a:lnTo>
                    <a:lnTo>
                      <a:pt x="120" y="61"/>
                    </a:lnTo>
                    <a:lnTo>
                      <a:pt x="124" y="61"/>
                    </a:lnTo>
                    <a:lnTo>
                      <a:pt x="126" y="59"/>
                    </a:lnTo>
                    <a:lnTo>
                      <a:pt x="126" y="58"/>
                    </a:lnTo>
                    <a:lnTo>
                      <a:pt x="126" y="56"/>
                    </a:lnTo>
                    <a:lnTo>
                      <a:pt x="126" y="54"/>
                    </a:lnTo>
                    <a:lnTo>
                      <a:pt x="128" y="53"/>
                    </a:lnTo>
                    <a:lnTo>
                      <a:pt x="126" y="49"/>
                    </a:lnTo>
                    <a:lnTo>
                      <a:pt x="128" y="48"/>
                    </a:lnTo>
                    <a:lnTo>
                      <a:pt x="131" y="49"/>
                    </a:lnTo>
                    <a:lnTo>
                      <a:pt x="131" y="53"/>
                    </a:lnTo>
                    <a:lnTo>
                      <a:pt x="133" y="51"/>
                    </a:lnTo>
                    <a:lnTo>
                      <a:pt x="136" y="48"/>
                    </a:lnTo>
                    <a:lnTo>
                      <a:pt x="134" y="46"/>
                    </a:lnTo>
                    <a:lnTo>
                      <a:pt x="131" y="43"/>
                    </a:lnTo>
                    <a:lnTo>
                      <a:pt x="131" y="40"/>
                    </a:lnTo>
                    <a:lnTo>
                      <a:pt x="133" y="38"/>
                    </a:lnTo>
                    <a:lnTo>
                      <a:pt x="133" y="35"/>
                    </a:lnTo>
                    <a:lnTo>
                      <a:pt x="136" y="33"/>
                    </a:lnTo>
                    <a:lnTo>
                      <a:pt x="137" y="33"/>
                    </a:lnTo>
                    <a:lnTo>
                      <a:pt x="139" y="31"/>
                    </a:lnTo>
                    <a:lnTo>
                      <a:pt x="137" y="28"/>
                    </a:lnTo>
                    <a:lnTo>
                      <a:pt x="131" y="28"/>
                    </a:lnTo>
                    <a:lnTo>
                      <a:pt x="129" y="30"/>
                    </a:lnTo>
                    <a:lnTo>
                      <a:pt x="131" y="27"/>
                    </a:lnTo>
                    <a:lnTo>
                      <a:pt x="129" y="25"/>
                    </a:lnTo>
                    <a:lnTo>
                      <a:pt x="126" y="23"/>
                    </a:lnTo>
                    <a:lnTo>
                      <a:pt x="126" y="25"/>
                    </a:lnTo>
                    <a:lnTo>
                      <a:pt x="124" y="22"/>
                    </a:lnTo>
                    <a:lnTo>
                      <a:pt x="126" y="18"/>
                    </a:lnTo>
                    <a:lnTo>
                      <a:pt x="129" y="18"/>
                    </a:lnTo>
                    <a:lnTo>
                      <a:pt x="128" y="14"/>
                    </a:lnTo>
                    <a:lnTo>
                      <a:pt x="126" y="14"/>
                    </a:lnTo>
                    <a:lnTo>
                      <a:pt x="124" y="15"/>
                    </a:lnTo>
                    <a:lnTo>
                      <a:pt x="123" y="14"/>
                    </a:lnTo>
                    <a:lnTo>
                      <a:pt x="121" y="10"/>
                    </a:lnTo>
                    <a:lnTo>
                      <a:pt x="124" y="9"/>
                    </a:lnTo>
                    <a:lnTo>
                      <a:pt x="124" y="7"/>
                    </a:lnTo>
                    <a:lnTo>
                      <a:pt x="126" y="5"/>
                    </a:lnTo>
                    <a:lnTo>
                      <a:pt x="128" y="5"/>
                    </a:lnTo>
                    <a:lnTo>
                      <a:pt x="124" y="4"/>
                    </a:lnTo>
                    <a:lnTo>
                      <a:pt x="123" y="4"/>
                    </a:lnTo>
                    <a:lnTo>
                      <a:pt x="118" y="9"/>
                    </a:lnTo>
                    <a:lnTo>
                      <a:pt x="116" y="12"/>
                    </a:lnTo>
                    <a:lnTo>
                      <a:pt x="115" y="12"/>
                    </a:lnTo>
                    <a:lnTo>
                      <a:pt x="113" y="9"/>
                    </a:lnTo>
                    <a:lnTo>
                      <a:pt x="115" y="7"/>
                    </a:lnTo>
                    <a:lnTo>
                      <a:pt x="113" y="5"/>
                    </a:lnTo>
                    <a:lnTo>
                      <a:pt x="111" y="2"/>
                    </a:lnTo>
                    <a:lnTo>
                      <a:pt x="110" y="2"/>
                    </a:lnTo>
                    <a:lnTo>
                      <a:pt x="106" y="4"/>
                    </a:lnTo>
                    <a:lnTo>
                      <a:pt x="105" y="2"/>
                    </a:lnTo>
                    <a:lnTo>
                      <a:pt x="103" y="5"/>
                    </a:lnTo>
                    <a:lnTo>
                      <a:pt x="105" y="9"/>
                    </a:lnTo>
                    <a:lnTo>
                      <a:pt x="103" y="10"/>
                    </a:lnTo>
                    <a:lnTo>
                      <a:pt x="100" y="10"/>
                    </a:lnTo>
                    <a:lnTo>
                      <a:pt x="97" y="12"/>
                    </a:lnTo>
                    <a:lnTo>
                      <a:pt x="97" y="9"/>
                    </a:lnTo>
                    <a:lnTo>
                      <a:pt x="95" y="9"/>
                    </a:lnTo>
                    <a:lnTo>
                      <a:pt x="93" y="10"/>
                    </a:lnTo>
                    <a:lnTo>
                      <a:pt x="92" y="15"/>
                    </a:lnTo>
                    <a:lnTo>
                      <a:pt x="88" y="15"/>
                    </a:lnTo>
                    <a:lnTo>
                      <a:pt x="85" y="10"/>
                    </a:lnTo>
                    <a:lnTo>
                      <a:pt x="84" y="10"/>
                    </a:lnTo>
                    <a:lnTo>
                      <a:pt x="82" y="9"/>
                    </a:lnTo>
                    <a:lnTo>
                      <a:pt x="80" y="10"/>
                    </a:lnTo>
                    <a:lnTo>
                      <a:pt x="79" y="15"/>
                    </a:lnTo>
                    <a:lnTo>
                      <a:pt x="82" y="20"/>
                    </a:lnTo>
                    <a:lnTo>
                      <a:pt x="79" y="28"/>
                    </a:lnTo>
                    <a:lnTo>
                      <a:pt x="80" y="22"/>
                    </a:lnTo>
                    <a:lnTo>
                      <a:pt x="77" y="17"/>
                    </a:lnTo>
                    <a:lnTo>
                      <a:pt x="77" y="15"/>
                    </a:lnTo>
                    <a:lnTo>
                      <a:pt x="75" y="14"/>
                    </a:lnTo>
                    <a:lnTo>
                      <a:pt x="75" y="10"/>
                    </a:lnTo>
                    <a:lnTo>
                      <a:pt x="72" y="9"/>
                    </a:lnTo>
                    <a:lnTo>
                      <a:pt x="67" y="12"/>
                    </a:lnTo>
                    <a:lnTo>
                      <a:pt x="66" y="15"/>
                    </a:lnTo>
                    <a:lnTo>
                      <a:pt x="67" y="18"/>
                    </a:lnTo>
                    <a:lnTo>
                      <a:pt x="64" y="23"/>
                    </a:lnTo>
                    <a:lnTo>
                      <a:pt x="62" y="23"/>
                    </a:lnTo>
                    <a:lnTo>
                      <a:pt x="61" y="18"/>
                    </a:lnTo>
                    <a:lnTo>
                      <a:pt x="59" y="17"/>
                    </a:lnTo>
                    <a:lnTo>
                      <a:pt x="59" y="10"/>
                    </a:lnTo>
                    <a:lnTo>
                      <a:pt x="56" y="9"/>
                    </a:lnTo>
                    <a:lnTo>
                      <a:pt x="53" y="12"/>
                    </a:lnTo>
                    <a:lnTo>
                      <a:pt x="53" y="18"/>
                    </a:lnTo>
                    <a:lnTo>
                      <a:pt x="54" y="22"/>
                    </a:lnTo>
                    <a:lnTo>
                      <a:pt x="54" y="27"/>
                    </a:lnTo>
                    <a:lnTo>
                      <a:pt x="53" y="30"/>
                    </a:lnTo>
                    <a:lnTo>
                      <a:pt x="49" y="30"/>
                    </a:lnTo>
                    <a:lnTo>
                      <a:pt x="49" y="25"/>
                    </a:lnTo>
                    <a:lnTo>
                      <a:pt x="46" y="27"/>
                    </a:lnTo>
                    <a:lnTo>
                      <a:pt x="46" y="31"/>
                    </a:lnTo>
                    <a:lnTo>
                      <a:pt x="43" y="31"/>
                    </a:lnTo>
                    <a:lnTo>
                      <a:pt x="43" y="38"/>
                    </a:lnTo>
                    <a:lnTo>
                      <a:pt x="41" y="31"/>
                    </a:lnTo>
                    <a:lnTo>
                      <a:pt x="39" y="31"/>
                    </a:lnTo>
                    <a:lnTo>
                      <a:pt x="39" y="30"/>
                    </a:lnTo>
                    <a:lnTo>
                      <a:pt x="41" y="27"/>
                    </a:lnTo>
                    <a:lnTo>
                      <a:pt x="41" y="23"/>
                    </a:lnTo>
                    <a:lnTo>
                      <a:pt x="38" y="23"/>
                    </a:lnTo>
                    <a:lnTo>
                      <a:pt x="39" y="22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3" y="17"/>
                    </a:lnTo>
                    <a:lnTo>
                      <a:pt x="41" y="15"/>
                    </a:lnTo>
                    <a:lnTo>
                      <a:pt x="39" y="14"/>
                    </a:lnTo>
                    <a:lnTo>
                      <a:pt x="41" y="12"/>
                    </a:lnTo>
                    <a:lnTo>
                      <a:pt x="39" y="9"/>
                    </a:lnTo>
                    <a:lnTo>
                      <a:pt x="38" y="10"/>
                    </a:lnTo>
                    <a:lnTo>
                      <a:pt x="36" y="9"/>
                    </a:lnTo>
                    <a:lnTo>
                      <a:pt x="31" y="5"/>
                    </a:lnTo>
                    <a:lnTo>
                      <a:pt x="31" y="4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28" y="5"/>
                    </a:lnTo>
                    <a:lnTo>
                      <a:pt x="25" y="5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26" y="9"/>
                    </a:lnTo>
                    <a:lnTo>
                      <a:pt x="30" y="12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28" y="14"/>
                    </a:lnTo>
                    <a:lnTo>
                      <a:pt x="25" y="10"/>
                    </a:lnTo>
                    <a:lnTo>
                      <a:pt x="23" y="12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3" y="7"/>
                    </a:lnTo>
                    <a:lnTo>
                      <a:pt x="17" y="10"/>
                    </a:lnTo>
                    <a:lnTo>
                      <a:pt x="15" y="12"/>
                    </a:lnTo>
                    <a:lnTo>
                      <a:pt x="13" y="9"/>
                    </a:lnTo>
                    <a:lnTo>
                      <a:pt x="10" y="9"/>
                    </a:lnTo>
                    <a:lnTo>
                      <a:pt x="10" y="10"/>
                    </a:lnTo>
                    <a:lnTo>
                      <a:pt x="12" y="12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2" y="14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2" y="20"/>
                    </a:lnTo>
                    <a:lnTo>
                      <a:pt x="13" y="22"/>
                    </a:lnTo>
                    <a:lnTo>
                      <a:pt x="12" y="22"/>
                    </a:lnTo>
                    <a:lnTo>
                      <a:pt x="7" y="18"/>
                    </a:lnTo>
                    <a:lnTo>
                      <a:pt x="7" y="17"/>
                    </a:lnTo>
                    <a:lnTo>
                      <a:pt x="5" y="18"/>
                    </a:lnTo>
                    <a:lnTo>
                      <a:pt x="7" y="23"/>
                    </a:lnTo>
                    <a:lnTo>
                      <a:pt x="8" y="25"/>
                    </a:lnTo>
                    <a:lnTo>
                      <a:pt x="7" y="25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5" y="28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5" y="25"/>
                    </a:lnTo>
                    <a:lnTo>
                      <a:pt x="17" y="22"/>
                    </a:lnTo>
                    <a:lnTo>
                      <a:pt x="17" y="23"/>
                    </a:lnTo>
                    <a:lnTo>
                      <a:pt x="17" y="25"/>
                    </a:lnTo>
                    <a:lnTo>
                      <a:pt x="18" y="25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3" y="27"/>
                    </a:lnTo>
                    <a:lnTo>
                      <a:pt x="25" y="25"/>
                    </a:lnTo>
                    <a:lnTo>
                      <a:pt x="26" y="23"/>
                    </a:lnTo>
                    <a:lnTo>
                      <a:pt x="26" y="27"/>
                    </a:lnTo>
                    <a:lnTo>
                      <a:pt x="28" y="27"/>
                    </a:lnTo>
                    <a:lnTo>
                      <a:pt x="31" y="23"/>
                    </a:lnTo>
                    <a:lnTo>
                      <a:pt x="30" y="25"/>
                    </a:lnTo>
                    <a:lnTo>
                      <a:pt x="30" y="28"/>
                    </a:lnTo>
                    <a:lnTo>
                      <a:pt x="31" y="30"/>
                    </a:lnTo>
                    <a:lnTo>
                      <a:pt x="33" y="28"/>
                    </a:lnTo>
                    <a:lnTo>
                      <a:pt x="36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0" y="31"/>
                    </a:lnTo>
                    <a:lnTo>
                      <a:pt x="28" y="31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8" y="36"/>
                    </a:lnTo>
                    <a:lnTo>
                      <a:pt x="31" y="36"/>
                    </a:lnTo>
                    <a:lnTo>
                      <a:pt x="33" y="35"/>
                    </a:lnTo>
                    <a:lnTo>
                      <a:pt x="35" y="33"/>
                    </a:lnTo>
                    <a:lnTo>
                      <a:pt x="35" y="36"/>
                    </a:lnTo>
                    <a:lnTo>
                      <a:pt x="33" y="38"/>
                    </a:lnTo>
                    <a:lnTo>
                      <a:pt x="26" y="40"/>
                    </a:lnTo>
                    <a:lnTo>
                      <a:pt x="25" y="38"/>
                    </a:lnTo>
                    <a:lnTo>
                      <a:pt x="23" y="41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7" y="41"/>
                    </a:lnTo>
                    <a:lnTo>
                      <a:pt x="15" y="40"/>
                    </a:lnTo>
                    <a:lnTo>
                      <a:pt x="12" y="40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4" y="41"/>
                    </a:lnTo>
                    <a:lnTo>
                      <a:pt x="2" y="41"/>
                    </a:lnTo>
                    <a:lnTo>
                      <a:pt x="5" y="45"/>
                    </a:lnTo>
                    <a:lnTo>
                      <a:pt x="5" y="46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5" y="48"/>
                    </a:lnTo>
                    <a:lnTo>
                      <a:pt x="22" y="48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5" y="54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1" y="53"/>
                    </a:lnTo>
                    <a:lnTo>
                      <a:pt x="31" y="54"/>
                    </a:lnTo>
                    <a:lnTo>
                      <a:pt x="28" y="58"/>
                    </a:lnTo>
                    <a:lnTo>
                      <a:pt x="26" y="59"/>
                    </a:lnTo>
                    <a:lnTo>
                      <a:pt x="28" y="61"/>
                    </a:lnTo>
                    <a:lnTo>
                      <a:pt x="33" y="58"/>
                    </a:lnTo>
                    <a:lnTo>
                      <a:pt x="36" y="59"/>
                    </a:lnTo>
                    <a:lnTo>
                      <a:pt x="38" y="61"/>
                    </a:lnTo>
                    <a:lnTo>
                      <a:pt x="35" y="59"/>
                    </a:lnTo>
                    <a:lnTo>
                      <a:pt x="31" y="61"/>
                    </a:lnTo>
                    <a:lnTo>
                      <a:pt x="30" y="63"/>
                    </a:lnTo>
                    <a:lnTo>
                      <a:pt x="26" y="63"/>
                    </a:lnTo>
                    <a:lnTo>
                      <a:pt x="26" y="64"/>
                    </a:lnTo>
                    <a:lnTo>
                      <a:pt x="25" y="67"/>
                    </a:lnTo>
                    <a:lnTo>
                      <a:pt x="23" y="66"/>
                    </a:lnTo>
                    <a:lnTo>
                      <a:pt x="22" y="67"/>
                    </a:lnTo>
                    <a:lnTo>
                      <a:pt x="20" y="66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7" y="66"/>
                    </a:lnTo>
                    <a:lnTo>
                      <a:pt x="17" y="69"/>
                    </a:lnTo>
                    <a:lnTo>
                      <a:pt x="18" y="69"/>
                    </a:lnTo>
                    <a:lnTo>
                      <a:pt x="18" y="71"/>
                    </a:lnTo>
                    <a:lnTo>
                      <a:pt x="17" y="76"/>
                    </a:lnTo>
                    <a:lnTo>
                      <a:pt x="22" y="76"/>
                    </a:lnTo>
                    <a:lnTo>
                      <a:pt x="22" y="74"/>
                    </a:lnTo>
                    <a:lnTo>
                      <a:pt x="25" y="76"/>
                    </a:lnTo>
                    <a:lnTo>
                      <a:pt x="30" y="77"/>
                    </a:lnTo>
                    <a:lnTo>
                      <a:pt x="33" y="74"/>
                    </a:lnTo>
                    <a:lnTo>
                      <a:pt x="36" y="76"/>
                    </a:lnTo>
                    <a:lnTo>
                      <a:pt x="39" y="74"/>
                    </a:lnTo>
                    <a:lnTo>
                      <a:pt x="39" y="76"/>
                    </a:lnTo>
                    <a:lnTo>
                      <a:pt x="41" y="7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6" name="Freeform 310">
                <a:extLst>
                  <a:ext uri="{FF2B5EF4-FFF2-40B4-BE49-F238E27FC236}">
                    <a16:creationId xmlns:a16="http://schemas.microsoft.com/office/drawing/2014/main" xmlns="" id="{B2366386-4F69-4D37-B586-8D08C50609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2" y="2060"/>
                <a:ext cx="33" cy="22"/>
              </a:xfrm>
              <a:custGeom>
                <a:avLst/>
                <a:gdLst>
                  <a:gd name="T0" fmla="*/ 31 w 33"/>
                  <a:gd name="T1" fmla="*/ 17 h 22"/>
                  <a:gd name="T2" fmla="*/ 29 w 33"/>
                  <a:gd name="T3" fmla="*/ 20 h 22"/>
                  <a:gd name="T4" fmla="*/ 29 w 33"/>
                  <a:gd name="T5" fmla="*/ 22 h 22"/>
                  <a:gd name="T6" fmla="*/ 33 w 33"/>
                  <a:gd name="T7" fmla="*/ 18 h 22"/>
                  <a:gd name="T8" fmla="*/ 33 w 33"/>
                  <a:gd name="T9" fmla="*/ 17 h 22"/>
                  <a:gd name="T10" fmla="*/ 31 w 33"/>
                  <a:gd name="T11" fmla="*/ 17 h 22"/>
                  <a:gd name="T12" fmla="*/ 31 w 33"/>
                  <a:gd name="T13" fmla="*/ 17 h 22"/>
                  <a:gd name="T14" fmla="*/ 18 w 33"/>
                  <a:gd name="T15" fmla="*/ 13 h 22"/>
                  <a:gd name="T16" fmla="*/ 20 w 33"/>
                  <a:gd name="T17" fmla="*/ 12 h 22"/>
                  <a:gd name="T18" fmla="*/ 23 w 33"/>
                  <a:gd name="T19" fmla="*/ 13 h 22"/>
                  <a:gd name="T20" fmla="*/ 20 w 33"/>
                  <a:gd name="T21" fmla="*/ 17 h 22"/>
                  <a:gd name="T22" fmla="*/ 18 w 33"/>
                  <a:gd name="T23" fmla="*/ 13 h 22"/>
                  <a:gd name="T24" fmla="*/ 18 w 33"/>
                  <a:gd name="T25" fmla="*/ 13 h 22"/>
                  <a:gd name="T26" fmla="*/ 13 w 33"/>
                  <a:gd name="T27" fmla="*/ 5 h 22"/>
                  <a:gd name="T28" fmla="*/ 11 w 33"/>
                  <a:gd name="T29" fmla="*/ 9 h 22"/>
                  <a:gd name="T30" fmla="*/ 15 w 33"/>
                  <a:gd name="T31" fmla="*/ 9 h 22"/>
                  <a:gd name="T32" fmla="*/ 13 w 33"/>
                  <a:gd name="T33" fmla="*/ 5 h 22"/>
                  <a:gd name="T34" fmla="*/ 13 w 33"/>
                  <a:gd name="T35" fmla="*/ 5 h 22"/>
                  <a:gd name="T36" fmla="*/ 2 w 33"/>
                  <a:gd name="T37" fmla="*/ 10 h 22"/>
                  <a:gd name="T38" fmla="*/ 3 w 33"/>
                  <a:gd name="T39" fmla="*/ 10 h 22"/>
                  <a:gd name="T40" fmla="*/ 3 w 33"/>
                  <a:gd name="T41" fmla="*/ 13 h 22"/>
                  <a:gd name="T42" fmla="*/ 0 w 33"/>
                  <a:gd name="T43" fmla="*/ 13 h 22"/>
                  <a:gd name="T44" fmla="*/ 0 w 33"/>
                  <a:gd name="T45" fmla="*/ 10 h 22"/>
                  <a:gd name="T46" fmla="*/ 2 w 33"/>
                  <a:gd name="T47" fmla="*/ 10 h 22"/>
                  <a:gd name="T48" fmla="*/ 2 w 33"/>
                  <a:gd name="T49" fmla="*/ 10 h 22"/>
                  <a:gd name="T50" fmla="*/ 2 w 33"/>
                  <a:gd name="T51" fmla="*/ 5 h 22"/>
                  <a:gd name="T52" fmla="*/ 5 w 33"/>
                  <a:gd name="T53" fmla="*/ 5 h 22"/>
                  <a:gd name="T54" fmla="*/ 5 w 33"/>
                  <a:gd name="T55" fmla="*/ 9 h 22"/>
                  <a:gd name="T56" fmla="*/ 8 w 33"/>
                  <a:gd name="T57" fmla="*/ 13 h 22"/>
                  <a:gd name="T58" fmla="*/ 5 w 33"/>
                  <a:gd name="T59" fmla="*/ 15 h 22"/>
                  <a:gd name="T60" fmla="*/ 3 w 33"/>
                  <a:gd name="T61" fmla="*/ 20 h 22"/>
                  <a:gd name="T62" fmla="*/ 5 w 33"/>
                  <a:gd name="T63" fmla="*/ 22 h 22"/>
                  <a:gd name="T64" fmla="*/ 10 w 33"/>
                  <a:gd name="T65" fmla="*/ 20 h 22"/>
                  <a:gd name="T66" fmla="*/ 11 w 33"/>
                  <a:gd name="T67" fmla="*/ 17 h 22"/>
                  <a:gd name="T68" fmla="*/ 10 w 33"/>
                  <a:gd name="T69" fmla="*/ 12 h 22"/>
                  <a:gd name="T70" fmla="*/ 10 w 33"/>
                  <a:gd name="T71" fmla="*/ 10 h 22"/>
                  <a:gd name="T72" fmla="*/ 6 w 33"/>
                  <a:gd name="T73" fmla="*/ 7 h 22"/>
                  <a:gd name="T74" fmla="*/ 6 w 33"/>
                  <a:gd name="T75" fmla="*/ 4 h 22"/>
                  <a:gd name="T76" fmla="*/ 5 w 33"/>
                  <a:gd name="T77" fmla="*/ 0 h 22"/>
                  <a:gd name="T78" fmla="*/ 2 w 33"/>
                  <a:gd name="T79" fmla="*/ 2 h 22"/>
                  <a:gd name="T80" fmla="*/ 2 w 33"/>
                  <a:gd name="T81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3" h="22">
                    <a:moveTo>
                      <a:pt x="31" y="17"/>
                    </a:moveTo>
                    <a:lnTo>
                      <a:pt x="29" y="20"/>
                    </a:lnTo>
                    <a:lnTo>
                      <a:pt x="29" y="22"/>
                    </a:lnTo>
                    <a:lnTo>
                      <a:pt x="33" y="18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31" y="17"/>
                    </a:lnTo>
                    <a:close/>
                    <a:moveTo>
                      <a:pt x="18" y="13"/>
                    </a:moveTo>
                    <a:lnTo>
                      <a:pt x="20" y="12"/>
                    </a:lnTo>
                    <a:lnTo>
                      <a:pt x="23" y="13"/>
                    </a:lnTo>
                    <a:lnTo>
                      <a:pt x="20" y="17"/>
                    </a:lnTo>
                    <a:lnTo>
                      <a:pt x="18" y="13"/>
                    </a:lnTo>
                    <a:lnTo>
                      <a:pt x="18" y="13"/>
                    </a:lnTo>
                    <a:close/>
                    <a:moveTo>
                      <a:pt x="13" y="5"/>
                    </a:moveTo>
                    <a:lnTo>
                      <a:pt x="11" y="9"/>
                    </a:lnTo>
                    <a:lnTo>
                      <a:pt x="15" y="9"/>
                    </a:lnTo>
                    <a:lnTo>
                      <a:pt x="13" y="5"/>
                    </a:lnTo>
                    <a:lnTo>
                      <a:pt x="13" y="5"/>
                    </a:lnTo>
                    <a:close/>
                    <a:moveTo>
                      <a:pt x="2" y="10"/>
                    </a:moveTo>
                    <a:lnTo>
                      <a:pt x="3" y="10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  <a:moveTo>
                      <a:pt x="2" y="5"/>
                    </a:moveTo>
                    <a:lnTo>
                      <a:pt x="5" y="5"/>
                    </a:lnTo>
                    <a:lnTo>
                      <a:pt x="5" y="9"/>
                    </a:lnTo>
                    <a:lnTo>
                      <a:pt x="8" y="13"/>
                    </a:lnTo>
                    <a:lnTo>
                      <a:pt x="5" y="15"/>
                    </a:lnTo>
                    <a:lnTo>
                      <a:pt x="3" y="20"/>
                    </a:lnTo>
                    <a:lnTo>
                      <a:pt x="5" y="22"/>
                    </a:lnTo>
                    <a:lnTo>
                      <a:pt x="10" y="20"/>
                    </a:lnTo>
                    <a:lnTo>
                      <a:pt x="11" y="17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6" y="7"/>
                    </a:lnTo>
                    <a:lnTo>
                      <a:pt x="6" y="4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7" name="Freeform 311">
                <a:extLst>
                  <a:ext uri="{FF2B5EF4-FFF2-40B4-BE49-F238E27FC236}">
                    <a16:creationId xmlns:a16="http://schemas.microsoft.com/office/drawing/2014/main" xmlns="" id="{11E9D430-76B7-4138-85BC-FC8D80D73F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1" y="1755"/>
                <a:ext cx="49" cy="21"/>
              </a:xfrm>
              <a:custGeom>
                <a:avLst/>
                <a:gdLst>
                  <a:gd name="T0" fmla="*/ 45 w 49"/>
                  <a:gd name="T1" fmla="*/ 16 h 21"/>
                  <a:gd name="T2" fmla="*/ 49 w 49"/>
                  <a:gd name="T3" fmla="*/ 19 h 21"/>
                  <a:gd name="T4" fmla="*/ 46 w 49"/>
                  <a:gd name="T5" fmla="*/ 21 h 21"/>
                  <a:gd name="T6" fmla="*/ 45 w 49"/>
                  <a:gd name="T7" fmla="*/ 19 h 21"/>
                  <a:gd name="T8" fmla="*/ 45 w 49"/>
                  <a:gd name="T9" fmla="*/ 16 h 21"/>
                  <a:gd name="T10" fmla="*/ 45 w 49"/>
                  <a:gd name="T11" fmla="*/ 16 h 21"/>
                  <a:gd name="T12" fmla="*/ 48 w 49"/>
                  <a:gd name="T13" fmla="*/ 6 h 21"/>
                  <a:gd name="T14" fmla="*/ 45 w 49"/>
                  <a:gd name="T15" fmla="*/ 10 h 21"/>
                  <a:gd name="T16" fmla="*/ 48 w 49"/>
                  <a:gd name="T17" fmla="*/ 13 h 21"/>
                  <a:gd name="T18" fmla="*/ 49 w 49"/>
                  <a:gd name="T19" fmla="*/ 10 h 21"/>
                  <a:gd name="T20" fmla="*/ 48 w 49"/>
                  <a:gd name="T21" fmla="*/ 6 h 21"/>
                  <a:gd name="T22" fmla="*/ 48 w 49"/>
                  <a:gd name="T23" fmla="*/ 6 h 21"/>
                  <a:gd name="T24" fmla="*/ 31 w 49"/>
                  <a:gd name="T25" fmla="*/ 11 h 21"/>
                  <a:gd name="T26" fmla="*/ 30 w 49"/>
                  <a:gd name="T27" fmla="*/ 13 h 21"/>
                  <a:gd name="T28" fmla="*/ 31 w 49"/>
                  <a:gd name="T29" fmla="*/ 16 h 21"/>
                  <a:gd name="T30" fmla="*/ 35 w 49"/>
                  <a:gd name="T31" fmla="*/ 16 h 21"/>
                  <a:gd name="T32" fmla="*/ 31 w 49"/>
                  <a:gd name="T33" fmla="*/ 11 h 21"/>
                  <a:gd name="T34" fmla="*/ 31 w 49"/>
                  <a:gd name="T35" fmla="*/ 11 h 21"/>
                  <a:gd name="T36" fmla="*/ 25 w 49"/>
                  <a:gd name="T37" fmla="*/ 1 h 21"/>
                  <a:gd name="T38" fmla="*/ 27 w 49"/>
                  <a:gd name="T39" fmla="*/ 0 h 21"/>
                  <a:gd name="T40" fmla="*/ 31 w 49"/>
                  <a:gd name="T41" fmla="*/ 0 h 21"/>
                  <a:gd name="T42" fmla="*/ 28 w 49"/>
                  <a:gd name="T43" fmla="*/ 1 h 21"/>
                  <a:gd name="T44" fmla="*/ 28 w 49"/>
                  <a:gd name="T45" fmla="*/ 6 h 21"/>
                  <a:gd name="T46" fmla="*/ 25 w 49"/>
                  <a:gd name="T47" fmla="*/ 3 h 21"/>
                  <a:gd name="T48" fmla="*/ 25 w 49"/>
                  <a:gd name="T49" fmla="*/ 1 h 21"/>
                  <a:gd name="T50" fmla="*/ 25 w 49"/>
                  <a:gd name="T51" fmla="*/ 1 h 21"/>
                  <a:gd name="T52" fmla="*/ 4 w 49"/>
                  <a:gd name="T53" fmla="*/ 6 h 21"/>
                  <a:gd name="T54" fmla="*/ 5 w 49"/>
                  <a:gd name="T55" fmla="*/ 8 h 21"/>
                  <a:gd name="T56" fmla="*/ 0 w 49"/>
                  <a:gd name="T57" fmla="*/ 8 h 21"/>
                  <a:gd name="T58" fmla="*/ 4 w 49"/>
                  <a:gd name="T5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9" h="21">
                    <a:moveTo>
                      <a:pt x="45" y="16"/>
                    </a:moveTo>
                    <a:lnTo>
                      <a:pt x="49" y="19"/>
                    </a:lnTo>
                    <a:lnTo>
                      <a:pt x="46" y="21"/>
                    </a:lnTo>
                    <a:lnTo>
                      <a:pt x="45" y="19"/>
                    </a:lnTo>
                    <a:lnTo>
                      <a:pt x="45" y="16"/>
                    </a:lnTo>
                    <a:lnTo>
                      <a:pt x="45" y="16"/>
                    </a:lnTo>
                    <a:close/>
                    <a:moveTo>
                      <a:pt x="48" y="6"/>
                    </a:moveTo>
                    <a:lnTo>
                      <a:pt x="45" y="10"/>
                    </a:lnTo>
                    <a:lnTo>
                      <a:pt x="48" y="13"/>
                    </a:lnTo>
                    <a:lnTo>
                      <a:pt x="49" y="10"/>
                    </a:lnTo>
                    <a:lnTo>
                      <a:pt x="48" y="6"/>
                    </a:lnTo>
                    <a:lnTo>
                      <a:pt x="48" y="6"/>
                    </a:lnTo>
                    <a:close/>
                    <a:moveTo>
                      <a:pt x="31" y="11"/>
                    </a:moveTo>
                    <a:lnTo>
                      <a:pt x="30" y="13"/>
                    </a:lnTo>
                    <a:lnTo>
                      <a:pt x="31" y="16"/>
                    </a:lnTo>
                    <a:lnTo>
                      <a:pt x="35" y="16"/>
                    </a:lnTo>
                    <a:lnTo>
                      <a:pt x="31" y="11"/>
                    </a:lnTo>
                    <a:lnTo>
                      <a:pt x="31" y="11"/>
                    </a:lnTo>
                    <a:close/>
                    <a:moveTo>
                      <a:pt x="25" y="1"/>
                    </a:moveTo>
                    <a:lnTo>
                      <a:pt x="27" y="0"/>
                    </a:lnTo>
                    <a:lnTo>
                      <a:pt x="31" y="0"/>
                    </a:lnTo>
                    <a:lnTo>
                      <a:pt x="28" y="1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5" y="1"/>
                    </a:lnTo>
                    <a:lnTo>
                      <a:pt x="25" y="1"/>
                    </a:lnTo>
                    <a:close/>
                    <a:moveTo>
                      <a:pt x="4" y="6"/>
                    </a:moveTo>
                    <a:lnTo>
                      <a:pt x="5" y="8"/>
                    </a:lnTo>
                    <a:lnTo>
                      <a:pt x="0" y="8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8" name="Freeform 312">
                <a:extLst>
                  <a:ext uri="{FF2B5EF4-FFF2-40B4-BE49-F238E27FC236}">
                    <a16:creationId xmlns:a16="http://schemas.microsoft.com/office/drawing/2014/main" xmlns="" id="{C7B326CA-0F5A-4233-95B6-17A995FC29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14" y="1750"/>
                <a:ext cx="34" cy="11"/>
              </a:xfrm>
              <a:custGeom>
                <a:avLst/>
                <a:gdLst>
                  <a:gd name="T0" fmla="*/ 28 w 34"/>
                  <a:gd name="T1" fmla="*/ 10 h 11"/>
                  <a:gd name="T2" fmla="*/ 29 w 34"/>
                  <a:gd name="T3" fmla="*/ 8 h 11"/>
                  <a:gd name="T4" fmla="*/ 34 w 34"/>
                  <a:gd name="T5" fmla="*/ 8 h 11"/>
                  <a:gd name="T6" fmla="*/ 33 w 34"/>
                  <a:gd name="T7" fmla="*/ 10 h 11"/>
                  <a:gd name="T8" fmla="*/ 28 w 34"/>
                  <a:gd name="T9" fmla="*/ 10 h 11"/>
                  <a:gd name="T10" fmla="*/ 28 w 34"/>
                  <a:gd name="T11" fmla="*/ 10 h 11"/>
                  <a:gd name="T12" fmla="*/ 24 w 34"/>
                  <a:gd name="T13" fmla="*/ 2 h 11"/>
                  <a:gd name="T14" fmla="*/ 21 w 34"/>
                  <a:gd name="T15" fmla="*/ 0 h 11"/>
                  <a:gd name="T16" fmla="*/ 15 w 34"/>
                  <a:gd name="T17" fmla="*/ 2 h 11"/>
                  <a:gd name="T18" fmla="*/ 3 w 34"/>
                  <a:gd name="T19" fmla="*/ 0 h 11"/>
                  <a:gd name="T20" fmla="*/ 3 w 34"/>
                  <a:gd name="T21" fmla="*/ 3 h 11"/>
                  <a:gd name="T22" fmla="*/ 0 w 34"/>
                  <a:gd name="T23" fmla="*/ 5 h 11"/>
                  <a:gd name="T24" fmla="*/ 0 w 34"/>
                  <a:gd name="T25" fmla="*/ 6 h 11"/>
                  <a:gd name="T26" fmla="*/ 0 w 34"/>
                  <a:gd name="T27" fmla="*/ 8 h 11"/>
                  <a:gd name="T28" fmla="*/ 2 w 34"/>
                  <a:gd name="T29" fmla="*/ 11 h 11"/>
                  <a:gd name="T30" fmla="*/ 8 w 34"/>
                  <a:gd name="T31" fmla="*/ 11 h 11"/>
                  <a:gd name="T32" fmla="*/ 11 w 34"/>
                  <a:gd name="T33" fmla="*/ 11 h 11"/>
                  <a:gd name="T34" fmla="*/ 16 w 34"/>
                  <a:gd name="T35" fmla="*/ 10 h 11"/>
                  <a:gd name="T36" fmla="*/ 18 w 34"/>
                  <a:gd name="T37" fmla="*/ 11 h 11"/>
                  <a:gd name="T38" fmla="*/ 23 w 34"/>
                  <a:gd name="T39" fmla="*/ 10 h 11"/>
                  <a:gd name="T40" fmla="*/ 28 w 34"/>
                  <a:gd name="T41" fmla="*/ 5 h 11"/>
                  <a:gd name="T42" fmla="*/ 24 w 34"/>
                  <a:gd name="T43" fmla="*/ 3 h 11"/>
                  <a:gd name="T44" fmla="*/ 24 w 34"/>
                  <a:gd name="T4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11">
                    <a:moveTo>
                      <a:pt x="28" y="10"/>
                    </a:moveTo>
                    <a:lnTo>
                      <a:pt x="29" y="8"/>
                    </a:lnTo>
                    <a:lnTo>
                      <a:pt x="34" y="8"/>
                    </a:lnTo>
                    <a:lnTo>
                      <a:pt x="33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  <a:moveTo>
                      <a:pt x="24" y="2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6" y="10"/>
                    </a:lnTo>
                    <a:lnTo>
                      <a:pt x="18" y="11"/>
                    </a:lnTo>
                    <a:lnTo>
                      <a:pt x="23" y="10"/>
                    </a:lnTo>
                    <a:lnTo>
                      <a:pt x="28" y="5"/>
                    </a:lnTo>
                    <a:lnTo>
                      <a:pt x="24" y="3"/>
                    </a:lnTo>
                    <a:lnTo>
                      <a:pt x="24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9" name="Freeform 313">
                <a:extLst>
                  <a:ext uri="{FF2B5EF4-FFF2-40B4-BE49-F238E27FC236}">
                    <a16:creationId xmlns:a16="http://schemas.microsoft.com/office/drawing/2014/main" xmlns="" id="{7C6841B9-20BD-471A-A4C6-5F4E2B61E3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39" y="1725"/>
                <a:ext cx="60" cy="43"/>
              </a:xfrm>
              <a:custGeom>
                <a:avLst/>
                <a:gdLst>
                  <a:gd name="T0" fmla="*/ 55 w 60"/>
                  <a:gd name="T1" fmla="*/ 31 h 43"/>
                  <a:gd name="T2" fmla="*/ 57 w 60"/>
                  <a:gd name="T3" fmla="*/ 33 h 43"/>
                  <a:gd name="T4" fmla="*/ 54 w 60"/>
                  <a:gd name="T5" fmla="*/ 30 h 43"/>
                  <a:gd name="T6" fmla="*/ 54 w 60"/>
                  <a:gd name="T7" fmla="*/ 30 h 43"/>
                  <a:gd name="T8" fmla="*/ 6 w 60"/>
                  <a:gd name="T9" fmla="*/ 7 h 43"/>
                  <a:gd name="T10" fmla="*/ 6 w 60"/>
                  <a:gd name="T11" fmla="*/ 12 h 43"/>
                  <a:gd name="T12" fmla="*/ 3 w 60"/>
                  <a:gd name="T13" fmla="*/ 17 h 43"/>
                  <a:gd name="T14" fmla="*/ 3 w 60"/>
                  <a:gd name="T15" fmla="*/ 22 h 43"/>
                  <a:gd name="T16" fmla="*/ 3 w 60"/>
                  <a:gd name="T17" fmla="*/ 27 h 43"/>
                  <a:gd name="T18" fmla="*/ 0 w 60"/>
                  <a:gd name="T19" fmla="*/ 31 h 43"/>
                  <a:gd name="T20" fmla="*/ 3 w 60"/>
                  <a:gd name="T21" fmla="*/ 36 h 43"/>
                  <a:gd name="T22" fmla="*/ 5 w 60"/>
                  <a:gd name="T23" fmla="*/ 40 h 43"/>
                  <a:gd name="T24" fmla="*/ 8 w 60"/>
                  <a:gd name="T25" fmla="*/ 43 h 43"/>
                  <a:gd name="T26" fmla="*/ 14 w 60"/>
                  <a:gd name="T27" fmla="*/ 33 h 43"/>
                  <a:gd name="T28" fmla="*/ 14 w 60"/>
                  <a:gd name="T29" fmla="*/ 28 h 43"/>
                  <a:gd name="T30" fmla="*/ 19 w 60"/>
                  <a:gd name="T31" fmla="*/ 30 h 43"/>
                  <a:gd name="T32" fmla="*/ 23 w 60"/>
                  <a:gd name="T33" fmla="*/ 28 h 43"/>
                  <a:gd name="T34" fmla="*/ 24 w 60"/>
                  <a:gd name="T35" fmla="*/ 31 h 43"/>
                  <a:gd name="T36" fmla="*/ 34 w 60"/>
                  <a:gd name="T37" fmla="*/ 27 h 43"/>
                  <a:gd name="T38" fmla="*/ 42 w 60"/>
                  <a:gd name="T39" fmla="*/ 27 h 43"/>
                  <a:gd name="T40" fmla="*/ 49 w 60"/>
                  <a:gd name="T41" fmla="*/ 28 h 43"/>
                  <a:gd name="T42" fmla="*/ 57 w 60"/>
                  <a:gd name="T43" fmla="*/ 30 h 43"/>
                  <a:gd name="T44" fmla="*/ 59 w 60"/>
                  <a:gd name="T45" fmla="*/ 27 h 43"/>
                  <a:gd name="T46" fmla="*/ 59 w 60"/>
                  <a:gd name="T47" fmla="*/ 22 h 43"/>
                  <a:gd name="T48" fmla="*/ 50 w 60"/>
                  <a:gd name="T49" fmla="*/ 18 h 43"/>
                  <a:gd name="T50" fmla="*/ 44 w 60"/>
                  <a:gd name="T51" fmla="*/ 17 h 43"/>
                  <a:gd name="T52" fmla="*/ 36 w 60"/>
                  <a:gd name="T53" fmla="*/ 12 h 43"/>
                  <a:gd name="T54" fmla="*/ 34 w 60"/>
                  <a:gd name="T55" fmla="*/ 12 h 43"/>
                  <a:gd name="T56" fmla="*/ 46 w 60"/>
                  <a:gd name="T57" fmla="*/ 14 h 43"/>
                  <a:gd name="T58" fmla="*/ 47 w 60"/>
                  <a:gd name="T59" fmla="*/ 10 h 43"/>
                  <a:gd name="T60" fmla="*/ 39 w 60"/>
                  <a:gd name="T61" fmla="*/ 10 h 43"/>
                  <a:gd name="T62" fmla="*/ 34 w 60"/>
                  <a:gd name="T63" fmla="*/ 5 h 43"/>
                  <a:gd name="T64" fmla="*/ 31 w 60"/>
                  <a:gd name="T65" fmla="*/ 4 h 43"/>
                  <a:gd name="T66" fmla="*/ 16 w 60"/>
                  <a:gd name="T67" fmla="*/ 2 h 43"/>
                  <a:gd name="T68" fmla="*/ 8 w 60"/>
                  <a:gd name="T69" fmla="*/ 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43">
                    <a:moveTo>
                      <a:pt x="54" y="30"/>
                    </a:moveTo>
                    <a:lnTo>
                      <a:pt x="55" y="31"/>
                    </a:lnTo>
                    <a:lnTo>
                      <a:pt x="59" y="31"/>
                    </a:lnTo>
                    <a:lnTo>
                      <a:pt x="57" y="33"/>
                    </a:lnTo>
                    <a:lnTo>
                      <a:pt x="54" y="33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30"/>
                    </a:lnTo>
                    <a:close/>
                    <a:moveTo>
                      <a:pt x="6" y="5"/>
                    </a:moveTo>
                    <a:lnTo>
                      <a:pt x="6" y="7"/>
                    </a:lnTo>
                    <a:lnTo>
                      <a:pt x="5" y="10"/>
                    </a:lnTo>
                    <a:lnTo>
                      <a:pt x="6" y="12"/>
                    </a:lnTo>
                    <a:lnTo>
                      <a:pt x="5" y="15"/>
                    </a:lnTo>
                    <a:lnTo>
                      <a:pt x="3" y="17"/>
                    </a:lnTo>
                    <a:lnTo>
                      <a:pt x="3" y="18"/>
                    </a:lnTo>
                    <a:lnTo>
                      <a:pt x="3" y="22"/>
                    </a:lnTo>
                    <a:lnTo>
                      <a:pt x="3" y="25"/>
                    </a:lnTo>
                    <a:lnTo>
                      <a:pt x="3" y="27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3" y="36"/>
                    </a:lnTo>
                    <a:lnTo>
                      <a:pt x="3" y="38"/>
                    </a:lnTo>
                    <a:lnTo>
                      <a:pt x="5" y="40"/>
                    </a:lnTo>
                    <a:lnTo>
                      <a:pt x="6" y="41"/>
                    </a:lnTo>
                    <a:lnTo>
                      <a:pt x="8" y="43"/>
                    </a:lnTo>
                    <a:lnTo>
                      <a:pt x="10" y="38"/>
                    </a:lnTo>
                    <a:lnTo>
                      <a:pt x="14" y="33"/>
                    </a:lnTo>
                    <a:lnTo>
                      <a:pt x="13" y="31"/>
                    </a:lnTo>
                    <a:lnTo>
                      <a:pt x="14" y="28"/>
                    </a:lnTo>
                    <a:lnTo>
                      <a:pt x="16" y="30"/>
                    </a:lnTo>
                    <a:lnTo>
                      <a:pt x="19" y="30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3" y="31"/>
                    </a:lnTo>
                    <a:lnTo>
                      <a:pt x="24" y="31"/>
                    </a:lnTo>
                    <a:lnTo>
                      <a:pt x="29" y="31"/>
                    </a:lnTo>
                    <a:lnTo>
                      <a:pt x="34" y="27"/>
                    </a:lnTo>
                    <a:lnTo>
                      <a:pt x="37" y="27"/>
                    </a:lnTo>
                    <a:lnTo>
                      <a:pt x="42" y="27"/>
                    </a:lnTo>
                    <a:lnTo>
                      <a:pt x="46" y="27"/>
                    </a:lnTo>
                    <a:lnTo>
                      <a:pt x="49" y="28"/>
                    </a:lnTo>
                    <a:lnTo>
                      <a:pt x="52" y="28"/>
                    </a:lnTo>
                    <a:lnTo>
                      <a:pt x="57" y="30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60" y="23"/>
                    </a:lnTo>
                    <a:lnTo>
                      <a:pt x="59" y="22"/>
                    </a:lnTo>
                    <a:lnTo>
                      <a:pt x="54" y="18"/>
                    </a:lnTo>
                    <a:lnTo>
                      <a:pt x="50" y="18"/>
                    </a:lnTo>
                    <a:lnTo>
                      <a:pt x="47" y="17"/>
                    </a:lnTo>
                    <a:lnTo>
                      <a:pt x="44" y="17"/>
                    </a:lnTo>
                    <a:lnTo>
                      <a:pt x="41" y="15"/>
                    </a:lnTo>
                    <a:lnTo>
                      <a:pt x="36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9" y="12"/>
                    </a:lnTo>
                    <a:lnTo>
                      <a:pt x="46" y="14"/>
                    </a:lnTo>
                    <a:lnTo>
                      <a:pt x="49" y="12"/>
                    </a:lnTo>
                    <a:lnTo>
                      <a:pt x="47" y="10"/>
                    </a:lnTo>
                    <a:lnTo>
                      <a:pt x="44" y="10"/>
                    </a:lnTo>
                    <a:lnTo>
                      <a:pt x="39" y="10"/>
                    </a:lnTo>
                    <a:lnTo>
                      <a:pt x="37" y="5"/>
                    </a:lnTo>
                    <a:lnTo>
                      <a:pt x="34" y="5"/>
                    </a:lnTo>
                    <a:lnTo>
                      <a:pt x="32" y="5"/>
                    </a:lnTo>
                    <a:lnTo>
                      <a:pt x="31" y="4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0" name="Freeform 314">
                <a:extLst>
                  <a:ext uri="{FF2B5EF4-FFF2-40B4-BE49-F238E27FC236}">
                    <a16:creationId xmlns:a16="http://schemas.microsoft.com/office/drawing/2014/main" xmlns="" id="{AD1D320F-F566-473F-88E1-5BD7CC9598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74" y="39"/>
                <a:ext cx="669" cy="881"/>
              </a:xfrm>
              <a:custGeom>
                <a:avLst/>
                <a:gdLst>
                  <a:gd name="T0" fmla="*/ 102 w 410"/>
                  <a:gd name="T1" fmla="*/ 517 h 539"/>
                  <a:gd name="T2" fmla="*/ 79 w 410"/>
                  <a:gd name="T3" fmla="*/ 496 h 539"/>
                  <a:gd name="T4" fmla="*/ 69 w 410"/>
                  <a:gd name="T5" fmla="*/ 469 h 539"/>
                  <a:gd name="T6" fmla="*/ 64 w 410"/>
                  <a:gd name="T7" fmla="*/ 457 h 539"/>
                  <a:gd name="T8" fmla="*/ 71 w 410"/>
                  <a:gd name="T9" fmla="*/ 427 h 539"/>
                  <a:gd name="T10" fmla="*/ 67 w 410"/>
                  <a:gd name="T11" fmla="*/ 412 h 539"/>
                  <a:gd name="T12" fmla="*/ 84 w 410"/>
                  <a:gd name="T13" fmla="*/ 397 h 539"/>
                  <a:gd name="T14" fmla="*/ 88 w 410"/>
                  <a:gd name="T15" fmla="*/ 392 h 539"/>
                  <a:gd name="T16" fmla="*/ 94 w 410"/>
                  <a:gd name="T17" fmla="*/ 368 h 539"/>
                  <a:gd name="T18" fmla="*/ 98 w 410"/>
                  <a:gd name="T19" fmla="*/ 348 h 539"/>
                  <a:gd name="T20" fmla="*/ 97 w 410"/>
                  <a:gd name="T21" fmla="*/ 320 h 539"/>
                  <a:gd name="T22" fmla="*/ 73 w 410"/>
                  <a:gd name="T23" fmla="*/ 313 h 539"/>
                  <a:gd name="T24" fmla="*/ 82 w 410"/>
                  <a:gd name="T25" fmla="*/ 267 h 539"/>
                  <a:gd name="T26" fmla="*/ 64 w 410"/>
                  <a:gd name="T27" fmla="*/ 209 h 539"/>
                  <a:gd name="T28" fmla="*/ 13 w 410"/>
                  <a:gd name="T29" fmla="*/ 184 h 539"/>
                  <a:gd name="T30" fmla="*/ 41 w 410"/>
                  <a:gd name="T31" fmla="*/ 159 h 539"/>
                  <a:gd name="T32" fmla="*/ 15 w 410"/>
                  <a:gd name="T33" fmla="*/ 125 h 539"/>
                  <a:gd name="T34" fmla="*/ 82 w 410"/>
                  <a:gd name="T35" fmla="*/ 92 h 539"/>
                  <a:gd name="T36" fmla="*/ 105 w 410"/>
                  <a:gd name="T37" fmla="*/ 62 h 539"/>
                  <a:gd name="T38" fmla="*/ 160 w 410"/>
                  <a:gd name="T39" fmla="*/ 33 h 539"/>
                  <a:gd name="T40" fmla="*/ 188 w 410"/>
                  <a:gd name="T41" fmla="*/ 58 h 539"/>
                  <a:gd name="T42" fmla="*/ 220 w 410"/>
                  <a:gd name="T43" fmla="*/ 58 h 539"/>
                  <a:gd name="T44" fmla="*/ 234 w 410"/>
                  <a:gd name="T45" fmla="*/ 24 h 539"/>
                  <a:gd name="T46" fmla="*/ 276 w 410"/>
                  <a:gd name="T47" fmla="*/ 4 h 539"/>
                  <a:gd name="T48" fmla="*/ 302 w 410"/>
                  <a:gd name="T49" fmla="*/ 22 h 539"/>
                  <a:gd name="T50" fmla="*/ 323 w 410"/>
                  <a:gd name="T51" fmla="*/ 27 h 539"/>
                  <a:gd name="T52" fmla="*/ 361 w 410"/>
                  <a:gd name="T53" fmla="*/ 56 h 539"/>
                  <a:gd name="T54" fmla="*/ 282 w 410"/>
                  <a:gd name="T55" fmla="*/ 70 h 539"/>
                  <a:gd name="T56" fmla="*/ 344 w 410"/>
                  <a:gd name="T57" fmla="*/ 75 h 539"/>
                  <a:gd name="T58" fmla="*/ 356 w 410"/>
                  <a:gd name="T59" fmla="*/ 94 h 539"/>
                  <a:gd name="T60" fmla="*/ 393 w 410"/>
                  <a:gd name="T61" fmla="*/ 106 h 539"/>
                  <a:gd name="T62" fmla="*/ 357 w 410"/>
                  <a:gd name="T63" fmla="*/ 128 h 539"/>
                  <a:gd name="T64" fmla="*/ 342 w 410"/>
                  <a:gd name="T65" fmla="*/ 191 h 539"/>
                  <a:gd name="T66" fmla="*/ 340 w 410"/>
                  <a:gd name="T67" fmla="*/ 218 h 539"/>
                  <a:gd name="T68" fmla="*/ 341 w 410"/>
                  <a:gd name="T69" fmla="*/ 244 h 539"/>
                  <a:gd name="T70" fmla="*/ 332 w 410"/>
                  <a:gd name="T71" fmla="*/ 262 h 539"/>
                  <a:gd name="T72" fmla="*/ 330 w 410"/>
                  <a:gd name="T73" fmla="*/ 289 h 539"/>
                  <a:gd name="T74" fmla="*/ 302 w 410"/>
                  <a:gd name="T75" fmla="*/ 295 h 539"/>
                  <a:gd name="T76" fmla="*/ 288 w 410"/>
                  <a:gd name="T77" fmla="*/ 310 h 539"/>
                  <a:gd name="T78" fmla="*/ 318 w 410"/>
                  <a:gd name="T79" fmla="*/ 336 h 539"/>
                  <a:gd name="T80" fmla="*/ 299 w 410"/>
                  <a:gd name="T81" fmla="*/ 352 h 539"/>
                  <a:gd name="T82" fmla="*/ 274 w 410"/>
                  <a:gd name="T83" fmla="*/ 349 h 539"/>
                  <a:gd name="T84" fmla="*/ 293 w 410"/>
                  <a:gd name="T85" fmla="*/ 364 h 539"/>
                  <a:gd name="T86" fmla="*/ 277 w 410"/>
                  <a:gd name="T87" fmla="*/ 394 h 539"/>
                  <a:gd name="T88" fmla="*/ 232 w 410"/>
                  <a:gd name="T89" fmla="*/ 400 h 539"/>
                  <a:gd name="T90" fmla="*/ 193 w 410"/>
                  <a:gd name="T91" fmla="*/ 439 h 539"/>
                  <a:gd name="T92" fmla="*/ 163 w 410"/>
                  <a:gd name="T93" fmla="*/ 446 h 539"/>
                  <a:gd name="T94" fmla="*/ 143 w 410"/>
                  <a:gd name="T95" fmla="*/ 476 h 539"/>
                  <a:gd name="T96" fmla="*/ 135 w 410"/>
                  <a:gd name="T97" fmla="*/ 503 h 539"/>
                  <a:gd name="T98" fmla="*/ 118 w 410"/>
                  <a:gd name="T99" fmla="*/ 525 h 539"/>
                  <a:gd name="T100" fmla="*/ 136 w 410"/>
                  <a:gd name="T101" fmla="*/ 492 h 539"/>
                  <a:gd name="T102" fmla="*/ 305 w 410"/>
                  <a:gd name="T103" fmla="*/ 378 h 539"/>
                  <a:gd name="T104" fmla="*/ 309 w 410"/>
                  <a:gd name="T105" fmla="*/ 311 h 539"/>
                  <a:gd name="T106" fmla="*/ 327 w 410"/>
                  <a:gd name="T107" fmla="*/ 277 h 539"/>
                  <a:gd name="T108" fmla="*/ 337 w 410"/>
                  <a:gd name="T109" fmla="*/ 232 h 539"/>
                  <a:gd name="T110" fmla="*/ 379 w 410"/>
                  <a:gd name="T111" fmla="*/ 72 h 539"/>
                  <a:gd name="T112" fmla="*/ 232 w 410"/>
                  <a:gd name="T113" fmla="*/ 21 h 539"/>
                  <a:gd name="T114" fmla="*/ 184 w 410"/>
                  <a:gd name="T115" fmla="*/ 42 h 539"/>
                  <a:gd name="T116" fmla="*/ 76 w 410"/>
                  <a:gd name="T117" fmla="*/ 251 h 539"/>
                  <a:gd name="T118" fmla="*/ 76 w 410"/>
                  <a:gd name="T119" fmla="*/ 292 h 539"/>
                  <a:gd name="T120" fmla="*/ 82 w 410"/>
                  <a:gd name="T121" fmla="*/ 520 h 539"/>
                  <a:gd name="T122" fmla="*/ 75 w 410"/>
                  <a:gd name="T123" fmla="*/ 380 h 539"/>
                  <a:gd name="T124" fmla="*/ 94 w 410"/>
                  <a:gd name="T125" fmla="*/ 358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0" h="539">
                    <a:moveTo>
                      <a:pt x="121" y="533"/>
                    </a:moveTo>
                    <a:cubicBezTo>
                      <a:pt x="117" y="531"/>
                      <a:pt x="117" y="531"/>
                      <a:pt x="117" y="531"/>
                    </a:cubicBezTo>
                    <a:cubicBezTo>
                      <a:pt x="114" y="531"/>
                      <a:pt x="114" y="531"/>
                      <a:pt x="114" y="531"/>
                    </a:cubicBezTo>
                    <a:cubicBezTo>
                      <a:pt x="114" y="530"/>
                      <a:pt x="114" y="530"/>
                      <a:pt x="114" y="530"/>
                    </a:cubicBezTo>
                    <a:cubicBezTo>
                      <a:pt x="115" y="529"/>
                      <a:pt x="115" y="529"/>
                      <a:pt x="115" y="529"/>
                    </a:cubicBezTo>
                    <a:cubicBezTo>
                      <a:pt x="115" y="529"/>
                      <a:pt x="115" y="529"/>
                      <a:pt x="115" y="529"/>
                    </a:cubicBezTo>
                    <a:cubicBezTo>
                      <a:pt x="115" y="528"/>
                      <a:pt x="115" y="528"/>
                      <a:pt x="115" y="528"/>
                    </a:cubicBezTo>
                    <a:cubicBezTo>
                      <a:pt x="114" y="528"/>
                      <a:pt x="114" y="528"/>
                      <a:pt x="114" y="528"/>
                    </a:cubicBezTo>
                    <a:cubicBezTo>
                      <a:pt x="113" y="529"/>
                      <a:pt x="113" y="529"/>
                      <a:pt x="113" y="529"/>
                    </a:cubicBezTo>
                    <a:cubicBezTo>
                      <a:pt x="113" y="529"/>
                      <a:pt x="113" y="529"/>
                      <a:pt x="113" y="529"/>
                    </a:cubicBezTo>
                    <a:cubicBezTo>
                      <a:pt x="113" y="531"/>
                      <a:pt x="113" y="531"/>
                      <a:pt x="113" y="531"/>
                    </a:cubicBezTo>
                    <a:cubicBezTo>
                      <a:pt x="111" y="531"/>
                      <a:pt x="111" y="531"/>
                      <a:pt x="111" y="531"/>
                    </a:cubicBezTo>
                    <a:cubicBezTo>
                      <a:pt x="111" y="531"/>
                      <a:pt x="111" y="531"/>
                      <a:pt x="111" y="531"/>
                    </a:cubicBezTo>
                    <a:cubicBezTo>
                      <a:pt x="110" y="532"/>
                      <a:pt x="110" y="532"/>
                      <a:pt x="110" y="532"/>
                    </a:cubicBezTo>
                    <a:cubicBezTo>
                      <a:pt x="110" y="533"/>
                      <a:pt x="110" y="533"/>
                      <a:pt x="110" y="533"/>
                    </a:cubicBezTo>
                    <a:cubicBezTo>
                      <a:pt x="110" y="534"/>
                      <a:pt x="110" y="534"/>
                      <a:pt x="110" y="534"/>
                    </a:cubicBezTo>
                    <a:cubicBezTo>
                      <a:pt x="109" y="533"/>
                      <a:pt x="109" y="533"/>
                      <a:pt x="109" y="533"/>
                    </a:cubicBezTo>
                    <a:cubicBezTo>
                      <a:pt x="109" y="532"/>
                      <a:pt x="109" y="532"/>
                      <a:pt x="109" y="532"/>
                    </a:cubicBezTo>
                    <a:cubicBezTo>
                      <a:pt x="110" y="530"/>
                      <a:pt x="110" y="530"/>
                      <a:pt x="110" y="530"/>
                    </a:cubicBezTo>
                    <a:cubicBezTo>
                      <a:pt x="110" y="529"/>
                      <a:pt x="110" y="529"/>
                      <a:pt x="110" y="529"/>
                    </a:cubicBezTo>
                    <a:cubicBezTo>
                      <a:pt x="111" y="526"/>
                      <a:pt x="111" y="526"/>
                      <a:pt x="111" y="526"/>
                    </a:cubicBezTo>
                    <a:cubicBezTo>
                      <a:pt x="111" y="526"/>
                      <a:pt x="111" y="526"/>
                      <a:pt x="111" y="526"/>
                    </a:cubicBezTo>
                    <a:cubicBezTo>
                      <a:pt x="110" y="527"/>
                      <a:pt x="110" y="527"/>
                      <a:pt x="110" y="527"/>
                    </a:cubicBezTo>
                    <a:cubicBezTo>
                      <a:pt x="109" y="530"/>
                      <a:pt x="109" y="530"/>
                      <a:pt x="109" y="530"/>
                    </a:cubicBezTo>
                    <a:cubicBezTo>
                      <a:pt x="107" y="532"/>
                      <a:pt x="107" y="532"/>
                      <a:pt x="107" y="532"/>
                    </a:cubicBezTo>
                    <a:cubicBezTo>
                      <a:pt x="106" y="531"/>
                      <a:pt x="106" y="531"/>
                      <a:pt x="106" y="531"/>
                    </a:cubicBezTo>
                    <a:cubicBezTo>
                      <a:pt x="106" y="530"/>
                      <a:pt x="106" y="530"/>
                      <a:pt x="106" y="530"/>
                    </a:cubicBezTo>
                    <a:cubicBezTo>
                      <a:pt x="108" y="528"/>
                      <a:pt x="108" y="528"/>
                      <a:pt x="108" y="528"/>
                    </a:cubicBezTo>
                    <a:cubicBezTo>
                      <a:pt x="109" y="527"/>
                      <a:pt x="109" y="527"/>
                      <a:pt x="109" y="527"/>
                    </a:cubicBezTo>
                    <a:cubicBezTo>
                      <a:pt x="110" y="525"/>
                      <a:pt x="110" y="525"/>
                      <a:pt x="110" y="525"/>
                    </a:cubicBezTo>
                    <a:cubicBezTo>
                      <a:pt x="108" y="525"/>
                      <a:pt x="108" y="525"/>
                      <a:pt x="108" y="525"/>
                    </a:cubicBezTo>
                    <a:cubicBezTo>
                      <a:pt x="108" y="525"/>
                      <a:pt x="108" y="525"/>
                      <a:pt x="108" y="525"/>
                    </a:cubicBezTo>
                    <a:cubicBezTo>
                      <a:pt x="107" y="527"/>
                      <a:pt x="107" y="527"/>
                      <a:pt x="107" y="527"/>
                    </a:cubicBezTo>
                    <a:cubicBezTo>
                      <a:pt x="106" y="527"/>
                      <a:pt x="106" y="527"/>
                      <a:pt x="106" y="527"/>
                    </a:cubicBezTo>
                    <a:cubicBezTo>
                      <a:pt x="105" y="526"/>
                      <a:pt x="105" y="526"/>
                      <a:pt x="105" y="526"/>
                    </a:cubicBezTo>
                    <a:cubicBezTo>
                      <a:pt x="106" y="525"/>
                      <a:pt x="106" y="525"/>
                      <a:pt x="106" y="525"/>
                    </a:cubicBezTo>
                    <a:cubicBezTo>
                      <a:pt x="107" y="524"/>
                      <a:pt x="107" y="524"/>
                      <a:pt x="107" y="524"/>
                    </a:cubicBezTo>
                    <a:cubicBezTo>
                      <a:pt x="107" y="523"/>
                      <a:pt x="107" y="523"/>
                      <a:pt x="107" y="523"/>
                    </a:cubicBezTo>
                    <a:cubicBezTo>
                      <a:pt x="106" y="523"/>
                      <a:pt x="106" y="523"/>
                      <a:pt x="106" y="523"/>
                    </a:cubicBezTo>
                    <a:cubicBezTo>
                      <a:pt x="105" y="524"/>
                      <a:pt x="105" y="524"/>
                      <a:pt x="105" y="524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4" y="526"/>
                      <a:pt x="104" y="526"/>
                      <a:pt x="104" y="526"/>
                    </a:cubicBezTo>
                    <a:cubicBezTo>
                      <a:pt x="103" y="525"/>
                      <a:pt x="103" y="525"/>
                      <a:pt x="103" y="525"/>
                    </a:cubicBezTo>
                    <a:cubicBezTo>
                      <a:pt x="103" y="524"/>
                      <a:pt x="103" y="524"/>
                      <a:pt x="103" y="524"/>
                    </a:cubicBezTo>
                    <a:cubicBezTo>
                      <a:pt x="102" y="524"/>
                      <a:pt x="102" y="524"/>
                      <a:pt x="102" y="524"/>
                    </a:cubicBezTo>
                    <a:cubicBezTo>
                      <a:pt x="101" y="525"/>
                      <a:pt x="101" y="525"/>
                      <a:pt x="101" y="525"/>
                    </a:cubicBezTo>
                    <a:cubicBezTo>
                      <a:pt x="100" y="525"/>
                      <a:pt x="100" y="525"/>
                      <a:pt x="100" y="525"/>
                    </a:cubicBezTo>
                    <a:cubicBezTo>
                      <a:pt x="101" y="524"/>
                      <a:pt x="101" y="524"/>
                      <a:pt x="101" y="524"/>
                    </a:cubicBezTo>
                    <a:cubicBezTo>
                      <a:pt x="103" y="522"/>
                      <a:pt x="103" y="522"/>
                      <a:pt x="103" y="522"/>
                    </a:cubicBezTo>
                    <a:cubicBezTo>
                      <a:pt x="104" y="521"/>
                      <a:pt x="104" y="521"/>
                      <a:pt x="104" y="521"/>
                    </a:cubicBezTo>
                    <a:cubicBezTo>
                      <a:pt x="105" y="520"/>
                      <a:pt x="105" y="520"/>
                      <a:pt x="105" y="520"/>
                    </a:cubicBezTo>
                    <a:cubicBezTo>
                      <a:pt x="107" y="519"/>
                      <a:pt x="107" y="519"/>
                      <a:pt x="107" y="519"/>
                    </a:cubicBezTo>
                    <a:cubicBezTo>
                      <a:pt x="106" y="518"/>
                      <a:pt x="106" y="518"/>
                      <a:pt x="106" y="518"/>
                    </a:cubicBezTo>
                    <a:cubicBezTo>
                      <a:pt x="104" y="520"/>
                      <a:pt x="104" y="520"/>
                      <a:pt x="104" y="520"/>
                    </a:cubicBezTo>
                    <a:cubicBezTo>
                      <a:pt x="103" y="520"/>
                      <a:pt x="103" y="520"/>
                      <a:pt x="103" y="520"/>
                    </a:cubicBezTo>
                    <a:cubicBezTo>
                      <a:pt x="102" y="520"/>
                      <a:pt x="102" y="520"/>
                      <a:pt x="102" y="520"/>
                    </a:cubicBezTo>
                    <a:cubicBezTo>
                      <a:pt x="103" y="519"/>
                      <a:pt x="103" y="519"/>
                      <a:pt x="103" y="519"/>
                    </a:cubicBezTo>
                    <a:cubicBezTo>
                      <a:pt x="104" y="519"/>
                      <a:pt x="104" y="519"/>
                      <a:pt x="104" y="519"/>
                    </a:cubicBezTo>
                    <a:cubicBezTo>
                      <a:pt x="106" y="518"/>
                      <a:pt x="106" y="518"/>
                      <a:pt x="106" y="518"/>
                    </a:cubicBezTo>
                    <a:cubicBezTo>
                      <a:pt x="107" y="517"/>
                      <a:pt x="107" y="517"/>
                      <a:pt x="107" y="517"/>
                    </a:cubicBezTo>
                    <a:cubicBezTo>
                      <a:pt x="109" y="516"/>
                      <a:pt x="109" y="516"/>
                      <a:pt x="109" y="516"/>
                    </a:cubicBezTo>
                    <a:cubicBezTo>
                      <a:pt x="109" y="515"/>
                      <a:pt x="109" y="515"/>
                      <a:pt x="109" y="515"/>
                    </a:cubicBezTo>
                    <a:cubicBezTo>
                      <a:pt x="108" y="513"/>
                      <a:pt x="108" y="513"/>
                      <a:pt x="108" y="513"/>
                    </a:cubicBezTo>
                    <a:cubicBezTo>
                      <a:pt x="107" y="513"/>
                      <a:pt x="107" y="513"/>
                      <a:pt x="107" y="513"/>
                    </a:cubicBezTo>
                    <a:cubicBezTo>
                      <a:pt x="106" y="516"/>
                      <a:pt x="106" y="516"/>
                      <a:pt x="106" y="516"/>
                    </a:cubicBezTo>
                    <a:cubicBezTo>
                      <a:pt x="103" y="518"/>
                      <a:pt x="103" y="518"/>
                      <a:pt x="103" y="518"/>
                    </a:cubicBezTo>
                    <a:cubicBezTo>
                      <a:pt x="101" y="519"/>
                      <a:pt x="101" y="519"/>
                      <a:pt x="101" y="519"/>
                    </a:cubicBezTo>
                    <a:cubicBezTo>
                      <a:pt x="100" y="518"/>
                      <a:pt x="100" y="518"/>
                      <a:pt x="100" y="518"/>
                    </a:cubicBezTo>
                    <a:cubicBezTo>
                      <a:pt x="101" y="517"/>
                      <a:pt x="101" y="517"/>
                      <a:pt x="101" y="517"/>
                    </a:cubicBezTo>
                    <a:cubicBezTo>
                      <a:pt x="102" y="517"/>
                      <a:pt x="102" y="517"/>
                      <a:pt x="102" y="517"/>
                    </a:cubicBezTo>
                    <a:cubicBezTo>
                      <a:pt x="104" y="515"/>
                      <a:pt x="104" y="515"/>
                      <a:pt x="104" y="515"/>
                    </a:cubicBezTo>
                    <a:cubicBezTo>
                      <a:pt x="104" y="513"/>
                      <a:pt x="104" y="513"/>
                      <a:pt x="104" y="513"/>
                    </a:cubicBezTo>
                    <a:cubicBezTo>
                      <a:pt x="103" y="512"/>
                      <a:pt x="103" y="512"/>
                      <a:pt x="103" y="512"/>
                    </a:cubicBezTo>
                    <a:cubicBezTo>
                      <a:pt x="102" y="511"/>
                      <a:pt x="102" y="511"/>
                      <a:pt x="102" y="511"/>
                    </a:cubicBezTo>
                    <a:cubicBezTo>
                      <a:pt x="101" y="512"/>
                      <a:pt x="101" y="512"/>
                      <a:pt x="101" y="512"/>
                    </a:cubicBezTo>
                    <a:cubicBezTo>
                      <a:pt x="101" y="513"/>
                      <a:pt x="101" y="513"/>
                      <a:pt x="101" y="513"/>
                    </a:cubicBezTo>
                    <a:cubicBezTo>
                      <a:pt x="102" y="514"/>
                      <a:pt x="102" y="514"/>
                      <a:pt x="102" y="514"/>
                    </a:cubicBezTo>
                    <a:cubicBezTo>
                      <a:pt x="102" y="515"/>
                      <a:pt x="102" y="515"/>
                      <a:pt x="102" y="515"/>
                    </a:cubicBezTo>
                    <a:cubicBezTo>
                      <a:pt x="101" y="516"/>
                      <a:pt x="101" y="516"/>
                      <a:pt x="101" y="516"/>
                    </a:cubicBezTo>
                    <a:cubicBezTo>
                      <a:pt x="100" y="515"/>
                      <a:pt x="100" y="515"/>
                      <a:pt x="100" y="515"/>
                    </a:cubicBezTo>
                    <a:cubicBezTo>
                      <a:pt x="98" y="515"/>
                      <a:pt x="98" y="515"/>
                      <a:pt x="98" y="515"/>
                    </a:cubicBezTo>
                    <a:cubicBezTo>
                      <a:pt x="97" y="515"/>
                      <a:pt x="97" y="515"/>
                      <a:pt x="97" y="515"/>
                    </a:cubicBezTo>
                    <a:cubicBezTo>
                      <a:pt x="96" y="516"/>
                      <a:pt x="96" y="516"/>
                      <a:pt x="96" y="516"/>
                    </a:cubicBezTo>
                    <a:cubicBezTo>
                      <a:pt x="95" y="518"/>
                      <a:pt x="95" y="518"/>
                      <a:pt x="95" y="518"/>
                    </a:cubicBezTo>
                    <a:cubicBezTo>
                      <a:pt x="94" y="518"/>
                      <a:pt x="94" y="518"/>
                      <a:pt x="94" y="518"/>
                    </a:cubicBezTo>
                    <a:cubicBezTo>
                      <a:pt x="93" y="518"/>
                      <a:pt x="93" y="518"/>
                      <a:pt x="93" y="518"/>
                    </a:cubicBezTo>
                    <a:cubicBezTo>
                      <a:pt x="93" y="517"/>
                      <a:pt x="93" y="517"/>
                      <a:pt x="93" y="517"/>
                    </a:cubicBezTo>
                    <a:cubicBezTo>
                      <a:pt x="91" y="517"/>
                      <a:pt x="91" y="517"/>
                      <a:pt x="91" y="517"/>
                    </a:cubicBezTo>
                    <a:cubicBezTo>
                      <a:pt x="90" y="518"/>
                      <a:pt x="90" y="518"/>
                      <a:pt x="90" y="518"/>
                    </a:cubicBezTo>
                    <a:cubicBezTo>
                      <a:pt x="89" y="517"/>
                      <a:pt x="89" y="517"/>
                      <a:pt x="89" y="517"/>
                    </a:cubicBezTo>
                    <a:cubicBezTo>
                      <a:pt x="88" y="518"/>
                      <a:pt x="88" y="518"/>
                      <a:pt x="88" y="518"/>
                    </a:cubicBezTo>
                    <a:cubicBezTo>
                      <a:pt x="88" y="519"/>
                      <a:pt x="88" y="519"/>
                      <a:pt x="88" y="519"/>
                    </a:cubicBezTo>
                    <a:cubicBezTo>
                      <a:pt x="88" y="520"/>
                      <a:pt x="88" y="520"/>
                      <a:pt x="88" y="520"/>
                    </a:cubicBezTo>
                    <a:cubicBezTo>
                      <a:pt x="88" y="520"/>
                      <a:pt x="88" y="520"/>
                      <a:pt x="88" y="520"/>
                    </a:cubicBezTo>
                    <a:cubicBezTo>
                      <a:pt x="85" y="519"/>
                      <a:pt x="85" y="519"/>
                      <a:pt x="85" y="519"/>
                    </a:cubicBezTo>
                    <a:cubicBezTo>
                      <a:pt x="85" y="518"/>
                      <a:pt x="85" y="518"/>
                      <a:pt x="85" y="518"/>
                    </a:cubicBezTo>
                    <a:cubicBezTo>
                      <a:pt x="85" y="517"/>
                      <a:pt x="85" y="517"/>
                      <a:pt x="85" y="517"/>
                    </a:cubicBezTo>
                    <a:cubicBezTo>
                      <a:pt x="87" y="517"/>
                      <a:pt x="87" y="517"/>
                      <a:pt x="87" y="517"/>
                    </a:cubicBezTo>
                    <a:cubicBezTo>
                      <a:pt x="88" y="516"/>
                      <a:pt x="88" y="516"/>
                      <a:pt x="88" y="516"/>
                    </a:cubicBezTo>
                    <a:cubicBezTo>
                      <a:pt x="88" y="515"/>
                      <a:pt x="88" y="515"/>
                      <a:pt x="88" y="515"/>
                    </a:cubicBezTo>
                    <a:cubicBezTo>
                      <a:pt x="86" y="515"/>
                      <a:pt x="86" y="515"/>
                      <a:pt x="86" y="515"/>
                    </a:cubicBezTo>
                    <a:cubicBezTo>
                      <a:pt x="86" y="513"/>
                      <a:pt x="86" y="513"/>
                      <a:pt x="86" y="513"/>
                    </a:cubicBezTo>
                    <a:cubicBezTo>
                      <a:pt x="85" y="512"/>
                      <a:pt x="85" y="512"/>
                      <a:pt x="85" y="512"/>
                    </a:cubicBezTo>
                    <a:cubicBezTo>
                      <a:pt x="84" y="511"/>
                      <a:pt x="84" y="511"/>
                      <a:pt x="84" y="511"/>
                    </a:cubicBezTo>
                    <a:cubicBezTo>
                      <a:pt x="83" y="511"/>
                      <a:pt x="83" y="511"/>
                      <a:pt x="83" y="511"/>
                    </a:cubicBezTo>
                    <a:cubicBezTo>
                      <a:pt x="81" y="513"/>
                      <a:pt x="81" y="513"/>
                      <a:pt x="81" y="513"/>
                    </a:cubicBezTo>
                    <a:cubicBezTo>
                      <a:pt x="80" y="513"/>
                      <a:pt x="80" y="513"/>
                      <a:pt x="80" y="513"/>
                    </a:cubicBezTo>
                    <a:cubicBezTo>
                      <a:pt x="79" y="511"/>
                      <a:pt x="79" y="511"/>
                      <a:pt x="79" y="511"/>
                    </a:cubicBezTo>
                    <a:cubicBezTo>
                      <a:pt x="81" y="510"/>
                      <a:pt x="81" y="510"/>
                      <a:pt x="81" y="510"/>
                    </a:cubicBezTo>
                    <a:cubicBezTo>
                      <a:pt x="80" y="509"/>
                      <a:pt x="80" y="509"/>
                      <a:pt x="80" y="509"/>
                    </a:cubicBezTo>
                    <a:cubicBezTo>
                      <a:pt x="79" y="509"/>
                      <a:pt x="79" y="509"/>
                      <a:pt x="79" y="509"/>
                    </a:cubicBezTo>
                    <a:cubicBezTo>
                      <a:pt x="79" y="508"/>
                      <a:pt x="79" y="508"/>
                      <a:pt x="79" y="508"/>
                    </a:cubicBezTo>
                    <a:cubicBezTo>
                      <a:pt x="81" y="507"/>
                      <a:pt x="81" y="507"/>
                      <a:pt x="81" y="507"/>
                    </a:cubicBezTo>
                    <a:cubicBezTo>
                      <a:pt x="82" y="507"/>
                      <a:pt x="82" y="507"/>
                      <a:pt x="82" y="507"/>
                    </a:cubicBezTo>
                    <a:cubicBezTo>
                      <a:pt x="83" y="507"/>
                      <a:pt x="83" y="507"/>
                      <a:pt x="83" y="507"/>
                    </a:cubicBezTo>
                    <a:cubicBezTo>
                      <a:pt x="82" y="506"/>
                      <a:pt x="82" y="506"/>
                      <a:pt x="82" y="506"/>
                    </a:cubicBezTo>
                    <a:cubicBezTo>
                      <a:pt x="81" y="506"/>
                      <a:pt x="81" y="506"/>
                      <a:pt x="81" y="506"/>
                    </a:cubicBezTo>
                    <a:cubicBezTo>
                      <a:pt x="80" y="506"/>
                      <a:pt x="80" y="506"/>
                      <a:pt x="80" y="506"/>
                    </a:cubicBezTo>
                    <a:cubicBezTo>
                      <a:pt x="78" y="507"/>
                      <a:pt x="78" y="507"/>
                      <a:pt x="78" y="507"/>
                    </a:cubicBezTo>
                    <a:cubicBezTo>
                      <a:pt x="76" y="508"/>
                      <a:pt x="76" y="508"/>
                      <a:pt x="76" y="508"/>
                    </a:cubicBezTo>
                    <a:cubicBezTo>
                      <a:pt x="75" y="507"/>
                      <a:pt x="75" y="507"/>
                      <a:pt x="75" y="507"/>
                    </a:cubicBezTo>
                    <a:cubicBezTo>
                      <a:pt x="75" y="506"/>
                      <a:pt x="75" y="506"/>
                      <a:pt x="75" y="506"/>
                    </a:cubicBezTo>
                    <a:cubicBezTo>
                      <a:pt x="76" y="505"/>
                      <a:pt x="76" y="505"/>
                      <a:pt x="76" y="505"/>
                    </a:cubicBezTo>
                    <a:cubicBezTo>
                      <a:pt x="77" y="505"/>
                      <a:pt x="77" y="505"/>
                      <a:pt x="77" y="505"/>
                    </a:cubicBezTo>
                    <a:cubicBezTo>
                      <a:pt x="77" y="503"/>
                      <a:pt x="77" y="503"/>
                      <a:pt x="77" y="503"/>
                    </a:cubicBezTo>
                    <a:cubicBezTo>
                      <a:pt x="79" y="502"/>
                      <a:pt x="79" y="502"/>
                      <a:pt x="79" y="502"/>
                    </a:cubicBezTo>
                    <a:cubicBezTo>
                      <a:pt x="80" y="501"/>
                      <a:pt x="80" y="501"/>
                      <a:pt x="80" y="501"/>
                    </a:cubicBezTo>
                    <a:cubicBezTo>
                      <a:pt x="80" y="501"/>
                      <a:pt x="80" y="501"/>
                      <a:pt x="80" y="501"/>
                    </a:cubicBezTo>
                    <a:cubicBezTo>
                      <a:pt x="78" y="500"/>
                      <a:pt x="78" y="500"/>
                      <a:pt x="78" y="500"/>
                    </a:cubicBezTo>
                    <a:cubicBezTo>
                      <a:pt x="77" y="501"/>
                      <a:pt x="77" y="501"/>
                      <a:pt x="77" y="501"/>
                    </a:cubicBezTo>
                    <a:cubicBezTo>
                      <a:pt x="75" y="502"/>
                      <a:pt x="75" y="502"/>
                      <a:pt x="75" y="502"/>
                    </a:cubicBezTo>
                    <a:cubicBezTo>
                      <a:pt x="74" y="501"/>
                      <a:pt x="74" y="501"/>
                      <a:pt x="74" y="501"/>
                    </a:cubicBezTo>
                    <a:cubicBezTo>
                      <a:pt x="75" y="500"/>
                      <a:pt x="75" y="500"/>
                      <a:pt x="75" y="500"/>
                    </a:cubicBezTo>
                    <a:cubicBezTo>
                      <a:pt x="76" y="500"/>
                      <a:pt x="76" y="500"/>
                      <a:pt x="76" y="500"/>
                    </a:cubicBezTo>
                    <a:cubicBezTo>
                      <a:pt x="78" y="500"/>
                      <a:pt x="78" y="500"/>
                      <a:pt x="78" y="500"/>
                    </a:cubicBezTo>
                    <a:cubicBezTo>
                      <a:pt x="78" y="499"/>
                      <a:pt x="78" y="499"/>
                      <a:pt x="78" y="499"/>
                    </a:cubicBezTo>
                    <a:cubicBezTo>
                      <a:pt x="80" y="498"/>
                      <a:pt x="80" y="498"/>
                      <a:pt x="80" y="498"/>
                    </a:cubicBezTo>
                    <a:cubicBezTo>
                      <a:pt x="79" y="497"/>
                      <a:pt x="79" y="497"/>
                      <a:pt x="79" y="497"/>
                    </a:cubicBezTo>
                    <a:cubicBezTo>
                      <a:pt x="80" y="496"/>
                      <a:pt x="80" y="496"/>
                      <a:pt x="80" y="496"/>
                    </a:cubicBezTo>
                    <a:cubicBezTo>
                      <a:pt x="79" y="496"/>
                      <a:pt x="79" y="496"/>
                      <a:pt x="79" y="496"/>
                    </a:cubicBezTo>
                    <a:cubicBezTo>
                      <a:pt x="77" y="496"/>
                      <a:pt x="77" y="496"/>
                      <a:pt x="77" y="496"/>
                    </a:cubicBezTo>
                    <a:cubicBezTo>
                      <a:pt x="77" y="497"/>
                      <a:pt x="77" y="497"/>
                      <a:pt x="77" y="497"/>
                    </a:cubicBezTo>
                    <a:cubicBezTo>
                      <a:pt x="76" y="498"/>
                      <a:pt x="76" y="498"/>
                      <a:pt x="76" y="498"/>
                    </a:cubicBezTo>
                    <a:cubicBezTo>
                      <a:pt x="74" y="498"/>
                      <a:pt x="74" y="498"/>
                      <a:pt x="74" y="498"/>
                    </a:cubicBezTo>
                    <a:cubicBezTo>
                      <a:pt x="75" y="497"/>
                      <a:pt x="75" y="497"/>
                      <a:pt x="75" y="497"/>
                    </a:cubicBezTo>
                    <a:cubicBezTo>
                      <a:pt x="76" y="497"/>
                      <a:pt x="76" y="497"/>
                      <a:pt x="76" y="497"/>
                    </a:cubicBezTo>
                    <a:cubicBezTo>
                      <a:pt x="76" y="495"/>
                      <a:pt x="76" y="495"/>
                      <a:pt x="76" y="495"/>
                    </a:cubicBezTo>
                    <a:cubicBezTo>
                      <a:pt x="75" y="495"/>
                      <a:pt x="75" y="495"/>
                      <a:pt x="75" y="495"/>
                    </a:cubicBezTo>
                    <a:cubicBezTo>
                      <a:pt x="76" y="494"/>
                      <a:pt x="76" y="494"/>
                      <a:pt x="76" y="494"/>
                    </a:cubicBezTo>
                    <a:cubicBezTo>
                      <a:pt x="76" y="493"/>
                      <a:pt x="76" y="493"/>
                      <a:pt x="76" y="493"/>
                    </a:cubicBezTo>
                    <a:cubicBezTo>
                      <a:pt x="76" y="493"/>
                      <a:pt x="76" y="493"/>
                      <a:pt x="76" y="493"/>
                    </a:cubicBezTo>
                    <a:cubicBezTo>
                      <a:pt x="74" y="493"/>
                      <a:pt x="74" y="493"/>
                      <a:pt x="74" y="493"/>
                    </a:cubicBezTo>
                    <a:cubicBezTo>
                      <a:pt x="74" y="492"/>
                      <a:pt x="74" y="492"/>
                      <a:pt x="74" y="492"/>
                    </a:cubicBezTo>
                    <a:cubicBezTo>
                      <a:pt x="75" y="491"/>
                      <a:pt x="75" y="491"/>
                      <a:pt x="75" y="491"/>
                    </a:cubicBezTo>
                    <a:cubicBezTo>
                      <a:pt x="75" y="490"/>
                      <a:pt x="75" y="490"/>
                      <a:pt x="75" y="490"/>
                    </a:cubicBezTo>
                    <a:cubicBezTo>
                      <a:pt x="73" y="490"/>
                      <a:pt x="73" y="490"/>
                      <a:pt x="73" y="490"/>
                    </a:cubicBezTo>
                    <a:cubicBezTo>
                      <a:pt x="73" y="490"/>
                      <a:pt x="73" y="490"/>
                      <a:pt x="73" y="490"/>
                    </a:cubicBezTo>
                    <a:cubicBezTo>
                      <a:pt x="71" y="490"/>
                      <a:pt x="71" y="490"/>
                      <a:pt x="71" y="490"/>
                    </a:cubicBezTo>
                    <a:cubicBezTo>
                      <a:pt x="71" y="490"/>
                      <a:pt x="71" y="490"/>
                      <a:pt x="71" y="490"/>
                    </a:cubicBezTo>
                    <a:cubicBezTo>
                      <a:pt x="72" y="488"/>
                      <a:pt x="72" y="488"/>
                      <a:pt x="72" y="488"/>
                    </a:cubicBezTo>
                    <a:cubicBezTo>
                      <a:pt x="73" y="487"/>
                      <a:pt x="73" y="487"/>
                      <a:pt x="73" y="487"/>
                    </a:cubicBezTo>
                    <a:cubicBezTo>
                      <a:pt x="74" y="487"/>
                      <a:pt x="74" y="487"/>
                      <a:pt x="74" y="487"/>
                    </a:cubicBezTo>
                    <a:cubicBezTo>
                      <a:pt x="75" y="485"/>
                      <a:pt x="75" y="485"/>
                      <a:pt x="75" y="485"/>
                    </a:cubicBezTo>
                    <a:cubicBezTo>
                      <a:pt x="74" y="484"/>
                      <a:pt x="74" y="484"/>
                      <a:pt x="74" y="484"/>
                    </a:cubicBezTo>
                    <a:cubicBezTo>
                      <a:pt x="75" y="483"/>
                      <a:pt x="75" y="483"/>
                      <a:pt x="75" y="483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1"/>
                      <a:pt x="75" y="481"/>
                      <a:pt x="75" y="481"/>
                    </a:cubicBezTo>
                    <a:cubicBezTo>
                      <a:pt x="74" y="482"/>
                      <a:pt x="74" y="482"/>
                      <a:pt x="74" y="482"/>
                    </a:cubicBezTo>
                    <a:cubicBezTo>
                      <a:pt x="74" y="483"/>
                      <a:pt x="74" y="483"/>
                      <a:pt x="74" y="483"/>
                    </a:cubicBezTo>
                    <a:cubicBezTo>
                      <a:pt x="73" y="481"/>
                      <a:pt x="73" y="481"/>
                      <a:pt x="73" y="481"/>
                    </a:cubicBezTo>
                    <a:cubicBezTo>
                      <a:pt x="72" y="481"/>
                      <a:pt x="72" y="481"/>
                      <a:pt x="72" y="481"/>
                    </a:cubicBezTo>
                    <a:cubicBezTo>
                      <a:pt x="71" y="482"/>
                      <a:pt x="71" y="482"/>
                      <a:pt x="71" y="482"/>
                    </a:cubicBezTo>
                    <a:cubicBezTo>
                      <a:pt x="71" y="482"/>
                      <a:pt x="71" y="482"/>
                      <a:pt x="71" y="482"/>
                    </a:cubicBezTo>
                    <a:cubicBezTo>
                      <a:pt x="70" y="480"/>
                      <a:pt x="70" y="480"/>
                      <a:pt x="70" y="480"/>
                    </a:cubicBezTo>
                    <a:cubicBezTo>
                      <a:pt x="70" y="479"/>
                      <a:pt x="70" y="479"/>
                      <a:pt x="70" y="479"/>
                    </a:cubicBezTo>
                    <a:cubicBezTo>
                      <a:pt x="73" y="478"/>
                      <a:pt x="73" y="478"/>
                      <a:pt x="73" y="478"/>
                    </a:cubicBezTo>
                    <a:cubicBezTo>
                      <a:pt x="73" y="478"/>
                      <a:pt x="73" y="478"/>
                      <a:pt x="73" y="478"/>
                    </a:cubicBezTo>
                    <a:cubicBezTo>
                      <a:pt x="71" y="477"/>
                      <a:pt x="71" y="477"/>
                      <a:pt x="71" y="477"/>
                    </a:cubicBezTo>
                    <a:cubicBezTo>
                      <a:pt x="70" y="477"/>
                      <a:pt x="70" y="477"/>
                      <a:pt x="70" y="477"/>
                    </a:cubicBezTo>
                    <a:cubicBezTo>
                      <a:pt x="69" y="478"/>
                      <a:pt x="69" y="478"/>
                      <a:pt x="69" y="478"/>
                    </a:cubicBezTo>
                    <a:cubicBezTo>
                      <a:pt x="68" y="478"/>
                      <a:pt x="68" y="478"/>
                      <a:pt x="68" y="478"/>
                    </a:cubicBezTo>
                    <a:cubicBezTo>
                      <a:pt x="67" y="477"/>
                      <a:pt x="67" y="477"/>
                      <a:pt x="67" y="477"/>
                    </a:cubicBezTo>
                    <a:cubicBezTo>
                      <a:pt x="67" y="476"/>
                      <a:pt x="67" y="476"/>
                      <a:pt x="67" y="476"/>
                    </a:cubicBezTo>
                    <a:cubicBezTo>
                      <a:pt x="69" y="475"/>
                      <a:pt x="69" y="475"/>
                      <a:pt x="69" y="475"/>
                    </a:cubicBezTo>
                    <a:cubicBezTo>
                      <a:pt x="70" y="476"/>
                      <a:pt x="70" y="476"/>
                      <a:pt x="70" y="476"/>
                    </a:cubicBezTo>
                    <a:cubicBezTo>
                      <a:pt x="73" y="475"/>
                      <a:pt x="73" y="475"/>
                      <a:pt x="73" y="475"/>
                    </a:cubicBezTo>
                    <a:cubicBezTo>
                      <a:pt x="73" y="474"/>
                      <a:pt x="73" y="474"/>
                      <a:pt x="73" y="474"/>
                    </a:cubicBezTo>
                    <a:cubicBezTo>
                      <a:pt x="73" y="474"/>
                      <a:pt x="73" y="474"/>
                      <a:pt x="73" y="474"/>
                    </a:cubicBezTo>
                    <a:cubicBezTo>
                      <a:pt x="72" y="474"/>
                      <a:pt x="72" y="474"/>
                      <a:pt x="72" y="474"/>
                    </a:cubicBezTo>
                    <a:cubicBezTo>
                      <a:pt x="69" y="474"/>
                      <a:pt x="69" y="474"/>
                      <a:pt x="69" y="474"/>
                    </a:cubicBezTo>
                    <a:cubicBezTo>
                      <a:pt x="69" y="474"/>
                      <a:pt x="69" y="474"/>
                      <a:pt x="69" y="474"/>
                    </a:cubicBezTo>
                    <a:cubicBezTo>
                      <a:pt x="68" y="474"/>
                      <a:pt x="68" y="474"/>
                      <a:pt x="68" y="474"/>
                    </a:cubicBezTo>
                    <a:cubicBezTo>
                      <a:pt x="67" y="473"/>
                      <a:pt x="67" y="473"/>
                      <a:pt x="67" y="473"/>
                    </a:cubicBezTo>
                    <a:cubicBezTo>
                      <a:pt x="68" y="472"/>
                      <a:pt x="68" y="472"/>
                      <a:pt x="68" y="472"/>
                    </a:cubicBezTo>
                    <a:cubicBezTo>
                      <a:pt x="71" y="472"/>
                      <a:pt x="71" y="472"/>
                      <a:pt x="71" y="472"/>
                    </a:cubicBezTo>
                    <a:cubicBezTo>
                      <a:pt x="72" y="471"/>
                      <a:pt x="72" y="471"/>
                      <a:pt x="72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70" y="471"/>
                      <a:pt x="70" y="471"/>
                      <a:pt x="70" y="471"/>
                    </a:cubicBezTo>
                    <a:cubicBezTo>
                      <a:pt x="69" y="470"/>
                      <a:pt x="69" y="470"/>
                      <a:pt x="69" y="470"/>
                    </a:cubicBezTo>
                    <a:cubicBezTo>
                      <a:pt x="69" y="470"/>
                      <a:pt x="69" y="470"/>
                      <a:pt x="69" y="470"/>
                    </a:cubicBezTo>
                    <a:cubicBezTo>
                      <a:pt x="71" y="470"/>
                      <a:pt x="71" y="470"/>
                      <a:pt x="71" y="470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73" y="470"/>
                      <a:pt x="73" y="470"/>
                      <a:pt x="73" y="470"/>
                    </a:cubicBezTo>
                    <a:cubicBezTo>
                      <a:pt x="74" y="469"/>
                      <a:pt x="74" y="469"/>
                      <a:pt x="74" y="469"/>
                    </a:cubicBezTo>
                    <a:cubicBezTo>
                      <a:pt x="74" y="468"/>
                      <a:pt x="74" y="468"/>
                      <a:pt x="74" y="468"/>
                    </a:cubicBezTo>
                    <a:cubicBezTo>
                      <a:pt x="73" y="469"/>
                      <a:pt x="73" y="469"/>
                      <a:pt x="73" y="469"/>
                    </a:cubicBezTo>
                    <a:cubicBezTo>
                      <a:pt x="72" y="469"/>
                      <a:pt x="72" y="469"/>
                      <a:pt x="72" y="469"/>
                    </a:cubicBezTo>
                    <a:cubicBezTo>
                      <a:pt x="71" y="469"/>
                      <a:pt x="71" y="469"/>
                      <a:pt x="71" y="469"/>
                    </a:cubicBezTo>
                    <a:cubicBezTo>
                      <a:pt x="70" y="469"/>
                      <a:pt x="70" y="469"/>
                      <a:pt x="70" y="469"/>
                    </a:cubicBezTo>
                    <a:cubicBezTo>
                      <a:pt x="69" y="469"/>
                      <a:pt x="69" y="469"/>
                      <a:pt x="69" y="469"/>
                    </a:cubicBezTo>
                    <a:cubicBezTo>
                      <a:pt x="68" y="470"/>
                      <a:pt x="68" y="470"/>
                      <a:pt x="68" y="470"/>
                    </a:cubicBezTo>
                    <a:cubicBezTo>
                      <a:pt x="67" y="471"/>
                      <a:pt x="67" y="471"/>
                      <a:pt x="67" y="471"/>
                    </a:cubicBezTo>
                    <a:cubicBezTo>
                      <a:pt x="65" y="470"/>
                      <a:pt x="65" y="470"/>
                      <a:pt x="65" y="470"/>
                    </a:cubicBezTo>
                    <a:cubicBezTo>
                      <a:pt x="65" y="468"/>
                      <a:pt x="65" y="468"/>
                      <a:pt x="65" y="468"/>
                    </a:cubicBezTo>
                    <a:cubicBezTo>
                      <a:pt x="66" y="467"/>
                      <a:pt x="66" y="467"/>
                      <a:pt x="66" y="467"/>
                    </a:cubicBezTo>
                    <a:cubicBezTo>
                      <a:pt x="68" y="467"/>
                      <a:pt x="68" y="467"/>
                      <a:pt x="68" y="467"/>
                    </a:cubicBezTo>
                    <a:cubicBezTo>
                      <a:pt x="70" y="466"/>
                      <a:pt x="70" y="466"/>
                      <a:pt x="70" y="466"/>
                    </a:cubicBezTo>
                    <a:cubicBezTo>
                      <a:pt x="69" y="465"/>
                      <a:pt x="69" y="465"/>
                      <a:pt x="69" y="465"/>
                    </a:cubicBezTo>
                    <a:cubicBezTo>
                      <a:pt x="67" y="466"/>
                      <a:pt x="67" y="466"/>
                      <a:pt x="67" y="466"/>
                    </a:cubicBezTo>
                    <a:cubicBezTo>
                      <a:pt x="66" y="466"/>
                      <a:pt x="66" y="466"/>
                      <a:pt x="66" y="466"/>
                    </a:cubicBezTo>
                    <a:cubicBezTo>
                      <a:pt x="65" y="464"/>
                      <a:pt x="65" y="464"/>
                      <a:pt x="65" y="464"/>
                    </a:cubicBezTo>
                    <a:cubicBezTo>
                      <a:pt x="66" y="463"/>
                      <a:pt x="66" y="463"/>
                      <a:pt x="66" y="463"/>
                    </a:cubicBezTo>
                    <a:cubicBezTo>
                      <a:pt x="67" y="462"/>
                      <a:pt x="67" y="462"/>
                      <a:pt x="67" y="462"/>
                    </a:cubicBezTo>
                    <a:cubicBezTo>
                      <a:pt x="71" y="463"/>
                      <a:pt x="71" y="463"/>
                      <a:pt x="71" y="463"/>
                    </a:cubicBezTo>
                    <a:cubicBezTo>
                      <a:pt x="73" y="462"/>
                      <a:pt x="73" y="462"/>
                      <a:pt x="73" y="462"/>
                    </a:cubicBezTo>
                    <a:cubicBezTo>
                      <a:pt x="76" y="462"/>
                      <a:pt x="76" y="462"/>
                      <a:pt x="76" y="462"/>
                    </a:cubicBezTo>
                    <a:cubicBezTo>
                      <a:pt x="77" y="461"/>
                      <a:pt x="77" y="461"/>
                      <a:pt x="77" y="461"/>
                    </a:cubicBezTo>
                    <a:cubicBezTo>
                      <a:pt x="77" y="460"/>
                      <a:pt x="77" y="460"/>
                      <a:pt x="77" y="460"/>
                    </a:cubicBezTo>
                    <a:cubicBezTo>
                      <a:pt x="76" y="460"/>
                      <a:pt x="76" y="460"/>
                      <a:pt x="76" y="460"/>
                    </a:cubicBezTo>
                    <a:cubicBezTo>
                      <a:pt x="74" y="460"/>
                      <a:pt x="74" y="460"/>
                      <a:pt x="74" y="460"/>
                    </a:cubicBezTo>
                    <a:cubicBezTo>
                      <a:pt x="73" y="461"/>
                      <a:pt x="73" y="461"/>
                      <a:pt x="73" y="461"/>
                    </a:cubicBezTo>
                    <a:cubicBezTo>
                      <a:pt x="70" y="461"/>
                      <a:pt x="70" y="461"/>
                      <a:pt x="70" y="461"/>
                    </a:cubicBezTo>
                    <a:cubicBezTo>
                      <a:pt x="69" y="462"/>
                      <a:pt x="69" y="462"/>
                      <a:pt x="69" y="462"/>
                    </a:cubicBezTo>
                    <a:cubicBezTo>
                      <a:pt x="67" y="462"/>
                      <a:pt x="67" y="462"/>
                      <a:pt x="67" y="462"/>
                    </a:cubicBezTo>
                    <a:cubicBezTo>
                      <a:pt x="66" y="461"/>
                      <a:pt x="66" y="461"/>
                      <a:pt x="66" y="461"/>
                    </a:cubicBezTo>
                    <a:cubicBezTo>
                      <a:pt x="66" y="461"/>
                      <a:pt x="66" y="461"/>
                      <a:pt x="66" y="461"/>
                    </a:cubicBezTo>
                    <a:cubicBezTo>
                      <a:pt x="70" y="461"/>
                      <a:pt x="70" y="461"/>
                      <a:pt x="70" y="461"/>
                    </a:cubicBezTo>
                    <a:cubicBezTo>
                      <a:pt x="71" y="460"/>
                      <a:pt x="71" y="460"/>
                      <a:pt x="71" y="460"/>
                    </a:cubicBezTo>
                    <a:cubicBezTo>
                      <a:pt x="73" y="458"/>
                      <a:pt x="73" y="458"/>
                      <a:pt x="73" y="458"/>
                    </a:cubicBezTo>
                    <a:cubicBezTo>
                      <a:pt x="74" y="458"/>
                      <a:pt x="74" y="458"/>
                      <a:pt x="74" y="458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6" y="459"/>
                      <a:pt x="76" y="459"/>
                      <a:pt x="76" y="459"/>
                    </a:cubicBezTo>
                    <a:cubicBezTo>
                      <a:pt x="77" y="459"/>
                      <a:pt x="77" y="459"/>
                      <a:pt x="77" y="459"/>
                    </a:cubicBezTo>
                    <a:cubicBezTo>
                      <a:pt x="78" y="458"/>
                      <a:pt x="78" y="458"/>
                      <a:pt x="78" y="458"/>
                    </a:cubicBezTo>
                    <a:cubicBezTo>
                      <a:pt x="77" y="458"/>
                      <a:pt x="77" y="458"/>
                      <a:pt x="77" y="458"/>
                    </a:cubicBezTo>
                    <a:cubicBezTo>
                      <a:pt x="75" y="456"/>
                      <a:pt x="75" y="456"/>
                      <a:pt x="75" y="456"/>
                    </a:cubicBezTo>
                    <a:cubicBezTo>
                      <a:pt x="74" y="456"/>
                      <a:pt x="74" y="456"/>
                      <a:pt x="74" y="456"/>
                    </a:cubicBezTo>
                    <a:cubicBezTo>
                      <a:pt x="74" y="456"/>
                      <a:pt x="74" y="456"/>
                      <a:pt x="74" y="456"/>
                    </a:cubicBezTo>
                    <a:cubicBezTo>
                      <a:pt x="74" y="455"/>
                      <a:pt x="74" y="455"/>
                      <a:pt x="74" y="455"/>
                    </a:cubicBezTo>
                    <a:cubicBezTo>
                      <a:pt x="75" y="455"/>
                      <a:pt x="75" y="455"/>
                      <a:pt x="75" y="455"/>
                    </a:cubicBezTo>
                    <a:cubicBezTo>
                      <a:pt x="76" y="454"/>
                      <a:pt x="76" y="454"/>
                      <a:pt x="76" y="454"/>
                    </a:cubicBezTo>
                    <a:cubicBezTo>
                      <a:pt x="76" y="454"/>
                      <a:pt x="76" y="454"/>
                      <a:pt x="76" y="454"/>
                    </a:cubicBezTo>
                    <a:cubicBezTo>
                      <a:pt x="77" y="456"/>
                      <a:pt x="77" y="456"/>
                      <a:pt x="77" y="456"/>
                    </a:cubicBezTo>
                    <a:cubicBezTo>
                      <a:pt x="79" y="457"/>
                      <a:pt x="79" y="457"/>
                      <a:pt x="79" y="457"/>
                    </a:cubicBezTo>
                    <a:cubicBezTo>
                      <a:pt x="80" y="458"/>
                      <a:pt x="80" y="458"/>
                      <a:pt x="80" y="458"/>
                    </a:cubicBezTo>
                    <a:cubicBezTo>
                      <a:pt x="80" y="458"/>
                      <a:pt x="80" y="458"/>
                      <a:pt x="80" y="458"/>
                    </a:cubicBezTo>
                    <a:cubicBezTo>
                      <a:pt x="80" y="456"/>
                      <a:pt x="80" y="456"/>
                      <a:pt x="80" y="456"/>
                    </a:cubicBezTo>
                    <a:cubicBezTo>
                      <a:pt x="79" y="456"/>
                      <a:pt x="79" y="456"/>
                      <a:pt x="79" y="456"/>
                    </a:cubicBezTo>
                    <a:cubicBezTo>
                      <a:pt x="79" y="453"/>
                      <a:pt x="79" y="453"/>
                      <a:pt x="79" y="453"/>
                    </a:cubicBezTo>
                    <a:cubicBezTo>
                      <a:pt x="80" y="451"/>
                      <a:pt x="80" y="451"/>
                      <a:pt x="80" y="451"/>
                    </a:cubicBezTo>
                    <a:cubicBezTo>
                      <a:pt x="80" y="451"/>
                      <a:pt x="80" y="451"/>
                      <a:pt x="80" y="451"/>
                    </a:cubicBezTo>
                    <a:cubicBezTo>
                      <a:pt x="79" y="451"/>
                      <a:pt x="79" y="451"/>
                      <a:pt x="79" y="451"/>
                    </a:cubicBezTo>
                    <a:cubicBezTo>
                      <a:pt x="78" y="452"/>
                      <a:pt x="78" y="452"/>
                      <a:pt x="78" y="452"/>
                    </a:cubicBezTo>
                    <a:cubicBezTo>
                      <a:pt x="77" y="452"/>
                      <a:pt x="77" y="452"/>
                      <a:pt x="77" y="452"/>
                    </a:cubicBezTo>
                    <a:cubicBezTo>
                      <a:pt x="76" y="450"/>
                      <a:pt x="76" y="450"/>
                      <a:pt x="76" y="450"/>
                    </a:cubicBezTo>
                    <a:cubicBezTo>
                      <a:pt x="75" y="451"/>
                      <a:pt x="75" y="451"/>
                      <a:pt x="75" y="451"/>
                    </a:cubicBezTo>
                    <a:cubicBezTo>
                      <a:pt x="73" y="454"/>
                      <a:pt x="73" y="454"/>
                      <a:pt x="73" y="454"/>
                    </a:cubicBezTo>
                    <a:cubicBezTo>
                      <a:pt x="72" y="454"/>
                      <a:pt x="72" y="454"/>
                      <a:pt x="72" y="454"/>
                    </a:cubicBezTo>
                    <a:cubicBezTo>
                      <a:pt x="71" y="454"/>
                      <a:pt x="71" y="454"/>
                      <a:pt x="71" y="454"/>
                    </a:cubicBezTo>
                    <a:cubicBezTo>
                      <a:pt x="72" y="453"/>
                      <a:pt x="72" y="453"/>
                      <a:pt x="72" y="453"/>
                    </a:cubicBezTo>
                    <a:cubicBezTo>
                      <a:pt x="72" y="452"/>
                      <a:pt x="72" y="452"/>
                      <a:pt x="72" y="452"/>
                    </a:cubicBezTo>
                    <a:cubicBezTo>
                      <a:pt x="72" y="452"/>
                      <a:pt x="72" y="452"/>
                      <a:pt x="72" y="452"/>
                    </a:cubicBezTo>
                    <a:cubicBezTo>
                      <a:pt x="71" y="452"/>
                      <a:pt x="71" y="452"/>
                      <a:pt x="71" y="452"/>
                    </a:cubicBezTo>
                    <a:cubicBezTo>
                      <a:pt x="70" y="454"/>
                      <a:pt x="70" y="454"/>
                      <a:pt x="70" y="454"/>
                    </a:cubicBezTo>
                    <a:cubicBezTo>
                      <a:pt x="69" y="454"/>
                      <a:pt x="69" y="454"/>
                      <a:pt x="69" y="454"/>
                    </a:cubicBezTo>
                    <a:cubicBezTo>
                      <a:pt x="67" y="456"/>
                      <a:pt x="67" y="456"/>
                      <a:pt x="67" y="456"/>
                    </a:cubicBezTo>
                    <a:cubicBezTo>
                      <a:pt x="66" y="456"/>
                      <a:pt x="66" y="456"/>
                      <a:pt x="66" y="456"/>
                    </a:cubicBezTo>
                    <a:cubicBezTo>
                      <a:pt x="65" y="459"/>
                      <a:pt x="65" y="459"/>
                      <a:pt x="65" y="459"/>
                    </a:cubicBezTo>
                    <a:cubicBezTo>
                      <a:pt x="64" y="459"/>
                      <a:pt x="64" y="459"/>
                      <a:pt x="64" y="459"/>
                    </a:cubicBezTo>
                    <a:cubicBezTo>
                      <a:pt x="64" y="457"/>
                      <a:pt x="64" y="457"/>
                      <a:pt x="64" y="457"/>
                    </a:cubicBezTo>
                    <a:cubicBezTo>
                      <a:pt x="64" y="455"/>
                      <a:pt x="64" y="455"/>
                      <a:pt x="64" y="455"/>
                    </a:cubicBezTo>
                    <a:cubicBezTo>
                      <a:pt x="65" y="454"/>
                      <a:pt x="65" y="454"/>
                      <a:pt x="65" y="454"/>
                    </a:cubicBezTo>
                    <a:cubicBezTo>
                      <a:pt x="64" y="453"/>
                      <a:pt x="64" y="453"/>
                      <a:pt x="64" y="453"/>
                    </a:cubicBezTo>
                    <a:cubicBezTo>
                      <a:pt x="64" y="451"/>
                      <a:pt x="64" y="451"/>
                      <a:pt x="64" y="451"/>
                    </a:cubicBezTo>
                    <a:cubicBezTo>
                      <a:pt x="64" y="450"/>
                      <a:pt x="64" y="450"/>
                      <a:pt x="64" y="450"/>
                    </a:cubicBezTo>
                    <a:cubicBezTo>
                      <a:pt x="65" y="450"/>
                      <a:pt x="65" y="450"/>
                      <a:pt x="65" y="450"/>
                    </a:cubicBezTo>
                    <a:cubicBezTo>
                      <a:pt x="68" y="449"/>
                      <a:pt x="68" y="449"/>
                      <a:pt x="68" y="449"/>
                    </a:cubicBezTo>
                    <a:cubicBezTo>
                      <a:pt x="69" y="449"/>
                      <a:pt x="69" y="449"/>
                      <a:pt x="69" y="449"/>
                    </a:cubicBezTo>
                    <a:cubicBezTo>
                      <a:pt x="71" y="447"/>
                      <a:pt x="71" y="447"/>
                      <a:pt x="71" y="447"/>
                    </a:cubicBezTo>
                    <a:cubicBezTo>
                      <a:pt x="71" y="447"/>
                      <a:pt x="71" y="447"/>
                      <a:pt x="71" y="447"/>
                    </a:cubicBezTo>
                    <a:cubicBezTo>
                      <a:pt x="71" y="446"/>
                      <a:pt x="71" y="446"/>
                      <a:pt x="71" y="446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69" y="447"/>
                      <a:pt x="69" y="447"/>
                      <a:pt x="69" y="447"/>
                    </a:cubicBezTo>
                    <a:cubicBezTo>
                      <a:pt x="68" y="447"/>
                      <a:pt x="68" y="447"/>
                      <a:pt x="68" y="447"/>
                    </a:cubicBezTo>
                    <a:cubicBezTo>
                      <a:pt x="67" y="448"/>
                      <a:pt x="67" y="448"/>
                      <a:pt x="67" y="448"/>
                    </a:cubicBezTo>
                    <a:cubicBezTo>
                      <a:pt x="66" y="449"/>
                      <a:pt x="66" y="449"/>
                      <a:pt x="66" y="449"/>
                    </a:cubicBezTo>
                    <a:cubicBezTo>
                      <a:pt x="65" y="449"/>
                      <a:pt x="65" y="449"/>
                      <a:pt x="65" y="449"/>
                    </a:cubicBezTo>
                    <a:cubicBezTo>
                      <a:pt x="64" y="447"/>
                      <a:pt x="64" y="447"/>
                      <a:pt x="64" y="447"/>
                    </a:cubicBezTo>
                    <a:cubicBezTo>
                      <a:pt x="64" y="445"/>
                      <a:pt x="64" y="445"/>
                      <a:pt x="64" y="445"/>
                    </a:cubicBezTo>
                    <a:cubicBezTo>
                      <a:pt x="65" y="444"/>
                      <a:pt x="65" y="444"/>
                      <a:pt x="65" y="444"/>
                    </a:cubicBezTo>
                    <a:cubicBezTo>
                      <a:pt x="65" y="443"/>
                      <a:pt x="65" y="443"/>
                      <a:pt x="65" y="443"/>
                    </a:cubicBezTo>
                    <a:cubicBezTo>
                      <a:pt x="64" y="441"/>
                      <a:pt x="64" y="441"/>
                      <a:pt x="64" y="441"/>
                    </a:cubicBezTo>
                    <a:cubicBezTo>
                      <a:pt x="64" y="441"/>
                      <a:pt x="64" y="441"/>
                      <a:pt x="64" y="441"/>
                    </a:cubicBezTo>
                    <a:cubicBezTo>
                      <a:pt x="63" y="442"/>
                      <a:pt x="63" y="442"/>
                      <a:pt x="63" y="442"/>
                    </a:cubicBezTo>
                    <a:cubicBezTo>
                      <a:pt x="62" y="442"/>
                      <a:pt x="62" y="442"/>
                      <a:pt x="62" y="442"/>
                    </a:cubicBezTo>
                    <a:cubicBezTo>
                      <a:pt x="62" y="441"/>
                      <a:pt x="62" y="441"/>
                      <a:pt x="62" y="441"/>
                    </a:cubicBezTo>
                    <a:cubicBezTo>
                      <a:pt x="63" y="439"/>
                      <a:pt x="63" y="439"/>
                      <a:pt x="63" y="439"/>
                    </a:cubicBezTo>
                    <a:cubicBezTo>
                      <a:pt x="65" y="439"/>
                      <a:pt x="65" y="439"/>
                      <a:pt x="65" y="439"/>
                    </a:cubicBezTo>
                    <a:cubicBezTo>
                      <a:pt x="66" y="438"/>
                      <a:pt x="66" y="438"/>
                      <a:pt x="66" y="438"/>
                    </a:cubicBezTo>
                    <a:cubicBezTo>
                      <a:pt x="68" y="438"/>
                      <a:pt x="68" y="438"/>
                      <a:pt x="68" y="438"/>
                    </a:cubicBezTo>
                    <a:cubicBezTo>
                      <a:pt x="69" y="437"/>
                      <a:pt x="69" y="437"/>
                      <a:pt x="69" y="437"/>
                    </a:cubicBezTo>
                    <a:cubicBezTo>
                      <a:pt x="70" y="436"/>
                      <a:pt x="70" y="436"/>
                      <a:pt x="70" y="436"/>
                    </a:cubicBezTo>
                    <a:cubicBezTo>
                      <a:pt x="71" y="435"/>
                      <a:pt x="71" y="435"/>
                      <a:pt x="71" y="435"/>
                    </a:cubicBezTo>
                    <a:cubicBezTo>
                      <a:pt x="71" y="434"/>
                      <a:pt x="71" y="434"/>
                      <a:pt x="71" y="434"/>
                    </a:cubicBezTo>
                    <a:cubicBezTo>
                      <a:pt x="72" y="435"/>
                      <a:pt x="72" y="435"/>
                      <a:pt x="72" y="435"/>
                    </a:cubicBezTo>
                    <a:cubicBezTo>
                      <a:pt x="73" y="434"/>
                      <a:pt x="73" y="434"/>
                      <a:pt x="73" y="434"/>
                    </a:cubicBezTo>
                    <a:cubicBezTo>
                      <a:pt x="76" y="434"/>
                      <a:pt x="76" y="434"/>
                      <a:pt x="76" y="434"/>
                    </a:cubicBezTo>
                    <a:cubicBezTo>
                      <a:pt x="77" y="435"/>
                      <a:pt x="77" y="435"/>
                      <a:pt x="77" y="435"/>
                    </a:cubicBezTo>
                    <a:cubicBezTo>
                      <a:pt x="78" y="435"/>
                      <a:pt x="78" y="435"/>
                      <a:pt x="78" y="435"/>
                    </a:cubicBezTo>
                    <a:cubicBezTo>
                      <a:pt x="78" y="434"/>
                      <a:pt x="78" y="434"/>
                      <a:pt x="78" y="434"/>
                    </a:cubicBezTo>
                    <a:cubicBezTo>
                      <a:pt x="76" y="433"/>
                      <a:pt x="76" y="433"/>
                      <a:pt x="76" y="433"/>
                    </a:cubicBezTo>
                    <a:cubicBezTo>
                      <a:pt x="75" y="432"/>
                      <a:pt x="75" y="432"/>
                      <a:pt x="75" y="432"/>
                    </a:cubicBezTo>
                    <a:cubicBezTo>
                      <a:pt x="74" y="432"/>
                      <a:pt x="74" y="432"/>
                      <a:pt x="74" y="432"/>
                    </a:cubicBezTo>
                    <a:cubicBezTo>
                      <a:pt x="71" y="434"/>
                      <a:pt x="71" y="434"/>
                      <a:pt x="71" y="434"/>
                    </a:cubicBezTo>
                    <a:cubicBezTo>
                      <a:pt x="70" y="434"/>
                      <a:pt x="70" y="434"/>
                      <a:pt x="70" y="434"/>
                    </a:cubicBezTo>
                    <a:cubicBezTo>
                      <a:pt x="69" y="434"/>
                      <a:pt x="69" y="434"/>
                      <a:pt x="69" y="434"/>
                    </a:cubicBezTo>
                    <a:cubicBezTo>
                      <a:pt x="68" y="436"/>
                      <a:pt x="68" y="436"/>
                      <a:pt x="68" y="436"/>
                    </a:cubicBezTo>
                    <a:cubicBezTo>
                      <a:pt x="67" y="437"/>
                      <a:pt x="67" y="437"/>
                      <a:pt x="67" y="437"/>
                    </a:cubicBezTo>
                    <a:cubicBezTo>
                      <a:pt x="66" y="437"/>
                      <a:pt x="66" y="437"/>
                      <a:pt x="66" y="437"/>
                    </a:cubicBezTo>
                    <a:cubicBezTo>
                      <a:pt x="65" y="438"/>
                      <a:pt x="65" y="438"/>
                      <a:pt x="65" y="438"/>
                    </a:cubicBezTo>
                    <a:cubicBezTo>
                      <a:pt x="64" y="438"/>
                      <a:pt x="64" y="438"/>
                      <a:pt x="64" y="438"/>
                    </a:cubicBezTo>
                    <a:cubicBezTo>
                      <a:pt x="63" y="438"/>
                      <a:pt x="63" y="438"/>
                      <a:pt x="63" y="438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62" y="436"/>
                      <a:pt x="62" y="436"/>
                      <a:pt x="62" y="436"/>
                    </a:cubicBezTo>
                    <a:cubicBezTo>
                      <a:pt x="63" y="435"/>
                      <a:pt x="63" y="435"/>
                      <a:pt x="63" y="435"/>
                    </a:cubicBezTo>
                    <a:cubicBezTo>
                      <a:pt x="64" y="434"/>
                      <a:pt x="64" y="434"/>
                      <a:pt x="64" y="434"/>
                    </a:cubicBezTo>
                    <a:cubicBezTo>
                      <a:pt x="62" y="433"/>
                      <a:pt x="62" y="433"/>
                      <a:pt x="62" y="433"/>
                    </a:cubicBezTo>
                    <a:cubicBezTo>
                      <a:pt x="61" y="433"/>
                      <a:pt x="61" y="433"/>
                      <a:pt x="61" y="433"/>
                    </a:cubicBezTo>
                    <a:cubicBezTo>
                      <a:pt x="60" y="432"/>
                      <a:pt x="60" y="432"/>
                      <a:pt x="60" y="432"/>
                    </a:cubicBezTo>
                    <a:cubicBezTo>
                      <a:pt x="60" y="431"/>
                      <a:pt x="60" y="431"/>
                      <a:pt x="60" y="431"/>
                    </a:cubicBezTo>
                    <a:cubicBezTo>
                      <a:pt x="63" y="431"/>
                      <a:pt x="63" y="431"/>
                      <a:pt x="63" y="431"/>
                    </a:cubicBezTo>
                    <a:cubicBezTo>
                      <a:pt x="64" y="429"/>
                      <a:pt x="64" y="429"/>
                      <a:pt x="64" y="429"/>
                    </a:cubicBezTo>
                    <a:cubicBezTo>
                      <a:pt x="65" y="429"/>
                      <a:pt x="65" y="429"/>
                      <a:pt x="65" y="429"/>
                    </a:cubicBezTo>
                    <a:cubicBezTo>
                      <a:pt x="65" y="430"/>
                      <a:pt x="65" y="430"/>
                      <a:pt x="65" y="430"/>
                    </a:cubicBezTo>
                    <a:cubicBezTo>
                      <a:pt x="67" y="430"/>
                      <a:pt x="67" y="430"/>
                      <a:pt x="67" y="430"/>
                    </a:cubicBezTo>
                    <a:cubicBezTo>
                      <a:pt x="68" y="430"/>
                      <a:pt x="68" y="430"/>
                      <a:pt x="68" y="430"/>
                    </a:cubicBezTo>
                    <a:cubicBezTo>
                      <a:pt x="70" y="428"/>
                      <a:pt x="70" y="428"/>
                      <a:pt x="70" y="428"/>
                    </a:cubicBezTo>
                    <a:cubicBezTo>
                      <a:pt x="71" y="428"/>
                      <a:pt x="71" y="428"/>
                      <a:pt x="71" y="428"/>
                    </a:cubicBezTo>
                    <a:cubicBezTo>
                      <a:pt x="71" y="427"/>
                      <a:pt x="71" y="427"/>
                      <a:pt x="71" y="427"/>
                    </a:cubicBezTo>
                    <a:cubicBezTo>
                      <a:pt x="71" y="427"/>
                      <a:pt x="71" y="427"/>
                      <a:pt x="71" y="427"/>
                    </a:cubicBezTo>
                    <a:cubicBezTo>
                      <a:pt x="70" y="427"/>
                      <a:pt x="70" y="427"/>
                      <a:pt x="70" y="427"/>
                    </a:cubicBezTo>
                    <a:cubicBezTo>
                      <a:pt x="68" y="428"/>
                      <a:pt x="68" y="428"/>
                      <a:pt x="68" y="428"/>
                    </a:cubicBezTo>
                    <a:cubicBezTo>
                      <a:pt x="67" y="429"/>
                      <a:pt x="67" y="429"/>
                      <a:pt x="67" y="429"/>
                    </a:cubicBez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7"/>
                      <a:pt x="65" y="427"/>
                      <a:pt x="65" y="427"/>
                    </a:cubicBezTo>
                    <a:cubicBezTo>
                      <a:pt x="64" y="427"/>
                      <a:pt x="64" y="427"/>
                      <a:pt x="64" y="427"/>
                    </a:cubicBezTo>
                    <a:cubicBezTo>
                      <a:pt x="63" y="428"/>
                      <a:pt x="63" y="428"/>
                      <a:pt x="63" y="428"/>
                    </a:cubicBezTo>
                    <a:cubicBezTo>
                      <a:pt x="61" y="429"/>
                      <a:pt x="61" y="429"/>
                      <a:pt x="61" y="429"/>
                    </a:cubicBezTo>
                    <a:cubicBezTo>
                      <a:pt x="61" y="428"/>
                      <a:pt x="61" y="428"/>
                      <a:pt x="61" y="428"/>
                    </a:cubicBezTo>
                    <a:cubicBezTo>
                      <a:pt x="60" y="428"/>
                      <a:pt x="60" y="428"/>
                      <a:pt x="60" y="428"/>
                    </a:cubicBezTo>
                    <a:cubicBezTo>
                      <a:pt x="59" y="429"/>
                      <a:pt x="59" y="429"/>
                      <a:pt x="59" y="429"/>
                    </a:cubicBezTo>
                    <a:cubicBezTo>
                      <a:pt x="58" y="428"/>
                      <a:pt x="58" y="428"/>
                      <a:pt x="58" y="428"/>
                    </a:cubicBezTo>
                    <a:cubicBezTo>
                      <a:pt x="59" y="428"/>
                      <a:pt x="59" y="428"/>
                      <a:pt x="59" y="428"/>
                    </a:cubicBezTo>
                    <a:cubicBezTo>
                      <a:pt x="60" y="427"/>
                      <a:pt x="60" y="427"/>
                      <a:pt x="60" y="427"/>
                    </a:cubicBezTo>
                    <a:cubicBezTo>
                      <a:pt x="62" y="426"/>
                      <a:pt x="62" y="426"/>
                      <a:pt x="62" y="426"/>
                    </a:cubicBezTo>
                    <a:cubicBezTo>
                      <a:pt x="65" y="425"/>
                      <a:pt x="65" y="425"/>
                      <a:pt x="65" y="425"/>
                    </a:cubicBezTo>
                    <a:cubicBezTo>
                      <a:pt x="66" y="424"/>
                      <a:pt x="66" y="424"/>
                      <a:pt x="66" y="424"/>
                    </a:cubicBezTo>
                    <a:cubicBezTo>
                      <a:pt x="69" y="424"/>
                      <a:pt x="69" y="424"/>
                      <a:pt x="69" y="424"/>
                    </a:cubicBezTo>
                    <a:cubicBezTo>
                      <a:pt x="71" y="422"/>
                      <a:pt x="71" y="422"/>
                      <a:pt x="71" y="422"/>
                    </a:cubicBezTo>
                    <a:cubicBezTo>
                      <a:pt x="74" y="418"/>
                      <a:pt x="74" y="418"/>
                      <a:pt x="74" y="418"/>
                    </a:cubicBezTo>
                    <a:cubicBezTo>
                      <a:pt x="77" y="417"/>
                      <a:pt x="77" y="417"/>
                      <a:pt x="77" y="417"/>
                    </a:cubicBezTo>
                    <a:cubicBezTo>
                      <a:pt x="79" y="416"/>
                      <a:pt x="79" y="416"/>
                      <a:pt x="79" y="416"/>
                    </a:cubicBezTo>
                    <a:cubicBezTo>
                      <a:pt x="81" y="416"/>
                      <a:pt x="81" y="416"/>
                      <a:pt x="81" y="416"/>
                    </a:cubicBezTo>
                    <a:cubicBezTo>
                      <a:pt x="81" y="415"/>
                      <a:pt x="81" y="415"/>
                      <a:pt x="81" y="415"/>
                    </a:cubicBezTo>
                    <a:cubicBezTo>
                      <a:pt x="81" y="415"/>
                      <a:pt x="81" y="415"/>
                      <a:pt x="81" y="415"/>
                    </a:cubicBezTo>
                    <a:cubicBezTo>
                      <a:pt x="80" y="414"/>
                      <a:pt x="80" y="414"/>
                      <a:pt x="80" y="414"/>
                    </a:cubicBezTo>
                    <a:cubicBezTo>
                      <a:pt x="78" y="415"/>
                      <a:pt x="78" y="415"/>
                      <a:pt x="78" y="415"/>
                    </a:cubicBezTo>
                    <a:cubicBezTo>
                      <a:pt x="73" y="417"/>
                      <a:pt x="73" y="417"/>
                      <a:pt x="73" y="417"/>
                    </a:cubicBezTo>
                    <a:cubicBezTo>
                      <a:pt x="71" y="419"/>
                      <a:pt x="71" y="419"/>
                      <a:pt x="71" y="419"/>
                    </a:cubicBezTo>
                    <a:cubicBezTo>
                      <a:pt x="69" y="422"/>
                      <a:pt x="69" y="422"/>
                      <a:pt x="69" y="422"/>
                    </a:cubicBezTo>
                    <a:cubicBezTo>
                      <a:pt x="67" y="423"/>
                      <a:pt x="67" y="423"/>
                      <a:pt x="67" y="423"/>
                    </a:cubicBezTo>
                    <a:cubicBezTo>
                      <a:pt x="64" y="423"/>
                      <a:pt x="64" y="423"/>
                      <a:pt x="64" y="423"/>
                    </a:cubicBezTo>
                    <a:cubicBezTo>
                      <a:pt x="63" y="424"/>
                      <a:pt x="63" y="424"/>
                      <a:pt x="63" y="424"/>
                    </a:cubicBezTo>
                    <a:cubicBezTo>
                      <a:pt x="59" y="426"/>
                      <a:pt x="59" y="426"/>
                      <a:pt x="59" y="426"/>
                    </a:cubicBezTo>
                    <a:cubicBezTo>
                      <a:pt x="58" y="426"/>
                      <a:pt x="58" y="426"/>
                      <a:pt x="58" y="426"/>
                    </a:cubicBezTo>
                    <a:cubicBezTo>
                      <a:pt x="58" y="425"/>
                      <a:pt x="58" y="425"/>
                      <a:pt x="58" y="425"/>
                    </a:cubicBezTo>
                    <a:cubicBezTo>
                      <a:pt x="58" y="424"/>
                      <a:pt x="58" y="424"/>
                      <a:pt x="58" y="424"/>
                    </a:cubicBezTo>
                    <a:cubicBezTo>
                      <a:pt x="58" y="421"/>
                      <a:pt x="58" y="421"/>
                      <a:pt x="58" y="421"/>
                    </a:cubicBezTo>
                    <a:cubicBezTo>
                      <a:pt x="59" y="419"/>
                      <a:pt x="59" y="419"/>
                      <a:pt x="59" y="419"/>
                    </a:cubicBezTo>
                    <a:cubicBezTo>
                      <a:pt x="60" y="419"/>
                      <a:pt x="60" y="419"/>
                      <a:pt x="60" y="419"/>
                    </a:cubicBezTo>
                    <a:cubicBezTo>
                      <a:pt x="62" y="420"/>
                      <a:pt x="62" y="420"/>
                      <a:pt x="62" y="420"/>
                    </a:cubicBezTo>
                    <a:cubicBezTo>
                      <a:pt x="63" y="420"/>
                      <a:pt x="63" y="420"/>
                      <a:pt x="63" y="420"/>
                    </a:cubicBezTo>
                    <a:cubicBezTo>
                      <a:pt x="65" y="420"/>
                      <a:pt x="65" y="420"/>
                      <a:pt x="65" y="420"/>
                    </a:cubicBezTo>
                    <a:cubicBezTo>
                      <a:pt x="67" y="420"/>
                      <a:pt x="67" y="420"/>
                      <a:pt x="67" y="420"/>
                    </a:cubicBezTo>
                    <a:cubicBezTo>
                      <a:pt x="66" y="419"/>
                      <a:pt x="66" y="419"/>
                      <a:pt x="66" y="419"/>
                    </a:cubicBezTo>
                    <a:cubicBezTo>
                      <a:pt x="65" y="418"/>
                      <a:pt x="65" y="418"/>
                      <a:pt x="65" y="418"/>
                    </a:cubicBezTo>
                    <a:cubicBezTo>
                      <a:pt x="63" y="418"/>
                      <a:pt x="63" y="418"/>
                      <a:pt x="63" y="418"/>
                    </a:cubicBezTo>
                    <a:cubicBezTo>
                      <a:pt x="62" y="419"/>
                      <a:pt x="62" y="419"/>
                      <a:pt x="62" y="419"/>
                    </a:cubicBezTo>
                    <a:cubicBezTo>
                      <a:pt x="61" y="419"/>
                      <a:pt x="61" y="419"/>
                      <a:pt x="61" y="419"/>
                    </a:cubicBezTo>
                    <a:cubicBezTo>
                      <a:pt x="61" y="417"/>
                      <a:pt x="61" y="417"/>
                      <a:pt x="61" y="417"/>
                    </a:cubicBezTo>
                    <a:cubicBezTo>
                      <a:pt x="61" y="416"/>
                      <a:pt x="61" y="416"/>
                      <a:pt x="61" y="416"/>
                    </a:cubicBezTo>
                    <a:cubicBezTo>
                      <a:pt x="62" y="416"/>
                      <a:pt x="62" y="416"/>
                      <a:pt x="62" y="416"/>
                    </a:cubicBezTo>
                    <a:cubicBezTo>
                      <a:pt x="64" y="417"/>
                      <a:pt x="64" y="417"/>
                      <a:pt x="64" y="417"/>
                    </a:cubicBezTo>
                    <a:cubicBezTo>
                      <a:pt x="66" y="417"/>
                      <a:pt x="66" y="417"/>
                      <a:pt x="66" y="417"/>
                    </a:cubicBezTo>
                    <a:cubicBezTo>
                      <a:pt x="67" y="417"/>
                      <a:pt x="67" y="417"/>
                      <a:pt x="67" y="417"/>
                    </a:cubicBezTo>
                    <a:cubicBezTo>
                      <a:pt x="67" y="416"/>
                      <a:pt x="67" y="416"/>
                      <a:pt x="67" y="416"/>
                    </a:cubicBezTo>
                    <a:cubicBezTo>
                      <a:pt x="66" y="416"/>
                      <a:pt x="66" y="416"/>
                      <a:pt x="66" y="416"/>
                    </a:cubicBezTo>
                    <a:cubicBezTo>
                      <a:pt x="65" y="416"/>
                      <a:pt x="65" y="416"/>
                      <a:pt x="65" y="416"/>
                    </a:cubicBezTo>
                    <a:cubicBezTo>
                      <a:pt x="65" y="415"/>
                      <a:pt x="65" y="415"/>
                      <a:pt x="65" y="415"/>
                    </a:cubicBezTo>
                    <a:cubicBezTo>
                      <a:pt x="65" y="414"/>
                      <a:pt x="65" y="414"/>
                      <a:pt x="65" y="414"/>
                    </a:cubicBezTo>
                    <a:cubicBezTo>
                      <a:pt x="66" y="414"/>
                      <a:pt x="66" y="414"/>
                      <a:pt x="66" y="414"/>
                    </a:cubicBezTo>
                    <a:cubicBezTo>
                      <a:pt x="67" y="414"/>
                      <a:pt x="67" y="414"/>
                      <a:pt x="67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69" y="414"/>
                      <a:pt x="69" y="414"/>
                      <a:pt x="69" y="414"/>
                    </a:cubicBezTo>
                    <a:cubicBezTo>
                      <a:pt x="70" y="414"/>
                      <a:pt x="70" y="414"/>
                      <a:pt x="70" y="414"/>
                    </a:cubicBezTo>
                    <a:cubicBezTo>
                      <a:pt x="69" y="413"/>
                      <a:pt x="69" y="413"/>
                      <a:pt x="69" y="413"/>
                    </a:cubicBezTo>
                    <a:cubicBezTo>
                      <a:pt x="69" y="412"/>
                      <a:pt x="69" y="412"/>
                      <a:pt x="69" y="412"/>
                    </a:cubicBezTo>
                    <a:cubicBezTo>
                      <a:pt x="69" y="411"/>
                      <a:pt x="69" y="411"/>
                      <a:pt x="69" y="411"/>
                    </a:cubicBezTo>
                    <a:cubicBezTo>
                      <a:pt x="68" y="411"/>
                      <a:pt x="68" y="411"/>
                      <a:pt x="68" y="411"/>
                    </a:cubicBezTo>
                    <a:cubicBezTo>
                      <a:pt x="67" y="412"/>
                      <a:pt x="67" y="412"/>
                      <a:pt x="67" y="412"/>
                    </a:cubicBezTo>
                    <a:cubicBezTo>
                      <a:pt x="66" y="412"/>
                      <a:pt x="66" y="412"/>
                      <a:pt x="66" y="412"/>
                    </a:cubicBezTo>
                    <a:cubicBezTo>
                      <a:pt x="62" y="411"/>
                      <a:pt x="62" y="411"/>
                      <a:pt x="62" y="411"/>
                    </a:cubicBezTo>
                    <a:cubicBezTo>
                      <a:pt x="60" y="410"/>
                      <a:pt x="60" y="410"/>
                      <a:pt x="60" y="410"/>
                    </a:cubicBezTo>
                    <a:cubicBezTo>
                      <a:pt x="59" y="410"/>
                      <a:pt x="59" y="410"/>
                      <a:pt x="59" y="410"/>
                    </a:cubicBezTo>
                    <a:cubicBezTo>
                      <a:pt x="59" y="409"/>
                      <a:pt x="59" y="409"/>
                      <a:pt x="59" y="409"/>
                    </a:cubicBezTo>
                    <a:cubicBezTo>
                      <a:pt x="61" y="409"/>
                      <a:pt x="61" y="409"/>
                      <a:pt x="61" y="409"/>
                    </a:cubicBezTo>
                    <a:cubicBezTo>
                      <a:pt x="62" y="409"/>
                      <a:pt x="62" y="409"/>
                      <a:pt x="62" y="409"/>
                    </a:cubicBezTo>
                    <a:cubicBezTo>
                      <a:pt x="63" y="409"/>
                      <a:pt x="63" y="409"/>
                      <a:pt x="63" y="409"/>
                    </a:cubicBezTo>
                    <a:cubicBezTo>
                      <a:pt x="62" y="408"/>
                      <a:pt x="62" y="408"/>
                      <a:pt x="62" y="408"/>
                    </a:cubicBezTo>
                    <a:cubicBezTo>
                      <a:pt x="61" y="408"/>
                      <a:pt x="61" y="408"/>
                      <a:pt x="61" y="408"/>
                    </a:cubicBezTo>
                    <a:cubicBezTo>
                      <a:pt x="60" y="408"/>
                      <a:pt x="60" y="408"/>
                      <a:pt x="60" y="408"/>
                    </a:cubicBezTo>
                    <a:cubicBezTo>
                      <a:pt x="60" y="407"/>
                      <a:pt x="60" y="407"/>
                      <a:pt x="60" y="407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3" y="406"/>
                      <a:pt x="63" y="406"/>
                      <a:pt x="63" y="406"/>
                    </a:cubicBezTo>
                    <a:cubicBezTo>
                      <a:pt x="65" y="406"/>
                      <a:pt x="65" y="406"/>
                      <a:pt x="65" y="406"/>
                    </a:cubicBezTo>
                    <a:cubicBezTo>
                      <a:pt x="72" y="406"/>
                      <a:pt x="72" y="406"/>
                      <a:pt x="72" y="406"/>
                    </a:cubicBezTo>
                    <a:cubicBezTo>
                      <a:pt x="73" y="406"/>
                      <a:pt x="73" y="406"/>
                      <a:pt x="73" y="406"/>
                    </a:cubicBezTo>
                    <a:cubicBezTo>
                      <a:pt x="75" y="406"/>
                      <a:pt x="75" y="406"/>
                      <a:pt x="75" y="406"/>
                    </a:cubicBezTo>
                    <a:cubicBezTo>
                      <a:pt x="76" y="406"/>
                      <a:pt x="76" y="406"/>
                      <a:pt x="76" y="406"/>
                    </a:cubicBezTo>
                    <a:cubicBezTo>
                      <a:pt x="76" y="405"/>
                      <a:pt x="76" y="405"/>
                      <a:pt x="76" y="405"/>
                    </a:cubicBezTo>
                    <a:cubicBezTo>
                      <a:pt x="74" y="404"/>
                      <a:pt x="74" y="404"/>
                      <a:pt x="74" y="404"/>
                    </a:cubicBezTo>
                    <a:cubicBezTo>
                      <a:pt x="71" y="404"/>
                      <a:pt x="71" y="404"/>
                      <a:pt x="71" y="404"/>
                    </a:cubicBezTo>
                    <a:cubicBezTo>
                      <a:pt x="67" y="405"/>
                      <a:pt x="67" y="405"/>
                      <a:pt x="67" y="405"/>
                    </a:cubicBezTo>
                    <a:cubicBezTo>
                      <a:pt x="66" y="405"/>
                      <a:pt x="66" y="405"/>
                      <a:pt x="66" y="405"/>
                    </a:cubicBezTo>
                    <a:cubicBezTo>
                      <a:pt x="65" y="405"/>
                      <a:pt x="65" y="405"/>
                      <a:pt x="65" y="405"/>
                    </a:cubicBezTo>
                    <a:cubicBezTo>
                      <a:pt x="64" y="404"/>
                      <a:pt x="64" y="404"/>
                      <a:pt x="64" y="404"/>
                    </a:cubicBezTo>
                    <a:cubicBezTo>
                      <a:pt x="62" y="405"/>
                      <a:pt x="62" y="405"/>
                      <a:pt x="62" y="405"/>
                    </a:cubicBezTo>
                    <a:cubicBezTo>
                      <a:pt x="61" y="406"/>
                      <a:pt x="61" y="406"/>
                      <a:pt x="61" y="406"/>
                    </a:cubicBezTo>
                    <a:cubicBezTo>
                      <a:pt x="61" y="405"/>
                      <a:pt x="61" y="405"/>
                      <a:pt x="61" y="405"/>
                    </a:cubicBezTo>
                    <a:cubicBezTo>
                      <a:pt x="61" y="404"/>
                      <a:pt x="61" y="404"/>
                      <a:pt x="61" y="404"/>
                    </a:cubicBezTo>
                    <a:cubicBezTo>
                      <a:pt x="62" y="402"/>
                      <a:pt x="62" y="402"/>
                      <a:pt x="62" y="402"/>
                    </a:cubicBezTo>
                    <a:cubicBezTo>
                      <a:pt x="63" y="402"/>
                      <a:pt x="63" y="402"/>
                      <a:pt x="63" y="402"/>
                    </a:cubicBezTo>
                    <a:cubicBezTo>
                      <a:pt x="65" y="401"/>
                      <a:pt x="65" y="401"/>
                      <a:pt x="65" y="401"/>
                    </a:cubicBezTo>
                    <a:cubicBezTo>
                      <a:pt x="67" y="400"/>
                      <a:pt x="67" y="400"/>
                      <a:pt x="67" y="400"/>
                    </a:cubicBezTo>
                    <a:cubicBezTo>
                      <a:pt x="67" y="398"/>
                      <a:pt x="67" y="398"/>
                      <a:pt x="67" y="398"/>
                    </a:cubicBezTo>
                    <a:cubicBezTo>
                      <a:pt x="69" y="397"/>
                      <a:pt x="69" y="397"/>
                      <a:pt x="69" y="397"/>
                    </a:cubicBezTo>
                    <a:cubicBezTo>
                      <a:pt x="70" y="397"/>
                      <a:pt x="70" y="397"/>
                      <a:pt x="70" y="397"/>
                    </a:cubicBezTo>
                    <a:cubicBezTo>
                      <a:pt x="70" y="398"/>
                      <a:pt x="70" y="398"/>
                      <a:pt x="70" y="398"/>
                    </a:cubicBezTo>
                    <a:cubicBezTo>
                      <a:pt x="72" y="397"/>
                      <a:pt x="72" y="397"/>
                      <a:pt x="72" y="397"/>
                    </a:cubicBezTo>
                    <a:cubicBezTo>
                      <a:pt x="73" y="397"/>
                      <a:pt x="73" y="397"/>
                      <a:pt x="73" y="397"/>
                    </a:cubicBezTo>
                    <a:cubicBezTo>
                      <a:pt x="74" y="397"/>
                      <a:pt x="74" y="397"/>
                      <a:pt x="74" y="397"/>
                    </a:cubicBezTo>
                    <a:cubicBezTo>
                      <a:pt x="75" y="398"/>
                      <a:pt x="75" y="398"/>
                      <a:pt x="75" y="398"/>
                    </a:cubicBezTo>
                    <a:cubicBezTo>
                      <a:pt x="77" y="398"/>
                      <a:pt x="77" y="398"/>
                      <a:pt x="77" y="398"/>
                    </a:cubicBezTo>
                    <a:cubicBezTo>
                      <a:pt x="78" y="400"/>
                      <a:pt x="78" y="400"/>
                      <a:pt x="78" y="400"/>
                    </a:cubicBezTo>
                    <a:cubicBezTo>
                      <a:pt x="80" y="400"/>
                      <a:pt x="80" y="400"/>
                      <a:pt x="80" y="400"/>
                    </a:cubicBezTo>
                    <a:cubicBezTo>
                      <a:pt x="82" y="401"/>
                      <a:pt x="82" y="401"/>
                      <a:pt x="82" y="401"/>
                    </a:cubicBezTo>
                    <a:cubicBezTo>
                      <a:pt x="84" y="403"/>
                      <a:pt x="84" y="403"/>
                      <a:pt x="84" y="403"/>
                    </a:cubicBezTo>
                    <a:cubicBezTo>
                      <a:pt x="86" y="404"/>
                      <a:pt x="86" y="404"/>
                      <a:pt x="86" y="404"/>
                    </a:cubicBezTo>
                    <a:cubicBezTo>
                      <a:pt x="89" y="405"/>
                      <a:pt x="89" y="405"/>
                      <a:pt x="89" y="405"/>
                    </a:cubicBezTo>
                    <a:cubicBezTo>
                      <a:pt x="90" y="404"/>
                      <a:pt x="90" y="404"/>
                      <a:pt x="90" y="404"/>
                    </a:cubicBezTo>
                    <a:cubicBezTo>
                      <a:pt x="91" y="404"/>
                      <a:pt x="91" y="404"/>
                      <a:pt x="91" y="404"/>
                    </a:cubicBezTo>
                    <a:cubicBezTo>
                      <a:pt x="91" y="404"/>
                      <a:pt x="91" y="404"/>
                      <a:pt x="91" y="404"/>
                    </a:cubicBezTo>
                    <a:cubicBezTo>
                      <a:pt x="91" y="403"/>
                      <a:pt x="91" y="403"/>
                      <a:pt x="91" y="403"/>
                    </a:cubicBezTo>
                    <a:cubicBezTo>
                      <a:pt x="89" y="403"/>
                      <a:pt x="89" y="403"/>
                      <a:pt x="89" y="403"/>
                    </a:cubicBezTo>
                    <a:cubicBezTo>
                      <a:pt x="89" y="404"/>
                      <a:pt x="89" y="404"/>
                      <a:pt x="89" y="404"/>
                    </a:cubicBezTo>
                    <a:cubicBezTo>
                      <a:pt x="87" y="403"/>
                      <a:pt x="87" y="403"/>
                      <a:pt x="87" y="403"/>
                    </a:cubicBezTo>
                    <a:cubicBezTo>
                      <a:pt x="85" y="402"/>
                      <a:pt x="85" y="402"/>
                      <a:pt x="85" y="402"/>
                    </a:cubicBezTo>
                    <a:cubicBezTo>
                      <a:pt x="83" y="399"/>
                      <a:pt x="83" y="399"/>
                      <a:pt x="83" y="399"/>
                    </a:cubicBezTo>
                    <a:cubicBezTo>
                      <a:pt x="83" y="399"/>
                      <a:pt x="83" y="399"/>
                      <a:pt x="83" y="399"/>
                    </a:cubicBezTo>
                    <a:cubicBezTo>
                      <a:pt x="84" y="398"/>
                      <a:pt x="84" y="398"/>
                      <a:pt x="84" y="398"/>
                    </a:cubicBezTo>
                    <a:cubicBezTo>
                      <a:pt x="87" y="399"/>
                      <a:pt x="87" y="399"/>
                      <a:pt x="87" y="399"/>
                    </a:cubicBezTo>
                    <a:cubicBezTo>
                      <a:pt x="90" y="398"/>
                      <a:pt x="90" y="398"/>
                      <a:pt x="90" y="398"/>
                    </a:cubicBezTo>
                    <a:cubicBezTo>
                      <a:pt x="91" y="397"/>
                      <a:pt x="91" y="397"/>
                      <a:pt x="91" y="397"/>
                    </a:cubicBezTo>
                    <a:cubicBezTo>
                      <a:pt x="90" y="396"/>
                      <a:pt x="90" y="396"/>
                      <a:pt x="90" y="396"/>
                    </a:cubicBezTo>
                    <a:cubicBezTo>
                      <a:pt x="88" y="395"/>
                      <a:pt x="88" y="395"/>
                      <a:pt x="88" y="395"/>
                    </a:cubicBezTo>
                    <a:cubicBezTo>
                      <a:pt x="87" y="395"/>
                      <a:pt x="87" y="395"/>
                      <a:pt x="87" y="395"/>
                    </a:cubicBezTo>
                    <a:cubicBezTo>
                      <a:pt x="87" y="396"/>
                      <a:pt x="87" y="396"/>
                      <a:pt x="87" y="396"/>
                    </a:cubicBezTo>
                    <a:cubicBezTo>
                      <a:pt x="87" y="397"/>
                      <a:pt x="87" y="397"/>
                      <a:pt x="87" y="397"/>
                    </a:cubicBezTo>
                    <a:cubicBezTo>
                      <a:pt x="87" y="397"/>
                      <a:pt x="87" y="397"/>
                      <a:pt x="87" y="397"/>
                    </a:cubicBezTo>
                    <a:cubicBezTo>
                      <a:pt x="84" y="397"/>
                      <a:pt x="84" y="397"/>
                      <a:pt x="84" y="397"/>
                    </a:cubicBezTo>
                    <a:cubicBezTo>
                      <a:pt x="83" y="397"/>
                      <a:pt x="83" y="397"/>
                      <a:pt x="83" y="397"/>
                    </a:cubicBezTo>
                    <a:cubicBezTo>
                      <a:pt x="83" y="395"/>
                      <a:pt x="83" y="395"/>
                      <a:pt x="83" y="395"/>
                    </a:cubicBezTo>
                    <a:cubicBezTo>
                      <a:pt x="84" y="395"/>
                      <a:pt x="84" y="395"/>
                      <a:pt x="84" y="395"/>
                    </a:cubicBezTo>
                    <a:cubicBezTo>
                      <a:pt x="85" y="395"/>
                      <a:pt x="85" y="395"/>
                      <a:pt x="85" y="395"/>
                    </a:cubicBezTo>
                    <a:cubicBezTo>
                      <a:pt x="85" y="394"/>
                      <a:pt x="85" y="394"/>
                      <a:pt x="85" y="394"/>
                    </a:cubicBezTo>
                    <a:cubicBezTo>
                      <a:pt x="85" y="393"/>
                      <a:pt x="85" y="393"/>
                      <a:pt x="85" y="393"/>
                    </a:cubicBezTo>
                    <a:cubicBezTo>
                      <a:pt x="84" y="393"/>
                      <a:pt x="84" y="393"/>
                      <a:pt x="84" y="393"/>
                    </a:cubicBezTo>
                    <a:cubicBezTo>
                      <a:pt x="83" y="394"/>
                      <a:pt x="83" y="394"/>
                      <a:pt x="83" y="394"/>
                    </a:cubicBezTo>
                    <a:cubicBezTo>
                      <a:pt x="82" y="393"/>
                      <a:pt x="82" y="393"/>
                      <a:pt x="82" y="393"/>
                    </a:cubicBezTo>
                    <a:cubicBezTo>
                      <a:pt x="81" y="394"/>
                      <a:pt x="81" y="394"/>
                      <a:pt x="81" y="394"/>
                    </a:cubicBezTo>
                    <a:cubicBezTo>
                      <a:pt x="81" y="394"/>
                      <a:pt x="81" y="394"/>
                      <a:pt x="81" y="394"/>
                    </a:cubicBezTo>
                    <a:cubicBezTo>
                      <a:pt x="82" y="395"/>
                      <a:pt x="82" y="395"/>
                      <a:pt x="82" y="395"/>
                    </a:cubicBezTo>
                    <a:cubicBezTo>
                      <a:pt x="82" y="397"/>
                      <a:pt x="82" y="397"/>
                      <a:pt x="82" y="397"/>
                    </a:cubicBezTo>
                    <a:cubicBezTo>
                      <a:pt x="81" y="398"/>
                      <a:pt x="81" y="398"/>
                      <a:pt x="81" y="398"/>
                    </a:cubicBezTo>
                    <a:cubicBezTo>
                      <a:pt x="79" y="399"/>
                      <a:pt x="79" y="399"/>
                      <a:pt x="79" y="399"/>
                    </a:cubicBezTo>
                    <a:cubicBezTo>
                      <a:pt x="78" y="398"/>
                      <a:pt x="78" y="398"/>
                      <a:pt x="78" y="398"/>
                    </a:cubicBezTo>
                    <a:cubicBezTo>
                      <a:pt x="76" y="396"/>
                      <a:pt x="76" y="396"/>
                      <a:pt x="76" y="396"/>
                    </a:cubicBezTo>
                    <a:cubicBezTo>
                      <a:pt x="75" y="396"/>
                      <a:pt x="75" y="396"/>
                      <a:pt x="75" y="396"/>
                    </a:cubicBezTo>
                    <a:cubicBezTo>
                      <a:pt x="74" y="395"/>
                      <a:pt x="74" y="395"/>
                      <a:pt x="74" y="395"/>
                    </a:cubicBezTo>
                    <a:cubicBezTo>
                      <a:pt x="74" y="394"/>
                      <a:pt x="74" y="394"/>
                      <a:pt x="74" y="394"/>
                    </a:cubicBezTo>
                    <a:cubicBezTo>
                      <a:pt x="73" y="394"/>
                      <a:pt x="73" y="394"/>
                      <a:pt x="73" y="394"/>
                    </a:cubicBezTo>
                    <a:cubicBezTo>
                      <a:pt x="72" y="395"/>
                      <a:pt x="72" y="395"/>
                      <a:pt x="72" y="395"/>
                    </a:cubicBezTo>
                    <a:cubicBezTo>
                      <a:pt x="70" y="396"/>
                      <a:pt x="70" y="396"/>
                      <a:pt x="70" y="396"/>
                    </a:cubicBezTo>
                    <a:cubicBezTo>
                      <a:pt x="69" y="396"/>
                      <a:pt x="69" y="396"/>
                      <a:pt x="69" y="396"/>
                    </a:cubicBezTo>
                    <a:cubicBezTo>
                      <a:pt x="67" y="397"/>
                      <a:pt x="67" y="397"/>
                      <a:pt x="67" y="397"/>
                    </a:cubicBezTo>
                    <a:cubicBezTo>
                      <a:pt x="65" y="399"/>
                      <a:pt x="65" y="399"/>
                      <a:pt x="65" y="399"/>
                    </a:cubicBezTo>
                    <a:cubicBezTo>
                      <a:pt x="64" y="399"/>
                      <a:pt x="64" y="399"/>
                      <a:pt x="64" y="399"/>
                    </a:cubicBezTo>
                    <a:cubicBezTo>
                      <a:pt x="63" y="399"/>
                      <a:pt x="63" y="399"/>
                      <a:pt x="63" y="399"/>
                    </a:cubicBezTo>
                    <a:cubicBezTo>
                      <a:pt x="63" y="398"/>
                      <a:pt x="63" y="398"/>
                      <a:pt x="63" y="398"/>
                    </a:cubicBezTo>
                    <a:cubicBezTo>
                      <a:pt x="66" y="395"/>
                      <a:pt x="66" y="395"/>
                      <a:pt x="66" y="395"/>
                    </a:cubicBezTo>
                    <a:cubicBezTo>
                      <a:pt x="66" y="395"/>
                      <a:pt x="66" y="395"/>
                      <a:pt x="66" y="395"/>
                    </a:cubicBezTo>
                    <a:cubicBezTo>
                      <a:pt x="67" y="394"/>
                      <a:pt x="67" y="394"/>
                      <a:pt x="67" y="394"/>
                    </a:cubicBezTo>
                    <a:cubicBezTo>
                      <a:pt x="67" y="394"/>
                      <a:pt x="67" y="394"/>
                      <a:pt x="67" y="394"/>
                    </a:cubicBezTo>
                    <a:cubicBezTo>
                      <a:pt x="68" y="394"/>
                      <a:pt x="68" y="394"/>
                      <a:pt x="68" y="394"/>
                    </a:cubicBezTo>
                    <a:cubicBezTo>
                      <a:pt x="69" y="393"/>
                      <a:pt x="69" y="393"/>
                      <a:pt x="69" y="393"/>
                    </a:cubicBezTo>
                    <a:cubicBezTo>
                      <a:pt x="69" y="392"/>
                      <a:pt x="69" y="392"/>
                      <a:pt x="69" y="392"/>
                    </a:cubicBezTo>
                    <a:cubicBezTo>
                      <a:pt x="69" y="390"/>
                      <a:pt x="69" y="390"/>
                      <a:pt x="69" y="390"/>
                    </a:cubicBezTo>
                    <a:cubicBezTo>
                      <a:pt x="70" y="391"/>
                      <a:pt x="70" y="391"/>
                      <a:pt x="70" y="391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3" y="393"/>
                      <a:pt x="73" y="393"/>
                      <a:pt x="73" y="393"/>
                    </a:cubicBezTo>
                    <a:cubicBezTo>
                      <a:pt x="76" y="393"/>
                      <a:pt x="76" y="393"/>
                      <a:pt x="76" y="393"/>
                    </a:cubicBezTo>
                    <a:cubicBezTo>
                      <a:pt x="76" y="392"/>
                      <a:pt x="76" y="392"/>
                      <a:pt x="76" y="392"/>
                    </a:cubicBezTo>
                    <a:cubicBezTo>
                      <a:pt x="75" y="392"/>
                      <a:pt x="75" y="392"/>
                      <a:pt x="75" y="392"/>
                    </a:cubicBezTo>
                    <a:cubicBezTo>
                      <a:pt x="74" y="392"/>
                      <a:pt x="74" y="392"/>
                      <a:pt x="74" y="392"/>
                    </a:cubicBezTo>
                    <a:cubicBezTo>
                      <a:pt x="73" y="391"/>
                      <a:pt x="73" y="391"/>
                      <a:pt x="73" y="391"/>
                    </a:cubicBezTo>
                    <a:cubicBezTo>
                      <a:pt x="70" y="389"/>
                      <a:pt x="70" y="389"/>
                      <a:pt x="70" y="389"/>
                    </a:cubicBezTo>
                    <a:cubicBezTo>
                      <a:pt x="70" y="387"/>
                      <a:pt x="70" y="387"/>
                      <a:pt x="70" y="387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69" y="386"/>
                      <a:pt x="69" y="386"/>
                      <a:pt x="69" y="386"/>
                    </a:cubicBezTo>
                    <a:cubicBezTo>
                      <a:pt x="69" y="385"/>
                      <a:pt x="69" y="385"/>
                      <a:pt x="69" y="385"/>
                    </a:cubicBezTo>
                    <a:cubicBezTo>
                      <a:pt x="72" y="386"/>
                      <a:pt x="72" y="386"/>
                      <a:pt x="72" y="386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5" y="390"/>
                      <a:pt x="75" y="390"/>
                      <a:pt x="75" y="390"/>
                    </a:cubicBezTo>
                    <a:cubicBezTo>
                      <a:pt x="75" y="390"/>
                      <a:pt x="75" y="390"/>
                      <a:pt x="75" y="390"/>
                    </a:cubicBezTo>
                    <a:cubicBezTo>
                      <a:pt x="75" y="388"/>
                      <a:pt x="75" y="388"/>
                      <a:pt x="75" y="388"/>
                    </a:cubicBezTo>
                    <a:cubicBezTo>
                      <a:pt x="74" y="387"/>
                      <a:pt x="74" y="387"/>
                      <a:pt x="74" y="387"/>
                    </a:cubicBezTo>
                    <a:cubicBezTo>
                      <a:pt x="75" y="387"/>
                      <a:pt x="75" y="387"/>
                      <a:pt x="75" y="387"/>
                    </a:cubicBezTo>
                    <a:cubicBezTo>
                      <a:pt x="76" y="388"/>
                      <a:pt x="76" y="388"/>
                      <a:pt x="76" y="388"/>
                    </a:cubicBezTo>
                    <a:cubicBezTo>
                      <a:pt x="76" y="389"/>
                      <a:pt x="76" y="389"/>
                      <a:pt x="76" y="389"/>
                    </a:cubicBezTo>
                    <a:cubicBezTo>
                      <a:pt x="80" y="391"/>
                      <a:pt x="80" y="391"/>
                      <a:pt x="80" y="391"/>
                    </a:cubicBezTo>
                    <a:cubicBezTo>
                      <a:pt x="81" y="391"/>
                      <a:pt x="81" y="391"/>
                      <a:pt x="81" y="391"/>
                    </a:cubicBezTo>
                    <a:cubicBezTo>
                      <a:pt x="82" y="391"/>
                      <a:pt x="82" y="391"/>
                      <a:pt x="82" y="391"/>
                    </a:cubicBezTo>
                    <a:cubicBezTo>
                      <a:pt x="83" y="391"/>
                      <a:pt x="83" y="391"/>
                      <a:pt x="83" y="391"/>
                    </a:cubicBezTo>
                    <a:cubicBezTo>
                      <a:pt x="84" y="392"/>
                      <a:pt x="84" y="392"/>
                      <a:pt x="84" y="392"/>
                    </a:cubicBezTo>
                    <a:cubicBezTo>
                      <a:pt x="86" y="393"/>
                      <a:pt x="86" y="393"/>
                      <a:pt x="86" y="393"/>
                    </a:cubicBezTo>
                    <a:cubicBezTo>
                      <a:pt x="88" y="394"/>
                      <a:pt x="88" y="394"/>
                      <a:pt x="88" y="394"/>
                    </a:cubicBezTo>
                    <a:cubicBezTo>
                      <a:pt x="88" y="394"/>
                      <a:pt x="88" y="394"/>
                      <a:pt x="88" y="394"/>
                    </a:cubicBezTo>
                    <a:cubicBezTo>
                      <a:pt x="90" y="394"/>
                      <a:pt x="90" y="394"/>
                      <a:pt x="90" y="394"/>
                    </a:cubicBezTo>
                    <a:cubicBezTo>
                      <a:pt x="90" y="393"/>
                      <a:pt x="90" y="393"/>
                      <a:pt x="90" y="393"/>
                    </a:cubicBezTo>
                    <a:cubicBezTo>
                      <a:pt x="88" y="392"/>
                      <a:pt x="88" y="392"/>
                      <a:pt x="88" y="392"/>
                    </a:cubicBezTo>
                    <a:cubicBezTo>
                      <a:pt x="84" y="389"/>
                      <a:pt x="84" y="389"/>
                      <a:pt x="84" y="389"/>
                    </a:cubicBezTo>
                    <a:cubicBezTo>
                      <a:pt x="84" y="388"/>
                      <a:pt x="84" y="388"/>
                      <a:pt x="84" y="388"/>
                    </a:cubicBezTo>
                    <a:cubicBezTo>
                      <a:pt x="84" y="387"/>
                      <a:pt x="84" y="387"/>
                      <a:pt x="84" y="387"/>
                    </a:cubicBezTo>
                    <a:cubicBezTo>
                      <a:pt x="86" y="386"/>
                      <a:pt x="86" y="386"/>
                      <a:pt x="86" y="386"/>
                    </a:cubicBezTo>
                    <a:cubicBezTo>
                      <a:pt x="86" y="385"/>
                      <a:pt x="86" y="385"/>
                      <a:pt x="86" y="385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86" y="383"/>
                      <a:pt x="86" y="383"/>
                      <a:pt x="86" y="383"/>
                    </a:cubicBezTo>
                    <a:cubicBezTo>
                      <a:pt x="85" y="383"/>
                      <a:pt x="85" y="383"/>
                      <a:pt x="85" y="383"/>
                    </a:cubicBezTo>
                    <a:cubicBezTo>
                      <a:pt x="83" y="383"/>
                      <a:pt x="83" y="383"/>
                      <a:pt x="83" y="383"/>
                    </a:cubicBezTo>
                    <a:cubicBezTo>
                      <a:pt x="82" y="384"/>
                      <a:pt x="82" y="384"/>
                      <a:pt x="82" y="384"/>
                    </a:cubicBezTo>
                    <a:cubicBezTo>
                      <a:pt x="82" y="385"/>
                      <a:pt x="82" y="385"/>
                      <a:pt x="82" y="385"/>
                    </a:cubicBezTo>
                    <a:cubicBezTo>
                      <a:pt x="84" y="386"/>
                      <a:pt x="84" y="386"/>
                      <a:pt x="84" y="386"/>
                    </a:cubicBezTo>
                    <a:cubicBezTo>
                      <a:pt x="83" y="386"/>
                      <a:pt x="83" y="386"/>
                      <a:pt x="83" y="386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0" y="387"/>
                      <a:pt x="80" y="387"/>
                      <a:pt x="80" y="387"/>
                    </a:cubicBezTo>
                    <a:cubicBezTo>
                      <a:pt x="79" y="386"/>
                      <a:pt x="79" y="386"/>
                      <a:pt x="79" y="386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6" y="386"/>
                      <a:pt x="76" y="386"/>
                      <a:pt x="76" y="386"/>
                    </a:cubicBezTo>
                    <a:cubicBezTo>
                      <a:pt x="75" y="385"/>
                      <a:pt x="75" y="385"/>
                      <a:pt x="75" y="385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5" y="383"/>
                      <a:pt x="75" y="383"/>
                      <a:pt x="75" y="383"/>
                    </a:cubicBezTo>
                    <a:cubicBezTo>
                      <a:pt x="76" y="383"/>
                      <a:pt x="76" y="383"/>
                      <a:pt x="76" y="383"/>
                    </a:cubicBezTo>
                    <a:cubicBezTo>
                      <a:pt x="75" y="383"/>
                      <a:pt x="75" y="383"/>
                      <a:pt x="75" y="383"/>
                    </a:cubicBezTo>
                    <a:cubicBezTo>
                      <a:pt x="73" y="383"/>
                      <a:pt x="73" y="383"/>
                      <a:pt x="73" y="383"/>
                    </a:cubicBezTo>
                    <a:cubicBezTo>
                      <a:pt x="73" y="383"/>
                      <a:pt x="73" y="383"/>
                      <a:pt x="73" y="383"/>
                    </a:cubicBezTo>
                    <a:cubicBezTo>
                      <a:pt x="75" y="382"/>
                      <a:pt x="75" y="382"/>
                      <a:pt x="75" y="382"/>
                    </a:cubicBezTo>
                    <a:cubicBezTo>
                      <a:pt x="78" y="381"/>
                      <a:pt x="78" y="381"/>
                      <a:pt x="78" y="381"/>
                    </a:cubicBezTo>
                    <a:cubicBezTo>
                      <a:pt x="79" y="380"/>
                      <a:pt x="79" y="380"/>
                      <a:pt x="79" y="380"/>
                    </a:cubicBezTo>
                    <a:cubicBezTo>
                      <a:pt x="81" y="380"/>
                      <a:pt x="81" y="380"/>
                      <a:pt x="81" y="380"/>
                    </a:cubicBezTo>
                    <a:cubicBezTo>
                      <a:pt x="82" y="381"/>
                      <a:pt x="82" y="381"/>
                      <a:pt x="82" y="381"/>
                    </a:cubicBezTo>
                    <a:cubicBezTo>
                      <a:pt x="83" y="381"/>
                      <a:pt x="83" y="381"/>
                      <a:pt x="83" y="381"/>
                    </a:cubicBezTo>
                    <a:cubicBezTo>
                      <a:pt x="85" y="381"/>
                      <a:pt x="85" y="381"/>
                      <a:pt x="85" y="381"/>
                    </a:cubicBezTo>
                    <a:cubicBezTo>
                      <a:pt x="87" y="381"/>
                      <a:pt x="87" y="381"/>
                      <a:pt x="87" y="381"/>
                    </a:cubicBezTo>
                    <a:cubicBezTo>
                      <a:pt x="87" y="380"/>
                      <a:pt x="87" y="380"/>
                      <a:pt x="87" y="380"/>
                    </a:cubicBezTo>
                    <a:cubicBezTo>
                      <a:pt x="88" y="379"/>
                      <a:pt x="88" y="379"/>
                      <a:pt x="88" y="379"/>
                    </a:cubicBezTo>
                    <a:cubicBezTo>
                      <a:pt x="89" y="379"/>
                      <a:pt x="89" y="379"/>
                      <a:pt x="89" y="379"/>
                    </a:cubicBezTo>
                    <a:cubicBezTo>
                      <a:pt x="90" y="378"/>
                      <a:pt x="90" y="378"/>
                      <a:pt x="90" y="378"/>
                    </a:cubicBezTo>
                    <a:cubicBezTo>
                      <a:pt x="90" y="377"/>
                      <a:pt x="90" y="377"/>
                      <a:pt x="90" y="377"/>
                    </a:cubicBezTo>
                    <a:cubicBezTo>
                      <a:pt x="90" y="377"/>
                      <a:pt x="90" y="377"/>
                      <a:pt x="90" y="377"/>
                    </a:cubicBezTo>
                    <a:cubicBezTo>
                      <a:pt x="89" y="378"/>
                      <a:pt x="89" y="378"/>
                      <a:pt x="89" y="378"/>
                    </a:cubicBezTo>
                    <a:cubicBezTo>
                      <a:pt x="88" y="378"/>
                      <a:pt x="88" y="378"/>
                      <a:pt x="88" y="378"/>
                    </a:cubicBezTo>
                    <a:cubicBezTo>
                      <a:pt x="87" y="377"/>
                      <a:pt x="87" y="377"/>
                      <a:pt x="87" y="377"/>
                    </a:cubicBezTo>
                    <a:cubicBezTo>
                      <a:pt x="88" y="375"/>
                      <a:pt x="88" y="375"/>
                      <a:pt x="88" y="375"/>
                    </a:cubicBezTo>
                    <a:cubicBezTo>
                      <a:pt x="89" y="372"/>
                      <a:pt x="89" y="372"/>
                      <a:pt x="89" y="372"/>
                    </a:cubicBezTo>
                    <a:cubicBezTo>
                      <a:pt x="89" y="370"/>
                      <a:pt x="89" y="370"/>
                      <a:pt x="89" y="370"/>
                    </a:cubicBezTo>
                    <a:cubicBezTo>
                      <a:pt x="90" y="369"/>
                      <a:pt x="90" y="369"/>
                      <a:pt x="90" y="369"/>
                    </a:cubicBezTo>
                    <a:cubicBezTo>
                      <a:pt x="91" y="370"/>
                      <a:pt x="91" y="370"/>
                      <a:pt x="91" y="370"/>
                    </a:cubicBezTo>
                    <a:cubicBezTo>
                      <a:pt x="92" y="372"/>
                      <a:pt x="92" y="372"/>
                      <a:pt x="92" y="372"/>
                    </a:cubicBezTo>
                    <a:cubicBezTo>
                      <a:pt x="91" y="372"/>
                      <a:pt x="91" y="372"/>
                      <a:pt x="91" y="372"/>
                    </a:cubicBezTo>
                    <a:cubicBezTo>
                      <a:pt x="91" y="373"/>
                      <a:pt x="91" y="373"/>
                      <a:pt x="91" y="373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4" y="373"/>
                      <a:pt x="94" y="373"/>
                      <a:pt x="94" y="373"/>
                    </a:cubicBezTo>
                    <a:cubicBezTo>
                      <a:pt x="95" y="374"/>
                      <a:pt x="95" y="374"/>
                      <a:pt x="95" y="374"/>
                    </a:cubicBezTo>
                    <a:cubicBezTo>
                      <a:pt x="96" y="374"/>
                      <a:pt x="96" y="374"/>
                      <a:pt x="96" y="374"/>
                    </a:cubicBezTo>
                    <a:cubicBezTo>
                      <a:pt x="96" y="374"/>
                      <a:pt x="96" y="374"/>
                      <a:pt x="96" y="374"/>
                    </a:cubicBezTo>
                    <a:cubicBezTo>
                      <a:pt x="97" y="374"/>
                      <a:pt x="97" y="374"/>
                      <a:pt x="97" y="374"/>
                    </a:cubicBezTo>
                    <a:cubicBezTo>
                      <a:pt x="98" y="374"/>
                      <a:pt x="98" y="374"/>
                      <a:pt x="98" y="374"/>
                    </a:cubicBezTo>
                    <a:cubicBezTo>
                      <a:pt x="98" y="373"/>
                      <a:pt x="98" y="373"/>
                      <a:pt x="98" y="373"/>
                    </a:cubicBezTo>
                    <a:cubicBezTo>
                      <a:pt x="96" y="372"/>
                      <a:pt x="96" y="372"/>
                      <a:pt x="96" y="372"/>
                    </a:cubicBezTo>
                    <a:cubicBezTo>
                      <a:pt x="94" y="372"/>
                      <a:pt x="94" y="372"/>
                      <a:pt x="94" y="372"/>
                    </a:cubicBezTo>
                    <a:cubicBezTo>
                      <a:pt x="94" y="372"/>
                      <a:pt x="94" y="372"/>
                      <a:pt x="94" y="372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1"/>
                      <a:pt x="97" y="371"/>
                      <a:pt x="97" y="371"/>
                    </a:cubicBezTo>
                    <a:cubicBezTo>
                      <a:pt x="97" y="370"/>
                      <a:pt x="97" y="370"/>
                      <a:pt x="97" y="370"/>
                    </a:cubicBezTo>
                    <a:cubicBezTo>
                      <a:pt x="96" y="370"/>
                      <a:pt x="96" y="370"/>
                      <a:pt x="96" y="370"/>
                    </a:cubicBezTo>
                    <a:cubicBezTo>
                      <a:pt x="96" y="370"/>
                      <a:pt x="96" y="370"/>
                      <a:pt x="96" y="370"/>
                    </a:cubicBezTo>
                    <a:cubicBezTo>
                      <a:pt x="95" y="369"/>
                      <a:pt x="95" y="369"/>
                      <a:pt x="95" y="369"/>
                    </a:cubicBezTo>
                    <a:cubicBezTo>
                      <a:pt x="94" y="368"/>
                      <a:pt x="94" y="368"/>
                      <a:pt x="94" y="368"/>
                    </a:cubicBezTo>
                    <a:cubicBezTo>
                      <a:pt x="94" y="369"/>
                      <a:pt x="94" y="369"/>
                      <a:pt x="94" y="369"/>
                    </a:cubicBezTo>
                    <a:cubicBezTo>
                      <a:pt x="93" y="369"/>
                      <a:pt x="93" y="369"/>
                      <a:pt x="93" y="369"/>
                    </a:cubicBezTo>
                    <a:cubicBezTo>
                      <a:pt x="91" y="369"/>
                      <a:pt x="91" y="369"/>
                      <a:pt x="91" y="369"/>
                    </a:cubicBezTo>
                    <a:cubicBezTo>
                      <a:pt x="91" y="368"/>
                      <a:pt x="91" y="368"/>
                      <a:pt x="91" y="368"/>
                    </a:cubicBezTo>
                    <a:cubicBezTo>
                      <a:pt x="92" y="367"/>
                      <a:pt x="92" y="367"/>
                      <a:pt x="92" y="367"/>
                    </a:cubicBezTo>
                    <a:cubicBezTo>
                      <a:pt x="93" y="367"/>
                      <a:pt x="93" y="367"/>
                      <a:pt x="93" y="367"/>
                    </a:cubicBezTo>
                    <a:cubicBezTo>
                      <a:pt x="94" y="365"/>
                      <a:pt x="94" y="365"/>
                      <a:pt x="94" y="365"/>
                    </a:cubicBezTo>
                    <a:cubicBezTo>
                      <a:pt x="95" y="364"/>
                      <a:pt x="95" y="364"/>
                      <a:pt x="95" y="364"/>
                    </a:cubicBezTo>
                    <a:cubicBezTo>
                      <a:pt x="96" y="364"/>
                      <a:pt x="96" y="364"/>
                      <a:pt x="96" y="364"/>
                    </a:cubicBezTo>
                    <a:cubicBezTo>
                      <a:pt x="97" y="364"/>
                      <a:pt x="97" y="364"/>
                      <a:pt x="97" y="364"/>
                    </a:cubicBezTo>
                    <a:cubicBezTo>
                      <a:pt x="98" y="364"/>
                      <a:pt x="98" y="364"/>
                      <a:pt x="98" y="364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97" y="362"/>
                      <a:pt x="97" y="362"/>
                      <a:pt x="97" y="362"/>
                    </a:cubicBezTo>
                    <a:cubicBezTo>
                      <a:pt x="95" y="362"/>
                      <a:pt x="95" y="362"/>
                      <a:pt x="95" y="362"/>
                    </a:cubicBezTo>
                    <a:cubicBezTo>
                      <a:pt x="95" y="362"/>
                      <a:pt x="95" y="362"/>
                      <a:pt x="95" y="362"/>
                    </a:cubicBezTo>
                    <a:cubicBezTo>
                      <a:pt x="95" y="361"/>
                      <a:pt x="95" y="361"/>
                      <a:pt x="95" y="361"/>
                    </a:cubicBezTo>
                    <a:cubicBezTo>
                      <a:pt x="97" y="360"/>
                      <a:pt x="97" y="360"/>
                      <a:pt x="97" y="360"/>
                    </a:cubicBezTo>
                    <a:cubicBezTo>
                      <a:pt x="98" y="359"/>
                      <a:pt x="98" y="359"/>
                      <a:pt x="98" y="359"/>
                    </a:cubicBezTo>
                    <a:cubicBezTo>
                      <a:pt x="99" y="359"/>
                      <a:pt x="99" y="359"/>
                      <a:pt x="99" y="359"/>
                    </a:cubicBezTo>
                    <a:cubicBezTo>
                      <a:pt x="99" y="358"/>
                      <a:pt x="99" y="358"/>
                      <a:pt x="99" y="358"/>
                    </a:cubicBezTo>
                    <a:cubicBezTo>
                      <a:pt x="101" y="357"/>
                      <a:pt x="101" y="357"/>
                      <a:pt x="101" y="357"/>
                    </a:cubicBezTo>
                    <a:cubicBezTo>
                      <a:pt x="100" y="356"/>
                      <a:pt x="100" y="356"/>
                      <a:pt x="100" y="356"/>
                    </a:cubicBezTo>
                    <a:cubicBezTo>
                      <a:pt x="99" y="356"/>
                      <a:pt x="99" y="356"/>
                      <a:pt x="99" y="356"/>
                    </a:cubicBezTo>
                    <a:cubicBezTo>
                      <a:pt x="99" y="355"/>
                      <a:pt x="99" y="355"/>
                      <a:pt x="99" y="355"/>
                    </a:cubicBezTo>
                    <a:cubicBezTo>
                      <a:pt x="100" y="355"/>
                      <a:pt x="100" y="355"/>
                      <a:pt x="100" y="355"/>
                    </a:cubicBezTo>
                    <a:cubicBezTo>
                      <a:pt x="101" y="355"/>
                      <a:pt x="101" y="355"/>
                      <a:pt x="101" y="355"/>
                    </a:cubicBezTo>
                    <a:cubicBezTo>
                      <a:pt x="101" y="354"/>
                      <a:pt x="101" y="354"/>
                      <a:pt x="101" y="354"/>
                    </a:cubicBezTo>
                    <a:cubicBezTo>
                      <a:pt x="100" y="353"/>
                      <a:pt x="100" y="353"/>
                      <a:pt x="100" y="353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95" y="355"/>
                      <a:pt x="95" y="355"/>
                      <a:pt x="95" y="355"/>
                    </a:cubicBezTo>
                    <a:cubicBezTo>
                      <a:pt x="94" y="353"/>
                      <a:pt x="94" y="353"/>
                      <a:pt x="94" y="353"/>
                    </a:cubicBezTo>
                    <a:cubicBezTo>
                      <a:pt x="93" y="354"/>
                      <a:pt x="93" y="354"/>
                      <a:pt x="93" y="354"/>
                    </a:cubicBezTo>
                    <a:cubicBezTo>
                      <a:pt x="91" y="354"/>
                      <a:pt x="91" y="354"/>
                      <a:pt x="91" y="354"/>
                    </a:cubicBezTo>
                    <a:cubicBezTo>
                      <a:pt x="91" y="353"/>
                      <a:pt x="91" y="353"/>
                      <a:pt x="91" y="353"/>
                    </a:cubicBezTo>
                    <a:cubicBezTo>
                      <a:pt x="90" y="353"/>
                      <a:pt x="90" y="353"/>
                      <a:pt x="90" y="353"/>
                    </a:cubicBezTo>
                    <a:cubicBezTo>
                      <a:pt x="88" y="353"/>
                      <a:pt x="88" y="353"/>
                      <a:pt x="88" y="353"/>
                    </a:cubicBezTo>
                    <a:cubicBezTo>
                      <a:pt x="87" y="352"/>
                      <a:pt x="87" y="352"/>
                      <a:pt x="87" y="352"/>
                    </a:cubicBezTo>
                    <a:cubicBezTo>
                      <a:pt x="85" y="352"/>
                      <a:pt x="85" y="352"/>
                      <a:pt x="85" y="352"/>
                    </a:cubicBezTo>
                    <a:cubicBezTo>
                      <a:pt x="84" y="351"/>
                      <a:pt x="84" y="351"/>
                      <a:pt x="84" y="351"/>
                    </a:cubicBezTo>
                    <a:cubicBezTo>
                      <a:pt x="84" y="350"/>
                      <a:pt x="84" y="350"/>
                      <a:pt x="84" y="350"/>
                    </a:cubicBezTo>
                    <a:cubicBezTo>
                      <a:pt x="83" y="348"/>
                      <a:pt x="83" y="348"/>
                      <a:pt x="83" y="348"/>
                    </a:cubicBezTo>
                    <a:cubicBezTo>
                      <a:pt x="81" y="347"/>
                      <a:pt x="81" y="347"/>
                      <a:pt x="81" y="347"/>
                    </a:cubicBezTo>
                    <a:cubicBezTo>
                      <a:pt x="78" y="345"/>
                      <a:pt x="78" y="345"/>
                      <a:pt x="78" y="345"/>
                    </a:cubicBezTo>
                    <a:cubicBezTo>
                      <a:pt x="75" y="344"/>
                      <a:pt x="75" y="344"/>
                      <a:pt x="75" y="344"/>
                    </a:cubicBezTo>
                    <a:cubicBezTo>
                      <a:pt x="74" y="342"/>
                      <a:pt x="74" y="342"/>
                      <a:pt x="74" y="342"/>
                    </a:cubicBezTo>
                    <a:cubicBezTo>
                      <a:pt x="74" y="341"/>
                      <a:pt x="74" y="341"/>
                      <a:pt x="74" y="341"/>
                    </a:cubicBezTo>
                    <a:cubicBezTo>
                      <a:pt x="73" y="339"/>
                      <a:pt x="73" y="339"/>
                      <a:pt x="73" y="339"/>
                    </a:cubicBezTo>
                    <a:cubicBezTo>
                      <a:pt x="72" y="338"/>
                      <a:pt x="72" y="338"/>
                      <a:pt x="72" y="338"/>
                    </a:cubicBezTo>
                    <a:cubicBezTo>
                      <a:pt x="71" y="337"/>
                      <a:pt x="71" y="337"/>
                      <a:pt x="71" y="337"/>
                    </a:cubicBezTo>
                    <a:cubicBezTo>
                      <a:pt x="71" y="336"/>
                      <a:pt x="71" y="336"/>
                      <a:pt x="71" y="336"/>
                    </a:cubicBezTo>
                    <a:cubicBezTo>
                      <a:pt x="73" y="334"/>
                      <a:pt x="73" y="334"/>
                      <a:pt x="73" y="334"/>
                    </a:cubicBezTo>
                    <a:cubicBezTo>
                      <a:pt x="75" y="334"/>
                      <a:pt x="75" y="334"/>
                      <a:pt x="75" y="334"/>
                    </a:cubicBezTo>
                    <a:cubicBezTo>
                      <a:pt x="76" y="333"/>
                      <a:pt x="76" y="333"/>
                      <a:pt x="76" y="333"/>
                    </a:cubicBezTo>
                    <a:cubicBezTo>
                      <a:pt x="77" y="334"/>
                      <a:pt x="77" y="334"/>
                      <a:pt x="77" y="334"/>
                    </a:cubicBezTo>
                    <a:cubicBezTo>
                      <a:pt x="79" y="334"/>
                      <a:pt x="79" y="334"/>
                      <a:pt x="79" y="334"/>
                    </a:cubicBezTo>
                    <a:cubicBezTo>
                      <a:pt x="80" y="336"/>
                      <a:pt x="80" y="336"/>
                      <a:pt x="80" y="336"/>
                    </a:cubicBezTo>
                    <a:cubicBezTo>
                      <a:pt x="82" y="336"/>
                      <a:pt x="82" y="336"/>
                      <a:pt x="82" y="336"/>
                    </a:cubicBezTo>
                    <a:cubicBezTo>
                      <a:pt x="83" y="336"/>
                      <a:pt x="83" y="336"/>
                      <a:pt x="83" y="336"/>
                    </a:cubicBezTo>
                    <a:cubicBezTo>
                      <a:pt x="84" y="337"/>
                      <a:pt x="84" y="337"/>
                      <a:pt x="84" y="337"/>
                    </a:cubicBezTo>
                    <a:cubicBezTo>
                      <a:pt x="86" y="337"/>
                      <a:pt x="86" y="337"/>
                      <a:pt x="86" y="337"/>
                    </a:cubicBezTo>
                    <a:cubicBezTo>
                      <a:pt x="88" y="337"/>
                      <a:pt x="88" y="337"/>
                      <a:pt x="88" y="337"/>
                    </a:cubicBezTo>
                    <a:cubicBezTo>
                      <a:pt x="89" y="338"/>
                      <a:pt x="89" y="338"/>
                      <a:pt x="89" y="338"/>
                    </a:cubicBezTo>
                    <a:cubicBezTo>
                      <a:pt x="90" y="338"/>
                      <a:pt x="90" y="338"/>
                      <a:pt x="90" y="338"/>
                    </a:cubicBezTo>
                    <a:cubicBezTo>
                      <a:pt x="91" y="340"/>
                      <a:pt x="91" y="340"/>
                      <a:pt x="91" y="340"/>
                    </a:cubicBezTo>
                    <a:cubicBezTo>
                      <a:pt x="92" y="343"/>
                      <a:pt x="92" y="343"/>
                      <a:pt x="92" y="343"/>
                    </a:cubicBezTo>
                    <a:cubicBezTo>
                      <a:pt x="93" y="345"/>
                      <a:pt x="93" y="345"/>
                      <a:pt x="93" y="345"/>
                    </a:cubicBezTo>
                    <a:cubicBezTo>
                      <a:pt x="95" y="346"/>
                      <a:pt x="95" y="346"/>
                      <a:pt x="95" y="346"/>
                    </a:cubicBezTo>
                    <a:cubicBezTo>
                      <a:pt x="96" y="347"/>
                      <a:pt x="96" y="347"/>
                      <a:pt x="96" y="347"/>
                    </a:cubicBezTo>
                    <a:cubicBezTo>
                      <a:pt x="98" y="348"/>
                      <a:pt x="98" y="348"/>
                      <a:pt x="98" y="348"/>
                    </a:cubicBezTo>
                    <a:cubicBezTo>
                      <a:pt x="99" y="348"/>
                      <a:pt x="99" y="348"/>
                      <a:pt x="99" y="348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100" y="346"/>
                      <a:pt x="100" y="346"/>
                      <a:pt x="100" y="346"/>
                    </a:cubicBezTo>
                    <a:cubicBezTo>
                      <a:pt x="99" y="346"/>
                      <a:pt x="99" y="346"/>
                      <a:pt x="99" y="346"/>
                    </a:cubicBezTo>
                    <a:cubicBezTo>
                      <a:pt x="98" y="347"/>
                      <a:pt x="98" y="347"/>
                      <a:pt x="98" y="347"/>
                    </a:cubicBezTo>
                    <a:cubicBezTo>
                      <a:pt x="97" y="346"/>
                      <a:pt x="97" y="346"/>
                      <a:pt x="97" y="346"/>
                    </a:cubicBezTo>
                    <a:cubicBezTo>
                      <a:pt x="95" y="343"/>
                      <a:pt x="95" y="343"/>
                      <a:pt x="95" y="343"/>
                    </a:cubicBezTo>
                    <a:cubicBezTo>
                      <a:pt x="95" y="342"/>
                      <a:pt x="95" y="342"/>
                      <a:pt x="95" y="342"/>
                    </a:cubicBezTo>
                    <a:cubicBezTo>
                      <a:pt x="95" y="342"/>
                      <a:pt x="95" y="342"/>
                      <a:pt x="95" y="342"/>
                    </a:cubicBezTo>
                    <a:cubicBezTo>
                      <a:pt x="97" y="344"/>
                      <a:pt x="97" y="344"/>
                      <a:pt x="97" y="344"/>
                    </a:cubicBezTo>
                    <a:cubicBezTo>
                      <a:pt x="98" y="344"/>
                      <a:pt x="98" y="344"/>
                      <a:pt x="98" y="344"/>
                    </a:cubicBezTo>
                    <a:cubicBezTo>
                      <a:pt x="98" y="343"/>
                      <a:pt x="98" y="343"/>
                      <a:pt x="98" y="343"/>
                    </a:cubicBezTo>
                    <a:cubicBezTo>
                      <a:pt x="99" y="343"/>
                      <a:pt x="99" y="343"/>
                      <a:pt x="99" y="343"/>
                    </a:cubicBezTo>
                    <a:cubicBezTo>
                      <a:pt x="99" y="342"/>
                      <a:pt x="99" y="342"/>
                      <a:pt x="99" y="342"/>
                    </a:cubicBezTo>
                    <a:cubicBezTo>
                      <a:pt x="97" y="341"/>
                      <a:pt x="97" y="341"/>
                      <a:pt x="97" y="341"/>
                    </a:cubicBezTo>
                    <a:cubicBezTo>
                      <a:pt x="95" y="339"/>
                      <a:pt x="95" y="339"/>
                      <a:pt x="95" y="339"/>
                    </a:cubicBezTo>
                    <a:cubicBezTo>
                      <a:pt x="94" y="338"/>
                      <a:pt x="94" y="338"/>
                      <a:pt x="94" y="338"/>
                    </a:cubicBezTo>
                    <a:cubicBezTo>
                      <a:pt x="95" y="337"/>
                      <a:pt x="95" y="337"/>
                      <a:pt x="95" y="337"/>
                    </a:cubicBezTo>
                    <a:cubicBezTo>
                      <a:pt x="95" y="337"/>
                      <a:pt x="95" y="337"/>
                      <a:pt x="95" y="337"/>
                    </a:cubicBezTo>
                    <a:cubicBezTo>
                      <a:pt x="96" y="339"/>
                      <a:pt x="96" y="339"/>
                      <a:pt x="96" y="339"/>
                    </a:cubicBezTo>
                    <a:cubicBezTo>
                      <a:pt x="98" y="339"/>
                      <a:pt x="98" y="339"/>
                      <a:pt x="98" y="339"/>
                    </a:cubicBezTo>
                    <a:cubicBezTo>
                      <a:pt x="97" y="337"/>
                      <a:pt x="97" y="337"/>
                      <a:pt x="97" y="337"/>
                    </a:cubicBezTo>
                    <a:cubicBezTo>
                      <a:pt x="95" y="335"/>
                      <a:pt x="95" y="335"/>
                      <a:pt x="95" y="335"/>
                    </a:cubicBezTo>
                    <a:cubicBezTo>
                      <a:pt x="93" y="334"/>
                      <a:pt x="93" y="334"/>
                      <a:pt x="93" y="334"/>
                    </a:cubicBezTo>
                    <a:cubicBezTo>
                      <a:pt x="93" y="333"/>
                      <a:pt x="93" y="333"/>
                      <a:pt x="93" y="333"/>
                    </a:cubicBezTo>
                    <a:cubicBezTo>
                      <a:pt x="93" y="332"/>
                      <a:pt x="93" y="332"/>
                      <a:pt x="93" y="332"/>
                    </a:cubicBezTo>
                    <a:cubicBezTo>
                      <a:pt x="95" y="333"/>
                      <a:pt x="95" y="333"/>
                      <a:pt x="95" y="333"/>
                    </a:cubicBezTo>
                    <a:cubicBezTo>
                      <a:pt x="99" y="334"/>
                      <a:pt x="99" y="334"/>
                      <a:pt x="99" y="334"/>
                    </a:cubicBezTo>
                    <a:cubicBezTo>
                      <a:pt x="100" y="334"/>
                      <a:pt x="100" y="334"/>
                      <a:pt x="100" y="334"/>
                    </a:cubicBezTo>
                    <a:cubicBezTo>
                      <a:pt x="100" y="332"/>
                      <a:pt x="100" y="332"/>
                      <a:pt x="100" y="332"/>
                    </a:cubicBezTo>
                    <a:cubicBezTo>
                      <a:pt x="98" y="331"/>
                      <a:pt x="98" y="331"/>
                      <a:pt x="98" y="331"/>
                    </a:cubicBezTo>
                    <a:cubicBezTo>
                      <a:pt x="98" y="331"/>
                      <a:pt x="98" y="331"/>
                      <a:pt x="98" y="331"/>
                    </a:cubicBezTo>
                    <a:cubicBezTo>
                      <a:pt x="96" y="331"/>
                      <a:pt x="96" y="331"/>
                      <a:pt x="96" y="331"/>
                    </a:cubicBezTo>
                    <a:cubicBezTo>
                      <a:pt x="95" y="331"/>
                      <a:pt x="95" y="331"/>
                      <a:pt x="95" y="331"/>
                    </a:cubicBezTo>
                    <a:cubicBezTo>
                      <a:pt x="93" y="331"/>
                      <a:pt x="93" y="331"/>
                      <a:pt x="93" y="331"/>
                    </a:cubicBezTo>
                    <a:cubicBezTo>
                      <a:pt x="93" y="330"/>
                      <a:pt x="93" y="330"/>
                      <a:pt x="93" y="330"/>
                    </a:cubicBezTo>
                    <a:cubicBezTo>
                      <a:pt x="93" y="329"/>
                      <a:pt x="93" y="329"/>
                      <a:pt x="93" y="329"/>
                    </a:cubicBezTo>
                    <a:cubicBezTo>
                      <a:pt x="96" y="328"/>
                      <a:pt x="96" y="328"/>
                      <a:pt x="96" y="328"/>
                    </a:cubicBezTo>
                    <a:cubicBezTo>
                      <a:pt x="96" y="329"/>
                      <a:pt x="96" y="329"/>
                      <a:pt x="96" y="329"/>
                    </a:cubicBezTo>
                    <a:cubicBezTo>
                      <a:pt x="98" y="329"/>
                      <a:pt x="98" y="329"/>
                      <a:pt x="98" y="329"/>
                    </a:cubicBezTo>
                    <a:cubicBezTo>
                      <a:pt x="98" y="329"/>
                      <a:pt x="98" y="329"/>
                      <a:pt x="98" y="329"/>
                    </a:cubicBezTo>
                    <a:cubicBezTo>
                      <a:pt x="98" y="328"/>
                      <a:pt x="98" y="328"/>
                      <a:pt x="98" y="328"/>
                    </a:cubicBezTo>
                    <a:cubicBezTo>
                      <a:pt x="97" y="326"/>
                      <a:pt x="97" y="326"/>
                      <a:pt x="97" y="326"/>
                    </a:cubicBezTo>
                    <a:cubicBezTo>
                      <a:pt x="96" y="326"/>
                      <a:pt x="96" y="326"/>
                      <a:pt x="96" y="326"/>
                    </a:cubicBezTo>
                    <a:cubicBezTo>
                      <a:pt x="95" y="327"/>
                      <a:pt x="95" y="327"/>
                      <a:pt x="95" y="327"/>
                    </a:cubicBezTo>
                    <a:cubicBezTo>
                      <a:pt x="94" y="327"/>
                      <a:pt x="94" y="327"/>
                      <a:pt x="94" y="327"/>
                    </a:cubicBezTo>
                    <a:cubicBezTo>
                      <a:pt x="93" y="328"/>
                      <a:pt x="93" y="328"/>
                      <a:pt x="93" y="328"/>
                    </a:cubicBezTo>
                    <a:cubicBezTo>
                      <a:pt x="91" y="330"/>
                      <a:pt x="91" y="330"/>
                      <a:pt x="91" y="330"/>
                    </a:cubicBezTo>
                    <a:cubicBezTo>
                      <a:pt x="90" y="330"/>
                      <a:pt x="90" y="330"/>
                      <a:pt x="90" y="330"/>
                    </a:cubicBezTo>
                    <a:cubicBezTo>
                      <a:pt x="90" y="329"/>
                      <a:pt x="90" y="329"/>
                      <a:pt x="90" y="329"/>
                    </a:cubicBezTo>
                    <a:cubicBezTo>
                      <a:pt x="91" y="328"/>
                      <a:pt x="91" y="328"/>
                      <a:pt x="91" y="328"/>
                    </a:cubicBezTo>
                    <a:cubicBezTo>
                      <a:pt x="92" y="327"/>
                      <a:pt x="92" y="327"/>
                      <a:pt x="92" y="327"/>
                    </a:cubicBezTo>
                    <a:cubicBezTo>
                      <a:pt x="93" y="325"/>
                      <a:pt x="93" y="325"/>
                      <a:pt x="93" y="325"/>
                    </a:cubicBezTo>
                    <a:cubicBezTo>
                      <a:pt x="93" y="325"/>
                      <a:pt x="93" y="325"/>
                      <a:pt x="93" y="325"/>
                    </a:cubicBezTo>
                    <a:cubicBezTo>
                      <a:pt x="95" y="325"/>
                      <a:pt x="95" y="325"/>
                      <a:pt x="95" y="325"/>
                    </a:cubicBezTo>
                    <a:cubicBezTo>
                      <a:pt x="96" y="324"/>
                      <a:pt x="96" y="324"/>
                      <a:pt x="96" y="324"/>
                    </a:cubicBezTo>
                    <a:cubicBezTo>
                      <a:pt x="97" y="324"/>
                      <a:pt x="97" y="324"/>
                      <a:pt x="97" y="324"/>
                    </a:cubicBezTo>
                    <a:cubicBezTo>
                      <a:pt x="98" y="323"/>
                      <a:pt x="98" y="323"/>
                      <a:pt x="98" y="323"/>
                    </a:cubicBezTo>
                    <a:cubicBezTo>
                      <a:pt x="97" y="323"/>
                      <a:pt x="97" y="323"/>
                      <a:pt x="97" y="323"/>
                    </a:cubicBezTo>
                    <a:cubicBezTo>
                      <a:pt x="95" y="323"/>
                      <a:pt x="95" y="323"/>
                      <a:pt x="95" y="323"/>
                    </a:cubicBezTo>
                    <a:cubicBezTo>
                      <a:pt x="94" y="324"/>
                      <a:pt x="94" y="324"/>
                      <a:pt x="94" y="324"/>
                    </a:cubicBezTo>
                    <a:cubicBezTo>
                      <a:pt x="93" y="324"/>
                      <a:pt x="93" y="324"/>
                      <a:pt x="93" y="324"/>
                    </a:cubicBezTo>
                    <a:cubicBezTo>
                      <a:pt x="92" y="324"/>
                      <a:pt x="92" y="324"/>
                      <a:pt x="92" y="324"/>
                    </a:cubicBezTo>
                    <a:cubicBezTo>
                      <a:pt x="90" y="324"/>
                      <a:pt x="90" y="324"/>
                      <a:pt x="90" y="324"/>
                    </a:cubicBezTo>
                    <a:cubicBezTo>
                      <a:pt x="89" y="323"/>
                      <a:pt x="89" y="323"/>
                      <a:pt x="89" y="323"/>
                    </a:cubicBezTo>
                    <a:cubicBezTo>
                      <a:pt x="89" y="322"/>
                      <a:pt x="89" y="322"/>
                      <a:pt x="89" y="322"/>
                    </a:cubicBezTo>
                    <a:cubicBezTo>
                      <a:pt x="90" y="322"/>
                      <a:pt x="90" y="322"/>
                      <a:pt x="90" y="322"/>
                    </a:cubicBezTo>
                    <a:cubicBezTo>
                      <a:pt x="91" y="321"/>
                      <a:pt x="91" y="321"/>
                      <a:pt x="91" y="321"/>
                    </a:cubicBezTo>
                    <a:cubicBezTo>
                      <a:pt x="94" y="320"/>
                      <a:pt x="94" y="320"/>
                      <a:pt x="94" y="320"/>
                    </a:cubicBezTo>
                    <a:cubicBezTo>
                      <a:pt x="97" y="320"/>
                      <a:pt x="97" y="320"/>
                      <a:pt x="97" y="320"/>
                    </a:cubicBezTo>
                    <a:cubicBezTo>
                      <a:pt x="99" y="318"/>
                      <a:pt x="99" y="318"/>
                      <a:pt x="99" y="318"/>
                    </a:cubicBezTo>
                    <a:cubicBezTo>
                      <a:pt x="99" y="318"/>
                      <a:pt x="99" y="318"/>
                      <a:pt x="99" y="318"/>
                    </a:cubicBezTo>
                    <a:cubicBezTo>
                      <a:pt x="98" y="317"/>
                      <a:pt x="98" y="317"/>
                      <a:pt x="98" y="317"/>
                    </a:cubicBezTo>
                    <a:cubicBezTo>
                      <a:pt x="98" y="317"/>
                      <a:pt x="98" y="317"/>
                      <a:pt x="98" y="317"/>
                    </a:cubicBezTo>
                    <a:cubicBezTo>
                      <a:pt x="96" y="318"/>
                      <a:pt x="96" y="318"/>
                      <a:pt x="96" y="318"/>
                    </a:cubicBezTo>
                    <a:cubicBezTo>
                      <a:pt x="95" y="319"/>
                      <a:pt x="95" y="319"/>
                      <a:pt x="95" y="319"/>
                    </a:cubicBezTo>
                    <a:cubicBezTo>
                      <a:pt x="93" y="318"/>
                      <a:pt x="93" y="318"/>
                      <a:pt x="93" y="318"/>
                    </a:cubicBezTo>
                    <a:cubicBezTo>
                      <a:pt x="93" y="317"/>
                      <a:pt x="93" y="317"/>
                      <a:pt x="93" y="317"/>
                    </a:cubicBezTo>
                    <a:cubicBezTo>
                      <a:pt x="92" y="317"/>
                      <a:pt x="92" y="317"/>
                      <a:pt x="92" y="317"/>
                    </a:cubicBezTo>
                    <a:cubicBezTo>
                      <a:pt x="90" y="317"/>
                      <a:pt x="90" y="317"/>
                      <a:pt x="90" y="317"/>
                    </a:cubicBezTo>
                    <a:cubicBezTo>
                      <a:pt x="90" y="316"/>
                      <a:pt x="90" y="316"/>
                      <a:pt x="90" y="316"/>
                    </a:cubicBezTo>
                    <a:cubicBezTo>
                      <a:pt x="90" y="316"/>
                      <a:pt x="90" y="316"/>
                      <a:pt x="90" y="316"/>
                    </a:cubicBezTo>
                    <a:cubicBezTo>
                      <a:pt x="91" y="314"/>
                      <a:pt x="91" y="314"/>
                      <a:pt x="91" y="314"/>
                    </a:cubicBezTo>
                    <a:cubicBezTo>
                      <a:pt x="92" y="312"/>
                      <a:pt x="92" y="312"/>
                      <a:pt x="92" y="312"/>
                    </a:cubicBezTo>
                    <a:cubicBezTo>
                      <a:pt x="93" y="311"/>
                      <a:pt x="93" y="311"/>
                      <a:pt x="93" y="311"/>
                    </a:cubicBezTo>
                    <a:cubicBezTo>
                      <a:pt x="94" y="311"/>
                      <a:pt x="94" y="311"/>
                      <a:pt x="94" y="311"/>
                    </a:cubicBezTo>
                    <a:cubicBezTo>
                      <a:pt x="94" y="310"/>
                      <a:pt x="94" y="310"/>
                      <a:pt x="94" y="31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2" y="311"/>
                      <a:pt x="92" y="311"/>
                      <a:pt x="92" y="311"/>
                    </a:cubicBezTo>
                    <a:cubicBezTo>
                      <a:pt x="90" y="313"/>
                      <a:pt x="90" y="313"/>
                      <a:pt x="90" y="313"/>
                    </a:cubicBezTo>
                    <a:cubicBezTo>
                      <a:pt x="90" y="314"/>
                      <a:pt x="90" y="314"/>
                      <a:pt x="90" y="314"/>
                    </a:cubicBezTo>
                    <a:cubicBezTo>
                      <a:pt x="88" y="315"/>
                      <a:pt x="88" y="315"/>
                      <a:pt x="88" y="315"/>
                    </a:cubicBezTo>
                    <a:cubicBezTo>
                      <a:pt x="88" y="316"/>
                      <a:pt x="88" y="316"/>
                      <a:pt x="88" y="316"/>
                    </a:cubicBezTo>
                    <a:cubicBezTo>
                      <a:pt x="87" y="316"/>
                      <a:pt x="87" y="316"/>
                      <a:pt x="87" y="316"/>
                    </a:cubicBezTo>
                    <a:cubicBezTo>
                      <a:pt x="87" y="314"/>
                      <a:pt x="87" y="314"/>
                      <a:pt x="87" y="314"/>
                    </a:cubicBezTo>
                    <a:cubicBezTo>
                      <a:pt x="88" y="312"/>
                      <a:pt x="88" y="312"/>
                      <a:pt x="88" y="312"/>
                    </a:cubicBezTo>
                    <a:cubicBezTo>
                      <a:pt x="88" y="309"/>
                      <a:pt x="88" y="309"/>
                      <a:pt x="88" y="309"/>
                    </a:cubicBezTo>
                    <a:cubicBezTo>
                      <a:pt x="87" y="307"/>
                      <a:pt x="87" y="307"/>
                      <a:pt x="87" y="307"/>
                    </a:cubicBezTo>
                    <a:cubicBezTo>
                      <a:pt x="87" y="305"/>
                      <a:pt x="87" y="305"/>
                      <a:pt x="87" y="305"/>
                    </a:cubicBezTo>
                    <a:cubicBezTo>
                      <a:pt x="87" y="304"/>
                      <a:pt x="87" y="304"/>
                      <a:pt x="87" y="304"/>
                    </a:cubicBezTo>
                    <a:cubicBezTo>
                      <a:pt x="87" y="302"/>
                      <a:pt x="87" y="302"/>
                      <a:pt x="87" y="302"/>
                    </a:cubicBezTo>
                    <a:cubicBezTo>
                      <a:pt x="87" y="303"/>
                      <a:pt x="87" y="303"/>
                      <a:pt x="87" y="303"/>
                    </a:cubicBezTo>
                    <a:cubicBezTo>
                      <a:pt x="86" y="303"/>
                      <a:pt x="86" y="303"/>
                      <a:pt x="86" y="303"/>
                    </a:cubicBezTo>
                    <a:cubicBezTo>
                      <a:pt x="86" y="307"/>
                      <a:pt x="86" y="307"/>
                      <a:pt x="86" y="307"/>
                    </a:cubicBezTo>
                    <a:cubicBezTo>
                      <a:pt x="86" y="308"/>
                      <a:pt x="86" y="308"/>
                      <a:pt x="86" y="308"/>
                    </a:cubicBezTo>
                    <a:cubicBezTo>
                      <a:pt x="87" y="310"/>
                      <a:pt x="87" y="310"/>
                      <a:pt x="87" y="310"/>
                    </a:cubicBezTo>
                    <a:cubicBezTo>
                      <a:pt x="87" y="312"/>
                      <a:pt x="87" y="312"/>
                      <a:pt x="87" y="312"/>
                    </a:cubicBezTo>
                    <a:cubicBezTo>
                      <a:pt x="87" y="315"/>
                      <a:pt x="87" y="315"/>
                      <a:pt x="87" y="315"/>
                    </a:cubicBezTo>
                    <a:cubicBezTo>
                      <a:pt x="86" y="316"/>
                      <a:pt x="86" y="316"/>
                      <a:pt x="86" y="316"/>
                    </a:cubicBezTo>
                    <a:cubicBezTo>
                      <a:pt x="85" y="316"/>
                      <a:pt x="85" y="316"/>
                      <a:pt x="85" y="316"/>
                    </a:cubicBezTo>
                    <a:cubicBezTo>
                      <a:pt x="84" y="315"/>
                      <a:pt x="84" y="315"/>
                      <a:pt x="84" y="315"/>
                    </a:cubicBezTo>
                    <a:cubicBezTo>
                      <a:pt x="83" y="314"/>
                      <a:pt x="83" y="314"/>
                      <a:pt x="83" y="314"/>
                    </a:cubicBezTo>
                    <a:cubicBezTo>
                      <a:pt x="83" y="316"/>
                      <a:pt x="83" y="316"/>
                      <a:pt x="83" y="316"/>
                    </a:cubicBezTo>
                    <a:cubicBezTo>
                      <a:pt x="83" y="317"/>
                      <a:pt x="83" y="317"/>
                      <a:pt x="83" y="317"/>
                    </a:cubicBezTo>
                    <a:cubicBezTo>
                      <a:pt x="82" y="317"/>
                      <a:pt x="82" y="317"/>
                      <a:pt x="82" y="317"/>
                    </a:cubicBezTo>
                    <a:cubicBezTo>
                      <a:pt x="81" y="317"/>
                      <a:pt x="81" y="317"/>
                      <a:pt x="81" y="317"/>
                    </a:cubicBezTo>
                    <a:cubicBezTo>
                      <a:pt x="82" y="318"/>
                      <a:pt x="82" y="318"/>
                      <a:pt x="82" y="318"/>
                    </a:cubicBezTo>
                    <a:cubicBezTo>
                      <a:pt x="82" y="319"/>
                      <a:pt x="82" y="319"/>
                      <a:pt x="82" y="319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81" y="322"/>
                      <a:pt x="81" y="322"/>
                      <a:pt x="81" y="322"/>
                    </a:cubicBezTo>
                    <a:cubicBezTo>
                      <a:pt x="79" y="322"/>
                      <a:pt x="79" y="322"/>
                      <a:pt x="79" y="322"/>
                    </a:cubicBezTo>
                    <a:cubicBezTo>
                      <a:pt x="79" y="322"/>
                      <a:pt x="79" y="322"/>
                      <a:pt x="79" y="322"/>
                    </a:cubicBezTo>
                    <a:cubicBezTo>
                      <a:pt x="78" y="322"/>
                      <a:pt x="78" y="322"/>
                      <a:pt x="78" y="322"/>
                    </a:cubicBezTo>
                    <a:cubicBezTo>
                      <a:pt x="77" y="323"/>
                      <a:pt x="77" y="323"/>
                      <a:pt x="77" y="323"/>
                    </a:cubicBezTo>
                    <a:cubicBezTo>
                      <a:pt x="74" y="323"/>
                      <a:pt x="74" y="323"/>
                      <a:pt x="74" y="323"/>
                    </a:cubicBezTo>
                    <a:cubicBezTo>
                      <a:pt x="73" y="322"/>
                      <a:pt x="73" y="322"/>
                      <a:pt x="73" y="322"/>
                    </a:cubicBezTo>
                    <a:cubicBezTo>
                      <a:pt x="74" y="321"/>
                      <a:pt x="74" y="321"/>
                      <a:pt x="74" y="321"/>
                    </a:cubicBezTo>
                    <a:cubicBezTo>
                      <a:pt x="73" y="320"/>
                      <a:pt x="73" y="320"/>
                      <a:pt x="73" y="320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1" y="320"/>
                      <a:pt x="71" y="320"/>
                      <a:pt x="71" y="320"/>
                    </a:cubicBezTo>
                    <a:cubicBezTo>
                      <a:pt x="71" y="320"/>
                      <a:pt x="71" y="320"/>
                      <a:pt x="71" y="320"/>
                    </a:cubicBezTo>
                    <a:cubicBezTo>
                      <a:pt x="70" y="318"/>
                      <a:pt x="70" y="318"/>
                      <a:pt x="70" y="318"/>
                    </a:cubicBezTo>
                    <a:cubicBezTo>
                      <a:pt x="70" y="317"/>
                      <a:pt x="70" y="317"/>
                      <a:pt x="70" y="317"/>
                    </a:cubicBezTo>
                    <a:cubicBezTo>
                      <a:pt x="70" y="316"/>
                      <a:pt x="70" y="316"/>
                      <a:pt x="70" y="316"/>
                    </a:cubicBezTo>
                    <a:cubicBezTo>
                      <a:pt x="69" y="315"/>
                      <a:pt x="69" y="315"/>
                      <a:pt x="69" y="315"/>
                    </a:cubicBezTo>
                    <a:cubicBezTo>
                      <a:pt x="69" y="314"/>
                      <a:pt x="69" y="314"/>
                      <a:pt x="69" y="314"/>
                    </a:cubicBezTo>
                    <a:cubicBezTo>
                      <a:pt x="71" y="313"/>
                      <a:pt x="71" y="313"/>
                      <a:pt x="71" y="313"/>
                    </a:cubicBezTo>
                    <a:cubicBezTo>
                      <a:pt x="73" y="313"/>
                      <a:pt x="73" y="313"/>
                      <a:pt x="73" y="313"/>
                    </a:cubicBezTo>
                    <a:cubicBezTo>
                      <a:pt x="73" y="313"/>
                      <a:pt x="73" y="313"/>
                      <a:pt x="73" y="313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5" y="311"/>
                      <a:pt x="75" y="311"/>
                      <a:pt x="75" y="311"/>
                    </a:cubicBezTo>
                    <a:cubicBezTo>
                      <a:pt x="78" y="311"/>
                      <a:pt x="78" y="311"/>
                      <a:pt x="78" y="311"/>
                    </a:cubicBezTo>
                    <a:cubicBezTo>
                      <a:pt x="79" y="311"/>
                      <a:pt x="79" y="311"/>
                      <a:pt x="79" y="311"/>
                    </a:cubicBezTo>
                    <a:cubicBezTo>
                      <a:pt x="81" y="309"/>
                      <a:pt x="81" y="309"/>
                      <a:pt x="81" y="309"/>
                    </a:cubicBezTo>
                    <a:cubicBezTo>
                      <a:pt x="83" y="306"/>
                      <a:pt x="83" y="306"/>
                      <a:pt x="83" y="306"/>
                    </a:cubicBezTo>
                    <a:cubicBezTo>
                      <a:pt x="83" y="305"/>
                      <a:pt x="83" y="305"/>
                      <a:pt x="83" y="305"/>
                    </a:cubicBezTo>
                    <a:cubicBezTo>
                      <a:pt x="82" y="305"/>
                      <a:pt x="82" y="305"/>
                      <a:pt x="82" y="305"/>
                    </a:cubicBezTo>
                    <a:cubicBezTo>
                      <a:pt x="81" y="306"/>
                      <a:pt x="81" y="306"/>
                      <a:pt x="81" y="306"/>
                    </a:cubicBezTo>
                    <a:cubicBezTo>
                      <a:pt x="80" y="308"/>
                      <a:pt x="80" y="308"/>
                      <a:pt x="80" y="308"/>
                    </a:cubicBezTo>
                    <a:cubicBezTo>
                      <a:pt x="79" y="309"/>
                      <a:pt x="79" y="309"/>
                      <a:pt x="79" y="309"/>
                    </a:cubicBezTo>
                    <a:cubicBezTo>
                      <a:pt x="77" y="310"/>
                      <a:pt x="77" y="310"/>
                      <a:pt x="77" y="310"/>
                    </a:cubicBezTo>
                    <a:cubicBezTo>
                      <a:pt x="74" y="309"/>
                      <a:pt x="74" y="309"/>
                      <a:pt x="74" y="309"/>
                    </a:cubicBezTo>
                    <a:cubicBezTo>
                      <a:pt x="73" y="308"/>
                      <a:pt x="73" y="308"/>
                      <a:pt x="73" y="308"/>
                    </a:cubicBezTo>
                    <a:cubicBezTo>
                      <a:pt x="73" y="307"/>
                      <a:pt x="73" y="307"/>
                      <a:pt x="73" y="307"/>
                    </a:cubicBezTo>
                    <a:cubicBezTo>
                      <a:pt x="75" y="306"/>
                      <a:pt x="75" y="306"/>
                      <a:pt x="75" y="306"/>
                    </a:cubicBezTo>
                    <a:cubicBezTo>
                      <a:pt x="77" y="304"/>
                      <a:pt x="77" y="304"/>
                      <a:pt x="77" y="304"/>
                    </a:cubicBezTo>
                    <a:cubicBezTo>
                      <a:pt x="78" y="304"/>
                      <a:pt x="78" y="304"/>
                      <a:pt x="78" y="304"/>
                    </a:cubicBezTo>
                    <a:cubicBezTo>
                      <a:pt x="78" y="304"/>
                      <a:pt x="78" y="304"/>
                      <a:pt x="78" y="304"/>
                    </a:cubicBezTo>
                    <a:cubicBezTo>
                      <a:pt x="78" y="302"/>
                      <a:pt x="78" y="302"/>
                      <a:pt x="78" y="302"/>
                    </a:cubicBezTo>
                    <a:cubicBezTo>
                      <a:pt x="79" y="302"/>
                      <a:pt x="79" y="302"/>
                      <a:pt x="79" y="302"/>
                    </a:cubicBezTo>
                    <a:cubicBezTo>
                      <a:pt x="80" y="301"/>
                      <a:pt x="80" y="301"/>
                      <a:pt x="80" y="301"/>
                    </a:cubicBezTo>
                    <a:cubicBezTo>
                      <a:pt x="81" y="301"/>
                      <a:pt x="81" y="301"/>
                      <a:pt x="81" y="301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0" y="299"/>
                      <a:pt x="80" y="299"/>
                      <a:pt x="80" y="299"/>
                    </a:cubicBezTo>
                    <a:cubicBezTo>
                      <a:pt x="80" y="299"/>
                      <a:pt x="80" y="299"/>
                      <a:pt x="80" y="299"/>
                    </a:cubicBezTo>
                    <a:cubicBezTo>
                      <a:pt x="79" y="299"/>
                      <a:pt x="79" y="299"/>
                      <a:pt x="79" y="299"/>
                    </a:cubicBezTo>
                    <a:cubicBezTo>
                      <a:pt x="78" y="300"/>
                      <a:pt x="78" y="300"/>
                      <a:pt x="78" y="300"/>
                    </a:cubicBezTo>
                    <a:cubicBezTo>
                      <a:pt x="76" y="300"/>
                      <a:pt x="76" y="300"/>
                      <a:pt x="76" y="300"/>
                    </a:cubicBezTo>
                    <a:cubicBezTo>
                      <a:pt x="75" y="300"/>
                      <a:pt x="75" y="300"/>
                      <a:pt x="75" y="300"/>
                    </a:cubicBezTo>
                    <a:cubicBezTo>
                      <a:pt x="74" y="299"/>
                      <a:pt x="74" y="299"/>
                      <a:pt x="74" y="299"/>
                    </a:cubicBezTo>
                    <a:cubicBezTo>
                      <a:pt x="75" y="298"/>
                      <a:pt x="75" y="298"/>
                      <a:pt x="75" y="298"/>
                    </a:cubicBezTo>
                    <a:cubicBezTo>
                      <a:pt x="77" y="297"/>
                      <a:pt x="77" y="297"/>
                      <a:pt x="77" y="297"/>
                    </a:cubicBezTo>
                    <a:cubicBezTo>
                      <a:pt x="78" y="297"/>
                      <a:pt x="78" y="297"/>
                      <a:pt x="78" y="297"/>
                    </a:cubicBezTo>
                    <a:cubicBezTo>
                      <a:pt x="79" y="298"/>
                      <a:pt x="79" y="298"/>
                      <a:pt x="79" y="298"/>
                    </a:cubicBezTo>
                    <a:cubicBezTo>
                      <a:pt x="80" y="298"/>
                      <a:pt x="80" y="298"/>
                      <a:pt x="80" y="298"/>
                    </a:cubicBezTo>
                    <a:cubicBezTo>
                      <a:pt x="82" y="297"/>
                      <a:pt x="82" y="297"/>
                      <a:pt x="82" y="297"/>
                    </a:cubicBezTo>
                    <a:cubicBezTo>
                      <a:pt x="83" y="294"/>
                      <a:pt x="83" y="294"/>
                      <a:pt x="83" y="294"/>
                    </a:cubicBezTo>
                    <a:cubicBezTo>
                      <a:pt x="82" y="293"/>
                      <a:pt x="82" y="293"/>
                      <a:pt x="82" y="293"/>
                    </a:cubicBezTo>
                    <a:cubicBezTo>
                      <a:pt x="83" y="292"/>
                      <a:pt x="83" y="292"/>
                      <a:pt x="83" y="292"/>
                    </a:cubicBezTo>
                    <a:cubicBezTo>
                      <a:pt x="85" y="290"/>
                      <a:pt x="85" y="290"/>
                      <a:pt x="85" y="290"/>
                    </a:cubicBezTo>
                    <a:cubicBezTo>
                      <a:pt x="84" y="288"/>
                      <a:pt x="84" y="288"/>
                      <a:pt x="84" y="288"/>
                    </a:cubicBezTo>
                    <a:cubicBezTo>
                      <a:pt x="84" y="286"/>
                      <a:pt x="84" y="286"/>
                      <a:pt x="84" y="286"/>
                    </a:cubicBezTo>
                    <a:cubicBezTo>
                      <a:pt x="84" y="285"/>
                      <a:pt x="84" y="285"/>
                      <a:pt x="84" y="285"/>
                    </a:cubicBezTo>
                    <a:cubicBezTo>
                      <a:pt x="83" y="285"/>
                      <a:pt x="83" y="285"/>
                      <a:pt x="83" y="285"/>
                    </a:cubicBezTo>
                    <a:cubicBezTo>
                      <a:pt x="82" y="285"/>
                      <a:pt x="82" y="285"/>
                      <a:pt x="82" y="285"/>
                    </a:cubicBezTo>
                    <a:cubicBezTo>
                      <a:pt x="81" y="284"/>
                      <a:pt x="81" y="284"/>
                      <a:pt x="81" y="284"/>
                    </a:cubicBezTo>
                    <a:cubicBezTo>
                      <a:pt x="79" y="284"/>
                      <a:pt x="79" y="284"/>
                      <a:pt x="79" y="284"/>
                    </a:cubicBezTo>
                    <a:cubicBezTo>
                      <a:pt x="78" y="283"/>
                      <a:pt x="78" y="283"/>
                      <a:pt x="78" y="283"/>
                    </a:cubicBezTo>
                    <a:cubicBezTo>
                      <a:pt x="78" y="282"/>
                      <a:pt x="78" y="282"/>
                      <a:pt x="78" y="282"/>
                    </a:cubicBezTo>
                    <a:cubicBezTo>
                      <a:pt x="79" y="282"/>
                      <a:pt x="79" y="282"/>
                      <a:pt x="79" y="282"/>
                    </a:cubicBezTo>
                    <a:cubicBezTo>
                      <a:pt x="81" y="282"/>
                      <a:pt x="81" y="282"/>
                      <a:pt x="81" y="282"/>
                    </a:cubicBezTo>
                    <a:cubicBezTo>
                      <a:pt x="81" y="282"/>
                      <a:pt x="81" y="282"/>
                      <a:pt x="81" y="282"/>
                    </a:cubicBezTo>
                    <a:cubicBezTo>
                      <a:pt x="83" y="280"/>
                      <a:pt x="83" y="280"/>
                      <a:pt x="83" y="280"/>
                    </a:cubicBezTo>
                    <a:cubicBezTo>
                      <a:pt x="83" y="279"/>
                      <a:pt x="83" y="279"/>
                      <a:pt x="83" y="279"/>
                    </a:cubicBezTo>
                    <a:cubicBezTo>
                      <a:pt x="84" y="278"/>
                      <a:pt x="84" y="278"/>
                      <a:pt x="84" y="278"/>
                    </a:cubicBezTo>
                    <a:cubicBezTo>
                      <a:pt x="83" y="277"/>
                      <a:pt x="83" y="277"/>
                      <a:pt x="83" y="277"/>
                    </a:cubicBezTo>
                    <a:cubicBezTo>
                      <a:pt x="83" y="276"/>
                      <a:pt x="83" y="276"/>
                      <a:pt x="83" y="276"/>
                    </a:cubicBezTo>
                    <a:cubicBezTo>
                      <a:pt x="82" y="276"/>
                      <a:pt x="82" y="276"/>
                      <a:pt x="82" y="276"/>
                    </a:cubicBezTo>
                    <a:cubicBezTo>
                      <a:pt x="81" y="275"/>
                      <a:pt x="81" y="275"/>
                      <a:pt x="81" y="275"/>
                    </a:cubicBezTo>
                    <a:cubicBezTo>
                      <a:pt x="81" y="274"/>
                      <a:pt x="81" y="274"/>
                      <a:pt x="81" y="274"/>
                    </a:cubicBezTo>
                    <a:cubicBezTo>
                      <a:pt x="82" y="273"/>
                      <a:pt x="82" y="273"/>
                      <a:pt x="82" y="273"/>
                    </a:cubicBezTo>
                    <a:cubicBezTo>
                      <a:pt x="82" y="273"/>
                      <a:pt x="82" y="273"/>
                      <a:pt x="82" y="273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1" y="271"/>
                      <a:pt x="81" y="271"/>
                      <a:pt x="81" y="271"/>
                    </a:cubicBezTo>
                    <a:cubicBezTo>
                      <a:pt x="81" y="268"/>
                      <a:pt x="81" y="268"/>
                      <a:pt x="81" y="268"/>
                    </a:cubicBezTo>
                    <a:cubicBezTo>
                      <a:pt x="81" y="268"/>
                      <a:pt x="81" y="268"/>
                      <a:pt x="81" y="268"/>
                    </a:cubicBezTo>
                    <a:cubicBezTo>
                      <a:pt x="82" y="269"/>
                      <a:pt x="82" y="269"/>
                      <a:pt x="82" y="269"/>
                    </a:cubicBezTo>
                    <a:cubicBezTo>
                      <a:pt x="82" y="269"/>
                      <a:pt x="82" y="269"/>
                      <a:pt x="82" y="269"/>
                    </a:cubicBezTo>
                    <a:cubicBezTo>
                      <a:pt x="82" y="267"/>
                      <a:pt x="82" y="267"/>
                      <a:pt x="82" y="267"/>
                    </a:cubicBezTo>
                    <a:cubicBezTo>
                      <a:pt x="82" y="267"/>
                      <a:pt x="82" y="267"/>
                      <a:pt x="82" y="267"/>
                    </a:cubicBezTo>
                    <a:cubicBezTo>
                      <a:pt x="83" y="265"/>
                      <a:pt x="83" y="265"/>
                      <a:pt x="83" y="265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1" y="261"/>
                      <a:pt x="81" y="261"/>
                      <a:pt x="81" y="261"/>
                    </a:cubicBezTo>
                    <a:cubicBezTo>
                      <a:pt x="82" y="260"/>
                      <a:pt x="82" y="260"/>
                      <a:pt x="82" y="260"/>
                    </a:cubicBezTo>
                    <a:cubicBezTo>
                      <a:pt x="81" y="259"/>
                      <a:pt x="81" y="259"/>
                      <a:pt x="81" y="259"/>
                    </a:cubicBezTo>
                    <a:cubicBezTo>
                      <a:pt x="82" y="258"/>
                      <a:pt x="82" y="258"/>
                      <a:pt x="82" y="258"/>
                    </a:cubicBezTo>
                    <a:cubicBezTo>
                      <a:pt x="82" y="256"/>
                      <a:pt x="82" y="256"/>
                      <a:pt x="82" y="256"/>
                    </a:cubicBezTo>
                    <a:cubicBezTo>
                      <a:pt x="82" y="256"/>
                      <a:pt x="82" y="256"/>
                      <a:pt x="82" y="256"/>
                    </a:cubicBezTo>
                    <a:cubicBezTo>
                      <a:pt x="81" y="256"/>
                      <a:pt x="81" y="256"/>
                      <a:pt x="81" y="256"/>
                    </a:cubicBezTo>
                    <a:cubicBezTo>
                      <a:pt x="79" y="258"/>
                      <a:pt x="79" y="258"/>
                      <a:pt x="79" y="258"/>
                    </a:cubicBezTo>
                    <a:cubicBezTo>
                      <a:pt x="78" y="258"/>
                      <a:pt x="78" y="258"/>
                      <a:pt x="78" y="258"/>
                    </a:cubicBezTo>
                    <a:cubicBezTo>
                      <a:pt x="77" y="258"/>
                      <a:pt x="77" y="258"/>
                      <a:pt x="77" y="258"/>
                    </a:cubicBezTo>
                    <a:cubicBezTo>
                      <a:pt x="76" y="259"/>
                      <a:pt x="76" y="259"/>
                      <a:pt x="76" y="259"/>
                    </a:cubicBezTo>
                    <a:cubicBezTo>
                      <a:pt x="75" y="258"/>
                      <a:pt x="75" y="258"/>
                      <a:pt x="75" y="258"/>
                    </a:cubicBezTo>
                    <a:cubicBezTo>
                      <a:pt x="76" y="258"/>
                      <a:pt x="76" y="258"/>
                      <a:pt x="76" y="258"/>
                    </a:cubicBezTo>
                    <a:cubicBezTo>
                      <a:pt x="78" y="256"/>
                      <a:pt x="78" y="256"/>
                      <a:pt x="78" y="256"/>
                    </a:cubicBezTo>
                    <a:cubicBezTo>
                      <a:pt x="79" y="256"/>
                      <a:pt x="79" y="256"/>
                      <a:pt x="79" y="256"/>
                    </a:cubicBezTo>
                    <a:cubicBezTo>
                      <a:pt x="80" y="255"/>
                      <a:pt x="80" y="255"/>
                      <a:pt x="80" y="255"/>
                    </a:cubicBezTo>
                    <a:cubicBezTo>
                      <a:pt x="80" y="253"/>
                      <a:pt x="80" y="253"/>
                      <a:pt x="80" y="253"/>
                    </a:cubicBezTo>
                    <a:cubicBezTo>
                      <a:pt x="82" y="252"/>
                      <a:pt x="82" y="252"/>
                      <a:pt x="82" y="252"/>
                    </a:cubicBezTo>
                    <a:cubicBezTo>
                      <a:pt x="83" y="252"/>
                      <a:pt x="83" y="252"/>
                      <a:pt x="83" y="252"/>
                    </a:cubicBezTo>
                    <a:cubicBezTo>
                      <a:pt x="84" y="250"/>
                      <a:pt x="84" y="250"/>
                      <a:pt x="84" y="250"/>
                    </a:cubicBezTo>
                    <a:cubicBezTo>
                      <a:pt x="83" y="249"/>
                      <a:pt x="83" y="249"/>
                      <a:pt x="83" y="249"/>
                    </a:cubicBezTo>
                    <a:cubicBezTo>
                      <a:pt x="83" y="248"/>
                      <a:pt x="83" y="248"/>
                      <a:pt x="83" y="248"/>
                    </a:cubicBezTo>
                    <a:cubicBezTo>
                      <a:pt x="81" y="246"/>
                      <a:pt x="81" y="246"/>
                      <a:pt x="81" y="246"/>
                    </a:cubicBezTo>
                    <a:cubicBezTo>
                      <a:pt x="81" y="245"/>
                      <a:pt x="81" y="245"/>
                      <a:pt x="81" y="245"/>
                    </a:cubicBezTo>
                    <a:cubicBezTo>
                      <a:pt x="81" y="244"/>
                      <a:pt x="81" y="244"/>
                      <a:pt x="81" y="244"/>
                    </a:cubicBezTo>
                    <a:cubicBezTo>
                      <a:pt x="80" y="244"/>
                      <a:pt x="80" y="244"/>
                      <a:pt x="80" y="244"/>
                    </a:cubicBezTo>
                    <a:cubicBezTo>
                      <a:pt x="79" y="243"/>
                      <a:pt x="79" y="243"/>
                      <a:pt x="79" y="243"/>
                    </a:cubicBezTo>
                    <a:cubicBezTo>
                      <a:pt x="79" y="241"/>
                      <a:pt x="79" y="241"/>
                      <a:pt x="79" y="241"/>
                    </a:cubicBezTo>
                    <a:cubicBezTo>
                      <a:pt x="79" y="241"/>
                      <a:pt x="79" y="241"/>
                      <a:pt x="79" y="241"/>
                    </a:cubicBezTo>
                    <a:cubicBezTo>
                      <a:pt x="79" y="240"/>
                      <a:pt x="79" y="240"/>
                      <a:pt x="79" y="240"/>
                    </a:cubicBezTo>
                    <a:cubicBezTo>
                      <a:pt x="79" y="238"/>
                      <a:pt x="79" y="238"/>
                      <a:pt x="79" y="238"/>
                    </a:cubicBezTo>
                    <a:cubicBezTo>
                      <a:pt x="78" y="237"/>
                      <a:pt x="78" y="237"/>
                      <a:pt x="78" y="237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5" y="233"/>
                      <a:pt x="75" y="233"/>
                      <a:pt x="75" y="233"/>
                    </a:cubicBezTo>
                    <a:cubicBezTo>
                      <a:pt x="74" y="232"/>
                      <a:pt x="74" y="232"/>
                      <a:pt x="74" y="232"/>
                    </a:cubicBezTo>
                    <a:cubicBezTo>
                      <a:pt x="73" y="231"/>
                      <a:pt x="73" y="231"/>
                      <a:pt x="73" y="231"/>
                    </a:cubicBezTo>
                    <a:cubicBezTo>
                      <a:pt x="73" y="230"/>
                      <a:pt x="73" y="230"/>
                      <a:pt x="73" y="230"/>
                    </a:cubicBezTo>
                    <a:cubicBezTo>
                      <a:pt x="74" y="230"/>
                      <a:pt x="74" y="230"/>
                      <a:pt x="74" y="230"/>
                    </a:cubicBezTo>
                    <a:cubicBezTo>
                      <a:pt x="76" y="228"/>
                      <a:pt x="76" y="228"/>
                      <a:pt x="76" y="228"/>
                    </a:cubicBezTo>
                    <a:cubicBezTo>
                      <a:pt x="77" y="228"/>
                      <a:pt x="77" y="228"/>
                      <a:pt x="77" y="228"/>
                    </a:cubicBezTo>
                    <a:cubicBezTo>
                      <a:pt x="78" y="226"/>
                      <a:pt x="78" y="226"/>
                      <a:pt x="78" y="226"/>
                    </a:cubicBezTo>
                    <a:cubicBezTo>
                      <a:pt x="77" y="226"/>
                      <a:pt x="77" y="226"/>
                      <a:pt x="77" y="226"/>
                    </a:cubicBezTo>
                    <a:cubicBezTo>
                      <a:pt x="76" y="226"/>
                      <a:pt x="76" y="226"/>
                      <a:pt x="76" y="226"/>
                    </a:cubicBezTo>
                    <a:cubicBezTo>
                      <a:pt x="76" y="225"/>
                      <a:pt x="76" y="225"/>
                      <a:pt x="76" y="225"/>
                    </a:cubicBezTo>
                    <a:cubicBezTo>
                      <a:pt x="77" y="225"/>
                      <a:pt x="77" y="225"/>
                      <a:pt x="77" y="225"/>
                    </a:cubicBezTo>
                    <a:cubicBezTo>
                      <a:pt x="78" y="223"/>
                      <a:pt x="78" y="223"/>
                      <a:pt x="78" y="223"/>
                    </a:cubicBezTo>
                    <a:cubicBezTo>
                      <a:pt x="79" y="222"/>
                      <a:pt x="79" y="222"/>
                      <a:pt x="79" y="222"/>
                    </a:cubicBezTo>
                    <a:cubicBezTo>
                      <a:pt x="79" y="221"/>
                      <a:pt x="79" y="221"/>
                      <a:pt x="79" y="221"/>
                    </a:cubicBezTo>
                    <a:cubicBezTo>
                      <a:pt x="78" y="220"/>
                      <a:pt x="78" y="220"/>
                      <a:pt x="78" y="220"/>
                    </a:cubicBezTo>
                    <a:cubicBezTo>
                      <a:pt x="79" y="219"/>
                      <a:pt x="79" y="219"/>
                      <a:pt x="79" y="219"/>
                    </a:cubicBezTo>
                    <a:cubicBezTo>
                      <a:pt x="78" y="218"/>
                      <a:pt x="78" y="218"/>
                      <a:pt x="78" y="218"/>
                    </a:cubicBezTo>
                    <a:cubicBezTo>
                      <a:pt x="77" y="218"/>
                      <a:pt x="77" y="218"/>
                      <a:pt x="77" y="218"/>
                    </a:cubicBezTo>
                    <a:cubicBezTo>
                      <a:pt x="76" y="216"/>
                      <a:pt x="76" y="216"/>
                      <a:pt x="76" y="216"/>
                    </a:cubicBezTo>
                    <a:cubicBezTo>
                      <a:pt x="73" y="214"/>
                      <a:pt x="73" y="214"/>
                      <a:pt x="73" y="214"/>
                    </a:cubicBezTo>
                    <a:cubicBezTo>
                      <a:pt x="73" y="213"/>
                      <a:pt x="73" y="213"/>
                      <a:pt x="73" y="213"/>
                    </a:cubicBezTo>
                    <a:cubicBezTo>
                      <a:pt x="72" y="212"/>
                      <a:pt x="72" y="212"/>
                      <a:pt x="72" y="212"/>
                    </a:cubicBezTo>
                    <a:cubicBezTo>
                      <a:pt x="71" y="212"/>
                      <a:pt x="71" y="212"/>
                      <a:pt x="71" y="212"/>
                    </a:cubicBezTo>
                    <a:cubicBezTo>
                      <a:pt x="71" y="213"/>
                      <a:pt x="71" y="213"/>
                      <a:pt x="71" y="213"/>
                    </a:cubicBezTo>
                    <a:cubicBezTo>
                      <a:pt x="70" y="213"/>
                      <a:pt x="70" y="213"/>
                      <a:pt x="70" y="213"/>
                    </a:cubicBezTo>
                    <a:cubicBezTo>
                      <a:pt x="70" y="213"/>
                      <a:pt x="70" y="213"/>
                      <a:pt x="70" y="213"/>
                    </a:cubicBezTo>
                    <a:cubicBezTo>
                      <a:pt x="69" y="211"/>
                      <a:pt x="69" y="211"/>
                      <a:pt x="69" y="211"/>
                    </a:cubicBezTo>
                    <a:cubicBezTo>
                      <a:pt x="68" y="210"/>
                      <a:pt x="68" y="210"/>
                      <a:pt x="68" y="210"/>
                    </a:cubicBezTo>
                    <a:cubicBezTo>
                      <a:pt x="67" y="209"/>
                      <a:pt x="67" y="209"/>
                      <a:pt x="67" y="209"/>
                    </a:cubicBezTo>
                    <a:cubicBezTo>
                      <a:pt x="66" y="208"/>
                      <a:pt x="66" y="208"/>
                      <a:pt x="66" y="208"/>
                    </a:cubicBezTo>
                    <a:cubicBezTo>
                      <a:pt x="65" y="208"/>
                      <a:pt x="65" y="208"/>
                      <a:pt x="65" y="208"/>
                    </a:cubicBezTo>
                    <a:cubicBezTo>
                      <a:pt x="65" y="208"/>
                      <a:pt x="65" y="208"/>
                      <a:pt x="65" y="208"/>
                    </a:cubicBezTo>
                    <a:cubicBezTo>
                      <a:pt x="64" y="209"/>
                      <a:pt x="64" y="209"/>
                      <a:pt x="64" y="209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06"/>
                      <a:pt x="64" y="206"/>
                      <a:pt x="64" y="206"/>
                    </a:cubicBezTo>
                    <a:cubicBezTo>
                      <a:pt x="62" y="204"/>
                      <a:pt x="62" y="204"/>
                      <a:pt x="62" y="204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59" y="204"/>
                      <a:pt x="59" y="204"/>
                      <a:pt x="59" y="204"/>
                    </a:cubicBezTo>
                    <a:cubicBezTo>
                      <a:pt x="57" y="203"/>
                      <a:pt x="57" y="203"/>
                      <a:pt x="57" y="203"/>
                    </a:cubicBezTo>
                    <a:cubicBezTo>
                      <a:pt x="55" y="201"/>
                      <a:pt x="55" y="201"/>
                      <a:pt x="55" y="201"/>
                    </a:cubicBezTo>
                    <a:cubicBezTo>
                      <a:pt x="52" y="200"/>
                      <a:pt x="52" y="200"/>
                      <a:pt x="52" y="200"/>
                    </a:cubicBezTo>
                    <a:cubicBezTo>
                      <a:pt x="51" y="199"/>
                      <a:pt x="51" y="199"/>
                      <a:pt x="51" y="199"/>
                    </a:cubicBezTo>
                    <a:cubicBezTo>
                      <a:pt x="49" y="198"/>
                      <a:pt x="49" y="198"/>
                      <a:pt x="49" y="198"/>
                    </a:cubicBezTo>
                    <a:cubicBezTo>
                      <a:pt x="47" y="198"/>
                      <a:pt x="47" y="198"/>
                      <a:pt x="47" y="198"/>
                    </a:cubicBezTo>
                    <a:cubicBezTo>
                      <a:pt x="46" y="199"/>
                      <a:pt x="46" y="199"/>
                      <a:pt x="46" y="199"/>
                    </a:cubicBezTo>
                    <a:cubicBezTo>
                      <a:pt x="45" y="201"/>
                      <a:pt x="45" y="201"/>
                      <a:pt x="45" y="201"/>
                    </a:cubicBezTo>
                    <a:cubicBezTo>
                      <a:pt x="43" y="203"/>
                      <a:pt x="43" y="203"/>
                      <a:pt x="43" y="203"/>
                    </a:cubicBezTo>
                    <a:cubicBezTo>
                      <a:pt x="43" y="204"/>
                      <a:pt x="43" y="204"/>
                      <a:pt x="43" y="204"/>
                    </a:cubicBezTo>
                    <a:cubicBezTo>
                      <a:pt x="42" y="202"/>
                      <a:pt x="42" y="202"/>
                      <a:pt x="42" y="202"/>
                    </a:cubicBezTo>
                    <a:cubicBezTo>
                      <a:pt x="43" y="200"/>
                      <a:pt x="43" y="200"/>
                      <a:pt x="43" y="200"/>
                    </a:cubicBezTo>
                    <a:cubicBezTo>
                      <a:pt x="43" y="199"/>
                      <a:pt x="43" y="199"/>
                      <a:pt x="43" y="199"/>
                    </a:cubicBezTo>
                    <a:cubicBezTo>
                      <a:pt x="43" y="198"/>
                      <a:pt x="43" y="198"/>
                      <a:pt x="43" y="198"/>
                    </a:cubicBezTo>
                    <a:cubicBezTo>
                      <a:pt x="41" y="198"/>
                      <a:pt x="41" y="198"/>
                      <a:pt x="41" y="198"/>
                    </a:cubicBezTo>
                    <a:cubicBezTo>
                      <a:pt x="40" y="199"/>
                      <a:pt x="40" y="199"/>
                      <a:pt x="40" y="199"/>
                    </a:cubicBezTo>
                    <a:cubicBezTo>
                      <a:pt x="40" y="200"/>
                      <a:pt x="40" y="200"/>
                      <a:pt x="40" y="200"/>
                    </a:cubicBezTo>
                    <a:cubicBezTo>
                      <a:pt x="38" y="201"/>
                      <a:pt x="38" y="201"/>
                      <a:pt x="38" y="201"/>
                    </a:cubicBezTo>
                    <a:cubicBezTo>
                      <a:pt x="37" y="201"/>
                      <a:pt x="37" y="201"/>
                      <a:pt x="37" y="201"/>
                    </a:cubicBezTo>
                    <a:cubicBezTo>
                      <a:pt x="36" y="198"/>
                      <a:pt x="36" y="198"/>
                      <a:pt x="36" y="198"/>
                    </a:cubicBezTo>
                    <a:cubicBezTo>
                      <a:pt x="35" y="198"/>
                      <a:pt x="35" y="198"/>
                      <a:pt x="35" y="198"/>
                    </a:cubicBezTo>
                    <a:cubicBezTo>
                      <a:pt x="35" y="199"/>
                      <a:pt x="35" y="199"/>
                      <a:pt x="35" y="199"/>
                    </a:cubicBezTo>
                    <a:cubicBezTo>
                      <a:pt x="34" y="202"/>
                      <a:pt x="34" y="202"/>
                      <a:pt x="34" y="202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2" y="202"/>
                      <a:pt x="32" y="202"/>
                      <a:pt x="32" y="202"/>
                    </a:cubicBezTo>
                    <a:cubicBezTo>
                      <a:pt x="32" y="200"/>
                      <a:pt x="32" y="200"/>
                      <a:pt x="32" y="200"/>
                    </a:cubicBezTo>
                    <a:cubicBezTo>
                      <a:pt x="33" y="199"/>
                      <a:pt x="33" y="199"/>
                      <a:pt x="33" y="199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2" y="197"/>
                      <a:pt x="32" y="197"/>
                      <a:pt x="32" y="197"/>
                    </a:cubicBezTo>
                    <a:cubicBezTo>
                      <a:pt x="32" y="196"/>
                      <a:pt x="32" y="196"/>
                      <a:pt x="32" y="196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7" y="198"/>
                      <a:pt x="27" y="198"/>
                      <a:pt x="27" y="198"/>
                    </a:cubicBezTo>
                    <a:cubicBezTo>
                      <a:pt x="27" y="197"/>
                      <a:pt x="27" y="197"/>
                      <a:pt x="27" y="197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6" y="193"/>
                      <a:pt x="26" y="193"/>
                      <a:pt x="26" y="193"/>
                    </a:cubicBezTo>
                    <a:cubicBezTo>
                      <a:pt x="26" y="193"/>
                      <a:pt x="26" y="193"/>
                      <a:pt x="26" y="193"/>
                    </a:cubicBezTo>
                    <a:cubicBezTo>
                      <a:pt x="25" y="194"/>
                      <a:pt x="25" y="194"/>
                      <a:pt x="25" y="194"/>
                    </a:cubicBezTo>
                    <a:cubicBezTo>
                      <a:pt x="25" y="195"/>
                      <a:pt x="25" y="195"/>
                      <a:pt x="25" y="195"/>
                    </a:cubicBezTo>
                    <a:cubicBezTo>
                      <a:pt x="24" y="197"/>
                      <a:pt x="24" y="197"/>
                      <a:pt x="24" y="197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199"/>
                      <a:pt x="23" y="199"/>
                      <a:pt x="23" y="199"/>
                    </a:cubicBezTo>
                    <a:cubicBezTo>
                      <a:pt x="24" y="202"/>
                      <a:pt x="24" y="202"/>
                      <a:pt x="24" y="202"/>
                    </a:cubicBezTo>
                    <a:cubicBezTo>
                      <a:pt x="23" y="203"/>
                      <a:pt x="23" y="203"/>
                      <a:pt x="23" y="203"/>
                    </a:cubicBezTo>
                    <a:cubicBezTo>
                      <a:pt x="23" y="204"/>
                      <a:pt x="23" y="204"/>
                      <a:pt x="23" y="204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0" y="201"/>
                      <a:pt x="20" y="201"/>
                      <a:pt x="20" y="201"/>
                    </a:cubicBezTo>
                    <a:cubicBezTo>
                      <a:pt x="18" y="200"/>
                      <a:pt x="18" y="200"/>
                      <a:pt x="18" y="200"/>
                    </a:cubicBezTo>
                    <a:cubicBezTo>
                      <a:pt x="16" y="199"/>
                      <a:pt x="16" y="199"/>
                      <a:pt x="16" y="199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4" y="196"/>
                      <a:pt x="14" y="196"/>
                      <a:pt x="14" y="196"/>
                    </a:cubicBezTo>
                    <a:cubicBezTo>
                      <a:pt x="14" y="196"/>
                      <a:pt x="14" y="196"/>
                      <a:pt x="14" y="196"/>
                    </a:cubicBezTo>
                    <a:cubicBezTo>
                      <a:pt x="14" y="195"/>
                      <a:pt x="14" y="195"/>
                      <a:pt x="14" y="195"/>
                    </a:cubicBezTo>
                    <a:cubicBezTo>
                      <a:pt x="12" y="195"/>
                      <a:pt x="12" y="195"/>
                      <a:pt x="12" y="195"/>
                    </a:cubicBezTo>
                    <a:cubicBezTo>
                      <a:pt x="11" y="192"/>
                      <a:pt x="11" y="192"/>
                      <a:pt x="11" y="192"/>
                    </a:cubicBezTo>
                    <a:cubicBezTo>
                      <a:pt x="10" y="190"/>
                      <a:pt x="10" y="190"/>
                      <a:pt x="10" y="190"/>
                    </a:cubicBezTo>
                    <a:cubicBezTo>
                      <a:pt x="8" y="189"/>
                      <a:pt x="8" y="189"/>
                      <a:pt x="8" y="189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9" y="185"/>
                      <a:pt x="9" y="185"/>
                      <a:pt x="9" y="185"/>
                    </a:cubicBezTo>
                    <a:cubicBezTo>
                      <a:pt x="12" y="185"/>
                      <a:pt x="12" y="185"/>
                      <a:pt x="12" y="185"/>
                    </a:cubicBezTo>
                    <a:cubicBezTo>
                      <a:pt x="13" y="184"/>
                      <a:pt x="13" y="184"/>
                      <a:pt x="13" y="184"/>
                    </a:cubicBezTo>
                    <a:cubicBezTo>
                      <a:pt x="14" y="184"/>
                      <a:pt x="14" y="184"/>
                      <a:pt x="14" y="184"/>
                    </a:cubicBezTo>
                    <a:cubicBezTo>
                      <a:pt x="17" y="184"/>
                      <a:pt x="17" y="184"/>
                      <a:pt x="17" y="184"/>
                    </a:cubicBezTo>
                    <a:cubicBezTo>
                      <a:pt x="18" y="184"/>
                      <a:pt x="18" y="184"/>
                      <a:pt x="18" y="184"/>
                    </a:cubicBezTo>
                    <a:cubicBezTo>
                      <a:pt x="19" y="183"/>
                      <a:pt x="19" y="183"/>
                      <a:pt x="19" y="183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20" y="181"/>
                      <a:pt x="20" y="181"/>
                      <a:pt x="20" y="181"/>
                    </a:cubicBezTo>
                    <a:cubicBezTo>
                      <a:pt x="18" y="181"/>
                      <a:pt x="18" y="181"/>
                      <a:pt x="18" y="181"/>
                    </a:cubicBezTo>
                    <a:cubicBezTo>
                      <a:pt x="15" y="180"/>
                      <a:pt x="15" y="180"/>
                      <a:pt x="15" y="180"/>
                    </a:cubicBezTo>
                    <a:cubicBezTo>
                      <a:pt x="14" y="180"/>
                      <a:pt x="14" y="180"/>
                      <a:pt x="14" y="180"/>
                    </a:cubicBezTo>
                    <a:cubicBezTo>
                      <a:pt x="14" y="181"/>
                      <a:pt x="14" y="181"/>
                      <a:pt x="14" y="181"/>
                    </a:cubicBezTo>
                    <a:cubicBezTo>
                      <a:pt x="11" y="178"/>
                      <a:pt x="11" y="178"/>
                      <a:pt x="11" y="178"/>
                    </a:cubicBezTo>
                    <a:cubicBezTo>
                      <a:pt x="10" y="176"/>
                      <a:pt x="10" y="176"/>
                      <a:pt x="10" y="176"/>
                    </a:cubicBezTo>
                    <a:cubicBezTo>
                      <a:pt x="11" y="175"/>
                      <a:pt x="11" y="175"/>
                      <a:pt x="11" y="175"/>
                    </a:cubicBezTo>
                    <a:cubicBezTo>
                      <a:pt x="13" y="174"/>
                      <a:pt x="13" y="174"/>
                      <a:pt x="13" y="174"/>
                    </a:cubicBezTo>
                    <a:cubicBezTo>
                      <a:pt x="14" y="172"/>
                      <a:pt x="14" y="172"/>
                      <a:pt x="14" y="172"/>
                    </a:cubicBezTo>
                    <a:cubicBezTo>
                      <a:pt x="14" y="171"/>
                      <a:pt x="14" y="171"/>
                      <a:pt x="14" y="171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2" y="171"/>
                      <a:pt x="12" y="171"/>
                      <a:pt x="12" y="171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9" y="174"/>
                      <a:pt x="9" y="174"/>
                      <a:pt x="9" y="17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6" y="175"/>
                      <a:pt x="6" y="175"/>
                      <a:pt x="6" y="175"/>
                    </a:cubicBezTo>
                    <a:cubicBezTo>
                      <a:pt x="6" y="173"/>
                      <a:pt x="6" y="173"/>
                      <a:pt x="6" y="173"/>
                    </a:cubicBezTo>
                    <a:cubicBezTo>
                      <a:pt x="6" y="171"/>
                      <a:pt x="6" y="171"/>
                      <a:pt x="6" y="171"/>
                    </a:cubicBezTo>
                    <a:cubicBezTo>
                      <a:pt x="7" y="171"/>
                      <a:pt x="7" y="171"/>
                      <a:pt x="7" y="171"/>
                    </a:cubicBezTo>
                    <a:cubicBezTo>
                      <a:pt x="7" y="170"/>
                      <a:pt x="7" y="170"/>
                      <a:pt x="7" y="170"/>
                    </a:cubicBezTo>
                    <a:cubicBezTo>
                      <a:pt x="6" y="170"/>
                      <a:pt x="6" y="170"/>
                      <a:pt x="6" y="170"/>
                    </a:cubicBezTo>
                    <a:cubicBezTo>
                      <a:pt x="5" y="170"/>
                      <a:pt x="5" y="170"/>
                      <a:pt x="5" y="170"/>
                    </a:cubicBezTo>
                    <a:cubicBezTo>
                      <a:pt x="5" y="169"/>
                      <a:pt x="5" y="169"/>
                      <a:pt x="5" y="169"/>
                    </a:cubicBezTo>
                    <a:cubicBezTo>
                      <a:pt x="5" y="168"/>
                      <a:pt x="5" y="168"/>
                      <a:pt x="5" y="168"/>
                    </a:cubicBezTo>
                    <a:cubicBezTo>
                      <a:pt x="6" y="166"/>
                      <a:pt x="6" y="166"/>
                      <a:pt x="6" y="166"/>
                    </a:cubicBezTo>
                    <a:cubicBezTo>
                      <a:pt x="6" y="166"/>
                      <a:pt x="6" y="166"/>
                      <a:pt x="6" y="166"/>
                    </a:cubicBezTo>
                    <a:cubicBezTo>
                      <a:pt x="7" y="165"/>
                      <a:pt x="7" y="165"/>
                      <a:pt x="7" y="165"/>
                    </a:cubicBezTo>
                    <a:cubicBezTo>
                      <a:pt x="8" y="166"/>
                      <a:pt x="8" y="166"/>
                      <a:pt x="8" y="166"/>
                    </a:cubicBezTo>
                    <a:cubicBezTo>
                      <a:pt x="9" y="166"/>
                      <a:pt x="9" y="166"/>
                      <a:pt x="9" y="166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12" y="163"/>
                      <a:pt x="12" y="163"/>
                      <a:pt x="12" y="163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5"/>
                      <a:pt x="18" y="165"/>
                      <a:pt x="18" y="165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27" y="167"/>
                      <a:pt x="27" y="167"/>
                      <a:pt x="27" y="167"/>
                    </a:cubicBezTo>
                    <a:cubicBezTo>
                      <a:pt x="29" y="168"/>
                      <a:pt x="29" y="168"/>
                      <a:pt x="29" y="168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4" y="170"/>
                      <a:pt x="34" y="170"/>
                      <a:pt x="34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1" y="168"/>
                      <a:pt x="31" y="168"/>
                      <a:pt x="31" y="168"/>
                    </a:cubicBezTo>
                    <a:cubicBezTo>
                      <a:pt x="28" y="166"/>
                      <a:pt x="28" y="166"/>
                      <a:pt x="28" y="166"/>
                    </a:cubicBezTo>
                    <a:cubicBezTo>
                      <a:pt x="26" y="165"/>
                      <a:pt x="26" y="165"/>
                      <a:pt x="26" y="165"/>
                    </a:cubicBezTo>
                    <a:cubicBezTo>
                      <a:pt x="23" y="165"/>
                      <a:pt x="23" y="165"/>
                      <a:pt x="23" y="165"/>
                    </a:cubicBezTo>
                    <a:cubicBezTo>
                      <a:pt x="22" y="163"/>
                      <a:pt x="22" y="163"/>
                      <a:pt x="22" y="163"/>
                    </a:cubicBezTo>
                    <a:cubicBezTo>
                      <a:pt x="22" y="163"/>
                      <a:pt x="22" y="163"/>
                      <a:pt x="22" y="163"/>
                    </a:cubicBezTo>
                    <a:cubicBezTo>
                      <a:pt x="25" y="162"/>
                      <a:pt x="25" y="162"/>
                      <a:pt x="25" y="162"/>
                    </a:cubicBezTo>
                    <a:cubicBezTo>
                      <a:pt x="28" y="162"/>
                      <a:pt x="28" y="162"/>
                      <a:pt x="28" y="162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6" y="165"/>
                      <a:pt x="36" y="165"/>
                      <a:pt x="36" y="165"/>
                    </a:cubicBezTo>
                    <a:cubicBezTo>
                      <a:pt x="37" y="165"/>
                      <a:pt x="37" y="165"/>
                      <a:pt x="37" y="165"/>
                    </a:cubicBezTo>
                    <a:cubicBezTo>
                      <a:pt x="38" y="166"/>
                      <a:pt x="38" y="166"/>
                      <a:pt x="38" y="166"/>
                    </a:cubicBezTo>
                    <a:cubicBezTo>
                      <a:pt x="39" y="167"/>
                      <a:pt x="39" y="167"/>
                      <a:pt x="39" y="167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39" y="164"/>
                      <a:pt x="39" y="164"/>
                      <a:pt x="39" y="164"/>
                    </a:cubicBezTo>
                    <a:cubicBezTo>
                      <a:pt x="41" y="162"/>
                      <a:pt x="41" y="162"/>
                      <a:pt x="41" y="162"/>
                    </a:cubicBezTo>
                    <a:cubicBezTo>
                      <a:pt x="42" y="162"/>
                      <a:pt x="42" y="162"/>
                      <a:pt x="42" y="162"/>
                    </a:cubicBezTo>
                    <a:cubicBezTo>
                      <a:pt x="41" y="159"/>
                      <a:pt x="41" y="159"/>
                      <a:pt x="41" y="159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39" y="159"/>
                      <a:pt x="39" y="159"/>
                      <a:pt x="39" y="159"/>
                    </a:cubicBezTo>
                    <a:cubicBezTo>
                      <a:pt x="38" y="158"/>
                      <a:pt x="38" y="158"/>
                      <a:pt x="38" y="158"/>
                    </a:cubicBezTo>
                    <a:cubicBezTo>
                      <a:pt x="39" y="157"/>
                      <a:pt x="39" y="157"/>
                      <a:pt x="39" y="157"/>
                    </a:cubicBezTo>
                    <a:cubicBezTo>
                      <a:pt x="37" y="156"/>
                      <a:pt x="37" y="156"/>
                      <a:pt x="37" y="156"/>
                    </a:cubicBezTo>
                    <a:cubicBezTo>
                      <a:pt x="36" y="157"/>
                      <a:pt x="36" y="157"/>
                      <a:pt x="36" y="157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3" y="158"/>
                      <a:pt x="33" y="158"/>
                      <a:pt x="33" y="158"/>
                    </a:cubicBezTo>
                    <a:cubicBezTo>
                      <a:pt x="30" y="158"/>
                      <a:pt x="30" y="158"/>
                      <a:pt x="30" y="158"/>
                    </a:cubicBezTo>
                    <a:cubicBezTo>
                      <a:pt x="28" y="157"/>
                      <a:pt x="28" y="157"/>
                      <a:pt x="28" y="157"/>
                    </a:cubicBezTo>
                    <a:cubicBezTo>
                      <a:pt x="28" y="156"/>
                      <a:pt x="28" y="156"/>
                      <a:pt x="28" y="156"/>
                    </a:cubicBezTo>
                    <a:cubicBezTo>
                      <a:pt x="28" y="155"/>
                      <a:pt x="28" y="155"/>
                      <a:pt x="28" y="155"/>
                    </a:cubicBezTo>
                    <a:cubicBezTo>
                      <a:pt x="26" y="153"/>
                      <a:pt x="26" y="153"/>
                      <a:pt x="26" y="153"/>
                    </a:cubicBezTo>
                    <a:cubicBezTo>
                      <a:pt x="25" y="153"/>
                      <a:pt x="25" y="153"/>
                      <a:pt x="25" y="153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5" y="155"/>
                      <a:pt x="25" y="155"/>
                      <a:pt x="25" y="155"/>
                    </a:cubicBezTo>
                    <a:cubicBezTo>
                      <a:pt x="26" y="156"/>
                      <a:pt x="26" y="156"/>
                      <a:pt x="26" y="156"/>
                    </a:cubicBezTo>
                    <a:cubicBezTo>
                      <a:pt x="26" y="158"/>
                      <a:pt x="26" y="158"/>
                      <a:pt x="26" y="15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22" y="159"/>
                      <a:pt x="22" y="159"/>
                      <a:pt x="22" y="159"/>
                    </a:cubicBezTo>
                    <a:cubicBezTo>
                      <a:pt x="20" y="158"/>
                      <a:pt x="20" y="158"/>
                      <a:pt x="20" y="158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17" y="154"/>
                      <a:pt x="17" y="154"/>
                      <a:pt x="17" y="154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22" y="152"/>
                      <a:pt x="22" y="152"/>
                      <a:pt x="22" y="152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19" y="152"/>
                      <a:pt x="19" y="152"/>
                      <a:pt x="19" y="152"/>
                    </a:cubicBezTo>
                    <a:cubicBezTo>
                      <a:pt x="18" y="153"/>
                      <a:pt x="18" y="153"/>
                      <a:pt x="18" y="153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16" y="151"/>
                      <a:pt x="16" y="151"/>
                      <a:pt x="16" y="151"/>
                    </a:cubicBezTo>
                    <a:cubicBezTo>
                      <a:pt x="16" y="150"/>
                      <a:pt x="16" y="150"/>
                      <a:pt x="16" y="150"/>
                    </a:cubicBezTo>
                    <a:cubicBezTo>
                      <a:pt x="18" y="149"/>
                      <a:pt x="18" y="149"/>
                      <a:pt x="18" y="149"/>
                    </a:cubicBezTo>
                    <a:cubicBezTo>
                      <a:pt x="20" y="148"/>
                      <a:pt x="20" y="148"/>
                      <a:pt x="20" y="148"/>
                    </a:cubicBezTo>
                    <a:cubicBezTo>
                      <a:pt x="21" y="146"/>
                      <a:pt x="21" y="146"/>
                      <a:pt x="21" y="146"/>
                    </a:cubicBezTo>
                    <a:cubicBezTo>
                      <a:pt x="21" y="145"/>
                      <a:pt x="21" y="145"/>
                      <a:pt x="21" y="145"/>
                    </a:cubicBezTo>
                    <a:cubicBezTo>
                      <a:pt x="20" y="145"/>
                      <a:pt x="20" y="145"/>
                      <a:pt x="20" y="145"/>
                    </a:cubicBezTo>
                    <a:cubicBezTo>
                      <a:pt x="19" y="145"/>
                      <a:pt x="19" y="145"/>
                      <a:pt x="19" y="145"/>
                    </a:cubicBezTo>
                    <a:cubicBezTo>
                      <a:pt x="18" y="146"/>
                      <a:pt x="18" y="146"/>
                      <a:pt x="18" y="146"/>
                    </a:cubicBezTo>
                    <a:cubicBezTo>
                      <a:pt x="17" y="148"/>
                      <a:pt x="17" y="148"/>
                      <a:pt x="17" y="148"/>
                    </a:cubicBezTo>
                    <a:cubicBezTo>
                      <a:pt x="14" y="148"/>
                      <a:pt x="14" y="148"/>
                      <a:pt x="14" y="148"/>
                    </a:cubicBezTo>
                    <a:cubicBezTo>
                      <a:pt x="13" y="148"/>
                      <a:pt x="13" y="148"/>
                      <a:pt x="13" y="148"/>
                    </a:cubicBezTo>
                    <a:cubicBezTo>
                      <a:pt x="12" y="146"/>
                      <a:pt x="12" y="146"/>
                      <a:pt x="12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3" y="144"/>
                      <a:pt x="13" y="144"/>
                      <a:pt x="13" y="144"/>
                    </a:cubicBezTo>
                    <a:cubicBezTo>
                      <a:pt x="14" y="144"/>
                      <a:pt x="14" y="144"/>
                      <a:pt x="14" y="144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1" y="142"/>
                      <a:pt x="11" y="142"/>
                      <a:pt x="11" y="142"/>
                    </a:cubicBezTo>
                    <a:cubicBezTo>
                      <a:pt x="11" y="142"/>
                      <a:pt x="11" y="142"/>
                      <a:pt x="11" y="142"/>
                    </a:cubicBezTo>
                    <a:cubicBezTo>
                      <a:pt x="9" y="138"/>
                      <a:pt x="9" y="138"/>
                      <a:pt x="9" y="13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6" y="136"/>
                      <a:pt x="6" y="136"/>
                      <a:pt x="6" y="136"/>
                    </a:cubicBezTo>
                    <a:cubicBezTo>
                      <a:pt x="5" y="135"/>
                      <a:pt x="5" y="135"/>
                      <a:pt x="5" y="135"/>
                    </a:cubicBezTo>
                    <a:cubicBezTo>
                      <a:pt x="6" y="134"/>
                      <a:pt x="6" y="134"/>
                      <a:pt x="6" y="134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10" y="131"/>
                      <a:pt x="10" y="131"/>
                      <a:pt x="10" y="131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9" y="130"/>
                      <a:pt x="9" y="130"/>
                      <a:pt x="9" y="130"/>
                    </a:cubicBezTo>
                    <a:cubicBezTo>
                      <a:pt x="8" y="129"/>
                      <a:pt x="8" y="129"/>
                      <a:pt x="8" y="129"/>
                    </a:cubicBezTo>
                    <a:cubicBezTo>
                      <a:pt x="9" y="128"/>
                      <a:pt x="9" y="128"/>
                      <a:pt x="9" y="128"/>
                    </a:cubicBezTo>
                    <a:cubicBezTo>
                      <a:pt x="10" y="128"/>
                      <a:pt x="10" y="128"/>
                      <a:pt x="10" y="128"/>
                    </a:cubicBezTo>
                    <a:cubicBezTo>
                      <a:pt x="13" y="127"/>
                      <a:pt x="13" y="127"/>
                      <a:pt x="13" y="127"/>
                    </a:cubicBezTo>
                    <a:cubicBezTo>
                      <a:pt x="13" y="126"/>
                      <a:pt x="13" y="126"/>
                      <a:pt x="13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5" y="125"/>
                      <a:pt x="15" y="125"/>
                      <a:pt x="15" y="125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7" y="124"/>
                      <a:pt x="17" y="124"/>
                      <a:pt x="17" y="124"/>
                    </a:cubicBezTo>
                    <a:cubicBezTo>
                      <a:pt x="18" y="124"/>
                      <a:pt x="18" y="124"/>
                      <a:pt x="18" y="124"/>
                    </a:cubicBezTo>
                    <a:cubicBezTo>
                      <a:pt x="19" y="124"/>
                      <a:pt x="19" y="124"/>
                      <a:pt x="19" y="124"/>
                    </a:cubicBezTo>
                    <a:cubicBezTo>
                      <a:pt x="20" y="123"/>
                      <a:pt x="20" y="123"/>
                      <a:pt x="20" y="123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25" y="124"/>
                      <a:pt x="25" y="124"/>
                      <a:pt x="25" y="124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7" y="122"/>
                      <a:pt x="27" y="122"/>
                      <a:pt x="27" y="122"/>
                    </a:cubicBezTo>
                    <a:cubicBezTo>
                      <a:pt x="28" y="122"/>
                      <a:pt x="28" y="122"/>
                      <a:pt x="28" y="122"/>
                    </a:cubicBezTo>
                    <a:cubicBezTo>
                      <a:pt x="28" y="122"/>
                      <a:pt x="28" y="122"/>
                      <a:pt x="28" y="122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30" y="122"/>
                      <a:pt x="30" y="122"/>
                      <a:pt x="30" y="122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1" y="121"/>
                      <a:pt x="41" y="121"/>
                      <a:pt x="41" y="121"/>
                    </a:cubicBezTo>
                    <a:cubicBezTo>
                      <a:pt x="41" y="120"/>
                      <a:pt x="41" y="120"/>
                      <a:pt x="41" y="120"/>
                    </a:cubicBezTo>
                    <a:cubicBezTo>
                      <a:pt x="41" y="119"/>
                      <a:pt x="41" y="119"/>
                      <a:pt x="41" y="119"/>
                    </a:cubicBezTo>
                    <a:cubicBezTo>
                      <a:pt x="41" y="118"/>
                      <a:pt x="41" y="118"/>
                      <a:pt x="41" y="118"/>
                    </a:cubicBezTo>
                    <a:cubicBezTo>
                      <a:pt x="44" y="116"/>
                      <a:pt x="44" y="116"/>
                      <a:pt x="44" y="116"/>
                    </a:cubicBezTo>
                    <a:cubicBezTo>
                      <a:pt x="47" y="116"/>
                      <a:pt x="47" y="116"/>
                      <a:pt x="47" y="116"/>
                    </a:cubicBezTo>
                    <a:cubicBezTo>
                      <a:pt x="49" y="116"/>
                      <a:pt x="49" y="116"/>
                      <a:pt x="49" y="116"/>
                    </a:cubicBezTo>
                    <a:cubicBezTo>
                      <a:pt x="50" y="117"/>
                      <a:pt x="50" y="117"/>
                      <a:pt x="50" y="117"/>
                    </a:cubicBezTo>
                    <a:cubicBezTo>
                      <a:pt x="51" y="117"/>
                      <a:pt x="51" y="117"/>
                      <a:pt x="51" y="117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5" y="116"/>
                      <a:pt x="55" y="116"/>
                      <a:pt x="55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7"/>
                      <a:pt x="58" y="117"/>
                      <a:pt x="58" y="117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1" y="118"/>
                      <a:pt x="61" y="118"/>
                      <a:pt x="61" y="118"/>
                    </a:cubicBezTo>
                    <a:cubicBezTo>
                      <a:pt x="63" y="119"/>
                      <a:pt x="63" y="119"/>
                      <a:pt x="63" y="119"/>
                    </a:cubicBezTo>
                    <a:cubicBezTo>
                      <a:pt x="64" y="119"/>
                      <a:pt x="64" y="119"/>
                      <a:pt x="64" y="119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7" y="116"/>
                      <a:pt x="67" y="116"/>
                      <a:pt x="67" y="116"/>
                    </a:cubicBezTo>
                    <a:cubicBezTo>
                      <a:pt x="68" y="114"/>
                      <a:pt x="68" y="114"/>
                      <a:pt x="68" y="114"/>
                    </a:cubicBezTo>
                    <a:cubicBezTo>
                      <a:pt x="70" y="112"/>
                      <a:pt x="70" y="112"/>
                      <a:pt x="70" y="112"/>
                    </a:cubicBezTo>
                    <a:cubicBezTo>
                      <a:pt x="72" y="111"/>
                      <a:pt x="72" y="111"/>
                      <a:pt x="72" y="111"/>
                    </a:cubicBezTo>
                    <a:cubicBezTo>
                      <a:pt x="73" y="110"/>
                      <a:pt x="73" y="110"/>
                      <a:pt x="73" y="110"/>
                    </a:cubicBezTo>
                    <a:cubicBezTo>
                      <a:pt x="74" y="107"/>
                      <a:pt x="74" y="107"/>
                      <a:pt x="74" y="107"/>
                    </a:cubicBezTo>
                    <a:cubicBezTo>
                      <a:pt x="76" y="107"/>
                      <a:pt x="76" y="107"/>
                      <a:pt x="76" y="107"/>
                    </a:cubicBezTo>
                    <a:cubicBezTo>
                      <a:pt x="77" y="105"/>
                      <a:pt x="77" y="105"/>
                      <a:pt x="77" y="105"/>
                    </a:cubicBezTo>
                    <a:cubicBezTo>
                      <a:pt x="75" y="104"/>
                      <a:pt x="75" y="104"/>
                      <a:pt x="75" y="104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7" y="101"/>
                      <a:pt x="77" y="101"/>
                      <a:pt x="77" y="101"/>
                    </a:cubicBezTo>
                    <a:cubicBezTo>
                      <a:pt x="78" y="101"/>
                      <a:pt x="78" y="101"/>
                      <a:pt x="78" y="101"/>
                    </a:cubicBezTo>
                    <a:cubicBezTo>
                      <a:pt x="81" y="101"/>
                      <a:pt x="81" y="101"/>
                      <a:pt x="81" y="101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3" y="97"/>
                      <a:pt x="83" y="97"/>
                      <a:pt x="83" y="97"/>
                    </a:cubicBezTo>
                    <a:cubicBezTo>
                      <a:pt x="81" y="97"/>
                      <a:pt x="81" y="97"/>
                      <a:pt x="81" y="97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79" y="95"/>
                      <a:pt x="79" y="95"/>
                      <a:pt x="79" y="95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81" y="94"/>
                      <a:pt x="81" y="94"/>
                      <a:pt x="81" y="94"/>
                    </a:cubicBezTo>
                    <a:cubicBezTo>
                      <a:pt x="83" y="94"/>
                      <a:pt x="83" y="94"/>
                      <a:pt x="83" y="94"/>
                    </a:cubicBezTo>
                    <a:cubicBezTo>
                      <a:pt x="85" y="93"/>
                      <a:pt x="85" y="93"/>
                      <a:pt x="85" y="93"/>
                    </a:cubicBezTo>
                    <a:cubicBezTo>
                      <a:pt x="88" y="92"/>
                      <a:pt x="88" y="92"/>
                      <a:pt x="88" y="92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8" y="89"/>
                      <a:pt x="88" y="89"/>
                      <a:pt x="88" y="89"/>
                    </a:cubicBezTo>
                    <a:cubicBezTo>
                      <a:pt x="87" y="89"/>
                      <a:pt x="87" y="89"/>
                      <a:pt x="87" y="89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6" y="92"/>
                      <a:pt x="86" y="92"/>
                      <a:pt x="86" y="92"/>
                    </a:cubicBezTo>
                    <a:cubicBezTo>
                      <a:pt x="85" y="92"/>
                      <a:pt x="85" y="92"/>
                      <a:pt x="85" y="92"/>
                    </a:cubicBezTo>
                    <a:cubicBezTo>
                      <a:pt x="82" y="92"/>
                      <a:pt x="82" y="92"/>
                      <a:pt x="82" y="92"/>
                    </a:cubicBezTo>
                    <a:cubicBezTo>
                      <a:pt x="80" y="92"/>
                      <a:pt x="80" y="92"/>
                      <a:pt x="80" y="92"/>
                    </a:cubicBezTo>
                    <a:cubicBezTo>
                      <a:pt x="79" y="92"/>
                      <a:pt x="79" y="92"/>
                      <a:pt x="79" y="9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6" y="93"/>
                      <a:pt x="76" y="93"/>
                      <a:pt x="76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72" y="91"/>
                      <a:pt x="72" y="91"/>
                      <a:pt x="72" y="91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9" y="91"/>
                      <a:pt x="69" y="91"/>
                      <a:pt x="69" y="91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67" y="91"/>
                      <a:pt x="67" y="91"/>
                      <a:pt x="67" y="91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7" y="87"/>
                      <a:pt x="67" y="87"/>
                      <a:pt x="67" y="87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4"/>
                      <a:pt x="70" y="84"/>
                      <a:pt x="70" y="84"/>
                    </a:cubicBezTo>
                    <a:cubicBezTo>
                      <a:pt x="70" y="83"/>
                      <a:pt x="70" y="83"/>
                      <a:pt x="70" y="83"/>
                    </a:cubicBezTo>
                    <a:cubicBezTo>
                      <a:pt x="71" y="83"/>
                      <a:pt x="71" y="83"/>
                      <a:pt x="71" y="83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71" y="81"/>
                      <a:pt x="71" y="81"/>
                      <a:pt x="71" y="81"/>
                    </a:cubicBezTo>
                    <a:cubicBezTo>
                      <a:pt x="71" y="80"/>
                      <a:pt x="71" y="80"/>
                      <a:pt x="71" y="80"/>
                    </a:cubicBezTo>
                    <a:cubicBezTo>
                      <a:pt x="71" y="79"/>
                      <a:pt x="71" y="79"/>
                      <a:pt x="71" y="79"/>
                    </a:cubicBezTo>
                    <a:cubicBezTo>
                      <a:pt x="73" y="79"/>
                      <a:pt x="73" y="79"/>
                      <a:pt x="73" y="79"/>
                    </a:cubicBezTo>
                    <a:cubicBezTo>
                      <a:pt x="74" y="78"/>
                      <a:pt x="74" y="78"/>
                      <a:pt x="74" y="78"/>
                    </a:cubicBezTo>
                    <a:cubicBezTo>
                      <a:pt x="75" y="77"/>
                      <a:pt x="75" y="77"/>
                      <a:pt x="75" y="77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9" y="75"/>
                      <a:pt x="79" y="75"/>
                      <a:pt x="79" y="75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84" y="73"/>
                      <a:pt x="84" y="73"/>
                      <a:pt x="84" y="73"/>
                    </a:cubicBezTo>
                    <a:cubicBezTo>
                      <a:pt x="85" y="73"/>
                      <a:pt x="85" y="73"/>
                      <a:pt x="85" y="73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3" y="71"/>
                      <a:pt x="83" y="71"/>
                      <a:pt x="83" y="71"/>
                    </a:cubicBezTo>
                    <a:cubicBezTo>
                      <a:pt x="85" y="70"/>
                      <a:pt x="85" y="70"/>
                      <a:pt x="85" y="70"/>
                    </a:cubicBezTo>
                    <a:cubicBezTo>
                      <a:pt x="86" y="71"/>
                      <a:pt x="86" y="71"/>
                      <a:pt x="86" y="71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90" y="68"/>
                      <a:pt x="90" y="68"/>
                      <a:pt x="90" y="68"/>
                    </a:cubicBezTo>
                    <a:cubicBezTo>
                      <a:pt x="89" y="67"/>
                      <a:pt x="89" y="67"/>
                      <a:pt x="89" y="67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5" y="62"/>
                      <a:pt x="95" y="62"/>
                      <a:pt x="95" y="62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7" y="62"/>
                      <a:pt x="97" y="62"/>
                      <a:pt x="97" y="62"/>
                    </a:cubicBezTo>
                    <a:cubicBezTo>
                      <a:pt x="97" y="62"/>
                      <a:pt x="97" y="62"/>
                      <a:pt x="97" y="62"/>
                    </a:cubicBezTo>
                    <a:cubicBezTo>
                      <a:pt x="98" y="64"/>
                      <a:pt x="98" y="64"/>
                      <a:pt x="98" y="64"/>
                    </a:cubicBezTo>
                    <a:cubicBezTo>
                      <a:pt x="98" y="68"/>
                      <a:pt x="98" y="68"/>
                      <a:pt x="98" y="68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8" y="76"/>
                      <a:pt x="98" y="76"/>
                      <a:pt x="98" y="76"/>
                    </a:cubicBezTo>
                    <a:cubicBezTo>
                      <a:pt x="99" y="76"/>
                      <a:pt x="99" y="76"/>
                      <a:pt x="99" y="76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1"/>
                      <a:pt x="100" y="71"/>
                      <a:pt x="100" y="71"/>
                    </a:cubicBezTo>
                    <a:cubicBezTo>
                      <a:pt x="99" y="68"/>
                      <a:pt x="99" y="68"/>
                      <a:pt x="99" y="68"/>
                    </a:cubicBezTo>
                    <a:cubicBezTo>
                      <a:pt x="99" y="67"/>
                      <a:pt x="99" y="67"/>
                      <a:pt x="99" y="67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00" y="62"/>
                      <a:pt x="100" y="62"/>
                      <a:pt x="100" y="62"/>
                    </a:cubicBezTo>
                    <a:cubicBezTo>
                      <a:pt x="101" y="62"/>
                      <a:pt x="101" y="62"/>
                      <a:pt x="101" y="62"/>
                    </a:cubicBezTo>
                    <a:cubicBezTo>
                      <a:pt x="102" y="61"/>
                      <a:pt x="102" y="61"/>
                      <a:pt x="102" y="61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4" y="62"/>
                      <a:pt x="104" y="62"/>
                      <a:pt x="104" y="62"/>
                    </a:cubicBezTo>
                    <a:cubicBezTo>
                      <a:pt x="104" y="62"/>
                      <a:pt x="104" y="62"/>
                      <a:pt x="104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06" y="63"/>
                      <a:pt x="106" y="63"/>
                      <a:pt x="106" y="63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6" y="65"/>
                      <a:pt x="106" y="65"/>
                      <a:pt x="106" y="65"/>
                    </a:cubicBezTo>
                    <a:cubicBezTo>
                      <a:pt x="108" y="66"/>
                      <a:pt x="108" y="66"/>
                      <a:pt x="108" y="66"/>
                    </a:cubicBezTo>
                    <a:cubicBezTo>
                      <a:pt x="110" y="66"/>
                      <a:pt x="110" y="66"/>
                      <a:pt x="110" y="66"/>
                    </a:cubicBezTo>
                    <a:cubicBezTo>
                      <a:pt x="111" y="66"/>
                      <a:pt x="111" y="66"/>
                      <a:pt x="111" y="66"/>
                    </a:cubicBezTo>
                    <a:cubicBezTo>
                      <a:pt x="113" y="66"/>
                      <a:pt x="113" y="66"/>
                      <a:pt x="113" y="66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3" y="62"/>
                      <a:pt x="113" y="62"/>
                      <a:pt x="113" y="62"/>
                    </a:cubicBezTo>
                    <a:cubicBezTo>
                      <a:pt x="114" y="61"/>
                      <a:pt x="114" y="61"/>
                      <a:pt x="114" y="61"/>
                    </a:cubicBezTo>
                    <a:cubicBezTo>
                      <a:pt x="114" y="60"/>
                      <a:pt x="114" y="60"/>
                      <a:pt x="114" y="60"/>
                    </a:cubicBezTo>
                    <a:cubicBezTo>
                      <a:pt x="115" y="59"/>
                      <a:pt x="115" y="59"/>
                      <a:pt x="115" y="59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20" y="56"/>
                      <a:pt x="120" y="56"/>
                      <a:pt x="120" y="5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19" y="53"/>
                      <a:pt x="119" y="53"/>
                      <a:pt x="119" y="53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9" y="49"/>
                      <a:pt x="119" y="49"/>
                      <a:pt x="119" y="49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19" y="46"/>
                      <a:pt x="119" y="46"/>
                      <a:pt x="119" y="46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21" y="42"/>
                      <a:pt x="121" y="42"/>
                      <a:pt x="121" y="42"/>
                    </a:cubicBezTo>
                    <a:cubicBezTo>
                      <a:pt x="124" y="42"/>
                      <a:pt x="124" y="42"/>
                      <a:pt x="124" y="42"/>
                    </a:cubicBezTo>
                    <a:cubicBezTo>
                      <a:pt x="126" y="41"/>
                      <a:pt x="126" y="41"/>
                      <a:pt x="126" y="41"/>
                    </a:cubicBezTo>
                    <a:cubicBezTo>
                      <a:pt x="128" y="40"/>
                      <a:pt x="128" y="40"/>
                      <a:pt x="128" y="40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9" y="43"/>
                      <a:pt x="129" y="43"/>
                      <a:pt x="129" y="43"/>
                    </a:cubicBezTo>
                    <a:cubicBezTo>
                      <a:pt x="131" y="46"/>
                      <a:pt x="131" y="46"/>
                      <a:pt x="131" y="46"/>
                    </a:cubicBezTo>
                    <a:cubicBezTo>
                      <a:pt x="131" y="47"/>
                      <a:pt x="131" y="47"/>
                      <a:pt x="131" y="47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2" y="55"/>
                      <a:pt x="132" y="55"/>
                      <a:pt x="132" y="55"/>
                    </a:cubicBezTo>
                    <a:cubicBezTo>
                      <a:pt x="134" y="58"/>
                      <a:pt x="134" y="58"/>
                      <a:pt x="134" y="5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6" y="56"/>
                      <a:pt x="136" y="56"/>
                      <a:pt x="136" y="56"/>
                    </a:cubicBezTo>
                    <a:cubicBezTo>
                      <a:pt x="136" y="54"/>
                      <a:pt x="136" y="54"/>
                      <a:pt x="136" y="54"/>
                    </a:cubicBezTo>
                    <a:cubicBezTo>
                      <a:pt x="134" y="51"/>
                      <a:pt x="134" y="51"/>
                      <a:pt x="134" y="51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5" y="46"/>
                      <a:pt x="135" y="46"/>
                      <a:pt x="135" y="46"/>
                    </a:cubicBezTo>
                    <a:cubicBezTo>
                      <a:pt x="135" y="44"/>
                      <a:pt x="135" y="44"/>
                      <a:pt x="135" y="44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33" y="41"/>
                      <a:pt x="133" y="41"/>
                      <a:pt x="133" y="41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5" y="36"/>
                      <a:pt x="135" y="36"/>
                      <a:pt x="135" y="36"/>
                    </a:cubicBezTo>
                    <a:cubicBezTo>
                      <a:pt x="137" y="36"/>
                      <a:pt x="137" y="36"/>
                      <a:pt x="137" y="36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6"/>
                      <a:pt x="139" y="36"/>
                      <a:pt x="139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7" y="36"/>
                      <a:pt x="147" y="36"/>
                      <a:pt x="147" y="36"/>
                    </a:cubicBezTo>
                    <a:cubicBezTo>
                      <a:pt x="151" y="35"/>
                      <a:pt x="151" y="35"/>
                      <a:pt x="151" y="35"/>
                    </a:cubicBezTo>
                    <a:cubicBezTo>
                      <a:pt x="154" y="35"/>
                      <a:pt x="154" y="35"/>
                      <a:pt x="154" y="35"/>
                    </a:cubicBezTo>
                    <a:cubicBezTo>
                      <a:pt x="156" y="36"/>
                      <a:pt x="156" y="36"/>
                      <a:pt x="156" y="36"/>
                    </a:cubicBezTo>
                    <a:cubicBezTo>
                      <a:pt x="156" y="38"/>
                      <a:pt x="156" y="38"/>
                      <a:pt x="156" y="38"/>
                    </a:cubicBezTo>
                    <a:cubicBezTo>
                      <a:pt x="156" y="39"/>
                      <a:pt x="156" y="39"/>
                      <a:pt x="156" y="39"/>
                    </a:cubicBezTo>
                    <a:cubicBezTo>
                      <a:pt x="156" y="40"/>
                      <a:pt x="156" y="40"/>
                      <a:pt x="156" y="40"/>
                    </a:cubicBezTo>
                    <a:cubicBezTo>
                      <a:pt x="157" y="40"/>
                      <a:pt x="157" y="40"/>
                      <a:pt x="157" y="40"/>
                    </a:cubicBezTo>
                    <a:cubicBezTo>
                      <a:pt x="158" y="38"/>
                      <a:pt x="158" y="38"/>
                      <a:pt x="158" y="38"/>
                    </a:cubicBezTo>
                    <a:cubicBezTo>
                      <a:pt x="157" y="37"/>
                      <a:pt x="157" y="37"/>
                      <a:pt x="157" y="37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60" y="33"/>
                      <a:pt x="160" y="33"/>
                      <a:pt x="160" y="33"/>
                    </a:cubicBezTo>
                    <a:cubicBezTo>
                      <a:pt x="162" y="34"/>
                      <a:pt x="162" y="34"/>
                      <a:pt x="162" y="34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4" y="38"/>
                      <a:pt x="164" y="38"/>
                      <a:pt x="164" y="38"/>
                    </a:cubicBezTo>
                    <a:cubicBezTo>
                      <a:pt x="165" y="37"/>
                      <a:pt x="165" y="37"/>
                      <a:pt x="165" y="37"/>
                    </a:cubicBezTo>
                    <a:cubicBezTo>
                      <a:pt x="165" y="34"/>
                      <a:pt x="165" y="34"/>
                      <a:pt x="165" y="34"/>
                    </a:cubicBezTo>
                    <a:cubicBezTo>
                      <a:pt x="163" y="33"/>
                      <a:pt x="163" y="33"/>
                      <a:pt x="163" y="33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65" y="31"/>
                      <a:pt x="165" y="31"/>
                      <a:pt x="165" y="31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70" y="30"/>
                      <a:pt x="170" y="30"/>
                      <a:pt x="170" y="30"/>
                    </a:cubicBezTo>
                    <a:cubicBezTo>
                      <a:pt x="173" y="31"/>
                      <a:pt x="173" y="31"/>
                      <a:pt x="173" y="31"/>
                    </a:cubicBezTo>
                    <a:cubicBezTo>
                      <a:pt x="173" y="32"/>
                      <a:pt x="173" y="32"/>
                      <a:pt x="173" y="32"/>
                    </a:cubicBezTo>
                    <a:cubicBezTo>
                      <a:pt x="173" y="36"/>
                      <a:pt x="173" y="36"/>
                      <a:pt x="173" y="36"/>
                    </a:cubicBezTo>
                    <a:cubicBezTo>
                      <a:pt x="172" y="39"/>
                      <a:pt x="172" y="39"/>
                      <a:pt x="172" y="39"/>
                    </a:cubicBezTo>
                    <a:cubicBezTo>
                      <a:pt x="172" y="41"/>
                      <a:pt x="172" y="41"/>
                      <a:pt x="172" y="41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0" y="46"/>
                      <a:pt x="170" y="46"/>
                      <a:pt x="170" y="46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69" y="49"/>
                      <a:pt x="169" y="49"/>
                      <a:pt x="169" y="49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50"/>
                      <a:pt x="168" y="50"/>
                      <a:pt x="168" y="50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68" y="53"/>
                      <a:pt x="168" y="53"/>
                      <a:pt x="168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6" y="57"/>
                      <a:pt x="166" y="57"/>
                      <a:pt x="166" y="57"/>
                    </a:cubicBezTo>
                    <a:cubicBezTo>
                      <a:pt x="164" y="58"/>
                      <a:pt x="164" y="58"/>
                      <a:pt x="164" y="58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3" y="61"/>
                      <a:pt x="163" y="61"/>
                      <a:pt x="163" y="61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62" y="65"/>
                      <a:pt x="162" y="65"/>
                      <a:pt x="162" y="65"/>
                    </a:cubicBezTo>
                    <a:cubicBezTo>
                      <a:pt x="162" y="66"/>
                      <a:pt x="162" y="66"/>
                      <a:pt x="162" y="66"/>
                    </a:cubicBezTo>
                    <a:cubicBezTo>
                      <a:pt x="163" y="65"/>
                      <a:pt x="163" y="65"/>
                      <a:pt x="163" y="65"/>
                    </a:cubicBezTo>
                    <a:cubicBezTo>
                      <a:pt x="164" y="63"/>
                      <a:pt x="164" y="63"/>
                      <a:pt x="164" y="63"/>
                    </a:cubicBezTo>
                    <a:cubicBezTo>
                      <a:pt x="165" y="62"/>
                      <a:pt x="165" y="62"/>
                      <a:pt x="165" y="62"/>
                    </a:cubicBezTo>
                    <a:cubicBezTo>
                      <a:pt x="165" y="61"/>
                      <a:pt x="165" y="61"/>
                      <a:pt x="165" y="61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9" y="57"/>
                      <a:pt x="169" y="57"/>
                      <a:pt x="169" y="57"/>
                    </a:cubicBezTo>
                    <a:cubicBezTo>
                      <a:pt x="169" y="55"/>
                      <a:pt x="169" y="55"/>
                      <a:pt x="169" y="55"/>
                    </a:cubicBezTo>
                    <a:cubicBezTo>
                      <a:pt x="171" y="55"/>
                      <a:pt x="171" y="55"/>
                      <a:pt x="171" y="55"/>
                    </a:cubicBezTo>
                    <a:cubicBezTo>
                      <a:pt x="171" y="54"/>
                      <a:pt x="171" y="54"/>
                      <a:pt x="171" y="54"/>
                    </a:cubicBezTo>
                    <a:cubicBezTo>
                      <a:pt x="172" y="53"/>
                      <a:pt x="172" y="53"/>
                      <a:pt x="172" y="53"/>
                    </a:cubicBezTo>
                    <a:cubicBezTo>
                      <a:pt x="172" y="52"/>
                      <a:pt x="172" y="52"/>
                      <a:pt x="172" y="52"/>
                    </a:cubicBezTo>
                    <a:cubicBezTo>
                      <a:pt x="173" y="51"/>
                      <a:pt x="173" y="51"/>
                      <a:pt x="173" y="51"/>
                    </a:cubicBezTo>
                    <a:cubicBezTo>
                      <a:pt x="174" y="49"/>
                      <a:pt x="174" y="49"/>
                      <a:pt x="174" y="49"/>
                    </a:cubicBezTo>
                    <a:cubicBezTo>
                      <a:pt x="175" y="48"/>
                      <a:pt x="175" y="48"/>
                      <a:pt x="175" y="48"/>
                    </a:cubicBezTo>
                    <a:cubicBezTo>
                      <a:pt x="176" y="49"/>
                      <a:pt x="176" y="49"/>
                      <a:pt x="176" y="49"/>
                    </a:cubicBezTo>
                    <a:cubicBezTo>
                      <a:pt x="176" y="51"/>
                      <a:pt x="176" y="51"/>
                      <a:pt x="176" y="51"/>
                    </a:cubicBezTo>
                    <a:cubicBezTo>
                      <a:pt x="177" y="52"/>
                      <a:pt x="177" y="52"/>
                      <a:pt x="177" y="52"/>
                    </a:cubicBezTo>
                    <a:cubicBezTo>
                      <a:pt x="177" y="53"/>
                      <a:pt x="177" y="53"/>
                      <a:pt x="177" y="53"/>
                    </a:cubicBezTo>
                    <a:cubicBezTo>
                      <a:pt x="178" y="56"/>
                      <a:pt x="178" y="56"/>
                      <a:pt x="178" y="56"/>
                    </a:cubicBezTo>
                    <a:cubicBezTo>
                      <a:pt x="179" y="58"/>
                      <a:pt x="179" y="58"/>
                      <a:pt x="179" y="58"/>
                    </a:cubicBezTo>
                    <a:cubicBezTo>
                      <a:pt x="179" y="60"/>
                      <a:pt x="179" y="60"/>
                      <a:pt x="179" y="60"/>
                    </a:cubicBezTo>
                    <a:cubicBezTo>
                      <a:pt x="180" y="61"/>
                      <a:pt x="180" y="61"/>
                      <a:pt x="180" y="61"/>
                    </a:cubicBezTo>
                    <a:cubicBezTo>
                      <a:pt x="182" y="61"/>
                      <a:pt x="182" y="61"/>
                      <a:pt x="182" y="61"/>
                    </a:cubicBezTo>
                    <a:cubicBezTo>
                      <a:pt x="182" y="62"/>
                      <a:pt x="182" y="62"/>
                      <a:pt x="182" y="62"/>
                    </a:cubicBezTo>
                    <a:cubicBezTo>
                      <a:pt x="183" y="62"/>
                      <a:pt x="183" y="62"/>
                      <a:pt x="183" y="62"/>
                    </a:cubicBezTo>
                    <a:cubicBezTo>
                      <a:pt x="183" y="61"/>
                      <a:pt x="183" y="61"/>
                      <a:pt x="183" y="61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59"/>
                      <a:pt x="184" y="59"/>
                      <a:pt x="184" y="59"/>
                    </a:cubicBezTo>
                    <a:cubicBezTo>
                      <a:pt x="182" y="58"/>
                      <a:pt x="182" y="58"/>
                      <a:pt x="182" y="58"/>
                    </a:cubicBezTo>
                    <a:cubicBezTo>
                      <a:pt x="182" y="57"/>
                      <a:pt x="182" y="57"/>
                      <a:pt x="182" y="57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83" y="56"/>
                      <a:pt x="183" y="56"/>
                      <a:pt x="183" y="56"/>
                    </a:cubicBezTo>
                    <a:cubicBezTo>
                      <a:pt x="184" y="57"/>
                      <a:pt x="184" y="57"/>
                      <a:pt x="184" y="57"/>
                    </a:cubicBezTo>
                    <a:cubicBezTo>
                      <a:pt x="186" y="58"/>
                      <a:pt x="186" y="58"/>
                      <a:pt x="186" y="58"/>
                    </a:cubicBezTo>
                    <a:cubicBezTo>
                      <a:pt x="188" y="58"/>
                      <a:pt x="188" y="58"/>
                      <a:pt x="188" y="58"/>
                    </a:cubicBezTo>
                    <a:cubicBezTo>
                      <a:pt x="188" y="59"/>
                      <a:pt x="188" y="59"/>
                      <a:pt x="188" y="59"/>
                    </a:cubicBezTo>
                    <a:cubicBezTo>
                      <a:pt x="189" y="59"/>
                      <a:pt x="189" y="59"/>
                      <a:pt x="189" y="59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1" y="59"/>
                      <a:pt x="191" y="59"/>
                      <a:pt x="191" y="59"/>
                    </a:cubicBezTo>
                    <a:cubicBezTo>
                      <a:pt x="191" y="59"/>
                      <a:pt x="191" y="59"/>
                      <a:pt x="191" y="59"/>
                    </a:cubicBezTo>
                    <a:cubicBezTo>
                      <a:pt x="192" y="59"/>
                      <a:pt x="192" y="59"/>
                      <a:pt x="192" y="59"/>
                    </a:cubicBezTo>
                    <a:cubicBezTo>
                      <a:pt x="192" y="56"/>
                      <a:pt x="192" y="56"/>
                      <a:pt x="192" y="56"/>
                    </a:cubicBezTo>
                    <a:cubicBezTo>
                      <a:pt x="192" y="54"/>
                      <a:pt x="192" y="54"/>
                      <a:pt x="192" y="54"/>
                    </a:cubicBezTo>
                    <a:cubicBezTo>
                      <a:pt x="192" y="51"/>
                      <a:pt x="192" y="51"/>
                      <a:pt x="192" y="51"/>
                    </a:cubicBezTo>
                    <a:cubicBezTo>
                      <a:pt x="193" y="49"/>
                      <a:pt x="193" y="49"/>
                      <a:pt x="193" y="49"/>
                    </a:cubicBezTo>
                    <a:cubicBezTo>
                      <a:pt x="192" y="47"/>
                      <a:pt x="192" y="47"/>
                      <a:pt x="192" y="47"/>
                    </a:cubicBezTo>
                    <a:cubicBezTo>
                      <a:pt x="191" y="45"/>
                      <a:pt x="191" y="45"/>
                      <a:pt x="191" y="45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93" y="39"/>
                      <a:pt x="193" y="39"/>
                      <a:pt x="193" y="39"/>
                    </a:cubicBezTo>
                    <a:cubicBezTo>
                      <a:pt x="193" y="38"/>
                      <a:pt x="193" y="38"/>
                      <a:pt x="193" y="38"/>
                    </a:cubicBezTo>
                    <a:cubicBezTo>
                      <a:pt x="193" y="37"/>
                      <a:pt x="193" y="37"/>
                      <a:pt x="193" y="37"/>
                    </a:cubicBezTo>
                    <a:cubicBezTo>
                      <a:pt x="193" y="36"/>
                      <a:pt x="193" y="36"/>
                      <a:pt x="193" y="36"/>
                    </a:cubicBezTo>
                    <a:cubicBezTo>
                      <a:pt x="193" y="33"/>
                      <a:pt x="193" y="33"/>
                      <a:pt x="193" y="33"/>
                    </a:cubicBezTo>
                    <a:cubicBezTo>
                      <a:pt x="194" y="32"/>
                      <a:pt x="194" y="32"/>
                      <a:pt x="194" y="32"/>
                    </a:cubicBezTo>
                    <a:cubicBezTo>
                      <a:pt x="196" y="32"/>
                      <a:pt x="196" y="32"/>
                      <a:pt x="196" y="32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200" y="34"/>
                      <a:pt x="200" y="34"/>
                      <a:pt x="200" y="34"/>
                    </a:cubicBezTo>
                    <a:cubicBezTo>
                      <a:pt x="200" y="35"/>
                      <a:pt x="200" y="35"/>
                      <a:pt x="200" y="35"/>
                    </a:cubicBezTo>
                    <a:cubicBezTo>
                      <a:pt x="202" y="36"/>
                      <a:pt x="202" y="36"/>
                      <a:pt x="202" y="36"/>
                    </a:cubicBezTo>
                    <a:cubicBezTo>
                      <a:pt x="203" y="37"/>
                      <a:pt x="203" y="37"/>
                      <a:pt x="203" y="37"/>
                    </a:cubicBezTo>
                    <a:cubicBezTo>
                      <a:pt x="204" y="41"/>
                      <a:pt x="204" y="41"/>
                      <a:pt x="204" y="41"/>
                    </a:cubicBezTo>
                    <a:cubicBezTo>
                      <a:pt x="204" y="43"/>
                      <a:pt x="204" y="43"/>
                      <a:pt x="204" y="43"/>
                    </a:cubicBezTo>
                    <a:cubicBezTo>
                      <a:pt x="206" y="46"/>
                      <a:pt x="206" y="46"/>
                      <a:pt x="206" y="46"/>
                    </a:cubicBezTo>
                    <a:cubicBezTo>
                      <a:pt x="207" y="48"/>
                      <a:pt x="207" y="48"/>
                      <a:pt x="207" y="48"/>
                    </a:cubicBezTo>
                    <a:cubicBezTo>
                      <a:pt x="207" y="53"/>
                      <a:pt x="207" y="53"/>
                      <a:pt x="207" y="53"/>
                    </a:cubicBezTo>
                    <a:cubicBezTo>
                      <a:pt x="207" y="54"/>
                      <a:pt x="207" y="54"/>
                      <a:pt x="207" y="54"/>
                    </a:cubicBezTo>
                    <a:cubicBezTo>
                      <a:pt x="206" y="55"/>
                      <a:pt x="206" y="55"/>
                      <a:pt x="206" y="55"/>
                    </a:cubicBezTo>
                    <a:cubicBezTo>
                      <a:pt x="206" y="56"/>
                      <a:pt x="206" y="56"/>
                      <a:pt x="206" y="56"/>
                    </a:cubicBezTo>
                    <a:cubicBezTo>
                      <a:pt x="207" y="58"/>
                      <a:pt x="207" y="58"/>
                      <a:pt x="207" y="58"/>
                    </a:cubicBezTo>
                    <a:cubicBezTo>
                      <a:pt x="207" y="59"/>
                      <a:pt x="207" y="59"/>
                      <a:pt x="207" y="59"/>
                    </a:cubicBezTo>
                    <a:cubicBezTo>
                      <a:pt x="209" y="63"/>
                      <a:pt x="209" y="63"/>
                      <a:pt x="209" y="63"/>
                    </a:cubicBezTo>
                    <a:cubicBezTo>
                      <a:pt x="208" y="65"/>
                      <a:pt x="208" y="65"/>
                      <a:pt x="208" y="65"/>
                    </a:cubicBezTo>
                    <a:cubicBezTo>
                      <a:pt x="209" y="66"/>
                      <a:pt x="209" y="66"/>
                      <a:pt x="209" y="66"/>
                    </a:cubicBezTo>
                    <a:cubicBezTo>
                      <a:pt x="209" y="68"/>
                      <a:pt x="209" y="68"/>
                      <a:pt x="209" y="68"/>
                    </a:cubicBezTo>
                    <a:cubicBezTo>
                      <a:pt x="211" y="68"/>
                      <a:pt x="211" y="68"/>
                      <a:pt x="211" y="68"/>
                    </a:cubicBezTo>
                    <a:cubicBezTo>
                      <a:pt x="213" y="70"/>
                      <a:pt x="213" y="70"/>
                      <a:pt x="213" y="70"/>
                    </a:cubicBezTo>
                    <a:cubicBezTo>
                      <a:pt x="215" y="70"/>
                      <a:pt x="215" y="70"/>
                      <a:pt x="215" y="70"/>
                    </a:cubicBezTo>
                    <a:cubicBezTo>
                      <a:pt x="217" y="69"/>
                      <a:pt x="217" y="69"/>
                      <a:pt x="217" y="69"/>
                    </a:cubicBezTo>
                    <a:cubicBezTo>
                      <a:pt x="218" y="66"/>
                      <a:pt x="218" y="66"/>
                      <a:pt x="218" y="66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9" y="66"/>
                      <a:pt x="219" y="66"/>
                      <a:pt x="219" y="66"/>
                    </a:cubicBezTo>
                    <a:cubicBezTo>
                      <a:pt x="219" y="67"/>
                      <a:pt x="219" y="67"/>
                      <a:pt x="219" y="67"/>
                    </a:cubicBezTo>
                    <a:cubicBezTo>
                      <a:pt x="219" y="68"/>
                      <a:pt x="219" y="68"/>
                      <a:pt x="219" y="68"/>
                    </a:cubicBez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3" y="69"/>
                      <a:pt x="223" y="69"/>
                      <a:pt x="223" y="69"/>
                    </a:cubicBezTo>
                    <a:cubicBezTo>
                      <a:pt x="223" y="71"/>
                      <a:pt x="223" y="71"/>
                      <a:pt x="223" y="71"/>
                    </a:cubicBezTo>
                    <a:cubicBezTo>
                      <a:pt x="224" y="72"/>
                      <a:pt x="224" y="72"/>
                      <a:pt x="224" y="72"/>
                    </a:cubicBezTo>
                    <a:cubicBezTo>
                      <a:pt x="225" y="72"/>
                      <a:pt x="225" y="72"/>
                      <a:pt x="225" y="72"/>
                    </a:cubicBezTo>
                    <a:cubicBezTo>
                      <a:pt x="226" y="72"/>
                      <a:pt x="226" y="72"/>
                      <a:pt x="226" y="72"/>
                    </a:cubicBezTo>
                    <a:cubicBezTo>
                      <a:pt x="228" y="72"/>
                      <a:pt x="228" y="72"/>
                      <a:pt x="228" y="72"/>
                    </a:cubicBezTo>
                    <a:cubicBezTo>
                      <a:pt x="229" y="72"/>
                      <a:pt x="229" y="72"/>
                      <a:pt x="229" y="72"/>
                    </a:cubicBezTo>
                    <a:cubicBezTo>
                      <a:pt x="228" y="71"/>
                      <a:pt x="228" y="71"/>
                      <a:pt x="228" y="71"/>
                    </a:cubicBezTo>
                    <a:cubicBezTo>
                      <a:pt x="226" y="70"/>
                      <a:pt x="226" y="70"/>
                      <a:pt x="226" y="70"/>
                    </a:cubicBezTo>
                    <a:cubicBezTo>
                      <a:pt x="226" y="69"/>
                      <a:pt x="226" y="69"/>
                      <a:pt x="226" y="69"/>
                    </a:cubicBezTo>
                    <a:cubicBezTo>
                      <a:pt x="226" y="68"/>
                      <a:pt x="226" y="68"/>
                      <a:pt x="226" y="68"/>
                    </a:cubicBezTo>
                    <a:cubicBezTo>
                      <a:pt x="224" y="68"/>
                      <a:pt x="224" y="68"/>
                      <a:pt x="224" y="68"/>
                    </a:cubicBezTo>
                    <a:cubicBezTo>
                      <a:pt x="224" y="67"/>
                      <a:pt x="224" y="67"/>
                      <a:pt x="224" y="67"/>
                    </a:cubicBezTo>
                    <a:cubicBezTo>
                      <a:pt x="224" y="65"/>
                      <a:pt x="224" y="65"/>
                      <a:pt x="224" y="65"/>
                    </a:cubicBezTo>
                    <a:cubicBezTo>
                      <a:pt x="223" y="63"/>
                      <a:pt x="223" y="63"/>
                      <a:pt x="223" y="63"/>
                    </a:cubicBezTo>
                    <a:cubicBezTo>
                      <a:pt x="221" y="62"/>
                      <a:pt x="221" y="62"/>
                      <a:pt x="221" y="62"/>
                    </a:cubicBezTo>
                    <a:cubicBezTo>
                      <a:pt x="221" y="61"/>
                      <a:pt x="221" y="61"/>
                      <a:pt x="221" y="61"/>
                    </a:cubicBezTo>
                    <a:cubicBezTo>
                      <a:pt x="220" y="58"/>
                      <a:pt x="220" y="58"/>
                      <a:pt x="220" y="58"/>
                    </a:cubicBezTo>
                    <a:cubicBezTo>
                      <a:pt x="219" y="57"/>
                      <a:pt x="219" y="57"/>
                      <a:pt x="219" y="57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20" y="53"/>
                      <a:pt x="220" y="53"/>
                      <a:pt x="220" y="53"/>
                    </a:cubicBezTo>
                    <a:cubicBezTo>
                      <a:pt x="219" y="51"/>
                      <a:pt x="219" y="51"/>
                      <a:pt x="219" y="51"/>
                    </a:cubicBezTo>
                    <a:cubicBezTo>
                      <a:pt x="218" y="49"/>
                      <a:pt x="218" y="49"/>
                      <a:pt x="218" y="49"/>
                    </a:cubicBezTo>
                    <a:cubicBezTo>
                      <a:pt x="218" y="47"/>
                      <a:pt x="218" y="47"/>
                      <a:pt x="218" y="47"/>
                    </a:cubicBezTo>
                    <a:cubicBezTo>
                      <a:pt x="218" y="46"/>
                      <a:pt x="218" y="46"/>
                      <a:pt x="218" y="46"/>
                    </a:cubicBezTo>
                    <a:cubicBezTo>
                      <a:pt x="218" y="43"/>
                      <a:pt x="218" y="43"/>
                      <a:pt x="218" y="43"/>
                    </a:cubicBezTo>
                    <a:cubicBezTo>
                      <a:pt x="217" y="42"/>
                      <a:pt x="217" y="42"/>
                      <a:pt x="217" y="42"/>
                    </a:cubicBezTo>
                    <a:cubicBezTo>
                      <a:pt x="217" y="40"/>
                      <a:pt x="217" y="40"/>
                      <a:pt x="217" y="40"/>
                    </a:cubicBezTo>
                    <a:cubicBezTo>
                      <a:pt x="216" y="38"/>
                      <a:pt x="216" y="38"/>
                      <a:pt x="216" y="38"/>
                    </a:cubicBezTo>
                    <a:cubicBezTo>
                      <a:pt x="215" y="36"/>
                      <a:pt x="215" y="36"/>
                      <a:pt x="215" y="36"/>
                    </a:cubicBezTo>
                    <a:cubicBezTo>
                      <a:pt x="216" y="34"/>
                      <a:pt x="216" y="34"/>
                      <a:pt x="216" y="34"/>
                    </a:cubicBezTo>
                    <a:cubicBezTo>
                      <a:pt x="215" y="32"/>
                      <a:pt x="215" y="32"/>
                      <a:pt x="215" y="32"/>
                    </a:cubicBezTo>
                    <a:cubicBezTo>
                      <a:pt x="215" y="30"/>
                      <a:pt x="215" y="30"/>
                      <a:pt x="215" y="30"/>
                    </a:cubicBezTo>
                    <a:cubicBezTo>
                      <a:pt x="216" y="29"/>
                      <a:pt x="216" y="29"/>
                      <a:pt x="216" y="29"/>
                    </a:cubicBezTo>
                    <a:cubicBezTo>
                      <a:pt x="219" y="30"/>
                      <a:pt x="219" y="30"/>
                      <a:pt x="219" y="30"/>
                    </a:cubicBezTo>
                    <a:cubicBezTo>
                      <a:pt x="220" y="31"/>
                      <a:pt x="220" y="31"/>
                      <a:pt x="220" y="31"/>
                    </a:cubicBezTo>
                    <a:cubicBezTo>
                      <a:pt x="221" y="31"/>
                      <a:pt x="221" y="31"/>
                      <a:pt x="221" y="31"/>
                    </a:cubicBezTo>
                    <a:cubicBezTo>
                      <a:pt x="221" y="30"/>
                      <a:pt x="221" y="30"/>
                      <a:pt x="221" y="30"/>
                    </a:cubicBezTo>
                    <a:cubicBezTo>
                      <a:pt x="222" y="30"/>
                      <a:pt x="222" y="30"/>
                      <a:pt x="222" y="30"/>
                    </a:cubicBezTo>
                    <a:cubicBezTo>
                      <a:pt x="225" y="34"/>
                      <a:pt x="225" y="34"/>
                      <a:pt x="225" y="34"/>
                    </a:cubicBezTo>
                    <a:cubicBezTo>
                      <a:pt x="228" y="35"/>
                      <a:pt x="228" y="35"/>
                      <a:pt x="228" y="35"/>
                    </a:cubicBezTo>
                    <a:cubicBezTo>
                      <a:pt x="229" y="35"/>
                      <a:pt x="229" y="35"/>
                      <a:pt x="229" y="35"/>
                    </a:cubicBezTo>
                    <a:cubicBezTo>
                      <a:pt x="229" y="33"/>
                      <a:pt x="229" y="33"/>
                      <a:pt x="229" y="33"/>
                    </a:cubicBezTo>
                    <a:cubicBezTo>
                      <a:pt x="228" y="32"/>
                      <a:pt x="228" y="32"/>
                      <a:pt x="228" y="32"/>
                    </a:cubicBezTo>
                    <a:cubicBezTo>
                      <a:pt x="229" y="29"/>
                      <a:pt x="229" y="29"/>
                      <a:pt x="229" y="29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32" y="29"/>
                      <a:pt x="232" y="29"/>
                      <a:pt x="232" y="29"/>
                    </a:cubicBezTo>
                    <a:cubicBezTo>
                      <a:pt x="234" y="29"/>
                      <a:pt x="234" y="29"/>
                      <a:pt x="234" y="29"/>
                    </a:cubicBezTo>
                    <a:cubicBezTo>
                      <a:pt x="235" y="28"/>
                      <a:pt x="235" y="28"/>
                      <a:pt x="235" y="28"/>
                    </a:cubicBezTo>
                    <a:cubicBezTo>
                      <a:pt x="237" y="28"/>
                      <a:pt x="237" y="28"/>
                      <a:pt x="237" y="28"/>
                    </a:cubicBezTo>
                    <a:cubicBezTo>
                      <a:pt x="238" y="29"/>
                      <a:pt x="238" y="29"/>
                      <a:pt x="238" y="29"/>
                    </a:cubicBezTo>
                    <a:cubicBezTo>
                      <a:pt x="240" y="30"/>
                      <a:pt x="240" y="30"/>
                      <a:pt x="240" y="30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2" y="35"/>
                      <a:pt x="242" y="35"/>
                      <a:pt x="242" y="35"/>
                    </a:cubicBezTo>
                    <a:cubicBezTo>
                      <a:pt x="244" y="37"/>
                      <a:pt x="244" y="37"/>
                      <a:pt x="244" y="37"/>
                    </a:cubicBezTo>
                    <a:cubicBezTo>
                      <a:pt x="244" y="38"/>
                      <a:pt x="244" y="38"/>
                      <a:pt x="244" y="38"/>
                    </a:cubicBezTo>
                    <a:cubicBezTo>
                      <a:pt x="243" y="40"/>
                      <a:pt x="243" y="40"/>
                      <a:pt x="243" y="40"/>
                    </a:cubicBezTo>
                    <a:cubicBezTo>
                      <a:pt x="244" y="44"/>
                      <a:pt x="244" y="44"/>
                      <a:pt x="244" y="44"/>
                    </a:cubicBezTo>
                    <a:cubicBezTo>
                      <a:pt x="244" y="46"/>
                      <a:pt x="244" y="46"/>
                      <a:pt x="244" y="46"/>
                    </a:cubicBezTo>
                    <a:cubicBezTo>
                      <a:pt x="245" y="47"/>
                      <a:pt x="245" y="47"/>
                      <a:pt x="245" y="47"/>
                    </a:cubicBezTo>
                    <a:cubicBezTo>
                      <a:pt x="246" y="48"/>
                      <a:pt x="246" y="48"/>
                      <a:pt x="246" y="48"/>
                    </a:cubicBezTo>
                    <a:cubicBezTo>
                      <a:pt x="249" y="48"/>
                      <a:pt x="249" y="48"/>
                      <a:pt x="249" y="48"/>
                    </a:cubicBezTo>
                    <a:cubicBezTo>
                      <a:pt x="251" y="49"/>
                      <a:pt x="251" y="49"/>
                      <a:pt x="251" y="49"/>
                    </a:cubicBezTo>
                    <a:cubicBezTo>
                      <a:pt x="253" y="51"/>
                      <a:pt x="253" y="51"/>
                      <a:pt x="253" y="51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3" y="49"/>
                      <a:pt x="253" y="49"/>
                      <a:pt x="253" y="49"/>
                    </a:cubicBezTo>
                    <a:cubicBezTo>
                      <a:pt x="251" y="48"/>
                      <a:pt x="251" y="48"/>
                      <a:pt x="251" y="48"/>
                    </a:cubicBezTo>
                    <a:cubicBezTo>
                      <a:pt x="250" y="46"/>
                      <a:pt x="250" y="46"/>
                      <a:pt x="250" y="46"/>
                    </a:cubicBezTo>
                    <a:cubicBezTo>
                      <a:pt x="248" y="46"/>
                      <a:pt x="248" y="46"/>
                      <a:pt x="248" y="46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6" y="44"/>
                      <a:pt x="246" y="44"/>
                      <a:pt x="246" y="44"/>
                    </a:cubicBezTo>
                    <a:cubicBezTo>
                      <a:pt x="246" y="42"/>
                      <a:pt x="246" y="42"/>
                      <a:pt x="246" y="42"/>
                    </a:cubicBezTo>
                    <a:cubicBezTo>
                      <a:pt x="245" y="40"/>
                      <a:pt x="245" y="40"/>
                      <a:pt x="245" y="40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6" y="36"/>
                      <a:pt x="246" y="36"/>
                      <a:pt x="246" y="36"/>
                    </a:cubicBezTo>
                    <a:cubicBezTo>
                      <a:pt x="245" y="34"/>
                      <a:pt x="245" y="34"/>
                      <a:pt x="245" y="34"/>
                    </a:cubicBezTo>
                    <a:cubicBezTo>
                      <a:pt x="245" y="32"/>
                      <a:pt x="245" y="32"/>
                      <a:pt x="245" y="32"/>
                    </a:cubicBezTo>
                    <a:cubicBezTo>
                      <a:pt x="246" y="31"/>
                      <a:pt x="246" y="31"/>
                      <a:pt x="246" y="31"/>
                    </a:cubicBezTo>
                    <a:cubicBezTo>
                      <a:pt x="245" y="30"/>
                      <a:pt x="245" y="30"/>
                      <a:pt x="245" y="30"/>
                    </a:cubicBezTo>
                    <a:cubicBezTo>
                      <a:pt x="243" y="29"/>
                      <a:pt x="243" y="29"/>
                      <a:pt x="243" y="29"/>
                    </a:cubicBezTo>
                    <a:cubicBezTo>
                      <a:pt x="241" y="26"/>
                      <a:pt x="241" y="26"/>
                      <a:pt x="241" y="26"/>
                    </a:cubicBezTo>
                    <a:cubicBezTo>
                      <a:pt x="240" y="26"/>
                      <a:pt x="240" y="26"/>
                      <a:pt x="240" y="26"/>
                    </a:cubicBezTo>
                    <a:cubicBezTo>
                      <a:pt x="238" y="26"/>
                      <a:pt x="238" y="26"/>
                      <a:pt x="238" y="26"/>
                    </a:cubicBezTo>
                    <a:cubicBezTo>
                      <a:pt x="237" y="27"/>
                      <a:pt x="237" y="27"/>
                      <a:pt x="237" y="27"/>
                    </a:cubicBezTo>
                    <a:cubicBezTo>
                      <a:pt x="236" y="27"/>
                      <a:pt x="236" y="27"/>
                      <a:pt x="236" y="27"/>
                    </a:cubicBezTo>
                    <a:cubicBezTo>
                      <a:pt x="234" y="26"/>
                      <a:pt x="234" y="26"/>
                      <a:pt x="234" y="26"/>
                    </a:cubicBezTo>
                    <a:cubicBezTo>
                      <a:pt x="234" y="24"/>
                      <a:pt x="234" y="24"/>
                      <a:pt x="234" y="24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236" y="21"/>
                      <a:pt x="236" y="21"/>
                      <a:pt x="236" y="21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33" y="18"/>
                      <a:pt x="233" y="18"/>
                      <a:pt x="233" y="18"/>
                    </a:cubicBezTo>
                    <a:cubicBezTo>
                      <a:pt x="233" y="16"/>
                      <a:pt x="233" y="16"/>
                      <a:pt x="233" y="16"/>
                    </a:cubicBezTo>
                    <a:cubicBezTo>
                      <a:pt x="233" y="15"/>
                      <a:pt x="233" y="15"/>
                      <a:pt x="233" y="15"/>
                    </a:cubicBezTo>
                    <a:cubicBezTo>
                      <a:pt x="234" y="13"/>
                      <a:pt x="234" y="13"/>
                      <a:pt x="234" y="13"/>
                    </a:cubicBezTo>
                    <a:cubicBezTo>
                      <a:pt x="235" y="13"/>
                      <a:pt x="235" y="13"/>
                      <a:pt x="235" y="13"/>
                    </a:cubicBezTo>
                    <a:cubicBezTo>
                      <a:pt x="236" y="15"/>
                      <a:pt x="236" y="15"/>
                      <a:pt x="236" y="15"/>
                    </a:cubicBezTo>
                    <a:cubicBezTo>
                      <a:pt x="237" y="17"/>
                      <a:pt x="237" y="17"/>
                      <a:pt x="237" y="17"/>
                    </a:cubicBezTo>
                    <a:cubicBezTo>
                      <a:pt x="238" y="17"/>
                      <a:pt x="238" y="17"/>
                      <a:pt x="238" y="17"/>
                    </a:cubicBezTo>
                    <a:cubicBezTo>
                      <a:pt x="240" y="14"/>
                      <a:pt x="240" y="14"/>
                      <a:pt x="240" y="1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1"/>
                      <a:pt x="243" y="11"/>
                      <a:pt x="243" y="11"/>
                    </a:cubicBezTo>
                    <a:cubicBezTo>
                      <a:pt x="245" y="9"/>
                      <a:pt x="245" y="9"/>
                      <a:pt x="245" y="9"/>
                    </a:cubicBezTo>
                    <a:cubicBezTo>
                      <a:pt x="247" y="9"/>
                      <a:pt x="247" y="9"/>
                      <a:pt x="247" y="9"/>
                    </a:cubicBezTo>
                    <a:cubicBezTo>
                      <a:pt x="245" y="10"/>
                      <a:pt x="245" y="10"/>
                      <a:pt x="245" y="10"/>
                    </a:cubicBezTo>
                    <a:cubicBezTo>
                      <a:pt x="245" y="11"/>
                      <a:pt x="245" y="11"/>
                      <a:pt x="245" y="11"/>
                    </a:cubicBezTo>
                    <a:cubicBezTo>
                      <a:pt x="245" y="12"/>
                      <a:pt x="245" y="12"/>
                      <a:pt x="245" y="12"/>
                    </a:cubicBezTo>
                    <a:cubicBezTo>
                      <a:pt x="247" y="11"/>
                      <a:pt x="247" y="11"/>
                      <a:pt x="247" y="11"/>
                    </a:cubicBezTo>
                    <a:cubicBezTo>
                      <a:pt x="249" y="11"/>
                      <a:pt x="249" y="11"/>
                      <a:pt x="249" y="11"/>
                    </a:cubicBezTo>
                    <a:cubicBezTo>
                      <a:pt x="249" y="12"/>
                      <a:pt x="249" y="12"/>
                      <a:pt x="249" y="12"/>
                    </a:cubicBezTo>
                    <a:cubicBezTo>
                      <a:pt x="249" y="13"/>
                      <a:pt x="249" y="13"/>
                      <a:pt x="249" y="13"/>
                    </a:cubicBezTo>
                    <a:cubicBezTo>
                      <a:pt x="251" y="14"/>
                      <a:pt x="251" y="14"/>
                      <a:pt x="251" y="14"/>
                    </a:cubicBezTo>
                    <a:cubicBezTo>
                      <a:pt x="251" y="15"/>
                      <a:pt x="251" y="15"/>
                      <a:pt x="251" y="15"/>
                    </a:cubicBezTo>
                    <a:cubicBezTo>
                      <a:pt x="250" y="17"/>
                      <a:pt x="250" y="17"/>
                      <a:pt x="250" y="17"/>
                    </a:cubicBezTo>
                    <a:cubicBezTo>
                      <a:pt x="250" y="18"/>
                      <a:pt x="250" y="18"/>
                      <a:pt x="250" y="18"/>
                    </a:cubicBezTo>
                    <a:cubicBezTo>
                      <a:pt x="251" y="17"/>
                      <a:pt x="251" y="17"/>
                      <a:pt x="251" y="17"/>
                    </a:cubicBezTo>
                    <a:cubicBezTo>
                      <a:pt x="252" y="15"/>
                      <a:pt x="252" y="15"/>
                      <a:pt x="252" y="15"/>
                    </a:cubicBezTo>
                    <a:cubicBezTo>
                      <a:pt x="254" y="15"/>
                      <a:pt x="254" y="15"/>
                      <a:pt x="254" y="15"/>
                    </a:cubicBezTo>
                    <a:cubicBezTo>
                      <a:pt x="256" y="17"/>
                      <a:pt x="256" y="17"/>
                      <a:pt x="256" y="17"/>
                    </a:cubicBezTo>
                    <a:cubicBezTo>
                      <a:pt x="256" y="18"/>
                      <a:pt x="256" y="18"/>
                      <a:pt x="256" y="18"/>
                    </a:cubicBezTo>
                    <a:cubicBezTo>
                      <a:pt x="257" y="21"/>
                      <a:pt x="257" y="21"/>
                      <a:pt x="257" y="21"/>
                    </a:cubicBezTo>
                    <a:cubicBezTo>
                      <a:pt x="258" y="23"/>
                      <a:pt x="258" y="23"/>
                      <a:pt x="258" y="23"/>
                    </a:cubicBezTo>
                    <a:cubicBezTo>
                      <a:pt x="258" y="26"/>
                      <a:pt x="258" y="26"/>
                      <a:pt x="258" y="26"/>
                    </a:cubicBezTo>
                    <a:cubicBezTo>
                      <a:pt x="259" y="25"/>
                      <a:pt x="259" y="25"/>
                      <a:pt x="259" y="25"/>
                    </a:cubicBezTo>
                    <a:cubicBezTo>
                      <a:pt x="259" y="22"/>
                      <a:pt x="259" y="22"/>
                      <a:pt x="259" y="22"/>
                    </a:cubicBezTo>
                    <a:cubicBezTo>
                      <a:pt x="258" y="21"/>
                      <a:pt x="258" y="21"/>
                      <a:pt x="258" y="21"/>
                    </a:cubicBezTo>
                    <a:cubicBezTo>
                      <a:pt x="258" y="20"/>
                      <a:pt x="258" y="20"/>
                      <a:pt x="258" y="20"/>
                    </a:cubicBezTo>
                    <a:cubicBezTo>
                      <a:pt x="258" y="18"/>
                      <a:pt x="258" y="18"/>
                      <a:pt x="258" y="18"/>
                    </a:cubicBezTo>
                    <a:cubicBezTo>
                      <a:pt x="257" y="17"/>
                      <a:pt x="257" y="17"/>
                      <a:pt x="257" y="17"/>
                    </a:cubicBezTo>
                    <a:cubicBezTo>
                      <a:pt x="258" y="16"/>
                      <a:pt x="258" y="16"/>
                      <a:pt x="258" y="16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62" y="20"/>
                      <a:pt x="262" y="20"/>
                      <a:pt x="262" y="20"/>
                    </a:cubicBezTo>
                    <a:cubicBezTo>
                      <a:pt x="264" y="23"/>
                      <a:pt x="264" y="23"/>
                      <a:pt x="264" y="23"/>
                    </a:cubicBezTo>
                    <a:cubicBezTo>
                      <a:pt x="266" y="24"/>
                      <a:pt x="266" y="24"/>
                      <a:pt x="266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23"/>
                      <a:pt x="268" y="23"/>
                      <a:pt x="268" y="23"/>
                    </a:cubicBezTo>
                    <a:cubicBezTo>
                      <a:pt x="267" y="23"/>
                      <a:pt x="267" y="23"/>
                      <a:pt x="267" y="23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3" y="19"/>
                      <a:pt x="263" y="19"/>
                      <a:pt x="263" y="19"/>
                    </a:cubicBezTo>
                    <a:cubicBezTo>
                      <a:pt x="263" y="16"/>
                      <a:pt x="263" y="16"/>
                      <a:pt x="263" y="16"/>
                    </a:cubicBezTo>
                    <a:cubicBezTo>
                      <a:pt x="263" y="14"/>
                      <a:pt x="263" y="14"/>
                      <a:pt x="263" y="14"/>
                    </a:cubicBezTo>
                    <a:cubicBezTo>
                      <a:pt x="265" y="13"/>
                      <a:pt x="265" y="13"/>
                      <a:pt x="265" y="13"/>
                    </a:cubicBezTo>
                    <a:cubicBezTo>
                      <a:pt x="267" y="14"/>
                      <a:pt x="267" y="14"/>
                      <a:pt x="267" y="14"/>
                    </a:cubicBezTo>
                    <a:cubicBezTo>
                      <a:pt x="270" y="15"/>
                      <a:pt x="270" y="15"/>
                      <a:pt x="270" y="15"/>
                    </a:cubicBezTo>
                    <a:cubicBezTo>
                      <a:pt x="272" y="15"/>
                      <a:pt x="272" y="15"/>
                      <a:pt x="272" y="15"/>
                    </a:cubicBezTo>
                    <a:cubicBezTo>
                      <a:pt x="272" y="14"/>
                      <a:pt x="272" y="14"/>
                      <a:pt x="272" y="14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3"/>
                      <a:pt x="270" y="13"/>
                      <a:pt x="270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72" y="10"/>
                      <a:pt x="272" y="10"/>
                      <a:pt x="272" y="10"/>
                    </a:cubicBezTo>
                    <a:cubicBezTo>
                      <a:pt x="273" y="8"/>
                      <a:pt x="273" y="8"/>
                      <a:pt x="273" y="8"/>
                    </a:cubicBezTo>
                    <a:cubicBezTo>
                      <a:pt x="273" y="8"/>
                      <a:pt x="273" y="8"/>
                      <a:pt x="273" y="8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73" y="5"/>
                      <a:pt x="273" y="5"/>
                      <a:pt x="273" y="5"/>
                    </a:cubicBezTo>
                    <a:cubicBezTo>
                      <a:pt x="274" y="4"/>
                      <a:pt x="274" y="4"/>
                      <a:pt x="274" y="4"/>
                    </a:cubicBezTo>
                    <a:cubicBezTo>
                      <a:pt x="275" y="5"/>
                      <a:pt x="275" y="5"/>
                      <a:pt x="275" y="5"/>
                    </a:cubicBezTo>
                    <a:cubicBezTo>
                      <a:pt x="276" y="4"/>
                      <a:pt x="276" y="4"/>
                      <a:pt x="276" y="4"/>
                    </a:cubicBezTo>
                    <a:cubicBezTo>
                      <a:pt x="276" y="2"/>
                      <a:pt x="276" y="2"/>
                      <a:pt x="276" y="2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8" y="1"/>
                      <a:pt x="278" y="1"/>
                      <a:pt x="278" y="1"/>
                    </a:cubicBezTo>
                    <a:cubicBezTo>
                      <a:pt x="279" y="2"/>
                      <a:pt x="279" y="2"/>
                      <a:pt x="279" y="2"/>
                    </a:cubicBezTo>
                    <a:cubicBezTo>
                      <a:pt x="279" y="2"/>
                      <a:pt x="279" y="2"/>
                      <a:pt x="279" y="2"/>
                    </a:cubicBezTo>
                    <a:cubicBezTo>
                      <a:pt x="280" y="4"/>
                      <a:pt x="280" y="4"/>
                      <a:pt x="280" y="4"/>
                    </a:cubicBezTo>
                    <a:cubicBezTo>
                      <a:pt x="281" y="6"/>
                      <a:pt x="281" y="6"/>
                      <a:pt x="281" y="6"/>
                    </a:cubicBezTo>
                    <a:cubicBezTo>
                      <a:pt x="282" y="7"/>
                      <a:pt x="282" y="7"/>
                      <a:pt x="282" y="7"/>
                    </a:cubicBezTo>
                    <a:cubicBezTo>
                      <a:pt x="283" y="6"/>
                      <a:pt x="283" y="6"/>
                      <a:pt x="283" y="6"/>
                    </a:cubicBezTo>
                    <a:cubicBezTo>
                      <a:pt x="283" y="5"/>
                      <a:pt x="283" y="5"/>
                      <a:pt x="283" y="5"/>
                    </a:cubicBezTo>
                    <a:cubicBezTo>
                      <a:pt x="282" y="3"/>
                      <a:pt x="282" y="3"/>
                      <a:pt x="282" y="3"/>
                    </a:cubicBezTo>
                    <a:cubicBezTo>
                      <a:pt x="282" y="2"/>
                      <a:pt x="282" y="2"/>
                      <a:pt x="282" y="2"/>
                    </a:cubicBezTo>
                    <a:cubicBezTo>
                      <a:pt x="283" y="1"/>
                      <a:pt x="283" y="1"/>
                      <a:pt x="283" y="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86" y="1"/>
                      <a:pt x="286" y="1"/>
                      <a:pt x="286" y="1"/>
                    </a:cubicBezTo>
                    <a:cubicBezTo>
                      <a:pt x="289" y="1"/>
                      <a:pt x="289" y="1"/>
                      <a:pt x="289" y="1"/>
                    </a:cubicBezTo>
                    <a:cubicBezTo>
                      <a:pt x="291" y="2"/>
                      <a:pt x="291" y="2"/>
                      <a:pt x="291" y="2"/>
                    </a:cubicBezTo>
                    <a:cubicBezTo>
                      <a:pt x="291" y="2"/>
                      <a:pt x="291" y="2"/>
                      <a:pt x="291" y="2"/>
                    </a:cubicBezTo>
                    <a:cubicBezTo>
                      <a:pt x="292" y="2"/>
                      <a:pt x="292" y="2"/>
                      <a:pt x="292" y="2"/>
                    </a:cubicBezTo>
                    <a:cubicBezTo>
                      <a:pt x="293" y="1"/>
                      <a:pt x="293" y="1"/>
                      <a:pt x="293" y="1"/>
                    </a:cubicBezTo>
                    <a:cubicBezTo>
                      <a:pt x="295" y="2"/>
                      <a:pt x="295" y="2"/>
                      <a:pt x="295" y="2"/>
                    </a:cubicBezTo>
                    <a:cubicBezTo>
                      <a:pt x="298" y="2"/>
                      <a:pt x="298" y="2"/>
                      <a:pt x="298" y="2"/>
                    </a:cubicBezTo>
                    <a:cubicBezTo>
                      <a:pt x="299" y="3"/>
                      <a:pt x="299" y="3"/>
                      <a:pt x="299" y="3"/>
                    </a:cubicBezTo>
                    <a:cubicBezTo>
                      <a:pt x="301" y="3"/>
                      <a:pt x="301" y="3"/>
                      <a:pt x="301" y="3"/>
                    </a:cubicBezTo>
                    <a:cubicBezTo>
                      <a:pt x="302" y="2"/>
                      <a:pt x="302" y="2"/>
                      <a:pt x="302" y="2"/>
                    </a:cubicBezTo>
                    <a:cubicBezTo>
                      <a:pt x="303" y="3"/>
                      <a:pt x="303" y="3"/>
                      <a:pt x="303" y="3"/>
                    </a:cubicBezTo>
                    <a:cubicBezTo>
                      <a:pt x="303" y="4"/>
                      <a:pt x="303" y="4"/>
                      <a:pt x="303" y="4"/>
                    </a:cubicBezTo>
                    <a:cubicBezTo>
                      <a:pt x="306" y="6"/>
                      <a:pt x="306" y="6"/>
                      <a:pt x="306" y="6"/>
                    </a:cubicBezTo>
                    <a:cubicBezTo>
                      <a:pt x="307" y="6"/>
                      <a:pt x="307" y="6"/>
                      <a:pt x="307" y="6"/>
                    </a:cubicBezTo>
                    <a:cubicBezTo>
                      <a:pt x="307" y="5"/>
                      <a:pt x="307" y="5"/>
                      <a:pt x="307" y="5"/>
                    </a:cubicBezTo>
                    <a:cubicBezTo>
                      <a:pt x="308" y="5"/>
                      <a:pt x="308" y="5"/>
                      <a:pt x="308" y="5"/>
                    </a:cubicBezTo>
                    <a:cubicBezTo>
                      <a:pt x="311" y="7"/>
                      <a:pt x="311" y="7"/>
                      <a:pt x="311" y="7"/>
                    </a:cubicBezTo>
                    <a:cubicBezTo>
                      <a:pt x="312" y="7"/>
                      <a:pt x="312" y="7"/>
                      <a:pt x="312" y="7"/>
                    </a:cubicBezTo>
                    <a:cubicBezTo>
                      <a:pt x="314" y="9"/>
                      <a:pt x="314" y="9"/>
                      <a:pt x="314" y="9"/>
                    </a:cubicBezTo>
                    <a:cubicBezTo>
                      <a:pt x="318" y="9"/>
                      <a:pt x="318" y="9"/>
                      <a:pt x="318" y="9"/>
                    </a:cubicBezTo>
                    <a:cubicBezTo>
                      <a:pt x="319" y="10"/>
                      <a:pt x="319" y="10"/>
                      <a:pt x="319" y="10"/>
                    </a:cubicBezTo>
                    <a:cubicBezTo>
                      <a:pt x="321" y="9"/>
                      <a:pt x="321" y="9"/>
                      <a:pt x="321" y="9"/>
                    </a:cubicBezTo>
                    <a:cubicBezTo>
                      <a:pt x="322" y="10"/>
                      <a:pt x="322" y="10"/>
                      <a:pt x="322" y="10"/>
                    </a:cubicBezTo>
                    <a:cubicBezTo>
                      <a:pt x="323" y="11"/>
                      <a:pt x="323" y="11"/>
                      <a:pt x="323" y="11"/>
                    </a:cubicBezTo>
                    <a:cubicBezTo>
                      <a:pt x="325" y="10"/>
                      <a:pt x="325" y="10"/>
                      <a:pt x="325" y="10"/>
                    </a:cubicBezTo>
                    <a:cubicBezTo>
                      <a:pt x="326" y="11"/>
                      <a:pt x="326" y="11"/>
                      <a:pt x="326" y="11"/>
                    </a:cubicBezTo>
                    <a:cubicBezTo>
                      <a:pt x="328" y="12"/>
                      <a:pt x="328" y="12"/>
                      <a:pt x="328" y="12"/>
                    </a:cubicBezTo>
                    <a:cubicBezTo>
                      <a:pt x="331" y="13"/>
                      <a:pt x="331" y="13"/>
                      <a:pt x="331" y="13"/>
                    </a:cubicBezTo>
                    <a:cubicBezTo>
                      <a:pt x="333" y="15"/>
                      <a:pt x="333" y="15"/>
                      <a:pt x="333" y="15"/>
                    </a:cubicBezTo>
                    <a:cubicBezTo>
                      <a:pt x="334" y="16"/>
                      <a:pt x="334" y="16"/>
                      <a:pt x="334" y="16"/>
                    </a:cubicBezTo>
                    <a:cubicBezTo>
                      <a:pt x="335" y="17"/>
                      <a:pt x="335" y="17"/>
                      <a:pt x="335" y="17"/>
                    </a:cubicBezTo>
                    <a:cubicBezTo>
                      <a:pt x="338" y="19"/>
                      <a:pt x="338" y="19"/>
                      <a:pt x="338" y="19"/>
                    </a:cubicBezTo>
                    <a:cubicBezTo>
                      <a:pt x="338" y="20"/>
                      <a:pt x="338" y="20"/>
                      <a:pt x="338" y="20"/>
                    </a:cubicBezTo>
                    <a:cubicBezTo>
                      <a:pt x="336" y="22"/>
                      <a:pt x="336" y="22"/>
                      <a:pt x="336" y="22"/>
                    </a:cubicBezTo>
                    <a:cubicBezTo>
                      <a:pt x="335" y="21"/>
                      <a:pt x="335" y="21"/>
                      <a:pt x="335" y="21"/>
                    </a:cubicBezTo>
                    <a:cubicBezTo>
                      <a:pt x="333" y="21"/>
                      <a:pt x="333" y="21"/>
                      <a:pt x="333" y="21"/>
                    </a:cubicBezTo>
                    <a:cubicBezTo>
                      <a:pt x="332" y="22"/>
                      <a:pt x="332" y="22"/>
                      <a:pt x="332" y="22"/>
                    </a:cubicBezTo>
                    <a:cubicBezTo>
                      <a:pt x="331" y="23"/>
                      <a:pt x="331" y="23"/>
                      <a:pt x="331" y="23"/>
                    </a:cubicBezTo>
                    <a:cubicBezTo>
                      <a:pt x="329" y="23"/>
                      <a:pt x="329" y="23"/>
                      <a:pt x="329" y="23"/>
                    </a:cubicBezTo>
                    <a:cubicBezTo>
                      <a:pt x="329" y="23"/>
                      <a:pt x="329" y="23"/>
                      <a:pt x="329" y="23"/>
                    </a:cubicBezTo>
                    <a:cubicBezTo>
                      <a:pt x="327" y="23"/>
                      <a:pt x="327" y="23"/>
                      <a:pt x="327" y="23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1" y="21"/>
                      <a:pt x="321" y="21"/>
                      <a:pt x="321" y="21"/>
                    </a:cubicBezTo>
                    <a:cubicBezTo>
                      <a:pt x="319" y="21"/>
                      <a:pt x="319" y="21"/>
                      <a:pt x="319" y="21"/>
                    </a:cubicBezTo>
                    <a:cubicBezTo>
                      <a:pt x="318" y="21"/>
                      <a:pt x="318" y="21"/>
                      <a:pt x="318" y="21"/>
                    </a:cubicBezTo>
                    <a:cubicBezTo>
                      <a:pt x="317" y="20"/>
                      <a:pt x="317" y="20"/>
                      <a:pt x="317" y="20"/>
                    </a:cubicBezTo>
                    <a:cubicBezTo>
                      <a:pt x="314" y="20"/>
                      <a:pt x="314" y="20"/>
                      <a:pt x="314" y="20"/>
                    </a:cubicBezTo>
                    <a:cubicBezTo>
                      <a:pt x="314" y="21"/>
                      <a:pt x="314" y="21"/>
                      <a:pt x="314" y="21"/>
                    </a:cubicBez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0"/>
                      <a:pt x="312" y="20"/>
                      <a:pt x="312" y="20"/>
                    </a:cubicBezTo>
                    <a:cubicBezTo>
                      <a:pt x="310" y="20"/>
                      <a:pt x="310" y="20"/>
                      <a:pt x="310" y="20"/>
                    </a:cubicBezTo>
                    <a:cubicBezTo>
                      <a:pt x="307" y="22"/>
                      <a:pt x="307" y="22"/>
                      <a:pt x="307" y="22"/>
                    </a:cubicBezTo>
                    <a:cubicBezTo>
                      <a:pt x="306" y="22"/>
                      <a:pt x="306" y="22"/>
                      <a:pt x="306" y="22"/>
                    </a:cubicBezTo>
                    <a:cubicBezTo>
                      <a:pt x="304" y="22"/>
                      <a:pt x="304" y="22"/>
                      <a:pt x="304" y="22"/>
                    </a:cubicBezTo>
                    <a:cubicBezTo>
                      <a:pt x="302" y="22"/>
                      <a:pt x="302" y="22"/>
                      <a:pt x="302" y="22"/>
                    </a:cubicBezTo>
                    <a:cubicBezTo>
                      <a:pt x="300" y="23"/>
                      <a:pt x="300" y="23"/>
                      <a:pt x="300" y="23"/>
                    </a:cubicBezTo>
                    <a:cubicBezTo>
                      <a:pt x="297" y="23"/>
                      <a:pt x="297" y="23"/>
                      <a:pt x="297" y="23"/>
                    </a:cubicBezTo>
                    <a:cubicBezTo>
                      <a:pt x="296" y="21"/>
                      <a:pt x="296" y="21"/>
                      <a:pt x="296" y="21"/>
                    </a:cubicBezTo>
                    <a:cubicBezTo>
                      <a:pt x="296" y="19"/>
                      <a:pt x="296" y="19"/>
                      <a:pt x="296" y="19"/>
                    </a:cubicBezTo>
                    <a:cubicBezTo>
                      <a:pt x="297" y="19"/>
                      <a:pt x="297" y="19"/>
                      <a:pt x="297" y="19"/>
                    </a:cubicBezTo>
                    <a:cubicBezTo>
                      <a:pt x="298" y="19"/>
                      <a:pt x="298" y="19"/>
                      <a:pt x="298" y="19"/>
                    </a:cubicBezTo>
                    <a:cubicBezTo>
                      <a:pt x="299" y="17"/>
                      <a:pt x="299" y="17"/>
                      <a:pt x="299" y="17"/>
                    </a:cubicBezTo>
                    <a:cubicBezTo>
                      <a:pt x="298" y="17"/>
                      <a:pt x="298" y="17"/>
                      <a:pt x="298" y="17"/>
                    </a:cubicBezTo>
                    <a:cubicBezTo>
                      <a:pt x="297" y="17"/>
                      <a:pt x="297" y="17"/>
                      <a:pt x="297" y="17"/>
                    </a:cubicBezTo>
                    <a:cubicBezTo>
                      <a:pt x="295" y="17"/>
                      <a:pt x="295" y="17"/>
                      <a:pt x="295" y="17"/>
                    </a:cubicBezTo>
                    <a:cubicBezTo>
                      <a:pt x="293" y="18"/>
                      <a:pt x="293" y="18"/>
                      <a:pt x="293" y="18"/>
                    </a:cubicBezTo>
                    <a:cubicBezTo>
                      <a:pt x="294" y="20"/>
                      <a:pt x="294" y="20"/>
                      <a:pt x="294" y="20"/>
                    </a:cubicBezTo>
                    <a:cubicBezTo>
                      <a:pt x="295" y="22"/>
                      <a:pt x="295" y="22"/>
                      <a:pt x="295" y="22"/>
                    </a:cubicBezTo>
                    <a:cubicBezTo>
                      <a:pt x="296" y="22"/>
                      <a:pt x="296" y="22"/>
                      <a:pt x="296" y="22"/>
                    </a:cubicBezTo>
                    <a:cubicBezTo>
                      <a:pt x="295" y="23"/>
                      <a:pt x="295" y="23"/>
                      <a:pt x="295" y="23"/>
                    </a:cubicBezTo>
                    <a:cubicBezTo>
                      <a:pt x="294" y="24"/>
                      <a:pt x="294" y="24"/>
                      <a:pt x="294" y="24"/>
                    </a:cubicBezTo>
                    <a:cubicBezTo>
                      <a:pt x="293" y="24"/>
                      <a:pt x="293" y="24"/>
                      <a:pt x="293" y="24"/>
                    </a:cubicBezTo>
                    <a:cubicBezTo>
                      <a:pt x="292" y="24"/>
                      <a:pt x="292" y="24"/>
                      <a:pt x="292" y="24"/>
                    </a:cubicBezTo>
                    <a:cubicBezTo>
                      <a:pt x="289" y="24"/>
                      <a:pt x="289" y="24"/>
                      <a:pt x="289" y="24"/>
                    </a:cubicBezTo>
                    <a:cubicBezTo>
                      <a:pt x="289" y="24"/>
                      <a:pt x="289" y="24"/>
                      <a:pt x="289" y="24"/>
                    </a:cubicBezTo>
                    <a:cubicBezTo>
                      <a:pt x="287" y="25"/>
                      <a:pt x="287" y="25"/>
                      <a:pt x="287" y="25"/>
                    </a:cubicBezTo>
                    <a:cubicBezTo>
                      <a:pt x="285" y="24"/>
                      <a:pt x="285" y="24"/>
                      <a:pt x="285" y="24"/>
                    </a:cubicBezTo>
                    <a:cubicBezTo>
                      <a:pt x="283" y="24"/>
                      <a:pt x="283" y="24"/>
                      <a:pt x="283" y="24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77" y="28"/>
                      <a:pt x="277" y="28"/>
                      <a:pt x="277" y="28"/>
                    </a:cubicBezTo>
                    <a:cubicBezTo>
                      <a:pt x="276" y="29"/>
                      <a:pt x="276" y="29"/>
                      <a:pt x="276" y="29"/>
                    </a:cubicBezTo>
                    <a:cubicBezTo>
                      <a:pt x="276" y="32"/>
                      <a:pt x="276" y="32"/>
                      <a:pt x="276" y="32"/>
                    </a:cubicBezTo>
                    <a:cubicBezTo>
                      <a:pt x="276" y="33"/>
                      <a:pt x="276" y="33"/>
                      <a:pt x="276" y="33"/>
                    </a:cubicBezTo>
                    <a:cubicBezTo>
                      <a:pt x="275" y="34"/>
                      <a:pt x="275" y="34"/>
                      <a:pt x="275" y="34"/>
                    </a:cubicBezTo>
                    <a:cubicBezTo>
                      <a:pt x="276" y="35"/>
                      <a:pt x="276" y="35"/>
                      <a:pt x="276" y="35"/>
                    </a:cubicBezTo>
                    <a:cubicBezTo>
                      <a:pt x="277" y="34"/>
                      <a:pt x="277" y="34"/>
                      <a:pt x="277" y="34"/>
                    </a:cubicBezTo>
                    <a:cubicBezTo>
                      <a:pt x="277" y="32"/>
                      <a:pt x="277" y="32"/>
                      <a:pt x="277" y="32"/>
                    </a:cubicBezTo>
                    <a:cubicBezTo>
                      <a:pt x="278" y="31"/>
                      <a:pt x="278" y="31"/>
                      <a:pt x="278" y="31"/>
                    </a:cubicBezTo>
                    <a:cubicBezTo>
                      <a:pt x="278" y="31"/>
                      <a:pt x="278" y="31"/>
                      <a:pt x="278" y="31"/>
                    </a:cubicBezTo>
                    <a:cubicBezTo>
                      <a:pt x="279" y="30"/>
                      <a:pt x="279" y="30"/>
                      <a:pt x="279" y="30"/>
                    </a:cubicBezTo>
                    <a:cubicBezTo>
                      <a:pt x="281" y="30"/>
                      <a:pt x="281" y="30"/>
                      <a:pt x="281" y="30"/>
                    </a:cubicBezTo>
                    <a:cubicBezTo>
                      <a:pt x="282" y="29"/>
                      <a:pt x="282" y="29"/>
                      <a:pt x="282" y="29"/>
                    </a:cubicBezTo>
                    <a:cubicBezTo>
                      <a:pt x="282" y="30"/>
                      <a:pt x="282" y="30"/>
                      <a:pt x="282" y="30"/>
                    </a:cubicBezTo>
                    <a:cubicBezTo>
                      <a:pt x="282" y="31"/>
                      <a:pt x="282" y="31"/>
                      <a:pt x="282" y="31"/>
                    </a:cubicBezTo>
                    <a:cubicBezTo>
                      <a:pt x="281" y="33"/>
                      <a:pt x="281" y="33"/>
                      <a:pt x="281" y="33"/>
                    </a:cubicBezTo>
                    <a:cubicBezTo>
                      <a:pt x="281" y="34"/>
                      <a:pt x="281" y="34"/>
                      <a:pt x="281" y="34"/>
                    </a:cubicBezTo>
                    <a:cubicBezTo>
                      <a:pt x="282" y="34"/>
                      <a:pt x="282" y="34"/>
                      <a:pt x="282" y="34"/>
                    </a:cubicBezTo>
                    <a:cubicBezTo>
                      <a:pt x="283" y="32"/>
                      <a:pt x="283" y="32"/>
                      <a:pt x="283" y="32"/>
                    </a:cubicBezTo>
                    <a:cubicBezTo>
                      <a:pt x="284" y="30"/>
                      <a:pt x="284" y="30"/>
                      <a:pt x="284" y="30"/>
                    </a:cubicBezTo>
                    <a:cubicBezTo>
                      <a:pt x="284" y="30"/>
                      <a:pt x="285" y="28"/>
                      <a:pt x="285" y="28"/>
                    </a:cubicBezTo>
                    <a:cubicBezTo>
                      <a:pt x="285" y="28"/>
                      <a:pt x="287" y="27"/>
                      <a:pt x="287" y="27"/>
                    </a:cubicBezTo>
                    <a:cubicBezTo>
                      <a:pt x="288" y="27"/>
                      <a:pt x="288" y="27"/>
                      <a:pt x="288" y="27"/>
                    </a:cubicBezTo>
                    <a:cubicBezTo>
                      <a:pt x="290" y="27"/>
                      <a:pt x="290" y="27"/>
                      <a:pt x="290" y="27"/>
                    </a:cubicBezTo>
                    <a:cubicBezTo>
                      <a:pt x="292" y="27"/>
                      <a:pt x="292" y="27"/>
                      <a:pt x="292" y="27"/>
                    </a:cubicBezTo>
                    <a:cubicBezTo>
                      <a:pt x="294" y="26"/>
                      <a:pt x="294" y="26"/>
                      <a:pt x="294" y="26"/>
                    </a:cubicBezTo>
                    <a:cubicBezTo>
                      <a:pt x="294" y="26"/>
                      <a:pt x="294" y="26"/>
                      <a:pt x="294" y="26"/>
                    </a:cubicBezTo>
                    <a:cubicBezTo>
                      <a:pt x="295" y="28"/>
                      <a:pt x="295" y="28"/>
                      <a:pt x="295" y="28"/>
                    </a:cubicBezTo>
                    <a:cubicBezTo>
                      <a:pt x="296" y="30"/>
                      <a:pt x="296" y="30"/>
                      <a:pt x="296" y="30"/>
                    </a:cubicBezTo>
                    <a:cubicBezTo>
                      <a:pt x="297" y="31"/>
                      <a:pt x="297" y="31"/>
                      <a:pt x="297" y="31"/>
                    </a:cubicBezTo>
                    <a:cubicBezTo>
                      <a:pt x="298" y="31"/>
                      <a:pt x="298" y="31"/>
                      <a:pt x="298" y="31"/>
                    </a:cubicBezTo>
                    <a:cubicBezTo>
                      <a:pt x="298" y="29"/>
                      <a:pt x="298" y="29"/>
                      <a:pt x="298" y="29"/>
                    </a:cubicBezTo>
                    <a:cubicBezTo>
                      <a:pt x="297" y="27"/>
                      <a:pt x="297" y="27"/>
                      <a:pt x="297" y="27"/>
                    </a:cubicBezTo>
                    <a:cubicBezTo>
                      <a:pt x="298" y="26"/>
                      <a:pt x="298" y="26"/>
                      <a:pt x="298" y="26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1" y="26"/>
                      <a:pt x="301" y="26"/>
                      <a:pt x="301" y="26"/>
                    </a:cubicBezTo>
                    <a:cubicBezTo>
                      <a:pt x="303" y="26"/>
                      <a:pt x="303" y="26"/>
                      <a:pt x="303" y="26"/>
                    </a:cubicBezTo>
                    <a:cubicBezTo>
                      <a:pt x="306" y="26"/>
                      <a:pt x="306" y="26"/>
                      <a:pt x="306" y="26"/>
                    </a:cubicBezTo>
                    <a:cubicBezTo>
                      <a:pt x="309" y="25"/>
                      <a:pt x="309" y="25"/>
                      <a:pt x="309" y="25"/>
                    </a:cubicBezTo>
                    <a:cubicBezTo>
                      <a:pt x="310" y="24"/>
                      <a:pt x="310" y="24"/>
                      <a:pt x="310" y="24"/>
                    </a:cubicBezTo>
                    <a:cubicBezTo>
                      <a:pt x="314" y="24"/>
                      <a:pt x="314" y="24"/>
                      <a:pt x="314" y="24"/>
                    </a:cubicBezTo>
                    <a:cubicBezTo>
                      <a:pt x="316" y="24"/>
                      <a:pt x="316" y="24"/>
                      <a:pt x="316" y="24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0" y="26"/>
                      <a:pt x="320" y="26"/>
                      <a:pt x="320" y="26"/>
                    </a:cubicBezTo>
                    <a:cubicBezTo>
                      <a:pt x="321" y="27"/>
                      <a:pt x="321" y="27"/>
                      <a:pt x="321" y="27"/>
                    </a:cubicBezTo>
                    <a:cubicBezTo>
                      <a:pt x="323" y="27"/>
                      <a:pt x="323" y="27"/>
                      <a:pt x="323" y="27"/>
                    </a:cubicBezTo>
                    <a:cubicBezTo>
                      <a:pt x="325" y="28"/>
                      <a:pt x="325" y="28"/>
                      <a:pt x="325" y="28"/>
                    </a:cubicBezTo>
                    <a:cubicBezTo>
                      <a:pt x="326" y="29"/>
                      <a:pt x="326" y="29"/>
                      <a:pt x="326" y="29"/>
                    </a:cubicBezTo>
                    <a:cubicBezTo>
                      <a:pt x="327" y="28"/>
                      <a:pt x="327" y="28"/>
                      <a:pt x="327" y="28"/>
                    </a:cubicBezTo>
                    <a:cubicBezTo>
                      <a:pt x="328" y="28"/>
                      <a:pt x="328" y="28"/>
                      <a:pt x="328" y="28"/>
                    </a:cubicBezTo>
                    <a:cubicBezTo>
                      <a:pt x="329" y="28"/>
                      <a:pt x="329" y="28"/>
                      <a:pt x="329" y="28"/>
                    </a:cubicBezTo>
                    <a:cubicBezTo>
                      <a:pt x="330" y="29"/>
                      <a:pt x="330" y="29"/>
                      <a:pt x="330" y="29"/>
                    </a:cubicBezTo>
                    <a:cubicBezTo>
                      <a:pt x="331" y="29"/>
                      <a:pt x="331" y="29"/>
                      <a:pt x="331" y="29"/>
                    </a:cubicBezTo>
                    <a:cubicBezTo>
                      <a:pt x="332" y="28"/>
                      <a:pt x="332" y="28"/>
                      <a:pt x="332" y="28"/>
                    </a:cubicBezTo>
                    <a:cubicBezTo>
                      <a:pt x="334" y="28"/>
                      <a:pt x="334" y="28"/>
                      <a:pt x="334" y="28"/>
                    </a:cubicBezTo>
                    <a:cubicBezTo>
                      <a:pt x="335" y="28"/>
                      <a:pt x="335" y="28"/>
                      <a:pt x="335" y="28"/>
                    </a:cubicBezTo>
                    <a:cubicBezTo>
                      <a:pt x="338" y="26"/>
                      <a:pt x="338" y="26"/>
                      <a:pt x="338" y="26"/>
                    </a:cubicBezTo>
                    <a:cubicBezTo>
                      <a:pt x="339" y="25"/>
                      <a:pt x="339" y="25"/>
                      <a:pt x="339" y="25"/>
                    </a:cubicBezTo>
                    <a:cubicBezTo>
                      <a:pt x="340" y="25"/>
                      <a:pt x="340" y="25"/>
                      <a:pt x="340" y="25"/>
                    </a:cubicBezTo>
                    <a:cubicBezTo>
                      <a:pt x="341" y="25"/>
                      <a:pt x="341" y="25"/>
                      <a:pt x="341" y="25"/>
                    </a:cubicBezTo>
                    <a:cubicBezTo>
                      <a:pt x="342" y="27"/>
                      <a:pt x="342" y="27"/>
                      <a:pt x="342" y="27"/>
                    </a:cubicBezTo>
                    <a:cubicBezTo>
                      <a:pt x="344" y="28"/>
                      <a:pt x="344" y="28"/>
                      <a:pt x="344" y="28"/>
                    </a:cubicBezTo>
                    <a:cubicBezTo>
                      <a:pt x="344" y="28"/>
                      <a:pt x="344" y="28"/>
                      <a:pt x="344" y="28"/>
                    </a:cubicBezTo>
                    <a:cubicBezTo>
                      <a:pt x="343" y="30"/>
                      <a:pt x="343" y="30"/>
                      <a:pt x="343" y="30"/>
                    </a:cubicBezTo>
                    <a:cubicBezTo>
                      <a:pt x="343" y="30"/>
                      <a:pt x="343" y="30"/>
                      <a:pt x="343" y="30"/>
                    </a:cubicBezTo>
                    <a:cubicBezTo>
                      <a:pt x="344" y="31"/>
                      <a:pt x="344" y="31"/>
                      <a:pt x="344" y="31"/>
                    </a:cubicBezTo>
                    <a:cubicBezTo>
                      <a:pt x="344" y="32"/>
                      <a:pt x="344" y="32"/>
                      <a:pt x="344" y="32"/>
                    </a:cubicBezTo>
                    <a:cubicBezTo>
                      <a:pt x="344" y="33"/>
                      <a:pt x="344" y="33"/>
                      <a:pt x="344" y="33"/>
                    </a:cubicBezTo>
                    <a:cubicBezTo>
                      <a:pt x="342" y="35"/>
                      <a:pt x="342" y="35"/>
                      <a:pt x="342" y="35"/>
                    </a:cubicBezTo>
                    <a:cubicBezTo>
                      <a:pt x="339" y="36"/>
                      <a:pt x="339" y="36"/>
                      <a:pt x="339" y="36"/>
                    </a:cubicBezTo>
                    <a:cubicBezTo>
                      <a:pt x="337" y="36"/>
                      <a:pt x="337" y="36"/>
                      <a:pt x="337" y="36"/>
                    </a:cubicBezTo>
                    <a:cubicBezTo>
                      <a:pt x="336" y="35"/>
                      <a:pt x="336" y="35"/>
                      <a:pt x="336" y="35"/>
                    </a:cubicBezTo>
                    <a:cubicBezTo>
                      <a:pt x="335" y="34"/>
                      <a:pt x="335" y="34"/>
                      <a:pt x="335" y="34"/>
                    </a:cubicBezTo>
                    <a:cubicBezTo>
                      <a:pt x="334" y="34"/>
                      <a:pt x="334" y="34"/>
                      <a:pt x="334" y="34"/>
                    </a:cubicBezTo>
                    <a:cubicBezTo>
                      <a:pt x="334" y="36"/>
                      <a:pt x="334" y="36"/>
                      <a:pt x="334" y="36"/>
                    </a:cubicBezTo>
                    <a:cubicBezTo>
                      <a:pt x="336" y="37"/>
                      <a:pt x="336" y="37"/>
                      <a:pt x="336" y="37"/>
                    </a:cubicBezTo>
                    <a:cubicBezTo>
                      <a:pt x="336" y="38"/>
                      <a:pt x="336" y="38"/>
                      <a:pt x="336" y="38"/>
                    </a:cubicBezTo>
                    <a:cubicBezTo>
                      <a:pt x="336" y="38"/>
                      <a:pt x="336" y="38"/>
                      <a:pt x="336" y="38"/>
                    </a:cubicBezTo>
                    <a:cubicBezTo>
                      <a:pt x="334" y="38"/>
                      <a:pt x="334" y="38"/>
                      <a:pt x="334" y="38"/>
                    </a:cubicBezTo>
                    <a:cubicBezTo>
                      <a:pt x="333" y="37"/>
                      <a:pt x="333" y="37"/>
                      <a:pt x="333" y="37"/>
                    </a:cubicBezTo>
                    <a:cubicBezTo>
                      <a:pt x="332" y="37"/>
                      <a:pt x="332" y="37"/>
                      <a:pt x="332" y="37"/>
                    </a:cubicBezTo>
                    <a:cubicBezTo>
                      <a:pt x="332" y="38"/>
                      <a:pt x="332" y="38"/>
                      <a:pt x="332" y="38"/>
                    </a:cubicBezTo>
                    <a:cubicBezTo>
                      <a:pt x="333" y="39"/>
                      <a:pt x="333" y="39"/>
                      <a:pt x="333" y="39"/>
                    </a:cubicBezTo>
                    <a:cubicBezTo>
                      <a:pt x="334" y="39"/>
                      <a:pt x="334" y="39"/>
                      <a:pt x="334" y="39"/>
                    </a:cubicBezTo>
                    <a:cubicBezTo>
                      <a:pt x="336" y="40"/>
                      <a:pt x="336" y="40"/>
                      <a:pt x="336" y="40"/>
                    </a:cubicBezTo>
                    <a:cubicBezTo>
                      <a:pt x="338" y="41"/>
                      <a:pt x="338" y="41"/>
                      <a:pt x="338" y="41"/>
                    </a:cubicBezTo>
                    <a:cubicBezTo>
                      <a:pt x="339" y="40"/>
                      <a:pt x="339" y="40"/>
                      <a:pt x="339" y="40"/>
                    </a:cubicBezTo>
                    <a:cubicBezTo>
                      <a:pt x="342" y="39"/>
                      <a:pt x="342" y="39"/>
                      <a:pt x="342" y="39"/>
                    </a:cubicBezTo>
                    <a:cubicBezTo>
                      <a:pt x="343" y="39"/>
                      <a:pt x="343" y="39"/>
                      <a:pt x="343" y="39"/>
                    </a:cubicBezTo>
                    <a:cubicBezTo>
                      <a:pt x="344" y="40"/>
                      <a:pt x="344" y="40"/>
                      <a:pt x="344" y="40"/>
                    </a:cubicBezTo>
                    <a:cubicBezTo>
                      <a:pt x="344" y="39"/>
                      <a:pt x="344" y="39"/>
                      <a:pt x="344" y="39"/>
                    </a:cubicBezTo>
                    <a:cubicBezTo>
                      <a:pt x="344" y="38"/>
                      <a:pt x="344" y="38"/>
                      <a:pt x="344" y="38"/>
                    </a:cubicBezTo>
                    <a:cubicBezTo>
                      <a:pt x="346" y="37"/>
                      <a:pt x="346" y="37"/>
                      <a:pt x="346" y="37"/>
                    </a:cubicBezTo>
                    <a:cubicBezTo>
                      <a:pt x="350" y="37"/>
                      <a:pt x="350" y="37"/>
                      <a:pt x="350" y="37"/>
                    </a:cubicBezTo>
                    <a:cubicBezTo>
                      <a:pt x="351" y="38"/>
                      <a:pt x="351" y="38"/>
                      <a:pt x="351" y="38"/>
                    </a:cubicBezTo>
                    <a:cubicBezTo>
                      <a:pt x="351" y="39"/>
                      <a:pt x="351" y="39"/>
                      <a:pt x="351" y="39"/>
                    </a:cubicBezTo>
                    <a:cubicBezTo>
                      <a:pt x="352" y="40"/>
                      <a:pt x="352" y="40"/>
                      <a:pt x="352" y="40"/>
                    </a:cubicBezTo>
                    <a:cubicBezTo>
                      <a:pt x="353" y="40"/>
                      <a:pt x="353" y="40"/>
                      <a:pt x="353" y="40"/>
                    </a:cubicBezTo>
                    <a:cubicBezTo>
                      <a:pt x="353" y="39"/>
                      <a:pt x="353" y="39"/>
                      <a:pt x="353" y="39"/>
                    </a:cubicBezTo>
                    <a:cubicBezTo>
                      <a:pt x="354" y="39"/>
                      <a:pt x="354" y="39"/>
                      <a:pt x="354" y="39"/>
                    </a:cubicBezTo>
                    <a:cubicBezTo>
                      <a:pt x="355" y="41"/>
                      <a:pt x="355" y="41"/>
                      <a:pt x="355" y="41"/>
                    </a:cubicBezTo>
                    <a:cubicBezTo>
                      <a:pt x="356" y="42"/>
                      <a:pt x="356" y="42"/>
                      <a:pt x="356" y="42"/>
                    </a:cubicBezTo>
                    <a:cubicBezTo>
                      <a:pt x="359" y="42"/>
                      <a:pt x="359" y="42"/>
                      <a:pt x="359" y="42"/>
                    </a:cubicBezTo>
                    <a:cubicBezTo>
                      <a:pt x="360" y="43"/>
                      <a:pt x="360" y="43"/>
                      <a:pt x="360" y="43"/>
                    </a:cubicBezTo>
                    <a:cubicBezTo>
                      <a:pt x="360" y="44"/>
                      <a:pt x="360" y="44"/>
                      <a:pt x="360" y="44"/>
                    </a:cubicBezTo>
                    <a:cubicBezTo>
                      <a:pt x="362" y="46"/>
                      <a:pt x="362" y="46"/>
                      <a:pt x="362" y="46"/>
                    </a:cubicBezTo>
                    <a:cubicBezTo>
                      <a:pt x="364" y="47"/>
                      <a:pt x="364" y="47"/>
                      <a:pt x="364" y="47"/>
                    </a:cubicBezTo>
                    <a:cubicBezTo>
                      <a:pt x="366" y="48"/>
                      <a:pt x="366" y="48"/>
                      <a:pt x="366" y="48"/>
                    </a:cubicBezTo>
                    <a:cubicBezTo>
                      <a:pt x="366" y="49"/>
                      <a:pt x="366" y="49"/>
                      <a:pt x="366" y="49"/>
                    </a:cubicBezTo>
                    <a:cubicBezTo>
                      <a:pt x="366" y="51"/>
                      <a:pt x="366" y="51"/>
                      <a:pt x="366" y="51"/>
                    </a:cubicBezTo>
                    <a:cubicBezTo>
                      <a:pt x="365" y="52"/>
                      <a:pt x="365" y="52"/>
                      <a:pt x="365" y="52"/>
                    </a:cubicBezTo>
                    <a:cubicBezTo>
                      <a:pt x="365" y="53"/>
                      <a:pt x="365" y="53"/>
                      <a:pt x="365" y="53"/>
                    </a:cubicBezTo>
                    <a:cubicBezTo>
                      <a:pt x="365" y="54"/>
                      <a:pt x="365" y="54"/>
                      <a:pt x="365" y="54"/>
                    </a:cubicBezTo>
                    <a:cubicBezTo>
                      <a:pt x="364" y="55"/>
                      <a:pt x="364" y="55"/>
                      <a:pt x="364" y="55"/>
                    </a:cubicBezTo>
                    <a:cubicBezTo>
                      <a:pt x="362" y="56"/>
                      <a:pt x="362" y="56"/>
                      <a:pt x="362" y="56"/>
                    </a:cubicBezTo>
                    <a:cubicBezTo>
                      <a:pt x="361" y="56"/>
                      <a:pt x="361" y="56"/>
                      <a:pt x="361" y="56"/>
                    </a:cubicBezTo>
                    <a:cubicBezTo>
                      <a:pt x="360" y="56"/>
                      <a:pt x="360" y="56"/>
                      <a:pt x="360" y="56"/>
                    </a:cubicBezTo>
                    <a:cubicBezTo>
                      <a:pt x="359" y="56"/>
                      <a:pt x="359" y="56"/>
                      <a:pt x="359" y="56"/>
                    </a:cubicBezTo>
                    <a:cubicBezTo>
                      <a:pt x="359" y="57"/>
                      <a:pt x="359" y="57"/>
                      <a:pt x="359" y="57"/>
                    </a:cubicBezTo>
                    <a:cubicBezTo>
                      <a:pt x="359" y="58"/>
                      <a:pt x="359" y="58"/>
                      <a:pt x="359" y="58"/>
                    </a:cubicBezTo>
                    <a:cubicBezTo>
                      <a:pt x="357" y="59"/>
                      <a:pt x="357" y="59"/>
                      <a:pt x="357" y="59"/>
                    </a:cubicBezTo>
                    <a:cubicBezTo>
                      <a:pt x="354" y="61"/>
                      <a:pt x="354" y="61"/>
                      <a:pt x="354" y="61"/>
                    </a:cubicBezTo>
                    <a:cubicBezTo>
                      <a:pt x="351" y="61"/>
                      <a:pt x="351" y="61"/>
                      <a:pt x="351" y="61"/>
                    </a:cubicBezTo>
                    <a:cubicBezTo>
                      <a:pt x="351" y="61"/>
                      <a:pt x="351" y="61"/>
                      <a:pt x="351" y="61"/>
                    </a:cubicBezTo>
                    <a:cubicBezTo>
                      <a:pt x="349" y="61"/>
                      <a:pt x="349" y="61"/>
                      <a:pt x="349" y="61"/>
                    </a:cubicBezTo>
                    <a:cubicBezTo>
                      <a:pt x="348" y="60"/>
                      <a:pt x="348" y="60"/>
                      <a:pt x="348" y="60"/>
                    </a:cubicBezTo>
                    <a:cubicBezTo>
                      <a:pt x="347" y="59"/>
                      <a:pt x="347" y="59"/>
                      <a:pt x="347" y="59"/>
                    </a:cubicBezTo>
                    <a:cubicBezTo>
                      <a:pt x="347" y="60"/>
                      <a:pt x="347" y="60"/>
                      <a:pt x="347" y="60"/>
                    </a:cubicBezTo>
                    <a:cubicBezTo>
                      <a:pt x="347" y="61"/>
                      <a:pt x="347" y="61"/>
                      <a:pt x="347" y="61"/>
                    </a:cubicBezTo>
                    <a:cubicBezTo>
                      <a:pt x="348" y="61"/>
                      <a:pt x="348" y="61"/>
                      <a:pt x="348" y="61"/>
                    </a:cubicBezTo>
                    <a:cubicBezTo>
                      <a:pt x="348" y="62"/>
                      <a:pt x="348" y="62"/>
                      <a:pt x="348" y="62"/>
                    </a:cubicBezTo>
                    <a:cubicBezTo>
                      <a:pt x="346" y="62"/>
                      <a:pt x="346" y="62"/>
                      <a:pt x="346" y="62"/>
                    </a:cubicBezTo>
                    <a:cubicBezTo>
                      <a:pt x="344" y="61"/>
                      <a:pt x="344" y="61"/>
                      <a:pt x="344" y="61"/>
                    </a:cubicBezTo>
                    <a:cubicBezTo>
                      <a:pt x="343" y="62"/>
                      <a:pt x="343" y="62"/>
                      <a:pt x="343" y="62"/>
                    </a:cubicBezTo>
                    <a:cubicBezTo>
                      <a:pt x="342" y="62"/>
                      <a:pt x="342" y="62"/>
                      <a:pt x="342" y="62"/>
                    </a:cubicBezTo>
                    <a:cubicBezTo>
                      <a:pt x="341" y="61"/>
                      <a:pt x="341" y="61"/>
                      <a:pt x="341" y="61"/>
                    </a:cubicBezTo>
                    <a:cubicBezTo>
                      <a:pt x="339" y="61"/>
                      <a:pt x="339" y="61"/>
                      <a:pt x="339" y="61"/>
                    </a:cubicBezTo>
                    <a:cubicBezTo>
                      <a:pt x="338" y="62"/>
                      <a:pt x="338" y="62"/>
                      <a:pt x="338" y="62"/>
                    </a:cubicBezTo>
                    <a:cubicBezTo>
                      <a:pt x="335" y="64"/>
                      <a:pt x="335" y="64"/>
                      <a:pt x="335" y="64"/>
                    </a:cubicBezTo>
                    <a:cubicBezTo>
                      <a:pt x="334" y="63"/>
                      <a:pt x="334" y="63"/>
                      <a:pt x="334" y="63"/>
                    </a:cubicBezTo>
                    <a:cubicBezTo>
                      <a:pt x="333" y="63"/>
                      <a:pt x="333" y="63"/>
                      <a:pt x="333" y="63"/>
                    </a:cubicBezTo>
                    <a:cubicBezTo>
                      <a:pt x="331" y="63"/>
                      <a:pt x="331" y="63"/>
                      <a:pt x="331" y="63"/>
                    </a:cubicBezTo>
                    <a:cubicBezTo>
                      <a:pt x="330" y="62"/>
                      <a:pt x="330" y="62"/>
                      <a:pt x="330" y="62"/>
                    </a:cubicBezTo>
                    <a:cubicBezTo>
                      <a:pt x="328" y="62"/>
                      <a:pt x="328" y="62"/>
                      <a:pt x="328" y="62"/>
                    </a:cubicBezTo>
                    <a:cubicBezTo>
                      <a:pt x="328" y="63"/>
                      <a:pt x="328" y="63"/>
                      <a:pt x="328" y="63"/>
                    </a:cubicBezTo>
                    <a:cubicBezTo>
                      <a:pt x="326" y="63"/>
                      <a:pt x="326" y="63"/>
                      <a:pt x="326" y="63"/>
                    </a:cubicBezTo>
                    <a:cubicBezTo>
                      <a:pt x="324" y="63"/>
                      <a:pt x="324" y="63"/>
                      <a:pt x="324" y="63"/>
                    </a:cubicBezTo>
                    <a:cubicBezTo>
                      <a:pt x="322" y="61"/>
                      <a:pt x="322" y="61"/>
                      <a:pt x="322" y="61"/>
                    </a:cubicBezTo>
                    <a:cubicBezTo>
                      <a:pt x="321" y="61"/>
                      <a:pt x="321" y="61"/>
                      <a:pt x="321" y="61"/>
                    </a:cubicBezTo>
                    <a:cubicBezTo>
                      <a:pt x="321" y="61"/>
                      <a:pt x="321" y="61"/>
                      <a:pt x="321" y="61"/>
                    </a:cubicBezTo>
                    <a:cubicBezTo>
                      <a:pt x="318" y="61"/>
                      <a:pt x="318" y="61"/>
                      <a:pt x="318" y="61"/>
                    </a:cubicBezTo>
                    <a:cubicBezTo>
                      <a:pt x="317" y="60"/>
                      <a:pt x="317" y="60"/>
                      <a:pt x="317" y="60"/>
                    </a:cubicBezTo>
                    <a:cubicBezTo>
                      <a:pt x="315" y="60"/>
                      <a:pt x="315" y="60"/>
                      <a:pt x="315" y="60"/>
                    </a:cubicBezTo>
                    <a:cubicBezTo>
                      <a:pt x="314" y="60"/>
                      <a:pt x="314" y="60"/>
                      <a:pt x="314" y="60"/>
                    </a:cubicBezTo>
                    <a:cubicBezTo>
                      <a:pt x="312" y="60"/>
                      <a:pt x="312" y="60"/>
                      <a:pt x="312" y="60"/>
                    </a:cubicBezTo>
                    <a:cubicBezTo>
                      <a:pt x="310" y="59"/>
                      <a:pt x="310" y="59"/>
                      <a:pt x="310" y="59"/>
                    </a:cubicBezTo>
                    <a:cubicBezTo>
                      <a:pt x="309" y="60"/>
                      <a:pt x="309" y="60"/>
                      <a:pt x="309" y="60"/>
                    </a:cubicBezTo>
                    <a:cubicBezTo>
                      <a:pt x="308" y="61"/>
                      <a:pt x="308" y="61"/>
                      <a:pt x="308" y="61"/>
                    </a:cubicBezTo>
                    <a:cubicBezTo>
                      <a:pt x="306" y="61"/>
                      <a:pt x="306" y="61"/>
                      <a:pt x="306" y="61"/>
                    </a:cubicBezTo>
                    <a:cubicBezTo>
                      <a:pt x="304" y="61"/>
                      <a:pt x="304" y="61"/>
                      <a:pt x="304" y="61"/>
                    </a:cubicBezTo>
                    <a:cubicBezTo>
                      <a:pt x="303" y="62"/>
                      <a:pt x="303" y="62"/>
                      <a:pt x="303" y="62"/>
                    </a:cubicBezTo>
                    <a:cubicBezTo>
                      <a:pt x="302" y="62"/>
                      <a:pt x="302" y="62"/>
                      <a:pt x="302" y="62"/>
                    </a:cubicBezTo>
                    <a:cubicBezTo>
                      <a:pt x="302" y="62"/>
                      <a:pt x="302" y="62"/>
                      <a:pt x="302" y="62"/>
                    </a:cubicBezTo>
                    <a:cubicBezTo>
                      <a:pt x="301" y="61"/>
                      <a:pt x="301" y="61"/>
                      <a:pt x="301" y="61"/>
                    </a:cubicBezTo>
                    <a:cubicBezTo>
                      <a:pt x="300" y="60"/>
                      <a:pt x="300" y="60"/>
                      <a:pt x="300" y="60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298" y="60"/>
                      <a:pt x="298" y="60"/>
                      <a:pt x="298" y="60"/>
                    </a:cubicBezTo>
                    <a:cubicBezTo>
                      <a:pt x="297" y="60"/>
                      <a:pt x="297" y="60"/>
                      <a:pt x="297" y="60"/>
                    </a:cubicBezTo>
                    <a:cubicBezTo>
                      <a:pt x="297" y="61"/>
                      <a:pt x="297" y="61"/>
                      <a:pt x="297" y="61"/>
                    </a:cubicBezTo>
                    <a:cubicBezTo>
                      <a:pt x="297" y="61"/>
                      <a:pt x="297" y="61"/>
                      <a:pt x="297" y="61"/>
                    </a:cubicBezTo>
                    <a:cubicBezTo>
                      <a:pt x="299" y="61"/>
                      <a:pt x="299" y="61"/>
                      <a:pt x="299" y="61"/>
                    </a:cubicBezTo>
                    <a:cubicBezTo>
                      <a:pt x="300" y="62"/>
                      <a:pt x="300" y="62"/>
                      <a:pt x="300" y="62"/>
                    </a:cubicBezTo>
                    <a:cubicBezTo>
                      <a:pt x="301" y="62"/>
                      <a:pt x="301" y="62"/>
                      <a:pt x="301" y="62"/>
                    </a:cubicBezTo>
                    <a:cubicBezTo>
                      <a:pt x="300" y="64"/>
                      <a:pt x="300" y="64"/>
                      <a:pt x="300" y="64"/>
                    </a:cubicBezTo>
                    <a:cubicBezTo>
                      <a:pt x="299" y="64"/>
                      <a:pt x="299" y="64"/>
                      <a:pt x="299" y="64"/>
                    </a:cubicBezTo>
                    <a:cubicBezTo>
                      <a:pt x="298" y="64"/>
                      <a:pt x="298" y="64"/>
                      <a:pt x="298" y="64"/>
                    </a:cubicBezTo>
                    <a:cubicBezTo>
                      <a:pt x="297" y="64"/>
                      <a:pt x="297" y="64"/>
                      <a:pt x="297" y="64"/>
                    </a:cubicBezTo>
                    <a:cubicBezTo>
                      <a:pt x="295" y="65"/>
                      <a:pt x="295" y="65"/>
                      <a:pt x="295" y="65"/>
                    </a:cubicBezTo>
                    <a:cubicBezTo>
                      <a:pt x="293" y="66"/>
                      <a:pt x="293" y="66"/>
                      <a:pt x="293" y="66"/>
                    </a:cubicBezTo>
                    <a:cubicBezTo>
                      <a:pt x="291" y="66"/>
                      <a:pt x="291" y="66"/>
                      <a:pt x="291" y="66"/>
                    </a:cubicBezTo>
                    <a:cubicBezTo>
                      <a:pt x="289" y="67"/>
                      <a:pt x="289" y="67"/>
                      <a:pt x="289" y="67"/>
                    </a:cubicBezTo>
                    <a:cubicBezTo>
                      <a:pt x="289" y="68"/>
                      <a:pt x="289" y="68"/>
                      <a:pt x="289" y="68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9"/>
                      <a:pt x="284" y="69"/>
                      <a:pt x="284" y="69"/>
                    </a:cubicBezTo>
                    <a:cubicBezTo>
                      <a:pt x="282" y="70"/>
                      <a:pt x="282" y="70"/>
                      <a:pt x="282" y="70"/>
                    </a:cubicBezTo>
                    <a:cubicBezTo>
                      <a:pt x="281" y="71"/>
                      <a:pt x="281" y="71"/>
                      <a:pt x="281" y="71"/>
                    </a:cubicBezTo>
                    <a:cubicBezTo>
                      <a:pt x="281" y="72"/>
                      <a:pt x="281" y="72"/>
                      <a:pt x="281" y="72"/>
                    </a:cubicBezTo>
                    <a:cubicBezTo>
                      <a:pt x="282" y="73"/>
                      <a:pt x="282" y="73"/>
                      <a:pt x="282" y="73"/>
                    </a:cubicBezTo>
                    <a:cubicBezTo>
                      <a:pt x="282" y="74"/>
                      <a:pt x="282" y="74"/>
                      <a:pt x="282" y="74"/>
                    </a:cubicBezTo>
                    <a:cubicBezTo>
                      <a:pt x="282" y="76"/>
                      <a:pt x="282" y="76"/>
                      <a:pt x="282" y="76"/>
                    </a:cubicBezTo>
                    <a:cubicBezTo>
                      <a:pt x="283" y="77"/>
                      <a:pt x="283" y="77"/>
                      <a:pt x="283" y="77"/>
                    </a:cubicBezTo>
                    <a:cubicBezTo>
                      <a:pt x="284" y="77"/>
                      <a:pt x="284" y="77"/>
                      <a:pt x="284" y="77"/>
                    </a:cubicBezTo>
                    <a:cubicBezTo>
                      <a:pt x="285" y="76"/>
                      <a:pt x="285" y="76"/>
                      <a:pt x="285" y="76"/>
                    </a:cubicBezTo>
                    <a:cubicBezTo>
                      <a:pt x="285" y="75"/>
                      <a:pt x="285" y="75"/>
                      <a:pt x="285" y="75"/>
                    </a:cubicBezTo>
                    <a:cubicBezTo>
                      <a:pt x="286" y="74"/>
                      <a:pt x="286" y="74"/>
                      <a:pt x="286" y="74"/>
                    </a:cubicBezTo>
                    <a:cubicBezTo>
                      <a:pt x="288" y="73"/>
                      <a:pt x="288" y="73"/>
                      <a:pt x="288" y="73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1" y="72"/>
                      <a:pt x="291" y="72"/>
                      <a:pt x="291" y="72"/>
                    </a:cubicBezTo>
                    <a:cubicBezTo>
                      <a:pt x="293" y="72"/>
                      <a:pt x="293" y="72"/>
                      <a:pt x="293" y="72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5" y="70"/>
                      <a:pt x="295" y="70"/>
                      <a:pt x="295" y="70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2" y="68"/>
                      <a:pt x="302" y="68"/>
                      <a:pt x="302" y="68"/>
                    </a:cubicBezTo>
                    <a:cubicBezTo>
                      <a:pt x="302" y="69"/>
                      <a:pt x="302" y="69"/>
                      <a:pt x="302" y="69"/>
                    </a:cubicBezTo>
                    <a:cubicBezTo>
                      <a:pt x="302" y="70"/>
                      <a:pt x="302" y="70"/>
                      <a:pt x="302" y="70"/>
                    </a:cubicBezTo>
                    <a:cubicBezTo>
                      <a:pt x="303" y="70"/>
                      <a:pt x="303" y="70"/>
                      <a:pt x="303" y="70"/>
                    </a:cubicBezTo>
                    <a:cubicBezTo>
                      <a:pt x="304" y="69"/>
                      <a:pt x="304" y="69"/>
                      <a:pt x="304" y="69"/>
                    </a:cubicBezTo>
                    <a:cubicBezTo>
                      <a:pt x="304" y="67"/>
                      <a:pt x="304" y="67"/>
                      <a:pt x="304" y="67"/>
                    </a:cubicBezTo>
                    <a:cubicBezTo>
                      <a:pt x="305" y="66"/>
                      <a:pt x="305" y="66"/>
                      <a:pt x="305" y="66"/>
                    </a:cubicBezTo>
                    <a:cubicBezTo>
                      <a:pt x="306" y="65"/>
                      <a:pt x="306" y="65"/>
                      <a:pt x="306" y="65"/>
                    </a:cubicBezTo>
                    <a:cubicBezTo>
                      <a:pt x="308" y="66"/>
                      <a:pt x="308" y="66"/>
                      <a:pt x="308" y="66"/>
                    </a:cubicBezTo>
                    <a:cubicBezTo>
                      <a:pt x="309" y="66"/>
                      <a:pt x="309" y="66"/>
                      <a:pt x="309" y="66"/>
                    </a:cubicBezTo>
                    <a:cubicBezTo>
                      <a:pt x="311" y="66"/>
                      <a:pt x="311" y="66"/>
                      <a:pt x="311" y="66"/>
                    </a:cubicBezTo>
                    <a:cubicBezTo>
                      <a:pt x="314" y="66"/>
                      <a:pt x="314" y="66"/>
                      <a:pt x="314" y="66"/>
                    </a:cubicBezTo>
                    <a:cubicBezTo>
                      <a:pt x="315" y="67"/>
                      <a:pt x="315" y="67"/>
                      <a:pt x="315" y="67"/>
                    </a:cubicBezTo>
                    <a:cubicBezTo>
                      <a:pt x="318" y="67"/>
                      <a:pt x="318" y="67"/>
                      <a:pt x="318" y="67"/>
                    </a:cubicBezTo>
                    <a:cubicBezTo>
                      <a:pt x="322" y="66"/>
                      <a:pt x="322" y="66"/>
                      <a:pt x="322" y="66"/>
                    </a:cubicBezTo>
                    <a:cubicBezTo>
                      <a:pt x="323" y="67"/>
                      <a:pt x="323" y="67"/>
                      <a:pt x="323" y="67"/>
                    </a:cubicBezTo>
                    <a:cubicBezTo>
                      <a:pt x="325" y="68"/>
                      <a:pt x="325" y="68"/>
                      <a:pt x="325" y="68"/>
                    </a:cubicBezTo>
                    <a:cubicBezTo>
                      <a:pt x="328" y="68"/>
                      <a:pt x="328" y="68"/>
                      <a:pt x="328" y="68"/>
                    </a:cubicBezTo>
                    <a:cubicBezTo>
                      <a:pt x="332" y="69"/>
                      <a:pt x="332" y="69"/>
                      <a:pt x="332" y="69"/>
                    </a:cubicBezTo>
                    <a:cubicBezTo>
                      <a:pt x="333" y="69"/>
                      <a:pt x="333" y="69"/>
                      <a:pt x="333" y="69"/>
                    </a:cubicBezTo>
                    <a:cubicBezTo>
                      <a:pt x="334" y="70"/>
                      <a:pt x="334" y="70"/>
                      <a:pt x="334" y="70"/>
                    </a:cubicBezTo>
                    <a:cubicBezTo>
                      <a:pt x="334" y="70"/>
                      <a:pt x="334" y="70"/>
                      <a:pt x="334" y="70"/>
                    </a:cubicBezTo>
                    <a:cubicBezTo>
                      <a:pt x="334" y="71"/>
                      <a:pt x="334" y="71"/>
                      <a:pt x="334" y="71"/>
                    </a:cubicBezTo>
                    <a:cubicBezTo>
                      <a:pt x="333" y="72"/>
                      <a:pt x="333" y="72"/>
                      <a:pt x="333" y="72"/>
                    </a:cubicBezTo>
                    <a:cubicBezTo>
                      <a:pt x="332" y="74"/>
                      <a:pt x="332" y="74"/>
                      <a:pt x="332" y="74"/>
                    </a:cubicBezTo>
                    <a:cubicBezTo>
                      <a:pt x="331" y="76"/>
                      <a:pt x="331" y="76"/>
                      <a:pt x="331" y="76"/>
                    </a:cubicBezTo>
                    <a:cubicBezTo>
                      <a:pt x="330" y="76"/>
                      <a:pt x="330" y="76"/>
                      <a:pt x="330" y="76"/>
                    </a:cubicBezTo>
                    <a:cubicBezTo>
                      <a:pt x="326" y="77"/>
                      <a:pt x="326" y="77"/>
                      <a:pt x="326" y="77"/>
                    </a:cubicBezTo>
                    <a:cubicBezTo>
                      <a:pt x="324" y="78"/>
                      <a:pt x="324" y="78"/>
                      <a:pt x="324" y="78"/>
                    </a:cubicBezTo>
                    <a:cubicBezTo>
                      <a:pt x="323" y="78"/>
                      <a:pt x="323" y="78"/>
                      <a:pt x="323" y="78"/>
                    </a:cubicBezTo>
                    <a:cubicBezTo>
                      <a:pt x="322" y="77"/>
                      <a:pt x="322" y="77"/>
                      <a:pt x="322" y="77"/>
                    </a:cubicBezTo>
                    <a:cubicBezTo>
                      <a:pt x="321" y="77"/>
                      <a:pt x="321" y="77"/>
                      <a:pt x="321" y="77"/>
                    </a:cubicBezTo>
                    <a:cubicBezTo>
                      <a:pt x="321" y="79"/>
                      <a:pt x="321" y="79"/>
                      <a:pt x="321" y="79"/>
                    </a:cubicBezTo>
                    <a:cubicBezTo>
                      <a:pt x="321" y="80"/>
                      <a:pt x="321" y="80"/>
                      <a:pt x="321" y="80"/>
                    </a:cubicBezTo>
                    <a:cubicBezTo>
                      <a:pt x="321" y="82"/>
                      <a:pt x="321" y="82"/>
                      <a:pt x="321" y="82"/>
                    </a:cubicBezTo>
                    <a:cubicBezTo>
                      <a:pt x="321" y="83"/>
                      <a:pt x="321" y="83"/>
                      <a:pt x="321" y="83"/>
                    </a:cubicBezTo>
                    <a:cubicBezTo>
                      <a:pt x="321" y="83"/>
                      <a:pt x="321" y="83"/>
                      <a:pt x="321" y="83"/>
                    </a:cubicBezTo>
                    <a:cubicBezTo>
                      <a:pt x="324" y="82"/>
                      <a:pt x="324" y="82"/>
                      <a:pt x="324" y="82"/>
                    </a:cubicBezTo>
                    <a:cubicBezTo>
                      <a:pt x="326" y="82"/>
                      <a:pt x="326" y="82"/>
                      <a:pt x="326" y="82"/>
                    </a:cubicBezTo>
                    <a:cubicBezTo>
                      <a:pt x="328" y="81"/>
                      <a:pt x="328" y="81"/>
                      <a:pt x="328" y="81"/>
                    </a:cubicBezTo>
                    <a:cubicBezTo>
                      <a:pt x="328" y="81"/>
                      <a:pt x="331" y="81"/>
                      <a:pt x="331" y="81"/>
                    </a:cubicBezTo>
                    <a:cubicBezTo>
                      <a:pt x="332" y="81"/>
                      <a:pt x="335" y="82"/>
                      <a:pt x="335" y="82"/>
                    </a:cubicBezTo>
                    <a:cubicBezTo>
                      <a:pt x="336" y="82"/>
                      <a:pt x="336" y="82"/>
                      <a:pt x="336" y="82"/>
                    </a:cubicBezTo>
                    <a:cubicBezTo>
                      <a:pt x="337" y="83"/>
                      <a:pt x="337" y="83"/>
                      <a:pt x="337" y="83"/>
                    </a:cubicBezTo>
                    <a:cubicBezTo>
                      <a:pt x="338" y="82"/>
                      <a:pt x="338" y="82"/>
                      <a:pt x="338" y="82"/>
                    </a:cubicBezTo>
                    <a:cubicBezTo>
                      <a:pt x="339" y="81"/>
                      <a:pt x="339" y="81"/>
                      <a:pt x="339" y="81"/>
                    </a:cubicBezTo>
                    <a:cubicBezTo>
                      <a:pt x="339" y="81"/>
                      <a:pt x="339" y="81"/>
                      <a:pt x="339" y="81"/>
                    </a:cubicBezTo>
                    <a:cubicBezTo>
                      <a:pt x="340" y="81"/>
                      <a:pt x="340" y="81"/>
                      <a:pt x="340" y="81"/>
                    </a:cubicBezTo>
                    <a:cubicBezTo>
                      <a:pt x="341" y="82"/>
                      <a:pt x="341" y="82"/>
                      <a:pt x="341" y="82"/>
                    </a:cubicBezTo>
                    <a:cubicBezTo>
                      <a:pt x="343" y="80"/>
                      <a:pt x="343" y="80"/>
                      <a:pt x="343" y="80"/>
                    </a:cubicBezTo>
                    <a:cubicBezTo>
                      <a:pt x="344" y="77"/>
                      <a:pt x="344" y="77"/>
                      <a:pt x="344" y="77"/>
                    </a:cubicBezTo>
                    <a:cubicBezTo>
                      <a:pt x="344" y="75"/>
                      <a:pt x="344" y="75"/>
                      <a:pt x="344" y="75"/>
                    </a:cubicBezTo>
                    <a:cubicBezTo>
                      <a:pt x="344" y="73"/>
                      <a:pt x="344" y="73"/>
                      <a:pt x="344" y="73"/>
                    </a:cubicBezTo>
                    <a:cubicBezTo>
                      <a:pt x="344" y="73"/>
                      <a:pt x="344" y="73"/>
                      <a:pt x="344" y="73"/>
                    </a:cubicBezTo>
                    <a:cubicBezTo>
                      <a:pt x="344" y="71"/>
                      <a:pt x="344" y="71"/>
                      <a:pt x="344" y="71"/>
                    </a:cubicBezTo>
                    <a:cubicBezTo>
                      <a:pt x="346" y="70"/>
                      <a:pt x="346" y="70"/>
                      <a:pt x="346" y="70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50" y="71"/>
                      <a:pt x="350" y="71"/>
                      <a:pt x="350" y="71"/>
                    </a:cubicBezTo>
                    <a:cubicBezTo>
                      <a:pt x="352" y="71"/>
                      <a:pt x="352" y="71"/>
                      <a:pt x="352" y="71"/>
                    </a:cubicBezTo>
                    <a:cubicBezTo>
                      <a:pt x="354" y="70"/>
                      <a:pt x="354" y="70"/>
                      <a:pt x="354" y="70"/>
                    </a:cubicBezTo>
                    <a:cubicBezTo>
                      <a:pt x="356" y="71"/>
                      <a:pt x="356" y="71"/>
                      <a:pt x="356" y="71"/>
                    </a:cubicBezTo>
                    <a:cubicBezTo>
                      <a:pt x="356" y="73"/>
                      <a:pt x="356" y="73"/>
                      <a:pt x="356" y="73"/>
                    </a:cubicBezTo>
                    <a:cubicBezTo>
                      <a:pt x="356" y="76"/>
                      <a:pt x="356" y="76"/>
                      <a:pt x="356" y="76"/>
                    </a:cubicBezTo>
                    <a:cubicBezTo>
                      <a:pt x="356" y="78"/>
                      <a:pt x="356" y="78"/>
                      <a:pt x="356" y="78"/>
                    </a:cubicBezTo>
                    <a:cubicBezTo>
                      <a:pt x="354" y="80"/>
                      <a:pt x="354" y="80"/>
                      <a:pt x="354" y="80"/>
                    </a:cubicBezTo>
                    <a:cubicBezTo>
                      <a:pt x="353" y="84"/>
                      <a:pt x="353" y="84"/>
                      <a:pt x="353" y="84"/>
                    </a:cubicBezTo>
                    <a:cubicBezTo>
                      <a:pt x="353" y="86"/>
                      <a:pt x="353" y="86"/>
                      <a:pt x="353" y="86"/>
                    </a:cubicBezTo>
                    <a:cubicBezTo>
                      <a:pt x="352" y="88"/>
                      <a:pt x="352" y="88"/>
                      <a:pt x="352" y="88"/>
                    </a:cubicBezTo>
                    <a:cubicBezTo>
                      <a:pt x="346" y="93"/>
                      <a:pt x="346" y="93"/>
                      <a:pt x="346" y="93"/>
                    </a:cubicBezTo>
                    <a:cubicBezTo>
                      <a:pt x="345" y="93"/>
                      <a:pt x="345" y="93"/>
                      <a:pt x="345" y="93"/>
                    </a:cubicBezTo>
                    <a:cubicBezTo>
                      <a:pt x="345" y="92"/>
                      <a:pt x="345" y="92"/>
                      <a:pt x="345" y="92"/>
                    </a:cubicBezTo>
                    <a:cubicBezTo>
                      <a:pt x="343" y="93"/>
                      <a:pt x="343" y="93"/>
                      <a:pt x="343" y="93"/>
                    </a:cubicBezTo>
                    <a:cubicBezTo>
                      <a:pt x="342" y="94"/>
                      <a:pt x="342" y="94"/>
                      <a:pt x="342" y="94"/>
                    </a:cubicBezTo>
                    <a:cubicBezTo>
                      <a:pt x="341" y="94"/>
                      <a:pt x="341" y="94"/>
                      <a:pt x="341" y="94"/>
                    </a:cubicBezTo>
                    <a:cubicBezTo>
                      <a:pt x="340" y="94"/>
                      <a:pt x="340" y="94"/>
                      <a:pt x="340" y="94"/>
                    </a:cubicBezTo>
                    <a:cubicBezTo>
                      <a:pt x="339" y="96"/>
                      <a:pt x="339" y="96"/>
                      <a:pt x="339" y="96"/>
                    </a:cubicBezTo>
                    <a:cubicBezTo>
                      <a:pt x="339" y="97"/>
                      <a:pt x="339" y="97"/>
                      <a:pt x="339" y="97"/>
                    </a:cubicBezTo>
                    <a:cubicBezTo>
                      <a:pt x="337" y="98"/>
                      <a:pt x="337" y="98"/>
                      <a:pt x="337" y="98"/>
                    </a:cubicBezTo>
                    <a:cubicBezTo>
                      <a:pt x="336" y="100"/>
                      <a:pt x="336" y="100"/>
                      <a:pt x="336" y="100"/>
                    </a:cubicBezTo>
                    <a:cubicBezTo>
                      <a:pt x="335" y="99"/>
                      <a:pt x="335" y="99"/>
                      <a:pt x="335" y="99"/>
                    </a:cubicBezTo>
                    <a:cubicBezTo>
                      <a:pt x="334" y="99"/>
                      <a:pt x="334" y="99"/>
                      <a:pt x="334" y="99"/>
                    </a:cubicBezTo>
                    <a:cubicBezTo>
                      <a:pt x="334" y="100"/>
                      <a:pt x="334" y="100"/>
                      <a:pt x="334" y="100"/>
                    </a:cubicBezTo>
                    <a:cubicBezTo>
                      <a:pt x="334" y="101"/>
                      <a:pt x="334" y="101"/>
                      <a:pt x="334" y="101"/>
                    </a:cubicBezTo>
                    <a:cubicBezTo>
                      <a:pt x="334" y="102"/>
                      <a:pt x="334" y="102"/>
                      <a:pt x="334" y="102"/>
                    </a:cubicBezTo>
                    <a:cubicBezTo>
                      <a:pt x="332" y="105"/>
                      <a:pt x="332" y="105"/>
                      <a:pt x="332" y="105"/>
                    </a:cubicBezTo>
                    <a:cubicBezTo>
                      <a:pt x="330" y="106"/>
                      <a:pt x="330" y="106"/>
                      <a:pt x="330" y="106"/>
                    </a:cubicBezTo>
                    <a:cubicBezTo>
                      <a:pt x="329" y="107"/>
                      <a:pt x="329" y="107"/>
                      <a:pt x="329" y="107"/>
                    </a:cubicBezTo>
                    <a:cubicBezTo>
                      <a:pt x="327" y="109"/>
                      <a:pt x="327" y="109"/>
                      <a:pt x="327" y="109"/>
                    </a:cubicBezTo>
                    <a:cubicBezTo>
                      <a:pt x="325" y="111"/>
                      <a:pt x="325" y="111"/>
                      <a:pt x="325" y="111"/>
                    </a:cubicBezTo>
                    <a:cubicBezTo>
                      <a:pt x="324" y="112"/>
                      <a:pt x="324" y="112"/>
                      <a:pt x="324" y="112"/>
                    </a:cubicBezTo>
                    <a:cubicBezTo>
                      <a:pt x="321" y="113"/>
                      <a:pt x="321" y="113"/>
                      <a:pt x="321" y="113"/>
                    </a:cubicBezTo>
                    <a:cubicBezTo>
                      <a:pt x="321" y="114"/>
                      <a:pt x="321" y="114"/>
                      <a:pt x="321" y="114"/>
                    </a:cubicBezTo>
                    <a:cubicBezTo>
                      <a:pt x="319" y="114"/>
                      <a:pt x="319" y="114"/>
                      <a:pt x="319" y="114"/>
                    </a:cubicBezTo>
                    <a:cubicBezTo>
                      <a:pt x="319" y="116"/>
                      <a:pt x="319" y="116"/>
                      <a:pt x="319" y="116"/>
                    </a:cubicBezTo>
                    <a:cubicBezTo>
                      <a:pt x="319" y="118"/>
                      <a:pt x="319" y="118"/>
                      <a:pt x="319" y="118"/>
                    </a:cubicBezTo>
                    <a:cubicBezTo>
                      <a:pt x="319" y="120"/>
                      <a:pt x="319" y="120"/>
                      <a:pt x="319" y="120"/>
                    </a:cubicBezTo>
                    <a:cubicBezTo>
                      <a:pt x="319" y="121"/>
                      <a:pt x="319" y="121"/>
                      <a:pt x="319" y="121"/>
                    </a:cubicBezTo>
                    <a:cubicBezTo>
                      <a:pt x="320" y="120"/>
                      <a:pt x="320" y="120"/>
                      <a:pt x="320" y="12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2" y="116"/>
                      <a:pt x="322" y="116"/>
                    </a:cubicBezTo>
                    <a:cubicBezTo>
                      <a:pt x="323" y="114"/>
                      <a:pt x="323" y="114"/>
                      <a:pt x="323" y="114"/>
                    </a:cubicBezTo>
                    <a:cubicBezTo>
                      <a:pt x="325" y="113"/>
                      <a:pt x="325" y="113"/>
                      <a:pt x="325" y="113"/>
                    </a:cubicBezTo>
                    <a:cubicBezTo>
                      <a:pt x="326" y="113"/>
                      <a:pt x="326" y="113"/>
                      <a:pt x="326" y="113"/>
                    </a:cubicBezTo>
                    <a:cubicBezTo>
                      <a:pt x="326" y="114"/>
                      <a:pt x="326" y="114"/>
                      <a:pt x="326" y="114"/>
                    </a:cubicBezTo>
                    <a:cubicBezTo>
                      <a:pt x="328" y="112"/>
                      <a:pt x="328" y="112"/>
                      <a:pt x="328" y="112"/>
                    </a:cubicBezTo>
                    <a:cubicBezTo>
                      <a:pt x="331" y="109"/>
                      <a:pt x="331" y="109"/>
                      <a:pt x="331" y="109"/>
                    </a:cubicBezTo>
                    <a:cubicBezTo>
                      <a:pt x="332" y="109"/>
                      <a:pt x="332" y="109"/>
                      <a:pt x="332" y="109"/>
                    </a:cubicBezTo>
                    <a:cubicBezTo>
                      <a:pt x="332" y="107"/>
                      <a:pt x="332" y="107"/>
                      <a:pt x="332" y="107"/>
                    </a:cubicBezTo>
                    <a:cubicBezTo>
                      <a:pt x="336" y="105"/>
                      <a:pt x="336" y="105"/>
                      <a:pt x="336" y="105"/>
                    </a:cubicBezTo>
                    <a:cubicBezTo>
                      <a:pt x="338" y="102"/>
                      <a:pt x="338" y="102"/>
                      <a:pt x="338" y="102"/>
                    </a:cubicBezTo>
                    <a:cubicBezTo>
                      <a:pt x="339" y="102"/>
                      <a:pt x="339" y="102"/>
                      <a:pt x="339" y="102"/>
                    </a:cubicBezTo>
                    <a:cubicBezTo>
                      <a:pt x="340" y="102"/>
                      <a:pt x="340" y="102"/>
                      <a:pt x="340" y="102"/>
                    </a:cubicBezTo>
                    <a:cubicBezTo>
                      <a:pt x="342" y="102"/>
                      <a:pt x="342" y="102"/>
                      <a:pt x="342" y="102"/>
                    </a:cubicBezTo>
                    <a:cubicBezTo>
                      <a:pt x="343" y="101"/>
                      <a:pt x="343" y="101"/>
                      <a:pt x="343" y="101"/>
                    </a:cubicBezTo>
                    <a:cubicBezTo>
                      <a:pt x="343" y="100"/>
                      <a:pt x="343" y="100"/>
                      <a:pt x="343" y="100"/>
                    </a:cubicBezTo>
                    <a:cubicBezTo>
                      <a:pt x="345" y="100"/>
                      <a:pt x="345" y="100"/>
                      <a:pt x="345" y="100"/>
                    </a:cubicBezTo>
                    <a:cubicBezTo>
                      <a:pt x="348" y="100"/>
                      <a:pt x="348" y="100"/>
                      <a:pt x="348" y="100"/>
                    </a:cubicBezTo>
                    <a:cubicBezTo>
                      <a:pt x="351" y="98"/>
                      <a:pt x="351" y="98"/>
                      <a:pt x="351" y="98"/>
                    </a:cubicBezTo>
                    <a:cubicBezTo>
                      <a:pt x="352" y="96"/>
                      <a:pt x="352" y="96"/>
                      <a:pt x="352" y="96"/>
                    </a:cubicBezTo>
                    <a:cubicBezTo>
                      <a:pt x="354" y="96"/>
                      <a:pt x="354" y="96"/>
                      <a:pt x="354" y="96"/>
                    </a:cubicBezTo>
                    <a:cubicBezTo>
                      <a:pt x="355" y="95"/>
                      <a:pt x="355" y="95"/>
                      <a:pt x="355" y="95"/>
                    </a:cubicBezTo>
                    <a:cubicBezTo>
                      <a:pt x="356" y="94"/>
                      <a:pt x="356" y="94"/>
                      <a:pt x="356" y="94"/>
                    </a:cubicBezTo>
                    <a:cubicBezTo>
                      <a:pt x="358" y="94"/>
                      <a:pt x="358" y="94"/>
                      <a:pt x="358" y="94"/>
                    </a:cubicBezTo>
                    <a:cubicBezTo>
                      <a:pt x="359" y="93"/>
                      <a:pt x="359" y="93"/>
                      <a:pt x="359" y="93"/>
                    </a:cubicBezTo>
                    <a:cubicBezTo>
                      <a:pt x="362" y="90"/>
                      <a:pt x="362" y="90"/>
                      <a:pt x="362" y="90"/>
                    </a:cubicBezTo>
                    <a:cubicBezTo>
                      <a:pt x="362" y="88"/>
                      <a:pt x="362" y="88"/>
                      <a:pt x="362" y="88"/>
                    </a:cubicBezTo>
                    <a:cubicBezTo>
                      <a:pt x="362" y="87"/>
                      <a:pt x="362" y="87"/>
                      <a:pt x="362" y="87"/>
                    </a:cubicBezTo>
                    <a:cubicBezTo>
                      <a:pt x="363" y="86"/>
                      <a:pt x="363" y="86"/>
                      <a:pt x="363" y="86"/>
                    </a:cubicBezTo>
                    <a:cubicBezTo>
                      <a:pt x="364" y="85"/>
                      <a:pt x="364" y="85"/>
                      <a:pt x="364" y="85"/>
                    </a:cubicBezTo>
                    <a:cubicBezTo>
                      <a:pt x="365" y="84"/>
                      <a:pt x="365" y="84"/>
                      <a:pt x="365" y="84"/>
                    </a:cubicBezTo>
                    <a:cubicBezTo>
                      <a:pt x="365" y="85"/>
                      <a:pt x="365" y="85"/>
                      <a:pt x="365" y="85"/>
                    </a:cubicBezTo>
                    <a:cubicBezTo>
                      <a:pt x="366" y="86"/>
                      <a:pt x="366" y="86"/>
                      <a:pt x="366" y="86"/>
                    </a:cubicBezTo>
                    <a:cubicBezTo>
                      <a:pt x="366" y="88"/>
                      <a:pt x="366" y="88"/>
                      <a:pt x="366" y="88"/>
                    </a:cubicBezTo>
                    <a:cubicBezTo>
                      <a:pt x="365" y="89"/>
                      <a:pt x="365" y="89"/>
                      <a:pt x="365" y="89"/>
                    </a:cubicBezTo>
                    <a:cubicBezTo>
                      <a:pt x="366" y="90"/>
                      <a:pt x="366" y="90"/>
                      <a:pt x="366" y="90"/>
                    </a:cubicBezTo>
                    <a:cubicBezTo>
                      <a:pt x="366" y="93"/>
                      <a:pt x="366" y="93"/>
                      <a:pt x="366" y="93"/>
                    </a:cubicBezTo>
                    <a:cubicBezTo>
                      <a:pt x="366" y="93"/>
                      <a:pt x="366" y="93"/>
                      <a:pt x="366" y="93"/>
                    </a:cubicBezTo>
                    <a:cubicBezTo>
                      <a:pt x="366" y="95"/>
                      <a:pt x="366" y="95"/>
                      <a:pt x="366" y="95"/>
                    </a:cubicBezTo>
                    <a:cubicBezTo>
                      <a:pt x="367" y="94"/>
                      <a:pt x="367" y="94"/>
                      <a:pt x="367" y="94"/>
                    </a:cubicBezTo>
                    <a:cubicBezTo>
                      <a:pt x="367" y="92"/>
                      <a:pt x="367" y="92"/>
                      <a:pt x="367" y="92"/>
                    </a:cubicBezTo>
                    <a:cubicBezTo>
                      <a:pt x="368" y="91"/>
                      <a:pt x="368" y="91"/>
                      <a:pt x="368" y="91"/>
                    </a:cubicBezTo>
                    <a:cubicBezTo>
                      <a:pt x="368" y="90"/>
                      <a:pt x="368" y="90"/>
                      <a:pt x="368" y="90"/>
                    </a:cubicBezTo>
                    <a:cubicBezTo>
                      <a:pt x="368" y="88"/>
                      <a:pt x="368" y="88"/>
                      <a:pt x="368" y="88"/>
                    </a:cubicBezTo>
                    <a:cubicBezTo>
                      <a:pt x="368" y="87"/>
                      <a:pt x="368" y="87"/>
                      <a:pt x="368" y="87"/>
                    </a:cubicBezTo>
                    <a:cubicBezTo>
                      <a:pt x="369" y="88"/>
                      <a:pt x="369" y="88"/>
                      <a:pt x="369" y="88"/>
                    </a:cubicBezTo>
                    <a:cubicBezTo>
                      <a:pt x="369" y="89"/>
                      <a:pt x="369" y="89"/>
                      <a:pt x="369" y="89"/>
                    </a:cubicBezTo>
                    <a:cubicBezTo>
                      <a:pt x="370" y="90"/>
                      <a:pt x="370" y="90"/>
                      <a:pt x="370" y="90"/>
                    </a:cubicBezTo>
                    <a:cubicBezTo>
                      <a:pt x="372" y="90"/>
                      <a:pt x="372" y="90"/>
                      <a:pt x="372" y="90"/>
                    </a:cubicBezTo>
                    <a:cubicBezTo>
                      <a:pt x="374" y="90"/>
                      <a:pt x="374" y="90"/>
                      <a:pt x="374" y="90"/>
                    </a:cubicBezTo>
                    <a:cubicBezTo>
                      <a:pt x="374" y="88"/>
                      <a:pt x="374" y="88"/>
                      <a:pt x="374" y="88"/>
                    </a:cubicBezTo>
                    <a:cubicBezTo>
                      <a:pt x="374" y="88"/>
                      <a:pt x="374" y="88"/>
                      <a:pt x="374" y="88"/>
                    </a:cubicBezTo>
                    <a:cubicBezTo>
                      <a:pt x="374" y="87"/>
                      <a:pt x="374" y="87"/>
                      <a:pt x="374" y="87"/>
                    </a:cubicBezTo>
                    <a:cubicBezTo>
                      <a:pt x="375" y="87"/>
                      <a:pt x="375" y="87"/>
                      <a:pt x="375" y="87"/>
                    </a:cubicBezTo>
                    <a:cubicBezTo>
                      <a:pt x="375" y="85"/>
                      <a:pt x="375" y="85"/>
                      <a:pt x="375" y="85"/>
                    </a:cubicBezTo>
                    <a:cubicBezTo>
                      <a:pt x="376" y="83"/>
                      <a:pt x="376" y="83"/>
                      <a:pt x="376" y="83"/>
                    </a:cubicBezTo>
                    <a:cubicBezTo>
                      <a:pt x="375" y="82"/>
                      <a:pt x="375" y="82"/>
                      <a:pt x="375" y="82"/>
                    </a:cubicBezTo>
                    <a:cubicBezTo>
                      <a:pt x="376" y="81"/>
                      <a:pt x="376" y="81"/>
                      <a:pt x="376" y="81"/>
                    </a:cubicBezTo>
                    <a:cubicBezTo>
                      <a:pt x="377" y="80"/>
                      <a:pt x="377" y="80"/>
                      <a:pt x="377" y="80"/>
                    </a:cubicBezTo>
                    <a:cubicBezTo>
                      <a:pt x="377" y="81"/>
                      <a:pt x="377" y="81"/>
                      <a:pt x="377" y="81"/>
                    </a:cubicBezTo>
                    <a:cubicBezTo>
                      <a:pt x="379" y="82"/>
                      <a:pt x="379" y="82"/>
                      <a:pt x="379" y="82"/>
                    </a:cubicBezTo>
                    <a:cubicBezTo>
                      <a:pt x="381" y="81"/>
                      <a:pt x="381" y="81"/>
                      <a:pt x="381" y="81"/>
                    </a:cubicBezTo>
                    <a:cubicBezTo>
                      <a:pt x="382" y="80"/>
                      <a:pt x="382" y="80"/>
                      <a:pt x="382" y="80"/>
                    </a:cubicBezTo>
                    <a:cubicBezTo>
                      <a:pt x="385" y="79"/>
                      <a:pt x="385" y="79"/>
                      <a:pt x="385" y="79"/>
                    </a:cubicBezTo>
                    <a:cubicBezTo>
                      <a:pt x="387" y="79"/>
                      <a:pt x="387" y="79"/>
                      <a:pt x="387" y="79"/>
                    </a:cubicBezTo>
                    <a:cubicBezTo>
                      <a:pt x="388" y="79"/>
                      <a:pt x="388" y="79"/>
                      <a:pt x="388" y="79"/>
                    </a:cubicBezTo>
                    <a:cubicBezTo>
                      <a:pt x="390" y="79"/>
                      <a:pt x="390" y="79"/>
                      <a:pt x="390" y="79"/>
                    </a:cubicBezTo>
                    <a:cubicBezTo>
                      <a:pt x="393" y="81"/>
                      <a:pt x="393" y="81"/>
                      <a:pt x="393" y="81"/>
                    </a:cubicBezTo>
                    <a:cubicBezTo>
                      <a:pt x="396" y="82"/>
                      <a:pt x="396" y="82"/>
                      <a:pt x="396" y="82"/>
                    </a:cubicBezTo>
                    <a:cubicBezTo>
                      <a:pt x="397" y="82"/>
                      <a:pt x="397" y="82"/>
                      <a:pt x="397" y="82"/>
                    </a:cubicBezTo>
                    <a:cubicBezTo>
                      <a:pt x="399" y="83"/>
                      <a:pt x="399" y="83"/>
                      <a:pt x="399" y="83"/>
                    </a:cubicBezTo>
                    <a:cubicBezTo>
                      <a:pt x="400" y="84"/>
                      <a:pt x="400" y="84"/>
                      <a:pt x="400" y="84"/>
                    </a:cubicBezTo>
                    <a:cubicBezTo>
                      <a:pt x="401" y="84"/>
                      <a:pt x="401" y="84"/>
                      <a:pt x="401" y="84"/>
                    </a:cubicBezTo>
                    <a:cubicBezTo>
                      <a:pt x="403" y="85"/>
                      <a:pt x="403" y="85"/>
                      <a:pt x="403" y="85"/>
                    </a:cubicBezTo>
                    <a:cubicBezTo>
                      <a:pt x="404" y="86"/>
                      <a:pt x="404" y="86"/>
                      <a:pt x="404" y="86"/>
                    </a:cubicBezTo>
                    <a:cubicBezTo>
                      <a:pt x="404" y="87"/>
                      <a:pt x="404" y="87"/>
                      <a:pt x="404" y="87"/>
                    </a:cubicBezTo>
                    <a:cubicBezTo>
                      <a:pt x="407" y="90"/>
                      <a:pt x="407" y="90"/>
                      <a:pt x="407" y="90"/>
                    </a:cubicBezTo>
                    <a:cubicBezTo>
                      <a:pt x="407" y="91"/>
                      <a:pt x="407" y="91"/>
                      <a:pt x="407" y="91"/>
                    </a:cubicBezTo>
                    <a:cubicBezTo>
                      <a:pt x="409" y="92"/>
                      <a:pt x="409" y="92"/>
                      <a:pt x="409" y="92"/>
                    </a:cubicBezTo>
                    <a:cubicBezTo>
                      <a:pt x="410" y="95"/>
                      <a:pt x="410" y="95"/>
                      <a:pt x="410" y="95"/>
                    </a:cubicBezTo>
                    <a:cubicBezTo>
                      <a:pt x="409" y="97"/>
                      <a:pt x="409" y="97"/>
                      <a:pt x="409" y="97"/>
                    </a:cubicBezTo>
                    <a:cubicBezTo>
                      <a:pt x="409" y="99"/>
                      <a:pt x="409" y="99"/>
                      <a:pt x="409" y="99"/>
                    </a:cubicBezTo>
                    <a:cubicBezTo>
                      <a:pt x="407" y="99"/>
                      <a:pt x="407" y="99"/>
                      <a:pt x="407" y="99"/>
                    </a:cubicBezTo>
                    <a:cubicBezTo>
                      <a:pt x="405" y="101"/>
                      <a:pt x="405" y="101"/>
                      <a:pt x="405" y="101"/>
                    </a:cubicBezTo>
                    <a:cubicBezTo>
                      <a:pt x="405" y="102"/>
                      <a:pt x="405" y="102"/>
                      <a:pt x="405" y="102"/>
                    </a:cubicBezTo>
                    <a:cubicBezTo>
                      <a:pt x="404" y="102"/>
                      <a:pt x="404" y="102"/>
                      <a:pt x="404" y="102"/>
                    </a:cubicBezTo>
                    <a:cubicBezTo>
                      <a:pt x="402" y="103"/>
                      <a:pt x="402" y="103"/>
                      <a:pt x="402" y="103"/>
                    </a:cubicBezTo>
                    <a:cubicBezTo>
                      <a:pt x="400" y="106"/>
                      <a:pt x="400" y="106"/>
                      <a:pt x="400" y="106"/>
                    </a:cubicBezTo>
                    <a:cubicBezTo>
                      <a:pt x="399" y="107"/>
                      <a:pt x="399" y="107"/>
                      <a:pt x="399" y="107"/>
                    </a:cubicBezTo>
                    <a:cubicBezTo>
                      <a:pt x="398" y="108"/>
                      <a:pt x="398" y="108"/>
                      <a:pt x="398" y="108"/>
                    </a:cubicBezTo>
                    <a:cubicBezTo>
                      <a:pt x="397" y="107"/>
                      <a:pt x="397" y="107"/>
                      <a:pt x="397" y="107"/>
                    </a:cubicBezTo>
                    <a:cubicBezTo>
                      <a:pt x="394" y="106"/>
                      <a:pt x="394" y="106"/>
                      <a:pt x="394" y="106"/>
                    </a:cubicBezTo>
                    <a:cubicBezTo>
                      <a:pt x="393" y="106"/>
                      <a:pt x="393" y="106"/>
                      <a:pt x="393" y="106"/>
                    </a:cubicBezTo>
                    <a:cubicBezTo>
                      <a:pt x="392" y="107"/>
                      <a:pt x="392" y="107"/>
                      <a:pt x="392" y="107"/>
                    </a:cubicBezTo>
                    <a:cubicBezTo>
                      <a:pt x="391" y="108"/>
                      <a:pt x="391" y="108"/>
                      <a:pt x="391" y="108"/>
                    </a:cubicBezTo>
                    <a:cubicBezTo>
                      <a:pt x="391" y="109"/>
                      <a:pt x="391" y="109"/>
                      <a:pt x="391" y="109"/>
                    </a:cubicBezTo>
                    <a:cubicBezTo>
                      <a:pt x="392" y="110"/>
                      <a:pt x="392" y="110"/>
                      <a:pt x="392" y="110"/>
                    </a:cubicBezTo>
                    <a:cubicBezTo>
                      <a:pt x="392" y="111"/>
                      <a:pt x="392" y="111"/>
                      <a:pt x="392" y="111"/>
                    </a:cubicBezTo>
                    <a:cubicBezTo>
                      <a:pt x="393" y="112"/>
                      <a:pt x="393" y="112"/>
                      <a:pt x="393" y="112"/>
                    </a:cubicBezTo>
                    <a:cubicBezTo>
                      <a:pt x="393" y="113"/>
                      <a:pt x="393" y="113"/>
                      <a:pt x="393" y="113"/>
                    </a:cubicBezTo>
                    <a:cubicBezTo>
                      <a:pt x="393" y="114"/>
                      <a:pt x="393" y="114"/>
                      <a:pt x="393" y="114"/>
                    </a:cubicBezTo>
                    <a:cubicBezTo>
                      <a:pt x="393" y="115"/>
                      <a:pt x="393" y="115"/>
                      <a:pt x="393" y="115"/>
                    </a:cubicBezTo>
                    <a:cubicBezTo>
                      <a:pt x="391" y="115"/>
                      <a:pt x="391" y="115"/>
                      <a:pt x="391" y="115"/>
                    </a:cubicBezTo>
                    <a:cubicBezTo>
                      <a:pt x="390" y="115"/>
                      <a:pt x="390" y="115"/>
                      <a:pt x="390" y="115"/>
                    </a:cubicBezTo>
                    <a:cubicBezTo>
                      <a:pt x="387" y="117"/>
                      <a:pt x="387" y="117"/>
                      <a:pt x="387" y="117"/>
                    </a:cubicBezTo>
                    <a:cubicBezTo>
                      <a:pt x="385" y="118"/>
                      <a:pt x="385" y="118"/>
                      <a:pt x="385" y="118"/>
                    </a:cubicBezTo>
                    <a:cubicBezTo>
                      <a:pt x="384" y="118"/>
                      <a:pt x="384" y="118"/>
                      <a:pt x="384" y="118"/>
                    </a:cubicBezTo>
                    <a:cubicBezTo>
                      <a:pt x="383" y="118"/>
                      <a:pt x="383" y="118"/>
                      <a:pt x="383" y="118"/>
                    </a:cubicBezTo>
                    <a:cubicBezTo>
                      <a:pt x="381" y="117"/>
                      <a:pt x="381" y="117"/>
                      <a:pt x="381" y="117"/>
                    </a:cubicBezTo>
                    <a:cubicBezTo>
                      <a:pt x="380" y="117"/>
                      <a:pt x="380" y="117"/>
                      <a:pt x="380" y="117"/>
                    </a:cubicBezTo>
                    <a:cubicBezTo>
                      <a:pt x="378" y="117"/>
                      <a:pt x="378" y="117"/>
                      <a:pt x="378" y="117"/>
                    </a:cubicBezTo>
                    <a:cubicBezTo>
                      <a:pt x="378" y="116"/>
                      <a:pt x="378" y="116"/>
                      <a:pt x="378" y="116"/>
                    </a:cubicBezTo>
                    <a:cubicBezTo>
                      <a:pt x="376" y="116"/>
                      <a:pt x="376" y="116"/>
                      <a:pt x="376" y="116"/>
                    </a:cubicBezTo>
                    <a:cubicBezTo>
                      <a:pt x="376" y="115"/>
                      <a:pt x="376" y="115"/>
                      <a:pt x="376" y="115"/>
                    </a:cubicBezTo>
                    <a:cubicBezTo>
                      <a:pt x="375" y="115"/>
                      <a:pt x="375" y="115"/>
                      <a:pt x="375" y="115"/>
                    </a:cubicBezTo>
                    <a:cubicBezTo>
                      <a:pt x="375" y="116"/>
                      <a:pt x="375" y="116"/>
                      <a:pt x="375" y="116"/>
                    </a:cubicBezTo>
                    <a:cubicBezTo>
                      <a:pt x="374" y="116"/>
                      <a:pt x="374" y="116"/>
                      <a:pt x="374" y="116"/>
                    </a:cubicBezTo>
                    <a:cubicBezTo>
                      <a:pt x="374" y="116"/>
                      <a:pt x="374" y="116"/>
                      <a:pt x="374" y="116"/>
                    </a:cubicBezTo>
                    <a:cubicBezTo>
                      <a:pt x="372" y="116"/>
                      <a:pt x="372" y="116"/>
                      <a:pt x="372" y="116"/>
                    </a:cubicBezTo>
                    <a:cubicBezTo>
                      <a:pt x="372" y="117"/>
                      <a:pt x="372" y="117"/>
                      <a:pt x="372" y="117"/>
                    </a:cubicBezTo>
                    <a:cubicBezTo>
                      <a:pt x="371" y="118"/>
                      <a:pt x="371" y="118"/>
                      <a:pt x="371" y="118"/>
                    </a:cubicBezTo>
                    <a:cubicBezTo>
                      <a:pt x="370" y="118"/>
                      <a:pt x="370" y="118"/>
                      <a:pt x="370" y="118"/>
                    </a:cubicBezTo>
                    <a:cubicBezTo>
                      <a:pt x="369" y="117"/>
                      <a:pt x="369" y="117"/>
                      <a:pt x="369" y="117"/>
                    </a:cubicBezTo>
                    <a:cubicBezTo>
                      <a:pt x="368" y="118"/>
                      <a:pt x="368" y="118"/>
                      <a:pt x="368" y="118"/>
                    </a:cubicBezTo>
                    <a:cubicBezTo>
                      <a:pt x="367" y="118"/>
                      <a:pt x="367" y="118"/>
                      <a:pt x="367" y="118"/>
                    </a:cubicBezTo>
                    <a:cubicBezTo>
                      <a:pt x="365" y="118"/>
                      <a:pt x="365" y="118"/>
                      <a:pt x="365" y="118"/>
                    </a:cubicBezTo>
                    <a:cubicBezTo>
                      <a:pt x="364" y="118"/>
                      <a:pt x="364" y="118"/>
                      <a:pt x="364" y="118"/>
                    </a:cubicBezTo>
                    <a:cubicBezTo>
                      <a:pt x="362" y="118"/>
                      <a:pt x="362" y="118"/>
                      <a:pt x="362" y="118"/>
                    </a:cubicBezTo>
                    <a:cubicBezTo>
                      <a:pt x="360" y="119"/>
                      <a:pt x="360" y="119"/>
                      <a:pt x="360" y="119"/>
                    </a:cubicBezTo>
                    <a:cubicBezTo>
                      <a:pt x="359" y="119"/>
                      <a:pt x="359" y="119"/>
                      <a:pt x="359" y="119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59" y="120"/>
                      <a:pt x="359" y="120"/>
                      <a:pt x="359" y="120"/>
                    </a:cubicBezTo>
                    <a:cubicBezTo>
                      <a:pt x="360" y="120"/>
                      <a:pt x="360" y="120"/>
                      <a:pt x="360" y="120"/>
                    </a:cubicBezTo>
                    <a:cubicBezTo>
                      <a:pt x="364" y="119"/>
                      <a:pt x="364" y="119"/>
                      <a:pt x="364" y="119"/>
                    </a:cubicBezTo>
                    <a:cubicBezTo>
                      <a:pt x="365" y="119"/>
                      <a:pt x="365" y="119"/>
                      <a:pt x="365" y="119"/>
                    </a:cubicBezTo>
                    <a:cubicBezTo>
                      <a:pt x="366" y="119"/>
                      <a:pt x="366" y="119"/>
                      <a:pt x="366" y="119"/>
                    </a:cubicBezTo>
                    <a:cubicBezTo>
                      <a:pt x="368" y="120"/>
                      <a:pt x="368" y="120"/>
                      <a:pt x="368" y="120"/>
                    </a:cubicBezTo>
                    <a:cubicBezTo>
                      <a:pt x="370" y="120"/>
                      <a:pt x="370" y="120"/>
                      <a:pt x="370" y="120"/>
                    </a:cubicBezTo>
                    <a:cubicBezTo>
                      <a:pt x="374" y="120"/>
                      <a:pt x="374" y="120"/>
                      <a:pt x="374" y="120"/>
                    </a:cubicBezTo>
                    <a:cubicBezTo>
                      <a:pt x="375" y="121"/>
                      <a:pt x="375" y="121"/>
                      <a:pt x="375" y="121"/>
                    </a:cubicBezTo>
                    <a:cubicBezTo>
                      <a:pt x="376" y="121"/>
                      <a:pt x="376" y="121"/>
                      <a:pt x="376" y="121"/>
                    </a:cubicBezTo>
                    <a:cubicBezTo>
                      <a:pt x="377" y="120"/>
                      <a:pt x="377" y="120"/>
                      <a:pt x="377" y="120"/>
                    </a:cubicBezTo>
                    <a:cubicBezTo>
                      <a:pt x="379" y="120"/>
                      <a:pt x="379" y="120"/>
                      <a:pt x="379" y="120"/>
                    </a:cubicBezTo>
                    <a:cubicBezTo>
                      <a:pt x="380" y="120"/>
                      <a:pt x="380" y="120"/>
                      <a:pt x="380" y="120"/>
                    </a:cubicBezTo>
                    <a:cubicBezTo>
                      <a:pt x="380" y="121"/>
                      <a:pt x="380" y="121"/>
                      <a:pt x="380" y="121"/>
                    </a:cubicBezTo>
                    <a:cubicBezTo>
                      <a:pt x="382" y="122"/>
                      <a:pt x="382" y="122"/>
                      <a:pt x="382" y="122"/>
                    </a:cubicBezTo>
                    <a:cubicBezTo>
                      <a:pt x="383" y="123"/>
                      <a:pt x="383" y="123"/>
                      <a:pt x="383" y="123"/>
                    </a:cubicBezTo>
                    <a:cubicBezTo>
                      <a:pt x="383" y="125"/>
                      <a:pt x="383" y="125"/>
                      <a:pt x="383" y="125"/>
                    </a:cubicBezTo>
                    <a:cubicBezTo>
                      <a:pt x="382" y="126"/>
                      <a:pt x="382" y="126"/>
                      <a:pt x="382" y="126"/>
                    </a:cubicBezTo>
                    <a:cubicBezTo>
                      <a:pt x="380" y="126"/>
                      <a:pt x="380" y="126"/>
                      <a:pt x="380" y="126"/>
                    </a:cubicBezTo>
                    <a:cubicBezTo>
                      <a:pt x="379" y="126"/>
                      <a:pt x="379" y="126"/>
                      <a:pt x="379" y="126"/>
                    </a:cubicBezTo>
                    <a:cubicBezTo>
                      <a:pt x="380" y="127"/>
                      <a:pt x="380" y="127"/>
                      <a:pt x="380" y="127"/>
                    </a:cubicBezTo>
                    <a:cubicBezTo>
                      <a:pt x="380" y="129"/>
                      <a:pt x="380" y="129"/>
                      <a:pt x="380" y="129"/>
                    </a:cubicBezTo>
                    <a:cubicBezTo>
                      <a:pt x="378" y="130"/>
                      <a:pt x="378" y="130"/>
                      <a:pt x="378" y="130"/>
                    </a:cubicBezTo>
                    <a:cubicBezTo>
                      <a:pt x="375" y="131"/>
                      <a:pt x="375" y="131"/>
                      <a:pt x="375" y="131"/>
                    </a:cubicBezTo>
                    <a:cubicBezTo>
                      <a:pt x="373" y="130"/>
                      <a:pt x="373" y="130"/>
                      <a:pt x="373" y="130"/>
                    </a:cubicBezTo>
                    <a:cubicBezTo>
                      <a:pt x="371" y="131"/>
                      <a:pt x="371" y="131"/>
                      <a:pt x="371" y="131"/>
                    </a:cubicBezTo>
                    <a:cubicBezTo>
                      <a:pt x="368" y="131"/>
                      <a:pt x="368" y="131"/>
                      <a:pt x="368" y="131"/>
                    </a:cubicBezTo>
                    <a:cubicBezTo>
                      <a:pt x="367" y="130"/>
                      <a:pt x="367" y="130"/>
                      <a:pt x="367" y="130"/>
                    </a:cubicBezTo>
                    <a:cubicBezTo>
                      <a:pt x="363" y="127"/>
                      <a:pt x="363" y="127"/>
                      <a:pt x="363" y="127"/>
                    </a:cubicBezTo>
                    <a:cubicBezTo>
                      <a:pt x="360" y="126"/>
                      <a:pt x="360" y="126"/>
                      <a:pt x="360" y="126"/>
                    </a:cubicBezTo>
                    <a:cubicBezTo>
                      <a:pt x="359" y="126"/>
                      <a:pt x="359" y="126"/>
                      <a:pt x="359" y="126"/>
                    </a:cubicBezTo>
                    <a:cubicBezTo>
                      <a:pt x="357" y="128"/>
                      <a:pt x="357" y="128"/>
                      <a:pt x="357" y="128"/>
                    </a:cubicBezTo>
                    <a:cubicBezTo>
                      <a:pt x="356" y="130"/>
                      <a:pt x="356" y="130"/>
                      <a:pt x="356" y="130"/>
                    </a:cubicBezTo>
                    <a:cubicBezTo>
                      <a:pt x="354" y="131"/>
                      <a:pt x="354" y="131"/>
                      <a:pt x="354" y="131"/>
                    </a:cubicBezTo>
                    <a:cubicBezTo>
                      <a:pt x="353" y="132"/>
                      <a:pt x="353" y="132"/>
                      <a:pt x="353" y="132"/>
                    </a:cubicBezTo>
                    <a:cubicBezTo>
                      <a:pt x="352" y="133"/>
                      <a:pt x="352" y="133"/>
                      <a:pt x="352" y="133"/>
                    </a:cubicBezTo>
                    <a:cubicBezTo>
                      <a:pt x="353" y="133"/>
                      <a:pt x="353" y="133"/>
                      <a:pt x="353" y="133"/>
                    </a:cubicBezTo>
                    <a:cubicBezTo>
                      <a:pt x="355" y="133"/>
                      <a:pt x="355" y="133"/>
                      <a:pt x="355" y="133"/>
                    </a:cubicBezTo>
                    <a:cubicBezTo>
                      <a:pt x="355" y="134"/>
                      <a:pt x="355" y="134"/>
                      <a:pt x="355" y="134"/>
                    </a:cubicBezTo>
                    <a:cubicBezTo>
                      <a:pt x="355" y="136"/>
                      <a:pt x="355" y="136"/>
                      <a:pt x="355" y="136"/>
                    </a:cubicBezTo>
                    <a:cubicBezTo>
                      <a:pt x="354" y="136"/>
                      <a:pt x="354" y="136"/>
                      <a:pt x="354" y="136"/>
                    </a:cubicBezTo>
                    <a:cubicBezTo>
                      <a:pt x="353" y="136"/>
                      <a:pt x="353" y="136"/>
                      <a:pt x="353" y="136"/>
                    </a:cubicBezTo>
                    <a:cubicBezTo>
                      <a:pt x="353" y="137"/>
                      <a:pt x="353" y="137"/>
                      <a:pt x="353" y="137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6" y="139"/>
                      <a:pt x="356" y="139"/>
                      <a:pt x="356" y="139"/>
                    </a:cubicBezTo>
                    <a:cubicBezTo>
                      <a:pt x="357" y="138"/>
                      <a:pt x="357" y="138"/>
                      <a:pt x="357" y="138"/>
                    </a:cubicBezTo>
                    <a:cubicBezTo>
                      <a:pt x="359" y="137"/>
                      <a:pt x="359" y="137"/>
                      <a:pt x="359" y="137"/>
                    </a:cubicBezTo>
                    <a:cubicBezTo>
                      <a:pt x="360" y="135"/>
                      <a:pt x="360" y="135"/>
                      <a:pt x="360" y="135"/>
                    </a:cubicBezTo>
                    <a:cubicBezTo>
                      <a:pt x="362" y="134"/>
                      <a:pt x="362" y="134"/>
                      <a:pt x="362" y="134"/>
                    </a:cubicBezTo>
                    <a:cubicBezTo>
                      <a:pt x="365" y="133"/>
                      <a:pt x="365" y="133"/>
                      <a:pt x="365" y="133"/>
                    </a:cubicBezTo>
                    <a:cubicBezTo>
                      <a:pt x="368" y="132"/>
                      <a:pt x="368" y="132"/>
                      <a:pt x="368" y="132"/>
                    </a:cubicBezTo>
                    <a:cubicBezTo>
                      <a:pt x="369" y="132"/>
                      <a:pt x="369" y="132"/>
                      <a:pt x="369" y="132"/>
                    </a:cubicBezTo>
                    <a:cubicBezTo>
                      <a:pt x="370" y="133"/>
                      <a:pt x="370" y="133"/>
                      <a:pt x="370" y="133"/>
                    </a:cubicBezTo>
                    <a:cubicBezTo>
                      <a:pt x="371" y="134"/>
                      <a:pt x="371" y="134"/>
                      <a:pt x="371" y="134"/>
                    </a:cubicBezTo>
                    <a:cubicBezTo>
                      <a:pt x="373" y="134"/>
                      <a:pt x="373" y="134"/>
                      <a:pt x="373" y="134"/>
                    </a:cubicBezTo>
                    <a:cubicBezTo>
                      <a:pt x="374" y="135"/>
                      <a:pt x="374" y="135"/>
                      <a:pt x="374" y="135"/>
                    </a:cubicBezTo>
                    <a:cubicBezTo>
                      <a:pt x="374" y="136"/>
                      <a:pt x="374" y="136"/>
                      <a:pt x="374" y="136"/>
                    </a:cubicBezTo>
                    <a:cubicBezTo>
                      <a:pt x="373" y="137"/>
                      <a:pt x="373" y="137"/>
                      <a:pt x="373" y="137"/>
                    </a:cubicBezTo>
                    <a:cubicBezTo>
                      <a:pt x="371" y="138"/>
                      <a:pt x="371" y="138"/>
                      <a:pt x="371" y="138"/>
                    </a:cubicBezTo>
                    <a:cubicBezTo>
                      <a:pt x="370" y="141"/>
                      <a:pt x="370" y="141"/>
                      <a:pt x="370" y="141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8" y="144"/>
                      <a:pt x="368" y="144"/>
                      <a:pt x="368" y="144"/>
                    </a:cubicBezTo>
                    <a:cubicBezTo>
                      <a:pt x="365" y="146"/>
                      <a:pt x="365" y="146"/>
                      <a:pt x="365" y="146"/>
                    </a:cubicBezTo>
                    <a:cubicBezTo>
                      <a:pt x="364" y="149"/>
                      <a:pt x="364" y="149"/>
                      <a:pt x="364" y="149"/>
                    </a:cubicBezTo>
                    <a:cubicBezTo>
                      <a:pt x="361" y="153"/>
                      <a:pt x="361" y="153"/>
                      <a:pt x="361" y="153"/>
                    </a:cubicBezTo>
                    <a:cubicBezTo>
                      <a:pt x="360" y="155"/>
                      <a:pt x="360" y="155"/>
                      <a:pt x="360" y="155"/>
                    </a:cubicBezTo>
                    <a:cubicBezTo>
                      <a:pt x="358" y="156"/>
                      <a:pt x="358" y="156"/>
                      <a:pt x="358" y="156"/>
                    </a:cubicBezTo>
                    <a:cubicBezTo>
                      <a:pt x="358" y="159"/>
                      <a:pt x="358" y="159"/>
                      <a:pt x="358" y="159"/>
                    </a:cubicBezTo>
                    <a:cubicBezTo>
                      <a:pt x="358" y="161"/>
                      <a:pt x="358" y="161"/>
                      <a:pt x="358" y="161"/>
                    </a:cubicBezTo>
                    <a:cubicBezTo>
                      <a:pt x="358" y="162"/>
                      <a:pt x="358" y="162"/>
                      <a:pt x="358" y="162"/>
                    </a:cubicBezTo>
                    <a:cubicBezTo>
                      <a:pt x="356" y="164"/>
                      <a:pt x="356" y="164"/>
                      <a:pt x="356" y="164"/>
                    </a:cubicBezTo>
                    <a:cubicBezTo>
                      <a:pt x="356" y="166"/>
                      <a:pt x="356" y="166"/>
                      <a:pt x="356" y="166"/>
                    </a:cubicBezTo>
                    <a:cubicBezTo>
                      <a:pt x="355" y="169"/>
                      <a:pt x="355" y="169"/>
                      <a:pt x="355" y="169"/>
                    </a:cubicBezTo>
                    <a:cubicBezTo>
                      <a:pt x="355" y="173"/>
                      <a:pt x="355" y="173"/>
                      <a:pt x="355" y="173"/>
                    </a:cubicBezTo>
                    <a:cubicBezTo>
                      <a:pt x="355" y="174"/>
                      <a:pt x="355" y="174"/>
                      <a:pt x="355" y="174"/>
                    </a:cubicBezTo>
                    <a:cubicBezTo>
                      <a:pt x="356" y="176"/>
                      <a:pt x="356" y="176"/>
                      <a:pt x="356" y="176"/>
                    </a:cubicBezTo>
                    <a:cubicBezTo>
                      <a:pt x="355" y="179"/>
                      <a:pt x="355" y="179"/>
                      <a:pt x="355" y="179"/>
                    </a:cubicBezTo>
                    <a:cubicBezTo>
                      <a:pt x="354" y="180"/>
                      <a:pt x="354" y="180"/>
                      <a:pt x="354" y="180"/>
                    </a:cubicBezTo>
                    <a:cubicBezTo>
                      <a:pt x="353" y="181"/>
                      <a:pt x="353" y="181"/>
                      <a:pt x="353" y="181"/>
                    </a:cubicBezTo>
                    <a:cubicBezTo>
                      <a:pt x="353" y="183"/>
                      <a:pt x="353" y="183"/>
                      <a:pt x="353" y="183"/>
                    </a:cubicBezTo>
                    <a:cubicBezTo>
                      <a:pt x="353" y="184"/>
                      <a:pt x="353" y="184"/>
                      <a:pt x="353" y="184"/>
                    </a:cubicBezTo>
                    <a:cubicBezTo>
                      <a:pt x="352" y="185"/>
                      <a:pt x="352" y="185"/>
                      <a:pt x="352" y="185"/>
                    </a:cubicBezTo>
                    <a:cubicBezTo>
                      <a:pt x="352" y="188"/>
                      <a:pt x="352" y="188"/>
                      <a:pt x="352" y="188"/>
                    </a:cubicBezTo>
                    <a:cubicBezTo>
                      <a:pt x="351" y="190"/>
                      <a:pt x="351" y="190"/>
                      <a:pt x="351" y="190"/>
                    </a:cubicBezTo>
                    <a:cubicBezTo>
                      <a:pt x="349" y="191"/>
                      <a:pt x="349" y="191"/>
                      <a:pt x="349" y="191"/>
                    </a:cubicBezTo>
                    <a:cubicBezTo>
                      <a:pt x="348" y="191"/>
                      <a:pt x="348" y="191"/>
                      <a:pt x="348" y="191"/>
                    </a:cubicBezTo>
                    <a:cubicBezTo>
                      <a:pt x="347" y="190"/>
                      <a:pt x="347" y="190"/>
                      <a:pt x="347" y="190"/>
                    </a:cubicBezTo>
                    <a:cubicBezTo>
                      <a:pt x="347" y="189"/>
                      <a:pt x="347" y="189"/>
                      <a:pt x="347" y="189"/>
                    </a:cubicBezTo>
                    <a:cubicBezTo>
                      <a:pt x="346" y="188"/>
                      <a:pt x="346" y="188"/>
                      <a:pt x="346" y="188"/>
                    </a:cubicBezTo>
                    <a:cubicBezTo>
                      <a:pt x="346" y="188"/>
                      <a:pt x="346" y="188"/>
                      <a:pt x="346" y="188"/>
                    </a:cubicBezTo>
                    <a:cubicBezTo>
                      <a:pt x="347" y="187"/>
                      <a:pt x="347" y="187"/>
                      <a:pt x="347" y="187"/>
                    </a:cubicBezTo>
                    <a:cubicBezTo>
                      <a:pt x="346" y="186"/>
                      <a:pt x="346" y="186"/>
                      <a:pt x="346" y="186"/>
                    </a:cubicBezTo>
                    <a:cubicBezTo>
                      <a:pt x="345" y="186"/>
                      <a:pt x="345" y="186"/>
                      <a:pt x="345" y="186"/>
                    </a:cubicBezTo>
                    <a:cubicBezTo>
                      <a:pt x="344" y="186"/>
                      <a:pt x="344" y="186"/>
                      <a:pt x="344" y="186"/>
                    </a:cubicBezTo>
                    <a:cubicBezTo>
                      <a:pt x="343" y="186"/>
                      <a:pt x="343" y="186"/>
                      <a:pt x="343" y="186"/>
                    </a:cubicBezTo>
                    <a:cubicBezTo>
                      <a:pt x="342" y="187"/>
                      <a:pt x="342" y="187"/>
                      <a:pt x="342" y="187"/>
                    </a:cubicBezTo>
                    <a:cubicBezTo>
                      <a:pt x="343" y="188"/>
                      <a:pt x="343" y="188"/>
                      <a:pt x="343" y="188"/>
                    </a:cubicBezTo>
                    <a:cubicBezTo>
                      <a:pt x="343" y="188"/>
                      <a:pt x="343" y="188"/>
                      <a:pt x="343" y="188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90"/>
                      <a:pt x="342" y="190"/>
                    </a:cubicBezTo>
                    <a:cubicBezTo>
                      <a:pt x="342" y="191"/>
                      <a:pt x="342" y="191"/>
                      <a:pt x="342" y="191"/>
                    </a:cubicBezTo>
                    <a:cubicBezTo>
                      <a:pt x="343" y="192"/>
                      <a:pt x="343" y="192"/>
                      <a:pt x="343" y="192"/>
                    </a:cubicBezTo>
                    <a:cubicBezTo>
                      <a:pt x="345" y="193"/>
                      <a:pt x="345" y="193"/>
                      <a:pt x="345" y="193"/>
                    </a:cubicBezTo>
                    <a:cubicBezTo>
                      <a:pt x="346" y="194"/>
                      <a:pt x="346" y="194"/>
                      <a:pt x="346" y="194"/>
                    </a:cubicBezTo>
                    <a:cubicBezTo>
                      <a:pt x="347" y="195"/>
                      <a:pt x="347" y="195"/>
                      <a:pt x="347" y="195"/>
                    </a:cubicBezTo>
                    <a:cubicBezTo>
                      <a:pt x="347" y="198"/>
                      <a:pt x="347" y="198"/>
                      <a:pt x="347" y="198"/>
                    </a:cubicBezTo>
                    <a:cubicBezTo>
                      <a:pt x="349" y="198"/>
                      <a:pt x="349" y="198"/>
                      <a:pt x="349" y="198"/>
                    </a:cubicBezTo>
                    <a:cubicBezTo>
                      <a:pt x="350" y="199"/>
                      <a:pt x="350" y="199"/>
                      <a:pt x="350" y="199"/>
                    </a:cubicBezTo>
                    <a:cubicBezTo>
                      <a:pt x="352" y="201"/>
                      <a:pt x="352" y="201"/>
                      <a:pt x="352" y="201"/>
                    </a:cubicBezTo>
                    <a:cubicBezTo>
                      <a:pt x="353" y="203"/>
                      <a:pt x="353" y="203"/>
                      <a:pt x="353" y="203"/>
                    </a:cubicBezTo>
                    <a:cubicBezTo>
                      <a:pt x="353" y="204"/>
                      <a:pt x="353" y="204"/>
                      <a:pt x="353" y="204"/>
                    </a:cubicBezTo>
                    <a:cubicBezTo>
                      <a:pt x="351" y="205"/>
                      <a:pt x="351" y="205"/>
                      <a:pt x="351" y="205"/>
                    </a:cubicBezTo>
                    <a:cubicBezTo>
                      <a:pt x="350" y="204"/>
                      <a:pt x="350" y="204"/>
                      <a:pt x="350" y="204"/>
                    </a:cubicBezTo>
                    <a:cubicBezTo>
                      <a:pt x="348" y="201"/>
                      <a:pt x="348" y="201"/>
                      <a:pt x="348" y="201"/>
                    </a:cubicBezTo>
                    <a:cubicBezTo>
                      <a:pt x="348" y="200"/>
                      <a:pt x="348" y="200"/>
                      <a:pt x="348" y="200"/>
                    </a:cubicBezTo>
                    <a:cubicBezTo>
                      <a:pt x="347" y="200"/>
                      <a:pt x="347" y="200"/>
                      <a:pt x="347" y="200"/>
                    </a:cubicBezTo>
                    <a:cubicBezTo>
                      <a:pt x="346" y="199"/>
                      <a:pt x="346" y="199"/>
                      <a:pt x="346" y="199"/>
                    </a:cubicBezTo>
                    <a:cubicBezTo>
                      <a:pt x="345" y="200"/>
                      <a:pt x="345" y="200"/>
                      <a:pt x="345" y="200"/>
                    </a:cubicBezTo>
                    <a:cubicBezTo>
                      <a:pt x="345" y="201"/>
                      <a:pt x="345" y="201"/>
                      <a:pt x="345" y="201"/>
                    </a:cubicBezTo>
                    <a:cubicBezTo>
                      <a:pt x="345" y="202"/>
                      <a:pt x="345" y="202"/>
                      <a:pt x="345" y="202"/>
                    </a:cubicBezTo>
                    <a:cubicBezTo>
                      <a:pt x="346" y="203"/>
                      <a:pt x="346" y="203"/>
                      <a:pt x="346" y="203"/>
                    </a:cubicBezTo>
                    <a:cubicBezTo>
                      <a:pt x="346" y="204"/>
                      <a:pt x="346" y="204"/>
                      <a:pt x="346" y="204"/>
                    </a:cubicBezTo>
                    <a:cubicBezTo>
                      <a:pt x="345" y="204"/>
                      <a:pt x="345" y="204"/>
                      <a:pt x="345" y="204"/>
                    </a:cubicBezTo>
                    <a:cubicBezTo>
                      <a:pt x="344" y="204"/>
                      <a:pt x="344" y="204"/>
                      <a:pt x="344" y="204"/>
                    </a:cubicBezTo>
                    <a:cubicBezTo>
                      <a:pt x="344" y="204"/>
                      <a:pt x="344" y="204"/>
                      <a:pt x="344" y="204"/>
                    </a:cubicBezTo>
                    <a:cubicBezTo>
                      <a:pt x="345" y="205"/>
                      <a:pt x="345" y="205"/>
                      <a:pt x="345" y="205"/>
                    </a:cubicBezTo>
                    <a:cubicBezTo>
                      <a:pt x="346" y="206"/>
                      <a:pt x="346" y="206"/>
                      <a:pt x="346" y="206"/>
                    </a:cubicBezTo>
                    <a:cubicBezTo>
                      <a:pt x="346" y="207"/>
                      <a:pt x="346" y="207"/>
                      <a:pt x="346" y="207"/>
                    </a:cubicBezTo>
                    <a:cubicBezTo>
                      <a:pt x="345" y="207"/>
                      <a:pt x="345" y="207"/>
                      <a:pt x="345" y="207"/>
                    </a:cubicBezTo>
                    <a:cubicBezTo>
                      <a:pt x="346" y="208"/>
                      <a:pt x="346" y="208"/>
                      <a:pt x="346" y="208"/>
                    </a:cubicBezTo>
                    <a:cubicBezTo>
                      <a:pt x="347" y="207"/>
                      <a:pt x="347" y="207"/>
                      <a:pt x="347" y="207"/>
                    </a:cubicBezTo>
                    <a:cubicBezTo>
                      <a:pt x="349" y="208"/>
                      <a:pt x="349" y="208"/>
                      <a:pt x="349" y="208"/>
                    </a:cubicBezTo>
                    <a:cubicBezTo>
                      <a:pt x="349" y="209"/>
                      <a:pt x="349" y="209"/>
                      <a:pt x="349" y="209"/>
                    </a:cubicBezTo>
                    <a:cubicBezTo>
                      <a:pt x="349" y="210"/>
                      <a:pt x="349" y="210"/>
                      <a:pt x="349" y="210"/>
                    </a:cubicBezTo>
                    <a:cubicBezTo>
                      <a:pt x="349" y="211"/>
                      <a:pt x="349" y="211"/>
                      <a:pt x="349" y="211"/>
                    </a:cubicBezTo>
                    <a:cubicBezTo>
                      <a:pt x="350" y="212"/>
                      <a:pt x="350" y="212"/>
                      <a:pt x="350" y="212"/>
                    </a:cubicBezTo>
                    <a:cubicBezTo>
                      <a:pt x="351" y="211"/>
                      <a:pt x="351" y="211"/>
                      <a:pt x="351" y="211"/>
                    </a:cubicBezTo>
                    <a:cubicBezTo>
                      <a:pt x="352" y="209"/>
                      <a:pt x="352" y="209"/>
                      <a:pt x="352" y="209"/>
                    </a:cubicBezTo>
                    <a:cubicBezTo>
                      <a:pt x="353" y="208"/>
                      <a:pt x="353" y="208"/>
                      <a:pt x="353" y="208"/>
                    </a:cubicBezTo>
                    <a:cubicBezTo>
                      <a:pt x="354" y="208"/>
                      <a:pt x="354" y="208"/>
                      <a:pt x="354" y="208"/>
                    </a:cubicBezTo>
                    <a:cubicBezTo>
                      <a:pt x="354" y="209"/>
                      <a:pt x="354" y="209"/>
                      <a:pt x="354" y="209"/>
                    </a:cubicBezTo>
                    <a:cubicBezTo>
                      <a:pt x="355" y="209"/>
                      <a:pt x="355" y="209"/>
                      <a:pt x="355" y="209"/>
                    </a:cubicBezTo>
                    <a:cubicBezTo>
                      <a:pt x="355" y="209"/>
                      <a:pt x="355" y="209"/>
                      <a:pt x="355" y="209"/>
                    </a:cubicBezTo>
                    <a:cubicBezTo>
                      <a:pt x="356" y="210"/>
                      <a:pt x="356" y="210"/>
                      <a:pt x="356" y="210"/>
                    </a:cubicBezTo>
                    <a:cubicBezTo>
                      <a:pt x="358" y="211"/>
                      <a:pt x="358" y="211"/>
                      <a:pt x="358" y="211"/>
                    </a:cubicBezTo>
                    <a:cubicBezTo>
                      <a:pt x="358" y="213"/>
                      <a:pt x="358" y="213"/>
                      <a:pt x="358" y="213"/>
                    </a:cubicBezTo>
                    <a:cubicBezTo>
                      <a:pt x="358" y="214"/>
                      <a:pt x="358" y="214"/>
                      <a:pt x="358" y="214"/>
                    </a:cubicBezTo>
                    <a:cubicBezTo>
                      <a:pt x="358" y="215"/>
                      <a:pt x="358" y="215"/>
                      <a:pt x="358" y="215"/>
                    </a:cubicBezTo>
                    <a:cubicBezTo>
                      <a:pt x="357" y="217"/>
                      <a:pt x="357" y="217"/>
                      <a:pt x="357" y="217"/>
                    </a:cubicBezTo>
                    <a:cubicBezTo>
                      <a:pt x="357" y="220"/>
                      <a:pt x="357" y="220"/>
                      <a:pt x="357" y="220"/>
                    </a:cubicBezTo>
                    <a:cubicBezTo>
                      <a:pt x="357" y="221"/>
                      <a:pt x="357" y="221"/>
                      <a:pt x="357" y="221"/>
                    </a:cubicBezTo>
                    <a:cubicBezTo>
                      <a:pt x="356" y="223"/>
                      <a:pt x="356" y="223"/>
                      <a:pt x="356" y="223"/>
                    </a:cubicBezTo>
                    <a:cubicBezTo>
                      <a:pt x="355" y="224"/>
                      <a:pt x="355" y="224"/>
                      <a:pt x="355" y="224"/>
                    </a:cubicBezTo>
                    <a:cubicBezTo>
                      <a:pt x="355" y="226"/>
                      <a:pt x="355" y="226"/>
                      <a:pt x="355" y="226"/>
                    </a:cubicBezTo>
                    <a:cubicBezTo>
                      <a:pt x="355" y="227"/>
                      <a:pt x="355" y="227"/>
                      <a:pt x="355" y="227"/>
                    </a:cubicBezTo>
                    <a:cubicBezTo>
                      <a:pt x="354" y="226"/>
                      <a:pt x="354" y="226"/>
                      <a:pt x="354" y="226"/>
                    </a:cubicBezTo>
                    <a:cubicBezTo>
                      <a:pt x="353" y="225"/>
                      <a:pt x="353" y="225"/>
                      <a:pt x="353" y="225"/>
                    </a:cubicBezTo>
                    <a:cubicBezTo>
                      <a:pt x="351" y="224"/>
                      <a:pt x="351" y="224"/>
                      <a:pt x="351" y="224"/>
                    </a:cubicBezTo>
                    <a:cubicBezTo>
                      <a:pt x="350" y="223"/>
                      <a:pt x="350" y="223"/>
                      <a:pt x="350" y="223"/>
                    </a:cubicBezTo>
                    <a:cubicBezTo>
                      <a:pt x="350" y="223"/>
                      <a:pt x="350" y="223"/>
                      <a:pt x="350" y="223"/>
                    </a:cubicBezTo>
                    <a:cubicBezTo>
                      <a:pt x="349" y="223"/>
                      <a:pt x="349" y="223"/>
                      <a:pt x="349" y="223"/>
                    </a:cubicBezTo>
                    <a:cubicBezTo>
                      <a:pt x="347" y="223"/>
                      <a:pt x="347" y="223"/>
                      <a:pt x="347" y="223"/>
                    </a:cubicBezTo>
                    <a:cubicBezTo>
                      <a:pt x="347" y="222"/>
                      <a:pt x="347" y="222"/>
                      <a:pt x="347" y="222"/>
                    </a:cubicBezTo>
                    <a:cubicBezTo>
                      <a:pt x="347" y="221"/>
                      <a:pt x="347" y="221"/>
                      <a:pt x="347" y="221"/>
                    </a:cubicBezTo>
                    <a:cubicBezTo>
                      <a:pt x="346" y="219"/>
                      <a:pt x="346" y="219"/>
                      <a:pt x="346" y="219"/>
                    </a:cubicBezTo>
                    <a:cubicBezTo>
                      <a:pt x="346" y="219"/>
                      <a:pt x="346" y="219"/>
                      <a:pt x="346" y="219"/>
                    </a:cubicBezTo>
                    <a:cubicBezTo>
                      <a:pt x="345" y="219"/>
                      <a:pt x="345" y="219"/>
                      <a:pt x="345" y="219"/>
                    </a:cubicBezTo>
                    <a:cubicBezTo>
                      <a:pt x="344" y="219"/>
                      <a:pt x="344" y="219"/>
                      <a:pt x="344" y="219"/>
                    </a:cubicBezTo>
                    <a:cubicBezTo>
                      <a:pt x="343" y="218"/>
                      <a:pt x="343" y="218"/>
                      <a:pt x="343" y="218"/>
                    </a:cubicBezTo>
                    <a:cubicBezTo>
                      <a:pt x="341" y="218"/>
                      <a:pt x="341" y="218"/>
                      <a:pt x="341" y="218"/>
                    </a:cubicBezTo>
                    <a:cubicBezTo>
                      <a:pt x="340" y="218"/>
                      <a:pt x="340" y="218"/>
                      <a:pt x="340" y="218"/>
                    </a:cubicBezTo>
                    <a:cubicBezTo>
                      <a:pt x="340" y="219"/>
                      <a:pt x="340" y="219"/>
                      <a:pt x="340" y="219"/>
                    </a:cubicBezTo>
                    <a:cubicBezTo>
                      <a:pt x="340" y="220"/>
                      <a:pt x="340" y="220"/>
                      <a:pt x="340" y="220"/>
                    </a:cubicBezTo>
                    <a:cubicBezTo>
                      <a:pt x="339" y="220"/>
                      <a:pt x="339" y="220"/>
                      <a:pt x="339" y="220"/>
                    </a:cubicBezTo>
                    <a:cubicBezTo>
                      <a:pt x="339" y="219"/>
                      <a:pt x="339" y="219"/>
                      <a:pt x="339" y="219"/>
                    </a:cubicBezTo>
                    <a:cubicBezTo>
                      <a:pt x="337" y="219"/>
                      <a:pt x="337" y="219"/>
                      <a:pt x="337" y="219"/>
                    </a:cubicBezTo>
                    <a:cubicBezTo>
                      <a:pt x="336" y="220"/>
                      <a:pt x="336" y="220"/>
                      <a:pt x="336" y="220"/>
                    </a:cubicBezTo>
                    <a:cubicBezTo>
                      <a:pt x="336" y="220"/>
                      <a:pt x="336" y="220"/>
                      <a:pt x="336" y="220"/>
                    </a:cubicBezTo>
                    <a:cubicBezTo>
                      <a:pt x="337" y="220"/>
                      <a:pt x="337" y="220"/>
                      <a:pt x="337" y="220"/>
                    </a:cubicBezTo>
                    <a:cubicBezTo>
                      <a:pt x="339" y="221"/>
                      <a:pt x="339" y="221"/>
                      <a:pt x="339" y="221"/>
                    </a:cubicBezTo>
                    <a:cubicBezTo>
                      <a:pt x="339" y="221"/>
                      <a:pt x="339" y="221"/>
                      <a:pt x="339" y="221"/>
                    </a:cubicBezTo>
                    <a:cubicBezTo>
                      <a:pt x="339" y="222"/>
                      <a:pt x="339" y="222"/>
                      <a:pt x="339" y="222"/>
                    </a:cubicBezTo>
                    <a:cubicBezTo>
                      <a:pt x="338" y="222"/>
                      <a:pt x="338" y="222"/>
                      <a:pt x="338" y="222"/>
                    </a:cubicBezTo>
                    <a:cubicBezTo>
                      <a:pt x="336" y="224"/>
                      <a:pt x="336" y="224"/>
                      <a:pt x="336" y="224"/>
                    </a:cubicBezTo>
                    <a:cubicBezTo>
                      <a:pt x="334" y="225"/>
                      <a:pt x="334" y="225"/>
                      <a:pt x="334" y="225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2" y="224"/>
                      <a:pt x="332" y="224"/>
                      <a:pt x="332" y="224"/>
                    </a:cubicBezTo>
                    <a:cubicBezTo>
                      <a:pt x="333" y="223"/>
                      <a:pt x="333" y="223"/>
                      <a:pt x="333" y="223"/>
                    </a:cubicBezTo>
                    <a:cubicBezTo>
                      <a:pt x="332" y="222"/>
                      <a:pt x="332" y="222"/>
                      <a:pt x="332" y="222"/>
                    </a:cubicBezTo>
                    <a:cubicBezTo>
                      <a:pt x="331" y="223"/>
                      <a:pt x="331" y="223"/>
                      <a:pt x="331" y="223"/>
                    </a:cubicBezTo>
                    <a:cubicBezTo>
                      <a:pt x="331" y="224"/>
                      <a:pt x="331" y="224"/>
                      <a:pt x="331" y="224"/>
                    </a:cubicBezTo>
                    <a:cubicBezTo>
                      <a:pt x="332" y="225"/>
                      <a:pt x="332" y="225"/>
                      <a:pt x="332" y="225"/>
                    </a:cubicBezTo>
                    <a:cubicBezTo>
                      <a:pt x="331" y="226"/>
                      <a:pt x="331" y="226"/>
                      <a:pt x="331" y="226"/>
                    </a:cubicBezTo>
                    <a:cubicBezTo>
                      <a:pt x="331" y="227"/>
                      <a:pt x="331" y="227"/>
                      <a:pt x="331" y="227"/>
                    </a:cubicBezTo>
                    <a:cubicBezTo>
                      <a:pt x="332" y="228"/>
                      <a:pt x="332" y="228"/>
                      <a:pt x="332" y="228"/>
                    </a:cubicBezTo>
                    <a:cubicBezTo>
                      <a:pt x="331" y="229"/>
                      <a:pt x="331" y="229"/>
                      <a:pt x="331" y="229"/>
                    </a:cubicBezTo>
                    <a:cubicBezTo>
                      <a:pt x="332" y="230"/>
                      <a:pt x="332" y="230"/>
                      <a:pt x="332" y="230"/>
                    </a:cubicBezTo>
                    <a:cubicBezTo>
                      <a:pt x="332" y="231"/>
                      <a:pt x="332" y="231"/>
                      <a:pt x="332" y="231"/>
                    </a:cubicBezTo>
                    <a:cubicBezTo>
                      <a:pt x="331" y="231"/>
                      <a:pt x="331" y="231"/>
                      <a:pt x="331" y="231"/>
                    </a:cubicBezTo>
                    <a:cubicBezTo>
                      <a:pt x="329" y="231"/>
                      <a:pt x="329" y="231"/>
                      <a:pt x="329" y="231"/>
                    </a:cubicBezTo>
                    <a:cubicBezTo>
                      <a:pt x="328" y="231"/>
                      <a:pt x="328" y="231"/>
                      <a:pt x="328" y="231"/>
                    </a:cubicBezTo>
                    <a:cubicBezTo>
                      <a:pt x="328" y="232"/>
                      <a:pt x="328" y="232"/>
                      <a:pt x="328" y="232"/>
                    </a:cubicBezTo>
                    <a:cubicBezTo>
                      <a:pt x="329" y="232"/>
                      <a:pt x="329" y="232"/>
                      <a:pt x="329" y="232"/>
                    </a:cubicBezTo>
                    <a:cubicBezTo>
                      <a:pt x="330" y="232"/>
                      <a:pt x="330" y="232"/>
                      <a:pt x="330" y="232"/>
                    </a:cubicBezTo>
                    <a:cubicBezTo>
                      <a:pt x="332" y="232"/>
                      <a:pt x="332" y="232"/>
                      <a:pt x="332" y="232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32" y="234"/>
                      <a:pt x="332" y="234"/>
                      <a:pt x="332" y="234"/>
                    </a:cubicBezTo>
                    <a:cubicBezTo>
                      <a:pt x="332" y="236"/>
                      <a:pt x="332" y="236"/>
                      <a:pt x="332" y="236"/>
                    </a:cubicBezTo>
                    <a:cubicBezTo>
                      <a:pt x="333" y="236"/>
                      <a:pt x="333" y="236"/>
                      <a:pt x="333" y="236"/>
                    </a:cubicBezTo>
                    <a:cubicBezTo>
                      <a:pt x="334" y="235"/>
                      <a:pt x="334" y="235"/>
                      <a:pt x="334" y="235"/>
                    </a:cubicBezTo>
                    <a:cubicBezTo>
                      <a:pt x="336" y="235"/>
                      <a:pt x="336" y="235"/>
                      <a:pt x="336" y="235"/>
                    </a:cubicBezTo>
                    <a:cubicBezTo>
                      <a:pt x="337" y="235"/>
                      <a:pt x="337" y="235"/>
                      <a:pt x="337" y="235"/>
                    </a:cubicBezTo>
                    <a:cubicBezTo>
                      <a:pt x="338" y="236"/>
                      <a:pt x="338" y="236"/>
                      <a:pt x="338" y="236"/>
                    </a:cubicBezTo>
                    <a:cubicBezTo>
                      <a:pt x="340" y="236"/>
                      <a:pt x="340" y="236"/>
                      <a:pt x="340" y="236"/>
                    </a:cubicBezTo>
                    <a:cubicBezTo>
                      <a:pt x="342" y="237"/>
                      <a:pt x="342" y="237"/>
                      <a:pt x="342" y="237"/>
                    </a:cubicBezTo>
                    <a:cubicBezTo>
                      <a:pt x="343" y="236"/>
                      <a:pt x="343" y="236"/>
                      <a:pt x="343" y="236"/>
                    </a:cubicBezTo>
                    <a:cubicBezTo>
                      <a:pt x="343" y="236"/>
                      <a:pt x="343" y="236"/>
                      <a:pt x="343" y="236"/>
                    </a:cubicBezTo>
                    <a:cubicBezTo>
                      <a:pt x="344" y="236"/>
                      <a:pt x="344" y="236"/>
                      <a:pt x="344" y="236"/>
                    </a:cubicBezTo>
                    <a:cubicBezTo>
                      <a:pt x="344" y="237"/>
                      <a:pt x="344" y="237"/>
                      <a:pt x="344" y="237"/>
                    </a:cubicBezTo>
                    <a:cubicBezTo>
                      <a:pt x="344" y="239"/>
                      <a:pt x="344" y="239"/>
                      <a:pt x="344" y="239"/>
                    </a:cubicBezTo>
                    <a:cubicBezTo>
                      <a:pt x="344" y="240"/>
                      <a:pt x="344" y="240"/>
                      <a:pt x="344" y="240"/>
                    </a:cubicBezTo>
                    <a:cubicBezTo>
                      <a:pt x="344" y="241"/>
                      <a:pt x="344" y="241"/>
                      <a:pt x="344" y="241"/>
                    </a:cubicBezTo>
                    <a:cubicBezTo>
                      <a:pt x="343" y="241"/>
                      <a:pt x="343" y="241"/>
                      <a:pt x="343" y="241"/>
                    </a:cubicBezTo>
                    <a:cubicBezTo>
                      <a:pt x="342" y="241"/>
                      <a:pt x="342" y="241"/>
                      <a:pt x="342" y="241"/>
                    </a:cubicBezTo>
                    <a:cubicBezTo>
                      <a:pt x="341" y="240"/>
                      <a:pt x="341" y="240"/>
                      <a:pt x="341" y="240"/>
                    </a:cubicBezTo>
                    <a:cubicBezTo>
                      <a:pt x="340" y="241"/>
                      <a:pt x="340" y="241"/>
                      <a:pt x="340" y="241"/>
                    </a:cubicBezTo>
                    <a:cubicBezTo>
                      <a:pt x="339" y="241"/>
                      <a:pt x="339" y="241"/>
                      <a:pt x="339" y="241"/>
                    </a:cubicBezTo>
                    <a:cubicBezTo>
                      <a:pt x="338" y="240"/>
                      <a:pt x="338" y="240"/>
                      <a:pt x="338" y="240"/>
                    </a:cubicBezTo>
                    <a:cubicBezTo>
                      <a:pt x="335" y="241"/>
                      <a:pt x="335" y="241"/>
                      <a:pt x="335" y="241"/>
                    </a:cubicBezTo>
                    <a:cubicBezTo>
                      <a:pt x="333" y="241"/>
                      <a:pt x="333" y="241"/>
                      <a:pt x="333" y="241"/>
                    </a:cubicBezTo>
                    <a:cubicBezTo>
                      <a:pt x="332" y="241"/>
                      <a:pt x="332" y="241"/>
                      <a:pt x="332" y="241"/>
                    </a:cubicBezTo>
                    <a:cubicBezTo>
                      <a:pt x="332" y="240"/>
                      <a:pt x="332" y="240"/>
                      <a:pt x="332" y="240"/>
                    </a:cubicBezTo>
                    <a:cubicBezTo>
                      <a:pt x="331" y="241"/>
                      <a:pt x="331" y="241"/>
                      <a:pt x="331" y="241"/>
                    </a:cubicBezTo>
                    <a:cubicBezTo>
                      <a:pt x="332" y="242"/>
                      <a:pt x="332" y="242"/>
                      <a:pt x="332" y="242"/>
                    </a:cubicBezTo>
                    <a:cubicBezTo>
                      <a:pt x="332" y="242"/>
                      <a:pt x="332" y="242"/>
                      <a:pt x="332" y="242"/>
                    </a:cubicBezTo>
                    <a:cubicBezTo>
                      <a:pt x="333" y="242"/>
                      <a:pt x="333" y="242"/>
                      <a:pt x="333" y="242"/>
                    </a:cubicBezTo>
                    <a:cubicBezTo>
                      <a:pt x="335" y="242"/>
                      <a:pt x="335" y="242"/>
                      <a:pt x="335" y="242"/>
                    </a:cubicBezTo>
                    <a:cubicBezTo>
                      <a:pt x="338" y="242"/>
                      <a:pt x="338" y="242"/>
                      <a:pt x="338" y="242"/>
                    </a:cubicBezTo>
                    <a:cubicBezTo>
                      <a:pt x="339" y="243"/>
                      <a:pt x="339" y="243"/>
                      <a:pt x="339" y="243"/>
                    </a:cubicBezTo>
                    <a:cubicBezTo>
                      <a:pt x="340" y="244"/>
                      <a:pt x="340" y="244"/>
                      <a:pt x="340" y="244"/>
                    </a:cubicBezTo>
                    <a:cubicBezTo>
                      <a:pt x="341" y="244"/>
                      <a:pt x="341" y="244"/>
                      <a:pt x="341" y="244"/>
                    </a:cubicBezTo>
                    <a:cubicBezTo>
                      <a:pt x="343" y="244"/>
                      <a:pt x="343" y="244"/>
                      <a:pt x="343" y="244"/>
                    </a:cubicBezTo>
                    <a:cubicBezTo>
                      <a:pt x="344" y="245"/>
                      <a:pt x="344" y="245"/>
                      <a:pt x="344" y="245"/>
                    </a:cubicBezTo>
                    <a:cubicBezTo>
                      <a:pt x="345" y="247"/>
                      <a:pt x="345" y="247"/>
                      <a:pt x="345" y="247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6" y="249"/>
                      <a:pt x="346" y="249"/>
                      <a:pt x="346" y="249"/>
                    </a:cubicBezTo>
                    <a:cubicBezTo>
                      <a:pt x="345" y="249"/>
                      <a:pt x="345" y="249"/>
                      <a:pt x="345" y="249"/>
                    </a:cubicBezTo>
                    <a:cubicBezTo>
                      <a:pt x="344" y="249"/>
                      <a:pt x="344" y="249"/>
                      <a:pt x="344" y="249"/>
                    </a:cubicBezTo>
                    <a:cubicBezTo>
                      <a:pt x="344" y="249"/>
                      <a:pt x="344" y="249"/>
                      <a:pt x="344" y="249"/>
                    </a:cubicBezTo>
                    <a:cubicBezTo>
                      <a:pt x="344" y="250"/>
                      <a:pt x="344" y="250"/>
                      <a:pt x="344" y="250"/>
                    </a:cubicBezTo>
                    <a:cubicBezTo>
                      <a:pt x="344" y="252"/>
                      <a:pt x="344" y="252"/>
                      <a:pt x="344" y="252"/>
                    </a:cubicBezTo>
                    <a:cubicBezTo>
                      <a:pt x="345" y="254"/>
                      <a:pt x="345" y="254"/>
                      <a:pt x="345" y="254"/>
                    </a:cubicBezTo>
                    <a:cubicBezTo>
                      <a:pt x="344" y="255"/>
                      <a:pt x="344" y="255"/>
                      <a:pt x="344" y="255"/>
                    </a:cubicBezTo>
                    <a:cubicBezTo>
                      <a:pt x="345" y="257"/>
                      <a:pt x="345" y="257"/>
                      <a:pt x="345" y="257"/>
                    </a:cubicBezTo>
                    <a:cubicBezTo>
                      <a:pt x="345" y="258"/>
                      <a:pt x="345" y="258"/>
                      <a:pt x="345" y="258"/>
                    </a:cubicBezTo>
                    <a:cubicBezTo>
                      <a:pt x="344" y="259"/>
                      <a:pt x="344" y="259"/>
                      <a:pt x="344" y="259"/>
                    </a:cubicBezTo>
                    <a:cubicBezTo>
                      <a:pt x="343" y="262"/>
                      <a:pt x="343" y="262"/>
                      <a:pt x="343" y="262"/>
                    </a:cubicBezTo>
                    <a:cubicBezTo>
                      <a:pt x="342" y="263"/>
                      <a:pt x="342" y="263"/>
                      <a:pt x="342" y="263"/>
                    </a:cubicBezTo>
                    <a:cubicBezTo>
                      <a:pt x="341" y="263"/>
                      <a:pt x="341" y="263"/>
                      <a:pt x="341" y="263"/>
                    </a:cubicBezTo>
                    <a:cubicBezTo>
                      <a:pt x="340" y="262"/>
                      <a:pt x="340" y="262"/>
                      <a:pt x="340" y="262"/>
                    </a:cubicBezTo>
                    <a:cubicBezTo>
                      <a:pt x="339" y="261"/>
                      <a:pt x="339" y="261"/>
                      <a:pt x="339" y="261"/>
                    </a:cubicBezTo>
                    <a:cubicBezTo>
                      <a:pt x="340" y="260"/>
                      <a:pt x="340" y="260"/>
                      <a:pt x="340" y="260"/>
                    </a:cubicBezTo>
                    <a:cubicBezTo>
                      <a:pt x="340" y="259"/>
                      <a:pt x="340" y="259"/>
                      <a:pt x="340" y="259"/>
                    </a:cubicBezTo>
                    <a:cubicBezTo>
                      <a:pt x="339" y="259"/>
                      <a:pt x="339" y="259"/>
                      <a:pt x="339" y="259"/>
                    </a:cubicBezTo>
                    <a:cubicBezTo>
                      <a:pt x="338" y="259"/>
                      <a:pt x="338" y="259"/>
                      <a:pt x="338" y="259"/>
                    </a:cubicBezTo>
                    <a:cubicBezTo>
                      <a:pt x="337" y="259"/>
                      <a:pt x="337" y="259"/>
                      <a:pt x="337" y="259"/>
                    </a:cubicBezTo>
                    <a:cubicBezTo>
                      <a:pt x="335" y="256"/>
                      <a:pt x="335" y="256"/>
                      <a:pt x="335" y="256"/>
                    </a:cubicBezTo>
                    <a:cubicBezTo>
                      <a:pt x="333" y="255"/>
                      <a:pt x="333" y="255"/>
                      <a:pt x="333" y="255"/>
                    </a:cubicBezTo>
                    <a:cubicBezTo>
                      <a:pt x="331" y="253"/>
                      <a:pt x="331" y="253"/>
                      <a:pt x="331" y="253"/>
                    </a:cubicBezTo>
                    <a:cubicBezTo>
                      <a:pt x="331" y="252"/>
                      <a:pt x="331" y="252"/>
                      <a:pt x="331" y="252"/>
                    </a:cubicBezTo>
                    <a:cubicBezTo>
                      <a:pt x="331" y="251"/>
                      <a:pt x="331" y="251"/>
                      <a:pt x="331" y="251"/>
                    </a:cubicBezTo>
                    <a:cubicBezTo>
                      <a:pt x="328" y="248"/>
                      <a:pt x="328" y="248"/>
                      <a:pt x="328" y="248"/>
                    </a:cubicBezTo>
                    <a:cubicBezTo>
                      <a:pt x="328" y="248"/>
                      <a:pt x="328" y="248"/>
                      <a:pt x="328" y="248"/>
                    </a:cubicBezTo>
                    <a:cubicBezTo>
                      <a:pt x="327" y="248"/>
                      <a:pt x="327" y="248"/>
                      <a:pt x="327" y="248"/>
                    </a:cubicBezTo>
                    <a:cubicBezTo>
                      <a:pt x="327" y="248"/>
                      <a:pt x="327" y="248"/>
                      <a:pt x="327" y="248"/>
                    </a:cubicBezTo>
                    <a:cubicBezTo>
                      <a:pt x="328" y="249"/>
                      <a:pt x="328" y="249"/>
                      <a:pt x="328" y="249"/>
                    </a:cubicBezTo>
                    <a:cubicBezTo>
                      <a:pt x="329" y="251"/>
                      <a:pt x="329" y="251"/>
                      <a:pt x="329" y="251"/>
                    </a:cubicBezTo>
                    <a:cubicBezTo>
                      <a:pt x="329" y="252"/>
                      <a:pt x="329" y="252"/>
                      <a:pt x="329" y="252"/>
                    </a:cubicBezTo>
                    <a:cubicBezTo>
                      <a:pt x="329" y="253"/>
                      <a:pt x="329" y="253"/>
                      <a:pt x="329" y="253"/>
                    </a:cubicBezTo>
                    <a:cubicBezTo>
                      <a:pt x="326" y="253"/>
                      <a:pt x="326" y="253"/>
                      <a:pt x="326" y="253"/>
                    </a:cubicBezTo>
                    <a:cubicBezTo>
                      <a:pt x="325" y="252"/>
                      <a:pt x="325" y="252"/>
                      <a:pt x="325" y="252"/>
                    </a:cubicBezTo>
                    <a:cubicBezTo>
                      <a:pt x="324" y="250"/>
                      <a:pt x="324" y="250"/>
                      <a:pt x="324" y="250"/>
                    </a:cubicBezTo>
                    <a:cubicBezTo>
                      <a:pt x="324" y="249"/>
                      <a:pt x="324" y="249"/>
                      <a:pt x="324" y="249"/>
                    </a:cubicBezTo>
                    <a:cubicBezTo>
                      <a:pt x="324" y="250"/>
                      <a:pt x="324" y="250"/>
                      <a:pt x="324" y="250"/>
                    </a:cubicBezTo>
                    <a:cubicBezTo>
                      <a:pt x="324" y="251"/>
                      <a:pt x="324" y="251"/>
                      <a:pt x="324" y="251"/>
                    </a:cubicBezTo>
                    <a:cubicBezTo>
                      <a:pt x="325" y="253"/>
                      <a:pt x="325" y="253"/>
                      <a:pt x="325" y="253"/>
                    </a:cubicBezTo>
                    <a:cubicBezTo>
                      <a:pt x="328" y="254"/>
                      <a:pt x="328" y="254"/>
                      <a:pt x="328" y="254"/>
                    </a:cubicBezTo>
                    <a:cubicBezTo>
                      <a:pt x="330" y="254"/>
                      <a:pt x="330" y="254"/>
                      <a:pt x="330" y="254"/>
                    </a:cubicBezTo>
                    <a:cubicBezTo>
                      <a:pt x="333" y="256"/>
                      <a:pt x="333" y="256"/>
                      <a:pt x="333" y="256"/>
                    </a:cubicBezTo>
                    <a:cubicBezTo>
                      <a:pt x="337" y="260"/>
                      <a:pt x="337" y="260"/>
                      <a:pt x="337" y="260"/>
                    </a:cubicBezTo>
                    <a:cubicBezTo>
                      <a:pt x="337" y="261"/>
                      <a:pt x="337" y="261"/>
                      <a:pt x="337" y="261"/>
                    </a:cubicBezTo>
                    <a:cubicBezTo>
                      <a:pt x="336" y="262"/>
                      <a:pt x="336" y="262"/>
                      <a:pt x="336" y="262"/>
                    </a:cubicBezTo>
                    <a:cubicBezTo>
                      <a:pt x="336" y="262"/>
                      <a:pt x="336" y="262"/>
                      <a:pt x="336" y="262"/>
                    </a:cubicBezTo>
                    <a:cubicBezTo>
                      <a:pt x="334" y="261"/>
                      <a:pt x="334" y="261"/>
                      <a:pt x="334" y="261"/>
                    </a:cubicBezTo>
                    <a:cubicBezTo>
                      <a:pt x="333" y="261"/>
                      <a:pt x="333" y="261"/>
                      <a:pt x="333" y="261"/>
                    </a:cubicBezTo>
                    <a:cubicBezTo>
                      <a:pt x="332" y="262"/>
                      <a:pt x="332" y="262"/>
                      <a:pt x="332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9" y="264"/>
                      <a:pt x="329" y="264"/>
                      <a:pt x="329" y="264"/>
                    </a:cubicBezTo>
                    <a:cubicBezTo>
                      <a:pt x="327" y="263"/>
                      <a:pt x="327" y="263"/>
                      <a:pt x="327" y="263"/>
                    </a:cubicBezTo>
                    <a:cubicBezTo>
                      <a:pt x="327" y="262"/>
                      <a:pt x="327" y="262"/>
                      <a:pt x="327" y="262"/>
                    </a:cubicBezTo>
                    <a:cubicBezTo>
                      <a:pt x="327" y="261"/>
                      <a:pt x="327" y="261"/>
                      <a:pt x="327" y="261"/>
                    </a:cubicBezTo>
                    <a:cubicBezTo>
                      <a:pt x="327" y="260"/>
                      <a:pt x="327" y="260"/>
                      <a:pt x="327" y="260"/>
                    </a:cubicBezTo>
                    <a:cubicBezTo>
                      <a:pt x="326" y="259"/>
                      <a:pt x="326" y="259"/>
                      <a:pt x="326" y="259"/>
                    </a:cubicBezTo>
                    <a:cubicBezTo>
                      <a:pt x="326" y="260"/>
                      <a:pt x="326" y="260"/>
                      <a:pt x="326" y="260"/>
                    </a:cubicBezTo>
                    <a:cubicBezTo>
                      <a:pt x="326" y="261"/>
                      <a:pt x="326" y="261"/>
                      <a:pt x="326" y="261"/>
                    </a:cubicBezTo>
                    <a:cubicBezTo>
                      <a:pt x="326" y="263"/>
                      <a:pt x="326" y="263"/>
                      <a:pt x="326" y="263"/>
                    </a:cubicBezTo>
                    <a:cubicBezTo>
                      <a:pt x="327" y="265"/>
                      <a:pt x="327" y="265"/>
                      <a:pt x="327" y="265"/>
                    </a:cubicBezTo>
                    <a:cubicBezTo>
                      <a:pt x="329" y="265"/>
                      <a:pt x="329" y="265"/>
                      <a:pt x="329" y="265"/>
                    </a:cubicBezTo>
                    <a:cubicBezTo>
                      <a:pt x="331" y="264"/>
                      <a:pt x="331" y="264"/>
                      <a:pt x="331" y="264"/>
                    </a:cubicBezTo>
                    <a:cubicBezTo>
                      <a:pt x="332" y="262"/>
                      <a:pt x="332" y="262"/>
                      <a:pt x="332" y="262"/>
                    </a:cubicBezTo>
                    <a:cubicBezTo>
                      <a:pt x="333" y="262"/>
                      <a:pt x="333" y="262"/>
                      <a:pt x="333" y="262"/>
                    </a:cubicBezTo>
                    <a:cubicBezTo>
                      <a:pt x="335" y="263"/>
                      <a:pt x="335" y="263"/>
                      <a:pt x="335" y="263"/>
                    </a:cubicBezTo>
                    <a:cubicBezTo>
                      <a:pt x="335" y="265"/>
                      <a:pt x="335" y="265"/>
                      <a:pt x="335" y="265"/>
                    </a:cubicBezTo>
                    <a:cubicBezTo>
                      <a:pt x="335" y="265"/>
                      <a:pt x="335" y="265"/>
                      <a:pt x="335" y="265"/>
                    </a:cubicBezTo>
                    <a:cubicBezTo>
                      <a:pt x="335" y="269"/>
                      <a:pt x="335" y="269"/>
                      <a:pt x="335" y="269"/>
                    </a:cubicBezTo>
                    <a:cubicBezTo>
                      <a:pt x="334" y="270"/>
                      <a:pt x="334" y="270"/>
                      <a:pt x="334" y="270"/>
                    </a:cubicBezTo>
                    <a:cubicBezTo>
                      <a:pt x="333" y="270"/>
                      <a:pt x="333" y="270"/>
                      <a:pt x="333" y="270"/>
                    </a:cubicBezTo>
                    <a:cubicBezTo>
                      <a:pt x="333" y="271"/>
                      <a:pt x="333" y="271"/>
                      <a:pt x="333" y="271"/>
                    </a:cubicBezTo>
                    <a:cubicBezTo>
                      <a:pt x="334" y="271"/>
                      <a:pt x="334" y="271"/>
                      <a:pt x="334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7" y="271"/>
                      <a:pt x="337" y="271"/>
                      <a:pt x="337" y="271"/>
                    </a:cubicBezTo>
                    <a:cubicBezTo>
                      <a:pt x="338" y="273"/>
                      <a:pt x="338" y="273"/>
                      <a:pt x="338" y="273"/>
                    </a:cubicBezTo>
                    <a:cubicBezTo>
                      <a:pt x="340" y="274"/>
                      <a:pt x="340" y="274"/>
                      <a:pt x="340" y="274"/>
                    </a:cubicBezTo>
                    <a:cubicBezTo>
                      <a:pt x="341" y="273"/>
                      <a:pt x="341" y="273"/>
                      <a:pt x="341" y="273"/>
                    </a:cubicBezTo>
                    <a:cubicBezTo>
                      <a:pt x="342" y="273"/>
                      <a:pt x="342" y="273"/>
                      <a:pt x="342" y="273"/>
                    </a:cubicBezTo>
                    <a:cubicBezTo>
                      <a:pt x="344" y="273"/>
                      <a:pt x="344" y="273"/>
                      <a:pt x="344" y="273"/>
                    </a:cubicBezTo>
                    <a:cubicBezTo>
                      <a:pt x="344" y="274"/>
                      <a:pt x="344" y="274"/>
                      <a:pt x="344" y="274"/>
                    </a:cubicBezTo>
                    <a:cubicBezTo>
                      <a:pt x="344" y="275"/>
                      <a:pt x="344" y="275"/>
                      <a:pt x="344" y="275"/>
                    </a:cubicBezTo>
                    <a:cubicBezTo>
                      <a:pt x="344" y="276"/>
                      <a:pt x="344" y="276"/>
                      <a:pt x="344" y="276"/>
                    </a:cubicBezTo>
                    <a:cubicBezTo>
                      <a:pt x="345" y="277"/>
                      <a:pt x="345" y="277"/>
                      <a:pt x="345" y="277"/>
                    </a:cubicBezTo>
                    <a:cubicBezTo>
                      <a:pt x="344" y="279"/>
                      <a:pt x="344" y="279"/>
                      <a:pt x="344" y="279"/>
                    </a:cubicBezTo>
                    <a:cubicBezTo>
                      <a:pt x="342" y="282"/>
                      <a:pt x="342" y="282"/>
                      <a:pt x="342" y="282"/>
                    </a:cubicBezTo>
                    <a:cubicBezTo>
                      <a:pt x="340" y="283"/>
                      <a:pt x="340" y="283"/>
                      <a:pt x="340" y="283"/>
                    </a:cubicBezTo>
                    <a:cubicBezTo>
                      <a:pt x="339" y="283"/>
                      <a:pt x="339" y="283"/>
                      <a:pt x="339" y="283"/>
                    </a:cubicBezTo>
                    <a:cubicBezTo>
                      <a:pt x="339" y="281"/>
                      <a:pt x="339" y="281"/>
                      <a:pt x="339" y="281"/>
                    </a:cubicBezTo>
                    <a:cubicBezTo>
                      <a:pt x="338" y="281"/>
                      <a:pt x="338" y="281"/>
                      <a:pt x="338" y="281"/>
                    </a:cubicBezTo>
                    <a:cubicBezTo>
                      <a:pt x="337" y="279"/>
                      <a:pt x="337" y="279"/>
                      <a:pt x="337" y="279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35" y="276"/>
                      <a:pt x="335" y="276"/>
                      <a:pt x="335" y="276"/>
                    </a:cubicBezTo>
                    <a:cubicBezTo>
                      <a:pt x="334" y="276"/>
                      <a:pt x="334" y="276"/>
                      <a:pt x="334" y="276"/>
                    </a:cubicBezTo>
                    <a:cubicBezTo>
                      <a:pt x="332" y="275"/>
                      <a:pt x="332" y="275"/>
                      <a:pt x="332" y="275"/>
                    </a:cubicBezTo>
                    <a:cubicBezTo>
                      <a:pt x="331" y="274"/>
                      <a:pt x="331" y="274"/>
                      <a:pt x="331" y="274"/>
                    </a:cubicBezTo>
                    <a:cubicBezTo>
                      <a:pt x="329" y="275"/>
                      <a:pt x="329" y="275"/>
                      <a:pt x="329" y="275"/>
                    </a:cubicBezTo>
                    <a:cubicBezTo>
                      <a:pt x="328" y="275"/>
                      <a:pt x="328" y="275"/>
                      <a:pt x="328" y="275"/>
                    </a:cubicBezTo>
                    <a:cubicBezTo>
                      <a:pt x="327" y="275"/>
                      <a:pt x="327" y="275"/>
                      <a:pt x="327" y="275"/>
                    </a:cubicBezTo>
                    <a:cubicBezTo>
                      <a:pt x="327" y="273"/>
                      <a:pt x="327" y="273"/>
                      <a:pt x="327" y="273"/>
                    </a:cubicBezTo>
                    <a:cubicBezTo>
                      <a:pt x="326" y="272"/>
                      <a:pt x="326" y="272"/>
                      <a:pt x="326" y="272"/>
                    </a:cubicBezTo>
                    <a:cubicBezTo>
                      <a:pt x="325" y="272"/>
                      <a:pt x="325" y="272"/>
                      <a:pt x="325" y="272"/>
                    </a:cubicBez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6" y="274"/>
                      <a:pt x="326" y="274"/>
                      <a:pt x="326" y="274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5" y="278"/>
                      <a:pt x="325" y="278"/>
                      <a:pt x="325" y="278"/>
                    </a:cubicBezTo>
                    <a:cubicBezTo>
                      <a:pt x="324" y="278"/>
                      <a:pt x="324" y="278"/>
                      <a:pt x="324" y="278"/>
                    </a:cubicBezTo>
                    <a:cubicBezTo>
                      <a:pt x="323" y="278"/>
                      <a:pt x="323" y="278"/>
                      <a:pt x="323" y="278"/>
                    </a:cubicBezTo>
                    <a:cubicBezTo>
                      <a:pt x="322" y="279"/>
                      <a:pt x="322" y="279"/>
                      <a:pt x="322" y="279"/>
                    </a:cubicBezTo>
                    <a:cubicBezTo>
                      <a:pt x="323" y="279"/>
                      <a:pt x="323" y="279"/>
                      <a:pt x="323" y="279"/>
                    </a:cubicBezTo>
                    <a:cubicBezTo>
                      <a:pt x="324" y="280"/>
                      <a:pt x="324" y="280"/>
                      <a:pt x="324" y="280"/>
                    </a:cubicBezTo>
                    <a:cubicBezTo>
                      <a:pt x="324" y="281"/>
                      <a:pt x="324" y="281"/>
                      <a:pt x="324" y="281"/>
                    </a:cubicBezTo>
                    <a:cubicBezTo>
                      <a:pt x="322" y="283"/>
                      <a:pt x="322" y="283"/>
                      <a:pt x="322" y="283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1" y="285"/>
                      <a:pt x="321" y="285"/>
                      <a:pt x="321" y="285"/>
                    </a:cubicBezTo>
                    <a:cubicBezTo>
                      <a:pt x="322" y="286"/>
                      <a:pt x="322" y="286"/>
                      <a:pt x="322" y="286"/>
                    </a:cubicBezTo>
                    <a:cubicBezTo>
                      <a:pt x="323" y="288"/>
                      <a:pt x="323" y="288"/>
                      <a:pt x="323" y="288"/>
                    </a:cubicBezTo>
                    <a:cubicBezTo>
                      <a:pt x="324" y="288"/>
                      <a:pt x="324" y="288"/>
                      <a:pt x="324" y="288"/>
                    </a:cubicBezTo>
                    <a:cubicBezTo>
                      <a:pt x="324" y="290"/>
                      <a:pt x="324" y="290"/>
                      <a:pt x="324" y="290"/>
                    </a:cubicBezTo>
                    <a:cubicBezTo>
                      <a:pt x="324" y="292"/>
                      <a:pt x="324" y="292"/>
                      <a:pt x="324" y="292"/>
                    </a:cubicBezTo>
                    <a:cubicBezTo>
                      <a:pt x="324" y="293"/>
                      <a:pt x="324" y="293"/>
                      <a:pt x="324" y="293"/>
                    </a:cubicBezTo>
                    <a:cubicBezTo>
                      <a:pt x="325" y="292"/>
                      <a:pt x="325" y="292"/>
                      <a:pt x="325" y="292"/>
                    </a:cubicBezTo>
                    <a:cubicBezTo>
                      <a:pt x="326" y="290"/>
                      <a:pt x="326" y="290"/>
                      <a:pt x="326" y="290"/>
                    </a:cubicBezTo>
                    <a:cubicBezTo>
                      <a:pt x="325" y="289"/>
                      <a:pt x="325" y="289"/>
                      <a:pt x="325" y="289"/>
                    </a:cubicBezTo>
                    <a:cubicBezTo>
                      <a:pt x="325" y="288"/>
                      <a:pt x="325" y="288"/>
                      <a:pt x="325" y="288"/>
                    </a:cubicBezTo>
                    <a:cubicBezTo>
                      <a:pt x="325" y="287"/>
                      <a:pt x="325" y="287"/>
                      <a:pt x="325" y="287"/>
                    </a:cubicBezTo>
                    <a:cubicBezTo>
                      <a:pt x="325" y="285"/>
                      <a:pt x="325" y="285"/>
                      <a:pt x="325" y="285"/>
                    </a:cubicBezTo>
                    <a:cubicBezTo>
                      <a:pt x="326" y="285"/>
                      <a:pt x="326" y="285"/>
                      <a:pt x="326" y="285"/>
                    </a:cubicBezTo>
                    <a:cubicBezTo>
                      <a:pt x="327" y="287"/>
                      <a:pt x="327" y="287"/>
                      <a:pt x="327" y="287"/>
                    </a:cubicBezTo>
                    <a:cubicBezTo>
                      <a:pt x="327" y="287"/>
                      <a:pt x="327" y="287"/>
                      <a:pt x="327" y="287"/>
                    </a:cubicBezTo>
                    <a:cubicBezTo>
                      <a:pt x="328" y="289"/>
                      <a:pt x="328" y="289"/>
                      <a:pt x="328" y="289"/>
                    </a:cubicBezTo>
                    <a:cubicBezTo>
                      <a:pt x="329" y="290"/>
                      <a:pt x="329" y="290"/>
                      <a:pt x="329" y="290"/>
                    </a:cubicBezTo>
                    <a:cubicBezTo>
                      <a:pt x="330" y="289"/>
                      <a:pt x="330" y="289"/>
                      <a:pt x="330" y="289"/>
                    </a:cubicBezTo>
                    <a:cubicBezTo>
                      <a:pt x="331" y="289"/>
                      <a:pt x="331" y="289"/>
                      <a:pt x="331" y="289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32" y="289"/>
                      <a:pt x="332" y="289"/>
                      <a:pt x="332" y="289"/>
                    </a:cubicBezTo>
                    <a:cubicBezTo>
                      <a:pt x="334" y="289"/>
                      <a:pt x="334" y="289"/>
                      <a:pt x="334" y="289"/>
                    </a:cubicBezTo>
                    <a:cubicBezTo>
                      <a:pt x="335" y="289"/>
                      <a:pt x="335" y="289"/>
                      <a:pt x="335" y="289"/>
                    </a:cubicBezTo>
                    <a:cubicBezTo>
                      <a:pt x="335" y="290"/>
                      <a:pt x="335" y="290"/>
                      <a:pt x="335" y="290"/>
                    </a:cubicBezTo>
                    <a:cubicBezTo>
                      <a:pt x="335" y="291"/>
                      <a:pt x="335" y="291"/>
                      <a:pt x="335" y="291"/>
                    </a:cubicBezTo>
                    <a:cubicBezTo>
                      <a:pt x="334" y="293"/>
                      <a:pt x="334" y="293"/>
                      <a:pt x="334" y="293"/>
                    </a:cubicBezTo>
                    <a:cubicBezTo>
                      <a:pt x="333" y="295"/>
                      <a:pt x="333" y="295"/>
                      <a:pt x="333" y="295"/>
                    </a:cubicBezTo>
                    <a:cubicBezTo>
                      <a:pt x="333" y="296"/>
                      <a:pt x="333" y="296"/>
                      <a:pt x="333" y="296"/>
                    </a:cubicBezTo>
                    <a:cubicBezTo>
                      <a:pt x="333" y="299"/>
                      <a:pt x="333" y="299"/>
                      <a:pt x="333" y="299"/>
                    </a:cubicBezTo>
                    <a:cubicBezTo>
                      <a:pt x="333" y="299"/>
                      <a:pt x="333" y="299"/>
                      <a:pt x="333" y="299"/>
                    </a:cubicBezTo>
                    <a:cubicBezTo>
                      <a:pt x="331" y="299"/>
                      <a:pt x="331" y="299"/>
                      <a:pt x="331" y="299"/>
                    </a:cubicBezTo>
                    <a:cubicBezTo>
                      <a:pt x="329" y="300"/>
                      <a:pt x="329" y="300"/>
                      <a:pt x="329" y="300"/>
                    </a:cubicBezTo>
                    <a:cubicBezTo>
                      <a:pt x="328" y="299"/>
                      <a:pt x="328" y="299"/>
                      <a:pt x="328" y="299"/>
                    </a:cubicBezTo>
                    <a:cubicBezTo>
                      <a:pt x="327" y="299"/>
                      <a:pt x="327" y="299"/>
                      <a:pt x="327" y="299"/>
                    </a:cubicBezTo>
                    <a:cubicBezTo>
                      <a:pt x="326" y="299"/>
                      <a:pt x="326" y="299"/>
                      <a:pt x="326" y="299"/>
                    </a:cubicBezTo>
                    <a:cubicBezTo>
                      <a:pt x="324" y="300"/>
                      <a:pt x="324" y="300"/>
                      <a:pt x="324" y="300"/>
                    </a:cubicBezTo>
                    <a:cubicBezTo>
                      <a:pt x="324" y="301"/>
                      <a:pt x="324" y="301"/>
                      <a:pt x="324" y="301"/>
                    </a:cubicBezTo>
                    <a:cubicBezTo>
                      <a:pt x="323" y="302"/>
                      <a:pt x="323" y="302"/>
                      <a:pt x="323" y="302"/>
                    </a:cubicBezTo>
                    <a:cubicBezTo>
                      <a:pt x="322" y="302"/>
                      <a:pt x="322" y="302"/>
                      <a:pt x="322" y="302"/>
                    </a:cubicBezTo>
                    <a:cubicBezTo>
                      <a:pt x="321" y="302"/>
                      <a:pt x="321" y="302"/>
                      <a:pt x="321" y="302"/>
                    </a:cubicBezTo>
                    <a:cubicBezTo>
                      <a:pt x="321" y="303"/>
                      <a:pt x="321" y="303"/>
                      <a:pt x="321" y="303"/>
                    </a:cubicBezTo>
                    <a:cubicBezTo>
                      <a:pt x="320" y="304"/>
                      <a:pt x="320" y="304"/>
                      <a:pt x="320" y="304"/>
                    </a:cubicBezTo>
                    <a:cubicBezTo>
                      <a:pt x="319" y="304"/>
                      <a:pt x="319" y="304"/>
                      <a:pt x="319" y="304"/>
                    </a:cubicBezTo>
                    <a:cubicBezTo>
                      <a:pt x="318" y="304"/>
                      <a:pt x="318" y="304"/>
                      <a:pt x="318" y="304"/>
                    </a:cubicBezTo>
                    <a:cubicBezTo>
                      <a:pt x="317" y="303"/>
                      <a:pt x="317" y="303"/>
                      <a:pt x="317" y="303"/>
                    </a:cubicBezTo>
                    <a:cubicBezTo>
                      <a:pt x="314" y="301"/>
                      <a:pt x="314" y="301"/>
                      <a:pt x="314" y="301"/>
                    </a:cubicBezTo>
                    <a:cubicBezTo>
                      <a:pt x="312" y="300"/>
                      <a:pt x="312" y="300"/>
                      <a:pt x="312" y="300"/>
                    </a:cubicBezTo>
                    <a:cubicBezTo>
                      <a:pt x="308" y="296"/>
                      <a:pt x="308" y="296"/>
                      <a:pt x="308" y="296"/>
                    </a:cubicBezTo>
                    <a:cubicBezTo>
                      <a:pt x="308" y="294"/>
                      <a:pt x="308" y="294"/>
                      <a:pt x="308" y="294"/>
                    </a:cubicBezTo>
                    <a:cubicBezTo>
                      <a:pt x="308" y="293"/>
                      <a:pt x="308" y="293"/>
                      <a:pt x="308" y="293"/>
                    </a:cubicBezTo>
                    <a:cubicBezTo>
                      <a:pt x="308" y="293"/>
                      <a:pt x="308" y="293"/>
                      <a:pt x="308" y="293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93"/>
                      <a:pt x="310" y="293"/>
                      <a:pt x="310" y="293"/>
                    </a:cubicBezTo>
                    <a:cubicBezTo>
                      <a:pt x="311" y="294"/>
                      <a:pt x="311" y="294"/>
                      <a:pt x="311" y="294"/>
                    </a:cubicBezTo>
                    <a:cubicBezTo>
                      <a:pt x="314" y="295"/>
                      <a:pt x="314" y="295"/>
                      <a:pt x="314" y="295"/>
                    </a:cubicBezTo>
                    <a:cubicBezTo>
                      <a:pt x="316" y="297"/>
                      <a:pt x="316" y="297"/>
                      <a:pt x="316" y="297"/>
                    </a:cubicBezTo>
                    <a:cubicBezTo>
                      <a:pt x="317" y="297"/>
                      <a:pt x="317" y="297"/>
                      <a:pt x="317" y="297"/>
                    </a:cubicBezTo>
                    <a:cubicBezTo>
                      <a:pt x="319" y="296"/>
                      <a:pt x="319" y="296"/>
                      <a:pt x="319" y="296"/>
                    </a:cubicBezTo>
                    <a:cubicBezTo>
                      <a:pt x="319" y="295"/>
                      <a:pt x="319" y="295"/>
                      <a:pt x="319" y="295"/>
                    </a:cubicBezTo>
                    <a:cubicBezTo>
                      <a:pt x="319" y="295"/>
                      <a:pt x="319" y="295"/>
                      <a:pt x="319" y="295"/>
                    </a:cubicBezTo>
                    <a:cubicBezTo>
                      <a:pt x="318" y="295"/>
                      <a:pt x="318" y="295"/>
                      <a:pt x="318" y="295"/>
                    </a:cubicBezTo>
                    <a:cubicBezTo>
                      <a:pt x="317" y="295"/>
                      <a:pt x="317" y="295"/>
                      <a:pt x="317" y="295"/>
                    </a:cubicBezTo>
                    <a:cubicBezTo>
                      <a:pt x="315" y="295"/>
                      <a:pt x="315" y="295"/>
                      <a:pt x="315" y="295"/>
                    </a:cubicBezTo>
                    <a:cubicBezTo>
                      <a:pt x="312" y="293"/>
                      <a:pt x="312" y="293"/>
                      <a:pt x="312" y="293"/>
                    </a:cubicBezTo>
                    <a:cubicBezTo>
                      <a:pt x="309" y="291"/>
                      <a:pt x="309" y="291"/>
                      <a:pt x="309" y="291"/>
                    </a:cubicBezTo>
                    <a:cubicBezTo>
                      <a:pt x="308" y="291"/>
                      <a:pt x="308" y="291"/>
                      <a:pt x="308" y="291"/>
                    </a:cubicBezTo>
                    <a:cubicBezTo>
                      <a:pt x="308" y="290"/>
                      <a:pt x="308" y="290"/>
                      <a:pt x="308" y="290"/>
                    </a:cubicBezTo>
                    <a:cubicBezTo>
                      <a:pt x="308" y="289"/>
                      <a:pt x="308" y="289"/>
                      <a:pt x="308" y="289"/>
                    </a:cubicBezTo>
                    <a:cubicBezTo>
                      <a:pt x="307" y="289"/>
                      <a:pt x="307" y="289"/>
                      <a:pt x="307" y="289"/>
                    </a:cubicBezTo>
                    <a:cubicBezTo>
                      <a:pt x="306" y="289"/>
                      <a:pt x="306" y="289"/>
                      <a:pt x="306" y="289"/>
                    </a:cubicBezTo>
                    <a:cubicBezTo>
                      <a:pt x="306" y="290"/>
                      <a:pt x="306" y="290"/>
                      <a:pt x="306" y="290"/>
                    </a:cubicBezTo>
                    <a:cubicBezTo>
                      <a:pt x="305" y="292"/>
                      <a:pt x="305" y="292"/>
                      <a:pt x="305" y="292"/>
                    </a:cubicBezTo>
                    <a:cubicBezTo>
                      <a:pt x="305" y="295"/>
                      <a:pt x="305" y="295"/>
                      <a:pt x="305" y="295"/>
                    </a:cubicBezTo>
                    <a:cubicBezTo>
                      <a:pt x="305" y="296"/>
                      <a:pt x="305" y="296"/>
                      <a:pt x="305" y="296"/>
                    </a:cubicBezTo>
                    <a:cubicBezTo>
                      <a:pt x="305" y="297"/>
                      <a:pt x="305" y="297"/>
                      <a:pt x="305" y="297"/>
                    </a:cubicBezTo>
                    <a:cubicBezTo>
                      <a:pt x="304" y="296"/>
                      <a:pt x="304" y="296"/>
                      <a:pt x="304" y="296"/>
                    </a:cubicBezTo>
                    <a:cubicBezTo>
                      <a:pt x="301" y="293"/>
                      <a:pt x="301" y="293"/>
                      <a:pt x="301" y="293"/>
                    </a:cubicBezTo>
                    <a:cubicBezTo>
                      <a:pt x="299" y="289"/>
                      <a:pt x="299" y="289"/>
                      <a:pt x="299" y="289"/>
                    </a:cubicBezTo>
                    <a:cubicBezTo>
                      <a:pt x="299" y="288"/>
                      <a:pt x="299" y="288"/>
                      <a:pt x="299" y="288"/>
                    </a:cubicBezTo>
                    <a:cubicBezTo>
                      <a:pt x="298" y="287"/>
                      <a:pt x="298" y="287"/>
                      <a:pt x="298" y="287"/>
                    </a:cubicBezTo>
                    <a:cubicBezTo>
                      <a:pt x="298" y="287"/>
                      <a:pt x="298" y="287"/>
                      <a:pt x="298" y="287"/>
                    </a:cubicBezTo>
                    <a:cubicBezTo>
                      <a:pt x="297" y="286"/>
                      <a:pt x="297" y="286"/>
                      <a:pt x="297" y="286"/>
                    </a:cubicBezTo>
                    <a:cubicBezTo>
                      <a:pt x="297" y="287"/>
                      <a:pt x="297" y="287"/>
                      <a:pt x="297" y="287"/>
                    </a:cubicBezTo>
                    <a:cubicBezTo>
                      <a:pt x="297" y="288"/>
                      <a:pt x="297" y="288"/>
                      <a:pt x="297" y="288"/>
                    </a:cubicBezTo>
                    <a:cubicBezTo>
                      <a:pt x="298" y="289"/>
                      <a:pt x="298" y="289"/>
                      <a:pt x="298" y="289"/>
                    </a:cubicBezTo>
                    <a:cubicBezTo>
                      <a:pt x="300" y="292"/>
                      <a:pt x="300" y="292"/>
                      <a:pt x="300" y="292"/>
                    </a:cubicBezTo>
                    <a:cubicBezTo>
                      <a:pt x="301" y="293"/>
                      <a:pt x="301" y="293"/>
                      <a:pt x="301" y="293"/>
                    </a:cubicBezTo>
                    <a:cubicBezTo>
                      <a:pt x="302" y="295"/>
                      <a:pt x="302" y="295"/>
                      <a:pt x="302" y="295"/>
                    </a:cubicBezTo>
                    <a:cubicBezTo>
                      <a:pt x="302" y="296"/>
                      <a:pt x="302" y="296"/>
                      <a:pt x="302" y="296"/>
                    </a:cubicBezTo>
                    <a:cubicBezTo>
                      <a:pt x="302" y="297"/>
                      <a:pt x="302" y="297"/>
                      <a:pt x="302" y="297"/>
                    </a:cubicBezTo>
                    <a:cubicBezTo>
                      <a:pt x="301" y="297"/>
                      <a:pt x="301" y="297"/>
                      <a:pt x="301" y="297"/>
                    </a:cubicBezTo>
                    <a:cubicBezTo>
                      <a:pt x="300" y="297"/>
                      <a:pt x="300" y="297"/>
                      <a:pt x="300" y="297"/>
                    </a:cubicBezTo>
                    <a:cubicBezTo>
                      <a:pt x="298" y="298"/>
                      <a:pt x="298" y="298"/>
                      <a:pt x="298" y="298"/>
                    </a:cubicBezTo>
                    <a:cubicBezTo>
                      <a:pt x="298" y="299"/>
                      <a:pt x="298" y="299"/>
                      <a:pt x="298" y="299"/>
                    </a:cubicBez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5" y="301"/>
                      <a:pt x="295" y="301"/>
                      <a:pt x="295" y="301"/>
                    </a:cubicBezTo>
                    <a:cubicBezTo>
                      <a:pt x="293" y="301"/>
                      <a:pt x="293" y="301"/>
                      <a:pt x="293" y="301"/>
                    </a:cubicBezTo>
                    <a:cubicBezTo>
                      <a:pt x="292" y="301"/>
                      <a:pt x="292" y="301"/>
                      <a:pt x="292" y="301"/>
                    </a:cubicBezTo>
                    <a:cubicBezTo>
                      <a:pt x="291" y="300"/>
                      <a:pt x="291" y="300"/>
                      <a:pt x="291" y="300"/>
                    </a:cubicBezTo>
                    <a:cubicBezTo>
                      <a:pt x="290" y="300"/>
                      <a:pt x="290" y="300"/>
                      <a:pt x="290" y="300"/>
                    </a:cubicBezTo>
                    <a:cubicBezTo>
                      <a:pt x="289" y="299"/>
                      <a:pt x="289" y="299"/>
                      <a:pt x="289" y="299"/>
                    </a:cubicBezTo>
                    <a:cubicBezTo>
                      <a:pt x="289" y="298"/>
                      <a:pt x="289" y="298"/>
                      <a:pt x="289" y="298"/>
                    </a:cubicBezTo>
                    <a:cubicBezTo>
                      <a:pt x="287" y="297"/>
                      <a:pt x="287" y="297"/>
                      <a:pt x="287" y="297"/>
                    </a:cubicBezTo>
                    <a:cubicBezTo>
                      <a:pt x="285" y="296"/>
                      <a:pt x="285" y="296"/>
                      <a:pt x="285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4"/>
                      <a:pt x="285" y="294"/>
                      <a:pt x="285" y="294"/>
                    </a:cubicBezTo>
                    <a:cubicBezTo>
                      <a:pt x="284" y="294"/>
                      <a:pt x="284" y="294"/>
                      <a:pt x="284" y="294"/>
                    </a:cubicBezTo>
                    <a:cubicBezTo>
                      <a:pt x="284" y="294"/>
                      <a:pt x="284" y="294"/>
                      <a:pt x="284" y="294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7"/>
                      <a:pt x="285" y="297"/>
                      <a:pt x="285" y="297"/>
                    </a:cubicBezTo>
                    <a:cubicBezTo>
                      <a:pt x="286" y="298"/>
                      <a:pt x="286" y="298"/>
                      <a:pt x="286" y="298"/>
                    </a:cubicBezTo>
                    <a:cubicBezTo>
                      <a:pt x="288" y="299"/>
                      <a:pt x="288" y="299"/>
                      <a:pt x="288" y="299"/>
                    </a:cubicBezTo>
                    <a:cubicBezTo>
                      <a:pt x="289" y="301"/>
                      <a:pt x="289" y="301"/>
                      <a:pt x="289" y="301"/>
                    </a:cubicBezTo>
                    <a:cubicBezTo>
                      <a:pt x="289" y="302"/>
                      <a:pt x="289" y="302"/>
                      <a:pt x="289" y="302"/>
                    </a:cubicBezTo>
                    <a:cubicBezTo>
                      <a:pt x="288" y="302"/>
                      <a:pt x="288" y="302"/>
                      <a:pt x="288" y="302"/>
                    </a:cubicBezTo>
                    <a:cubicBezTo>
                      <a:pt x="285" y="302"/>
                      <a:pt x="285" y="302"/>
                      <a:pt x="285" y="302"/>
                    </a:cubicBezTo>
                    <a:cubicBezTo>
                      <a:pt x="283" y="302"/>
                      <a:pt x="283" y="302"/>
                      <a:pt x="283" y="302"/>
                    </a:cubicBezTo>
                    <a:cubicBezTo>
                      <a:pt x="281" y="302"/>
                      <a:pt x="281" y="302"/>
                      <a:pt x="281" y="302"/>
                    </a:cubicBezTo>
                    <a:cubicBezTo>
                      <a:pt x="280" y="303"/>
                      <a:pt x="280" y="303"/>
                      <a:pt x="280" y="303"/>
                    </a:cubicBezTo>
                    <a:cubicBezTo>
                      <a:pt x="281" y="304"/>
                      <a:pt x="281" y="304"/>
                      <a:pt x="281" y="304"/>
                    </a:cubicBezTo>
                    <a:cubicBezTo>
                      <a:pt x="281" y="304"/>
                      <a:pt x="281" y="304"/>
                      <a:pt x="281" y="304"/>
                    </a:cubicBezTo>
                    <a:cubicBezTo>
                      <a:pt x="282" y="305"/>
                      <a:pt x="282" y="305"/>
                      <a:pt x="282" y="305"/>
                    </a:cubicBezTo>
                    <a:cubicBezTo>
                      <a:pt x="283" y="306"/>
                      <a:pt x="283" y="306"/>
                      <a:pt x="283" y="306"/>
                    </a:cubicBezTo>
                    <a:cubicBezTo>
                      <a:pt x="283" y="305"/>
                      <a:pt x="283" y="305"/>
                      <a:pt x="283" y="305"/>
                    </a:cubicBezTo>
                    <a:cubicBezTo>
                      <a:pt x="284" y="304"/>
                      <a:pt x="284" y="304"/>
                      <a:pt x="284" y="304"/>
                    </a:cubicBezTo>
                    <a:cubicBezTo>
                      <a:pt x="285" y="303"/>
                      <a:pt x="285" y="303"/>
                      <a:pt x="285" y="303"/>
                    </a:cubicBezTo>
                    <a:cubicBezTo>
                      <a:pt x="285" y="303"/>
                      <a:pt x="287" y="304"/>
                      <a:pt x="287" y="304"/>
                    </a:cubicBezTo>
                    <a:cubicBezTo>
                      <a:pt x="287" y="304"/>
                      <a:pt x="288" y="305"/>
                      <a:pt x="288" y="305"/>
                    </a:cubicBezTo>
                    <a:cubicBezTo>
                      <a:pt x="289" y="304"/>
                      <a:pt x="289" y="304"/>
                      <a:pt x="289" y="304"/>
                    </a:cubicBezTo>
                    <a:cubicBezTo>
                      <a:pt x="289" y="303"/>
                      <a:pt x="289" y="303"/>
                      <a:pt x="289" y="303"/>
                    </a:cubicBezTo>
                    <a:cubicBezTo>
                      <a:pt x="291" y="302"/>
                      <a:pt x="291" y="302"/>
                      <a:pt x="291" y="302"/>
                    </a:cubicBezTo>
                    <a:cubicBezTo>
                      <a:pt x="292" y="303"/>
                      <a:pt x="292" y="303"/>
                      <a:pt x="292" y="303"/>
                    </a:cubicBezTo>
                    <a:cubicBezTo>
                      <a:pt x="294" y="302"/>
                      <a:pt x="294" y="302"/>
                      <a:pt x="294" y="302"/>
                    </a:cubicBezTo>
                    <a:cubicBezTo>
                      <a:pt x="295" y="303"/>
                      <a:pt x="295" y="303"/>
                      <a:pt x="295" y="303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8" y="304"/>
                      <a:pt x="298" y="304"/>
                      <a:pt x="298" y="304"/>
                    </a:cubicBezTo>
                    <a:cubicBezTo>
                      <a:pt x="299" y="305"/>
                      <a:pt x="299" y="305"/>
                      <a:pt x="299" y="305"/>
                    </a:cubicBezTo>
                    <a:cubicBezTo>
                      <a:pt x="300" y="307"/>
                      <a:pt x="300" y="307"/>
                      <a:pt x="300" y="307"/>
                    </a:cubicBezTo>
                    <a:cubicBezTo>
                      <a:pt x="299" y="308"/>
                      <a:pt x="299" y="308"/>
                      <a:pt x="299" y="308"/>
                    </a:cubicBezTo>
                    <a:cubicBezTo>
                      <a:pt x="299" y="308"/>
                      <a:pt x="299" y="308"/>
                      <a:pt x="299" y="308"/>
                    </a:cubicBezTo>
                    <a:cubicBezTo>
                      <a:pt x="298" y="309"/>
                      <a:pt x="298" y="309"/>
                      <a:pt x="298" y="309"/>
                    </a:cubicBezTo>
                    <a:cubicBezTo>
                      <a:pt x="296" y="309"/>
                      <a:pt x="296" y="309"/>
                      <a:pt x="296" y="309"/>
                    </a:cubicBezTo>
                    <a:cubicBezTo>
                      <a:pt x="295" y="309"/>
                      <a:pt x="295" y="309"/>
                      <a:pt x="295" y="309"/>
                    </a:cubicBezTo>
                    <a:cubicBezTo>
                      <a:pt x="293" y="310"/>
                      <a:pt x="293" y="310"/>
                      <a:pt x="293" y="310"/>
                    </a:cubicBezTo>
                    <a:cubicBezTo>
                      <a:pt x="292" y="311"/>
                      <a:pt x="292" y="311"/>
                      <a:pt x="292" y="311"/>
                    </a:cubicBezTo>
                    <a:cubicBezTo>
                      <a:pt x="290" y="311"/>
                      <a:pt x="290" y="311"/>
                      <a:pt x="290" y="311"/>
                    </a:cubicBezTo>
                    <a:cubicBezTo>
                      <a:pt x="289" y="309"/>
                      <a:pt x="289" y="309"/>
                      <a:pt x="289" y="309"/>
                    </a:cubicBezTo>
                    <a:cubicBezTo>
                      <a:pt x="288" y="308"/>
                      <a:pt x="288" y="308"/>
                      <a:pt x="288" y="308"/>
                    </a:cubicBezTo>
                    <a:cubicBezTo>
                      <a:pt x="287" y="309"/>
                      <a:pt x="287" y="309"/>
                      <a:pt x="287" y="309"/>
                    </a:cubicBezTo>
                    <a:cubicBezTo>
                      <a:pt x="286" y="309"/>
                      <a:pt x="286" y="309"/>
                      <a:pt x="286" y="309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4" y="309"/>
                      <a:pt x="284" y="309"/>
                      <a:pt x="284" y="309"/>
                    </a:cubicBezTo>
                    <a:cubicBezTo>
                      <a:pt x="283" y="309"/>
                      <a:pt x="283" y="309"/>
                      <a:pt x="283" y="309"/>
                    </a:cubicBezTo>
                    <a:cubicBezTo>
                      <a:pt x="283" y="310"/>
                      <a:pt x="283" y="310"/>
                      <a:pt x="283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7" y="310"/>
                      <a:pt x="287" y="310"/>
                      <a:pt x="287" y="310"/>
                    </a:cubicBezTo>
                    <a:cubicBezTo>
                      <a:pt x="288" y="310"/>
                      <a:pt x="288" y="310"/>
                      <a:pt x="288" y="310"/>
                    </a:cubicBezTo>
                    <a:cubicBezTo>
                      <a:pt x="289" y="311"/>
                      <a:pt x="289" y="311"/>
                      <a:pt x="289" y="311"/>
                    </a:cubicBezTo>
                    <a:cubicBezTo>
                      <a:pt x="288" y="312"/>
                      <a:pt x="288" y="312"/>
                      <a:pt x="288" y="312"/>
                    </a:cubicBezTo>
                    <a:cubicBezTo>
                      <a:pt x="286" y="312"/>
                      <a:pt x="286" y="312"/>
                      <a:pt x="286" y="312"/>
                    </a:cubicBezTo>
                    <a:cubicBezTo>
                      <a:pt x="285" y="313"/>
                      <a:pt x="285" y="313"/>
                      <a:pt x="285" y="313"/>
                    </a:cubicBezTo>
                    <a:cubicBezTo>
                      <a:pt x="284" y="313"/>
                      <a:pt x="284" y="313"/>
                      <a:pt x="284" y="313"/>
                    </a:cubicBezTo>
                    <a:cubicBezTo>
                      <a:pt x="285" y="314"/>
                      <a:pt x="285" y="314"/>
                      <a:pt x="285" y="314"/>
                    </a:cubicBezTo>
                    <a:cubicBezTo>
                      <a:pt x="286" y="313"/>
                      <a:pt x="286" y="313"/>
                      <a:pt x="286" y="313"/>
                    </a:cubicBezTo>
                    <a:cubicBezTo>
                      <a:pt x="288" y="312"/>
                      <a:pt x="288" y="312"/>
                      <a:pt x="288" y="312"/>
                    </a:cubicBezTo>
                    <a:cubicBezTo>
                      <a:pt x="289" y="312"/>
                      <a:pt x="289" y="312"/>
                      <a:pt x="289" y="312"/>
                    </a:cubicBezTo>
                    <a:cubicBezTo>
                      <a:pt x="289" y="313"/>
                      <a:pt x="289" y="313"/>
                      <a:pt x="289" y="313"/>
                    </a:cubicBezTo>
                    <a:cubicBezTo>
                      <a:pt x="289" y="315"/>
                      <a:pt x="289" y="315"/>
                      <a:pt x="289" y="315"/>
                    </a:cubicBezTo>
                    <a:cubicBezTo>
                      <a:pt x="290" y="315"/>
                      <a:pt x="290" y="315"/>
                      <a:pt x="290" y="315"/>
                    </a:cubicBezTo>
                    <a:cubicBezTo>
                      <a:pt x="291" y="313"/>
                      <a:pt x="291" y="313"/>
                      <a:pt x="291" y="313"/>
                    </a:cubicBezTo>
                    <a:cubicBezTo>
                      <a:pt x="292" y="313"/>
                      <a:pt x="292" y="313"/>
                      <a:pt x="292" y="313"/>
                    </a:cubicBezTo>
                    <a:cubicBezTo>
                      <a:pt x="293" y="313"/>
                      <a:pt x="293" y="313"/>
                      <a:pt x="293" y="313"/>
                    </a:cubicBezTo>
                    <a:cubicBezTo>
                      <a:pt x="295" y="311"/>
                      <a:pt x="295" y="311"/>
                      <a:pt x="295" y="311"/>
                    </a:cubicBezTo>
                    <a:cubicBezTo>
                      <a:pt x="295" y="311"/>
                      <a:pt x="295" y="311"/>
                      <a:pt x="295" y="311"/>
                    </a:cubicBezTo>
                    <a:cubicBezTo>
                      <a:pt x="296" y="312"/>
                      <a:pt x="296" y="312"/>
                      <a:pt x="296" y="312"/>
                    </a:cubicBezTo>
                    <a:cubicBezTo>
                      <a:pt x="299" y="314"/>
                      <a:pt x="299" y="314"/>
                      <a:pt x="299" y="314"/>
                    </a:cubicBezTo>
                    <a:cubicBezTo>
                      <a:pt x="299" y="313"/>
                      <a:pt x="299" y="313"/>
                      <a:pt x="299" y="313"/>
                    </a:cubicBezTo>
                    <a:cubicBezTo>
                      <a:pt x="300" y="314"/>
                      <a:pt x="300" y="314"/>
                      <a:pt x="300" y="314"/>
                    </a:cubicBezTo>
                    <a:cubicBezTo>
                      <a:pt x="300" y="315"/>
                      <a:pt x="300" y="315"/>
                      <a:pt x="300" y="315"/>
                    </a:cubicBezTo>
                    <a:cubicBezTo>
                      <a:pt x="300" y="318"/>
                      <a:pt x="300" y="318"/>
                      <a:pt x="300" y="318"/>
                    </a:cubicBezTo>
                    <a:cubicBezTo>
                      <a:pt x="299" y="319"/>
                      <a:pt x="299" y="319"/>
                      <a:pt x="299" y="319"/>
                    </a:cubicBezTo>
                    <a:cubicBezTo>
                      <a:pt x="297" y="320"/>
                      <a:pt x="297" y="320"/>
                      <a:pt x="297" y="320"/>
                    </a:cubicBezTo>
                    <a:cubicBezTo>
                      <a:pt x="295" y="319"/>
                      <a:pt x="295" y="319"/>
                      <a:pt x="295" y="319"/>
                    </a:cubicBezTo>
                    <a:cubicBezTo>
                      <a:pt x="294" y="319"/>
                      <a:pt x="294" y="319"/>
                      <a:pt x="294" y="319"/>
                    </a:cubicBezTo>
                    <a:cubicBezTo>
                      <a:pt x="291" y="319"/>
                      <a:pt x="291" y="319"/>
                      <a:pt x="291" y="319"/>
                    </a:cubicBezTo>
                    <a:cubicBezTo>
                      <a:pt x="290" y="319"/>
                      <a:pt x="290" y="319"/>
                      <a:pt x="290" y="319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91" y="320"/>
                      <a:pt x="291" y="320"/>
                      <a:pt x="291" y="320"/>
                    </a:cubicBezTo>
                    <a:cubicBezTo>
                      <a:pt x="293" y="320"/>
                      <a:pt x="293" y="320"/>
                      <a:pt x="293" y="320"/>
                    </a:cubicBezTo>
                    <a:cubicBezTo>
                      <a:pt x="296" y="321"/>
                      <a:pt x="296" y="321"/>
                      <a:pt x="296" y="321"/>
                    </a:cubicBezTo>
                    <a:cubicBezTo>
                      <a:pt x="296" y="322"/>
                      <a:pt x="296" y="322"/>
                      <a:pt x="296" y="322"/>
                    </a:cubicBezTo>
                    <a:cubicBezTo>
                      <a:pt x="296" y="323"/>
                      <a:pt x="296" y="323"/>
                      <a:pt x="296" y="323"/>
                    </a:cubicBezTo>
                    <a:cubicBezTo>
                      <a:pt x="297" y="321"/>
                      <a:pt x="297" y="321"/>
                      <a:pt x="297" y="321"/>
                    </a:cubicBezTo>
                    <a:cubicBezTo>
                      <a:pt x="299" y="321"/>
                      <a:pt x="299" y="321"/>
                      <a:pt x="299" y="321"/>
                    </a:cubicBezTo>
                    <a:cubicBezTo>
                      <a:pt x="301" y="321"/>
                      <a:pt x="301" y="321"/>
                      <a:pt x="301" y="321"/>
                    </a:cubicBezTo>
                    <a:cubicBezTo>
                      <a:pt x="303" y="322"/>
                      <a:pt x="303" y="322"/>
                      <a:pt x="303" y="322"/>
                    </a:cubicBezTo>
                    <a:cubicBezTo>
                      <a:pt x="303" y="322"/>
                      <a:pt x="303" y="322"/>
                      <a:pt x="303" y="322"/>
                    </a:cubicBezTo>
                    <a:cubicBezTo>
                      <a:pt x="306" y="325"/>
                      <a:pt x="306" y="325"/>
                      <a:pt x="306" y="325"/>
                    </a:cubicBezTo>
                    <a:cubicBezTo>
                      <a:pt x="306" y="325"/>
                      <a:pt x="306" y="325"/>
                      <a:pt x="306" y="325"/>
                    </a:cubicBezTo>
                    <a:cubicBezTo>
                      <a:pt x="307" y="326"/>
                      <a:pt x="307" y="326"/>
                      <a:pt x="307" y="326"/>
                    </a:cubicBezTo>
                    <a:cubicBezTo>
                      <a:pt x="308" y="326"/>
                      <a:pt x="308" y="326"/>
                      <a:pt x="308" y="326"/>
                    </a:cubicBezTo>
                    <a:cubicBezTo>
                      <a:pt x="308" y="327"/>
                      <a:pt x="308" y="327"/>
                      <a:pt x="308" y="327"/>
                    </a:cubicBezTo>
                    <a:cubicBezTo>
                      <a:pt x="309" y="327"/>
                      <a:pt x="309" y="327"/>
                      <a:pt x="309" y="327"/>
                    </a:cubicBezTo>
                    <a:cubicBezTo>
                      <a:pt x="310" y="328"/>
                      <a:pt x="310" y="328"/>
                      <a:pt x="310" y="328"/>
                    </a:cubicBezTo>
                    <a:cubicBezTo>
                      <a:pt x="311" y="329"/>
                      <a:pt x="311" y="329"/>
                      <a:pt x="311" y="329"/>
                    </a:cubicBezTo>
                    <a:cubicBezTo>
                      <a:pt x="312" y="330"/>
                      <a:pt x="312" y="330"/>
                      <a:pt x="312" y="330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4" y="332"/>
                      <a:pt x="314" y="332"/>
                      <a:pt x="314" y="332"/>
                    </a:cubicBezTo>
                    <a:cubicBezTo>
                      <a:pt x="315" y="332"/>
                      <a:pt x="315" y="332"/>
                      <a:pt x="315" y="332"/>
                    </a:cubicBezTo>
                    <a:cubicBezTo>
                      <a:pt x="315" y="333"/>
                      <a:pt x="315" y="333"/>
                      <a:pt x="315" y="333"/>
                    </a:cubicBezTo>
                    <a:cubicBezTo>
                      <a:pt x="314" y="335"/>
                      <a:pt x="314" y="335"/>
                      <a:pt x="314" y="335"/>
                    </a:cubicBezTo>
                    <a:cubicBezTo>
                      <a:pt x="313" y="336"/>
                      <a:pt x="313" y="336"/>
                      <a:pt x="313" y="336"/>
                    </a:cubicBezTo>
                    <a:cubicBezTo>
                      <a:pt x="312" y="337"/>
                      <a:pt x="312" y="337"/>
                      <a:pt x="312" y="337"/>
                    </a:cubicBezTo>
                    <a:cubicBezTo>
                      <a:pt x="312" y="338"/>
                      <a:pt x="312" y="338"/>
                      <a:pt x="312" y="338"/>
                    </a:cubicBezTo>
                    <a:cubicBezTo>
                      <a:pt x="312" y="339"/>
                      <a:pt x="312" y="339"/>
                      <a:pt x="312" y="339"/>
                    </a:cubicBezTo>
                    <a:cubicBezTo>
                      <a:pt x="313" y="337"/>
                      <a:pt x="313" y="337"/>
                      <a:pt x="313" y="337"/>
                    </a:cubicBezTo>
                    <a:cubicBezTo>
                      <a:pt x="314" y="336"/>
                      <a:pt x="314" y="336"/>
                      <a:pt x="314" y="336"/>
                    </a:cubicBezTo>
                    <a:cubicBezTo>
                      <a:pt x="315" y="335"/>
                      <a:pt x="315" y="335"/>
                      <a:pt x="315" y="335"/>
                    </a:cubicBezTo>
                    <a:cubicBezTo>
                      <a:pt x="316" y="336"/>
                      <a:pt x="316" y="336"/>
                      <a:pt x="316" y="336"/>
                    </a:cubicBezTo>
                    <a:cubicBezTo>
                      <a:pt x="315" y="337"/>
                      <a:pt x="315" y="337"/>
                      <a:pt x="315" y="337"/>
                    </a:cubicBezTo>
                    <a:cubicBezTo>
                      <a:pt x="315" y="338"/>
                      <a:pt x="315" y="338"/>
                      <a:pt x="315" y="338"/>
                    </a:cubicBezTo>
                    <a:cubicBezTo>
                      <a:pt x="315" y="338"/>
                      <a:pt x="315" y="338"/>
                      <a:pt x="315" y="338"/>
                    </a:cubicBezTo>
                    <a:cubicBezTo>
                      <a:pt x="316" y="337"/>
                      <a:pt x="316" y="337"/>
                      <a:pt x="316" y="337"/>
                    </a:cubicBezTo>
                    <a:cubicBezTo>
                      <a:pt x="317" y="336"/>
                      <a:pt x="317" y="336"/>
                      <a:pt x="317" y="336"/>
                    </a:cubicBezTo>
                    <a:cubicBezTo>
                      <a:pt x="318" y="336"/>
                      <a:pt x="318" y="336"/>
                      <a:pt x="318" y="336"/>
                    </a:cubicBezTo>
                    <a:cubicBezTo>
                      <a:pt x="319" y="337"/>
                      <a:pt x="319" y="337"/>
                      <a:pt x="319" y="337"/>
                    </a:cubicBezTo>
                    <a:cubicBezTo>
                      <a:pt x="318" y="338"/>
                      <a:pt x="318" y="338"/>
                      <a:pt x="318" y="338"/>
                    </a:cubicBezTo>
                    <a:cubicBezTo>
                      <a:pt x="317" y="339"/>
                      <a:pt x="317" y="339"/>
                      <a:pt x="317" y="339"/>
                    </a:cubicBezTo>
                    <a:cubicBezTo>
                      <a:pt x="315" y="341"/>
                      <a:pt x="315" y="341"/>
                      <a:pt x="315" y="341"/>
                    </a:cubicBezTo>
                    <a:cubicBezTo>
                      <a:pt x="315" y="342"/>
                      <a:pt x="315" y="342"/>
                      <a:pt x="315" y="342"/>
                    </a:cubicBezTo>
                    <a:cubicBezTo>
                      <a:pt x="315" y="343"/>
                      <a:pt x="315" y="343"/>
                      <a:pt x="315" y="343"/>
                    </a:cubicBezTo>
                    <a:cubicBezTo>
                      <a:pt x="315" y="344"/>
                      <a:pt x="315" y="344"/>
                      <a:pt x="315" y="344"/>
                    </a:cubicBezTo>
                    <a:cubicBezTo>
                      <a:pt x="315" y="345"/>
                      <a:pt x="315" y="345"/>
                      <a:pt x="315" y="345"/>
                    </a:cubicBezTo>
                    <a:cubicBezTo>
                      <a:pt x="315" y="347"/>
                      <a:pt x="315" y="347"/>
                      <a:pt x="315" y="347"/>
                    </a:cubicBezTo>
                    <a:cubicBezTo>
                      <a:pt x="315" y="347"/>
                      <a:pt x="315" y="347"/>
                      <a:pt x="315" y="347"/>
                    </a:cubicBezTo>
                    <a:cubicBezTo>
                      <a:pt x="316" y="347"/>
                      <a:pt x="316" y="347"/>
                      <a:pt x="316" y="347"/>
                    </a:cubicBezTo>
                    <a:cubicBezTo>
                      <a:pt x="316" y="345"/>
                      <a:pt x="316" y="345"/>
                      <a:pt x="316" y="345"/>
                    </a:cubicBezTo>
                    <a:cubicBezTo>
                      <a:pt x="317" y="343"/>
                      <a:pt x="317" y="343"/>
                      <a:pt x="317" y="343"/>
                    </a:cubicBezTo>
                    <a:cubicBezTo>
                      <a:pt x="319" y="342"/>
                      <a:pt x="319" y="342"/>
                      <a:pt x="319" y="342"/>
                    </a:cubicBezTo>
                    <a:cubicBezTo>
                      <a:pt x="319" y="342"/>
                      <a:pt x="319" y="342"/>
                      <a:pt x="319" y="342"/>
                    </a:cubicBezTo>
                    <a:cubicBezTo>
                      <a:pt x="319" y="343"/>
                      <a:pt x="319" y="343"/>
                      <a:pt x="319" y="343"/>
                    </a:cubicBezTo>
                    <a:cubicBezTo>
                      <a:pt x="319" y="344"/>
                      <a:pt x="319" y="344"/>
                      <a:pt x="319" y="344"/>
                    </a:cubicBezTo>
                    <a:cubicBezTo>
                      <a:pt x="318" y="346"/>
                      <a:pt x="318" y="346"/>
                      <a:pt x="318" y="346"/>
                    </a:cubicBezTo>
                    <a:cubicBezTo>
                      <a:pt x="318" y="347"/>
                      <a:pt x="318" y="347"/>
                      <a:pt x="318" y="347"/>
                    </a:cubicBezTo>
                    <a:cubicBezTo>
                      <a:pt x="319" y="346"/>
                      <a:pt x="319" y="346"/>
                      <a:pt x="319" y="346"/>
                    </a:cubicBezTo>
                    <a:cubicBezTo>
                      <a:pt x="320" y="347"/>
                      <a:pt x="320" y="347"/>
                      <a:pt x="320" y="347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17" y="350"/>
                      <a:pt x="317" y="350"/>
                      <a:pt x="317" y="350"/>
                    </a:cubicBezTo>
                    <a:cubicBezTo>
                      <a:pt x="317" y="351"/>
                      <a:pt x="317" y="351"/>
                      <a:pt x="317" y="351"/>
                    </a:cubicBezTo>
                    <a:cubicBezTo>
                      <a:pt x="317" y="351"/>
                      <a:pt x="317" y="351"/>
                      <a:pt x="317" y="351"/>
                    </a:cubicBezTo>
                    <a:cubicBezTo>
                      <a:pt x="319" y="351"/>
                      <a:pt x="319" y="351"/>
                      <a:pt x="319" y="351"/>
                    </a:cubicBezTo>
                    <a:cubicBezTo>
                      <a:pt x="319" y="351"/>
                      <a:pt x="319" y="351"/>
                      <a:pt x="319" y="351"/>
                    </a:cubicBezTo>
                    <a:cubicBezTo>
                      <a:pt x="319" y="352"/>
                      <a:pt x="319" y="352"/>
                      <a:pt x="319" y="352"/>
                    </a:cubicBezTo>
                    <a:cubicBezTo>
                      <a:pt x="318" y="353"/>
                      <a:pt x="318" y="353"/>
                      <a:pt x="318" y="353"/>
                    </a:cubicBezTo>
                    <a:cubicBezTo>
                      <a:pt x="319" y="353"/>
                      <a:pt x="319" y="353"/>
                      <a:pt x="319" y="353"/>
                    </a:cubicBezTo>
                    <a:cubicBezTo>
                      <a:pt x="320" y="354"/>
                      <a:pt x="320" y="354"/>
                      <a:pt x="320" y="354"/>
                    </a:cubicBezTo>
                    <a:cubicBezTo>
                      <a:pt x="319" y="355"/>
                      <a:pt x="319" y="355"/>
                      <a:pt x="319" y="355"/>
                    </a:cubicBezTo>
                    <a:cubicBezTo>
                      <a:pt x="319" y="357"/>
                      <a:pt x="319" y="357"/>
                      <a:pt x="319" y="357"/>
                    </a:cubicBezTo>
                    <a:cubicBezTo>
                      <a:pt x="319" y="358"/>
                      <a:pt x="319" y="358"/>
                      <a:pt x="319" y="358"/>
                    </a:cubicBezTo>
                    <a:cubicBezTo>
                      <a:pt x="319" y="361"/>
                      <a:pt x="319" y="361"/>
                      <a:pt x="319" y="361"/>
                    </a:cubicBezTo>
                    <a:cubicBezTo>
                      <a:pt x="319" y="363"/>
                      <a:pt x="319" y="363"/>
                      <a:pt x="319" y="363"/>
                    </a:cubicBezTo>
                    <a:cubicBezTo>
                      <a:pt x="319" y="364"/>
                      <a:pt x="319" y="364"/>
                      <a:pt x="319" y="364"/>
                    </a:cubicBezTo>
                    <a:cubicBezTo>
                      <a:pt x="318" y="365"/>
                      <a:pt x="318" y="365"/>
                      <a:pt x="318" y="365"/>
                    </a:cubicBezTo>
                    <a:cubicBezTo>
                      <a:pt x="317" y="364"/>
                      <a:pt x="317" y="364"/>
                      <a:pt x="317" y="364"/>
                    </a:cubicBezTo>
                    <a:cubicBezTo>
                      <a:pt x="316" y="365"/>
                      <a:pt x="316" y="365"/>
                      <a:pt x="316" y="365"/>
                    </a:cubicBezTo>
                    <a:cubicBezTo>
                      <a:pt x="316" y="364"/>
                      <a:pt x="316" y="364"/>
                      <a:pt x="316" y="364"/>
                    </a:cubicBezTo>
                    <a:cubicBezTo>
                      <a:pt x="316" y="363"/>
                      <a:pt x="316" y="363"/>
                      <a:pt x="316" y="363"/>
                    </a:cubicBezTo>
                    <a:cubicBezTo>
                      <a:pt x="316" y="362"/>
                      <a:pt x="316" y="362"/>
                      <a:pt x="316" y="362"/>
                    </a:cubicBezTo>
                    <a:cubicBezTo>
                      <a:pt x="315" y="362"/>
                      <a:pt x="315" y="362"/>
                      <a:pt x="315" y="362"/>
                    </a:cubicBezTo>
                    <a:cubicBezTo>
                      <a:pt x="314" y="362"/>
                      <a:pt x="314" y="362"/>
                      <a:pt x="314" y="362"/>
                    </a:cubicBezTo>
                    <a:cubicBezTo>
                      <a:pt x="313" y="363"/>
                      <a:pt x="313" y="363"/>
                      <a:pt x="313" y="363"/>
                    </a:cubicBezTo>
                    <a:cubicBezTo>
                      <a:pt x="312" y="362"/>
                      <a:pt x="312" y="362"/>
                      <a:pt x="312" y="362"/>
                    </a:cubicBezTo>
                    <a:cubicBezTo>
                      <a:pt x="312" y="361"/>
                      <a:pt x="312" y="361"/>
                      <a:pt x="312" y="361"/>
                    </a:cubicBezTo>
                    <a:cubicBezTo>
                      <a:pt x="313" y="360"/>
                      <a:pt x="313" y="360"/>
                      <a:pt x="313" y="360"/>
                    </a:cubicBezTo>
                    <a:cubicBezTo>
                      <a:pt x="312" y="358"/>
                      <a:pt x="312" y="358"/>
                      <a:pt x="312" y="358"/>
                    </a:cubicBezTo>
                    <a:cubicBezTo>
                      <a:pt x="312" y="356"/>
                      <a:pt x="312" y="356"/>
                      <a:pt x="312" y="356"/>
                    </a:cubicBezTo>
                    <a:cubicBezTo>
                      <a:pt x="313" y="355"/>
                      <a:pt x="313" y="355"/>
                      <a:pt x="313" y="355"/>
                    </a:cubicBezTo>
                    <a:cubicBezTo>
                      <a:pt x="312" y="354"/>
                      <a:pt x="312" y="354"/>
                      <a:pt x="312" y="354"/>
                    </a:cubicBezTo>
                    <a:cubicBezTo>
                      <a:pt x="312" y="354"/>
                      <a:pt x="312" y="354"/>
                      <a:pt x="312" y="354"/>
                    </a:cubicBezTo>
                    <a:cubicBezTo>
                      <a:pt x="311" y="355"/>
                      <a:pt x="311" y="355"/>
                      <a:pt x="311" y="355"/>
                    </a:cubicBezTo>
                    <a:cubicBezTo>
                      <a:pt x="311" y="357"/>
                      <a:pt x="311" y="357"/>
                      <a:pt x="311" y="357"/>
                    </a:cubicBezTo>
                    <a:cubicBezTo>
                      <a:pt x="311" y="359"/>
                      <a:pt x="311" y="359"/>
                      <a:pt x="311" y="359"/>
                    </a:cubicBezTo>
                    <a:cubicBezTo>
                      <a:pt x="311" y="362"/>
                      <a:pt x="311" y="362"/>
                      <a:pt x="311" y="362"/>
                    </a:cubicBezTo>
                    <a:cubicBezTo>
                      <a:pt x="311" y="363"/>
                      <a:pt x="311" y="363"/>
                      <a:pt x="311" y="363"/>
                    </a:cubicBezTo>
                    <a:cubicBezTo>
                      <a:pt x="310" y="363"/>
                      <a:pt x="310" y="363"/>
                      <a:pt x="310" y="363"/>
                    </a:cubicBezTo>
                    <a:cubicBezTo>
                      <a:pt x="309" y="363"/>
                      <a:pt x="309" y="363"/>
                      <a:pt x="309" y="363"/>
                    </a:cubicBezTo>
                    <a:cubicBezTo>
                      <a:pt x="308" y="364"/>
                      <a:pt x="308" y="364"/>
                      <a:pt x="308" y="364"/>
                    </a:cubicBezTo>
                    <a:cubicBezTo>
                      <a:pt x="307" y="364"/>
                      <a:pt x="307" y="364"/>
                      <a:pt x="307" y="364"/>
                    </a:cubicBezTo>
                    <a:cubicBezTo>
                      <a:pt x="306" y="363"/>
                      <a:pt x="306" y="363"/>
                      <a:pt x="306" y="363"/>
                    </a:cubicBezTo>
                    <a:cubicBezTo>
                      <a:pt x="303" y="361"/>
                      <a:pt x="303" y="361"/>
                      <a:pt x="303" y="361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1" y="357"/>
                      <a:pt x="301" y="357"/>
                      <a:pt x="301" y="357"/>
                    </a:cubicBezTo>
                    <a:cubicBezTo>
                      <a:pt x="300" y="356"/>
                      <a:pt x="300" y="356"/>
                      <a:pt x="300" y="356"/>
                    </a:cubicBezTo>
                    <a:cubicBezTo>
                      <a:pt x="299" y="352"/>
                      <a:pt x="299" y="352"/>
                      <a:pt x="299" y="352"/>
                    </a:cubicBezTo>
                    <a:cubicBezTo>
                      <a:pt x="298" y="351"/>
                      <a:pt x="298" y="351"/>
                      <a:pt x="298" y="351"/>
                    </a:cubicBezTo>
                    <a:cubicBezTo>
                      <a:pt x="297" y="350"/>
                      <a:pt x="297" y="350"/>
                      <a:pt x="297" y="350"/>
                    </a:cubicBezTo>
                    <a:cubicBezTo>
                      <a:pt x="297" y="347"/>
                      <a:pt x="297" y="347"/>
                      <a:pt x="297" y="347"/>
                    </a:cubicBezTo>
                    <a:cubicBezTo>
                      <a:pt x="297" y="345"/>
                      <a:pt x="297" y="345"/>
                      <a:pt x="297" y="345"/>
                    </a:cubicBezTo>
                    <a:cubicBezTo>
                      <a:pt x="298" y="344"/>
                      <a:pt x="298" y="344"/>
                      <a:pt x="298" y="344"/>
                    </a:cubicBezTo>
                    <a:cubicBezTo>
                      <a:pt x="297" y="343"/>
                      <a:pt x="297" y="343"/>
                      <a:pt x="297" y="343"/>
                    </a:cubicBezTo>
                    <a:cubicBezTo>
                      <a:pt x="297" y="343"/>
                      <a:pt x="297" y="343"/>
                      <a:pt x="297" y="343"/>
                    </a:cubicBezTo>
                    <a:cubicBezTo>
                      <a:pt x="295" y="344"/>
                      <a:pt x="295" y="344"/>
                      <a:pt x="295" y="344"/>
                    </a:cubicBezTo>
                    <a:cubicBezTo>
                      <a:pt x="294" y="345"/>
                      <a:pt x="294" y="345"/>
                      <a:pt x="294" y="345"/>
                    </a:cubicBezTo>
                    <a:cubicBezTo>
                      <a:pt x="293" y="344"/>
                      <a:pt x="293" y="344"/>
                      <a:pt x="293" y="344"/>
                    </a:cubicBezTo>
                    <a:cubicBezTo>
                      <a:pt x="290" y="339"/>
                      <a:pt x="290" y="339"/>
                      <a:pt x="290" y="339"/>
                    </a:cubicBezTo>
                    <a:cubicBezTo>
                      <a:pt x="290" y="338"/>
                      <a:pt x="290" y="338"/>
                      <a:pt x="290" y="338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8" y="338"/>
                      <a:pt x="288" y="338"/>
                      <a:pt x="288" y="338"/>
                    </a:cubicBezTo>
                    <a:cubicBezTo>
                      <a:pt x="286" y="338"/>
                      <a:pt x="286" y="338"/>
                      <a:pt x="286" y="338"/>
                    </a:cubicBezTo>
                    <a:cubicBezTo>
                      <a:pt x="284" y="337"/>
                      <a:pt x="284" y="337"/>
                      <a:pt x="284" y="337"/>
                    </a:cubicBezTo>
                    <a:cubicBezTo>
                      <a:pt x="284" y="338"/>
                      <a:pt x="284" y="338"/>
                      <a:pt x="284" y="338"/>
                    </a:cubicBezTo>
                    <a:cubicBezTo>
                      <a:pt x="283" y="338"/>
                      <a:pt x="283" y="338"/>
                      <a:pt x="283" y="338"/>
                    </a:cubicBezTo>
                    <a:cubicBezTo>
                      <a:pt x="282" y="338"/>
                      <a:pt x="282" y="338"/>
                      <a:pt x="282" y="338"/>
                    </a:cubicBezTo>
                    <a:cubicBezTo>
                      <a:pt x="281" y="336"/>
                      <a:pt x="281" y="336"/>
                      <a:pt x="281" y="336"/>
                    </a:cubicBezTo>
                    <a:cubicBezTo>
                      <a:pt x="281" y="335"/>
                      <a:pt x="281" y="335"/>
                      <a:pt x="281" y="335"/>
                    </a:cubicBezTo>
                    <a:cubicBezTo>
                      <a:pt x="278" y="333"/>
                      <a:pt x="278" y="333"/>
                      <a:pt x="278" y="333"/>
                    </a:cubicBezTo>
                    <a:cubicBezTo>
                      <a:pt x="278" y="332"/>
                      <a:pt x="278" y="332"/>
                      <a:pt x="278" y="332"/>
                    </a:cubicBezTo>
                    <a:cubicBezTo>
                      <a:pt x="277" y="331"/>
                      <a:pt x="277" y="331"/>
                      <a:pt x="277" y="331"/>
                    </a:cubicBezTo>
                    <a:cubicBezTo>
                      <a:pt x="277" y="329"/>
                      <a:pt x="277" y="329"/>
                      <a:pt x="277" y="329"/>
                    </a:cubicBezTo>
                    <a:cubicBezTo>
                      <a:pt x="276" y="328"/>
                      <a:pt x="276" y="328"/>
                      <a:pt x="276" y="328"/>
                    </a:cubicBezTo>
                    <a:cubicBezTo>
                      <a:pt x="275" y="329"/>
                      <a:pt x="275" y="329"/>
                      <a:pt x="275" y="329"/>
                    </a:cubicBezTo>
                    <a:cubicBezTo>
                      <a:pt x="276" y="331"/>
                      <a:pt x="276" y="331"/>
                      <a:pt x="276" y="331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4" y="332"/>
                      <a:pt x="274" y="332"/>
                      <a:pt x="274" y="332"/>
                    </a:cubicBezTo>
                    <a:cubicBezTo>
                      <a:pt x="273" y="333"/>
                      <a:pt x="273" y="333"/>
                      <a:pt x="273" y="333"/>
                    </a:cubicBezTo>
                    <a:cubicBezTo>
                      <a:pt x="275" y="333"/>
                      <a:pt x="275" y="333"/>
                      <a:pt x="275" y="333"/>
                    </a:cubicBezTo>
                    <a:cubicBezTo>
                      <a:pt x="276" y="334"/>
                      <a:pt x="276" y="334"/>
                      <a:pt x="276" y="334"/>
                    </a:cubicBezTo>
                    <a:cubicBezTo>
                      <a:pt x="277" y="335"/>
                      <a:pt x="277" y="335"/>
                      <a:pt x="277" y="335"/>
                    </a:cubicBezTo>
                    <a:cubicBezTo>
                      <a:pt x="278" y="337"/>
                      <a:pt x="278" y="337"/>
                      <a:pt x="278" y="337"/>
                    </a:cubicBezTo>
                    <a:cubicBezTo>
                      <a:pt x="277" y="338"/>
                      <a:pt x="277" y="338"/>
                      <a:pt x="277" y="338"/>
                    </a:cubicBezTo>
                    <a:cubicBezTo>
                      <a:pt x="275" y="338"/>
                      <a:pt x="275" y="338"/>
                      <a:pt x="275" y="338"/>
                    </a:cubicBezTo>
                    <a:cubicBezTo>
                      <a:pt x="274" y="338"/>
                      <a:pt x="274" y="338"/>
                      <a:pt x="274" y="338"/>
                    </a:cubicBezTo>
                    <a:cubicBezTo>
                      <a:pt x="273" y="339"/>
                      <a:pt x="273" y="339"/>
                      <a:pt x="273" y="339"/>
                    </a:cubicBezTo>
                    <a:cubicBezTo>
                      <a:pt x="272" y="338"/>
                      <a:pt x="272" y="338"/>
                      <a:pt x="272" y="338"/>
                    </a:cubicBezTo>
                    <a:cubicBezTo>
                      <a:pt x="272" y="339"/>
                      <a:pt x="272" y="339"/>
                      <a:pt x="272" y="339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5" y="340"/>
                      <a:pt x="275" y="340"/>
                      <a:pt x="275" y="340"/>
                    </a:cubicBezTo>
                    <a:cubicBezTo>
                      <a:pt x="276" y="339"/>
                      <a:pt x="276" y="339"/>
                      <a:pt x="276" y="339"/>
                    </a:cubicBezTo>
                    <a:cubicBezTo>
                      <a:pt x="278" y="339"/>
                      <a:pt x="278" y="339"/>
                      <a:pt x="278" y="339"/>
                    </a:cubicBezTo>
                    <a:cubicBezTo>
                      <a:pt x="280" y="338"/>
                      <a:pt x="280" y="338"/>
                      <a:pt x="280" y="338"/>
                    </a:cubicBezTo>
                    <a:cubicBezTo>
                      <a:pt x="280" y="338"/>
                      <a:pt x="280" y="338"/>
                      <a:pt x="280" y="338"/>
                    </a:cubicBezTo>
                    <a:cubicBezTo>
                      <a:pt x="280" y="340"/>
                      <a:pt x="280" y="340"/>
                      <a:pt x="280" y="340"/>
                    </a:cubicBezTo>
                    <a:cubicBezTo>
                      <a:pt x="281" y="340"/>
                      <a:pt x="281" y="340"/>
                      <a:pt x="281" y="340"/>
                    </a:cubicBezTo>
                    <a:cubicBezTo>
                      <a:pt x="283" y="340"/>
                      <a:pt x="283" y="340"/>
                      <a:pt x="283" y="340"/>
                    </a:cubicBezTo>
                    <a:cubicBezTo>
                      <a:pt x="283" y="340"/>
                      <a:pt x="283" y="340"/>
                      <a:pt x="283" y="340"/>
                    </a:cubicBezTo>
                    <a:cubicBezTo>
                      <a:pt x="288" y="341"/>
                      <a:pt x="288" y="341"/>
                      <a:pt x="288" y="341"/>
                    </a:cubicBezTo>
                    <a:cubicBezTo>
                      <a:pt x="289" y="342"/>
                      <a:pt x="289" y="342"/>
                      <a:pt x="289" y="342"/>
                    </a:cubicBezTo>
                    <a:cubicBezTo>
                      <a:pt x="290" y="342"/>
                      <a:pt x="290" y="342"/>
                      <a:pt x="290" y="342"/>
                    </a:cubicBezTo>
                    <a:cubicBezTo>
                      <a:pt x="291" y="343"/>
                      <a:pt x="291" y="343"/>
                      <a:pt x="291" y="343"/>
                    </a:cubicBezTo>
                    <a:cubicBezTo>
                      <a:pt x="292" y="345"/>
                      <a:pt x="292" y="345"/>
                      <a:pt x="292" y="345"/>
                    </a:cubicBezTo>
                    <a:cubicBezTo>
                      <a:pt x="291" y="347"/>
                      <a:pt x="291" y="347"/>
                      <a:pt x="291" y="347"/>
                    </a:cubicBezTo>
                    <a:cubicBezTo>
                      <a:pt x="290" y="347"/>
                      <a:pt x="290" y="347"/>
                      <a:pt x="290" y="347"/>
                    </a:cubicBezTo>
                    <a:cubicBezTo>
                      <a:pt x="289" y="349"/>
                      <a:pt x="289" y="349"/>
                      <a:pt x="289" y="349"/>
                    </a:cubicBezTo>
                    <a:cubicBezTo>
                      <a:pt x="288" y="349"/>
                      <a:pt x="288" y="349"/>
                      <a:pt x="288" y="349"/>
                    </a:cubicBezTo>
                    <a:cubicBezTo>
                      <a:pt x="286" y="349"/>
                      <a:pt x="286" y="349"/>
                      <a:pt x="286" y="349"/>
                    </a:cubicBezTo>
                    <a:cubicBezTo>
                      <a:pt x="281" y="351"/>
                      <a:pt x="281" y="351"/>
                      <a:pt x="281" y="351"/>
                    </a:cubicBezTo>
                    <a:cubicBezTo>
                      <a:pt x="279" y="352"/>
                      <a:pt x="279" y="352"/>
                      <a:pt x="279" y="352"/>
                    </a:cubicBezTo>
                    <a:cubicBezTo>
                      <a:pt x="277" y="352"/>
                      <a:pt x="277" y="352"/>
                      <a:pt x="277" y="352"/>
                    </a:cubicBezTo>
                    <a:cubicBezTo>
                      <a:pt x="276" y="351"/>
                      <a:pt x="276" y="351"/>
                      <a:pt x="276" y="351"/>
                    </a:cubicBezTo>
                    <a:cubicBezTo>
                      <a:pt x="275" y="350"/>
                      <a:pt x="275" y="350"/>
                      <a:pt x="275" y="350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5" y="348"/>
                      <a:pt x="275" y="348"/>
                      <a:pt x="275" y="348"/>
                    </a:cubicBezTo>
                    <a:cubicBezTo>
                      <a:pt x="274" y="347"/>
                      <a:pt x="274" y="347"/>
                      <a:pt x="274" y="347"/>
                    </a:cubicBezTo>
                    <a:cubicBezTo>
                      <a:pt x="274" y="349"/>
                      <a:pt x="274" y="349"/>
                      <a:pt x="274" y="349"/>
                    </a:cubicBezTo>
                    <a:cubicBezTo>
                      <a:pt x="274" y="350"/>
                      <a:pt x="274" y="350"/>
                      <a:pt x="274" y="350"/>
                    </a:cubicBezTo>
                    <a:cubicBezTo>
                      <a:pt x="274" y="351"/>
                      <a:pt x="274" y="351"/>
                      <a:pt x="274" y="351"/>
                    </a:cubicBezTo>
                    <a:cubicBezTo>
                      <a:pt x="274" y="351"/>
                      <a:pt x="274" y="351"/>
                      <a:pt x="274" y="351"/>
                    </a:cubicBezTo>
                    <a:cubicBezTo>
                      <a:pt x="272" y="351"/>
                      <a:pt x="272" y="351"/>
                      <a:pt x="272" y="351"/>
                    </a:cubicBezTo>
                    <a:cubicBezTo>
                      <a:pt x="272" y="350"/>
                      <a:pt x="272" y="350"/>
                      <a:pt x="272" y="350"/>
                    </a:cubicBezTo>
                    <a:cubicBezTo>
                      <a:pt x="271" y="350"/>
                      <a:pt x="271" y="350"/>
                      <a:pt x="271" y="350"/>
                    </a:cubicBezTo>
                    <a:cubicBezTo>
                      <a:pt x="270" y="351"/>
                      <a:pt x="270" y="351"/>
                      <a:pt x="270" y="351"/>
                    </a:cubicBezTo>
                    <a:cubicBezTo>
                      <a:pt x="270" y="352"/>
                      <a:pt x="270" y="352"/>
                      <a:pt x="270" y="352"/>
                    </a:cubicBezTo>
                    <a:cubicBezTo>
                      <a:pt x="272" y="352"/>
                      <a:pt x="272" y="352"/>
                      <a:pt x="272" y="352"/>
                    </a:cubicBezTo>
                    <a:cubicBezTo>
                      <a:pt x="273" y="353"/>
                      <a:pt x="273" y="353"/>
                      <a:pt x="273" y="353"/>
                    </a:cubicBezTo>
                    <a:cubicBezTo>
                      <a:pt x="273" y="354"/>
                      <a:pt x="273" y="354"/>
                      <a:pt x="273" y="354"/>
                    </a:cubicBezTo>
                    <a:cubicBezTo>
                      <a:pt x="272" y="355"/>
                      <a:pt x="272" y="355"/>
                      <a:pt x="272" y="355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0" y="356"/>
                      <a:pt x="270" y="356"/>
                      <a:pt x="270" y="356"/>
                    </a:cubicBezTo>
                    <a:cubicBezTo>
                      <a:pt x="270" y="357"/>
                      <a:pt x="270" y="357"/>
                      <a:pt x="270" y="357"/>
                    </a:cubicBezTo>
                    <a:cubicBezTo>
                      <a:pt x="270" y="358"/>
                      <a:pt x="270" y="358"/>
                      <a:pt x="270" y="358"/>
                    </a:cubicBezTo>
                    <a:cubicBezTo>
                      <a:pt x="269" y="359"/>
                      <a:pt x="269" y="359"/>
                      <a:pt x="269" y="359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4" y="360"/>
                      <a:pt x="264" y="360"/>
                      <a:pt x="264" y="360"/>
                    </a:cubicBezTo>
                    <a:cubicBezTo>
                      <a:pt x="262" y="360"/>
                      <a:pt x="262" y="360"/>
                      <a:pt x="262" y="360"/>
                    </a:cubicBezTo>
                    <a:cubicBezTo>
                      <a:pt x="261" y="361"/>
                      <a:pt x="261" y="361"/>
                      <a:pt x="261" y="361"/>
                    </a:cubicBezTo>
                    <a:cubicBezTo>
                      <a:pt x="260" y="363"/>
                      <a:pt x="260" y="363"/>
                      <a:pt x="260" y="363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4" y="362"/>
                      <a:pt x="264" y="362"/>
                      <a:pt x="264" y="362"/>
                    </a:cubicBezTo>
                    <a:cubicBezTo>
                      <a:pt x="266" y="362"/>
                      <a:pt x="266" y="362"/>
                      <a:pt x="266" y="362"/>
                    </a:cubicBezTo>
                    <a:cubicBezTo>
                      <a:pt x="268" y="361"/>
                      <a:pt x="268" y="361"/>
                      <a:pt x="268" y="361"/>
                    </a:cubicBezTo>
                    <a:cubicBezTo>
                      <a:pt x="269" y="362"/>
                      <a:pt x="269" y="362"/>
                      <a:pt x="269" y="362"/>
                    </a:cubicBezTo>
                    <a:cubicBezTo>
                      <a:pt x="269" y="362"/>
                      <a:pt x="269" y="362"/>
                      <a:pt x="269" y="362"/>
                    </a:cubicBezTo>
                    <a:cubicBezTo>
                      <a:pt x="271" y="363"/>
                      <a:pt x="271" y="363"/>
                      <a:pt x="271" y="363"/>
                    </a:cubicBezTo>
                    <a:cubicBezTo>
                      <a:pt x="273" y="363"/>
                      <a:pt x="273" y="363"/>
                      <a:pt x="273" y="363"/>
                    </a:cubicBezTo>
                    <a:cubicBezTo>
                      <a:pt x="275" y="362"/>
                      <a:pt x="275" y="362"/>
                      <a:pt x="275" y="362"/>
                    </a:cubicBezTo>
                    <a:cubicBezTo>
                      <a:pt x="278" y="362"/>
                      <a:pt x="278" y="362"/>
                      <a:pt x="278" y="362"/>
                    </a:cubicBezTo>
                    <a:cubicBezTo>
                      <a:pt x="279" y="363"/>
                      <a:pt x="279" y="363"/>
                      <a:pt x="279" y="363"/>
                    </a:cubicBezTo>
                    <a:cubicBezTo>
                      <a:pt x="281" y="363"/>
                      <a:pt x="281" y="363"/>
                      <a:pt x="281" y="363"/>
                    </a:cubicBezTo>
                    <a:cubicBezTo>
                      <a:pt x="281" y="363"/>
                      <a:pt x="281" y="363"/>
                      <a:pt x="281" y="363"/>
                    </a:cubicBezTo>
                    <a:cubicBezTo>
                      <a:pt x="282" y="363"/>
                      <a:pt x="282" y="363"/>
                      <a:pt x="282" y="363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283" y="364"/>
                      <a:pt x="283" y="364"/>
                      <a:pt x="283" y="364"/>
                    </a:cubicBezTo>
                    <a:cubicBezTo>
                      <a:pt x="283" y="365"/>
                      <a:pt x="283" y="365"/>
                      <a:pt x="283" y="365"/>
                    </a:cubicBezTo>
                    <a:cubicBezTo>
                      <a:pt x="281" y="366"/>
                      <a:pt x="281" y="366"/>
                      <a:pt x="281" y="366"/>
                    </a:cubicBezTo>
                    <a:cubicBezTo>
                      <a:pt x="279" y="365"/>
                      <a:pt x="279" y="365"/>
                      <a:pt x="279" y="365"/>
                    </a:cubicBezTo>
                    <a:cubicBezTo>
                      <a:pt x="278" y="365"/>
                      <a:pt x="278" y="365"/>
                      <a:pt x="278" y="365"/>
                    </a:cubicBezTo>
                    <a:cubicBezTo>
                      <a:pt x="276" y="367"/>
                      <a:pt x="276" y="367"/>
                      <a:pt x="276" y="367"/>
                    </a:cubicBezTo>
                    <a:cubicBezTo>
                      <a:pt x="274" y="367"/>
                      <a:pt x="274" y="367"/>
                      <a:pt x="274" y="367"/>
                    </a:cubicBezTo>
                    <a:cubicBezTo>
                      <a:pt x="273" y="368"/>
                      <a:pt x="273" y="368"/>
                      <a:pt x="273" y="368"/>
                    </a:cubicBezTo>
                    <a:cubicBezTo>
                      <a:pt x="271" y="367"/>
                      <a:pt x="271" y="367"/>
                      <a:pt x="271" y="367"/>
                    </a:cubicBezTo>
                    <a:cubicBezTo>
                      <a:pt x="270" y="366"/>
                      <a:pt x="270" y="366"/>
                      <a:pt x="270" y="366"/>
                    </a:cubicBezTo>
                    <a:cubicBezTo>
                      <a:pt x="269" y="366"/>
                      <a:pt x="269" y="366"/>
                      <a:pt x="269" y="366"/>
                    </a:cubicBezTo>
                    <a:cubicBezTo>
                      <a:pt x="268" y="368"/>
                      <a:pt x="268" y="368"/>
                      <a:pt x="268" y="368"/>
                    </a:cubicBezTo>
                    <a:cubicBezTo>
                      <a:pt x="268" y="368"/>
                      <a:pt x="268" y="368"/>
                      <a:pt x="268" y="368"/>
                    </a:cubicBezTo>
                    <a:cubicBezTo>
                      <a:pt x="269" y="368"/>
                      <a:pt x="269" y="368"/>
                      <a:pt x="269" y="368"/>
                    </a:cubicBezTo>
                    <a:cubicBezTo>
                      <a:pt x="270" y="369"/>
                      <a:pt x="270" y="369"/>
                      <a:pt x="270" y="369"/>
                    </a:cubicBezTo>
                    <a:cubicBezTo>
                      <a:pt x="274" y="369"/>
                      <a:pt x="274" y="369"/>
                      <a:pt x="274" y="369"/>
                    </a:cubicBezTo>
                    <a:cubicBezTo>
                      <a:pt x="275" y="369"/>
                      <a:pt x="275" y="369"/>
                      <a:pt x="275" y="369"/>
                    </a:cubicBezTo>
                    <a:cubicBezTo>
                      <a:pt x="275" y="370"/>
                      <a:pt x="275" y="370"/>
                      <a:pt x="275" y="370"/>
                    </a:cubicBezTo>
                    <a:cubicBezTo>
                      <a:pt x="276" y="369"/>
                      <a:pt x="276" y="369"/>
                      <a:pt x="276" y="369"/>
                    </a:cubicBezTo>
                    <a:cubicBezTo>
                      <a:pt x="278" y="367"/>
                      <a:pt x="278" y="367"/>
                      <a:pt x="278" y="367"/>
                    </a:cubicBezTo>
                    <a:cubicBezTo>
                      <a:pt x="278" y="367"/>
                      <a:pt x="280" y="367"/>
                      <a:pt x="280" y="367"/>
                    </a:cubicBezTo>
                    <a:cubicBezTo>
                      <a:pt x="280" y="367"/>
                      <a:pt x="281" y="366"/>
                      <a:pt x="281" y="366"/>
                    </a:cubicBezTo>
                    <a:cubicBezTo>
                      <a:pt x="282" y="367"/>
                      <a:pt x="282" y="367"/>
                      <a:pt x="282" y="367"/>
                    </a:cubicBezTo>
                    <a:cubicBezTo>
                      <a:pt x="283" y="368"/>
                      <a:pt x="283" y="368"/>
                      <a:pt x="283" y="368"/>
                    </a:cubicBezTo>
                    <a:cubicBezTo>
                      <a:pt x="284" y="367"/>
                      <a:pt x="284" y="367"/>
                      <a:pt x="284" y="367"/>
                    </a:cubicBezTo>
                    <a:cubicBezTo>
                      <a:pt x="287" y="367"/>
                      <a:pt x="287" y="367"/>
                      <a:pt x="287" y="367"/>
                    </a:cubicBezTo>
                    <a:cubicBezTo>
                      <a:pt x="288" y="366"/>
                      <a:pt x="288" y="366"/>
                      <a:pt x="288" y="366"/>
                    </a:cubicBezTo>
                    <a:cubicBezTo>
                      <a:pt x="291" y="364"/>
                      <a:pt x="291" y="364"/>
                      <a:pt x="291" y="364"/>
                    </a:cubicBezTo>
                    <a:cubicBezTo>
                      <a:pt x="291" y="363"/>
                      <a:pt x="291" y="363"/>
                      <a:pt x="291" y="363"/>
                    </a:cubicBezTo>
                    <a:cubicBezTo>
                      <a:pt x="292" y="364"/>
                      <a:pt x="292" y="364"/>
                      <a:pt x="292" y="364"/>
                    </a:cubicBezTo>
                    <a:cubicBezTo>
                      <a:pt x="291" y="365"/>
                      <a:pt x="291" y="365"/>
                      <a:pt x="291" y="365"/>
                    </a:cubicBezTo>
                    <a:cubicBezTo>
                      <a:pt x="292" y="365"/>
                      <a:pt x="292" y="365"/>
                      <a:pt x="292" y="365"/>
                    </a:cubicBezTo>
                    <a:cubicBezTo>
                      <a:pt x="293" y="364"/>
                      <a:pt x="293" y="364"/>
                      <a:pt x="293" y="364"/>
                    </a:cubicBezTo>
                    <a:cubicBezTo>
                      <a:pt x="294" y="364"/>
                      <a:pt x="294" y="364"/>
                      <a:pt x="294" y="364"/>
                    </a:cubicBezTo>
                    <a:cubicBezTo>
                      <a:pt x="294" y="365"/>
                      <a:pt x="294" y="365"/>
                      <a:pt x="294" y="365"/>
                    </a:cubicBezTo>
                    <a:cubicBezTo>
                      <a:pt x="297" y="367"/>
                      <a:pt x="297" y="367"/>
                      <a:pt x="297" y="367"/>
                    </a:cubicBezTo>
                    <a:cubicBezTo>
                      <a:pt x="300" y="368"/>
                      <a:pt x="300" y="368"/>
                      <a:pt x="300" y="368"/>
                    </a:cubicBezTo>
                    <a:cubicBezTo>
                      <a:pt x="302" y="369"/>
                      <a:pt x="302" y="369"/>
                      <a:pt x="302" y="369"/>
                    </a:cubicBezTo>
                    <a:cubicBezTo>
                      <a:pt x="304" y="369"/>
                      <a:pt x="304" y="369"/>
                      <a:pt x="304" y="369"/>
                    </a:cubicBezTo>
                    <a:cubicBezTo>
                      <a:pt x="305" y="369"/>
                      <a:pt x="305" y="369"/>
                      <a:pt x="305" y="369"/>
                    </a:cubicBezTo>
                    <a:cubicBezTo>
                      <a:pt x="308" y="369"/>
                      <a:pt x="308" y="369"/>
                      <a:pt x="308" y="369"/>
                    </a:cubicBezTo>
                    <a:cubicBezTo>
                      <a:pt x="309" y="370"/>
                      <a:pt x="309" y="370"/>
                      <a:pt x="309" y="370"/>
                    </a:cubicBezTo>
                    <a:cubicBezTo>
                      <a:pt x="311" y="370"/>
                      <a:pt x="311" y="370"/>
                      <a:pt x="311" y="370"/>
                    </a:cubicBezTo>
                    <a:cubicBezTo>
                      <a:pt x="313" y="369"/>
                      <a:pt x="313" y="369"/>
                      <a:pt x="313" y="369"/>
                    </a:cubicBezTo>
                    <a:cubicBezTo>
                      <a:pt x="313" y="370"/>
                      <a:pt x="313" y="370"/>
                      <a:pt x="313" y="370"/>
                    </a:cubicBezTo>
                    <a:cubicBezTo>
                      <a:pt x="312" y="371"/>
                      <a:pt x="312" y="371"/>
                      <a:pt x="312" y="371"/>
                    </a:cubicBezTo>
                    <a:cubicBezTo>
                      <a:pt x="311" y="372"/>
                      <a:pt x="311" y="372"/>
                      <a:pt x="311" y="372"/>
                    </a:cubicBezTo>
                    <a:cubicBezTo>
                      <a:pt x="309" y="373"/>
                      <a:pt x="309" y="373"/>
                      <a:pt x="309" y="373"/>
                    </a:cubicBezTo>
                    <a:cubicBezTo>
                      <a:pt x="308" y="372"/>
                      <a:pt x="308" y="372"/>
                      <a:pt x="308" y="372"/>
                    </a:cubicBezTo>
                    <a:cubicBezTo>
                      <a:pt x="306" y="374"/>
                      <a:pt x="306" y="374"/>
                      <a:pt x="306" y="374"/>
                    </a:cubicBezTo>
                    <a:cubicBezTo>
                      <a:pt x="306" y="374"/>
                      <a:pt x="306" y="374"/>
                      <a:pt x="306" y="374"/>
                    </a:cubicBezTo>
                    <a:cubicBezTo>
                      <a:pt x="307" y="375"/>
                      <a:pt x="307" y="375"/>
                      <a:pt x="307" y="375"/>
                    </a:cubicBezTo>
                    <a:cubicBezTo>
                      <a:pt x="308" y="376"/>
                      <a:pt x="308" y="376"/>
                      <a:pt x="308" y="376"/>
                    </a:cubicBezTo>
                    <a:cubicBezTo>
                      <a:pt x="307" y="376"/>
                      <a:pt x="307" y="376"/>
                      <a:pt x="307" y="376"/>
                    </a:cubicBezTo>
                    <a:cubicBezTo>
                      <a:pt x="306" y="376"/>
                      <a:pt x="306" y="376"/>
                      <a:pt x="306" y="376"/>
                    </a:cubicBezTo>
                    <a:cubicBezTo>
                      <a:pt x="305" y="375"/>
                      <a:pt x="305" y="375"/>
                      <a:pt x="305" y="375"/>
                    </a:cubicBezTo>
                    <a:cubicBezTo>
                      <a:pt x="304" y="375"/>
                      <a:pt x="304" y="375"/>
                      <a:pt x="304" y="375"/>
                    </a:cubicBezTo>
                    <a:cubicBezTo>
                      <a:pt x="304" y="376"/>
                      <a:pt x="304" y="376"/>
                      <a:pt x="304" y="376"/>
                    </a:cubicBezTo>
                    <a:cubicBezTo>
                      <a:pt x="304" y="377"/>
                      <a:pt x="304" y="377"/>
                      <a:pt x="304" y="377"/>
                    </a:cubicBezTo>
                    <a:cubicBezTo>
                      <a:pt x="303" y="376"/>
                      <a:pt x="303" y="376"/>
                      <a:pt x="303" y="376"/>
                    </a:cubicBezTo>
                    <a:cubicBezTo>
                      <a:pt x="301" y="376"/>
                      <a:pt x="301" y="376"/>
                      <a:pt x="301" y="376"/>
                    </a:cubicBezTo>
                    <a:cubicBezTo>
                      <a:pt x="301" y="377"/>
                      <a:pt x="301" y="377"/>
                      <a:pt x="301" y="377"/>
                    </a:cubicBezTo>
                    <a:cubicBezTo>
                      <a:pt x="301" y="378"/>
                      <a:pt x="301" y="378"/>
                      <a:pt x="301" y="378"/>
                    </a:cubicBezTo>
                    <a:cubicBezTo>
                      <a:pt x="302" y="378"/>
                      <a:pt x="302" y="378"/>
                      <a:pt x="302" y="378"/>
                    </a:cubicBezTo>
                    <a:cubicBezTo>
                      <a:pt x="302" y="379"/>
                      <a:pt x="302" y="379"/>
                      <a:pt x="302" y="379"/>
                    </a:cubicBezTo>
                    <a:cubicBezTo>
                      <a:pt x="301" y="380"/>
                      <a:pt x="301" y="380"/>
                      <a:pt x="301" y="380"/>
                    </a:cubicBezTo>
                    <a:cubicBezTo>
                      <a:pt x="299" y="381"/>
                      <a:pt x="299" y="381"/>
                      <a:pt x="299" y="381"/>
                    </a:cubicBezTo>
                    <a:cubicBezTo>
                      <a:pt x="299" y="380"/>
                      <a:pt x="299" y="380"/>
                      <a:pt x="299" y="380"/>
                    </a:cubicBezTo>
                    <a:cubicBezTo>
                      <a:pt x="298" y="379"/>
                      <a:pt x="298" y="379"/>
                      <a:pt x="298" y="379"/>
                    </a:cubicBezTo>
                    <a:cubicBezTo>
                      <a:pt x="298" y="380"/>
                      <a:pt x="298" y="380"/>
                      <a:pt x="298" y="380"/>
                    </a:cubicBezTo>
                    <a:cubicBezTo>
                      <a:pt x="298" y="381"/>
                      <a:pt x="298" y="381"/>
                      <a:pt x="298" y="381"/>
                    </a:cubicBezTo>
                    <a:cubicBezTo>
                      <a:pt x="298" y="382"/>
                      <a:pt x="298" y="382"/>
                      <a:pt x="298" y="382"/>
                    </a:cubicBezTo>
                    <a:cubicBezTo>
                      <a:pt x="297" y="382"/>
                      <a:pt x="297" y="382"/>
                      <a:pt x="297" y="382"/>
                    </a:cubicBezTo>
                    <a:cubicBezTo>
                      <a:pt x="296" y="383"/>
                      <a:pt x="296" y="383"/>
                      <a:pt x="296" y="383"/>
                    </a:cubicBezTo>
                    <a:cubicBezTo>
                      <a:pt x="295" y="383"/>
                      <a:pt x="295" y="383"/>
                      <a:pt x="295" y="383"/>
                    </a:cubicBezTo>
                    <a:cubicBezTo>
                      <a:pt x="294" y="383"/>
                      <a:pt x="294" y="383"/>
                      <a:pt x="294" y="383"/>
                    </a:cubicBezTo>
                    <a:cubicBezTo>
                      <a:pt x="293" y="382"/>
                      <a:pt x="293" y="382"/>
                      <a:pt x="293" y="382"/>
                    </a:cubicBezTo>
                    <a:cubicBezTo>
                      <a:pt x="293" y="382"/>
                      <a:pt x="293" y="382"/>
                      <a:pt x="293" y="382"/>
                    </a:cubicBezTo>
                    <a:cubicBezTo>
                      <a:pt x="293" y="383"/>
                      <a:pt x="293" y="383"/>
                      <a:pt x="293" y="383"/>
                    </a:cubicBezTo>
                    <a:cubicBezTo>
                      <a:pt x="293" y="385"/>
                      <a:pt x="293" y="385"/>
                      <a:pt x="293" y="385"/>
                    </a:cubicBezTo>
                    <a:cubicBezTo>
                      <a:pt x="292" y="386"/>
                      <a:pt x="292" y="386"/>
                      <a:pt x="292" y="386"/>
                    </a:cubicBezTo>
                    <a:cubicBezTo>
                      <a:pt x="291" y="386"/>
                      <a:pt x="291" y="386"/>
                      <a:pt x="291" y="386"/>
                    </a:cubicBezTo>
                    <a:cubicBezTo>
                      <a:pt x="291" y="385"/>
                      <a:pt x="291" y="385"/>
                      <a:pt x="291" y="385"/>
                    </a:cubicBezTo>
                    <a:cubicBezTo>
                      <a:pt x="289" y="385"/>
                      <a:pt x="289" y="385"/>
                      <a:pt x="289" y="385"/>
                    </a:cubicBezTo>
                    <a:cubicBezTo>
                      <a:pt x="289" y="386"/>
                      <a:pt x="289" y="386"/>
                      <a:pt x="289" y="386"/>
                    </a:cubicBezTo>
                    <a:cubicBezTo>
                      <a:pt x="290" y="387"/>
                      <a:pt x="290" y="387"/>
                      <a:pt x="290" y="387"/>
                    </a:cubicBezTo>
                    <a:cubicBezTo>
                      <a:pt x="290" y="388"/>
                      <a:pt x="290" y="388"/>
                      <a:pt x="290" y="388"/>
                    </a:cubicBezTo>
                    <a:cubicBezTo>
                      <a:pt x="288" y="389"/>
                      <a:pt x="288" y="389"/>
                      <a:pt x="288" y="389"/>
                    </a:cubicBezTo>
                    <a:cubicBezTo>
                      <a:pt x="287" y="389"/>
                      <a:pt x="287" y="389"/>
                      <a:pt x="287" y="389"/>
                    </a:cubicBezTo>
                    <a:cubicBezTo>
                      <a:pt x="287" y="388"/>
                      <a:pt x="287" y="388"/>
                      <a:pt x="287" y="388"/>
                    </a:cubicBezTo>
                    <a:cubicBezTo>
                      <a:pt x="286" y="387"/>
                      <a:pt x="286" y="387"/>
                      <a:pt x="286" y="387"/>
                    </a:cubicBezTo>
                    <a:cubicBezTo>
                      <a:pt x="285" y="388"/>
                      <a:pt x="285" y="388"/>
                      <a:pt x="285" y="388"/>
                    </a:cubicBezTo>
                    <a:cubicBezTo>
                      <a:pt x="285" y="389"/>
                      <a:pt x="285" y="389"/>
                      <a:pt x="285" y="389"/>
                    </a:cubicBezTo>
                    <a:cubicBezTo>
                      <a:pt x="285" y="390"/>
                      <a:pt x="285" y="390"/>
                      <a:pt x="285" y="390"/>
                    </a:cubicBezTo>
                    <a:cubicBezTo>
                      <a:pt x="285" y="391"/>
                      <a:pt x="285" y="391"/>
                      <a:pt x="285" y="391"/>
                    </a:cubicBezTo>
                    <a:cubicBezTo>
                      <a:pt x="285" y="391"/>
                      <a:pt x="285" y="391"/>
                      <a:pt x="285" y="391"/>
                    </a:cubicBezTo>
                    <a:cubicBezTo>
                      <a:pt x="283" y="392"/>
                      <a:pt x="283" y="392"/>
                      <a:pt x="283" y="392"/>
                    </a:cubicBezTo>
                    <a:cubicBezTo>
                      <a:pt x="282" y="393"/>
                      <a:pt x="282" y="393"/>
                      <a:pt x="282" y="393"/>
                    </a:cubicBezTo>
                    <a:cubicBezTo>
                      <a:pt x="280" y="393"/>
                      <a:pt x="280" y="393"/>
                      <a:pt x="280" y="393"/>
                    </a:cubicBezTo>
                    <a:cubicBezTo>
                      <a:pt x="279" y="394"/>
                      <a:pt x="279" y="394"/>
                      <a:pt x="279" y="394"/>
                    </a:cubicBezTo>
                    <a:cubicBezTo>
                      <a:pt x="279" y="395"/>
                      <a:pt x="279" y="395"/>
                      <a:pt x="279" y="395"/>
                    </a:cubicBezTo>
                    <a:cubicBezTo>
                      <a:pt x="278" y="395"/>
                      <a:pt x="278" y="395"/>
                      <a:pt x="278" y="395"/>
                    </a:cubicBezTo>
                    <a:cubicBezTo>
                      <a:pt x="277" y="394"/>
                      <a:pt x="277" y="394"/>
                      <a:pt x="277" y="394"/>
                    </a:cubicBezTo>
                    <a:cubicBezTo>
                      <a:pt x="276" y="394"/>
                      <a:pt x="276" y="394"/>
                      <a:pt x="276" y="394"/>
                    </a:cubicBezTo>
                    <a:cubicBezTo>
                      <a:pt x="275" y="395"/>
                      <a:pt x="275" y="395"/>
                      <a:pt x="275" y="395"/>
                    </a:cubicBezTo>
                    <a:cubicBezTo>
                      <a:pt x="273" y="395"/>
                      <a:pt x="273" y="395"/>
                      <a:pt x="273" y="395"/>
                    </a:cubicBezTo>
                    <a:cubicBezTo>
                      <a:pt x="273" y="396"/>
                      <a:pt x="273" y="396"/>
                      <a:pt x="273" y="396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71" y="397"/>
                      <a:pt x="271" y="397"/>
                      <a:pt x="271" y="397"/>
                    </a:cubicBezTo>
                    <a:cubicBezTo>
                      <a:pt x="270" y="396"/>
                      <a:pt x="270" y="396"/>
                      <a:pt x="270" y="396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68" y="398"/>
                      <a:pt x="268" y="398"/>
                      <a:pt x="268" y="398"/>
                    </a:cubicBezTo>
                    <a:cubicBezTo>
                      <a:pt x="267" y="397"/>
                      <a:pt x="267" y="397"/>
                      <a:pt x="267" y="397"/>
                    </a:cubicBezTo>
                    <a:cubicBezTo>
                      <a:pt x="266" y="396"/>
                      <a:pt x="266" y="396"/>
                      <a:pt x="266" y="396"/>
                    </a:cubicBezTo>
                    <a:cubicBezTo>
                      <a:pt x="266" y="396"/>
                      <a:pt x="266" y="396"/>
                      <a:pt x="266" y="396"/>
                    </a:cubicBezTo>
                    <a:cubicBezTo>
                      <a:pt x="265" y="397"/>
                      <a:pt x="265" y="397"/>
                      <a:pt x="265" y="397"/>
                    </a:cubicBezTo>
                    <a:cubicBezTo>
                      <a:pt x="264" y="398"/>
                      <a:pt x="264" y="398"/>
                      <a:pt x="264" y="398"/>
                    </a:cubicBezTo>
                    <a:cubicBezTo>
                      <a:pt x="264" y="398"/>
                      <a:pt x="264" y="398"/>
                      <a:pt x="264" y="398"/>
                    </a:cubicBezTo>
                    <a:cubicBezTo>
                      <a:pt x="263" y="397"/>
                      <a:pt x="263" y="397"/>
                      <a:pt x="263" y="397"/>
                    </a:cubicBezTo>
                    <a:cubicBezTo>
                      <a:pt x="263" y="397"/>
                      <a:pt x="263" y="397"/>
                      <a:pt x="263" y="397"/>
                    </a:cubicBezTo>
                    <a:cubicBezTo>
                      <a:pt x="263" y="398"/>
                      <a:pt x="263" y="398"/>
                      <a:pt x="263" y="398"/>
                    </a:cubicBezTo>
                    <a:cubicBezTo>
                      <a:pt x="262" y="398"/>
                      <a:pt x="262" y="398"/>
                      <a:pt x="262" y="398"/>
                    </a:cubicBezTo>
                    <a:cubicBezTo>
                      <a:pt x="261" y="398"/>
                      <a:pt x="261" y="398"/>
                      <a:pt x="261" y="398"/>
                    </a:cubicBezTo>
                    <a:cubicBezTo>
                      <a:pt x="260" y="398"/>
                      <a:pt x="260" y="398"/>
                      <a:pt x="260" y="398"/>
                    </a:cubicBezTo>
                    <a:cubicBezTo>
                      <a:pt x="260" y="399"/>
                      <a:pt x="260" y="399"/>
                      <a:pt x="260" y="399"/>
                    </a:cubicBezTo>
                    <a:cubicBezTo>
                      <a:pt x="259" y="400"/>
                      <a:pt x="259" y="400"/>
                      <a:pt x="259" y="400"/>
                    </a:cubicBezTo>
                    <a:cubicBezTo>
                      <a:pt x="258" y="400"/>
                      <a:pt x="258" y="400"/>
                      <a:pt x="258" y="400"/>
                    </a:cubicBezTo>
                    <a:cubicBezTo>
                      <a:pt x="258" y="400"/>
                      <a:pt x="258" y="400"/>
                      <a:pt x="258" y="400"/>
                    </a:cubicBezTo>
                    <a:cubicBezTo>
                      <a:pt x="257" y="400"/>
                      <a:pt x="257" y="400"/>
                      <a:pt x="257" y="400"/>
                    </a:cubicBezTo>
                    <a:cubicBezTo>
                      <a:pt x="257" y="401"/>
                      <a:pt x="257" y="401"/>
                      <a:pt x="257" y="401"/>
                    </a:cubicBezTo>
                    <a:cubicBezTo>
                      <a:pt x="256" y="401"/>
                      <a:pt x="256" y="401"/>
                      <a:pt x="256" y="401"/>
                    </a:cubicBezTo>
                    <a:cubicBezTo>
                      <a:pt x="256" y="400"/>
                      <a:pt x="256" y="400"/>
                      <a:pt x="256" y="400"/>
                    </a:cubicBezTo>
                    <a:cubicBezTo>
                      <a:pt x="255" y="400"/>
                      <a:pt x="255" y="400"/>
                      <a:pt x="255" y="400"/>
                    </a:cubicBezTo>
                    <a:cubicBezTo>
                      <a:pt x="255" y="402"/>
                      <a:pt x="255" y="402"/>
                      <a:pt x="255" y="402"/>
                    </a:cubicBezTo>
                    <a:cubicBezTo>
                      <a:pt x="254" y="402"/>
                      <a:pt x="254" y="402"/>
                      <a:pt x="254" y="402"/>
                    </a:cubicBezTo>
                    <a:cubicBezTo>
                      <a:pt x="253" y="403"/>
                      <a:pt x="253" y="403"/>
                      <a:pt x="253" y="403"/>
                    </a:cubicBezTo>
                    <a:cubicBezTo>
                      <a:pt x="252" y="403"/>
                      <a:pt x="252" y="403"/>
                      <a:pt x="252" y="403"/>
                    </a:cubicBezTo>
                    <a:cubicBezTo>
                      <a:pt x="252" y="402"/>
                      <a:pt x="252" y="402"/>
                      <a:pt x="252" y="402"/>
                    </a:cubicBezTo>
                    <a:cubicBezTo>
                      <a:pt x="250" y="400"/>
                      <a:pt x="250" y="400"/>
                      <a:pt x="250" y="400"/>
                    </a:cubicBezTo>
                    <a:cubicBezTo>
                      <a:pt x="249" y="400"/>
                      <a:pt x="249" y="400"/>
                      <a:pt x="249" y="400"/>
                    </a:cubicBezTo>
                    <a:cubicBezTo>
                      <a:pt x="248" y="400"/>
                      <a:pt x="248" y="400"/>
                      <a:pt x="248" y="400"/>
                    </a:cubicBezTo>
                    <a:cubicBezTo>
                      <a:pt x="248" y="401"/>
                      <a:pt x="248" y="401"/>
                      <a:pt x="248" y="401"/>
                    </a:cubicBezTo>
                    <a:cubicBezTo>
                      <a:pt x="247" y="401"/>
                      <a:pt x="247" y="401"/>
                      <a:pt x="247" y="401"/>
                    </a:cubicBezTo>
                    <a:cubicBezTo>
                      <a:pt x="247" y="402"/>
                      <a:pt x="247" y="402"/>
                      <a:pt x="247" y="402"/>
                    </a:cubicBezTo>
                    <a:cubicBezTo>
                      <a:pt x="246" y="403"/>
                      <a:pt x="246" y="403"/>
                      <a:pt x="246" y="403"/>
                    </a:cubicBezTo>
                    <a:cubicBezTo>
                      <a:pt x="245" y="403"/>
                      <a:pt x="245" y="403"/>
                      <a:pt x="245" y="403"/>
                    </a:cubicBezTo>
                    <a:cubicBezTo>
                      <a:pt x="244" y="403"/>
                      <a:pt x="244" y="403"/>
                      <a:pt x="244" y="403"/>
                    </a:cubicBezTo>
                    <a:cubicBezTo>
                      <a:pt x="244" y="404"/>
                      <a:pt x="244" y="404"/>
                      <a:pt x="244" y="404"/>
                    </a:cubicBezTo>
                    <a:cubicBezTo>
                      <a:pt x="242" y="404"/>
                      <a:pt x="242" y="404"/>
                      <a:pt x="242" y="404"/>
                    </a:cubicBezTo>
                    <a:cubicBezTo>
                      <a:pt x="240" y="404"/>
                      <a:pt x="240" y="404"/>
                      <a:pt x="240" y="404"/>
                    </a:cubicBezTo>
                    <a:cubicBezTo>
                      <a:pt x="240" y="402"/>
                      <a:pt x="240" y="402"/>
                      <a:pt x="240" y="402"/>
                    </a:cubicBezTo>
                    <a:cubicBezTo>
                      <a:pt x="239" y="402"/>
                      <a:pt x="239" y="402"/>
                      <a:pt x="239" y="402"/>
                    </a:cubicBezTo>
                    <a:cubicBezTo>
                      <a:pt x="238" y="403"/>
                      <a:pt x="238" y="403"/>
                      <a:pt x="238" y="403"/>
                    </a:cubicBezTo>
                    <a:cubicBezTo>
                      <a:pt x="238" y="404"/>
                      <a:pt x="238" y="404"/>
                      <a:pt x="238" y="404"/>
                    </a:cubicBezTo>
                    <a:cubicBezTo>
                      <a:pt x="237" y="404"/>
                      <a:pt x="237" y="404"/>
                      <a:pt x="237" y="404"/>
                    </a:cubicBezTo>
                    <a:cubicBezTo>
                      <a:pt x="236" y="403"/>
                      <a:pt x="236" y="403"/>
                      <a:pt x="236" y="403"/>
                    </a:cubicBezTo>
                    <a:cubicBezTo>
                      <a:pt x="235" y="402"/>
                      <a:pt x="235" y="402"/>
                      <a:pt x="235" y="402"/>
                    </a:cubicBezTo>
                    <a:cubicBezTo>
                      <a:pt x="235" y="400"/>
                      <a:pt x="235" y="400"/>
                      <a:pt x="235" y="400"/>
                    </a:cubicBezTo>
                    <a:cubicBezTo>
                      <a:pt x="235" y="399"/>
                      <a:pt x="235" y="399"/>
                      <a:pt x="235" y="399"/>
                    </a:cubicBezTo>
                    <a:cubicBezTo>
                      <a:pt x="234" y="399"/>
                      <a:pt x="234" y="399"/>
                      <a:pt x="234" y="399"/>
                    </a:cubicBezTo>
                    <a:cubicBezTo>
                      <a:pt x="233" y="397"/>
                      <a:pt x="233" y="397"/>
                      <a:pt x="233" y="397"/>
                    </a:cubicBezTo>
                    <a:cubicBezTo>
                      <a:pt x="233" y="396"/>
                      <a:pt x="233" y="396"/>
                      <a:pt x="233" y="396"/>
                    </a:cubicBezTo>
                    <a:cubicBezTo>
                      <a:pt x="232" y="395"/>
                      <a:pt x="232" y="395"/>
                      <a:pt x="232" y="395"/>
                    </a:cubicBezTo>
                    <a:cubicBezTo>
                      <a:pt x="231" y="393"/>
                      <a:pt x="231" y="393"/>
                      <a:pt x="231" y="393"/>
                    </a:cubicBezTo>
                    <a:cubicBezTo>
                      <a:pt x="231" y="392"/>
                      <a:pt x="231" y="392"/>
                      <a:pt x="231" y="392"/>
                    </a:cubicBezTo>
                    <a:cubicBezTo>
                      <a:pt x="230" y="392"/>
                      <a:pt x="230" y="392"/>
                      <a:pt x="230" y="392"/>
                    </a:cubicBezTo>
                    <a:cubicBezTo>
                      <a:pt x="230" y="394"/>
                      <a:pt x="230" y="394"/>
                      <a:pt x="230" y="394"/>
                    </a:cubicBezTo>
                    <a:cubicBezTo>
                      <a:pt x="230" y="395"/>
                      <a:pt x="230" y="395"/>
                      <a:pt x="230" y="395"/>
                    </a:cubicBezTo>
                    <a:cubicBezTo>
                      <a:pt x="231" y="396"/>
                      <a:pt x="231" y="396"/>
                      <a:pt x="231" y="396"/>
                    </a:cubicBezTo>
                    <a:cubicBezTo>
                      <a:pt x="232" y="397"/>
                      <a:pt x="232" y="397"/>
                      <a:pt x="232" y="397"/>
                    </a:cubicBezTo>
                    <a:cubicBezTo>
                      <a:pt x="232" y="398"/>
                      <a:pt x="232" y="398"/>
                      <a:pt x="232" y="398"/>
                    </a:cubicBezTo>
                    <a:cubicBezTo>
                      <a:pt x="232" y="400"/>
                      <a:pt x="232" y="400"/>
                      <a:pt x="232" y="400"/>
                    </a:cubicBezTo>
                    <a:cubicBezTo>
                      <a:pt x="232" y="401"/>
                      <a:pt x="232" y="401"/>
                      <a:pt x="232" y="401"/>
                    </a:cubicBezTo>
                    <a:cubicBezTo>
                      <a:pt x="232" y="402"/>
                      <a:pt x="232" y="402"/>
                      <a:pt x="232" y="402"/>
                    </a:cubicBezTo>
                    <a:cubicBezTo>
                      <a:pt x="233" y="402"/>
                      <a:pt x="233" y="402"/>
                      <a:pt x="233" y="402"/>
                    </a:cubicBezTo>
                    <a:cubicBezTo>
                      <a:pt x="233" y="404"/>
                      <a:pt x="233" y="404"/>
                      <a:pt x="233" y="404"/>
                    </a:cubicBezTo>
                    <a:cubicBezTo>
                      <a:pt x="233" y="406"/>
                      <a:pt x="233" y="406"/>
                      <a:pt x="233" y="406"/>
                    </a:cubicBezTo>
                    <a:cubicBezTo>
                      <a:pt x="232" y="408"/>
                      <a:pt x="232" y="408"/>
                      <a:pt x="232" y="408"/>
                    </a:cubicBezTo>
                    <a:cubicBezTo>
                      <a:pt x="231" y="408"/>
                      <a:pt x="231" y="408"/>
                      <a:pt x="231" y="408"/>
                    </a:cubicBezTo>
                    <a:cubicBezTo>
                      <a:pt x="230" y="407"/>
                      <a:pt x="230" y="407"/>
                      <a:pt x="230" y="407"/>
                    </a:cubicBezTo>
                    <a:cubicBezTo>
                      <a:pt x="230" y="408"/>
                      <a:pt x="230" y="408"/>
                      <a:pt x="230" y="408"/>
                    </a:cubicBezTo>
                    <a:cubicBezTo>
                      <a:pt x="228" y="408"/>
                      <a:pt x="228" y="408"/>
                      <a:pt x="228" y="408"/>
                    </a:cubicBezTo>
                    <a:cubicBezTo>
                      <a:pt x="227" y="410"/>
                      <a:pt x="227" y="410"/>
                      <a:pt x="227" y="410"/>
                    </a:cubicBezTo>
                    <a:cubicBezTo>
                      <a:pt x="226" y="410"/>
                      <a:pt x="226" y="410"/>
                      <a:pt x="226" y="410"/>
                    </a:cubicBezTo>
                    <a:cubicBezTo>
                      <a:pt x="225" y="410"/>
                      <a:pt x="225" y="410"/>
                      <a:pt x="225" y="410"/>
                    </a:cubicBezTo>
                    <a:cubicBezTo>
                      <a:pt x="224" y="411"/>
                      <a:pt x="224" y="411"/>
                      <a:pt x="224" y="411"/>
                    </a:cubicBezTo>
                    <a:cubicBezTo>
                      <a:pt x="225" y="411"/>
                      <a:pt x="225" y="411"/>
                      <a:pt x="225" y="411"/>
                    </a:cubicBezTo>
                    <a:cubicBezTo>
                      <a:pt x="224" y="413"/>
                      <a:pt x="224" y="413"/>
                      <a:pt x="224" y="413"/>
                    </a:cubicBezTo>
                    <a:cubicBezTo>
                      <a:pt x="223" y="413"/>
                      <a:pt x="223" y="413"/>
                      <a:pt x="223" y="413"/>
                    </a:cubicBezTo>
                    <a:cubicBezTo>
                      <a:pt x="222" y="413"/>
                      <a:pt x="222" y="413"/>
                      <a:pt x="222" y="413"/>
                    </a:cubicBezTo>
                    <a:cubicBezTo>
                      <a:pt x="222" y="415"/>
                      <a:pt x="222" y="415"/>
                      <a:pt x="222" y="415"/>
                    </a:cubicBezTo>
                    <a:cubicBezTo>
                      <a:pt x="222" y="416"/>
                      <a:pt x="222" y="416"/>
                      <a:pt x="222" y="416"/>
                    </a:cubicBezTo>
                    <a:cubicBezTo>
                      <a:pt x="222" y="417"/>
                      <a:pt x="222" y="417"/>
                      <a:pt x="222" y="417"/>
                    </a:cubicBezTo>
                    <a:cubicBezTo>
                      <a:pt x="221" y="416"/>
                      <a:pt x="221" y="416"/>
                      <a:pt x="221" y="416"/>
                    </a:cubicBezTo>
                    <a:cubicBezTo>
                      <a:pt x="220" y="415"/>
                      <a:pt x="220" y="415"/>
                      <a:pt x="220" y="415"/>
                    </a:cubicBezTo>
                    <a:cubicBezTo>
                      <a:pt x="221" y="416"/>
                      <a:pt x="221" y="416"/>
                      <a:pt x="221" y="416"/>
                    </a:cubicBezTo>
                    <a:cubicBezTo>
                      <a:pt x="221" y="417"/>
                      <a:pt x="221" y="417"/>
                      <a:pt x="221" y="417"/>
                    </a:cubicBezTo>
                    <a:cubicBezTo>
                      <a:pt x="220" y="418"/>
                      <a:pt x="220" y="418"/>
                      <a:pt x="220" y="418"/>
                    </a:cubicBezTo>
                    <a:cubicBezTo>
                      <a:pt x="220" y="418"/>
                      <a:pt x="220" y="418"/>
                      <a:pt x="220" y="418"/>
                    </a:cubicBezTo>
                    <a:cubicBezTo>
                      <a:pt x="219" y="418"/>
                      <a:pt x="219" y="418"/>
                      <a:pt x="219" y="418"/>
                    </a:cubicBezTo>
                    <a:cubicBezTo>
                      <a:pt x="218" y="418"/>
                      <a:pt x="218" y="418"/>
                      <a:pt x="218" y="418"/>
                    </a:cubicBezTo>
                    <a:cubicBezTo>
                      <a:pt x="218" y="418"/>
                      <a:pt x="218" y="418"/>
                      <a:pt x="218" y="418"/>
                    </a:cubicBezTo>
                    <a:cubicBezTo>
                      <a:pt x="218" y="419"/>
                      <a:pt x="218" y="419"/>
                      <a:pt x="218" y="419"/>
                    </a:cubicBezTo>
                    <a:cubicBezTo>
                      <a:pt x="219" y="420"/>
                      <a:pt x="219" y="420"/>
                      <a:pt x="219" y="420"/>
                    </a:cubicBezTo>
                    <a:cubicBezTo>
                      <a:pt x="218" y="421"/>
                      <a:pt x="218" y="421"/>
                      <a:pt x="218" y="421"/>
                    </a:cubicBezTo>
                    <a:cubicBezTo>
                      <a:pt x="216" y="421"/>
                      <a:pt x="216" y="421"/>
                      <a:pt x="216" y="421"/>
                    </a:cubicBezTo>
                    <a:cubicBezTo>
                      <a:pt x="214" y="424"/>
                      <a:pt x="214" y="424"/>
                      <a:pt x="214" y="424"/>
                    </a:cubicBezTo>
                    <a:cubicBezTo>
                      <a:pt x="214" y="425"/>
                      <a:pt x="214" y="425"/>
                      <a:pt x="214" y="425"/>
                    </a:cubicBezTo>
                    <a:cubicBezTo>
                      <a:pt x="214" y="426"/>
                      <a:pt x="214" y="426"/>
                      <a:pt x="214" y="426"/>
                    </a:cubicBezTo>
                    <a:cubicBezTo>
                      <a:pt x="214" y="428"/>
                      <a:pt x="214" y="428"/>
                      <a:pt x="214" y="428"/>
                    </a:cubicBezTo>
                    <a:cubicBezTo>
                      <a:pt x="212" y="429"/>
                      <a:pt x="212" y="429"/>
                      <a:pt x="212" y="429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10" y="429"/>
                      <a:pt x="210" y="429"/>
                      <a:pt x="210" y="429"/>
                    </a:cubicBezTo>
                    <a:cubicBezTo>
                      <a:pt x="211" y="428"/>
                      <a:pt x="211" y="428"/>
                      <a:pt x="211" y="428"/>
                    </a:cubicBezTo>
                    <a:cubicBezTo>
                      <a:pt x="210" y="428"/>
                      <a:pt x="210" y="428"/>
                      <a:pt x="210" y="428"/>
                    </a:cubicBezTo>
                    <a:cubicBezTo>
                      <a:pt x="209" y="429"/>
                      <a:pt x="209" y="429"/>
                      <a:pt x="209" y="429"/>
                    </a:cubicBezTo>
                    <a:cubicBezTo>
                      <a:pt x="209" y="430"/>
                      <a:pt x="209" y="430"/>
                      <a:pt x="209" y="430"/>
                    </a:cubicBezTo>
                    <a:cubicBezTo>
                      <a:pt x="209" y="431"/>
                      <a:pt x="209" y="431"/>
                      <a:pt x="209" y="431"/>
                    </a:cubicBezTo>
                    <a:cubicBezTo>
                      <a:pt x="209" y="432"/>
                      <a:pt x="209" y="432"/>
                      <a:pt x="209" y="432"/>
                    </a:cubicBezTo>
                    <a:cubicBezTo>
                      <a:pt x="206" y="434"/>
                      <a:pt x="206" y="434"/>
                      <a:pt x="206" y="434"/>
                    </a:cubicBezTo>
                    <a:cubicBezTo>
                      <a:pt x="205" y="434"/>
                      <a:pt x="205" y="434"/>
                      <a:pt x="205" y="434"/>
                    </a:cubicBezTo>
                    <a:cubicBezTo>
                      <a:pt x="205" y="434"/>
                      <a:pt x="205" y="434"/>
                      <a:pt x="205" y="434"/>
                    </a:cubicBezTo>
                    <a:cubicBezTo>
                      <a:pt x="205" y="433"/>
                      <a:pt x="205" y="433"/>
                      <a:pt x="205" y="433"/>
                    </a:cubicBezTo>
                    <a:cubicBezTo>
                      <a:pt x="204" y="432"/>
                      <a:pt x="204" y="432"/>
                      <a:pt x="204" y="432"/>
                    </a:cubicBezTo>
                    <a:cubicBezTo>
                      <a:pt x="203" y="432"/>
                      <a:pt x="203" y="432"/>
                      <a:pt x="203" y="432"/>
                    </a:cubicBezTo>
                    <a:cubicBezTo>
                      <a:pt x="203" y="434"/>
                      <a:pt x="203" y="434"/>
                      <a:pt x="203" y="434"/>
                    </a:cubicBezTo>
                    <a:cubicBezTo>
                      <a:pt x="203" y="434"/>
                      <a:pt x="203" y="434"/>
                      <a:pt x="203" y="434"/>
                    </a:cubicBezTo>
                    <a:cubicBezTo>
                      <a:pt x="201" y="433"/>
                      <a:pt x="201" y="433"/>
                      <a:pt x="201" y="433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9" y="432"/>
                      <a:pt x="199" y="432"/>
                      <a:pt x="199" y="432"/>
                    </a:cubicBezTo>
                    <a:cubicBezTo>
                      <a:pt x="199" y="432"/>
                      <a:pt x="199" y="432"/>
                      <a:pt x="199" y="432"/>
                    </a:cubicBezTo>
                    <a:cubicBezTo>
                      <a:pt x="200" y="433"/>
                      <a:pt x="200" y="433"/>
                      <a:pt x="200" y="433"/>
                    </a:cubicBezTo>
                    <a:cubicBezTo>
                      <a:pt x="201" y="433"/>
                      <a:pt x="201" y="433"/>
                      <a:pt x="201" y="433"/>
                    </a:cubicBezTo>
                    <a:cubicBezTo>
                      <a:pt x="201" y="435"/>
                      <a:pt x="201" y="435"/>
                      <a:pt x="201" y="435"/>
                    </a:cubicBezTo>
                    <a:cubicBezTo>
                      <a:pt x="201" y="436"/>
                      <a:pt x="201" y="436"/>
                      <a:pt x="201" y="436"/>
                    </a:cubicBezTo>
                    <a:cubicBezTo>
                      <a:pt x="200" y="437"/>
                      <a:pt x="200" y="437"/>
                      <a:pt x="200" y="437"/>
                    </a:cubicBezTo>
                    <a:cubicBezTo>
                      <a:pt x="200" y="437"/>
                      <a:pt x="200" y="437"/>
                      <a:pt x="200" y="437"/>
                    </a:cubicBezTo>
                    <a:cubicBezTo>
                      <a:pt x="197" y="438"/>
                      <a:pt x="197" y="438"/>
                      <a:pt x="197" y="438"/>
                    </a:cubicBezTo>
                    <a:cubicBezTo>
                      <a:pt x="196" y="440"/>
                      <a:pt x="196" y="440"/>
                      <a:pt x="196" y="440"/>
                    </a:cubicBezTo>
                    <a:cubicBezTo>
                      <a:pt x="194" y="440"/>
                      <a:pt x="194" y="440"/>
                      <a:pt x="194" y="440"/>
                    </a:cubicBezTo>
                    <a:cubicBezTo>
                      <a:pt x="193" y="439"/>
                      <a:pt x="193" y="439"/>
                      <a:pt x="193" y="439"/>
                    </a:cubicBezTo>
                    <a:cubicBezTo>
                      <a:pt x="194" y="438"/>
                      <a:pt x="194" y="438"/>
                      <a:pt x="194" y="438"/>
                    </a:cubicBezTo>
                    <a:cubicBezTo>
                      <a:pt x="194" y="438"/>
                      <a:pt x="194" y="438"/>
                      <a:pt x="194" y="438"/>
                    </a:cubicBezTo>
                    <a:cubicBezTo>
                      <a:pt x="193" y="437"/>
                      <a:pt x="193" y="437"/>
                      <a:pt x="193" y="437"/>
                    </a:cubicBezTo>
                    <a:cubicBezTo>
                      <a:pt x="193" y="437"/>
                      <a:pt x="193" y="437"/>
                      <a:pt x="193" y="437"/>
                    </a:cubicBezTo>
                    <a:cubicBezTo>
                      <a:pt x="192" y="438"/>
                      <a:pt x="192" y="438"/>
                      <a:pt x="192" y="438"/>
                    </a:cubicBezTo>
                    <a:cubicBezTo>
                      <a:pt x="192" y="439"/>
                      <a:pt x="192" y="439"/>
                      <a:pt x="192" y="439"/>
                    </a:cubicBezTo>
                    <a:cubicBezTo>
                      <a:pt x="192" y="440"/>
                      <a:pt x="192" y="440"/>
                      <a:pt x="192" y="440"/>
                    </a:cubicBezTo>
                    <a:cubicBezTo>
                      <a:pt x="191" y="440"/>
                      <a:pt x="191" y="440"/>
                      <a:pt x="191" y="440"/>
                    </a:cubicBezTo>
                    <a:cubicBezTo>
                      <a:pt x="190" y="441"/>
                      <a:pt x="190" y="441"/>
                      <a:pt x="190" y="441"/>
                    </a:cubicBezTo>
                    <a:cubicBezTo>
                      <a:pt x="188" y="440"/>
                      <a:pt x="188" y="440"/>
                      <a:pt x="188" y="440"/>
                    </a:cubicBezTo>
                    <a:cubicBezTo>
                      <a:pt x="187" y="439"/>
                      <a:pt x="187" y="439"/>
                      <a:pt x="187" y="439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8" y="436"/>
                      <a:pt x="188" y="436"/>
                      <a:pt x="188" y="436"/>
                    </a:cubicBezTo>
                    <a:cubicBezTo>
                      <a:pt x="188" y="435"/>
                      <a:pt x="188" y="435"/>
                      <a:pt x="188" y="435"/>
                    </a:cubicBezTo>
                    <a:cubicBezTo>
                      <a:pt x="187" y="435"/>
                      <a:pt x="187" y="435"/>
                      <a:pt x="187" y="435"/>
                    </a:cubicBezTo>
                    <a:cubicBezTo>
                      <a:pt x="187" y="437"/>
                      <a:pt x="187" y="437"/>
                      <a:pt x="187" y="437"/>
                    </a:cubicBezTo>
                    <a:cubicBezTo>
                      <a:pt x="186" y="439"/>
                      <a:pt x="186" y="439"/>
                      <a:pt x="186" y="439"/>
                    </a:cubicBezTo>
                    <a:cubicBezTo>
                      <a:pt x="186" y="440"/>
                      <a:pt x="186" y="440"/>
                      <a:pt x="186" y="440"/>
                    </a:cubicBezTo>
                    <a:cubicBezTo>
                      <a:pt x="186" y="441"/>
                      <a:pt x="186" y="441"/>
                      <a:pt x="186" y="441"/>
                    </a:cubicBezTo>
                    <a:cubicBezTo>
                      <a:pt x="185" y="441"/>
                      <a:pt x="185" y="441"/>
                      <a:pt x="185" y="441"/>
                    </a:cubicBezTo>
                    <a:cubicBezTo>
                      <a:pt x="183" y="438"/>
                      <a:pt x="183" y="438"/>
                      <a:pt x="183" y="438"/>
                    </a:cubicBezTo>
                    <a:cubicBezTo>
                      <a:pt x="183" y="436"/>
                      <a:pt x="183" y="436"/>
                      <a:pt x="183" y="436"/>
                    </a:cubicBezTo>
                    <a:cubicBezTo>
                      <a:pt x="184" y="435"/>
                      <a:pt x="184" y="435"/>
                      <a:pt x="184" y="435"/>
                    </a:cubicBezTo>
                    <a:cubicBezTo>
                      <a:pt x="185" y="433"/>
                      <a:pt x="185" y="433"/>
                      <a:pt x="185" y="433"/>
                    </a:cubicBezTo>
                    <a:cubicBezTo>
                      <a:pt x="186" y="433"/>
                      <a:pt x="186" y="433"/>
                      <a:pt x="186" y="433"/>
                    </a:cubicBezTo>
                    <a:cubicBezTo>
                      <a:pt x="185" y="432"/>
                      <a:pt x="185" y="432"/>
                      <a:pt x="185" y="432"/>
                    </a:cubicBezTo>
                    <a:cubicBezTo>
                      <a:pt x="184" y="432"/>
                      <a:pt x="184" y="432"/>
                      <a:pt x="184" y="432"/>
                    </a:cubicBezTo>
                    <a:cubicBezTo>
                      <a:pt x="183" y="430"/>
                      <a:pt x="183" y="430"/>
                      <a:pt x="183" y="430"/>
                    </a:cubicBezTo>
                    <a:cubicBezTo>
                      <a:pt x="183" y="430"/>
                      <a:pt x="183" y="430"/>
                      <a:pt x="183" y="430"/>
                    </a:cubicBezTo>
                    <a:cubicBezTo>
                      <a:pt x="182" y="430"/>
                      <a:pt x="182" y="430"/>
                      <a:pt x="182" y="430"/>
                    </a:cubicBezTo>
                    <a:cubicBezTo>
                      <a:pt x="181" y="430"/>
                      <a:pt x="181" y="430"/>
                      <a:pt x="181" y="430"/>
                    </a:cubicBezTo>
                    <a:cubicBezTo>
                      <a:pt x="181" y="431"/>
                      <a:pt x="181" y="431"/>
                      <a:pt x="181" y="431"/>
                    </a:cubicBezTo>
                    <a:cubicBezTo>
                      <a:pt x="181" y="432"/>
                      <a:pt x="181" y="432"/>
                      <a:pt x="18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4"/>
                      <a:pt x="182" y="434"/>
                      <a:pt x="182" y="434"/>
                    </a:cubicBezTo>
                    <a:cubicBezTo>
                      <a:pt x="181" y="435"/>
                      <a:pt x="181" y="435"/>
                      <a:pt x="181" y="435"/>
                    </a:cubicBezTo>
                    <a:cubicBezTo>
                      <a:pt x="181" y="437"/>
                      <a:pt x="181" y="437"/>
                      <a:pt x="181" y="437"/>
                    </a:cubicBezTo>
                    <a:cubicBezTo>
                      <a:pt x="179" y="438"/>
                      <a:pt x="179" y="438"/>
                      <a:pt x="179" y="438"/>
                    </a:cubicBezTo>
                    <a:cubicBezTo>
                      <a:pt x="178" y="438"/>
                      <a:pt x="178" y="438"/>
                      <a:pt x="178" y="438"/>
                    </a:cubicBezTo>
                    <a:cubicBezTo>
                      <a:pt x="178" y="437"/>
                      <a:pt x="178" y="437"/>
                      <a:pt x="178" y="437"/>
                    </a:cubicBezTo>
                    <a:cubicBezTo>
                      <a:pt x="177" y="436"/>
                      <a:pt x="177" y="436"/>
                      <a:pt x="177" y="436"/>
                    </a:cubicBezTo>
                    <a:cubicBezTo>
                      <a:pt x="177" y="437"/>
                      <a:pt x="177" y="437"/>
                      <a:pt x="177" y="437"/>
                    </a:cubicBezTo>
                    <a:cubicBezTo>
                      <a:pt x="177" y="438"/>
                      <a:pt x="177" y="438"/>
                      <a:pt x="177" y="438"/>
                    </a:cubicBezTo>
                    <a:cubicBezTo>
                      <a:pt x="178" y="440"/>
                      <a:pt x="178" y="440"/>
                      <a:pt x="178" y="440"/>
                    </a:cubicBezTo>
                    <a:cubicBezTo>
                      <a:pt x="179" y="442"/>
                      <a:pt x="179" y="442"/>
                      <a:pt x="179" y="442"/>
                    </a:cubicBezTo>
                    <a:cubicBezTo>
                      <a:pt x="179" y="442"/>
                      <a:pt x="179" y="442"/>
                      <a:pt x="179" y="442"/>
                    </a:cubicBezTo>
                    <a:cubicBezTo>
                      <a:pt x="178" y="443"/>
                      <a:pt x="178" y="443"/>
                      <a:pt x="178" y="443"/>
                    </a:cubicBezTo>
                    <a:cubicBezTo>
                      <a:pt x="178" y="444"/>
                      <a:pt x="178" y="444"/>
                      <a:pt x="178" y="444"/>
                    </a:cubicBezTo>
                    <a:cubicBezTo>
                      <a:pt x="176" y="445"/>
                      <a:pt x="176" y="445"/>
                      <a:pt x="176" y="445"/>
                    </a:cubicBezTo>
                    <a:cubicBezTo>
                      <a:pt x="175" y="445"/>
                      <a:pt x="175" y="445"/>
                      <a:pt x="175" y="445"/>
                    </a:cubicBezTo>
                    <a:cubicBezTo>
                      <a:pt x="174" y="444"/>
                      <a:pt x="174" y="444"/>
                      <a:pt x="174" y="444"/>
                    </a:cubicBezTo>
                    <a:cubicBezTo>
                      <a:pt x="174" y="444"/>
                      <a:pt x="174" y="444"/>
                      <a:pt x="174" y="444"/>
                    </a:cubicBezTo>
                    <a:cubicBezTo>
                      <a:pt x="173" y="445"/>
                      <a:pt x="173" y="445"/>
                      <a:pt x="173" y="445"/>
                    </a:cubicBezTo>
                    <a:cubicBezTo>
                      <a:pt x="171" y="446"/>
                      <a:pt x="171" y="446"/>
                      <a:pt x="171" y="446"/>
                    </a:cubicBezTo>
                    <a:cubicBezTo>
                      <a:pt x="171" y="445"/>
                      <a:pt x="171" y="445"/>
                      <a:pt x="171" y="445"/>
                    </a:cubicBezTo>
                    <a:cubicBezTo>
                      <a:pt x="170" y="444"/>
                      <a:pt x="170" y="444"/>
                      <a:pt x="170" y="444"/>
                    </a:cubicBezTo>
                    <a:cubicBezTo>
                      <a:pt x="170" y="443"/>
                      <a:pt x="170" y="443"/>
                      <a:pt x="170" y="443"/>
                    </a:cubicBezTo>
                    <a:cubicBezTo>
                      <a:pt x="169" y="443"/>
                      <a:pt x="169" y="443"/>
                      <a:pt x="169" y="443"/>
                    </a:cubicBezTo>
                    <a:cubicBezTo>
                      <a:pt x="169" y="443"/>
                      <a:pt x="169" y="443"/>
                      <a:pt x="169" y="443"/>
                    </a:cubicBezTo>
                    <a:cubicBezTo>
                      <a:pt x="169" y="444"/>
                      <a:pt x="169" y="444"/>
                      <a:pt x="169" y="444"/>
                    </a:cubicBezTo>
                    <a:cubicBezTo>
                      <a:pt x="168" y="445"/>
                      <a:pt x="168" y="445"/>
                      <a:pt x="168" y="445"/>
                    </a:cubicBezTo>
                    <a:cubicBezTo>
                      <a:pt x="167" y="445"/>
                      <a:pt x="167" y="445"/>
                      <a:pt x="167" y="445"/>
                    </a:cubicBezTo>
                    <a:cubicBezTo>
                      <a:pt x="166" y="444"/>
                      <a:pt x="166" y="444"/>
                      <a:pt x="166" y="444"/>
                    </a:cubicBezTo>
                    <a:cubicBezTo>
                      <a:pt x="165" y="443"/>
                      <a:pt x="165" y="443"/>
                      <a:pt x="165" y="443"/>
                    </a:cubicBezTo>
                    <a:cubicBezTo>
                      <a:pt x="165" y="443"/>
                      <a:pt x="165" y="443"/>
                      <a:pt x="165" y="443"/>
                    </a:cubicBezTo>
                    <a:cubicBezTo>
                      <a:pt x="164" y="444"/>
                      <a:pt x="164" y="444"/>
                      <a:pt x="164" y="444"/>
                    </a:cubicBezTo>
                    <a:cubicBezTo>
                      <a:pt x="163" y="444"/>
                      <a:pt x="163" y="444"/>
                      <a:pt x="163" y="444"/>
                    </a:cubicBezTo>
                    <a:cubicBezTo>
                      <a:pt x="163" y="444"/>
                      <a:pt x="163" y="444"/>
                      <a:pt x="163" y="444"/>
                    </a:cubicBezTo>
                    <a:cubicBezTo>
                      <a:pt x="163" y="445"/>
                      <a:pt x="163" y="445"/>
                      <a:pt x="163" y="445"/>
                    </a:cubicBezTo>
                    <a:cubicBezTo>
                      <a:pt x="163" y="446"/>
                      <a:pt x="163" y="446"/>
                      <a:pt x="163" y="446"/>
                    </a:cubicBezTo>
                    <a:cubicBezTo>
                      <a:pt x="163" y="449"/>
                      <a:pt x="163" y="449"/>
                      <a:pt x="163" y="449"/>
                    </a:cubicBezTo>
                    <a:cubicBezTo>
                      <a:pt x="162" y="451"/>
                      <a:pt x="162" y="451"/>
                      <a:pt x="162" y="451"/>
                    </a:cubicBezTo>
                    <a:cubicBezTo>
                      <a:pt x="161" y="453"/>
                      <a:pt x="161" y="453"/>
                      <a:pt x="161" y="453"/>
                    </a:cubicBezTo>
                    <a:cubicBezTo>
                      <a:pt x="159" y="453"/>
                      <a:pt x="159" y="453"/>
                      <a:pt x="159" y="453"/>
                    </a:cubicBezTo>
                    <a:cubicBezTo>
                      <a:pt x="159" y="452"/>
                      <a:pt x="159" y="452"/>
                      <a:pt x="159" y="452"/>
                    </a:cubicBezTo>
                    <a:cubicBezTo>
                      <a:pt x="158" y="450"/>
                      <a:pt x="158" y="450"/>
                      <a:pt x="158" y="450"/>
                    </a:cubicBezTo>
                    <a:cubicBezTo>
                      <a:pt x="157" y="450"/>
                      <a:pt x="157" y="450"/>
                      <a:pt x="157" y="450"/>
                    </a:cubicBezTo>
                    <a:cubicBezTo>
                      <a:pt x="156" y="450"/>
                      <a:pt x="156" y="450"/>
                      <a:pt x="156" y="450"/>
                    </a:cubicBezTo>
                    <a:cubicBezTo>
                      <a:pt x="156" y="451"/>
                      <a:pt x="156" y="451"/>
                      <a:pt x="156" y="451"/>
                    </a:cubicBezTo>
                    <a:cubicBezTo>
                      <a:pt x="155" y="451"/>
                      <a:pt x="155" y="451"/>
                      <a:pt x="155" y="451"/>
                    </a:cubicBezTo>
                    <a:cubicBezTo>
                      <a:pt x="154" y="449"/>
                      <a:pt x="154" y="449"/>
                      <a:pt x="154" y="449"/>
                    </a:cubicBezTo>
                    <a:cubicBezTo>
                      <a:pt x="154" y="449"/>
                      <a:pt x="154" y="449"/>
                      <a:pt x="154" y="449"/>
                    </a:cubicBezTo>
                    <a:cubicBezTo>
                      <a:pt x="153" y="450"/>
                      <a:pt x="153" y="450"/>
                      <a:pt x="153" y="450"/>
                    </a:cubicBezTo>
                    <a:cubicBezTo>
                      <a:pt x="153" y="451"/>
                      <a:pt x="153" y="451"/>
                      <a:pt x="153" y="451"/>
                    </a:cubicBezTo>
                    <a:cubicBezTo>
                      <a:pt x="154" y="452"/>
                      <a:pt x="154" y="452"/>
                      <a:pt x="154" y="452"/>
                    </a:cubicBezTo>
                    <a:cubicBezTo>
                      <a:pt x="153" y="453"/>
                      <a:pt x="153" y="453"/>
                      <a:pt x="153" y="453"/>
                    </a:cubicBezTo>
                    <a:cubicBezTo>
                      <a:pt x="153" y="454"/>
                      <a:pt x="153" y="454"/>
                      <a:pt x="153" y="454"/>
                    </a:cubicBezTo>
                    <a:cubicBezTo>
                      <a:pt x="154" y="455"/>
                      <a:pt x="154" y="455"/>
                      <a:pt x="154" y="455"/>
                    </a:cubicBezTo>
                    <a:cubicBezTo>
                      <a:pt x="155" y="456"/>
                      <a:pt x="155" y="456"/>
                      <a:pt x="155" y="456"/>
                    </a:cubicBezTo>
                    <a:cubicBezTo>
                      <a:pt x="155" y="458"/>
                      <a:pt x="155" y="458"/>
                      <a:pt x="155" y="458"/>
                    </a:cubicBezTo>
                    <a:cubicBezTo>
                      <a:pt x="155" y="461"/>
                      <a:pt x="155" y="461"/>
                      <a:pt x="155" y="461"/>
                    </a:cubicBezTo>
                    <a:cubicBezTo>
                      <a:pt x="155" y="463"/>
                      <a:pt x="155" y="463"/>
                      <a:pt x="155" y="463"/>
                    </a:cubicBezTo>
                    <a:cubicBezTo>
                      <a:pt x="154" y="462"/>
                      <a:pt x="154" y="462"/>
                      <a:pt x="154" y="462"/>
                    </a:cubicBezTo>
                    <a:cubicBezTo>
                      <a:pt x="153" y="462"/>
                      <a:pt x="153" y="462"/>
                      <a:pt x="153" y="462"/>
                    </a:cubicBezTo>
                    <a:cubicBezTo>
                      <a:pt x="153" y="463"/>
                      <a:pt x="153" y="463"/>
                      <a:pt x="153" y="463"/>
                    </a:cubicBezTo>
                    <a:cubicBezTo>
                      <a:pt x="151" y="463"/>
                      <a:pt x="151" y="463"/>
                      <a:pt x="151" y="463"/>
                    </a:cubicBezTo>
                    <a:cubicBezTo>
                      <a:pt x="149" y="463"/>
                      <a:pt x="149" y="463"/>
                      <a:pt x="149" y="463"/>
                    </a:cubicBezTo>
                    <a:cubicBezTo>
                      <a:pt x="148" y="463"/>
                      <a:pt x="148" y="463"/>
                      <a:pt x="148" y="463"/>
                    </a:cubicBezTo>
                    <a:cubicBezTo>
                      <a:pt x="147" y="464"/>
                      <a:pt x="147" y="464"/>
                      <a:pt x="147" y="464"/>
                    </a:cubicBezTo>
                    <a:cubicBezTo>
                      <a:pt x="147" y="464"/>
                      <a:pt x="147" y="464"/>
                      <a:pt x="147" y="464"/>
                    </a:cubicBezTo>
                    <a:cubicBezTo>
                      <a:pt x="149" y="466"/>
                      <a:pt x="149" y="466"/>
                      <a:pt x="149" y="466"/>
                    </a:cubicBezTo>
                    <a:cubicBezTo>
                      <a:pt x="151" y="466"/>
                      <a:pt x="151" y="466"/>
                      <a:pt x="151" y="466"/>
                    </a:cubicBezTo>
                    <a:cubicBezTo>
                      <a:pt x="152" y="467"/>
                      <a:pt x="152" y="467"/>
                      <a:pt x="152" y="467"/>
                    </a:cubicBezTo>
                    <a:cubicBezTo>
                      <a:pt x="152" y="467"/>
                      <a:pt x="152" y="467"/>
                      <a:pt x="152" y="467"/>
                    </a:cubicBezTo>
                    <a:cubicBezTo>
                      <a:pt x="153" y="467"/>
                      <a:pt x="153" y="467"/>
                      <a:pt x="153" y="467"/>
                    </a:cubicBezTo>
                    <a:cubicBezTo>
                      <a:pt x="154" y="467"/>
                      <a:pt x="154" y="467"/>
                      <a:pt x="154" y="467"/>
                    </a:cubicBezTo>
                    <a:cubicBezTo>
                      <a:pt x="154" y="468"/>
                      <a:pt x="154" y="468"/>
                      <a:pt x="154" y="468"/>
                    </a:cubicBezTo>
                    <a:cubicBezTo>
                      <a:pt x="154" y="469"/>
                      <a:pt x="154" y="469"/>
                      <a:pt x="154" y="469"/>
                    </a:cubicBezTo>
                    <a:cubicBezTo>
                      <a:pt x="153" y="470"/>
                      <a:pt x="153" y="470"/>
                      <a:pt x="153" y="470"/>
                    </a:cubicBezTo>
                    <a:cubicBezTo>
                      <a:pt x="152" y="470"/>
                      <a:pt x="152" y="470"/>
                      <a:pt x="152" y="470"/>
                    </a:cubicBezTo>
                    <a:cubicBezTo>
                      <a:pt x="152" y="470"/>
                      <a:pt x="152" y="470"/>
                      <a:pt x="152" y="470"/>
                    </a:cubicBezTo>
                    <a:cubicBezTo>
                      <a:pt x="153" y="471"/>
                      <a:pt x="153" y="471"/>
                      <a:pt x="153" y="471"/>
                    </a:cubicBezTo>
                    <a:cubicBezTo>
                      <a:pt x="153" y="472"/>
                      <a:pt x="153" y="472"/>
                      <a:pt x="153" y="472"/>
                    </a:cubicBezTo>
                    <a:cubicBezTo>
                      <a:pt x="153" y="473"/>
                      <a:pt x="153" y="473"/>
                      <a:pt x="153" y="473"/>
                    </a:cubicBezTo>
                    <a:cubicBezTo>
                      <a:pt x="153" y="474"/>
                      <a:pt x="153" y="474"/>
                      <a:pt x="153" y="474"/>
                    </a:cubicBezTo>
                    <a:cubicBezTo>
                      <a:pt x="153" y="475"/>
                      <a:pt x="153" y="475"/>
                      <a:pt x="153" y="475"/>
                    </a:cubicBezTo>
                    <a:cubicBezTo>
                      <a:pt x="152" y="475"/>
                      <a:pt x="152" y="475"/>
                      <a:pt x="152" y="475"/>
                    </a:cubicBezTo>
                    <a:cubicBezTo>
                      <a:pt x="151" y="475"/>
                      <a:pt x="151" y="475"/>
                      <a:pt x="151" y="475"/>
                    </a:cubicBezTo>
                    <a:cubicBezTo>
                      <a:pt x="149" y="473"/>
                      <a:pt x="149" y="473"/>
                      <a:pt x="149" y="473"/>
                    </a:cubicBezTo>
                    <a:cubicBezTo>
                      <a:pt x="148" y="473"/>
                      <a:pt x="148" y="473"/>
                      <a:pt x="148" y="473"/>
                    </a:cubicBezTo>
                    <a:cubicBezTo>
                      <a:pt x="148" y="472"/>
                      <a:pt x="148" y="472"/>
                      <a:pt x="148" y="472"/>
                    </a:cubicBezTo>
                    <a:cubicBezTo>
                      <a:pt x="147" y="471"/>
                      <a:pt x="147" y="471"/>
                      <a:pt x="147" y="471"/>
                    </a:cubicBezTo>
                    <a:cubicBezTo>
                      <a:pt x="145" y="471"/>
                      <a:pt x="145" y="471"/>
                      <a:pt x="145" y="471"/>
                    </a:cubicBezTo>
                    <a:cubicBezTo>
                      <a:pt x="145" y="472"/>
                      <a:pt x="145" y="472"/>
                      <a:pt x="145" y="472"/>
                    </a:cubicBezTo>
                    <a:cubicBezTo>
                      <a:pt x="145" y="473"/>
                      <a:pt x="145" y="473"/>
                      <a:pt x="145" y="473"/>
                    </a:cubicBezTo>
                    <a:cubicBezTo>
                      <a:pt x="146" y="473"/>
                      <a:pt x="146" y="473"/>
                      <a:pt x="146" y="473"/>
                    </a:cubicBezTo>
                    <a:cubicBezTo>
                      <a:pt x="147" y="473"/>
                      <a:pt x="147" y="473"/>
                      <a:pt x="147" y="473"/>
                    </a:cubicBezTo>
                    <a:cubicBezTo>
                      <a:pt x="149" y="474"/>
                      <a:pt x="149" y="474"/>
                      <a:pt x="149" y="474"/>
                    </a:cubicBezTo>
                    <a:cubicBezTo>
                      <a:pt x="150" y="475"/>
                      <a:pt x="150" y="475"/>
                      <a:pt x="150" y="475"/>
                    </a:cubicBezTo>
                    <a:cubicBezTo>
                      <a:pt x="151" y="476"/>
                      <a:pt x="151" y="476"/>
                      <a:pt x="151" y="476"/>
                    </a:cubicBezTo>
                    <a:cubicBezTo>
                      <a:pt x="152" y="476"/>
                      <a:pt x="152" y="476"/>
                      <a:pt x="152" y="476"/>
                    </a:cubicBezTo>
                    <a:cubicBezTo>
                      <a:pt x="151" y="478"/>
                      <a:pt x="151" y="478"/>
                      <a:pt x="151" y="478"/>
                    </a:cubicBezTo>
                    <a:cubicBezTo>
                      <a:pt x="150" y="478"/>
                      <a:pt x="150" y="478"/>
                      <a:pt x="150" y="478"/>
                    </a:cubicBezTo>
                    <a:cubicBezTo>
                      <a:pt x="149" y="478"/>
                      <a:pt x="149" y="478"/>
                      <a:pt x="149" y="478"/>
                    </a:cubicBezTo>
                    <a:cubicBezTo>
                      <a:pt x="148" y="479"/>
                      <a:pt x="148" y="479"/>
                      <a:pt x="148" y="479"/>
                    </a:cubicBezTo>
                    <a:cubicBezTo>
                      <a:pt x="147" y="479"/>
                      <a:pt x="147" y="479"/>
                      <a:pt x="147" y="479"/>
                    </a:cubicBezTo>
                    <a:cubicBezTo>
                      <a:pt x="145" y="477"/>
                      <a:pt x="145" y="477"/>
                      <a:pt x="145" y="477"/>
                    </a:cubicBezTo>
                    <a:cubicBezTo>
                      <a:pt x="144" y="476"/>
                      <a:pt x="144" y="476"/>
                      <a:pt x="144" y="476"/>
                    </a:cubicBezTo>
                    <a:cubicBezTo>
                      <a:pt x="143" y="476"/>
                      <a:pt x="143" y="476"/>
                      <a:pt x="143" y="476"/>
                    </a:cubicBezTo>
                    <a:cubicBezTo>
                      <a:pt x="143" y="476"/>
                      <a:pt x="143" y="476"/>
                      <a:pt x="143" y="476"/>
                    </a:cubicBezTo>
                    <a:cubicBezTo>
                      <a:pt x="142" y="477"/>
                      <a:pt x="142" y="477"/>
                      <a:pt x="142" y="477"/>
                    </a:cubicBezTo>
                    <a:cubicBezTo>
                      <a:pt x="142" y="479"/>
                      <a:pt x="142" y="479"/>
                      <a:pt x="142" y="479"/>
                    </a:cubicBezTo>
                    <a:cubicBezTo>
                      <a:pt x="143" y="480"/>
                      <a:pt x="143" y="480"/>
                      <a:pt x="143" y="480"/>
                    </a:cubicBezTo>
                    <a:cubicBezTo>
                      <a:pt x="145" y="481"/>
                      <a:pt x="145" y="481"/>
                      <a:pt x="145" y="481"/>
                    </a:cubicBezTo>
                    <a:cubicBezTo>
                      <a:pt x="146" y="482"/>
                      <a:pt x="146" y="482"/>
                      <a:pt x="146" y="482"/>
                    </a:cubicBezTo>
                    <a:cubicBezTo>
                      <a:pt x="145" y="483"/>
                      <a:pt x="145" y="483"/>
                      <a:pt x="145" y="483"/>
                    </a:cubicBezTo>
                    <a:cubicBezTo>
                      <a:pt x="145" y="483"/>
                      <a:pt x="145" y="483"/>
                      <a:pt x="145" y="483"/>
                    </a:cubicBezTo>
                    <a:cubicBezTo>
                      <a:pt x="144" y="482"/>
                      <a:pt x="144" y="482"/>
                      <a:pt x="144" y="482"/>
                    </a:cubicBezTo>
                    <a:cubicBezTo>
                      <a:pt x="143" y="482"/>
                      <a:pt x="143" y="482"/>
                      <a:pt x="143" y="482"/>
                    </a:cubicBezTo>
                    <a:cubicBezTo>
                      <a:pt x="141" y="481"/>
                      <a:pt x="141" y="481"/>
                      <a:pt x="141" y="481"/>
                    </a:cubicBezTo>
                    <a:cubicBezTo>
                      <a:pt x="140" y="480"/>
                      <a:pt x="140" y="480"/>
                      <a:pt x="140" y="480"/>
                    </a:cubicBezTo>
                    <a:cubicBezTo>
                      <a:pt x="140" y="480"/>
                      <a:pt x="140" y="480"/>
                      <a:pt x="140" y="480"/>
                    </a:cubicBezTo>
                    <a:cubicBezTo>
                      <a:pt x="140" y="481"/>
                      <a:pt x="140" y="481"/>
                      <a:pt x="140" y="481"/>
                    </a:cubicBezTo>
                    <a:cubicBezTo>
                      <a:pt x="141" y="482"/>
                      <a:pt x="141" y="482"/>
                      <a:pt x="141" y="482"/>
                    </a:cubicBezTo>
                    <a:cubicBezTo>
                      <a:pt x="143" y="483"/>
                      <a:pt x="143" y="483"/>
                      <a:pt x="143" y="483"/>
                    </a:cubicBezTo>
                    <a:cubicBezTo>
                      <a:pt x="144" y="484"/>
                      <a:pt x="144" y="484"/>
                      <a:pt x="144" y="484"/>
                    </a:cubicBezTo>
                    <a:cubicBezTo>
                      <a:pt x="144" y="485"/>
                      <a:pt x="144" y="485"/>
                      <a:pt x="144" y="485"/>
                    </a:cubicBezTo>
                    <a:cubicBezTo>
                      <a:pt x="143" y="485"/>
                      <a:pt x="143" y="485"/>
                      <a:pt x="143" y="485"/>
                    </a:cubicBezTo>
                    <a:cubicBezTo>
                      <a:pt x="141" y="485"/>
                      <a:pt x="141" y="485"/>
                      <a:pt x="141" y="485"/>
                    </a:cubicBezTo>
                    <a:cubicBezTo>
                      <a:pt x="140" y="484"/>
                      <a:pt x="140" y="484"/>
                      <a:pt x="140" y="484"/>
                    </a:cubicBezTo>
                    <a:cubicBezTo>
                      <a:pt x="140" y="483"/>
                      <a:pt x="140" y="483"/>
                      <a:pt x="140" y="483"/>
                    </a:cubicBezTo>
                    <a:cubicBezTo>
                      <a:pt x="139" y="482"/>
                      <a:pt x="139" y="482"/>
                      <a:pt x="139" y="482"/>
                    </a:cubicBezTo>
                    <a:cubicBezTo>
                      <a:pt x="138" y="482"/>
                      <a:pt x="138" y="482"/>
                      <a:pt x="138" y="482"/>
                    </a:cubicBezTo>
                    <a:cubicBezTo>
                      <a:pt x="137" y="483"/>
                      <a:pt x="137" y="483"/>
                      <a:pt x="137" y="483"/>
                    </a:cubicBezTo>
                    <a:cubicBezTo>
                      <a:pt x="137" y="484"/>
                      <a:pt x="137" y="484"/>
                      <a:pt x="137" y="484"/>
                    </a:cubicBezTo>
                    <a:cubicBezTo>
                      <a:pt x="138" y="485"/>
                      <a:pt x="138" y="485"/>
                      <a:pt x="138" y="485"/>
                    </a:cubicBezTo>
                    <a:cubicBezTo>
                      <a:pt x="139" y="486"/>
                      <a:pt x="139" y="486"/>
                      <a:pt x="139" y="486"/>
                    </a:cubicBezTo>
                    <a:cubicBezTo>
                      <a:pt x="138" y="486"/>
                      <a:pt x="138" y="486"/>
                      <a:pt x="138" y="486"/>
                    </a:cubicBezTo>
                    <a:cubicBezTo>
                      <a:pt x="139" y="487"/>
                      <a:pt x="139" y="487"/>
                      <a:pt x="139" y="487"/>
                    </a:cubicBezTo>
                    <a:cubicBezTo>
                      <a:pt x="142" y="487"/>
                      <a:pt x="142" y="487"/>
                      <a:pt x="142" y="487"/>
                    </a:cubicBezTo>
                    <a:cubicBezTo>
                      <a:pt x="143" y="487"/>
                      <a:pt x="143" y="487"/>
                      <a:pt x="143" y="487"/>
                    </a:cubicBezTo>
                    <a:cubicBezTo>
                      <a:pt x="143" y="488"/>
                      <a:pt x="143" y="488"/>
                      <a:pt x="143" y="488"/>
                    </a:cubicBezTo>
                    <a:cubicBezTo>
                      <a:pt x="143" y="489"/>
                      <a:pt x="143" y="489"/>
                      <a:pt x="143" y="489"/>
                    </a:cubicBezTo>
                    <a:cubicBezTo>
                      <a:pt x="142" y="490"/>
                      <a:pt x="142" y="490"/>
                      <a:pt x="142" y="490"/>
                    </a:cubicBezTo>
                    <a:cubicBezTo>
                      <a:pt x="141" y="490"/>
                      <a:pt x="141" y="490"/>
                      <a:pt x="141" y="490"/>
                    </a:cubicBezTo>
                    <a:cubicBezTo>
                      <a:pt x="140" y="491"/>
                      <a:pt x="140" y="491"/>
                      <a:pt x="140" y="491"/>
                    </a:cubicBezTo>
                    <a:cubicBezTo>
                      <a:pt x="139" y="490"/>
                      <a:pt x="139" y="490"/>
                      <a:pt x="139" y="490"/>
                    </a:cubicBezTo>
                    <a:cubicBezTo>
                      <a:pt x="138" y="490"/>
                      <a:pt x="138" y="490"/>
                      <a:pt x="138" y="490"/>
                    </a:cubicBezTo>
                    <a:cubicBezTo>
                      <a:pt x="136" y="489"/>
                      <a:pt x="136" y="489"/>
                      <a:pt x="136" y="489"/>
                    </a:cubicBezTo>
                    <a:cubicBezTo>
                      <a:pt x="136" y="488"/>
                      <a:pt x="136" y="488"/>
                      <a:pt x="136" y="488"/>
                    </a:cubicBezTo>
                    <a:cubicBezTo>
                      <a:pt x="137" y="488"/>
                      <a:pt x="137" y="488"/>
                      <a:pt x="137" y="488"/>
                    </a:cubicBezTo>
                    <a:cubicBezTo>
                      <a:pt x="136" y="487"/>
                      <a:pt x="136" y="487"/>
                      <a:pt x="136" y="487"/>
                    </a:cubicBezTo>
                    <a:cubicBezTo>
                      <a:pt x="135" y="487"/>
                      <a:pt x="135" y="487"/>
                      <a:pt x="135" y="487"/>
                    </a:cubicBezTo>
                    <a:cubicBezTo>
                      <a:pt x="135" y="489"/>
                      <a:pt x="135" y="489"/>
                      <a:pt x="135" y="489"/>
                    </a:cubicBezTo>
                    <a:cubicBezTo>
                      <a:pt x="135" y="490"/>
                      <a:pt x="135" y="490"/>
                      <a:pt x="135" y="490"/>
                    </a:cubicBezTo>
                    <a:cubicBezTo>
                      <a:pt x="134" y="491"/>
                      <a:pt x="134" y="491"/>
                      <a:pt x="134" y="491"/>
                    </a:cubicBezTo>
                    <a:cubicBezTo>
                      <a:pt x="132" y="491"/>
                      <a:pt x="132" y="491"/>
                      <a:pt x="132" y="491"/>
                    </a:cubicBezTo>
                    <a:cubicBezTo>
                      <a:pt x="131" y="490"/>
                      <a:pt x="131" y="490"/>
                      <a:pt x="131" y="490"/>
                    </a:cubicBezTo>
                    <a:cubicBezTo>
                      <a:pt x="130" y="490"/>
                      <a:pt x="130" y="490"/>
                      <a:pt x="130" y="490"/>
                    </a:cubicBezTo>
                    <a:cubicBezTo>
                      <a:pt x="130" y="490"/>
                      <a:pt x="130" y="490"/>
                      <a:pt x="130" y="490"/>
                    </a:cubicBezTo>
                    <a:cubicBezTo>
                      <a:pt x="129" y="491"/>
                      <a:pt x="129" y="491"/>
                      <a:pt x="129" y="491"/>
                    </a:cubicBezTo>
                    <a:cubicBezTo>
                      <a:pt x="130" y="491"/>
                      <a:pt x="130" y="491"/>
                      <a:pt x="130" y="491"/>
                    </a:cubicBezTo>
                    <a:cubicBezTo>
                      <a:pt x="133" y="493"/>
                      <a:pt x="133" y="493"/>
                      <a:pt x="133" y="493"/>
                    </a:cubicBezTo>
                    <a:cubicBezTo>
                      <a:pt x="135" y="493"/>
                      <a:pt x="135" y="493"/>
                      <a:pt x="135" y="493"/>
                    </a:cubicBezTo>
                    <a:cubicBezTo>
                      <a:pt x="136" y="495"/>
                      <a:pt x="136" y="495"/>
                      <a:pt x="136" y="495"/>
                    </a:cubicBezTo>
                    <a:cubicBezTo>
                      <a:pt x="137" y="497"/>
                      <a:pt x="137" y="497"/>
                      <a:pt x="137" y="497"/>
                    </a:cubicBezTo>
                    <a:cubicBezTo>
                      <a:pt x="136" y="497"/>
                      <a:pt x="136" y="497"/>
                      <a:pt x="136" y="497"/>
                    </a:cubicBezTo>
                    <a:cubicBezTo>
                      <a:pt x="135" y="497"/>
                      <a:pt x="135" y="497"/>
                      <a:pt x="135" y="497"/>
                    </a:cubicBezTo>
                    <a:cubicBezTo>
                      <a:pt x="134" y="496"/>
                      <a:pt x="134" y="496"/>
                      <a:pt x="134" y="496"/>
                    </a:cubicBezTo>
                    <a:cubicBezTo>
                      <a:pt x="131" y="494"/>
                      <a:pt x="131" y="494"/>
                      <a:pt x="131" y="494"/>
                    </a:cubicBezTo>
                    <a:cubicBezTo>
                      <a:pt x="131" y="494"/>
                      <a:pt x="131" y="494"/>
                      <a:pt x="131" y="494"/>
                    </a:cubicBezTo>
                    <a:cubicBezTo>
                      <a:pt x="129" y="494"/>
                      <a:pt x="129" y="494"/>
                      <a:pt x="129" y="494"/>
                    </a:cubicBezTo>
                    <a:cubicBezTo>
                      <a:pt x="129" y="494"/>
                      <a:pt x="129" y="494"/>
                      <a:pt x="129" y="494"/>
                    </a:cubicBezTo>
                    <a:cubicBezTo>
                      <a:pt x="130" y="495"/>
                      <a:pt x="130" y="495"/>
                      <a:pt x="130" y="495"/>
                    </a:cubicBezTo>
                    <a:cubicBezTo>
                      <a:pt x="132" y="496"/>
                      <a:pt x="132" y="496"/>
                      <a:pt x="132" y="496"/>
                    </a:cubicBezTo>
                    <a:cubicBezTo>
                      <a:pt x="134" y="497"/>
                      <a:pt x="134" y="497"/>
                      <a:pt x="134" y="497"/>
                    </a:cubicBezTo>
                    <a:cubicBezTo>
                      <a:pt x="135" y="499"/>
                      <a:pt x="135" y="499"/>
                      <a:pt x="135" y="499"/>
                    </a:cubicBezTo>
                    <a:cubicBezTo>
                      <a:pt x="135" y="500"/>
                      <a:pt x="135" y="500"/>
                      <a:pt x="135" y="500"/>
                    </a:cubicBezTo>
                    <a:cubicBezTo>
                      <a:pt x="135" y="502"/>
                      <a:pt x="135" y="502"/>
                      <a:pt x="135" y="502"/>
                    </a:cubicBezTo>
                    <a:cubicBezTo>
                      <a:pt x="135" y="503"/>
                      <a:pt x="135" y="503"/>
                      <a:pt x="135" y="503"/>
                    </a:cubicBezTo>
                    <a:cubicBezTo>
                      <a:pt x="135" y="503"/>
                      <a:pt x="135" y="503"/>
                      <a:pt x="135" y="503"/>
                    </a:cubicBezTo>
                    <a:cubicBezTo>
                      <a:pt x="134" y="504"/>
                      <a:pt x="134" y="504"/>
                      <a:pt x="134" y="504"/>
                    </a:cubicBezTo>
                    <a:cubicBezTo>
                      <a:pt x="134" y="505"/>
                      <a:pt x="134" y="505"/>
                      <a:pt x="134" y="505"/>
                    </a:cubicBezTo>
                    <a:cubicBezTo>
                      <a:pt x="133" y="507"/>
                      <a:pt x="133" y="507"/>
                      <a:pt x="133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1" y="506"/>
                      <a:pt x="131" y="506"/>
                      <a:pt x="131" y="506"/>
                    </a:cubicBezTo>
                    <a:cubicBezTo>
                      <a:pt x="130" y="506"/>
                      <a:pt x="130" y="506"/>
                      <a:pt x="130" y="506"/>
                    </a:cubicBezTo>
                    <a:cubicBezTo>
                      <a:pt x="129" y="505"/>
                      <a:pt x="129" y="505"/>
                      <a:pt x="129" y="505"/>
                    </a:cubicBezTo>
                    <a:cubicBezTo>
                      <a:pt x="128" y="505"/>
                      <a:pt x="128" y="505"/>
                      <a:pt x="128" y="505"/>
                    </a:cubicBezTo>
                    <a:cubicBezTo>
                      <a:pt x="128" y="506"/>
                      <a:pt x="128" y="506"/>
                      <a:pt x="128" y="506"/>
                    </a:cubicBezTo>
                    <a:cubicBezTo>
                      <a:pt x="130" y="507"/>
                      <a:pt x="130" y="507"/>
                      <a:pt x="130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2" y="507"/>
                      <a:pt x="132" y="507"/>
                      <a:pt x="132" y="507"/>
                    </a:cubicBezTo>
                    <a:cubicBezTo>
                      <a:pt x="131" y="509"/>
                      <a:pt x="131" y="509"/>
                      <a:pt x="131" y="509"/>
                    </a:cubicBezTo>
                    <a:cubicBezTo>
                      <a:pt x="129" y="509"/>
                      <a:pt x="129" y="509"/>
                      <a:pt x="129" y="509"/>
                    </a:cubicBezTo>
                    <a:cubicBezTo>
                      <a:pt x="129" y="508"/>
                      <a:pt x="129" y="508"/>
                      <a:pt x="129" y="508"/>
                    </a:cubicBezTo>
                    <a:cubicBezTo>
                      <a:pt x="128" y="508"/>
                      <a:pt x="128" y="508"/>
                      <a:pt x="128" y="508"/>
                    </a:cubicBezTo>
                    <a:cubicBezTo>
                      <a:pt x="128" y="509"/>
                      <a:pt x="128" y="509"/>
                      <a:pt x="128" y="509"/>
                    </a:cubicBezTo>
                    <a:cubicBezTo>
                      <a:pt x="129" y="510"/>
                      <a:pt x="129" y="510"/>
                      <a:pt x="129" y="510"/>
                    </a:cubicBezTo>
                    <a:cubicBezTo>
                      <a:pt x="130" y="510"/>
                      <a:pt x="130" y="510"/>
                      <a:pt x="130" y="510"/>
                    </a:cubicBezTo>
                    <a:cubicBezTo>
                      <a:pt x="130" y="511"/>
                      <a:pt x="130" y="511"/>
                      <a:pt x="130" y="511"/>
                    </a:cubicBezTo>
                    <a:cubicBezTo>
                      <a:pt x="129" y="512"/>
                      <a:pt x="129" y="512"/>
                      <a:pt x="129" y="512"/>
                    </a:cubicBezTo>
                    <a:cubicBezTo>
                      <a:pt x="128" y="512"/>
                      <a:pt x="128" y="512"/>
                      <a:pt x="128" y="512"/>
                    </a:cubicBezTo>
                    <a:cubicBezTo>
                      <a:pt x="127" y="512"/>
                      <a:pt x="127" y="512"/>
                      <a:pt x="127" y="512"/>
                    </a:cubicBezTo>
                    <a:cubicBezTo>
                      <a:pt x="126" y="511"/>
                      <a:pt x="126" y="511"/>
                      <a:pt x="126" y="511"/>
                    </a:cubicBezTo>
                    <a:cubicBezTo>
                      <a:pt x="125" y="511"/>
                      <a:pt x="125" y="511"/>
                      <a:pt x="125" y="511"/>
                    </a:cubicBezTo>
                    <a:cubicBezTo>
                      <a:pt x="126" y="512"/>
                      <a:pt x="126" y="512"/>
                      <a:pt x="126" y="512"/>
                    </a:cubicBezTo>
                    <a:cubicBezTo>
                      <a:pt x="127" y="513"/>
                      <a:pt x="127" y="513"/>
                      <a:pt x="127" y="513"/>
                    </a:cubicBezTo>
                    <a:cubicBezTo>
                      <a:pt x="128" y="513"/>
                      <a:pt x="128" y="513"/>
                      <a:pt x="128" y="513"/>
                    </a:cubicBezTo>
                    <a:cubicBezTo>
                      <a:pt x="128" y="515"/>
                      <a:pt x="128" y="515"/>
                      <a:pt x="128" y="515"/>
                    </a:cubicBezTo>
                    <a:cubicBezTo>
                      <a:pt x="127" y="516"/>
                      <a:pt x="127" y="516"/>
                      <a:pt x="127" y="516"/>
                    </a:cubicBezTo>
                    <a:cubicBezTo>
                      <a:pt x="124" y="515"/>
                      <a:pt x="124" y="515"/>
                      <a:pt x="124" y="515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15"/>
                      <a:pt x="122" y="515"/>
                      <a:pt x="122" y="515"/>
                    </a:cubicBezTo>
                    <a:cubicBezTo>
                      <a:pt x="122" y="515"/>
                      <a:pt x="122" y="515"/>
                      <a:pt x="122" y="515"/>
                    </a:cubicBezTo>
                    <a:cubicBezTo>
                      <a:pt x="124" y="516"/>
                      <a:pt x="124" y="516"/>
                      <a:pt x="124" y="516"/>
                    </a:cubicBezTo>
                    <a:cubicBezTo>
                      <a:pt x="127" y="516"/>
                      <a:pt x="127" y="516"/>
                      <a:pt x="127" y="516"/>
                    </a:cubicBezTo>
                    <a:cubicBezTo>
                      <a:pt x="129" y="517"/>
                      <a:pt x="129" y="517"/>
                      <a:pt x="129" y="517"/>
                    </a:cubicBezTo>
                    <a:cubicBezTo>
                      <a:pt x="129" y="518"/>
                      <a:pt x="129" y="518"/>
                      <a:pt x="129" y="518"/>
                    </a:cubicBezTo>
                    <a:cubicBezTo>
                      <a:pt x="129" y="519"/>
                      <a:pt x="129" y="519"/>
                      <a:pt x="129" y="519"/>
                    </a:cubicBezTo>
                    <a:cubicBezTo>
                      <a:pt x="127" y="519"/>
                      <a:pt x="127" y="519"/>
                      <a:pt x="127" y="519"/>
                    </a:cubicBezTo>
                    <a:cubicBezTo>
                      <a:pt x="125" y="520"/>
                      <a:pt x="125" y="520"/>
                      <a:pt x="125" y="520"/>
                    </a:cubicBezTo>
                    <a:cubicBezTo>
                      <a:pt x="123" y="519"/>
                      <a:pt x="123" y="519"/>
                      <a:pt x="123" y="519"/>
                    </a:cubicBezTo>
                    <a:cubicBezTo>
                      <a:pt x="122" y="519"/>
                      <a:pt x="122" y="519"/>
                      <a:pt x="122" y="519"/>
                    </a:cubicBezTo>
                    <a:cubicBezTo>
                      <a:pt x="121" y="519"/>
                      <a:pt x="121" y="519"/>
                      <a:pt x="121" y="519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24" y="520"/>
                      <a:pt x="124" y="520"/>
                      <a:pt x="124" y="520"/>
                    </a:cubicBezTo>
                    <a:cubicBezTo>
                      <a:pt x="124" y="521"/>
                      <a:pt x="124" y="521"/>
                      <a:pt x="124" y="521"/>
                    </a:cubicBezTo>
                    <a:cubicBezTo>
                      <a:pt x="124" y="521"/>
                      <a:pt x="124" y="521"/>
                      <a:pt x="124" y="521"/>
                    </a:cubicBezTo>
                    <a:cubicBezTo>
                      <a:pt x="123" y="521"/>
                      <a:pt x="123" y="521"/>
                      <a:pt x="123" y="521"/>
                    </a:cubicBezTo>
                    <a:cubicBezTo>
                      <a:pt x="123" y="522"/>
                      <a:pt x="123" y="522"/>
                      <a:pt x="123" y="522"/>
                    </a:cubicBezTo>
                    <a:cubicBezTo>
                      <a:pt x="124" y="522"/>
                      <a:pt x="124" y="522"/>
                      <a:pt x="124" y="522"/>
                    </a:cubicBezTo>
                    <a:cubicBezTo>
                      <a:pt x="126" y="523"/>
                      <a:pt x="126" y="523"/>
                      <a:pt x="126" y="523"/>
                    </a:cubicBezTo>
                    <a:cubicBezTo>
                      <a:pt x="126" y="524"/>
                      <a:pt x="126" y="524"/>
                      <a:pt x="126" y="524"/>
                    </a:cubicBezTo>
                    <a:cubicBezTo>
                      <a:pt x="125" y="524"/>
                      <a:pt x="125" y="524"/>
                      <a:pt x="125" y="524"/>
                    </a:cubicBezTo>
                    <a:cubicBezTo>
                      <a:pt x="124" y="524"/>
                      <a:pt x="124" y="524"/>
                      <a:pt x="124" y="524"/>
                    </a:cubicBezTo>
                    <a:cubicBezTo>
                      <a:pt x="123" y="524"/>
                      <a:pt x="123" y="524"/>
                      <a:pt x="123" y="524"/>
                    </a:cubicBezTo>
                    <a:cubicBezTo>
                      <a:pt x="123" y="525"/>
                      <a:pt x="123" y="525"/>
                      <a:pt x="123" y="525"/>
                    </a:cubicBezTo>
                    <a:cubicBezTo>
                      <a:pt x="124" y="525"/>
                      <a:pt x="124" y="525"/>
                      <a:pt x="124" y="525"/>
                    </a:cubicBezTo>
                    <a:cubicBezTo>
                      <a:pt x="125" y="525"/>
                      <a:pt x="125" y="525"/>
                      <a:pt x="125" y="525"/>
                    </a:cubicBezTo>
                    <a:cubicBezTo>
                      <a:pt x="127" y="525"/>
                      <a:pt x="127" y="525"/>
                      <a:pt x="127" y="525"/>
                    </a:cubicBezTo>
                    <a:cubicBezTo>
                      <a:pt x="126" y="526"/>
                      <a:pt x="126" y="526"/>
                      <a:pt x="126" y="526"/>
                    </a:cubicBezTo>
                    <a:cubicBezTo>
                      <a:pt x="125" y="527"/>
                      <a:pt x="125" y="527"/>
                      <a:pt x="125" y="527"/>
                    </a:cubicBezTo>
                    <a:cubicBezTo>
                      <a:pt x="123" y="528"/>
                      <a:pt x="123" y="528"/>
                      <a:pt x="123" y="528"/>
                    </a:cubicBezTo>
                    <a:cubicBezTo>
                      <a:pt x="122" y="528"/>
                      <a:pt x="122" y="528"/>
                      <a:pt x="122" y="528"/>
                    </a:cubicBezTo>
                    <a:cubicBezTo>
                      <a:pt x="121" y="527"/>
                      <a:pt x="121" y="527"/>
                      <a:pt x="121" y="527"/>
                    </a:cubicBezTo>
                    <a:cubicBezTo>
                      <a:pt x="120" y="525"/>
                      <a:pt x="120" y="525"/>
                      <a:pt x="120" y="525"/>
                    </a:cubicBezTo>
                    <a:cubicBezTo>
                      <a:pt x="119" y="524"/>
                      <a:pt x="119" y="524"/>
                      <a:pt x="119" y="524"/>
                    </a:cubicBezTo>
                    <a:cubicBezTo>
                      <a:pt x="119" y="524"/>
                      <a:pt x="119" y="524"/>
                      <a:pt x="119" y="524"/>
                    </a:cubicBezTo>
                    <a:cubicBezTo>
                      <a:pt x="118" y="525"/>
                      <a:pt x="118" y="525"/>
                      <a:pt x="118" y="525"/>
                    </a:cubicBezTo>
                    <a:cubicBezTo>
                      <a:pt x="116" y="524"/>
                      <a:pt x="116" y="524"/>
                      <a:pt x="116" y="524"/>
                    </a:cubicBezTo>
                    <a:cubicBezTo>
                      <a:pt x="116" y="525"/>
                      <a:pt x="116" y="525"/>
                      <a:pt x="116" y="525"/>
                    </a:cubicBezTo>
                    <a:cubicBezTo>
                      <a:pt x="116" y="526"/>
                      <a:pt x="116" y="526"/>
                      <a:pt x="116" y="526"/>
                    </a:cubicBezTo>
                    <a:cubicBezTo>
                      <a:pt x="119" y="527"/>
                      <a:pt x="119" y="527"/>
                      <a:pt x="119" y="527"/>
                    </a:cubicBezTo>
                    <a:cubicBezTo>
                      <a:pt x="121" y="528"/>
                      <a:pt x="121" y="528"/>
                      <a:pt x="121" y="528"/>
                    </a:cubicBezTo>
                    <a:cubicBezTo>
                      <a:pt x="121" y="529"/>
                      <a:pt x="121" y="529"/>
                      <a:pt x="121" y="529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1" y="530"/>
                      <a:pt x="121" y="530"/>
                      <a:pt x="121" y="530"/>
                    </a:cubicBezTo>
                    <a:cubicBezTo>
                      <a:pt x="123" y="530"/>
                      <a:pt x="123" y="530"/>
                      <a:pt x="123" y="530"/>
                    </a:cubicBezTo>
                    <a:cubicBezTo>
                      <a:pt x="123" y="531"/>
                      <a:pt x="123" y="531"/>
                      <a:pt x="123" y="531"/>
                    </a:cubicBezTo>
                    <a:cubicBezTo>
                      <a:pt x="124" y="531"/>
                      <a:pt x="124" y="531"/>
                      <a:pt x="124" y="531"/>
                    </a:cubicBezTo>
                    <a:cubicBezTo>
                      <a:pt x="124" y="532"/>
                      <a:pt x="124" y="532"/>
                      <a:pt x="124" y="532"/>
                    </a:cubicBezTo>
                    <a:cubicBezTo>
                      <a:pt x="123" y="532"/>
                      <a:pt x="123" y="532"/>
                      <a:pt x="123" y="532"/>
                    </a:cubicBezTo>
                    <a:cubicBezTo>
                      <a:pt x="122" y="533"/>
                      <a:pt x="122" y="533"/>
                      <a:pt x="122" y="533"/>
                    </a:cubicBezTo>
                    <a:cubicBezTo>
                      <a:pt x="122" y="534"/>
                      <a:pt x="122" y="534"/>
                      <a:pt x="122" y="534"/>
                    </a:cubicBezTo>
                    <a:cubicBezTo>
                      <a:pt x="121" y="533"/>
                      <a:pt x="121" y="533"/>
                      <a:pt x="121" y="533"/>
                    </a:cubicBezTo>
                    <a:close/>
                    <a:moveTo>
                      <a:pt x="119" y="534"/>
                    </a:moveTo>
                    <a:cubicBezTo>
                      <a:pt x="116" y="532"/>
                      <a:pt x="116" y="532"/>
                      <a:pt x="116" y="532"/>
                    </a:cubicBezTo>
                    <a:cubicBezTo>
                      <a:pt x="115" y="532"/>
                      <a:pt x="115" y="532"/>
                      <a:pt x="115" y="532"/>
                    </a:cubicBezTo>
                    <a:cubicBezTo>
                      <a:pt x="115" y="533"/>
                      <a:pt x="115" y="533"/>
                      <a:pt x="115" y="533"/>
                    </a:cubicBezTo>
                    <a:cubicBezTo>
                      <a:pt x="117" y="535"/>
                      <a:pt x="117" y="535"/>
                      <a:pt x="117" y="535"/>
                    </a:cubicBezTo>
                    <a:cubicBezTo>
                      <a:pt x="118" y="535"/>
                      <a:pt x="118" y="535"/>
                      <a:pt x="118" y="535"/>
                    </a:cubicBezTo>
                    <a:cubicBezTo>
                      <a:pt x="119" y="534"/>
                      <a:pt x="119" y="534"/>
                      <a:pt x="119" y="534"/>
                    </a:cubicBezTo>
                    <a:close/>
                    <a:moveTo>
                      <a:pt x="271" y="361"/>
                    </a:moveTo>
                    <a:cubicBezTo>
                      <a:pt x="271" y="362"/>
                      <a:pt x="271" y="362"/>
                      <a:pt x="271" y="362"/>
                    </a:cubicBezTo>
                    <a:cubicBezTo>
                      <a:pt x="273" y="361"/>
                      <a:pt x="273" y="361"/>
                      <a:pt x="273" y="361"/>
                    </a:cubicBezTo>
                    <a:cubicBezTo>
                      <a:pt x="278" y="360"/>
                      <a:pt x="278" y="360"/>
                      <a:pt x="278" y="360"/>
                    </a:cubicBezTo>
                    <a:cubicBezTo>
                      <a:pt x="282" y="361"/>
                      <a:pt x="282" y="361"/>
                      <a:pt x="282" y="361"/>
                    </a:cubicBezTo>
                    <a:cubicBezTo>
                      <a:pt x="283" y="360"/>
                      <a:pt x="283" y="360"/>
                      <a:pt x="283" y="360"/>
                    </a:cubicBezTo>
                    <a:cubicBezTo>
                      <a:pt x="285" y="359"/>
                      <a:pt x="285" y="359"/>
                      <a:pt x="285" y="359"/>
                    </a:cubicBezTo>
                    <a:cubicBezTo>
                      <a:pt x="287" y="361"/>
                      <a:pt x="287" y="361"/>
                      <a:pt x="287" y="361"/>
                    </a:cubicBezTo>
                    <a:cubicBezTo>
                      <a:pt x="289" y="360"/>
                      <a:pt x="289" y="360"/>
                      <a:pt x="289" y="360"/>
                    </a:cubicBezTo>
                    <a:cubicBezTo>
                      <a:pt x="290" y="360"/>
                      <a:pt x="290" y="360"/>
                      <a:pt x="290" y="360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93" y="353"/>
                      <a:pt x="293" y="353"/>
                      <a:pt x="293" y="353"/>
                    </a:cubicBezTo>
                    <a:cubicBezTo>
                      <a:pt x="291" y="352"/>
                      <a:pt x="291" y="352"/>
                      <a:pt x="291" y="352"/>
                    </a:cubicBezTo>
                    <a:cubicBezTo>
                      <a:pt x="290" y="350"/>
                      <a:pt x="290" y="350"/>
                      <a:pt x="290" y="350"/>
                    </a:cubicBezTo>
                    <a:cubicBezTo>
                      <a:pt x="289" y="350"/>
                      <a:pt x="289" y="350"/>
                      <a:pt x="289" y="350"/>
                    </a:cubicBezTo>
                    <a:cubicBezTo>
                      <a:pt x="283" y="352"/>
                      <a:pt x="283" y="352"/>
                      <a:pt x="283" y="352"/>
                    </a:cubicBezTo>
                    <a:cubicBezTo>
                      <a:pt x="278" y="353"/>
                      <a:pt x="278" y="353"/>
                      <a:pt x="278" y="353"/>
                    </a:cubicBezTo>
                    <a:cubicBezTo>
                      <a:pt x="277" y="355"/>
                      <a:pt x="277" y="355"/>
                      <a:pt x="277" y="355"/>
                    </a:cubicBezTo>
                    <a:cubicBezTo>
                      <a:pt x="275" y="356"/>
                      <a:pt x="275" y="356"/>
                      <a:pt x="275" y="356"/>
                    </a:cubicBezTo>
                    <a:cubicBezTo>
                      <a:pt x="274" y="358"/>
                      <a:pt x="274" y="358"/>
                      <a:pt x="274" y="358"/>
                    </a:cubicBezTo>
                    <a:cubicBezTo>
                      <a:pt x="272" y="358"/>
                      <a:pt x="272" y="358"/>
                      <a:pt x="272" y="358"/>
                    </a:cubicBezTo>
                    <a:cubicBezTo>
                      <a:pt x="271" y="359"/>
                      <a:pt x="271" y="359"/>
                      <a:pt x="271" y="359"/>
                    </a:cubicBezTo>
                    <a:cubicBezTo>
                      <a:pt x="271" y="361"/>
                      <a:pt x="271" y="361"/>
                      <a:pt x="271" y="361"/>
                    </a:cubicBezTo>
                    <a:close/>
                    <a:moveTo>
                      <a:pt x="126" y="521"/>
                    </a:moveTo>
                    <a:cubicBezTo>
                      <a:pt x="127" y="522"/>
                      <a:pt x="127" y="522"/>
                      <a:pt x="127" y="522"/>
                    </a:cubicBezTo>
                    <a:cubicBezTo>
                      <a:pt x="128" y="521"/>
                      <a:pt x="128" y="521"/>
                      <a:pt x="128" y="521"/>
                    </a:cubicBezTo>
                    <a:cubicBezTo>
                      <a:pt x="128" y="520"/>
                      <a:pt x="128" y="520"/>
                      <a:pt x="128" y="520"/>
                    </a:cubicBezTo>
                    <a:cubicBezTo>
                      <a:pt x="127" y="520"/>
                      <a:pt x="127" y="520"/>
                      <a:pt x="127" y="520"/>
                    </a:cubicBezTo>
                    <a:cubicBezTo>
                      <a:pt x="126" y="521"/>
                      <a:pt x="126" y="521"/>
                      <a:pt x="126" y="521"/>
                    </a:cubicBezTo>
                    <a:close/>
                    <a:moveTo>
                      <a:pt x="136" y="501"/>
                    </a:moveTo>
                    <a:cubicBezTo>
                      <a:pt x="136" y="502"/>
                      <a:pt x="136" y="502"/>
                      <a:pt x="136" y="502"/>
                    </a:cubicBezTo>
                    <a:cubicBezTo>
                      <a:pt x="136" y="501"/>
                      <a:pt x="136" y="501"/>
                      <a:pt x="136" y="501"/>
                    </a:cubicBezTo>
                    <a:cubicBezTo>
                      <a:pt x="136" y="501"/>
                      <a:pt x="136" y="501"/>
                      <a:pt x="136" y="501"/>
                    </a:cubicBezTo>
                    <a:close/>
                    <a:moveTo>
                      <a:pt x="137" y="498"/>
                    </a:moveTo>
                    <a:cubicBezTo>
                      <a:pt x="136" y="500"/>
                      <a:pt x="136" y="500"/>
                      <a:pt x="136" y="500"/>
                    </a:cubicBezTo>
                    <a:cubicBezTo>
                      <a:pt x="137" y="499"/>
                      <a:pt x="137" y="499"/>
                      <a:pt x="137" y="499"/>
                    </a:cubicBezTo>
                    <a:cubicBezTo>
                      <a:pt x="137" y="498"/>
                      <a:pt x="137" y="498"/>
                      <a:pt x="137" y="498"/>
                    </a:cubicBezTo>
                    <a:cubicBezTo>
                      <a:pt x="137" y="498"/>
                      <a:pt x="137" y="498"/>
                      <a:pt x="137" y="498"/>
                    </a:cubicBezTo>
                    <a:close/>
                    <a:moveTo>
                      <a:pt x="137" y="495"/>
                    </a:moveTo>
                    <a:cubicBezTo>
                      <a:pt x="138" y="496"/>
                      <a:pt x="138" y="496"/>
                      <a:pt x="138" y="496"/>
                    </a:cubicBezTo>
                    <a:cubicBezTo>
                      <a:pt x="138" y="496"/>
                      <a:pt x="138" y="496"/>
                      <a:pt x="138" y="496"/>
                    </a:cubicBezTo>
                    <a:cubicBezTo>
                      <a:pt x="138" y="495"/>
                      <a:pt x="138" y="495"/>
                      <a:pt x="138" y="495"/>
                    </a:cubicBezTo>
                    <a:cubicBezTo>
                      <a:pt x="138" y="495"/>
                      <a:pt x="138" y="495"/>
                      <a:pt x="138" y="495"/>
                    </a:cubicBezTo>
                    <a:cubicBezTo>
                      <a:pt x="137" y="495"/>
                      <a:pt x="137" y="495"/>
                      <a:pt x="137" y="495"/>
                    </a:cubicBezTo>
                    <a:close/>
                    <a:moveTo>
                      <a:pt x="136" y="491"/>
                    </a:moveTo>
                    <a:cubicBezTo>
                      <a:pt x="136" y="492"/>
                      <a:pt x="136" y="492"/>
                      <a:pt x="136" y="492"/>
                    </a:cubicBezTo>
                    <a:cubicBezTo>
                      <a:pt x="137" y="492"/>
                      <a:pt x="137" y="492"/>
                      <a:pt x="137" y="492"/>
                    </a:cubicBezTo>
                    <a:cubicBezTo>
                      <a:pt x="138" y="493"/>
                      <a:pt x="138" y="493"/>
                      <a:pt x="138" y="493"/>
                    </a:cubicBezTo>
                    <a:cubicBezTo>
                      <a:pt x="140" y="493"/>
                      <a:pt x="140" y="493"/>
                      <a:pt x="140" y="493"/>
                    </a:cubicBezTo>
                    <a:cubicBezTo>
                      <a:pt x="140" y="492"/>
                      <a:pt x="140" y="492"/>
                      <a:pt x="140" y="492"/>
                    </a:cubicBezTo>
                    <a:cubicBezTo>
                      <a:pt x="139" y="491"/>
                      <a:pt x="139" y="491"/>
                      <a:pt x="139" y="491"/>
                    </a:cubicBezTo>
                    <a:cubicBezTo>
                      <a:pt x="138" y="491"/>
                      <a:pt x="138" y="491"/>
                      <a:pt x="138" y="491"/>
                    </a:cubicBezTo>
                    <a:cubicBezTo>
                      <a:pt x="137" y="491"/>
                      <a:pt x="137" y="491"/>
                      <a:pt x="137" y="491"/>
                    </a:cubicBezTo>
                    <a:cubicBezTo>
                      <a:pt x="136" y="491"/>
                      <a:pt x="136" y="491"/>
                      <a:pt x="136" y="491"/>
                    </a:cubicBezTo>
                    <a:close/>
                    <a:moveTo>
                      <a:pt x="144" y="490"/>
                    </a:moveTo>
                    <a:cubicBezTo>
                      <a:pt x="145" y="489"/>
                      <a:pt x="145" y="489"/>
                      <a:pt x="145" y="489"/>
                    </a:cubicBezTo>
                    <a:cubicBezTo>
                      <a:pt x="145" y="488"/>
                      <a:pt x="145" y="488"/>
                      <a:pt x="145" y="488"/>
                    </a:cubicBezTo>
                    <a:cubicBezTo>
                      <a:pt x="144" y="488"/>
                      <a:pt x="144" y="488"/>
                      <a:pt x="144" y="488"/>
                    </a:cubicBezTo>
                    <a:cubicBezTo>
                      <a:pt x="144" y="490"/>
                      <a:pt x="144" y="490"/>
                      <a:pt x="144" y="490"/>
                    </a:cubicBezTo>
                    <a:close/>
                    <a:moveTo>
                      <a:pt x="143" y="478"/>
                    </a:moveTo>
                    <a:cubicBezTo>
                      <a:pt x="143" y="478"/>
                      <a:pt x="143" y="478"/>
                      <a:pt x="143" y="478"/>
                    </a:cubicBezTo>
                    <a:cubicBezTo>
                      <a:pt x="145" y="480"/>
                      <a:pt x="145" y="480"/>
                      <a:pt x="145" y="480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1"/>
                      <a:pt x="147" y="481"/>
                      <a:pt x="147" y="481"/>
                    </a:cubicBezTo>
                    <a:cubicBezTo>
                      <a:pt x="147" y="480"/>
                      <a:pt x="147" y="480"/>
                      <a:pt x="147" y="480"/>
                    </a:cubicBezTo>
                    <a:cubicBezTo>
                      <a:pt x="145" y="479"/>
                      <a:pt x="145" y="479"/>
                      <a:pt x="145" y="479"/>
                    </a:cubicBezTo>
                    <a:cubicBezTo>
                      <a:pt x="144" y="478"/>
                      <a:pt x="144" y="478"/>
                      <a:pt x="144" y="478"/>
                    </a:cubicBezTo>
                    <a:cubicBezTo>
                      <a:pt x="143" y="478"/>
                      <a:pt x="143" y="478"/>
                      <a:pt x="143" y="478"/>
                    </a:cubicBezTo>
                    <a:close/>
                    <a:moveTo>
                      <a:pt x="155" y="455"/>
                    </a:moveTo>
                    <a:cubicBezTo>
                      <a:pt x="156" y="456"/>
                      <a:pt x="156" y="456"/>
                      <a:pt x="156" y="456"/>
                    </a:cubicBezTo>
                    <a:cubicBezTo>
                      <a:pt x="157" y="458"/>
                      <a:pt x="157" y="458"/>
                      <a:pt x="157" y="458"/>
                    </a:cubicBezTo>
                    <a:cubicBezTo>
                      <a:pt x="156" y="460"/>
                      <a:pt x="156" y="460"/>
                      <a:pt x="156" y="460"/>
                    </a:cubicBezTo>
                    <a:cubicBezTo>
                      <a:pt x="157" y="462"/>
                      <a:pt x="157" y="462"/>
                      <a:pt x="157" y="462"/>
                    </a:cubicBezTo>
                    <a:cubicBezTo>
                      <a:pt x="158" y="462"/>
                      <a:pt x="158" y="462"/>
                      <a:pt x="158" y="462"/>
                    </a:cubicBezTo>
                    <a:cubicBezTo>
                      <a:pt x="158" y="460"/>
                      <a:pt x="158" y="460"/>
                      <a:pt x="158" y="460"/>
                    </a:cubicBezTo>
                    <a:cubicBezTo>
                      <a:pt x="158" y="458"/>
                      <a:pt x="158" y="458"/>
                      <a:pt x="158" y="458"/>
                    </a:cubicBezTo>
                    <a:cubicBezTo>
                      <a:pt x="157" y="457"/>
                      <a:pt x="157" y="457"/>
                      <a:pt x="157" y="457"/>
                    </a:cubicBezTo>
                    <a:cubicBezTo>
                      <a:pt x="156" y="455"/>
                      <a:pt x="156" y="455"/>
                      <a:pt x="156" y="455"/>
                    </a:cubicBezTo>
                    <a:cubicBezTo>
                      <a:pt x="156" y="454"/>
                      <a:pt x="156" y="454"/>
                      <a:pt x="156" y="454"/>
                    </a:cubicBezTo>
                    <a:cubicBezTo>
                      <a:pt x="155" y="455"/>
                      <a:pt x="155" y="455"/>
                      <a:pt x="155" y="455"/>
                    </a:cubicBezTo>
                    <a:close/>
                    <a:moveTo>
                      <a:pt x="165" y="449"/>
                    </a:moveTo>
                    <a:cubicBezTo>
                      <a:pt x="165" y="450"/>
                      <a:pt x="165" y="450"/>
                      <a:pt x="165" y="450"/>
                    </a:cubicBezTo>
                    <a:cubicBezTo>
                      <a:pt x="166" y="450"/>
                      <a:pt x="166" y="450"/>
                      <a:pt x="166" y="450"/>
                    </a:cubicBezTo>
                    <a:cubicBezTo>
                      <a:pt x="166" y="450"/>
                      <a:pt x="166" y="450"/>
                      <a:pt x="166" y="450"/>
                    </a:cubicBezTo>
                    <a:cubicBezTo>
                      <a:pt x="165" y="449"/>
                      <a:pt x="165" y="449"/>
                      <a:pt x="165" y="449"/>
                    </a:cubicBezTo>
                    <a:cubicBezTo>
                      <a:pt x="165" y="449"/>
                      <a:pt x="165" y="449"/>
                      <a:pt x="165" y="449"/>
                    </a:cubicBezTo>
                    <a:close/>
                    <a:moveTo>
                      <a:pt x="167" y="447"/>
                    </a:moveTo>
                    <a:cubicBezTo>
                      <a:pt x="168" y="447"/>
                      <a:pt x="168" y="447"/>
                      <a:pt x="168" y="447"/>
                    </a:cubicBezTo>
                    <a:cubicBezTo>
                      <a:pt x="168" y="447"/>
                      <a:pt x="168" y="447"/>
                      <a:pt x="168" y="447"/>
                    </a:cubicBezTo>
                    <a:cubicBezTo>
                      <a:pt x="167" y="446"/>
                      <a:pt x="167" y="446"/>
                      <a:pt x="167" y="446"/>
                    </a:cubicBezTo>
                    <a:cubicBezTo>
                      <a:pt x="167" y="447"/>
                      <a:pt x="167" y="447"/>
                      <a:pt x="167" y="447"/>
                    </a:cubicBezTo>
                    <a:close/>
                    <a:moveTo>
                      <a:pt x="183" y="445"/>
                    </a:moveTo>
                    <a:cubicBezTo>
                      <a:pt x="184" y="444"/>
                      <a:pt x="184" y="444"/>
                      <a:pt x="184" y="444"/>
                    </a:cubicBezTo>
                    <a:cubicBezTo>
                      <a:pt x="185" y="444"/>
                      <a:pt x="185" y="444"/>
                      <a:pt x="185" y="444"/>
                    </a:cubicBezTo>
                    <a:cubicBezTo>
                      <a:pt x="186" y="443"/>
                      <a:pt x="186" y="443"/>
                      <a:pt x="186" y="443"/>
                    </a:cubicBezTo>
                    <a:cubicBezTo>
                      <a:pt x="184" y="441"/>
                      <a:pt x="184" y="441"/>
                      <a:pt x="184" y="441"/>
                    </a:cubicBezTo>
                    <a:cubicBezTo>
                      <a:pt x="184" y="441"/>
                      <a:pt x="184" y="441"/>
                      <a:pt x="184" y="441"/>
                    </a:cubicBezTo>
                    <a:cubicBezTo>
                      <a:pt x="183" y="440"/>
                      <a:pt x="183" y="440"/>
                      <a:pt x="183" y="440"/>
                    </a:cubicBezTo>
                    <a:cubicBezTo>
                      <a:pt x="182" y="440"/>
                      <a:pt x="182" y="440"/>
                      <a:pt x="182" y="440"/>
                    </a:cubicBezTo>
                    <a:cubicBezTo>
                      <a:pt x="181" y="441"/>
                      <a:pt x="181" y="441"/>
                      <a:pt x="181" y="441"/>
                    </a:cubicBezTo>
                    <a:cubicBezTo>
                      <a:pt x="181" y="442"/>
                      <a:pt x="181" y="442"/>
                      <a:pt x="181" y="442"/>
                    </a:cubicBezTo>
                    <a:cubicBezTo>
                      <a:pt x="180" y="443"/>
                      <a:pt x="180" y="443"/>
                      <a:pt x="180" y="443"/>
                    </a:cubicBezTo>
                    <a:cubicBezTo>
                      <a:pt x="181" y="444"/>
                      <a:pt x="181" y="444"/>
                      <a:pt x="181" y="444"/>
                    </a:cubicBezTo>
                    <a:cubicBezTo>
                      <a:pt x="182" y="445"/>
                      <a:pt x="182" y="445"/>
                      <a:pt x="182" y="445"/>
                    </a:cubicBezTo>
                    <a:cubicBezTo>
                      <a:pt x="183" y="445"/>
                      <a:pt x="183" y="445"/>
                      <a:pt x="183" y="445"/>
                    </a:cubicBezTo>
                    <a:close/>
                    <a:moveTo>
                      <a:pt x="189" y="444"/>
                    </a:moveTo>
                    <a:cubicBezTo>
                      <a:pt x="188" y="443"/>
                      <a:pt x="188" y="443"/>
                      <a:pt x="188" y="443"/>
                    </a:cubicBezTo>
                    <a:cubicBezTo>
                      <a:pt x="189" y="442"/>
                      <a:pt x="189" y="442"/>
                      <a:pt x="189" y="442"/>
                    </a:cubicBezTo>
                    <a:cubicBezTo>
                      <a:pt x="188" y="443"/>
                      <a:pt x="188" y="443"/>
                      <a:pt x="188" y="443"/>
                    </a:cubicBezTo>
                    <a:cubicBezTo>
                      <a:pt x="188" y="444"/>
                      <a:pt x="188" y="444"/>
                      <a:pt x="188" y="444"/>
                    </a:cubicBezTo>
                    <a:cubicBezTo>
                      <a:pt x="188" y="445"/>
                      <a:pt x="188" y="445"/>
                      <a:pt x="188" y="445"/>
                    </a:cubicBezTo>
                    <a:cubicBezTo>
                      <a:pt x="189" y="444"/>
                      <a:pt x="189" y="444"/>
                      <a:pt x="189" y="444"/>
                    </a:cubicBezTo>
                    <a:close/>
                    <a:moveTo>
                      <a:pt x="303" y="379"/>
                    </a:moveTo>
                    <a:cubicBezTo>
                      <a:pt x="304" y="379"/>
                      <a:pt x="304" y="379"/>
                      <a:pt x="304" y="379"/>
                    </a:cubicBezTo>
                    <a:cubicBezTo>
                      <a:pt x="305" y="378"/>
                      <a:pt x="305" y="378"/>
                      <a:pt x="305" y="378"/>
                    </a:cubicBezTo>
                    <a:cubicBezTo>
                      <a:pt x="305" y="377"/>
                      <a:pt x="305" y="377"/>
                      <a:pt x="305" y="377"/>
                    </a:cubicBezTo>
                    <a:cubicBezTo>
                      <a:pt x="303" y="378"/>
                      <a:pt x="303" y="378"/>
                      <a:pt x="303" y="378"/>
                    </a:cubicBezTo>
                    <a:cubicBezTo>
                      <a:pt x="303" y="379"/>
                      <a:pt x="303" y="379"/>
                      <a:pt x="303" y="379"/>
                    </a:cubicBezTo>
                    <a:close/>
                    <a:moveTo>
                      <a:pt x="283" y="362"/>
                    </a:moveTo>
                    <a:cubicBezTo>
                      <a:pt x="284" y="362"/>
                      <a:pt x="284" y="362"/>
                      <a:pt x="284" y="362"/>
                    </a:cubicBezTo>
                    <a:cubicBezTo>
                      <a:pt x="285" y="362"/>
                      <a:pt x="285" y="362"/>
                      <a:pt x="285" y="362"/>
                    </a:cubicBezTo>
                    <a:cubicBezTo>
                      <a:pt x="285" y="361"/>
                      <a:pt x="285" y="361"/>
                      <a:pt x="285" y="361"/>
                    </a:cubicBezTo>
                    <a:cubicBezTo>
                      <a:pt x="284" y="361"/>
                      <a:pt x="284" y="361"/>
                      <a:pt x="284" y="361"/>
                    </a:cubicBezTo>
                    <a:cubicBezTo>
                      <a:pt x="284" y="361"/>
                      <a:pt x="283" y="362"/>
                      <a:pt x="283" y="362"/>
                    </a:cubicBezTo>
                    <a:close/>
                    <a:moveTo>
                      <a:pt x="274" y="354"/>
                    </a:moveTo>
                    <a:cubicBezTo>
                      <a:pt x="275" y="354"/>
                      <a:pt x="275" y="354"/>
                      <a:pt x="275" y="354"/>
                    </a:cubicBezTo>
                    <a:cubicBezTo>
                      <a:pt x="276" y="354"/>
                      <a:pt x="276" y="354"/>
                      <a:pt x="276" y="354"/>
                    </a:cubicBezTo>
                    <a:cubicBezTo>
                      <a:pt x="277" y="353"/>
                      <a:pt x="277" y="353"/>
                      <a:pt x="277" y="353"/>
                    </a:cubicBezTo>
                    <a:cubicBezTo>
                      <a:pt x="275" y="353"/>
                      <a:pt x="275" y="353"/>
                      <a:pt x="275" y="353"/>
                    </a:cubicBezTo>
                    <a:cubicBezTo>
                      <a:pt x="274" y="354"/>
                      <a:pt x="274" y="354"/>
                      <a:pt x="274" y="354"/>
                    </a:cubicBezTo>
                    <a:close/>
                    <a:moveTo>
                      <a:pt x="292" y="349"/>
                    </a:moveTo>
                    <a:cubicBezTo>
                      <a:pt x="292" y="350"/>
                      <a:pt x="292" y="350"/>
                      <a:pt x="292" y="350"/>
                    </a:cubicBezTo>
                    <a:cubicBezTo>
                      <a:pt x="293" y="351"/>
                      <a:pt x="293" y="351"/>
                      <a:pt x="293" y="351"/>
                    </a:cubicBezTo>
                    <a:cubicBezTo>
                      <a:pt x="293" y="350"/>
                      <a:pt x="293" y="350"/>
                      <a:pt x="293" y="350"/>
                    </a:cubicBezTo>
                    <a:cubicBezTo>
                      <a:pt x="293" y="349"/>
                      <a:pt x="293" y="349"/>
                      <a:pt x="293" y="349"/>
                    </a:cubicBezTo>
                    <a:cubicBezTo>
                      <a:pt x="292" y="348"/>
                      <a:pt x="292" y="348"/>
                      <a:pt x="292" y="348"/>
                    </a:cubicBezTo>
                    <a:cubicBezTo>
                      <a:pt x="292" y="349"/>
                      <a:pt x="292" y="349"/>
                      <a:pt x="292" y="349"/>
                    </a:cubicBezTo>
                    <a:close/>
                    <a:moveTo>
                      <a:pt x="303" y="311"/>
                    </a:moveTo>
                    <a:cubicBezTo>
                      <a:pt x="303" y="313"/>
                      <a:pt x="303" y="313"/>
                      <a:pt x="303" y="313"/>
                    </a:cubicBezTo>
                    <a:cubicBezTo>
                      <a:pt x="304" y="313"/>
                      <a:pt x="304" y="313"/>
                      <a:pt x="304" y="313"/>
                    </a:cubicBezTo>
                    <a:cubicBezTo>
                      <a:pt x="304" y="315"/>
                      <a:pt x="304" y="315"/>
                      <a:pt x="304" y="315"/>
                    </a:cubicBezTo>
                    <a:cubicBezTo>
                      <a:pt x="305" y="317"/>
                      <a:pt x="305" y="317"/>
                      <a:pt x="305" y="317"/>
                    </a:cubicBezTo>
                    <a:cubicBezTo>
                      <a:pt x="306" y="319"/>
                      <a:pt x="306" y="319"/>
                      <a:pt x="306" y="319"/>
                    </a:cubicBezTo>
                    <a:cubicBezTo>
                      <a:pt x="308" y="320"/>
                      <a:pt x="308" y="320"/>
                      <a:pt x="308" y="320"/>
                    </a:cubicBezTo>
                    <a:cubicBezTo>
                      <a:pt x="311" y="322"/>
                      <a:pt x="311" y="322"/>
                      <a:pt x="311" y="322"/>
                    </a:cubicBezTo>
                    <a:cubicBezTo>
                      <a:pt x="312" y="324"/>
                      <a:pt x="312" y="324"/>
                      <a:pt x="312" y="324"/>
                    </a:cubicBezTo>
                    <a:cubicBezTo>
                      <a:pt x="314" y="325"/>
                      <a:pt x="314" y="325"/>
                      <a:pt x="314" y="325"/>
                    </a:cubicBezTo>
                    <a:cubicBezTo>
                      <a:pt x="315" y="325"/>
                      <a:pt x="315" y="325"/>
                      <a:pt x="315" y="325"/>
                    </a:cubicBezTo>
                    <a:cubicBezTo>
                      <a:pt x="315" y="326"/>
                      <a:pt x="315" y="326"/>
                      <a:pt x="315" y="326"/>
                    </a:cubicBezTo>
                    <a:cubicBezTo>
                      <a:pt x="317" y="327"/>
                      <a:pt x="317" y="327"/>
                      <a:pt x="317" y="327"/>
                    </a:cubicBezTo>
                    <a:cubicBezTo>
                      <a:pt x="318" y="326"/>
                      <a:pt x="318" y="326"/>
                      <a:pt x="318" y="326"/>
                    </a:cubicBezTo>
                    <a:cubicBezTo>
                      <a:pt x="318" y="325"/>
                      <a:pt x="318" y="325"/>
                      <a:pt x="318" y="325"/>
                    </a:cubicBezTo>
                    <a:cubicBezTo>
                      <a:pt x="319" y="324"/>
                      <a:pt x="319" y="324"/>
                      <a:pt x="319" y="324"/>
                    </a:cubicBezTo>
                    <a:cubicBezTo>
                      <a:pt x="317" y="322"/>
                      <a:pt x="317" y="322"/>
                      <a:pt x="317" y="322"/>
                    </a:cubicBezTo>
                    <a:cubicBezTo>
                      <a:pt x="315" y="321"/>
                      <a:pt x="315" y="321"/>
                      <a:pt x="315" y="321"/>
                    </a:cubicBezTo>
                    <a:cubicBezTo>
                      <a:pt x="315" y="321"/>
                      <a:pt x="315" y="321"/>
                      <a:pt x="315" y="321"/>
                    </a:cubicBezTo>
                    <a:cubicBezTo>
                      <a:pt x="314" y="320"/>
                      <a:pt x="314" y="320"/>
                      <a:pt x="314" y="320"/>
                    </a:cubicBezTo>
                    <a:cubicBezTo>
                      <a:pt x="314" y="319"/>
                      <a:pt x="314" y="319"/>
                      <a:pt x="314" y="319"/>
                    </a:cubicBezTo>
                    <a:cubicBezTo>
                      <a:pt x="315" y="319"/>
                      <a:pt x="315" y="319"/>
                      <a:pt x="315" y="319"/>
                    </a:cubicBezTo>
                    <a:cubicBezTo>
                      <a:pt x="316" y="319"/>
                      <a:pt x="316" y="319"/>
                      <a:pt x="316" y="319"/>
                    </a:cubicBezTo>
                    <a:cubicBezTo>
                      <a:pt x="317" y="320"/>
                      <a:pt x="317" y="320"/>
                      <a:pt x="317" y="320"/>
                    </a:cubicBezTo>
                    <a:cubicBezTo>
                      <a:pt x="320" y="320"/>
                      <a:pt x="320" y="320"/>
                      <a:pt x="320" y="320"/>
                    </a:cubicBezTo>
                    <a:cubicBezTo>
                      <a:pt x="320" y="321"/>
                      <a:pt x="320" y="321"/>
                      <a:pt x="320" y="321"/>
                    </a:cubicBezTo>
                    <a:cubicBezTo>
                      <a:pt x="321" y="320"/>
                      <a:pt x="321" y="320"/>
                      <a:pt x="321" y="320"/>
                    </a:cubicBezTo>
                    <a:cubicBezTo>
                      <a:pt x="320" y="318"/>
                      <a:pt x="320" y="318"/>
                      <a:pt x="320" y="318"/>
                    </a:cubicBezTo>
                    <a:cubicBezTo>
                      <a:pt x="315" y="316"/>
                      <a:pt x="315" y="316"/>
                      <a:pt x="315" y="316"/>
                    </a:cubicBezTo>
                    <a:cubicBezTo>
                      <a:pt x="314" y="313"/>
                      <a:pt x="314" y="313"/>
                      <a:pt x="314" y="313"/>
                    </a:cubicBezTo>
                    <a:cubicBezTo>
                      <a:pt x="313" y="313"/>
                      <a:pt x="313" y="313"/>
                      <a:pt x="313" y="313"/>
                    </a:cubicBezTo>
                    <a:cubicBezTo>
                      <a:pt x="311" y="313"/>
                      <a:pt x="311" y="313"/>
                      <a:pt x="311" y="313"/>
                    </a:cubicBezTo>
                    <a:cubicBezTo>
                      <a:pt x="309" y="311"/>
                      <a:pt x="309" y="311"/>
                      <a:pt x="309" y="311"/>
                    </a:cubicBezTo>
                    <a:cubicBezTo>
                      <a:pt x="307" y="311"/>
                      <a:pt x="307" y="311"/>
                      <a:pt x="307" y="311"/>
                    </a:cubicBezTo>
                    <a:cubicBezTo>
                      <a:pt x="306" y="311"/>
                      <a:pt x="306" y="311"/>
                      <a:pt x="306" y="311"/>
                    </a:cubicBezTo>
                    <a:cubicBezTo>
                      <a:pt x="304" y="311"/>
                      <a:pt x="304" y="311"/>
                      <a:pt x="304" y="311"/>
                    </a:cubicBezTo>
                    <a:cubicBezTo>
                      <a:pt x="303" y="311"/>
                      <a:pt x="303" y="311"/>
                      <a:pt x="303" y="311"/>
                    </a:cubicBezTo>
                    <a:close/>
                    <a:moveTo>
                      <a:pt x="299" y="312"/>
                    </a:moveTo>
                    <a:cubicBezTo>
                      <a:pt x="300" y="312"/>
                      <a:pt x="300" y="312"/>
                      <a:pt x="300" y="312"/>
                    </a:cubicBezTo>
                    <a:cubicBezTo>
                      <a:pt x="300" y="311"/>
                      <a:pt x="300" y="311"/>
                      <a:pt x="300" y="311"/>
                    </a:cubicBezTo>
                    <a:cubicBezTo>
                      <a:pt x="301" y="309"/>
                      <a:pt x="301" y="309"/>
                      <a:pt x="301" y="309"/>
                    </a:cubicBezTo>
                    <a:cubicBezTo>
                      <a:pt x="298" y="310"/>
                      <a:pt x="298" y="310"/>
                      <a:pt x="298" y="310"/>
                    </a:cubicBezTo>
                    <a:cubicBezTo>
                      <a:pt x="298" y="312"/>
                      <a:pt x="298" y="312"/>
                      <a:pt x="298" y="312"/>
                    </a:cubicBezTo>
                    <a:cubicBezTo>
                      <a:pt x="299" y="312"/>
                      <a:pt x="299" y="312"/>
                      <a:pt x="299" y="312"/>
                    </a:cubicBezTo>
                    <a:close/>
                    <a:moveTo>
                      <a:pt x="303" y="309"/>
                    </a:moveTo>
                    <a:cubicBezTo>
                      <a:pt x="304" y="310"/>
                      <a:pt x="304" y="310"/>
                      <a:pt x="304" y="310"/>
                    </a:cubicBezTo>
                    <a:cubicBezTo>
                      <a:pt x="307" y="310"/>
                      <a:pt x="307" y="310"/>
                      <a:pt x="307" y="310"/>
                    </a:cubicBezTo>
                    <a:cubicBezTo>
                      <a:pt x="309" y="311"/>
                      <a:pt x="309" y="311"/>
                      <a:pt x="309" y="311"/>
                    </a:cubicBezTo>
                    <a:cubicBezTo>
                      <a:pt x="312" y="311"/>
                      <a:pt x="312" y="311"/>
                      <a:pt x="312" y="311"/>
                    </a:cubicBezTo>
                    <a:cubicBezTo>
                      <a:pt x="314" y="312"/>
                      <a:pt x="314" y="312"/>
                      <a:pt x="314" y="312"/>
                    </a:cubicBezTo>
                    <a:cubicBezTo>
                      <a:pt x="315" y="312"/>
                      <a:pt x="315" y="312"/>
                      <a:pt x="315" y="312"/>
                    </a:cubicBezTo>
                    <a:cubicBezTo>
                      <a:pt x="316" y="313"/>
                      <a:pt x="316" y="313"/>
                      <a:pt x="316" y="313"/>
                    </a:cubicBezTo>
                    <a:cubicBezTo>
                      <a:pt x="316" y="314"/>
                      <a:pt x="316" y="314"/>
                      <a:pt x="316" y="314"/>
                    </a:cubicBezTo>
                    <a:cubicBezTo>
                      <a:pt x="317" y="315"/>
                      <a:pt x="317" y="315"/>
                      <a:pt x="317" y="315"/>
                    </a:cubicBezTo>
                    <a:cubicBezTo>
                      <a:pt x="319" y="315"/>
                      <a:pt x="319" y="315"/>
                      <a:pt x="319" y="315"/>
                    </a:cubicBezTo>
                    <a:cubicBezTo>
                      <a:pt x="320" y="315"/>
                      <a:pt x="320" y="315"/>
                      <a:pt x="320" y="315"/>
                    </a:cubicBezTo>
                    <a:cubicBezTo>
                      <a:pt x="322" y="315"/>
                      <a:pt x="322" y="315"/>
                      <a:pt x="322" y="315"/>
                    </a:cubicBezTo>
                    <a:cubicBezTo>
                      <a:pt x="322" y="314"/>
                      <a:pt x="322" y="314"/>
                      <a:pt x="322" y="314"/>
                    </a:cubicBezTo>
                    <a:cubicBezTo>
                      <a:pt x="321" y="313"/>
                      <a:pt x="321" y="313"/>
                      <a:pt x="321" y="313"/>
                    </a:cubicBezTo>
                    <a:cubicBezTo>
                      <a:pt x="322" y="311"/>
                      <a:pt x="322" y="311"/>
                      <a:pt x="322" y="311"/>
                    </a:cubicBezTo>
                    <a:cubicBezTo>
                      <a:pt x="322" y="311"/>
                      <a:pt x="322" y="311"/>
                      <a:pt x="322" y="311"/>
                    </a:cubicBezTo>
                    <a:cubicBezTo>
                      <a:pt x="320" y="309"/>
                      <a:pt x="320" y="309"/>
                      <a:pt x="320" y="309"/>
                    </a:cubicBezTo>
                    <a:cubicBezTo>
                      <a:pt x="318" y="309"/>
                      <a:pt x="318" y="309"/>
                      <a:pt x="318" y="309"/>
                    </a:cubicBezTo>
                    <a:cubicBezTo>
                      <a:pt x="316" y="307"/>
                      <a:pt x="316" y="307"/>
                      <a:pt x="316" y="307"/>
                    </a:cubicBezTo>
                    <a:cubicBezTo>
                      <a:pt x="314" y="307"/>
                      <a:pt x="314" y="307"/>
                      <a:pt x="314" y="307"/>
                    </a:cubicBezTo>
                    <a:cubicBezTo>
                      <a:pt x="310" y="308"/>
                      <a:pt x="310" y="308"/>
                      <a:pt x="310" y="308"/>
                    </a:cubicBezTo>
                    <a:cubicBezTo>
                      <a:pt x="308" y="308"/>
                      <a:pt x="308" y="308"/>
                      <a:pt x="308" y="308"/>
                    </a:cubicBezTo>
                    <a:cubicBezTo>
                      <a:pt x="306" y="308"/>
                      <a:pt x="306" y="308"/>
                      <a:pt x="306" y="308"/>
                    </a:cubicBezTo>
                    <a:cubicBezTo>
                      <a:pt x="304" y="308"/>
                      <a:pt x="304" y="308"/>
                      <a:pt x="304" y="308"/>
                    </a:cubicBezTo>
                    <a:cubicBezTo>
                      <a:pt x="304" y="308"/>
                      <a:pt x="303" y="309"/>
                      <a:pt x="303" y="309"/>
                    </a:cubicBezTo>
                    <a:close/>
                    <a:moveTo>
                      <a:pt x="296" y="302"/>
                    </a:move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9" y="304"/>
                      <a:pt x="299" y="304"/>
                      <a:pt x="299" y="304"/>
                    </a:cubicBezTo>
                    <a:cubicBezTo>
                      <a:pt x="302" y="306"/>
                      <a:pt x="302" y="306"/>
                      <a:pt x="302" y="306"/>
                    </a:cubicBezTo>
                    <a:cubicBezTo>
                      <a:pt x="304" y="307"/>
                      <a:pt x="304" y="307"/>
                      <a:pt x="304" y="307"/>
                    </a:cubicBezTo>
                    <a:cubicBezTo>
                      <a:pt x="308" y="307"/>
                      <a:pt x="308" y="307"/>
                      <a:pt x="308" y="307"/>
                    </a:cubicBezTo>
                    <a:cubicBezTo>
                      <a:pt x="314" y="307"/>
                      <a:pt x="314" y="307"/>
                      <a:pt x="314" y="307"/>
                    </a:cubicBezTo>
                    <a:cubicBezTo>
                      <a:pt x="316" y="306"/>
                      <a:pt x="316" y="306"/>
                      <a:pt x="316" y="306"/>
                    </a:cubicBezTo>
                    <a:cubicBezTo>
                      <a:pt x="316" y="305"/>
                      <a:pt x="316" y="305"/>
                      <a:pt x="316" y="305"/>
                    </a:cubicBezTo>
                    <a:cubicBezTo>
                      <a:pt x="314" y="305"/>
                      <a:pt x="314" y="305"/>
                      <a:pt x="314" y="305"/>
                    </a:cubicBezTo>
                    <a:cubicBezTo>
                      <a:pt x="309" y="305"/>
                      <a:pt x="309" y="305"/>
                      <a:pt x="309" y="305"/>
                    </a:cubicBezTo>
                    <a:cubicBezTo>
                      <a:pt x="307" y="304"/>
                      <a:pt x="307" y="304"/>
                      <a:pt x="307" y="304"/>
                    </a:cubicBezTo>
                    <a:cubicBezTo>
                      <a:pt x="305" y="303"/>
                      <a:pt x="305" y="303"/>
                      <a:pt x="305" y="303"/>
                    </a:cubicBezTo>
                    <a:cubicBezTo>
                      <a:pt x="303" y="303"/>
                      <a:pt x="303" y="303"/>
                      <a:pt x="303" y="303"/>
                    </a:cubicBezTo>
                    <a:cubicBezTo>
                      <a:pt x="302" y="302"/>
                      <a:pt x="302" y="302"/>
                      <a:pt x="302" y="302"/>
                    </a:cubicBezTo>
                    <a:cubicBezTo>
                      <a:pt x="303" y="301"/>
                      <a:pt x="303" y="301"/>
                      <a:pt x="303" y="301"/>
                    </a:cubicBezTo>
                    <a:cubicBezTo>
                      <a:pt x="304" y="301"/>
                      <a:pt x="304" y="301"/>
                      <a:pt x="304" y="301"/>
                    </a:cubicBezTo>
                    <a:cubicBezTo>
                      <a:pt x="307" y="303"/>
                      <a:pt x="307" y="303"/>
                      <a:pt x="307" y="303"/>
                    </a:cubicBezTo>
                    <a:cubicBezTo>
                      <a:pt x="311" y="304"/>
                      <a:pt x="311" y="304"/>
                      <a:pt x="311" y="304"/>
                    </a:cubicBezTo>
                    <a:cubicBezTo>
                      <a:pt x="312" y="304"/>
                      <a:pt x="312" y="304"/>
                      <a:pt x="312" y="304"/>
                    </a:cubicBezTo>
                    <a:cubicBezTo>
                      <a:pt x="311" y="302"/>
                      <a:pt x="311" y="302"/>
                      <a:pt x="311" y="302"/>
                    </a:cubicBezTo>
                    <a:cubicBezTo>
                      <a:pt x="307" y="300"/>
                      <a:pt x="307" y="300"/>
                      <a:pt x="307" y="300"/>
                    </a:cubicBezTo>
                    <a:cubicBezTo>
                      <a:pt x="301" y="298"/>
                      <a:pt x="301" y="298"/>
                      <a:pt x="301" y="298"/>
                    </a:cubicBezTo>
                    <a:cubicBezTo>
                      <a:pt x="299" y="299"/>
                      <a:pt x="299" y="299"/>
                      <a:pt x="299" y="299"/>
                    </a:cubicBezTo>
                    <a:cubicBezTo>
                      <a:pt x="299" y="300"/>
                      <a:pt x="299" y="300"/>
                      <a:pt x="299" y="300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2"/>
                      <a:pt x="296" y="302"/>
                      <a:pt x="296" y="302"/>
                    </a:cubicBezTo>
                    <a:close/>
                    <a:moveTo>
                      <a:pt x="325" y="307"/>
                    </a:moveTo>
                    <a:cubicBezTo>
                      <a:pt x="326" y="307"/>
                      <a:pt x="326" y="307"/>
                      <a:pt x="326" y="307"/>
                    </a:cubicBezTo>
                    <a:cubicBezTo>
                      <a:pt x="327" y="307"/>
                      <a:pt x="327" y="307"/>
                      <a:pt x="327" y="307"/>
                    </a:cubicBezTo>
                    <a:cubicBezTo>
                      <a:pt x="327" y="306"/>
                      <a:pt x="327" y="306"/>
                      <a:pt x="327" y="306"/>
                    </a:cubicBezTo>
                    <a:cubicBezTo>
                      <a:pt x="326" y="306"/>
                      <a:pt x="326" y="306"/>
                      <a:pt x="326" y="306"/>
                    </a:cubicBezTo>
                    <a:cubicBezTo>
                      <a:pt x="325" y="307"/>
                      <a:pt x="325" y="307"/>
                      <a:pt x="325" y="307"/>
                    </a:cubicBezTo>
                    <a:close/>
                    <a:moveTo>
                      <a:pt x="327" y="277"/>
                    </a:moveTo>
                    <a:cubicBezTo>
                      <a:pt x="325" y="280"/>
                      <a:pt x="325" y="280"/>
                      <a:pt x="325" y="280"/>
                    </a:cubicBezTo>
                    <a:cubicBezTo>
                      <a:pt x="325" y="282"/>
                      <a:pt x="325" y="282"/>
                      <a:pt x="325" y="282"/>
                    </a:cubicBezTo>
                    <a:cubicBezTo>
                      <a:pt x="327" y="283"/>
                      <a:pt x="327" y="283"/>
                      <a:pt x="327" y="283"/>
                    </a:cubicBezTo>
                    <a:cubicBezTo>
                      <a:pt x="328" y="283"/>
                      <a:pt x="328" y="283"/>
                      <a:pt x="328" y="283"/>
                    </a:cubicBezTo>
                    <a:cubicBezTo>
                      <a:pt x="330" y="285"/>
                      <a:pt x="330" y="285"/>
                      <a:pt x="330" y="285"/>
                    </a:cubicBezTo>
                    <a:cubicBezTo>
                      <a:pt x="331" y="285"/>
                      <a:pt x="331" y="285"/>
                      <a:pt x="331" y="285"/>
                    </a:cubicBezTo>
                    <a:cubicBezTo>
                      <a:pt x="334" y="285"/>
                      <a:pt x="334" y="285"/>
                      <a:pt x="334" y="285"/>
                    </a:cubicBezTo>
                    <a:cubicBezTo>
                      <a:pt x="335" y="284"/>
                      <a:pt x="335" y="284"/>
                      <a:pt x="335" y="284"/>
                    </a:cubicBezTo>
                    <a:cubicBezTo>
                      <a:pt x="335" y="282"/>
                      <a:pt x="335" y="282"/>
                      <a:pt x="335" y="282"/>
                    </a:cubicBezTo>
                    <a:cubicBezTo>
                      <a:pt x="336" y="281"/>
                      <a:pt x="336" y="281"/>
                      <a:pt x="336" y="281"/>
                    </a:cubicBezTo>
                    <a:cubicBezTo>
                      <a:pt x="336" y="279"/>
                      <a:pt x="336" y="279"/>
                      <a:pt x="336" y="279"/>
                    </a:cubicBezTo>
                    <a:cubicBezTo>
                      <a:pt x="332" y="276"/>
                      <a:pt x="332" y="276"/>
                      <a:pt x="332" y="276"/>
                    </a:cubicBezTo>
                    <a:cubicBezTo>
                      <a:pt x="330" y="277"/>
                      <a:pt x="330" y="277"/>
                      <a:pt x="330" y="277"/>
                    </a:cubicBezTo>
                    <a:cubicBezTo>
                      <a:pt x="327" y="277"/>
                      <a:pt x="327" y="277"/>
                      <a:pt x="327" y="277"/>
                    </a:cubicBezTo>
                    <a:close/>
                    <a:moveTo>
                      <a:pt x="345" y="276"/>
                    </a:moveTo>
                    <a:cubicBezTo>
                      <a:pt x="346" y="276"/>
                      <a:pt x="346" y="276"/>
                      <a:pt x="346" y="276"/>
                    </a:cubicBezTo>
                    <a:cubicBezTo>
                      <a:pt x="348" y="274"/>
                      <a:pt x="348" y="274"/>
                      <a:pt x="348" y="274"/>
                    </a:cubicBezTo>
                    <a:cubicBezTo>
                      <a:pt x="347" y="273"/>
                      <a:pt x="347" y="273"/>
                      <a:pt x="347" y="273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5" y="276"/>
                      <a:pt x="345" y="276"/>
                      <a:pt x="345" y="276"/>
                    </a:cubicBezTo>
                    <a:close/>
                    <a:moveTo>
                      <a:pt x="337" y="265"/>
                    </a:moveTo>
                    <a:cubicBezTo>
                      <a:pt x="336" y="266"/>
                      <a:pt x="336" y="266"/>
                      <a:pt x="336" y="266"/>
                    </a:cubicBezTo>
                    <a:cubicBezTo>
                      <a:pt x="336" y="268"/>
                      <a:pt x="336" y="268"/>
                      <a:pt x="336" y="268"/>
                    </a:cubicBezTo>
                    <a:cubicBezTo>
                      <a:pt x="337" y="270"/>
                      <a:pt x="337" y="270"/>
                      <a:pt x="337" y="270"/>
                    </a:cubicBezTo>
                    <a:cubicBezTo>
                      <a:pt x="339" y="271"/>
                      <a:pt x="339" y="271"/>
                      <a:pt x="339" y="271"/>
                    </a:cubicBezTo>
                    <a:cubicBezTo>
                      <a:pt x="340" y="270"/>
                      <a:pt x="340" y="270"/>
                      <a:pt x="340" y="270"/>
                    </a:cubicBezTo>
                    <a:cubicBezTo>
                      <a:pt x="340" y="269"/>
                      <a:pt x="340" y="269"/>
                      <a:pt x="340" y="269"/>
                    </a:cubicBezTo>
                    <a:cubicBezTo>
                      <a:pt x="340" y="268"/>
                      <a:pt x="340" y="268"/>
                      <a:pt x="340" y="268"/>
                    </a:cubicBezTo>
                    <a:cubicBezTo>
                      <a:pt x="340" y="266"/>
                      <a:pt x="340" y="266"/>
                      <a:pt x="340" y="266"/>
                    </a:cubicBezTo>
                    <a:cubicBezTo>
                      <a:pt x="338" y="265"/>
                      <a:pt x="338" y="265"/>
                      <a:pt x="338" y="265"/>
                    </a:cubicBezTo>
                    <a:cubicBezTo>
                      <a:pt x="337" y="265"/>
                      <a:pt x="337" y="265"/>
                      <a:pt x="337" y="265"/>
                    </a:cubicBezTo>
                    <a:close/>
                    <a:moveTo>
                      <a:pt x="349" y="257"/>
                    </a:moveTo>
                    <a:cubicBezTo>
                      <a:pt x="349" y="261"/>
                      <a:pt x="349" y="261"/>
                      <a:pt x="349" y="261"/>
                    </a:cubicBezTo>
                    <a:cubicBezTo>
                      <a:pt x="348" y="263"/>
                      <a:pt x="348" y="263"/>
                      <a:pt x="348" y="263"/>
                    </a:cubicBezTo>
                    <a:cubicBezTo>
                      <a:pt x="349" y="265"/>
                      <a:pt x="349" y="265"/>
                      <a:pt x="349" y="265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3" y="266"/>
                      <a:pt x="353" y="266"/>
                      <a:pt x="353" y="266"/>
                    </a:cubicBezTo>
                    <a:cubicBezTo>
                      <a:pt x="355" y="266"/>
                      <a:pt x="355" y="266"/>
                      <a:pt x="355" y="266"/>
                    </a:cubicBezTo>
                    <a:cubicBezTo>
                      <a:pt x="355" y="265"/>
                      <a:pt x="355" y="265"/>
                      <a:pt x="355" y="265"/>
                    </a:cubicBezTo>
                    <a:cubicBezTo>
                      <a:pt x="356" y="267"/>
                      <a:pt x="356" y="267"/>
                      <a:pt x="356" y="267"/>
                    </a:cubicBezTo>
                    <a:cubicBezTo>
                      <a:pt x="357" y="267"/>
                      <a:pt x="357" y="267"/>
                      <a:pt x="357" y="267"/>
                    </a:cubicBezTo>
                    <a:cubicBezTo>
                      <a:pt x="358" y="265"/>
                      <a:pt x="358" y="265"/>
                      <a:pt x="358" y="265"/>
                    </a:cubicBezTo>
                    <a:cubicBezTo>
                      <a:pt x="359" y="265"/>
                      <a:pt x="359" y="265"/>
                      <a:pt x="359" y="265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8" y="261"/>
                      <a:pt x="358" y="261"/>
                      <a:pt x="358" y="261"/>
                    </a:cubicBezTo>
                    <a:cubicBezTo>
                      <a:pt x="357" y="262"/>
                      <a:pt x="357" y="262"/>
                      <a:pt x="357" y="262"/>
                    </a:cubicBezTo>
                    <a:cubicBezTo>
                      <a:pt x="357" y="264"/>
                      <a:pt x="357" y="264"/>
                      <a:pt x="357" y="264"/>
                    </a:cubicBezTo>
                    <a:cubicBezTo>
                      <a:pt x="356" y="263"/>
                      <a:pt x="356" y="263"/>
                      <a:pt x="356" y="263"/>
                    </a:cubicBezTo>
                    <a:cubicBezTo>
                      <a:pt x="355" y="261"/>
                      <a:pt x="355" y="261"/>
                      <a:pt x="355" y="261"/>
                    </a:cubicBezTo>
                    <a:cubicBezTo>
                      <a:pt x="355" y="260"/>
                      <a:pt x="355" y="260"/>
                      <a:pt x="355" y="260"/>
                    </a:cubicBezTo>
                    <a:cubicBezTo>
                      <a:pt x="354" y="258"/>
                      <a:pt x="354" y="258"/>
                      <a:pt x="354" y="258"/>
                    </a:cubicBezTo>
                    <a:cubicBezTo>
                      <a:pt x="355" y="257"/>
                      <a:pt x="355" y="257"/>
                      <a:pt x="355" y="257"/>
                    </a:cubicBezTo>
                    <a:cubicBezTo>
                      <a:pt x="355" y="257"/>
                      <a:pt x="355" y="257"/>
                      <a:pt x="355" y="257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4" y="255"/>
                      <a:pt x="354" y="255"/>
                      <a:pt x="354" y="255"/>
                    </a:cubicBezTo>
                    <a:cubicBezTo>
                      <a:pt x="353" y="257"/>
                      <a:pt x="353" y="257"/>
                      <a:pt x="353" y="257"/>
                    </a:cubicBezTo>
                    <a:cubicBezTo>
                      <a:pt x="351" y="256"/>
                      <a:pt x="351" y="256"/>
                      <a:pt x="351" y="256"/>
                    </a:cubicBezTo>
                    <a:cubicBezTo>
                      <a:pt x="350" y="257"/>
                      <a:pt x="350" y="257"/>
                      <a:pt x="350" y="257"/>
                    </a:cubicBezTo>
                    <a:cubicBezTo>
                      <a:pt x="349" y="257"/>
                      <a:pt x="349" y="257"/>
                      <a:pt x="349" y="257"/>
                    </a:cubicBezTo>
                    <a:close/>
                    <a:moveTo>
                      <a:pt x="351" y="225"/>
                    </a:moveTo>
                    <a:cubicBezTo>
                      <a:pt x="350" y="227"/>
                      <a:pt x="350" y="227"/>
                      <a:pt x="350" y="227"/>
                    </a:cubicBezTo>
                    <a:cubicBezTo>
                      <a:pt x="350" y="227"/>
                      <a:pt x="350" y="227"/>
                      <a:pt x="350" y="227"/>
                    </a:cubicBezTo>
                    <a:cubicBezTo>
                      <a:pt x="351" y="228"/>
                      <a:pt x="351" y="228"/>
                      <a:pt x="351" y="228"/>
                    </a:cubicBezTo>
                    <a:cubicBezTo>
                      <a:pt x="351" y="230"/>
                      <a:pt x="351" y="230"/>
                      <a:pt x="351" y="230"/>
                    </a:cubicBezTo>
                    <a:cubicBezTo>
                      <a:pt x="351" y="231"/>
                      <a:pt x="351" y="231"/>
                      <a:pt x="351" y="231"/>
                    </a:cubicBezTo>
                    <a:cubicBezTo>
                      <a:pt x="351" y="233"/>
                      <a:pt x="351" y="233"/>
                      <a:pt x="351" y="233"/>
                    </a:cubicBezTo>
                    <a:cubicBezTo>
                      <a:pt x="352" y="235"/>
                      <a:pt x="352" y="235"/>
                      <a:pt x="352" y="235"/>
                    </a:cubicBezTo>
                    <a:cubicBezTo>
                      <a:pt x="352" y="238"/>
                      <a:pt x="352" y="238"/>
                      <a:pt x="352" y="238"/>
                    </a:cubicBezTo>
                    <a:cubicBezTo>
                      <a:pt x="351" y="241"/>
                      <a:pt x="351" y="241"/>
                      <a:pt x="351" y="241"/>
                    </a:cubicBezTo>
                    <a:cubicBezTo>
                      <a:pt x="351" y="243"/>
                      <a:pt x="351" y="243"/>
                      <a:pt x="351" y="243"/>
                    </a:cubicBezTo>
                    <a:cubicBezTo>
                      <a:pt x="352" y="244"/>
                      <a:pt x="352" y="244"/>
                      <a:pt x="352" y="244"/>
                    </a:cubicBezTo>
                    <a:cubicBezTo>
                      <a:pt x="353" y="243"/>
                      <a:pt x="353" y="243"/>
                      <a:pt x="353" y="243"/>
                    </a:cubicBezTo>
                    <a:cubicBezTo>
                      <a:pt x="353" y="240"/>
                      <a:pt x="353" y="240"/>
                      <a:pt x="353" y="240"/>
                    </a:cubicBezTo>
                    <a:cubicBezTo>
                      <a:pt x="354" y="239"/>
                      <a:pt x="354" y="239"/>
                      <a:pt x="354" y="239"/>
                    </a:cubicBezTo>
                    <a:cubicBezTo>
                      <a:pt x="354" y="236"/>
                      <a:pt x="354" y="236"/>
                      <a:pt x="354" y="236"/>
                    </a:cubicBezTo>
                    <a:cubicBezTo>
                      <a:pt x="352" y="234"/>
                      <a:pt x="352" y="234"/>
                      <a:pt x="352" y="234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3" y="228"/>
                      <a:pt x="353" y="228"/>
                      <a:pt x="353" y="228"/>
                    </a:cubicBezTo>
                    <a:cubicBezTo>
                      <a:pt x="352" y="227"/>
                      <a:pt x="352" y="227"/>
                      <a:pt x="352" y="227"/>
                    </a:cubicBezTo>
                    <a:cubicBezTo>
                      <a:pt x="351" y="225"/>
                      <a:pt x="351" y="225"/>
                      <a:pt x="351" y="225"/>
                    </a:cubicBezTo>
                    <a:close/>
                    <a:moveTo>
                      <a:pt x="337" y="230"/>
                    </a:moveTo>
                    <a:cubicBezTo>
                      <a:pt x="336" y="232"/>
                      <a:pt x="336" y="232"/>
                      <a:pt x="336" y="232"/>
                    </a:cubicBezTo>
                    <a:cubicBezTo>
                      <a:pt x="337" y="232"/>
                      <a:pt x="337" y="232"/>
                      <a:pt x="337" y="232"/>
                    </a:cubicBezTo>
                    <a:cubicBezTo>
                      <a:pt x="339" y="232"/>
                      <a:pt x="339" y="232"/>
                      <a:pt x="339" y="232"/>
                    </a:cubicBezTo>
                    <a:cubicBezTo>
                      <a:pt x="340" y="231"/>
                      <a:pt x="340" y="231"/>
                      <a:pt x="340" y="231"/>
                    </a:cubicBezTo>
                    <a:cubicBezTo>
                      <a:pt x="339" y="230"/>
                      <a:pt x="339" y="230"/>
                      <a:pt x="339" y="230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30"/>
                      <a:pt x="337" y="230"/>
                      <a:pt x="337" y="230"/>
                    </a:cubicBezTo>
                    <a:close/>
                    <a:moveTo>
                      <a:pt x="335" y="227"/>
                    </a:moveTo>
                    <a:cubicBezTo>
                      <a:pt x="335" y="228"/>
                      <a:pt x="335" y="228"/>
                      <a:pt x="335" y="228"/>
                    </a:cubicBezTo>
                    <a:cubicBezTo>
                      <a:pt x="337" y="228"/>
                      <a:pt x="337" y="228"/>
                      <a:pt x="337" y="228"/>
                    </a:cubicBezTo>
                    <a:cubicBezTo>
                      <a:pt x="336" y="226"/>
                      <a:pt x="336" y="226"/>
                      <a:pt x="336" y="226"/>
                    </a:cubicBezTo>
                    <a:cubicBezTo>
                      <a:pt x="335" y="227"/>
                      <a:pt x="335" y="227"/>
                      <a:pt x="335" y="227"/>
                    </a:cubicBezTo>
                    <a:cubicBezTo>
                      <a:pt x="335" y="227"/>
                      <a:pt x="335" y="227"/>
                      <a:pt x="335" y="227"/>
                    </a:cubicBezTo>
                    <a:close/>
                    <a:moveTo>
                      <a:pt x="347" y="194"/>
                    </a:moveTo>
                    <a:cubicBezTo>
                      <a:pt x="348" y="197"/>
                      <a:pt x="348" y="197"/>
                      <a:pt x="348" y="197"/>
                    </a:cubicBezTo>
                    <a:cubicBezTo>
                      <a:pt x="350" y="198"/>
                      <a:pt x="350" y="198"/>
                      <a:pt x="350" y="198"/>
                    </a:cubicBezTo>
                    <a:cubicBezTo>
                      <a:pt x="351" y="198"/>
                      <a:pt x="351" y="198"/>
                      <a:pt x="351" y="198"/>
                    </a:cubicBezTo>
                    <a:cubicBezTo>
                      <a:pt x="351" y="197"/>
                      <a:pt x="351" y="197"/>
                      <a:pt x="351" y="197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7" y="194"/>
                      <a:pt x="347" y="194"/>
                      <a:pt x="347" y="194"/>
                    </a:cubicBezTo>
                    <a:close/>
                    <a:moveTo>
                      <a:pt x="359" y="202"/>
                    </a:moveTo>
                    <a:cubicBezTo>
                      <a:pt x="359" y="202"/>
                      <a:pt x="360" y="203"/>
                      <a:pt x="360" y="203"/>
                    </a:cubicBezTo>
                    <a:cubicBezTo>
                      <a:pt x="361" y="203"/>
                      <a:pt x="361" y="203"/>
                      <a:pt x="361" y="203"/>
                    </a:cubicBezTo>
                    <a:cubicBezTo>
                      <a:pt x="362" y="202"/>
                      <a:pt x="362" y="202"/>
                      <a:pt x="362" y="202"/>
                    </a:cubicBezTo>
                    <a:cubicBezTo>
                      <a:pt x="361" y="201"/>
                      <a:pt x="361" y="201"/>
                      <a:pt x="361" y="201"/>
                    </a:cubicBezTo>
                    <a:cubicBezTo>
                      <a:pt x="362" y="199"/>
                      <a:pt x="362" y="199"/>
                      <a:pt x="362" y="199"/>
                    </a:cubicBezTo>
                    <a:cubicBezTo>
                      <a:pt x="363" y="198"/>
                      <a:pt x="363" y="198"/>
                      <a:pt x="363" y="198"/>
                    </a:cubicBezTo>
                    <a:cubicBezTo>
                      <a:pt x="362" y="196"/>
                      <a:pt x="362" y="196"/>
                      <a:pt x="362" y="196"/>
                    </a:cubicBezTo>
                    <a:cubicBezTo>
                      <a:pt x="361" y="198"/>
                      <a:pt x="361" y="198"/>
                      <a:pt x="361" y="198"/>
                    </a:cubicBezTo>
                    <a:cubicBezTo>
                      <a:pt x="360" y="200"/>
                      <a:pt x="360" y="200"/>
                      <a:pt x="360" y="200"/>
                    </a:cubicBezTo>
                    <a:cubicBezTo>
                      <a:pt x="359" y="202"/>
                      <a:pt x="359" y="202"/>
                      <a:pt x="359" y="202"/>
                    </a:cubicBezTo>
                    <a:close/>
                    <a:moveTo>
                      <a:pt x="354" y="191"/>
                    </a:moveTo>
                    <a:cubicBezTo>
                      <a:pt x="354" y="191"/>
                      <a:pt x="354" y="191"/>
                      <a:pt x="354" y="191"/>
                    </a:cubicBezTo>
                    <a:cubicBezTo>
                      <a:pt x="355" y="191"/>
                      <a:pt x="355" y="191"/>
                      <a:pt x="355" y="191"/>
                    </a:cubicBezTo>
                    <a:cubicBezTo>
                      <a:pt x="356" y="189"/>
                      <a:pt x="356" y="189"/>
                      <a:pt x="356" y="189"/>
                    </a:cubicBezTo>
                    <a:cubicBezTo>
                      <a:pt x="355" y="188"/>
                      <a:pt x="355" y="188"/>
                      <a:pt x="355" y="188"/>
                    </a:cubicBezTo>
                    <a:cubicBezTo>
                      <a:pt x="355" y="188"/>
                      <a:pt x="355" y="188"/>
                      <a:pt x="355" y="188"/>
                    </a:cubicBezTo>
                    <a:cubicBezTo>
                      <a:pt x="354" y="191"/>
                      <a:pt x="354" y="191"/>
                      <a:pt x="354" y="191"/>
                    </a:cubicBezTo>
                    <a:close/>
                    <a:moveTo>
                      <a:pt x="355" y="184"/>
                    </a:moveTo>
                    <a:cubicBezTo>
                      <a:pt x="355" y="184"/>
                      <a:pt x="355" y="184"/>
                      <a:pt x="355" y="184"/>
                    </a:cubicBezTo>
                    <a:cubicBezTo>
                      <a:pt x="355" y="185"/>
                      <a:pt x="355" y="185"/>
                      <a:pt x="355" y="185"/>
                    </a:cubicBezTo>
                    <a:cubicBezTo>
                      <a:pt x="356" y="184"/>
                      <a:pt x="356" y="184"/>
                      <a:pt x="356" y="184"/>
                    </a:cubicBezTo>
                    <a:cubicBezTo>
                      <a:pt x="356" y="184"/>
                      <a:pt x="356" y="184"/>
                      <a:pt x="356" y="184"/>
                    </a:cubicBezTo>
                    <a:cubicBezTo>
                      <a:pt x="355" y="184"/>
                      <a:pt x="355" y="184"/>
                      <a:pt x="355" y="184"/>
                    </a:cubicBezTo>
                    <a:close/>
                    <a:moveTo>
                      <a:pt x="363" y="162"/>
                    </a:moveTo>
                    <a:cubicBezTo>
                      <a:pt x="364" y="164"/>
                      <a:pt x="364" y="164"/>
                      <a:pt x="364" y="164"/>
                    </a:cubicBezTo>
                    <a:cubicBezTo>
                      <a:pt x="364" y="165"/>
                      <a:pt x="364" y="165"/>
                      <a:pt x="364" y="165"/>
                    </a:cubicBezTo>
                    <a:cubicBezTo>
                      <a:pt x="366" y="164"/>
                      <a:pt x="366" y="164"/>
                      <a:pt x="366" y="164"/>
                    </a:cubicBezTo>
                    <a:cubicBezTo>
                      <a:pt x="367" y="161"/>
                      <a:pt x="367" y="161"/>
                      <a:pt x="367" y="161"/>
                    </a:cubicBez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7" y="158"/>
                      <a:pt x="367" y="158"/>
                      <a:pt x="367" y="158"/>
                    </a:cubicBezTo>
                    <a:cubicBezTo>
                      <a:pt x="366" y="157"/>
                      <a:pt x="366" y="157"/>
                      <a:pt x="366" y="157"/>
                    </a:cubicBezTo>
                    <a:cubicBezTo>
                      <a:pt x="365" y="158"/>
                      <a:pt x="365" y="158"/>
                      <a:pt x="365" y="158"/>
                    </a:cubicBezTo>
                    <a:cubicBezTo>
                      <a:pt x="365" y="160"/>
                      <a:pt x="365" y="160"/>
                      <a:pt x="365" y="160"/>
                    </a:cubicBezTo>
                    <a:cubicBezTo>
                      <a:pt x="363" y="162"/>
                      <a:pt x="363" y="162"/>
                      <a:pt x="363" y="162"/>
                    </a:cubicBezTo>
                    <a:close/>
                    <a:moveTo>
                      <a:pt x="358" y="133"/>
                    </a:moveTo>
                    <a:cubicBezTo>
                      <a:pt x="359" y="133"/>
                      <a:pt x="359" y="133"/>
                      <a:pt x="359" y="133"/>
                    </a:cubicBezTo>
                    <a:cubicBezTo>
                      <a:pt x="359" y="133"/>
                      <a:pt x="359" y="133"/>
                      <a:pt x="359" y="133"/>
                    </a:cubicBezTo>
                    <a:cubicBezTo>
                      <a:pt x="362" y="133"/>
                      <a:pt x="362" y="133"/>
                      <a:pt x="362" y="133"/>
                    </a:cubicBezTo>
                    <a:cubicBezTo>
                      <a:pt x="363" y="131"/>
                      <a:pt x="363" y="131"/>
                      <a:pt x="363" y="131"/>
                    </a:cubicBezTo>
                    <a:cubicBezTo>
                      <a:pt x="363" y="129"/>
                      <a:pt x="363" y="129"/>
                      <a:pt x="363" y="129"/>
                    </a:cubicBezTo>
                    <a:cubicBezTo>
                      <a:pt x="362" y="128"/>
                      <a:pt x="362" y="128"/>
                      <a:pt x="362" y="128"/>
                    </a:cubicBezTo>
                    <a:cubicBezTo>
                      <a:pt x="358" y="129"/>
                      <a:pt x="358" y="129"/>
                      <a:pt x="358" y="129"/>
                    </a:cubicBezTo>
                    <a:cubicBezTo>
                      <a:pt x="358" y="132"/>
                      <a:pt x="358" y="132"/>
                      <a:pt x="358" y="132"/>
                    </a:cubicBezTo>
                    <a:cubicBezTo>
                      <a:pt x="358" y="133"/>
                      <a:pt x="358" y="133"/>
                      <a:pt x="358" y="133"/>
                    </a:cubicBezTo>
                    <a:close/>
                    <a:moveTo>
                      <a:pt x="378" y="79"/>
                    </a:moveTo>
                    <a:cubicBezTo>
                      <a:pt x="378" y="78"/>
                      <a:pt x="378" y="78"/>
                      <a:pt x="378" y="78"/>
                    </a:cubicBezTo>
                    <a:cubicBezTo>
                      <a:pt x="379" y="76"/>
                      <a:pt x="379" y="76"/>
                      <a:pt x="379" y="76"/>
                    </a:cubicBezTo>
                    <a:cubicBezTo>
                      <a:pt x="378" y="73"/>
                      <a:pt x="378" y="73"/>
                      <a:pt x="378" y="73"/>
                    </a:cubicBezTo>
                    <a:cubicBezTo>
                      <a:pt x="379" y="72"/>
                      <a:pt x="379" y="72"/>
                      <a:pt x="379" y="72"/>
                    </a:cubicBezTo>
                    <a:cubicBezTo>
                      <a:pt x="378" y="70"/>
                      <a:pt x="378" y="70"/>
                      <a:pt x="378" y="70"/>
                    </a:cubicBezTo>
                    <a:cubicBezTo>
                      <a:pt x="377" y="70"/>
                      <a:pt x="377" y="70"/>
                      <a:pt x="377" y="70"/>
                    </a:cubicBezTo>
                    <a:cubicBezTo>
                      <a:pt x="377" y="72"/>
                      <a:pt x="377" y="72"/>
                      <a:pt x="377" y="72"/>
                    </a:cubicBezTo>
                    <a:cubicBezTo>
                      <a:pt x="377" y="72"/>
                      <a:pt x="377" y="72"/>
                      <a:pt x="377" y="72"/>
                    </a:cubicBezTo>
                    <a:cubicBezTo>
                      <a:pt x="377" y="74"/>
                      <a:pt x="377" y="74"/>
                      <a:pt x="377" y="74"/>
                    </a:cubicBezTo>
                    <a:cubicBezTo>
                      <a:pt x="377" y="76"/>
                      <a:pt x="377" y="76"/>
                      <a:pt x="377" y="76"/>
                    </a:cubicBezTo>
                    <a:cubicBezTo>
                      <a:pt x="378" y="79"/>
                      <a:pt x="378" y="79"/>
                      <a:pt x="378" y="79"/>
                    </a:cubicBezTo>
                    <a:close/>
                    <a:moveTo>
                      <a:pt x="372" y="85"/>
                    </a:moveTo>
                    <a:cubicBezTo>
                      <a:pt x="372" y="85"/>
                      <a:pt x="373" y="85"/>
                      <a:pt x="373" y="85"/>
                    </a:cubicBezTo>
                    <a:cubicBezTo>
                      <a:pt x="373" y="84"/>
                      <a:pt x="373" y="84"/>
                      <a:pt x="373" y="84"/>
                    </a:cubicBezTo>
                    <a:cubicBezTo>
                      <a:pt x="373" y="81"/>
                      <a:pt x="373" y="81"/>
                      <a:pt x="373" y="81"/>
                    </a:cubicBezTo>
                    <a:cubicBezTo>
                      <a:pt x="373" y="80"/>
                      <a:pt x="373" y="80"/>
                      <a:pt x="373" y="80"/>
                    </a:cubicBezTo>
                    <a:cubicBezTo>
                      <a:pt x="371" y="81"/>
                      <a:pt x="371" y="81"/>
                      <a:pt x="371" y="81"/>
                    </a:cubicBezTo>
                    <a:cubicBezTo>
                      <a:pt x="371" y="83"/>
                      <a:pt x="371" y="83"/>
                      <a:pt x="371" y="83"/>
                    </a:cubicBezTo>
                    <a:cubicBezTo>
                      <a:pt x="372" y="85"/>
                      <a:pt x="372" y="85"/>
                      <a:pt x="372" y="85"/>
                    </a:cubicBezTo>
                    <a:close/>
                    <a:moveTo>
                      <a:pt x="368" y="79"/>
                    </a:moveTo>
                    <a:cubicBezTo>
                      <a:pt x="369" y="80"/>
                      <a:pt x="369" y="80"/>
                      <a:pt x="369" y="80"/>
                    </a:cubicBezTo>
                    <a:cubicBezTo>
                      <a:pt x="370" y="79"/>
                      <a:pt x="370" y="79"/>
                      <a:pt x="370" y="79"/>
                    </a:cubicBezTo>
                    <a:cubicBezTo>
                      <a:pt x="371" y="77"/>
                      <a:pt x="371" y="77"/>
                      <a:pt x="371" y="77"/>
                    </a:cubicBezTo>
                    <a:cubicBezTo>
                      <a:pt x="371" y="76"/>
                      <a:pt x="371" y="76"/>
                      <a:pt x="371" y="76"/>
                    </a:cubicBezTo>
                    <a:cubicBezTo>
                      <a:pt x="371" y="74"/>
                      <a:pt x="371" y="74"/>
                      <a:pt x="371" y="74"/>
                    </a:cubicBezTo>
                    <a:cubicBezTo>
                      <a:pt x="371" y="73"/>
                      <a:pt x="371" y="73"/>
                      <a:pt x="371" y="73"/>
                    </a:cubicBezTo>
                    <a:cubicBezTo>
                      <a:pt x="369" y="74"/>
                      <a:pt x="369" y="74"/>
                      <a:pt x="369" y="74"/>
                    </a:cubicBezTo>
                    <a:cubicBezTo>
                      <a:pt x="368" y="76"/>
                      <a:pt x="368" y="76"/>
                      <a:pt x="368" y="76"/>
                    </a:cubicBezTo>
                    <a:cubicBezTo>
                      <a:pt x="369" y="77"/>
                      <a:pt x="369" y="77"/>
                      <a:pt x="369" y="77"/>
                    </a:cubicBezTo>
                    <a:cubicBezTo>
                      <a:pt x="368" y="79"/>
                      <a:pt x="368" y="79"/>
                      <a:pt x="368" y="79"/>
                    </a:cubicBezTo>
                    <a:close/>
                    <a:moveTo>
                      <a:pt x="267" y="7"/>
                    </a:moveTo>
                    <a:cubicBezTo>
                      <a:pt x="267" y="7"/>
                      <a:pt x="267" y="7"/>
                      <a:pt x="267" y="7"/>
                    </a:cubicBezTo>
                    <a:cubicBezTo>
                      <a:pt x="268" y="6"/>
                      <a:pt x="268" y="6"/>
                      <a:pt x="268" y="6"/>
                    </a:cubicBezTo>
                    <a:cubicBezTo>
                      <a:pt x="268" y="4"/>
                      <a:pt x="268" y="4"/>
                      <a:pt x="268" y="4"/>
                    </a:cubicBezTo>
                    <a:cubicBezTo>
                      <a:pt x="268" y="3"/>
                      <a:pt x="268" y="3"/>
                      <a:pt x="268" y="3"/>
                    </a:cubicBezTo>
                    <a:cubicBezTo>
                      <a:pt x="267" y="3"/>
                      <a:pt x="267" y="3"/>
                      <a:pt x="267" y="3"/>
                    </a:cubicBezTo>
                    <a:cubicBezTo>
                      <a:pt x="266" y="5"/>
                      <a:pt x="266" y="5"/>
                      <a:pt x="266" y="5"/>
                    </a:cubicBezTo>
                    <a:cubicBezTo>
                      <a:pt x="267" y="7"/>
                      <a:pt x="267" y="7"/>
                      <a:pt x="267" y="7"/>
                    </a:cubicBezTo>
                    <a:close/>
                    <a:moveTo>
                      <a:pt x="267" y="10"/>
                    </a:moveTo>
                    <a:cubicBezTo>
                      <a:pt x="267" y="11"/>
                      <a:pt x="267" y="11"/>
                      <a:pt x="267" y="11"/>
                    </a:cubicBezTo>
                    <a:cubicBezTo>
                      <a:pt x="269" y="11"/>
                      <a:pt x="269" y="11"/>
                      <a:pt x="269" y="11"/>
                    </a:cubicBezTo>
                    <a:cubicBezTo>
                      <a:pt x="270" y="9"/>
                      <a:pt x="270" y="9"/>
                      <a:pt x="270" y="9"/>
                    </a:cubicBezTo>
                    <a:cubicBezTo>
                      <a:pt x="270" y="8"/>
                      <a:pt x="270" y="8"/>
                      <a:pt x="270" y="8"/>
                    </a:cubicBezTo>
                    <a:cubicBezTo>
                      <a:pt x="269" y="8"/>
                      <a:pt x="269" y="8"/>
                      <a:pt x="269" y="8"/>
                    </a:cubicBezTo>
                    <a:cubicBezTo>
                      <a:pt x="267" y="9"/>
                      <a:pt x="267" y="9"/>
                      <a:pt x="267" y="9"/>
                    </a:cubicBezTo>
                    <a:cubicBezTo>
                      <a:pt x="267" y="10"/>
                      <a:pt x="267" y="10"/>
                      <a:pt x="267" y="10"/>
                    </a:cubicBezTo>
                    <a:close/>
                    <a:moveTo>
                      <a:pt x="259" y="10"/>
                    </a:moveTo>
                    <a:cubicBezTo>
                      <a:pt x="260" y="12"/>
                      <a:pt x="260" y="12"/>
                      <a:pt x="260" y="12"/>
                    </a:cubicBezTo>
                    <a:cubicBezTo>
                      <a:pt x="261" y="14"/>
                      <a:pt x="261" y="14"/>
                      <a:pt x="261" y="14"/>
                    </a:cubicBezTo>
                    <a:cubicBezTo>
                      <a:pt x="262" y="14"/>
                      <a:pt x="262" y="14"/>
                      <a:pt x="262" y="14"/>
                    </a:cubicBezTo>
                    <a:cubicBezTo>
                      <a:pt x="263" y="12"/>
                      <a:pt x="263" y="12"/>
                      <a:pt x="263" y="12"/>
                    </a:cubicBezTo>
                    <a:cubicBezTo>
                      <a:pt x="264" y="12"/>
                      <a:pt x="264" y="12"/>
                      <a:pt x="264" y="12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61" y="8"/>
                      <a:pt x="261" y="8"/>
                      <a:pt x="261" y="8"/>
                    </a:cubicBezTo>
                    <a:cubicBezTo>
                      <a:pt x="260" y="7"/>
                      <a:pt x="260" y="7"/>
                      <a:pt x="260" y="7"/>
                    </a:cubicBezTo>
                    <a:cubicBezTo>
                      <a:pt x="259" y="7"/>
                      <a:pt x="259" y="7"/>
                      <a:pt x="259" y="7"/>
                    </a:cubicBezTo>
                    <a:cubicBezTo>
                      <a:pt x="259" y="9"/>
                      <a:pt x="259" y="9"/>
                      <a:pt x="259" y="9"/>
                    </a:cubicBezTo>
                    <a:cubicBezTo>
                      <a:pt x="258" y="9"/>
                      <a:pt x="258" y="9"/>
                      <a:pt x="258" y="9"/>
                    </a:cubicBezTo>
                    <a:cubicBezTo>
                      <a:pt x="259" y="10"/>
                      <a:pt x="259" y="10"/>
                      <a:pt x="259" y="10"/>
                    </a:cubicBezTo>
                    <a:close/>
                    <a:moveTo>
                      <a:pt x="254" y="12"/>
                    </a:moveTo>
                    <a:cubicBezTo>
                      <a:pt x="254" y="14"/>
                      <a:pt x="254" y="14"/>
                      <a:pt x="254" y="14"/>
                    </a:cubicBezTo>
                    <a:cubicBezTo>
                      <a:pt x="255" y="14"/>
                      <a:pt x="255" y="14"/>
                      <a:pt x="255" y="14"/>
                    </a:cubicBezTo>
                    <a:cubicBezTo>
                      <a:pt x="256" y="14"/>
                      <a:pt x="256" y="14"/>
                      <a:pt x="256" y="14"/>
                    </a:cubicBezTo>
                    <a:cubicBezTo>
                      <a:pt x="256" y="13"/>
                      <a:pt x="256" y="13"/>
                      <a:pt x="256" y="13"/>
                    </a:cubicBezTo>
                    <a:cubicBezTo>
                      <a:pt x="254" y="12"/>
                      <a:pt x="254" y="12"/>
                      <a:pt x="254" y="12"/>
                    </a:cubicBezTo>
                    <a:cubicBezTo>
                      <a:pt x="254" y="12"/>
                      <a:pt x="254" y="12"/>
                      <a:pt x="254" y="12"/>
                    </a:cubicBezTo>
                    <a:close/>
                    <a:moveTo>
                      <a:pt x="225" y="20"/>
                    </a:moveTo>
                    <a:cubicBezTo>
                      <a:pt x="226" y="22"/>
                      <a:pt x="226" y="22"/>
                      <a:pt x="226" y="22"/>
                    </a:cubicBezTo>
                    <a:cubicBezTo>
                      <a:pt x="227" y="23"/>
                      <a:pt x="227" y="23"/>
                      <a:pt x="227" y="23"/>
                    </a:cubicBezTo>
                    <a:cubicBezTo>
                      <a:pt x="229" y="25"/>
                      <a:pt x="229" y="25"/>
                      <a:pt x="229" y="25"/>
                    </a:cubicBezTo>
                    <a:cubicBezTo>
                      <a:pt x="231" y="26"/>
                      <a:pt x="231" y="26"/>
                      <a:pt x="231" y="26"/>
                    </a:cubicBezTo>
                    <a:cubicBezTo>
                      <a:pt x="232" y="23"/>
                      <a:pt x="232" y="23"/>
                      <a:pt x="232" y="23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32" y="19"/>
                      <a:pt x="232" y="19"/>
                      <a:pt x="232" y="19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29" y="17"/>
                      <a:pt x="229" y="17"/>
                      <a:pt x="229" y="17"/>
                    </a:cubicBezTo>
                    <a:cubicBezTo>
                      <a:pt x="228" y="17"/>
                      <a:pt x="228" y="17"/>
                      <a:pt x="228" y="17"/>
                    </a:cubicBezTo>
                    <a:cubicBezTo>
                      <a:pt x="227" y="17"/>
                      <a:pt x="227" y="17"/>
                      <a:pt x="227" y="17"/>
                    </a:cubicBezTo>
                    <a:cubicBezTo>
                      <a:pt x="227" y="19"/>
                      <a:pt x="227" y="19"/>
                      <a:pt x="227" y="19"/>
                    </a:cubicBezTo>
                    <a:cubicBezTo>
                      <a:pt x="228" y="20"/>
                      <a:pt x="228" y="20"/>
                      <a:pt x="228" y="20"/>
                    </a:cubicBezTo>
                    <a:cubicBezTo>
                      <a:pt x="227" y="21"/>
                      <a:pt x="227" y="21"/>
                      <a:pt x="227" y="21"/>
                    </a:cubicBezTo>
                    <a:cubicBezTo>
                      <a:pt x="226" y="20"/>
                      <a:pt x="226" y="20"/>
                      <a:pt x="226" y="20"/>
                    </a:cubicBezTo>
                    <a:cubicBezTo>
                      <a:pt x="225" y="20"/>
                      <a:pt x="225" y="20"/>
                      <a:pt x="225" y="20"/>
                    </a:cubicBezTo>
                    <a:close/>
                    <a:moveTo>
                      <a:pt x="223" y="22"/>
                    </a:moveTo>
                    <a:cubicBezTo>
                      <a:pt x="224" y="25"/>
                      <a:pt x="224" y="25"/>
                      <a:pt x="224" y="25"/>
                    </a:cubicBezTo>
                    <a:cubicBezTo>
                      <a:pt x="225" y="25"/>
                      <a:pt x="225" y="25"/>
                      <a:pt x="225" y="25"/>
                    </a:cubicBezTo>
                    <a:cubicBezTo>
                      <a:pt x="225" y="22"/>
                      <a:pt x="225" y="22"/>
                      <a:pt x="225" y="22"/>
                    </a:cubicBezTo>
                    <a:cubicBezTo>
                      <a:pt x="224" y="21"/>
                      <a:pt x="224" y="21"/>
                      <a:pt x="224" y="21"/>
                    </a:cubicBezTo>
                    <a:cubicBezTo>
                      <a:pt x="223" y="22"/>
                      <a:pt x="223" y="22"/>
                      <a:pt x="223" y="22"/>
                    </a:cubicBezTo>
                    <a:close/>
                    <a:moveTo>
                      <a:pt x="214" y="21"/>
                    </a:moveTo>
                    <a:cubicBezTo>
                      <a:pt x="214" y="23"/>
                      <a:pt x="214" y="23"/>
                      <a:pt x="214" y="23"/>
                    </a:cubicBezTo>
                    <a:cubicBezTo>
                      <a:pt x="216" y="23"/>
                      <a:pt x="216" y="23"/>
                      <a:pt x="216" y="23"/>
                    </a:cubicBezTo>
                    <a:cubicBezTo>
                      <a:pt x="217" y="24"/>
                      <a:pt x="217" y="24"/>
                      <a:pt x="217" y="24"/>
                    </a:cubicBezTo>
                    <a:cubicBezTo>
                      <a:pt x="219" y="24"/>
                      <a:pt x="219" y="24"/>
                      <a:pt x="219" y="24"/>
                    </a:cubicBezTo>
                    <a:cubicBezTo>
                      <a:pt x="219" y="23"/>
                      <a:pt x="219" y="23"/>
                      <a:pt x="219" y="23"/>
                    </a:cubicBezTo>
                    <a:cubicBezTo>
                      <a:pt x="217" y="22"/>
                      <a:pt x="217" y="22"/>
                      <a:pt x="217" y="22"/>
                    </a:cubicBezTo>
                    <a:cubicBezTo>
                      <a:pt x="216" y="22"/>
                      <a:pt x="216" y="22"/>
                      <a:pt x="216" y="22"/>
                    </a:cubicBezTo>
                    <a:cubicBezTo>
                      <a:pt x="216" y="20"/>
                      <a:pt x="216" y="20"/>
                      <a:pt x="216" y="20"/>
                    </a:cubicBezTo>
                    <a:cubicBezTo>
                      <a:pt x="215" y="19"/>
                      <a:pt x="215" y="19"/>
                      <a:pt x="215" y="19"/>
                    </a:cubicBezTo>
                    <a:cubicBezTo>
                      <a:pt x="214" y="20"/>
                      <a:pt x="214" y="20"/>
                      <a:pt x="214" y="20"/>
                    </a:cubicBezTo>
                    <a:cubicBezTo>
                      <a:pt x="214" y="21"/>
                      <a:pt x="214" y="21"/>
                      <a:pt x="214" y="21"/>
                    </a:cubicBezTo>
                    <a:close/>
                    <a:moveTo>
                      <a:pt x="208" y="40"/>
                    </a:moveTo>
                    <a:cubicBezTo>
                      <a:pt x="209" y="40"/>
                      <a:pt x="209" y="40"/>
                      <a:pt x="209" y="40"/>
                    </a:cubicBezTo>
                    <a:cubicBezTo>
                      <a:pt x="210" y="40"/>
                      <a:pt x="210" y="40"/>
                      <a:pt x="210" y="40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09" y="37"/>
                      <a:pt x="209" y="37"/>
                      <a:pt x="209" y="37"/>
                    </a:cubicBezTo>
                    <a:cubicBezTo>
                      <a:pt x="209" y="34"/>
                      <a:pt x="209" y="34"/>
                      <a:pt x="209" y="34"/>
                    </a:cubicBezTo>
                    <a:cubicBezTo>
                      <a:pt x="207" y="33"/>
                      <a:pt x="207" y="33"/>
                      <a:pt x="207" y="33"/>
                    </a:cubicBezTo>
                    <a:cubicBezTo>
                      <a:pt x="206" y="33"/>
                      <a:pt x="206" y="33"/>
                      <a:pt x="206" y="33"/>
                    </a:cubicBezTo>
                    <a:cubicBezTo>
                      <a:pt x="206" y="35"/>
                      <a:pt x="206" y="35"/>
                      <a:pt x="206" y="35"/>
                    </a:cubicBezTo>
                    <a:cubicBezTo>
                      <a:pt x="207" y="36"/>
                      <a:pt x="207" y="36"/>
                      <a:pt x="207" y="36"/>
                    </a:cubicBezTo>
                    <a:cubicBezTo>
                      <a:pt x="207" y="39"/>
                      <a:pt x="207" y="39"/>
                      <a:pt x="207" y="39"/>
                    </a:cubicBezTo>
                    <a:cubicBezTo>
                      <a:pt x="208" y="40"/>
                      <a:pt x="208" y="40"/>
                      <a:pt x="208" y="40"/>
                    </a:cubicBezTo>
                    <a:close/>
                    <a:moveTo>
                      <a:pt x="211" y="59"/>
                    </a:moveTo>
                    <a:cubicBezTo>
                      <a:pt x="213" y="58"/>
                      <a:pt x="213" y="58"/>
                      <a:pt x="213" y="58"/>
                    </a:cubicBezTo>
                    <a:cubicBezTo>
                      <a:pt x="214" y="57"/>
                      <a:pt x="214" y="57"/>
                      <a:pt x="214" y="57"/>
                    </a:cubicBezTo>
                    <a:cubicBezTo>
                      <a:pt x="214" y="56"/>
                      <a:pt x="214" y="56"/>
                      <a:pt x="214" y="56"/>
                    </a:cubicBezTo>
                    <a:cubicBezTo>
                      <a:pt x="212" y="55"/>
                      <a:pt x="212" y="55"/>
                      <a:pt x="212" y="55"/>
                    </a:cubicBezTo>
                    <a:cubicBezTo>
                      <a:pt x="212" y="53"/>
                      <a:pt x="212" y="53"/>
                      <a:pt x="212" y="53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0" y="53"/>
                      <a:pt x="210" y="53"/>
                      <a:pt x="210" y="53"/>
                    </a:cubicBezTo>
                    <a:cubicBezTo>
                      <a:pt x="209" y="55"/>
                      <a:pt x="209" y="55"/>
                      <a:pt x="209" y="55"/>
                    </a:cubicBezTo>
                    <a:cubicBezTo>
                      <a:pt x="209" y="56"/>
                      <a:pt x="209" y="56"/>
                      <a:pt x="209" y="56"/>
                    </a:cubicBezTo>
                    <a:cubicBezTo>
                      <a:pt x="210" y="58"/>
                      <a:pt x="210" y="58"/>
                      <a:pt x="210" y="58"/>
                    </a:cubicBezTo>
                    <a:cubicBezTo>
                      <a:pt x="211" y="59"/>
                      <a:pt x="211" y="59"/>
                      <a:pt x="211" y="59"/>
                    </a:cubicBezTo>
                    <a:close/>
                    <a:moveTo>
                      <a:pt x="211" y="61"/>
                    </a:moveTo>
                    <a:cubicBezTo>
                      <a:pt x="210" y="63"/>
                      <a:pt x="210" y="63"/>
                      <a:pt x="210" y="63"/>
                    </a:cubicBezTo>
                    <a:cubicBezTo>
                      <a:pt x="211" y="64"/>
                      <a:pt x="211" y="64"/>
                      <a:pt x="211" y="64"/>
                    </a:cubicBezTo>
                    <a:cubicBezTo>
                      <a:pt x="210" y="66"/>
                      <a:pt x="210" y="66"/>
                      <a:pt x="210" y="66"/>
                    </a:cubicBezTo>
                    <a:cubicBezTo>
                      <a:pt x="213" y="68"/>
                      <a:pt x="213" y="68"/>
                      <a:pt x="213" y="68"/>
                    </a:cubicBezTo>
                    <a:cubicBezTo>
                      <a:pt x="214" y="67"/>
                      <a:pt x="214" y="67"/>
                      <a:pt x="214" y="67"/>
                    </a:cubicBezTo>
                    <a:cubicBezTo>
                      <a:pt x="214" y="63"/>
                      <a:pt x="214" y="63"/>
                      <a:pt x="214" y="63"/>
                    </a:cubicBezTo>
                    <a:cubicBezTo>
                      <a:pt x="213" y="61"/>
                      <a:pt x="213" y="61"/>
                      <a:pt x="213" y="61"/>
                    </a:cubicBezTo>
                    <a:cubicBezTo>
                      <a:pt x="212" y="60"/>
                      <a:pt x="212" y="60"/>
                      <a:pt x="212" y="60"/>
                    </a:cubicBezTo>
                    <a:cubicBezTo>
                      <a:pt x="211" y="61"/>
                      <a:pt x="211" y="61"/>
                      <a:pt x="211" y="61"/>
                    </a:cubicBezTo>
                    <a:close/>
                    <a:moveTo>
                      <a:pt x="184" y="42"/>
                    </a:moveTo>
                    <a:cubicBezTo>
                      <a:pt x="184" y="41"/>
                      <a:pt x="184" y="41"/>
                      <a:pt x="184" y="41"/>
                    </a:cubicBezTo>
                    <a:cubicBezTo>
                      <a:pt x="184" y="41"/>
                      <a:pt x="184" y="41"/>
                      <a:pt x="184" y="41"/>
                    </a:cubicBezTo>
                    <a:cubicBezTo>
                      <a:pt x="184" y="39"/>
                      <a:pt x="184" y="39"/>
                      <a:pt x="184" y="39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2" y="39"/>
                      <a:pt x="182" y="39"/>
                      <a:pt x="182" y="39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84" y="42"/>
                      <a:pt x="184" y="42"/>
                      <a:pt x="184" y="42"/>
                    </a:cubicBezTo>
                    <a:close/>
                    <a:moveTo>
                      <a:pt x="180" y="54"/>
                    </a:moveTo>
                    <a:cubicBezTo>
                      <a:pt x="180" y="55"/>
                      <a:pt x="180" y="55"/>
                      <a:pt x="180" y="55"/>
                    </a:cubicBezTo>
                    <a:cubicBezTo>
                      <a:pt x="181" y="53"/>
                      <a:pt x="181" y="53"/>
                      <a:pt x="181" y="53"/>
                    </a:cubicBezTo>
                    <a:cubicBezTo>
                      <a:pt x="181" y="51"/>
                      <a:pt x="181" y="51"/>
                      <a:pt x="181" y="51"/>
                    </a:cubicBezTo>
                    <a:cubicBezTo>
                      <a:pt x="179" y="48"/>
                      <a:pt x="179" y="48"/>
                      <a:pt x="179" y="48"/>
                    </a:cubicBezTo>
                    <a:cubicBezTo>
                      <a:pt x="179" y="45"/>
                      <a:pt x="179" y="45"/>
                      <a:pt x="179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39"/>
                      <a:pt x="180" y="39"/>
                      <a:pt x="180" y="39"/>
                    </a:cubicBezTo>
                    <a:cubicBezTo>
                      <a:pt x="179" y="37"/>
                      <a:pt x="179" y="37"/>
                      <a:pt x="179" y="37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78" y="33"/>
                      <a:pt x="178" y="33"/>
                      <a:pt x="178" y="33"/>
                    </a:cubicBezTo>
                    <a:cubicBezTo>
                      <a:pt x="176" y="35"/>
                      <a:pt x="176" y="35"/>
                      <a:pt x="176" y="35"/>
                    </a:cubicBezTo>
                    <a:cubicBezTo>
                      <a:pt x="176" y="40"/>
                      <a:pt x="176" y="40"/>
                      <a:pt x="176" y="40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5" y="44"/>
                      <a:pt x="175" y="44"/>
                      <a:pt x="175" y="44"/>
                    </a:cubicBezTo>
                    <a:cubicBezTo>
                      <a:pt x="177" y="48"/>
                      <a:pt x="177" y="48"/>
                      <a:pt x="177" y="48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80" y="54"/>
                      <a:pt x="180" y="54"/>
                      <a:pt x="180" y="54"/>
                    </a:cubicBezTo>
                    <a:close/>
                    <a:moveTo>
                      <a:pt x="75" y="71"/>
                    </a:moveTo>
                    <a:cubicBezTo>
                      <a:pt x="76" y="72"/>
                      <a:pt x="76" y="72"/>
                      <a:pt x="76" y="72"/>
                    </a:cubicBezTo>
                    <a:cubicBezTo>
                      <a:pt x="76" y="73"/>
                      <a:pt x="76" y="73"/>
                      <a:pt x="76" y="73"/>
                    </a:cubicBezTo>
                    <a:cubicBezTo>
                      <a:pt x="78" y="74"/>
                      <a:pt x="78" y="74"/>
                      <a:pt x="78" y="74"/>
                    </a:cubicBezTo>
                    <a:cubicBezTo>
                      <a:pt x="78" y="72"/>
                      <a:pt x="78" y="72"/>
                      <a:pt x="78" y="72"/>
                    </a:cubicBezTo>
                    <a:cubicBezTo>
                      <a:pt x="77" y="70"/>
                      <a:pt x="77" y="70"/>
                      <a:pt x="77" y="70"/>
                    </a:cubicBezTo>
                    <a:cubicBezTo>
                      <a:pt x="75" y="71"/>
                      <a:pt x="75" y="71"/>
                      <a:pt x="75" y="71"/>
                    </a:cubicBezTo>
                    <a:close/>
                    <a:moveTo>
                      <a:pt x="9" y="157"/>
                    </a:moveTo>
                    <a:cubicBezTo>
                      <a:pt x="10" y="158"/>
                      <a:pt x="10" y="158"/>
                      <a:pt x="10" y="158"/>
                    </a:cubicBezTo>
                    <a:cubicBezTo>
                      <a:pt x="13" y="159"/>
                      <a:pt x="13" y="159"/>
                      <a:pt x="13" y="159"/>
                    </a:cubicBezTo>
                    <a:cubicBezTo>
                      <a:pt x="14" y="159"/>
                      <a:pt x="14" y="159"/>
                      <a:pt x="14" y="159"/>
                    </a:cubicBezTo>
                    <a:cubicBezTo>
                      <a:pt x="16" y="159"/>
                      <a:pt x="16" y="159"/>
                      <a:pt x="16" y="159"/>
                    </a:cubicBezTo>
                    <a:cubicBezTo>
                      <a:pt x="15" y="158"/>
                      <a:pt x="15" y="158"/>
                      <a:pt x="15" y="158"/>
                    </a:cubicBezTo>
                    <a:cubicBezTo>
                      <a:pt x="14" y="158"/>
                      <a:pt x="14" y="158"/>
                      <a:pt x="14" y="158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1" y="156"/>
                      <a:pt x="11" y="156"/>
                      <a:pt x="11" y="156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9" y="157"/>
                      <a:pt x="9" y="157"/>
                      <a:pt x="9" y="157"/>
                    </a:cubicBezTo>
                    <a:close/>
                    <a:moveTo>
                      <a:pt x="0" y="157"/>
                    </a:moveTo>
                    <a:cubicBezTo>
                      <a:pt x="2" y="159"/>
                      <a:pt x="2" y="159"/>
                      <a:pt x="2" y="159"/>
                    </a:cubicBezTo>
                    <a:cubicBezTo>
                      <a:pt x="4" y="159"/>
                      <a:pt x="4" y="159"/>
                      <a:pt x="4" y="159"/>
                    </a:cubicBezTo>
                    <a:cubicBezTo>
                      <a:pt x="5" y="160"/>
                      <a:pt x="5" y="160"/>
                      <a:pt x="5" y="160"/>
                    </a:cubicBezTo>
                    <a:cubicBezTo>
                      <a:pt x="8" y="159"/>
                      <a:pt x="8" y="159"/>
                      <a:pt x="8" y="159"/>
                    </a:cubicBezTo>
                    <a:cubicBezTo>
                      <a:pt x="5" y="157"/>
                      <a:pt x="5" y="157"/>
                      <a:pt x="5" y="157"/>
                    </a:cubicBezTo>
                    <a:cubicBezTo>
                      <a:pt x="3" y="156"/>
                      <a:pt x="3" y="156"/>
                      <a:pt x="3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57"/>
                      <a:pt x="0" y="157"/>
                      <a:pt x="0" y="157"/>
                    </a:cubicBezTo>
                    <a:close/>
                    <a:moveTo>
                      <a:pt x="74" y="239"/>
                    </a:moveTo>
                    <a:cubicBezTo>
                      <a:pt x="73" y="240"/>
                      <a:pt x="73" y="240"/>
                      <a:pt x="73" y="240"/>
                    </a:cubicBezTo>
                    <a:cubicBezTo>
                      <a:pt x="74" y="241"/>
                      <a:pt x="74" y="241"/>
                      <a:pt x="74" y="241"/>
                    </a:cubicBezTo>
                    <a:cubicBezTo>
                      <a:pt x="75" y="240"/>
                      <a:pt x="75" y="240"/>
                      <a:pt x="75" y="240"/>
                    </a:cubicBezTo>
                    <a:cubicBezTo>
                      <a:pt x="74" y="239"/>
                      <a:pt x="74" y="239"/>
                      <a:pt x="74" y="239"/>
                    </a:cubicBezTo>
                    <a:cubicBezTo>
                      <a:pt x="74" y="239"/>
                      <a:pt x="74" y="239"/>
                      <a:pt x="74" y="239"/>
                    </a:cubicBezTo>
                    <a:close/>
                    <a:moveTo>
                      <a:pt x="74" y="248"/>
                    </a:moveTo>
                    <a:cubicBezTo>
                      <a:pt x="75" y="248"/>
                      <a:pt x="75" y="248"/>
                      <a:pt x="75" y="248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80" y="248"/>
                      <a:pt x="80" y="248"/>
                      <a:pt x="80" y="248"/>
                    </a:cubicBezTo>
                    <a:cubicBezTo>
                      <a:pt x="81" y="249"/>
                      <a:pt x="81" y="249"/>
                      <a:pt x="81" y="249"/>
                    </a:cubicBezTo>
                    <a:cubicBezTo>
                      <a:pt x="81" y="250"/>
                      <a:pt x="81" y="250"/>
                      <a:pt x="81" y="250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1" y="247"/>
                      <a:pt x="81" y="247"/>
                      <a:pt x="81" y="247"/>
                    </a:cubicBezTo>
                    <a:cubicBezTo>
                      <a:pt x="78" y="247"/>
                      <a:pt x="78" y="247"/>
                      <a:pt x="78" y="247"/>
                    </a:cubicBezTo>
                    <a:cubicBezTo>
                      <a:pt x="77" y="247"/>
                      <a:pt x="77" y="247"/>
                      <a:pt x="77" y="247"/>
                    </a:cubicBezTo>
                    <a:cubicBezTo>
                      <a:pt x="76" y="246"/>
                      <a:pt x="76" y="246"/>
                      <a:pt x="76" y="246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74" y="247"/>
                      <a:pt x="74" y="247"/>
                      <a:pt x="74" y="247"/>
                    </a:cubicBezTo>
                    <a:cubicBezTo>
                      <a:pt x="74" y="248"/>
                      <a:pt x="74" y="248"/>
                      <a:pt x="74" y="248"/>
                    </a:cubicBezTo>
                    <a:close/>
                    <a:moveTo>
                      <a:pt x="76" y="251"/>
                    </a:moveTo>
                    <a:cubicBezTo>
                      <a:pt x="77" y="251"/>
                      <a:pt x="77" y="251"/>
                      <a:pt x="77" y="251"/>
                    </a:cubicBezTo>
                    <a:cubicBezTo>
                      <a:pt x="78" y="251"/>
                      <a:pt x="78" y="251"/>
                      <a:pt x="78" y="251"/>
                    </a:cubicBezTo>
                    <a:cubicBezTo>
                      <a:pt x="77" y="250"/>
                      <a:pt x="77" y="250"/>
                      <a:pt x="77" y="250"/>
                    </a:cubicBezTo>
                    <a:cubicBezTo>
                      <a:pt x="76" y="251"/>
                      <a:pt x="76" y="251"/>
                      <a:pt x="76" y="251"/>
                    </a:cubicBezTo>
                    <a:close/>
                    <a:moveTo>
                      <a:pt x="77" y="263"/>
                    </a:moveTo>
                    <a:cubicBezTo>
                      <a:pt x="77" y="264"/>
                      <a:pt x="77" y="264"/>
                      <a:pt x="77" y="264"/>
                    </a:cubicBezTo>
                    <a:cubicBezTo>
                      <a:pt x="79" y="264"/>
                      <a:pt x="79" y="264"/>
                      <a:pt x="79" y="264"/>
                    </a:cubicBezTo>
                    <a:cubicBezTo>
                      <a:pt x="80" y="265"/>
                      <a:pt x="80" y="265"/>
                      <a:pt x="80" y="265"/>
                    </a:cubicBezTo>
                    <a:cubicBezTo>
                      <a:pt x="81" y="265"/>
                      <a:pt x="81" y="265"/>
                      <a:pt x="81" y="265"/>
                    </a:cubicBezTo>
                    <a:cubicBezTo>
                      <a:pt x="80" y="264"/>
                      <a:pt x="80" y="264"/>
                      <a:pt x="80" y="264"/>
                    </a:cubicBezTo>
                    <a:cubicBezTo>
                      <a:pt x="78" y="263"/>
                      <a:pt x="78" y="263"/>
                      <a:pt x="78" y="263"/>
                    </a:cubicBezTo>
                    <a:cubicBezTo>
                      <a:pt x="77" y="263"/>
                      <a:pt x="77" y="263"/>
                      <a:pt x="77" y="263"/>
                    </a:cubicBezTo>
                    <a:cubicBezTo>
                      <a:pt x="77" y="263"/>
                      <a:pt x="77" y="263"/>
                      <a:pt x="77" y="263"/>
                    </a:cubicBezTo>
                    <a:close/>
                    <a:moveTo>
                      <a:pt x="75" y="268"/>
                    </a:moveTo>
                    <a:cubicBezTo>
                      <a:pt x="76" y="269"/>
                      <a:pt x="76" y="269"/>
                      <a:pt x="76" y="269"/>
                    </a:cubicBezTo>
                    <a:cubicBezTo>
                      <a:pt x="77" y="269"/>
                      <a:pt x="77" y="269"/>
                      <a:pt x="77" y="269"/>
                    </a:cubicBezTo>
                    <a:cubicBezTo>
                      <a:pt x="78" y="268"/>
                      <a:pt x="78" y="268"/>
                      <a:pt x="78" y="268"/>
                    </a:cubicBezTo>
                    <a:cubicBezTo>
                      <a:pt x="76" y="268"/>
                      <a:pt x="76" y="268"/>
                      <a:pt x="76" y="268"/>
                    </a:cubicBezTo>
                    <a:cubicBezTo>
                      <a:pt x="76" y="267"/>
                      <a:pt x="76" y="267"/>
                      <a:pt x="76" y="267"/>
                    </a:cubicBezTo>
                    <a:cubicBezTo>
                      <a:pt x="75" y="268"/>
                      <a:pt x="75" y="268"/>
                      <a:pt x="75" y="268"/>
                    </a:cubicBezTo>
                    <a:close/>
                    <a:moveTo>
                      <a:pt x="78" y="276"/>
                    </a:moveTo>
                    <a:cubicBezTo>
                      <a:pt x="78" y="276"/>
                      <a:pt x="78" y="276"/>
                      <a:pt x="78" y="276"/>
                    </a:cubicBezTo>
                    <a:cubicBezTo>
                      <a:pt x="79" y="275"/>
                      <a:pt x="79" y="275"/>
                      <a:pt x="79" y="275"/>
                    </a:cubicBezTo>
                    <a:cubicBezTo>
                      <a:pt x="78" y="274"/>
                      <a:pt x="78" y="274"/>
                      <a:pt x="78" y="274"/>
                    </a:cubicBezTo>
                    <a:cubicBezTo>
                      <a:pt x="78" y="273"/>
                      <a:pt x="78" y="273"/>
                      <a:pt x="78" y="273"/>
                    </a:cubicBezTo>
                    <a:cubicBezTo>
                      <a:pt x="78" y="274"/>
                      <a:pt x="78" y="274"/>
                      <a:pt x="78" y="274"/>
                    </a:cubicBezTo>
                    <a:cubicBezTo>
                      <a:pt x="78" y="276"/>
                      <a:pt x="78" y="276"/>
                      <a:pt x="78" y="276"/>
                    </a:cubicBezTo>
                    <a:close/>
                    <a:moveTo>
                      <a:pt x="80" y="278"/>
                    </a:moveTo>
                    <a:cubicBezTo>
                      <a:pt x="81" y="279"/>
                      <a:pt x="81" y="279"/>
                      <a:pt x="81" y="279"/>
                    </a:cubicBezTo>
                    <a:cubicBezTo>
                      <a:pt x="81" y="279"/>
                      <a:pt x="81" y="279"/>
                      <a:pt x="81" y="279"/>
                    </a:cubicBezTo>
                    <a:cubicBezTo>
                      <a:pt x="81" y="278"/>
                      <a:pt x="81" y="278"/>
                      <a:pt x="81" y="278"/>
                    </a:cubicBezTo>
                    <a:cubicBezTo>
                      <a:pt x="80" y="278"/>
                      <a:pt x="80" y="278"/>
                      <a:pt x="80" y="278"/>
                    </a:cubicBezTo>
                    <a:close/>
                    <a:moveTo>
                      <a:pt x="75" y="279"/>
                    </a:moveTo>
                    <a:cubicBezTo>
                      <a:pt x="75" y="279"/>
                      <a:pt x="75" y="279"/>
                      <a:pt x="75" y="279"/>
                    </a:cubicBezTo>
                    <a:cubicBezTo>
                      <a:pt x="75" y="278"/>
                      <a:pt x="75" y="278"/>
                      <a:pt x="75" y="278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75" y="279"/>
                      <a:pt x="75" y="279"/>
                      <a:pt x="75" y="279"/>
                    </a:cubicBezTo>
                    <a:close/>
                    <a:moveTo>
                      <a:pt x="77" y="279"/>
                    </a:moveTo>
                    <a:cubicBezTo>
                      <a:pt x="78" y="279"/>
                      <a:pt x="78" y="279"/>
                      <a:pt x="78" y="279"/>
                    </a:cubicBezTo>
                    <a:cubicBezTo>
                      <a:pt x="78" y="279"/>
                      <a:pt x="78" y="279"/>
                      <a:pt x="78" y="279"/>
                    </a:cubicBezTo>
                    <a:cubicBezTo>
                      <a:pt x="77" y="278"/>
                      <a:pt x="77" y="278"/>
                      <a:pt x="77" y="278"/>
                    </a:cubicBezTo>
                    <a:cubicBezTo>
                      <a:pt x="77" y="279"/>
                      <a:pt x="77" y="279"/>
                      <a:pt x="77" y="279"/>
                    </a:cubicBezTo>
                    <a:close/>
                    <a:moveTo>
                      <a:pt x="76" y="281"/>
                    </a:moveTo>
                    <a:cubicBezTo>
                      <a:pt x="77" y="281"/>
                      <a:pt x="77" y="281"/>
                      <a:pt x="77" y="281"/>
                    </a:cubicBezTo>
                    <a:cubicBezTo>
                      <a:pt x="77" y="280"/>
                      <a:pt x="77" y="280"/>
                      <a:pt x="77" y="280"/>
                    </a:cubicBezTo>
                    <a:cubicBezTo>
                      <a:pt x="77" y="280"/>
                      <a:pt x="77" y="280"/>
                      <a:pt x="77" y="280"/>
                    </a:cubicBezTo>
                    <a:cubicBezTo>
                      <a:pt x="76" y="281"/>
                      <a:pt x="76" y="281"/>
                      <a:pt x="76" y="281"/>
                    </a:cubicBezTo>
                    <a:close/>
                    <a:moveTo>
                      <a:pt x="78" y="285"/>
                    </a:moveTo>
                    <a:cubicBezTo>
                      <a:pt x="78" y="284"/>
                      <a:pt x="78" y="284"/>
                      <a:pt x="78" y="284"/>
                    </a:cubicBezTo>
                    <a:cubicBezTo>
                      <a:pt x="77" y="284"/>
                      <a:pt x="77" y="284"/>
                      <a:pt x="77" y="284"/>
                    </a:cubicBezTo>
                    <a:cubicBezTo>
                      <a:pt x="76" y="284"/>
                      <a:pt x="76" y="284"/>
                      <a:pt x="76" y="284"/>
                    </a:cubicBezTo>
                    <a:cubicBezTo>
                      <a:pt x="76" y="285"/>
                      <a:pt x="76" y="285"/>
                      <a:pt x="76" y="285"/>
                    </a:cubicBezTo>
                    <a:cubicBezTo>
                      <a:pt x="78" y="285"/>
                      <a:pt x="78" y="285"/>
                      <a:pt x="78" y="285"/>
                    </a:cubicBezTo>
                    <a:close/>
                    <a:moveTo>
                      <a:pt x="79" y="286"/>
                    </a:moveTo>
                    <a:cubicBezTo>
                      <a:pt x="80" y="286"/>
                      <a:pt x="80" y="286"/>
                      <a:pt x="80" y="286"/>
                    </a:cubicBezTo>
                    <a:cubicBezTo>
                      <a:pt x="81" y="285"/>
                      <a:pt x="81" y="285"/>
                      <a:pt x="81" y="285"/>
                    </a:cubicBezTo>
                    <a:cubicBezTo>
                      <a:pt x="80" y="285"/>
                      <a:pt x="80" y="285"/>
                      <a:pt x="80" y="285"/>
                    </a:cubicBezTo>
                    <a:cubicBezTo>
                      <a:pt x="78" y="286"/>
                      <a:pt x="78" y="286"/>
                      <a:pt x="78" y="286"/>
                    </a:cubicBezTo>
                    <a:cubicBezTo>
                      <a:pt x="78" y="286"/>
                      <a:pt x="79" y="286"/>
                      <a:pt x="79" y="286"/>
                    </a:cubicBezTo>
                    <a:close/>
                    <a:moveTo>
                      <a:pt x="73" y="291"/>
                    </a:moveTo>
                    <a:cubicBezTo>
                      <a:pt x="75" y="291"/>
                      <a:pt x="75" y="291"/>
                      <a:pt x="75" y="291"/>
                    </a:cubicBezTo>
                    <a:cubicBezTo>
                      <a:pt x="75" y="291"/>
                      <a:pt x="75" y="291"/>
                      <a:pt x="75" y="291"/>
                    </a:cubicBezTo>
                    <a:cubicBezTo>
                      <a:pt x="75" y="290"/>
                      <a:pt x="75" y="290"/>
                      <a:pt x="75" y="290"/>
                    </a:cubicBezTo>
                    <a:cubicBezTo>
                      <a:pt x="73" y="290"/>
                      <a:pt x="73" y="290"/>
                      <a:pt x="73" y="290"/>
                    </a:cubicBezTo>
                    <a:cubicBezTo>
                      <a:pt x="72" y="291"/>
                      <a:pt x="72" y="291"/>
                      <a:pt x="72" y="291"/>
                    </a:cubicBezTo>
                    <a:cubicBezTo>
                      <a:pt x="73" y="291"/>
                      <a:pt x="73" y="291"/>
                      <a:pt x="73" y="291"/>
                    </a:cubicBezTo>
                    <a:close/>
                    <a:moveTo>
                      <a:pt x="76" y="295"/>
                    </a:moveTo>
                    <a:cubicBezTo>
                      <a:pt x="79" y="292"/>
                      <a:pt x="79" y="292"/>
                      <a:pt x="79" y="292"/>
                    </a:cubicBezTo>
                    <a:cubicBezTo>
                      <a:pt x="81" y="290"/>
                      <a:pt x="81" y="290"/>
                      <a:pt x="81" y="290"/>
                    </a:cubicBezTo>
                    <a:cubicBezTo>
                      <a:pt x="81" y="289"/>
                      <a:pt x="81" y="289"/>
                      <a:pt x="81" y="289"/>
                    </a:cubicBezTo>
                    <a:cubicBezTo>
                      <a:pt x="79" y="289"/>
                      <a:pt x="79" y="289"/>
                      <a:pt x="79" y="289"/>
                    </a:cubicBezTo>
                    <a:cubicBezTo>
                      <a:pt x="78" y="291"/>
                      <a:pt x="78" y="291"/>
                      <a:pt x="78" y="291"/>
                    </a:cubicBezTo>
                    <a:cubicBezTo>
                      <a:pt x="77" y="291"/>
                      <a:pt x="77" y="291"/>
                      <a:pt x="77" y="291"/>
                    </a:cubicBezTo>
                    <a:cubicBezTo>
                      <a:pt x="76" y="292"/>
                      <a:pt x="76" y="292"/>
                      <a:pt x="76" y="292"/>
                    </a:cubicBezTo>
                    <a:cubicBezTo>
                      <a:pt x="75" y="293"/>
                      <a:pt x="75" y="293"/>
                      <a:pt x="75" y="293"/>
                    </a:cubicBezTo>
                    <a:cubicBezTo>
                      <a:pt x="75" y="294"/>
                      <a:pt x="75" y="294"/>
                      <a:pt x="75" y="294"/>
                    </a:cubicBezTo>
                    <a:cubicBezTo>
                      <a:pt x="75" y="295"/>
                      <a:pt x="75" y="295"/>
                      <a:pt x="75" y="295"/>
                    </a:cubicBezTo>
                    <a:cubicBezTo>
                      <a:pt x="76" y="295"/>
                      <a:pt x="76" y="295"/>
                      <a:pt x="76" y="295"/>
                    </a:cubicBezTo>
                    <a:cubicBezTo>
                      <a:pt x="76" y="295"/>
                      <a:pt x="76" y="295"/>
                      <a:pt x="76" y="295"/>
                    </a:cubicBezTo>
                    <a:close/>
                    <a:moveTo>
                      <a:pt x="79" y="294"/>
                    </a:moveTo>
                    <a:cubicBezTo>
                      <a:pt x="80" y="294"/>
                      <a:pt x="80" y="294"/>
                      <a:pt x="80" y="294"/>
                    </a:cubicBezTo>
                    <a:cubicBezTo>
                      <a:pt x="81" y="293"/>
                      <a:pt x="81" y="293"/>
                      <a:pt x="81" y="293"/>
                    </a:cubicBezTo>
                    <a:cubicBezTo>
                      <a:pt x="81" y="293"/>
                      <a:pt x="81" y="293"/>
                      <a:pt x="81" y="293"/>
                    </a:cubicBezTo>
                    <a:cubicBezTo>
                      <a:pt x="79" y="294"/>
                      <a:pt x="79" y="294"/>
                      <a:pt x="79" y="294"/>
                    </a:cubicBezTo>
                    <a:close/>
                    <a:moveTo>
                      <a:pt x="78" y="296"/>
                    </a:moveTo>
                    <a:cubicBezTo>
                      <a:pt x="79" y="296"/>
                      <a:pt x="79" y="296"/>
                      <a:pt x="79" y="296"/>
                    </a:cubicBezTo>
                    <a:cubicBezTo>
                      <a:pt x="79" y="295"/>
                      <a:pt x="79" y="295"/>
                      <a:pt x="79" y="295"/>
                    </a:cubicBezTo>
                    <a:cubicBezTo>
                      <a:pt x="78" y="295"/>
                      <a:pt x="78" y="295"/>
                      <a:pt x="78" y="295"/>
                    </a:cubicBezTo>
                    <a:cubicBezTo>
                      <a:pt x="78" y="296"/>
                      <a:pt x="78" y="296"/>
                      <a:pt x="78" y="296"/>
                    </a:cubicBezTo>
                    <a:close/>
                    <a:moveTo>
                      <a:pt x="75" y="297"/>
                    </a:moveTo>
                    <a:cubicBezTo>
                      <a:pt x="76" y="296"/>
                      <a:pt x="76" y="296"/>
                      <a:pt x="76" y="296"/>
                    </a:cubicBezTo>
                    <a:cubicBezTo>
                      <a:pt x="76" y="295"/>
                      <a:pt x="76" y="295"/>
                      <a:pt x="76" y="295"/>
                    </a:cubicBezTo>
                    <a:cubicBezTo>
                      <a:pt x="75" y="296"/>
                      <a:pt x="75" y="296"/>
                      <a:pt x="75" y="296"/>
                    </a:cubicBezTo>
                    <a:cubicBezTo>
                      <a:pt x="75" y="297"/>
                      <a:pt x="75" y="297"/>
                      <a:pt x="75" y="297"/>
                    </a:cubicBezTo>
                    <a:cubicBezTo>
                      <a:pt x="75" y="297"/>
                      <a:pt x="75" y="297"/>
                      <a:pt x="75" y="297"/>
                    </a:cubicBezTo>
                    <a:close/>
                    <a:moveTo>
                      <a:pt x="72" y="303"/>
                    </a:moveTo>
                    <a:cubicBezTo>
                      <a:pt x="72" y="305"/>
                      <a:pt x="72" y="305"/>
                      <a:pt x="72" y="305"/>
                    </a:cubicBezTo>
                    <a:cubicBezTo>
                      <a:pt x="73" y="305"/>
                      <a:pt x="73" y="305"/>
                      <a:pt x="73" y="305"/>
                    </a:cubicBezTo>
                    <a:cubicBezTo>
                      <a:pt x="75" y="303"/>
                      <a:pt x="75" y="303"/>
                      <a:pt x="75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6" y="301"/>
                      <a:pt x="76" y="301"/>
                      <a:pt x="76" y="301"/>
                    </a:cubicBezTo>
                    <a:cubicBezTo>
                      <a:pt x="75" y="302"/>
                      <a:pt x="75" y="302"/>
                      <a:pt x="75" y="302"/>
                    </a:cubicBezTo>
                    <a:cubicBezTo>
                      <a:pt x="73" y="302"/>
                      <a:pt x="73" y="302"/>
                      <a:pt x="73" y="302"/>
                    </a:cubicBezTo>
                    <a:cubicBezTo>
                      <a:pt x="73" y="303"/>
                      <a:pt x="73" y="303"/>
                      <a:pt x="73" y="303"/>
                    </a:cubicBezTo>
                    <a:cubicBezTo>
                      <a:pt x="73" y="303"/>
                      <a:pt x="72" y="304"/>
                      <a:pt x="72" y="303"/>
                    </a:cubicBezTo>
                    <a:close/>
                    <a:moveTo>
                      <a:pt x="71" y="309"/>
                    </a:moveTo>
                    <a:cubicBezTo>
                      <a:pt x="71" y="311"/>
                      <a:pt x="71" y="311"/>
                      <a:pt x="71" y="311"/>
                    </a:cubicBezTo>
                    <a:cubicBezTo>
                      <a:pt x="72" y="311"/>
                      <a:pt x="72" y="311"/>
                      <a:pt x="72" y="311"/>
                    </a:cubicBezTo>
                    <a:cubicBezTo>
                      <a:pt x="73" y="310"/>
                      <a:pt x="73" y="310"/>
                      <a:pt x="73" y="310"/>
                    </a:cubicBezTo>
                    <a:cubicBezTo>
                      <a:pt x="72" y="309"/>
                      <a:pt x="72" y="309"/>
                      <a:pt x="72" y="309"/>
                    </a:cubicBezTo>
                    <a:cubicBezTo>
                      <a:pt x="71" y="309"/>
                      <a:pt x="71" y="309"/>
                      <a:pt x="71" y="309"/>
                    </a:cubicBezTo>
                    <a:close/>
                    <a:moveTo>
                      <a:pt x="113" y="538"/>
                    </a:moveTo>
                    <a:cubicBezTo>
                      <a:pt x="115" y="537"/>
                      <a:pt x="115" y="537"/>
                      <a:pt x="115" y="537"/>
                    </a:cubicBezTo>
                    <a:cubicBezTo>
                      <a:pt x="116" y="536"/>
                      <a:pt x="116" y="536"/>
                      <a:pt x="116" y="536"/>
                    </a:cubicBezTo>
                    <a:cubicBezTo>
                      <a:pt x="117" y="537"/>
                      <a:pt x="117" y="537"/>
                      <a:pt x="117" y="537"/>
                    </a:cubicBezTo>
                    <a:cubicBezTo>
                      <a:pt x="116" y="538"/>
                      <a:pt x="116" y="538"/>
                      <a:pt x="116" y="538"/>
                    </a:cubicBezTo>
                    <a:cubicBezTo>
                      <a:pt x="115" y="538"/>
                      <a:pt x="115" y="538"/>
                      <a:pt x="115" y="538"/>
                    </a:cubicBezTo>
                    <a:cubicBezTo>
                      <a:pt x="114" y="539"/>
                      <a:pt x="114" y="539"/>
                      <a:pt x="114" y="539"/>
                    </a:cubicBezTo>
                    <a:cubicBezTo>
                      <a:pt x="113" y="538"/>
                      <a:pt x="113" y="538"/>
                      <a:pt x="113" y="538"/>
                    </a:cubicBezTo>
                    <a:close/>
                    <a:moveTo>
                      <a:pt x="103" y="532"/>
                    </a:moveTo>
                    <a:cubicBezTo>
                      <a:pt x="104" y="532"/>
                      <a:pt x="104" y="532"/>
                      <a:pt x="104" y="532"/>
                    </a:cubicBezTo>
                    <a:cubicBezTo>
                      <a:pt x="104" y="531"/>
                      <a:pt x="104" y="531"/>
                      <a:pt x="104" y="531"/>
                    </a:cubicBezTo>
                    <a:cubicBezTo>
                      <a:pt x="105" y="530"/>
                      <a:pt x="105" y="530"/>
                      <a:pt x="105" y="530"/>
                    </a:cubicBezTo>
                    <a:cubicBezTo>
                      <a:pt x="105" y="529"/>
                      <a:pt x="105" y="529"/>
                      <a:pt x="105" y="529"/>
                    </a:cubicBezTo>
                    <a:cubicBezTo>
                      <a:pt x="104" y="529"/>
                      <a:pt x="104" y="529"/>
                      <a:pt x="104" y="529"/>
                    </a:cubicBezTo>
                    <a:cubicBezTo>
                      <a:pt x="104" y="529"/>
                      <a:pt x="104" y="529"/>
                      <a:pt x="104" y="529"/>
                    </a:cubicBezTo>
                    <a:cubicBezTo>
                      <a:pt x="103" y="530"/>
                      <a:pt x="103" y="530"/>
                      <a:pt x="103" y="530"/>
                    </a:cubicBezTo>
                    <a:cubicBezTo>
                      <a:pt x="103" y="532"/>
                      <a:pt x="103" y="532"/>
                      <a:pt x="103" y="532"/>
                    </a:cubicBezTo>
                    <a:close/>
                    <a:moveTo>
                      <a:pt x="96" y="519"/>
                    </a:moveTo>
                    <a:cubicBezTo>
                      <a:pt x="96" y="519"/>
                      <a:pt x="96" y="519"/>
                      <a:pt x="96" y="519"/>
                    </a:cubicBezTo>
                    <a:cubicBezTo>
                      <a:pt x="97" y="519"/>
                      <a:pt x="97" y="519"/>
                      <a:pt x="97" y="519"/>
                    </a:cubicBezTo>
                    <a:cubicBezTo>
                      <a:pt x="99" y="519"/>
                      <a:pt x="99" y="519"/>
                      <a:pt x="99" y="519"/>
                    </a:cubicBezTo>
                    <a:cubicBezTo>
                      <a:pt x="98" y="518"/>
                      <a:pt x="98" y="518"/>
                      <a:pt x="98" y="518"/>
                    </a:cubicBezTo>
                    <a:cubicBezTo>
                      <a:pt x="97" y="518"/>
                      <a:pt x="97" y="518"/>
                      <a:pt x="97" y="518"/>
                    </a:cubicBezTo>
                    <a:cubicBezTo>
                      <a:pt x="96" y="519"/>
                      <a:pt x="96" y="519"/>
                      <a:pt x="96" y="519"/>
                    </a:cubicBezTo>
                    <a:close/>
                    <a:moveTo>
                      <a:pt x="92" y="519"/>
                    </a:moveTo>
                    <a:cubicBezTo>
                      <a:pt x="92" y="520"/>
                      <a:pt x="92" y="520"/>
                      <a:pt x="92" y="520"/>
                    </a:cubicBezTo>
                    <a:cubicBezTo>
                      <a:pt x="94" y="520"/>
                      <a:pt x="94" y="520"/>
                      <a:pt x="94" y="520"/>
                    </a:cubicBezTo>
                    <a:cubicBezTo>
                      <a:pt x="94" y="519"/>
                      <a:pt x="94" y="519"/>
                      <a:pt x="94" y="519"/>
                    </a:cubicBezTo>
                    <a:cubicBezTo>
                      <a:pt x="93" y="518"/>
                      <a:pt x="93" y="518"/>
                      <a:pt x="93" y="518"/>
                    </a:cubicBezTo>
                    <a:cubicBezTo>
                      <a:pt x="92" y="519"/>
                      <a:pt x="92" y="519"/>
                      <a:pt x="92" y="519"/>
                    </a:cubicBezTo>
                    <a:close/>
                    <a:moveTo>
                      <a:pt x="82" y="520"/>
                    </a:moveTo>
                    <a:cubicBezTo>
                      <a:pt x="82" y="520"/>
                      <a:pt x="82" y="520"/>
                      <a:pt x="82" y="520"/>
                    </a:cubicBezTo>
                    <a:cubicBezTo>
                      <a:pt x="83" y="521"/>
                      <a:pt x="83" y="521"/>
                      <a:pt x="83" y="521"/>
                    </a:cubicBezTo>
                    <a:cubicBezTo>
                      <a:pt x="83" y="522"/>
                      <a:pt x="83" y="522"/>
                      <a:pt x="83" y="522"/>
                    </a:cubicBezTo>
                    <a:cubicBezTo>
                      <a:pt x="84" y="521"/>
                      <a:pt x="84" y="521"/>
                      <a:pt x="84" y="521"/>
                    </a:cubicBezTo>
                    <a:cubicBezTo>
                      <a:pt x="84" y="520"/>
                      <a:pt x="84" y="520"/>
                      <a:pt x="84" y="520"/>
                    </a:cubicBezTo>
                    <a:cubicBezTo>
                      <a:pt x="82" y="519"/>
                      <a:pt x="82" y="519"/>
                      <a:pt x="82" y="519"/>
                    </a:cubicBezTo>
                    <a:cubicBezTo>
                      <a:pt x="82" y="520"/>
                      <a:pt x="82" y="520"/>
                      <a:pt x="82" y="520"/>
                    </a:cubicBezTo>
                    <a:close/>
                    <a:moveTo>
                      <a:pt x="68" y="459"/>
                    </a:moveTo>
                    <a:cubicBezTo>
                      <a:pt x="69" y="459"/>
                      <a:pt x="69" y="459"/>
                      <a:pt x="69" y="459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56"/>
                      <a:pt x="72" y="456"/>
                      <a:pt x="72" y="456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70" y="457"/>
                      <a:pt x="70" y="457"/>
                      <a:pt x="70" y="457"/>
                    </a:cubicBezTo>
                    <a:cubicBezTo>
                      <a:pt x="68" y="459"/>
                      <a:pt x="68" y="459"/>
                      <a:pt x="68" y="459"/>
                    </a:cubicBezTo>
                    <a:close/>
                    <a:moveTo>
                      <a:pt x="68" y="457"/>
                    </a:moveTo>
                    <a:cubicBezTo>
                      <a:pt x="68" y="457"/>
                      <a:pt x="68" y="458"/>
                      <a:pt x="68" y="458"/>
                    </a:cubicBezTo>
                    <a:cubicBezTo>
                      <a:pt x="69" y="457"/>
                      <a:pt x="69" y="457"/>
                      <a:pt x="69" y="457"/>
                    </a:cubicBezTo>
                    <a:cubicBezTo>
                      <a:pt x="70" y="457"/>
                      <a:pt x="70" y="457"/>
                      <a:pt x="70" y="457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68" y="457"/>
                      <a:pt x="68" y="457"/>
                      <a:pt x="68" y="457"/>
                    </a:cubicBezTo>
                    <a:close/>
                    <a:moveTo>
                      <a:pt x="60" y="437"/>
                    </a:moveTo>
                    <a:cubicBezTo>
                      <a:pt x="59" y="438"/>
                      <a:pt x="59" y="438"/>
                      <a:pt x="59" y="438"/>
                    </a:cubicBezTo>
                    <a:cubicBezTo>
                      <a:pt x="60" y="438"/>
                      <a:pt x="60" y="438"/>
                      <a:pt x="60" y="438"/>
                    </a:cubicBezTo>
                    <a:cubicBezTo>
                      <a:pt x="62" y="438"/>
                      <a:pt x="62" y="438"/>
                      <a:pt x="62" y="438"/>
                    </a:cubicBezTo>
                    <a:cubicBezTo>
                      <a:pt x="61" y="437"/>
                      <a:pt x="61" y="437"/>
                      <a:pt x="61" y="437"/>
                    </a:cubicBezTo>
                    <a:cubicBezTo>
                      <a:pt x="61" y="437"/>
                      <a:pt x="61" y="437"/>
                      <a:pt x="61" y="437"/>
                    </a:cubicBezTo>
                    <a:cubicBezTo>
                      <a:pt x="60" y="437"/>
                      <a:pt x="60" y="437"/>
                      <a:pt x="60" y="437"/>
                    </a:cubicBezTo>
                    <a:close/>
                    <a:moveTo>
                      <a:pt x="59" y="434"/>
                    </a:moveTo>
                    <a:cubicBezTo>
                      <a:pt x="60" y="435"/>
                      <a:pt x="60" y="435"/>
                      <a:pt x="60" y="435"/>
                    </a:cubicBezTo>
                    <a:cubicBezTo>
                      <a:pt x="61" y="436"/>
                      <a:pt x="61" y="436"/>
                      <a:pt x="61" y="436"/>
                    </a:cubicBezTo>
                    <a:cubicBezTo>
                      <a:pt x="61" y="434"/>
                      <a:pt x="61" y="434"/>
                      <a:pt x="61" y="434"/>
                    </a:cubicBezTo>
                    <a:cubicBezTo>
                      <a:pt x="60" y="434"/>
                      <a:pt x="60" y="434"/>
                      <a:pt x="60" y="434"/>
                    </a:cubicBezTo>
                    <a:cubicBezTo>
                      <a:pt x="59" y="434"/>
                      <a:pt x="59" y="434"/>
                      <a:pt x="59" y="434"/>
                    </a:cubicBezTo>
                    <a:close/>
                    <a:moveTo>
                      <a:pt x="60" y="415"/>
                    </a:moveTo>
                    <a:cubicBezTo>
                      <a:pt x="62" y="415"/>
                      <a:pt x="62" y="415"/>
                      <a:pt x="62" y="415"/>
                    </a:cubicBezTo>
                    <a:cubicBezTo>
                      <a:pt x="63" y="415"/>
                      <a:pt x="63" y="415"/>
                      <a:pt x="63" y="415"/>
                    </a:cubicBezTo>
                    <a:cubicBezTo>
                      <a:pt x="62" y="414"/>
                      <a:pt x="62" y="414"/>
                      <a:pt x="62" y="414"/>
                    </a:cubicBezTo>
                    <a:cubicBezTo>
                      <a:pt x="60" y="415"/>
                      <a:pt x="60" y="415"/>
                      <a:pt x="60" y="415"/>
                    </a:cubicBezTo>
                    <a:close/>
                    <a:moveTo>
                      <a:pt x="61" y="413"/>
                    </a:moveTo>
                    <a:cubicBezTo>
                      <a:pt x="62" y="414"/>
                      <a:pt x="62" y="414"/>
                      <a:pt x="62" y="414"/>
                    </a:cubicBezTo>
                    <a:cubicBezTo>
                      <a:pt x="63" y="414"/>
                      <a:pt x="63" y="414"/>
                      <a:pt x="63" y="414"/>
                    </a:cubicBezTo>
                    <a:cubicBezTo>
                      <a:pt x="65" y="413"/>
                      <a:pt x="65" y="413"/>
                      <a:pt x="65" y="413"/>
                    </a:cubicBezTo>
                    <a:cubicBezTo>
                      <a:pt x="63" y="412"/>
                      <a:pt x="63" y="412"/>
                      <a:pt x="63" y="412"/>
                    </a:cubicBezTo>
                    <a:cubicBezTo>
                      <a:pt x="61" y="413"/>
                      <a:pt x="61" y="413"/>
                      <a:pt x="61" y="413"/>
                    </a:cubicBezTo>
                    <a:cubicBezTo>
                      <a:pt x="61" y="413"/>
                      <a:pt x="61" y="413"/>
                      <a:pt x="61" y="413"/>
                    </a:cubicBezTo>
                    <a:close/>
                    <a:moveTo>
                      <a:pt x="58" y="412"/>
                    </a:moveTo>
                    <a:cubicBezTo>
                      <a:pt x="58" y="413"/>
                      <a:pt x="58" y="413"/>
                      <a:pt x="58" y="413"/>
                    </a:cubicBezTo>
                    <a:cubicBezTo>
                      <a:pt x="59" y="413"/>
                      <a:pt x="59" y="413"/>
                      <a:pt x="59" y="413"/>
                    </a:cubicBezTo>
                    <a:cubicBezTo>
                      <a:pt x="59" y="412"/>
                      <a:pt x="59" y="412"/>
                      <a:pt x="59" y="412"/>
                    </a:cubicBezTo>
                    <a:cubicBezTo>
                      <a:pt x="58" y="412"/>
                      <a:pt x="58" y="412"/>
                      <a:pt x="58" y="412"/>
                    </a:cubicBezTo>
                    <a:cubicBezTo>
                      <a:pt x="58" y="412"/>
                      <a:pt x="58" y="412"/>
                      <a:pt x="58" y="412"/>
                    </a:cubicBezTo>
                    <a:close/>
                    <a:moveTo>
                      <a:pt x="63" y="395"/>
                    </a:moveTo>
                    <a:cubicBezTo>
                      <a:pt x="62" y="396"/>
                      <a:pt x="62" y="396"/>
                      <a:pt x="62" y="396"/>
                    </a:cubicBezTo>
                    <a:cubicBezTo>
                      <a:pt x="63" y="396"/>
                      <a:pt x="63" y="396"/>
                      <a:pt x="63" y="396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5"/>
                      <a:pt x="65" y="395"/>
                      <a:pt x="65" y="395"/>
                    </a:cubicBezTo>
                    <a:cubicBezTo>
                      <a:pt x="65" y="394"/>
                      <a:pt x="65" y="394"/>
                      <a:pt x="65" y="394"/>
                    </a:cubicBezTo>
                    <a:cubicBezTo>
                      <a:pt x="64" y="394"/>
                      <a:pt x="64" y="394"/>
                      <a:pt x="64" y="394"/>
                    </a:cubicBezTo>
                    <a:cubicBezTo>
                      <a:pt x="63" y="395"/>
                      <a:pt x="63" y="395"/>
                      <a:pt x="63" y="395"/>
                    </a:cubicBezTo>
                    <a:close/>
                    <a:moveTo>
                      <a:pt x="78" y="388"/>
                    </a:moveTo>
                    <a:cubicBezTo>
                      <a:pt x="80" y="389"/>
                      <a:pt x="80" y="389"/>
                      <a:pt x="80" y="389"/>
                    </a:cubicBezTo>
                    <a:cubicBezTo>
                      <a:pt x="82" y="389"/>
                      <a:pt x="82" y="389"/>
                      <a:pt x="82" y="389"/>
                    </a:cubicBezTo>
                    <a:cubicBezTo>
                      <a:pt x="82" y="388"/>
                      <a:pt x="82" y="388"/>
                      <a:pt x="82" y="388"/>
                    </a:cubicBezTo>
                    <a:cubicBezTo>
                      <a:pt x="80" y="387"/>
                      <a:pt x="80" y="387"/>
                      <a:pt x="80" y="387"/>
                    </a:cubicBezTo>
                    <a:cubicBezTo>
                      <a:pt x="78" y="388"/>
                      <a:pt x="78" y="388"/>
                      <a:pt x="78" y="388"/>
                    </a:cubicBezTo>
                    <a:cubicBezTo>
                      <a:pt x="78" y="388"/>
                      <a:pt x="78" y="388"/>
                      <a:pt x="78" y="388"/>
                    </a:cubicBezTo>
                    <a:close/>
                    <a:moveTo>
                      <a:pt x="72" y="379"/>
                    </a:moveTo>
                    <a:cubicBezTo>
                      <a:pt x="72" y="380"/>
                      <a:pt x="72" y="380"/>
                      <a:pt x="72" y="380"/>
                    </a:cubicBezTo>
                    <a:cubicBezTo>
                      <a:pt x="72" y="381"/>
                      <a:pt x="72" y="381"/>
                      <a:pt x="72" y="381"/>
                    </a:cubicBezTo>
                    <a:cubicBezTo>
                      <a:pt x="75" y="380"/>
                      <a:pt x="75" y="380"/>
                      <a:pt x="75" y="380"/>
                    </a:cubicBezTo>
                    <a:cubicBezTo>
                      <a:pt x="75" y="379"/>
                      <a:pt x="75" y="379"/>
                      <a:pt x="75" y="379"/>
                    </a:cubicBezTo>
                    <a:cubicBezTo>
                      <a:pt x="73" y="379"/>
                      <a:pt x="73" y="379"/>
                      <a:pt x="73" y="379"/>
                    </a:cubicBezTo>
                    <a:cubicBezTo>
                      <a:pt x="72" y="379"/>
                      <a:pt x="72" y="379"/>
                      <a:pt x="72" y="379"/>
                    </a:cubicBezTo>
                    <a:close/>
                    <a:moveTo>
                      <a:pt x="80" y="379"/>
                    </a:moveTo>
                    <a:cubicBezTo>
                      <a:pt x="80" y="380"/>
                      <a:pt x="80" y="380"/>
                      <a:pt x="80" y="380"/>
                    </a:cubicBezTo>
                    <a:cubicBezTo>
                      <a:pt x="82" y="380"/>
                      <a:pt x="82" y="380"/>
                      <a:pt x="82" y="380"/>
                    </a:cubicBezTo>
                    <a:cubicBezTo>
                      <a:pt x="83" y="379"/>
                      <a:pt x="83" y="379"/>
                      <a:pt x="83" y="379"/>
                    </a:cubicBezTo>
                    <a:cubicBezTo>
                      <a:pt x="81" y="378"/>
                      <a:pt x="81" y="378"/>
                      <a:pt x="81" y="378"/>
                    </a:cubicBezTo>
                    <a:cubicBezTo>
                      <a:pt x="80" y="379"/>
                      <a:pt x="80" y="379"/>
                      <a:pt x="80" y="379"/>
                    </a:cubicBezTo>
                    <a:close/>
                    <a:moveTo>
                      <a:pt x="75" y="378"/>
                    </a:moveTo>
                    <a:cubicBezTo>
                      <a:pt x="78" y="379"/>
                      <a:pt x="78" y="379"/>
                      <a:pt x="78" y="379"/>
                    </a:cubicBezTo>
                    <a:cubicBezTo>
                      <a:pt x="79" y="378"/>
                      <a:pt x="79" y="378"/>
                      <a:pt x="79" y="378"/>
                    </a:cubicBezTo>
                    <a:cubicBezTo>
                      <a:pt x="80" y="377"/>
                      <a:pt x="80" y="377"/>
                      <a:pt x="80" y="377"/>
                    </a:cubicBezTo>
                    <a:cubicBezTo>
                      <a:pt x="79" y="377"/>
                      <a:pt x="79" y="377"/>
                      <a:pt x="79" y="377"/>
                    </a:cubicBezTo>
                    <a:cubicBezTo>
                      <a:pt x="77" y="376"/>
                      <a:pt x="77" y="376"/>
                      <a:pt x="77" y="376"/>
                    </a:cubicBezTo>
                    <a:cubicBezTo>
                      <a:pt x="76" y="377"/>
                      <a:pt x="76" y="377"/>
                      <a:pt x="76" y="377"/>
                    </a:cubicBezTo>
                    <a:cubicBezTo>
                      <a:pt x="75" y="378"/>
                      <a:pt x="75" y="378"/>
                      <a:pt x="75" y="378"/>
                    </a:cubicBezTo>
                    <a:close/>
                    <a:moveTo>
                      <a:pt x="92" y="339"/>
                    </a:moveTo>
                    <a:cubicBezTo>
                      <a:pt x="93" y="340"/>
                      <a:pt x="93" y="340"/>
                      <a:pt x="93" y="340"/>
                    </a:cubicBezTo>
                    <a:cubicBezTo>
                      <a:pt x="94" y="341"/>
                      <a:pt x="94" y="341"/>
                      <a:pt x="94" y="341"/>
                    </a:cubicBezTo>
                    <a:cubicBezTo>
                      <a:pt x="94" y="340"/>
                      <a:pt x="94" y="340"/>
                      <a:pt x="94" y="340"/>
                    </a:cubicBezTo>
                    <a:cubicBezTo>
                      <a:pt x="93" y="339"/>
                      <a:pt x="93" y="339"/>
                      <a:pt x="93" y="339"/>
                    </a:cubicBezTo>
                    <a:cubicBezTo>
                      <a:pt x="92" y="339"/>
                      <a:pt x="92" y="339"/>
                      <a:pt x="92" y="339"/>
                    </a:cubicBezTo>
                    <a:close/>
                    <a:moveTo>
                      <a:pt x="91" y="334"/>
                    </a:moveTo>
                    <a:cubicBezTo>
                      <a:pt x="91" y="335"/>
                      <a:pt x="91" y="335"/>
                      <a:pt x="91" y="335"/>
                    </a:cubicBezTo>
                    <a:cubicBezTo>
                      <a:pt x="93" y="337"/>
                      <a:pt x="93" y="337"/>
                      <a:pt x="93" y="337"/>
                    </a:cubicBezTo>
                    <a:cubicBezTo>
                      <a:pt x="93" y="336"/>
                      <a:pt x="93" y="336"/>
                      <a:pt x="93" y="336"/>
                    </a:cubicBezTo>
                    <a:cubicBezTo>
                      <a:pt x="93" y="335"/>
                      <a:pt x="93" y="335"/>
                      <a:pt x="93" y="335"/>
                    </a:cubicBezTo>
                    <a:cubicBezTo>
                      <a:pt x="93" y="335"/>
                      <a:pt x="91" y="334"/>
                      <a:pt x="91" y="334"/>
                    </a:cubicBezTo>
                    <a:close/>
                    <a:moveTo>
                      <a:pt x="86" y="321"/>
                    </a:moveTo>
                    <a:cubicBezTo>
                      <a:pt x="87" y="321"/>
                      <a:pt x="87" y="321"/>
                      <a:pt x="87" y="321"/>
                    </a:cubicBezTo>
                    <a:cubicBezTo>
                      <a:pt x="89" y="320"/>
                      <a:pt x="89" y="320"/>
                      <a:pt x="89" y="320"/>
                    </a:cubicBezTo>
                    <a:cubicBezTo>
                      <a:pt x="90" y="319"/>
                      <a:pt x="90" y="319"/>
                      <a:pt x="90" y="319"/>
                    </a:cubicBezTo>
                    <a:cubicBezTo>
                      <a:pt x="90" y="318"/>
                      <a:pt x="90" y="318"/>
                      <a:pt x="90" y="318"/>
                    </a:cubicBezTo>
                    <a:cubicBezTo>
                      <a:pt x="88" y="318"/>
                      <a:pt x="88" y="318"/>
                      <a:pt x="88" y="318"/>
                    </a:cubicBezTo>
                    <a:cubicBezTo>
                      <a:pt x="87" y="317"/>
                      <a:pt x="87" y="317"/>
                      <a:pt x="87" y="317"/>
                    </a:cubicBezTo>
                    <a:cubicBezTo>
                      <a:pt x="86" y="318"/>
                      <a:pt x="86" y="318"/>
                      <a:pt x="86" y="318"/>
                    </a:cubicBezTo>
                    <a:cubicBezTo>
                      <a:pt x="85" y="320"/>
                      <a:pt x="85" y="320"/>
                      <a:pt x="85" y="320"/>
                    </a:cubicBezTo>
                    <a:cubicBezTo>
                      <a:pt x="86" y="321"/>
                      <a:pt x="86" y="321"/>
                      <a:pt x="86" y="321"/>
                    </a:cubicBezTo>
                    <a:close/>
                    <a:moveTo>
                      <a:pt x="86" y="329"/>
                    </a:moveTo>
                    <a:cubicBezTo>
                      <a:pt x="87" y="329"/>
                      <a:pt x="87" y="329"/>
                      <a:pt x="87" y="329"/>
                    </a:cubicBezTo>
                    <a:cubicBezTo>
                      <a:pt x="89" y="329"/>
                      <a:pt x="89" y="329"/>
                      <a:pt x="89" y="329"/>
                    </a:cubicBezTo>
                    <a:cubicBezTo>
                      <a:pt x="90" y="327"/>
                      <a:pt x="90" y="327"/>
                      <a:pt x="90" y="327"/>
                    </a:cubicBezTo>
                    <a:cubicBezTo>
                      <a:pt x="90" y="325"/>
                      <a:pt x="90" y="325"/>
                      <a:pt x="90" y="325"/>
                    </a:cubicBezTo>
                    <a:cubicBezTo>
                      <a:pt x="88" y="325"/>
                      <a:pt x="88" y="325"/>
                      <a:pt x="88" y="325"/>
                    </a:cubicBezTo>
                    <a:cubicBezTo>
                      <a:pt x="87" y="325"/>
                      <a:pt x="87" y="325"/>
                      <a:pt x="87" y="325"/>
                    </a:cubicBezTo>
                    <a:cubicBezTo>
                      <a:pt x="86" y="329"/>
                      <a:pt x="86" y="329"/>
                      <a:pt x="86" y="329"/>
                    </a:cubicBezTo>
                    <a:close/>
                    <a:moveTo>
                      <a:pt x="80" y="329"/>
                    </a:moveTo>
                    <a:cubicBezTo>
                      <a:pt x="82" y="330"/>
                      <a:pt x="82" y="330"/>
                      <a:pt x="82" y="330"/>
                    </a:cubicBezTo>
                    <a:cubicBezTo>
                      <a:pt x="83" y="328"/>
                      <a:pt x="83" y="328"/>
                      <a:pt x="83" y="328"/>
                    </a:cubicBezTo>
                    <a:cubicBezTo>
                      <a:pt x="83" y="327"/>
                      <a:pt x="83" y="327"/>
                      <a:pt x="83" y="327"/>
                    </a:cubicBezTo>
                    <a:cubicBezTo>
                      <a:pt x="83" y="324"/>
                      <a:pt x="83" y="324"/>
                      <a:pt x="83" y="324"/>
                    </a:cubicBezTo>
                    <a:cubicBezTo>
                      <a:pt x="81" y="326"/>
                      <a:pt x="81" y="326"/>
                      <a:pt x="81" y="326"/>
                    </a:cubicBezTo>
                    <a:cubicBezTo>
                      <a:pt x="80" y="327"/>
                      <a:pt x="80" y="327"/>
                      <a:pt x="80" y="327"/>
                    </a:cubicBezTo>
                    <a:cubicBezTo>
                      <a:pt x="80" y="329"/>
                      <a:pt x="80" y="329"/>
                      <a:pt x="80" y="329"/>
                    </a:cubicBezTo>
                    <a:close/>
                    <a:moveTo>
                      <a:pt x="68" y="338"/>
                    </a:moveTo>
                    <a:cubicBezTo>
                      <a:pt x="68" y="339"/>
                      <a:pt x="68" y="339"/>
                      <a:pt x="68" y="339"/>
                    </a:cubicBezTo>
                    <a:cubicBezTo>
                      <a:pt x="69" y="341"/>
                      <a:pt x="69" y="341"/>
                      <a:pt x="69" y="341"/>
                    </a:cubicBezTo>
                    <a:cubicBezTo>
                      <a:pt x="70" y="341"/>
                      <a:pt x="70" y="341"/>
                      <a:pt x="70" y="341"/>
                    </a:cubicBezTo>
                    <a:cubicBezTo>
                      <a:pt x="70" y="340"/>
                      <a:pt x="70" y="340"/>
                      <a:pt x="70" y="340"/>
                    </a:cubicBezTo>
                    <a:cubicBezTo>
                      <a:pt x="69" y="338"/>
                      <a:pt x="69" y="338"/>
                      <a:pt x="69" y="338"/>
                    </a:cubicBezTo>
                    <a:cubicBezTo>
                      <a:pt x="68" y="338"/>
                      <a:pt x="68" y="338"/>
                      <a:pt x="68" y="338"/>
                    </a:cubicBezTo>
                    <a:close/>
                    <a:moveTo>
                      <a:pt x="91" y="357"/>
                    </a:moveTo>
                    <a:cubicBezTo>
                      <a:pt x="91" y="358"/>
                      <a:pt x="91" y="358"/>
                      <a:pt x="91" y="358"/>
                    </a:cubicBezTo>
                    <a:cubicBezTo>
                      <a:pt x="92" y="358"/>
                      <a:pt x="92" y="358"/>
                      <a:pt x="92" y="358"/>
                    </a:cubicBezTo>
                    <a:cubicBezTo>
                      <a:pt x="92" y="359"/>
                      <a:pt x="92" y="359"/>
                      <a:pt x="92" y="359"/>
                    </a:cubicBezTo>
                    <a:cubicBezTo>
                      <a:pt x="92" y="361"/>
                      <a:pt x="92" y="361"/>
                      <a:pt x="92" y="361"/>
                    </a:cubicBezTo>
                    <a:cubicBezTo>
                      <a:pt x="92" y="362"/>
                      <a:pt x="92" y="362"/>
                      <a:pt x="92" y="362"/>
                    </a:cubicBezTo>
                    <a:cubicBezTo>
                      <a:pt x="93" y="361"/>
                      <a:pt x="93" y="361"/>
                      <a:pt x="93" y="361"/>
                    </a:cubicBezTo>
                    <a:cubicBezTo>
                      <a:pt x="94" y="358"/>
                      <a:pt x="94" y="358"/>
                      <a:pt x="94" y="358"/>
                    </a:cubicBezTo>
                    <a:cubicBezTo>
                      <a:pt x="96" y="356"/>
                      <a:pt x="96" y="356"/>
                      <a:pt x="96" y="356"/>
                    </a:cubicBezTo>
                    <a:cubicBezTo>
                      <a:pt x="95" y="356"/>
                      <a:pt x="95" y="356"/>
                      <a:pt x="95" y="356"/>
                    </a:cubicBezTo>
                    <a:cubicBezTo>
                      <a:pt x="94" y="356"/>
                      <a:pt x="94" y="356"/>
                      <a:pt x="94" y="356"/>
                    </a:cubicBezTo>
                    <a:cubicBezTo>
                      <a:pt x="92" y="356"/>
                      <a:pt x="92" y="356"/>
                      <a:pt x="92" y="356"/>
                    </a:cubicBezTo>
                    <a:cubicBezTo>
                      <a:pt x="91" y="357"/>
                      <a:pt x="91" y="357"/>
                      <a:pt x="91" y="357"/>
                    </a:cubicBezTo>
                    <a:close/>
                    <a:moveTo>
                      <a:pt x="68" y="364"/>
                    </a:moveTo>
                    <a:cubicBezTo>
                      <a:pt x="69" y="364"/>
                      <a:pt x="69" y="364"/>
                      <a:pt x="69" y="364"/>
                    </a:cubicBezTo>
                    <a:cubicBezTo>
                      <a:pt x="72" y="365"/>
                      <a:pt x="72" y="365"/>
                      <a:pt x="72" y="365"/>
                    </a:cubicBezTo>
                    <a:cubicBezTo>
                      <a:pt x="72" y="366"/>
                      <a:pt x="72" y="366"/>
                      <a:pt x="72" y="366"/>
                    </a:cubicBezTo>
                    <a:cubicBezTo>
                      <a:pt x="74" y="367"/>
                      <a:pt x="74" y="367"/>
                      <a:pt x="74" y="367"/>
                    </a:cubicBezTo>
                    <a:cubicBezTo>
                      <a:pt x="75" y="366"/>
                      <a:pt x="75" y="366"/>
                      <a:pt x="75" y="366"/>
                    </a:cubicBezTo>
                    <a:cubicBezTo>
                      <a:pt x="81" y="365"/>
                      <a:pt x="81" y="365"/>
                      <a:pt x="81" y="365"/>
                    </a:cubicBezTo>
                    <a:cubicBezTo>
                      <a:pt x="83" y="365"/>
                      <a:pt x="83" y="365"/>
                      <a:pt x="83" y="365"/>
                    </a:cubicBezTo>
                    <a:cubicBezTo>
                      <a:pt x="87" y="362"/>
                      <a:pt x="87" y="362"/>
                      <a:pt x="87" y="362"/>
                    </a:cubicBezTo>
                    <a:cubicBezTo>
                      <a:pt x="86" y="359"/>
                      <a:pt x="86" y="359"/>
                      <a:pt x="86" y="359"/>
                    </a:cubicBezTo>
                    <a:cubicBezTo>
                      <a:pt x="85" y="356"/>
                      <a:pt x="85" y="356"/>
                      <a:pt x="85" y="356"/>
                    </a:cubicBezTo>
                    <a:cubicBezTo>
                      <a:pt x="83" y="356"/>
                      <a:pt x="83" y="356"/>
                      <a:pt x="83" y="356"/>
                    </a:cubicBezTo>
                    <a:cubicBezTo>
                      <a:pt x="81" y="355"/>
                      <a:pt x="81" y="355"/>
                      <a:pt x="81" y="355"/>
                    </a:cubicBezTo>
                    <a:cubicBezTo>
                      <a:pt x="80" y="351"/>
                      <a:pt x="80" y="351"/>
                      <a:pt x="80" y="351"/>
                    </a:cubicBezTo>
                    <a:cubicBezTo>
                      <a:pt x="78" y="347"/>
                      <a:pt x="78" y="347"/>
                      <a:pt x="78" y="347"/>
                    </a:cubicBezTo>
                    <a:cubicBezTo>
                      <a:pt x="75" y="347"/>
                      <a:pt x="75" y="347"/>
                      <a:pt x="75" y="347"/>
                    </a:cubicBezTo>
                    <a:cubicBezTo>
                      <a:pt x="74" y="345"/>
                      <a:pt x="74" y="345"/>
                      <a:pt x="74" y="345"/>
                    </a:cubicBezTo>
                    <a:cubicBezTo>
                      <a:pt x="71" y="344"/>
                      <a:pt x="71" y="344"/>
                      <a:pt x="71" y="344"/>
                    </a:cubicBezTo>
                    <a:cubicBezTo>
                      <a:pt x="69" y="343"/>
                      <a:pt x="69" y="343"/>
                      <a:pt x="69" y="343"/>
                    </a:cubicBezTo>
                    <a:cubicBezTo>
                      <a:pt x="68" y="345"/>
                      <a:pt x="68" y="345"/>
                      <a:pt x="68" y="345"/>
                    </a:cubicBezTo>
                    <a:cubicBezTo>
                      <a:pt x="66" y="347"/>
                      <a:pt x="66" y="347"/>
                      <a:pt x="66" y="347"/>
                    </a:cubicBezTo>
                    <a:cubicBezTo>
                      <a:pt x="66" y="349"/>
                      <a:pt x="66" y="349"/>
                      <a:pt x="66" y="349"/>
                    </a:cubicBezTo>
                    <a:cubicBezTo>
                      <a:pt x="68" y="350"/>
                      <a:pt x="68" y="350"/>
                      <a:pt x="68" y="350"/>
                    </a:cubicBezTo>
                    <a:cubicBezTo>
                      <a:pt x="69" y="352"/>
                      <a:pt x="69" y="352"/>
                      <a:pt x="69" y="352"/>
                    </a:cubicBezTo>
                    <a:cubicBezTo>
                      <a:pt x="67" y="351"/>
                      <a:pt x="67" y="351"/>
                      <a:pt x="67" y="351"/>
                    </a:cubicBezTo>
                    <a:cubicBezTo>
                      <a:pt x="66" y="352"/>
                      <a:pt x="66" y="352"/>
                      <a:pt x="66" y="352"/>
                    </a:cubicBezTo>
                    <a:cubicBezTo>
                      <a:pt x="66" y="353"/>
                      <a:pt x="66" y="353"/>
                      <a:pt x="66" y="353"/>
                    </a:cubicBezTo>
                    <a:cubicBezTo>
                      <a:pt x="65" y="355"/>
                      <a:pt x="65" y="355"/>
                      <a:pt x="65" y="355"/>
                    </a:cubicBezTo>
                    <a:cubicBezTo>
                      <a:pt x="68" y="356"/>
                      <a:pt x="68" y="356"/>
                      <a:pt x="68" y="356"/>
                    </a:cubicBezTo>
                    <a:cubicBezTo>
                      <a:pt x="66" y="357"/>
                      <a:pt x="66" y="357"/>
                      <a:pt x="66" y="357"/>
                    </a:cubicBezTo>
                    <a:cubicBezTo>
                      <a:pt x="65" y="358"/>
                      <a:pt x="65" y="358"/>
                      <a:pt x="65" y="358"/>
                    </a:cubicBezTo>
                    <a:cubicBezTo>
                      <a:pt x="66" y="359"/>
                      <a:pt x="66" y="359"/>
                      <a:pt x="66" y="359"/>
                    </a:cubicBezTo>
                    <a:cubicBezTo>
                      <a:pt x="71" y="360"/>
                      <a:pt x="71" y="360"/>
                      <a:pt x="71" y="360"/>
                    </a:cubicBezTo>
                    <a:cubicBezTo>
                      <a:pt x="72" y="361"/>
                      <a:pt x="72" y="361"/>
                      <a:pt x="72" y="361"/>
                    </a:cubicBezTo>
                    <a:cubicBezTo>
                      <a:pt x="73" y="362"/>
                      <a:pt x="73" y="362"/>
                      <a:pt x="73" y="362"/>
                    </a:cubicBezTo>
                    <a:cubicBezTo>
                      <a:pt x="76" y="360"/>
                      <a:pt x="76" y="360"/>
                      <a:pt x="76" y="360"/>
                    </a:cubicBezTo>
                    <a:cubicBezTo>
                      <a:pt x="74" y="363"/>
                      <a:pt x="74" y="363"/>
                      <a:pt x="74" y="363"/>
                    </a:cubicBezTo>
                    <a:cubicBezTo>
                      <a:pt x="72" y="363"/>
                      <a:pt x="72" y="363"/>
                      <a:pt x="72" y="363"/>
                    </a:cubicBezTo>
                    <a:cubicBezTo>
                      <a:pt x="69" y="362"/>
                      <a:pt x="69" y="362"/>
                      <a:pt x="69" y="362"/>
                    </a:cubicBezTo>
                    <a:cubicBezTo>
                      <a:pt x="68" y="362"/>
                      <a:pt x="68" y="362"/>
                      <a:pt x="68" y="362"/>
                    </a:cubicBezTo>
                    <a:lnTo>
                      <a:pt x="68" y="36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1" name="Freeform 315">
                <a:extLst>
                  <a:ext uri="{FF2B5EF4-FFF2-40B4-BE49-F238E27FC236}">
                    <a16:creationId xmlns:a16="http://schemas.microsoft.com/office/drawing/2014/main" xmlns="" id="{9C51753F-16C1-486B-AD95-F653044D4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1" y="0"/>
                <a:ext cx="1375" cy="1304"/>
              </a:xfrm>
              <a:custGeom>
                <a:avLst/>
                <a:gdLst>
                  <a:gd name="T0" fmla="*/ 616 w 842"/>
                  <a:gd name="T1" fmla="*/ 55 h 798"/>
                  <a:gd name="T2" fmla="*/ 617 w 842"/>
                  <a:gd name="T3" fmla="*/ 135 h 798"/>
                  <a:gd name="T4" fmla="*/ 615 w 842"/>
                  <a:gd name="T5" fmla="*/ 149 h 798"/>
                  <a:gd name="T6" fmla="*/ 657 w 842"/>
                  <a:gd name="T7" fmla="*/ 93 h 798"/>
                  <a:gd name="T8" fmla="*/ 659 w 842"/>
                  <a:gd name="T9" fmla="*/ 53 h 798"/>
                  <a:gd name="T10" fmla="*/ 712 w 842"/>
                  <a:gd name="T11" fmla="*/ 23 h 798"/>
                  <a:gd name="T12" fmla="*/ 828 w 842"/>
                  <a:gd name="T13" fmla="*/ 30 h 798"/>
                  <a:gd name="T14" fmla="*/ 722 w 842"/>
                  <a:gd name="T15" fmla="*/ 114 h 798"/>
                  <a:gd name="T16" fmla="*/ 648 w 842"/>
                  <a:gd name="T17" fmla="*/ 166 h 798"/>
                  <a:gd name="T18" fmla="*/ 673 w 842"/>
                  <a:gd name="T19" fmla="*/ 372 h 798"/>
                  <a:gd name="T20" fmla="*/ 590 w 842"/>
                  <a:gd name="T21" fmla="*/ 154 h 798"/>
                  <a:gd name="T22" fmla="*/ 527 w 842"/>
                  <a:gd name="T23" fmla="*/ 106 h 798"/>
                  <a:gd name="T24" fmla="*/ 440 w 842"/>
                  <a:gd name="T25" fmla="*/ 97 h 798"/>
                  <a:gd name="T26" fmla="*/ 575 w 842"/>
                  <a:gd name="T27" fmla="*/ 176 h 798"/>
                  <a:gd name="T28" fmla="*/ 597 w 842"/>
                  <a:gd name="T29" fmla="*/ 241 h 798"/>
                  <a:gd name="T30" fmla="*/ 362 w 842"/>
                  <a:gd name="T31" fmla="*/ 128 h 798"/>
                  <a:gd name="T32" fmla="*/ 523 w 842"/>
                  <a:gd name="T33" fmla="*/ 199 h 798"/>
                  <a:gd name="T34" fmla="*/ 486 w 842"/>
                  <a:gd name="T35" fmla="*/ 175 h 798"/>
                  <a:gd name="T36" fmla="*/ 467 w 842"/>
                  <a:gd name="T37" fmla="*/ 182 h 798"/>
                  <a:gd name="T38" fmla="*/ 441 w 842"/>
                  <a:gd name="T39" fmla="*/ 155 h 798"/>
                  <a:gd name="T40" fmla="*/ 318 w 842"/>
                  <a:gd name="T41" fmla="*/ 172 h 798"/>
                  <a:gd name="T42" fmla="*/ 453 w 842"/>
                  <a:gd name="T43" fmla="*/ 249 h 798"/>
                  <a:gd name="T44" fmla="*/ 484 w 842"/>
                  <a:gd name="T45" fmla="*/ 260 h 798"/>
                  <a:gd name="T46" fmla="*/ 607 w 842"/>
                  <a:gd name="T47" fmla="*/ 277 h 798"/>
                  <a:gd name="T48" fmla="*/ 582 w 842"/>
                  <a:gd name="T49" fmla="*/ 358 h 798"/>
                  <a:gd name="T50" fmla="*/ 418 w 842"/>
                  <a:gd name="T51" fmla="*/ 364 h 798"/>
                  <a:gd name="T52" fmla="*/ 411 w 842"/>
                  <a:gd name="T53" fmla="*/ 268 h 798"/>
                  <a:gd name="T54" fmla="*/ 354 w 842"/>
                  <a:gd name="T55" fmla="*/ 214 h 798"/>
                  <a:gd name="T56" fmla="*/ 310 w 842"/>
                  <a:gd name="T57" fmla="*/ 320 h 798"/>
                  <a:gd name="T58" fmla="*/ 399 w 842"/>
                  <a:gd name="T59" fmla="*/ 343 h 798"/>
                  <a:gd name="T60" fmla="*/ 606 w 842"/>
                  <a:gd name="T61" fmla="*/ 480 h 798"/>
                  <a:gd name="T62" fmla="*/ 613 w 842"/>
                  <a:gd name="T63" fmla="*/ 379 h 798"/>
                  <a:gd name="T64" fmla="*/ 529 w 842"/>
                  <a:gd name="T65" fmla="*/ 333 h 798"/>
                  <a:gd name="T66" fmla="*/ 565 w 842"/>
                  <a:gd name="T67" fmla="*/ 295 h 798"/>
                  <a:gd name="T68" fmla="*/ 629 w 842"/>
                  <a:gd name="T69" fmla="*/ 296 h 798"/>
                  <a:gd name="T70" fmla="*/ 648 w 842"/>
                  <a:gd name="T71" fmla="*/ 353 h 798"/>
                  <a:gd name="T72" fmla="*/ 667 w 842"/>
                  <a:gd name="T73" fmla="*/ 389 h 798"/>
                  <a:gd name="T74" fmla="*/ 699 w 842"/>
                  <a:gd name="T75" fmla="*/ 437 h 798"/>
                  <a:gd name="T76" fmla="*/ 670 w 842"/>
                  <a:gd name="T77" fmla="*/ 439 h 798"/>
                  <a:gd name="T78" fmla="*/ 652 w 842"/>
                  <a:gd name="T79" fmla="*/ 499 h 798"/>
                  <a:gd name="T80" fmla="*/ 528 w 842"/>
                  <a:gd name="T81" fmla="*/ 457 h 798"/>
                  <a:gd name="T82" fmla="*/ 618 w 842"/>
                  <a:gd name="T83" fmla="*/ 543 h 798"/>
                  <a:gd name="T84" fmla="*/ 501 w 842"/>
                  <a:gd name="T85" fmla="*/ 604 h 798"/>
                  <a:gd name="T86" fmla="*/ 666 w 842"/>
                  <a:gd name="T87" fmla="*/ 732 h 798"/>
                  <a:gd name="T88" fmla="*/ 712 w 842"/>
                  <a:gd name="T89" fmla="*/ 733 h 798"/>
                  <a:gd name="T90" fmla="*/ 695 w 842"/>
                  <a:gd name="T91" fmla="*/ 686 h 798"/>
                  <a:gd name="T92" fmla="*/ 78 w 842"/>
                  <a:gd name="T93" fmla="*/ 661 h 798"/>
                  <a:gd name="T94" fmla="*/ 45 w 842"/>
                  <a:gd name="T95" fmla="*/ 592 h 798"/>
                  <a:gd name="T96" fmla="*/ 144 w 842"/>
                  <a:gd name="T97" fmla="*/ 275 h 798"/>
                  <a:gd name="T98" fmla="*/ 61 w 842"/>
                  <a:gd name="T99" fmla="*/ 604 h 798"/>
                  <a:gd name="T100" fmla="*/ 148 w 842"/>
                  <a:gd name="T101" fmla="*/ 285 h 798"/>
                  <a:gd name="T102" fmla="*/ 245 w 842"/>
                  <a:gd name="T103" fmla="*/ 288 h 798"/>
                  <a:gd name="T104" fmla="*/ 370 w 842"/>
                  <a:gd name="T105" fmla="*/ 338 h 798"/>
                  <a:gd name="T106" fmla="*/ 439 w 842"/>
                  <a:gd name="T107" fmla="*/ 386 h 798"/>
                  <a:gd name="T108" fmla="*/ 493 w 842"/>
                  <a:gd name="T109" fmla="*/ 326 h 798"/>
                  <a:gd name="T110" fmla="*/ 564 w 842"/>
                  <a:gd name="T111" fmla="*/ 365 h 798"/>
                  <a:gd name="T112" fmla="*/ 473 w 842"/>
                  <a:gd name="T113" fmla="*/ 455 h 798"/>
                  <a:gd name="T114" fmla="*/ 390 w 842"/>
                  <a:gd name="T115" fmla="*/ 577 h 798"/>
                  <a:gd name="T116" fmla="*/ 538 w 842"/>
                  <a:gd name="T117" fmla="*/ 547 h 798"/>
                  <a:gd name="T118" fmla="*/ 641 w 842"/>
                  <a:gd name="T119" fmla="*/ 552 h 798"/>
                  <a:gd name="T120" fmla="*/ 683 w 842"/>
                  <a:gd name="T121" fmla="*/ 636 h 798"/>
                  <a:gd name="T122" fmla="*/ 601 w 842"/>
                  <a:gd name="T123" fmla="*/ 694 h 798"/>
                  <a:gd name="T124" fmla="*/ 614 w 842"/>
                  <a:gd name="T125" fmla="*/ 762 h 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42" h="798">
                    <a:moveTo>
                      <a:pt x="609" y="140"/>
                    </a:moveTo>
                    <a:cubicBezTo>
                      <a:pt x="610" y="139"/>
                      <a:pt x="610" y="139"/>
                      <a:pt x="610" y="139"/>
                    </a:cubicBezTo>
                    <a:cubicBezTo>
                      <a:pt x="611" y="137"/>
                      <a:pt x="611" y="137"/>
                      <a:pt x="611" y="137"/>
                    </a:cubicBezTo>
                    <a:cubicBezTo>
                      <a:pt x="614" y="133"/>
                      <a:pt x="614" y="133"/>
                      <a:pt x="614" y="133"/>
                    </a:cubicBezTo>
                    <a:cubicBezTo>
                      <a:pt x="616" y="128"/>
                      <a:pt x="616" y="128"/>
                      <a:pt x="616" y="128"/>
                    </a:cubicBezTo>
                    <a:cubicBezTo>
                      <a:pt x="617" y="128"/>
                      <a:pt x="617" y="128"/>
                      <a:pt x="617" y="128"/>
                    </a:cubicBezTo>
                    <a:cubicBezTo>
                      <a:pt x="617" y="129"/>
                      <a:pt x="617" y="129"/>
                      <a:pt x="617" y="129"/>
                    </a:cubicBezTo>
                    <a:cubicBezTo>
                      <a:pt x="616" y="132"/>
                      <a:pt x="616" y="132"/>
                      <a:pt x="616" y="132"/>
                    </a:cubicBezTo>
                    <a:cubicBezTo>
                      <a:pt x="616" y="133"/>
                      <a:pt x="616" y="133"/>
                      <a:pt x="6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cubicBezTo>
                      <a:pt x="620" y="131"/>
                      <a:pt x="620" y="131"/>
                      <a:pt x="620" y="131"/>
                    </a:cubicBezTo>
                    <a:cubicBezTo>
                      <a:pt x="622" y="130"/>
                      <a:pt x="622" y="130"/>
                      <a:pt x="622" y="130"/>
                    </a:cubicBezTo>
                    <a:cubicBezTo>
                      <a:pt x="621" y="128"/>
                      <a:pt x="621" y="128"/>
                      <a:pt x="621" y="128"/>
                    </a:cubicBezTo>
                    <a:cubicBezTo>
                      <a:pt x="620" y="128"/>
                      <a:pt x="620" y="128"/>
                      <a:pt x="620" y="128"/>
                    </a:cubicBezTo>
                    <a:cubicBezTo>
                      <a:pt x="620" y="127"/>
                      <a:pt x="620" y="127"/>
                      <a:pt x="620" y="127"/>
                    </a:cubicBezTo>
                    <a:cubicBezTo>
                      <a:pt x="622" y="126"/>
                      <a:pt x="622" y="126"/>
                      <a:pt x="622" y="126"/>
                    </a:cubicBezTo>
                    <a:cubicBezTo>
                      <a:pt x="622" y="124"/>
                      <a:pt x="622" y="124"/>
                      <a:pt x="622" y="124"/>
                    </a:cubicBezTo>
                    <a:cubicBezTo>
                      <a:pt x="621" y="122"/>
                      <a:pt x="621" y="122"/>
                      <a:pt x="621" y="122"/>
                    </a:cubicBezTo>
                    <a:cubicBezTo>
                      <a:pt x="621" y="121"/>
                      <a:pt x="621" y="121"/>
                      <a:pt x="621" y="121"/>
                    </a:cubicBezTo>
                    <a:cubicBezTo>
                      <a:pt x="624" y="119"/>
                      <a:pt x="624" y="119"/>
                      <a:pt x="624" y="119"/>
                    </a:cubicBezTo>
                    <a:cubicBezTo>
                      <a:pt x="624" y="115"/>
                      <a:pt x="624" y="115"/>
                      <a:pt x="624" y="115"/>
                    </a:cubicBezTo>
                    <a:cubicBezTo>
                      <a:pt x="626" y="115"/>
                      <a:pt x="626" y="115"/>
                      <a:pt x="626" y="115"/>
                    </a:cubicBezTo>
                    <a:cubicBezTo>
                      <a:pt x="627" y="113"/>
                      <a:pt x="627" y="113"/>
                      <a:pt x="627" y="113"/>
                    </a:cubicBezTo>
                    <a:cubicBezTo>
                      <a:pt x="627" y="115"/>
                      <a:pt x="627" y="115"/>
                      <a:pt x="627" y="115"/>
                    </a:cubicBezTo>
                    <a:cubicBezTo>
                      <a:pt x="627" y="116"/>
                      <a:pt x="627" y="116"/>
                      <a:pt x="627" y="116"/>
                    </a:cubicBezTo>
                    <a:cubicBezTo>
                      <a:pt x="626" y="116"/>
                      <a:pt x="626" y="116"/>
                      <a:pt x="626" y="116"/>
                    </a:cubicBezTo>
                    <a:cubicBezTo>
                      <a:pt x="625" y="120"/>
                      <a:pt x="625" y="120"/>
                      <a:pt x="625" y="120"/>
                    </a:cubicBezTo>
                    <a:cubicBezTo>
                      <a:pt x="623" y="122"/>
                      <a:pt x="623" y="122"/>
                      <a:pt x="623" y="122"/>
                    </a:cubicBezTo>
                    <a:cubicBezTo>
                      <a:pt x="623" y="125"/>
                      <a:pt x="623" y="125"/>
                      <a:pt x="623" y="125"/>
                    </a:cubicBezTo>
                    <a:cubicBezTo>
                      <a:pt x="624" y="126"/>
                      <a:pt x="624" y="126"/>
                      <a:pt x="624" y="126"/>
                    </a:cubicBezTo>
                    <a:cubicBezTo>
                      <a:pt x="624" y="129"/>
                      <a:pt x="624" y="129"/>
                      <a:pt x="624" y="129"/>
                    </a:cubicBezTo>
                    <a:cubicBezTo>
                      <a:pt x="625" y="128"/>
                      <a:pt x="625" y="128"/>
                      <a:pt x="625" y="128"/>
                    </a:cubicBezTo>
                    <a:cubicBezTo>
                      <a:pt x="627" y="124"/>
                      <a:pt x="627" y="124"/>
                      <a:pt x="627" y="124"/>
                    </a:cubicBezTo>
                    <a:cubicBezTo>
                      <a:pt x="630" y="121"/>
                      <a:pt x="630" y="121"/>
                      <a:pt x="630" y="121"/>
                    </a:cubicBezTo>
                    <a:cubicBezTo>
                      <a:pt x="632" y="119"/>
                      <a:pt x="632" y="119"/>
                      <a:pt x="632" y="119"/>
                    </a:cubicBezTo>
                    <a:cubicBezTo>
                      <a:pt x="632" y="116"/>
                      <a:pt x="632" y="116"/>
                      <a:pt x="632" y="116"/>
                    </a:cubicBezTo>
                    <a:cubicBezTo>
                      <a:pt x="633" y="114"/>
                      <a:pt x="633" y="114"/>
                      <a:pt x="633" y="114"/>
                    </a:cubicBezTo>
                    <a:cubicBezTo>
                      <a:pt x="634" y="114"/>
                      <a:pt x="634" y="114"/>
                      <a:pt x="634" y="114"/>
                    </a:cubicBezTo>
                    <a:cubicBezTo>
                      <a:pt x="634" y="115"/>
                      <a:pt x="634" y="115"/>
                      <a:pt x="634" y="115"/>
                    </a:cubicBezTo>
                    <a:cubicBezTo>
                      <a:pt x="634" y="116"/>
                      <a:pt x="634" y="116"/>
                      <a:pt x="634" y="116"/>
                    </a:cubicBezTo>
                    <a:cubicBezTo>
                      <a:pt x="634" y="118"/>
                      <a:pt x="634" y="118"/>
                      <a:pt x="634" y="118"/>
                    </a:cubicBezTo>
                    <a:cubicBezTo>
                      <a:pt x="635" y="118"/>
                      <a:pt x="635" y="118"/>
                      <a:pt x="635" y="118"/>
                    </a:cubicBezTo>
                    <a:cubicBezTo>
                      <a:pt x="637" y="115"/>
                      <a:pt x="637" y="115"/>
                      <a:pt x="637" y="115"/>
                    </a:cubicBezTo>
                    <a:cubicBezTo>
                      <a:pt x="639" y="115"/>
                      <a:pt x="639" y="115"/>
                      <a:pt x="639" y="115"/>
                    </a:cubicBezTo>
                    <a:cubicBezTo>
                      <a:pt x="642" y="115"/>
                      <a:pt x="642" y="115"/>
                      <a:pt x="642" y="115"/>
                    </a:cubicBezTo>
                    <a:cubicBezTo>
                      <a:pt x="645" y="114"/>
                      <a:pt x="645" y="114"/>
                      <a:pt x="645" y="114"/>
                    </a:cubicBezTo>
                    <a:cubicBezTo>
                      <a:pt x="647" y="114"/>
                      <a:pt x="647" y="114"/>
                      <a:pt x="647" y="114"/>
                    </a:cubicBezTo>
                    <a:cubicBezTo>
                      <a:pt x="648" y="112"/>
                      <a:pt x="648" y="112"/>
                      <a:pt x="648" y="112"/>
                    </a:cubicBezTo>
                    <a:cubicBezTo>
                      <a:pt x="650" y="112"/>
                      <a:pt x="650" y="112"/>
                      <a:pt x="650" y="112"/>
                    </a:cubicBezTo>
                    <a:cubicBezTo>
                      <a:pt x="651" y="110"/>
                      <a:pt x="651" y="110"/>
                      <a:pt x="651" y="110"/>
                    </a:cubicBezTo>
                    <a:cubicBezTo>
                      <a:pt x="651" y="109"/>
                      <a:pt x="651" y="109"/>
                      <a:pt x="651" y="109"/>
                    </a:cubicBezTo>
                    <a:cubicBezTo>
                      <a:pt x="651" y="107"/>
                      <a:pt x="651" y="107"/>
                      <a:pt x="651" y="107"/>
                    </a:cubicBezTo>
                    <a:cubicBezTo>
                      <a:pt x="650" y="106"/>
                      <a:pt x="650" y="106"/>
                      <a:pt x="650" y="106"/>
                    </a:cubicBezTo>
                    <a:cubicBezTo>
                      <a:pt x="650" y="103"/>
                      <a:pt x="650" y="103"/>
                      <a:pt x="650" y="103"/>
                    </a:cubicBezTo>
                    <a:cubicBezTo>
                      <a:pt x="650" y="99"/>
                      <a:pt x="650" y="99"/>
                      <a:pt x="650" y="99"/>
                    </a:cubicBezTo>
                    <a:cubicBezTo>
                      <a:pt x="650" y="99"/>
                      <a:pt x="650" y="99"/>
                      <a:pt x="650" y="99"/>
                    </a:cubicBezTo>
                    <a:cubicBezTo>
                      <a:pt x="648" y="102"/>
                      <a:pt x="648" y="102"/>
                      <a:pt x="648" y="102"/>
                    </a:cubicBezTo>
                    <a:cubicBezTo>
                      <a:pt x="646" y="104"/>
                      <a:pt x="646" y="104"/>
                      <a:pt x="646" y="104"/>
                    </a:cubicBezTo>
                    <a:cubicBezTo>
                      <a:pt x="645" y="104"/>
                      <a:pt x="645" y="104"/>
                      <a:pt x="645" y="104"/>
                    </a:cubicBezTo>
                    <a:cubicBezTo>
                      <a:pt x="645" y="103"/>
                      <a:pt x="645" y="103"/>
                      <a:pt x="645" y="103"/>
                    </a:cubicBezTo>
                    <a:cubicBezTo>
                      <a:pt x="647" y="101"/>
                      <a:pt x="647" y="101"/>
                      <a:pt x="647" y="101"/>
                    </a:cubicBezTo>
                    <a:cubicBezTo>
                      <a:pt x="648" y="100"/>
                      <a:pt x="648" y="100"/>
                      <a:pt x="648" y="100"/>
                    </a:cubicBezTo>
                    <a:cubicBezTo>
                      <a:pt x="649" y="98"/>
                      <a:pt x="649" y="98"/>
                      <a:pt x="649" y="98"/>
                    </a:cubicBezTo>
                    <a:cubicBezTo>
                      <a:pt x="647" y="96"/>
                      <a:pt x="647" y="96"/>
                      <a:pt x="647" y="96"/>
                    </a:cubicBezTo>
                    <a:cubicBezTo>
                      <a:pt x="646" y="95"/>
                      <a:pt x="646" y="95"/>
                      <a:pt x="646" y="95"/>
                    </a:cubicBezTo>
                    <a:cubicBezTo>
                      <a:pt x="645" y="95"/>
                      <a:pt x="645" y="95"/>
                      <a:pt x="645" y="95"/>
                    </a:cubicBezTo>
                    <a:cubicBezTo>
                      <a:pt x="644" y="95"/>
                      <a:pt x="644" y="95"/>
                      <a:pt x="644" y="95"/>
                    </a:cubicBezTo>
                    <a:cubicBezTo>
                      <a:pt x="644" y="97"/>
                      <a:pt x="644" y="97"/>
                      <a:pt x="644" y="97"/>
                    </a:cubicBezTo>
                    <a:cubicBezTo>
                      <a:pt x="643" y="96"/>
                      <a:pt x="643" y="96"/>
                      <a:pt x="643" y="96"/>
                    </a:cubicBezTo>
                    <a:cubicBezTo>
                      <a:pt x="641" y="96"/>
                      <a:pt x="641" y="96"/>
                      <a:pt x="641" y="96"/>
                    </a:cubicBezTo>
                    <a:cubicBezTo>
                      <a:pt x="639" y="97"/>
                      <a:pt x="639" y="97"/>
                      <a:pt x="639" y="97"/>
                    </a:cubicBezTo>
                    <a:cubicBezTo>
                      <a:pt x="638" y="97"/>
                      <a:pt x="638" y="97"/>
                      <a:pt x="638" y="97"/>
                    </a:cubicBezTo>
                    <a:cubicBezTo>
                      <a:pt x="638" y="96"/>
                      <a:pt x="638" y="96"/>
                      <a:pt x="638" y="96"/>
                    </a:cubicBezTo>
                    <a:cubicBezTo>
                      <a:pt x="643" y="94"/>
                      <a:pt x="643" y="94"/>
                      <a:pt x="643" y="94"/>
                    </a:cubicBezTo>
                    <a:cubicBezTo>
                      <a:pt x="645" y="93"/>
                      <a:pt x="645" y="93"/>
                      <a:pt x="645" y="93"/>
                    </a:cubicBezTo>
                    <a:cubicBezTo>
                      <a:pt x="648" y="90"/>
                      <a:pt x="648" y="90"/>
                      <a:pt x="648" y="90"/>
                    </a:cubicBezTo>
                    <a:cubicBezTo>
                      <a:pt x="649" y="89"/>
                      <a:pt x="649" y="89"/>
                      <a:pt x="649" y="89"/>
                    </a:cubicBezTo>
                    <a:cubicBezTo>
                      <a:pt x="651" y="85"/>
                      <a:pt x="651" y="85"/>
                      <a:pt x="651" y="85"/>
                    </a:cubicBezTo>
                    <a:cubicBezTo>
                      <a:pt x="652" y="82"/>
                      <a:pt x="652" y="82"/>
                      <a:pt x="652" y="82"/>
                    </a:cubicBezTo>
                    <a:cubicBezTo>
                      <a:pt x="652" y="81"/>
                      <a:pt x="652" y="81"/>
                      <a:pt x="652" y="81"/>
                    </a:cubicBezTo>
                    <a:cubicBezTo>
                      <a:pt x="650" y="82"/>
                      <a:pt x="650" y="82"/>
                      <a:pt x="650" y="82"/>
                    </a:cubicBezTo>
                    <a:cubicBezTo>
                      <a:pt x="649" y="83"/>
                      <a:pt x="649" y="83"/>
                      <a:pt x="649" y="83"/>
                    </a:cubicBezTo>
                    <a:cubicBezTo>
                      <a:pt x="648" y="82"/>
                      <a:pt x="648" y="82"/>
                      <a:pt x="648" y="82"/>
                    </a:cubicBezTo>
                    <a:cubicBezTo>
                      <a:pt x="649" y="80"/>
                      <a:pt x="649" y="80"/>
                      <a:pt x="649" y="80"/>
                    </a:cubicBezTo>
                    <a:cubicBezTo>
                      <a:pt x="650" y="80"/>
                      <a:pt x="650" y="80"/>
                      <a:pt x="650" y="80"/>
                    </a:cubicBezTo>
                    <a:cubicBezTo>
                      <a:pt x="651" y="80"/>
                      <a:pt x="651" y="80"/>
                      <a:pt x="651" y="80"/>
                    </a:cubicBezTo>
                    <a:cubicBezTo>
                      <a:pt x="652" y="79"/>
                      <a:pt x="652" y="79"/>
                      <a:pt x="652" y="79"/>
                    </a:cubicBezTo>
                    <a:cubicBezTo>
                      <a:pt x="652" y="77"/>
                      <a:pt x="652" y="77"/>
                      <a:pt x="652" y="77"/>
                    </a:cubicBezTo>
                    <a:cubicBezTo>
                      <a:pt x="654" y="75"/>
                      <a:pt x="654" y="75"/>
                      <a:pt x="654" y="75"/>
                    </a:cubicBezTo>
                    <a:cubicBezTo>
                      <a:pt x="654" y="72"/>
                      <a:pt x="654" y="72"/>
                      <a:pt x="654" y="72"/>
                    </a:cubicBezTo>
                    <a:cubicBezTo>
                      <a:pt x="654" y="72"/>
                      <a:pt x="654" y="72"/>
                      <a:pt x="654" y="72"/>
                    </a:cubicBezTo>
                    <a:cubicBezTo>
                      <a:pt x="654" y="70"/>
                      <a:pt x="654" y="70"/>
                      <a:pt x="654" y="70"/>
                    </a:cubicBezTo>
                    <a:cubicBezTo>
                      <a:pt x="652" y="70"/>
                      <a:pt x="652" y="70"/>
                      <a:pt x="652" y="70"/>
                    </a:cubicBezTo>
                    <a:cubicBezTo>
                      <a:pt x="650" y="70"/>
                      <a:pt x="650" y="70"/>
                      <a:pt x="650" y="70"/>
                    </a:cubicBezTo>
                    <a:cubicBezTo>
                      <a:pt x="648" y="75"/>
                      <a:pt x="648" y="75"/>
                      <a:pt x="648" y="75"/>
                    </a:cubicBezTo>
                    <a:cubicBezTo>
                      <a:pt x="648" y="77"/>
                      <a:pt x="648" y="77"/>
                      <a:pt x="648" y="77"/>
                    </a:cubicBezTo>
                    <a:cubicBezTo>
                      <a:pt x="649" y="78"/>
                      <a:pt x="649" y="78"/>
                      <a:pt x="649" y="78"/>
                    </a:cubicBezTo>
                    <a:cubicBezTo>
                      <a:pt x="647" y="80"/>
                      <a:pt x="647" y="80"/>
                      <a:pt x="647" y="80"/>
                    </a:cubicBezTo>
                    <a:cubicBezTo>
                      <a:pt x="646" y="80"/>
                      <a:pt x="646" y="80"/>
                      <a:pt x="646" y="80"/>
                    </a:cubicBezTo>
                    <a:cubicBezTo>
                      <a:pt x="646" y="80"/>
                      <a:pt x="646" y="80"/>
                      <a:pt x="646" y="80"/>
                    </a:cubicBezTo>
                    <a:cubicBezTo>
                      <a:pt x="646" y="79"/>
                      <a:pt x="646" y="79"/>
                      <a:pt x="646" y="79"/>
                    </a:cubicBezTo>
                    <a:cubicBezTo>
                      <a:pt x="645" y="78"/>
                      <a:pt x="645" y="78"/>
                      <a:pt x="645" y="78"/>
                    </a:cubicBezTo>
                    <a:cubicBezTo>
                      <a:pt x="645" y="76"/>
                      <a:pt x="645" y="76"/>
                      <a:pt x="645" y="76"/>
                    </a:cubicBezTo>
                    <a:cubicBezTo>
                      <a:pt x="647" y="73"/>
                      <a:pt x="647" y="73"/>
                      <a:pt x="647" y="73"/>
                    </a:cubicBezTo>
                    <a:cubicBezTo>
                      <a:pt x="646" y="71"/>
                      <a:pt x="646" y="71"/>
                      <a:pt x="646" y="71"/>
                    </a:cubicBezTo>
                    <a:cubicBezTo>
                      <a:pt x="647" y="70"/>
                      <a:pt x="647" y="70"/>
                      <a:pt x="647" y="70"/>
                    </a:cubicBezTo>
                    <a:cubicBezTo>
                      <a:pt x="648" y="71"/>
                      <a:pt x="648" y="71"/>
                      <a:pt x="648" y="71"/>
                    </a:cubicBezTo>
                    <a:cubicBezTo>
                      <a:pt x="649" y="70"/>
                      <a:pt x="649" y="70"/>
                      <a:pt x="649" y="70"/>
                    </a:cubicBezTo>
                    <a:cubicBezTo>
                      <a:pt x="648" y="68"/>
                      <a:pt x="648" y="68"/>
                      <a:pt x="648" y="68"/>
                    </a:cubicBezTo>
                    <a:cubicBezTo>
                      <a:pt x="647" y="65"/>
                      <a:pt x="647" y="65"/>
                      <a:pt x="647" y="65"/>
                    </a:cubicBezTo>
                    <a:cubicBezTo>
                      <a:pt x="645" y="65"/>
                      <a:pt x="645" y="65"/>
                      <a:pt x="645" y="65"/>
                    </a:cubicBezTo>
                    <a:cubicBezTo>
                      <a:pt x="643" y="66"/>
                      <a:pt x="643" y="66"/>
                      <a:pt x="643" y="66"/>
                    </a:cubicBezTo>
                    <a:cubicBezTo>
                      <a:pt x="642" y="68"/>
                      <a:pt x="642" y="68"/>
                      <a:pt x="642" y="68"/>
                    </a:cubicBezTo>
                    <a:cubicBezTo>
                      <a:pt x="642" y="67"/>
                      <a:pt x="642" y="67"/>
                      <a:pt x="642" y="67"/>
                    </a:cubicBezTo>
                    <a:cubicBezTo>
                      <a:pt x="641" y="66"/>
                      <a:pt x="641" y="66"/>
                      <a:pt x="641" y="66"/>
                    </a:cubicBezTo>
                    <a:cubicBezTo>
                      <a:pt x="642" y="63"/>
                      <a:pt x="642" y="63"/>
                      <a:pt x="642" y="63"/>
                    </a:cubicBezTo>
                    <a:cubicBezTo>
                      <a:pt x="640" y="61"/>
                      <a:pt x="640" y="61"/>
                      <a:pt x="640" y="61"/>
                    </a:cubicBezTo>
                    <a:cubicBezTo>
                      <a:pt x="641" y="57"/>
                      <a:pt x="641" y="57"/>
                      <a:pt x="641" y="57"/>
                    </a:cubicBezTo>
                    <a:cubicBezTo>
                      <a:pt x="641" y="53"/>
                      <a:pt x="641" y="53"/>
                      <a:pt x="641" y="53"/>
                    </a:cubicBezTo>
                    <a:cubicBezTo>
                      <a:pt x="642" y="51"/>
                      <a:pt x="642" y="51"/>
                      <a:pt x="642" y="51"/>
                    </a:cubicBezTo>
                    <a:cubicBezTo>
                      <a:pt x="642" y="48"/>
                      <a:pt x="642" y="48"/>
                      <a:pt x="642" y="48"/>
                    </a:cubicBezTo>
                    <a:cubicBezTo>
                      <a:pt x="642" y="46"/>
                      <a:pt x="642" y="46"/>
                      <a:pt x="642" y="46"/>
                    </a:cubicBezTo>
                    <a:cubicBezTo>
                      <a:pt x="643" y="42"/>
                      <a:pt x="643" y="42"/>
                      <a:pt x="643" y="42"/>
                    </a:cubicBezTo>
                    <a:cubicBezTo>
                      <a:pt x="644" y="40"/>
                      <a:pt x="644" y="40"/>
                      <a:pt x="644" y="40"/>
                    </a:cubicBezTo>
                    <a:cubicBezTo>
                      <a:pt x="642" y="38"/>
                      <a:pt x="642" y="38"/>
                      <a:pt x="642" y="38"/>
                    </a:cubicBezTo>
                    <a:cubicBezTo>
                      <a:pt x="641" y="36"/>
                      <a:pt x="641" y="36"/>
                      <a:pt x="641" y="36"/>
                    </a:cubicBezTo>
                    <a:cubicBezTo>
                      <a:pt x="639" y="33"/>
                      <a:pt x="639" y="33"/>
                      <a:pt x="639" y="33"/>
                    </a:cubicBezTo>
                    <a:cubicBezTo>
                      <a:pt x="638" y="32"/>
                      <a:pt x="638" y="32"/>
                      <a:pt x="638" y="32"/>
                    </a:cubicBezTo>
                    <a:cubicBezTo>
                      <a:pt x="635" y="30"/>
                      <a:pt x="635" y="30"/>
                      <a:pt x="635" y="30"/>
                    </a:cubicBezTo>
                    <a:cubicBezTo>
                      <a:pt x="634" y="31"/>
                      <a:pt x="634" y="31"/>
                      <a:pt x="634" y="31"/>
                    </a:cubicBezTo>
                    <a:cubicBezTo>
                      <a:pt x="634" y="32"/>
                      <a:pt x="634" y="32"/>
                      <a:pt x="634" y="32"/>
                    </a:cubicBezTo>
                    <a:cubicBezTo>
                      <a:pt x="634" y="33"/>
                      <a:pt x="634" y="33"/>
                      <a:pt x="634" y="33"/>
                    </a:cubicBezTo>
                    <a:cubicBezTo>
                      <a:pt x="631" y="30"/>
                      <a:pt x="631" y="30"/>
                      <a:pt x="631" y="30"/>
                    </a:cubicBezTo>
                    <a:cubicBezTo>
                      <a:pt x="629" y="31"/>
                      <a:pt x="629" y="31"/>
                      <a:pt x="629" y="31"/>
                    </a:cubicBezTo>
                    <a:cubicBezTo>
                      <a:pt x="629" y="33"/>
                      <a:pt x="629" y="33"/>
                      <a:pt x="629" y="33"/>
                    </a:cubicBezTo>
                    <a:cubicBezTo>
                      <a:pt x="628" y="35"/>
                      <a:pt x="628" y="35"/>
                      <a:pt x="628" y="35"/>
                    </a:cubicBezTo>
                    <a:cubicBezTo>
                      <a:pt x="629" y="37"/>
                      <a:pt x="629" y="37"/>
                      <a:pt x="629" y="37"/>
                    </a:cubicBezTo>
                    <a:cubicBezTo>
                      <a:pt x="631" y="37"/>
                      <a:pt x="631" y="37"/>
                      <a:pt x="631" y="37"/>
                    </a:cubicBezTo>
                    <a:cubicBezTo>
                      <a:pt x="633" y="36"/>
                      <a:pt x="633" y="36"/>
                      <a:pt x="633" y="36"/>
                    </a:cubicBezTo>
                    <a:cubicBezTo>
                      <a:pt x="635" y="37"/>
                      <a:pt x="635" y="37"/>
                      <a:pt x="635" y="37"/>
                    </a:cubicBezTo>
                    <a:cubicBezTo>
                      <a:pt x="636" y="39"/>
                      <a:pt x="636" y="39"/>
                      <a:pt x="636" y="39"/>
                    </a:cubicBezTo>
                    <a:cubicBezTo>
                      <a:pt x="637" y="39"/>
                      <a:pt x="637" y="39"/>
                      <a:pt x="637" y="39"/>
                    </a:cubicBezTo>
                    <a:cubicBezTo>
                      <a:pt x="637" y="40"/>
                      <a:pt x="637" y="40"/>
                      <a:pt x="637" y="40"/>
                    </a:cubicBezTo>
                    <a:cubicBezTo>
                      <a:pt x="634" y="43"/>
                      <a:pt x="634" y="43"/>
                      <a:pt x="634" y="43"/>
                    </a:cubicBezTo>
                    <a:cubicBezTo>
                      <a:pt x="633" y="43"/>
                      <a:pt x="633" y="43"/>
                      <a:pt x="633" y="43"/>
                    </a:cubicBezTo>
                    <a:cubicBezTo>
                      <a:pt x="631" y="42"/>
                      <a:pt x="631" y="42"/>
                      <a:pt x="631" y="42"/>
                    </a:cubicBezTo>
                    <a:cubicBezTo>
                      <a:pt x="629" y="42"/>
                      <a:pt x="629" y="42"/>
                      <a:pt x="629" y="42"/>
                    </a:cubicBezTo>
                    <a:cubicBezTo>
                      <a:pt x="627" y="42"/>
                      <a:pt x="627" y="42"/>
                      <a:pt x="627" y="42"/>
                    </a:cubicBezTo>
                    <a:cubicBezTo>
                      <a:pt x="628" y="43"/>
                      <a:pt x="628" y="43"/>
                      <a:pt x="628" y="43"/>
                    </a:cubicBezTo>
                    <a:cubicBezTo>
                      <a:pt x="629" y="43"/>
                      <a:pt x="629" y="43"/>
                      <a:pt x="629" y="43"/>
                    </a:cubicBezTo>
                    <a:cubicBezTo>
                      <a:pt x="628" y="45"/>
                      <a:pt x="628" y="45"/>
                      <a:pt x="628" y="45"/>
                    </a:cubicBezTo>
                    <a:cubicBezTo>
                      <a:pt x="626" y="46"/>
                      <a:pt x="626" y="46"/>
                      <a:pt x="626" y="46"/>
                    </a:cubicBezTo>
                    <a:cubicBezTo>
                      <a:pt x="624" y="43"/>
                      <a:pt x="624" y="43"/>
                      <a:pt x="624" y="43"/>
                    </a:cubicBezTo>
                    <a:cubicBezTo>
                      <a:pt x="621" y="44"/>
                      <a:pt x="621" y="44"/>
                      <a:pt x="621" y="44"/>
                    </a:cubicBezTo>
                    <a:cubicBezTo>
                      <a:pt x="620" y="47"/>
                      <a:pt x="620" y="47"/>
                      <a:pt x="620" y="47"/>
                    </a:cubicBezTo>
                    <a:cubicBezTo>
                      <a:pt x="619" y="48"/>
                      <a:pt x="619" y="48"/>
                      <a:pt x="619" y="48"/>
                    </a:cubicBezTo>
                    <a:cubicBezTo>
                      <a:pt x="619" y="49"/>
                      <a:pt x="619" y="49"/>
                      <a:pt x="619" y="49"/>
                    </a:cubicBezTo>
                    <a:cubicBezTo>
                      <a:pt x="620" y="50"/>
                      <a:pt x="620" y="50"/>
                      <a:pt x="620" y="50"/>
                    </a:cubicBezTo>
                    <a:cubicBezTo>
                      <a:pt x="621" y="52"/>
                      <a:pt x="621" y="52"/>
                      <a:pt x="621" y="52"/>
                    </a:cubicBezTo>
                    <a:cubicBezTo>
                      <a:pt x="623" y="53"/>
                      <a:pt x="623" y="53"/>
                      <a:pt x="623" y="53"/>
                    </a:cubicBezTo>
                    <a:cubicBezTo>
                      <a:pt x="623" y="54"/>
                      <a:pt x="623" y="54"/>
                      <a:pt x="623" y="54"/>
                    </a:cubicBezTo>
                    <a:cubicBezTo>
                      <a:pt x="622" y="54"/>
                      <a:pt x="622" y="54"/>
                      <a:pt x="622" y="54"/>
                    </a:cubicBezTo>
                    <a:cubicBezTo>
                      <a:pt x="621" y="56"/>
                      <a:pt x="621" y="56"/>
                      <a:pt x="621" y="56"/>
                    </a:cubicBezTo>
                    <a:cubicBezTo>
                      <a:pt x="622" y="57"/>
                      <a:pt x="622" y="57"/>
                      <a:pt x="622" y="57"/>
                    </a:cubicBezTo>
                    <a:cubicBezTo>
                      <a:pt x="622" y="58"/>
                      <a:pt x="622" y="58"/>
                      <a:pt x="622" y="58"/>
                    </a:cubicBezTo>
                    <a:cubicBezTo>
                      <a:pt x="621" y="58"/>
                      <a:pt x="621" y="58"/>
                      <a:pt x="621" y="58"/>
                    </a:cubicBezTo>
                    <a:cubicBezTo>
                      <a:pt x="620" y="57"/>
                      <a:pt x="620" y="57"/>
                      <a:pt x="620" y="57"/>
                    </a:cubicBezTo>
                    <a:cubicBezTo>
                      <a:pt x="618" y="57"/>
                      <a:pt x="618" y="57"/>
                      <a:pt x="618" y="57"/>
                    </a:cubicBezTo>
                    <a:cubicBezTo>
                      <a:pt x="616" y="55"/>
                      <a:pt x="616" y="55"/>
                      <a:pt x="616" y="55"/>
                    </a:cubicBezTo>
                    <a:cubicBezTo>
                      <a:pt x="614" y="55"/>
                      <a:pt x="614" y="55"/>
                      <a:pt x="614" y="55"/>
                    </a:cubicBezTo>
                    <a:cubicBezTo>
                      <a:pt x="613" y="56"/>
                      <a:pt x="613" y="56"/>
                      <a:pt x="613" y="56"/>
                    </a:cubicBezTo>
                    <a:cubicBezTo>
                      <a:pt x="612" y="58"/>
                      <a:pt x="612" y="58"/>
                      <a:pt x="612" y="58"/>
                    </a:cubicBezTo>
                    <a:cubicBezTo>
                      <a:pt x="613" y="60"/>
                      <a:pt x="613" y="60"/>
                      <a:pt x="613" y="60"/>
                    </a:cubicBezTo>
                    <a:cubicBezTo>
                      <a:pt x="613" y="61"/>
                      <a:pt x="613" y="61"/>
                      <a:pt x="613" y="61"/>
                    </a:cubicBezTo>
                    <a:cubicBezTo>
                      <a:pt x="612" y="61"/>
                      <a:pt x="612" y="61"/>
                      <a:pt x="612" y="61"/>
                    </a:cubicBezTo>
                    <a:cubicBezTo>
                      <a:pt x="612" y="59"/>
                      <a:pt x="612" y="59"/>
                      <a:pt x="612" y="59"/>
                    </a:cubicBezTo>
                    <a:cubicBezTo>
                      <a:pt x="610" y="58"/>
                      <a:pt x="610" y="58"/>
                      <a:pt x="610" y="58"/>
                    </a:cubicBezTo>
                    <a:cubicBezTo>
                      <a:pt x="608" y="57"/>
                      <a:pt x="608" y="57"/>
                      <a:pt x="608" y="57"/>
                    </a:cubicBezTo>
                    <a:cubicBezTo>
                      <a:pt x="607" y="58"/>
                      <a:pt x="607" y="58"/>
                      <a:pt x="607" y="58"/>
                    </a:cubicBezTo>
                    <a:cubicBezTo>
                      <a:pt x="606" y="56"/>
                      <a:pt x="606" y="56"/>
                      <a:pt x="606" y="56"/>
                    </a:cubicBezTo>
                    <a:cubicBezTo>
                      <a:pt x="605" y="56"/>
                      <a:pt x="605" y="56"/>
                      <a:pt x="605" y="56"/>
                    </a:cubicBezTo>
                    <a:cubicBezTo>
                      <a:pt x="604" y="57"/>
                      <a:pt x="604" y="57"/>
                      <a:pt x="604" y="57"/>
                    </a:cubicBezTo>
                    <a:cubicBezTo>
                      <a:pt x="605" y="59"/>
                      <a:pt x="605" y="59"/>
                      <a:pt x="605" y="59"/>
                    </a:cubicBezTo>
                    <a:cubicBezTo>
                      <a:pt x="605" y="62"/>
                      <a:pt x="605" y="62"/>
                      <a:pt x="605" y="62"/>
                    </a:cubicBezTo>
                    <a:cubicBezTo>
                      <a:pt x="606" y="64"/>
                      <a:pt x="606" y="64"/>
                      <a:pt x="606" y="64"/>
                    </a:cubicBezTo>
                    <a:cubicBezTo>
                      <a:pt x="607" y="65"/>
                      <a:pt x="607" y="65"/>
                      <a:pt x="607" y="65"/>
                    </a:cubicBezTo>
                    <a:cubicBezTo>
                      <a:pt x="610" y="66"/>
                      <a:pt x="610" y="66"/>
                      <a:pt x="610" y="66"/>
                    </a:cubicBezTo>
                    <a:cubicBezTo>
                      <a:pt x="611" y="67"/>
                      <a:pt x="611" y="67"/>
                      <a:pt x="611" y="67"/>
                    </a:cubicBezTo>
                    <a:cubicBezTo>
                      <a:pt x="610" y="67"/>
                      <a:pt x="610" y="67"/>
                      <a:pt x="610" y="67"/>
                    </a:cubicBezTo>
                    <a:cubicBezTo>
                      <a:pt x="608" y="67"/>
                      <a:pt x="608" y="67"/>
                      <a:pt x="608" y="67"/>
                    </a:cubicBezTo>
                    <a:cubicBezTo>
                      <a:pt x="610" y="68"/>
                      <a:pt x="610" y="68"/>
                      <a:pt x="610" y="68"/>
                    </a:cubicBezTo>
                    <a:cubicBezTo>
                      <a:pt x="611" y="70"/>
                      <a:pt x="611" y="70"/>
                      <a:pt x="611" y="70"/>
                    </a:cubicBezTo>
                    <a:cubicBezTo>
                      <a:pt x="612" y="71"/>
                      <a:pt x="612" y="71"/>
                      <a:pt x="612" y="71"/>
                    </a:cubicBezTo>
                    <a:cubicBezTo>
                      <a:pt x="615" y="71"/>
                      <a:pt x="615" y="71"/>
                      <a:pt x="615" y="71"/>
                    </a:cubicBezTo>
                    <a:cubicBezTo>
                      <a:pt x="616" y="70"/>
                      <a:pt x="616" y="70"/>
                      <a:pt x="616" y="70"/>
                    </a:cubicBezTo>
                    <a:cubicBezTo>
                      <a:pt x="617" y="70"/>
                      <a:pt x="617" y="70"/>
                      <a:pt x="617" y="70"/>
                    </a:cubicBezTo>
                    <a:cubicBezTo>
                      <a:pt x="617" y="71"/>
                      <a:pt x="617" y="71"/>
                      <a:pt x="617" y="71"/>
                    </a:cubicBezTo>
                    <a:cubicBezTo>
                      <a:pt x="616" y="72"/>
                      <a:pt x="616" y="72"/>
                      <a:pt x="616" y="72"/>
                    </a:cubicBezTo>
                    <a:cubicBezTo>
                      <a:pt x="615" y="75"/>
                      <a:pt x="615" y="75"/>
                      <a:pt x="615" y="75"/>
                    </a:cubicBezTo>
                    <a:cubicBezTo>
                      <a:pt x="614" y="76"/>
                      <a:pt x="614" y="76"/>
                      <a:pt x="614" y="76"/>
                    </a:cubicBezTo>
                    <a:cubicBezTo>
                      <a:pt x="611" y="73"/>
                      <a:pt x="611" y="73"/>
                      <a:pt x="611" y="73"/>
                    </a:cubicBezTo>
                    <a:cubicBezTo>
                      <a:pt x="606" y="72"/>
                      <a:pt x="606" y="72"/>
                      <a:pt x="606" y="72"/>
                    </a:cubicBezTo>
                    <a:cubicBezTo>
                      <a:pt x="604" y="70"/>
                      <a:pt x="604" y="70"/>
                      <a:pt x="604" y="70"/>
                    </a:cubicBezTo>
                    <a:cubicBezTo>
                      <a:pt x="603" y="69"/>
                      <a:pt x="603" y="69"/>
                      <a:pt x="603" y="69"/>
                    </a:cubicBezTo>
                    <a:cubicBezTo>
                      <a:pt x="602" y="68"/>
                      <a:pt x="602" y="68"/>
                      <a:pt x="602" y="68"/>
                    </a:cubicBezTo>
                    <a:cubicBezTo>
                      <a:pt x="602" y="68"/>
                      <a:pt x="602" y="68"/>
                      <a:pt x="602" y="68"/>
                    </a:cubicBezTo>
                    <a:cubicBezTo>
                      <a:pt x="601" y="70"/>
                      <a:pt x="601" y="70"/>
                      <a:pt x="601" y="70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600" y="72"/>
                      <a:pt x="600" y="72"/>
                      <a:pt x="600" y="72"/>
                    </a:cubicBezTo>
                    <a:cubicBezTo>
                      <a:pt x="601" y="75"/>
                      <a:pt x="601" y="75"/>
                      <a:pt x="601" y="75"/>
                    </a:cubicBezTo>
                    <a:cubicBezTo>
                      <a:pt x="600" y="76"/>
                      <a:pt x="600" y="76"/>
                      <a:pt x="600" y="76"/>
                    </a:cubicBezTo>
                    <a:cubicBezTo>
                      <a:pt x="598" y="75"/>
                      <a:pt x="598" y="75"/>
                      <a:pt x="598" y="75"/>
                    </a:cubicBezTo>
                    <a:cubicBezTo>
                      <a:pt x="598" y="78"/>
                      <a:pt x="598" y="78"/>
                      <a:pt x="598" y="78"/>
                    </a:cubicBezTo>
                    <a:cubicBezTo>
                      <a:pt x="597" y="79"/>
                      <a:pt x="597" y="79"/>
                      <a:pt x="597" y="79"/>
                    </a:cubicBezTo>
                    <a:cubicBezTo>
                      <a:pt x="597" y="83"/>
                      <a:pt x="597" y="83"/>
                      <a:pt x="597" y="83"/>
                    </a:cubicBezTo>
                    <a:cubicBezTo>
                      <a:pt x="599" y="84"/>
                      <a:pt x="599" y="84"/>
                      <a:pt x="599" y="84"/>
                    </a:cubicBezTo>
                    <a:cubicBezTo>
                      <a:pt x="601" y="84"/>
                      <a:pt x="601" y="84"/>
                      <a:pt x="601" y="84"/>
                    </a:cubicBezTo>
                    <a:cubicBezTo>
                      <a:pt x="603" y="85"/>
                      <a:pt x="603" y="85"/>
                      <a:pt x="603" y="85"/>
                    </a:cubicBezTo>
                    <a:cubicBezTo>
                      <a:pt x="605" y="85"/>
                      <a:pt x="605" y="85"/>
                      <a:pt x="605" y="85"/>
                    </a:cubicBezTo>
                    <a:cubicBezTo>
                      <a:pt x="605" y="85"/>
                      <a:pt x="605" y="85"/>
                      <a:pt x="605" y="85"/>
                    </a:cubicBezTo>
                    <a:cubicBezTo>
                      <a:pt x="604" y="86"/>
                      <a:pt x="604" y="86"/>
                      <a:pt x="604" y="86"/>
                    </a:cubicBezTo>
                    <a:cubicBezTo>
                      <a:pt x="602" y="86"/>
                      <a:pt x="602" y="86"/>
                      <a:pt x="602" y="86"/>
                    </a:cubicBezTo>
                    <a:cubicBezTo>
                      <a:pt x="599" y="86"/>
                      <a:pt x="599" y="86"/>
                      <a:pt x="599" y="86"/>
                    </a:cubicBezTo>
                    <a:cubicBezTo>
                      <a:pt x="598" y="85"/>
                      <a:pt x="598" y="85"/>
                      <a:pt x="598" y="85"/>
                    </a:cubicBezTo>
                    <a:cubicBezTo>
                      <a:pt x="596" y="85"/>
                      <a:pt x="596" y="85"/>
                      <a:pt x="596" y="85"/>
                    </a:cubicBezTo>
                    <a:cubicBezTo>
                      <a:pt x="593" y="89"/>
                      <a:pt x="593" y="89"/>
                      <a:pt x="593" y="89"/>
                    </a:cubicBezTo>
                    <a:cubicBezTo>
                      <a:pt x="593" y="90"/>
                      <a:pt x="593" y="90"/>
                      <a:pt x="593" y="90"/>
                    </a:cubicBezTo>
                    <a:cubicBezTo>
                      <a:pt x="594" y="91"/>
                      <a:pt x="594" y="91"/>
                      <a:pt x="594" y="91"/>
                    </a:cubicBezTo>
                    <a:cubicBezTo>
                      <a:pt x="594" y="93"/>
                      <a:pt x="594" y="93"/>
                      <a:pt x="594" y="93"/>
                    </a:cubicBezTo>
                    <a:cubicBezTo>
                      <a:pt x="593" y="93"/>
                      <a:pt x="593" y="93"/>
                      <a:pt x="593" y="93"/>
                    </a:cubicBezTo>
                    <a:cubicBezTo>
                      <a:pt x="593" y="95"/>
                      <a:pt x="593" y="95"/>
                      <a:pt x="593" y="95"/>
                    </a:cubicBezTo>
                    <a:cubicBezTo>
                      <a:pt x="594" y="96"/>
                      <a:pt x="594" y="96"/>
                      <a:pt x="594" y="96"/>
                    </a:cubicBezTo>
                    <a:cubicBezTo>
                      <a:pt x="595" y="95"/>
                      <a:pt x="595" y="95"/>
                      <a:pt x="595" y="95"/>
                    </a:cubicBezTo>
                    <a:cubicBezTo>
                      <a:pt x="597" y="95"/>
                      <a:pt x="597" y="95"/>
                      <a:pt x="597" y="95"/>
                    </a:cubicBezTo>
                    <a:cubicBezTo>
                      <a:pt x="599" y="93"/>
                      <a:pt x="599" y="93"/>
                      <a:pt x="599" y="93"/>
                    </a:cubicBezTo>
                    <a:cubicBezTo>
                      <a:pt x="600" y="94"/>
                      <a:pt x="600" y="94"/>
                      <a:pt x="600" y="94"/>
                    </a:cubicBezTo>
                    <a:cubicBezTo>
                      <a:pt x="599" y="96"/>
                      <a:pt x="599" y="96"/>
                      <a:pt x="599" y="96"/>
                    </a:cubicBezTo>
                    <a:cubicBezTo>
                      <a:pt x="598" y="96"/>
                      <a:pt x="598" y="96"/>
                      <a:pt x="598" y="96"/>
                    </a:cubicBezTo>
                    <a:cubicBezTo>
                      <a:pt x="597" y="98"/>
                      <a:pt x="597" y="98"/>
                      <a:pt x="597" y="98"/>
                    </a:cubicBezTo>
                    <a:cubicBezTo>
                      <a:pt x="597" y="99"/>
                      <a:pt x="597" y="99"/>
                      <a:pt x="597" y="99"/>
                    </a:cubicBezTo>
                    <a:cubicBezTo>
                      <a:pt x="599" y="99"/>
                      <a:pt x="599" y="99"/>
                      <a:pt x="599" y="99"/>
                    </a:cubicBezTo>
                    <a:cubicBezTo>
                      <a:pt x="600" y="97"/>
                      <a:pt x="600" y="97"/>
                      <a:pt x="600" y="97"/>
                    </a:cubicBezTo>
                    <a:cubicBezTo>
                      <a:pt x="602" y="97"/>
                      <a:pt x="602" y="97"/>
                      <a:pt x="602" y="97"/>
                    </a:cubicBezTo>
                    <a:cubicBezTo>
                      <a:pt x="603" y="96"/>
                      <a:pt x="603" y="96"/>
                      <a:pt x="603" y="96"/>
                    </a:cubicBezTo>
                    <a:cubicBezTo>
                      <a:pt x="603" y="97"/>
                      <a:pt x="603" y="97"/>
                      <a:pt x="603" y="97"/>
                    </a:cubicBezTo>
                    <a:cubicBezTo>
                      <a:pt x="602" y="98"/>
                      <a:pt x="602" y="98"/>
                      <a:pt x="602" y="98"/>
                    </a:cubicBezTo>
                    <a:cubicBezTo>
                      <a:pt x="604" y="99"/>
                      <a:pt x="604" y="99"/>
                      <a:pt x="604" y="99"/>
                    </a:cubicBezTo>
                    <a:cubicBezTo>
                      <a:pt x="606" y="99"/>
                      <a:pt x="606" y="99"/>
                      <a:pt x="606" y="99"/>
                    </a:cubicBezTo>
                    <a:cubicBezTo>
                      <a:pt x="607" y="100"/>
                      <a:pt x="607" y="100"/>
                      <a:pt x="607" y="100"/>
                    </a:cubicBezTo>
                    <a:cubicBezTo>
                      <a:pt x="605" y="100"/>
                      <a:pt x="605" y="100"/>
                      <a:pt x="605" y="100"/>
                    </a:cubicBezTo>
                    <a:cubicBezTo>
                      <a:pt x="605" y="102"/>
                      <a:pt x="605" y="102"/>
                      <a:pt x="605" y="102"/>
                    </a:cubicBezTo>
                    <a:cubicBezTo>
                      <a:pt x="607" y="102"/>
                      <a:pt x="607" y="102"/>
                      <a:pt x="607" y="102"/>
                    </a:cubicBezTo>
                    <a:cubicBezTo>
                      <a:pt x="609" y="101"/>
                      <a:pt x="609" y="101"/>
                      <a:pt x="609" y="101"/>
                    </a:cubicBezTo>
                    <a:cubicBezTo>
                      <a:pt x="611" y="103"/>
                      <a:pt x="611" y="103"/>
                      <a:pt x="611" y="103"/>
                    </a:cubicBezTo>
                    <a:cubicBezTo>
                      <a:pt x="616" y="104"/>
                      <a:pt x="616" y="104"/>
                      <a:pt x="616" y="104"/>
                    </a:cubicBezTo>
                    <a:cubicBezTo>
                      <a:pt x="616" y="105"/>
                      <a:pt x="616" y="105"/>
                      <a:pt x="616" y="105"/>
                    </a:cubicBezTo>
                    <a:cubicBezTo>
                      <a:pt x="612" y="105"/>
                      <a:pt x="612" y="105"/>
                      <a:pt x="612" y="105"/>
                    </a:cubicBezTo>
                    <a:cubicBezTo>
                      <a:pt x="610" y="105"/>
                      <a:pt x="610" y="105"/>
                      <a:pt x="610" y="105"/>
                    </a:cubicBezTo>
                    <a:cubicBezTo>
                      <a:pt x="608" y="103"/>
                      <a:pt x="608" y="103"/>
                      <a:pt x="608" y="103"/>
                    </a:cubicBezTo>
                    <a:cubicBezTo>
                      <a:pt x="605" y="104"/>
                      <a:pt x="605" y="104"/>
                      <a:pt x="605" y="104"/>
                    </a:cubicBezTo>
                    <a:cubicBezTo>
                      <a:pt x="605" y="105"/>
                      <a:pt x="605" y="105"/>
                      <a:pt x="605" y="105"/>
                    </a:cubicBezTo>
                    <a:cubicBezTo>
                      <a:pt x="608" y="107"/>
                      <a:pt x="608" y="107"/>
                      <a:pt x="608" y="107"/>
                    </a:cubicBezTo>
                    <a:cubicBezTo>
                      <a:pt x="612" y="107"/>
                      <a:pt x="612" y="107"/>
                      <a:pt x="612" y="107"/>
                    </a:cubicBezTo>
                    <a:cubicBezTo>
                      <a:pt x="615" y="107"/>
                      <a:pt x="615" y="107"/>
                      <a:pt x="615" y="107"/>
                    </a:cubicBezTo>
                    <a:cubicBezTo>
                      <a:pt x="617" y="108"/>
                      <a:pt x="617" y="108"/>
                      <a:pt x="617" y="108"/>
                    </a:cubicBezTo>
                    <a:cubicBezTo>
                      <a:pt x="612" y="109"/>
                      <a:pt x="612" y="109"/>
                      <a:pt x="612" y="109"/>
                    </a:cubicBezTo>
                    <a:cubicBezTo>
                      <a:pt x="611" y="108"/>
                      <a:pt x="611" y="108"/>
                      <a:pt x="611" y="108"/>
                    </a:cubicBezTo>
                    <a:cubicBezTo>
                      <a:pt x="607" y="108"/>
                      <a:pt x="607" y="108"/>
                      <a:pt x="607" y="108"/>
                    </a:cubicBezTo>
                    <a:cubicBezTo>
                      <a:pt x="605" y="108"/>
                      <a:pt x="605" y="108"/>
                      <a:pt x="605" y="108"/>
                    </a:cubicBezTo>
                    <a:cubicBezTo>
                      <a:pt x="604" y="106"/>
                      <a:pt x="604" y="106"/>
                      <a:pt x="604" y="106"/>
                    </a:cubicBezTo>
                    <a:cubicBezTo>
                      <a:pt x="602" y="105"/>
                      <a:pt x="602" y="105"/>
                      <a:pt x="602" y="105"/>
                    </a:cubicBezTo>
                    <a:cubicBezTo>
                      <a:pt x="599" y="103"/>
                      <a:pt x="599" y="103"/>
                      <a:pt x="599" y="103"/>
                    </a:cubicBezTo>
                    <a:cubicBezTo>
                      <a:pt x="598" y="104"/>
                      <a:pt x="598" y="104"/>
                      <a:pt x="598" y="104"/>
                    </a:cubicBezTo>
                    <a:cubicBezTo>
                      <a:pt x="597" y="105"/>
                      <a:pt x="597" y="105"/>
                      <a:pt x="597" y="105"/>
                    </a:cubicBezTo>
                    <a:cubicBezTo>
                      <a:pt x="594" y="105"/>
                      <a:pt x="594" y="105"/>
                      <a:pt x="594" y="105"/>
                    </a:cubicBezTo>
                    <a:cubicBezTo>
                      <a:pt x="593" y="107"/>
                      <a:pt x="593" y="107"/>
                      <a:pt x="593" y="107"/>
                    </a:cubicBezTo>
                    <a:cubicBezTo>
                      <a:pt x="592" y="110"/>
                      <a:pt x="592" y="110"/>
                      <a:pt x="592" y="110"/>
                    </a:cubicBezTo>
                    <a:cubicBezTo>
                      <a:pt x="594" y="112"/>
                      <a:pt x="594" y="112"/>
                      <a:pt x="594" y="112"/>
                    </a:cubicBezTo>
                    <a:cubicBezTo>
                      <a:pt x="594" y="114"/>
                      <a:pt x="594" y="114"/>
                      <a:pt x="594" y="114"/>
                    </a:cubicBezTo>
                    <a:cubicBezTo>
                      <a:pt x="593" y="115"/>
                      <a:pt x="593" y="115"/>
                      <a:pt x="593" y="115"/>
                    </a:cubicBezTo>
                    <a:cubicBezTo>
                      <a:pt x="592" y="112"/>
                      <a:pt x="592" y="112"/>
                      <a:pt x="592" y="112"/>
                    </a:cubicBezTo>
                    <a:cubicBezTo>
                      <a:pt x="591" y="112"/>
                      <a:pt x="591" y="112"/>
                      <a:pt x="591" y="112"/>
                    </a:cubicBezTo>
                    <a:cubicBezTo>
                      <a:pt x="590" y="116"/>
                      <a:pt x="590" y="116"/>
                      <a:pt x="590" y="116"/>
                    </a:cubicBezTo>
                    <a:cubicBezTo>
                      <a:pt x="590" y="119"/>
                      <a:pt x="590" y="119"/>
                      <a:pt x="590" y="119"/>
                    </a:cubicBezTo>
                    <a:cubicBezTo>
                      <a:pt x="592" y="119"/>
                      <a:pt x="592" y="119"/>
                      <a:pt x="592" y="119"/>
                    </a:cubicBezTo>
                    <a:cubicBezTo>
                      <a:pt x="592" y="118"/>
                      <a:pt x="592" y="118"/>
                      <a:pt x="592" y="118"/>
                    </a:cubicBezTo>
                    <a:cubicBezTo>
                      <a:pt x="593" y="119"/>
                      <a:pt x="593" y="119"/>
                      <a:pt x="593" y="119"/>
                    </a:cubicBezTo>
                    <a:cubicBezTo>
                      <a:pt x="595" y="121"/>
                      <a:pt x="595" y="121"/>
                      <a:pt x="595" y="121"/>
                    </a:cubicBezTo>
                    <a:cubicBezTo>
                      <a:pt x="596" y="121"/>
                      <a:pt x="596" y="121"/>
                      <a:pt x="596" y="121"/>
                    </a:cubicBezTo>
                    <a:cubicBezTo>
                      <a:pt x="595" y="122"/>
                      <a:pt x="595" y="122"/>
                      <a:pt x="595" y="122"/>
                    </a:cubicBezTo>
                    <a:cubicBezTo>
                      <a:pt x="594" y="122"/>
                      <a:pt x="594" y="122"/>
                      <a:pt x="594" y="122"/>
                    </a:cubicBezTo>
                    <a:cubicBezTo>
                      <a:pt x="592" y="121"/>
                      <a:pt x="592" y="121"/>
                      <a:pt x="592" y="121"/>
                    </a:cubicBezTo>
                    <a:cubicBezTo>
                      <a:pt x="589" y="121"/>
                      <a:pt x="589" y="121"/>
                      <a:pt x="589" y="121"/>
                    </a:cubicBezTo>
                    <a:cubicBezTo>
                      <a:pt x="589" y="124"/>
                      <a:pt x="589" y="124"/>
                      <a:pt x="589" y="124"/>
                    </a:cubicBezTo>
                    <a:cubicBezTo>
                      <a:pt x="590" y="126"/>
                      <a:pt x="590" y="126"/>
                      <a:pt x="590" y="126"/>
                    </a:cubicBezTo>
                    <a:cubicBezTo>
                      <a:pt x="591" y="125"/>
                      <a:pt x="591" y="125"/>
                      <a:pt x="591" y="125"/>
                    </a:cubicBezTo>
                    <a:cubicBezTo>
                      <a:pt x="590" y="126"/>
                      <a:pt x="590" y="126"/>
                      <a:pt x="590" y="126"/>
                    </a:cubicBezTo>
                    <a:cubicBezTo>
                      <a:pt x="590" y="131"/>
                      <a:pt x="590" y="131"/>
                      <a:pt x="590" y="131"/>
                    </a:cubicBezTo>
                    <a:cubicBezTo>
                      <a:pt x="592" y="130"/>
                      <a:pt x="592" y="130"/>
                      <a:pt x="592" y="130"/>
                    </a:cubicBezTo>
                    <a:cubicBezTo>
                      <a:pt x="593" y="130"/>
                      <a:pt x="593" y="130"/>
                      <a:pt x="593" y="130"/>
                    </a:cubicBezTo>
                    <a:cubicBezTo>
                      <a:pt x="593" y="133"/>
                      <a:pt x="593" y="133"/>
                      <a:pt x="593" y="133"/>
                    </a:cubicBezTo>
                    <a:cubicBezTo>
                      <a:pt x="596" y="134"/>
                      <a:pt x="596" y="134"/>
                      <a:pt x="596" y="134"/>
                    </a:cubicBezTo>
                    <a:cubicBezTo>
                      <a:pt x="600" y="137"/>
                      <a:pt x="600" y="137"/>
                      <a:pt x="600" y="137"/>
                    </a:cubicBezTo>
                    <a:cubicBezTo>
                      <a:pt x="601" y="136"/>
                      <a:pt x="601" y="136"/>
                      <a:pt x="601" y="136"/>
                    </a:cubicBezTo>
                    <a:cubicBezTo>
                      <a:pt x="602" y="134"/>
                      <a:pt x="602" y="134"/>
                      <a:pt x="602" y="134"/>
                    </a:cubicBezTo>
                    <a:cubicBezTo>
                      <a:pt x="602" y="132"/>
                      <a:pt x="602" y="132"/>
                      <a:pt x="602" y="132"/>
                    </a:cubicBezTo>
                    <a:cubicBezTo>
                      <a:pt x="604" y="133"/>
                      <a:pt x="604" y="133"/>
                      <a:pt x="604" y="133"/>
                    </a:cubicBezTo>
                    <a:cubicBezTo>
                      <a:pt x="605" y="134"/>
                      <a:pt x="605" y="134"/>
                      <a:pt x="605" y="134"/>
                    </a:cubicBezTo>
                    <a:cubicBezTo>
                      <a:pt x="604" y="136"/>
                      <a:pt x="604" y="136"/>
                      <a:pt x="604" y="136"/>
                    </a:cubicBezTo>
                    <a:cubicBezTo>
                      <a:pt x="605" y="138"/>
                      <a:pt x="605" y="138"/>
                      <a:pt x="605" y="138"/>
                    </a:cubicBezTo>
                    <a:cubicBezTo>
                      <a:pt x="606" y="138"/>
                      <a:pt x="606" y="138"/>
                      <a:pt x="606" y="138"/>
                    </a:cubicBezTo>
                    <a:cubicBezTo>
                      <a:pt x="607" y="133"/>
                      <a:pt x="607" y="133"/>
                      <a:pt x="607" y="133"/>
                    </a:cubicBezTo>
                    <a:cubicBezTo>
                      <a:pt x="607" y="129"/>
                      <a:pt x="607" y="129"/>
                      <a:pt x="607" y="129"/>
                    </a:cubicBezTo>
                    <a:cubicBezTo>
                      <a:pt x="608" y="126"/>
                      <a:pt x="608" y="126"/>
                      <a:pt x="608" y="126"/>
                    </a:cubicBezTo>
                    <a:cubicBezTo>
                      <a:pt x="610" y="124"/>
                      <a:pt x="610" y="124"/>
                      <a:pt x="610" y="124"/>
                    </a:cubicBezTo>
                    <a:cubicBezTo>
                      <a:pt x="611" y="122"/>
                      <a:pt x="611" y="122"/>
                      <a:pt x="611" y="122"/>
                    </a:cubicBezTo>
                    <a:cubicBezTo>
                      <a:pt x="611" y="124"/>
                      <a:pt x="611" y="124"/>
                      <a:pt x="611" y="124"/>
                    </a:cubicBezTo>
                    <a:cubicBezTo>
                      <a:pt x="609" y="128"/>
                      <a:pt x="609" y="128"/>
                      <a:pt x="609" y="128"/>
                    </a:cubicBezTo>
                    <a:cubicBezTo>
                      <a:pt x="608" y="131"/>
                      <a:pt x="608" y="131"/>
                      <a:pt x="608" y="131"/>
                    </a:cubicBezTo>
                    <a:cubicBezTo>
                      <a:pt x="609" y="132"/>
                      <a:pt x="609" y="132"/>
                      <a:pt x="609" y="132"/>
                    </a:cubicBezTo>
                    <a:cubicBezTo>
                      <a:pt x="608" y="136"/>
                      <a:pt x="608" y="136"/>
                      <a:pt x="608" y="136"/>
                    </a:cubicBezTo>
                    <a:cubicBezTo>
                      <a:pt x="609" y="138"/>
                      <a:pt x="609" y="138"/>
                      <a:pt x="609" y="138"/>
                    </a:cubicBezTo>
                    <a:cubicBezTo>
                      <a:pt x="609" y="139"/>
                      <a:pt x="609" y="139"/>
                      <a:pt x="609" y="139"/>
                    </a:cubicBezTo>
                    <a:cubicBezTo>
                      <a:pt x="609" y="140"/>
                      <a:pt x="609" y="140"/>
                      <a:pt x="609" y="140"/>
                    </a:cubicBezTo>
                    <a:close/>
                    <a:moveTo>
                      <a:pt x="614" y="53"/>
                    </a:moveTo>
                    <a:cubicBezTo>
                      <a:pt x="614" y="52"/>
                      <a:pt x="614" y="52"/>
                      <a:pt x="614" y="52"/>
                    </a:cubicBezTo>
                    <a:cubicBezTo>
                      <a:pt x="616" y="52"/>
                      <a:pt x="616" y="52"/>
                      <a:pt x="616" y="52"/>
                    </a:cubicBezTo>
                    <a:cubicBezTo>
                      <a:pt x="616" y="53"/>
                      <a:pt x="616" y="53"/>
                      <a:pt x="616" y="53"/>
                    </a:cubicBezTo>
                    <a:cubicBezTo>
                      <a:pt x="618" y="53"/>
                      <a:pt x="618" y="53"/>
                      <a:pt x="618" y="53"/>
                    </a:cubicBezTo>
                    <a:cubicBezTo>
                      <a:pt x="618" y="54"/>
                      <a:pt x="618" y="54"/>
                      <a:pt x="618" y="54"/>
                    </a:cubicBezTo>
                    <a:cubicBezTo>
                      <a:pt x="617" y="54"/>
                      <a:pt x="617" y="54"/>
                      <a:pt x="617" y="54"/>
                    </a:cubicBezTo>
                    <a:cubicBezTo>
                      <a:pt x="616" y="54"/>
                      <a:pt x="616" y="54"/>
                      <a:pt x="616" y="54"/>
                    </a:cubicBezTo>
                    <a:cubicBezTo>
                      <a:pt x="614" y="53"/>
                      <a:pt x="614" y="53"/>
                      <a:pt x="614" y="53"/>
                    </a:cubicBezTo>
                    <a:cubicBezTo>
                      <a:pt x="614" y="53"/>
                      <a:pt x="614" y="53"/>
                      <a:pt x="614" y="53"/>
                    </a:cubicBezTo>
                    <a:close/>
                    <a:moveTo>
                      <a:pt x="615" y="139"/>
                    </a:moveTo>
                    <a:cubicBezTo>
                      <a:pt x="615" y="137"/>
                      <a:pt x="615" y="137"/>
                      <a:pt x="615" y="137"/>
                    </a:cubicBezTo>
                    <a:cubicBezTo>
                      <a:pt x="617" y="136"/>
                      <a:pt x="617" y="136"/>
                      <a:pt x="617" y="136"/>
                    </a:cubicBezTo>
                    <a:cubicBezTo>
                      <a:pt x="617" y="135"/>
                      <a:pt x="617" y="135"/>
                      <a:pt x="617" y="135"/>
                    </a:cubicBezTo>
                    <a:cubicBezTo>
                      <a:pt x="618" y="134"/>
                      <a:pt x="618" y="134"/>
                      <a:pt x="618" y="134"/>
                    </a:cubicBezTo>
                    <a:cubicBezTo>
                      <a:pt x="619" y="135"/>
                      <a:pt x="619" y="135"/>
                      <a:pt x="619" y="135"/>
                    </a:cubicBezTo>
                    <a:cubicBezTo>
                      <a:pt x="618" y="136"/>
                      <a:pt x="618" y="136"/>
                      <a:pt x="618" y="136"/>
                    </a:cubicBezTo>
                    <a:cubicBezTo>
                      <a:pt x="618" y="137"/>
                      <a:pt x="618" y="137"/>
                      <a:pt x="618" y="137"/>
                    </a:cubicBezTo>
                    <a:cubicBezTo>
                      <a:pt x="616" y="139"/>
                      <a:pt x="616" y="139"/>
                      <a:pt x="616" y="139"/>
                    </a:cubicBezTo>
                    <a:cubicBezTo>
                      <a:pt x="615" y="139"/>
                      <a:pt x="615" y="139"/>
                      <a:pt x="615" y="139"/>
                    </a:cubicBezTo>
                    <a:close/>
                    <a:moveTo>
                      <a:pt x="635" y="120"/>
                    </a:moveTo>
                    <a:cubicBezTo>
                      <a:pt x="637" y="117"/>
                      <a:pt x="637" y="117"/>
                      <a:pt x="637" y="117"/>
                    </a:cubicBezTo>
                    <a:cubicBezTo>
                      <a:pt x="639" y="117"/>
                      <a:pt x="639" y="117"/>
                      <a:pt x="639" y="117"/>
                    </a:cubicBezTo>
                    <a:cubicBezTo>
                      <a:pt x="641" y="116"/>
                      <a:pt x="641" y="116"/>
                      <a:pt x="641" y="116"/>
                    </a:cubicBezTo>
                    <a:cubicBezTo>
                      <a:pt x="642" y="117"/>
                      <a:pt x="642" y="117"/>
                      <a:pt x="642" y="117"/>
                    </a:cubicBezTo>
                    <a:cubicBezTo>
                      <a:pt x="644" y="119"/>
                      <a:pt x="644" y="119"/>
                      <a:pt x="644" y="119"/>
                    </a:cubicBezTo>
                    <a:cubicBezTo>
                      <a:pt x="644" y="120"/>
                      <a:pt x="644" y="120"/>
                      <a:pt x="644" y="120"/>
                    </a:cubicBezTo>
                    <a:cubicBezTo>
                      <a:pt x="641" y="120"/>
                      <a:pt x="641" y="120"/>
                      <a:pt x="641" y="120"/>
                    </a:cubicBezTo>
                    <a:cubicBezTo>
                      <a:pt x="640" y="121"/>
                      <a:pt x="640" y="121"/>
                      <a:pt x="640" y="121"/>
                    </a:cubicBezTo>
                    <a:cubicBezTo>
                      <a:pt x="637" y="122"/>
                      <a:pt x="637" y="122"/>
                      <a:pt x="637" y="122"/>
                    </a:cubicBezTo>
                    <a:cubicBezTo>
                      <a:pt x="636" y="121"/>
                      <a:pt x="636" y="121"/>
                      <a:pt x="636" y="121"/>
                    </a:cubicBezTo>
                    <a:cubicBezTo>
                      <a:pt x="635" y="120"/>
                      <a:pt x="635" y="120"/>
                      <a:pt x="635" y="120"/>
                    </a:cubicBezTo>
                    <a:close/>
                    <a:moveTo>
                      <a:pt x="781" y="4"/>
                    </a:moveTo>
                    <a:cubicBezTo>
                      <a:pt x="782" y="2"/>
                      <a:pt x="782" y="2"/>
                      <a:pt x="782" y="2"/>
                    </a:cubicBezTo>
                    <a:cubicBezTo>
                      <a:pt x="783" y="2"/>
                      <a:pt x="783" y="2"/>
                      <a:pt x="783" y="2"/>
                    </a:cubicBezTo>
                    <a:cubicBezTo>
                      <a:pt x="784" y="3"/>
                      <a:pt x="784" y="3"/>
                      <a:pt x="784" y="3"/>
                    </a:cubicBezTo>
                    <a:cubicBezTo>
                      <a:pt x="782" y="4"/>
                      <a:pt x="782" y="4"/>
                      <a:pt x="782" y="4"/>
                    </a:cubicBezTo>
                    <a:cubicBezTo>
                      <a:pt x="781" y="4"/>
                      <a:pt x="781" y="4"/>
                      <a:pt x="781" y="4"/>
                    </a:cubicBezTo>
                    <a:close/>
                    <a:moveTo>
                      <a:pt x="711" y="143"/>
                    </a:moveTo>
                    <a:cubicBezTo>
                      <a:pt x="710" y="144"/>
                      <a:pt x="710" y="144"/>
                      <a:pt x="710" y="144"/>
                    </a:cubicBezTo>
                    <a:cubicBezTo>
                      <a:pt x="711" y="145"/>
                      <a:pt x="711" y="145"/>
                      <a:pt x="711" y="145"/>
                    </a:cubicBezTo>
                    <a:cubicBezTo>
                      <a:pt x="713" y="145"/>
                      <a:pt x="713" y="145"/>
                      <a:pt x="713" y="145"/>
                    </a:cubicBezTo>
                    <a:cubicBezTo>
                      <a:pt x="713" y="144"/>
                      <a:pt x="713" y="144"/>
                      <a:pt x="713" y="144"/>
                    </a:cubicBezTo>
                    <a:cubicBezTo>
                      <a:pt x="712" y="143"/>
                      <a:pt x="712" y="143"/>
                      <a:pt x="712" y="143"/>
                    </a:cubicBezTo>
                    <a:cubicBezTo>
                      <a:pt x="712" y="143"/>
                      <a:pt x="711" y="143"/>
                      <a:pt x="711" y="143"/>
                    </a:cubicBezTo>
                    <a:close/>
                    <a:moveTo>
                      <a:pt x="676" y="165"/>
                    </a:moveTo>
                    <a:cubicBezTo>
                      <a:pt x="677" y="166"/>
                      <a:pt x="677" y="166"/>
                      <a:pt x="677" y="166"/>
                    </a:cubicBezTo>
                    <a:cubicBezTo>
                      <a:pt x="679" y="166"/>
                      <a:pt x="679" y="166"/>
                      <a:pt x="679" y="166"/>
                    </a:cubicBezTo>
                    <a:cubicBezTo>
                      <a:pt x="678" y="165"/>
                      <a:pt x="678" y="165"/>
                      <a:pt x="678" y="165"/>
                    </a:cubicBezTo>
                    <a:cubicBezTo>
                      <a:pt x="676" y="165"/>
                      <a:pt x="676" y="165"/>
                      <a:pt x="676" y="165"/>
                    </a:cubicBezTo>
                    <a:close/>
                    <a:moveTo>
                      <a:pt x="627" y="164"/>
                    </a:moveTo>
                    <a:cubicBezTo>
                      <a:pt x="626" y="162"/>
                      <a:pt x="626" y="162"/>
                      <a:pt x="626" y="162"/>
                    </a:cubicBezTo>
                    <a:cubicBezTo>
                      <a:pt x="626" y="161"/>
                      <a:pt x="626" y="161"/>
                      <a:pt x="626" y="161"/>
                    </a:cubicBezTo>
                    <a:cubicBezTo>
                      <a:pt x="627" y="161"/>
                      <a:pt x="627" y="161"/>
                      <a:pt x="627" y="161"/>
                    </a:cubicBezTo>
                    <a:cubicBezTo>
                      <a:pt x="628" y="162"/>
                      <a:pt x="628" y="162"/>
                      <a:pt x="628" y="162"/>
                    </a:cubicBezTo>
                    <a:cubicBezTo>
                      <a:pt x="628" y="164"/>
                      <a:pt x="628" y="164"/>
                      <a:pt x="628" y="164"/>
                    </a:cubicBezTo>
                    <a:cubicBezTo>
                      <a:pt x="627" y="164"/>
                      <a:pt x="627" y="164"/>
                      <a:pt x="627" y="164"/>
                    </a:cubicBezTo>
                    <a:cubicBezTo>
                      <a:pt x="627" y="164"/>
                      <a:pt x="627" y="164"/>
                      <a:pt x="627" y="164"/>
                    </a:cubicBezTo>
                    <a:close/>
                    <a:moveTo>
                      <a:pt x="613" y="194"/>
                    </a:moveTo>
                    <a:cubicBezTo>
                      <a:pt x="613" y="193"/>
                      <a:pt x="613" y="193"/>
                      <a:pt x="613" y="193"/>
                    </a:cubicBezTo>
                    <a:cubicBezTo>
                      <a:pt x="613" y="191"/>
                      <a:pt x="613" y="191"/>
                      <a:pt x="613" y="191"/>
                    </a:cubicBezTo>
                    <a:cubicBezTo>
                      <a:pt x="612" y="189"/>
                      <a:pt x="612" y="189"/>
                      <a:pt x="612" y="189"/>
                    </a:cubicBezTo>
                    <a:cubicBezTo>
                      <a:pt x="612" y="188"/>
                      <a:pt x="612" y="188"/>
                      <a:pt x="612" y="188"/>
                    </a:cubicBezTo>
                    <a:cubicBezTo>
                      <a:pt x="611" y="189"/>
                      <a:pt x="611" y="189"/>
                      <a:pt x="611" y="189"/>
                    </a:cubicBezTo>
                    <a:cubicBezTo>
                      <a:pt x="610" y="191"/>
                      <a:pt x="610" y="191"/>
                      <a:pt x="610" y="191"/>
                    </a:cubicBezTo>
                    <a:cubicBezTo>
                      <a:pt x="611" y="195"/>
                      <a:pt x="611" y="195"/>
                      <a:pt x="611" y="195"/>
                    </a:cubicBezTo>
                    <a:cubicBezTo>
                      <a:pt x="612" y="197"/>
                      <a:pt x="612" y="197"/>
                      <a:pt x="612" y="197"/>
                    </a:cubicBezTo>
                    <a:cubicBezTo>
                      <a:pt x="612" y="198"/>
                      <a:pt x="612" y="198"/>
                      <a:pt x="612" y="198"/>
                    </a:cubicBezTo>
                    <a:cubicBezTo>
                      <a:pt x="611" y="198"/>
                      <a:pt x="611" y="198"/>
                      <a:pt x="611" y="198"/>
                    </a:cubicBezTo>
                    <a:cubicBezTo>
                      <a:pt x="609" y="198"/>
                      <a:pt x="609" y="198"/>
                      <a:pt x="609" y="198"/>
                    </a:cubicBezTo>
                    <a:cubicBezTo>
                      <a:pt x="606" y="198"/>
                      <a:pt x="606" y="198"/>
                      <a:pt x="606" y="198"/>
                    </a:cubicBezTo>
                    <a:cubicBezTo>
                      <a:pt x="606" y="196"/>
                      <a:pt x="606" y="196"/>
                      <a:pt x="606" y="196"/>
                    </a:cubicBezTo>
                    <a:cubicBezTo>
                      <a:pt x="605" y="196"/>
                      <a:pt x="605" y="196"/>
                      <a:pt x="605" y="196"/>
                    </a:cubicBezTo>
                    <a:cubicBezTo>
                      <a:pt x="602" y="194"/>
                      <a:pt x="602" y="194"/>
                      <a:pt x="602" y="194"/>
                    </a:cubicBezTo>
                    <a:cubicBezTo>
                      <a:pt x="601" y="194"/>
                      <a:pt x="601" y="194"/>
                      <a:pt x="601" y="194"/>
                    </a:cubicBezTo>
                    <a:cubicBezTo>
                      <a:pt x="600" y="193"/>
                      <a:pt x="600" y="193"/>
                      <a:pt x="600" y="193"/>
                    </a:cubicBezTo>
                    <a:cubicBezTo>
                      <a:pt x="599" y="193"/>
                      <a:pt x="599" y="193"/>
                      <a:pt x="599" y="193"/>
                    </a:cubicBezTo>
                    <a:cubicBezTo>
                      <a:pt x="598" y="193"/>
                      <a:pt x="598" y="193"/>
                      <a:pt x="598" y="193"/>
                    </a:cubicBezTo>
                    <a:cubicBezTo>
                      <a:pt x="598" y="192"/>
                      <a:pt x="598" y="192"/>
                      <a:pt x="598" y="192"/>
                    </a:cubicBezTo>
                    <a:cubicBezTo>
                      <a:pt x="599" y="190"/>
                      <a:pt x="599" y="190"/>
                      <a:pt x="599" y="190"/>
                    </a:cubicBezTo>
                    <a:cubicBezTo>
                      <a:pt x="600" y="190"/>
                      <a:pt x="600" y="190"/>
                      <a:pt x="600" y="190"/>
                    </a:cubicBezTo>
                    <a:cubicBezTo>
                      <a:pt x="601" y="188"/>
                      <a:pt x="601" y="188"/>
                      <a:pt x="601" y="188"/>
                    </a:cubicBezTo>
                    <a:cubicBezTo>
                      <a:pt x="601" y="187"/>
                      <a:pt x="601" y="187"/>
                      <a:pt x="601" y="187"/>
                    </a:cubicBezTo>
                    <a:cubicBezTo>
                      <a:pt x="600" y="184"/>
                      <a:pt x="600" y="184"/>
                      <a:pt x="600" y="184"/>
                    </a:cubicBezTo>
                    <a:cubicBezTo>
                      <a:pt x="599" y="184"/>
                      <a:pt x="599" y="184"/>
                      <a:pt x="599" y="184"/>
                    </a:cubicBezTo>
                    <a:cubicBezTo>
                      <a:pt x="599" y="185"/>
                      <a:pt x="599" y="185"/>
                      <a:pt x="599" y="185"/>
                    </a:cubicBezTo>
                    <a:cubicBezTo>
                      <a:pt x="600" y="186"/>
                      <a:pt x="600" y="186"/>
                      <a:pt x="600" y="186"/>
                    </a:cubicBezTo>
                    <a:cubicBezTo>
                      <a:pt x="600" y="188"/>
                      <a:pt x="600" y="188"/>
                      <a:pt x="600" y="188"/>
                    </a:cubicBezTo>
                    <a:cubicBezTo>
                      <a:pt x="599" y="189"/>
                      <a:pt x="599" y="189"/>
                      <a:pt x="599" y="189"/>
                    </a:cubicBezTo>
                    <a:cubicBezTo>
                      <a:pt x="598" y="189"/>
                      <a:pt x="598" y="189"/>
                      <a:pt x="598" y="189"/>
                    </a:cubicBezTo>
                    <a:cubicBezTo>
                      <a:pt x="597" y="189"/>
                      <a:pt x="597" y="189"/>
                      <a:pt x="597" y="189"/>
                    </a:cubicBezTo>
                    <a:cubicBezTo>
                      <a:pt x="597" y="190"/>
                      <a:pt x="597" y="190"/>
                      <a:pt x="597" y="190"/>
                    </a:cubicBezTo>
                    <a:cubicBezTo>
                      <a:pt x="598" y="191"/>
                      <a:pt x="598" y="191"/>
                      <a:pt x="598" y="191"/>
                    </a:cubicBezTo>
                    <a:cubicBezTo>
                      <a:pt x="597" y="192"/>
                      <a:pt x="597" y="192"/>
                      <a:pt x="597" y="192"/>
                    </a:cubicBezTo>
                    <a:cubicBezTo>
                      <a:pt x="596" y="192"/>
                      <a:pt x="596" y="192"/>
                      <a:pt x="596" y="192"/>
                    </a:cubicBezTo>
                    <a:cubicBezTo>
                      <a:pt x="594" y="190"/>
                      <a:pt x="594" y="190"/>
                      <a:pt x="594" y="190"/>
                    </a:cubicBezTo>
                    <a:cubicBezTo>
                      <a:pt x="594" y="189"/>
                      <a:pt x="594" y="189"/>
                      <a:pt x="594" y="189"/>
                    </a:cubicBezTo>
                    <a:cubicBezTo>
                      <a:pt x="594" y="188"/>
                      <a:pt x="594" y="188"/>
                      <a:pt x="594" y="188"/>
                    </a:cubicBezTo>
                    <a:cubicBezTo>
                      <a:pt x="595" y="185"/>
                      <a:pt x="595" y="185"/>
                      <a:pt x="595" y="185"/>
                    </a:cubicBezTo>
                    <a:cubicBezTo>
                      <a:pt x="595" y="184"/>
                      <a:pt x="595" y="184"/>
                      <a:pt x="595" y="184"/>
                    </a:cubicBezTo>
                    <a:cubicBezTo>
                      <a:pt x="595" y="183"/>
                      <a:pt x="595" y="183"/>
                      <a:pt x="595" y="183"/>
                    </a:cubicBezTo>
                    <a:cubicBezTo>
                      <a:pt x="594" y="184"/>
                      <a:pt x="594" y="184"/>
                      <a:pt x="594" y="184"/>
                    </a:cubicBezTo>
                    <a:cubicBezTo>
                      <a:pt x="593" y="186"/>
                      <a:pt x="593" y="186"/>
                      <a:pt x="593" y="186"/>
                    </a:cubicBezTo>
                    <a:cubicBezTo>
                      <a:pt x="593" y="187"/>
                      <a:pt x="593" y="187"/>
                      <a:pt x="593" y="187"/>
                    </a:cubicBezTo>
                    <a:cubicBezTo>
                      <a:pt x="593" y="188"/>
                      <a:pt x="593" y="188"/>
                      <a:pt x="593" y="188"/>
                    </a:cubicBezTo>
                    <a:cubicBezTo>
                      <a:pt x="592" y="190"/>
                      <a:pt x="592" y="190"/>
                      <a:pt x="592" y="190"/>
                    </a:cubicBezTo>
                    <a:cubicBezTo>
                      <a:pt x="591" y="189"/>
                      <a:pt x="591" y="189"/>
                      <a:pt x="591" y="189"/>
                    </a:cubicBezTo>
                    <a:cubicBezTo>
                      <a:pt x="589" y="188"/>
                      <a:pt x="589" y="188"/>
                      <a:pt x="589" y="188"/>
                    </a:cubicBezTo>
                    <a:cubicBezTo>
                      <a:pt x="588" y="188"/>
                      <a:pt x="588" y="188"/>
                      <a:pt x="588" y="188"/>
                    </a:cubicBezTo>
                    <a:cubicBezTo>
                      <a:pt x="588" y="187"/>
                      <a:pt x="588" y="187"/>
                      <a:pt x="588" y="187"/>
                    </a:cubicBezTo>
                    <a:cubicBezTo>
                      <a:pt x="589" y="186"/>
                      <a:pt x="589" y="186"/>
                      <a:pt x="589" y="186"/>
                    </a:cubicBezTo>
                    <a:cubicBezTo>
                      <a:pt x="589" y="184"/>
                      <a:pt x="589" y="184"/>
                      <a:pt x="589" y="184"/>
                    </a:cubicBezTo>
                    <a:cubicBezTo>
                      <a:pt x="589" y="183"/>
                      <a:pt x="589" y="183"/>
                      <a:pt x="589" y="183"/>
                    </a:cubicBezTo>
                    <a:cubicBezTo>
                      <a:pt x="589" y="181"/>
                      <a:pt x="589" y="181"/>
                      <a:pt x="589" y="181"/>
                    </a:cubicBezTo>
                    <a:cubicBezTo>
                      <a:pt x="591" y="177"/>
                      <a:pt x="591" y="177"/>
                      <a:pt x="591" y="177"/>
                    </a:cubicBezTo>
                    <a:cubicBezTo>
                      <a:pt x="590" y="178"/>
                      <a:pt x="590" y="178"/>
                      <a:pt x="590" y="178"/>
                    </a:cubicBezTo>
                    <a:cubicBezTo>
                      <a:pt x="589" y="179"/>
                      <a:pt x="589" y="179"/>
                      <a:pt x="589" y="179"/>
                    </a:cubicBezTo>
                    <a:cubicBezTo>
                      <a:pt x="588" y="182"/>
                      <a:pt x="588" y="182"/>
                      <a:pt x="588" y="182"/>
                    </a:cubicBezTo>
                    <a:cubicBezTo>
                      <a:pt x="588" y="185"/>
                      <a:pt x="588" y="185"/>
                      <a:pt x="588" y="185"/>
                    </a:cubicBezTo>
                    <a:cubicBezTo>
                      <a:pt x="587" y="187"/>
                      <a:pt x="587" y="187"/>
                      <a:pt x="587" y="187"/>
                    </a:cubicBezTo>
                    <a:cubicBezTo>
                      <a:pt x="586" y="186"/>
                      <a:pt x="586" y="186"/>
                      <a:pt x="586" y="186"/>
                    </a:cubicBezTo>
                    <a:cubicBezTo>
                      <a:pt x="587" y="184"/>
                      <a:pt x="587" y="184"/>
                      <a:pt x="587" y="184"/>
                    </a:cubicBezTo>
                    <a:cubicBezTo>
                      <a:pt x="587" y="184"/>
                      <a:pt x="587" y="184"/>
                      <a:pt x="587" y="184"/>
                    </a:cubicBezTo>
                    <a:cubicBezTo>
                      <a:pt x="586" y="184"/>
                      <a:pt x="586" y="184"/>
                      <a:pt x="586" y="184"/>
                    </a:cubicBezTo>
                    <a:cubicBezTo>
                      <a:pt x="585" y="186"/>
                      <a:pt x="585" y="186"/>
                      <a:pt x="585" y="186"/>
                    </a:cubicBezTo>
                    <a:cubicBezTo>
                      <a:pt x="583" y="186"/>
                      <a:pt x="583" y="186"/>
                      <a:pt x="583" y="186"/>
                    </a:cubicBezTo>
                    <a:cubicBezTo>
                      <a:pt x="583" y="185"/>
                      <a:pt x="583" y="185"/>
                      <a:pt x="583" y="185"/>
                    </a:cubicBezTo>
                    <a:cubicBezTo>
                      <a:pt x="583" y="183"/>
                      <a:pt x="583" y="183"/>
                      <a:pt x="583" y="183"/>
                    </a:cubicBezTo>
                    <a:cubicBezTo>
                      <a:pt x="582" y="182"/>
                      <a:pt x="582" y="182"/>
                      <a:pt x="582" y="182"/>
                    </a:cubicBezTo>
                    <a:cubicBezTo>
                      <a:pt x="583" y="180"/>
                      <a:pt x="583" y="180"/>
                      <a:pt x="583" y="180"/>
                    </a:cubicBezTo>
                    <a:cubicBezTo>
                      <a:pt x="585" y="179"/>
                      <a:pt x="585" y="179"/>
                      <a:pt x="585" y="179"/>
                    </a:cubicBezTo>
                    <a:cubicBezTo>
                      <a:pt x="585" y="177"/>
                      <a:pt x="585" y="177"/>
                      <a:pt x="585" y="177"/>
                    </a:cubicBezTo>
                    <a:cubicBezTo>
                      <a:pt x="585" y="176"/>
                      <a:pt x="585" y="176"/>
                      <a:pt x="585" y="176"/>
                    </a:cubicBezTo>
                    <a:cubicBezTo>
                      <a:pt x="586" y="175"/>
                      <a:pt x="586" y="175"/>
                      <a:pt x="586" y="175"/>
                    </a:cubicBezTo>
                    <a:cubicBezTo>
                      <a:pt x="587" y="173"/>
                      <a:pt x="587" y="173"/>
                      <a:pt x="587" y="173"/>
                    </a:cubicBezTo>
                    <a:cubicBezTo>
                      <a:pt x="588" y="173"/>
                      <a:pt x="588" y="173"/>
                      <a:pt x="588" y="173"/>
                    </a:cubicBezTo>
                    <a:cubicBezTo>
                      <a:pt x="589" y="172"/>
                      <a:pt x="589" y="172"/>
                      <a:pt x="589" y="172"/>
                    </a:cubicBezTo>
                    <a:cubicBezTo>
                      <a:pt x="592" y="172"/>
                      <a:pt x="592" y="172"/>
                      <a:pt x="592" y="172"/>
                    </a:cubicBezTo>
                    <a:cubicBezTo>
                      <a:pt x="593" y="171"/>
                      <a:pt x="593" y="171"/>
                      <a:pt x="593" y="171"/>
                    </a:cubicBezTo>
                    <a:cubicBezTo>
                      <a:pt x="595" y="170"/>
                      <a:pt x="595" y="170"/>
                      <a:pt x="595" y="170"/>
                    </a:cubicBezTo>
                    <a:cubicBezTo>
                      <a:pt x="596" y="170"/>
                      <a:pt x="596" y="170"/>
                      <a:pt x="596" y="170"/>
                    </a:cubicBezTo>
                    <a:cubicBezTo>
                      <a:pt x="596" y="169"/>
                      <a:pt x="596" y="169"/>
                      <a:pt x="596" y="169"/>
                    </a:cubicBezTo>
                    <a:cubicBezTo>
                      <a:pt x="597" y="168"/>
                      <a:pt x="597" y="168"/>
                      <a:pt x="597" y="168"/>
                    </a:cubicBezTo>
                    <a:cubicBezTo>
                      <a:pt x="598" y="168"/>
                      <a:pt x="598" y="168"/>
                      <a:pt x="598" y="168"/>
                    </a:cubicBezTo>
                    <a:cubicBezTo>
                      <a:pt x="601" y="169"/>
                      <a:pt x="601" y="169"/>
                      <a:pt x="601" y="169"/>
                    </a:cubicBezTo>
                    <a:cubicBezTo>
                      <a:pt x="604" y="169"/>
                      <a:pt x="604" y="169"/>
                      <a:pt x="604" y="169"/>
                    </a:cubicBezTo>
                    <a:cubicBezTo>
                      <a:pt x="605" y="168"/>
                      <a:pt x="605" y="168"/>
                      <a:pt x="605" y="168"/>
                    </a:cubicBezTo>
                    <a:cubicBezTo>
                      <a:pt x="607" y="169"/>
                      <a:pt x="607" y="169"/>
                      <a:pt x="607" y="169"/>
                    </a:cubicBezTo>
                    <a:cubicBezTo>
                      <a:pt x="608" y="170"/>
                      <a:pt x="608" y="170"/>
                      <a:pt x="608" y="170"/>
                    </a:cubicBezTo>
                    <a:cubicBezTo>
                      <a:pt x="609" y="170"/>
                      <a:pt x="609" y="170"/>
                      <a:pt x="609" y="170"/>
                    </a:cubicBezTo>
                    <a:cubicBezTo>
                      <a:pt x="609" y="169"/>
                      <a:pt x="609" y="169"/>
                      <a:pt x="609" y="169"/>
                    </a:cubicBezTo>
                    <a:cubicBezTo>
                      <a:pt x="610" y="169"/>
                      <a:pt x="610" y="169"/>
                      <a:pt x="610" y="169"/>
                    </a:cubicBezTo>
                    <a:cubicBezTo>
                      <a:pt x="612" y="171"/>
                      <a:pt x="612" y="171"/>
                      <a:pt x="612" y="171"/>
                    </a:cubicBezTo>
                    <a:cubicBezTo>
                      <a:pt x="613" y="170"/>
                      <a:pt x="613" y="170"/>
                      <a:pt x="613" y="170"/>
                    </a:cubicBezTo>
                    <a:cubicBezTo>
                      <a:pt x="615" y="170"/>
                      <a:pt x="615" y="170"/>
                      <a:pt x="615" y="170"/>
                    </a:cubicBezTo>
                    <a:cubicBezTo>
                      <a:pt x="615" y="169"/>
                      <a:pt x="615" y="169"/>
                      <a:pt x="615" y="169"/>
                    </a:cubicBezTo>
                    <a:cubicBezTo>
                      <a:pt x="615" y="169"/>
                      <a:pt x="615" y="169"/>
                      <a:pt x="615" y="169"/>
                    </a:cubicBezTo>
                    <a:cubicBezTo>
                      <a:pt x="613" y="169"/>
                      <a:pt x="613" y="169"/>
                      <a:pt x="613" y="169"/>
                    </a:cubicBezTo>
                    <a:cubicBezTo>
                      <a:pt x="612" y="168"/>
                      <a:pt x="612" y="168"/>
                      <a:pt x="612" y="168"/>
                    </a:cubicBezTo>
                    <a:cubicBezTo>
                      <a:pt x="611" y="168"/>
                      <a:pt x="611" y="168"/>
                      <a:pt x="611" y="168"/>
                    </a:cubicBezTo>
                    <a:cubicBezTo>
                      <a:pt x="611" y="167"/>
                      <a:pt x="611" y="167"/>
                      <a:pt x="611" y="167"/>
                    </a:cubicBezTo>
                    <a:cubicBezTo>
                      <a:pt x="613" y="166"/>
                      <a:pt x="613" y="166"/>
                      <a:pt x="613" y="166"/>
                    </a:cubicBezTo>
                    <a:cubicBezTo>
                      <a:pt x="613" y="165"/>
                      <a:pt x="613" y="165"/>
                      <a:pt x="613" y="165"/>
                    </a:cubicBezTo>
                    <a:cubicBezTo>
                      <a:pt x="611" y="165"/>
                      <a:pt x="611" y="165"/>
                      <a:pt x="611" y="165"/>
                    </a:cubicBezTo>
                    <a:cubicBezTo>
                      <a:pt x="611" y="164"/>
                      <a:pt x="611" y="164"/>
                      <a:pt x="611" y="164"/>
                    </a:cubicBezTo>
                    <a:cubicBezTo>
                      <a:pt x="613" y="164"/>
                      <a:pt x="613" y="164"/>
                      <a:pt x="613" y="164"/>
                    </a:cubicBezTo>
                    <a:cubicBezTo>
                      <a:pt x="614" y="164"/>
                      <a:pt x="614" y="164"/>
                      <a:pt x="614" y="164"/>
                    </a:cubicBezTo>
                    <a:cubicBezTo>
                      <a:pt x="612" y="163"/>
                      <a:pt x="612" y="163"/>
                      <a:pt x="612" y="163"/>
                    </a:cubicBezTo>
                    <a:cubicBezTo>
                      <a:pt x="611" y="163"/>
                      <a:pt x="611" y="163"/>
                      <a:pt x="611" y="163"/>
                    </a:cubicBezTo>
                    <a:cubicBezTo>
                      <a:pt x="610" y="164"/>
                      <a:pt x="610" y="164"/>
                      <a:pt x="610" y="164"/>
                    </a:cubicBezTo>
                    <a:cubicBezTo>
                      <a:pt x="609" y="162"/>
                      <a:pt x="609" y="162"/>
                      <a:pt x="609" y="162"/>
                    </a:cubicBezTo>
                    <a:cubicBezTo>
                      <a:pt x="609" y="161"/>
                      <a:pt x="609" y="161"/>
                      <a:pt x="609" y="161"/>
                    </a:cubicBezTo>
                    <a:cubicBezTo>
                      <a:pt x="611" y="159"/>
                      <a:pt x="611" y="159"/>
                      <a:pt x="611" y="159"/>
                    </a:cubicBezTo>
                    <a:cubicBezTo>
                      <a:pt x="611" y="158"/>
                      <a:pt x="611" y="158"/>
                      <a:pt x="611" y="158"/>
                    </a:cubicBezTo>
                    <a:cubicBezTo>
                      <a:pt x="610" y="158"/>
                      <a:pt x="610" y="158"/>
                      <a:pt x="610" y="158"/>
                    </a:cubicBezTo>
                    <a:cubicBezTo>
                      <a:pt x="609" y="157"/>
                      <a:pt x="609" y="157"/>
                      <a:pt x="609" y="157"/>
                    </a:cubicBezTo>
                    <a:cubicBezTo>
                      <a:pt x="609" y="154"/>
                      <a:pt x="609" y="154"/>
                      <a:pt x="609" y="154"/>
                    </a:cubicBezTo>
                    <a:cubicBezTo>
                      <a:pt x="610" y="153"/>
                      <a:pt x="610" y="153"/>
                      <a:pt x="610" y="153"/>
                    </a:cubicBezTo>
                    <a:cubicBezTo>
                      <a:pt x="610" y="151"/>
                      <a:pt x="610" y="151"/>
                      <a:pt x="610" y="151"/>
                    </a:cubicBezTo>
                    <a:cubicBezTo>
                      <a:pt x="610" y="149"/>
                      <a:pt x="610" y="149"/>
                      <a:pt x="610" y="149"/>
                    </a:cubicBezTo>
                    <a:cubicBezTo>
                      <a:pt x="611" y="149"/>
                      <a:pt x="611" y="149"/>
                      <a:pt x="611" y="149"/>
                    </a:cubicBezTo>
                    <a:cubicBezTo>
                      <a:pt x="613" y="149"/>
                      <a:pt x="613" y="149"/>
                      <a:pt x="613" y="149"/>
                    </a:cubicBezTo>
                    <a:cubicBezTo>
                      <a:pt x="615" y="149"/>
                      <a:pt x="615" y="149"/>
                      <a:pt x="615" y="149"/>
                    </a:cubicBezTo>
                    <a:cubicBezTo>
                      <a:pt x="616" y="148"/>
                      <a:pt x="616" y="148"/>
                      <a:pt x="616" y="148"/>
                    </a:cubicBezTo>
                    <a:cubicBezTo>
                      <a:pt x="618" y="149"/>
                      <a:pt x="618" y="149"/>
                      <a:pt x="618" y="149"/>
                    </a:cubicBezTo>
                    <a:cubicBezTo>
                      <a:pt x="620" y="149"/>
                      <a:pt x="620" y="149"/>
                      <a:pt x="620" y="149"/>
                    </a:cubicBezTo>
                    <a:cubicBezTo>
                      <a:pt x="622" y="152"/>
                      <a:pt x="622" y="152"/>
                      <a:pt x="622" y="152"/>
                    </a:cubicBezTo>
                    <a:cubicBezTo>
                      <a:pt x="623" y="156"/>
                      <a:pt x="623" y="156"/>
                      <a:pt x="623" y="156"/>
                    </a:cubicBezTo>
                    <a:cubicBezTo>
                      <a:pt x="623" y="161"/>
                      <a:pt x="623" y="161"/>
                      <a:pt x="623" y="161"/>
                    </a:cubicBezTo>
                    <a:cubicBezTo>
                      <a:pt x="622" y="164"/>
                      <a:pt x="622" y="164"/>
                      <a:pt x="622" y="164"/>
                    </a:cubicBezTo>
                    <a:cubicBezTo>
                      <a:pt x="623" y="165"/>
                      <a:pt x="623" y="165"/>
                      <a:pt x="623" y="165"/>
                    </a:cubicBezTo>
                    <a:cubicBezTo>
                      <a:pt x="624" y="164"/>
                      <a:pt x="624" y="164"/>
                      <a:pt x="624" y="164"/>
                    </a:cubicBezTo>
                    <a:cubicBezTo>
                      <a:pt x="627" y="166"/>
                      <a:pt x="627" y="166"/>
                      <a:pt x="627" y="166"/>
                    </a:cubicBezTo>
                    <a:cubicBezTo>
                      <a:pt x="629" y="168"/>
                      <a:pt x="629" y="168"/>
                      <a:pt x="629" y="168"/>
                    </a:cubicBezTo>
                    <a:cubicBezTo>
                      <a:pt x="630" y="169"/>
                      <a:pt x="630" y="169"/>
                      <a:pt x="630" y="169"/>
                    </a:cubicBezTo>
                    <a:cubicBezTo>
                      <a:pt x="630" y="167"/>
                      <a:pt x="630" y="167"/>
                      <a:pt x="630" y="167"/>
                    </a:cubicBezTo>
                    <a:cubicBezTo>
                      <a:pt x="634" y="167"/>
                      <a:pt x="634" y="167"/>
                      <a:pt x="634" y="167"/>
                    </a:cubicBezTo>
                    <a:cubicBezTo>
                      <a:pt x="636" y="170"/>
                      <a:pt x="636" y="170"/>
                      <a:pt x="636" y="170"/>
                    </a:cubicBezTo>
                    <a:cubicBezTo>
                      <a:pt x="637" y="169"/>
                      <a:pt x="637" y="169"/>
                      <a:pt x="637" y="169"/>
                    </a:cubicBezTo>
                    <a:cubicBezTo>
                      <a:pt x="636" y="168"/>
                      <a:pt x="636" y="168"/>
                      <a:pt x="636" y="168"/>
                    </a:cubicBezTo>
                    <a:cubicBezTo>
                      <a:pt x="638" y="166"/>
                      <a:pt x="638" y="166"/>
                      <a:pt x="638" y="166"/>
                    </a:cubicBezTo>
                    <a:cubicBezTo>
                      <a:pt x="641" y="165"/>
                      <a:pt x="641" y="165"/>
                      <a:pt x="641" y="165"/>
                    </a:cubicBezTo>
                    <a:cubicBezTo>
                      <a:pt x="642" y="162"/>
                      <a:pt x="642" y="162"/>
                      <a:pt x="642" y="162"/>
                    </a:cubicBezTo>
                    <a:cubicBezTo>
                      <a:pt x="646" y="160"/>
                      <a:pt x="646" y="160"/>
                      <a:pt x="646" y="160"/>
                    </a:cubicBezTo>
                    <a:cubicBezTo>
                      <a:pt x="649" y="156"/>
                      <a:pt x="649" y="156"/>
                      <a:pt x="649" y="156"/>
                    </a:cubicBezTo>
                    <a:cubicBezTo>
                      <a:pt x="649" y="155"/>
                      <a:pt x="649" y="155"/>
                      <a:pt x="649" y="155"/>
                    </a:cubicBezTo>
                    <a:cubicBezTo>
                      <a:pt x="651" y="153"/>
                      <a:pt x="651" y="153"/>
                      <a:pt x="651" y="153"/>
                    </a:cubicBezTo>
                    <a:cubicBezTo>
                      <a:pt x="649" y="153"/>
                      <a:pt x="649" y="153"/>
                      <a:pt x="649" y="153"/>
                    </a:cubicBezTo>
                    <a:cubicBezTo>
                      <a:pt x="648" y="155"/>
                      <a:pt x="648" y="155"/>
                      <a:pt x="648" y="155"/>
                    </a:cubicBezTo>
                    <a:cubicBezTo>
                      <a:pt x="648" y="156"/>
                      <a:pt x="648" y="156"/>
                      <a:pt x="648" y="156"/>
                    </a:cubicBezTo>
                    <a:cubicBezTo>
                      <a:pt x="645" y="159"/>
                      <a:pt x="645" y="159"/>
                      <a:pt x="645" y="159"/>
                    </a:cubicBezTo>
                    <a:cubicBezTo>
                      <a:pt x="643" y="161"/>
                      <a:pt x="643" y="161"/>
                      <a:pt x="643" y="161"/>
                    </a:cubicBezTo>
                    <a:cubicBezTo>
                      <a:pt x="643" y="161"/>
                      <a:pt x="643" y="161"/>
                      <a:pt x="643" y="161"/>
                    </a:cubicBezTo>
                    <a:cubicBezTo>
                      <a:pt x="640" y="164"/>
                      <a:pt x="640" y="164"/>
                      <a:pt x="640" y="164"/>
                    </a:cubicBezTo>
                    <a:cubicBezTo>
                      <a:pt x="637" y="165"/>
                      <a:pt x="637" y="165"/>
                      <a:pt x="637" y="165"/>
                    </a:cubicBezTo>
                    <a:cubicBezTo>
                      <a:pt x="636" y="164"/>
                      <a:pt x="636" y="164"/>
                      <a:pt x="636" y="164"/>
                    </a:cubicBezTo>
                    <a:cubicBezTo>
                      <a:pt x="634" y="164"/>
                      <a:pt x="634" y="164"/>
                      <a:pt x="634" y="164"/>
                    </a:cubicBezTo>
                    <a:cubicBezTo>
                      <a:pt x="634" y="165"/>
                      <a:pt x="634" y="165"/>
                      <a:pt x="634" y="165"/>
                    </a:cubicBezTo>
                    <a:cubicBezTo>
                      <a:pt x="632" y="165"/>
                      <a:pt x="632" y="165"/>
                      <a:pt x="632" y="165"/>
                    </a:cubicBezTo>
                    <a:cubicBezTo>
                      <a:pt x="629" y="163"/>
                      <a:pt x="629" y="163"/>
                      <a:pt x="629" y="163"/>
                    </a:cubicBezTo>
                    <a:cubicBezTo>
                      <a:pt x="630" y="162"/>
                      <a:pt x="630" y="162"/>
                      <a:pt x="630" y="162"/>
                    </a:cubicBezTo>
                    <a:cubicBezTo>
                      <a:pt x="631" y="161"/>
                      <a:pt x="631" y="161"/>
                      <a:pt x="631" y="161"/>
                    </a:cubicBezTo>
                    <a:cubicBezTo>
                      <a:pt x="633" y="160"/>
                      <a:pt x="633" y="160"/>
                      <a:pt x="633" y="160"/>
                    </a:cubicBezTo>
                    <a:cubicBezTo>
                      <a:pt x="633" y="158"/>
                      <a:pt x="633" y="158"/>
                      <a:pt x="633" y="158"/>
                    </a:cubicBezTo>
                    <a:cubicBezTo>
                      <a:pt x="631" y="160"/>
                      <a:pt x="631" y="160"/>
                      <a:pt x="631" y="160"/>
                    </a:cubicBezTo>
                    <a:cubicBezTo>
                      <a:pt x="630" y="161"/>
                      <a:pt x="630" y="161"/>
                      <a:pt x="630" y="161"/>
                    </a:cubicBezTo>
                    <a:cubicBezTo>
                      <a:pt x="629" y="161"/>
                      <a:pt x="629" y="161"/>
                      <a:pt x="629" y="161"/>
                    </a:cubicBezTo>
                    <a:cubicBezTo>
                      <a:pt x="628" y="158"/>
                      <a:pt x="628" y="158"/>
                      <a:pt x="628" y="158"/>
                    </a:cubicBezTo>
                    <a:cubicBezTo>
                      <a:pt x="628" y="157"/>
                      <a:pt x="628" y="157"/>
                      <a:pt x="628" y="157"/>
                    </a:cubicBezTo>
                    <a:cubicBezTo>
                      <a:pt x="629" y="157"/>
                      <a:pt x="629" y="157"/>
                      <a:pt x="629" y="157"/>
                    </a:cubicBezTo>
                    <a:cubicBezTo>
                      <a:pt x="630" y="156"/>
                      <a:pt x="630" y="156"/>
                      <a:pt x="630" y="156"/>
                    </a:cubicBezTo>
                    <a:cubicBezTo>
                      <a:pt x="631" y="156"/>
                      <a:pt x="631" y="156"/>
                      <a:pt x="631" y="156"/>
                    </a:cubicBezTo>
                    <a:cubicBezTo>
                      <a:pt x="629" y="156"/>
                      <a:pt x="629" y="156"/>
                      <a:pt x="629" y="156"/>
                    </a:cubicBezTo>
                    <a:cubicBezTo>
                      <a:pt x="629" y="155"/>
                      <a:pt x="629" y="155"/>
                      <a:pt x="629" y="155"/>
                    </a:cubicBezTo>
                    <a:cubicBezTo>
                      <a:pt x="630" y="154"/>
                      <a:pt x="630" y="154"/>
                      <a:pt x="630" y="154"/>
                    </a:cubicBezTo>
                    <a:cubicBezTo>
                      <a:pt x="631" y="155"/>
                      <a:pt x="631" y="155"/>
                      <a:pt x="631" y="155"/>
                    </a:cubicBezTo>
                    <a:cubicBezTo>
                      <a:pt x="633" y="154"/>
                      <a:pt x="633" y="154"/>
                      <a:pt x="633" y="154"/>
                    </a:cubicBezTo>
                    <a:cubicBezTo>
                      <a:pt x="633" y="153"/>
                      <a:pt x="633" y="153"/>
                      <a:pt x="633" y="153"/>
                    </a:cubicBezTo>
                    <a:cubicBezTo>
                      <a:pt x="631" y="153"/>
                      <a:pt x="631" y="153"/>
                      <a:pt x="631" y="153"/>
                    </a:cubicBezTo>
                    <a:cubicBezTo>
                      <a:pt x="630" y="153"/>
                      <a:pt x="630" y="153"/>
                      <a:pt x="630" y="153"/>
                    </a:cubicBezTo>
                    <a:cubicBezTo>
                      <a:pt x="629" y="154"/>
                      <a:pt x="629" y="154"/>
                      <a:pt x="629" y="154"/>
                    </a:cubicBezTo>
                    <a:cubicBezTo>
                      <a:pt x="628" y="154"/>
                      <a:pt x="628" y="154"/>
                      <a:pt x="628" y="154"/>
                    </a:cubicBezTo>
                    <a:cubicBezTo>
                      <a:pt x="627" y="152"/>
                      <a:pt x="627" y="152"/>
                      <a:pt x="627" y="152"/>
                    </a:cubicBezTo>
                    <a:cubicBezTo>
                      <a:pt x="628" y="151"/>
                      <a:pt x="628" y="151"/>
                      <a:pt x="628" y="151"/>
                    </a:cubicBezTo>
                    <a:cubicBezTo>
                      <a:pt x="629" y="151"/>
                      <a:pt x="629" y="151"/>
                      <a:pt x="629" y="151"/>
                    </a:cubicBezTo>
                    <a:cubicBezTo>
                      <a:pt x="631" y="150"/>
                      <a:pt x="631" y="150"/>
                      <a:pt x="631" y="150"/>
                    </a:cubicBezTo>
                    <a:cubicBezTo>
                      <a:pt x="633" y="150"/>
                      <a:pt x="633" y="150"/>
                      <a:pt x="633" y="150"/>
                    </a:cubicBezTo>
                    <a:cubicBezTo>
                      <a:pt x="635" y="151"/>
                      <a:pt x="635" y="151"/>
                      <a:pt x="635" y="151"/>
                    </a:cubicBezTo>
                    <a:cubicBezTo>
                      <a:pt x="636" y="150"/>
                      <a:pt x="636" y="150"/>
                      <a:pt x="636" y="150"/>
                    </a:cubicBezTo>
                    <a:cubicBezTo>
                      <a:pt x="634" y="150"/>
                      <a:pt x="634" y="150"/>
                      <a:pt x="634" y="150"/>
                    </a:cubicBezTo>
                    <a:cubicBezTo>
                      <a:pt x="634" y="149"/>
                      <a:pt x="634" y="149"/>
                      <a:pt x="634" y="149"/>
                    </a:cubicBezTo>
                    <a:cubicBezTo>
                      <a:pt x="635" y="147"/>
                      <a:pt x="635" y="147"/>
                      <a:pt x="635" y="147"/>
                    </a:cubicBezTo>
                    <a:cubicBezTo>
                      <a:pt x="637" y="147"/>
                      <a:pt x="637" y="147"/>
                      <a:pt x="637" y="147"/>
                    </a:cubicBezTo>
                    <a:cubicBezTo>
                      <a:pt x="637" y="146"/>
                      <a:pt x="637" y="146"/>
                      <a:pt x="637" y="146"/>
                    </a:cubicBezTo>
                    <a:cubicBezTo>
                      <a:pt x="636" y="146"/>
                      <a:pt x="636" y="146"/>
                      <a:pt x="636" y="146"/>
                    </a:cubicBezTo>
                    <a:cubicBezTo>
                      <a:pt x="636" y="145"/>
                      <a:pt x="636" y="145"/>
                      <a:pt x="636" y="145"/>
                    </a:cubicBezTo>
                    <a:cubicBezTo>
                      <a:pt x="637" y="143"/>
                      <a:pt x="637" y="143"/>
                      <a:pt x="637" y="143"/>
                    </a:cubicBezTo>
                    <a:cubicBezTo>
                      <a:pt x="639" y="143"/>
                      <a:pt x="639" y="143"/>
                      <a:pt x="639" y="143"/>
                    </a:cubicBezTo>
                    <a:cubicBezTo>
                      <a:pt x="638" y="141"/>
                      <a:pt x="638" y="141"/>
                      <a:pt x="638" y="141"/>
                    </a:cubicBezTo>
                    <a:cubicBezTo>
                      <a:pt x="640" y="138"/>
                      <a:pt x="640" y="138"/>
                      <a:pt x="640" y="138"/>
                    </a:cubicBezTo>
                    <a:cubicBezTo>
                      <a:pt x="642" y="137"/>
                      <a:pt x="642" y="137"/>
                      <a:pt x="642" y="137"/>
                    </a:cubicBezTo>
                    <a:cubicBezTo>
                      <a:pt x="642" y="135"/>
                      <a:pt x="642" y="135"/>
                      <a:pt x="642" y="135"/>
                    </a:cubicBezTo>
                    <a:cubicBezTo>
                      <a:pt x="641" y="136"/>
                      <a:pt x="641" y="136"/>
                      <a:pt x="641" y="136"/>
                    </a:cubicBezTo>
                    <a:cubicBezTo>
                      <a:pt x="638" y="139"/>
                      <a:pt x="638" y="139"/>
                      <a:pt x="638" y="139"/>
                    </a:cubicBezTo>
                    <a:cubicBezTo>
                      <a:pt x="636" y="143"/>
                      <a:pt x="636" y="143"/>
                      <a:pt x="636" y="143"/>
                    </a:cubicBezTo>
                    <a:cubicBezTo>
                      <a:pt x="633" y="145"/>
                      <a:pt x="633" y="145"/>
                      <a:pt x="633" y="145"/>
                    </a:cubicBezTo>
                    <a:cubicBezTo>
                      <a:pt x="631" y="148"/>
                      <a:pt x="631" y="148"/>
                      <a:pt x="631" y="148"/>
                    </a:cubicBezTo>
                    <a:cubicBezTo>
                      <a:pt x="629" y="147"/>
                      <a:pt x="629" y="147"/>
                      <a:pt x="629" y="147"/>
                    </a:cubicBezTo>
                    <a:cubicBezTo>
                      <a:pt x="626" y="147"/>
                      <a:pt x="626" y="147"/>
                      <a:pt x="626" y="147"/>
                    </a:cubicBezTo>
                    <a:cubicBezTo>
                      <a:pt x="626" y="146"/>
                      <a:pt x="626" y="146"/>
                      <a:pt x="626" y="146"/>
                    </a:cubicBezTo>
                    <a:cubicBezTo>
                      <a:pt x="628" y="144"/>
                      <a:pt x="628" y="144"/>
                      <a:pt x="628" y="144"/>
                    </a:cubicBezTo>
                    <a:cubicBezTo>
                      <a:pt x="630" y="143"/>
                      <a:pt x="630" y="143"/>
                      <a:pt x="630" y="143"/>
                    </a:cubicBezTo>
                    <a:cubicBezTo>
                      <a:pt x="630" y="141"/>
                      <a:pt x="630" y="141"/>
                      <a:pt x="630" y="141"/>
                    </a:cubicBezTo>
                    <a:cubicBezTo>
                      <a:pt x="627" y="143"/>
                      <a:pt x="627" y="143"/>
                      <a:pt x="627" y="143"/>
                    </a:cubicBezTo>
                    <a:cubicBezTo>
                      <a:pt x="624" y="143"/>
                      <a:pt x="624" y="143"/>
                      <a:pt x="624" y="143"/>
                    </a:cubicBezTo>
                    <a:cubicBezTo>
                      <a:pt x="624" y="144"/>
                      <a:pt x="624" y="144"/>
                      <a:pt x="624" y="144"/>
                    </a:cubicBezTo>
                    <a:cubicBezTo>
                      <a:pt x="623" y="146"/>
                      <a:pt x="623" y="146"/>
                      <a:pt x="623" y="146"/>
                    </a:cubicBezTo>
                    <a:cubicBezTo>
                      <a:pt x="620" y="145"/>
                      <a:pt x="620" y="145"/>
                      <a:pt x="620" y="145"/>
                    </a:cubicBezTo>
                    <a:cubicBezTo>
                      <a:pt x="618" y="143"/>
                      <a:pt x="618" y="143"/>
                      <a:pt x="618" y="143"/>
                    </a:cubicBezTo>
                    <a:cubicBezTo>
                      <a:pt x="619" y="142"/>
                      <a:pt x="619" y="142"/>
                      <a:pt x="619" y="142"/>
                    </a:cubicBezTo>
                    <a:cubicBezTo>
                      <a:pt x="621" y="142"/>
                      <a:pt x="621" y="142"/>
                      <a:pt x="621" y="142"/>
                    </a:cubicBezTo>
                    <a:cubicBezTo>
                      <a:pt x="620" y="141"/>
                      <a:pt x="620" y="141"/>
                      <a:pt x="620" y="141"/>
                    </a:cubicBezTo>
                    <a:cubicBezTo>
                      <a:pt x="619" y="141"/>
                      <a:pt x="619" y="141"/>
                      <a:pt x="619" y="141"/>
                    </a:cubicBezTo>
                    <a:cubicBezTo>
                      <a:pt x="619" y="139"/>
                      <a:pt x="619" y="139"/>
                      <a:pt x="619" y="139"/>
                    </a:cubicBezTo>
                    <a:cubicBezTo>
                      <a:pt x="622" y="137"/>
                      <a:pt x="622" y="137"/>
                      <a:pt x="622" y="137"/>
                    </a:cubicBezTo>
                    <a:cubicBezTo>
                      <a:pt x="622" y="135"/>
                      <a:pt x="622" y="135"/>
                      <a:pt x="622" y="135"/>
                    </a:cubicBezTo>
                    <a:cubicBezTo>
                      <a:pt x="624" y="134"/>
                      <a:pt x="624" y="134"/>
                      <a:pt x="624" y="134"/>
                    </a:cubicBezTo>
                    <a:cubicBezTo>
                      <a:pt x="626" y="133"/>
                      <a:pt x="626" y="133"/>
                      <a:pt x="626" y="133"/>
                    </a:cubicBezTo>
                    <a:cubicBezTo>
                      <a:pt x="628" y="133"/>
                      <a:pt x="628" y="133"/>
                      <a:pt x="628" y="133"/>
                    </a:cubicBezTo>
                    <a:cubicBezTo>
                      <a:pt x="628" y="130"/>
                      <a:pt x="628" y="130"/>
                      <a:pt x="628" y="130"/>
                    </a:cubicBezTo>
                    <a:cubicBezTo>
                      <a:pt x="629" y="128"/>
                      <a:pt x="629" y="128"/>
                      <a:pt x="629" y="128"/>
                    </a:cubicBezTo>
                    <a:cubicBezTo>
                      <a:pt x="632" y="125"/>
                      <a:pt x="632" y="125"/>
                      <a:pt x="632" y="125"/>
                    </a:cubicBezTo>
                    <a:cubicBezTo>
                      <a:pt x="633" y="125"/>
                      <a:pt x="633" y="125"/>
                      <a:pt x="633" y="125"/>
                    </a:cubicBezTo>
                    <a:cubicBezTo>
                      <a:pt x="637" y="124"/>
                      <a:pt x="637" y="124"/>
                      <a:pt x="637" y="124"/>
                    </a:cubicBezTo>
                    <a:cubicBezTo>
                      <a:pt x="640" y="125"/>
                      <a:pt x="640" y="125"/>
                      <a:pt x="640" y="125"/>
                    </a:cubicBezTo>
                    <a:cubicBezTo>
                      <a:pt x="641" y="124"/>
                      <a:pt x="641" y="124"/>
                      <a:pt x="641" y="124"/>
                    </a:cubicBezTo>
                    <a:cubicBezTo>
                      <a:pt x="643" y="124"/>
                      <a:pt x="643" y="124"/>
                      <a:pt x="643" y="124"/>
                    </a:cubicBezTo>
                    <a:cubicBezTo>
                      <a:pt x="645" y="123"/>
                      <a:pt x="645" y="123"/>
                      <a:pt x="645" y="123"/>
                    </a:cubicBezTo>
                    <a:cubicBezTo>
                      <a:pt x="646" y="123"/>
                      <a:pt x="646" y="123"/>
                      <a:pt x="646" y="123"/>
                    </a:cubicBezTo>
                    <a:cubicBezTo>
                      <a:pt x="647" y="123"/>
                      <a:pt x="647" y="123"/>
                      <a:pt x="647" y="123"/>
                    </a:cubicBezTo>
                    <a:cubicBezTo>
                      <a:pt x="649" y="126"/>
                      <a:pt x="649" y="126"/>
                      <a:pt x="649" y="126"/>
                    </a:cubicBezTo>
                    <a:cubicBezTo>
                      <a:pt x="650" y="126"/>
                      <a:pt x="650" y="126"/>
                      <a:pt x="650" y="126"/>
                    </a:cubicBezTo>
                    <a:cubicBezTo>
                      <a:pt x="654" y="129"/>
                      <a:pt x="654" y="129"/>
                      <a:pt x="654" y="129"/>
                    </a:cubicBezTo>
                    <a:cubicBezTo>
                      <a:pt x="655" y="130"/>
                      <a:pt x="655" y="130"/>
                      <a:pt x="655" y="130"/>
                    </a:cubicBezTo>
                    <a:cubicBezTo>
                      <a:pt x="656" y="132"/>
                      <a:pt x="656" y="132"/>
                      <a:pt x="656" y="132"/>
                    </a:cubicBezTo>
                    <a:cubicBezTo>
                      <a:pt x="657" y="132"/>
                      <a:pt x="657" y="132"/>
                      <a:pt x="657" y="132"/>
                    </a:cubicBezTo>
                    <a:cubicBezTo>
                      <a:pt x="660" y="136"/>
                      <a:pt x="660" y="136"/>
                      <a:pt x="660" y="136"/>
                    </a:cubicBezTo>
                    <a:cubicBezTo>
                      <a:pt x="660" y="133"/>
                      <a:pt x="660" y="133"/>
                      <a:pt x="660" y="133"/>
                    </a:cubicBezTo>
                    <a:cubicBezTo>
                      <a:pt x="662" y="133"/>
                      <a:pt x="662" y="133"/>
                      <a:pt x="662" y="133"/>
                    </a:cubicBezTo>
                    <a:cubicBezTo>
                      <a:pt x="661" y="132"/>
                      <a:pt x="661" y="132"/>
                      <a:pt x="661" y="132"/>
                    </a:cubicBezTo>
                    <a:cubicBezTo>
                      <a:pt x="659" y="132"/>
                      <a:pt x="659" y="132"/>
                      <a:pt x="659" y="132"/>
                    </a:cubicBezTo>
                    <a:cubicBezTo>
                      <a:pt x="658" y="131"/>
                      <a:pt x="658" y="131"/>
                      <a:pt x="658" y="131"/>
                    </a:cubicBezTo>
                    <a:cubicBezTo>
                      <a:pt x="658" y="130"/>
                      <a:pt x="658" y="130"/>
                      <a:pt x="658" y="130"/>
                    </a:cubicBezTo>
                    <a:cubicBezTo>
                      <a:pt x="660" y="129"/>
                      <a:pt x="660" y="129"/>
                      <a:pt x="660" y="129"/>
                    </a:cubicBezTo>
                    <a:cubicBezTo>
                      <a:pt x="664" y="129"/>
                      <a:pt x="664" y="129"/>
                      <a:pt x="664" y="129"/>
                    </a:cubicBezTo>
                    <a:cubicBezTo>
                      <a:pt x="666" y="130"/>
                      <a:pt x="666" y="130"/>
                      <a:pt x="666" y="130"/>
                    </a:cubicBezTo>
                    <a:cubicBezTo>
                      <a:pt x="667" y="129"/>
                      <a:pt x="667" y="129"/>
                      <a:pt x="667" y="129"/>
                    </a:cubicBezTo>
                    <a:cubicBezTo>
                      <a:pt x="667" y="127"/>
                      <a:pt x="667" y="127"/>
                      <a:pt x="667" y="127"/>
                    </a:cubicBezTo>
                    <a:cubicBezTo>
                      <a:pt x="668" y="125"/>
                      <a:pt x="668" y="125"/>
                      <a:pt x="668" y="125"/>
                    </a:cubicBezTo>
                    <a:cubicBezTo>
                      <a:pt x="668" y="124"/>
                      <a:pt x="668" y="124"/>
                      <a:pt x="668" y="124"/>
                    </a:cubicBezTo>
                    <a:cubicBezTo>
                      <a:pt x="666" y="124"/>
                      <a:pt x="666" y="124"/>
                      <a:pt x="666" y="124"/>
                    </a:cubicBezTo>
                    <a:cubicBezTo>
                      <a:pt x="666" y="126"/>
                      <a:pt x="666" y="126"/>
                      <a:pt x="666" y="126"/>
                    </a:cubicBezTo>
                    <a:cubicBezTo>
                      <a:pt x="664" y="127"/>
                      <a:pt x="664" y="127"/>
                      <a:pt x="664" y="127"/>
                    </a:cubicBezTo>
                    <a:cubicBezTo>
                      <a:pt x="663" y="128"/>
                      <a:pt x="663" y="128"/>
                      <a:pt x="663" y="128"/>
                    </a:cubicBezTo>
                    <a:cubicBezTo>
                      <a:pt x="659" y="127"/>
                      <a:pt x="659" y="127"/>
                      <a:pt x="659" y="127"/>
                    </a:cubicBezTo>
                    <a:cubicBezTo>
                      <a:pt x="656" y="127"/>
                      <a:pt x="656" y="127"/>
                      <a:pt x="656" y="127"/>
                    </a:cubicBezTo>
                    <a:cubicBezTo>
                      <a:pt x="655" y="125"/>
                      <a:pt x="655" y="125"/>
                      <a:pt x="655" y="125"/>
                    </a:cubicBezTo>
                    <a:cubicBezTo>
                      <a:pt x="654" y="125"/>
                      <a:pt x="654" y="125"/>
                      <a:pt x="654" y="125"/>
                    </a:cubicBezTo>
                    <a:cubicBezTo>
                      <a:pt x="651" y="125"/>
                      <a:pt x="651" y="125"/>
                      <a:pt x="651" y="125"/>
                    </a:cubicBezTo>
                    <a:cubicBezTo>
                      <a:pt x="648" y="120"/>
                      <a:pt x="648" y="120"/>
                      <a:pt x="648" y="120"/>
                    </a:cubicBezTo>
                    <a:cubicBezTo>
                      <a:pt x="648" y="117"/>
                      <a:pt x="648" y="117"/>
                      <a:pt x="648" y="117"/>
                    </a:cubicBezTo>
                    <a:cubicBezTo>
                      <a:pt x="649" y="116"/>
                      <a:pt x="649" y="116"/>
                      <a:pt x="649" y="116"/>
                    </a:cubicBezTo>
                    <a:cubicBezTo>
                      <a:pt x="651" y="117"/>
                      <a:pt x="651" y="117"/>
                      <a:pt x="651" y="117"/>
                    </a:cubicBezTo>
                    <a:cubicBezTo>
                      <a:pt x="652" y="119"/>
                      <a:pt x="652" y="119"/>
                      <a:pt x="652" y="119"/>
                    </a:cubicBezTo>
                    <a:cubicBezTo>
                      <a:pt x="653" y="120"/>
                      <a:pt x="653" y="120"/>
                      <a:pt x="653" y="120"/>
                    </a:cubicBezTo>
                    <a:cubicBezTo>
                      <a:pt x="654" y="118"/>
                      <a:pt x="654" y="118"/>
                      <a:pt x="654" y="118"/>
                    </a:cubicBezTo>
                    <a:cubicBezTo>
                      <a:pt x="655" y="116"/>
                      <a:pt x="655" y="116"/>
                      <a:pt x="655" y="116"/>
                    </a:cubicBezTo>
                    <a:cubicBezTo>
                      <a:pt x="653" y="116"/>
                      <a:pt x="653" y="116"/>
                      <a:pt x="653" y="116"/>
                    </a:cubicBezTo>
                    <a:cubicBezTo>
                      <a:pt x="653" y="115"/>
                      <a:pt x="653" y="115"/>
                      <a:pt x="653" y="115"/>
                    </a:cubicBezTo>
                    <a:cubicBezTo>
                      <a:pt x="652" y="113"/>
                      <a:pt x="652" y="113"/>
                      <a:pt x="652" y="113"/>
                    </a:cubicBezTo>
                    <a:cubicBezTo>
                      <a:pt x="654" y="110"/>
                      <a:pt x="654" y="110"/>
                      <a:pt x="654" y="110"/>
                    </a:cubicBezTo>
                    <a:cubicBezTo>
                      <a:pt x="654" y="108"/>
                      <a:pt x="654" y="108"/>
                      <a:pt x="654" y="108"/>
                    </a:cubicBezTo>
                    <a:cubicBezTo>
                      <a:pt x="655" y="105"/>
                      <a:pt x="655" y="105"/>
                      <a:pt x="655" y="105"/>
                    </a:cubicBezTo>
                    <a:cubicBezTo>
                      <a:pt x="655" y="99"/>
                      <a:pt x="655" y="99"/>
                      <a:pt x="655" y="99"/>
                    </a:cubicBezTo>
                    <a:cubicBezTo>
                      <a:pt x="654" y="96"/>
                      <a:pt x="654" y="96"/>
                      <a:pt x="654" y="96"/>
                    </a:cubicBezTo>
                    <a:cubicBezTo>
                      <a:pt x="653" y="96"/>
                      <a:pt x="653" y="96"/>
                      <a:pt x="653" y="96"/>
                    </a:cubicBezTo>
                    <a:cubicBezTo>
                      <a:pt x="652" y="94"/>
                      <a:pt x="652" y="94"/>
                      <a:pt x="652" y="94"/>
                    </a:cubicBezTo>
                    <a:cubicBezTo>
                      <a:pt x="652" y="92"/>
                      <a:pt x="652" y="92"/>
                      <a:pt x="652" y="92"/>
                    </a:cubicBezTo>
                    <a:cubicBezTo>
                      <a:pt x="654" y="92"/>
                      <a:pt x="654" y="92"/>
                      <a:pt x="654" y="92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6" y="92"/>
                      <a:pt x="656" y="92"/>
                      <a:pt x="656" y="92"/>
                    </a:cubicBezTo>
                    <a:cubicBezTo>
                      <a:pt x="657" y="93"/>
                      <a:pt x="657" y="93"/>
                      <a:pt x="657" y="93"/>
                    </a:cubicBezTo>
                    <a:cubicBezTo>
                      <a:pt x="658" y="95"/>
                      <a:pt x="658" y="95"/>
                      <a:pt x="658" y="95"/>
                    </a:cubicBezTo>
                    <a:cubicBezTo>
                      <a:pt x="659" y="94"/>
                      <a:pt x="659" y="94"/>
                      <a:pt x="659" y="94"/>
                    </a:cubicBezTo>
                    <a:cubicBezTo>
                      <a:pt x="659" y="93"/>
                      <a:pt x="659" y="93"/>
                      <a:pt x="659" y="93"/>
                    </a:cubicBezTo>
                    <a:cubicBezTo>
                      <a:pt x="658" y="91"/>
                      <a:pt x="658" y="91"/>
                      <a:pt x="658" y="91"/>
                    </a:cubicBezTo>
                    <a:cubicBezTo>
                      <a:pt x="656" y="90"/>
                      <a:pt x="656" y="90"/>
                      <a:pt x="656" y="90"/>
                    </a:cubicBezTo>
                    <a:cubicBezTo>
                      <a:pt x="655" y="89"/>
                      <a:pt x="655" y="89"/>
                      <a:pt x="655" y="89"/>
                    </a:cubicBezTo>
                    <a:cubicBezTo>
                      <a:pt x="655" y="87"/>
                      <a:pt x="655" y="87"/>
                      <a:pt x="655" y="87"/>
                    </a:cubicBezTo>
                    <a:cubicBezTo>
                      <a:pt x="655" y="85"/>
                      <a:pt x="655" y="85"/>
                      <a:pt x="655" y="85"/>
                    </a:cubicBezTo>
                    <a:cubicBezTo>
                      <a:pt x="661" y="78"/>
                      <a:pt x="661" y="78"/>
                      <a:pt x="661" y="78"/>
                    </a:cubicBezTo>
                    <a:cubicBezTo>
                      <a:pt x="664" y="78"/>
                      <a:pt x="664" y="78"/>
                      <a:pt x="664" y="78"/>
                    </a:cubicBezTo>
                    <a:cubicBezTo>
                      <a:pt x="666" y="78"/>
                      <a:pt x="666" y="78"/>
                      <a:pt x="666" y="78"/>
                    </a:cubicBezTo>
                    <a:cubicBezTo>
                      <a:pt x="666" y="80"/>
                      <a:pt x="666" y="80"/>
                      <a:pt x="666" y="80"/>
                    </a:cubicBezTo>
                    <a:cubicBezTo>
                      <a:pt x="669" y="82"/>
                      <a:pt x="669" y="82"/>
                      <a:pt x="669" y="82"/>
                    </a:cubicBezTo>
                    <a:cubicBezTo>
                      <a:pt x="670" y="82"/>
                      <a:pt x="670" y="82"/>
                      <a:pt x="670" y="82"/>
                    </a:cubicBezTo>
                    <a:cubicBezTo>
                      <a:pt x="675" y="85"/>
                      <a:pt x="675" y="85"/>
                      <a:pt x="675" y="85"/>
                    </a:cubicBezTo>
                    <a:cubicBezTo>
                      <a:pt x="675" y="87"/>
                      <a:pt x="675" y="87"/>
                      <a:pt x="675" y="87"/>
                    </a:cubicBezTo>
                    <a:cubicBezTo>
                      <a:pt x="677" y="90"/>
                      <a:pt x="677" y="90"/>
                      <a:pt x="677" y="90"/>
                    </a:cubicBezTo>
                    <a:cubicBezTo>
                      <a:pt x="678" y="94"/>
                      <a:pt x="678" y="94"/>
                      <a:pt x="678" y="94"/>
                    </a:cubicBezTo>
                    <a:cubicBezTo>
                      <a:pt x="678" y="98"/>
                      <a:pt x="678" y="98"/>
                      <a:pt x="678" y="98"/>
                    </a:cubicBezTo>
                    <a:cubicBezTo>
                      <a:pt x="678" y="101"/>
                      <a:pt x="678" y="101"/>
                      <a:pt x="678" y="101"/>
                    </a:cubicBezTo>
                    <a:cubicBezTo>
                      <a:pt x="679" y="103"/>
                      <a:pt x="679" y="103"/>
                      <a:pt x="679" y="103"/>
                    </a:cubicBezTo>
                    <a:cubicBezTo>
                      <a:pt x="680" y="102"/>
                      <a:pt x="680" y="102"/>
                      <a:pt x="680" y="102"/>
                    </a:cubicBezTo>
                    <a:cubicBezTo>
                      <a:pt x="681" y="102"/>
                      <a:pt x="681" y="102"/>
                      <a:pt x="681" y="102"/>
                    </a:cubicBezTo>
                    <a:cubicBezTo>
                      <a:pt x="683" y="104"/>
                      <a:pt x="683" y="104"/>
                      <a:pt x="683" y="104"/>
                    </a:cubicBezTo>
                    <a:cubicBezTo>
                      <a:pt x="683" y="105"/>
                      <a:pt x="683" y="105"/>
                      <a:pt x="683" y="105"/>
                    </a:cubicBezTo>
                    <a:cubicBezTo>
                      <a:pt x="683" y="104"/>
                      <a:pt x="683" y="104"/>
                      <a:pt x="683" y="104"/>
                    </a:cubicBezTo>
                    <a:cubicBezTo>
                      <a:pt x="685" y="103"/>
                      <a:pt x="685" y="103"/>
                      <a:pt x="685" y="103"/>
                    </a:cubicBezTo>
                    <a:cubicBezTo>
                      <a:pt x="687" y="104"/>
                      <a:pt x="687" y="104"/>
                      <a:pt x="687" y="104"/>
                    </a:cubicBezTo>
                    <a:cubicBezTo>
                      <a:pt x="685" y="103"/>
                      <a:pt x="685" y="103"/>
                      <a:pt x="685" y="103"/>
                    </a:cubicBezTo>
                    <a:cubicBezTo>
                      <a:pt x="683" y="102"/>
                      <a:pt x="683" y="102"/>
                      <a:pt x="683" y="102"/>
                    </a:cubicBezTo>
                    <a:cubicBezTo>
                      <a:pt x="682" y="100"/>
                      <a:pt x="682" y="100"/>
                      <a:pt x="682" y="100"/>
                    </a:cubicBezTo>
                    <a:cubicBezTo>
                      <a:pt x="680" y="100"/>
                      <a:pt x="680" y="100"/>
                      <a:pt x="680" y="100"/>
                    </a:cubicBezTo>
                    <a:cubicBezTo>
                      <a:pt x="680" y="98"/>
                      <a:pt x="680" y="98"/>
                      <a:pt x="680" y="98"/>
                    </a:cubicBezTo>
                    <a:cubicBezTo>
                      <a:pt x="682" y="96"/>
                      <a:pt x="682" y="96"/>
                      <a:pt x="682" y="96"/>
                    </a:cubicBezTo>
                    <a:cubicBezTo>
                      <a:pt x="682" y="95"/>
                      <a:pt x="682" y="95"/>
                      <a:pt x="682" y="95"/>
                    </a:cubicBezTo>
                    <a:cubicBezTo>
                      <a:pt x="682" y="88"/>
                      <a:pt x="682" y="88"/>
                      <a:pt x="682" y="88"/>
                    </a:cubicBezTo>
                    <a:cubicBezTo>
                      <a:pt x="681" y="86"/>
                      <a:pt x="681" y="86"/>
                      <a:pt x="681" y="86"/>
                    </a:cubicBezTo>
                    <a:cubicBezTo>
                      <a:pt x="682" y="84"/>
                      <a:pt x="682" y="84"/>
                      <a:pt x="682" y="84"/>
                    </a:cubicBezTo>
                    <a:cubicBezTo>
                      <a:pt x="685" y="84"/>
                      <a:pt x="685" y="84"/>
                      <a:pt x="685" y="84"/>
                    </a:cubicBezTo>
                    <a:cubicBezTo>
                      <a:pt x="687" y="85"/>
                      <a:pt x="687" y="85"/>
                      <a:pt x="687" y="85"/>
                    </a:cubicBezTo>
                    <a:cubicBezTo>
                      <a:pt x="689" y="85"/>
                      <a:pt x="689" y="85"/>
                      <a:pt x="689" y="85"/>
                    </a:cubicBezTo>
                    <a:cubicBezTo>
                      <a:pt x="692" y="85"/>
                      <a:pt x="692" y="85"/>
                      <a:pt x="692" y="85"/>
                    </a:cubicBezTo>
                    <a:cubicBezTo>
                      <a:pt x="695" y="87"/>
                      <a:pt x="695" y="87"/>
                      <a:pt x="695" y="87"/>
                    </a:cubicBezTo>
                    <a:cubicBezTo>
                      <a:pt x="699" y="87"/>
                      <a:pt x="699" y="87"/>
                      <a:pt x="699" y="87"/>
                    </a:cubicBezTo>
                    <a:cubicBezTo>
                      <a:pt x="702" y="85"/>
                      <a:pt x="702" y="85"/>
                      <a:pt x="702" y="85"/>
                    </a:cubicBezTo>
                    <a:cubicBezTo>
                      <a:pt x="703" y="85"/>
                      <a:pt x="703" y="85"/>
                      <a:pt x="703" y="85"/>
                    </a:cubicBezTo>
                    <a:cubicBezTo>
                      <a:pt x="705" y="87"/>
                      <a:pt x="705" y="87"/>
                      <a:pt x="705" y="87"/>
                    </a:cubicBezTo>
                    <a:cubicBezTo>
                      <a:pt x="709" y="87"/>
                      <a:pt x="709" y="87"/>
                      <a:pt x="709" y="87"/>
                    </a:cubicBezTo>
                    <a:cubicBezTo>
                      <a:pt x="711" y="89"/>
                      <a:pt x="711" y="89"/>
                      <a:pt x="711" y="89"/>
                    </a:cubicBezTo>
                    <a:cubicBezTo>
                      <a:pt x="713" y="88"/>
                      <a:pt x="713" y="88"/>
                      <a:pt x="713" y="88"/>
                    </a:cubicBezTo>
                    <a:cubicBezTo>
                      <a:pt x="713" y="87"/>
                      <a:pt x="713" y="87"/>
                      <a:pt x="713" y="87"/>
                    </a:cubicBezTo>
                    <a:cubicBezTo>
                      <a:pt x="711" y="86"/>
                      <a:pt x="711" y="86"/>
                      <a:pt x="711" y="86"/>
                    </a:cubicBezTo>
                    <a:cubicBezTo>
                      <a:pt x="709" y="86"/>
                      <a:pt x="709" y="86"/>
                      <a:pt x="709" y="86"/>
                    </a:cubicBezTo>
                    <a:cubicBezTo>
                      <a:pt x="706" y="85"/>
                      <a:pt x="706" y="85"/>
                      <a:pt x="706" y="85"/>
                    </a:cubicBezTo>
                    <a:cubicBezTo>
                      <a:pt x="705" y="84"/>
                      <a:pt x="705" y="84"/>
                      <a:pt x="705" y="84"/>
                    </a:cubicBezTo>
                    <a:cubicBezTo>
                      <a:pt x="705" y="83"/>
                      <a:pt x="705" y="83"/>
                      <a:pt x="705" y="83"/>
                    </a:cubicBezTo>
                    <a:cubicBezTo>
                      <a:pt x="707" y="83"/>
                      <a:pt x="707" y="83"/>
                      <a:pt x="707" y="83"/>
                    </a:cubicBezTo>
                    <a:cubicBezTo>
                      <a:pt x="709" y="82"/>
                      <a:pt x="709" y="82"/>
                      <a:pt x="709" y="82"/>
                    </a:cubicBezTo>
                    <a:cubicBezTo>
                      <a:pt x="716" y="81"/>
                      <a:pt x="716" y="81"/>
                      <a:pt x="716" y="81"/>
                    </a:cubicBezTo>
                    <a:cubicBezTo>
                      <a:pt x="720" y="81"/>
                      <a:pt x="720" y="81"/>
                      <a:pt x="720" y="81"/>
                    </a:cubicBezTo>
                    <a:cubicBezTo>
                      <a:pt x="724" y="82"/>
                      <a:pt x="724" y="82"/>
                      <a:pt x="724" y="82"/>
                    </a:cubicBezTo>
                    <a:cubicBezTo>
                      <a:pt x="726" y="84"/>
                      <a:pt x="726" y="84"/>
                      <a:pt x="726" y="84"/>
                    </a:cubicBezTo>
                    <a:cubicBezTo>
                      <a:pt x="728" y="83"/>
                      <a:pt x="728" y="83"/>
                      <a:pt x="728" y="83"/>
                    </a:cubicBezTo>
                    <a:cubicBezTo>
                      <a:pt x="730" y="83"/>
                      <a:pt x="730" y="83"/>
                      <a:pt x="730" y="83"/>
                    </a:cubicBezTo>
                    <a:cubicBezTo>
                      <a:pt x="729" y="82"/>
                      <a:pt x="729" y="82"/>
                      <a:pt x="729" y="82"/>
                    </a:cubicBezTo>
                    <a:cubicBezTo>
                      <a:pt x="728" y="82"/>
                      <a:pt x="728" y="82"/>
                      <a:pt x="728" y="82"/>
                    </a:cubicBezTo>
                    <a:cubicBezTo>
                      <a:pt x="726" y="81"/>
                      <a:pt x="726" y="81"/>
                      <a:pt x="726" y="81"/>
                    </a:cubicBezTo>
                    <a:cubicBezTo>
                      <a:pt x="726" y="80"/>
                      <a:pt x="726" y="80"/>
                      <a:pt x="726" y="80"/>
                    </a:cubicBezTo>
                    <a:cubicBezTo>
                      <a:pt x="724" y="79"/>
                      <a:pt x="724" y="79"/>
                      <a:pt x="724" y="79"/>
                    </a:cubicBezTo>
                    <a:cubicBezTo>
                      <a:pt x="722" y="79"/>
                      <a:pt x="722" y="79"/>
                      <a:pt x="722" y="79"/>
                    </a:cubicBezTo>
                    <a:cubicBezTo>
                      <a:pt x="721" y="78"/>
                      <a:pt x="721" y="78"/>
                      <a:pt x="721" y="78"/>
                    </a:cubicBezTo>
                    <a:cubicBezTo>
                      <a:pt x="716" y="78"/>
                      <a:pt x="716" y="78"/>
                      <a:pt x="716" y="78"/>
                    </a:cubicBezTo>
                    <a:cubicBezTo>
                      <a:pt x="716" y="77"/>
                      <a:pt x="716" y="77"/>
                      <a:pt x="716" y="77"/>
                    </a:cubicBezTo>
                    <a:cubicBezTo>
                      <a:pt x="717" y="77"/>
                      <a:pt x="717" y="77"/>
                      <a:pt x="717" y="77"/>
                    </a:cubicBezTo>
                    <a:cubicBezTo>
                      <a:pt x="718" y="74"/>
                      <a:pt x="718" y="74"/>
                      <a:pt x="718" y="74"/>
                    </a:cubicBezTo>
                    <a:cubicBezTo>
                      <a:pt x="720" y="74"/>
                      <a:pt x="720" y="74"/>
                      <a:pt x="720" y="74"/>
                    </a:cubicBezTo>
                    <a:cubicBezTo>
                      <a:pt x="722" y="72"/>
                      <a:pt x="722" y="72"/>
                      <a:pt x="722" y="72"/>
                    </a:cubicBezTo>
                    <a:cubicBezTo>
                      <a:pt x="723" y="69"/>
                      <a:pt x="723" y="69"/>
                      <a:pt x="723" y="69"/>
                    </a:cubicBezTo>
                    <a:cubicBezTo>
                      <a:pt x="728" y="66"/>
                      <a:pt x="728" y="66"/>
                      <a:pt x="728" y="66"/>
                    </a:cubicBezTo>
                    <a:cubicBezTo>
                      <a:pt x="731" y="66"/>
                      <a:pt x="731" y="66"/>
                      <a:pt x="731" y="66"/>
                    </a:cubicBezTo>
                    <a:cubicBezTo>
                      <a:pt x="736" y="64"/>
                      <a:pt x="736" y="64"/>
                      <a:pt x="736" y="64"/>
                    </a:cubicBezTo>
                    <a:cubicBezTo>
                      <a:pt x="736" y="62"/>
                      <a:pt x="736" y="62"/>
                      <a:pt x="736" y="62"/>
                    </a:cubicBezTo>
                    <a:cubicBezTo>
                      <a:pt x="730" y="65"/>
                      <a:pt x="730" y="65"/>
                      <a:pt x="730" y="65"/>
                    </a:cubicBezTo>
                    <a:cubicBezTo>
                      <a:pt x="727" y="65"/>
                      <a:pt x="727" y="65"/>
                      <a:pt x="727" y="65"/>
                    </a:cubicBezTo>
                    <a:cubicBezTo>
                      <a:pt x="721" y="69"/>
                      <a:pt x="721" y="69"/>
                      <a:pt x="721" y="69"/>
                    </a:cubicBezTo>
                    <a:cubicBezTo>
                      <a:pt x="721" y="71"/>
                      <a:pt x="721" y="71"/>
                      <a:pt x="721" y="71"/>
                    </a:cubicBezTo>
                    <a:cubicBezTo>
                      <a:pt x="720" y="71"/>
                      <a:pt x="720" y="71"/>
                      <a:pt x="720" y="71"/>
                    </a:cubicBezTo>
                    <a:cubicBezTo>
                      <a:pt x="720" y="69"/>
                      <a:pt x="720" y="69"/>
                      <a:pt x="720" y="69"/>
                    </a:cubicBezTo>
                    <a:cubicBezTo>
                      <a:pt x="719" y="69"/>
                      <a:pt x="719" y="69"/>
                      <a:pt x="719" y="69"/>
                    </a:cubicBezTo>
                    <a:cubicBezTo>
                      <a:pt x="718" y="71"/>
                      <a:pt x="718" y="71"/>
                      <a:pt x="718" y="71"/>
                    </a:cubicBezTo>
                    <a:cubicBezTo>
                      <a:pt x="716" y="71"/>
                      <a:pt x="716" y="71"/>
                      <a:pt x="716" y="71"/>
                    </a:cubicBezTo>
                    <a:cubicBezTo>
                      <a:pt x="713" y="74"/>
                      <a:pt x="713" y="74"/>
                      <a:pt x="713" y="74"/>
                    </a:cubicBezTo>
                    <a:cubicBezTo>
                      <a:pt x="714" y="74"/>
                      <a:pt x="714" y="74"/>
                      <a:pt x="714" y="74"/>
                    </a:cubicBezTo>
                    <a:cubicBezTo>
                      <a:pt x="715" y="75"/>
                      <a:pt x="715" y="75"/>
                      <a:pt x="715" y="75"/>
                    </a:cubicBezTo>
                    <a:cubicBezTo>
                      <a:pt x="711" y="78"/>
                      <a:pt x="711" y="78"/>
                      <a:pt x="711" y="78"/>
                    </a:cubicBezTo>
                    <a:cubicBezTo>
                      <a:pt x="709" y="78"/>
                      <a:pt x="709" y="78"/>
                      <a:pt x="709" y="78"/>
                    </a:cubicBezTo>
                    <a:cubicBezTo>
                      <a:pt x="702" y="81"/>
                      <a:pt x="702" y="81"/>
                      <a:pt x="702" y="81"/>
                    </a:cubicBezTo>
                    <a:cubicBezTo>
                      <a:pt x="700" y="82"/>
                      <a:pt x="700" y="82"/>
                      <a:pt x="700" y="82"/>
                    </a:cubicBezTo>
                    <a:cubicBezTo>
                      <a:pt x="698" y="81"/>
                      <a:pt x="698" y="81"/>
                      <a:pt x="698" y="81"/>
                    </a:cubicBezTo>
                    <a:cubicBezTo>
                      <a:pt x="693" y="81"/>
                      <a:pt x="693" y="81"/>
                      <a:pt x="693" y="81"/>
                    </a:cubicBezTo>
                    <a:cubicBezTo>
                      <a:pt x="690" y="79"/>
                      <a:pt x="690" y="79"/>
                      <a:pt x="690" y="79"/>
                    </a:cubicBezTo>
                    <a:cubicBezTo>
                      <a:pt x="688" y="79"/>
                      <a:pt x="688" y="79"/>
                      <a:pt x="688" y="79"/>
                    </a:cubicBezTo>
                    <a:cubicBezTo>
                      <a:pt x="686" y="79"/>
                      <a:pt x="686" y="79"/>
                      <a:pt x="686" y="79"/>
                    </a:cubicBezTo>
                    <a:cubicBezTo>
                      <a:pt x="686" y="77"/>
                      <a:pt x="686" y="77"/>
                      <a:pt x="686" y="77"/>
                    </a:cubicBezTo>
                    <a:cubicBezTo>
                      <a:pt x="688" y="75"/>
                      <a:pt x="688" y="75"/>
                      <a:pt x="688" y="75"/>
                    </a:cubicBezTo>
                    <a:cubicBezTo>
                      <a:pt x="691" y="75"/>
                      <a:pt x="691" y="75"/>
                      <a:pt x="691" y="75"/>
                    </a:cubicBezTo>
                    <a:cubicBezTo>
                      <a:pt x="693" y="74"/>
                      <a:pt x="693" y="74"/>
                      <a:pt x="693" y="74"/>
                    </a:cubicBezTo>
                    <a:cubicBezTo>
                      <a:pt x="696" y="74"/>
                      <a:pt x="696" y="74"/>
                      <a:pt x="696" y="74"/>
                    </a:cubicBezTo>
                    <a:cubicBezTo>
                      <a:pt x="698" y="72"/>
                      <a:pt x="698" y="72"/>
                      <a:pt x="698" y="72"/>
                    </a:cubicBezTo>
                    <a:cubicBezTo>
                      <a:pt x="696" y="72"/>
                      <a:pt x="696" y="72"/>
                      <a:pt x="696" y="72"/>
                    </a:cubicBezTo>
                    <a:cubicBezTo>
                      <a:pt x="694" y="73"/>
                      <a:pt x="694" y="73"/>
                      <a:pt x="694" y="73"/>
                    </a:cubicBezTo>
                    <a:cubicBezTo>
                      <a:pt x="692" y="72"/>
                      <a:pt x="692" y="72"/>
                      <a:pt x="692" y="72"/>
                    </a:cubicBezTo>
                    <a:cubicBezTo>
                      <a:pt x="689" y="73"/>
                      <a:pt x="689" y="73"/>
                      <a:pt x="689" y="73"/>
                    </a:cubicBezTo>
                    <a:cubicBezTo>
                      <a:pt x="687" y="73"/>
                      <a:pt x="687" y="73"/>
                      <a:pt x="687" y="73"/>
                    </a:cubicBezTo>
                    <a:cubicBezTo>
                      <a:pt x="687" y="71"/>
                      <a:pt x="687" y="71"/>
                      <a:pt x="687" y="71"/>
                    </a:cubicBezTo>
                    <a:cubicBezTo>
                      <a:pt x="690" y="70"/>
                      <a:pt x="690" y="70"/>
                      <a:pt x="690" y="70"/>
                    </a:cubicBezTo>
                    <a:cubicBezTo>
                      <a:pt x="688" y="70"/>
                      <a:pt x="688" y="70"/>
                      <a:pt x="688" y="70"/>
                    </a:cubicBezTo>
                    <a:cubicBezTo>
                      <a:pt x="685" y="71"/>
                      <a:pt x="685" y="71"/>
                      <a:pt x="685" y="71"/>
                    </a:cubicBezTo>
                    <a:cubicBezTo>
                      <a:pt x="685" y="74"/>
                      <a:pt x="685" y="74"/>
                      <a:pt x="685" y="74"/>
                    </a:cubicBezTo>
                    <a:cubicBezTo>
                      <a:pt x="682" y="76"/>
                      <a:pt x="682" y="76"/>
                      <a:pt x="682" y="76"/>
                    </a:cubicBezTo>
                    <a:cubicBezTo>
                      <a:pt x="679" y="77"/>
                      <a:pt x="679" y="77"/>
                      <a:pt x="679" y="77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1" y="75"/>
                      <a:pt x="671" y="75"/>
                      <a:pt x="671" y="75"/>
                    </a:cubicBezTo>
                    <a:cubicBezTo>
                      <a:pt x="669" y="73"/>
                      <a:pt x="669" y="73"/>
                      <a:pt x="669" y="73"/>
                    </a:cubicBezTo>
                    <a:cubicBezTo>
                      <a:pt x="669" y="72"/>
                      <a:pt x="669" y="72"/>
                      <a:pt x="669" y="72"/>
                    </a:cubicBezTo>
                    <a:cubicBezTo>
                      <a:pt x="667" y="72"/>
                      <a:pt x="667" y="72"/>
                      <a:pt x="667" y="72"/>
                    </a:cubicBezTo>
                    <a:cubicBezTo>
                      <a:pt x="665" y="70"/>
                      <a:pt x="665" y="70"/>
                      <a:pt x="665" y="70"/>
                    </a:cubicBezTo>
                    <a:cubicBezTo>
                      <a:pt x="665" y="69"/>
                      <a:pt x="665" y="69"/>
                      <a:pt x="665" y="69"/>
                    </a:cubicBezTo>
                    <a:cubicBezTo>
                      <a:pt x="667" y="68"/>
                      <a:pt x="667" y="68"/>
                      <a:pt x="667" y="68"/>
                    </a:cubicBezTo>
                    <a:cubicBezTo>
                      <a:pt x="668" y="65"/>
                      <a:pt x="668" y="65"/>
                      <a:pt x="668" y="65"/>
                    </a:cubicBezTo>
                    <a:cubicBezTo>
                      <a:pt x="671" y="64"/>
                      <a:pt x="671" y="64"/>
                      <a:pt x="671" y="64"/>
                    </a:cubicBezTo>
                    <a:cubicBezTo>
                      <a:pt x="673" y="61"/>
                      <a:pt x="673" y="61"/>
                      <a:pt x="673" y="61"/>
                    </a:cubicBezTo>
                    <a:cubicBezTo>
                      <a:pt x="675" y="60"/>
                      <a:pt x="675" y="60"/>
                      <a:pt x="675" y="60"/>
                    </a:cubicBezTo>
                    <a:cubicBezTo>
                      <a:pt x="677" y="58"/>
                      <a:pt x="677" y="58"/>
                      <a:pt x="677" y="58"/>
                    </a:cubicBezTo>
                    <a:cubicBezTo>
                      <a:pt x="679" y="59"/>
                      <a:pt x="679" y="59"/>
                      <a:pt x="679" y="59"/>
                    </a:cubicBezTo>
                    <a:cubicBezTo>
                      <a:pt x="682" y="59"/>
                      <a:pt x="682" y="59"/>
                      <a:pt x="682" y="59"/>
                    </a:cubicBezTo>
                    <a:cubicBezTo>
                      <a:pt x="684" y="59"/>
                      <a:pt x="684" y="59"/>
                      <a:pt x="684" y="59"/>
                    </a:cubicBezTo>
                    <a:cubicBezTo>
                      <a:pt x="686" y="59"/>
                      <a:pt x="686" y="59"/>
                      <a:pt x="686" y="59"/>
                    </a:cubicBezTo>
                    <a:cubicBezTo>
                      <a:pt x="689" y="61"/>
                      <a:pt x="689" y="61"/>
                      <a:pt x="689" y="61"/>
                    </a:cubicBezTo>
                    <a:cubicBezTo>
                      <a:pt x="692" y="61"/>
                      <a:pt x="692" y="61"/>
                      <a:pt x="692" y="61"/>
                    </a:cubicBezTo>
                    <a:cubicBezTo>
                      <a:pt x="694" y="62"/>
                      <a:pt x="694" y="62"/>
                      <a:pt x="694" y="62"/>
                    </a:cubicBezTo>
                    <a:cubicBezTo>
                      <a:pt x="697" y="61"/>
                      <a:pt x="697" y="61"/>
                      <a:pt x="697" y="61"/>
                    </a:cubicBezTo>
                    <a:cubicBezTo>
                      <a:pt x="698" y="61"/>
                      <a:pt x="698" y="61"/>
                      <a:pt x="698" y="61"/>
                    </a:cubicBezTo>
                    <a:cubicBezTo>
                      <a:pt x="696" y="60"/>
                      <a:pt x="696" y="60"/>
                      <a:pt x="696" y="60"/>
                    </a:cubicBezTo>
                    <a:cubicBezTo>
                      <a:pt x="693" y="60"/>
                      <a:pt x="693" y="60"/>
                      <a:pt x="693" y="60"/>
                    </a:cubicBezTo>
                    <a:cubicBezTo>
                      <a:pt x="688" y="59"/>
                      <a:pt x="688" y="59"/>
                      <a:pt x="688" y="59"/>
                    </a:cubicBezTo>
                    <a:cubicBezTo>
                      <a:pt x="686" y="58"/>
                      <a:pt x="686" y="58"/>
                      <a:pt x="686" y="58"/>
                    </a:cubicBezTo>
                    <a:cubicBezTo>
                      <a:pt x="683" y="58"/>
                      <a:pt x="683" y="58"/>
                      <a:pt x="683" y="58"/>
                    </a:cubicBezTo>
                    <a:cubicBezTo>
                      <a:pt x="680" y="58"/>
                      <a:pt x="680" y="58"/>
                      <a:pt x="680" y="58"/>
                    </a:cubicBezTo>
                    <a:cubicBezTo>
                      <a:pt x="676" y="57"/>
                      <a:pt x="676" y="57"/>
                      <a:pt x="676" y="57"/>
                    </a:cubicBezTo>
                    <a:cubicBezTo>
                      <a:pt x="675" y="57"/>
                      <a:pt x="675" y="57"/>
                      <a:pt x="675" y="57"/>
                    </a:cubicBezTo>
                    <a:cubicBezTo>
                      <a:pt x="674" y="58"/>
                      <a:pt x="674" y="58"/>
                      <a:pt x="674" y="58"/>
                    </a:cubicBezTo>
                    <a:cubicBezTo>
                      <a:pt x="672" y="60"/>
                      <a:pt x="672" y="60"/>
                      <a:pt x="672" y="60"/>
                    </a:cubicBezTo>
                    <a:cubicBezTo>
                      <a:pt x="668" y="63"/>
                      <a:pt x="668" y="63"/>
                      <a:pt x="668" y="63"/>
                    </a:cubicBezTo>
                    <a:cubicBezTo>
                      <a:pt x="665" y="64"/>
                      <a:pt x="665" y="64"/>
                      <a:pt x="665" y="64"/>
                    </a:cubicBezTo>
                    <a:cubicBezTo>
                      <a:pt x="662" y="67"/>
                      <a:pt x="662" y="67"/>
                      <a:pt x="662" y="67"/>
                    </a:cubicBezTo>
                    <a:cubicBezTo>
                      <a:pt x="662" y="68"/>
                      <a:pt x="662" y="68"/>
                      <a:pt x="662" y="68"/>
                    </a:cubicBezTo>
                    <a:cubicBezTo>
                      <a:pt x="660" y="67"/>
                      <a:pt x="660" y="67"/>
                      <a:pt x="660" y="67"/>
                    </a:cubicBezTo>
                    <a:cubicBezTo>
                      <a:pt x="657" y="63"/>
                      <a:pt x="657" y="63"/>
                      <a:pt x="657" y="63"/>
                    </a:cubicBezTo>
                    <a:cubicBezTo>
                      <a:pt x="656" y="63"/>
                      <a:pt x="656" y="63"/>
                      <a:pt x="656" y="63"/>
                    </a:cubicBezTo>
                    <a:cubicBezTo>
                      <a:pt x="655" y="62"/>
                      <a:pt x="655" y="62"/>
                      <a:pt x="655" y="62"/>
                    </a:cubicBezTo>
                    <a:cubicBezTo>
                      <a:pt x="654" y="60"/>
                      <a:pt x="654" y="60"/>
                      <a:pt x="654" y="60"/>
                    </a:cubicBezTo>
                    <a:cubicBezTo>
                      <a:pt x="654" y="57"/>
                      <a:pt x="654" y="57"/>
                      <a:pt x="654" y="57"/>
                    </a:cubicBezTo>
                    <a:cubicBezTo>
                      <a:pt x="653" y="56"/>
                      <a:pt x="653" y="56"/>
                      <a:pt x="653" y="56"/>
                    </a:cubicBezTo>
                    <a:cubicBezTo>
                      <a:pt x="653" y="53"/>
                      <a:pt x="653" y="53"/>
                      <a:pt x="653" y="53"/>
                    </a:cubicBezTo>
                    <a:cubicBezTo>
                      <a:pt x="654" y="52"/>
                      <a:pt x="654" y="52"/>
                      <a:pt x="654" y="52"/>
                    </a:cubicBezTo>
                    <a:cubicBezTo>
                      <a:pt x="656" y="53"/>
                      <a:pt x="656" y="53"/>
                      <a:pt x="656" y="53"/>
                    </a:cubicBezTo>
                    <a:cubicBezTo>
                      <a:pt x="658" y="52"/>
                      <a:pt x="658" y="52"/>
                      <a:pt x="658" y="52"/>
                    </a:cubicBezTo>
                    <a:cubicBezTo>
                      <a:pt x="659" y="53"/>
                      <a:pt x="659" y="53"/>
                      <a:pt x="659" y="53"/>
                    </a:cubicBezTo>
                    <a:cubicBezTo>
                      <a:pt x="665" y="53"/>
                      <a:pt x="665" y="53"/>
                      <a:pt x="665" y="53"/>
                    </a:cubicBezTo>
                    <a:cubicBezTo>
                      <a:pt x="668" y="55"/>
                      <a:pt x="668" y="55"/>
                      <a:pt x="668" y="55"/>
                    </a:cubicBezTo>
                    <a:cubicBezTo>
                      <a:pt x="669" y="55"/>
                      <a:pt x="669" y="55"/>
                      <a:pt x="669" y="55"/>
                    </a:cubicBezTo>
                    <a:cubicBezTo>
                      <a:pt x="670" y="56"/>
                      <a:pt x="670" y="56"/>
                      <a:pt x="670" y="56"/>
                    </a:cubicBezTo>
                    <a:cubicBezTo>
                      <a:pt x="672" y="56"/>
                      <a:pt x="672" y="56"/>
                      <a:pt x="672" y="56"/>
                    </a:cubicBezTo>
                    <a:cubicBezTo>
                      <a:pt x="674" y="55"/>
                      <a:pt x="674" y="55"/>
                      <a:pt x="674" y="55"/>
                    </a:cubicBezTo>
                    <a:cubicBezTo>
                      <a:pt x="677" y="55"/>
                      <a:pt x="677" y="55"/>
                      <a:pt x="677" y="55"/>
                    </a:cubicBezTo>
                    <a:cubicBezTo>
                      <a:pt x="677" y="55"/>
                      <a:pt x="677" y="55"/>
                      <a:pt x="677" y="55"/>
                    </a:cubicBezTo>
                    <a:cubicBezTo>
                      <a:pt x="679" y="54"/>
                      <a:pt x="679" y="54"/>
                      <a:pt x="679" y="54"/>
                    </a:cubicBezTo>
                    <a:cubicBezTo>
                      <a:pt x="680" y="54"/>
                      <a:pt x="680" y="54"/>
                      <a:pt x="680" y="54"/>
                    </a:cubicBezTo>
                    <a:cubicBezTo>
                      <a:pt x="684" y="53"/>
                      <a:pt x="684" y="53"/>
                      <a:pt x="684" y="53"/>
                    </a:cubicBezTo>
                    <a:cubicBezTo>
                      <a:pt x="688" y="52"/>
                      <a:pt x="688" y="52"/>
                      <a:pt x="688" y="52"/>
                    </a:cubicBezTo>
                    <a:cubicBezTo>
                      <a:pt x="688" y="51"/>
                      <a:pt x="688" y="51"/>
                      <a:pt x="688" y="51"/>
                    </a:cubicBezTo>
                    <a:cubicBezTo>
                      <a:pt x="688" y="50"/>
                      <a:pt x="688" y="50"/>
                      <a:pt x="688" y="50"/>
                    </a:cubicBezTo>
                    <a:cubicBezTo>
                      <a:pt x="687" y="50"/>
                      <a:pt x="687" y="50"/>
                      <a:pt x="687" y="50"/>
                    </a:cubicBezTo>
                    <a:cubicBezTo>
                      <a:pt x="686" y="50"/>
                      <a:pt x="686" y="50"/>
                      <a:pt x="686" y="50"/>
                    </a:cubicBezTo>
                    <a:cubicBezTo>
                      <a:pt x="685" y="51"/>
                      <a:pt x="685" y="51"/>
                      <a:pt x="685" y="51"/>
                    </a:cubicBezTo>
                    <a:cubicBezTo>
                      <a:pt x="682" y="52"/>
                      <a:pt x="682" y="52"/>
                      <a:pt x="682" y="52"/>
                    </a:cubicBezTo>
                    <a:cubicBezTo>
                      <a:pt x="678" y="52"/>
                      <a:pt x="678" y="52"/>
                      <a:pt x="678" y="52"/>
                    </a:cubicBezTo>
                    <a:cubicBezTo>
                      <a:pt x="675" y="53"/>
                      <a:pt x="675" y="53"/>
                      <a:pt x="675" y="53"/>
                    </a:cubicBezTo>
                    <a:cubicBezTo>
                      <a:pt x="674" y="54"/>
                      <a:pt x="674" y="54"/>
                      <a:pt x="674" y="54"/>
                    </a:cubicBezTo>
                    <a:cubicBezTo>
                      <a:pt x="671" y="53"/>
                      <a:pt x="671" y="53"/>
                      <a:pt x="671" y="53"/>
                    </a:cubicBezTo>
                    <a:cubicBezTo>
                      <a:pt x="670" y="54"/>
                      <a:pt x="670" y="54"/>
                      <a:pt x="670" y="54"/>
                    </a:cubicBezTo>
                    <a:cubicBezTo>
                      <a:pt x="669" y="54"/>
                      <a:pt x="669" y="54"/>
                      <a:pt x="669" y="54"/>
                    </a:cubicBezTo>
                    <a:cubicBezTo>
                      <a:pt x="667" y="52"/>
                      <a:pt x="667" y="52"/>
                      <a:pt x="667" y="52"/>
                    </a:cubicBezTo>
                    <a:cubicBezTo>
                      <a:pt x="665" y="52"/>
                      <a:pt x="665" y="52"/>
                      <a:pt x="665" y="52"/>
                    </a:cubicBezTo>
                    <a:cubicBezTo>
                      <a:pt x="664" y="51"/>
                      <a:pt x="664" y="51"/>
                      <a:pt x="664" y="51"/>
                    </a:cubicBezTo>
                    <a:cubicBezTo>
                      <a:pt x="662" y="51"/>
                      <a:pt x="662" y="51"/>
                      <a:pt x="662" y="51"/>
                    </a:cubicBezTo>
                    <a:cubicBezTo>
                      <a:pt x="659" y="49"/>
                      <a:pt x="659" y="49"/>
                      <a:pt x="659" y="49"/>
                    </a:cubicBezTo>
                    <a:cubicBezTo>
                      <a:pt x="657" y="50"/>
                      <a:pt x="657" y="50"/>
                      <a:pt x="657" y="50"/>
                    </a:cubicBezTo>
                    <a:cubicBezTo>
                      <a:pt x="655" y="49"/>
                      <a:pt x="655" y="49"/>
                      <a:pt x="655" y="49"/>
                    </a:cubicBezTo>
                    <a:cubicBezTo>
                      <a:pt x="654" y="48"/>
                      <a:pt x="654" y="48"/>
                      <a:pt x="654" y="48"/>
                    </a:cubicBezTo>
                    <a:cubicBezTo>
                      <a:pt x="655" y="47"/>
                      <a:pt x="655" y="47"/>
                      <a:pt x="655" y="47"/>
                    </a:cubicBezTo>
                    <a:cubicBezTo>
                      <a:pt x="655" y="44"/>
                      <a:pt x="655" y="44"/>
                      <a:pt x="655" y="44"/>
                    </a:cubicBezTo>
                    <a:cubicBezTo>
                      <a:pt x="657" y="43"/>
                      <a:pt x="657" y="43"/>
                      <a:pt x="657" y="43"/>
                    </a:cubicBezTo>
                    <a:cubicBezTo>
                      <a:pt x="658" y="43"/>
                      <a:pt x="658" y="43"/>
                      <a:pt x="658" y="43"/>
                    </a:cubicBezTo>
                    <a:cubicBezTo>
                      <a:pt x="659" y="45"/>
                      <a:pt x="659" y="45"/>
                      <a:pt x="659" y="45"/>
                    </a:cubicBezTo>
                    <a:cubicBezTo>
                      <a:pt x="662" y="45"/>
                      <a:pt x="662" y="45"/>
                      <a:pt x="662" y="45"/>
                    </a:cubicBezTo>
                    <a:cubicBezTo>
                      <a:pt x="663" y="44"/>
                      <a:pt x="663" y="44"/>
                      <a:pt x="663" y="44"/>
                    </a:cubicBezTo>
                    <a:cubicBezTo>
                      <a:pt x="661" y="43"/>
                      <a:pt x="661" y="43"/>
                      <a:pt x="661" y="43"/>
                    </a:cubicBezTo>
                    <a:cubicBezTo>
                      <a:pt x="660" y="43"/>
                      <a:pt x="660" y="43"/>
                      <a:pt x="660" y="43"/>
                    </a:cubicBezTo>
                    <a:cubicBezTo>
                      <a:pt x="658" y="41"/>
                      <a:pt x="658" y="41"/>
                      <a:pt x="658" y="41"/>
                    </a:cubicBezTo>
                    <a:cubicBezTo>
                      <a:pt x="659" y="40"/>
                      <a:pt x="659" y="40"/>
                      <a:pt x="659" y="40"/>
                    </a:cubicBezTo>
                    <a:cubicBezTo>
                      <a:pt x="662" y="40"/>
                      <a:pt x="662" y="40"/>
                      <a:pt x="662" y="40"/>
                    </a:cubicBezTo>
                    <a:cubicBezTo>
                      <a:pt x="664" y="38"/>
                      <a:pt x="664" y="38"/>
                      <a:pt x="664" y="38"/>
                    </a:cubicBezTo>
                    <a:cubicBezTo>
                      <a:pt x="667" y="38"/>
                      <a:pt x="667" y="38"/>
                      <a:pt x="667" y="38"/>
                    </a:cubicBezTo>
                    <a:cubicBezTo>
                      <a:pt x="669" y="37"/>
                      <a:pt x="669" y="37"/>
                      <a:pt x="669" y="37"/>
                    </a:cubicBezTo>
                    <a:cubicBezTo>
                      <a:pt x="671" y="37"/>
                      <a:pt x="671" y="37"/>
                      <a:pt x="671" y="37"/>
                    </a:cubicBezTo>
                    <a:cubicBezTo>
                      <a:pt x="672" y="38"/>
                      <a:pt x="672" y="38"/>
                      <a:pt x="672" y="38"/>
                    </a:cubicBezTo>
                    <a:cubicBezTo>
                      <a:pt x="673" y="37"/>
                      <a:pt x="673" y="37"/>
                      <a:pt x="673" y="37"/>
                    </a:cubicBezTo>
                    <a:cubicBezTo>
                      <a:pt x="673" y="36"/>
                      <a:pt x="673" y="36"/>
                      <a:pt x="673" y="36"/>
                    </a:cubicBezTo>
                    <a:cubicBezTo>
                      <a:pt x="672" y="35"/>
                      <a:pt x="672" y="35"/>
                      <a:pt x="672" y="35"/>
                    </a:cubicBezTo>
                    <a:cubicBezTo>
                      <a:pt x="668" y="36"/>
                      <a:pt x="668" y="36"/>
                      <a:pt x="668" y="36"/>
                    </a:cubicBezTo>
                    <a:cubicBezTo>
                      <a:pt x="665" y="36"/>
                      <a:pt x="665" y="36"/>
                      <a:pt x="665" y="36"/>
                    </a:cubicBezTo>
                    <a:cubicBezTo>
                      <a:pt x="662" y="37"/>
                      <a:pt x="662" y="37"/>
                      <a:pt x="662" y="37"/>
                    </a:cubicBezTo>
                    <a:cubicBezTo>
                      <a:pt x="661" y="38"/>
                      <a:pt x="661" y="38"/>
                      <a:pt x="661" y="38"/>
                    </a:cubicBezTo>
                    <a:cubicBezTo>
                      <a:pt x="659" y="39"/>
                      <a:pt x="659" y="39"/>
                      <a:pt x="659" y="39"/>
                    </a:cubicBezTo>
                    <a:cubicBezTo>
                      <a:pt x="658" y="39"/>
                      <a:pt x="658" y="39"/>
                      <a:pt x="658" y="39"/>
                    </a:cubicBezTo>
                    <a:cubicBezTo>
                      <a:pt x="658" y="37"/>
                      <a:pt x="658" y="37"/>
                      <a:pt x="658" y="37"/>
                    </a:cubicBezTo>
                    <a:cubicBezTo>
                      <a:pt x="657" y="35"/>
                      <a:pt x="657" y="35"/>
                      <a:pt x="657" y="35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3" y="32"/>
                      <a:pt x="663" y="32"/>
                      <a:pt x="663" y="32"/>
                    </a:cubicBezTo>
                    <a:cubicBezTo>
                      <a:pt x="666" y="32"/>
                      <a:pt x="666" y="32"/>
                      <a:pt x="666" y="32"/>
                    </a:cubicBezTo>
                    <a:cubicBezTo>
                      <a:pt x="667" y="31"/>
                      <a:pt x="667" y="31"/>
                      <a:pt x="667" y="31"/>
                    </a:cubicBezTo>
                    <a:cubicBezTo>
                      <a:pt x="665" y="31"/>
                      <a:pt x="665" y="31"/>
                      <a:pt x="665" y="31"/>
                    </a:cubicBezTo>
                    <a:cubicBezTo>
                      <a:pt x="664" y="30"/>
                      <a:pt x="664" y="30"/>
                      <a:pt x="664" y="30"/>
                    </a:cubicBezTo>
                    <a:cubicBezTo>
                      <a:pt x="664" y="27"/>
                      <a:pt x="664" y="27"/>
                      <a:pt x="664" y="27"/>
                    </a:cubicBezTo>
                    <a:cubicBezTo>
                      <a:pt x="664" y="28"/>
                      <a:pt x="664" y="28"/>
                      <a:pt x="664" y="28"/>
                    </a:cubicBezTo>
                    <a:cubicBezTo>
                      <a:pt x="663" y="30"/>
                      <a:pt x="663" y="30"/>
                      <a:pt x="663" y="30"/>
                    </a:cubicBezTo>
                    <a:cubicBezTo>
                      <a:pt x="662" y="30"/>
                      <a:pt x="662" y="30"/>
                      <a:pt x="662" y="30"/>
                    </a:cubicBezTo>
                    <a:cubicBezTo>
                      <a:pt x="662" y="29"/>
                      <a:pt x="662" y="29"/>
                      <a:pt x="662" y="29"/>
                    </a:cubicBezTo>
                    <a:cubicBezTo>
                      <a:pt x="660" y="29"/>
                      <a:pt x="660" y="29"/>
                      <a:pt x="660" y="29"/>
                    </a:cubicBezTo>
                    <a:cubicBezTo>
                      <a:pt x="660" y="30"/>
                      <a:pt x="660" y="30"/>
                      <a:pt x="660" y="30"/>
                    </a:cubicBezTo>
                    <a:cubicBezTo>
                      <a:pt x="658" y="30"/>
                      <a:pt x="658" y="30"/>
                      <a:pt x="658" y="30"/>
                    </a:cubicBezTo>
                    <a:cubicBezTo>
                      <a:pt x="658" y="32"/>
                      <a:pt x="658" y="32"/>
                      <a:pt x="658" y="32"/>
                    </a:cubicBezTo>
                    <a:cubicBezTo>
                      <a:pt x="657" y="33"/>
                      <a:pt x="657" y="33"/>
                      <a:pt x="657" y="33"/>
                    </a:cubicBezTo>
                    <a:cubicBezTo>
                      <a:pt x="654" y="33"/>
                      <a:pt x="654" y="33"/>
                      <a:pt x="654" y="33"/>
                    </a:cubicBezTo>
                    <a:cubicBezTo>
                      <a:pt x="654" y="32"/>
                      <a:pt x="654" y="32"/>
                      <a:pt x="654" y="32"/>
                    </a:cubicBezTo>
                    <a:cubicBezTo>
                      <a:pt x="654" y="30"/>
                      <a:pt x="654" y="30"/>
                      <a:pt x="654" y="30"/>
                    </a:cubicBezTo>
                    <a:cubicBezTo>
                      <a:pt x="654" y="29"/>
                      <a:pt x="654" y="29"/>
                      <a:pt x="654" y="29"/>
                    </a:cubicBezTo>
                    <a:cubicBezTo>
                      <a:pt x="653" y="28"/>
                      <a:pt x="653" y="28"/>
                      <a:pt x="653" y="28"/>
                    </a:cubicBezTo>
                    <a:cubicBezTo>
                      <a:pt x="654" y="27"/>
                      <a:pt x="654" y="27"/>
                      <a:pt x="654" y="27"/>
                    </a:cubicBezTo>
                    <a:cubicBezTo>
                      <a:pt x="655" y="28"/>
                      <a:pt x="655" y="28"/>
                      <a:pt x="655" y="28"/>
                    </a:cubicBezTo>
                    <a:cubicBezTo>
                      <a:pt x="655" y="25"/>
                      <a:pt x="655" y="25"/>
                      <a:pt x="655" y="25"/>
                    </a:cubicBezTo>
                    <a:cubicBezTo>
                      <a:pt x="657" y="25"/>
                      <a:pt x="657" y="25"/>
                      <a:pt x="657" y="25"/>
                    </a:cubicBezTo>
                    <a:cubicBezTo>
                      <a:pt x="659" y="25"/>
                      <a:pt x="659" y="25"/>
                      <a:pt x="659" y="25"/>
                    </a:cubicBezTo>
                    <a:cubicBezTo>
                      <a:pt x="660" y="23"/>
                      <a:pt x="660" y="23"/>
                      <a:pt x="660" y="23"/>
                    </a:cubicBezTo>
                    <a:cubicBezTo>
                      <a:pt x="662" y="22"/>
                      <a:pt x="662" y="22"/>
                      <a:pt x="662" y="22"/>
                    </a:cubicBezTo>
                    <a:cubicBezTo>
                      <a:pt x="664" y="22"/>
                      <a:pt x="664" y="22"/>
                      <a:pt x="664" y="22"/>
                    </a:cubicBezTo>
                    <a:cubicBezTo>
                      <a:pt x="667" y="20"/>
                      <a:pt x="667" y="20"/>
                      <a:pt x="667" y="20"/>
                    </a:cubicBezTo>
                    <a:cubicBezTo>
                      <a:pt x="671" y="20"/>
                      <a:pt x="671" y="20"/>
                      <a:pt x="671" y="20"/>
                    </a:cubicBezTo>
                    <a:cubicBezTo>
                      <a:pt x="672" y="19"/>
                      <a:pt x="672" y="19"/>
                      <a:pt x="672" y="19"/>
                    </a:cubicBezTo>
                    <a:cubicBezTo>
                      <a:pt x="673" y="20"/>
                      <a:pt x="673" y="20"/>
                      <a:pt x="673" y="20"/>
                    </a:cubicBezTo>
                    <a:cubicBezTo>
                      <a:pt x="674" y="21"/>
                      <a:pt x="674" y="21"/>
                      <a:pt x="674" y="21"/>
                    </a:cubicBezTo>
                    <a:cubicBezTo>
                      <a:pt x="673" y="22"/>
                      <a:pt x="673" y="22"/>
                      <a:pt x="673" y="22"/>
                    </a:cubicBezTo>
                    <a:cubicBezTo>
                      <a:pt x="673" y="27"/>
                      <a:pt x="673" y="27"/>
                      <a:pt x="673" y="27"/>
                    </a:cubicBezTo>
                    <a:cubicBezTo>
                      <a:pt x="674" y="27"/>
                      <a:pt x="674" y="27"/>
                      <a:pt x="674" y="27"/>
                    </a:cubicBezTo>
                    <a:cubicBezTo>
                      <a:pt x="675" y="24"/>
                      <a:pt x="675" y="24"/>
                      <a:pt x="675" y="24"/>
                    </a:cubicBezTo>
                    <a:cubicBezTo>
                      <a:pt x="676" y="23"/>
                      <a:pt x="676" y="23"/>
                      <a:pt x="676" y="23"/>
                    </a:cubicBezTo>
                    <a:cubicBezTo>
                      <a:pt x="677" y="23"/>
                      <a:pt x="677" y="23"/>
                      <a:pt x="677" y="23"/>
                    </a:cubicBezTo>
                    <a:cubicBezTo>
                      <a:pt x="676" y="24"/>
                      <a:pt x="676" y="24"/>
                      <a:pt x="676" y="24"/>
                    </a:cubicBezTo>
                    <a:cubicBezTo>
                      <a:pt x="676" y="26"/>
                      <a:pt x="676" y="26"/>
                      <a:pt x="676" y="26"/>
                    </a:cubicBezTo>
                    <a:cubicBezTo>
                      <a:pt x="678" y="25"/>
                      <a:pt x="678" y="25"/>
                      <a:pt x="678" y="25"/>
                    </a:cubicBezTo>
                    <a:cubicBezTo>
                      <a:pt x="678" y="23"/>
                      <a:pt x="678" y="23"/>
                      <a:pt x="678" y="23"/>
                    </a:cubicBezTo>
                    <a:cubicBezTo>
                      <a:pt x="678" y="22"/>
                      <a:pt x="678" y="22"/>
                      <a:pt x="678" y="22"/>
                    </a:cubicBezTo>
                    <a:cubicBezTo>
                      <a:pt x="678" y="21"/>
                      <a:pt x="678" y="21"/>
                      <a:pt x="678" y="21"/>
                    </a:cubicBezTo>
                    <a:cubicBezTo>
                      <a:pt x="678" y="19"/>
                      <a:pt x="678" y="19"/>
                      <a:pt x="678" y="19"/>
                    </a:cubicBezTo>
                    <a:cubicBezTo>
                      <a:pt x="680" y="18"/>
                      <a:pt x="680" y="18"/>
                      <a:pt x="680" y="18"/>
                    </a:cubicBezTo>
                    <a:cubicBezTo>
                      <a:pt x="682" y="16"/>
                      <a:pt x="682" y="16"/>
                      <a:pt x="682" y="16"/>
                    </a:cubicBezTo>
                    <a:cubicBezTo>
                      <a:pt x="683" y="16"/>
                      <a:pt x="683" y="16"/>
                      <a:pt x="683" y="16"/>
                    </a:cubicBezTo>
                    <a:cubicBezTo>
                      <a:pt x="683" y="18"/>
                      <a:pt x="683" y="18"/>
                      <a:pt x="683" y="18"/>
                    </a:cubicBezTo>
                    <a:cubicBezTo>
                      <a:pt x="683" y="21"/>
                      <a:pt x="683" y="21"/>
                      <a:pt x="683" y="21"/>
                    </a:cubicBezTo>
                    <a:cubicBezTo>
                      <a:pt x="685" y="22"/>
                      <a:pt x="685" y="22"/>
                      <a:pt x="685" y="22"/>
                    </a:cubicBezTo>
                    <a:cubicBezTo>
                      <a:pt x="685" y="24"/>
                      <a:pt x="685" y="24"/>
                      <a:pt x="685" y="24"/>
                    </a:cubicBezTo>
                    <a:cubicBezTo>
                      <a:pt x="685" y="25"/>
                      <a:pt x="685" y="25"/>
                      <a:pt x="685" y="25"/>
                    </a:cubicBezTo>
                    <a:cubicBezTo>
                      <a:pt x="685" y="27"/>
                      <a:pt x="685" y="27"/>
                      <a:pt x="685" y="27"/>
                    </a:cubicBezTo>
                    <a:cubicBezTo>
                      <a:pt x="685" y="28"/>
                      <a:pt x="685" y="28"/>
                      <a:pt x="685" y="28"/>
                    </a:cubicBezTo>
                    <a:cubicBezTo>
                      <a:pt x="687" y="30"/>
                      <a:pt x="687" y="30"/>
                      <a:pt x="687" y="30"/>
                    </a:cubicBezTo>
                    <a:cubicBezTo>
                      <a:pt x="687" y="29"/>
                      <a:pt x="687" y="29"/>
                      <a:pt x="687" y="29"/>
                    </a:cubicBezTo>
                    <a:cubicBezTo>
                      <a:pt x="686" y="27"/>
                      <a:pt x="686" y="27"/>
                      <a:pt x="686" y="27"/>
                    </a:cubicBezTo>
                    <a:cubicBezTo>
                      <a:pt x="686" y="25"/>
                      <a:pt x="686" y="25"/>
                      <a:pt x="686" y="25"/>
                    </a:cubicBezTo>
                    <a:cubicBezTo>
                      <a:pt x="688" y="25"/>
                      <a:pt x="688" y="25"/>
                      <a:pt x="688" y="25"/>
                    </a:cubicBezTo>
                    <a:cubicBezTo>
                      <a:pt x="690" y="21"/>
                      <a:pt x="690" y="21"/>
                      <a:pt x="690" y="21"/>
                    </a:cubicBezTo>
                    <a:cubicBezTo>
                      <a:pt x="691" y="21"/>
                      <a:pt x="691" y="21"/>
                      <a:pt x="691" y="21"/>
                    </a:cubicBezTo>
                    <a:cubicBezTo>
                      <a:pt x="692" y="24"/>
                      <a:pt x="692" y="24"/>
                      <a:pt x="692" y="24"/>
                    </a:cubicBezTo>
                    <a:cubicBezTo>
                      <a:pt x="692" y="27"/>
                      <a:pt x="692" y="27"/>
                      <a:pt x="692" y="27"/>
                    </a:cubicBezTo>
                    <a:cubicBezTo>
                      <a:pt x="692" y="29"/>
                      <a:pt x="692" y="29"/>
                      <a:pt x="692" y="29"/>
                    </a:cubicBezTo>
                    <a:cubicBezTo>
                      <a:pt x="693" y="30"/>
                      <a:pt x="693" y="30"/>
                      <a:pt x="693" y="30"/>
                    </a:cubicBezTo>
                    <a:cubicBezTo>
                      <a:pt x="693" y="31"/>
                      <a:pt x="693" y="31"/>
                      <a:pt x="693" y="31"/>
                    </a:cubicBezTo>
                    <a:cubicBezTo>
                      <a:pt x="694" y="30"/>
                      <a:pt x="694" y="30"/>
                      <a:pt x="694" y="30"/>
                    </a:cubicBezTo>
                    <a:cubicBezTo>
                      <a:pt x="694" y="27"/>
                      <a:pt x="694" y="27"/>
                      <a:pt x="694" y="27"/>
                    </a:cubicBezTo>
                    <a:cubicBezTo>
                      <a:pt x="695" y="27"/>
                      <a:pt x="695" y="27"/>
                      <a:pt x="695" y="27"/>
                    </a:cubicBezTo>
                    <a:cubicBezTo>
                      <a:pt x="696" y="26"/>
                      <a:pt x="696" y="26"/>
                      <a:pt x="696" y="26"/>
                    </a:cubicBezTo>
                    <a:cubicBezTo>
                      <a:pt x="697" y="27"/>
                      <a:pt x="697" y="27"/>
                      <a:pt x="697" y="27"/>
                    </a:cubicBezTo>
                    <a:cubicBezTo>
                      <a:pt x="696" y="28"/>
                      <a:pt x="696" y="28"/>
                      <a:pt x="696" y="28"/>
                    </a:cubicBezTo>
                    <a:cubicBezTo>
                      <a:pt x="696" y="30"/>
                      <a:pt x="696" y="30"/>
                      <a:pt x="696" y="30"/>
                    </a:cubicBezTo>
                    <a:cubicBezTo>
                      <a:pt x="697" y="31"/>
                      <a:pt x="697" y="31"/>
                      <a:pt x="697" y="31"/>
                    </a:cubicBezTo>
                    <a:cubicBezTo>
                      <a:pt x="699" y="29"/>
                      <a:pt x="699" y="29"/>
                      <a:pt x="699" y="29"/>
                    </a:cubicBezTo>
                    <a:cubicBezTo>
                      <a:pt x="700" y="29"/>
                      <a:pt x="700" y="29"/>
                      <a:pt x="700" y="29"/>
                    </a:cubicBezTo>
                    <a:cubicBezTo>
                      <a:pt x="699" y="31"/>
                      <a:pt x="699" y="31"/>
                      <a:pt x="699" y="31"/>
                    </a:cubicBezTo>
                    <a:cubicBezTo>
                      <a:pt x="700" y="30"/>
                      <a:pt x="700" y="30"/>
                      <a:pt x="700" y="30"/>
                    </a:cubicBezTo>
                    <a:cubicBezTo>
                      <a:pt x="700" y="28"/>
                      <a:pt x="700" y="28"/>
                      <a:pt x="700" y="28"/>
                    </a:cubicBezTo>
                    <a:cubicBezTo>
                      <a:pt x="699" y="25"/>
                      <a:pt x="699" y="25"/>
                      <a:pt x="699" y="25"/>
                    </a:cubicBezTo>
                    <a:cubicBezTo>
                      <a:pt x="698" y="25"/>
                      <a:pt x="698" y="25"/>
                      <a:pt x="698" y="25"/>
                    </a:cubicBezTo>
                    <a:cubicBezTo>
                      <a:pt x="697" y="23"/>
                      <a:pt x="697" y="23"/>
                      <a:pt x="697" y="23"/>
                    </a:cubicBezTo>
                    <a:cubicBezTo>
                      <a:pt x="697" y="21"/>
                      <a:pt x="697" y="21"/>
                      <a:pt x="697" y="21"/>
                    </a:cubicBezTo>
                    <a:cubicBezTo>
                      <a:pt x="695" y="20"/>
                      <a:pt x="695" y="20"/>
                      <a:pt x="695" y="20"/>
                    </a:cubicBezTo>
                    <a:cubicBezTo>
                      <a:pt x="695" y="18"/>
                      <a:pt x="695" y="18"/>
                      <a:pt x="695" y="18"/>
                    </a:cubicBezTo>
                    <a:cubicBezTo>
                      <a:pt x="694" y="17"/>
                      <a:pt x="694" y="17"/>
                      <a:pt x="694" y="17"/>
                    </a:cubicBezTo>
                    <a:cubicBezTo>
                      <a:pt x="694" y="15"/>
                      <a:pt x="694" y="15"/>
                      <a:pt x="694" y="15"/>
                    </a:cubicBezTo>
                    <a:cubicBezTo>
                      <a:pt x="696" y="15"/>
                      <a:pt x="696" y="15"/>
                      <a:pt x="696" y="15"/>
                    </a:cubicBezTo>
                    <a:cubicBezTo>
                      <a:pt x="697" y="16"/>
                      <a:pt x="697" y="16"/>
                      <a:pt x="697" y="16"/>
                    </a:cubicBezTo>
                    <a:cubicBezTo>
                      <a:pt x="699" y="16"/>
                      <a:pt x="699" y="16"/>
                      <a:pt x="699" y="16"/>
                    </a:cubicBezTo>
                    <a:cubicBezTo>
                      <a:pt x="701" y="16"/>
                      <a:pt x="701" y="16"/>
                      <a:pt x="701" y="16"/>
                    </a:cubicBezTo>
                    <a:cubicBezTo>
                      <a:pt x="702" y="15"/>
                      <a:pt x="702" y="15"/>
                      <a:pt x="702" y="15"/>
                    </a:cubicBezTo>
                    <a:cubicBezTo>
                      <a:pt x="702" y="12"/>
                      <a:pt x="702" y="12"/>
                      <a:pt x="702" y="12"/>
                    </a:cubicBezTo>
                    <a:cubicBezTo>
                      <a:pt x="701" y="10"/>
                      <a:pt x="701" y="10"/>
                      <a:pt x="701" y="10"/>
                    </a:cubicBezTo>
                    <a:cubicBezTo>
                      <a:pt x="701" y="8"/>
                      <a:pt x="701" y="8"/>
                      <a:pt x="701" y="8"/>
                    </a:cubicBezTo>
                    <a:cubicBezTo>
                      <a:pt x="704" y="8"/>
                      <a:pt x="704" y="8"/>
                      <a:pt x="704" y="8"/>
                    </a:cubicBezTo>
                    <a:cubicBezTo>
                      <a:pt x="704" y="8"/>
                      <a:pt x="704" y="8"/>
                      <a:pt x="704" y="8"/>
                    </a:cubicBezTo>
                    <a:cubicBezTo>
                      <a:pt x="708" y="9"/>
                      <a:pt x="708" y="9"/>
                      <a:pt x="708" y="9"/>
                    </a:cubicBezTo>
                    <a:cubicBezTo>
                      <a:pt x="709" y="10"/>
                      <a:pt x="709" y="10"/>
                      <a:pt x="709" y="10"/>
                    </a:cubicBezTo>
                    <a:cubicBezTo>
                      <a:pt x="709" y="11"/>
                      <a:pt x="709" y="11"/>
                      <a:pt x="709" y="11"/>
                    </a:cubicBezTo>
                    <a:cubicBezTo>
                      <a:pt x="708" y="13"/>
                      <a:pt x="708" y="13"/>
                      <a:pt x="708" y="13"/>
                    </a:cubicBezTo>
                    <a:cubicBezTo>
                      <a:pt x="708" y="14"/>
                      <a:pt x="708" y="14"/>
                      <a:pt x="708" y="14"/>
                    </a:cubicBezTo>
                    <a:cubicBezTo>
                      <a:pt x="712" y="15"/>
                      <a:pt x="712" y="15"/>
                      <a:pt x="712" y="15"/>
                    </a:cubicBezTo>
                    <a:cubicBezTo>
                      <a:pt x="712" y="16"/>
                      <a:pt x="712" y="16"/>
                      <a:pt x="712" y="16"/>
                    </a:cubicBezTo>
                    <a:cubicBezTo>
                      <a:pt x="711" y="19"/>
                      <a:pt x="711" y="19"/>
                      <a:pt x="711" y="19"/>
                    </a:cubicBezTo>
                    <a:cubicBezTo>
                      <a:pt x="712" y="23"/>
                      <a:pt x="712" y="23"/>
                      <a:pt x="712" y="23"/>
                    </a:cubicBezTo>
                    <a:cubicBezTo>
                      <a:pt x="713" y="23"/>
                      <a:pt x="713" y="23"/>
                      <a:pt x="713" y="23"/>
                    </a:cubicBezTo>
                    <a:cubicBezTo>
                      <a:pt x="714" y="20"/>
                      <a:pt x="714" y="20"/>
                      <a:pt x="714" y="20"/>
                    </a:cubicBezTo>
                    <a:cubicBezTo>
                      <a:pt x="715" y="20"/>
                      <a:pt x="715" y="20"/>
                      <a:pt x="715" y="20"/>
                    </a:cubicBezTo>
                    <a:cubicBezTo>
                      <a:pt x="715" y="22"/>
                      <a:pt x="715" y="22"/>
                      <a:pt x="715" y="22"/>
                    </a:cubicBezTo>
                    <a:cubicBezTo>
                      <a:pt x="716" y="23"/>
                      <a:pt x="716" y="23"/>
                      <a:pt x="716" y="23"/>
                    </a:cubicBezTo>
                    <a:cubicBezTo>
                      <a:pt x="717" y="22"/>
                      <a:pt x="717" y="22"/>
                      <a:pt x="717" y="22"/>
                    </a:cubicBezTo>
                    <a:cubicBezTo>
                      <a:pt x="718" y="21"/>
                      <a:pt x="718" y="21"/>
                      <a:pt x="718" y="21"/>
                    </a:cubicBezTo>
                    <a:cubicBezTo>
                      <a:pt x="720" y="20"/>
                      <a:pt x="720" y="20"/>
                      <a:pt x="720" y="20"/>
                    </a:cubicBezTo>
                    <a:cubicBezTo>
                      <a:pt x="721" y="19"/>
                      <a:pt x="721" y="19"/>
                      <a:pt x="721" y="19"/>
                    </a:cubicBezTo>
                    <a:cubicBezTo>
                      <a:pt x="720" y="15"/>
                      <a:pt x="720" y="15"/>
                      <a:pt x="720" y="15"/>
                    </a:cubicBezTo>
                    <a:cubicBezTo>
                      <a:pt x="721" y="14"/>
                      <a:pt x="721" y="14"/>
                      <a:pt x="721" y="14"/>
                    </a:cubicBezTo>
                    <a:cubicBezTo>
                      <a:pt x="722" y="14"/>
                      <a:pt x="722" y="14"/>
                      <a:pt x="722" y="14"/>
                    </a:cubicBezTo>
                    <a:cubicBezTo>
                      <a:pt x="723" y="14"/>
                      <a:pt x="723" y="14"/>
                      <a:pt x="723" y="14"/>
                    </a:cubicBezTo>
                    <a:cubicBezTo>
                      <a:pt x="726" y="15"/>
                      <a:pt x="726" y="15"/>
                      <a:pt x="726" y="15"/>
                    </a:cubicBezTo>
                    <a:cubicBezTo>
                      <a:pt x="726" y="13"/>
                      <a:pt x="726" y="13"/>
                      <a:pt x="726" y="13"/>
                    </a:cubicBezTo>
                    <a:cubicBezTo>
                      <a:pt x="723" y="11"/>
                      <a:pt x="723" y="11"/>
                      <a:pt x="723" y="11"/>
                    </a:cubicBezTo>
                    <a:cubicBezTo>
                      <a:pt x="722" y="9"/>
                      <a:pt x="722" y="9"/>
                      <a:pt x="722" y="9"/>
                    </a:cubicBezTo>
                    <a:cubicBezTo>
                      <a:pt x="723" y="8"/>
                      <a:pt x="723" y="8"/>
                      <a:pt x="723" y="8"/>
                    </a:cubicBezTo>
                    <a:cubicBezTo>
                      <a:pt x="724" y="6"/>
                      <a:pt x="724" y="6"/>
                      <a:pt x="724" y="6"/>
                    </a:cubicBezTo>
                    <a:cubicBezTo>
                      <a:pt x="725" y="5"/>
                      <a:pt x="725" y="5"/>
                      <a:pt x="725" y="5"/>
                    </a:cubicBezTo>
                    <a:cubicBezTo>
                      <a:pt x="728" y="8"/>
                      <a:pt x="728" y="8"/>
                      <a:pt x="728" y="8"/>
                    </a:cubicBezTo>
                    <a:cubicBezTo>
                      <a:pt x="729" y="10"/>
                      <a:pt x="729" y="10"/>
                      <a:pt x="729" y="10"/>
                    </a:cubicBezTo>
                    <a:cubicBezTo>
                      <a:pt x="729" y="12"/>
                      <a:pt x="729" y="12"/>
                      <a:pt x="729" y="12"/>
                    </a:cubicBezTo>
                    <a:cubicBezTo>
                      <a:pt x="729" y="15"/>
                      <a:pt x="729" y="15"/>
                      <a:pt x="729" y="15"/>
                    </a:cubicBezTo>
                    <a:cubicBezTo>
                      <a:pt x="730" y="16"/>
                      <a:pt x="730" y="16"/>
                      <a:pt x="730" y="16"/>
                    </a:cubicBezTo>
                    <a:cubicBezTo>
                      <a:pt x="731" y="19"/>
                      <a:pt x="731" y="19"/>
                      <a:pt x="731" y="19"/>
                    </a:cubicBezTo>
                    <a:cubicBezTo>
                      <a:pt x="731" y="21"/>
                      <a:pt x="731" y="21"/>
                      <a:pt x="731" y="21"/>
                    </a:cubicBezTo>
                    <a:cubicBezTo>
                      <a:pt x="732" y="20"/>
                      <a:pt x="732" y="20"/>
                      <a:pt x="732" y="20"/>
                    </a:cubicBezTo>
                    <a:cubicBezTo>
                      <a:pt x="732" y="18"/>
                      <a:pt x="732" y="18"/>
                      <a:pt x="732" y="18"/>
                    </a:cubicBezTo>
                    <a:cubicBezTo>
                      <a:pt x="732" y="16"/>
                      <a:pt x="732" y="16"/>
                      <a:pt x="732" y="16"/>
                    </a:cubicBezTo>
                    <a:cubicBezTo>
                      <a:pt x="732" y="13"/>
                      <a:pt x="732" y="13"/>
                      <a:pt x="732" y="13"/>
                    </a:cubicBezTo>
                    <a:cubicBezTo>
                      <a:pt x="731" y="11"/>
                      <a:pt x="731" y="11"/>
                      <a:pt x="731" y="11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4"/>
                      <a:pt x="731" y="4"/>
                      <a:pt x="731" y="4"/>
                    </a:cubicBezTo>
                    <a:cubicBezTo>
                      <a:pt x="732" y="2"/>
                      <a:pt x="732" y="2"/>
                      <a:pt x="732" y="2"/>
                    </a:cubicBezTo>
                    <a:cubicBezTo>
                      <a:pt x="733" y="2"/>
                      <a:pt x="733" y="2"/>
                      <a:pt x="733" y="2"/>
                    </a:cubicBezTo>
                    <a:cubicBezTo>
                      <a:pt x="735" y="3"/>
                      <a:pt x="735" y="3"/>
                      <a:pt x="735" y="3"/>
                    </a:cubicBezTo>
                    <a:cubicBezTo>
                      <a:pt x="736" y="3"/>
                      <a:pt x="736" y="3"/>
                      <a:pt x="736" y="3"/>
                    </a:cubicBezTo>
                    <a:cubicBezTo>
                      <a:pt x="737" y="4"/>
                      <a:pt x="737" y="4"/>
                      <a:pt x="737" y="4"/>
                    </a:cubicBezTo>
                    <a:cubicBezTo>
                      <a:pt x="737" y="7"/>
                      <a:pt x="737" y="7"/>
                      <a:pt x="737" y="7"/>
                    </a:cubicBezTo>
                    <a:cubicBezTo>
                      <a:pt x="738" y="9"/>
                      <a:pt x="738" y="9"/>
                      <a:pt x="738" y="9"/>
                    </a:cubicBezTo>
                    <a:cubicBezTo>
                      <a:pt x="737" y="11"/>
                      <a:pt x="737" y="11"/>
                      <a:pt x="737" y="11"/>
                    </a:cubicBezTo>
                    <a:cubicBezTo>
                      <a:pt x="738" y="14"/>
                      <a:pt x="738" y="14"/>
                      <a:pt x="738" y="14"/>
                    </a:cubicBezTo>
                    <a:cubicBezTo>
                      <a:pt x="739" y="15"/>
                      <a:pt x="739" y="15"/>
                      <a:pt x="739" y="15"/>
                    </a:cubicBezTo>
                    <a:cubicBezTo>
                      <a:pt x="739" y="13"/>
                      <a:pt x="739" y="13"/>
                      <a:pt x="739" y="13"/>
                    </a:cubicBezTo>
                    <a:cubicBezTo>
                      <a:pt x="739" y="12"/>
                      <a:pt x="739" y="12"/>
                      <a:pt x="739" y="12"/>
                    </a:cubicBezTo>
                    <a:cubicBezTo>
                      <a:pt x="740" y="12"/>
                      <a:pt x="740" y="12"/>
                      <a:pt x="740" y="12"/>
                    </a:cubicBezTo>
                    <a:cubicBezTo>
                      <a:pt x="743" y="16"/>
                      <a:pt x="743" y="16"/>
                      <a:pt x="743" y="16"/>
                    </a:cubicBezTo>
                    <a:cubicBezTo>
                      <a:pt x="744" y="15"/>
                      <a:pt x="744" y="15"/>
                      <a:pt x="744" y="15"/>
                    </a:cubicBezTo>
                    <a:cubicBezTo>
                      <a:pt x="745" y="14"/>
                      <a:pt x="745" y="14"/>
                      <a:pt x="745" y="14"/>
                    </a:cubicBezTo>
                    <a:cubicBezTo>
                      <a:pt x="745" y="14"/>
                      <a:pt x="745" y="14"/>
                      <a:pt x="745" y="14"/>
                    </a:cubicBezTo>
                    <a:cubicBezTo>
                      <a:pt x="744" y="13"/>
                      <a:pt x="744" y="13"/>
                      <a:pt x="744" y="13"/>
                    </a:cubicBezTo>
                    <a:cubicBezTo>
                      <a:pt x="742" y="11"/>
                      <a:pt x="742" y="11"/>
                      <a:pt x="742" y="11"/>
                    </a:cubicBezTo>
                    <a:cubicBezTo>
                      <a:pt x="743" y="10"/>
                      <a:pt x="743" y="10"/>
                      <a:pt x="743" y="10"/>
                    </a:cubicBezTo>
                    <a:cubicBezTo>
                      <a:pt x="743" y="9"/>
                      <a:pt x="743" y="9"/>
                      <a:pt x="743" y="9"/>
                    </a:cubicBezTo>
                    <a:cubicBezTo>
                      <a:pt x="741" y="7"/>
                      <a:pt x="741" y="7"/>
                      <a:pt x="741" y="7"/>
                    </a:cubicBezTo>
                    <a:cubicBezTo>
                      <a:pt x="740" y="6"/>
                      <a:pt x="740" y="6"/>
                      <a:pt x="740" y="6"/>
                    </a:cubicBezTo>
                    <a:cubicBezTo>
                      <a:pt x="741" y="5"/>
                      <a:pt x="741" y="5"/>
                      <a:pt x="741" y="5"/>
                    </a:cubicBezTo>
                    <a:cubicBezTo>
                      <a:pt x="743" y="5"/>
                      <a:pt x="743" y="5"/>
                      <a:pt x="743" y="5"/>
                    </a:cubicBezTo>
                    <a:cubicBezTo>
                      <a:pt x="742" y="4"/>
                      <a:pt x="742" y="4"/>
                      <a:pt x="742" y="4"/>
                    </a:cubicBezTo>
                    <a:cubicBezTo>
                      <a:pt x="741" y="4"/>
                      <a:pt x="741" y="4"/>
                      <a:pt x="741" y="4"/>
                    </a:cubicBezTo>
                    <a:cubicBezTo>
                      <a:pt x="739" y="2"/>
                      <a:pt x="739" y="2"/>
                      <a:pt x="739" y="2"/>
                    </a:cubicBezTo>
                    <a:cubicBezTo>
                      <a:pt x="741" y="2"/>
                      <a:pt x="741" y="2"/>
                      <a:pt x="741" y="2"/>
                    </a:cubicBezTo>
                    <a:cubicBezTo>
                      <a:pt x="742" y="2"/>
                      <a:pt x="742" y="2"/>
                      <a:pt x="742" y="2"/>
                    </a:cubicBezTo>
                    <a:cubicBezTo>
                      <a:pt x="744" y="0"/>
                      <a:pt x="744" y="0"/>
                      <a:pt x="744" y="0"/>
                    </a:cubicBezTo>
                    <a:cubicBezTo>
                      <a:pt x="748" y="0"/>
                      <a:pt x="748" y="0"/>
                      <a:pt x="748" y="0"/>
                    </a:cubicBezTo>
                    <a:cubicBezTo>
                      <a:pt x="749" y="1"/>
                      <a:pt x="749" y="1"/>
                      <a:pt x="749" y="1"/>
                    </a:cubicBezTo>
                    <a:cubicBezTo>
                      <a:pt x="749" y="4"/>
                      <a:pt x="749" y="4"/>
                      <a:pt x="749" y="4"/>
                    </a:cubicBezTo>
                    <a:cubicBezTo>
                      <a:pt x="748" y="5"/>
                      <a:pt x="748" y="5"/>
                      <a:pt x="748" y="5"/>
                    </a:cubicBezTo>
                    <a:cubicBezTo>
                      <a:pt x="748" y="6"/>
                      <a:pt x="748" y="6"/>
                      <a:pt x="748" y="6"/>
                    </a:cubicBezTo>
                    <a:cubicBezTo>
                      <a:pt x="750" y="6"/>
                      <a:pt x="750" y="6"/>
                      <a:pt x="750" y="6"/>
                    </a:cubicBezTo>
                    <a:cubicBezTo>
                      <a:pt x="751" y="4"/>
                      <a:pt x="751" y="4"/>
                      <a:pt x="751" y="4"/>
                    </a:cubicBezTo>
                    <a:cubicBezTo>
                      <a:pt x="752" y="3"/>
                      <a:pt x="752" y="3"/>
                      <a:pt x="752" y="3"/>
                    </a:cubicBezTo>
                    <a:cubicBezTo>
                      <a:pt x="753" y="4"/>
                      <a:pt x="753" y="4"/>
                      <a:pt x="753" y="4"/>
                    </a:cubicBezTo>
                    <a:cubicBezTo>
                      <a:pt x="752" y="7"/>
                      <a:pt x="752" y="7"/>
                      <a:pt x="752" y="7"/>
                    </a:cubicBezTo>
                    <a:cubicBezTo>
                      <a:pt x="753" y="8"/>
                      <a:pt x="753" y="8"/>
                      <a:pt x="753" y="8"/>
                    </a:cubicBezTo>
                    <a:cubicBezTo>
                      <a:pt x="754" y="7"/>
                      <a:pt x="754" y="7"/>
                      <a:pt x="754" y="7"/>
                    </a:cubicBezTo>
                    <a:cubicBezTo>
                      <a:pt x="754" y="6"/>
                      <a:pt x="754" y="6"/>
                      <a:pt x="754" y="6"/>
                    </a:cubicBezTo>
                    <a:cubicBezTo>
                      <a:pt x="757" y="4"/>
                      <a:pt x="757" y="4"/>
                      <a:pt x="757" y="4"/>
                    </a:cubicBezTo>
                    <a:cubicBezTo>
                      <a:pt x="758" y="5"/>
                      <a:pt x="758" y="5"/>
                      <a:pt x="758" y="5"/>
                    </a:cubicBezTo>
                    <a:cubicBezTo>
                      <a:pt x="757" y="7"/>
                      <a:pt x="757" y="7"/>
                      <a:pt x="757" y="7"/>
                    </a:cubicBezTo>
                    <a:cubicBezTo>
                      <a:pt x="756" y="9"/>
                      <a:pt x="756" y="9"/>
                      <a:pt x="756" y="9"/>
                    </a:cubicBezTo>
                    <a:cubicBezTo>
                      <a:pt x="757" y="12"/>
                      <a:pt x="757" y="12"/>
                      <a:pt x="757" y="12"/>
                    </a:cubicBezTo>
                    <a:cubicBezTo>
                      <a:pt x="756" y="14"/>
                      <a:pt x="756" y="14"/>
                      <a:pt x="756" y="14"/>
                    </a:cubicBezTo>
                    <a:cubicBezTo>
                      <a:pt x="757" y="15"/>
                      <a:pt x="757" y="15"/>
                      <a:pt x="757" y="15"/>
                    </a:cubicBezTo>
                    <a:cubicBezTo>
                      <a:pt x="759" y="14"/>
                      <a:pt x="759" y="14"/>
                      <a:pt x="759" y="14"/>
                    </a:cubicBezTo>
                    <a:cubicBezTo>
                      <a:pt x="760" y="14"/>
                      <a:pt x="760" y="14"/>
                      <a:pt x="760" y="14"/>
                    </a:cubicBezTo>
                    <a:cubicBezTo>
                      <a:pt x="761" y="14"/>
                      <a:pt x="761" y="14"/>
                      <a:pt x="761" y="14"/>
                    </a:cubicBezTo>
                    <a:cubicBezTo>
                      <a:pt x="761" y="11"/>
                      <a:pt x="761" y="11"/>
                      <a:pt x="761" y="11"/>
                    </a:cubicBezTo>
                    <a:cubicBezTo>
                      <a:pt x="762" y="7"/>
                      <a:pt x="762" y="7"/>
                      <a:pt x="762" y="7"/>
                    </a:cubicBezTo>
                    <a:cubicBezTo>
                      <a:pt x="761" y="3"/>
                      <a:pt x="761" y="3"/>
                      <a:pt x="761" y="3"/>
                    </a:cubicBezTo>
                    <a:cubicBezTo>
                      <a:pt x="761" y="0"/>
                      <a:pt x="761" y="0"/>
                      <a:pt x="761" y="0"/>
                    </a:cubicBezTo>
                    <a:cubicBezTo>
                      <a:pt x="763" y="0"/>
                      <a:pt x="763" y="0"/>
                      <a:pt x="763" y="0"/>
                    </a:cubicBezTo>
                    <a:cubicBezTo>
                      <a:pt x="764" y="1"/>
                      <a:pt x="764" y="1"/>
                      <a:pt x="764" y="1"/>
                    </a:cubicBezTo>
                    <a:cubicBezTo>
                      <a:pt x="765" y="1"/>
                      <a:pt x="765" y="1"/>
                      <a:pt x="765" y="1"/>
                    </a:cubicBezTo>
                    <a:cubicBezTo>
                      <a:pt x="767" y="1"/>
                      <a:pt x="767" y="1"/>
                      <a:pt x="767" y="1"/>
                    </a:cubicBezTo>
                    <a:cubicBezTo>
                      <a:pt x="769" y="0"/>
                      <a:pt x="769" y="0"/>
                      <a:pt x="769" y="0"/>
                    </a:cubicBezTo>
                    <a:cubicBezTo>
                      <a:pt x="772" y="1"/>
                      <a:pt x="772" y="1"/>
                      <a:pt x="772" y="1"/>
                    </a:cubicBezTo>
                    <a:cubicBezTo>
                      <a:pt x="772" y="3"/>
                      <a:pt x="772" y="3"/>
                      <a:pt x="772" y="3"/>
                    </a:cubicBezTo>
                    <a:cubicBezTo>
                      <a:pt x="775" y="3"/>
                      <a:pt x="775" y="3"/>
                      <a:pt x="775" y="3"/>
                    </a:cubicBezTo>
                    <a:cubicBezTo>
                      <a:pt x="777" y="3"/>
                      <a:pt x="777" y="3"/>
                      <a:pt x="777" y="3"/>
                    </a:cubicBezTo>
                    <a:cubicBezTo>
                      <a:pt x="780" y="4"/>
                      <a:pt x="780" y="4"/>
                      <a:pt x="780" y="4"/>
                    </a:cubicBezTo>
                    <a:cubicBezTo>
                      <a:pt x="780" y="6"/>
                      <a:pt x="780" y="6"/>
                      <a:pt x="780" y="6"/>
                    </a:cubicBezTo>
                    <a:cubicBezTo>
                      <a:pt x="781" y="7"/>
                      <a:pt x="781" y="7"/>
                      <a:pt x="781" y="7"/>
                    </a:cubicBezTo>
                    <a:cubicBezTo>
                      <a:pt x="781" y="9"/>
                      <a:pt x="781" y="9"/>
                      <a:pt x="781" y="9"/>
                    </a:cubicBezTo>
                    <a:cubicBezTo>
                      <a:pt x="780" y="12"/>
                      <a:pt x="780" y="12"/>
                      <a:pt x="780" y="12"/>
                    </a:cubicBezTo>
                    <a:cubicBezTo>
                      <a:pt x="781" y="13"/>
                      <a:pt x="781" y="13"/>
                      <a:pt x="781" y="13"/>
                    </a:cubicBezTo>
                    <a:cubicBezTo>
                      <a:pt x="782" y="12"/>
                      <a:pt x="782" y="12"/>
                      <a:pt x="782" y="12"/>
                    </a:cubicBezTo>
                    <a:cubicBezTo>
                      <a:pt x="784" y="10"/>
                      <a:pt x="784" y="10"/>
                      <a:pt x="784" y="10"/>
                    </a:cubicBezTo>
                    <a:cubicBezTo>
                      <a:pt x="787" y="8"/>
                      <a:pt x="787" y="8"/>
                      <a:pt x="787" y="8"/>
                    </a:cubicBezTo>
                    <a:cubicBezTo>
                      <a:pt x="788" y="6"/>
                      <a:pt x="788" y="6"/>
                      <a:pt x="788" y="6"/>
                    </a:cubicBezTo>
                    <a:cubicBezTo>
                      <a:pt x="790" y="6"/>
                      <a:pt x="790" y="6"/>
                      <a:pt x="790" y="6"/>
                    </a:cubicBezTo>
                    <a:cubicBezTo>
                      <a:pt x="792" y="7"/>
                      <a:pt x="792" y="7"/>
                      <a:pt x="792" y="7"/>
                    </a:cubicBezTo>
                    <a:cubicBezTo>
                      <a:pt x="795" y="7"/>
                      <a:pt x="795" y="7"/>
                      <a:pt x="795" y="7"/>
                    </a:cubicBezTo>
                    <a:cubicBezTo>
                      <a:pt x="795" y="9"/>
                      <a:pt x="795" y="9"/>
                      <a:pt x="795" y="9"/>
                    </a:cubicBezTo>
                    <a:cubicBezTo>
                      <a:pt x="793" y="11"/>
                      <a:pt x="793" y="11"/>
                      <a:pt x="793" y="11"/>
                    </a:cubicBezTo>
                    <a:cubicBezTo>
                      <a:pt x="794" y="13"/>
                      <a:pt x="794" y="13"/>
                      <a:pt x="794" y="13"/>
                    </a:cubicBezTo>
                    <a:cubicBezTo>
                      <a:pt x="795" y="12"/>
                      <a:pt x="795" y="12"/>
                      <a:pt x="795" y="12"/>
                    </a:cubicBezTo>
                    <a:cubicBezTo>
                      <a:pt x="795" y="10"/>
                      <a:pt x="795" y="10"/>
                      <a:pt x="795" y="10"/>
                    </a:cubicBezTo>
                    <a:cubicBezTo>
                      <a:pt x="797" y="9"/>
                      <a:pt x="797" y="9"/>
                      <a:pt x="797" y="9"/>
                    </a:cubicBezTo>
                    <a:cubicBezTo>
                      <a:pt x="799" y="8"/>
                      <a:pt x="799" y="8"/>
                      <a:pt x="799" y="8"/>
                    </a:cubicBezTo>
                    <a:cubicBezTo>
                      <a:pt x="802" y="9"/>
                      <a:pt x="802" y="9"/>
                      <a:pt x="802" y="9"/>
                    </a:cubicBezTo>
                    <a:cubicBezTo>
                      <a:pt x="806" y="10"/>
                      <a:pt x="806" y="10"/>
                      <a:pt x="806" y="10"/>
                    </a:cubicBezTo>
                    <a:cubicBezTo>
                      <a:pt x="807" y="11"/>
                      <a:pt x="807" y="11"/>
                      <a:pt x="807" y="11"/>
                    </a:cubicBezTo>
                    <a:cubicBezTo>
                      <a:pt x="806" y="12"/>
                      <a:pt x="806" y="12"/>
                      <a:pt x="806" y="12"/>
                    </a:cubicBezTo>
                    <a:cubicBezTo>
                      <a:pt x="805" y="13"/>
                      <a:pt x="805" y="13"/>
                      <a:pt x="805" y="13"/>
                    </a:cubicBezTo>
                    <a:cubicBezTo>
                      <a:pt x="805" y="14"/>
                      <a:pt x="805" y="14"/>
                      <a:pt x="805" y="14"/>
                    </a:cubicBezTo>
                    <a:cubicBezTo>
                      <a:pt x="804" y="15"/>
                      <a:pt x="804" y="15"/>
                      <a:pt x="804" y="15"/>
                    </a:cubicBezTo>
                    <a:cubicBezTo>
                      <a:pt x="805" y="17"/>
                      <a:pt x="805" y="17"/>
                      <a:pt x="805" y="17"/>
                    </a:cubicBezTo>
                    <a:cubicBezTo>
                      <a:pt x="806" y="16"/>
                      <a:pt x="806" y="16"/>
                      <a:pt x="806" y="16"/>
                    </a:cubicBezTo>
                    <a:cubicBezTo>
                      <a:pt x="808" y="15"/>
                      <a:pt x="808" y="15"/>
                      <a:pt x="808" y="15"/>
                    </a:cubicBezTo>
                    <a:cubicBezTo>
                      <a:pt x="808" y="17"/>
                      <a:pt x="808" y="17"/>
                      <a:pt x="808" y="17"/>
                    </a:cubicBezTo>
                    <a:cubicBezTo>
                      <a:pt x="810" y="17"/>
                      <a:pt x="810" y="17"/>
                      <a:pt x="810" y="17"/>
                    </a:cubicBezTo>
                    <a:cubicBezTo>
                      <a:pt x="811" y="16"/>
                      <a:pt x="811" y="16"/>
                      <a:pt x="811" y="16"/>
                    </a:cubicBezTo>
                    <a:cubicBezTo>
                      <a:pt x="814" y="15"/>
                      <a:pt x="814" y="15"/>
                      <a:pt x="814" y="15"/>
                    </a:cubicBezTo>
                    <a:cubicBezTo>
                      <a:pt x="814" y="17"/>
                      <a:pt x="814" y="17"/>
                      <a:pt x="814" y="17"/>
                    </a:cubicBezTo>
                    <a:cubicBezTo>
                      <a:pt x="813" y="18"/>
                      <a:pt x="813" y="18"/>
                      <a:pt x="813" y="18"/>
                    </a:cubicBezTo>
                    <a:cubicBezTo>
                      <a:pt x="813" y="20"/>
                      <a:pt x="813" y="20"/>
                      <a:pt x="813" y="20"/>
                    </a:cubicBezTo>
                    <a:cubicBezTo>
                      <a:pt x="814" y="20"/>
                      <a:pt x="814" y="20"/>
                      <a:pt x="814" y="20"/>
                    </a:cubicBezTo>
                    <a:cubicBezTo>
                      <a:pt x="815" y="19"/>
                      <a:pt x="815" y="19"/>
                      <a:pt x="815" y="19"/>
                    </a:cubicBezTo>
                    <a:cubicBezTo>
                      <a:pt x="817" y="18"/>
                      <a:pt x="817" y="18"/>
                      <a:pt x="817" y="18"/>
                    </a:cubicBezTo>
                    <a:cubicBezTo>
                      <a:pt x="818" y="18"/>
                      <a:pt x="818" y="18"/>
                      <a:pt x="818" y="18"/>
                    </a:cubicBezTo>
                    <a:cubicBezTo>
                      <a:pt x="818" y="19"/>
                      <a:pt x="818" y="19"/>
                      <a:pt x="818" y="19"/>
                    </a:cubicBezTo>
                    <a:cubicBezTo>
                      <a:pt x="822" y="21"/>
                      <a:pt x="822" y="21"/>
                      <a:pt x="822" y="21"/>
                    </a:cubicBezTo>
                    <a:cubicBezTo>
                      <a:pt x="824" y="21"/>
                      <a:pt x="824" y="21"/>
                      <a:pt x="824" y="21"/>
                    </a:cubicBezTo>
                    <a:cubicBezTo>
                      <a:pt x="824" y="22"/>
                      <a:pt x="824" y="22"/>
                      <a:pt x="824" y="22"/>
                    </a:cubicBezTo>
                    <a:cubicBezTo>
                      <a:pt x="823" y="23"/>
                      <a:pt x="823" y="23"/>
                      <a:pt x="823" y="23"/>
                    </a:cubicBezTo>
                    <a:cubicBezTo>
                      <a:pt x="820" y="25"/>
                      <a:pt x="820" y="25"/>
                      <a:pt x="820" y="25"/>
                    </a:cubicBezTo>
                    <a:cubicBezTo>
                      <a:pt x="818" y="27"/>
                      <a:pt x="818" y="27"/>
                      <a:pt x="818" y="27"/>
                    </a:cubicBezTo>
                    <a:cubicBezTo>
                      <a:pt x="816" y="28"/>
                      <a:pt x="816" y="28"/>
                      <a:pt x="816" y="28"/>
                    </a:cubicBezTo>
                    <a:cubicBezTo>
                      <a:pt x="813" y="29"/>
                      <a:pt x="813" y="29"/>
                      <a:pt x="813" y="29"/>
                    </a:cubicBezTo>
                    <a:cubicBezTo>
                      <a:pt x="811" y="29"/>
                      <a:pt x="811" y="29"/>
                      <a:pt x="811" y="29"/>
                    </a:cubicBezTo>
                    <a:cubicBezTo>
                      <a:pt x="810" y="29"/>
                      <a:pt x="810" y="29"/>
                      <a:pt x="810" y="29"/>
                    </a:cubicBezTo>
                    <a:cubicBezTo>
                      <a:pt x="809" y="30"/>
                      <a:pt x="809" y="30"/>
                      <a:pt x="809" y="30"/>
                    </a:cubicBezTo>
                    <a:cubicBezTo>
                      <a:pt x="806" y="31"/>
                      <a:pt x="806" y="31"/>
                      <a:pt x="806" y="31"/>
                    </a:cubicBezTo>
                    <a:cubicBezTo>
                      <a:pt x="810" y="30"/>
                      <a:pt x="810" y="30"/>
                      <a:pt x="810" y="30"/>
                    </a:cubicBezTo>
                    <a:cubicBezTo>
                      <a:pt x="814" y="31"/>
                      <a:pt x="814" y="31"/>
                      <a:pt x="814" y="31"/>
                    </a:cubicBezTo>
                    <a:cubicBezTo>
                      <a:pt x="815" y="32"/>
                      <a:pt x="815" y="32"/>
                      <a:pt x="815" y="32"/>
                    </a:cubicBezTo>
                    <a:cubicBezTo>
                      <a:pt x="817" y="32"/>
                      <a:pt x="817" y="32"/>
                      <a:pt x="817" y="32"/>
                    </a:cubicBezTo>
                    <a:cubicBezTo>
                      <a:pt x="818" y="30"/>
                      <a:pt x="818" y="30"/>
                      <a:pt x="818" y="30"/>
                    </a:cubicBezTo>
                    <a:cubicBezTo>
                      <a:pt x="819" y="29"/>
                      <a:pt x="819" y="29"/>
                      <a:pt x="819" y="29"/>
                    </a:cubicBezTo>
                    <a:cubicBezTo>
                      <a:pt x="821" y="29"/>
                      <a:pt x="821" y="29"/>
                      <a:pt x="821" y="29"/>
                    </a:cubicBezTo>
                    <a:cubicBezTo>
                      <a:pt x="822" y="27"/>
                      <a:pt x="822" y="27"/>
                      <a:pt x="822" y="27"/>
                    </a:cubicBezTo>
                    <a:cubicBezTo>
                      <a:pt x="825" y="26"/>
                      <a:pt x="825" y="26"/>
                      <a:pt x="825" y="26"/>
                    </a:cubicBezTo>
                    <a:cubicBezTo>
                      <a:pt x="827" y="26"/>
                      <a:pt x="827" y="26"/>
                      <a:pt x="827" y="26"/>
                    </a:cubicBezTo>
                    <a:cubicBezTo>
                      <a:pt x="827" y="27"/>
                      <a:pt x="827" y="27"/>
                      <a:pt x="827" y="27"/>
                    </a:cubicBezTo>
                    <a:cubicBezTo>
                      <a:pt x="826" y="29"/>
                      <a:pt x="826" y="29"/>
                      <a:pt x="826" y="29"/>
                    </a:cubicBezTo>
                    <a:cubicBezTo>
                      <a:pt x="827" y="31"/>
                      <a:pt x="827" y="31"/>
                      <a:pt x="827" y="31"/>
                    </a:cubicBezTo>
                    <a:cubicBezTo>
                      <a:pt x="828" y="30"/>
                      <a:pt x="828" y="30"/>
                      <a:pt x="828" y="30"/>
                    </a:cubicBezTo>
                    <a:cubicBezTo>
                      <a:pt x="829" y="28"/>
                      <a:pt x="829" y="28"/>
                      <a:pt x="829" y="28"/>
                    </a:cubicBezTo>
                    <a:cubicBezTo>
                      <a:pt x="831" y="26"/>
                      <a:pt x="831" y="26"/>
                      <a:pt x="831" y="26"/>
                    </a:cubicBezTo>
                    <a:cubicBezTo>
                      <a:pt x="832" y="27"/>
                      <a:pt x="832" y="27"/>
                      <a:pt x="832" y="27"/>
                    </a:cubicBezTo>
                    <a:cubicBezTo>
                      <a:pt x="831" y="29"/>
                      <a:pt x="831" y="29"/>
                      <a:pt x="831" y="29"/>
                    </a:cubicBezTo>
                    <a:cubicBezTo>
                      <a:pt x="831" y="30"/>
                      <a:pt x="831" y="30"/>
                      <a:pt x="831" y="30"/>
                    </a:cubicBezTo>
                    <a:cubicBezTo>
                      <a:pt x="830" y="31"/>
                      <a:pt x="830" y="31"/>
                      <a:pt x="830" y="31"/>
                    </a:cubicBezTo>
                    <a:cubicBezTo>
                      <a:pt x="831" y="32"/>
                      <a:pt x="831" y="32"/>
                      <a:pt x="831" y="32"/>
                    </a:cubicBezTo>
                    <a:cubicBezTo>
                      <a:pt x="832" y="32"/>
                      <a:pt x="832" y="32"/>
                      <a:pt x="832" y="32"/>
                    </a:cubicBezTo>
                    <a:cubicBezTo>
                      <a:pt x="833" y="31"/>
                      <a:pt x="833" y="31"/>
                      <a:pt x="833" y="31"/>
                    </a:cubicBezTo>
                    <a:cubicBezTo>
                      <a:pt x="833" y="29"/>
                      <a:pt x="833" y="29"/>
                      <a:pt x="833" y="29"/>
                    </a:cubicBezTo>
                    <a:cubicBezTo>
                      <a:pt x="835" y="29"/>
                      <a:pt x="835" y="29"/>
                      <a:pt x="835" y="29"/>
                    </a:cubicBezTo>
                    <a:cubicBezTo>
                      <a:pt x="837" y="29"/>
                      <a:pt x="837" y="29"/>
                      <a:pt x="837" y="29"/>
                    </a:cubicBezTo>
                    <a:cubicBezTo>
                      <a:pt x="836" y="33"/>
                      <a:pt x="836" y="33"/>
                      <a:pt x="836" y="33"/>
                    </a:cubicBezTo>
                    <a:cubicBezTo>
                      <a:pt x="835" y="34"/>
                      <a:pt x="835" y="34"/>
                      <a:pt x="835" y="34"/>
                    </a:cubicBezTo>
                    <a:cubicBezTo>
                      <a:pt x="836" y="34"/>
                      <a:pt x="836" y="34"/>
                      <a:pt x="836" y="34"/>
                    </a:cubicBezTo>
                    <a:cubicBezTo>
                      <a:pt x="836" y="37"/>
                      <a:pt x="836" y="37"/>
                      <a:pt x="836" y="37"/>
                    </a:cubicBezTo>
                    <a:cubicBezTo>
                      <a:pt x="836" y="39"/>
                      <a:pt x="836" y="39"/>
                      <a:pt x="836" y="39"/>
                    </a:cubicBezTo>
                    <a:cubicBezTo>
                      <a:pt x="834" y="40"/>
                      <a:pt x="834" y="40"/>
                      <a:pt x="834" y="40"/>
                    </a:cubicBezTo>
                    <a:cubicBezTo>
                      <a:pt x="834" y="42"/>
                      <a:pt x="834" y="42"/>
                      <a:pt x="834" y="42"/>
                    </a:cubicBezTo>
                    <a:cubicBezTo>
                      <a:pt x="832" y="45"/>
                      <a:pt x="832" y="45"/>
                      <a:pt x="832" y="45"/>
                    </a:cubicBezTo>
                    <a:cubicBezTo>
                      <a:pt x="832" y="46"/>
                      <a:pt x="832" y="46"/>
                      <a:pt x="832" y="46"/>
                    </a:cubicBezTo>
                    <a:cubicBezTo>
                      <a:pt x="834" y="45"/>
                      <a:pt x="834" y="45"/>
                      <a:pt x="834" y="45"/>
                    </a:cubicBezTo>
                    <a:cubicBezTo>
                      <a:pt x="835" y="43"/>
                      <a:pt x="835" y="43"/>
                      <a:pt x="835" y="43"/>
                    </a:cubicBezTo>
                    <a:cubicBezTo>
                      <a:pt x="837" y="43"/>
                      <a:pt x="837" y="43"/>
                      <a:pt x="837" y="43"/>
                    </a:cubicBezTo>
                    <a:cubicBezTo>
                      <a:pt x="837" y="43"/>
                      <a:pt x="837" y="43"/>
                      <a:pt x="837" y="43"/>
                    </a:cubicBezTo>
                    <a:cubicBezTo>
                      <a:pt x="838" y="43"/>
                      <a:pt x="838" y="43"/>
                      <a:pt x="838" y="43"/>
                    </a:cubicBezTo>
                    <a:cubicBezTo>
                      <a:pt x="841" y="44"/>
                      <a:pt x="841" y="44"/>
                      <a:pt x="841" y="44"/>
                    </a:cubicBezTo>
                    <a:cubicBezTo>
                      <a:pt x="842" y="46"/>
                      <a:pt x="842" y="46"/>
                      <a:pt x="842" y="46"/>
                    </a:cubicBezTo>
                    <a:cubicBezTo>
                      <a:pt x="842" y="49"/>
                      <a:pt x="842" y="49"/>
                      <a:pt x="842" y="49"/>
                    </a:cubicBezTo>
                    <a:cubicBezTo>
                      <a:pt x="841" y="54"/>
                      <a:pt x="841" y="54"/>
                      <a:pt x="841" y="54"/>
                    </a:cubicBezTo>
                    <a:cubicBezTo>
                      <a:pt x="839" y="58"/>
                      <a:pt x="839" y="58"/>
                      <a:pt x="839" y="58"/>
                    </a:cubicBezTo>
                    <a:cubicBezTo>
                      <a:pt x="835" y="61"/>
                      <a:pt x="835" y="61"/>
                      <a:pt x="835" y="61"/>
                    </a:cubicBezTo>
                    <a:cubicBezTo>
                      <a:pt x="834" y="61"/>
                      <a:pt x="834" y="61"/>
                      <a:pt x="834" y="61"/>
                    </a:cubicBezTo>
                    <a:cubicBezTo>
                      <a:pt x="832" y="61"/>
                      <a:pt x="832" y="61"/>
                      <a:pt x="832" y="61"/>
                    </a:cubicBezTo>
                    <a:cubicBezTo>
                      <a:pt x="831" y="62"/>
                      <a:pt x="831" y="62"/>
                      <a:pt x="831" y="62"/>
                    </a:cubicBezTo>
                    <a:cubicBezTo>
                      <a:pt x="831" y="63"/>
                      <a:pt x="831" y="63"/>
                      <a:pt x="831" y="63"/>
                    </a:cubicBezTo>
                    <a:cubicBezTo>
                      <a:pt x="830" y="64"/>
                      <a:pt x="830" y="64"/>
                      <a:pt x="830" y="64"/>
                    </a:cubicBezTo>
                    <a:cubicBezTo>
                      <a:pt x="824" y="67"/>
                      <a:pt x="824" y="67"/>
                      <a:pt x="824" y="67"/>
                    </a:cubicBezTo>
                    <a:cubicBezTo>
                      <a:pt x="822" y="68"/>
                      <a:pt x="822" y="68"/>
                      <a:pt x="822" y="68"/>
                    </a:cubicBezTo>
                    <a:cubicBezTo>
                      <a:pt x="820" y="69"/>
                      <a:pt x="820" y="69"/>
                      <a:pt x="820" y="69"/>
                    </a:cubicBezTo>
                    <a:cubicBezTo>
                      <a:pt x="817" y="70"/>
                      <a:pt x="817" y="70"/>
                      <a:pt x="817" y="70"/>
                    </a:cubicBezTo>
                    <a:cubicBezTo>
                      <a:pt x="814" y="70"/>
                      <a:pt x="814" y="70"/>
                      <a:pt x="814" y="70"/>
                    </a:cubicBezTo>
                    <a:cubicBezTo>
                      <a:pt x="813" y="68"/>
                      <a:pt x="813" y="68"/>
                      <a:pt x="813" y="68"/>
                    </a:cubicBezTo>
                    <a:cubicBezTo>
                      <a:pt x="812" y="70"/>
                      <a:pt x="812" y="70"/>
                      <a:pt x="812" y="70"/>
                    </a:cubicBezTo>
                    <a:cubicBezTo>
                      <a:pt x="811" y="71"/>
                      <a:pt x="811" y="71"/>
                      <a:pt x="811" y="71"/>
                    </a:cubicBezTo>
                    <a:cubicBezTo>
                      <a:pt x="809" y="69"/>
                      <a:pt x="809" y="69"/>
                      <a:pt x="809" y="69"/>
                    </a:cubicBezTo>
                    <a:cubicBezTo>
                      <a:pt x="807" y="68"/>
                      <a:pt x="807" y="68"/>
                      <a:pt x="807" y="68"/>
                    </a:cubicBezTo>
                    <a:cubicBezTo>
                      <a:pt x="804" y="68"/>
                      <a:pt x="804" y="68"/>
                      <a:pt x="804" y="68"/>
                    </a:cubicBezTo>
                    <a:cubicBezTo>
                      <a:pt x="804" y="69"/>
                      <a:pt x="804" y="69"/>
                      <a:pt x="804" y="69"/>
                    </a:cubicBezTo>
                    <a:cubicBezTo>
                      <a:pt x="806" y="70"/>
                      <a:pt x="806" y="70"/>
                      <a:pt x="806" y="70"/>
                    </a:cubicBezTo>
                    <a:cubicBezTo>
                      <a:pt x="807" y="70"/>
                      <a:pt x="807" y="70"/>
                      <a:pt x="807" y="70"/>
                    </a:cubicBezTo>
                    <a:cubicBezTo>
                      <a:pt x="806" y="71"/>
                      <a:pt x="806" y="71"/>
                      <a:pt x="806" y="71"/>
                    </a:cubicBezTo>
                    <a:cubicBezTo>
                      <a:pt x="803" y="71"/>
                      <a:pt x="803" y="71"/>
                      <a:pt x="803" y="71"/>
                    </a:cubicBezTo>
                    <a:cubicBezTo>
                      <a:pt x="802" y="71"/>
                      <a:pt x="802" y="71"/>
                      <a:pt x="802" y="71"/>
                    </a:cubicBezTo>
                    <a:cubicBezTo>
                      <a:pt x="800" y="70"/>
                      <a:pt x="800" y="70"/>
                      <a:pt x="800" y="70"/>
                    </a:cubicBezTo>
                    <a:cubicBezTo>
                      <a:pt x="797" y="70"/>
                      <a:pt x="797" y="70"/>
                      <a:pt x="797" y="70"/>
                    </a:cubicBezTo>
                    <a:cubicBezTo>
                      <a:pt x="796" y="68"/>
                      <a:pt x="796" y="68"/>
                      <a:pt x="796" y="68"/>
                    </a:cubicBezTo>
                    <a:cubicBezTo>
                      <a:pt x="795" y="69"/>
                      <a:pt x="795" y="69"/>
                      <a:pt x="795" y="69"/>
                    </a:cubicBezTo>
                    <a:cubicBezTo>
                      <a:pt x="794" y="69"/>
                      <a:pt x="794" y="69"/>
                      <a:pt x="794" y="69"/>
                    </a:cubicBezTo>
                    <a:cubicBezTo>
                      <a:pt x="791" y="66"/>
                      <a:pt x="791" y="66"/>
                      <a:pt x="791" y="66"/>
                    </a:cubicBezTo>
                    <a:cubicBezTo>
                      <a:pt x="789" y="63"/>
                      <a:pt x="789" y="63"/>
                      <a:pt x="789" y="63"/>
                    </a:cubicBezTo>
                    <a:cubicBezTo>
                      <a:pt x="789" y="66"/>
                      <a:pt x="789" y="66"/>
                      <a:pt x="789" y="66"/>
                    </a:cubicBezTo>
                    <a:cubicBezTo>
                      <a:pt x="791" y="68"/>
                      <a:pt x="791" y="68"/>
                      <a:pt x="791" y="68"/>
                    </a:cubicBezTo>
                    <a:cubicBezTo>
                      <a:pt x="792" y="69"/>
                      <a:pt x="792" y="69"/>
                      <a:pt x="792" y="69"/>
                    </a:cubicBezTo>
                    <a:cubicBezTo>
                      <a:pt x="790" y="69"/>
                      <a:pt x="790" y="69"/>
                      <a:pt x="790" y="69"/>
                    </a:cubicBezTo>
                    <a:cubicBezTo>
                      <a:pt x="787" y="68"/>
                      <a:pt x="787" y="68"/>
                      <a:pt x="787" y="68"/>
                    </a:cubicBezTo>
                    <a:cubicBezTo>
                      <a:pt x="788" y="70"/>
                      <a:pt x="788" y="70"/>
                      <a:pt x="788" y="70"/>
                    </a:cubicBezTo>
                    <a:cubicBezTo>
                      <a:pt x="795" y="71"/>
                      <a:pt x="795" y="71"/>
                      <a:pt x="795" y="71"/>
                    </a:cubicBezTo>
                    <a:cubicBezTo>
                      <a:pt x="798" y="71"/>
                      <a:pt x="798" y="71"/>
                      <a:pt x="798" y="71"/>
                    </a:cubicBezTo>
                    <a:cubicBezTo>
                      <a:pt x="799" y="73"/>
                      <a:pt x="799" y="73"/>
                      <a:pt x="799" y="73"/>
                    </a:cubicBezTo>
                    <a:cubicBezTo>
                      <a:pt x="798" y="74"/>
                      <a:pt x="798" y="74"/>
                      <a:pt x="798" y="74"/>
                    </a:cubicBezTo>
                    <a:cubicBezTo>
                      <a:pt x="790" y="77"/>
                      <a:pt x="790" y="77"/>
                      <a:pt x="790" y="77"/>
                    </a:cubicBezTo>
                    <a:cubicBezTo>
                      <a:pt x="784" y="78"/>
                      <a:pt x="784" y="78"/>
                      <a:pt x="784" y="78"/>
                    </a:cubicBezTo>
                    <a:cubicBezTo>
                      <a:pt x="782" y="78"/>
                      <a:pt x="782" y="78"/>
                      <a:pt x="782" y="78"/>
                    </a:cubicBezTo>
                    <a:cubicBezTo>
                      <a:pt x="779" y="79"/>
                      <a:pt x="779" y="79"/>
                      <a:pt x="779" y="79"/>
                    </a:cubicBezTo>
                    <a:cubicBezTo>
                      <a:pt x="777" y="78"/>
                      <a:pt x="777" y="78"/>
                      <a:pt x="777" y="78"/>
                    </a:cubicBezTo>
                    <a:cubicBezTo>
                      <a:pt x="776" y="77"/>
                      <a:pt x="776" y="77"/>
                      <a:pt x="776" y="77"/>
                    </a:cubicBezTo>
                    <a:cubicBezTo>
                      <a:pt x="774" y="78"/>
                      <a:pt x="774" y="78"/>
                      <a:pt x="774" y="78"/>
                    </a:cubicBezTo>
                    <a:cubicBezTo>
                      <a:pt x="773" y="78"/>
                      <a:pt x="773" y="78"/>
                      <a:pt x="773" y="78"/>
                    </a:cubicBezTo>
                    <a:cubicBezTo>
                      <a:pt x="771" y="78"/>
                      <a:pt x="771" y="78"/>
                      <a:pt x="771" y="78"/>
                    </a:cubicBezTo>
                    <a:cubicBezTo>
                      <a:pt x="770" y="80"/>
                      <a:pt x="770" y="80"/>
                      <a:pt x="770" y="80"/>
                    </a:cubicBezTo>
                    <a:cubicBezTo>
                      <a:pt x="772" y="80"/>
                      <a:pt x="772" y="80"/>
                      <a:pt x="772" y="80"/>
                    </a:cubicBezTo>
                    <a:cubicBezTo>
                      <a:pt x="772" y="81"/>
                      <a:pt x="772" y="81"/>
                      <a:pt x="772" y="81"/>
                    </a:cubicBezTo>
                    <a:cubicBezTo>
                      <a:pt x="775" y="80"/>
                      <a:pt x="775" y="80"/>
                      <a:pt x="775" y="80"/>
                    </a:cubicBezTo>
                    <a:cubicBezTo>
                      <a:pt x="780" y="80"/>
                      <a:pt x="780" y="80"/>
                      <a:pt x="780" y="80"/>
                    </a:cubicBezTo>
                    <a:cubicBezTo>
                      <a:pt x="783" y="80"/>
                      <a:pt x="783" y="80"/>
                      <a:pt x="783" y="80"/>
                    </a:cubicBezTo>
                    <a:cubicBezTo>
                      <a:pt x="790" y="80"/>
                      <a:pt x="790" y="80"/>
                      <a:pt x="790" y="80"/>
                    </a:cubicBezTo>
                    <a:cubicBezTo>
                      <a:pt x="795" y="79"/>
                      <a:pt x="795" y="79"/>
                      <a:pt x="795" y="79"/>
                    </a:cubicBezTo>
                    <a:cubicBezTo>
                      <a:pt x="798" y="76"/>
                      <a:pt x="798" y="76"/>
                      <a:pt x="798" y="76"/>
                    </a:cubicBezTo>
                    <a:cubicBezTo>
                      <a:pt x="800" y="76"/>
                      <a:pt x="800" y="76"/>
                      <a:pt x="800" y="76"/>
                    </a:cubicBezTo>
                    <a:cubicBezTo>
                      <a:pt x="802" y="76"/>
                      <a:pt x="802" y="76"/>
                      <a:pt x="802" y="76"/>
                    </a:cubicBezTo>
                    <a:cubicBezTo>
                      <a:pt x="804" y="76"/>
                      <a:pt x="804" y="76"/>
                      <a:pt x="804" y="76"/>
                    </a:cubicBezTo>
                    <a:cubicBezTo>
                      <a:pt x="807" y="76"/>
                      <a:pt x="807" y="76"/>
                      <a:pt x="807" y="76"/>
                    </a:cubicBezTo>
                    <a:cubicBezTo>
                      <a:pt x="806" y="79"/>
                      <a:pt x="806" y="79"/>
                      <a:pt x="806" y="79"/>
                    </a:cubicBezTo>
                    <a:cubicBezTo>
                      <a:pt x="804" y="81"/>
                      <a:pt x="804" y="81"/>
                      <a:pt x="804" y="81"/>
                    </a:cubicBezTo>
                    <a:cubicBezTo>
                      <a:pt x="801" y="83"/>
                      <a:pt x="801" y="83"/>
                      <a:pt x="801" y="83"/>
                    </a:cubicBezTo>
                    <a:cubicBezTo>
                      <a:pt x="800" y="84"/>
                      <a:pt x="800" y="84"/>
                      <a:pt x="800" y="84"/>
                    </a:cubicBezTo>
                    <a:cubicBezTo>
                      <a:pt x="796" y="85"/>
                      <a:pt x="796" y="85"/>
                      <a:pt x="796" y="85"/>
                    </a:cubicBezTo>
                    <a:cubicBezTo>
                      <a:pt x="795" y="87"/>
                      <a:pt x="795" y="87"/>
                      <a:pt x="795" y="87"/>
                    </a:cubicBezTo>
                    <a:cubicBezTo>
                      <a:pt x="793" y="87"/>
                      <a:pt x="793" y="87"/>
                      <a:pt x="793" y="87"/>
                    </a:cubicBezTo>
                    <a:cubicBezTo>
                      <a:pt x="791" y="89"/>
                      <a:pt x="791" y="89"/>
                      <a:pt x="791" y="89"/>
                    </a:cubicBezTo>
                    <a:cubicBezTo>
                      <a:pt x="788" y="91"/>
                      <a:pt x="788" y="91"/>
                      <a:pt x="788" y="91"/>
                    </a:cubicBezTo>
                    <a:cubicBezTo>
                      <a:pt x="786" y="91"/>
                      <a:pt x="786" y="91"/>
                      <a:pt x="786" y="91"/>
                    </a:cubicBezTo>
                    <a:cubicBezTo>
                      <a:pt x="785" y="91"/>
                      <a:pt x="785" y="91"/>
                      <a:pt x="785" y="91"/>
                    </a:cubicBezTo>
                    <a:cubicBezTo>
                      <a:pt x="783" y="91"/>
                      <a:pt x="783" y="91"/>
                      <a:pt x="783" y="91"/>
                    </a:cubicBezTo>
                    <a:cubicBezTo>
                      <a:pt x="781" y="93"/>
                      <a:pt x="781" y="93"/>
                      <a:pt x="781" y="93"/>
                    </a:cubicBezTo>
                    <a:cubicBezTo>
                      <a:pt x="777" y="94"/>
                      <a:pt x="777" y="94"/>
                      <a:pt x="777" y="94"/>
                    </a:cubicBezTo>
                    <a:cubicBezTo>
                      <a:pt x="776" y="96"/>
                      <a:pt x="776" y="96"/>
                      <a:pt x="776" y="96"/>
                    </a:cubicBezTo>
                    <a:cubicBezTo>
                      <a:pt x="772" y="96"/>
                      <a:pt x="772" y="96"/>
                      <a:pt x="772" y="96"/>
                    </a:cubicBezTo>
                    <a:cubicBezTo>
                      <a:pt x="771" y="97"/>
                      <a:pt x="771" y="97"/>
                      <a:pt x="771" y="97"/>
                    </a:cubicBezTo>
                    <a:cubicBezTo>
                      <a:pt x="769" y="97"/>
                      <a:pt x="769" y="97"/>
                      <a:pt x="769" y="97"/>
                    </a:cubicBezTo>
                    <a:cubicBezTo>
                      <a:pt x="768" y="98"/>
                      <a:pt x="768" y="98"/>
                      <a:pt x="768" y="98"/>
                    </a:cubicBezTo>
                    <a:cubicBezTo>
                      <a:pt x="766" y="98"/>
                      <a:pt x="766" y="98"/>
                      <a:pt x="766" y="98"/>
                    </a:cubicBezTo>
                    <a:cubicBezTo>
                      <a:pt x="765" y="99"/>
                      <a:pt x="765" y="99"/>
                      <a:pt x="765" y="99"/>
                    </a:cubicBezTo>
                    <a:cubicBezTo>
                      <a:pt x="765" y="101"/>
                      <a:pt x="765" y="101"/>
                      <a:pt x="765" y="101"/>
                    </a:cubicBezTo>
                    <a:cubicBezTo>
                      <a:pt x="763" y="103"/>
                      <a:pt x="763" y="103"/>
                      <a:pt x="763" y="103"/>
                    </a:cubicBezTo>
                    <a:cubicBezTo>
                      <a:pt x="762" y="104"/>
                      <a:pt x="762" y="104"/>
                      <a:pt x="762" y="104"/>
                    </a:cubicBezTo>
                    <a:cubicBezTo>
                      <a:pt x="758" y="104"/>
                      <a:pt x="758" y="104"/>
                      <a:pt x="758" y="104"/>
                    </a:cubicBezTo>
                    <a:cubicBezTo>
                      <a:pt x="757" y="105"/>
                      <a:pt x="757" y="105"/>
                      <a:pt x="757" y="105"/>
                    </a:cubicBezTo>
                    <a:cubicBezTo>
                      <a:pt x="755" y="105"/>
                      <a:pt x="755" y="105"/>
                      <a:pt x="755" y="105"/>
                    </a:cubicBezTo>
                    <a:cubicBezTo>
                      <a:pt x="755" y="104"/>
                      <a:pt x="755" y="104"/>
                      <a:pt x="755" y="104"/>
                    </a:cubicBezTo>
                    <a:cubicBezTo>
                      <a:pt x="756" y="103"/>
                      <a:pt x="756" y="103"/>
                      <a:pt x="756" y="103"/>
                    </a:cubicBezTo>
                    <a:cubicBezTo>
                      <a:pt x="756" y="101"/>
                      <a:pt x="756" y="101"/>
                      <a:pt x="756" y="101"/>
                    </a:cubicBezTo>
                    <a:cubicBezTo>
                      <a:pt x="754" y="100"/>
                      <a:pt x="754" y="100"/>
                      <a:pt x="754" y="100"/>
                    </a:cubicBezTo>
                    <a:cubicBezTo>
                      <a:pt x="755" y="102"/>
                      <a:pt x="755" y="102"/>
                      <a:pt x="755" y="102"/>
                    </a:cubicBezTo>
                    <a:cubicBezTo>
                      <a:pt x="754" y="104"/>
                      <a:pt x="754" y="104"/>
                      <a:pt x="754" y="104"/>
                    </a:cubicBezTo>
                    <a:cubicBezTo>
                      <a:pt x="753" y="105"/>
                      <a:pt x="753" y="105"/>
                      <a:pt x="753" y="105"/>
                    </a:cubicBezTo>
                    <a:cubicBezTo>
                      <a:pt x="755" y="106"/>
                      <a:pt x="755" y="106"/>
                      <a:pt x="755" y="106"/>
                    </a:cubicBezTo>
                    <a:cubicBezTo>
                      <a:pt x="756" y="108"/>
                      <a:pt x="756" y="108"/>
                      <a:pt x="756" y="108"/>
                    </a:cubicBezTo>
                    <a:cubicBezTo>
                      <a:pt x="754" y="110"/>
                      <a:pt x="754" y="110"/>
                      <a:pt x="754" y="110"/>
                    </a:cubicBezTo>
                    <a:cubicBezTo>
                      <a:pt x="753" y="110"/>
                      <a:pt x="753" y="110"/>
                      <a:pt x="753" y="110"/>
                    </a:cubicBezTo>
                    <a:cubicBezTo>
                      <a:pt x="751" y="109"/>
                      <a:pt x="751" y="109"/>
                      <a:pt x="751" y="109"/>
                    </a:cubicBezTo>
                    <a:cubicBezTo>
                      <a:pt x="750" y="109"/>
                      <a:pt x="750" y="109"/>
                      <a:pt x="750" y="109"/>
                    </a:cubicBezTo>
                    <a:cubicBezTo>
                      <a:pt x="746" y="108"/>
                      <a:pt x="746" y="108"/>
                      <a:pt x="746" y="108"/>
                    </a:cubicBezTo>
                    <a:cubicBezTo>
                      <a:pt x="745" y="109"/>
                      <a:pt x="745" y="109"/>
                      <a:pt x="745" y="109"/>
                    </a:cubicBezTo>
                    <a:cubicBezTo>
                      <a:pt x="744" y="109"/>
                      <a:pt x="744" y="109"/>
                      <a:pt x="744" y="109"/>
                    </a:cubicBezTo>
                    <a:cubicBezTo>
                      <a:pt x="744" y="108"/>
                      <a:pt x="744" y="108"/>
                      <a:pt x="744" y="108"/>
                    </a:cubicBezTo>
                    <a:cubicBezTo>
                      <a:pt x="743" y="107"/>
                      <a:pt x="743" y="107"/>
                      <a:pt x="743" y="107"/>
                    </a:cubicBezTo>
                    <a:cubicBezTo>
                      <a:pt x="742" y="109"/>
                      <a:pt x="742" y="109"/>
                      <a:pt x="742" y="109"/>
                    </a:cubicBezTo>
                    <a:cubicBezTo>
                      <a:pt x="741" y="109"/>
                      <a:pt x="741" y="109"/>
                      <a:pt x="741" y="109"/>
                    </a:cubicBezTo>
                    <a:cubicBezTo>
                      <a:pt x="740" y="110"/>
                      <a:pt x="740" y="110"/>
                      <a:pt x="740" y="110"/>
                    </a:cubicBezTo>
                    <a:cubicBezTo>
                      <a:pt x="744" y="111"/>
                      <a:pt x="744" y="111"/>
                      <a:pt x="744" y="111"/>
                    </a:cubicBezTo>
                    <a:cubicBezTo>
                      <a:pt x="749" y="111"/>
                      <a:pt x="749" y="111"/>
                      <a:pt x="749" y="111"/>
                    </a:cubicBezTo>
                    <a:cubicBezTo>
                      <a:pt x="750" y="112"/>
                      <a:pt x="750" y="112"/>
                      <a:pt x="750" y="112"/>
                    </a:cubicBezTo>
                    <a:cubicBezTo>
                      <a:pt x="750" y="114"/>
                      <a:pt x="750" y="114"/>
                      <a:pt x="750" y="114"/>
                    </a:cubicBezTo>
                    <a:cubicBezTo>
                      <a:pt x="748" y="115"/>
                      <a:pt x="748" y="115"/>
                      <a:pt x="748" y="115"/>
                    </a:cubicBezTo>
                    <a:cubicBezTo>
                      <a:pt x="745" y="115"/>
                      <a:pt x="745" y="115"/>
                      <a:pt x="745" y="115"/>
                    </a:cubicBezTo>
                    <a:cubicBezTo>
                      <a:pt x="743" y="115"/>
                      <a:pt x="743" y="115"/>
                      <a:pt x="743" y="115"/>
                    </a:cubicBezTo>
                    <a:cubicBezTo>
                      <a:pt x="742" y="116"/>
                      <a:pt x="742" y="116"/>
                      <a:pt x="742" y="116"/>
                    </a:cubicBezTo>
                    <a:cubicBezTo>
                      <a:pt x="743" y="117"/>
                      <a:pt x="743" y="117"/>
                      <a:pt x="743" y="117"/>
                    </a:cubicBezTo>
                    <a:cubicBezTo>
                      <a:pt x="744" y="116"/>
                      <a:pt x="744" y="116"/>
                      <a:pt x="744" y="116"/>
                    </a:cubicBezTo>
                    <a:cubicBezTo>
                      <a:pt x="745" y="117"/>
                      <a:pt x="745" y="117"/>
                      <a:pt x="745" y="117"/>
                    </a:cubicBezTo>
                    <a:cubicBezTo>
                      <a:pt x="745" y="119"/>
                      <a:pt x="745" y="119"/>
                      <a:pt x="745" y="119"/>
                    </a:cubicBezTo>
                    <a:cubicBezTo>
                      <a:pt x="742" y="122"/>
                      <a:pt x="742" y="122"/>
                      <a:pt x="742" y="122"/>
                    </a:cubicBezTo>
                    <a:cubicBezTo>
                      <a:pt x="739" y="122"/>
                      <a:pt x="739" y="122"/>
                      <a:pt x="739" y="122"/>
                    </a:cubicBezTo>
                    <a:cubicBezTo>
                      <a:pt x="734" y="122"/>
                      <a:pt x="734" y="122"/>
                      <a:pt x="734" y="122"/>
                    </a:cubicBezTo>
                    <a:cubicBezTo>
                      <a:pt x="734" y="121"/>
                      <a:pt x="734" y="121"/>
                      <a:pt x="734" y="121"/>
                    </a:cubicBezTo>
                    <a:cubicBezTo>
                      <a:pt x="732" y="120"/>
                      <a:pt x="732" y="120"/>
                      <a:pt x="732" y="120"/>
                    </a:cubicBezTo>
                    <a:cubicBezTo>
                      <a:pt x="731" y="119"/>
                      <a:pt x="731" y="119"/>
                      <a:pt x="731" y="119"/>
                    </a:cubicBezTo>
                    <a:cubicBezTo>
                      <a:pt x="731" y="116"/>
                      <a:pt x="731" y="116"/>
                      <a:pt x="731" y="116"/>
                    </a:cubicBezTo>
                    <a:cubicBezTo>
                      <a:pt x="728" y="116"/>
                      <a:pt x="728" y="116"/>
                      <a:pt x="728" y="116"/>
                    </a:cubicBezTo>
                    <a:cubicBezTo>
                      <a:pt x="727" y="115"/>
                      <a:pt x="727" y="115"/>
                      <a:pt x="727" y="115"/>
                    </a:cubicBezTo>
                    <a:cubicBezTo>
                      <a:pt x="727" y="113"/>
                      <a:pt x="727" y="113"/>
                      <a:pt x="727" y="113"/>
                    </a:cubicBezTo>
                    <a:cubicBezTo>
                      <a:pt x="726" y="112"/>
                      <a:pt x="726" y="112"/>
                      <a:pt x="726" y="112"/>
                    </a:cubicBezTo>
                    <a:cubicBezTo>
                      <a:pt x="725" y="112"/>
                      <a:pt x="725" y="112"/>
                      <a:pt x="725" y="112"/>
                    </a:cubicBezTo>
                    <a:cubicBezTo>
                      <a:pt x="724" y="112"/>
                      <a:pt x="724" y="112"/>
                      <a:pt x="724" y="112"/>
                    </a:cubicBezTo>
                    <a:cubicBezTo>
                      <a:pt x="721" y="112"/>
                      <a:pt x="721" y="112"/>
                      <a:pt x="721" y="112"/>
                    </a:cubicBezTo>
                    <a:cubicBezTo>
                      <a:pt x="720" y="113"/>
                      <a:pt x="720" y="113"/>
                      <a:pt x="720" y="113"/>
                    </a:cubicBezTo>
                    <a:cubicBezTo>
                      <a:pt x="722" y="114"/>
                      <a:pt x="722" y="114"/>
                      <a:pt x="722" y="114"/>
                    </a:cubicBezTo>
                    <a:cubicBezTo>
                      <a:pt x="722" y="113"/>
                      <a:pt x="722" y="113"/>
                      <a:pt x="722" y="113"/>
                    </a:cubicBezTo>
                    <a:cubicBezTo>
                      <a:pt x="724" y="113"/>
                      <a:pt x="724" y="113"/>
                      <a:pt x="724" y="113"/>
                    </a:cubicBezTo>
                    <a:cubicBezTo>
                      <a:pt x="728" y="118"/>
                      <a:pt x="728" y="118"/>
                      <a:pt x="728" y="118"/>
                    </a:cubicBezTo>
                    <a:cubicBezTo>
                      <a:pt x="728" y="123"/>
                      <a:pt x="728" y="123"/>
                      <a:pt x="728" y="123"/>
                    </a:cubicBezTo>
                    <a:cubicBezTo>
                      <a:pt x="727" y="124"/>
                      <a:pt x="727" y="124"/>
                      <a:pt x="727" y="124"/>
                    </a:cubicBezTo>
                    <a:cubicBezTo>
                      <a:pt x="725" y="124"/>
                      <a:pt x="725" y="124"/>
                      <a:pt x="725" y="124"/>
                    </a:cubicBezTo>
                    <a:cubicBezTo>
                      <a:pt x="724" y="122"/>
                      <a:pt x="724" y="122"/>
                      <a:pt x="724" y="122"/>
                    </a:cubicBezTo>
                    <a:cubicBezTo>
                      <a:pt x="722" y="122"/>
                      <a:pt x="722" y="122"/>
                      <a:pt x="722" y="122"/>
                    </a:cubicBezTo>
                    <a:cubicBezTo>
                      <a:pt x="722" y="124"/>
                      <a:pt x="722" y="124"/>
                      <a:pt x="722" y="124"/>
                    </a:cubicBezTo>
                    <a:cubicBezTo>
                      <a:pt x="722" y="125"/>
                      <a:pt x="722" y="125"/>
                      <a:pt x="722" y="125"/>
                    </a:cubicBezTo>
                    <a:cubicBezTo>
                      <a:pt x="720" y="123"/>
                      <a:pt x="720" y="123"/>
                      <a:pt x="720" y="123"/>
                    </a:cubicBezTo>
                    <a:cubicBezTo>
                      <a:pt x="718" y="123"/>
                      <a:pt x="718" y="123"/>
                      <a:pt x="718" y="123"/>
                    </a:cubicBezTo>
                    <a:cubicBezTo>
                      <a:pt x="717" y="124"/>
                      <a:pt x="717" y="124"/>
                      <a:pt x="717" y="124"/>
                    </a:cubicBezTo>
                    <a:cubicBezTo>
                      <a:pt x="716" y="124"/>
                      <a:pt x="716" y="124"/>
                      <a:pt x="716" y="124"/>
                    </a:cubicBezTo>
                    <a:cubicBezTo>
                      <a:pt x="715" y="123"/>
                      <a:pt x="715" y="123"/>
                      <a:pt x="715" y="123"/>
                    </a:cubicBezTo>
                    <a:cubicBezTo>
                      <a:pt x="713" y="122"/>
                      <a:pt x="713" y="122"/>
                      <a:pt x="713" y="122"/>
                    </a:cubicBezTo>
                    <a:cubicBezTo>
                      <a:pt x="712" y="120"/>
                      <a:pt x="712" y="120"/>
                      <a:pt x="712" y="120"/>
                    </a:cubicBezTo>
                    <a:cubicBezTo>
                      <a:pt x="711" y="121"/>
                      <a:pt x="711" y="121"/>
                      <a:pt x="711" y="121"/>
                    </a:cubicBezTo>
                    <a:cubicBezTo>
                      <a:pt x="710" y="119"/>
                      <a:pt x="710" y="119"/>
                      <a:pt x="710" y="119"/>
                    </a:cubicBezTo>
                    <a:cubicBezTo>
                      <a:pt x="709" y="118"/>
                      <a:pt x="709" y="118"/>
                      <a:pt x="709" y="118"/>
                    </a:cubicBezTo>
                    <a:cubicBezTo>
                      <a:pt x="707" y="118"/>
                      <a:pt x="707" y="118"/>
                      <a:pt x="707" y="118"/>
                    </a:cubicBezTo>
                    <a:cubicBezTo>
                      <a:pt x="705" y="116"/>
                      <a:pt x="705" y="116"/>
                      <a:pt x="705" y="116"/>
                    </a:cubicBezTo>
                    <a:cubicBezTo>
                      <a:pt x="705" y="117"/>
                      <a:pt x="705" y="117"/>
                      <a:pt x="705" y="117"/>
                    </a:cubicBezTo>
                    <a:cubicBezTo>
                      <a:pt x="705" y="118"/>
                      <a:pt x="705" y="118"/>
                      <a:pt x="705" y="118"/>
                    </a:cubicBezTo>
                    <a:cubicBezTo>
                      <a:pt x="707" y="120"/>
                      <a:pt x="707" y="120"/>
                      <a:pt x="707" y="120"/>
                    </a:cubicBezTo>
                    <a:cubicBezTo>
                      <a:pt x="709" y="120"/>
                      <a:pt x="709" y="120"/>
                      <a:pt x="709" y="120"/>
                    </a:cubicBezTo>
                    <a:cubicBezTo>
                      <a:pt x="711" y="124"/>
                      <a:pt x="711" y="124"/>
                      <a:pt x="711" y="124"/>
                    </a:cubicBezTo>
                    <a:cubicBezTo>
                      <a:pt x="711" y="125"/>
                      <a:pt x="711" y="125"/>
                      <a:pt x="711" y="125"/>
                    </a:cubicBezTo>
                    <a:cubicBezTo>
                      <a:pt x="705" y="124"/>
                      <a:pt x="705" y="124"/>
                      <a:pt x="705" y="124"/>
                    </a:cubicBezTo>
                    <a:cubicBezTo>
                      <a:pt x="704" y="123"/>
                      <a:pt x="704" y="123"/>
                      <a:pt x="704" y="123"/>
                    </a:cubicBezTo>
                    <a:cubicBezTo>
                      <a:pt x="704" y="121"/>
                      <a:pt x="704" y="121"/>
                      <a:pt x="704" y="121"/>
                    </a:cubicBezTo>
                    <a:cubicBezTo>
                      <a:pt x="702" y="119"/>
                      <a:pt x="702" y="119"/>
                      <a:pt x="702" y="119"/>
                    </a:cubicBezTo>
                    <a:cubicBezTo>
                      <a:pt x="702" y="120"/>
                      <a:pt x="702" y="120"/>
                      <a:pt x="702" y="120"/>
                    </a:cubicBezTo>
                    <a:cubicBezTo>
                      <a:pt x="702" y="121"/>
                      <a:pt x="702" y="121"/>
                      <a:pt x="702" y="121"/>
                    </a:cubicBezTo>
                    <a:cubicBezTo>
                      <a:pt x="702" y="122"/>
                      <a:pt x="702" y="122"/>
                      <a:pt x="702" y="122"/>
                    </a:cubicBezTo>
                    <a:cubicBezTo>
                      <a:pt x="700" y="122"/>
                      <a:pt x="700" y="122"/>
                      <a:pt x="700" y="122"/>
                    </a:cubicBezTo>
                    <a:cubicBezTo>
                      <a:pt x="699" y="121"/>
                      <a:pt x="699" y="121"/>
                      <a:pt x="699" y="121"/>
                    </a:cubicBezTo>
                    <a:cubicBezTo>
                      <a:pt x="697" y="121"/>
                      <a:pt x="697" y="121"/>
                      <a:pt x="697" y="121"/>
                    </a:cubicBezTo>
                    <a:cubicBezTo>
                      <a:pt x="697" y="123"/>
                      <a:pt x="697" y="123"/>
                      <a:pt x="697" y="123"/>
                    </a:cubicBezTo>
                    <a:cubicBezTo>
                      <a:pt x="700" y="124"/>
                      <a:pt x="700" y="124"/>
                      <a:pt x="700" y="124"/>
                    </a:cubicBezTo>
                    <a:cubicBezTo>
                      <a:pt x="700" y="125"/>
                      <a:pt x="700" y="125"/>
                      <a:pt x="700" y="125"/>
                    </a:cubicBezTo>
                    <a:cubicBezTo>
                      <a:pt x="701" y="125"/>
                      <a:pt x="701" y="125"/>
                      <a:pt x="701" y="125"/>
                    </a:cubicBezTo>
                    <a:cubicBezTo>
                      <a:pt x="702" y="125"/>
                      <a:pt x="702" y="125"/>
                      <a:pt x="702" y="125"/>
                    </a:cubicBezTo>
                    <a:cubicBezTo>
                      <a:pt x="703" y="125"/>
                      <a:pt x="703" y="125"/>
                      <a:pt x="703" y="125"/>
                    </a:cubicBezTo>
                    <a:cubicBezTo>
                      <a:pt x="705" y="126"/>
                      <a:pt x="705" y="126"/>
                      <a:pt x="705" y="126"/>
                    </a:cubicBezTo>
                    <a:cubicBezTo>
                      <a:pt x="707" y="127"/>
                      <a:pt x="707" y="127"/>
                      <a:pt x="707" y="127"/>
                    </a:cubicBezTo>
                    <a:cubicBezTo>
                      <a:pt x="708" y="128"/>
                      <a:pt x="708" y="128"/>
                      <a:pt x="708" y="128"/>
                    </a:cubicBezTo>
                    <a:cubicBezTo>
                      <a:pt x="710" y="128"/>
                      <a:pt x="710" y="128"/>
                      <a:pt x="710" y="128"/>
                    </a:cubicBezTo>
                    <a:cubicBezTo>
                      <a:pt x="711" y="128"/>
                      <a:pt x="711" y="128"/>
                      <a:pt x="711" y="128"/>
                    </a:cubicBezTo>
                    <a:cubicBezTo>
                      <a:pt x="716" y="129"/>
                      <a:pt x="716" y="129"/>
                      <a:pt x="716" y="129"/>
                    </a:cubicBezTo>
                    <a:cubicBezTo>
                      <a:pt x="718" y="130"/>
                      <a:pt x="718" y="130"/>
                      <a:pt x="718" y="130"/>
                    </a:cubicBezTo>
                    <a:cubicBezTo>
                      <a:pt x="716" y="132"/>
                      <a:pt x="716" y="132"/>
                      <a:pt x="716" y="132"/>
                    </a:cubicBezTo>
                    <a:cubicBezTo>
                      <a:pt x="716" y="133"/>
                      <a:pt x="716" y="133"/>
                      <a:pt x="716" y="133"/>
                    </a:cubicBezTo>
                    <a:cubicBezTo>
                      <a:pt x="716" y="135"/>
                      <a:pt x="716" y="135"/>
                      <a:pt x="716" y="135"/>
                    </a:cubicBezTo>
                    <a:cubicBezTo>
                      <a:pt x="717" y="136"/>
                      <a:pt x="717" y="136"/>
                      <a:pt x="717" y="136"/>
                    </a:cubicBezTo>
                    <a:cubicBezTo>
                      <a:pt x="715" y="138"/>
                      <a:pt x="715" y="138"/>
                      <a:pt x="715" y="138"/>
                    </a:cubicBezTo>
                    <a:cubicBezTo>
                      <a:pt x="714" y="137"/>
                      <a:pt x="714" y="137"/>
                      <a:pt x="714" y="137"/>
                    </a:cubicBezTo>
                    <a:cubicBezTo>
                      <a:pt x="713" y="136"/>
                      <a:pt x="713" y="136"/>
                      <a:pt x="713" y="136"/>
                    </a:cubicBezTo>
                    <a:cubicBezTo>
                      <a:pt x="711" y="135"/>
                      <a:pt x="711" y="135"/>
                      <a:pt x="711" y="135"/>
                    </a:cubicBezTo>
                    <a:cubicBezTo>
                      <a:pt x="708" y="133"/>
                      <a:pt x="708" y="133"/>
                      <a:pt x="708" y="133"/>
                    </a:cubicBezTo>
                    <a:cubicBezTo>
                      <a:pt x="707" y="132"/>
                      <a:pt x="707" y="132"/>
                      <a:pt x="707" y="132"/>
                    </a:cubicBezTo>
                    <a:cubicBezTo>
                      <a:pt x="708" y="130"/>
                      <a:pt x="708" y="130"/>
                      <a:pt x="708" y="130"/>
                    </a:cubicBezTo>
                    <a:cubicBezTo>
                      <a:pt x="707" y="128"/>
                      <a:pt x="707" y="128"/>
                      <a:pt x="707" y="128"/>
                    </a:cubicBezTo>
                    <a:cubicBezTo>
                      <a:pt x="704" y="128"/>
                      <a:pt x="704" y="128"/>
                      <a:pt x="704" y="128"/>
                    </a:cubicBezTo>
                    <a:cubicBezTo>
                      <a:pt x="700" y="127"/>
                      <a:pt x="700" y="127"/>
                      <a:pt x="700" y="127"/>
                    </a:cubicBezTo>
                    <a:cubicBezTo>
                      <a:pt x="698" y="126"/>
                      <a:pt x="698" y="126"/>
                      <a:pt x="698" y="126"/>
                    </a:cubicBezTo>
                    <a:cubicBezTo>
                      <a:pt x="696" y="126"/>
                      <a:pt x="696" y="126"/>
                      <a:pt x="696" y="126"/>
                    </a:cubicBezTo>
                    <a:cubicBezTo>
                      <a:pt x="696" y="127"/>
                      <a:pt x="696" y="127"/>
                      <a:pt x="696" y="127"/>
                    </a:cubicBezTo>
                    <a:cubicBezTo>
                      <a:pt x="698" y="128"/>
                      <a:pt x="698" y="128"/>
                      <a:pt x="698" y="128"/>
                    </a:cubicBezTo>
                    <a:cubicBezTo>
                      <a:pt x="702" y="128"/>
                      <a:pt x="702" y="128"/>
                      <a:pt x="702" y="128"/>
                    </a:cubicBezTo>
                    <a:cubicBezTo>
                      <a:pt x="706" y="130"/>
                      <a:pt x="706" y="130"/>
                      <a:pt x="706" y="130"/>
                    </a:cubicBezTo>
                    <a:cubicBezTo>
                      <a:pt x="706" y="132"/>
                      <a:pt x="706" y="132"/>
                      <a:pt x="706" y="132"/>
                    </a:cubicBezTo>
                    <a:cubicBezTo>
                      <a:pt x="705" y="132"/>
                      <a:pt x="705" y="132"/>
                      <a:pt x="705" y="132"/>
                    </a:cubicBezTo>
                    <a:cubicBezTo>
                      <a:pt x="703" y="131"/>
                      <a:pt x="703" y="131"/>
                      <a:pt x="703" y="131"/>
                    </a:cubicBezTo>
                    <a:cubicBezTo>
                      <a:pt x="700" y="131"/>
                      <a:pt x="700" y="131"/>
                      <a:pt x="700" y="131"/>
                    </a:cubicBezTo>
                    <a:cubicBezTo>
                      <a:pt x="697" y="132"/>
                      <a:pt x="697" y="132"/>
                      <a:pt x="697" y="132"/>
                    </a:cubicBezTo>
                    <a:cubicBezTo>
                      <a:pt x="697" y="131"/>
                      <a:pt x="697" y="131"/>
                      <a:pt x="697" y="131"/>
                    </a:cubicBezTo>
                    <a:cubicBezTo>
                      <a:pt x="696" y="129"/>
                      <a:pt x="696" y="129"/>
                      <a:pt x="696" y="129"/>
                    </a:cubicBezTo>
                    <a:cubicBezTo>
                      <a:pt x="693" y="129"/>
                      <a:pt x="693" y="129"/>
                      <a:pt x="693" y="129"/>
                    </a:cubicBezTo>
                    <a:cubicBezTo>
                      <a:pt x="691" y="128"/>
                      <a:pt x="691" y="128"/>
                      <a:pt x="691" y="128"/>
                    </a:cubicBezTo>
                    <a:cubicBezTo>
                      <a:pt x="691" y="129"/>
                      <a:pt x="691" y="129"/>
                      <a:pt x="691" y="129"/>
                    </a:cubicBezTo>
                    <a:cubicBezTo>
                      <a:pt x="695" y="131"/>
                      <a:pt x="695" y="131"/>
                      <a:pt x="695" y="131"/>
                    </a:cubicBezTo>
                    <a:cubicBezTo>
                      <a:pt x="694" y="132"/>
                      <a:pt x="694" y="132"/>
                      <a:pt x="694" y="132"/>
                    </a:cubicBezTo>
                    <a:cubicBezTo>
                      <a:pt x="694" y="133"/>
                      <a:pt x="694" y="133"/>
                      <a:pt x="694" y="133"/>
                    </a:cubicBezTo>
                    <a:cubicBezTo>
                      <a:pt x="696" y="133"/>
                      <a:pt x="696" y="133"/>
                      <a:pt x="696" y="133"/>
                    </a:cubicBezTo>
                    <a:cubicBezTo>
                      <a:pt x="696" y="133"/>
                      <a:pt x="696" y="133"/>
                      <a:pt x="696" y="133"/>
                    </a:cubicBezTo>
                    <a:cubicBezTo>
                      <a:pt x="697" y="133"/>
                      <a:pt x="697" y="133"/>
                      <a:pt x="697" y="133"/>
                    </a:cubicBezTo>
                    <a:cubicBezTo>
                      <a:pt x="699" y="133"/>
                      <a:pt x="699" y="133"/>
                      <a:pt x="699" y="133"/>
                    </a:cubicBezTo>
                    <a:cubicBezTo>
                      <a:pt x="699" y="132"/>
                      <a:pt x="699" y="132"/>
                      <a:pt x="699" y="132"/>
                    </a:cubicBezTo>
                    <a:cubicBezTo>
                      <a:pt x="700" y="133"/>
                      <a:pt x="700" y="133"/>
                      <a:pt x="700" y="133"/>
                    </a:cubicBezTo>
                    <a:cubicBezTo>
                      <a:pt x="702" y="132"/>
                      <a:pt x="702" y="132"/>
                      <a:pt x="702" y="132"/>
                    </a:cubicBezTo>
                    <a:cubicBezTo>
                      <a:pt x="703" y="133"/>
                      <a:pt x="703" y="133"/>
                      <a:pt x="703" y="133"/>
                    </a:cubicBezTo>
                    <a:cubicBezTo>
                      <a:pt x="706" y="136"/>
                      <a:pt x="706" y="136"/>
                      <a:pt x="706" y="136"/>
                    </a:cubicBezTo>
                    <a:cubicBezTo>
                      <a:pt x="706" y="137"/>
                      <a:pt x="706" y="137"/>
                      <a:pt x="706" y="137"/>
                    </a:cubicBezTo>
                    <a:cubicBezTo>
                      <a:pt x="704" y="137"/>
                      <a:pt x="704" y="137"/>
                      <a:pt x="704" y="137"/>
                    </a:cubicBezTo>
                    <a:cubicBezTo>
                      <a:pt x="702" y="138"/>
                      <a:pt x="702" y="138"/>
                      <a:pt x="702" y="138"/>
                    </a:cubicBezTo>
                    <a:cubicBezTo>
                      <a:pt x="701" y="139"/>
                      <a:pt x="701" y="139"/>
                      <a:pt x="701" y="139"/>
                    </a:cubicBezTo>
                    <a:cubicBezTo>
                      <a:pt x="703" y="138"/>
                      <a:pt x="703" y="138"/>
                      <a:pt x="703" y="138"/>
                    </a:cubicBezTo>
                    <a:cubicBezTo>
                      <a:pt x="705" y="138"/>
                      <a:pt x="705" y="138"/>
                      <a:pt x="705" y="138"/>
                    </a:cubicBezTo>
                    <a:cubicBezTo>
                      <a:pt x="706" y="138"/>
                      <a:pt x="706" y="138"/>
                      <a:pt x="706" y="138"/>
                    </a:cubicBezTo>
                    <a:cubicBezTo>
                      <a:pt x="708" y="140"/>
                      <a:pt x="708" y="140"/>
                      <a:pt x="708" y="140"/>
                    </a:cubicBezTo>
                    <a:cubicBezTo>
                      <a:pt x="710" y="141"/>
                      <a:pt x="710" y="141"/>
                      <a:pt x="710" y="141"/>
                    </a:cubicBezTo>
                    <a:cubicBezTo>
                      <a:pt x="710" y="142"/>
                      <a:pt x="710" y="142"/>
                      <a:pt x="710" y="142"/>
                    </a:cubicBezTo>
                    <a:cubicBezTo>
                      <a:pt x="708" y="146"/>
                      <a:pt x="708" y="146"/>
                      <a:pt x="708" y="146"/>
                    </a:cubicBezTo>
                    <a:cubicBezTo>
                      <a:pt x="707" y="149"/>
                      <a:pt x="707" y="149"/>
                      <a:pt x="707" y="149"/>
                    </a:cubicBezTo>
                    <a:cubicBezTo>
                      <a:pt x="706" y="149"/>
                      <a:pt x="706" y="149"/>
                      <a:pt x="706" y="149"/>
                    </a:cubicBezTo>
                    <a:cubicBezTo>
                      <a:pt x="703" y="151"/>
                      <a:pt x="703" y="151"/>
                      <a:pt x="703" y="151"/>
                    </a:cubicBezTo>
                    <a:cubicBezTo>
                      <a:pt x="702" y="151"/>
                      <a:pt x="702" y="151"/>
                      <a:pt x="702" y="151"/>
                    </a:cubicBezTo>
                    <a:cubicBezTo>
                      <a:pt x="701" y="151"/>
                      <a:pt x="701" y="151"/>
                      <a:pt x="701" y="151"/>
                    </a:cubicBezTo>
                    <a:cubicBezTo>
                      <a:pt x="699" y="150"/>
                      <a:pt x="699" y="150"/>
                      <a:pt x="699" y="150"/>
                    </a:cubicBezTo>
                    <a:cubicBezTo>
                      <a:pt x="699" y="149"/>
                      <a:pt x="699" y="149"/>
                      <a:pt x="699" y="149"/>
                    </a:cubicBezTo>
                    <a:cubicBezTo>
                      <a:pt x="697" y="148"/>
                      <a:pt x="697" y="148"/>
                      <a:pt x="697" y="148"/>
                    </a:cubicBezTo>
                    <a:cubicBezTo>
                      <a:pt x="695" y="148"/>
                      <a:pt x="695" y="148"/>
                      <a:pt x="695" y="148"/>
                    </a:cubicBezTo>
                    <a:cubicBezTo>
                      <a:pt x="695" y="149"/>
                      <a:pt x="695" y="149"/>
                      <a:pt x="695" y="149"/>
                    </a:cubicBezTo>
                    <a:cubicBezTo>
                      <a:pt x="697" y="150"/>
                      <a:pt x="697" y="150"/>
                      <a:pt x="697" y="150"/>
                    </a:cubicBezTo>
                    <a:cubicBezTo>
                      <a:pt x="698" y="151"/>
                      <a:pt x="698" y="151"/>
                      <a:pt x="698" y="151"/>
                    </a:cubicBezTo>
                    <a:cubicBezTo>
                      <a:pt x="699" y="151"/>
                      <a:pt x="699" y="151"/>
                      <a:pt x="699" y="151"/>
                    </a:cubicBezTo>
                    <a:cubicBezTo>
                      <a:pt x="702" y="153"/>
                      <a:pt x="702" y="153"/>
                      <a:pt x="702" y="153"/>
                    </a:cubicBezTo>
                    <a:cubicBezTo>
                      <a:pt x="702" y="155"/>
                      <a:pt x="702" y="155"/>
                      <a:pt x="702" y="155"/>
                    </a:cubicBezTo>
                    <a:cubicBezTo>
                      <a:pt x="701" y="156"/>
                      <a:pt x="701" y="156"/>
                      <a:pt x="701" y="156"/>
                    </a:cubicBezTo>
                    <a:cubicBezTo>
                      <a:pt x="700" y="157"/>
                      <a:pt x="700" y="157"/>
                      <a:pt x="700" y="157"/>
                    </a:cubicBezTo>
                    <a:cubicBezTo>
                      <a:pt x="697" y="159"/>
                      <a:pt x="697" y="159"/>
                      <a:pt x="697" y="159"/>
                    </a:cubicBezTo>
                    <a:cubicBezTo>
                      <a:pt x="696" y="159"/>
                      <a:pt x="696" y="159"/>
                      <a:pt x="696" y="159"/>
                    </a:cubicBezTo>
                    <a:cubicBezTo>
                      <a:pt x="693" y="156"/>
                      <a:pt x="693" y="156"/>
                      <a:pt x="693" y="156"/>
                    </a:cubicBezTo>
                    <a:cubicBezTo>
                      <a:pt x="692" y="157"/>
                      <a:pt x="692" y="157"/>
                      <a:pt x="692" y="157"/>
                    </a:cubicBezTo>
                    <a:cubicBezTo>
                      <a:pt x="691" y="156"/>
                      <a:pt x="691" y="156"/>
                      <a:pt x="691" y="156"/>
                    </a:cubicBezTo>
                    <a:cubicBezTo>
                      <a:pt x="689" y="156"/>
                      <a:pt x="689" y="156"/>
                      <a:pt x="689" y="156"/>
                    </a:cubicBezTo>
                    <a:cubicBezTo>
                      <a:pt x="687" y="156"/>
                      <a:pt x="687" y="156"/>
                      <a:pt x="687" y="156"/>
                    </a:cubicBezTo>
                    <a:cubicBezTo>
                      <a:pt x="688" y="158"/>
                      <a:pt x="688" y="158"/>
                      <a:pt x="688" y="158"/>
                    </a:cubicBezTo>
                    <a:cubicBezTo>
                      <a:pt x="694" y="161"/>
                      <a:pt x="694" y="161"/>
                      <a:pt x="694" y="161"/>
                    </a:cubicBezTo>
                    <a:cubicBezTo>
                      <a:pt x="696" y="161"/>
                      <a:pt x="696" y="161"/>
                      <a:pt x="696" y="161"/>
                    </a:cubicBezTo>
                    <a:cubicBezTo>
                      <a:pt x="696" y="162"/>
                      <a:pt x="696" y="162"/>
                      <a:pt x="696" y="162"/>
                    </a:cubicBezTo>
                    <a:cubicBezTo>
                      <a:pt x="694" y="163"/>
                      <a:pt x="694" y="163"/>
                      <a:pt x="694" y="163"/>
                    </a:cubicBezTo>
                    <a:cubicBezTo>
                      <a:pt x="693" y="165"/>
                      <a:pt x="693" y="165"/>
                      <a:pt x="693" y="165"/>
                    </a:cubicBezTo>
                    <a:cubicBezTo>
                      <a:pt x="691" y="165"/>
                      <a:pt x="691" y="165"/>
                      <a:pt x="691" y="165"/>
                    </a:cubicBezTo>
                    <a:cubicBezTo>
                      <a:pt x="689" y="164"/>
                      <a:pt x="689" y="164"/>
                      <a:pt x="689" y="164"/>
                    </a:cubicBezTo>
                    <a:cubicBezTo>
                      <a:pt x="688" y="164"/>
                      <a:pt x="688" y="164"/>
                      <a:pt x="688" y="164"/>
                    </a:cubicBezTo>
                    <a:cubicBezTo>
                      <a:pt x="686" y="165"/>
                      <a:pt x="686" y="165"/>
                      <a:pt x="686" y="165"/>
                    </a:cubicBezTo>
                    <a:cubicBezTo>
                      <a:pt x="683" y="165"/>
                      <a:pt x="683" y="165"/>
                      <a:pt x="683" y="165"/>
                    </a:cubicBezTo>
                    <a:cubicBezTo>
                      <a:pt x="682" y="163"/>
                      <a:pt x="682" y="163"/>
                      <a:pt x="682" y="163"/>
                    </a:cubicBezTo>
                    <a:cubicBezTo>
                      <a:pt x="678" y="162"/>
                      <a:pt x="678" y="162"/>
                      <a:pt x="678" y="162"/>
                    </a:cubicBezTo>
                    <a:cubicBezTo>
                      <a:pt x="676" y="163"/>
                      <a:pt x="676" y="163"/>
                      <a:pt x="676" y="163"/>
                    </a:cubicBezTo>
                    <a:cubicBezTo>
                      <a:pt x="675" y="167"/>
                      <a:pt x="675" y="167"/>
                      <a:pt x="675" y="167"/>
                    </a:cubicBezTo>
                    <a:cubicBezTo>
                      <a:pt x="673" y="169"/>
                      <a:pt x="673" y="169"/>
                      <a:pt x="673" y="169"/>
                    </a:cubicBezTo>
                    <a:cubicBezTo>
                      <a:pt x="675" y="168"/>
                      <a:pt x="675" y="168"/>
                      <a:pt x="675" y="168"/>
                    </a:cubicBezTo>
                    <a:cubicBezTo>
                      <a:pt x="676" y="169"/>
                      <a:pt x="676" y="169"/>
                      <a:pt x="676" y="169"/>
                    </a:cubicBezTo>
                    <a:cubicBezTo>
                      <a:pt x="676" y="171"/>
                      <a:pt x="676" y="171"/>
                      <a:pt x="676" y="171"/>
                    </a:cubicBezTo>
                    <a:cubicBezTo>
                      <a:pt x="673" y="172"/>
                      <a:pt x="673" y="172"/>
                      <a:pt x="673" y="172"/>
                    </a:cubicBezTo>
                    <a:cubicBezTo>
                      <a:pt x="673" y="175"/>
                      <a:pt x="673" y="175"/>
                      <a:pt x="673" y="175"/>
                    </a:cubicBezTo>
                    <a:cubicBezTo>
                      <a:pt x="671" y="176"/>
                      <a:pt x="671" y="176"/>
                      <a:pt x="671" y="176"/>
                    </a:cubicBezTo>
                    <a:cubicBezTo>
                      <a:pt x="670" y="175"/>
                      <a:pt x="670" y="175"/>
                      <a:pt x="670" y="175"/>
                    </a:cubicBezTo>
                    <a:cubicBezTo>
                      <a:pt x="669" y="176"/>
                      <a:pt x="669" y="176"/>
                      <a:pt x="669" y="176"/>
                    </a:cubicBezTo>
                    <a:cubicBezTo>
                      <a:pt x="669" y="177"/>
                      <a:pt x="669" y="177"/>
                      <a:pt x="669" y="177"/>
                    </a:cubicBezTo>
                    <a:cubicBezTo>
                      <a:pt x="667" y="178"/>
                      <a:pt x="667" y="178"/>
                      <a:pt x="667" y="178"/>
                    </a:cubicBezTo>
                    <a:cubicBezTo>
                      <a:pt x="666" y="177"/>
                      <a:pt x="666" y="177"/>
                      <a:pt x="666" y="177"/>
                    </a:cubicBezTo>
                    <a:cubicBezTo>
                      <a:pt x="667" y="176"/>
                      <a:pt x="667" y="176"/>
                      <a:pt x="667" y="176"/>
                    </a:cubicBezTo>
                    <a:cubicBezTo>
                      <a:pt x="666" y="176"/>
                      <a:pt x="666" y="176"/>
                      <a:pt x="666" y="176"/>
                    </a:cubicBezTo>
                    <a:cubicBezTo>
                      <a:pt x="665" y="177"/>
                      <a:pt x="665" y="177"/>
                      <a:pt x="665" y="177"/>
                    </a:cubicBezTo>
                    <a:cubicBezTo>
                      <a:pt x="663" y="180"/>
                      <a:pt x="663" y="180"/>
                      <a:pt x="663" y="180"/>
                    </a:cubicBezTo>
                    <a:cubicBezTo>
                      <a:pt x="662" y="181"/>
                      <a:pt x="662" y="181"/>
                      <a:pt x="662" y="181"/>
                    </a:cubicBezTo>
                    <a:cubicBezTo>
                      <a:pt x="658" y="178"/>
                      <a:pt x="658" y="178"/>
                      <a:pt x="658" y="178"/>
                    </a:cubicBezTo>
                    <a:cubicBezTo>
                      <a:pt x="655" y="178"/>
                      <a:pt x="655" y="178"/>
                      <a:pt x="655" y="178"/>
                    </a:cubicBezTo>
                    <a:cubicBezTo>
                      <a:pt x="655" y="179"/>
                      <a:pt x="655" y="179"/>
                      <a:pt x="655" y="179"/>
                    </a:cubicBezTo>
                    <a:cubicBezTo>
                      <a:pt x="652" y="179"/>
                      <a:pt x="652" y="179"/>
                      <a:pt x="652" y="179"/>
                    </a:cubicBezTo>
                    <a:cubicBezTo>
                      <a:pt x="648" y="173"/>
                      <a:pt x="648" y="173"/>
                      <a:pt x="648" y="173"/>
                    </a:cubicBezTo>
                    <a:cubicBezTo>
                      <a:pt x="647" y="169"/>
                      <a:pt x="647" y="169"/>
                      <a:pt x="647" y="169"/>
                    </a:cubicBezTo>
                    <a:cubicBezTo>
                      <a:pt x="648" y="168"/>
                      <a:pt x="648" y="168"/>
                      <a:pt x="648" y="168"/>
                    </a:cubicBezTo>
                    <a:cubicBezTo>
                      <a:pt x="649" y="167"/>
                      <a:pt x="649" y="167"/>
                      <a:pt x="649" y="167"/>
                    </a:cubicBezTo>
                    <a:cubicBezTo>
                      <a:pt x="648" y="166"/>
                      <a:pt x="648" y="166"/>
                      <a:pt x="648" y="166"/>
                    </a:cubicBezTo>
                    <a:cubicBezTo>
                      <a:pt x="648" y="164"/>
                      <a:pt x="648" y="164"/>
                      <a:pt x="648" y="164"/>
                    </a:cubicBezTo>
                    <a:cubicBezTo>
                      <a:pt x="647" y="166"/>
                      <a:pt x="647" y="166"/>
                      <a:pt x="647" y="166"/>
                    </a:cubicBezTo>
                    <a:cubicBezTo>
                      <a:pt x="647" y="168"/>
                      <a:pt x="647" y="168"/>
                      <a:pt x="647" y="168"/>
                    </a:cubicBezTo>
                    <a:cubicBezTo>
                      <a:pt x="646" y="171"/>
                      <a:pt x="646" y="171"/>
                      <a:pt x="646" y="171"/>
                    </a:cubicBezTo>
                    <a:cubicBezTo>
                      <a:pt x="645" y="172"/>
                      <a:pt x="645" y="172"/>
                      <a:pt x="645" y="172"/>
                    </a:cubicBezTo>
                    <a:cubicBezTo>
                      <a:pt x="647" y="174"/>
                      <a:pt x="647" y="174"/>
                      <a:pt x="647" y="174"/>
                    </a:cubicBezTo>
                    <a:cubicBezTo>
                      <a:pt x="646" y="175"/>
                      <a:pt x="646" y="175"/>
                      <a:pt x="646" y="175"/>
                    </a:cubicBezTo>
                    <a:cubicBezTo>
                      <a:pt x="645" y="175"/>
                      <a:pt x="645" y="175"/>
                      <a:pt x="645" y="175"/>
                    </a:cubicBezTo>
                    <a:cubicBezTo>
                      <a:pt x="643" y="175"/>
                      <a:pt x="643" y="175"/>
                      <a:pt x="643" y="175"/>
                    </a:cubicBezTo>
                    <a:cubicBezTo>
                      <a:pt x="642" y="175"/>
                      <a:pt x="642" y="175"/>
                      <a:pt x="642" y="175"/>
                    </a:cubicBezTo>
                    <a:cubicBezTo>
                      <a:pt x="640" y="175"/>
                      <a:pt x="640" y="175"/>
                      <a:pt x="640" y="175"/>
                    </a:cubicBezTo>
                    <a:cubicBezTo>
                      <a:pt x="642" y="177"/>
                      <a:pt x="642" y="177"/>
                      <a:pt x="642" y="177"/>
                    </a:cubicBezTo>
                    <a:cubicBezTo>
                      <a:pt x="641" y="180"/>
                      <a:pt x="641" y="180"/>
                      <a:pt x="641" y="180"/>
                    </a:cubicBezTo>
                    <a:cubicBezTo>
                      <a:pt x="642" y="180"/>
                      <a:pt x="642" y="180"/>
                      <a:pt x="642" y="180"/>
                    </a:cubicBezTo>
                    <a:cubicBezTo>
                      <a:pt x="645" y="177"/>
                      <a:pt x="645" y="177"/>
                      <a:pt x="645" y="177"/>
                    </a:cubicBezTo>
                    <a:cubicBezTo>
                      <a:pt x="646" y="177"/>
                      <a:pt x="646" y="177"/>
                      <a:pt x="646" y="177"/>
                    </a:cubicBezTo>
                    <a:cubicBezTo>
                      <a:pt x="646" y="177"/>
                      <a:pt x="646" y="177"/>
                      <a:pt x="646" y="177"/>
                    </a:cubicBezTo>
                    <a:cubicBezTo>
                      <a:pt x="648" y="176"/>
                      <a:pt x="648" y="176"/>
                      <a:pt x="648" y="176"/>
                    </a:cubicBezTo>
                    <a:cubicBezTo>
                      <a:pt x="650" y="178"/>
                      <a:pt x="650" y="178"/>
                      <a:pt x="650" y="178"/>
                    </a:cubicBezTo>
                    <a:cubicBezTo>
                      <a:pt x="651" y="180"/>
                      <a:pt x="651" y="180"/>
                      <a:pt x="651" y="180"/>
                    </a:cubicBezTo>
                    <a:cubicBezTo>
                      <a:pt x="650" y="182"/>
                      <a:pt x="650" y="182"/>
                      <a:pt x="650" y="182"/>
                    </a:cubicBezTo>
                    <a:cubicBezTo>
                      <a:pt x="653" y="180"/>
                      <a:pt x="653" y="180"/>
                      <a:pt x="653" y="180"/>
                    </a:cubicBezTo>
                    <a:cubicBezTo>
                      <a:pt x="656" y="179"/>
                      <a:pt x="656" y="179"/>
                      <a:pt x="656" y="179"/>
                    </a:cubicBezTo>
                    <a:cubicBezTo>
                      <a:pt x="659" y="181"/>
                      <a:pt x="659" y="181"/>
                      <a:pt x="659" y="181"/>
                    </a:cubicBezTo>
                    <a:cubicBezTo>
                      <a:pt x="659" y="182"/>
                      <a:pt x="659" y="182"/>
                      <a:pt x="659" y="182"/>
                    </a:cubicBezTo>
                    <a:cubicBezTo>
                      <a:pt x="658" y="184"/>
                      <a:pt x="658" y="184"/>
                      <a:pt x="658" y="184"/>
                    </a:cubicBezTo>
                    <a:cubicBezTo>
                      <a:pt x="657" y="187"/>
                      <a:pt x="657" y="187"/>
                      <a:pt x="657" y="187"/>
                    </a:cubicBezTo>
                    <a:cubicBezTo>
                      <a:pt x="656" y="187"/>
                      <a:pt x="656" y="187"/>
                      <a:pt x="656" y="187"/>
                    </a:cubicBezTo>
                    <a:cubicBezTo>
                      <a:pt x="655" y="188"/>
                      <a:pt x="655" y="188"/>
                      <a:pt x="655" y="188"/>
                    </a:cubicBezTo>
                    <a:cubicBezTo>
                      <a:pt x="656" y="189"/>
                      <a:pt x="656" y="189"/>
                      <a:pt x="656" y="189"/>
                    </a:cubicBezTo>
                    <a:cubicBezTo>
                      <a:pt x="658" y="189"/>
                      <a:pt x="658" y="189"/>
                      <a:pt x="658" y="189"/>
                    </a:cubicBezTo>
                    <a:cubicBezTo>
                      <a:pt x="657" y="190"/>
                      <a:pt x="657" y="190"/>
                      <a:pt x="657" y="190"/>
                    </a:cubicBezTo>
                    <a:cubicBezTo>
                      <a:pt x="656" y="192"/>
                      <a:pt x="656" y="192"/>
                      <a:pt x="656" y="192"/>
                    </a:cubicBezTo>
                    <a:cubicBezTo>
                      <a:pt x="658" y="192"/>
                      <a:pt x="658" y="192"/>
                      <a:pt x="658" y="192"/>
                    </a:cubicBezTo>
                    <a:cubicBezTo>
                      <a:pt x="658" y="191"/>
                      <a:pt x="658" y="191"/>
                      <a:pt x="658" y="191"/>
                    </a:cubicBezTo>
                    <a:cubicBezTo>
                      <a:pt x="661" y="189"/>
                      <a:pt x="661" y="189"/>
                      <a:pt x="661" y="189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63" y="189"/>
                      <a:pt x="663" y="189"/>
                      <a:pt x="663" y="189"/>
                    </a:cubicBezTo>
                    <a:cubicBezTo>
                      <a:pt x="664" y="189"/>
                      <a:pt x="664" y="189"/>
                      <a:pt x="664" y="189"/>
                    </a:cubicBezTo>
                    <a:cubicBezTo>
                      <a:pt x="663" y="191"/>
                      <a:pt x="663" y="191"/>
                      <a:pt x="663" y="191"/>
                    </a:cubicBezTo>
                    <a:cubicBezTo>
                      <a:pt x="664" y="192"/>
                      <a:pt x="664" y="192"/>
                      <a:pt x="664" y="192"/>
                    </a:cubicBezTo>
                    <a:cubicBezTo>
                      <a:pt x="663" y="196"/>
                      <a:pt x="663" y="196"/>
                      <a:pt x="663" y="196"/>
                    </a:cubicBezTo>
                    <a:cubicBezTo>
                      <a:pt x="661" y="200"/>
                      <a:pt x="661" y="200"/>
                      <a:pt x="661" y="200"/>
                    </a:cubicBezTo>
                    <a:cubicBezTo>
                      <a:pt x="659" y="200"/>
                      <a:pt x="659" y="200"/>
                      <a:pt x="659" y="200"/>
                    </a:cubicBezTo>
                    <a:cubicBezTo>
                      <a:pt x="657" y="201"/>
                      <a:pt x="657" y="201"/>
                      <a:pt x="657" y="201"/>
                    </a:cubicBezTo>
                    <a:cubicBezTo>
                      <a:pt x="656" y="203"/>
                      <a:pt x="656" y="203"/>
                      <a:pt x="656" y="203"/>
                    </a:cubicBezTo>
                    <a:cubicBezTo>
                      <a:pt x="654" y="204"/>
                      <a:pt x="654" y="204"/>
                      <a:pt x="654" y="204"/>
                    </a:cubicBezTo>
                    <a:cubicBezTo>
                      <a:pt x="654" y="204"/>
                      <a:pt x="654" y="204"/>
                      <a:pt x="654" y="204"/>
                    </a:cubicBezTo>
                    <a:cubicBezTo>
                      <a:pt x="654" y="202"/>
                      <a:pt x="654" y="202"/>
                      <a:pt x="654" y="202"/>
                    </a:cubicBezTo>
                    <a:cubicBezTo>
                      <a:pt x="655" y="199"/>
                      <a:pt x="655" y="199"/>
                      <a:pt x="655" y="199"/>
                    </a:cubicBezTo>
                    <a:cubicBezTo>
                      <a:pt x="654" y="199"/>
                      <a:pt x="654" y="199"/>
                      <a:pt x="654" y="199"/>
                    </a:cubicBezTo>
                    <a:cubicBezTo>
                      <a:pt x="653" y="200"/>
                      <a:pt x="653" y="200"/>
                      <a:pt x="653" y="200"/>
                    </a:cubicBezTo>
                    <a:cubicBezTo>
                      <a:pt x="652" y="202"/>
                      <a:pt x="652" y="202"/>
                      <a:pt x="652" y="202"/>
                    </a:cubicBezTo>
                    <a:cubicBezTo>
                      <a:pt x="650" y="203"/>
                      <a:pt x="650" y="203"/>
                      <a:pt x="650" y="203"/>
                    </a:cubicBezTo>
                    <a:cubicBezTo>
                      <a:pt x="647" y="205"/>
                      <a:pt x="647" y="205"/>
                      <a:pt x="647" y="205"/>
                    </a:cubicBezTo>
                    <a:cubicBezTo>
                      <a:pt x="647" y="205"/>
                      <a:pt x="647" y="205"/>
                      <a:pt x="647" y="205"/>
                    </a:cubicBezTo>
                    <a:cubicBezTo>
                      <a:pt x="645" y="205"/>
                      <a:pt x="645" y="205"/>
                      <a:pt x="645" y="205"/>
                    </a:cubicBezTo>
                    <a:cubicBezTo>
                      <a:pt x="642" y="207"/>
                      <a:pt x="642" y="207"/>
                      <a:pt x="642" y="207"/>
                    </a:cubicBezTo>
                    <a:cubicBezTo>
                      <a:pt x="641" y="207"/>
                      <a:pt x="641" y="207"/>
                      <a:pt x="641" y="207"/>
                    </a:cubicBezTo>
                    <a:cubicBezTo>
                      <a:pt x="639" y="207"/>
                      <a:pt x="639" y="207"/>
                      <a:pt x="639" y="207"/>
                    </a:cubicBezTo>
                    <a:cubicBezTo>
                      <a:pt x="637" y="207"/>
                      <a:pt x="637" y="207"/>
                      <a:pt x="637" y="207"/>
                    </a:cubicBezTo>
                    <a:cubicBezTo>
                      <a:pt x="637" y="206"/>
                      <a:pt x="637" y="206"/>
                      <a:pt x="637" y="206"/>
                    </a:cubicBezTo>
                    <a:cubicBezTo>
                      <a:pt x="636" y="205"/>
                      <a:pt x="636" y="205"/>
                      <a:pt x="636" y="205"/>
                    </a:cubicBezTo>
                    <a:cubicBezTo>
                      <a:pt x="637" y="204"/>
                      <a:pt x="637" y="204"/>
                      <a:pt x="637" y="204"/>
                    </a:cubicBezTo>
                    <a:cubicBezTo>
                      <a:pt x="639" y="202"/>
                      <a:pt x="639" y="202"/>
                      <a:pt x="639" y="202"/>
                    </a:cubicBezTo>
                    <a:cubicBezTo>
                      <a:pt x="639" y="201"/>
                      <a:pt x="639" y="201"/>
                      <a:pt x="639" y="201"/>
                    </a:cubicBezTo>
                    <a:cubicBezTo>
                      <a:pt x="637" y="198"/>
                      <a:pt x="637" y="198"/>
                      <a:pt x="637" y="198"/>
                    </a:cubicBezTo>
                    <a:cubicBezTo>
                      <a:pt x="635" y="199"/>
                      <a:pt x="635" y="199"/>
                      <a:pt x="635" y="199"/>
                    </a:cubicBezTo>
                    <a:cubicBezTo>
                      <a:pt x="633" y="198"/>
                      <a:pt x="633" y="198"/>
                      <a:pt x="633" y="198"/>
                    </a:cubicBezTo>
                    <a:cubicBezTo>
                      <a:pt x="632" y="197"/>
                      <a:pt x="632" y="197"/>
                      <a:pt x="632" y="197"/>
                    </a:cubicBezTo>
                    <a:cubicBezTo>
                      <a:pt x="633" y="194"/>
                      <a:pt x="633" y="194"/>
                      <a:pt x="633" y="194"/>
                    </a:cubicBezTo>
                    <a:cubicBezTo>
                      <a:pt x="635" y="194"/>
                      <a:pt x="635" y="194"/>
                      <a:pt x="635" y="194"/>
                    </a:cubicBezTo>
                    <a:cubicBezTo>
                      <a:pt x="634" y="193"/>
                      <a:pt x="634" y="193"/>
                      <a:pt x="634" y="193"/>
                    </a:cubicBezTo>
                    <a:cubicBezTo>
                      <a:pt x="632" y="193"/>
                      <a:pt x="632" y="193"/>
                      <a:pt x="632" y="193"/>
                    </a:cubicBezTo>
                    <a:cubicBezTo>
                      <a:pt x="631" y="190"/>
                      <a:pt x="631" y="190"/>
                      <a:pt x="631" y="190"/>
                    </a:cubicBezTo>
                    <a:cubicBezTo>
                      <a:pt x="632" y="189"/>
                      <a:pt x="632" y="189"/>
                      <a:pt x="632" y="189"/>
                    </a:cubicBezTo>
                    <a:cubicBezTo>
                      <a:pt x="632" y="187"/>
                      <a:pt x="632" y="187"/>
                      <a:pt x="632" y="187"/>
                    </a:cubicBezTo>
                    <a:cubicBezTo>
                      <a:pt x="631" y="185"/>
                      <a:pt x="631" y="185"/>
                      <a:pt x="631" y="185"/>
                    </a:cubicBezTo>
                    <a:cubicBezTo>
                      <a:pt x="631" y="187"/>
                      <a:pt x="631" y="187"/>
                      <a:pt x="631" y="187"/>
                    </a:cubicBezTo>
                    <a:cubicBezTo>
                      <a:pt x="630" y="190"/>
                      <a:pt x="630" y="190"/>
                      <a:pt x="630" y="190"/>
                    </a:cubicBezTo>
                    <a:cubicBezTo>
                      <a:pt x="631" y="193"/>
                      <a:pt x="631" y="193"/>
                      <a:pt x="631" y="193"/>
                    </a:cubicBezTo>
                    <a:cubicBezTo>
                      <a:pt x="631" y="195"/>
                      <a:pt x="631" y="195"/>
                      <a:pt x="631" y="195"/>
                    </a:cubicBezTo>
                    <a:cubicBezTo>
                      <a:pt x="630" y="196"/>
                      <a:pt x="630" y="196"/>
                      <a:pt x="630" y="196"/>
                    </a:cubicBezTo>
                    <a:cubicBezTo>
                      <a:pt x="630" y="198"/>
                      <a:pt x="630" y="198"/>
                      <a:pt x="630" y="198"/>
                    </a:cubicBezTo>
                    <a:cubicBezTo>
                      <a:pt x="629" y="199"/>
                      <a:pt x="629" y="199"/>
                      <a:pt x="629" y="199"/>
                    </a:cubicBezTo>
                    <a:cubicBezTo>
                      <a:pt x="628" y="198"/>
                      <a:pt x="628" y="198"/>
                      <a:pt x="628" y="198"/>
                    </a:cubicBezTo>
                    <a:cubicBezTo>
                      <a:pt x="626" y="199"/>
                      <a:pt x="626" y="199"/>
                      <a:pt x="626" y="199"/>
                    </a:cubicBezTo>
                    <a:cubicBezTo>
                      <a:pt x="625" y="197"/>
                      <a:pt x="625" y="197"/>
                      <a:pt x="625" y="197"/>
                    </a:cubicBezTo>
                    <a:cubicBezTo>
                      <a:pt x="624" y="196"/>
                      <a:pt x="624" y="196"/>
                      <a:pt x="624" y="196"/>
                    </a:cubicBezTo>
                    <a:cubicBezTo>
                      <a:pt x="626" y="192"/>
                      <a:pt x="626" y="192"/>
                      <a:pt x="626" y="192"/>
                    </a:cubicBezTo>
                    <a:cubicBezTo>
                      <a:pt x="625" y="191"/>
                      <a:pt x="625" y="191"/>
                      <a:pt x="625" y="191"/>
                    </a:cubicBezTo>
                    <a:cubicBezTo>
                      <a:pt x="625" y="189"/>
                      <a:pt x="625" y="189"/>
                      <a:pt x="625" y="189"/>
                    </a:cubicBezTo>
                    <a:cubicBezTo>
                      <a:pt x="627" y="187"/>
                      <a:pt x="627" y="187"/>
                      <a:pt x="627" y="187"/>
                    </a:cubicBezTo>
                    <a:cubicBezTo>
                      <a:pt x="625" y="187"/>
                      <a:pt x="625" y="187"/>
                      <a:pt x="625" y="187"/>
                    </a:cubicBezTo>
                    <a:cubicBezTo>
                      <a:pt x="624" y="189"/>
                      <a:pt x="624" y="189"/>
                      <a:pt x="624" y="189"/>
                    </a:cubicBezTo>
                    <a:cubicBezTo>
                      <a:pt x="623" y="191"/>
                      <a:pt x="623" y="191"/>
                      <a:pt x="623" y="191"/>
                    </a:cubicBezTo>
                    <a:cubicBezTo>
                      <a:pt x="624" y="193"/>
                      <a:pt x="624" y="193"/>
                      <a:pt x="624" y="193"/>
                    </a:cubicBezTo>
                    <a:cubicBezTo>
                      <a:pt x="623" y="196"/>
                      <a:pt x="623" y="196"/>
                      <a:pt x="623" y="196"/>
                    </a:cubicBezTo>
                    <a:cubicBezTo>
                      <a:pt x="621" y="197"/>
                      <a:pt x="621" y="197"/>
                      <a:pt x="621" y="197"/>
                    </a:cubicBezTo>
                    <a:cubicBezTo>
                      <a:pt x="619" y="196"/>
                      <a:pt x="619" y="196"/>
                      <a:pt x="619" y="196"/>
                    </a:cubicBezTo>
                    <a:cubicBezTo>
                      <a:pt x="619" y="194"/>
                      <a:pt x="619" y="194"/>
                      <a:pt x="619" y="194"/>
                    </a:cubicBezTo>
                    <a:cubicBezTo>
                      <a:pt x="619" y="193"/>
                      <a:pt x="619" y="193"/>
                      <a:pt x="619" y="193"/>
                    </a:cubicBezTo>
                    <a:cubicBezTo>
                      <a:pt x="619" y="192"/>
                      <a:pt x="619" y="192"/>
                      <a:pt x="619" y="192"/>
                    </a:cubicBezTo>
                    <a:cubicBezTo>
                      <a:pt x="620" y="190"/>
                      <a:pt x="620" y="190"/>
                      <a:pt x="620" y="190"/>
                    </a:cubicBezTo>
                    <a:cubicBezTo>
                      <a:pt x="620" y="189"/>
                      <a:pt x="620" y="189"/>
                      <a:pt x="620" y="189"/>
                    </a:cubicBezTo>
                    <a:cubicBezTo>
                      <a:pt x="619" y="187"/>
                      <a:pt x="619" y="187"/>
                      <a:pt x="619" y="187"/>
                    </a:cubicBezTo>
                    <a:cubicBezTo>
                      <a:pt x="619" y="187"/>
                      <a:pt x="619" y="187"/>
                      <a:pt x="619" y="187"/>
                    </a:cubicBezTo>
                    <a:cubicBezTo>
                      <a:pt x="618" y="188"/>
                      <a:pt x="618" y="188"/>
                      <a:pt x="618" y="188"/>
                    </a:cubicBezTo>
                    <a:cubicBezTo>
                      <a:pt x="618" y="190"/>
                      <a:pt x="618" y="190"/>
                      <a:pt x="618" y="190"/>
                    </a:cubicBezTo>
                    <a:cubicBezTo>
                      <a:pt x="617" y="191"/>
                      <a:pt x="617" y="191"/>
                      <a:pt x="617" y="191"/>
                    </a:cubicBezTo>
                    <a:cubicBezTo>
                      <a:pt x="617" y="192"/>
                      <a:pt x="617" y="192"/>
                      <a:pt x="617" y="192"/>
                    </a:cubicBezTo>
                    <a:cubicBezTo>
                      <a:pt x="616" y="193"/>
                      <a:pt x="616" y="193"/>
                      <a:pt x="616" y="193"/>
                    </a:cubicBezTo>
                    <a:cubicBezTo>
                      <a:pt x="615" y="193"/>
                      <a:pt x="615" y="193"/>
                      <a:pt x="615" y="193"/>
                    </a:cubicBezTo>
                    <a:cubicBezTo>
                      <a:pt x="614" y="194"/>
                      <a:pt x="614" y="194"/>
                      <a:pt x="614" y="194"/>
                    </a:cubicBezTo>
                    <a:cubicBezTo>
                      <a:pt x="613" y="194"/>
                      <a:pt x="613" y="194"/>
                      <a:pt x="613" y="194"/>
                    </a:cubicBezTo>
                    <a:close/>
                    <a:moveTo>
                      <a:pt x="665" y="488"/>
                    </a:moveTo>
                    <a:cubicBezTo>
                      <a:pt x="665" y="491"/>
                      <a:pt x="665" y="491"/>
                      <a:pt x="665" y="491"/>
                    </a:cubicBezTo>
                    <a:cubicBezTo>
                      <a:pt x="665" y="493"/>
                      <a:pt x="665" y="493"/>
                      <a:pt x="665" y="493"/>
                    </a:cubicBezTo>
                    <a:cubicBezTo>
                      <a:pt x="665" y="495"/>
                      <a:pt x="665" y="495"/>
                      <a:pt x="665" y="495"/>
                    </a:cubicBezTo>
                    <a:cubicBezTo>
                      <a:pt x="666" y="494"/>
                      <a:pt x="666" y="494"/>
                      <a:pt x="666" y="494"/>
                    </a:cubicBezTo>
                    <a:cubicBezTo>
                      <a:pt x="666" y="493"/>
                      <a:pt x="666" y="493"/>
                      <a:pt x="666" y="493"/>
                    </a:cubicBezTo>
                    <a:cubicBezTo>
                      <a:pt x="666" y="491"/>
                      <a:pt x="666" y="491"/>
                      <a:pt x="666" y="491"/>
                    </a:cubicBezTo>
                    <a:cubicBezTo>
                      <a:pt x="666" y="489"/>
                      <a:pt x="666" y="489"/>
                      <a:pt x="666" y="489"/>
                    </a:cubicBezTo>
                    <a:cubicBezTo>
                      <a:pt x="665" y="488"/>
                      <a:pt x="665" y="488"/>
                      <a:pt x="665" y="488"/>
                    </a:cubicBezTo>
                    <a:close/>
                    <a:moveTo>
                      <a:pt x="664" y="477"/>
                    </a:moveTo>
                    <a:cubicBezTo>
                      <a:pt x="663" y="476"/>
                      <a:pt x="663" y="476"/>
                      <a:pt x="663" y="476"/>
                    </a:cubicBezTo>
                    <a:cubicBezTo>
                      <a:pt x="664" y="476"/>
                      <a:pt x="664" y="476"/>
                      <a:pt x="664" y="476"/>
                    </a:cubicBezTo>
                    <a:cubicBezTo>
                      <a:pt x="664" y="476"/>
                      <a:pt x="664" y="476"/>
                      <a:pt x="664" y="476"/>
                    </a:cubicBezTo>
                    <a:cubicBezTo>
                      <a:pt x="664" y="478"/>
                      <a:pt x="664" y="478"/>
                      <a:pt x="664" y="478"/>
                    </a:cubicBezTo>
                    <a:cubicBezTo>
                      <a:pt x="664" y="477"/>
                      <a:pt x="664" y="477"/>
                      <a:pt x="664" y="477"/>
                    </a:cubicBezTo>
                    <a:close/>
                    <a:moveTo>
                      <a:pt x="661" y="471"/>
                    </a:moveTo>
                    <a:cubicBezTo>
                      <a:pt x="662" y="469"/>
                      <a:pt x="662" y="469"/>
                      <a:pt x="662" y="469"/>
                    </a:cubicBezTo>
                    <a:cubicBezTo>
                      <a:pt x="663" y="468"/>
                      <a:pt x="663" y="468"/>
                      <a:pt x="663" y="468"/>
                    </a:cubicBezTo>
                    <a:cubicBezTo>
                      <a:pt x="664" y="469"/>
                      <a:pt x="664" y="469"/>
                      <a:pt x="664" y="469"/>
                    </a:cubicBezTo>
                    <a:cubicBezTo>
                      <a:pt x="662" y="471"/>
                      <a:pt x="662" y="471"/>
                      <a:pt x="662" y="471"/>
                    </a:cubicBezTo>
                    <a:cubicBezTo>
                      <a:pt x="662" y="471"/>
                      <a:pt x="662" y="471"/>
                      <a:pt x="662" y="471"/>
                    </a:cubicBezTo>
                    <a:cubicBezTo>
                      <a:pt x="661" y="471"/>
                      <a:pt x="661" y="471"/>
                      <a:pt x="661" y="471"/>
                    </a:cubicBezTo>
                    <a:close/>
                    <a:moveTo>
                      <a:pt x="645" y="323"/>
                    </a:moveTo>
                    <a:cubicBezTo>
                      <a:pt x="645" y="322"/>
                      <a:pt x="645" y="322"/>
                      <a:pt x="645" y="322"/>
                    </a:cubicBezTo>
                    <a:cubicBezTo>
                      <a:pt x="646" y="321"/>
                      <a:pt x="646" y="321"/>
                      <a:pt x="646" y="321"/>
                    </a:cubicBezTo>
                    <a:cubicBezTo>
                      <a:pt x="646" y="323"/>
                      <a:pt x="646" y="323"/>
                      <a:pt x="646" y="323"/>
                    </a:cubicBezTo>
                    <a:cubicBezTo>
                      <a:pt x="645" y="323"/>
                      <a:pt x="645" y="323"/>
                      <a:pt x="645" y="323"/>
                    </a:cubicBezTo>
                    <a:close/>
                    <a:moveTo>
                      <a:pt x="648" y="325"/>
                    </a:moveTo>
                    <a:cubicBezTo>
                      <a:pt x="648" y="324"/>
                      <a:pt x="648" y="324"/>
                      <a:pt x="648" y="324"/>
                    </a:cubicBezTo>
                    <a:cubicBezTo>
                      <a:pt x="648" y="323"/>
                      <a:pt x="648" y="323"/>
                      <a:pt x="648" y="323"/>
                    </a:cubicBezTo>
                    <a:cubicBezTo>
                      <a:pt x="649" y="322"/>
                      <a:pt x="649" y="322"/>
                      <a:pt x="649" y="322"/>
                    </a:cubicBezTo>
                    <a:cubicBezTo>
                      <a:pt x="649" y="323"/>
                      <a:pt x="649" y="323"/>
                      <a:pt x="649" y="323"/>
                    </a:cubicBezTo>
                    <a:cubicBezTo>
                      <a:pt x="649" y="325"/>
                      <a:pt x="649" y="325"/>
                      <a:pt x="649" y="325"/>
                    </a:cubicBezTo>
                    <a:cubicBezTo>
                      <a:pt x="648" y="325"/>
                      <a:pt x="648" y="325"/>
                      <a:pt x="648" y="325"/>
                    </a:cubicBezTo>
                    <a:close/>
                    <a:moveTo>
                      <a:pt x="645" y="330"/>
                    </a:moveTo>
                    <a:cubicBezTo>
                      <a:pt x="644" y="329"/>
                      <a:pt x="644" y="329"/>
                      <a:pt x="644" y="329"/>
                    </a:cubicBezTo>
                    <a:cubicBezTo>
                      <a:pt x="645" y="328"/>
                      <a:pt x="645" y="328"/>
                      <a:pt x="645" y="328"/>
                    </a:cubicBezTo>
                    <a:cubicBezTo>
                      <a:pt x="644" y="326"/>
                      <a:pt x="644" y="326"/>
                      <a:pt x="644" y="326"/>
                    </a:cubicBezTo>
                    <a:cubicBezTo>
                      <a:pt x="645" y="325"/>
                      <a:pt x="645" y="325"/>
                      <a:pt x="645" y="325"/>
                    </a:cubicBezTo>
                    <a:cubicBezTo>
                      <a:pt x="646" y="326"/>
                      <a:pt x="646" y="326"/>
                      <a:pt x="646" y="326"/>
                    </a:cubicBezTo>
                    <a:cubicBezTo>
                      <a:pt x="647" y="326"/>
                      <a:pt x="647" y="326"/>
                      <a:pt x="647" y="326"/>
                    </a:cubicBezTo>
                    <a:cubicBezTo>
                      <a:pt x="648" y="327"/>
                      <a:pt x="648" y="327"/>
                      <a:pt x="648" y="327"/>
                    </a:cubicBezTo>
                    <a:cubicBezTo>
                      <a:pt x="646" y="328"/>
                      <a:pt x="646" y="328"/>
                      <a:pt x="646" y="328"/>
                    </a:cubicBezTo>
                    <a:cubicBezTo>
                      <a:pt x="645" y="330"/>
                      <a:pt x="645" y="330"/>
                      <a:pt x="645" y="330"/>
                    </a:cubicBezTo>
                    <a:cubicBezTo>
                      <a:pt x="645" y="330"/>
                      <a:pt x="645" y="330"/>
                      <a:pt x="645" y="330"/>
                    </a:cubicBezTo>
                    <a:close/>
                    <a:moveTo>
                      <a:pt x="674" y="374"/>
                    </a:moveTo>
                    <a:cubicBezTo>
                      <a:pt x="675" y="373"/>
                      <a:pt x="675" y="373"/>
                      <a:pt x="675" y="373"/>
                    </a:cubicBezTo>
                    <a:cubicBezTo>
                      <a:pt x="677" y="374"/>
                      <a:pt x="677" y="374"/>
                      <a:pt x="677" y="374"/>
                    </a:cubicBezTo>
                    <a:cubicBezTo>
                      <a:pt x="676" y="375"/>
                      <a:pt x="676" y="375"/>
                      <a:pt x="676" y="375"/>
                    </a:cubicBezTo>
                    <a:cubicBezTo>
                      <a:pt x="674" y="375"/>
                      <a:pt x="674" y="375"/>
                      <a:pt x="674" y="375"/>
                    </a:cubicBezTo>
                    <a:cubicBezTo>
                      <a:pt x="674" y="374"/>
                      <a:pt x="674" y="374"/>
                      <a:pt x="674" y="374"/>
                    </a:cubicBezTo>
                    <a:close/>
                    <a:moveTo>
                      <a:pt x="671" y="374"/>
                    </a:moveTo>
                    <a:cubicBezTo>
                      <a:pt x="671" y="372"/>
                      <a:pt x="671" y="372"/>
                      <a:pt x="671" y="372"/>
                    </a:cubicBezTo>
                    <a:cubicBezTo>
                      <a:pt x="673" y="372"/>
                      <a:pt x="673" y="372"/>
                      <a:pt x="673" y="372"/>
                    </a:cubicBezTo>
                    <a:cubicBezTo>
                      <a:pt x="673" y="371"/>
                      <a:pt x="673" y="371"/>
                      <a:pt x="673" y="371"/>
                    </a:cubicBezTo>
                    <a:cubicBezTo>
                      <a:pt x="674" y="372"/>
                      <a:pt x="674" y="372"/>
                      <a:pt x="674" y="372"/>
                    </a:cubicBezTo>
                    <a:cubicBezTo>
                      <a:pt x="672" y="374"/>
                      <a:pt x="672" y="374"/>
                      <a:pt x="672" y="374"/>
                    </a:cubicBezTo>
                    <a:cubicBezTo>
                      <a:pt x="671" y="374"/>
                      <a:pt x="671" y="374"/>
                      <a:pt x="671" y="374"/>
                    </a:cubicBezTo>
                    <a:cubicBezTo>
                      <a:pt x="671" y="374"/>
                      <a:pt x="671" y="374"/>
                      <a:pt x="671" y="374"/>
                    </a:cubicBezTo>
                    <a:close/>
                    <a:moveTo>
                      <a:pt x="665" y="394"/>
                    </a:moveTo>
                    <a:cubicBezTo>
                      <a:pt x="666" y="395"/>
                      <a:pt x="666" y="395"/>
                      <a:pt x="666" y="395"/>
                    </a:cubicBezTo>
                    <a:cubicBezTo>
                      <a:pt x="667" y="394"/>
                      <a:pt x="667" y="394"/>
                      <a:pt x="667" y="394"/>
                    </a:cubicBezTo>
                    <a:cubicBezTo>
                      <a:pt x="666" y="394"/>
                      <a:pt x="666" y="394"/>
                      <a:pt x="666" y="394"/>
                    </a:cubicBezTo>
                    <a:cubicBezTo>
                      <a:pt x="665" y="394"/>
                      <a:pt x="665" y="394"/>
                      <a:pt x="665" y="394"/>
                    </a:cubicBezTo>
                    <a:close/>
                    <a:moveTo>
                      <a:pt x="673" y="403"/>
                    </a:moveTo>
                    <a:cubicBezTo>
                      <a:pt x="675" y="404"/>
                      <a:pt x="675" y="404"/>
                      <a:pt x="675" y="404"/>
                    </a:cubicBezTo>
                    <a:cubicBezTo>
                      <a:pt x="675" y="404"/>
                      <a:pt x="675" y="404"/>
                      <a:pt x="675" y="404"/>
                    </a:cubicBezTo>
                    <a:cubicBezTo>
                      <a:pt x="675" y="402"/>
                      <a:pt x="675" y="402"/>
                      <a:pt x="675" y="402"/>
                    </a:cubicBezTo>
                    <a:cubicBezTo>
                      <a:pt x="674" y="402"/>
                      <a:pt x="674" y="402"/>
                      <a:pt x="674" y="402"/>
                    </a:cubicBezTo>
                    <a:cubicBezTo>
                      <a:pt x="674" y="402"/>
                      <a:pt x="673" y="403"/>
                      <a:pt x="673" y="403"/>
                    </a:cubicBezTo>
                    <a:close/>
                    <a:moveTo>
                      <a:pt x="688" y="418"/>
                    </a:moveTo>
                    <a:cubicBezTo>
                      <a:pt x="687" y="416"/>
                      <a:pt x="687" y="416"/>
                      <a:pt x="687" y="416"/>
                    </a:cubicBezTo>
                    <a:cubicBezTo>
                      <a:pt x="688" y="415"/>
                      <a:pt x="688" y="415"/>
                      <a:pt x="688" y="415"/>
                    </a:cubicBezTo>
                    <a:cubicBezTo>
                      <a:pt x="690" y="416"/>
                      <a:pt x="690" y="416"/>
                      <a:pt x="690" y="416"/>
                    </a:cubicBezTo>
                    <a:cubicBezTo>
                      <a:pt x="690" y="418"/>
                      <a:pt x="690" y="418"/>
                      <a:pt x="690" y="418"/>
                    </a:cubicBezTo>
                    <a:cubicBezTo>
                      <a:pt x="689" y="418"/>
                      <a:pt x="689" y="418"/>
                      <a:pt x="689" y="418"/>
                    </a:cubicBezTo>
                    <a:cubicBezTo>
                      <a:pt x="688" y="418"/>
                      <a:pt x="688" y="418"/>
                      <a:pt x="688" y="418"/>
                    </a:cubicBezTo>
                    <a:close/>
                    <a:moveTo>
                      <a:pt x="695" y="427"/>
                    </a:moveTo>
                    <a:cubicBezTo>
                      <a:pt x="695" y="426"/>
                      <a:pt x="695" y="426"/>
                      <a:pt x="695" y="426"/>
                    </a:cubicBezTo>
                    <a:cubicBezTo>
                      <a:pt x="697" y="425"/>
                      <a:pt x="697" y="425"/>
                      <a:pt x="697" y="425"/>
                    </a:cubicBezTo>
                    <a:cubicBezTo>
                      <a:pt x="698" y="424"/>
                      <a:pt x="698" y="424"/>
                      <a:pt x="698" y="424"/>
                    </a:cubicBezTo>
                    <a:cubicBezTo>
                      <a:pt x="698" y="425"/>
                      <a:pt x="698" y="425"/>
                      <a:pt x="698" y="425"/>
                    </a:cubicBezTo>
                    <a:cubicBezTo>
                      <a:pt x="697" y="427"/>
                      <a:pt x="697" y="427"/>
                      <a:pt x="697" y="427"/>
                    </a:cubicBezTo>
                    <a:cubicBezTo>
                      <a:pt x="696" y="427"/>
                      <a:pt x="696" y="427"/>
                      <a:pt x="696" y="427"/>
                    </a:cubicBezTo>
                    <a:cubicBezTo>
                      <a:pt x="696" y="427"/>
                      <a:pt x="695" y="428"/>
                      <a:pt x="695" y="427"/>
                    </a:cubicBezTo>
                    <a:close/>
                    <a:moveTo>
                      <a:pt x="642" y="216"/>
                    </a:moveTo>
                    <a:cubicBezTo>
                      <a:pt x="642" y="214"/>
                      <a:pt x="642" y="214"/>
                      <a:pt x="642" y="214"/>
                    </a:cubicBezTo>
                    <a:cubicBezTo>
                      <a:pt x="643" y="213"/>
                      <a:pt x="643" y="213"/>
                      <a:pt x="643" y="213"/>
                    </a:cubicBezTo>
                    <a:cubicBezTo>
                      <a:pt x="644" y="211"/>
                      <a:pt x="644" y="211"/>
                      <a:pt x="644" y="211"/>
                    </a:cubicBezTo>
                    <a:cubicBezTo>
                      <a:pt x="648" y="209"/>
                      <a:pt x="648" y="209"/>
                      <a:pt x="648" y="209"/>
                    </a:cubicBezTo>
                    <a:cubicBezTo>
                      <a:pt x="650" y="208"/>
                      <a:pt x="650" y="208"/>
                      <a:pt x="650" y="208"/>
                    </a:cubicBezTo>
                    <a:cubicBezTo>
                      <a:pt x="649" y="210"/>
                      <a:pt x="649" y="210"/>
                      <a:pt x="649" y="210"/>
                    </a:cubicBezTo>
                    <a:cubicBezTo>
                      <a:pt x="646" y="212"/>
                      <a:pt x="646" y="212"/>
                      <a:pt x="646" y="212"/>
                    </a:cubicBezTo>
                    <a:cubicBezTo>
                      <a:pt x="645" y="214"/>
                      <a:pt x="645" y="214"/>
                      <a:pt x="645" y="214"/>
                    </a:cubicBezTo>
                    <a:cubicBezTo>
                      <a:pt x="646" y="215"/>
                      <a:pt x="646" y="215"/>
                      <a:pt x="646" y="215"/>
                    </a:cubicBezTo>
                    <a:cubicBezTo>
                      <a:pt x="646" y="216"/>
                      <a:pt x="646" y="216"/>
                      <a:pt x="646" y="216"/>
                    </a:cubicBezTo>
                    <a:cubicBezTo>
                      <a:pt x="645" y="216"/>
                      <a:pt x="645" y="216"/>
                      <a:pt x="645" y="216"/>
                    </a:cubicBezTo>
                    <a:cubicBezTo>
                      <a:pt x="644" y="215"/>
                      <a:pt x="644" y="215"/>
                      <a:pt x="644" y="215"/>
                    </a:cubicBezTo>
                    <a:cubicBezTo>
                      <a:pt x="643" y="215"/>
                      <a:pt x="643" y="215"/>
                      <a:pt x="643" y="215"/>
                    </a:cubicBezTo>
                    <a:cubicBezTo>
                      <a:pt x="643" y="216"/>
                      <a:pt x="643" y="216"/>
                      <a:pt x="643" y="216"/>
                    </a:cubicBezTo>
                    <a:cubicBezTo>
                      <a:pt x="642" y="216"/>
                      <a:pt x="642" y="216"/>
                      <a:pt x="642" y="216"/>
                    </a:cubicBezTo>
                    <a:close/>
                    <a:moveTo>
                      <a:pt x="632" y="207"/>
                    </a:moveTo>
                    <a:cubicBezTo>
                      <a:pt x="632" y="207"/>
                      <a:pt x="633" y="208"/>
                      <a:pt x="633" y="208"/>
                    </a:cubicBezTo>
                    <a:cubicBezTo>
                      <a:pt x="634" y="208"/>
                      <a:pt x="634" y="208"/>
                      <a:pt x="634" y="208"/>
                    </a:cubicBezTo>
                    <a:cubicBezTo>
                      <a:pt x="635" y="207"/>
                      <a:pt x="635" y="207"/>
                      <a:pt x="635" y="207"/>
                    </a:cubicBezTo>
                    <a:cubicBezTo>
                      <a:pt x="634" y="206"/>
                      <a:pt x="634" y="206"/>
                      <a:pt x="634" y="206"/>
                    </a:cubicBezTo>
                    <a:cubicBezTo>
                      <a:pt x="632" y="207"/>
                      <a:pt x="632" y="207"/>
                      <a:pt x="632" y="207"/>
                    </a:cubicBezTo>
                    <a:close/>
                    <a:moveTo>
                      <a:pt x="580" y="183"/>
                    </a:moveTo>
                    <a:cubicBezTo>
                      <a:pt x="578" y="182"/>
                      <a:pt x="578" y="182"/>
                      <a:pt x="578" y="182"/>
                    </a:cubicBezTo>
                    <a:cubicBezTo>
                      <a:pt x="577" y="180"/>
                      <a:pt x="577" y="180"/>
                      <a:pt x="577" y="180"/>
                    </a:cubicBezTo>
                    <a:cubicBezTo>
                      <a:pt x="578" y="177"/>
                      <a:pt x="578" y="177"/>
                      <a:pt x="578" y="177"/>
                    </a:cubicBezTo>
                    <a:cubicBezTo>
                      <a:pt x="577" y="176"/>
                      <a:pt x="577" y="176"/>
                      <a:pt x="577" y="176"/>
                    </a:cubicBezTo>
                    <a:cubicBezTo>
                      <a:pt x="577" y="173"/>
                      <a:pt x="577" y="173"/>
                      <a:pt x="577" y="173"/>
                    </a:cubicBezTo>
                    <a:cubicBezTo>
                      <a:pt x="577" y="173"/>
                      <a:pt x="577" y="173"/>
                      <a:pt x="577" y="173"/>
                    </a:cubicBezTo>
                    <a:cubicBezTo>
                      <a:pt x="579" y="172"/>
                      <a:pt x="579" y="172"/>
                      <a:pt x="579" y="172"/>
                    </a:cubicBezTo>
                    <a:cubicBezTo>
                      <a:pt x="581" y="173"/>
                      <a:pt x="581" y="173"/>
                      <a:pt x="581" y="173"/>
                    </a:cubicBezTo>
                    <a:cubicBezTo>
                      <a:pt x="582" y="176"/>
                      <a:pt x="582" y="176"/>
                      <a:pt x="582" y="176"/>
                    </a:cubicBezTo>
                    <a:cubicBezTo>
                      <a:pt x="580" y="180"/>
                      <a:pt x="580" y="180"/>
                      <a:pt x="580" y="180"/>
                    </a:cubicBezTo>
                    <a:cubicBezTo>
                      <a:pt x="580" y="181"/>
                      <a:pt x="580" y="181"/>
                      <a:pt x="580" y="181"/>
                    </a:cubicBezTo>
                    <a:cubicBezTo>
                      <a:pt x="581" y="181"/>
                      <a:pt x="581" y="181"/>
                      <a:pt x="581" y="181"/>
                    </a:cubicBezTo>
                    <a:cubicBezTo>
                      <a:pt x="581" y="183"/>
                      <a:pt x="581" y="183"/>
                      <a:pt x="581" y="183"/>
                    </a:cubicBezTo>
                    <a:cubicBezTo>
                      <a:pt x="580" y="183"/>
                      <a:pt x="580" y="183"/>
                      <a:pt x="580" y="183"/>
                    </a:cubicBezTo>
                    <a:close/>
                    <a:moveTo>
                      <a:pt x="579" y="74"/>
                    </a:moveTo>
                    <a:cubicBezTo>
                      <a:pt x="581" y="71"/>
                      <a:pt x="581" y="71"/>
                      <a:pt x="581" y="71"/>
                    </a:cubicBezTo>
                    <a:cubicBezTo>
                      <a:pt x="583" y="69"/>
                      <a:pt x="583" y="69"/>
                      <a:pt x="583" y="69"/>
                    </a:cubicBezTo>
                    <a:cubicBezTo>
                      <a:pt x="583" y="67"/>
                      <a:pt x="583" y="67"/>
                      <a:pt x="583" y="67"/>
                    </a:cubicBezTo>
                    <a:cubicBezTo>
                      <a:pt x="585" y="65"/>
                      <a:pt x="585" y="65"/>
                      <a:pt x="585" y="65"/>
                    </a:cubicBezTo>
                    <a:cubicBezTo>
                      <a:pt x="586" y="63"/>
                      <a:pt x="586" y="63"/>
                      <a:pt x="586" y="63"/>
                    </a:cubicBezTo>
                    <a:cubicBezTo>
                      <a:pt x="586" y="61"/>
                      <a:pt x="586" y="61"/>
                      <a:pt x="586" y="61"/>
                    </a:cubicBezTo>
                    <a:cubicBezTo>
                      <a:pt x="584" y="61"/>
                      <a:pt x="584" y="61"/>
                      <a:pt x="584" y="61"/>
                    </a:cubicBezTo>
                    <a:cubicBezTo>
                      <a:pt x="582" y="61"/>
                      <a:pt x="582" y="61"/>
                      <a:pt x="582" y="61"/>
                    </a:cubicBezTo>
                    <a:cubicBezTo>
                      <a:pt x="583" y="59"/>
                      <a:pt x="583" y="59"/>
                      <a:pt x="583" y="59"/>
                    </a:cubicBezTo>
                    <a:cubicBezTo>
                      <a:pt x="582" y="59"/>
                      <a:pt x="582" y="59"/>
                      <a:pt x="582" y="59"/>
                    </a:cubicBezTo>
                    <a:cubicBezTo>
                      <a:pt x="580" y="61"/>
                      <a:pt x="580" y="61"/>
                      <a:pt x="580" y="61"/>
                    </a:cubicBezTo>
                    <a:cubicBezTo>
                      <a:pt x="577" y="62"/>
                      <a:pt x="577" y="62"/>
                      <a:pt x="577" y="62"/>
                    </a:cubicBezTo>
                    <a:cubicBezTo>
                      <a:pt x="577" y="63"/>
                      <a:pt x="577" y="63"/>
                      <a:pt x="577" y="63"/>
                    </a:cubicBezTo>
                    <a:cubicBezTo>
                      <a:pt x="576" y="64"/>
                      <a:pt x="576" y="64"/>
                      <a:pt x="576" y="64"/>
                    </a:cubicBezTo>
                    <a:cubicBezTo>
                      <a:pt x="576" y="66"/>
                      <a:pt x="576" y="66"/>
                      <a:pt x="576" y="66"/>
                    </a:cubicBezTo>
                    <a:cubicBezTo>
                      <a:pt x="578" y="67"/>
                      <a:pt x="578" y="67"/>
                      <a:pt x="578" y="67"/>
                    </a:cubicBezTo>
                    <a:cubicBezTo>
                      <a:pt x="580" y="66"/>
                      <a:pt x="580" y="66"/>
                      <a:pt x="580" y="66"/>
                    </a:cubicBezTo>
                    <a:cubicBezTo>
                      <a:pt x="580" y="68"/>
                      <a:pt x="580" y="68"/>
                      <a:pt x="580" y="68"/>
                    </a:cubicBezTo>
                    <a:cubicBezTo>
                      <a:pt x="578" y="70"/>
                      <a:pt x="578" y="70"/>
                      <a:pt x="578" y="70"/>
                    </a:cubicBezTo>
                    <a:cubicBezTo>
                      <a:pt x="578" y="71"/>
                      <a:pt x="578" y="71"/>
                      <a:pt x="578" y="71"/>
                    </a:cubicBezTo>
                    <a:cubicBezTo>
                      <a:pt x="579" y="72"/>
                      <a:pt x="579" y="72"/>
                      <a:pt x="579" y="72"/>
                    </a:cubicBezTo>
                    <a:cubicBezTo>
                      <a:pt x="579" y="74"/>
                      <a:pt x="579" y="74"/>
                      <a:pt x="579" y="74"/>
                    </a:cubicBezTo>
                    <a:close/>
                    <a:moveTo>
                      <a:pt x="554" y="133"/>
                    </a:moveTo>
                    <a:cubicBezTo>
                      <a:pt x="554" y="131"/>
                      <a:pt x="554" y="131"/>
                      <a:pt x="554" y="131"/>
                    </a:cubicBezTo>
                    <a:cubicBezTo>
                      <a:pt x="555" y="129"/>
                      <a:pt x="555" y="129"/>
                      <a:pt x="555" y="129"/>
                    </a:cubicBezTo>
                    <a:cubicBezTo>
                      <a:pt x="555" y="128"/>
                      <a:pt x="555" y="128"/>
                      <a:pt x="555" y="128"/>
                    </a:cubicBezTo>
                    <a:cubicBezTo>
                      <a:pt x="554" y="126"/>
                      <a:pt x="554" y="126"/>
                      <a:pt x="554" y="126"/>
                    </a:cubicBezTo>
                    <a:cubicBezTo>
                      <a:pt x="553" y="125"/>
                      <a:pt x="553" y="125"/>
                      <a:pt x="553" y="125"/>
                    </a:cubicBezTo>
                    <a:cubicBezTo>
                      <a:pt x="553" y="123"/>
                      <a:pt x="553" y="123"/>
                      <a:pt x="553" y="123"/>
                    </a:cubicBezTo>
                    <a:cubicBezTo>
                      <a:pt x="554" y="122"/>
                      <a:pt x="554" y="122"/>
                      <a:pt x="554" y="122"/>
                    </a:cubicBezTo>
                    <a:cubicBezTo>
                      <a:pt x="556" y="122"/>
                      <a:pt x="556" y="122"/>
                      <a:pt x="556" y="122"/>
                    </a:cubicBezTo>
                    <a:cubicBezTo>
                      <a:pt x="558" y="124"/>
                      <a:pt x="558" y="124"/>
                      <a:pt x="558" y="124"/>
                    </a:cubicBezTo>
                    <a:cubicBezTo>
                      <a:pt x="559" y="124"/>
                      <a:pt x="559" y="124"/>
                      <a:pt x="559" y="124"/>
                    </a:cubicBezTo>
                    <a:cubicBezTo>
                      <a:pt x="559" y="122"/>
                      <a:pt x="559" y="122"/>
                      <a:pt x="559" y="122"/>
                    </a:cubicBezTo>
                    <a:cubicBezTo>
                      <a:pt x="557" y="119"/>
                      <a:pt x="557" y="119"/>
                      <a:pt x="557" y="119"/>
                    </a:cubicBezTo>
                    <a:cubicBezTo>
                      <a:pt x="555" y="118"/>
                      <a:pt x="555" y="118"/>
                      <a:pt x="555" y="118"/>
                    </a:cubicBezTo>
                    <a:cubicBezTo>
                      <a:pt x="555" y="117"/>
                      <a:pt x="555" y="117"/>
                      <a:pt x="555" y="117"/>
                    </a:cubicBezTo>
                    <a:cubicBezTo>
                      <a:pt x="557" y="117"/>
                      <a:pt x="557" y="117"/>
                      <a:pt x="557" y="117"/>
                    </a:cubicBezTo>
                    <a:cubicBezTo>
                      <a:pt x="556" y="115"/>
                      <a:pt x="556" y="115"/>
                      <a:pt x="556" y="115"/>
                    </a:cubicBezTo>
                    <a:cubicBezTo>
                      <a:pt x="557" y="113"/>
                      <a:pt x="557" y="113"/>
                      <a:pt x="557" y="113"/>
                    </a:cubicBezTo>
                    <a:cubicBezTo>
                      <a:pt x="557" y="110"/>
                      <a:pt x="557" y="110"/>
                      <a:pt x="557" y="110"/>
                    </a:cubicBezTo>
                    <a:cubicBezTo>
                      <a:pt x="558" y="108"/>
                      <a:pt x="558" y="108"/>
                      <a:pt x="558" y="108"/>
                    </a:cubicBezTo>
                    <a:cubicBezTo>
                      <a:pt x="559" y="108"/>
                      <a:pt x="559" y="108"/>
                      <a:pt x="559" y="108"/>
                    </a:cubicBezTo>
                    <a:cubicBezTo>
                      <a:pt x="561" y="107"/>
                      <a:pt x="561" y="107"/>
                      <a:pt x="561" y="107"/>
                    </a:cubicBezTo>
                    <a:cubicBezTo>
                      <a:pt x="561" y="104"/>
                      <a:pt x="561" y="104"/>
                      <a:pt x="561" y="104"/>
                    </a:cubicBezTo>
                    <a:cubicBezTo>
                      <a:pt x="562" y="103"/>
                      <a:pt x="562" y="103"/>
                      <a:pt x="562" y="103"/>
                    </a:cubicBezTo>
                    <a:cubicBezTo>
                      <a:pt x="564" y="100"/>
                      <a:pt x="564" y="100"/>
                      <a:pt x="564" y="100"/>
                    </a:cubicBezTo>
                    <a:cubicBezTo>
                      <a:pt x="566" y="101"/>
                      <a:pt x="566" y="101"/>
                      <a:pt x="566" y="101"/>
                    </a:cubicBezTo>
                    <a:cubicBezTo>
                      <a:pt x="569" y="104"/>
                      <a:pt x="569" y="104"/>
                      <a:pt x="569" y="104"/>
                    </a:cubicBezTo>
                    <a:cubicBezTo>
                      <a:pt x="570" y="106"/>
                      <a:pt x="570" y="106"/>
                      <a:pt x="570" y="106"/>
                    </a:cubicBezTo>
                    <a:cubicBezTo>
                      <a:pt x="569" y="107"/>
                      <a:pt x="569" y="107"/>
                      <a:pt x="569" y="107"/>
                    </a:cubicBezTo>
                    <a:cubicBezTo>
                      <a:pt x="570" y="109"/>
                      <a:pt x="570" y="109"/>
                      <a:pt x="570" y="109"/>
                    </a:cubicBezTo>
                    <a:cubicBezTo>
                      <a:pt x="571" y="109"/>
                      <a:pt x="571" y="109"/>
                      <a:pt x="571" y="109"/>
                    </a:cubicBezTo>
                    <a:cubicBezTo>
                      <a:pt x="571" y="111"/>
                      <a:pt x="571" y="111"/>
                      <a:pt x="571" y="111"/>
                    </a:cubicBezTo>
                    <a:cubicBezTo>
                      <a:pt x="572" y="112"/>
                      <a:pt x="572" y="112"/>
                      <a:pt x="572" y="112"/>
                    </a:cubicBezTo>
                    <a:cubicBezTo>
                      <a:pt x="572" y="113"/>
                      <a:pt x="572" y="113"/>
                      <a:pt x="572" y="113"/>
                    </a:cubicBezTo>
                    <a:cubicBezTo>
                      <a:pt x="573" y="115"/>
                      <a:pt x="573" y="115"/>
                      <a:pt x="573" y="115"/>
                    </a:cubicBezTo>
                    <a:cubicBezTo>
                      <a:pt x="575" y="115"/>
                      <a:pt x="575" y="115"/>
                      <a:pt x="575" y="115"/>
                    </a:cubicBezTo>
                    <a:cubicBezTo>
                      <a:pt x="575" y="116"/>
                      <a:pt x="575" y="116"/>
                      <a:pt x="575" y="116"/>
                    </a:cubicBezTo>
                    <a:cubicBezTo>
                      <a:pt x="576" y="118"/>
                      <a:pt x="576" y="118"/>
                      <a:pt x="576" y="118"/>
                    </a:cubicBezTo>
                    <a:cubicBezTo>
                      <a:pt x="577" y="122"/>
                      <a:pt x="577" y="122"/>
                      <a:pt x="577" y="122"/>
                    </a:cubicBezTo>
                    <a:cubicBezTo>
                      <a:pt x="575" y="123"/>
                      <a:pt x="575" y="123"/>
                      <a:pt x="575" y="123"/>
                    </a:cubicBezTo>
                    <a:cubicBezTo>
                      <a:pt x="574" y="124"/>
                      <a:pt x="574" y="124"/>
                      <a:pt x="574" y="124"/>
                    </a:cubicBezTo>
                    <a:cubicBezTo>
                      <a:pt x="572" y="124"/>
                      <a:pt x="572" y="124"/>
                      <a:pt x="572" y="124"/>
                    </a:cubicBezTo>
                    <a:cubicBezTo>
                      <a:pt x="571" y="125"/>
                      <a:pt x="571" y="125"/>
                      <a:pt x="571" y="125"/>
                    </a:cubicBezTo>
                    <a:cubicBezTo>
                      <a:pt x="572" y="126"/>
                      <a:pt x="572" y="126"/>
                      <a:pt x="572" y="126"/>
                    </a:cubicBezTo>
                    <a:cubicBezTo>
                      <a:pt x="573" y="126"/>
                      <a:pt x="573" y="126"/>
                      <a:pt x="573" y="126"/>
                    </a:cubicBezTo>
                    <a:cubicBezTo>
                      <a:pt x="573" y="129"/>
                      <a:pt x="573" y="129"/>
                      <a:pt x="573" y="129"/>
                    </a:cubicBezTo>
                    <a:cubicBezTo>
                      <a:pt x="573" y="131"/>
                      <a:pt x="573" y="131"/>
                      <a:pt x="573" y="131"/>
                    </a:cubicBezTo>
                    <a:cubicBezTo>
                      <a:pt x="570" y="133"/>
                      <a:pt x="570" y="133"/>
                      <a:pt x="570" y="133"/>
                    </a:cubicBezTo>
                    <a:cubicBezTo>
                      <a:pt x="569" y="134"/>
                      <a:pt x="569" y="134"/>
                      <a:pt x="569" y="134"/>
                    </a:cubicBezTo>
                    <a:cubicBezTo>
                      <a:pt x="567" y="134"/>
                      <a:pt x="567" y="134"/>
                      <a:pt x="567" y="134"/>
                    </a:cubicBezTo>
                    <a:cubicBezTo>
                      <a:pt x="567" y="132"/>
                      <a:pt x="567" y="132"/>
                      <a:pt x="567" y="132"/>
                    </a:cubicBezTo>
                    <a:cubicBezTo>
                      <a:pt x="566" y="131"/>
                      <a:pt x="566" y="131"/>
                      <a:pt x="566" y="131"/>
                    </a:cubicBezTo>
                    <a:cubicBezTo>
                      <a:pt x="564" y="133"/>
                      <a:pt x="564" y="133"/>
                      <a:pt x="564" y="133"/>
                    </a:cubicBezTo>
                    <a:cubicBezTo>
                      <a:pt x="563" y="132"/>
                      <a:pt x="563" y="132"/>
                      <a:pt x="563" y="132"/>
                    </a:cubicBezTo>
                    <a:cubicBezTo>
                      <a:pt x="560" y="133"/>
                      <a:pt x="560" y="133"/>
                      <a:pt x="560" y="133"/>
                    </a:cubicBezTo>
                    <a:cubicBezTo>
                      <a:pt x="559" y="133"/>
                      <a:pt x="559" y="133"/>
                      <a:pt x="559" y="133"/>
                    </a:cubicBezTo>
                    <a:cubicBezTo>
                      <a:pt x="558" y="131"/>
                      <a:pt x="558" y="131"/>
                      <a:pt x="558" y="131"/>
                    </a:cubicBezTo>
                    <a:cubicBezTo>
                      <a:pt x="557" y="131"/>
                      <a:pt x="557" y="131"/>
                      <a:pt x="557" y="131"/>
                    </a:cubicBezTo>
                    <a:cubicBezTo>
                      <a:pt x="556" y="132"/>
                      <a:pt x="556" y="132"/>
                      <a:pt x="556" y="132"/>
                    </a:cubicBezTo>
                    <a:cubicBezTo>
                      <a:pt x="554" y="133"/>
                      <a:pt x="554" y="133"/>
                      <a:pt x="554" y="133"/>
                    </a:cubicBezTo>
                    <a:close/>
                    <a:moveTo>
                      <a:pt x="577" y="130"/>
                    </a:moveTo>
                    <a:cubicBezTo>
                      <a:pt x="577" y="130"/>
                      <a:pt x="577" y="130"/>
                      <a:pt x="577" y="130"/>
                    </a:cubicBezTo>
                    <a:cubicBezTo>
                      <a:pt x="578" y="128"/>
                      <a:pt x="578" y="128"/>
                      <a:pt x="578" y="128"/>
                    </a:cubicBezTo>
                    <a:cubicBezTo>
                      <a:pt x="578" y="125"/>
                      <a:pt x="578" y="125"/>
                      <a:pt x="578" y="125"/>
                    </a:cubicBezTo>
                    <a:cubicBezTo>
                      <a:pt x="576" y="125"/>
                      <a:pt x="576" y="125"/>
                      <a:pt x="576" y="125"/>
                    </a:cubicBezTo>
                    <a:cubicBezTo>
                      <a:pt x="576" y="126"/>
                      <a:pt x="576" y="126"/>
                      <a:pt x="576" y="126"/>
                    </a:cubicBezTo>
                    <a:cubicBezTo>
                      <a:pt x="576" y="128"/>
                      <a:pt x="576" y="128"/>
                      <a:pt x="576" y="128"/>
                    </a:cubicBezTo>
                    <a:cubicBezTo>
                      <a:pt x="577" y="130"/>
                      <a:pt x="577" y="130"/>
                      <a:pt x="577" y="130"/>
                    </a:cubicBezTo>
                    <a:close/>
                    <a:moveTo>
                      <a:pt x="584" y="160"/>
                    </a:moveTo>
                    <a:cubicBezTo>
                      <a:pt x="584" y="161"/>
                      <a:pt x="584" y="161"/>
                      <a:pt x="584" y="161"/>
                    </a:cubicBezTo>
                    <a:cubicBezTo>
                      <a:pt x="585" y="163"/>
                      <a:pt x="585" y="163"/>
                      <a:pt x="585" y="163"/>
                    </a:cubicBezTo>
                    <a:cubicBezTo>
                      <a:pt x="587" y="163"/>
                      <a:pt x="587" y="163"/>
                      <a:pt x="587" y="163"/>
                    </a:cubicBezTo>
                    <a:cubicBezTo>
                      <a:pt x="590" y="162"/>
                      <a:pt x="590" y="162"/>
                      <a:pt x="590" y="162"/>
                    </a:cubicBezTo>
                    <a:cubicBezTo>
                      <a:pt x="591" y="159"/>
                      <a:pt x="591" y="159"/>
                      <a:pt x="591" y="159"/>
                    </a:cubicBezTo>
                    <a:cubicBezTo>
                      <a:pt x="592" y="157"/>
                      <a:pt x="592" y="157"/>
                      <a:pt x="592" y="157"/>
                    </a:cubicBezTo>
                    <a:cubicBezTo>
                      <a:pt x="591" y="157"/>
                      <a:pt x="591" y="157"/>
                      <a:pt x="591" y="157"/>
                    </a:cubicBezTo>
                    <a:cubicBezTo>
                      <a:pt x="591" y="156"/>
                      <a:pt x="591" y="156"/>
                      <a:pt x="591" y="156"/>
                    </a:cubicBezTo>
                    <a:cubicBezTo>
                      <a:pt x="590" y="154"/>
                      <a:pt x="590" y="154"/>
                      <a:pt x="590" y="154"/>
                    </a:cubicBezTo>
                    <a:cubicBezTo>
                      <a:pt x="589" y="154"/>
                      <a:pt x="589" y="154"/>
                      <a:pt x="589" y="154"/>
                    </a:cubicBezTo>
                    <a:cubicBezTo>
                      <a:pt x="588" y="152"/>
                      <a:pt x="588" y="152"/>
                      <a:pt x="588" y="152"/>
                    </a:cubicBezTo>
                    <a:cubicBezTo>
                      <a:pt x="586" y="152"/>
                      <a:pt x="586" y="152"/>
                      <a:pt x="586" y="152"/>
                    </a:cubicBezTo>
                    <a:cubicBezTo>
                      <a:pt x="584" y="154"/>
                      <a:pt x="584" y="154"/>
                      <a:pt x="584" y="154"/>
                    </a:cubicBezTo>
                    <a:cubicBezTo>
                      <a:pt x="584" y="156"/>
                      <a:pt x="584" y="156"/>
                      <a:pt x="584" y="156"/>
                    </a:cubicBezTo>
                    <a:cubicBezTo>
                      <a:pt x="583" y="158"/>
                      <a:pt x="583" y="158"/>
                      <a:pt x="583" y="158"/>
                    </a:cubicBezTo>
                    <a:cubicBezTo>
                      <a:pt x="584" y="160"/>
                      <a:pt x="584" y="160"/>
                      <a:pt x="584" y="160"/>
                    </a:cubicBezTo>
                    <a:close/>
                    <a:moveTo>
                      <a:pt x="581" y="161"/>
                    </a:moveTo>
                    <a:cubicBezTo>
                      <a:pt x="581" y="162"/>
                      <a:pt x="581" y="162"/>
                      <a:pt x="581" y="162"/>
                    </a:cubicBezTo>
                    <a:cubicBezTo>
                      <a:pt x="581" y="163"/>
                      <a:pt x="581" y="163"/>
                      <a:pt x="581" y="163"/>
                    </a:cubicBezTo>
                    <a:cubicBezTo>
                      <a:pt x="582" y="164"/>
                      <a:pt x="582" y="164"/>
                      <a:pt x="582" y="164"/>
                    </a:cubicBezTo>
                    <a:cubicBezTo>
                      <a:pt x="583" y="163"/>
                      <a:pt x="583" y="163"/>
                      <a:pt x="583" y="163"/>
                    </a:cubicBezTo>
                    <a:cubicBezTo>
                      <a:pt x="583" y="162"/>
                      <a:pt x="583" y="162"/>
                      <a:pt x="583" y="162"/>
                    </a:cubicBezTo>
                    <a:cubicBezTo>
                      <a:pt x="582" y="162"/>
                      <a:pt x="582" y="162"/>
                      <a:pt x="582" y="162"/>
                    </a:cubicBezTo>
                    <a:cubicBezTo>
                      <a:pt x="582" y="160"/>
                      <a:pt x="582" y="160"/>
                      <a:pt x="582" y="160"/>
                    </a:cubicBezTo>
                    <a:cubicBezTo>
                      <a:pt x="581" y="161"/>
                      <a:pt x="581" y="161"/>
                      <a:pt x="581" y="161"/>
                    </a:cubicBezTo>
                    <a:close/>
                    <a:moveTo>
                      <a:pt x="553" y="145"/>
                    </a:moveTo>
                    <a:cubicBezTo>
                      <a:pt x="553" y="142"/>
                      <a:pt x="553" y="142"/>
                      <a:pt x="553" y="142"/>
                    </a:cubicBezTo>
                    <a:cubicBezTo>
                      <a:pt x="554" y="139"/>
                      <a:pt x="554" y="139"/>
                      <a:pt x="554" y="139"/>
                    </a:cubicBezTo>
                    <a:cubicBezTo>
                      <a:pt x="555" y="138"/>
                      <a:pt x="555" y="138"/>
                      <a:pt x="555" y="138"/>
                    </a:cubicBezTo>
                    <a:cubicBezTo>
                      <a:pt x="557" y="138"/>
                      <a:pt x="557" y="138"/>
                      <a:pt x="557" y="138"/>
                    </a:cubicBezTo>
                    <a:cubicBezTo>
                      <a:pt x="558" y="137"/>
                      <a:pt x="558" y="137"/>
                      <a:pt x="558" y="137"/>
                    </a:cubicBezTo>
                    <a:cubicBezTo>
                      <a:pt x="560" y="138"/>
                      <a:pt x="560" y="138"/>
                      <a:pt x="560" y="138"/>
                    </a:cubicBezTo>
                    <a:cubicBezTo>
                      <a:pt x="561" y="138"/>
                      <a:pt x="561" y="138"/>
                      <a:pt x="561" y="138"/>
                    </a:cubicBezTo>
                    <a:cubicBezTo>
                      <a:pt x="562" y="138"/>
                      <a:pt x="562" y="138"/>
                      <a:pt x="562" y="138"/>
                    </a:cubicBezTo>
                    <a:cubicBezTo>
                      <a:pt x="563" y="139"/>
                      <a:pt x="563" y="139"/>
                      <a:pt x="563" y="139"/>
                    </a:cubicBezTo>
                    <a:cubicBezTo>
                      <a:pt x="564" y="139"/>
                      <a:pt x="564" y="139"/>
                      <a:pt x="564" y="139"/>
                    </a:cubicBezTo>
                    <a:cubicBezTo>
                      <a:pt x="565" y="139"/>
                      <a:pt x="565" y="139"/>
                      <a:pt x="565" y="139"/>
                    </a:cubicBezTo>
                    <a:cubicBezTo>
                      <a:pt x="566" y="139"/>
                      <a:pt x="566" y="139"/>
                      <a:pt x="566" y="139"/>
                    </a:cubicBezTo>
                    <a:cubicBezTo>
                      <a:pt x="568" y="140"/>
                      <a:pt x="568" y="140"/>
                      <a:pt x="568" y="140"/>
                    </a:cubicBezTo>
                    <a:cubicBezTo>
                      <a:pt x="570" y="142"/>
                      <a:pt x="570" y="142"/>
                      <a:pt x="570" y="142"/>
                    </a:cubicBezTo>
                    <a:cubicBezTo>
                      <a:pt x="571" y="143"/>
                      <a:pt x="571" y="143"/>
                      <a:pt x="571" y="143"/>
                    </a:cubicBezTo>
                    <a:cubicBezTo>
                      <a:pt x="570" y="144"/>
                      <a:pt x="570" y="144"/>
                      <a:pt x="570" y="144"/>
                    </a:cubicBezTo>
                    <a:cubicBezTo>
                      <a:pt x="571" y="145"/>
                      <a:pt x="571" y="145"/>
                      <a:pt x="571" y="145"/>
                    </a:cubicBezTo>
                    <a:cubicBezTo>
                      <a:pt x="572" y="145"/>
                      <a:pt x="572" y="145"/>
                      <a:pt x="572" y="145"/>
                    </a:cubicBezTo>
                    <a:cubicBezTo>
                      <a:pt x="574" y="144"/>
                      <a:pt x="574" y="144"/>
                      <a:pt x="574" y="144"/>
                    </a:cubicBezTo>
                    <a:cubicBezTo>
                      <a:pt x="575" y="145"/>
                      <a:pt x="575" y="145"/>
                      <a:pt x="575" y="145"/>
                    </a:cubicBezTo>
                    <a:cubicBezTo>
                      <a:pt x="576" y="146"/>
                      <a:pt x="576" y="146"/>
                      <a:pt x="576" y="146"/>
                    </a:cubicBezTo>
                    <a:cubicBezTo>
                      <a:pt x="576" y="148"/>
                      <a:pt x="576" y="148"/>
                      <a:pt x="576" y="148"/>
                    </a:cubicBezTo>
                    <a:cubicBezTo>
                      <a:pt x="576" y="149"/>
                      <a:pt x="576" y="149"/>
                      <a:pt x="576" y="149"/>
                    </a:cubicBezTo>
                    <a:cubicBezTo>
                      <a:pt x="575" y="149"/>
                      <a:pt x="575" y="149"/>
                      <a:pt x="575" y="149"/>
                    </a:cubicBezTo>
                    <a:cubicBezTo>
                      <a:pt x="573" y="149"/>
                      <a:pt x="573" y="149"/>
                      <a:pt x="573" y="149"/>
                    </a:cubicBezTo>
                    <a:cubicBezTo>
                      <a:pt x="571" y="151"/>
                      <a:pt x="571" y="151"/>
                      <a:pt x="571" y="151"/>
                    </a:cubicBezTo>
                    <a:cubicBezTo>
                      <a:pt x="569" y="151"/>
                      <a:pt x="569" y="151"/>
                      <a:pt x="569" y="151"/>
                    </a:cubicBezTo>
                    <a:cubicBezTo>
                      <a:pt x="567" y="150"/>
                      <a:pt x="567" y="150"/>
                      <a:pt x="567" y="150"/>
                    </a:cubicBezTo>
                    <a:cubicBezTo>
                      <a:pt x="564" y="150"/>
                      <a:pt x="564" y="150"/>
                      <a:pt x="564" y="150"/>
                    </a:cubicBezTo>
                    <a:cubicBezTo>
                      <a:pt x="561" y="148"/>
                      <a:pt x="561" y="148"/>
                      <a:pt x="561" y="148"/>
                    </a:cubicBezTo>
                    <a:cubicBezTo>
                      <a:pt x="559" y="148"/>
                      <a:pt x="559" y="148"/>
                      <a:pt x="559" y="148"/>
                    </a:cubicBezTo>
                    <a:cubicBezTo>
                      <a:pt x="557" y="147"/>
                      <a:pt x="557" y="147"/>
                      <a:pt x="557" y="147"/>
                    </a:cubicBezTo>
                    <a:cubicBezTo>
                      <a:pt x="556" y="145"/>
                      <a:pt x="556" y="145"/>
                      <a:pt x="556" y="145"/>
                    </a:cubicBezTo>
                    <a:cubicBezTo>
                      <a:pt x="554" y="145"/>
                      <a:pt x="554" y="145"/>
                      <a:pt x="554" y="145"/>
                    </a:cubicBezTo>
                    <a:cubicBezTo>
                      <a:pt x="553" y="145"/>
                      <a:pt x="553" y="145"/>
                      <a:pt x="553" y="145"/>
                    </a:cubicBezTo>
                    <a:close/>
                    <a:moveTo>
                      <a:pt x="529" y="112"/>
                    </a:moveTo>
                    <a:cubicBezTo>
                      <a:pt x="530" y="112"/>
                      <a:pt x="530" y="112"/>
                      <a:pt x="530" y="112"/>
                    </a:cubicBezTo>
                    <a:cubicBezTo>
                      <a:pt x="531" y="111"/>
                      <a:pt x="531" y="111"/>
                      <a:pt x="531" y="111"/>
                    </a:cubicBezTo>
                    <a:cubicBezTo>
                      <a:pt x="531" y="111"/>
                      <a:pt x="531" y="111"/>
                      <a:pt x="531" y="111"/>
                    </a:cubicBezTo>
                    <a:cubicBezTo>
                      <a:pt x="531" y="113"/>
                      <a:pt x="531" y="113"/>
                      <a:pt x="531" y="113"/>
                    </a:cubicBezTo>
                    <a:cubicBezTo>
                      <a:pt x="530" y="113"/>
                      <a:pt x="530" y="113"/>
                      <a:pt x="530" y="113"/>
                    </a:cubicBezTo>
                    <a:cubicBezTo>
                      <a:pt x="529" y="112"/>
                      <a:pt x="529" y="112"/>
                      <a:pt x="529" y="112"/>
                    </a:cubicBezTo>
                    <a:close/>
                    <a:moveTo>
                      <a:pt x="531" y="124"/>
                    </a:moveTo>
                    <a:cubicBezTo>
                      <a:pt x="532" y="127"/>
                      <a:pt x="532" y="127"/>
                      <a:pt x="532" y="127"/>
                    </a:cubicBezTo>
                    <a:cubicBezTo>
                      <a:pt x="533" y="128"/>
                      <a:pt x="533" y="128"/>
                      <a:pt x="533" y="128"/>
                    </a:cubicBezTo>
                    <a:cubicBezTo>
                      <a:pt x="534" y="128"/>
                      <a:pt x="534" y="128"/>
                      <a:pt x="534" y="128"/>
                    </a:cubicBezTo>
                    <a:cubicBezTo>
                      <a:pt x="536" y="128"/>
                      <a:pt x="536" y="128"/>
                      <a:pt x="536" y="128"/>
                    </a:cubicBezTo>
                    <a:cubicBezTo>
                      <a:pt x="537" y="129"/>
                      <a:pt x="537" y="129"/>
                      <a:pt x="537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41" y="127"/>
                      <a:pt x="541" y="127"/>
                      <a:pt x="541" y="127"/>
                    </a:cubicBezTo>
                    <a:cubicBezTo>
                      <a:pt x="541" y="126"/>
                      <a:pt x="541" y="126"/>
                      <a:pt x="541" y="126"/>
                    </a:cubicBezTo>
                    <a:cubicBezTo>
                      <a:pt x="542" y="125"/>
                      <a:pt x="542" y="125"/>
                      <a:pt x="542" y="125"/>
                    </a:cubicBezTo>
                    <a:cubicBezTo>
                      <a:pt x="544" y="123"/>
                      <a:pt x="544" y="123"/>
                      <a:pt x="544" y="123"/>
                    </a:cubicBezTo>
                    <a:cubicBezTo>
                      <a:pt x="544" y="120"/>
                      <a:pt x="544" y="120"/>
                      <a:pt x="544" y="120"/>
                    </a:cubicBezTo>
                    <a:cubicBezTo>
                      <a:pt x="545" y="117"/>
                      <a:pt x="545" y="117"/>
                      <a:pt x="545" y="117"/>
                    </a:cubicBezTo>
                    <a:cubicBezTo>
                      <a:pt x="546" y="115"/>
                      <a:pt x="546" y="115"/>
                      <a:pt x="546" y="115"/>
                    </a:cubicBezTo>
                    <a:cubicBezTo>
                      <a:pt x="545" y="114"/>
                      <a:pt x="545" y="114"/>
                      <a:pt x="545" y="114"/>
                    </a:cubicBezTo>
                    <a:cubicBezTo>
                      <a:pt x="545" y="113"/>
                      <a:pt x="545" y="113"/>
                      <a:pt x="545" y="113"/>
                    </a:cubicBezTo>
                    <a:cubicBezTo>
                      <a:pt x="546" y="112"/>
                      <a:pt x="546" y="112"/>
                      <a:pt x="546" y="112"/>
                    </a:cubicBezTo>
                    <a:cubicBezTo>
                      <a:pt x="548" y="109"/>
                      <a:pt x="548" y="109"/>
                      <a:pt x="548" y="109"/>
                    </a:cubicBezTo>
                    <a:cubicBezTo>
                      <a:pt x="549" y="109"/>
                      <a:pt x="549" y="109"/>
                      <a:pt x="549" y="109"/>
                    </a:cubicBezTo>
                    <a:cubicBezTo>
                      <a:pt x="550" y="108"/>
                      <a:pt x="550" y="108"/>
                      <a:pt x="550" y="108"/>
                    </a:cubicBezTo>
                    <a:cubicBezTo>
                      <a:pt x="553" y="106"/>
                      <a:pt x="553" y="106"/>
                      <a:pt x="553" y="106"/>
                    </a:cubicBezTo>
                    <a:cubicBezTo>
                      <a:pt x="553" y="103"/>
                      <a:pt x="553" y="103"/>
                      <a:pt x="553" y="103"/>
                    </a:cubicBezTo>
                    <a:cubicBezTo>
                      <a:pt x="553" y="102"/>
                      <a:pt x="553" y="102"/>
                      <a:pt x="553" y="102"/>
                    </a:cubicBezTo>
                    <a:cubicBezTo>
                      <a:pt x="555" y="100"/>
                      <a:pt x="555" y="100"/>
                      <a:pt x="555" y="100"/>
                    </a:cubicBezTo>
                    <a:cubicBezTo>
                      <a:pt x="555" y="99"/>
                      <a:pt x="555" y="99"/>
                      <a:pt x="555" y="99"/>
                    </a:cubicBezTo>
                    <a:cubicBezTo>
                      <a:pt x="554" y="97"/>
                      <a:pt x="554" y="97"/>
                      <a:pt x="554" y="97"/>
                    </a:cubicBezTo>
                    <a:cubicBezTo>
                      <a:pt x="553" y="95"/>
                      <a:pt x="553" y="95"/>
                      <a:pt x="553" y="95"/>
                    </a:cubicBezTo>
                    <a:cubicBezTo>
                      <a:pt x="552" y="95"/>
                      <a:pt x="552" y="95"/>
                      <a:pt x="552" y="95"/>
                    </a:cubicBezTo>
                    <a:cubicBezTo>
                      <a:pt x="551" y="94"/>
                      <a:pt x="551" y="94"/>
                      <a:pt x="551" y="94"/>
                    </a:cubicBezTo>
                    <a:cubicBezTo>
                      <a:pt x="549" y="94"/>
                      <a:pt x="549" y="94"/>
                      <a:pt x="549" y="94"/>
                    </a:cubicBezTo>
                    <a:cubicBezTo>
                      <a:pt x="548" y="93"/>
                      <a:pt x="548" y="93"/>
                      <a:pt x="548" y="93"/>
                    </a:cubicBezTo>
                    <a:cubicBezTo>
                      <a:pt x="549" y="92"/>
                      <a:pt x="549" y="92"/>
                      <a:pt x="549" y="92"/>
                    </a:cubicBezTo>
                    <a:cubicBezTo>
                      <a:pt x="552" y="90"/>
                      <a:pt x="552" y="90"/>
                      <a:pt x="552" y="90"/>
                    </a:cubicBezTo>
                    <a:cubicBezTo>
                      <a:pt x="552" y="89"/>
                      <a:pt x="552" y="89"/>
                      <a:pt x="552" y="89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1" y="85"/>
                      <a:pt x="551" y="85"/>
                      <a:pt x="551" y="85"/>
                    </a:cubicBezTo>
                    <a:cubicBezTo>
                      <a:pt x="551" y="84"/>
                      <a:pt x="551" y="84"/>
                      <a:pt x="551" y="84"/>
                    </a:cubicBezTo>
                    <a:cubicBezTo>
                      <a:pt x="549" y="82"/>
                      <a:pt x="549" y="82"/>
                      <a:pt x="549" y="82"/>
                    </a:cubicBezTo>
                    <a:cubicBezTo>
                      <a:pt x="548" y="82"/>
                      <a:pt x="548" y="82"/>
                      <a:pt x="548" y="82"/>
                    </a:cubicBezTo>
                    <a:cubicBezTo>
                      <a:pt x="546" y="83"/>
                      <a:pt x="546" y="83"/>
                      <a:pt x="546" y="83"/>
                    </a:cubicBezTo>
                    <a:cubicBezTo>
                      <a:pt x="543" y="84"/>
                      <a:pt x="543" y="84"/>
                      <a:pt x="543" y="84"/>
                    </a:cubicBezTo>
                    <a:cubicBezTo>
                      <a:pt x="543" y="85"/>
                      <a:pt x="543" y="85"/>
                      <a:pt x="543" y="85"/>
                    </a:cubicBezTo>
                    <a:cubicBezTo>
                      <a:pt x="541" y="87"/>
                      <a:pt x="541" y="87"/>
                      <a:pt x="541" y="87"/>
                    </a:cubicBezTo>
                    <a:cubicBezTo>
                      <a:pt x="540" y="87"/>
                      <a:pt x="540" y="87"/>
                      <a:pt x="540" y="87"/>
                    </a:cubicBezTo>
                    <a:cubicBezTo>
                      <a:pt x="539" y="85"/>
                      <a:pt x="539" y="85"/>
                      <a:pt x="539" y="85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2" y="83"/>
                      <a:pt x="542" y="83"/>
                      <a:pt x="542" y="83"/>
                    </a:cubicBezTo>
                    <a:cubicBezTo>
                      <a:pt x="542" y="80"/>
                      <a:pt x="542" y="80"/>
                      <a:pt x="542" y="80"/>
                    </a:cubicBezTo>
                    <a:cubicBezTo>
                      <a:pt x="543" y="76"/>
                      <a:pt x="543" y="76"/>
                      <a:pt x="543" y="76"/>
                    </a:cubicBezTo>
                    <a:cubicBezTo>
                      <a:pt x="543" y="74"/>
                      <a:pt x="543" y="74"/>
                      <a:pt x="543" y="74"/>
                    </a:cubicBezTo>
                    <a:cubicBezTo>
                      <a:pt x="541" y="73"/>
                      <a:pt x="541" y="73"/>
                      <a:pt x="541" y="73"/>
                    </a:cubicBezTo>
                    <a:cubicBezTo>
                      <a:pt x="541" y="72"/>
                      <a:pt x="541" y="72"/>
                      <a:pt x="541" y="72"/>
                    </a:cubicBezTo>
                    <a:cubicBezTo>
                      <a:pt x="538" y="70"/>
                      <a:pt x="538" y="70"/>
                      <a:pt x="538" y="70"/>
                    </a:cubicBezTo>
                    <a:cubicBezTo>
                      <a:pt x="537" y="71"/>
                      <a:pt x="537" y="71"/>
                      <a:pt x="537" y="71"/>
                    </a:cubicBezTo>
                    <a:cubicBezTo>
                      <a:pt x="534" y="70"/>
                      <a:pt x="534" y="70"/>
                      <a:pt x="534" y="70"/>
                    </a:cubicBezTo>
                    <a:cubicBezTo>
                      <a:pt x="532" y="72"/>
                      <a:pt x="532" y="72"/>
                      <a:pt x="532" y="72"/>
                    </a:cubicBezTo>
                    <a:cubicBezTo>
                      <a:pt x="531" y="72"/>
                      <a:pt x="531" y="72"/>
                      <a:pt x="531" y="72"/>
                    </a:cubicBezTo>
                    <a:cubicBezTo>
                      <a:pt x="530" y="69"/>
                      <a:pt x="530" y="69"/>
                      <a:pt x="530" y="69"/>
                    </a:cubicBezTo>
                    <a:cubicBezTo>
                      <a:pt x="530" y="68"/>
                      <a:pt x="530" y="68"/>
                      <a:pt x="530" y="68"/>
                    </a:cubicBezTo>
                    <a:cubicBezTo>
                      <a:pt x="528" y="70"/>
                      <a:pt x="528" y="70"/>
                      <a:pt x="528" y="70"/>
                    </a:cubicBezTo>
                    <a:cubicBezTo>
                      <a:pt x="528" y="71"/>
                      <a:pt x="528" y="71"/>
                      <a:pt x="528" y="71"/>
                    </a:cubicBezTo>
                    <a:cubicBezTo>
                      <a:pt x="526" y="72"/>
                      <a:pt x="526" y="72"/>
                      <a:pt x="526" y="72"/>
                    </a:cubicBezTo>
                    <a:cubicBezTo>
                      <a:pt x="525" y="74"/>
                      <a:pt x="525" y="74"/>
                      <a:pt x="525" y="74"/>
                    </a:cubicBezTo>
                    <a:cubicBezTo>
                      <a:pt x="523" y="77"/>
                      <a:pt x="523" y="77"/>
                      <a:pt x="523" y="77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25" y="80"/>
                      <a:pt x="525" y="80"/>
                      <a:pt x="525" y="80"/>
                    </a:cubicBezTo>
                    <a:cubicBezTo>
                      <a:pt x="526" y="79"/>
                      <a:pt x="526" y="79"/>
                      <a:pt x="526" y="79"/>
                    </a:cubicBezTo>
                    <a:cubicBezTo>
                      <a:pt x="528" y="78"/>
                      <a:pt x="528" y="78"/>
                      <a:pt x="528" y="78"/>
                    </a:cubicBezTo>
                    <a:cubicBezTo>
                      <a:pt x="528" y="79"/>
                      <a:pt x="528" y="79"/>
                      <a:pt x="528" y="79"/>
                    </a:cubicBezTo>
                    <a:cubicBezTo>
                      <a:pt x="526" y="81"/>
                      <a:pt x="526" y="81"/>
                      <a:pt x="526" y="81"/>
                    </a:cubicBezTo>
                    <a:cubicBezTo>
                      <a:pt x="524" y="83"/>
                      <a:pt x="524" y="83"/>
                      <a:pt x="524" y="83"/>
                    </a:cubicBezTo>
                    <a:cubicBezTo>
                      <a:pt x="522" y="85"/>
                      <a:pt x="522" y="85"/>
                      <a:pt x="522" y="85"/>
                    </a:cubicBezTo>
                    <a:cubicBezTo>
                      <a:pt x="522" y="86"/>
                      <a:pt x="522" y="86"/>
                      <a:pt x="522" y="86"/>
                    </a:cubicBezTo>
                    <a:cubicBezTo>
                      <a:pt x="525" y="85"/>
                      <a:pt x="525" y="85"/>
                      <a:pt x="525" y="85"/>
                    </a:cubicBezTo>
                    <a:cubicBezTo>
                      <a:pt x="528" y="83"/>
                      <a:pt x="528" y="83"/>
                      <a:pt x="528" y="83"/>
                    </a:cubicBezTo>
                    <a:cubicBezTo>
                      <a:pt x="529" y="83"/>
                      <a:pt x="529" y="83"/>
                      <a:pt x="529" y="83"/>
                    </a:cubicBezTo>
                    <a:cubicBezTo>
                      <a:pt x="530" y="82"/>
                      <a:pt x="530" y="82"/>
                      <a:pt x="530" y="82"/>
                    </a:cubicBezTo>
                    <a:cubicBezTo>
                      <a:pt x="531" y="83"/>
                      <a:pt x="531" y="83"/>
                      <a:pt x="531" y="83"/>
                    </a:cubicBezTo>
                    <a:cubicBezTo>
                      <a:pt x="530" y="86"/>
                      <a:pt x="530" y="86"/>
                      <a:pt x="530" y="86"/>
                    </a:cubicBezTo>
                    <a:cubicBezTo>
                      <a:pt x="529" y="86"/>
                      <a:pt x="529" y="86"/>
                      <a:pt x="529" y="86"/>
                    </a:cubicBezTo>
                    <a:cubicBezTo>
                      <a:pt x="527" y="87"/>
                      <a:pt x="527" y="87"/>
                      <a:pt x="527" y="87"/>
                    </a:cubicBezTo>
                    <a:cubicBezTo>
                      <a:pt x="526" y="89"/>
                      <a:pt x="526" y="89"/>
                      <a:pt x="526" y="89"/>
                    </a:cubicBezTo>
                    <a:cubicBezTo>
                      <a:pt x="527" y="90"/>
                      <a:pt x="527" y="90"/>
                      <a:pt x="527" y="90"/>
                    </a:cubicBezTo>
                    <a:cubicBezTo>
                      <a:pt x="530" y="90"/>
                      <a:pt x="530" y="90"/>
                      <a:pt x="530" y="90"/>
                    </a:cubicBezTo>
                    <a:cubicBezTo>
                      <a:pt x="531" y="91"/>
                      <a:pt x="531" y="91"/>
                      <a:pt x="531" y="91"/>
                    </a:cubicBezTo>
                    <a:cubicBezTo>
                      <a:pt x="529" y="92"/>
                      <a:pt x="529" y="92"/>
                      <a:pt x="529" y="92"/>
                    </a:cubicBezTo>
                    <a:cubicBezTo>
                      <a:pt x="526" y="93"/>
                      <a:pt x="526" y="93"/>
                      <a:pt x="526" y="93"/>
                    </a:cubicBezTo>
                    <a:cubicBezTo>
                      <a:pt x="525" y="93"/>
                      <a:pt x="525" y="93"/>
                      <a:pt x="525" y="93"/>
                    </a:cubicBezTo>
                    <a:cubicBezTo>
                      <a:pt x="525" y="94"/>
                      <a:pt x="525" y="94"/>
                      <a:pt x="525" y="94"/>
                    </a:cubicBezTo>
                    <a:cubicBezTo>
                      <a:pt x="527" y="95"/>
                      <a:pt x="527" y="95"/>
                      <a:pt x="527" y="95"/>
                    </a:cubicBezTo>
                    <a:cubicBezTo>
                      <a:pt x="527" y="96"/>
                      <a:pt x="527" y="96"/>
                      <a:pt x="527" y="96"/>
                    </a:cubicBezTo>
                    <a:cubicBezTo>
                      <a:pt x="524" y="99"/>
                      <a:pt x="524" y="99"/>
                      <a:pt x="524" y="99"/>
                    </a:cubicBezTo>
                    <a:cubicBezTo>
                      <a:pt x="523" y="99"/>
                      <a:pt x="523" y="99"/>
                      <a:pt x="523" y="99"/>
                    </a:cubicBezTo>
                    <a:cubicBezTo>
                      <a:pt x="522" y="96"/>
                      <a:pt x="522" y="96"/>
                      <a:pt x="522" y="96"/>
                    </a:cubicBezTo>
                    <a:cubicBezTo>
                      <a:pt x="520" y="95"/>
                      <a:pt x="520" y="95"/>
                      <a:pt x="520" y="95"/>
                    </a:cubicBezTo>
                    <a:cubicBezTo>
                      <a:pt x="519" y="93"/>
                      <a:pt x="519" y="93"/>
                      <a:pt x="519" y="93"/>
                    </a:cubicBezTo>
                    <a:cubicBezTo>
                      <a:pt x="515" y="95"/>
                      <a:pt x="515" y="95"/>
                      <a:pt x="515" y="95"/>
                    </a:cubicBezTo>
                    <a:cubicBezTo>
                      <a:pt x="515" y="96"/>
                      <a:pt x="515" y="96"/>
                      <a:pt x="515" y="96"/>
                    </a:cubicBezTo>
                    <a:cubicBezTo>
                      <a:pt x="513" y="99"/>
                      <a:pt x="513" y="99"/>
                      <a:pt x="513" y="99"/>
                    </a:cubicBezTo>
                    <a:cubicBezTo>
                      <a:pt x="515" y="102"/>
                      <a:pt x="515" y="102"/>
                      <a:pt x="515" y="102"/>
                    </a:cubicBezTo>
                    <a:cubicBezTo>
                      <a:pt x="515" y="104"/>
                      <a:pt x="515" y="104"/>
                      <a:pt x="515" y="104"/>
                    </a:cubicBezTo>
                    <a:cubicBezTo>
                      <a:pt x="516" y="104"/>
                      <a:pt x="516" y="104"/>
                      <a:pt x="516" y="104"/>
                    </a:cubicBezTo>
                    <a:cubicBezTo>
                      <a:pt x="518" y="103"/>
                      <a:pt x="518" y="103"/>
                      <a:pt x="518" y="103"/>
                    </a:cubicBezTo>
                    <a:cubicBezTo>
                      <a:pt x="519" y="103"/>
                      <a:pt x="519" y="103"/>
                      <a:pt x="519" y="103"/>
                    </a:cubicBezTo>
                    <a:cubicBezTo>
                      <a:pt x="522" y="104"/>
                      <a:pt x="522" y="104"/>
                      <a:pt x="522" y="104"/>
                    </a:cubicBezTo>
                    <a:cubicBezTo>
                      <a:pt x="525" y="104"/>
                      <a:pt x="525" y="104"/>
                      <a:pt x="525" y="104"/>
                    </a:cubicBezTo>
                    <a:cubicBezTo>
                      <a:pt x="526" y="105"/>
                      <a:pt x="526" y="105"/>
                      <a:pt x="526" y="105"/>
                    </a:cubicBezTo>
                    <a:cubicBezTo>
                      <a:pt x="529" y="104"/>
                      <a:pt x="529" y="104"/>
                      <a:pt x="529" y="104"/>
                    </a:cubicBezTo>
                    <a:cubicBezTo>
                      <a:pt x="529" y="105"/>
                      <a:pt x="529" y="105"/>
                      <a:pt x="529" y="105"/>
                    </a:cubicBezTo>
                    <a:cubicBezTo>
                      <a:pt x="527" y="106"/>
                      <a:pt x="527" y="106"/>
                      <a:pt x="527" y="106"/>
                    </a:cubicBezTo>
                    <a:cubicBezTo>
                      <a:pt x="526" y="107"/>
                      <a:pt x="526" y="107"/>
                      <a:pt x="526" y="107"/>
                    </a:cubicBezTo>
                    <a:cubicBezTo>
                      <a:pt x="527" y="109"/>
                      <a:pt x="527" y="109"/>
                      <a:pt x="527" y="109"/>
                    </a:cubicBezTo>
                    <a:cubicBezTo>
                      <a:pt x="529" y="108"/>
                      <a:pt x="529" y="108"/>
                      <a:pt x="529" y="108"/>
                    </a:cubicBezTo>
                    <a:cubicBezTo>
                      <a:pt x="531" y="110"/>
                      <a:pt x="531" y="110"/>
                      <a:pt x="531" y="110"/>
                    </a:cubicBezTo>
                    <a:cubicBezTo>
                      <a:pt x="533" y="113"/>
                      <a:pt x="533" y="113"/>
                      <a:pt x="533" y="113"/>
                    </a:cubicBezTo>
                    <a:cubicBezTo>
                      <a:pt x="534" y="113"/>
                      <a:pt x="534" y="113"/>
                      <a:pt x="534" y="113"/>
                    </a:cubicBezTo>
                    <a:cubicBezTo>
                      <a:pt x="535" y="114"/>
                      <a:pt x="535" y="114"/>
                      <a:pt x="535" y="114"/>
                    </a:cubicBezTo>
                    <a:cubicBezTo>
                      <a:pt x="534" y="115"/>
                      <a:pt x="534" y="115"/>
                      <a:pt x="534" y="115"/>
                    </a:cubicBezTo>
                    <a:cubicBezTo>
                      <a:pt x="534" y="118"/>
                      <a:pt x="534" y="118"/>
                      <a:pt x="534" y="118"/>
                    </a:cubicBezTo>
                    <a:cubicBezTo>
                      <a:pt x="531" y="124"/>
                      <a:pt x="531" y="124"/>
                      <a:pt x="531" y="124"/>
                    </a:cubicBezTo>
                    <a:close/>
                    <a:moveTo>
                      <a:pt x="521" y="109"/>
                    </a:moveTo>
                    <a:cubicBezTo>
                      <a:pt x="521" y="107"/>
                      <a:pt x="521" y="107"/>
                      <a:pt x="521" y="107"/>
                    </a:cubicBezTo>
                    <a:cubicBezTo>
                      <a:pt x="523" y="106"/>
                      <a:pt x="523" y="106"/>
                      <a:pt x="523" y="106"/>
                    </a:cubicBezTo>
                    <a:cubicBezTo>
                      <a:pt x="525" y="106"/>
                      <a:pt x="525" y="106"/>
                      <a:pt x="525" y="106"/>
                    </a:cubicBezTo>
                    <a:cubicBezTo>
                      <a:pt x="524" y="107"/>
                      <a:pt x="524" y="107"/>
                      <a:pt x="524" y="107"/>
                    </a:cubicBezTo>
                    <a:cubicBezTo>
                      <a:pt x="524" y="108"/>
                      <a:pt x="524" y="108"/>
                      <a:pt x="524" y="108"/>
                    </a:cubicBezTo>
                    <a:cubicBezTo>
                      <a:pt x="522" y="109"/>
                      <a:pt x="522" y="109"/>
                      <a:pt x="522" y="109"/>
                    </a:cubicBezTo>
                    <a:cubicBezTo>
                      <a:pt x="521" y="109"/>
                      <a:pt x="521" y="109"/>
                      <a:pt x="521" y="109"/>
                    </a:cubicBezTo>
                    <a:close/>
                    <a:moveTo>
                      <a:pt x="517" y="120"/>
                    </a:moveTo>
                    <a:cubicBezTo>
                      <a:pt x="517" y="118"/>
                      <a:pt x="517" y="118"/>
                      <a:pt x="517" y="118"/>
                    </a:cubicBezTo>
                    <a:cubicBezTo>
                      <a:pt x="521" y="118"/>
                      <a:pt x="521" y="118"/>
                      <a:pt x="521" y="118"/>
                    </a:cubicBezTo>
                    <a:cubicBezTo>
                      <a:pt x="523" y="119"/>
                      <a:pt x="523" y="119"/>
                      <a:pt x="523" y="119"/>
                    </a:cubicBezTo>
                    <a:cubicBezTo>
                      <a:pt x="526" y="122"/>
                      <a:pt x="526" y="122"/>
                      <a:pt x="526" y="122"/>
                    </a:cubicBezTo>
                    <a:cubicBezTo>
                      <a:pt x="526" y="124"/>
                      <a:pt x="526" y="124"/>
                      <a:pt x="526" y="124"/>
                    </a:cubicBezTo>
                    <a:cubicBezTo>
                      <a:pt x="526" y="127"/>
                      <a:pt x="526" y="127"/>
                      <a:pt x="526" y="127"/>
                    </a:cubicBezTo>
                    <a:cubicBezTo>
                      <a:pt x="525" y="127"/>
                      <a:pt x="525" y="127"/>
                      <a:pt x="525" y="127"/>
                    </a:cubicBezTo>
                    <a:cubicBezTo>
                      <a:pt x="523" y="126"/>
                      <a:pt x="523" y="126"/>
                      <a:pt x="523" y="126"/>
                    </a:cubicBezTo>
                    <a:cubicBezTo>
                      <a:pt x="521" y="127"/>
                      <a:pt x="521" y="127"/>
                      <a:pt x="521" y="127"/>
                    </a:cubicBezTo>
                    <a:cubicBezTo>
                      <a:pt x="520" y="127"/>
                      <a:pt x="520" y="127"/>
                      <a:pt x="520" y="127"/>
                    </a:cubicBezTo>
                    <a:cubicBezTo>
                      <a:pt x="519" y="125"/>
                      <a:pt x="519" y="125"/>
                      <a:pt x="519" y="125"/>
                    </a:cubicBezTo>
                    <a:cubicBezTo>
                      <a:pt x="516" y="123"/>
                      <a:pt x="516" y="123"/>
                      <a:pt x="516" y="123"/>
                    </a:cubicBezTo>
                    <a:cubicBezTo>
                      <a:pt x="517" y="120"/>
                      <a:pt x="517" y="120"/>
                      <a:pt x="517" y="120"/>
                    </a:cubicBezTo>
                    <a:close/>
                    <a:moveTo>
                      <a:pt x="492" y="137"/>
                    </a:moveTo>
                    <a:cubicBezTo>
                      <a:pt x="494" y="136"/>
                      <a:pt x="494" y="136"/>
                      <a:pt x="494" y="136"/>
                    </a:cubicBezTo>
                    <a:cubicBezTo>
                      <a:pt x="496" y="136"/>
                      <a:pt x="496" y="136"/>
                      <a:pt x="496" y="136"/>
                    </a:cubicBezTo>
                    <a:cubicBezTo>
                      <a:pt x="496" y="137"/>
                      <a:pt x="496" y="137"/>
                      <a:pt x="496" y="137"/>
                    </a:cubicBezTo>
                    <a:cubicBezTo>
                      <a:pt x="493" y="138"/>
                      <a:pt x="493" y="138"/>
                      <a:pt x="493" y="138"/>
                    </a:cubicBezTo>
                    <a:cubicBezTo>
                      <a:pt x="492" y="137"/>
                      <a:pt x="492" y="137"/>
                      <a:pt x="492" y="137"/>
                    </a:cubicBezTo>
                    <a:close/>
                    <a:moveTo>
                      <a:pt x="491" y="134"/>
                    </a:moveTo>
                    <a:cubicBezTo>
                      <a:pt x="490" y="132"/>
                      <a:pt x="490" y="132"/>
                      <a:pt x="490" y="132"/>
                    </a:cubicBezTo>
                    <a:cubicBezTo>
                      <a:pt x="491" y="130"/>
                      <a:pt x="491" y="130"/>
                      <a:pt x="491" y="130"/>
                    </a:cubicBezTo>
                    <a:cubicBezTo>
                      <a:pt x="491" y="127"/>
                      <a:pt x="491" y="127"/>
                      <a:pt x="491" y="127"/>
                    </a:cubicBezTo>
                    <a:cubicBezTo>
                      <a:pt x="491" y="125"/>
                      <a:pt x="491" y="125"/>
                      <a:pt x="491" y="125"/>
                    </a:cubicBezTo>
                    <a:cubicBezTo>
                      <a:pt x="493" y="124"/>
                      <a:pt x="493" y="124"/>
                      <a:pt x="493" y="124"/>
                    </a:cubicBezTo>
                    <a:cubicBezTo>
                      <a:pt x="493" y="122"/>
                      <a:pt x="493" y="122"/>
                      <a:pt x="493" y="122"/>
                    </a:cubicBezTo>
                    <a:cubicBezTo>
                      <a:pt x="494" y="122"/>
                      <a:pt x="494" y="122"/>
                      <a:pt x="494" y="122"/>
                    </a:cubicBezTo>
                    <a:cubicBezTo>
                      <a:pt x="494" y="120"/>
                      <a:pt x="494" y="120"/>
                      <a:pt x="494" y="120"/>
                    </a:cubicBezTo>
                    <a:cubicBezTo>
                      <a:pt x="495" y="118"/>
                      <a:pt x="495" y="118"/>
                      <a:pt x="495" y="118"/>
                    </a:cubicBezTo>
                    <a:cubicBezTo>
                      <a:pt x="495" y="116"/>
                      <a:pt x="495" y="116"/>
                      <a:pt x="495" y="116"/>
                    </a:cubicBezTo>
                    <a:cubicBezTo>
                      <a:pt x="496" y="115"/>
                      <a:pt x="496" y="115"/>
                      <a:pt x="496" y="115"/>
                    </a:cubicBezTo>
                    <a:cubicBezTo>
                      <a:pt x="498" y="116"/>
                      <a:pt x="498" y="116"/>
                      <a:pt x="498" y="116"/>
                    </a:cubicBezTo>
                    <a:cubicBezTo>
                      <a:pt x="498" y="118"/>
                      <a:pt x="498" y="118"/>
                      <a:pt x="498" y="118"/>
                    </a:cubicBezTo>
                    <a:cubicBezTo>
                      <a:pt x="499" y="120"/>
                      <a:pt x="499" y="120"/>
                      <a:pt x="499" y="120"/>
                    </a:cubicBezTo>
                    <a:cubicBezTo>
                      <a:pt x="497" y="123"/>
                      <a:pt x="497" y="123"/>
                      <a:pt x="497" y="123"/>
                    </a:cubicBezTo>
                    <a:cubicBezTo>
                      <a:pt x="497" y="125"/>
                      <a:pt x="497" y="125"/>
                      <a:pt x="497" y="125"/>
                    </a:cubicBezTo>
                    <a:cubicBezTo>
                      <a:pt x="496" y="127"/>
                      <a:pt x="496" y="127"/>
                      <a:pt x="496" y="127"/>
                    </a:cubicBezTo>
                    <a:cubicBezTo>
                      <a:pt x="497" y="129"/>
                      <a:pt x="497" y="129"/>
                      <a:pt x="497" y="129"/>
                    </a:cubicBezTo>
                    <a:cubicBezTo>
                      <a:pt x="496" y="133"/>
                      <a:pt x="496" y="133"/>
                      <a:pt x="496" y="133"/>
                    </a:cubicBezTo>
                    <a:cubicBezTo>
                      <a:pt x="493" y="135"/>
                      <a:pt x="493" y="135"/>
                      <a:pt x="493" y="135"/>
                    </a:cubicBezTo>
                    <a:cubicBezTo>
                      <a:pt x="491" y="134"/>
                      <a:pt x="491" y="134"/>
                      <a:pt x="491" y="134"/>
                    </a:cubicBezTo>
                    <a:close/>
                    <a:moveTo>
                      <a:pt x="469" y="89"/>
                    </a:moveTo>
                    <a:cubicBezTo>
                      <a:pt x="468" y="87"/>
                      <a:pt x="468" y="87"/>
                      <a:pt x="468" y="87"/>
                    </a:cubicBezTo>
                    <a:cubicBezTo>
                      <a:pt x="467" y="85"/>
                      <a:pt x="467" y="85"/>
                      <a:pt x="467" y="85"/>
                    </a:cubicBezTo>
                    <a:cubicBezTo>
                      <a:pt x="468" y="84"/>
                      <a:pt x="468" y="84"/>
                      <a:pt x="468" y="84"/>
                    </a:cubicBezTo>
                    <a:cubicBezTo>
                      <a:pt x="467" y="83"/>
                      <a:pt x="467" y="83"/>
                      <a:pt x="467" y="83"/>
                    </a:cubicBezTo>
                    <a:cubicBezTo>
                      <a:pt x="465" y="83"/>
                      <a:pt x="465" y="83"/>
                      <a:pt x="465" y="83"/>
                    </a:cubicBezTo>
                    <a:cubicBezTo>
                      <a:pt x="464" y="82"/>
                      <a:pt x="464" y="82"/>
                      <a:pt x="464" y="82"/>
                    </a:cubicBezTo>
                    <a:cubicBezTo>
                      <a:pt x="462" y="83"/>
                      <a:pt x="462" y="83"/>
                      <a:pt x="462" y="83"/>
                    </a:cubicBezTo>
                    <a:cubicBezTo>
                      <a:pt x="460" y="83"/>
                      <a:pt x="460" y="83"/>
                      <a:pt x="460" y="83"/>
                    </a:cubicBezTo>
                    <a:cubicBezTo>
                      <a:pt x="459" y="83"/>
                      <a:pt x="459" y="83"/>
                      <a:pt x="459" y="83"/>
                    </a:cubicBezTo>
                    <a:cubicBezTo>
                      <a:pt x="459" y="82"/>
                      <a:pt x="459" y="82"/>
                      <a:pt x="459" y="82"/>
                    </a:cubicBezTo>
                    <a:cubicBezTo>
                      <a:pt x="460" y="80"/>
                      <a:pt x="460" y="80"/>
                      <a:pt x="460" y="80"/>
                    </a:cubicBezTo>
                    <a:cubicBezTo>
                      <a:pt x="461" y="78"/>
                      <a:pt x="461" y="78"/>
                      <a:pt x="461" y="78"/>
                    </a:cubicBezTo>
                    <a:cubicBezTo>
                      <a:pt x="463" y="78"/>
                      <a:pt x="463" y="78"/>
                      <a:pt x="463" y="78"/>
                    </a:cubicBezTo>
                    <a:cubicBezTo>
                      <a:pt x="465" y="78"/>
                      <a:pt x="465" y="78"/>
                      <a:pt x="465" y="78"/>
                    </a:cubicBezTo>
                    <a:cubicBezTo>
                      <a:pt x="470" y="77"/>
                      <a:pt x="470" y="77"/>
                      <a:pt x="470" y="77"/>
                    </a:cubicBezTo>
                    <a:cubicBezTo>
                      <a:pt x="472" y="77"/>
                      <a:pt x="472" y="77"/>
                      <a:pt x="472" y="77"/>
                    </a:cubicBezTo>
                    <a:cubicBezTo>
                      <a:pt x="474" y="78"/>
                      <a:pt x="474" y="78"/>
                      <a:pt x="474" y="78"/>
                    </a:cubicBezTo>
                    <a:cubicBezTo>
                      <a:pt x="475" y="78"/>
                      <a:pt x="475" y="78"/>
                      <a:pt x="475" y="78"/>
                    </a:cubicBezTo>
                    <a:cubicBezTo>
                      <a:pt x="477" y="78"/>
                      <a:pt x="477" y="78"/>
                      <a:pt x="477" y="78"/>
                    </a:cubicBezTo>
                    <a:cubicBezTo>
                      <a:pt x="480" y="76"/>
                      <a:pt x="480" y="76"/>
                      <a:pt x="480" y="76"/>
                    </a:cubicBezTo>
                    <a:cubicBezTo>
                      <a:pt x="483" y="76"/>
                      <a:pt x="483" y="76"/>
                      <a:pt x="483" y="76"/>
                    </a:cubicBezTo>
                    <a:cubicBezTo>
                      <a:pt x="484" y="76"/>
                      <a:pt x="484" y="76"/>
                      <a:pt x="484" y="76"/>
                    </a:cubicBezTo>
                    <a:cubicBezTo>
                      <a:pt x="485" y="75"/>
                      <a:pt x="485" y="75"/>
                      <a:pt x="485" y="75"/>
                    </a:cubicBezTo>
                    <a:cubicBezTo>
                      <a:pt x="486" y="76"/>
                      <a:pt x="486" y="76"/>
                      <a:pt x="486" y="76"/>
                    </a:cubicBezTo>
                    <a:cubicBezTo>
                      <a:pt x="486" y="77"/>
                      <a:pt x="486" y="77"/>
                      <a:pt x="486" y="77"/>
                    </a:cubicBezTo>
                    <a:cubicBezTo>
                      <a:pt x="487" y="79"/>
                      <a:pt x="487" y="79"/>
                      <a:pt x="487" y="79"/>
                    </a:cubicBezTo>
                    <a:cubicBezTo>
                      <a:pt x="487" y="81"/>
                      <a:pt x="487" y="81"/>
                      <a:pt x="487" y="81"/>
                    </a:cubicBezTo>
                    <a:cubicBezTo>
                      <a:pt x="485" y="84"/>
                      <a:pt x="485" y="84"/>
                      <a:pt x="485" y="84"/>
                    </a:cubicBezTo>
                    <a:cubicBezTo>
                      <a:pt x="487" y="86"/>
                      <a:pt x="487" y="86"/>
                      <a:pt x="487" y="86"/>
                    </a:cubicBezTo>
                    <a:cubicBezTo>
                      <a:pt x="485" y="90"/>
                      <a:pt x="485" y="90"/>
                      <a:pt x="485" y="90"/>
                    </a:cubicBezTo>
                    <a:cubicBezTo>
                      <a:pt x="483" y="91"/>
                      <a:pt x="483" y="91"/>
                      <a:pt x="483" y="91"/>
                    </a:cubicBezTo>
                    <a:cubicBezTo>
                      <a:pt x="481" y="93"/>
                      <a:pt x="481" y="93"/>
                      <a:pt x="481" y="93"/>
                    </a:cubicBezTo>
                    <a:cubicBezTo>
                      <a:pt x="480" y="93"/>
                      <a:pt x="480" y="93"/>
                      <a:pt x="480" y="93"/>
                    </a:cubicBezTo>
                    <a:cubicBezTo>
                      <a:pt x="478" y="93"/>
                      <a:pt x="478" y="93"/>
                      <a:pt x="478" y="93"/>
                    </a:cubicBezTo>
                    <a:cubicBezTo>
                      <a:pt x="477" y="92"/>
                      <a:pt x="477" y="92"/>
                      <a:pt x="477" y="92"/>
                    </a:cubicBezTo>
                    <a:cubicBezTo>
                      <a:pt x="475" y="92"/>
                      <a:pt x="475" y="92"/>
                      <a:pt x="475" y="92"/>
                    </a:cubicBezTo>
                    <a:cubicBezTo>
                      <a:pt x="473" y="89"/>
                      <a:pt x="473" y="89"/>
                      <a:pt x="473" y="89"/>
                    </a:cubicBezTo>
                    <a:cubicBezTo>
                      <a:pt x="473" y="87"/>
                      <a:pt x="473" y="87"/>
                      <a:pt x="473" y="87"/>
                    </a:cubicBezTo>
                    <a:cubicBezTo>
                      <a:pt x="471" y="85"/>
                      <a:pt x="471" y="85"/>
                      <a:pt x="471" y="85"/>
                    </a:cubicBezTo>
                    <a:cubicBezTo>
                      <a:pt x="470" y="86"/>
                      <a:pt x="470" y="86"/>
                      <a:pt x="470" y="86"/>
                    </a:cubicBezTo>
                    <a:cubicBezTo>
                      <a:pt x="471" y="87"/>
                      <a:pt x="471" y="87"/>
                      <a:pt x="471" y="87"/>
                    </a:cubicBezTo>
                    <a:cubicBezTo>
                      <a:pt x="469" y="89"/>
                      <a:pt x="469" y="89"/>
                      <a:pt x="469" y="89"/>
                    </a:cubicBezTo>
                    <a:close/>
                    <a:moveTo>
                      <a:pt x="442" y="104"/>
                    </a:moveTo>
                    <a:cubicBezTo>
                      <a:pt x="444" y="102"/>
                      <a:pt x="444" y="102"/>
                      <a:pt x="444" y="102"/>
                    </a:cubicBezTo>
                    <a:cubicBezTo>
                      <a:pt x="444" y="101"/>
                      <a:pt x="444" y="101"/>
                      <a:pt x="444" y="101"/>
                    </a:cubicBezTo>
                    <a:cubicBezTo>
                      <a:pt x="446" y="99"/>
                      <a:pt x="446" y="99"/>
                      <a:pt x="446" y="99"/>
                    </a:cubicBezTo>
                    <a:cubicBezTo>
                      <a:pt x="446" y="97"/>
                      <a:pt x="446" y="97"/>
                      <a:pt x="446" y="97"/>
                    </a:cubicBezTo>
                    <a:cubicBezTo>
                      <a:pt x="448" y="96"/>
                      <a:pt x="448" y="96"/>
                      <a:pt x="448" y="96"/>
                    </a:cubicBezTo>
                    <a:cubicBezTo>
                      <a:pt x="450" y="94"/>
                      <a:pt x="450" y="94"/>
                      <a:pt x="450" y="94"/>
                    </a:cubicBezTo>
                    <a:cubicBezTo>
                      <a:pt x="451" y="94"/>
                      <a:pt x="451" y="94"/>
                      <a:pt x="451" y="94"/>
                    </a:cubicBezTo>
                    <a:cubicBezTo>
                      <a:pt x="456" y="93"/>
                      <a:pt x="456" y="93"/>
                      <a:pt x="456" y="93"/>
                    </a:cubicBezTo>
                    <a:cubicBezTo>
                      <a:pt x="457" y="94"/>
                      <a:pt x="457" y="94"/>
                      <a:pt x="457" y="94"/>
                    </a:cubicBezTo>
                    <a:cubicBezTo>
                      <a:pt x="459" y="94"/>
                      <a:pt x="459" y="94"/>
                      <a:pt x="459" y="94"/>
                    </a:cubicBezTo>
                    <a:cubicBezTo>
                      <a:pt x="460" y="95"/>
                      <a:pt x="460" y="95"/>
                      <a:pt x="460" y="95"/>
                    </a:cubicBezTo>
                    <a:cubicBezTo>
                      <a:pt x="462" y="95"/>
                      <a:pt x="462" y="95"/>
                      <a:pt x="462" y="95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6" y="95"/>
                      <a:pt x="466" y="95"/>
                      <a:pt x="466" y="95"/>
                    </a:cubicBezTo>
                    <a:cubicBezTo>
                      <a:pt x="466" y="96"/>
                      <a:pt x="466" y="96"/>
                      <a:pt x="466" y="96"/>
                    </a:cubicBezTo>
                    <a:cubicBezTo>
                      <a:pt x="469" y="96"/>
                      <a:pt x="469" y="96"/>
                      <a:pt x="469" y="96"/>
                    </a:cubicBezTo>
                    <a:cubicBezTo>
                      <a:pt x="471" y="96"/>
                      <a:pt x="471" y="96"/>
                      <a:pt x="471" y="96"/>
                    </a:cubicBezTo>
                    <a:cubicBezTo>
                      <a:pt x="472" y="97"/>
                      <a:pt x="472" y="97"/>
                      <a:pt x="472" y="97"/>
                    </a:cubicBezTo>
                    <a:cubicBezTo>
                      <a:pt x="474" y="97"/>
                      <a:pt x="474" y="97"/>
                      <a:pt x="474" y="97"/>
                    </a:cubicBezTo>
                    <a:cubicBezTo>
                      <a:pt x="475" y="98"/>
                      <a:pt x="475" y="98"/>
                      <a:pt x="475" y="98"/>
                    </a:cubicBezTo>
                    <a:cubicBezTo>
                      <a:pt x="473" y="102"/>
                      <a:pt x="473" y="102"/>
                      <a:pt x="473" y="102"/>
                    </a:cubicBezTo>
                    <a:cubicBezTo>
                      <a:pt x="471" y="101"/>
                      <a:pt x="471" y="101"/>
                      <a:pt x="471" y="101"/>
                    </a:cubicBezTo>
                    <a:cubicBezTo>
                      <a:pt x="467" y="103"/>
                      <a:pt x="467" y="103"/>
                      <a:pt x="467" y="103"/>
                    </a:cubicBezTo>
                    <a:cubicBezTo>
                      <a:pt x="465" y="103"/>
                      <a:pt x="465" y="103"/>
                      <a:pt x="465" y="103"/>
                    </a:cubicBezTo>
                    <a:cubicBezTo>
                      <a:pt x="463" y="105"/>
                      <a:pt x="463" y="105"/>
                      <a:pt x="463" y="105"/>
                    </a:cubicBezTo>
                    <a:cubicBezTo>
                      <a:pt x="463" y="106"/>
                      <a:pt x="463" y="106"/>
                      <a:pt x="463" y="106"/>
                    </a:cubicBezTo>
                    <a:cubicBezTo>
                      <a:pt x="465" y="106"/>
                      <a:pt x="465" y="106"/>
                      <a:pt x="465" y="106"/>
                    </a:cubicBezTo>
                    <a:cubicBezTo>
                      <a:pt x="465" y="106"/>
                      <a:pt x="465" y="106"/>
                      <a:pt x="465" y="106"/>
                    </a:cubicBezTo>
                    <a:cubicBezTo>
                      <a:pt x="466" y="108"/>
                      <a:pt x="466" y="108"/>
                      <a:pt x="466" y="108"/>
                    </a:cubicBezTo>
                    <a:cubicBezTo>
                      <a:pt x="463" y="110"/>
                      <a:pt x="463" y="110"/>
                      <a:pt x="463" y="110"/>
                    </a:cubicBezTo>
                    <a:cubicBezTo>
                      <a:pt x="463" y="112"/>
                      <a:pt x="463" y="112"/>
                      <a:pt x="463" y="112"/>
                    </a:cubicBezTo>
                    <a:cubicBezTo>
                      <a:pt x="461" y="112"/>
                      <a:pt x="461" y="112"/>
                      <a:pt x="461" y="112"/>
                    </a:cubicBezTo>
                    <a:cubicBezTo>
                      <a:pt x="461" y="113"/>
                      <a:pt x="461" y="113"/>
                      <a:pt x="461" y="113"/>
                    </a:cubicBezTo>
                    <a:cubicBezTo>
                      <a:pt x="460" y="115"/>
                      <a:pt x="460" y="115"/>
                      <a:pt x="460" y="115"/>
                    </a:cubicBezTo>
                    <a:cubicBezTo>
                      <a:pt x="458" y="115"/>
                      <a:pt x="458" y="115"/>
                      <a:pt x="458" y="115"/>
                    </a:cubicBezTo>
                    <a:cubicBezTo>
                      <a:pt x="456" y="116"/>
                      <a:pt x="456" y="116"/>
                      <a:pt x="456" y="116"/>
                    </a:cubicBezTo>
                    <a:cubicBezTo>
                      <a:pt x="454" y="116"/>
                      <a:pt x="454" y="116"/>
                      <a:pt x="454" y="116"/>
                    </a:cubicBezTo>
                    <a:cubicBezTo>
                      <a:pt x="452" y="114"/>
                      <a:pt x="452" y="114"/>
                      <a:pt x="452" y="114"/>
                    </a:cubicBezTo>
                    <a:cubicBezTo>
                      <a:pt x="451" y="115"/>
                      <a:pt x="451" y="115"/>
                      <a:pt x="451" y="115"/>
                    </a:cubicBezTo>
                    <a:cubicBezTo>
                      <a:pt x="449" y="115"/>
                      <a:pt x="449" y="115"/>
                      <a:pt x="449" y="115"/>
                    </a:cubicBezTo>
                    <a:cubicBezTo>
                      <a:pt x="447" y="115"/>
                      <a:pt x="447" y="115"/>
                      <a:pt x="447" y="115"/>
                    </a:cubicBezTo>
                    <a:cubicBezTo>
                      <a:pt x="446" y="114"/>
                      <a:pt x="446" y="114"/>
                      <a:pt x="446" y="114"/>
                    </a:cubicBezTo>
                    <a:cubicBezTo>
                      <a:pt x="447" y="113"/>
                      <a:pt x="447" y="113"/>
                      <a:pt x="447" y="113"/>
                    </a:cubicBezTo>
                    <a:cubicBezTo>
                      <a:pt x="446" y="110"/>
                      <a:pt x="446" y="110"/>
                      <a:pt x="446" y="110"/>
                    </a:cubicBezTo>
                    <a:cubicBezTo>
                      <a:pt x="444" y="109"/>
                      <a:pt x="444" y="109"/>
                      <a:pt x="444" y="109"/>
                    </a:cubicBezTo>
                    <a:cubicBezTo>
                      <a:pt x="443" y="109"/>
                      <a:pt x="443" y="109"/>
                      <a:pt x="443" y="109"/>
                    </a:cubicBezTo>
                    <a:cubicBezTo>
                      <a:pt x="442" y="106"/>
                      <a:pt x="442" y="106"/>
                      <a:pt x="442" y="106"/>
                    </a:cubicBezTo>
                    <a:cubicBezTo>
                      <a:pt x="442" y="104"/>
                      <a:pt x="442" y="104"/>
                      <a:pt x="442" y="104"/>
                    </a:cubicBezTo>
                    <a:close/>
                    <a:moveTo>
                      <a:pt x="440" y="97"/>
                    </a:moveTo>
                    <a:cubicBezTo>
                      <a:pt x="441" y="98"/>
                      <a:pt x="441" y="98"/>
                      <a:pt x="441" y="98"/>
                    </a:cubicBezTo>
                    <a:cubicBezTo>
                      <a:pt x="443" y="97"/>
                      <a:pt x="443" y="97"/>
                      <a:pt x="443" y="97"/>
                    </a:cubicBezTo>
                    <a:cubicBezTo>
                      <a:pt x="445" y="95"/>
                      <a:pt x="445" y="95"/>
                      <a:pt x="445" y="95"/>
                    </a:cubicBezTo>
                    <a:cubicBezTo>
                      <a:pt x="445" y="93"/>
                      <a:pt x="445" y="93"/>
                      <a:pt x="445" y="93"/>
                    </a:cubicBezTo>
                    <a:cubicBezTo>
                      <a:pt x="445" y="91"/>
                      <a:pt x="445" y="91"/>
                      <a:pt x="445" y="91"/>
                    </a:cubicBezTo>
                    <a:cubicBezTo>
                      <a:pt x="445" y="90"/>
                      <a:pt x="445" y="90"/>
                      <a:pt x="445" y="90"/>
                    </a:cubicBezTo>
                    <a:cubicBezTo>
                      <a:pt x="446" y="87"/>
                      <a:pt x="446" y="87"/>
                      <a:pt x="446" y="87"/>
                    </a:cubicBezTo>
                    <a:cubicBezTo>
                      <a:pt x="444" y="88"/>
                      <a:pt x="444" y="88"/>
                      <a:pt x="444" y="88"/>
                    </a:cubicBezTo>
                    <a:cubicBezTo>
                      <a:pt x="443" y="88"/>
                      <a:pt x="443" y="88"/>
                      <a:pt x="443" y="88"/>
                    </a:cubicBezTo>
                    <a:cubicBezTo>
                      <a:pt x="442" y="87"/>
                      <a:pt x="442" y="87"/>
                      <a:pt x="442" y="87"/>
                    </a:cubicBezTo>
                    <a:cubicBezTo>
                      <a:pt x="440" y="88"/>
                      <a:pt x="440" y="88"/>
                      <a:pt x="440" y="88"/>
                    </a:cubicBezTo>
                    <a:cubicBezTo>
                      <a:pt x="439" y="88"/>
                      <a:pt x="439" y="88"/>
                      <a:pt x="439" y="88"/>
                    </a:cubicBezTo>
                    <a:cubicBezTo>
                      <a:pt x="438" y="90"/>
                      <a:pt x="438" y="90"/>
                      <a:pt x="438" y="90"/>
                    </a:cubicBezTo>
                    <a:cubicBezTo>
                      <a:pt x="439" y="92"/>
                      <a:pt x="439" y="92"/>
                      <a:pt x="439" y="92"/>
                    </a:cubicBezTo>
                    <a:cubicBezTo>
                      <a:pt x="438" y="94"/>
                      <a:pt x="438" y="94"/>
                      <a:pt x="438" y="94"/>
                    </a:cubicBezTo>
                    <a:cubicBezTo>
                      <a:pt x="440" y="97"/>
                      <a:pt x="440" y="97"/>
                      <a:pt x="440" y="97"/>
                    </a:cubicBezTo>
                    <a:close/>
                    <a:moveTo>
                      <a:pt x="603" y="243"/>
                    </a:moveTo>
                    <a:cubicBezTo>
                      <a:pt x="603" y="243"/>
                      <a:pt x="605" y="244"/>
                      <a:pt x="605" y="244"/>
                    </a:cubicBezTo>
                    <a:cubicBezTo>
                      <a:pt x="607" y="243"/>
                      <a:pt x="607" y="243"/>
                      <a:pt x="607" y="243"/>
                    </a:cubicBezTo>
                    <a:cubicBezTo>
                      <a:pt x="607" y="245"/>
                      <a:pt x="607" y="245"/>
                      <a:pt x="607" y="245"/>
                    </a:cubicBezTo>
                    <a:cubicBezTo>
                      <a:pt x="609" y="245"/>
                      <a:pt x="609" y="245"/>
                      <a:pt x="609" y="245"/>
                    </a:cubicBezTo>
                    <a:cubicBezTo>
                      <a:pt x="609" y="246"/>
                      <a:pt x="609" y="246"/>
                      <a:pt x="609" y="246"/>
                    </a:cubicBezTo>
                    <a:cubicBezTo>
                      <a:pt x="611" y="246"/>
                      <a:pt x="611" y="246"/>
                      <a:pt x="611" y="246"/>
                    </a:cubicBezTo>
                    <a:cubicBezTo>
                      <a:pt x="614" y="244"/>
                      <a:pt x="614" y="244"/>
                      <a:pt x="614" y="244"/>
                    </a:cubicBezTo>
                    <a:cubicBezTo>
                      <a:pt x="616" y="243"/>
                      <a:pt x="616" y="243"/>
                      <a:pt x="616" y="243"/>
                    </a:cubicBezTo>
                    <a:cubicBezTo>
                      <a:pt x="619" y="245"/>
                      <a:pt x="619" y="245"/>
                      <a:pt x="619" y="245"/>
                    </a:cubicBezTo>
                    <a:cubicBezTo>
                      <a:pt x="621" y="245"/>
                      <a:pt x="621" y="245"/>
                      <a:pt x="621" y="245"/>
                    </a:cubicBezTo>
                    <a:cubicBezTo>
                      <a:pt x="622" y="245"/>
                      <a:pt x="622" y="245"/>
                      <a:pt x="622" y="245"/>
                    </a:cubicBezTo>
                    <a:cubicBezTo>
                      <a:pt x="623" y="244"/>
                      <a:pt x="623" y="244"/>
                      <a:pt x="623" y="244"/>
                    </a:cubicBezTo>
                    <a:cubicBezTo>
                      <a:pt x="623" y="243"/>
                      <a:pt x="623" y="243"/>
                      <a:pt x="623" y="243"/>
                    </a:cubicBezTo>
                    <a:cubicBezTo>
                      <a:pt x="624" y="241"/>
                      <a:pt x="624" y="241"/>
                      <a:pt x="624" y="241"/>
                    </a:cubicBezTo>
                    <a:cubicBezTo>
                      <a:pt x="625" y="241"/>
                      <a:pt x="625" y="241"/>
                      <a:pt x="625" y="241"/>
                    </a:cubicBezTo>
                    <a:cubicBezTo>
                      <a:pt x="625" y="239"/>
                      <a:pt x="625" y="239"/>
                      <a:pt x="625" y="239"/>
                    </a:cubicBezTo>
                    <a:cubicBezTo>
                      <a:pt x="624" y="237"/>
                      <a:pt x="624" y="237"/>
                      <a:pt x="624" y="237"/>
                    </a:cubicBezTo>
                    <a:cubicBezTo>
                      <a:pt x="624" y="235"/>
                      <a:pt x="624" y="235"/>
                      <a:pt x="624" y="235"/>
                    </a:cubicBezTo>
                    <a:cubicBezTo>
                      <a:pt x="626" y="236"/>
                      <a:pt x="626" y="236"/>
                      <a:pt x="626" y="236"/>
                    </a:cubicBezTo>
                    <a:cubicBezTo>
                      <a:pt x="625" y="238"/>
                      <a:pt x="625" y="238"/>
                      <a:pt x="625" y="238"/>
                    </a:cubicBezTo>
                    <a:cubicBezTo>
                      <a:pt x="627" y="240"/>
                      <a:pt x="627" y="240"/>
                      <a:pt x="627" y="240"/>
                    </a:cubicBezTo>
                    <a:cubicBezTo>
                      <a:pt x="628" y="239"/>
                      <a:pt x="628" y="239"/>
                      <a:pt x="628" y="239"/>
                    </a:cubicBezTo>
                    <a:cubicBezTo>
                      <a:pt x="629" y="239"/>
                      <a:pt x="629" y="239"/>
                      <a:pt x="629" y="239"/>
                    </a:cubicBezTo>
                    <a:cubicBezTo>
                      <a:pt x="630" y="238"/>
                      <a:pt x="630" y="238"/>
                      <a:pt x="630" y="238"/>
                    </a:cubicBezTo>
                    <a:cubicBezTo>
                      <a:pt x="631" y="239"/>
                      <a:pt x="631" y="239"/>
                      <a:pt x="631" y="239"/>
                    </a:cubicBezTo>
                    <a:cubicBezTo>
                      <a:pt x="632" y="238"/>
                      <a:pt x="632" y="238"/>
                      <a:pt x="632" y="238"/>
                    </a:cubicBezTo>
                    <a:cubicBezTo>
                      <a:pt x="631" y="236"/>
                      <a:pt x="631" y="236"/>
                      <a:pt x="631" y="236"/>
                    </a:cubicBezTo>
                    <a:cubicBezTo>
                      <a:pt x="631" y="234"/>
                      <a:pt x="631" y="234"/>
                      <a:pt x="631" y="234"/>
                    </a:cubicBezTo>
                    <a:cubicBezTo>
                      <a:pt x="630" y="234"/>
                      <a:pt x="630" y="234"/>
                      <a:pt x="630" y="234"/>
                    </a:cubicBezTo>
                    <a:cubicBezTo>
                      <a:pt x="628" y="234"/>
                      <a:pt x="628" y="234"/>
                      <a:pt x="628" y="234"/>
                    </a:cubicBezTo>
                    <a:cubicBezTo>
                      <a:pt x="626" y="234"/>
                      <a:pt x="626" y="234"/>
                      <a:pt x="626" y="234"/>
                    </a:cubicBezTo>
                    <a:cubicBezTo>
                      <a:pt x="625" y="233"/>
                      <a:pt x="625" y="233"/>
                      <a:pt x="625" y="233"/>
                    </a:cubicBezTo>
                    <a:cubicBezTo>
                      <a:pt x="626" y="232"/>
                      <a:pt x="626" y="232"/>
                      <a:pt x="626" y="232"/>
                    </a:cubicBezTo>
                    <a:cubicBezTo>
                      <a:pt x="627" y="233"/>
                      <a:pt x="627" y="233"/>
                      <a:pt x="627" y="233"/>
                    </a:cubicBezTo>
                    <a:cubicBezTo>
                      <a:pt x="629" y="232"/>
                      <a:pt x="629" y="232"/>
                      <a:pt x="629" y="232"/>
                    </a:cubicBezTo>
                    <a:cubicBezTo>
                      <a:pt x="630" y="230"/>
                      <a:pt x="630" y="230"/>
                      <a:pt x="630" y="230"/>
                    </a:cubicBezTo>
                    <a:cubicBezTo>
                      <a:pt x="632" y="231"/>
                      <a:pt x="632" y="231"/>
                      <a:pt x="632" y="231"/>
                    </a:cubicBezTo>
                    <a:cubicBezTo>
                      <a:pt x="633" y="231"/>
                      <a:pt x="633" y="231"/>
                      <a:pt x="633" y="231"/>
                    </a:cubicBezTo>
                    <a:cubicBezTo>
                      <a:pt x="634" y="229"/>
                      <a:pt x="634" y="229"/>
                      <a:pt x="634" y="229"/>
                    </a:cubicBezTo>
                    <a:cubicBezTo>
                      <a:pt x="633" y="228"/>
                      <a:pt x="633" y="228"/>
                      <a:pt x="633" y="228"/>
                    </a:cubicBezTo>
                    <a:cubicBezTo>
                      <a:pt x="634" y="226"/>
                      <a:pt x="634" y="226"/>
                      <a:pt x="634" y="226"/>
                    </a:cubicBezTo>
                    <a:cubicBezTo>
                      <a:pt x="634" y="225"/>
                      <a:pt x="634" y="225"/>
                      <a:pt x="634" y="225"/>
                    </a:cubicBezTo>
                    <a:cubicBezTo>
                      <a:pt x="635" y="225"/>
                      <a:pt x="635" y="225"/>
                      <a:pt x="635" y="225"/>
                    </a:cubicBezTo>
                    <a:cubicBezTo>
                      <a:pt x="635" y="224"/>
                      <a:pt x="635" y="224"/>
                      <a:pt x="635" y="224"/>
                    </a:cubicBezTo>
                    <a:cubicBezTo>
                      <a:pt x="633" y="223"/>
                      <a:pt x="633" y="223"/>
                      <a:pt x="633" y="223"/>
                    </a:cubicBezTo>
                    <a:cubicBezTo>
                      <a:pt x="631" y="223"/>
                      <a:pt x="631" y="223"/>
                      <a:pt x="631" y="223"/>
                    </a:cubicBezTo>
                    <a:cubicBezTo>
                      <a:pt x="632" y="222"/>
                      <a:pt x="632" y="222"/>
                      <a:pt x="632" y="222"/>
                    </a:cubicBezTo>
                    <a:cubicBezTo>
                      <a:pt x="633" y="221"/>
                      <a:pt x="633" y="221"/>
                      <a:pt x="633" y="221"/>
                    </a:cubicBezTo>
                    <a:cubicBezTo>
                      <a:pt x="633" y="220"/>
                      <a:pt x="633" y="220"/>
                      <a:pt x="633" y="220"/>
                    </a:cubicBezTo>
                    <a:cubicBezTo>
                      <a:pt x="632" y="218"/>
                      <a:pt x="632" y="218"/>
                      <a:pt x="632" y="218"/>
                    </a:cubicBezTo>
                    <a:cubicBezTo>
                      <a:pt x="628" y="219"/>
                      <a:pt x="628" y="219"/>
                      <a:pt x="628" y="219"/>
                    </a:cubicBezTo>
                    <a:cubicBezTo>
                      <a:pt x="627" y="217"/>
                      <a:pt x="627" y="217"/>
                      <a:pt x="627" y="217"/>
                    </a:cubicBezTo>
                    <a:cubicBezTo>
                      <a:pt x="627" y="216"/>
                      <a:pt x="627" y="216"/>
                      <a:pt x="627" y="216"/>
                    </a:cubicBezTo>
                    <a:cubicBezTo>
                      <a:pt x="628" y="216"/>
                      <a:pt x="628" y="216"/>
                      <a:pt x="628" y="216"/>
                    </a:cubicBezTo>
                    <a:cubicBezTo>
                      <a:pt x="628" y="214"/>
                      <a:pt x="628" y="214"/>
                      <a:pt x="628" y="214"/>
                    </a:cubicBezTo>
                    <a:cubicBezTo>
                      <a:pt x="625" y="211"/>
                      <a:pt x="625" y="211"/>
                      <a:pt x="625" y="211"/>
                    </a:cubicBezTo>
                    <a:cubicBezTo>
                      <a:pt x="623" y="211"/>
                      <a:pt x="623" y="211"/>
                      <a:pt x="623" y="211"/>
                    </a:cubicBezTo>
                    <a:cubicBezTo>
                      <a:pt x="622" y="212"/>
                      <a:pt x="622" y="212"/>
                      <a:pt x="622" y="212"/>
                    </a:cubicBezTo>
                    <a:cubicBezTo>
                      <a:pt x="619" y="212"/>
                      <a:pt x="619" y="212"/>
                      <a:pt x="619" y="212"/>
                    </a:cubicBezTo>
                    <a:cubicBezTo>
                      <a:pt x="616" y="213"/>
                      <a:pt x="616" y="213"/>
                      <a:pt x="616" y="213"/>
                    </a:cubicBezTo>
                    <a:cubicBezTo>
                      <a:pt x="613" y="211"/>
                      <a:pt x="613" y="211"/>
                      <a:pt x="613" y="211"/>
                    </a:cubicBezTo>
                    <a:cubicBezTo>
                      <a:pt x="612" y="209"/>
                      <a:pt x="612" y="209"/>
                      <a:pt x="612" y="209"/>
                    </a:cubicBezTo>
                    <a:cubicBezTo>
                      <a:pt x="611" y="209"/>
                      <a:pt x="611" y="209"/>
                      <a:pt x="611" y="209"/>
                    </a:cubicBezTo>
                    <a:cubicBezTo>
                      <a:pt x="610" y="210"/>
                      <a:pt x="610" y="210"/>
                      <a:pt x="610" y="210"/>
                    </a:cubicBezTo>
                    <a:cubicBezTo>
                      <a:pt x="608" y="210"/>
                      <a:pt x="608" y="210"/>
                      <a:pt x="608" y="210"/>
                    </a:cubicBezTo>
                    <a:cubicBezTo>
                      <a:pt x="607" y="210"/>
                      <a:pt x="607" y="210"/>
                      <a:pt x="607" y="210"/>
                    </a:cubicBezTo>
                    <a:cubicBezTo>
                      <a:pt x="605" y="210"/>
                      <a:pt x="605" y="210"/>
                      <a:pt x="605" y="210"/>
                    </a:cubicBezTo>
                    <a:cubicBezTo>
                      <a:pt x="604" y="212"/>
                      <a:pt x="604" y="212"/>
                      <a:pt x="604" y="212"/>
                    </a:cubicBezTo>
                    <a:cubicBezTo>
                      <a:pt x="603" y="211"/>
                      <a:pt x="603" y="211"/>
                      <a:pt x="603" y="211"/>
                    </a:cubicBezTo>
                    <a:cubicBezTo>
                      <a:pt x="602" y="210"/>
                      <a:pt x="602" y="210"/>
                      <a:pt x="602" y="210"/>
                    </a:cubicBezTo>
                    <a:cubicBezTo>
                      <a:pt x="600" y="211"/>
                      <a:pt x="600" y="211"/>
                      <a:pt x="600" y="211"/>
                    </a:cubicBezTo>
                    <a:cubicBezTo>
                      <a:pt x="598" y="211"/>
                      <a:pt x="598" y="211"/>
                      <a:pt x="598" y="211"/>
                    </a:cubicBezTo>
                    <a:cubicBezTo>
                      <a:pt x="598" y="212"/>
                      <a:pt x="598" y="212"/>
                      <a:pt x="598" y="212"/>
                    </a:cubicBezTo>
                    <a:cubicBezTo>
                      <a:pt x="597" y="213"/>
                      <a:pt x="597" y="213"/>
                      <a:pt x="597" y="213"/>
                    </a:cubicBezTo>
                    <a:cubicBezTo>
                      <a:pt x="597" y="212"/>
                      <a:pt x="597" y="212"/>
                      <a:pt x="597" y="212"/>
                    </a:cubicBezTo>
                    <a:cubicBezTo>
                      <a:pt x="596" y="211"/>
                      <a:pt x="596" y="211"/>
                      <a:pt x="596" y="211"/>
                    </a:cubicBezTo>
                    <a:cubicBezTo>
                      <a:pt x="594" y="211"/>
                      <a:pt x="594" y="211"/>
                      <a:pt x="594" y="211"/>
                    </a:cubicBezTo>
                    <a:cubicBezTo>
                      <a:pt x="590" y="211"/>
                      <a:pt x="590" y="211"/>
                      <a:pt x="590" y="211"/>
                    </a:cubicBezTo>
                    <a:cubicBezTo>
                      <a:pt x="590" y="211"/>
                      <a:pt x="590" y="211"/>
                      <a:pt x="590" y="211"/>
                    </a:cubicBezTo>
                    <a:cubicBezTo>
                      <a:pt x="591" y="213"/>
                      <a:pt x="591" y="213"/>
                      <a:pt x="591" y="213"/>
                    </a:cubicBezTo>
                    <a:cubicBezTo>
                      <a:pt x="591" y="214"/>
                      <a:pt x="591" y="214"/>
                      <a:pt x="591" y="214"/>
                    </a:cubicBezTo>
                    <a:cubicBezTo>
                      <a:pt x="592" y="216"/>
                      <a:pt x="592" y="216"/>
                      <a:pt x="592" y="216"/>
                    </a:cubicBezTo>
                    <a:cubicBezTo>
                      <a:pt x="590" y="215"/>
                      <a:pt x="590" y="215"/>
                      <a:pt x="590" y="215"/>
                    </a:cubicBezTo>
                    <a:cubicBezTo>
                      <a:pt x="590" y="214"/>
                      <a:pt x="590" y="214"/>
                      <a:pt x="590" y="214"/>
                    </a:cubicBezTo>
                    <a:cubicBezTo>
                      <a:pt x="588" y="213"/>
                      <a:pt x="588" y="213"/>
                      <a:pt x="588" y="213"/>
                    </a:cubicBezTo>
                    <a:cubicBezTo>
                      <a:pt x="586" y="214"/>
                      <a:pt x="586" y="214"/>
                      <a:pt x="586" y="214"/>
                    </a:cubicBezTo>
                    <a:cubicBezTo>
                      <a:pt x="585" y="213"/>
                      <a:pt x="585" y="213"/>
                      <a:pt x="585" y="213"/>
                    </a:cubicBezTo>
                    <a:cubicBezTo>
                      <a:pt x="587" y="213"/>
                      <a:pt x="587" y="213"/>
                      <a:pt x="587" y="213"/>
                    </a:cubicBezTo>
                    <a:cubicBezTo>
                      <a:pt x="587" y="211"/>
                      <a:pt x="587" y="211"/>
                      <a:pt x="587" y="211"/>
                    </a:cubicBezTo>
                    <a:cubicBezTo>
                      <a:pt x="585" y="209"/>
                      <a:pt x="585" y="209"/>
                      <a:pt x="585" y="209"/>
                    </a:cubicBezTo>
                    <a:cubicBezTo>
                      <a:pt x="585" y="208"/>
                      <a:pt x="585" y="208"/>
                      <a:pt x="585" y="208"/>
                    </a:cubicBezTo>
                    <a:cubicBezTo>
                      <a:pt x="584" y="207"/>
                      <a:pt x="584" y="207"/>
                      <a:pt x="584" y="207"/>
                    </a:cubicBezTo>
                    <a:cubicBezTo>
                      <a:pt x="582" y="208"/>
                      <a:pt x="582" y="208"/>
                      <a:pt x="582" y="208"/>
                    </a:cubicBezTo>
                    <a:cubicBezTo>
                      <a:pt x="582" y="209"/>
                      <a:pt x="582" y="209"/>
                      <a:pt x="582" y="209"/>
                    </a:cubicBezTo>
                    <a:cubicBezTo>
                      <a:pt x="582" y="210"/>
                      <a:pt x="582" y="210"/>
                      <a:pt x="582" y="210"/>
                    </a:cubicBezTo>
                    <a:cubicBezTo>
                      <a:pt x="580" y="210"/>
                      <a:pt x="580" y="210"/>
                      <a:pt x="580" y="210"/>
                    </a:cubicBezTo>
                    <a:cubicBezTo>
                      <a:pt x="581" y="209"/>
                      <a:pt x="581" y="209"/>
                      <a:pt x="581" y="209"/>
                    </a:cubicBezTo>
                    <a:cubicBezTo>
                      <a:pt x="581" y="207"/>
                      <a:pt x="581" y="207"/>
                      <a:pt x="581" y="207"/>
                    </a:cubicBezTo>
                    <a:cubicBezTo>
                      <a:pt x="579" y="207"/>
                      <a:pt x="579" y="207"/>
                      <a:pt x="579" y="207"/>
                    </a:cubicBezTo>
                    <a:cubicBezTo>
                      <a:pt x="578" y="208"/>
                      <a:pt x="578" y="208"/>
                      <a:pt x="578" y="208"/>
                    </a:cubicBezTo>
                    <a:cubicBezTo>
                      <a:pt x="577" y="208"/>
                      <a:pt x="577" y="208"/>
                      <a:pt x="577" y="208"/>
                    </a:cubicBezTo>
                    <a:cubicBezTo>
                      <a:pt x="577" y="206"/>
                      <a:pt x="577" y="206"/>
                      <a:pt x="577" y="206"/>
                    </a:cubicBezTo>
                    <a:cubicBezTo>
                      <a:pt x="577" y="205"/>
                      <a:pt x="577" y="205"/>
                      <a:pt x="577" y="205"/>
                    </a:cubicBezTo>
                    <a:cubicBezTo>
                      <a:pt x="577" y="203"/>
                      <a:pt x="577" y="203"/>
                      <a:pt x="577" y="203"/>
                    </a:cubicBezTo>
                    <a:cubicBezTo>
                      <a:pt x="575" y="204"/>
                      <a:pt x="575" y="204"/>
                      <a:pt x="575" y="204"/>
                    </a:cubicBezTo>
                    <a:cubicBezTo>
                      <a:pt x="573" y="206"/>
                      <a:pt x="573" y="206"/>
                      <a:pt x="573" y="206"/>
                    </a:cubicBezTo>
                    <a:cubicBezTo>
                      <a:pt x="573" y="208"/>
                      <a:pt x="573" y="208"/>
                      <a:pt x="573" y="208"/>
                    </a:cubicBezTo>
                    <a:cubicBezTo>
                      <a:pt x="572" y="208"/>
                      <a:pt x="572" y="208"/>
                      <a:pt x="572" y="208"/>
                    </a:cubicBezTo>
                    <a:cubicBezTo>
                      <a:pt x="571" y="206"/>
                      <a:pt x="571" y="206"/>
                      <a:pt x="571" y="206"/>
                    </a:cubicBezTo>
                    <a:cubicBezTo>
                      <a:pt x="572" y="205"/>
                      <a:pt x="572" y="205"/>
                      <a:pt x="572" y="205"/>
                    </a:cubicBezTo>
                    <a:cubicBezTo>
                      <a:pt x="572" y="204"/>
                      <a:pt x="572" y="204"/>
                      <a:pt x="572" y="204"/>
                    </a:cubicBezTo>
                    <a:cubicBezTo>
                      <a:pt x="573" y="201"/>
                      <a:pt x="573" y="201"/>
                      <a:pt x="573" y="201"/>
                    </a:cubicBezTo>
                    <a:cubicBezTo>
                      <a:pt x="572" y="199"/>
                      <a:pt x="572" y="199"/>
                      <a:pt x="572" y="199"/>
                    </a:cubicBezTo>
                    <a:cubicBezTo>
                      <a:pt x="569" y="200"/>
                      <a:pt x="569" y="200"/>
                      <a:pt x="569" y="200"/>
                    </a:cubicBezTo>
                    <a:cubicBezTo>
                      <a:pt x="569" y="199"/>
                      <a:pt x="569" y="199"/>
                      <a:pt x="569" y="199"/>
                    </a:cubicBezTo>
                    <a:cubicBezTo>
                      <a:pt x="571" y="198"/>
                      <a:pt x="571" y="198"/>
                      <a:pt x="571" y="198"/>
                    </a:cubicBezTo>
                    <a:cubicBezTo>
                      <a:pt x="572" y="196"/>
                      <a:pt x="572" y="196"/>
                      <a:pt x="572" y="196"/>
                    </a:cubicBezTo>
                    <a:cubicBezTo>
                      <a:pt x="572" y="195"/>
                      <a:pt x="572" y="195"/>
                      <a:pt x="572" y="195"/>
                    </a:cubicBezTo>
                    <a:cubicBezTo>
                      <a:pt x="570" y="195"/>
                      <a:pt x="570" y="195"/>
                      <a:pt x="570" y="195"/>
                    </a:cubicBezTo>
                    <a:cubicBezTo>
                      <a:pt x="569" y="195"/>
                      <a:pt x="569" y="195"/>
                      <a:pt x="569" y="195"/>
                    </a:cubicBezTo>
                    <a:cubicBezTo>
                      <a:pt x="568" y="195"/>
                      <a:pt x="568" y="195"/>
                      <a:pt x="568" y="195"/>
                    </a:cubicBezTo>
                    <a:cubicBezTo>
                      <a:pt x="566" y="195"/>
                      <a:pt x="566" y="195"/>
                      <a:pt x="566" y="195"/>
                    </a:cubicBezTo>
                    <a:cubicBezTo>
                      <a:pt x="567" y="195"/>
                      <a:pt x="567" y="195"/>
                      <a:pt x="567" y="195"/>
                    </a:cubicBezTo>
                    <a:cubicBezTo>
                      <a:pt x="567" y="194"/>
                      <a:pt x="567" y="194"/>
                      <a:pt x="567" y="194"/>
                    </a:cubicBezTo>
                    <a:cubicBezTo>
                      <a:pt x="565" y="194"/>
                      <a:pt x="565" y="194"/>
                      <a:pt x="565" y="194"/>
                    </a:cubicBezTo>
                    <a:cubicBezTo>
                      <a:pt x="564" y="195"/>
                      <a:pt x="564" y="195"/>
                      <a:pt x="564" y="195"/>
                    </a:cubicBezTo>
                    <a:cubicBezTo>
                      <a:pt x="562" y="195"/>
                      <a:pt x="562" y="195"/>
                      <a:pt x="562" y="195"/>
                    </a:cubicBezTo>
                    <a:cubicBezTo>
                      <a:pt x="562" y="194"/>
                      <a:pt x="562" y="194"/>
                      <a:pt x="562" y="194"/>
                    </a:cubicBezTo>
                    <a:cubicBezTo>
                      <a:pt x="563" y="194"/>
                      <a:pt x="563" y="194"/>
                      <a:pt x="563" y="194"/>
                    </a:cubicBezTo>
                    <a:cubicBezTo>
                      <a:pt x="564" y="192"/>
                      <a:pt x="564" y="192"/>
                      <a:pt x="564" y="192"/>
                    </a:cubicBezTo>
                    <a:cubicBezTo>
                      <a:pt x="564" y="191"/>
                      <a:pt x="564" y="191"/>
                      <a:pt x="564" y="191"/>
                    </a:cubicBezTo>
                    <a:cubicBezTo>
                      <a:pt x="566" y="191"/>
                      <a:pt x="566" y="191"/>
                      <a:pt x="566" y="191"/>
                    </a:cubicBezTo>
                    <a:cubicBezTo>
                      <a:pt x="567" y="192"/>
                      <a:pt x="567" y="192"/>
                      <a:pt x="567" y="192"/>
                    </a:cubicBezTo>
                    <a:cubicBezTo>
                      <a:pt x="570" y="192"/>
                      <a:pt x="570" y="192"/>
                      <a:pt x="570" y="192"/>
                    </a:cubicBezTo>
                    <a:cubicBezTo>
                      <a:pt x="570" y="191"/>
                      <a:pt x="570" y="191"/>
                      <a:pt x="570" y="191"/>
                    </a:cubicBezTo>
                    <a:cubicBezTo>
                      <a:pt x="568" y="189"/>
                      <a:pt x="568" y="189"/>
                      <a:pt x="568" y="189"/>
                    </a:cubicBezTo>
                    <a:cubicBezTo>
                      <a:pt x="566" y="189"/>
                      <a:pt x="566" y="189"/>
                      <a:pt x="566" y="189"/>
                    </a:cubicBezTo>
                    <a:cubicBezTo>
                      <a:pt x="567" y="188"/>
                      <a:pt x="567" y="188"/>
                      <a:pt x="567" y="188"/>
                    </a:cubicBezTo>
                    <a:cubicBezTo>
                      <a:pt x="565" y="186"/>
                      <a:pt x="565" y="186"/>
                      <a:pt x="565" y="186"/>
                    </a:cubicBezTo>
                    <a:cubicBezTo>
                      <a:pt x="563" y="185"/>
                      <a:pt x="563" y="185"/>
                      <a:pt x="563" y="185"/>
                    </a:cubicBezTo>
                    <a:cubicBezTo>
                      <a:pt x="564" y="185"/>
                      <a:pt x="564" y="185"/>
                      <a:pt x="564" y="185"/>
                    </a:cubicBezTo>
                    <a:cubicBezTo>
                      <a:pt x="564" y="183"/>
                      <a:pt x="564" y="183"/>
                      <a:pt x="564" y="183"/>
                    </a:cubicBezTo>
                    <a:cubicBezTo>
                      <a:pt x="565" y="183"/>
                      <a:pt x="565" y="183"/>
                      <a:pt x="565" y="183"/>
                    </a:cubicBezTo>
                    <a:cubicBezTo>
                      <a:pt x="566" y="185"/>
                      <a:pt x="566" y="185"/>
                      <a:pt x="566" y="185"/>
                    </a:cubicBezTo>
                    <a:cubicBezTo>
                      <a:pt x="568" y="187"/>
                      <a:pt x="568" y="187"/>
                      <a:pt x="568" y="187"/>
                    </a:cubicBezTo>
                    <a:cubicBezTo>
                      <a:pt x="570" y="188"/>
                      <a:pt x="570" y="188"/>
                      <a:pt x="570" y="188"/>
                    </a:cubicBezTo>
                    <a:cubicBezTo>
                      <a:pt x="572" y="190"/>
                      <a:pt x="572" y="190"/>
                      <a:pt x="572" y="190"/>
                    </a:cubicBezTo>
                    <a:cubicBezTo>
                      <a:pt x="573" y="188"/>
                      <a:pt x="573" y="188"/>
                      <a:pt x="573" y="188"/>
                    </a:cubicBezTo>
                    <a:cubicBezTo>
                      <a:pt x="574" y="190"/>
                      <a:pt x="574" y="190"/>
                      <a:pt x="574" y="190"/>
                    </a:cubicBezTo>
                    <a:cubicBezTo>
                      <a:pt x="577" y="191"/>
                      <a:pt x="577" y="191"/>
                      <a:pt x="577" y="191"/>
                    </a:cubicBezTo>
                    <a:cubicBezTo>
                      <a:pt x="579" y="191"/>
                      <a:pt x="579" y="191"/>
                      <a:pt x="579" y="191"/>
                    </a:cubicBezTo>
                    <a:cubicBezTo>
                      <a:pt x="580" y="189"/>
                      <a:pt x="580" y="189"/>
                      <a:pt x="580" y="189"/>
                    </a:cubicBezTo>
                    <a:cubicBezTo>
                      <a:pt x="579" y="187"/>
                      <a:pt x="579" y="187"/>
                      <a:pt x="579" y="187"/>
                    </a:cubicBezTo>
                    <a:cubicBezTo>
                      <a:pt x="575" y="184"/>
                      <a:pt x="575" y="184"/>
                      <a:pt x="575" y="184"/>
                    </a:cubicBezTo>
                    <a:cubicBezTo>
                      <a:pt x="574" y="182"/>
                      <a:pt x="574" y="182"/>
                      <a:pt x="574" y="182"/>
                    </a:cubicBezTo>
                    <a:cubicBezTo>
                      <a:pt x="572" y="182"/>
                      <a:pt x="572" y="182"/>
                      <a:pt x="572" y="182"/>
                    </a:cubicBezTo>
                    <a:cubicBezTo>
                      <a:pt x="572" y="180"/>
                      <a:pt x="572" y="180"/>
                      <a:pt x="572" y="180"/>
                    </a:cubicBezTo>
                    <a:cubicBezTo>
                      <a:pt x="570" y="179"/>
                      <a:pt x="570" y="179"/>
                      <a:pt x="570" y="179"/>
                    </a:cubicBezTo>
                    <a:cubicBezTo>
                      <a:pt x="569" y="178"/>
                      <a:pt x="569" y="178"/>
                      <a:pt x="569" y="178"/>
                    </a:cubicBezTo>
                    <a:cubicBezTo>
                      <a:pt x="568" y="177"/>
                      <a:pt x="568" y="177"/>
                      <a:pt x="568" y="177"/>
                    </a:cubicBezTo>
                    <a:cubicBezTo>
                      <a:pt x="569" y="176"/>
                      <a:pt x="569" y="176"/>
                      <a:pt x="569" y="176"/>
                    </a:cubicBezTo>
                    <a:cubicBezTo>
                      <a:pt x="570" y="177"/>
                      <a:pt x="570" y="177"/>
                      <a:pt x="570" y="177"/>
                    </a:cubicBezTo>
                    <a:cubicBezTo>
                      <a:pt x="572" y="178"/>
                      <a:pt x="572" y="178"/>
                      <a:pt x="572" y="178"/>
                    </a:cubicBezTo>
                    <a:cubicBezTo>
                      <a:pt x="573" y="178"/>
                      <a:pt x="573" y="178"/>
                      <a:pt x="573" y="178"/>
                    </a:cubicBezTo>
                    <a:cubicBezTo>
                      <a:pt x="574" y="180"/>
                      <a:pt x="574" y="180"/>
                      <a:pt x="574" y="180"/>
                    </a:cubicBezTo>
                    <a:cubicBezTo>
                      <a:pt x="575" y="180"/>
                      <a:pt x="575" y="180"/>
                      <a:pt x="575" y="180"/>
                    </a:cubicBezTo>
                    <a:cubicBezTo>
                      <a:pt x="575" y="179"/>
                      <a:pt x="575" y="179"/>
                      <a:pt x="575" y="179"/>
                    </a:cubicBezTo>
                    <a:cubicBezTo>
                      <a:pt x="575" y="176"/>
                      <a:pt x="575" y="176"/>
                      <a:pt x="575" y="176"/>
                    </a:cubicBezTo>
                    <a:cubicBezTo>
                      <a:pt x="572" y="173"/>
                      <a:pt x="572" y="173"/>
                      <a:pt x="572" y="173"/>
                    </a:cubicBezTo>
                    <a:cubicBezTo>
                      <a:pt x="571" y="173"/>
                      <a:pt x="571" y="173"/>
                      <a:pt x="571" y="173"/>
                    </a:cubicBezTo>
                    <a:cubicBezTo>
                      <a:pt x="570" y="173"/>
                      <a:pt x="570" y="173"/>
                      <a:pt x="570" y="173"/>
                    </a:cubicBezTo>
                    <a:cubicBezTo>
                      <a:pt x="568" y="173"/>
                      <a:pt x="568" y="173"/>
                      <a:pt x="568" y="173"/>
                    </a:cubicBezTo>
                    <a:cubicBezTo>
                      <a:pt x="566" y="174"/>
                      <a:pt x="566" y="174"/>
                      <a:pt x="566" y="174"/>
                    </a:cubicBezTo>
                    <a:cubicBezTo>
                      <a:pt x="564" y="174"/>
                      <a:pt x="564" y="174"/>
                      <a:pt x="564" y="174"/>
                    </a:cubicBezTo>
                    <a:cubicBezTo>
                      <a:pt x="563" y="173"/>
                      <a:pt x="563" y="173"/>
                      <a:pt x="563" y="173"/>
                    </a:cubicBezTo>
                    <a:cubicBezTo>
                      <a:pt x="561" y="173"/>
                      <a:pt x="561" y="173"/>
                      <a:pt x="561" y="173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58" y="174"/>
                      <a:pt x="558" y="174"/>
                      <a:pt x="558" y="174"/>
                    </a:cubicBezTo>
                    <a:cubicBezTo>
                      <a:pt x="556" y="176"/>
                      <a:pt x="556" y="176"/>
                      <a:pt x="556" y="176"/>
                    </a:cubicBezTo>
                    <a:cubicBezTo>
                      <a:pt x="555" y="177"/>
                      <a:pt x="555" y="177"/>
                      <a:pt x="555" y="177"/>
                    </a:cubicBezTo>
                    <a:cubicBezTo>
                      <a:pt x="554" y="178"/>
                      <a:pt x="554" y="178"/>
                      <a:pt x="554" y="178"/>
                    </a:cubicBezTo>
                    <a:cubicBezTo>
                      <a:pt x="554" y="177"/>
                      <a:pt x="554" y="177"/>
                      <a:pt x="554" y="177"/>
                    </a:cubicBezTo>
                    <a:cubicBezTo>
                      <a:pt x="555" y="175"/>
                      <a:pt x="555" y="175"/>
                      <a:pt x="555" y="175"/>
                    </a:cubicBezTo>
                    <a:cubicBezTo>
                      <a:pt x="556" y="175"/>
                      <a:pt x="556" y="175"/>
                      <a:pt x="556" y="175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60" y="170"/>
                      <a:pt x="560" y="170"/>
                      <a:pt x="560" y="170"/>
                    </a:cubicBezTo>
                    <a:cubicBezTo>
                      <a:pt x="560" y="168"/>
                      <a:pt x="560" y="168"/>
                      <a:pt x="560" y="168"/>
                    </a:cubicBezTo>
                    <a:cubicBezTo>
                      <a:pt x="560" y="163"/>
                      <a:pt x="560" y="163"/>
                      <a:pt x="560" y="163"/>
                    </a:cubicBezTo>
                    <a:cubicBezTo>
                      <a:pt x="560" y="163"/>
                      <a:pt x="560" y="163"/>
                      <a:pt x="560" y="163"/>
                    </a:cubicBezTo>
                    <a:cubicBezTo>
                      <a:pt x="559" y="161"/>
                      <a:pt x="559" y="161"/>
                      <a:pt x="559" y="161"/>
                    </a:cubicBezTo>
                    <a:cubicBezTo>
                      <a:pt x="558" y="162"/>
                      <a:pt x="558" y="162"/>
                      <a:pt x="558" y="162"/>
                    </a:cubicBezTo>
                    <a:cubicBezTo>
                      <a:pt x="556" y="162"/>
                      <a:pt x="556" y="162"/>
                      <a:pt x="556" y="162"/>
                    </a:cubicBezTo>
                    <a:cubicBezTo>
                      <a:pt x="555" y="161"/>
                      <a:pt x="555" y="161"/>
                      <a:pt x="555" y="161"/>
                    </a:cubicBezTo>
                    <a:cubicBezTo>
                      <a:pt x="555" y="159"/>
                      <a:pt x="555" y="159"/>
                      <a:pt x="555" y="159"/>
                    </a:cubicBezTo>
                    <a:cubicBezTo>
                      <a:pt x="555" y="158"/>
                      <a:pt x="555" y="158"/>
                      <a:pt x="555" y="158"/>
                    </a:cubicBezTo>
                    <a:cubicBezTo>
                      <a:pt x="551" y="157"/>
                      <a:pt x="551" y="157"/>
                      <a:pt x="551" y="157"/>
                    </a:cubicBezTo>
                    <a:cubicBezTo>
                      <a:pt x="550" y="155"/>
                      <a:pt x="550" y="155"/>
                      <a:pt x="550" y="155"/>
                    </a:cubicBezTo>
                    <a:cubicBezTo>
                      <a:pt x="548" y="155"/>
                      <a:pt x="548" y="155"/>
                      <a:pt x="548" y="155"/>
                    </a:cubicBezTo>
                    <a:cubicBezTo>
                      <a:pt x="546" y="154"/>
                      <a:pt x="546" y="154"/>
                      <a:pt x="546" y="154"/>
                    </a:cubicBezTo>
                    <a:cubicBezTo>
                      <a:pt x="545" y="155"/>
                      <a:pt x="545" y="155"/>
                      <a:pt x="545" y="155"/>
                    </a:cubicBezTo>
                    <a:cubicBezTo>
                      <a:pt x="541" y="155"/>
                      <a:pt x="541" y="155"/>
                      <a:pt x="541" y="155"/>
                    </a:cubicBezTo>
                    <a:cubicBezTo>
                      <a:pt x="541" y="156"/>
                      <a:pt x="541" y="156"/>
                      <a:pt x="541" y="156"/>
                    </a:cubicBezTo>
                    <a:cubicBezTo>
                      <a:pt x="540" y="156"/>
                      <a:pt x="540" y="156"/>
                      <a:pt x="540" y="156"/>
                    </a:cubicBezTo>
                    <a:cubicBezTo>
                      <a:pt x="539" y="158"/>
                      <a:pt x="539" y="158"/>
                      <a:pt x="539" y="158"/>
                    </a:cubicBezTo>
                    <a:cubicBezTo>
                      <a:pt x="541" y="160"/>
                      <a:pt x="541" y="160"/>
                      <a:pt x="541" y="160"/>
                    </a:cubicBezTo>
                    <a:cubicBezTo>
                      <a:pt x="541" y="161"/>
                      <a:pt x="541" y="161"/>
                      <a:pt x="541" y="161"/>
                    </a:cubicBezTo>
                    <a:cubicBezTo>
                      <a:pt x="540" y="161"/>
                      <a:pt x="540" y="161"/>
                      <a:pt x="540" y="161"/>
                    </a:cubicBezTo>
                    <a:cubicBezTo>
                      <a:pt x="538" y="158"/>
                      <a:pt x="538" y="158"/>
                      <a:pt x="538" y="158"/>
                    </a:cubicBezTo>
                    <a:cubicBezTo>
                      <a:pt x="537" y="160"/>
                      <a:pt x="537" y="160"/>
                      <a:pt x="537" y="160"/>
                    </a:cubicBezTo>
                    <a:cubicBezTo>
                      <a:pt x="538" y="162"/>
                      <a:pt x="538" y="162"/>
                      <a:pt x="538" y="162"/>
                    </a:cubicBezTo>
                    <a:cubicBezTo>
                      <a:pt x="540" y="163"/>
                      <a:pt x="540" y="163"/>
                      <a:pt x="540" y="163"/>
                    </a:cubicBezTo>
                    <a:cubicBezTo>
                      <a:pt x="542" y="166"/>
                      <a:pt x="542" y="166"/>
                      <a:pt x="542" y="166"/>
                    </a:cubicBezTo>
                    <a:cubicBezTo>
                      <a:pt x="544" y="166"/>
                      <a:pt x="544" y="166"/>
                      <a:pt x="544" y="166"/>
                    </a:cubicBezTo>
                    <a:cubicBezTo>
                      <a:pt x="543" y="167"/>
                      <a:pt x="543" y="167"/>
                      <a:pt x="543" y="167"/>
                    </a:cubicBezTo>
                    <a:cubicBezTo>
                      <a:pt x="541" y="167"/>
                      <a:pt x="541" y="167"/>
                      <a:pt x="541" y="167"/>
                    </a:cubicBezTo>
                    <a:cubicBezTo>
                      <a:pt x="541" y="169"/>
                      <a:pt x="541" y="169"/>
                      <a:pt x="541" y="169"/>
                    </a:cubicBezTo>
                    <a:cubicBezTo>
                      <a:pt x="543" y="173"/>
                      <a:pt x="543" y="173"/>
                      <a:pt x="543" y="173"/>
                    </a:cubicBezTo>
                    <a:cubicBezTo>
                      <a:pt x="545" y="173"/>
                      <a:pt x="545" y="173"/>
                      <a:pt x="545" y="173"/>
                    </a:cubicBezTo>
                    <a:cubicBezTo>
                      <a:pt x="545" y="175"/>
                      <a:pt x="545" y="175"/>
                      <a:pt x="545" y="175"/>
                    </a:cubicBezTo>
                    <a:cubicBezTo>
                      <a:pt x="544" y="174"/>
                      <a:pt x="544" y="174"/>
                      <a:pt x="544" y="174"/>
                    </a:cubicBezTo>
                    <a:cubicBezTo>
                      <a:pt x="541" y="174"/>
                      <a:pt x="541" y="174"/>
                      <a:pt x="541" y="174"/>
                    </a:cubicBezTo>
                    <a:cubicBezTo>
                      <a:pt x="541" y="175"/>
                      <a:pt x="541" y="175"/>
                      <a:pt x="541" y="175"/>
                    </a:cubicBezTo>
                    <a:cubicBezTo>
                      <a:pt x="540" y="175"/>
                      <a:pt x="540" y="175"/>
                      <a:pt x="540" y="175"/>
                    </a:cubicBezTo>
                    <a:cubicBezTo>
                      <a:pt x="539" y="177"/>
                      <a:pt x="539" y="177"/>
                      <a:pt x="539" y="177"/>
                    </a:cubicBezTo>
                    <a:cubicBezTo>
                      <a:pt x="542" y="176"/>
                      <a:pt x="542" y="176"/>
                      <a:pt x="542" y="176"/>
                    </a:cubicBezTo>
                    <a:cubicBezTo>
                      <a:pt x="543" y="177"/>
                      <a:pt x="543" y="177"/>
                      <a:pt x="543" y="177"/>
                    </a:cubicBezTo>
                    <a:cubicBezTo>
                      <a:pt x="546" y="176"/>
                      <a:pt x="546" y="176"/>
                      <a:pt x="546" y="176"/>
                    </a:cubicBezTo>
                    <a:cubicBezTo>
                      <a:pt x="547" y="177"/>
                      <a:pt x="547" y="177"/>
                      <a:pt x="547" y="177"/>
                    </a:cubicBezTo>
                    <a:cubicBezTo>
                      <a:pt x="549" y="178"/>
                      <a:pt x="549" y="178"/>
                      <a:pt x="549" y="178"/>
                    </a:cubicBezTo>
                    <a:cubicBezTo>
                      <a:pt x="549" y="179"/>
                      <a:pt x="549" y="179"/>
                      <a:pt x="549" y="179"/>
                    </a:cubicBezTo>
                    <a:cubicBezTo>
                      <a:pt x="552" y="181"/>
                      <a:pt x="552" y="181"/>
                      <a:pt x="552" y="181"/>
                    </a:cubicBezTo>
                    <a:cubicBezTo>
                      <a:pt x="553" y="181"/>
                      <a:pt x="553" y="181"/>
                      <a:pt x="553" y="181"/>
                    </a:cubicBezTo>
                    <a:cubicBezTo>
                      <a:pt x="553" y="180"/>
                      <a:pt x="553" y="180"/>
                      <a:pt x="553" y="180"/>
                    </a:cubicBezTo>
                    <a:cubicBezTo>
                      <a:pt x="553" y="180"/>
                      <a:pt x="553" y="180"/>
                      <a:pt x="553" y="180"/>
                    </a:cubicBezTo>
                    <a:cubicBezTo>
                      <a:pt x="555" y="179"/>
                      <a:pt x="555" y="179"/>
                      <a:pt x="555" y="179"/>
                    </a:cubicBezTo>
                    <a:cubicBezTo>
                      <a:pt x="557" y="180"/>
                      <a:pt x="557" y="180"/>
                      <a:pt x="557" y="180"/>
                    </a:cubicBezTo>
                    <a:cubicBezTo>
                      <a:pt x="557" y="181"/>
                      <a:pt x="557" y="181"/>
                      <a:pt x="557" y="181"/>
                    </a:cubicBezTo>
                    <a:cubicBezTo>
                      <a:pt x="556" y="183"/>
                      <a:pt x="556" y="183"/>
                      <a:pt x="556" y="183"/>
                    </a:cubicBezTo>
                    <a:cubicBezTo>
                      <a:pt x="556" y="186"/>
                      <a:pt x="556" y="186"/>
                      <a:pt x="556" y="186"/>
                    </a:cubicBezTo>
                    <a:cubicBezTo>
                      <a:pt x="555" y="189"/>
                      <a:pt x="555" y="189"/>
                      <a:pt x="555" y="189"/>
                    </a:cubicBezTo>
                    <a:cubicBezTo>
                      <a:pt x="555" y="190"/>
                      <a:pt x="555" y="190"/>
                      <a:pt x="555" y="190"/>
                    </a:cubicBezTo>
                    <a:cubicBezTo>
                      <a:pt x="557" y="192"/>
                      <a:pt x="557" y="192"/>
                      <a:pt x="557" y="192"/>
                    </a:cubicBezTo>
                    <a:cubicBezTo>
                      <a:pt x="556" y="195"/>
                      <a:pt x="556" y="195"/>
                      <a:pt x="556" y="195"/>
                    </a:cubicBezTo>
                    <a:cubicBezTo>
                      <a:pt x="556" y="196"/>
                      <a:pt x="556" y="196"/>
                      <a:pt x="556" y="196"/>
                    </a:cubicBezTo>
                    <a:cubicBezTo>
                      <a:pt x="555" y="198"/>
                      <a:pt x="555" y="198"/>
                      <a:pt x="555" y="198"/>
                    </a:cubicBezTo>
                    <a:cubicBezTo>
                      <a:pt x="553" y="200"/>
                      <a:pt x="553" y="200"/>
                      <a:pt x="553" y="200"/>
                    </a:cubicBezTo>
                    <a:cubicBezTo>
                      <a:pt x="550" y="201"/>
                      <a:pt x="550" y="201"/>
                      <a:pt x="550" y="201"/>
                    </a:cubicBezTo>
                    <a:cubicBezTo>
                      <a:pt x="550" y="202"/>
                      <a:pt x="550" y="202"/>
                      <a:pt x="550" y="202"/>
                    </a:cubicBezTo>
                    <a:cubicBezTo>
                      <a:pt x="548" y="205"/>
                      <a:pt x="548" y="205"/>
                      <a:pt x="548" y="205"/>
                    </a:cubicBezTo>
                    <a:cubicBezTo>
                      <a:pt x="548" y="206"/>
                      <a:pt x="548" y="206"/>
                      <a:pt x="548" y="206"/>
                    </a:cubicBezTo>
                    <a:cubicBezTo>
                      <a:pt x="546" y="207"/>
                      <a:pt x="546" y="207"/>
                      <a:pt x="546" y="207"/>
                    </a:cubicBezTo>
                    <a:cubicBezTo>
                      <a:pt x="545" y="209"/>
                      <a:pt x="545" y="209"/>
                      <a:pt x="545" y="209"/>
                    </a:cubicBezTo>
                    <a:cubicBezTo>
                      <a:pt x="545" y="211"/>
                      <a:pt x="545" y="211"/>
                      <a:pt x="545" y="211"/>
                    </a:cubicBezTo>
                    <a:cubicBezTo>
                      <a:pt x="547" y="212"/>
                      <a:pt x="547" y="212"/>
                      <a:pt x="547" y="212"/>
                    </a:cubicBezTo>
                    <a:cubicBezTo>
                      <a:pt x="547" y="213"/>
                      <a:pt x="547" y="213"/>
                      <a:pt x="547" y="213"/>
                    </a:cubicBezTo>
                    <a:cubicBezTo>
                      <a:pt x="545" y="214"/>
                      <a:pt x="545" y="214"/>
                      <a:pt x="545" y="214"/>
                    </a:cubicBezTo>
                    <a:cubicBezTo>
                      <a:pt x="545" y="215"/>
                      <a:pt x="545" y="215"/>
                      <a:pt x="545" y="215"/>
                    </a:cubicBezTo>
                    <a:cubicBezTo>
                      <a:pt x="546" y="216"/>
                      <a:pt x="546" y="216"/>
                      <a:pt x="546" y="216"/>
                    </a:cubicBezTo>
                    <a:cubicBezTo>
                      <a:pt x="544" y="218"/>
                      <a:pt x="544" y="218"/>
                      <a:pt x="544" y="218"/>
                    </a:cubicBezTo>
                    <a:cubicBezTo>
                      <a:pt x="544" y="220"/>
                      <a:pt x="544" y="220"/>
                      <a:pt x="544" y="220"/>
                    </a:cubicBezTo>
                    <a:cubicBezTo>
                      <a:pt x="545" y="222"/>
                      <a:pt x="545" y="222"/>
                      <a:pt x="545" y="222"/>
                    </a:cubicBezTo>
                    <a:cubicBezTo>
                      <a:pt x="546" y="222"/>
                      <a:pt x="546" y="222"/>
                      <a:pt x="546" y="222"/>
                    </a:cubicBezTo>
                    <a:cubicBezTo>
                      <a:pt x="546" y="223"/>
                      <a:pt x="546" y="223"/>
                      <a:pt x="546" y="223"/>
                    </a:cubicBezTo>
                    <a:cubicBezTo>
                      <a:pt x="547" y="225"/>
                      <a:pt x="547" y="225"/>
                      <a:pt x="547" y="225"/>
                    </a:cubicBezTo>
                    <a:cubicBezTo>
                      <a:pt x="548" y="225"/>
                      <a:pt x="548" y="225"/>
                      <a:pt x="548" y="225"/>
                    </a:cubicBezTo>
                    <a:cubicBezTo>
                      <a:pt x="549" y="223"/>
                      <a:pt x="549" y="223"/>
                      <a:pt x="549" y="223"/>
                    </a:cubicBezTo>
                    <a:cubicBezTo>
                      <a:pt x="549" y="222"/>
                      <a:pt x="549" y="222"/>
                      <a:pt x="549" y="222"/>
                    </a:cubicBezTo>
                    <a:cubicBezTo>
                      <a:pt x="550" y="222"/>
                      <a:pt x="550" y="222"/>
                      <a:pt x="550" y="222"/>
                    </a:cubicBezTo>
                    <a:cubicBezTo>
                      <a:pt x="551" y="222"/>
                      <a:pt x="551" y="222"/>
                      <a:pt x="551" y="222"/>
                    </a:cubicBezTo>
                    <a:cubicBezTo>
                      <a:pt x="553" y="220"/>
                      <a:pt x="553" y="220"/>
                      <a:pt x="553" y="220"/>
                    </a:cubicBezTo>
                    <a:cubicBezTo>
                      <a:pt x="553" y="221"/>
                      <a:pt x="553" y="221"/>
                      <a:pt x="553" y="221"/>
                    </a:cubicBezTo>
                    <a:cubicBezTo>
                      <a:pt x="552" y="223"/>
                      <a:pt x="552" y="223"/>
                      <a:pt x="552" y="223"/>
                    </a:cubicBezTo>
                    <a:cubicBezTo>
                      <a:pt x="551" y="224"/>
                      <a:pt x="551" y="224"/>
                      <a:pt x="551" y="224"/>
                    </a:cubicBezTo>
                    <a:cubicBezTo>
                      <a:pt x="550" y="225"/>
                      <a:pt x="550" y="225"/>
                      <a:pt x="550" y="225"/>
                    </a:cubicBezTo>
                    <a:cubicBezTo>
                      <a:pt x="551" y="226"/>
                      <a:pt x="551" y="226"/>
                      <a:pt x="551" y="226"/>
                    </a:cubicBezTo>
                    <a:cubicBezTo>
                      <a:pt x="551" y="227"/>
                      <a:pt x="551" y="227"/>
                      <a:pt x="551" y="227"/>
                    </a:cubicBezTo>
                    <a:cubicBezTo>
                      <a:pt x="553" y="229"/>
                      <a:pt x="553" y="229"/>
                      <a:pt x="553" y="229"/>
                    </a:cubicBezTo>
                    <a:cubicBezTo>
                      <a:pt x="555" y="228"/>
                      <a:pt x="555" y="228"/>
                      <a:pt x="555" y="228"/>
                    </a:cubicBezTo>
                    <a:cubicBezTo>
                      <a:pt x="555" y="229"/>
                      <a:pt x="555" y="229"/>
                      <a:pt x="555" y="229"/>
                    </a:cubicBezTo>
                    <a:cubicBezTo>
                      <a:pt x="558" y="230"/>
                      <a:pt x="558" y="230"/>
                      <a:pt x="558" y="230"/>
                    </a:cubicBezTo>
                    <a:cubicBezTo>
                      <a:pt x="559" y="228"/>
                      <a:pt x="559" y="228"/>
                      <a:pt x="559" y="228"/>
                    </a:cubicBezTo>
                    <a:cubicBezTo>
                      <a:pt x="561" y="228"/>
                      <a:pt x="561" y="228"/>
                      <a:pt x="561" y="228"/>
                    </a:cubicBezTo>
                    <a:cubicBezTo>
                      <a:pt x="561" y="225"/>
                      <a:pt x="561" y="225"/>
                      <a:pt x="561" y="225"/>
                    </a:cubicBezTo>
                    <a:cubicBezTo>
                      <a:pt x="562" y="225"/>
                      <a:pt x="562" y="225"/>
                      <a:pt x="562" y="225"/>
                    </a:cubicBezTo>
                    <a:cubicBezTo>
                      <a:pt x="563" y="224"/>
                      <a:pt x="563" y="224"/>
                      <a:pt x="563" y="224"/>
                    </a:cubicBezTo>
                    <a:cubicBezTo>
                      <a:pt x="563" y="226"/>
                      <a:pt x="563" y="226"/>
                      <a:pt x="563" y="226"/>
                    </a:cubicBezTo>
                    <a:cubicBezTo>
                      <a:pt x="563" y="226"/>
                      <a:pt x="563" y="226"/>
                      <a:pt x="563" y="226"/>
                    </a:cubicBezTo>
                    <a:cubicBezTo>
                      <a:pt x="563" y="228"/>
                      <a:pt x="563" y="228"/>
                      <a:pt x="563" y="228"/>
                    </a:cubicBezTo>
                    <a:cubicBezTo>
                      <a:pt x="564" y="227"/>
                      <a:pt x="564" y="227"/>
                      <a:pt x="564" y="227"/>
                    </a:cubicBezTo>
                    <a:cubicBezTo>
                      <a:pt x="565" y="224"/>
                      <a:pt x="565" y="224"/>
                      <a:pt x="565" y="224"/>
                    </a:cubicBezTo>
                    <a:cubicBezTo>
                      <a:pt x="566" y="224"/>
                      <a:pt x="566" y="224"/>
                      <a:pt x="566" y="224"/>
                    </a:cubicBezTo>
                    <a:cubicBezTo>
                      <a:pt x="567" y="225"/>
                      <a:pt x="567" y="225"/>
                      <a:pt x="567" y="225"/>
                    </a:cubicBezTo>
                    <a:cubicBezTo>
                      <a:pt x="566" y="227"/>
                      <a:pt x="566" y="227"/>
                      <a:pt x="566" y="227"/>
                    </a:cubicBezTo>
                    <a:cubicBezTo>
                      <a:pt x="564" y="230"/>
                      <a:pt x="564" y="230"/>
                      <a:pt x="564" y="230"/>
                    </a:cubicBezTo>
                    <a:cubicBezTo>
                      <a:pt x="563" y="232"/>
                      <a:pt x="563" y="232"/>
                      <a:pt x="563" y="232"/>
                    </a:cubicBezTo>
                    <a:cubicBezTo>
                      <a:pt x="563" y="233"/>
                      <a:pt x="563" y="233"/>
                      <a:pt x="563" y="233"/>
                    </a:cubicBezTo>
                    <a:cubicBezTo>
                      <a:pt x="565" y="234"/>
                      <a:pt x="565" y="234"/>
                      <a:pt x="565" y="234"/>
                    </a:cubicBezTo>
                    <a:cubicBezTo>
                      <a:pt x="566" y="235"/>
                      <a:pt x="566" y="235"/>
                      <a:pt x="566" y="235"/>
                    </a:cubicBezTo>
                    <a:cubicBezTo>
                      <a:pt x="568" y="235"/>
                      <a:pt x="568" y="235"/>
                      <a:pt x="568" y="235"/>
                    </a:cubicBezTo>
                    <a:cubicBezTo>
                      <a:pt x="568" y="236"/>
                      <a:pt x="568" y="236"/>
                      <a:pt x="568" y="236"/>
                    </a:cubicBezTo>
                    <a:cubicBezTo>
                      <a:pt x="570" y="236"/>
                      <a:pt x="570" y="236"/>
                      <a:pt x="570" y="236"/>
                    </a:cubicBezTo>
                    <a:cubicBezTo>
                      <a:pt x="571" y="234"/>
                      <a:pt x="571" y="234"/>
                      <a:pt x="571" y="234"/>
                    </a:cubicBezTo>
                    <a:cubicBezTo>
                      <a:pt x="573" y="235"/>
                      <a:pt x="573" y="235"/>
                      <a:pt x="573" y="235"/>
                    </a:cubicBezTo>
                    <a:cubicBezTo>
                      <a:pt x="572" y="236"/>
                      <a:pt x="572" y="236"/>
                      <a:pt x="572" y="236"/>
                    </a:cubicBezTo>
                    <a:cubicBezTo>
                      <a:pt x="573" y="237"/>
                      <a:pt x="573" y="237"/>
                      <a:pt x="573" y="237"/>
                    </a:cubicBezTo>
                    <a:cubicBezTo>
                      <a:pt x="574" y="237"/>
                      <a:pt x="574" y="237"/>
                      <a:pt x="574" y="237"/>
                    </a:cubicBezTo>
                    <a:cubicBezTo>
                      <a:pt x="575" y="238"/>
                      <a:pt x="575" y="238"/>
                      <a:pt x="575" y="238"/>
                    </a:cubicBezTo>
                    <a:cubicBezTo>
                      <a:pt x="576" y="237"/>
                      <a:pt x="576" y="237"/>
                      <a:pt x="576" y="237"/>
                    </a:cubicBezTo>
                    <a:cubicBezTo>
                      <a:pt x="576" y="236"/>
                      <a:pt x="576" y="236"/>
                      <a:pt x="576" y="236"/>
                    </a:cubicBezTo>
                    <a:cubicBezTo>
                      <a:pt x="576" y="235"/>
                      <a:pt x="576" y="235"/>
                      <a:pt x="576" y="235"/>
                    </a:cubicBezTo>
                    <a:cubicBezTo>
                      <a:pt x="577" y="233"/>
                      <a:pt x="577" y="233"/>
                      <a:pt x="577" y="233"/>
                    </a:cubicBezTo>
                    <a:cubicBezTo>
                      <a:pt x="578" y="234"/>
                      <a:pt x="578" y="234"/>
                      <a:pt x="578" y="234"/>
                    </a:cubicBezTo>
                    <a:cubicBezTo>
                      <a:pt x="577" y="236"/>
                      <a:pt x="577" y="236"/>
                      <a:pt x="577" y="236"/>
                    </a:cubicBezTo>
                    <a:cubicBezTo>
                      <a:pt x="578" y="238"/>
                      <a:pt x="578" y="238"/>
                      <a:pt x="578" y="238"/>
                    </a:cubicBezTo>
                    <a:cubicBezTo>
                      <a:pt x="579" y="238"/>
                      <a:pt x="579" y="238"/>
                      <a:pt x="579" y="238"/>
                    </a:cubicBezTo>
                    <a:cubicBezTo>
                      <a:pt x="579" y="236"/>
                      <a:pt x="579" y="236"/>
                      <a:pt x="579" y="236"/>
                    </a:cubicBezTo>
                    <a:cubicBezTo>
                      <a:pt x="580" y="235"/>
                      <a:pt x="580" y="235"/>
                      <a:pt x="580" y="235"/>
                    </a:cubicBezTo>
                    <a:cubicBezTo>
                      <a:pt x="581" y="235"/>
                      <a:pt x="581" y="235"/>
                      <a:pt x="581" y="235"/>
                    </a:cubicBezTo>
                    <a:cubicBezTo>
                      <a:pt x="581" y="236"/>
                      <a:pt x="581" y="236"/>
                      <a:pt x="581" y="236"/>
                    </a:cubicBezTo>
                    <a:cubicBezTo>
                      <a:pt x="580" y="237"/>
                      <a:pt x="580" y="237"/>
                      <a:pt x="580" y="237"/>
                    </a:cubicBezTo>
                    <a:cubicBezTo>
                      <a:pt x="581" y="238"/>
                      <a:pt x="581" y="238"/>
                      <a:pt x="581" y="238"/>
                    </a:cubicBezTo>
                    <a:cubicBezTo>
                      <a:pt x="583" y="238"/>
                      <a:pt x="583" y="238"/>
                      <a:pt x="583" y="238"/>
                    </a:cubicBezTo>
                    <a:cubicBezTo>
                      <a:pt x="585" y="237"/>
                      <a:pt x="585" y="237"/>
                      <a:pt x="585" y="237"/>
                    </a:cubicBezTo>
                    <a:cubicBezTo>
                      <a:pt x="586" y="234"/>
                      <a:pt x="586" y="234"/>
                      <a:pt x="586" y="234"/>
                    </a:cubicBezTo>
                    <a:cubicBezTo>
                      <a:pt x="586" y="236"/>
                      <a:pt x="586" y="236"/>
                      <a:pt x="586" y="236"/>
                    </a:cubicBezTo>
                    <a:cubicBezTo>
                      <a:pt x="585" y="237"/>
                      <a:pt x="585" y="237"/>
                      <a:pt x="585" y="237"/>
                    </a:cubicBezTo>
                    <a:cubicBezTo>
                      <a:pt x="585" y="238"/>
                      <a:pt x="585" y="238"/>
                      <a:pt x="585" y="238"/>
                    </a:cubicBezTo>
                    <a:cubicBezTo>
                      <a:pt x="588" y="238"/>
                      <a:pt x="588" y="238"/>
                      <a:pt x="588" y="238"/>
                    </a:cubicBezTo>
                    <a:cubicBezTo>
                      <a:pt x="588" y="235"/>
                      <a:pt x="588" y="235"/>
                      <a:pt x="588" y="235"/>
                    </a:cubicBezTo>
                    <a:cubicBezTo>
                      <a:pt x="589" y="234"/>
                      <a:pt x="589" y="234"/>
                      <a:pt x="589" y="234"/>
                    </a:cubicBezTo>
                    <a:cubicBezTo>
                      <a:pt x="589" y="238"/>
                      <a:pt x="589" y="238"/>
                      <a:pt x="589" y="238"/>
                    </a:cubicBezTo>
                    <a:cubicBezTo>
                      <a:pt x="589" y="240"/>
                      <a:pt x="589" y="240"/>
                      <a:pt x="589" y="240"/>
                    </a:cubicBezTo>
                    <a:cubicBezTo>
                      <a:pt x="591" y="240"/>
                      <a:pt x="591" y="240"/>
                      <a:pt x="591" y="240"/>
                    </a:cubicBezTo>
                    <a:cubicBezTo>
                      <a:pt x="593" y="241"/>
                      <a:pt x="593" y="241"/>
                      <a:pt x="593" y="241"/>
                    </a:cubicBezTo>
                    <a:cubicBezTo>
                      <a:pt x="595" y="241"/>
                      <a:pt x="595" y="241"/>
                      <a:pt x="595" y="241"/>
                    </a:cubicBezTo>
                    <a:cubicBezTo>
                      <a:pt x="596" y="240"/>
                      <a:pt x="596" y="240"/>
                      <a:pt x="596" y="240"/>
                    </a:cubicBezTo>
                    <a:cubicBezTo>
                      <a:pt x="597" y="241"/>
                      <a:pt x="597" y="241"/>
                      <a:pt x="597" y="241"/>
                    </a:cubicBezTo>
                    <a:cubicBezTo>
                      <a:pt x="599" y="241"/>
                      <a:pt x="599" y="241"/>
                      <a:pt x="599" y="241"/>
                    </a:cubicBezTo>
                    <a:cubicBezTo>
                      <a:pt x="600" y="240"/>
                      <a:pt x="600" y="240"/>
                      <a:pt x="600" y="240"/>
                    </a:cubicBezTo>
                    <a:cubicBezTo>
                      <a:pt x="600" y="238"/>
                      <a:pt x="600" y="238"/>
                      <a:pt x="600" y="238"/>
                    </a:cubicBezTo>
                    <a:cubicBezTo>
                      <a:pt x="602" y="236"/>
                      <a:pt x="602" y="236"/>
                      <a:pt x="602" y="236"/>
                    </a:cubicBezTo>
                    <a:cubicBezTo>
                      <a:pt x="603" y="235"/>
                      <a:pt x="603" y="235"/>
                      <a:pt x="603" y="235"/>
                    </a:cubicBezTo>
                    <a:cubicBezTo>
                      <a:pt x="602" y="233"/>
                      <a:pt x="602" y="233"/>
                      <a:pt x="602" y="233"/>
                    </a:cubicBezTo>
                    <a:cubicBezTo>
                      <a:pt x="603" y="231"/>
                      <a:pt x="603" y="231"/>
                      <a:pt x="603" y="231"/>
                    </a:cubicBezTo>
                    <a:cubicBezTo>
                      <a:pt x="604" y="232"/>
                      <a:pt x="604" y="232"/>
                      <a:pt x="604" y="232"/>
                    </a:cubicBezTo>
                    <a:cubicBezTo>
                      <a:pt x="604" y="234"/>
                      <a:pt x="604" y="234"/>
                      <a:pt x="604" y="234"/>
                    </a:cubicBezTo>
                    <a:cubicBezTo>
                      <a:pt x="605" y="234"/>
                      <a:pt x="605" y="234"/>
                      <a:pt x="605" y="234"/>
                    </a:cubicBezTo>
                    <a:cubicBezTo>
                      <a:pt x="605" y="235"/>
                      <a:pt x="605" y="235"/>
                      <a:pt x="605" y="235"/>
                    </a:cubicBezTo>
                    <a:cubicBezTo>
                      <a:pt x="604" y="236"/>
                      <a:pt x="604" y="236"/>
                      <a:pt x="604" y="236"/>
                    </a:cubicBezTo>
                    <a:cubicBezTo>
                      <a:pt x="603" y="239"/>
                      <a:pt x="603" y="239"/>
                      <a:pt x="603" y="239"/>
                    </a:cubicBezTo>
                    <a:cubicBezTo>
                      <a:pt x="603" y="243"/>
                      <a:pt x="603" y="243"/>
                      <a:pt x="603" y="243"/>
                    </a:cubicBezTo>
                    <a:close/>
                    <a:moveTo>
                      <a:pt x="537" y="154"/>
                    </a:moveTo>
                    <a:cubicBezTo>
                      <a:pt x="538" y="153"/>
                      <a:pt x="538" y="153"/>
                      <a:pt x="538" y="153"/>
                    </a:cubicBezTo>
                    <a:cubicBezTo>
                      <a:pt x="538" y="152"/>
                      <a:pt x="538" y="152"/>
                      <a:pt x="538" y="152"/>
                    </a:cubicBezTo>
                    <a:cubicBezTo>
                      <a:pt x="537" y="152"/>
                      <a:pt x="537" y="152"/>
                      <a:pt x="537" y="152"/>
                    </a:cubicBezTo>
                    <a:cubicBezTo>
                      <a:pt x="536" y="153"/>
                      <a:pt x="536" y="153"/>
                      <a:pt x="536" y="153"/>
                    </a:cubicBezTo>
                    <a:cubicBezTo>
                      <a:pt x="537" y="154"/>
                      <a:pt x="537" y="154"/>
                      <a:pt x="537" y="154"/>
                    </a:cubicBezTo>
                    <a:close/>
                    <a:moveTo>
                      <a:pt x="533" y="166"/>
                    </a:moveTo>
                    <a:cubicBezTo>
                      <a:pt x="534" y="164"/>
                      <a:pt x="534" y="164"/>
                      <a:pt x="534" y="164"/>
                    </a:cubicBezTo>
                    <a:cubicBezTo>
                      <a:pt x="535" y="163"/>
                      <a:pt x="535" y="163"/>
                      <a:pt x="535" y="163"/>
                    </a:cubicBezTo>
                    <a:cubicBezTo>
                      <a:pt x="535" y="164"/>
                      <a:pt x="535" y="164"/>
                      <a:pt x="535" y="164"/>
                    </a:cubicBezTo>
                    <a:cubicBezTo>
                      <a:pt x="534" y="165"/>
                      <a:pt x="534" y="165"/>
                      <a:pt x="534" y="165"/>
                    </a:cubicBezTo>
                    <a:cubicBezTo>
                      <a:pt x="533" y="166"/>
                      <a:pt x="533" y="166"/>
                      <a:pt x="533" y="166"/>
                    </a:cubicBezTo>
                    <a:close/>
                    <a:moveTo>
                      <a:pt x="487" y="183"/>
                    </a:moveTo>
                    <a:cubicBezTo>
                      <a:pt x="486" y="184"/>
                      <a:pt x="486" y="184"/>
                      <a:pt x="486" y="184"/>
                    </a:cubicBezTo>
                    <a:cubicBezTo>
                      <a:pt x="487" y="184"/>
                      <a:pt x="487" y="184"/>
                      <a:pt x="487" y="184"/>
                    </a:cubicBezTo>
                    <a:cubicBezTo>
                      <a:pt x="487" y="183"/>
                      <a:pt x="487" y="183"/>
                      <a:pt x="487" y="183"/>
                    </a:cubicBezTo>
                    <a:cubicBezTo>
                      <a:pt x="487" y="183"/>
                      <a:pt x="487" y="183"/>
                      <a:pt x="487" y="183"/>
                    </a:cubicBezTo>
                    <a:close/>
                    <a:moveTo>
                      <a:pt x="517" y="153"/>
                    </a:moveTo>
                    <a:cubicBezTo>
                      <a:pt x="517" y="154"/>
                      <a:pt x="517" y="154"/>
                      <a:pt x="517" y="154"/>
                    </a:cubicBezTo>
                    <a:cubicBezTo>
                      <a:pt x="518" y="155"/>
                      <a:pt x="518" y="155"/>
                      <a:pt x="518" y="155"/>
                    </a:cubicBezTo>
                    <a:cubicBezTo>
                      <a:pt x="518" y="156"/>
                      <a:pt x="518" y="156"/>
                      <a:pt x="518" y="156"/>
                    </a:cubicBezTo>
                    <a:cubicBezTo>
                      <a:pt x="519" y="156"/>
                      <a:pt x="519" y="156"/>
                      <a:pt x="519" y="156"/>
                    </a:cubicBezTo>
                    <a:cubicBezTo>
                      <a:pt x="519" y="154"/>
                      <a:pt x="519" y="154"/>
                      <a:pt x="519" y="154"/>
                    </a:cubicBezTo>
                    <a:cubicBezTo>
                      <a:pt x="518" y="153"/>
                      <a:pt x="518" y="153"/>
                      <a:pt x="518" y="153"/>
                    </a:cubicBezTo>
                    <a:cubicBezTo>
                      <a:pt x="517" y="153"/>
                      <a:pt x="517" y="153"/>
                      <a:pt x="517" y="153"/>
                    </a:cubicBezTo>
                    <a:close/>
                    <a:moveTo>
                      <a:pt x="502" y="153"/>
                    </a:moveTo>
                    <a:cubicBezTo>
                      <a:pt x="502" y="155"/>
                      <a:pt x="502" y="155"/>
                      <a:pt x="502" y="155"/>
                    </a:cubicBezTo>
                    <a:cubicBezTo>
                      <a:pt x="503" y="155"/>
                      <a:pt x="503" y="155"/>
                      <a:pt x="503" y="155"/>
                    </a:cubicBezTo>
                    <a:cubicBezTo>
                      <a:pt x="504" y="155"/>
                      <a:pt x="504" y="155"/>
                      <a:pt x="504" y="155"/>
                    </a:cubicBezTo>
                    <a:cubicBezTo>
                      <a:pt x="506" y="154"/>
                      <a:pt x="506" y="154"/>
                      <a:pt x="506" y="154"/>
                    </a:cubicBezTo>
                    <a:cubicBezTo>
                      <a:pt x="508" y="155"/>
                      <a:pt x="508" y="155"/>
                      <a:pt x="508" y="155"/>
                    </a:cubicBezTo>
                    <a:cubicBezTo>
                      <a:pt x="511" y="153"/>
                      <a:pt x="511" y="153"/>
                      <a:pt x="511" y="153"/>
                    </a:cubicBezTo>
                    <a:cubicBezTo>
                      <a:pt x="512" y="153"/>
                      <a:pt x="512" y="153"/>
                      <a:pt x="512" y="153"/>
                    </a:cubicBezTo>
                    <a:cubicBezTo>
                      <a:pt x="514" y="152"/>
                      <a:pt x="514" y="152"/>
                      <a:pt x="514" y="152"/>
                    </a:cubicBezTo>
                    <a:cubicBezTo>
                      <a:pt x="513" y="151"/>
                      <a:pt x="513" y="151"/>
                      <a:pt x="513" y="151"/>
                    </a:cubicBezTo>
                    <a:cubicBezTo>
                      <a:pt x="510" y="151"/>
                      <a:pt x="510" y="151"/>
                      <a:pt x="510" y="151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53"/>
                      <a:pt x="507" y="153"/>
                    </a:cubicBezTo>
                    <a:cubicBezTo>
                      <a:pt x="506" y="153"/>
                      <a:pt x="505" y="152"/>
                      <a:pt x="505" y="152"/>
                    </a:cubicBezTo>
                    <a:cubicBezTo>
                      <a:pt x="503" y="153"/>
                      <a:pt x="503" y="153"/>
                      <a:pt x="503" y="153"/>
                    </a:cubicBezTo>
                    <a:cubicBezTo>
                      <a:pt x="502" y="153"/>
                      <a:pt x="502" y="153"/>
                      <a:pt x="502" y="153"/>
                    </a:cubicBezTo>
                    <a:close/>
                    <a:moveTo>
                      <a:pt x="487" y="159"/>
                    </a:moveTo>
                    <a:cubicBezTo>
                      <a:pt x="486" y="158"/>
                      <a:pt x="486" y="158"/>
                      <a:pt x="486" y="158"/>
                    </a:cubicBezTo>
                    <a:cubicBezTo>
                      <a:pt x="484" y="157"/>
                      <a:pt x="484" y="157"/>
                      <a:pt x="484" y="157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1" y="154"/>
                      <a:pt x="481" y="154"/>
                      <a:pt x="481" y="154"/>
                    </a:cubicBezTo>
                    <a:cubicBezTo>
                      <a:pt x="483" y="153"/>
                      <a:pt x="483" y="153"/>
                      <a:pt x="483" y="153"/>
                    </a:cubicBezTo>
                    <a:cubicBezTo>
                      <a:pt x="483" y="151"/>
                      <a:pt x="483" y="151"/>
                      <a:pt x="483" y="151"/>
                    </a:cubicBezTo>
                    <a:cubicBezTo>
                      <a:pt x="483" y="150"/>
                      <a:pt x="483" y="150"/>
                      <a:pt x="483" y="150"/>
                    </a:cubicBezTo>
                    <a:cubicBezTo>
                      <a:pt x="483" y="148"/>
                      <a:pt x="483" y="148"/>
                      <a:pt x="483" y="148"/>
                    </a:cubicBezTo>
                    <a:cubicBezTo>
                      <a:pt x="484" y="147"/>
                      <a:pt x="484" y="147"/>
                      <a:pt x="484" y="147"/>
                    </a:cubicBezTo>
                    <a:cubicBezTo>
                      <a:pt x="486" y="147"/>
                      <a:pt x="486" y="147"/>
                      <a:pt x="486" y="147"/>
                    </a:cubicBezTo>
                    <a:cubicBezTo>
                      <a:pt x="487" y="148"/>
                      <a:pt x="487" y="148"/>
                      <a:pt x="487" y="148"/>
                    </a:cubicBezTo>
                    <a:cubicBezTo>
                      <a:pt x="488" y="148"/>
                      <a:pt x="488" y="148"/>
                      <a:pt x="488" y="148"/>
                    </a:cubicBezTo>
                    <a:cubicBezTo>
                      <a:pt x="488" y="149"/>
                      <a:pt x="488" y="149"/>
                      <a:pt x="488" y="149"/>
                    </a:cubicBezTo>
                    <a:cubicBezTo>
                      <a:pt x="487" y="150"/>
                      <a:pt x="487" y="150"/>
                      <a:pt x="487" y="150"/>
                    </a:cubicBezTo>
                    <a:cubicBezTo>
                      <a:pt x="487" y="151"/>
                      <a:pt x="487" y="151"/>
                      <a:pt x="487" y="151"/>
                    </a:cubicBezTo>
                    <a:cubicBezTo>
                      <a:pt x="488" y="151"/>
                      <a:pt x="488" y="151"/>
                      <a:pt x="488" y="151"/>
                    </a:cubicBezTo>
                    <a:cubicBezTo>
                      <a:pt x="489" y="151"/>
                      <a:pt x="489" y="151"/>
                      <a:pt x="489" y="151"/>
                    </a:cubicBezTo>
                    <a:cubicBezTo>
                      <a:pt x="489" y="152"/>
                      <a:pt x="489" y="152"/>
                      <a:pt x="489" y="152"/>
                    </a:cubicBezTo>
                    <a:cubicBezTo>
                      <a:pt x="489" y="153"/>
                      <a:pt x="489" y="153"/>
                      <a:pt x="489" y="153"/>
                    </a:cubicBezTo>
                    <a:cubicBezTo>
                      <a:pt x="489" y="155"/>
                      <a:pt x="489" y="155"/>
                      <a:pt x="489" y="155"/>
                    </a:cubicBezTo>
                    <a:cubicBezTo>
                      <a:pt x="489" y="157"/>
                      <a:pt x="489" y="157"/>
                      <a:pt x="489" y="157"/>
                    </a:cubicBezTo>
                    <a:cubicBezTo>
                      <a:pt x="489" y="158"/>
                      <a:pt x="489" y="158"/>
                      <a:pt x="489" y="158"/>
                    </a:cubicBezTo>
                    <a:cubicBezTo>
                      <a:pt x="487" y="159"/>
                      <a:pt x="487" y="159"/>
                      <a:pt x="487" y="159"/>
                    </a:cubicBezTo>
                    <a:close/>
                    <a:moveTo>
                      <a:pt x="485" y="166"/>
                    </a:moveTo>
                    <a:cubicBezTo>
                      <a:pt x="489" y="166"/>
                      <a:pt x="489" y="166"/>
                      <a:pt x="489" y="166"/>
                    </a:cubicBezTo>
                    <a:cubicBezTo>
                      <a:pt x="490" y="165"/>
                      <a:pt x="490" y="165"/>
                      <a:pt x="490" y="165"/>
                    </a:cubicBezTo>
                    <a:cubicBezTo>
                      <a:pt x="491" y="162"/>
                      <a:pt x="491" y="162"/>
                      <a:pt x="491" y="162"/>
                    </a:cubicBezTo>
                    <a:cubicBezTo>
                      <a:pt x="490" y="161"/>
                      <a:pt x="490" y="161"/>
                      <a:pt x="490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86" y="160"/>
                      <a:pt x="486" y="160"/>
                      <a:pt x="486" y="160"/>
                    </a:cubicBezTo>
                    <a:cubicBezTo>
                      <a:pt x="483" y="160"/>
                      <a:pt x="483" y="160"/>
                      <a:pt x="483" y="160"/>
                    </a:cubicBezTo>
                    <a:cubicBezTo>
                      <a:pt x="482" y="159"/>
                      <a:pt x="482" y="159"/>
                      <a:pt x="482" y="159"/>
                    </a:cubicBezTo>
                    <a:cubicBezTo>
                      <a:pt x="480" y="159"/>
                      <a:pt x="480" y="159"/>
                      <a:pt x="480" y="159"/>
                    </a:cubicBezTo>
                    <a:cubicBezTo>
                      <a:pt x="479" y="160"/>
                      <a:pt x="479" y="160"/>
                      <a:pt x="479" y="160"/>
                    </a:cubicBezTo>
                    <a:cubicBezTo>
                      <a:pt x="478" y="161"/>
                      <a:pt x="478" y="161"/>
                      <a:pt x="478" y="161"/>
                    </a:cubicBezTo>
                    <a:cubicBezTo>
                      <a:pt x="478" y="162"/>
                      <a:pt x="478" y="162"/>
                      <a:pt x="478" y="162"/>
                    </a:cubicBezTo>
                    <a:cubicBezTo>
                      <a:pt x="478" y="163"/>
                      <a:pt x="478" y="163"/>
                      <a:pt x="478" y="163"/>
                    </a:cubicBezTo>
                    <a:cubicBezTo>
                      <a:pt x="479" y="163"/>
                      <a:pt x="479" y="163"/>
                      <a:pt x="479" y="163"/>
                    </a:cubicBezTo>
                    <a:cubicBezTo>
                      <a:pt x="480" y="164"/>
                      <a:pt x="480" y="164"/>
                      <a:pt x="480" y="164"/>
                    </a:cubicBezTo>
                    <a:cubicBezTo>
                      <a:pt x="481" y="165"/>
                      <a:pt x="481" y="165"/>
                      <a:pt x="481" y="165"/>
                    </a:cubicBezTo>
                    <a:cubicBezTo>
                      <a:pt x="483" y="166"/>
                      <a:pt x="483" y="166"/>
                      <a:pt x="483" y="166"/>
                    </a:cubicBezTo>
                    <a:cubicBezTo>
                      <a:pt x="485" y="166"/>
                      <a:pt x="485" y="166"/>
                      <a:pt x="485" y="166"/>
                    </a:cubicBezTo>
                    <a:close/>
                    <a:moveTo>
                      <a:pt x="478" y="169"/>
                    </a:moveTo>
                    <a:cubicBezTo>
                      <a:pt x="482" y="170"/>
                      <a:pt x="482" y="170"/>
                      <a:pt x="482" y="170"/>
                    </a:cubicBezTo>
                    <a:cubicBezTo>
                      <a:pt x="484" y="169"/>
                      <a:pt x="484" y="169"/>
                      <a:pt x="484" y="169"/>
                    </a:cubicBezTo>
                    <a:cubicBezTo>
                      <a:pt x="486" y="169"/>
                      <a:pt x="486" y="169"/>
                      <a:pt x="486" y="169"/>
                    </a:cubicBezTo>
                    <a:cubicBezTo>
                      <a:pt x="486" y="170"/>
                      <a:pt x="486" y="170"/>
                      <a:pt x="486" y="170"/>
                    </a:cubicBezTo>
                    <a:cubicBezTo>
                      <a:pt x="488" y="169"/>
                      <a:pt x="488" y="169"/>
                      <a:pt x="488" y="169"/>
                    </a:cubicBezTo>
                    <a:cubicBezTo>
                      <a:pt x="489" y="169"/>
                      <a:pt x="489" y="169"/>
                      <a:pt x="489" y="169"/>
                    </a:cubicBezTo>
                    <a:cubicBezTo>
                      <a:pt x="489" y="168"/>
                      <a:pt x="489" y="168"/>
                      <a:pt x="489" y="168"/>
                    </a:cubicBezTo>
                    <a:cubicBezTo>
                      <a:pt x="488" y="167"/>
                      <a:pt x="488" y="167"/>
                      <a:pt x="488" y="167"/>
                    </a:cubicBezTo>
                    <a:cubicBezTo>
                      <a:pt x="484" y="168"/>
                      <a:pt x="484" y="168"/>
                      <a:pt x="484" y="168"/>
                    </a:cubicBezTo>
                    <a:cubicBezTo>
                      <a:pt x="482" y="168"/>
                      <a:pt x="482" y="168"/>
                      <a:pt x="482" y="168"/>
                    </a:cubicBezTo>
                    <a:cubicBezTo>
                      <a:pt x="481" y="167"/>
                      <a:pt x="481" y="167"/>
                      <a:pt x="481" y="167"/>
                    </a:cubicBezTo>
                    <a:cubicBezTo>
                      <a:pt x="479" y="167"/>
                      <a:pt x="479" y="167"/>
                      <a:pt x="479" y="167"/>
                    </a:cubicBezTo>
                    <a:cubicBezTo>
                      <a:pt x="477" y="168"/>
                      <a:pt x="477" y="168"/>
                      <a:pt x="477" y="168"/>
                    </a:cubicBezTo>
                    <a:cubicBezTo>
                      <a:pt x="478" y="169"/>
                      <a:pt x="478" y="169"/>
                      <a:pt x="478" y="169"/>
                    </a:cubicBezTo>
                    <a:close/>
                    <a:moveTo>
                      <a:pt x="477" y="174"/>
                    </a:moveTo>
                    <a:cubicBezTo>
                      <a:pt x="478" y="173"/>
                      <a:pt x="478" y="173"/>
                      <a:pt x="478" y="173"/>
                    </a:cubicBezTo>
                    <a:cubicBezTo>
                      <a:pt x="480" y="173"/>
                      <a:pt x="480" y="173"/>
                      <a:pt x="480" y="173"/>
                    </a:cubicBezTo>
                    <a:cubicBezTo>
                      <a:pt x="482" y="172"/>
                      <a:pt x="482" y="172"/>
                      <a:pt x="482" y="172"/>
                    </a:cubicBezTo>
                    <a:cubicBezTo>
                      <a:pt x="486" y="171"/>
                      <a:pt x="486" y="171"/>
                      <a:pt x="486" y="171"/>
                    </a:cubicBezTo>
                    <a:cubicBezTo>
                      <a:pt x="487" y="171"/>
                      <a:pt x="487" y="171"/>
                      <a:pt x="487" y="171"/>
                    </a:cubicBezTo>
                    <a:cubicBezTo>
                      <a:pt x="488" y="171"/>
                      <a:pt x="488" y="171"/>
                      <a:pt x="488" y="171"/>
                    </a:cubicBezTo>
                    <a:cubicBezTo>
                      <a:pt x="489" y="171"/>
                      <a:pt x="489" y="171"/>
                      <a:pt x="489" y="171"/>
                    </a:cubicBezTo>
                    <a:cubicBezTo>
                      <a:pt x="490" y="172"/>
                      <a:pt x="490" y="172"/>
                      <a:pt x="490" y="172"/>
                    </a:cubicBezTo>
                    <a:cubicBezTo>
                      <a:pt x="488" y="173"/>
                      <a:pt x="488" y="173"/>
                      <a:pt x="488" y="173"/>
                    </a:cubicBezTo>
                    <a:cubicBezTo>
                      <a:pt x="487" y="173"/>
                      <a:pt x="487" y="173"/>
                      <a:pt x="487" y="173"/>
                    </a:cubicBezTo>
                    <a:cubicBezTo>
                      <a:pt x="485" y="173"/>
                      <a:pt x="485" y="173"/>
                      <a:pt x="485" y="173"/>
                    </a:cubicBezTo>
                    <a:cubicBezTo>
                      <a:pt x="484" y="174"/>
                      <a:pt x="484" y="174"/>
                      <a:pt x="484" y="174"/>
                    </a:cubicBezTo>
                    <a:cubicBezTo>
                      <a:pt x="482" y="176"/>
                      <a:pt x="482" y="176"/>
                      <a:pt x="482" y="176"/>
                    </a:cubicBezTo>
                    <a:cubicBezTo>
                      <a:pt x="480" y="175"/>
                      <a:pt x="480" y="175"/>
                      <a:pt x="480" y="175"/>
                    </a:cubicBezTo>
                    <a:cubicBezTo>
                      <a:pt x="478" y="174"/>
                      <a:pt x="478" y="174"/>
                      <a:pt x="478" y="174"/>
                    </a:cubicBezTo>
                    <a:cubicBezTo>
                      <a:pt x="478" y="175"/>
                      <a:pt x="478" y="175"/>
                      <a:pt x="478" y="175"/>
                    </a:cubicBezTo>
                    <a:cubicBezTo>
                      <a:pt x="477" y="175"/>
                      <a:pt x="477" y="175"/>
                      <a:pt x="477" y="175"/>
                    </a:cubicBezTo>
                    <a:cubicBezTo>
                      <a:pt x="477" y="174"/>
                      <a:pt x="477" y="174"/>
                      <a:pt x="477" y="174"/>
                    </a:cubicBezTo>
                    <a:close/>
                    <a:moveTo>
                      <a:pt x="432" y="114"/>
                    </a:moveTo>
                    <a:cubicBezTo>
                      <a:pt x="431" y="114"/>
                      <a:pt x="431" y="114"/>
                      <a:pt x="431" y="114"/>
                    </a:cubicBezTo>
                    <a:cubicBezTo>
                      <a:pt x="431" y="112"/>
                      <a:pt x="431" y="112"/>
                      <a:pt x="431" y="112"/>
                    </a:cubicBezTo>
                    <a:cubicBezTo>
                      <a:pt x="434" y="112"/>
                      <a:pt x="434" y="112"/>
                      <a:pt x="434" y="112"/>
                    </a:cubicBezTo>
                    <a:cubicBezTo>
                      <a:pt x="433" y="114"/>
                      <a:pt x="433" y="114"/>
                      <a:pt x="433" y="114"/>
                    </a:cubicBezTo>
                    <a:cubicBezTo>
                      <a:pt x="432" y="114"/>
                      <a:pt x="432" y="114"/>
                      <a:pt x="432" y="114"/>
                    </a:cubicBezTo>
                    <a:close/>
                    <a:moveTo>
                      <a:pt x="419" y="120"/>
                    </a:moveTo>
                    <a:cubicBezTo>
                      <a:pt x="420" y="120"/>
                      <a:pt x="420" y="120"/>
                      <a:pt x="420" y="120"/>
                    </a:cubicBezTo>
                    <a:cubicBezTo>
                      <a:pt x="421" y="119"/>
                      <a:pt x="421" y="119"/>
                      <a:pt x="421" y="119"/>
                    </a:cubicBezTo>
                    <a:cubicBezTo>
                      <a:pt x="424" y="120"/>
                      <a:pt x="424" y="120"/>
                      <a:pt x="424" y="120"/>
                    </a:cubicBezTo>
                    <a:cubicBezTo>
                      <a:pt x="425" y="120"/>
                      <a:pt x="425" y="120"/>
                      <a:pt x="425" y="120"/>
                    </a:cubicBezTo>
                    <a:cubicBezTo>
                      <a:pt x="427" y="121"/>
                      <a:pt x="427" y="121"/>
                      <a:pt x="427" y="121"/>
                    </a:cubicBezTo>
                    <a:cubicBezTo>
                      <a:pt x="427" y="122"/>
                      <a:pt x="427" y="122"/>
                      <a:pt x="427" y="122"/>
                    </a:cubicBezTo>
                    <a:cubicBezTo>
                      <a:pt x="428" y="123"/>
                      <a:pt x="428" y="123"/>
                      <a:pt x="428" y="123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5" y="125"/>
                      <a:pt x="425" y="125"/>
                      <a:pt x="425" y="125"/>
                    </a:cubicBezTo>
                    <a:cubicBezTo>
                      <a:pt x="423" y="125"/>
                      <a:pt x="423" y="125"/>
                      <a:pt x="423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1" y="123"/>
                      <a:pt x="421" y="123"/>
                      <a:pt x="421" y="123"/>
                    </a:cubicBezTo>
                    <a:cubicBezTo>
                      <a:pt x="420" y="121"/>
                      <a:pt x="420" y="121"/>
                      <a:pt x="420" y="121"/>
                    </a:cubicBezTo>
                    <a:cubicBezTo>
                      <a:pt x="419" y="121"/>
                      <a:pt x="419" y="121"/>
                      <a:pt x="419" y="121"/>
                    </a:cubicBezTo>
                    <a:cubicBezTo>
                      <a:pt x="419" y="121"/>
                      <a:pt x="419" y="120"/>
                      <a:pt x="419" y="120"/>
                    </a:cubicBezTo>
                    <a:close/>
                    <a:moveTo>
                      <a:pt x="351" y="124"/>
                    </a:moveTo>
                    <a:cubicBezTo>
                      <a:pt x="349" y="123"/>
                      <a:pt x="349" y="123"/>
                      <a:pt x="349" y="123"/>
                    </a:cubicBezTo>
                    <a:cubicBezTo>
                      <a:pt x="348" y="122"/>
                      <a:pt x="348" y="122"/>
                      <a:pt x="348" y="122"/>
                    </a:cubicBezTo>
                    <a:cubicBezTo>
                      <a:pt x="349" y="122"/>
                      <a:pt x="349" y="122"/>
                      <a:pt x="349" y="122"/>
                    </a:cubicBezTo>
                    <a:cubicBezTo>
                      <a:pt x="351" y="122"/>
                      <a:pt x="351" y="122"/>
                      <a:pt x="351" y="122"/>
                    </a:cubicBezTo>
                    <a:cubicBezTo>
                      <a:pt x="351" y="123"/>
                      <a:pt x="351" y="123"/>
                      <a:pt x="351" y="123"/>
                    </a:cubicBezTo>
                    <a:cubicBezTo>
                      <a:pt x="351" y="124"/>
                      <a:pt x="351" y="124"/>
                      <a:pt x="351" y="124"/>
                    </a:cubicBezTo>
                    <a:close/>
                    <a:moveTo>
                      <a:pt x="358" y="134"/>
                    </a:moveTo>
                    <a:cubicBezTo>
                      <a:pt x="360" y="132"/>
                      <a:pt x="360" y="132"/>
                      <a:pt x="360" y="132"/>
                    </a:cubicBezTo>
                    <a:cubicBezTo>
                      <a:pt x="360" y="133"/>
                      <a:pt x="360" y="133"/>
                      <a:pt x="360" y="133"/>
                    </a:cubicBezTo>
                    <a:cubicBezTo>
                      <a:pt x="358" y="134"/>
                      <a:pt x="358" y="134"/>
                      <a:pt x="358" y="134"/>
                    </a:cubicBezTo>
                    <a:cubicBezTo>
                      <a:pt x="358" y="134"/>
                      <a:pt x="358" y="134"/>
                      <a:pt x="358" y="134"/>
                    </a:cubicBezTo>
                    <a:close/>
                    <a:moveTo>
                      <a:pt x="361" y="131"/>
                    </a:moveTo>
                    <a:cubicBezTo>
                      <a:pt x="362" y="130"/>
                      <a:pt x="362" y="130"/>
                      <a:pt x="362" y="130"/>
                    </a:cubicBezTo>
                    <a:cubicBezTo>
                      <a:pt x="362" y="128"/>
                      <a:pt x="362" y="128"/>
                      <a:pt x="362" y="128"/>
                    </a:cubicBezTo>
                    <a:cubicBezTo>
                      <a:pt x="363" y="128"/>
                      <a:pt x="363" y="128"/>
                      <a:pt x="363" y="128"/>
                    </a:cubicBezTo>
                    <a:cubicBezTo>
                      <a:pt x="364" y="125"/>
                      <a:pt x="364" y="125"/>
                      <a:pt x="364" y="125"/>
                    </a:cubicBezTo>
                    <a:cubicBezTo>
                      <a:pt x="365" y="125"/>
                      <a:pt x="365" y="125"/>
                      <a:pt x="365" y="125"/>
                    </a:cubicBezTo>
                    <a:cubicBezTo>
                      <a:pt x="367" y="124"/>
                      <a:pt x="367" y="124"/>
                      <a:pt x="367" y="124"/>
                    </a:cubicBezTo>
                    <a:cubicBezTo>
                      <a:pt x="368" y="124"/>
                      <a:pt x="368" y="124"/>
                      <a:pt x="368" y="124"/>
                    </a:cubicBezTo>
                    <a:cubicBezTo>
                      <a:pt x="368" y="126"/>
                      <a:pt x="368" y="126"/>
                      <a:pt x="368" y="126"/>
                    </a:cubicBezTo>
                    <a:cubicBezTo>
                      <a:pt x="366" y="127"/>
                      <a:pt x="366" y="127"/>
                      <a:pt x="366" y="127"/>
                    </a:cubicBezTo>
                    <a:cubicBezTo>
                      <a:pt x="365" y="129"/>
                      <a:pt x="365" y="129"/>
                      <a:pt x="365" y="129"/>
                    </a:cubicBezTo>
                    <a:cubicBezTo>
                      <a:pt x="366" y="131"/>
                      <a:pt x="366" y="131"/>
                      <a:pt x="366" y="131"/>
                    </a:cubicBezTo>
                    <a:cubicBezTo>
                      <a:pt x="364" y="132"/>
                      <a:pt x="364" y="132"/>
                      <a:pt x="364" y="132"/>
                    </a:cubicBezTo>
                    <a:cubicBezTo>
                      <a:pt x="364" y="134"/>
                      <a:pt x="364" y="134"/>
                      <a:pt x="364" y="134"/>
                    </a:cubicBezTo>
                    <a:cubicBezTo>
                      <a:pt x="365" y="135"/>
                      <a:pt x="365" y="135"/>
                      <a:pt x="365" y="135"/>
                    </a:cubicBezTo>
                    <a:cubicBezTo>
                      <a:pt x="365" y="134"/>
                      <a:pt x="365" y="134"/>
                      <a:pt x="365" y="134"/>
                    </a:cubicBezTo>
                    <a:cubicBezTo>
                      <a:pt x="367" y="134"/>
                      <a:pt x="367" y="134"/>
                      <a:pt x="367" y="134"/>
                    </a:cubicBezTo>
                    <a:cubicBezTo>
                      <a:pt x="367" y="135"/>
                      <a:pt x="367" y="135"/>
                      <a:pt x="367" y="135"/>
                    </a:cubicBezTo>
                    <a:cubicBezTo>
                      <a:pt x="367" y="135"/>
                      <a:pt x="367" y="135"/>
                      <a:pt x="367" y="135"/>
                    </a:cubicBezTo>
                    <a:cubicBezTo>
                      <a:pt x="371" y="133"/>
                      <a:pt x="371" y="133"/>
                      <a:pt x="371" y="133"/>
                    </a:cubicBezTo>
                    <a:cubicBezTo>
                      <a:pt x="372" y="132"/>
                      <a:pt x="372" y="132"/>
                      <a:pt x="372" y="132"/>
                    </a:cubicBezTo>
                    <a:cubicBezTo>
                      <a:pt x="373" y="132"/>
                      <a:pt x="373" y="132"/>
                      <a:pt x="373" y="132"/>
                    </a:cubicBezTo>
                    <a:cubicBezTo>
                      <a:pt x="374" y="130"/>
                      <a:pt x="374" y="130"/>
                      <a:pt x="374" y="130"/>
                    </a:cubicBezTo>
                    <a:cubicBezTo>
                      <a:pt x="374" y="128"/>
                      <a:pt x="374" y="128"/>
                      <a:pt x="374" y="128"/>
                    </a:cubicBezTo>
                    <a:cubicBezTo>
                      <a:pt x="375" y="128"/>
                      <a:pt x="375" y="128"/>
                      <a:pt x="375" y="128"/>
                    </a:cubicBezTo>
                    <a:cubicBezTo>
                      <a:pt x="377" y="126"/>
                      <a:pt x="377" y="126"/>
                      <a:pt x="377" y="126"/>
                    </a:cubicBezTo>
                    <a:cubicBezTo>
                      <a:pt x="377" y="124"/>
                      <a:pt x="377" y="124"/>
                      <a:pt x="377" y="124"/>
                    </a:cubicBezTo>
                    <a:cubicBezTo>
                      <a:pt x="377" y="123"/>
                      <a:pt x="377" y="123"/>
                      <a:pt x="377" y="123"/>
                    </a:cubicBezTo>
                    <a:cubicBezTo>
                      <a:pt x="378" y="124"/>
                      <a:pt x="378" y="124"/>
                      <a:pt x="378" y="124"/>
                    </a:cubicBezTo>
                    <a:cubicBezTo>
                      <a:pt x="378" y="126"/>
                      <a:pt x="378" y="126"/>
                      <a:pt x="378" y="126"/>
                    </a:cubicBezTo>
                    <a:cubicBezTo>
                      <a:pt x="378" y="127"/>
                      <a:pt x="378" y="127"/>
                      <a:pt x="378" y="127"/>
                    </a:cubicBezTo>
                    <a:cubicBezTo>
                      <a:pt x="377" y="129"/>
                      <a:pt x="377" y="129"/>
                      <a:pt x="377" y="129"/>
                    </a:cubicBezTo>
                    <a:cubicBezTo>
                      <a:pt x="378" y="131"/>
                      <a:pt x="378" y="131"/>
                      <a:pt x="378" y="131"/>
                    </a:cubicBezTo>
                    <a:cubicBezTo>
                      <a:pt x="379" y="131"/>
                      <a:pt x="379" y="131"/>
                      <a:pt x="379" y="131"/>
                    </a:cubicBezTo>
                    <a:cubicBezTo>
                      <a:pt x="381" y="129"/>
                      <a:pt x="381" y="129"/>
                      <a:pt x="381" y="129"/>
                    </a:cubicBezTo>
                    <a:cubicBezTo>
                      <a:pt x="381" y="127"/>
                      <a:pt x="381" y="127"/>
                      <a:pt x="381" y="127"/>
                    </a:cubicBezTo>
                    <a:cubicBezTo>
                      <a:pt x="381" y="126"/>
                      <a:pt x="381" y="126"/>
                      <a:pt x="381" y="126"/>
                    </a:cubicBezTo>
                    <a:cubicBezTo>
                      <a:pt x="383" y="126"/>
                      <a:pt x="383" y="126"/>
                      <a:pt x="383" y="126"/>
                    </a:cubicBezTo>
                    <a:cubicBezTo>
                      <a:pt x="385" y="123"/>
                      <a:pt x="385" y="123"/>
                      <a:pt x="385" y="123"/>
                    </a:cubicBezTo>
                    <a:cubicBezTo>
                      <a:pt x="385" y="121"/>
                      <a:pt x="385" y="121"/>
                      <a:pt x="385" y="121"/>
                    </a:cubicBezTo>
                    <a:cubicBezTo>
                      <a:pt x="385" y="119"/>
                      <a:pt x="385" y="119"/>
                      <a:pt x="385" y="119"/>
                    </a:cubicBezTo>
                    <a:cubicBezTo>
                      <a:pt x="386" y="117"/>
                      <a:pt x="386" y="117"/>
                      <a:pt x="386" y="117"/>
                    </a:cubicBezTo>
                    <a:cubicBezTo>
                      <a:pt x="387" y="119"/>
                      <a:pt x="387" y="119"/>
                      <a:pt x="387" y="119"/>
                    </a:cubicBezTo>
                    <a:cubicBezTo>
                      <a:pt x="390" y="117"/>
                      <a:pt x="390" y="117"/>
                      <a:pt x="390" y="117"/>
                    </a:cubicBezTo>
                    <a:cubicBezTo>
                      <a:pt x="391" y="114"/>
                      <a:pt x="391" y="114"/>
                      <a:pt x="391" y="114"/>
                    </a:cubicBezTo>
                    <a:cubicBezTo>
                      <a:pt x="392" y="112"/>
                      <a:pt x="392" y="112"/>
                      <a:pt x="392" y="112"/>
                    </a:cubicBezTo>
                    <a:cubicBezTo>
                      <a:pt x="393" y="112"/>
                      <a:pt x="393" y="112"/>
                      <a:pt x="393" y="112"/>
                    </a:cubicBezTo>
                    <a:cubicBezTo>
                      <a:pt x="394" y="111"/>
                      <a:pt x="394" y="111"/>
                      <a:pt x="394" y="111"/>
                    </a:cubicBezTo>
                    <a:cubicBezTo>
                      <a:pt x="396" y="112"/>
                      <a:pt x="396" y="112"/>
                      <a:pt x="396" y="112"/>
                    </a:cubicBezTo>
                    <a:cubicBezTo>
                      <a:pt x="397" y="111"/>
                      <a:pt x="397" y="111"/>
                      <a:pt x="397" y="111"/>
                    </a:cubicBezTo>
                    <a:cubicBezTo>
                      <a:pt x="398" y="111"/>
                      <a:pt x="398" y="111"/>
                      <a:pt x="398" y="111"/>
                    </a:cubicBezTo>
                    <a:cubicBezTo>
                      <a:pt x="397" y="115"/>
                      <a:pt x="397" y="115"/>
                      <a:pt x="397" y="115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4" y="120"/>
                      <a:pt x="394" y="120"/>
                      <a:pt x="394" y="120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3" y="122"/>
                      <a:pt x="393" y="122"/>
                      <a:pt x="393" y="122"/>
                    </a:cubicBezTo>
                    <a:cubicBezTo>
                      <a:pt x="391" y="123"/>
                      <a:pt x="391" y="123"/>
                      <a:pt x="391" y="123"/>
                    </a:cubicBezTo>
                    <a:cubicBezTo>
                      <a:pt x="389" y="127"/>
                      <a:pt x="389" y="127"/>
                      <a:pt x="389" y="127"/>
                    </a:cubicBezTo>
                    <a:cubicBezTo>
                      <a:pt x="389" y="128"/>
                      <a:pt x="389" y="128"/>
                      <a:pt x="389" y="128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9" y="131"/>
                      <a:pt x="389" y="131"/>
                      <a:pt x="389" y="131"/>
                    </a:cubicBezTo>
                    <a:cubicBezTo>
                      <a:pt x="391" y="132"/>
                      <a:pt x="391" y="132"/>
                      <a:pt x="391" y="132"/>
                    </a:cubicBezTo>
                    <a:cubicBezTo>
                      <a:pt x="393" y="132"/>
                      <a:pt x="393" y="132"/>
                      <a:pt x="393" y="132"/>
                    </a:cubicBezTo>
                    <a:cubicBezTo>
                      <a:pt x="394" y="131"/>
                      <a:pt x="394" y="131"/>
                      <a:pt x="394" y="131"/>
                    </a:cubicBezTo>
                    <a:cubicBezTo>
                      <a:pt x="396" y="130"/>
                      <a:pt x="396" y="130"/>
                      <a:pt x="396" y="130"/>
                    </a:cubicBezTo>
                    <a:cubicBezTo>
                      <a:pt x="396" y="129"/>
                      <a:pt x="396" y="129"/>
                      <a:pt x="396" y="129"/>
                    </a:cubicBezTo>
                    <a:cubicBezTo>
                      <a:pt x="396" y="127"/>
                      <a:pt x="396" y="127"/>
                      <a:pt x="396" y="127"/>
                    </a:cubicBezTo>
                    <a:cubicBezTo>
                      <a:pt x="397" y="125"/>
                      <a:pt x="397" y="125"/>
                      <a:pt x="397" y="125"/>
                    </a:cubicBezTo>
                    <a:cubicBezTo>
                      <a:pt x="398" y="124"/>
                      <a:pt x="398" y="124"/>
                      <a:pt x="398" y="124"/>
                    </a:cubicBezTo>
                    <a:cubicBezTo>
                      <a:pt x="400" y="124"/>
                      <a:pt x="400" y="124"/>
                      <a:pt x="400" y="124"/>
                    </a:cubicBezTo>
                    <a:cubicBezTo>
                      <a:pt x="401" y="123"/>
                      <a:pt x="401" y="123"/>
                      <a:pt x="401" y="123"/>
                    </a:cubicBezTo>
                    <a:cubicBezTo>
                      <a:pt x="402" y="124"/>
                      <a:pt x="402" y="124"/>
                      <a:pt x="402" y="124"/>
                    </a:cubicBezTo>
                    <a:cubicBezTo>
                      <a:pt x="403" y="124"/>
                      <a:pt x="403" y="124"/>
                      <a:pt x="403" y="124"/>
                    </a:cubicBezTo>
                    <a:cubicBezTo>
                      <a:pt x="405" y="123"/>
                      <a:pt x="405" y="123"/>
                      <a:pt x="405" y="123"/>
                    </a:cubicBezTo>
                    <a:cubicBezTo>
                      <a:pt x="408" y="123"/>
                      <a:pt x="408" y="123"/>
                      <a:pt x="408" y="123"/>
                    </a:cubicBezTo>
                    <a:cubicBezTo>
                      <a:pt x="409" y="121"/>
                      <a:pt x="409" y="121"/>
                      <a:pt x="409" y="121"/>
                    </a:cubicBezTo>
                    <a:cubicBezTo>
                      <a:pt x="410" y="118"/>
                      <a:pt x="410" y="118"/>
                      <a:pt x="410" y="118"/>
                    </a:cubicBezTo>
                    <a:cubicBezTo>
                      <a:pt x="411" y="115"/>
                      <a:pt x="411" y="115"/>
                      <a:pt x="411" y="115"/>
                    </a:cubicBezTo>
                    <a:cubicBezTo>
                      <a:pt x="411" y="113"/>
                      <a:pt x="411" y="113"/>
                      <a:pt x="411" y="113"/>
                    </a:cubicBezTo>
                    <a:cubicBezTo>
                      <a:pt x="412" y="112"/>
                      <a:pt x="412" y="112"/>
                      <a:pt x="412" y="112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5" y="115"/>
                      <a:pt x="415" y="115"/>
                      <a:pt x="415" y="115"/>
                    </a:cubicBezTo>
                    <a:cubicBezTo>
                      <a:pt x="416" y="114"/>
                      <a:pt x="416" y="114"/>
                      <a:pt x="416" y="114"/>
                    </a:cubicBezTo>
                    <a:cubicBezTo>
                      <a:pt x="415" y="113"/>
                      <a:pt x="415" y="113"/>
                      <a:pt x="415" y="113"/>
                    </a:cubicBezTo>
                    <a:cubicBezTo>
                      <a:pt x="414" y="110"/>
                      <a:pt x="414" y="110"/>
                      <a:pt x="414" y="110"/>
                    </a:cubicBezTo>
                    <a:cubicBezTo>
                      <a:pt x="414" y="109"/>
                      <a:pt x="414" y="109"/>
                      <a:pt x="414" y="109"/>
                    </a:cubicBezTo>
                    <a:cubicBezTo>
                      <a:pt x="416" y="107"/>
                      <a:pt x="416" y="107"/>
                      <a:pt x="416" y="107"/>
                    </a:cubicBezTo>
                    <a:cubicBezTo>
                      <a:pt x="418" y="107"/>
                      <a:pt x="418" y="107"/>
                      <a:pt x="418" y="107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1" y="106"/>
                      <a:pt x="421" y="106"/>
                      <a:pt x="421" y="106"/>
                    </a:cubicBezTo>
                    <a:cubicBezTo>
                      <a:pt x="422" y="106"/>
                      <a:pt x="422" y="106"/>
                      <a:pt x="422" y="106"/>
                    </a:cubicBezTo>
                    <a:cubicBezTo>
                      <a:pt x="424" y="104"/>
                      <a:pt x="424" y="104"/>
                      <a:pt x="424" y="104"/>
                    </a:cubicBezTo>
                    <a:cubicBezTo>
                      <a:pt x="423" y="102"/>
                      <a:pt x="423" y="102"/>
                      <a:pt x="423" y="102"/>
                    </a:cubicBezTo>
                    <a:cubicBezTo>
                      <a:pt x="423" y="98"/>
                      <a:pt x="423" y="98"/>
                      <a:pt x="423" y="98"/>
                    </a:cubicBezTo>
                    <a:cubicBezTo>
                      <a:pt x="423" y="97"/>
                      <a:pt x="423" y="97"/>
                      <a:pt x="423" y="97"/>
                    </a:cubicBezTo>
                    <a:cubicBezTo>
                      <a:pt x="423" y="96"/>
                      <a:pt x="423" y="96"/>
                      <a:pt x="423" y="96"/>
                    </a:cubicBezTo>
                    <a:cubicBezTo>
                      <a:pt x="423" y="94"/>
                      <a:pt x="423" y="94"/>
                      <a:pt x="423" y="94"/>
                    </a:cubicBezTo>
                    <a:cubicBezTo>
                      <a:pt x="422" y="93"/>
                      <a:pt x="422" y="93"/>
                      <a:pt x="422" y="93"/>
                    </a:cubicBezTo>
                    <a:cubicBezTo>
                      <a:pt x="420" y="94"/>
                      <a:pt x="420" y="94"/>
                      <a:pt x="420" y="94"/>
                    </a:cubicBezTo>
                    <a:cubicBezTo>
                      <a:pt x="418" y="95"/>
                      <a:pt x="418" y="95"/>
                      <a:pt x="418" y="95"/>
                    </a:cubicBezTo>
                    <a:cubicBezTo>
                      <a:pt x="418" y="98"/>
                      <a:pt x="418" y="98"/>
                      <a:pt x="418" y="98"/>
                    </a:cubicBezTo>
                    <a:cubicBezTo>
                      <a:pt x="418" y="99"/>
                      <a:pt x="418" y="99"/>
                      <a:pt x="418" y="99"/>
                    </a:cubicBezTo>
                    <a:cubicBezTo>
                      <a:pt x="418" y="100"/>
                      <a:pt x="418" y="100"/>
                      <a:pt x="418" y="100"/>
                    </a:cubicBezTo>
                    <a:cubicBezTo>
                      <a:pt x="416" y="101"/>
                      <a:pt x="416" y="101"/>
                      <a:pt x="416" y="101"/>
                    </a:cubicBezTo>
                    <a:cubicBezTo>
                      <a:pt x="416" y="99"/>
                      <a:pt x="416" y="99"/>
                      <a:pt x="416" y="99"/>
                    </a:cubicBezTo>
                    <a:cubicBezTo>
                      <a:pt x="415" y="99"/>
                      <a:pt x="415" y="99"/>
                      <a:pt x="415" y="99"/>
                    </a:cubicBezTo>
                    <a:cubicBezTo>
                      <a:pt x="415" y="100"/>
                      <a:pt x="415" y="100"/>
                      <a:pt x="415" y="100"/>
                    </a:cubicBezTo>
                    <a:cubicBezTo>
                      <a:pt x="414" y="101"/>
                      <a:pt x="414" y="101"/>
                      <a:pt x="414" y="101"/>
                    </a:cubicBezTo>
                    <a:cubicBezTo>
                      <a:pt x="413" y="100"/>
                      <a:pt x="413" y="100"/>
                      <a:pt x="413" y="100"/>
                    </a:cubicBezTo>
                    <a:cubicBezTo>
                      <a:pt x="413" y="97"/>
                      <a:pt x="413" y="97"/>
                      <a:pt x="413" y="97"/>
                    </a:cubicBezTo>
                    <a:cubicBezTo>
                      <a:pt x="411" y="95"/>
                      <a:pt x="411" y="95"/>
                      <a:pt x="411" y="95"/>
                    </a:cubicBezTo>
                    <a:cubicBezTo>
                      <a:pt x="410" y="95"/>
                      <a:pt x="410" y="95"/>
                      <a:pt x="410" y="95"/>
                    </a:cubicBezTo>
                    <a:cubicBezTo>
                      <a:pt x="409" y="96"/>
                      <a:pt x="409" y="96"/>
                      <a:pt x="409" y="96"/>
                    </a:cubicBezTo>
                    <a:cubicBezTo>
                      <a:pt x="407" y="96"/>
                      <a:pt x="407" y="96"/>
                      <a:pt x="407" y="96"/>
                    </a:cubicBezTo>
                    <a:cubicBezTo>
                      <a:pt x="405" y="95"/>
                      <a:pt x="405" y="95"/>
                      <a:pt x="405" y="95"/>
                    </a:cubicBezTo>
                    <a:cubicBezTo>
                      <a:pt x="404" y="95"/>
                      <a:pt x="404" y="95"/>
                      <a:pt x="404" y="95"/>
                    </a:cubicBezTo>
                    <a:cubicBezTo>
                      <a:pt x="400" y="95"/>
                      <a:pt x="400" y="95"/>
                      <a:pt x="400" y="95"/>
                    </a:cubicBezTo>
                    <a:cubicBezTo>
                      <a:pt x="398" y="96"/>
                      <a:pt x="398" y="96"/>
                      <a:pt x="398" y="96"/>
                    </a:cubicBezTo>
                    <a:cubicBezTo>
                      <a:pt x="397" y="98"/>
                      <a:pt x="397" y="98"/>
                      <a:pt x="397" y="98"/>
                    </a:cubicBezTo>
                    <a:cubicBezTo>
                      <a:pt x="396" y="99"/>
                      <a:pt x="396" y="99"/>
                      <a:pt x="396" y="99"/>
                    </a:cubicBezTo>
                    <a:cubicBezTo>
                      <a:pt x="395" y="98"/>
                      <a:pt x="395" y="98"/>
                      <a:pt x="395" y="98"/>
                    </a:cubicBezTo>
                    <a:cubicBezTo>
                      <a:pt x="394" y="98"/>
                      <a:pt x="394" y="98"/>
                      <a:pt x="394" y="98"/>
                    </a:cubicBezTo>
                    <a:cubicBezTo>
                      <a:pt x="390" y="102"/>
                      <a:pt x="390" y="102"/>
                      <a:pt x="390" y="102"/>
                    </a:cubicBezTo>
                    <a:cubicBezTo>
                      <a:pt x="388" y="103"/>
                      <a:pt x="388" y="103"/>
                      <a:pt x="388" y="103"/>
                    </a:cubicBezTo>
                    <a:cubicBezTo>
                      <a:pt x="387" y="103"/>
                      <a:pt x="387" y="103"/>
                      <a:pt x="387" y="103"/>
                    </a:cubicBezTo>
                    <a:cubicBezTo>
                      <a:pt x="384" y="105"/>
                      <a:pt x="384" y="105"/>
                      <a:pt x="384" y="105"/>
                    </a:cubicBezTo>
                    <a:cubicBezTo>
                      <a:pt x="383" y="106"/>
                      <a:pt x="383" y="106"/>
                      <a:pt x="383" y="106"/>
                    </a:cubicBezTo>
                    <a:cubicBezTo>
                      <a:pt x="381" y="107"/>
                      <a:pt x="381" y="107"/>
                      <a:pt x="381" y="107"/>
                    </a:cubicBezTo>
                    <a:cubicBezTo>
                      <a:pt x="381" y="108"/>
                      <a:pt x="381" y="108"/>
                      <a:pt x="381" y="108"/>
                    </a:cubicBezTo>
                    <a:cubicBezTo>
                      <a:pt x="378" y="108"/>
                      <a:pt x="378" y="108"/>
                      <a:pt x="378" y="108"/>
                    </a:cubicBezTo>
                    <a:cubicBezTo>
                      <a:pt x="377" y="109"/>
                      <a:pt x="377" y="109"/>
                      <a:pt x="377" y="109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4" y="109"/>
                      <a:pt x="374" y="109"/>
                      <a:pt x="374" y="109"/>
                    </a:cubicBezTo>
                    <a:cubicBezTo>
                      <a:pt x="372" y="109"/>
                      <a:pt x="372" y="109"/>
                      <a:pt x="372" y="109"/>
                    </a:cubicBezTo>
                    <a:cubicBezTo>
                      <a:pt x="369" y="112"/>
                      <a:pt x="369" y="112"/>
                      <a:pt x="369" y="112"/>
                    </a:cubicBezTo>
                    <a:cubicBezTo>
                      <a:pt x="367" y="113"/>
                      <a:pt x="367" y="113"/>
                      <a:pt x="367" y="113"/>
                    </a:cubicBezTo>
                    <a:cubicBezTo>
                      <a:pt x="365" y="112"/>
                      <a:pt x="365" y="112"/>
                      <a:pt x="365" y="112"/>
                    </a:cubicBezTo>
                    <a:cubicBezTo>
                      <a:pt x="363" y="113"/>
                      <a:pt x="363" y="113"/>
                      <a:pt x="363" y="113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57" y="117"/>
                      <a:pt x="357" y="117"/>
                      <a:pt x="357" y="117"/>
                    </a:cubicBezTo>
                    <a:cubicBezTo>
                      <a:pt x="355" y="117"/>
                      <a:pt x="355" y="117"/>
                      <a:pt x="355" y="117"/>
                    </a:cubicBezTo>
                    <a:cubicBezTo>
                      <a:pt x="353" y="118"/>
                      <a:pt x="353" y="118"/>
                      <a:pt x="353" y="118"/>
                    </a:cubicBezTo>
                    <a:cubicBezTo>
                      <a:pt x="352" y="120"/>
                      <a:pt x="352" y="120"/>
                      <a:pt x="352" y="120"/>
                    </a:cubicBezTo>
                    <a:cubicBezTo>
                      <a:pt x="353" y="120"/>
                      <a:pt x="353" y="120"/>
                      <a:pt x="353" y="120"/>
                    </a:cubicBezTo>
                    <a:cubicBezTo>
                      <a:pt x="354" y="121"/>
                      <a:pt x="354" y="121"/>
                      <a:pt x="354" y="121"/>
                    </a:cubicBezTo>
                    <a:cubicBezTo>
                      <a:pt x="353" y="121"/>
                      <a:pt x="353" y="121"/>
                      <a:pt x="353" y="121"/>
                    </a:cubicBezTo>
                    <a:cubicBezTo>
                      <a:pt x="352" y="122"/>
                      <a:pt x="352" y="122"/>
                      <a:pt x="352" y="122"/>
                    </a:cubicBezTo>
                    <a:cubicBezTo>
                      <a:pt x="353" y="123"/>
                      <a:pt x="353" y="123"/>
                      <a:pt x="353" y="123"/>
                    </a:cubicBezTo>
                    <a:cubicBezTo>
                      <a:pt x="353" y="124"/>
                      <a:pt x="353" y="124"/>
                      <a:pt x="353" y="124"/>
                    </a:cubicBezTo>
                    <a:cubicBezTo>
                      <a:pt x="350" y="125"/>
                      <a:pt x="350" y="125"/>
                      <a:pt x="350" y="125"/>
                    </a:cubicBezTo>
                    <a:cubicBezTo>
                      <a:pt x="350" y="126"/>
                      <a:pt x="350" y="126"/>
                      <a:pt x="350" y="126"/>
                    </a:cubicBezTo>
                    <a:cubicBezTo>
                      <a:pt x="352" y="127"/>
                      <a:pt x="352" y="127"/>
                      <a:pt x="352" y="127"/>
                    </a:cubicBezTo>
                    <a:cubicBezTo>
                      <a:pt x="354" y="126"/>
                      <a:pt x="354" y="126"/>
                      <a:pt x="354" y="126"/>
                    </a:cubicBezTo>
                    <a:cubicBezTo>
                      <a:pt x="355" y="125"/>
                      <a:pt x="355" y="125"/>
                      <a:pt x="355" y="125"/>
                    </a:cubicBezTo>
                    <a:cubicBezTo>
                      <a:pt x="356" y="124"/>
                      <a:pt x="356" y="124"/>
                      <a:pt x="356" y="124"/>
                    </a:cubicBezTo>
                    <a:cubicBezTo>
                      <a:pt x="358" y="125"/>
                      <a:pt x="358" y="125"/>
                      <a:pt x="358" y="125"/>
                    </a:cubicBezTo>
                    <a:cubicBezTo>
                      <a:pt x="359" y="128"/>
                      <a:pt x="359" y="128"/>
                      <a:pt x="359" y="128"/>
                    </a:cubicBezTo>
                    <a:cubicBezTo>
                      <a:pt x="360" y="130"/>
                      <a:pt x="360" y="130"/>
                      <a:pt x="360" y="130"/>
                    </a:cubicBezTo>
                    <a:cubicBezTo>
                      <a:pt x="361" y="131"/>
                      <a:pt x="361" y="131"/>
                      <a:pt x="361" y="131"/>
                    </a:cubicBezTo>
                    <a:close/>
                    <a:moveTo>
                      <a:pt x="546" y="242"/>
                    </a:moveTo>
                    <a:cubicBezTo>
                      <a:pt x="546" y="241"/>
                      <a:pt x="546" y="241"/>
                      <a:pt x="546" y="241"/>
                    </a:cubicBezTo>
                    <a:cubicBezTo>
                      <a:pt x="549" y="242"/>
                      <a:pt x="549" y="242"/>
                      <a:pt x="549" y="242"/>
                    </a:cubicBezTo>
                    <a:cubicBezTo>
                      <a:pt x="549" y="242"/>
                      <a:pt x="549" y="242"/>
                      <a:pt x="549" y="242"/>
                    </a:cubicBezTo>
                    <a:cubicBezTo>
                      <a:pt x="548" y="243"/>
                      <a:pt x="548" y="243"/>
                      <a:pt x="548" y="243"/>
                    </a:cubicBezTo>
                    <a:cubicBezTo>
                      <a:pt x="547" y="243"/>
                      <a:pt x="547" y="243"/>
                      <a:pt x="547" y="243"/>
                    </a:cubicBezTo>
                    <a:cubicBezTo>
                      <a:pt x="546" y="242"/>
                      <a:pt x="546" y="242"/>
                      <a:pt x="546" y="242"/>
                    </a:cubicBezTo>
                    <a:close/>
                    <a:moveTo>
                      <a:pt x="524" y="198"/>
                    </a:moveTo>
                    <a:cubicBezTo>
                      <a:pt x="523" y="197"/>
                      <a:pt x="523" y="197"/>
                      <a:pt x="523" y="197"/>
                    </a:cubicBezTo>
                    <a:cubicBezTo>
                      <a:pt x="521" y="197"/>
                      <a:pt x="521" y="197"/>
                      <a:pt x="521" y="197"/>
                    </a:cubicBezTo>
                    <a:cubicBezTo>
                      <a:pt x="521" y="198"/>
                      <a:pt x="521" y="198"/>
                      <a:pt x="521" y="198"/>
                    </a:cubicBezTo>
                    <a:cubicBezTo>
                      <a:pt x="522" y="198"/>
                      <a:pt x="522" y="198"/>
                      <a:pt x="522" y="198"/>
                    </a:cubicBezTo>
                    <a:cubicBezTo>
                      <a:pt x="523" y="199"/>
                      <a:pt x="523" y="199"/>
                      <a:pt x="523" y="199"/>
                    </a:cubicBezTo>
                    <a:cubicBezTo>
                      <a:pt x="523" y="200"/>
                      <a:pt x="523" y="200"/>
                      <a:pt x="523" y="200"/>
                    </a:cubicBezTo>
                    <a:cubicBezTo>
                      <a:pt x="520" y="200"/>
                      <a:pt x="520" y="200"/>
                      <a:pt x="520" y="200"/>
                    </a:cubicBezTo>
                    <a:cubicBezTo>
                      <a:pt x="519" y="201"/>
                      <a:pt x="519" y="201"/>
                      <a:pt x="519" y="201"/>
                    </a:cubicBezTo>
                    <a:cubicBezTo>
                      <a:pt x="520" y="202"/>
                      <a:pt x="520" y="202"/>
                      <a:pt x="520" y="202"/>
                    </a:cubicBezTo>
                    <a:cubicBezTo>
                      <a:pt x="521" y="203"/>
                      <a:pt x="521" y="203"/>
                      <a:pt x="521" y="203"/>
                    </a:cubicBezTo>
                    <a:cubicBezTo>
                      <a:pt x="521" y="203"/>
                      <a:pt x="521" y="203"/>
                      <a:pt x="521" y="203"/>
                    </a:cubicBezTo>
                    <a:cubicBezTo>
                      <a:pt x="519" y="203"/>
                      <a:pt x="519" y="203"/>
                      <a:pt x="519" y="203"/>
                    </a:cubicBezTo>
                    <a:cubicBezTo>
                      <a:pt x="516" y="203"/>
                      <a:pt x="516" y="203"/>
                      <a:pt x="516" y="203"/>
                    </a:cubicBezTo>
                    <a:cubicBezTo>
                      <a:pt x="515" y="205"/>
                      <a:pt x="515" y="205"/>
                      <a:pt x="515" y="205"/>
                    </a:cubicBezTo>
                    <a:cubicBezTo>
                      <a:pt x="514" y="206"/>
                      <a:pt x="514" y="206"/>
                      <a:pt x="514" y="206"/>
                    </a:cubicBezTo>
                    <a:cubicBezTo>
                      <a:pt x="514" y="207"/>
                      <a:pt x="514" y="207"/>
                      <a:pt x="514" y="207"/>
                    </a:cubicBezTo>
                    <a:cubicBezTo>
                      <a:pt x="514" y="208"/>
                      <a:pt x="514" y="208"/>
                      <a:pt x="514" y="208"/>
                    </a:cubicBezTo>
                    <a:cubicBezTo>
                      <a:pt x="515" y="208"/>
                      <a:pt x="515" y="208"/>
                      <a:pt x="515" y="208"/>
                    </a:cubicBezTo>
                    <a:cubicBezTo>
                      <a:pt x="514" y="209"/>
                      <a:pt x="514" y="209"/>
                      <a:pt x="514" y="209"/>
                    </a:cubicBezTo>
                    <a:cubicBezTo>
                      <a:pt x="514" y="210"/>
                      <a:pt x="514" y="210"/>
                      <a:pt x="514" y="210"/>
                    </a:cubicBezTo>
                    <a:cubicBezTo>
                      <a:pt x="515" y="210"/>
                      <a:pt x="515" y="210"/>
                      <a:pt x="515" y="210"/>
                    </a:cubicBezTo>
                    <a:cubicBezTo>
                      <a:pt x="516" y="209"/>
                      <a:pt x="516" y="209"/>
                      <a:pt x="516" y="209"/>
                    </a:cubicBezTo>
                    <a:cubicBezTo>
                      <a:pt x="516" y="209"/>
                      <a:pt x="516" y="209"/>
                      <a:pt x="516" y="209"/>
                    </a:cubicBezTo>
                    <a:cubicBezTo>
                      <a:pt x="516" y="211"/>
                      <a:pt x="516" y="211"/>
                      <a:pt x="516" y="211"/>
                    </a:cubicBezTo>
                    <a:cubicBezTo>
                      <a:pt x="516" y="212"/>
                      <a:pt x="516" y="212"/>
                      <a:pt x="516" y="212"/>
                    </a:cubicBezTo>
                    <a:cubicBezTo>
                      <a:pt x="517" y="213"/>
                      <a:pt x="517" y="213"/>
                      <a:pt x="517" y="213"/>
                    </a:cubicBezTo>
                    <a:cubicBezTo>
                      <a:pt x="518" y="212"/>
                      <a:pt x="518" y="212"/>
                      <a:pt x="518" y="212"/>
                    </a:cubicBezTo>
                    <a:cubicBezTo>
                      <a:pt x="519" y="213"/>
                      <a:pt x="519" y="213"/>
                      <a:pt x="519" y="213"/>
                    </a:cubicBezTo>
                    <a:cubicBezTo>
                      <a:pt x="519" y="215"/>
                      <a:pt x="519" y="215"/>
                      <a:pt x="519" y="215"/>
                    </a:cubicBezTo>
                    <a:cubicBezTo>
                      <a:pt x="520" y="214"/>
                      <a:pt x="520" y="214"/>
                      <a:pt x="520" y="214"/>
                    </a:cubicBezTo>
                    <a:cubicBezTo>
                      <a:pt x="520" y="213"/>
                      <a:pt x="520" y="213"/>
                      <a:pt x="520" y="213"/>
                    </a:cubicBezTo>
                    <a:cubicBezTo>
                      <a:pt x="521" y="214"/>
                      <a:pt x="521" y="214"/>
                      <a:pt x="521" y="214"/>
                    </a:cubicBezTo>
                    <a:cubicBezTo>
                      <a:pt x="521" y="216"/>
                      <a:pt x="521" y="216"/>
                      <a:pt x="521" y="216"/>
                    </a:cubicBezTo>
                    <a:cubicBezTo>
                      <a:pt x="522" y="217"/>
                      <a:pt x="522" y="217"/>
                      <a:pt x="522" y="217"/>
                    </a:cubicBezTo>
                    <a:cubicBezTo>
                      <a:pt x="523" y="217"/>
                      <a:pt x="523" y="217"/>
                      <a:pt x="523" y="217"/>
                    </a:cubicBezTo>
                    <a:cubicBezTo>
                      <a:pt x="524" y="219"/>
                      <a:pt x="524" y="219"/>
                      <a:pt x="524" y="219"/>
                    </a:cubicBezTo>
                    <a:cubicBezTo>
                      <a:pt x="526" y="219"/>
                      <a:pt x="526" y="219"/>
                      <a:pt x="526" y="219"/>
                    </a:cubicBezTo>
                    <a:cubicBezTo>
                      <a:pt x="528" y="220"/>
                      <a:pt x="528" y="220"/>
                      <a:pt x="528" y="220"/>
                    </a:cubicBezTo>
                    <a:cubicBezTo>
                      <a:pt x="530" y="220"/>
                      <a:pt x="530" y="220"/>
                      <a:pt x="530" y="220"/>
                    </a:cubicBezTo>
                    <a:cubicBezTo>
                      <a:pt x="530" y="221"/>
                      <a:pt x="530" y="221"/>
                      <a:pt x="530" y="221"/>
                    </a:cubicBezTo>
                    <a:cubicBezTo>
                      <a:pt x="531" y="220"/>
                      <a:pt x="531" y="220"/>
                      <a:pt x="531" y="220"/>
                    </a:cubicBezTo>
                    <a:cubicBezTo>
                      <a:pt x="530" y="219"/>
                      <a:pt x="530" y="219"/>
                      <a:pt x="530" y="219"/>
                    </a:cubicBezTo>
                    <a:cubicBezTo>
                      <a:pt x="532" y="218"/>
                      <a:pt x="532" y="218"/>
                      <a:pt x="532" y="218"/>
                    </a:cubicBezTo>
                    <a:cubicBezTo>
                      <a:pt x="533" y="216"/>
                      <a:pt x="533" y="216"/>
                      <a:pt x="533" y="216"/>
                    </a:cubicBezTo>
                    <a:cubicBezTo>
                      <a:pt x="533" y="214"/>
                      <a:pt x="533" y="214"/>
                      <a:pt x="533" y="214"/>
                    </a:cubicBezTo>
                    <a:cubicBezTo>
                      <a:pt x="534" y="211"/>
                      <a:pt x="534" y="211"/>
                      <a:pt x="534" y="211"/>
                    </a:cubicBezTo>
                    <a:cubicBezTo>
                      <a:pt x="535" y="210"/>
                      <a:pt x="535" y="210"/>
                      <a:pt x="535" y="210"/>
                    </a:cubicBezTo>
                    <a:cubicBezTo>
                      <a:pt x="536" y="207"/>
                      <a:pt x="536" y="207"/>
                      <a:pt x="536" y="207"/>
                    </a:cubicBezTo>
                    <a:cubicBezTo>
                      <a:pt x="536" y="204"/>
                      <a:pt x="536" y="204"/>
                      <a:pt x="536" y="204"/>
                    </a:cubicBezTo>
                    <a:cubicBezTo>
                      <a:pt x="536" y="204"/>
                      <a:pt x="536" y="204"/>
                      <a:pt x="536" y="204"/>
                    </a:cubicBezTo>
                    <a:cubicBezTo>
                      <a:pt x="536" y="202"/>
                      <a:pt x="536" y="202"/>
                      <a:pt x="536" y="202"/>
                    </a:cubicBezTo>
                    <a:cubicBezTo>
                      <a:pt x="534" y="200"/>
                      <a:pt x="534" y="200"/>
                      <a:pt x="534" y="200"/>
                    </a:cubicBezTo>
                    <a:cubicBezTo>
                      <a:pt x="534" y="198"/>
                      <a:pt x="534" y="198"/>
                      <a:pt x="534" y="198"/>
                    </a:cubicBezTo>
                    <a:cubicBezTo>
                      <a:pt x="534" y="197"/>
                      <a:pt x="534" y="197"/>
                      <a:pt x="534" y="197"/>
                    </a:cubicBezTo>
                    <a:cubicBezTo>
                      <a:pt x="533" y="196"/>
                      <a:pt x="533" y="196"/>
                      <a:pt x="533" y="196"/>
                    </a:cubicBezTo>
                    <a:cubicBezTo>
                      <a:pt x="531" y="195"/>
                      <a:pt x="531" y="195"/>
                      <a:pt x="531" y="195"/>
                    </a:cubicBezTo>
                    <a:cubicBezTo>
                      <a:pt x="529" y="195"/>
                      <a:pt x="529" y="195"/>
                      <a:pt x="529" y="195"/>
                    </a:cubicBezTo>
                    <a:cubicBezTo>
                      <a:pt x="527" y="195"/>
                      <a:pt x="527" y="195"/>
                      <a:pt x="527" y="195"/>
                    </a:cubicBezTo>
                    <a:cubicBezTo>
                      <a:pt x="525" y="195"/>
                      <a:pt x="525" y="195"/>
                      <a:pt x="525" y="195"/>
                    </a:cubicBezTo>
                    <a:cubicBezTo>
                      <a:pt x="524" y="196"/>
                      <a:pt x="524" y="196"/>
                      <a:pt x="524" y="196"/>
                    </a:cubicBezTo>
                    <a:cubicBezTo>
                      <a:pt x="525" y="197"/>
                      <a:pt x="525" y="197"/>
                      <a:pt x="525" y="197"/>
                    </a:cubicBezTo>
                    <a:cubicBezTo>
                      <a:pt x="525" y="198"/>
                      <a:pt x="525" y="198"/>
                      <a:pt x="525" y="198"/>
                    </a:cubicBezTo>
                    <a:cubicBezTo>
                      <a:pt x="524" y="198"/>
                      <a:pt x="524" y="198"/>
                      <a:pt x="524" y="198"/>
                    </a:cubicBezTo>
                    <a:close/>
                    <a:moveTo>
                      <a:pt x="537" y="183"/>
                    </a:moveTo>
                    <a:cubicBezTo>
                      <a:pt x="536" y="182"/>
                      <a:pt x="536" y="182"/>
                      <a:pt x="536" y="182"/>
                    </a:cubicBezTo>
                    <a:cubicBezTo>
                      <a:pt x="536" y="181"/>
                      <a:pt x="536" y="181"/>
                      <a:pt x="536" y="181"/>
                    </a:cubicBezTo>
                    <a:cubicBezTo>
                      <a:pt x="538" y="181"/>
                      <a:pt x="538" y="181"/>
                      <a:pt x="538" y="181"/>
                    </a:cubicBezTo>
                    <a:cubicBezTo>
                      <a:pt x="538" y="181"/>
                      <a:pt x="537" y="183"/>
                      <a:pt x="537" y="183"/>
                    </a:cubicBezTo>
                    <a:close/>
                    <a:moveTo>
                      <a:pt x="535" y="193"/>
                    </a:moveTo>
                    <a:cubicBezTo>
                      <a:pt x="534" y="191"/>
                      <a:pt x="534" y="191"/>
                      <a:pt x="534" y="191"/>
                    </a:cubicBezTo>
                    <a:cubicBezTo>
                      <a:pt x="534" y="191"/>
                      <a:pt x="534" y="191"/>
                      <a:pt x="534" y="191"/>
                    </a:cubicBezTo>
                    <a:cubicBezTo>
                      <a:pt x="534" y="190"/>
                      <a:pt x="534" y="190"/>
                      <a:pt x="534" y="190"/>
                    </a:cubicBezTo>
                    <a:cubicBezTo>
                      <a:pt x="534" y="189"/>
                      <a:pt x="534" y="189"/>
                      <a:pt x="534" y="189"/>
                    </a:cubicBezTo>
                    <a:cubicBezTo>
                      <a:pt x="534" y="187"/>
                      <a:pt x="534" y="187"/>
                      <a:pt x="534" y="187"/>
                    </a:cubicBezTo>
                    <a:cubicBezTo>
                      <a:pt x="535" y="186"/>
                      <a:pt x="535" y="186"/>
                      <a:pt x="535" y="186"/>
                    </a:cubicBezTo>
                    <a:cubicBezTo>
                      <a:pt x="537" y="186"/>
                      <a:pt x="537" y="186"/>
                      <a:pt x="537" y="186"/>
                    </a:cubicBezTo>
                    <a:cubicBezTo>
                      <a:pt x="536" y="190"/>
                      <a:pt x="536" y="190"/>
                      <a:pt x="536" y="190"/>
                    </a:cubicBezTo>
                    <a:cubicBezTo>
                      <a:pt x="535" y="192"/>
                      <a:pt x="535" y="192"/>
                      <a:pt x="535" y="192"/>
                    </a:cubicBezTo>
                    <a:cubicBezTo>
                      <a:pt x="535" y="192"/>
                      <a:pt x="535" y="193"/>
                      <a:pt x="535" y="193"/>
                    </a:cubicBezTo>
                    <a:close/>
                    <a:moveTo>
                      <a:pt x="521" y="188"/>
                    </a:moveTo>
                    <a:cubicBezTo>
                      <a:pt x="521" y="188"/>
                      <a:pt x="521" y="188"/>
                      <a:pt x="521" y="188"/>
                    </a:cubicBezTo>
                    <a:cubicBezTo>
                      <a:pt x="521" y="187"/>
                      <a:pt x="521" y="187"/>
                      <a:pt x="521" y="187"/>
                    </a:cubicBezTo>
                    <a:cubicBezTo>
                      <a:pt x="523" y="186"/>
                      <a:pt x="523" y="186"/>
                      <a:pt x="523" y="186"/>
                    </a:cubicBezTo>
                    <a:cubicBezTo>
                      <a:pt x="524" y="187"/>
                      <a:pt x="524" y="187"/>
                      <a:pt x="524" y="187"/>
                    </a:cubicBezTo>
                    <a:cubicBezTo>
                      <a:pt x="523" y="187"/>
                      <a:pt x="523" y="187"/>
                      <a:pt x="523" y="187"/>
                    </a:cubicBezTo>
                    <a:cubicBezTo>
                      <a:pt x="522" y="188"/>
                      <a:pt x="522" y="188"/>
                      <a:pt x="522" y="188"/>
                    </a:cubicBezTo>
                    <a:cubicBezTo>
                      <a:pt x="521" y="188"/>
                      <a:pt x="521" y="188"/>
                      <a:pt x="521" y="188"/>
                    </a:cubicBezTo>
                    <a:close/>
                    <a:moveTo>
                      <a:pt x="518" y="191"/>
                    </a:moveTo>
                    <a:cubicBezTo>
                      <a:pt x="517" y="190"/>
                      <a:pt x="517" y="190"/>
                      <a:pt x="517" y="190"/>
                    </a:cubicBezTo>
                    <a:cubicBezTo>
                      <a:pt x="519" y="189"/>
                      <a:pt x="519" y="189"/>
                      <a:pt x="519" y="189"/>
                    </a:cubicBezTo>
                    <a:cubicBezTo>
                      <a:pt x="519" y="189"/>
                      <a:pt x="519" y="189"/>
                      <a:pt x="519" y="189"/>
                    </a:cubicBezTo>
                    <a:cubicBezTo>
                      <a:pt x="519" y="191"/>
                      <a:pt x="519" y="191"/>
                      <a:pt x="519" y="191"/>
                    </a:cubicBezTo>
                    <a:cubicBezTo>
                      <a:pt x="518" y="191"/>
                      <a:pt x="518" y="191"/>
                      <a:pt x="518" y="191"/>
                    </a:cubicBezTo>
                    <a:close/>
                    <a:moveTo>
                      <a:pt x="520" y="195"/>
                    </a:moveTo>
                    <a:cubicBezTo>
                      <a:pt x="521" y="194"/>
                      <a:pt x="521" y="194"/>
                      <a:pt x="521" y="194"/>
                    </a:cubicBezTo>
                    <a:cubicBezTo>
                      <a:pt x="520" y="193"/>
                      <a:pt x="520" y="193"/>
                      <a:pt x="520" y="193"/>
                    </a:cubicBezTo>
                    <a:cubicBezTo>
                      <a:pt x="520" y="192"/>
                      <a:pt x="520" y="192"/>
                      <a:pt x="520" y="192"/>
                    </a:cubicBezTo>
                    <a:cubicBezTo>
                      <a:pt x="521" y="192"/>
                      <a:pt x="521" y="192"/>
                      <a:pt x="521" y="192"/>
                    </a:cubicBezTo>
                    <a:cubicBezTo>
                      <a:pt x="522" y="192"/>
                      <a:pt x="522" y="192"/>
                      <a:pt x="522" y="192"/>
                    </a:cubicBezTo>
                    <a:cubicBezTo>
                      <a:pt x="523" y="194"/>
                      <a:pt x="523" y="194"/>
                      <a:pt x="523" y="194"/>
                    </a:cubicBezTo>
                    <a:cubicBezTo>
                      <a:pt x="521" y="195"/>
                      <a:pt x="521" y="195"/>
                      <a:pt x="521" y="195"/>
                    </a:cubicBezTo>
                    <a:cubicBezTo>
                      <a:pt x="520" y="195"/>
                      <a:pt x="520" y="195"/>
                      <a:pt x="520" y="195"/>
                    </a:cubicBezTo>
                    <a:close/>
                    <a:moveTo>
                      <a:pt x="517" y="197"/>
                    </a:moveTo>
                    <a:cubicBezTo>
                      <a:pt x="515" y="196"/>
                      <a:pt x="515" y="196"/>
                      <a:pt x="515" y="196"/>
                    </a:cubicBezTo>
                    <a:cubicBezTo>
                      <a:pt x="515" y="194"/>
                      <a:pt x="515" y="194"/>
                      <a:pt x="515" y="194"/>
                    </a:cubicBezTo>
                    <a:cubicBezTo>
                      <a:pt x="516" y="193"/>
                      <a:pt x="516" y="193"/>
                      <a:pt x="516" y="193"/>
                    </a:cubicBezTo>
                    <a:cubicBezTo>
                      <a:pt x="517" y="193"/>
                      <a:pt x="517" y="193"/>
                      <a:pt x="517" y="193"/>
                    </a:cubicBezTo>
                    <a:cubicBezTo>
                      <a:pt x="518" y="192"/>
                      <a:pt x="518" y="192"/>
                      <a:pt x="518" y="192"/>
                    </a:cubicBezTo>
                    <a:cubicBezTo>
                      <a:pt x="519" y="193"/>
                      <a:pt x="519" y="193"/>
                      <a:pt x="519" y="193"/>
                    </a:cubicBezTo>
                    <a:cubicBezTo>
                      <a:pt x="519" y="194"/>
                      <a:pt x="519" y="194"/>
                      <a:pt x="519" y="194"/>
                    </a:cubicBezTo>
                    <a:cubicBezTo>
                      <a:pt x="519" y="195"/>
                      <a:pt x="519" y="195"/>
                      <a:pt x="519" y="195"/>
                    </a:cubicBezTo>
                    <a:cubicBezTo>
                      <a:pt x="519" y="196"/>
                      <a:pt x="519" y="196"/>
                      <a:pt x="519" y="196"/>
                    </a:cubicBezTo>
                    <a:cubicBezTo>
                      <a:pt x="518" y="196"/>
                      <a:pt x="518" y="196"/>
                      <a:pt x="518" y="196"/>
                    </a:cubicBezTo>
                    <a:cubicBezTo>
                      <a:pt x="517" y="197"/>
                      <a:pt x="517" y="197"/>
                      <a:pt x="517" y="197"/>
                    </a:cubicBezTo>
                    <a:cubicBezTo>
                      <a:pt x="517" y="197"/>
                      <a:pt x="517" y="197"/>
                      <a:pt x="517" y="197"/>
                    </a:cubicBezTo>
                    <a:close/>
                    <a:moveTo>
                      <a:pt x="512" y="198"/>
                    </a:moveTo>
                    <a:cubicBezTo>
                      <a:pt x="511" y="197"/>
                      <a:pt x="511" y="197"/>
                      <a:pt x="511" y="197"/>
                    </a:cubicBezTo>
                    <a:cubicBezTo>
                      <a:pt x="512" y="196"/>
                      <a:pt x="512" y="196"/>
                      <a:pt x="512" y="196"/>
                    </a:cubicBezTo>
                    <a:cubicBezTo>
                      <a:pt x="512" y="197"/>
                      <a:pt x="512" y="197"/>
                      <a:pt x="512" y="197"/>
                    </a:cubicBezTo>
                    <a:cubicBezTo>
                      <a:pt x="512" y="198"/>
                      <a:pt x="512" y="198"/>
                      <a:pt x="512" y="198"/>
                    </a:cubicBezTo>
                    <a:cubicBezTo>
                      <a:pt x="512" y="198"/>
                      <a:pt x="512" y="198"/>
                      <a:pt x="512" y="198"/>
                    </a:cubicBezTo>
                    <a:close/>
                    <a:moveTo>
                      <a:pt x="492" y="201"/>
                    </a:moveTo>
                    <a:cubicBezTo>
                      <a:pt x="491" y="200"/>
                      <a:pt x="491" y="200"/>
                      <a:pt x="491" y="200"/>
                    </a:cubicBezTo>
                    <a:cubicBezTo>
                      <a:pt x="489" y="200"/>
                      <a:pt x="489" y="200"/>
                      <a:pt x="489" y="200"/>
                    </a:cubicBezTo>
                    <a:cubicBezTo>
                      <a:pt x="488" y="199"/>
                      <a:pt x="488" y="199"/>
                      <a:pt x="488" y="199"/>
                    </a:cubicBezTo>
                    <a:cubicBezTo>
                      <a:pt x="488" y="197"/>
                      <a:pt x="488" y="197"/>
                      <a:pt x="488" y="197"/>
                    </a:cubicBezTo>
                    <a:cubicBezTo>
                      <a:pt x="488" y="196"/>
                      <a:pt x="488" y="196"/>
                      <a:pt x="488" y="196"/>
                    </a:cubicBezTo>
                    <a:cubicBezTo>
                      <a:pt x="488" y="195"/>
                      <a:pt x="488" y="195"/>
                      <a:pt x="488" y="195"/>
                    </a:cubicBezTo>
                    <a:cubicBezTo>
                      <a:pt x="489" y="193"/>
                      <a:pt x="489" y="193"/>
                      <a:pt x="489" y="193"/>
                    </a:cubicBezTo>
                    <a:cubicBezTo>
                      <a:pt x="490" y="193"/>
                      <a:pt x="490" y="193"/>
                      <a:pt x="490" y="193"/>
                    </a:cubicBezTo>
                    <a:cubicBezTo>
                      <a:pt x="491" y="195"/>
                      <a:pt x="491" y="195"/>
                      <a:pt x="491" y="195"/>
                    </a:cubicBezTo>
                    <a:cubicBezTo>
                      <a:pt x="491" y="195"/>
                      <a:pt x="491" y="195"/>
                      <a:pt x="491" y="195"/>
                    </a:cubicBezTo>
                    <a:cubicBezTo>
                      <a:pt x="490" y="193"/>
                      <a:pt x="490" y="193"/>
                      <a:pt x="490" y="193"/>
                    </a:cubicBezTo>
                    <a:cubicBezTo>
                      <a:pt x="491" y="192"/>
                      <a:pt x="491" y="192"/>
                      <a:pt x="491" y="192"/>
                    </a:cubicBezTo>
                    <a:cubicBezTo>
                      <a:pt x="489" y="192"/>
                      <a:pt x="489" y="192"/>
                      <a:pt x="489" y="192"/>
                    </a:cubicBezTo>
                    <a:cubicBezTo>
                      <a:pt x="488" y="191"/>
                      <a:pt x="488" y="191"/>
                      <a:pt x="488" y="191"/>
                    </a:cubicBezTo>
                    <a:cubicBezTo>
                      <a:pt x="488" y="190"/>
                      <a:pt x="488" y="190"/>
                      <a:pt x="488" y="190"/>
                    </a:cubicBezTo>
                    <a:cubicBezTo>
                      <a:pt x="488" y="189"/>
                      <a:pt x="488" y="189"/>
                      <a:pt x="488" y="189"/>
                    </a:cubicBezTo>
                    <a:cubicBezTo>
                      <a:pt x="489" y="189"/>
                      <a:pt x="489" y="189"/>
                      <a:pt x="489" y="189"/>
                    </a:cubicBezTo>
                    <a:cubicBezTo>
                      <a:pt x="490" y="190"/>
                      <a:pt x="490" y="190"/>
                      <a:pt x="490" y="190"/>
                    </a:cubicBezTo>
                    <a:cubicBezTo>
                      <a:pt x="490" y="189"/>
                      <a:pt x="490" y="189"/>
                      <a:pt x="490" y="189"/>
                    </a:cubicBezTo>
                    <a:cubicBezTo>
                      <a:pt x="490" y="188"/>
                      <a:pt x="490" y="188"/>
                      <a:pt x="490" y="188"/>
                    </a:cubicBezTo>
                    <a:cubicBezTo>
                      <a:pt x="491" y="187"/>
                      <a:pt x="491" y="187"/>
                      <a:pt x="491" y="187"/>
                    </a:cubicBezTo>
                    <a:cubicBezTo>
                      <a:pt x="493" y="188"/>
                      <a:pt x="493" y="188"/>
                      <a:pt x="493" y="188"/>
                    </a:cubicBezTo>
                    <a:cubicBezTo>
                      <a:pt x="496" y="189"/>
                      <a:pt x="496" y="189"/>
                      <a:pt x="496" y="189"/>
                    </a:cubicBezTo>
                    <a:cubicBezTo>
                      <a:pt x="497" y="188"/>
                      <a:pt x="497" y="188"/>
                      <a:pt x="497" y="188"/>
                    </a:cubicBezTo>
                    <a:cubicBezTo>
                      <a:pt x="496" y="187"/>
                      <a:pt x="496" y="187"/>
                      <a:pt x="496" y="187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5" y="187"/>
                      <a:pt x="495" y="187"/>
                      <a:pt x="495" y="187"/>
                    </a:cubicBezTo>
                    <a:cubicBezTo>
                      <a:pt x="498" y="187"/>
                      <a:pt x="498" y="187"/>
                      <a:pt x="498" y="187"/>
                    </a:cubicBezTo>
                    <a:cubicBezTo>
                      <a:pt x="500" y="185"/>
                      <a:pt x="500" y="185"/>
                      <a:pt x="500" y="185"/>
                    </a:cubicBezTo>
                    <a:cubicBezTo>
                      <a:pt x="502" y="185"/>
                      <a:pt x="502" y="185"/>
                      <a:pt x="502" y="185"/>
                    </a:cubicBezTo>
                    <a:cubicBezTo>
                      <a:pt x="504" y="186"/>
                      <a:pt x="504" y="186"/>
                      <a:pt x="504" y="186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5" y="184"/>
                      <a:pt x="505" y="184"/>
                      <a:pt x="505" y="184"/>
                    </a:cubicBezTo>
                    <a:cubicBezTo>
                      <a:pt x="497" y="182"/>
                      <a:pt x="497" y="182"/>
                      <a:pt x="497" y="182"/>
                    </a:cubicBezTo>
                    <a:cubicBezTo>
                      <a:pt x="495" y="183"/>
                      <a:pt x="495" y="183"/>
                      <a:pt x="495" y="183"/>
                    </a:cubicBezTo>
                    <a:cubicBezTo>
                      <a:pt x="493" y="182"/>
                      <a:pt x="493" y="182"/>
                      <a:pt x="493" y="182"/>
                    </a:cubicBezTo>
                    <a:cubicBezTo>
                      <a:pt x="491" y="182"/>
                      <a:pt x="491" y="182"/>
                      <a:pt x="491" y="182"/>
                    </a:cubicBezTo>
                    <a:cubicBezTo>
                      <a:pt x="489" y="181"/>
                      <a:pt x="489" y="181"/>
                      <a:pt x="489" y="181"/>
                    </a:cubicBezTo>
                    <a:cubicBezTo>
                      <a:pt x="488" y="181"/>
                      <a:pt x="488" y="181"/>
                      <a:pt x="488" y="181"/>
                    </a:cubicBezTo>
                    <a:cubicBezTo>
                      <a:pt x="486" y="181"/>
                      <a:pt x="486" y="181"/>
                      <a:pt x="486" y="181"/>
                    </a:cubicBezTo>
                    <a:cubicBezTo>
                      <a:pt x="485" y="181"/>
                      <a:pt x="485" y="181"/>
                      <a:pt x="485" y="181"/>
                    </a:cubicBezTo>
                    <a:cubicBezTo>
                      <a:pt x="484" y="181"/>
                      <a:pt x="484" y="181"/>
                      <a:pt x="484" y="181"/>
                    </a:cubicBezTo>
                    <a:cubicBezTo>
                      <a:pt x="483" y="181"/>
                      <a:pt x="483" y="181"/>
                      <a:pt x="483" y="181"/>
                    </a:cubicBezTo>
                    <a:cubicBezTo>
                      <a:pt x="482" y="181"/>
                      <a:pt x="482" y="181"/>
                      <a:pt x="482" y="181"/>
                    </a:cubicBezTo>
                    <a:cubicBezTo>
                      <a:pt x="481" y="180"/>
                      <a:pt x="481" y="180"/>
                      <a:pt x="481" y="180"/>
                    </a:cubicBezTo>
                    <a:cubicBezTo>
                      <a:pt x="481" y="178"/>
                      <a:pt x="481" y="178"/>
                      <a:pt x="481" y="178"/>
                    </a:cubicBezTo>
                    <a:cubicBezTo>
                      <a:pt x="482" y="178"/>
                      <a:pt x="482" y="178"/>
                      <a:pt x="482" y="178"/>
                    </a:cubicBezTo>
                    <a:cubicBezTo>
                      <a:pt x="483" y="177"/>
                      <a:pt x="483" y="177"/>
                      <a:pt x="483" y="177"/>
                    </a:cubicBezTo>
                    <a:cubicBezTo>
                      <a:pt x="485" y="178"/>
                      <a:pt x="485" y="178"/>
                      <a:pt x="485" y="178"/>
                    </a:cubicBezTo>
                    <a:cubicBezTo>
                      <a:pt x="486" y="178"/>
                      <a:pt x="486" y="178"/>
                      <a:pt x="486" y="178"/>
                    </a:cubicBezTo>
                    <a:cubicBezTo>
                      <a:pt x="485" y="177"/>
                      <a:pt x="485" y="177"/>
                      <a:pt x="485" y="177"/>
                    </a:cubicBezTo>
                    <a:cubicBezTo>
                      <a:pt x="486" y="175"/>
                      <a:pt x="486" y="175"/>
                      <a:pt x="486" y="175"/>
                    </a:cubicBezTo>
                    <a:cubicBezTo>
                      <a:pt x="487" y="174"/>
                      <a:pt x="487" y="174"/>
                      <a:pt x="487" y="174"/>
                    </a:cubicBezTo>
                    <a:cubicBezTo>
                      <a:pt x="488" y="174"/>
                      <a:pt x="488" y="174"/>
                      <a:pt x="488" y="174"/>
                    </a:cubicBezTo>
                    <a:cubicBezTo>
                      <a:pt x="489" y="174"/>
                      <a:pt x="489" y="174"/>
                      <a:pt x="489" y="174"/>
                    </a:cubicBezTo>
                    <a:cubicBezTo>
                      <a:pt x="490" y="176"/>
                      <a:pt x="490" y="176"/>
                      <a:pt x="490" y="176"/>
                    </a:cubicBezTo>
                    <a:cubicBezTo>
                      <a:pt x="491" y="176"/>
                      <a:pt x="491" y="176"/>
                      <a:pt x="491" y="176"/>
                    </a:cubicBezTo>
                    <a:cubicBezTo>
                      <a:pt x="491" y="179"/>
                      <a:pt x="491" y="179"/>
                      <a:pt x="491" y="179"/>
                    </a:cubicBezTo>
                    <a:cubicBezTo>
                      <a:pt x="491" y="179"/>
                      <a:pt x="491" y="179"/>
                      <a:pt x="491" y="179"/>
                    </a:cubicBezTo>
                    <a:cubicBezTo>
                      <a:pt x="492" y="178"/>
                      <a:pt x="492" y="178"/>
                      <a:pt x="492" y="178"/>
                    </a:cubicBezTo>
                    <a:cubicBezTo>
                      <a:pt x="492" y="176"/>
                      <a:pt x="492" y="176"/>
                      <a:pt x="492" y="176"/>
                    </a:cubicBezTo>
                    <a:cubicBezTo>
                      <a:pt x="491" y="175"/>
                      <a:pt x="491" y="175"/>
                      <a:pt x="491" y="175"/>
                    </a:cubicBezTo>
                    <a:cubicBezTo>
                      <a:pt x="492" y="173"/>
                      <a:pt x="492" y="173"/>
                      <a:pt x="492" y="173"/>
                    </a:cubicBezTo>
                    <a:cubicBezTo>
                      <a:pt x="494" y="173"/>
                      <a:pt x="494" y="173"/>
                      <a:pt x="494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1"/>
                      <a:pt x="492" y="171"/>
                      <a:pt x="492" y="171"/>
                    </a:cubicBezTo>
                    <a:cubicBezTo>
                      <a:pt x="493" y="168"/>
                      <a:pt x="493" y="168"/>
                      <a:pt x="493" y="168"/>
                    </a:cubicBezTo>
                    <a:cubicBezTo>
                      <a:pt x="495" y="168"/>
                      <a:pt x="495" y="168"/>
                      <a:pt x="495" y="168"/>
                    </a:cubicBezTo>
                    <a:cubicBezTo>
                      <a:pt x="495" y="166"/>
                      <a:pt x="495" y="166"/>
                      <a:pt x="495" y="166"/>
                    </a:cubicBezTo>
                    <a:cubicBezTo>
                      <a:pt x="497" y="166"/>
                      <a:pt x="497" y="166"/>
                      <a:pt x="497" y="166"/>
                    </a:cubicBezTo>
                    <a:cubicBezTo>
                      <a:pt x="496" y="164"/>
                      <a:pt x="496" y="164"/>
                      <a:pt x="496" y="164"/>
                    </a:cubicBezTo>
                    <a:cubicBezTo>
                      <a:pt x="495" y="165"/>
                      <a:pt x="495" y="165"/>
                      <a:pt x="495" y="165"/>
                    </a:cubicBezTo>
                    <a:cubicBezTo>
                      <a:pt x="494" y="164"/>
                      <a:pt x="494" y="164"/>
                      <a:pt x="494" y="164"/>
                    </a:cubicBezTo>
                    <a:cubicBezTo>
                      <a:pt x="494" y="163"/>
                      <a:pt x="494" y="163"/>
                      <a:pt x="494" y="163"/>
                    </a:cubicBezTo>
                    <a:cubicBezTo>
                      <a:pt x="496" y="162"/>
                      <a:pt x="496" y="162"/>
                      <a:pt x="496" y="162"/>
                    </a:cubicBezTo>
                    <a:cubicBezTo>
                      <a:pt x="496" y="161"/>
                      <a:pt x="496" y="161"/>
                      <a:pt x="496" y="161"/>
                    </a:cubicBezTo>
                    <a:cubicBezTo>
                      <a:pt x="498" y="160"/>
                      <a:pt x="498" y="160"/>
                      <a:pt x="498" y="160"/>
                    </a:cubicBezTo>
                    <a:cubicBezTo>
                      <a:pt x="499" y="161"/>
                      <a:pt x="499" y="161"/>
                      <a:pt x="499" y="161"/>
                    </a:cubicBezTo>
                    <a:cubicBezTo>
                      <a:pt x="500" y="162"/>
                      <a:pt x="500" y="162"/>
                      <a:pt x="500" y="162"/>
                    </a:cubicBezTo>
                    <a:cubicBezTo>
                      <a:pt x="500" y="163"/>
                      <a:pt x="500" y="163"/>
                      <a:pt x="500" y="163"/>
                    </a:cubicBezTo>
                    <a:cubicBezTo>
                      <a:pt x="501" y="165"/>
                      <a:pt x="501" y="165"/>
                      <a:pt x="501" y="165"/>
                    </a:cubicBezTo>
                    <a:cubicBezTo>
                      <a:pt x="500" y="165"/>
                      <a:pt x="500" y="165"/>
                      <a:pt x="500" y="165"/>
                    </a:cubicBezTo>
                    <a:cubicBezTo>
                      <a:pt x="501" y="167"/>
                      <a:pt x="501" y="167"/>
                      <a:pt x="501" y="167"/>
                    </a:cubicBezTo>
                    <a:cubicBezTo>
                      <a:pt x="502" y="168"/>
                      <a:pt x="502" y="168"/>
                      <a:pt x="502" y="168"/>
                    </a:cubicBezTo>
                    <a:cubicBezTo>
                      <a:pt x="502" y="174"/>
                      <a:pt x="502" y="174"/>
                      <a:pt x="502" y="174"/>
                    </a:cubicBezTo>
                    <a:cubicBezTo>
                      <a:pt x="502" y="175"/>
                      <a:pt x="502" y="175"/>
                      <a:pt x="502" y="175"/>
                    </a:cubicBezTo>
                    <a:cubicBezTo>
                      <a:pt x="502" y="176"/>
                      <a:pt x="502" y="176"/>
                      <a:pt x="502" y="176"/>
                    </a:cubicBezTo>
                    <a:cubicBezTo>
                      <a:pt x="504" y="177"/>
                      <a:pt x="504" y="177"/>
                      <a:pt x="504" y="177"/>
                    </a:cubicBezTo>
                    <a:cubicBezTo>
                      <a:pt x="506" y="176"/>
                      <a:pt x="506" y="176"/>
                      <a:pt x="506" y="176"/>
                    </a:cubicBezTo>
                    <a:cubicBezTo>
                      <a:pt x="505" y="175"/>
                      <a:pt x="505" y="175"/>
                      <a:pt x="505" y="175"/>
                    </a:cubicBezTo>
                    <a:cubicBezTo>
                      <a:pt x="505" y="172"/>
                      <a:pt x="505" y="172"/>
                      <a:pt x="505" y="172"/>
                    </a:cubicBezTo>
                    <a:cubicBezTo>
                      <a:pt x="507" y="171"/>
                      <a:pt x="507" y="171"/>
                      <a:pt x="507" y="171"/>
                    </a:cubicBezTo>
                    <a:cubicBezTo>
                      <a:pt x="507" y="170"/>
                      <a:pt x="507" y="170"/>
                      <a:pt x="507" y="170"/>
                    </a:cubicBezTo>
                    <a:cubicBezTo>
                      <a:pt x="504" y="168"/>
                      <a:pt x="504" y="168"/>
                      <a:pt x="504" y="168"/>
                    </a:cubicBezTo>
                    <a:cubicBezTo>
                      <a:pt x="504" y="167"/>
                      <a:pt x="504" y="167"/>
                      <a:pt x="504" y="167"/>
                    </a:cubicBezTo>
                    <a:cubicBezTo>
                      <a:pt x="506" y="167"/>
                      <a:pt x="506" y="167"/>
                      <a:pt x="506" y="167"/>
                    </a:cubicBezTo>
                    <a:cubicBezTo>
                      <a:pt x="507" y="168"/>
                      <a:pt x="507" y="168"/>
                      <a:pt x="507" y="168"/>
                    </a:cubicBezTo>
                    <a:cubicBezTo>
                      <a:pt x="507" y="167"/>
                      <a:pt x="507" y="167"/>
                      <a:pt x="507" y="167"/>
                    </a:cubicBezTo>
                    <a:cubicBezTo>
                      <a:pt x="505" y="165"/>
                      <a:pt x="505" y="165"/>
                      <a:pt x="505" y="165"/>
                    </a:cubicBezTo>
                    <a:cubicBezTo>
                      <a:pt x="505" y="162"/>
                      <a:pt x="505" y="162"/>
                      <a:pt x="505" y="162"/>
                    </a:cubicBezTo>
                    <a:cubicBezTo>
                      <a:pt x="505" y="161"/>
                      <a:pt x="505" y="161"/>
                      <a:pt x="505" y="161"/>
                    </a:cubicBezTo>
                    <a:cubicBezTo>
                      <a:pt x="505" y="158"/>
                      <a:pt x="505" y="158"/>
                      <a:pt x="505" y="158"/>
                    </a:cubicBezTo>
                    <a:cubicBezTo>
                      <a:pt x="507" y="158"/>
                      <a:pt x="507" y="158"/>
                      <a:pt x="507" y="158"/>
                    </a:cubicBezTo>
                    <a:cubicBezTo>
                      <a:pt x="508" y="157"/>
                      <a:pt x="508" y="157"/>
                      <a:pt x="508" y="157"/>
                    </a:cubicBezTo>
                    <a:cubicBezTo>
                      <a:pt x="509" y="156"/>
                      <a:pt x="509" y="156"/>
                      <a:pt x="509" y="156"/>
                    </a:cubicBezTo>
                    <a:cubicBezTo>
                      <a:pt x="511" y="157"/>
                      <a:pt x="511" y="157"/>
                      <a:pt x="511" y="157"/>
                    </a:cubicBezTo>
                    <a:cubicBezTo>
                      <a:pt x="511" y="157"/>
                      <a:pt x="512" y="155"/>
                      <a:pt x="513" y="155"/>
                    </a:cubicBezTo>
                    <a:cubicBezTo>
                      <a:pt x="513" y="155"/>
                      <a:pt x="514" y="155"/>
                      <a:pt x="514" y="155"/>
                    </a:cubicBezTo>
                    <a:cubicBezTo>
                      <a:pt x="514" y="157"/>
                      <a:pt x="514" y="157"/>
                      <a:pt x="514" y="157"/>
                    </a:cubicBezTo>
                    <a:cubicBezTo>
                      <a:pt x="516" y="158"/>
                      <a:pt x="516" y="158"/>
                      <a:pt x="516" y="158"/>
                    </a:cubicBezTo>
                    <a:cubicBezTo>
                      <a:pt x="517" y="157"/>
                      <a:pt x="517" y="157"/>
                      <a:pt x="517" y="157"/>
                    </a:cubicBezTo>
                    <a:cubicBezTo>
                      <a:pt x="518" y="158"/>
                      <a:pt x="518" y="158"/>
                      <a:pt x="518" y="158"/>
                    </a:cubicBezTo>
                    <a:cubicBezTo>
                      <a:pt x="517" y="162"/>
                      <a:pt x="517" y="162"/>
                      <a:pt x="517" y="162"/>
                    </a:cubicBezTo>
                    <a:cubicBezTo>
                      <a:pt x="516" y="164"/>
                      <a:pt x="516" y="164"/>
                      <a:pt x="516" y="164"/>
                    </a:cubicBezTo>
                    <a:cubicBezTo>
                      <a:pt x="516" y="165"/>
                      <a:pt x="516" y="165"/>
                      <a:pt x="516" y="165"/>
                    </a:cubicBezTo>
                    <a:cubicBezTo>
                      <a:pt x="517" y="165"/>
                      <a:pt x="517" y="165"/>
                      <a:pt x="517" y="165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9" y="164"/>
                      <a:pt x="519" y="164"/>
                      <a:pt x="519" y="164"/>
                    </a:cubicBezTo>
                    <a:cubicBezTo>
                      <a:pt x="520" y="163"/>
                      <a:pt x="520" y="163"/>
                      <a:pt x="520" y="163"/>
                    </a:cubicBezTo>
                    <a:cubicBezTo>
                      <a:pt x="520" y="160"/>
                      <a:pt x="520" y="160"/>
                      <a:pt x="520" y="160"/>
                    </a:cubicBezTo>
                    <a:cubicBezTo>
                      <a:pt x="521" y="159"/>
                      <a:pt x="521" y="159"/>
                      <a:pt x="521" y="159"/>
                    </a:cubicBezTo>
                    <a:cubicBezTo>
                      <a:pt x="523" y="160"/>
                      <a:pt x="523" y="160"/>
                      <a:pt x="523" y="160"/>
                    </a:cubicBezTo>
                    <a:cubicBezTo>
                      <a:pt x="524" y="160"/>
                      <a:pt x="524" y="160"/>
                      <a:pt x="524" y="160"/>
                    </a:cubicBezTo>
                    <a:cubicBezTo>
                      <a:pt x="524" y="158"/>
                      <a:pt x="524" y="158"/>
                      <a:pt x="524" y="158"/>
                    </a:cubicBezTo>
                    <a:cubicBezTo>
                      <a:pt x="524" y="157"/>
                      <a:pt x="524" y="157"/>
                      <a:pt x="524" y="157"/>
                    </a:cubicBezTo>
                    <a:cubicBezTo>
                      <a:pt x="525" y="157"/>
                      <a:pt x="525" y="157"/>
                      <a:pt x="525" y="157"/>
                    </a:cubicBezTo>
                    <a:cubicBezTo>
                      <a:pt x="526" y="159"/>
                      <a:pt x="526" y="159"/>
                      <a:pt x="526" y="159"/>
                    </a:cubicBezTo>
                    <a:cubicBezTo>
                      <a:pt x="526" y="160"/>
                      <a:pt x="526" y="160"/>
                      <a:pt x="526" y="160"/>
                    </a:cubicBezTo>
                    <a:cubicBezTo>
                      <a:pt x="526" y="161"/>
                      <a:pt x="526" y="161"/>
                      <a:pt x="526" y="161"/>
                    </a:cubicBezTo>
                    <a:cubicBezTo>
                      <a:pt x="525" y="162"/>
                      <a:pt x="525" y="162"/>
                      <a:pt x="525" y="162"/>
                    </a:cubicBezTo>
                    <a:cubicBezTo>
                      <a:pt x="524" y="162"/>
                      <a:pt x="524" y="162"/>
                      <a:pt x="524" y="162"/>
                    </a:cubicBezTo>
                    <a:cubicBezTo>
                      <a:pt x="525" y="164"/>
                      <a:pt x="525" y="164"/>
                      <a:pt x="525" y="164"/>
                    </a:cubicBezTo>
                    <a:cubicBezTo>
                      <a:pt x="527" y="164"/>
                      <a:pt x="527" y="164"/>
                      <a:pt x="527" y="164"/>
                    </a:cubicBezTo>
                    <a:cubicBezTo>
                      <a:pt x="528" y="166"/>
                      <a:pt x="528" y="166"/>
                      <a:pt x="528" y="166"/>
                    </a:cubicBezTo>
                    <a:cubicBezTo>
                      <a:pt x="527" y="168"/>
                      <a:pt x="527" y="168"/>
                      <a:pt x="527" y="168"/>
                    </a:cubicBezTo>
                    <a:cubicBezTo>
                      <a:pt x="526" y="169"/>
                      <a:pt x="526" y="169"/>
                      <a:pt x="526" y="169"/>
                    </a:cubicBezTo>
                    <a:cubicBezTo>
                      <a:pt x="524" y="172"/>
                      <a:pt x="524" y="172"/>
                      <a:pt x="524" y="172"/>
                    </a:cubicBezTo>
                    <a:cubicBezTo>
                      <a:pt x="524" y="174"/>
                      <a:pt x="524" y="174"/>
                      <a:pt x="524" y="174"/>
                    </a:cubicBezTo>
                    <a:cubicBezTo>
                      <a:pt x="524" y="176"/>
                      <a:pt x="524" y="176"/>
                      <a:pt x="524" y="176"/>
                    </a:cubicBezTo>
                    <a:cubicBezTo>
                      <a:pt x="522" y="177"/>
                      <a:pt x="522" y="177"/>
                      <a:pt x="522" y="177"/>
                    </a:cubicBezTo>
                    <a:cubicBezTo>
                      <a:pt x="520" y="179"/>
                      <a:pt x="520" y="179"/>
                      <a:pt x="520" y="179"/>
                    </a:cubicBezTo>
                    <a:cubicBezTo>
                      <a:pt x="519" y="180"/>
                      <a:pt x="519" y="180"/>
                      <a:pt x="519" y="180"/>
                    </a:cubicBezTo>
                    <a:cubicBezTo>
                      <a:pt x="517" y="182"/>
                      <a:pt x="517" y="182"/>
                      <a:pt x="517" y="182"/>
                    </a:cubicBezTo>
                    <a:cubicBezTo>
                      <a:pt x="517" y="183"/>
                      <a:pt x="517" y="183"/>
                      <a:pt x="517" y="183"/>
                    </a:cubicBezTo>
                    <a:cubicBezTo>
                      <a:pt x="517" y="185"/>
                      <a:pt x="517" y="185"/>
                      <a:pt x="517" y="185"/>
                    </a:cubicBezTo>
                    <a:cubicBezTo>
                      <a:pt x="515" y="185"/>
                      <a:pt x="515" y="185"/>
                      <a:pt x="515" y="185"/>
                    </a:cubicBezTo>
                    <a:cubicBezTo>
                      <a:pt x="514" y="185"/>
                      <a:pt x="514" y="185"/>
                      <a:pt x="514" y="185"/>
                    </a:cubicBezTo>
                    <a:cubicBezTo>
                      <a:pt x="513" y="185"/>
                      <a:pt x="513" y="185"/>
                      <a:pt x="513" y="185"/>
                    </a:cubicBezTo>
                    <a:cubicBezTo>
                      <a:pt x="514" y="186"/>
                      <a:pt x="514" y="186"/>
                      <a:pt x="514" y="186"/>
                    </a:cubicBezTo>
                    <a:cubicBezTo>
                      <a:pt x="516" y="188"/>
                      <a:pt x="516" y="188"/>
                      <a:pt x="516" y="188"/>
                    </a:cubicBezTo>
                    <a:cubicBezTo>
                      <a:pt x="516" y="189"/>
                      <a:pt x="516" y="189"/>
                      <a:pt x="516" y="189"/>
                    </a:cubicBezTo>
                    <a:cubicBezTo>
                      <a:pt x="513" y="192"/>
                      <a:pt x="513" y="192"/>
                      <a:pt x="513" y="192"/>
                    </a:cubicBezTo>
                    <a:cubicBezTo>
                      <a:pt x="513" y="193"/>
                      <a:pt x="513" y="193"/>
                      <a:pt x="513" y="193"/>
                    </a:cubicBezTo>
                    <a:cubicBezTo>
                      <a:pt x="513" y="192"/>
                      <a:pt x="513" y="192"/>
                      <a:pt x="513" y="192"/>
                    </a:cubicBezTo>
                    <a:cubicBezTo>
                      <a:pt x="513" y="190"/>
                      <a:pt x="513" y="190"/>
                      <a:pt x="513" y="190"/>
                    </a:cubicBezTo>
                    <a:cubicBezTo>
                      <a:pt x="511" y="190"/>
                      <a:pt x="511" y="190"/>
                      <a:pt x="511" y="190"/>
                    </a:cubicBezTo>
                    <a:cubicBezTo>
                      <a:pt x="510" y="191"/>
                      <a:pt x="510" y="191"/>
                      <a:pt x="510" y="191"/>
                    </a:cubicBezTo>
                    <a:cubicBezTo>
                      <a:pt x="510" y="192"/>
                      <a:pt x="510" y="192"/>
                      <a:pt x="510" y="192"/>
                    </a:cubicBezTo>
                    <a:cubicBezTo>
                      <a:pt x="509" y="193"/>
                      <a:pt x="509" y="193"/>
                      <a:pt x="509" y="193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06" y="194"/>
                      <a:pt x="506" y="194"/>
                      <a:pt x="506" y="194"/>
                    </a:cubicBezTo>
                    <a:cubicBezTo>
                      <a:pt x="506" y="196"/>
                      <a:pt x="506" y="196"/>
                      <a:pt x="506" y="196"/>
                    </a:cubicBezTo>
                    <a:cubicBezTo>
                      <a:pt x="507" y="196"/>
                      <a:pt x="507" y="196"/>
                      <a:pt x="507" y="196"/>
                    </a:cubicBezTo>
                    <a:cubicBezTo>
                      <a:pt x="508" y="196"/>
                      <a:pt x="508" y="196"/>
                      <a:pt x="508" y="196"/>
                    </a:cubicBezTo>
                    <a:cubicBezTo>
                      <a:pt x="508" y="197"/>
                      <a:pt x="508" y="197"/>
                      <a:pt x="508" y="197"/>
                    </a:cubicBezTo>
                    <a:cubicBezTo>
                      <a:pt x="507" y="198"/>
                      <a:pt x="507" y="198"/>
                      <a:pt x="507" y="198"/>
                    </a:cubicBezTo>
                    <a:cubicBezTo>
                      <a:pt x="507" y="199"/>
                      <a:pt x="507" y="199"/>
                      <a:pt x="507" y="199"/>
                    </a:cubicBezTo>
                    <a:cubicBezTo>
                      <a:pt x="507" y="201"/>
                      <a:pt x="507" y="201"/>
                      <a:pt x="507" y="201"/>
                    </a:cubicBezTo>
                    <a:cubicBezTo>
                      <a:pt x="507" y="202"/>
                      <a:pt x="507" y="202"/>
                      <a:pt x="507" y="202"/>
                    </a:cubicBezTo>
                    <a:cubicBezTo>
                      <a:pt x="505" y="200"/>
                      <a:pt x="505" y="200"/>
                      <a:pt x="505" y="200"/>
                    </a:cubicBezTo>
                    <a:cubicBezTo>
                      <a:pt x="505" y="198"/>
                      <a:pt x="505" y="198"/>
                      <a:pt x="505" y="198"/>
                    </a:cubicBezTo>
                    <a:cubicBezTo>
                      <a:pt x="505" y="197"/>
                      <a:pt x="505" y="197"/>
                      <a:pt x="505" y="197"/>
                    </a:cubicBezTo>
                    <a:cubicBezTo>
                      <a:pt x="504" y="198"/>
                      <a:pt x="504" y="198"/>
                      <a:pt x="504" y="198"/>
                    </a:cubicBezTo>
                    <a:cubicBezTo>
                      <a:pt x="504" y="199"/>
                      <a:pt x="504" y="199"/>
                      <a:pt x="504" y="199"/>
                    </a:cubicBezTo>
                    <a:cubicBezTo>
                      <a:pt x="504" y="201"/>
                      <a:pt x="504" y="201"/>
                      <a:pt x="504" y="201"/>
                    </a:cubicBezTo>
                    <a:cubicBezTo>
                      <a:pt x="503" y="203"/>
                      <a:pt x="503" y="203"/>
                      <a:pt x="503" y="203"/>
                    </a:cubicBezTo>
                    <a:cubicBezTo>
                      <a:pt x="498" y="202"/>
                      <a:pt x="498" y="202"/>
                      <a:pt x="498" y="202"/>
                    </a:cubicBezTo>
                    <a:cubicBezTo>
                      <a:pt x="498" y="201"/>
                      <a:pt x="498" y="201"/>
                      <a:pt x="498" y="201"/>
                    </a:cubicBezTo>
                    <a:cubicBezTo>
                      <a:pt x="497" y="200"/>
                      <a:pt x="497" y="200"/>
                      <a:pt x="497" y="200"/>
                    </a:cubicBezTo>
                    <a:cubicBezTo>
                      <a:pt x="496" y="201"/>
                      <a:pt x="496" y="201"/>
                      <a:pt x="496" y="201"/>
                    </a:cubicBezTo>
                    <a:cubicBezTo>
                      <a:pt x="494" y="201"/>
                      <a:pt x="494" y="201"/>
                      <a:pt x="494" y="201"/>
                    </a:cubicBezTo>
                    <a:cubicBezTo>
                      <a:pt x="494" y="200"/>
                      <a:pt x="494" y="200"/>
                      <a:pt x="494" y="200"/>
                    </a:cubicBezTo>
                    <a:cubicBezTo>
                      <a:pt x="495" y="198"/>
                      <a:pt x="495" y="198"/>
                      <a:pt x="495" y="198"/>
                    </a:cubicBezTo>
                    <a:cubicBezTo>
                      <a:pt x="493" y="199"/>
                      <a:pt x="493" y="199"/>
                      <a:pt x="493" y="199"/>
                    </a:cubicBezTo>
                    <a:cubicBezTo>
                      <a:pt x="492" y="201"/>
                      <a:pt x="492" y="201"/>
                      <a:pt x="492" y="201"/>
                    </a:cubicBezTo>
                    <a:cubicBezTo>
                      <a:pt x="492" y="201"/>
                      <a:pt x="492" y="201"/>
                      <a:pt x="492" y="201"/>
                    </a:cubicBezTo>
                    <a:close/>
                    <a:moveTo>
                      <a:pt x="366" y="147"/>
                    </a:moveTo>
                    <a:cubicBezTo>
                      <a:pt x="365" y="146"/>
                      <a:pt x="365" y="146"/>
                      <a:pt x="365" y="146"/>
                    </a:cubicBezTo>
                    <a:cubicBezTo>
                      <a:pt x="366" y="144"/>
                      <a:pt x="366" y="144"/>
                      <a:pt x="366" y="144"/>
                    </a:cubicBezTo>
                    <a:cubicBezTo>
                      <a:pt x="370" y="140"/>
                      <a:pt x="370" y="140"/>
                      <a:pt x="370" y="140"/>
                    </a:cubicBezTo>
                    <a:cubicBezTo>
                      <a:pt x="372" y="140"/>
                      <a:pt x="372" y="140"/>
                      <a:pt x="372" y="140"/>
                    </a:cubicBezTo>
                    <a:cubicBezTo>
                      <a:pt x="374" y="138"/>
                      <a:pt x="374" y="138"/>
                      <a:pt x="374" y="138"/>
                    </a:cubicBezTo>
                    <a:cubicBezTo>
                      <a:pt x="375" y="138"/>
                      <a:pt x="375" y="138"/>
                      <a:pt x="375" y="138"/>
                    </a:cubicBezTo>
                    <a:cubicBezTo>
                      <a:pt x="378" y="136"/>
                      <a:pt x="378" y="136"/>
                      <a:pt x="378" y="136"/>
                    </a:cubicBezTo>
                    <a:cubicBezTo>
                      <a:pt x="381" y="136"/>
                      <a:pt x="381" y="136"/>
                      <a:pt x="381" y="136"/>
                    </a:cubicBezTo>
                    <a:cubicBezTo>
                      <a:pt x="382" y="135"/>
                      <a:pt x="382" y="135"/>
                      <a:pt x="382" y="135"/>
                    </a:cubicBezTo>
                    <a:cubicBezTo>
                      <a:pt x="383" y="135"/>
                      <a:pt x="383" y="135"/>
                      <a:pt x="383" y="135"/>
                    </a:cubicBezTo>
                    <a:cubicBezTo>
                      <a:pt x="386" y="134"/>
                      <a:pt x="386" y="134"/>
                      <a:pt x="386" y="134"/>
                    </a:cubicBezTo>
                    <a:cubicBezTo>
                      <a:pt x="387" y="134"/>
                      <a:pt x="387" y="134"/>
                      <a:pt x="387" y="134"/>
                    </a:cubicBezTo>
                    <a:cubicBezTo>
                      <a:pt x="387" y="136"/>
                      <a:pt x="387" y="136"/>
                      <a:pt x="387" y="136"/>
                    </a:cubicBezTo>
                    <a:cubicBezTo>
                      <a:pt x="384" y="138"/>
                      <a:pt x="384" y="138"/>
                      <a:pt x="384" y="138"/>
                    </a:cubicBezTo>
                    <a:cubicBezTo>
                      <a:pt x="381" y="140"/>
                      <a:pt x="381" y="140"/>
                      <a:pt x="381" y="140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3" y="147"/>
                      <a:pt x="373" y="147"/>
                      <a:pt x="373" y="147"/>
                    </a:cubicBezTo>
                    <a:cubicBezTo>
                      <a:pt x="372" y="147"/>
                      <a:pt x="372" y="147"/>
                      <a:pt x="372" y="147"/>
                    </a:cubicBezTo>
                    <a:cubicBezTo>
                      <a:pt x="371" y="147"/>
                      <a:pt x="371" y="147"/>
                      <a:pt x="371" y="147"/>
                    </a:cubicBezTo>
                    <a:cubicBezTo>
                      <a:pt x="370" y="149"/>
                      <a:pt x="370" y="149"/>
                      <a:pt x="370" y="149"/>
                    </a:cubicBezTo>
                    <a:cubicBezTo>
                      <a:pt x="369" y="149"/>
                      <a:pt x="369" y="149"/>
                      <a:pt x="369" y="149"/>
                    </a:cubicBezTo>
                    <a:cubicBezTo>
                      <a:pt x="368" y="147"/>
                      <a:pt x="368" y="147"/>
                      <a:pt x="368" y="147"/>
                    </a:cubicBezTo>
                    <a:cubicBezTo>
                      <a:pt x="367" y="146"/>
                      <a:pt x="367" y="146"/>
                      <a:pt x="367" y="146"/>
                    </a:cubicBezTo>
                    <a:cubicBezTo>
                      <a:pt x="366" y="147"/>
                      <a:pt x="366" y="147"/>
                      <a:pt x="366" y="147"/>
                    </a:cubicBezTo>
                    <a:close/>
                    <a:moveTo>
                      <a:pt x="459" y="187"/>
                    </a:moveTo>
                    <a:cubicBezTo>
                      <a:pt x="459" y="186"/>
                      <a:pt x="459" y="186"/>
                      <a:pt x="459" y="186"/>
                    </a:cubicBezTo>
                    <a:cubicBezTo>
                      <a:pt x="459" y="186"/>
                      <a:pt x="459" y="186"/>
                      <a:pt x="459" y="186"/>
                    </a:cubicBezTo>
                    <a:cubicBezTo>
                      <a:pt x="461" y="185"/>
                      <a:pt x="461" y="185"/>
                      <a:pt x="461" y="185"/>
                    </a:cubicBezTo>
                    <a:cubicBezTo>
                      <a:pt x="462" y="183"/>
                      <a:pt x="462" y="183"/>
                      <a:pt x="462" y="183"/>
                    </a:cubicBezTo>
                    <a:cubicBezTo>
                      <a:pt x="462" y="182"/>
                      <a:pt x="462" y="182"/>
                      <a:pt x="462" y="182"/>
                    </a:cubicBezTo>
                    <a:cubicBezTo>
                      <a:pt x="465" y="181"/>
                      <a:pt x="465" y="181"/>
                      <a:pt x="465" y="181"/>
                    </a:cubicBezTo>
                    <a:cubicBezTo>
                      <a:pt x="465" y="180"/>
                      <a:pt x="465" y="180"/>
                      <a:pt x="465" y="180"/>
                    </a:cubicBezTo>
                    <a:cubicBezTo>
                      <a:pt x="467" y="180"/>
                      <a:pt x="467" y="180"/>
                      <a:pt x="467" y="180"/>
                    </a:cubicBezTo>
                    <a:cubicBezTo>
                      <a:pt x="467" y="182"/>
                      <a:pt x="467" y="182"/>
                      <a:pt x="467" y="182"/>
                    </a:cubicBezTo>
                    <a:cubicBezTo>
                      <a:pt x="467" y="183"/>
                      <a:pt x="467" y="183"/>
                      <a:pt x="467" y="183"/>
                    </a:cubicBezTo>
                    <a:cubicBezTo>
                      <a:pt x="467" y="186"/>
                      <a:pt x="467" y="186"/>
                      <a:pt x="467" y="186"/>
                    </a:cubicBezTo>
                    <a:cubicBezTo>
                      <a:pt x="467" y="187"/>
                      <a:pt x="467" y="187"/>
                      <a:pt x="467" y="187"/>
                    </a:cubicBezTo>
                    <a:cubicBezTo>
                      <a:pt x="465" y="189"/>
                      <a:pt x="465" y="189"/>
                      <a:pt x="465" y="189"/>
                    </a:cubicBezTo>
                    <a:cubicBezTo>
                      <a:pt x="463" y="189"/>
                      <a:pt x="463" y="189"/>
                      <a:pt x="463" y="189"/>
                    </a:cubicBezTo>
                    <a:cubicBezTo>
                      <a:pt x="462" y="189"/>
                      <a:pt x="462" y="189"/>
                      <a:pt x="462" y="189"/>
                    </a:cubicBezTo>
                    <a:cubicBezTo>
                      <a:pt x="461" y="189"/>
                      <a:pt x="461" y="189"/>
                      <a:pt x="461" y="189"/>
                    </a:cubicBezTo>
                    <a:cubicBezTo>
                      <a:pt x="460" y="188"/>
                      <a:pt x="460" y="188"/>
                      <a:pt x="460" y="188"/>
                    </a:cubicBezTo>
                    <a:cubicBezTo>
                      <a:pt x="459" y="187"/>
                      <a:pt x="459" y="187"/>
                      <a:pt x="459" y="187"/>
                    </a:cubicBezTo>
                    <a:close/>
                    <a:moveTo>
                      <a:pt x="384" y="184"/>
                    </a:moveTo>
                    <a:cubicBezTo>
                      <a:pt x="385" y="182"/>
                      <a:pt x="385" y="182"/>
                      <a:pt x="385" y="182"/>
                    </a:cubicBezTo>
                    <a:cubicBezTo>
                      <a:pt x="385" y="181"/>
                      <a:pt x="385" y="181"/>
                      <a:pt x="385" y="181"/>
                    </a:cubicBezTo>
                    <a:cubicBezTo>
                      <a:pt x="385" y="177"/>
                      <a:pt x="385" y="177"/>
                      <a:pt x="385" y="177"/>
                    </a:cubicBezTo>
                    <a:cubicBezTo>
                      <a:pt x="388" y="177"/>
                      <a:pt x="388" y="177"/>
                      <a:pt x="388" y="177"/>
                    </a:cubicBezTo>
                    <a:cubicBezTo>
                      <a:pt x="391" y="178"/>
                      <a:pt x="391" y="178"/>
                      <a:pt x="391" y="178"/>
                    </a:cubicBezTo>
                    <a:cubicBezTo>
                      <a:pt x="392" y="177"/>
                      <a:pt x="392" y="177"/>
                      <a:pt x="392" y="177"/>
                    </a:cubicBezTo>
                    <a:cubicBezTo>
                      <a:pt x="394" y="177"/>
                      <a:pt x="394" y="177"/>
                      <a:pt x="394" y="177"/>
                    </a:cubicBezTo>
                    <a:cubicBezTo>
                      <a:pt x="396" y="177"/>
                      <a:pt x="396" y="177"/>
                      <a:pt x="396" y="177"/>
                    </a:cubicBezTo>
                    <a:cubicBezTo>
                      <a:pt x="399" y="176"/>
                      <a:pt x="399" y="176"/>
                      <a:pt x="399" y="176"/>
                    </a:cubicBezTo>
                    <a:cubicBezTo>
                      <a:pt x="402" y="176"/>
                      <a:pt x="402" y="176"/>
                      <a:pt x="402" y="176"/>
                    </a:cubicBezTo>
                    <a:cubicBezTo>
                      <a:pt x="405" y="177"/>
                      <a:pt x="405" y="177"/>
                      <a:pt x="405" y="177"/>
                    </a:cubicBezTo>
                    <a:cubicBezTo>
                      <a:pt x="407" y="177"/>
                      <a:pt x="407" y="177"/>
                      <a:pt x="407" y="177"/>
                    </a:cubicBezTo>
                    <a:cubicBezTo>
                      <a:pt x="408" y="177"/>
                      <a:pt x="408" y="177"/>
                      <a:pt x="408" y="177"/>
                    </a:cubicBezTo>
                    <a:cubicBezTo>
                      <a:pt x="410" y="176"/>
                      <a:pt x="410" y="176"/>
                      <a:pt x="410" y="176"/>
                    </a:cubicBezTo>
                    <a:cubicBezTo>
                      <a:pt x="415" y="176"/>
                      <a:pt x="415" y="176"/>
                      <a:pt x="415" y="176"/>
                    </a:cubicBezTo>
                    <a:cubicBezTo>
                      <a:pt x="415" y="174"/>
                      <a:pt x="415" y="174"/>
                      <a:pt x="415" y="174"/>
                    </a:cubicBezTo>
                    <a:cubicBezTo>
                      <a:pt x="416" y="173"/>
                      <a:pt x="416" y="173"/>
                      <a:pt x="416" y="173"/>
                    </a:cubicBezTo>
                    <a:cubicBezTo>
                      <a:pt x="416" y="172"/>
                      <a:pt x="416" y="172"/>
                      <a:pt x="416" y="172"/>
                    </a:cubicBezTo>
                    <a:cubicBezTo>
                      <a:pt x="414" y="174"/>
                      <a:pt x="414" y="174"/>
                      <a:pt x="414" y="174"/>
                    </a:cubicBezTo>
                    <a:cubicBezTo>
                      <a:pt x="412" y="174"/>
                      <a:pt x="412" y="174"/>
                      <a:pt x="412" y="174"/>
                    </a:cubicBezTo>
                    <a:cubicBezTo>
                      <a:pt x="411" y="173"/>
                      <a:pt x="411" y="173"/>
                      <a:pt x="411" y="173"/>
                    </a:cubicBezTo>
                    <a:cubicBezTo>
                      <a:pt x="409" y="174"/>
                      <a:pt x="409" y="174"/>
                      <a:pt x="409" y="174"/>
                    </a:cubicBezTo>
                    <a:cubicBezTo>
                      <a:pt x="406" y="174"/>
                      <a:pt x="406" y="174"/>
                      <a:pt x="406" y="174"/>
                    </a:cubicBezTo>
                    <a:cubicBezTo>
                      <a:pt x="406" y="172"/>
                      <a:pt x="406" y="172"/>
                      <a:pt x="406" y="172"/>
                    </a:cubicBezTo>
                    <a:cubicBezTo>
                      <a:pt x="405" y="171"/>
                      <a:pt x="405" y="171"/>
                      <a:pt x="405" y="171"/>
                    </a:cubicBezTo>
                    <a:cubicBezTo>
                      <a:pt x="404" y="173"/>
                      <a:pt x="404" y="173"/>
                      <a:pt x="404" y="173"/>
                    </a:cubicBezTo>
                    <a:cubicBezTo>
                      <a:pt x="402" y="173"/>
                      <a:pt x="402" y="173"/>
                      <a:pt x="402" y="173"/>
                    </a:cubicBezTo>
                    <a:cubicBezTo>
                      <a:pt x="400" y="173"/>
                      <a:pt x="400" y="173"/>
                      <a:pt x="400" y="173"/>
                    </a:cubicBezTo>
                    <a:cubicBezTo>
                      <a:pt x="399" y="173"/>
                      <a:pt x="399" y="173"/>
                      <a:pt x="399" y="173"/>
                    </a:cubicBezTo>
                    <a:cubicBezTo>
                      <a:pt x="397" y="173"/>
                      <a:pt x="397" y="173"/>
                      <a:pt x="397" y="173"/>
                    </a:cubicBezTo>
                    <a:cubicBezTo>
                      <a:pt x="395" y="172"/>
                      <a:pt x="395" y="172"/>
                      <a:pt x="395" y="172"/>
                    </a:cubicBezTo>
                    <a:cubicBezTo>
                      <a:pt x="395" y="171"/>
                      <a:pt x="395" y="171"/>
                      <a:pt x="395" y="171"/>
                    </a:cubicBezTo>
                    <a:cubicBezTo>
                      <a:pt x="397" y="169"/>
                      <a:pt x="397" y="169"/>
                      <a:pt x="397" y="169"/>
                    </a:cubicBezTo>
                    <a:cubicBezTo>
                      <a:pt x="399" y="167"/>
                      <a:pt x="399" y="167"/>
                      <a:pt x="399" y="167"/>
                    </a:cubicBezTo>
                    <a:cubicBezTo>
                      <a:pt x="398" y="167"/>
                      <a:pt x="398" y="167"/>
                      <a:pt x="398" y="167"/>
                    </a:cubicBezTo>
                    <a:cubicBezTo>
                      <a:pt x="396" y="168"/>
                      <a:pt x="396" y="168"/>
                      <a:pt x="396" y="168"/>
                    </a:cubicBezTo>
                    <a:cubicBezTo>
                      <a:pt x="395" y="169"/>
                      <a:pt x="395" y="169"/>
                      <a:pt x="395" y="169"/>
                    </a:cubicBezTo>
                    <a:cubicBezTo>
                      <a:pt x="394" y="167"/>
                      <a:pt x="394" y="167"/>
                      <a:pt x="394" y="167"/>
                    </a:cubicBezTo>
                    <a:cubicBezTo>
                      <a:pt x="393" y="168"/>
                      <a:pt x="393" y="168"/>
                      <a:pt x="393" y="168"/>
                    </a:cubicBezTo>
                    <a:cubicBezTo>
                      <a:pt x="393" y="170"/>
                      <a:pt x="393" y="170"/>
                      <a:pt x="393" y="170"/>
                    </a:cubicBezTo>
                    <a:cubicBezTo>
                      <a:pt x="389" y="171"/>
                      <a:pt x="389" y="171"/>
                      <a:pt x="389" y="171"/>
                    </a:cubicBezTo>
                    <a:cubicBezTo>
                      <a:pt x="389" y="173"/>
                      <a:pt x="389" y="173"/>
                      <a:pt x="389" y="173"/>
                    </a:cubicBezTo>
                    <a:cubicBezTo>
                      <a:pt x="387" y="173"/>
                      <a:pt x="387" y="173"/>
                      <a:pt x="387" y="173"/>
                    </a:cubicBezTo>
                    <a:cubicBezTo>
                      <a:pt x="385" y="172"/>
                      <a:pt x="385" y="172"/>
                      <a:pt x="385" y="172"/>
                    </a:cubicBezTo>
                    <a:cubicBezTo>
                      <a:pt x="385" y="170"/>
                      <a:pt x="385" y="170"/>
                      <a:pt x="385" y="170"/>
                    </a:cubicBezTo>
                    <a:cubicBezTo>
                      <a:pt x="386" y="169"/>
                      <a:pt x="386" y="169"/>
                      <a:pt x="386" y="169"/>
                    </a:cubicBezTo>
                    <a:cubicBezTo>
                      <a:pt x="384" y="169"/>
                      <a:pt x="384" y="169"/>
                      <a:pt x="384" y="169"/>
                    </a:cubicBezTo>
                    <a:cubicBezTo>
                      <a:pt x="384" y="168"/>
                      <a:pt x="384" y="168"/>
                      <a:pt x="384" y="168"/>
                    </a:cubicBezTo>
                    <a:cubicBezTo>
                      <a:pt x="383" y="171"/>
                      <a:pt x="383" y="171"/>
                      <a:pt x="383" y="171"/>
                    </a:cubicBezTo>
                    <a:cubicBezTo>
                      <a:pt x="382" y="172"/>
                      <a:pt x="382" y="172"/>
                      <a:pt x="382" y="172"/>
                    </a:cubicBezTo>
                    <a:cubicBezTo>
                      <a:pt x="380" y="171"/>
                      <a:pt x="380" y="171"/>
                      <a:pt x="380" y="171"/>
                    </a:cubicBezTo>
                    <a:cubicBezTo>
                      <a:pt x="380" y="168"/>
                      <a:pt x="380" y="168"/>
                      <a:pt x="380" y="168"/>
                    </a:cubicBezTo>
                    <a:cubicBezTo>
                      <a:pt x="378" y="167"/>
                      <a:pt x="378" y="167"/>
                      <a:pt x="378" y="167"/>
                    </a:cubicBezTo>
                    <a:cubicBezTo>
                      <a:pt x="379" y="165"/>
                      <a:pt x="379" y="165"/>
                      <a:pt x="379" y="165"/>
                    </a:cubicBezTo>
                    <a:cubicBezTo>
                      <a:pt x="378" y="165"/>
                      <a:pt x="378" y="165"/>
                      <a:pt x="378" y="165"/>
                    </a:cubicBezTo>
                    <a:cubicBezTo>
                      <a:pt x="377" y="167"/>
                      <a:pt x="377" y="167"/>
                      <a:pt x="377" y="167"/>
                    </a:cubicBezTo>
                    <a:cubicBezTo>
                      <a:pt x="376" y="167"/>
                      <a:pt x="376" y="167"/>
                      <a:pt x="376" y="167"/>
                    </a:cubicBezTo>
                    <a:cubicBezTo>
                      <a:pt x="374" y="164"/>
                      <a:pt x="374" y="164"/>
                      <a:pt x="374" y="164"/>
                    </a:cubicBezTo>
                    <a:cubicBezTo>
                      <a:pt x="371" y="162"/>
                      <a:pt x="371" y="162"/>
                      <a:pt x="371" y="162"/>
                    </a:cubicBezTo>
                    <a:cubicBezTo>
                      <a:pt x="371" y="161"/>
                      <a:pt x="371" y="161"/>
                      <a:pt x="371" y="161"/>
                    </a:cubicBezTo>
                    <a:cubicBezTo>
                      <a:pt x="373" y="161"/>
                      <a:pt x="373" y="161"/>
                      <a:pt x="373" y="161"/>
                    </a:cubicBezTo>
                    <a:cubicBezTo>
                      <a:pt x="373" y="159"/>
                      <a:pt x="373" y="159"/>
                      <a:pt x="373" y="159"/>
                    </a:cubicBezTo>
                    <a:cubicBezTo>
                      <a:pt x="372" y="158"/>
                      <a:pt x="372" y="158"/>
                      <a:pt x="372" y="158"/>
                    </a:cubicBezTo>
                    <a:cubicBezTo>
                      <a:pt x="376" y="155"/>
                      <a:pt x="376" y="155"/>
                      <a:pt x="376" y="155"/>
                    </a:cubicBezTo>
                    <a:cubicBezTo>
                      <a:pt x="378" y="154"/>
                      <a:pt x="378" y="154"/>
                      <a:pt x="378" y="154"/>
                    </a:cubicBezTo>
                    <a:cubicBezTo>
                      <a:pt x="379" y="155"/>
                      <a:pt x="379" y="155"/>
                      <a:pt x="379" y="155"/>
                    </a:cubicBezTo>
                    <a:cubicBezTo>
                      <a:pt x="383" y="155"/>
                      <a:pt x="383" y="155"/>
                      <a:pt x="383" y="155"/>
                    </a:cubicBezTo>
                    <a:cubicBezTo>
                      <a:pt x="385" y="156"/>
                      <a:pt x="385" y="156"/>
                      <a:pt x="385" y="156"/>
                    </a:cubicBezTo>
                    <a:cubicBezTo>
                      <a:pt x="387" y="157"/>
                      <a:pt x="387" y="157"/>
                      <a:pt x="387" y="157"/>
                    </a:cubicBezTo>
                    <a:cubicBezTo>
                      <a:pt x="389" y="156"/>
                      <a:pt x="389" y="156"/>
                      <a:pt x="389" y="156"/>
                    </a:cubicBezTo>
                    <a:cubicBezTo>
                      <a:pt x="391" y="155"/>
                      <a:pt x="391" y="155"/>
                      <a:pt x="391" y="155"/>
                    </a:cubicBezTo>
                    <a:cubicBezTo>
                      <a:pt x="393" y="154"/>
                      <a:pt x="393" y="154"/>
                      <a:pt x="393" y="154"/>
                    </a:cubicBezTo>
                    <a:cubicBezTo>
                      <a:pt x="392" y="153"/>
                      <a:pt x="392" y="153"/>
                      <a:pt x="392" y="153"/>
                    </a:cubicBezTo>
                    <a:cubicBezTo>
                      <a:pt x="391" y="152"/>
                      <a:pt x="391" y="152"/>
                      <a:pt x="391" y="152"/>
                    </a:cubicBezTo>
                    <a:cubicBezTo>
                      <a:pt x="389" y="152"/>
                      <a:pt x="389" y="152"/>
                      <a:pt x="389" y="152"/>
                    </a:cubicBezTo>
                    <a:cubicBezTo>
                      <a:pt x="387" y="153"/>
                      <a:pt x="387" y="153"/>
                      <a:pt x="387" y="153"/>
                    </a:cubicBezTo>
                    <a:cubicBezTo>
                      <a:pt x="384" y="151"/>
                      <a:pt x="384" y="151"/>
                      <a:pt x="384" y="151"/>
                    </a:cubicBezTo>
                    <a:cubicBezTo>
                      <a:pt x="382" y="151"/>
                      <a:pt x="382" y="151"/>
                      <a:pt x="382" y="151"/>
                    </a:cubicBezTo>
                    <a:cubicBezTo>
                      <a:pt x="381" y="151"/>
                      <a:pt x="381" y="151"/>
                      <a:pt x="381" y="151"/>
                    </a:cubicBezTo>
                    <a:cubicBezTo>
                      <a:pt x="384" y="148"/>
                      <a:pt x="384" y="148"/>
                      <a:pt x="384" y="148"/>
                    </a:cubicBezTo>
                    <a:cubicBezTo>
                      <a:pt x="386" y="145"/>
                      <a:pt x="386" y="145"/>
                      <a:pt x="386" y="145"/>
                    </a:cubicBezTo>
                    <a:cubicBezTo>
                      <a:pt x="388" y="145"/>
                      <a:pt x="388" y="145"/>
                      <a:pt x="388" y="145"/>
                    </a:cubicBezTo>
                    <a:cubicBezTo>
                      <a:pt x="389" y="145"/>
                      <a:pt x="389" y="145"/>
                      <a:pt x="389" y="145"/>
                    </a:cubicBezTo>
                    <a:cubicBezTo>
                      <a:pt x="393" y="145"/>
                      <a:pt x="393" y="145"/>
                      <a:pt x="393" y="145"/>
                    </a:cubicBezTo>
                    <a:cubicBezTo>
                      <a:pt x="397" y="145"/>
                      <a:pt x="397" y="145"/>
                      <a:pt x="397" y="145"/>
                    </a:cubicBezTo>
                    <a:cubicBezTo>
                      <a:pt x="400" y="146"/>
                      <a:pt x="400" y="146"/>
                      <a:pt x="400" y="146"/>
                    </a:cubicBezTo>
                    <a:cubicBezTo>
                      <a:pt x="401" y="145"/>
                      <a:pt x="401" y="145"/>
                      <a:pt x="401" y="145"/>
                    </a:cubicBezTo>
                    <a:cubicBezTo>
                      <a:pt x="400" y="144"/>
                      <a:pt x="400" y="144"/>
                      <a:pt x="400" y="144"/>
                    </a:cubicBezTo>
                    <a:cubicBezTo>
                      <a:pt x="399" y="144"/>
                      <a:pt x="399" y="144"/>
                      <a:pt x="399" y="144"/>
                    </a:cubicBezTo>
                    <a:cubicBezTo>
                      <a:pt x="397" y="143"/>
                      <a:pt x="397" y="143"/>
                      <a:pt x="397" y="143"/>
                    </a:cubicBezTo>
                    <a:cubicBezTo>
                      <a:pt x="395" y="143"/>
                      <a:pt x="395" y="143"/>
                      <a:pt x="395" y="143"/>
                    </a:cubicBezTo>
                    <a:cubicBezTo>
                      <a:pt x="391" y="142"/>
                      <a:pt x="391" y="142"/>
                      <a:pt x="391" y="142"/>
                    </a:cubicBezTo>
                    <a:cubicBezTo>
                      <a:pt x="390" y="140"/>
                      <a:pt x="390" y="140"/>
                      <a:pt x="390" y="140"/>
                    </a:cubicBezTo>
                    <a:cubicBezTo>
                      <a:pt x="392" y="139"/>
                      <a:pt x="392" y="139"/>
                      <a:pt x="392" y="139"/>
                    </a:cubicBezTo>
                    <a:cubicBezTo>
                      <a:pt x="393" y="137"/>
                      <a:pt x="393" y="137"/>
                      <a:pt x="393" y="137"/>
                    </a:cubicBezTo>
                    <a:cubicBezTo>
                      <a:pt x="394" y="136"/>
                      <a:pt x="394" y="136"/>
                      <a:pt x="394" y="136"/>
                    </a:cubicBezTo>
                    <a:cubicBezTo>
                      <a:pt x="396" y="136"/>
                      <a:pt x="396" y="136"/>
                      <a:pt x="396" y="136"/>
                    </a:cubicBezTo>
                    <a:cubicBezTo>
                      <a:pt x="398" y="135"/>
                      <a:pt x="398" y="135"/>
                      <a:pt x="398" y="135"/>
                    </a:cubicBezTo>
                    <a:cubicBezTo>
                      <a:pt x="400" y="135"/>
                      <a:pt x="400" y="135"/>
                      <a:pt x="400" y="135"/>
                    </a:cubicBezTo>
                    <a:cubicBezTo>
                      <a:pt x="400" y="136"/>
                      <a:pt x="400" y="136"/>
                      <a:pt x="400" y="136"/>
                    </a:cubicBezTo>
                    <a:cubicBezTo>
                      <a:pt x="402" y="136"/>
                      <a:pt x="402" y="136"/>
                      <a:pt x="402" y="136"/>
                    </a:cubicBezTo>
                    <a:cubicBezTo>
                      <a:pt x="404" y="138"/>
                      <a:pt x="404" y="138"/>
                      <a:pt x="404" y="138"/>
                    </a:cubicBezTo>
                    <a:cubicBezTo>
                      <a:pt x="405" y="138"/>
                      <a:pt x="405" y="138"/>
                      <a:pt x="405" y="138"/>
                    </a:cubicBezTo>
                    <a:cubicBezTo>
                      <a:pt x="404" y="136"/>
                      <a:pt x="404" y="136"/>
                      <a:pt x="404" y="136"/>
                    </a:cubicBezTo>
                    <a:cubicBezTo>
                      <a:pt x="402" y="135"/>
                      <a:pt x="402" y="135"/>
                      <a:pt x="402" y="135"/>
                    </a:cubicBezTo>
                    <a:cubicBezTo>
                      <a:pt x="402" y="133"/>
                      <a:pt x="402" y="133"/>
                      <a:pt x="402" y="133"/>
                    </a:cubicBezTo>
                    <a:cubicBezTo>
                      <a:pt x="401" y="132"/>
                      <a:pt x="401" y="132"/>
                      <a:pt x="401" y="132"/>
                    </a:cubicBezTo>
                    <a:cubicBezTo>
                      <a:pt x="402" y="131"/>
                      <a:pt x="402" y="131"/>
                      <a:pt x="402" y="131"/>
                    </a:cubicBezTo>
                    <a:cubicBezTo>
                      <a:pt x="408" y="130"/>
                      <a:pt x="408" y="130"/>
                      <a:pt x="408" y="130"/>
                    </a:cubicBezTo>
                    <a:cubicBezTo>
                      <a:pt x="409" y="130"/>
                      <a:pt x="409" y="130"/>
                      <a:pt x="409" y="130"/>
                    </a:cubicBezTo>
                    <a:cubicBezTo>
                      <a:pt x="412" y="130"/>
                      <a:pt x="412" y="130"/>
                      <a:pt x="412" y="130"/>
                    </a:cubicBezTo>
                    <a:cubicBezTo>
                      <a:pt x="414" y="132"/>
                      <a:pt x="414" y="132"/>
                      <a:pt x="414" y="132"/>
                    </a:cubicBezTo>
                    <a:cubicBezTo>
                      <a:pt x="415" y="135"/>
                      <a:pt x="415" y="135"/>
                      <a:pt x="415" y="135"/>
                    </a:cubicBezTo>
                    <a:cubicBezTo>
                      <a:pt x="414" y="136"/>
                      <a:pt x="414" y="136"/>
                      <a:pt x="414" y="136"/>
                    </a:cubicBezTo>
                    <a:cubicBezTo>
                      <a:pt x="412" y="138"/>
                      <a:pt x="412" y="138"/>
                      <a:pt x="412" y="138"/>
                    </a:cubicBezTo>
                    <a:cubicBezTo>
                      <a:pt x="413" y="140"/>
                      <a:pt x="413" y="140"/>
                      <a:pt x="413" y="140"/>
                    </a:cubicBezTo>
                    <a:cubicBezTo>
                      <a:pt x="416" y="140"/>
                      <a:pt x="416" y="140"/>
                      <a:pt x="416" y="140"/>
                    </a:cubicBezTo>
                    <a:cubicBezTo>
                      <a:pt x="417" y="139"/>
                      <a:pt x="417" y="139"/>
                      <a:pt x="417" y="139"/>
                    </a:cubicBezTo>
                    <a:cubicBezTo>
                      <a:pt x="419" y="140"/>
                      <a:pt x="419" y="140"/>
                      <a:pt x="419" y="140"/>
                    </a:cubicBezTo>
                    <a:cubicBezTo>
                      <a:pt x="420" y="140"/>
                      <a:pt x="420" y="140"/>
                      <a:pt x="420" y="140"/>
                    </a:cubicBezTo>
                    <a:cubicBezTo>
                      <a:pt x="420" y="141"/>
                      <a:pt x="420" y="141"/>
                      <a:pt x="420" y="141"/>
                    </a:cubicBezTo>
                    <a:cubicBezTo>
                      <a:pt x="421" y="142"/>
                      <a:pt x="421" y="142"/>
                      <a:pt x="421" y="142"/>
                    </a:cubicBezTo>
                    <a:cubicBezTo>
                      <a:pt x="422" y="143"/>
                      <a:pt x="422" y="143"/>
                      <a:pt x="422" y="143"/>
                    </a:cubicBezTo>
                    <a:cubicBezTo>
                      <a:pt x="422" y="145"/>
                      <a:pt x="422" y="145"/>
                      <a:pt x="422" y="145"/>
                    </a:cubicBezTo>
                    <a:cubicBezTo>
                      <a:pt x="421" y="145"/>
                      <a:pt x="421" y="145"/>
                      <a:pt x="421" y="145"/>
                    </a:cubicBezTo>
                    <a:cubicBezTo>
                      <a:pt x="420" y="147"/>
                      <a:pt x="420" y="147"/>
                      <a:pt x="420" y="147"/>
                    </a:cubicBezTo>
                    <a:cubicBezTo>
                      <a:pt x="422" y="149"/>
                      <a:pt x="422" y="149"/>
                      <a:pt x="422" y="149"/>
                    </a:cubicBezTo>
                    <a:cubicBezTo>
                      <a:pt x="422" y="153"/>
                      <a:pt x="422" y="153"/>
                      <a:pt x="422" y="153"/>
                    </a:cubicBezTo>
                    <a:cubicBezTo>
                      <a:pt x="421" y="154"/>
                      <a:pt x="421" y="154"/>
                      <a:pt x="421" y="154"/>
                    </a:cubicBezTo>
                    <a:cubicBezTo>
                      <a:pt x="419" y="154"/>
                      <a:pt x="419" y="154"/>
                      <a:pt x="419" y="154"/>
                    </a:cubicBezTo>
                    <a:cubicBezTo>
                      <a:pt x="417" y="154"/>
                      <a:pt x="417" y="154"/>
                      <a:pt x="417" y="154"/>
                    </a:cubicBezTo>
                    <a:cubicBezTo>
                      <a:pt x="418" y="156"/>
                      <a:pt x="418" y="156"/>
                      <a:pt x="418" y="156"/>
                    </a:cubicBezTo>
                    <a:cubicBezTo>
                      <a:pt x="420" y="155"/>
                      <a:pt x="420" y="155"/>
                      <a:pt x="420" y="155"/>
                    </a:cubicBezTo>
                    <a:cubicBezTo>
                      <a:pt x="422" y="156"/>
                      <a:pt x="422" y="156"/>
                      <a:pt x="422" y="156"/>
                    </a:cubicBezTo>
                    <a:cubicBezTo>
                      <a:pt x="423" y="156"/>
                      <a:pt x="423" y="156"/>
                      <a:pt x="423" y="156"/>
                    </a:cubicBezTo>
                    <a:cubicBezTo>
                      <a:pt x="422" y="160"/>
                      <a:pt x="422" y="160"/>
                      <a:pt x="422" y="160"/>
                    </a:cubicBezTo>
                    <a:cubicBezTo>
                      <a:pt x="420" y="161"/>
                      <a:pt x="420" y="161"/>
                      <a:pt x="420" y="161"/>
                    </a:cubicBezTo>
                    <a:cubicBezTo>
                      <a:pt x="420" y="165"/>
                      <a:pt x="420" y="165"/>
                      <a:pt x="420" y="165"/>
                    </a:cubicBezTo>
                    <a:cubicBezTo>
                      <a:pt x="421" y="166"/>
                      <a:pt x="421" y="166"/>
                      <a:pt x="421" y="166"/>
                    </a:cubicBezTo>
                    <a:cubicBezTo>
                      <a:pt x="423" y="165"/>
                      <a:pt x="423" y="165"/>
                      <a:pt x="423" y="165"/>
                    </a:cubicBezTo>
                    <a:cubicBezTo>
                      <a:pt x="425" y="164"/>
                      <a:pt x="425" y="164"/>
                      <a:pt x="425" y="164"/>
                    </a:cubicBezTo>
                    <a:cubicBezTo>
                      <a:pt x="425" y="165"/>
                      <a:pt x="425" y="165"/>
                      <a:pt x="425" y="165"/>
                    </a:cubicBezTo>
                    <a:cubicBezTo>
                      <a:pt x="426" y="166"/>
                      <a:pt x="426" y="166"/>
                      <a:pt x="426" y="166"/>
                    </a:cubicBezTo>
                    <a:cubicBezTo>
                      <a:pt x="428" y="166"/>
                      <a:pt x="428" y="166"/>
                      <a:pt x="428" y="166"/>
                    </a:cubicBezTo>
                    <a:cubicBezTo>
                      <a:pt x="429" y="166"/>
                      <a:pt x="429" y="166"/>
                      <a:pt x="429" y="166"/>
                    </a:cubicBezTo>
                    <a:cubicBezTo>
                      <a:pt x="433" y="167"/>
                      <a:pt x="433" y="167"/>
                      <a:pt x="433" y="167"/>
                    </a:cubicBezTo>
                    <a:cubicBezTo>
                      <a:pt x="434" y="169"/>
                      <a:pt x="434" y="169"/>
                      <a:pt x="434" y="169"/>
                    </a:cubicBezTo>
                    <a:cubicBezTo>
                      <a:pt x="435" y="169"/>
                      <a:pt x="435" y="169"/>
                      <a:pt x="435" y="169"/>
                    </a:cubicBezTo>
                    <a:cubicBezTo>
                      <a:pt x="435" y="167"/>
                      <a:pt x="435" y="167"/>
                      <a:pt x="435" y="167"/>
                    </a:cubicBezTo>
                    <a:cubicBezTo>
                      <a:pt x="434" y="167"/>
                      <a:pt x="434" y="167"/>
                      <a:pt x="434" y="167"/>
                    </a:cubicBezTo>
                    <a:cubicBezTo>
                      <a:pt x="437" y="165"/>
                      <a:pt x="437" y="165"/>
                      <a:pt x="437" y="165"/>
                    </a:cubicBezTo>
                    <a:cubicBezTo>
                      <a:pt x="436" y="162"/>
                      <a:pt x="436" y="162"/>
                      <a:pt x="436" y="162"/>
                    </a:cubicBezTo>
                    <a:cubicBezTo>
                      <a:pt x="435" y="160"/>
                      <a:pt x="435" y="160"/>
                      <a:pt x="435" y="160"/>
                    </a:cubicBezTo>
                    <a:cubicBezTo>
                      <a:pt x="435" y="159"/>
                      <a:pt x="435" y="159"/>
                      <a:pt x="435" y="159"/>
                    </a:cubicBezTo>
                    <a:cubicBezTo>
                      <a:pt x="434" y="157"/>
                      <a:pt x="434" y="157"/>
                      <a:pt x="434" y="157"/>
                    </a:cubicBezTo>
                    <a:cubicBezTo>
                      <a:pt x="435" y="156"/>
                      <a:pt x="435" y="156"/>
                      <a:pt x="435" y="156"/>
                    </a:cubicBezTo>
                    <a:cubicBezTo>
                      <a:pt x="436" y="156"/>
                      <a:pt x="436" y="156"/>
                      <a:pt x="436" y="156"/>
                    </a:cubicBezTo>
                    <a:cubicBezTo>
                      <a:pt x="439" y="155"/>
                      <a:pt x="439" y="155"/>
                      <a:pt x="439" y="155"/>
                    </a:cubicBezTo>
                    <a:cubicBezTo>
                      <a:pt x="441" y="155"/>
                      <a:pt x="441" y="155"/>
                      <a:pt x="441" y="155"/>
                    </a:cubicBezTo>
                    <a:cubicBezTo>
                      <a:pt x="442" y="152"/>
                      <a:pt x="442" y="152"/>
                      <a:pt x="442" y="152"/>
                    </a:cubicBezTo>
                    <a:cubicBezTo>
                      <a:pt x="440" y="149"/>
                      <a:pt x="440" y="149"/>
                      <a:pt x="440" y="149"/>
                    </a:cubicBezTo>
                    <a:cubicBezTo>
                      <a:pt x="439" y="148"/>
                      <a:pt x="439" y="148"/>
                      <a:pt x="439" y="148"/>
                    </a:cubicBezTo>
                    <a:cubicBezTo>
                      <a:pt x="440" y="146"/>
                      <a:pt x="440" y="146"/>
                      <a:pt x="440" y="146"/>
                    </a:cubicBezTo>
                    <a:cubicBezTo>
                      <a:pt x="439" y="144"/>
                      <a:pt x="439" y="144"/>
                      <a:pt x="439" y="144"/>
                    </a:cubicBezTo>
                    <a:cubicBezTo>
                      <a:pt x="440" y="141"/>
                      <a:pt x="440" y="141"/>
                      <a:pt x="440" y="141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3" y="141"/>
                      <a:pt x="443" y="141"/>
                      <a:pt x="443" y="141"/>
                    </a:cubicBezTo>
                    <a:cubicBezTo>
                      <a:pt x="445" y="141"/>
                      <a:pt x="445" y="141"/>
                      <a:pt x="445" y="141"/>
                    </a:cubicBezTo>
                    <a:cubicBezTo>
                      <a:pt x="444" y="140"/>
                      <a:pt x="444" y="140"/>
                      <a:pt x="444" y="140"/>
                    </a:cubicBezTo>
                    <a:cubicBezTo>
                      <a:pt x="445" y="138"/>
                      <a:pt x="445" y="138"/>
                      <a:pt x="445" y="138"/>
                    </a:cubicBezTo>
                    <a:cubicBezTo>
                      <a:pt x="447" y="137"/>
                      <a:pt x="447" y="137"/>
                      <a:pt x="447" y="137"/>
                    </a:cubicBezTo>
                    <a:cubicBezTo>
                      <a:pt x="452" y="133"/>
                      <a:pt x="452" y="133"/>
                      <a:pt x="452" y="133"/>
                    </a:cubicBezTo>
                    <a:cubicBezTo>
                      <a:pt x="453" y="133"/>
                      <a:pt x="453" y="133"/>
                      <a:pt x="453" y="133"/>
                    </a:cubicBezTo>
                    <a:cubicBezTo>
                      <a:pt x="456" y="134"/>
                      <a:pt x="456" y="134"/>
                      <a:pt x="456" y="134"/>
                    </a:cubicBezTo>
                    <a:cubicBezTo>
                      <a:pt x="455" y="136"/>
                      <a:pt x="455" y="136"/>
                      <a:pt x="455" y="136"/>
                    </a:cubicBezTo>
                    <a:cubicBezTo>
                      <a:pt x="456" y="137"/>
                      <a:pt x="456" y="137"/>
                      <a:pt x="456" y="137"/>
                    </a:cubicBezTo>
                    <a:cubicBezTo>
                      <a:pt x="456" y="138"/>
                      <a:pt x="456" y="138"/>
                      <a:pt x="456" y="138"/>
                    </a:cubicBezTo>
                    <a:cubicBezTo>
                      <a:pt x="454" y="138"/>
                      <a:pt x="454" y="138"/>
                      <a:pt x="454" y="138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3" y="141"/>
                      <a:pt x="453" y="141"/>
                      <a:pt x="453" y="141"/>
                    </a:cubicBezTo>
                    <a:cubicBezTo>
                      <a:pt x="452" y="143"/>
                      <a:pt x="452" y="143"/>
                      <a:pt x="452" y="143"/>
                    </a:cubicBezTo>
                    <a:cubicBezTo>
                      <a:pt x="452" y="146"/>
                      <a:pt x="452" y="146"/>
                      <a:pt x="452" y="146"/>
                    </a:cubicBezTo>
                    <a:cubicBezTo>
                      <a:pt x="453" y="146"/>
                      <a:pt x="453" y="146"/>
                      <a:pt x="453" y="146"/>
                    </a:cubicBezTo>
                    <a:cubicBezTo>
                      <a:pt x="453" y="151"/>
                      <a:pt x="453" y="151"/>
                      <a:pt x="453" y="151"/>
                    </a:cubicBezTo>
                    <a:cubicBezTo>
                      <a:pt x="452" y="152"/>
                      <a:pt x="452" y="152"/>
                      <a:pt x="452" y="152"/>
                    </a:cubicBezTo>
                    <a:cubicBezTo>
                      <a:pt x="451" y="152"/>
                      <a:pt x="451" y="152"/>
                      <a:pt x="451" y="152"/>
                    </a:cubicBezTo>
                    <a:cubicBezTo>
                      <a:pt x="448" y="154"/>
                      <a:pt x="448" y="154"/>
                      <a:pt x="448" y="154"/>
                    </a:cubicBezTo>
                    <a:cubicBezTo>
                      <a:pt x="447" y="155"/>
                      <a:pt x="447" y="155"/>
                      <a:pt x="447" y="155"/>
                    </a:cubicBezTo>
                    <a:cubicBezTo>
                      <a:pt x="447" y="156"/>
                      <a:pt x="447" y="156"/>
                      <a:pt x="447" y="156"/>
                    </a:cubicBezTo>
                    <a:cubicBezTo>
                      <a:pt x="448" y="156"/>
                      <a:pt x="448" y="156"/>
                      <a:pt x="448" y="156"/>
                    </a:cubicBezTo>
                    <a:cubicBezTo>
                      <a:pt x="449" y="156"/>
                      <a:pt x="449" y="156"/>
                      <a:pt x="449" y="156"/>
                    </a:cubicBezTo>
                    <a:cubicBezTo>
                      <a:pt x="452" y="156"/>
                      <a:pt x="452" y="156"/>
                      <a:pt x="452" y="156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1" y="159"/>
                      <a:pt x="451" y="159"/>
                      <a:pt x="451" y="159"/>
                    </a:cubicBezTo>
                    <a:cubicBezTo>
                      <a:pt x="448" y="161"/>
                      <a:pt x="448" y="161"/>
                      <a:pt x="448" y="161"/>
                    </a:cubicBezTo>
                    <a:cubicBezTo>
                      <a:pt x="445" y="163"/>
                      <a:pt x="445" y="163"/>
                      <a:pt x="445" y="163"/>
                    </a:cubicBezTo>
                    <a:cubicBezTo>
                      <a:pt x="445" y="165"/>
                      <a:pt x="445" y="165"/>
                      <a:pt x="445" y="165"/>
                    </a:cubicBezTo>
                    <a:cubicBezTo>
                      <a:pt x="446" y="166"/>
                      <a:pt x="446" y="166"/>
                      <a:pt x="446" y="166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50" y="163"/>
                      <a:pt x="450" y="163"/>
                      <a:pt x="450" y="163"/>
                    </a:cubicBezTo>
                    <a:cubicBezTo>
                      <a:pt x="451" y="161"/>
                      <a:pt x="451" y="161"/>
                      <a:pt x="451" y="161"/>
                    </a:cubicBezTo>
                    <a:cubicBezTo>
                      <a:pt x="452" y="161"/>
                      <a:pt x="452" y="161"/>
                      <a:pt x="452" y="161"/>
                    </a:cubicBezTo>
                    <a:cubicBezTo>
                      <a:pt x="455" y="162"/>
                      <a:pt x="455" y="162"/>
                      <a:pt x="455" y="162"/>
                    </a:cubicBezTo>
                    <a:cubicBezTo>
                      <a:pt x="455" y="165"/>
                      <a:pt x="455" y="165"/>
                      <a:pt x="455" y="165"/>
                    </a:cubicBezTo>
                    <a:cubicBezTo>
                      <a:pt x="453" y="168"/>
                      <a:pt x="453" y="168"/>
                      <a:pt x="453" y="168"/>
                    </a:cubicBezTo>
                    <a:cubicBezTo>
                      <a:pt x="453" y="169"/>
                      <a:pt x="453" y="169"/>
                      <a:pt x="453" y="169"/>
                    </a:cubicBezTo>
                    <a:cubicBezTo>
                      <a:pt x="455" y="167"/>
                      <a:pt x="455" y="167"/>
                      <a:pt x="455" y="167"/>
                    </a:cubicBezTo>
                    <a:cubicBezTo>
                      <a:pt x="457" y="167"/>
                      <a:pt x="457" y="167"/>
                      <a:pt x="457" y="167"/>
                    </a:cubicBezTo>
                    <a:cubicBezTo>
                      <a:pt x="457" y="166"/>
                      <a:pt x="457" y="166"/>
                      <a:pt x="457" y="166"/>
                    </a:cubicBezTo>
                    <a:cubicBezTo>
                      <a:pt x="457" y="165"/>
                      <a:pt x="457" y="165"/>
                      <a:pt x="457" y="165"/>
                    </a:cubicBezTo>
                    <a:cubicBezTo>
                      <a:pt x="458" y="163"/>
                      <a:pt x="458" y="163"/>
                      <a:pt x="458" y="163"/>
                    </a:cubicBezTo>
                    <a:cubicBezTo>
                      <a:pt x="458" y="161"/>
                      <a:pt x="458" y="161"/>
                      <a:pt x="458" y="161"/>
                    </a:cubicBezTo>
                    <a:cubicBezTo>
                      <a:pt x="461" y="159"/>
                      <a:pt x="461" y="159"/>
                      <a:pt x="461" y="159"/>
                    </a:cubicBezTo>
                    <a:cubicBezTo>
                      <a:pt x="462" y="159"/>
                      <a:pt x="462" y="159"/>
                      <a:pt x="462" y="159"/>
                    </a:cubicBezTo>
                    <a:cubicBezTo>
                      <a:pt x="465" y="161"/>
                      <a:pt x="465" y="161"/>
                      <a:pt x="465" y="161"/>
                    </a:cubicBezTo>
                    <a:cubicBezTo>
                      <a:pt x="466" y="164"/>
                      <a:pt x="466" y="164"/>
                      <a:pt x="466" y="164"/>
                    </a:cubicBezTo>
                    <a:cubicBezTo>
                      <a:pt x="467" y="165"/>
                      <a:pt x="467" y="165"/>
                      <a:pt x="467" y="165"/>
                    </a:cubicBezTo>
                    <a:cubicBezTo>
                      <a:pt x="466" y="168"/>
                      <a:pt x="466" y="168"/>
                      <a:pt x="466" y="168"/>
                    </a:cubicBezTo>
                    <a:cubicBezTo>
                      <a:pt x="464" y="173"/>
                      <a:pt x="464" y="173"/>
                      <a:pt x="464" y="173"/>
                    </a:cubicBezTo>
                    <a:cubicBezTo>
                      <a:pt x="461" y="175"/>
                      <a:pt x="461" y="175"/>
                      <a:pt x="461" y="175"/>
                    </a:cubicBezTo>
                    <a:cubicBezTo>
                      <a:pt x="460" y="176"/>
                      <a:pt x="460" y="176"/>
                      <a:pt x="460" y="176"/>
                    </a:cubicBezTo>
                    <a:cubicBezTo>
                      <a:pt x="458" y="176"/>
                      <a:pt x="458" y="176"/>
                      <a:pt x="458" y="176"/>
                    </a:cubicBezTo>
                    <a:cubicBezTo>
                      <a:pt x="458" y="177"/>
                      <a:pt x="458" y="177"/>
                      <a:pt x="458" y="177"/>
                    </a:cubicBezTo>
                    <a:cubicBezTo>
                      <a:pt x="458" y="178"/>
                      <a:pt x="458" y="178"/>
                      <a:pt x="458" y="178"/>
                    </a:cubicBezTo>
                    <a:cubicBezTo>
                      <a:pt x="456" y="181"/>
                      <a:pt x="456" y="181"/>
                      <a:pt x="456" y="181"/>
                    </a:cubicBezTo>
                    <a:cubicBezTo>
                      <a:pt x="455" y="181"/>
                      <a:pt x="455" y="181"/>
                      <a:pt x="455" y="181"/>
                    </a:cubicBezTo>
                    <a:cubicBezTo>
                      <a:pt x="453" y="182"/>
                      <a:pt x="453" y="182"/>
                      <a:pt x="453" y="182"/>
                    </a:cubicBezTo>
                    <a:cubicBezTo>
                      <a:pt x="453" y="184"/>
                      <a:pt x="453" y="184"/>
                      <a:pt x="453" y="184"/>
                    </a:cubicBezTo>
                    <a:cubicBezTo>
                      <a:pt x="452" y="185"/>
                      <a:pt x="452" y="185"/>
                      <a:pt x="452" y="185"/>
                    </a:cubicBezTo>
                    <a:cubicBezTo>
                      <a:pt x="451" y="185"/>
                      <a:pt x="451" y="185"/>
                      <a:pt x="451" y="185"/>
                    </a:cubicBezTo>
                    <a:cubicBezTo>
                      <a:pt x="450" y="186"/>
                      <a:pt x="450" y="186"/>
                      <a:pt x="450" y="186"/>
                    </a:cubicBezTo>
                    <a:cubicBezTo>
                      <a:pt x="450" y="187"/>
                      <a:pt x="450" y="187"/>
                      <a:pt x="450" y="187"/>
                    </a:cubicBezTo>
                    <a:cubicBezTo>
                      <a:pt x="449" y="187"/>
                      <a:pt x="449" y="187"/>
                      <a:pt x="449" y="187"/>
                    </a:cubicBezTo>
                    <a:cubicBezTo>
                      <a:pt x="448" y="186"/>
                      <a:pt x="448" y="186"/>
                      <a:pt x="448" y="186"/>
                    </a:cubicBezTo>
                    <a:cubicBezTo>
                      <a:pt x="446" y="187"/>
                      <a:pt x="446" y="187"/>
                      <a:pt x="446" y="187"/>
                    </a:cubicBezTo>
                    <a:cubicBezTo>
                      <a:pt x="445" y="186"/>
                      <a:pt x="445" y="186"/>
                      <a:pt x="445" y="186"/>
                    </a:cubicBezTo>
                    <a:cubicBezTo>
                      <a:pt x="442" y="188"/>
                      <a:pt x="442" y="188"/>
                      <a:pt x="442" y="188"/>
                    </a:cubicBezTo>
                    <a:cubicBezTo>
                      <a:pt x="439" y="188"/>
                      <a:pt x="439" y="188"/>
                      <a:pt x="439" y="188"/>
                    </a:cubicBezTo>
                    <a:cubicBezTo>
                      <a:pt x="437" y="187"/>
                      <a:pt x="437" y="187"/>
                      <a:pt x="437" y="187"/>
                    </a:cubicBezTo>
                    <a:cubicBezTo>
                      <a:pt x="436" y="186"/>
                      <a:pt x="436" y="186"/>
                      <a:pt x="436" y="186"/>
                    </a:cubicBezTo>
                    <a:cubicBezTo>
                      <a:pt x="437" y="185"/>
                      <a:pt x="437" y="185"/>
                      <a:pt x="437" y="185"/>
                    </a:cubicBezTo>
                    <a:cubicBezTo>
                      <a:pt x="437" y="183"/>
                      <a:pt x="437" y="183"/>
                      <a:pt x="437" y="183"/>
                    </a:cubicBezTo>
                    <a:cubicBezTo>
                      <a:pt x="436" y="183"/>
                      <a:pt x="436" y="183"/>
                      <a:pt x="436" y="183"/>
                    </a:cubicBezTo>
                    <a:cubicBezTo>
                      <a:pt x="434" y="184"/>
                      <a:pt x="434" y="184"/>
                      <a:pt x="434" y="184"/>
                    </a:cubicBezTo>
                    <a:cubicBezTo>
                      <a:pt x="434" y="185"/>
                      <a:pt x="434" y="185"/>
                      <a:pt x="434" y="185"/>
                    </a:cubicBezTo>
                    <a:cubicBezTo>
                      <a:pt x="432" y="186"/>
                      <a:pt x="432" y="186"/>
                      <a:pt x="432" y="186"/>
                    </a:cubicBezTo>
                    <a:cubicBezTo>
                      <a:pt x="430" y="185"/>
                      <a:pt x="430" y="185"/>
                      <a:pt x="430" y="185"/>
                    </a:cubicBezTo>
                    <a:cubicBezTo>
                      <a:pt x="430" y="184"/>
                      <a:pt x="430" y="184"/>
                      <a:pt x="430" y="184"/>
                    </a:cubicBezTo>
                    <a:cubicBezTo>
                      <a:pt x="431" y="183"/>
                      <a:pt x="431" y="183"/>
                      <a:pt x="431" y="183"/>
                    </a:cubicBezTo>
                    <a:cubicBezTo>
                      <a:pt x="430" y="182"/>
                      <a:pt x="430" y="182"/>
                      <a:pt x="430" y="182"/>
                    </a:cubicBezTo>
                    <a:cubicBezTo>
                      <a:pt x="429" y="181"/>
                      <a:pt x="429" y="181"/>
                      <a:pt x="429" y="181"/>
                    </a:cubicBezTo>
                    <a:cubicBezTo>
                      <a:pt x="429" y="182"/>
                      <a:pt x="429" y="182"/>
                      <a:pt x="429" y="182"/>
                    </a:cubicBezTo>
                    <a:cubicBezTo>
                      <a:pt x="428" y="183"/>
                      <a:pt x="428" y="183"/>
                      <a:pt x="428" y="183"/>
                    </a:cubicBezTo>
                    <a:cubicBezTo>
                      <a:pt x="426" y="183"/>
                      <a:pt x="426" y="183"/>
                      <a:pt x="426" y="183"/>
                    </a:cubicBezTo>
                    <a:cubicBezTo>
                      <a:pt x="423" y="184"/>
                      <a:pt x="423" y="184"/>
                      <a:pt x="423" y="184"/>
                    </a:cubicBezTo>
                    <a:cubicBezTo>
                      <a:pt x="422" y="185"/>
                      <a:pt x="422" y="185"/>
                      <a:pt x="422" y="185"/>
                    </a:cubicBezTo>
                    <a:cubicBezTo>
                      <a:pt x="420" y="185"/>
                      <a:pt x="420" y="185"/>
                      <a:pt x="420" y="185"/>
                    </a:cubicBezTo>
                    <a:cubicBezTo>
                      <a:pt x="420" y="184"/>
                      <a:pt x="420" y="184"/>
                      <a:pt x="420" y="184"/>
                    </a:cubicBezTo>
                    <a:cubicBezTo>
                      <a:pt x="417" y="185"/>
                      <a:pt x="417" y="185"/>
                      <a:pt x="417" y="185"/>
                    </a:cubicBezTo>
                    <a:cubicBezTo>
                      <a:pt x="416" y="184"/>
                      <a:pt x="416" y="184"/>
                      <a:pt x="416" y="184"/>
                    </a:cubicBezTo>
                    <a:cubicBezTo>
                      <a:pt x="415" y="185"/>
                      <a:pt x="415" y="185"/>
                      <a:pt x="415" y="185"/>
                    </a:cubicBezTo>
                    <a:cubicBezTo>
                      <a:pt x="414" y="185"/>
                      <a:pt x="414" y="185"/>
                      <a:pt x="414" y="185"/>
                    </a:cubicBezTo>
                    <a:cubicBezTo>
                      <a:pt x="412" y="186"/>
                      <a:pt x="412" y="186"/>
                      <a:pt x="412" y="186"/>
                    </a:cubicBezTo>
                    <a:cubicBezTo>
                      <a:pt x="412" y="187"/>
                      <a:pt x="412" y="187"/>
                      <a:pt x="412" y="187"/>
                    </a:cubicBezTo>
                    <a:cubicBezTo>
                      <a:pt x="411" y="188"/>
                      <a:pt x="411" y="188"/>
                      <a:pt x="411" y="188"/>
                    </a:cubicBezTo>
                    <a:cubicBezTo>
                      <a:pt x="409" y="188"/>
                      <a:pt x="409" y="188"/>
                      <a:pt x="409" y="188"/>
                    </a:cubicBezTo>
                    <a:cubicBezTo>
                      <a:pt x="408" y="189"/>
                      <a:pt x="408" y="189"/>
                      <a:pt x="408" y="189"/>
                    </a:cubicBezTo>
                    <a:cubicBezTo>
                      <a:pt x="406" y="190"/>
                      <a:pt x="406" y="190"/>
                      <a:pt x="406" y="190"/>
                    </a:cubicBezTo>
                    <a:cubicBezTo>
                      <a:pt x="406" y="189"/>
                      <a:pt x="406" y="189"/>
                      <a:pt x="406" y="189"/>
                    </a:cubicBezTo>
                    <a:cubicBezTo>
                      <a:pt x="404" y="190"/>
                      <a:pt x="404" y="190"/>
                      <a:pt x="404" y="190"/>
                    </a:cubicBezTo>
                    <a:cubicBezTo>
                      <a:pt x="402" y="190"/>
                      <a:pt x="402" y="190"/>
                      <a:pt x="402" y="190"/>
                    </a:cubicBezTo>
                    <a:cubicBezTo>
                      <a:pt x="401" y="189"/>
                      <a:pt x="401" y="189"/>
                      <a:pt x="401" y="189"/>
                    </a:cubicBezTo>
                    <a:cubicBezTo>
                      <a:pt x="398" y="189"/>
                      <a:pt x="398" y="189"/>
                      <a:pt x="398" y="189"/>
                    </a:cubicBezTo>
                    <a:cubicBezTo>
                      <a:pt x="396" y="190"/>
                      <a:pt x="396" y="190"/>
                      <a:pt x="396" y="190"/>
                    </a:cubicBezTo>
                    <a:cubicBezTo>
                      <a:pt x="393" y="190"/>
                      <a:pt x="393" y="190"/>
                      <a:pt x="393" y="190"/>
                    </a:cubicBezTo>
                    <a:cubicBezTo>
                      <a:pt x="390" y="189"/>
                      <a:pt x="390" y="189"/>
                      <a:pt x="390" y="189"/>
                    </a:cubicBezTo>
                    <a:cubicBezTo>
                      <a:pt x="387" y="188"/>
                      <a:pt x="387" y="188"/>
                      <a:pt x="387" y="188"/>
                    </a:cubicBezTo>
                    <a:cubicBezTo>
                      <a:pt x="386" y="186"/>
                      <a:pt x="386" y="186"/>
                      <a:pt x="386" y="186"/>
                    </a:cubicBezTo>
                    <a:cubicBezTo>
                      <a:pt x="384" y="184"/>
                      <a:pt x="384" y="184"/>
                      <a:pt x="384" y="184"/>
                    </a:cubicBezTo>
                    <a:close/>
                    <a:moveTo>
                      <a:pt x="269" y="246"/>
                    </a:moveTo>
                    <a:cubicBezTo>
                      <a:pt x="269" y="242"/>
                      <a:pt x="269" y="242"/>
                      <a:pt x="269" y="242"/>
                    </a:cubicBezTo>
                    <a:cubicBezTo>
                      <a:pt x="271" y="239"/>
                      <a:pt x="271" y="239"/>
                      <a:pt x="271" y="239"/>
                    </a:cubicBezTo>
                    <a:cubicBezTo>
                      <a:pt x="270" y="237"/>
                      <a:pt x="270" y="237"/>
                      <a:pt x="270" y="237"/>
                    </a:cubicBezTo>
                    <a:cubicBezTo>
                      <a:pt x="271" y="234"/>
                      <a:pt x="271" y="234"/>
                      <a:pt x="271" y="234"/>
                    </a:cubicBezTo>
                    <a:cubicBezTo>
                      <a:pt x="271" y="232"/>
                      <a:pt x="271" y="232"/>
                      <a:pt x="271" y="232"/>
                    </a:cubicBezTo>
                    <a:cubicBezTo>
                      <a:pt x="270" y="231"/>
                      <a:pt x="270" y="231"/>
                      <a:pt x="270" y="231"/>
                    </a:cubicBezTo>
                    <a:cubicBezTo>
                      <a:pt x="268" y="225"/>
                      <a:pt x="268" y="225"/>
                      <a:pt x="268" y="225"/>
                    </a:cubicBezTo>
                    <a:cubicBezTo>
                      <a:pt x="270" y="226"/>
                      <a:pt x="270" y="226"/>
                      <a:pt x="270" y="226"/>
                    </a:cubicBezTo>
                    <a:cubicBezTo>
                      <a:pt x="270" y="224"/>
                      <a:pt x="270" y="224"/>
                      <a:pt x="270" y="224"/>
                    </a:cubicBezTo>
                    <a:cubicBezTo>
                      <a:pt x="267" y="224"/>
                      <a:pt x="267" y="224"/>
                      <a:pt x="267" y="224"/>
                    </a:cubicBezTo>
                    <a:cubicBezTo>
                      <a:pt x="264" y="223"/>
                      <a:pt x="264" y="223"/>
                      <a:pt x="264" y="223"/>
                    </a:cubicBezTo>
                    <a:cubicBezTo>
                      <a:pt x="264" y="222"/>
                      <a:pt x="264" y="222"/>
                      <a:pt x="264" y="222"/>
                    </a:cubicBezTo>
                    <a:cubicBezTo>
                      <a:pt x="265" y="222"/>
                      <a:pt x="265" y="222"/>
                      <a:pt x="265" y="222"/>
                    </a:cubicBezTo>
                    <a:cubicBezTo>
                      <a:pt x="267" y="221"/>
                      <a:pt x="267" y="221"/>
                      <a:pt x="267" y="221"/>
                    </a:cubicBezTo>
                    <a:cubicBezTo>
                      <a:pt x="270" y="219"/>
                      <a:pt x="270" y="219"/>
                      <a:pt x="270" y="219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71" y="218"/>
                      <a:pt x="271" y="218"/>
                      <a:pt x="271" y="218"/>
                    </a:cubicBezTo>
                    <a:cubicBezTo>
                      <a:pt x="273" y="216"/>
                      <a:pt x="273" y="216"/>
                      <a:pt x="273" y="216"/>
                    </a:cubicBezTo>
                    <a:cubicBezTo>
                      <a:pt x="274" y="216"/>
                      <a:pt x="274" y="216"/>
                      <a:pt x="274" y="216"/>
                    </a:cubicBezTo>
                    <a:cubicBezTo>
                      <a:pt x="275" y="213"/>
                      <a:pt x="275" y="213"/>
                      <a:pt x="275" y="213"/>
                    </a:cubicBezTo>
                    <a:cubicBezTo>
                      <a:pt x="279" y="212"/>
                      <a:pt x="279" y="212"/>
                      <a:pt x="279" y="212"/>
                    </a:cubicBezTo>
                    <a:cubicBezTo>
                      <a:pt x="279" y="211"/>
                      <a:pt x="279" y="211"/>
                      <a:pt x="279" y="211"/>
                    </a:cubicBezTo>
                    <a:cubicBezTo>
                      <a:pt x="280" y="210"/>
                      <a:pt x="280" y="210"/>
                      <a:pt x="280" y="210"/>
                    </a:cubicBezTo>
                    <a:cubicBezTo>
                      <a:pt x="282" y="208"/>
                      <a:pt x="282" y="208"/>
                      <a:pt x="282" y="208"/>
                    </a:cubicBezTo>
                    <a:cubicBezTo>
                      <a:pt x="282" y="205"/>
                      <a:pt x="282" y="205"/>
                      <a:pt x="282" y="205"/>
                    </a:cubicBezTo>
                    <a:cubicBezTo>
                      <a:pt x="283" y="206"/>
                      <a:pt x="283" y="206"/>
                      <a:pt x="283" y="206"/>
                    </a:cubicBezTo>
                    <a:cubicBezTo>
                      <a:pt x="288" y="206"/>
                      <a:pt x="288" y="206"/>
                      <a:pt x="288" y="206"/>
                    </a:cubicBezTo>
                    <a:cubicBezTo>
                      <a:pt x="288" y="204"/>
                      <a:pt x="288" y="204"/>
                      <a:pt x="288" y="204"/>
                    </a:cubicBezTo>
                    <a:cubicBezTo>
                      <a:pt x="287" y="201"/>
                      <a:pt x="287" y="201"/>
                      <a:pt x="287" y="201"/>
                    </a:cubicBezTo>
                    <a:cubicBezTo>
                      <a:pt x="287" y="199"/>
                      <a:pt x="287" y="199"/>
                      <a:pt x="287" y="199"/>
                    </a:cubicBezTo>
                    <a:cubicBezTo>
                      <a:pt x="289" y="199"/>
                      <a:pt x="289" y="199"/>
                      <a:pt x="289" y="199"/>
                    </a:cubicBezTo>
                    <a:cubicBezTo>
                      <a:pt x="294" y="195"/>
                      <a:pt x="294" y="195"/>
                      <a:pt x="294" y="195"/>
                    </a:cubicBezTo>
                    <a:cubicBezTo>
                      <a:pt x="295" y="193"/>
                      <a:pt x="295" y="193"/>
                      <a:pt x="295" y="193"/>
                    </a:cubicBezTo>
                    <a:cubicBezTo>
                      <a:pt x="299" y="191"/>
                      <a:pt x="299" y="191"/>
                      <a:pt x="299" y="191"/>
                    </a:cubicBezTo>
                    <a:cubicBezTo>
                      <a:pt x="300" y="189"/>
                      <a:pt x="300" y="189"/>
                      <a:pt x="300" y="189"/>
                    </a:cubicBezTo>
                    <a:cubicBezTo>
                      <a:pt x="303" y="187"/>
                      <a:pt x="303" y="187"/>
                      <a:pt x="303" y="187"/>
                    </a:cubicBezTo>
                    <a:cubicBezTo>
                      <a:pt x="305" y="187"/>
                      <a:pt x="305" y="187"/>
                      <a:pt x="305" y="187"/>
                    </a:cubicBezTo>
                    <a:cubicBezTo>
                      <a:pt x="306" y="185"/>
                      <a:pt x="306" y="185"/>
                      <a:pt x="306" y="185"/>
                    </a:cubicBezTo>
                    <a:cubicBezTo>
                      <a:pt x="305" y="183"/>
                      <a:pt x="305" y="183"/>
                      <a:pt x="305" y="183"/>
                    </a:cubicBezTo>
                    <a:cubicBezTo>
                      <a:pt x="305" y="179"/>
                      <a:pt x="305" y="179"/>
                      <a:pt x="305" y="179"/>
                    </a:cubicBezTo>
                    <a:cubicBezTo>
                      <a:pt x="305" y="177"/>
                      <a:pt x="305" y="177"/>
                      <a:pt x="305" y="177"/>
                    </a:cubicBezTo>
                    <a:cubicBezTo>
                      <a:pt x="306" y="175"/>
                      <a:pt x="306" y="175"/>
                      <a:pt x="306" y="175"/>
                    </a:cubicBezTo>
                    <a:cubicBezTo>
                      <a:pt x="306" y="174"/>
                      <a:pt x="306" y="174"/>
                      <a:pt x="306" y="174"/>
                    </a:cubicBezTo>
                    <a:cubicBezTo>
                      <a:pt x="306" y="172"/>
                      <a:pt x="306" y="172"/>
                      <a:pt x="306" y="172"/>
                    </a:cubicBezTo>
                    <a:cubicBezTo>
                      <a:pt x="309" y="171"/>
                      <a:pt x="309" y="171"/>
                      <a:pt x="309" y="171"/>
                    </a:cubicBezTo>
                    <a:cubicBezTo>
                      <a:pt x="311" y="172"/>
                      <a:pt x="311" y="172"/>
                      <a:pt x="311" y="172"/>
                    </a:cubicBezTo>
                    <a:cubicBezTo>
                      <a:pt x="317" y="171"/>
                      <a:pt x="317" y="171"/>
                      <a:pt x="317" y="171"/>
                    </a:cubicBezTo>
                    <a:cubicBezTo>
                      <a:pt x="318" y="172"/>
                      <a:pt x="318" y="172"/>
                      <a:pt x="318" y="172"/>
                    </a:cubicBezTo>
                    <a:cubicBezTo>
                      <a:pt x="324" y="172"/>
                      <a:pt x="324" y="172"/>
                      <a:pt x="324" y="172"/>
                    </a:cubicBezTo>
                    <a:cubicBezTo>
                      <a:pt x="329" y="170"/>
                      <a:pt x="329" y="170"/>
                      <a:pt x="329" y="170"/>
                    </a:cubicBezTo>
                    <a:cubicBezTo>
                      <a:pt x="334" y="172"/>
                      <a:pt x="334" y="172"/>
                      <a:pt x="334" y="172"/>
                    </a:cubicBezTo>
                    <a:cubicBezTo>
                      <a:pt x="334" y="174"/>
                      <a:pt x="334" y="174"/>
                      <a:pt x="334" y="174"/>
                    </a:cubicBezTo>
                    <a:cubicBezTo>
                      <a:pt x="335" y="175"/>
                      <a:pt x="335" y="175"/>
                      <a:pt x="335" y="175"/>
                    </a:cubicBezTo>
                    <a:cubicBezTo>
                      <a:pt x="336" y="177"/>
                      <a:pt x="336" y="177"/>
                      <a:pt x="336" y="177"/>
                    </a:cubicBezTo>
                    <a:cubicBezTo>
                      <a:pt x="341" y="180"/>
                      <a:pt x="341" y="180"/>
                      <a:pt x="341" y="180"/>
                    </a:cubicBezTo>
                    <a:cubicBezTo>
                      <a:pt x="341" y="181"/>
                      <a:pt x="341" y="181"/>
                      <a:pt x="341" y="181"/>
                    </a:cubicBezTo>
                    <a:cubicBezTo>
                      <a:pt x="340" y="183"/>
                      <a:pt x="340" y="183"/>
                      <a:pt x="340" y="183"/>
                    </a:cubicBezTo>
                    <a:cubicBezTo>
                      <a:pt x="342" y="183"/>
                      <a:pt x="342" y="183"/>
                      <a:pt x="342" y="183"/>
                    </a:cubicBezTo>
                    <a:cubicBezTo>
                      <a:pt x="343" y="182"/>
                      <a:pt x="343" y="182"/>
                      <a:pt x="343" y="182"/>
                    </a:cubicBezTo>
                    <a:cubicBezTo>
                      <a:pt x="345" y="183"/>
                      <a:pt x="345" y="183"/>
                      <a:pt x="345" y="183"/>
                    </a:cubicBezTo>
                    <a:cubicBezTo>
                      <a:pt x="345" y="185"/>
                      <a:pt x="345" y="185"/>
                      <a:pt x="345" y="185"/>
                    </a:cubicBezTo>
                    <a:cubicBezTo>
                      <a:pt x="342" y="188"/>
                      <a:pt x="342" y="188"/>
                      <a:pt x="342" y="188"/>
                    </a:cubicBezTo>
                    <a:cubicBezTo>
                      <a:pt x="342" y="189"/>
                      <a:pt x="342" y="189"/>
                      <a:pt x="342" y="189"/>
                    </a:cubicBezTo>
                    <a:cubicBezTo>
                      <a:pt x="346" y="187"/>
                      <a:pt x="346" y="187"/>
                      <a:pt x="346" y="187"/>
                    </a:cubicBezTo>
                    <a:cubicBezTo>
                      <a:pt x="346" y="185"/>
                      <a:pt x="346" y="185"/>
                      <a:pt x="346" y="185"/>
                    </a:cubicBezTo>
                    <a:cubicBezTo>
                      <a:pt x="347" y="183"/>
                      <a:pt x="347" y="183"/>
                      <a:pt x="347" y="183"/>
                    </a:cubicBezTo>
                    <a:cubicBezTo>
                      <a:pt x="350" y="184"/>
                      <a:pt x="350" y="184"/>
                      <a:pt x="350" y="184"/>
                    </a:cubicBezTo>
                    <a:cubicBezTo>
                      <a:pt x="352" y="183"/>
                      <a:pt x="352" y="183"/>
                      <a:pt x="352" y="183"/>
                    </a:cubicBezTo>
                    <a:cubicBezTo>
                      <a:pt x="354" y="183"/>
                      <a:pt x="354" y="183"/>
                      <a:pt x="354" y="183"/>
                    </a:cubicBezTo>
                    <a:cubicBezTo>
                      <a:pt x="354" y="185"/>
                      <a:pt x="354" y="185"/>
                      <a:pt x="354" y="185"/>
                    </a:cubicBezTo>
                    <a:cubicBezTo>
                      <a:pt x="358" y="189"/>
                      <a:pt x="358" y="189"/>
                      <a:pt x="358" y="189"/>
                    </a:cubicBezTo>
                    <a:cubicBezTo>
                      <a:pt x="358" y="194"/>
                      <a:pt x="358" y="194"/>
                      <a:pt x="358" y="194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59" y="199"/>
                      <a:pt x="359" y="199"/>
                      <a:pt x="359" y="199"/>
                    </a:cubicBezTo>
                    <a:cubicBezTo>
                      <a:pt x="359" y="202"/>
                      <a:pt x="359" y="202"/>
                      <a:pt x="359" y="202"/>
                    </a:cubicBezTo>
                    <a:cubicBezTo>
                      <a:pt x="358" y="203"/>
                      <a:pt x="358" y="203"/>
                      <a:pt x="358" y="203"/>
                    </a:cubicBezTo>
                    <a:cubicBezTo>
                      <a:pt x="359" y="204"/>
                      <a:pt x="359" y="204"/>
                      <a:pt x="359" y="204"/>
                    </a:cubicBezTo>
                    <a:cubicBezTo>
                      <a:pt x="359" y="206"/>
                      <a:pt x="359" y="206"/>
                      <a:pt x="359" y="206"/>
                    </a:cubicBezTo>
                    <a:cubicBezTo>
                      <a:pt x="359" y="208"/>
                      <a:pt x="359" y="208"/>
                      <a:pt x="359" y="208"/>
                    </a:cubicBezTo>
                    <a:cubicBezTo>
                      <a:pt x="358" y="210"/>
                      <a:pt x="358" y="210"/>
                      <a:pt x="358" y="210"/>
                    </a:cubicBezTo>
                    <a:cubicBezTo>
                      <a:pt x="354" y="211"/>
                      <a:pt x="354" y="211"/>
                      <a:pt x="354" y="211"/>
                    </a:cubicBezTo>
                    <a:cubicBezTo>
                      <a:pt x="353" y="212"/>
                      <a:pt x="353" y="212"/>
                      <a:pt x="353" y="212"/>
                    </a:cubicBezTo>
                    <a:cubicBezTo>
                      <a:pt x="349" y="212"/>
                      <a:pt x="349" y="212"/>
                      <a:pt x="349" y="212"/>
                    </a:cubicBezTo>
                    <a:cubicBezTo>
                      <a:pt x="346" y="212"/>
                      <a:pt x="346" y="212"/>
                      <a:pt x="346" y="212"/>
                    </a:cubicBezTo>
                    <a:cubicBezTo>
                      <a:pt x="340" y="215"/>
                      <a:pt x="340" y="215"/>
                      <a:pt x="340" y="215"/>
                    </a:cubicBezTo>
                    <a:cubicBezTo>
                      <a:pt x="337" y="215"/>
                      <a:pt x="337" y="215"/>
                      <a:pt x="337" y="215"/>
                    </a:cubicBezTo>
                    <a:cubicBezTo>
                      <a:pt x="333" y="217"/>
                      <a:pt x="333" y="217"/>
                      <a:pt x="333" y="217"/>
                    </a:cubicBezTo>
                    <a:cubicBezTo>
                      <a:pt x="331" y="217"/>
                      <a:pt x="331" y="217"/>
                      <a:pt x="331" y="217"/>
                    </a:cubicBezTo>
                    <a:cubicBezTo>
                      <a:pt x="329" y="218"/>
                      <a:pt x="329" y="218"/>
                      <a:pt x="329" y="218"/>
                    </a:cubicBezTo>
                    <a:cubicBezTo>
                      <a:pt x="326" y="219"/>
                      <a:pt x="326" y="219"/>
                      <a:pt x="326" y="219"/>
                    </a:cubicBezTo>
                    <a:cubicBezTo>
                      <a:pt x="324" y="219"/>
                      <a:pt x="324" y="219"/>
                      <a:pt x="324" y="219"/>
                    </a:cubicBezTo>
                    <a:cubicBezTo>
                      <a:pt x="323" y="218"/>
                      <a:pt x="323" y="218"/>
                      <a:pt x="323" y="218"/>
                    </a:cubicBezTo>
                    <a:cubicBezTo>
                      <a:pt x="322" y="219"/>
                      <a:pt x="322" y="219"/>
                      <a:pt x="322" y="219"/>
                    </a:cubicBezTo>
                    <a:cubicBezTo>
                      <a:pt x="319" y="220"/>
                      <a:pt x="319" y="220"/>
                      <a:pt x="319" y="220"/>
                    </a:cubicBezTo>
                    <a:cubicBezTo>
                      <a:pt x="318" y="222"/>
                      <a:pt x="318" y="222"/>
                      <a:pt x="318" y="222"/>
                    </a:cubicBezTo>
                    <a:cubicBezTo>
                      <a:pt x="316" y="224"/>
                      <a:pt x="316" y="224"/>
                      <a:pt x="316" y="224"/>
                    </a:cubicBezTo>
                    <a:cubicBezTo>
                      <a:pt x="315" y="224"/>
                      <a:pt x="315" y="224"/>
                      <a:pt x="315" y="224"/>
                    </a:cubicBezTo>
                    <a:cubicBezTo>
                      <a:pt x="314" y="227"/>
                      <a:pt x="314" y="227"/>
                      <a:pt x="314" y="227"/>
                    </a:cubicBezTo>
                    <a:cubicBezTo>
                      <a:pt x="312" y="228"/>
                      <a:pt x="312" y="228"/>
                      <a:pt x="312" y="228"/>
                    </a:cubicBezTo>
                    <a:cubicBezTo>
                      <a:pt x="310" y="230"/>
                      <a:pt x="310" y="230"/>
                      <a:pt x="310" y="230"/>
                    </a:cubicBezTo>
                    <a:cubicBezTo>
                      <a:pt x="307" y="229"/>
                      <a:pt x="307" y="229"/>
                      <a:pt x="307" y="229"/>
                    </a:cubicBezTo>
                    <a:cubicBezTo>
                      <a:pt x="305" y="227"/>
                      <a:pt x="305" y="227"/>
                      <a:pt x="305" y="227"/>
                    </a:cubicBezTo>
                    <a:cubicBezTo>
                      <a:pt x="304" y="229"/>
                      <a:pt x="304" y="229"/>
                      <a:pt x="304" y="229"/>
                    </a:cubicBezTo>
                    <a:cubicBezTo>
                      <a:pt x="304" y="231"/>
                      <a:pt x="304" y="231"/>
                      <a:pt x="304" y="231"/>
                    </a:cubicBezTo>
                    <a:cubicBezTo>
                      <a:pt x="302" y="232"/>
                      <a:pt x="302" y="232"/>
                      <a:pt x="302" y="232"/>
                    </a:cubicBezTo>
                    <a:cubicBezTo>
                      <a:pt x="299" y="235"/>
                      <a:pt x="299" y="235"/>
                      <a:pt x="299" y="235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97" y="239"/>
                      <a:pt x="297" y="239"/>
                      <a:pt x="297" y="239"/>
                    </a:cubicBezTo>
                    <a:cubicBezTo>
                      <a:pt x="297" y="240"/>
                      <a:pt x="297" y="240"/>
                      <a:pt x="297" y="240"/>
                    </a:cubicBezTo>
                    <a:cubicBezTo>
                      <a:pt x="294" y="243"/>
                      <a:pt x="294" y="243"/>
                      <a:pt x="294" y="243"/>
                    </a:cubicBezTo>
                    <a:cubicBezTo>
                      <a:pt x="292" y="245"/>
                      <a:pt x="292" y="245"/>
                      <a:pt x="292" y="245"/>
                    </a:cubicBezTo>
                    <a:cubicBezTo>
                      <a:pt x="290" y="245"/>
                      <a:pt x="290" y="245"/>
                      <a:pt x="290" y="245"/>
                    </a:cubicBezTo>
                    <a:cubicBezTo>
                      <a:pt x="287" y="246"/>
                      <a:pt x="287" y="246"/>
                      <a:pt x="287" y="246"/>
                    </a:cubicBezTo>
                    <a:cubicBezTo>
                      <a:pt x="285" y="246"/>
                      <a:pt x="285" y="246"/>
                      <a:pt x="285" y="246"/>
                    </a:cubicBezTo>
                    <a:cubicBezTo>
                      <a:pt x="284" y="244"/>
                      <a:pt x="284" y="244"/>
                      <a:pt x="284" y="244"/>
                    </a:cubicBezTo>
                    <a:cubicBezTo>
                      <a:pt x="286" y="243"/>
                      <a:pt x="286" y="243"/>
                      <a:pt x="286" y="243"/>
                    </a:cubicBezTo>
                    <a:cubicBezTo>
                      <a:pt x="286" y="241"/>
                      <a:pt x="286" y="241"/>
                      <a:pt x="286" y="241"/>
                    </a:cubicBezTo>
                    <a:cubicBezTo>
                      <a:pt x="285" y="239"/>
                      <a:pt x="285" y="239"/>
                      <a:pt x="285" y="239"/>
                    </a:cubicBezTo>
                    <a:cubicBezTo>
                      <a:pt x="283" y="241"/>
                      <a:pt x="283" y="241"/>
                      <a:pt x="283" y="241"/>
                    </a:cubicBezTo>
                    <a:cubicBezTo>
                      <a:pt x="283" y="242"/>
                      <a:pt x="283" y="242"/>
                      <a:pt x="283" y="242"/>
                    </a:cubicBezTo>
                    <a:cubicBezTo>
                      <a:pt x="282" y="242"/>
                      <a:pt x="282" y="242"/>
                      <a:pt x="282" y="242"/>
                    </a:cubicBezTo>
                    <a:cubicBezTo>
                      <a:pt x="279" y="245"/>
                      <a:pt x="279" y="245"/>
                      <a:pt x="279" y="245"/>
                    </a:cubicBezTo>
                    <a:cubicBezTo>
                      <a:pt x="277" y="246"/>
                      <a:pt x="277" y="246"/>
                      <a:pt x="277" y="246"/>
                    </a:cubicBezTo>
                    <a:cubicBezTo>
                      <a:pt x="275" y="245"/>
                      <a:pt x="275" y="245"/>
                      <a:pt x="275" y="245"/>
                    </a:cubicBezTo>
                    <a:cubicBezTo>
                      <a:pt x="273" y="246"/>
                      <a:pt x="273" y="246"/>
                      <a:pt x="273" y="246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70" y="247"/>
                      <a:pt x="270" y="247"/>
                      <a:pt x="270" y="247"/>
                    </a:cubicBezTo>
                    <a:cubicBezTo>
                      <a:pt x="269" y="247"/>
                      <a:pt x="269" y="247"/>
                      <a:pt x="269" y="247"/>
                    </a:cubicBezTo>
                    <a:cubicBezTo>
                      <a:pt x="269" y="246"/>
                      <a:pt x="269" y="246"/>
                      <a:pt x="269" y="246"/>
                    </a:cubicBezTo>
                    <a:close/>
                    <a:moveTo>
                      <a:pt x="515" y="216"/>
                    </a:moveTo>
                    <a:cubicBezTo>
                      <a:pt x="516" y="217"/>
                      <a:pt x="516" y="217"/>
                      <a:pt x="516" y="217"/>
                    </a:cubicBezTo>
                    <a:cubicBezTo>
                      <a:pt x="517" y="218"/>
                      <a:pt x="517" y="218"/>
                      <a:pt x="517" y="218"/>
                    </a:cubicBezTo>
                    <a:cubicBezTo>
                      <a:pt x="516" y="220"/>
                      <a:pt x="516" y="220"/>
                      <a:pt x="516" y="220"/>
                    </a:cubicBezTo>
                    <a:cubicBezTo>
                      <a:pt x="516" y="221"/>
                      <a:pt x="516" y="221"/>
                      <a:pt x="516" y="221"/>
                    </a:cubicBezTo>
                    <a:cubicBezTo>
                      <a:pt x="515" y="220"/>
                      <a:pt x="515" y="220"/>
                      <a:pt x="515" y="220"/>
                    </a:cubicBezTo>
                    <a:cubicBezTo>
                      <a:pt x="515" y="218"/>
                      <a:pt x="515" y="218"/>
                      <a:pt x="515" y="218"/>
                    </a:cubicBezTo>
                    <a:cubicBezTo>
                      <a:pt x="515" y="216"/>
                      <a:pt x="515" y="216"/>
                      <a:pt x="515" y="216"/>
                    </a:cubicBezTo>
                    <a:close/>
                    <a:moveTo>
                      <a:pt x="496" y="217"/>
                    </a:moveTo>
                    <a:cubicBezTo>
                      <a:pt x="498" y="215"/>
                      <a:pt x="498" y="215"/>
                      <a:pt x="498" y="215"/>
                    </a:cubicBezTo>
                    <a:cubicBezTo>
                      <a:pt x="500" y="214"/>
                      <a:pt x="500" y="214"/>
                      <a:pt x="500" y="214"/>
                    </a:cubicBezTo>
                    <a:cubicBezTo>
                      <a:pt x="501" y="215"/>
                      <a:pt x="501" y="215"/>
                      <a:pt x="501" y="215"/>
                    </a:cubicBezTo>
                    <a:cubicBezTo>
                      <a:pt x="501" y="216"/>
                      <a:pt x="501" y="216"/>
                      <a:pt x="501" y="216"/>
                    </a:cubicBezTo>
                    <a:cubicBezTo>
                      <a:pt x="499" y="216"/>
                      <a:pt x="499" y="216"/>
                      <a:pt x="499" y="216"/>
                    </a:cubicBezTo>
                    <a:cubicBezTo>
                      <a:pt x="498" y="217"/>
                      <a:pt x="498" y="217"/>
                      <a:pt x="498" y="217"/>
                    </a:cubicBezTo>
                    <a:cubicBezTo>
                      <a:pt x="496" y="217"/>
                      <a:pt x="496" y="217"/>
                      <a:pt x="496" y="217"/>
                    </a:cubicBezTo>
                    <a:close/>
                    <a:moveTo>
                      <a:pt x="478" y="228"/>
                    </a:moveTo>
                    <a:cubicBezTo>
                      <a:pt x="479" y="229"/>
                      <a:pt x="479" y="229"/>
                      <a:pt x="479" y="229"/>
                    </a:cubicBezTo>
                    <a:cubicBezTo>
                      <a:pt x="481" y="230"/>
                      <a:pt x="481" y="230"/>
                      <a:pt x="481" y="230"/>
                    </a:cubicBezTo>
                    <a:cubicBezTo>
                      <a:pt x="484" y="231"/>
                      <a:pt x="484" y="231"/>
                      <a:pt x="484" y="231"/>
                    </a:cubicBezTo>
                    <a:cubicBezTo>
                      <a:pt x="485" y="230"/>
                      <a:pt x="485" y="230"/>
                      <a:pt x="485" y="230"/>
                    </a:cubicBezTo>
                    <a:cubicBezTo>
                      <a:pt x="486" y="231"/>
                      <a:pt x="486" y="231"/>
                      <a:pt x="486" y="231"/>
                    </a:cubicBezTo>
                    <a:cubicBezTo>
                      <a:pt x="489" y="230"/>
                      <a:pt x="489" y="230"/>
                      <a:pt x="489" y="230"/>
                    </a:cubicBezTo>
                    <a:cubicBezTo>
                      <a:pt x="490" y="230"/>
                      <a:pt x="490" y="230"/>
                      <a:pt x="490" y="230"/>
                    </a:cubicBezTo>
                    <a:cubicBezTo>
                      <a:pt x="491" y="230"/>
                      <a:pt x="491" y="230"/>
                      <a:pt x="491" y="230"/>
                    </a:cubicBezTo>
                    <a:cubicBezTo>
                      <a:pt x="493" y="229"/>
                      <a:pt x="493" y="229"/>
                      <a:pt x="493" y="229"/>
                    </a:cubicBezTo>
                    <a:cubicBezTo>
                      <a:pt x="495" y="229"/>
                      <a:pt x="495" y="229"/>
                      <a:pt x="495" y="229"/>
                    </a:cubicBezTo>
                    <a:cubicBezTo>
                      <a:pt x="495" y="227"/>
                      <a:pt x="495" y="227"/>
                      <a:pt x="495" y="227"/>
                    </a:cubicBezTo>
                    <a:cubicBezTo>
                      <a:pt x="492" y="226"/>
                      <a:pt x="492" y="226"/>
                      <a:pt x="492" y="226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88" y="227"/>
                      <a:pt x="488" y="227"/>
                      <a:pt x="488" y="227"/>
                    </a:cubicBezTo>
                    <a:cubicBezTo>
                      <a:pt x="487" y="226"/>
                      <a:pt x="487" y="226"/>
                      <a:pt x="487" y="226"/>
                    </a:cubicBezTo>
                    <a:cubicBezTo>
                      <a:pt x="485" y="227"/>
                      <a:pt x="485" y="227"/>
                      <a:pt x="485" y="227"/>
                    </a:cubicBezTo>
                    <a:cubicBezTo>
                      <a:pt x="483" y="226"/>
                      <a:pt x="483" y="226"/>
                      <a:pt x="483" y="226"/>
                    </a:cubicBezTo>
                    <a:cubicBezTo>
                      <a:pt x="481" y="228"/>
                      <a:pt x="481" y="228"/>
                      <a:pt x="481" y="228"/>
                    </a:cubicBezTo>
                    <a:cubicBezTo>
                      <a:pt x="479" y="227"/>
                      <a:pt x="479" y="227"/>
                      <a:pt x="479" y="227"/>
                    </a:cubicBezTo>
                    <a:cubicBezTo>
                      <a:pt x="478" y="228"/>
                      <a:pt x="478" y="228"/>
                      <a:pt x="478" y="228"/>
                    </a:cubicBezTo>
                    <a:close/>
                    <a:moveTo>
                      <a:pt x="467" y="297"/>
                    </a:move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67" y="295"/>
                      <a:pt x="467" y="295"/>
                      <a:pt x="467" y="295"/>
                    </a:cubicBezTo>
                    <a:cubicBezTo>
                      <a:pt x="468" y="295"/>
                      <a:pt x="468" y="295"/>
                      <a:pt x="468" y="295"/>
                    </a:cubicBezTo>
                    <a:cubicBezTo>
                      <a:pt x="468" y="296"/>
                      <a:pt x="468" y="296"/>
                      <a:pt x="468" y="296"/>
                    </a:cubicBezTo>
                    <a:cubicBezTo>
                      <a:pt x="467" y="297"/>
                      <a:pt x="467" y="297"/>
                      <a:pt x="467" y="297"/>
                    </a:cubicBezTo>
                    <a:close/>
                    <a:moveTo>
                      <a:pt x="456" y="295"/>
                    </a:moveTo>
                    <a:cubicBezTo>
                      <a:pt x="455" y="294"/>
                      <a:pt x="455" y="294"/>
                      <a:pt x="455" y="294"/>
                    </a:cubicBezTo>
                    <a:cubicBezTo>
                      <a:pt x="454" y="292"/>
                      <a:pt x="454" y="292"/>
                      <a:pt x="454" y="292"/>
                    </a:cubicBezTo>
                    <a:cubicBezTo>
                      <a:pt x="454" y="291"/>
                      <a:pt x="454" y="291"/>
                      <a:pt x="454" y="291"/>
                    </a:cubicBezTo>
                    <a:cubicBezTo>
                      <a:pt x="452" y="292"/>
                      <a:pt x="452" y="292"/>
                      <a:pt x="452" y="292"/>
                    </a:cubicBezTo>
                    <a:cubicBezTo>
                      <a:pt x="452" y="291"/>
                      <a:pt x="452" y="291"/>
                      <a:pt x="452" y="291"/>
                    </a:cubicBezTo>
                    <a:cubicBezTo>
                      <a:pt x="453" y="289"/>
                      <a:pt x="453" y="289"/>
                      <a:pt x="453" y="289"/>
                    </a:cubicBezTo>
                    <a:cubicBezTo>
                      <a:pt x="452" y="287"/>
                      <a:pt x="452" y="287"/>
                      <a:pt x="452" y="287"/>
                    </a:cubicBezTo>
                    <a:cubicBezTo>
                      <a:pt x="451" y="285"/>
                      <a:pt x="451" y="285"/>
                      <a:pt x="451" y="285"/>
                    </a:cubicBezTo>
                    <a:cubicBezTo>
                      <a:pt x="452" y="283"/>
                      <a:pt x="452" y="283"/>
                      <a:pt x="452" y="283"/>
                    </a:cubicBezTo>
                    <a:cubicBezTo>
                      <a:pt x="452" y="280"/>
                      <a:pt x="452" y="280"/>
                      <a:pt x="452" y="280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51" y="278"/>
                      <a:pt x="451" y="278"/>
                      <a:pt x="451" y="278"/>
                    </a:cubicBezTo>
                    <a:cubicBezTo>
                      <a:pt x="450" y="277"/>
                      <a:pt x="450" y="277"/>
                      <a:pt x="450" y="277"/>
                    </a:cubicBezTo>
                    <a:cubicBezTo>
                      <a:pt x="450" y="275"/>
                      <a:pt x="450" y="275"/>
                      <a:pt x="450" y="275"/>
                    </a:cubicBezTo>
                    <a:cubicBezTo>
                      <a:pt x="448" y="273"/>
                      <a:pt x="448" y="273"/>
                      <a:pt x="448" y="273"/>
                    </a:cubicBezTo>
                    <a:cubicBezTo>
                      <a:pt x="448" y="270"/>
                      <a:pt x="448" y="270"/>
                      <a:pt x="448" y="270"/>
                    </a:cubicBezTo>
                    <a:cubicBezTo>
                      <a:pt x="447" y="267"/>
                      <a:pt x="447" y="267"/>
                      <a:pt x="447" y="267"/>
                    </a:cubicBezTo>
                    <a:cubicBezTo>
                      <a:pt x="446" y="267"/>
                      <a:pt x="446" y="267"/>
                      <a:pt x="446" y="267"/>
                    </a:cubicBezTo>
                    <a:cubicBezTo>
                      <a:pt x="446" y="267"/>
                      <a:pt x="446" y="267"/>
                      <a:pt x="446" y="267"/>
                    </a:cubicBezTo>
                    <a:cubicBezTo>
                      <a:pt x="446" y="264"/>
                      <a:pt x="446" y="264"/>
                      <a:pt x="446" y="264"/>
                    </a:cubicBezTo>
                    <a:cubicBezTo>
                      <a:pt x="445" y="264"/>
                      <a:pt x="445" y="264"/>
                      <a:pt x="445" y="264"/>
                    </a:cubicBezTo>
                    <a:cubicBezTo>
                      <a:pt x="443" y="265"/>
                      <a:pt x="443" y="265"/>
                      <a:pt x="443" y="265"/>
                    </a:cubicBezTo>
                    <a:cubicBezTo>
                      <a:pt x="442" y="264"/>
                      <a:pt x="442" y="264"/>
                      <a:pt x="442" y="264"/>
                    </a:cubicBezTo>
                    <a:cubicBezTo>
                      <a:pt x="441" y="264"/>
                      <a:pt x="441" y="264"/>
                      <a:pt x="441" y="264"/>
                    </a:cubicBezTo>
                    <a:cubicBezTo>
                      <a:pt x="440" y="263"/>
                      <a:pt x="440" y="263"/>
                      <a:pt x="440" y="263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2" y="260"/>
                      <a:pt x="442" y="260"/>
                      <a:pt x="442" y="260"/>
                    </a:cubicBezTo>
                    <a:cubicBezTo>
                      <a:pt x="442" y="257"/>
                      <a:pt x="442" y="257"/>
                      <a:pt x="442" y="257"/>
                    </a:cubicBezTo>
                    <a:cubicBezTo>
                      <a:pt x="441" y="256"/>
                      <a:pt x="441" y="256"/>
                      <a:pt x="441" y="256"/>
                    </a:cubicBezTo>
                    <a:cubicBezTo>
                      <a:pt x="442" y="255"/>
                      <a:pt x="442" y="255"/>
                      <a:pt x="442" y="255"/>
                    </a:cubicBezTo>
                    <a:cubicBezTo>
                      <a:pt x="442" y="251"/>
                      <a:pt x="442" y="251"/>
                      <a:pt x="442" y="251"/>
                    </a:cubicBezTo>
                    <a:cubicBezTo>
                      <a:pt x="441" y="250"/>
                      <a:pt x="441" y="250"/>
                      <a:pt x="441" y="250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445" y="246"/>
                      <a:pt x="445" y="246"/>
                      <a:pt x="445" y="246"/>
                    </a:cubicBezTo>
                    <a:cubicBezTo>
                      <a:pt x="446" y="245"/>
                      <a:pt x="446" y="245"/>
                      <a:pt x="446" y="245"/>
                    </a:cubicBezTo>
                    <a:cubicBezTo>
                      <a:pt x="447" y="245"/>
                      <a:pt x="447" y="245"/>
                      <a:pt x="447" y="245"/>
                    </a:cubicBezTo>
                    <a:cubicBezTo>
                      <a:pt x="448" y="246"/>
                      <a:pt x="448" y="246"/>
                      <a:pt x="448" y="246"/>
                    </a:cubicBezTo>
                    <a:cubicBezTo>
                      <a:pt x="451" y="245"/>
                      <a:pt x="451" y="245"/>
                      <a:pt x="451" y="245"/>
                    </a:cubicBezTo>
                    <a:cubicBezTo>
                      <a:pt x="452" y="245"/>
                      <a:pt x="452" y="245"/>
                      <a:pt x="452" y="245"/>
                    </a:cubicBezTo>
                    <a:cubicBezTo>
                      <a:pt x="453" y="247"/>
                      <a:pt x="453" y="247"/>
                      <a:pt x="453" y="247"/>
                    </a:cubicBezTo>
                    <a:cubicBezTo>
                      <a:pt x="452" y="247"/>
                      <a:pt x="452" y="247"/>
                      <a:pt x="452" y="247"/>
                    </a:cubicBezTo>
                    <a:cubicBezTo>
                      <a:pt x="451" y="248"/>
                      <a:pt x="451" y="248"/>
                      <a:pt x="451" y="248"/>
                    </a:cubicBezTo>
                    <a:cubicBezTo>
                      <a:pt x="451" y="249"/>
                      <a:pt x="451" y="249"/>
                      <a:pt x="451" y="249"/>
                    </a:cubicBezTo>
                    <a:cubicBezTo>
                      <a:pt x="453" y="249"/>
                      <a:pt x="453" y="249"/>
                      <a:pt x="453" y="249"/>
                    </a:cubicBezTo>
                    <a:cubicBezTo>
                      <a:pt x="453" y="250"/>
                      <a:pt x="453" y="250"/>
                      <a:pt x="453" y="250"/>
                    </a:cubicBezTo>
                    <a:cubicBezTo>
                      <a:pt x="453" y="252"/>
                      <a:pt x="453" y="252"/>
                      <a:pt x="453" y="252"/>
                    </a:cubicBezTo>
                    <a:cubicBezTo>
                      <a:pt x="456" y="255"/>
                      <a:pt x="456" y="255"/>
                      <a:pt x="456" y="255"/>
                    </a:cubicBezTo>
                    <a:cubicBezTo>
                      <a:pt x="456" y="256"/>
                      <a:pt x="456" y="256"/>
                      <a:pt x="456" y="256"/>
                    </a:cubicBezTo>
                    <a:cubicBezTo>
                      <a:pt x="457" y="258"/>
                      <a:pt x="457" y="258"/>
                      <a:pt x="457" y="258"/>
                    </a:cubicBezTo>
                    <a:cubicBezTo>
                      <a:pt x="459" y="258"/>
                      <a:pt x="459" y="258"/>
                      <a:pt x="459" y="258"/>
                    </a:cubicBezTo>
                    <a:cubicBezTo>
                      <a:pt x="459" y="257"/>
                      <a:pt x="459" y="257"/>
                      <a:pt x="459" y="257"/>
                    </a:cubicBezTo>
                    <a:cubicBezTo>
                      <a:pt x="459" y="256"/>
                      <a:pt x="459" y="256"/>
                      <a:pt x="459" y="256"/>
                    </a:cubicBezTo>
                    <a:cubicBezTo>
                      <a:pt x="460" y="255"/>
                      <a:pt x="460" y="255"/>
                      <a:pt x="460" y="255"/>
                    </a:cubicBezTo>
                    <a:cubicBezTo>
                      <a:pt x="461" y="253"/>
                      <a:pt x="461" y="253"/>
                      <a:pt x="461" y="253"/>
                    </a:cubicBezTo>
                    <a:cubicBezTo>
                      <a:pt x="461" y="252"/>
                      <a:pt x="461" y="252"/>
                      <a:pt x="461" y="252"/>
                    </a:cubicBezTo>
                    <a:cubicBezTo>
                      <a:pt x="462" y="250"/>
                      <a:pt x="462" y="250"/>
                      <a:pt x="462" y="250"/>
                    </a:cubicBezTo>
                    <a:cubicBezTo>
                      <a:pt x="463" y="249"/>
                      <a:pt x="463" y="249"/>
                      <a:pt x="463" y="249"/>
                    </a:cubicBezTo>
                    <a:cubicBezTo>
                      <a:pt x="462" y="247"/>
                      <a:pt x="462" y="247"/>
                      <a:pt x="462" y="247"/>
                    </a:cubicBezTo>
                    <a:cubicBezTo>
                      <a:pt x="463" y="246"/>
                      <a:pt x="463" y="246"/>
                      <a:pt x="463" y="246"/>
                    </a:cubicBezTo>
                    <a:cubicBezTo>
                      <a:pt x="464" y="246"/>
                      <a:pt x="464" y="246"/>
                      <a:pt x="464" y="246"/>
                    </a:cubicBezTo>
                    <a:cubicBezTo>
                      <a:pt x="466" y="246"/>
                      <a:pt x="466" y="246"/>
                      <a:pt x="466" y="246"/>
                    </a:cubicBezTo>
                    <a:cubicBezTo>
                      <a:pt x="466" y="248"/>
                      <a:pt x="466" y="248"/>
                      <a:pt x="466" y="248"/>
                    </a:cubicBezTo>
                    <a:cubicBezTo>
                      <a:pt x="468" y="248"/>
                      <a:pt x="468" y="248"/>
                      <a:pt x="468" y="248"/>
                    </a:cubicBezTo>
                    <a:cubicBezTo>
                      <a:pt x="468" y="247"/>
                      <a:pt x="468" y="247"/>
                      <a:pt x="468" y="247"/>
                    </a:cubicBezTo>
                    <a:cubicBezTo>
                      <a:pt x="466" y="245"/>
                      <a:pt x="466" y="245"/>
                      <a:pt x="466" y="245"/>
                    </a:cubicBezTo>
                    <a:cubicBezTo>
                      <a:pt x="466" y="243"/>
                      <a:pt x="466" y="243"/>
                      <a:pt x="466" y="243"/>
                    </a:cubicBezTo>
                    <a:cubicBezTo>
                      <a:pt x="465" y="243"/>
                      <a:pt x="465" y="243"/>
                      <a:pt x="465" y="243"/>
                    </a:cubicBezTo>
                    <a:cubicBezTo>
                      <a:pt x="464" y="245"/>
                      <a:pt x="464" y="245"/>
                      <a:pt x="464" y="245"/>
                    </a:cubicBezTo>
                    <a:cubicBezTo>
                      <a:pt x="462" y="245"/>
                      <a:pt x="462" y="245"/>
                      <a:pt x="462" y="245"/>
                    </a:cubicBezTo>
                    <a:cubicBezTo>
                      <a:pt x="460" y="243"/>
                      <a:pt x="460" y="243"/>
                      <a:pt x="460" y="243"/>
                    </a:cubicBezTo>
                    <a:cubicBezTo>
                      <a:pt x="460" y="241"/>
                      <a:pt x="460" y="241"/>
                      <a:pt x="460" y="241"/>
                    </a:cubicBezTo>
                    <a:cubicBezTo>
                      <a:pt x="459" y="239"/>
                      <a:pt x="459" y="239"/>
                      <a:pt x="459" y="239"/>
                    </a:cubicBezTo>
                    <a:cubicBezTo>
                      <a:pt x="459" y="237"/>
                      <a:pt x="459" y="237"/>
                      <a:pt x="459" y="237"/>
                    </a:cubicBezTo>
                    <a:cubicBezTo>
                      <a:pt x="460" y="236"/>
                      <a:pt x="460" y="236"/>
                      <a:pt x="460" y="236"/>
                    </a:cubicBezTo>
                    <a:cubicBezTo>
                      <a:pt x="462" y="236"/>
                      <a:pt x="462" y="236"/>
                      <a:pt x="462" y="236"/>
                    </a:cubicBezTo>
                    <a:cubicBezTo>
                      <a:pt x="462" y="234"/>
                      <a:pt x="462" y="234"/>
                      <a:pt x="462" y="234"/>
                    </a:cubicBezTo>
                    <a:cubicBezTo>
                      <a:pt x="463" y="235"/>
                      <a:pt x="463" y="235"/>
                      <a:pt x="463" y="235"/>
                    </a:cubicBezTo>
                    <a:cubicBezTo>
                      <a:pt x="464" y="237"/>
                      <a:pt x="464" y="237"/>
                      <a:pt x="464" y="237"/>
                    </a:cubicBezTo>
                    <a:cubicBezTo>
                      <a:pt x="465" y="241"/>
                      <a:pt x="465" y="241"/>
                      <a:pt x="465" y="241"/>
                    </a:cubicBezTo>
                    <a:cubicBezTo>
                      <a:pt x="465" y="241"/>
                      <a:pt x="465" y="241"/>
                      <a:pt x="465" y="241"/>
                    </a:cubicBezTo>
                    <a:cubicBezTo>
                      <a:pt x="466" y="239"/>
                      <a:pt x="466" y="239"/>
                      <a:pt x="466" y="239"/>
                    </a:cubicBezTo>
                    <a:cubicBezTo>
                      <a:pt x="467" y="238"/>
                      <a:pt x="467" y="238"/>
                      <a:pt x="467" y="238"/>
                    </a:cubicBezTo>
                    <a:cubicBezTo>
                      <a:pt x="466" y="236"/>
                      <a:pt x="466" y="236"/>
                      <a:pt x="466" y="236"/>
                    </a:cubicBezTo>
                    <a:cubicBezTo>
                      <a:pt x="465" y="235"/>
                      <a:pt x="465" y="235"/>
                      <a:pt x="465" y="235"/>
                    </a:cubicBezTo>
                    <a:cubicBezTo>
                      <a:pt x="465" y="233"/>
                      <a:pt x="465" y="233"/>
                      <a:pt x="465" y="233"/>
                    </a:cubicBezTo>
                    <a:cubicBezTo>
                      <a:pt x="464" y="231"/>
                      <a:pt x="464" y="231"/>
                      <a:pt x="464" y="231"/>
                    </a:cubicBezTo>
                    <a:cubicBezTo>
                      <a:pt x="465" y="231"/>
                      <a:pt x="465" y="231"/>
                      <a:pt x="465" y="231"/>
                    </a:cubicBezTo>
                    <a:cubicBezTo>
                      <a:pt x="466" y="229"/>
                      <a:pt x="466" y="229"/>
                      <a:pt x="466" y="229"/>
                    </a:cubicBezTo>
                    <a:cubicBezTo>
                      <a:pt x="468" y="228"/>
                      <a:pt x="468" y="228"/>
                      <a:pt x="468" y="228"/>
                    </a:cubicBezTo>
                    <a:cubicBezTo>
                      <a:pt x="468" y="228"/>
                      <a:pt x="468" y="228"/>
                      <a:pt x="468" y="228"/>
                    </a:cubicBezTo>
                    <a:cubicBezTo>
                      <a:pt x="469" y="228"/>
                      <a:pt x="469" y="228"/>
                      <a:pt x="469" y="228"/>
                    </a:cubicBezTo>
                    <a:cubicBezTo>
                      <a:pt x="471" y="230"/>
                      <a:pt x="471" y="230"/>
                      <a:pt x="471" y="230"/>
                    </a:cubicBezTo>
                    <a:cubicBezTo>
                      <a:pt x="473" y="231"/>
                      <a:pt x="473" y="231"/>
                      <a:pt x="473" y="231"/>
                    </a:cubicBezTo>
                    <a:cubicBezTo>
                      <a:pt x="474" y="229"/>
                      <a:pt x="474" y="229"/>
                      <a:pt x="474" y="229"/>
                    </a:cubicBezTo>
                    <a:cubicBezTo>
                      <a:pt x="472" y="229"/>
                      <a:pt x="472" y="229"/>
                      <a:pt x="472" y="229"/>
                    </a:cubicBezTo>
                    <a:cubicBezTo>
                      <a:pt x="471" y="228"/>
                      <a:pt x="471" y="228"/>
                      <a:pt x="471" y="228"/>
                    </a:cubicBezTo>
                    <a:cubicBezTo>
                      <a:pt x="472" y="227"/>
                      <a:pt x="472" y="227"/>
                      <a:pt x="472" y="227"/>
                    </a:cubicBezTo>
                    <a:cubicBezTo>
                      <a:pt x="474" y="227"/>
                      <a:pt x="474" y="227"/>
                      <a:pt x="474" y="227"/>
                    </a:cubicBezTo>
                    <a:cubicBezTo>
                      <a:pt x="476" y="227"/>
                      <a:pt x="476" y="227"/>
                      <a:pt x="476" y="227"/>
                    </a:cubicBezTo>
                    <a:cubicBezTo>
                      <a:pt x="477" y="228"/>
                      <a:pt x="477" y="228"/>
                      <a:pt x="477" y="228"/>
                    </a:cubicBezTo>
                    <a:cubicBezTo>
                      <a:pt x="476" y="229"/>
                      <a:pt x="476" y="229"/>
                      <a:pt x="476" y="229"/>
                    </a:cubicBezTo>
                    <a:cubicBezTo>
                      <a:pt x="476" y="230"/>
                      <a:pt x="476" y="230"/>
                      <a:pt x="476" y="230"/>
                    </a:cubicBezTo>
                    <a:cubicBezTo>
                      <a:pt x="477" y="231"/>
                      <a:pt x="477" y="231"/>
                      <a:pt x="477" y="231"/>
                    </a:cubicBezTo>
                    <a:cubicBezTo>
                      <a:pt x="479" y="233"/>
                      <a:pt x="479" y="233"/>
                      <a:pt x="479" y="233"/>
                    </a:cubicBezTo>
                    <a:cubicBezTo>
                      <a:pt x="480" y="232"/>
                      <a:pt x="480" y="232"/>
                      <a:pt x="480" y="232"/>
                    </a:cubicBezTo>
                    <a:cubicBezTo>
                      <a:pt x="482" y="233"/>
                      <a:pt x="482" y="233"/>
                      <a:pt x="482" y="233"/>
                    </a:cubicBezTo>
                    <a:cubicBezTo>
                      <a:pt x="484" y="233"/>
                      <a:pt x="484" y="233"/>
                      <a:pt x="484" y="233"/>
                    </a:cubicBezTo>
                    <a:cubicBezTo>
                      <a:pt x="485" y="232"/>
                      <a:pt x="485" y="232"/>
                      <a:pt x="485" y="232"/>
                    </a:cubicBezTo>
                    <a:cubicBezTo>
                      <a:pt x="487" y="233"/>
                      <a:pt x="487" y="233"/>
                      <a:pt x="487" y="233"/>
                    </a:cubicBezTo>
                    <a:cubicBezTo>
                      <a:pt x="492" y="233"/>
                      <a:pt x="492" y="233"/>
                      <a:pt x="492" y="233"/>
                    </a:cubicBezTo>
                    <a:cubicBezTo>
                      <a:pt x="493" y="234"/>
                      <a:pt x="493" y="234"/>
                      <a:pt x="493" y="234"/>
                    </a:cubicBezTo>
                    <a:cubicBezTo>
                      <a:pt x="494" y="234"/>
                      <a:pt x="494" y="234"/>
                      <a:pt x="494" y="234"/>
                    </a:cubicBezTo>
                    <a:cubicBezTo>
                      <a:pt x="495" y="235"/>
                      <a:pt x="495" y="235"/>
                      <a:pt x="495" y="235"/>
                    </a:cubicBezTo>
                    <a:cubicBezTo>
                      <a:pt x="494" y="236"/>
                      <a:pt x="494" y="236"/>
                      <a:pt x="494" y="236"/>
                    </a:cubicBezTo>
                    <a:cubicBezTo>
                      <a:pt x="495" y="238"/>
                      <a:pt x="495" y="238"/>
                      <a:pt x="495" y="238"/>
                    </a:cubicBezTo>
                    <a:cubicBezTo>
                      <a:pt x="494" y="239"/>
                      <a:pt x="494" y="239"/>
                      <a:pt x="494" y="239"/>
                    </a:cubicBezTo>
                    <a:cubicBezTo>
                      <a:pt x="491" y="241"/>
                      <a:pt x="491" y="241"/>
                      <a:pt x="491" y="241"/>
                    </a:cubicBezTo>
                    <a:cubicBezTo>
                      <a:pt x="490" y="240"/>
                      <a:pt x="490" y="240"/>
                      <a:pt x="490" y="240"/>
                    </a:cubicBezTo>
                    <a:cubicBezTo>
                      <a:pt x="490" y="239"/>
                      <a:pt x="490" y="239"/>
                      <a:pt x="490" y="239"/>
                    </a:cubicBezTo>
                    <a:cubicBezTo>
                      <a:pt x="489" y="240"/>
                      <a:pt x="489" y="240"/>
                      <a:pt x="489" y="240"/>
                    </a:cubicBezTo>
                    <a:cubicBezTo>
                      <a:pt x="487" y="241"/>
                      <a:pt x="487" y="241"/>
                      <a:pt x="487" y="241"/>
                    </a:cubicBezTo>
                    <a:cubicBezTo>
                      <a:pt x="488" y="242"/>
                      <a:pt x="488" y="242"/>
                      <a:pt x="488" y="242"/>
                    </a:cubicBezTo>
                    <a:cubicBezTo>
                      <a:pt x="490" y="243"/>
                      <a:pt x="490" y="243"/>
                      <a:pt x="490" y="243"/>
                    </a:cubicBezTo>
                    <a:cubicBezTo>
                      <a:pt x="489" y="244"/>
                      <a:pt x="489" y="244"/>
                      <a:pt x="489" y="244"/>
                    </a:cubicBezTo>
                    <a:cubicBezTo>
                      <a:pt x="489" y="247"/>
                      <a:pt x="489" y="247"/>
                      <a:pt x="489" y="247"/>
                    </a:cubicBezTo>
                    <a:cubicBezTo>
                      <a:pt x="488" y="247"/>
                      <a:pt x="488" y="247"/>
                      <a:pt x="488" y="247"/>
                    </a:cubicBezTo>
                    <a:cubicBezTo>
                      <a:pt x="487" y="247"/>
                      <a:pt x="487" y="247"/>
                      <a:pt x="487" y="247"/>
                    </a:cubicBezTo>
                    <a:cubicBezTo>
                      <a:pt x="486" y="247"/>
                      <a:pt x="486" y="247"/>
                      <a:pt x="486" y="247"/>
                    </a:cubicBezTo>
                    <a:cubicBezTo>
                      <a:pt x="484" y="247"/>
                      <a:pt x="484" y="247"/>
                      <a:pt x="484" y="247"/>
                    </a:cubicBezTo>
                    <a:cubicBezTo>
                      <a:pt x="483" y="248"/>
                      <a:pt x="483" y="248"/>
                      <a:pt x="483" y="248"/>
                    </a:cubicBezTo>
                    <a:cubicBezTo>
                      <a:pt x="479" y="249"/>
                      <a:pt x="479" y="249"/>
                      <a:pt x="479" y="249"/>
                    </a:cubicBezTo>
                    <a:cubicBezTo>
                      <a:pt x="477" y="251"/>
                      <a:pt x="477" y="251"/>
                      <a:pt x="477" y="251"/>
                    </a:cubicBezTo>
                    <a:cubicBezTo>
                      <a:pt x="476" y="251"/>
                      <a:pt x="476" y="251"/>
                      <a:pt x="476" y="251"/>
                    </a:cubicBezTo>
                    <a:cubicBezTo>
                      <a:pt x="474" y="254"/>
                      <a:pt x="474" y="254"/>
                      <a:pt x="474" y="254"/>
                    </a:cubicBezTo>
                    <a:cubicBezTo>
                      <a:pt x="475" y="255"/>
                      <a:pt x="475" y="255"/>
                      <a:pt x="475" y="255"/>
                    </a:cubicBezTo>
                    <a:cubicBezTo>
                      <a:pt x="476" y="255"/>
                      <a:pt x="476" y="255"/>
                      <a:pt x="476" y="255"/>
                    </a:cubicBezTo>
                    <a:cubicBezTo>
                      <a:pt x="476" y="254"/>
                      <a:pt x="476" y="254"/>
                      <a:pt x="476" y="254"/>
                    </a:cubicBezTo>
                    <a:cubicBezTo>
                      <a:pt x="479" y="253"/>
                      <a:pt x="479" y="253"/>
                      <a:pt x="479" y="253"/>
                    </a:cubicBezTo>
                    <a:cubicBezTo>
                      <a:pt x="480" y="253"/>
                      <a:pt x="480" y="253"/>
                      <a:pt x="480" y="253"/>
                    </a:cubicBezTo>
                    <a:cubicBezTo>
                      <a:pt x="483" y="254"/>
                      <a:pt x="483" y="254"/>
                      <a:pt x="483" y="254"/>
                    </a:cubicBezTo>
                    <a:cubicBezTo>
                      <a:pt x="484" y="256"/>
                      <a:pt x="484" y="256"/>
                      <a:pt x="484" y="256"/>
                    </a:cubicBezTo>
                    <a:cubicBezTo>
                      <a:pt x="483" y="257"/>
                      <a:pt x="483" y="257"/>
                      <a:pt x="483" y="257"/>
                    </a:cubicBezTo>
                    <a:cubicBezTo>
                      <a:pt x="482" y="257"/>
                      <a:pt x="482" y="257"/>
                      <a:pt x="482" y="257"/>
                    </a:cubicBezTo>
                    <a:cubicBezTo>
                      <a:pt x="483" y="258"/>
                      <a:pt x="483" y="258"/>
                      <a:pt x="483" y="258"/>
                    </a:cubicBezTo>
                    <a:cubicBezTo>
                      <a:pt x="483" y="259"/>
                      <a:pt x="483" y="259"/>
                      <a:pt x="483" y="259"/>
                    </a:cubicBezTo>
                    <a:cubicBezTo>
                      <a:pt x="483" y="261"/>
                      <a:pt x="483" y="261"/>
                      <a:pt x="483" y="261"/>
                    </a:cubicBezTo>
                    <a:cubicBezTo>
                      <a:pt x="482" y="262"/>
                      <a:pt x="482" y="262"/>
                      <a:pt x="482" y="262"/>
                    </a:cubicBezTo>
                    <a:cubicBezTo>
                      <a:pt x="482" y="264"/>
                      <a:pt x="482" y="264"/>
                      <a:pt x="482" y="264"/>
                    </a:cubicBezTo>
                    <a:cubicBezTo>
                      <a:pt x="482" y="265"/>
                      <a:pt x="482" y="265"/>
                      <a:pt x="482" y="265"/>
                    </a:cubicBezTo>
                    <a:cubicBezTo>
                      <a:pt x="483" y="263"/>
                      <a:pt x="483" y="263"/>
                      <a:pt x="483" y="263"/>
                    </a:cubicBezTo>
                    <a:cubicBezTo>
                      <a:pt x="485" y="262"/>
                      <a:pt x="485" y="262"/>
                      <a:pt x="485" y="262"/>
                    </a:cubicBezTo>
                    <a:cubicBezTo>
                      <a:pt x="486" y="261"/>
                      <a:pt x="486" y="261"/>
                      <a:pt x="486" y="261"/>
                    </a:cubicBezTo>
                    <a:cubicBezTo>
                      <a:pt x="487" y="261"/>
                      <a:pt x="487" y="261"/>
                      <a:pt x="487" y="261"/>
                    </a:cubicBezTo>
                    <a:cubicBezTo>
                      <a:pt x="486" y="263"/>
                      <a:pt x="486" y="263"/>
                      <a:pt x="486" y="263"/>
                    </a:cubicBezTo>
                    <a:cubicBezTo>
                      <a:pt x="486" y="265"/>
                      <a:pt x="486" y="265"/>
                      <a:pt x="486" y="265"/>
                    </a:cubicBezTo>
                    <a:cubicBezTo>
                      <a:pt x="485" y="268"/>
                      <a:pt x="485" y="268"/>
                      <a:pt x="485" y="268"/>
                    </a:cubicBezTo>
                    <a:cubicBezTo>
                      <a:pt x="485" y="270"/>
                      <a:pt x="485" y="270"/>
                      <a:pt x="485" y="270"/>
                    </a:cubicBezTo>
                    <a:cubicBezTo>
                      <a:pt x="482" y="272"/>
                      <a:pt x="482" y="272"/>
                      <a:pt x="482" y="272"/>
                    </a:cubicBezTo>
                    <a:cubicBezTo>
                      <a:pt x="481" y="272"/>
                      <a:pt x="481" y="272"/>
                      <a:pt x="481" y="272"/>
                    </a:cubicBezTo>
                    <a:cubicBezTo>
                      <a:pt x="480" y="273"/>
                      <a:pt x="480" y="273"/>
                      <a:pt x="480" y="273"/>
                    </a:cubicBezTo>
                    <a:cubicBezTo>
                      <a:pt x="481" y="274"/>
                      <a:pt x="481" y="274"/>
                      <a:pt x="481" y="274"/>
                    </a:cubicBezTo>
                    <a:cubicBezTo>
                      <a:pt x="480" y="277"/>
                      <a:pt x="480" y="277"/>
                      <a:pt x="480" y="277"/>
                    </a:cubicBezTo>
                    <a:cubicBezTo>
                      <a:pt x="479" y="277"/>
                      <a:pt x="479" y="277"/>
                      <a:pt x="479" y="277"/>
                    </a:cubicBezTo>
                    <a:cubicBezTo>
                      <a:pt x="478" y="276"/>
                      <a:pt x="478" y="276"/>
                      <a:pt x="478" y="276"/>
                    </a:cubicBezTo>
                    <a:cubicBezTo>
                      <a:pt x="477" y="277"/>
                      <a:pt x="477" y="277"/>
                      <a:pt x="477" y="277"/>
                    </a:cubicBezTo>
                    <a:cubicBezTo>
                      <a:pt x="477" y="278"/>
                      <a:pt x="477" y="278"/>
                      <a:pt x="477" y="278"/>
                    </a:cubicBezTo>
                    <a:cubicBezTo>
                      <a:pt x="480" y="279"/>
                      <a:pt x="480" y="279"/>
                      <a:pt x="480" y="279"/>
                    </a:cubicBezTo>
                    <a:cubicBezTo>
                      <a:pt x="479" y="280"/>
                      <a:pt x="479" y="280"/>
                      <a:pt x="479" y="280"/>
                    </a:cubicBezTo>
                    <a:cubicBezTo>
                      <a:pt x="477" y="280"/>
                      <a:pt x="477" y="280"/>
                      <a:pt x="477" y="280"/>
                    </a:cubicBezTo>
                    <a:cubicBezTo>
                      <a:pt x="478" y="282"/>
                      <a:pt x="478" y="282"/>
                      <a:pt x="478" y="282"/>
                    </a:cubicBezTo>
                    <a:cubicBezTo>
                      <a:pt x="476" y="284"/>
                      <a:pt x="476" y="284"/>
                      <a:pt x="476" y="284"/>
                    </a:cubicBezTo>
                    <a:cubicBezTo>
                      <a:pt x="475" y="283"/>
                      <a:pt x="475" y="283"/>
                      <a:pt x="475" y="283"/>
                    </a:cubicBezTo>
                    <a:cubicBezTo>
                      <a:pt x="474" y="284"/>
                      <a:pt x="474" y="284"/>
                      <a:pt x="474" y="284"/>
                    </a:cubicBezTo>
                    <a:cubicBezTo>
                      <a:pt x="472" y="284"/>
                      <a:pt x="472" y="284"/>
                      <a:pt x="472" y="284"/>
                    </a:cubicBezTo>
                    <a:cubicBezTo>
                      <a:pt x="470" y="285"/>
                      <a:pt x="470" y="285"/>
                      <a:pt x="470" y="285"/>
                    </a:cubicBezTo>
                    <a:cubicBezTo>
                      <a:pt x="470" y="287"/>
                      <a:pt x="470" y="287"/>
                      <a:pt x="470" y="287"/>
                    </a:cubicBezTo>
                    <a:cubicBezTo>
                      <a:pt x="467" y="288"/>
                      <a:pt x="467" y="288"/>
                      <a:pt x="467" y="288"/>
                    </a:cubicBezTo>
                    <a:cubicBezTo>
                      <a:pt x="465" y="286"/>
                      <a:pt x="465" y="286"/>
                      <a:pt x="465" y="286"/>
                    </a:cubicBezTo>
                    <a:cubicBezTo>
                      <a:pt x="463" y="287"/>
                      <a:pt x="463" y="287"/>
                      <a:pt x="463" y="287"/>
                    </a:cubicBezTo>
                    <a:cubicBezTo>
                      <a:pt x="462" y="287"/>
                      <a:pt x="462" y="287"/>
                      <a:pt x="462" y="287"/>
                    </a:cubicBezTo>
                    <a:cubicBezTo>
                      <a:pt x="461" y="283"/>
                      <a:pt x="461" y="283"/>
                      <a:pt x="461" y="283"/>
                    </a:cubicBezTo>
                    <a:cubicBezTo>
                      <a:pt x="463" y="280"/>
                      <a:pt x="463" y="280"/>
                      <a:pt x="463" y="280"/>
                    </a:cubicBezTo>
                    <a:cubicBezTo>
                      <a:pt x="463" y="279"/>
                      <a:pt x="463" y="279"/>
                      <a:pt x="463" y="279"/>
                    </a:cubicBezTo>
                    <a:cubicBezTo>
                      <a:pt x="460" y="282"/>
                      <a:pt x="460" y="282"/>
                      <a:pt x="460" y="282"/>
                    </a:cubicBezTo>
                    <a:cubicBezTo>
                      <a:pt x="460" y="284"/>
                      <a:pt x="460" y="284"/>
                      <a:pt x="460" y="284"/>
                    </a:cubicBezTo>
                    <a:cubicBezTo>
                      <a:pt x="461" y="288"/>
                      <a:pt x="461" y="288"/>
                      <a:pt x="461" y="288"/>
                    </a:cubicBezTo>
                    <a:cubicBezTo>
                      <a:pt x="462" y="289"/>
                      <a:pt x="462" y="289"/>
                      <a:pt x="462" y="289"/>
                    </a:cubicBezTo>
                    <a:cubicBezTo>
                      <a:pt x="461" y="290"/>
                      <a:pt x="461" y="290"/>
                      <a:pt x="461" y="290"/>
                    </a:cubicBezTo>
                    <a:cubicBezTo>
                      <a:pt x="459" y="292"/>
                      <a:pt x="459" y="292"/>
                      <a:pt x="459" y="292"/>
                    </a:cubicBezTo>
                    <a:cubicBezTo>
                      <a:pt x="458" y="294"/>
                      <a:pt x="458" y="294"/>
                      <a:pt x="458" y="294"/>
                    </a:cubicBezTo>
                    <a:cubicBezTo>
                      <a:pt x="458" y="294"/>
                      <a:pt x="456" y="295"/>
                      <a:pt x="456" y="295"/>
                    </a:cubicBezTo>
                    <a:close/>
                    <a:moveTo>
                      <a:pt x="488" y="249"/>
                    </a:moveTo>
                    <a:cubicBezTo>
                      <a:pt x="488" y="250"/>
                      <a:pt x="488" y="250"/>
                      <a:pt x="488" y="250"/>
                    </a:cubicBezTo>
                    <a:cubicBezTo>
                      <a:pt x="489" y="250"/>
                      <a:pt x="489" y="250"/>
                      <a:pt x="489" y="250"/>
                    </a:cubicBezTo>
                    <a:cubicBezTo>
                      <a:pt x="489" y="249"/>
                      <a:pt x="489" y="249"/>
                      <a:pt x="489" y="249"/>
                    </a:cubicBezTo>
                    <a:cubicBezTo>
                      <a:pt x="488" y="249"/>
                      <a:pt x="488" y="249"/>
                      <a:pt x="488" y="249"/>
                    </a:cubicBezTo>
                    <a:close/>
                    <a:moveTo>
                      <a:pt x="487" y="257"/>
                    </a:moveTo>
                    <a:cubicBezTo>
                      <a:pt x="488" y="256"/>
                      <a:pt x="488" y="256"/>
                      <a:pt x="488" y="256"/>
                    </a:cubicBezTo>
                    <a:cubicBezTo>
                      <a:pt x="489" y="254"/>
                      <a:pt x="489" y="254"/>
                      <a:pt x="489" y="254"/>
                    </a:cubicBezTo>
                    <a:cubicBezTo>
                      <a:pt x="489" y="253"/>
                      <a:pt x="489" y="253"/>
                      <a:pt x="489" y="253"/>
                    </a:cubicBezTo>
                    <a:cubicBezTo>
                      <a:pt x="489" y="252"/>
                      <a:pt x="489" y="252"/>
                      <a:pt x="489" y="252"/>
                    </a:cubicBezTo>
                    <a:cubicBezTo>
                      <a:pt x="488" y="251"/>
                      <a:pt x="488" y="251"/>
                      <a:pt x="488" y="251"/>
                    </a:cubicBezTo>
                    <a:cubicBezTo>
                      <a:pt x="487" y="251"/>
                      <a:pt x="487" y="251"/>
                      <a:pt x="487" y="251"/>
                    </a:cubicBezTo>
                    <a:cubicBezTo>
                      <a:pt x="487" y="253"/>
                      <a:pt x="487" y="253"/>
                      <a:pt x="487" y="253"/>
                    </a:cubicBezTo>
                    <a:cubicBezTo>
                      <a:pt x="486" y="253"/>
                      <a:pt x="486" y="253"/>
                      <a:pt x="486" y="253"/>
                    </a:cubicBezTo>
                    <a:cubicBezTo>
                      <a:pt x="486" y="256"/>
                      <a:pt x="486" y="256"/>
                      <a:pt x="486" y="256"/>
                    </a:cubicBezTo>
                    <a:cubicBezTo>
                      <a:pt x="487" y="257"/>
                      <a:pt x="487" y="257"/>
                      <a:pt x="487" y="257"/>
                    </a:cubicBezTo>
                    <a:close/>
                    <a:moveTo>
                      <a:pt x="486" y="261"/>
                    </a:moveTo>
                    <a:cubicBezTo>
                      <a:pt x="486" y="260"/>
                      <a:pt x="486" y="260"/>
                      <a:pt x="486" y="260"/>
                    </a:cubicBezTo>
                    <a:cubicBezTo>
                      <a:pt x="487" y="258"/>
                      <a:pt x="487" y="258"/>
                      <a:pt x="487" y="258"/>
                    </a:cubicBezTo>
                    <a:cubicBezTo>
                      <a:pt x="486" y="258"/>
                      <a:pt x="486" y="258"/>
                      <a:pt x="486" y="258"/>
                    </a:cubicBezTo>
                    <a:cubicBezTo>
                      <a:pt x="485" y="259"/>
                      <a:pt x="485" y="259"/>
                      <a:pt x="485" y="259"/>
                    </a:cubicBezTo>
                    <a:cubicBezTo>
                      <a:pt x="484" y="260"/>
                      <a:pt x="484" y="260"/>
                      <a:pt x="484" y="260"/>
                    </a:cubicBezTo>
                    <a:cubicBezTo>
                      <a:pt x="486" y="261"/>
                      <a:pt x="486" y="261"/>
                      <a:pt x="486" y="261"/>
                    </a:cubicBezTo>
                    <a:close/>
                    <a:moveTo>
                      <a:pt x="412" y="219"/>
                    </a:moveTo>
                    <a:cubicBezTo>
                      <a:pt x="412" y="220"/>
                      <a:pt x="412" y="220"/>
                      <a:pt x="412" y="220"/>
                    </a:cubicBezTo>
                    <a:cubicBezTo>
                      <a:pt x="412" y="220"/>
                      <a:pt x="412" y="220"/>
                      <a:pt x="412" y="220"/>
                    </a:cubicBezTo>
                    <a:cubicBezTo>
                      <a:pt x="413" y="220"/>
                      <a:pt x="413" y="220"/>
                      <a:pt x="413" y="220"/>
                    </a:cubicBezTo>
                    <a:cubicBezTo>
                      <a:pt x="415" y="221"/>
                      <a:pt x="415" y="221"/>
                      <a:pt x="415" y="221"/>
                    </a:cubicBezTo>
                    <a:cubicBezTo>
                      <a:pt x="415" y="220"/>
                      <a:pt x="415" y="220"/>
                      <a:pt x="415" y="220"/>
                    </a:cubicBezTo>
                    <a:cubicBezTo>
                      <a:pt x="415" y="219"/>
                      <a:pt x="415" y="219"/>
                      <a:pt x="415" y="219"/>
                    </a:cubicBezTo>
                    <a:cubicBezTo>
                      <a:pt x="412" y="218"/>
                      <a:pt x="412" y="218"/>
                      <a:pt x="412" y="218"/>
                    </a:cubicBezTo>
                    <a:cubicBezTo>
                      <a:pt x="412" y="219"/>
                      <a:pt x="412" y="219"/>
                      <a:pt x="412" y="219"/>
                    </a:cubicBezTo>
                    <a:close/>
                    <a:moveTo>
                      <a:pt x="424" y="243"/>
                    </a:moveTo>
                    <a:cubicBezTo>
                      <a:pt x="423" y="242"/>
                      <a:pt x="423" y="242"/>
                      <a:pt x="423" y="242"/>
                    </a:cubicBezTo>
                    <a:cubicBezTo>
                      <a:pt x="423" y="238"/>
                      <a:pt x="423" y="238"/>
                      <a:pt x="423" y="238"/>
                    </a:cubicBezTo>
                    <a:cubicBezTo>
                      <a:pt x="421" y="236"/>
                      <a:pt x="421" y="236"/>
                      <a:pt x="421" y="236"/>
                    </a:cubicBezTo>
                    <a:cubicBezTo>
                      <a:pt x="421" y="234"/>
                      <a:pt x="421" y="234"/>
                      <a:pt x="421" y="234"/>
                    </a:cubicBezTo>
                    <a:cubicBezTo>
                      <a:pt x="422" y="233"/>
                      <a:pt x="422" y="233"/>
                      <a:pt x="422" y="233"/>
                    </a:cubicBezTo>
                    <a:cubicBezTo>
                      <a:pt x="421" y="231"/>
                      <a:pt x="421" y="231"/>
                      <a:pt x="421" y="231"/>
                    </a:cubicBezTo>
                    <a:cubicBezTo>
                      <a:pt x="421" y="228"/>
                      <a:pt x="421" y="228"/>
                      <a:pt x="421" y="228"/>
                    </a:cubicBezTo>
                    <a:cubicBezTo>
                      <a:pt x="420" y="226"/>
                      <a:pt x="420" y="226"/>
                      <a:pt x="420" y="226"/>
                    </a:cubicBezTo>
                    <a:cubicBezTo>
                      <a:pt x="418" y="225"/>
                      <a:pt x="418" y="225"/>
                      <a:pt x="418" y="225"/>
                    </a:cubicBezTo>
                    <a:cubicBezTo>
                      <a:pt x="418" y="223"/>
                      <a:pt x="418" y="223"/>
                      <a:pt x="418" y="223"/>
                    </a:cubicBezTo>
                    <a:cubicBezTo>
                      <a:pt x="421" y="221"/>
                      <a:pt x="421" y="221"/>
                      <a:pt x="421" y="221"/>
                    </a:cubicBezTo>
                    <a:cubicBezTo>
                      <a:pt x="423" y="220"/>
                      <a:pt x="423" y="220"/>
                      <a:pt x="423" y="220"/>
                    </a:cubicBezTo>
                    <a:cubicBezTo>
                      <a:pt x="424" y="219"/>
                      <a:pt x="424" y="219"/>
                      <a:pt x="424" y="219"/>
                    </a:cubicBezTo>
                    <a:cubicBezTo>
                      <a:pt x="427" y="218"/>
                      <a:pt x="427" y="218"/>
                      <a:pt x="427" y="218"/>
                    </a:cubicBezTo>
                    <a:cubicBezTo>
                      <a:pt x="428" y="220"/>
                      <a:pt x="428" y="220"/>
                      <a:pt x="428" y="220"/>
                    </a:cubicBezTo>
                    <a:cubicBezTo>
                      <a:pt x="430" y="220"/>
                      <a:pt x="430" y="220"/>
                      <a:pt x="430" y="220"/>
                    </a:cubicBezTo>
                    <a:cubicBezTo>
                      <a:pt x="431" y="221"/>
                      <a:pt x="431" y="221"/>
                      <a:pt x="431" y="221"/>
                    </a:cubicBezTo>
                    <a:cubicBezTo>
                      <a:pt x="432" y="220"/>
                      <a:pt x="432" y="220"/>
                      <a:pt x="432" y="220"/>
                    </a:cubicBezTo>
                    <a:cubicBezTo>
                      <a:pt x="434" y="221"/>
                      <a:pt x="434" y="221"/>
                      <a:pt x="434" y="221"/>
                    </a:cubicBezTo>
                    <a:cubicBezTo>
                      <a:pt x="435" y="221"/>
                      <a:pt x="435" y="221"/>
                      <a:pt x="435" y="221"/>
                    </a:cubicBezTo>
                    <a:cubicBezTo>
                      <a:pt x="437" y="221"/>
                      <a:pt x="437" y="221"/>
                      <a:pt x="437" y="221"/>
                    </a:cubicBezTo>
                    <a:cubicBezTo>
                      <a:pt x="439" y="223"/>
                      <a:pt x="439" y="223"/>
                      <a:pt x="439" y="223"/>
                    </a:cubicBezTo>
                    <a:cubicBezTo>
                      <a:pt x="439" y="225"/>
                      <a:pt x="439" y="225"/>
                      <a:pt x="439" y="225"/>
                    </a:cubicBezTo>
                    <a:cubicBezTo>
                      <a:pt x="438" y="226"/>
                      <a:pt x="438" y="226"/>
                      <a:pt x="438" y="226"/>
                    </a:cubicBezTo>
                    <a:cubicBezTo>
                      <a:pt x="439" y="228"/>
                      <a:pt x="439" y="228"/>
                      <a:pt x="439" y="228"/>
                    </a:cubicBezTo>
                    <a:cubicBezTo>
                      <a:pt x="439" y="229"/>
                      <a:pt x="439" y="229"/>
                      <a:pt x="439" y="229"/>
                    </a:cubicBezTo>
                    <a:cubicBezTo>
                      <a:pt x="438" y="230"/>
                      <a:pt x="438" y="230"/>
                      <a:pt x="438" y="230"/>
                    </a:cubicBezTo>
                    <a:cubicBezTo>
                      <a:pt x="438" y="231"/>
                      <a:pt x="438" y="231"/>
                      <a:pt x="438" y="231"/>
                    </a:cubicBezTo>
                    <a:cubicBezTo>
                      <a:pt x="436" y="234"/>
                      <a:pt x="436" y="234"/>
                      <a:pt x="436" y="234"/>
                    </a:cubicBezTo>
                    <a:cubicBezTo>
                      <a:pt x="435" y="234"/>
                      <a:pt x="435" y="234"/>
                      <a:pt x="435" y="234"/>
                    </a:cubicBezTo>
                    <a:cubicBezTo>
                      <a:pt x="432" y="236"/>
                      <a:pt x="432" y="236"/>
                      <a:pt x="432" y="236"/>
                    </a:cubicBezTo>
                    <a:cubicBezTo>
                      <a:pt x="430" y="238"/>
                      <a:pt x="430" y="238"/>
                      <a:pt x="430" y="238"/>
                    </a:cubicBezTo>
                    <a:cubicBezTo>
                      <a:pt x="428" y="241"/>
                      <a:pt x="428" y="241"/>
                      <a:pt x="428" y="241"/>
                    </a:cubicBezTo>
                    <a:cubicBezTo>
                      <a:pt x="426" y="241"/>
                      <a:pt x="426" y="241"/>
                      <a:pt x="426" y="241"/>
                    </a:cubicBezTo>
                    <a:cubicBezTo>
                      <a:pt x="425" y="241"/>
                      <a:pt x="425" y="241"/>
                      <a:pt x="425" y="241"/>
                    </a:cubicBezTo>
                    <a:cubicBezTo>
                      <a:pt x="425" y="243"/>
                      <a:pt x="425" y="243"/>
                      <a:pt x="425" y="243"/>
                    </a:cubicBezTo>
                    <a:cubicBezTo>
                      <a:pt x="424" y="243"/>
                      <a:pt x="424" y="243"/>
                      <a:pt x="424" y="243"/>
                    </a:cubicBezTo>
                    <a:close/>
                    <a:moveTo>
                      <a:pt x="494" y="284"/>
                    </a:moveTo>
                    <a:cubicBezTo>
                      <a:pt x="491" y="281"/>
                      <a:pt x="491" y="281"/>
                      <a:pt x="491" y="281"/>
                    </a:cubicBezTo>
                    <a:cubicBezTo>
                      <a:pt x="489" y="282"/>
                      <a:pt x="489" y="282"/>
                      <a:pt x="489" y="282"/>
                    </a:cubicBezTo>
                    <a:cubicBezTo>
                      <a:pt x="486" y="282"/>
                      <a:pt x="486" y="282"/>
                      <a:pt x="486" y="282"/>
                    </a:cubicBezTo>
                    <a:cubicBezTo>
                      <a:pt x="487" y="279"/>
                      <a:pt x="487" y="279"/>
                      <a:pt x="487" y="279"/>
                    </a:cubicBezTo>
                    <a:cubicBezTo>
                      <a:pt x="489" y="279"/>
                      <a:pt x="489" y="279"/>
                      <a:pt x="489" y="279"/>
                    </a:cubicBezTo>
                    <a:cubicBezTo>
                      <a:pt x="490" y="279"/>
                      <a:pt x="490" y="279"/>
                      <a:pt x="490" y="279"/>
                    </a:cubicBezTo>
                    <a:cubicBezTo>
                      <a:pt x="491" y="279"/>
                      <a:pt x="491" y="279"/>
                      <a:pt x="491" y="279"/>
                    </a:cubicBezTo>
                    <a:cubicBezTo>
                      <a:pt x="490" y="278"/>
                      <a:pt x="490" y="278"/>
                      <a:pt x="490" y="278"/>
                    </a:cubicBezTo>
                    <a:cubicBezTo>
                      <a:pt x="489" y="278"/>
                      <a:pt x="489" y="278"/>
                      <a:pt x="489" y="278"/>
                    </a:cubicBezTo>
                    <a:cubicBezTo>
                      <a:pt x="488" y="277"/>
                      <a:pt x="488" y="277"/>
                      <a:pt x="488" y="277"/>
                    </a:cubicBezTo>
                    <a:cubicBezTo>
                      <a:pt x="490" y="274"/>
                      <a:pt x="490" y="274"/>
                      <a:pt x="490" y="274"/>
                    </a:cubicBezTo>
                    <a:cubicBezTo>
                      <a:pt x="492" y="271"/>
                      <a:pt x="492" y="271"/>
                      <a:pt x="492" y="271"/>
                    </a:cubicBezTo>
                    <a:cubicBezTo>
                      <a:pt x="491" y="269"/>
                      <a:pt x="491" y="269"/>
                      <a:pt x="491" y="269"/>
                    </a:cubicBezTo>
                    <a:cubicBezTo>
                      <a:pt x="492" y="268"/>
                      <a:pt x="492" y="268"/>
                      <a:pt x="492" y="268"/>
                    </a:cubicBezTo>
                    <a:cubicBezTo>
                      <a:pt x="492" y="267"/>
                      <a:pt x="492" y="267"/>
                      <a:pt x="492" y="267"/>
                    </a:cubicBezTo>
                    <a:cubicBezTo>
                      <a:pt x="491" y="266"/>
                      <a:pt x="491" y="266"/>
                      <a:pt x="491" y="266"/>
                    </a:cubicBezTo>
                    <a:cubicBezTo>
                      <a:pt x="492" y="264"/>
                      <a:pt x="492" y="264"/>
                      <a:pt x="492" y="264"/>
                    </a:cubicBezTo>
                    <a:cubicBezTo>
                      <a:pt x="492" y="262"/>
                      <a:pt x="492" y="262"/>
                      <a:pt x="492" y="262"/>
                    </a:cubicBezTo>
                    <a:cubicBezTo>
                      <a:pt x="494" y="258"/>
                      <a:pt x="494" y="258"/>
                      <a:pt x="494" y="258"/>
                    </a:cubicBezTo>
                    <a:cubicBezTo>
                      <a:pt x="495" y="257"/>
                      <a:pt x="495" y="257"/>
                      <a:pt x="495" y="257"/>
                    </a:cubicBezTo>
                    <a:cubicBezTo>
                      <a:pt x="495" y="256"/>
                      <a:pt x="495" y="256"/>
                      <a:pt x="495" y="256"/>
                    </a:cubicBezTo>
                    <a:cubicBezTo>
                      <a:pt x="497" y="254"/>
                      <a:pt x="497" y="254"/>
                      <a:pt x="497" y="254"/>
                    </a:cubicBezTo>
                    <a:cubicBezTo>
                      <a:pt x="498" y="252"/>
                      <a:pt x="498" y="252"/>
                      <a:pt x="498" y="252"/>
                    </a:cubicBezTo>
                    <a:cubicBezTo>
                      <a:pt x="498" y="251"/>
                      <a:pt x="498" y="251"/>
                      <a:pt x="498" y="251"/>
                    </a:cubicBezTo>
                    <a:cubicBezTo>
                      <a:pt x="498" y="249"/>
                      <a:pt x="498" y="249"/>
                      <a:pt x="498" y="249"/>
                    </a:cubicBezTo>
                    <a:cubicBezTo>
                      <a:pt x="501" y="246"/>
                      <a:pt x="501" y="246"/>
                      <a:pt x="501" y="246"/>
                    </a:cubicBezTo>
                    <a:cubicBezTo>
                      <a:pt x="501" y="243"/>
                      <a:pt x="501" y="243"/>
                      <a:pt x="501" y="243"/>
                    </a:cubicBezTo>
                    <a:cubicBezTo>
                      <a:pt x="503" y="243"/>
                      <a:pt x="503" y="243"/>
                      <a:pt x="503" y="243"/>
                    </a:cubicBezTo>
                    <a:cubicBezTo>
                      <a:pt x="503" y="242"/>
                      <a:pt x="503" y="242"/>
                      <a:pt x="503" y="242"/>
                    </a:cubicBezTo>
                    <a:cubicBezTo>
                      <a:pt x="503" y="241"/>
                      <a:pt x="503" y="241"/>
                      <a:pt x="503" y="241"/>
                    </a:cubicBezTo>
                    <a:cubicBezTo>
                      <a:pt x="504" y="239"/>
                      <a:pt x="504" y="239"/>
                      <a:pt x="504" y="239"/>
                    </a:cubicBezTo>
                    <a:cubicBezTo>
                      <a:pt x="505" y="239"/>
                      <a:pt x="505" y="239"/>
                      <a:pt x="505" y="239"/>
                    </a:cubicBezTo>
                    <a:cubicBezTo>
                      <a:pt x="507" y="241"/>
                      <a:pt x="507" y="241"/>
                      <a:pt x="507" y="241"/>
                    </a:cubicBezTo>
                    <a:cubicBezTo>
                      <a:pt x="507" y="243"/>
                      <a:pt x="507" y="243"/>
                      <a:pt x="507" y="243"/>
                    </a:cubicBezTo>
                    <a:cubicBezTo>
                      <a:pt x="509" y="243"/>
                      <a:pt x="509" y="243"/>
                      <a:pt x="509" y="243"/>
                    </a:cubicBezTo>
                    <a:cubicBezTo>
                      <a:pt x="509" y="241"/>
                      <a:pt x="509" y="241"/>
                      <a:pt x="509" y="241"/>
                    </a:cubicBezTo>
                    <a:cubicBezTo>
                      <a:pt x="508" y="240"/>
                      <a:pt x="508" y="240"/>
                      <a:pt x="508" y="240"/>
                    </a:cubicBezTo>
                    <a:cubicBezTo>
                      <a:pt x="508" y="239"/>
                      <a:pt x="508" y="239"/>
                      <a:pt x="508" y="239"/>
                    </a:cubicBezTo>
                    <a:cubicBezTo>
                      <a:pt x="509" y="238"/>
                      <a:pt x="509" y="238"/>
                      <a:pt x="509" y="238"/>
                    </a:cubicBezTo>
                    <a:cubicBezTo>
                      <a:pt x="508" y="236"/>
                      <a:pt x="508" y="236"/>
                      <a:pt x="508" y="236"/>
                    </a:cubicBezTo>
                    <a:cubicBezTo>
                      <a:pt x="509" y="234"/>
                      <a:pt x="509" y="234"/>
                      <a:pt x="509" y="234"/>
                    </a:cubicBezTo>
                    <a:cubicBezTo>
                      <a:pt x="514" y="233"/>
                      <a:pt x="514" y="233"/>
                      <a:pt x="514" y="233"/>
                    </a:cubicBezTo>
                    <a:cubicBezTo>
                      <a:pt x="516" y="233"/>
                      <a:pt x="516" y="233"/>
                      <a:pt x="516" y="233"/>
                    </a:cubicBezTo>
                    <a:cubicBezTo>
                      <a:pt x="518" y="232"/>
                      <a:pt x="518" y="232"/>
                      <a:pt x="518" y="232"/>
                    </a:cubicBezTo>
                    <a:cubicBezTo>
                      <a:pt x="519" y="233"/>
                      <a:pt x="519" y="233"/>
                      <a:pt x="519" y="233"/>
                    </a:cubicBezTo>
                    <a:cubicBezTo>
                      <a:pt x="521" y="233"/>
                      <a:pt x="521" y="233"/>
                      <a:pt x="521" y="233"/>
                    </a:cubicBezTo>
                    <a:cubicBezTo>
                      <a:pt x="521" y="234"/>
                      <a:pt x="521" y="234"/>
                      <a:pt x="521" y="234"/>
                    </a:cubicBezTo>
                    <a:cubicBezTo>
                      <a:pt x="523" y="233"/>
                      <a:pt x="523" y="233"/>
                      <a:pt x="523" y="233"/>
                    </a:cubicBezTo>
                    <a:cubicBezTo>
                      <a:pt x="525" y="233"/>
                      <a:pt x="525" y="233"/>
                      <a:pt x="525" y="233"/>
                    </a:cubicBezTo>
                    <a:cubicBezTo>
                      <a:pt x="526" y="235"/>
                      <a:pt x="526" y="235"/>
                      <a:pt x="526" y="235"/>
                    </a:cubicBezTo>
                    <a:cubicBezTo>
                      <a:pt x="528" y="236"/>
                      <a:pt x="528" y="236"/>
                      <a:pt x="528" y="236"/>
                    </a:cubicBezTo>
                    <a:cubicBezTo>
                      <a:pt x="529" y="236"/>
                      <a:pt x="529" y="236"/>
                      <a:pt x="529" y="236"/>
                    </a:cubicBezTo>
                    <a:cubicBezTo>
                      <a:pt x="529" y="236"/>
                      <a:pt x="529" y="236"/>
                      <a:pt x="529" y="236"/>
                    </a:cubicBezTo>
                    <a:cubicBezTo>
                      <a:pt x="531" y="238"/>
                      <a:pt x="531" y="238"/>
                      <a:pt x="531" y="238"/>
                    </a:cubicBezTo>
                    <a:cubicBezTo>
                      <a:pt x="530" y="240"/>
                      <a:pt x="530" y="240"/>
                      <a:pt x="530" y="240"/>
                    </a:cubicBezTo>
                    <a:cubicBezTo>
                      <a:pt x="531" y="240"/>
                      <a:pt x="531" y="240"/>
                      <a:pt x="531" y="240"/>
                    </a:cubicBezTo>
                    <a:cubicBezTo>
                      <a:pt x="532" y="240"/>
                      <a:pt x="532" y="240"/>
                      <a:pt x="532" y="240"/>
                    </a:cubicBezTo>
                    <a:cubicBezTo>
                      <a:pt x="535" y="240"/>
                      <a:pt x="535" y="240"/>
                      <a:pt x="535" y="240"/>
                    </a:cubicBezTo>
                    <a:cubicBezTo>
                      <a:pt x="540" y="241"/>
                      <a:pt x="540" y="241"/>
                      <a:pt x="540" y="241"/>
                    </a:cubicBezTo>
                    <a:cubicBezTo>
                      <a:pt x="542" y="242"/>
                      <a:pt x="542" y="242"/>
                      <a:pt x="542" y="242"/>
                    </a:cubicBezTo>
                    <a:cubicBezTo>
                      <a:pt x="542" y="244"/>
                      <a:pt x="542" y="244"/>
                      <a:pt x="542" y="244"/>
                    </a:cubicBezTo>
                    <a:cubicBezTo>
                      <a:pt x="543" y="245"/>
                      <a:pt x="543" y="245"/>
                      <a:pt x="543" y="245"/>
                    </a:cubicBezTo>
                    <a:cubicBezTo>
                      <a:pt x="544" y="246"/>
                      <a:pt x="544" y="246"/>
                      <a:pt x="544" y="246"/>
                    </a:cubicBezTo>
                    <a:cubicBezTo>
                      <a:pt x="543" y="246"/>
                      <a:pt x="543" y="246"/>
                      <a:pt x="543" y="246"/>
                    </a:cubicBezTo>
                    <a:cubicBezTo>
                      <a:pt x="542" y="246"/>
                      <a:pt x="542" y="246"/>
                      <a:pt x="542" y="246"/>
                    </a:cubicBezTo>
                    <a:cubicBezTo>
                      <a:pt x="541" y="248"/>
                      <a:pt x="541" y="248"/>
                      <a:pt x="541" y="248"/>
                    </a:cubicBezTo>
                    <a:cubicBezTo>
                      <a:pt x="539" y="251"/>
                      <a:pt x="539" y="251"/>
                      <a:pt x="539" y="251"/>
                    </a:cubicBezTo>
                    <a:cubicBezTo>
                      <a:pt x="537" y="253"/>
                      <a:pt x="537" y="253"/>
                      <a:pt x="537" y="253"/>
                    </a:cubicBezTo>
                    <a:cubicBezTo>
                      <a:pt x="535" y="253"/>
                      <a:pt x="535" y="253"/>
                      <a:pt x="535" y="253"/>
                    </a:cubicBezTo>
                    <a:cubicBezTo>
                      <a:pt x="535" y="254"/>
                      <a:pt x="535" y="254"/>
                      <a:pt x="535" y="254"/>
                    </a:cubicBezTo>
                    <a:cubicBezTo>
                      <a:pt x="531" y="257"/>
                      <a:pt x="531" y="257"/>
                      <a:pt x="531" y="257"/>
                    </a:cubicBezTo>
                    <a:cubicBezTo>
                      <a:pt x="529" y="260"/>
                      <a:pt x="529" y="260"/>
                      <a:pt x="529" y="260"/>
                    </a:cubicBezTo>
                    <a:cubicBezTo>
                      <a:pt x="527" y="260"/>
                      <a:pt x="527" y="260"/>
                      <a:pt x="527" y="260"/>
                    </a:cubicBezTo>
                    <a:cubicBezTo>
                      <a:pt x="527" y="261"/>
                      <a:pt x="527" y="261"/>
                      <a:pt x="527" y="261"/>
                    </a:cubicBezTo>
                    <a:cubicBezTo>
                      <a:pt x="528" y="262"/>
                      <a:pt x="528" y="262"/>
                      <a:pt x="528" y="262"/>
                    </a:cubicBezTo>
                    <a:cubicBezTo>
                      <a:pt x="527" y="263"/>
                      <a:pt x="527" y="263"/>
                      <a:pt x="527" y="263"/>
                    </a:cubicBezTo>
                    <a:cubicBezTo>
                      <a:pt x="524" y="265"/>
                      <a:pt x="524" y="265"/>
                      <a:pt x="524" y="265"/>
                    </a:cubicBezTo>
                    <a:cubicBezTo>
                      <a:pt x="521" y="268"/>
                      <a:pt x="521" y="268"/>
                      <a:pt x="521" y="268"/>
                    </a:cubicBezTo>
                    <a:cubicBezTo>
                      <a:pt x="518" y="270"/>
                      <a:pt x="518" y="270"/>
                      <a:pt x="518" y="270"/>
                    </a:cubicBezTo>
                    <a:cubicBezTo>
                      <a:pt x="516" y="271"/>
                      <a:pt x="516" y="271"/>
                      <a:pt x="516" y="271"/>
                    </a:cubicBezTo>
                    <a:cubicBezTo>
                      <a:pt x="514" y="271"/>
                      <a:pt x="514" y="271"/>
                      <a:pt x="514" y="271"/>
                    </a:cubicBezTo>
                    <a:cubicBezTo>
                      <a:pt x="514" y="270"/>
                      <a:pt x="514" y="270"/>
                      <a:pt x="514" y="270"/>
                    </a:cubicBezTo>
                    <a:cubicBezTo>
                      <a:pt x="513" y="270"/>
                      <a:pt x="513" y="270"/>
                      <a:pt x="513" y="270"/>
                    </a:cubicBezTo>
                    <a:cubicBezTo>
                      <a:pt x="510" y="268"/>
                      <a:pt x="510" y="268"/>
                      <a:pt x="510" y="268"/>
                    </a:cubicBezTo>
                    <a:cubicBezTo>
                      <a:pt x="510" y="266"/>
                      <a:pt x="510" y="266"/>
                      <a:pt x="510" y="266"/>
                    </a:cubicBezTo>
                    <a:cubicBezTo>
                      <a:pt x="509" y="265"/>
                      <a:pt x="509" y="265"/>
                      <a:pt x="509" y="265"/>
                    </a:cubicBezTo>
                    <a:cubicBezTo>
                      <a:pt x="507" y="266"/>
                      <a:pt x="507" y="266"/>
                      <a:pt x="507" y="266"/>
                    </a:cubicBezTo>
                    <a:cubicBezTo>
                      <a:pt x="505" y="266"/>
                      <a:pt x="505" y="266"/>
                      <a:pt x="505" y="266"/>
                    </a:cubicBezTo>
                    <a:cubicBezTo>
                      <a:pt x="504" y="266"/>
                      <a:pt x="504" y="266"/>
                      <a:pt x="504" y="266"/>
                    </a:cubicBezTo>
                    <a:cubicBezTo>
                      <a:pt x="503" y="265"/>
                      <a:pt x="503" y="265"/>
                      <a:pt x="503" y="265"/>
                    </a:cubicBezTo>
                    <a:cubicBezTo>
                      <a:pt x="501" y="265"/>
                      <a:pt x="501" y="265"/>
                      <a:pt x="501" y="265"/>
                    </a:cubicBezTo>
                    <a:cubicBezTo>
                      <a:pt x="501" y="266"/>
                      <a:pt x="501" y="266"/>
                      <a:pt x="501" y="266"/>
                    </a:cubicBezTo>
                    <a:cubicBezTo>
                      <a:pt x="502" y="267"/>
                      <a:pt x="502" y="267"/>
                      <a:pt x="502" y="267"/>
                    </a:cubicBezTo>
                    <a:cubicBezTo>
                      <a:pt x="505" y="267"/>
                      <a:pt x="505" y="267"/>
                      <a:pt x="505" y="267"/>
                    </a:cubicBezTo>
                    <a:cubicBezTo>
                      <a:pt x="505" y="269"/>
                      <a:pt x="505" y="269"/>
                      <a:pt x="505" y="269"/>
                    </a:cubicBezTo>
                    <a:cubicBezTo>
                      <a:pt x="503" y="270"/>
                      <a:pt x="503" y="270"/>
                      <a:pt x="503" y="270"/>
                    </a:cubicBezTo>
                    <a:cubicBezTo>
                      <a:pt x="504" y="271"/>
                      <a:pt x="504" y="271"/>
                      <a:pt x="504" y="271"/>
                    </a:cubicBezTo>
                    <a:cubicBezTo>
                      <a:pt x="504" y="273"/>
                      <a:pt x="504" y="273"/>
                      <a:pt x="504" y="273"/>
                    </a:cubicBezTo>
                    <a:cubicBezTo>
                      <a:pt x="503" y="275"/>
                      <a:pt x="503" y="275"/>
                      <a:pt x="503" y="275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01" y="277"/>
                      <a:pt x="501" y="277"/>
                      <a:pt x="501" y="277"/>
                    </a:cubicBezTo>
                    <a:cubicBezTo>
                      <a:pt x="499" y="277"/>
                      <a:pt x="499" y="277"/>
                      <a:pt x="499" y="277"/>
                    </a:cubicBezTo>
                    <a:cubicBezTo>
                      <a:pt x="498" y="278"/>
                      <a:pt x="498" y="278"/>
                      <a:pt x="498" y="278"/>
                    </a:cubicBezTo>
                    <a:cubicBezTo>
                      <a:pt x="497" y="280"/>
                      <a:pt x="497" y="280"/>
                      <a:pt x="497" y="280"/>
                    </a:cubicBezTo>
                    <a:cubicBezTo>
                      <a:pt x="496" y="282"/>
                      <a:pt x="496" y="282"/>
                      <a:pt x="496" y="282"/>
                    </a:cubicBezTo>
                    <a:cubicBezTo>
                      <a:pt x="494" y="281"/>
                      <a:pt x="494" y="281"/>
                      <a:pt x="494" y="281"/>
                    </a:cubicBezTo>
                    <a:cubicBezTo>
                      <a:pt x="494" y="283"/>
                      <a:pt x="494" y="283"/>
                      <a:pt x="494" y="283"/>
                    </a:cubicBezTo>
                    <a:cubicBezTo>
                      <a:pt x="494" y="283"/>
                      <a:pt x="494" y="284"/>
                      <a:pt x="494" y="284"/>
                    </a:cubicBezTo>
                    <a:close/>
                    <a:moveTo>
                      <a:pt x="613" y="292"/>
                    </a:moveTo>
                    <a:cubicBezTo>
                      <a:pt x="610" y="291"/>
                      <a:pt x="610" y="291"/>
                      <a:pt x="610" y="291"/>
                    </a:cubicBezTo>
                    <a:cubicBezTo>
                      <a:pt x="608" y="290"/>
                      <a:pt x="608" y="290"/>
                      <a:pt x="608" y="290"/>
                    </a:cubicBezTo>
                    <a:cubicBezTo>
                      <a:pt x="607" y="288"/>
                      <a:pt x="607" y="288"/>
                      <a:pt x="607" y="288"/>
                    </a:cubicBezTo>
                    <a:cubicBezTo>
                      <a:pt x="606" y="287"/>
                      <a:pt x="606" y="287"/>
                      <a:pt x="606" y="287"/>
                    </a:cubicBezTo>
                    <a:cubicBezTo>
                      <a:pt x="605" y="285"/>
                      <a:pt x="605" y="285"/>
                      <a:pt x="605" y="285"/>
                    </a:cubicBezTo>
                    <a:cubicBezTo>
                      <a:pt x="606" y="283"/>
                      <a:pt x="606" y="283"/>
                      <a:pt x="606" y="283"/>
                    </a:cubicBezTo>
                    <a:cubicBezTo>
                      <a:pt x="608" y="282"/>
                      <a:pt x="608" y="282"/>
                      <a:pt x="608" y="282"/>
                    </a:cubicBezTo>
                    <a:cubicBezTo>
                      <a:pt x="608" y="280"/>
                      <a:pt x="608" y="280"/>
                      <a:pt x="608" y="280"/>
                    </a:cubicBezTo>
                    <a:cubicBezTo>
                      <a:pt x="609" y="279"/>
                      <a:pt x="609" y="279"/>
                      <a:pt x="609" y="279"/>
                    </a:cubicBezTo>
                    <a:cubicBezTo>
                      <a:pt x="608" y="277"/>
                      <a:pt x="608" y="277"/>
                      <a:pt x="608" y="277"/>
                    </a:cubicBezTo>
                    <a:cubicBezTo>
                      <a:pt x="607" y="277"/>
                      <a:pt x="607" y="277"/>
                      <a:pt x="607" y="277"/>
                    </a:cubicBezTo>
                    <a:cubicBezTo>
                      <a:pt x="605" y="276"/>
                      <a:pt x="605" y="276"/>
                      <a:pt x="605" y="276"/>
                    </a:cubicBezTo>
                    <a:cubicBezTo>
                      <a:pt x="607" y="271"/>
                      <a:pt x="607" y="271"/>
                      <a:pt x="607" y="271"/>
                    </a:cubicBezTo>
                    <a:cubicBezTo>
                      <a:pt x="608" y="272"/>
                      <a:pt x="608" y="272"/>
                      <a:pt x="608" y="272"/>
                    </a:cubicBezTo>
                    <a:cubicBezTo>
                      <a:pt x="609" y="270"/>
                      <a:pt x="609" y="270"/>
                      <a:pt x="609" y="270"/>
                    </a:cubicBezTo>
                    <a:cubicBezTo>
                      <a:pt x="608" y="269"/>
                      <a:pt x="608" y="269"/>
                      <a:pt x="608" y="269"/>
                    </a:cubicBezTo>
                    <a:cubicBezTo>
                      <a:pt x="609" y="267"/>
                      <a:pt x="609" y="267"/>
                      <a:pt x="609" y="267"/>
                    </a:cubicBezTo>
                    <a:cubicBezTo>
                      <a:pt x="610" y="264"/>
                      <a:pt x="610" y="264"/>
                      <a:pt x="610" y="264"/>
                    </a:cubicBezTo>
                    <a:cubicBezTo>
                      <a:pt x="612" y="264"/>
                      <a:pt x="612" y="264"/>
                      <a:pt x="612" y="264"/>
                    </a:cubicBezTo>
                    <a:cubicBezTo>
                      <a:pt x="613" y="265"/>
                      <a:pt x="613" y="265"/>
                      <a:pt x="613" y="265"/>
                    </a:cubicBezTo>
                    <a:cubicBezTo>
                      <a:pt x="613" y="267"/>
                      <a:pt x="613" y="267"/>
                      <a:pt x="613" y="267"/>
                    </a:cubicBezTo>
                    <a:cubicBezTo>
                      <a:pt x="617" y="268"/>
                      <a:pt x="617" y="268"/>
                      <a:pt x="617" y="268"/>
                    </a:cubicBezTo>
                    <a:cubicBezTo>
                      <a:pt x="618" y="269"/>
                      <a:pt x="618" y="269"/>
                      <a:pt x="618" y="269"/>
                    </a:cubicBezTo>
                    <a:cubicBezTo>
                      <a:pt x="621" y="270"/>
                      <a:pt x="621" y="270"/>
                      <a:pt x="621" y="270"/>
                    </a:cubicBezTo>
                    <a:cubicBezTo>
                      <a:pt x="621" y="269"/>
                      <a:pt x="621" y="269"/>
                      <a:pt x="621" y="269"/>
                    </a:cubicBezTo>
                    <a:cubicBezTo>
                      <a:pt x="625" y="270"/>
                      <a:pt x="625" y="270"/>
                      <a:pt x="625" y="270"/>
                    </a:cubicBezTo>
                    <a:cubicBezTo>
                      <a:pt x="628" y="270"/>
                      <a:pt x="628" y="270"/>
                      <a:pt x="628" y="270"/>
                    </a:cubicBezTo>
                    <a:cubicBezTo>
                      <a:pt x="629" y="271"/>
                      <a:pt x="629" y="271"/>
                      <a:pt x="629" y="271"/>
                    </a:cubicBezTo>
                    <a:cubicBezTo>
                      <a:pt x="629" y="273"/>
                      <a:pt x="629" y="273"/>
                      <a:pt x="629" y="273"/>
                    </a:cubicBezTo>
                    <a:cubicBezTo>
                      <a:pt x="632" y="275"/>
                      <a:pt x="632" y="275"/>
                      <a:pt x="632" y="275"/>
                    </a:cubicBezTo>
                    <a:cubicBezTo>
                      <a:pt x="633" y="277"/>
                      <a:pt x="633" y="277"/>
                      <a:pt x="633" y="277"/>
                    </a:cubicBezTo>
                    <a:cubicBezTo>
                      <a:pt x="632" y="279"/>
                      <a:pt x="632" y="279"/>
                      <a:pt x="632" y="279"/>
                    </a:cubicBezTo>
                    <a:cubicBezTo>
                      <a:pt x="632" y="280"/>
                      <a:pt x="632" y="280"/>
                      <a:pt x="632" y="280"/>
                    </a:cubicBezTo>
                    <a:cubicBezTo>
                      <a:pt x="634" y="281"/>
                      <a:pt x="634" y="281"/>
                      <a:pt x="634" y="281"/>
                    </a:cubicBezTo>
                    <a:cubicBezTo>
                      <a:pt x="633" y="282"/>
                      <a:pt x="633" y="282"/>
                      <a:pt x="633" y="282"/>
                    </a:cubicBezTo>
                    <a:cubicBezTo>
                      <a:pt x="634" y="284"/>
                      <a:pt x="634" y="284"/>
                      <a:pt x="634" y="284"/>
                    </a:cubicBezTo>
                    <a:cubicBezTo>
                      <a:pt x="634" y="285"/>
                      <a:pt x="634" y="285"/>
                      <a:pt x="634" y="285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4" y="289"/>
                      <a:pt x="634" y="289"/>
                      <a:pt x="634" y="289"/>
                    </a:cubicBezTo>
                    <a:cubicBezTo>
                      <a:pt x="633" y="290"/>
                      <a:pt x="633" y="290"/>
                      <a:pt x="633" y="290"/>
                    </a:cubicBezTo>
                    <a:cubicBezTo>
                      <a:pt x="636" y="291"/>
                      <a:pt x="636" y="291"/>
                      <a:pt x="636" y="291"/>
                    </a:cubicBezTo>
                    <a:cubicBezTo>
                      <a:pt x="636" y="292"/>
                      <a:pt x="636" y="292"/>
                      <a:pt x="636" y="292"/>
                    </a:cubicBezTo>
                    <a:cubicBezTo>
                      <a:pt x="635" y="293"/>
                      <a:pt x="635" y="293"/>
                      <a:pt x="635" y="293"/>
                    </a:cubicBezTo>
                    <a:cubicBezTo>
                      <a:pt x="634" y="294"/>
                      <a:pt x="634" y="294"/>
                      <a:pt x="634" y="294"/>
                    </a:cubicBezTo>
                    <a:cubicBezTo>
                      <a:pt x="630" y="293"/>
                      <a:pt x="630" y="293"/>
                      <a:pt x="630" y="293"/>
                    </a:cubicBezTo>
                    <a:cubicBezTo>
                      <a:pt x="630" y="293"/>
                      <a:pt x="630" y="293"/>
                      <a:pt x="630" y="293"/>
                    </a:cubicBezTo>
                    <a:cubicBezTo>
                      <a:pt x="626" y="292"/>
                      <a:pt x="626" y="292"/>
                      <a:pt x="626" y="292"/>
                    </a:cubicBezTo>
                    <a:cubicBezTo>
                      <a:pt x="625" y="291"/>
                      <a:pt x="625" y="291"/>
                      <a:pt x="625" y="291"/>
                    </a:cubicBezTo>
                    <a:cubicBezTo>
                      <a:pt x="623" y="290"/>
                      <a:pt x="623" y="290"/>
                      <a:pt x="623" y="290"/>
                    </a:cubicBezTo>
                    <a:cubicBezTo>
                      <a:pt x="622" y="290"/>
                      <a:pt x="622" y="290"/>
                      <a:pt x="622" y="290"/>
                    </a:cubicBezTo>
                    <a:cubicBezTo>
                      <a:pt x="620" y="289"/>
                      <a:pt x="620" y="289"/>
                      <a:pt x="620" y="289"/>
                    </a:cubicBezTo>
                    <a:cubicBezTo>
                      <a:pt x="617" y="290"/>
                      <a:pt x="617" y="290"/>
                      <a:pt x="617" y="290"/>
                    </a:cubicBezTo>
                    <a:cubicBezTo>
                      <a:pt x="616" y="290"/>
                      <a:pt x="616" y="290"/>
                      <a:pt x="616" y="290"/>
                    </a:cubicBezTo>
                    <a:cubicBezTo>
                      <a:pt x="614" y="292"/>
                      <a:pt x="614" y="292"/>
                      <a:pt x="614" y="292"/>
                    </a:cubicBezTo>
                    <a:cubicBezTo>
                      <a:pt x="613" y="292"/>
                      <a:pt x="613" y="292"/>
                      <a:pt x="613" y="292"/>
                    </a:cubicBezTo>
                    <a:close/>
                    <a:moveTo>
                      <a:pt x="602" y="295"/>
                    </a:moveTo>
                    <a:cubicBezTo>
                      <a:pt x="601" y="293"/>
                      <a:pt x="601" y="293"/>
                      <a:pt x="601" y="293"/>
                    </a:cubicBezTo>
                    <a:cubicBezTo>
                      <a:pt x="602" y="292"/>
                      <a:pt x="602" y="292"/>
                      <a:pt x="602" y="292"/>
                    </a:cubicBezTo>
                    <a:cubicBezTo>
                      <a:pt x="603" y="293"/>
                      <a:pt x="603" y="293"/>
                      <a:pt x="603" y="293"/>
                    </a:cubicBezTo>
                    <a:cubicBezTo>
                      <a:pt x="603" y="294"/>
                      <a:pt x="603" y="294"/>
                      <a:pt x="603" y="294"/>
                    </a:cubicBezTo>
                    <a:cubicBezTo>
                      <a:pt x="602" y="295"/>
                      <a:pt x="602" y="295"/>
                      <a:pt x="602" y="295"/>
                    </a:cubicBezTo>
                    <a:close/>
                    <a:moveTo>
                      <a:pt x="605" y="297"/>
                    </a:moveTo>
                    <a:cubicBezTo>
                      <a:pt x="604" y="296"/>
                      <a:pt x="604" y="296"/>
                      <a:pt x="604" y="296"/>
                    </a:cubicBezTo>
                    <a:cubicBezTo>
                      <a:pt x="605" y="295"/>
                      <a:pt x="605" y="295"/>
                      <a:pt x="605" y="295"/>
                    </a:cubicBezTo>
                    <a:cubicBezTo>
                      <a:pt x="605" y="295"/>
                      <a:pt x="605" y="295"/>
                      <a:pt x="605" y="295"/>
                    </a:cubicBezTo>
                    <a:cubicBezTo>
                      <a:pt x="606" y="297"/>
                      <a:pt x="606" y="297"/>
                      <a:pt x="606" y="297"/>
                    </a:cubicBezTo>
                    <a:cubicBezTo>
                      <a:pt x="605" y="297"/>
                      <a:pt x="605" y="297"/>
                      <a:pt x="605" y="297"/>
                    </a:cubicBezTo>
                    <a:close/>
                    <a:moveTo>
                      <a:pt x="610" y="297"/>
                    </a:moveTo>
                    <a:cubicBezTo>
                      <a:pt x="608" y="297"/>
                      <a:pt x="608" y="297"/>
                      <a:pt x="608" y="297"/>
                    </a:cubicBezTo>
                    <a:cubicBezTo>
                      <a:pt x="608" y="296"/>
                      <a:pt x="608" y="296"/>
                      <a:pt x="608" y="296"/>
                    </a:cubicBezTo>
                    <a:cubicBezTo>
                      <a:pt x="609" y="295"/>
                      <a:pt x="609" y="295"/>
                      <a:pt x="609" y="295"/>
                    </a:cubicBezTo>
                    <a:cubicBezTo>
                      <a:pt x="610" y="297"/>
                      <a:pt x="610" y="297"/>
                      <a:pt x="610" y="297"/>
                    </a:cubicBezTo>
                    <a:cubicBezTo>
                      <a:pt x="610" y="297"/>
                      <a:pt x="610" y="297"/>
                      <a:pt x="610" y="297"/>
                    </a:cubicBezTo>
                    <a:close/>
                    <a:moveTo>
                      <a:pt x="490" y="339"/>
                    </a:moveTo>
                    <a:cubicBezTo>
                      <a:pt x="489" y="338"/>
                      <a:pt x="489" y="338"/>
                      <a:pt x="489" y="338"/>
                    </a:cubicBezTo>
                    <a:cubicBezTo>
                      <a:pt x="490" y="337"/>
                      <a:pt x="490" y="337"/>
                      <a:pt x="490" y="337"/>
                    </a:cubicBezTo>
                    <a:cubicBezTo>
                      <a:pt x="491" y="337"/>
                      <a:pt x="491" y="337"/>
                      <a:pt x="491" y="337"/>
                    </a:cubicBezTo>
                    <a:cubicBezTo>
                      <a:pt x="492" y="338"/>
                      <a:pt x="492" y="338"/>
                      <a:pt x="492" y="338"/>
                    </a:cubicBezTo>
                    <a:cubicBezTo>
                      <a:pt x="491" y="339"/>
                      <a:pt x="491" y="339"/>
                      <a:pt x="491" y="339"/>
                    </a:cubicBezTo>
                    <a:cubicBezTo>
                      <a:pt x="490" y="339"/>
                      <a:pt x="490" y="339"/>
                      <a:pt x="490" y="339"/>
                    </a:cubicBezTo>
                    <a:cubicBezTo>
                      <a:pt x="490" y="339"/>
                      <a:pt x="490" y="339"/>
                      <a:pt x="490" y="339"/>
                    </a:cubicBezTo>
                    <a:close/>
                    <a:moveTo>
                      <a:pt x="495" y="349"/>
                    </a:moveTo>
                    <a:cubicBezTo>
                      <a:pt x="495" y="351"/>
                      <a:pt x="495" y="351"/>
                      <a:pt x="495" y="351"/>
                    </a:cubicBezTo>
                    <a:cubicBezTo>
                      <a:pt x="496" y="350"/>
                      <a:pt x="496" y="350"/>
                      <a:pt x="496" y="350"/>
                    </a:cubicBezTo>
                    <a:cubicBezTo>
                      <a:pt x="497" y="350"/>
                      <a:pt x="497" y="350"/>
                      <a:pt x="497" y="350"/>
                    </a:cubicBezTo>
                    <a:cubicBezTo>
                      <a:pt x="497" y="349"/>
                      <a:pt x="497" y="349"/>
                      <a:pt x="497" y="349"/>
                    </a:cubicBezTo>
                    <a:cubicBezTo>
                      <a:pt x="496" y="348"/>
                      <a:pt x="496" y="348"/>
                      <a:pt x="496" y="348"/>
                    </a:cubicBezTo>
                    <a:cubicBezTo>
                      <a:pt x="495" y="349"/>
                      <a:pt x="495" y="349"/>
                      <a:pt x="495" y="349"/>
                    </a:cubicBezTo>
                    <a:close/>
                    <a:moveTo>
                      <a:pt x="493" y="349"/>
                    </a:moveTo>
                    <a:cubicBezTo>
                      <a:pt x="493" y="350"/>
                      <a:pt x="493" y="350"/>
                      <a:pt x="493" y="350"/>
                    </a:cubicBezTo>
                    <a:cubicBezTo>
                      <a:pt x="494" y="351"/>
                      <a:pt x="494" y="351"/>
                      <a:pt x="494" y="351"/>
                    </a:cubicBezTo>
                    <a:cubicBezTo>
                      <a:pt x="494" y="352"/>
                      <a:pt x="494" y="352"/>
                      <a:pt x="494" y="352"/>
                    </a:cubicBezTo>
                    <a:cubicBezTo>
                      <a:pt x="494" y="353"/>
                      <a:pt x="494" y="353"/>
                      <a:pt x="494" y="353"/>
                    </a:cubicBezTo>
                    <a:cubicBezTo>
                      <a:pt x="495" y="352"/>
                      <a:pt x="495" y="352"/>
                      <a:pt x="495" y="352"/>
                    </a:cubicBezTo>
                    <a:cubicBezTo>
                      <a:pt x="495" y="350"/>
                      <a:pt x="495" y="350"/>
                      <a:pt x="495" y="350"/>
                    </a:cubicBezTo>
                    <a:cubicBezTo>
                      <a:pt x="494" y="349"/>
                      <a:pt x="494" y="349"/>
                      <a:pt x="494" y="349"/>
                    </a:cubicBezTo>
                    <a:cubicBezTo>
                      <a:pt x="493" y="349"/>
                      <a:pt x="493" y="349"/>
                      <a:pt x="493" y="349"/>
                    </a:cubicBezTo>
                    <a:close/>
                    <a:moveTo>
                      <a:pt x="531" y="342"/>
                    </a:moveTo>
                    <a:cubicBezTo>
                      <a:pt x="530" y="341"/>
                      <a:pt x="530" y="341"/>
                      <a:pt x="530" y="341"/>
                    </a:cubicBezTo>
                    <a:cubicBezTo>
                      <a:pt x="529" y="341"/>
                      <a:pt x="529" y="341"/>
                      <a:pt x="529" y="341"/>
                    </a:cubicBezTo>
                    <a:cubicBezTo>
                      <a:pt x="528" y="340"/>
                      <a:pt x="528" y="340"/>
                      <a:pt x="528" y="340"/>
                    </a:cubicBezTo>
                    <a:cubicBezTo>
                      <a:pt x="527" y="341"/>
                      <a:pt x="527" y="341"/>
                      <a:pt x="527" y="341"/>
                    </a:cubicBezTo>
                    <a:cubicBezTo>
                      <a:pt x="526" y="341"/>
                      <a:pt x="526" y="341"/>
                      <a:pt x="526" y="341"/>
                    </a:cubicBezTo>
                    <a:cubicBezTo>
                      <a:pt x="526" y="339"/>
                      <a:pt x="526" y="339"/>
                      <a:pt x="526" y="339"/>
                    </a:cubicBezTo>
                    <a:cubicBezTo>
                      <a:pt x="525" y="338"/>
                      <a:pt x="525" y="338"/>
                      <a:pt x="525" y="338"/>
                    </a:cubicBezTo>
                    <a:cubicBezTo>
                      <a:pt x="527" y="338"/>
                      <a:pt x="527" y="338"/>
                      <a:pt x="527" y="338"/>
                    </a:cubicBezTo>
                    <a:cubicBezTo>
                      <a:pt x="528" y="337"/>
                      <a:pt x="528" y="337"/>
                      <a:pt x="528" y="337"/>
                    </a:cubicBezTo>
                    <a:cubicBezTo>
                      <a:pt x="529" y="337"/>
                      <a:pt x="529" y="337"/>
                      <a:pt x="529" y="337"/>
                    </a:cubicBezTo>
                    <a:cubicBezTo>
                      <a:pt x="530" y="339"/>
                      <a:pt x="530" y="339"/>
                      <a:pt x="530" y="339"/>
                    </a:cubicBezTo>
                    <a:cubicBezTo>
                      <a:pt x="532" y="339"/>
                      <a:pt x="532" y="339"/>
                      <a:pt x="532" y="339"/>
                    </a:cubicBezTo>
                    <a:cubicBezTo>
                      <a:pt x="532" y="341"/>
                      <a:pt x="532" y="341"/>
                      <a:pt x="532" y="341"/>
                    </a:cubicBezTo>
                    <a:cubicBezTo>
                      <a:pt x="532" y="342"/>
                      <a:pt x="532" y="342"/>
                      <a:pt x="532" y="342"/>
                    </a:cubicBezTo>
                    <a:cubicBezTo>
                      <a:pt x="532" y="342"/>
                      <a:pt x="531" y="342"/>
                      <a:pt x="531" y="342"/>
                    </a:cubicBezTo>
                    <a:close/>
                    <a:moveTo>
                      <a:pt x="552" y="351"/>
                    </a:moveTo>
                    <a:cubicBezTo>
                      <a:pt x="551" y="351"/>
                      <a:pt x="551" y="351"/>
                      <a:pt x="551" y="351"/>
                    </a:cubicBezTo>
                    <a:cubicBezTo>
                      <a:pt x="550" y="349"/>
                      <a:pt x="550" y="349"/>
                      <a:pt x="550" y="349"/>
                    </a:cubicBezTo>
                    <a:cubicBezTo>
                      <a:pt x="551" y="349"/>
                      <a:pt x="551" y="349"/>
                      <a:pt x="551" y="349"/>
                    </a:cubicBezTo>
                    <a:cubicBezTo>
                      <a:pt x="552" y="349"/>
                      <a:pt x="552" y="349"/>
                      <a:pt x="552" y="349"/>
                    </a:cubicBezTo>
                    <a:cubicBezTo>
                      <a:pt x="552" y="351"/>
                      <a:pt x="552" y="351"/>
                      <a:pt x="552" y="351"/>
                    </a:cubicBezTo>
                    <a:cubicBezTo>
                      <a:pt x="552" y="351"/>
                      <a:pt x="552" y="351"/>
                      <a:pt x="552" y="351"/>
                    </a:cubicBezTo>
                    <a:close/>
                    <a:moveTo>
                      <a:pt x="554" y="351"/>
                    </a:moveTo>
                    <a:cubicBezTo>
                      <a:pt x="556" y="352"/>
                      <a:pt x="556" y="352"/>
                      <a:pt x="556" y="352"/>
                    </a:cubicBezTo>
                    <a:cubicBezTo>
                      <a:pt x="555" y="351"/>
                      <a:pt x="555" y="351"/>
                      <a:pt x="555" y="351"/>
                    </a:cubicBezTo>
                    <a:cubicBezTo>
                      <a:pt x="554" y="351"/>
                      <a:pt x="554" y="351"/>
                      <a:pt x="554" y="351"/>
                    </a:cubicBezTo>
                    <a:close/>
                    <a:moveTo>
                      <a:pt x="557" y="352"/>
                    </a:moveTo>
                    <a:cubicBezTo>
                      <a:pt x="558" y="352"/>
                      <a:pt x="558" y="352"/>
                      <a:pt x="558" y="352"/>
                    </a:cubicBezTo>
                    <a:cubicBezTo>
                      <a:pt x="559" y="353"/>
                      <a:pt x="559" y="353"/>
                      <a:pt x="559" y="353"/>
                    </a:cubicBezTo>
                    <a:cubicBezTo>
                      <a:pt x="560" y="353"/>
                      <a:pt x="560" y="353"/>
                      <a:pt x="560" y="353"/>
                    </a:cubicBezTo>
                    <a:cubicBezTo>
                      <a:pt x="560" y="352"/>
                      <a:pt x="560" y="352"/>
                      <a:pt x="560" y="352"/>
                    </a:cubicBezTo>
                    <a:cubicBezTo>
                      <a:pt x="559" y="351"/>
                      <a:pt x="559" y="351"/>
                      <a:pt x="559" y="351"/>
                    </a:cubicBezTo>
                    <a:cubicBezTo>
                      <a:pt x="559" y="351"/>
                      <a:pt x="559" y="351"/>
                      <a:pt x="559" y="351"/>
                    </a:cubicBezTo>
                    <a:cubicBezTo>
                      <a:pt x="557" y="351"/>
                      <a:pt x="557" y="351"/>
                      <a:pt x="557" y="351"/>
                    </a:cubicBezTo>
                    <a:cubicBezTo>
                      <a:pt x="557" y="352"/>
                      <a:pt x="557" y="352"/>
                      <a:pt x="557" y="352"/>
                    </a:cubicBezTo>
                    <a:cubicBezTo>
                      <a:pt x="557" y="352"/>
                      <a:pt x="557" y="352"/>
                      <a:pt x="557" y="352"/>
                    </a:cubicBezTo>
                    <a:close/>
                    <a:moveTo>
                      <a:pt x="580" y="383"/>
                    </a:moveTo>
                    <a:cubicBezTo>
                      <a:pt x="580" y="382"/>
                      <a:pt x="580" y="382"/>
                      <a:pt x="580" y="382"/>
                    </a:cubicBezTo>
                    <a:cubicBezTo>
                      <a:pt x="580" y="381"/>
                      <a:pt x="580" y="381"/>
                      <a:pt x="580" y="381"/>
                    </a:cubicBezTo>
                    <a:cubicBezTo>
                      <a:pt x="580" y="379"/>
                      <a:pt x="580" y="379"/>
                      <a:pt x="580" y="379"/>
                    </a:cubicBezTo>
                    <a:cubicBezTo>
                      <a:pt x="581" y="380"/>
                      <a:pt x="581" y="380"/>
                      <a:pt x="581" y="380"/>
                    </a:cubicBezTo>
                    <a:cubicBezTo>
                      <a:pt x="582" y="381"/>
                      <a:pt x="582" y="381"/>
                      <a:pt x="582" y="381"/>
                    </a:cubicBezTo>
                    <a:cubicBezTo>
                      <a:pt x="581" y="382"/>
                      <a:pt x="581" y="382"/>
                      <a:pt x="581" y="382"/>
                    </a:cubicBezTo>
                    <a:cubicBezTo>
                      <a:pt x="581" y="383"/>
                      <a:pt x="581" y="383"/>
                      <a:pt x="581" y="383"/>
                    </a:cubicBezTo>
                    <a:cubicBezTo>
                      <a:pt x="580" y="383"/>
                      <a:pt x="580" y="383"/>
                      <a:pt x="580" y="383"/>
                    </a:cubicBezTo>
                    <a:close/>
                    <a:moveTo>
                      <a:pt x="578" y="389"/>
                    </a:moveTo>
                    <a:cubicBezTo>
                      <a:pt x="577" y="387"/>
                      <a:pt x="577" y="387"/>
                      <a:pt x="577" y="387"/>
                    </a:cubicBezTo>
                    <a:cubicBezTo>
                      <a:pt x="578" y="385"/>
                      <a:pt x="578" y="385"/>
                      <a:pt x="578" y="385"/>
                    </a:cubicBezTo>
                    <a:cubicBezTo>
                      <a:pt x="578" y="386"/>
                      <a:pt x="578" y="386"/>
                      <a:pt x="578" y="386"/>
                    </a:cubicBezTo>
                    <a:cubicBezTo>
                      <a:pt x="580" y="386"/>
                      <a:pt x="580" y="386"/>
                      <a:pt x="580" y="386"/>
                    </a:cubicBezTo>
                    <a:cubicBezTo>
                      <a:pt x="580" y="387"/>
                      <a:pt x="580" y="387"/>
                      <a:pt x="580" y="387"/>
                    </a:cubicBezTo>
                    <a:cubicBezTo>
                      <a:pt x="579" y="387"/>
                      <a:pt x="579" y="387"/>
                      <a:pt x="579" y="387"/>
                    </a:cubicBezTo>
                    <a:cubicBezTo>
                      <a:pt x="578" y="389"/>
                      <a:pt x="578" y="389"/>
                      <a:pt x="578" y="389"/>
                    </a:cubicBezTo>
                    <a:cubicBezTo>
                      <a:pt x="578" y="389"/>
                      <a:pt x="578" y="389"/>
                      <a:pt x="578" y="389"/>
                    </a:cubicBezTo>
                    <a:close/>
                    <a:moveTo>
                      <a:pt x="564" y="359"/>
                    </a:moveTo>
                    <a:cubicBezTo>
                      <a:pt x="564" y="358"/>
                      <a:pt x="564" y="358"/>
                      <a:pt x="564" y="358"/>
                    </a:cubicBezTo>
                    <a:cubicBezTo>
                      <a:pt x="565" y="359"/>
                      <a:pt x="565" y="359"/>
                      <a:pt x="565" y="359"/>
                    </a:cubicBezTo>
                    <a:cubicBezTo>
                      <a:pt x="564" y="359"/>
                      <a:pt x="564" y="359"/>
                      <a:pt x="564" y="359"/>
                    </a:cubicBezTo>
                    <a:close/>
                    <a:moveTo>
                      <a:pt x="562" y="360"/>
                    </a:moveTo>
                    <a:cubicBezTo>
                      <a:pt x="561" y="358"/>
                      <a:pt x="561" y="358"/>
                      <a:pt x="561" y="358"/>
                    </a:cubicBezTo>
                    <a:cubicBezTo>
                      <a:pt x="562" y="358"/>
                      <a:pt x="562" y="358"/>
                      <a:pt x="562" y="358"/>
                    </a:cubicBezTo>
                    <a:cubicBezTo>
                      <a:pt x="562" y="359"/>
                      <a:pt x="562" y="359"/>
                      <a:pt x="562" y="359"/>
                    </a:cubicBezTo>
                    <a:cubicBezTo>
                      <a:pt x="562" y="360"/>
                      <a:pt x="562" y="360"/>
                      <a:pt x="562" y="360"/>
                    </a:cubicBezTo>
                    <a:close/>
                    <a:moveTo>
                      <a:pt x="562" y="361"/>
                    </a:moveTo>
                    <a:cubicBezTo>
                      <a:pt x="563" y="362"/>
                      <a:pt x="563" y="362"/>
                      <a:pt x="563" y="362"/>
                    </a:cubicBezTo>
                    <a:cubicBezTo>
                      <a:pt x="564" y="362"/>
                      <a:pt x="564" y="362"/>
                      <a:pt x="564" y="362"/>
                    </a:cubicBezTo>
                    <a:cubicBezTo>
                      <a:pt x="565" y="362"/>
                      <a:pt x="565" y="362"/>
                      <a:pt x="565" y="362"/>
                    </a:cubicBezTo>
                    <a:cubicBezTo>
                      <a:pt x="565" y="361"/>
                      <a:pt x="565" y="361"/>
                      <a:pt x="565" y="361"/>
                    </a:cubicBezTo>
                    <a:cubicBezTo>
                      <a:pt x="564" y="360"/>
                      <a:pt x="564" y="360"/>
                      <a:pt x="564" y="360"/>
                    </a:cubicBezTo>
                    <a:cubicBezTo>
                      <a:pt x="563" y="360"/>
                      <a:pt x="563" y="360"/>
                      <a:pt x="563" y="360"/>
                    </a:cubicBezTo>
                    <a:cubicBezTo>
                      <a:pt x="562" y="361"/>
                      <a:pt x="562" y="361"/>
                      <a:pt x="562" y="361"/>
                    </a:cubicBezTo>
                    <a:close/>
                    <a:moveTo>
                      <a:pt x="575" y="356"/>
                    </a:moveTo>
                    <a:cubicBezTo>
                      <a:pt x="576" y="356"/>
                      <a:pt x="576" y="356"/>
                      <a:pt x="576" y="356"/>
                    </a:cubicBezTo>
                    <a:cubicBezTo>
                      <a:pt x="576" y="357"/>
                      <a:pt x="576" y="357"/>
                      <a:pt x="576" y="357"/>
                    </a:cubicBezTo>
                    <a:cubicBezTo>
                      <a:pt x="577" y="358"/>
                      <a:pt x="577" y="358"/>
                      <a:pt x="577" y="358"/>
                    </a:cubicBezTo>
                    <a:cubicBezTo>
                      <a:pt x="577" y="359"/>
                      <a:pt x="577" y="359"/>
                      <a:pt x="577" y="359"/>
                    </a:cubicBezTo>
                    <a:cubicBezTo>
                      <a:pt x="577" y="359"/>
                      <a:pt x="577" y="359"/>
                      <a:pt x="577" y="359"/>
                    </a:cubicBezTo>
                    <a:cubicBezTo>
                      <a:pt x="578" y="359"/>
                      <a:pt x="578" y="359"/>
                      <a:pt x="578" y="359"/>
                    </a:cubicBezTo>
                    <a:cubicBezTo>
                      <a:pt x="578" y="358"/>
                      <a:pt x="578" y="358"/>
                      <a:pt x="578" y="358"/>
                    </a:cubicBezTo>
                    <a:cubicBezTo>
                      <a:pt x="580" y="358"/>
                      <a:pt x="580" y="358"/>
                      <a:pt x="580" y="358"/>
                    </a:cubicBezTo>
                    <a:cubicBezTo>
                      <a:pt x="581" y="358"/>
                      <a:pt x="581" y="358"/>
                      <a:pt x="581" y="358"/>
                    </a:cubicBezTo>
                    <a:cubicBezTo>
                      <a:pt x="582" y="358"/>
                      <a:pt x="582" y="358"/>
                      <a:pt x="582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2" y="356"/>
                      <a:pt x="582" y="356"/>
                      <a:pt x="582" y="356"/>
                    </a:cubicBezTo>
                    <a:cubicBezTo>
                      <a:pt x="579" y="355"/>
                      <a:pt x="579" y="355"/>
                      <a:pt x="579" y="355"/>
                    </a:cubicBezTo>
                    <a:cubicBezTo>
                      <a:pt x="578" y="354"/>
                      <a:pt x="578" y="354"/>
                      <a:pt x="578" y="354"/>
                    </a:cubicBezTo>
                    <a:cubicBezTo>
                      <a:pt x="576" y="354"/>
                      <a:pt x="576" y="354"/>
                      <a:pt x="576" y="354"/>
                    </a:cubicBezTo>
                    <a:cubicBezTo>
                      <a:pt x="576" y="355"/>
                      <a:pt x="576" y="355"/>
                      <a:pt x="576" y="355"/>
                    </a:cubicBezTo>
                    <a:cubicBezTo>
                      <a:pt x="576" y="355"/>
                      <a:pt x="575" y="356"/>
                      <a:pt x="575" y="356"/>
                    </a:cubicBezTo>
                    <a:close/>
                    <a:moveTo>
                      <a:pt x="596" y="354"/>
                    </a:moveTo>
                    <a:cubicBezTo>
                      <a:pt x="597" y="353"/>
                      <a:pt x="597" y="353"/>
                      <a:pt x="597" y="353"/>
                    </a:cubicBezTo>
                    <a:cubicBezTo>
                      <a:pt x="598" y="353"/>
                      <a:pt x="598" y="353"/>
                      <a:pt x="598" y="353"/>
                    </a:cubicBezTo>
                    <a:cubicBezTo>
                      <a:pt x="597" y="354"/>
                      <a:pt x="597" y="354"/>
                      <a:pt x="597" y="354"/>
                    </a:cubicBezTo>
                    <a:cubicBezTo>
                      <a:pt x="596" y="354"/>
                      <a:pt x="596" y="354"/>
                      <a:pt x="596" y="354"/>
                    </a:cubicBezTo>
                    <a:close/>
                    <a:moveTo>
                      <a:pt x="589" y="363"/>
                    </a:moveTo>
                    <a:cubicBezTo>
                      <a:pt x="590" y="362"/>
                      <a:pt x="590" y="362"/>
                      <a:pt x="590" y="362"/>
                    </a:cubicBezTo>
                    <a:cubicBezTo>
                      <a:pt x="591" y="360"/>
                      <a:pt x="591" y="360"/>
                      <a:pt x="591" y="360"/>
                    </a:cubicBezTo>
                    <a:cubicBezTo>
                      <a:pt x="593" y="360"/>
                      <a:pt x="593" y="360"/>
                      <a:pt x="593" y="360"/>
                    </a:cubicBezTo>
                    <a:cubicBezTo>
                      <a:pt x="593" y="359"/>
                      <a:pt x="593" y="359"/>
                      <a:pt x="593" y="359"/>
                    </a:cubicBezTo>
                    <a:cubicBezTo>
                      <a:pt x="594" y="359"/>
                      <a:pt x="594" y="359"/>
                      <a:pt x="594" y="359"/>
                    </a:cubicBezTo>
                    <a:cubicBezTo>
                      <a:pt x="595" y="360"/>
                      <a:pt x="595" y="360"/>
                      <a:pt x="595" y="360"/>
                    </a:cubicBezTo>
                    <a:cubicBezTo>
                      <a:pt x="595" y="361"/>
                      <a:pt x="595" y="361"/>
                      <a:pt x="595" y="361"/>
                    </a:cubicBezTo>
                    <a:cubicBezTo>
                      <a:pt x="593" y="362"/>
                      <a:pt x="593" y="362"/>
                      <a:pt x="593" y="362"/>
                    </a:cubicBezTo>
                    <a:cubicBezTo>
                      <a:pt x="591" y="363"/>
                      <a:pt x="591" y="363"/>
                      <a:pt x="591" y="363"/>
                    </a:cubicBezTo>
                    <a:cubicBezTo>
                      <a:pt x="590" y="363"/>
                      <a:pt x="590" y="363"/>
                      <a:pt x="590" y="363"/>
                    </a:cubicBezTo>
                    <a:cubicBezTo>
                      <a:pt x="589" y="363"/>
                      <a:pt x="589" y="363"/>
                      <a:pt x="589" y="363"/>
                    </a:cubicBezTo>
                    <a:close/>
                    <a:moveTo>
                      <a:pt x="582" y="375"/>
                    </a:moveTo>
                    <a:cubicBezTo>
                      <a:pt x="585" y="372"/>
                      <a:pt x="585" y="372"/>
                      <a:pt x="585" y="372"/>
                    </a:cubicBezTo>
                    <a:cubicBezTo>
                      <a:pt x="586" y="371"/>
                      <a:pt x="586" y="371"/>
                      <a:pt x="586" y="371"/>
                    </a:cubicBezTo>
                    <a:cubicBezTo>
                      <a:pt x="587" y="371"/>
                      <a:pt x="587" y="371"/>
                      <a:pt x="587" y="371"/>
                    </a:cubicBezTo>
                    <a:cubicBezTo>
                      <a:pt x="589" y="369"/>
                      <a:pt x="589" y="369"/>
                      <a:pt x="589" y="369"/>
                    </a:cubicBezTo>
                    <a:cubicBezTo>
                      <a:pt x="590" y="368"/>
                      <a:pt x="590" y="368"/>
                      <a:pt x="590" y="368"/>
                    </a:cubicBezTo>
                    <a:cubicBezTo>
                      <a:pt x="590" y="366"/>
                      <a:pt x="590" y="366"/>
                      <a:pt x="590" y="366"/>
                    </a:cubicBezTo>
                    <a:cubicBezTo>
                      <a:pt x="589" y="366"/>
                      <a:pt x="589" y="366"/>
                      <a:pt x="589" y="366"/>
                    </a:cubicBezTo>
                    <a:cubicBezTo>
                      <a:pt x="588" y="366"/>
                      <a:pt x="588" y="366"/>
                      <a:pt x="588" y="366"/>
                    </a:cubicBezTo>
                    <a:cubicBezTo>
                      <a:pt x="588" y="368"/>
                      <a:pt x="588" y="368"/>
                      <a:pt x="588" y="368"/>
                    </a:cubicBezTo>
                    <a:cubicBezTo>
                      <a:pt x="587" y="368"/>
                      <a:pt x="587" y="368"/>
                      <a:pt x="587" y="368"/>
                    </a:cubicBezTo>
                    <a:cubicBezTo>
                      <a:pt x="585" y="369"/>
                      <a:pt x="585" y="369"/>
                      <a:pt x="585" y="369"/>
                    </a:cubicBezTo>
                    <a:cubicBezTo>
                      <a:pt x="583" y="370"/>
                      <a:pt x="583" y="370"/>
                      <a:pt x="583" y="370"/>
                    </a:cubicBezTo>
                    <a:cubicBezTo>
                      <a:pt x="581" y="370"/>
                      <a:pt x="581" y="370"/>
                      <a:pt x="581" y="370"/>
                    </a:cubicBezTo>
                    <a:cubicBezTo>
                      <a:pt x="580" y="371"/>
                      <a:pt x="580" y="371"/>
                      <a:pt x="580" y="371"/>
                    </a:cubicBezTo>
                    <a:cubicBezTo>
                      <a:pt x="579" y="372"/>
                      <a:pt x="579" y="372"/>
                      <a:pt x="579" y="372"/>
                    </a:cubicBezTo>
                    <a:cubicBezTo>
                      <a:pt x="577" y="373"/>
                      <a:pt x="577" y="373"/>
                      <a:pt x="577" y="373"/>
                    </a:cubicBezTo>
                    <a:cubicBezTo>
                      <a:pt x="578" y="376"/>
                      <a:pt x="578" y="376"/>
                      <a:pt x="578" y="376"/>
                    </a:cubicBezTo>
                    <a:cubicBezTo>
                      <a:pt x="579" y="375"/>
                      <a:pt x="579" y="375"/>
                      <a:pt x="579" y="375"/>
                    </a:cubicBezTo>
                    <a:cubicBezTo>
                      <a:pt x="581" y="375"/>
                      <a:pt x="581" y="375"/>
                      <a:pt x="581" y="375"/>
                    </a:cubicBezTo>
                    <a:cubicBezTo>
                      <a:pt x="582" y="375"/>
                      <a:pt x="582" y="375"/>
                      <a:pt x="582" y="375"/>
                    </a:cubicBezTo>
                    <a:close/>
                    <a:moveTo>
                      <a:pt x="597" y="374"/>
                    </a:moveTo>
                    <a:cubicBezTo>
                      <a:pt x="597" y="371"/>
                      <a:pt x="597" y="371"/>
                      <a:pt x="597" y="371"/>
                    </a:cubicBezTo>
                    <a:cubicBezTo>
                      <a:pt x="598" y="370"/>
                      <a:pt x="598" y="370"/>
                      <a:pt x="598" y="370"/>
                    </a:cubicBezTo>
                    <a:cubicBezTo>
                      <a:pt x="599" y="368"/>
                      <a:pt x="599" y="368"/>
                      <a:pt x="599" y="368"/>
                    </a:cubicBezTo>
                    <a:cubicBezTo>
                      <a:pt x="600" y="368"/>
                      <a:pt x="600" y="368"/>
                      <a:pt x="600" y="368"/>
                    </a:cubicBezTo>
                    <a:cubicBezTo>
                      <a:pt x="602" y="368"/>
                      <a:pt x="602" y="368"/>
                      <a:pt x="602" y="368"/>
                    </a:cubicBezTo>
                    <a:cubicBezTo>
                      <a:pt x="602" y="370"/>
                      <a:pt x="602" y="370"/>
                      <a:pt x="602" y="370"/>
                    </a:cubicBezTo>
                    <a:cubicBezTo>
                      <a:pt x="601" y="372"/>
                      <a:pt x="601" y="372"/>
                      <a:pt x="601" y="372"/>
                    </a:cubicBezTo>
                    <a:cubicBezTo>
                      <a:pt x="600" y="372"/>
                      <a:pt x="600" y="372"/>
                      <a:pt x="600" y="372"/>
                    </a:cubicBezTo>
                    <a:cubicBezTo>
                      <a:pt x="599" y="374"/>
                      <a:pt x="599" y="374"/>
                      <a:pt x="599" y="374"/>
                    </a:cubicBezTo>
                    <a:cubicBezTo>
                      <a:pt x="597" y="374"/>
                      <a:pt x="597" y="374"/>
                      <a:pt x="597" y="374"/>
                    </a:cubicBezTo>
                    <a:close/>
                    <a:moveTo>
                      <a:pt x="610" y="390"/>
                    </a:moveTo>
                    <a:cubicBezTo>
                      <a:pt x="610" y="387"/>
                      <a:pt x="610" y="387"/>
                      <a:pt x="610" y="387"/>
                    </a:cubicBezTo>
                    <a:cubicBezTo>
                      <a:pt x="610" y="384"/>
                      <a:pt x="610" y="384"/>
                      <a:pt x="610" y="384"/>
                    </a:cubicBezTo>
                    <a:cubicBezTo>
                      <a:pt x="609" y="383"/>
                      <a:pt x="609" y="383"/>
                      <a:pt x="609" y="383"/>
                    </a:cubicBezTo>
                    <a:cubicBezTo>
                      <a:pt x="608" y="383"/>
                      <a:pt x="608" y="383"/>
                      <a:pt x="608" y="383"/>
                    </a:cubicBezTo>
                    <a:cubicBezTo>
                      <a:pt x="608" y="385"/>
                      <a:pt x="608" y="385"/>
                      <a:pt x="608" y="385"/>
                    </a:cubicBezTo>
                    <a:cubicBezTo>
                      <a:pt x="607" y="387"/>
                      <a:pt x="607" y="387"/>
                      <a:pt x="607" y="387"/>
                    </a:cubicBezTo>
                    <a:cubicBezTo>
                      <a:pt x="607" y="388"/>
                      <a:pt x="607" y="388"/>
                      <a:pt x="607" y="388"/>
                    </a:cubicBezTo>
                    <a:cubicBezTo>
                      <a:pt x="608" y="389"/>
                      <a:pt x="608" y="389"/>
                      <a:pt x="608" y="389"/>
                    </a:cubicBezTo>
                    <a:cubicBezTo>
                      <a:pt x="608" y="391"/>
                      <a:pt x="608" y="391"/>
                      <a:pt x="608" y="391"/>
                    </a:cubicBezTo>
                    <a:cubicBezTo>
                      <a:pt x="609" y="390"/>
                      <a:pt x="609" y="390"/>
                      <a:pt x="609" y="390"/>
                    </a:cubicBezTo>
                    <a:cubicBezTo>
                      <a:pt x="610" y="390"/>
                      <a:pt x="610" y="390"/>
                      <a:pt x="610" y="390"/>
                    </a:cubicBezTo>
                    <a:close/>
                    <a:moveTo>
                      <a:pt x="611" y="388"/>
                    </a:moveTo>
                    <a:cubicBezTo>
                      <a:pt x="611" y="387"/>
                      <a:pt x="611" y="387"/>
                      <a:pt x="611" y="387"/>
                    </a:cubicBezTo>
                    <a:cubicBezTo>
                      <a:pt x="612" y="385"/>
                      <a:pt x="612" y="385"/>
                      <a:pt x="612" y="385"/>
                    </a:cubicBezTo>
                    <a:cubicBezTo>
                      <a:pt x="612" y="386"/>
                      <a:pt x="612" y="386"/>
                      <a:pt x="612" y="386"/>
                    </a:cubicBezTo>
                    <a:cubicBezTo>
                      <a:pt x="613" y="388"/>
                      <a:pt x="613" y="388"/>
                      <a:pt x="613" y="388"/>
                    </a:cubicBezTo>
                    <a:cubicBezTo>
                      <a:pt x="612" y="388"/>
                      <a:pt x="612" y="388"/>
                      <a:pt x="612" y="388"/>
                    </a:cubicBezTo>
                    <a:cubicBezTo>
                      <a:pt x="611" y="388"/>
                      <a:pt x="611" y="388"/>
                      <a:pt x="611" y="388"/>
                    </a:cubicBezTo>
                    <a:close/>
                    <a:moveTo>
                      <a:pt x="614" y="392"/>
                    </a:moveTo>
                    <a:cubicBezTo>
                      <a:pt x="613" y="391"/>
                      <a:pt x="613" y="391"/>
                      <a:pt x="613" y="391"/>
                    </a:cubicBezTo>
                    <a:cubicBezTo>
                      <a:pt x="614" y="390"/>
                      <a:pt x="614" y="390"/>
                      <a:pt x="614" y="390"/>
                    </a:cubicBezTo>
                    <a:cubicBezTo>
                      <a:pt x="615" y="390"/>
                      <a:pt x="615" y="390"/>
                      <a:pt x="615" y="390"/>
                    </a:cubicBezTo>
                    <a:cubicBezTo>
                      <a:pt x="615" y="392"/>
                      <a:pt x="615" y="392"/>
                      <a:pt x="615" y="392"/>
                    </a:cubicBezTo>
                    <a:cubicBezTo>
                      <a:pt x="614" y="392"/>
                      <a:pt x="614" y="392"/>
                      <a:pt x="614" y="392"/>
                    </a:cubicBezTo>
                    <a:close/>
                    <a:moveTo>
                      <a:pt x="608" y="396"/>
                    </a:moveTo>
                    <a:cubicBezTo>
                      <a:pt x="607" y="397"/>
                      <a:pt x="607" y="397"/>
                      <a:pt x="607" y="397"/>
                    </a:cubicBezTo>
                    <a:cubicBezTo>
                      <a:pt x="608" y="399"/>
                      <a:pt x="608" y="399"/>
                      <a:pt x="608" y="399"/>
                    </a:cubicBezTo>
                    <a:cubicBezTo>
                      <a:pt x="608" y="401"/>
                      <a:pt x="608" y="401"/>
                      <a:pt x="608" y="401"/>
                    </a:cubicBezTo>
                    <a:cubicBezTo>
                      <a:pt x="609" y="402"/>
                      <a:pt x="609" y="402"/>
                      <a:pt x="609" y="402"/>
                    </a:cubicBezTo>
                    <a:cubicBezTo>
                      <a:pt x="610" y="401"/>
                      <a:pt x="610" y="401"/>
                      <a:pt x="610" y="401"/>
                    </a:cubicBezTo>
                    <a:cubicBezTo>
                      <a:pt x="612" y="402"/>
                      <a:pt x="612" y="402"/>
                      <a:pt x="612" y="402"/>
                    </a:cubicBezTo>
                    <a:cubicBezTo>
                      <a:pt x="613" y="402"/>
                      <a:pt x="613" y="402"/>
                      <a:pt x="613" y="402"/>
                    </a:cubicBezTo>
                    <a:cubicBezTo>
                      <a:pt x="614" y="402"/>
                      <a:pt x="614" y="402"/>
                      <a:pt x="614" y="402"/>
                    </a:cubicBezTo>
                    <a:cubicBezTo>
                      <a:pt x="616" y="403"/>
                      <a:pt x="616" y="403"/>
                      <a:pt x="616" y="403"/>
                    </a:cubicBezTo>
                    <a:cubicBezTo>
                      <a:pt x="617" y="401"/>
                      <a:pt x="617" y="401"/>
                      <a:pt x="617" y="401"/>
                    </a:cubicBezTo>
                    <a:cubicBezTo>
                      <a:pt x="616" y="400"/>
                      <a:pt x="616" y="400"/>
                      <a:pt x="616" y="400"/>
                    </a:cubicBezTo>
                    <a:cubicBezTo>
                      <a:pt x="616" y="398"/>
                      <a:pt x="616" y="398"/>
                      <a:pt x="616" y="398"/>
                    </a:cubicBezTo>
                    <a:cubicBezTo>
                      <a:pt x="614" y="398"/>
                      <a:pt x="614" y="398"/>
                      <a:pt x="614" y="398"/>
                    </a:cubicBezTo>
                    <a:cubicBezTo>
                      <a:pt x="614" y="397"/>
                      <a:pt x="614" y="397"/>
                      <a:pt x="614" y="397"/>
                    </a:cubicBezTo>
                    <a:cubicBezTo>
                      <a:pt x="612" y="397"/>
                      <a:pt x="612" y="397"/>
                      <a:pt x="612" y="397"/>
                    </a:cubicBezTo>
                    <a:cubicBezTo>
                      <a:pt x="611" y="397"/>
                      <a:pt x="611" y="397"/>
                      <a:pt x="611" y="397"/>
                    </a:cubicBezTo>
                    <a:cubicBezTo>
                      <a:pt x="611" y="396"/>
                      <a:pt x="611" y="396"/>
                      <a:pt x="611" y="396"/>
                    </a:cubicBezTo>
                    <a:cubicBezTo>
                      <a:pt x="611" y="395"/>
                      <a:pt x="611" y="395"/>
                      <a:pt x="611" y="395"/>
                    </a:cubicBezTo>
                    <a:cubicBezTo>
                      <a:pt x="611" y="395"/>
                      <a:pt x="611" y="395"/>
                      <a:pt x="611" y="395"/>
                    </a:cubicBezTo>
                    <a:cubicBezTo>
                      <a:pt x="610" y="396"/>
                      <a:pt x="610" y="396"/>
                      <a:pt x="610" y="396"/>
                    </a:cubicBezTo>
                    <a:cubicBezTo>
                      <a:pt x="609" y="396"/>
                      <a:pt x="609" y="396"/>
                      <a:pt x="609" y="396"/>
                    </a:cubicBezTo>
                    <a:cubicBezTo>
                      <a:pt x="608" y="396"/>
                      <a:pt x="608" y="396"/>
                      <a:pt x="608" y="396"/>
                    </a:cubicBezTo>
                    <a:close/>
                    <a:moveTo>
                      <a:pt x="557" y="469"/>
                    </a:moveTo>
                    <a:cubicBezTo>
                      <a:pt x="559" y="469"/>
                      <a:pt x="559" y="469"/>
                      <a:pt x="559" y="469"/>
                    </a:cubicBezTo>
                    <a:cubicBezTo>
                      <a:pt x="560" y="469"/>
                      <a:pt x="560" y="469"/>
                      <a:pt x="560" y="469"/>
                    </a:cubicBezTo>
                    <a:cubicBezTo>
                      <a:pt x="559" y="468"/>
                      <a:pt x="559" y="468"/>
                      <a:pt x="559" y="468"/>
                    </a:cubicBezTo>
                    <a:cubicBezTo>
                      <a:pt x="558" y="468"/>
                      <a:pt x="558" y="468"/>
                      <a:pt x="558" y="468"/>
                    </a:cubicBezTo>
                    <a:cubicBezTo>
                      <a:pt x="557" y="469"/>
                      <a:pt x="557" y="469"/>
                      <a:pt x="557" y="469"/>
                    </a:cubicBezTo>
                    <a:close/>
                    <a:moveTo>
                      <a:pt x="529" y="421"/>
                    </a:moveTo>
                    <a:cubicBezTo>
                      <a:pt x="530" y="422"/>
                      <a:pt x="530" y="422"/>
                      <a:pt x="530" y="422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0" y="421"/>
                      <a:pt x="530" y="421"/>
                      <a:pt x="530" y="421"/>
                    </a:cubicBezTo>
                    <a:cubicBezTo>
                      <a:pt x="529" y="421"/>
                      <a:pt x="529" y="421"/>
                      <a:pt x="529" y="421"/>
                    </a:cubicBezTo>
                    <a:cubicBezTo>
                      <a:pt x="529" y="421"/>
                      <a:pt x="529" y="421"/>
                      <a:pt x="529" y="421"/>
                    </a:cubicBezTo>
                    <a:close/>
                    <a:moveTo>
                      <a:pt x="522" y="432"/>
                    </a:moveTo>
                    <a:cubicBezTo>
                      <a:pt x="522" y="431"/>
                      <a:pt x="522" y="431"/>
                      <a:pt x="522" y="431"/>
                    </a:cubicBezTo>
                    <a:cubicBezTo>
                      <a:pt x="521" y="429"/>
                      <a:pt x="521" y="429"/>
                      <a:pt x="521" y="429"/>
                    </a:cubicBezTo>
                    <a:cubicBezTo>
                      <a:pt x="519" y="428"/>
                      <a:pt x="519" y="428"/>
                      <a:pt x="519" y="428"/>
                    </a:cubicBezTo>
                    <a:cubicBezTo>
                      <a:pt x="520" y="427"/>
                      <a:pt x="520" y="427"/>
                      <a:pt x="520" y="427"/>
                    </a:cubicBezTo>
                    <a:cubicBezTo>
                      <a:pt x="519" y="425"/>
                      <a:pt x="519" y="425"/>
                      <a:pt x="519" y="425"/>
                    </a:cubicBezTo>
                    <a:cubicBezTo>
                      <a:pt x="518" y="424"/>
                      <a:pt x="518" y="424"/>
                      <a:pt x="518" y="424"/>
                    </a:cubicBezTo>
                    <a:cubicBezTo>
                      <a:pt x="518" y="422"/>
                      <a:pt x="518" y="422"/>
                      <a:pt x="518" y="422"/>
                    </a:cubicBezTo>
                    <a:cubicBezTo>
                      <a:pt x="519" y="421"/>
                      <a:pt x="519" y="421"/>
                      <a:pt x="519" y="421"/>
                    </a:cubicBezTo>
                    <a:cubicBezTo>
                      <a:pt x="519" y="423"/>
                      <a:pt x="519" y="423"/>
                      <a:pt x="519" y="423"/>
                    </a:cubicBezTo>
                    <a:cubicBezTo>
                      <a:pt x="521" y="424"/>
                      <a:pt x="521" y="424"/>
                      <a:pt x="521" y="424"/>
                    </a:cubicBezTo>
                    <a:cubicBezTo>
                      <a:pt x="521" y="425"/>
                      <a:pt x="521" y="425"/>
                      <a:pt x="521" y="425"/>
                    </a:cubicBezTo>
                    <a:cubicBezTo>
                      <a:pt x="523" y="426"/>
                      <a:pt x="523" y="426"/>
                      <a:pt x="523" y="426"/>
                    </a:cubicBezTo>
                    <a:cubicBezTo>
                      <a:pt x="523" y="429"/>
                      <a:pt x="523" y="429"/>
                      <a:pt x="523" y="429"/>
                    </a:cubicBezTo>
                    <a:cubicBezTo>
                      <a:pt x="525" y="430"/>
                      <a:pt x="525" y="430"/>
                      <a:pt x="525" y="430"/>
                    </a:cubicBezTo>
                    <a:cubicBezTo>
                      <a:pt x="526" y="430"/>
                      <a:pt x="526" y="430"/>
                      <a:pt x="526" y="430"/>
                    </a:cubicBezTo>
                    <a:cubicBezTo>
                      <a:pt x="526" y="432"/>
                      <a:pt x="526" y="432"/>
                      <a:pt x="526" y="432"/>
                    </a:cubicBezTo>
                    <a:cubicBezTo>
                      <a:pt x="524" y="432"/>
                      <a:pt x="524" y="432"/>
                      <a:pt x="524" y="432"/>
                    </a:cubicBezTo>
                    <a:cubicBezTo>
                      <a:pt x="522" y="432"/>
                      <a:pt x="522" y="432"/>
                      <a:pt x="522" y="432"/>
                    </a:cubicBezTo>
                    <a:close/>
                    <a:moveTo>
                      <a:pt x="511" y="431"/>
                    </a:moveTo>
                    <a:cubicBezTo>
                      <a:pt x="511" y="430"/>
                      <a:pt x="511" y="430"/>
                      <a:pt x="511" y="430"/>
                    </a:cubicBezTo>
                    <a:cubicBezTo>
                      <a:pt x="511" y="428"/>
                      <a:pt x="511" y="428"/>
                      <a:pt x="511" y="428"/>
                    </a:cubicBezTo>
                    <a:cubicBezTo>
                      <a:pt x="511" y="427"/>
                      <a:pt x="511" y="427"/>
                      <a:pt x="511" y="427"/>
                    </a:cubicBezTo>
                    <a:cubicBezTo>
                      <a:pt x="511" y="424"/>
                      <a:pt x="511" y="424"/>
                      <a:pt x="511" y="424"/>
                    </a:cubicBezTo>
                    <a:cubicBezTo>
                      <a:pt x="512" y="423"/>
                      <a:pt x="512" y="423"/>
                      <a:pt x="512" y="423"/>
                    </a:cubicBezTo>
                    <a:cubicBezTo>
                      <a:pt x="513" y="423"/>
                      <a:pt x="513" y="423"/>
                      <a:pt x="513" y="423"/>
                    </a:cubicBezTo>
                    <a:cubicBezTo>
                      <a:pt x="513" y="425"/>
                      <a:pt x="513" y="425"/>
                      <a:pt x="513" y="425"/>
                    </a:cubicBezTo>
                    <a:cubicBezTo>
                      <a:pt x="513" y="425"/>
                      <a:pt x="513" y="425"/>
                      <a:pt x="513" y="425"/>
                    </a:cubicBezTo>
                    <a:cubicBezTo>
                      <a:pt x="513" y="426"/>
                      <a:pt x="513" y="426"/>
                      <a:pt x="513" y="426"/>
                    </a:cubicBezTo>
                    <a:cubicBezTo>
                      <a:pt x="514" y="428"/>
                      <a:pt x="514" y="428"/>
                      <a:pt x="514" y="428"/>
                    </a:cubicBezTo>
                    <a:cubicBezTo>
                      <a:pt x="512" y="431"/>
                      <a:pt x="512" y="431"/>
                      <a:pt x="512" y="431"/>
                    </a:cubicBezTo>
                    <a:cubicBezTo>
                      <a:pt x="511" y="431"/>
                      <a:pt x="511" y="431"/>
                      <a:pt x="511" y="431"/>
                    </a:cubicBezTo>
                    <a:close/>
                    <a:moveTo>
                      <a:pt x="510" y="384"/>
                    </a:moveTo>
                    <a:cubicBezTo>
                      <a:pt x="510" y="386"/>
                      <a:pt x="510" y="386"/>
                      <a:pt x="510" y="386"/>
                    </a:cubicBezTo>
                    <a:cubicBezTo>
                      <a:pt x="511" y="387"/>
                      <a:pt x="511" y="387"/>
                      <a:pt x="511" y="387"/>
                    </a:cubicBezTo>
                    <a:cubicBezTo>
                      <a:pt x="513" y="387"/>
                      <a:pt x="513" y="387"/>
                      <a:pt x="513" y="387"/>
                    </a:cubicBezTo>
                    <a:cubicBezTo>
                      <a:pt x="514" y="385"/>
                      <a:pt x="514" y="385"/>
                      <a:pt x="514" y="385"/>
                    </a:cubicBezTo>
                    <a:cubicBezTo>
                      <a:pt x="514" y="385"/>
                      <a:pt x="514" y="385"/>
                      <a:pt x="514" y="385"/>
                    </a:cubicBezTo>
                    <a:cubicBezTo>
                      <a:pt x="512" y="384"/>
                      <a:pt x="512" y="384"/>
                      <a:pt x="512" y="384"/>
                    </a:cubicBezTo>
                    <a:cubicBezTo>
                      <a:pt x="510" y="384"/>
                      <a:pt x="510" y="384"/>
                      <a:pt x="510" y="384"/>
                    </a:cubicBezTo>
                    <a:close/>
                    <a:moveTo>
                      <a:pt x="511" y="384"/>
                    </a:moveTo>
                    <a:cubicBezTo>
                      <a:pt x="512" y="382"/>
                      <a:pt x="512" y="382"/>
                      <a:pt x="512" y="382"/>
                    </a:cubicBezTo>
                    <a:cubicBezTo>
                      <a:pt x="512" y="380"/>
                      <a:pt x="512" y="380"/>
                      <a:pt x="512" y="380"/>
                    </a:cubicBezTo>
                    <a:cubicBezTo>
                      <a:pt x="514" y="378"/>
                      <a:pt x="514" y="378"/>
                      <a:pt x="514" y="378"/>
                    </a:cubicBezTo>
                    <a:cubicBezTo>
                      <a:pt x="515" y="377"/>
                      <a:pt x="515" y="377"/>
                      <a:pt x="515" y="377"/>
                    </a:cubicBezTo>
                    <a:cubicBezTo>
                      <a:pt x="515" y="377"/>
                      <a:pt x="515" y="377"/>
                      <a:pt x="515" y="377"/>
                    </a:cubicBezTo>
                    <a:cubicBezTo>
                      <a:pt x="515" y="379"/>
                      <a:pt x="515" y="379"/>
                      <a:pt x="515" y="379"/>
                    </a:cubicBezTo>
                    <a:cubicBezTo>
                      <a:pt x="515" y="381"/>
                      <a:pt x="515" y="381"/>
                      <a:pt x="515" y="381"/>
                    </a:cubicBezTo>
                    <a:cubicBezTo>
                      <a:pt x="515" y="383"/>
                      <a:pt x="515" y="383"/>
                      <a:pt x="515" y="383"/>
                    </a:cubicBezTo>
                    <a:cubicBezTo>
                      <a:pt x="513" y="384"/>
                      <a:pt x="513" y="384"/>
                      <a:pt x="513" y="384"/>
                    </a:cubicBezTo>
                    <a:cubicBezTo>
                      <a:pt x="511" y="384"/>
                      <a:pt x="511" y="384"/>
                      <a:pt x="511" y="384"/>
                    </a:cubicBezTo>
                    <a:close/>
                    <a:moveTo>
                      <a:pt x="418" y="364"/>
                    </a:moveTo>
                    <a:cubicBezTo>
                      <a:pt x="419" y="363"/>
                      <a:pt x="419" y="363"/>
                      <a:pt x="419" y="363"/>
                    </a:cubicBezTo>
                    <a:cubicBezTo>
                      <a:pt x="419" y="362"/>
                      <a:pt x="419" y="362"/>
                      <a:pt x="419" y="362"/>
                    </a:cubicBezTo>
                    <a:cubicBezTo>
                      <a:pt x="417" y="362"/>
                      <a:pt x="417" y="362"/>
                      <a:pt x="417" y="362"/>
                    </a:cubicBezTo>
                    <a:cubicBezTo>
                      <a:pt x="417" y="363"/>
                      <a:pt x="417" y="363"/>
                      <a:pt x="417" y="363"/>
                    </a:cubicBezTo>
                    <a:cubicBezTo>
                      <a:pt x="418" y="364"/>
                      <a:pt x="418" y="364"/>
                      <a:pt x="418" y="364"/>
                    </a:cubicBezTo>
                    <a:close/>
                    <a:moveTo>
                      <a:pt x="338" y="341"/>
                    </a:moveTo>
                    <a:cubicBezTo>
                      <a:pt x="339" y="340"/>
                      <a:pt x="339" y="340"/>
                      <a:pt x="339" y="340"/>
                    </a:cubicBezTo>
                    <a:cubicBezTo>
                      <a:pt x="341" y="340"/>
                      <a:pt x="341" y="340"/>
                      <a:pt x="341" y="340"/>
                    </a:cubicBezTo>
                    <a:cubicBezTo>
                      <a:pt x="340" y="341"/>
                      <a:pt x="340" y="341"/>
                      <a:pt x="340" y="341"/>
                    </a:cubicBezTo>
                    <a:cubicBezTo>
                      <a:pt x="340" y="341"/>
                      <a:pt x="338" y="341"/>
                      <a:pt x="338" y="341"/>
                    </a:cubicBezTo>
                    <a:close/>
                    <a:moveTo>
                      <a:pt x="332" y="344"/>
                    </a:moveTo>
                    <a:cubicBezTo>
                      <a:pt x="334" y="344"/>
                      <a:pt x="334" y="344"/>
                      <a:pt x="334" y="344"/>
                    </a:cubicBezTo>
                    <a:cubicBezTo>
                      <a:pt x="334" y="343"/>
                      <a:pt x="334" y="343"/>
                      <a:pt x="334" y="343"/>
                    </a:cubicBezTo>
                    <a:cubicBezTo>
                      <a:pt x="333" y="343"/>
                      <a:pt x="333" y="343"/>
                      <a:pt x="333" y="343"/>
                    </a:cubicBezTo>
                    <a:cubicBezTo>
                      <a:pt x="332" y="344"/>
                      <a:pt x="332" y="344"/>
                      <a:pt x="332" y="344"/>
                    </a:cubicBezTo>
                    <a:close/>
                    <a:moveTo>
                      <a:pt x="335" y="351"/>
                    </a:moveTo>
                    <a:cubicBezTo>
                      <a:pt x="335" y="350"/>
                      <a:pt x="335" y="350"/>
                      <a:pt x="335" y="350"/>
                    </a:cubicBezTo>
                    <a:cubicBezTo>
                      <a:pt x="335" y="350"/>
                      <a:pt x="335" y="350"/>
                      <a:pt x="335" y="350"/>
                    </a:cubicBezTo>
                    <a:cubicBezTo>
                      <a:pt x="336" y="351"/>
                      <a:pt x="336" y="351"/>
                      <a:pt x="336" y="351"/>
                    </a:cubicBezTo>
                    <a:cubicBezTo>
                      <a:pt x="335" y="351"/>
                      <a:pt x="335" y="351"/>
                      <a:pt x="335" y="351"/>
                    </a:cubicBezTo>
                    <a:close/>
                    <a:moveTo>
                      <a:pt x="335" y="352"/>
                    </a:moveTo>
                    <a:cubicBezTo>
                      <a:pt x="334" y="350"/>
                      <a:pt x="334" y="350"/>
                      <a:pt x="334" y="350"/>
                    </a:cubicBezTo>
                    <a:cubicBezTo>
                      <a:pt x="333" y="350"/>
                      <a:pt x="333" y="350"/>
                      <a:pt x="333" y="350"/>
                    </a:cubicBezTo>
                    <a:cubicBezTo>
                      <a:pt x="334" y="351"/>
                      <a:pt x="334" y="351"/>
                      <a:pt x="334" y="351"/>
                    </a:cubicBezTo>
                    <a:cubicBezTo>
                      <a:pt x="335" y="352"/>
                      <a:pt x="335" y="352"/>
                      <a:pt x="335" y="352"/>
                    </a:cubicBezTo>
                    <a:close/>
                    <a:moveTo>
                      <a:pt x="338" y="357"/>
                    </a:moveTo>
                    <a:cubicBezTo>
                      <a:pt x="339" y="359"/>
                      <a:pt x="339" y="359"/>
                      <a:pt x="339" y="359"/>
                    </a:cubicBezTo>
                    <a:cubicBezTo>
                      <a:pt x="340" y="359"/>
                      <a:pt x="340" y="359"/>
                      <a:pt x="340" y="359"/>
                    </a:cubicBezTo>
                    <a:cubicBezTo>
                      <a:pt x="341" y="358"/>
                      <a:pt x="341" y="358"/>
                      <a:pt x="341" y="358"/>
                    </a:cubicBezTo>
                    <a:cubicBezTo>
                      <a:pt x="340" y="357"/>
                      <a:pt x="340" y="357"/>
                      <a:pt x="340" y="357"/>
                    </a:cubicBezTo>
                    <a:cubicBezTo>
                      <a:pt x="341" y="356"/>
                      <a:pt x="341" y="356"/>
                      <a:pt x="341" y="356"/>
                    </a:cubicBezTo>
                    <a:cubicBezTo>
                      <a:pt x="340" y="356"/>
                      <a:pt x="340" y="356"/>
                      <a:pt x="340" y="356"/>
                    </a:cubicBezTo>
                    <a:cubicBezTo>
                      <a:pt x="339" y="357"/>
                      <a:pt x="339" y="357"/>
                      <a:pt x="339" y="357"/>
                    </a:cubicBezTo>
                    <a:cubicBezTo>
                      <a:pt x="339" y="356"/>
                      <a:pt x="339" y="356"/>
                      <a:pt x="339" y="356"/>
                    </a:cubicBezTo>
                    <a:cubicBezTo>
                      <a:pt x="338" y="357"/>
                      <a:pt x="338" y="357"/>
                      <a:pt x="338" y="357"/>
                    </a:cubicBezTo>
                    <a:close/>
                    <a:moveTo>
                      <a:pt x="335" y="369"/>
                    </a:moveTo>
                    <a:cubicBezTo>
                      <a:pt x="335" y="365"/>
                      <a:pt x="335" y="365"/>
                      <a:pt x="335" y="365"/>
                    </a:cubicBezTo>
                    <a:cubicBezTo>
                      <a:pt x="336" y="364"/>
                      <a:pt x="336" y="364"/>
                      <a:pt x="336" y="364"/>
                    </a:cubicBezTo>
                    <a:cubicBezTo>
                      <a:pt x="336" y="363"/>
                      <a:pt x="336" y="363"/>
                      <a:pt x="336" y="363"/>
                    </a:cubicBezTo>
                    <a:cubicBezTo>
                      <a:pt x="337" y="361"/>
                      <a:pt x="337" y="361"/>
                      <a:pt x="337" y="361"/>
                    </a:cubicBezTo>
                    <a:cubicBezTo>
                      <a:pt x="338" y="362"/>
                      <a:pt x="338" y="362"/>
                      <a:pt x="338" y="362"/>
                    </a:cubicBezTo>
                    <a:cubicBezTo>
                      <a:pt x="337" y="363"/>
                      <a:pt x="337" y="363"/>
                      <a:pt x="337" y="363"/>
                    </a:cubicBezTo>
                    <a:cubicBezTo>
                      <a:pt x="338" y="364"/>
                      <a:pt x="338" y="364"/>
                      <a:pt x="338" y="364"/>
                    </a:cubicBezTo>
                    <a:cubicBezTo>
                      <a:pt x="337" y="365"/>
                      <a:pt x="337" y="365"/>
                      <a:pt x="337" y="365"/>
                    </a:cubicBezTo>
                    <a:cubicBezTo>
                      <a:pt x="338" y="366"/>
                      <a:pt x="338" y="366"/>
                      <a:pt x="338" y="366"/>
                    </a:cubicBezTo>
                    <a:cubicBezTo>
                      <a:pt x="337" y="367"/>
                      <a:pt x="337" y="367"/>
                      <a:pt x="337" y="367"/>
                    </a:cubicBezTo>
                    <a:cubicBezTo>
                      <a:pt x="336" y="368"/>
                      <a:pt x="336" y="368"/>
                      <a:pt x="336" y="368"/>
                    </a:cubicBezTo>
                    <a:cubicBezTo>
                      <a:pt x="335" y="369"/>
                      <a:pt x="335" y="369"/>
                      <a:pt x="335" y="369"/>
                    </a:cubicBezTo>
                    <a:close/>
                    <a:moveTo>
                      <a:pt x="407" y="323"/>
                    </a:moveTo>
                    <a:cubicBezTo>
                      <a:pt x="407" y="323"/>
                      <a:pt x="407" y="323"/>
                      <a:pt x="407" y="323"/>
                    </a:cubicBezTo>
                    <a:cubicBezTo>
                      <a:pt x="408" y="322"/>
                      <a:pt x="408" y="322"/>
                      <a:pt x="408" y="322"/>
                    </a:cubicBezTo>
                    <a:cubicBezTo>
                      <a:pt x="408" y="323"/>
                      <a:pt x="408" y="323"/>
                      <a:pt x="408" y="323"/>
                    </a:cubicBezTo>
                    <a:cubicBezTo>
                      <a:pt x="408" y="324"/>
                      <a:pt x="408" y="324"/>
                      <a:pt x="408" y="324"/>
                    </a:cubicBezTo>
                    <a:cubicBezTo>
                      <a:pt x="407" y="323"/>
                      <a:pt x="407" y="323"/>
                      <a:pt x="407" y="323"/>
                    </a:cubicBezTo>
                    <a:close/>
                    <a:moveTo>
                      <a:pt x="431" y="309"/>
                    </a:moveTo>
                    <a:cubicBezTo>
                      <a:pt x="431" y="306"/>
                      <a:pt x="431" y="306"/>
                      <a:pt x="431" y="306"/>
                    </a:cubicBezTo>
                    <a:cubicBezTo>
                      <a:pt x="430" y="305"/>
                      <a:pt x="430" y="305"/>
                      <a:pt x="430" y="305"/>
                    </a:cubicBezTo>
                    <a:cubicBezTo>
                      <a:pt x="431" y="303"/>
                      <a:pt x="431" y="303"/>
                      <a:pt x="431" y="303"/>
                    </a:cubicBezTo>
                    <a:cubicBezTo>
                      <a:pt x="432" y="303"/>
                      <a:pt x="432" y="303"/>
                      <a:pt x="432" y="303"/>
                    </a:cubicBezTo>
                    <a:cubicBezTo>
                      <a:pt x="432" y="303"/>
                      <a:pt x="432" y="303"/>
                      <a:pt x="432" y="303"/>
                    </a:cubicBezTo>
                    <a:cubicBezTo>
                      <a:pt x="432" y="304"/>
                      <a:pt x="432" y="304"/>
                      <a:pt x="432" y="304"/>
                    </a:cubicBezTo>
                    <a:cubicBezTo>
                      <a:pt x="433" y="305"/>
                      <a:pt x="433" y="305"/>
                      <a:pt x="433" y="305"/>
                    </a:cubicBezTo>
                    <a:cubicBezTo>
                      <a:pt x="432" y="306"/>
                      <a:pt x="432" y="306"/>
                      <a:pt x="432" y="306"/>
                    </a:cubicBezTo>
                    <a:cubicBezTo>
                      <a:pt x="432" y="308"/>
                      <a:pt x="432" y="308"/>
                      <a:pt x="432" y="308"/>
                    </a:cubicBezTo>
                    <a:cubicBezTo>
                      <a:pt x="431" y="309"/>
                      <a:pt x="431" y="309"/>
                      <a:pt x="431" y="309"/>
                    </a:cubicBezTo>
                    <a:close/>
                    <a:moveTo>
                      <a:pt x="404" y="338"/>
                    </a:moveTo>
                    <a:cubicBezTo>
                      <a:pt x="405" y="338"/>
                      <a:pt x="405" y="338"/>
                      <a:pt x="405" y="338"/>
                    </a:cubicBezTo>
                    <a:cubicBezTo>
                      <a:pt x="404" y="336"/>
                      <a:pt x="404" y="336"/>
                      <a:pt x="404" y="336"/>
                    </a:cubicBezTo>
                    <a:cubicBezTo>
                      <a:pt x="405" y="335"/>
                      <a:pt x="405" y="335"/>
                      <a:pt x="405" y="335"/>
                    </a:cubicBezTo>
                    <a:cubicBezTo>
                      <a:pt x="405" y="334"/>
                      <a:pt x="405" y="334"/>
                      <a:pt x="405" y="334"/>
                    </a:cubicBezTo>
                    <a:cubicBezTo>
                      <a:pt x="406" y="333"/>
                      <a:pt x="406" y="333"/>
                      <a:pt x="406" y="333"/>
                    </a:cubicBezTo>
                    <a:cubicBezTo>
                      <a:pt x="406" y="332"/>
                      <a:pt x="406" y="332"/>
                      <a:pt x="406" y="332"/>
                    </a:cubicBezTo>
                    <a:cubicBezTo>
                      <a:pt x="405" y="332"/>
                      <a:pt x="405" y="332"/>
                      <a:pt x="405" y="332"/>
                    </a:cubicBezTo>
                    <a:cubicBezTo>
                      <a:pt x="404" y="330"/>
                      <a:pt x="404" y="330"/>
                      <a:pt x="404" y="330"/>
                    </a:cubicBezTo>
                    <a:cubicBezTo>
                      <a:pt x="405" y="329"/>
                      <a:pt x="405" y="329"/>
                      <a:pt x="405" y="329"/>
                    </a:cubicBezTo>
                    <a:cubicBezTo>
                      <a:pt x="406" y="328"/>
                      <a:pt x="406" y="328"/>
                      <a:pt x="406" y="328"/>
                    </a:cubicBezTo>
                    <a:cubicBezTo>
                      <a:pt x="407" y="327"/>
                      <a:pt x="407" y="327"/>
                      <a:pt x="407" y="327"/>
                    </a:cubicBezTo>
                    <a:cubicBezTo>
                      <a:pt x="405" y="326"/>
                      <a:pt x="405" y="326"/>
                      <a:pt x="405" y="326"/>
                    </a:cubicBezTo>
                    <a:cubicBezTo>
                      <a:pt x="403" y="326"/>
                      <a:pt x="403" y="326"/>
                      <a:pt x="403" y="326"/>
                    </a:cubicBezTo>
                    <a:cubicBezTo>
                      <a:pt x="403" y="327"/>
                      <a:pt x="403" y="327"/>
                      <a:pt x="403" y="327"/>
                    </a:cubicBezTo>
                    <a:cubicBezTo>
                      <a:pt x="403" y="328"/>
                      <a:pt x="403" y="328"/>
                      <a:pt x="403" y="328"/>
                    </a:cubicBezTo>
                    <a:cubicBezTo>
                      <a:pt x="401" y="327"/>
                      <a:pt x="401" y="327"/>
                      <a:pt x="401" y="327"/>
                    </a:cubicBezTo>
                    <a:cubicBezTo>
                      <a:pt x="399" y="327"/>
                      <a:pt x="399" y="327"/>
                      <a:pt x="399" y="327"/>
                    </a:cubicBezTo>
                    <a:cubicBezTo>
                      <a:pt x="397" y="330"/>
                      <a:pt x="397" y="330"/>
                      <a:pt x="397" y="330"/>
                    </a:cubicBezTo>
                    <a:cubicBezTo>
                      <a:pt x="395" y="331"/>
                      <a:pt x="395" y="331"/>
                      <a:pt x="395" y="331"/>
                    </a:cubicBezTo>
                    <a:cubicBezTo>
                      <a:pt x="395" y="330"/>
                      <a:pt x="395" y="330"/>
                      <a:pt x="395" y="330"/>
                    </a:cubicBezTo>
                    <a:cubicBezTo>
                      <a:pt x="397" y="329"/>
                      <a:pt x="397" y="329"/>
                      <a:pt x="397" y="329"/>
                    </a:cubicBezTo>
                    <a:cubicBezTo>
                      <a:pt x="398" y="327"/>
                      <a:pt x="398" y="327"/>
                      <a:pt x="398" y="327"/>
                    </a:cubicBezTo>
                    <a:cubicBezTo>
                      <a:pt x="398" y="325"/>
                      <a:pt x="398" y="325"/>
                      <a:pt x="398" y="325"/>
                    </a:cubicBezTo>
                    <a:cubicBezTo>
                      <a:pt x="397" y="326"/>
                      <a:pt x="397" y="326"/>
                      <a:pt x="397" y="326"/>
                    </a:cubicBezTo>
                    <a:cubicBezTo>
                      <a:pt x="396" y="326"/>
                      <a:pt x="396" y="326"/>
                      <a:pt x="396" y="326"/>
                    </a:cubicBezTo>
                    <a:cubicBezTo>
                      <a:pt x="396" y="324"/>
                      <a:pt x="396" y="324"/>
                      <a:pt x="396" y="324"/>
                    </a:cubicBezTo>
                    <a:cubicBezTo>
                      <a:pt x="398" y="323"/>
                      <a:pt x="398" y="323"/>
                      <a:pt x="398" y="323"/>
                    </a:cubicBezTo>
                    <a:cubicBezTo>
                      <a:pt x="397" y="321"/>
                      <a:pt x="397" y="321"/>
                      <a:pt x="397" y="321"/>
                    </a:cubicBezTo>
                    <a:cubicBezTo>
                      <a:pt x="398" y="319"/>
                      <a:pt x="398" y="319"/>
                      <a:pt x="398" y="319"/>
                    </a:cubicBezTo>
                    <a:cubicBezTo>
                      <a:pt x="399" y="319"/>
                      <a:pt x="399" y="319"/>
                      <a:pt x="399" y="319"/>
                    </a:cubicBezTo>
                    <a:cubicBezTo>
                      <a:pt x="399" y="320"/>
                      <a:pt x="399" y="320"/>
                      <a:pt x="399" y="320"/>
                    </a:cubicBezTo>
                    <a:cubicBezTo>
                      <a:pt x="400" y="323"/>
                      <a:pt x="400" y="323"/>
                      <a:pt x="400" y="323"/>
                    </a:cubicBezTo>
                    <a:cubicBezTo>
                      <a:pt x="401" y="324"/>
                      <a:pt x="401" y="324"/>
                      <a:pt x="401" y="324"/>
                    </a:cubicBezTo>
                    <a:cubicBezTo>
                      <a:pt x="402" y="324"/>
                      <a:pt x="402" y="324"/>
                      <a:pt x="402" y="324"/>
                    </a:cubicBezTo>
                    <a:cubicBezTo>
                      <a:pt x="404" y="324"/>
                      <a:pt x="404" y="324"/>
                      <a:pt x="404" y="324"/>
                    </a:cubicBezTo>
                    <a:cubicBezTo>
                      <a:pt x="405" y="322"/>
                      <a:pt x="405" y="322"/>
                      <a:pt x="405" y="322"/>
                    </a:cubicBezTo>
                    <a:cubicBezTo>
                      <a:pt x="404" y="321"/>
                      <a:pt x="404" y="321"/>
                      <a:pt x="404" y="321"/>
                    </a:cubicBezTo>
                    <a:cubicBezTo>
                      <a:pt x="404" y="320"/>
                      <a:pt x="404" y="320"/>
                      <a:pt x="404" y="320"/>
                    </a:cubicBezTo>
                    <a:cubicBezTo>
                      <a:pt x="405" y="320"/>
                      <a:pt x="405" y="320"/>
                      <a:pt x="405" y="320"/>
                    </a:cubicBezTo>
                    <a:cubicBezTo>
                      <a:pt x="406" y="321"/>
                      <a:pt x="406" y="321"/>
                      <a:pt x="406" y="321"/>
                    </a:cubicBezTo>
                    <a:cubicBezTo>
                      <a:pt x="407" y="320"/>
                      <a:pt x="407" y="320"/>
                      <a:pt x="407" y="320"/>
                    </a:cubicBezTo>
                    <a:cubicBezTo>
                      <a:pt x="408" y="319"/>
                      <a:pt x="408" y="319"/>
                      <a:pt x="408" y="319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09" y="319"/>
                      <a:pt x="409" y="319"/>
                      <a:pt x="409" y="319"/>
                    </a:cubicBezTo>
                    <a:cubicBezTo>
                      <a:pt x="410" y="319"/>
                      <a:pt x="410" y="319"/>
                      <a:pt x="410" y="319"/>
                    </a:cubicBezTo>
                    <a:cubicBezTo>
                      <a:pt x="412" y="317"/>
                      <a:pt x="412" y="317"/>
                      <a:pt x="412" y="317"/>
                    </a:cubicBezTo>
                    <a:cubicBezTo>
                      <a:pt x="410" y="320"/>
                      <a:pt x="410" y="320"/>
                      <a:pt x="410" y="320"/>
                    </a:cubicBezTo>
                    <a:cubicBezTo>
                      <a:pt x="410" y="323"/>
                      <a:pt x="410" y="323"/>
                      <a:pt x="410" y="323"/>
                    </a:cubicBezTo>
                    <a:cubicBezTo>
                      <a:pt x="411" y="322"/>
                      <a:pt x="411" y="322"/>
                      <a:pt x="411" y="322"/>
                    </a:cubicBezTo>
                    <a:cubicBezTo>
                      <a:pt x="412" y="323"/>
                      <a:pt x="412" y="323"/>
                      <a:pt x="412" y="323"/>
                    </a:cubicBezTo>
                    <a:cubicBezTo>
                      <a:pt x="411" y="324"/>
                      <a:pt x="411" y="324"/>
                      <a:pt x="411" y="324"/>
                    </a:cubicBezTo>
                    <a:cubicBezTo>
                      <a:pt x="412" y="324"/>
                      <a:pt x="412" y="324"/>
                      <a:pt x="412" y="324"/>
                    </a:cubicBezTo>
                    <a:cubicBezTo>
                      <a:pt x="413" y="322"/>
                      <a:pt x="413" y="322"/>
                      <a:pt x="413" y="322"/>
                    </a:cubicBezTo>
                    <a:cubicBezTo>
                      <a:pt x="414" y="321"/>
                      <a:pt x="414" y="321"/>
                      <a:pt x="414" y="321"/>
                    </a:cubicBezTo>
                    <a:cubicBezTo>
                      <a:pt x="416" y="319"/>
                      <a:pt x="416" y="319"/>
                      <a:pt x="416" y="319"/>
                    </a:cubicBezTo>
                    <a:cubicBezTo>
                      <a:pt x="417" y="318"/>
                      <a:pt x="417" y="318"/>
                      <a:pt x="417" y="318"/>
                    </a:cubicBezTo>
                    <a:cubicBezTo>
                      <a:pt x="416" y="320"/>
                      <a:pt x="416" y="320"/>
                      <a:pt x="416" y="320"/>
                    </a:cubicBezTo>
                    <a:cubicBezTo>
                      <a:pt x="415" y="322"/>
                      <a:pt x="415" y="322"/>
                      <a:pt x="415" y="322"/>
                    </a:cubicBezTo>
                    <a:cubicBezTo>
                      <a:pt x="415" y="325"/>
                      <a:pt x="415" y="325"/>
                      <a:pt x="415" y="325"/>
                    </a:cubicBezTo>
                    <a:cubicBezTo>
                      <a:pt x="417" y="325"/>
                      <a:pt x="417" y="325"/>
                      <a:pt x="417" y="325"/>
                    </a:cubicBezTo>
                    <a:cubicBezTo>
                      <a:pt x="418" y="326"/>
                      <a:pt x="418" y="326"/>
                      <a:pt x="418" y="326"/>
                    </a:cubicBezTo>
                    <a:cubicBezTo>
                      <a:pt x="419" y="325"/>
                      <a:pt x="419" y="325"/>
                      <a:pt x="419" y="325"/>
                    </a:cubicBezTo>
                    <a:cubicBezTo>
                      <a:pt x="421" y="323"/>
                      <a:pt x="421" y="323"/>
                      <a:pt x="421" y="323"/>
                    </a:cubicBezTo>
                    <a:cubicBezTo>
                      <a:pt x="421" y="320"/>
                      <a:pt x="421" y="320"/>
                      <a:pt x="421" y="320"/>
                    </a:cubicBezTo>
                    <a:cubicBezTo>
                      <a:pt x="422" y="318"/>
                      <a:pt x="422" y="318"/>
                      <a:pt x="422" y="318"/>
                    </a:cubicBezTo>
                    <a:cubicBezTo>
                      <a:pt x="422" y="316"/>
                      <a:pt x="422" y="316"/>
                      <a:pt x="422" y="316"/>
                    </a:cubicBezTo>
                    <a:cubicBezTo>
                      <a:pt x="423" y="315"/>
                      <a:pt x="423" y="315"/>
                      <a:pt x="423" y="315"/>
                    </a:cubicBezTo>
                    <a:cubicBezTo>
                      <a:pt x="422" y="314"/>
                      <a:pt x="422" y="314"/>
                      <a:pt x="422" y="314"/>
                    </a:cubicBezTo>
                    <a:cubicBezTo>
                      <a:pt x="421" y="314"/>
                      <a:pt x="421" y="314"/>
                      <a:pt x="421" y="314"/>
                    </a:cubicBezTo>
                    <a:cubicBezTo>
                      <a:pt x="420" y="313"/>
                      <a:pt x="420" y="313"/>
                      <a:pt x="420" y="313"/>
                    </a:cubicBezTo>
                    <a:cubicBezTo>
                      <a:pt x="419" y="314"/>
                      <a:pt x="419" y="314"/>
                      <a:pt x="419" y="314"/>
                    </a:cubicBezTo>
                    <a:cubicBezTo>
                      <a:pt x="419" y="312"/>
                      <a:pt x="419" y="312"/>
                      <a:pt x="419" y="312"/>
                    </a:cubicBezTo>
                    <a:cubicBezTo>
                      <a:pt x="420" y="312"/>
                      <a:pt x="420" y="312"/>
                      <a:pt x="420" y="312"/>
                    </a:cubicBezTo>
                    <a:cubicBezTo>
                      <a:pt x="419" y="311"/>
                      <a:pt x="419" y="311"/>
                      <a:pt x="419" y="311"/>
                    </a:cubicBezTo>
                    <a:cubicBezTo>
                      <a:pt x="417" y="311"/>
                      <a:pt x="417" y="311"/>
                      <a:pt x="417" y="311"/>
                    </a:cubicBezTo>
                    <a:cubicBezTo>
                      <a:pt x="417" y="310"/>
                      <a:pt x="417" y="310"/>
                      <a:pt x="417" y="310"/>
                    </a:cubicBezTo>
                    <a:cubicBezTo>
                      <a:pt x="415" y="308"/>
                      <a:pt x="415" y="308"/>
                      <a:pt x="415" y="308"/>
                    </a:cubicBezTo>
                    <a:cubicBezTo>
                      <a:pt x="415" y="307"/>
                      <a:pt x="415" y="307"/>
                      <a:pt x="415" y="307"/>
                    </a:cubicBezTo>
                    <a:cubicBezTo>
                      <a:pt x="414" y="304"/>
                      <a:pt x="414" y="304"/>
                      <a:pt x="414" y="304"/>
                    </a:cubicBezTo>
                    <a:cubicBezTo>
                      <a:pt x="414" y="302"/>
                      <a:pt x="414" y="302"/>
                      <a:pt x="414" y="302"/>
                    </a:cubicBezTo>
                    <a:cubicBezTo>
                      <a:pt x="415" y="299"/>
                      <a:pt x="415" y="299"/>
                      <a:pt x="415" y="299"/>
                    </a:cubicBezTo>
                    <a:cubicBezTo>
                      <a:pt x="414" y="297"/>
                      <a:pt x="414" y="297"/>
                      <a:pt x="414" y="297"/>
                    </a:cubicBezTo>
                    <a:cubicBezTo>
                      <a:pt x="413" y="299"/>
                      <a:pt x="413" y="299"/>
                      <a:pt x="413" y="299"/>
                    </a:cubicBezTo>
                    <a:cubicBezTo>
                      <a:pt x="413" y="301"/>
                      <a:pt x="413" y="301"/>
                      <a:pt x="413" y="301"/>
                    </a:cubicBezTo>
                    <a:cubicBezTo>
                      <a:pt x="411" y="299"/>
                      <a:pt x="411" y="299"/>
                      <a:pt x="411" y="299"/>
                    </a:cubicBezTo>
                    <a:cubicBezTo>
                      <a:pt x="409" y="298"/>
                      <a:pt x="409" y="298"/>
                      <a:pt x="409" y="298"/>
                    </a:cubicBezTo>
                    <a:cubicBezTo>
                      <a:pt x="409" y="293"/>
                      <a:pt x="409" y="293"/>
                      <a:pt x="409" y="293"/>
                    </a:cubicBezTo>
                    <a:cubicBezTo>
                      <a:pt x="408" y="293"/>
                      <a:pt x="408" y="293"/>
                      <a:pt x="408" y="293"/>
                    </a:cubicBezTo>
                    <a:cubicBezTo>
                      <a:pt x="407" y="290"/>
                      <a:pt x="407" y="290"/>
                      <a:pt x="407" y="290"/>
                    </a:cubicBezTo>
                    <a:cubicBezTo>
                      <a:pt x="406" y="288"/>
                      <a:pt x="406" y="288"/>
                      <a:pt x="406" y="288"/>
                    </a:cubicBezTo>
                    <a:cubicBezTo>
                      <a:pt x="406" y="286"/>
                      <a:pt x="406" y="286"/>
                      <a:pt x="406" y="286"/>
                    </a:cubicBezTo>
                    <a:cubicBezTo>
                      <a:pt x="405" y="285"/>
                      <a:pt x="405" y="285"/>
                      <a:pt x="405" y="285"/>
                    </a:cubicBezTo>
                    <a:cubicBezTo>
                      <a:pt x="405" y="283"/>
                      <a:pt x="405" y="283"/>
                      <a:pt x="405" y="283"/>
                    </a:cubicBezTo>
                    <a:cubicBezTo>
                      <a:pt x="407" y="283"/>
                      <a:pt x="407" y="283"/>
                      <a:pt x="407" y="283"/>
                    </a:cubicBezTo>
                    <a:cubicBezTo>
                      <a:pt x="408" y="281"/>
                      <a:pt x="408" y="281"/>
                      <a:pt x="408" y="281"/>
                    </a:cubicBezTo>
                    <a:cubicBezTo>
                      <a:pt x="409" y="281"/>
                      <a:pt x="409" y="281"/>
                      <a:pt x="409" y="281"/>
                    </a:cubicBezTo>
                    <a:cubicBezTo>
                      <a:pt x="409" y="281"/>
                      <a:pt x="409" y="281"/>
                      <a:pt x="409" y="281"/>
                    </a:cubicBezTo>
                    <a:cubicBezTo>
                      <a:pt x="411" y="281"/>
                      <a:pt x="411" y="281"/>
                      <a:pt x="411" y="281"/>
                    </a:cubicBezTo>
                    <a:cubicBezTo>
                      <a:pt x="411" y="279"/>
                      <a:pt x="411" y="279"/>
                      <a:pt x="411" y="279"/>
                    </a:cubicBezTo>
                    <a:cubicBezTo>
                      <a:pt x="412" y="275"/>
                      <a:pt x="412" y="275"/>
                      <a:pt x="412" y="275"/>
                    </a:cubicBezTo>
                    <a:cubicBezTo>
                      <a:pt x="412" y="272"/>
                      <a:pt x="412" y="272"/>
                      <a:pt x="412" y="272"/>
                    </a:cubicBezTo>
                    <a:cubicBezTo>
                      <a:pt x="413" y="271"/>
                      <a:pt x="413" y="271"/>
                      <a:pt x="413" y="271"/>
                    </a:cubicBezTo>
                    <a:cubicBezTo>
                      <a:pt x="411" y="268"/>
                      <a:pt x="411" y="268"/>
                      <a:pt x="411" y="268"/>
                    </a:cubicBezTo>
                    <a:cubicBezTo>
                      <a:pt x="412" y="266"/>
                      <a:pt x="412" y="266"/>
                      <a:pt x="412" y="266"/>
                    </a:cubicBezTo>
                    <a:cubicBezTo>
                      <a:pt x="413" y="266"/>
                      <a:pt x="413" y="266"/>
                      <a:pt x="413" y="266"/>
                    </a:cubicBezTo>
                    <a:cubicBezTo>
                      <a:pt x="414" y="263"/>
                      <a:pt x="414" y="263"/>
                      <a:pt x="414" y="263"/>
                    </a:cubicBezTo>
                    <a:cubicBezTo>
                      <a:pt x="415" y="260"/>
                      <a:pt x="415" y="260"/>
                      <a:pt x="415" y="260"/>
                    </a:cubicBezTo>
                    <a:cubicBezTo>
                      <a:pt x="416" y="259"/>
                      <a:pt x="416" y="259"/>
                      <a:pt x="416" y="259"/>
                    </a:cubicBezTo>
                    <a:cubicBezTo>
                      <a:pt x="417" y="257"/>
                      <a:pt x="417" y="257"/>
                      <a:pt x="417" y="257"/>
                    </a:cubicBezTo>
                    <a:cubicBezTo>
                      <a:pt x="417" y="253"/>
                      <a:pt x="417" y="253"/>
                      <a:pt x="417" y="253"/>
                    </a:cubicBezTo>
                    <a:cubicBezTo>
                      <a:pt x="418" y="253"/>
                      <a:pt x="418" y="253"/>
                      <a:pt x="418" y="253"/>
                    </a:cubicBezTo>
                    <a:cubicBezTo>
                      <a:pt x="418" y="251"/>
                      <a:pt x="418" y="251"/>
                      <a:pt x="418" y="251"/>
                    </a:cubicBezTo>
                    <a:cubicBezTo>
                      <a:pt x="420" y="249"/>
                      <a:pt x="420" y="249"/>
                      <a:pt x="420" y="249"/>
                    </a:cubicBezTo>
                    <a:cubicBezTo>
                      <a:pt x="420" y="247"/>
                      <a:pt x="420" y="247"/>
                      <a:pt x="420" y="247"/>
                    </a:cubicBezTo>
                    <a:cubicBezTo>
                      <a:pt x="420" y="245"/>
                      <a:pt x="420" y="245"/>
                      <a:pt x="420" y="245"/>
                    </a:cubicBezTo>
                    <a:cubicBezTo>
                      <a:pt x="421" y="245"/>
                      <a:pt x="421" y="245"/>
                      <a:pt x="421" y="245"/>
                    </a:cubicBezTo>
                    <a:cubicBezTo>
                      <a:pt x="421" y="243"/>
                      <a:pt x="421" y="243"/>
                      <a:pt x="421" y="243"/>
                    </a:cubicBezTo>
                    <a:cubicBezTo>
                      <a:pt x="420" y="241"/>
                      <a:pt x="420" y="241"/>
                      <a:pt x="420" y="241"/>
                    </a:cubicBezTo>
                    <a:cubicBezTo>
                      <a:pt x="421" y="240"/>
                      <a:pt x="421" y="240"/>
                      <a:pt x="421" y="240"/>
                    </a:cubicBezTo>
                    <a:cubicBezTo>
                      <a:pt x="421" y="238"/>
                      <a:pt x="421" y="238"/>
                      <a:pt x="421" y="238"/>
                    </a:cubicBezTo>
                    <a:cubicBezTo>
                      <a:pt x="419" y="237"/>
                      <a:pt x="419" y="237"/>
                      <a:pt x="419" y="237"/>
                    </a:cubicBezTo>
                    <a:cubicBezTo>
                      <a:pt x="418" y="234"/>
                      <a:pt x="418" y="234"/>
                      <a:pt x="418" y="234"/>
                    </a:cubicBezTo>
                    <a:cubicBezTo>
                      <a:pt x="419" y="233"/>
                      <a:pt x="419" y="233"/>
                      <a:pt x="419" y="233"/>
                    </a:cubicBezTo>
                    <a:cubicBezTo>
                      <a:pt x="417" y="230"/>
                      <a:pt x="417" y="230"/>
                      <a:pt x="417" y="230"/>
                    </a:cubicBezTo>
                    <a:cubicBezTo>
                      <a:pt x="416" y="230"/>
                      <a:pt x="416" y="230"/>
                      <a:pt x="416" y="230"/>
                    </a:cubicBezTo>
                    <a:cubicBezTo>
                      <a:pt x="415" y="229"/>
                      <a:pt x="415" y="229"/>
                      <a:pt x="415" y="229"/>
                    </a:cubicBezTo>
                    <a:cubicBezTo>
                      <a:pt x="414" y="229"/>
                      <a:pt x="414" y="229"/>
                      <a:pt x="414" y="229"/>
                    </a:cubicBezTo>
                    <a:cubicBezTo>
                      <a:pt x="414" y="232"/>
                      <a:pt x="414" y="232"/>
                      <a:pt x="414" y="232"/>
                    </a:cubicBezTo>
                    <a:cubicBezTo>
                      <a:pt x="413" y="231"/>
                      <a:pt x="413" y="231"/>
                      <a:pt x="413" y="231"/>
                    </a:cubicBezTo>
                    <a:cubicBezTo>
                      <a:pt x="411" y="228"/>
                      <a:pt x="411" y="228"/>
                      <a:pt x="411" y="228"/>
                    </a:cubicBezTo>
                    <a:cubicBezTo>
                      <a:pt x="410" y="227"/>
                      <a:pt x="410" y="227"/>
                      <a:pt x="410" y="227"/>
                    </a:cubicBezTo>
                    <a:cubicBezTo>
                      <a:pt x="408" y="226"/>
                      <a:pt x="408" y="226"/>
                      <a:pt x="408" y="226"/>
                    </a:cubicBezTo>
                    <a:cubicBezTo>
                      <a:pt x="407" y="227"/>
                      <a:pt x="407" y="227"/>
                      <a:pt x="407" y="227"/>
                    </a:cubicBezTo>
                    <a:cubicBezTo>
                      <a:pt x="407" y="229"/>
                      <a:pt x="407" y="229"/>
                      <a:pt x="407" y="229"/>
                    </a:cubicBezTo>
                    <a:cubicBezTo>
                      <a:pt x="407" y="230"/>
                      <a:pt x="407" y="230"/>
                      <a:pt x="407" y="230"/>
                    </a:cubicBezTo>
                    <a:cubicBezTo>
                      <a:pt x="405" y="229"/>
                      <a:pt x="405" y="229"/>
                      <a:pt x="405" y="229"/>
                    </a:cubicBezTo>
                    <a:cubicBezTo>
                      <a:pt x="404" y="232"/>
                      <a:pt x="404" y="232"/>
                      <a:pt x="404" y="232"/>
                    </a:cubicBezTo>
                    <a:cubicBezTo>
                      <a:pt x="404" y="233"/>
                      <a:pt x="404" y="233"/>
                      <a:pt x="404" y="233"/>
                    </a:cubicBezTo>
                    <a:cubicBezTo>
                      <a:pt x="403" y="234"/>
                      <a:pt x="403" y="234"/>
                      <a:pt x="403" y="234"/>
                    </a:cubicBezTo>
                    <a:cubicBezTo>
                      <a:pt x="402" y="238"/>
                      <a:pt x="402" y="238"/>
                      <a:pt x="402" y="238"/>
                    </a:cubicBezTo>
                    <a:cubicBezTo>
                      <a:pt x="402" y="240"/>
                      <a:pt x="402" y="240"/>
                      <a:pt x="402" y="240"/>
                    </a:cubicBezTo>
                    <a:cubicBezTo>
                      <a:pt x="401" y="242"/>
                      <a:pt x="401" y="242"/>
                      <a:pt x="401" y="242"/>
                    </a:cubicBezTo>
                    <a:cubicBezTo>
                      <a:pt x="401" y="244"/>
                      <a:pt x="401" y="244"/>
                      <a:pt x="401" y="244"/>
                    </a:cubicBezTo>
                    <a:cubicBezTo>
                      <a:pt x="400" y="245"/>
                      <a:pt x="400" y="245"/>
                      <a:pt x="400" y="245"/>
                    </a:cubicBezTo>
                    <a:cubicBezTo>
                      <a:pt x="400" y="246"/>
                      <a:pt x="400" y="246"/>
                      <a:pt x="400" y="246"/>
                    </a:cubicBezTo>
                    <a:cubicBezTo>
                      <a:pt x="398" y="247"/>
                      <a:pt x="398" y="247"/>
                      <a:pt x="398" y="247"/>
                    </a:cubicBezTo>
                    <a:cubicBezTo>
                      <a:pt x="398" y="251"/>
                      <a:pt x="398" y="251"/>
                      <a:pt x="398" y="251"/>
                    </a:cubicBezTo>
                    <a:cubicBezTo>
                      <a:pt x="397" y="252"/>
                      <a:pt x="397" y="252"/>
                      <a:pt x="397" y="252"/>
                    </a:cubicBezTo>
                    <a:cubicBezTo>
                      <a:pt x="396" y="252"/>
                      <a:pt x="396" y="252"/>
                      <a:pt x="396" y="252"/>
                    </a:cubicBezTo>
                    <a:cubicBezTo>
                      <a:pt x="395" y="255"/>
                      <a:pt x="395" y="255"/>
                      <a:pt x="395" y="255"/>
                    </a:cubicBezTo>
                    <a:cubicBezTo>
                      <a:pt x="395" y="256"/>
                      <a:pt x="395" y="256"/>
                      <a:pt x="395" y="256"/>
                    </a:cubicBezTo>
                    <a:cubicBezTo>
                      <a:pt x="395" y="258"/>
                      <a:pt x="395" y="258"/>
                      <a:pt x="395" y="258"/>
                    </a:cubicBezTo>
                    <a:cubicBezTo>
                      <a:pt x="394" y="260"/>
                      <a:pt x="394" y="260"/>
                      <a:pt x="394" y="260"/>
                    </a:cubicBezTo>
                    <a:cubicBezTo>
                      <a:pt x="393" y="262"/>
                      <a:pt x="393" y="262"/>
                      <a:pt x="393" y="262"/>
                    </a:cubicBezTo>
                    <a:cubicBezTo>
                      <a:pt x="394" y="264"/>
                      <a:pt x="394" y="264"/>
                      <a:pt x="394" y="264"/>
                    </a:cubicBezTo>
                    <a:cubicBezTo>
                      <a:pt x="394" y="265"/>
                      <a:pt x="394" y="265"/>
                      <a:pt x="394" y="265"/>
                    </a:cubicBezTo>
                    <a:cubicBezTo>
                      <a:pt x="392" y="265"/>
                      <a:pt x="392" y="265"/>
                      <a:pt x="392" y="265"/>
                    </a:cubicBezTo>
                    <a:cubicBezTo>
                      <a:pt x="392" y="266"/>
                      <a:pt x="392" y="266"/>
                      <a:pt x="392" y="266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94" y="268"/>
                      <a:pt x="394" y="268"/>
                      <a:pt x="394" y="268"/>
                    </a:cubicBezTo>
                    <a:cubicBezTo>
                      <a:pt x="393" y="268"/>
                      <a:pt x="393" y="268"/>
                      <a:pt x="393" y="268"/>
                    </a:cubicBezTo>
                    <a:cubicBezTo>
                      <a:pt x="392" y="268"/>
                      <a:pt x="392" y="268"/>
                      <a:pt x="392" y="268"/>
                    </a:cubicBezTo>
                    <a:cubicBezTo>
                      <a:pt x="390" y="269"/>
                      <a:pt x="390" y="269"/>
                      <a:pt x="390" y="269"/>
                    </a:cubicBezTo>
                    <a:cubicBezTo>
                      <a:pt x="389" y="269"/>
                      <a:pt x="389" y="269"/>
                      <a:pt x="389" y="269"/>
                    </a:cubicBezTo>
                    <a:cubicBezTo>
                      <a:pt x="388" y="270"/>
                      <a:pt x="388" y="270"/>
                      <a:pt x="388" y="270"/>
                    </a:cubicBezTo>
                    <a:cubicBezTo>
                      <a:pt x="388" y="272"/>
                      <a:pt x="388" y="272"/>
                      <a:pt x="388" y="272"/>
                    </a:cubicBezTo>
                    <a:cubicBezTo>
                      <a:pt x="387" y="272"/>
                      <a:pt x="387" y="272"/>
                      <a:pt x="387" y="272"/>
                    </a:cubicBezTo>
                    <a:cubicBezTo>
                      <a:pt x="386" y="272"/>
                      <a:pt x="386" y="272"/>
                      <a:pt x="386" y="272"/>
                    </a:cubicBezTo>
                    <a:cubicBezTo>
                      <a:pt x="386" y="270"/>
                      <a:pt x="386" y="270"/>
                      <a:pt x="386" y="270"/>
                    </a:cubicBezTo>
                    <a:cubicBezTo>
                      <a:pt x="386" y="268"/>
                      <a:pt x="386" y="268"/>
                      <a:pt x="386" y="268"/>
                    </a:cubicBezTo>
                    <a:cubicBezTo>
                      <a:pt x="385" y="267"/>
                      <a:pt x="385" y="267"/>
                      <a:pt x="385" y="267"/>
                    </a:cubicBezTo>
                    <a:cubicBezTo>
                      <a:pt x="385" y="264"/>
                      <a:pt x="385" y="264"/>
                      <a:pt x="385" y="264"/>
                    </a:cubicBezTo>
                    <a:cubicBezTo>
                      <a:pt x="387" y="261"/>
                      <a:pt x="387" y="261"/>
                      <a:pt x="387" y="261"/>
                    </a:cubicBezTo>
                    <a:cubicBezTo>
                      <a:pt x="387" y="259"/>
                      <a:pt x="387" y="259"/>
                      <a:pt x="387" y="259"/>
                    </a:cubicBezTo>
                    <a:cubicBezTo>
                      <a:pt x="388" y="258"/>
                      <a:pt x="388" y="258"/>
                      <a:pt x="388" y="258"/>
                    </a:cubicBezTo>
                    <a:cubicBezTo>
                      <a:pt x="389" y="256"/>
                      <a:pt x="389" y="256"/>
                      <a:pt x="389" y="256"/>
                    </a:cubicBezTo>
                    <a:cubicBezTo>
                      <a:pt x="389" y="254"/>
                      <a:pt x="389" y="254"/>
                      <a:pt x="389" y="254"/>
                    </a:cubicBezTo>
                    <a:cubicBezTo>
                      <a:pt x="390" y="250"/>
                      <a:pt x="390" y="250"/>
                      <a:pt x="390" y="250"/>
                    </a:cubicBezTo>
                    <a:cubicBezTo>
                      <a:pt x="392" y="249"/>
                      <a:pt x="392" y="249"/>
                      <a:pt x="392" y="249"/>
                    </a:cubicBezTo>
                    <a:cubicBezTo>
                      <a:pt x="393" y="247"/>
                      <a:pt x="393" y="247"/>
                      <a:pt x="393" y="247"/>
                    </a:cubicBezTo>
                    <a:cubicBezTo>
                      <a:pt x="391" y="247"/>
                      <a:pt x="391" y="247"/>
                      <a:pt x="391" y="247"/>
                    </a:cubicBezTo>
                    <a:cubicBezTo>
                      <a:pt x="390" y="247"/>
                      <a:pt x="390" y="247"/>
                      <a:pt x="390" y="247"/>
                    </a:cubicBezTo>
                    <a:cubicBezTo>
                      <a:pt x="391" y="245"/>
                      <a:pt x="391" y="245"/>
                      <a:pt x="391" y="245"/>
                    </a:cubicBezTo>
                    <a:cubicBezTo>
                      <a:pt x="392" y="244"/>
                      <a:pt x="392" y="244"/>
                      <a:pt x="392" y="244"/>
                    </a:cubicBezTo>
                    <a:cubicBezTo>
                      <a:pt x="392" y="240"/>
                      <a:pt x="392" y="240"/>
                      <a:pt x="392" y="240"/>
                    </a:cubicBezTo>
                    <a:cubicBezTo>
                      <a:pt x="391" y="239"/>
                      <a:pt x="391" y="239"/>
                      <a:pt x="391" y="239"/>
                    </a:cubicBezTo>
                    <a:cubicBezTo>
                      <a:pt x="390" y="237"/>
                      <a:pt x="390" y="237"/>
                      <a:pt x="390" y="237"/>
                    </a:cubicBezTo>
                    <a:cubicBezTo>
                      <a:pt x="391" y="236"/>
                      <a:pt x="391" y="236"/>
                      <a:pt x="391" y="236"/>
                    </a:cubicBezTo>
                    <a:cubicBezTo>
                      <a:pt x="391" y="234"/>
                      <a:pt x="391" y="234"/>
                      <a:pt x="391" y="234"/>
                    </a:cubicBezTo>
                    <a:cubicBezTo>
                      <a:pt x="390" y="233"/>
                      <a:pt x="390" y="233"/>
                      <a:pt x="390" y="233"/>
                    </a:cubicBezTo>
                    <a:cubicBezTo>
                      <a:pt x="388" y="231"/>
                      <a:pt x="388" y="231"/>
                      <a:pt x="388" y="231"/>
                    </a:cubicBezTo>
                    <a:cubicBezTo>
                      <a:pt x="385" y="232"/>
                      <a:pt x="385" y="232"/>
                      <a:pt x="385" y="232"/>
                    </a:cubicBezTo>
                    <a:cubicBezTo>
                      <a:pt x="385" y="234"/>
                      <a:pt x="385" y="234"/>
                      <a:pt x="385" y="234"/>
                    </a:cubicBezTo>
                    <a:cubicBezTo>
                      <a:pt x="386" y="235"/>
                      <a:pt x="386" y="235"/>
                      <a:pt x="386" y="235"/>
                    </a:cubicBezTo>
                    <a:cubicBezTo>
                      <a:pt x="386" y="237"/>
                      <a:pt x="386" y="237"/>
                      <a:pt x="386" y="237"/>
                    </a:cubicBezTo>
                    <a:cubicBezTo>
                      <a:pt x="387" y="238"/>
                      <a:pt x="387" y="238"/>
                      <a:pt x="387" y="238"/>
                    </a:cubicBezTo>
                    <a:cubicBezTo>
                      <a:pt x="387" y="240"/>
                      <a:pt x="387" y="240"/>
                      <a:pt x="387" y="240"/>
                    </a:cubicBezTo>
                    <a:cubicBezTo>
                      <a:pt x="386" y="240"/>
                      <a:pt x="386" y="240"/>
                      <a:pt x="386" y="240"/>
                    </a:cubicBezTo>
                    <a:cubicBezTo>
                      <a:pt x="385" y="238"/>
                      <a:pt x="385" y="238"/>
                      <a:pt x="385" y="238"/>
                    </a:cubicBezTo>
                    <a:cubicBezTo>
                      <a:pt x="384" y="238"/>
                      <a:pt x="384" y="238"/>
                      <a:pt x="384" y="238"/>
                    </a:cubicBezTo>
                    <a:cubicBezTo>
                      <a:pt x="383" y="240"/>
                      <a:pt x="383" y="240"/>
                      <a:pt x="383" y="240"/>
                    </a:cubicBezTo>
                    <a:cubicBezTo>
                      <a:pt x="384" y="241"/>
                      <a:pt x="384" y="241"/>
                      <a:pt x="384" y="241"/>
                    </a:cubicBezTo>
                    <a:cubicBezTo>
                      <a:pt x="385" y="242"/>
                      <a:pt x="385" y="242"/>
                      <a:pt x="385" y="242"/>
                    </a:cubicBezTo>
                    <a:cubicBezTo>
                      <a:pt x="385" y="245"/>
                      <a:pt x="385" y="245"/>
                      <a:pt x="385" y="245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83" y="244"/>
                      <a:pt x="383" y="244"/>
                      <a:pt x="383" y="244"/>
                    </a:cubicBezTo>
                    <a:cubicBezTo>
                      <a:pt x="383" y="246"/>
                      <a:pt x="383" y="246"/>
                      <a:pt x="383" y="246"/>
                    </a:cubicBezTo>
                    <a:cubicBezTo>
                      <a:pt x="381" y="245"/>
                      <a:pt x="381" y="245"/>
                      <a:pt x="381" y="245"/>
                    </a:cubicBezTo>
                    <a:cubicBezTo>
                      <a:pt x="381" y="243"/>
                      <a:pt x="381" y="243"/>
                      <a:pt x="381" y="243"/>
                    </a:cubicBezTo>
                    <a:cubicBezTo>
                      <a:pt x="380" y="243"/>
                      <a:pt x="380" y="243"/>
                      <a:pt x="380" y="243"/>
                    </a:cubicBezTo>
                    <a:cubicBezTo>
                      <a:pt x="379" y="245"/>
                      <a:pt x="379" y="245"/>
                      <a:pt x="379" y="245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378" y="243"/>
                      <a:pt x="378" y="243"/>
                      <a:pt x="378" y="243"/>
                    </a:cubicBezTo>
                    <a:cubicBezTo>
                      <a:pt x="379" y="242"/>
                      <a:pt x="379" y="242"/>
                      <a:pt x="379" y="242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76" y="242"/>
                      <a:pt x="376" y="242"/>
                      <a:pt x="376" y="242"/>
                    </a:cubicBezTo>
                    <a:cubicBezTo>
                      <a:pt x="374" y="244"/>
                      <a:pt x="374" y="244"/>
                      <a:pt x="374" y="244"/>
                    </a:cubicBezTo>
                    <a:cubicBezTo>
                      <a:pt x="373" y="242"/>
                      <a:pt x="373" y="242"/>
                      <a:pt x="373" y="242"/>
                    </a:cubicBezTo>
                    <a:cubicBezTo>
                      <a:pt x="372" y="242"/>
                      <a:pt x="372" y="242"/>
                      <a:pt x="372" y="242"/>
                    </a:cubicBezTo>
                    <a:cubicBezTo>
                      <a:pt x="370" y="243"/>
                      <a:pt x="370" y="243"/>
                      <a:pt x="370" y="243"/>
                    </a:cubicBezTo>
                    <a:cubicBezTo>
                      <a:pt x="368" y="243"/>
                      <a:pt x="368" y="243"/>
                      <a:pt x="368" y="243"/>
                    </a:cubicBezTo>
                    <a:cubicBezTo>
                      <a:pt x="368" y="242"/>
                      <a:pt x="368" y="242"/>
                      <a:pt x="368" y="242"/>
                    </a:cubicBezTo>
                    <a:cubicBezTo>
                      <a:pt x="366" y="243"/>
                      <a:pt x="366" y="243"/>
                      <a:pt x="366" y="243"/>
                    </a:cubicBezTo>
                    <a:cubicBezTo>
                      <a:pt x="365" y="242"/>
                      <a:pt x="365" y="242"/>
                      <a:pt x="365" y="242"/>
                    </a:cubicBezTo>
                    <a:cubicBezTo>
                      <a:pt x="366" y="240"/>
                      <a:pt x="366" y="240"/>
                      <a:pt x="366" y="240"/>
                    </a:cubicBezTo>
                    <a:cubicBezTo>
                      <a:pt x="369" y="240"/>
                      <a:pt x="369" y="240"/>
                      <a:pt x="369" y="240"/>
                    </a:cubicBezTo>
                    <a:cubicBezTo>
                      <a:pt x="370" y="241"/>
                      <a:pt x="370" y="241"/>
                      <a:pt x="370" y="241"/>
                    </a:cubicBezTo>
                    <a:cubicBezTo>
                      <a:pt x="372" y="240"/>
                      <a:pt x="372" y="240"/>
                      <a:pt x="372" y="240"/>
                    </a:cubicBezTo>
                    <a:cubicBezTo>
                      <a:pt x="372" y="239"/>
                      <a:pt x="372" y="239"/>
                      <a:pt x="372" y="239"/>
                    </a:cubicBezTo>
                    <a:cubicBezTo>
                      <a:pt x="374" y="238"/>
                      <a:pt x="374" y="238"/>
                      <a:pt x="374" y="238"/>
                    </a:cubicBezTo>
                    <a:cubicBezTo>
                      <a:pt x="375" y="239"/>
                      <a:pt x="375" y="239"/>
                      <a:pt x="375" y="239"/>
                    </a:cubicBezTo>
                    <a:cubicBezTo>
                      <a:pt x="377" y="237"/>
                      <a:pt x="377" y="237"/>
                      <a:pt x="377" y="237"/>
                    </a:cubicBezTo>
                    <a:cubicBezTo>
                      <a:pt x="377" y="235"/>
                      <a:pt x="377" y="235"/>
                      <a:pt x="377" y="235"/>
                    </a:cubicBezTo>
                    <a:cubicBezTo>
                      <a:pt x="377" y="234"/>
                      <a:pt x="377" y="234"/>
                      <a:pt x="377" y="234"/>
                    </a:cubicBezTo>
                    <a:cubicBezTo>
                      <a:pt x="376" y="233"/>
                      <a:pt x="376" y="233"/>
                      <a:pt x="376" y="233"/>
                    </a:cubicBezTo>
                    <a:cubicBezTo>
                      <a:pt x="374" y="230"/>
                      <a:pt x="374" y="230"/>
                      <a:pt x="374" y="230"/>
                    </a:cubicBezTo>
                    <a:cubicBezTo>
                      <a:pt x="372" y="229"/>
                      <a:pt x="372" y="229"/>
                      <a:pt x="372" y="229"/>
                    </a:cubicBezTo>
                    <a:cubicBezTo>
                      <a:pt x="372" y="228"/>
                      <a:pt x="372" y="228"/>
                      <a:pt x="372" y="228"/>
                    </a:cubicBezTo>
                    <a:cubicBezTo>
                      <a:pt x="369" y="225"/>
                      <a:pt x="369" y="225"/>
                      <a:pt x="369" y="225"/>
                    </a:cubicBezTo>
                    <a:cubicBezTo>
                      <a:pt x="369" y="224"/>
                      <a:pt x="369" y="224"/>
                      <a:pt x="369" y="224"/>
                    </a:cubicBezTo>
                    <a:cubicBezTo>
                      <a:pt x="367" y="224"/>
                      <a:pt x="367" y="224"/>
                      <a:pt x="367" y="224"/>
                    </a:cubicBezTo>
                    <a:cubicBezTo>
                      <a:pt x="365" y="226"/>
                      <a:pt x="365" y="226"/>
                      <a:pt x="365" y="226"/>
                    </a:cubicBezTo>
                    <a:cubicBezTo>
                      <a:pt x="364" y="226"/>
                      <a:pt x="364" y="226"/>
                      <a:pt x="364" y="226"/>
                    </a:cubicBezTo>
                    <a:cubicBezTo>
                      <a:pt x="360" y="229"/>
                      <a:pt x="360" y="229"/>
                      <a:pt x="360" y="229"/>
                    </a:cubicBezTo>
                    <a:cubicBezTo>
                      <a:pt x="361" y="230"/>
                      <a:pt x="361" y="230"/>
                      <a:pt x="361" y="230"/>
                    </a:cubicBezTo>
                    <a:cubicBezTo>
                      <a:pt x="361" y="231"/>
                      <a:pt x="361" y="231"/>
                      <a:pt x="361" y="231"/>
                    </a:cubicBezTo>
                    <a:cubicBezTo>
                      <a:pt x="360" y="231"/>
                      <a:pt x="360" y="231"/>
                      <a:pt x="360" y="231"/>
                    </a:cubicBezTo>
                    <a:cubicBezTo>
                      <a:pt x="359" y="232"/>
                      <a:pt x="359" y="232"/>
                      <a:pt x="359" y="232"/>
                    </a:cubicBezTo>
                    <a:cubicBezTo>
                      <a:pt x="359" y="231"/>
                      <a:pt x="359" y="231"/>
                      <a:pt x="359" y="231"/>
                    </a:cubicBezTo>
                    <a:cubicBezTo>
                      <a:pt x="357" y="231"/>
                      <a:pt x="357" y="231"/>
                      <a:pt x="357" y="231"/>
                    </a:cubicBezTo>
                    <a:cubicBezTo>
                      <a:pt x="356" y="230"/>
                      <a:pt x="356" y="230"/>
                      <a:pt x="356" y="230"/>
                    </a:cubicBezTo>
                    <a:cubicBezTo>
                      <a:pt x="354" y="231"/>
                      <a:pt x="354" y="231"/>
                      <a:pt x="354" y="231"/>
                    </a:cubicBezTo>
                    <a:cubicBezTo>
                      <a:pt x="353" y="231"/>
                      <a:pt x="353" y="231"/>
                      <a:pt x="353" y="231"/>
                    </a:cubicBezTo>
                    <a:cubicBezTo>
                      <a:pt x="351" y="231"/>
                      <a:pt x="351" y="231"/>
                      <a:pt x="351" y="231"/>
                    </a:cubicBezTo>
                    <a:cubicBezTo>
                      <a:pt x="350" y="231"/>
                      <a:pt x="350" y="231"/>
                      <a:pt x="350" y="231"/>
                    </a:cubicBezTo>
                    <a:cubicBezTo>
                      <a:pt x="351" y="230"/>
                      <a:pt x="351" y="230"/>
                      <a:pt x="351" y="230"/>
                    </a:cubicBezTo>
                    <a:cubicBezTo>
                      <a:pt x="354" y="229"/>
                      <a:pt x="354" y="229"/>
                      <a:pt x="354" y="229"/>
                    </a:cubicBezTo>
                    <a:cubicBezTo>
                      <a:pt x="354" y="227"/>
                      <a:pt x="354" y="227"/>
                      <a:pt x="354" y="227"/>
                    </a:cubicBezTo>
                    <a:cubicBezTo>
                      <a:pt x="356" y="227"/>
                      <a:pt x="356" y="227"/>
                      <a:pt x="356" y="227"/>
                    </a:cubicBezTo>
                    <a:cubicBezTo>
                      <a:pt x="357" y="227"/>
                      <a:pt x="357" y="227"/>
                      <a:pt x="357" y="227"/>
                    </a:cubicBezTo>
                    <a:cubicBezTo>
                      <a:pt x="359" y="225"/>
                      <a:pt x="359" y="225"/>
                      <a:pt x="359" y="225"/>
                    </a:cubicBezTo>
                    <a:cubicBezTo>
                      <a:pt x="359" y="223"/>
                      <a:pt x="359" y="223"/>
                      <a:pt x="359" y="223"/>
                    </a:cubicBezTo>
                    <a:cubicBezTo>
                      <a:pt x="360" y="222"/>
                      <a:pt x="360" y="222"/>
                      <a:pt x="360" y="222"/>
                    </a:cubicBezTo>
                    <a:cubicBezTo>
                      <a:pt x="361" y="222"/>
                      <a:pt x="361" y="222"/>
                      <a:pt x="361" y="222"/>
                    </a:cubicBezTo>
                    <a:cubicBezTo>
                      <a:pt x="363" y="219"/>
                      <a:pt x="363" y="219"/>
                      <a:pt x="363" y="219"/>
                    </a:cubicBezTo>
                    <a:cubicBezTo>
                      <a:pt x="362" y="216"/>
                      <a:pt x="362" y="216"/>
                      <a:pt x="362" y="216"/>
                    </a:cubicBezTo>
                    <a:cubicBezTo>
                      <a:pt x="363" y="215"/>
                      <a:pt x="363" y="215"/>
                      <a:pt x="363" y="215"/>
                    </a:cubicBezTo>
                    <a:cubicBezTo>
                      <a:pt x="362" y="213"/>
                      <a:pt x="362" y="213"/>
                      <a:pt x="362" y="213"/>
                    </a:cubicBezTo>
                    <a:cubicBezTo>
                      <a:pt x="361" y="213"/>
                      <a:pt x="361" y="213"/>
                      <a:pt x="361" y="213"/>
                    </a:cubicBezTo>
                    <a:cubicBezTo>
                      <a:pt x="358" y="214"/>
                      <a:pt x="358" y="214"/>
                      <a:pt x="358" y="214"/>
                    </a:cubicBezTo>
                    <a:cubicBezTo>
                      <a:pt x="354" y="214"/>
                      <a:pt x="354" y="214"/>
                      <a:pt x="354" y="214"/>
                    </a:cubicBezTo>
                    <a:cubicBezTo>
                      <a:pt x="350" y="216"/>
                      <a:pt x="350" y="216"/>
                      <a:pt x="350" y="216"/>
                    </a:cubicBezTo>
                    <a:cubicBezTo>
                      <a:pt x="343" y="217"/>
                      <a:pt x="343" y="217"/>
                      <a:pt x="343" y="217"/>
                    </a:cubicBezTo>
                    <a:cubicBezTo>
                      <a:pt x="335" y="220"/>
                      <a:pt x="335" y="220"/>
                      <a:pt x="335" y="220"/>
                    </a:cubicBezTo>
                    <a:cubicBezTo>
                      <a:pt x="333" y="222"/>
                      <a:pt x="333" y="222"/>
                      <a:pt x="333" y="222"/>
                    </a:cubicBezTo>
                    <a:cubicBezTo>
                      <a:pt x="327" y="224"/>
                      <a:pt x="327" y="224"/>
                      <a:pt x="327" y="224"/>
                    </a:cubicBezTo>
                    <a:cubicBezTo>
                      <a:pt x="320" y="227"/>
                      <a:pt x="320" y="227"/>
                      <a:pt x="320" y="227"/>
                    </a:cubicBezTo>
                    <a:cubicBezTo>
                      <a:pt x="318" y="229"/>
                      <a:pt x="318" y="229"/>
                      <a:pt x="318" y="229"/>
                    </a:cubicBezTo>
                    <a:cubicBezTo>
                      <a:pt x="318" y="231"/>
                      <a:pt x="318" y="231"/>
                      <a:pt x="318" y="231"/>
                    </a:cubicBezTo>
                    <a:cubicBezTo>
                      <a:pt x="319" y="231"/>
                      <a:pt x="319" y="231"/>
                      <a:pt x="319" y="231"/>
                    </a:cubicBezTo>
                    <a:cubicBezTo>
                      <a:pt x="320" y="232"/>
                      <a:pt x="320" y="232"/>
                      <a:pt x="320" y="232"/>
                    </a:cubicBezTo>
                    <a:cubicBezTo>
                      <a:pt x="318" y="233"/>
                      <a:pt x="318" y="233"/>
                      <a:pt x="318" y="233"/>
                    </a:cubicBezTo>
                    <a:cubicBezTo>
                      <a:pt x="316" y="233"/>
                      <a:pt x="316" y="233"/>
                      <a:pt x="316" y="233"/>
                    </a:cubicBezTo>
                    <a:cubicBezTo>
                      <a:pt x="313" y="236"/>
                      <a:pt x="313" y="236"/>
                      <a:pt x="313" y="236"/>
                    </a:cubicBezTo>
                    <a:cubicBezTo>
                      <a:pt x="311" y="236"/>
                      <a:pt x="311" y="236"/>
                      <a:pt x="311" y="236"/>
                    </a:cubicBezTo>
                    <a:cubicBezTo>
                      <a:pt x="309" y="237"/>
                      <a:pt x="309" y="237"/>
                      <a:pt x="309" y="237"/>
                    </a:cubicBezTo>
                    <a:cubicBezTo>
                      <a:pt x="309" y="239"/>
                      <a:pt x="309" y="239"/>
                      <a:pt x="309" y="239"/>
                    </a:cubicBezTo>
                    <a:cubicBezTo>
                      <a:pt x="306" y="241"/>
                      <a:pt x="306" y="241"/>
                      <a:pt x="306" y="241"/>
                    </a:cubicBezTo>
                    <a:cubicBezTo>
                      <a:pt x="305" y="243"/>
                      <a:pt x="305" y="243"/>
                      <a:pt x="305" y="243"/>
                    </a:cubicBezTo>
                    <a:cubicBezTo>
                      <a:pt x="305" y="245"/>
                      <a:pt x="305" y="245"/>
                      <a:pt x="305" y="245"/>
                    </a:cubicBezTo>
                    <a:cubicBezTo>
                      <a:pt x="306" y="244"/>
                      <a:pt x="306" y="244"/>
                      <a:pt x="306" y="244"/>
                    </a:cubicBezTo>
                    <a:cubicBezTo>
                      <a:pt x="308" y="246"/>
                      <a:pt x="308" y="246"/>
                      <a:pt x="308" y="246"/>
                    </a:cubicBezTo>
                    <a:cubicBezTo>
                      <a:pt x="307" y="247"/>
                      <a:pt x="307" y="247"/>
                      <a:pt x="307" y="247"/>
                    </a:cubicBezTo>
                    <a:cubicBezTo>
                      <a:pt x="308" y="247"/>
                      <a:pt x="308" y="247"/>
                      <a:pt x="308" y="247"/>
                    </a:cubicBezTo>
                    <a:cubicBezTo>
                      <a:pt x="309" y="247"/>
                      <a:pt x="309" y="247"/>
                      <a:pt x="309" y="247"/>
                    </a:cubicBezTo>
                    <a:cubicBezTo>
                      <a:pt x="310" y="246"/>
                      <a:pt x="310" y="246"/>
                      <a:pt x="310" y="246"/>
                    </a:cubicBezTo>
                    <a:cubicBezTo>
                      <a:pt x="312" y="246"/>
                      <a:pt x="312" y="246"/>
                      <a:pt x="312" y="246"/>
                    </a:cubicBezTo>
                    <a:cubicBezTo>
                      <a:pt x="314" y="247"/>
                      <a:pt x="314" y="247"/>
                      <a:pt x="314" y="247"/>
                    </a:cubicBezTo>
                    <a:cubicBezTo>
                      <a:pt x="313" y="249"/>
                      <a:pt x="313" y="249"/>
                      <a:pt x="313" y="249"/>
                    </a:cubicBezTo>
                    <a:cubicBezTo>
                      <a:pt x="311" y="250"/>
                      <a:pt x="311" y="250"/>
                      <a:pt x="311" y="250"/>
                    </a:cubicBezTo>
                    <a:cubicBezTo>
                      <a:pt x="309" y="248"/>
                      <a:pt x="309" y="248"/>
                      <a:pt x="309" y="248"/>
                    </a:cubicBezTo>
                    <a:cubicBezTo>
                      <a:pt x="307" y="249"/>
                      <a:pt x="307" y="249"/>
                      <a:pt x="307" y="249"/>
                    </a:cubicBezTo>
                    <a:cubicBezTo>
                      <a:pt x="308" y="251"/>
                      <a:pt x="308" y="251"/>
                      <a:pt x="308" y="251"/>
                    </a:cubicBezTo>
                    <a:cubicBezTo>
                      <a:pt x="311" y="253"/>
                      <a:pt x="311" y="253"/>
                      <a:pt x="311" y="253"/>
                    </a:cubicBezTo>
                    <a:cubicBezTo>
                      <a:pt x="312" y="252"/>
                      <a:pt x="312" y="252"/>
                      <a:pt x="312" y="252"/>
                    </a:cubicBezTo>
                    <a:cubicBezTo>
                      <a:pt x="312" y="251"/>
                      <a:pt x="312" y="251"/>
                      <a:pt x="312" y="251"/>
                    </a:cubicBezTo>
                    <a:cubicBezTo>
                      <a:pt x="314" y="251"/>
                      <a:pt x="314" y="251"/>
                      <a:pt x="314" y="251"/>
                    </a:cubicBezTo>
                    <a:cubicBezTo>
                      <a:pt x="314" y="252"/>
                      <a:pt x="314" y="252"/>
                      <a:pt x="314" y="252"/>
                    </a:cubicBezTo>
                    <a:cubicBezTo>
                      <a:pt x="313" y="253"/>
                      <a:pt x="313" y="253"/>
                      <a:pt x="313" y="253"/>
                    </a:cubicBezTo>
                    <a:cubicBezTo>
                      <a:pt x="315" y="253"/>
                      <a:pt x="315" y="253"/>
                      <a:pt x="315" y="253"/>
                    </a:cubicBezTo>
                    <a:cubicBezTo>
                      <a:pt x="318" y="253"/>
                      <a:pt x="318" y="253"/>
                      <a:pt x="318" y="253"/>
                    </a:cubicBezTo>
                    <a:cubicBezTo>
                      <a:pt x="321" y="252"/>
                      <a:pt x="321" y="252"/>
                      <a:pt x="321" y="252"/>
                    </a:cubicBezTo>
                    <a:cubicBezTo>
                      <a:pt x="323" y="252"/>
                      <a:pt x="323" y="252"/>
                      <a:pt x="323" y="252"/>
                    </a:cubicBezTo>
                    <a:cubicBezTo>
                      <a:pt x="326" y="254"/>
                      <a:pt x="326" y="254"/>
                      <a:pt x="326" y="254"/>
                    </a:cubicBezTo>
                    <a:cubicBezTo>
                      <a:pt x="328" y="253"/>
                      <a:pt x="328" y="253"/>
                      <a:pt x="328" y="253"/>
                    </a:cubicBezTo>
                    <a:cubicBezTo>
                      <a:pt x="330" y="254"/>
                      <a:pt x="330" y="254"/>
                      <a:pt x="330" y="254"/>
                    </a:cubicBezTo>
                    <a:cubicBezTo>
                      <a:pt x="331" y="256"/>
                      <a:pt x="331" y="256"/>
                      <a:pt x="331" y="256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32" y="257"/>
                      <a:pt x="332" y="257"/>
                      <a:pt x="332" y="257"/>
                    </a:cubicBezTo>
                    <a:cubicBezTo>
                      <a:pt x="330" y="257"/>
                      <a:pt x="330" y="257"/>
                      <a:pt x="330" y="257"/>
                    </a:cubicBezTo>
                    <a:cubicBezTo>
                      <a:pt x="328" y="255"/>
                      <a:pt x="328" y="255"/>
                      <a:pt x="328" y="255"/>
                    </a:cubicBezTo>
                    <a:cubicBezTo>
                      <a:pt x="324" y="255"/>
                      <a:pt x="324" y="255"/>
                      <a:pt x="324" y="255"/>
                    </a:cubicBezTo>
                    <a:cubicBezTo>
                      <a:pt x="323" y="256"/>
                      <a:pt x="323" y="256"/>
                      <a:pt x="323" y="256"/>
                    </a:cubicBezTo>
                    <a:cubicBezTo>
                      <a:pt x="326" y="257"/>
                      <a:pt x="326" y="257"/>
                      <a:pt x="326" y="257"/>
                    </a:cubicBezTo>
                    <a:cubicBezTo>
                      <a:pt x="326" y="258"/>
                      <a:pt x="326" y="258"/>
                      <a:pt x="326" y="258"/>
                    </a:cubicBezTo>
                    <a:cubicBezTo>
                      <a:pt x="323" y="258"/>
                      <a:pt x="323" y="258"/>
                      <a:pt x="323" y="258"/>
                    </a:cubicBezTo>
                    <a:cubicBezTo>
                      <a:pt x="322" y="257"/>
                      <a:pt x="322" y="257"/>
                      <a:pt x="322" y="257"/>
                    </a:cubicBezTo>
                    <a:cubicBezTo>
                      <a:pt x="317" y="257"/>
                      <a:pt x="317" y="257"/>
                      <a:pt x="317" y="257"/>
                    </a:cubicBezTo>
                    <a:cubicBezTo>
                      <a:pt x="316" y="258"/>
                      <a:pt x="316" y="258"/>
                      <a:pt x="316" y="258"/>
                    </a:cubicBezTo>
                    <a:cubicBezTo>
                      <a:pt x="315" y="257"/>
                      <a:pt x="315" y="257"/>
                      <a:pt x="315" y="257"/>
                    </a:cubicBezTo>
                    <a:cubicBezTo>
                      <a:pt x="314" y="257"/>
                      <a:pt x="314" y="257"/>
                      <a:pt x="314" y="257"/>
                    </a:cubicBezTo>
                    <a:cubicBezTo>
                      <a:pt x="312" y="258"/>
                      <a:pt x="312" y="258"/>
                      <a:pt x="312" y="258"/>
                    </a:cubicBezTo>
                    <a:cubicBezTo>
                      <a:pt x="311" y="258"/>
                      <a:pt x="311" y="258"/>
                      <a:pt x="311" y="258"/>
                    </a:cubicBezTo>
                    <a:cubicBezTo>
                      <a:pt x="306" y="258"/>
                      <a:pt x="306" y="258"/>
                      <a:pt x="306" y="258"/>
                    </a:cubicBezTo>
                    <a:cubicBezTo>
                      <a:pt x="306" y="259"/>
                      <a:pt x="306" y="259"/>
                      <a:pt x="306" y="259"/>
                    </a:cubicBezTo>
                    <a:cubicBezTo>
                      <a:pt x="302" y="259"/>
                      <a:pt x="302" y="259"/>
                      <a:pt x="302" y="259"/>
                    </a:cubicBezTo>
                    <a:cubicBezTo>
                      <a:pt x="301" y="261"/>
                      <a:pt x="301" y="261"/>
                      <a:pt x="301" y="261"/>
                    </a:cubicBezTo>
                    <a:cubicBezTo>
                      <a:pt x="302" y="267"/>
                      <a:pt x="302" y="267"/>
                      <a:pt x="302" y="267"/>
                    </a:cubicBezTo>
                    <a:cubicBezTo>
                      <a:pt x="302" y="268"/>
                      <a:pt x="302" y="268"/>
                      <a:pt x="302" y="268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2"/>
                      <a:pt x="302" y="272"/>
                      <a:pt x="302" y="272"/>
                    </a:cubicBezTo>
                    <a:cubicBezTo>
                      <a:pt x="303" y="273"/>
                      <a:pt x="303" y="273"/>
                      <a:pt x="303" y="273"/>
                    </a:cubicBezTo>
                    <a:cubicBezTo>
                      <a:pt x="304" y="272"/>
                      <a:pt x="304" y="272"/>
                      <a:pt x="304" y="272"/>
                    </a:cubicBezTo>
                    <a:cubicBezTo>
                      <a:pt x="305" y="272"/>
                      <a:pt x="305" y="272"/>
                      <a:pt x="305" y="272"/>
                    </a:cubicBezTo>
                    <a:cubicBezTo>
                      <a:pt x="306" y="273"/>
                      <a:pt x="306" y="273"/>
                      <a:pt x="306" y="273"/>
                    </a:cubicBezTo>
                    <a:cubicBezTo>
                      <a:pt x="308" y="273"/>
                      <a:pt x="308" y="273"/>
                      <a:pt x="308" y="273"/>
                    </a:cubicBezTo>
                    <a:cubicBezTo>
                      <a:pt x="309" y="272"/>
                      <a:pt x="309" y="272"/>
                      <a:pt x="309" y="272"/>
                    </a:cubicBezTo>
                    <a:cubicBezTo>
                      <a:pt x="309" y="272"/>
                      <a:pt x="309" y="272"/>
                      <a:pt x="309" y="272"/>
                    </a:cubicBezTo>
                    <a:cubicBezTo>
                      <a:pt x="310" y="273"/>
                      <a:pt x="310" y="273"/>
                      <a:pt x="310" y="273"/>
                    </a:cubicBezTo>
                    <a:cubicBezTo>
                      <a:pt x="311" y="274"/>
                      <a:pt x="311" y="274"/>
                      <a:pt x="311" y="274"/>
                    </a:cubicBezTo>
                    <a:cubicBezTo>
                      <a:pt x="312" y="273"/>
                      <a:pt x="312" y="273"/>
                      <a:pt x="312" y="273"/>
                    </a:cubicBezTo>
                    <a:cubicBezTo>
                      <a:pt x="313" y="274"/>
                      <a:pt x="313" y="274"/>
                      <a:pt x="313" y="274"/>
                    </a:cubicBezTo>
                    <a:cubicBezTo>
                      <a:pt x="313" y="275"/>
                      <a:pt x="313" y="275"/>
                      <a:pt x="313" y="275"/>
                    </a:cubicBezTo>
                    <a:cubicBezTo>
                      <a:pt x="314" y="276"/>
                      <a:pt x="314" y="276"/>
                      <a:pt x="314" y="276"/>
                    </a:cubicBezTo>
                    <a:cubicBezTo>
                      <a:pt x="316" y="275"/>
                      <a:pt x="316" y="275"/>
                      <a:pt x="316" y="275"/>
                    </a:cubicBezTo>
                    <a:cubicBezTo>
                      <a:pt x="317" y="275"/>
                      <a:pt x="317" y="275"/>
                      <a:pt x="317" y="275"/>
                    </a:cubicBezTo>
                    <a:cubicBezTo>
                      <a:pt x="318" y="276"/>
                      <a:pt x="318" y="276"/>
                      <a:pt x="318" y="276"/>
                    </a:cubicBezTo>
                    <a:cubicBezTo>
                      <a:pt x="320" y="276"/>
                      <a:pt x="320" y="276"/>
                      <a:pt x="320" y="276"/>
                    </a:cubicBezTo>
                    <a:cubicBezTo>
                      <a:pt x="321" y="276"/>
                      <a:pt x="321" y="276"/>
                      <a:pt x="321" y="276"/>
                    </a:cubicBezTo>
                    <a:cubicBezTo>
                      <a:pt x="323" y="277"/>
                      <a:pt x="323" y="277"/>
                      <a:pt x="323" y="277"/>
                    </a:cubicBezTo>
                    <a:cubicBezTo>
                      <a:pt x="325" y="276"/>
                      <a:pt x="325" y="276"/>
                      <a:pt x="325" y="276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8" y="277"/>
                      <a:pt x="328" y="277"/>
                      <a:pt x="328" y="277"/>
                    </a:cubicBezTo>
                    <a:cubicBezTo>
                      <a:pt x="330" y="276"/>
                      <a:pt x="330" y="276"/>
                      <a:pt x="330" y="276"/>
                    </a:cubicBezTo>
                    <a:cubicBezTo>
                      <a:pt x="332" y="277"/>
                      <a:pt x="332" y="277"/>
                      <a:pt x="332" y="277"/>
                    </a:cubicBezTo>
                    <a:cubicBezTo>
                      <a:pt x="332" y="278"/>
                      <a:pt x="332" y="278"/>
                      <a:pt x="332" y="278"/>
                    </a:cubicBezTo>
                    <a:cubicBezTo>
                      <a:pt x="333" y="277"/>
                      <a:pt x="333" y="277"/>
                      <a:pt x="333" y="277"/>
                    </a:cubicBezTo>
                    <a:cubicBezTo>
                      <a:pt x="334" y="279"/>
                      <a:pt x="334" y="279"/>
                      <a:pt x="334" y="279"/>
                    </a:cubicBezTo>
                    <a:cubicBezTo>
                      <a:pt x="335" y="280"/>
                      <a:pt x="335" y="280"/>
                      <a:pt x="335" y="280"/>
                    </a:cubicBezTo>
                    <a:cubicBezTo>
                      <a:pt x="335" y="281"/>
                      <a:pt x="335" y="281"/>
                      <a:pt x="335" y="281"/>
                    </a:cubicBezTo>
                    <a:cubicBezTo>
                      <a:pt x="336" y="282"/>
                      <a:pt x="336" y="282"/>
                      <a:pt x="336" y="282"/>
                    </a:cubicBezTo>
                    <a:cubicBezTo>
                      <a:pt x="338" y="282"/>
                      <a:pt x="338" y="282"/>
                      <a:pt x="338" y="282"/>
                    </a:cubicBezTo>
                    <a:cubicBezTo>
                      <a:pt x="339" y="283"/>
                      <a:pt x="339" y="283"/>
                      <a:pt x="339" y="283"/>
                    </a:cubicBezTo>
                    <a:cubicBezTo>
                      <a:pt x="339" y="284"/>
                      <a:pt x="339" y="284"/>
                      <a:pt x="339" y="284"/>
                    </a:cubicBezTo>
                    <a:cubicBezTo>
                      <a:pt x="340" y="284"/>
                      <a:pt x="340" y="284"/>
                      <a:pt x="340" y="284"/>
                    </a:cubicBezTo>
                    <a:cubicBezTo>
                      <a:pt x="342" y="286"/>
                      <a:pt x="342" y="286"/>
                      <a:pt x="342" y="286"/>
                    </a:cubicBezTo>
                    <a:cubicBezTo>
                      <a:pt x="341" y="286"/>
                      <a:pt x="341" y="286"/>
                      <a:pt x="341" y="286"/>
                    </a:cubicBezTo>
                    <a:cubicBezTo>
                      <a:pt x="341" y="288"/>
                      <a:pt x="341" y="288"/>
                      <a:pt x="341" y="288"/>
                    </a:cubicBezTo>
                    <a:cubicBezTo>
                      <a:pt x="343" y="289"/>
                      <a:pt x="343" y="289"/>
                      <a:pt x="343" y="289"/>
                    </a:cubicBezTo>
                    <a:cubicBezTo>
                      <a:pt x="345" y="291"/>
                      <a:pt x="345" y="291"/>
                      <a:pt x="345" y="291"/>
                    </a:cubicBezTo>
                    <a:cubicBezTo>
                      <a:pt x="345" y="292"/>
                      <a:pt x="345" y="292"/>
                      <a:pt x="345" y="292"/>
                    </a:cubicBezTo>
                    <a:cubicBezTo>
                      <a:pt x="345" y="293"/>
                      <a:pt x="345" y="293"/>
                      <a:pt x="345" y="293"/>
                    </a:cubicBezTo>
                    <a:cubicBezTo>
                      <a:pt x="345" y="294"/>
                      <a:pt x="345" y="294"/>
                      <a:pt x="345" y="294"/>
                    </a:cubicBezTo>
                    <a:cubicBezTo>
                      <a:pt x="344" y="293"/>
                      <a:pt x="344" y="293"/>
                      <a:pt x="344" y="293"/>
                    </a:cubicBezTo>
                    <a:cubicBezTo>
                      <a:pt x="341" y="292"/>
                      <a:pt x="341" y="292"/>
                      <a:pt x="341" y="292"/>
                    </a:cubicBezTo>
                    <a:cubicBezTo>
                      <a:pt x="338" y="292"/>
                      <a:pt x="338" y="292"/>
                      <a:pt x="338" y="292"/>
                    </a:cubicBezTo>
                    <a:cubicBezTo>
                      <a:pt x="337" y="292"/>
                      <a:pt x="337" y="292"/>
                      <a:pt x="337" y="292"/>
                    </a:cubicBezTo>
                    <a:cubicBezTo>
                      <a:pt x="335" y="292"/>
                      <a:pt x="335" y="292"/>
                      <a:pt x="335" y="292"/>
                    </a:cubicBezTo>
                    <a:cubicBezTo>
                      <a:pt x="335" y="292"/>
                      <a:pt x="335" y="292"/>
                      <a:pt x="335" y="292"/>
                    </a:cubicBezTo>
                    <a:cubicBezTo>
                      <a:pt x="334" y="292"/>
                      <a:pt x="334" y="292"/>
                      <a:pt x="334" y="292"/>
                    </a:cubicBezTo>
                    <a:cubicBezTo>
                      <a:pt x="332" y="290"/>
                      <a:pt x="332" y="290"/>
                      <a:pt x="332" y="290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30" y="289"/>
                      <a:pt x="330" y="289"/>
                      <a:pt x="330" y="289"/>
                    </a:cubicBezTo>
                    <a:cubicBezTo>
                      <a:pt x="329" y="288"/>
                      <a:pt x="329" y="288"/>
                      <a:pt x="329" y="288"/>
                    </a:cubicBezTo>
                    <a:cubicBezTo>
                      <a:pt x="327" y="289"/>
                      <a:pt x="327" y="289"/>
                      <a:pt x="327" y="289"/>
                    </a:cubicBezTo>
                    <a:cubicBezTo>
                      <a:pt x="326" y="288"/>
                      <a:pt x="326" y="288"/>
                      <a:pt x="326" y="288"/>
                    </a:cubicBezTo>
                    <a:cubicBezTo>
                      <a:pt x="325" y="288"/>
                      <a:pt x="325" y="288"/>
                      <a:pt x="325" y="288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23" y="285"/>
                      <a:pt x="323" y="285"/>
                      <a:pt x="323" y="285"/>
                    </a:cubicBezTo>
                    <a:cubicBezTo>
                      <a:pt x="322" y="285"/>
                      <a:pt x="322" y="285"/>
                      <a:pt x="322" y="285"/>
                    </a:cubicBezTo>
                    <a:cubicBezTo>
                      <a:pt x="321" y="285"/>
                      <a:pt x="321" y="285"/>
                      <a:pt x="321" y="285"/>
                    </a:cubicBezTo>
                    <a:cubicBezTo>
                      <a:pt x="319" y="285"/>
                      <a:pt x="319" y="285"/>
                      <a:pt x="319" y="285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3" y="285"/>
                      <a:pt x="313" y="285"/>
                      <a:pt x="313" y="285"/>
                    </a:cubicBezTo>
                    <a:cubicBezTo>
                      <a:pt x="311" y="284"/>
                      <a:pt x="311" y="284"/>
                      <a:pt x="311" y="284"/>
                    </a:cubicBezTo>
                    <a:cubicBezTo>
                      <a:pt x="309" y="284"/>
                      <a:pt x="309" y="284"/>
                      <a:pt x="309" y="284"/>
                    </a:cubicBezTo>
                    <a:cubicBezTo>
                      <a:pt x="301" y="284"/>
                      <a:pt x="301" y="284"/>
                      <a:pt x="301" y="284"/>
                    </a:cubicBezTo>
                    <a:cubicBezTo>
                      <a:pt x="300" y="284"/>
                      <a:pt x="300" y="284"/>
                      <a:pt x="300" y="284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7" y="286"/>
                      <a:pt x="297" y="286"/>
                      <a:pt x="297" y="286"/>
                    </a:cubicBezTo>
                    <a:cubicBezTo>
                      <a:pt x="297" y="289"/>
                      <a:pt x="297" y="289"/>
                      <a:pt x="297" y="289"/>
                    </a:cubicBezTo>
                    <a:cubicBezTo>
                      <a:pt x="295" y="292"/>
                      <a:pt x="295" y="292"/>
                      <a:pt x="295" y="292"/>
                    </a:cubicBezTo>
                    <a:cubicBezTo>
                      <a:pt x="296" y="295"/>
                      <a:pt x="296" y="295"/>
                      <a:pt x="296" y="295"/>
                    </a:cubicBezTo>
                    <a:cubicBezTo>
                      <a:pt x="295" y="296"/>
                      <a:pt x="295" y="296"/>
                      <a:pt x="295" y="296"/>
                    </a:cubicBezTo>
                    <a:cubicBezTo>
                      <a:pt x="295" y="297"/>
                      <a:pt x="295" y="297"/>
                      <a:pt x="295" y="297"/>
                    </a:cubicBezTo>
                    <a:cubicBezTo>
                      <a:pt x="297" y="298"/>
                      <a:pt x="297" y="298"/>
                      <a:pt x="297" y="298"/>
                    </a:cubicBezTo>
                    <a:cubicBezTo>
                      <a:pt x="296" y="299"/>
                      <a:pt x="296" y="299"/>
                      <a:pt x="296" y="299"/>
                    </a:cubicBezTo>
                    <a:cubicBezTo>
                      <a:pt x="296" y="299"/>
                      <a:pt x="296" y="299"/>
                      <a:pt x="296" y="299"/>
                    </a:cubicBez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8" y="305"/>
                      <a:pt x="298" y="305"/>
                      <a:pt x="298" y="305"/>
                    </a:cubicBezTo>
                    <a:cubicBezTo>
                      <a:pt x="299" y="306"/>
                      <a:pt x="299" y="306"/>
                      <a:pt x="299" y="306"/>
                    </a:cubicBezTo>
                    <a:cubicBezTo>
                      <a:pt x="302" y="307"/>
                      <a:pt x="302" y="307"/>
                      <a:pt x="302" y="307"/>
                    </a:cubicBezTo>
                    <a:cubicBezTo>
                      <a:pt x="302" y="308"/>
                      <a:pt x="302" y="308"/>
                      <a:pt x="302" y="308"/>
                    </a:cubicBezTo>
                    <a:cubicBezTo>
                      <a:pt x="304" y="308"/>
                      <a:pt x="304" y="308"/>
                      <a:pt x="304" y="308"/>
                    </a:cubicBezTo>
                    <a:cubicBezTo>
                      <a:pt x="305" y="309"/>
                      <a:pt x="305" y="309"/>
                      <a:pt x="305" y="309"/>
                    </a:cubicBezTo>
                    <a:cubicBezTo>
                      <a:pt x="306" y="309"/>
                      <a:pt x="306" y="309"/>
                      <a:pt x="306" y="309"/>
                    </a:cubicBezTo>
                    <a:cubicBezTo>
                      <a:pt x="308" y="308"/>
                      <a:pt x="308" y="308"/>
                      <a:pt x="308" y="308"/>
                    </a:cubicBezTo>
                    <a:cubicBezTo>
                      <a:pt x="310" y="308"/>
                      <a:pt x="310" y="308"/>
                      <a:pt x="310" y="308"/>
                    </a:cubicBezTo>
                    <a:cubicBezTo>
                      <a:pt x="311" y="310"/>
                      <a:pt x="311" y="310"/>
                      <a:pt x="311" y="310"/>
                    </a:cubicBezTo>
                    <a:cubicBezTo>
                      <a:pt x="313" y="310"/>
                      <a:pt x="313" y="310"/>
                      <a:pt x="313" y="310"/>
                    </a:cubicBezTo>
                    <a:cubicBezTo>
                      <a:pt x="314" y="312"/>
                      <a:pt x="314" y="312"/>
                      <a:pt x="314" y="312"/>
                    </a:cubicBezTo>
                    <a:cubicBezTo>
                      <a:pt x="315" y="312"/>
                      <a:pt x="315" y="312"/>
                      <a:pt x="315" y="312"/>
                    </a:cubicBezTo>
                    <a:cubicBezTo>
                      <a:pt x="316" y="314"/>
                      <a:pt x="316" y="314"/>
                      <a:pt x="316" y="314"/>
                    </a:cubicBezTo>
                    <a:cubicBezTo>
                      <a:pt x="314" y="314"/>
                      <a:pt x="314" y="314"/>
                      <a:pt x="314" y="314"/>
                    </a:cubicBezTo>
                    <a:cubicBezTo>
                      <a:pt x="314" y="315"/>
                      <a:pt x="314" y="315"/>
                      <a:pt x="314" y="315"/>
                    </a:cubicBezTo>
                    <a:cubicBezTo>
                      <a:pt x="313" y="316"/>
                      <a:pt x="313" y="316"/>
                      <a:pt x="313" y="316"/>
                    </a:cubicBezTo>
                    <a:cubicBezTo>
                      <a:pt x="313" y="317"/>
                      <a:pt x="313" y="317"/>
                      <a:pt x="313" y="317"/>
                    </a:cubicBezTo>
                    <a:cubicBezTo>
                      <a:pt x="312" y="319"/>
                      <a:pt x="312" y="319"/>
                      <a:pt x="312" y="319"/>
                    </a:cubicBezTo>
                    <a:cubicBezTo>
                      <a:pt x="310" y="320"/>
                      <a:pt x="310" y="320"/>
                      <a:pt x="310" y="320"/>
                    </a:cubicBezTo>
                    <a:cubicBezTo>
                      <a:pt x="310" y="321"/>
                      <a:pt x="310" y="321"/>
                      <a:pt x="310" y="321"/>
                    </a:cubicBezTo>
                    <a:cubicBezTo>
                      <a:pt x="309" y="322"/>
                      <a:pt x="309" y="322"/>
                      <a:pt x="309" y="322"/>
                    </a:cubicBezTo>
                    <a:cubicBezTo>
                      <a:pt x="311" y="323"/>
                      <a:pt x="311" y="323"/>
                      <a:pt x="311" y="323"/>
                    </a:cubicBezTo>
                    <a:cubicBezTo>
                      <a:pt x="311" y="325"/>
                      <a:pt x="311" y="325"/>
                      <a:pt x="311" y="325"/>
                    </a:cubicBezTo>
                    <a:cubicBezTo>
                      <a:pt x="312" y="328"/>
                      <a:pt x="312" y="328"/>
                      <a:pt x="312" y="328"/>
                    </a:cubicBezTo>
                    <a:cubicBezTo>
                      <a:pt x="312" y="329"/>
                      <a:pt x="312" y="329"/>
                      <a:pt x="312" y="329"/>
                    </a:cubicBezTo>
                    <a:cubicBezTo>
                      <a:pt x="309" y="329"/>
                      <a:pt x="309" y="329"/>
                      <a:pt x="309" y="329"/>
                    </a:cubicBezTo>
                    <a:cubicBezTo>
                      <a:pt x="310" y="330"/>
                      <a:pt x="310" y="330"/>
                      <a:pt x="310" y="330"/>
                    </a:cubicBezTo>
                    <a:cubicBezTo>
                      <a:pt x="313" y="331"/>
                      <a:pt x="313" y="331"/>
                      <a:pt x="313" y="331"/>
                    </a:cubicBezTo>
                    <a:cubicBezTo>
                      <a:pt x="315" y="331"/>
                      <a:pt x="315" y="331"/>
                      <a:pt x="315" y="331"/>
                    </a:cubicBezTo>
                    <a:cubicBezTo>
                      <a:pt x="315" y="331"/>
                      <a:pt x="315" y="331"/>
                      <a:pt x="315" y="331"/>
                    </a:cubicBezTo>
                    <a:cubicBezTo>
                      <a:pt x="316" y="331"/>
                      <a:pt x="316" y="331"/>
                      <a:pt x="316" y="331"/>
                    </a:cubicBezTo>
                    <a:cubicBezTo>
                      <a:pt x="317" y="330"/>
                      <a:pt x="317" y="330"/>
                      <a:pt x="317" y="330"/>
                    </a:cubicBezTo>
                    <a:cubicBezTo>
                      <a:pt x="318" y="330"/>
                      <a:pt x="318" y="330"/>
                      <a:pt x="318" y="330"/>
                    </a:cubicBezTo>
                    <a:cubicBezTo>
                      <a:pt x="319" y="331"/>
                      <a:pt x="319" y="331"/>
                      <a:pt x="319" y="331"/>
                    </a:cubicBezTo>
                    <a:cubicBezTo>
                      <a:pt x="321" y="331"/>
                      <a:pt x="321" y="331"/>
                      <a:pt x="321" y="331"/>
                    </a:cubicBezTo>
                    <a:cubicBezTo>
                      <a:pt x="324" y="332"/>
                      <a:pt x="324" y="332"/>
                      <a:pt x="324" y="332"/>
                    </a:cubicBezTo>
                    <a:cubicBezTo>
                      <a:pt x="325" y="331"/>
                      <a:pt x="325" y="331"/>
                      <a:pt x="325" y="331"/>
                    </a:cubicBezTo>
                    <a:cubicBezTo>
                      <a:pt x="328" y="331"/>
                      <a:pt x="328" y="331"/>
                      <a:pt x="328" y="331"/>
                    </a:cubicBezTo>
                    <a:cubicBezTo>
                      <a:pt x="328" y="332"/>
                      <a:pt x="328" y="332"/>
                      <a:pt x="328" y="332"/>
                    </a:cubicBezTo>
                    <a:cubicBezTo>
                      <a:pt x="329" y="332"/>
                      <a:pt x="329" y="332"/>
                      <a:pt x="329" y="332"/>
                    </a:cubicBezTo>
                    <a:cubicBezTo>
                      <a:pt x="330" y="331"/>
                      <a:pt x="330" y="331"/>
                      <a:pt x="330" y="331"/>
                    </a:cubicBezTo>
                    <a:cubicBezTo>
                      <a:pt x="331" y="331"/>
                      <a:pt x="331" y="331"/>
                      <a:pt x="331" y="331"/>
                    </a:cubicBezTo>
                    <a:cubicBezTo>
                      <a:pt x="332" y="331"/>
                      <a:pt x="332" y="331"/>
                      <a:pt x="332" y="331"/>
                    </a:cubicBezTo>
                    <a:cubicBezTo>
                      <a:pt x="332" y="333"/>
                      <a:pt x="332" y="333"/>
                      <a:pt x="332" y="333"/>
                    </a:cubicBezTo>
                    <a:cubicBezTo>
                      <a:pt x="333" y="332"/>
                      <a:pt x="333" y="332"/>
                      <a:pt x="333" y="332"/>
                    </a:cubicBezTo>
                    <a:cubicBezTo>
                      <a:pt x="334" y="332"/>
                      <a:pt x="334" y="332"/>
                      <a:pt x="334" y="332"/>
                    </a:cubicBezTo>
                    <a:cubicBezTo>
                      <a:pt x="335" y="332"/>
                      <a:pt x="335" y="332"/>
                      <a:pt x="335" y="332"/>
                    </a:cubicBezTo>
                    <a:cubicBezTo>
                      <a:pt x="335" y="334"/>
                      <a:pt x="335" y="334"/>
                      <a:pt x="335" y="334"/>
                    </a:cubicBezTo>
                    <a:cubicBezTo>
                      <a:pt x="336" y="334"/>
                      <a:pt x="336" y="334"/>
                      <a:pt x="336" y="334"/>
                    </a:cubicBezTo>
                    <a:cubicBezTo>
                      <a:pt x="337" y="333"/>
                      <a:pt x="337" y="333"/>
                      <a:pt x="337" y="333"/>
                    </a:cubicBezTo>
                    <a:cubicBezTo>
                      <a:pt x="339" y="333"/>
                      <a:pt x="339" y="333"/>
                      <a:pt x="339" y="333"/>
                    </a:cubicBezTo>
                    <a:cubicBezTo>
                      <a:pt x="340" y="332"/>
                      <a:pt x="340" y="332"/>
                      <a:pt x="340" y="332"/>
                    </a:cubicBezTo>
                    <a:cubicBezTo>
                      <a:pt x="342" y="331"/>
                      <a:pt x="342" y="331"/>
                      <a:pt x="342" y="331"/>
                    </a:cubicBezTo>
                    <a:cubicBezTo>
                      <a:pt x="343" y="331"/>
                      <a:pt x="343" y="331"/>
                      <a:pt x="343" y="331"/>
                    </a:cubicBezTo>
                    <a:cubicBezTo>
                      <a:pt x="345" y="329"/>
                      <a:pt x="345" y="329"/>
                      <a:pt x="345" y="329"/>
                    </a:cubicBezTo>
                    <a:cubicBezTo>
                      <a:pt x="348" y="328"/>
                      <a:pt x="348" y="328"/>
                      <a:pt x="348" y="328"/>
                    </a:cubicBezTo>
                    <a:cubicBezTo>
                      <a:pt x="349" y="328"/>
                      <a:pt x="349" y="328"/>
                      <a:pt x="349" y="328"/>
                    </a:cubicBezTo>
                    <a:cubicBezTo>
                      <a:pt x="350" y="327"/>
                      <a:pt x="350" y="327"/>
                      <a:pt x="350" y="327"/>
                    </a:cubicBezTo>
                    <a:cubicBezTo>
                      <a:pt x="351" y="327"/>
                      <a:pt x="351" y="327"/>
                      <a:pt x="351" y="327"/>
                    </a:cubicBezTo>
                    <a:cubicBezTo>
                      <a:pt x="353" y="327"/>
                      <a:pt x="353" y="327"/>
                      <a:pt x="353" y="327"/>
                    </a:cubicBezTo>
                    <a:cubicBezTo>
                      <a:pt x="354" y="327"/>
                      <a:pt x="354" y="327"/>
                      <a:pt x="354" y="327"/>
                    </a:cubicBezTo>
                    <a:cubicBezTo>
                      <a:pt x="356" y="328"/>
                      <a:pt x="356" y="328"/>
                      <a:pt x="356" y="328"/>
                    </a:cubicBezTo>
                    <a:cubicBezTo>
                      <a:pt x="359" y="328"/>
                      <a:pt x="359" y="328"/>
                      <a:pt x="359" y="328"/>
                    </a:cubicBezTo>
                    <a:cubicBezTo>
                      <a:pt x="363" y="325"/>
                      <a:pt x="363" y="325"/>
                      <a:pt x="363" y="325"/>
                    </a:cubicBezTo>
                    <a:cubicBezTo>
                      <a:pt x="364" y="324"/>
                      <a:pt x="364" y="324"/>
                      <a:pt x="364" y="324"/>
                    </a:cubicBezTo>
                    <a:cubicBezTo>
                      <a:pt x="364" y="324"/>
                      <a:pt x="364" y="324"/>
                      <a:pt x="364" y="324"/>
                    </a:cubicBezTo>
                    <a:cubicBezTo>
                      <a:pt x="365" y="324"/>
                      <a:pt x="365" y="324"/>
                      <a:pt x="365" y="324"/>
                    </a:cubicBezTo>
                    <a:cubicBezTo>
                      <a:pt x="366" y="323"/>
                      <a:pt x="366" y="323"/>
                      <a:pt x="366" y="323"/>
                    </a:cubicBezTo>
                    <a:cubicBezTo>
                      <a:pt x="367" y="323"/>
                      <a:pt x="367" y="323"/>
                      <a:pt x="367" y="323"/>
                    </a:cubicBezTo>
                    <a:cubicBezTo>
                      <a:pt x="367" y="321"/>
                      <a:pt x="367" y="321"/>
                      <a:pt x="367" y="321"/>
                    </a:cubicBezTo>
                    <a:cubicBezTo>
                      <a:pt x="368" y="321"/>
                      <a:pt x="368" y="321"/>
                      <a:pt x="368" y="321"/>
                    </a:cubicBezTo>
                    <a:cubicBezTo>
                      <a:pt x="368" y="321"/>
                      <a:pt x="368" y="321"/>
                      <a:pt x="368" y="321"/>
                    </a:cubicBezTo>
                    <a:cubicBezTo>
                      <a:pt x="369" y="321"/>
                      <a:pt x="369" y="321"/>
                      <a:pt x="369" y="321"/>
                    </a:cubicBezTo>
                    <a:cubicBezTo>
                      <a:pt x="370" y="320"/>
                      <a:pt x="370" y="320"/>
                      <a:pt x="370" y="320"/>
                    </a:cubicBezTo>
                    <a:cubicBezTo>
                      <a:pt x="370" y="319"/>
                      <a:pt x="370" y="319"/>
                      <a:pt x="370" y="319"/>
                    </a:cubicBezTo>
                    <a:cubicBezTo>
                      <a:pt x="371" y="319"/>
                      <a:pt x="371" y="319"/>
                      <a:pt x="371" y="319"/>
                    </a:cubicBezTo>
                    <a:cubicBezTo>
                      <a:pt x="372" y="319"/>
                      <a:pt x="372" y="319"/>
                      <a:pt x="372" y="319"/>
                    </a:cubicBezTo>
                    <a:cubicBezTo>
                      <a:pt x="372" y="320"/>
                      <a:pt x="372" y="320"/>
                      <a:pt x="372" y="320"/>
                    </a:cubicBezTo>
                    <a:cubicBezTo>
                      <a:pt x="372" y="321"/>
                      <a:pt x="372" y="321"/>
                      <a:pt x="372" y="321"/>
                    </a:cubicBezTo>
                    <a:cubicBezTo>
                      <a:pt x="373" y="322"/>
                      <a:pt x="373" y="322"/>
                      <a:pt x="373" y="322"/>
                    </a:cubicBezTo>
                    <a:cubicBezTo>
                      <a:pt x="372" y="323"/>
                      <a:pt x="372" y="323"/>
                      <a:pt x="372" y="323"/>
                    </a:cubicBezTo>
                    <a:cubicBezTo>
                      <a:pt x="372" y="324"/>
                      <a:pt x="372" y="324"/>
                      <a:pt x="372" y="324"/>
                    </a:cubicBezTo>
                    <a:cubicBezTo>
                      <a:pt x="371" y="325"/>
                      <a:pt x="371" y="325"/>
                      <a:pt x="371" y="325"/>
                    </a:cubicBezTo>
                    <a:cubicBezTo>
                      <a:pt x="370" y="326"/>
                      <a:pt x="370" y="326"/>
                      <a:pt x="370" y="326"/>
                    </a:cubicBezTo>
                    <a:cubicBezTo>
                      <a:pt x="370" y="327"/>
                      <a:pt x="370" y="327"/>
                      <a:pt x="370" y="327"/>
                    </a:cubicBezTo>
                    <a:cubicBezTo>
                      <a:pt x="371" y="327"/>
                      <a:pt x="371" y="327"/>
                      <a:pt x="371" y="327"/>
                    </a:cubicBezTo>
                    <a:cubicBezTo>
                      <a:pt x="373" y="328"/>
                      <a:pt x="373" y="328"/>
                      <a:pt x="373" y="328"/>
                    </a:cubicBezTo>
                    <a:cubicBezTo>
                      <a:pt x="373" y="328"/>
                      <a:pt x="373" y="328"/>
                      <a:pt x="373" y="328"/>
                    </a:cubicBezTo>
                    <a:cubicBezTo>
                      <a:pt x="374" y="327"/>
                      <a:pt x="374" y="327"/>
                      <a:pt x="374" y="327"/>
                    </a:cubicBezTo>
                    <a:cubicBezTo>
                      <a:pt x="376" y="328"/>
                      <a:pt x="376" y="328"/>
                      <a:pt x="376" y="328"/>
                    </a:cubicBezTo>
                    <a:cubicBezTo>
                      <a:pt x="377" y="330"/>
                      <a:pt x="377" y="330"/>
                      <a:pt x="377" y="330"/>
                    </a:cubicBezTo>
                    <a:cubicBezTo>
                      <a:pt x="377" y="331"/>
                      <a:pt x="377" y="331"/>
                      <a:pt x="377" y="331"/>
                    </a:cubicBezTo>
                    <a:cubicBezTo>
                      <a:pt x="378" y="330"/>
                      <a:pt x="378" y="330"/>
                      <a:pt x="378" y="330"/>
                    </a:cubicBezTo>
                    <a:cubicBezTo>
                      <a:pt x="378" y="329"/>
                      <a:pt x="378" y="329"/>
                      <a:pt x="378" y="329"/>
                    </a:cubicBezTo>
                    <a:cubicBezTo>
                      <a:pt x="379" y="330"/>
                      <a:pt x="379" y="330"/>
                      <a:pt x="379" y="330"/>
                    </a:cubicBezTo>
                    <a:cubicBezTo>
                      <a:pt x="379" y="331"/>
                      <a:pt x="379" y="331"/>
                      <a:pt x="379" y="331"/>
                    </a:cubicBezTo>
                    <a:cubicBezTo>
                      <a:pt x="378" y="332"/>
                      <a:pt x="378" y="332"/>
                      <a:pt x="378" y="332"/>
                    </a:cubicBezTo>
                    <a:cubicBezTo>
                      <a:pt x="377" y="332"/>
                      <a:pt x="377" y="332"/>
                      <a:pt x="377" y="332"/>
                    </a:cubicBezTo>
                    <a:cubicBezTo>
                      <a:pt x="376" y="334"/>
                      <a:pt x="376" y="334"/>
                      <a:pt x="376" y="334"/>
                    </a:cubicBezTo>
                    <a:cubicBezTo>
                      <a:pt x="376" y="335"/>
                      <a:pt x="376" y="335"/>
                      <a:pt x="376" y="335"/>
                    </a:cubicBezTo>
                    <a:cubicBezTo>
                      <a:pt x="377" y="335"/>
                      <a:pt x="377" y="335"/>
                      <a:pt x="377" y="335"/>
                    </a:cubicBezTo>
                    <a:cubicBezTo>
                      <a:pt x="378" y="335"/>
                      <a:pt x="378" y="335"/>
                      <a:pt x="378" y="335"/>
                    </a:cubicBezTo>
                    <a:cubicBezTo>
                      <a:pt x="380" y="336"/>
                      <a:pt x="380" y="336"/>
                      <a:pt x="380" y="336"/>
                    </a:cubicBezTo>
                    <a:cubicBezTo>
                      <a:pt x="381" y="336"/>
                      <a:pt x="381" y="336"/>
                      <a:pt x="381" y="336"/>
                    </a:cubicBezTo>
                    <a:cubicBezTo>
                      <a:pt x="382" y="334"/>
                      <a:pt x="382" y="334"/>
                      <a:pt x="382" y="334"/>
                    </a:cubicBezTo>
                    <a:cubicBezTo>
                      <a:pt x="383" y="334"/>
                      <a:pt x="383" y="334"/>
                      <a:pt x="383" y="334"/>
                    </a:cubicBezTo>
                    <a:cubicBezTo>
                      <a:pt x="383" y="335"/>
                      <a:pt x="383" y="335"/>
                      <a:pt x="383" y="335"/>
                    </a:cubicBezTo>
                    <a:cubicBezTo>
                      <a:pt x="384" y="337"/>
                      <a:pt x="384" y="337"/>
                      <a:pt x="384" y="337"/>
                    </a:cubicBezTo>
                    <a:cubicBezTo>
                      <a:pt x="385" y="338"/>
                      <a:pt x="385" y="338"/>
                      <a:pt x="385" y="338"/>
                    </a:cubicBezTo>
                    <a:cubicBezTo>
                      <a:pt x="386" y="337"/>
                      <a:pt x="386" y="337"/>
                      <a:pt x="386" y="337"/>
                    </a:cubicBezTo>
                    <a:cubicBezTo>
                      <a:pt x="387" y="337"/>
                      <a:pt x="387" y="337"/>
                      <a:pt x="387" y="337"/>
                    </a:cubicBezTo>
                    <a:cubicBezTo>
                      <a:pt x="388" y="339"/>
                      <a:pt x="388" y="339"/>
                      <a:pt x="388" y="339"/>
                    </a:cubicBezTo>
                    <a:cubicBezTo>
                      <a:pt x="390" y="339"/>
                      <a:pt x="390" y="339"/>
                      <a:pt x="390" y="339"/>
                    </a:cubicBezTo>
                    <a:cubicBezTo>
                      <a:pt x="390" y="340"/>
                      <a:pt x="390" y="340"/>
                      <a:pt x="390" y="340"/>
                    </a:cubicBezTo>
                    <a:cubicBezTo>
                      <a:pt x="391" y="340"/>
                      <a:pt x="391" y="340"/>
                      <a:pt x="391" y="340"/>
                    </a:cubicBezTo>
                    <a:cubicBezTo>
                      <a:pt x="391" y="338"/>
                      <a:pt x="391" y="338"/>
                      <a:pt x="391" y="338"/>
                    </a:cubicBezTo>
                    <a:cubicBezTo>
                      <a:pt x="392" y="338"/>
                      <a:pt x="392" y="338"/>
                      <a:pt x="392" y="338"/>
                    </a:cubicBezTo>
                    <a:cubicBezTo>
                      <a:pt x="393" y="338"/>
                      <a:pt x="393" y="338"/>
                      <a:pt x="393" y="338"/>
                    </a:cubicBezTo>
                    <a:cubicBezTo>
                      <a:pt x="394" y="338"/>
                      <a:pt x="394" y="338"/>
                      <a:pt x="394" y="338"/>
                    </a:cubicBezTo>
                    <a:cubicBezTo>
                      <a:pt x="394" y="340"/>
                      <a:pt x="394" y="340"/>
                      <a:pt x="394" y="340"/>
                    </a:cubicBezTo>
                    <a:cubicBezTo>
                      <a:pt x="395" y="340"/>
                      <a:pt x="395" y="340"/>
                      <a:pt x="395" y="340"/>
                    </a:cubicBezTo>
                    <a:cubicBezTo>
                      <a:pt x="396" y="340"/>
                      <a:pt x="396" y="340"/>
                      <a:pt x="396" y="340"/>
                    </a:cubicBezTo>
                    <a:cubicBezTo>
                      <a:pt x="397" y="338"/>
                      <a:pt x="397" y="338"/>
                      <a:pt x="397" y="338"/>
                    </a:cubicBezTo>
                    <a:cubicBezTo>
                      <a:pt x="398" y="339"/>
                      <a:pt x="398" y="339"/>
                      <a:pt x="398" y="339"/>
                    </a:cubicBezTo>
                    <a:cubicBezTo>
                      <a:pt x="398" y="340"/>
                      <a:pt x="398" y="340"/>
                      <a:pt x="398" y="340"/>
                    </a:cubicBezTo>
                    <a:cubicBezTo>
                      <a:pt x="399" y="340"/>
                      <a:pt x="399" y="340"/>
                      <a:pt x="399" y="340"/>
                    </a:cubicBezTo>
                    <a:cubicBezTo>
                      <a:pt x="400" y="339"/>
                      <a:pt x="400" y="339"/>
                      <a:pt x="400" y="339"/>
                    </a:cubicBezTo>
                    <a:cubicBezTo>
                      <a:pt x="400" y="339"/>
                      <a:pt x="400" y="339"/>
                      <a:pt x="400" y="339"/>
                    </a:cubicBezTo>
                    <a:cubicBezTo>
                      <a:pt x="401" y="338"/>
                      <a:pt x="401" y="338"/>
                      <a:pt x="401" y="338"/>
                    </a:cubicBezTo>
                    <a:cubicBezTo>
                      <a:pt x="402" y="338"/>
                      <a:pt x="402" y="338"/>
                      <a:pt x="402" y="338"/>
                    </a:cubicBezTo>
                    <a:cubicBezTo>
                      <a:pt x="403" y="338"/>
                      <a:pt x="403" y="338"/>
                      <a:pt x="403" y="338"/>
                    </a:cubicBezTo>
                    <a:cubicBezTo>
                      <a:pt x="404" y="339"/>
                      <a:pt x="404" y="339"/>
                      <a:pt x="404" y="339"/>
                    </a:cubicBezTo>
                    <a:cubicBezTo>
                      <a:pt x="404" y="338"/>
                      <a:pt x="404" y="338"/>
                      <a:pt x="404" y="338"/>
                    </a:cubicBezTo>
                    <a:close/>
                    <a:moveTo>
                      <a:pt x="585" y="408"/>
                    </a:moveTo>
                    <a:cubicBezTo>
                      <a:pt x="586" y="406"/>
                      <a:pt x="586" y="406"/>
                      <a:pt x="586" y="406"/>
                    </a:cubicBezTo>
                    <a:cubicBezTo>
                      <a:pt x="585" y="405"/>
                      <a:pt x="585" y="405"/>
                      <a:pt x="585" y="405"/>
                    </a:cubicBezTo>
                    <a:cubicBezTo>
                      <a:pt x="585" y="403"/>
                      <a:pt x="585" y="403"/>
                      <a:pt x="585" y="403"/>
                    </a:cubicBezTo>
                    <a:cubicBezTo>
                      <a:pt x="586" y="401"/>
                      <a:pt x="586" y="401"/>
                      <a:pt x="586" y="401"/>
                    </a:cubicBezTo>
                    <a:cubicBezTo>
                      <a:pt x="588" y="398"/>
                      <a:pt x="588" y="398"/>
                      <a:pt x="588" y="398"/>
                    </a:cubicBezTo>
                    <a:cubicBezTo>
                      <a:pt x="589" y="396"/>
                      <a:pt x="589" y="396"/>
                      <a:pt x="589" y="396"/>
                    </a:cubicBezTo>
                    <a:cubicBezTo>
                      <a:pt x="591" y="395"/>
                      <a:pt x="591" y="395"/>
                      <a:pt x="591" y="395"/>
                    </a:cubicBezTo>
                    <a:cubicBezTo>
                      <a:pt x="593" y="391"/>
                      <a:pt x="593" y="391"/>
                      <a:pt x="593" y="391"/>
                    </a:cubicBezTo>
                    <a:cubicBezTo>
                      <a:pt x="595" y="390"/>
                      <a:pt x="595" y="390"/>
                      <a:pt x="595" y="390"/>
                    </a:cubicBezTo>
                    <a:cubicBezTo>
                      <a:pt x="596" y="390"/>
                      <a:pt x="596" y="390"/>
                      <a:pt x="596" y="390"/>
                    </a:cubicBezTo>
                    <a:cubicBezTo>
                      <a:pt x="597" y="389"/>
                      <a:pt x="597" y="389"/>
                      <a:pt x="597" y="389"/>
                    </a:cubicBezTo>
                    <a:cubicBezTo>
                      <a:pt x="598" y="389"/>
                      <a:pt x="598" y="389"/>
                      <a:pt x="598" y="389"/>
                    </a:cubicBezTo>
                    <a:cubicBezTo>
                      <a:pt x="600" y="388"/>
                      <a:pt x="600" y="388"/>
                      <a:pt x="600" y="388"/>
                    </a:cubicBezTo>
                    <a:cubicBezTo>
                      <a:pt x="602" y="389"/>
                      <a:pt x="602" y="389"/>
                      <a:pt x="602" y="389"/>
                    </a:cubicBezTo>
                    <a:cubicBezTo>
                      <a:pt x="603" y="390"/>
                      <a:pt x="603" y="390"/>
                      <a:pt x="603" y="390"/>
                    </a:cubicBezTo>
                    <a:cubicBezTo>
                      <a:pt x="604" y="390"/>
                      <a:pt x="604" y="390"/>
                      <a:pt x="604" y="390"/>
                    </a:cubicBezTo>
                    <a:cubicBezTo>
                      <a:pt x="605" y="392"/>
                      <a:pt x="605" y="392"/>
                      <a:pt x="605" y="392"/>
                    </a:cubicBezTo>
                    <a:cubicBezTo>
                      <a:pt x="606" y="394"/>
                      <a:pt x="606" y="394"/>
                      <a:pt x="606" y="394"/>
                    </a:cubicBezTo>
                    <a:cubicBezTo>
                      <a:pt x="606" y="395"/>
                      <a:pt x="606" y="395"/>
                      <a:pt x="606" y="395"/>
                    </a:cubicBezTo>
                    <a:cubicBezTo>
                      <a:pt x="604" y="397"/>
                      <a:pt x="604" y="397"/>
                      <a:pt x="604" y="397"/>
                    </a:cubicBezTo>
                    <a:cubicBezTo>
                      <a:pt x="603" y="398"/>
                      <a:pt x="603" y="398"/>
                      <a:pt x="603" y="398"/>
                    </a:cubicBezTo>
                    <a:cubicBezTo>
                      <a:pt x="603" y="400"/>
                      <a:pt x="603" y="400"/>
                      <a:pt x="603" y="400"/>
                    </a:cubicBezTo>
                    <a:cubicBezTo>
                      <a:pt x="601" y="404"/>
                      <a:pt x="601" y="404"/>
                      <a:pt x="601" y="404"/>
                    </a:cubicBezTo>
                    <a:cubicBezTo>
                      <a:pt x="600" y="406"/>
                      <a:pt x="600" y="406"/>
                      <a:pt x="600" y="406"/>
                    </a:cubicBezTo>
                    <a:cubicBezTo>
                      <a:pt x="598" y="406"/>
                      <a:pt x="598" y="406"/>
                      <a:pt x="598" y="406"/>
                    </a:cubicBezTo>
                    <a:cubicBezTo>
                      <a:pt x="596" y="408"/>
                      <a:pt x="596" y="408"/>
                      <a:pt x="596" y="408"/>
                    </a:cubicBezTo>
                    <a:cubicBezTo>
                      <a:pt x="595" y="408"/>
                      <a:pt x="595" y="408"/>
                      <a:pt x="595" y="408"/>
                    </a:cubicBezTo>
                    <a:cubicBezTo>
                      <a:pt x="594" y="409"/>
                      <a:pt x="594" y="409"/>
                      <a:pt x="594" y="409"/>
                    </a:cubicBezTo>
                    <a:cubicBezTo>
                      <a:pt x="592" y="409"/>
                      <a:pt x="592" y="409"/>
                      <a:pt x="592" y="409"/>
                    </a:cubicBezTo>
                    <a:cubicBezTo>
                      <a:pt x="591" y="409"/>
                      <a:pt x="591" y="409"/>
                      <a:pt x="591" y="409"/>
                    </a:cubicBezTo>
                    <a:cubicBezTo>
                      <a:pt x="588" y="409"/>
                      <a:pt x="588" y="409"/>
                      <a:pt x="588" y="409"/>
                    </a:cubicBezTo>
                    <a:cubicBezTo>
                      <a:pt x="587" y="409"/>
                      <a:pt x="587" y="409"/>
                      <a:pt x="587" y="409"/>
                    </a:cubicBezTo>
                    <a:cubicBezTo>
                      <a:pt x="585" y="409"/>
                      <a:pt x="585" y="409"/>
                      <a:pt x="585" y="409"/>
                    </a:cubicBezTo>
                    <a:cubicBezTo>
                      <a:pt x="585" y="408"/>
                      <a:pt x="585" y="408"/>
                      <a:pt x="585" y="408"/>
                    </a:cubicBezTo>
                    <a:close/>
                    <a:moveTo>
                      <a:pt x="413" y="332"/>
                    </a:moveTo>
                    <a:cubicBezTo>
                      <a:pt x="413" y="331"/>
                      <a:pt x="413" y="331"/>
                      <a:pt x="413" y="331"/>
                    </a:cubicBezTo>
                    <a:cubicBezTo>
                      <a:pt x="413" y="330"/>
                      <a:pt x="413" y="330"/>
                      <a:pt x="413" y="330"/>
                    </a:cubicBezTo>
                    <a:cubicBezTo>
                      <a:pt x="415" y="330"/>
                      <a:pt x="415" y="330"/>
                      <a:pt x="415" y="330"/>
                    </a:cubicBezTo>
                    <a:cubicBezTo>
                      <a:pt x="414" y="328"/>
                      <a:pt x="414" y="328"/>
                      <a:pt x="414" y="328"/>
                    </a:cubicBezTo>
                    <a:cubicBezTo>
                      <a:pt x="414" y="327"/>
                      <a:pt x="414" y="327"/>
                      <a:pt x="414" y="327"/>
                    </a:cubicBezTo>
                    <a:cubicBezTo>
                      <a:pt x="415" y="327"/>
                      <a:pt x="415" y="327"/>
                      <a:pt x="415" y="327"/>
                    </a:cubicBezTo>
                    <a:cubicBezTo>
                      <a:pt x="415" y="328"/>
                      <a:pt x="415" y="328"/>
                      <a:pt x="415" y="328"/>
                    </a:cubicBezTo>
                    <a:cubicBezTo>
                      <a:pt x="416" y="329"/>
                      <a:pt x="416" y="329"/>
                      <a:pt x="416" y="329"/>
                    </a:cubicBezTo>
                    <a:cubicBezTo>
                      <a:pt x="416" y="330"/>
                      <a:pt x="416" y="330"/>
                      <a:pt x="416" y="330"/>
                    </a:cubicBezTo>
                    <a:cubicBezTo>
                      <a:pt x="415" y="331"/>
                      <a:pt x="415" y="331"/>
                      <a:pt x="415" y="331"/>
                    </a:cubicBezTo>
                    <a:cubicBezTo>
                      <a:pt x="415" y="331"/>
                      <a:pt x="415" y="331"/>
                      <a:pt x="415" y="331"/>
                    </a:cubicBezTo>
                    <a:cubicBezTo>
                      <a:pt x="414" y="332"/>
                      <a:pt x="414" y="332"/>
                      <a:pt x="414" y="332"/>
                    </a:cubicBezTo>
                    <a:cubicBezTo>
                      <a:pt x="413" y="332"/>
                      <a:pt x="413" y="332"/>
                      <a:pt x="413" y="332"/>
                    </a:cubicBezTo>
                    <a:close/>
                    <a:moveTo>
                      <a:pt x="397" y="347"/>
                    </a:moveTo>
                    <a:cubicBezTo>
                      <a:pt x="398" y="347"/>
                      <a:pt x="398" y="347"/>
                      <a:pt x="398" y="347"/>
                    </a:cubicBezTo>
                    <a:cubicBezTo>
                      <a:pt x="399" y="345"/>
                      <a:pt x="399" y="345"/>
                      <a:pt x="399" y="345"/>
                    </a:cubicBezTo>
                    <a:cubicBezTo>
                      <a:pt x="399" y="344"/>
                      <a:pt x="399" y="344"/>
                      <a:pt x="399" y="344"/>
                    </a:cubicBezTo>
                    <a:cubicBezTo>
                      <a:pt x="399" y="343"/>
                      <a:pt x="399" y="343"/>
                      <a:pt x="399" y="343"/>
                    </a:cubicBezTo>
                    <a:cubicBezTo>
                      <a:pt x="399" y="343"/>
                      <a:pt x="399" y="343"/>
                      <a:pt x="399" y="343"/>
                    </a:cubicBezTo>
                    <a:cubicBezTo>
                      <a:pt x="397" y="344"/>
                      <a:pt x="397" y="344"/>
                      <a:pt x="397" y="344"/>
                    </a:cubicBezTo>
                    <a:cubicBezTo>
                      <a:pt x="397" y="344"/>
                      <a:pt x="397" y="344"/>
                      <a:pt x="397" y="344"/>
                    </a:cubicBezTo>
                    <a:cubicBezTo>
                      <a:pt x="395" y="344"/>
                      <a:pt x="395" y="344"/>
                      <a:pt x="395" y="344"/>
                    </a:cubicBezTo>
                    <a:cubicBezTo>
                      <a:pt x="395" y="345"/>
                      <a:pt x="395" y="345"/>
                      <a:pt x="395" y="345"/>
                    </a:cubicBezTo>
                    <a:cubicBezTo>
                      <a:pt x="396" y="347"/>
                      <a:pt x="396" y="347"/>
                      <a:pt x="396" y="347"/>
                    </a:cubicBezTo>
                    <a:cubicBezTo>
                      <a:pt x="397" y="347"/>
                      <a:pt x="397" y="347"/>
                      <a:pt x="397" y="347"/>
                    </a:cubicBezTo>
                    <a:close/>
                    <a:moveTo>
                      <a:pt x="416" y="344"/>
                    </a:moveTo>
                    <a:cubicBezTo>
                      <a:pt x="414" y="345"/>
                      <a:pt x="414" y="345"/>
                      <a:pt x="414" y="345"/>
                    </a:cubicBezTo>
                    <a:cubicBezTo>
                      <a:pt x="414" y="346"/>
                      <a:pt x="414" y="346"/>
                      <a:pt x="414" y="346"/>
                    </a:cubicBezTo>
                    <a:cubicBezTo>
                      <a:pt x="413" y="347"/>
                      <a:pt x="413" y="347"/>
                      <a:pt x="413" y="347"/>
                    </a:cubicBezTo>
                    <a:cubicBezTo>
                      <a:pt x="412" y="345"/>
                      <a:pt x="412" y="345"/>
                      <a:pt x="412" y="345"/>
                    </a:cubicBezTo>
                    <a:cubicBezTo>
                      <a:pt x="412" y="344"/>
                      <a:pt x="412" y="344"/>
                      <a:pt x="412" y="344"/>
                    </a:cubicBezTo>
                    <a:cubicBezTo>
                      <a:pt x="414" y="341"/>
                      <a:pt x="414" y="341"/>
                      <a:pt x="414" y="341"/>
                    </a:cubicBezTo>
                    <a:cubicBezTo>
                      <a:pt x="414" y="340"/>
                      <a:pt x="414" y="340"/>
                      <a:pt x="414" y="340"/>
                    </a:cubicBezTo>
                    <a:cubicBezTo>
                      <a:pt x="415" y="339"/>
                      <a:pt x="415" y="339"/>
                      <a:pt x="415" y="339"/>
                    </a:cubicBezTo>
                    <a:cubicBezTo>
                      <a:pt x="416" y="339"/>
                      <a:pt x="416" y="339"/>
                      <a:pt x="416" y="339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17" y="342"/>
                      <a:pt x="417" y="342"/>
                      <a:pt x="417" y="342"/>
                    </a:cubicBezTo>
                    <a:cubicBezTo>
                      <a:pt x="416" y="344"/>
                      <a:pt x="416" y="344"/>
                      <a:pt x="416" y="344"/>
                    </a:cubicBezTo>
                    <a:close/>
                    <a:moveTo>
                      <a:pt x="419" y="341"/>
                    </a:moveTo>
                    <a:cubicBezTo>
                      <a:pt x="418" y="340"/>
                      <a:pt x="418" y="340"/>
                      <a:pt x="418" y="340"/>
                    </a:cubicBezTo>
                    <a:cubicBezTo>
                      <a:pt x="418" y="339"/>
                      <a:pt x="418" y="339"/>
                      <a:pt x="418" y="339"/>
                    </a:cubicBezTo>
                    <a:cubicBezTo>
                      <a:pt x="419" y="337"/>
                      <a:pt x="419" y="337"/>
                      <a:pt x="419" y="337"/>
                    </a:cubicBezTo>
                    <a:cubicBezTo>
                      <a:pt x="420" y="337"/>
                      <a:pt x="420" y="337"/>
                      <a:pt x="420" y="337"/>
                    </a:cubicBezTo>
                    <a:cubicBezTo>
                      <a:pt x="421" y="338"/>
                      <a:pt x="421" y="338"/>
                      <a:pt x="421" y="338"/>
                    </a:cubicBezTo>
                    <a:cubicBezTo>
                      <a:pt x="420" y="340"/>
                      <a:pt x="420" y="340"/>
                      <a:pt x="420" y="340"/>
                    </a:cubicBezTo>
                    <a:cubicBezTo>
                      <a:pt x="420" y="341"/>
                      <a:pt x="420" y="341"/>
                      <a:pt x="420" y="341"/>
                    </a:cubicBezTo>
                    <a:cubicBezTo>
                      <a:pt x="420" y="341"/>
                      <a:pt x="419" y="341"/>
                      <a:pt x="419" y="341"/>
                    </a:cubicBezTo>
                    <a:close/>
                    <a:moveTo>
                      <a:pt x="454" y="342"/>
                    </a:moveTo>
                    <a:cubicBezTo>
                      <a:pt x="455" y="339"/>
                      <a:pt x="455" y="339"/>
                      <a:pt x="455" y="339"/>
                    </a:cubicBezTo>
                    <a:cubicBezTo>
                      <a:pt x="457" y="337"/>
                      <a:pt x="457" y="337"/>
                      <a:pt x="457" y="337"/>
                    </a:cubicBezTo>
                    <a:cubicBezTo>
                      <a:pt x="460" y="338"/>
                      <a:pt x="460" y="338"/>
                      <a:pt x="460" y="338"/>
                    </a:cubicBezTo>
                    <a:cubicBezTo>
                      <a:pt x="460" y="339"/>
                      <a:pt x="460" y="339"/>
                      <a:pt x="460" y="339"/>
                    </a:cubicBezTo>
                    <a:cubicBezTo>
                      <a:pt x="458" y="343"/>
                      <a:pt x="458" y="343"/>
                      <a:pt x="458" y="343"/>
                    </a:cubicBezTo>
                    <a:cubicBezTo>
                      <a:pt x="456" y="343"/>
                      <a:pt x="456" y="343"/>
                      <a:pt x="456" y="343"/>
                    </a:cubicBezTo>
                    <a:cubicBezTo>
                      <a:pt x="457" y="342"/>
                      <a:pt x="457" y="342"/>
                      <a:pt x="457" y="342"/>
                    </a:cubicBezTo>
                    <a:cubicBezTo>
                      <a:pt x="457" y="340"/>
                      <a:pt x="457" y="340"/>
                      <a:pt x="457" y="340"/>
                    </a:cubicBezTo>
                    <a:cubicBezTo>
                      <a:pt x="456" y="341"/>
                      <a:pt x="456" y="341"/>
                      <a:pt x="456" y="341"/>
                    </a:cubicBezTo>
                    <a:cubicBezTo>
                      <a:pt x="456" y="342"/>
                      <a:pt x="456" y="342"/>
                      <a:pt x="456" y="342"/>
                    </a:cubicBezTo>
                    <a:cubicBezTo>
                      <a:pt x="456" y="342"/>
                      <a:pt x="454" y="342"/>
                      <a:pt x="454" y="342"/>
                    </a:cubicBezTo>
                    <a:close/>
                    <a:moveTo>
                      <a:pt x="453" y="340"/>
                    </a:moveTo>
                    <a:cubicBezTo>
                      <a:pt x="454" y="340"/>
                      <a:pt x="454" y="340"/>
                      <a:pt x="454" y="340"/>
                    </a:cubicBezTo>
                    <a:cubicBezTo>
                      <a:pt x="455" y="338"/>
                      <a:pt x="455" y="338"/>
                      <a:pt x="455" y="338"/>
                    </a:cubicBezTo>
                    <a:cubicBezTo>
                      <a:pt x="454" y="335"/>
                      <a:pt x="454" y="335"/>
                      <a:pt x="454" y="335"/>
                    </a:cubicBezTo>
                    <a:cubicBezTo>
                      <a:pt x="453" y="337"/>
                      <a:pt x="453" y="337"/>
                      <a:pt x="453" y="337"/>
                    </a:cubicBezTo>
                    <a:cubicBezTo>
                      <a:pt x="453" y="340"/>
                      <a:pt x="453" y="340"/>
                      <a:pt x="453" y="340"/>
                    </a:cubicBezTo>
                    <a:close/>
                    <a:moveTo>
                      <a:pt x="452" y="357"/>
                    </a:moveTo>
                    <a:cubicBezTo>
                      <a:pt x="452" y="356"/>
                      <a:pt x="452" y="356"/>
                      <a:pt x="452" y="356"/>
                    </a:cubicBezTo>
                    <a:cubicBezTo>
                      <a:pt x="455" y="354"/>
                      <a:pt x="455" y="354"/>
                      <a:pt x="455" y="354"/>
                    </a:cubicBezTo>
                    <a:cubicBezTo>
                      <a:pt x="455" y="352"/>
                      <a:pt x="455" y="352"/>
                      <a:pt x="455" y="352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2" y="352"/>
                      <a:pt x="452" y="352"/>
                      <a:pt x="452" y="352"/>
                    </a:cubicBezTo>
                    <a:cubicBezTo>
                      <a:pt x="454" y="348"/>
                      <a:pt x="454" y="348"/>
                      <a:pt x="454" y="348"/>
                    </a:cubicBezTo>
                    <a:cubicBezTo>
                      <a:pt x="455" y="346"/>
                      <a:pt x="455" y="346"/>
                      <a:pt x="455" y="346"/>
                    </a:cubicBezTo>
                    <a:cubicBezTo>
                      <a:pt x="452" y="347"/>
                      <a:pt x="452" y="347"/>
                      <a:pt x="452" y="347"/>
                    </a:cubicBezTo>
                    <a:cubicBezTo>
                      <a:pt x="451" y="350"/>
                      <a:pt x="451" y="350"/>
                      <a:pt x="451" y="350"/>
                    </a:cubicBezTo>
                    <a:cubicBezTo>
                      <a:pt x="451" y="348"/>
                      <a:pt x="451" y="348"/>
                      <a:pt x="451" y="348"/>
                    </a:cubicBezTo>
                    <a:cubicBezTo>
                      <a:pt x="452" y="343"/>
                      <a:pt x="452" y="343"/>
                      <a:pt x="452" y="343"/>
                    </a:cubicBezTo>
                    <a:cubicBezTo>
                      <a:pt x="451" y="337"/>
                      <a:pt x="451" y="337"/>
                      <a:pt x="451" y="337"/>
                    </a:cubicBezTo>
                    <a:cubicBezTo>
                      <a:pt x="449" y="335"/>
                      <a:pt x="449" y="335"/>
                      <a:pt x="449" y="335"/>
                    </a:cubicBezTo>
                    <a:cubicBezTo>
                      <a:pt x="449" y="333"/>
                      <a:pt x="449" y="333"/>
                      <a:pt x="449" y="333"/>
                    </a:cubicBezTo>
                    <a:cubicBezTo>
                      <a:pt x="447" y="333"/>
                      <a:pt x="447" y="333"/>
                      <a:pt x="447" y="333"/>
                    </a:cubicBezTo>
                    <a:cubicBezTo>
                      <a:pt x="446" y="335"/>
                      <a:pt x="446" y="335"/>
                      <a:pt x="446" y="335"/>
                    </a:cubicBezTo>
                    <a:cubicBezTo>
                      <a:pt x="446" y="333"/>
                      <a:pt x="446" y="333"/>
                      <a:pt x="446" y="333"/>
                    </a:cubicBezTo>
                    <a:cubicBezTo>
                      <a:pt x="447" y="331"/>
                      <a:pt x="447" y="331"/>
                      <a:pt x="447" y="331"/>
                    </a:cubicBezTo>
                    <a:cubicBezTo>
                      <a:pt x="446" y="329"/>
                      <a:pt x="446" y="329"/>
                      <a:pt x="446" y="329"/>
                    </a:cubicBezTo>
                    <a:cubicBezTo>
                      <a:pt x="447" y="328"/>
                      <a:pt x="447" y="328"/>
                      <a:pt x="447" y="328"/>
                    </a:cubicBezTo>
                    <a:cubicBezTo>
                      <a:pt x="447" y="326"/>
                      <a:pt x="447" y="326"/>
                      <a:pt x="447" y="326"/>
                    </a:cubicBezTo>
                    <a:cubicBezTo>
                      <a:pt x="444" y="326"/>
                      <a:pt x="444" y="326"/>
                      <a:pt x="444" y="326"/>
                    </a:cubicBezTo>
                    <a:cubicBezTo>
                      <a:pt x="441" y="329"/>
                      <a:pt x="441" y="329"/>
                      <a:pt x="441" y="329"/>
                    </a:cubicBezTo>
                    <a:cubicBezTo>
                      <a:pt x="440" y="332"/>
                      <a:pt x="440" y="332"/>
                      <a:pt x="440" y="332"/>
                    </a:cubicBezTo>
                    <a:cubicBezTo>
                      <a:pt x="440" y="335"/>
                      <a:pt x="440" y="335"/>
                      <a:pt x="440" y="335"/>
                    </a:cubicBezTo>
                    <a:cubicBezTo>
                      <a:pt x="439" y="335"/>
                      <a:pt x="439" y="335"/>
                      <a:pt x="439" y="335"/>
                    </a:cubicBezTo>
                    <a:cubicBezTo>
                      <a:pt x="438" y="332"/>
                      <a:pt x="438" y="332"/>
                      <a:pt x="438" y="332"/>
                    </a:cubicBezTo>
                    <a:cubicBezTo>
                      <a:pt x="437" y="332"/>
                      <a:pt x="437" y="332"/>
                      <a:pt x="437" y="332"/>
                    </a:cubicBezTo>
                    <a:cubicBezTo>
                      <a:pt x="437" y="334"/>
                      <a:pt x="437" y="334"/>
                      <a:pt x="437" y="334"/>
                    </a:cubicBezTo>
                    <a:cubicBezTo>
                      <a:pt x="436" y="334"/>
                      <a:pt x="436" y="334"/>
                      <a:pt x="436" y="334"/>
                    </a:cubicBezTo>
                    <a:cubicBezTo>
                      <a:pt x="437" y="336"/>
                      <a:pt x="437" y="336"/>
                      <a:pt x="437" y="336"/>
                    </a:cubicBezTo>
                    <a:cubicBezTo>
                      <a:pt x="436" y="338"/>
                      <a:pt x="436" y="338"/>
                      <a:pt x="436" y="338"/>
                    </a:cubicBezTo>
                    <a:cubicBezTo>
                      <a:pt x="434" y="338"/>
                      <a:pt x="434" y="338"/>
                      <a:pt x="434" y="338"/>
                    </a:cubicBezTo>
                    <a:cubicBezTo>
                      <a:pt x="433" y="340"/>
                      <a:pt x="433" y="340"/>
                      <a:pt x="433" y="340"/>
                    </a:cubicBezTo>
                    <a:cubicBezTo>
                      <a:pt x="430" y="339"/>
                      <a:pt x="430" y="339"/>
                      <a:pt x="430" y="339"/>
                    </a:cubicBezTo>
                    <a:cubicBezTo>
                      <a:pt x="429" y="340"/>
                      <a:pt x="429" y="340"/>
                      <a:pt x="429" y="340"/>
                    </a:cubicBezTo>
                    <a:cubicBezTo>
                      <a:pt x="427" y="340"/>
                      <a:pt x="427" y="340"/>
                      <a:pt x="427" y="340"/>
                    </a:cubicBezTo>
                    <a:cubicBezTo>
                      <a:pt x="423" y="342"/>
                      <a:pt x="423" y="342"/>
                      <a:pt x="423" y="342"/>
                    </a:cubicBezTo>
                    <a:cubicBezTo>
                      <a:pt x="423" y="344"/>
                      <a:pt x="423" y="344"/>
                      <a:pt x="423" y="344"/>
                    </a:cubicBezTo>
                    <a:cubicBezTo>
                      <a:pt x="425" y="347"/>
                      <a:pt x="425" y="347"/>
                      <a:pt x="425" y="347"/>
                    </a:cubicBezTo>
                    <a:cubicBezTo>
                      <a:pt x="427" y="346"/>
                      <a:pt x="427" y="346"/>
                      <a:pt x="427" y="346"/>
                    </a:cubicBezTo>
                    <a:cubicBezTo>
                      <a:pt x="427" y="345"/>
                      <a:pt x="427" y="345"/>
                      <a:pt x="427" y="345"/>
                    </a:cubicBezTo>
                    <a:cubicBezTo>
                      <a:pt x="427" y="343"/>
                      <a:pt x="427" y="343"/>
                      <a:pt x="427" y="343"/>
                    </a:cubicBezTo>
                    <a:cubicBezTo>
                      <a:pt x="429" y="345"/>
                      <a:pt x="429" y="345"/>
                      <a:pt x="429" y="345"/>
                    </a:cubicBezTo>
                    <a:cubicBezTo>
                      <a:pt x="428" y="348"/>
                      <a:pt x="428" y="348"/>
                      <a:pt x="428" y="348"/>
                    </a:cubicBezTo>
                    <a:cubicBezTo>
                      <a:pt x="430" y="349"/>
                      <a:pt x="430" y="349"/>
                      <a:pt x="430" y="349"/>
                    </a:cubicBezTo>
                    <a:cubicBezTo>
                      <a:pt x="431" y="347"/>
                      <a:pt x="431" y="347"/>
                      <a:pt x="431" y="347"/>
                    </a:cubicBezTo>
                    <a:cubicBezTo>
                      <a:pt x="432" y="349"/>
                      <a:pt x="432" y="349"/>
                      <a:pt x="432" y="349"/>
                    </a:cubicBezTo>
                    <a:cubicBezTo>
                      <a:pt x="431" y="350"/>
                      <a:pt x="431" y="350"/>
                      <a:pt x="431" y="350"/>
                    </a:cubicBezTo>
                    <a:cubicBezTo>
                      <a:pt x="434" y="353"/>
                      <a:pt x="434" y="353"/>
                      <a:pt x="434" y="353"/>
                    </a:cubicBezTo>
                    <a:cubicBezTo>
                      <a:pt x="436" y="353"/>
                      <a:pt x="436" y="353"/>
                      <a:pt x="436" y="353"/>
                    </a:cubicBezTo>
                    <a:cubicBezTo>
                      <a:pt x="436" y="356"/>
                      <a:pt x="436" y="356"/>
                      <a:pt x="436" y="356"/>
                    </a:cubicBezTo>
                    <a:cubicBezTo>
                      <a:pt x="438" y="358"/>
                      <a:pt x="438" y="358"/>
                      <a:pt x="438" y="358"/>
                    </a:cubicBezTo>
                    <a:cubicBezTo>
                      <a:pt x="439" y="355"/>
                      <a:pt x="439" y="355"/>
                      <a:pt x="439" y="355"/>
                    </a:cubicBezTo>
                    <a:cubicBezTo>
                      <a:pt x="439" y="357"/>
                      <a:pt x="439" y="357"/>
                      <a:pt x="439" y="357"/>
                    </a:cubicBezTo>
                    <a:cubicBezTo>
                      <a:pt x="442" y="359"/>
                      <a:pt x="442" y="359"/>
                      <a:pt x="442" y="359"/>
                    </a:cubicBezTo>
                    <a:cubicBezTo>
                      <a:pt x="443" y="359"/>
                      <a:pt x="443" y="359"/>
                      <a:pt x="443" y="359"/>
                    </a:cubicBezTo>
                    <a:cubicBezTo>
                      <a:pt x="445" y="359"/>
                      <a:pt x="445" y="359"/>
                      <a:pt x="445" y="359"/>
                    </a:cubicBezTo>
                    <a:cubicBezTo>
                      <a:pt x="447" y="357"/>
                      <a:pt x="447" y="357"/>
                      <a:pt x="447" y="357"/>
                    </a:cubicBezTo>
                    <a:cubicBezTo>
                      <a:pt x="448" y="357"/>
                      <a:pt x="448" y="357"/>
                      <a:pt x="448" y="357"/>
                    </a:cubicBezTo>
                    <a:cubicBezTo>
                      <a:pt x="451" y="355"/>
                      <a:pt x="451" y="355"/>
                      <a:pt x="451" y="355"/>
                    </a:cubicBezTo>
                    <a:cubicBezTo>
                      <a:pt x="452" y="357"/>
                      <a:pt x="452" y="357"/>
                      <a:pt x="452" y="357"/>
                    </a:cubicBezTo>
                    <a:close/>
                    <a:moveTo>
                      <a:pt x="650" y="343"/>
                    </a:moveTo>
                    <a:cubicBezTo>
                      <a:pt x="649" y="342"/>
                      <a:pt x="649" y="342"/>
                      <a:pt x="649" y="342"/>
                    </a:cubicBezTo>
                    <a:cubicBezTo>
                      <a:pt x="649" y="341"/>
                      <a:pt x="649" y="341"/>
                      <a:pt x="649" y="341"/>
                    </a:cubicBezTo>
                    <a:cubicBezTo>
                      <a:pt x="650" y="339"/>
                      <a:pt x="650" y="339"/>
                      <a:pt x="650" y="339"/>
                    </a:cubicBezTo>
                    <a:cubicBezTo>
                      <a:pt x="651" y="338"/>
                      <a:pt x="651" y="338"/>
                      <a:pt x="651" y="338"/>
                    </a:cubicBezTo>
                    <a:cubicBezTo>
                      <a:pt x="653" y="338"/>
                      <a:pt x="653" y="338"/>
                      <a:pt x="653" y="338"/>
                    </a:cubicBezTo>
                    <a:cubicBezTo>
                      <a:pt x="653" y="340"/>
                      <a:pt x="653" y="340"/>
                      <a:pt x="653" y="340"/>
                    </a:cubicBezTo>
                    <a:cubicBezTo>
                      <a:pt x="654" y="340"/>
                      <a:pt x="654" y="340"/>
                      <a:pt x="654" y="340"/>
                    </a:cubicBezTo>
                    <a:cubicBezTo>
                      <a:pt x="655" y="340"/>
                      <a:pt x="655" y="340"/>
                      <a:pt x="655" y="340"/>
                    </a:cubicBezTo>
                    <a:cubicBezTo>
                      <a:pt x="654" y="342"/>
                      <a:pt x="654" y="342"/>
                      <a:pt x="654" y="342"/>
                    </a:cubicBezTo>
                    <a:cubicBezTo>
                      <a:pt x="653" y="342"/>
                      <a:pt x="653" y="342"/>
                      <a:pt x="653" y="342"/>
                    </a:cubicBezTo>
                    <a:cubicBezTo>
                      <a:pt x="652" y="342"/>
                      <a:pt x="652" y="342"/>
                      <a:pt x="652" y="342"/>
                    </a:cubicBezTo>
                    <a:cubicBezTo>
                      <a:pt x="651" y="342"/>
                      <a:pt x="651" y="342"/>
                      <a:pt x="651" y="342"/>
                    </a:cubicBezTo>
                    <a:cubicBezTo>
                      <a:pt x="650" y="343"/>
                      <a:pt x="650" y="343"/>
                      <a:pt x="650" y="343"/>
                    </a:cubicBezTo>
                    <a:cubicBezTo>
                      <a:pt x="650" y="343"/>
                      <a:pt x="649" y="343"/>
                      <a:pt x="650" y="343"/>
                    </a:cubicBezTo>
                    <a:close/>
                    <a:moveTo>
                      <a:pt x="645" y="517"/>
                    </a:moveTo>
                    <a:cubicBezTo>
                      <a:pt x="643" y="517"/>
                      <a:pt x="643" y="517"/>
                      <a:pt x="643" y="517"/>
                    </a:cubicBezTo>
                    <a:cubicBezTo>
                      <a:pt x="642" y="516"/>
                      <a:pt x="642" y="516"/>
                      <a:pt x="642" y="516"/>
                    </a:cubicBezTo>
                    <a:cubicBezTo>
                      <a:pt x="639" y="514"/>
                      <a:pt x="639" y="514"/>
                      <a:pt x="639" y="514"/>
                    </a:cubicBezTo>
                    <a:cubicBezTo>
                      <a:pt x="637" y="513"/>
                      <a:pt x="637" y="513"/>
                      <a:pt x="637" y="513"/>
                    </a:cubicBezTo>
                    <a:cubicBezTo>
                      <a:pt x="636" y="513"/>
                      <a:pt x="636" y="513"/>
                      <a:pt x="636" y="513"/>
                    </a:cubicBezTo>
                    <a:cubicBezTo>
                      <a:pt x="634" y="511"/>
                      <a:pt x="634" y="511"/>
                      <a:pt x="634" y="511"/>
                    </a:cubicBezTo>
                    <a:cubicBezTo>
                      <a:pt x="633" y="510"/>
                      <a:pt x="633" y="510"/>
                      <a:pt x="633" y="510"/>
                    </a:cubicBezTo>
                    <a:cubicBezTo>
                      <a:pt x="632" y="509"/>
                      <a:pt x="632" y="509"/>
                      <a:pt x="632" y="509"/>
                    </a:cubicBezTo>
                    <a:cubicBezTo>
                      <a:pt x="631" y="509"/>
                      <a:pt x="631" y="509"/>
                      <a:pt x="631" y="509"/>
                    </a:cubicBezTo>
                    <a:cubicBezTo>
                      <a:pt x="629" y="509"/>
                      <a:pt x="629" y="509"/>
                      <a:pt x="629" y="509"/>
                    </a:cubicBezTo>
                    <a:cubicBezTo>
                      <a:pt x="629" y="509"/>
                      <a:pt x="629" y="509"/>
                      <a:pt x="629" y="509"/>
                    </a:cubicBezTo>
                    <a:cubicBezTo>
                      <a:pt x="626" y="508"/>
                      <a:pt x="626" y="508"/>
                      <a:pt x="626" y="508"/>
                    </a:cubicBezTo>
                    <a:cubicBezTo>
                      <a:pt x="625" y="507"/>
                      <a:pt x="625" y="507"/>
                      <a:pt x="625" y="507"/>
                    </a:cubicBezTo>
                    <a:cubicBezTo>
                      <a:pt x="624" y="506"/>
                      <a:pt x="624" y="506"/>
                      <a:pt x="624" y="506"/>
                    </a:cubicBezTo>
                    <a:cubicBezTo>
                      <a:pt x="623" y="506"/>
                      <a:pt x="623" y="506"/>
                      <a:pt x="623" y="506"/>
                    </a:cubicBezTo>
                    <a:cubicBezTo>
                      <a:pt x="621" y="504"/>
                      <a:pt x="621" y="504"/>
                      <a:pt x="621" y="504"/>
                    </a:cubicBezTo>
                    <a:cubicBezTo>
                      <a:pt x="621" y="502"/>
                      <a:pt x="621" y="502"/>
                      <a:pt x="621" y="502"/>
                    </a:cubicBezTo>
                    <a:cubicBezTo>
                      <a:pt x="620" y="502"/>
                      <a:pt x="620" y="502"/>
                      <a:pt x="620" y="502"/>
                    </a:cubicBezTo>
                    <a:cubicBezTo>
                      <a:pt x="619" y="502"/>
                      <a:pt x="619" y="502"/>
                      <a:pt x="619" y="502"/>
                    </a:cubicBezTo>
                    <a:cubicBezTo>
                      <a:pt x="618" y="500"/>
                      <a:pt x="618" y="500"/>
                      <a:pt x="618" y="500"/>
                    </a:cubicBezTo>
                    <a:cubicBezTo>
                      <a:pt x="619" y="499"/>
                      <a:pt x="619" y="499"/>
                      <a:pt x="619" y="499"/>
                    </a:cubicBezTo>
                    <a:cubicBezTo>
                      <a:pt x="620" y="498"/>
                      <a:pt x="620" y="498"/>
                      <a:pt x="620" y="498"/>
                    </a:cubicBezTo>
                    <a:cubicBezTo>
                      <a:pt x="618" y="498"/>
                      <a:pt x="618" y="498"/>
                      <a:pt x="618" y="498"/>
                    </a:cubicBezTo>
                    <a:cubicBezTo>
                      <a:pt x="618" y="498"/>
                      <a:pt x="618" y="498"/>
                      <a:pt x="618" y="498"/>
                    </a:cubicBezTo>
                    <a:cubicBezTo>
                      <a:pt x="617" y="499"/>
                      <a:pt x="617" y="499"/>
                      <a:pt x="617" y="499"/>
                    </a:cubicBezTo>
                    <a:cubicBezTo>
                      <a:pt x="616" y="498"/>
                      <a:pt x="616" y="498"/>
                      <a:pt x="616" y="498"/>
                    </a:cubicBezTo>
                    <a:cubicBezTo>
                      <a:pt x="616" y="497"/>
                      <a:pt x="616" y="497"/>
                      <a:pt x="616" y="497"/>
                    </a:cubicBezTo>
                    <a:cubicBezTo>
                      <a:pt x="615" y="497"/>
                      <a:pt x="615" y="497"/>
                      <a:pt x="615" y="497"/>
                    </a:cubicBezTo>
                    <a:cubicBezTo>
                      <a:pt x="612" y="495"/>
                      <a:pt x="612" y="495"/>
                      <a:pt x="612" y="495"/>
                    </a:cubicBezTo>
                    <a:cubicBezTo>
                      <a:pt x="610" y="495"/>
                      <a:pt x="610" y="495"/>
                      <a:pt x="610" y="495"/>
                    </a:cubicBezTo>
                    <a:cubicBezTo>
                      <a:pt x="609" y="494"/>
                      <a:pt x="609" y="494"/>
                      <a:pt x="609" y="494"/>
                    </a:cubicBezTo>
                    <a:cubicBezTo>
                      <a:pt x="608" y="493"/>
                      <a:pt x="608" y="493"/>
                      <a:pt x="608" y="493"/>
                    </a:cubicBezTo>
                    <a:cubicBezTo>
                      <a:pt x="608" y="492"/>
                      <a:pt x="608" y="492"/>
                      <a:pt x="608" y="492"/>
                    </a:cubicBezTo>
                    <a:cubicBezTo>
                      <a:pt x="606" y="492"/>
                      <a:pt x="606" y="492"/>
                      <a:pt x="606" y="492"/>
                    </a:cubicBezTo>
                    <a:cubicBezTo>
                      <a:pt x="605" y="490"/>
                      <a:pt x="605" y="490"/>
                      <a:pt x="605" y="490"/>
                    </a:cubicBezTo>
                    <a:cubicBezTo>
                      <a:pt x="604" y="489"/>
                      <a:pt x="604" y="489"/>
                      <a:pt x="604" y="489"/>
                    </a:cubicBezTo>
                    <a:cubicBezTo>
                      <a:pt x="604" y="486"/>
                      <a:pt x="604" y="486"/>
                      <a:pt x="604" y="486"/>
                    </a:cubicBezTo>
                    <a:cubicBezTo>
                      <a:pt x="602" y="485"/>
                      <a:pt x="602" y="485"/>
                      <a:pt x="602" y="485"/>
                    </a:cubicBezTo>
                    <a:cubicBezTo>
                      <a:pt x="603" y="485"/>
                      <a:pt x="603" y="485"/>
                      <a:pt x="603" y="485"/>
                    </a:cubicBezTo>
                    <a:cubicBezTo>
                      <a:pt x="605" y="485"/>
                      <a:pt x="605" y="485"/>
                      <a:pt x="605" y="485"/>
                    </a:cubicBezTo>
                    <a:cubicBezTo>
                      <a:pt x="609" y="482"/>
                      <a:pt x="609" y="482"/>
                      <a:pt x="609" y="482"/>
                    </a:cubicBezTo>
                    <a:cubicBezTo>
                      <a:pt x="610" y="481"/>
                      <a:pt x="610" y="481"/>
                      <a:pt x="610" y="481"/>
                    </a:cubicBezTo>
                    <a:cubicBezTo>
                      <a:pt x="607" y="482"/>
                      <a:pt x="607" y="482"/>
                      <a:pt x="607" y="482"/>
                    </a:cubicBezTo>
                    <a:cubicBezTo>
                      <a:pt x="606" y="480"/>
                      <a:pt x="606" y="480"/>
                      <a:pt x="606" y="480"/>
                    </a:cubicBezTo>
                    <a:cubicBezTo>
                      <a:pt x="605" y="477"/>
                      <a:pt x="605" y="477"/>
                      <a:pt x="605" y="477"/>
                    </a:cubicBezTo>
                    <a:cubicBezTo>
                      <a:pt x="605" y="477"/>
                      <a:pt x="605" y="477"/>
                      <a:pt x="605" y="477"/>
                    </a:cubicBezTo>
                    <a:cubicBezTo>
                      <a:pt x="604" y="477"/>
                      <a:pt x="604" y="477"/>
                      <a:pt x="604" y="477"/>
                    </a:cubicBezTo>
                    <a:cubicBezTo>
                      <a:pt x="603" y="479"/>
                      <a:pt x="603" y="479"/>
                      <a:pt x="603" y="479"/>
                    </a:cubicBezTo>
                    <a:cubicBezTo>
                      <a:pt x="603" y="480"/>
                      <a:pt x="603" y="480"/>
                      <a:pt x="603" y="480"/>
                    </a:cubicBezTo>
                    <a:cubicBezTo>
                      <a:pt x="602" y="479"/>
                      <a:pt x="602" y="479"/>
                      <a:pt x="602" y="479"/>
                    </a:cubicBezTo>
                    <a:cubicBezTo>
                      <a:pt x="603" y="477"/>
                      <a:pt x="603" y="477"/>
                      <a:pt x="603" y="477"/>
                    </a:cubicBezTo>
                    <a:cubicBezTo>
                      <a:pt x="603" y="474"/>
                      <a:pt x="603" y="474"/>
                      <a:pt x="603" y="474"/>
                    </a:cubicBezTo>
                    <a:cubicBezTo>
                      <a:pt x="602" y="476"/>
                      <a:pt x="602" y="476"/>
                      <a:pt x="602" y="476"/>
                    </a:cubicBezTo>
                    <a:cubicBezTo>
                      <a:pt x="601" y="476"/>
                      <a:pt x="601" y="476"/>
                      <a:pt x="601" y="476"/>
                    </a:cubicBezTo>
                    <a:cubicBezTo>
                      <a:pt x="601" y="473"/>
                      <a:pt x="601" y="473"/>
                      <a:pt x="601" y="473"/>
                    </a:cubicBezTo>
                    <a:cubicBezTo>
                      <a:pt x="599" y="474"/>
                      <a:pt x="599" y="474"/>
                      <a:pt x="599" y="474"/>
                    </a:cubicBezTo>
                    <a:cubicBezTo>
                      <a:pt x="599" y="472"/>
                      <a:pt x="599" y="472"/>
                      <a:pt x="599" y="472"/>
                    </a:cubicBezTo>
                    <a:cubicBezTo>
                      <a:pt x="599" y="470"/>
                      <a:pt x="599" y="470"/>
                      <a:pt x="599" y="470"/>
                    </a:cubicBezTo>
                    <a:cubicBezTo>
                      <a:pt x="598" y="468"/>
                      <a:pt x="598" y="468"/>
                      <a:pt x="598" y="468"/>
                    </a:cubicBezTo>
                    <a:cubicBezTo>
                      <a:pt x="597" y="467"/>
                      <a:pt x="597" y="467"/>
                      <a:pt x="597" y="467"/>
                    </a:cubicBezTo>
                    <a:cubicBezTo>
                      <a:pt x="597" y="465"/>
                      <a:pt x="597" y="465"/>
                      <a:pt x="597" y="465"/>
                    </a:cubicBezTo>
                    <a:cubicBezTo>
                      <a:pt x="599" y="463"/>
                      <a:pt x="599" y="463"/>
                      <a:pt x="599" y="463"/>
                    </a:cubicBezTo>
                    <a:cubicBezTo>
                      <a:pt x="598" y="462"/>
                      <a:pt x="598" y="462"/>
                      <a:pt x="598" y="462"/>
                    </a:cubicBezTo>
                    <a:cubicBezTo>
                      <a:pt x="595" y="465"/>
                      <a:pt x="595" y="465"/>
                      <a:pt x="595" y="465"/>
                    </a:cubicBezTo>
                    <a:cubicBezTo>
                      <a:pt x="595" y="467"/>
                      <a:pt x="595" y="467"/>
                      <a:pt x="595" y="467"/>
                    </a:cubicBezTo>
                    <a:cubicBezTo>
                      <a:pt x="594" y="466"/>
                      <a:pt x="594" y="466"/>
                      <a:pt x="594" y="466"/>
                    </a:cubicBezTo>
                    <a:cubicBezTo>
                      <a:pt x="596" y="463"/>
                      <a:pt x="596" y="463"/>
                      <a:pt x="596" y="463"/>
                    </a:cubicBezTo>
                    <a:cubicBezTo>
                      <a:pt x="594" y="463"/>
                      <a:pt x="594" y="463"/>
                      <a:pt x="594" y="463"/>
                    </a:cubicBezTo>
                    <a:cubicBezTo>
                      <a:pt x="593" y="463"/>
                      <a:pt x="593" y="463"/>
                      <a:pt x="593" y="463"/>
                    </a:cubicBezTo>
                    <a:cubicBezTo>
                      <a:pt x="593" y="463"/>
                      <a:pt x="593" y="463"/>
                      <a:pt x="593" y="463"/>
                    </a:cubicBezTo>
                    <a:cubicBezTo>
                      <a:pt x="592" y="466"/>
                      <a:pt x="592" y="466"/>
                      <a:pt x="592" y="466"/>
                    </a:cubicBezTo>
                    <a:cubicBezTo>
                      <a:pt x="590" y="467"/>
                      <a:pt x="590" y="467"/>
                      <a:pt x="590" y="467"/>
                    </a:cubicBezTo>
                    <a:cubicBezTo>
                      <a:pt x="590" y="465"/>
                      <a:pt x="590" y="465"/>
                      <a:pt x="590" y="465"/>
                    </a:cubicBezTo>
                    <a:cubicBezTo>
                      <a:pt x="591" y="463"/>
                      <a:pt x="591" y="463"/>
                      <a:pt x="591" y="463"/>
                    </a:cubicBezTo>
                    <a:cubicBezTo>
                      <a:pt x="591" y="462"/>
                      <a:pt x="591" y="462"/>
                      <a:pt x="591" y="462"/>
                    </a:cubicBezTo>
                    <a:cubicBezTo>
                      <a:pt x="591" y="460"/>
                      <a:pt x="591" y="460"/>
                      <a:pt x="591" y="460"/>
                    </a:cubicBezTo>
                    <a:cubicBezTo>
                      <a:pt x="590" y="461"/>
                      <a:pt x="590" y="461"/>
                      <a:pt x="590" y="461"/>
                    </a:cubicBezTo>
                    <a:cubicBezTo>
                      <a:pt x="588" y="462"/>
                      <a:pt x="588" y="462"/>
                      <a:pt x="588" y="462"/>
                    </a:cubicBezTo>
                    <a:cubicBezTo>
                      <a:pt x="587" y="462"/>
                      <a:pt x="587" y="462"/>
                      <a:pt x="587" y="462"/>
                    </a:cubicBezTo>
                    <a:cubicBezTo>
                      <a:pt x="586" y="464"/>
                      <a:pt x="586" y="464"/>
                      <a:pt x="586" y="464"/>
                    </a:cubicBezTo>
                    <a:cubicBezTo>
                      <a:pt x="586" y="465"/>
                      <a:pt x="586" y="465"/>
                      <a:pt x="586" y="465"/>
                    </a:cubicBezTo>
                    <a:cubicBezTo>
                      <a:pt x="583" y="465"/>
                      <a:pt x="583" y="465"/>
                      <a:pt x="583" y="465"/>
                    </a:cubicBezTo>
                    <a:cubicBezTo>
                      <a:pt x="582" y="463"/>
                      <a:pt x="582" y="463"/>
                      <a:pt x="582" y="463"/>
                    </a:cubicBezTo>
                    <a:cubicBezTo>
                      <a:pt x="581" y="463"/>
                      <a:pt x="581" y="463"/>
                      <a:pt x="581" y="463"/>
                    </a:cubicBezTo>
                    <a:cubicBezTo>
                      <a:pt x="579" y="460"/>
                      <a:pt x="579" y="460"/>
                      <a:pt x="579" y="460"/>
                    </a:cubicBezTo>
                    <a:cubicBezTo>
                      <a:pt x="578" y="460"/>
                      <a:pt x="578" y="460"/>
                      <a:pt x="578" y="460"/>
                    </a:cubicBezTo>
                    <a:cubicBezTo>
                      <a:pt x="578" y="461"/>
                      <a:pt x="578" y="461"/>
                      <a:pt x="578" y="461"/>
                    </a:cubicBezTo>
                    <a:cubicBezTo>
                      <a:pt x="578" y="463"/>
                      <a:pt x="578" y="463"/>
                      <a:pt x="578" y="463"/>
                    </a:cubicBezTo>
                    <a:cubicBezTo>
                      <a:pt x="577" y="464"/>
                      <a:pt x="577" y="464"/>
                      <a:pt x="577" y="464"/>
                    </a:cubicBezTo>
                    <a:cubicBezTo>
                      <a:pt x="575" y="464"/>
                      <a:pt x="575" y="464"/>
                      <a:pt x="575" y="464"/>
                    </a:cubicBezTo>
                    <a:cubicBezTo>
                      <a:pt x="574" y="464"/>
                      <a:pt x="574" y="464"/>
                      <a:pt x="574" y="464"/>
                    </a:cubicBezTo>
                    <a:cubicBezTo>
                      <a:pt x="572" y="464"/>
                      <a:pt x="572" y="464"/>
                      <a:pt x="572" y="464"/>
                    </a:cubicBezTo>
                    <a:cubicBezTo>
                      <a:pt x="571" y="465"/>
                      <a:pt x="571" y="465"/>
                      <a:pt x="571" y="465"/>
                    </a:cubicBezTo>
                    <a:cubicBezTo>
                      <a:pt x="569" y="465"/>
                      <a:pt x="569" y="465"/>
                      <a:pt x="569" y="465"/>
                    </a:cubicBezTo>
                    <a:cubicBezTo>
                      <a:pt x="569" y="466"/>
                      <a:pt x="569" y="466"/>
                      <a:pt x="569" y="466"/>
                    </a:cubicBezTo>
                    <a:cubicBezTo>
                      <a:pt x="567" y="465"/>
                      <a:pt x="567" y="465"/>
                      <a:pt x="567" y="465"/>
                    </a:cubicBezTo>
                    <a:cubicBezTo>
                      <a:pt x="564" y="465"/>
                      <a:pt x="564" y="465"/>
                      <a:pt x="564" y="465"/>
                    </a:cubicBezTo>
                    <a:cubicBezTo>
                      <a:pt x="564" y="464"/>
                      <a:pt x="564" y="464"/>
                      <a:pt x="564" y="464"/>
                    </a:cubicBezTo>
                    <a:cubicBezTo>
                      <a:pt x="562" y="462"/>
                      <a:pt x="562" y="462"/>
                      <a:pt x="562" y="462"/>
                    </a:cubicBezTo>
                    <a:cubicBezTo>
                      <a:pt x="561" y="462"/>
                      <a:pt x="561" y="462"/>
                      <a:pt x="561" y="462"/>
                    </a:cubicBezTo>
                    <a:cubicBezTo>
                      <a:pt x="560" y="461"/>
                      <a:pt x="560" y="461"/>
                      <a:pt x="560" y="461"/>
                    </a:cubicBezTo>
                    <a:cubicBezTo>
                      <a:pt x="558" y="457"/>
                      <a:pt x="558" y="457"/>
                      <a:pt x="558" y="457"/>
                    </a:cubicBezTo>
                    <a:cubicBezTo>
                      <a:pt x="559" y="455"/>
                      <a:pt x="559" y="455"/>
                      <a:pt x="559" y="455"/>
                    </a:cubicBezTo>
                    <a:cubicBezTo>
                      <a:pt x="561" y="454"/>
                      <a:pt x="561" y="454"/>
                      <a:pt x="561" y="454"/>
                    </a:cubicBezTo>
                    <a:cubicBezTo>
                      <a:pt x="561" y="452"/>
                      <a:pt x="561" y="452"/>
                      <a:pt x="561" y="452"/>
                    </a:cubicBezTo>
                    <a:cubicBezTo>
                      <a:pt x="562" y="450"/>
                      <a:pt x="562" y="450"/>
                      <a:pt x="562" y="450"/>
                    </a:cubicBezTo>
                    <a:cubicBezTo>
                      <a:pt x="564" y="450"/>
                      <a:pt x="564" y="450"/>
                      <a:pt x="564" y="450"/>
                    </a:cubicBezTo>
                    <a:cubicBezTo>
                      <a:pt x="565" y="449"/>
                      <a:pt x="565" y="449"/>
                      <a:pt x="565" y="449"/>
                    </a:cubicBezTo>
                    <a:cubicBezTo>
                      <a:pt x="567" y="448"/>
                      <a:pt x="567" y="448"/>
                      <a:pt x="567" y="448"/>
                    </a:cubicBezTo>
                    <a:cubicBezTo>
                      <a:pt x="568" y="449"/>
                      <a:pt x="568" y="449"/>
                      <a:pt x="568" y="449"/>
                    </a:cubicBezTo>
                    <a:cubicBezTo>
                      <a:pt x="568" y="447"/>
                      <a:pt x="568" y="447"/>
                      <a:pt x="568" y="447"/>
                    </a:cubicBezTo>
                    <a:cubicBezTo>
                      <a:pt x="567" y="446"/>
                      <a:pt x="567" y="446"/>
                      <a:pt x="567" y="446"/>
                    </a:cubicBezTo>
                    <a:cubicBezTo>
                      <a:pt x="567" y="445"/>
                      <a:pt x="567" y="445"/>
                      <a:pt x="567" y="445"/>
                    </a:cubicBezTo>
                    <a:cubicBezTo>
                      <a:pt x="568" y="444"/>
                      <a:pt x="568" y="444"/>
                      <a:pt x="568" y="444"/>
                    </a:cubicBezTo>
                    <a:cubicBezTo>
                      <a:pt x="569" y="445"/>
                      <a:pt x="569" y="445"/>
                      <a:pt x="569" y="445"/>
                    </a:cubicBezTo>
                    <a:cubicBezTo>
                      <a:pt x="569" y="444"/>
                      <a:pt x="569" y="444"/>
                      <a:pt x="569" y="444"/>
                    </a:cubicBezTo>
                    <a:cubicBezTo>
                      <a:pt x="569" y="442"/>
                      <a:pt x="569" y="442"/>
                      <a:pt x="569" y="442"/>
                    </a:cubicBezTo>
                    <a:cubicBezTo>
                      <a:pt x="570" y="442"/>
                      <a:pt x="570" y="442"/>
                      <a:pt x="570" y="442"/>
                    </a:cubicBezTo>
                    <a:cubicBezTo>
                      <a:pt x="572" y="445"/>
                      <a:pt x="572" y="445"/>
                      <a:pt x="572" y="445"/>
                    </a:cubicBezTo>
                    <a:cubicBezTo>
                      <a:pt x="574" y="445"/>
                      <a:pt x="574" y="445"/>
                      <a:pt x="574" y="445"/>
                    </a:cubicBezTo>
                    <a:cubicBezTo>
                      <a:pt x="576" y="447"/>
                      <a:pt x="576" y="447"/>
                      <a:pt x="576" y="447"/>
                    </a:cubicBezTo>
                    <a:cubicBezTo>
                      <a:pt x="577" y="448"/>
                      <a:pt x="577" y="448"/>
                      <a:pt x="577" y="448"/>
                    </a:cubicBezTo>
                    <a:cubicBezTo>
                      <a:pt x="578" y="448"/>
                      <a:pt x="578" y="448"/>
                      <a:pt x="578" y="448"/>
                    </a:cubicBezTo>
                    <a:cubicBezTo>
                      <a:pt x="580" y="450"/>
                      <a:pt x="580" y="450"/>
                      <a:pt x="580" y="450"/>
                    </a:cubicBezTo>
                    <a:cubicBezTo>
                      <a:pt x="581" y="448"/>
                      <a:pt x="581" y="448"/>
                      <a:pt x="581" y="448"/>
                    </a:cubicBezTo>
                    <a:cubicBezTo>
                      <a:pt x="583" y="448"/>
                      <a:pt x="583" y="448"/>
                      <a:pt x="583" y="448"/>
                    </a:cubicBezTo>
                    <a:cubicBezTo>
                      <a:pt x="583" y="450"/>
                      <a:pt x="583" y="450"/>
                      <a:pt x="583" y="450"/>
                    </a:cubicBezTo>
                    <a:cubicBezTo>
                      <a:pt x="585" y="450"/>
                      <a:pt x="585" y="450"/>
                      <a:pt x="585" y="450"/>
                    </a:cubicBezTo>
                    <a:cubicBezTo>
                      <a:pt x="587" y="450"/>
                      <a:pt x="587" y="450"/>
                      <a:pt x="587" y="450"/>
                    </a:cubicBezTo>
                    <a:cubicBezTo>
                      <a:pt x="588" y="449"/>
                      <a:pt x="588" y="449"/>
                      <a:pt x="588" y="449"/>
                    </a:cubicBezTo>
                    <a:cubicBezTo>
                      <a:pt x="589" y="447"/>
                      <a:pt x="589" y="447"/>
                      <a:pt x="589" y="447"/>
                    </a:cubicBezTo>
                    <a:cubicBezTo>
                      <a:pt x="592" y="447"/>
                      <a:pt x="592" y="447"/>
                      <a:pt x="592" y="447"/>
                    </a:cubicBezTo>
                    <a:cubicBezTo>
                      <a:pt x="592" y="447"/>
                      <a:pt x="592" y="447"/>
                      <a:pt x="592" y="447"/>
                    </a:cubicBezTo>
                    <a:cubicBezTo>
                      <a:pt x="591" y="448"/>
                      <a:pt x="591" y="448"/>
                      <a:pt x="591" y="448"/>
                    </a:cubicBezTo>
                    <a:cubicBezTo>
                      <a:pt x="592" y="449"/>
                      <a:pt x="592" y="449"/>
                      <a:pt x="592" y="449"/>
                    </a:cubicBezTo>
                    <a:cubicBezTo>
                      <a:pt x="594" y="447"/>
                      <a:pt x="594" y="447"/>
                      <a:pt x="594" y="447"/>
                    </a:cubicBezTo>
                    <a:cubicBezTo>
                      <a:pt x="595" y="446"/>
                      <a:pt x="595" y="446"/>
                      <a:pt x="595" y="446"/>
                    </a:cubicBezTo>
                    <a:cubicBezTo>
                      <a:pt x="597" y="445"/>
                      <a:pt x="597" y="445"/>
                      <a:pt x="597" y="445"/>
                    </a:cubicBezTo>
                    <a:cubicBezTo>
                      <a:pt x="597" y="446"/>
                      <a:pt x="597" y="446"/>
                      <a:pt x="597" y="446"/>
                    </a:cubicBezTo>
                    <a:cubicBezTo>
                      <a:pt x="598" y="448"/>
                      <a:pt x="598" y="448"/>
                      <a:pt x="598" y="448"/>
                    </a:cubicBezTo>
                    <a:cubicBezTo>
                      <a:pt x="598" y="450"/>
                      <a:pt x="598" y="450"/>
                      <a:pt x="598" y="450"/>
                    </a:cubicBezTo>
                    <a:cubicBezTo>
                      <a:pt x="598" y="448"/>
                      <a:pt x="598" y="448"/>
                      <a:pt x="598" y="448"/>
                    </a:cubicBezTo>
                    <a:cubicBezTo>
                      <a:pt x="600" y="447"/>
                      <a:pt x="600" y="447"/>
                      <a:pt x="600" y="447"/>
                    </a:cubicBezTo>
                    <a:cubicBezTo>
                      <a:pt x="600" y="448"/>
                      <a:pt x="600" y="448"/>
                      <a:pt x="600" y="448"/>
                    </a:cubicBezTo>
                    <a:cubicBezTo>
                      <a:pt x="601" y="447"/>
                      <a:pt x="601" y="447"/>
                      <a:pt x="601" y="447"/>
                    </a:cubicBezTo>
                    <a:cubicBezTo>
                      <a:pt x="601" y="442"/>
                      <a:pt x="601" y="442"/>
                      <a:pt x="601" y="442"/>
                    </a:cubicBezTo>
                    <a:cubicBezTo>
                      <a:pt x="599" y="439"/>
                      <a:pt x="599" y="439"/>
                      <a:pt x="599" y="439"/>
                    </a:cubicBezTo>
                    <a:cubicBezTo>
                      <a:pt x="599" y="438"/>
                      <a:pt x="599" y="438"/>
                      <a:pt x="599" y="438"/>
                    </a:cubicBezTo>
                    <a:cubicBezTo>
                      <a:pt x="598" y="436"/>
                      <a:pt x="598" y="436"/>
                      <a:pt x="598" y="436"/>
                    </a:cubicBezTo>
                    <a:cubicBezTo>
                      <a:pt x="598" y="434"/>
                      <a:pt x="598" y="434"/>
                      <a:pt x="598" y="434"/>
                    </a:cubicBezTo>
                    <a:cubicBezTo>
                      <a:pt x="599" y="433"/>
                      <a:pt x="599" y="433"/>
                      <a:pt x="599" y="433"/>
                    </a:cubicBezTo>
                    <a:cubicBezTo>
                      <a:pt x="600" y="433"/>
                      <a:pt x="600" y="433"/>
                      <a:pt x="600" y="433"/>
                    </a:cubicBezTo>
                    <a:cubicBezTo>
                      <a:pt x="603" y="430"/>
                      <a:pt x="603" y="430"/>
                      <a:pt x="603" y="430"/>
                    </a:cubicBezTo>
                    <a:cubicBezTo>
                      <a:pt x="606" y="428"/>
                      <a:pt x="606" y="428"/>
                      <a:pt x="606" y="428"/>
                    </a:cubicBezTo>
                    <a:cubicBezTo>
                      <a:pt x="608" y="428"/>
                      <a:pt x="608" y="428"/>
                      <a:pt x="608" y="428"/>
                    </a:cubicBezTo>
                    <a:cubicBezTo>
                      <a:pt x="610" y="425"/>
                      <a:pt x="610" y="425"/>
                      <a:pt x="610" y="425"/>
                    </a:cubicBezTo>
                    <a:cubicBezTo>
                      <a:pt x="611" y="425"/>
                      <a:pt x="611" y="425"/>
                      <a:pt x="611" y="425"/>
                    </a:cubicBezTo>
                    <a:cubicBezTo>
                      <a:pt x="612" y="426"/>
                      <a:pt x="612" y="426"/>
                      <a:pt x="612" y="426"/>
                    </a:cubicBezTo>
                    <a:cubicBezTo>
                      <a:pt x="614" y="426"/>
                      <a:pt x="614" y="426"/>
                      <a:pt x="614" y="426"/>
                    </a:cubicBezTo>
                    <a:cubicBezTo>
                      <a:pt x="614" y="425"/>
                      <a:pt x="614" y="425"/>
                      <a:pt x="614" y="425"/>
                    </a:cubicBezTo>
                    <a:cubicBezTo>
                      <a:pt x="612" y="424"/>
                      <a:pt x="612" y="424"/>
                      <a:pt x="612" y="424"/>
                    </a:cubicBezTo>
                    <a:cubicBezTo>
                      <a:pt x="612" y="423"/>
                      <a:pt x="612" y="423"/>
                      <a:pt x="612" y="423"/>
                    </a:cubicBezTo>
                    <a:cubicBezTo>
                      <a:pt x="615" y="420"/>
                      <a:pt x="615" y="420"/>
                      <a:pt x="615" y="420"/>
                    </a:cubicBezTo>
                    <a:cubicBezTo>
                      <a:pt x="616" y="418"/>
                      <a:pt x="616" y="418"/>
                      <a:pt x="616" y="418"/>
                    </a:cubicBezTo>
                    <a:cubicBezTo>
                      <a:pt x="617" y="418"/>
                      <a:pt x="617" y="418"/>
                      <a:pt x="617" y="418"/>
                    </a:cubicBezTo>
                    <a:cubicBezTo>
                      <a:pt x="620" y="418"/>
                      <a:pt x="620" y="418"/>
                      <a:pt x="620" y="418"/>
                    </a:cubicBezTo>
                    <a:cubicBezTo>
                      <a:pt x="622" y="417"/>
                      <a:pt x="622" y="417"/>
                      <a:pt x="622" y="417"/>
                    </a:cubicBezTo>
                    <a:cubicBezTo>
                      <a:pt x="623" y="416"/>
                      <a:pt x="623" y="416"/>
                      <a:pt x="623" y="416"/>
                    </a:cubicBezTo>
                    <a:cubicBezTo>
                      <a:pt x="622" y="414"/>
                      <a:pt x="622" y="414"/>
                      <a:pt x="622" y="414"/>
                    </a:cubicBezTo>
                    <a:cubicBezTo>
                      <a:pt x="623" y="413"/>
                      <a:pt x="623" y="413"/>
                      <a:pt x="623" y="413"/>
                    </a:cubicBezTo>
                    <a:cubicBezTo>
                      <a:pt x="623" y="409"/>
                      <a:pt x="623" y="409"/>
                      <a:pt x="623" y="409"/>
                    </a:cubicBezTo>
                    <a:cubicBezTo>
                      <a:pt x="623" y="408"/>
                      <a:pt x="623" y="408"/>
                      <a:pt x="623" y="408"/>
                    </a:cubicBezTo>
                    <a:cubicBezTo>
                      <a:pt x="623" y="408"/>
                      <a:pt x="623" y="408"/>
                      <a:pt x="623" y="408"/>
                    </a:cubicBezTo>
                    <a:cubicBezTo>
                      <a:pt x="623" y="406"/>
                      <a:pt x="623" y="406"/>
                      <a:pt x="623" y="406"/>
                    </a:cubicBezTo>
                    <a:cubicBezTo>
                      <a:pt x="624" y="404"/>
                      <a:pt x="624" y="404"/>
                      <a:pt x="624" y="404"/>
                    </a:cubicBezTo>
                    <a:cubicBezTo>
                      <a:pt x="624" y="403"/>
                      <a:pt x="624" y="403"/>
                      <a:pt x="624" y="403"/>
                    </a:cubicBezTo>
                    <a:cubicBezTo>
                      <a:pt x="623" y="402"/>
                      <a:pt x="623" y="402"/>
                      <a:pt x="623" y="402"/>
                    </a:cubicBezTo>
                    <a:cubicBezTo>
                      <a:pt x="623" y="401"/>
                      <a:pt x="623" y="401"/>
                      <a:pt x="623" y="401"/>
                    </a:cubicBezTo>
                    <a:cubicBezTo>
                      <a:pt x="623" y="399"/>
                      <a:pt x="623" y="399"/>
                      <a:pt x="623" y="399"/>
                    </a:cubicBezTo>
                    <a:cubicBezTo>
                      <a:pt x="625" y="398"/>
                      <a:pt x="625" y="398"/>
                      <a:pt x="625" y="398"/>
                    </a:cubicBezTo>
                    <a:cubicBezTo>
                      <a:pt x="625" y="397"/>
                      <a:pt x="625" y="397"/>
                      <a:pt x="625" y="397"/>
                    </a:cubicBezTo>
                    <a:cubicBezTo>
                      <a:pt x="626" y="395"/>
                      <a:pt x="626" y="395"/>
                      <a:pt x="626" y="395"/>
                    </a:cubicBezTo>
                    <a:cubicBezTo>
                      <a:pt x="626" y="394"/>
                      <a:pt x="626" y="394"/>
                      <a:pt x="626" y="394"/>
                    </a:cubicBezTo>
                    <a:cubicBezTo>
                      <a:pt x="625" y="394"/>
                      <a:pt x="625" y="394"/>
                      <a:pt x="625" y="394"/>
                    </a:cubicBezTo>
                    <a:cubicBezTo>
                      <a:pt x="624" y="396"/>
                      <a:pt x="624" y="396"/>
                      <a:pt x="624" y="396"/>
                    </a:cubicBezTo>
                    <a:cubicBezTo>
                      <a:pt x="624" y="397"/>
                      <a:pt x="624" y="397"/>
                      <a:pt x="624" y="397"/>
                    </a:cubicBezTo>
                    <a:cubicBezTo>
                      <a:pt x="623" y="397"/>
                      <a:pt x="623" y="397"/>
                      <a:pt x="623" y="397"/>
                    </a:cubicBezTo>
                    <a:cubicBezTo>
                      <a:pt x="623" y="396"/>
                      <a:pt x="623" y="396"/>
                      <a:pt x="623" y="396"/>
                    </a:cubicBezTo>
                    <a:cubicBezTo>
                      <a:pt x="623" y="394"/>
                      <a:pt x="623" y="394"/>
                      <a:pt x="623" y="394"/>
                    </a:cubicBezTo>
                    <a:cubicBezTo>
                      <a:pt x="622" y="394"/>
                      <a:pt x="622" y="394"/>
                      <a:pt x="622" y="394"/>
                    </a:cubicBezTo>
                    <a:cubicBezTo>
                      <a:pt x="618" y="393"/>
                      <a:pt x="618" y="393"/>
                      <a:pt x="618" y="393"/>
                    </a:cubicBezTo>
                    <a:cubicBezTo>
                      <a:pt x="617" y="392"/>
                      <a:pt x="617" y="392"/>
                      <a:pt x="617" y="392"/>
                    </a:cubicBezTo>
                    <a:cubicBezTo>
                      <a:pt x="618" y="391"/>
                      <a:pt x="618" y="391"/>
                      <a:pt x="618" y="391"/>
                    </a:cubicBezTo>
                    <a:cubicBezTo>
                      <a:pt x="620" y="390"/>
                      <a:pt x="620" y="390"/>
                      <a:pt x="620" y="390"/>
                    </a:cubicBezTo>
                    <a:cubicBezTo>
                      <a:pt x="620" y="389"/>
                      <a:pt x="620" y="389"/>
                      <a:pt x="620" y="389"/>
                    </a:cubicBezTo>
                    <a:cubicBezTo>
                      <a:pt x="619" y="389"/>
                      <a:pt x="619" y="389"/>
                      <a:pt x="619" y="389"/>
                    </a:cubicBezTo>
                    <a:cubicBezTo>
                      <a:pt x="620" y="387"/>
                      <a:pt x="620" y="387"/>
                      <a:pt x="620" y="387"/>
                    </a:cubicBezTo>
                    <a:cubicBezTo>
                      <a:pt x="620" y="385"/>
                      <a:pt x="620" y="385"/>
                      <a:pt x="620" y="385"/>
                    </a:cubicBezTo>
                    <a:cubicBezTo>
                      <a:pt x="617" y="384"/>
                      <a:pt x="617" y="384"/>
                      <a:pt x="617" y="384"/>
                    </a:cubicBezTo>
                    <a:cubicBezTo>
                      <a:pt x="617" y="384"/>
                      <a:pt x="617" y="384"/>
                      <a:pt x="617" y="384"/>
                    </a:cubicBezTo>
                    <a:cubicBezTo>
                      <a:pt x="616" y="385"/>
                      <a:pt x="616" y="385"/>
                      <a:pt x="616" y="385"/>
                    </a:cubicBezTo>
                    <a:cubicBezTo>
                      <a:pt x="617" y="387"/>
                      <a:pt x="617" y="387"/>
                      <a:pt x="617" y="387"/>
                    </a:cubicBezTo>
                    <a:cubicBezTo>
                      <a:pt x="617" y="388"/>
                      <a:pt x="617" y="388"/>
                      <a:pt x="617" y="388"/>
                    </a:cubicBezTo>
                    <a:cubicBezTo>
                      <a:pt x="614" y="388"/>
                      <a:pt x="614" y="388"/>
                      <a:pt x="614" y="388"/>
                    </a:cubicBezTo>
                    <a:cubicBezTo>
                      <a:pt x="614" y="386"/>
                      <a:pt x="614" y="386"/>
                      <a:pt x="614" y="386"/>
                    </a:cubicBezTo>
                    <a:cubicBezTo>
                      <a:pt x="613" y="386"/>
                      <a:pt x="613" y="386"/>
                      <a:pt x="613" y="386"/>
                    </a:cubicBezTo>
                    <a:cubicBezTo>
                      <a:pt x="612" y="384"/>
                      <a:pt x="612" y="384"/>
                      <a:pt x="612" y="384"/>
                    </a:cubicBezTo>
                    <a:cubicBezTo>
                      <a:pt x="614" y="382"/>
                      <a:pt x="614" y="382"/>
                      <a:pt x="614" y="382"/>
                    </a:cubicBezTo>
                    <a:cubicBezTo>
                      <a:pt x="614" y="381"/>
                      <a:pt x="614" y="381"/>
                      <a:pt x="614" y="381"/>
                    </a:cubicBezTo>
                    <a:cubicBezTo>
                      <a:pt x="611" y="381"/>
                      <a:pt x="611" y="381"/>
                      <a:pt x="611" y="381"/>
                    </a:cubicBezTo>
                    <a:cubicBezTo>
                      <a:pt x="611" y="381"/>
                      <a:pt x="611" y="381"/>
                      <a:pt x="611" y="381"/>
                    </a:cubicBezTo>
                    <a:cubicBezTo>
                      <a:pt x="613" y="380"/>
                      <a:pt x="613" y="380"/>
                      <a:pt x="613" y="380"/>
                    </a:cubicBezTo>
                    <a:cubicBezTo>
                      <a:pt x="613" y="379"/>
                      <a:pt x="613" y="379"/>
                      <a:pt x="613" y="379"/>
                    </a:cubicBezTo>
                    <a:cubicBezTo>
                      <a:pt x="612" y="379"/>
                      <a:pt x="612" y="379"/>
                      <a:pt x="612" y="379"/>
                    </a:cubicBezTo>
                    <a:cubicBezTo>
                      <a:pt x="613" y="378"/>
                      <a:pt x="613" y="378"/>
                      <a:pt x="613" y="378"/>
                    </a:cubicBezTo>
                    <a:cubicBezTo>
                      <a:pt x="615" y="377"/>
                      <a:pt x="615" y="377"/>
                      <a:pt x="615" y="377"/>
                    </a:cubicBezTo>
                    <a:cubicBezTo>
                      <a:pt x="615" y="376"/>
                      <a:pt x="615" y="376"/>
                      <a:pt x="615" y="376"/>
                    </a:cubicBezTo>
                    <a:cubicBezTo>
                      <a:pt x="614" y="376"/>
                      <a:pt x="614" y="376"/>
                      <a:pt x="614" y="376"/>
                    </a:cubicBezTo>
                    <a:cubicBezTo>
                      <a:pt x="612" y="377"/>
                      <a:pt x="612" y="377"/>
                      <a:pt x="612" y="377"/>
                    </a:cubicBezTo>
                    <a:cubicBezTo>
                      <a:pt x="611" y="379"/>
                      <a:pt x="611" y="379"/>
                      <a:pt x="611" y="379"/>
                    </a:cubicBezTo>
                    <a:cubicBezTo>
                      <a:pt x="609" y="380"/>
                      <a:pt x="609" y="380"/>
                      <a:pt x="609" y="380"/>
                    </a:cubicBezTo>
                    <a:cubicBezTo>
                      <a:pt x="609" y="379"/>
                      <a:pt x="609" y="379"/>
                      <a:pt x="609" y="379"/>
                    </a:cubicBezTo>
                    <a:cubicBezTo>
                      <a:pt x="609" y="377"/>
                      <a:pt x="609" y="377"/>
                      <a:pt x="609" y="377"/>
                    </a:cubicBezTo>
                    <a:cubicBezTo>
                      <a:pt x="608" y="378"/>
                      <a:pt x="608" y="378"/>
                      <a:pt x="608" y="378"/>
                    </a:cubicBezTo>
                    <a:cubicBezTo>
                      <a:pt x="607" y="379"/>
                      <a:pt x="607" y="379"/>
                      <a:pt x="607" y="379"/>
                    </a:cubicBezTo>
                    <a:cubicBezTo>
                      <a:pt x="605" y="379"/>
                      <a:pt x="605" y="379"/>
                      <a:pt x="605" y="379"/>
                    </a:cubicBezTo>
                    <a:cubicBezTo>
                      <a:pt x="604" y="380"/>
                      <a:pt x="604" y="380"/>
                      <a:pt x="604" y="380"/>
                    </a:cubicBezTo>
                    <a:cubicBezTo>
                      <a:pt x="602" y="380"/>
                      <a:pt x="602" y="380"/>
                      <a:pt x="602" y="380"/>
                    </a:cubicBezTo>
                    <a:cubicBezTo>
                      <a:pt x="601" y="381"/>
                      <a:pt x="601" y="381"/>
                      <a:pt x="601" y="381"/>
                    </a:cubicBezTo>
                    <a:cubicBezTo>
                      <a:pt x="601" y="381"/>
                      <a:pt x="601" y="381"/>
                      <a:pt x="601" y="381"/>
                    </a:cubicBezTo>
                    <a:cubicBezTo>
                      <a:pt x="600" y="381"/>
                      <a:pt x="600" y="381"/>
                      <a:pt x="600" y="381"/>
                    </a:cubicBezTo>
                    <a:cubicBezTo>
                      <a:pt x="600" y="380"/>
                      <a:pt x="600" y="380"/>
                      <a:pt x="600" y="380"/>
                    </a:cubicBezTo>
                    <a:cubicBezTo>
                      <a:pt x="601" y="379"/>
                      <a:pt x="601" y="379"/>
                      <a:pt x="601" y="379"/>
                    </a:cubicBezTo>
                    <a:cubicBezTo>
                      <a:pt x="600" y="378"/>
                      <a:pt x="600" y="378"/>
                      <a:pt x="600" y="378"/>
                    </a:cubicBezTo>
                    <a:cubicBezTo>
                      <a:pt x="600" y="378"/>
                      <a:pt x="600" y="378"/>
                      <a:pt x="600" y="378"/>
                    </a:cubicBezTo>
                    <a:cubicBezTo>
                      <a:pt x="601" y="376"/>
                      <a:pt x="601" y="376"/>
                      <a:pt x="601" y="376"/>
                    </a:cubicBezTo>
                    <a:cubicBezTo>
                      <a:pt x="602" y="375"/>
                      <a:pt x="602" y="375"/>
                      <a:pt x="602" y="375"/>
                    </a:cubicBezTo>
                    <a:cubicBezTo>
                      <a:pt x="603" y="376"/>
                      <a:pt x="603" y="376"/>
                      <a:pt x="603" y="376"/>
                    </a:cubicBezTo>
                    <a:cubicBezTo>
                      <a:pt x="604" y="377"/>
                      <a:pt x="604" y="377"/>
                      <a:pt x="604" y="377"/>
                    </a:cubicBezTo>
                    <a:cubicBezTo>
                      <a:pt x="605" y="376"/>
                      <a:pt x="605" y="376"/>
                      <a:pt x="605" y="376"/>
                    </a:cubicBezTo>
                    <a:cubicBezTo>
                      <a:pt x="606" y="376"/>
                      <a:pt x="606" y="376"/>
                      <a:pt x="606" y="376"/>
                    </a:cubicBezTo>
                    <a:cubicBezTo>
                      <a:pt x="608" y="374"/>
                      <a:pt x="608" y="374"/>
                      <a:pt x="608" y="374"/>
                    </a:cubicBezTo>
                    <a:cubicBezTo>
                      <a:pt x="608" y="373"/>
                      <a:pt x="608" y="373"/>
                      <a:pt x="608" y="373"/>
                    </a:cubicBezTo>
                    <a:cubicBezTo>
                      <a:pt x="608" y="372"/>
                      <a:pt x="608" y="372"/>
                      <a:pt x="608" y="372"/>
                    </a:cubicBezTo>
                    <a:cubicBezTo>
                      <a:pt x="607" y="370"/>
                      <a:pt x="607" y="370"/>
                      <a:pt x="607" y="370"/>
                    </a:cubicBezTo>
                    <a:cubicBezTo>
                      <a:pt x="605" y="370"/>
                      <a:pt x="605" y="370"/>
                      <a:pt x="605" y="370"/>
                    </a:cubicBezTo>
                    <a:cubicBezTo>
                      <a:pt x="604" y="368"/>
                      <a:pt x="604" y="368"/>
                      <a:pt x="604" y="368"/>
                    </a:cubicBezTo>
                    <a:cubicBezTo>
                      <a:pt x="604" y="367"/>
                      <a:pt x="604" y="367"/>
                      <a:pt x="604" y="367"/>
                    </a:cubicBezTo>
                    <a:cubicBezTo>
                      <a:pt x="603" y="366"/>
                      <a:pt x="603" y="366"/>
                      <a:pt x="603" y="366"/>
                    </a:cubicBezTo>
                    <a:cubicBezTo>
                      <a:pt x="603" y="365"/>
                      <a:pt x="603" y="365"/>
                      <a:pt x="603" y="365"/>
                    </a:cubicBezTo>
                    <a:cubicBezTo>
                      <a:pt x="602" y="365"/>
                      <a:pt x="602" y="365"/>
                      <a:pt x="602" y="365"/>
                    </a:cubicBezTo>
                    <a:cubicBezTo>
                      <a:pt x="601" y="364"/>
                      <a:pt x="601" y="364"/>
                      <a:pt x="601" y="364"/>
                    </a:cubicBezTo>
                    <a:cubicBezTo>
                      <a:pt x="600" y="364"/>
                      <a:pt x="600" y="364"/>
                      <a:pt x="600" y="364"/>
                    </a:cubicBezTo>
                    <a:cubicBezTo>
                      <a:pt x="600" y="362"/>
                      <a:pt x="600" y="362"/>
                      <a:pt x="600" y="362"/>
                    </a:cubicBezTo>
                    <a:cubicBezTo>
                      <a:pt x="601" y="362"/>
                      <a:pt x="601" y="362"/>
                      <a:pt x="601" y="362"/>
                    </a:cubicBezTo>
                    <a:cubicBezTo>
                      <a:pt x="602" y="363"/>
                      <a:pt x="602" y="363"/>
                      <a:pt x="602" y="363"/>
                    </a:cubicBezTo>
                    <a:cubicBezTo>
                      <a:pt x="603" y="362"/>
                      <a:pt x="603" y="362"/>
                      <a:pt x="603" y="362"/>
                    </a:cubicBezTo>
                    <a:cubicBezTo>
                      <a:pt x="603" y="361"/>
                      <a:pt x="603" y="361"/>
                      <a:pt x="603" y="361"/>
                    </a:cubicBezTo>
                    <a:cubicBezTo>
                      <a:pt x="605" y="360"/>
                      <a:pt x="605" y="360"/>
                      <a:pt x="605" y="360"/>
                    </a:cubicBezTo>
                    <a:cubicBezTo>
                      <a:pt x="602" y="360"/>
                      <a:pt x="602" y="360"/>
                      <a:pt x="602" y="360"/>
                    </a:cubicBezTo>
                    <a:cubicBezTo>
                      <a:pt x="601" y="359"/>
                      <a:pt x="601" y="359"/>
                      <a:pt x="601" y="359"/>
                    </a:cubicBezTo>
                    <a:cubicBezTo>
                      <a:pt x="600" y="359"/>
                      <a:pt x="600" y="359"/>
                      <a:pt x="600" y="359"/>
                    </a:cubicBezTo>
                    <a:cubicBezTo>
                      <a:pt x="600" y="358"/>
                      <a:pt x="600" y="358"/>
                      <a:pt x="600" y="358"/>
                    </a:cubicBezTo>
                    <a:cubicBezTo>
                      <a:pt x="598" y="358"/>
                      <a:pt x="598" y="358"/>
                      <a:pt x="598" y="358"/>
                    </a:cubicBezTo>
                    <a:cubicBezTo>
                      <a:pt x="597" y="359"/>
                      <a:pt x="597" y="359"/>
                      <a:pt x="597" y="359"/>
                    </a:cubicBezTo>
                    <a:cubicBezTo>
                      <a:pt x="597" y="359"/>
                      <a:pt x="597" y="359"/>
                      <a:pt x="597" y="359"/>
                    </a:cubicBezTo>
                    <a:cubicBezTo>
                      <a:pt x="597" y="358"/>
                      <a:pt x="597" y="358"/>
                      <a:pt x="597" y="358"/>
                    </a:cubicBezTo>
                    <a:cubicBezTo>
                      <a:pt x="598" y="355"/>
                      <a:pt x="598" y="355"/>
                      <a:pt x="598" y="355"/>
                    </a:cubicBezTo>
                    <a:cubicBezTo>
                      <a:pt x="600" y="353"/>
                      <a:pt x="600" y="353"/>
                      <a:pt x="600" y="353"/>
                    </a:cubicBezTo>
                    <a:cubicBezTo>
                      <a:pt x="600" y="352"/>
                      <a:pt x="600" y="352"/>
                      <a:pt x="600" y="352"/>
                    </a:cubicBezTo>
                    <a:cubicBezTo>
                      <a:pt x="601" y="349"/>
                      <a:pt x="601" y="349"/>
                      <a:pt x="601" y="349"/>
                    </a:cubicBezTo>
                    <a:cubicBezTo>
                      <a:pt x="601" y="347"/>
                      <a:pt x="601" y="347"/>
                      <a:pt x="601" y="347"/>
                    </a:cubicBezTo>
                    <a:cubicBezTo>
                      <a:pt x="602" y="346"/>
                      <a:pt x="602" y="346"/>
                      <a:pt x="602" y="346"/>
                    </a:cubicBezTo>
                    <a:cubicBezTo>
                      <a:pt x="601" y="345"/>
                      <a:pt x="601" y="345"/>
                      <a:pt x="601" y="345"/>
                    </a:cubicBezTo>
                    <a:cubicBezTo>
                      <a:pt x="599" y="346"/>
                      <a:pt x="599" y="346"/>
                      <a:pt x="599" y="346"/>
                    </a:cubicBezTo>
                    <a:cubicBezTo>
                      <a:pt x="598" y="345"/>
                      <a:pt x="598" y="345"/>
                      <a:pt x="598" y="345"/>
                    </a:cubicBezTo>
                    <a:cubicBezTo>
                      <a:pt x="598" y="346"/>
                      <a:pt x="598" y="346"/>
                      <a:pt x="598" y="346"/>
                    </a:cubicBezTo>
                    <a:cubicBezTo>
                      <a:pt x="597" y="347"/>
                      <a:pt x="597" y="347"/>
                      <a:pt x="597" y="347"/>
                    </a:cubicBezTo>
                    <a:cubicBezTo>
                      <a:pt x="596" y="347"/>
                      <a:pt x="596" y="347"/>
                      <a:pt x="596" y="347"/>
                    </a:cubicBezTo>
                    <a:cubicBezTo>
                      <a:pt x="594" y="344"/>
                      <a:pt x="594" y="344"/>
                      <a:pt x="594" y="344"/>
                    </a:cubicBezTo>
                    <a:cubicBezTo>
                      <a:pt x="594" y="343"/>
                      <a:pt x="594" y="343"/>
                      <a:pt x="594" y="343"/>
                    </a:cubicBezTo>
                    <a:cubicBezTo>
                      <a:pt x="593" y="342"/>
                      <a:pt x="593" y="342"/>
                      <a:pt x="593" y="342"/>
                    </a:cubicBezTo>
                    <a:cubicBezTo>
                      <a:pt x="592" y="341"/>
                      <a:pt x="592" y="341"/>
                      <a:pt x="592" y="341"/>
                    </a:cubicBezTo>
                    <a:cubicBezTo>
                      <a:pt x="593" y="339"/>
                      <a:pt x="593" y="339"/>
                      <a:pt x="593" y="339"/>
                    </a:cubicBezTo>
                    <a:cubicBezTo>
                      <a:pt x="594" y="338"/>
                      <a:pt x="594" y="338"/>
                      <a:pt x="594" y="338"/>
                    </a:cubicBezTo>
                    <a:cubicBezTo>
                      <a:pt x="595" y="337"/>
                      <a:pt x="595" y="337"/>
                      <a:pt x="595" y="337"/>
                    </a:cubicBezTo>
                    <a:cubicBezTo>
                      <a:pt x="594" y="336"/>
                      <a:pt x="594" y="336"/>
                      <a:pt x="594" y="336"/>
                    </a:cubicBezTo>
                    <a:cubicBezTo>
                      <a:pt x="594" y="334"/>
                      <a:pt x="594" y="334"/>
                      <a:pt x="594" y="334"/>
                    </a:cubicBezTo>
                    <a:cubicBezTo>
                      <a:pt x="593" y="334"/>
                      <a:pt x="593" y="334"/>
                      <a:pt x="593" y="334"/>
                    </a:cubicBezTo>
                    <a:cubicBezTo>
                      <a:pt x="592" y="336"/>
                      <a:pt x="592" y="336"/>
                      <a:pt x="592" y="336"/>
                    </a:cubicBezTo>
                    <a:cubicBezTo>
                      <a:pt x="592" y="338"/>
                      <a:pt x="592" y="338"/>
                      <a:pt x="592" y="338"/>
                    </a:cubicBezTo>
                    <a:cubicBezTo>
                      <a:pt x="591" y="340"/>
                      <a:pt x="591" y="340"/>
                      <a:pt x="591" y="340"/>
                    </a:cubicBezTo>
                    <a:cubicBezTo>
                      <a:pt x="590" y="338"/>
                      <a:pt x="590" y="338"/>
                      <a:pt x="590" y="338"/>
                    </a:cubicBezTo>
                    <a:cubicBezTo>
                      <a:pt x="589" y="337"/>
                      <a:pt x="589" y="337"/>
                      <a:pt x="589" y="337"/>
                    </a:cubicBezTo>
                    <a:cubicBezTo>
                      <a:pt x="589" y="338"/>
                      <a:pt x="589" y="338"/>
                      <a:pt x="589" y="338"/>
                    </a:cubicBezTo>
                    <a:cubicBezTo>
                      <a:pt x="589" y="339"/>
                      <a:pt x="589" y="339"/>
                      <a:pt x="589" y="339"/>
                    </a:cubicBezTo>
                    <a:cubicBezTo>
                      <a:pt x="588" y="339"/>
                      <a:pt x="588" y="339"/>
                      <a:pt x="588" y="339"/>
                    </a:cubicBezTo>
                    <a:cubicBezTo>
                      <a:pt x="587" y="341"/>
                      <a:pt x="587" y="341"/>
                      <a:pt x="587" y="341"/>
                    </a:cubicBezTo>
                    <a:cubicBezTo>
                      <a:pt x="589" y="344"/>
                      <a:pt x="589" y="344"/>
                      <a:pt x="589" y="344"/>
                    </a:cubicBezTo>
                    <a:cubicBezTo>
                      <a:pt x="590" y="343"/>
                      <a:pt x="590" y="343"/>
                      <a:pt x="590" y="343"/>
                    </a:cubicBezTo>
                    <a:cubicBezTo>
                      <a:pt x="592" y="347"/>
                      <a:pt x="592" y="347"/>
                      <a:pt x="592" y="347"/>
                    </a:cubicBezTo>
                    <a:cubicBezTo>
                      <a:pt x="593" y="348"/>
                      <a:pt x="593" y="348"/>
                      <a:pt x="593" y="348"/>
                    </a:cubicBezTo>
                    <a:cubicBezTo>
                      <a:pt x="592" y="350"/>
                      <a:pt x="592" y="350"/>
                      <a:pt x="592" y="350"/>
                    </a:cubicBezTo>
                    <a:cubicBezTo>
                      <a:pt x="592" y="351"/>
                      <a:pt x="592" y="351"/>
                      <a:pt x="592" y="351"/>
                    </a:cubicBezTo>
                    <a:cubicBezTo>
                      <a:pt x="591" y="354"/>
                      <a:pt x="591" y="354"/>
                      <a:pt x="591" y="354"/>
                    </a:cubicBezTo>
                    <a:cubicBezTo>
                      <a:pt x="589" y="354"/>
                      <a:pt x="589" y="354"/>
                      <a:pt x="589" y="354"/>
                    </a:cubicBezTo>
                    <a:cubicBezTo>
                      <a:pt x="585" y="354"/>
                      <a:pt x="585" y="354"/>
                      <a:pt x="585" y="354"/>
                    </a:cubicBezTo>
                    <a:cubicBezTo>
                      <a:pt x="584" y="354"/>
                      <a:pt x="584" y="354"/>
                      <a:pt x="584" y="354"/>
                    </a:cubicBezTo>
                    <a:cubicBezTo>
                      <a:pt x="583" y="354"/>
                      <a:pt x="583" y="354"/>
                      <a:pt x="583" y="354"/>
                    </a:cubicBezTo>
                    <a:cubicBezTo>
                      <a:pt x="581" y="353"/>
                      <a:pt x="581" y="353"/>
                      <a:pt x="581" y="353"/>
                    </a:cubicBezTo>
                    <a:cubicBezTo>
                      <a:pt x="581" y="352"/>
                      <a:pt x="581" y="352"/>
                      <a:pt x="581" y="352"/>
                    </a:cubicBezTo>
                    <a:cubicBezTo>
                      <a:pt x="581" y="350"/>
                      <a:pt x="581" y="350"/>
                      <a:pt x="581" y="350"/>
                    </a:cubicBezTo>
                    <a:cubicBezTo>
                      <a:pt x="578" y="350"/>
                      <a:pt x="578" y="350"/>
                      <a:pt x="578" y="350"/>
                    </a:cubicBezTo>
                    <a:cubicBezTo>
                      <a:pt x="575" y="349"/>
                      <a:pt x="575" y="349"/>
                      <a:pt x="575" y="349"/>
                    </a:cubicBezTo>
                    <a:cubicBezTo>
                      <a:pt x="572" y="348"/>
                      <a:pt x="572" y="348"/>
                      <a:pt x="572" y="348"/>
                    </a:cubicBezTo>
                    <a:cubicBezTo>
                      <a:pt x="574" y="352"/>
                      <a:pt x="574" y="352"/>
                      <a:pt x="574" y="352"/>
                    </a:cubicBezTo>
                    <a:cubicBezTo>
                      <a:pt x="575" y="354"/>
                      <a:pt x="575" y="354"/>
                      <a:pt x="575" y="354"/>
                    </a:cubicBezTo>
                    <a:cubicBezTo>
                      <a:pt x="574" y="355"/>
                      <a:pt x="574" y="355"/>
                      <a:pt x="574" y="355"/>
                    </a:cubicBezTo>
                    <a:cubicBezTo>
                      <a:pt x="573" y="354"/>
                      <a:pt x="573" y="354"/>
                      <a:pt x="573" y="354"/>
                    </a:cubicBezTo>
                    <a:cubicBezTo>
                      <a:pt x="572" y="353"/>
                      <a:pt x="572" y="353"/>
                      <a:pt x="572" y="353"/>
                    </a:cubicBezTo>
                    <a:cubicBezTo>
                      <a:pt x="570" y="351"/>
                      <a:pt x="570" y="351"/>
                      <a:pt x="570" y="351"/>
                    </a:cubicBezTo>
                    <a:cubicBezTo>
                      <a:pt x="569" y="350"/>
                      <a:pt x="569" y="350"/>
                      <a:pt x="569" y="350"/>
                    </a:cubicBezTo>
                    <a:cubicBezTo>
                      <a:pt x="569" y="349"/>
                      <a:pt x="569" y="349"/>
                      <a:pt x="569" y="349"/>
                    </a:cubicBezTo>
                    <a:cubicBezTo>
                      <a:pt x="567" y="347"/>
                      <a:pt x="567" y="347"/>
                      <a:pt x="567" y="347"/>
                    </a:cubicBezTo>
                    <a:cubicBezTo>
                      <a:pt x="566" y="345"/>
                      <a:pt x="566" y="345"/>
                      <a:pt x="566" y="345"/>
                    </a:cubicBezTo>
                    <a:cubicBezTo>
                      <a:pt x="565" y="344"/>
                      <a:pt x="565" y="344"/>
                      <a:pt x="565" y="344"/>
                    </a:cubicBezTo>
                    <a:cubicBezTo>
                      <a:pt x="564" y="344"/>
                      <a:pt x="564" y="344"/>
                      <a:pt x="564" y="344"/>
                    </a:cubicBezTo>
                    <a:cubicBezTo>
                      <a:pt x="563" y="342"/>
                      <a:pt x="563" y="342"/>
                      <a:pt x="563" y="342"/>
                    </a:cubicBezTo>
                    <a:cubicBezTo>
                      <a:pt x="561" y="341"/>
                      <a:pt x="561" y="341"/>
                      <a:pt x="561" y="341"/>
                    </a:cubicBezTo>
                    <a:cubicBezTo>
                      <a:pt x="561" y="341"/>
                      <a:pt x="561" y="341"/>
                      <a:pt x="561" y="341"/>
                    </a:cubicBezTo>
                    <a:cubicBezTo>
                      <a:pt x="559" y="340"/>
                      <a:pt x="559" y="340"/>
                      <a:pt x="559" y="340"/>
                    </a:cubicBezTo>
                    <a:cubicBezTo>
                      <a:pt x="560" y="341"/>
                      <a:pt x="560" y="341"/>
                      <a:pt x="560" y="341"/>
                    </a:cubicBezTo>
                    <a:cubicBezTo>
                      <a:pt x="563" y="344"/>
                      <a:pt x="563" y="344"/>
                      <a:pt x="563" y="344"/>
                    </a:cubicBezTo>
                    <a:cubicBezTo>
                      <a:pt x="564" y="346"/>
                      <a:pt x="564" y="346"/>
                      <a:pt x="564" y="346"/>
                    </a:cubicBezTo>
                    <a:cubicBezTo>
                      <a:pt x="565" y="347"/>
                      <a:pt x="565" y="347"/>
                      <a:pt x="565" y="347"/>
                    </a:cubicBezTo>
                    <a:cubicBezTo>
                      <a:pt x="567" y="348"/>
                      <a:pt x="567" y="348"/>
                      <a:pt x="567" y="348"/>
                    </a:cubicBezTo>
                    <a:cubicBezTo>
                      <a:pt x="567" y="350"/>
                      <a:pt x="567" y="350"/>
                      <a:pt x="567" y="350"/>
                    </a:cubicBezTo>
                    <a:cubicBezTo>
                      <a:pt x="567" y="351"/>
                      <a:pt x="567" y="351"/>
                      <a:pt x="567" y="351"/>
                    </a:cubicBezTo>
                    <a:cubicBezTo>
                      <a:pt x="566" y="351"/>
                      <a:pt x="566" y="351"/>
                      <a:pt x="566" y="351"/>
                    </a:cubicBezTo>
                    <a:cubicBezTo>
                      <a:pt x="565" y="352"/>
                      <a:pt x="565" y="352"/>
                      <a:pt x="565" y="352"/>
                    </a:cubicBezTo>
                    <a:cubicBezTo>
                      <a:pt x="562" y="350"/>
                      <a:pt x="562" y="350"/>
                      <a:pt x="562" y="350"/>
                    </a:cubicBezTo>
                    <a:cubicBezTo>
                      <a:pt x="561" y="350"/>
                      <a:pt x="561" y="350"/>
                      <a:pt x="561" y="350"/>
                    </a:cubicBezTo>
                    <a:cubicBezTo>
                      <a:pt x="560" y="349"/>
                      <a:pt x="560" y="349"/>
                      <a:pt x="560" y="349"/>
                    </a:cubicBezTo>
                    <a:cubicBezTo>
                      <a:pt x="558" y="348"/>
                      <a:pt x="558" y="348"/>
                      <a:pt x="558" y="348"/>
                    </a:cubicBezTo>
                    <a:cubicBezTo>
                      <a:pt x="558" y="346"/>
                      <a:pt x="558" y="346"/>
                      <a:pt x="558" y="346"/>
                    </a:cubicBezTo>
                    <a:cubicBezTo>
                      <a:pt x="555" y="347"/>
                      <a:pt x="555" y="347"/>
                      <a:pt x="555" y="347"/>
                    </a:cubicBezTo>
                    <a:cubicBezTo>
                      <a:pt x="553" y="348"/>
                      <a:pt x="553" y="348"/>
                      <a:pt x="553" y="348"/>
                    </a:cubicBezTo>
                    <a:cubicBezTo>
                      <a:pt x="552" y="346"/>
                      <a:pt x="552" y="346"/>
                      <a:pt x="552" y="346"/>
                    </a:cubicBezTo>
                    <a:cubicBezTo>
                      <a:pt x="549" y="346"/>
                      <a:pt x="549" y="346"/>
                      <a:pt x="549" y="346"/>
                    </a:cubicBezTo>
                    <a:cubicBezTo>
                      <a:pt x="548" y="346"/>
                      <a:pt x="548" y="346"/>
                      <a:pt x="548" y="346"/>
                    </a:cubicBezTo>
                    <a:cubicBezTo>
                      <a:pt x="547" y="345"/>
                      <a:pt x="547" y="345"/>
                      <a:pt x="547" y="345"/>
                    </a:cubicBezTo>
                    <a:cubicBezTo>
                      <a:pt x="545" y="343"/>
                      <a:pt x="545" y="343"/>
                      <a:pt x="545" y="343"/>
                    </a:cubicBezTo>
                    <a:cubicBezTo>
                      <a:pt x="544" y="342"/>
                      <a:pt x="544" y="342"/>
                      <a:pt x="544" y="342"/>
                    </a:cubicBezTo>
                    <a:cubicBezTo>
                      <a:pt x="547" y="339"/>
                      <a:pt x="547" y="339"/>
                      <a:pt x="547" y="339"/>
                    </a:cubicBezTo>
                    <a:cubicBezTo>
                      <a:pt x="548" y="339"/>
                      <a:pt x="548" y="339"/>
                      <a:pt x="548" y="339"/>
                    </a:cubicBezTo>
                    <a:cubicBezTo>
                      <a:pt x="548" y="338"/>
                      <a:pt x="548" y="338"/>
                      <a:pt x="548" y="338"/>
                    </a:cubicBezTo>
                    <a:cubicBezTo>
                      <a:pt x="547" y="338"/>
                      <a:pt x="547" y="338"/>
                      <a:pt x="547" y="338"/>
                    </a:cubicBezTo>
                    <a:cubicBezTo>
                      <a:pt x="545" y="340"/>
                      <a:pt x="545" y="340"/>
                      <a:pt x="545" y="340"/>
                    </a:cubicBezTo>
                    <a:cubicBezTo>
                      <a:pt x="544" y="342"/>
                      <a:pt x="544" y="342"/>
                      <a:pt x="544" y="342"/>
                    </a:cubicBezTo>
                    <a:cubicBezTo>
                      <a:pt x="543" y="342"/>
                      <a:pt x="543" y="342"/>
                      <a:pt x="543" y="342"/>
                    </a:cubicBezTo>
                    <a:cubicBezTo>
                      <a:pt x="541" y="341"/>
                      <a:pt x="541" y="341"/>
                      <a:pt x="541" y="341"/>
                    </a:cubicBezTo>
                    <a:cubicBezTo>
                      <a:pt x="540" y="340"/>
                      <a:pt x="540" y="340"/>
                      <a:pt x="540" y="340"/>
                    </a:cubicBezTo>
                    <a:cubicBezTo>
                      <a:pt x="539" y="341"/>
                      <a:pt x="539" y="341"/>
                      <a:pt x="539" y="341"/>
                    </a:cubicBezTo>
                    <a:cubicBezTo>
                      <a:pt x="540" y="342"/>
                      <a:pt x="540" y="342"/>
                      <a:pt x="540" y="342"/>
                    </a:cubicBezTo>
                    <a:cubicBezTo>
                      <a:pt x="540" y="342"/>
                      <a:pt x="540" y="342"/>
                      <a:pt x="540" y="342"/>
                    </a:cubicBezTo>
                    <a:cubicBezTo>
                      <a:pt x="537" y="342"/>
                      <a:pt x="537" y="342"/>
                      <a:pt x="537" y="342"/>
                    </a:cubicBezTo>
                    <a:cubicBezTo>
                      <a:pt x="535" y="340"/>
                      <a:pt x="535" y="340"/>
                      <a:pt x="535" y="340"/>
                    </a:cubicBezTo>
                    <a:cubicBezTo>
                      <a:pt x="534" y="338"/>
                      <a:pt x="534" y="338"/>
                      <a:pt x="534" y="338"/>
                    </a:cubicBezTo>
                    <a:cubicBezTo>
                      <a:pt x="533" y="336"/>
                      <a:pt x="533" y="336"/>
                      <a:pt x="533" y="336"/>
                    </a:cubicBezTo>
                    <a:cubicBezTo>
                      <a:pt x="533" y="335"/>
                      <a:pt x="533" y="335"/>
                      <a:pt x="533" y="335"/>
                    </a:cubicBezTo>
                    <a:cubicBezTo>
                      <a:pt x="536" y="333"/>
                      <a:pt x="536" y="333"/>
                      <a:pt x="536" y="333"/>
                    </a:cubicBezTo>
                    <a:cubicBezTo>
                      <a:pt x="537" y="332"/>
                      <a:pt x="537" y="332"/>
                      <a:pt x="537" y="332"/>
                    </a:cubicBezTo>
                    <a:cubicBezTo>
                      <a:pt x="536" y="331"/>
                      <a:pt x="536" y="331"/>
                      <a:pt x="536" y="331"/>
                    </a:cubicBezTo>
                    <a:cubicBezTo>
                      <a:pt x="535" y="332"/>
                      <a:pt x="535" y="332"/>
                      <a:pt x="535" y="332"/>
                    </a:cubicBezTo>
                    <a:cubicBezTo>
                      <a:pt x="533" y="333"/>
                      <a:pt x="533" y="333"/>
                      <a:pt x="533" y="333"/>
                    </a:cubicBezTo>
                    <a:cubicBezTo>
                      <a:pt x="532" y="335"/>
                      <a:pt x="532" y="335"/>
                      <a:pt x="532" y="335"/>
                    </a:cubicBezTo>
                    <a:cubicBezTo>
                      <a:pt x="531" y="335"/>
                      <a:pt x="531" y="335"/>
                      <a:pt x="531" y="335"/>
                    </a:cubicBezTo>
                    <a:cubicBezTo>
                      <a:pt x="530" y="334"/>
                      <a:pt x="530" y="334"/>
                      <a:pt x="530" y="334"/>
                    </a:cubicBezTo>
                    <a:cubicBezTo>
                      <a:pt x="531" y="332"/>
                      <a:pt x="531" y="332"/>
                      <a:pt x="531" y="332"/>
                    </a:cubicBezTo>
                    <a:cubicBezTo>
                      <a:pt x="530" y="331"/>
                      <a:pt x="530" y="331"/>
                      <a:pt x="530" y="331"/>
                    </a:cubicBezTo>
                    <a:cubicBezTo>
                      <a:pt x="529" y="332"/>
                      <a:pt x="529" y="332"/>
                      <a:pt x="529" y="332"/>
                    </a:cubicBezTo>
                    <a:cubicBezTo>
                      <a:pt x="529" y="333"/>
                      <a:pt x="529" y="333"/>
                      <a:pt x="529" y="333"/>
                    </a:cubicBezTo>
                    <a:cubicBezTo>
                      <a:pt x="529" y="334"/>
                      <a:pt x="529" y="334"/>
                      <a:pt x="529" y="334"/>
                    </a:cubicBezTo>
                    <a:cubicBezTo>
                      <a:pt x="529" y="335"/>
                      <a:pt x="529" y="335"/>
                      <a:pt x="529" y="335"/>
                    </a:cubicBezTo>
                    <a:cubicBezTo>
                      <a:pt x="527" y="334"/>
                      <a:pt x="527" y="334"/>
                      <a:pt x="527" y="334"/>
                    </a:cubicBezTo>
                    <a:cubicBezTo>
                      <a:pt x="526" y="333"/>
                      <a:pt x="526" y="333"/>
                      <a:pt x="526" y="333"/>
                    </a:cubicBezTo>
                    <a:cubicBezTo>
                      <a:pt x="524" y="333"/>
                      <a:pt x="524" y="333"/>
                      <a:pt x="524" y="333"/>
                    </a:cubicBezTo>
                    <a:cubicBezTo>
                      <a:pt x="523" y="333"/>
                      <a:pt x="523" y="333"/>
                      <a:pt x="523" y="333"/>
                    </a:cubicBezTo>
                    <a:cubicBezTo>
                      <a:pt x="523" y="334"/>
                      <a:pt x="523" y="334"/>
                      <a:pt x="523" y="334"/>
                    </a:cubicBezTo>
                    <a:cubicBezTo>
                      <a:pt x="522" y="334"/>
                      <a:pt x="522" y="334"/>
                      <a:pt x="522" y="334"/>
                    </a:cubicBezTo>
                    <a:cubicBezTo>
                      <a:pt x="521" y="333"/>
                      <a:pt x="521" y="333"/>
                      <a:pt x="521" y="333"/>
                    </a:cubicBezTo>
                    <a:cubicBezTo>
                      <a:pt x="520" y="331"/>
                      <a:pt x="520" y="331"/>
                      <a:pt x="520" y="331"/>
                    </a:cubicBezTo>
                    <a:cubicBezTo>
                      <a:pt x="521" y="331"/>
                      <a:pt x="521" y="331"/>
                      <a:pt x="521" y="331"/>
                    </a:cubicBezTo>
                    <a:cubicBezTo>
                      <a:pt x="522" y="332"/>
                      <a:pt x="522" y="332"/>
                      <a:pt x="522" y="332"/>
                    </a:cubicBezTo>
                    <a:cubicBezTo>
                      <a:pt x="522" y="331"/>
                      <a:pt x="522" y="331"/>
                      <a:pt x="522" y="331"/>
                    </a:cubicBezTo>
                    <a:cubicBezTo>
                      <a:pt x="520" y="330"/>
                      <a:pt x="520" y="330"/>
                      <a:pt x="520" y="330"/>
                    </a:cubicBezTo>
                    <a:cubicBezTo>
                      <a:pt x="518" y="328"/>
                      <a:pt x="518" y="328"/>
                      <a:pt x="518" y="328"/>
                    </a:cubicBezTo>
                    <a:cubicBezTo>
                      <a:pt x="517" y="327"/>
                      <a:pt x="517" y="327"/>
                      <a:pt x="517" y="327"/>
                    </a:cubicBezTo>
                    <a:cubicBezTo>
                      <a:pt x="518" y="324"/>
                      <a:pt x="518" y="324"/>
                      <a:pt x="518" y="324"/>
                    </a:cubicBezTo>
                    <a:cubicBezTo>
                      <a:pt x="517" y="322"/>
                      <a:pt x="517" y="322"/>
                      <a:pt x="517" y="322"/>
                    </a:cubicBezTo>
                    <a:cubicBezTo>
                      <a:pt x="517" y="319"/>
                      <a:pt x="517" y="319"/>
                      <a:pt x="517" y="319"/>
                    </a:cubicBezTo>
                    <a:cubicBezTo>
                      <a:pt x="517" y="318"/>
                      <a:pt x="517" y="318"/>
                      <a:pt x="517" y="318"/>
                    </a:cubicBezTo>
                    <a:cubicBezTo>
                      <a:pt x="518" y="318"/>
                      <a:pt x="518" y="318"/>
                      <a:pt x="518" y="318"/>
                    </a:cubicBezTo>
                    <a:cubicBezTo>
                      <a:pt x="518" y="316"/>
                      <a:pt x="518" y="316"/>
                      <a:pt x="518" y="316"/>
                    </a:cubicBezTo>
                    <a:cubicBezTo>
                      <a:pt x="518" y="314"/>
                      <a:pt x="518" y="314"/>
                      <a:pt x="518" y="314"/>
                    </a:cubicBezTo>
                    <a:cubicBezTo>
                      <a:pt x="518" y="313"/>
                      <a:pt x="518" y="313"/>
                      <a:pt x="518" y="313"/>
                    </a:cubicBezTo>
                    <a:cubicBezTo>
                      <a:pt x="520" y="314"/>
                      <a:pt x="520" y="314"/>
                      <a:pt x="520" y="314"/>
                    </a:cubicBezTo>
                    <a:cubicBezTo>
                      <a:pt x="520" y="315"/>
                      <a:pt x="520" y="315"/>
                      <a:pt x="520" y="315"/>
                    </a:cubicBezTo>
                    <a:cubicBezTo>
                      <a:pt x="524" y="315"/>
                      <a:pt x="524" y="315"/>
                      <a:pt x="524" y="315"/>
                    </a:cubicBezTo>
                    <a:cubicBezTo>
                      <a:pt x="525" y="316"/>
                      <a:pt x="525" y="316"/>
                      <a:pt x="525" y="316"/>
                    </a:cubicBezTo>
                    <a:cubicBezTo>
                      <a:pt x="526" y="318"/>
                      <a:pt x="526" y="318"/>
                      <a:pt x="526" y="318"/>
                    </a:cubicBezTo>
                    <a:cubicBezTo>
                      <a:pt x="529" y="320"/>
                      <a:pt x="529" y="320"/>
                      <a:pt x="529" y="320"/>
                    </a:cubicBezTo>
                    <a:cubicBezTo>
                      <a:pt x="532" y="320"/>
                      <a:pt x="532" y="320"/>
                      <a:pt x="532" y="320"/>
                    </a:cubicBezTo>
                    <a:cubicBezTo>
                      <a:pt x="533" y="319"/>
                      <a:pt x="533" y="319"/>
                      <a:pt x="533" y="319"/>
                    </a:cubicBezTo>
                    <a:cubicBezTo>
                      <a:pt x="536" y="319"/>
                      <a:pt x="536" y="319"/>
                      <a:pt x="536" y="319"/>
                    </a:cubicBezTo>
                    <a:cubicBezTo>
                      <a:pt x="535" y="318"/>
                      <a:pt x="535" y="318"/>
                      <a:pt x="535" y="318"/>
                    </a:cubicBezTo>
                    <a:cubicBezTo>
                      <a:pt x="534" y="317"/>
                      <a:pt x="534" y="317"/>
                      <a:pt x="534" y="317"/>
                    </a:cubicBezTo>
                    <a:cubicBezTo>
                      <a:pt x="532" y="315"/>
                      <a:pt x="532" y="315"/>
                      <a:pt x="532" y="315"/>
                    </a:cubicBezTo>
                    <a:cubicBezTo>
                      <a:pt x="532" y="313"/>
                      <a:pt x="532" y="313"/>
                      <a:pt x="532" y="313"/>
                    </a:cubicBezTo>
                    <a:cubicBezTo>
                      <a:pt x="529" y="313"/>
                      <a:pt x="529" y="313"/>
                      <a:pt x="529" y="313"/>
                    </a:cubicBezTo>
                    <a:cubicBezTo>
                      <a:pt x="527" y="311"/>
                      <a:pt x="527" y="311"/>
                      <a:pt x="527" y="311"/>
                    </a:cubicBezTo>
                    <a:cubicBezTo>
                      <a:pt x="525" y="311"/>
                      <a:pt x="525" y="311"/>
                      <a:pt x="525" y="311"/>
                    </a:cubicBezTo>
                    <a:cubicBezTo>
                      <a:pt x="523" y="310"/>
                      <a:pt x="523" y="310"/>
                      <a:pt x="523" y="310"/>
                    </a:cubicBezTo>
                    <a:cubicBezTo>
                      <a:pt x="521" y="310"/>
                      <a:pt x="521" y="310"/>
                      <a:pt x="521" y="310"/>
                    </a:cubicBezTo>
                    <a:cubicBezTo>
                      <a:pt x="518" y="308"/>
                      <a:pt x="518" y="308"/>
                      <a:pt x="518" y="308"/>
                    </a:cubicBezTo>
                    <a:cubicBezTo>
                      <a:pt x="517" y="306"/>
                      <a:pt x="517" y="306"/>
                      <a:pt x="517" y="306"/>
                    </a:cubicBezTo>
                    <a:cubicBezTo>
                      <a:pt x="518" y="303"/>
                      <a:pt x="518" y="303"/>
                      <a:pt x="518" y="303"/>
                    </a:cubicBezTo>
                    <a:cubicBezTo>
                      <a:pt x="519" y="302"/>
                      <a:pt x="519" y="302"/>
                      <a:pt x="519" y="302"/>
                    </a:cubicBezTo>
                    <a:cubicBezTo>
                      <a:pt x="519" y="300"/>
                      <a:pt x="519" y="300"/>
                      <a:pt x="519" y="300"/>
                    </a:cubicBezTo>
                    <a:cubicBezTo>
                      <a:pt x="520" y="298"/>
                      <a:pt x="520" y="298"/>
                      <a:pt x="520" y="298"/>
                    </a:cubicBezTo>
                    <a:cubicBezTo>
                      <a:pt x="521" y="298"/>
                      <a:pt x="521" y="298"/>
                      <a:pt x="521" y="298"/>
                    </a:cubicBezTo>
                    <a:cubicBezTo>
                      <a:pt x="522" y="296"/>
                      <a:pt x="522" y="296"/>
                      <a:pt x="522" y="296"/>
                    </a:cubicBezTo>
                    <a:cubicBezTo>
                      <a:pt x="522" y="293"/>
                      <a:pt x="522" y="293"/>
                      <a:pt x="522" y="293"/>
                    </a:cubicBezTo>
                    <a:cubicBezTo>
                      <a:pt x="523" y="291"/>
                      <a:pt x="523" y="291"/>
                      <a:pt x="523" y="291"/>
                    </a:cubicBezTo>
                    <a:cubicBezTo>
                      <a:pt x="524" y="291"/>
                      <a:pt x="524" y="291"/>
                      <a:pt x="524" y="291"/>
                    </a:cubicBezTo>
                    <a:cubicBezTo>
                      <a:pt x="525" y="289"/>
                      <a:pt x="525" y="289"/>
                      <a:pt x="525" y="289"/>
                    </a:cubicBezTo>
                    <a:cubicBezTo>
                      <a:pt x="527" y="288"/>
                      <a:pt x="527" y="288"/>
                      <a:pt x="527" y="288"/>
                    </a:cubicBezTo>
                    <a:cubicBezTo>
                      <a:pt x="529" y="287"/>
                      <a:pt x="529" y="287"/>
                      <a:pt x="529" y="287"/>
                    </a:cubicBezTo>
                    <a:cubicBezTo>
                      <a:pt x="529" y="286"/>
                      <a:pt x="529" y="286"/>
                      <a:pt x="529" y="286"/>
                    </a:cubicBezTo>
                    <a:cubicBezTo>
                      <a:pt x="529" y="286"/>
                      <a:pt x="529" y="286"/>
                      <a:pt x="529" y="286"/>
                    </a:cubicBezTo>
                    <a:cubicBezTo>
                      <a:pt x="528" y="287"/>
                      <a:pt x="528" y="287"/>
                      <a:pt x="528" y="287"/>
                    </a:cubicBezTo>
                    <a:cubicBezTo>
                      <a:pt x="528" y="285"/>
                      <a:pt x="528" y="285"/>
                      <a:pt x="528" y="285"/>
                    </a:cubicBezTo>
                    <a:cubicBezTo>
                      <a:pt x="530" y="282"/>
                      <a:pt x="530" y="282"/>
                      <a:pt x="530" y="282"/>
                    </a:cubicBezTo>
                    <a:cubicBezTo>
                      <a:pt x="531" y="279"/>
                      <a:pt x="531" y="279"/>
                      <a:pt x="531" y="279"/>
                    </a:cubicBezTo>
                    <a:cubicBezTo>
                      <a:pt x="532" y="278"/>
                      <a:pt x="532" y="278"/>
                      <a:pt x="532" y="278"/>
                    </a:cubicBezTo>
                    <a:cubicBezTo>
                      <a:pt x="533" y="276"/>
                      <a:pt x="533" y="276"/>
                      <a:pt x="533" y="276"/>
                    </a:cubicBezTo>
                    <a:cubicBezTo>
                      <a:pt x="535" y="276"/>
                      <a:pt x="535" y="276"/>
                      <a:pt x="535" y="276"/>
                    </a:cubicBezTo>
                    <a:cubicBezTo>
                      <a:pt x="535" y="277"/>
                      <a:pt x="535" y="277"/>
                      <a:pt x="535" y="277"/>
                    </a:cubicBezTo>
                    <a:cubicBezTo>
                      <a:pt x="536" y="274"/>
                      <a:pt x="536" y="274"/>
                      <a:pt x="536" y="274"/>
                    </a:cubicBezTo>
                    <a:cubicBezTo>
                      <a:pt x="537" y="274"/>
                      <a:pt x="537" y="274"/>
                      <a:pt x="537" y="274"/>
                    </a:cubicBezTo>
                    <a:cubicBezTo>
                      <a:pt x="538" y="275"/>
                      <a:pt x="538" y="275"/>
                      <a:pt x="538" y="275"/>
                    </a:cubicBezTo>
                    <a:cubicBezTo>
                      <a:pt x="539" y="274"/>
                      <a:pt x="539" y="274"/>
                      <a:pt x="539" y="274"/>
                    </a:cubicBezTo>
                    <a:cubicBezTo>
                      <a:pt x="538" y="273"/>
                      <a:pt x="538" y="273"/>
                      <a:pt x="538" y="273"/>
                    </a:cubicBezTo>
                    <a:cubicBezTo>
                      <a:pt x="540" y="269"/>
                      <a:pt x="540" y="269"/>
                      <a:pt x="540" y="269"/>
                    </a:cubicBezTo>
                    <a:cubicBezTo>
                      <a:pt x="542" y="269"/>
                      <a:pt x="542" y="269"/>
                      <a:pt x="542" y="269"/>
                    </a:cubicBezTo>
                    <a:cubicBezTo>
                      <a:pt x="542" y="267"/>
                      <a:pt x="542" y="267"/>
                      <a:pt x="542" y="267"/>
                    </a:cubicBezTo>
                    <a:cubicBezTo>
                      <a:pt x="543" y="265"/>
                      <a:pt x="543" y="265"/>
                      <a:pt x="543" y="265"/>
                    </a:cubicBezTo>
                    <a:cubicBezTo>
                      <a:pt x="545" y="265"/>
                      <a:pt x="545" y="265"/>
                      <a:pt x="545" y="265"/>
                    </a:cubicBezTo>
                    <a:cubicBezTo>
                      <a:pt x="546" y="263"/>
                      <a:pt x="546" y="263"/>
                      <a:pt x="546" y="263"/>
                    </a:cubicBezTo>
                    <a:cubicBezTo>
                      <a:pt x="548" y="263"/>
                      <a:pt x="548" y="263"/>
                      <a:pt x="548" y="263"/>
                    </a:cubicBezTo>
                    <a:cubicBezTo>
                      <a:pt x="549" y="264"/>
                      <a:pt x="549" y="264"/>
                      <a:pt x="549" y="264"/>
                    </a:cubicBezTo>
                    <a:cubicBezTo>
                      <a:pt x="549" y="262"/>
                      <a:pt x="549" y="262"/>
                      <a:pt x="549" y="262"/>
                    </a:cubicBezTo>
                    <a:cubicBezTo>
                      <a:pt x="549" y="260"/>
                      <a:pt x="549" y="260"/>
                      <a:pt x="549" y="260"/>
                    </a:cubicBezTo>
                    <a:cubicBezTo>
                      <a:pt x="552" y="259"/>
                      <a:pt x="552" y="259"/>
                      <a:pt x="552" y="259"/>
                    </a:cubicBezTo>
                    <a:cubicBezTo>
                      <a:pt x="556" y="256"/>
                      <a:pt x="556" y="256"/>
                      <a:pt x="556" y="256"/>
                    </a:cubicBezTo>
                    <a:cubicBezTo>
                      <a:pt x="561" y="254"/>
                      <a:pt x="561" y="254"/>
                      <a:pt x="561" y="254"/>
                    </a:cubicBezTo>
                    <a:cubicBezTo>
                      <a:pt x="564" y="254"/>
                      <a:pt x="564" y="254"/>
                      <a:pt x="564" y="254"/>
                    </a:cubicBezTo>
                    <a:cubicBezTo>
                      <a:pt x="566" y="253"/>
                      <a:pt x="566" y="253"/>
                      <a:pt x="566" y="253"/>
                    </a:cubicBezTo>
                    <a:cubicBezTo>
                      <a:pt x="568" y="254"/>
                      <a:pt x="568" y="254"/>
                      <a:pt x="568" y="254"/>
                    </a:cubicBezTo>
                    <a:cubicBezTo>
                      <a:pt x="570" y="253"/>
                      <a:pt x="570" y="253"/>
                      <a:pt x="570" y="253"/>
                    </a:cubicBezTo>
                    <a:cubicBezTo>
                      <a:pt x="571" y="254"/>
                      <a:pt x="571" y="254"/>
                      <a:pt x="571" y="254"/>
                    </a:cubicBezTo>
                    <a:cubicBezTo>
                      <a:pt x="574" y="254"/>
                      <a:pt x="574" y="254"/>
                      <a:pt x="574" y="254"/>
                    </a:cubicBezTo>
                    <a:cubicBezTo>
                      <a:pt x="576" y="255"/>
                      <a:pt x="576" y="255"/>
                      <a:pt x="576" y="255"/>
                    </a:cubicBezTo>
                    <a:cubicBezTo>
                      <a:pt x="580" y="257"/>
                      <a:pt x="580" y="257"/>
                      <a:pt x="580" y="257"/>
                    </a:cubicBezTo>
                    <a:cubicBezTo>
                      <a:pt x="580" y="258"/>
                      <a:pt x="580" y="258"/>
                      <a:pt x="580" y="258"/>
                    </a:cubicBezTo>
                    <a:cubicBezTo>
                      <a:pt x="580" y="260"/>
                      <a:pt x="580" y="260"/>
                      <a:pt x="580" y="260"/>
                    </a:cubicBezTo>
                    <a:cubicBezTo>
                      <a:pt x="577" y="261"/>
                      <a:pt x="577" y="261"/>
                      <a:pt x="577" y="261"/>
                    </a:cubicBezTo>
                    <a:cubicBezTo>
                      <a:pt x="574" y="262"/>
                      <a:pt x="574" y="262"/>
                      <a:pt x="574" y="262"/>
                    </a:cubicBezTo>
                    <a:cubicBezTo>
                      <a:pt x="572" y="262"/>
                      <a:pt x="572" y="262"/>
                      <a:pt x="572" y="262"/>
                    </a:cubicBezTo>
                    <a:cubicBezTo>
                      <a:pt x="571" y="264"/>
                      <a:pt x="571" y="264"/>
                      <a:pt x="571" y="264"/>
                    </a:cubicBezTo>
                    <a:cubicBezTo>
                      <a:pt x="570" y="266"/>
                      <a:pt x="570" y="266"/>
                      <a:pt x="570" y="266"/>
                    </a:cubicBezTo>
                    <a:cubicBezTo>
                      <a:pt x="568" y="266"/>
                      <a:pt x="568" y="266"/>
                      <a:pt x="568" y="266"/>
                    </a:cubicBezTo>
                    <a:cubicBezTo>
                      <a:pt x="564" y="270"/>
                      <a:pt x="564" y="270"/>
                      <a:pt x="564" y="270"/>
                    </a:cubicBezTo>
                    <a:cubicBezTo>
                      <a:pt x="561" y="274"/>
                      <a:pt x="561" y="274"/>
                      <a:pt x="561" y="274"/>
                    </a:cubicBezTo>
                    <a:cubicBezTo>
                      <a:pt x="558" y="276"/>
                      <a:pt x="558" y="276"/>
                      <a:pt x="558" y="276"/>
                    </a:cubicBezTo>
                    <a:cubicBezTo>
                      <a:pt x="557" y="277"/>
                      <a:pt x="557" y="277"/>
                      <a:pt x="557" y="277"/>
                    </a:cubicBezTo>
                    <a:cubicBezTo>
                      <a:pt x="555" y="281"/>
                      <a:pt x="555" y="281"/>
                      <a:pt x="555" y="281"/>
                    </a:cubicBezTo>
                    <a:cubicBezTo>
                      <a:pt x="555" y="283"/>
                      <a:pt x="555" y="283"/>
                      <a:pt x="555" y="283"/>
                    </a:cubicBezTo>
                    <a:cubicBezTo>
                      <a:pt x="555" y="285"/>
                      <a:pt x="555" y="285"/>
                      <a:pt x="555" y="285"/>
                    </a:cubicBezTo>
                    <a:cubicBezTo>
                      <a:pt x="557" y="286"/>
                      <a:pt x="557" y="286"/>
                      <a:pt x="557" y="286"/>
                    </a:cubicBezTo>
                    <a:cubicBezTo>
                      <a:pt x="557" y="288"/>
                      <a:pt x="557" y="288"/>
                      <a:pt x="557" y="288"/>
                    </a:cubicBezTo>
                    <a:cubicBezTo>
                      <a:pt x="555" y="289"/>
                      <a:pt x="555" y="289"/>
                      <a:pt x="555" y="289"/>
                    </a:cubicBezTo>
                    <a:cubicBezTo>
                      <a:pt x="554" y="291"/>
                      <a:pt x="554" y="291"/>
                      <a:pt x="554" y="291"/>
                    </a:cubicBezTo>
                    <a:cubicBezTo>
                      <a:pt x="552" y="293"/>
                      <a:pt x="552" y="293"/>
                      <a:pt x="552" y="293"/>
                    </a:cubicBezTo>
                    <a:cubicBezTo>
                      <a:pt x="552" y="295"/>
                      <a:pt x="552" y="295"/>
                      <a:pt x="552" y="295"/>
                    </a:cubicBezTo>
                    <a:cubicBezTo>
                      <a:pt x="550" y="297"/>
                      <a:pt x="550" y="297"/>
                      <a:pt x="550" y="297"/>
                    </a:cubicBezTo>
                    <a:cubicBezTo>
                      <a:pt x="549" y="298"/>
                      <a:pt x="549" y="298"/>
                      <a:pt x="549" y="298"/>
                    </a:cubicBezTo>
                    <a:cubicBezTo>
                      <a:pt x="549" y="299"/>
                      <a:pt x="549" y="299"/>
                      <a:pt x="549" y="299"/>
                    </a:cubicBezTo>
                    <a:cubicBezTo>
                      <a:pt x="550" y="301"/>
                      <a:pt x="550" y="301"/>
                      <a:pt x="550" y="301"/>
                    </a:cubicBezTo>
                    <a:cubicBezTo>
                      <a:pt x="551" y="304"/>
                      <a:pt x="551" y="304"/>
                      <a:pt x="551" y="304"/>
                    </a:cubicBezTo>
                    <a:cubicBezTo>
                      <a:pt x="551" y="305"/>
                      <a:pt x="551" y="305"/>
                      <a:pt x="551" y="305"/>
                    </a:cubicBezTo>
                    <a:cubicBezTo>
                      <a:pt x="551" y="308"/>
                      <a:pt x="551" y="308"/>
                      <a:pt x="551" y="308"/>
                    </a:cubicBezTo>
                    <a:cubicBezTo>
                      <a:pt x="553" y="310"/>
                      <a:pt x="553" y="310"/>
                      <a:pt x="553" y="310"/>
                    </a:cubicBezTo>
                    <a:cubicBezTo>
                      <a:pt x="553" y="311"/>
                      <a:pt x="553" y="311"/>
                      <a:pt x="553" y="311"/>
                    </a:cubicBezTo>
                    <a:cubicBezTo>
                      <a:pt x="555" y="312"/>
                      <a:pt x="555" y="312"/>
                      <a:pt x="555" y="312"/>
                    </a:cubicBezTo>
                    <a:cubicBezTo>
                      <a:pt x="555" y="314"/>
                      <a:pt x="555" y="314"/>
                      <a:pt x="555" y="314"/>
                    </a:cubicBezTo>
                    <a:cubicBezTo>
                      <a:pt x="554" y="316"/>
                      <a:pt x="554" y="316"/>
                      <a:pt x="554" y="316"/>
                    </a:cubicBezTo>
                    <a:cubicBezTo>
                      <a:pt x="554" y="314"/>
                      <a:pt x="554" y="314"/>
                      <a:pt x="554" y="314"/>
                    </a:cubicBezTo>
                    <a:cubicBezTo>
                      <a:pt x="553" y="314"/>
                      <a:pt x="553" y="314"/>
                      <a:pt x="553" y="314"/>
                    </a:cubicBezTo>
                    <a:cubicBezTo>
                      <a:pt x="553" y="315"/>
                      <a:pt x="553" y="315"/>
                      <a:pt x="553" y="315"/>
                    </a:cubicBezTo>
                    <a:cubicBezTo>
                      <a:pt x="552" y="315"/>
                      <a:pt x="552" y="315"/>
                      <a:pt x="552" y="315"/>
                    </a:cubicBezTo>
                    <a:cubicBezTo>
                      <a:pt x="550" y="316"/>
                      <a:pt x="550" y="316"/>
                      <a:pt x="550" y="316"/>
                    </a:cubicBezTo>
                    <a:cubicBezTo>
                      <a:pt x="549" y="316"/>
                      <a:pt x="549" y="316"/>
                      <a:pt x="549" y="316"/>
                    </a:cubicBezTo>
                    <a:cubicBezTo>
                      <a:pt x="550" y="317"/>
                      <a:pt x="550" y="317"/>
                      <a:pt x="550" y="317"/>
                    </a:cubicBezTo>
                    <a:cubicBezTo>
                      <a:pt x="551" y="318"/>
                      <a:pt x="551" y="318"/>
                      <a:pt x="551" y="318"/>
                    </a:cubicBezTo>
                    <a:cubicBezTo>
                      <a:pt x="553" y="318"/>
                      <a:pt x="553" y="318"/>
                      <a:pt x="553" y="318"/>
                    </a:cubicBezTo>
                    <a:cubicBezTo>
                      <a:pt x="553" y="318"/>
                      <a:pt x="553" y="318"/>
                      <a:pt x="553" y="318"/>
                    </a:cubicBezTo>
                    <a:cubicBezTo>
                      <a:pt x="554" y="318"/>
                      <a:pt x="554" y="318"/>
                      <a:pt x="554" y="318"/>
                    </a:cubicBezTo>
                    <a:cubicBezTo>
                      <a:pt x="552" y="320"/>
                      <a:pt x="552" y="320"/>
                      <a:pt x="552" y="320"/>
                    </a:cubicBezTo>
                    <a:cubicBezTo>
                      <a:pt x="551" y="323"/>
                      <a:pt x="551" y="323"/>
                      <a:pt x="551" y="323"/>
                    </a:cubicBezTo>
                    <a:cubicBezTo>
                      <a:pt x="551" y="324"/>
                      <a:pt x="551" y="324"/>
                      <a:pt x="551" y="324"/>
                    </a:cubicBezTo>
                    <a:cubicBezTo>
                      <a:pt x="551" y="326"/>
                      <a:pt x="551" y="326"/>
                      <a:pt x="551" y="326"/>
                    </a:cubicBezTo>
                    <a:cubicBezTo>
                      <a:pt x="553" y="323"/>
                      <a:pt x="553" y="323"/>
                      <a:pt x="553" y="323"/>
                    </a:cubicBezTo>
                    <a:cubicBezTo>
                      <a:pt x="553" y="322"/>
                      <a:pt x="553" y="322"/>
                      <a:pt x="553" y="322"/>
                    </a:cubicBezTo>
                    <a:cubicBezTo>
                      <a:pt x="555" y="318"/>
                      <a:pt x="555" y="318"/>
                      <a:pt x="555" y="318"/>
                    </a:cubicBezTo>
                    <a:cubicBezTo>
                      <a:pt x="556" y="317"/>
                      <a:pt x="556" y="317"/>
                      <a:pt x="556" y="317"/>
                    </a:cubicBezTo>
                    <a:cubicBezTo>
                      <a:pt x="557" y="314"/>
                      <a:pt x="557" y="314"/>
                      <a:pt x="557" y="314"/>
                    </a:cubicBezTo>
                    <a:cubicBezTo>
                      <a:pt x="558" y="312"/>
                      <a:pt x="558" y="312"/>
                      <a:pt x="558" y="312"/>
                    </a:cubicBezTo>
                    <a:cubicBezTo>
                      <a:pt x="559" y="311"/>
                      <a:pt x="559" y="311"/>
                      <a:pt x="559" y="311"/>
                    </a:cubicBezTo>
                    <a:cubicBezTo>
                      <a:pt x="559" y="309"/>
                      <a:pt x="559" y="309"/>
                      <a:pt x="559" y="309"/>
                    </a:cubicBezTo>
                    <a:cubicBezTo>
                      <a:pt x="559" y="308"/>
                      <a:pt x="559" y="308"/>
                      <a:pt x="559" y="308"/>
                    </a:cubicBezTo>
                    <a:cubicBezTo>
                      <a:pt x="559" y="307"/>
                      <a:pt x="559" y="307"/>
                      <a:pt x="559" y="307"/>
                    </a:cubicBezTo>
                    <a:cubicBezTo>
                      <a:pt x="558" y="306"/>
                      <a:pt x="558" y="306"/>
                      <a:pt x="558" y="306"/>
                    </a:cubicBezTo>
                    <a:cubicBezTo>
                      <a:pt x="557" y="306"/>
                      <a:pt x="557" y="306"/>
                      <a:pt x="557" y="306"/>
                    </a:cubicBezTo>
                    <a:cubicBezTo>
                      <a:pt x="557" y="303"/>
                      <a:pt x="557" y="303"/>
                      <a:pt x="557" y="303"/>
                    </a:cubicBezTo>
                    <a:cubicBezTo>
                      <a:pt x="556" y="303"/>
                      <a:pt x="556" y="303"/>
                      <a:pt x="556" y="303"/>
                    </a:cubicBezTo>
                    <a:cubicBezTo>
                      <a:pt x="556" y="300"/>
                      <a:pt x="556" y="300"/>
                      <a:pt x="556" y="300"/>
                    </a:cubicBezTo>
                    <a:cubicBezTo>
                      <a:pt x="555" y="298"/>
                      <a:pt x="555" y="298"/>
                      <a:pt x="555" y="298"/>
                    </a:cubicBezTo>
                    <a:cubicBezTo>
                      <a:pt x="555" y="296"/>
                      <a:pt x="555" y="296"/>
                      <a:pt x="555" y="296"/>
                    </a:cubicBezTo>
                    <a:cubicBezTo>
                      <a:pt x="556" y="296"/>
                      <a:pt x="556" y="296"/>
                      <a:pt x="556" y="296"/>
                    </a:cubicBezTo>
                    <a:cubicBezTo>
                      <a:pt x="556" y="297"/>
                      <a:pt x="556" y="297"/>
                      <a:pt x="556" y="297"/>
                    </a:cubicBezTo>
                    <a:cubicBezTo>
                      <a:pt x="557" y="296"/>
                      <a:pt x="557" y="296"/>
                      <a:pt x="557" y="296"/>
                    </a:cubicBezTo>
                    <a:cubicBezTo>
                      <a:pt x="559" y="296"/>
                      <a:pt x="559" y="296"/>
                      <a:pt x="559" y="296"/>
                    </a:cubicBezTo>
                    <a:cubicBezTo>
                      <a:pt x="560" y="294"/>
                      <a:pt x="560" y="294"/>
                      <a:pt x="560" y="294"/>
                    </a:cubicBezTo>
                    <a:cubicBezTo>
                      <a:pt x="560" y="293"/>
                      <a:pt x="560" y="293"/>
                      <a:pt x="560" y="293"/>
                    </a:cubicBezTo>
                    <a:cubicBezTo>
                      <a:pt x="561" y="292"/>
                      <a:pt x="561" y="292"/>
                      <a:pt x="561" y="292"/>
                    </a:cubicBezTo>
                    <a:cubicBezTo>
                      <a:pt x="562" y="292"/>
                      <a:pt x="562" y="292"/>
                      <a:pt x="562" y="292"/>
                    </a:cubicBezTo>
                    <a:cubicBezTo>
                      <a:pt x="563" y="295"/>
                      <a:pt x="563" y="295"/>
                      <a:pt x="563" y="295"/>
                    </a:cubicBezTo>
                    <a:cubicBezTo>
                      <a:pt x="563" y="296"/>
                      <a:pt x="563" y="296"/>
                      <a:pt x="563" y="296"/>
                    </a:cubicBezTo>
                    <a:cubicBezTo>
                      <a:pt x="564" y="296"/>
                      <a:pt x="564" y="296"/>
                      <a:pt x="564" y="296"/>
                    </a:cubicBezTo>
                    <a:cubicBezTo>
                      <a:pt x="565" y="295"/>
                      <a:pt x="565" y="295"/>
                      <a:pt x="565" y="295"/>
                    </a:cubicBezTo>
                    <a:cubicBezTo>
                      <a:pt x="565" y="293"/>
                      <a:pt x="565" y="293"/>
                      <a:pt x="565" y="293"/>
                    </a:cubicBezTo>
                    <a:cubicBezTo>
                      <a:pt x="566" y="292"/>
                      <a:pt x="566" y="292"/>
                      <a:pt x="566" y="292"/>
                    </a:cubicBezTo>
                    <a:cubicBezTo>
                      <a:pt x="568" y="292"/>
                      <a:pt x="568" y="292"/>
                      <a:pt x="568" y="292"/>
                    </a:cubicBezTo>
                    <a:cubicBezTo>
                      <a:pt x="567" y="290"/>
                      <a:pt x="567" y="290"/>
                      <a:pt x="567" y="290"/>
                    </a:cubicBezTo>
                    <a:cubicBezTo>
                      <a:pt x="568" y="290"/>
                      <a:pt x="568" y="290"/>
                      <a:pt x="568" y="290"/>
                    </a:cubicBezTo>
                    <a:cubicBezTo>
                      <a:pt x="570" y="289"/>
                      <a:pt x="570" y="289"/>
                      <a:pt x="570" y="289"/>
                    </a:cubicBezTo>
                    <a:cubicBezTo>
                      <a:pt x="569" y="288"/>
                      <a:pt x="569" y="288"/>
                      <a:pt x="569" y="288"/>
                    </a:cubicBezTo>
                    <a:cubicBezTo>
                      <a:pt x="568" y="288"/>
                      <a:pt x="568" y="288"/>
                      <a:pt x="568" y="288"/>
                    </a:cubicBezTo>
                    <a:cubicBezTo>
                      <a:pt x="565" y="290"/>
                      <a:pt x="565" y="290"/>
                      <a:pt x="565" y="290"/>
                    </a:cubicBezTo>
                    <a:cubicBezTo>
                      <a:pt x="564" y="290"/>
                      <a:pt x="564" y="290"/>
                      <a:pt x="564" y="290"/>
                    </a:cubicBezTo>
                    <a:cubicBezTo>
                      <a:pt x="563" y="288"/>
                      <a:pt x="563" y="288"/>
                      <a:pt x="563" y="288"/>
                    </a:cubicBezTo>
                    <a:cubicBezTo>
                      <a:pt x="562" y="287"/>
                      <a:pt x="562" y="287"/>
                      <a:pt x="562" y="287"/>
                    </a:cubicBezTo>
                    <a:cubicBezTo>
                      <a:pt x="562" y="286"/>
                      <a:pt x="562" y="286"/>
                      <a:pt x="562" y="286"/>
                    </a:cubicBezTo>
                    <a:cubicBezTo>
                      <a:pt x="564" y="285"/>
                      <a:pt x="564" y="285"/>
                      <a:pt x="564" y="285"/>
                    </a:cubicBezTo>
                    <a:cubicBezTo>
                      <a:pt x="563" y="284"/>
                      <a:pt x="563" y="284"/>
                      <a:pt x="563" y="284"/>
                    </a:cubicBezTo>
                    <a:cubicBezTo>
                      <a:pt x="564" y="281"/>
                      <a:pt x="564" y="281"/>
                      <a:pt x="564" y="281"/>
                    </a:cubicBezTo>
                    <a:cubicBezTo>
                      <a:pt x="565" y="278"/>
                      <a:pt x="565" y="278"/>
                      <a:pt x="565" y="278"/>
                    </a:cubicBezTo>
                    <a:cubicBezTo>
                      <a:pt x="565" y="277"/>
                      <a:pt x="565" y="277"/>
                      <a:pt x="565" y="277"/>
                    </a:cubicBezTo>
                    <a:cubicBezTo>
                      <a:pt x="567" y="275"/>
                      <a:pt x="567" y="275"/>
                      <a:pt x="567" y="275"/>
                    </a:cubicBezTo>
                    <a:cubicBezTo>
                      <a:pt x="569" y="276"/>
                      <a:pt x="569" y="276"/>
                      <a:pt x="569" y="276"/>
                    </a:cubicBezTo>
                    <a:cubicBezTo>
                      <a:pt x="571" y="277"/>
                      <a:pt x="571" y="277"/>
                      <a:pt x="571" y="277"/>
                    </a:cubicBezTo>
                    <a:cubicBezTo>
                      <a:pt x="571" y="279"/>
                      <a:pt x="571" y="279"/>
                      <a:pt x="571" y="279"/>
                    </a:cubicBezTo>
                    <a:cubicBezTo>
                      <a:pt x="573" y="280"/>
                      <a:pt x="573" y="280"/>
                      <a:pt x="573" y="280"/>
                    </a:cubicBezTo>
                    <a:cubicBezTo>
                      <a:pt x="575" y="282"/>
                      <a:pt x="575" y="282"/>
                      <a:pt x="575" y="282"/>
                    </a:cubicBezTo>
                    <a:cubicBezTo>
                      <a:pt x="576" y="282"/>
                      <a:pt x="576" y="282"/>
                      <a:pt x="576" y="282"/>
                    </a:cubicBezTo>
                    <a:cubicBezTo>
                      <a:pt x="575" y="281"/>
                      <a:pt x="575" y="281"/>
                      <a:pt x="575" y="281"/>
                    </a:cubicBezTo>
                    <a:cubicBezTo>
                      <a:pt x="575" y="279"/>
                      <a:pt x="575" y="279"/>
                      <a:pt x="575" y="279"/>
                    </a:cubicBezTo>
                    <a:cubicBezTo>
                      <a:pt x="572" y="277"/>
                      <a:pt x="572" y="277"/>
                      <a:pt x="572" y="277"/>
                    </a:cubicBezTo>
                    <a:cubicBezTo>
                      <a:pt x="571" y="275"/>
                      <a:pt x="571" y="275"/>
                      <a:pt x="571" y="275"/>
                    </a:cubicBezTo>
                    <a:cubicBezTo>
                      <a:pt x="571" y="274"/>
                      <a:pt x="571" y="274"/>
                      <a:pt x="571" y="274"/>
                    </a:cubicBezTo>
                    <a:cubicBezTo>
                      <a:pt x="569" y="274"/>
                      <a:pt x="569" y="274"/>
                      <a:pt x="569" y="274"/>
                    </a:cubicBezTo>
                    <a:cubicBezTo>
                      <a:pt x="568" y="273"/>
                      <a:pt x="568" y="273"/>
                      <a:pt x="568" y="273"/>
                    </a:cubicBezTo>
                    <a:cubicBezTo>
                      <a:pt x="569" y="273"/>
                      <a:pt x="569" y="273"/>
                      <a:pt x="569" y="273"/>
                    </a:cubicBezTo>
                    <a:cubicBezTo>
                      <a:pt x="572" y="273"/>
                      <a:pt x="572" y="273"/>
                      <a:pt x="572" y="273"/>
                    </a:cubicBezTo>
                    <a:cubicBezTo>
                      <a:pt x="572" y="272"/>
                      <a:pt x="572" y="272"/>
                      <a:pt x="572" y="272"/>
                    </a:cubicBezTo>
                    <a:cubicBezTo>
                      <a:pt x="573" y="272"/>
                      <a:pt x="573" y="272"/>
                      <a:pt x="573" y="272"/>
                    </a:cubicBezTo>
                    <a:cubicBezTo>
                      <a:pt x="576" y="275"/>
                      <a:pt x="576" y="275"/>
                      <a:pt x="576" y="275"/>
                    </a:cubicBezTo>
                    <a:cubicBezTo>
                      <a:pt x="579" y="277"/>
                      <a:pt x="579" y="277"/>
                      <a:pt x="579" y="277"/>
                    </a:cubicBezTo>
                    <a:cubicBezTo>
                      <a:pt x="580" y="277"/>
                      <a:pt x="580" y="277"/>
                      <a:pt x="580" y="277"/>
                    </a:cubicBezTo>
                    <a:cubicBezTo>
                      <a:pt x="577" y="275"/>
                      <a:pt x="577" y="275"/>
                      <a:pt x="577" y="275"/>
                    </a:cubicBezTo>
                    <a:cubicBezTo>
                      <a:pt x="576" y="273"/>
                      <a:pt x="576" y="273"/>
                      <a:pt x="576" y="273"/>
                    </a:cubicBezTo>
                    <a:cubicBezTo>
                      <a:pt x="573" y="271"/>
                      <a:pt x="573" y="271"/>
                      <a:pt x="573" y="271"/>
                    </a:cubicBezTo>
                    <a:cubicBezTo>
                      <a:pt x="573" y="270"/>
                      <a:pt x="573" y="270"/>
                      <a:pt x="573" y="270"/>
                    </a:cubicBezTo>
                    <a:cubicBezTo>
                      <a:pt x="574" y="268"/>
                      <a:pt x="574" y="268"/>
                      <a:pt x="574" y="268"/>
                    </a:cubicBezTo>
                    <a:cubicBezTo>
                      <a:pt x="577" y="267"/>
                      <a:pt x="577" y="267"/>
                      <a:pt x="577" y="267"/>
                    </a:cubicBezTo>
                    <a:cubicBezTo>
                      <a:pt x="578" y="268"/>
                      <a:pt x="578" y="268"/>
                      <a:pt x="578" y="268"/>
                    </a:cubicBezTo>
                    <a:cubicBezTo>
                      <a:pt x="578" y="269"/>
                      <a:pt x="578" y="269"/>
                      <a:pt x="578" y="269"/>
                    </a:cubicBezTo>
                    <a:cubicBezTo>
                      <a:pt x="578" y="271"/>
                      <a:pt x="578" y="271"/>
                      <a:pt x="578" y="271"/>
                    </a:cubicBezTo>
                    <a:cubicBezTo>
                      <a:pt x="579" y="270"/>
                      <a:pt x="579" y="270"/>
                      <a:pt x="579" y="270"/>
                    </a:cubicBezTo>
                    <a:cubicBezTo>
                      <a:pt x="579" y="269"/>
                      <a:pt x="579" y="269"/>
                      <a:pt x="579" y="269"/>
                    </a:cubicBezTo>
                    <a:cubicBezTo>
                      <a:pt x="580" y="267"/>
                      <a:pt x="580" y="267"/>
                      <a:pt x="580" y="267"/>
                    </a:cubicBezTo>
                    <a:cubicBezTo>
                      <a:pt x="582" y="267"/>
                      <a:pt x="582" y="267"/>
                      <a:pt x="582" y="267"/>
                    </a:cubicBezTo>
                    <a:cubicBezTo>
                      <a:pt x="583" y="269"/>
                      <a:pt x="583" y="269"/>
                      <a:pt x="583" y="269"/>
                    </a:cubicBezTo>
                    <a:cubicBezTo>
                      <a:pt x="584" y="270"/>
                      <a:pt x="584" y="270"/>
                      <a:pt x="584" y="270"/>
                    </a:cubicBezTo>
                    <a:cubicBezTo>
                      <a:pt x="585" y="273"/>
                      <a:pt x="585" y="273"/>
                      <a:pt x="585" y="273"/>
                    </a:cubicBezTo>
                    <a:cubicBezTo>
                      <a:pt x="585" y="271"/>
                      <a:pt x="585" y="271"/>
                      <a:pt x="585" y="271"/>
                    </a:cubicBezTo>
                    <a:cubicBezTo>
                      <a:pt x="585" y="270"/>
                      <a:pt x="585" y="270"/>
                      <a:pt x="585" y="270"/>
                    </a:cubicBezTo>
                    <a:cubicBezTo>
                      <a:pt x="584" y="268"/>
                      <a:pt x="584" y="268"/>
                      <a:pt x="584" y="268"/>
                    </a:cubicBezTo>
                    <a:cubicBezTo>
                      <a:pt x="584" y="267"/>
                      <a:pt x="584" y="267"/>
                      <a:pt x="584" y="267"/>
                    </a:cubicBezTo>
                    <a:cubicBezTo>
                      <a:pt x="589" y="265"/>
                      <a:pt x="589" y="265"/>
                      <a:pt x="589" y="265"/>
                    </a:cubicBezTo>
                    <a:cubicBezTo>
                      <a:pt x="592" y="264"/>
                      <a:pt x="592" y="264"/>
                      <a:pt x="592" y="264"/>
                    </a:cubicBezTo>
                    <a:cubicBezTo>
                      <a:pt x="594" y="264"/>
                      <a:pt x="594" y="264"/>
                      <a:pt x="594" y="264"/>
                    </a:cubicBezTo>
                    <a:cubicBezTo>
                      <a:pt x="596" y="262"/>
                      <a:pt x="596" y="262"/>
                      <a:pt x="596" y="262"/>
                    </a:cubicBezTo>
                    <a:cubicBezTo>
                      <a:pt x="599" y="263"/>
                      <a:pt x="599" y="263"/>
                      <a:pt x="599" y="263"/>
                    </a:cubicBezTo>
                    <a:cubicBezTo>
                      <a:pt x="602" y="264"/>
                      <a:pt x="602" y="264"/>
                      <a:pt x="602" y="264"/>
                    </a:cubicBezTo>
                    <a:cubicBezTo>
                      <a:pt x="605" y="264"/>
                      <a:pt x="605" y="264"/>
                      <a:pt x="605" y="264"/>
                    </a:cubicBezTo>
                    <a:cubicBezTo>
                      <a:pt x="605" y="265"/>
                      <a:pt x="605" y="265"/>
                      <a:pt x="605" y="265"/>
                    </a:cubicBezTo>
                    <a:cubicBezTo>
                      <a:pt x="605" y="266"/>
                      <a:pt x="605" y="266"/>
                      <a:pt x="605" y="266"/>
                    </a:cubicBezTo>
                    <a:cubicBezTo>
                      <a:pt x="604" y="271"/>
                      <a:pt x="604" y="271"/>
                      <a:pt x="604" y="271"/>
                    </a:cubicBezTo>
                    <a:cubicBezTo>
                      <a:pt x="604" y="272"/>
                      <a:pt x="604" y="272"/>
                      <a:pt x="604" y="272"/>
                    </a:cubicBezTo>
                    <a:cubicBezTo>
                      <a:pt x="603" y="273"/>
                      <a:pt x="603" y="273"/>
                      <a:pt x="603" y="273"/>
                    </a:cubicBezTo>
                    <a:cubicBezTo>
                      <a:pt x="601" y="276"/>
                      <a:pt x="601" y="276"/>
                      <a:pt x="601" y="276"/>
                    </a:cubicBezTo>
                    <a:cubicBezTo>
                      <a:pt x="602" y="277"/>
                      <a:pt x="602" y="277"/>
                      <a:pt x="602" y="277"/>
                    </a:cubicBezTo>
                    <a:cubicBezTo>
                      <a:pt x="604" y="277"/>
                      <a:pt x="604" y="277"/>
                      <a:pt x="604" y="277"/>
                    </a:cubicBezTo>
                    <a:cubicBezTo>
                      <a:pt x="604" y="279"/>
                      <a:pt x="604" y="279"/>
                      <a:pt x="604" y="279"/>
                    </a:cubicBezTo>
                    <a:cubicBezTo>
                      <a:pt x="604" y="280"/>
                      <a:pt x="604" y="280"/>
                      <a:pt x="604" y="280"/>
                    </a:cubicBezTo>
                    <a:cubicBezTo>
                      <a:pt x="601" y="283"/>
                      <a:pt x="601" y="283"/>
                      <a:pt x="601" y="283"/>
                    </a:cubicBezTo>
                    <a:cubicBezTo>
                      <a:pt x="601" y="284"/>
                      <a:pt x="601" y="284"/>
                      <a:pt x="601" y="284"/>
                    </a:cubicBezTo>
                    <a:cubicBezTo>
                      <a:pt x="601" y="286"/>
                      <a:pt x="601" y="286"/>
                      <a:pt x="601" y="286"/>
                    </a:cubicBezTo>
                    <a:cubicBezTo>
                      <a:pt x="602" y="288"/>
                      <a:pt x="602" y="288"/>
                      <a:pt x="602" y="288"/>
                    </a:cubicBezTo>
                    <a:cubicBezTo>
                      <a:pt x="602" y="289"/>
                      <a:pt x="602" y="289"/>
                      <a:pt x="602" y="289"/>
                    </a:cubicBezTo>
                    <a:cubicBezTo>
                      <a:pt x="601" y="291"/>
                      <a:pt x="601" y="291"/>
                      <a:pt x="601" y="291"/>
                    </a:cubicBezTo>
                    <a:cubicBezTo>
                      <a:pt x="599" y="291"/>
                      <a:pt x="599" y="291"/>
                      <a:pt x="599" y="291"/>
                    </a:cubicBezTo>
                    <a:cubicBezTo>
                      <a:pt x="598" y="292"/>
                      <a:pt x="598" y="292"/>
                      <a:pt x="598" y="292"/>
                    </a:cubicBezTo>
                    <a:cubicBezTo>
                      <a:pt x="596" y="293"/>
                      <a:pt x="596" y="293"/>
                      <a:pt x="596" y="293"/>
                    </a:cubicBezTo>
                    <a:cubicBezTo>
                      <a:pt x="595" y="294"/>
                      <a:pt x="595" y="294"/>
                      <a:pt x="595" y="294"/>
                    </a:cubicBezTo>
                    <a:cubicBezTo>
                      <a:pt x="594" y="296"/>
                      <a:pt x="594" y="296"/>
                      <a:pt x="594" y="296"/>
                    </a:cubicBezTo>
                    <a:cubicBezTo>
                      <a:pt x="593" y="297"/>
                      <a:pt x="593" y="297"/>
                      <a:pt x="593" y="297"/>
                    </a:cubicBezTo>
                    <a:cubicBezTo>
                      <a:pt x="594" y="297"/>
                      <a:pt x="594" y="297"/>
                      <a:pt x="594" y="297"/>
                    </a:cubicBezTo>
                    <a:cubicBezTo>
                      <a:pt x="596" y="295"/>
                      <a:pt x="596" y="295"/>
                      <a:pt x="596" y="295"/>
                    </a:cubicBezTo>
                    <a:cubicBezTo>
                      <a:pt x="598" y="293"/>
                      <a:pt x="598" y="293"/>
                      <a:pt x="598" y="293"/>
                    </a:cubicBezTo>
                    <a:cubicBezTo>
                      <a:pt x="599" y="293"/>
                      <a:pt x="599" y="293"/>
                      <a:pt x="599" y="293"/>
                    </a:cubicBezTo>
                    <a:cubicBezTo>
                      <a:pt x="600" y="293"/>
                      <a:pt x="600" y="293"/>
                      <a:pt x="600" y="293"/>
                    </a:cubicBezTo>
                    <a:cubicBezTo>
                      <a:pt x="599" y="295"/>
                      <a:pt x="599" y="295"/>
                      <a:pt x="599" y="295"/>
                    </a:cubicBezTo>
                    <a:cubicBezTo>
                      <a:pt x="599" y="296"/>
                      <a:pt x="599" y="296"/>
                      <a:pt x="599" y="296"/>
                    </a:cubicBezTo>
                    <a:cubicBezTo>
                      <a:pt x="596" y="299"/>
                      <a:pt x="596" y="299"/>
                      <a:pt x="596" y="299"/>
                    </a:cubicBezTo>
                    <a:cubicBezTo>
                      <a:pt x="594" y="300"/>
                      <a:pt x="594" y="300"/>
                      <a:pt x="594" y="300"/>
                    </a:cubicBezTo>
                    <a:cubicBezTo>
                      <a:pt x="594" y="300"/>
                      <a:pt x="594" y="300"/>
                      <a:pt x="594" y="300"/>
                    </a:cubicBezTo>
                    <a:cubicBezTo>
                      <a:pt x="594" y="301"/>
                      <a:pt x="594" y="301"/>
                      <a:pt x="594" y="301"/>
                    </a:cubicBezTo>
                    <a:cubicBezTo>
                      <a:pt x="594" y="302"/>
                      <a:pt x="594" y="302"/>
                      <a:pt x="594" y="302"/>
                    </a:cubicBezTo>
                    <a:cubicBezTo>
                      <a:pt x="593" y="302"/>
                      <a:pt x="593" y="302"/>
                      <a:pt x="593" y="302"/>
                    </a:cubicBezTo>
                    <a:cubicBezTo>
                      <a:pt x="592" y="302"/>
                      <a:pt x="592" y="302"/>
                      <a:pt x="592" y="302"/>
                    </a:cubicBezTo>
                    <a:cubicBezTo>
                      <a:pt x="592" y="303"/>
                      <a:pt x="592" y="303"/>
                      <a:pt x="592" y="303"/>
                    </a:cubicBezTo>
                    <a:cubicBezTo>
                      <a:pt x="592" y="303"/>
                      <a:pt x="592" y="303"/>
                      <a:pt x="592" y="303"/>
                    </a:cubicBezTo>
                    <a:cubicBezTo>
                      <a:pt x="593" y="304"/>
                      <a:pt x="593" y="304"/>
                      <a:pt x="593" y="304"/>
                    </a:cubicBezTo>
                    <a:cubicBezTo>
                      <a:pt x="593" y="305"/>
                      <a:pt x="593" y="305"/>
                      <a:pt x="593" y="305"/>
                    </a:cubicBezTo>
                    <a:cubicBezTo>
                      <a:pt x="592" y="306"/>
                      <a:pt x="592" y="306"/>
                      <a:pt x="592" y="306"/>
                    </a:cubicBezTo>
                    <a:cubicBezTo>
                      <a:pt x="593" y="306"/>
                      <a:pt x="593" y="306"/>
                      <a:pt x="593" y="306"/>
                    </a:cubicBezTo>
                    <a:cubicBezTo>
                      <a:pt x="594" y="305"/>
                      <a:pt x="594" y="305"/>
                      <a:pt x="594" y="305"/>
                    </a:cubicBezTo>
                    <a:cubicBezTo>
                      <a:pt x="595" y="305"/>
                      <a:pt x="595" y="305"/>
                      <a:pt x="595" y="305"/>
                    </a:cubicBezTo>
                    <a:cubicBezTo>
                      <a:pt x="597" y="303"/>
                      <a:pt x="597" y="303"/>
                      <a:pt x="597" y="303"/>
                    </a:cubicBezTo>
                    <a:cubicBezTo>
                      <a:pt x="597" y="302"/>
                      <a:pt x="597" y="302"/>
                      <a:pt x="597" y="302"/>
                    </a:cubicBezTo>
                    <a:cubicBezTo>
                      <a:pt x="598" y="301"/>
                      <a:pt x="598" y="301"/>
                      <a:pt x="598" y="301"/>
                    </a:cubicBezTo>
                    <a:cubicBezTo>
                      <a:pt x="599" y="299"/>
                      <a:pt x="599" y="299"/>
                      <a:pt x="599" y="299"/>
                    </a:cubicBezTo>
                    <a:cubicBezTo>
                      <a:pt x="600" y="300"/>
                      <a:pt x="600" y="300"/>
                      <a:pt x="600" y="300"/>
                    </a:cubicBezTo>
                    <a:cubicBezTo>
                      <a:pt x="600" y="302"/>
                      <a:pt x="600" y="302"/>
                      <a:pt x="600" y="302"/>
                    </a:cubicBezTo>
                    <a:cubicBezTo>
                      <a:pt x="601" y="303"/>
                      <a:pt x="601" y="303"/>
                      <a:pt x="601" y="303"/>
                    </a:cubicBezTo>
                    <a:cubicBezTo>
                      <a:pt x="601" y="301"/>
                      <a:pt x="601" y="301"/>
                      <a:pt x="601" y="301"/>
                    </a:cubicBezTo>
                    <a:cubicBezTo>
                      <a:pt x="600" y="299"/>
                      <a:pt x="600" y="299"/>
                      <a:pt x="600" y="299"/>
                    </a:cubicBezTo>
                    <a:cubicBezTo>
                      <a:pt x="601" y="297"/>
                      <a:pt x="601" y="297"/>
                      <a:pt x="601" y="297"/>
                    </a:cubicBezTo>
                    <a:cubicBezTo>
                      <a:pt x="601" y="297"/>
                      <a:pt x="601" y="297"/>
                      <a:pt x="601" y="297"/>
                    </a:cubicBezTo>
                    <a:cubicBezTo>
                      <a:pt x="603" y="297"/>
                      <a:pt x="603" y="297"/>
                      <a:pt x="603" y="297"/>
                    </a:cubicBezTo>
                    <a:cubicBezTo>
                      <a:pt x="603" y="299"/>
                      <a:pt x="603" y="299"/>
                      <a:pt x="603" y="299"/>
                    </a:cubicBezTo>
                    <a:cubicBezTo>
                      <a:pt x="604" y="300"/>
                      <a:pt x="604" y="300"/>
                      <a:pt x="604" y="300"/>
                    </a:cubicBezTo>
                    <a:cubicBezTo>
                      <a:pt x="605" y="299"/>
                      <a:pt x="605" y="299"/>
                      <a:pt x="605" y="299"/>
                    </a:cubicBezTo>
                    <a:cubicBezTo>
                      <a:pt x="607" y="297"/>
                      <a:pt x="607" y="297"/>
                      <a:pt x="607" y="297"/>
                    </a:cubicBezTo>
                    <a:cubicBezTo>
                      <a:pt x="607" y="299"/>
                      <a:pt x="607" y="299"/>
                      <a:pt x="607" y="299"/>
                    </a:cubicBezTo>
                    <a:cubicBezTo>
                      <a:pt x="608" y="300"/>
                      <a:pt x="608" y="300"/>
                      <a:pt x="608" y="300"/>
                    </a:cubicBezTo>
                    <a:cubicBezTo>
                      <a:pt x="608" y="302"/>
                      <a:pt x="608" y="302"/>
                      <a:pt x="608" y="302"/>
                    </a:cubicBezTo>
                    <a:cubicBezTo>
                      <a:pt x="606" y="305"/>
                      <a:pt x="606" y="305"/>
                      <a:pt x="606" y="305"/>
                    </a:cubicBezTo>
                    <a:cubicBezTo>
                      <a:pt x="604" y="307"/>
                      <a:pt x="604" y="307"/>
                      <a:pt x="604" y="307"/>
                    </a:cubicBezTo>
                    <a:cubicBezTo>
                      <a:pt x="603" y="308"/>
                      <a:pt x="603" y="308"/>
                      <a:pt x="603" y="308"/>
                    </a:cubicBezTo>
                    <a:cubicBezTo>
                      <a:pt x="605" y="309"/>
                      <a:pt x="605" y="309"/>
                      <a:pt x="605" y="309"/>
                    </a:cubicBezTo>
                    <a:cubicBezTo>
                      <a:pt x="606" y="310"/>
                      <a:pt x="606" y="310"/>
                      <a:pt x="606" y="310"/>
                    </a:cubicBezTo>
                    <a:cubicBezTo>
                      <a:pt x="607" y="309"/>
                      <a:pt x="607" y="309"/>
                      <a:pt x="607" y="309"/>
                    </a:cubicBezTo>
                    <a:cubicBezTo>
                      <a:pt x="606" y="307"/>
                      <a:pt x="606" y="307"/>
                      <a:pt x="606" y="307"/>
                    </a:cubicBezTo>
                    <a:cubicBezTo>
                      <a:pt x="607" y="305"/>
                      <a:pt x="607" y="305"/>
                      <a:pt x="607" y="305"/>
                    </a:cubicBezTo>
                    <a:cubicBezTo>
                      <a:pt x="609" y="304"/>
                      <a:pt x="609" y="304"/>
                      <a:pt x="609" y="304"/>
                    </a:cubicBezTo>
                    <a:cubicBezTo>
                      <a:pt x="610" y="306"/>
                      <a:pt x="610" y="306"/>
                      <a:pt x="610" y="306"/>
                    </a:cubicBezTo>
                    <a:cubicBezTo>
                      <a:pt x="610" y="308"/>
                      <a:pt x="610" y="308"/>
                      <a:pt x="610" y="308"/>
                    </a:cubicBezTo>
                    <a:cubicBezTo>
                      <a:pt x="611" y="307"/>
                      <a:pt x="611" y="307"/>
                      <a:pt x="611" y="307"/>
                    </a:cubicBezTo>
                    <a:cubicBezTo>
                      <a:pt x="610" y="304"/>
                      <a:pt x="610" y="304"/>
                      <a:pt x="610" y="304"/>
                    </a:cubicBezTo>
                    <a:cubicBezTo>
                      <a:pt x="609" y="302"/>
                      <a:pt x="609" y="302"/>
                      <a:pt x="609" y="302"/>
                    </a:cubicBezTo>
                    <a:cubicBezTo>
                      <a:pt x="609" y="299"/>
                      <a:pt x="609" y="299"/>
                      <a:pt x="609" y="299"/>
                    </a:cubicBezTo>
                    <a:cubicBezTo>
                      <a:pt x="610" y="298"/>
                      <a:pt x="610" y="298"/>
                      <a:pt x="610" y="298"/>
                    </a:cubicBezTo>
                    <a:cubicBezTo>
                      <a:pt x="612" y="299"/>
                      <a:pt x="612" y="299"/>
                      <a:pt x="612" y="299"/>
                    </a:cubicBezTo>
                    <a:cubicBezTo>
                      <a:pt x="612" y="301"/>
                      <a:pt x="612" y="301"/>
                      <a:pt x="612" y="301"/>
                    </a:cubicBezTo>
                    <a:cubicBezTo>
                      <a:pt x="611" y="303"/>
                      <a:pt x="611" y="303"/>
                      <a:pt x="611" y="303"/>
                    </a:cubicBezTo>
                    <a:cubicBezTo>
                      <a:pt x="612" y="302"/>
                      <a:pt x="612" y="302"/>
                      <a:pt x="612" y="302"/>
                    </a:cubicBezTo>
                    <a:cubicBezTo>
                      <a:pt x="614" y="302"/>
                      <a:pt x="614" y="302"/>
                      <a:pt x="614" y="302"/>
                    </a:cubicBezTo>
                    <a:cubicBezTo>
                      <a:pt x="617" y="305"/>
                      <a:pt x="617" y="305"/>
                      <a:pt x="617" y="305"/>
                    </a:cubicBezTo>
                    <a:cubicBezTo>
                      <a:pt x="617" y="306"/>
                      <a:pt x="617" y="306"/>
                      <a:pt x="617" y="306"/>
                    </a:cubicBezTo>
                    <a:cubicBezTo>
                      <a:pt x="619" y="306"/>
                      <a:pt x="619" y="306"/>
                      <a:pt x="619" y="306"/>
                    </a:cubicBezTo>
                    <a:cubicBezTo>
                      <a:pt x="620" y="307"/>
                      <a:pt x="620" y="307"/>
                      <a:pt x="620" y="307"/>
                    </a:cubicBezTo>
                    <a:cubicBezTo>
                      <a:pt x="621" y="307"/>
                      <a:pt x="621" y="307"/>
                      <a:pt x="621" y="307"/>
                    </a:cubicBezTo>
                    <a:cubicBezTo>
                      <a:pt x="620" y="305"/>
                      <a:pt x="620" y="305"/>
                      <a:pt x="620" y="305"/>
                    </a:cubicBezTo>
                    <a:cubicBezTo>
                      <a:pt x="619" y="305"/>
                      <a:pt x="619" y="305"/>
                      <a:pt x="619" y="305"/>
                    </a:cubicBezTo>
                    <a:cubicBezTo>
                      <a:pt x="618" y="304"/>
                      <a:pt x="618" y="304"/>
                      <a:pt x="618" y="304"/>
                    </a:cubicBezTo>
                    <a:cubicBezTo>
                      <a:pt x="615" y="301"/>
                      <a:pt x="615" y="301"/>
                      <a:pt x="615" y="301"/>
                    </a:cubicBezTo>
                    <a:cubicBezTo>
                      <a:pt x="614" y="300"/>
                      <a:pt x="614" y="300"/>
                      <a:pt x="614" y="300"/>
                    </a:cubicBezTo>
                    <a:cubicBezTo>
                      <a:pt x="613" y="299"/>
                      <a:pt x="613" y="299"/>
                      <a:pt x="613" y="299"/>
                    </a:cubicBezTo>
                    <a:cubicBezTo>
                      <a:pt x="615" y="296"/>
                      <a:pt x="615" y="296"/>
                      <a:pt x="615" y="296"/>
                    </a:cubicBezTo>
                    <a:cubicBezTo>
                      <a:pt x="617" y="296"/>
                      <a:pt x="617" y="296"/>
                      <a:pt x="617" y="296"/>
                    </a:cubicBezTo>
                    <a:cubicBezTo>
                      <a:pt x="619" y="294"/>
                      <a:pt x="619" y="294"/>
                      <a:pt x="619" y="294"/>
                    </a:cubicBezTo>
                    <a:cubicBezTo>
                      <a:pt x="622" y="294"/>
                      <a:pt x="622" y="294"/>
                      <a:pt x="622" y="294"/>
                    </a:cubicBezTo>
                    <a:cubicBezTo>
                      <a:pt x="624" y="294"/>
                      <a:pt x="624" y="294"/>
                      <a:pt x="624" y="294"/>
                    </a:cubicBezTo>
                    <a:cubicBezTo>
                      <a:pt x="625" y="295"/>
                      <a:pt x="625" y="295"/>
                      <a:pt x="625" y="295"/>
                    </a:cubicBezTo>
                    <a:cubicBezTo>
                      <a:pt x="626" y="295"/>
                      <a:pt x="626" y="295"/>
                      <a:pt x="626" y="295"/>
                    </a:cubicBezTo>
                    <a:cubicBezTo>
                      <a:pt x="629" y="296"/>
                      <a:pt x="629" y="296"/>
                      <a:pt x="629" y="296"/>
                    </a:cubicBezTo>
                    <a:cubicBezTo>
                      <a:pt x="629" y="297"/>
                      <a:pt x="629" y="297"/>
                      <a:pt x="629" y="297"/>
                    </a:cubicBezTo>
                    <a:cubicBezTo>
                      <a:pt x="630" y="299"/>
                      <a:pt x="630" y="299"/>
                      <a:pt x="630" y="299"/>
                    </a:cubicBezTo>
                    <a:cubicBezTo>
                      <a:pt x="631" y="299"/>
                      <a:pt x="631" y="299"/>
                      <a:pt x="631" y="299"/>
                    </a:cubicBezTo>
                    <a:cubicBezTo>
                      <a:pt x="632" y="301"/>
                      <a:pt x="632" y="301"/>
                      <a:pt x="632" y="301"/>
                    </a:cubicBezTo>
                    <a:cubicBezTo>
                      <a:pt x="633" y="301"/>
                      <a:pt x="633" y="301"/>
                      <a:pt x="633" y="301"/>
                    </a:cubicBezTo>
                    <a:cubicBezTo>
                      <a:pt x="633" y="300"/>
                      <a:pt x="633" y="300"/>
                      <a:pt x="633" y="300"/>
                    </a:cubicBezTo>
                    <a:cubicBezTo>
                      <a:pt x="635" y="300"/>
                      <a:pt x="635" y="300"/>
                      <a:pt x="635" y="300"/>
                    </a:cubicBezTo>
                    <a:cubicBezTo>
                      <a:pt x="635" y="302"/>
                      <a:pt x="635" y="302"/>
                      <a:pt x="635" y="302"/>
                    </a:cubicBezTo>
                    <a:cubicBezTo>
                      <a:pt x="637" y="303"/>
                      <a:pt x="637" y="303"/>
                      <a:pt x="637" y="303"/>
                    </a:cubicBezTo>
                    <a:cubicBezTo>
                      <a:pt x="637" y="304"/>
                      <a:pt x="637" y="304"/>
                      <a:pt x="637" y="304"/>
                    </a:cubicBezTo>
                    <a:cubicBezTo>
                      <a:pt x="637" y="306"/>
                      <a:pt x="637" y="306"/>
                      <a:pt x="637" y="306"/>
                    </a:cubicBezTo>
                    <a:cubicBezTo>
                      <a:pt x="638" y="307"/>
                      <a:pt x="638" y="307"/>
                      <a:pt x="638" y="307"/>
                    </a:cubicBezTo>
                    <a:cubicBezTo>
                      <a:pt x="638" y="308"/>
                      <a:pt x="638" y="308"/>
                      <a:pt x="638" y="308"/>
                    </a:cubicBezTo>
                    <a:cubicBezTo>
                      <a:pt x="636" y="310"/>
                      <a:pt x="636" y="310"/>
                      <a:pt x="636" y="310"/>
                    </a:cubicBezTo>
                    <a:cubicBezTo>
                      <a:pt x="635" y="310"/>
                      <a:pt x="635" y="310"/>
                      <a:pt x="635" y="310"/>
                    </a:cubicBezTo>
                    <a:cubicBezTo>
                      <a:pt x="633" y="309"/>
                      <a:pt x="633" y="309"/>
                      <a:pt x="633" y="309"/>
                    </a:cubicBezTo>
                    <a:cubicBezTo>
                      <a:pt x="630" y="310"/>
                      <a:pt x="630" y="310"/>
                      <a:pt x="630" y="310"/>
                    </a:cubicBezTo>
                    <a:cubicBezTo>
                      <a:pt x="627" y="313"/>
                      <a:pt x="627" y="313"/>
                      <a:pt x="627" y="313"/>
                    </a:cubicBezTo>
                    <a:cubicBezTo>
                      <a:pt x="631" y="310"/>
                      <a:pt x="631" y="310"/>
                      <a:pt x="631" y="310"/>
                    </a:cubicBezTo>
                    <a:cubicBezTo>
                      <a:pt x="634" y="310"/>
                      <a:pt x="634" y="310"/>
                      <a:pt x="634" y="310"/>
                    </a:cubicBezTo>
                    <a:cubicBezTo>
                      <a:pt x="634" y="311"/>
                      <a:pt x="634" y="311"/>
                      <a:pt x="634" y="311"/>
                    </a:cubicBezTo>
                    <a:cubicBezTo>
                      <a:pt x="633" y="313"/>
                      <a:pt x="633" y="313"/>
                      <a:pt x="633" y="313"/>
                    </a:cubicBezTo>
                    <a:cubicBezTo>
                      <a:pt x="631" y="314"/>
                      <a:pt x="631" y="314"/>
                      <a:pt x="631" y="314"/>
                    </a:cubicBezTo>
                    <a:cubicBezTo>
                      <a:pt x="629" y="317"/>
                      <a:pt x="629" y="317"/>
                      <a:pt x="629" y="317"/>
                    </a:cubicBezTo>
                    <a:cubicBezTo>
                      <a:pt x="627" y="318"/>
                      <a:pt x="627" y="318"/>
                      <a:pt x="627" y="318"/>
                    </a:cubicBezTo>
                    <a:cubicBezTo>
                      <a:pt x="626" y="319"/>
                      <a:pt x="626" y="319"/>
                      <a:pt x="626" y="319"/>
                    </a:cubicBezTo>
                    <a:cubicBezTo>
                      <a:pt x="626" y="320"/>
                      <a:pt x="626" y="320"/>
                      <a:pt x="626" y="320"/>
                    </a:cubicBezTo>
                    <a:cubicBezTo>
                      <a:pt x="627" y="320"/>
                      <a:pt x="627" y="320"/>
                      <a:pt x="627" y="320"/>
                    </a:cubicBezTo>
                    <a:cubicBezTo>
                      <a:pt x="630" y="316"/>
                      <a:pt x="630" y="316"/>
                      <a:pt x="630" y="316"/>
                    </a:cubicBezTo>
                    <a:cubicBezTo>
                      <a:pt x="632" y="314"/>
                      <a:pt x="632" y="314"/>
                      <a:pt x="632" y="314"/>
                    </a:cubicBezTo>
                    <a:cubicBezTo>
                      <a:pt x="634" y="313"/>
                      <a:pt x="634" y="313"/>
                      <a:pt x="634" y="313"/>
                    </a:cubicBezTo>
                    <a:cubicBezTo>
                      <a:pt x="636" y="311"/>
                      <a:pt x="636" y="311"/>
                      <a:pt x="636" y="311"/>
                    </a:cubicBezTo>
                    <a:cubicBezTo>
                      <a:pt x="638" y="312"/>
                      <a:pt x="638" y="312"/>
                      <a:pt x="638" y="312"/>
                    </a:cubicBezTo>
                    <a:cubicBezTo>
                      <a:pt x="639" y="313"/>
                      <a:pt x="639" y="313"/>
                      <a:pt x="639" y="313"/>
                    </a:cubicBezTo>
                    <a:cubicBezTo>
                      <a:pt x="641" y="313"/>
                      <a:pt x="641" y="313"/>
                      <a:pt x="641" y="313"/>
                    </a:cubicBezTo>
                    <a:cubicBezTo>
                      <a:pt x="641" y="314"/>
                      <a:pt x="641" y="314"/>
                      <a:pt x="641" y="314"/>
                    </a:cubicBezTo>
                    <a:cubicBezTo>
                      <a:pt x="640" y="316"/>
                      <a:pt x="640" y="316"/>
                      <a:pt x="640" y="316"/>
                    </a:cubicBezTo>
                    <a:cubicBezTo>
                      <a:pt x="640" y="317"/>
                      <a:pt x="640" y="317"/>
                      <a:pt x="640" y="317"/>
                    </a:cubicBezTo>
                    <a:cubicBezTo>
                      <a:pt x="638" y="318"/>
                      <a:pt x="638" y="318"/>
                      <a:pt x="638" y="318"/>
                    </a:cubicBezTo>
                    <a:cubicBezTo>
                      <a:pt x="637" y="320"/>
                      <a:pt x="637" y="320"/>
                      <a:pt x="637" y="320"/>
                    </a:cubicBezTo>
                    <a:cubicBezTo>
                      <a:pt x="635" y="320"/>
                      <a:pt x="635" y="320"/>
                      <a:pt x="635" y="320"/>
                    </a:cubicBezTo>
                    <a:cubicBezTo>
                      <a:pt x="634" y="319"/>
                      <a:pt x="634" y="319"/>
                      <a:pt x="634" y="319"/>
                    </a:cubicBezTo>
                    <a:cubicBezTo>
                      <a:pt x="632" y="319"/>
                      <a:pt x="632" y="319"/>
                      <a:pt x="632" y="319"/>
                    </a:cubicBezTo>
                    <a:cubicBezTo>
                      <a:pt x="631" y="321"/>
                      <a:pt x="631" y="321"/>
                      <a:pt x="631" y="321"/>
                    </a:cubicBezTo>
                    <a:cubicBezTo>
                      <a:pt x="633" y="321"/>
                      <a:pt x="633" y="321"/>
                      <a:pt x="633" y="321"/>
                    </a:cubicBezTo>
                    <a:cubicBezTo>
                      <a:pt x="634" y="322"/>
                      <a:pt x="634" y="322"/>
                      <a:pt x="634" y="322"/>
                    </a:cubicBezTo>
                    <a:cubicBezTo>
                      <a:pt x="630" y="324"/>
                      <a:pt x="630" y="324"/>
                      <a:pt x="630" y="324"/>
                    </a:cubicBezTo>
                    <a:cubicBezTo>
                      <a:pt x="632" y="324"/>
                      <a:pt x="632" y="324"/>
                      <a:pt x="632" y="324"/>
                    </a:cubicBezTo>
                    <a:cubicBezTo>
                      <a:pt x="633" y="323"/>
                      <a:pt x="633" y="323"/>
                      <a:pt x="633" y="323"/>
                    </a:cubicBezTo>
                    <a:cubicBezTo>
                      <a:pt x="635" y="322"/>
                      <a:pt x="635" y="322"/>
                      <a:pt x="635" y="322"/>
                    </a:cubicBezTo>
                    <a:cubicBezTo>
                      <a:pt x="636" y="321"/>
                      <a:pt x="636" y="321"/>
                      <a:pt x="636" y="321"/>
                    </a:cubicBezTo>
                    <a:cubicBezTo>
                      <a:pt x="636" y="322"/>
                      <a:pt x="636" y="322"/>
                      <a:pt x="636" y="322"/>
                    </a:cubicBezTo>
                    <a:cubicBezTo>
                      <a:pt x="635" y="323"/>
                      <a:pt x="635" y="323"/>
                      <a:pt x="635" y="323"/>
                    </a:cubicBezTo>
                    <a:cubicBezTo>
                      <a:pt x="633" y="324"/>
                      <a:pt x="633" y="324"/>
                      <a:pt x="633" y="324"/>
                    </a:cubicBezTo>
                    <a:cubicBezTo>
                      <a:pt x="632" y="325"/>
                      <a:pt x="632" y="325"/>
                      <a:pt x="632" y="325"/>
                    </a:cubicBezTo>
                    <a:cubicBezTo>
                      <a:pt x="633" y="325"/>
                      <a:pt x="633" y="325"/>
                      <a:pt x="633" y="325"/>
                    </a:cubicBezTo>
                    <a:cubicBezTo>
                      <a:pt x="633" y="326"/>
                      <a:pt x="633" y="326"/>
                      <a:pt x="633" y="326"/>
                    </a:cubicBezTo>
                    <a:cubicBezTo>
                      <a:pt x="632" y="327"/>
                      <a:pt x="632" y="327"/>
                      <a:pt x="632" y="327"/>
                    </a:cubicBezTo>
                    <a:cubicBezTo>
                      <a:pt x="630" y="329"/>
                      <a:pt x="630" y="329"/>
                      <a:pt x="630" y="329"/>
                    </a:cubicBezTo>
                    <a:cubicBezTo>
                      <a:pt x="629" y="330"/>
                      <a:pt x="629" y="330"/>
                      <a:pt x="629" y="330"/>
                    </a:cubicBezTo>
                    <a:cubicBezTo>
                      <a:pt x="630" y="331"/>
                      <a:pt x="630" y="331"/>
                      <a:pt x="630" y="331"/>
                    </a:cubicBezTo>
                    <a:cubicBezTo>
                      <a:pt x="633" y="329"/>
                      <a:pt x="633" y="329"/>
                      <a:pt x="633" y="329"/>
                    </a:cubicBezTo>
                    <a:cubicBezTo>
                      <a:pt x="634" y="326"/>
                      <a:pt x="634" y="326"/>
                      <a:pt x="634" y="326"/>
                    </a:cubicBezTo>
                    <a:cubicBezTo>
                      <a:pt x="635" y="324"/>
                      <a:pt x="635" y="324"/>
                      <a:pt x="635" y="324"/>
                    </a:cubicBezTo>
                    <a:cubicBezTo>
                      <a:pt x="638" y="322"/>
                      <a:pt x="638" y="322"/>
                      <a:pt x="638" y="322"/>
                    </a:cubicBezTo>
                    <a:cubicBezTo>
                      <a:pt x="639" y="323"/>
                      <a:pt x="639" y="323"/>
                      <a:pt x="639" y="323"/>
                    </a:cubicBezTo>
                    <a:cubicBezTo>
                      <a:pt x="639" y="324"/>
                      <a:pt x="639" y="324"/>
                      <a:pt x="639" y="324"/>
                    </a:cubicBezTo>
                    <a:cubicBezTo>
                      <a:pt x="640" y="323"/>
                      <a:pt x="640" y="323"/>
                      <a:pt x="640" y="323"/>
                    </a:cubicBezTo>
                    <a:cubicBezTo>
                      <a:pt x="641" y="322"/>
                      <a:pt x="641" y="322"/>
                      <a:pt x="641" y="322"/>
                    </a:cubicBezTo>
                    <a:cubicBezTo>
                      <a:pt x="643" y="320"/>
                      <a:pt x="643" y="320"/>
                      <a:pt x="643" y="320"/>
                    </a:cubicBezTo>
                    <a:cubicBezTo>
                      <a:pt x="644" y="320"/>
                      <a:pt x="644" y="320"/>
                      <a:pt x="644" y="320"/>
                    </a:cubicBezTo>
                    <a:cubicBezTo>
                      <a:pt x="644" y="322"/>
                      <a:pt x="644" y="322"/>
                      <a:pt x="644" y="322"/>
                    </a:cubicBezTo>
                    <a:cubicBezTo>
                      <a:pt x="641" y="324"/>
                      <a:pt x="641" y="324"/>
                      <a:pt x="641" y="324"/>
                    </a:cubicBezTo>
                    <a:cubicBezTo>
                      <a:pt x="638" y="326"/>
                      <a:pt x="638" y="326"/>
                      <a:pt x="638" y="326"/>
                    </a:cubicBezTo>
                    <a:cubicBezTo>
                      <a:pt x="637" y="327"/>
                      <a:pt x="637" y="327"/>
                      <a:pt x="637" y="327"/>
                    </a:cubicBezTo>
                    <a:cubicBezTo>
                      <a:pt x="637" y="328"/>
                      <a:pt x="637" y="328"/>
                      <a:pt x="637" y="328"/>
                    </a:cubicBezTo>
                    <a:cubicBezTo>
                      <a:pt x="637" y="328"/>
                      <a:pt x="637" y="328"/>
                      <a:pt x="637" y="328"/>
                    </a:cubicBezTo>
                    <a:cubicBezTo>
                      <a:pt x="636" y="330"/>
                      <a:pt x="636" y="330"/>
                      <a:pt x="636" y="330"/>
                    </a:cubicBezTo>
                    <a:cubicBezTo>
                      <a:pt x="636" y="332"/>
                      <a:pt x="636" y="332"/>
                      <a:pt x="636" y="332"/>
                    </a:cubicBezTo>
                    <a:cubicBezTo>
                      <a:pt x="637" y="332"/>
                      <a:pt x="637" y="332"/>
                      <a:pt x="637" y="332"/>
                    </a:cubicBezTo>
                    <a:cubicBezTo>
                      <a:pt x="638" y="330"/>
                      <a:pt x="638" y="330"/>
                      <a:pt x="638" y="330"/>
                    </a:cubicBezTo>
                    <a:cubicBezTo>
                      <a:pt x="638" y="328"/>
                      <a:pt x="638" y="328"/>
                      <a:pt x="638" y="328"/>
                    </a:cubicBezTo>
                    <a:cubicBezTo>
                      <a:pt x="641" y="326"/>
                      <a:pt x="641" y="326"/>
                      <a:pt x="641" y="326"/>
                    </a:cubicBezTo>
                    <a:cubicBezTo>
                      <a:pt x="643" y="325"/>
                      <a:pt x="643" y="325"/>
                      <a:pt x="643" y="325"/>
                    </a:cubicBezTo>
                    <a:cubicBezTo>
                      <a:pt x="643" y="326"/>
                      <a:pt x="643" y="326"/>
                      <a:pt x="643" y="326"/>
                    </a:cubicBezTo>
                    <a:cubicBezTo>
                      <a:pt x="643" y="327"/>
                      <a:pt x="643" y="327"/>
                      <a:pt x="643" y="327"/>
                    </a:cubicBezTo>
                    <a:cubicBezTo>
                      <a:pt x="642" y="329"/>
                      <a:pt x="642" y="329"/>
                      <a:pt x="642" y="329"/>
                    </a:cubicBezTo>
                    <a:cubicBezTo>
                      <a:pt x="640" y="331"/>
                      <a:pt x="640" y="331"/>
                      <a:pt x="640" y="331"/>
                    </a:cubicBezTo>
                    <a:cubicBezTo>
                      <a:pt x="639" y="332"/>
                      <a:pt x="639" y="332"/>
                      <a:pt x="639" y="332"/>
                    </a:cubicBezTo>
                    <a:cubicBezTo>
                      <a:pt x="638" y="335"/>
                      <a:pt x="638" y="335"/>
                      <a:pt x="638" y="335"/>
                    </a:cubicBezTo>
                    <a:cubicBezTo>
                      <a:pt x="637" y="336"/>
                      <a:pt x="637" y="336"/>
                      <a:pt x="637" y="336"/>
                    </a:cubicBezTo>
                    <a:cubicBezTo>
                      <a:pt x="637" y="336"/>
                      <a:pt x="637" y="336"/>
                      <a:pt x="637" y="336"/>
                    </a:cubicBezTo>
                    <a:cubicBezTo>
                      <a:pt x="639" y="336"/>
                      <a:pt x="639" y="336"/>
                      <a:pt x="639" y="336"/>
                    </a:cubicBezTo>
                    <a:cubicBezTo>
                      <a:pt x="639" y="334"/>
                      <a:pt x="639" y="334"/>
                      <a:pt x="639" y="334"/>
                    </a:cubicBezTo>
                    <a:cubicBezTo>
                      <a:pt x="642" y="331"/>
                      <a:pt x="642" y="331"/>
                      <a:pt x="642" y="331"/>
                    </a:cubicBezTo>
                    <a:cubicBezTo>
                      <a:pt x="643" y="330"/>
                      <a:pt x="643" y="330"/>
                      <a:pt x="643" y="330"/>
                    </a:cubicBezTo>
                    <a:cubicBezTo>
                      <a:pt x="644" y="331"/>
                      <a:pt x="644" y="331"/>
                      <a:pt x="644" y="331"/>
                    </a:cubicBezTo>
                    <a:cubicBezTo>
                      <a:pt x="645" y="332"/>
                      <a:pt x="645" y="332"/>
                      <a:pt x="645" y="332"/>
                    </a:cubicBezTo>
                    <a:cubicBezTo>
                      <a:pt x="645" y="333"/>
                      <a:pt x="645" y="333"/>
                      <a:pt x="645" y="333"/>
                    </a:cubicBezTo>
                    <a:cubicBezTo>
                      <a:pt x="643" y="333"/>
                      <a:pt x="643" y="333"/>
                      <a:pt x="643" y="333"/>
                    </a:cubicBezTo>
                    <a:cubicBezTo>
                      <a:pt x="642" y="336"/>
                      <a:pt x="642" y="336"/>
                      <a:pt x="642" y="336"/>
                    </a:cubicBezTo>
                    <a:cubicBezTo>
                      <a:pt x="641" y="338"/>
                      <a:pt x="641" y="338"/>
                      <a:pt x="641" y="338"/>
                    </a:cubicBezTo>
                    <a:cubicBezTo>
                      <a:pt x="642" y="339"/>
                      <a:pt x="642" y="339"/>
                      <a:pt x="642" y="339"/>
                    </a:cubicBezTo>
                    <a:cubicBezTo>
                      <a:pt x="643" y="337"/>
                      <a:pt x="643" y="337"/>
                      <a:pt x="643" y="337"/>
                    </a:cubicBezTo>
                    <a:cubicBezTo>
                      <a:pt x="643" y="336"/>
                      <a:pt x="643" y="336"/>
                      <a:pt x="643" y="336"/>
                    </a:cubicBezTo>
                    <a:cubicBezTo>
                      <a:pt x="644" y="334"/>
                      <a:pt x="644" y="334"/>
                      <a:pt x="644" y="334"/>
                    </a:cubicBezTo>
                    <a:cubicBezTo>
                      <a:pt x="646" y="333"/>
                      <a:pt x="646" y="333"/>
                      <a:pt x="646" y="333"/>
                    </a:cubicBezTo>
                    <a:cubicBezTo>
                      <a:pt x="646" y="331"/>
                      <a:pt x="646" y="331"/>
                      <a:pt x="646" y="331"/>
                    </a:cubicBezTo>
                    <a:cubicBezTo>
                      <a:pt x="647" y="330"/>
                      <a:pt x="647" y="330"/>
                      <a:pt x="647" y="330"/>
                    </a:cubicBezTo>
                    <a:cubicBezTo>
                      <a:pt x="648" y="329"/>
                      <a:pt x="648" y="329"/>
                      <a:pt x="648" y="329"/>
                    </a:cubicBezTo>
                    <a:cubicBezTo>
                      <a:pt x="649" y="327"/>
                      <a:pt x="649" y="327"/>
                      <a:pt x="649" y="327"/>
                    </a:cubicBezTo>
                    <a:cubicBezTo>
                      <a:pt x="649" y="326"/>
                      <a:pt x="649" y="326"/>
                      <a:pt x="649" y="326"/>
                    </a:cubicBezTo>
                    <a:cubicBezTo>
                      <a:pt x="650" y="326"/>
                      <a:pt x="650" y="326"/>
                      <a:pt x="650" y="326"/>
                    </a:cubicBezTo>
                    <a:cubicBezTo>
                      <a:pt x="651" y="325"/>
                      <a:pt x="651" y="325"/>
                      <a:pt x="651" y="325"/>
                    </a:cubicBezTo>
                    <a:cubicBezTo>
                      <a:pt x="651" y="323"/>
                      <a:pt x="651" y="323"/>
                      <a:pt x="651" y="323"/>
                    </a:cubicBezTo>
                    <a:cubicBezTo>
                      <a:pt x="652" y="323"/>
                      <a:pt x="652" y="323"/>
                      <a:pt x="652" y="323"/>
                    </a:cubicBezTo>
                    <a:cubicBezTo>
                      <a:pt x="653" y="326"/>
                      <a:pt x="653" y="326"/>
                      <a:pt x="653" y="326"/>
                    </a:cubicBezTo>
                    <a:cubicBezTo>
                      <a:pt x="655" y="327"/>
                      <a:pt x="655" y="327"/>
                      <a:pt x="655" y="327"/>
                    </a:cubicBezTo>
                    <a:cubicBezTo>
                      <a:pt x="656" y="328"/>
                      <a:pt x="656" y="328"/>
                      <a:pt x="656" y="328"/>
                    </a:cubicBezTo>
                    <a:cubicBezTo>
                      <a:pt x="657" y="330"/>
                      <a:pt x="657" y="330"/>
                      <a:pt x="657" y="330"/>
                    </a:cubicBezTo>
                    <a:cubicBezTo>
                      <a:pt x="657" y="332"/>
                      <a:pt x="657" y="332"/>
                      <a:pt x="657" y="332"/>
                    </a:cubicBezTo>
                    <a:cubicBezTo>
                      <a:pt x="659" y="334"/>
                      <a:pt x="659" y="334"/>
                      <a:pt x="659" y="334"/>
                    </a:cubicBezTo>
                    <a:cubicBezTo>
                      <a:pt x="659" y="335"/>
                      <a:pt x="659" y="335"/>
                      <a:pt x="659" y="335"/>
                    </a:cubicBezTo>
                    <a:cubicBezTo>
                      <a:pt x="658" y="336"/>
                      <a:pt x="658" y="336"/>
                      <a:pt x="658" y="336"/>
                    </a:cubicBezTo>
                    <a:cubicBezTo>
                      <a:pt x="656" y="339"/>
                      <a:pt x="656" y="339"/>
                      <a:pt x="656" y="339"/>
                    </a:cubicBezTo>
                    <a:cubicBezTo>
                      <a:pt x="655" y="339"/>
                      <a:pt x="655" y="339"/>
                      <a:pt x="655" y="339"/>
                    </a:cubicBezTo>
                    <a:cubicBezTo>
                      <a:pt x="654" y="338"/>
                      <a:pt x="654" y="338"/>
                      <a:pt x="654" y="338"/>
                    </a:cubicBezTo>
                    <a:cubicBezTo>
                      <a:pt x="652" y="336"/>
                      <a:pt x="652" y="336"/>
                      <a:pt x="652" y="336"/>
                    </a:cubicBezTo>
                    <a:cubicBezTo>
                      <a:pt x="651" y="336"/>
                      <a:pt x="651" y="336"/>
                      <a:pt x="651" y="336"/>
                    </a:cubicBezTo>
                    <a:cubicBezTo>
                      <a:pt x="650" y="337"/>
                      <a:pt x="650" y="337"/>
                      <a:pt x="650" y="337"/>
                    </a:cubicBezTo>
                    <a:cubicBezTo>
                      <a:pt x="649" y="337"/>
                      <a:pt x="649" y="337"/>
                      <a:pt x="649" y="337"/>
                    </a:cubicBezTo>
                    <a:cubicBezTo>
                      <a:pt x="648" y="339"/>
                      <a:pt x="648" y="339"/>
                      <a:pt x="648" y="339"/>
                    </a:cubicBezTo>
                    <a:cubicBezTo>
                      <a:pt x="647" y="340"/>
                      <a:pt x="647" y="340"/>
                      <a:pt x="647" y="340"/>
                    </a:cubicBezTo>
                    <a:cubicBezTo>
                      <a:pt x="646" y="340"/>
                      <a:pt x="646" y="340"/>
                      <a:pt x="646" y="340"/>
                    </a:cubicBezTo>
                    <a:cubicBezTo>
                      <a:pt x="645" y="341"/>
                      <a:pt x="645" y="341"/>
                      <a:pt x="645" y="341"/>
                    </a:cubicBezTo>
                    <a:cubicBezTo>
                      <a:pt x="647" y="341"/>
                      <a:pt x="647" y="341"/>
                      <a:pt x="647" y="341"/>
                    </a:cubicBezTo>
                    <a:cubicBezTo>
                      <a:pt x="648" y="341"/>
                      <a:pt x="648" y="341"/>
                      <a:pt x="648" y="341"/>
                    </a:cubicBezTo>
                    <a:cubicBezTo>
                      <a:pt x="648" y="342"/>
                      <a:pt x="648" y="342"/>
                      <a:pt x="648" y="342"/>
                    </a:cubicBezTo>
                    <a:cubicBezTo>
                      <a:pt x="647" y="344"/>
                      <a:pt x="647" y="344"/>
                      <a:pt x="647" y="344"/>
                    </a:cubicBezTo>
                    <a:cubicBezTo>
                      <a:pt x="645" y="345"/>
                      <a:pt x="645" y="345"/>
                      <a:pt x="645" y="345"/>
                    </a:cubicBezTo>
                    <a:cubicBezTo>
                      <a:pt x="643" y="345"/>
                      <a:pt x="643" y="345"/>
                      <a:pt x="643" y="345"/>
                    </a:cubicBezTo>
                    <a:cubicBezTo>
                      <a:pt x="646" y="346"/>
                      <a:pt x="646" y="346"/>
                      <a:pt x="646" y="346"/>
                    </a:cubicBezTo>
                    <a:cubicBezTo>
                      <a:pt x="647" y="345"/>
                      <a:pt x="647" y="345"/>
                      <a:pt x="647" y="345"/>
                    </a:cubicBezTo>
                    <a:cubicBezTo>
                      <a:pt x="649" y="344"/>
                      <a:pt x="649" y="344"/>
                      <a:pt x="649" y="344"/>
                    </a:cubicBezTo>
                    <a:cubicBezTo>
                      <a:pt x="651" y="345"/>
                      <a:pt x="651" y="345"/>
                      <a:pt x="651" y="345"/>
                    </a:cubicBezTo>
                    <a:cubicBezTo>
                      <a:pt x="652" y="343"/>
                      <a:pt x="652" y="343"/>
                      <a:pt x="652" y="343"/>
                    </a:cubicBezTo>
                    <a:cubicBezTo>
                      <a:pt x="654" y="343"/>
                      <a:pt x="654" y="343"/>
                      <a:pt x="654" y="343"/>
                    </a:cubicBezTo>
                    <a:cubicBezTo>
                      <a:pt x="655" y="344"/>
                      <a:pt x="655" y="344"/>
                      <a:pt x="655" y="344"/>
                    </a:cubicBezTo>
                    <a:cubicBezTo>
                      <a:pt x="655" y="345"/>
                      <a:pt x="655" y="345"/>
                      <a:pt x="655" y="345"/>
                    </a:cubicBezTo>
                    <a:cubicBezTo>
                      <a:pt x="655" y="346"/>
                      <a:pt x="655" y="346"/>
                      <a:pt x="655" y="346"/>
                    </a:cubicBezTo>
                    <a:cubicBezTo>
                      <a:pt x="656" y="345"/>
                      <a:pt x="656" y="345"/>
                      <a:pt x="656" y="345"/>
                    </a:cubicBezTo>
                    <a:cubicBezTo>
                      <a:pt x="656" y="343"/>
                      <a:pt x="656" y="343"/>
                      <a:pt x="656" y="343"/>
                    </a:cubicBezTo>
                    <a:cubicBezTo>
                      <a:pt x="656" y="341"/>
                      <a:pt x="656" y="341"/>
                      <a:pt x="656" y="341"/>
                    </a:cubicBezTo>
                    <a:cubicBezTo>
                      <a:pt x="657" y="340"/>
                      <a:pt x="657" y="340"/>
                      <a:pt x="657" y="340"/>
                    </a:cubicBezTo>
                    <a:cubicBezTo>
                      <a:pt x="660" y="339"/>
                      <a:pt x="660" y="339"/>
                      <a:pt x="660" y="339"/>
                    </a:cubicBezTo>
                    <a:cubicBezTo>
                      <a:pt x="661" y="339"/>
                      <a:pt x="661" y="339"/>
                      <a:pt x="661" y="339"/>
                    </a:cubicBezTo>
                    <a:cubicBezTo>
                      <a:pt x="660" y="340"/>
                      <a:pt x="660" y="340"/>
                      <a:pt x="660" y="340"/>
                    </a:cubicBezTo>
                    <a:cubicBezTo>
                      <a:pt x="661" y="342"/>
                      <a:pt x="661" y="342"/>
                      <a:pt x="661" y="342"/>
                    </a:cubicBezTo>
                    <a:cubicBezTo>
                      <a:pt x="660" y="344"/>
                      <a:pt x="660" y="344"/>
                      <a:pt x="660" y="344"/>
                    </a:cubicBezTo>
                    <a:cubicBezTo>
                      <a:pt x="658" y="346"/>
                      <a:pt x="658" y="346"/>
                      <a:pt x="658" y="346"/>
                    </a:cubicBezTo>
                    <a:cubicBezTo>
                      <a:pt x="656" y="347"/>
                      <a:pt x="656" y="347"/>
                      <a:pt x="656" y="347"/>
                    </a:cubicBezTo>
                    <a:cubicBezTo>
                      <a:pt x="655" y="348"/>
                      <a:pt x="655" y="348"/>
                      <a:pt x="655" y="348"/>
                    </a:cubicBezTo>
                    <a:cubicBezTo>
                      <a:pt x="655" y="349"/>
                      <a:pt x="655" y="349"/>
                      <a:pt x="655" y="349"/>
                    </a:cubicBezTo>
                    <a:cubicBezTo>
                      <a:pt x="653" y="349"/>
                      <a:pt x="653" y="349"/>
                      <a:pt x="653" y="349"/>
                    </a:cubicBezTo>
                    <a:cubicBezTo>
                      <a:pt x="652" y="348"/>
                      <a:pt x="652" y="348"/>
                      <a:pt x="652" y="348"/>
                    </a:cubicBezTo>
                    <a:cubicBezTo>
                      <a:pt x="651" y="348"/>
                      <a:pt x="651" y="348"/>
                      <a:pt x="651" y="348"/>
                    </a:cubicBezTo>
                    <a:cubicBezTo>
                      <a:pt x="650" y="350"/>
                      <a:pt x="650" y="350"/>
                      <a:pt x="650" y="350"/>
                    </a:cubicBezTo>
                    <a:cubicBezTo>
                      <a:pt x="649" y="351"/>
                      <a:pt x="649" y="351"/>
                      <a:pt x="649" y="351"/>
                    </a:cubicBezTo>
                    <a:cubicBezTo>
                      <a:pt x="648" y="353"/>
                      <a:pt x="648" y="353"/>
                      <a:pt x="648" y="353"/>
                    </a:cubicBezTo>
                    <a:cubicBezTo>
                      <a:pt x="647" y="354"/>
                      <a:pt x="647" y="354"/>
                      <a:pt x="647" y="354"/>
                    </a:cubicBezTo>
                    <a:cubicBezTo>
                      <a:pt x="647" y="355"/>
                      <a:pt x="647" y="355"/>
                      <a:pt x="647" y="355"/>
                    </a:cubicBezTo>
                    <a:cubicBezTo>
                      <a:pt x="648" y="355"/>
                      <a:pt x="648" y="355"/>
                      <a:pt x="648" y="355"/>
                    </a:cubicBezTo>
                    <a:cubicBezTo>
                      <a:pt x="650" y="352"/>
                      <a:pt x="650" y="352"/>
                      <a:pt x="650" y="352"/>
                    </a:cubicBezTo>
                    <a:cubicBezTo>
                      <a:pt x="652" y="350"/>
                      <a:pt x="652" y="350"/>
                      <a:pt x="652" y="350"/>
                    </a:cubicBezTo>
                    <a:cubicBezTo>
                      <a:pt x="653" y="349"/>
                      <a:pt x="653" y="349"/>
                      <a:pt x="653" y="349"/>
                    </a:cubicBezTo>
                    <a:cubicBezTo>
                      <a:pt x="653" y="350"/>
                      <a:pt x="653" y="350"/>
                      <a:pt x="653" y="350"/>
                    </a:cubicBezTo>
                    <a:cubicBezTo>
                      <a:pt x="654" y="350"/>
                      <a:pt x="654" y="350"/>
                      <a:pt x="654" y="350"/>
                    </a:cubicBezTo>
                    <a:cubicBezTo>
                      <a:pt x="654" y="351"/>
                      <a:pt x="654" y="351"/>
                      <a:pt x="654" y="351"/>
                    </a:cubicBezTo>
                    <a:cubicBezTo>
                      <a:pt x="653" y="352"/>
                      <a:pt x="653" y="352"/>
                      <a:pt x="653" y="352"/>
                    </a:cubicBezTo>
                    <a:cubicBezTo>
                      <a:pt x="652" y="354"/>
                      <a:pt x="652" y="354"/>
                      <a:pt x="652" y="354"/>
                    </a:cubicBezTo>
                    <a:cubicBezTo>
                      <a:pt x="650" y="356"/>
                      <a:pt x="650" y="356"/>
                      <a:pt x="650" y="356"/>
                    </a:cubicBezTo>
                    <a:cubicBezTo>
                      <a:pt x="648" y="358"/>
                      <a:pt x="648" y="358"/>
                      <a:pt x="648" y="358"/>
                    </a:cubicBezTo>
                    <a:cubicBezTo>
                      <a:pt x="648" y="358"/>
                      <a:pt x="648" y="358"/>
                      <a:pt x="648" y="358"/>
                    </a:cubicBezTo>
                    <a:cubicBezTo>
                      <a:pt x="651" y="357"/>
                      <a:pt x="651" y="357"/>
                      <a:pt x="651" y="357"/>
                    </a:cubicBezTo>
                    <a:cubicBezTo>
                      <a:pt x="654" y="353"/>
                      <a:pt x="654" y="353"/>
                      <a:pt x="654" y="353"/>
                    </a:cubicBezTo>
                    <a:cubicBezTo>
                      <a:pt x="656" y="350"/>
                      <a:pt x="656" y="350"/>
                      <a:pt x="656" y="350"/>
                    </a:cubicBezTo>
                    <a:cubicBezTo>
                      <a:pt x="656" y="349"/>
                      <a:pt x="656" y="349"/>
                      <a:pt x="656" y="349"/>
                    </a:cubicBezTo>
                    <a:cubicBezTo>
                      <a:pt x="657" y="348"/>
                      <a:pt x="657" y="348"/>
                      <a:pt x="657" y="348"/>
                    </a:cubicBezTo>
                    <a:cubicBezTo>
                      <a:pt x="658" y="348"/>
                      <a:pt x="658" y="348"/>
                      <a:pt x="658" y="348"/>
                    </a:cubicBezTo>
                    <a:cubicBezTo>
                      <a:pt x="661" y="346"/>
                      <a:pt x="661" y="346"/>
                      <a:pt x="661" y="346"/>
                    </a:cubicBezTo>
                    <a:cubicBezTo>
                      <a:pt x="663" y="345"/>
                      <a:pt x="663" y="345"/>
                      <a:pt x="663" y="345"/>
                    </a:cubicBezTo>
                    <a:cubicBezTo>
                      <a:pt x="664" y="344"/>
                      <a:pt x="664" y="344"/>
                      <a:pt x="664" y="344"/>
                    </a:cubicBezTo>
                    <a:cubicBezTo>
                      <a:pt x="665" y="345"/>
                      <a:pt x="665" y="345"/>
                      <a:pt x="665" y="345"/>
                    </a:cubicBezTo>
                    <a:cubicBezTo>
                      <a:pt x="664" y="346"/>
                      <a:pt x="664" y="346"/>
                      <a:pt x="664" y="346"/>
                    </a:cubicBezTo>
                    <a:cubicBezTo>
                      <a:pt x="662" y="348"/>
                      <a:pt x="662" y="348"/>
                      <a:pt x="662" y="348"/>
                    </a:cubicBezTo>
                    <a:cubicBezTo>
                      <a:pt x="660" y="348"/>
                      <a:pt x="660" y="348"/>
                      <a:pt x="660" y="348"/>
                    </a:cubicBezTo>
                    <a:cubicBezTo>
                      <a:pt x="659" y="349"/>
                      <a:pt x="659" y="349"/>
                      <a:pt x="659" y="349"/>
                    </a:cubicBezTo>
                    <a:cubicBezTo>
                      <a:pt x="659" y="351"/>
                      <a:pt x="659" y="351"/>
                      <a:pt x="659" y="351"/>
                    </a:cubicBezTo>
                    <a:cubicBezTo>
                      <a:pt x="659" y="351"/>
                      <a:pt x="659" y="351"/>
                      <a:pt x="659" y="351"/>
                    </a:cubicBezTo>
                    <a:cubicBezTo>
                      <a:pt x="660" y="350"/>
                      <a:pt x="660" y="350"/>
                      <a:pt x="660" y="350"/>
                    </a:cubicBezTo>
                    <a:cubicBezTo>
                      <a:pt x="662" y="350"/>
                      <a:pt x="662" y="350"/>
                      <a:pt x="662" y="350"/>
                    </a:cubicBezTo>
                    <a:cubicBezTo>
                      <a:pt x="664" y="348"/>
                      <a:pt x="664" y="348"/>
                      <a:pt x="664" y="348"/>
                    </a:cubicBezTo>
                    <a:cubicBezTo>
                      <a:pt x="665" y="348"/>
                      <a:pt x="665" y="348"/>
                      <a:pt x="665" y="348"/>
                    </a:cubicBezTo>
                    <a:cubicBezTo>
                      <a:pt x="666" y="347"/>
                      <a:pt x="666" y="347"/>
                      <a:pt x="666" y="347"/>
                    </a:cubicBezTo>
                    <a:cubicBezTo>
                      <a:pt x="668" y="346"/>
                      <a:pt x="668" y="346"/>
                      <a:pt x="668" y="346"/>
                    </a:cubicBezTo>
                    <a:cubicBezTo>
                      <a:pt x="669" y="346"/>
                      <a:pt x="669" y="346"/>
                      <a:pt x="669" y="346"/>
                    </a:cubicBezTo>
                    <a:cubicBezTo>
                      <a:pt x="670" y="348"/>
                      <a:pt x="670" y="348"/>
                      <a:pt x="670" y="348"/>
                    </a:cubicBezTo>
                    <a:cubicBezTo>
                      <a:pt x="672" y="350"/>
                      <a:pt x="672" y="350"/>
                      <a:pt x="672" y="350"/>
                    </a:cubicBezTo>
                    <a:cubicBezTo>
                      <a:pt x="673" y="352"/>
                      <a:pt x="673" y="352"/>
                      <a:pt x="673" y="352"/>
                    </a:cubicBezTo>
                    <a:cubicBezTo>
                      <a:pt x="674" y="353"/>
                      <a:pt x="674" y="353"/>
                      <a:pt x="674" y="353"/>
                    </a:cubicBezTo>
                    <a:cubicBezTo>
                      <a:pt x="675" y="354"/>
                      <a:pt x="675" y="354"/>
                      <a:pt x="675" y="354"/>
                    </a:cubicBezTo>
                    <a:cubicBezTo>
                      <a:pt x="674" y="355"/>
                      <a:pt x="674" y="355"/>
                      <a:pt x="674" y="355"/>
                    </a:cubicBezTo>
                    <a:cubicBezTo>
                      <a:pt x="673" y="357"/>
                      <a:pt x="673" y="357"/>
                      <a:pt x="673" y="357"/>
                    </a:cubicBezTo>
                    <a:cubicBezTo>
                      <a:pt x="672" y="357"/>
                      <a:pt x="672" y="357"/>
                      <a:pt x="672" y="357"/>
                    </a:cubicBezTo>
                    <a:cubicBezTo>
                      <a:pt x="672" y="355"/>
                      <a:pt x="672" y="355"/>
                      <a:pt x="672" y="355"/>
                    </a:cubicBezTo>
                    <a:cubicBezTo>
                      <a:pt x="671" y="355"/>
                      <a:pt x="671" y="355"/>
                      <a:pt x="671" y="355"/>
                    </a:cubicBezTo>
                    <a:cubicBezTo>
                      <a:pt x="670" y="356"/>
                      <a:pt x="670" y="356"/>
                      <a:pt x="670" y="356"/>
                    </a:cubicBezTo>
                    <a:cubicBezTo>
                      <a:pt x="670" y="357"/>
                      <a:pt x="670" y="357"/>
                      <a:pt x="670" y="357"/>
                    </a:cubicBezTo>
                    <a:cubicBezTo>
                      <a:pt x="668" y="358"/>
                      <a:pt x="668" y="358"/>
                      <a:pt x="668" y="358"/>
                    </a:cubicBezTo>
                    <a:cubicBezTo>
                      <a:pt x="665" y="359"/>
                      <a:pt x="665" y="359"/>
                      <a:pt x="665" y="359"/>
                    </a:cubicBezTo>
                    <a:cubicBezTo>
                      <a:pt x="664" y="359"/>
                      <a:pt x="664" y="359"/>
                      <a:pt x="664" y="359"/>
                    </a:cubicBezTo>
                    <a:cubicBezTo>
                      <a:pt x="662" y="359"/>
                      <a:pt x="662" y="359"/>
                      <a:pt x="662" y="359"/>
                    </a:cubicBezTo>
                    <a:cubicBezTo>
                      <a:pt x="659" y="361"/>
                      <a:pt x="659" y="361"/>
                      <a:pt x="659" y="361"/>
                    </a:cubicBezTo>
                    <a:cubicBezTo>
                      <a:pt x="658" y="361"/>
                      <a:pt x="658" y="361"/>
                      <a:pt x="658" y="361"/>
                    </a:cubicBezTo>
                    <a:cubicBezTo>
                      <a:pt x="655" y="363"/>
                      <a:pt x="655" y="363"/>
                      <a:pt x="655" y="363"/>
                    </a:cubicBezTo>
                    <a:cubicBezTo>
                      <a:pt x="657" y="362"/>
                      <a:pt x="657" y="362"/>
                      <a:pt x="657" y="362"/>
                    </a:cubicBezTo>
                    <a:cubicBezTo>
                      <a:pt x="658" y="363"/>
                      <a:pt x="658" y="363"/>
                      <a:pt x="658" y="363"/>
                    </a:cubicBezTo>
                    <a:cubicBezTo>
                      <a:pt x="657" y="364"/>
                      <a:pt x="657" y="364"/>
                      <a:pt x="657" y="364"/>
                    </a:cubicBezTo>
                    <a:cubicBezTo>
                      <a:pt x="655" y="365"/>
                      <a:pt x="655" y="365"/>
                      <a:pt x="655" y="365"/>
                    </a:cubicBezTo>
                    <a:cubicBezTo>
                      <a:pt x="654" y="366"/>
                      <a:pt x="654" y="366"/>
                      <a:pt x="654" y="366"/>
                    </a:cubicBezTo>
                    <a:cubicBezTo>
                      <a:pt x="657" y="365"/>
                      <a:pt x="657" y="365"/>
                      <a:pt x="657" y="365"/>
                    </a:cubicBezTo>
                    <a:cubicBezTo>
                      <a:pt x="659" y="363"/>
                      <a:pt x="659" y="363"/>
                      <a:pt x="659" y="363"/>
                    </a:cubicBezTo>
                    <a:cubicBezTo>
                      <a:pt x="662" y="361"/>
                      <a:pt x="662" y="361"/>
                      <a:pt x="662" y="361"/>
                    </a:cubicBezTo>
                    <a:cubicBezTo>
                      <a:pt x="664" y="360"/>
                      <a:pt x="664" y="360"/>
                      <a:pt x="664" y="360"/>
                    </a:cubicBezTo>
                    <a:cubicBezTo>
                      <a:pt x="666" y="361"/>
                      <a:pt x="666" y="361"/>
                      <a:pt x="666" y="361"/>
                    </a:cubicBezTo>
                    <a:cubicBezTo>
                      <a:pt x="667" y="360"/>
                      <a:pt x="667" y="360"/>
                      <a:pt x="667" y="360"/>
                    </a:cubicBezTo>
                    <a:cubicBezTo>
                      <a:pt x="668" y="360"/>
                      <a:pt x="668" y="360"/>
                      <a:pt x="668" y="360"/>
                    </a:cubicBezTo>
                    <a:cubicBezTo>
                      <a:pt x="668" y="361"/>
                      <a:pt x="668" y="361"/>
                      <a:pt x="668" y="361"/>
                    </a:cubicBezTo>
                    <a:cubicBezTo>
                      <a:pt x="668" y="363"/>
                      <a:pt x="668" y="363"/>
                      <a:pt x="668" y="363"/>
                    </a:cubicBezTo>
                    <a:cubicBezTo>
                      <a:pt x="667" y="364"/>
                      <a:pt x="667" y="364"/>
                      <a:pt x="667" y="364"/>
                    </a:cubicBezTo>
                    <a:cubicBezTo>
                      <a:pt x="665" y="365"/>
                      <a:pt x="665" y="365"/>
                      <a:pt x="665" y="365"/>
                    </a:cubicBezTo>
                    <a:cubicBezTo>
                      <a:pt x="664" y="365"/>
                      <a:pt x="664" y="365"/>
                      <a:pt x="664" y="365"/>
                    </a:cubicBezTo>
                    <a:cubicBezTo>
                      <a:pt x="663" y="366"/>
                      <a:pt x="663" y="366"/>
                      <a:pt x="663" y="366"/>
                    </a:cubicBezTo>
                    <a:cubicBezTo>
                      <a:pt x="662" y="367"/>
                      <a:pt x="662" y="367"/>
                      <a:pt x="662" y="367"/>
                    </a:cubicBezTo>
                    <a:cubicBezTo>
                      <a:pt x="660" y="368"/>
                      <a:pt x="660" y="368"/>
                      <a:pt x="660" y="368"/>
                    </a:cubicBezTo>
                    <a:cubicBezTo>
                      <a:pt x="658" y="367"/>
                      <a:pt x="658" y="367"/>
                      <a:pt x="658" y="367"/>
                    </a:cubicBezTo>
                    <a:cubicBezTo>
                      <a:pt x="657" y="368"/>
                      <a:pt x="657" y="368"/>
                      <a:pt x="657" y="368"/>
                    </a:cubicBezTo>
                    <a:cubicBezTo>
                      <a:pt x="656" y="369"/>
                      <a:pt x="656" y="369"/>
                      <a:pt x="656" y="369"/>
                    </a:cubicBezTo>
                    <a:cubicBezTo>
                      <a:pt x="657" y="369"/>
                      <a:pt x="657" y="369"/>
                      <a:pt x="657" y="369"/>
                    </a:cubicBezTo>
                    <a:cubicBezTo>
                      <a:pt x="658" y="369"/>
                      <a:pt x="658" y="369"/>
                      <a:pt x="658" y="369"/>
                    </a:cubicBezTo>
                    <a:cubicBezTo>
                      <a:pt x="660" y="369"/>
                      <a:pt x="660" y="369"/>
                      <a:pt x="660" y="369"/>
                    </a:cubicBezTo>
                    <a:cubicBezTo>
                      <a:pt x="661" y="369"/>
                      <a:pt x="661" y="369"/>
                      <a:pt x="661" y="369"/>
                    </a:cubicBezTo>
                    <a:cubicBezTo>
                      <a:pt x="663" y="368"/>
                      <a:pt x="663" y="368"/>
                      <a:pt x="663" y="368"/>
                    </a:cubicBezTo>
                    <a:cubicBezTo>
                      <a:pt x="664" y="366"/>
                      <a:pt x="664" y="366"/>
                      <a:pt x="664" y="366"/>
                    </a:cubicBezTo>
                    <a:cubicBezTo>
                      <a:pt x="666" y="366"/>
                      <a:pt x="666" y="366"/>
                      <a:pt x="666" y="366"/>
                    </a:cubicBezTo>
                    <a:cubicBezTo>
                      <a:pt x="667" y="366"/>
                      <a:pt x="667" y="366"/>
                      <a:pt x="667" y="366"/>
                    </a:cubicBezTo>
                    <a:cubicBezTo>
                      <a:pt x="668" y="366"/>
                      <a:pt x="668" y="366"/>
                      <a:pt x="668" y="366"/>
                    </a:cubicBezTo>
                    <a:cubicBezTo>
                      <a:pt x="670" y="365"/>
                      <a:pt x="670" y="365"/>
                      <a:pt x="670" y="365"/>
                    </a:cubicBezTo>
                    <a:cubicBezTo>
                      <a:pt x="672" y="364"/>
                      <a:pt x="672" y="364"/>
                      <a:pt x="672" y="364"/>
                    </a:cubicBezTo>
                    <a:cubicBezTo>
                      <a:pt x="672" y="363"/>
                      <a:pt x="672" y="363"/>
                      <a:pt x="672" y="363"/>
                    </a:cubicBezTo>
                    <a:cubicBezTo>
                      <a:pt x="672" y="362"/>
                      <a:pt x="672" y="362"/>
                      <a:pt x="672" y="362"/>
                    </a:cubicBezTo>
                    <a:cubicBezTo>
                      <a:pt x="672" y="362"/>
                      <a:pt x="672" y="362"/>
                      <a:pt x="672" y="362"/>
                    </a:cubicBezTo>
                    <a:cubicBezTo>
                      <a:pt x="673" y="360"/>
                      <a:pt x="673" y="360"/>
                      <a:pt x="673" y="360"/>
                    </a:cubicBezTo>
                    <a:cubicBezTo>
                      <a:pt x="673" y="359"/>
                      <a:pt x="673" y="359"/>
                      <a:pt x="673" y="359"/>
                    </a:cubicBezTo>
                    <a:cubicBezTo>
                      <a:pt x="674" y="359"/>
                      <a:pt x="674" y="359"/>
                      <a:pt x="674" y="359"/>
                    </a:cubicBezTo>
                    <a:cubicBezTo>
                      <a:pt x="674" y="359"/>
                      <a:pt x="674" y="359"/>
                      <a:pt x="674" y="359"/>
                    </a:cubicBezTo>
                    <a:cubicBezTo>
                      <a:pt x="675" y="359"/>
                      <a:pt x="675" y="359"/>
                      <a:pt x="675" y="359"/>
                    </a:cubicBezTo>
                    <a:cubicBezTo>
                      <a:pt x="676" y="361"/>
                      <a:pt x="676" y="361"/>
                      <a:pt x="676" y="361"/>
                    </a:cubicBezTo>
                    <a:cubicBezTo>
                      <a:pt x="677" y="365"/>
                      <a:pt x="677" y="365"/>
                      <a:pt x="677" y="365"/>
                    </a:cubicBezTo>
                    <a:cubicBezTo>
                      <a:pt x="678" y="367"/>
                      <a:pt x="678" y="367"/>
                      <a:pt x="678" y="367"/>
                    </a:cubicBezTo>
                    <a:cubicBezTo>
                      <a:pt x="679" y="369"/>
                      <a:pt x="679" y="369"/>
                      <a:pt x="679" y="369"/>
                    </a:cubicBezTo>
                    <a:cubicBezTo>
                      <a:pt x="679" y="370"/>
                      <a:pt x="679" y="370"/>
                      <a:pt x="679" y="370"/>
                    </a:cubicBezTo>
                    <a:cubicBezTo>
                      <a:pt x="678" y="371"/>
                      <a:pt x="678" y="371"/>
                      <a:pt x="678" y="371"/>
                    </a:cubicBezTo>
                    <a:cubicBezTo>
                      <a:pt x="676" y="371"/>
                      <a:pt x="676" y="371"/>
                      <a:pt x="676" y="371"/>
                    </a:cubicBezTo>
                    <a:cubicBezTo>
                      <a:pt x="674" y="370"/>
                      <a:pt x="674" y="370"/>
                      <a:pt x="674" y="370"/>
                    </a:cubicBezTo>
                    <a:cubicBezTo>
                      <a:pt x="672" y="370"/>
                      <a:pt x="672" y="370"/>
                      <a:pt x="672" y="370"/>
                    </a:cubicBezTo>
                    <a:cubicBezTo>
                      <a:pt x="670" y="371"/>
                      <a:pt x="670" y="371"/>
                      <a:pt x="670" y="371"/>
                    </a:cubicBezTo>
                    <a:cubicBezTo>
                      <a:pt x="669" y="372"/>
                      <a:pt x="669" y="372"/>
                      <a:pt x="669" y="372"/>
                    </a:cubicBezTo>
                    <a:cubicBezTo>
                      <a:pt x="668" y="372"/>
                      <a:pt x="668" y="372"/>
                      <a:pt x="668" y="372"/>
                    </a:cubicBezTo>
                    <a:cubicBezTo>
                      <a:pt x="667" y="372"/>
                      <a:pt x="667" y="372"/>
                      <a:pt x="667" y="372"/>
                    </a:cubicBezTo>
                    <a:cubicBezTo>
                      <a:pt x="666" y="372"/>
                      <a:pt x="666" y="372"/>
                      <a:pt x="666" y="372"/>
                    </a:cubicBezTo>
                    <a:cubicBezTo>
                      <a:pt x="664" y="373"/>
                      <a:pt x="664" y="373"/>
                      <a:pt x="664" y="373"/>
                    </a:cubicBezTo>
                    <a:cubicBezTo>
                      <a:pt x="662" y="373"/>
                      <a:pt x="662" y="373"/>
                      <a:pt x="662" y="373"/>
                    </a:cubicBezTo>
                    <a:cubicBezTo>
                      <a:pt x="663" y="374"/>
                      <a:pt x="663" y="374"/>
                      <a:pt x="663" y="374"/>
                    </a:cubicBezTo>
                    <a:cubicBezTo>
                      <a:pt x="666" y="373"/>
                      <a:pt x="666" y="373"/>
                      <a:pt x="666" y="373"/>
                    </a:cubicBezTo>
                    <a:cubicBezTo>
                      <a:pt x="668" y="374"/>
                      <a:pt x="668" y="374"/>
                      <a:pt x="668" y="374"/>
                    </a:cubicBezTo>
                    <a:cubicBezTo>
                      <a:pt x="670" y="376"/>
                      <a:pt x="670" y="376"/>
                      <a:pt x="670" y="376"/>
                    </a:cubicBezTo>
                    <a:cubicBezTo>
                      <a:pt x="672" y="377"/>
                      <a:pt x="672" y="377"/>
                      <a:pt x="672" y="377"/>
                    </a:cubicBezTo>
                    <a:cubicBezTo>
                      <a:pt x="673" y="376"/>
                      <a:pt x="673" y="376"/>
                      <a:pt x="673" y="376"/>
                    </a:cubicBezTo>
                    <a:cubicBezTo>
                      <a:pt x="674" y="376"/>
                      <a:pt x="674" y="376"/>
                      <a:pt x="674" y="376"/>
                    </a:cubicBezTo>
                    <a:cubicBezTo>
                      <a:pt x="675" y="377"/>
                      <a:pt x="675" y="377"/>
                      <a:pt x="675" y="377"/>
                    </a:cubicBezTo>
                    <a:cubicBezTo>
                      <a:pt x="676" y="378"/>
                      <a:pt x="676" y="378"/>
                      <a:pt x="676" y="378"/>
                    </a:cubicBezTo>
                    <a:cubicBezTo>
                      <a:pt x="678" y="379"/>
                      <a:pt x="678" y="379"/>
                      <a:pt x="678" y="379"/>
                    </a:cubicBezTo>
                    <a:cubicBezTo>
                      <a:pt x="679" y="380"/>
                      <a:pt x="679" y="380"/>
                      <a:pt x="679" y="380"/>
                    </a:cubicBezTo>
                    <a:cubicBezTo>
                      <a:pt x="679" y="382"/>
                      <a:pt x="679" y="382"/>
                      <a:pt x="679" y="382"/>
                    </a:cubicBezTo>
                    <a:cubicBezTo>
                      <a:pt x="680" y="384"/>
                      <a:pt x="680" y="384"/>
                      <a:pt x="680" y="384"/>
                    </a:cubicBezTo>
                    <a:cubicBezTo>
                      <a:pt x="679" y="384"/>
                      <a:pt x="679" y="384"/>
                      <a:pt x="679" y="384"/>
                    </a:cubicBezTo>
                    <a:cubicBezTo>
                      <a:pt x="677" y="384"/>
                      <a:pt x="677" y="384"/>
                      <a:pt x="677" y="384"/>
                    </a:cubicBezTo>
                    <a:cubicBezTo>
                      <a:pt x="677" y="383"/>
                      <a:pt x="677" y="383"/>
                      <a:pt x="677" y="383"/>
                    </a:cubicBezTo>
                    <a:cubicBezTo>
                      <a:pt x="676" y="383"/>
                      <a:pt x="676" y="383"/>
                      <a:pt x="676" y="383"/>
                    </a:cubicBezTo>
                    <a:cubicBezTo>
                      <a:pt x="675" y="384"/>
                      <a:pt x="675" y="384"/>
                      <a:pt x="675" y="384"/>
                    </a:cubicBezTo>
                    <a:cubicBezTo>
                      <a:pt x="674" y="383"/>
                      <a:pt x="674" y="383"/>
                      <a:pt x="674" y="383"/>
                    </a:cubicBezTo>
                    <a:cubicBezTo>
                      <a:pt x="674" y="382"/>
                      <a:pt x="674" y="382"/>
                      <a:pt x="674" y="382"/>
                    </a:cubicBezTo>
                    <a:cubicBezTo>
                      <a:pt x="673" y="383"/>
                      <a:pt x="673" y="383"/>
                      <a:pt x="673" y="383"/>
                    </a:cubicBezTo>
                    <a:cubicBezTo>
                      <a:pt x="671" y="383"/>
                      <a:pt x="671" y="383"/>
                      <a:pt x="671" y="383"/>
                    </a:cubicBezTo>
                    <a:cubicBezTo>
                      <a:pt x="669" y="380"/>
                      <a:pt x="669" y="380"/>
                      <a:pt x="669" y="380"/>
                    </a:cubicBezTo>
                    <a:cubicBezTo>
                      <a:pt x="668" y="380"/>
                      <a:pt x="668" y="380"/>
                      <a:pt x="668" y="380"/>
                    </a:cubicBezTo>
                    <a:cubicBezTo>
                      <a:pt x="667" y="380"/>
                      <a:pt x="667" y="380"/>
                      <a:pt x="667" y="380"/>
                    </a:cubicBezTo>
                    <a:cubicBezTo>
                      <a:pt x="665" y="380"/>
                      <a:pt x="665" y="380"/>
                      <a:pt x="665" y="380"/>
                    </a:cubicBezTo>
                    <a:cubicBezTo>
                      <a:pt x="664" y="379"/>
                      <a:pt x="664" y="379"/>
                      <a:pt x="664" y="379"/>
                    </a:cubicBezTo>
                    <a:cubicBezTo>
                      <a:pt x="664" y="380"/>
                      <a:pt x="664" y="380"/>
                      <a:pt x="664" y="380"/>
                    </a:cubicBezTo>
                    <a:cubicBezTo>
                      <a:pt x="666" y="381"/>
                      <a:pt x="666" y="381"/>
                      <a:pt x="666" y="381"/>
                    </a:cubicBezTo>
                    <a:cubicBezTo>
                      <a:pt x="668" y="381"/>
                      <a:pt x="668" y="381"/>
                      <a:pt x="668" y="381"/>
                    </a:cubicBezTo>
                    <a:cubicBezTo>
                      <a:pt x="667" y="382"/>
                      <a:pt x="667" y="382"/>
                      <a:pt x="667" y="382"/>
                    </a:cubicBezTo>
                    <a:cubicBezTo>
                      <a:pt x="665" y="382"/>
                      <a:pt x="665" y="382"/>
                      <a:pt x="665" y="382"/>
                    </a:cubicBezTo>
                    <a:cubicBezTo>
                      <a:pt x="664" y="383"/>
                      <a:pt x="664" y="383"/>
                      <a:pt x="664" y="383"/>
                    </a:cubicBezTo>
                    <a:cubicBezTo>
                      <a:pt x="662" y="383"/>
                      <a:pt x="662" y="383"/>
                      <a:pt x="662" y="383"/>
                    </a:cubicBezTo>
                    <a:cubicBezTo>
                      <a:pt x="660" y="384"/>
                      <a:pt x="660" y="384"/>
                      <a:pt x="660" y="384"/>
                    </a:cubicBezTo>
                    <a:cubicBezTo>
                      <a:pt x="661" y="385"/>
                      <a:pt x="661" y="385"/>
                      <a:pt x="661" y="385"/>
                    </a:cubicBezTo>
                    <a:cubicBezTo>
                      <a:pt x="662" y="385"/>
                      <a:pt x="662" y="385"/>
                      <a:pt x="662" y="385"/>
                    </a:cubicBezTo>
                    <a:cubicBezTo>
                      <a:pt x="662" y="384"/>
                      <a:pt x="662" y="384"/>
                      <a:pt x="662" y="384"/>
                    </a:cubicBezTo>
                    <a:cubicBezTo>
                      <a:pt x="664" y="384"/>
                      <a:pt x="664" y="384"/>
                      <a:pt x="664" y="384"/>
                    </a:cubicBezTo>
                    <a:cubicBezTo>
                      <a:pt x="666" y="383"/>
                      <a:pt x="666" y="383"/>
                      <a:pt x="666" y="383"/>
                    </a:cubicBezTo>
                    <a:cubicBezTo>
                      <a:pt x="667" y="383"/>
                      <a:pt x="667" y="383"/>
                      <a:pt x="667" y="383"/>
                    </a:cubicBezTo>
                    <a:cubicBezTo>
                      <a:pt x="668" y="384"/>
                      <a:pt x="668" y="384"/>
                      <a:pt x="668" y="384"/>
                    </a:cubicBezTo>
                    <a:cubicBezTo>
                      <a:pt x="668" y="385"/>
                      <a:pt x="668" y="385"/>
                      <a:pt x="668" y="385"/>
                    </a:cubicBezTo>
                    <a:cubicBezTo>
                      <a:pt x="670" y="385"/>
                      <a:pt x="670" y="385"/>
                      <a:pt x="670" y="385"/>
                    </a:cubicBezTo>
                    <a:cubicBezTo>
                      <a:pt x="670" y="386"/>
                      <a:pt x="670" y="386"/>
                      <a:pt x="670" y="386"/>
                    </a:cubicBezTo>
                    <a:cubicBezTo>
                      <a:pt x="669" y="386"/>
                      <a:pt x="669" y="386"/>
                      <a:pt x="669" y="386"/>
                    </a:cubicBezTo>
                    <a:cubicBezTo>
                      <a:pt x="667" y="386"/>
                      <a:pt x="667" y="386"/>
                      <a:pt x="667" y="386"/>
                    </a:cubicBezTo>
                    <a:cubicBezTo>
                      <a:pt x="667" y="387"/>
                      <a:pt x="667" y="387"/>
                      <a:pt x="667" y="387"/>
                    </a:cubicBezTo>
                    <a:cubicBezTo>
                      <a:pt x="666" y="387"/>
                      <a:pt x="666" y="387"/>
                      <a:pt x="666" y="387"/>
                    </a:cubicBezTo>
                    <a:cubicBezTo>
                      <a:pt x="665" y="386"/>
                      <a:pt x="665" y="386"/>
                      <a:pt x="665" y="386"/>
                    </a:cubicBezTo>
                    <a:cubicBezTo>
                      <a:pt x="664" y="386"/>
                      <a:pt x="664" y="386"/>
                      <a:pt x="664" y="386"/>
                    </a:cubicBezTo>
                    <a:cubicBezTo>
                      <a:pt x="664" y="386"/>
                      <a:pt x="664" y="386"/>
                      <a:pt x="664" y="386"/>
                    </a:cubicBezTo>
                    <a:cubicBezTo>
                      <a:pt x="665" y="387"/>
                      <a:pt x="665" y="387"/>
                      <a:pt x="665" y="387"/>
                    </a:cubicBezTo>
                    <a:cubicBezTo>
                      <a:pt x="667" y="388"/>
                      <a:pt x="667" y="388"/>
                      <a:pt x="667" y="388"/>
                    </a:cubicBezTo>
                    <a:cubicBezTo>
                      <a:pt x="667" y="389"/>
                      <a:pt x="667" y="389"/>
                      <a:pt x="667" y="389"/>
                    </a:cubicBezTo>
                    <a:cubicBezTo>
                      <a:pt x="667" y="390"/>
                      <a:pt x="667" y="390"/>
                      <a:pt x="667" y="390"/>
                    </a:cubicBezTo>
                    <a:cubicBezTo>
                      <a:pt x="668" y="391"/>
                      <a:pt x="668" y="391"/>
                      <a:pt x="668" y="391"/>
                    </a:cubicBezTo>
                    <a:cubicBezTo>
                      <a:pt x="667" y="391"/>
                      <a:pt x="667" y="391"/>
                      <a:pt x="667" y="391"/>
                    </a:cubicBezTo>
                    <a:cubicBezTo>
                      <a:pt x="663" y="390"/>
                      <a:pt x="663" y="390"/>
                      <a:pt x="663" y="390"/>
                    </a:cubicBezTo>
                    <a:cubicBezTo>
                      <a:pt x="661" y="390"/>
                      <a:pt x="661" y="390"/>
                      <a:pt x="661" y="390"/>
                    </a:cubicBezTo>
                    <a:cubicBezTo>
                      <a:pt x="657" y="389"/>
                      <a:pt x="657" y="389"/>
                      <a:pt x="657" y="389"/>
                    </a:cubicBezTo>
                    <a:cubicBezTo>
                      <a:pt x="656" y="389"/>
                      <a:pt x="656" y="389"/>
                      <a:pt x="656" y="389"/>
                    </a:cubicBezTo>
                    <a:cubicBezTo>
                      <a:pt x="656" y="389"/>
                      <a:pt x="656" y="389"/>
                      <a:pt x="656" y="389"/>
                    </a:cubicBezTo>
                    <a:cubicBezTo>
                      <a:pt x="658" y="390"/>
                      <a:pt x="658" y="390"/>
                      <a:pt x="658" y="390"/>
                    </a:cubicBezTo>
                    <a:cubicBezTo>
                      <a:pt x="663" y="392"/>
                      <a:pt x="663" y="392"/>
                      <a:pt x="663" y="392"/>
                    </a:cubicBezTo>
                    <a:cubicBezTo>
                      <a:pt x="664" y="393"/>
                      <a:pt x="664" y="393"/>
                      <a:pt x="664" y="393"/>
                    </a:cubicBezTo>
                    <a:cubicBezTo>
                      <a:pt x="663" y="394"/>
                      <a:pt x="663" y="394"/>
                      <a:pt x="663" y="394"/>
                    </a:cubicBezTo>
                    <a:cubicBezTo>
                      <a:pt x="660" y="392"/>
                      <a:pt x="660" y="392"/>
                      <a:pt x="660" y="392"/>
                    </a:cubicBezTo>
                    <a:cubicBezTo>
                      <a:pt x="659" y="392"/>
                      <a:pt x="659" y="392"/>
                      <a:pt x="659" y="392"/>
                    </a:cubicBezTo>
                    <a:cubicBezTo>
                      <a:pt x="658" y="394"/>
                      <a:pt x="658" y="394"/>
                      <a:pt x="658" y="394"/>
                    </a:cubicBezTo>
                    <a:cubicBezTo>
                      <a:pt x="659" y="394"/>
                      <a:pt x="659" y="394"/>
                      <a:pt x="659" y="394"/>
                    </a:cubicBezTo>
                    <a:cubicBezTo>
                      <a:pt x="660" y="394"/>
                      <a:pt x="660" y="394"/>
                      <a:pt x="660" y="394"/>
                    </a:cubicBezTo>
                    <a:cubicBezTo>
                      <a:pt x="661" y="395"/>
                      <a:pt x="661" y="395"/>
                      <a:pt x="661" y="395"/>
                    </a:cubicBezTo>
                    <a:cubicBezTo>
                      <a:pt x="662" y="395"/>
                      <a:pt x="662" y="395"/>
                      <a:pt x="662" y="395"/>
                    </a:cubicBezTo>
                    <a:cubicBezTo>
                      <a:pt x="663" y="395"/>
                      <a:pt x="663" y="395"/>
                      <a:pt x="663" y="395"/>
                    </a:cubicBezTo>
                    <a:cubicBezTo>
                      <a:pt x="663" y="396"/>
                      <a:pt x="663" y="396"/>
                      <a:pt x="663" y="396"/>
                    </a:cubicBezTo>
                    <a:cubicBezTo>
                      <a:pt x="663" y="397"/>
                      <a:pt x="663" y="397"/>
                      <a:pt x="663" y="397"/>
                    </a:cubicBezTo>
                    <a:cubicBezTo>
                      <a:pt x="664" y="397"/>
                      <a:pt x="664" y="397"/>
                      <a:pt x="664" y="397"/>
                    </a:cubicBezTo>
                    <a:cubicBezTo>
                      <a:pt x="664" y="396"/>
                      <a:pt x="664" y="396"/>
                      <a:pt x="664" y="396"/>
                    </a:cubicBezTo>
                    <a:cubicBezTo>
                      <a:pt x="666" y="396"/>
                      <a:pt x="666" y="396"/>
                      <a:pt x="666" y="396"/>
                    </a:cubicBezTo>
                    <a:cubicBezTo>
                      <a:pt x="666" y="397"/>
                      <a:pt x="666" y="397"/>
                      <a:pt x="666" y="397"/>
                    </a:cubicBezTo>
                    <a:cubicBezTo>
                      <a:pt x="665" y="398"/>
                      <a:pt x="665" y="398"/>
                      <a:pt x="665" y="398"/>
                    </a:cubicBezTo>
                    <a:cubicBezTo>
                      <a:pt x="665" y="398"/>
                      <a:pt x="665" y="398"/>
                      <a:pt x="665" y="398"/>
                    </a:cubicBezTo>
                    <a:cubicBezTo>
                      <a:pt x="666" y="398"/>
                      <a:pt x="666" y="398"/>
                      <a:pt x="666" y="398"/>
                    </a:cubicBezTo>
                    <a:cubicBezTo>
                      <a:pt x="666" y="397"/>
                      <a:pt x="666" y="397"/>
                      <a:pt x="666" y="397"/>
                    </a:cubicBezTo>
                    <a:cubicBezTo>
                      <a:pt x="667" y="397"/>
                      <a:pt x="667" y="397"/>
                      <a:pt x="667" y="397"/>
                    </a:cubicBezTo>
                    <a:cubicBezTo>
                      <a:pt x="669" y="398"/>
                      <a:pt x="669" y="398"/>
                      <a:pt x="669" y="398"/>
                    </a:cubicBezTo>
                    <a:cubicBezTo>
                      <a:pt x="671" y="398"/>
                      <a:pt x="671" y="398"/>
                      <a:pt x="671" y="398"/>
                    </a:cubicBezTo>
                    <a:cubicBezTo>
                      <a:pt x="673" y="398"/>
                      <a:pt x="673" y="398"/>
                      <a:pt x="673" y="398"/>
                    </a:cubicBezTo>
                    <a:cubicBezTo>
                      <a:pt x="672" y="400"/>
                      <a:pt x="672" y="400"/>
                      <a:pt x="672" y="400"/>
                    </a:cubicBezTo>
                    <a:cubicBezTo>
                      <a:pt x="672" y="401"/>
                      <a:pt x="672" y="401"/>
                      <a:pt x="672" y="401"/>
                    </a:cubicBezTo>
                    <a:cubicBezTo>
                      <a:pt x="670" y="400"/>
                      <a:pt x="670" y="400"/>
                      <a:pt x="670" y="400"/>
                    </a:cubicBezTo>
                    <a:cubicBezTo>
                      <a:pt x="669" y="399"/>
                      <a:pt x="669" y="399"/>
                      <a:pt x="669" y="399"/>
                    </a:cubicBezTo>
                    <a:cubicBezTo>
                      <a:pt x="667" y="400"/>
                      <a:pt x="667" y="400"/>
                      <a:pt x="667" y="400"/>
                    </a:cubicBezTo>
                    <a:cubicBezTo>
                      <a:pt x="664" y="401"/>
                      <a:pt x="664" y="401"/>
                      <a:pt x="664" y="401"/>
                    </a:cubicBezTo>
                    <a:cubicBezTo>
                      <a:pt x="664" y="402"/>
                      <a:pt x="664" y="402"/>
                      <a:pt x="664" y="402"/>
                    </a:cubicBezTo>
                    <a:cubicBezTo>
                      <a:pt x="665" y="401"/>
                      <a:pt x="665" y="401"/>
                      <a:pt x="665" y="401"/>
                    </a:cubicBezTo>
                    <a:cubicBezTo>
                      <a:pt x="667" y="401"/>
                      <a:pt x="667" y="401"/>
                      <a:pt x="667" y="401"/>
                    </a:cubicBezTo>
                    <a:cubicBezTo>
                      <a:pt x="669" y="402"/>
                      <a:pt x="669" y="402"/>
                      <a:pt x="669" y="402"/>
                    </a:cubicBezTo>
                    <a:cubicBezTo>
                      <a:pt x="667" y="402"/>
                      <a:pt x="667" y="402"/>
                      <a:pt x="667" y="402"/>
                    </a:cubicBezTo>
                    <a:cubicBezTo>
                      <a:pt x="667" y="403"/>
                      <a:pt x="667" y="403"/>
                      <a:pt x="667" y="403"/>
                    </a:cubicBezTo>
                    <a:cubicBezTo>
                      <a:pt x="668" y="403"/>
                      <a:pt x="668" y="403"/>
                      <a:pt x="668" y="403"/>
                    </a:cubicBezTo>
                    <a:cubicBezTo>
                      <a:pt x="670" y="403"/>
                      <a:pt x="670" y="403"/>
                      <a:pt x="670" y="403"/>
                    </a:cubicBezTo>
                    <a:cubicBezTo>
                      <a:pt x="671" y="403"/>
                      <a:pt x="671" y="403"/>
                      <a:pt x="671" y="403"/>
                    </a:cubicBezTo>
                    <a:cubicBezTo>
                      <a:pt x="671" y="404"/>
                      <a:pt x="671" y="404"/>
                      <a:pt x="671" y="404"/>
                    </a:cubicBezTo>
                    <a:cubicBezTo>
                      <a:pt x="672" y="405"/>
                      <a:pt x="672" y="405"/>
                      <a:pt x="672" y="405"/>
                    </a:cubicBezTo>
                    <a:cubicBezTo>
                      <a:pt x="673" y="406"/>
                      <a:pt x="673" y="406"/>
                      <a:pt x="673" y="406"/>
                    </a:cubicBezTo>
                    <a:cubicBezTo>
                      <a:pt x="673" y="407"/>
                      <a:pt x="673" y="407"/>
                      <a:pt x="673" y="407"/>
                    </a:cubicBezTo>
                    <a:cubicBezTo>
                      <a:pt x="672" y="409"/>
                      <a:pt x="672" y="409"/>
                      <a:pt x="672" y="409"/>
                    </a:cubicBezTo>
                    <a:cubicBezTo>
                      <a:pt x="672" y="410"/>
                      <a:pt x="672" y="410"/>
                      <a:pt x="672" y="410"/>
                    </a:cubicBezTo>
                    <a:cubicBezTo>
                      <a:pt x="672" y="410"/>
                      <a:pt x="672" y="410"/>
                      <a:pt x="672" y="410"/>
                    </a:cubicBezTo>
                    <a:cubicBezTo>
                      <a:pt x="673" y="408"/>
                      <a:pt x="673" y="408"/>
                      <a:pt x="673" y="408"/>
                    </a:cubicBezTo>
                    <a:cubicBezTo>
                      <a:pt x="674" y="407"/>
                      <a:pt x="674" y="407"/>
                      <a:pt x="674" y="407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6" y="408"/>
                      <a:pt x="676" y="408"/>
                      <a:pt x="676" y="408"/>
                    </a:cubicBezTo>
                    <a:cubicBezTo>
                      <a:pt x="675" y="410"/>
                      <a:pt x="675" y="410"/>
                      <a:pt x="675" y="410"/>
                    </a:cubicBezTo>
                    <a:cubicBezTo>
                      <a:pt x="673" y="413"/>
                      <a:pt x="673" y="413"/>
                      <a:pt x="673" y="413"/>
                    </a:cubicBezTo>
                    <a:cubicBezTo>
                      <a:pt x="672" y="414"/>
                      <a:pt x="672" y="414"/>
                      <a:pt x="672" y="414"/>
                    </a:cubicBezTo>
                    <a:cubicBezTo>
                      <a:pt x="672" y="416"/>
                      <a:pt x="672" y="416"/>
                      <a:pt x="672" y="416"/>
                    </a:cubicBezTo>
                    <a:cubicBezTo>
                      <a:pt x="673" y="415"/>
                      <a:pt x="673" y="415"/>
                      <a:pt x="673" y="415"/>
                    </a:cubicBezTo>
                    <a:cubicBezTo>
                      <a:pt x="675" y="413"/>
                      <a:pt x="675" y="413"/>
                      <a:pt x="675" y="413"/>
                    </a:cubicBezTo>
                    <a:cubicBezTo>
                      <a:pt x="675" y="412"/>
                      <a:pt x="675" y="412"/>
                      <a:pt x="675" y="412"/>
                    </a:cubicBezTo>
                    <a:cubicBezTo>
                      <a:pt x="675" y="411"/>
                      <a:pt x="675" y="411"/>
                      <a:pt x="675" y="411"/>
                    </a:cubicBezTo>
                    <a:cubicBezTo>
                      <a:pt x="677" y="410"/>
                      <a:pt x="677" y="410"/>
                      <a:pt x="677" y="410"/>
                    </a:cubicBezTo>
                    <a:cubicBezTo>
                      <a:pt x="677" y="409"/>
                      <a:pt x="677" y="409"/>
                      <a:pt x="677" y="409"/>
                    </a:cubicBezTo>
                    <a:cubicBezTo>
                      <a:pt x="678" y="408"/>
                      <a:pt x="678" y="408"/>
                      <a:pt x="678" y="408"/>
                    </a:cubicBezTo>
                    <a:cubicBezTo>
                      <a:pt x="679" y="407"/>
                      <a:pt x="679" y="407"/>
                      <a:pt x="679" y="407"/>
                    </a:cubicBezTo>
                    <a:cubicBezTo>
                      <a:pt x="680" y="407"/>
                      <a:pt x="680" y="407"/>
                      <a:pt x="680" y="407"/>
                    </a:cubicBezTo>
                    <a:cubicBezTo>
                      <a:pt x="679" y="409"/>
                      <a:pt x="679" y="409"/>
                      <a:pt x="679" y="409"/>
                    </a:cubicBezTo>
                    <a:cubicBezTo>
                      <a:pt x="677" y="411"/>
                      <a:pt x="677" y="411"/>
                      <a:pt x="677" y="411"/>
                    </a:cubicBezTo>
                    <a:cubicBezTo>
                      <a:pt x="676" y="412"/>
                      <a:pt x="676" y="412"/>
                      <a:pt x="676" y="412"/>
                    </a:cubicBezTo>
                    <a:cubicBezTo>
                      <a:pt x="676" y="414"/>
                      <a:pt x="676" y="414"/>
                      <a:pt x="676" y="414"/>
                    </a:cubicBezTo>
                    <a:cubicBezTo>
                      <a:pt x="677" y="416"/>
                      <a:pt x="677" y="416"/>
                      <a:pt x="677" y="416"/>
                    </a:cubicBezTo>
                    <a:cubicBezTo>
                      <a:pt x="677" y="415"/>
                      <a:pt x="677" y="415"/>
                      <a:pt x="677" y="415"/>
                    </a:cubicBezTo>
                    <a:cubicBezTo>
                      <a:pt x="677" y="414"/>
                      <a:pt x="677" y="414"/>
                      <a:pt x="677" y="414"/>
                    </a:cubicBezTo>
                    <a:cubicBezTo>
                      <a:pt x="677" y="413"/>
                      <a:pt x="677" y="413"/>
                      <a:pt x="677" y="413"/>
                    </a:cubicBezTo>
                    <a:cubicBezTo>
                      <a:pt x="679" y="411"/>
                      <a:pt x="679" y="411"/>
                      <a:pt x="679" y="411"/>
                    </a:cubicBezTo>
                    <a:cubicBezTo>
                      <a:pt x="680" y="410"/>
                      <a:pt x="680" y="410"/>
                      <a:pt x="680" y="410"/>
                    </a:cubicBezTo>
                    <a:cubicBezTo>
                      <a:pt x="682" y="408"/>
                      <a:pt x="682" y="408"/>
                      <a:pt x="682" y="408"/>
                    </a:cubicBezTo>
                    <a:cubicBezTo>
                      <a:pt x="683" y="407"/>
                      <a:pt x="683" y="407"/>
                      <a:pt x="683" y="407"/>
                    </a:cubicBezTo>
                    <a:cubicBezTo>
                      <a:pt x="684" y="408"/>
                      <a:pt x="684" y="408"/>
                      <a:pt x="684" y="408"/>
                    </a:cubicBezTo>
                    <a:cubicBezTo>
                      <a:pt x="684" y="410"/>
                      <a:pt x="684" y="410"/>
                      <a:pt x="684" y="410"/>
                    </a:cubicBezTo>
                    <a:cubicBezTo>
                      <a:pt x="683" y="411"/>
                      <a:pt x="683" y="411"/>
                      <a:pt x="683" y="411"/>
                    </a:cubicBezTo>
                    <a:cubicBezTo>
                      <a:pt x="681" y="411"/>
                      <a:pt x="681" y="411"/>
                      <a:pt x="681" y="411"/>
                    </a:cubicBezTo>
                    <a:cubicBezTo>
                      <a:pt x="681" y="413"/>
                      <a:pt x="681" y="413"/>
                      <a:pt x="681" y="413"/>
                    </a:cubicBezTo>
                    <a:cubicBezTo>
                      <a:pt x="680" y="414"/>
                      <a:pt x="680" y="414"/>
                      <a:pt x="680" y="414"/>
                    </a:cubicBezTo>
                    <a:cubicBezTo>
                      <a:pt x="680" y="415"/>
                      <a:pt x="680" y="415"/>
                      <a:pt x="680" y="415"/>
                    </a:cubicBezTo>
                    <a:cubicBezTo>
                      <a:pt x="681" y="414"/>
                      <a:pt x="681" y="414"/>
                      <a:pt x="681" y="414"/>
                    </a:cubicBezTo>
                    <a:cubicBezTo>
                      <a:pt x="682" y="415"/>
                      <a:pt x="682" y="415"/>
                      <a:pt x="682" y="415"/>
                    </a:cubicBezTo>
                    <a:cubicBezTo>
                      <a:pt x="683" y="414"/>
                      <a:pt x="683" y="414"/>
                      <a:pt x="683" y="414"/>
                    </a:cubicBezTo>
                    <a:cubicBezTo>
                      <a:pt x="685" y="413"/>
                      <a:pt x="685" y="413"/>
                      <a:pt x="685" y="413"/>
                    </a:cubicBezTo>
                    <a:cubicBezTo>
                      <a:pt x="686" y="414"/>
                      <a:pt x="686" y="414"/>
                      <a:pt x="686" y="414"/>
                    </a:cubicBezTo>
                    <a:cubicBezTo>
                      <a:pt x="686" y="417"/>
                      <a:pt x="686" y="417"/>
                      <a:pt x="686" y="417"/>
                    </a:cubicBezTo>
                    <a:cubicBezTo>
                      <a:pt x="686" y="418"/>
                      <a:pt x="686" y="418"/>
                      <a:pt x="686" y="418"/>
                    </a:cubicBezTo>
                    <a:cubicBezTo>
                      <a:pt x="685" y="418"/>
                      <a:pt x="685" y="418"/>
                      <a:pt x="685" y="418"/>
                    </a:cubicBezTo>
                    <a:cubicBezTo>
                      <a:pt x="685" y="419"/>
                      <a:pt x="685" y="419"/>
                      <a:pt x="685" y="419"/>
                    </a:cubicBezTo>
                    <a:cubicBezTo>
                      <a:pt x="686" y="419"/>
                      <a:pt x="686" y="419"/>
                      <a:pt x="686" y="419"/>
                    </a:cubicBezTo>
                    <a:cubicBezTo>
                      <a:pt x="687" y="421"/>
                      <a:pt x="687" y="421"/>
                      <a:pt x="687" y="421"/>
                    </a:cubicBezTo>
                    <a:cubicBezTo>
                      <a:pt x="685" y="421"/>
                      <a:pt x="685" y="421"/>
                      <a:pt x="685" y="421"/>
                    </a:cubicBezTo>
                    <a:cubicBezTo>
                      <a:pt x="684" y="421"/>
                      <a:pt x="684" y="421"/>
                      <a:pt x="684" y="421"/>
                    </a:cubicBezTo>
                    <a:cubicBezTo>
                      <a:pt x="685" y="422"/>
                      <a:pt x="685" y="422"/>
                      <a:pt x="685" y="422"/>
                    </a:cubicBezTo>
                    <a:cubicBezTo>
                      <a:pt x="687" y="423"/>
                      <a:pt x="687" y="423"/>
                      <a:pt x="687" y="423"/>
                    </a:cubicBezTo>
                    <a:cubicBezTo>
                      <a:pt x="683" y="423"/>
                      <a:pt x="683" y="423"/>
                      <a:pt x="683" y="423"/>
                    </a:cubicBezTo>
                    <a:cubicBezTo>
                      <a:pt x="681" y="423"/>
                      <a:pt x="681" y="423"/>
                      <a:pt x="681" y="423"/>
                    </a:cubicBezTo>
                    <a:cubicBezTo>
                      <a:pt x="682" y="424"/>
                      <a:pt x="682" y="424"/>
                      <a:pt x="682" y="424"/>
                    </a:cubicBezTo>
                    <a:cubicBezTo>
                      <a:pt x="684" y="424"/>
                      <a:pt x="684" y="424"/>
                      <a:pt x="684" y="424"/>
                    </a:cubicBezTo>
                    <a:cubicBezTo>
                      <a:pt x="687" y="425"/>
                      <a:pt x="687" y="425"/>
                      <a:pt x="687" y="425"/>
                    </a:cubicBezTo>
                    <a:cubicBezTo>
                      <a:pt x="687" y="424"/>
                      <a:pt x="687" y="424"/>
                      <a:pt x="687" y="424"/>
                    </a:cubicBezTo>
                    <a:cubicBezTo>
                      <a:pt x="689" y="423"/>
                      <a:pt x="689" y="423"/>
                      <a:pt x="689" y="423"/>
                    </a:cubicBezTo>
                    <a:cubicBezTo>
                      <a:pt x="690" y="424"/>
                      <a:pt x="690" y="424"/>
                      <a:pt x="690" y="424"/>
                    </a:cubicBezTo>
                    <a:cubicBezTo>
                      <a:pt x="688" y="426"/>
                      <a:pt x="688" y="426"/>
                      <a:pt x="688" y="426"/>
                    </a:cubicBezTo>
                    <a:cubicBezTo>
                      <a:pt x="687" y="427"/>
                      <a:pt x="687" y="427"/>
                      <a:pt x="687" y="427"/>
                    </a:cubicBezTo>
                    <a:cubicBezTo>
                      <a:pt x="689" y="426"/>
                      <a:pt x="689" y="426"/>
                      <a:pt x="689" y="426"/>
                    </a:cubicBezTo>
                    <a:cubicBezTo>
                      <a:pt x="690" y="425"/>
                      <a:pt x="690" y="425"/>
                      <a:pt x="690" y="425"/>
                    </a:cubicBezTo>
                    <a:cubicBezTo>
                      <a:pt x="692" y="424"/>
                      <a:pt x="692" y="424"/>
                      <a:pt x="692" y="424"/>
                    </a:cubicBezTo>
                    <a:cubicBezTo>
                      <a:pt x="693" y="423"/>
                      <a:pt x="693" y="423"/>
                      <a:pt x="693" y="423"/>
                    </a:cubicBezTo>
                    <a:cubicBezTo>
                      <a:pt x="695" y="423"/>
                      <a:pt x="695" y="423"/>
                      <a:pt x="695" y="423"/>
                    </a:cubicBezTo>
                    <a:cubicBezTo>
                      <a:pt x="694" y="424"/>
                      <a:pt x="694" y="424"/>
                      <a:pt x="694" y="424"/>
                    </a:cubicBezTo>
                    <a:cubicBezTo>
                      <a:pt x="693" y="425"/>
                      <a:pt x="693" y="425"/>
                      <a:pt x="693" y="425"/>
                    </a:cubicBezTo>
                    <a:cubicBezTo>
                      <a:pt x="693" y="425"/>
                      <a:pt x="693" y="425"/>
                      <a:pt x="693" y="425"/>
                    </a:cubicBezTo>
                    <a:cubicBezTo>
                      <a:pt x="692" y="427"/>
                      <a:pt x="692" y="427"/>
                      <a:pt x="692" y="427"/>
                    </a:cubicBezTo>
                    <a:cubicBezTo>
                      <a:pt x="691" y="429"/>
                      <a:pt x="691" y="429"/>
                      <a:pt x="691" y="429"/>
                    </a:cubicBezTo>
                    <a:cubicBezTo>
                      <a:pt x="689" y="430"/>
                      <a:pt x="689" y="430"/>
                      <a:pt x="689" y="430"/>
                    </a:cubicBezTo>
                    <a:cubicBezTo>
                      <a:pt x="688" y="431"/>
                      <a:pt x="688" y="431"/>
                      <a:pt x="688" y="431"/>
                    </a:cubicBezTo>
                    <a:cubicBezTo>
                      <a:pt x="688" y="432"/>
                      <a:pt x="688" y="432"/>
                      <a:pt x="688" y="432"/>
                    </a:cubicBezTo>
                    <a:cubicBezTo>
                      <a:pt x="689" y="433"/>
                      <a:pt x="689" y="433"/>
                      <a:pt x="689" y="433"/>
                    </a:cubicBezTo>
                    <a:cubicBezTo>
                      <a:pt x="690" y="431"/>
                      <a:pt x="690" y="431"/>
                      <a:pt x="690" y="431"/>
                    </a:cubicBezTo>
                    <a:cubicBezTo>
                      <a:pt x="690" y="430"/>
                      <a:pt x="690" y="430"/>
                      <a:pt x="690" y="430"/>
                    </a:cubicBezTo>
                    <a:cubicBezTo>
                      <a:pt x="692" y="428"/>
                      <a:pt x="692" y="428"/>
                      <a:pt x="692" y="428"/>
                    </a:cubicBezTo>
                    <a:cubicBezTo>
                      <a:pt x="694" y="427"/>
                      <a:pt x="694" y="427"/>
                      <a:pt x="694" y="427"/>
                    </a:cubicBezTo>
                    <a:cubicBezTo>
                      <a:pt x="694" y="429"/>
                      <a:pt x="694" y="429"/>
                      <a:pt x="694" y="429"/>
                    </a:cubicBezTo>
                    <a:cubicBezTo>
                      <a:pt x="693" y="431"/>
                      <a:pt x="693" y="431"/>
                      <a:pt x="693" y="431"/>
                    </a:cubicBezTo>
                    <a:cubicBezTo>
                      <a:pt x="692" y="433"/>
                      <a:pt x="692" y="433"/>
                      <a:pt x="692" y="433"/>
                    </a:cubicBezTo>
                    <a:cubicBezTo>
                      <a:pt x="692" y="434"/>
                      <a:pt x="692" y="434"/>
                      <a:pt x="692" y="434"/>
                    </a:cubicBezTo>
                    <a:cubicBezTo>
                      <a:pt x="693" y="434"/>
                      <a:pt x="693" y="434"/>
                      <a:pt x="693" y="434"/>
                    </a:cubicBezTo>
                    <a:cubicBezTo>
                      <a:pt x="694" y="431"/>
                      <a:pt x="694" y="431"/>
                      <a:pt x="694" y="431"/>
                    </a:cubicBezTo>
                    <a:cubicBezTo>
                      <a:pt x="694" y="430"/>
                      <a:pt x="694" y="430"/>
                      <a:pt x="694" y="430"/>
                    </a:cubicBezTo>
                    <a:cubicBezTo>
                      <a:pt x="695" y="430"/>
                      <a:pt x="695" y="430"/>
                      <a:pt x="695" y="430"/>
                    </a:cubicBezTo>
                    <a:cubicBezTo>
                      <a:pt x="696" y="430"/>
                      <a:pt x="696" y="430"/>
                      <a:pt x="696" y="430"/>
                    </a:cubicBezTo>
                    <a:cubicBezTo>
                      <a:pt x="696" y="433"/>
                      <a:pt x="696" y="433"/>
                      <a:pt x="696" y="433"/>
                    </a:cubicBezTo>
                    <a:cubicBezTo>
                      <a:pt x="697" y="434"/>
                      <a:pt x="697" y="434"/>
                      <a:pt x="697" y="434"/>
                    </a:cubicBezTo>
                    <a:cubicBezTo>
                      <a:pt x="697" y="433"/>
                      <a:pt x="697" y="433"/>
                      <a:pt x="697" y="433"/>
                    </a:cubicBezTo>
                    <a:cubicBezTo>
                      <a:pt x="697" y="431"/>
                      <a:pt x="697" y="431"/>
                      <a:pt x="697" y="431"/>
                    </a:cubicBezTo>
                    <a:cubicBezTo>
                      <a:pt x="698" y="430"/>
                      <a:pt x="698" y="430"/>
                      <a:pt x="698" y="430"/>
                    </a:cubicBezTo>
                    <a:cubicBezTo>
                      <a:pt x="700" y="429"/>
                      <a:pt x="700" y="429"/>
                      <a:pt x="700" y="429"/>
                    </a:cubicBezTo>
                    <a:cubicBezTo>
                      <a:pt x="701" y="430"/>
                      <a:pt x="701" y="430"/>
                      <a:pt x="701" y="430"/>
                    </a:cubicBezTo>
                    <a:cubicBezTo>
                      <a:pt x="700" y="431"/>
                      <a:pt x="700" y="431"/>
                      <a:pt x="700" y="431"/>
                    </a:cubicBezTo>
                    <a:cubicBezTo>
                      <a:pt x="700" y="431"/>
                      <a:pt x="700" y="431"/>
                      <a:pt x="700" y="431"/>
                    </a:cubicBezTo>
                    <a:cubicBezTo>
                      <a:pt x="702" y="431"/>
                      <a:pt x="702" y="431"/>
                      <a:pt x="702" y="431"/>
                    </a:cubicBezTo>
                    <a:cubicBezTo>
                      <a:pt x="703" y="432"/>
                      <a:pt x="703" y="432"/>
                      <a:pt x="703" y="432"/>
                    </a:cubicBezTo>
                    <a:cubicBezTo>
                      <a:pt x="702" y="434"/>
                      <a:pt x="702" y="434"/>
                      <a:pt x="702" y="434"/>
                    </a:cubicBezTo>
                    <a:cubicBezTo>
                      <a:pt x="704" y="434"/>
                      <a:pt x="704" y="434"/>
                      <a:pt x="704" y="434"/>
                    </a:cubicBezTo>
                    <a:cubicBezTo>
                      <a:pt x="704" y="435"/>
                      <a:pt x="704" y="435"/>
                      <a:pt x="704" y="435"/>
                    </a:cubicBezTo>
                    <a:cubicBezTo>
                      <a:pt x="704" y="436"/>
                      <a:pt x="704" y="436"/>
                      <a:pt x="704" y="436"/>
                    </a:cubicBezTo>
                    <a:cubicBezTo>
                      <a:pt x="706" y="437"/>
                      <a:pt x="706" y="437"/>
                      <a:pt x="706" y="437"/>
                    </a:cubicBezTo>
                    <a:cubicBezTo>
                      <a:pt x="706" y="438"/>
                      <a:pt x="706" y="438"/>
                      <a:pt x="706" y="438"/>
                    </a:cubicBezTo>
                    <a:cubicBezTo>
                      <a:pt x="705" y="439"/>
                      <a:pt x="705" y="439"/>
                      <a:pt x="705" y="439"/>
                    </a:cubicBezTo>
                    <a:cubicBezTo>
                      <a:pt x="705" y="439"/>
                      <a:pt x="705" y="439"/>
                      <a:pt x="705" y="439"/>
                    </a:cubicBezTo>
                    <a:cubicBezTo>
                      <a:pt x="703" y="439"/>
                      <a:pt x="703" y="439"/>
                      <a:pt x="703" y="439"/>
                    </a:cubicBezTo>
                    <a:cubicBezTo>
                      <a:pt x="703" y="438"/>
                      <a:pt x="703" y="438"/>
                      <a:pt x="703" y="438"/>
                    </a:cubicBezTo>
                    <a:cubicBezTo>
                      <a:pt x="702" y="437"/>
                      <a:pt x="702" y="437"/>
                      <a:pt x="702" y="437"/>
                    </a:cubicBezTo>
                    <a:cubicBezTo>
                      <a:pt x="701" y="436"/>
                      <a:pt x="701" y="436"/>
                      <a:pt x="701" y="436"/>
                    </a:cubicBezTo>
                    <a:cubicBezTo>
                      <a:pt x="700" y="436"/>
                      <a:pt x="700" y="436"/>
                      <a:pt x="700" y="436"/>
                    </a:cubicBezTo>
                    <a:cubicBezTo>
                      <a:pt x="699" y="437"/>
                      <a:pt x="699" y="437"/>
                      <a:pt x="699" y="437"/>
                    </a:cubicBezTo>
                    <a:cubicBezTo>
                      <a:pt x="698" y="438"/>
                      <a:pt x="698" y="438"/>
                      <a:pt x="698" y="438"/>
                    </a:cubicBezTo>
                    <a:cubicBezTo>
                      <a:pt x="700" y="437"/>
                      <a:pt x="700" y="437"/>
                      <a:pt x="700" y="437"/>
                    </a:cubicBezTo>
                    <a:cubicBezTo>
                      <a:pt x="701" y="438"/>
                      <a:pt x="701" y="438"/>
                      <a:pt x="701" y="438"/>
                    </a:cubicBezTo>
                    <a:cubicBezTo>
                      <a:pt x="701" y="438"/>
                      <a:pt x="701" y="438"/>
                      <a:pt x="701" y="438"/>
                    </a:cubicBezTo>
                    <a:cubicBezTo>
                      <a:pt x="701" y="439"/>
                      <a:pt x="701" y="439"/>
                      <a:pt x="701" y="439"/>
                    </a:cubicBezTo>
                    <a:cubicBezTo>
                      <a:pt x="701" y="439"/>
                      <a:pt x="701" y="439"/>
                      <a:pt x="701" y="439"/>
                    </a:cubicBezTo>
                    <a:cubicBezTo>
                      <a:pt x="702" y="440"/>
                      <a:pt x="702" y="440"/>
                      <a:pt x="702" y="440"/>
                    </a:cubicBezTo>
                    <a:cubicBezTo>
                      <a:pt x="701" y="441"/>
                      <a:pt x="701" y="441"/>
                      <a:pt x="701" y="441"/>
                    </a:cubicBezTo>
                    <a:cubicBezTo>
                      <a:pt x="700" y="440"/>
                      <a:pt x="700" y="440"/>
                      <a:pt x="700" y="440"/>
                    </a:cubicBezTo>
                    <a:cubicBezTo>
                      <a:pt x="699" y="441"/>
                      <a:pt x="699" y="441"/>
                      <a:pt x="699" y="441"/>
                    </a:cubicBezTo>
                    <a:cubicBezTo>
                      <a:pt x="699" y="442"/>
                      <a:pt x="699" y="442"/>
                      <a:pt x="699" y="442"/>
                    </a:cubicBezTo>
                    <a:cubicBezTo>
                      <a:pt x="702" y="442"/>
                      <a:pt x="702" y="442"/>
                      <a:pt x="702" y="442"/>
                    </a:cubicBezTo>
                    <a:cubicBezTo>
                      <a:pt x="702" y="442"/>
                      <a:pt x="702" y="442"/>
                      <a:pt x="702" y="442"/>
                    </a:cubicBezTo>
                    <a:cubicBezTo>
                      <a:pt x="703" y="442"/>
                      <a:pt x="703" y="442"/>
                      <a:pt x="703" y="442"/>
                    </a:cubicBezTo>
                    <a:cubicBezTo>
                      <a:pt x="702" y="444"/>
                      <a:pt x="702" y="444"/>
                      <a:pt x="702" y="444"/>
                    </a:cubicBezTo>
                    <a:cubicBezTo>
                      <a:pt x="700" y="444"/>
                      <a:pt x="700" y="444"/>
                      <a:pt x="700" y="444"/>
                    </a:cubicBezTo>
                    <a:cubicBezTo>
                      <a:pt x="699" y="444"/>
                      <a:pt x="699" y="444"/>
                      <a:pt x="699" y="444"/>
                    </a:cubicBezTo>
                    <a:cubicBezTo>
                      <a:pt x="697" y="444"/>
                      <a:pt x="697" y="444"/>
                      <a:pt x="697" y="444"/>
                    </a:cubicBezTo>
                    <a:cubicBezTo>
                      <a:pt x="695" y="443"/>
                      <a:pt x="695" y="443"/>
                      <a:pt x="695" y="443"/>
                    </a:cubicBezTo>
                    <a:cubicBezTo>
                      <a:pt x="696" y="442"/>
                      <a:pt x="696" y="442"/>
                      <a:pt x="696" y="442"/>
                    </a:cubicBezTo>
                    <a:cubicBezTo>
                      <a:pt x="696" y="441"/>
                      <a:pt x="696" y="441"/>
                      <a:pt x="696" y="441"/>
                    </a:cubicBezTo>
                    <a:cubicBezTo>
                      <a:pt x="694" y="440"/>
                      <a:pt x="694" y="440"/>
                      <a:pt x="694" y="440"/>
                    </a:cubicBezTo>
                    <a:cubicBezTo>
                      <a:pt x="694" y="440"/>
                      <a:pt x="694" y="440"/>
                      <a:pt x="694" y="440"/>
                    </a:cubicBezTo>
                    <a:cubicBezTo>
                      <a:pt x="693" y="440"/>
                      <a:pt x="693" y="440"/>
                      <a:pt x="693" y="440"/>
                    </a:cubicBezTo>
                    <a:cubicBezTo>
                      <a:pt x="693" y="441"/>
                      <a:pt x="693" y="441"/>
                      <a:pt x="693" y="441"/>
                    </a:cubicBezTo>
                    <a:cubicBezTo>
                      <a:pt x="694" y="441"/>
                      <a:pt x="694" y="441"/>
                      <a:pt x="694" y="441"/>
                    </a:cubicBezTo>
                    <a:cubicBezTo>
                      <a:pt x="695" y="443"/>
                      <a:pt x="695" y="443"/>
                      <a:pt x="695" y="443"/>
                    </a:cubicBezTo>
                    <a:cubicBezTo>
                      <a:pt x="694" y="444"/>
                      <a:pt x="694" y="444"/>
                      <a:pt x="694" y="444"/>
                    </a:cubicBezTo>
                    <a:cubicBezTo>
                      <a:pt x="693" y="444"/>
                      <a:pt x="693" y="444"/>
                      <a:pt x="693" y="444"/>
                    </a:cubicBezTo>
                    <a:cubicBezTo>
                      <a:pt x="692" y="443"/>
                      <a:pt x="692" y="443"/>
                      <a:pt x="692" y="443"/>
                    </a:cubicBezTo>
                    <a:cubicBezTo>
                      <a:pt x="691" y="442"/>
                      <a:pt x="691" y="442"/>
                      <a:pt x="691" y="442"/>
                    </a:cubicBezTo>
                    <a:cubicBezTo>
                      <a:pt x="691" y="444"/>
                      <a:pt x="691" y="444"/>
                      <a:pt x="691" y="444"/>
                    </a:cubicBezTo>
                    <a:cubicBezTo>
                      <a:pt x="692" y="445"/>
                      <a:pt x="692" y="445"/>
                      <a:pt x="692" y="445"/>
                    </a:cubicBezTo>
                    <a:cubicBezTo>
                      <a:pt x="694" y="445"/>
                      <a:pt x="694" y="445"/>
                      <a:pt x="694" y="445"/>
                    </a:cubicBezTo>
                    <a:cubicBezTo>
                      <a:pt x="695" y="446"/>
                      <a:pt x="695" y="446"/>
                      <a:pt x="695" y="446"/>
                    </a:cubicBezTo>
                    <a:cubicBezTo>
                      <a:pt x="696" y="446"/>
                      <a:pt x="696" y="446"/>
                      <a:pt x="696" y="446"/>
                    </a:cubicBezTo>
                    <a:cubicBezTo>
                      <a:pt x="696" y="447"/>
                      <a:pt x="696" y="447"/>
                      <a:pt x="696" y="447"/>
                    </a:cubicBezTo>
                    <a:cubicBezTo>
                      <a:pt x="696" y="449"/>
                      <a:pt x="696" y="449"/>
                      <a:pt x="696" y="449"/>
                    </a:cubicBezTo>
                    <a:cubicBezTo>
                      <a:pt x="693" y="448"/>
                      <a:pt x="693" y="448"/>
                      <a:pt x="693" y="448"/>
                    </a:cubicBezTo>
                    <a:cubicBezTo>
                      <a:pt x="692" y="447"/>
                      <a:pt x="692" y="447"/>
                      <a:pt x="692" y="447"/>
                    </a:cubicBezTo>
                    <a:cubicBezTo>
                      <a:pt x="691" y="446"/>
                      <a:pt x="691" y="446"/>
                      <a:pt x="691" y="446"/>
                    </a:cubicBezTo>
                    <a:cubicBezTo>
                      <a:pt x="690" y="445"/>
                      <a:pt x="690" y="445"/>
                      <a:pt x="690" y="445"/>
                    </a:cubicBezTo>
                    <a:cubicBezTo>
                      <a:pt x="689" y="445"/>
                      <a:pt x="689" y="445"/>
                      <a:pt x="689" y="445"/>
                    </a:cubicBezTo>
                    <a:cubicBezTo>
                      <a:pt x="690" y="446"/>
                      <a:pt x="690" y="446"/>
                      <a:pt x="690" y="446"/>
                    </a:cubicBezTo>
                    <a:cubicBezTo>
                      <a:pt x="692" y="448"/>
                      <a:pt x="692" y="448"/>
                      <a:pt x="692" y="448"/>
                    </a:cubicBezTo>
                    <a:cubicBezTo>
                      <a:pt x="692" y="449"/>
                      <a:pt x="692" y="449"/>
                      <a:pt x="692" y="449"/>
                    </a:cubicBezTo>
                    <a:cubicBezTo>
                      <a:pt x="692" y="451"/>
                      <a:pt x="692" y="451"/>
                      <a:pt x="692" y="451"/>
                    </a:cubicBezTo>
                    <a:cubicBezTo>
                      <a:pt x="692" y="452"/>
                      <a:pt x="692" y="452"/>
                      <a:pt x="692" y="452"/>
                    </a:cubicBezTo>
                    <a:cubicBezTo>
                      <a:pt x="691" y="452"/>
                      <a:pt x="691" y="452"/>
                      <a:pt x="691" y="452"/>
                    </a:cubicBezTo>
                    <a:cubicBezTo>
                      <a:pt x="690" y="451"/>
                      <a:pt x="690" y="451"/>
                      <a:pt x="690" y="451"/>
                    </a:cubicBezTo>
                    <a:cubicBezTo>
                      <a:pt x="689" y="450"/>
                      <a:pt x="689" y="450"/>
                      <a:pt x="689" y="450"/>
                    </a:cubicBezTo>
                    <a:cubicBezTo>
                      <a:pt x="688" y="449"/>
                      <a:pt x="688" y="449"/>
                      <a:pt x="688" y="449"/>
                    </a:cubicBezTo>
                    <a:cubicBezTo>
                      <a:pt x="688" y="450"/>
                      <a:pt x="688" y="450"/>
                      <a:pt x="688" y="450"/>
                    </a:cubicBezTo>
                    <a:cubicBezTo>
                      <a:pt x="689" y="451"/>
                      <a:pt x="689" y="451"/>
                      <a:pt x="689" y="451"/>
                    </a:cubicBezTo>
                    <a:cubicBezTo>
                      <a:pt x="689" y="452"/>
                      <a:pt x="689" y="452"/>
                      <a:pt x="689" y="452"/>
                    </a:cubicBezTo>
                    <a:cubicBezTo>
                      <a:pt x="689" y="455"/>
                      <a:pt x="689" y="455"/>
                      <a:pt x="689" y="455"/>
                    </a:cubicBezTo>
                    <a:cubicBezTo>
                      <a:pt x="688" y="455"/>
                      <a:pt x="688" y="455"/>
                      <a:pt x="688" y="455"/>
                    </a:cubicBezTo>
                    <a:cubicBezTo>
                      <a:pt x="687" y="455"/>
                      <a:pt x="687" y="455"/>
                      <a:pt x="687" y="455"/>
                    </a:cubicBezTo>
                    <a:cubicBezTo>
                      <a:pt x="687" y="454"/>
                      <a:pt x="687" y="454"/>
                      <a:pt x="687" y="454"/>
                    </a:cubicBezTo>
                    <a:cubicBezTo>
                      <a:pt x="687" y="453"/>
                      <a:pt x="687" y="453"/>
                      <a:pt x="687" y="453"/>
                    </a:cubicBezTo>
                    <a:cubicBezTo>
                      <a:pt x="686" y="453"/>
                      <a:pt x="686" y="453"/>
                      <a:pt x="686" y="453"/>
                    </a:cubicBezTo>
                    <a:cubicBezTo>
                      <a:pt x="686" y="454"/>
                      <a:pt x="686" y="454"/>
                      <a:pt x="686" y="454"/>
                    </a:cubicBezTo>
                    <a:cubicBezTo>
                      <a:pt x="685" y="454"/>
                      <a:pt x="685" y="454"/>
                      <a:pt x="685" y="454"/>
                    </a:cubicBezTo>
                    <a:cubicBezTo>
                      <a:pt x="684" y="454"/>
                      <a:pt x="684" y="454"/>
                      <a:pt x="684" y="454"/>
                    </a:cubicBezTo>
                    <a:cubicBezTo>
                      <a:pt x="684" y="453"/>
                      <a:pt x="684" y="453"/>
                      <a:pt x="684" y="453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683" y="450"/>
                      <a:pt x="683" y="450"/>
                      <a:pt x="683" y="450"/>
                    </a:cubicBezTo>
                    <a:cubicBezTo>
                      <a:pt x="683" y="449"/>
                      <a:pt x="683" y="449"/>
                      <a:pt x="683" y="449"/>
                    </a:cubicBezTo>
                    <a:cubicBezTo>
                      <a:pt x="683" y="450"/>
                      <a:pt x="683" y="450"/>
                      <a:pt x="683" y="450"/>
                    </a:cubicBezTo>
                    <a:cubicBezTo>
                      <a:pt x="683" y="453"/>
                      <a:pt x="683" y="453"/>
                      <a:pt x="683" y="453"/>
                    </a:cubicBezTo>
                    <a:cubicBezTo>
                      <a:pt x="682" y="453"/>
                      <a:pt x="682" y="453"/>
                      <a:pt x="682" y="453"/>
                    </a:cubicBezTo>
                    <a:cubicBezTo>
                      <a:pt x="680" y="453"/>
                      <a:pt x="680" y="453"/>
                      <a:pt x="680" y="453"/>
                    </a:cubicBezTo>
                    <a:cubicBezTo>
                      <a:pt x="681" y="454"/>
                      <a:pt x="681" y="454"/>
                      <a:pt x="681" y="454"/>
                    </a:cubicBezTo>
                    <a:cubicBezTo>
                      <a:pt x="682" y="454"/>
                      <a:pt x="682" y="454"/>
                      <a:pt x="682" y="454"/>
                    </a:cubicBezTo>
                    <a:cubicBezTo>
                      <a:pt x="682" y="455"/>
                      <a:pt x="682" y="455"/>
                      <a:pt x="682" y="455"/>
                    </a:cubicBezTo>
                    <a:cubicBezTo>
                      <a:pt x="681" y="456"/>
                      <a:pt x="681" y="456"/>
                      <a:pt x="681" y="456"/>
                    </a:cubicBezTo>
                    <a:cubicBezTo>
                      <a:pt x="680" y="456"/>
                      <a:pt x="680" y="456"/>
                      <a:pt x="680" y="456"/>
                    </a:cubicBezTo>
                    <a:cubicBezTo>
                      <a:pt x="680" y="455"/>
                      <a:pt x="680" y="455"/>
                      <a:pt x="680" y="455"/>
                    </a:cubicBezTo>
                    <a:cubicBezTo>
                      <a:pt x="680" y="456"/>
                      <a:pt x="680" y="456"/>
                      <a:pt x="680" y="456"/>
                    </a:cubicBezTo>
                    <a:cubicBezTo>
                      <a:pt x="681" y="457"/>
                      <a:pt x="681" y="457"/>
                      <a:pt x="681" y="457"/>
                    </a:cubicBezTo>
                    <a:cubicBezTo>
                      <a:pt x="681" y="457"/>
                      <a:pt x="681" y="457"/>
                      <a:pt x="681" y="457"/>
                    </a:cubicBezTo>
                    <a:cubicBezTo>
                      <a:pt x="682" y="458"/>
                      <a:pt x="682" y="458"/>
                      <a:pt x="682" y="458"/>
                    </a:cubicBezTo>
                    <a:cubicBezTo>
                      <a:pt x="681" y="459"/>
                      <a:pt x="681" y="459"/>
                      <a:pt x="681" y="459"/>
                    </a:cubicBezTo>
                    <a:cubicBezTo>
                      <a:pt x="681" y="459"/>
                      <a:pt x="681" y="459"/>
                      <a:pt x="681" y="459"/>
                    </a:cubicBezTo>
                    <a:cubicBezTo>
                      <a:pt x="681" y="460"/>
                      <a:pt x="681" y="460"/>
                      <a:pt x="681" y="460"/>
                    </a:cubicBezTo>
                    <a:cubicBezTo>
                      <a:pt x="681" y="461"/>
                      <a:pt x="681" y="461"/>
                      <a:pt x="681" y="461"/>
                    </a:cubicBezTo>
                    <a:cubicBezTo>
                      <a:pt x="681" y="462"/>
                      <a:pt x="681" y="462"/>
                      <a:pt x="681" y="462"/>
                    </a:cubicBezTo>
                    <a:cubicBezTo>
                      <a:pt x="681" y="462"/>
                      <a:pt x="681" y="462"/>
                      <a:pt x="681" y="462"/>
                    </a:cubicBezTo>
                    <a:cubicBezTo>
                      <a:pt x="680" y="462"/>
                      <a:pt x="680" y="462"/>
                      <a:pt x="680" y="462"/>
                    </a:cubicBezTo>
                    <a:cubicBezTo>
                      <a:pt x="679" y="462"/>
                      <a:pt x="679" y="462"/>
                      <a:pt x="679" y="462"/>
                    </a:cubicBezTo>
                    <a:cubicBezTo>
                      <a:pt x="681" y="463"/>
                      <a:pt x="681" y="463"/>
                      <a:pt x="681" y="463"/>
                    </a:cubicBezTo>
                    <a:cubicBezTo>
                      <a:pt x="681" y="464"/>
                      <a:pt x="681" y="464"/>
                      <a:pt x="681" y="464"/>
                    </a:cubicBezTo>
                    <a:cubicBezTo>
                      <a:pt x="681" y="466"/>
                      <a:pt x="681" y="466"/>
                      <a:pt x="681" y="466"/>
                    </a:cubicBezTo>
                    <a:cubicBezTo>
                      <a:pt x="679" y="467"/>
                      <a:pt x="679" y="467"/>
                      <a:pt x="679" y="467"/>
                    </a:cubicBezTo>
                    <a:cubicBezTo>
                      <a:pt x="678" y="467"/>
                      <a:pt x="678" y="467"/>
                      <a:pt x="678" y="467"/>
                    </a:cubicBezTo>
                    <a:cubicBezTo>
                      <a:pt x="677" y="467"/>
                      <a:pt x="677" y="467"/>
                      <a:pt x="677" y="467"/>
                    </a:cubicBezTo>
                    <a:cubicBezTo>
                      <a:pt x="677" y="466"/>
                      <a:pt x="677" y="466"/>
                      <a:pt x="677" y="466"/>
                    </a:cubicBezTo>
                    <a:cubicBezTo>
                      <a:pt x="677" y="466"/>
                      <a:pt x="677" y="466"/>
                      <a:pt x="677" y="466"/>
                    </a:cubicBezTo>
                    <a:cubicBezTo>
                      <a:pt x="677" y="465"/>
                      <a:pt x="677" y="465"/>
                      <a:pt x="677" y="465"/>
                    </a:cubicBezTo>
                    <a:cubicBezTo>
                      <a:pt x="676" y="465"/>
                      <a:pt x="676" y="465"/>
                      <a:pt x="676" y="465"/>
                    </a:cubicBezTo>
                    <a:cubicBezTo>
                      <a:pt x="676" y="464"/>
                      <a:pt x="676" y="464"/>
                      <a:pt x="676" y="464"/>
                    </a:cubicBezTo>
                    <a:cubicBezTo>
                      <a:pt x="676" y="463"/>
                      <a:pt x="676" y="463"/>
                      <a:pt x="676" y="463"/>
                    </a:cubicBezTo>
                    <a:cubicBezTo>
                      <a:pt x="676" y="462"/>
                      <a:pt x="676" y="462"/>
                      <a:pt x="676" y="462"/>
                    </a:cubicBezTo>
                    <a:cubicBezTo>
                      <a:pt x="676" y="462"/>
                      <a:pt x="676" y="462"/>
                      <a:pt x="676" y="462"/>
                    </a:cubicBezTo>
                    <a:cubicBezTo>
                      <a:pt x="675" y="463"/>
                      <a:pt x="675" y="463"/>
                      <a:pt x="675" y="463"/>
                    </a:cubicBezTo>
                    <a:cubicBezTo>
                      <a:pt x="674" y="464"/>
                      <a:pt x="674" y="464"/>
                      <a:pt x="674" y="464"/>
                    </a:cubicBezTo>
                    <a:cubicBezTo>
                      <a:pt x="673" y="464"/>
                      <a:pt x="673" y="464"/>
                      <a:pt x="673" y="464"/>
                    </a:cubicBezTo>
                    <a:cubicBezTo>
                      <a:pt x="673" y="463"/>
                      <a:pt x="673" y="463"/>
                      <a:pt x="673" y="463"/>
                    </a:cubicBezTo>
                    <a:cubicBezTo>
                      <a:pt x="673" y="462"/>
                      <a:pt x="673" y="462"/>
                      <a:pt x="673" y="462"/>
                    </a:cubicBezTo>
                    <a:cubicBezTo>
                      <a:pt x="673" y="461"/>
                      <a:pt x="673" y="461"/>
                      <a:pt x="673" y="461"/>
                    </a:cubicBezTo>
                    <a:cubicBezTo>
                      <a:pt x="673" y="460"/>
                      <a:pt x="673" y="460"/>
                      <a:pt x="673" y="460"/>
                    </a:cubicBezTo>
                    <a:cubicBezTo>
                      <a:pt x="673" y="460"/>
                      <a:pt x="673" y="460"/>
                      <a:pt x="673" y="460"/>
                    </a:cubicBezTo>
                    <a:cubicBezTo>
                      <a:pt x="673" y="459"/>
                      <a:pt x="673" y="459"/>
                      <a:pt x="673" y="459"/>
                    </a:cubicBezTo>
                    <a:cubicBezTo>
                      <a:pt x="674" y="458"/>
                      <a:pt x="674" y="458"/>
                      <a:pt x="674" y="458"/>
                    </a:cubicBezTo>
                    <a:cubicBezTo>
                      <a:pt x="673" y="458"/>
                      <a:pt x="673" y="458"/>
                      <a:pt x="673" y="458"/>
                    </a:cubicBezTo>
                    <a:cubicBezTo>
                      <a:pt x="672" y="459"/>
                      <a:pt x="672" y="459"/>
                      <a:pt x="672" y="459"/>
                    </a:cubicBezTo>
                    <a:cubicBezTo>
                      <a:pt x="671" y="461"/>
                      <a:pt x="671" y="461"/>
                      <a:pt x="671" y="461"/>
                    </a:cubicBezTo>
                    <a:cubicBezTo>
                      <a:pt x="670" y="462"/>
                      <a:pt x="670" y="462"/>
                      <a:pt x="670" y="462"/>
                    </a:cubicBezTo>
                    <a:cubicBezTo>
                      <a:pt x="670" y="462"/>
                      <a:pt x="670" y="462"/>
                      <a:pt x="670" y="462"/>
                    </a:cubicBezTo>
                    <a:cubicBezTo>
                      <a:pt x="670" y="460"/>
                      <a:pt x="670" y="460"/>
                      <a:pt x="670" y="460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70" y="457"/>
                      <a:pt x="670" y="457"/>
                      <a:pt x="670" y="457"/>
                    </a:cubicBezTo>
                    <a:cubicBezTo>
                      <a:pt x="671" y="457"/>
                      <a:pt x="671" y="457"/>
                      <a:pt x="671" y="457"/>
                    </a:cubicBezTo>
                    <a:cubicBezTo>
                      <a:pt x="671" y="456"/>
                      <a:pt x="671" y="456"/>
                      <a:pt x="671" y="456"/>
                    </a:cubicBezTo>
                    <a:cubicBezTo>
                      <a:pt x="672" y="456"/>
                      <a:pt x="672" y="456"/>
                      <a:pt x="672" y="456"/>
                    </a:cubicBezTo>
                    <a:cubicBezTo>
                      <a:pt x="672" y="455"/>
                      <a:pt x="672" y="455"/>
                      <a:pt x="672" y="455"/>
                    </a:cubicBezTo>
                    <a:cubicBezTo>
                      <a:pt x="671" y="455"/>
                      <a:pt x="671" y="455"/>
                      <a:pt x="671" y="455"/>
                    </a:cubicBezTo>
                    <a:cubicBezTo>
                      <a:pt x="669" y="455"/>
                      <a:pt x="669" y="455"/>
                      <a:pt x="669" y="455"/>
                    </a:cubicBezTo>
                    <a:cubicBezTo>
                      <a:pt x="668" y="455"/>
                      <a:pt x="668" y="455"/>
                      <a:pt x="668" y="455"/>
                    </a:cubicBezTo>
                    <a:cubicBezTo>
                      <a:pt x="668" y="454"/>
                      <a:pt x="668" y="454"/>
                      <a:pt x="668" y="454"/>
                    </a:cubicBezTo>
                    <a:cubicBezTo>
                      <a:pt x="668" y="454"/>
                      <a:pt x="668" y="454"/>
                      <a:pt x="668" y="454"/>
                    </a:cubicBezTo>
                    <a:cubicBezTo>
                      <a:pt x="670" y="453"/>
                      <a:pt x="670" y="453"/>
                      <a:pt x="670" y="453"/>
                    </a:cubicBezTo>
                    <a:cubicBezTo>
                      <a:pt x="671" y="452"/>
                      <a:pt x="671" y="452"/>
                      <a:pt x="671" y="452"/>
                    </a:cubicBezTo>
                    <a:cubicBezTo>
                      <a:pt x="670" y="452"/>
                      <a:pt x="670" y="452"/>
                      <a:pt x="670" y="452"/>
                    </a:cubicBezTo>
                    <a:cubicBezTo>
                      <a:pt x="669" y="452"/>
                      <a:pt x="669" y="452"/>
                      <a:pt x="669" y="452"/>
                    </a:cubicBezTo>
                    <a:cubicBezTo>
                      <a:pt x="668" y="452"/>
                      <a:pt x="668" y="452"/>
                      <a:pt x="668" y="452"/>
                    </a:cubicBezTo>
                    <a:cubicBezTo>
                      <a:pt x="668" y="451"/>
                      <a:pt x="668" y="451"/>
                      <a:pt x="668" y="451"/>
                    </a:cubicBezTo>
                    <a:cubicBezTo>
                      <a:pt x="669" y="451"/>
                      <a:pt x="669" y="451"/>
                      <a:pt x="669" y="451"/>
                    </a:cubicBezTo>
                    <a:cubicBezTo>
                      <a:pt x="670" y="450"/>
                      <a:pt x="670" y="450"/>
                      <a:pt x="670" y="450"/>
                    </a:cubicBezTo>
                    <a:cubicBezTo>
                      <a:pt x="672" y="450"/>
                      <a:pt x="672" y="450"/>
                      <a:pt x="672" y="450"/>
                    </a:cubicBezTo>
                    <a:cubicBezTo>
                      <a:pt x="670" y="449"/>
                      <a:pt x="670" y="449"/>
                      <a:pt x="670" y="449"/>
                    </a:cubicBezTo>
                    <a:cubicBezTo>
                      <a:pt x="669" y="449"/>
                      <a:pt x="669" y="449"/>
                      <a:pt x="669" y="449"/>
                    </a:cubicBezTo>
                    <a:cubicBezTo>
                      <a:pt x="668" y="450"/>
                      <a:pt x="668" y="450"/>
                      <a:pt x="668" y="450"/>
                    </a:cubicBezTo>
                    <a:cubicBezTo>
                      <a:pt x="667" y="449"/>
                      <a:pt x="667" y="449"/>
                      <a:pt x="667" y="449"/>
                    </a:cubicBezTo>
                    <a:cubicBezTo>
                      <a:pt x="668" y="449"/>
                      <a:pt x="668" y="449"/>
                      <a:pt x="668" y="449"/>
                    </a:cubicBezTo>
                    <a:cubicBezTo>
                      <a:pt x="669" y="446"/>
                      <a:pt x="669" y="446"/>
                      <a:pt x="669" y="446"/>
                    </a:cubicBezTo>
                    <a:cubicBezTo>
                      <a:pt x="670" y="446"/>
                      <a:pt x="670" y="446"/>
                      <a:pt x="670" y="446"/>
                    </a:cubicBezTo>
                    <a:cubicBezTo>
                      <a:pt x="672" y="446"/>
                      <a:pt x="672" y="446"/>
                      <a:pt x="672" y="446"/>
                    </a:cubicBezTo>
                    <a:cubicBezTo>
                      <a:pt x="673" y="444"/>
                      <a:pt x="673" y="444"/>
                      <a:pt x="673" y="444"/>
                    </a:cubicBezTo>
                    <a:cubicBezTo>
                      <a:pt x="675" y="444"/>
                      <a:pt x="675" y="444"/>
                      <a:pt x="675" y="444"/>
                    </a:cubicBezTo>
                    <a:cubicBezTo>
                      <a:pt x="675" y="442"/>
                      <a:pt x="675" y="442"/>
                      <a:pt x="675" y="442"/>
                    </a:cubicBezTo>
                    <a:cubicBezTo>
                      <a:pt x="677" y="440"/>
                      <a:pt x="677" y="440"/>
                      <a:pt x="677" y="440"/>
                    </a:cubicBezTo>
                    <a:cubicBezTo>
                      <a:pt x="678" y="440"/>
                      <a:pt x="678" y="440"/>
                      <a:pt x="678" y="440"/>
                    </a:cubicBezTo>
                    <a:cubicBezTo>
                      <a:pt x="677" y="439"/>
                      <a:pt x="677" y="439"/>
                      <a:pt x="677" y="439"/>
                    </a:cubicBezTo>
                    <a:cubicBezTo>
                      <a:pt x="677" y="439"/>
                      <a:pt x="677" y="439"/>
                      <a:pt x="677" y="439"/>
                    </a:cubicBezTo>
                    <a:cubicBezTo>
                      <a:pt x="675" y="441"/>
                      <a:pt x="675" y="441"/>
                      <a:pt x="675" y="441"/>
                    </a:cubicBezTo>
                    <a:cubicBezTo>
                      <a:pt x="674" y="441"/>
                      <a:pt x="674" y="441"/>
                      <a:pt x="674" y="441"/>
                    </a:cubicBezTo>
                    <a:cubicBezTo>
                      <a:pt x="673" y="443"/>
                      <a:pt x="673" y="443"/>
                      <a:pt x="673" y="443"/>
                    </a:cubicBezTo>
                    <a:cubicBezTo>
                      <a:pt x="671" y="444"/>
                      <a:pt x="671" y="444"/>
                      <a:pt x="671" y="444"/>
                    </a:cubicBezTo>
                    <a:cubicBezTo>
                      <a:pt x="670" y="444"/>
                      <a:pt x="670" y="444"/>
                      <a:pt x="670" y="444"/>
                    </a:cubicBezTo>
                    <a:cubicBezTo>
                      <a:pt x="667" y="446"/>
                      <a:pt x="667" y="446"/>
                      <a:pt x="667" y="446"/>
                    </a:cubicBezTo>
                    <a:cubicBezTo>
                      <a:pt x="665" y="446"/>
                      <a:pt x="665" y="446"/>
                      <a:pt x="665" y="446"/>
                    </a:cubicBezTo>
                    <a:cubicBezTo>
                      <a:pt x="664" y="445"/>
                      <a:pt x="664" y="445"/>
                      <a:pt x="664" y="445"/>
                    </a:cubicBezTo>
                    <a:cubicBezTo>
                      <a:pt x="664" y="445"/>
                      <a:pt x="664" y="445"/>
                      <a:pt x="664" y="445"/>
                    </a:cubicBezTo>
                    <a:cubicBezTo>
                      <a:pt x="667" y="442"/>
                      <a:pt x="667" y="442"/>
                      <a:pt x="667" y="442"/>
                    </a:cubicBezTo>
                    <a:cubicBezTo>
                      <a:pt x="669" y="441"/>
                      <a:pt x="669" y="441"/>
                      <a:pt x="669" y="441"/>
                    </a:cubicBezTo>
                    <a:cubicBezTo>
                      <a:pt x="669" y="440"/>
                      <a:pt x="669" y="440"/>
                      <a:pt x="669" y="440"/>
                    </a:cubicBezTo>
                    <a:cubicBezTo>
                      <a:pt x="670" y="439"/>
                      <a:pt x="670" y="439"/>
                      <a:pt x="670" y="439"/>
                    </a:cubicBezTo>
                    <a:cubicBezTo>
                      <a:pt x="670" y="438"/>
                      <a:pt x="670" y="438"/>
                      <a:pt x="670" y="438"/>
                    </a:cubicBezTo>
                    <a:cubicBezTo>
                      <a:pt x="668" y="440"/>
                      <a:pt x="668" y="440"/>
                      <a:pt x="668" y="440"/>
                    </a:cubicBezTo>
                    <a:cubicBezTo>
                      <a:pt x="665" y="442"/>
                      <a:pt x="665" y="442"/>
                      <a:pt x="665" y="442"/>
                    </a:cubicBezTo>
                    <a:cubicBezTo>
                      <a:pt x="664" y="443"/>
                      <a:pt x="664" y="443"/>
                      <a:pt x="664" y="443"/>
                    </a:cubicBezTo>
                    <a:cubicBezTo>
                      <a:pt x="663" y="442"/>
                      <a:pt x="663" y="442"/>
                      <a:pt x="663" y="442"/>
                    </a:cubicBezTo>
                    <a:cubicBezTo>
                      <a:pt x="662" y="442"/>
                      <a:pt x="662" y="442"/>
                      <a:pt x="662" y="442"/>
                    </a:cubicBezTo>
                    <a:cubicBezTo>
                      <a:pt x="662" y="440"/>
                      <a:pt x="662" y="440"/>
                      <a:pt x="662" y="440"/>
                    </a:cubicBezTo>
                    <a:cubicBezTo>
                      <a:pt x="662" y="440"/>
                      <a:pt x="662" y="440"/>
                      <a:pt x="662" y="440"/>
                    </a:cubicBezTo>
                    <a:cubicBezTo>
                      <a:pt x="661" y="440"/>
                      <a:pt x="661" y="440"/>
                      <a:pt x="661" y="440"/>
                    </a:cubicBezTo>
                    <a:cubicBezTo>
                      <a:pt x="660" y="439"/>
                      <a:pt x="660" y="439"/>
                      <a:pt x="660" y="439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1" y="438"/>
                      <a:pt x="661" y="438"/>
                      <a:pt x="661" y="438"/>
                    </a:cubicBezTo>
                    <a:cubicBezTo>
                      <a:pt x="661" y="437"/>
                      <a:pt x="661" y="437"/>
                      <a:pt x="661" y="437"/>
                    </a:cubicBezTo>
                    <a:cubicBezTo>
                      <a:pt x="661" y="437"/>
                      <a:pt x="661" y="437"/>
                      <a:pt x="661" y="437"/>
                    </a:cubicBezTo>
                    <a:cubicBezTo>
                      <a:pt x="660" y="437"/>
                      <a:pt x="660" y="437"/>
                      <a:pt x="660" y="437"/>
                    </a:cubicBezTo>
                    <a:cubicBezTo>
                      <a:pt x="660" y="436"/>
                      <a:pt x="660" y="436"/>
                      <a:pt x="660" y="436"/>
                    </a:cubicBezTo>
                    <a:cubicBezTo>
                      <a:pt x="660" y="435"/>
                      <a:pt x="660" y="435"/>
                      <a:pt x="660" y="435"/>
                    </a:cubicBezTo>
                    <a:cubicBezTo>
                      <a:pt x="661" y="434"/>
                      <a:pt x="661" y="434"/>
                      <a:pt x="661" y="434"/>
                    </a:cubicBezTo>
                    <a:cubicBezTo>
                      <a:pt x="661" y="433"/>
                      <a:pt x="661" y="433"/>
                      <a:pt x="661" y="433"/>
                    </a:cubicBezTo>
                    <a:cubicBezTo>
                      <a:pt x="660" y="433"/>
                      <a:pt x="660" y="433"/>
                      <a:pt x="660" y="433"/>
                    </a:cubicBezTo>
                    <a:cubicBezTo>
                      <a:pt x="659" y="432"/>
                      <a:pt x="659" y="432"/>
                      <a:pt x="659" y="432"/>
                    </a:cubicBezTo>
                    <a:cubicBezTo>
                      <a:pt x="658" y="432"/>
                      <a:pt x="658" y="432"/>
                      <a:pt x="658" y="432"/>
                    </a:cubicBezTo>
                    <a:cubicBezTo>
                      <a:pt x="658" y="433"/>
                      <a:pt x="658" y="433"/>
                      <a:pt x="658" y="433"/>
                    </a:cubicBezTo>
                    <a:cubicBezTo>
                      <a:pt x="659" y="434"/>
                      <a:pt x="659" y="434"/>
                      <a:pt x="659" y="434"/>
                    </a:cubicBezTo>
                    <a:cubicBezTo>
                      <a:pt x="657" y="435"/>
                      <a:pt x="657" y="435"/>
                      <a:pt x="657" y="435"/>
                    </a:cubicBezTo>
                    <a:cubicBezTo>
                      <a:pt x="656" y="434"/>
                      <a:pt x="656" y="434"/>
                      <a:pt x="656" y="434"/>
                    </a:cubicBezTo>
                    <a:cubicBezTo>
                      <a:pt x="655" y="433"/>
                      <a:pt x="655" y="433"/>
                      <a:pt x="655" y="433"/>
                    </a:cubicBezTo>
                    <a:cubicBezTo>
                      <a:pt x="654" y="433"/>
                      <a:pt x="654" y="433"/>
                      <a:pt x="654" y="433"/>
                    </a:cubicBezTo>
                    <a:cubicBezTo>
                      <a:pt x="656" y="434"/>
                      <a:pt x="656" y="434"/>
                      <a:pt x="656" y="434"/>
                    </a:cubicBezTo>
                    <a:cubicBezTo>
                      <a:pt x="657" y="436"/>
                      <a:pt x="657" y="436"/>
                      <a:pt x="657" y="436"/>
                    </a:cubicBezTo>
                    <a:cubicBezTo>
                      <a:pt x="657" y="437"/>
                      <a:pt x="657" y="437"/>
                      <a:pt x="657" y="437"/>
                    </a:cubicBezTo>
                    <a:cubicBezTo>
                      <a:pt x="656" y="437"/>
                      <a:pt x="656" y="437"/>
                      <a:pt x="656" y="437"/>
                    </a:cubicBezTo>
                    <a:cubicBezTo>
                      <a:pt x="655" y="438"/>
                      <a:pt x="655" y="438"/>
                      <a:pt x="655" y="438"/>
                    </a:cubicBezTo>
                    <a:cubicBezTo>
                      <a:pt x="656" y="438"/>
                      <a:pt x="656" y="438"/>
                      <a:pt x="656" y="438"/>
                    </a:cubicBezTo>
                    <a:cubicBezTo>
                      <a:pt x="654" y="438"/>
                      <a:pt x="654" y="438"/>
                      <a:pt x="654" y="438"/>
                    </a:cubicBezTo>
                    <a:cubicBezTo>
                      <a:pt x="653" y="437"/>
                      <a:pt x="653" y="437"/>
                      <a:pt x="653" y="437"/>
                    </a:cubicBezTo>
                    <a:cubicBezTo>
                      <a:pt x="653" y="435"/>
                      <a:pt x="653" y="435"/>
                      <a:pt x="653" y="435"/>
                    </a:cubicBezTo>
                    <a:cubicBezTo>
                      <a:pt x="652" y="435"/>
                      <a:pt x="652" y="435"/>
                      <a:pt x="652" y="435"/>
                    </a:cubicBezTo>
                    <a:cubicBezTo>
                      <a:pt x="652" y="435"/>
                      <a:pt x="652" y="435"/>
                      <a:pt x="652" y="435"/>
                    </a:cubicBezTo>
                    <a:cubicBezTo>
                      <a:pt x="653" y="436"/>
                      <a:pt x="653" y="436"/>
                      <a:pt x="653" y="436"/>
                    </a:cubicBezTo>
                    <a:cubicBezTo>
                      <a:pt x="653" y="438"/>
                      <a:pt x="653" y="438"/>
                      <a:pt x="653" y="438"/>
                    </a:cubicBezTo>
                    <a:cubicBezTo>
                      <a:pt x="652" y="439"/>
                      <a:pt x="652" y="439"/>
                      <a:pt x="652" y="439"/>
                    </a:cubicBezTo>
                    <a:cubicBezTo>
                      <a:pt x="653" y="439"/>
                      <a:pt x="653" y="439"/>
                      <a:pt x="653" y="439"/>
                    </a:cubicBezTo>
                    <a:cubicBezTo>
                      <a:pt x="655" y="441"/>
                      <a:pt x="655" y="441"/>
                      <a:pt x="655" y="441"/>
                    </a:cubicBezTo>
                    <a:cubicBezTo>
                      <a:pt x="655" y="442"/>
                      <a:pt x="655" y="442"/>
                      <a:pt x="655" y="442"/>
                    </a:cubicBezTo>
                    <a:cubicBezTo>
                      <a:pt x="655" y="444"/>
                      <a:pt x="655" y="444"/>
                      <a:pt x="655" y="444"/>
                    </a:cubicBezTo>
                    <a:cubicBezTo>
                      <a:pt x="656" y="444"/>
                      <a:pt x="656" y="444"/>
                      <a:pt x="656" y="444"/>
                    </a:cubicBezTo>
                    <a:cubicBezTo>
                      <a:pt x="656" y="445"/>
                      <a:pt x="656" y="445"/>
                      <a:pt x="656" y="445"/>
                    </a:cubicBezTo>
                    <a:cubicBezTo>
                      <a:pt x="655" y="445"/>
                      <a:pt x="655" y="445"/>
                      <a:pt x="655" y="445"/>
                    </a:cubicBezTo>
                    <a:cubicBezTo>
                      <a:pt x="653" y="445"/>
                      <a:pt x="653" y="445"/>
                      <a:pt x="653" y="445"/>
                    </a:cubicBezTo>
                    <a:cubicBezTo>
                      <a:pt x="652" y="444"/>
                      <a:pt x="652" y="444"/>
                      <a:pt x="652" y="444"/>
                    </a:cubicBezTo>
                    <a:cubicBezTo>
                      <a:pt x="651" y="446"/>
                      <a:pt x="651" y="446"/>
                      <a:pt x="651" y="446"/>
                    </a:cubicBezTo>
                    <a:cubicBezTo>
                      <a:pt x="651" y="446"/>
                      <a:pt x="651" y="446"/>
                      <a:pt x="651" y="446"/>
                    </a:cubicBezTo>
                    <a:cubicBezTo>
                      <a:pt x="649" y="443"/>
                      <a:pt x="649" y="443"/>
                      <a:pt x="649" y="443"/>
                    </a:cubicBezTo>
                    <a:cubicBezTo>
                      <a:pt x="648" y="442"/>
                      <a:pt x="648" y="442"/>
                      <a:pt x="648" y="442"/>
                    </a:cubicBezTo>
                    <a:cubicBezTo>
                      <a:pt x="649" y="441"/>
                      <a:pt x="649" y="441"/>
                      <a:pt x="649" y="441"/>
                    </a:cubicBezTo>
                    <a:cubicBezTo>
                      <a:pt x="649" y="440"/>
                      <a:pt x="649" y="440"/>
                      <a:pt x="649" y="440"/>
                    </a:cubicBezTo>
                    <a:cubicBezTo>
                      <a:pt x="647" y="439"/>
                      <a:pt x="647" y="439"/>
                      <a:pt x="647" y="439"/>
                    </a:cubicBezTo>
                    <a:cubicBezTo>
                      <a:pt x="646" y="439"/>
                      <a:pt x="646" y="439"/>
                      <a:pt x="646" y="439"/>
                    </a:cubicBezTo>
                    <a:cubicBezTo>
                      <a:pt x="645" y="438"/>
                      <a:pt x="645" y="438"/>
                      <a:pt x="645" y="438"/>
                    </a:cubicBezTo>
                    <a:cubicBezTo>
                      <a:pt x="645" y="437"/>
                      <a:pt x="645" y="437"/>
                      <a:pt x="645" y="437"/>
                    </a:cubicBezTo>
                    <a:cubicBezTo>
                      <a:pt x="644" y="437"/>
                      <a:pt x="644" y="437"/>
                      <a:pt x="644" y="437"/>
                    </a:cubicBezTo>
                    <a:cubicBezTo>
                      <a:pt x="642" y="438"/>
                      <a:pt x="642" y="438"/>
                      <a:pt x="642" y="438"/>
                    </a:cubicBezTo>
                    <a:cubicBezTo>
                      <a:pt x="640" y="438"/>
                      <a:pt x="640" y="438"/>
                      <a:pt x="640" y="438"/>
                    </a:cubicBezTo>
                    <a:cubicBezTo>
                      <a:pt x="641" y="439"/>
                      <a:pt x="641" y="439"/>
                      <a:pt x="641" y="439"/>
                    </a:cubicBezTo>
                    <a:cubicBezTo>
                      <a:pt x="643" y="439"/>
                      <a:pt x="643" y="439"/>
                      <a:pt x="643" y="439"/>
                    </a:cubicBezTo>
                    <a:cubicBezTo>
                      <a:pt x="645" y="439"/>
                      <a:pt x="645" y="439"/>
                      <a:pt x="645" y="439"/>
                    </a:cubicBezTo>
                    <a:cubicBezTo>
                      <a:pt x="647" y="440"/>
                      <a:pt x="647" y="440"/>
                      <a:pt x="647" y="440"/>
                    </a:cubicBezTo>
                    <a:cubicBezTo>
                      <a:pt x="647" y="442"/>
                      <a:pt x="647" y="442"/>
                      <a:pt x="647" y="442"/>
                    </a:cubicBezTo>
                    <a:cubicBezTo>
                      <a:pt x="645" y="443"/>
                      <a:pt x="645" y="443"/>
                      <a:pt x="645" y="443"/>
                    </a:cubicBezTo>
                    <a:cubicBezTo>
                      <a:pt x="646" y="445"/>
                      <a:pt x="646" y="445"/>
                      <a:pt x="646" y="445"/>
                    </a:cubicBezTo>
                    <a:cubicBezTo>
                      <a:pt x="647" y="444"/>
                      <a:pt x="647" y="444"/>
                      <a:pt x="647" y="444"/>
                    </a:cubicBezTo>
                    <a:cubicBezTo>
                      <a:pt x="647" y="445"/>
                      <a:pt x="647" y="445"/>
                      <a:pt x="647" y="445"/>
                    </a:cubicBezTo>
                    <a:cubicBezTo>
                      <a:pt x="647" y="446"/>
                      <a:pt x="647" y="446"/>
                      <a:pt x="647" y="446"/>
                    </a:cubicBezTo>
                    <a:cubicBezTo>
                      <a:pt x="647" y="447"/>
                      <a:pt x="647" y="447"/>
                      <a:pt x="647" y="447"/>
                    </a:cubicBezTo>
                    <a:cubicBezTo>
                      <a:pt x="649" y="447"/>
                      <a:pt x="649" y="447"/>
                      <a:pt x="649" y="447"/>
                    </a:cubicBezTo>
                    <a:cubicBezTo>
                      <a:pt x="649" y="447"/>
                      <a:pt x="649" y="447"/>
                      <a:pt x="649" y="447"/>
                    </a:cubicBezTo>
                    <a:cubicBezTo>
                      <a:pt x="648" y="449"/>
                      <a:pt x="648" y="449"/>
                      <a:pt x="648" y="449"/>
                    </a:cubicBezTo>
                    <a:cubicBezTo>
                      <a:pt x="645" y="451"/>
                      <a:pt x="645" y="451"/>
                      <a:pt x="645" y="451"/>
                    </a:cubicBezTo>
                    <a:cubicBezTo>
                      <a:pt x="644" y="453"/>
                      <a:pt x="644" y="453"/>
                      <a:pt x="644" y="453"/>
                    </a:cubicBezTo>
                    <a:cubicBezTo>
                      <a:pt x="647" y="452"/>
                      <a:pt x="647" y="452"/>
                      <a:pt x="647" y="452"/>
                    </a:cubicBezTo>
                    <a:cubicBezTo>
                      <a:pt x="648" y="451"/>
                      <a:pt x="648" y="451"/>
                      <a:pt x="648" y="451"/>
                    </a:cubicBezTo>
                    <a:cubicBezTo>
                      <a:pt x="649" y="450"/>
                      <a:pt x="649" y="450"/>
                      <a:pt x="649" y="450"/>
                    </a:cubicBezTo>
                    <a:cubicBezTo>
                      <a:pt x="651" y="450"/>
                      <a:pt x="651" y="450"/>
                      <a:pt x="651" y="450"/>
                    </a:cubicBezTo>
                    <a:cubicBezTo>
                      <a:pt x="652" y="451"/>
                      <a:pt x="652" y="451"/>
                      <a:pt x="652" y="451"/>
                    </a:cubicBezTo>
                    <a:cubicBezTo>
                      <a:pt x="652" y="451"/>
                      <a:pt x="652" y="451"/>
                      <a:pt x="652" y="451"/>
                    </a:cubicBezTo>
                    <a:cubicBezTo>
                      <a:pt x="650" y="452"/>
                      <a:pt x="650" y="452"/>
                      <a:pt x="650" y="452"/>
                    </a:cubicBezTo>
                    <a:cubicBezTo>
                      <a:pt x="650" y="453"/>
                      <a:pt x="650" y="453"/>
                      <a:pt x="650" y="453"/>
                    </a:cubicBezTo>
                    <a:cubicBezTo>
                      <a:pt x="650" y="454"/>
                      <a:pt x="650" y="454"/>
                      <a:pt x="650" y="454"/>
                    </a:cubicBezTo>
                    <a:cubicBezTo>
                      <a:pt x="652" y="454"/>
                      <a:pt x="652" y="454"/>
                      <a:pt x="652" y="454"/>
                    </a:cubicBezTo>
                    <a:cubicBezTo>
                      <a:pt x="653" y="455"/>
                      <a:pt x="653" y="455"/>
                      <a:pt x="653" y="455"/>
                    </a:cubicBezTo>
                    <a:cubicBezTo>
                      <a:pt x="652" y="456"/>
                      <a:pt x="652" y="456"/>
                      <a:pt x="652" y="456"/>
                    </a:cubicBezTo>
                    <a:cubicBezTo>
                      <a:pt x="650" y="456"/>
                      <a:pt x="650" y="456"/>
                      <a:pt x="650" y="456"/>
                    </a:cubicBezTo>
                    <a:cubicBezTo>
                      <a:pt x="650" y="457"/>
                      <a:pt x="650" y="457"/>
                      <a:pt x="650" y="457"/>
                    </a:cubicBezTo>
                    <a:cubicBezTo>
                      <a:pt x="651" y="457"/>
                      <a:pt x="651" y="457"/>
                      <a:pt x="651" y="457"/>
                    </a:cubicBezTo>
                    <a:cubicBezTo>
                      <a:pt x="651" y="458"/>
                      <a:pt x="651" y="458"/>
                      <a:pt x="651" y="458"/>
                    </a:cubicBezTo>
                    <a:cubicBezTo>
                      <a:pt x="651" y="459"/>
                      <a:pt x="651" y="459"/>
                      <a:pt x="651" y="459"/>
                    </a:cubicBezTo>
                    <a:cubicBezTo>
                      <a:pt x="651" y="459"/>
                      <a:pt x="651" y="459"/>
                      <a:pt x="651" y="459"/>
                    </a:cubicBezTo>
                    <a:cubicBezTo>
                      <a:pt x="652" y="459"/>
                      <a:pt x="652" y="459"/>
                      <a:pt x="652" y="459"/>
                    </a:cubicBezTo>
                    <a:cubicBezTo>
                      <a:pt x="651" y="461"/>
                      <a:pt x="651" y="461"/>
                      <a:pt x="651" y="461"/>
                    </a:cubicBezTo>
                    <a:cubicBezTo>
                      <a:pt x="652" y="461"/>
                      <a:pt x="652" y="461"/>
                      <a:pt x="652" y="461"/>
                    </a:cubicBezTo>
                    <a:cubicBezTo>
                      <a:pt x="653" y="462"/>
                      <a:pt x="653" y="462"/>
                      <a:pt x="653" y="462"/>
                    </a:cubicBezTo>
                    <a:cubicBezTo>
                      <a:pt x="653" y="465"/>
                      <a:pt x="653" y="465"/>
                      <a:pt x="653" y="465"/>
                    </a:cubicBezTo>
                    <a:cubicBezTo>
                      <a:pt x="653" y="465"/>
                      <a:pt x="653" y="465"/>
                      <a:pt x="653" y="465"/>
                    </a:cubicBezTo>
                    <a:cubicBezTo>
                      <a:pt x="654" y="464"/>
                      <a:pt x="654" y="464"/>
                      <a:pt x="654" y="464"/>
                    </a:cubicBezTo>
                    <a:cubicBezTo>
                      <a:pt x="654" y="462"/>
                      <a:pt x="654" y="462"/>
                      <a:pt x="654" y="462"/>
                    </a:cubicBezTo>
                    <a:cubicBezTo>
                      <a:pt x="655" y="462"/>
                      <a:pt x="655" y="462"/>
                      <a:pt x="655" y="462"/>
                    </a:cubicBezTo>
                    <a:cubicBezTo>
                      <a:pt x="656" y="463"/>
                      <a:pt x="656" y="463"/>
                      <a:pt x="656" y="463"/>
                    </a:cubicBezTo>
                    <a:cubicBezTo>
                      <a:pt x="656" y="465"/>
                      <a:pt x="656" y="465"/>
                      <a:pt x="656" y="465"/>
                    </a:cubicBezTo>
                    <a:cubicBezTo>
                      <a:pt x="657" y="466"/>
                      <a:pt x="657" y="466"/>
                      <a:pt x="657" y="466"/>
                    </a:cubicBezTo>
                    <a:cubicBezTo>
                      <a:pt x="656" y="466"/>
                      <a:pt x="656" y="466"/>
                      <a:pt x="656" y="466"/>
                    </a:cubicBezTo>
                    <a:cubicBezTo>
                      <a:pt x="655" y="467"/>
                      <a:pt x="655" y="467"/>
                      <a:pt x="655" y="467"/>
                    </a:cubicBezTo>
                    <a:cubicBezTo>
                      <a:pt x="655" y="468"/>
                      <a:pt x="655" y="468"/>
                      <a:pt x="655" y="468"/>
                    </a:cubicBezTo>
                    <a:cubicBezTo>
                      <a:pt x="658" y="468"/>
                      <a:pt x="658" y="468"/>
                      <a:pt x="658" y="468"/>
                    </a:cubicBezTo>
                    <a:cubicBezTo>
                      <a:pt x="658" y="467"/>
                      <a:pt x="658" y="467"/>
                      <a:pt x="658" y="467"/>
                    </a:cubicBezTo>
                    <a:cubicBezTo>
                      <a:pt x="658" y="468"/>
                      <a:pt x="658" y="468"/>
                      <a:pt x="658" y="468"/>
                    </a:cubicBezTo>
                    <a:cubicBezTo>
                      <a:pt x="659" y="467"/>
                      <a:pt x="659" y="467"/>
                      <a:pt x="659" y="467"/>
                    </a:cubicBezTo>
                    <a:cubicBezTo>
                      <a:pt x="659" y="466"/>
                      <a:pt x="659" y="466"/>
                      <a:pt x="659" y="466"/>
                    </a:cubicBezTo>
                    <a:cubicBezTo>
                      <a:pt x="660" y="466"/>
                      <a:pt x="660" y="466"/>
                      <a:pt x="660" y="466"/>
                    </a:cubicBezTo>
                    <a:cubicBezTo>
                      <a:pt x="661" y="468"/>
                      <a:pt x="661" y="468"/>
                      <a:pt x="661" y="468"/>
                    </a:cubicBezTo>
                    <a:cubicBezTo>
                      <a:pt x="661" y="469"/>
                      <a:pt x="661" y="469"/>
                      <a:pt x="661" y="469"/>
                    </a:cubicBezTo>
                    <a:cubicBezTo>
                      <a:pt x="660" y="470"/>
                      <a:pt x="660" y="470"/>
                      <a:pt x="660" y="470"/>
                    </a:cubicBezTo>
                    <a:cubicBezTo>
                      <a:pt x="659" y="472"/>
                      <a:pt x="659" y="472"/>
                      <a:pt x="659" y="472"/>
                    </a:cubicBezTo>
                    <a:cubicBezTo>
                      <a:pt x="659" y="472"/>
                      <a:pt x="659" y="472"/>
                      <a:pt x="659" y="472"/>
                    </a:cubicBezTo>
                    <a:cubicBezTo>
                      <a:pt x="660" y="473"/>
                      <a:pt x="660" y="473"/>
                      <a:pt x="660" y="473"/>
                    </a:cubicBezTo>
                    <a:cubicBezTo>
                      <a:pt x="662" y="473"/>
                      <a:pt x="662" y="473"/>
                      <a:pt x="662" y="473"/>
                    </a:cubicBezTo>
                    <a:cubicBezTo>
                      <a:pt x="663" y="472"/>
                      <a:pt x="663" y="472"/>
                      <a:pt x="663" y="472"/>
                    </a:cubicBezTo>
                    <a:cubicBezTo>
                      <a:pt x="664" y="473"/>
                      <a:pt x="664" y="473"/>
                      <a:pt x="664" y="473"/>
                    </a:cubicBezTo>
                    <a:cubicBezTo>
                      <a:pt x="663" y="474"/>
                      <a:pt x="663" y="474"/>
                      <a:pt x="663" y="474"/>
                    </a:cubicBezTo>
                    <a:cubicBezTo>
                      <a:pt x="662" y="475"/>
                      <a:pt x="662" y="475"/>
                      <a:pt x="662" y="475"/>
                    </a:cubicBezTo>
                    <a:cubicBezTo>
                      <a:pt x="660" y="475"/>
                      <a:pt x="660" y="475"/>
                      <a:pt x="660" y="475"/>
                    </a:cubicBezTo>
                    <a:cubicBezTo>
                      <a:pt x="661" y="476"/>
                      <a:pt x="661" y="476"/>
                      <a:pt x="661" y="476"/>
                    </a:cubicBezTo>
                    <a:cubicBezTo>
                      <a:pt x="662" y="479"/>
                      <a:pt x="662" y="479"/>
                      <a:pt x="662" y="479"/>
                    </a:cubicBezTo>
                    <a:cubicBezTo>
                      <a:pt x="662" y="480"/>
                      <a:pt x="662" y="480"/>
                      <a:pt x="662" y="480"/>
                    </a:cubicBezTo>
                    <a:cubicBezTo>
                      <a:pt x="663" y="480"/>
                      <a:pt x="663" y="480"/>
                      <a:pt x="663" y="480"/>
                    </a:cubicBezTo>
                    <a:cubicBezTo>
                      <a:pt x="663" y="483"/>
                      <a:pt x="663" y="483"/>
                      <a:pt x="663" y="483"/>
                    </a:cubicBezTo>
                    <a:cubicBezTo>
                      <a:pt x="665" y="486"/>
                      <a:pt x="665" y="486"/>
                      <a:pt x="665" y="486"/>
                    </a:cubicBezTo>
                    <a:cubicBezTo>
                      <a:pt x="666" y="487"/>
                      <a:pt x="666" y="487"/>
                      <a:pt x="666" y="487"/>
                    </a:cubicBezTo>
                    <a:cubicBezTo>
                      <a:pt x="665" y="487"/>
                      <a:pt x="665" y="487"/>
                      <a:pt x="665" y="487"/>
                    </a:cubicBezTo>
                    <a:cubicBezTo>
                      <a:pt x="664" y="490"/>
                      <a:pt x="664" y="490"/>
                      <a:pt x="664" y="490"/>
                    </a:cubicBezTo>
                    <a:cubicBezTo>
                      <a:pt x="663" y="492"/>
                      <a:pt x="663" y="492"/>
                      <a:pt x="663" y="492"/>
                    </a:cubicBezTo>
                    <a:cubicBezTo>
                      <a:pt x="664" y="494"/>
                      <a:pt x="664" y="494"/>
                      <a:pt x="664" y="494"/>
                    </a:cubicBezTo>
                    <a:cubicBezTo>
                      <a:pt x="663" y="495"/>
                      <a:pt x="663" y="495"/>
                      <a:pt x="663" y="495"/>
                    </a:cubicBezTo>
                    <a:cubicBezTo>
                      <a:pt x="661" y="492"/>
                      <a:pt x="661" y="492"/>
                      <a:pt x="661" y="492"/>
                    </a:cubicBezTo>
                    <a:cubicBezTo>
                      <a:pt x="660" y="490"/>
                      <a:pt x="660" y="490"/>
                      <a:pt x="660" y="490"/>
                    </a:cubicBezTo>
                    <a:cubicBezTo>
                      <a:pt x="661" y="488"/>
                      <a:pt x="661" y="488"/>
                      <a:pt x="661" y="488"/>
                    </a:cubicBezTo>
                    <a:cubicBezTo>
                      <a:pt x="660" y="485"/>
                      <a:pt x="660" y="485"/>
                      <a:pt x="660" y="485"/>
                    </a:cubicBezTo>
                    <a:cubicBezTo>
                      <a:pt x="660" y="487"/>
                      <a:pt x="660" y="487"/>
                      <a:pt x="660" y="487"/>
                    </a:cubicBezTo>
                    <a:cubicBezTo>
                      <a:pt x="659" y="490"/>
                      <a:pt x="659" y="490"/>
                      <a:pt x="659" y="490"/>
                    </a:cubicBezTo>
                    <a:cubicBezTo>
                      <a:pt x="661" y="493"/>
                      <a:pt x="661" y="493"/>
                      <a:pt x="661" y="493"/>
                    </a:cubicBezTo>
                    <a:cubicBezTo>
                      <a:pt x="660" y="497"/>
                      <a:pt x="660" y="497"/>
                      <a:pt x="660" y="497"/>
                    </a:cubicBezTo>
                    <a:cubicBezTo>
                      <a:pt x="660" y="498"/>
                      <a:pt x="660" y="498"/>
                      <a:pt x="660" y="498"/>
                    </a:cubicBezTo>
                    <a:cubicBezTo>
                      <a:pt x="661" y="500"/>
                      <a:pt x="661" y="500"/>
                      <a:pt x="661" y="500"/>
                    </a:cubicBezTo>
                    <a:cubicBezTo>
                      <a:pt x="660" y="501"/>
                      <a:pt x="660" y="501"/>
                      <a:pt x="660" y="501"/>
                    </a:cubicBezTo>
                    <a:cubicBezTo>
                      <a:pt x="659" y="500"/>
                      <a:pt x="659" y="500"/>
                      <a:pt x="659" y="500"/>
                    </a:cubicBezTo>
                    <a:cubicBezTo>
                      <a:pt x="658" y="499"/>
                      <a:pt x="658" y="499"/>
                      <a:pt x="658" y="499"/>
                    </a:cubicBezTo>
                    <a:cubicBezTo>
                      <a:pt x="656" y="499"/>
                      <a:pt x="656" y="499"/>
                      <a:pt x="656" y="499"/>
                    </a:cubicBezTo>
                    <a:cubicBezTo>
                      <a:pt x="657" y="502"/>
                      <a:pt x="657" y="502"/>
                      <a:pt x="657" y="502"/>
                    </a:cubicBezTo>
                    <a:cubicBezTo>
                      <a:pt x="657" y="505"/>
                      <a:pt x="657" y="505"/>
                      <a:pt x="657" y="505"/>
                    </a:cubicBezTo>
                    <a:cubicBezTo>
                      <a:pt x="658" y="505"/>
                      <a:pt x="658" y="505"/>
                      <a:pt x="658" y="505"/>
                    </a:cubicBezTo>
                    <a:cubicBezTo>
                      <a:pt x="658" y="507"/>
                      <a:pt x="658" y="507"/>
                      <a:pt x="658" y="507"/>
                    </a:cubicBezTo>
                    <a:cubicBezTo>
                      <a:pt x="656" y="506"/>
                      <a:pt x="656" y="506"/>
                      <a:pt x="656" y="506"/>
                    </a:cubicBezTo>
                    <a:cubicBezTo>
                      <a:pt x="655" y="505"/>
                      <a:pt x="655" y="505"/>
                      <a:pt x="655" y="505"/>
                    </a:cubicBezTo>
                    <a:cubicBezTo>
                      <a:pt x="654" y="502"/>
                      <a:pt x="654" y="502"/>
                      <a:pt x="654" y="502"/>
                    </a:cubicBezTo>
                    <a:cubicBezTo>
                      <a:pt x="655" y="501"/>
                      <a:pt x="655" y="501"/>
                      <a:pt x="655" y="501"/>
                    </a:cubicBezTo>
                    <a:cubicBezTo>
                      <a:pt x="655" y="499"/>
                      <a:pt x="655" y="499"/>
                      <a:pt x="655" y="499"/>
                    </a:cubicBezTo>
                    <a:cubicBezTo>
                      <a:pt x="654" y="500"/>
                      <a:pt x="654" y="500"/>
                      <a:pt x="654" y="500"/>
                    </a:cubicBezTo>
                    <a:cubicBezTo>
                      <a:pt x="653" y="501"/>
                      <a:pt x="653" y="501"/>
                      <a:pt x="653" y="501"/>
                    </a:cubicBezTo>
                    <a:cubicBezTo>
                      <a:pt x="652" y="499"/>
                      <a:pt x="652" y="499"/>
                      <a:pt x="652" y="499"/>
                    </a:cubicBezTo>
                    <a:cubicBezTo>
                      <a:pt x="652" y="497"/>
                      <a:pt x="652" y="497"/>
                      <a:pt x="652" y="497"/>
                    </a:cubicBezTo>
                    <a:cubicBezTo>
                      <a:pt x="651" y="497"/>
                      <a:pt x="651" y="497"/>
                      <a:pt x="651" y="497"/>
                    </a:cubicBezTo>
                    <a:cubicBezTo>
                      <a:pt x="651" y="499"/>
                      <a:pt x="651" y="499"/>
                      <a:pt x="651" y="499"/>
                    </a:cubicBezTo>
                    <a:cubicBezTo>
                      <a:pt x="650" y="498"/>
                      <a:pt x="650" y="498"/>
                      <a:pt x="650" y="498"/>
                    </a:cubicBezTo>
                    <a:cubicBezTo>
                      <a:pt x="650" y="497"/>
                      <a:pt x="650" y="497"/>
                      <a:pt x="650" y="497"/>
                    </a:cubicBezTo>
                    <a:cubicBezTo>
                      <a:pt x="650" y="495"/>
                      <a:pt x="650" y="495"/>
                      <a:pt x="650" y="495"/>
                    </a:cubicBezTo>
                    <a:cubicBezTo>
                      <a:pt x="649" y="495"/>
                      <a:pt x="649" y="495"/>
                      <a:pt x="649" y="495"/>
                    </a:cubicBezTo>
                    <a:cubicBezTo>
                      <a:pt x="649" y="496"/>
                      <a:pt x="649" y="496"/>
                      <a:pt x="649" y="496"/>
                    </a:cubicBezTo>
                    <a:cubicBezTo>
                      <a:pt x="649" y="496"/>
                      <a:pt x="649" y="496"/>
                      <a:pt x="649" y="496"/>
                    </a:cubicBezTo>
                    <a:cubicBezTo>
                      <a:pt x="649" y="498"/>
                      <a:pt x="649" y="498"/>
                      <a:pt x="649" y="498"/>
                    </a:cubicBezTo>
                    <a:cubicBezTo>
                      <a:pt x="648" y="497"/>
                      <a:pt x="648" y="497"/>
                      <a:pt x="648" y="497"/>
                    </a:cubicBezTo>
                    <a:cubicBezTo>
                      <a:pt x="647" y="496"/>
                      <a:pt x="647" y="496"/>
                      <a:pt x="647" y="496"/>
                    </a:cubicBezTo>
                    <a:cubicBezTo>
                      <a:pt x="646" y="495"/>
                      <a:pt x="646" y="495"/>
                      <a:pt x="646" y="495"/>
                    </a:cubicBezTo>
                    <a:cubicBezTo>
                      <a:pt x="647" y="493"/>
                      <a:pt x="647" y="493"/>
                      <a:pt x="647" y="493"/>
                    </a:cubicBezTo>
                    <a:cubicBezTo>
                      <a:pt x="646" y="490"/>
                      <a:pt x="646" y="490"/>
                      <a:pt x="646" y="490"/>
                    </a:cubicBezTo>
                    <a:cubicBezTo>
                      <a:pt x="646" y="489"/>
                      <a:pt x="646" y="489"/>
                      <a:pt x="646" y="489"/>
                    </a:cubicBezTo>
                    <a:cubicBezTo>
                      <a:pt x="645" y="491"/>
                      <a:pt x="645" y="491"/>
                      <a:pt x="645" y="491"/>
                    </a:cubicBezTo>
                    <a:cubicBezTo>
                      <a:pt x="645" y="494"/>
                      <a:pt x="645" y="494"/>
                      <a:pt x="645" y="494"/>
                    </a:cubicBezTo>
                    <a:cubicBezTo>
                      <a:pt x="646" y="495"/>
                      <a:pt x="646" y="495"/>
                      <a:pt x="646" y="495"/>
                    </a:cubicBezTo>
                    <a:cubicBezTo>
                      <a:pt x="645" y="497"/>
                      <a:pt x="645" y="497"/>
                      <a:pt x="645" y="497"/>
                    </a:cubicBezTo>
                    <a:cubicBezTo>
                      <a:pt x="643" y="493"/>
                      <a:pt x="643" y="493"/>
                      <a:pt x="643" y="493"/>
                    </a:cubicBezTo>
                    <a:cubicBezTo>
                      <a:pt x="642" y="492"/>
                      <a:pt x="642" y="492"/>
                      <a:pt x="642" y="492"/>
                    </a:cubicBezTo>
                    <a:cubicBezTo>
                      <a:pt x="642" y="491"/>
                      <a:pt x="642" y="491"/>
                      <a:pt x="642" y="491"/>
                    </a:cubicBezTo>
                    <a:cubicBezTo>
                      <a:pt x="641" y="491"/>
                      <a:pt x="641" y="491"/>
                      <a:pt x="641" y="491"/>
                    </a:cubicBezTo>
                    <a:cubicBezTo>
                      <a:pt x="640" y="488"/>
                      <a:pt x="640" y="488"/>
                      <a:pt x="640" y="488"/>
                    </a:cubicBezTo>
                    <a:cubicBezTo>
                      <a:pt x="639" y="487"/>
                      <a:pt x="639" y="487"/>
                      <a:pt x="639" y="487"/>
                    </a:cubicBezTo>
                    <a:cubicBezTo>
                      <a:pt x="639" y="486"/>
                      <a:pt x="639" y="486"/>
                      <a:pt x="639" y="486"/>
                    </a:cubicBezTo>
                    <a:cubicBezTo>
                      <a:pt x="638" y="485"/>
                      <a:pt x="638" y="485"/>
                      <a:pt x="638" y="485"/>
                    </a:cubicBezTo>
                    <a:cubicBezTo>
                      <a:pt x="637" y="485"/>
                      <a:pt x="637" y="485"/>
                      <a:pt x="637" y="485"/>
                    </a:cubicBezTo>
                    <a:cubicBezTo>
                      <a:pt x="637" y="486"/>
                      <a:pt x="637" y="486"/>
                      <a:pt x="637" y="486"/>
                    </a:cubicBezTo>
                    <a:cubicBezTo>
                      <a:pt x="638" y="488"/>
                      <a:pt x="638" y="488"/>
                      <a:pt x="638" y="488"/>
                    </a:cubicBezTo>
                    <a:cubicBezTo>
                      <a:pt x="638" y="490"/>
                      <a:pt x="638" y="490"/>
                      <a:pt x="638" y="490"/>
                    </a:cubicBezTo>
                    <a:cubicBezTo>
                      <a:pt x="637" y="489"/>
                      <a:pt x="637" y="489"/>
                      <a:pt x="637" y="489"/>
                    </a:cubicBezTo>
                    <a:cubicBezTo>
                      <a:pt x="637" y="488"/>
                      <a:pt x="637" y="488"/>
                      <a:pt x="637" y="488"/>
                    </a:cubicBezTo>
                    <a:cubicBezTo>
                      <a:pt x="636" y="487"/>
                      <a:pt x="636" y="487"/>
                      <a:pt x="636" y="487"/>
                    </a:cubicBezTo>
                    <a:cubicBezTo>
                      <a:pt x="634" y="486"/>
                      <a:pt x="634" y="486"/>
                      <a:pt x="634" y="486"/>
                    </a:cubicBezTo>
                    <a:cubicBezTo>
                      <a:pt x="633" y="483"/>
                      <a:pt x="633" y="483"/>
                      <a:pt x="633" y="483"/>
                    </a:cubicBezTo>
                    <a:cubicBezTo>
                      <a:pt x="633" y="481"/>
                      <a:pt x="633" y="481"/>
                      <a:pt x="633" y="481"/>
                    </a:cubicBezTo>
                    <a:cubicBezTo>
                      <a:pt x="631" y="481"/>
                      <a:pt x="631" y="481"/>
                      <a:pt x="631" y="481"/>
                    </a:cubicBezTo>
                    <a:cubicBezTo>
                      <a:pt x="630" y="482"/>
                      <a:pt x="630" y="482"/>
                      <a:pt x="630" y="482"/>
                    </a:cubicBezTo>
                    <a:cubicBezTo>
                      <a:pt x="629" y="482"/>
                      <a:pt x="629" y="482"/>
                      <a:pt x="629" y="482"/>
                    </a:cubicBezTo>
                    <a:cubicBezTo>
                      <a:pt x="628" y="483"/>
                      <a:pt x="628" y="483"/>
                      <a:pt x="628" y="483"/>
                    </a:cubicBezTo>
                    <a:cubicBezTo>
                      <a:pt x="629" y="486"/>
                      <a:pt x="629" y="486"/>
                      <a:pt x="629" y="486"/>
                    </a:cubicBezTo>
                    <a:cubicBezTo>
                      <a:pt x="632" y="488"/>
                      <a:pt x="632" y="488"/>
                      <a:pt x="632" y="488"/>
                    </a:cubicBezTo>
                    <a:cubicBezTo>
                      <a:pt x="632" y="489"/>
                      <a:pt x="632" y="489"/>
                      <a:pt x="632" y="489"/>
                    </a:cubicBezTo>
                    <a:cubicBezTo>
                      <a:pt x="632" y="490"/>
                      <a:pt x="632" y="490"/>
                      <a:pt x="632" y="490"/>
                    </a:cubicBezTo>
                    <a:cubicBezTo>
                      <a:pt x="632" y="493"/>
                      <a:pt x="632" y="493"/>
                      <a:pt x="632" y="493"/>
                    </a:cubicBezTo>
                    <a:cubicBezTo>
                      <a:pt x="633" y="492"/>
                      <a:pt x="633" y="492"/>
                      <a:pt x="633" y="492"/>
                    </a:cubicBezTo>
                    <a:cubicBezTo>
                      <a:pt x="635" y="493"/>
                      <a:pt x="635" y="493"/>
                      <a:pt x="635" y="493"/>
                    </a:cubicBezTo>
                    <a:cubicBezTo>
                      <a:pt x="636" y="494"/>
                      <a:pt x="636" y="494"/>
                      <a:pt x="636" y="494"/>
                    </a:cubicBezTo>
                    <a:cubicBezTo>
                      <a:pt x="636" y="496"/>
                      <a:pt x="636" y="496"/>
                      <a:pt x="636" y="496"/>
                    </a:cubicBezTo>
                    <a:cubicBezTo>
                      <a:pt x="637" y="495"/>
                      <a:pt x="637" y="495"/>
                      <a:pt x="637" y="495"/>
                    </a:cubicBezTo>
                    <a:cubicBezTo>
                      <a:pt x="638" y="496"/>
                      <a:pt x="638" y="496"/>
                      <a:pt x="638" y="496"/>
                    </a:cubicBezTo>
                    <a:cubicBezTo>
                      <a:pt x="637" y="497"/>
                      <a:pt x="637" y="497"/>
                      <a:pt x="637" y="497"/>
                    </a:cubicBezTo>
                    <a:cubicBezTo>
                      <a:pt x="639" y="497"/>
                      <a:pt x="639" y="497"/>
                      <a:pt x="639" y="497"/>
                    </a:cubicBezTo>
                    <a:cubicBezTo>
                      <a:pt x="639" y="498"/>
                      <a:pt x="639" y="498"/>
                      <a:pt x="639" y="498"/>
                    </a:cubicBezTo>
                    <a:cubicBezTo>
                      <a:pt x="640" y="500"/>
                      <a:pt x="640" y="500"/>
                      <a:pt x="640" y="500"/>
                    </a:cubicBezTo>
                    <a:cubicBezTo>
                      <a:pt x="640" y="502"/>
                      <a:pt x="640" y="502"/>
                      <a:pt x="640" y="502"/>
                    </a:cubicBezTo>
                    <a:cubicBezTo>
                      <a:pt x="641" y="502"/>
                      <a:pt x="641" y="502"/>
                      <a:pt x="641" y="502"/>
                    </a:cubicBezTo>
                    <a:cubicBezTo>
                      <a:pt x="642" y="502"/>
                      <a:pt x="642" y="502"/>
                      <a:pt x="642" y="502"/>
                    </a:cubicBezTo>
                    <a:cubicBezTo>
                      <a:pt x="643" y="504"/>
                      <a:pt x="643" y="504"/>
                      <a:pt x="643" y="504"/>
                    </a:cubicBezTo>
                    <a:cubicBezTo>
                      <a:pt x="641" y="506"/>
                      <a:pt x="641" y="506"/>
                      <a:pt x="641" y="506"/>
                    </a:cubicBezTo>
                    <a:cubicBezTo>
                      <a:pt x="642" y="506"/>
                      <a:pt x="642" y="506"/>
                      <a:pt x="642" y="506"/>
                    </a:cubicBezTo>
                    <a:cubicBezTo>
                      <a:pt x="643" y="507"/>
                      <a:pt x="643" y="507"/>
                      <a:pt x="643" y="507"/>
                    </a:cubicBezTo>
                    <a:cubicBezTo>
                      <a:pt x="643" y="508"/>
                      <a:pt x="643" y="508"/>
                      <a:pt x="643" y="508"/>
                    </a:cubicBezTo>
                    <a:cubicBezTo>
                      <a:pt x="644" y="507"/>
                      <a:pt x="644" y="507"/>
                      <a:pt x="644" y="507"/>
                    </a:cubicBezTo>
                    <a:cubicBezTo>
                      <a:pt x="645" y="507"/>
                      <a:pt x="645" y="507"/>
                      <a:pt x="645" y="507"/>
                    </a:cubicBezTo>
                    <a:cubicBezTo>
                      <a:pt x="645" y="509"/>
                      <a:pt x="645" y="509"/>
                      <a:pt x="645" y="509"/>
                    </a:cubicBezTo>
                    <a:cubicBezTo>
                      <a:pt x="645" y="510"/>
                      <a:pt x="645" y="510"/>
                      <a:pt x="645" y="510"/>
                    </a:cubicBezTo>
                    <a:cubicBezTo>
                      <a:pt x="646" y="510"/>
                      <a:pt x="646" y="510"/>
                      <a:pt x="646" y="510"/>
                    </a:cubicBezTo>
                    <a:cubicBezTo>
                      <a:pt x="647" y="511"/>
                      <a:pt x="647" y="511"/>
                      <a:pt x="647" y="511"/>
                    </a:cubicBezTo>
                    <a:cubicBezTo>
                      <a:pt x="646" y="512"/>
                      <a:pt x="646" y="512"/>
                      <a:pt x="646" y="512"/>
                    </a:cubicBezTo>
                    <a:cubicBezTo>
                      <a:pt x="645" y="512"/>
                      <a:pt x="645" y="512"/>
                      <a:pt x="645" y="512"/>
                    </a:cubicBezTo>
                    <a:cubicBezTo>
                      <a:pt x="644" y="512"/>
                      <a:pt x="644" y="512"/>
                      <a:pt x="644" y="512"/>
                    </a:cubicBezTo>
                    <a:cubicBezTo>
                      <a:pt x="645" y="514"/>
                      <a:pt x="645" y="514"/>
                      <a:pt x="645" y="514"/>
                    </a:cubicBezTo>
                    <a:cubicBezTo>
                      <a:pt x="646" y="515"/>
                      <a:pt x="646" y="515"/>
                      <a:pt x="646" y="515"/>
                    </a:cubicBezTo>
                    <a:cubicBezTo>
                      <a:pt x="646" y="516"/>
                      <a:pt x="646" y="516"/>
                      <a:pt x="646" y="516"/>
                    </a:cubicBezTo>
                    <a:cubicBezTo>
                      <a:pt x="645" y="517"/>
                      <a:pt x="645" y="517"/>
                      <a:pt x="645" y="517"/>
                    </a:cubicBezTo>
                    <a:close/>
                    <a:moveTo>
                      <a:pt x="483" y="468"/>
                    </a:moveTo>
                    <a:cubicBezTo>
                      <a:pt x="483" y="468"/>
                      <a:pt x="484" y="468"/>
                      <a:pt x="484" y="468"/>
                    </a:cubicBezTo>
                    <a:cubicBezTo>
                      <a:pt x="485" y="466"/>
                      <a:pt x="485" y="466"/>
                      <a:pt x="485" y="466"/>
                    </a:cubicBezTo>
                    <a:cubicBezTo>
                      <a:pt x="486" y="466"/>
                      <a:pt x="486" y="466"/>
                      <a:pt x="486" y="466"/>
                    </a:cubicBezTo>
                    <a:cubicBezTo>
                      <a:pt x="486" y="466"/>
                      <a:pt x="486" y="466"/>
                      <a:pt x="486" y="466"/>
                    </a:cubicBezTo>
                    <a:cubicBezTo>
                      <a:pt x="487" y="467"/>
                      <a:pt x="487" y="467"/>
                      <a:pt x="487" y="467"/>
                    </a:cubicBezTo>
                    <a:cubicBezTo>
                      <a:pt x="489" y="467"/>
                      <a:pt x="489" y="467"/>
                      <a:pt x="489" y="467"/>
                    </a:cubicBezTo>
                    <a:cubicBezTo>
                      <a:pt x="490" y="466"/>
                      <a:pt x="490" y="466"/>
                      <a:pt x="490" y="466"/>
                    </a:cubicBezTo>
                    <a:cubicBezTo>
                      <a:pt x="491" y="466"/>
                      <a:pt x="491" y="466"/>
                      <a:pt x="491" y="466"/>
                    </a:cubicBezTo>
                    <a:cubicBezTo>
                      <a:pt x="492" y="467"/>
                      <a:pt x="492" y="467"/>
                      <a:pt x="492" y="467"/>
                    </a:cubicBezTo>
                    <a:cubicBezTo>
                      <a:pt x="492" y="468"/>
                      <a:pt x="492" y="468"/>
                      <a:pt x="492" y="468"/>
                    </a:cubicBezTo>
                    <a:cubicBezTo>
                      <a:pt x="490" y="470"/>
                      <a:pt x="490" y="470"/>
                      <a:pt x="490" y="470"/>
                    </a:cubicBezTo>
                    <a:cubicBezTo>
                      <a:pt x="491" y="472"/>
                      <a:pt x="491" y="472"/>
                      <a:pt x="491" y="472"/>
                    </a:cubicBezTo>
                    <a:cubicBezTo>
                      <a:pt x="490" y="473"/>
                      <a:pt x="490" y="473"/>
                      <a:pt x="490" y="473"/>
                    </a:cubicBezTo>
                    <a:cubicBezTo>
                      <a:pt x="490" y="476"/>
                      <a:pt x="490" y="476"/>
                      <a:pt x="490" y="476"/>
                    </a:cubicBezTo>
                    <a:cubicBezTo>
                      <a:pt x="490" y="477"/>
                      <a:pt x="490" y="477"/>
                      <a:pt x="490" y="477"/>
                    </a:cubicBezTo>
                    <a:cubicBezTo>
                      <a:pt x="491" y="476"/>
                      <a:pt x="491" y="476"/>
                      <a:pt x="491" y="476"/>
                    </a:cubicBezTo>
                    <a:cubicBezTo>
                      <a:pt x="492" y="477"/>
                      <a:pt x="492" y="477"/>
                      <a:pt x="492" y="477"/>
                    </a:cubicBezTo>
                    <a:cubicBezTo>
                      <a:pt x="493" y="477"/>
                      <a:pt x="493" y="477"/>
                      <a:pt x="493" y="477"/>
                    </a:cubicBezTo>
                    <a:cubicBezTo>
                      <a:pt x="494" y="476"/>
                      <a:pt x="494" y="476"/>
                      <a:pt x="494" y="476"/>
                    </a:cubicBezTo>
                    <a:cubicBezTo>
                      <a:pt x="496" y="476"/>
                      <a:pt x="496" y="476"/>
                      <a:pt x="496" y="476"/>
                    </a:cubicBezTo>
                    <a:cubicBezTo>
                      <a:pt x="496" y="475"/>
                      <a:pt x="496" y="475"/>
                      <a:pt x="496" y="475"/>
                    </a:cubicBezTo>
                    <a:cubicBezTo>
                      <a:pt x="498" y="475"/>
                      <a:pt x="498" y="475"/>
                      <a:pt x="498" y="475"/>
                    </a:cubicBezTo>
                    <a:cubicBezTo>
                      <a:pt x="499" y="475"/>
                      <a:pt x="499" y="475"/>
                      <a:pt x="499" y="475"/>
                    </a:cubicBezTo>
                    <a:cubicBezTo>
                      <a:pt x="501" y="473"/>
                      <a:pt x="501" y="473"/>
                      <a:pt x="501" y="473"/>
                    </a:cubicBezTo>
                    <a:cubicBezTo>
                      <a:pt x="501" y="471"/>
                      <a:pt x="501" y="471"/>
                      <a:pt x="501" y="471"/>
                    </a:cubicBezTo>
                    <a:cubicBezTo>
                      <a:pt x="502" y="470"/>
                      <a:pt x="502" y="470"/>
                      <a:pt x="502" y="470"/>
                    </a:cubicBezTo>
                    <a:cubicBezTo>
                      <a:pt x="503" y="468"/>
                      <a:pt x="503" y="468"/>
                      <a:pt x="503" y="468"/>
                    </a:cubicBezTo>
                    <a:cubicBezTo>
                      <a:pt x="504" y="468"/>
                      <a:pt x="504" y="468"/>
                      <a:pt x="504" y="468"/>
                    </a:cubicBezTo>
                    <a:cubicBezTo>
                      <a:pt x="505" y="469"/>
                      <a:pt x="505" y="469"/>
                      <a:pt x="505" y="469"/>
                    </a:cubicBezTo>
                    <a:cubicBezTo>
                      <a:pt x="506" y="468"/>
                      <a:pt x="506" y="468"/>
                      <a:pt x="506" y="468"/>
                    </a:cubicBezTo>
                    <a:cubicBezTo>
                      <a:pt x="507" y="468"/>
                      <a:pt x="507" y="468"/>
                      <a:pt x="507" y="468"/>
                    </a:cubicBezTo>
                    <a:cubicBezTo>
                      <a:pt x="509" y="468"/>
                      <a:pt x="509" y="468"/>
                      <a:pt x="509" y="468"/>
                    </a:cubicBezTo>
                    <a:cubicBezTo>
                      <a:pt x="509" y="465"/>
                      <a:pt x="509" y="465"/>
                      <a:pt x="509" y="465"/>
                    </a:cubicBezTo>
                    <a:cubicBezTo>
                      <a:pt x="509" y="463"/>
                      <a:pt x="509" y="463"/>
                      <a:pt x="509" y="463"/>
                    </a:cubicBezTo>
                    <a:cubicBezTo>
                      <a:pt x="511" y="462"/>
                      <a:pt x="511" y="462"/>
                      <a:pt x="511" y="462"/>
                    </a:cubicBezTo>
                    <a:cubicBezTo>
                      <a:pt x="511" y="460"/>
                      <a:pt x="511" y="460"/>
                      <a:pt x="511" y="460"/>
                    </a:cubicBezTo>
                    <a:cubicBezTo>
                      <a:pt x="513" y="460"/>
                      <a:pt x="513" y="460"/>
                      <a:pt x="513" y="460"/>
                    </a:cubicBezTo>
                    <a:cubicBezTo>
                      <a:pt x="513" y="461"/>
                      <a:pt x="513" y="461"/>
                      <a:pt x="513" y="461"/>
                    </a:cubicBezTo>
                    <a:cubicBezTo>
                      <a:pt x="514" y="460"/>
                      <a:pt x="514" y="460"/>
                      <a:pt x="514" y="460"/>
                    </a:cubicBezTo>
                    <a:cubicBezTo>
                      <a:pt x="515" y="460"/>
                      <a:pt x="515" y="460"/>
                      <a:pt x="515" y="460"/>
                    </a:cubicBezTo>
                    <a:cubicBezTo>
                      <a:pt x="516" y="460"/>
                      <a:pt x="516" y="460"/>
                      <a:pt x="516" y="460"/>
                    </a:cubicBezTo>
                    <a:cubicBezTo>
                      <a:pt x="517" y="462"/>
                      <a:pt x="517" y="462"/>
                      <a:pt x="517" y="462"/>
                    </a:cubicBezTo>
                    <a:cubicBezTo>
                      <a:pt x="515" y="463"/>
                      <a:pt x="515" y="463"/>
                      <a:pt x="515" y="463"/>
                    </a:cubicBezTo>
                    <a:cubicBezTo>
                      <a:pt x="515" y="464"/>
                      <a:pt x="515" y="464"/>
                      <a:pt x="515" y="464"/>
                    </a:cubicBezTo>
                    <a:cubicBezTo>
                      <a:pt x="516" y="465"/>
                      <a:pt x="516" y="465"/>
                      <a:pt x="516" y="465"/>
                    </a:cubicBezTo>
                    <a:cubicBezTo>
                      <a:pt x="519" y="465"/>
                      <a:pt x="519" y="465"/>
                      <a:pt x="519" y="465"/>
                    </a:cubicBezTo>
                    <a:cubicBezTo>
                      <a:pt x="520" y="465"/>
                      <a:pt x="520" y="465"/>
                      <a:pt x="520" y="465"/>
                    </a:cubicBezTo>
                    <a:cubicBezTo>
                      <a:pt x="521" y="467"/>
                      <a:pt x="521" y="467"/>
                      <a:pt x="521" y="467"/>
                    </a:cubicBezTo>
                    <a:cubicBezTo>
                      <a:pt x="519" y="469"/>
                      <a:pt x="519" y="469"/>
                      <a:pt x="519" y="469"/>
                    </a:cubicBezTo>
                    <a:cubicBezTo>
                      <a:pt x="518" y="469"/>
                      <a:pt x="518" y="469"/>
                      <a:pt x="518" y="469"/>
                    </a:cubicBezTo>
                    <a:cubicBezTo>
                      <a:pt x="518" y="471"/>
                      <a:pt x="518" y="471"/>
                      <a:pt x="518" y="471"/>
                    </a:cubicBezTo>
                    <a:cubicBezTo>
                      <a:pt x="519" y="472"/>
                      <a:pt x="519" y="472"/>
                      <a:pt x="519" y="472"/>
                    </a:cubicBezTo>
                    <a:cubicBezTo>
                      <a:pt x="520" y="471"/>
                      <a:pt x="520" y="471"/>
                      <a:pt x="520" y="471"/>
                    </a:cubicBezTo>
                    <a:cubicBezTo>
                      <a:pt x="521" y="471"/>
                      <a:pt x="521" y="471"/>
                      <a:pt x="521" y="471"/>
                    </a:cubicBezTo>
                    <a:cubicBezTo>
                      <a:pt x="522" y="472"/>
                      <a:pt x="522" y="472"/>
                      <a:pt x="522" y="472"/>
                    </a:cubicBezTo>
                    <a:cubicBezTo>
                      <a:pt x="523" y="472"/>
                      <a:pt x="523" y="472"/>
                      <a:pt x="523" y="472"/>
                    </a:cubicBezTo>
                    <a:cubicBezTo>
                      <a:pt x="524" y="473"/>
                      <a:pt x="524" y="473"/>
                      <a:pt x="524" y="473"/>
                    </a:cubicBezTo>
                    <a:cubicBezTo>
                      <a:pt x="525" y="473"/>
                      <a:pt x="525" y="473"/>
                      <a:pt x="525" y="473"/>
                    </a:cubicBezTo>
                    <a:cubicBezTo>
                      <a:pt x="526" y="474"/>
                      <a:pt x="526" y="474"/>
                      <a:pt x="526" y="474"/>
                    </a:cubicBezTo>
                    <a:cubicBezTo>
                      <a:pt x="527" y="474"/>
                      <a:pt x="527" y="474"/>
                      <a:pt x="527" y="474"/>
                    </a:cubicBezTo>
                    <a:cubicBezTo>
                      <a:pt x="530" y="475"/>
                      <a:pt x="530" y="475"/>
                      <a:pt x="530" y="475"/>
                    </a:cubicBezTo>
                    <a:cubicBezTo>
                      <a:pt x="531" y="475"/>
                      <a:pt x="531" y="475"/>
                      <a:pt x="531" y="475"/>
                    </a:cubicBezTo>
                    <a:cubicBezTo>
                      <a:pt x="532" y="473"/>
                      <a:pt x="532" y="473"/>
                      <a:pt x="532" y="473"/>
                    </a:cubicBezTo>
                    <a:cubicBezTo>
                      <a:pt x="533" y="472"/>
                      <a:pt x="533" y="472"/>
                      <a:pt x="533" y="472"/>
                    </a:cubicBezTo>
                    <a:cubicBezTo>
                      <a:pt x="534" y="471"/>
                      <a:pt x="534" y="471"/>
                      <a:pt x="534" y="471"/>
                    </a:cubicBezTo>
                    <a:cubicBezTo>
                      <a:pt x="536" y="471"/>
                      <a:pt x="536" y="471"/>
                      <a:pt x="536" y="471"/>
                    </a:cubicBezTo>
                    <a:cubicBezTo>
                      <a:pt x="536" y="470"/>
                      <a:pt x="536" y="470"/>
                      <a:pt x="536" y="470"/>
                    </a:cubicBezTo>
                    <a:cubicBezTo>
                      <a:pt x="535" y="469"/>
                      <a:pt x="535" y="469"/>
                      <a:pt x="535" y="469"/>
                    </a:cubicBezTo>
                    <a:cubicBezTo>
                      <a:pt x="534" y="468"/>
                      <a:pt x="534" y="468"/>
                      <a:pt x="534" y="468"/>
                    </a:cubicBezTo>
                    <a:cubicBezTo>
                      <a:pt x="535" y="467"/>
                      <a:pt x="535" y="467"/>
                      <a:pt x="535" y="467"/>
                    </a:cubicBezTo>
                    <a:cubicBezTo>
                      <a:pt x="536" y="466"/>
                      <a:pt x="536" y="466"/>
                      <a:pt x="536" y="466"/>
                    </a:cubicBezTo>
                    <a:cubicBezTo>
                      <a:pt x="535" y="466"/>
                      <a:pt x="535" y="466"/>
                      <a:pt x="535" y="466"/>
                    </a:cubicBezTo>
                    <a:cubicBezTo>
                      <a:pt x="534" y="464"/>
                      <a:pt x="534" y="464"/>
                      <a:pt x="534" y="464"/>
                    </a:cubicBezTo>
                    <a:cubicBezTo>
                      <a:pt x="533" y="465"/>
                      <a:pt x="533" y="465"/>
                      <a:pt x="533" y="465"/>
                    </a:cubicBezTo>
                    <a:cubicBezTo>
                      <a:pt x="533" y="466"/>
                      <a:pt x="533" y="466"/>
                      <a:pt x="533" y="466"/>
                    </a:cubicBezTo>
                    <a:cubicBezTo>
                      <a:pt x="533" y="466"/>
                      <a:pt x="533" y="466"/>
                      <a:pt x="533" y="466"/>
                    </a:cubicBezTo>
                    <a:cubicBezTo>
                      <a:pt x="532" y="466"/>
                      <a:pt x="532" y="466"/>
                      <a:pt x="532" y="466"/>
                    </a:cubicBezTo>
                    <a:cubicBezTo>
                      <a:pt x="530" y="465"/>
                      <a:pt x="530" y="465"/>
                      <a:pt x="530" y="465"/>
                    </a:cubicBezTo>
                    <a:cubicBezTo>
                      <a:pt x="530" y="464"/>
                      <a:pt x="530" y="464"/>
                      <a:pt x="530" y="464"/>
                    </a:cubicBezTo>
                    <a:cubicBezTo>
                      <a:pt x="529" y="464"/>
                      <a:pt x="529" y="464"/>
                      <a:pt x="529" y="464"/>
                    </a:cubicBezTo>
                    <a:cubicBezTo>
                      <a:pt x="528" y="465"/>
                      <a:pt x="528" y="465"/>
                      <a:pt x="528" y="465"/>
                    </a:cubicBezTo>
                    <a:cubicBezTo>
                      <a:pt x="525" y="465"/>
                      <a:pt x="525" y="465"/>
                      <a:pt x="525" y="465"/>
                    </a:cubicBezTo>
                    <a:cubicBezTo>
                      <a:pt x="524" y="464"/>
                      <a:pt x="524" y="464"/>
                      <a:pt x="524" y="464"/>
                    </a:cubicBezTo>
                    <a:cubicBezTo>
                      <a:pt x="526" y="463"/>
                      <a:pt x="526" y="463"/>
                      <a:pt x="526" y="463"/>
                    </a:cubicBezTo>
                    <a:cubicBezTo>
                      <a:pt x="527" y="463"/>
                      <a:pt x="527" y="463"/>
                      <a:pt x="527" y="463"/>
                    </a:cubicBezTo>
                    <a:cubicBezTo>
                      <a:pt x="528" y="462"/>
                      <a:pt x="528" y="462"/>
                      <a:pt x="528" y="462"/>
                    </a:cubicBezTo>
                    <a:cubicBezTo>
                      <a:pt x="528" y="461"/>
                      <a:pt x="528" y="461"/>
                      <a:pt x="528" y="461"/>
                    </a:cubicBezTo>
                    <a:cubicBezTo>
                      <a:pt x="528" y="460"/>
                      <a:pt x="528" y="460"/>
                      <a:pt x="528" y="460"/>
                    </a:cubicBezTo>
                    <a:cubicBezTo>
                      <a:pt x="528" y="458"/>
                      <a:pt x="528" y="458"/>
                      <a:pt x="528" y="458"/>
                    </a:cubicBezTo>
                    <a:cubicBezTo>
                      <a:pt x="528" y="457"/>
                      <a:pt x="528" y="457"/>
                      <a:pt x="528" y="457"/>
                    </a:cubicBezTo>
                    <a:cubicBezTo>
                      <a:pt x="528" y="456"/>
                      <a:pt x="528" y="456"/>
                      <a:pt x="528" y="456"/>
                    </a:cubicBezTo>
                    <a:cubicBezTo>
                      <a:pt x="527" y="455"/>
                      <a:pt x="527" y="455"/>
                      <a:pt x="527" y="455"/>
                    </a:cubicBezTo>
                    <a:cubicBezTo>
                      <a:pt x="527" y="454"/>
                      <a:pt x="527" y="454"/>
                      <a:pt x="527" y="454"/>
                    </a:cubicBezTo>
                    <a:cubicBezTo>
                      <a:pt x="525" y="451"/>
                      <a:pt x="525" y="451"/>
                      <a:pt x="525" y="451"/>
                    </a:cubicBezTo>
                    <a:cubicBezTo>
                      <a:pt x="522" y="450"/>
                      <a:pt x="522" y="450"/>
                      <a:pt x="522" y="450"/>
                    </a:cubicBezTo>
                    <a:cubicBezTo>
                      <a:pt x="522" y="449"/>
                      <a:pt x="522" y="449"/>
                      <a:pt x="522" y="449"/>
                    </a:cubicBezTo>
                    <a:cubicBezTo>
                      <a:pt x="521" y="447"/>
                      <a:pt x="521" y="447"/>
                      <a:pt x="521" y="447"/>
                    </a:cubicBezTo>
                    <a:cubicBezTo>
                      <a:pt x="520" y="447"/>
                      <a:pt x="520" y="447"/>
                      <a:pt x="520" y="447"/>
                    </a:cubicBezTo>
                    <a:cubicBezTo>
                      <a:pt x="520" y="445"/>
                      <a:pt x="520" y="445"/>
                      <a:pt x="520" y="445"/>
                    </a:cubicBezTo>
                    <a:cubicBezTo>
                      <a:pt x="520" y="443"/>
                      <a:pt x="520" y="443"/>
                      <a:pt x="520" y="443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17" y="442"/>
                      <a:pt x="517" y="442"/>
                      <a:pt x="517" y="442"/>
                    </a:cubicBezTo>
                    <a:cubicBezTo>
                      <a:pt x="514" y="440"/>
                      <a:pt x="514" y="440"/>
                      <a:pt x="514" y="440"/>
                    </a:cubicBezTo>
                    <a:cubicBezTo>
                      <a:pt x="513" y="439"/>
                      <a:pt x="513" y="439"/>
                      <a:pt x="513" y="439"/>
                    </a:cubicBezTo>
                    <a:cubicBezTo>
                      <a:pt x="514" y="438"/>
                      <a:pt x="514" y="438"/>
                      <a:pt x="514" y="438"/>
                    </a:cubicBezTo>
                    <a:cubicBezTo>
                      <a:pt x="514" y="437"/>
                      <a:pt x="514" y="437"/>
                      <a:pt x="514" y="437"/>
                    </a:cubicBezTo>
                    <a:cubicBezTo>
                      <a:pt x="512" y="435"/>
                      <a:pt x="512" y="435"/>
                      <a:pt x="512" y="435"/>
                    </a:cubicBezTo>
                    <a:cubicBezTo>
                      <a:pt x="512" y="434"/>
                      <a:pt x="512" y="434"/>
                      <a:pt x="512" y="434"/>
                    </a:cubicBezTo>
                    <a:cubicBezTo>
                      <a:pt x="511" y="434"/>
                      <a:pt x="511" y="434"/>
                      <a:pt x="511" y="434"/>
                    </a:cubicBezTo>
                    <a:cubicBezTo>
                      <a:pt x="510" y="436"/>
                      <a:pt x="510" y="436"/>
                      <a:pt x="510" y="436"/>
                    </a:cubicBezTo>
                    <a:cubicBezTo>
                      <a:pt x="509" y="438"/>
                      <a:pt x="509" y="438"/>
                      <a:pt x="509" y="438"/>
                    </a:cubicBezTo>
                    <a:cubicBezTo>
                      <a:pt x="508" y="439"/>
                      <a:pt x="508" y="439"/>
                      <a:pt x="508" y="439"/>
                    </a:cubicBezTo>
                    <a:cubicBezTo>
                      <a:pt x="507" y="438"/>
                      <a:pt x="507" y="438"/>
                      <a:pt x="507" y="438"/>
                    </a:cubicBezTo>
                    <a:cubicBezTo>
                      <a:pt x="507" y="435"/>
                      <a:pt x="507" y="435"/>
                      <a:pt x="507" y="435"/>
                    </a:cubicBezTo>
                    <a:cubicBezTo>
                      <a:pt x="507" y="434"/>
                      <a:pt x="507" y="434"/>
                      <a:pt x="507" y="434"/>
                    </a:cubicBezTo>
                    <a:cubicBezTo>
                      <a:pt x="507" y="432"/>
                      <a:pt x="507" y="432"/>
                      <a:pt x="507" y="432"/>
                    </a:cubicBezTo>
                    <a:cubicBezTo>
                      <a:pt x="508" y="433"/>
                      <a:pt x="508" y="433"/>
                      <a:pt x="508" y="433"/>
                    </a:cubicBezTo>
                    <a:cubicBezTo>
                      <a:pt x="509" y="433"/>
                      <a:pt x="509" y="433"/>
                      <a:pt x="509" y="433"/>
                    </a:cubicBezTo>
                    <a:cubicBezTo>
                      <a:pt x="509" y="431"/>
                      <a:pt x="509" y="431"/>
                      <a:pt x="509" y="431"/>
                    </a:cubicBezTo>
                    <a:cubicBezTo>
                      <a:pt x="509" y="430"/>
                      <a:pt x="509" y="430"/>
                      <a:pt x="509" y="430"/>
                    </a:cubicBezTo>
                    <a:cubicBezTo>
                      <a:pt x="509" y="428"/>
                      <a:pt x="509" y="428"/>
                      <a:pt x="509" y="428"/>
                    </a:cubicBezTo>
                    <a:cubicBezTo>
                      <a:pt x="507" y="428"/>
                      <a:pt x="507" y="428"/>
                      <a:pt x="507" y="428"/>
                    </a:cubicBezTo>
                    <a:cubicBezTo>
                      <a:pt x="507" y="427"/>
                      <a:pt x="507" y="427"/>
                      <a:pt x="507" y="427"/>
                    </a:cubicBezTo>
                    <a:cubicBezTo>
                      <a:pt x="508" y="425"/>
                      <a:pt x="508" y="425"/>
                      <a:pt x="508" y="425"/>
                    </a:cubicBezTo>
                    <a:cubicBezTo>
                      <a:pt x="507" y="425"/>
                      <a:pt x="507" y="425"/>
                      <a:pt x="507" y="425"/>
                    </a:cubicBezTo>
                    <a:cubicBezTo>
                      <a:pt x="504" y="427"/>
                      <a:pt x="504" y="427"/>
                      <a:pt x="504" y="427"/>
                    </a:cubicBezTo>
                    <a:cubicBezTo>
                      <a:pt x="502" y="428"/>
                      <a:pt x="502" y="428"/>
                      <a:pt x="502" y="428"/>
                    </a:cubicBezTo>
                    <a:cubicBezTo>
                      <a:pt x="500" y="432"/>
                      <a:pt x="500" y="432"/>
                      <a:pt x="500" y="432"/>
                    </a:cubicBezTo>
                    <a:cubicBezTo>
                      <a:pt x="499" y="435"/>
                      <a:pt x="499" y="435"/>
                      <a:pt x="499" y="435"/>
                    </a:cubicBezTo>
                    <a:cubicBezTo>
                      <a:pt x="499" y="436"/>
                      <a:pt x="499" y="436"/>
                      <a:pt x="499" y="436"/>
                    </a:cubicBezTo>
                    <a:cubicBezTo>
                      <a:pt x="497" y="438"/>
                      <a:pt x="497" y="438"/>
                      <a:pt x="497" y="438"/>
                    </a:cubicBezTo>
                    <a:cubicBezTo>
                      <a:pt x="497" y="439"/>
                      <a:pt x="497" y="439"/>
                      <a:pt x="497" y="439"/>
                    </a:cubicBezTo>
                    <a:cubicBezTo>
                      <a:pt x="495" y="442"/>
                      <a:pt x="495" y="442"/>
                      <a:pt x="495" y="442"/>
                    </a:cubicBezTo>
                    <a:cubicBezTo>
                      <a:pt x="496" y="443"/>
                      <a:pt x="496" y="443"/>
                      <a:pt x="496" y="443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5" y="446"/>
                      <a:pt x="495" y="446"/>
                      <a:pt x="495" y="446"/>
                    </a:cubicBezTo>
                    <a:cubicBezTo>
                      <a:pt x="494" y="447"/>
                      <a:pt x="494" y="447"/>
                      <a:pt x="494" y="447"/>
                    </a:cubicBezTo>
                    <a:cubicBezTo>
                      <a:pt x="492" y="449"/>
                      <a:pt x="492" y="449"/>
                      <a:pt x="492" y="449"/>
                    </a:cubicBezTo>
                    <a:cubicBezTo>
                      <a:pt x="491" y="451"/>
                      <a:pt x="491" y="451"/>
                      <a:pt x="491" y="451"/>
                    </a:cubicBezTo>
                    <a:cubicBezTo>
                      <a:pt x="491" y="454"/>
                      <a:pt x="491" y="454"/>
                      <a:pt x="491" y="454"/>
                    </a:cubicBezTo>
                    <a:cubicBezTo>
                      <a:pt x="491" y="455"/>
                      <a:pt x="491" y="455"/>
                      <a:pt x="491" y="455"/>
                    </a:cubicBezTo>
                    <a:cubicBezTo>
                      <a:pt x="491" y="458"/>
                      <a:pt x="491" y="458"/>
                      <a:pt x="491" y="458"/>
                    </a:cubicBezTo>
                    <a:cubicBezTo>
                      <a:pt x="490" y="459"/>
                      <a:pt x="490" y="459"/>
                      <a:pt x="490" y="459"/>
                    </a:cubicBezTo>
                    <a:cubicBezTo>
                      <a:pt x="487" y="459"/>
                      <a:pt x="487" y="459"/>
                      <a:pt x="487" y="459"/>
                    </a:cubicBezTo>
                    <a:cubicBezTo>
                      <a:pt x="484" y="460"/>
                      <a:pt x="484" y="460"/>
                      <a:pt x="484" y="460"/>
                    </a:cubicBezTo>
                    <a:cubicBezTo>
                      <a:pt x="484" y="462"/>
                      <a:pt x="484" y="462"/>
                      <a:pt x="484" y="462"/>
                    </a:cubicBezTo>
                    <a:cubicBezTo>
                      <a:pt x="483" y="466"/>
                      <a:pt x="483" y="466"/>
                      <a:pt x="483" y="466"/>
                    </a:cubicBezTo>
                    <a:cubicBezTo>
                      <a:pt x="483" y="468"/>
                      <a:pt x="483" y="468"/>
                      <a:pt x="483" y="468"/>
                    </a:cubicBezTo>
                    <a:close/>
                    <a:moveTo>
                      <a:pt x="499" y="496"/>
                    </a:moveTo>
                    <a:cubicBezTo>
                      <a:pt x="499" y="497"/>
                      <a:pt x="500" y="497"/>
                      <a:pt x="500" y="497"/>
                    </a:cubicBezTo>
                    <a:cubicBezTo>
                      <a:pt x="500" y="497"/>
                      <a:pt x="500" y="497"/>
                      <a:pt x="500" y="497"/>
                    </a:cubicBezTo>
                    <a:cubicBezTo>
                      <a:pt x="502" y="495"/>
                      <a:pt x="502" y="495"/>
                      <a:pt x="502" y="495"/>
                    </a:cubicBezTo>
                    <a:cubicBezTo>
                      <a:pt x="503" y="494"/>
                      <a:pt x="503" y="494"/>
                      <a:pt x="503" y="494"/>
                    </a:cubicBezTo>
                    <a:cubicBezTo>
                      <a:pt x="504" y="495"/>
                      <a:pt x="504" y="495"/>
                      <a:pt x="504" y="495"/>
                    </a:cubicBezTo>
                    <a:cubicBezTo>
                      <a:pt x="504" y="496"/>
                      <a:pt x="504" y="496"/>
                      <a:pt x="504" y="496"/>
                    </a:cubicBezTo>
                    <a:cubicBezTo>
                      <a:pt x="506" y="496"/>
                      <a:pt x="506" y="496"/>
                      <a:pt x="506" y="496"/>
                    </a:cubicBezTo>
                    <a:cubicBezTo>
                      <a:pt x="508" y="493"/>
                      <a:pt x="508" y="493"/>
                      <a:pt x="508" y="493"/>
                    </a:cubicBezTo>
                    <a:cubicBezTo>
                      <a:pt x="510" y="493"/>
                      <a:pt x="510" y="493"/>
                      <a:pt x="510" y="493"/>
                    </a:cubicBezTo>
                    <a:cubicBezTo>
                      <a:pt x="512" y="492"/>
                      <a:pt x="512" y="492"/>
                      <a:pt x="512" y="492"/>
                    </a:cubicBezTo>
                    <a:cubicBezTo>
                      <a:pt x="513" y="490"/>
                      <a:pt x="513" y="490"/>
                      <a:pt x="513" y="490"/>
                    </a:cubicBezTo>
                    <a:cubicBezTo>
                      <a:pt x="515" y="490"/>
                      <a:pt x="515" y="490"/>
                      <a:pt x="515" y="490"/>
                    </a:cubicBezTo>
                    <a:cubicBezTo>
                      <a:pt x="517" y="488"/>
                      <a:pt x="517" y="488"/>
                      <a:pt x="517" y="488"/>
                    </a:cubicBezTo>
                    <a:cubicBezTo>
                      <a:pt x="517" y="487"/>
                      <a:pt x="517" y="487"/>
                      <a:pt x="517" y="487"/>
                    </a:cubicBezTo>
                    <a:cubicBezTo>
                      <a:pt x="519" y="485"/>
                      <a:pt x="519" y="485"/>
                      <a:pt x="519" y="485"/>
                    </a:cubicBezTo>
                    <a:cubicBezTo>
                      <a:pt x="518" y="484"/>
                      <a:pt x="518" y="484"/>
                      <a:pt x="518" y="484"/>
                    </a:cubicBezTo>
                    <a:cubicBezTo>
                      <a:pt x="516" y="484"/>
                      <a:pt x="516" y="484"/>
                      <a:pt x="516" y="484"/>
                    </a:cubicBezTo>
                    <a:cubicBezTo>
                      <a:pt x="515" y="484"/>
                      <a:pt x="515" y="484"/>
                      <a:pt x="515" y="484"/>
                    </a:cubicBezTo>
                    <a:cubicBezTo>
                      <a:pt x="514" y="484"/>
                      <a:pt x="514" y="484"/>
                      <a:pt x="514" y="484"/>
                    </a:cubicBezTo>
                    <a:cubicBezTo>
                      <a:pt x="512" y="484"/>
                      <a:pt x="512" y="484"/>
                      <a:pt x="512" y="484"/>
                    </a:cubicBezTo>
                    <a:cubicBezTo>
                      <a:pt x="512" y="484"/>
                      <a:pt x="512" y="484"/>
                      <a:pt x="512" y="484"/>
                    </a:cubicBezTo>
                    <a:cubicBezTo>
                      <a:pt x="511" y="484"/>
                      <a:pt x="511" y="484"/>
                      <a:pt x="511" y="484"/>
                    </a:cubicBezTo>
                    <a:cubicBezTo>
                      <a:pt x="510" y="486"/>
                      <a:pt x="510" y="486"/>
                      <a:pt x="510" y="486"/>
                    </a:cubicBezTo>
                    <a:cubicBezTo>
                      <a:pt x="508" y="485"/>
                      <a:pt x="508" y="485"/>
                      <a:pt x="508" y="485"/>
                    </a:cubicBezTo>
                    <a:cubicBezTo>
                      <a:pt x="507" y="483"/>
                      <a:pt x="507" y="483"/>
                      <a:pt x="507" y="483"/>
                    </a:cubicBezTo>
                    <a:cubicBezTo>
                      <a:pt x="507" y="483"/>
                      <a:pt x="507" y="483"/>
                      <a:pt x="507" y="483"/>
                    </a:cubicBezTo>
                    <a:cubicBezTo>
                      <a:pt x="505" y="484"/>
                      <a:pt x="505" y="484"/>
                      <a:pt x="505" y="484"/>
                    </a:cubicBezTo>
                    <a:cubicBezTo>
                      <a:pt x="503" y="486"/>
                      <a:pt x="503" y="486"/>
                      <a:pt x="503" y="486"/>
                    </a:cubicBezTo>
                    <a:cubicBezTo>
                      <a:pt x="503" y="487"/>
                      <a:pt x="503" y="487"/>
                      <a:pt x="503" y="487"/>
                    </a:cubicBezTo>
                    <a:cubicBezTo>
                      <a:pt x="502" y="488"/>
                      <a:pt x="502" y="488"/>
                      <a:pt x="502" y="488"/>
                    </a:cubicBezTo>
                    <a:cubicBezTo>
                      <a:pt x="499" y="489"/>
                      <a:pt x="499" y="489"/>
                      <a:pt x="499" y="489"/>
                    </a:cubicBezTo>
                    <a:cubicBezTo>
                      <a:pt x="498" y="491"/>
                      <a:pt x="498" y="491"/>
                      <a:pt x="498" y="491"/>
                    </a:cubicBezTo>
                    <a:cubicBezTo>
                      <a:pt x="499" y="491"/>
                      <a:pt x="499" y="491"/>
                      <a:pt x="499" y="491"/>
                    </a:cubicBezTo>
                    <a:cubicBezTo>
                      <a:pt x="500" y="493"/>
                      <a:pt x="500" y="493"/>
                      <a:pt x="500" y="493"/>
                    </a:cubicBezTo>
                    <a:cubicBezTo>
                      <a:pt x="499" y="495"/>
                      <a:pt x="499" y="495"/>
                      <a:pt x="499" y="495"/>
                    </a:cubicBezTo>
                    <a:cubicBezTo>
                      <a:pt x="499" y="496"/>
                      <a:pt x="499" y="496"/>
                      <a:pt x="499" y="496"/>
                    </a:cubicBezTo>
                    <a:close/>
                    <a:moveTo>
                      <a:pt x="655" y="509"/>
                    </a:moveTo>
                    <a:cubicBezTo>
                      <a:pt x="656" y="510"/>
                      <a:pt x="656" y="510"/>
                      <a:pt x="656" y="510"/>
                    </a:cubicBezTo>
                    <a:cubicBezTo>
                      <a:pt x="657" y="510"/>
                      <a:pt x="657" y="510"/>
                      <a:pt x="657" y="510"/>
                    </a:cubicBezTo>
                    <a:cubicBezTo>
                      <a:pt x="659" y="511"/>
                      <a:pt x="659" y="511"/>
                      <a:pt x="659" y="511"/>
                    </a:cubicBezTo>
                    <a:cubicBezTo>
                      <a:pt x="660" y="511"/>
                      <a:pt x="660" y="511"/>
                      <a:pt x="660" y="511"/>
                    </a:cubicBezTo>
                    <a:cubicBezTo>
                      <a:pt x="660" y="510"/>
                      <a:pt x="660" y="510"/>
                      <a:pt x="660" y="510"/>
                    </a:cubicBezTo>
                    <a:cubicBezTo>
                      <a:pt x="661" y="509"/>
                      <a:pt x="661" y="509"/>
                      <a:pt x="661" y="509"/>
                    </a:cubicBezTo>
                    <a:cubicBezTo>
                      <a:pt x="661" y="508"/>
                      <a:pt x="661" y="508"/>
                      <a:pt x="661" y="508"/>
                    </a:cubicBezTo>
                    <a:cubicBezTo>
                      <a:pt x="660" y="507"/>
                      <a:pt x="660" y="507"/>
                      <a:pt x="660" y="507"/>
                    </a:cubicBezTo>
                    <a:cubicBezTo>
                      <a:pt x="658" y="508"/>
                      <a:pt x="658" y="508"/>
                      <a:pt x="658" y="508"/>
                    </a:cubicBezTo>
                    <a:cubicBezTo>
                      <a:pt x="657" y="508"/>
                      <a:pt x="657" y="508"/>
                      <a:pt x="657" y="508"/>
                    </a:cubicBezTo>
                    <a:cubicBezTo>
                      <a:pt x="655" y="509"/>
                      <a:pt x="655" y="509"/>
                      <a:pt x="655" y="509"/>
                    </a:cubicBezTo>
                    <a:close/>
                    <a:moveTo>
                      <a:pt x="607" y="496"/>
                    </a:moveTo>
                    <a:cubicBezTo>
                      <a:pt x="607" y="497"/>
                      <a:pt x="607" y="497"/>
                      <a:pt x="607" y="497"/>
                    </a:cubicBezTo>
                    <a:cubicBezTo>
                      <a:pt x="609" y="497"/>
                      <a:pt x="609" y="497"/>
                      <a:pt x="609" y="497"/>
                    </a:cubicBezTo>
                    <a:cubicBezTo>
                      <a:pt x="609" y="498"/>
                      <a:pt x="609" y="498"/>
                      <a:pt x="609" y="498"/>
                    </a:cubicBezTo>
                    <a:cubicBezTo>
                      <a:pt x="609" y="499"/>
                      <a:pt x="609" y="499"/>
                      <a:pt x="609" y="499"/>
                    </a:cubicBezTo>
                    <a:cubicBezTo>
                      <a:pt x="609" y="500"/>
                      <a:pt x="609" y="500"/>
                      <a:pt x="609" y="500"/>
                    </a:cubicBezTo>
                    <a:cubicBezTo>
                      <a:pt x="610" y="501"/>
                      <a:pt x="610" y="501"/>
                      <a:pt x="610" y="501"/>
                    </a:cubicBezTo>
                    <a:cubicBezTo>
                      <a:pt x="611" y="501"/>
                      <a:pt x="611" y="501"/>
                      <a:pt x="611" y="501"/>
                    </a:cubicBezTo>
                    <a:cubicBezTo>
                      <a:pt x="612" y="501"/>
                      <a:pt x="612" y="501"/>
                      <a:pt x="612" y="501"/>
                    </a:cubicBezTo>
                    <a:cubicBezTo>
                      <a:pt x="613" y="501"/>
                      <a:pt x="613" y="501"/>
                      <a:pt x="613" y="501"/>
                    </a:cubicBezTo>
                    <a:cubicBezTo>
                      <a:pt x="613" y="500"/>
                      <a:pt x="613" y="500"/>
                      <a:pt x="613" y="500"/>
                    </a:cubicBezTo>
                    <a:cubicBezTo>
                      <a:pt x="613" y="499"/>
                      <a:pt x="613" y="499"/>
                      <a:pt x="613" y="499"/>
                    </a:cubicBezTo>
                    <a:cubicBezTo>
                      <a:pt x="612" y="498"/>
                      <a:pt x="612" y="498"/>
                      <a:pt x="612" y="498"/>
                    </a:cubicBezTo>
                    <a:cubicBezTo>
                      <a:pt x="611" y="498"/>
                      <a:pt x="611" y="498"/>
                      <a:pt x="611" y="498"/>
                    </a:cubicBezTo>
                    <a:cubicBezTo>
                      <a:pt x="610" y="497"/>
                      <a:pt x="610" y="497"/>
                      <a:pt x="610" y="497"/>
                    </a:cubicBezTo>
                    <a:cubicBezTo>
                      <a:pt x="608" y="496"/>
                      <a:pt x="608" y="496"/>
                      <a:pt x="608" y="496"/>
                    </a:cubicBezTo>
                    <a:cubicBezTo>
                      <a:pt x="607" y="496"/>
                      <a:pt x="607" y="496"/>
                      <a:pt x="607" y="496"/>
                    </a:cubicBezTo>
                    <a:cubicBezTo>
                      <a:pt x="607" y="496"/>
                      <a:pt x="607" y="496"/>
                      <a:pt x="607" y="496"/>
                    </a:cubicBezTo>
                    <a:close/>
                    <a:moveTo>
                      <a:pt x="653" y="522"/>
                    </a:moveTo>
                    <a:cubicBezTo>
                      <a:pt x="652" y="521"/>
                      <a:pt x="652" y="521"/>
                      <a:pt x="652" y="521"/>
                    </a:cubicBezTo>
                    <a:cubicBezTo>
                      <a:pt x="652" y="519"/>
                      <a:pt x="652" y="519"/>
                      <a:pt x="652" y="519"/>
                    </a:cubicBezTo>
                    <a:cubicBezTo>
                      <a:pt x="651" y="519"/>
                      <a:pt x="651" y="519"/>
                      <a:pt x="651" y="519"/>
                    </a:cubicBezTo>
                    <a:cubicBezTo>
                      <a:pt x="651" y="518"/>
                      <a:pt x="651" y="518"/>
                      <a:pt x="651" y="518"/>
                    </a:cubicBezTo>
                    <a:cubicBezTo>
                      <a:pt x="652" y="517"/>
                      <a:pt x="652" y="517"/>
                      <a:pt x="652" y="517"/>
                    </a:cubicBezTo>
                    <a:cubicBezTo>
                      <a:pt x="653" y="518"/>
                      <a:pt x="653" y="518"/>
                      <a:pt x="653" y="518"/>
                    </a:cubicBezTo>
                    <a:cubicBezTo>
                      <a:pt x="653" y="519"/>
                      <a:pt x="653" y="519"/>
                      <a:pt x="653" y="519"/>
                    </a:cubicBezTo>
                    <a:cubicBezTo>
                      <a:pt x="654" y="520"/>
                      <a:pt x="654" y="520"/>
                      <a:pt x="654" y="520"/>
                    </a:cubicBezTo>
                    <a:cubicBezTo>
                      <a:pt x="654" y="522"/>
                      <a:pt x="654" y="522"/>
                      <a:pt x="654" y="522"/>
                    </a:cubicBezTo>
                    <a:cubicBezTo>
                      <a:pt x="653" y="522"/>
                      <a:pt x="653" y="522"/>
                      <a:pt x="653" y="522"/>
                    </a:cubicBezTo>
                    <a:close/>
                    <a:moveTo>
                      <a:pt x="652" y="528"/>
                    </a:moveTo>
                    <a:cubicBezTo>
                      <a:pt x="651" y="527"/>
                      <a:pt x="651" y="527"/>
                      <a:pt x="651" y="527"/>
                    </a:cubicBezTo>
                    <a:cubicBezTo>
                      <a:pt x="651" y="526"/>
                      <a:pt x="651" y="526"/>
                      <a:pt x="651" y="526"/>
                    </a:cubicBezTo>
                    <a:cubicBezTo>
                      <a:pt x="650" y="526"/>
                      <a:pt x="650" y="526"/>
                      <a:pt x="650" y="526"/>
                    </a:cubicBezTo>
                    <a:cubicBezTo>
                      <a:pt x="649" y="525"/>
                      <a:pt x="649" y="525"/>
                      <a:pt x="649" y="525"/>
                    </a:cubicBezTo>
                    <a:cubicBezTo>
                      <a:pt x="648" y="524"/>
                      <a:pt x="648" y="524"/>
                      <a:pt x="648" y="524"/>
                    </a:cubicBezTo>
                    <a:cubicBezTo>
                      <a:pt x="648" y="523"/>
                      <a:pt x="648" y="523"/>
                      <a:pt x="648" y="523"/>
                    </a:cubicBezTo>
                    <a:cubicBezTo>
                      <a:pt x="648" y="523"/>
                      <a:pt x="648" y="523"/>
                      <a:pt x="648" y="523"/>
                    </a:cubicBezTo>
                    <a:cubicBezTo>
                      <a:pt x="649" y="522"/>
                      <a:pt x="649" y="522"/>
                      <a:pt x="649" y="522"/>
                    </a:cubicBezTo>
                    <a:cubicBezTo>
                      <a:pt x="652" y="523"/>
                      <a:pt x="652" y="523"/>
                      <a:pt x="652" y="523"/>
                    </a:cubicBezTo>
                    <a:cubicBezTo>
                      <a:pt x="654" y="524"/>
                      <a:pt x="654" y="524"/>
                      <a:pt x="654" y="524"/>
                    </a:cubicBezTo>
                    <a:cubicBezTo>
                      <a:pt x="654" y="524"/>
                      <a:pt x="654" y="524"/>
                      <a:pt x="654" y="524"/>
                    </a:cubicBezTo>
                    <a:cubicBezTo>
                      <a:pt x="653" y="525"/>
                      <a:pt x="653" y="525"/>
                      <a:pt x="653" y="525"/>
                    </a:cubicBezTo>
                    <a:cubicBezTo>
                      <a:pt x="653" y="526"/>
                      <a:pt x="653" y="526"/>
                      <a:pt x="653" y="526"/>
                    </a:cubicBezTo>
                    <a:cubicBezTo>
                      <a:pt x="652" y="527"/>
                      <a:pt x="652" y="527"/>
                      <a:pt x="652" y="527"/>
                    </a:cubicBezTo>
                    <a:cubicBezTo>
                      <a:pt x="652" y="528"/>
                      <a:pt x="652" y="528"/>
                      <a:pt x="652" y="528"/>
                    </a:cubicBezTo>
                    <a:cubicBezTo>
                      <a:pt x="652" y="528"/>
                      <a:pt x="652" y="528"/>
                      <a:pt x="652" y="528"/>
                    </a:cubicBezTo>
                    <a:close/>
                    <a:moveTo>
                      <a:pt x="603" y="558"/>
                    </a:moveTo>
                    <a:cubicBezTo>
                      <a:pt x="603" y="559"/>
                      <a:pt x="603" y="559"/>
                      <a:pt x="603" y="559"/>
                    </a:cubicBezTo>
                    <a:cubicBezTo>
                      <a:pt x="604" y="558"/>
                      <a:pt x="604" y="558"/>
                      <a:pt x="604" y="558"/>
                    </a:cubicBezTo>
                    <a:cubicBezTo>
                      <a:pt x="603" y="558"/>
                      <a:pt x="603" y="558"/>
                      <a:pt x="603" y="558"/>
                    </a:cubicBezTo>
                    <a:close/>
                    <a:moveTo>
                      <a:pt x="604" y="558"/>
                    </a:moveTo>
                    <a:cubicBezTo>
                      <a:pt x="604" y="559"/>
                      <a:pt x="604" y="559"/>
                      <a:pt x="604" y="559"/>
                    </a:cubicBezTo>
                    <a:cubicBezTo>
                      <a:pt x="604" y="559"/>
                      <a:pt x="604" y="559"/>
                      <a:pt x="604" y="559"/>
                    </a:cubicBezTo>
                    <a:cubicBezTo>
                      <a:pt x="604" y="558"/>
                      <a:pt x="604" y="558"/>
                      <a:pt x="604" y="558"/>
                    </a:cubicBezTo>
                    <a:close/>
                    <a:moveTo>
                      <a:pt x="606" y="558"/>
                    </a:moveTo>
                    <a:cubicBezTo>
                      <a:pt x="605" y="559"/>
                      <a:pt x="605" y="559"/>
                      <a:pt x="605" y="559"/>
                    </a:cubicBezTo>
                    <a:cubicBezTo>
                      <a:pt x="605" y="561"/>
                      <a:pt x="605" y="561"/>
                      <a:pt x="605" y="561"/>
                    </a:cubicBezTo>
                    <a:cubicBezTo>
                      <a:pt x="605" y="561"/>
                      <a:pt x="605" y="561"/>
                      <a:pt x="605" y="561"/>
                    </a:cubicBezTo>
                    <a:cubicBezTo>
                      <a:pt x="606" y="561"/>
                      <a:pt x="606" y="561"/>
                      <a:pt x="606" y="561"/>
                    </a:cubicBezTo>
                    <a:cubicBezTo>
                      <a:pt x="606" y="560"/>
                      <a:pt x="606" y="560"/>
                      <a:pt x="606" y="560"/>
                    </a:cubicBezTo>
                    <a:cubicBezTo>
                      <a:pt x="606" y="558"/>
                      <a:pt x="606" y="558"/>
                      <a:pt x="606" y="558"/>
                    </a:cubicBezTo>
                    <a:close/>
                    <a:moveTo>
                      <a:pt x="618" y="543"/>
                    </a:moveTo>
                    <a:cubicBezTo>
                      <a:pt x="618" y="542"/>
                      <a:pt x="618" y="542"/>
                      <a:pt x="618" y="542"/>
                    </a:cubicBezTo>
                    <a:cubicBezTo>
                      <a:pt x="619" y="540"/>
                      <a:pt x="619" y="540"/>
                      <a:pt x="619" y="540"/>
                    </a:cubicBezTo>
                    <a:cubicBezTo>
                      <a:pt x="619" y="539"/>
                      <a:pt x="619" y="539"/>
                      <a:pt x="619" y="539"/>
                    </a:cubicBezTo>
                    <a:cubicBezTo>
                      <a:pt x="620" y="538"/>
                      <a:pt x="620" y="538"/>
                      <a:pt x="620" y="538"/>
                    </a:cubicBezTo>
                    <a:cubicBezTo>
                      <a:pt x="622" y="537"/>
                      <a:pt x="622" y="537"/>
                      <a:pt x="622" y="537"/>
                    </a:cubicBezTo>
                    <a:cubicBezTo>
                      <a:pt x="624" y="537"/>
                      <a:pt x="624" y="537"/>
                      <a:pt x="624" y="537"/>
                    </a:cubicBezTo>
                    <a:cubicBezTo>
                      <a:pt x="624" y="537"/>
                      <a:pt x="624" y="537"/>
                      <a:pt x="624" y="537"/>
                    </a:cubicBezTo>
                    <a:cubicBezTo>
                      <a:pt x="624" y="538"/>
                      <a:pt x="624" y="538"/>
                      <a:pt x="624" y="538"/>
                    </a:cubicBezTo>
                    <a:cubicBezTo>
                      <a:pt x="624" y="539"/>
                      <a:pt x="624" y="539"/>
                      <a:pt x="624" y="539"/>
                    </a:cubicBezTo>
                    <a:cubicBezTo>
                      <a:pt x="624" y="540"/>
                      <a:pt x="624" y="540"/>
                      <a:pt x="624" y="540"/>
                    </a:cubicBezTo>
                    <a:cubicBezTo>
                      <a:pt x="623" y="541"/>
                      <a:pt x="623" y="541"/>
                      <a:pt x="623" y="541"/>
                    </a:cubicBezTo>
                    <a:cubicBezTo>
                      <a:pt x="622" y="542"/>
                      <a:pt x="622" y="542"/>
                      <a:pt x="622" y="542"/>
                    </a:cubicBezTo>
                    <a:cubicBezTo>
                      <a:pt x="621" y="542"/>
                      <a:pt x="621" y="542"/>
                      <a:pt x="621" y="542"/>
                    </a:cubicBezTo>
                    <a:cubicBezTo>
                      <a:pt x="619" y="543"/>
                      <a:pt x="619" y="543"/>
                      <a:pt x="619" y="543"/>
                    </a:cubicBezTo>
                    <a:cubicBezTo>
                      <a:pt x="618" y="543"/>
                      <a:pt x="618" y="543"/>
                      <a:pt x="618" y="543"/>
                    </a:cubicBezTo>
                    <a:close/>
                    <a:moveTo>
                      <a:pt x="576" y="494"/>
                    </a:moveTo>
                    <a:cubicBezTo>
                      <a:pt x="578" y="495"/>
                      <a:pt x="578" y="495"/>
                      <a:pt x="578" y="495"/>
                    </a:cubicBezTo>
                    <a:cubicBezTo>
                      <a:pt x="579" y="497"/>
                      <a:pt x="579" y="497"/>
                      <a:pt x="579" y="497"/>
                    </a:cubicBezTo>
                    <a:cubicBezTo>
                      <a:pt x="580" y="497"/>
                      <a:pt x="580" y="497"/>
                      <a:pt x="580" y="497"/>
                    </a:cubicBezTo>
                    <a:cubicBezTo>
                      <a:pt x="582" y="498"/>
                      <a:pt x="582" y="498"/>
                      <a:pt x="582" y="498"/>
                    </a:cubicBezTo>
                    <a:cubicBezTo>
                      <a:pt x="582" y="497"/>
                      <a:pt x="582" y="497"/>
                      <a:pt x="582" y="497"/>
                    </a:cubicBezTo>
                    <a:cubicBezTo>
                      <a:pt x="580" y="496"/>
                      <a:pt x="580" y="496"/>
                      <a:pt x="580" y="496"/>
                    </a:cubicBezTo>
                    <a:cubicBezTo>
                      <a:pt x="578" y="494"/>
                      <a:pt x="578" y="494"/>
                      <a:pt x="578" y="494"/>
                    </a:cubicBezTo>
                    <a:cubicBezTo>
                      <a:pt x="577" y="494"/>
                      <a:pt x="577" y="494"/>
                      <a:pt x="577" y="494"/>
                    </a:cubicBezTo>
                    <a:cubicBezTo>
                      <a:pt x="576" y="494"/>
                      <a:pt x="576" y="494"/>
                      <a:pt x="576" y="494"/>
                    </a:cubicBezTo>
                    <a:close/>
                    <a:moveTo>
                      <a:pt x="562" y="481"/>
                    </a:moveTo>
                    <a:cubicBezTo>
                      <a:pt x="562" y="481"/>
                      <a:pt x="562" y="481"/>
                      <a:pt x="562" y="481"/>
                    </a:cubicBezTo>
                    <a:cubicBezTo>
                      <a:pt x="563" y="481"/>
                      <a:pt x="563" y="481"/>
                      <a:pt x="563" y="481"/>
                    </a:cubicBezTo>
                    <a:cubicBezTo>
                      <a:pt x="564" y="482"/>
                      <a:pt x="564" y="482"/>
                      <a:pt x="564" y="482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5" y="481"/>
                      <a:pt x="565" y="481"/>
                      <a:pt x="565" y="481"/>
                    </a:cubicBezTo>
                    <a:cubicBezTo>
                      <a:pt x="566" y="480"/>
                      <a:pt x="566" y="480"/>
                      <a:pt x="566" y="480"/>
                    </a:cubicBezTo>
                    <a:cubicBezTo>
                      <a:pt x="565" y="479"/>
                      <a:pt x="565" y="479"/>
                      <a:pt x="565" y="479"/>
                    </a:cubicBezTo>
                    <a:cubicBezTo>
                      <a:pt x="566" y="478"/>
                      <a:pt x="566" y="478"/>
                      <a:pt x="566" y="478"/>
                    </a:cubicBezTo>
                    <a:cubicBezTo>
                      <a:pt x="566" y="478"/>
                      <a:pt x="566" y="478"/>
                      <a:pt x="566" y="478"/>
                    </a:cubicBezTo>
                    <a:cubicBezTo>
                      <a:pt x="564" y="477"/>
                      <a:pt x="564" y="477"/>
                      <a:pt x="564" y="477"/>
                    </a:cubicBezTo>
                    <a:cubicBezTo>
                      <a:pt x="562" y="476"/>
                      <a:pt x="562" y="476"/>
                      <a:pt x="562" y="476"/>
                    </a:cubicBezTo>
                    <a:cubicBezTo>
                      <a:pt x="562" y="476"/>
                      <a:pt x="562" y="476"/>
                      <a:pt x="562" y="476"/>
                    </a:cubicBezTo>
                    <a:cubicBezTo>
                      <a:pt x="562" y="475"/>
                      <a:pt x="562" y="475"/>
                      <a:pt x="562" y="475"/>
                    </a:cubicBezTo>
                    <a:cubicBezTo>
                      <a:pt x="561" y="475"/>
                      <a:pt x="561" y="475"/>
                      <a:pt x="561" y="475"/>
                    </a:cubicBezTo>
                    <a:cubicBezTo>
                      <a:pt x="560" y="475"/>
                      <a:pt x="560" y="475"/>
                      <a:pt x="560" y="475"/>
                    </a:cubicBezTo>
                    <a:cubicBezTo>
                      <a:pt x="559" y="475"/>
                      <a:pt x="559" y="475"/>
                      <a:pt x="559" y="475"/>
                    </a:cubicBezTo>
                    <a:cubicBezTo>
                      <a:pt x="558" y="476"/>
                      <a:pt x="558" y="476"/>
                      <a:pt x="558" y="476"/>
                    </a:cubicBezTo>
                    <a:cubicBezTo>
                      <a:pt x="559" y="477"/>
                      <a:pt x="559" y="477"/>
                      <a:pt x="559" y="477"/>
                    </a:cubicBezTo>
                    <a:cubicBezTo>
                      <a:pt x="559" y="477"/>
                      <a:pt x="559" y="477"/>
                      <a:pt x="559" y="477"/>
                    </a:cubicBezTo>
                    <a:cubicBezTo>
                      <a:pt x="560" y="477"/>
                      <a:pt x="560" y="477"/>
                      <a:pt x="560" y="477"/>
                    </a:cubicBezTo>
                    <a:cubicBezTo>
                      <a:pt x="561" y="478"/>
                      <a:pt x="561" y="478"/>
                      <a:pt x="561" y="478"/>
                    </a:cubicBezTo>
                    <a:cubicBezTo>
                      <a:pt x="562" y="479"/>
                      <a:pt x="562" y="479"/>
                      <a:pt x="562" y="479"/>
                    </a:cubicBezTo>
                    <a:cubicBezTo>
                      <a:pt x="562" y="481"/>
                      <a:pt x="562" y="481"/>
                      <a:pt x="562" y="481"/>
                    </a:cubicBezTo>
                    <a:close/>
                    <a:moveTo>
                      <a:pt x="552" y="486"/>
                    </a:moveTo>
                    <a:cubicBezTo>
                      <a:pt x="553" y="485"/>
                      <a:pt x="553" y="485"/>
                      <a:pt x="553" y="485"/>
                    </a:cubicBezTo>
                    <a:cubicBezTo>
                      <a:pt x="554" y="485"/>
                      <a:pt x="554" y="485"/>
                      <a:pt x="554" y="485"/>
                    </a:cubicBezTo>
                    <a:cubicBezTo>
                      <a:pt x="555" y="485"/>
                      <a:pt x="555" y="485"/>
                      <a:pt x="555" y="485"/>
                    </a:cubicBezTo>
                    <a:cubicBezTo>
                      <a:pt x="556" y="484"/>
                      <a:pt x="556" y="484"/>
                      <a:pt x="556" y="484"/>
                    </a:cubicBezTo>
                    <a:cubicBezTo>
                      <a:pt x="556" y="483"/>
                      <a:pt x="556" y="483"/>
                      <a:pt x="556" y="483"/>
                    </a:cubicBezTo>
                    <a:cubicBezTo>
                      <a:pt x="556" y="482"/>
                      <a:pt x="556" y="482"/>
                      <a:pt x="556" y="482"/>
                    </a:cubicBezTo>
                    <a:cubicBezTo>
                      <a:pt x="556" y="480"/>
                      <a:pt x="556" y="480"/>
                      <a:pt x="556" y="480"/>
                    </a:cubicBezTo>
                    <a:cubicBezTo>
                      <a:pt x="555" y="479"/>
                      <a:pt x="555" y="479"/>
                      <a:pt x="555" y="479"/>
                    </a:cubicBezTo>
                    <a:cubicBezTo>
                      <a:pt x="553" y="479"/>
                      <a:pt x="553" y="479"/>
                      <a:pt x="553" y="479"/>
                    </a:cubicBezTo>
                    <a:cubicBezTo>
                      <a:pt x="552" y="478"/>
                      <a:pt x="552" y="478"/>
                      <a:pt x="552" y="478"/>
                    </a:cubicBezTo>
                    <a:cubicBezTo>
                      <a:pt x="551" y="477"/>
                      <a:pt x="551" y="477"/>
                      <a:pt x="551" y="477"/>
                    </a:cubicBezTo>
                    <a:cubicBezTo>
                      <a:pt x="550" y="477"/>
                      <a:pt x="550" y="477"/>
                      <a:pt x="550" y="477"/>
                    </a:cubicBezTo>
                    <a:cubicBezTo>
                      <a:pt x="549" y="478"/>
                      <a:pt x="549" y="478"/>
                      <a:pt x="549" y="478"/>
                    </a:cubicBezTo>
                    <a:cubicBezTo>
                      <a:pt x="548" y="477"/>
                      <a:pt x="548" y="477"/>
                      <a:pt x="548" y="477"/>
                    </a:cubicBezTo>
                    <a:cubicBezTo>
                      <a:pt x="547" y="478"/>
                      <a:pt x="547" y="478"/>
                      <a:pt x="547" y="478"/>
                    </a:cubicBezTo>
                    <a:cubicBezTo>
                      <a:pt x="548" y="480"/>
                      <a:pt x="548" y="480"/>
                      <a:pt x="548" y="480"/>
                    </a:cubicBezTo>
                    <a:cubicBezTo>
                      <a:pt x="549" y="481"/>
                      <a:pt x="549" y="481"/>
                      <a:pt x="549" y="481"/>
                    </a:cubicBezTo>
                    <a:cubicBezTo>
                      <a:pt x="550" y="483"/>
                      <a:pt x="550" y="483"/>
                      <a:pt x="550" y="483"/>
                    </a:cubicBezTo>
                    <a:cubicBezTo>
                      <a:pt x="551" y="483"/>
                      <a:pt x="551" y="483"/>
                      <a:pt x="551" y="483"/>
                    </a:cubicBezTo>
                    <a:cubicBezTo>
                      <a:pt x="551" y="485"/>
                      <a:pt x="551" y="485"/>
                      <a:pt x="551" y="485"/>
                    </a:cubicBezTo>
                    <a:cubicBezTo>
                      <a:pt x="552" y="486"/>
                      <a:pt x="552" y="486"/>
                      <a:pt x="552" y="486"/>
                    </a:cubicBezTo>
                    <a:close/>
                    <a:moveTo>
                      <a:pt x="550" y="494"/>
                    </a:moveTo>
                    <a:cubicBezTo>
                      <a:pt x="550" y="494"/>
                      <a:pt x="550" y="494"/>
                      <a:pt x="550" y="494"/>
                    </a:cubicBezTo>
                    <a:cubicBezTo>
                      <a:pt x="548" y="493"/>
                      <a:pt x="548" y="493"/>
                      <a:pt x="548" y="493"/>
                    </a:cubicBezTo>
                    <a:cubicBezTo>
                      <a:pt x="548" y="493"/>
                      <a:pt x="548" y="493"/>
                      <a:pt x="548" y="493"/>
                    </a:cubicBezTo>
                    <a:cubicBezTo>
                      <a:pt x="548" y="494"/>
                      <a:pt x="548" y="494"/>
                      <a:pt x="548" y="494"/>
                    </a:cubicBezTo>
                    <a:cubicBezTo>
                      <a:pt x="550" y="494"/>
                      <a:pt x="550" y="494"/>
                      <a:pt x="550" y="494"/>
                    </a:cubicBezTo>
                    <a:close/>
                    <a:moveTo>
                      <a:pt x="528" y="509"/>
                    </a:moveTo>
                    <a:cubicBezTo>
                      <a:pt x="529" y="510"/>
                      <a:pt x="529" y="510"/>
                      <a:pt x="529" y="510"/>
                    </a:cubicBezTo>
                    <a:cubicBezTo>
                      <a:pt x="530" y="509"/>
                      <a:pt x="530" y="509"/>
                      <a:pt x="530" y="509"/>
                    </a:cubicBezTo>
                    <a:cubicBezTo>
                      <a:pt x="530" y="508"/>
                      <a:pt x="530" y="508"/>
                      <a:pt x="530" y="508"/>
                    </a:cubicBezTo>
                    <a:cubicBezTo>
                      <a:pt x="530" y="507"/>
                      <a:pt x="530" y="507"/>
                      <a:pt x="530" y="507"/>
                    </a:cubicBezTo>
                    <a:cubicBezTo>
                      <a:pt x="531" y="506"/>
                      <a:pt x="531" y="506"/>
                      <a:pt x="531" y="506"/>
                    </a:cubicBezTo>
                    <a:cubicBezTo>
                      <a:pt x="530" y="506"/>
                      <a:pt x="530" y="506"/>
                      <a:pt x="530" y="506"/>
                    </a:cubicBezTo>
                    <a:cubicBezTo>
                      <a:pt x="530" y="505"/>
                      <a:pt x="530" y="505"/>
                      <a:pt x="530" y="505"/>
                    </a:cubicBezTo>
                    <a:cubicBezTo>
                      <a:pt x="532" y="503"/>
                      <a:pt x="532" y="503"/>
                      <a:pt x="532" y="503"/>
                    </a:cubicBezTo>
                    <a:cubicBezTo>
                      <a:pt x="533" y="502"/>
                      <a:pt x="533" y="502"/>
                      <a:pt x="533" y="502"/>
                    </a:cubicBezTo>
                    <a:cubicBezTo>
                      <a:pt x="534" y="502"/>
                      <a:pt x="534" y="502"/>
                      <a:pt x="534" y="502"/>
                    </a:cubicBezTo>
                    <a:cubicBezTo>
                      <a:pt x="535" y="501"/>
                      <a:pt x="535" y="501"/>
                      <a:pt x="535" y="501"/>
                    </a:cubicBezTo>
                    <a:cubicBezTo>
                      <a:pt x="535" y="500"/>
                      <a:pt x="535" y="500"/>
                      <a:pt x="535" y="500"/>
                    </a:cubicBezTo>
                    <a:cubicBezTo>
                      <a:pt x="534" y="499"/>
                      <a:pt x="534" y="499"/>
                      <a:pt x="534" y="499"/>
                    </a:cubicBezTo>
                    <a:cubicBezTo>
                      <a:pt x="535" y="498"/>
                      <a:pt x="535" y="498"/>
                      <a:pt x="535" y="498"/>
                    </a:cubicBezTo>
                    <a:cubicBezTo>
                      <a:pt x="536" y="497"/>
                      <a:pt x="536" y="497"/>
                      <a:pt x="536" y="497"/>
                    </a:cubicBezTo>
                    <a:cubicBezTo>
                      <a:pt x="536" y="496"/>
                      <a:pt x="536" y="496"/>
                      <a:pt x="536" y="496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5" y="494"/>
                      <a:pt x="535" y="494"/>
                      <a:pt x="535" y="494"/>
                    </a:cubicBezTo>
                    <a:cubicBezTo>
                      <a:pt x="534" y="495"/>
                      <a:pt x="534" y="495"/>
                      <a:pt x="534" y="495"/>
                    </a:cubicBezTo>
                    <a:cubicBezTo>
                      <a:pt x="533" y="495"/>
                      <a:pt x="533" y="495"/>
                      <a:pt x="533" y="495"/>
                    </a:cubicBezTo>
                    <a:cubicBezTo>
                      <a:pt x="532" y="494"/>
                      <a:pt x="532" y="494"/>
                      <a:pt x="532" y="494"/>
                    </a:cubicBezTo>
                    <a:cubicBezTo>
                      <a:pt x="532" y="493"/>
                      <a:pt x="532" y="493"/>
                      <a:pt x="532" y="493"/>
                    </a:cubicBezTo>
                    <a:cubicBezTo>
                      <a:pt x="531" y="494"/>
                      <a:pt x="531" y="494"/>
                      <a:pt x="531" y="494"/>
                    </a:cubicBezTo>
                    <a:cubicBezTo>
                      <a:pt x="529" y="496"/>
                      <a:pt x="529" y="496"/>
                      <a:pt x="529" y="496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7" y="497"/>
                      <a:pt x="527" y="497"/>
                      <a:pt x="527" y="497"/>
                    </a:cubicBezTo>
                    <a:cubicBezTo>
                      <a:pt x="527" y="499"/>
                      <a:pt x="527" y="499"/>
                      <a:pt x="527" y="499"/>
                    </a:cubicBezTo>
                    <a:cubicBezTo>
                      <a:pt x="527" y="501"/>
                      <a:pt x="527" y="501"/>
                      <a:pt x="527" y="501"/>
                    </a:cubicBezTo>
                    <a:cubicBezTo>
                      <a:pt x="526" y="501"/>
                      <a:pt x="526" y="501"/>
                      <a:pt x="526" y="501"/>
                    </a:cubicBezTo>
                    <a:cubicBezTo>
                      <a:pt x="526" y="503"/>
                      <a:pt x="526" y="503"/>
                      <a:pt x="526" y="503"/>
                    </a:cubicBezTo>
                    <a:cubicBezTo>
                      <a:pt x="526" y="504"/>
                      <a:pt x="526" y="504"/>
                      <a:pt x="526" y="504"/>
                    </a:cubicBezTo>
                    <a:cubicBezTo>
                      <a:pt x="525" y="505"/>
                      <a:pt x="525" y="505"/>
                      <a:pt x="525" y="505"/>
                    </a:cubicBezTo>
                    <a:cubicBezTo>
                      <a:pt x="526" y="506"/>
                      <a:pt x="526" y="506"/>
                      <a:pt x="526" y="506"/>
                    </a:cubicBezTo>
                    <a:cubicBezTo>
                      <a:pt x="527" y="506"/>
                      <a:pt x="527" y="506"/>
                      <a:pt x="527" y="506"/>
                    </a:cubicBezTo>
                    <a:cubicBezTo>
                      <a:pt x="527" y="508"/>
                      <a:pt x="527" y="508"/>
                      <a:pt x="527" y="508"/>
                    </a:cubicBezTo>
                    <a:cubicBezTo>
                      <a:pt x="528" y="508"/>
                      <a:pt x="528" y="508"/>
                      <a:pt x="528" y="508"/>
                    </a:cubicBezTo>
                    <a:cubicBezTo>
                      <a:pt x="528" y="509"/>
                      <a:pt x="528" y="509"/>
                      <a:pt x="528" y="509"/>
                    </a:cubicBezTo>
                    <a:close/>
                    <a:moveTo>
                      <a:pt x="509" y="592"/>
                    </a:moveTo>
                    <a:cubicBezTo>
                      <a:pt x="509" y="593"/>
                      <a:pt x="509" y="593"/>
                      <a:pt x="509" y="593"/>
                    </a:cubicBezTo>
                    <a:cubicBezTo>
                      <a:pt x="510" y="593"/>
                      <a:pt x="510" y="593"/>
                      <a:pt x="510" y="593"/>
                    </a:cubicBezTo>
                    <a:cubicBezTo>
                      <a:pt x="510" y="592"/>
                      <a:pt x="510" y="592"/>
                      <a:pt x="510" y="592"/>
                    </a:cubicBezTo>
                    <a:cubicBezTo>
                      <a:pt x="509" y="592"/>
                      <a:pt x="509" y="592"/>
                      <a:pt x="509" y="592"/>
                    </a:cubicBezTo>
                    <a:close/>
                    <a:moveTo>
                      <a:pt x="510" y="601"/>
                    </a:moveTo>
                    <a:cubicBezTo>
                      <a:pt x="511" y="599"/>
                      <a:pt x="511" y="599"/>
                      <a:pt x="511" y="599"/>
                    </a:cubicBezTo>
                    <a:cubicBezTo>
                      <a:pt x="512" y="598"/>
                      <a:pt x="512" y="598"/>
                      <a:pt x="512" y="598"/>
                    </a:cubicBezTo>
                    <a:cubicBezTo>
                      <a:pt x="512" y="597"/>
                      <a:pt x="512" y="597"/>
                      <a:pt x="512" y="597"/>
                    </a:cubicBezTo>
                    <a:cubicBezTo>
                      <a:pt x="512" y="600"/>
                      <a:pt x="512" y="600"/>
                      <a:pt x="512" y="600"/>
                    </a:cubicBezTo>
                    <a:cubicBezTo>
                      <a:pt x="511" y="601"/>
                      <a:pt x="511" y="601"/>
                      <a:pt x="511" y="601"/>
                    </a:cubicBezTo>
                    <a:cubicBezTo>
                      <a:pt x="511" y="601"/>
                      <a:pt x="510" y="601"/>
                      <a:pt x="510" y="601"/>
                    </a:cubicBezTo>
                    <a:close/>
                    <a:moveTo>
                      <a:pt x="499" y="598"/>
                    </a:moveTo>
                    <a:cubicBezTo>
                      <a:pt x="500" y="596"/>
                      <a:pt x="500" y="596"/>
                      <a:pt x="500" y="596"/>
                    </a:cubicBezTo>
                    <a:cubicBezTo>
                      <a:pt x="501" y="596"/>
                      <a:pt x="501" y="596"/>
                      <a:pt x="501" y="596"/>
                    </a:cubicBezTo>
                    <a:cubicBezTo>
                      <a:pt x="502" y="596"/>
                      <a:pt x="502" y="596"/>
                      <a:pt x="502" y="596"/>
                    </a:cubicBezTo>
                    <a:cubicBezTo>
                      <a:pt x="502" y="596"/>
                      <a:pt x="502" y="596"/>
                      <a:pt x="502" y="596"/>
                    </a:cubicBezTo>
                    <a:cubicBezTo>
                      <a:pt x="504" y="595"/>
                      <a:pt x="504" y="595"/>
                      <a:pt x="504" y="595"/>
                    </a:cubicBezTo>
                    <a:cubicBezTo>
                      <a:pt x="505" y="594"/>
                      <a:pt x="505" y="594"/>
                      <a:pt x="505" y="594"/>
                    </a:cubicBezTo>
                    <a:cubicBezTo>
                      <a:pt x="503" y="596"/>
                      <a:pt x="503" y="596"/>
                      <a:pt x="503" y="596"/>
                    </a:cubicBezTo>
                    <a:cubicBezTo>
                      <a:pt x="501" y="598"/>
                      <a:pt x="501" y="598"/>
                      <a:pt x="501" y="598"/>
                    </a:cubicBezTo>
                    <a:cubicBezTo>
                      <a:pt x="499" y="599"/>
                      <a:pt x="499" y="599"/>
                      <a:pt x="499" y="599"/>
                    </a:cubicBezTo>
                    <a:cubicBezTo>
                      <a:pt x="499" y="598"/>
                      <a:pt x="499" y="598"/>
                      <a:pt x="499" y="598"/>
                    </a:cubicBezTo>
                    <a:close/>
                    <a:moveTo>
                      <a:pt x="507" y="602"/>
                    </a:moveTo>
                    <a:cubicBezTo>
                      <a:pt x="509" y="599"/>
                      <a:pt x="509" y="599"/>
                      <a:pt x="509" y="599"/>
                    </a:cubicBezTo>
                    <a:cubicBezTo>
                      <a:pt x="509" y="597"/>
                      <a:pt x="509" y="597"/>
                      <a:pt x="509" y="597"/>
                    </a:cubicBezTo>
                    <a:cubicBezTo>
                      <a:pt x="510" y="597"/>
                      <a:pt x="510" y="597"/>
                      <a:pt x="510" y="597"/>
                    </a:cubicBezTo>
                    <a:cubicBezTo>
                      <a:pt x="510" y="598"/>
                      <a:pt x="510" y="598"/>
                      <a:pt x="510" y="598"/>
                    </a:cubicBezTo>
                    <a:cubicBezTo>
                      <a:pt x="507" y="601"/>
                      <a:pt x="507" y="601"/>
                      <a:pt x="507" y="601"/>
                    </a:cubicBezTo>
                    <a:cubicBezTo>
                      <a:pt x="507" y="603"/>
                      <a:pt x="507" y="603"/>
                      <a:pt x="507" y="603"/>
                    </a:cubicBezTo>
                    <a:cubicBezTo>
                      <a:pt x="508" y="602"/>
                      <a:pt x="508" y="602"/>
                      <a:pt x="508" y="602"/>
                    </a:cubicBezTo>
                    <a:cubicBezTo>
                      <a:pt x="510" y="599"/>
                      <a:pt x="510" y="599"/>
                      <a:pt x="510" y="599"/>
                    </a:cubicBezTo>
                    <a:cubicBezTo>
                      <a:pt x="511" y="599"/>
                      <a:pt x="511" y="599"/>
                      <a:pt x="511" y="599"/>
                    </a:cubicBezTo>
                    <a:cubicBezTo>
                      <a:pt x="511" y="596"/>
                      <a:pt x="511" y="596"/>
                      <a:pt x="511" y="596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594"/>
                      <a:pt x="510" y="594"/>
                      <a:pt x="510" y="594"/>
                    </a:cubicBezTo>
                    <a:cubicBezTo>
                      <a:pt x="508" y="593"/>
                      <a:pt x="508" y="593"/>
                      <a:pt x="508" y="593"/>
                    </a:cubicBezTo>
                    <a:cubicBezTo>
                      <a:pt x="508" y="594"/>
                      <a:pt x="508" y="594"/>
                      <a:pt x="508" y="594"/>
                    </a:cubicBezTo>
                    <a:cubicBezTo>
                      <a:pt x="507" y="597"/>
                      <a:pt x="507" y="597"/>
                      <a:pt x="507" y="597"/>
                    </a:cubicBezTo>
                    <a:cubicBezTo>
                      <a:pt x="506" y="599"/>
                      <a:pt x="506" y="599"/>
                      <a:pt x="506" y="599"/>
                    </a:cubicBezTo>
                    <a:cubicBezTo>
                      <a:pt x="504" y="600"/>
                      <a:pt x="504" y="600"/>
                      <a:pt x="504" y="600"/>
                    </a:cubicBezTo>
                    <a:cubicBezTo>
                      <a:pt x="504" y="598"/>
                      <a:pt x="504" y="598"/>
                      <a:pt x="504" y="598"/>
                    </a:cubicBezTo>
                    <a:cubicBezTo>
                      <a:pt x="506" y="597"/>
                      <a:pt x="506" y="597"/>
                      <a:pt x="506" y="597"/>
                    </a:cubicBezTo>
                    <a:cubicBezTo>
                      <a:pt x="507" y="595"/>
                      <a:pt x="507" y="595"/>
                      <a:pt x="507" y="595"/>
                    </a:cubicBezTo>
                    <a:cubicBezTo>
                      <a:pt x="506" y="595"/>
                      <a:pt x="506" y="595"/>
                      <a:pt x="506" y="595"/>
                    </a:cubicBezTo>
                    <a:cubicBezTo>
                      <a:pt x="505" y="595"/>
                      <a:pt x="505" y="595"/>
                      <a:pt x="505" y="595"/>
                    </a:cubicBezTo>
                    <a:cubicBezTo>
                      <a:pt x="504" y="598"/>
                      <a:pt x="504" y="598"/>
                      <a:pt x="504" y="598"/>
                    </a:cubicBezTo>
                    <a:cubicBezTo>
                      <a:pt x="502" y="600"/>
                      <a:pt x="502" y="600"/>
                      <a:pt x="502" y="600"/>
                    </a:cubicBezTo>
                    <a:cubicBezTo>
                      <a:pt x="501" y="601"/>
                      <a:pt x="501" y="601"/>
                      <a:pt x="501" y="601"/>
                    </a:cubicBezTo>
                    <a:cubicBezTo>
                      <a:pt x="500" y="603"/>
                      <a:pt x="500" y="603"/>
                      <a:pt x="500" y="603"/>
                    </a:cubicBezTo>
                    <a:cubicBezTo>
                      <a:pt x="500" y="604"/>
                      <a:pt x="500" y="604"/>
                      <a:pt x="500" y="604"/>
                    </a:cubicBezTo>
                    <a:cubicBezTo>
                      <a:pt x="501" y="604"/>
                      <a:pt x="501" y="604"/>
                      <a:pt x="501" y="604"/>
                    </a:cubicBezTo>
                    <a:cubicBezTo>
                      <a:pt x="503" y="601"/>
                      <a:pt x="503" y="601"/>
                      <a:pt x="503" y="601"/>
                    </a:cubicBezTo>
                    <a:cubicBezTo>
                      <a:pt x="504" y="601"/>
                      <a:pt x="504" y="601"/>
                      <a:pt x="504" y="601"/>
                    </a:cubicBezTo>
                    <a:cubicBezTo>
                      <a:pt x="504" y="602"/>
                      <a:pt x="504" y="602"/>
                      <a:pt x="504" y="602"/>
                    </a:cubicBezTo>
                    <a:cubicBezTo>
                      <a:pt x="502" y="604"/>
                      <a:pt x="502" y="604"/>
                      <a:pt x="502" y="604"/>
                    </a:cubicBezTo>
                    <a:cubicBezTo>
                      <a:pt x="503" y="604"/>
                      <a:pt x="503" y="604"/>
                      <a:pt x="503" y="604"/>
                    </a:cubicBezTo>
                    <a:cubicBezTo>
                      <a:pt x="504" y="604"/>
                      <a:pt x="504" y="604"/>
                      <a:pt x="504" y="604"/>
                    </a:cubicBezTo>
                    <a:cubicBezTo>
                      <a:pt x="505" y="604"/>
                      <a:pt x="505" y="604"/>
                      <a:pt x="505" y="604"/>
                    </a:cubicBezTo>
                    <a:cubicBezTo>
                      <a:pt x="505" y="604"/>
                      <a:pt x="507" y="602"/>
                      <a:pt x="507" y="602"/>
                    </a:cubicBezTo>
                    <a:close/>
                    <a:moveTo>
                      <a:pt x="505" y="602"/>
                    </a:moveTo>
                    <a:cubicBezTo>
                      <a:pt x="505" y="600"/>
                      <a:pt x="505" y="600"/>
                      <a:pt x="505" y="600"/>
                    </a:cubicBezTo>
                    <a:cubicBezTo>
                      <a:pt x="508" y="598"/>
                      <a:pt x="508" y="598"/>
                      <a:pt x="508" y="598"/>
                    </a:cubicBezTo>
                    <a:cubicBezTo>
                      <a:pt x="507" y="600"/>
                      <a:pt x="507" y="600"/>
                      <a:pt x="507" y="600"/>
                    </a:cubicBezTo>
                    <a:cubicBezTo>
                      <a:pt x="505" y="602"/>
                      <a:pt x="505" y="602"/>
                      <a:pt x="505" y="602"/>
                    </a:cubicBezTo>
                    <a:cubicBezTo>
                      <a:pt x="505" y="602"/>
                      <a:pt x="505" y="602"/>
                      <a:pt x="505" y="602"/>
                    </a:cubicBezTo>
                    <a:close/>
                    <a:moveTo>
                      <a:pt x="635" y="737"/>
                    </a:moveTo>
                    <a:cubicBezTo>
                      <a:pt x="635" y="737"/>
                      <a:pt x="635" y="737"/>
                      <a:pt x="635" y="737"/>
                    </a:cubicBezTo>
                    <a:cubicBezTo>
                      <a:pt x="634" y="737"/>
                      <a:pt x="634" y="737"/>
                      <a:pt x="634" y="737"/>
                    </a:cubicBezTo>
                    <a:cubicBezTo>
                      <a:pt x="635" y="736"/>
                      <a:pt x="635" y="736"/>
                      <a:pt x="635" y="736"/>
                    </a:cubicBezTo>
                    <a:cubicBezTo>
                      <a:pt x="635" y="735"/>
                      <a:pt x="635" y="735"/>
                      <a:pt x="635" y="735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7" y="734"/>
                      <a:pt x="637" y="734"/>
                      <a:pt x="637" y="734"/>
                    </a:cubicBezTo>
                    <a:cubicBezTo>
                      <a:pt x="635" y="735"/>
                      <a:pt x="635" y="735"/>
                      <a:pt x="635" y="735"/>
                    </a:cubicBezTo>
                    <a:cubicBezTo>
                      <a:pt x="634" y="737"/>
                      <a:pt x="634" y="737"/>
                      <a:pt x="634" y="737"/>
                    </a:cubicBezTo>
                    <a:cubicBezTo>
                      <a:pt x="634" y="738"/>
                      <a:pt x="634" y="738"/>
                      <a:pt x="634" y="738"/>
                    </a:cubicBezTo>
                    <a:cubicBezTo>
                      <a:pt x="635" y="738"/>
                      <a:pt x="635" y="738"/>
                      <a:pt x="635" y="738"/>
                    </a:cubicBezTo>
                    <a:cubicBezTo>
                      <a:pt x="635" y="737"/>
                      <a:pt x="635" y="737"/>
                      <a:pt x="635" y="737"/>
                    </a:cubicBezTo>
                    <a:close/>
                    <a:moveTo>
                      <a:pt x="683" y="746"/>
                    </a:moveTo>
                    <a:cubicBezTo>
                      <a:pt x="683" y="745"/>
                      <a:pt x="683" y="745"/>
                      <a:pt x="683" y="745"/>
                    </a:cubicBezTo>
                    <a:cubicBezTo>
                      <a:pt x="683" y="744"/>
                      <a:pt x="683" y="744"/>
                      <a:pt x="683" y="744"/>
                    </a:cubicBezTo>
                    <a:cubicBezTo>
                      <a:pt x="683" y="742"/>
                      <a:pt x="683" y="742"/>
                      <a:pt x="683" y="742"/>
                    </a:cubicBezTo>
                    <a:cubicBezTo>
                      <a:pt x="682" y="741"/>
                      <a:pt x="682" y="741"/>
                      <a:pt x="682" y="741"/>
                    </a:cubicBezTo>
                    <a:cubicBezTo>
                      <a:pt x="683" y="740"/>
                      <a:pt x="683" y="740"/>
                      <a:pt x="683" y="740"/>
                    </a:cubicBezTo>
                    <a:cubicBezTo>
                      <a:pt x="684" y="740"/>
                      <a:pt x="684" y="740"/>
                      <a:pt x="684" y="740"/>
                    </a:cubicBezTo>
                    <a:cubicBezTo>
                      <a:pt x="683" y="740"/>
                      <a:pt x="683" y="740"/>
                      <a:pt x="683" y="740"/>
                    </a:cubicBezTo>
                    <a:cubicBezTo>
                      <a:pt x="684" y="741"/>
                      <a:pt x="684" y="741"/>
                      <a:pt x="684" y="741"/>
                    </a:cubicBezTo>
                    <a:cubicBezTo>
                      <a:pt x="684" y="742"/>
                      <a:pt x="684" y="742"/>
                      <a:pt x="684" y="742"/>
                    </a:cubicBezTo>
                    <a:cubicBezTo>
                      <a:pt x="683" y="743"/>
                      <a:pt x="683" y="743"/>
                      <a:pt x="683" y="743"/>
                    </a:cubicBezTo>
                    <a:cubicBezTo>
                      <a:pt x="683" y="744"/>
                      <a:pt x="683" y="744"/>
                      <a:pt x="683" y="744"/>
                    </a:cubicBezTo>
                    <a:cubicBezTo>
                      <a:pt x="684" y="744"/>
                      <a:pt x="684" y="744"/>
                      <a:pt x="684" y="744"/>
                    </a:cubicBezTo>
                    <a:cubicBezTo>
                      <a:pt x="684" y="745"/>
                      <a:pt x="684" y="745"/>
                      <a:pt x="684" y="745"/>
                    </a:cubicBezTo>
                    <a:cubicBezTo>
                      <a:pt x="684" y="746"/>
                      <a:pt x="684" y="746"/>
                      <a:pt x="684" y="746"/>
                    </a:cubicBezTo>
                    <a:cubicBezTo>
                      <a:pt x="683" y="746"/>
                      <a:pt x="683" y="746"/>
                      <a:pt x="683" y="746"/>
                    </a:cubicBezTo>
                    <a:close/>
                    <a:moveTo>
                      <a:pt x="685" y="747"/>
                    </a:moveTo>
                    <a:cubicBezTo>
                      <a:pt x="685" y="746"/>
                      <a:pt x="685" y="746"/>
                      <a:pt x="685" y="746"/>
                    </a:cubicBezTo>
                    <a:cubicBezTo>
                      <a:pt x="686" y="746"/>
                      <a:pt x="686" y="746"/>
                      <a:pt x="686" y="746"/>
                    </a:cubicBezTo>
                    <a:cubicBezTo>
                      <a:pt x="686" y="747"/>
                      <a:pt x="686" y="747"/>
                      <a:pt x="686" y="747"/>
                    </a:cubicBezTo>
                    <a:cubicBezTo>
                      <a:pt x="685" y="748"/>
                      <a:pt x="685" y="748"/>
                      <a:pt x="685" y="748"/>
                    </a:cubicBezTo>
                    <a:cubicBezTo>
                      <a:pt x="685" y="747"/>
                      <a:pt x="685" y="747"/>
                      <a:pt x="685" y="747"/>
                    </a:cubicBezTo>
                    <a:close/>
                    <a:moveTo>
                      <a:pt x="704" y="678"/>
                    </a:moveTo>
                    <a:cubicBezTo>
                      <a:pt x="704" y="676"/>
                      <a:pt x="704" y="676"/>
                      <a:pt x="704" y="676"/>
                    </a:cubicBezTo>
                    <a:cubicBezTo>
                      <a:pt x="706" y="675"/>
                      <a:pt x="706" y="675"/>
                      <a:pt x="706" y="675"/>
                    </a:cubicBezTo>
                    <a:cubicBezTo>
                      <a:pt x="706" y="676"/>
                      <a:pt x="706" y="676"/>
                      <a:pt x="706" y="676"/>
                    </a:cubicBezTo>
                    <a:cubicBezTo>
                      <a:pt x="705" y="677"/>
                      <a:pt x="705" y="677"/>
                      <a:pt x="705" y="677"/>
                    </a:cubicBezTo>
                    <a:cubicBezTo>
                      <a:pt x="704" y="678"/>
                      <a:pt x="704" y="678"/>
                      <a:pt x="704" y="678"/>
                    </a:cubicBezTo>
                    <a:cubicBezTo>
                      <a:pt x="704" y="678"/>
                      <a:pt x="704" y="678"/>
                      <a:pt x="704" y="678"/>
                    </a:cubicBezTo>
                    <a:close/>
                    <a:moveTo>
                      <a:pt x="698" y="692"/>
                    </a:moveTo>
                    <a:cubicBezTo>
                      <a:pt x="698" y="693"/>
                      <a:pt x="698" y="693"/>
                      <a:pt x="698" y="693"/>
                    </a:cubicBezTo>
                    <a:cubicBezTo>
                      <a:pt x="699" y="693"/>
                      <a:pt x="699" y="693"/>
                      <a:pt x="699" y="693"/>
                    </a:cubicBezTo>
                    <a:cubicBezTo>
                      <a:pt x="699" y="693"/>
                      <a:pt x="699" y="693"/>
                      <a:pt x="699" y="693"/>
                    </a:cubicBezTo>
                    <a:cubicBezTo>
                      <a:pt x="700" y="693"/>
                      <a:pt x="700" y="693"/>
                      <a:pt x="700" y="693"/>
                    </a:cubicBezTo>
                    <a:cubicBezTo>
                      <a:pt x="700" y="692"/>
                      <a:pt x="700" y="692"/>
                      <a:pt x="700" y="692"/>
                    </a:cubicBezTo>
                    <a:cubicBezTo>
                      <a:pt x="699" y="692"/>
                      <a:pt x="699" y="692"/>
                      <a:pt x="699" y="692"/>
                    </a:cubicBezTo>
                    <a:cubicBezTo>
                      <a:pt x="698" y="692"/>
                      <a:pt x="698" y="692"/>
                      <a:pt x="698" y="692"/>
                    </a:cubicBezTo>
                    <a:close/>
                    <a:moveTo>
                      <a:pt x="708" y="709"/>
                    </a:moveTo>
                    <a:cubicBezTo>
                      <a:pt x="708" y="707"/>
                      <a:pt x="708" y="707"/>
                      <a:pt x="708" y="707"/>
                    </a:cubicBezTo>
                    <a:cubicBezTo>
                      <a:pt x="707" y="706"/>
                      <a:pt x="707" y="706"/>
                      <a:pt x="707" y="706"/>
                    </a:cubicBezTo>
                    <a:cubicBezTo>
                      <a:pt x="708" y="706"/>
                      <a:pt x="708" y="706"/>
                      <a:pt x="708" y="706"/>
                    </a:cubicBezTo>
                    <a:cubicBezTo>
                      <a:pt x="709" y="707"/>
                      <a:pt x="709" y="707"/>
                      <a:pt x="709" y="707"/>
                    </a:cubicBezTo>
                    <a:cubicBezTo>
                      <a:pt x="709" y="707"/>
                      <a:pt x="709" y="707"/>
                      <a:pt x="709" y="707"/>
                    </a:cubicBezTo>
                    <a:cubicBezTo>
                      <a:pt x="710" y="707"/>
                      <a:pt x="710" y="707"/>
                      <a:pt x="710" y="707"/>
                    </a:cubicBezTo>
                    <a:cubicBezTo>
                      <a:pt x="710" y="708"/>
                      <a:pt x="710" y="708"/>
                      <a:pt x="710" y="708"/>
                    </a:cubicBezTo>
                    <a:cubicBezTo>
                      <a:pt x="709" y="709"/>
                      <a:pt x="709" y="709"/>
                      <a:pt x="709" y="709"/>
                    </a:cubicBezTo>
                    <a:cubicBezTo>
                      <a:pt x="709" y="709"/>
                      <a:pt x="708" y="709"/>
                      <a:pt x="708" y="709"/>
                    </a:cubicBezTo>
                    <a:close/>
                    <a:moveTo>
                      <a:pt x="703" y="708"/>
                    </a:moveTo>
                    <a:cubicBezTo>
                      <a:pt x="704" y="709"/>
                      <a:pt x="704" y="709"/>
                      <a:pt x="704" y="709"/>
                    </a:cubicBezTo>
                    <a:cubicBezTo>
                      <a:pt x="705" y="709"/>
                      <a:pt x="705" y="709"/>
                      <a:pt x="705" y="709"/>
                    </a:cubicBezTo>
                    <a:cubicBezTo>
                      <a:pt x="705" y="708"/>
                      <a:pt x="705" y="708"/>
                      <a:pt x="705" y="708"/>
                    </a:cubicBezTo>
                    <a:cubicBezTo>
                      <a:pt x="705" y="707"/>
                      <a:pt x="705" y="707"/>
                      <a:pt x="705" y="707"/>
                    </a:cubicBezTo>
                    <a:cubicBezTo>
                      <a:pt x="706" y="707"/>
                      <a:pt x="706" y="707"/>
                      <a:pt x="706" y="707"/>
                    </a:cubicBezTo>
                    <a:cubicBezTo>
                      <a:pt x="706" y="708"/>
                      <a:pt x="706" y="708"/>
                      <a:pt x="706" y="708"/>
                    </a:cubicBezTo>
                    <a:cubicBezTo>
                      <a:pt x="705" y="710"/>
                      <a:pt x="705" y="710"/>
                      <a:pt x="705" y="710"/>
                    </a:cubicBezTo>
                    <a:cubicBezTo>
                      <a:pt x="704" y="710"/>
                      <a:pt x="704" y="710"/>
                      <a:pt x="704" y="710"/>
                    </a:cubicBezTo>
                    <a:cubicBezTo>
                      <a:pt x="703" y="710"/>
                      <a:pt x="703" y="710"/>
                      <a:pt x="703" y="710"/>
                    </a:cubicBezTo>
                    <a:cubicBezTo>
                      <a:pt x="703" y="709"/>
                      <a:pt x="703" y="709"/>
                      <a:pt x="703" y="709"/>
                    </a:cubicBezTo>
                    <a:cubicBezTo>
                      <a:pt x="703" y="708"/>
                      <a:pt x="703" y="708"/>
                      <a:pt x="703" y="708"/>
                    </a:cubicBezTo>
                    <a:close/>
                    <a:moveTo>
                      <a:pt x="688" y="734"/>
                    </a:moveTo>
                    <a:cubicBezTo>
                      <a:pt x="688" y="733"/>
                      <a:pt x="688" y="733"/>
                      <a:pt x="688" y="733"/>
                    </a:cubicBezTo>
                    <a:cubicBezTo>
                      <a:pt x="689" y="734"/>
                      <a:pt x="689" y="734"/>
                      <a:pt x="689" y="734"/>
                    </a:cubicBezTo>
                    <a:cubicBezTo>
                      <a:pt x="688" y="734"/>
                      <a:pt x="688" y="734"/>
                      <a:pt x="688" y="734"/>
                    </a:cubicBezTo>
                    <a:cubicBezTo>
                      <a:pt x="688" y="734"/>
                      <a:pt x="688" y="734"/>
                      <a:pt x="688" y="734"/>
                    </a:cubicBezTo>
                    <a:close/>
                    <a:moveTo>
                      <a:pt x="708" y="728"/>
                    </a:moveTo>
                    <a:cubicBezTo>
                      <a:pt x="708" y="729"/>
                      <a:pt x="708" y="729"/>
                      <a:pt x="708" y="729"/>
                    </a:cubicBezTo>
                    <a:cubicBezTo>
                      <a:pt x="709" y="729"/>
                      <a:pt x="709" y="729"/>
                      <a:pt x="709" y="729"/>
                    </a:cubicBezTo>
                    <a:cubicBezTo>
                      <a:pt x="711" y="729"/>
                      <a:pt x="711" y="729"/>
                      <a:pt x="711" y="729"/>
                    </a:cubicBezTo>
                    <a:cubicBezTo>
                      <a:pt x="711" y="729"/>
                      <a:pt x="711" y="729"/>
                      <a:pt x="711" y="729"/>
                    </a:cubicBezTo>
                    <a:cubicBezTo>
                      <a:pt x="709" y="728"/>
                      <a:pt x="709" y="728"/>
                      <a:pt x="709" y="728"/>
                    </a:cubicBezTo>
                    <a:cubicBezTo>
                      <a:pt x="708" y="728"/>
                      <a:pt x="708" y="728"/>
                      <a:pt x="708" y="728"/>
                    </a:cubicBezTo>
                    <a:close/>
                    <a:moveTo>
                      <a:pt x="686" y="690"/>
                    </a:moveTo>
                    <a:cubicBezTo>
                      <a:pt x="686" y="691"/>
                      <a:pt x="686" y="691"/>
                      <a:pt x="686" y="691"/>
                    </a:cubicBezTo>
                    <a:cubicBezTo>
                      <a:pt x="684" y="693"/>
                      <a:pt x="684" y="693"/>
                      <a:pt x="684" y="693"/>
                    </a:cubicBezTo>
                    <a:cubicBezTo>
                      <a:pt x="683" y="693"/>
                      <a:pt x="683" y="693"/>
                      <a:pt x="683" y="693"/>
                    </a:cubicBezTo>
                    <a:cubicBezTo>
                      <a:pt x="683" y="694"/>
                      <a:pt x="683" y="694"/>
                      <a:pt x="683" y="694"/>
                    </a:cubicBezTo>
                    <a:cubicBezTo>
                      <a:pt x="683" y="694"/>
                      <a:pt x="683" y="694"/>
                      <a:pt x="683" y="694"/>
                    </a:cubicBezTo>
                    <a:cubicBezTo>
                      <a:pt x="682" y="695"/>
                      <a:pt x="682" y="695"/>
                      <a:pt x="682" y="695"/>
                    </a:cubicBezTo>
                    <a:cubicBezTo>
                      <a:pt x="682" y="696"/>
                      <a:pt x="682" y="696"/>
                      <a:pt x="682" y="696"/>
                    </a:cubicBezTo>
                    <a:cubicBezTo>
                      <a:pt x="683" y="696"/>
                      <a:pt x="683" y="696"/>
                      <a:pt x="683" y="696"/>
                    </a:cubicBezTo>
                    <a:cubicBezTo>
                      <a:pt x="682" y="697"/>
                      <a:pt x="682" y="697"/>
                      <a:pt x="682" y="697"/>
                    </a:cubicBezTo>
                    <a:cubicBezTo>
                      <a:pt x="681" y="697"/>
                      <a:pt x="681" y="697"/>
                      <a:pt x="681" y="697"/>
                    </a:cubicBezTo>
                    <a:cubicBezTo>
                      <a:pt x="680" y="698"/>
                      <a:pt x="680" y="698"/>
                      <a:pt x="680" y="698"/>
                    </a:cubicBezTo>
                    <a:cubicBezTo>
                      <a:pt x="680" y="699"/>
                      <a:pt x="680" y="699"/>
                      <a:pt x="680" y="699"/>
                    </a:cubicBezTo>
                    <a:cubicBezTo>
                      <a:pt x="680" y="699"/>
                      <a:pt x="680" y="699"/>
                      <a:pt x="680" y="699"/>
                    </a:cubicBezTo>
                    <a:cubicBezTo>
                      <a:pt x="681" y="699"/>
                      <a:pt x="681" y="699"/>
                      <a:pt x="681" y="699"/>
                    </a:cubicBezTo>
                    <a:cubicBezTo>
                      <a:pt x="680" y="700"/>
                      <a:pt x="680" y="700"/>
                      <a:pt x="680" y="700"/>
                    </a:cubicBezTo>
                    <a:cubicBezTo>
                      <a:pt x="679" y="700"/>
                      <a:pt x="679" y="700"/>
                      <a:pt x="679" y="700"/>
                    </a:cubicBezTo>
                    <a:cubicBezTo>
                      <a:pt x="678" y="702"/>
                      <a:pt x="678" y="702"/>
                      <a:pt x="678" y="702"/>
                    </a:cubicBezTo>
                    <a:cubicBezTo>
                      <a:pt x="677" y="703"/>
                      <a:pt x="677" y="703"/>
                      <a:pt x="677" y="703"/>
                    </a:cubicBezTo>
                    <a:cubicBezTo>
                      <a:pt x="675" y="706"/>
                      <a:pt x="675" y="706"/>
                      <a:pt x="675" y="706"/>
                    </a:cubicBezTo>
                    <a:cubicBezTo>
                      <a:pt x="675" y="707"/>
                      <a:pt x="675" y="707"/>
                      <a:pt x="675" y="707"/>
                    </a:cubicBezTo>
                    <a:cubicBezTo>
                      <a:pt x="676" y="708"/>
                      <a:pt x="676" y="708"/>
                      <a:pt x="676" y="708"/>
                    </a:cubicBezTo>
                    <a:cubicBezTo>
                      <a:pt x="676" y="709"/>
                      <a:pt x="676" y="709"/>
                      <a:pt x="676" y="709"/>
                    </a:cubicBezTo>
                    <a:cubicBezTo>
                      <a:pt x="675" y="709"/>
                      <a:pt x="675" y="709"/>
                      <a:pt x="675" y="709"/>
                    </a:cubicBezTo>
                    <a:cubicBezTo>
                      <a:pt x="675" y="708"/>
                      <a:pt x="675" y="708"/>
                      <a:pt x="675" y="708"/>
                    </a:cubicBezTo>
                    <a:cubicBezTo>
                      <a:pt x="674" y="708"/>
                      <a:pt x="674" y="708"/>
                      <a:pt x="674" y="708"/>
                    </a:cubicBezTo>
                    <a:cubicBezTo>
                      <a:pt x="673" y="709"/>
                      <a:pt x="673" y="709"/>
                      <a:pt x="673" y="709"/>
                    </a:cubicBezTo>
                    <a:cubicBezTo>
                      <a:pt x="672" y="710"/>
                      <a:pt x="672" y="710"/>
                      <a:pt x="672" y="710"/>
                    </a:cubicBezTo>
                    <a:cubicBezTo>
                      <a:pt x="672" y="711"/>
                      <a:pt x="672" y="711"/>
                      <a:pt x="672" y="711"/>
                    </a:cubicBezTo>
                    <a:cubicBezTo>
                      <a:pt x="673" y="711"/>
                      <a:pt x="673" y="711"/>
                      <a:pt x="673" y="711"/>
                    </a:cubicBezTo>
                    <a:cubicBezTo>
                      <a:pt x="674" y="712"/>
                      <a:pt x="674" y="712"/>
                      <a:pt x="674" y="712"/>
                    </a:cubicBezTo>
                    <a:cubicBezTo>
                      <a:pt x="673" y="713"/>
                      <a:pt x="673" y="713"/>
                      <a:pt x="673" y="713"/>
                    </a:cubicBezTo>
                    <a:cubicBezTo>
                      <a:pt x="673" y="714"/>
                      <a:pt x="673" y="714"/>
                      <a:pt x="673" y="714"/>
                    </a:cubicBezTo>
                    <a:cubicBezTo>
                      <a:pt x="672" y="715"/>
                      <a:pt x="672" y="715"/>
                      <a:pt x="672" y="715"/>
                    </a:cubicBezTo>
                    <a:cubicBezTo>
                      <a:pt x="670" y="714"/>
                      <a:pt x="670" y="714"/>
                      <a:pt x="670" y="714"/>
                    </a:cubicBezTo>
                    <a:cubicBezTo>
                      <a:pt x="669" y="714"/>
                      <a:pt x="669" y="714"/>
                      <a:pt x="669" y="714"/>
                    </a:cubicBezTo>
                    <a:cubicBezTo>
                      <a:pt x="669" y="715"/>
                      <a:pt x="669" y="715"/>
                      <a:pt x="669" y="715"/>
                    </a:cubicBezTo>
                    <a:cubicBezTo>
                      <a:pt x="668" y="717"/>
                      <a:pt x="668" y="717"/>
                      <a:pt x="668" y="717"/>
                    </a:cubicBezTo>
                    <a:cubicBezTo>
                      <a:pt x="667" y="719"/>
                      <a:pt x="667" y="719"/>
                      <a:pt x="667" y="719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6" y="718"/>
                      <a:pt x="666" y="718"/>
                      <a:pt x="666" y="718"/>
                    </a:cubicBezTo>
                    <a:cubicBezTo>
                      <a:pt x="665" y="720"/>
                      <a:pt x="665" y="720"/>
                      <a:pt x="665" y="720"/>
                    </a:cubicBezTo>
                    <a:cubicBezTo>
                      <a:pt x="664" y="719"/>
                      <a:pt x="664" y="719"/>
                      <a:pt x="664" y="719"/>
                    </a:cubicBezTo>
                    <a:cubicBezTo>
                      <a:pt x="664" y="718"/>
                      <a:pt x="664" y="718"/>
                      <a:pt x="664" y="718"/>
                    </a:cubicBezTo>
                    <a:cubicBezTo>
                      <a:pt x="666" y="717"/>
                      <a:pt x="666" y="717"/>
                      <a:pt x="666" y="717"/>
                    </a:cubicBezTo>
                    <a:cubicBezTo>
                      <a:pt x="666" y="716"/>
                      <a:pt x="666" y="716"/>
                      <a:pt x="666" y="716"/>
                    </a:cubicBezTo>
                    <a:cubicBezTo>
                      <a:pt x="665" y="716"/>
                      <a:pt x="665" y="716"/>
                      <a:pt x="665" y="716"/>
                    </a:cubicBezTo>
                    <a:cubicBezTo>
                      <a:pt x="664" y="717"/>
                      <a:pt x="664" y="717"/>
                      <a:pt x="664" y="717"/>
                    </a:cubicBezTo>
                    <a:cubicBezTo>
                      <a:pt x="662" y="719"/>
                      <a:pt x="662" y="719"/>
                      <a:pt x="662" y="719"/>
                    </a:cubicBezTo>
                    <a:cubicBezTo>
                      <a:pt x="661" y="721"/>
                      <a:pt x="661" y="721"/>
                      <a:pt x="661" y="721"/>
                    </a:cubicBezTo>
                    <a:cubicBezTo>
                      <a:pt x="662" y="721"/>
                      <a:pt x="662" y="721"/>
                      <a:pt x="662" y="721"/>
                    </a:cubicBezTo>
                    <a:cubicBezTo>
                      <a:pt x="663" y="721"/>
                      <a:pt x="663" y="721"/>
                      <a:pt x="663" y="721"/>
                    </a:cubicBezTo>
                    <a:cubicBezTo>
                      <a:pt x="666" y="720"/>
                      <a:pt x="666" y="720"/>
                      <a:pt x="666" y="720"/>
                    </a:cubicBezTo>
                    <a:cubicBezTo>
                      <a:pt x="668" y="720"/>
                      <a:pt x="668" y="720"/>
                      <a:pt x="668" y="720"/>
                    </a:cubicBezTo>
                    <a:cubicBezTo>
                      <a:pt x="667" y="722"/>
                      <a:pt x="667" y="722"/>
                      <a:pt x="667" y="722"/>
                    </a:cubicBezTo>
                    <a:cubicBezTo>
                      <a:pt x="665" y="724"/>
                      <a:pt x="665" y="724"/>
                      <a:pt x="665" y="724"/>
                    </a:cubicBezTo>
                    <a:cubicBezTo>
                      <a:pt x="664" y="726"/>
                      <a:pt x="664" y="726"/>
                      <a:pt x="664" y="726"/>
                    </a:cubicBezTo>
                    <a:cubicBezTo>
                      <a:pt x="661" y="727"/>
                      <a:pt x="661" y="727"/>
                      <a:pt x="661" y="727"/>
                    </a:cubicBezTo>
                    <a:cubicBezTo>
                      <a:pt x="660" y="729"/>
                      <a:pt x="660" y="729"/>
                      <a:pt x="660" y="729"/>
                    </a:cubicBezTo>
                    <a:cubicBezTo>
                      <a:pt x="658" y="729"/>
                      <a:pt x="658" y="729"/>
                      <a:pt x="658" y="729"/>
                    </a:cubicBezTo>
                    <a:cubicBezTo>
                      <a:pt x="658" y="730"/>
                      <a:pt x="658" y="730"/>
                      <a:pt x="658" y="730"/>
                    </a:cubicBezTo>
                    <a:cubicBezTo>
                      <a:pt x="659" y="731"/>
                      <a:pt x="659" y="731"/>
                      <a:pt x="659" y="731"/>
                    </a:cubicBezTo>
                    <a:cubicBezTo>
                      <a:pt x="658" y="732"/>
                      <a:pt x="658" y="732"/>
                      <a:pt x="658" y="732"/>
                    </a:cubicBezTo>
                    <a:cubicBezTo>
                      <a:pt x="658" y="733"/>
                      <a:pt x="658" y="733"/>
                      <a:pt x="658" y="733"/>
                    </a:cubicBezTo>
                    <a:cubicBezTo>
                      <a:pt x="660" y="733"/>
                      <a:pt x="660" y="733"/>
                      <a:pt x="660" y="733"/>
                    </a:cubicBezTo>
                    <a:cubicBezTo>
                      <a:pt x="661" y="734"/>
                      <a:pt x="661" y="734"/>
                      <a:pt x="661" y="734"/>
                    </a:cubicBezTo>
                    <a:cubicBezTo>
                      <a:pt x="664" y="733"/>
                      <a:pt x="664" y="733"/>
                      <a:pt x="664" y="733"/>
                    </a:cubicBezTo>
                    <a:cubicBezTo>
                      <a:pt x="665" y="732"/>
                      <a:pt x="665" y="732"/>
                      <a:pt x="665" y="732"/>
                    </a:cubicBezTo>
                    <a:cubicBezTo>
                      <a:pt x="666" y="732"/>
                      <a:pt x="666" y="732"/>
                      <a:pt x="666" y="732"/>
                    </a:cubicBezTo>
                    <a:cubicBezTo>
                      <a:pt x="668" y="731"/>
                      <a:pt x="668" y="731"/>
                      <a:pt x="668" y="731"/>
                    </a:cubicBezTo>
                    <a:cubicBezTo>
                      <a:pt x="668" y="730"/>
                      <a:pt x="668" y="730"/>
                      <a:pt x="668" y="730"/>
                    </a:cubicBezTo>
                    <a:cubicBezTo>
                      <a:pt x="668" y="731"/>
                      <a:pt x="668" y="731"/>
                      <a:pt x="668" y="731"/>
                    </a:cubicBezTo>
                    <a:cubicBezTo>
                      <a:pt x="667" y="732"/>
                      <a:pt x="667" y="732"/>
                      <a:pt x="667" y="732"/>
                    </a:cubicBezTo>
                    <a:cubicBezTo>
                      <a:pt x="669" y="733"/>
                      <a:pt x="669" y="733"/>
                      <a:pt x="669" y="733"/>
                    </a:cubicBezTo>
                    <a:cubicBezTo>
                      <a:pt x="671" y="732"/>
                      <a:pt x="671" y="732"/>
                      <a:pt x="671" y="732"/>
                    </a:cubicBezTo>
                    <a:cubicBezTo>
                      <a:pt x="671" y="733"/>
                      <a:pt x="671" y="733"/>
                      <a:pt x="671" y="733"/>
                    </a:cubicBezTo>
                    <a:cubicBezTo>
                      <a:pt x="674" y="733"/>
                      <a:pt x="674" y="733"/>
                      <a:pt x="674" y="733"/>
                    </a:cubicBezTo>
                    <a:cubicBezTo>
                      <a:pt x="676" y="733"/>
                      <a:pt x="676" y="733"/>
                      <a:pt x="676" y="733"/>
                    </a:cubicBezTo>
                    <a:cubicBezTo>
                      <a:pt x="676" y="733"/>
                      <a:pt x="676" y="733"/>
                      <a:pt x="676" y="733"/>
                    </a:cubicBezTo>
                    <a:cubicBezTo>
                      <a:pt x="677" y="734"/>
                      <a:pt x="677" y="734"/>
                      <a:pt x="677" y="734"/>
                    </a:cubicBezTo>
                    <a:cubicBezTo>
                      <a:pt x="678" y="734"/>
                      <a:pt x="678" y="734"/>
                      <a:pt x="678" y="734"/>
                    </a:cubicBezTo>
                    <a:cubicBezTo>
                      <a:pt x="679" y="734"/>
                      <a:pt x="679" y="734"/>
                      <a:pt x="679" y="734"/>
                    </a:cubicBezTo>
                    <a:cubicBezTo>
                      <a:pt x="679" y="735"/>
                      <a:pt x="679" y="735"/>
                      <a:pt x="679" y="735"/>
                    </a:cubicBezTo>
                    <a:cubicBezTo>
                      <a:pt x="680" y="735"/>
                      <a:pt x="680" y="735"/>
                      <a:pt x="680" y="735"/>
                    </a:cubicBezTo>
                    <a:cubicBezTo>
                      <a:pt x="681" y="734"/>
                      <a:pt x="681" y="734"/>
                      <a:pt x="681" y="734"/>
                    </a:cubicBezTo>
                    <a:cubicBezTo>
                      <a:pt x="681" y="733"/>
                      <a:pt x="681" y="733"/>
                      <a:pt x="681" y="733"/>
                    </a:cubicBezTo>
                    <a:cubicBezTo>
                      <a:pt x="683" y="733"/>
                      <a:pt x="683" y="733"/>
                      <a:pt x="683" y="733"/>
                    </a:cubicBezTo>
                    <a:cubicBezTo>
                      <a:pt x="683" y="734"/>
                      <a:pt x="683" y="734"/>
                      <a:pt x="683" y="734"/>
                    </a:cubicBezTo>
                    <a:cubicBezTo>
                      <a:pt x="684" y="734"/>
                      <a:pt x="684" y="734"/>
                      <a:pt x="684" y="734"/>
                    </a:cubicBezTo>
                    <a:cubicBezTo>
                      <a:pt x="685" y="733"/>
                      <a:pt x="685" y="733"/>
                      <a:pt x="685" y="733"/>
                    </a:cubicBezTo>
                    <a:cubicBezTo>
                      <a:pt x="685" y="733"/>
                      <a:pt x="685" y="733"/>
                      <a:pt x="685" y="733"/>
                    </a:cubicBezTo>
                    <a:cubicBezTo>
                      <a:pt x="686" y="734"/>
                      <a:pt x="686" y="734"/>
                      <a:pt x="686" y="734"/>
                    </a:cubicBezTo>
                    <a:cubicBezTo>
                      <a:pt x="687" y="733"/>
                      <a:pt x="687" y="733"/>
                      <a:pt x="687" y="733"/>
                    </a:cubicBezTo>
                    <a:cubicBezTo>
                      <a:pt x="686" y="732"/>
                      <a:pt x="686" y="732"/>
                      <a:pt x="686" y="732"/>
                    </a:cubicBezTo>
                    <a:cubicBezTo>
                      <a:pt x="687" y="731"/>
                      <a:pt x="687" y="731"/>
                      <a:pt x="687" y="731"/>
                    </a:cubicBezTo>
                    <a:cubicBezTo>
                      <a:pt x="687" y="731"/>
                      <a:pt x="687" y="731"/>
                      <a:pt x="687" y="731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8" y="730"/>
                      <a:pt x="688" y="730"/>
                      <a:pt x="688" y="730"/>
                    </a:cubicBezTo>
                    <a:cubicBezTo>
                      <a:pt x="687" y="732"/>
                      <a:pt x="687" y="732"/>
                      <a:pt x="687" y="732"/>
                    </a:cubicBezTo>
                    <a:cubicBezTo>
                      <a:pt x="688" y="733"/>
                      <a:pt x="688" y="733"/>
                      <a:pt x="688" y="733"/>
                    </a:cubicBezTo>
                    <a:cubicBezTo>
                      <a:pt x="688" y="732"/>
                      <a:pt x="688" y="732"/>
                      <a:pt x="688" y="732"/>
                    </a:cubicBezTo>
                    <a:cubicBezTo>
                      <a:pt x="689" y="730"/>
                      <a:pt x="689" y="730"/>
                      <a:pt x="689" y="730"/>
                    </a:cubicBezTo>
                    <a:cubicBezTo>
                      <a:pt x="690" y="730"/>
                      <a:pt x="690" y="730"/>
                      <a:pt x="690" y="730"/>
                    </a:cubicBezTo>
                    <a:cubicBezTo>
                      <a:pt x="690" y="732"/>
                      <a:pt x="690" y="732"/>
                      <a:pt x="690" y="732"/>
                    </a:cubicBezTo>
                    <a:cubicBezTo>
                      <a:pt x="689" y="733"/>
                      <a:pt x="689" y="733"/>
                      <a:pt x="689" y="733"/>
                    </a:cubicBezTo>
                    <a:cubicBezTo>
                      <a:pt x="689" y="733"/>
                      <a:pt x="689" y="733"/>
                      <a:pt x="689" y="733"/>
                    </a:cubicBezTo>
                    <a:cubicBezTo>
                      <a:pt x="690" y="733"/>
                      <a:pt x="690" y="733"/>
                      <a:pt x="690" y="733"/>
                    </a:cubicBezTo>
                    <a:cubicBezTo>
                      <a:pt x="691" y="733"/>
                      <a:pt x="691" y="733"/>
                      <a:pt x="691" y="733"/>
                    </a:cubicBezTo>
                    <a:cubicBezTo>
                      <a:pt x="691" y="733"/>
                      <a:pt x="691" y="733"/>
                      <a:pt x="691" y="733"/>
                    </a:cubicBezTo>
                    <a:cubicBezTo>
                      <a:pt x="689" y="734"/>
                      <a:pt x="689" y="734"/>
                      <a:pt x="689" y="734"/>
                    </a:cubicBezTo>
                    <a:cubicBezTo>
                      <a:pt x="687" y="735"/>
                      <a:pt x="687" y="735"/>
                      <a:pt x="687" y="735"/>
                    </a:cubicBezTo>
                    <a:cubicBezTo>
                      <a:pt x="688" y="736"/>
                      <a:pt x="688" y="736"/>
                      <a:pt x="688" y="736"/>
                    </a:cubicBezTo>
                    <a:cubicBezTo>
                      <a:pt x="688" y="735"/>
                      <a:pt x="688" y="735"/>
                      <a:pt x="688" y="735"/>
                    </a:cubicBezTo>
                    <a:cubicBezTo>
                      <a:pt x="689" y="735"/>
                      <a:pt x="689" y="735"/>
                      <a:pt x="689" y="735"/>
                    </a:cubicBezTo>
                    <a:cubicBezTo>
                      <a:pt x="690" y="736"/>
                      <a:pt x="690" y="736"/>
                      <a:pt x="690" y="736"/>
                    </a:cubicBezTo>
                    <a:cubicBezTo>
                      <a:pt x="691" y="736"/>
                      <a:pt x="691" y="736"/>
                      <a:pt x="691" y="736"/>
                    </a:cubicBezTo>
                    <a:cubicBezTo>
                      <a:pt x="691" y="736"/>
                      <a:pt x="691" y="736"/>
                      <a:pt x="691" y="736"/>
                    </a:cubicBezTo>
                    <a:cubicBezTo>
                      <a:pt x="692" y="736"/>
                      <a:pt x="692" y="736"/>
                      <a:pt x="692" y="736"/>
                    </a:cubicBezTo>
                    <a:cubicBezTo>
                      <a:pt x="693" y="736"/>
                      <a:pt x="693" y="736"/>
                      <a:pt x="693" y="736"/>
                    </a:cubicBezTo>
                    <a:cubicBezTo>
                      <a:pt x="693" y="734"/>
                      <a:pt x="693" y="734"/>
                      <a:pt x="693" y="734"/>
                    </a:cubicBezTo>
                    <a:cubicBezTo>
                      <a:pt x="693" y="733"/>
                      <a:pt x="693" y="733"/>
                      <a:pt x="693" y="733"/>
                    </a:cubicBezTo>
                    <a:cubicBezTo>
                      <a:pt x="694" y="734"/>
                      <a:pt x="694" y="734"/>
                      <a:pt x="694" y="734"/>
                    </a:cubicBezTo>
                    <a:cubicBezTo>
                      <a:pt x="696" y="734"/>
                      <a:pt x="696" y="734"/>
                      <a:pt x="696" y="734"/>
                    </a:cubicBezTo>
                    <a:cubicBezTo>
                      <a:pt x="696" y="735"/>
                      <a:pt x="696" y="735"/>
                      <a:pt x="696" y="735"/>
                    </a:cubicBezTo>
                    <a:cubicBezTo>
                      <a:pt x="697" y="735"/>
                      <a:pt x="697" y="735"/>
                      <a:pt x="697" y="735"/>
                    </a:cubicBezTo>
                    <a:cubicBezTo>
                      <a:pt x="698" y="734"/>
                      <a:pt x="698" y="734"/>
                      <a:pt x="698" y="734"/>
                    </a:cubicBezTo>
                    <a:cubicBezTo>
                      <a:pt x="700" y="734"/>
                      <a:pt x="700" y="734"/>
                      <a:pt x="700" y="734"/>
                    </a:cubicBezTo>
                    <a:cubicBezTo>
                      <a:pt x="699" y="735"/>
                      <a:pt x="699" y="735"/>
                      <a:pt x="699" y="735"/>
                    </a:cubicBezTo>
                    <a:cubicBezTo>
                      <a:pt x="698" y="736"/>
                      <a:pt x="698" y="736"/>
                      <a:pt x="698" y="736"/>
                    </a:cubicBezTo>
                    <a:cubicBezTo>
                      <a:pt x="697" y="736"/>
                      <a:pt x="697" y="736"/>
                      <a:pt x="697" y="736"/>
                    </a:cubicBezTo>
                    <a:cubicBezTo>
                      <a:pt x="695" y="736"/>
                      <a:pt x="695" y="736"/>
                      <a:pt x="695" y="736"/>
                    </a:cubicBezTo>
                    <a:cubicBezTo>
                      <a:pt x="694" y="737"/>
                      <a:pt x="694" y="737"/>
                      <a:pt x="694" y="737"/>
                    </a:cubicBezTo>
                    <a:cubicBezTo>
                      <a:pt x="694" y="738"/>
                      <a:pt x="694" y="738"/>
                      <a:pt x="694" y="738"/>
                    </a:cubicBezTo>
                    <a:cubicBezTo>
                      <a:pt x="694" y="738"/>
                      <a:pt x="694" y="738"/>
                      <a:pt x="694" y="738"/>
                    </a:cubicBezTo>
                    <a:cubicBezTo>
                      <a:pt x="693" y="739"/>
                      <a:pt x="693" y="739"/>
                      <a:pt x="693" y="739"/>
                    </a:cubicBezTo>
                    <a:cubicBezTo>
                      <a:pt x="692" y="739"/>
                      <a:pt x="692" y="739"/>
                      <a:pt x="692" y="739"/>
                    </a:cubicBezTo>
                    <a:cubicBezTo>
                      <a:pt x="691" y="740"/>
                      <a:pt x="691" y="740"/>
                      <a:pt x="691" y="740"/>
                    </a:cubicBezTo>
                    <a:cubicBezTo>
                      <a:pt x="691" y="740"/>
                      <a:pt x="691" y="740"/>
                      <a:pt x="691" y="740"/>
                    </a:cubicBezTo>
                    <a:cubicBezTo>
                      <a:pt x="690" y="741"/>
                      <a:pt x="690" y="741"/>
                      <a:pt x="690" y="741"/>
                    </a:cubicBezTo>
                    <a:cubicBezTo>
                      <a:pt x="689" y="741"/>
                      <a:pt x="689" y="741"/>
                      <a:pt x="689" y="741"/>
                    </a:cubicBezTo>
                    <a:cubicBezTo>
                      <a:pt x="687" y="742"/>
                      <a:pt x="687" y="742"/>
                      <a:pt x="687" y="742"/>
                    </a:cubicBezTo>
                    <a:cubicBezTo>
                      <a:pt x="687" y="743"/>
                      <a:pt x="687" y="743"/>
                      <a:pt x="687" y="743"/>
                    </a:cubicBezTo>
                    <a:cubicBezTo>
                      <a:pt x="688" y="744"/>
                      <a:pt x="688" y="744"/>
                      <a:pt x="688" y="744"/>
                    </a:cubicBezTo>
                    <a:cubicBezTo>
                      <a:pt x="688" y="744"/>
                      <a:pt x="688" y="744"/>
                      <a:pt x="688" y="744"/>
                    </a:cubicBezTo>
                    <a:cubicBezTo>
                      <a:pt x="689" y="744"/>
                      <a:pt x="689" y="744"/>
                      <a:pt x="689" y="744"/>
                    </a:cubicBezTo>
                    <a:cubicBezTo>
                      <a:pt x="690" y="744"/>
                      <a:pt x="690" y="744"/>
                      <a:pt x="690" y="744"/>
                    </a:cubicBezTo>
                    <a:cubicBezTo>
                      <a:pt x="690" y="743"/>
                      <a:pt x="690" y="743"/>
                      <a:pt x="690" y="743"/>
                    </a:cubicBezTo>
                    <a:cubicBezTo>
                      <a:pt x="691" y="743"/>
                      <a:pt x="691" y="743"/>
                      <a:pt x="691" y="743"/>
                    </a:cubicBezTo>
                    <a:cubicBezTo>
                      <a:pt x="691" y="744"/>
                      <a:pt x="691" y="744"/>
                      <a:pt x="691" y="744"/>
                    </a:cubicBezTo>
                    <a:cubicBezTo>
                      <a:pt x="692" y="745"/>
                      <a:pt x="692" y="745"/>
                      <a:pt x="692" y="745"/>
                    </a:cubicBezTo>
                    <a:cubicBezTo>
                      <a:pt x="693" y="744"/>
                      <a:pt x="693" y="744"/>
                      <a:pt x="693" y="744"/>
                    </a:cubicBezTo>
                    <a:cubicBezTo>
                      <a:pt x="694" y="743"/>
                      <a:pt x="694" y="743"/>
                      <a:pt x="694" y="743"/>
                    </a:cubicBezTo>
                    <a:cubicBezTo>
                      <a:pt x="694" y="742"/>
                      <a:pt x="694" y="742"/>
                      <a:pt x="694" y="742"/>
                    </a:cubicBezTo>
                    <a:cubicBezTo>
                      <a:pt x="695" y="742"/>
                      <a:pt x="695" y="742"/>
                      <a:pt x="695" y="742"/>
                    </a:cubicBezTo>
                    <a:cubicBezTo>
                      <a:pt x="695" y="741"/>
                      <a:pt x="695" y="741"/>
                      <a:pt x="695" y="741"/>
                    </a:cubicBezTo>
                    <a:cubicBezTo>
                      <a:pt x="696" y="740"/>
                      <a:pt x="696" y="740"/>
                      <a:pt x="696" y="740"/>
                    </a:cubicBezTo>
                    <a:cubicBezTo>
                      <a:pt x="696" y="739"/>
                      <a:pt x="696" y="739"/>
                      <a:pt x="696" y="739"/>
                    </a:cubicBezTo>
                    <a:cubicBezTo>
                      <a:pt x="698" y="738"/>
                      <a:pt x="698" y="738"/>
                      <a:pt x="698" y="738"/>
                    </a:cubicBezTo>
                    <a:cubicBezTo>
                      <a:pt x="699" y="737"/>
                      <a:pt x="699" y="737"/>
                      <a:pt x="699" y="737"/>
                    </a:cubicBezTo>
                    <a:cubicBezTo>
                      <a:pt x="699" y="738"/>
                      <a:pt x="699" y="738"/>
                      <a:pt x="699" y="738"/>
                    </a:cubicBezTo>
                    <a:cubicBezTo>
                      <a:pt x="701" y="738"/>
                      <a:pt x="701" y="738"/>
                      <a:pt x="701" y="738"/>
                    </a:cubicBezTo>
                    <a:cubicBezTo>
                      <a:pt x="700" y="738"/>
                      <a:pt x="700" y="738"/>
                      <a:pt x="700" y="738"/>
                    </a:cubicBezTo>
                    <a:cubicBezTo>
                      <a:pt x="701" y="738"/>
                      <a:pt x="701" y="738"/>
                      <a:pt x="701" y="738"/>
                    </a:cubicBezTo>
                    <a:cubicBezTo>
                      <a:pt x="701" y="737"/>
                      <a:pt x="701" y="737"/>
                      <a:pt x="701" y="737"/>
                    </a:cubicBezTo>
                    <a:cubicBezTo>
                      <a:pt x="702" y="735"/>
                      <a:pt x="702" y="735"/>
                      <a:pt x="702" y="735"/>
                    </a:cubicBezTo>
                    <a:cubicBezTo>
                      <a:pt x="703" y="733"/>
                      <a:pt x="703" y="733"/>
                      <a:pt x="703" y="733"/>
                    </a:cubicBezTo>
                    <a:cubicBezTo>
                      <a:pt x="703" y="731"/>
                      <a:pt x="703" y="731"/>
                      <a:pt x="703" y="731"/>
                    </a:cubicBezTo>
                    <a:cubicBezTo>
                      <a:pt x="704" y="731"/>
                      <a:pt x="704" y="731"/>
                      <a:pt x="704" y="731"/>
                    </a:cubicBezTo>
                    <a:cubicBezTo>
                      <a:pt x="704" y="731"/>
                      <a:pt x="704" y="731"/>
                      <a:pt x="704" y="731"/>
                    </a:cubicBezTo>
                    <a:cubicBezTo>
                      <a:pt x="705" y="732"/>
                      <a:pt x="705" y="732"/>
                      <a:pt x="705" y="732"/>
                    </a:cubicBezTo>
                    <a:cubicBezTo>
                      <a:pt x="705" y="732"/>
                      <a:pt x="705" y="732"/>
                      <a:pt x="705" y="732"/>
                    </a:cubicBezTo>
                    <a:cubicBezTo>
                      <a:pt x="706" y="732"/>
                      <a:pt x="706" y="732"/>
                      <a:pt x="706" y="732"/>
                    </a:cubicBezTo>
                    <a:cubicBezTo>
                      <a:pt x="706" y="734"/>
                      <a:pt x="706" y="734"/>
                      <a:pt x="706" y="734"/>
                    </a:cubicBezTo>
                    <a:cubicBezTo>
                      <a:pt x="706" y="735"/>
                      <a:pt x="706" y="735"/>
                      <a:pt x="706" y="735"/>
                    </a:cubicBezTo>
                    <a:cubicBezTo>
                      <a:pt x="706" y="737"/>
                      <a:pt x="706" y="737"/>
                      <a:pt x="706" y="737"/>
                    </a:cubicBezTo>
                    <a:cubicBezTo>
                      <a:pt x="706" y="738"/>
                      <a:pt x="706" y="738"/>
                      <a:pt x="706" y="738"/>
                    </a:cubicBezTo>
                    <a:cubicBezTo>
                      <a:pt x="706" y="739"/>
                      <a:pt x="706" y="739"/>
                      <a:pt x="706" y="739"/>
                    </a:cubicBezTo>
                    <a:cubicBezTo>
                      <a:pt x="704" y="740"/>
                      <a:pt x="704" y="740"/>
                      <a:pt x="704" y="740"/>
                    </a:cubicBezTo>
                    <a:cubicBezTo>
                      <a:pt x="703" y="743"/>
                      <a:pt x="703" y="743"/>
                      <a:pt x="703" y="743"/>
                    </a:cubicBezTo>
                    <a:cubicBezTo>
                      <a:pt x="703" y="744"/>
                      <a:pt x="703" y="744"/>
                      <a:pt x="703" y="744"/>
                    </a:cubicBezTo>
                    <a:cubicBezTo>
                      <a:pt x="703" y="745"/>
                      <a:pt x="703" y="745"/>
                      <a:pt x="703" y="745"/>
                    </a:cubicBezTo>
                    <a:cubicBezTo>
                      <a:pt x="703" y="746"/>
                      <a:pt x="703" y="746"/>
                      <a:pt x="703" y="746"/>
                    </a:cubicBezTo>
                    <a:cubicBezTo>
                      <a:pt x="704" y="746"/>
                      <a:pt x="704" y="746"/>
                      <a:pt x="704" y="746"/>
                    </a:cubicBezTo>
                    <a:cubicBezTo>
                      <a:pt x="705" y="745"/>
                      <a:pt x="705" y="745"/>
                      <a:pt x="705" y="745"/>
                    </a:cubicBezTo>
                    <a:cubicBezTo>
                      <a:pt x="706" y="743"/>
                      <a:pt x="706" y="743"/>
                      <a:pt x="706" y="743"/>
                    </a:cubicBezTo>
                    <a:cubicBezTo>
                      <a:pt x="707" y="743"/>
                      <a:pt x="707" y="743"/>
                      <a:pt x="707" y="743"/>
                    </a:cubicBezTo>
                    <a:cubicBezTo>
                      <a:pt x="708" y="741"/>
                      <a:pt x="708" y="741"/>
                      <a:pt x="708" y="741"/>
                    </a:cubicBezTo>
                    <a:cubicBezTo>
                      <a:pt x="709" y="740"/>
                      <a:pt x="709" y="740"/>
                      <a:pt x="709" y="740"/>
                    </a:cubicBezTo>
                    <a:cubicBezTo>
                      <a:pt x="709" y="741"/>
                      <a:pt x="709" y="741"/>
                      <a:pt x="709" y="741"/>
                    </a:cubicBezTo>
                    <a:cubicBezTo>
                      <a:pt x="711" y="741"/>
                      <a:pt x="711" y="741"/>
                      <a:pt x="711" y="741"/>
                    </a:cubicBezTo>
                    <a:cubicBezTo>
                      <a:pt x="711" y="741"/>
                      <a:pt x="711" y="741"/>
                      <a:pt x="711" y="741"/>
                    </a:cubicBezTo>
                    <a:cubicBezTo>
                      <a:pt x="710" y="742"/>
                      <a:pt x="710" y="742"/>
                      <a:pt x="710" y="742"/>
                    </a:cubicBezTo>
                    <a:cubicBezTo>
                      <a:pt x="708" y="743"/>
                      <a:pt x="708" y="743"/>
                      <a:pt x="708" y="743"/>
                    </a:cubicBezTo>
                    <a:cubicBezTo>
                      <a:pt x="708" y="744"/>
                      <a:pt x="708" y="744"/>
                      <a:pt x="708" y="744"/>
                    </a:cubicBezTo>
                    <a:cubicBezTo>
                      <a:pt x="708" y="746"/>
                      <a:pt x="708" y="746"/>
                      <a:pt x="708" y="746"/>
                    </a:cubicBezTo>
                    <a:cubicBezTo>
                      <a:pt x="708" y="746"/>
                      <a:pt x="708" y="746"/>
                      <a:pt x="708" y="746"/>
                    </a:cubicBezTo>
                    <a:cubicBezTo>
                      <a:pt x="708" y="748"/>
                      <a:pt x="708" y="748"/>
                      <a:pt x="708" y="748"/>
                    </a:cubicBezTo>
                    <a:cubicBezTo>
                      <a:pt x="709" y="749"/>
                      <a:pt x="709" y="749"/>
                      <a:pt x="709" y="749"/>
                    </a:cubicBezTo>
                    <a:cubicBezTo>
                      <a:pt x="710" y="748"/>
                      <a:pt x="710" y="748"/>
                      <a:pt x="710" y="748"/>
                    </a:cubicBezTo>
                    <a:cubicBezTo>
                      <a:pt x="710" y="747"/>
                      <a:pt x="710" y="747"/>
                      <a:pt x="710" y="747"/>
                    </a:cubicBezTo>
                    <a:cubicBezTo>
                      <a:pt x="710" y="747"/>
                      <a:pt x="711" y="747"/>
                      <a:pt x="711" y="747"/>
                    </a:cubicBezTo>
                    <a:cubicBezTo>
                      <a:pt x="711" y="747"/>
                      <a:pt x="712" y="748"/>
                      <a:pt x="712" y="748"/>
                    </a:cubicBezTo>
                    <a:cubicBezTo>
                      <a:pt x="713" y="748"/>
                      <a:pt x="713" y="748"/>
                      <a:pt x="713" y="748"/>
                    </a:cubicBezTo>
                    <a:cubicBezTo>
                      <a:pt x="714" y="747"/>
                      <a:pt x="714" y="747"/>
                      <a:pt x="714" y="747"/>
                    </a:cubicBezTo>
                    <a:cubicBezTo>
                      <a:pt x="714" y="747"/>
                      <a:pt x="714" y="747"/>
                      <a:pt x="714" y="747"/>
                    </a:cubicBezTo>
                    <a:cubicBezTo>
                      <a:pt x="715" y="746"/>
                      <a:pt x="715" y="746"/>
                      <a:pt x="715" y="746"/>
                    </a:cubicBezTo>
                    <a:cubicBezTo>
                      <a:pt x="715" y="745"/>
                      <a:pt x="715" y="745"/>
                      <a:pt x="715" y="745"/>
                    </a:cubicBezTo>
                    <a:cubicBezTo>
                      <a:pt x="715" y="744"/>
                      <a:pt x="715" y="744"/>
                      <a:pt x="715" y="744"/>
                    </a:cubicBezTo>
                    <a:cubicBezTo>
                      <a:pt x="716" y="744"/>
                      <a:pt x="716" y="744"/>
                      <a:pt x="716" y="744"/>
                    </a:cubicBezTo>
                    <a:cubicBezTo>
                      <a:pt x="716" y="743"/>
                      <a:pt x="716" y="743"/>
                      <a:pt x="716" y="743"/>
                    </a:cubicBezTo>
                    <a:cubicBezTo>
                      <a:pt x="715" y="742"/>
                      <a:pt x="715" y="742"/>
                      <a:pt x="715" y="742"/>
                    </a:cubicBezTo>
                    <a:cubicBezTo>
                      <a:pt x="716" y="741"/>
                      <a:pt x="716" y="741"/>
                      <a:pt x="716" y="741"/>
                    </a:cubicBezTo>
                    <a:cubicBezTo>
                      <a:pt x="717" y="738"/>
                      <a:pt x="717" y="738"/>
                      <a:pt x="717" y="738"/>
                    </a:cubicBezTo>
                    <a:cubicBezTo>
                      <a:pt x="718" y="737"/>
                      <a:pt x="718" y="737"/>
                      <a:pt x="718" y="737"/>
                    </a:cubicBezTo>
                    <a:cubicBezTo>
                      <a:pt x="718" y="734"/>
                      <a:pt x="718" y="734"/>
                      <a:pt x="718" y="734"/>
                    </a:cubicBezTo>
                    <a:cubicBezTo>
                      <a:pt x="718" y="733"/>
                      <a:pt x="718" y="733"/>
                      <a:pt x="718" y="733"/>
                    </a:cubicBezTo>
                    <a:cubicBezTo>
                      <a:pt x="717" y="733"/>
                      <a:pt x="717" y="733"/>
                      <a:pt x="717" y="733"/>
                    </a:cubicBezTo>
                    <a:cubicBezTo>
                      <a:pt x="717" y="734"/>
                      <a:pt x="717" y="734"/>
                      <a:pt x="717" y="734"/>
                    </a:cubicBezTo>
                    <a:cubicBezTo>
                      <a:pt x="717" y="735"/>
                      <a:pt x="717" y="735"/>
                      <a:pt x="717" y="735"/>
                    </a:cubicBezTo>
                    <a:cubicBezTo>
                      <a:pt x="716" y="736"/>
                      <a:pt x="716" y="736"/>
                      <a:pt x="716" y="736"/>
                    </a:cubicBezTo>
                    <a:cubicBezTo>
                      <a:pt x="714" y="737"/>
                      <a:pt x="714" y="737"/>
                      <a:pt x="714" y="737"/>
                    </a:cubicBezTo>
                    <a:cubicBezTo>
                      <a:pt x="714" y="738"/>
                      <a:pt x="714" y="738"/>
                      <a:pt x="714" y="738"/>
                    </a:cubicBezTo>
                    <a:cubicBezTo>
                      <a:pt x="713" y="736"/>
                      <a:pt x="713" y="736"/>
                      <a:pt x="713" y="736"/>
                    </a:cubicBezTo>
                    <a:cubicBezTo>
                      <a:pt x="713" y="735"/>
                      <a:pt x="713" y="735"/>
                      <a:pt x="713" y="735"/>
                    </a:cubicBezTo>
                    <a:cubicBezTo>
                      <a:pt x="713" y="733"/>
                      <a:pt x="713" y="733"/>
                      <a:pt x="713" y="733"/>
                    </a:cubicBezTo>
                    <a:cubicBezTo>
                      <a:pt x="715" y="732"/>
                      <a:pt x="715" y="732"/>
                      <a:pt x="715" y="732"/>
                    </a:cubicBezTo>
                    <a:cubicBezTo>
                      <a:pt x="715" y="731"/>
                      <a:pt x="715" y="731"/>
                      <a:pt x="715" y="731"/>
                    </a:cubicBezTo>
                    <a:cubicBezTo>
                      <a:pt x="717" y="730"/>
                      <a:pt x="717" y="730"/>
                      <a:pt x="717" y="730"/>
                    </a:cubicBezTo>
                    <a:cubicBezTo>
                      <a:pt x="717" y="730"/>
                      <a:pt x="717" y="730"/>
                      <a:pt x="717" y="730"/>
                    </a:cubicBezTo>
                    <a:cubicBezTo>
                      <a:pt x="718" y="730"/>
                      <a:pt x="718" y="730"/>
                      <a:pt x="718" y="730"/>
                    </a:cubicBezTo>
                    <a:cubicBezTo>
                      <a:pt x="717" y="729"/>
                      <a:pt x="717" y="729"/>
                      <a:pt x="717" y="729"/>
                    </a:cubicBezTo>
                    <a:cubicBezTo>
                      <a:pt x="717" y="729"/>
                      <a:pt x="717" y="729"/>
                      <a:pt x="717" y="729"/>
                    </a:cubicBezTo>
                    <a:cubicBezTo>
                      <a:pt x="716" y="730"/>
                      <a:pt x="716" y="730"/>
                      <a:pt x="716" y="730"/>
                    </a:cubicBezTo>
                    <a:cubicBezTo>
                      <a:pt x="715" y="730"/>
                      <a:pt x="715" y="730"/>
                      <a:pt x="715" y="730"/>
                    </a:cubicBezTo>
                    <a:cubicBezTo>
                      <a:pt x="714" y="730"/>
                      <a:pt x="714" y="730"/>
                      <a:pt x="714" y="730"/>
                    </a:cubicBezTo>
                    <a:cubicBezTo>
                      <a:pt x="712" y="732"/>
                      <a:pt x="712" y="732"/>
                      <a:pt x="712" y="732"/>
                    </a:cubicBezTo>
                    <a:cubicBezTo>
                      <a:pt x="712" y="733"/>
                      <a:pt x="712" y="733"/>
                      <a:pt x="712" y="733"/>
                    </a:cubicBezTo>
                    <a:cubicBezTo>
                      <a:pt x="710" y="734"/>
                      <a:pt x="710" y="734"/>
                      <a:pt x="710" y="734"/>
                    </a:cubicBezTo>
                    <a:cubicBezTo>
                      <a:pt x="710" y="735"/>
                      <a:pt x="710" y="735"/>
                      <a:pt x="710" y="735"/>
                    </a:cubicBezTo>
                    <a:cubicBezTo>
                      <a:pt x="709" y="736"/>
                      <a:pt x="709" y="736"/>
                      <a:pt x="709" y="736"/>
                    </a:cubicBezTo>
                    <a:cubicBezTo>
                      <a:pt x="708" y="734"/>
                      <a:pt x="708" y="734"/>
                      <a:pt x="708" y="734"/>
                    </a:cubicBezTo>
                    <a:cubicBezTo>
                      <a:pt x="708" y="733"/>
                      <a:pt x="708" y="733"/>
                      <a:pt x="708" y="733"/>
                    </a:cubicBezTo>
                    <a:cubicBezTo>
                      <a:pt x="707" y="732"/>
                      <a:pt x="707" y="732"/>
                      <a:pt x="707" y="732"/>
                    </a:cubicBezTo>
                    <a:cubicBezTo>
                      <a:pt x="707" y="731"/>
                      <a:pt x="707" y="731"/>
                      <a:pt x="707" y="731"/>
                    </a:cubicBezTo>
                    <a:cubicBezTo>
                      <a:pt x="708" y="732"/>
                      <a:pt x="708" y="732"/>
                      <a:pt x="708" y="732"/>
                    </a:cubicBezTo>
                    <a:cubicBezTo>
                      <a:pt x="708" y="732"/>
                      <a:pt x="708" y="732"/>
                      <a:pt x="708" y="732"/>
                    </a:cubicBezTo>
                    <a:cubicBezTo>
                      <a:pt x="710" y="730"/>
                      <a:pt x="710" y="730"/>
                      <a:pt x="710" y="730"/>
                    </a:cubicBezTo>
                    <a:cubicBezTo>
                      <a:pt x="709" y="730"/>
                      <a:pt x="709" y="730"/>
                      <a:pt x="709" y="730"/>
                    </a:cubicBezTo>
                    <a:cubicBezTo>
                      <a:pt x="707" y="730"/>
                      <a:pt x="707" y="730"/>
                      <a:pt x="707" y="730"/>
                    </a:cubicBezTo>
                    <a:cubicBezTo>
                      <a:pt x="708" y="730"/>
                      <a:pt x="708" y="730"/>
                      <a:pt x="708" y="730"/>
                    </a:cubicBezTo>
                    <a:cubicBezTo>
                      <a:pt x="710" y="730"/>
                      <a:pt x="710" y="730"/>
                      <a:pt x="710" y="730"/>
                    </a:cubicBezTo>
                    <a:cubicBezTo>
                      <a:pt x="708" y="730"/>
                      <a:pt x="708" y="730"/>
                      <a:pt x="708" y="730"/>
                    </a:cubicBezTo>
                    <a:cubicBezTo>
                      <a:pt x="708" y="729"/>
                      <a:pt x="708" y="729"/>
                      <a:pt x="708" y="729"/>
                    </a:cubicBezTo>
                    <a:cubicBezTo>
                      <a:pt x="708" y="728"/>
                      <a:pt x="708" y="728"/>
                      <a:pt x="708" y="728"/>
                    </a:cubicBezTo>
                    <a:cubicBezTo>
                      <a:pt x="708" y="727"/>
                      <a:pt x="708" y="727"/>
                      <a:pt x="708" y="727"/>
                    </a:cubicBezTo>
                    <a:cubicBezTo>
                      <a:pt x="710" y="727"/>
                      <a:pt x="710" y="727"/>
                      <a:pt x="710" y="727"/>
                    </a:cubicBezTo>
                    <a:cubicBezTo>
                      <a:pt x="710" y="727"/>
                      <a:pt x="710" y="727"/>
                      <a:pt x="710" y="727"/>
                    </a:cubicBezTo>
                    <a:cubicBezTo>
                      <a:pt x="712" y="726"/>
                      <a:pt x="712" y="726"/>
                      <a:pt x="712" y="726"/>
                    </a:cubicBezTo>
                    <a:cubicBezTo>
                      <a:pt x="712" y="724"/>
                      <a:pt x="712" y="724"/>
                      <a:pt x="712" y="724"/>
                    </a:cubicBezTo>
                    <a:cubicBezTo>
                      <a:pt x="714" y="724"/>
                      <a:pt x="714" y="724"/>
                      <a:pt x="714" y="724"/>
                    </a:cubicBezTo>
                    <a:cubicBezTo>
                      <a:pt x="714" y="725"/>
                      <a:pt x="714" y="725"/>
                      <a:pt x="714" y="725"/>
                    </a:cubicBezTo>
                    <a:cubicBezTo>
                      <a:pt x="716" y="724"/>
                      <a:pt x="716" y="724"/>
                      <a:pt x="716" y="724"/>
                    </a:cubicBezTo>
                    <a:cubicBezTo>
                      <a:pt x="717" y="722"/>
                      <a:pt x="717" y="722"/>
                      <a:pt x="717" y="722"/>
                    </a:cubicBezTo>
                    <a:cubicBezTo>
                      <a:pt x="717" y="721"/>
                      <a:pt x="717" y="721"/>
                      <a:pt x="717" y="721"/>
                    </a:cubicBezTo>
                    <a:cubicBezTo>
                      <a:pt x="716" y="720"/>
                      <a:pt x="716" y="720"/>
                      <a:pt x="716" y="720"/>
                    </a:cubicBezTo>
                    <a:cubicBezTo>
                      <a:pt x="715" y="721"/>
                      <a:pt x="715" y="721"/>
                      <a:pt x="715" y="721"/>
                    </a:cubicBezTo>
                    <a:cubicBezTo>
                      <a:pt x="714" y="722"/>
                      <a:pt x="714" y="722"/>
                      <a:pt x="714" y="722"/>
                    </a:cubicBezTo>
                    <a:cubicBezTo>
                      <a:pt x="714" y="721"/>
                      <a:pt x="714" y="721"/>
                      <a:pt x="714" y="721"/>
                    </a:cubicBezTo>
                    <a:cubicBezTo>
                      <a:pt x="713" y="721"/>
                      <a:pt x="713" y="721"/>
                      <a:pt x="713" y="721"/>
                    </a:cubicBezTo>
                    <a:cubicBezTo>
                      <a:pt x="712" y="722"/>
                      <a:pt x="712" y="722"/>
                      <a:pt x="712" y="722"/>
                    </a:cubicBezTo>
                    <a:cubicBezTo>
                      <a:pt x="712" y="723"/>
                      <a:pt x="712" y="723"/>
                      <a:pt x="712" y="723"/>
                    </a:cubicBezTo>
                    <a:cubicBezTo>
                      <a:pt x="712" y="724"/>
                      <a:pt x="712" y="724"/>
                      <a:pt x="712" y="724"/>
                    </a:cubicBezTo>
                    <a:cubicBezTo>
                      <a:pt x="711" y="724"/>
                      <a:pt x="711" y="724"/>
                      <a:pt x="711" y="724"/>
                    </a:cubicBezTo>
                    <a:cubicBezTo>
                      <a:pt x="710" y="725"/>
                      <a:pt x="710" y="725"/>
                      <a:pt x="710" y="725"/>
                    </a:cubicBezTo>
                    <a:cubicBezTo>
                      <a:pt x="709" y="725"/>
                      <a:pt x="709" y="725"/>
                      <a:pt x="709" y="725"/>
                    </a:cubicBezTo>
                    <a:cubicBezTo>
                      <a:pt x="709" y="726"/>
                      <a:pt x="709" y="726"/>
                      <a:pt x="709" y="726"/>
                    </a:cubicBezTo>
                    <a:cubicBezTo>
                      <a:pt x="708" y="726"/>
                      <a:pt x="708" y="726"/>
                      <a:pt x="708" y="726"/>
                    </a:cubicBezTo>
                    <a:cubicBezTo>
                      <a:pt x="708" y="726"/>
                      <a:pt x="708" y="726"/>
                      <a:pt x="708" y="726"/>
                    </a:cubicBezTo>
                    <a:cubicBezTo>
                      <a:pt x="708" y="724"/>
                      <a:pt x="708" y="724"/>
                      <a:pt x="708" y="724"/>
                    </a:cubicBezTo>
                    <a:cubicBezTo>
                      <a:pt x="708" y="725"/>
                      <a:pt x="708" y="725"/>
                      <a:pt x="708" y="725"/>
                    </a:cubicBezTo>
                    <a:cubicBezTo>
                      <a:pt x="707" y="725"/>
                      <a:pt x="707" y="725"/>
                      <a:pt x="707" y="725"/>
                    </a:cubicBezTo>
                    <a:cubicBezTo>
                      <a:pt x="708" y="724"/>
                      <a:pt x="708" y="724"/>
                      <a:pt x="708" y="724"/>
                    </a:cubicBezTo>
                    <a:cubicBezTo>
                      <a:pt x="709" y="723"/>
                      <a:pt x="709" y="723"/>
                      <a:pt x="709" y="723"/>
                    </a:cubicBezTo>
                    <a:cubicBezTo>
                      <a:pt x="709" y="723"/>
                      <a:pt x="709" y="723"/>
                      <a:pt x="709" y="723"/>
                    </a:cubicBezTo>
                    <a:cubicBezTo>
                      <a:pt x="708" y="722"/>
                      <a:pt x="708" y="722"/>
                      <a:pt x="708" y="722"/>
                    </a:cubicBezTo>
                    <a:cubicBezTo>
                      <a:pt x="709" y="722"/>
                      <a:pt x="709" y="722"/>
                      <a:pt x="709" y="722"/>
                    </a:cubicBezTo>
                    <a:cubicBezTo>
                      <a:pt x="710" y="720"/>
                      <a:pt x="710" y="720"/>
                      <a:pt x="710" y="720"/>
                    </a:cubicBezTo>
                    <a:cubicBezTo>
                      <a:pt x="709" y="720"/>
                      <a:pt x="709" y="720"/>
                      <a:pt x="709" y="720"/>
                    </a:cubicBezTo>
                    <a:cubicBezTo>
                      <a:pt x="708" y="721"/>
                      <a:pt x="708" y="721"/>
                      <a:pt x="708" y="721"/>
                    </a:cubicBezTo>
                    <a:cubicBezTo>
                      <a:pt x="709" y="720"/>
                      <a:pt x="709" y="720"/>
                      <a:pt x="709" y="720"/>
                    </a:cubicBezTo>
                    <a:cubicBezTo>
                      <a:pt x="709" y="719"/>
                      <a:pt x="709" y="719"/>
                      <a:pt x="709" y="719"/>
                    </a:cubicBezTo>
                    <a:cubicBezTo>
                      <a:pt x="708" y="719"/>
                      <a:pt x="708" y="719"/>
                      <a:pt x="708" y="719"/>
                    </a:cubicBezTo>
                    <a:cubicBezTo>
                      <a:pt x="707" y="719"/>
                      <a:pt x="707" y="719"/>
                      <a:pt x="707" y="719"/>
                    </a:cubicBezTo>
                    <a:cubicBezTo>
                      <a:pt x="705" y="719"/>
                      <a:pt x="705" y="719"/>
                      <a:pt x="705" y="719"/>
                    </a:cubicBezTo>
                    <a:cubicBezTo>
                      <a:pt x="707" y="719"/>
                      <a:pt x="707" y="719"/>
                      <a:pt x="707" y="719"/>
                    </a:cubicBezTo>
                    <a:cubicBezTo>
                      <a:pt x="708" y="718"/>
                      <a:pt x="708" y="718"/>
                      <a:pt x="708" y="718"/>
                    </a:cubicBezTo>
                    <a:cubicBezTo>
                      <a:pt x="709" y="718"/>
                      <a:pt x="709" y="718"/>
                      <a:pt x="709" y="718"/>
                    </a:cubicBezTo>
                    <a:cubicBezTo>
                      <a:pt x="710" y="717"/>
                      <a:pt x="710" y="717"/>
                      <a:pt x="710" y="717"/>
                    </a:cubicBezTo>
                    <a:cubicBezTo>
                      <a:pt x="711" y="716"/>
                      <a:pt x="711" y="716"/>
                      <a:pt x="711" y="716"/>
                    </a:cubicBezTo>
                    <a:cubicBezTo>
                      <a:pt x="712" y="716"/>
                      <a:pt x="712" y="716"/>
                      <a:pt x="712" y="716"/>
                    </a:cubicBezTo>
                    <a:cubicBezTo>
                      <a:pt x="713" y="716"/>
                      <a:pt x="713" y="716"/>
                      <a:pt x="713" y="716"/>
                    </a:cubicBezTo>
                    <a:cubicBezTo>
                      <a:pt x="713" y="714"/>
                      <a:pt x="713" y="714"/>
                      <a:pt x="713" y="714"/>
                    </a:cubicBezTo>
                    <a:cubicBezTo>
                      <a:pt x="714" y="714"/>
                      <a:pt x="714" y="714"/>
                      <a:pt x="714" y="714"/>
                    </a:cubicBezTo>
                    <a:cubicBezTo>
                      <a:pt x="714" y="713"/>
                      <a:pt x="714" y="713"/>
                      <a:pt x="714" y="713"/>
                    </a:cubicBezTo>
                    <a:cubicBezTo>
                      <a:pt x="713" y="712"/>
                      <a:pt x="713" y="712"/>
                      <a:pt x="713" y="712"/>
                    </a:cubicBezTo>
                    <a:cubicBezTo>
                      <a:pt x="711" y="710"/>
                      <a:pt x="711" y="710"/>
                      <a:pt x="711" y="710"/>
                    </a:cubicBezTo>
                    <a:cubicBezTo>
                      <a:pt x="710" y="710"/>
                      <a:pt x="710" y="710"/>
                      <a:pt x="710" y="710"/>
                    </a:cubicBezTo>
                    <a:cubicBezTo>
                      <a:pt x="708" y="711"/>
                      <a:pt x="708" y="711"/>
                      <a:pt x="708" y="711"/>
                    </a:cubicBezTo>
                    <a:cubicBezTo>
                      <a:pt x="707" y="711"/>
                      <a:pt x="707" y="711"/>
                      <a:pt x="707" y="711"/>
                    </a:cubicBezTo>
                    <a:cubicBezTo>
                      <a:pt x="707" y="712"/>
                      <a:pt x="707" y="712"/>
                      <a:pt x="707" y="712"/>
                    </a:cubicBezTo>
                    <a:cubicBezTo>
                      <a:pt x="706" y="713"/>
                      <a:pt x="706" y="713"/>
                      <a:pt x="706" y="713"/>
                    </a:cubicBezTo>
                    <a:cubicBezTo>
                      <a:pt x="706" y="715"/>
                      <a:pt x="706" y="715"/>
                      <a:pt x="706" y="715"/>
                    </a:cubicBezTo>
                    <a:cubicBezTo>
                      <a:pt x="705" y="715"/>
                      <a:pt x="705" y="715"/>
                      <a:pt x="705" y="715"/>
                    </a:cubicBezTo>
                    <a:cubicBezTo>
                      <a:pt x="706" y="715"/>
                      <a:pt x="706" y="715"/>
                      <a:pt x="706" y="715"/>
                    </a:cubicBezTo>
                    <a:cubicBezTo>
                      <a:pt x="706" y="713"/>
                      <a:pt x="706" y="713"/>
                      <a:pt x="706" y="713"/>
                    </a:cubicBezTo>
                    <a:cubicBezTo>
                      <a:pt x="706" y="712"/>
                      <a:pt x="706" y="712"/>
                      <a:pt x="706" y="712"/>
                    </a:cubicBezTo>
                    <a:cubicBezTo>
                      <a:pt x="706" y="711"/>
                      <a:pt x="706" y="711"/>
                      <a:pt x="706" y="711"/>
                    </a:cubicBezTo>
                    <a:cubicBezTo>
                      <a:pt x="707" y="710"/>
                      <a:pt x="707" y="710"/>
                      <a:pt x="707" y="710"/>
                    </a:cubicBezTo>
                    <a:cubicBezTo>
                      <a:pt x="706" y="710"/>
                      <a:pt x="706" y="710"/>
                      <a:pt x="706" y="710"/>
                    </a:cubicBezTo>
                    <a:cubicBezTo>
                      <a:pt x="705" y="711"/>
                      <a:pt x="705" y="711"/>
                      <a:pt x="705" y="711"/>
                    </a:cubicBezTo>
                    <a:cubicBezTo>
                      <a:pt x="704" y="712"/>
                      <a:pt x="704" y="712"/>
                      <a:pt x="704" y="712"/>
                    </a:cubicBezTo>
                    <a:cubicBezTo>
                      <a:pt x="703" y="713"/>
                      <a:pt x="703" y="713"/>
                      <a:pt x="703" y="713"/>
                    </a:cubicBezTo>
                    <a:cubicBezTo>
                      <a:pt x="702" y="712"/>
                      <a:pt x="702" y="712"/>
                      <a:pt x="702" y="712"/>
                    </a:cubicBezTo>
                    <a:cubicBezTo>
                      <a:pt x="702" y="713"/>
                      <a:pt x="702" y="713"/>
                      <a:pt x="702" y="713"/>
                    </a:cubicBezTo>
                    <a:cubicBezTo>
                      <a:pt x="701" y="713"/>
                      <a:pt x="701" y="713"/>
                      <a:pt x="701" y="713"/>
                    </a:cubicBezTo>
                    <a:cubicBezTo>
                      <a:pt x="700" y="712"/>
                      <a:pt x="700" y="712"/>
                      <a:pt x="700" y="712"/>
                    </a:cubicBezTo>
                    <a:cubicBezTo>
                      <a:pt x="699" y="713"/>
                      <a:pt x="699" y="713"/>
                      <a:pt x="699" y="713"/>
                    </a:cubicBezTo>
                    <a:cubicBezTo>
                      <a:pt x="699" y="715"/>
                      <a:pt x="699" y="715"/>
                      <a:pt x="699" y="715"/>
                    </a:cubicBezTo>
                    <a:cubicBezTo>
                      <a:pt x="697" y="716"/>
                      <a:pt x="697" y="716"/>
                      <a:pt x="697" y="716"/>
                    </a:cubicBezTo>
                    <a:cubicBezTo>
                      <a:pt x="698" y="715"/>
                      <a:pt x="698" y="715"/>
                      <a:pt x="698" y="715"/>
                    </a:cubicBezTo>
                    <a:cubicBezTo>
                      <a:pt x="699" y="713"/>
                      <a:pt x="699" y="713"/>
                      <a:pt x="699" y="713"/>
                    </a:cubicBezTo>
                    <a:cubicBezTo>
                      <a:pt x="700" y="711"/>
                      <a:pt x="700" y="711"/>
                      <a:pt x="700" y="711"/>
                    </a:cubicBezTo>
                    <a:cubicBezTo>
                      <a:pt x="699" y="711"/>
                      <a:pt x="699" y="711"/>
                      <a:pt x="699" y="711"/>
                    </a:cubicBezTo>
                    <a:cubicBezTo>
                      <a:pt x="698" y="711"/>
                      <a:pt x="698" y="711"/>
                      <a:pt x="698" y="711"/>
                    </a:cubicBezTo>
                    <a:cubicBezTo>
                      <a:pt x="698" y="712"/>
                      <a:pt x="698" y="712"/>
                      <a:pt x="698" y="712"/>
                    </a:cubicBezTo>
                    <a:cubicBezTo>
                      <a:pt x="697" y="713"/>
                      <a:pt x="697" y="713"/>
                      <a:pt x="697" y="713"/>
                    </a:cubicBezTo>
                    <a:cubicBezTo>
                      <a:pt x="696" y="712"/>
                      <a:pt x="696" y="712"/>
                      <a:pt x="696" y="712"/>
                    </a:cubicBezTo>
                    <a:cubicBezTo>
                      <a:pt x="697" y="712"/>
                      <a:pt x="697" y="712"/>
                      <a:pt x="697" y="712"/>
                    </a:cubicBezTo>
                    <a:cubicBezTo>
                      <a:pt x="697" y="711"/>
                      <a:pt x="697" y="711"/>
                      <a:pt x="697" y="711"/>
                    </a:cubicBezTo>
                    <a:cubicBezTo>
                      <a:pt x="697" y="710"/>
                      <a:pt x="697" y="710"/>
                      <a:pt x="697" y="710"/>
                    </a:cubicBezTo>
                    <a:cubicBezTo>
                      <a:pt x="696" y="711"/>
                      <a:pt x="696" y="711"/>
                      <a:pt x="696" y="711"/>
                    </a:cubicBezTo>
                    <a:cubicBezTo>
                      <a:pt x="694" y="712"/>
                      <a:pt x="694" y="712"/>
                      <a:pt x="694" y="712"/>
                    </a:cubicBezTo>
                    <a:cubicBezTo>
                      <a:pt x="694" y="712"/>
                      <a:pt x="694" y="712"/>
                      <a:pt x="694" y="712"/>
                    </a:cubicBezTo>
                    <a:cubicBezTo>
                      <a:pt x="693" y="710"/>
                      <a:pt x="693" y="710"/>
                      <a:pt x="693" y="710"/>
                    </a:cubicBezTo>
                    <a:cubicBezTo>
                      <a:pt x="693" y="710"/>
                      <a:pt x="693" y="710"/>
                      <a:pt x="693" y="710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1" y="711"/>
                      <a:pt x="691" y="711"/>
                      <a:pt x="691" y="711"/>
                    </a:cubicBezTo>
                    <a:cubicBezTo>
                      <a:pt x="692" y="710"/>
                      <a:pt x="692" y="710"/>
                      <a:pt x="692" y="710"/>
                    </a:cubicBezTo>
                    <a:cubicBezTo>
                      <a:pt x="693" y="708"/>
                      <a:pt x="693" y="708"/>
                      <a:pt x="693" y="708"/>
                    </a:cubicBezTo>
                    <a:cubicBezTo>
                      <a:pt x="694" y="707"/>
                      <a:pt x="694" y="707"/>
                      <a:pt x="694" y="707"/>
                    </a:cubicBezTo>
                    <a:cubicBezTo>
                      <a:pt x="693" y="707"/>
                      <a:pt x="693" y="707"/>
                      <a:pt x="693" y="707"/>
                    </a:cubicBezTo>
                    <a:cubicBezTo>
                      <a:pt x="692" y="707"/>
                      <a:pt x="692" y="707"/>
                      <a:pt x="692" y="707"/>
                    </a:cubicBezTo>
                    <a:cubicBezTo>
                      <a:pt x="691" y="708"/>
                      <a:pt x="691" y="708"/>
                      <a:pt x="691" y="708"/>
                    </a:cubicBezTo>
                    <a:cubicBezTo>
                      <a:pt x="692" y="707"/>
                      <a:pt x="692" y="707"/>
                      <a:pt x="692" y="707"/>
                    </a:cubicBezTo>
                    <a:cubicBezTo>
                      <a:pt x="693" y="706"/>
                      <a:pt x="693" y="706"/>
                      <a:pt x="693" y="706"/>
                    </a:cubicBezTo>
                    <a:cubicBezTo>
                      <a:pt x="695" y="705"/>
                      <a:pt x="695" y="705"/>
                      <a:pt x="695" y="705"/>
                    </a:cubicBezTo>
                    <a:cubicBezTo>
                      <a:pt x="695" y="705"/>
                      <a:pt x="695" y="705"/>
                      <a:pt x="695" y="705"/>
                    </a:cubicBezTo>
                    <a:cubicBezTo>
                      <a:pt x="697" y="705"/>
                      <a:pt x="697" y="705"/>
                      <a:pt x="697" y="705"/>
                    </a:cubicBezTo>
                    <a:cubicBezTo>
                      <a:pt x="698" y="704"/>
                      <a:pt x="698" y="704"/>
                      <a:pt x="698" y="704"/>
                    </a:cubicBezTo>
                    <a:cubicBezTo>
                      <a:pt x="698" y="703"/>
                      <a:pt x="698" y="703"/>
                      <a:pt x="698" y="703"/>
                    </a:cubicBezTo>
                    <a:cubicBezTo>
                      <a:pt x="697" y="703"/>
                      <a:pt x="697" y="703"/>
                      <a:pt x="697" y="703"/>
                    </a:cubicBezTo>
                    <a:cubicBezTo>
                      <a:pt x="695" y="704"/>
                      <a:pt x="695" y="704"/>
                      <a:pt x="695" y="704"/>
                    </a:cubicBezTo>
                    <a:cubicBezTo>
                      <a:pt x="694" y="703"/>
                      <a:pt x="694" y="703"/>
                      <a:pt x="694" y="703"/>
                    </a:cubicBezTo>
                    <a:cubicBezTo>
                      <a:pt x="693" y="702"/>
                      <a:pt x="693" y="702"/>
                      <a:pt x="693" y="702"/>
                    </a:cubicBezTo>
                    <a:cubicBezTo>
                      <a:pt x="692" y="702"/>
                      <a:pt x="692" y="702"/>
                      <a:pt x="692" y="702"/>
                    </a:cubicBezTo>
                    <a:cubicBezTo>
                      <a:pt x="692" y="703"/>
                      <a:pt x="692" y="703"/>
                      <a:pt x="692" y="703"/>
                    </a:cubicBezTo>
                    <a:cubicBezTo>
                      <a:pt x="692" y="701"/>
                      <a:pt x="692" y="701"/>
                      <a:pt x="692" y="701"/>
                    </a:cubicBezTo>
                    <a:cubicBezTo>
                      <a:pt x="693" y="701"/>
                      <a:pt x="693" y="701"/>
                      <a:pt x="693" y="701"/>
                    </a:cubicBezTo>
                    <a:cubicBezTo>
                      <a:pt x="693" y="700"/>
                      <a:pt x="693" y="700"/>
                      <a:pt x="693" y="700"/>
                    </a:cubicBezTo>
                    <a:cubicBezTo>
                      <a:pt x="692" y="701"/>
                      <a:pt x="692" y="701"/>
                      <a:pt x="692" y="701"/>
                    </a:cubicBezTo>
                    <a:cubicBezTo>
                      <a:pt x="690" y="702"/>
                      <a:pt x="690" y="702"/>
                      <a:pt x="690" y="702"/>
                    </a:cubicBezTo>
                    <a:cubicBezTo>
                      <a:pt x="690" y="703"/>
                      <a:pt x="690" y="703"/>
                      <a:pt x="690" y="703"/>
                    </a:cubicBezTo>
                    <a:cubicBezTo>
                      <a:pt x="689" y="704"/>
                      <a:pt x="689" y="704"/>
                      <a:pt x="689" y="704"/>
                    </a:cubicBezTo>
                    <a:cubicBezTo>
                      <a:pt x="688" y="705"/>
                      <a:pt x="688" y="705"/>
                      <a:pt x="688" y="705"/>
                    </a:cubicBezTo>
                    <a:cubicBezTo>
                      <a:pt x="687" y="706"/>
                      <a:pt x="687" y="706"/>
                      <a:pt x="687" y="706"/>
                    </a:cubicBezTo>
                    <a:cubicBezTo>
                      <a:pt x="686" y="707"/>
                      <a:pt x="686" y="707"/>
                      <a:pt x="686" y="707"/>
                    </a:cubicBezTo>
                    <a:cubicBezTo>
                      <a:pt x="685" y="708"/>
                      <a:pt x="685" y="708"/>
                      <a:pt x="685" y="708"/>
                    </a:cubicBezTo>
                    <a:cubicBezTo>
                      <a:pt x="685" y="706"/>
                      <a:pt x="685" y="706"/>
                      <a:pt x="685" y="706"/>
                    </a:cubicBezTo>
                    <a:cubicBezTo>
                      <a:pt x="685" y="705"/>
                      <a:pt x="685" y="705"/>
                      <a:pt x="685" y="705"/>
                    </a:cubicBezTo>
                    <a:cubicBezTo>
                      <a:pt x="686" y="704"/>
                      <a:pt x="686" y="704"/>
                      <a:pt x="686" y="704"/>
                    </a:cubicBezTo>
                    <a:cubicBezTo>
                      <a:pt x="686" y="703"/>
                      <a:pt x="686" y="703"/>
                      <a:pt x="686" y="703"/>
                    </a:cubicBezTo>
                    <a:cubicBezTo>
                      <a:pt x="687" y="701"/>
                      <a:pt x="687" y="701"/>
                      <a:pt x="687" y="701"/>
                    </a:cubicBezTo>
                    <a:cubicBezTo>
                      <a:pt x="688" y="700"/>
                      <a:pt x="688" y="700"/>
                      <a:pt x="688" y="700"/>
                    </a:cubicBezTo>
                    <a:cubicBezTo>
                      <a:pt x="688" y="699"/>
                      <a:pt x="688" y="699"/>
                      <a:pt x="688" y="699"/>
                    </a:cubicBezTo>
                    <a:cubicBezTo>
                      <a:pt x="689" y="698"/>
                      <a:pt x="689" y="698"/>
                      <a:pt x="689" y="698"/>
                    </a:cubicBezTo>
                    <a:cubicBezTo>
                      <a:pt x="690" y="697"/>
                      <a:pt x="690" y="697"/>
                      <a:pt x="690" y="697"/>
                    </a:cubicBezTo>
                    <a:cubicBezTo>
                      <a:pt x="690" y="696"/>
                      <a:pt x="690" y="696"/>
                      <a:pt x="690" y="696"/>
                    </a:cubicBezTo>
                    <a:cubicBezTo>
                      <a:pt x="692" y="695"/>
                      <a:pt x="692" y="695"/>
                      <a:pt x="692" y="695"/>
                    </a:cubicBezTo>
                    <a:cubicBezTo>
                      <a:pt x="692" y="694"/>
                      <a:pt x="692" y="694"/>
                      <a:pt x="692" y="694"/>
                    </a:cubicBezTo>
                    <a:cubicBezTo>
                      <a:pt x="693" y="694"/>
                      <a:pt x="693" y="694"/>
                      <a:pt x="693" y="694"/>
                    </a:cubicBezTo>
                    <a:cubicBezTo>
                      <a:pt x="693" y="693"/>
                      <a:pt x="693" y="693"/>
                      <a:pt x="693" y="693"/>
                    </a:cubicBezTo>
                    <a:cubicBezTo>
                      <a:pt x="693" y="692"/>
                      <a:pt x="693" y="692"/>
                      <a:pt x="693" y="692"/>
                    </a:cubicBezTo>
                    <a:cubicBezTo>
                      <a:pt x="694" y="691"/>
                      <a:pt x="694" y="691"/>
                      <a:pt x="694" y="691"/>
                    </a:cubicBezTo>
                    <a:cubicBezTo>
                      <a:pt x="695" y="690"/>
                      <a:pt x="695" y="690"/>
                      <a:pt x="695" y="690"/>
                    </a:cubicBezTo>
                    <a:cubicBezTo>
                      <a:pt x="694" y="691"/>
                      <a:pt x="694" y="691"/>
                      <a:pt x="694" y="691"/>
                    </a:cubicBezTo>
                    <a:cubicBezTo>
                      <a:pt x="694" y="692"/>
                      <a:pt x="694" y="692"/>
                      <a:pt x="694" y="692"/>
                    </a:cubicBezTo>
                    <a:cubicBezTo>
                      <a:pt x="695" y="693"/>
                      <a:pt x="695" y="693"/>
                      <a:pt x="695" y="693"/>
                    </a:cubicBezTo>
                    <a:cubicBezTo>
                      <a:pt x="696" y="691"/>
                      <a:pt x="696" y="691"/>
                      <a:pt x="696" y="691"/>
                    </a:cubicBezTo>
                    <a:cubicBezTo>
                      <a:pt x="698" y="689"/>
                      <a:pt x="698" y="689"/>
                      <a:pt x="698" y="689"/>
                    </a:cubicBezTo>
                    <a:cubicBezTo>
                      <a:pt x="698" y="688"/>
                      <a:pt x="698" y="688"/>
                      <a:pt x="698" y="688"/>
                    </a:cubicBezTo>
                    <a:cubicBezTo>
                      <a:pt x="697" y="687"/>
                      <a:pt x="697" y="687"/>
                      <a:pt x="697" y="687"/>
                    </a:cubicBezTo>
                    <a:cubicBezTo>
                      <a:pt x="697" y="687"/>
                      <a:pt x="697" y="687"/>
                      <a:pt x="697" y="687"/>
                    </a:cubicBezTo>
                    <a:cubicBezTo>
                      <a:pt x="696" y="688"/>
                      <a:pt x="696" y="688"/>
                      <a:pt x="696" y="688"/>
                    </a:cubicBezTo>
                    <a:cubicBezTo>
                      <a:pt x="696" y="686"/>
                      <a:pt x="696" y="686"/>
                      <a:pt x="696" y="686"/>
                    </a:cubicBezTo>
                    <a:cubicBezTo>
                      <a:pt x="695" y="686"/>
                      <a:pt x="695" y="686"/>
                      <a:pt x="695" y="686"/>
                    </a:cubicBezTo>
                    <a:cubicBezTo>
                      <a:pt x="696" y="685"/>
                      <a:pt x="696" y="685"/>
                      <a:pt x="696" y="685"/>
                    </a:cubicBezTo>
                    <a:cubicBezTo>
                      <a:pt x="697" y="685"/>
                      <a:pt x="697" y="685"/>
                      <a:pt x="697" y="685"/>
                    </a:cubicBezTo>
                    <a:cubicBezTo>
                      <a:pt x="698" y="685"/>
                      <a:pt x="698" y="685"/>
                      <a:pt x="698" y="685"/>
                    </a:cubicBezTo>
                    <a:cubicBezTo>
                      <a:pt x="699" y="686"/>
                      <a:pt x="699" y="686"/>
                      <a:pt x="699" y="686"/>
                    </a:cubicBezTo>
                    <a:cubicBezTo>
                      <a:pt x="700" y="685"/>
                      <a:pt x="700" y="685"/>
                      <a:pt x="700" y="685"/>
                    </a:cubicBezTo>
                    <a:cubicBezTo>
                      <a:pt x="701" y="684"/>
                      <a:pt x="701" y="684"/>
                      <a:pt x="701" y="684"/>
                    </a:cubicBezTo>
                    <a:cubicBezTo>
                      <a:pt x="701" y="682"/>
                      <a:pt x="701" y="682"/>
                      <a:pt x="701" y="682"/>
                    </a:cubicBezTo>
                    <a:cubicBezTo>
                      <a:pt x="700" y="682"/>
                      <a:pt x="700" y="682"/>
                      <a:pt x="700" y="682"/>
                    </a:cubicBezTo>
                    <a:cubicBezTo>
                      <a:pt x="698" y="682"/>
                      <a:pt x="698" y="682"/>
                      <a:pt x="698" y="682"/>
                    </a:cubicBezTo>
                    <a:cubicBezTo>
                      <a:pt x="699" y="683"/>
                      <a:pt x="699" y="683"/>
                      <a:pt x="699" y="683"/>
                    </a:cubicBezTo>
                    <a:cubicBezTo>
                      <a:pt x="698" y="683"/>
                      <a:pt x="698" y="683"/>
                      <a:pt x="698" y="683"/>
                    </a:cubicBezTo>
                    <a:cubicBezTo>
                      <a:pt x="698" y="682"/>
                      <a:pt x="698" y="682"/>
                      <a:pt x="698" y="682"/>
                    </a:cubicBezTo>
                    <a:cubicBezTo>
                      <a:pt x="698" y="681"/>
                      <a:pt x="698" y="681"/>
                      <a:pt x="698" y="681"/>
                    </a:cubicBezTo>
                    <a:cubicBezTo>
                      <a:pt x="697" y="682"/>
                      <a:pt x="697" y="682"/>
                      <a:pt x="697" y="682"/>
                    </a:cubicBezTo>
                    <a:cubicBezTo>
                      <a:pt x="696" y="683"/>
                      <a:pt x="696" y="683"/>
                      <a:pt x="696" y="683"/>
                    </a:cubicBezTo>
                    <a:cubicBezTo>
                      <a:pt x="695" y="683"/>
                      <a:pt x="695" y="683"/>
                      <a:pt x="695" y="683"/>
                    </a:cubicBezTo>
                    <a:cubicBezTo>
                      <a:pt x="694" y="684"/>
                      <a:pt x="694" y="684"/>
                      <a:pt x="694" y="684"/>
                    </a:cubicBezTo>
                    <a:cubicBezTo>
                      <a:pt x="693" y="685"/>
                      <a:pt x="693" y="685"/>
                      <a:pt x="693" y="685"/>
                    </a:cubicBezTo>
                    <a:cubicBezTo>
                      <a:pt x="691" y="684"/>
                      <a:pt x="691" y="684"/>
                      <a:pt x="691" y="684"/>
                    </a:cubicBezTo>
                    <a:cubicBezTo>
                      <a:pt x="690" y="686"/>
                      <a:pt x="690" y="686"/>
                      <a:pt x="690" y="686"/>
                    </a:cubicBezTo>
                    <a:cubicBezTo>
                      <a:pt x="688" y="687"/>
                      <a:pt x="688" y="687"/>
                      <a:pt x="688" y="687"/>
                    </a:cubicBezTo>
                    <a:cubicBezTo>
                      <a:pt x="688" y="688"/>
                      <a:pt x="688" y="688"/>
                      <a:pt x="688" y="688"/>
                    </a:cubicBezTo>
                    <a:cubicBezTo>
                      <a:pt x="687" y="689"/>
                      <a:pt x="687" y="689"/>
                      <a:pt x="687" y="689"/>
                    </a:cubicBezTo>
                    <a:cubicBezTo>
                      <a:pt x="686" y="688"/>
                      <a:pt x="686" y="688"/>
                      <a:pt x="686" y="688"/>
                    </a:cubicBezTo>
                    <a:cubicBezTo>
                      <a:pt x="686" y="689"/>
                      <a:pt x="686" y="689"/>
                      <a:pt x="686" y="689"/>
                    </a:cubicBezTo>
                    <a:cubicBezTo>
                      <a:pt x="686" y="689"/>
                      <a:pt x="686" y="689"/>
                      <a:pt x="686" y="689"/>
                    </a:cubicBezTo>
                    <a:cubicBezTo>
                      <a:pt x="686" y="690"/>
                      <a:pt x="686" y="690"/>
                      <a:pt x="686" y="690"/>
                    </a:cubicBezTo>
                    <a:close/>
                    <a:moveTo>
                      <a:pt x="624" y="709"/>
                    </a:moveTo>
                    <a:cubicBezTo>
                      <a:pt x="625" y="709"/>
                      <a:pt x="625" y="709"/>
                      <a:pt x="625" y="709"/>
                    </a:cubicBezTo>
                    <a:cubicBezTo>
                      <a:pt x="629" y="711"/>
                      <a:pt x="629" y="711"/>
                      <a:pt x="629" y="711"/>
                    </a:cubicBezTo>
                    <a:cubicBezTo>
                      <a:pt x="632" y="711"/>
                      <a:pt x="632" y="711"/>
                      <a:pt x="632" y="711"/>
                    </a:cubicBezTo>
                    <a:cubicBezTo>
                      <a:pt x="634" y="712"/>
                      <a:pt x="634" y="712"/>
                      <a:pt x="634" y="712"/>
                    </a:cubicBezTo>
                    <a:cubicBezTo>
                      <a:pt x="635" y="713"/>
                      <a:pt x="635" y="713"/>
                      <a:pt x="635" y="713"/>
                    </a:cubicBezTo>
                    <a:cubicBezTo>
                      <a:pt x="636" y="713"/>
                      <a:pt x="636" y="713"/>
                      <a:pt x="636" y="713"/>
                    </a:cubicBezTo>
                    <a:cubicBezTo>
                      <a:pt x="638" y="714"/>
                      <a:pt x="638" y="714"/>
                      <a:pt x="638" y="714"/>
                    </a:cubicBezTo>
                    <a:cubicBezTo>
                      <a:pt x="640" y="713"/>
                      <a:pt x="640" y="713"/>
                      <a:pt x="640" y="713"/>
                    </a:cubicBezTo>
                    <a:cubicBezTo>
                      <a:pt x="641" y="712"/>
                      <a:pt x="641" y="712"/>
                      <a:pt x="641" y="712"/>
                    </a:cubicBezTo>
                    <a:cubicBezTo>
                      <a:pt x="640" y="711"/>
                      <a:pt x="640" y="711"/>
                      <a:pt x="640" y="711"/>
                    </a:cubicBezTo>
                    <a:cubicBezTo>
                      <a:pt x="639" y="710"/>
                      <a:pt x="639" y="710"/>
                      <a:pt x="639" y="710"/>
                    </a:cubicBezTo>
                    <a:cubicBezTo>
                      <a:pt x="638" y="709"/>
                      <a:pt x="638" y="709"/>
                      <a:pt x="638" y="709"/>
                    </a:cubicBezTo>
                    <a:cubicBezTo>
                      <a:pt x="637" y="709"/>
                      <a:pt x="637" y="709"/>
                      <a:pt x="637" y="709"/>
                    </a:cubicBezTo>
                    <a:cubicBezTo>
                      <a:pt x="635" y="707"/>
                      <a:pt x="635" y="707"/>
                      <a:pt x="635" y="707"/>
                    </a:cubicBezTo>
                    <a:cubicBezTo>
                      <a:pt x="633" y="705"/>
                      <a:pt x="633" y="705"/>
                      <a:pt x="633" y="705"/>
                    </a:cubicBezTo>
                    <a:cubicBezTo>
                      <a:pt x="632" y="705"/>
                      <a:pt x="632" y="705"/>
                      <a:pt x="632" y="705"/>
                    </a:cubicBezTo>
                    <a:cubicBezTo>
                      <a:pt x="630" y="703"/>
                      <a:pt x="630" y="703"/>
                      <a:pt x="630" y="703"/>
                    </a:cubicBezTo>
                    <a:cubicBezTo>
                      <a:pt x="628" y="702"/>
                      <a:pt x="628" y="702"/>
                      <a:pt x="628" y="702"/>
                    </a:cubicBezTo>
                    <a:cubicBezTo>
                      <a:pt x="626" y="702"/>
                      <a:pt x="626" y="702"/>
                      <a:pt x="626" y="702"/>
                    </a:cubicBezTo>
                    <a:cubicBezTo>
                      <a:pt x="621" y="700"/>
                      <a:pt x="621" y="700"/>
                      <a:pt x="621" y="700"/>
                    </a:cubicBezTo>
                    <a:cubicBezTo>
                      <a:pt x="619" y="700"/>
                      <a:pt x="619" y="700"/>
                      <a:pt x="619" y="700"/>
                    </a:cubicBezTo>
                    <a:cubicBezTo>
                      <a:pt x="617" y="701"/>
                      <a:pt x="617" y="701"/>
                      <a:pt x="617" y="701"/>
                    </a:cubicBezTo>
                    <a:cubicBezTo>
                      <a:pt x="618" y="703"/>
                      <a:pt x="618" y="703"/>
                      <a:pt x="618" y="703"/>
                    </a:cubicBezTo>
                    <a:cubicBezTo>
                      <a:pt x="620" y="703"/>
                      <a:pt x="620" y="703"/>
                      <a:pt x="620" y="703"/>
                    </a:cubicBezTo>
                    <a:cubicBezTo>
                      <a:pt x="623" y="706"/>
                      <a:pt x="623" y="706"/>
                      <a:pt x="623" y="706"/>
                    </a:cubicBezTo>
                    <a:cubicBezTo>
                      <a:pt x="624" y="708"/>
                      <a:pt x="624" y="708"/>
                      <a:pt x="624" y="708"/>
                    </a:cubicBezTo>
                    <a:cubicBezTo>
                      <a:pt x="624" y="709"/>
                      <a:pt x="624" y="709"/>
                      <a:pt x="624" y="709"/>
                    </a:cubicBezTo>
                    <a:close/>
                    <a:moveTo>
                      <a:pt x="625" y="754"/>
                    </a:moveTo>
                    <a:cubicBezTo>
                      <a:pt x="623" y="753"/>
                      <a:pt x="623" y="753"/>
                      <a:pt x="623" y="753"/>
                    </a:cubicBezTo>
                    <a:cubicBezTo>
                      <a:pt x="622" y="751"/>
                      <a:pt x="622" y="751"/>
                      <a:pt x="622" y="751"/>
                    </a:cubicBezTo>
                    <a:cubicBezTo>
                      <a:pt x="618" y="750"/>
                      <a:pt x="618" y="750"/>
                      <a:pt x="618" y="750"/>
                    </a:cubicBezTo>
                    <a:cubicBezTo>
                      <a:pt x="617" y="749"/>
                      <a:pt x="617" y="749"/>
                      <a:pt x="617" y="749"/>
                    </a:cubicBezTo>
                    <a:cubicBezTo>
                      <a:pt x="616" y="748"/>
                      <a:pt x="616" y="748"/>
                      <a:pt x="616" y="748"/>
                    </a:cubicBezTo>
                    <a:cubicBezTo>
                      <a:pt x="616" y="747"/>
                      <a:pt x="616" y="747"/>
                      <a:pt x="616" y="747"/>
                    </a:cubicBezTo>
                    <a:cubicBezTo>
                      <a:pt x="615" y="747"/>
                      <a:pt x="615" y="747"/>
                      <a:pt x="615" y="747"/>
                    </a:cubicBezTo>
                    <a:cubicBezTo>
                      <a:pt x="614" y="746"/>
                      <a:pt x="614" y="746"/>
                      <a:pt x="614" y="746"/>
                    </a:cubicBezTo>
                    <a:cubicBezTo>
                      <a:pt x="613" y="746"/>
                      <a:pt x="613" y="746"/>
                      <a:pt x="613" y="746"/>
                    </a:cubicBezTo>
                    <a:cubicBezTo>
                      <a:pt x="613" y="744"/>
                      <a:pt x="613" y="744"/>
                      <a:pt x="613" y="744"/>
                    </a:cubicBezTo>
                    <a:cubicBezTo>
                      <a:pt x="612" y="743"/>
                      <a:pt x="612" y="743"/>
                      <a:pt x="612" y="743"/>
                    </a:cubicBezTo>
                    <a:cubicBezTo>
                      <a:pt x="611" y="744"/>
                      <a:pt x="611" y="744"/>
                      <a:pt x="611" y="744"/>
                    </a:cubicBezTo>
                    <a:cubicBezTo>
                      <a:pt x="610" y="743"/>
                      <a:pt x="610" y="743"/>
                      <a:pt x="610" y="743"/>
                    </a:cubicBezTo>
                    <a:cubicBezTo>
                      <a:pt x="611" y="741"/>
                      <a:pt x="611" y="741"/>
                      <a:pt x="611" y="741"/>
                    </a:cubicBezTo>
                    <a:cubicBezTo>
                      <a:pt x="615" y="739"/>
                      <a:pt x="615" y="739"/>
                      <a:pt x="615" y="739"/>
                    </a:cubicBezTo>
                    <a:cubicBezTo>
                      <a:pt x="615" y="740"/>
                      <a:pt x="615" y="740"/>
                      <a:pt x="615" y="740"/>
                    </a:cubicBezTo>
                    <a:cubicBezTo>
                      <a:pt x="614" y="742"/>
                      <a:pt x="614" y="742"/>
                      <a:pt x="614" y="742"/>
                    </a:cubicBezTo>
                    <a:cubicBezTo>
                      <a:pt x="614" y="742"/>
                      <a:pt x="614" y="742"/>
                      <a:pt x="614" y="742"/>
                    </a:cubicBezTo>
                    <a:cubicBezTo>
                      <a:pt x="615" y="743"/>
                      <a:pt x="615" y="743"/>
                      <a:pt x="615" y="743"/>
                    </a:cubicBezTo>
                    <a:cubicBezTo>
                      <a:pt x="615" y="745"/>
                      <a:pt x="615" y="745"/>
                      <a:pt x="615" y="745"/>
                    </a:cubicBezTo>
                    <a:cubicBezTo>
                      <a:pt x="616" y="746"/>
                      <a:pt x="616" y="746"/>
                      <a:pt x="616" y="746"/>
                    </a:cubicBezTo>
                    <a:cubicBezTo>
                      <a:pt x="616" y="745"/>
                      <a:pt x="616" y="745"/>
                      <a:pt x="616" y="745"/>
                    </a:cubicBezTo>
                    <a:cubicBezTo>
                      <a:pt x="618" y="745"/>
                      <a:pt x="618" y="745"/>
                      <a:pt x="618" y="745"/>
                    </a:cubicBezTo>
                    <a:cubicBezTo>
                      <a:pt x="620" y="747"/>
                      <a:pt x="620" y="747"/>
                      <a:pt x="620" y="747"/>
                    </a:cubicBezTo>
                    <a:cubicBezTo>
                      <a:pt x="621" y="747"/>
                      <a:pt x="621" y="747"/>
                      <a:pt x="621" y="747"/>
                    </a:cubicBezTo>
                    <a:cubicBezTo>
                      <a:pt x="622" y="748"/>
                      <a:pt x="622" y="748"/>
                      <a:pt x="622" y="748"/>
                    </a:cubicBezTo>
                    <a:cubicBezTo>
                      <a:pt x="625" y="747"/>
                      <a:pt x="625" y="747"/>
                      <a:pt x="625" y="747"/>
                    </a:cubicBezTo>
                    <a:cubicBezTo>
                      <a:pt x="626" y="747"/>
                      <a:pt x="626" y="747"/>
                      <a:pt x="626" y="747"/>
                    </a:cubicBezTo>
                    <a:cubicBezTo>
                      <a:pt x="628" y="747"/>
                      <a:pt x="628" y="747"/>
                      <a:pt x="628" y="747"/>
                    </a:cubicBezTo>
                    <a:cubicBezTo>
                      <a:pt x="630" y="747"/>
                      <a:pt x="630" y="747"/>
                      <a:pt x="630" y="747"/>
                    </a:cubicBezTo>
                    <a:cubicBezTo>
                      <a:pt x="629" y="748"/>
                      <a:pt x="629" y="748"/>
                      <a:pt x="629" y="748"/>
                    </a:cubicBezTo>
                    <a:cubicBezTo>
                      <a:pt x="627" y="748"/>
                      <a:pt x="627" y="748"/>
                      <a:pt x="627" y="748"/>
                    </a:cubicBezTo>
                    <a:cubicBezTo>
                      <a:pt x="627" y="750"/>
                      <a:pt x="627" y="750"/>
                      <a:pt x="627" y="750"/>
                    </a:cubicBezTo>
                    <a:cubicBezTo>
                      <a:pt x="627" y="751"/>
                      <a:pt x="627" y="751"/>
                      <a:pt x="627" y="751"/>
                    </a:cubicBezTo>
                    <a:cubicBezTo>
                      <a:pt x="626" y="753"/>
                      <a:pt x="626" y="753"/>
                      <a:pt x="626" y="753"/>
                    </a:cubicBezTo>
                    <a:cubicBezTo>
                      <a:pt x="625" y="754"/>
                      <a:pt x="625" y="754"/>
                      <a:pt x="625" y="754"/>
                    </a:cubicBezTo>
                    <a:close/>
                    <a:moveTo>
                      <a:pt x="639" y="760"/>
                    </a:moveTo>
                    <a:cubicBezTo>
                      <a:pt x="638" y="759"/>
                      <a:pt x="638" y="759"/>
                      <a:pt x="638" y="759"/>
                    </a:cubicBezTo>
                    <a:cubicBezTo>
                      <a:pt x="635" y="758"/>
                      <a:pt x="635" y="758"/>
                      <a:pt x="635" y="758"/>
                    </a:cubicBezTo>
                    <a:cubicBezTo>
                      <a:pt x="635" y="755"/>
                      <a:pt x="635" y="755"/>
                      <a:pt x="635" y="755"/>
                    </a:cubicBezTo>
                    <a:cubicBezTo>
                      <a:pt x="634" y="754"/>
                      <a:pt x="634" y="754"/>
                      <a:pt x="634" y="754"/>
                    </a:cubicBezTo>
                    <a:cubicBezTo>
                      <a:pt x="635" y="752"/>
                      <a:pt x="635" y="752"/>
                      <a:pt x="635" y="752"/>
                    </a:cubicBezTo>
                    <a:cubicBezTo>
                      <a:pt x="638" y="751"/>
                      <a:pt x="638" y="751"/>
                      <a:pt x="638" y="751"/>
                    </a:cubicBezTo>
                    <a:cubicBezTo>
                      <a:pt x="640" y="747"/>
                      <a:pt x="640" y="747"/>
                      <a:pt x="640" y="747"/>
                    </a:cubicBezTo>
                    <a:cubicBezTo>
                      <a:pt x="641" y="747"/>
                      <a:pt x="641" y="747"/>
                      <a:pt x="641" y="747"/>
                    </a:cubicBezTo>
                    <a:cubicBezTo>
                      <a:pt x="642" y="744"/>
                      <a:pt x="642" y="744"/>
                      <a:pt x="642" y="744"/>
                    </a:cubicBezTo>
                    <a:cubicBezTo>
                      <a:pt x="644" y="743"/>
                      <a:pt x="644" y="743"/>
                      <a:pt x="644" y="743"/>
                    </a:cubicBezTo>
                    <a:cubicBezTo>
                      <a:pt x="645" y="741"/>
                      <a:pt x="645" y="741"/>
                      <a:pt x="645" y="741"/>
                    </a:cubicBezTo>
                    <a:cubicBezTo>
                      <a:pt x="646" y="741"/>
                      <a:pt x="646" y="741"/>
                      <a:pt x="646" y="741"/>
                    </a:cubicBezTo>
                    <a:cubicBezTo>
                      <a:pt x="646" y="742"/>
                      <a:pt x="646" y="742"/>
                      <a:pt x="646" y="742"/>
                    </a:cubicBezTo>
                    <a:cubicBezTo>
                      <a:pt x="646" y="743"/>
                      <a:pt x="646" y="743"/>
                      <a:pt x="646" y="743"/>
                    </a:cubicBezTo>
                    <a:cubicBezTo>
                      <a:pt x="647" y="743"/>
                      <a:pt x="647" y="743"/>
                      <a:pt x="647" y="743"/>
                    </a:cubicBezTo>
                    <a:cubicBezTo>
                      <a:pt x="647" y="745"/>
                      <a:pt x="647" y="745"/>
                      <a:pt x="647" y="745"/>
                    </a:cubicBezTo>
                    <a:cubicBezTo>
                      <a:pt x="645" y="748"/>
                      <a:pt x="645" y="748"/>
                      <a:pt x="645" y="748"/>
                    </a:cubicBezTo>
                    <a:cubicBezTo>
                      <a:pt x="644" y="749"/>
                      <a:pt x="644" y="749"/>
                      <a:pt x="644" y="749"/>
                    </a:cubicBezTo>
                    <a:cubicBezTo>
                      <a:pt x="646" y="750"/>
                      <a:pt x="646" y="750"/>
                      <a:pt x="646" y="750"/>
                    </a:cubicBezTo>
                    <a:cubicBezTo>
                      <a:pt x="647" y="752"/>
                      <a:pt x="647" y="752"/>
                      <a:pt x="647" y="752"/>
                    </a:cubicBezTo>
                    <a:cubicBezTo>
                      <a:pt x="646" y="753"/>
                      <a:pt x="646" y="753"/>
                      <a:pt x="646" y="753"/>
                    </a:cubicBezTo>
                    <a:cubicBezTo>
                      <a:pt x="646" y="754"/>
                      <a:pt x="646" y="754"/>
                      <a:pt x="646" y="754"/>
                    </a:cubicBezTo>
                    <a:cubicBezTo>
                      <a:pt x="648" y="753"/>
                      <a:pt x="648" y="753"/>
                      <a:pt x="648" y="753"/>
                    </a:cubicBezTo>
                    <a:cubicBezTo>
                      <a:pt x="648" y="751"/>
                      <a:pt x="648" y="751"/>
                      <a:pt x="648" y="751"/>
                    </a:cubicBezTo>
                    <a:cubicBezTo>
                      <a:pt x="649" y="751"/>
                      <a:pt x="649" y="751"/>
                      <a:pt x="649" y="751"/>
                    </a:cubicBezTo>
                    <a:cubicBezTo>
                      <a:pt x="651" y="752"/>
                      <a:pt x="651" y="752"/>
                      <a:pt x="651" y="752"/>
                    </a:cubicBezTo>
                    <a:cubicBezTo>
                      <a:pt x="651" y="754"/>
                      <a:pt x="651" y="754"/>
                      <a:pt x="651" y="754"/>
                    </a:cubicBezTo>
                    <a:cubicBezTo>
                      <a:pt x="652" y="755"/>
                      <a:pt x="652" y="755"/>
                      <a:pt x="652" y="755"/>
                    </a:cubicBezTo>
                    <a:cubicBezTo>
                      <a:pt x="650" y="755"/>
                      <a:pt x="650" y="755"/>
                      <a:pt x="650" y="755"/>
                    </a:cubicBezTo>
                    <a:cubicBezTo>
                      <a:pt x="649" y="756"/>
                      <a:pt x="649" y="756"/>
                      <a:pt x="649" y="756"/>
                    </a:cubicBezTo>
                    <a:cubicBezTo>
                      <a:pt x="646" y="757"/>
                      <a:pt x="646" y="757"/>
                      <a:pt x="646" y="757"/>
                    </a:cubicBezTo>
                    <a:cubicBezTo>
                      <a:pt x="643" y="759"/>
                      <a:pt x="643" y="759"/>
                      <a:pt x="643" y="759"/>
                    </a:cubicBezTo>
                    <a:cubicBezTo>
                      <a:pt x="641" y="759"/>
                      <a:pt x="641" y="759"/>
                      <a:pt x="641" y="759"/>
                    </a:cubicBezTo>
                    <a:cubicBezTo>
                      <a:pt x="641" y="758"/>
                      <a:pt x="641" y="758"/>
                      <a:pt x="641" y="758"/>
                    </a:cubicBezTo>
                    <a:cubicBezTo>
                      <a:pt x="640" y="758"/>
                      <a:pt x="640" y="758"/>
                      <a:pt x="640" y="758"/>
                    </a:cubicBezTo>
                    <a:cubicBezTo>
                      <a:pt x="640" y="760"/>
                      <a:pt x="640" y="760"/>
                      <a:pt x="640" y="760"/>
                    </a:cubicBezTo>
                    <a:cubicBezTo>
                      <a:pt x="639" y="760"/>
                      <a:pt x="639" y="760"/>
                      <a:pt x="639" y="760"/>
                    </a:cubicBezTo>
                    <a:close/>
                    <a:moveTo>
                      <a:pt x="489" y="641"/>
                    </a:moveTo>
                    <a:cubicBezTo>
                      <a:pt x="489" y="643"/>
                      <a:pt x="489" y="643"/>
                      <a:pt x="489" y="643"/>
                    </a:cubicBezTo>
                    <a:cubicBezTo>
                      <a:pt x="490" y="643"/>
                      <a:pt x="490" y="643"/>
                      <a:pt x="490" y="643"/>
                    </a:cubicBezTo>
                    <a:cubicBezTo>
                      <a:pt x="490" y="643"/>
                      <a:pt x="490" y="643"/>
                      <a:pt x="490" y="643"/>
                    </a:cubicBezTo>
                    <a:cubicBezTo>
                      <a:pt x="490" y="640"/>
                      <a:pt x="490" y="640"/>
                      <a:pt x="490" y="640"/>
                    </a:cubicBezTo>
                    <a:cubicBezTo>
                      <a:pt x="490" y="641"/>
                      <a:pt x="490" y="641"/>
                      <a:pt x="490" y="641"/>
                    </a:cubicBezTo>
                    <a:cubicBezTo>
                      <a:pt x="489" y="641"/>
                      <a:pt x="489" y="641"/>
                      <a:pt x="489" y="641"/>
                    </a:cubicBezTo>
                    <a:close/>
                    <a:moveTo>
                      <a:pt x="489" y="663"/>
                    </a:moveTo>
                    <a:cubicBezTo>
                      <a:pt x="489" y="662"/>
                      <a:pt x="489" y="662"/>
                      <a:pt x="489" y="662"/>
                    </a:cubicBezTo>
                    <a:cubicBezTo>
                      <a:pt x="491" y="661"/>
                      <a:pt x="491" y="661"/>
                      <a:pt x="491" y="661"/>
                    </a:cubicBezTo>
                    <a:cubicBezTo>
                      <a:pt x="491" y="661"/>
                      <a:pt x="491" y="661"/>
                      <a:pt x="491" y="661"/>
                    </a:cubicBezTo>
                    <a:cubicBezTo>
                      <a:pt x="492" y="662"/>
                      <a:pt x="492" y="662"/>
                      <a:pt x="492" y="662"/>
                    </a:cubicBezTo>
                    <a:cubicBezTo>
                      <a:pt x="490" y="663"/>
                      <a:pt x="490" y="663"/>
                      <a:pt x="490" y="663"/>
                    </a:cubicBezTo>
                    <a:cubicBezTo>
                      <a:pt x="489" y="663"/>
                      <a:pt x="489" y="663"/>
                      <a:pt x="489" y="663"/>
                    </a:cubicBezTo>
                    <a:close/>
                    <a:moveTo>
                      <a:pt x="471" y="647"/>
                    </a:moveTo>
                    <a:cubicBezTo>
                      <a:pt x="473" y="645"/>
                      <a:pt x="473" y="645"/>
                      <a:pt x="473" y="645"/>
                    </a:cubicBezTo>
                    <a:cubicBezTo>
                      <a:pt x="474" y="645"/>
                      <a:pt x="474" y="645"/>
                      <a:pt x="474" y="645"/>
                    </a:cubicBezTo>
                    <a:cubicBezTo>
                      <a:pt x="474" y="644"/>
                      <a:pt x="474" y="644"/>
                      <a:pt x="474" y="644"/>
                    </a:cubicBezTo>
                    <a:cubicBezTo>
                      <a:pt x="475" y="643"/>
                      <a:pt x="475" y="643"/>
                      <a:pt x="475" y="643"/>
                    </a:cubicBezTo>
                    <a:cubicBezTo>
                      <a:pt x="477" y="643"/>
                      <a:pt x="477" y="643"/>
                      <a:pt x="477" y="643"/>
                    </a:cubicBezTo>
                    <a:cubicBezTo>
                      <a:pt x="478" y="644"/>
                      <a:pt x="478" y="644"/>
                      <a:pt x="478" y="644"/>
                    </a:cubicBezTo>
                    <a:cubicBezTo>
                      <a:pt x="479" y="644"/>
                      <a:pt x="479" y="644"/>
                      <a:pt x="479" y="644"/>
                    </a:cubicBezTo>
                    <a:cubicBezTo>
                      <a:pt x="481" y="646"/>
                      <a:pt x="481" y="646"/>
                      <a:pt x="481" y="646"/>
                    </a:cubicBezTo>
                    <a:cubicBezTo>
                      <a:pt x="482" y="648"/>
                      <a:pt x="482" y="648"/>
                      <a:pt x="482" y="648"/>
                    </a:cubicBezTo>
                    <a:cubicBezTo>
                      <a:pt x="482" y="649"/>
                      <a:pt x="482" y="649"/>
                      <a:pt x="482" y="649"/>
                    </a:cubicBezTo>
                    <a:cubicBezTo>
                      <a:pt x="482" y="650"/>
                      <a:pt x="482" y="650"/>
                      <a:pt x="482" y="650"/>
                    </a:cubicBezTo>
                    <a:cubicBezTo>
                      <a:pt x="477" y="649"/>
                      <a:pt x="477" y="649"/>
                      <a:pt x="477" y="649"/>
                    </a:cubicBezTo>
                    <a:cubicBezTo>
                      <a:pt x="476" y="648"/>
                      <a:pt x="476" y="648"/>
                      <a:pt x="476" y="648"/>
                    </a:cubicBezTo>
                    <a:cubicBezTo>
                      <a:pt x="474" y="648"/>
                      <a:pt x="474" y="648"/>
                      <a:pt x="474" y="648"/>
                    </a:cubicBezTo>
                    <a:cubicBezTo>
                      <a:pt x="474" y="649"/>
                      <a:pt x="474" y="649"/>
                      <a:pt x="474" y="649"/>
                    </a:cubicBezTo>
                    <a:cubicBezTo>
                      <a:pt x="474" y="650"/>
                      <a:pt x="474" y="650"/>
                      <a:pt x="474" y="650"/>
                    </a:cubicBezTo>
                    <a:cubicBezTo>
                      <a:pt x="473" y="649"/>
                      <a:pt x="473" y="649"/>
                      <a:pt x="473" y="649"/>
                    </a:cubicBezTo>
                    <a:cubicBezTo>
                      <a:pt x="473" y="648"/>
                      <a:pt x="473" y="648"/>
                      <a:pt x="473" y="648"/>
                    </a:cubicBezTo>
                    <a:cubicBezTo>
                      <a:pt x="471" y="648"/>
                      <a:pt x="471" y="648"/>
                      <a:pt x="471" y="648"/>
                    </a:cubicBezTo>
                    <a:cubicBezTo>
                      <a:pt x="471" y="647"/>
                      <a:pt x="471" y="647"/>
                      <a:pt x="471" y="647"/>
                    </a:cubicBezTo>
                    <a:close/>
                    <a:moveTo>
                      <a:pt x="74" y="655"/>
                    </a:moveTo>
                    <a:cubicBezTo>
                      <a:pt x="77" y="657"/>
                      <a:pt x="77" y="657"/>
                      <a:pt x="77" y="657"/>
                    </a:cubicBezTo>
                    <a:cubicBezTo>
                      <a:pt x="78" y="660"/>
                      <a:pt x="78" y="660"/>
                      <a:pt x="78" y="660"/>
                    </a:cubicBezTo>
                    <a:cubicBezTo>
                      <a:pt x="78" y="661"/>
                      <a:pt x="78" y="661"/>
                      <a:pt x="78" y="661"/>
                    </a:cubicBezTo>
                    <a:cubicBezTo>
                      <a:pt x="75" y="658"/>
                      <a:pt x="75" y="658"/>
                      <a:pt x="75" y="658"/>
                    </a:cubicBezTo>
                    <a:cubicBezTo>
                      <a:pt x="74" y="655"/>
                      <a:pt x="74" y="655"/>
                      <a:pt x="74" y="655"/>
                    </a:cubicBezTo>
                    <a:close/>
                    <a:moveTo>
                      <a:pt x="71" y="651"/>
                    </a:moveTo>
                    <a:cubicBezTo>
                      <a:pt x="71" y="648"/>
                      <a:pt x="71" y="648"/>
                      <a:pt x="71" y="648"/>
                    </a:cubicBezTo>
                    <a:cubicBezTo>
                      <a:pt x="72" y="648"/>
                      <a:pt x="72" y="648"/>
                      <a:pt x="72" y="648"/>
                    </a:cubicBezTo>
                    <a:cubicBezTo>
                      <a:pt x="71" y="651"/>
                      <a:pt x="71" y="651"/>
                      <a:pt x="71" y="651"/>
                    </a:cubicBezTo>
                    <a:close/>
                    <a:moveTo>
                      <a:pt x="60" y="641"/>
                    </a:moveTo>
                    <a:cubicBezTo>
                      <a:pt x="63" y="643"/>
                      <a:pt x="63" y="643"/>
                      <a:pt x="63" y="643"/>
                    </a:cubicBezTo>
                    <a:cubicBezTo>
                      <a:pt x="63" y="641"/>
                      <a:pt x="63" y="641"/>
                      <a:pt x="63" y="641"/>
                    </a:cubicBezTo>
                    <a:cubicBezTo>
                      <a:pt x="60" y="641"/>
                      <a:pt x="60" y="641"/>
                      <a:pt x="60" y="641"/>
                    </a:cubicBezTo>
                    <a:close/>
                    <a:moveTo>
                      <a:pt x="44" y="634"/>
                    </a:moveTo>
                    <a:cubicBezTo>
                      <a:pt x="45" y="637"/>
                      <a:pt x="45" y="637"/>
                      <a:pt x="45" y="637"/>
                    </a:cubicBezTo>
                    <a:cubicBezTo>
                      <a:pt x="46" y="637"/>
                      <a:pt x="46" y="637"/>
                      <a:pt x="46" y="637"/>
                    </a:cubicBezTo>
                    <a:cubicBezTo>
                      <a:pt x="47" y="639"/>
                      <a:pt x="47" y="639"/>
                      <a:pt x="47" y="639"/>
                    </a:cubicBezTo>
                    <a:cubicBezTo>
                      <a:pt x="51" y="640"/>
                      <a:pt x="51" y="640"/>
                      <a:pt x="51" y="640"/>
                    </a:cubicBezTo>
                    <a:cubicBezTo>
                      <a:pt x="49" y="641"/>
                      <a:pt x="49" y="641"/>
                      <a:pt x="49" y="641"/>
                    </a:cubicBezTo>
                    <a:cubicBezTo>
                      <a:pt x="47" y="641"/>
                      <a:pt x="47" y="641"/>
                      <a:pt x="47" y="641"/>
                    </a:cubicBezTo>
                    <a:cubicBezTo>
                      <a:pt x="46" y="643"/>
                      <a:pt x="46" y="643"/>
                      <a:pt x="46" y="643"/>
                    </a:cubicBezTo>
                    <a:cubicBezTo>
                      <a:pt x="47" y="644"/>
                      <a:pt x="47" y="644"/>
                      <a:pt x="47" y="644"/>
                    </a:cubicBezTo>
                    <a:cubicBezTo>
                      <a:pt x="46" y="646"/>
                      <a:pt x="46" y="646"/>
                      <a:pt x="46" y="646"/>
                    </a:cubicBezTo>
                    <a:cubicBezTo>
                      <a:pt x="46" y="647"/>
                      <a:pt x="46" y="647"/>
                      <a:pt x="46" y="647"/>
                    </a:cubicBezTo>
                    <a:cubicBezTo>
                      <a:pt x="49" y="646"/>
                      <a:pt x="49" y="646"/>
                      <a:pt x="49" y="646"/>
                    </a:cubicBezTo>
                    <a:cubicBezTo>
                      <a:pt x="49" y="648"/>
                      <a:pt x="49" y="648"/>
                      <a:pt x="49" y="648"/>
                    </a:cubicBezTo>
                    <a:cubicBezTo>
                      <a:pt x="51" y="648"/>
                      <a:pt x="51" y="648"/>
                      <a:pt x="51" y="648"/>
                    </a:cubicBezTo>
                    <a:cubicBezTo>
                      <a:pt x="51" y="650"/>
                      <a:pt x="51" y="650"/>
                      <a:pt x="51" y="650"/>
                    </a:cubicBezTo>
                    <a:cubicBezTo>
                      <a:pt x="53" y="651"/>
                      <a:pt x="53" y="651"/>
                      <a:pt x="53" y="651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2" y="653"/>
                      <a:pt x="52" y="653"/>
                      <a:pt x="52" y="653"/>
                    </a:cubicBezTo>
                    <a:cubicBezTo>
                      <a:pt x="53" y="655"/>
                      <a:pt x="53" y="655"/>
                      <a:pt x="53" y="655"/>
                    </a:cubicBezTo>
                    <a:cubicBezTo>
                      <a:pt x="55" y="655"/>
                      <a:pt x="55" y="655"/>
                      <a:pt x="55" y="655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8" y="652"/>
                      <a:pt x="58" y="652"/>
                      <a:pt x="58" y="652"/>
                    </a:cubicBezTo>
                    <a:cubicBezTo>
                      <a:pt x="57" y="655"/>
                      <a:pt x="57" y="655"/>
                      <a:pt x="57" y="655"/>
                    </a:cubicBezTo>
                    <a:cubicBezTo>
                      <a:pt x="55" y="656"/>
                      <a:pt x="55" y="656"/>
                      <a:pt x="55" y="656"/>
                    </a:cubicBezTo>
                    <a:cubicBezTo>
                      <a:pt x="56" y="658"/>
                      <a:pt x="56" y="658"/>
                      <a:pt x="56" y="658"/>
                    </a:cubicBezTo>
                    <a:cubicBezTo>
                      <a:pt x="56" y="658"/>
                      <a:pt x="56" y="658"/>
                      <a:pt x="56" y="658"/>
                    </a:cubicBezTo>
                    <a:cubicBezTo>
                      <a:pt x="57" y="660"/>
                      <a:pt x="57" y="660"/>
                      <a:pt x="57" y="660"/>
                    </a:cubicBezTo>
                    <a:cubicBezTo>
                      <a:pt x="60" y="660"/>
                      <a:pt x="60" y="660"/>
                      <a:pt x="60" y="660"/>
                    </a:cubicBezTo>
                    <a:cubicBezTo>
                      <a:pt x="60" y="661"/>
                      <a:pt x="60" y="661"/>
                      <a:pt x="60" y="661"/>
                    </a:cubicBezTo>
                    <a:cubicBezTo>
                      <a:pt x="61" y="661"/>
                      <a:pt x="61" y="661"/>
                      <a:pt x="61" y="661"/>
                    </a:cubicBezTo>
                    <a:cubicBezTo>
                      <a:pt x="62" y="663"/>
                      <a:pt x="62" y="663"/>
                      <a:pt x="62" y="663"/>
                    </a:cubicBezTo>
                    <a:cubicBezTo>
                      <a:pt x="62" y="665"/>
                      <a:pt x="62" y="665"/>
                      <a:pt x="62" y="665"/>
                    </a:cubicBezTo>
                    <a:cubicBezTo>
                      <a:pt x="64" y="667"/>
                      <a:pt x="64" y="667"/>
                      <a:pt x="64" y="667"/>
                    </a:cubicBezTo>
                    <a:cubicBezTo>
                      <a:pt x="65" y="666"/>
                      <a:pt x="65" y="666"/>
                      <a:pt x="65" y="666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68" y="667"/>
                      <a:pt x="68" y="667"/>
                      <a:pt x="68" y="667"/>
                    </a:cubicBezTo>
                    <a:cubicBezTo>
                      <a:pt x="65" y="670"/>
                      <a:pt x="65" y="670"/>
                      <a:pt x="65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0" y="674"/>
                      <a:pt x="70" y="674"/>
                      <a:pt x="70" y="674"/>
                    </a:cubicBezTo>
                    <a:cubicBezTo>
                      <a:pt x="71" y="675"/>
                      <a:pt x="71" y="675"/>
                      <a:pt x="71" y="675"/>
                    </a:cubicBezTo>
                    <a:cubicBezTo>
                      <a:pt x="77" y="679"/>
                      <a:pt x="77" y="679"/>
                      <a:pt x="77" y="679"/>
                    </a:cubicBezTo>
                    <a:cubicBezTo>
                      <a:pt x="78" y="678"/>
                      <a:pt x="78" y="678"/>
                      <a:pt x="78" y="678"/>
                    </a:cubicBezTo>
                    <a:cubicBezTo>
                      <a:pt x="79" y="678"/>
                      <a:pt x="79" y="678"/>
                      <a:pt x="79" y="678"/>
                    </a:cubicBezTo>
                    <a:cubicBezTo>
                      <a:pt x="78" y="673"/>
                      <a:pt x="78" y="673"/>
                      <a:pt x="78" y="673"/>
                    </a:cubicBezTo>
                    <a:cubicBezTo>
                      <a:pt x="78" y="671"/>
                      <a:pt x="78" y="671"/>
                      <a:pt x="78" y="671"/>
                    </a:cubicBezTo>
                    <a:cubicBezTo>
                      <a:pt x="78" y="669"/>
                      <a:pt x="78" y="669"/>
                      <a:pt x="78" y="669"/>
                    </a:cubicBezTo>
                    <a:cubicBezTo>
                      <a:pt x="78" y="665"/>
                      <a:pt x="78" y="665"/>
                      <a:pt x="78" y="665"/>
                    </a:cubicBezTo>
                    <a:cubicBezTo>
                      <a:pt x="77" y="663"/>
                      <a:pt x="77" y="663"/>
                      <a:pt x="77" y="663"/>
                    </a:cubicBezTo>
                    <a:cubicBezTo>
                      <a:pt x="72" y="660"/>
                      <a:pt x="72" y="660"/>
                      <a:pt x="72" y="660"/>
                    </a:cubicBezTo>
                    <a:cubicBezTo>
                      <a:pt x="72" y="654"/>
                      <a:pt x="72" y="654"/>
                      <a:pt x="72" y="654"/>
                    </a:cubicBezTo>
                    <a:cubicBezTo>
                      <a:pt x="69" y="651"/>
                      <a:pt x="69" y="651"/>
                      <a:pt x="69" y="651"/>
                    </a:cubicBezTo>
                    <a:cubicBezTo>
                      <a:pt x="69" y="647"/>
                      <a:pt x="69" y="647"/>
                      <a:pt x="69" y="647"/>
                    </a:cubicBezTo>
                    <a:cubicBezTo>
                      <a:pt x="68" y="646"/>
                      <a:pt x="68" y="646"/>
                      <a:pt x="68" y="646"/>
                    </a:cubicBezTo>
                    <a:cubicBezTo>
                      <a:pt x="66" y="646"/>
                      <a:pt x="66" y="646"/>
                      <a:pt x="66" y="646"/>
                    </a:cubicBezTo>
                    <a:cubicBezTo>
                      <a:pt x="63" y="644"/>
                      <a:pt x="63" y="644"/>
                      <a:pt x="63" y="644"/>
                    </a:cubicBezTo>
                    <a:cubicBezTo>
                      <a:pt x="61" y="644"/>
                      <a:pt x="61" y="644"/>
                      <a:pt x="61" y="644"/>
                    </a:cubicBezTo>
                    <a:cubicBezTo>
                      <a:pt x="59" y="643"/>
                      <a:pt x="59" y="643"/>
                      <a:pt x="59" y="643"/>
                    </a:cubicBezTo>
                    <a:cubicBezTo>
                      <a:pt x="58" y="641"/>
                      <a:pt x="58" y="641"/>
                      <a:pt x="58" y="641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3" y="638"/>
                      <a:pt x="53" y="638"/>
                      <a:pt x="53" y="638"/>
                    </a:cubicBezTo>
                    <a:cubicBezTo>
                      <a:pt x="53" y="636"/>
                      <a:pt x="53" y="636"/>
                      <a:pt x="53" y="636"/>
                    </a:cubicBezTo>
                    <a:cubicBezTo>
                      <a:pt x="51" y="636"/>
                      <a:pt x="51" y="636"/>
                      <a:pt x="51" y="636"/>
                    </a:cubicBezTo>
                    <a:cubicBezTo>
                      <a:pt x="50" y="634"/>
                      <a:pt x="50" y="634"/>
                      <a:pt x="50" y="634"/>
                    </a:cubicBezTo>
                    <a:cubicBezTo>
                      <a:pt x="48" y="634"/>
                      <a:pt x="48" y="634"/>
                      <a:pt x="48" y="634"/>
                    </a:cubicBezTo>
                    <a:cubicBezTo>
                      <a:pt x="47" y="634"/>
                      <a:pt x="47" y="634"/>
                      <a:pt x="47" y="634"/>
                    </a:cubicBezTo>
                    <a:cubicBezTo>
                      <a:pt x="44" y="634"/>
                      <a:pt x="44" y="634"/>
                      <a:pt x="44" y="634"/>
                    </a:cubicBezTo>
                    <a:close/>
                    <a:moveTo>
                      <a:pt x="62" y="638"/>
                    </a:moveTo>
                    <a:cubicBezTo>
                      <a:pt x="63" y="638"/>
                      <a:pt x="63" y="638"/>
                      <a:pt x="63" y="638"/>
                    </a:cubicBezTo>
                    <a:cubicBezTo>
                      <a:pt x="63" y="638"/>
                      <a:pt x="63" y="638"/>
                      <a:pt x="63" y="638"/>
                    </a:cubicBezTo>
                    <a:cubicBezTo>
                      <a:pt x="65" y="638"/>
                      <a:pt x="65" y="638"/>
                      <a:pt x="65" y="638"/>
                    </a:cubicBezTo>
                    <a:cubicBezTo>
                      <a:pt x="63" y="640"/>
                      <a:pt x="63" y="640"/>
                      <a:pt x="63" y="640"/>
                    </a:cubicBezTo>
                    <a:cubicBezTo>
                      <a:pt x="62" y="640"/>
                      <a:pt x="62" y="640"/>
                      <a:pt x="62" y="640"/>
                    </a:cubicBezTo>
                    <a:cubicBezTo>
                      <a:pt x="62" y="638"/>
                      <a:pt x="62" y="638"/>
                      <a:pt x="62" y="638"/>
                    </a:cubicBezTo>
                    <a:close/>
                    <a:moveTo>
                      <a:pt x="60" y="637"/>
                    </a:moveTo>
                    <a:cubicBezTo>
                      <a:pt x="61" y="635"/>
                      <a:pt x="61" y="635"/>
                      <a:pt x="61" y="635"/>
                    </a:cubicBezTo>
                    <a:cubicBezTo>
                      <a:pt x="62" y="637"/>
                      <a:pt x="62" y="637"/>
                      <a:pt x="62" y="637"/>
                    </a:cubicBezTo>
                    <a:cubicBezTo>
                      <a:pt x="60" y="637"/>
                      <a:pt x="60" y="637"/>
                      <a:pt x="60" y="637"/>
                    </a:cubicBezTo>
                    <a:close/>
                    <a:moveTo>
                      <a:pt x="49" y="593"/>
                    </a:moveTo>
                    <a:cubicBezTo>
                      <a:pt x="49" y="596"/>
                      <a:pt x="49" y="596"/>
                      <a:pt x="49" y="596"/>
                    </a:cubicBezTo>
                    <a:cubicBezTo>
                      <a:pt x="50" y="595"/>
                      <a:pt x="50" y="595"/>
                      <a:pt x="50" y="595"/>
                    </a:cubicBezTo>
                    <a:cubicBezTo>
                      <a:pt x="49" y="593"/>
                      <a:pt x="49" y="593"/>
                      <a:pt x="49" y="593"/>
                    </a:cubicBezTo>
                    <a:close/>
                    <a:moveTo>
                      <a:pt x="54" y="614"/>
                    </a:moveTo>
                    <a:cubicBezTo>
                      <a:pt x="54" y="612"/>
                      <a:pt x="54" y="612"/>
                      <a:pt x="54" y="612"/>
                    </a:cubicBezTo>
                    <a:cubicBezTo>
                      <a:pt x="55" y="612"/>
                      <a:pt x="55" y="612"/>
                      <a:pt x="55" y="612"/>
                    </a:cubicBezTo>
                    <a:cubicBezTo>
                      <a:pt x="55" y="612"/>
                      <a:pt x="55" y="612"/>
                      <a:pt x="55" y="612"/>
                    </a:cubicBezTo>
                    <a:cubicBezTo>
                      <a:pt x="54" y="614"/>
                      <a:pt x="54" y="614"/>
                      <a:pt x="54" y="614"/>
                    </a:cubicBezTo>
                    <a:cubicBezTo>
                      <a:pt x="54" y="614"/>
                      <a:pt x="54" y="614"/>
                      <a:pt x="54" y="614"/>
                    </a:cubicBezTo>
                    <a:close/>
                    <a:moveTo>
                      <a:pt x="53" y="620"/>
                    </a:moveTo>
                    <a:cubicBezTo>
                      <a:pt x="52" y="621"/>
                      <a:pt x="52" y="621"/>
                      <a:pt x="52" y="621"/>
                    </a:cubicBezTo>
                    <a:cubicBezTo>
                      <a:pt x="52" y="623"/>
                      <a:pt x="52" y="623"/>
                      <a:pt x="52" y="623"/>
                    </a:cubicBezTo>
                    <a:cubicBezTo>
                      <a:pt x="53" y="624"/>
                      <a:pt x="53" y="624"/>
                      <a:pt x="53" y="624"/>
                    </a:cubicBezTo>
                    <a:cubicBezTo>
                      <a:pt x="54" y="622"/>
                      <a:pt x="54" y="622"/>
                      <a:pt x="54" y="622"/>
                    </a:cubicBezTo>
                    <a:cubicBezTo>
                      <a:pt x="53" y="620"/>
                      <a:pt x="53" y="620"/>
                      <a:pt x="53" y="620"/>
                    </a:cubicBezTo>
                    <a:close/>
                    <a:moveTo>
                      <a:pt x="55" y="618"/>
                    </a:moveTo>
                    <a:cubicBezTo>
                      <a:pt x="56" y="615"/>
                      <a:pt x="56" y="615"/>
                      <a:pt x="56" y="615"/>
                    </a:cubicBezTo>
                    <a:cubicBezTo>
                      <a:pt x="56" y="614"/>
                      <a:pt x="56" y="614"/>
                      <a:pt x="56" y="614"/>
                    </a:cubicBezTo>
                    <a:cubicBezTo>
                      <a:pt x="53" y="616"/>
                      <a:pt x="53" y="616"/>
                      <a:pt x="53" y="616"/>
                    </a:cubicBezTo>
                    <a:cubicBezTo>
                      <a:pt x="53" y="618"/>
                      <a:pt x="53" y="618"/>
                      <a:pt x="53" y="618"/>
                    </a:cubicBezTo>
                    <a:cubicBezTo>
                      <a:pt x="54" y="617"/>
                      <a:pt x="54" y="617"/>
                      <a:pt x="54" y="617"/>
                    </a:cubicBezTo>
                    <a:cubicBezTo>
                      <a:pt x="54" y="617"/>
                      <a:pt x="55" y="618"/>
                      <a:pt x="55" y="618"/>
                    </a:cubicBezTo>
                    <a:close/>
                    <a:moveTo>
                      <a:pt x="57" y="616"/>
                    </a:moveTo>
                    <a:cubicBezTo>
                      <a:pt x="59" y="612"/>
                      <a:pt x="59" y="612"/>
                      <a:pt x="59" y="612"/>
                    </a:cubicBezTo>
                    <a:cubicBezTo>
                      <a:pt x="61" y="612"/>
                      <a:pt x="61" y="612"/>
                      <a:pt x="61" y="612"/>
                    </a:cubicBezTo>
                    <a:cubicBezTo>
                      <a:pt x="62" y="610"/>
                      <a:pt x="62" y="610"/>
                      <a:pt x="62" y="610"/>
                    </a:cubicBezTo>
                    <a:cubicBezTo>
                      <a:pt x="65" y="610"/>
                      <a:pt x="65" y="610"/>
                      <a:pt x="65" y="610"/>
                    </a:cubicBezTo>
                    <a:cubicBezTo>
                      <a:pt x="64" y="611"/>
                      <a:pt x="64" y="611"/>
                      <a:pt x="64" y="611"/>
                    </a:cubicBezTo>
                    <a:cubicBezTo>
                      <a:pt x="62" y="613"/>
                      <a:pt x="62" y="613"/>
                      <a:pt x="62" y="613"/>
                    </a:cubicBezTo>
                    <a:cubicBezTo>
                      <a:pt x="60" y="614"/>
                      <a:pt x="60" y="614"/>
                      <a:pt x="60" y="614"/>
                    </a:cubicBezTo>
                    <a:cubicBezTo>
                      <a:pt x="58" y="615"/>
                      <a:pt x="58" y="615"/>
                      <a:pt x="58" y="615"/>
                    </a:cubicBezTo>
                    <a:cubicBezTo>
                      <a:pt x="57" y="616"/>
                      <a:pt x="57" y="616"/>
                      <a:pt x="57" y="616"/>
                    </a:cubicBezTo>
                    <a:close/>
                    <a:moveTo>
                      <a:pt x="55" y="605"/>
                    </a:moveTo>
                    <a:cubicBezTo>
                      <a:pt x="55" y="603"/>
                      <a:pt x="55" y="603"/>
                      <a:pt x="55" y="603"/>
                    </a:cubicBezTo>
                    <a:cubicBezTo>
                      <a:pt x="57" y="601"/>
                      <a:pt x="57" y="601"/>
                      <a:pt x="57" y="601"/>
                    </a:cubicBezTo>
                    <a:cubicBezTo>
                      <a:pt x="57" y="603"/>
                      <a:pt x="57" y="603"/>
                      <a:pt x="57" y="603"/>
                    </a:cubicBezTo>
                    <a:cubicBezTo>
                      <a:pt x="56" y="604"/>
                      <a:pt x="56" y="604"/>
                      <a:pt x="56" y="604"/>
                    </a:cubicBezTo>
                    <a:cubicBezTo>
                      <a:pt x="56" y="604"/>
                      <a:pt x="56" y="604"/>
                      <a:pt x="56" y="604"/>
                    </a:cubicBezTo>
                    <a:cubicBezTo>
                      <a:pt x="55" y="605"/>
                      <a:pt x="55" y="605"/>
                      <a:pt x="55" y="605"/>
                    </a:cubicBezTo>
                    <a:close/>
                    <a:moveTo>
                      <a:pt x="51" y="604"/>
                    </a:moveTo>
                    <a:cubicBezTo>
                      <a:pt x="54" y="605"/>
                      <a:pt x="54" y="605"/>
                      <a:pt x="54" y="605"/>
                    </a:cubicBezTo>
                    <a:cubicBezTo>
                      <a:pt x="54" y="604"/>
                      <a:pt x="54" y="604"/>
                      <a:pt x="54" y="604"/>
                    </a:cubicBezTo>
                    <a:cubicBezTo>
                      <a:pt x="54" y="603"/>
                      <a:pt x="54" y="603"/>
                      <a:pt x="54" y="603"/>
                    </a:cubicBezTo>
                    <a:cubicBezTo>
                      <a:pt x="51" y="604"/>
                      <a:pt x="51" y="604"/>
                      <a:pt x="51" y="604"/>
                    </a:cubicBezTo>
                    <a:close/>
                    <a:moveTo>
                      <a:pt x="49" y="598"/>
                    </a:moveTo>
                    <a:cubicBezTo>
                      <a:pt x="48" y="602"/>
                      <a:pt x="48" y="602"/>
                      <a:pt x="48" y="602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0" y="604"/>
                      <a:pt x="50" y="604"/>
                      <a:pt x="50" y="604"/>
                    </a:cubicBezTo>
                    <a:cubicBezTo>
                      <a:pt x="51" y="603"/>
                      <a:pt x="51" y="603"/>
                      <a:pt x="51" y="603"/>
                    </a:cubicBezTo>
                    <a:cubicBezTo>
                      <a:pt x="50" y="600"/>
                      <a:pt x="50" y="600"/>
                      <a:pt x="50" y="600"/>
                    </a:cubicBezTo>
                    <a:cubicBezTo>
                      <a:pt x="49" y="598"/>
                      <a:pt x="49" y="598"/>
                      <a:pt x="49" y="598"/>
                    </a:cubicBezTo>
                    <a:close/>
                    <a:moveTo>
                      <a:pt x="50" y="597"/>
                    </a:moveTo>
                    <a:cubicBezTo>
                      <a:pt x="52" y="597"/>
                      <a:pt x="52" y="597"/>
                      <a:pt x="52" y="597"/>
                    </a:cubicBezTo>
                    <a:cubicBezTo>
                      <a:pt x="51" y="598"/>
                      <a:pt x="51" y="598"/>
                      <a:pt x="51" y="598"/>
                    </a:cubicBezTo>
                    <a:cubicBezTo>
                      <a:pt x="51" y="600"/>
                      <a:pt x="51" y="600"/>
                      <a:pt x="51" y="600"/>
                    </a:cubicBezTo>
                    <a:cubicBezTo>
                      <a:pt x="53" y="600"/>
                      <a:pt x="53" y="600"/>
                      <a:pt x="53" y="600"/>
                    </a:cubicBezTo>
                    <a:cubicBezTo>
                      <a:pt x="55" y="598"/>
                      <a:pt x="55" y="598"/>
                      <a:pt x="55" y="598"/>
                    </a:cubicBezTo>
                    <a:cubicBezTo>
                      <a:pt x="54" y="600"/>
                      <a:pt x="54" y="600"/>
                      <a:pt x="54" y="600"/>
                    </a:cubicBezTo>
                    <a:cubicBezTo>
                      <a:pt x="54" y="602"/>
                      <a:pt x="54" y="602"/>
                      <a:pt x="54" y="602"/>
                    </a:cubicBezTo>
                    <a:cubicBezTo>
                      <a:pt x="56" y="600"/>
                      <a:pt x="56" y="600"/>
                      <a:pt x="56" y="600"/>
                    </a:cubicBezTo>
                    <a:cubicBezTo>
                      <a:pt x="56" y="596"/>
                      <a:pt x="56" y="596"/>
                      <a:pt x="56" y="596"/>
                    </a:cubicBezTo>
                    <a:cubicBezTo>
                      <a:pt x="54" y="594"/>
                      <a:pt x="54" y="594"/>
                      <a:pt x="54" y="594"/>
                    </a:cubicBezTo>
                    <a:cubicBezTo>
                      <a:pt x="52" y="595"/>
                      <a:pt x="52" y="595"/>
                      <a:pt x="52" y="595"/>
                    </a:cubicBezTo>
                    <a:cubicBezTo>
                      <a:pt x="50" y="597"/>
                      <a:pt x="50" y="597"/>
                      <a:pt x="50" y="597"/>
                    </a:cubicBezTo>
                    <a:close/>
                    <a:moveTo>
                      <a:pt x="50" y="592"/>
                    </a:moveTo>
                    <a:cubicBezTo>
                      <a:pt x="51" y="594"/>
                      <a:pt x="51" y="594"/>
                      <a:pt x="51" y="594"/>
                    </a:cubicBezTo>
                    <a:cubicBezTo>
                      <a:pt x="52" y="593"/>
                      <a:pt x="52" y="593"/>
                      <a:pt x="52" y="593"/>
                    </a:cubicBezTo>
                    <a:cubicBezTo>
                      <a:pt x="51" y="592"/>
                      <a:pt x="51" y="592"/>
                      <a:pt x="51" y="592"/>
                    </a:cubicBezTo>
                    <a:cubicBezTo>
                      <a:pt x="50" y="592"/>
                      <a:pt x="50" y="592"/>
                      <a:pt x="50" y="592"/>
                    </a:cubicBezTo>
                    <a:close/>
                    <a:moveTo>
                      <a:pt x="54" y="589"/>
                    </a:moveTo>
                    <a:cubicBezTo>
                      <a:pt x="54" y="587"/>
                      <a:pt x="54" y="587"/>
                      <a:pt x="54" y="587"/>
                    </a:cubicBezTo>
                    <a:cubicBezTo>
                      <a:pt x="56" y="586"/>
                      <a:pt x="56" y="586"/>
                      <a:pt x="56" y="586"/>
                    </a:cubicBezTo>
                    <a:cubicBezTo>
                      <a:pt x="57" y="586"/>
                      <a:pt x="57" y="586"/>
                      <a:pt x="57" y="586"/>
                    </a:cubicBezTo>
                    <a:cubicBezTo>
                      <a:pt x="57" y="587"/>
                      <a:pt x="57" y="587"/>
                      <a:pt x="57" y="587"/>
                    </a:cubicBezTo>
                    <a:cubicBezTo>
                      <a:pt x="55" y="588"/>
                      <a:pt x="55" y="588"/>
                      <a:pt x="55" y="588"/>
                    </a:cubicBezTo>
                    <a:cubicBezTo>
                      <a:pt x="54" y="589"/>
                      <a:pt x="54" y="589"/>
                      <a:pt x="54" y="589"/>
                    </a:cubicBezTo>
                    <a:close/>
                    <a:moveTo>
                      <a:pt x="42" y="583"/>
                    </a:moveTo>
                    <a:cubicBezTo>
                      <a:pt x="46" y="588"/>
                      <a:pt x="46" y="588"/>
                      <a:pt x="46" y="588"/>
                    </a:cubicBezTo>
                    <a:cubicBezTo>
                      <a:pt x="47" y="591"/>
                      <a:pt x="47" y="591"/>
                      <a:pt x="47" y="591"/>
                    </a:cubicBezTo>
                    <a:cubicBezTo>
                      <a:pt x="47" y="593"/>
                      <a:pt x="47" y="593"/>
                      <a:pt x="47" y="593"/>
                    </a:cubicBezTo>
                    <a:cubicBezTo>
                      <a:pt x="45" y="592"/>
                      <a:pt x="45" y="592"/>
                      <a:pt x="45" y="592"/>
                    </a:cubicBezTo>
                    <a:cubicBezTo>
                      <a:pt x="45" y="590"/>
                      <a:pt x="45" y="590"/>
                      <a:pt x="45" y="590"/>
                    </a:cubicBezTo>
                    <a:cubicBezTo>
                      <a:pt x="42" y="587"/>
                      <a:pt x="42" y="587"/>
                      <a:pt x="42" y="587"/>
                    </a:cubicBezTo>
                    <a:cubicBezTo>
                      <a:pt x="41" y="585"/>
                      <a:pt x="41" y="585"/>
                      <a:pt x="41" y="585"/>
                    </a:cubicBezTo>
                    <a:cubicBezTo>
                      <a:pt x="41" y="585"/>
                      <a:pt x="42" y="583"/>
                      <a:pt x="42" y="583"/>
                    </a:cubicBezTo>
                    <a:close/>
                    <a:moveTo>
                      <a:pt x="46" y="581"/>
                    </a:moveTo>
                    <a:cubicBezTo>
                      <a:pt x="46" y="584"/>
                      <a:pt x="46" y="584"/>
                      <a:pt x="46" y="584"/>
                    </a:cubicBezTo>
                    <a:cubicBezTo>
                      <a:pt x="47" y="586"/>
                      <a:pt x="47" y="586"/>
                      <a:pt x="47" y="586"/>
                    </a:cubicBezTo>
                    <a:cubicBezTo>
                      <a:pt x="48" y="589"/>
                      <a:pt x="48" y="589"/>
                      <a:pt x="48" y="589"/>
                    </a:cubicBezTo>
                    <a:cubicBezTo>
                      <a:pt x="50" y="591"/>
                      <a:pt x="50" y="591"/>
                      <a:pt x="50" y="591"/>
                    </a:cubicBezTo>
                    <a:cubicBezTo>
                      <a:pt x="50" y="588"/>
                      <a:pt x="50" y="588"/>
                      <a:pt x="50" y="588"/>
                    </a:cubicBezTo>
                    <a:cubicBezTo>
                      <a:pt x="48" y="584"/>
                      <a:pt x="48" y="584"/>
                      <a:pt x="48" y="584"/>
                    </a:cubicBezTo>
                    <a:cubicBezTo>
                      <a:pt x="47" y="581"/>
                      <a:pt x="47" y="581"/>
                      <a:pt x="47" y="581"/>
                    </a:cubicBezTo>
                    <a:cubicBezTo>
                      <a:pt x="46" y="581"/>
                      <a:pt x="46" y="581"/>
                      <a:pt x="46" y="581"/>
                    </a:cubicBezTo>
                    <a:cubicBezTo>
                      <a:pt x="46" y="581"/>
                      <a:pt x="46" y="581"/>
                      <a:pt x="46" y="581"/>
                    </a:cubicBezTo>
                    <a:close/>
                    <a:moveTo>
                      <a:pt x="42" y="579"/>
                    </a:moveTo>
                    <a:cubicBezTo>
                      <a:pt x="45" y="579"/>
                      <a:pt x="45" y="579"/>
                      <a:pt x="45" y="579"/>
                    </a:cubicBezTo>
                    <a:cubicBezTo>
                      <a:pt x="45" y="580"/>
                      <a:pt x="45" y="580"/>
                      <a:pt x="45" y="580"/>
                    </a:cubicBezTo>
                    <a:cubicBezTo>
                      <a:pt x="47" y="580"/>
                      <a:pt x="47" y="580"/>
                      <a:pt x="47" y="580"/>
                    </a:cubicBezTo>
                    <a:cubicBezTo>
                      <a:pt x="47" y="578"/>
                      <a:pt x="47" y="578"/>
                      <a:pt x="47" y="578"/>
                    </a:cubicBezTo>
                    <a:cubicBezTo>
                      <a:pt x="46" y="576"/>
                      <a:pt x="46" y="576"/>
                      <a:pt x="46" y="576"/>
                    </a:cubicBezTo>
                    <a:cubicBezTo>
                      <a:pt x="43" y="577"/>
                      <a:pt x="43" y="577"/>
                      <a:pt x="43" y="577"/>
                    </a:cubicBezTo>
                    <a:cubicBezTo>
                      <a:pt x="42" y="579"/>
                      <a:pt x="42" y="579"/>
                      <a:pt x="42" y="579"/>
                    </a:cubicBezTo>
                    <a:close/>
                    <a:moveTo>
                      <a:pt x="22" y="580"/>
                    </a:moveTo>
                    <a:cubicBezTo>
                      <a:pt x="21" y="576"/>
                      <a:pt x="21" y="576"/>
                      <a:pt x="21" y="576"/>
                    </a:cubicBezTo>
                    <a:cubicBezTo>
                      <a:pt x="24" y="571"/>
                      <a:pt x="24" y="571"/>
                      <a:pt x="24" y="571"/>
                    </a:cubicBezTo>
                    <a:cubicBezTo>
                      <a:pt x="27" y="572"/>
                      <a:pt x="27" y="572"/>
                      <a:pt x="27" y="572"/>
                    </a:cubicBezTo>
                    <a:cubicBezTo>
                      <a:pt x="27" y="575"/>
                      <a:pt x="27" y="575"/>
                      <a:pt x="27" y="575"/>
                    </a:cubicBezTo>
                    <a:cubicBezTo>
                      <a:pt x="28" y="574"/>
                      <a:pt x="28" y="574"/>
                      <a:pt x="28" y="574"/>
                    </a:cubicBezTo>
                    <a:cubicBezTo>
                      <a:pt x="29" y="573"/>
                      <a:pt x="29" y="573"/>
                      <a:pt x="29" y="573"/>
                    </a:cubicBezTo>
                    <a:cubicBezTo>
                      <a:pt x="31" y="574"/>
                      <a:pt x="31" y="574"/>
                      <a:pt x="31" y="574"/>
                    </a:cubicBezTo>
                    <a:cubicBezTo>
                      <a:pt x="31" y="575"/>
                      <a:pt x="31" y="575"/>
                      <a:pt x="31" y="575"/>
                    </a:cubicBezTo>
                    <a:cubicBezTo>
                      <a:pt x="31" y="577"/>
                      <a:pt x="31" y="577"/>
                      <a:pt x="31" y="577"/>
                    </a:cubicBezTo>
                    <a:cubicBezTo>
                      <a:pt x="29" y="579"/>
                      <a:pt x="29" y="579"/>
                      <a:pt x="29" y="579"/>
                    </a:cubicBezTo>
                    <a:cubicBezTo>
                      <a:pt x="25" y="580"/>
                      <a:pt x="25" y="580"/>
                      <a:pt x="25" y="580"/>
                    </a:cubicBezTo>
                    <a:cubicBezTo>
                      <a:pt x="26" y="581"/>
                      <a:pt x="26" y="581"/>
                      <a:pt x="26" y="581"/>
                    </a:cubicBezTo>
                    <a:cubicBezTo>
                      <a:pt x="27" y="582"/>
                      <a:pt x="27" y="582"/>
                      <a:pt x="27" y="582"/>
                    </a:cubicBezTo>
                    <a:cubicBezTo>
                      <a:pt x="29" y="582"/>
                      <a:pt x="29" y="582"/>
                      <a:pt x="29" y="582"/>
                    </a:cubicBezTo>
                    <a:cubicBezTo>
                      <a:pt x="30" y="579"/>
                      <a:pt x="30" y="579"/>
                      <a:pt x="30" y="579"/>
                    </a:cubicBezTo>
                    <a:cubicBezTo>
                      <a:pt x="32" y="576"/>
                      <a:pt x="32" y="576"/>
                      <a:pt x="32" y="576"/>
                    </a:cubicBezTo>
                    <a:cubicBezTo>
                      <a:pt x="35" y="574"/>
                      <a:pt x="35" y="574"/>
                      <a:pt x="35" y="574"/>
                    </a:cubicBezTo>
                    <a:cubicBezTo>
                      <a:pt x="36" y="575"/>
                      <a:pt x="36" y="575"/>
                      <a:pt x="36" y="575"/>
                    </a:cubicBezTo>
                    <a:cubicBezTo>
                      <a:pt x="33" y="579"/>
                      <a:pt x="33" y="579"/>
                      <a:pt x="33" y="579"/>
                    </a:cubicBezTo>
                    <a:cubicBezTo>
                      <a:pt x="32" y="582"/>
                      <a:pt x="32" y="582"/>
                      <a:pt x="32" y="582"/>
                    </a:cubicBezTo>
                    <a:cubicBezTo>
                      <a:pt x="30" y="584"/>
                      <a:pt x="30" y="584"/>
                      <a:pt x="30" y="584"/>
                    </a:cubicBezTo>
                    <a:cubicBezTo>
                      <a:pt x="30" y="587"/>
                      <a:pt x="30" y="587"/>
                      <a:pt x="30" y="587"/>
                    </a:cubicBezTo>
                    <a:cubicBezTo>
                      <a:pt x="28" y="589"/>
                      <a:pt x="28" y="589"/>
                      <a:pt x="28" y="589"/>
                    </a:cubicBezTo>
                    <a:cubicBezTo>
                      <a:pt x="26" y="589"/>
                      <a:pt x="26" y="589"/>
                      <a:pt x="26" y="589"/>
                    </a:cubicBezTo>
                    <a:cubicBezTo>
                      <a:pt x="25" y="590"/>
                      <a:pt x="25" y="590"/>
                      <a:pt x="25" y="590"/>
                    </a:cubicBezTo>
                    <a:cubicBezTo>
                      <a:pt x="26" y="590"/>
                      <a:pt x="26" y="590"/>
                      <a:pt x="26" y="590"/>
                    </a:cubicBezTo>
                    <a:cubicBezTo>
                      <a:pt x="28" y="590"/>
                      <a:pt x="28" y="590"/>
                      <a:pt x="28" y="590"/>
                    </a:cubicBezTo>
                    <a:cubicBezTo>
                      <a:pt x="30" y="590"/>
                      <a:pt x="30" y="590"/>
                      <a:pt x="30" y="590"/>
                    </a:cubicBezTo>
                    <a:cubicBezTo>
                      <a:pt x="30" y="592"/>
                      <a:pt x="30" y="592"/>
                      <a:pt x="30" y="592"/>
                    </a:cubicBezTo>
                    <a:cubicBezTo>
                      <a:pt x="27" y="592"/>
                      <a:pt x="27" y="592"/>
                      <a:pt x="27" y="592"/>
                    </a:cubicBezTo>
                    <a:cubicBezTo>
                      <a:pt x="26" y="595"/>
                      <a:pt x="26" y="595"/>
                      <a:pt x="26" y="595"/>
                    </a:cubicBezTo>
                    <a:cubicBezTo>
                      <a:pt x="27" y="597"/>
                      <a:pt x="27" y="597"/>
                      <a:pt x="27" y="597"/>
                    </a:cubicBezTo>
                    <a:cubicBezTo>
                      <a:pt x="26" y="600"/>
                      <a:pt x="26" y="600"/>
                      <a:pt x="26" y="600"/>
                    </a:cubicBezTo>
                    <a:cubicBezTo>
                      <a:pt x="28" y="603"/>
                      <a:pt x="28" y="603"/>
                      <a:pt x="28" y="603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9" y="605"/>
                      <a:pt x="29" y="605"/>
                      <a:pt x="29" y="605"/>
                    </a:cubicBezTo>
                    <a:cubicBezTo>
                      <a:pt x="30" y="607"/>
                      <a:pt x="30" y="607"/>
                      <a:pt x="30" y="607"/>
                    </a:cubicBezTo>
                    <a:cubicBezTo>
                      <a:pt x="29" y="608"/>
                      <a:pt x="29" y="608"/>
                      <a:pt x="29" y="608"/>
                    </a:cubicBezTo>
                    <a:cubicBezTo>
                      <a:pt x="27" y="608"/>
                      <a:pt x="27" y="608"/>
                      <a:pt x="27" y="608"/>
                    </a:cubicBezTo>
                    <a:cubicBezTo>
                      <a:pt x="24" y="601"/>
                      <a:pt x="24" y="601"/>
                      <a:pt x="24" y="601"/>
                    </a:cubicBezTo>
                    <a:cubicBezTo>
                      <a:pt x="24" y="598"/>
                      <a:pt x="24" y="598"/>
                      <a:pt x="24" y="598"/>
                    </a:cubicBezTo>
                    <a:cubicBezTo>
                      <a:pt x="24" y="597"/>
                      <a:pt x="24" y="597"/>
                      <a:pt x="24" y="597"/>
                    </a:cubicBezTo>
                    <a:cubicBezTo>
                      <a:pt x="22" y="597"/>
                      <a:pt x="22" y="597"/>
                      <a:pt x="22" y="597"/>
                    </a:cubicBezTo>
                    <a:cubicBezTo>
                      <a:pt x="21" y="595"/>
                      <a:pt x="21" y="595"/>
                      <a:pt x="21" y="595"/>
                    </a:cubicBezTo>
                    <a:cubicBezTo>
                      <a:pt x="22" y="594"/>
                      <a:pt x="22" y="594"/>
                      <a:pt x="22" y="594"/>
                    </a:cubicBezTo>
                    <a:cubicBezTo>
                      <a:pt x="24" y="594"/>
                      <a:pt x="24" y="594"/>
                      <a:pt x="24" y="594"/>
                    </a:cubicBezTo>
                    <a:cubicBezTo>
                      <a:pt x="23" y="592"/>
                      <a:pt x="23" y="592"/>
                      <a:pt x="23" y="592"/>
                    </a:cubicBezTo>
                    <a:cubicBezTo>
                      <a:pt x="21" y="591"/>
                      <a:pt x="21" y="591"/>
                      <a:pt x="21" y="591"/>
                    </a:cubicBezTo>
                    <a:cubicBezTo>
                      <a:pt x="23" y="589"/>
                      <a:pt x="23" y="589"/>
                      <a:pt x="23" y="589"/>
                    </a:cubicBezTo>
                    <a:cubicBezTo>
                      <a:pt x="21" y="588"/>
                      <a:pt x="21" y="588"/>
                      <a:pt x="21" y="588"/>
                    </a:cubicBezTo>
                    <a:cubicBezTo>
                      <a:pt x="21" y="586"/>
                      <a:pt x="21" y="586"/>
                      <a:pt x="21" y="586"/>
                    </a:cubicBezTo>
                    <a:cubicBezTo>
                      <a:pt x="23" y="587"/>
                      <a:pt x="23" y="587"/>
                      <a:pt x="23" y="587"/>
                    </a:cubicBezTo>
                    <a:cubicBezTo>
                      <a:pt x="24" y="587"/>
                      <a:pt x="24" y="587"/>
                      <a:pt x="24" y="587"/>
                    </a:cubicBezTo>
                    <a:cubicBezTo>
                      <a:pt x="24" y="586"/>
                      <a:pt x="24" y="586"/>
                      <a:pt x="24" y="586"/>
                    </a:cubicBezTo>
                    <a:cubicBezTo>
                      <a:pt x="23" y="584"/>
                      <a:pt x="23" y="584"/>
                      <a:pt x="23" y="584"/>
                    </a:cubicBezTo>
                    <a:cubicBezTo>
                      <a:pt x="21" y="584"/>
                      <a:pt x="21" y="584"/>
                      <a:pt x="21" y="584"/>
                    </a:cubicBezTo>
                    <a:cubicBezTo>
                      <a:pt x="21" y="582"/>
                      <a:pt x="21" y="582"/>
                      <a:pt x="21" y="582"/>
                    </a:cubicBezTo>
                    <a:cubicBezTo>
                      <a:pt x="22" y="580"/>
                      <a:pt x="22" y="580"/>
                      <a:pt x="22" y="580"/>
                    </a:cubicBezTo>
                    <a:close/>
                    <a:moveTo>
                      <a:pt x="45" y="570"/>
                    </a:moveTo>
                    <a:cubicBezTo>
                      <a:pt x="45" y="568"/>
                      <a:pt x="45" y="568"/>
                      <a:pt x="45" y="568"/>
                    </a:cubicBezTo>
                    <a:cubicBezTo>
                      <a:pt x="46" y="567"/>
                      <a:pt x="46" y="567"/>
                      <a:pt x="46" y="567"/>
                    </a:cubicBezTo>
                    <a:cubicBezTo>
                      <a:pt x="46" y="569"/>
                      <a:pt x="46" y="569"/>
                      <a:pt x="46" y="569"/>
                    </a:cubicBezTo>
                    <a:cubicBezTo>
                      <a:pt x="45" y="570"/>
                      <a:pt x="45" y="570"/>
                      <a:pt x="45" y="570"/>
                    </a:cubicBezTo>
                    <a:close/>
                    <a:moveTo>
                      <a:pt x="242" y="268"/>
                    </a:moveTo>
                    <a:cubicBezTo>
                      <a:pt x="244" y="269"/>
                      <a:pt x="244" y="269"/>
                      <a:pt x="244" y="269"/>
                    </a:cubicBezTo>
                    <a:cubicBezTo>
                      <a:pt x="244" y="268"/>
                      <a:pt x="244" y="268"/>
                      <a:pt x="244" y="268"/>
                    </a:cubicBezTo>
                    <a:cubicBezTo>
                      <a:pt x="244" y="267"/>
                      <a:pt x="244" y="267"/>
                      <a:pt x="244" y="267"/>
                    </a:cubicBezTo>
                    <a:cubicBezTo>
                      <a:pt x="245" y="267"/>
                      <a:pt x="245" y="267"/>
                      <a:pt x="245" y="267"/>
                    </a:cubicBezTo>
                    <a:cubicBezTo>
                      <a:pt x="243" y="267"/>
                      <a:pt x="243" y="267"/>
                      <a:pt x="243" y="267"/>
                    </a:cubicBezTo>
                    <a:cubicBezTo>
                      <a:pt x="242" y="268"/>
                      <a:pt x="242" y="268"/>
                      <a:pt x="242" y="268"/>
                    </a:cubicBezTo>
                    <a:close/>
                    <a:moveTo>
                      <a:pt x="224" y="249"/>
                    </a:moveTo>
                    <a:cubicBezTo>
                      <a:pt x="225" y="249"/>
                      <a:pt x="225" y="249"/>
                      <a:pt x="225" y="249"/>
                    </a:cubicBezTo>
                    <a:cubicBezTo>
                      <a:pt x="227" y="248"/>
                      <a:pt x="227" y="248"/>
                      <a:pt x="227" y="248"/>
                    </a:cubicBezTo>
                    <a:cubicBezTo>
                      <a:pt x="227" y="246"/>
                      <a:pt x="227" y="246"/>
                      <a:pt x="227" y="246"/>
                    </a:cubicBezTo>
                    <a:cubicBezTo>
                      <a:pt x="225" y="247"/>
                      <a:pt x="225" y="247"/>
                      <a:pt x="225" y="247"/>
                    </a:cubicBezTo>
                    <a:cubicBezTo>
                      <a:pt x="224" y="249"/>
                      <a:pt x="224" y="249"/>
                      <a:pt x="224" y="249"/>
                    </a:cubicBezTo>
                    <a:close/>
                    <a:moveTo>
                      <a:pt x="156" y="255"/>
                    </a:moveTo>
                    <a:cubicBezTo>
                      <a:pt x="157" y="255"/>
                      <a:pt x="157" y="255"/>
                      <a:pt x="157" y="255"/>
                    </a:cubicBezTo>
                    <a:cubicBezTo>
                      <a:pt x="158" y="254"/>
                      <a:pt x="158" y="254"/>
                      <a:pt x="158" y="254"/>
                    </a:cubicBezTo>
                    <a:cubicBezTo>
                      <a:pt x="157" y="253"/>
                      <a:pt x="157" y="253"/>
                      <a:pt x="157" y="253"/>
                    </a:cubicBezTo>
                    <a:cubicBezTo>
                      <a:pt x="157" y="253"/>
                      <a:pt x="156" y="255"/>
                      <a:pt x="156" y="255"/>
                    </a:cubicBezTo>
                    <a:close/>
                    <a:moveTo>
                      <a:pt x="155" y="258"/>
                    </a:moveTo>
                    <a:cubicBezTo>
                      <a:pt x="155" y="257"/>
                      <a:pt x="155" y="257"/>
                      <a:pt x="155" y="257"/>
                    </a:cubicBezTo>
                    <a:cubicBezTo>
                      <a:pt x="156" y="257"/>
                      <a:pt x="156" y="257"/>
                      <a:pt x="156" y="257"/>
                    </a:cubicBezTo>
                    <a:cubicBezTo>
                      <a:pt x="156" y="258"/>
                      <a:pt x="156" y="258"/>
                      <a:pt x="156" y="258"/>
                    </a:cubicBezTo>
                    <a:cubicBezTo>
                      <a:pt x="155" y="258"/>
                      <a:pt x="155" y="258"/>
                      <a:pt x="155" y="258"/>
                    </a:cubicBezTo>
                    <a:close/>
                    <a:moveTo>
                      <a:pt x="152" y="264"/>
                    </a:moveTo>
                    <a:cubicBezTo>
                      <a:pt x="152" y="267"/>
                      <a:pt x="152" y="267"/>
                      <a:pt x="152" y="267"/>
                    </a:cubicBezTo>
                    <a:cubicBezTo>
                      <a:pt x="151" y="269"/>
                      <a:pt x="151" y="269"/>
                      <a:pt x="151" y="269"/>
                    </a:cubicBezTo>
                    <a:cubicBezTo>
                      <a:pt x="151" y="271"/>
                      <a:pt x="151" y="271"/>
                      <a:pt x="151" y="271"/>
                    </a:cubicBezTo>
                    <a:cubicBezTo>
                      <a:pt x="153" y="271"/>
                      <a:pt x="153" y="271"/>
                      <a:pt x="153" y="271"/>
                    </a:cubicBezTo>
                    <a:cubicBezTo>
                      <a:pt x="154" y="270"/>
                      <a:pt x="154" y="270"/>
                      <a:pt x="154" y="270"/>
                    </a:cubicBezTo>
                    <a:cubicBezTo>
                      <a:pt x="156" y="269"/>
                      <a:pt x="156" y="269"/>
                      <a:pt x="156" y="269"/>
                    </a:cubicBezTo>
                    <a:cubicBezTo>
                      <a:pt x="163" y="264"/>
                      <a:pt x="163" y="264"/>
                      <a:pt x="163" y="264"/>
                    </a:cubicBezTo>
                    <a:cubicBezTo>
                      <a:pt x="165" y="262"/>
                      <a:pt x="165" y="262"/>
                      <a:pt x="165" y="262"/>
                    </a:cubicBezTo>
                    <a:cubicBezTo>
                      <a:pt x="167" y="260"/>
                      <a:pt x="167" y="260"/>
                      <a:pt x="167" y="260"/>
                    </a:cubicBezTo>
                    <a:cubicBezTo>
                      <a:pt x="166" y="261"/>
                      <a:pt x="166" y="261"/>
                      <a:pt x="166" y="261"/>
                    </a:cubicBezTo>
                    <a:cubicBezTo>
                      <a:pt x="164" y="260"/>
                      <a:pt x="164" y="260"/>
                      <a:pt x="164" y="260"/>
                    </a:cubicBezTo>
                    <a:cubicBezTo>
                      <a:pt x="164" y="256"/>
                      <a:pt x="164" y="256"/>
                      <a:pt x="164" y="256"/>
                    </a:cubicBezTo>
                    <a:cubicBezTo>
                      <a:pt x="163" y="256"/>
                      <a:pt x="163" y="256"/>
                      <a:pt x="163" y="256"/>
                    </a:cubicBezTo>
                    <a:cubicBezTo>
                      <a:pt x="161" y="259"/>
                      <a:pt x="161" y="259"/>
                      <a:pt x="161" y="259"/>
                    </a:cubicBezTo>
                    <a:cubicBezTo>
                      <a:pt x="160" y="260"/>
                      <a:pt x="160" y="260"/>
                      <a:pt x="160" y="260"/>
                    </a:cubicBezTo>
                    <a:cubicBezTo>
                      <a:pt x="160" y="261"/>
                      <a:pt x="160" y="261"/>
                      <a:pt x="160" y="261"/>
                    </a:cubicBezTo>
                    <a:cubicBezTo>
                      <a:pt x="158" y="261"/>
                      <a:pt x="158" y="261"/>
                      <a:pt x="158" y="261"/>
                    </a:cubicBezTo>
                    <a:cubicBezTo>
                      <a:pt x="158" y="262"/>
                      <a:pt x="158" y="262"/>
                      <a:pt x="158" y="262"/>
                    </a:cubicBezTo>
                    <a:cubicBezTo>
                      <a:pt x="157" y="263"/>
                      <a:pt x="157" y="263"/>
                      <a:pt x="157" y="263"/>
                    </a:cubicBezTo>
                    <a:cubicBezTo>
                      <a:pt x="156" y="262"/>
                      <a:pt x="156" y="262"/>
                      <a:pt x="156" y="262"/>
                    </a:cubicBezTo>
                    <a:cubicBezTo>
                      <a:pt x="157" y="261"/>
                      <a:pt x="157" y="261"/>
                      <a:pt x="157" y="261"/>
                    </a:cubicBezTo>
                    <a:cubicBezTo>
                      <a:pt x="156" y="260"/>
                      <a:pt x="156" y="260"/>
                      <a:pt x="156" y="260"/>
                    </a:cubicBezTo>
                    <a:cubicBezTo>
                      <a:pt x="155" y="261"/>
                      <a:pt x="155" y="261"/>
                      <a:pt x="155" y="261"/>
                    </a:cubicBezTo>
                    <a:cubicBezTo>
                      <a:pt x="154" y="261"/>
                      <a:pt x="154" y="261"/>
                      <a:pt x="154" y="261"/>
                    </a:cubicBezTo>
                    <a:cubicBezTo>
                      <a:pt x="153" y="263"/>
                      <a:pt x="153" y="263"/>
                      <a:pt x="153" y="263"/>
                    </a:cubicBezTo>
                    <a:cubicBezTo>
                      <a:pt x="152" y="264"/>
                      <a:pt x="152" y="264"/>
                      <a:pt x="152" y="264"/>
                    </a:cubicBezTo>
                    <a:close/>
                    <a:moveTo>
                      <a:pt x="145" y="270"/>
                    </a:moveTo>
                    <a:cubicBezTo>
                      <a:pt x="146" y="268"/>
                      <a:pt x="146" y="268"/>
                      <a:pt x="146" y="268"/>
                    </a:cubicBezTo>
                    <a:cubicBezTo>
                      <a:pt x="146" y="264"/>
                      <a:pt x="146" y="264"/>
                      <a:pt x="146" y="264"/>
                    </a:cubicBezTo>
                    <a:cubicBezTo>
                      <a:pt x="144" y="266"/>
                      <a:pt x="144" y="266"/>
                      <a:pt x="144" y="266"/>
                    </a:cubicBezTo>
                    <a:cubicBezTo>
                      <a:pt x="143" y="268"/>
                      <a:pt x="143" y="268"/>
                      <a:pt x="143" y="268"/>
                    </a:cubicBezTo>
                    <a:cubicBezTo>
                      <a:pt x="142" y="269"/>
                      <a:pt x="142" y="269"/>
                      <a:pt x="142" y="269"/>
                    </a:cubicBezTo>
                    <a:cubicBezTo>
                      <a:pt x="143" y="269"/>
                      <a:pt x="143" y="269"/>
                      <a:pt x="143" y="269"/>
                    </a:cubicBezTo>
                    <a:cubicBezTo>
                      <a:pt x="143" y="269"/>
                      <a:pt x="145" y="270"/>
                      <a:pt x="145" y="270"/>
                    </a:cubicBezTo>
                    <a:close/>
                    <a:moveTo>
                      <a:pt x="145" y="272"/>
                    </a:moveTo>
                    <a:cubicBezTo>
                      <a:pt x="147" y="271"/>
                      <a:pt x="147" y="271"/>
                      <a:pt x="147" y="271"/>
                    </a:cubicBezTo>
                    <a:cubicBezTo>
                      <a:pt x="147" y="270"/>
                      <a:pt x="147" y="270"/>
                      <a:pt x="147" y="270"/>
                    </a:cubicBezTo>
                    <a:cubicBezTo>
                      <a:pt x="146" y="267"/>
                      <a:pt x="146" y="267"/>
                      <a:pt x="146" y="267"/>
                    </a:cubicBezTo>
                    <a:cubicBezTo>
                      <a:pt x="146" y="264"/>
                      <a:pt x="146" y="264"/>
                      <a:pt x="146" y="264"/>
                    </a:cubicBezTo>
                    <a:cubicBezTo>
                      <a:pt x="148" y="262"/>
                      <a:pt x="148" y="262"/>
                      <a:pt x="148" y="262"/>
                    </a:cubicBezTo>
                    <a:cubicBezTo>
                      <a:pt x="149" y="263"/>
                      <a:pt x="149" y="263"/>
                      <a:pt x="149" y="263"/>
                    </a:cubicBezTo>
                    <a:cubicBezTo>
                      <a:pt x="149" y="262"/>
                      <a:pt x="149" y="262"/>
                      <a:pt x="149" y="262"/>
                    </a:cubicBezTo>
                    <a:cubicBezTo>
                      <a:pt x="150" y="261"/>
                      <a:pt x="150" y="261"/>
                      <a:pt x="150" y="261"/>
                    </a:cubicBezTo>
                    <a:cubicBezTo>
                      <a:pt x="151" y="264"/>
                      <a:pt x="151" y="264"/>
                      <a:pt x="151" y="264"/>
                    </a:cubicBezTo>
                    <a:cubicBezTo>
                      <a:pt x="150" y="268"/>
                      <a:pt x="150" y="268"/>
                      <a:pt x="150" y="268"/>
                    </a:cubicBezTo>
                    <a:cubicBezTo>
                      <a:pt x="149" y="270"/>
                      <a:pt x="149" y="270"/>
                      <a:pt x="149" y="270"/>
                    </a:cubicBezTo>
                    <a:cubicBezTo>
                      <a:pt x="150" y="271"/>
                      <a:pt x="150" y="271"/>
                      <a:pt x="150" y="271"/>
                    </a:cubicBezTo>
                    <a:cubicBezTo>
                      <a:pt x="148" y="273"/>
                      <a:pt x="148" y="273"/>
                      <a:pt x="148" y="273"/>
                    </a:cubicBezTo>
                    <a:cubicBezTo>
                      <a:pt x="145" y="272"/>
                      <a:pt x="145" y="272"/>
                      <a:pt x="145" y="272"/>
                    </a:cubicBezTo>
                    <a:close/>
                    <a:moveTo>
                      <a:pt x="148" y="282"/>
                    </a:moveTo>
                    <a:cubicBezTo>
                      <a:pt x="149" y="280"/>
                      <a:pt x="149" y="280"/>
                      <a:pt x="149" y="280"/>
                    </a:cubicBezTo>
                    <a:cubicBezTo>
                      <a:pt x="148" y="277"/>
                      <a:pt x="148" y="277"/>
                      <a:pt x="148" y="277"/>
                    </a:cubicBezTo>
                    <a:cubicBezTo>
                      <a:pt x="148" y="274"/>
                      <a:pt x="148" y="274"/>
                      <a:pt x="148" y="274"/>
                    </a:cubicBezTo>
                    <a:cubicBezTo>
                      <a:pt x="146" y="274"/>
                      <a:pt x="146" y="274"/>
                      <a:pt x="146" y="274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3" y="271"/>
                      <a:pt x="143" y="271"/>
                      <a:pt x="143" y="271"/>
                    </a:cubicBezTo>
                    <a:cubicBezTo>
                      <a:pt x="143" y="273"/>
                      <a:pt x="143" y="273"/>
                      <a:pt x="143" y="273"/>
                    </a:cubicBezTo>
                    <a:cubicBezTo>
                      <a:pt x="146" y="276"/>
                      <a:pt x="146" y="276"/>
                      <a:pt x="146" y="276"/>
                    </a:cubicBezTo>
                    <a:cubicBezTo>
                      <a:pt x="144" y="275"/>
                      <a:pt x="144" y="275"/>
                      <a:pt x="144" y="275"/>
                    </a:cubicBezTo>
                    <a:cubicBezTo>
                      <a:pt x="144" y="276"/>
                      <a:pt x="144" y="276"/>
                      <a:pt x="144" y="276"/>
                    </a:cubicBezTo>
                    <a:cubicBezTo>
                      <a:pt x="146" y="278"/>
                      <a:pt x="146" y="278"/>
                      <a:pt x="146" y="278"/>
                    </a:cubicBezTo>
                    <a:cubicBezTo>
                      <a:pt x="148" y="282"/>
                      <a:pt x="148" y="282"/>
                      <a:pt x="148" y="282"/>
                    </a:cubicBezTo>
                    <a:close/>
                    <a:moveTo>
                      <a:pt x="127" y="246"/>
                    </a:moveTo>
                    <a:cubicBezTo>
                      <a:pt x="128" y="248"/>
                      <a:pt x="128" y="248"/>
                      <a:pt x="128" y="248"/>
                    </a:cubicBezTo>
                    <a:cubicBezTo>
                      <a:pt x="129" y="248"/>
                      <a:pt x="129" y="248"/>
                      <a:pt x="129" y="248"/>
                    </a:cubicBezTo>
                    <a:cubicBezTo>
                      <a:pt x="131" y="249"/>
                      <a:pt x="131" y="249"/>
                      <a:pt x="131" y="249"/>
                    </a:cubicBezTo>
                    <a:cubicBezTo>
                      <a:pt x="132" y="248"/>
                      <a:pt x="132" y="248"/>
                      <a:pt x="132" y="248"/>
                    </a:cubicBezTo>
                    <a:cubicBezTo>
                      <a:pt x="130" y="245"/>
                      <a:pt x="130" y="245"/>
                      <a:pt x="130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27" y="246"/>
                      <a:pt x="127" y="246"/>
                      <a:pt x="127" y="246"/>
                    </a:cubicBezTo>
                    <a:close/>
                    <a:moveTo>
                      <a:pt x="86" y="669"/>
                    </a:moveTo>
                    <a:cubicBezTo>
                      <a:pt x="86" y="669"/>
                      <a:pt x="86" y="669"/>
                      <a:pt x="86" y="669"/>
                    </a:cubicBezTo>
                    <a:cubicBezTo>
                      <a:pt x="85" y="668"/>
                      <a:pt x="85" y="668"/>
                      <a:pt x="85" y="668"/>
                    </a:cubicBezTo>
                    <a:cubicBezTo>
                      <a:pt x="84" y="665"/>
                      <a:pt x="84" y="665"/>
                      <a:pt x="84" y="665"/>
                    </a:cubicBezTo>
                    <a:cubicBezTo>
                      <a:pt x="86" y="661"/>
                      <a:pt x="86" y="661"/>
                      <a:pt x="86" y="661"/>
                    </a:cubicBezTo>
                    <a:cubicBezTo>
                      <a:pt x="87" y="658"/>
                      <a:pt x="87" y="658"/>
                      <a:pt x="87" y="658"/>
                    </a:cubicBezTo>
                    <a:cubicBezTo>
                      <a:pt x="85" y="660"/>
                      <a:pt x="85" y="660"/>
                      <a:pt x="85" y="660"/>
                    </a:cubicBezTo>
                    <a:cubicBezTo>
                      <a:pt x="83" y="660"/>
                      <a:pt x="83" y="660"/>
                      <a:pt x="83" y="660"/>
                    </a:cubicBezTo>
                    <a:cubicBezTo>
                      <a:pt x="81" y="662"/>
                      <a:pt x="81" y="662"/>
                      <a:pt x="81" y="662"/>
                    </a:cubicBezTo>
                    <a:cubicBezTo>
                      <a:pt x="79" y="659"/>
                      <a:pt x="79" y="659"/>
                      <a:pt x="79" y="659"/>
                    </a:cubicBezTo>
                    <a:cubicBezTo>
                      <a:pt x="79" y="657"/>
                      <a:pt x="79" y="657"/>
                      <a:pt x="79" y="657"/>
                    </a:cubicBezTo>
                    <a:cubicBezTo>
                      <a:pt x="80" y="657"/>
                      <a:pt x="80" y="657"/>
                      <a:pt x="80" y="657"/>
                    </a:cubicBezTo>
                    <a:cubicBezTo>
                      <a:pt x="81" y="659"/>
                      <a:pt x="81" y="659"/>
                      <a:pt x="81" y="659"/>
                    </a:cubicBezTo>
                    <a:cubicBezTo>
                      <a:pt x="82" y="659"/>
                      <a:pt x="82" y="659"/>
                      <a:pt x="82" y="659"/>
                    </a:cubicBezTo>
                    <a:cubicBezTo>
                      <a:pt x="82" y="658"/>
                      <a:pt x="82" y="658"/>
                      <a:pt x="82" y="658"/>
                    </a:cubicBezTo>
                    <a:cubicBezTo>
                      <a:pt x="81" y="656"/>
                      <a:pt x="81" y="656"/>
                      <a:pt x="81" y="656"/>
                    </a:cubicBezTo>
                    <a:cubicBezTo>
                      <a:pt x="80" y="655"/>
                      <a:pt x="80" y="655"/>
                      <a:pt x="80" y="655"/>
                    </a:cubicBezTo>
                    <a:cubicBezTo>
                      <a:pt x="79" y="655"/>
                      <a:pt x="79" y="655"/>
                      <a:pt x="79" y="655"/>
                    </a:cubicBezTo>
                    <a:cubicBezTo>
                      <a:pt x="78" y="656"/>
                      <a:pt x="78" y="656"/>
                      <a:pt x="78" y="656"/>
                    </a:cubicBezTo>
                    <a:cubicBezTo>
                      <a:pt x="76" y="655"/>
                      <a:pt x="76" y="655"/>
                      <a:pt x="76" y="655"/>
                    </a:cubicBezTo>
                    <a:cubicBezTo>
                      <a:pt x="74" y="652"/>
                      <a:pt x="74" y="652"/>
                      <a:pt x="74" y="652"/>
                    </a:cubicBezTo>
                    <a:cubicBezTo>
                      <a:pt x="74" y="651"/>
                      <a:pt x="74" y="651"/>
                      <a:pt x="74" y="651"/>
                    </a:cubicBezTo>
                    <a:cubicBezTo>
                      <a:pt x="77" y="649"/>
                      <a:pt x="77" y="649"/>
                      <a:pt x="77" y="649"/>
                    </a:cubicBezTo>
                    <a:cubicBezTo>
                      <a:pt x="78" y="647"/>
                      <a:pt x="78" y="647"/>
                      <a:pt x="78" y="647"/>
                    </a:cubicBezTo>
                    <a:cubicBezTo>
                      <a:pt x="79" y="646"/>
                      <a:pt x="79" y="646"/>
                      <a:pt x="79" y="646"/>
                    </a:cubicBezTo>
                    <a:cubicBezTo>
                      <a:pt x="79" y="645"/>
                      <a:pt x="79" y="645"/>
                      <a:pt x="79" y="645"/>
                    </a:cubicBezTo>
                    <a:cubicBezTo>
                      <a:pt x="77" y="646"/>
                      <a:pt x="77" y="646"/>
                      <a:pt x="77" y="646"/>
                    </a:cubicBezTo>
                    <a:cubicBezTo>
                      <a:pt x="75" y="646"/>
                      <a:pt x="75" y="646"/>
                      <a:pt x="75" y="646"/>
                    </a:cubicBezTo>
                    <a:cubicBezTo>
                      <a:pt x="74" y="645"/>
                      <a:pt x="74" y="645"/>
                      <a:pt x="74" y="645"/>
                    </a:cubicBezTo>
                    <a:cubicBezTo>
                      <a:pt x="76" y="644"/>
                      <a:pt x="76" y="644"/>
                      <a:pt x="76" y="644"/>
                    </a:cubicBezTo>
                    <a:cubicBezTo>
                      <a:pt x="77" y="641"/>
                      <a:pt x="77" y="641"/>
                      <a:pt x="77" y="641"/>
                    </a:cubicBezTo>
                    <a:cubicBezTo>
                      <a:pt x="77" y="638"/>
                      <a:pt x="77" y="638"/>
                      <a:pt x="77" y="638"/>
                    </a:cubicBezTo>
                    <a:cubicBezTo>
                      <a:pt x="78" y="637"/>
                      <a:pt x="78" y="637"/>
                      <a:pt x="78" y="637"/>
                    </a:cubicBezTo>
                    <a:cubicBezTo>
                      <a:pt x="78" y="636"/>
                      <a:pt x="78" y="636"/>
                      <a:pt x="78" y="636"/>
                    </a:cubicBezTo>
                    <a:cubicBezTo>
                      <a:pt x="77" y="636"/>
                      <a:pt x="77" y="636"/>
                      <a:pt x="77" y="636"/>
                    </a:cubicBezTo>
                    <a:cubicBezTo>
                      <a:pt x="76" y="638"/>
                      <a:pt x="76" y="638"/>
                      <a:pt x="76" y="638"/>
                    </a:cubicBezTo>
                    <a:cubicBezTo>
                      <a:pt x="76" y="641"/>
                      <a:pt x="76" y="641"/>
                      <a:pt x="76" y="641"/>
                    </a:cubicBezTo>
                    <a:cubicBezTo>
                      <a:pt x="74" y="644"/>
                      <a:pt x="74" y="644"/>
                      <a:pt x="74" y="644"/>
                    </a:cubicBezTo>
                    <a:cubicBezTo>
                      <a:pt x="73" y="645"/>
                      <a:pt x="73" y="645"/>
                      <a:pt x="73" y="645"/>
                    </a:cubicBezTo>
                    <a:cubicBezTo>
                      <a:pt x="72" y="644"/>
                      <a:pt x="72" y="644"/>
                      <a:pt x="72" y="644"/>
                    </a:cubicBezTo>
                    <a:cubicBezTo>
                      <a:pt x="70" y="643"/>
                      <a:pt x="70" y="643"/>
                      <a:pt x="70" y="643"/>
                    </a:cubicBezTo>
                    <a:cubicBezTo>
                      <a:pt x="70" y="642"/>
                      <a:pt x="70" y="642"/>
                      <a:pt x="70" y="642"/>
                    </a:cubicBezTo>
                    <a:cubicBezTo>
                      <a:pt x="71" y="642"/>
                      <a:pt x="71" y="642"/>
                      <a:pt x="71" y="642"/>
                    </a:cubicBezTo>
                    <a:cubicBezTo>
                      <a:pt x="71" y="641"/>
                      <a:pt x="71" y="641"/>
                      <a:pt x="71" y="641"/>
                    </a:cubicBezTo>
                    <a:cubicBezTo>
                      <a:pt x="70" y="642"/>
                      <a:pt x="70" y="642"/>
                      <a:pt x="70" y="642"/>
                    </a:cubicBezTo>
                    <a:cubicBezTo>
                      <a:pt x="69" y="643"/>
                      <a:pt x="69" y="643"/>
                      <a:pt x="69" y="643"/>
                    </a:cubicBezTo>
                    <a:cubicBezTo>
                      <a:pt x="68" y="643"/>
                      <a:pt x="68" y="643"/>
                      <a:pt x="68" y="643"/>
                    </a:cubicBezTo>
                    <a:cubicBezTo>
                      <a:pt x="68" y="642"/>
                      <a:pt x="68" y="642"/>
                      <a:pt x="68" y="642"/>
                    </a:cubicBezTo>
                    <a:cubicBezTo>
                      <a:pt x="67" y="642"/>
                      <a:pt x="67" y="642"/>
                      <a:pt x="67" y="642"/>
                    </a:cubicBezTo>
                    <a:cubicBezTo>
                      <a:pt x="66" y="643"/>
                      <a:pt x="66" y="643"/>
                      <a:pt x="66" y="643"/>
                    </a:cubicBezTo>
                    <a:cubicBezTo>
                      <a:pt x="64" y="642"/>
                      <a:pt x="64" y="642"/>
                      <a:pt x="64" y="642"/>
                    </a:cubicBezTo>
                    <a:cubicBezTo>
                      <a:pt x="64" y="641"/>
                      <a:pt x="64" y="641"/>
                      <a:pt x="64" y="641"/>
                    </a:cubicBezTo>
                    <a:cubicBezTo>
                      <a:pt x="66" y="640"/>
                      <a:pt x="66" y="640"/>
                      <a:pt x="66" y="640"/>
                    </a:cubicBezTo>
                    <a:cubicBezTo>
                      <a:pt x="67" y="640"/>
                      <a:pt x="67" y="640"/>
                      <a:pt x="67" y="640"/>
                    </a:cubicBezTo>
                    <a:cubicBezTo>
                      <a:pt x="69" y="639"/>
                      <a:pt x="69" y="639"/>
                      <a:pt x="69" y="639"/>
                    </a:cubicBezTo>
                    <a:cubicBezTo>
                      <a:pt x="72" y="637"/>
                      <a:pt x="72" y="637"/>
                      <a:pt x="72" y="637"/>
                    </a:cubicBezTo>
                    <a:cubicBezTo>
                      <a:pt x="73" y="636"/>
                      <a:pt x="73" y="636"/>
                      <a:pt x="73" y="636"/>
                    </a:cubicBezTo>
                    <a:cubicBezTo>
                      <a:pt x="73" y="633"/>
                      <a:pt x="73" y="633"/>
                      <a:pt x="73" y="633"/>
                    </a:cubicBezTo>
                    <a:cubicBezTo>
                      <a:pt x="72" y="635"/>
                      <a:pt x="72" y="635"/>
                      <a:pt x="72" y="635"/>
                    </a:cubicBezTo>
                    <a:cubicBezTo>
                      <a:pt x="71" y="636"/>
                      <a:pt x="71" y="636"/>
                      <a:pt x="71" y="636"/>
                    </a:cubicBezTo>
                    <a:cubicBezTo>
                      <a:pt x="70" y="638"/>
                      <a:pt x="70" y="638"/>
                      <a:pt x="70" y="638"/>
                    </a:cubicBezTo>
                    <a:cubicBezTo>
                      <a:pt x="69" y="639"/>
                      <a:pt x="69" y="639"/>
                      <a:pt x="69" y="639"/>
                    </a:cubicBezTo>
                    <a:cubicBezTo>
                      <a:pt x="66" y="638"/>
                      <a:pt x="66" y="638"/>
                      <a:pt x="66" y="638"/>
                    </a:cubicBezTo>
                    <a:cubicBezTo>
                      <a:pt x="65" y="637"/>
                      <a:pt x="65" y="637"/>
                      <a:pt x="65" y="637"/>
                    </a:cubicBezTo>
                    <a:cubicBezTo>
                      <a:pt x="64" y="637"/>
                      <a:pt x="64" y="637"/>
                      <a:pt x="64" y="637"/>
                    </a:cubicBezTo>
                    <a:cubicBezTo>
                      <a:pt x="64" y="636"/>
                      <a:pt x="64" y="636"/>
                      <a:pt x="64" y="636"/>
                    </a:cubicBezTo>
                    <a:cubicBezTo>
                      <a:pt x="65" y="635"/>
                      <a:pt x="65" y="635"/>
                      <a:pt x="65" y="635"/>
                    </a:cubicBezTo>
                    <a:cubicBezTo>
                      <a:pt x="64" y="635"/>
                      <a:pt x="64" y="635"/>
                      <a:pt x="64" y="635"/>
                    </a:cubicBezTo>
                    <a:cubicBezTo>
                      <a:pt x="62" y="635"/>
                      <a:pt x="62" y="635"/>
                      <a:pt x="62" y="635"/>
                    </a:cubicBezTo>
                    <a:cubicBezTo>
                      <a:pt x="60" y="634"/>
                      <a:pt x="60" y="634"/>
                      <a:pt x="60" y="634"/>
                    </a:cubicBezTo>
                    <a:cubicBezTo>
                      <a:pt x="59" y="634"/>
                      <a:pt x="59" y="634"/>
                      <a:pt x="59" y="634"/>
                    </a:cubicBezTo>
                    <a:cubicBezTo>
                      <a:pt x="59" y="636"/>
                      <a:pt x="59" y="636"/>
                      <a:pt x="59" y="636"/>
                    </a:cubicBezTo>
                    <a:cubicBezTo>
                      <a:pt x="56" y="634"/>
                      <a:pt x="56" y="634"/>
                      <a:pt x="56" y="634"/>
                    </a:cubicBezTo>
                    <a:cubicBezTo>
                      <a:pt x="56" y="632"/>
                      <a:pt x="56" y="632"/>
                      <a:pt x="56" y="632"/>
                    </a:cubicBezTo>
                    <a:cubicBezTo>
                      <a:pt x="56" y="632"/>
                      <a:pt x="56" y="632"/>
                      <a:pt x="56" y="632"/>
                    </a:cubicBezTo>
                    <a:cubicBezTo>
                      <a:pt x="57" y="633"/>
                      <a:pt x="57" y="633"/>
                      <a:pt x="57" y="633"/>
                    </a:cubicBezTo>
                    <a:cubicBezTo>
                      <a:pt x="60" y="633"/>
                      <a:pt x="60" y="633"/>
                      <a:pt x="60" y="633"/>
                    </a:cubicBezTo>
                    <a:cubicBezTo>
                      <a:pt x="62" y="633"/>
                      <a:pt x="62" y="633"/>
                      <a:pt x="62" y="633"/>
                    </a:cubicBezTo>
                    <a:cubicBezTo>
                      <a:pt x="62" y="632"/>
                      <a:pt x="62" y="632"/>
                      <a:pt x="62" y="632"/>
                    </a:cubicBezTo>
                    <a:cubicBezTo>
                      <a:pt x="61" y="632"/>
                      <a:pt x="61" y="632"/>
                      <a:pt x="61" y="632"/>
                    </a:cubicBezTo>
                    <a:cubicBezTo>
                      <a:pt x="58" y="632"/>
                      <a:pt x="58" y="632"/>
                      <a:pt x="58" y="632"/>
                    </a:cubicBezTo>
                    <a:cubicBezTo>
                      <a:pt x="58" y="631"/>
                      <a:pt x="58" y="631"/>
                      <a:pt x="58" y="631"/>
                    </a:cubicBezTo>
                    <a:cubicBezTo>
                      <a:pt x="58" y="631"/>
                      <a:pt x="58" y="631"/>
                      <a:pt x="58" y="631"/>
                    </a:cubicBezTo>
                    <a:cubicBezTo>
                      <a:pt x="60" y="631"/>
                      <a:pt x="60" y="631"/>
                      <a:pt x="60" y="631"/>
                    </a:cubicBezTo>
                    <a:cubicBezTo>
                      <a:pt x="62" y="631"/>
                      <a:pt x="62" y="631"/>
                      <a:pt x="62" y="631"/>
                    </a:cubicBezTo>
                    <a:cubicBezTo>
                      <a:pt x="62" y="630"/>
                      <a:pt x="62" y="630"/>
                      <a:pt x="62" y="630"/>
                    </a:cubicBezTo>
                    <a:cubicBezTo>
                      <a:pt x="59" y="630"/>
                      <a:pt x="59" y="630"/>
                      <a:pt x="59" y="630"/>
                    </a:cubicBezTo>
                    <a:cubicBezTo>
                      <a:pt x="58" y="629"/>
                      <a:pt x="58" y="629"/>
                      <a:pt x="58" y="629"/>
                    </a:cubicBezTo>
                    <a:cubicBezTo>
                      <a:pt x="56" y="630"/>
                      <a:pt x="56" y="630"/>
                      <a:pt x="56" y="630"/>
                    </a:cubicBezTo>
                    <a:cubicBezTo>
                      <a:pt x="55" y="630"/>
                      <a:pt x="55" y="630"/>
                      <a:pt x="55" y="630"/>
                    </a:cubicBezTo>
                    <a:cubicBezTo>
                      <a:pt x="54" y="629"/>
                      <a:pt x="54" y="629"/>
                      <a:pt x="54" y="629"/>
                    </a:cubicBezTo>
                    <a:cubicBezTo>
                      <a:pt x="54" y="627"/>
                      <a:pt x="54" y="627"/>
                      <a:pt x="54" y="627"/>
                    </a:cubicBezTo>
                    <a:cubicBezTo>
                      <a:pt x="56" y="627"/>
                      <a:pt x="56" y="627"/>
                      <a:pt x="56" y="627"/>
                    </a:cubicBezTo>
                    <a:cubicBezTo>
                      <a:pt x="57" y="628"/>
                      <a:pt x="57" y="628"/>
                      <a:pt x="57" y="628"/>
                    </a:cubicBezTo>
                    <a:cubicBezTo>
                      <a:pt x="59" y="628"/>
                      <a:pt x="59" y="628"/>
                      <a:pt x="59" y="628"/>
                    </a:cubicBezTo>
                    <a:cubicBezTo>
                      <a:pt x="60" y="627"/>
                      <a:pt x="60" y="627"/>
                      <a:pt x="60" y="627"/>
                    </a:cubicBezTo>
                    <a:cubicBezTo>
                      <a:pt x="58" y="627"/>
                      <a:pt x="58" y="627"/>
                      <a:pt x="58" y="627"/>
                    </a:cubicBezTo>
                    <a:cubicBezTo>
                      <a:pt x="57" y="626"/>
                      <a:pt x="57" y="626"/>
                      <a:pt x="57" y="626"/>
                    </a:cubicBezTo>
                    <a:cubicBezTo>
                      <a:pt x="55" y="626"/>
                      <a:pt x="55" y="626"/>
                      <a:pt x="55" y="626"/>
                    </a:cubicBezTo>
                    <a:cubicBezTo>
                      <a:pt x="55" y="625"/>
                      <a:pt x="55" y="625"/>
                      <a:pt x="55" y="625"/>
                    </a:cubicBezTo>
                    <a:cubicBezTo>
                      <a:pt x="58" y="625"/>
                      <a:pt x="58" y="625"/>
                      <a:pt x="58" y="625"/>
                    </a:cubicBezTo>
                    <a:cubicBezTo>
                      <a:pt x="59" y="625"/>
                      <a:pt x="59" y="625"/>
                      <a:pt x="59" y="625"/>
                    </a:cubicBezTo>
                    <a:cubicBezTo>
                      <a:pt x="60" y="625"/>
                      <a:pt x="60" y="625"/>
                      <a:pt x="60" y="625"/>
                    </a:cubicBezTo>
                    <a:cubicBezTo>
                      <a:pt x="59" y="624"/>
                      <a:pt x="59" y="624"/>
                      <a:pt x="59" y="624"/>
                    </a:cubicBezTo>
                    <a:cubicBezTo>
                      <a:pt x="59" y="623"/>
                      <a:pt x="59" y="623"/>
                      <a:pt x="59" y="623"/>
                    </a:cubicBezTo>
                    <a:cubicBezTo>
                      <a:pt x="61" y="622"/>
                      <a:pt x="61" y="622"/>
                      <a:pt x="61" y="622"/>
                    </a:cubicBezTo>
                    <a:cubicBezTo>
                      <a:pt x="63" y="622"/>
                      <a:pt x="63" y="622"/>
                      <a:pt x="63" y="622"/>
                    </a:cubicBezTo>
                    <a:cubicBezTo>
                      <a:pt x="65" y="622"/>
                      <a:pt x="65" y="622"/>
                      <a:pt x="65" y="622"/>
                    </a:cubicBezTo>
                    <a:cubicBezTo>
                      <a:pt x="65" y="621"/>
                      <a:pt x="65" y="621"/>
                      <a:pt x="65" y="621"/>
                    </a:cubicBezTo>
                    <a:cubicBezTo>
                      <a:pt x="62" y="621"/>
                      <a:pt x="62" y="621"/>
                      <a:pt x="62" y="621"/>
                    </a:cubicBezTo>
                    <a:cubicBezTo>
                      <a:pt x="61" y="620"/>
                      <a:pt x="61" y="620"/>
                      <a:pt x="61" y="620"/>
                    </a:cubicBezTo>
                    <a:cubicBezTo>
                      <a:pt x="60" y="620"/>
                      <a:pt x="60" y="620"/>
                      <a:pt x="60" y="620"/>
                    </a:cubicBezTo>
                    <a:cubicBezTo>
                      <a:pt x="59" y="621"/>
                      <a:pt x="59" y="621"/>
                      <a:pt x="59" y="621"/>
                    </a:cubicBezTo>
                    <a:cubicBezTo>
                      <a:pt x="58" y="622"/>
                      <a:pt x="58" y="622"/>
                      <a:pt x="58" y="622"/>
                    </a:cubicBezTo>
                    <a:cubicBezTo>
                      <a:pt x="56" y="623"/>
                      <a:pt x="56" y="623"/>
                      <a:pt x="56" y="623"/>
                    </a:cubicBezTo>
                    <a:cubicBezTo>
                      <a:pt x="56" y="623"/>
                      <a:pt x="56" y="623"/>
                      <a:pt x="56" y="623"/>
                    </a:cubicBezTo>
                    <a:cubicBezTo>
                      <a:pt x="56" y="621"/>
                      <a:pt x="56" y="621"/>
                      <a:pt x="56" y="621"/>
                    </a:cubicBezTo>
                    <a:cubicBezTo>
                      <a:pt x="56" y="620"/>
                      <a:pt x="56" y="620"/>
                      <a:pt x="56" y="620"/>
                    </a:cubicBezTo>
                    <a:cubicBezTo>
                      <a:pt x="56" y="618"/>
                      <a:pt x="56" y="618"/>
                      <a:pt x="56" y="618"/>
                    </a:cubicBezTo>
                    <a:cubicBezTo>
                      <a:pt x="59" y="617"/>
                      <a:pt x="59" y="617"/>
                      <a:pt x="59" y="617"/>
                    </a:cubicBezTo>
                    <a:cubicBezTo>
                      <a:pt x="60" y="616"/>
                      <a:pt x="60" y="616"/>
                      <a:pt x="60" y="616"/>
                    </a:cubicBezTo>
                    <a:cubicBezTo>
                      <a:pt x="64" y="612"/>
                      <a:pt x="64" y="612"/>
                      <a:pt x="64" y="612"/>
                    </a:cubicBezTo>
                    <a:cubicBezTo>
                      <a:pt x="66" y="611"/>
                      <a:pt x="66" y="611"/>
                      <a:pt x="66" y="611"/>
                    </a:cubicBezTo>
                    <a:cubicBezTo>
                      <a:pt x="67" y="613"/>
                      <a:pt x="67" y="613"/>
                      <a:pt x="67" y="613"/>
                    </a:cubicBezTo>
                    <a:cubicBezTo>
                      <a:pt x="67" y="615"/>
                      <a:pt x="67" y="615"/>
                      <a:pt x="67" y="615"/>
                    </a:cubicBezTo>
                    <a:cubicBezTo>
                      <a:pt x="68" y="617"/>
                      <a:pt x="68" y="617"/>
                      <a:pt x="68" y="617"/>
                    </a:cubicBezTo>
                    <a:cubicBezTo>
                      <a:pt x="68" y="616"/>
                      <a:pt x="68" y="616"/>
                      <a:pt x="68" y="616"/>
                    </a:cubicBezTo>
                    <a:cubicBezTo>
                      <a:pt x="68" y="614"/>
                      <a:pt x="68" y="614"/>
                      <a:pt x="68" y="614"/>
                    </a:cubicBezTo>
                    <a:cubicBezTo>
                      <a:pt x="68" y="611"/>
                      <a:pt x="68" y="611"/>
                      <a:pt x="68" y="611"/>
                    </a:cubicBezTo>
                    <a:cubicBezTo>
                      <a:pt x="69" y="610"/>
                      <a:pt x="69" y="610"/>
                      <a:pt x="69" y="610"/>
                    </a:cubicBezTo>
                    <a:cubicBezTo>
                      <a:pt x="72" y="610"/>
                      <a:pt x="72" y="610"/>
                      <a:pt x="72" y="610"/>
                    </a:cubicBezTo>
                    <a:cubicBezTo>
                      <a:pt x="70" y="610"/>
                      <a:pt x="70" y="610"/>
                      <a:pt x="70" y="610"/>
                    </a:cubicBezTo>
                    <a:cubicBezTo>
                      <a:pt x="68" y="610"/>
                      <a:pt x="68" y="610"/>
                      <a:pt x="68" y="610"/>
                    </a:cubicBezTo>
                    <a:cubicBezTo>
                      <a:pt x="66" y="610"/>
                      <a:pt x="66" y="610"/>
                      <a:pt x="66" y="610"/>
                    </a:cubicBezTo>
                    <a:cubicBezTo>
                      <a:pt x="65" y="609"/>
                      <a:pt x="65" y="609"/>
                      <a:pt x="65" y="609"/>
                    </a:cubicBezTo>
                    <a:cubicBezTo>
                      <a:pt x="66" y="608"/>
                      <a:pt x="66" y="608"/>
                      <a:pt x="66" y="608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70" y="606"/>
                      <a:pt x="70" y="606"/>
                      <a:pt x="70" y="606"/>
                    </a:cubicBezTo>
                    <a:cubicBezTo>
                      <a:pt x="71" y="603"/>
                      <a:pt x="71" y="603"/>
                      <a:pt x="71" y="603"/>
                    </a:cubicBezTo>
                    <a:cubicBezTo>
                      <a:pt x="71" y="602"/>
                      <a:pt x="71" y="602"/>
                      <a:pt x="71" y="602"/>
                    </a:cubicBezTo>
                    <a:cubicBezTo>
                      <a:pt x="70" y="602"/>
                      <a:pt x="70" y="602"/>
                      <a:pt x="70" y="602"/>
                    </a:cubicBezTo>
                    <a:cubicBezTo>
                      <a:pt x="70" y="604"/>
                      <a:pt x="70" y="604"/>
                      <a:pt x="70" y="604"/>
                    </a:cubicBezTo>
                    <a:cubicBezTo>
                      <a:pt x="68" y="605"/>
                      <a:pt x="68" y="605"/>
                      <a:pt x="68" y="605"/>
                    </a:cubicBezTo>
                    <a:cubicBezTo>
                      <a:pt x="66" y="605"/>
                      <a:pt x="66" y="605"/>
                      <a:pt x="66" y="605"/>
                    </a:cubicBezTo>
                    <a:cubicBezTo>
                      <a:pt x="64" y="608"/>
                      <a:pt x="64" y="608"/>
                      <a:pt x="64" y="608"/>
                    </a:cubicBezTo>
                    <a:cubicBezTo>
                      <a:pt x="62" y="610"/>
                      <a:pt x="62" y="610"/>
                      <a:pt x="62" y="610"/>
                    </a:cubicBezTo>
                    <a:cubicBezTo>
                      <a:pt x="59" y="611"/>
                      <a:pt x="59" y="611"/>
                      <a:pt x="59" y="611"/>
                    </a:cubicBezTo>
                    <a:cubicBezTo>
                      <a:pt x="58" y="609"/>
                      <a:pt x="58" y="609"/>
                      <a:pt x="58" y="609"/>
                    </a:cubicBezTo>
                    <a:cubicBezTo>
                      <a:pt x="58" y="608"/>
                      <a:pt x="58" y="608"/>
                      <a:pt x="58" y="608"/>
                    </a:cubicBezTo>
                    <a:cubicBezTo>
                      <a:pt x="59" y="608"/>
                      <a:pt x="59" y="608"/>
                      <a:pt x="59" y="608"/>
                    </a:cubicBezTo>
                    <a:cubicBezTo>
                      <a:pt x="58" y="608"/>
                      <a:pt x="58" y="608"/>
                      <a:pt x="58" y="608"/>
                    </a:cubicBezTo>
                    <a:cubicBezTo>
                      <a:pt x="55" y="609"/>
                      <a:pt x="55" y="609"/>
                      <a:pt x="55" y="609"/>
                    </a:cubicBezTo>
                    <a:cubicBezTo>
                      <a:pt x="54" y="608"/>
                      <a:pt x="54" y="608"/>
                      <a:pt x="54" y="608"/>
                    </a:cubicBezTo>
                    <a:cubicBezTo>
                      <a:pt x="55" y="607"/>
                      <a:pt x="55" y="607"/>
                      <a:pt x="55" y="607"/>
                    </a:cubicBezTo>
                    <a:cubicBezTo>
                      <a:pt x="57" y="605"/>
                      <a:pt x="57" y="605"/>
                      <a:pt x="57" y="605"/>
                    </a:cubicBezTo>
                    <a:cubicBezTo>
                      <a:pt x="59" y="604"/>
                      <a:pt x="59" y="604"/>
                      <a:pt x="59" y="604"/>
                    </a:cubicBezTo>
                    <a:cubicBezTo>
                      <a:pt x="60" y="605"/>
                      <a:pt x="60" y="605"/>
                      <a:pt x="60" y="605"/>
                    </a:cubicBezTo>
                    <a:cubicBezTo>
                      <a:pt x="61" y="604"/>
                      <a:pt x="61" y="604"/>
                      <a:pt x="61" y="604"/>
                    </a:cubicBezTo>
                    <a:cubicBezTo>
                      <a:pt x="61" y="603"/>
                      <a:pt x="61" y="603"/>
                      <a:pt x="61" y="603"/>
                    </a:cubicBezTo>
                    <a:cubicBezTo>
                      <a:pt x="60" y="602"/>
                      <a:pt x="60" y="602"/>
                      <a:pt x="60" y="602"/>
                    </a:cubicBezTo>
                    <a:cubicBezTo>
                      <a:pt x="60" y="601"/>
                      <a:pt x="60" y="601"/>
                      <a:pt x="60" y="601"/>
                    </a:cubicBezTo>
                    <a:cubicBezTo>
                      <a:pt x="61" y="600"/>
                      <a:pt x="61" y="600"/>
                      <a:pt x="61" y="600"/>
                    </a:cubicBezTo>
                    <a:cubicBezTo>
                      <a:pt x="60" y="600"/>
                      <a:pt x="60" y="600"/>
                      <a:pt x="60" y="600"/>
                    </a:cubicBezTo>
                    <a:cubicBezTo>
                      <a:pt x="59" y="600"/>
                      <a:pt x="59" y="600"/>
                      <a:pt x="59" y="600"/>
                    </a:cubicBezTo>
                    <a:cubicBezTo>
                      <a:pt x="58" y="600"/>
                      <a:pt x="58" y="600"/>
                      <a:pt x="58" y="600"/>
                    </a:cubicBezTo>
                    <a:cubicBezTo>
                      <a:pt x="57" y="599"/>
                      <a:pt x="57" y="599"/>
                      <a:pt x="57" y="599"/>
                    </a:cubicBezTo>
                    <a:cubicBezTo>
                      <a:pt x="57" y="595"/>
                      <a:pt x="57" y="595"/>
                      <a:pt x="57" y="595"/>
                    </a:cubicBezTo>
                    <a:cubicBezTo>
                      <a:pt x="56" y="593"/>
                      <a:pt x="56" y="593"/>
                      <a:pt x="56" y="593"/>
                    </a:cubicBezTo>
                    <a:cubicBezTo>
                      <a:pt x="56" y="592"/>
                      <a:pt x="56" y="592"/>
                      <a:pt x="56" y="592"/>
                    </a:cubicBezTo>
                    <a:cubicBezTo>
                      <a:pt x="57" y="590"/>
                      <a:pt x="57" y="590"/>
                      <a:pt x="57" y="590"/>
                    </a:cubicBezTo>
                    <a:cubicBezTo>
                      <a:pt x="59" y="591"/>
                      <a:pt x="59" y="591"/>
                      <a:pt x="59" y="591"/>
                    </a:cubicBezTo>
                    <a:cubicBezTo>
                      <a:pt x="61" y="591"/>
                      <a:pt x="61" y="591"/>
                      <a:pt x="61" y="591"/>
                    </a:cubicBezTo>
                    <a:cubicBezTo>
                      <a:pt x="63" y="591"/>
                      <a:pt x="63" y="591"/>
                      <a:pt x="63" y="591"/>
                    </a:cubicBezTo>
                    <a:cubicBezTo>
                      <a:pt x="65" y="592"/>
                      <a:pt x="65" y="592"/>
                      <a:pt x="65" y="592"/>
                    </a:cubicBezTo>
                    <a:cubicBezTo>
                      <a:pt x="65" y="591"/>
                      <a:pt x="65" y="591"/>
                      <a:pt x="65" y="591"/>
                    </a:cubicBezTo>
                    <a:cubicBezTo>
                      <a:pt x="63" y="591"/>
                      <a:pt x="63" y="591"/>
                      <a:pt x="63" y="591"/>
                    </a:cubicBezTo>
                    <a:cubicBezTo>
                      <a:pt x="61" y="591"/>
                      <a:pt x="61" y="591"/>
                      <a:pt x="61" y="591"/>
                    </a:cubicBezTo>
                    <a:cubicBezTo>
                      <a:pt x="60" y="589"/>
                      <a:pt x="60" y="589"/>
                      <a:pt x="60" y="589"/>
                    </a:cubicBezTo>
                    <a:cubicBezTo>
                      <a:pt x="58" y="588"/>
                      <a:pt x="58" y="588"/>
                      <a:pt x="58" y="588"/>
                    </a:cubicBezTo>
                    <a:cubicBezTo>
                      <a:pt x="58" y="587"/>
                      <a:pt x="58" y="587"/>
                      <a:pt x="58" y="587"/>
                    </a:cubicBezTo>
                    <a:cubicBezTo>
                      <a:pt x="59" y="585"/>
                      <a:pt x="59" y="585"/>
                      <a:pt x="59" y="585"/>
                    </a:cubicBezTo>
                    <a:cubicBezTo>
                      <a:pt x="61" y="585"/>
                      <a:pt x="61" y="585"/>
                      <a:pt x="61" y="585"/>
                    </a:cubicBezTo>
                    <a:cubicBezTo>
                      <a:pt x="61" y="583"/>
                      <a:pt x="61" y="583"/>
                      <a:pt x="61" y="583"/>
                    </a:cubicBezTo>
                    <a:cubicBezTo>
                      <a:pt x="61" y="581"/>
                      <a:pt x="61" y="581"/>
                      <a:pt x="61" y="581"/>
                    </a:cubicBezTo>
                    <a:cubicBezTo>
                      <a:pt x="61" y="581"/>
                      <a:pt x="61" y="581"/>
                      <a:pt x="61" y="581"/>
                    </a:cubicBezTo>
                    <a:cubicBezTo>
                      <a:pt x="59" y="583"/>
                      <a:pt x="59" y="583"/>
                      <a:pt x="59" y="583"/>
                    </a:cubicBezTo>
                    <a:cubicBezTo>
                      <a:pt x="57" y="584"/>
                      <a:pt x="57" y="584"/>
                      <a:pt x="57" y="584"/>
                    </a:cubicBezTo>
                    <a:cubicBezTo>
                      <a:pt x="54" y="585"/>
                      <a:pt x="54" y="585"/>
                      <a:pt x="54" y="585"/>
                    </a:cubicBezTo>
                    <a:cubicBezTo>
                      <a:pt x="53" y="587"/>
                      <a:pt x="53" y="587"/>
                      <a:pt x="53" y="587"/>
                    </a:cubicBezTo>
                    <a:cubicBezTo>
                      <a:pt x="52" y="588"/>
                      <a:pt x="52" y="588"/>
                      <a:pt x="52" y="588"/>
                    </a:cubicBezTo>
                    <a:cubicBezTo>
                      <a:pt x="51" y="588"/>
                      <a:pt x="51" y="588"/>
                      <a:pt x="51" y="588"/>
                    </a:cubicBezTo>
                    <a:cubicBezTo>
                      <a:pt x="50" y="585"/>
                      <a:pt x="50" y="585"/>
                      <a:pt x="50" y="585"/>
                    </a:cubicBezTo>
                    <a:cubicBezTo>
                      <a:pt x="49" y="582"/>
                      <a:pt x="49" y="582"/>
                      <a:pt x="49" y="582"/>
                    </a:cubicBezTo>
                    <a:cubicBezTo>
                      <a:pt x="49" y="577"/>
                      <a:pt x="49" y="577"/>
                      <a:pt x="49" y="577"/>
                    </a:cubicBezTo>
                    <a:cubicBezTo>
                      <a:pt x="50" y="574"/>
                      <a:pt x="50" y="574"/>
                      <a:pt x="50" y="574"/>
                    </a:cubicBezTo>
                    <a:cubicBezTo>
                      <a:pt x="50" y="573"/>
                      <a:pt x="50" y="573"/>
                      <a:pt x="50" y="573"/>
                    </a:cubicBezTo>
                    <a:cubicBezTo>
                      <a:pt x="48" y="573"/>
                      <a:pt x="48" y="573"/>
                      <a:pt x="48" y="573"/>
                    </a:cubicBezTo>
                    <a:cubicBezTo>
                      <a:pt x="48" y="570"/>
                      <a:pt x="48" y="570"/>
                      <a:pt x="48" y="570"/>
                    </a:cubicBezTo>
                    <a:cubicBezTo>
                      <a:pt x="50" y="569"/>
                      <a:pt x="50" y="569"/>
                      <a:pt x="50" y="569"/>
                    </a:cubicBezTo>
                    <a:cubicBezTo>
                      <a:pt x="50" y="570"/>
                      <a:pt x="50" y="570"/>
                      <a:pt x="50" y="570"/>
                    </a:cubicBezTo>
                    <a:cubicBezTo>
                      <a:pt x="51" y="570"/>
                      <a:pt x="51" y="570"/>
                      <a:pt x="51" y="570"/>
                    </a:cubicBezTo>
                    <a:cubicBezTo>
                      <a:pt x="51" y="568"/>
                      <a:pt x="51" y="568"/>
                      <a:pt x="51" y="568"/>
                    </a:cubicBezTo>
                    <a:cubicBezTo>
                      <a:pt x="53" y="567"/>
                      <a:pt x="53" y="567"/>
                      <a:pt x="53" y="567"/>
                    </a:cubicBezTo>
                    <a:cubicBezTo>
                      <a:pt x="54" y="564"/>
                      <a:pt x="54" y="564"/>
                      <a:pt x="54" y="564"/>
                    </a:cubicBezTo>
                    <a:cubicBezTo>
                      <a:pt x="55" y="564"/>
                      <a:pt x="55" y="564"/>
                      <a:pt x="55" y="564"/>
                    </a:cubicBezTo>
                    <a:cubicBezTo>
                      <a:pt x="58" y="564"/>
                      <a:pt x="58" y="564"/>
                      <a:pt x="58" y="564"/>
                    </a:cubicBezTo>
                    <a:cubicBezTo>
                      <a:pt x="59" y="563"/>
                      <a:pt x="59" y="563"/>
                      <a:pt x="59" y="563"/>
                    </a:cubicBezTo>
                    <a:cubicBezTo>
                      <a:pt x="57" y="563"/>
                      <a:pt x="57" y="563"/>
                      <a:pt x="57" y="563"/>
                    </a:cubicBezTo>
                    <a:cubicBezTo>
                      <a:pt x="57" y="562"/>
                      <a:pt x="57" y="562"/>
                      <a:pt x="57" y="562"/>
                    </a:cubicBezTo>
                    <a:cubicBezTo>
                      <a:pt x="60" y="559"/>
                      <a:pt x="60" y="559"/>
                      <a:pt x="60" y="559"/>
                    </a:cubicBezTo>
                    <a:cubicBezTo>
                      <a:pt x="61" y="557"/>
                      <a:pt x="61" y="557"/>
                      <a:pt x="61" y="557"/>
                    </a:cubicBezTo>
                    <a:cubicBezTo>
                      <a:pt x="63" y="556"/>
                      <a:pt x="63" y="556"/>
                      <a:pt x="63" y="556"/>
                    </a:cubicBezTo>
                    <a:cubicBezTo>
                      <a:pt x="64" y="555"/>
                      <a:pt x="64" y="555"/>
                      <a:pt x="64" y="555"/>
                    </a:cubicBezTo>
                    <a:cubicBezTo>
                      <a:pt x="62" y="555"/>
                      <a:pt x="62" y="555"/>
                      <a:pt x="62" y="555"/>
                    </a:cubicBezTo>
                    <a:cubicBezTo>
                      <a:pt x="62" y="554"/>
                      <a:pt x="62" y="554"/>
                      <a:pt x="62" y="554"/>
                    </a:cubicBezTo>
                    <a:cubicBezTo>
                      <a:pt x="60" y="556"/>
                      <a:pt x="60" y="556"/>
                      <a:pt x="60" y="556"/>
                    </a:cubicBezTo>
                    <a:cubicBezTo>
                      <a:pt x="59" y="558"/>
                      <a:pt x="59" y="558"/>
                      <a:pt x="59" y="558"/>
                    </a:cubicBezTo>
                    <a:cubicBezTo>
                      <a:pt x="56" y="561"/>
                      <a:pt x="56" y="561"/>
                      <a:pt x="56" y="561"/>
                    </a:cubicBezTo>
                    <a:cubicBezTo>
                      <a:pt x="56" y="561"/>
                      <a:pt x="56" y="561"/>
                      <a:pt x="56" y="561"/>
                    </a:cubicBezTo>
                    <a:cubicBezTo>
                      <a:pt x="56" y="560"/>
                      <a:pt x="56" y="560"/>
                      <a:pt x="56" y="560"/>
                    </a:cubicBezTo>
                    <a:cubicBezTo>
                      <a:pt x="58" y="557"/>
                      <a:pt x="58" y="557"/>
                      <a:pt x="58" y="557"/>
                    </a:cubicBezTo>
                    <a:cubicBezTo>
                      <a:pt x="58" y="554"/>
                      <a:pt x="58" y="554"/>
                      <a:pt x="58" y="554"/>
                    </a:cubicBezTo>
                    <a:cubicBezTo>
                      <a:pt x="61" y="549"/>
                      <a:pt x="61" y="549"/>
                      <a:pt x="61" y="549"/>
                    </a:cubicBezTo>
                    <a:cubicBezTo>
                      <a:pt x="62" y="547"/>
                      <a:pt x="62" y="547"/>
                      <a:pt x="62" y="547"/>
                    </a:cubicBezTo>
                    <a:cubicBezTo>
                      <a:pt x="61" y="547"/>
                      <a:pt x="61" y="547"/>
                      <a:pt x="61" y="547"/>
                    </a:cubicBezTo>
                    <a:cubicBezTo>
                      <a:pt x="61" y="546"/>
                      <a:pt x="61" y="546"/>
                      <a:pt x="61" y="546"/>
                    </a:cubicBezTo>
                    <a:cubicBezTo>
                      <a:pt x="61" y="545"/>
                      <a:pt x="61" y="545"/>
                      <a:pt x="61" y="545"/>
                    </a:cubicBezTo>
                    <a:cubicBezTo>
                      <a:pt x="62" y="544"/>
                      <a:pt x="62" y="544"/>
                      <a:pt x="62" y="544"/>
                    </a:cubicBezTo>
                    <a:cubicBezTo>
                      <a:pt x="62" y="543"/>
                      <a:pt x="62" y="543"/>
                      <a:pt x="62" y="543"/>
                    </a:cubicBezTo>
                    <a:cubicBezTo>
                      <a:pt x="62" y="543"/>
                      <a:pt x="62" y="543"/>
                      <a:pt x="62" y="543"/>
                    </a:cubicBezTo>
                    <a:cubicBezTo>
                      <a:pt x="62" y="542"/>
                      <a:pt x="62" y="542"/>
                      <a:pt x="62" y="542"/>
                    </a:cubicBezTo>
                    <a:cubicBezTo>
                      <a:pt x="61" y="541"/>
                      <a:pt x="61" y="541"/>
                      <a:pt x="61" y="541"/>
                    </a:cubicBezTo>
                    <a:cubicBezTo>
                      <a:pt x="61" y="539"/>
                      <a:pt x="61" y="539"/>
                      <a:pt x="61" y="539"/>
                    </a:cubicBezTo>
                    <a:cubicBezTo>
                      <a:pt x="60" y="537"/>
                      <a:pt x="60" y="537"/>
                      <a:pt x="60" y="537"/>
                    </a:cubicBezTo>
                    <a:cubicBezTo>
                      <a:pt x="58" y="536"/>
                      <a:pt x="58" y="536"/>
                      <a:pt x="58" y="536"/>
                    </a:cubicBezTo>
                    <a:cubicBezTo>
                      <a:pt x="56" y="535"/>
                      <a:pt x="56" y="535"/>
                      <a:pt x="56" y="535"/>
                    </a:cubicBezTo>
                    <a:cubicBezTo>
                      <a:pt x="56" y="533"/>
                      <a:pt x="56" y="533"/>
                      <a:pt x="56" y="533"/>
                    </a:cubicBezTo>
                    <a:cubicBezTo>
                      <a:pt x="54" y="531"/>
                      <a:pt x="54" y="531"/>
                      <a:pt x="54" y="531"/>
                    </a:cubicBezTo>
                    <a:cubicBezTo>
                      <a:pt x="53" y="530"/>
                      <a:pt x="53" y="530"/>
                      <a:pt x="53" y="530"/>
                    </a:cubicBezTo>
                    <a:cubicBezTo>
                      <a:pt x="51" y="530"/>
                      <a:pt x="51" y="530"/>
                      <a:pt x="51" y="530"/>
                    </a:cubicBezTo>
                    <a:cubicBezTo>
                      <a:pt x="51" y="530"/>
                      <a:pt x="51" y="530"/>
                      <a:pt x="51" y="530"/>
                    </a:cubicBezTo>
                    <a:cubicBezTo>
                      <a:pt x="52" y="529"/>
                      <a:pt x="52" y="529"/>
                      <a:pt x="52" y="529"/>
                    </a:cubicBezTo>
                    <a:cubicBezTo>
                      <a:pt x="51" y="527"/>
                      <a:pt x="51" y="527"/>
                      <a:pt x="51" y="527"/>
                    </a:cubicBezTo>
                    <a:cubicBezTo>
                      <a:pt x="51" y="526"/>
                      <a:pt x="51" y="526"/>
                      <a:pt x="51" y="526"/>
                    </a:cubicBezTo>
                    <a:cubicBezTo>
                      <a:pt x="50" y="525"/>
                      <a:pt x="50" y="525"/>
                      <a:pt x="50" y="525"/>
                    </a:cubicBezTo>
                    <a:cubicBezTo>
                      <a:pt x="51" y="524"/>
                      <a:pt x="51" y="524"/>
                      <a:pt x="51" y="524"/>
                    </a:cubicBezTo>
                    <a:cubicBezTo>
                      <a:pt x="52" y="524"/>
                      <a:pt x="52" y="524"/>
                      <a:pt x="52" y="524"/>
                    </a:cubicBezTo>
                    <a:cubicBezTo>
                      <a:pt x="52" y="523"/>
                      <a:pt x="52" y="523"/>
                      <a:pt x="52" y="523"/>
                    </a:cubicBezTo>
                    <a:cubicBezTo>
                      <a:pt x="50" y="522"/>
                      <a:pt x="50" y="522"/>
                      <a:pt x="50" y="522"/>
                    </a:cubicBezTo>
                    <a:cubicBezTo>
                      <a:pt x="49" y="522"/>
                      <a:pt x="49" y="522"/>
                      <a:pt x="49" y="522"/>
                    </a:cubicBezTo>
                    <a:cubicBezTo>
                      <a:pt x="49" y="521"/>
                      <a:pt x="49" y="521"/>
                      <a:pt x="49" y="521"/>
                    </a:cubicBezTo>
                    <a:cubicBezTo>
                      <a:pt x="51" y="520"/>
                      <a:pt x="51" y="520"/>
                      <a:pt x="51" y="520"/>
                    </a:cubicBezTo>
                    <a:cubicBezTo>
                      <a:pt x="51" y="513"/>
                      <a:pt x="51" y="513"/>
                      <a:pt x="51" y="513"/>
                    </a:cubicBezTo>
                    <a:cubicBezTo>
                      <a:pt x="51" y="506"/>
                      <a:pt x="51" y="506"/>
                      <a:pt x="51" y="506"/>
                    </a:cubicBezTo>
                    <a:cubicBezTo>
                      <a:pt x="51" y="500"/>
                      <a:pt x="51" y="500"/>
                      <a:pt x="51" y="500"/>
                    </a:cubicBezTo>
                    <a:cubicBezTo>
                      <a:pt x="51" y="498"/>
                      <a:pt x="51" y="498"/>
                      <a:pt x="51" y="498"/>
                    </a:cubicBezTo>
                    <a:cubicBezTo>
                      <a:pt x="51" y="497"/>
                      <a:pt x="51" y="497"/>
                      <a:pt x="51" y="497"/>
                    </a:cubicBezTo>
                    <a:cubicBezTo>
                      <a:pt x="52" y="495"/>
                      <a:pt x="52" y="495"/>
                      <a:pt x="52" y="495"/>
                    </a:cubicBezTo>
                    <a:cubicBezTo>
                      <a:pt x="51" y="493"/>
                      <a:pt x="51" y="493"/>
                      <a:pt x="51" y="493"/>
                    </a:cubicBezTo>
                    <a:cubicBezTo>
                      <a:pt x="50" y="491"/>
                      <a:pt x="50" y="491"/>
                      <a:pt x="50" y="491"/>
                    </a:cubicBezTo>
                    <a:cubicBezTo>
                      <a:pt x="50" y="488"/>
                      <a:pt x="50" y="488"/>
                      <a:pt x="50" y="488"/>
                    </a:cubicBezTo>
                    <a:cubicBezTo>
                      <a:pt x="48" y="485"/>
                      <a:pt x="48" y="485"/>
                      <a:pt x="48" y="485"/>
                    </a:cubicBezTo>
                    <a:cubicBezTo>
                      <a:pt x="47" y="482"/>
                      <a:pt x="47" y="482"/>
                      <a:pt x="47" y="482"/>
                    </a:cubicBezTo>
                    <a:cubicBezTo>
                      <a:pt x="48" y="480"/>
                      <a:pt x="48" y="480"/>
                      <a:pt x="48" y="480"/>
                    </a:cubicBezTo>
                    <a:cubicBezTo>
                      <a:pt x="46" y="474"/>
                      <a:pt x="46" y="474"/>
                      <a:pt x="46" y="474"/>
                    </a:cubicBezTo>
                    <a:cubicBezTo>
                      <a:pt x="46" y="473"/>
                      <a:pt x="46" y="473"/>
                      <a:pt x="46" y="473"/>
                    </a:cubicBezTo>
                    <a:cubicBezTo>
                      <a:pt x="48" y="470"/>
                      <a:pt x="48" y="470"/>
                      <a:pt x="48" y="470"/>
                    </a:cubicBezTo>
                    <a:cubicBezTo>
                      <a:pt x="47" y="469"/>
                      <a:pt x="47" y="469"/>
                      <a:pt x="47" y="469"/>
                    </a:cubicBezTo>
                    <a:cubicBezTo>
                      <a:pt x="47" y="467"/>
                      <a:pt x="47" y="467"/>
                      <a:pt x="47" y="467"/>
                    </a:cubicBezTo>
                    <a:cubicBezTo>
                      <a:pt x="45" y="465"/>
                      <a:pt x="45" y="465"/>
                      <a:pt x="45" y="465"/>
                    </a:cubicBezTo>
                    <a:cubicBezTo>
                      <a:pt x="42" y="466"/>
                      <a:pt x="42" y="466"/>
                      <a:pt x="42" y="466"/>
                    </a:cubicBezTo>
                    <a:cubicBezTo>
                      <a:pt x="39" y="467"/>
                      <a:pt x="39" y="467"/>
                      <a:pt x="39" y="467"/>
                    </a:cubicBezTo>
                    <a:cubicBezTo>
                      <a:pt x="38" y="467"/>
                      <a:pt x="38" y="467"/>
                      <a:pt x="38" y="467"/>
                    </a:cubicBezTo>
                    <a:cubicBezTo>
                      <a:pt x="34" y="468"/>
                      <a:pt x="34" y="468"/>
                      <a:pt x="34" y="468"/>
                    </a:cubicBezTo>
                    <a:cubicBezTo>
                      <a:pt x="32" y="470"/>
                      <a:pt x="32" y="470"/>
                      <a:pt x="32" y="470"/>
                    </a:cubicBezTo>
                    <a:cubicBezTo>
                      <a:pt x="30" y="475"/>
                      <a:pt x="30" y="475"/>
                      <a:pt x="30" y="475"/>
                    </a:cubicBezTo>
                    <a:cubicBezTo>
                      <a:pt x="27" y="476"/>
                      <a:pt x="27" y="476"/>
                      <a:pt x="27" y="476"/>
                    </a:cubicBezTo>
                    <a:cubicBezTo>
                      <a:pt x="24" y="476"/>
                      <a:pt x="24" y="476"/>
                      <a:pt x="24" y="476"/>
                    </a:cubicBezTo>
                    <a:cubicBezTo>
                      <a:pt x="20" y="477"/>
                      <a:pt x="20" y="477"/>
                      <a:pt x="20" y="477"/>
                    </a:cubicBezTo>
                    <a:cubicBezTo>
                      <a:pt x="20" y="477"/>
                      <a:pt x="20" y="477"/>
                      <a:pt x="20" y="477"/>
                    </a:cubicBezTo>
                    <a:cubicBezTo>
                      <a:pt x="20" y="476"/>
                      <a:pt x="20" y="476"/>
                      <a:pt x="20" y="476"/>
                    </a:cubicBezTo>
                    <a:cubicBezTo>
                      <a:pt x="21" y="473"/>
                      <a:pt x="21" y="473"/>
                      <a:pt x="21" y="473"/>
                    </a:cubicBezTo>
                    <a:cubicBezTo>
                      <a:pt x="20" y="470"/>
                      <a:pt x="20" y="470"/>
                      <a:pt x="20" y="470"/>
                    </a:cubicBezTo>
                    <a:cubicBezTo>
                      <a:pt x="18" y="459"/>
                      <a:pt x="18" y="459"/>
                      <a:pt x="18" y="459"/>
                    </a:cubicBezTo>
                    <a:cubicBezTo>
                      <a:pt x="16" y="454"/>
                      <a:pt x="16" y="454"/>
                      <a:pt x="16" y="454"/>
                    </a:cubicBezTo>
                    <a:cubicBezTo>
                      <a:pt x="15" y="451"/>
                      <a:pt x="15" y="451"/>
                      <a:pt x="15" y="451"/>
                    </a:cubicBezTo>
                    <a:cubicBezTo>
                      <a:pt x="17" y="447"/>
                      <a:pt x="17" y="447"/>
                      <a:pt x="17" y="447"/>
                    </a:cubicBezTo>
                    <a:cubicBezTo>
                      <a:pt x="12" y="446"/>
                      <a:pt x="12" y="446"/>
                      <a:pt x="12" y="446"/>
                    </a:cubicBezTo>
                    <a:cubicBezTo>
                      <a:pt x="9" y="448"/>
                      <a:pt x="9" y="448"/>
                      <a:pt x="9" y="448"/>
                    </a:cubicBezTo>
                    <a:cubicBezTo>
                      <a:pt x="7" y="447"/>
                      <a:pt x="7" y="447"/>
                      <a:pt x="7" y="447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13" y="239"/>
                      <a:pt x="113" y="239"/>
                      <a:pt x="113" y="239"/>
                    </a:cubicBezTo>
                    <a:cubicBezTo>
                      <a:pt x="114" y="239"/>
                      <a:pt x="114" y="239"/>
                      <a:pt x="114" y="239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1" y="243"/>
                      <a:pt x="121" y="243"/>
                      <a:pt x="121" y="243"/>
                    </a:cubicBezTo>
                    <a:cubicBezTo>
                      <a:pt x="123" y="245"/>
                      <a:pt x="123" y="245"/>
                      <a:pt x="123" y="245"/>
                    </a:cubicBez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6" y="248"/>
                      <a:pt x="126" y="248"/>
                      <a:pt x="126" y="248"/>
                    </a:cubicBezTo>
                    <a:cubicBezTo>
                      <a:pt x="126" y="250"/>
                      <a:pt x="126" y="250"/>
                      <a:pt x="126" y="250"/>
                    </a:cubicBezTo>
                    <a:cubicBezTo>
                      <a:pt x="128" y="252"/>
                      <a:pt x="128" y="252"/>
                      <a:pt x="128" y="252"/>
                    </a:cubicBezTo>
                    <a:cubicBezTo>
                      <a:pt x="128" y="253"/>
                      <a:pt x="128" y="253"/>
                      <a:pt x="128" y="253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7" y="256"/>
                      <a:pt x="127" y="256"/>
                      <a:pt x="127" y="256"/>
                    </a:cubicBezTo>
                    <a:cubicBezTo>
                      <a:pt x="128" y="258"/>
                      <a:pt x="128" y="258"/>
                      <a:pt x="128" y="258"/>
                    </a:cubicBezTo>
                    <a:cubicBezTo>
                      <a:pt x="129" y="258"/>
                      <a:pt x="129" y="258"/>
                      <a:pt x="129" y="258"/>
                    </a:cubicBezTo>
                    <a:cubicBezTo>
                      <a:pt x="130" y="257"/>
                      <a:pt x="130" y="257"/>
                      <a:pt x="130" y="257"/>
                    </a:cubicBezTo>
                    <a:cubicBezTo>
                      <a:pt x="130" y="258"/>
                      <a:pt x="130" y="258"/>
                      <a:pt x="130" y="258"/>
                    </a:cubicBezTo>
                    <a:cubicBezTo>
                      <a:pt x="130" y="261"/>
                      <a:pt x="130" y="261"/>
                      <a:pt x="130" y="261"/>
                    </a:cubicBezTo>
                    <a:cubicBezTo>
                      <a:pt x="131" y="264"/>
                      <a:pt x="131" y="264"/>
                      <a:pt x="131" y="264"/>
                    </a:cubicBezTo>
                    <a:cubicBezTo>
                      <a:pt x="134" y="267"/>
                      <a:pt x="134" y="267"/>
                      <a:pt x="134" y="267"/>
                    </a:cubicBezTo>
                    <a:cubicBezTo>
                      <a:pt x="136" y="269"/>
                      <a:pt x="136" y="269"/>
                      <a:pt x="136" y="269"/>
                    </a:cubicBezTo>
                    <a:cubicBezTo>
                      <a:pt x="137" y="268"/>
                      <a:pt x="137" y="268"/>
                      <a:pt x="137" y="268"/>
                    </a:cubicBezTo>
                    <a:cubicBezTo>
                      <a:pt x="138" y="269"/>
                      <a:pt x="138" y="269"/>
                      <a:pt x="138" y="269"/>
                    </a:cubicBezTo>
                    <a:cubicBezTo>
                      <a:pt x="138" y="270"/>
                      <a:pt x="138" y="270"/>
                      <a:pt x="138" y="270"/>
                    </a:cubicBezTo>
                    <a:cubicBezTo>
                      <a:pt x="140" y="271"/>
                      <a:pt x="140" y="271"/>
                      <a:pt x="140" y="271"/>
                    </a:cubicBezTo>
                    <a:cubicBezTo>
                      <a:pt x="140" y="271"/>
                      <a:pt x="140" y="271"/>
                      <a:pt x="140" y="271"/>
                    </a:cubicBezTo>
                    <a:cubicBezTo>
                      <a:pt x="142" y="274"/>
                      <a:pt x="142" y="274"/>
                      <a:pt x="142" y="274"/>
                    </a:cubicBezTo>
                    <a:cubicBezTo>
                      <a:pt x="142" y="277"/>
                      <a:pt x="142" y="277"/>
                      <a:pt x="142" y="277"/>
                    </a:cubicBezTo>
                    <a:cubicBezTo>
                      <a:pt x="143" y="277"/>
                      <a:pt x="143" y="277"/>
                      <a:pt x="143" y="277"/>
                    </a:cubicBezTo>
                    <a:cubicBezTo>
                      <a:pt x="144" y="279"/>
                      <a:pt x="144" y="279"/>
                      <a:pt x="144" y="279"/>
                    </a:cubicBezTo>
                    <a:cubicBezTo>
                      <a:pt x="146" y="279"/>
                      <a:pt x="146" y="279"/>
                      <a:pt x="146" y="279"/>
                    </a:cubicBezTo>
                    <a:cubicBezTo>
                      <a:pt x="148" y="282"/>
                      <a:pt x="148" y="282"/>
                      <a:pt x="148" y="282"/>
                    </a:cubicBezTo>
                    <a:cubicBezTo>
                      <a:pt x="148" y="283"/>
                      <a:pt x="148" y="283"/>
                      <a:pt x="148" y="283"/>
                    </a:cubicBezTo>
                    <a:cubicBezTo>
                      <a:pt x="149" y="283"/>
                      <a:pt x="149" y="283"/>
                      <a:pt x="149" y="283"/>
                    </a:cubicBezTo>
                    <a:cubicBezTo>
                      <a:pt x="148" y="285"/>
                      <a:pt x="148" y="285"/>
                      <a:pt x="148" y="285"/>
                    </a:cubicBezTo>
                    <a:cubicBezTo>
                      <a:pt x="146" y="287"/>
                      <a:pt x="146" y="287"/>
                      <a:pt x="146" y="287"/>
                    </a:cubicBezTo>
                    <a:cubicBezTo>
                      <a:pt x="145" y="289"/>
                      <a:pt x="145" y="289"/>
                      <a:pt x="145" y="289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1" y="285"/>
                      <a:pt x="151" y="285"/>
                      <a:pt x="151" y="285"/>
                    </a:cubicBezTo>
                    <a:cubicBezTo>
                      <a:pt x="152" y="285"/>
                      <a:pt x="152" y="285"/>
                      <a:pt x="152" y="285"/>
                    </a:cubicBezTo>
                    <a:cubicBezTo>
                      <a:pt x="152" y="282"/>
                      <a:pt x="152" y="282"/>
                      <a:pt x="152" y="282"/>
                    </a:cubicBezTo>
                    <a:cubicBezTo>
                      <a:pt x="152" y="277"/>
                      <a:pt x="152" y="277"/>
                      <a:pt x="152" y="277"/>
                    </a:cubicBezTo>
                    <a:cubicBezTo>
                      <a:pt x="152" y="274"/>
                      <a:pt x="152" y="274"/>
                      <a:pt x="152" y="274"/>
                    </a:cubicBezTo>
                    <a:cubicBezTo>
                      <a:pt x="153" y="272"/>
                      <a:pt x="153" y="272"/>
                      <a:pt x="153" y="272"/>
                    </a:cubicBezTo>
                    <a:cubicBezTo>
                      <a:pt x="156" y="271"/>
                      <a:pt x="156" y="271"/>
                      <a:pt x="156" y="271"/>
                    </a:cubicBezTo>
                    <a:cubicBezTo>
                      <a:pt x="159" y="269"/>
                      <a:pt x="159" y="269"/>
                      <a:pt x="159" y="269"/>
                    </a:cubicBezTo>
                    <a:cubicBezTo>
                      <a:pt x="160" y="268"/>
                      <a:pt x="160" y="268"/>
                      <a:pt x="160" y="268"/>
                    </a:cubicBezTo>
                    <a:cubicBezTo>
                      <a:pt x="162" y="267"/>
                      <a:pt x="162" y="267"/>
                      <a:pt x="162" y="267"/>
                    </a:cubicBezTo>
                    <a:cubicBezTo>
                      <a:pt x="163" y="266"/>
                      <a:pt x="163" y="266"/>
                      <a:pt x="163" y="266"/>
                    </a:cubicBezTo>
                    <a:cubicBezTo>
                      <a:pt x="164" y="266"/>
                      <a:pt x="164" y="266"/>
                      <a:pt x="164" y="266"/>
                    </a:cubicBezTo>
                    <a:cubicBezTo>
                      <a:pt x="166" y="265"/>
                      <a:pt x="166" y="265"/>
                      <a:pt x="166" y="265"/>
                    </a:cubicBezTo>
                    <a:cubicBezTo>
                      <a:pt x="168" y="265"/>
                      <a:pt x="168" y="265"/>
                      <a:pt x="168" y="265"/>
                    </a:cubicBezTo>
                    <a:cubicBezTo>
                      <a:pt x="169" y="265"/>
                      <a:pt x="169" y="265"/>
                      <a:pt x="169" y="265"/>
                    </a:cubicBezTo>
                    <a:cubicBezTo>
                      <a:pt x="170" y="265"/>
                      <a:pt x="170" y="265"/>
                      <a:pt x="170" y="265"/>
                    </a:cubicBezTo>
                    <a:cubicBezTo>
                      <a:pt x="171" y="266"/>
                      <a:pt x="171" y="266"/>
                      <a:pt x="171" y="266"/>
                    </a:cubicBezTo>
                    <a:cubicBezTo>
                      <a:pt x="174" y="263"/>
                      <a:pt x="174" y="263"/>
                      <a:pt x="174" y="263"/>
                    </a:cubicBezTo>
                    <a:cubicBezTo>
                      <a:pt x="175" y="261"/>
                      <a:pt x="175" y="261"/>
                      <a:pt x="175" y="261"/>
                    </a:cubicBezTo>
                    <a:cubicBezTo>
                      <a:pt x="176" y="261"/>
                      <a:pt x="176" y="261"/>
                      <a:pt x="176" y="261"/>
                    </a:cubicBezTo>
                    <a:cubicBezTo>
                      <a:pt x="178" y="261"/>
                      <a:pt x="178" y="261"/>
                      <a:pt x="178" y="261"/>
                    </a:cubicBezTo>
                    <a:cubicBezTo>
                      <a:pt x="179" y="261"/>
                      <a:pt x="179" y="261"/>
                      <a:pt x="179" y="261"/>
                    </a:cubicBezTo>
                    <a:cubicBezTo>
                      <a:pt x="178" y="260"/>
                      <a:pt x="178" y="260"/>
                      <a:pt x="178" y="260"/>
                    </a:cubicBezTo>
                    <a:cubicBezTo>
                      <a:pt x="180" y="260"/>
                      <a:pt x="180" y="260"/>
                      <a:pt x="180" y="260"/>
                    </a:cubicBezTo>
                    <a:cubicBezTo>
                      <a:pt x="181" y="261"/>
                      <a:pt x="181" y="261"/>
                      <a:pt x="181" y="261"/>
                    </a:cubicBezTo>
                    <a:cubicBezTo>
                      <a:pt x="186" y="260"/>
                      <a:pt x="186" y="260"/>
                      <a:pt x="186" y="260"/>
                    </a:cubicBezTo>
                    <a:cubicBezTo>
                      <a:pt x="191" y="259"/>
                      <a:pt x="191" y="259"/>
                      <a:pt x="191" y="259"/>
                    </a:cubicBezTo>
                    <a:cubicBezTo>
                      <a:pt x="192" y="258"/>
                      <a:pt x="192" y="258"/>
                      <a:pt x="192" y="258"/>
                    </a:cubicBezTo>
                    <a:cubicBezTo>
                      <a:pt x="193" y="258"/>
                      <a:pt x="193" y="258"/>
                      <a:pt x="193" y="258"/>
                    </a:cubicBezTo>
                    <a:cubicBezTo>
                      <a:pt x="194" y="259"/>
                      <a:pt x="194" y="259"/>
                      <a:pt x="194" y="259"/>
                    </a:cubicBezTo>
                    <a:cubicBezTo>
                      <a:pt x="196" y="259"/>
                      <a:pt x="196" y="259"/>
                      <a:pt x="196" y="259"/>
                    </a:cubicBezTo>
                    <a:cubicBezTo>
                      <a:pt x="196" y="257"/>
                      <a:pt x="196" y="257"/>
                      <a:pt x="196" y="257"/>
                    </a:cubicBezTo>
                    <a:cubicBezTo>
                      <a:pt x="199" y="255"/>
                      <a:pt x="199" y="255"/>
                      <a:pt x="199" y="255"/>
                    </a:cubicBezTo>
                    <a:cubicBezTo>
                      <a:pt x="201" y="255"/>
                      <a:pt x="201" y="255"/>
                      <a:pt x="201" y="255"/>
                    </a:cubicBezTo>
                    <a:cubicBezTo>
                      <a:pt x="202" y="256"/>
                      <a:pt x="202" y="256"/>
                      <a:pt x="202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7"/>
                      <a:pt x="203" y="257"/>
                      <a:pt x="203" y="257"/>
                    </a:cubicBezTo>
                    <a:cubicBezTo>
                      <a:pt x="205" y="257"/>
                      <a:pt x="205" y="257"/>
                      <a:pt x="205" y="257"/>
                    </a:cubicBezTo>
                    <a:cubicBezTo>
                      <a:pt x="205" y="255"/>
                      <a:pt x="205" y="255"/>
                      <a:pt x="205" y="255"/>
                    </a:cubicBezTo>
                    <a:cubicBezTo>
                      <a:pt x="206" y="254"/>
                      <a:pt x="206" y="254"/>
                      <a:pt x="206" y="254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7" y="257"/>
                      <a:pt x="207" y="257"/>
                      <a:pt x="207" y="257"/>
                    </a:cubicBezTo>
                    <a:cubicBezTo>
                      <a:pt x="208" y="258"/>
                      <a:pt x="208" y="258"/>
                      <a:pt x="208" y="258"/>
                    </a:cubicBezTo>
                    <a:cubicBezTo>
                      <a:pt x="207" y="259"/>
                      <a:pt x="207" y="259"/>
                      <a:pt x="207" y="259"/>
                    </a:cubicBezTo>
                    <a:cubicBezTo>
                      <a:pt x="206" y="259"/>
                      <a:pt x="206" y="259"/>
                      <a:pt x="206" y="259"/>
                    </a:cubicBezTo>
                    <a:cubicBezTo>
                      <a:pt x="206" y="261"/>
                      <a:pt x="206" y="261"/>
                      <a:pt x="206" y="261"/>
                    </a:cubicBezTo>
                    <a:cubicBezTo>
                      <a:pt x="202" y="262"/>
                      <a:pt x="202" y="262"/>
                      <a:pt x="202" y="262"/>
                    </a:cubicBezTo>
                    <a:cubicBezTo>
                      <a:pt x="198" y="263"/>
                      <a:pt x="198" y="263"/>
                      <a:pt x="198" y="263"/>
                    </a:cubicBezTo>
                    <a:cubicBezTo>
                      <a:pt x="197" y="265"/>
                      <a:pt x="197" y="265"/>
                      <a:pt x="197" y="265"/>
                    </a:cubicBezTo>
                    <a:cubicBezTo>
                      <a:pt x="194" y="265"/>
                      <a:pt x="194" y="265"/>
                      <a:pt x="194" y="265"/>
                    </a:cubicBezTo>
                    <a:cubicBezTo>
                      <a:pt x="193" y="265"/>
                      <a:pt x="193" y="265"/>
                      <a:pt x="193" y="265"/>
                    </a:cubicBezTo>
                    <a:cubicBezTo>
                      <a:pt x="191" y="266"/>
                      <a:pt x="191" y="266"/>
                      <a:pt x="191" y="266"/>
                    </a:cubicBezTo>
                    <a:cubicBezTo>
                      <a:pt x="190" y="266"/>
                      <a:pt x="190" y="266"/>
                      <a:pt x="190" y="266"/>
                    </a:cubicBezTo>
                    <a:cubicBezTo>
                      <a:pt x="190" y="265"/>
                      <a:pt x="190" y="265"/>
                      <a:pt x="190" y="265"/>
                    </a:cubicBezTo>
                    <a:cubicBezTo>
                      <a:pt x="187" y="266"/>
                      <a:pt x="187" y="266"/>
                      <a:pt x="187" y="266"/>
                    </a:cubicBezTo>
                    <a:cubicBezTo>
                      <a:pt x="184" y="266"/>
                      <a:pt x="184" y="266"/>
                      <a:pt x="184" y="266"/>
                    </a:cubicBezTo>
                    <a:cubicBezTo>
                      <a:pt x="183" y="267"/>
                      <a:pt x="183" y="267"/>
                      <a:pt x="183" y="267"/>
                    </a:cubicBezTo>
                    <a:cubicBezTo>
                      <a:pt x="180" y="267"/>
                      <a:pt x="180" y="267"/>
                      <a:pt x="180" y="267"/>
                    </a:cubicBezTo>
                    <a:cubicBezTo>
                      <a:pt x="178" y="268"/>
                      <a:pt x="178" y="268"/>
                      <a:pt x="178" y="268"/>
                    </a:cubicBezTo>
                    <a:cubicBezTo>
                      <a:pt x="176" y="270"/>
                      <a:pt x="176" y="270"/>
                      <a:pt x="176" y="270"/>
                    </a:cubicBezTo>
                    <a:cubicBezTo>
                      <a:pt x="172" y="272"/>
                      <a:pt x="172" y="272"/>
                      <a:pt x="172" y="272"/>
                    </a:cubicBezTo>
                    <a:cubicBezTo>
                      <a:pt x="172" y="271"/>
                      <a:pt x="172" y="271"/>
                      <a:pt x="172" y="271"/>
                    </a:cubicBezTo>
                    <a:cubicBezTo>
                      <a:pt x="169" y="273"/>
                      <a:pt x="169" y="273"/>
                      <a:pt x="169" y="273"/>
                    </a:cubicBezTo>
                    <a:cubicBezTo>
                      <a:pt x="169" y="274"/>
                      <a:pt x="169" y="274"/>
                      <a:pt x="169" y="274"/>
                    </a:cubicBezTo>
                    <a:cubicBezTo>
                      <a:pt x="167" y="275"/>
                      <a:pt x="167" y="275"/>
                      <a:pt x="167" y="275"/>
                    </a:cubicBezTo>
                    <a:cubicBezTo>
                      <a:pt x="166" y="274"/>
                      <a:pt x="166" y="274"/>
                      <a:pt x="166" y="274"/>
                    </a:cubicBezTo>
                    <a:cubicBezTo>
                      <a:pt x="165" y="275"/>
                      <a:pt x="165" y="275"/>
                      <a:pt x="165" y="275"/>
                    </a:cubicBezTo>
                    <a:cubicBezTo>
                      <a:pt x="163" y="277"/>
                      <a:pt x="163" y="277"/>
                      <a:pt x="163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9"/>
                      <a:pt x="161" y="279"/>
                      <a:pt x="161" y="279"/>
                    </a:cubicBezTo>
                    <a:cubicBezTo>
                      <a:pt x="163" y="281"/>
                      <a:pt x="163" y="281"/>
                      <a:pt x="163" y="281"/>
                    </a:cubicBezTo>
                    <a:cubicBezTo>
                      <a:pt x="165" y="282"/>
                      <a:pt x="165" y="282"/>
                      <a:pt x="165" y="282"/>
                    </a:cubicBezTo>
                    <a:cubicBezTo>
                      <a:pt x="163" y="280"/>
                      <a:pt x="163" y="280"/>
                      <a:pt x="163" y="280"/>
                    </a:cubicBezTo>
                    <a:cubicBezTo>
                      <a:pt x="163" y="279"/>
                      <a:pt x="163" y="279"/>
                      <a:pt x="163" y="279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6" y="279"/>
                      <a:pt x="166" y="279"/>
                      <a:pt x="166" y="279"/>
                    </a:cubicBezTo>
                    <a:cubicBezTo>
                      <a:pt x="168" y="280"/>
                      <a:pt x="168" y="280"/>
                      <a:pt x="168" y="280"/>
                    </a:cubicBezTo>
                    <a:cubicBezTo>
                      <a:pt x="167" y="278"/>
                      <a:pt x="167" y="278"/>
                      <a:pt x="167" y="278"/>
                    </a:cubicBezTo>
                    <a:cubicBezTo>
                      <a:pt x="169" y="275"/>
                      <a:pt x="169" y="275"/>
                      <a:pt x="169" y="275"/>
                    </a:cubicBezTo>
                    <a:cubicBezTo>
                      <a:pt x="172" y="275"/>
                      <a:pt x="172" y="275"/>
                      <a:pt x="172" y="275"/>
                    </a:cubicBezTo>
                    <a:cubicBezTo>
                      <a:pt x="174" y="275"/>
                      <a:pt x="174" y="275"/>
                      <a:pt x="174" y="275"/>
                    </a:cubicBezTo>
                    <a:cubicBezTo>
                      <a:pt x="179" y="271"/>
                      <a:pt x="179" y="271"/>
                      <a:pt x="179" y="271"/>
                    </a:cubicBezTo>
                    <a:cubicBezTo>
                      <a:pt x="180" y="270"/>
                      <a:pt x="180" y="270"/>
                      <a:pt x="180" y="270"/>
                    </a:cubicBezTo>
                    <a:cubicBezTo>
                      <a:pt x="181" y="269"/>
                      <a:pt x="181" y="269"/>
                      <a:pt x="181" y="269"/>
                    </a:cubicBezTo>
                    <a:cubicBezTo>
                      <a:pt x="182" y="271"/>
                      <a:pt x="182" y="271"/>
                      <a:pt x="182" y="271"/>
                    </a:cubicBezTo>
                    <a:cubicBezTo>
                      <a:pt x="184" y="270"/>
                      <a:pt x="184" y="270"/>
                      <a:pt x="184" y="270"/>
                    </a:cubicBezTo>
                    <a:cubicBezTo>
                      <a:pt x="185" y="269"/>
                      <a:pt x="185" y="269"/>
                      <a:pt x="185" y="269"/>
                    </a:cubicBezTo>
                    <a:cubicBezTo>
                      <a:pt x="185" y="270"/>
                      <a:pt x="185" y="270"/>
                      <a:pt x="185" y="270"/>
                    </a:cubicBezTo>
                    <a:cubicBezTo>
                      <a:pt x="188" y="268"/>
                      <a:pt x="188" y="268"/>
                      <a:pt x="188" y="268"/>
                    </a:cubicBezTo>
                    <a:cubicBezTo>
                      <a:pt x="189" y="269"/>
                      <a:pt x="189" y="269"/>
                      <a:pt x="189" y="269"/>
                    </a:cubicBezTo>
                    <a:cubicBezTo>
                      <a:pt x="187" y="273"/>
                      <a:pt x="187" y="273"/>
                      <a:pt x="187" y="273"/>
                    </a:cubicBezTo>
                    <a:cubicBezTo>
                      <a:pt x="187" y="274"/>
                      <a:pt x="187" y="274"/>
                      <a:pt x="187" y="274"/>
                    </a:cubicBezTo>
                    <a:cubicBezTo>
                      <a:pt x="189" y="271"/>
                      <a:pt x="189" y="271"/>
                      <a:pt x="189" y="271"/>
                    </a:cubicBezTo>
                    <a:cubicBezTo>
                      <a:pt x="192" y="270"/>
                      <a:pt x="192" y="270"/>
                      <a:pt x="192" y="270"/>
                    </a:cubicBezTo>
                    <a:cubicBezTo>
                      <a:pt x="198" y="266"/>
                      <a:pt x="198" y="266"/>
                      <a:pt x="198" y="266"/>
                    </a:cubicBezTo>
                    <a:cubicBezTo>
                      <a:pt x="201" y="266"/>
                      <a:pt x="201" y="266"/>
                      <a:pt x="201" y="266"/>
                    </a:cubicBezTo>
                    <a:cubicBezTo>
                      <a:pt x="203" y="264"/>
                      <a:pt x="203" y="264"/>
                      <a:pt x="203" y="264"/>
                    </a:cubicBezTo>
                    <a:cubicBezTo>
                      <a:pt x="206" y="264"/>
                      <a:pt x="206" y="264"/>
                      <a:pt x="206" y="264"/>
                    </a:cubicBezTo>
                    <a:cubicBezTo>
                      <a:pt x="208" y="263"/>
                      <a:pt x="208" y="263"/>
                      <a:pt x="208" y="263"/>
                    </a:cubicBezTo>
                    <a:cubicBezTo>
                      <a:pt x="210" y="263"/>
                      <a:pt x="210" y="263"/>
                      <a:pt x="210" y="263"/>
                    </a:cubicBezTo>
                    <a:cubicBezTo>
                      <a:pt x="209" y="265"/>
                      <a:pt x="209" y="265"/>
                      <a:pt x="209" y="265"/>
                    </a:cubicBezTo>
                    <a:cubicBezTo>
                      <a:pt x="207" y="266"/>
                      <a:pt x="207" y="266"/>
                      <a:pt x="207" y="266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208" y="269"/>
                      <a:pt x="208" y="269"/>
                      <a:pt x="208" y="269"/>
                    </a:cubicBezTo>
                    <a:cubicBezTo>
                      <a:pt x="211" y="266"/>
                      <a:pt x="211" y="266"/>
                      <a:pt x="211" y="266"/>
                    </a:cubicBezTo>
                    <a:cubicBezTo>
                      <a:pt x="215" y="264"/>
                      <a:pt x="215" y="264"/>
                      <a:pt x="215" y="264"/>
                    </a:cubicBezTo>
                    <a:cubicBezTo>
                      <a:pt x="216" y="264"/>
                      <a:pt x="216" y="264"/>
                      <a:pt x="216" y="264"/>
                    </a:cubicBezTo>
                    <a:cubicBezTo>
                      <a:pt x="216" y="263"/>
                      <a:pt x="216" y="263"/>
                      <a:pt x="216" y="263"/>
                    </a:cubicBezTo>
                    <a:cubicBezTo>
                      <a:pt x="218" y="261"/>
                      <a:pt x="218" y="261"/>
                      <a:pt x="218" y="261"/>
                    </a:cubicBezTo>
                    <a:cubicBezTo>
                      <a:pt x="219" y="262"/>
                      <a:pt x="219" y="262"/>
                      <a:pt x="219" y="262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59"/>
                      <a:pt x="220" y="259"/>
                      <a:pt x="220" y="259"/>
                    </a:cubicBezTo>
                    <a:cubicBezTo>
                      <a:pt x="221" y="261"/>
                      <a:pt x="221" y="261"/>
                      <a:pt x="221" y="261"/>
                    </a:cubicBezTo>
                    <a:cubicBezTo>
                      <a:pt x="223" y="261"/>
                      <a:pt x="223" y="261"/>
                      <a:pt x="223" y="261"/>
                    </a:cubicBezTo>
                    <a:cubicBezTo>
                      <a:pt x="223" y="258"/>
                      <a:pt x="223" y="258"/>
                      <a:pt x="223" y="258"/>
                    </a:cubicBezTo>
                    <a:cubicBezTo>
                      <a:pt x="222" y="256"/>
                      <a:pt x="222" y="256"/>
                      <a:pt x="222" y="256"/>
                    </a:cubicBezTo>
                    <a:cubicBezTo>
                      <a:pt x="223" y="255"/>
                      <a:pt x="223" y="255"/>
                      <a:pt x="223" y="255"/>
                    </a:cubicBezTo>
                    <a:cubicBezTo>
                      <a:pt x="222" y="253"/>
                      <a:pt x="222" y="253"/>
                      <a:pt x="222" y="253"/>
                    </a:cubicBezTo>
                    <a:cubicBezTo>
                      <a:pt x="224" y="251"/>
                      <a:pt x="224" y="251"/>
                      <a:pt x="224" y="251"/>
                    </a:cubicBezTo>
                    <a:cubicBezTo>
                      <a:pt x="227" y="250"/>
                      <a:pt x="227" y="250"/>
                      <a:pt x="227" y="250"/>
                    </a:cubicBezTo>
                    <a:cubicBezTo>
                      <a:pt x="227" y="252"/>
                      <a:pt x="227" y="252"/>
                      <a:pt x="227" y="252"/>
                    </a:cubicBezTo>
                    <a:cubicBezTo>
                      <a:pt x="227" y="260"/>
                      <a:pt x="227" y="260"/>
                      <a:pt x="227" y="260"/>
                    </a:cubicBezTo>
                    <a:cubicBezTo>
                      <a:pt x="226" y="262"/>
                      <a:pt x="226" y="262"/>
                      <a:pt x="226" y="262"/>
                    </a:cubicBezTo>
                    <a:cubicBezTo>
                      <a:pt x="226" y="268"/>
                      <a:pt x="226" y="268"/>
                      <a:pt x="226" y="268"/>
                    </a:cubicBezTo>
                    <a:cubicBezTo>
                      <a:pt x="225" y="272"/>
                      <a:pt x="225" y="272"/>
                      <a:pt x="225" y="272"/>
                    </a:cubicBezTo>
                    <a:cubicBezTo>
                      <a:pt x="225" y="281"/>
                      <a:pt x="225" y="281"/>
                      <a:pt x="225" y="281"/>
                    </a:cubicBezTo>
                    <a:cubicBezTo>
                      <a:pt x="225" y="283"/>
                      <a:pt x="225" y="283"/>
                      <a:pt x="225" y="283"/>
                    </a:cubicBezTo>
                    <a:cubicBezTo>
                      <a:pt x="227" y="284"/>
                      <a:pt x="227" y="284"/>
                      <a:pt x="227" y="284"/>
                    </a:cubicBezTo>
                    <a:cubicBezTo>
                      <a:pt x="229" y="287"/>
                      <a:pt x="229" y="287"/>
                      <a:pt x="229" y="287"/>
                    </a:cubicBezTo>
                    <a:cubicBezTo>
                      <a:pt x="232" y="285"/>
                      <a:pt x="232" y="285"/>
                      <a:pt x="232" y="285"/>
                    </a:cubicBezTo>
                    <a:cubicBezTo>
                      <a:pt x="231" y="283"/>
                      <a:pt x="231" y="283"/>
                      <a:pt x="231" y="283"/>
                    </a:cubicBezTo>
                    <a:cubicBezTo>
                      <a:pt x="229" y="283"/>
                      <a:pt x="229" y="283"/>
                      <a:pt x="229" y="283"/>
                    </a:cubicBezTo>
                    <a:cubicBezTo>
                      <a:pt x="228" y="282"/>
                      <a:pt x="228" y="282"/>
                      <a:pt x="228" y="282"/>
                    </a:cubicBezTo>
                    <a:cubicBezTo>
                      <a:pt x="230" y="281"/>
                      <a:pt x="230" y="281"/>
                      <a:pt x="230" y="281"/>
                    </a:cubicBezTo>
                    <a:cubicBezTo>
                      <a:pt x="232" y="282"/>
                      <a:pt x="232" y="282"/>
                      <a:pt x="232" y="282"/>
                    </a:cubicBezTo>
                    <a:cubicBezTo>
                      <a:pt x="233" y="280"/>
                      <a:pt x="233" y="280"/>
                      <a:pt x="233" y="280"/>
                    </a:cubicBezTo>
                    <a:cubicBezTo>
                      <a:pt x="232" y="279"/>
                      <a:pt x="232" y="279"/>
                      <a:pt x="232" y="279"/>
                    </a:cubicBezTo>
                    <a:cubicBezTo>
                      <a:pt x="233" y="277"/>
                      <a:pt x="233" y="277"/>
                      <a:pt x="233" y="277"/>
                    </a:cubicBezTo>
                    <a:cubicBezTo>
                      <a:pt x="236" y="278"/>
                      <a:pt x="236" y="278"/>
                      <a:pt x="236" y="278"/>
                    </a:cubicBezTo>
                    <a:cubicBezTo>
                      <a:pt x="236" y="279"/>
                      <a:pt x="236" y="279"/>
                      <a:pt x="236" y="279"/>
                    </a:cubicBezTo>
                    <a:cubicBezTo>
                      <a:pt x="238" y="278"/>
                      <a:pt x="238" y="278"/>
                      <a:pt x="238" y="278"/>
                    </a:cubicBezTo>
                    <a:cubicBezTo>
                      <a:pt x="236" y="274"/>
                      <a:pt x="236" y="274"/>
                      <a:pt x="236" y="274"/>
                    </a:cubicBezTo>
                    <a:cubicBezTo>
                      <a:pt x="238" y="274"/>
                      <a:pt x="238" y="274"/>
                      <a:pt x="238" y="274"/>
                    </a:cubicBezTo>
                    <a:cubicBezTo>
                      <a:pt x="241" y="272"/>
                      <a:pt x="241" y="272"/>
                      <a:pt x="241" y="272"/>
                    </a:cubicBezTo>
                    <a:cubicBezTo>
                      <a:pt x="241" y="270"/>
                      <a:pt x="241" y="270"/>
                      <a:pt x="241" y="270"/>
                    </a:cubicBezTo>
                    <a:cubicBezTo>
                      <a:pt x="244" y="270"/>
                      <a:pt x="244" y="270"/>
                      <a:pt x="244" y="270"/>
                    </a:cubicBezTo>
                    <a:cubicBezTo>
                      <a:pt x="244" y="272"/>
                      <a:pt x="244" y="272"/>
                      <a:pt x="244" y="272"/>
                    </a:cubicBezTo>
                    <a:cubicBezTo>
                      <a:pt x="244" y="274"/>
                      <a:pt x="244" y="274"/>
                      <a:pt x="244" y="274"/>
                    </a:cubicBezTo>
                    <a:cubicBezTo>
                      <a:pt x="242" y="275"/>
                      <a:pt x="242" y="275"/>
                      <a:pt x="242" y="275"/>
                    </a:cubicBezTo>
                    <a:cubicBezTo>
                      <a:pt x="242" y="276"/>
                      <a:pt x="242" y="276"/>
                      <a:pt x="242" y="276"/>
                    </a:cubicBezTo>
                    <a:cubicBezTo>
                      <a:pt x="240" y="278"/>
                      <a:pt x="240" y="278"/>
                      <a:pt x="240" y="278"/>
                    </a:cubicBezTo>
                    <a:cubicBezTo>
                      <a:pt x="240" y="279"/>
                      <a:pt x="240" y="279"/>
                      <a:pt x="240" y="279"/>
                    </a:cubicBezTo>
                    <a:cubicBezTo>
                      <a:pt x="241" y="280"/>
                      <a:pt x="241" y="280"/>
                      <a:pt x="241" y="280"/>
                    </a:cubicBezTo>
                    <a:cubicBezTo>
                      <a:pt x="242" y="280"/>
                      <a:pt x="242" y="280"/>
                      <a:pt x="242" y="280"/>
                    </a:cubicBezTo>
                    <a:cubicBezTo>
                      <a:pt x="243" y="281"/>
                      <a:pt x="243" y="281"/>
                      <a:pt x="243" y="281"/>
                    </a:cubicBezTo>
                    <a:cubicBezTo>
                      <a:pt x="242" y="281"/>
                      <a:pt x="242" y="281"/>
                      <a:pt x="242" y="281"/>
                    </a:cubicBezTo>
                    <a:cubicBezTo>
                      <a:pt x="241" y="282"/>
                      <a:pt x="241" y="282"/>
                      <a:pt x="241" y="282"/>
                    </a:cubicBezTo>
                    <a:cubicBezTo>
                      <a:pt x="239" y="284"/>
                      <a:pt x="239" y="284"/>
                      <a:pt x="239" y="284"/>
                    </a:cubicBezTo>
                    <a:cubicBezTo>
                      <a:pt x="238" y="284"/>
                      <a:pt x="238" y="284"/>
                      <a:pt x="238" y="284"/>
                    </a:cubicBezTo>
                    <a:cubicBezTo>
                      <a:pt x="237" y="285"/>
                      <a:pt x="237" y="285"/>
                      <a:pt x="237" y="285"/>
                    </a:cubicBezTo>
                    <a:cubicBezTo>
                      <a:pt x="236" y="287"/>
                      <a:pt x="236" y="287"/>
                      <a:pt x="236" y="287"/>
                    </a:cubicBezTo>
                    <a:cubicBezTo>
                      <a:pt x="237" y="288"/>
                      <a:pt x="237" y="288"/>
                      <a:pt x="237" y="288"/>
                    </a:cubicBezTo>
                    <a:cubicBezTo>
                      <a:pt x="240" y="288"/>
                      <a:pt x="240" y="288"/>
                      <a:pt x="240" y="288"/>
                    </a:cubicBezTo>
                    <a:cubicBezTo>
                      <a:pt x="241" y="289"/>
                      <a:pt x="241" y="289"/>
                      <a:pt x="241" y="289"/>
                    </a:cubicBezTo>
                    <a:cubicBezTo>
                      <a:pt x="243" y="289"/>
                      <a:pt x="243" y="289"/>
                      <a:pt x="243" y="289"/>
                    </a:cubicBezTo>
                    <a:cubicBezTo>
                      <a:pt x="245" y="288"/>
                      <a:pt x="245" y="288"/>
                      <a:pt x="245" y="288"/>
                    </a:cubicBezTo>
                    <a:cubicBezTo>
                      <a:pt x="247" y="287"/>
                      <a:pt x="247" y="287"/>
                      <a:pt x="247" y="287"/>
                    </a:cubicBezTo>
                    <a:cubicBezTo>
                      <a:pt x="249" y="284"/>
                      <a:pt x="249" y="284"/>
                      <a:pt x="249" y="284"/>
                    </a:cubicBezTo>
                    <a:cubicBezTo>
                      <a:pt x="251" y="281"/>
                      <a:pt x="251" y="281"/>
                      <a:pt x="251" y="281"/>
                    </a:cubicBezTo>
                    <a:cubicBezTo>
                      <a:pt x="253" y="281"/>
                      <a:pt x="253" y="281"/>
                      <a:pt x="253" y="281"/>
                    </a:cubicBezTo>
                    <a:cubicBezTo>
                      <a:pt x="254" y="282"/>
                      <a:pt x="254" y="282"/>
                      <a:pt x="254" y="282"/>
                    </a:cubicBezTo>
                    <a:cubicBezTo>
                      <a:pt x="256" y="282"/>
                      <a:pt x="256" y="282"/>
                      <a:pt x="256" y="282"/>
                    </a:cubicBezTo>
                    <a:cubicBezTo>
                      <a:pt x="258" y="283"/>
                      <a:pt x="258" y="283"/>
                      <a:pt x="258" y="283"/>
                    </a:cubicBezTo>
                    <a:cubicBezTo>
                      <a:pt x="260" y="283"/>
                      <a:pt x="260" y="283"/>
                      <a:pt x="260" y="283"/>
                    </a:cubicBezTo>
                    <a:cubicBezTo>
                      <a:pt x="262" y="285"/>
                      <a:pt x="262" y="285"/>
                      <a:pt x="262" y="285"/>
                    </a:cubicBezTo>
                    <a:cubicBezTo>
                      <a:pt x="264" y="285"/>
                      <a:pt x="264" y="285"/>
                      <a:pt x="264" y="285"/>
                    </a:cubicBezTo>
                    <a:cubicBezTo>
                      <a:pt x="264" y="287"/>
                      <a:pt x="264" y="287"/>
                      <a:pt x="264" y="287"/>
                    </a:cubicBezTo>
                    <a:cubicBezTo>
                      <a:pt x="265" y="292"/>
                      <a:pt x="265" y="292"/>
                      <a:pt x="265" y="292"/>
                    </a:cubicBezTo>
                    <a:cubicBezTo>
                      <a:pt x="265" y="294"/>
                      <a:pt x="265" y="294"/>
                      <a:pt x="265" y="294"/>
                    </a:cubicBezTo>
                    <a:cubicBezTo>
                      <a:pt x="268" y="298"/>
                      <a:pt x="268" y="298"/>
                      <a:pt x="268" y="298"/>
                    </a:cubicBezTo>
                    <a:cubicBezTo>
                      <a:pt x="275" y="303"/>
                      <a:pt x="275" y="303"/>
                      <a:pt x="275" y="303"/>
                    </a:cubicBezTo>
                    <a:cubicBezTo>
                      <a:pt x="276" y="305"/>
                      <a:pt x="276" y="305"/>
                      <a:pt x="276" y="305"/>
                    </a:cubicBezTo>
                    <a:cubicBezTo>
                      <a:pt x="279" y="306"/>
                      <a:pt x="279" y="306"/>
                      <a:pt x="279" y="306"/>
                    </a:cubicBezTo>
                    <a:cubicBezTo>
                      <a:pt x="281" y="309"/>
                      <a:pt x="281" y="309"/>
                      <a:pt x="281" y="309"/>
                    </a:cubicBezTo>
                    <a:cubicBezTo>
                      <a:pt x="282" y="309"/>
                      <a:pt x="282" y="309"/>
                      <a:pt x="282" y="309"/>
                    </a:cubicBezTo>
                    <a:cubicBezTo>
                      <a:pt x="284" y="310"/>
                      <a:pt x="284" y="310"/>
                      <a:pt x="284" y="310"/>
                    </a:cubicBezTo>
                    <a:cubicBezTo>
                      <a:pt x="285" y="312"/>
                      <a:pt x="285" y="312"/>
                      <a:pt x="285" y="312"/>
                    </a:cubicBezTo>
                    <a:cubicBezTo>
                      <a:pt x="286" y="313"/>
                      <a:pt x="286" y="313"/>
                      <a:pt x="286" y="313"/>
                    </a:cubicBezTo>
                    <a:cubicBezTo>
                      <a:pt x="287" y="312"/>
                      <a:pt x="287" y="312"/>
                      <a:pt x="287" y="312"/>
                    </a:cubicBezTo>
                    <a:cubicBezTo>
                      <a:pt x="288" y="313"/>
                      <a:pt x="288" y="313"/>
                      <a:pt x="288" y="313"/>
                    </a:cubicBezTo>
                    <a:cubicBezTo>
                      <a:pt x="291" y="315"/>
                      <a:pt x="291" y="315"/>
                      <a:pt x="291" y="315"/>
                    </a:cubicBezTo>
                    <a:cubicBezTo>
                      <a:pt x="292" y="315"/>
                      <a:pt x="292" y="315"/>
                      <a:pt x="292" y="315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94" y="319"/>
                      <a:pt x="294" y="319"/>
                      <a:pt x="294" y="319"/>
                    </a:cubicBezTo>
                    <a:cubicBezTo>
                      <a:pt x="294" y="317"/>
                      <a:pt x="294" y="317"/>
                      <a:pt x="294" y="317"/>
                    </a:cubicBezTo>
                    <a:cubicBezTo>
                      <a:pt x="294" y="316"/>
                      <a:pt x="294" y="316"/>
                      <a:pt x="294" y="316"/>
                    </a:cubicBezTo>
                    <a:cubicBezTo>
                      <a:pt x="294" y="315"/>
                      <a:pt x="294" y="315"/>
                      <a:pt x="294" y="315"/>
                    </a:cubicBezTo>
                    <a:cubicBezTo>
                      <a:pt x="292" y="313"/>
                      <a:pt x="292" y="313"/>
                      <a:pt x="292" y="313"/>
                    </a:cubicBezTo>
                    <a:cubicBezTo>
                      <a:pt x="292" y="312"/>
                      <a:pt x="292" y="312"/>
                      <a:pt x="292" y="312"/>
                    </a:cubicBezTo>
                    <a:cubicBezTo>
                      <a:pt x="295" y="314"/>
                      <a:pt x="295" y="314"/>
                      <a:pt x="295" y="314"/>
                    </a:cubicBezTo>
                    <a:cubicBezTo>
                      <a:pt x="296" y="315"/>
                      <a:pt x="296" y="315"/>
                      <a:pt x="296" y="315"/>
                    </a:cubicBezTo>
                    <a:cubicBezTo>
                      <a:pt x="296" y="315"/>
                      <a:pt x="296" y="315"/>
                      <a:pt x="296" y="315"/>
                    </a:cubicBezTo>
                    <a:cubicBezTo>
                      <a:pt x="297" y="314"/>
                      <a:pt x="297" y="314"/>
                      <a:pt x="297" y="314"/>
                    </a:cubicBezTo>
                    <a:cubicBezTo>
                      <a:pt x="298" y="313"/>
                      <a:pt x="298" y="313"/>
                      <a:pt x="298" y="313"/>
                    </a:cubicBezTo>
                    <a:cubicBezTo>
                      <a:pt x="300" y="316"/>
                      <a:pt x="300" y="316"/>
                      <a:pt x="300" y="316"/>
                    </a:cubicBezTo>
                    <a:cubicBezTo>
                      <a:pt x="301" y="317"/>
                      <a:pt x="301" y="317"/>
                      <a:pt x="301" y="317"/>
                    </a:cubicBezTo>
                    <a:cubicBezTo>
                      <a:pt x="302" y="318"/>
                      <a:pt x="302" y="318"/>
                      <a:pt x="302" y="318"/>
                    </a:cubicBezTo>
                    <a:cubicBezTo>
                      <a:pt x="303" y="320"/>
                      <a:pt x="303" y="320"/>
                      <a:pt x="303" y="320"/>
                    </a:cubicBezTo>
                    <a:cubicBezTo>
                      <a:pt x="304" y="322"/>
                      <a:pt x="304" y="322"/>
                      <a:pt x="304" y="322"/>
                    </a:cubicBezTo>
                    <a:cubicBezTo>
                      <a:pt x="304" y="325"/>
                      <a:pt x="304" y="325"/>
                      <a:pt x="304" y="325"/>
                    </a:cubicBezTo>
                    <a:cubicBezTo>
                      <a:pt x="305" y="327"/>
                      <a:pt x="305" y="327"/>
                      <a:pt x="305" y="327"/>
                    </a:cubicBezTo>
                    <a:cubicBezTo>
                      <a:pt x="304" y="329"/>
                      <a:pt x="304" y="329"/>
                      <a:pt x="304" y="329"/>
                    </a:cubicBezTo>
                    <a:cubicBezTo>
                      <a:pt x="304" y="331"/>
                      <a:pt x="304" y="331"/>
                      <a:pt x="304" y="331"/>
                    </a:cubicBezTo>
                    <a:cubicBezTo>
                      <a:pt x="302" y="333"/>
                      <a:pt x="302" y="333"/>
                      <a:pt x="302" y="333"/>
                    </a:cubicBezTo>
                    <a:cubicBezTo>
                      <a:pt x="298" y="331"/>
                      <a:pt x="298" y="331"/>
                      <a:pt x="298" y="331"/>
                    </a:cubicBezTo>
                    <a:cubicBezTo>
                      <a:pt x="296" y="331"/>
                      <a:pt x="296" y="331"/>
                      <a:pt x="296" y="331"/>
                    </a:cubicBezTo>
                    <a:cubicBezTo>
                      <a:pt x="296" y="332"/>
                      <a:pt x="296" y="332"/>
                      <a:pt x="296" y="332"/>
                    </a:cubicBezTo>
                    <a:cubicBezTo>
                      <a:pt x="295" y="333"/>
                      <a:pt x="295" y="333"/>
                      <a:pt x="295" y="333"/>
                    </a:cubicBezTo>
                    <a:cubicBezTo>
                      <a:pt x="293" y="332"/>
                      <a:pt x="293" y="332"/>
                      <a:pt x="293" y="332"/>
                    </a:cubicBezTo>
                    <a:cubicBezTo>
                      <a:pt x="291" y="332"/>
                      <a:pt x="291" y="332"/>
                      <a:pt x="291" y="332"/>
                    </a:cubicBezTo>
                    <a:cubicBezTo>
                      <a:pt x="291" y="333"/>
                      <a:pt x="291" y="333"/>
                      <a:pt x="291" y="333"/>
                    </a:cubicBezTo>
                    <a:cubicBezTo>
                      <a:pt x="290" y="334"/>
                      <a:pt x="290" y="334"/>
                      <a:pt x="290" y="334"/>
                    </a:cubicBezTo>
                    <a:cubicBezTo>
                      <a:pt x="290" y="336"/>
                      <a:pt x="290" y="336"/>
                      <a:pt x="290" y="336"/>
                    </a:cubicBezTo>
                    <a:cubicBezTo>
                      <a:pt x="288" y="336"/>
                      <a:pt x="288" y="336"/>
                      <a:pt x="288" y="336"/>
                    </a:cubicBezTo>
                    <a:cubicBezTo>
                      <a:pt x="286" y="337"/>
                      <a:pt x="286" y="337"/>
                      <a:pt x="286" y="337"/>
                    </a:cubicBezTo>
                    <a:cubicBezTo>
                      <a:pt x="287" y="338"/>
                      <a:pt x="287" y="338"/>
                      <a:pt x="287" y="338"/>
                    </a:cubicBezTo>
                    <a:cubicBezTo>
                      <a:pt x="288" y="339"/>
                      <a:pt x="288" y="339"/>
                      <a:pt x="288" y="339"/>
                    </a:cubicBezTo>
                    <a:cubicBezTo>
                      <a:pt x="289" y="341"/>
                      <a:pt x="289" y="341"/>
                      <a:pt x="289" y="341"/>
                    </a:cubicBezTo>
                    <a:cubicBezTo>
                      <a:pt x="291" y="342"/>
                      <a:pt x="291" y="342"/>
                      <a:pt x="291" y="342"/>
                    </a:cubicBezTo>
                    <a:cubicBezTo>
                      <a:pt x="292" y="341"/>
                      <a:pt x="292" y="341"/>
                      <a:pt x="292" y="341"/>
                    </a:cubicBez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4" y="345"/>
                      <a:pt x="294" y="345"/>
                      <a:pt x="294" y="345"/>
                    </a:cubicBezTo>
                    <a:cubicBezTo>
                      <a:pt x="297" y="345"/>
                      <a:pt x="297" y="345"/>
                      <a:pt x="297" y="345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303" y="347"/>
                      <a:pt x="303" y="347"/>
                      <a:pt x="303" y="347"/>
                    </a:cubicBezTo>
                    <a:cubicBezTo>
                      <a:pt x="307" y="349"/>
                      <a:pt x="307" y="349"/>
                      <a:pt x="307" y="349"/>
                    </a:cubicBezTo>
                    <a:cubicBezTo>
                      <a:pt x="309" y="349"/>
                      <a:pt x="309" y="349"/>
                      <a:pt x="309" y="349"/>
                    </a:cubicBezTo>
                    <a:cubicBezTo>
                      <a:pt x="309" y="348"/>
                      <a:pt x="309" y="348"/>
                      <a:pt x="309" y="348"/>
                    </a:cubicBezTo>
                    <a:cubicBezTo>
                      <a:pt x="310" y="348"/>
                      <a:pt x="310" y="348"/>
                      <a:pt x="310" y="348"/>
                    </a:cubicBezTo>
                    <a:cubicBezTo>
                      <a:pt x="312" y="349"/>
                      <a:pt x="312" y="349"/>
                      <a:pt x="312" y="349"/>
                    </a:cubicBezTo>
                    <a:cubicBezTo>
                      <a:pt x="312" y="350"/>
                      <a:pt x="312" y="350"/>
                      <a:pt x="312" y="350"/>
                    </a:cubicBezTo>
                    <a:cubicBezTo>
                      <a:pt x="315" y="348"/>
                      <a:pt x="315" y="348"/>
                      <a:pt x="315" y="348"/>
                    </a:cubicBezTo>
                    <a:cubicBezTo>
                      <a:pt x="316" y="349"/>
                      <a:pt x="316" y="349"/>
                      <a:pt x="316" y="349"/>
                    </a:cubicBezTo>
                    <a:cubicBezTo>
                      <a:pt x="317" y="349"/>
                      <a:pt x="317" y="349"/>
                      <a:pt x="317" y="349"/>
                    </a:cubicBezTo>
                    <a:cubicBezTo>
                      <a:pt x="318" y="348"/>
                      <a:pt x="318" y="348"/>
                      <a:pt x="318" y="348"/>
                    </a:cubicBezTo>
                    <a:cubicBezTo>
                      <a:pt x="319" y="348"/>
                      <a:pt x="319" y="348"/>
                      <a:pt x="319" y="348"/>
                    </a:cubicBezTo>
                    <a:cubicBezTo>
                      <a:pt x="319" y="349"/>
                      <a:pt x="319" y="349"/>
                      <a:pt x="319" y="349"/>
                    </a:cubicBezTo>
                    <a:cubicBezTo>
                      <a:pt x="320" y="349"/>
                      <a:pt x="320" y="349"/>
                      <a:pt x="320" y="349"/>
                    </a:cubicBezTo>
                    <a:cubicBezTo>
                      <a:pt x="323" y="347"/>
                      <a:pt x="323" y="347"/>
                      <a:pt x="323" y="347"/>
                    </a:cubicBezTo>
                    <a:cubicBezTo>
                      <a:pt x="329" y="345"/>
                      <a:pt x="329" y="345"/>
                      <a:pt x="329" y="345"/>
                    </a:cubicBezTo>
                    <a:cubicBezTo>
                      <a:pt x="330" y="345"/>
                      <a:pt x="330" y="345"/>
                      <a:pt x="330" y="345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348"/>
                      <a:pt x="330" y="348"/>
                      <a:pt x="330" y="348"/>
                    </a:cubicBezTo>
                    <a:cubicBezTo>
                      <a:pt x="330" y="349"/>
                      <a:pt x="330" y="349"/>
                      <a:pt x="330" y="349"/>
                    </a:cubicBezTo>
                    <a:cubicBezTo>
                      <a:pt x="330" y="349"/>
                      <a:pt x="330" y="349"/>
                      <a:pt x="330" y="349"/>
                    </a:cubicBezTo>
                    <a:cubicBezTo>
                      <a:pt x="331" y="351"/>
                      <a:pt x="331" y="351"/>
                      <a:pt x="331" y="351"/>
                    </a:cubicBezTo>
                    <a:cubicBezTo>
                      <a:pt x="330" y="352"/>
                      <a:pt x="330" y="352"/>
                      <a:pt x="330" y="352"/>
                    </a:cubicBezTo>
                    <a:cubicBezTo>
                      <a:pt x="331" y="353"/>
                      <a:pt x="331" y="353"/>
                      <a:pt x="331" y="353"/>
                    </a:cubicBezTo>
                    <a:cubicBezTo>
                      <a:pt x="331" y="354"/>
                      <a:pt x="331" y="354"/>
                      <a:pt x="331" y="354"/>
                    </a:cubicBezTo>
                    <a:cubicBezTo>
                      <a:pt x="333" y="352"/>
                      <a:pt x="333" y="352"/>
                      <a:pt x="333" y="352"/>
                    </a:cubicBezTo>
                    <a:cubicBezTo>
                      <a:pt x="334" y="353"/>
                      <a:pt x="334" y="353"/>
                      <a:pt x="334" y="353"/>
                    </a:cubicBezTo>
                    <a:cubicBezTo>
                      <a:pt x="333" y="355"/>
                      <a:pt x="333" y="355"/>
                      <a:pt x="333" y="355"/>
                    </a:cubicBezTo>
                    <a:cubicBezTo>
                      <a:pt x="332" y="358"/>
                      <a:pt x="332" y="358"/>
                      <a:pt x="332" y="358"/>
                    </a:cubicBezTo>
                    <a:cubicBezTo>
                      <a:pt x="333" y="360"/>
                      <a:pt x="333" y="360"/>
                      <a:pt x="333" y="360"/>
                    </a:cubicBezTo>
                    <a:cubicBezTo>
                      <a:pt x="333" y="361"/>
                      <a:pt x="333" y="361"/>
                      <a:pt x="333" y="361"/>
                    </a:cubicBezTo>
                    <a:cubicBezTo>
                      <a:pt x="335" y="359"/>
                      <a:pt x="335" y="359"/>
                      <a:pt x="335" y="359"/>
                    </a:cubicBezTo>
                    <a:cubicBezTo>
                      <a:pt x="335" y="357"/>
                      <a:pt x="335" y="357"/>
                      <a:pt x="335" y="357"/>
                    </a:cubicBezTo>
                    <a:cubicBezTo>
                      <a:pt x="336" y="356"/>
                      <a:pt x="336" y="356"/>
                      <a:pt x="336" y="356"/>
                    </a:cubicBezTo>
                    <a:cubicBezTo>
                      <a:pt x="336" y="356"/>
                      <a:pt x="336" y="356"/>
                      <a:pt x="336" y="356"/>
                    </a:cubicBezTo>
                    <a:cubicBezTo>
                      <a:pt x="336" y="358"/>
                      <a:pt x="336" y="358"/>
                      <a:pt x="336" y="358"/>
                    </a:cubicBezTo>
                    <a:cubicBezTo>
                      <a:pt x="335" y="362"/>
                      <a:pt x="335" y="362"/>
                      <a:pt x="335" y="362"/>
                    </a:cubicBezTo>
                    <a:cubicBezTo>
                      <a:pt x="333" y="364"/>
                      <a:pt x="333" y="364"/>
                      <a:pt x="333" y="364"/>
                    </a:cubicBezTo>
                    <a:cubicBezTo>
                      <a:pt x="333" y="367"/>
                      <a:pt x="333" y="367"/>
                      <a:pt x="333" y="367"/>
                    </a:cubicBezTo>
                    <a:cubicBezTo>
                      <a:pt x="334" y="369"/>
                      <a:pt x="334" y="369"/>
                      <a:pt x="334" y="369"/>
                    </a:cubicBezTo>
                    <a:cubicBezTo>
                      <a:pt x="334" y="373"/>
                      <a:pt x="334" y="373"/>
                      <a:pt x="334" y="373"/>
                    </a:cubicBezTo>
                    <a:cubicBezTo>
                      <a:pt x="334" y="375"/>
                      <a:pt x="334" y="375"/>
                      <a:pt x="334" y="375"/>
                    </a:cubicBezTo>
                    <a:cubicBezTo>
                      <a:pt x="336" y="377"/>
                      <a:pt x="336" y="377"/>
                      <a:pt x="336" y="377"/>
                    </a:cubicBezTo>
                    <a:cubicBezTo>
                      <a:pt x="336" y="378"/>
                      <a:pt x="336" y="378"/>
                      <a:pt x="336" y="378"/>
                    </a:cubicBezTo>
                    <a:cubicBezTo>
                      <a:pt x="335" y="380"/>
                      <a:pt x="335" y="380"/>
                      <a:pt x="335" y="380"/>
                    </a:cubicBezTo>
                    <a:cubicBezTo>
                      <a:pt x="336" y="381"/>
                      <a:pt x="336" y="381"/>
                      <a:pt x="336" y="381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37" y="390"/>
                      <a:pt x="337" y="390"/>
                      <a:pt x="337" y="390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36" y="379"/>
                      <a:pt x="336" y="379"/>
                      <a:pt x="336" y="379"/>
                    </a:cubicBezTo>
                    <a:cubicBezTo>
                      <a:pt x="337" y="374"/>
                      <a:pt x="337" y="374"/>
                      <a:pt x="337" y="374"/>
                    </a:cubicBezTo>
                    <a:cubicBezTo>
                      <a:pt x="339" y="370"/>
                      <a:pt x="339" y="370"/>
                      <a:pt x="339" y="370"/>
                    </a:cubicBezTo>
                    <a:cubicBezTo>
                      <a:pt x="340" y="370"/>
                      <a:pt x="340" y="370"/>
                      <a:pt x="340" y="370"/>
                    </a:cubicBezTo>
                    <a:cubicBezTo>
                      <a:pt x="340" y="372"/>
                      <a:pt x="340" y="372"/>
                      <a:pt x="340" y="372"/>
                    </a:cubicBezTo>
                    <a:cubicBezTo>
                      <a:pt x="340" y="372"/>
                      <a:pt x="340" y="372"/>
                      <a:pt x="340" y="372"/>
                    </a:cubicBezTo>
                    <a:cubicBezTo>
                      <a:pt x="339" y="374"/>
                      <a:pt x="339" y="374"/>
                      <a:pt x="339" y="374"/>
                    </a:cubicBezTo>
                    <a:cubicBezTo>
                      <a:pt x="340" y="374"/>
                      <a:pt x="340" y="374"/>
                      <a:pt x="340" y="374"/>
                    </a:cubicBezTo>
                    <a:cubicBezTo>
                      <a:pt x="341" y="374"/>
                      <a:pt x="341" y="374"/>
                      <a:pt x="341" y="374"/>
                    </a:cubicBezTo>
                    <a:cubicBezTo>
                      <a:pt x="342" y="374"/>
                      <a:pt x="342" y="374"/>
                      <a:pt x="342" y="374"/>
                    </a:cubicBezTo>
                    <a:cubicBezTo>
                      <a:pt x="343" y="373"/>
                      <a:pt x="343" y="373"/>
                      <a:pt x="343" y="373"/>
                    </a:cubicBezTo>
                    <a:cubicBezTo>
                      <a:pt x="343" y="371"/>
                      <a:pt x="343" y="371"/>
                      <a:pt x="343" y="371"/>
                    </a:cubicBezTo>
                    <a:cubicBezTo>
                      <a:pt x="342" y="370"/>
                      <a:pt x="342" y="370"/>
                      <a:pt x="342" y="370"/>
                    </a:cubicBezTo>
                    <a:cubicBezTo>
                      <a:pt x="341" y="369"/>
                      <a:pt x="341" y="369"/>
                      <a:pt x="341" y="369"/>
                    </a:cubicBezTo>
                    <a:cubicBezTo>
                      <a:pt x="343" y="368"/>
                      <a:pt x="343" y="368"/>
                      <a:pt x="343" y="368"/>
                    </a:cubicBezTo>
                    <a:cubicBezTo>
                      <a:pt x="344" y="367"/>
                      <a:pt x="344" y="367"/>
                      <a:pt x="344" y="367"/>
                    </a:cubicBezTo>
                    <a:cubicBezTo>
                      <a:pt x="342" y="366"/>
                      <a:pt x="342" y="366"/>
                      <a:pt x="342" y="366"/>
                    </a:cubicBezTo>
                    <a:cubicBezTo>
                      <a:pt x="342" y="364"/>
                      <a:pt x="342" y="364"/>
                      <a:pt x="342" y="364"/>
                    </a:cubicBezTo>
                    <a:cubicBezTo>
                      <a:pt x="343" y="361"/>
                      <a:pt x="343" y="361"/>
                      <a:pt x="343" y="361"/>
                    </a:cubicBezTo>
                    <a:cubicBezTo>
                      <a:pt x="345" y="356"/>
                      <a:pt x="345" y="356"/>
                      <a:pt x="345" y="356"/>
                    </a:cubicBezTo>
                    <a:cubicBezTo>
                      <a:pt x="344" y="354"/>
                      <a:pt x="344" y="354"/>
                      <a:pt x="344" y="354"/>
                    </a:cubicBezTo>
                    <a:cubicBezTo>
                      <a:pt x="344" y="352"/>
                      <a:pt x="344" y="352"/>
                      <a:pt x="344" y="352"/>
                    </a:cubicBezTo>
                    <a:cubicBezTo>
                      <a:pt x="346" y="351"/>
                      <a:pt x="346" y="351"/>
                      <a:pt x="346" y="351"/>
                    </a:cubicBezTo>
                    <a:cubicBezTo>
                      <a:pt x="348" y="351"/>
                      <a:pt x="348" y="351"/>
                      <a:pt x="348" y="351"/>
                    </a:cubicBezTo>
                    <a:cubicBezTo>
                      <a:pt x="348" y="350"/>
                      <a:pt x="348" y="350"/>
                      <a:pt x="348" y="350"/>
                    </a:cubicBezTo>
                    <a:cubicBezTo>
                      <a:pt x="349" y="349"/>
                      <a:pt x="349" y="349"/>
                      <a:pt x="349" y="349"/>
                    </a:cubicBezTo>
                    <a:cubicBezTo>
                      <a:pt x="351" y="349"/>
                      <a:pt x="351" y="349"/>
                      <a:pt x="351" y="349"/>
                    </a:cubicBezTo>
                    <a:cubicBezTo>
                      <a:pt x="351" y="350"/>
                      <a:pt x="351" y="350"/>
                      <a:pt x="351" y="350"/>
                    </a:cubicBezTo>
                    <a:cubicBezTo>
                      <a:pt x="353" y="349"/>
                      <a:pt x="353" y="349"/>
                      <a:pt x="353" y="349"/>
                    </a:cubicBezTo>
                    <a:cubicBezTo>
                      <a:pt x="354" y="348"/>
                      <a:pt x="354" y="348"/>
                      <a:pt x="354" y="348"/>
                    </a:cubicBezTo>
                    <a:cubicBezTo>
                      <a:pt x="355" y="348"/>
                      <a:pt x="355" y="348"/>
                      <a:pt x="355" y="348"/>
                    </a:cubicBezTo>
                    <a:cubicBezTo>
                      <a:pt x="355" y="349"/>
                      <a:pt x="355" y="349"/>
                      <a:pt x="355" y="349"/>
                    </a:cubicBezTo>
                    <a:cubicBezTo>
                      <a:pt x="356" y="349"/>
                      <a:pt x="356" y="349"/>
                      <a:pt x="356" y="349"/>
                    </a:cubicBezTo>
                    <a:cubicBezTo>
                      <a:pt x="358" y="348"/>
                      <a:pt x="358" y="348"/>
                      <a:pt x="358" y="348"/>
                    </a:cubicBezTo>
                    <a:cubicBezTo>
                      <a:pt x="359" y="346"/>
                      <a:pt x="359" y="346"/>
                      <a:pt x="359" y="346"/>
                    </a:cubicBezTo>
                    <a:cubicBezTo>
                      <a:pt x="360" y="346"/>
                      <a:pt x="360" y="346"/>
                      <a:pt x="360" y="346"/>
                    </a:cubicBezTo>
                    <a:cubicBezTo>
                      <a:pt x="361" y="348"/>
                      <a:pt x="361" y="348"/>
                      <a:pt x="361" y="348"/>
                    </a:cubicBezTo>
                    <a:cubicBezTo>
                      <a:pt x="362" y="348"/>
                      <a:pt x="362" y="348"/>
                      <a:pt x="362" y="348"/>
                    </a:cubicBezTo>
                    <a:cubicBezTo>
                      <a:pt x="362" y="351"/>
                      <a:pt x="362" y="351"/>
                      <a:pt x="362" y="351"/>
                    </a:cubicBezTo>
                    <a:cubicBezTo>
                      <a:pt x="362" y="348"/>
                      <a:pt x="362" y="348"/>
                      <a:pt x="362" y="348"/>
                    </a:cubicBezTo>
                    <a:cubicBezTo>
                      <a:pt x="361" y="346"/>
                      <a:pt x="361" y="346"/>
                      <a:pt x="361" y="346"/>
                    </a:cubicBezTo>
                    <a:cubicBezTo>
                      <a:pt x="363" y="343"/>
                      <a:pt x="363" y="343"/>
                      <a:pt x="363" y="343"/>
                    </a:cubicBezTo>
                    <a:cubicBezTo>
                      <a:pt x="364" y="343"/>
                      <a:pt x="364" y="343"/>
                      <a:pt x="364" y="343"/>
                    </a:cubicBezTo>
                    <a:cubicBezTo>
                      <a:pt x="365" y="344"/>
                      <a:pt x="365" y="344"/>
                      <a:pt x="365" y="344"/>
                    </a:cubicBezTo>
                    <a:cubicBezTo>
                      <a:pt x="367" y="343"/>
                      <a:pt x="367" y="343"/>
                      <a:pt x="367" y="343"/>
                    </a:cubicBezTo>
                    <a:cubicBezTo>
                      <a:pt x="368" y="343"/>
                      <a:pt x="368" y="343"/>
                      <a:pt x="368" y="343"/>
                    </a:cubicBezTo>
                    <a:cubicBezTo>
                      <a:pt x="369" y="344"/>
                      <a:pt x="369" y="344"/>
                      <a:pt x="369" y="344"/>
                    </a:cubicBezTo>
                    <a:cubicBezTo>
                      <a:pt x="371" y="341"/>
                      <a:pt x="371" y="341"/>
                      <a:pt x="371" y="341"/>
                    </a:cubicBezTo>
                    <a:cubicBezTo>
                      <a:pt x="371" y="340"/>
                      <a:pt x="371" y="340"/>
                      <a:pt x="371" y="340"/>
                    </a:cubicBezTo>
                    <a:cubicBezTo>
                      <a:pt x="372" y="339"/>
                      <a:pt x="372" y="339"/>
                      <a:pt x="372" y="339"/>
                    </a:cubicBezTo>
                    <a:cubicBezTo>
                      <a:pt x="370" y="338"/>
                      <a:pt x="370" y="338"/>
                      <a:pt x="370" y="338"/>
                    </a:cubicBezTo>
                    <a:cubicBezTo>
                      <a:pt x="370" y="338"/>
                      <a:pt x="370" y="338"/>
                      <a:pt x="370" y="338"/>
                    </a:cubicBezTo>
                    <a:cubicBezTo>
                      <a:pt x="368" y="338"/>
                      <a:pt x="368" y="338"/>
                      <a:pt x="368" y="338"/>
                    </a:cubicBezTo>
                    <a:cubicBezTo>
                      <a:pt x="364" y="339"/>
                      <a:pt x="364" y="339"/>
                      <a:pt x="364" y="339"/>
                    </a:cubicBezTo>
                    <a:cubicBezTo>
                      <a:pt x="363" y="339"/>
                      <a:pt x="363" y="339"/>
                      <a:pt x="363" y="339"/>
                    </a:cubicBezTo>
                    <a:cubicBezTo>
                      <a:pt x="363" y="341"/>
                      <a:pt x="363" y="341"/>
                      <a:pt x="363" y="341"/>
                    </a:cubicBezTo>
                    <a:cubicBezTo>
                      <a:pt x="361" y="341"/>
                      <a:pt x="361" y="341"/>
                      <a:pt x="361" y="341"/>
                    </a:cubicBezTo>
                    <a:cubicBezTo>
                      <a:pt x="361" y="342"/>
                      <a:pt x="361" y="342"/>
                      <a:pt x="361" y="342"/>
                    </a:cubicBezTo>
                    <a:cubicBezTo>
                      <a:pt x="361" y="343"/>
                      <a:pt x="361" y="343"/>
                      <a:pt x="361" y="343"/>
                    </a:cubicBezTo>
                    <a:cubicBezTo>
                      <a:pt x="359" y="341"/>
                      <a:pt x="359" y="341"/>
                      <a:pt x="359" y="341"/>
                    </a:cubicBezTo>
                    <a:cubicBezTo>
                      <a:pt x="359" y="339"/>
                      <a:pt x="359" y="339"/>
                      <a:pt x="359" y="339"/>
                    </a:cubicBezTo>
                    <a:cubicBezTo>
                      <a:pt x="358" y="340"/>
                      <a:pt x="358" y="340"/>
                      <a:pt x="358" y="340"/>
                    </a:cubicBezTo>
                    <a:cubicBezTo>
                      <a:pt x="358" y="342"/>
                      <a:pt x="358" y="342"/>
                      <a:pt x="358" y="342"/>
                    </a:cubicBezTo>
                    <a:cubicBezTo>
                      <a:pt x="356" y="343"/>
                      <a:pt x="356" y="343"/>
                      <a:pt x="356" y="343"/>
                    </a:cubicBezTo>
                    <a:cubicBezTo>
                      <a:pt x="355" y="341"/>
                      <a:pt x="355" y="341"/>
                      <a:pt x="355" y="341"/>
                    </a:cubicBezTo>
                    <a:cubicBezTo>
                      <a:pt x="353" y="341"/>
                      <a:pt x="353" y="341"/>
                      <a:pt x="353" y="341"/>
                    </a:cubicBezTo>
                    <a:cubicBezTo>
                      <a:pt x="353" y="340"/>
                      <a:pt x="353" y="340"/>
                      <a:pt x="353" y="340"/>
                    </a:cubicBezTo>
                    <a:cubicBezTo>
                      <a:pt x="352" y="341"/>
                      <a:pt x="352" y="341"/>
                      <a:pt x="352" y="341"/>
                    </a:cubicBezTo>
                    <a:cubicBezTo>
                      <a:pt x="351" y="342"/>
                      <a:pt x="351" y="342"/>
                      <a:pt x="351" y="342"/>
                    </a:cubicBezTo>
                    <a:cubicBezTo>
                      <a:pt x="353" y="343"/>
                      <a:pt x="353" y="343"/>
                      <a:pt x="353" y="343"/>
                    </a:cubicBezTo>
                    <a:cubicBezTo>
                      <a:pt x="353" y="344"/>
                      <a:pt x="353" y="344"/>
                      <a:pt x="353" y="344"/>
                    </a:cubicBezTo>
                    <a:cubicBezTo>
                      <a:pt x="351" y="345"/>
                      <a:pt x="351" y="345"/>
                      <a:pt x="351" y="345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48" y="344"/>
                      <a:pt x="348" y="344"/>
                      <a:pt x="348" y="344"/>
                    </a:cubicBezTo>
                    <a:cubicBezTo>
                      <a:pt x="347" y="343"/>
                      <a:pt x="347" y="343"/>
                      <a:pt x="347" y="343"/>
                    </a:cubicBezTo>
                    <a:cubicBezTo>
                      <a:pt x="348" y="342"/>
                      <a:pt x="348" y="342"/>
                      <a:pt x="348" y="342"/>
                    </a:cubicBezTo>
                    <a:cubicBezTo>
                      <a:pt x="349" y="340"/>
                      <a:pt x="349" y="340"/>
                      <a:pt x="349" y="340"/>
                    </a:cubicBezTo>
                    <a:cubicBezTo>
                      <a:pt x="348" y="340"/>
                      <a:pt x="348" y="340"/>
                      <a:pt x="348" y="340"/>
                    </a:cubicBezTo>
                    <a:cubicBezTo>
                      <a:pt x="347" y="341"/>
                      <a:pt x="347" y="341"/>
                      <a:pt x="347" y="341"/>
                    </a:cubicBezTo>
                    <a:cubicBezTo>
                      <a:pt x="346" y="340"/>
                      <a:pt x="346" y="340"/>
                      <a:pt x="346" y="340"/>
                    </a:cubicBezTo>
                    <a:cubicBezTo>
                      <a:pt x="346" y="338"/>
                      <a:pt x="346" y="338"/>
                      <a:pt x="346" y="338"/>
                    </a:cubicBezTo>
                    <a:cubicBezTo>
                      <a:pt x="348" y="337"/>
                      <a:pt x="348" y="337"/>
                      <a:pt x="348" y="337"/>
                    </a:cubicBezTo>
                    <a:cubicBezTo>
                      <a:pt x="351" y="334"/>
                      <a:pt x="351" y="334"/>
                      <a:pt x="351" y="334"/>
                    </a:cubicBezTo>
                    <a:cubicBezTo>
                      <a:pt x="352" y="334"/>
                      <a:pt x="352" y="334"/>
                      <a:pt x="352" y="334"/>
                    </a:cubicBezTo>
                    <a:cubicBezTo>
                      <a:pt x="354" y="334"/>
                      <a:pt x="354" y="334"/>
                      <a:pt x="354" y="334"/>
                    </a:cubicBezTo>
                    <a:cubicBezTo>
                      <a:pt x="361" y="334"/>
                      <a:pt x="361" y="334"/>
                      <a:pt x="361" y="334"/>
                    </a:cubicBezTo>
                    <a:cubicBezTo>
                      <a:pt x="366" y="332"/>
                      <a:pt x="366" y="332"/>
                      <a:pt x="366" y="332"/>
                    </a:cubicBezTo>
                    <a:cubicBezTo>
                      <a:pt x="368" y="333"/>
                      <a:pt x="368" y="333"/>
                      <a:pt x="368" y="333"/>
                    </a:cubicBezTo>
                    <a:cubicBezTo>
                      <a:pt x="370" y="332"/>
                      <a:pt x="370" y="332"/>
                      <a:pt x="370" y="332"/>
                    </a:cubicBezTo>
                    <a:cubicBezTo>
                      <a:pt x="371" y="333"/>
                      <a:pt x="371" y="333"/>
                      <a:pt x="371" y="333"/>
                    </a:cubicBezTo>
                    <a:cubicBezTo>
                      <a:pt x="372" y="334"/>
                      <a:pt x="372" y="334"/>
                      <a:pt x="372" y="334"/>
                    </a:cubicBezTo>
                    <a:cubicBezTo>
                      <a:pt x="373" y="334"/>
                      <a:pt x="373" y="334"/>
                      <a:pt x="373" y="334"/>
                    </a:cubicBezTo>
                    <a:cubicBezTo>
                      <a:pt x="374" y="336"/>
                      <a:pt x="374" y="336"/>
                      <a:pt x="374" y="336"/>
                    </a:cubicBezTo>
                    <a:cubicBezTo>
                      <a:pt x="373" y="340"/>
                      <a:pt x="373" y="340"/>
                      <a:pt x="373" y="340"/>
                    </a:cubicBezTo>
                    <a:cubicBezTo>
                      <a:pt x="373" y="341"/>
                      <a:pt x="373" y="341"/>
                      <a:pt x="373" y="341"/>
                    </a:cubicBezTo>
                    <a:cubicBezTo>
                      <a:pt x="374" y="342"/>
                      <a:pt x="374" y="342"/>
                      <a:pt x="374" y="342"/>
                    </a:cubicBezTo>
                    <a:cubicBezTo>
                      <a:pt x="374" y="343"/>
                      <a:pt x="374" y="343"/>
                      <a:pt x="374" y="343"/>
                    </a:cubicBezTo>
                    <a:cubicBezTo>
                      <a:pt x="372" y="344"/>
                      <a:pt x="372" y="344"/>
                      <a:pt x="372" y="344"/>
                    </a:cubicBezTo>
                    <a:cubicBezTo>
                      <a:pt x="372" y="344"/>
                      <a:pt x="372" y="344"/>
                      <a:pt x="372" y="344"/>
                    </a:cubicBezTo>
                    <a:cubicBezTo>
                      <a:pt x="373" y="345"/>
                      <a:pt x="373" y="345"/>
                      <a:pt x="373" y="345"/>
                    </a:cubicBezTo>
                    <a:cubicBezTo>
                      <a:pt x="373" y="349"/>
                      <a:pt x="373" y="349"/>
                      <a:pt x="373" y="349"/>
                    </a:cubicBezTo>
                    <a:cubicBezTo>
                      <a:pt x="375" y="349"/>
                      <a:pt x="375" y="349"/>
                      <a:pt x="375" y="349"/>
                    </a:cubicBezTo>
                    <a:cubicBezTo>
                      <a:pt x="376" y="349"/>
                      <a:pt x="376" y="349"/>
                      <a:pt x="376" y="349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4" y="351"/>
                      <a:pt x="374" y="351"/>
                      <a:pt x="374" y="351"/>
                    </a:cubicBezTo>
                    <a:cubicBezTo>
                      <a:pt x="374" y="353"/>
                      <a:pt x="374" y="353"/>
                      <a:pt x="374" y="353"/>
                    </a:cubicBezTo>
                    <a:cubicBezTo>
                      <a:pt x="374" y="354"/>
                      <a:pt x="374" y="354"/>
                      <a:pt x="374" y="354"/>
                    </a:cubicBezTo>
                    <a:cubicBezTo>
                      <a:pt x="375" y="354"/>
                      <a:pt x="375" y="354"/>
                      <a:pt x="375" y="354"/>
                    </a:cubicBezTo>
                    <a:cubicBezTo>
                      <a:pt x="377" y="355"/>
                      <a:pt x="377" y="355"/>
                      <a:pt x="377" y="355"/>
                    </a:cubicBezTo>
                    <a:cubicBezTo>
                      <a:pt x="378" y="356"/>
                      <a:pt x="378" y="356"/>
                      <a:pt x="378" y="356"/>
                    </a:cubicBezTo>
                    <a:cubicBezTo>
                      <a:pt x="378" y="355"/>
                      <a:pt x="378" y="355"/>
                      <a:pt x="378" y="355"/>
                    </a:cubicBezTo>
                    <a:cubicBezTo>
                      <a:pt x="380" y="357"/>
                      <a:pt x="380" y="357"/>
                      <a:pt x="380" y="357"/>
                    </a:cubicBezTo>
                    <a:cubicBezTo>
                      <a:pt x="382" y="357"/>
                      <a:pt x="382" y="357"/>
                      <a:pt x="382" y="357"/>
                    </a:cubicBezTo>
                    <a:cubicBezTo>
                      <a:pt x="383" y="356"/>
                      <a:pt x="383" y="356"/>
                      <a:pt x="383" y="356"/>
                    </a:cubicBezTo>
                    <a:cubicBezTo>
                      <a:pt x="384" y="356"/>
                      <a:pt x="384" y="356"/>
                      <a:pt x="384" y="356"/>
                    </a:cubicBezTo>
                    <a:cubicBezTo>
                      <a:pt x="384" y="358"/>
                      <a:pt x="384" y="358"/>
                      <a:pt x="384" y="358"/>
                    </a:cubicBezTo>
                    <a:cubicBezTo>
                      <a:pt x="384" y="358"/>
                      <a:pt x="384" y="358"/>
                      <a:pt x="384" y="358"/>
                    </a:cubicBezTo>
                    <a:cubicBezTo>
                      <a:pt x="385" y="358"/>
                      <a:pt x="385" y="358"/>
                      <a:pt x="385" y="358"/>
                    </a:cubicBezTo>
                    <a:cubicBezTo>
                      <a:pt x="386" y="359"/>
                      <a:pt x="386" y="359"/>
                      <a:pt x="386" y="359"/>
                    </a:cubicBezTo>
                    <a:cubicBezTo>
                      <a:pt x="386" y="360"/>
                      <a:pt x="386" y="360"/>
                      <a:pt x="386" y="360"/>
                    </a:cubicBezTo>
                    <a:cubicBezTo>
                      <a:pt x="386" y="361"/>
                      <a:pt x="386" y="361"/>
                      <a:pt x="386" y="361"/>
                    </a:cubicBezTo>
                    <a:cubicBezTo>
                      <a:pt x="387" y="362"/>
                      <a:pt x="387" y="362"/>
                      <a:pt x="387" y="362"/>
                    </a:cubicBezTo>
                    <a:cubicBezTo>
                      <a:pt x="387" y="363"/>
                      <a:pt x="387" y="363"/>
                      <a:pt x="387" y="363"/>
                    </a:cubicBezTo>
                    <a:cubicBezTo>
                      <a:pt x="390" y="365"/>
                      <a:pt x="390" y="365"/>
                      <a:pt x="390" y="365"/>
                    </a:cubicBezTo>
                    <a:cubicBezTo>
                      <a:pt x="390" y="367"/>
                      <a:pt x="390" y="367"/>
                      <a:pt x="390" y="367"/>
                    </a:cubicBezTo>
                    <a:cubicBezTo>
                      <a:pt x="392" y="365"/>
                      <a:pt x="392" y="365"/>
                      <a:pt x="392" y="365"/>
                    </a:cubicBezTo>
                    <a:cubicBezTo>
                      <a:pt x="392" y="366"/>
                      <a:pt x="392" y="366"/>
                      <a:pt x="392" y="366"/>
                    </a:cubicBezTo>
                    <a:cubicBezTo>
                      <a:pt x="393" y="368"/>
                      <a:pt x="393" y="368"/>
                      <a:pt x="393" y="368"/>
                    </a:cubicBezTo>
                    <a:cubicBezTo>
                      <a:pt x="393" y="368"/>
                      <a:pt x="393" y="368"/>
                      <a:pt x="393" y="368"/>
                    </a:cubicBezTo>
                    <a:cubicBezTo>
                      <a:pt x="395" y="370"/>
                      <a:pt x="395" y="370"/>
                      <a:pt x="395" y="370"/>
                    </a:cubicBezTo>
                    <a:cubicBezTo>
                      <a:pt x="397" y="368"/>
                      <a:pt x="397" y="368"/>
                      <a:pt x="397" y="368"/>
                    </a:cubicBezTo>
                    <a:cubicBezTo>
                      <a:pt x="401" y="369"/>
                      <a:pt x="401" y="369"/>
                      <a:pt x="401" y="369"/>
                    </a:cubicBezTo>
                    <a:cubicBezTo>
                      <a:pt x="402" y="367"/>
                      <a:pt x="402" y="367"/>
                      <a:pt x="402" y="367"/>
                    </a:cubicBezTo>
                    <a:cubicBezTo>
                      <a:pt x="404" y="366"/>
                      <a:pt x="404" y="366"/>
                      <a:pt x="404" y="366"/>
                    </a:cubicBezTo>
                    <a:cubicBezTo>
                      <a:pt x="405" y="366"/>
                      <a:pt x="405" y="366"/>
                      <a:pt x="405" y="366"/>
                    </a:cubicBezTo>
                    <a:cubicBezTo>
                      <a:pt x="405" y="367"/>
                      <a:pt x="405" y="367"/>
                      <a:pt x="405" y="367"/>
                    </a:cubicBezTo>
                    <a:cubicBezTo>
                      <a:pt x="409" y="367"/>
                      <a:pt x="409" y="367"/>
                      <a:pt x="409" y="367"/>
                    </a:cubicBezTo>
                    <a:cubicBezTo>
                      <a:pt x="412" y="369"/>
                      <a:pt x="412" y="369"/>
                      <a:pt x="412" y="369"/>
                    </a:cubicBezTo>
                    <a:cubicBezTo>
                      <a:pt x="414" y="370"/>
                      <a:pt x="414" y="370"/>
                      <a:pt x="414" y="370"/>
                    </a:cubicBezTo>
                    <a:cubicBezTo>
                      <a:pt x="415" y="371"/>
                      <a:pt x="415" y="371"/>
                      <a:pt x="415" y="371"/>
                    </a:cubicBezTo>
                    <a:cubicBezTo>
                      <a:pt x="416" y="370"/>
                      <a:pt x="416" y="370"/>
                      <a:pt x="416" y="370"/>
                    </a:cubicBezTo>
                    <a:cubicBezTo>
                      <a:pt x="419" y="369"/>
                      <a:pt x="419" y="369"/>
                      <a:pt x="419" y="369"/>
                    </a:cubicBezTo>
                    <a:cubicBezTo>
                      <a:pt x="421" y="371"/>
                      <a:pt x="421" y="371"/>
                      <a:pt x="421" y="371"/>
                    </a:cubicBezTo>
                    <a:cubicBezTo>
                      <a:pt x="422" y="371"/>
                      <a:pt x="422" y="371"/>
                      <a:pt x="422" y="371"/>
                    </a:cubicBezTo>
                    <a:cubicBezTo>
                      <a:pt x="421" y="368"/>
                      <a:pt x="421" y="368"/>
                      <a:pt x="421" y="368"/>
                    </a:cubicBezTo>
                    <a:cubicBezTo>
                      <a:pt x="420" y="367"/>
                      <a:pt x="420" y="367"/>
                      <a:pt x="420" y="367"/>
                    </a:cubicBezTo>
                    <a:cubicBezTo>
                      <a:pt x="419" y="364"/>
                      <a:pt x="419" y="364"/>
                      <a:pt x="419" y="364"/>
                    </a:cubicBezTo>
                    <a:cubicBezTo>
                      <a:pt x="420" y="363"/>
                      <a:pt x="420" y="363"/>
                      <a:pt x="420" y="363"/>
                    </a:cubicBezTo>
                    <a:cubicBezTo>
                      <a:pt x="421" y="363"/>
                      <a:pt x="421" y="363"/>
                      <a:pt x="421" y="363"/>
                    </a:cubicBezTo>
                    <a:cubicBezTo>
                      <a:pt x="422" y="367"/>
                      <a:pt x="422" y="367"/>
                      <a:pt x="422" y="367"/>
                    </a:cubicBezTo>
                    <a:cubicBezTo>
                      <a:pt x="423" y="369"/>
                      <a:pt x="423" y="369"/>
                      <a:pt x="423" y="369"/>
                    </a:cubicBezTo>
                    <a:cubicBezTo>
                      <a:pt x="425" y="372"/>
                      <a:pt x="425" y="372"/>
                      <a:pt x="425" y="372"/>
                    </a:cubicBezTo>
                    <a:cubicBezTo>
                      <a:pt x="427" y="373"/>
                      <a:pt x="427" y="373"/>
                      <a:pt x="427" y="373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8" y="372"/>
                      <a:pt x="428" y="372"/>
                      <a:pt x="428" y="372"/>
                    </a:cubicBezTo>
                    <a:cubicBezTo>
                      <a:pt x="427" y="370"/>
                      <a:pt x="427" y="370"/>
                      <a:pt x="427" y="370"/>
                    </a:cubicBezTo>
                    <a:cubicBezTo>
                      <a:pt x="424" y="369"/>
                      <a:pt x="424" y="369"/>
                      <a:pt x="424" y="369"/>
                    </a:cubicBezTo>
                    <a:cubicBezTo>
                      <a:pt x="423" y="366"/>
                      <a:pt x="423" y="366"/>
                      <a:pt x="423" y="366"/>
                    </a:cubicBezTo>
                    <a:cubicBezTo>
                      <a:pt x="422" y="362"/>
                      <a:pt x="422" y="362"/>
                      <a:pt x="422" y="362"/>
                    </a:cubicBezTo>
                    <a:cubicBezTo>
                      <a:pt x="423" y="361"/>
                      <a:pt x="423" y="361"/>
                      <a:pt x="423" y="361"/>
                    </a:cubicBezTo>
                    <a:cubicBezTo>
                      <a:pt x="424" y="361"/>
                      <a:pt x="424" y="361"/>
                      <a:pt x="424" y="361"/>
                    </a:cubicBezTo>
                    <a:cubicBezTo>
                      <a:pt x="424" y="362"/>
                      <a:pt x="424" y="362"/>
                      <a:pt x="424" y="362"/>
                    </a:cubicBezTo>
                    <a:cubicBezTo>
                      <a:pt x="424" y="363"/>
                      <a:pt x="424" y="363"/>
                      <a:pt x="424" y="363"/>
                    </a:cubicBezTo>
                    <a:cubicBezTo>
                      <a:pt x="425" y="362"/>
                      <a:pt x="425" y="362"/>
                      <a:pt x="425" y="362"/>
                    </a:cubicBezTo>
                    <a:cubicBezTo>
                      <a:pt x="425" y="361"/>
                      <a:pt x="425" y="361"/>
                      <a:pt x="425" y="361"/>
                    </a:cubicBezTo>
                    <a:cubicBezTo>
                      <a:pt x="425" y="359"/>
                      <a:pt x="425" y="359"/>
                      <a:pt x="425" y="359"/>
                    </a:cubicBezTo>
                    <a:cubicBezTo>
                      <a:pt x="425" y="358"/>
                      <a:pt x="425" y="358"/>
                      <a:pt x="425" y="358"/>
                    </a:cubicBezTo>
                    <a:cubicBezTo>
                      <a:pt x="425" y="357"/>
                      <a:pt x="425" y="357"/>
                      <a:pt x="425" y="357"/>
                    </a:cubicBezTo>
                    <a:cubicBezTo>
                      <a:pt x="425" y="356"/>
                      <a:pt x="425" y="356"/>
                      <a:pt x="425" y="356"/>
                    </a:cubicBezTo>
                    <a:cubicBezTo>
                      <a:pt x="426" y="356"/>
                      <a:pt x="426" y="356"/>
                      <a:pt x="426" y="356"/>
                    </a:cubicBezTo>
                    <a:cubicBezTo>
                      <a:pt x="428" y="358"/>
                      <a:pt x="428" y="358"/>
                      <a:pt x="428" y="358"/>
                    </a:cubicBezTo>
                    <a:cubicBezTo>
                      <a:pt x="427" y="359"/>
                      <a:pt x="427" y="359"/>
                      <a:pt x="427" y="359"/>
                    </a:cubicBezTo>
                    <a:cubicBezTo>
                      <a:pt x="428" y="359"/>
                      <a:pt x="428" y="359"/>
                      <a:pt x="428" y="359"/>
                    </a:cubicBezTo>
                    <a:cubicBezTo>
                      <a:pt x="429" y="359"/>
                      <a:pt x="429" y="359"/>
                      <a:pt x="429" y="359"/>
                    </a:cubicBezTo>
                    <a:cubicBezTo>
                      <a:pt x="431" y="357"/>
                      <a:pt x="431" y="357"/>
                      <a:pt x="431" y="357"/>
                    </a:cubicBezTo>
                    <a:cubicBezTo>
                      <a:pt x="431" y="356"/>
                      <a:pt x="431" y="356"/>
                      <a:pt x="431" y="356"/>
                    </a:cubicBezTo>
                    <a:cubicBezTo>
                      <a:pt x="433" y="356"/>
                      <a:pt x="433" y="356"/>
                      <a:pt x="433" y="356"/>
                    </a:cubicBezTo>
                    <a:cubicBezTo>
                      <a:pt x="434" y="357"/>
                      <a:pt x="434" y="357"/>
                      <a:pt x="434" y="357"/>
                    </a:cubicBezTo>
                    <a:cubicBezTo>
                      <a:pt x="433" y="358"/>
                      <a:pt x="433" y="358"/>
                      <a:pt x="433" y="358"/>
                    </a:cubicBezTo>
                    <a:cubicBezTo>
                      <a:pt x="433" y="359"/>
                      <a:pt x="433" y="359"/>
                      <a:pt x="433" y="359"/>
                    </a:cubicBezTo>
                    <a:cubicBezTo>
                      <a:pt x="434" y="358"/>
                      <a:pt x="434" y="358"/>
                      <a:pt x="434" y="358"/>
                    </a:cubicBezTo>
                    <a:cubicBezTo>
                      <a:pt x="435" y="358"/>
                      <a:pt x="435" y="358"/>
                      <a:pt x="435" y="358"/>
                    </a:cubicBezTo>
                    <a:cubicBezTo>
                      <a:pt x="436" y="359"/>
                      <a:pt x="436" y="359"/>
                      <a:pt x="436" y="359"/>
                    </a:cubicBezTo>
                    <a:cubicBezTo>
                      <a:pt x="436" y="361"/>
                      <a:pt x="436" y="361"/>
                      <a:pt x="436" y="361"/>
                    </a:cubicBezTo>
                    <a:cubicBezTo>
                      <a:pt x="435" y="363"/>
                      <a:pt x="435" y="363"/>
                      <a:pt x="435" y="363"/>
                    </a:cubicBezTo>
                    <a:cubicBezTo>
                      <a:pt x="436" y="364"/>
                      <a:pt x="436" y="364"/>
                      <a:pt x="436" y="364"/>
                    </a:cubicBezTo>
                    <a:cubicBezTo>
                      <a:pt x="438" y="364"/>
                      <a:pt x="438" y="364"/>
                      <a:pt x="438" y="364"/>
                    </a:cubicBezTo>
                    <a:cubicBezTo>
                      <a:pt x="439" y="364"/>
                      <a:pt x="439" y="364"/>
                      <a:pt x="439" y="364"/>
                    </a:cubicBezTo>
                    <a:cubicBezTo>
                      <a:pt x="439" y="366"/>
                      <a:pt x="439" y="366"/>
                      <a:pt x="439" y="366"/>
                    </a:cubicBezTo>
                    <a:cubicBezTo>
                      <a:pt x="436" y="367"/>
                      <a:pt x="436" y="367"/>
                      <a:pt x="436" y="367"/>
                    </a:cubicBezTo>
                    <a:cubicBezTo>
                      <a:pt x="436" y="368"/>
                      <a:pt x="436" y="368"/>
                      <a:pt x="436" y="368"/>
                    </a:cubicBezTo>
                    <a:cubicBezTo>
                      <a:pt x="437" y="368"/>
                      <a:pt x="437" y="368"/>
                      <a:pt x="437" y="368"/>
                    </a:cubicBezTo>
                    <a:cubicBezTo>
                      <a:pt x="440" y="367"/>
                      <a:pt x="440" y="367"/>
                      <a:pt x="440" y="367"/>
                    </a:cubicBezTo>
                    <a:cubicBezTo>
                      <a:pt x="441" y="365"/>
                      <a:pt x="441" y="365"/>
                      <a:pt x="441" y="365"/>
                    </a:cubicBezTo>
                    <a:cubicBezTo>
                      <a:pt x="443" y="364"/>
                      <a:pt x="443" y="364"/>
                      <a:pt x="443" y="364"/>
                    </a:cubicBezTo>
                    <a:cubicBezTo>
                      <a:pt x="445" y="364"/>
                      <a:pt x="445" y="364"/>
                      <a:pt x="445" y="364"/>
                    </a:cubicBezTo>
                    <a:cubicBezTo>
                      <a:pt x="445" y="365"/>
                      <a:pt x="445" y="365"/>
                      <a:pt x="445" y="365"/>
                    </a:cubicBezTo>
                    <a:cubicBezTo>
                      <a:pt x="444" y="365"/>
                      <a:pt x="444" y="365"/>
                      <a:pt x="444" y="365"/>
                    </a:cubicBezTo>
                    <a:cubicBezTo>
                      <a:pt x="443" y="366"/>
                      <a:pt x="443" y="366"/>
                      <a:pt x="443" y="366"/>
                    </a:cubicBezTo>
                    <a:cubicBezTo>
                      <a:pt x="442" y="369"/>
                      <a:pt x="442" y="369"/>
                      <a:pt x="442" y="369"/>
                    </a:cubicBezTo>
                    <a:cubicBezTo>
                      <a:pt x="439" y="371"/>
                      <a:pt x="439" y="371"/>
                      <a:pt x="439" y="371"/>
                    </a:cubicBezTo>
                    <a:cubicBezTo>
                      <a:pt x="439" y="372"/>
                      <a:pt x="439" y="372"/>
                      <a:pt x="439" y="372"/>
                    </a:cubicBezTo>
                    <a:cubicBezTo>
                      <a:pt x="436" y="374"/>
                      <a:pt x="436" y="374"/>
                      <a:pt x="436" y="374"/>
                    </a:cubicBezTo>
                    <a:cubicBezTo>
                      <a:pt x="436" y="376"/>
                      <a:pt x="436" y="376"/>
                      <a:pt x="436" y="376"/>
                    </a:cubicBezTo>
                    <a:cubicBezTo>
                      <a:pt x="436" y="377"/>
                      <a:pt x="436" y="377"/>
                      <a:pt x="436" y="377"/>
                    </a:cubicBezTo>
                    <a:cubicBezTo>
                      <a:pt x="435" y="375"/>
                      <a:pt x="435" y="375"/>
                      <a:pt x="435" y="375"/>
                    </a:cubicBezTo>
                    <a:cubicBezTo>
                      <a:pt x="434" y="377"/>
                      <a:pt x="434" y="377"/>
                      <a:pt x="434" y="377"/>
                    </a:cubicBezTo>
                    <a:cubicBezTo>
                      <a:pt x="433" y="380"/>
                      <a:pt x="433" y="380"/>
                      <a:pt x="433" y="380"/>
                    </a:cubicBezTo>
                    <a:cubicBezTo>
                      <a:pt x="434" y="381"/>
                      <a:pt x="434" y="381"/>
                      <a:pt x="434" y="381"/>
                    </a:cubicBezTo>
                    <a:cubicBezTo>
                      <a:pt x="435" y="381"/>
                      <a:pt x="435" y="381"/>
                      <a:pt x="435" y="381"/>
                    </a:cubicBezTo>
                    <a:cubicBezTo>
                      <a:pt x="436" y="381"/>
                      <a:pt x="436" y="381"/>
                      <a:pt x="436" y="381"/>
                    </a:cubicBezTo>
                    <a:cubicBezTo>
                      <a:pt x="436" y="382"/>
                      <a:pt x="436" y="382"/>
                      <a:pt x="436" y="382"/>
                    </a:cubicBezTo>
                    <a:cubicBezTo>
                      <a:pt x="434" y="384"/>
                      <a:pt x="434" y="384"/>
                      <a:pt x="434" y="384"/>
                    </a:cubicBezTo>
                    <a:cubicBezTo>
                      <a:pt x="434" y="385"/>
                      <a:pt x="434" y="385"/>
                      <a:pt x="434" y="385"/>
                    </a:cubicBezTo>
                    <a:cubicBezTo>
                      <a:pt x="437" y="384"/>
                      <a:pt x="437" y="384"/>
                      <a:pt x="437" y="384"/>
                    </a:cubicBezTo>
                    <a:cubicBezTo>
                      <a:pt x="438" y="383"/>
                      <a:pt x="438" y="383"/>
                      <a:pt x="438" y="383"/>
                    </a:cubicBezTo>
                    <a:cubicBezTo>
                      <a:pt x="439" y="383"/>
                      <a:pt x="439" y="383"/>
                      <a:pt x="439" y="383"/>
                    </a:cubicBezTo>
                    <a:cubicBezTo>
                      <a:pt x="438" y="385"/>
                      <a:pt x="438" y="385"/>
                      <a:pt x="438" y="385"/>
                    </a:cubicBezTo>
                    <a:cubicBezTo>
                      <a:pt x="437" y="386"/>
                      <a:pt x="437" y="386"/>
                      <a:pt x="437" y="386"/>
                    </a:cubicBezTo>
                    <a:cubicBezTo>
                      <a:pt x="438" y="386"/>
                      <a:pt x="438" y="386"/>
                      <a:pt x="438" y="386"/>
                    </a:cubicBezTo>
                    <a:cubicBezTo>
                      <a:pt x="439" y="386"/>
                      <a:pt x="439" y="386"/>
                      <a:pt x="439" y="386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8" y="390"/>
                      <a:pt x="438" y="390"/>
                      <a:pt x="438" y="390"/>
                    </a:cubicBezTo>
                    <a:cubicBezTo>
                      <a:pt x="437" y="391"/>
                      <a:pt x="437" y="391"/>
                      <a:pt x="437" y="391"/>
                    </a:cubicBezTo>
                    <a:cubicBezTo>
                      <a:pt x="435" y="390"/>
                      <a:pt x="435" y="390"/>
                      <a:pt x="435" y="390"/>
                    </a:cubicBezTo>
                    <a:cubicBezTo>
                      <a:pt x="434" y="388"/>
                      <a:pt x="434" y="388"/>
                      <a:pt x="434" y="388"/>
                    </a:cubicBezTo>
                    <a:cubicBezTo>
                      <a:pt x="432" y="389"/>
                      <a:pt x="432" y="389"/>
                      <a:pt x="432" y="389"/>
                    </a:cubicBezTo>
                    <a:cubicBezTo>
                      <a:pt x="431" y="387"/>
                      <a:pt x="431" y="387"/>
                      <a:pt x="431" y="387"/>
                    </a:cubicBezTo>
                    <a:cubicBezTo>
                      <a:pt x="430" y="387"/>
                      <a:pt x="430" y="387"/>
                      <a:pt x="430" y="387"/>
                    </a:cubicBezTo>
                    <a:cubicBezTo>
                      <a:pt x="429" y="390"/>
                      <a:pt x="429" y="390"/>
                      <a:pt x="429" y="390"/>
                    </a:cubicBezTo>
                    <a:cubicBezTo>
                      <a:pt x="431" y="391"/>
                      <a:pt x="431" y="391"/>
                      <a:pt x="431" y="391"/>
                    </a:cubicBezTo>
                    <a:cubicBezTo>
                      <a:pt x="431" y="394"/>
                      <a:pt x="431" y="394"/>
                      <a:pt x="431" y="394"/>
                    </a:cubicBezTo>
                    <a:cubicBezTo>
                      <a:pt x="431" y="398"/>
                      <a:pt x="431" y="398"/>
                      <a:pt x="431" y="398"/>
                    </a:cubicBezTo>
                    <a:cubicBezTo>
                      <a:pt x="432" y="394"/>
                      <a:pt x="432" y="394"/>
                      <a:pt x="432" y="394"/>
                    </a:cubicBezTo>
                    <a:cubicBezTo>
                      <a:pt x="432" y="391"/>
                      <a:pt x="432" y="391"/>
                      <a:pt x="432" y="391"/>
                    </a:cubicBezTo>
                    <a:cubicBezTo>
                      <a:pt x="433" y="390"/>
                      <a:pt x="433" y="390"/>
                      <a:pt x="433" y="390"/>
                    </a:cubicBezTo>
                    <a:cubicBezTo>
                      <a:pt x="434" y="391"/>
                      <a:pt x="434" y="391"/>
                      <a:pt x="434" y="391"/>
                    </a:cubicBezTo>
                    <a:cubicBezTo>
                      <a:pt x="436" y="392"/>
                      <a:pt x="436" y="392"/>
                      <a:pt x="436" y="392"/>
                    </a:cubicBezTo>
                    <a:cubicBezTo>
                      <a:pt x="438" y="393"/>
                      <a:pt x="438" y="393"/>
                      <a:pt x="438" y="393"/>
                    </a:cubicBezTo>
                    <a:cubicBezTo>
                      <a:pt x="439" y="392"/>
                      <a:pt x="439" y="392"/>
                      <a:pt x="439" y="392"/>
                    </a:cubicBezTo>
                    <a:cubicBezTo>
                      <a:pt x="440" y="389"/>
                      <a:pt x="440" y="389"/>
                      <a:pt x="440" y="389"/>
                    </a:cubicBezTo>
                    <a:cubicBezTo>
                      <a:pt x="442" y="389"/>
                      <a:pt x="442" y="389"/>
                      <a:pt x="442" y="389"/>
                    </a:cubicBezTo>
                    <a:cubicBezTo>
                      <a:pt x="444" y="387"/>
                      <a:pt x="444" y="387"/>
                      <a:pt x="444" y="387"/>
                    </a:cubicBezTo>
                    <a:cubicBezTo>
                      <a:pt x="446" y="387"/>
                      <a:pt x="446" y="387"/>
                      <a:pt x="446" y="387"/>
                    </a:cubicBezTo>
                    <a:cubicBezTo>
                      <a:pt x="447" y="385"/>
                      <a:pt x="447" y="385"/>
                      <a:pt x="447" y="385"/>
                    </a:cubicBezTo>
                    <a:cubicBezTo>
                      <a:pt x="445" y="386"/>
                      <a:pt x="445" y="386"/>
                      <a:pt x="445" y="386"/>
                    </a:cubicBezTo>
                    <a:cubicBezTo>
                      <a:pt x="443" y="386"/>
                      <a:pt x="443" y="386"/>
                      <a:pt x="443" y="386"/>
                    </a:cubicBezTo>
                    <a:cubicBezTo>
                      <a:pt x="443" y="387"/>
                      <a:pt x="443" y="387"/>
                      <a:pt x="443" y="387"/>
                    </a:cubicBezTo>
                    <a:cubicBezTo>
                      <a:pt x="441" y="388"/>
                      <a:pt x="441" y="388"/>
                      <a:pt x="441" y="388"/>
                    </a:cubicBezTo>
                    <a:cubicBezTo>
                      <a:pt x="441" y="388"/>
                      <a:pt x="441" y="388"/>
                      <a:pt x="441" y="388"/>
                    </a:cubicBezTo>
                    <a:cubicBezTo>
                      <a:pt x="442" y="386"/>
                      <a:pt x="442" y="386"/>
                      <a:pt x="442" y="386"/>
                    </a:cubicBezTo>
                    <a:cubicBezTo>
                      <a:pt x="443" y="385"/>
                      <a:pt x="443" y="385"/>
                      <a:pt x="443" y="385"/>
                    </a:cubicBezTo>
                    <a:cubicBezTo>
                      <a:pt x="442" y="383"/>
                      <a:pt x="442" y="383"/>
                      <a:pt x="442" y="383"/>
                    </a:cubicBezTo>
                    <a:cubicBezTo>
                      <a:pt x="442" y="382"/>
                      <a:pt x="442" y="382"/>
                      <a:pt x="442" y="382"/>
                    </a:cubicBezTo>
                    <a:cubicBezTo>
                      <a:pt x="443" y="379"/>
                      <a:pt x="443" y="379"/>
                      <a:pt x="443" y="379"/>
                    </a:cubicBezTo>
                    <a:cubicBezTo>
                      <a:pt x="443" y="378"/>
                      <a:pt x="443" y="378"/>
                      <a:pt x="443" y="378"/>
                    </a:cubicBezTo>
                    <a:cubicBezTo>
                      <a:pt x="442" y="377"/>
                      <a:pt x="442" y="377"/>
                      <a:pt x="442" y="377"/>
                    </a:cubicBezTo>
                    <a:cubicBezTo>
                      <a:pt x="443" y="376"/>
                      <a:pt x="443" y="376"/>
                      <a:pt x="443" y="376"/>
                    </a:cubicBezTo>
                    <a:cubicBezTo>
                      <a:pt x="444" y="373"/>
                      <a:pt x="444" y="373"/>
                      <a:pt x="444" y="373"/>
                    </a:cubicBezTo>
                    <a:cubicBezTo>
                      <a:pt x="445" y="371"/>
                      <a:pt x="445" y="371"/>
                      <a:pt x="445" y="371"/>
                    </a:cubicBezTo>
                    <a:cubicBezTo>
                      <a:pt x="447" y="369"/>
                      <a:pt x="447" y="369"/>
                      <a:pt x="447" y="369"/>
                    </a:cubicBezTo>
                    <a:cubicBezTo>
                      <a:pt x="448" y="370"/>
                      <a:pt x="448" y="370"/>
                      <a:pt x="448" y="370"/>
                    </a:cubicBezTo>
                    <a:cubicBezTo>
                      <a:pt x="447" y="371"/>
                      <a:pt x="447" y="371"/>
                      <a:pt x="447" y="371"/>
                    </a:cubicBezTo>
                    <a:cubicBezTo>
                      <a:pt x="448" y="370"/>
                      <a:pt x="448" y="370"/>
                      <a:pt x="448" y="370"/>
                    </a:cubicBezTo>
                    <a:cubicBezTo>
                      <a:pt x="449" y="369"/>
                      <a:pt x="449" y="369"/>
                      <a:pt x="449" y="369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51" y="371"/>
                      <a:pt x="451" y="371"/>
                      <a:pt x="451" y="371"/>
                    </a:cubicBezTo>
                    <a:cubicBezTo>
                      <a:pt x="453" y="370"/>
                      <a:pt x="453" y="370"/>
                      <a:pt x="453" y="370"/>
                    </a:cubicBezTo>
                    <a:cubicBezTo>
                      <a:pt x="454" y="369"/>
                      <a:pt x="454" y="369"/>
                      <a:pt x="454" y="369"/>
                    </a:cubicBezTo>
                    <a:cubicBezTo>
                      <a:pt x="458" y="367"/>
                      <a:pt x="458" y="367"/>
                      <a:pt x="458" y="367"/>
                    </a:cubicBezTo>
                    <a:cubicBezTo>
                      <a:pt x="459" y="365"/>
                      <a:pt x="459" y="365"/>
                      <a:pt x="459" y="365"/>
                    </a:cubicBezTo>
                    <a:cubicBezTo>
                      <a:pt x="459" y="364"/>
                      <a:pt x="459" y="364"/>
                      <a:pt x="459" y="364"/>
                    </a:cubicBezTo>
                    <a:cubicBezTo>
                      <a:pt x="460" y="364"/>
                      <a:pt x="460" y="364"/>
                      <a:pt x="460" y="364"/>
                    </a:cubicBezTo>
                    <a:cubicBezTo>
                      <a:pt x="462" y="362"/>
                      <a:pt x="462" y="362"/>
                      <a:pt x="462" y="362"/>
                    </a:cubicBezTo>
                    <a:cubicBezTo>
                      <a:pt x="465" y="362"/>
                      <a:pt x="465" y="362"/>
                      <a:pt x="465" y="362"/>
                    </a:cubicBezTo>
                    <a:cubicBezTo>
                      <a:pt x="466" y="360"/>
                      <a:pt x="466" y="360"/>
                      <a:pt x="466" y="360"/>
                    </a:cubicBezTo>
                    <a:cubicBezTo>
                      <a:pt x="466" y="359"/>
                      <a:pt x="466" y="359"/>
                      <a:pt x="466" y="359"/>
                    </a:cubicBezTo>
                    <a:cubicBezTo>
                      <a:pt x="467" y="356"/>
                      <a:pt x="467" y="356"/>
                      <a:pt x="467" y="356"/>
                    </a:cubicBezTo>
                    <a:cubicBezTo>
                      <a:pt x="468" y="354"/>
                      <a:pt x="468" y="354"/>
                      <a:pt x="468" y="354"/>
                    </a:cubicBezTo>
                    <a:cubicBezTo>
                      <a:pt x="468" y="352"/>
                      <a:pt x="468" y="352"/>
                      <a:pt x="468" y="352"/>
                    </a:cubicBezTo>
                    <a:cubicBezTo>
                      <a:pt x="467" y="351"/>
                      <a:pt x="467" y="351"/>
                      <a:pt x="467" y="351"/>
                    </a:cubicBezTo>
                    <a:cubicBezTo>
                      <a:pt x="466" y="352"/>
                      <a:pt x="466" y="352"/>
                      <a:pt x="466" y="352"/>
                    </a:cubicBezTo>
                    <a:cubicBezTo>
                      <a:pt x="465" y="352"/>
                      <a:pt x="465" y="352"/>
                      <a:pt x="465" y="352"/>
                    </a:cubicBezTo>
                    <a:cubicBezTo>
                      <a:pt x="465" y="353"/>
                      <a:pt x="465" y="353"/>
                      <a:pt x="465" y="353"/>
                    </a:cubicBezTo>
                    <a:cubicBezTo>
                      <a:pt x="464" y="355"/>
                      <a:pt x="464" y="355"/>
                      <a:pt x="464" y="355"/>
                    </a:cubicBezTo>
                    <a:cubicBezTo>
                      <a:pt x="462" y="355"/>
                      <a:pt x="462" y="355"/>
                      <a:pt x="462" y="355"/>
                    </a:cubicBezTo>
                    <a:cubicBezTo>
                      <a:pt x="461" y="354"/>
                      <a:pt x="461" y="354"/>
                      <a:pt x="461" y="354"/>
                    </a:cubicBezTo>
                    <a:cubicBezTo>
                      <a:pt x="460" y="354"/>
                      <a:pt x="460" y="354"/>
                      <a:pt x="460" y="354"/>
                    </a:cubicBezTo>
                    <a:cubicBezTo>
                      <a:pt x="460" y="354"/>
                      <a:pt x="460" y="354"/>
                      <a:pt x="460" y="354"/>
                    </a:cubicBezTo>
                    <a:cubicBezTo>
                      <a:pt x="461" y="351"/>
                      <a:pt x="461" y="351"/>
                      <a:pt x="461" y="351"/>
                    </a:cubicBezTo>
                    <a:cubicBezTo>
                      <a:pt x="462" y="351"/>
                      <a:pt x="462" y="351"/>
                      <a:pt x="462" y="351"/>
                    </a:cubicBezTo>
                    <a:cubicBezTo>
                      <a:pt x="463" y="350"/>
                      <a:pt x="463" y="350"/>
                      <a:pt x="463" y="350"/>
                    </a:cubicBezTo>
                    <a:cubicBezTo>
                      <a:pt x="466" y="348"/>
                      <a:pt x="466" y="348"/>
                      <a:pt x="466" y="348"/>
                    </a:cubicBezTo>
                    <a:cubicBezTo>
                      <a:pt x="466" y="347"/>
                      <a:pt x="466" y="347"/>
                      <a:pt x="466" y="347"/>
                    </a:cubicBezTo>
                    <a:cubicBezTo>
                      <a:pt x="465" y="346"/>
                      <a:pt x="465" y="346"/>
                      <a:pt x="465" y="346"/>
                    </a:cubicBezTo>
                    <a:cubicBezTo>
                      <a:pt x="467" y="344"/>
                      <a:pt x="467" y="344"/>
                      <a:pt x="467" y="344"/>
                    </a:cubicBezTo>
                    <a:cubicBezTo>
                      <a:pt x="469" y="344"/>
                      <a:pt x="469" y="344"/>
                      <a:pt x="469" y="344"/>
                    </a:cubicBezTo>
                    <a:cubicBezTo>
                      <a:pt x="471" y="344"/>
                      <a:pt x="471" y="344"/>
                      <a:pt x="471" y="344"/>
                    </a:cubicBezTo>
                    <a:cubicBezTo>
                      <a:pt x="469" y="345"/>
                      <a:pt x="469" y="345"/>
                      <a:pt x="469" y="345"/>
                    </a:cubicBezTo>
                    <a:cubicBezTo>
                      <a:pt x="469" y="347"/>
                      <a:pt x="469" y="347"/>
                      <a:pt x="469" y="347"/>
                    </a:cubicBezTo>
                    <a:cubicBezTo>
                      <a:pt x="470" y="348"/>
                      <a:pt x="470" y="348"/>
                      <a:pt x="470" y="348"/>
                    </a:cubicBezTo>
                    <a:cubicBezTo>
                      <a:pt x="472" y="347"/>
                      <a:pt x="472" y="347"/>
                      <a:pt x="472" y="347"/>
                    </a:cubicBezTo>
                    <a:cubicBezTo>
                      <a:pt x="473" y="343"/>
                      <a:pt x="473" y="343"/>
                      <a:pt x="473" y="343"/>
                    </a:cubicBezTo>
                    <a:cubicBezTo>
                      <a:pt x="473" y="342"/>
                      <a:pt x="473" y="342"/>
                      <a:pt x="473" y="342"/>
                    </a:cubicBezTo>
                    <a:cubicBezTo>
                      <a:pt x="471" y="341"/>
                      <a:pt x="471" y="341"/>
                      <a:pt x="471" y="341"/>
                    </a:cubicBezTo>
                    <a:cubicBezTo>
                      <a:pt x="470" y="341"/>
                      <a:pt x="470" y="341"/>
                      <a:pt x="470" y="341"/>
                    </a:cubicBezTo>
                    <a:cubicBezTo>
                      <a:pt x="469" y="340"/>
                      <a:pt x="469" y="340"/>
                      <a:pt x="469" y="340"/>
                    </a:cubicBezTo>
                    <a:cubicBezTo>
                      <a:pt x="466" y="340"/>
                      <a:pt x="466" y="340"/>
                      <a:pt x="466" y="340"/>
                    </a:cubicBezTo>
                    <a:cubicBezTo>
                      <a:pt x="465" y="337"/>
                      <a:pt x="465" y="337"/>
                      <a:pt x="465" y="337"/>
                    </a:cubicBezTo>
                    <a:cubicBezTo>
                      <a:pt x="465" y="335"/>
                      <a:pt x="465" y="335"/>
                      <a:pt x="465" y="335"/>
                    </a:cubicBezTo>
                    <a:cubicBezTo>
                      <a:pt x="464" y="337"/>
                      <a:pt x="464" y="337"/>
                      <a:pt x="464" y="337"/>
                    </a:cubicBezTo>
                    <a:cubicBezTo>
                      <a:pt x="463" y="337"/>
                      <a:pt x="463" y="337"/>
                      <a:pt x="463" y="337"/>
                    </a:cubicBezTo>
                    <a:cubicBezTo>
                      <a:pt x="462" y="335"/>
                      <a:pt x="462" y="335"/>
                      <a:pt x="462" y="335"/>
                    </a:cubicBezTo>
                    <a:cubicBezTo>
                      <a:pt x="460" y="334"/>
                      <a:pt x="460" y="334"/>
                      <a:pt x="460" y="334"/>
                    </a:cubicBezTo>
                    <a:cubicBezTo>
                      <a:pt x="460" y="332"/>
                      <a:pt x="460" y="332"/>
                      <a:pt x="460" y="332"/>
                    </a:cubicBezTo>
                    <a:cubicBezTo>
                      <a:pt x="459" y="331"/>
                      <a:pt x="459" y="331"/>
                      <a:pt x="459" y="331"/>
                    </a:cubicBezTo>
                    <a:cubicBezTo>
                      <a:pt x="457" y="331"/>
                      <a:pt x="457" y="331"/>
                      <a:pt x="457" y="331"/>
                    </a:cubicBezTo>
                    <a:cubicBezTo>
                      <a:pt x="457" y="330"/>
                      <a:pt x="457" y="330"/>
                      <a:pt x="457" y="330"/>
                    </a:cubicBezTo>
                    <a:cubicBezTo>
                      <a:pt x="456" y="329"/>
                      <a:pt x="456" y="329"/>
                      <a:pt x="456" y="329"/>
                    </a:cubicBezTo>
                    <a:cubicBezTo>
                      <a:pt x="457" y="327"/>
                      <a:pt x="457" y="327"/>
                      <a:pt x="457" y="327"/>
                    </a:cubicBezTo>
                    <a:cubicBezTo>
                      <a:pt x="457" y="326"/>
                      <a:pt x="457" y="326"/>
                      <a:pt x="457" y="326"/>
                    </a:cubicBezTo>
                    <a:cubicBezTo>
                      <a:pt x="456" y="324"/>
                      <a:pt x="456" y="324"/>
                      <a:pt x="456" y="324"/>
                    </a:cubicBezTo>
                    <a:cubicBezTo>
                      <a:pt x="457" y="319"/>
                      <a:pt x="457" y="319"/>
                      <a:pt x="457" y="319"/>
                    </a:cubicBezTo>
                    <a:cubicBezTo>
                      <a:pt x="458" y="317"/>
                      <a:pt x="458" y="317"/>
                      <a:pt x="458" y="317"/>
                    </a:cubicBezTo>
                    <a:cubicBezTo>
                      <a:pt x="461" y="314"/>
                      <a:pt x="461" y="314"/>
                      <a:pt x="461" y="314"/>
                    </a:cubicBezTo>
                    <a:cubicBezTo>
                      <a:pt x="463" y="314"/>
                      <a:pt x="463" y="314"/>
                      <a:pt x="463" y="314"/>
                    </a:cubicBezTo>
                    <a:cubicBezTo>
                      <a:pt x="465" y="314"/>
                      <a:pt x="465" y="314"/>
                      <a:pt x="465" y="314"/>
                    </a:cubicBezTo>
                    <a:cubicBezTo>
                      <a:pt x="465" y="313"/>
                      <a:pt x="465" y="313"/>
                      <a:pt x="465" y="313"/>
                    </a:cubicBezTo>
                    <a:cubicBezTo>
                      <a:pt x="466" y="312"/>
                      <a:pt x="466" y="312"/>
                      <a:pt x="466" y="312"/>
                    </a:cubicBezTo>
                    <a:cubicBezTo>
                      <a:pt x="467" y="311"/>
                      <a:pt x="467" y="311"/>
                      <a:pt x="467" y="311"/>
                    </a:cubicBezTo>
                    <a:cubicBezTo>
                      <a:pt x="466" y="311"/>
                      <a:pt x="466" y="311"/>
                      <a:pt x="466" y="311"/>
                    </a:cubicBezTo>
                    <a:cubicBezTo>
                      <a:pt x="464" y="312"/>
                      <a:pt x="464" y="312"/>
                      <a:pt x="464" y="312"/>
                    </a:cubicBezTo>
                    <a:cubicBezTo>
                      <a:pt x="463" y="311"/>
                      <a:pt x="463" y="311"/>
                      <a:pt x="463" y="311"/>
                    </a:cubicBezTo>
                    <a:cubicBezTo>
                      <a:pt x="463" y="310"/>
                      <a:pt x="463" y="310"/>
                      <a:pt x="463" y="310"/>
                    </a:cubicBezTo>
                    <a:cubicBezTo>
                      <a:pt x="462" y="308"/>
                      <a:pt x="462" y="308"/>
                      <a:pt x="462" y="308"/>
                    </a:cubicBezTo>
                    <a:cubicBezTo>
                      <a:pt x="463" y="306"/>
                      <a:pt x="463" y="306"/>
                      <a:pt x="463" y="306"/>
                    </a:cubicBezTo>
                    <a:cubicBezTo>
                      <a:pt x="465" y="303"/>
                      <a:pt x="465" y="303"/>
                      <a:pt x="465" y="303"/>
                    </a:cubicBezTo>
                    <a:cubicBezTo>
                      <a:pt x="467" y="300"/>
                      <a:pt x="467" y="300"/>
                      <a:pt x="467" y="300"/>
                    </a:cubicBezTo>
                    <a:cubicBezTo>
                      <a:pt x="468" y="299"/>
                      <a:pt x="468" y="299"/>
                      <a:pt x="468" y="299"/>
                    </a:cubicBezTo>
                    <a:cubicBezTo>
                      <a:pt x="469" y="297"/>
                      <a:pt x="469" y="297"/>
                      <a:pt x="469" y="297"/>
                    </a:cubicBezTo>
                    <a:cubicBezTo>
                      <a:pt x="470" y="296"/>
                      <a:pt x="470" y="296"/>
                      <a:pt x="470" y="296"/>
                    </a:cubicBezTo>
                    <a:cubicBezTo>
                      <a:pt x="472" y="294"/>
                      <a:pt x="472" y="294"/>
                      <a:pt x="472" y="294"/>
                    </a:cubicBezTo>
                    <a:cubicBezTo>
                      <a:pt x="474" y="293"/>
                      <a:pt x="474" y="293"/>
                      <a:pt x="474" y="293"/>
                    </a:cubicBezTo>
                    <a:cubicBezTo>
                      <a:pt x="475" y="294"/>
                      <a:pt x="475" y="294"/>
                      <a:pt x="475" y="294"/>
                    </a:cubicBezTo>
                    <a:cubicBezTo>
                      <a:pt x="475" y="297"/>
                      <a:pt x="475" y="297"/>
                      <a:pt x="475" y="297"/>
                    </a:cubicBezTo>
                    <a:cubicBezTo>
                      <a:pt x="476" y="298"/>
                      <a:pt x="476" y="298"/>
                      <a:pt x="476" y="298"/>
                    </a:cubicBezTo>
                    <a:cubicBezTo>
                      <a:pt x="475" y="299"/>
                      <a:pt x="475" y="299"/>
                      <a:pt x="475" y="299"/>
                    </a:cubicBezTo>
                    <a:cubicBezTo>
                      <a:pt x="477" y="298"/>
                      <a:pt x="477" y="298"/>
                      <a:pt x="477" y="298"/>
                    </a:cubicBezTo>
                    <a:cubicBezTo>
                      <a:pt x="478" y="297"/>
                      <a:pt x="478" y="297"/>
                      <a:pt x="478" y="297"/>
                    </a:cubicBezTo>
                    <a:cubicBezTo>
                      <a:pt x="480" y="293"/>
                      <a:pt x="480" y="293"/>
                      <a:pt x="480" y="293"/>
                    </a:cubicBezTo>
                    <a:cubicBezTo>
                      <a:pt x="480" y="292"/>
                      <a:pt x="480" y="292"/>
                      <a:pt x="480" y="292"/>
                    </a:cubicBezTo>
                    <a:cubicBezTo>
                      <a:pt x="478" y="292"/>
                      <a:pt x="478" y="292"/>
                      <a:pt x="478" y="292"/>
                    </a:cubicBezTo>
                    <a:cubicBezTo>
                      <a:pt x="477" y="291"/>
                      <a:pt x="477" y="291"/>
                      <a:pt x="477" y="291"/>
                    </a:cubicBezTo>
                    <a:cubicBezTo>
                      <a:pt x="475" y="290"/>
                      <a:pt x="475" y="290"/>
                      <a:pt x="475" y="290"/>
                    </a:cubicBezTo>
                    <a:cubicBezTo>
                      <a:pt x="477" y="288"/>
                      <a:pt x="477" y="288"/>
                      <a:pt x="477" y="288"/>
                    </a:cubicBezTo>
                    <a:cubicBezTo>
                      <a:pt x="480" y="288"/>
                      <a:pt x="480" y="288"/>
                      <a:pt x="480" y="288"/>
                    </a:cubicBezTo>
                    <a:cubicBezTo>
                      <a:pt x="480" y="287"/>
                      <a:pt x="480" y="287"/>
                      <a:pt x="480" y="287"/>
                    </a:cubicBezTo>
                    <a:cubicBezTo>
                      <a:pt x="483" y="285"/>
                      <a:pt x="483" y="285"/>
                      <a:pt x="483" y="285"/>
                    </a:cubicBezTo>
                    <a:cubicBezTo>
                      <a:pt x="483" y="284"/>
                      <a:pt x="483" y="284"/>
                      <a:pt x="483" y="284"/>
                    </a:cubicBezTo>
                    <a:cubicBezTo>
                      <a:pt x="484" y="283"/>
                      <a:pt x="484" y="283"/>
                      <a:pt x="484" y="283"/>
                    </a:cubicBezTo>
                    <a:cubicBezTo>
                      <a:pt x="487" y="284"/>
                      <a:pt x="487" y="284"/>
                      <a:pt x="487" y="284"/>
                    </a:cubicBezTo>
                    <a:cubicBezTo>
                      <a:pt x="490" y="284"/>
                      <a:pt x="490" y="284"/>
                      <a:pt x="490" y="284"/>
                    </a:cubicBezTo>
                    <a:cubicBezTo>
                      <a:pt x="490" y="286"/>
                      <a:pt x="490" y="286"/>
                      <a:pt x="490" y="286"/>
                    </a:cubicBezTo>
                    <a:cubicBezTo>
                      <a:pt x="489" y="287"/>
                      <a:pt x="489" y="287"/>
                      <a:pt x="489" y="287"/>
                    </a:cubicBezTo>
                    <a:cubicBezTo>
                      <a:pt x="491" y="288"/>
                      <a:pt x="491" y="288"/>
                      <a:pt x="491" y="288"/>
                    </a:cubicBezTo>
                    <a:cubicBezTo>
                      <a:pt x="492" y="289"/>
                      <a:pt x="492" y="289"/>
                      <a:pt x="492" y="289"/>
                    </a:cubicBezTo>
                    <a:cubicBezTo>
                      <a:pt x="494" y="290"/>
                      <a:pt x="494" y="290"/>
                      <a:pt x="494" y="290"/>
                    </a:cubicBezTo>
                    <a:cubicBezTo>
                      <a:pt x="493" y="292"/>
                      <a:pt x="493" y="292"/>
                      <a:pt x="493" y="292"/>
                    </a:cubicBezTo>
                    <a:cubicBezTo>
                      <a:pt x="492" y="292"/>
                      <a:pt x="492" y="292"/>
                      <a:pt x="492" y="292"/>
                    </a:cubicBezTo>
                    <a:cubicBezTo>
                      <a:pt x="492" y="294"/>
                      <a:pt x="492" y="294"/>
                      <a:pt x="492" y="294"/>
                    </a:cubicBezTo>
                    <a:cubicBezTo>
                      <a:pt x="492" y="296"/>
                      <a:pt x="492" y="296"/>
                      <a:pt x="492" y="296"/>
                    </a:cubicBezTo>
                    <a:cubicBezTo>
                      <a:pt x="494" y="297"/>
                      <a:pt x="494" y="297"/>
                      <a:pt x="494" y="297"/>
                    </a:cubicBezTo>
                    <a:cubicBezTo>
                      <a:pt x="494" y="299"/>
                      <a:pt x="494" y="299"/>
                      <a:pt x="494" y="299"/>
                    </a:cubicBezTo>
                    <a:cubicBezTo>
                      <a:pt x="494" y="302"/>
                      <a:pt x="494" y="302"/>
                      <a:pt x="494" y="302"/>
                    </a:cubicBezTo>
                    <a:cubicBezTo>
                      <a:pt x="495" y="303"/>
                      <a:pt x="495" y="303"/>
                      <a:pt x="495" y="303"/>
                    </a:cubicBezTo>
                    <a:cubicBezTo>
                      <a:pt x="495" y="304"/>
                      <a:pt x="495" y="304"/>
                      <a:pt x="495" y="304"/>
                    </a:cubicBezTo>
                    <a:cubicBezTo>
                      <a:pt x="494" y="306"/>
                      <a:pt x="494" y="306"/>
                      <a:pt x="494" y="306"/>
                    </a:cubicBezTo>
                    <a:cubicBezTo>
                      <a:pt x="494" y="307"/>
                      <a:pt x="494" y="307"/>
                      <a:pt x="494" y="307"/>
                    </a:cubicBezTo>
                    <a:cubicBezTo>
                      <a:pt x="492" y="310"/>
                      <a:pt x="492" y="310"/>
                      <a:pt x="492" y="310"/>
                    </a:cubicBezTo>
                    <a:cubicBezTo>
                      <a:pt x="492" y="312"/>
                      <a:pt x="492" y="312"/>
                      <a:pt x="492" y="312"/>
                    </a:cubicBezTo>
                    <a:cubicBezTo>
                      <a:pt x="491" y="313"/>
                      <a:pt x="491" y="313"/>
                      <a:pt x="491" y="313"/>
                    </a:cubicBezTo>
                    <a:cubicBezTo>
                      <a:pt x="492" y="315"/>
                      <a:pt x="492" y="315"/>
                      <a:pt x="492" y="315"/>
                    </a:cubicBezTo>
                    <a:cubicBezTo>
                      <a:pt x="491" y="317"/>
                      <a:pt x="491" y="317"/>
                      <a:pt x="491" y="317"/>
                    </a:cubicBezTo>
                    <a:cubicBezTo>
                      <a:pt x="493" y="319"/>
                      <a:pt x="493" y="319"/>
                      <a:pt x="493" y="319"/>
                    </a:cubicBezTo>
                    <a:cubicBezTo>
                      <a:pt x="493" y="320"/>
                      <a:pt x="493" y="320"/>
                      <a:pt x="493" y="320"/>
                    </a:cubicBezTo>
                    <a:cubicBezTo>
                      <a:pt x="493" y="321"/>
                      <a:pt x="493" y="321"/>
                      <a:pt x="493" y="321"/>
                    </a:cubicBezTo>
                    <a:cubicBezTo>
                      <a:pt x="493" y="323"/>
                      <a:pt x="493" y="323"/>
                      <a:pt x="493" y="323"/>
                    </a:cubicBezTo>
                    <a:cubicBezTo>
                      <a:pt x="493" y="325"/>
                      <a:pt x="493" y="325"/>
                      <a:pt x="493" y="325"/>
                    </a:cubicBezTo>
                    <a:cubicBezTo>
                      <a:pt x="493" y="326"/>
                      <a:pt x="493" y="326"/>
                      <a:pt x="493" y="326"/>
                    </a:cubicBezTo>
                    <a:cubicBezTo>
                      <a:pt x="494" y="326"/>
                      <a:pt x="494" y="326"/>
                      <a:pt x="494" y="326"/>
                    </a:cubicBezTo>
                    <a:cubicBezTo>
                      <a:pt x="495" y="328"/>
                      <a:pt x="495" y="328"/>
                      <a:pt x="495" y="328"/>
                    </a:cubicBezTo>
                    <a:cubicBezTo>
                      <a:pt x="495" y="330"/>
                      <a:pt x="495" y="330"/>
                      <a:pt x="495" y="330"/>
                    </a:cubicBezTo>
                    <a:cubicBezTo>
                      <a:pt x="494" y="331"/>
                      <a:pt x="494" y="331"/>
                      <a:pt x="494" y="331"/>
                    </a:cubicBezTo>
                    <a:cubicBezTo>
                      <a:pt x="492" y="330"/>
                      <a:pt x="492" y="330"/>
                      <a:pt x="492" y="330"/>
                    </a:cubicBezTo>
                    <a:cubicBezTo>
                      <a:pt x="491" y="331"/>
                      <a:pt x="491" y="331"/>
                      <a:pt x="491" y="331"/>
                    </a:cubicBezTo>
                    <a:cubicBezTo>
                      <a:pt x="490" y="329"/>
                      <a:pt x="490" y="329"/>
                      <a:pt x="490" y="329"/>
                    </a:cubicBezTo>
                    <a:cubicBezTo>
                      <a:pt x="490" y="327"/>
                      <a:pt x="490" y="327"/>
                      <a:pt x="490" y="327"/>
                    </a:cubicBezTo>
                    <a:cubicBezTo>
                      <a:pt x="488" y="328"/>
                      <a:pt x="488" y="328"/>
                      <a:pt x="488" y="328"/>
                    </a:cubicBezTo>
                    <a:cubicBezTo>
                      <a:pt x="487" y="330"/>
                      <a:pt x="487" y="330"/>
                      <a:pt x="487" y="330"/>
                    </a:cubicBezTo>
                    <a:cubicBezTo>
                      <a:pt x="486" y="331"/>
                      <a:pt x="486" y="331"/>
                      <a:pt x="486" y="331"/>
                    </a:cubicBezTo>
                    <a:cubicBezTo>
                      <a:pt x="486" y="331"/>
                      <a:pt x="486" y="331"/>
                      <a:pt x="486" y="331"/>
                    </a:cubicBezTo>
                    <a:cubicBezTo>
                      <a:pt x="488" y="331"/>
                      <a:pt x="488" y="331"/>
                      <a:pt x="488" y="331"/>
                    </a:cubicBezTo>
                    <a:cubicBezTo>
                      <a:pt x="489" y="332"/>
                      <a:pt x="489" y="332"/>
                      <a:pt x="489" y="332"/>
                    </a:cubicBezTo>
                    <a:cubicBezTo>
                      <a:pt x="489" y="333"/>
                      <a:pt x="489" y="333"/>
                      <a:pt x="489" y="333"/>
                    </a:cubicBezTo>
                    <a:cubicBezTo>
                      <a:pt x="484" y="337"/>
                      <a:pt x="484" y="337"/>
                      <a:pt x="484" y="337"/>
                    </a:cubicBezTo>
                    <a:cubicBezTo>
                      <a:pt x="483" y="337"/>
                      <a:pt x="483" y="337"/>
                      <a:pt x="483" y="337"/>
                    </a:cubicBezTo>
                    <a:cubicBezTo>
                      <a:pt x="482" y="338"/>
                      <a:pt x="482" y="338"/>
                      <a:pt x="482" y="338"/>
                    </a:cubicBezTo>
                    <a:cubicBezTo>
                      <a:pt x="481" y="339"/>
                      <a:pt x="481" y="339"/>
                      <a:pt x="481" y="339"/>
                    </a:cubicBezTo>
                    <a:cubicBezTo>
                      <a:pt x="481" y="341"/>
                      <a:pt x="481" y="341"/>
                      <a:pt x="481" y="341"/>
                    </a:cubicBezTo>
                    <a:cubicBezTo>
                      <a:pt x="482" y="342"/>
                      <a:pt x="482" y="342"/>
                      <a:pt x="482" y="342"/>
                    </a:cubicBezTo>
                    <a:cubicBezTo>
                      <a:pt x="483" y="341"/>
                      <a:pt x="483" y="341"/>
                      <a:pt x="483" y="341"/>
                    </a:cubicBezTo>
                    <a:cubicBezTo>
                      <a:pt x="485" y="342"/>
                      <a:pt x="485" y="342"/>
                      <a:pt x="485" y="342"/>
                    </a:cubicBezTo>
                    <a:cubicBezTo>
                      <a:pt x="485" y="343"/>
                      <a:pt x="485" y="343"/>
                      <a:pt x="485" y="343"/>
                    </a:cubicBezTo>
                    <a:cubicBezTo>
                      <a:pt x="487" y="345"/>
                      <a:pt x="487" y="345"/>
                      <a:pt x="487" y="345"/>
                    </a:cubicBezTo>
                    <a:cubicBezTo>
                      <a:pt x="489" y="344"/>
                      <a:pt x="489" y="344"/>
                      <a:pt x="489" y="344"/>
                    </a:cubicBezTo>
                    <a:cubicBezTo>
                      <a:pt x="489" y="343"/>
                      <a:pt x="489" y="343"/>
                      <a:pt x="489" y="343"/>
                    </a:cubicBezTo>
                    <a:cubicBezTo>
                      <a:pt x="491" y="343"/>
                      <a:pt x="491" y="343"/>
                      <a:pt x="491" y="343"/>
                    </a:cubicBezTo>
                    <a:cubicBezTo>
                      <a:pt x="491" y="343"/>
                      <a:pt x="491" y="343"/>
                      <a:pt x="491" y="343"/>
                    </a:cubicBezTo>
                    <a:cubicBezTo>
                      <a:pt x="491" y="344"/>
                      <a:pt x="491" y="344"/>
                      <a:pt x="491" y="344"/>
                    </a:cubicBezTo>
                    <a:cubicBezTo>
                      <a:pt x="491" y="345"/>
                      <a:pt x="491" y="345"/>
                      <a:pt x="491" y="345"/>
                    </a:cubicBezTo>
                    <a:cubicBezTo>
                      <a:pt x="492" y="345"/>
                      <a:pt x="492" y="345"/>
                      <a:pt x="492" y="345"/>
                    </a:cubicBezTo>
                    <a:cubicBezTo>
                      <a:pt x="493" y="347"/>
                      <a:pt x="493" y="347"/>
                      <a:pt x="493" y="347"/>
                    </a:cubicBezTo>
                    <a:cubicBezTo>
                      <a:pt x="495" y="345"/>
                      <a:pt x="495" y="345"/>
                      <a:pt x="495" y="345"/>
                    </a:cubicBezTo>
                    <a:cubicBezTo>
                      <a:pt x="497" y="346"/>
                      <a:pt x="497" y="346"/>
                      <a:pt x="497" y="346"/>
                    </a:cubicBezTo>
                    <a:cubicBezTo>
                      <a:pt x="495" y="348"/>
                      <a:pt x="495" y="348"/>
                      <a:pt x="495" y="348"/>
                    </a:cubicBezTo>
                    <a:cubicBezTo>
                      <a:pt x="493" y="348"/>
                      <a:pt x="493" y="348"/>
                      <a:pt x="493" y="348"/>
                    </a:cubicBezTo>
                    <a:cubicBezTo>
                      <a:pt x="491" y="350"/>
                      <a:pt x="491" y="350"/>
                      <a:pt x="491" y="350"/>
                    </a:cubicBezTo>
                    <a:cubicBezTo>
                      <a:pt x="491" y="351"/>
                      <a:pt x="491" y="351"/>
                      <a:pt x="491" y="351"/>
                    </a:cubicBezTo>
                    <a:cubicBezTo>
                      <a:pt x="490" y="348"/>
                      <a:pt x="490" y="348"/>
                      <a:pt x="490" y="348"/>
                    </a:cubicBezTo>
                    <a:cubicBezTo>
                      <a:pt x="489" y="348"/>
                      <a:pt x="489" y="348"/>
                      <a:pt x="489" y="348"/>
                    </a:cubicBezTo>
                    <a:cubicBezTo>
                      <a:pt x="489" y="348"/>
                      <a:pt x="489" y="348"/>
                      <a:pt x="489" y="348"/>
                    </a:cubicBezTo>
                    <a:cubicBezTo>
                      <a:pt x="489" y="349"/>
                      <a:pt x="489" y="349"/>
                      <a:pt x="489" y="349"/>
                    </a:cubicBezTo>
                    <a:cubicBezTo>
                      <a:pt x="490" y="351"/>
                      <a:pt x="490" y="351"/>
                      <a:pt x="490" y="351"/>
                    </a:cubicBezTo>
                    <a:cubicBezTo>
                      <a:pt x="490" y="352"/>
                      <a:pt x="490" y="352"/>
                      <a:pt x="490" y="352"/>
                    </a:cubicBezTo>
                    <a:cubicBezTo>
                      <a:pt x="492" y="355"/>
                      <a:pt x="492" y="355"/>
                      <a:pt x="492" y="355"/>
                    </a:cubicBezTo>
                    <a:cubicBezTo>
                      <a:pt x="491" y="357"/>
                      <a:pt x="491" y="357"/>
                      <a:pt x="491" y="357"/>
                    </a:cubicBezTo>
                    <a:cubicBezTo>
                      <a:pt x="492" y="358"/>
                      <a:pt x="492" y="358"/>
                      <a:pt x="492" y="358"/>
                    </a:cubicBezTo>
                    <a:cubicBezTo>
                      <a:pt x="491" y="360"/>
                      <a:pt x="491" y="360"/>
                      <a:pt x="491" y="360"/>
                    </a:cubicBezTo>
                    <a:cubicBezTo>
                      <a:pt x="490" y="361"/>
                      <a:pt x="490" y="361"/>
                      <a:pt x="490" y="361"/>
                    </a:cubicBezTo>
                    <a:cubicBezTo>
                      <a:pt x="490" y="362"/>
                      <a:pt x="490" y="362"/>
                      <a:pt x="490" y="362"/>
                    </a:cubicBezTo>
                    <a:cubicBezTo>
                      <a:pt x="490" y="364"/>
                      <a:pt x="490" y="364"/>
                      <a:pt x="490" y="364"/>
                    </a:cubicBezTo>
                    <a:cubicBezTo>
                      <a:pt x="488" y="367"/>
                      <a:pt x="488" y="367"/>
                      <a:pt x="488" y="367"/>
                    </a:cubicBezTo>
                    <a:cubicBezTo>
                      <a:pt x="488" y="368"/>
                      <a:pt x="488" y="368"/>
                      <a:pt x="488" y="368"/>
                    </a:cubicBezTo>
                    <a:cubicBezTo>
                      <a:pt x="488" y="370"/>
                      <a:pt x="488" y="370"/>
                      <a:pt x="488" y="370"/>
                    </a:cubicBezTo>
                    <a:cubicBezTo>
                      <a:pt x="487" y="371"/>
                      <a:pt x="487" y="371"/>
                      <a:pt x="487" y="371"/>
                    </a:cubicBezTo>
                    <a:cubicBezTo>
                      <a:pt x="487" y="372"/>
                      <a:pt x="487" y="372"/>
                      <a:pt x="487" y="372"/>
                    </a:cubicBezTo>
                    <a:cubicBezTo>
                      <a:pt x="489" y="372"/>
                      <a:pt x="489" y="372"/>
                      <a:pt x="489" y="372"/>
                    </a:cubicBezTo>
                    <a:cubicBezTo>
                      <a:pt x="490" y="370"/>
                      <a:pt x="490" y="370"/>
                      <a:pt x="490" y="370"/>
                    </a:cubicBezTo>
                    <a:cubicBezTo>
                      <a:pt x="491" y="369"/>
                      <a:pt x="491" y="369"/>
                      <a:pt x="491" y="369"/>
                    </a:cubicBezTo>
                    <a:cubicBezTo>
                      <a:pt x="493" y="367"/>
                      <a:pt x="493" y="367"/>
                      <a:pt x="493" y="367"/>
                    </a:cubicBezTo>
                    <a:cubicBezTo>
                      <a:pt x="494" y="367"/>
                      <a:pt x="494" y="367"/>
                      <a:pt x="494" y="367"/>
                    </a:cubicBezTo>
                    <a:cubicBezTo>
                      <a:pt x="493" y="366"/>
                      <a:pt x="493" y="366"/>
                      <a:pt x="493" y="366"/>
                    </a:cubicBezTo>
                    <a:cubicBezTo>
                      <a:pt x="494" y="365"/>
                      <a:pt x="494" y="365"/>
                      <a:pt x="494" y="365"/>
                    </a:cubicBezTo>
                    <a:cubicBezTo>
                      <a:pt x="496" y="366"/>
                      <a:pt x="496" y="366"/>
                      <a:pt x="496" y="366"/>
                    </a:cubicBezTo>
                    <a:cubicBezTo>
                      <a:pt x="496" y="365"/>
                      <a:pt x="496" y="365"/>
                      <a:pt x="496" y="365"/>
                    </a:cubicBezTo>
                    <a:cubicBezTo>
                      <a:pt x="496" y="361"/>
                      <a:pt x="496" y="361"/>
                      <a:pt x="496" y="361"/>
                    </a:cubicBezTo>
                    <a:cubicBezTo>
                      <a:pt x="497" y="359"/>
                      <a:pt x="497" y="359"/>
                      <a:pt x="497" y="359"/>
                    </a:cubicBezTo>
                    <a:cubicBezTo>
                      <a:pt x="499" y="357"/>
                      <a:pt x="499" y="357"/>
                      <a:pt x="499" y="357"/>
                    </a:cubicBezTo>
                    <a:cubicBezTo>
                      <a:pt x="502" y="354"/>
                      <a:pt x="502" y="354"/>
                      <a:pt x="502" y="354"/>
                    </a:cubicBezTo>
                    <a:cubicBezTo>
                      <a:pt x="502" y="352"/>
                      <a:pt x="502" y="352"/>
                      <a:pt x="502" y="352"/>
                    </a:cubicBezTo>
                    <a:cubicBezTo>
                      <a:pt x="503" y="352"/>
                      <a:pt x="503" y="352"/>
                      <a:pt x="503" y="352"/>
                    </a:cubicBezTo>
                    <a:cubicBezTo>
                      <a:pt x="504" y="352"/>
                      <a:pt x="504" y="352"/>
                      <a:pt x="504" y="352"/>
                    </a:cubicBezTo>
                    <a:cubicBezTo>
                      <a:pt x="504" y="354"/>
                      <a:pt x="504" y="354"/>
                      <a:pt x="504" y="354"/>
                    </a:cubicBezTo>
                    <a:cubicBezTo>
                      <a:pt x="506" y="358"/>
                      <a:pt x="506" y="358"/>
                      <a:pt x="506" y="358"/>
                    </a:cubicBezTo>
                    <a:cubicBezTo>
                      <a:pt x="506" y="360"/>
                      <a:pt x="506" y="360"/>
                      <a:pt x="506" y="360"/>
                    </a:cubicBezTo>
                    <a:cubicBezTo>
                      <a:pt x="508" y="362"/>
                      <a:pt x="508" y="362"/>
                      <a:pt x="508" y="362"/>
                    </a:cubicBezTo>
                    <a:cubicBezTo>
                      <a:pt x="508" y="364"/>
                      <a:pt x="508" y="364"/>
                      <a:pt x="508" y="364"/>
                    </a:cubicBezTo>
                    <a:cubicBezTo>
                      <a:pt x="507" y="366"/>
                      <a:pt x="507" y="366"/>
                      <a:pt x="507" y="366"/>
                    </a:cubicBezTo>
                    <a:cubicBezTo>
                      <a:pt x="508" y="370"/>
                      <a:pt x="508" y="370"/>
                      <a:pt x="508" y="370"/>
                    </a:cubicBezTo>
                    <a:cubicBezTo>
                      <a:pt x="507" y="372"/>
                      <a:pt x="507" y="372"/>
                      <a:pt x="507" y="372"/>
                    </a:cubicBezTo>
                    <a:cubicBezTo>
                      <a:pt x="505" y="373"/>
                      <a:pt x="505" y="373"/>
                      <a:pt x="505" y="373"/>
                    </a:cubicBezTo>
                    <a:cubicBezTo>
                      <a:pt x="504" y="372"/>
                      <a:pt x="504" y="372"/>
                      <a:pt x="504" y="372"/>
                    </a:cubicBezTo>
                    <a:cubicBezTo>
                      <a:pt x="503" y="373"/>
                      <a:pt x="503" y="373"/>
                      <a:pt x="503" y="373"/>
                    </a:cubicBezTo>
                    <a:cubicBezTo>
                      <a:pt x="502" y="375"/>
                      <a:pt x="502" y="375"/>
                      <a:pt x="502" y="375"/>
                    </a:cubicBezTo>
                    <a:cubicBezTo>
                      <a:pt x="503" y="377"/>
                      <a:pt x="503" y="377"/>
                      <a:pt x="503" y="377"/>
                    </a:cubicBezTo>
                    <a:cubicBezTo>
                      <a:pt x="501" y="379"/>
                      <a:pt x="501" y="379"/>
                      <a:pt x="501" y="379"/>
                    </a:cubicBezTo>
                    <a:cubicBezTo>
                      <a:pt x="500" y="381"/>
                      <a:pt x="500" y="381"/>
                      <a:pt x="500" y="381"/>
                    </a:cubicBezTo>
                    <a:cubicBezTo>
                      <a:pt x="501" y="382"/>
                      <a:pt x="501" y="382"/>
                      <a:pt x="501" y="382"/>
                    </a:cubicBezTo>
                    <a:cubicBezTo>
                      <a:pt x="501" y="386"/>
                      <a:pt x="501" y="386"/>
                      <a:pt x="501" y="386"/>
                    </a:cubicBezTo>
                    <a:cubicBezTo>
                      <a:pt x="503" y="392"/>
                      <a:pt x="503" y="392"/>
                      <a:pt x="503" y="392"/>
                    </a:cubicBezTo>
                    <a:cubicBezTo>
                      <a:pt x="504" y="395"/>
                      <a:pt x="504" y="395"/>
                      <a:pt x="504" y="395"/>
                    </a:cubicBezTo>
                    <a:cubicBezTo>
                      <a:pt x="503" y="397"/>
                      <a:pt x="503" y="397"/>
                      <a:pt x="503" y="397"/>
                    </a:cubicBezTo>
                    <a:cubicBezTo>
                      <a:pt x="505" y="399"/>
                      <a:pt x="505" y="399"/>
                      <a:pt x="505" y="399"/>
                    </a:cubicBezTo>
                    <a:cubicBezTo>
                      <a:pt x="506" y="399"/>
                      <a:pt x="506" y="399"/>
                      <a:pt x="506" y="399"/>
                    </a:cubicBezTo>
                    <a:cubicBezTo>
                      <a:pt x="506" y="396"/>
                      <a:pt x="506" y="396"/>
                      <a:pt x="506" y="396"/>
                    </a:cubicBezTo>
                    <a:cubicBezTo>
                      <a:pt x="505" y="396"/>
                      <a:pt x="505" y="396"/>
                      <a:pt x="505" y="396"/>
                    </a:cubicBezTo>
                    <a:cubicBezTo>
                      <a:pt x="507" y="394"/>
                      <a:pt x="507" y="394"/>
                      <a:pt x="507" y="394"/>
                    </a:cubicBezTo>
                    <a:cubicBezTo>
                      <a:pt x="508" y="394"/>
                      <a:pt x="508" y="394"/>
                      <a:pt x="508" y="394"/>
                    </a:cubicBezTo>
                    <a:cubicBezTo>
                      <a:pt x="509" y="396"/>
                      <a:pt x="509" y="396"/>
                      <a:pt x="509" y="396"/>
                    </a:cubicBezTo>
                    <a:cubicBezTo>
                      <a:pt x="510" y="396"/>
                      <a:pt x="510" y="396"/>
                      <a:pt x="510" y="396"/>
                    </a:cubicBezTo>
                    <a:cubicBezTo>
                      <a:pt x="510" y="394"/>
                      <a:pt x="510" y="394"/>
                      <a:pt x="510" y="394"/>
                    </a:cubicBezTo>
                    <a:cubicBezTo>
                      <a:pt x="512" y="392"/>
                      <a:pt x="512" y="392"/>
                      <a:pt x="512" y="392"/>
                    </a:cubicBezTo>
                    <a:cubicBezTo>
                      <a:pt x="512" y="389"/>
                      <a:pt x="512" y="389"/>
                      <a:pt x="512" y="389"/>
                    </a:cubicBezTo>
                    <a:cubicBezTo>
                      <a:pt x="514" y="389"/>
                      <a:pt x="514" y="389"/>
                      <a:pt x="514" y="389"/>
                    </a:cubicBezTo>
                    <a:cubicBezTo>
                      <a:pt x="515" y="386"/>
                      <a:pt x="515" y="386"/>
                      <a:pt x="515" y="386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7" y="384"/>
                      <a:pt x="517" y="384"/>
                      <a:pt x="517" y="384"/>
                    </a:cubicBezTo>
                    <a:cubicBezTo>
                      <a:pt x="521" y="382"/>
                      <a:pt x="521" y="382"/>
                      <a:pt x="521" y="382"/>
                    </a:cubicBezTo>
                    <a:cubicBezTo>
                      <a:pt x="523" y="378"/>
                      <a:pt x="523" y="378"/>
                      <a:pt x="523" y="378"/>
                    </a:cubicBezTo>
                    <a:cubicBezTo>
                      <a:pt x="524" y="373"/>
                      <a:pt x="524" y="373"/>
                      <a:pt x="524" y="373"/>
                    </a:cubicBezTo>
                    <a:cubicBezTo>
                      <a:pt x="526" y="370"/>
                      <a:pt x="526" y="370"/>
                      <a:pt x="526" y="370"/>
                    </a:cubicBezTo>
                    <a:cubicBezTo>
                      <a:pt x="528" y="368"/>
                      <a:pt x="528" y="368"/>
                      <a:pt x="528" y="368"/>
                    </a:cubicBezTo>
                    <a:cubicBezTo>
                      <a:pt x="529" y="371"/>
                      <a:pt x="529" y="371"/>
                      <a:pt x="529" y="371"/>
                    </a:cubicBezTo>
                    <a:cubicBezTo>
                      <a:pt x="530" y="369"/>
                      <a:pt x="530" y="369"/>
                      <a:pt x="530" y="369"/>
                    </a:cubicBezTo>
                    <a:cubicBezTo>
                      <a:pt x="532" y="370"/>
                      <a:pt x="532" y="370"/>
                      <a:pt x="532" y="370"/>
                    </a:cubicBezTo>
                    <a:cubicBezTo>
                      <a:pt x="533" y="370"/>
                      <a:pt x="533" y="370"/>
                      <a:pt x="533" y="370"/>
                    </a:cubicBezTo>
                    <a:cubicBezTo>
                      <a:pt x="533" y="369"/>
                      <a:pt x="533" y="369"/>
                      <a:pt x="533" y="369"/>
                    </a:cubicBezTo>
                    <a:cubicBezTo>
                      <a:pt x="532" y="369"/>
                      <a:pt x="532" y="369"/>
                      <a:pt x="532" y="369"/>
                    </a:cubicBezTo>
                    <a:cubicBezTo>
                      <a:pt x="531" y="367"/>
                      <a:pt x="531" y="367"/>
                      <a:pt x="531" y="367"/>
                    </a:cubicBezTo>
                    <a:cubicBezTo>
                      <a:pt x="532" y="366"/>
                      <a:pt x="532" y="366"/>
                      <a:pt x="532" y="366"/>
                    </a:cubicBezTo>
                    <a:cubicBezTo>
                      <a:pt x="534" y="366"/>
                      <a:pt x="534" y="366"/>
                      <a:pt x="534" y="366"/>
                    </a:cubicBezTo>
                    <a:cubicBezTo>
                      <a:pt x="535" y="367"/>
                      <a:pt x="535" y="367"/>
                      <a:pt x="535" y="367"/>
                    </a:cubicBezTo>
                    <a:cubicBezTo>
                      <a:pt x="535" y="366"/>
                      <a:pt x="535" y="366"/>
                      <a:pt x="535" y="366"/>
                    </a:cubicBezTo>
                    <a:cubicBezTo>
                      <a:pt x="537" y="366"/>
                      <a:pt x="537" y="366"/>
                      <a:pt x="537" y="366"/>
                    </a:cubicBezTo>
                    <a:cubicBezTo>
                      <a:pt x="538" y="365"/>
                      <a:pt x="538" y="365"/>
                      <a:pt x="538" y="365"/>
                    </a:cubicBezTo>
                    <a:cubicBezTo>
                      <a:pt x="537" y="364"/>
                      <a:pt x="537" y="364"/>
                      <a:pt x="537" y="364"/>
                    </a:cubicBezTo>
                    <a:cubicBezTo>
                      <a:pt x="536" y="363"/>
                      <a:pt x="536" y="363"/>
                      <a:pt x="536" y="363"/>
                    </a:cubicBezTo>
                    <a:cubicBezTo>
                      <a:pt x="535" y="362"/>
                      <a:pt x="535" y="362"/>
                      <a:pt x="535" y="362"/>
                    </a:cubicBezTo>
                    <a:cubicBezTo>
                      <a:pt x="534" y="362"/>
                      <a:pt x="534" y="362"/>
                      <a:pt x="534" y="362"/>
                    </a:cubicBezTo>
                    <a:cubicBezTo>
                      <a:pt x="534" y="359"/>
                      <a:pt x="534" y="359"/>
                      <a:pt x="534" y="359"/>
                    </a:cubicBezTo>
                    <a:cubicBezTo>
                      <a:pt x="535" y="357"/>
                      <a:pt x="535" y="357"/>
                      <a:pt x="535" y="357"/>
                    </a:cubicBezTo>
                    <a:cubicBezTo>
                      <a:pt x="535" y="356"/>
                      <a:pt x="535" y="356"/>
                      <a:pt x="535" y="356"/>
                    </a:cubicBezTo>
                    <a:cubicBezTo>
                      <a:pt x="537" y="356"/>
                      <a:pt x="537" y="356"/>
                      <a:pt x="537" y="356"/>
                    </a:cubicBezTo>
                    <a:cubicBezTo>
                      <a:pt x="536" y="354"/>
                      <a:pt x="536" y="354"/>
                      <a:pt x="536" y="354"/>
                    </a:cubicBezTo>
                    <a:cubicBezTo>
                      <a:pt x="536" y="353"/>
                      <a:pt x="536" y="353"/>
                      <a:pt x="536" y="353"/>
                    </a:cubicBezTo>
                    <a:cubicBezTo>
                      <a:pt x="537" y="351"/>
                      <a:pt x="537" y="351"/>
                      <a:pt x="537" y="351"/>
                    </a:cubicBezTo>
                    <a:cubicBezTo>
                      <a:pt x="537" y="351"/>
                      <a:pt x="537" y="351"/>
                      <a:pt x="537" y="351"/>
                    </a:cubicBezTo>
                    <a:cubicBezTo>
                      <a:pt x="537" y="350"/>
                      <a:pt x="537" y="350"/>
                      <a:pt x="537" y="350"/>
                    </a:cubicBezTo>
                    <a:cubicBezTo>
                      <a:pt x="538" y="350"/>
                      <a:pt x="538" y="350"/>
                      <a:pt x="538" y="350"/>
                    </a:cubicBezTo>
                    <a:cubicBezTo>
                      <a:pt x="539" y="348"/>
                      <a:pt x="539" y="348"/>
                      <a:pt x="539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7" y="346"/>
                      <a:pt x="537" y="346"/>
                      <a:pt x="537" y="346"/>
                    </a:cubicBezTo>
                    <a:cubicBezTo>
                      <a:pt x="539" y="347"/>
                      <a:pt x="539" y="347"/>
                      <a:pt x="539" y="347"/>
                    </a:cubicBezTo>
                    <a:cubicBezTo>
                      <a:pt x="540" y="348"/>
                      <a:pt x="540" y="348"/>
                      <a:pt x="540" y="348"/>
                    </a:cubicBezTo>
                    <a:cubicBezTo>
                      <a:pt x="541" y="348"/>
                      <a:pt x="541" y="348"/>
                      <a:pt x="541" y="348"/>
                    </a:cubicBezTo>
                    <a:cubicBezTo>
                      <a:pt x="543" y="347"/>
                      <a:pt x="543" y="347"/>
                      <a:pt x="543" y="347"/>
                    </a:cubicBezTo>
                    <a:cubicBezTo>
                      <a:pt x="546" y="348"/>
                      <a:pt x="546" y="348"/>
                      <a:pt x="546" y="348"/>
                    </a:cubicBezTo>
                    <a:cubicBezTo>
                      <a:pt x="548" y="350"/>
                      <a:pt x="548" y="350"/>
                      <a:pt x="548" y="350"/>
                    </a:cubicBezTo>
                    <a:cubicBezTo>
                      <a:pt x="548" y="351"/>
                      <a:pt x="548" y="351"/>
                      <a:pt x="548" y="351"/>
                    </a:cubicBezTo>
                    <a:cubicBezTo>
                      <a:pt x="549" y="352"/>
                      <a:pt x="549" y="352"/>
                      <a:pt x="549" y="352"/>
                    </a:cubicBezTo>
                    <a:cubicBezTo>
                      <a:pt x="553" y="354"/>
                      <a:pt x="553" y="354"/>
                      <a:pt x="553" y="354"/>
                    </a:cubicBezTo>
                    <a:cubicBezTo>
                      <a:pt x="555" y="352"/>
                      <a:pt x="555" y="352"/>
                      <a:pt x="555" y="352"/>
                    </a:cubicBezTo>
                    <a:cubicBezTo>
                      <a:pt x="557" y="354"/>
                      <a:pt x="557" y="354"/>
                      <a:pt x="557" y="354"/>
                    </a:cubicBezTo>
                    <a:cubicBezTo>
                      <a:pt x="559" y="355"/>
                      <a:pt x="559" y="355"/>
                      <a:pt x="559" y="355"/>
                    </a:cubicBezTo>
                    <a:cubicBezTo>
                      <a:pt x="559" y="356"/>
                      <a:pt x="559" y="356"/>
                      <a:pt x="559" y="356"/>
                    </a:cubicBezTo>
                    <a:cubicBezTo>
                      <a:pt x="558" y="356"/>
                      <a:pt x="558" y="356"/>
                      <a:pt x="558" y="356"/>
                    </a:cubicBezTo>
                    <a:cubicBezTo>
                      <a:pt x="559" y="358"/>
                      <a:pt x="559" y="358"/>
                      <a:pt x="559" y="358"/>
                    </a:cubicBezTo>
                    <a:cubicBezTo>
                      <a:pt x="558" y="358"/>
                      <a:pt x="558" y="358"/>
                      <a:pt x="558" y="358"/>
                    </a:cubicBezTo>
                    <a:cubicBezTo>
                      <a:pt x="557" y="357"/>
                      <a:pt x="557" y="357"/>
                      <a:pt x="557" y="357"/>
                    </a:cubicBezTo>
                    <a:cubicBezTo>
                      <a:pt x="555" y="357"/>
                      <a:pt x="555" y="357"/>
                      <a:pt x="555" y="357"/>
                    </a:cubicBezTo>
                    <a:cubicBezTo>
                      <a:pt x="555" y="358"/>
                      <a:pt x="555" y="358"/>
                      <a:pt x="555" y="358"/>
                    </a:cubicBezTo>
                    <a:cubicBezTo>
                      <a:pt x="559" y="361"/>
                      <a:pt x="559" y="361"/>
                      <a:pt x="559" y="361"/>
                    </a:cubicBezTo>
                    <a:cubicBezTo>
                      <a:pt x="560" y="363"/>
                      <a:pt x="560" y="363"/>
                      <a:pt x="560" y="363"/>
                    </a:cubicBezTo>
                    <a:cubicBezTo>
                      <a:pt x="558" y="363"/>
                      <a:pt x="558" y="363"/>
                      <a:pt x="558" y="363"/>
                    </a:cubicBezTo>
                    <a:cubicBezTo>
                      <a:pt x="559" y="364"/>
                      <a:pt x="559" y="364"/>
                      <a:pt x="559" y="364"/>
                    </a:cubicBezTo>
                    <a:cubicBezTo>
                      <a:pt x="561" y="363"/>
                      <a:pt x="561" y="363"/>
                      <a:pt x="561" y="363"/>
                    </a:cubicBezTo>
                    <a:cubicBezTo>
                      <a:pt x="564" y="364"/>
                      <a:pt x="564" y="364"/>
                      <a:pt x="564" y="364"/>
                    </a:cubicBezTo>
                    <a:cubicBezTo>
                      <a:pt x="564" y="365"/>
                      <a:pt x="564" y="365"/>
                      <a:pt x="564" y="365"/>
                    </a:cubicBezTo>
                    <a:cubicBezTo>
                      <a:pt x="565" y="366"/>
                      <a:pt x="565" y="366"/>
                      <a:pt x="565" y="366"/>
                    </a:cubicBezTo>
                    <a:cubicBezTo>
                      <a:pt x="566" y="367"/>
                      <a:pt x="566" y="367"/>
                      <a:pt x="566" y="367"/>
                    </a:cubicBezTo>
                    <a:cubicBezTo>
                      <a:pt x="564" y="368"/>
                      <a:pt x="564" y="368"/>
                      <a:pt x="564" y="368"/>
                    </a:cubicBezTo>
                    <a:cubicBezTo>
                      <a:pt x="561" y="371"/>
                      <a:pt x="561" y="371"/>
                      <a:pt x="561" y="371"/>
                    </a:cubicBezTo>
                    <a:cubicBezTo>
                      <a:pt x="560" y="371"/>
                      <a:pt x="560" y="371"/>
                      <a:pt x="560" y="371"/>
                    </a:cubicBezTo>
                    <a:cubicBezTo>
                      <a:pt x="558" y="372"/>
                      <a:pt x="558" y="372"/>
                      <a:pt x="558" y="372"/>
                    </a:cubicBezTo>
                    <a:cubicBezTo>
                      <a:pt x="561" y="372"/>
                      <a:pt x="561" y="372"/>
                      <a:pt x="561" y="372"/>
                    </a:cubicBezTo>
                    <a:cubicBezTo>
                      <a:pt x="562" y="373"/>
                      <a:pt x="562" y="373"/>
                      <a:pt x="562" y="373"/>
                    </a:cubicBezTo>
                    <a:cubicBezTo>
                      <a:pt x="562" y="374"/>
                      <a:pt x="562" y="374"/>
                      <a:pt x="562" y="374"/>
                    </a:cubicBezTo>
                    <a:cubicBezTo>
                      <a:pt x="563" y="374"/>
                      <a:pt x="563" y="374"/>
                      <a:pt x="563" y="374"/>
                    </a:cubicBezTo>
                    <a:cubicBezTo>
                      <a:pt x="563" y="375"/>
                      <a:pt x="563" y="375"/>
                      <a:pt x="563" y="375"/>
                    </a:cubicBezTo>
                    <a:cubicBezTo>
                      <a:pt x="562" y="376"/>
                      <a:pt x="562" y="376"/>
                      <a:pt x="562" y="376"/>
                    </a:cubicBezTo>
                    <a:cubicBezTo>
                      <a:pt x="563" y="377"/>
                      <a:pt x="563" y="377"/>
                      <a:pt x="563" y="377"/>
                    </a:cubicBezTo>
                    <a:cubicBezTo>
                      <a:pt x="560" y="379"/>
                      <a:pt x="560" y="379"/>
                      <a:pt x="560" y="379"/>
                    </a:cubicBezTo>
                    <a:cubicBezTo>
                      <a:pt x="558" y="380"/>
                      <a:pt x="558" y="380"/>
                      <a:pt x="558" y="380"/>
                    </a:cubicBezTo>
                    <a:cubicBezTo>
                      <a:pt x="556" y="379"/>
                      <a:pt x="556" y="379"/>
                      <a:pt x="556" y="379"/>
                    </a:cubicBezTo>
                    <a:cubicBezTo>
                      <a:pt x="556" y="381"/>
                      <a:pt x="556" y="381"/>
                      <a:pt x="556" y="381"/>
                    </a:cubicBezTo>
                    <a:cubicBezTo>
                      <a:pt x="554" y="380"/>
                      <a:pt x="554" y="380"/>
                      <a:pt x="554" y="380"/>
                    </a:cubicBezTo>
                    <a:cubicBezTo>
                      <a:pt x="553" y="378"/>
                      <a:pt x="553" y="378"/>
                      <a:pt x="553" y="378"/>
                    </a:cubicBezTo>
                    <a:cubicBezTo>
                      <a:pt x="551" y="378"/>
                      <a:pt x="551" y="378"/>
                      <a:pt x="551" y="378"/>
                    </a:cubicBezTo>
                    <a:cubicBezTo>
                      <a:pt x="550" y="377"/>
                      <a:pt x="550" y="377"/>
                      <a:pt x="550" y="377"/>
                    </a:cubicBezTo>
                    <a:cubicBezTo>
                      <a:pt x="549" y="377"/>
                      <a:pt x="549" y="377"/>
                      <a:pt x="549" y="377"/>
                    </a:cubicBezTo>
                    <a:cubicBezTo>
                      <a:pt x="549" y="379"/>
                      <a:pt x="549" y="379"/>
                      <a:pt x="549" y="379"/>
                    </a:cubicBezTo>
                    <a:cubicBezTo>
                      <a:pt x="548" y="379"/>
                      <a:pt x="548" y="379"/>
                      <a:pt x="548" y="379"/>
                    </a:cubicBezTo>
                    <a:cubicBezTo>
                      <a:pt x="550" y="380"/>
                      <a:pt x="550" y="380"/>
                      <a:pt x="550" y="380"/>
                    </a:cubicBezTo>
                    <a:cubicBezTo>
                      <a:pt x="551" y="381"/>
                      <a:pt x="551" y="381"/>
                      <a:pt x="551" y="381"/>
                    </a:cubicBezTo>
                    <a:cubicBezTo>
                      <a:pt x="550" y="382"/>
                      <a:pt x="550" y="382"/>
                      <a:pt x="550" y="382"/>
                    </a:cubicBezTo>
                    <a:cubicBezTo>
                      <a:pt x="549" y="383"/>
                      <a:pt x="549" y="383"/>
                      <a:pt x="549" y="383"/>
                    </a:cubicBezTo>
                    <a:cubicBezTo>
                      <a:pt x="551" y="384"/>
                      <a:pt x="551" y="384"/>
                      <a:pt x="551" y="384"/>
                    </a:cubicBezTo>
                    <a:cubicBezTo>
                      <a:pt x="550" y="385"/>
                      <a:pt x="550" y="385"/>
                      <a:pt x="550" y="385"/>
                    </a:cubicBezTo>
                    <a:cubicBezTo>
                      <a:pt x="550" y="386"/>
                      <a:pt x="550" y="386"/>
                      <a:pt x="550" y="386"/>
                    </a:cubicBezTo>
                    <a:cubicBezTo>
                      <a:pt x="551" y="387"/>
                      <a:pt x="551" y="387"/>
                      <a:pt x="551" y="387"/>
                    </a:cubicBezTo>
                    <a:cubicBezTo>
                      <a:pt x="552" y="385"/>
                      <a:pt x="552" y="385"/>
                      <a:pt x="552" y="385"/>
                    </a:cubicBezTo>
                    <a:cubicBezTo>
                      <a:pt x="552" y="385"/>
                      <a:pt x="552" y="385"/>
                      <a:pt x="552" y="385"/>
                    </a:cubicBezTo>
                    <a:cubicBezTo>
                      <a:pt x="552" y="387"/>
                      <a:pt x="552" y="387"/>
                      <a:pt x="552" y="387"/>
                    </a:cubicBezTo>
                    <a:cubicBezTo>
                      <a:pt x="550" y="388"/>
                      <a:pt x="550" y="388"/>
                      <a:pt x="550" y="388"/>
                    </a:cubicBezTo>
                    <a:cubicBezTo>
                      <a:pt x="549" y="390"/>
                      <a:pt x="549" y="390"/>
                      <a:pt x="549" y="390"/>
                    </a:cubicBezTo>
                    <a:cubicBezTo>
                      <a:pt x="549" y="392"/>
                      <a:pt x="549" y="392"/>
                      <a:pt x="549" y="392"/>
                    </a:cubicBezTo>
                    <a:cubicBezTo>
                      <a:pt x="551" y="393"/>
                      <a:pt x="551" y="393"/>
                      <a:pt x="551" y="393"/>
                    </a:cubicBezTo>
                    <a:cubicBezTo>
                      <a:pt x="551" y="395"/>
                      <a:pt x="551" y="395"/>
                      <a:pt x="551" y="395"/>
                    </a:cubicBezTo>
                    <a:cubicBezTo>
                      <a:pt x="553" y="399"/>
                      <a:pt x="553" y="399"/>
                      <a:pt x="553" y="399"/>
                    </a:cubicBezTo>
                    <a:cubicBezTo>
                      <a:pt x="553" y="401"/>
                      <a:pt x="553" y="401"/>
                      <a:pt x="553" y="401"/>
                    </a:cubicBezTo>
                    <a:cubicBezTo>
                      <a:pt x="552" y="402"/>
                      <a:pt x="552" y="402"/>
                      <a:pt x="552" y="402"/>
                    </a:cubicBezTo>
                    <a:cubicBezTo>
                      <a:pt x="552" y="403"/>
                      <a:pt x="552" y="403"/>
                      <a:pt x="552" y="403"/>
                    </a:cubicBezTo>
                    <a:cubicBezTo>
                      <a:pt x="549" y="406"/>
                      <a:pt x="549" y="406"/>
                      <a:pt x="549" y="406"/>
                    </a:cubicBezTo>
                    <a:cubicBezTo>
                      <a:pt x="550" y="407"/>
                      <a:pt x="550" y="407"/>
                      <a:pt x="550" y="407"/>
                    </a:cubicBezTo>
                    <a:cubicBezTo>
                      <a:pt x="549" y="409"/>
                      <a:pt x="549" y="409"/>
                      <a:pt x="549" y="409"/>
                    </a:cubicBezTo>
                    <a:cubicBezTo>
                      <a:pt x="547" y="408"/>
                      <a:pt x="547" y="408"/>
                      <a:pt x="547" y="408"/>
                    </a:cubicBezTo>
                    <a:cubicBezTo>
                      <a:pt x="544" y="408"/>
                      <a:pt x="544" y="408"/>
                      <a:pt x="544" y="408"/>
                    </a:cubicBezTo>
                    <a:cubicBezTo>
                      <a:pt x="543" y="409"/>
                      <a:pt x="543" y="409"/>
                      <a:pt x="543" y="409"/>
                    </a:cubicBezTo>
                    <a:cubicBezTo>
                      <a:pt x="542" y="411"/>
                      <a:pt x="542" y="411"/>
                      <a:pt x="542" y="411"/>
                    </a:cubicBezTo>
                    <a:cubicBezTo>
                      <a:pt x="540" y="412"/>
                      <a:pt x="540" y="412"/>
                      <a:pt x="540" y="412"/>
                    </a:cubicBezTo>
                    <a:cubicBezTo>
                      <a:pt x="539" y="414"/>
                      <a:pt x="539" y="414"/>
                      <a:pt x="539" y="414"/>
                    </a:cubicBezTo>
                    <a:cubicBezTo>
                      <a:pt x="538" y="414"/>
                      <a:pt x="538" y="414"/>
                      <a:pt x="538" y="414"/>
                    </a:cubicBezTo>
                    <a:cubicBezTo>
                      <a:pt x="535" y="417"/>
                      <a:pt x="535" y="417"/>
                      <a:pt x="535" y="417"/>
                    </a:cubicBezTo>
                    <a:cubicBezTo>
                      <a:pt x="534" y="416"/>
                      <a:pt x="534" y="416"/>
                      <a:pt x="534" y="416"/>
                    </a:cubicBezTo>
                    <a:cubicBezTo>
                      <a:pt x="533" y="416"/>
                      <a:pt x="533" y="416"/>
                      <a:pt x="533" y="416"/>
                    </a:cubicBezTo>
                    <a:cubicBezTo>
                      <a:pt x="532" y="418"/>
                      <a:pt x="532" y="418"/>
                      <a:pt x="532" y="418"/>
                    </a:cubicBezTo>
                    <a:cubicBezTo>
                      <a:pt x="527" y="420"/>
                      <a:pt x="527" y="420"/>
                      <a:pt x="527" y="420"/>
                    </a:cubicBezTo>
                    <a:cubicBezTo>
                      <a:pt x="526" y="419"/>
                      <a:pt x="526" y="419"/>
                      <a:pt x="526" y="419"/>
                    </a:cubicBezTo>
                    <a:cubicBezTo>
                      <a:pt x="527" y="418"/>
                      <a:pt x="527" y="418"/>
                      <a:pt x="527" y="418"/>
                    </a:cubicBezTo>
                    <a:cubicBezTo>
                      <a:pt x="526" y="415"/>
                      <a:pt x="526" y="415"/>
                      <a:pt x="526" y="415"/>
                    </a:cubicBezTo>
                    <a:cubicBezTo>
                      <a:pt x="525" y="414"/>
                      <a:pt x="525" y="414"/>
                      <a:pt x="525" y="414"/>
                    </a:cubicBezTo>
                    <a:cubicBezTo>
                      <a:pt x="525" y="413"/>
                      <a:pt x="525" y="413"/>
                      <a:pt x="525" y="413"/>
                    </a:cubicBezTo>
                    <a:cubicBezTo>
                      <a:pt x="526" y="412"/>
                      <a:pt x="526" y="412"/>
                      <a:pt x="526" y="412"/>
                    </a:cubicBezTo>
                    <a:cubicBezTo>
                      <a:pt x="526" y="411"/>
                      <a:pt x="526" y="411"/>
                      <a:pt x="526" y="411"/>
                    </a:cubicBezTo>
                    <a:cubicBezTo>
                      <a:pt x="528" y="408"/>
                      <a:pt x="528" y="408"/>
                      <a:pt x="528" y="408"/>
                    </a:cubicBezTo>
                    <a:cubicBezTo>
                      <a:pt x="526" y="410"/>
                      <a:pt x="526" y="410"/>
                      <a:pt x="526" y="410"/>
                    </a:cubicBezTo>
                    <a:cubicBezTo>
                      <a:pt x="525" y="410"/>
                      <a:pt x="525" y="410"/>
                      <a:pt x="525" y="410"/>
                    </a:cubicBezTo>
                    <a:cubicBezTo>
                      <a:pt x="525" y="406"/>
                      <a:pt x="525" y="406"/>
                      <a:pt x="525" y="406"/>
                    </a:cubicBezTo>
                    <a:cubicBezTo>
                      <a:pt x="524" y="406"/>
                      <a:pt x="524" y="406"/>
                      <a:pt x="524" y="406"/>
                    </a:cubicBezTo>
                    <a:cubicBezTo>
                      <a:pt x="523" y="404"/>
                      <a:pt x="523" y="404"/>
                      <a:pt x="523" y="404"/>
                    </a:cubicBezTo>
                    <a:cubicBezTo>
                      <a:pt x="521" y="405"/>
                      <a:pt x="521" y="405"/>
                      <a:pt x="521" y="405"/>
                    </a:cubicBezTo>
                    <a:cubicBezTo>
                      <a:pt x="520" y="404"/>
                      <a:pt x="520" y="404"/>
                      <a:pt x="520" y="404"/>
                    </a:cubicBezTo>
                    <a:cubicBezTo>
                      <a:pt x="518" y="405"/>
                      <a:pt x="518" y="405"/>
                      <a:pt x="518" y="405"/>
                    </a:cubicBezTo>
                    <a:cubicBezTo>
                      <a:pt x="517" y="407"/>
                      <a:pt x="517" y="407"/>
                      <a:pt x="517" y="407"/>
                    </a:cubicBezTo>
                    <a:cubicBezTo>
                      <a:pt x="518" y="407"/>
                      <a:pt x="518" y="407"/>
                      <a:pt x="518" y="407"/>
                    </a:cubicBezTo>
                    <a:cubicBezTo>
                      <a:pt x="520" y="406"/>
                      <a:pt x="520" y="406"/>
                      <a:pt x="520" y="406"/>
                    </a:cubicBezTo>
                    <a:cubicBezTo>
                      <a:pt x="521" y="406"/>
                      <a:pt x="521" y="406"/>
                      <a:pt x="521" y="406"/>
                    </a:cubicBezTo>
                    <a:cubicBezTo>
                      <a:pt x="521" y="408"/>
                      <a:pt x="521" y="408"/>
                      <a:pt x="521" y="408"/>
                    </a:cubicBezTo>
                    <a:cubicBezTo>
                      <a:pt x="523" y="409"/>
                      <a:pt x="523" y="409"/>
                      <a:pt x="523" y="409"/>
                    </a:cubicBezTo>
                    <a:cubicBezTo>
                      <a:pt x="524" y="412"/>
                      <a:pt x="524" y="412"/>
                      <a:pt x="524" y="412"/>
                    </a:cubicBezTo>
                    <a:cubicBezTo>
                      <a:pt x="523" y="415"/>
                      <a:pt x="523" y="415"/>
                      <a:pt x="523" y="415"/>
                    </a:cubicBezTo>
                    <a:cubicBezTo>
                      <a:pt x="524" y="415"/>
                      <a:pt x="524" y="415"/>
                      <a:pt x="524" y="415"/>
                    </a:cubicBezTo>
                    <a:cubicBezTo>
                      <a:pt x="525" y="418"/>
                      <a:pt x="525" y="418"/>
                      <a:pt x="525" y="418"/>
                    </a:cubicBezTo>
                    <a:cubicBezTo>
                      <a:pt x="524" y="419"/>
                      <a:pt x="524" y="419"/>
                      <a:pt x="524" y="419"/>
                    </a:cubicBezTo>
                    <a:cubicBezTo>
                      <a:pt x="525" y="420"/>
                      <a:pt x="525" y="420"/>
                      <a:pt x="525" y="420"/>
                    </a:cubicBezTo>
                    <a:cubicBezTo>
                      <a:pt x="524" y="421"/>
                      <a:pt x="524" y="421"/>
                      <a:pt x="524" y="421"/>
                    </a:cubicBezTo>
                    <a:cubicBezTo>
                      <a:pt x="523" y="421"/>
                      <a:pt x="523" y="421"/>
                      <a:pt x="523" y="421"/>
                    </a:cubicBezTo>
                    <a:cubicBezTo>
                      <a:pt x="520" y="419"/>
                      <a:pt x="520" y="419"/>
                      <a:pt x="520" y="419"/>
                    </a:cubicBezTo>
                    <a:cubicBezTo>
                      <a:pt x="520" y="417"/>
                      <a:pt x="520" y="417"/>
                      <a:pt x="520" y="417"/>
                    </a:cubicBezTo>
                    <a:cubicBezTo>
                      <a:pt x="519" y="417"/>
                      <a:pt x="519" y="417"/>
                      <a:pt x="519" y="417"/>
                    </a:cubicBezTo>
                    <a:cubicBezTo>
                      <a:pt x="518" y="415"/>
                      <a:pt x="518" y="415"/>
                      <a:pt x="518" y="415"/>
                    </a:cubicBezTo>
                    <a:cubicBezTo>
                      <a:pt x="517" y="417"/>
                      <a:pt x="517" y="417"/>
                      <a:pt x="517" y="417"/>
                    </a:cubicBezTo>
                    <a:cubicBezTo>
                      <a:pt x="519" y="418"/>
                      <a:pt x="519" y="418"/>
                      <a:pt x="519" y="418"/>
                    </a:cubicBezTo>
                    <a:cubicBezTo>
                      <a:pt x="519" y="420"/>
                      <a:pt x="519" y="420"/>
                      <a:pt x="519" y="420"/>
                    </a:cubicBezTo>
                    <a:cubicBezTo>
                      <a:pt x="516" y="419"/>
                      <a:pt x="516" y="419"/>
                      <a:pt x="516" y="419"/>
                    </a:cubicBezTo>
                    <a:cubicBezTo>
                      <a:pt x="515" y="418"/>
                      <a:pt x="515" y="418"/>
                      <a:pt x="515" y="418"/>
                    </a:cubicBezTo>
                    <a:cubicBezTo>
                      <a:pt x="515" y="417"/>
                      <a:pt x="515" y="417"/>
                      <a:pt x="515" y="417"/>
                    </a:cubicBezTo>
                    <a:cubicBezTo>
                      <a:pt x="513" y="418"/>
                      <a:pt x="513" y="418"/>
                      <a:pt x="513" y="418"/>
                    </a:cubicBezTo>
                    <a:cubicBezTo>
                      <a:pt x="513" y="417"/>
                      <a:pt x="513" y="417"/>
                      <a:pt x="513" y="417"/>
                    </a:cubicBezTo>
                    <a:cubicBezTo>
                      <a:pt x="514" y="414"/>
                      <a:pt x="514" y="414"/>
                      <a:pt x="514" y="414"/>
                    </a:cubicBezTo>
                    <a:cubicBezTo>
                      <a:pt x="515" y="413"/>
                      <a:pt x="515" y="413"/>
                      <a:pt x="515" y="413"/>
                    </a:cubicBezTo>
                    <a:cubicBezTo>
                      <a:pt x="513" y="413"/>
                      <a:pt x="513" y="413"/>
                      <a:pt x="513" y="413"/>
                    </a:cubicBezTo>
                    <a:cubicBezTo>
                      <a:pt x="513" y="412"/>
                      <a:pt x="513" y="412"/>
                      <a:pt x="513" y="412"/>
                    </a:cubicBezTo>
                    <a:cubicBezTo>
                      <a:pt x="511" y="413"/>
                      <a:pt x="511" y="413"/>
                      <a:pt x="511" y="413"/>
                    </a:cubicBezTo>
                    <a:cubicBezTo>
                      <a:pt x="508" y="413"/>
                      <a:pt x="508" y="413"/>
                      <a:pt x="508" y="413"/>
                    </a:cubicBezTo>
                    <a:cubicBezTo>
                      <a:pt x="507" y="412"/>
                      <a:pt x="507" y="412"/>
                      <a:pt x="507" y="412"/>
                    </a:cubicBezTo>
                    <a:cubicBezTo>
                      <a:pt x="505" y="412"/>
                      <a:pt x="505" y="412"/>
                      <a:pt x="505" y="412"/>
                    </a:cubicBezTo>
                    <a:cubicBezTo>
                      <a:pt x="503" y="411"/>
                      <a:pt x="503" y="411"/>
                      <a:pt x="503" y="411"/>
                    </a:cubicBezTo>
                    <a:cubicBezTo>
                      <a:pt x="503" y="412"/>
                      <a:pt x="503" y="412"/>
                      <a:pt x="503" y="412"/>
                    </a:cubicBezTo>
                    <a:cubicBezTo>
                      <a:pt x="503" y="413"/>
                      <a:pt x="503" y="413"/>
                      <a:pt x="503" y="413"/>
                    </a:cubicBezTo>
                    <a:cubicBezTo>
                      <a:pt x="502" y="414"/>
                      <a:pt x="502" y="414"/>
                      <a:pt x="502" y="414"/>
                    </a:cubicBezTo>
                    <a:cubicBezTo>
                      <a:pt x="503" y="416"/>
                      <a:pt x="503" y="416"/>
                      <a:pt x="503" y="416"/>
                    </a:cubicBezTo>
                    <a:cubicBezTo>
                      <a:pt x="503" y="417"/>
                      <a:pt x="503" y="417"/>
                      <a:pt x="503" y="417"/>
                    </a:cubicBezTo>
                    <a:cubicBezTo>
                      <a:pt x="506" y="418"/>
                      <a:pt x="506" y="418"/>
                      <a:pt x="506" y="418"/>
                    </a:cubicBezTo>
                    <a:cubicBezTo>
                      <a:pt x="507" y="420"/>
                      <a:pt x="507" y="420"/>
                      <a:pt x="507" y="420"/>
                    </a:cubicBezTo>
                    <a:cubicBezTo>
                      <a:pt x="505" y="422"/>
                      <a:pt x="505" y="422"/>
                      <a:pt x="505" y="422"/>
                    </a:cubicBezTo>
                    <a:cubicBezTo>
                      <a:pt x="504" y="423"/>
                      <a:pt x="504" y="423"/>
                      <a:pt x="504" y="423"/>
                    </a:cubicBezTo>
                    <a:cubicBezTo>
                      <a:pt x="500" y="426"/>
                      <a:pt x="500" y="426"/>
                      <a:pt x="500" y="426"/>
                    </a:cubicBezTo>
                    <a:cubicBezTo>
                      <a:pt x="498" y="429"/>
                      <a:pt x="498" y="429"/>
                      <a:pt x="498" y="429"/>
                    </a:cubicBezTo>
                    <a:cubicBezTo>
                      <a:pt x="495" y="432"/>
                      <a:pt x="495" y="432"/>
                      <a:pt x="495" y="432"/>
                    </a:cubicBezTo>
                    <a:cubicBezTo>
                      <a:pt x="494" y="431"/>
                      <a:pt x="494" y="431"/>
                      <a:pt x="494" y="431"/>
                    </a:cubicBezTo>
                    <a:cubicBezTo>
                      <a:pt x="492" y="432"/>
                      <a:pt x="492" y="432"/>
                      <a:pt x="492" y="432"/>
                    </a:cubicBezTo>
                    <a:cubicBezTo>
                      <a:pt x="492" y="434"/>
                      <a:pt x="492" y="434"/>
                      <a:pt x="492" y="434"/>
                    </a:cubicBezTo>
                    <a:cubicBezTo>
                      <a:pt x="490" y="435"/>
                      <a:pt x="490" y="435"/>
                      <a:pt x="490" y="435"/>
                    </a:cubicBezTo>
                    <a:cubicBezTo>
                      <a:pt x="484" y="434"/>
                      <a:pt x="484" y="434"/>
                      <a:pt x="484" y="434"/>
                    </a:cubicBezTo>
                    <a:cubicBezTo>
                      <a:pt x="483" y="432"/>
                      <a:pt x="483" y="432"/>
                      <a:pt x="483" y="432"/>
                    </a:cubicBezTo>
                    <a:cubicBezTo>
                      <a:pt x="482" y="430"/>
                      <a:pt x="482" y="430"/>
                      <a:pt x="482" y="430"/>
                    </a:cubicBezTo>
                    <a:cubicBezTo>
                      <a:pt x="479" y="428"/>
                      <a:pt x="479" y="428"/>
                      <a:pt x="479" y="428"/>
                    </a:cubicBezTo>
                    <a:cubicBezTo>
                      <a:pt x="479" y="427"/>
                      <a:pt x="479" y="427"/>
                      <a:pt x="479" y="427"/>
                    </a:cubicBezTo>
                    <a:cubicBezTo>
                      <a:pt x="480" y="427"/>
                      <a:pt x="480" y="427"/>
                      <a:pt x="480" y="427"/>
                    </a:cubicBezTo>
                    <a:cubicBezTo>
                      <a:pt x="481" y="427"/>
                      <a:pt x="481" y="427"/>
                      <a:pt x="481" y="427"/>
                    </a:cubicBezTo>
                    <a:cubicBezTo>
                      <a:pt x="480" y="426"/>
                      <a:pt x="480" y="426"/>
                      <a:pt x="480" y="426"/>
                    </a:cubicBezTo>
                    <a:cubicBezTo>
                      <a:pt x="478" y="425"/>
                      <a:pt x="478" y="425"/>
                      <a:pt x="478" y="425"/>
                    </a:cubicBezTo>
                    <a:cubicBezTo>
                      <a:pt x="476" y="421"/>
                      <a:pt x="476" y="421"/>
                      <a:pt x="476" y="421"/>
                    </a:cubicBezTo>
                    <a:cubicBezTo>
                      <a:pt x="473" y="419"/>
                      <a:pt x="473" y="419"/>
                      <a:pt x="473" y="419"/>
                    </a:cubicBezTo>
                    <a:cubicBezTo>
                      <a:pt x="469" y="419"/>
                      <a:pt x="469" y="419"/>
                      <a:pt x="469" y="419"/>
                    </a:cubicBezTo>
                    <a:cubicBezTo>
                      <a:pt x="467" y="417"/>
                      <a:pt x="467" y="417"/>
                      <a:pt x="467" y="417"/>
                    </a:cubicBezTo>
                    <a:cubicBezTo>
                      <a:pt x="462" y="417"/>
                      <a:pt x="462" y="417"/>
                      <a:pt x="462" y="417"/>
                    </a:cubicBezTo>
                    <a:cubicBezTo>
                      <a:pt x="460" y="417"/>
                      <a:pt x="460" y="417"/>
                      <a:pt x="460" y="417"/>
                    </a:cubicBezTo>
                    <a:cubicBezTo>
                      <a:pt x="460" y="418"/>
                      <a:pt x="460" y="418"/>
                      <a:pt x="460" y="418"/>
                    </a:cubicBezTo>
                    <a:cubicBezTo>
                      <a:pt x="462" y="419"/>
                      <a:pt x="462" y="419"/>
                      <a:pt x="462" y="419"/>
                    </a:cubicBezTo>
                    <a:cubicBezTo>
                      <a:pt x="462" y="418"/>
                      <a:pt x="462" y="418"/>
                      <a:pt x="462" y="418"/>
                    </a:cubicBezTo>
                    <a:cubicBezTo>
                      <a:pt x="463" y="418"/>
                      <a:pt x="463" y="418"/>
                      <a:pt x="463" y="418"/>
                    </a:cubicBezTo>
                    <a:cubicBezTo>
                      <a:pt x="468" y="420"/>
                      <a:pt x="468" y="420"/>
                      <a:pt x="468" y="420"/>
                    </a:cubicBezTo>
                    <a:cubicBezTo>
                      <a:pt x="472" y="420"/>
                      <a:pt x="472" y="420"/>
                      <a:pt x="472" y="420"/>
                    </a:cubicBezTo>
                    <a:cubicBezTo>
                      <a:pt x="473" y="421"/>
                      <a:pt x="473" y="421"/>
                      <a:pt x="473" y="421"/>
                    </a:cubicBezTo>
                    <a:cubicBezTo>
                      <a:pt x="473" y="422"/>
                      <a:pt x="473" y="422"/>
                      <a:pt x="473" y="422"/>
                    </a:cubicBezTo>
                    <a:cubicBezTo>
                      <a:pt x="472" y="422"/>
                      <a:pt x="472" y="422"/>
                      <a:pt x="472" y="422"/>
                    </a:cubicBezTo>
                    <a:cubicBezTo>
                      <a:pt x="471" y="422"/>
                      <a:pt x="471" y="422"/>
                      <a:pt x="471" y="422"/>
                    </a:cubicBezTo>
                    <a:cubicBezTo>
                      <a:pt x="472" y="423"/>
                      <a:pt x="472" y="423"/>
                      <a:pt x="472" y="423"/>
                    </a:cubicBezTo>
                    <a:cubicBezTo>
                      <a:pt x="472" y="426"/>
                      <a:pt x="472" y="426"/>
                      <a:pt x="472" y="426"/>
                    </a:cubicBezTo>
                    <a:cubicBezTo>
                      <a:pt x="473" y="426"/>
                      <a:pt x="473" y="426"/>
                      <a:pt x="473" y="426"/>
                    </a:cubicBezTo>
                    <a:cubicBezTo>
                      <a:pt x="475" y="431"/>
                      <a:pt x="475" y="431"/>
                      <a:pt x="475" y="431"/>
                    </a:cubicBezTo>
                    <a:cubicBezTo>
                      <a:pt x="476" y="433"/>
                      <a:pt x="476" y="433"/>
                      <a:pt x="476" y="433"/>
                    </a:cubicBezTo>
                    <a:cubicBezTo>
                      <a:pt x="480" y="435"/>
                      <a:pt x="480" y="435"/>
                      <a:pt x="480" y="435"/>
                    </a:cubicBezTo>
                    <a:cubicBezTo>
                      <a:pt x="484" y="435"/>
                      <a:pt x="484" y="435"/>
                      <a:pt x="484" y="435"/>
                    </a:cubicBezTo>
                    <a:cubicBezTo>
                      <a:pt x="490" y="437"/>
                      <a:pt x="490" y="437"/>
                      <a:pt x="490" y="437"/>
                    </a:cubicBezTo>
                    <a:cubicBezTo>
                      <a:pt x="491" y="440"/>
                      <a:pt x="491" y="440"/>
                      <a:pt x="491" y="440"/>
                    </a:cubicBezTo>
                    <a:cubicBezTo>
                      <a:pt x="490" y="440"/>
                      <a:pt x="490" y="440"/>
                      <a:pt x="490" y="440"/>
                    </a:cubicBezTo>
                    <a:cubicBezTo>
                      <a:pt x="488" y="442"/>
                      <a:pt x="488" y="442"/>
                      <a:pt x="488" y="442"/>
                    </a:cubicBezTo>
                    <a:cubicBezTo>
                      <a:pt x="486" y="443"/>
                      <a:pt x="486" y="443"/>
                      <a:pt x="486" y="443"/>
                    </a:cubicBezTo>
                    <a:cubicBezTo>
                      <a:pt x="483" y="447"/>
                      <a:pt x="483" y="447"/>
                      <a:pt x="483" y="447"/>
                    </a:cubicBezTo>
                    <a:cubicBezTo>
                      <a:pt x="483" y="446"/>
                      <a:pt x="483" y="446"/>
                      <a:pt x="483" y="446"/>
                    </a:cubicBezTo>
                    <a:cubicBezTo>
                      <a:pt x="482" y="446"/>
                      <a:pt x="482" y="446"/>
                      <a:pt x="482" y="446"/>
                    </a:cubicBezTo>
                    <a:cubicBezTo>
                      <a:pt x="482" y="448"/>
                      <a:pt x="482" y="448"/>
                      <a:pt x="482" y="448"/>
                    </a:cubicBezTo>
                    <a:cubicBezTo>
                      <a:pt x="476" y="454"/>
                      <a:pt x="476" y="454"/>
                      <a:pt x="476" y="454"/>
                    </a:cubicBezTo>
                    <a:cubicBezTo>
                      <a:pt x="473" y="455"/>
                      <a:pt x="473" y="455"/>
                      <a:pt x="473" y="455"/>
                    </a:cubicBezTo>
                    <a:cubicBezTo>
                      <a:pt x="471" y="458"/>
                      <a:pt x="471" y="458"/>
                      <a:pt x="471" y="458"/>
                    </a:cubicBezTo>
                    <a:cubicBezTo>
                      <a:pt x="470" y="459"/>
                      <a:pt x="470" y="459"/>
                      <a:pt x="470" y="459"/>
                    </a:cubicBezTo>
                    <a:cubicBezTo>
                      <a:pt x="469" y="458"/>
                      <a:pt x="469" y="458"/>
                      <a:pt x="469" y="458"/>
                    </a:cubicBezTo>
                    <a:cubicBezTo>
                      <a:pt x="468" y="458"/>
                      <a:pt x="468" y="458"/>
                      <a:pt x="468" y="458"/>
                    </a:cubicBezTo>
                    <a:cubicBezTo>
                      <a:pt x="467" y="459"/>
                      <a:pt x="467" y="459"/>
                      <a:pt x="467" y="459"/>
                    </a:cubicBezTo>
                    <a:cubicBezTo>
                      <a:pt x="465" y="456"/>
                      <a:pt x="465" y="456"/>
                      <a:pt x="465" y="456"/>
                    </a:cubicBezTo>
                    <a:cubicBezTo>
                      <a:pt x="463" y="456"/>
                      <a:pt x="463" y="456"/>
                      <a:pt x="463" y="456"/>
                    </a:cubicBezTo>
                    <a:cubicBezTo>
                      <a:pt x="462" y="457"/>
                      <a:pt x="462" y="457"/>
                      <a:pt x="462" y="457"/>
                    </a:cubicBezTo>
                    <a:cubicBezTo>
                      <a:pt x="462" y="456"/>
                      <a:pt x="462" y="456"/>
                      <a:pt x="462" y="456"/>
                    </a:cubicBezTo>
                    <a:cubicBezTo>
                      <a:pt x="461" y="455"/>
                      <a:pt x="461" y="455"/>
                      <a:pt x="461" y="455"/>
                    </a:cubicBezTo>
                    <a:cubicBezTo>
                      <a:pt x="462" y="453"/>
                      <a:pt x="462" y="453"/>
                      <a:pt x="462" y="453"/>
                    </a:cubicBezTo>
                    <a:cubicBezTo>
                      <a:pt x="462" y="453"/>
                      <a:pt x="462" y="453"/>
                      <a:pt x="462" y="453"/>
                    </a:cubicBezTo>
                    <a:cubicBezTo>
                      <a:pt x="461" y="452"/>
                      <a:pt x="461" y="452"/>
                      <a:pt x="461" y="452"/>
                    </a:cubicBezTo>
                    <a:cubicBezTo>
                      <a:pt x="459" y="453"/>
                      <a:pt x="459" y="453"/>
                      <a:pt x="459" y="453"/>
                    </a:cubicBezTo>
                    <a:cubicBezTo>
                      <a:pt x="458" y="457"/>
                      <a:pt x="458" y="457"/>
                      <a:pt x="458" y="457"/>
                    </a:cubicBezTo>
                    <a:cubicBezTo>
                      <a:pt x="458" y="455"/>
                      <a:pt x="458" y="455"/>
                      <a:pt x="458" y="455"/>
                    </a:cubicBezTo>
                    <a:cubicBezTo>
                      <a:pt x="457" y="452"/>
                      <a:pt x="457" y="452"/>
                      <a:pt x="457" y="452"/>
                    </a:cubicBezTo>
                    <a:cubicBezTo>
                      <a:pt x="456" y="455"/>
                      <a:pt x="456" y="455"/>
                      <a:pt x="456" y="455"/>
                    </a:cubicBezTo>
                    <a:cubicBezTo>
                      <a:pt x="457" y="456"/>
                      <a:pt x="457" y="456"/>
                      <a:pt x="457" y="456"/>
                    </a:cubicBezTo>
                    <a:cubicBezTo>
                      <a:pt x="457" y="460"/>
                      <a:pt x="457" y="460"/>
                      <a:pt x="457" y="460"/>
                    </a:cubicBezTo>
                    <a:cubicBezTo>
                      <a:pt x="454" y="463"/>
                      <a:pt x="454" y="463"/>
                      <a:pt x="454" y="463"/>
                    </a:cubicBezTo>
                    <a:cubicBezTo>
                      <a:pt x="453" y="463"/>
                      <a:pt x="453" y="463"/>
                      <a:pt x="453" y="463"/>
                    </a:cubicBezTo>
                    <a:cubicBezTo>
                      <a:pt x="453" y="461"/>
                      <a:pt x="453" y="461"/>
                      <a:pt x="453" y="461"/>
                    </a:cubicBezTo>
                    <a:cubicBezTo>
                      <a:pt x="451" y="459"/>
                      <a:pt x="451" y="459"/>
                      <a:pt x="451" y="459"/>
                    </a:cubicBezTo>
                    <a:cubicBezTo>
                      <a:pt x="451" y="461"/>
                      <a:pt x="451" y="461"/>
                      <a:pt x="451" y="461"/>
                    </a:cubicBezTo>
                    <a:cubicBezTo>
                      <a:pt x="452" y="462"/>
                      <a:pt x="452" y="462"/>
                      <a:pt x="452" y="462"/>
                    </a:cubicBezTo>
                    <a:cubicBezTo>
                      <a:pt x="450" y="463"/>
                      <a:pt x="450" y="463"/>
                      <a:pt x="450" y="463"/>
                    </a:cubicBezTo>
                    <a:cubicBezTo>
                      <a:pt x="450" y="465"/>
                      <a:pt x="450" y="465"/>
                      <a:pt x="450" y="465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7" y="464"/>
                      <a:pt x="447" y="464"/>
                      <a:pt x="447" y="464"/>
                    </a:cubicBezTo>
                    <a:cubicBezTo>
                      <a:pt x="447" y="462"/>
                      <a:pt x="447" y="462"/>
                      <a:pt x="447" y="462"/>
                    </a:cubicBezTo>
                    <a:cubicBezTo>
                      <a:pt x="445" y="461"/>
                      <a:pt x="445" y="461"/>
                      <a:pt x="445" y="461"/>
                    </a:cubicBezTo>
                    <a:cubicBezTo>
                      <a:pt x="443" y="459"/>
                      <a:pt x="443" y="459"/>
                      <a:pt x="443" y="459"/>
                    </a:cubicBezTo>
                    <a:cubicBezTo>
                      <a:pt x="440" y="457"/>
                      <a:pt x="440" y="457"/>
                      <a:pt x="440" y="457"/>
                    </a:cubicBezTo>
                    <a:cubicBezTo>
                      <a:pt x="436" y="455"/>
                      <a:pt x="436" y="455"/>
                      <a:pt x="436" y="455"/>
                    </a:cubicBezTo>
                    <a:cubicBezTo>
                      <a:pt x="435" y="452"/>
                      <a:pt x="435" y="452"/>
                      <a:pt x="435" y="452"/>
                    </a:cubicBezTo>
                    <a:cubicBezTo>
                      <a:pt x="433" y="452"/>
                      <a:pt x="433" y="452"/>
                      <a:pt x="433" y="452"/>
                    </a:cubicBezTo>
                    <a:cubicBezTo>
                      <a:pt x="431" y="449"/>
                      <a:pt x="431" y="449"/>
                      <a:pt x="431" y="449"/>
                    </a:cubicBezTo>
                    <a:cubicBezTo>
                      <a:pt x="430" y="448"/>
                      <a:pt x="430" y="448"/>
                      <a:pt x="430" y="448"/>
                    </a:cubicBezTo>
                    <a:cubicBezTo>
                      <a:pt x="430" y="451"/>
                      <a:pt x="430" y="451"/>
                      <a:pt x="430" y="451"/>
                    </a:cubicBezTo>
                    <a:cubicBezTo>
                      <a:pt x="428" y="450"/>
                      <a:pt x="428" y="450"/>
                      <a:pt x="428" y="450"/>
                    </a:cubicBezTo>
                    <a:cubicBezTo>
                      <a:pt x="429" y="453"/>
                      <a:pt x="429" y="453"/>
                      <a:pt x="429" y="453"/>
                    </a:cubicBezTo>
                    <a:cubicBezTo>
                      <a:pt x="431" y="455"/>
                      <a:pt x="431" y="455"/>
                      <a:pt x="431" y="455"/>
                    </a:cubicBezTo>
                    <a:cubicBezTo>
                      <a:pt x="431" y="454"/>
                      <a:pt x="431" y="454"/>
                      <a:pt x="431" y="454"/>
                    </a:cubicBezTo>
                    <a:cubicBezTo>
                      <a:pt x="431" y="453"/>
                      <a:pt x="431" y="453"/>
                      <a:pt x="431" y="453"/>
                    </a:cubicBezTo>
                    <a:cubicBezTo>
                      <a:pt x="431" y="452"/>
                      <a:pt x="431" y="452"/>
                      <a:pt x="431" y="452"/>
                    </a:cubicBezTo>
                    <a:cubicBezTo>
                      <a:pt x="432" y="452"/>
                      <a:pt x="432" y="452"/>
                      <a:pt x="432" y="452"/>
                    </a:cubicBezTo>
                    <a:cubicBezTo>
                      <a:pt x="436" y="456"/>
                      <a:pt x="436" y="456"/>
                      <a:pt x="436" y="456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39" y="459"/>
                      <a:pt x="439" y="459"/>
                      <a:pt x="439" y="459"/>
                    </a:cubicBezTo>
                    <a:cubicBezTo>
                      <a:pt x="437" y="461"/>
                      <a:pt x="437" y="461"/>
                      <a:pt x="437" y="461"/>
                    </a:cubicBezTo>
                    <a:cubicBezTo>
                      <a:pt x="435" y="461"/>
                      <a:pt x="435" y="461"/>
                      <a:pt x="435" y="461"/>
                    </a:cubicBezTo>
                    <a:cubicBezTo>
                      <a:pt x="434" y="461"/>
                      <a:pt x="434" y="461"/>
                      <a:pt x="434" y="461"/>
                    </a:cubicBezTo>
                    <a:cubicBezTo>
                      <a:pt x="434" y="462"/>
                      <a:pt x="434" y="462"/>
                      <a:pt x="434" y="462"/>
                    </a:cubicBezTo>
                    <a:cubicBezTo>
                      <a:pt x="434" y="462"/>
                      <a:pt x="434" y="462"/>
                      <a:pt x="434" y="462"/>
                    </a:cubicBezTo>
                    <a:cubicBezTo>
                      <a:pt x="435" y="462"/>
                      <a:pt x="435" y="462"/>
                      <a:pt x="435" y="462"/>
                    </a:cubicBezTo>
                    <a:cubicBezTo>
                      <a:pt x="439" y="462"/>
                      <a:pt x="439" y="462"/>
                      <a:pt x="439" y="462"/>
                    </a:cubicBezTo>
                    <a:cubicBezTo>
                      <a:pt x="441" y="460"/>
                      <a:pt x="441" y="460"/>
                      <a:pt x="441" y="460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3" y="461"/>
                      <a:pt x="443" y="461"/>
                      <a:pt x="443" y="461"/>
                    </a:cubicBezTo>
                    <a:cubicBezTo>
                      <a:pt x="443" y="463"/>
                      <a:pt x="443" y="463"/>
                      <a:pt x="443" y="463"/>
                    </a:cubicBezTo>
                    <a:cubicBezTo>
                      <a:pt x="447" y="468"/>
                      <a:pt x="447" y="468"/>
                      <a:pt x="447" y="468"/>
                    </a:cubicBezTo>
                    <a:cubicBezTo>
                      <a:pt x="446" y="472"/>
                      <a:pt x="446" y="472"/>
                      <a:pt x="446" y="472"/>
                    </a:cubicBezTo>
                    <a:cubicBezTo>
                      <a:pt x="444" y="475"/>
                      <a:pt x="444" y="475"/>
                      <a:pt x="444" y="475"/>
                    </a:cubicBezTo>
                    <a:cubicBezTo>
                      <a:pt x="442" y="475"/>
                      <a:pt x="442" y="475"/>
                      <a:pt x="442" y="475"/>
                    </a:cubicBezTo>
                    <a:cubicBezTo>
                      <a:pt x="441" y="476"/>
                      <a:pt x="441" y="476"/>
                      <a:pt x="441" y="476"/>
                    </a:cubicBezTo>
                    <a:cubicBezTo>
                      <a:pt x="439" y="476"/>
                      <a:pt x="439" y="476"/>
                      <a:pt x="439" y="476"/>
                    </a:cubicBezTo>
                    <a:cubicBezTo>
                      <a:pt x="437" y="475"/>
                      <a:pt x="437" y="475"/>
                      <a:pt x="437" y="475"/>
                    </a:cubicBezTo>
                    <a:cubicBezTo>
                      <a:pt x="433" y="474"/>
                      <a:pt x="433" y="474"/>
                      <a:pt x="433" y="474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0" y="467"/>
                      <a:pt x="430" y="467"/>
                      <a:pt x="430" y="467"/>
                    </a:cubicBezTo>
                    <a:cubicBezTo>
                      <a:pt x="428" y="466"/>
                      <a:pt x="428" y="466"/>
                      <a:pt x="428" y="466"/>
                    </a:cubicBezTo>
                    <a:cubicBezTo>
                      <a:pt x="428" y="467"/>
                      <a:pt x="428" y="467"/>
                      <a:pt x="428" y="467"/>
                    </a:cubicBezTo>
                    <a:cubicBezTo>
                      <a:pt x="428" y="468"/>
                      <a:pt x="428" y="468"/>
                      <a:pt x="428" y="468"/>
                    </a:cubicBezTo>
                    <a:cubicBezTo>
                      <a:pt x="428" y="470"/>
                      <a:pt x="428" y="470"/>
                      <a:pt x="428" y="470"/>
                    </a:cubicBezTo>
                    <a:cubicBezTo>
                      <a:pt x="430" y="472"/>
                      <a:pt x="430" y="472"/>
                      <a:pt x="430" y="472"/>
                    </a:cubicBezTo>
                    <a:cubicBezTo>
                      <a:pt x="431" y="476"/>
                      <a:pt x="431" y="476"/>
                      <a:pt x="431" y="476"/>
                    </a:cubicBezTo>
                    <a:cubicBezTo>
                      <a:pt x="433" y="479"/>
                      <a:pt x="433" y="479"/>
                      <a:pt x="433" y="479"/>
                    </a:cubicBezTo>
                    <a:cubicBezTo>
                      <a:pt x="432" y="480"/>
                      <a:pt x="432" y="480"/>
                      <a:pt x="432" y="480"/>
                    </a:cubicBezTo>
                    <a:cubicBezTo>
                      <a:pt x="431" y="480"/>
                      <a:pt x="431" y="480"/>
                      <a:pt x="431" y="480"/>
                    </a:cubicBezTo>
                    <a:cubicBezTo>
                      <a:pt x="429" y="480"/>
                      <a:pt x="429" y="480"/>
                      <a:pt x="429" y="480"/>
                    </a:cubicBezTo>
                    <a:cubicBezTo>
                      <a:pt x="428" y="478"/>
                      <a:pt x="428" y="478"/>
                      <a:pt x="428" y="478"/>
                    </a:cubicBezTo>
                    <a:cubicBezTo>
                      <a:pt x="428" y="479"/>
                      <a:pt x="428" y="479"/>
                      <a:pt x="428" y="479"/>
                    </a:cubicBezTo>
                    <a:cubicBezTo>
                      <a:pt x="427" y="479"/>
                      <a:pt x="427" y="479"/>
                      <a:pt x="427" y="479"/>
                    </a:cubicBezTo>
                    <a:cubicBezTo>
                      <a:pt x="428" y="481"/>
                      <a:pt x="428" y="481"/>
                      <a:pt x="428" y="481"/>
                    </a:cubicBezTo>
                    <a:cubicBezTo>
                      <a:pt x="429" y="481"/>
                      <a:pt x="429" y="481"/>
                      <a:pt x="429" y="481"/>
                    </a:cubicBezTo>
                    <a:cubicBezTo>
                      <a:pt x="430" y="483"/>
                      <a:pt x="430" y="483"/>
                      <a:pt x="430" y="483"/>
                    </a:cubicBezTo>
                    <a:cubicBezTo>
                      <a:pt x="427" y="482"/>
                      <a:pt x="427" y="482"/>
                      <a:pt x="427" y="482"/>
                    </a:cubicBezTo>
                    <a:cubicBezTo>
                      <a:pt x="426" y="481"/>
                      <a:pt x="426" y="481"/>
                      <a:pt x="426" y="481"/>
                    </a:cubicBezTo>
                    <a:cubicBezTo>
                      <a:pt x="426" y="483"/>
                      <a:pt x="426" y="483"/>
                      <a:pt x="426" y="483"/>
                    </a:cubicBezTo>
                    <a:cubicBezTo>
                      <a:pt x="427" y="484"/>
                      <a:pt x="427" y="484"/>
                      <a:pt x="427" y="484"/>
                    </a:cubicBezTo>
                    <a:cubicBezTo>
                      <a:pt x="427" y="485"/>
                      <a:pt x="427" y="485"/>
                      <a:pt x="427" y="485"/>
                    </a:cubicBezTo>
                    <a:cubicBezTo>
                      <a:pt x="425" y="487"/>
                      <a:pt x="425" y="487"/>
                      <a:pt x="425" y="487"/>
                    </a:cubicBezTo>
                    <a:cubicBezTo>
                      <a:pt x="425" y="485"/>
                      <a:pt x="425" y="485"/>
                      <a:pt x="425" y="485"/>
                    </a:cubicBezTo>
                    <a:cubicBezTo>
                      <a:pt x="424" y="485"/>
                      <a:pt x="424" y="485"/>
                      <a:pt x="424" y="485"/>
                    </a:cubicBezTo>
                    <a:cubicBezTo>
                      <a:pt x="424" y="485"/>
                      <a:pt x="424" y="485"/>
                      <a:pt x="424" y="485"/>
                    </a:cubicBezTo>
                    <a:cubicBezTo>
                      <a:pt x="424" y="487"/>
                      <a:pt x="424" y="487"/>
                      <a:pt x="424" y="487"/>
                    </a:cubicBezTo>
                    <a:cubicBezTo>
                      <a:pt x="423" y="486"/>
                      <a:pt x="423" y="486"/>
                      <a:pt x="423" y="486"/>
                    </a:cubicBezTo>
                    <a:cubicBezTo>
                      <a:pt x="421" y="486"/>
                      <a:pt x="421" y="486"/>
                      <a:pt x="421" y="486"/>
                    </a:cubicBezTo>
                    <a:cubicBezTo>
                      <a:pt x="420" y="488"/>
                      <a:pt x="420" y="488"/>
                      <a:pt x="420" y="488"/>
                    </a:cubicBezTo>
                    <a:cubicBezTo>
                      <a:pt x="417" y="489"/>
                      <a:pt x="417" y="489"/>
                      <a:pt x="417" y="489"/>
                    </a:cubicBezTo>
                    <a:cubicBezTo>
                      <a:pt x="419" y="490"/>
                      <a:pt x="419" y="490"/>
                      <a:pt x="419" y="490"/>
                    </a:cubicBezTo>
                    <a:cubicBezTo>
                      <a:pt x="419" y="491"/>
                      <a:pt x="419" y="491"/>
                      <a:pt x="419" y="491"/>
                    </a:cubicBezTo>
                    <a:cubicBezTo>
                      <a:pt x="418" y="491"/>
                      <a:pt x="418" y="491"/>
                      <a:pt x="418" y="491"/>
                    </a:cubicBezTo>
                    <a:cubicBezTo>
                      <a:pt x="418" y="491"/>
                      <a:pt x="418" y="491"/>
                      <a:pt x="418" y="491"/>
                    </a:cubicBezTo>
                    <a:cubicBezTo>
                      <a:pt x="416" y="489"/>
                      <a:pt x="416" y="489"/>
                      <a:pt x="416" y="489"/>
                    </a:cubicBezTo>
                    <a:cubicBezTo>
                      <a:pt x="414" y="489"/>
                      <a:pt x="414" y="489"/>
                      <a:pt x="414" y="489"/>
                    </a:cubicBezTo>
                    <a:cubicBezTo>
                      <a:pt x="414" y="490"/>
                      <a:pt x="414" y="490"/>
                      <a:pt x="414" y="490"/>
                    </a:cubicBezTo>
                    <a:cubicBezTo>
                      <a:pt x="413" y="490"/>
                      <a:pt x="413" y="490"/>
                      <a:pt x="413" y="490"/>
                    </a:cubicBezTo>
                    <a:cubicBezTo>
                      <a:pt x="416" y="492"/>
                      <a:pt x="416" y="492"/>
                      <a:pt x="416" y="492"/>
                    </a:cubicBezTo>
                    <a:cubicBezTo>
                      <a:pt x="415" y="493"/>
                      <a:pt x="415" y="493"/>
                      <a:pt x="415" y="493"/>
                    </a:cubicBezTo>
                    <a:cubicBezTo>
                      <a:pt x="415" y="494"/>
                      <a:pt x="415" y="494"/>
                      <a:pt x="415" y="494"/>
                    </a:cubicBezTo>
                    <a:cubicBezTo>
                      <a:pt x="413" y="494"/>
                      <a:pt x="413" y="494"/>
                      <a:pt x="413" y="494"/>
                    </a:cubicBezTo>
                    <a:cubicBezTo>
                      <a:pt x="411" y="497"/>
                      <a:pt x="411" y="497"/>
                      <a:pt x="411" y="497"/>
                    </a:cubicBezTo>
                    <a:cubicBezTo>
                      <a:pt x="409" y="498"/>
                      <a:pt x="409" y="498"/>
                      <a:pt x="409" y="498"/>
                    </a:cubicBezTo>
                    <a:cubicBezTo>
                      <a:pt x="410" y="499"/>
                      <a:pt x="410" y="499"/>
                      <a:pt x="410" y="499"/>
                    </a:cubicBezTo>
                    <a:cubicBezTo>
                      <a:pt x="409" y="501"/>
                      <a:pt x="409" y="501"/>
                      <a:pt x="409" y="501"/>
                    </a:cubicBezTo>
                    <a:cubicBezTo>
                      <a:pt x="408" y="501"/>
                      <a:pt x="408" y="501"/>
                      <a:pt x="408" y="501"/>
                    </a:cubicBezTo>
                    <a:cubicBezTo>
                      <a:pt x="407" y="502"/>
                      <a:pt x="407" y="502"/>
                      <a:pt x="407" y="502"/>
                    </a:cubicBezTo>
                    <a:cubicBezTo>
                      <a:pt x="407" y="504"/>
                      <a:pt x="407" y="504"/>
                      <a:pt x="407" y="504"/>
                    </a:cubicBezTo>
                    <a:cubicBezTo>
                      <a:pt x="406" y="504"/>
                      <a:pt x="406" y="504"/>
                      <a:pt x="406" y="504"/>
                    </a:cubicBezTo>
                    <a:cubicBezTo>
                      <a:pt x="403" y="508"/>
                      <a:pt x="403" y="508"/>
                      <a:pt x="403" y="508"/>
                    </a:cubicBezTo>
                    <a:cubicBezTo>
                      <a:pt x="401" y="508"/>
                      <a:pt x="401" y="508"/>
                      <a:pt x="401" y="508"/>
                    </a:cubicBezTo>
                    <a:cubicBezTo>
                      <a:pt x="401" y="510"/>
                      <a:pt x="401" y="510"/>
                      <a:pt x="401" y="510"/>
                    </a:cubicBezTo>
                    <a:cubicBezTo>
                      <a:pt x="399" y="512"/>
                      <a:pt x="399" y="512"/>
                      <a:pt x="399" y="512"/>
                    </a:cubicBezTo>
                    <a:cubicBezTo>
                      <a:pt x="397" y="510"/>
                      <a:pt x="397" y="510"/>
                      <a:pt x="397" y="510"/>
                    </a:cubicBezTo>
                    <a:cubicBezTo>
                      <a:pt x="396" y="512"/>
                      <a:pt x="396" y="512"/>
                      <a:pt x="396" y="512"/>
                    </a:cubicBezTo>
                    <a:cubicBezTo>
                      <a:pt x="397" y="514"/>
                      <a:pt x="397" y="514"/>
                      <a:pt x="397" y="514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5" y="519"/>
                      <a:pt x="395" y="519"/>
                      <a:pt x="395" y="519"/>
                    </a:cubicBezTo>
                    <a:cubicBezTo>
                      <a:pt x="394" y="521"/>
                      <a:pt x="394" y="521"/>
                      <a:pt x="394" y="521"/>
                    </a:cubicBezTo>
                    <a:cubicBezTo>
                      <a:pt x="393" y="524"/>
                      <a:pt x="393" y="524"/>
                      <a:pt x="393" y="524"/>
                    </a:cubicBezTo>
                    <a:cubicBezTo>
                      <a:pt x="391" y="525"/>
                      <a:pt x="391" y="525"/>
                      <a:pt x="391" y="525"/>
                    </a:cubicBezTo>
                    <a:cubicBezTo>
                      <a:pt x="390" y="529"/>
                      <a:pt x="390" y="529"/>
                      <a:pt x="390" y="529"/>
                    </a:cubicBezTo>
                    <a:cubicBezTo>
                      <a:pt x="391" y="529"/>
                      <a:pt x="391" y="529"/>
                      <a:pt x="391" y="529"/>
                    </a:cubicBezTo>
                    <a:cubicBezTo>
                      <a:pt x="391" y="532"/>
                      <a:pt x="391" y="532"/>
                      <a:pt x="391" y="532"/>
                    </a:cubicBezTo>
                    <a:cubicBezTo>
                      <a:pt x="389" y="535"/>
                      <a:pt x="389" y="535"/>
                      <a:pt x="389" y="535"/>
                    </a:cubicBezTo>
                    <a:cubicBezTo>
                      <a:pt x="388" y="537"/>
                      <a:pt x="388" y="537"/>
                      <a:pt x="388" y="537"/>
                    </a:cubicBezTo>
                    <a:cubicBezTo>
                      <a:pt x="387" y="538"/>
                      <a:pt x="387" y="538"/>
                      <a:pt x="387" y="538"/>
                    </a:cubicBezTo>
                    <a:cubicBezTo>
                      <a:pt x="386" y="539"/>
                      <a:pt x="386" y="539"/>
                      <a:pt x="386" y="539"/>
                    </a:cubicBezTo>
                    <a:cubicBezTo>
                      <a:pt x="388" y="539"/>
                      <a:pt x="388" y="539"/>
                      <a:pt x="388" y="539"/>
                    </a:cubicBezTo>
                    <a:cubicBezTo>
                      <a:pt x="388" y="540"/>
                      <a:pt x="388" y="540"/>
                      <a:pt x="388" y="540"/>
                    </a:cubicBezTo>
                    <a:cubicBezTo>
                      <a:pt x="388" y="542"/>
                      <a:pt x="388" y="542"/>
                      <a:pt x="388" y="542"/>
                    </a:cubicBezTo>
                    <a:cubicBezTo>
                      <a:pt x="389" y="543"/>
                      <a:pt x="389" y="543"/>
                      <a:pt x="389" y="543"/>
                    </a:cubicBezTo>
                    <a:cubicBezTo>
                      <a:pt x="389" y="546"/>
                      <a:pt x="389" y="546"/>
                      <a:pt x="389" y="546"/>
                    </a:cubicBezTo>
                    <a:cubicBezTo>
                      <a:pt x="389" y="546"/>
                      <a:pt x="389" y="546"/>
                      <a:pt x="389" y="546"/>
                    </a:cubicBezTo>
                    <a:cubicBezTo>
                      <a:pt x="388" y="551"/>
                      <a:pt x="388" y="551"/>
                      <a:pt x="388" y="551"/>
                    </a:cubicBezTo>
                    <a:cubicBezTo>
                      <a:pt x="385" y="554"/>
                      <a:pt x="385" y="554"/>
                      <a:pt x="385" y="554"/>
                    </a:cubicBezTo>
                    <a:cubicBezTo>
                      <a:pt x="380" y="555"/>
                      <a:pt x="380" y="555"/>
                      <a:pt x="380" y="555"/>
                    </a:cubicBezTo>
                    <a:cubicBezTo>
                      <a:pt x="379" y="557"/>
                      <a:pt x="379" y="557"/>
                      <a:pt x="379" y="557"/>
                    </a:cubicBezTo>
                    <a:cubicBezTo>
                      <a:pt x="382" y="555"/>
                      <a:pt x="382" y="555"/>
                      <a:pt x="382" y="555"/>
                    </a:cubicBezTo>
                    <a:cubicBezTo>
                      <a:pt x="386" y="554"/>
                      <a:pt x="386" y="554"/>
                      <a:pt x="386" y="554"/>
                    </a:cubicBezTo>
                    <a:cubicBezTo>
                      <a:pt x="389" y="550"/>
                      <a:pt x="389" y="550"/>
                      <a:pt x="389" y="550"/>
                    </a:cubicBezTo>
                    <a:cubicBezTo>
                      <a:pt x="392" y="545"/>
                      <a:pt x="392" y="545"/>
                      <a:pt x="392" y="545"/>
                    </a:cubicBezTo>
                    <a:cubicBezTo>
                      <a:pt x="398" y="545"/>
                      <a:pt x="398" y="545"/>
                      <a:pt x="398" y="545"/>
                    </a:cubicBezTo>
                    <a:cubicBezTo>
                      <a:pt x="399" y="545"/>
                      <a:pt x="399" y="545"/>
                      <a:pt x="399" y="545"/>
                    </a:cubicBezTo>
                    <a:cubicBezTo>
                      <a:pt x="399" y="547"/>
                      <a:pt x="399" y="547"/>
                      <a:pt x="399" y="547"/>
                    </a:cubicBezTo>
                    <a:cubicBezTo>
                      <a:pt x="398" y="549"/>
                      <a:pt x="398" y="549"/>
                      <a:pt x="398" y="549"/>
                    </a:cubicBezTo>
                    <a:cubicBezTo>
                      <a:pt x="398" y="552"/>
                      <a:pt x="398" y="552"/>
                      <a:pt x="398" y="552"/>
                    </a:cubicBezTo>
                    <a:cubicBezTo>
                      <a:pt x="400" y="554"/>
                      <a:pt x="400" y="554"/>
                      <a:pt x="400" y="554"/>
                    </a:cubicBezTo>
                    <a:cubicBezTo>
                      <a:pt x="400" y="558"/>
                      <a:pt x="400" y="558"/>
                      <a:pt x="400" y="558"/>
                    </a:cubicBezTo>
                    <a:cubicBezTo>
                      <a:pt x="398" y="562"/>
                      <a:pt x="398" y="562"/>
                      <a:pt x="398" y="562"/>
                    </a:cubicBezTo>
                    <a:cubicBezTo>
                      <a:pt x="399" y="564"/>
                      <a:pt x="399" y="564"/>
                      <a:pt x="399" y="564"/>
                    </a:cubicBezTo>
                    <a:cubicBezTo>
                      <a:pt x="400" y="568"/>
                      <a:pt x="400" y="568"/>
                      <a:pt x="400" y="568"/>
                    </a:cubicBezTo>
                    <a:cubicBezTo>
                      <a:pt x="399" y="570"/>
                      <a:pt x="399" y="570"/>
                      <a:pt x="399" y="570"/>
                    </a:cubicBezTo>
                    <a:cubicBezTo>
                      <a:pt x="393" y="576"/>
                      <a:pt x="393" y="576"/>
                      <a:pt x="393" y="576"/>
                    </a:cubicBezTo>
                    <a:cubicBezTo>
                      <a:pt x="390" y="577"/>
                      <a:pt x="390" y="577"/>
                      <a:pt x="390" y="577"/>
                    </a:cubicBezTo>
                    <a:cubicBezTo>
                      <a:pt x="388" y="576"/>
                      <a:pt x="388" y="576"/>
                      <a:pt x="388" y="576"/>
                    </a:cubicBezTo>
                    <a:cubicBezTo>
                      <a:pt x="390" y="577"/>
                      <a:pt x="390" y="577"/>
                      <a:pt x="390" y="577"/>
                    </a:cubicBezTo>
                    <a:cubicBezTo>
                      <a:pt x="393" y="577"/>
                      <a:pt x="393" y="577"/>
                      <a:pt x="393" y="577"/>
                    </a:cubicBezTo>
                    <a:cubicBezTo>
                      <a:pt x="400" y="575"/>
                      <a:pt x="400" y="575"/>
                      <a:pt x="400" y="575"/>
                    </a:cubicBezTo>
                    <a:cubicBezTo>
                      <a:pt x="407" y="573"/>
                      <a:pt x="407" y="573"/>
                      <a:pt x="407" y="573"/>
                    </a:cubicBezTo>
                    <a:cubicBezTo>
                      <a:pt x="411" y="572"/>
                      <a:pt x="411" y="572"/>
                      <a:pt x="411" y="572"/>
                    </a:cubicBezTo>
                    <a:cubicBezTo>
                      <a:pt x="415" y="575"/>
                      <a:pt x="415" y="575"/>
                      <a:pt x="415" y="575"/>
                    </a:cubicBezTo>
                    <a:cubicBezTo>
                      <a:pt x="418" y="578"/>
                      <a:pt x="418" y="578"/>
                      <a:pt x="418" y="578"/>
                    </a:cubicBezTo>
                    <a:cubicBezTo>
                      <a:pt x="422" y="579"/>
                      <a:pt x="422" y="579"/>
                      <a:pt x="422" y="579"/>
                    </a:cubicBezTo>
                    <a:cubicBezTo>
                      <a:pt x="423" y="580"/>
                      <a:pt x="423" y="580"/>
                      <a:pt x="423" y="580"/>
                    </a:cubicBezTo>
                    <a:cubicBezTo>
                      <a:pt x="425" y="581"/>
                      <a:pt x="425" y="581"/>
                      <a:pt x="425" y="581"/>
                    </a:cubicBezTo>
                    <a:cubicBezTo>
                      <a:pt x="428" y="584"/>
                      <a:pt x="428" y="584"/>
                      <a:pt x="428" y="584"/>
                    </a:cubicBezTo>
                    <a:cubicBezTo>
                      <a:pt x="430" y="584"/>
                      <a:pt x="430" y="584"/>
                      <a:pt x="430" y="584"/>
                    </a:cubicBezTo>
                    <a:cubicBezTo>
                      <a:pt x="431" y="587"/>
                      <a:pt x="431" y="587"/>
                      <a:pt x="431" y="587"/>
                    </a:cubicBezTo>
                    <a:cubicBezTo>
                      <a:pt x="433" y="588"/>
                      <a:pt x="433" y="588"/>
                      <a:pt x="433" y="588"/>
                    </a:cubicBezTo>
                    <a:cubicBezTo>
                      <a:pt x="433" y="590"/>
                      <a:pt x="433" y="590"/>
                      <a:pt x="433" y="590"/>
                    </a:cubicBezTo>
                    <a:cubicBezTo>
                      <a:pt x="434" y="592"/>
                      <a:pt x="434" y="592"/>
                      <a:pt x="434" y="592"/>
                    </a:cubicBezTo>
                    <a:cubicBezTo>
                      <a:pt x="435" y="595"/>
                      <a:pt x="435" y="595"/>
                      <a:pt x="435" y="595"/>
                    </a:cubicBezTo>
                    <a:cubicBezTo>
                      <a:pt x="435" y="596"/>
                      <a:pt x="435" y="596"/>
                      <a:pt x="435" y="596"/>
                    </a:cubicBezTo>
                    <a:cubicBezTo>
                      <a:pt x="437" y="595"/>
                      <a:pt x="437" y="595"/>
                      <a:pt x="437" y="595"/>
                    </a:cubicBezTo>
                    <a:cubicBezTo>
                      <a:pt x="438" y="596"/>
                      <a:pt x="438" y="596"/>
                      <a:pt x="438" y="596"/>
                    </a:cubicBezTo>
                    <a:cubicBezTo>
                      <a:pt x="442" y="599"/>
                      <a:pt x="442" y="599"/>
                      <a:pt x="442" y="599"/>
                    </a:cubicBezTo>
                    <a:cubicBezTo>
                      <a:pt x="443" y="599"/>
                      <a:pt x="443" y="599"/>
                      <a:pt x="443" y="599"/>
                    </a:cubicBezTo>
                    <a:cubicBezTo>
                      <a:pt x="446" y="602"/>
                      <a:pt x="446" y="602"/>
                      <a:pt x="446" y="602"/>
                    </a:cubicBezTo>
                    <a:cubicBezTo>
                      <a:pt x="447" y="602"/>
                      <a:pt x="447" y="602"/>
                      <a:pt x="447" y="602"/>
                    </a:cubicBezTo>
                    <a:cubicBezTo>
                      <a:pt x="451" y="605"/>
                      <a:pt x="451" y="605"/>
                      <a:pt x="451" y="605"/>
                    </a:cubicBezTo>
                    <a:cubicBezTo>
                      <a:pt x="451" y="606"/>
                      <a:pt x="451" y="606"/>
                      <a:pt x="451" y="606"/>
                    </a:cubicBezTo>
                    <a:cubicBezTo>
                      <a:pt x="453" y="609"/>
                      <a:pt x="453" y="609"/>
                      <a:pt x="453" y="609"/>
                    </a:cubicBezTo>
                    <a:cubicBezTo>
                      <a:pt x="453" y="610"/>
                      <a:pt x="453" y="610"/>
                      <a:pt x="453" y="610"/>
                    </a:cubicBezTo>
                    <a:cubicBezTo>
                      <a:pt x="454" y="610"/>
                      <a:pt x="454" y="610"/>
                      <a:pt x="454" y="610"/>
                    </a:cubicBezTo>
                    <a:cubicBezTo>
                      <a:pt x="457" y="611"/>
                      <a:pt x="457" y="611"/>
                      <a:pt x="457" y="611"/>
                    </a:cubicBezTo>
                    <a:cubicBezTo>
                      <a:pt x="458" y="611"/>
                      <a:pt x="458" y="611"/>
                      <a:pt x="458" y="611"/>
                    </a:cubicBezTo>
                    <a:cubicBezTo>
                      <a:pt x="460" y="610"/>
                      <a:pt x="460" y="610"/>
                      <a:pt x="460" y="610"/>
                    </a:cubicBezTo>
                    <a:cubicBezTo>
                      <a:pt x="464" y="611"/>
                      <a:pt x="464" y="611"/>
                      <a:pt x="464" y="611"/>
                    </a:cubicBezTo>
                    <a:cubicBezTo>
                      <a:pt x="465" y="611"/>
                      <a:pt x="465" y="611"/>
                      <a:pt x="465" y="611"/>
                    </a:cubicBezTo>
                    <a:cubicBezTo>
                      <a:pt x="466" y="611"/>
                      <a:pt x="466" y="611"/>
                      <a:pt x="466" y="611"/>
                    </a:cubicBezTo>
                    <a:cubicBezTo>
                      <a:pt x="469" y="612"/>
                      <a:pt x="469" y="612"/>
                      <a:pt x="469" y="612"/>
                    </a:cubicBezTo>
                    <a:cubicBezTo>
                      <a:pt x="472" y="613"/>
                      <a:pt x="472" y="613"/>
                      <a:pt x="472" y="613"/>
                    </a:cubicBezTo>
                    <a:cubicBezTo>
                      <a:pt x="474" y="612"/>
                      <a:pt x="474" y="612"/>
                      <a:pt x="474" y="612"/>
                    </a:cubicBezTo>
                    <a:cubicBezTo>
                      <a:pt x="476" y="612"/>
                      <a:pt x="476" y="612"/>
                      <a:pt x="476" y="612"/>
                    </a:cubicBezTo>
                    <a:cubicBezTo>
                      <a:pt x="476" y="613"/>
                      <a:pt x="476" y="613"/>
                      <a:pt x="476" y="613"/>
                    </a:cubicBezTo>
                    <a:cubicBezTo>
                      <a:pt x="476" y="613"/>
                      <a:pt x="476" y="613"/>
                      <a:pt x="476" y="613"/>
                    </a:cubicBezTo>
                    <a:cubicBezTo>
                      <a:pt x="477" y="613"/>
                      <a:pt x="477" y="613"/>
                      <a:pt x="477" y="613"/>
                    </a:cubicBezTo>
                    <a:cubicBezTo>
                      <a:pt x="478" y="616"/>
                      <a:pt x="478" y="616"/>
                      <a:pt x="478" y="616"/>
                    </a:cubicBezTo>
                    <a:cubicBezTo>
                      <a:pt x="475" y="620"/>
                      <a:pt x="475" y="620"/>
                      <a:pt x="475" y="620"/>
                    </a:cubicBezTo>
                    <a:cubicBezTo>
                      <a:pt x="475" y="622"/>
                      <a:pt x="475" y="622"/>
                      <a:pt x="475" y="622"/>
                    </a:cubicBezTo>
                    <a:cubicBezTo>
                      <a:pt x="474" y="624"/>
                      <a:pt x="474" y="624"/>
                      <a:pt x="474" y="624"/>
                    </a:cubicBezTo>
                    <a:cubicBezTo>
                      <a:pt x="472" y="627"/>
                      <a:pt x="472" y="627"/>
                      <a:pt x="472" y="627"/>
                    </a:cubicBezTo>
                    <a:cubicBezTo>
                      <a:pt x="473" y="629"/>
                      <a:pt x="473" y="629"/>
                      <a:pt x="473" y="629"/>
                    </a:cubicBezTo>
                    <a:cubicBezTo>
                      <a:pt x="473" y="629"/>
                      <a:pt x="473" y="629"/>
                      <a:pt x="473" y="629"/>
                    </a:cubicBezTo>
                    <a:cubicBezTo>
                      <a:pt x="473" y="634"/>
                      <a:pt x="473" y="634"/>
                      <a:pt x="473" y="634"/>
                    </a:cubicBezTo>
                    <a:cubicBezTo>
                      <a:pt x="471" y="638"/>
                      <a:pt x="471" y="638"/>
                      <a:pt x="471" y="638"/>
                    </a:cubicBezTo>
                    <a:cubicBezTo>
                      <a:pt x="471" y="639"/>
                      <a:pt x="471" y="639"/>
                      <a:pt x="471" y="639"/>
                    </a:cubicBezTo>
                    <a:cubicBezTo>
                      <a:pt x="470" y="642"/>
                      <a:pt x="470" y="642"/>
                      <a:pt x="470" y="642"/>
                    </a:cubicBezTo>
                    <a:cubicBezTo>
                      <a:pt x="468" y="644"/>
                      <a:pt x="468" y="644"/>
                      <a:pt x="468" y="644"/>
                    </a:cubicBezTo>
                    <a:cubicBezTo>
                      <a:pt x="467" y="647"/>
                      <a:pt x="467" y="647"/>
                      <a:pt x="467" y="647"/>
                    </a:cubicBezTo>
                    <a:cubicBezTo>
                      <a:pt x="468" y="649"/>
                      <a:pt x="468" y="649"/>
                      <a:pt x="468" y="649"/>
                    </a:cubicBezTo>
                    <a:cubicBezTo>
                      <a:pt x="470" y="651"/>
                      <a:pt x="470" y="651"/>
                      <a:pt x="470" y="651"/>
                    </a:cubicBezTo>
                    <a:cubicBezTo>
                      <a:pt x="470" y="653"/>
                      <a:pt x="470" y="653"/>
                      <a:pt x="470" y="653"/>
                    </a:cubicBezTo>
                    <a:cubicBezTo>
                      <a:pt x="471" y="654"/>
                      <a:pt x="471" y="654"/>
                      <a:pt x="471" y="654"/>
                    </a:cubicBezTo>
                    <a:cubicBezTo>
                      <a:pt x="472" y="656"/>
                      <a:pt x="472" y="656"/>
                      <a:pt x="472" y="656"/>
                    </a:cubicBezTo>
                    <a:cubicBezTo>
                      <a:pt x="472" y="657"/>
                      <a:pt x="472" y="657"/>
                      <a:pt x="472" y="657"/>
                    </a:cubicBezTo>
                    <a:cubicBezTo>
                      <a:pt x="472" y="658"/>
                      <a:pt x="472" y="658"/>
                      <a:pt x="472" y="658"/>
                    </a:cubicBezTo>
                    <a:cubicBezTo>
                      <a:pt x="472" y="659"/>
                      <a:pt x="472" y="659"/>
                      <a:pt x="472" y="659"/>
                    </a:cubicBezTo>
                    <a:cubicBezTo>
                      <a:pt x="474" y="660"/>
                      <a:pt x="474" y="660"/>
                      <a:pt x="474" y="660"/>
                    </a:cubicBezTo>
                    <a:cubicBezTo>
                      <a:pt x="476" y="661"/>
                      <a:pt x="476" y="661"/>
                      <a:pt x="476" y="661"/>
                    </a:cubicBezTo>
                    <a:cubicBezTo>
                      <a:pt x="477" y="661"/>
                      <a:pt x="477" y="661"/>
                      <a:pt x="477" y="661"/>
                    </a:cubicBezTo>
                    <a:cubicBezTo>
                      <a:pt x="477" y="663"/>
                      <a:pt x="477" y="663"/>
                      <a:pt x="477" y="663"/>
                    </a:cubicBezTo>
                    <a:cubicBezTo>
                      <a:pt x="478" y="664"/>
                      <a:pt x="478" y="664"/>
                      <a:pt x="478" y="664"/>
                    </a:cubicBezTo>
                    <a:cubicBezTo>
                      <a:pt x="479" y="668"/>
                      <a:pt x="479" y="668"/>
                      <a:pt x="479" y="668"/>
                    </a:cubicBezTo>
                    <a:cubicBezTo>
                      <a:pt x="479" y="669"/>
                      <a:pt x="479" y="669"/>
                      <a:pt x="479" y="669"/>
                    </a:cubicBezTo>
                    <a:cubicBezTo>
                      <a:pt x="478" y="672"/>
                      <a:pt x="478" y="672"/>
                      <a:pt x="478" y="672"/>
                    </a:cubicBezTo>
                    <a:cubicBezTo>
                      <a:pt x="475" y="675"/>
                      <a:pt x="475" y="675"/>
                      <a:pt x="475" y="675"/>
                    </a:cubicBezTo>
                    <a:cubicBezTo>
                      <a:pt x="477" y="674"/>
                      <a:pt x="477" y="674"/>
                      <a:pt x="477" y="674"/>
                    </a:cubicBezTo>
                    <a:cubicBezTo>
                      <a:pt x="480" y="672"/>
                      <a:pt x="480" y="672"/>
                      <a:pt x="480" y="672"/>
                    </a:cubicBezTo>
                    <a:cubicBezTo>
                      <a:pt x="482" y="673"/>
                      <a:pt x="482" y="673"/>
                      <a:pt x="482" y="673"/>
                    </a:cubicBezTo>
                    <a:cubicBezTo>
                      <a:pt x="484" y="674"/>
                      <a:pt x="484" y="674"/>
                      <a:pt x="484" y="674"/>
                    </a:cubicBezTo>
                    <a:cubicBezTo>
                      <a:pt x="486" y="674"/>
                      <a:pt x="486" y="674"/>
                      <a:pt x="486" y="674"/>
                    </a:cubicBezTo>
                    <a:cubicBezTo>
                      <a:pt x="486" y="673"/>
                      <a:pt x="486" y="673"/>
                      <a:pt x="486" y="673"/>
                    </a:cubicBezTo>
                    <a:cubicBezTo>
                      <a:pt x="486" y="671"/>
                      <a:pt x="486" y="671"/>
                      <a:pt x="486" y="671"/>
                    </a:cubicBezTo>
                    <a:cubicBezTo>
                      <a:pt x="489" y="667"/>
                      <a:pt x="489" y="667"/>
                      <a:pt x="489" y="667"/>
                    </a:cubicBezTo>
                    <a:cubicBezTo>
                      <a:pt x="490" y="667"/>
                      <a:pt x="490" y="667"/>
                      <a:pt x="490" y="667"/>
                    </a:cubicBezTo>
                    <a:cubicBezTo>
                      <a:pt x="490" y="669"/>
                      <a:pt x="490" y="669"/>
                      <a:pt x="490" y="669"/>
                    </a:cubicBezTo>
                    <a:cubicBezTo>
                      <a:pt x="490" y="670"/>
                      <a:pt x="490" y="670"/>
                      <a:pt x="490" y="670"/>
                    </a:cubicBezTo>
                    <a:cubicBezTo>
                      <a:pt x="491" y="670"/>
                      <a:pt x="491" y="670"/>
                      <a:pt x="491" y="670"/>
                    </a:cubicBezTo>
                    <a:cubicBezTo>
                      <a:pt x="492" y="673"/>
                      <a:pt x="492" y="673"/>
                      <a:pt x="492" y="673"/>
                    </a:cubicBezTo>
                    <a:cubicBezTo>
                      <a:pt x="492" y="676"/>
                      <a:pt x="492" y="676"/>
                      <a:pt x="492" y="676"/>
                    </a:cubicBezTo>
                    <a:cubicBezTo>
                      <a:pt x="494" y="678"/>
                      <a:pt x="494" y="678"/>
                      <a:pt x="494" y="678"/>
                    </a:cubicBezTo>
                    <a:cubicBezTo>
                      <a:pt x="497" y="678"/>
                      <a:pt x="497" y="678"/>
                      <a:pt x="497" y="678"/>
                    </a:cubicBezTo>
                    <a:cubicBezTo>
                      <a:pt x="495" y="677"/>
                      <a:pt x="495" y="677"/>
                      <a:pt x="495" y="677"/>
                    </a:cubicBezTo>
                    <a:cubicBezTo>
                      <a:pt x="493" y="675"/>
                      <a:pt x="493" y="675"/>
                      <a:pt x="493" y="675"/>
                    </a:cubicBezTo>
                    <a:cubicBezTo>
                      <a:pt x="493" y="673"/>
                      <a:pt x="493" y="673"/>
                      <a:pt x="493" y="673"/>
                    </a:cubicBezTo>
                    <a:cubicBezTo>
                      <a:pt x="493" y="670"/>
                      <a:pt x="493" y="670"/>
                      <a:pt x="493" y="670"/>
                    </a:cubicBezTo>
                    <a:cubicBezTo>
                      <a:pt x="494" y="668"/>
                      <a:pt x="494" y="668"/>
                      <a:pt x="494" y="668"/>
                    </a:cubicBezTo>
                    <a:cubicBezTo>
                      <a:pt x="493" y="667"/>
                      <a:pt x="493" y="667"/>
                      <a:pt x="493" y="667"/>
                    </a:cubicBezTo>
                    <a:cubicBezTo>
                      <a:pt x="493" y="665"/>
                      <a:pt x="493" y="665"/>
                      <a:pt x="493" y="665"/>
                    </a:cubicBezTo>
                    <a:cubicBezTo>
                      <a:pt x="494" y="666"/>
                      <a:pt x="494" y="666"/>
                      <a:pt x="494" y="666"/>
                    </a:cubicBezTo>
                    <a:cubicBezTo>
                      <a:pt x="495" y="665"/>
                      <a:pt x="495" y="665"/>
                      <a:pt x="495" y="665"/>
                    </a:cubicBezTo>
                    <a:cubicBezTo>
                      <a:pt x="496" y="663"/>
                      <a:pt x="496" y="663"/>
                      <a:pt x="496" y="663"/>
                    </a:cubicBezTo>
                    <a:cubicBezTo>
                      <a:pt x="498" y="660"/>
                      <a:pt x="498" y="660"/>
                      <a:pt x="498" y="660"/>
                    </a:cubicBezTo>
                    <a:cubicBezTo>
                      <a:pt x="498" y="659"/>
                      <a:pt x="498" y="659"/>
                      <a:pt x="498" y="659"/>
                    </a:cubicBezTo>
                    <a:cubicBezTo>
                      <a:pt x="497" y="657"/>
                      <a:pt x="497" y="657"/>
                      <a:pt x="497" y="657"/>
                    </a:cubicBezTo>
                    <a:cubicBezTo>
                      <a:pt x="496" y="656"/>
                      <a:pt x="496" y="656"/>
                      <a:pt x="496" y="656"/>
                    </a:cubicBezTo>
                    <a:cubicBezTo>
                      <a:pt x="496" y="654"/>
                      <a:pt x="496" y="654"/>
                      <a:pt x="496" y="654"/>
                    </a:cubicBezTo>
                    <a:cubicBezTo>
                      <a:pt x="498" y="652"/>
                      <a:pt x="498" y="652"/>
                      <a:pt x="498" y="652"/>
                    </a:cubicBezTo>
                    <a:cubicBezTo>
                      <a:pt x="497" y="650"/>
                      <a:pt x="497" y="650"/>
                      <a:pt x="497" y="650"/>
                    </a:cubicBezTo>
                    <a:cubicBezTo>
                      <a:pt x="497" y="649"/>
                      <a:pt x="497" y="649"/>
                      <a:pt x="497" y="649"/>
                    </a:cubicBezTo>
                    <a:cubicBezTo>
                      <a:pt x="496" y="649"/>
                      <a:pt x="496" y="649"/>
                      <a:pt x="496" y="649"/>
                    </a:cubicBezTo>
                    <a:cubicBezTo>
                      <a:pt x="496" y="648"/>
                      <a:pt x="496" y="648"/>
                      <a:pt x="496" y="648"/>
                    </a:cubicBezTo>
                    <a:cubicBezTo>
                      <a:pt x="498" y="643"/>
                      <a:pt x="498" y="643"/>
                      <a:pt x="498" y="643"/>
                    </a:cubicBezTo>
                    <a:cubicBezTo>
                      <a:pt x="497" y="641"/>
                      <a:pt x="497" y="641"/>
                      <a:pt x="497" y="641"/>
                    </a:cubicBezTo>
                    <a:cubicBezTo>
                      <a:pt x="498" y="638"/>
                      <a:pt x="498" y="638"/>
                      <a:pt x="498" y="638"/>
                    </a:cubicBezTo>
                    <a:cubicBezTo>
                      <a:pt x="499" y="637"/>
                      <a:pt x="499" y="637"/>
                      <a:pt x="499" y="637"/>
                    </a:cubicBezTo>
                    <a:cubicBezTo>
                      <a:pt x="498" y="635"/>
                      <a:pt x="498" y="635"/>
                      <a:pt x="498" y="635"/>
                    </a:cubicBezTo>
                    <a:cubicBezTo>
                      <a:pt x="499" y="634"/>
                      <a:pt x="499" y="634"/>
                      <a:pt x="499" y="634"/>
                    </a:cubicBezTo>
                    <a:cubicBezTo>
                      <a:pt x="499" y="632"/>
                      <a:pt x="499" y="632"/>
                      <a:pt x="499" y="632"/>
                    </a:cubicBezTo>
                    <a:cubicBezTo>
                      <a:pt x="500" y="632"/>
                      <a:pt x="500" y="632"/>
                      <a:pt x="500" y="632"/>
                    </a:cubicBezTo>
                    <a:cubicBezTo>
                      <a:pt x="499" y="631"/>
                      <a:pt x="499" y="631"/>
                      <a:pt x="499" y="631"/>
                    </a:cubicBezTo>
                    <a:cubicBezTo>
                      <a:pt x="498" y="630"/>
                      <a:pt x="498" y="630"/>
                      <a:pt x="498" y="630"/>
                    </a:cubicBezTo>
                    <a:cubicBezTo>
                      <a:pt x="499" y="629"/>
                      <a:pt x="499" y="629"/>
                      <a:pt x="499" y="629"/>
                    </a:cubicBezTo>
                    <a:cubicBezTo>
                      <a:pt x="498" y="628"/>
                      <a:pt x="498" y="628"/>
                      <a:pt x="498" y="628"/>
                    </a:cubicBezTo>
                    <a:cubicBezTo>
                      <a:pt x="498" y="626"/>
                      <a:pt x="498" y="626"/>
                      <a:pt x="498" y="626"/>
                    </a:cubicBezTo>
                    <a:cubicBezTo>
                      <a:pt x="497" y="625"/>
                      <a:pt x="497" y="625"/>
                      <a:pt x="497" y="625"/>
                    </a:cubicBezTo>
                    <a:cubicBezTo>
                      <a:pt x="497" y="623"/>
                      <a:pt x="497" y="623"/>
                      <a:pt x="497" y="623"/>
                    </a:cubicBezTo>
                    <a:cubicBezTo>
                      <a:pt x="497" y="622"/>
                      <a:pt x="497" y="622"/>
                      <a:pt x="497" y="622"/>
                    </a:cubicBezTo>
                    <a:cubicBezTo>
                      <a:pt x="499" y="620"/>
                      <a:pt x="499" y="620"/>
                      <a:pt x="499" y="620"/>
                    </a:cubicBezTo>
                    <a:cubicBezTo>
                      <a:pt x="503" y="620"/>
                      <a:pt x="503" y="620"/>
                      <a:pt x="503" y="620"/>
                    </a:cubicBezTo>
                    <a:cubicBezTo>
                      <a:pt x="505" y="618"/>
                      <a:pt x="505" y="618"/>
                      <a:pt x="505" y="618"/>
                    </a:cubicBezTo>
                    <a:cubicBezTo>
                      <a:pt x="507" y="618"/>
                      <a:pt x="507" y="618"/>
                      <a:pt x="507" y="618"/>
                    </a:cubicBezTo>
                    <a:cubicBezTo>
                      <a:pt x="508" y="617"/>
                      <a:pt x="508" y="617"/>
                      <a:pt x="508" y="617"/>
                    </a:cubicBezTo>
                    <a:cubicBezTo>
                      <a:pt x="512" y="615"/>
                      <a:pt x="512" y="615"/>
                      <a:pt x="512" y="615"/>
                    </a:cubicBezTo>
                    <a:cubicBezTo>
                      <a:pt x="518" y="613"/>
                      <a:pt x="518" y="613"/>
                      <a:pt x="518" y="613"/>
                    </a:cubicBezTo>
                    <a:cubicBezTo>
                      <a:pt x="518" y="612"/>
                      <a:pt x="518" y="612"/>
                      <a:pt x="518" y="612"/>
                    </a:cubicBezTo>
                    <a:cubicBezTo>
                      <a:pt x="519" y="611"/>
                      <a:pt x="519" y="611"/>
                      <a:pt x="519" y="611"/>
                    </a:cubicBezTo>
                    <a:cubicBezTo>
                      <a:pt x="524" y="609"/>
                      <a:pt x="524" y="609"/>
                      <a:pt x="524" y="609"/>
                    </a:cubicBezTo>
                    <a:cubicBezTo>
                      <a:pt x="524" y="608"/>
                      <a:pt x="524" y="608"/>
                      <a:pt x="524" y="608"/>
                    </a:cubicBezTo>
                    <a:cubicBezTo>
                      <a:pt x="526" y="606"/>
                      <a:pt x="526" y="606"/>
                      <a:pt x="526" y="606"/>
                    </a:cubicBezTo>
                    <a:cubicBezTo>
                      <a:pt x="529" y="602"/>
                      <a:pt x="529" y="602"/>
                      <a:pt x="529" y="602"/>
                    </a:cubicBezTo>
                    <a:cubicBezTo>
                      <a:pt x="530" y="602"/>
                      <a:pt x="530" y="602"/>
                      <a:pt x="530" y="602"/>
                    </a:cubicBezTo>
                    <a:cubicBezTo>
                      <a:pt x="531" y="603"/>
                      <a:pt x="531" y="603"/>
                      <a:pt x="531" y="603"/>
                    </a:cubicBezTo>
                    <a:cubicBezTo>
                      <a:pt x="533" y="603"/>
                      <a:pt x="533" y="603"/>
                      <a:pt x="533" y="603"/>
                    </a:cubicBezTo>
                    <a:cubicBezTo>
                      <a:pt x="534" y="601"/>
                      <a:pt x="534" y="601"/>
                      <a:pt x="534" y="601"/>
                    </a:cubicBezTo>
                    <a:cubicBezTo>
                      <a:pt x="533" y="599"/>
                      <a:pt x="533" y="599"/>
                      <a:pt x="533" y="599"/>
                    </a:cubicBezTo>
                    <a:cubicBezTo>
                      <a:pt x="533" y="597"/>
                      <a:pt x="533" y="597"/>
                      <a:pt x="533" y="597"/>
                    </a:cubicBezTo>
                    <a:cubicBezTo>
                      <a:pt x="531" y="598"/>
                      <a:pt x="531" y="598"/>
                      <a:pt x="531" y="598"/>
                    </a:cubicBezTo>
                    <a:cubicBezTo>
                      <a:pt x="531" y="600"/>
                      <a:pt x="531" y="600"/>
                      <a:pt x="531" y="600"/>
                    </a:cubicBezTo>
                    <a:cubicBezTo>
                      <a:pt x="530" y="600"/>
                      <a:pt x="530" y="600"/>
                      <a:pt x="530" y="600"/>
                    </a:cubicBezTo>
                    <a:cubicBezTo>
                      <a:pt x="531" y="597"/>
                      <a:pt x="531" y="597"/>
                      <a:pt x="531" y="597"/>
                    </a:cubicBezTo>
                    <a:cubicBezTo>
                      <a:pt x="533" y="593"/>
                      <a:pt x="533" y="593"/>
                      <a:pt x="533" y="593"/>
                    </a:cubicBezTo>
                    <a:cubicBezTo>
                      <a:pt x="533" y="592"/>
                      <a:pt x="533" y="592"/>
                      <a:pt x="533" y="592"/>
                    </a:cubicBezTo>
                    <a:cubicBezTo>
                      <a:pt x="533" y="588"/>
                      <a:pt x="533" y="588"/>
                      <a:pt x="533" y="588"/>
                    </a:cubicBezTo>
                    <a:cubicBezTo>
                      <a:pt x="534" y="586"/>
                      <a:pt x="534" y="586"/>
                      <a:pt x="534" y="586"/>
                    </a:cubicBezTo>
                    <a:cubicBezTo>
                      <a:pt x="532" y="583"/>
                      <a:pt x="532" y="583"/>
                      <a:pt x="532" y="583"/>
                    </a:cubicBezTo>
                    <a:cubicBezTo>
                      <a:pt x="532" y="577"/>
                      <a:pt x="532" y="577"/>
                      <a:pt x="532" y="577"/>
                    </a:cubicBezTo>
                    <a:cubicBezTo>
                      <a:pt x="532" y="572"/>
                      <a:pt x="532" y="572"/>
                      <a:pt x="532" y="572"/>
                    </a:cubicBezTo>
                    <a:cubicBezTo>
                      <a:pt x="529" y="567"/>
                      <a:pt x="529" y="567"/>
                      <a:pt x="529" y="567"/>
                    </a:cubicBezTo>
                    <a:cubicBezTo>
                      <a:pt x="527" y="566"/>
                      <a:pt x="527" y="566"/>
                      <a:pt x="527" y="566"/>
                    </a:cubicBezTo>
                    <a:cubicBezTo>
                      <a:pt x="526" y="564"/>
                      <a:pt x="526" y="564"/>
                      <a:pt x="526" y="564"/>
                    </a:cubicBezTo>
                    <a:cubicBezTo>
                      <a:pt x="524" y="563"/>
                      <a:pt x="524" y="563"/>
                      <a:pt x="524" y="563"/>
                    </a:cubicBezTo>
                    <a:cubicBezTo>
                      <a:pt x="524" y="561"/>
                      <a:pt x="524" y="561"/>
                      <a:pt x="524" y="561"/>
                    </a:cubicBezTo>
                    <a:cubicBezTo>
                      <a:pt x="525" y="558"/>
                      <a:pt x="525" y="558"/>
                      <a:pt x="525" y="558"/>
                    </a:cubicBezTo>
                    <a:cubicBezTo>
                      <a:pt x="527" y="557"/>
                      <a:pt x="527" y="557"/>
                      <a:pt x="527" y="557"/>
                    </a:cubicBezTo>
                    <a:cubicBezTo>
                      <a:pt x="532" y="551"/>
                      <a:pt x="532" y="551"/>
                      <a:pt x="532" y="551"/>
                    </a:cubicBezTo>
                    <a:cubicBezTo>
                      <a:pt x="533" y="551"/>
                      <a:pt x="533" y="551"/>
                      <a:pt x="533" y="551"/>
                    </a:cubicBezTo>
                    <a:cubicBezTo>
                      <a:pt x="535" y="550"/>
                      <a:pt x="535" y="550"/>
                      <a:pt x="535" y="550"/>
                    </a:cubicBezTo>
                    <a:cubicBezTo>
                      <a:pt x="534" y="548"/>
                      <a:pt x="534" y="548"/>
                      <a:pt x="534" y="548"/>
                    </a:cubicBezTo>
                    <a:cubicBezTo>
                      <a:pt x="534" y="548"/>
                      <a:pt x="534" y="548"/>
                      <a:pt x="534" y="548"/>
                    </a:cubicBezTo>
                    <a:cubicBezTo>
                      <a:pt x="534" y="547"/>
                      <a:pt x="534" y="547"/>
                      <a:pt x="534" y="547"/>
                    </a:cubicBezTo>
                    <a:cubicBezTo>
                      <a:pt x="536" y="544"/>
                      <a:pt x="536" y="544"/>
                      <a:pt x="536" y="544"/>
                    </a:cubicBezTo>
                    <a:cubicBezTo>
                      <a:pt x="537" y="544"/>
                      <a:pt x="537" y="544"/>
                      <a:pt x="537" y="544"/>
                    </a:cubicBezTo>
                    <a:cubicBezTo>
                      <a:pt x="538" y="547"/>
                      <a:pt x="538" y="547"/>
                      <a:pt x="538" y="547"/>
                    </a:cubicBezTo>
                    <a:cubicBezTo>
                      <a:pt x="539" y="547"/>
                      <a:pt x="539" y="547"/>
                      <a:pt x="539" y="547"/>
                    </a:cubicBezTo>
                    <a:cubicBezTo>
                      <a:pt x="539" y="546"/>
                      <a:pt x="539" y="546"/>
                      <a:pt x="539" y="546"/>
                    </a:cubicBezTo>
                    <a:cubicBezTo>
                      <a:pt x="539" y="544"/>
                      <a:pt x="539" y="544"/>
                      <a:pt x="539" y="544"/>
                    </a:cubicBezTo>
                    <a:cubicBezTo>
                      <a:pt x="541" y="543"/>
                      <a:pt x="541" y="543"/>
                      <a:pt x="541" y="543"/>
                    </a:cubicBezTo>
                    <a:cubicBezTo>
                      <a:pt x="543" y="539"/>
                      <a:pt x="543" y="539"/>
                      <a:pt x="543" y="539"/>
                    </a:cubicBezTo>
                    <a:cubicBezTo>
                      <a:pt x="542" y="538"/>
                      <a:pt x="542" y="538"/>
                      <a:pt x="542" y="538"/>
                    </a:cubicBezTo>
                    <a:cubicBezTo>
                      <a:pt x="540" y="538"/>
                      <a:pt x="540" y="538"/>
                      <a:pt x="540" y="538"/>
                    </a:cubicBezTo>
                    <a:cubicBezTo>
                      <a:pt x="540" y="537"/>
                      <a:pt x="540" y="537"/>
                      <a:pt x="540" y="537"/>
                    </a:cubicBezTo>
                    <a:cubicBezTo>
                      <a:pt x="541" y="535"/>
                      <a:pt x="541" y="535"/>
                      <a:pt x="541" y="535"/>
                    </a:cubicBezTo>
                    <a:cubicBezTo>
                      <a:pt x="540" y="534"/>
                      <a:pt x="540" y="534"/>
                      <a:pt x="540" y="534"/>
                    </a:cubicBezTo>
                    <a:cubicBezTo>
                      <a:pt x="540" y="533"/>
                      <a:pt x="540" y="533"/>
                      <a:pt x="540" y="533"/>
                    </a:cubicBezTo>
                    <a:cubicBezTo>
                      <a:pt x="541" y="531"/>
                      <a:pt x="541" y="531"/>
                      <a:pt x="541" y="531"/>
                    </a:cubicBezTo>
                    <a:cubicBezTo>
                      <a:pt x="543" y="530"/>
                      <a:pt x="543" y="530"/>
                      <a:pt x="543" y="530"/>
                    </a:cubicBezTo>
                    <a:cubicBezTo>
                      <a:pt x="541" y="530"/>
                      <a:pt x="541" y="530"/>
                      <a:pt x="541" y="530"/>
                    </a:cubicBezTo>
                    <a:cubicBezTo>
                      <a:pt x="541" y="529"/>
                      <a:pt x="541" y="529"/>
                      <a:pt x="541" y="529"/>
                    </a:cubicBezTo>
                    <a:cubicBezTo>
                      <a:pt x="541" y="526"/>
                      <a:pt x="541" y="526"/>
                      <a:pt x="541" y="526"/>
                    </a:cubicBezTo>
                    <a:cubicBezTo>
                      <a:pt x="543" y="525"/>
                      <a:pt x="543" y="525"/>
                      <a:pt x="543" y="525"/>
                    </a:cubicBezTo>
                    <a:cubicBezTo>
                      <a:pt x="542" y="525"/>
                      <a:pt x="542" y="525"/>
                      <a:pt x="542" y="525"/>
                    </a:cubicBezTo>
                    <a:cubicBezTo>
                      <a:pt x="539" y="525"/>
                      <a:pt x="539" y="525"/>
                      <a:pt x="539" y="525"/>
                    </a:cubicBezTo>
                    <a:cubicBezTo>
                      <a:pt x="538" y="525"/>
                      <a:pt x="538" y="525"/>
                      <a:pt x="538" y="525"/>
                    </a:cubicBezTo>
                    <a:cubicBezTo>
                      <a:pt x="538" y="523"/>
                      <a:pt x="538" y="523"/>
                      <a:pt x="538" y="523"/>
                    </a:cubicBezTo>
                    <a:cubicBezTo>
                      <a:pt x="542" y="520"/>
                      <a:pt x="542" y="520"/>
                      <a:pt x="542" y="520"/>
                    </a:cubicBezTo>
                    <a:cubicBezTo>
                      <a:pt x="545" y="516"/>
                      <a:pt x="545" y="516"/>
                      <a:pt x="545" y="516"/>
                    </a:cubicBezTo>
                    <a:cubicBezTo>
                      <a:pt x="545" y="514"/>
                      <a:pt x="545" y="514"/>
                      <a:pt x="545" y="514"/>
                    </a:cubicBezTo>
                    <a:cubicBezTo>
                      <a:pt x="546" y="514"/>
                      <a:pt x="546" y="514"/>
                      <a:pt x="546" y="514"/>
                    </a:cubicBezTo>
                    <a:cubicBezTo>
                      <a:pt x="547" y="513"/>
                      <a:pt x="547" y="513"/>
                      <a:pt x="547" y="513"/>
                    </a:cubicBezTo>
                    <a:cubicBezTo>
                      <a:pt x="547" y="511"/>
                      <a:pt x="547" y="511"/>
                      <a:pt x="547" y="511"/>
                    </a:cubicBezTo>
                    <a:cubicBezTo>
                      <a:pt x="546" y="510"/>
                      <a:pt x="546" y="510"/>
                      <a:pt x="546" y="510"/>
                    </a:cubicBezTo>
                    <a:cubicBezTo>
                      <a:pt x="546" y="510"/>
                      <a:pt x="546" y="510"/>
                      <a:pt x="546" y="510"/>
                    </a:cubicBezTo>
                    <a:cubicBezTo>
                      <a:pt x="545" y="509"/>
                      <a:pt x="545" y="509"/>
                      <a:pt x="545" y="509"/>
                    </a:cubicBezTo>
                    <a:cubicBezTo>
                      <a:pt x="544" y="507"/>
                      <a:pt x="544" y="507"/>
                      <a:pt x="544" y="507"/>
                    </a:cubicBezTo>
                    <a:cubicBezTo>
                      <a:pt x="544" y="504"/>
                      <a:pt x="544" y="504"/>
                      <a:pt x="544" y="504"/>
                    </a:cubicBezTo>
                    <a:cubicBezTo>
                      <a:pt x="545" y="501"/>
                      <a:pt x="545" y="501"/>
                      <a:pt x="545" y="501"/>
                    </a:cubicBezTo>
                    <a:cubicBezTo>
                      <a:pt x="545" y="498"/>
                      <a:pt x="545" y="498"/>
                      <a:pt x="545" y="498"/>
                    </a:cubicBezTo>
                    <a:cubicBezTo>
                      <a:pt x="547" y="497"/>
                      <a:pt x="547" y="497"/>
                      <a:pt x="547" y="497"/>
                    </a:cubicBezTo>
                    <a:cubicBezTo>
                      <a:pt x="547" y="498"/>
                      <a:pt x="547" y="498"/>
                      <a:pt x="547" y="498"/>
                    </a:cubicBezTo>
                    <a:cubicBezTo>
                      <a:pt x="549" y="498"/>
                      <a:pt x="549" y="498"/>
                      <a:pt x="549" y="498"/>
                    </a:cubicBezTo>
                    <a:cubicBezTo>
                      <a:pt x="549" y="497"/>
                      <a:pt x="549" y="497"/>
                      <a:pt x="549" y="497"/>
                    </a:cubicBezTo>
                    <a:cubicBezTo>
                      <a:pt x="550" y="495"/>
                      <a:pt x="550" y="495"/>
                      <a:pt x="550" y="495"/>
                    </a:cubicBezTo>
                    <a:cubicBezTo>
                      <a:pt x="551" y="495"/>
                      <a:pt x="551" y="495"/>
                      <a:pt x="551" y="495"/>
                    </a:cubicBezTo>
                    <a:cubicBezTo>
                      <a:pt x="552" y="495"/>
                      <a:pt x="552" y="495"/>
                      <a:pt x="552" y="495"/>
                    </a:cubicBezTo>
                    <a:cubicBezTo>
                      <a:pt x="553" y="495"/>
                      <a:pt x="553" y="495"/>
                      <a:pt x="553" y="495"/>
                    </a:cubicBezTo>
                    <a:cubicBezTo>
                      <a:pt x="557" y="496"/>
                      <a:pt x="557" y="496"/>
                      <a:pt x="557" y="496"/>
                    </a:cubicBezTo>
                    <a:cubicBezTo>
                      <a:pt x="560" y="497"/>
                      <a:pt x="560" y="497"/>
                      <a:pt x="560" y="497"/>
                    </a:cubicBezTo>
                    <a:cubicBezTo>
                      <a:pt x="564" y="500"/>
                      <a:pt x="564" y="500"/>
                      <a:pt x="564" y="500"/>
                    </a:cubicBezTo>
                    <a:cubicBezTo>
                      <a:pt x="567" y="500"/>
                      <a:pt x="567" y="500"/>
                      <a:pt x="567" y="500"/>
                    </a:cubicBezTo>
                    <a:cubicBezTo>
                      <a:pt x="566" y="502"/>
                      <a:pt x="566" y="502"/>
                      <a:pt x="566" y="502"/>
                    </a:cubicBezTo>
                    <a:cubicBezTo>
                      <a:pt x="564" y="503"/>
                      <a:pt x="564" y="503"/>
                      <a:pt x="564" y="503"/>
                    </a:cubicBezTo>
                    <a:cubicBezTo>
                      <a:pt x="567" y="503"/>
                      <a:pt x="567" y="503"/>
                      <a:pt x="567" y="503"/>
                    </a:cubicBezTo>
                    <a:cubicBezTo>
                      <a:pt x="569" y="501"/>
                      <a:pt x="569" y="501"/>
                      <a:pt x="569" y="501"/>
                    </a:cubicBezTo>
                    <a:cubicBezTo>
                      <a:pt x="571" y="501"/>
                      <a:pt x="571" y="501"/>
                      <a:pt x="571" y="501"/>
                    </a:cubicBezTo>
                    <a:cubicBezTo>
                      <a:pt x="572" y="502"/>
                      <a:pt x="572" y="502"/>
                      <a:pt x="572" y="502"/>
                    </a:cubicBezTo>
                    <a:cubicBezTo>
                      <a:pt x="574" y="502"/>
                      <a:pt x="574" y="502"/>
                      <a:pt x="574" y="502"/>
                    </a:cubicBezTo>
                    <a:cubicBezTo>
                      <a:pt x="575" y="504"/>
                      <a:pt x="575" y="504"/>
                      <a:pt x="575" y="504"/>
                    </a:cubicBezTo>
                    <a:cubicBezTo>
                      <a:pt x="575" y="502"/>
                      <a:pt x="575" y="502"/>
                      <a:pt x="575" y="502"/>
                    </a:cubicBezTo>
                    <a:cubicBezTo>
                      <a:pt x="577" y="503"/>
                      <a:pt x="577" y="503"/>
                      <a:pt x="577" y="503"/>
                    </a:cubicBezTo>
                    <a:cubicBezTo>
                      <a:pt x="578" y="502"/>
                      <a:pt x="578" y="502"/>
                      <a:pt x="578" y="502"/>
                    </a:cubicBezTo>
                    <a:cubicBezTo>
                      <a:pt x="580" y="501"/>
                      <a:pt x="580" y="501"/>
                      <a:pt x="580" y="501"/>
                    </a:cubicBezTo>
                    <a:cubicBezTo>
                      <a:pt x="582" y="500"/>
                      <a:pt x="582" y="500"/>
                      <a:pt x="582" y="500"/>
                    </a:cubicBezTo>
                    <a:cubicBezTo>
                      <a:pt x="586" y="503"/>
                      <a:pt x="586" y="503"/>
                      <a:pt x="586" y="503"/>
                    </a:cubicBezTo>
                    <a:cubicBezTo>
                      <a:pt x="586" y="505"/>
                      <a:pt x="586" y="505"/>
                      <a:pt x="586" y="505"/>
                    </a:cubicBezTo>
                    <a:cubicBezTo>
                      <a:pt x="588" y="506"/>
                      <a:pt x="588" y="506"/>
                      <a:pt x="588" y="506"/>
                    </a:cubicBezTo>
                    <a:cubicBezTo>
                      <a:pt x="590" y="506"/>
                      <a:pt x="590" y="506"/>
                      <a:pt x="590" y="506"/>
                    </a:cubicBezTo>
                    <a:cubicBezTo>
                      <a:pt x="590" y="510"/>
                      <a:pt x="590" y="510"/>
                      <a:pt x="590" y="510"/>
                    </a:cubicBezTo>
                    <a:cubicBezTo>
                      <a:pt x="588" y="511"/>
                      <a:pt x="588" y="511"/>
                      <a:pt x="588" y="511"/>
                    </a:cubicBezTo>
                    <a:cubicBezTo>
                      <a:pt x="588" y="513"/>
                      <a:pt x="588" y="513"/>
                      <a:pt x="588" y="513"/>
                    </a:cubicBezTo>
                    <a:cubicBezTo>
                      <a:pt x="590" y="512"/>
                      <a:pt x="590" y="512"/>
                      <a:pt x="590" y="512"/>
                    </a:cubicBezTo>
                    <a:cubicBezTo>
                      <a:pt x="592" y="514"/>
                      <a:pt x="592" y="514"/>
                      <a:pt x="592" y="514"/>
                    </a:cubicBezTo>
                    <a:cubicBezTo>
                      <a:pt x="593" y="516"/>
                      <a:pt x="593" y="516"/>
                      <a:pt x="593" y="516"/>
                    </a:cubicBezTo>
                    <a:cubicBezTo>
                      <a:pt x="591" y="516"/>
                      <a:pt x="591" y="516"/>
                      <a:pt x="591" y="516"/>
                    </a:cubicBezTo>
                    <a:cubicBezTo>
                      <a:pt x="593" y="518"/>
                      <a:pt x="593" y="518"/>
                      <a:pt x="593" y="518"/>
                    </a:cubicBezTo>
                    <a:cubicBezTo>
                      <a:pt x="594" y="516"/>
                      <a:pt x="594" y="516"/>
                      <a:pt x="594" y="516"/>
                    </a:cubicBezTo>
                    <a:cubicBezTo>
                      <a:pt x="596" y="519"/>
                      <a:pt x="596" y="519"/>
                      <a:pt x="596" y="519"/>
                    </a:cubicBezTo>
                    <a:cubicBezTo>
                      <a:pt x="596" y="520"/>
                      <a:pt x="596" y="520"/>
                      <a:pt x="596" y="520"/>
                    </a:cubicBezTo>
                    <a:cubicBezTo>
                      <a:pt x="594" y="519"/>
                      <a:pt x="594" y="519"/>
                      <a:pt x="594" y="519"/>
                    </a:cubicBezTo>
                    <a:cubicBezTo>
                      <a:pt x="593" y="520"/>
                      <a:pt x="593" y="520"/>
                      <a:pt x="593" y="520"/>
                    </a:cubicBezTo>
                    <a:cubicBezTo>
                      <a:pt x="591" y="520"/>
                      <a:pt x="591" y="520"/>
                      <a:pt x="591" y="520"/>
                    </a:cubicBezTo>
                    <a:cubicBezTo>
                      <a:pt x="594" y="523"/>
                      <a:pt x="594" y="523"/>
                      <a:pt x="594" y="523"/>
                    </a:cubicBezTo>
                    <a:cubicBezTo>
                      <a:pt x="594" y="525"/>
                      <a:pt x="594" y="525"/>
                      <a:pt x="594" y="525"/>
                    </a:cubicBezTo>
                    <a:cubicBezTo>
                      <a:pt x="596" y="523"/>
                      <a:pt x="596" y="523"/>
                      <a:pt x="596" y="523"/>
                    </a:cubicBezTo>
                    <a:cubicBezTo>
                      <a:pt x="596" y="525"/>
                      <a:pt x="596" y="525"/>
                      <a:pt x="596" y="525"/>
                    </a:cubicBezTo>
                    <a:cubicBezTo>
                      <a:pt x="597" y="524"/>
                      <a:pt x="597" y="524"/>
                      <a:pt x="597" y="524"/>
                    </a:cubicBezTo>
                    <a:cubicBezTo>
                      <a:pt x="600" y="526"/>
                      <a:pt x="600" y="526"/>
                      <a:pt x="600" y="526"/>
                    </a:cubicBezTo>
                    <a:cubicBezTo>
                      <a:pt x="601" y="526"/>
                      <a:pt x="601" y="526"/>
                      <a:pt x="601" y="526"/>
                    </a:cubicBezTo>
                    <a:cubicBezTo>
                      <a:pt x="602" y="527"/>
                      <a:pt x="602" y="527"/>
                      <a:pt x="602" y="527"/>
                    </a:cubicBezTo>
                    <a:cubicBezTo>
                      <a:pt x="604" y="526"/>
                      <a:pt x="604" y="526"/>
                      <a:pt x="604" y="526"/>
                    </a:cubicBezTo>
                    <a:cubicBezTo>
                      <a:pt x="607" y="527"/>
                      <a:pt x="607" y="527"/>
                      <a:pt x="607" y="527"/>
                    </a:cubicBezTo>
                    <a:cubicBezTo>
                      <a:pt x="606" y="530"/>
                      <a:pt x="606" y="530"/>
                      <a:pt x="606" y="530"/>
                    </a:cubicBezTo>
                    <a:cubicBezTo>
                      <a:pt x="607" y="532"/>
                      <a:pt x="607" y="532"/>
                      <a:pt x="607" y="532"/>
                    </a:cubicBezTo>
                    <a:cubicBezTo>
                      <a:pt x="609" y="530"/>
                      <a:pt x="609" y="530"/>
                      <a:pt x="609" y="530"/>
                    </a:cubicBezTo>
                    <a:cubicBezTo>
                      <a:pt x="610" y="527"/>
                      <a:pt x="610" y="527"/>
                      <a:pt x="610" y="527"/>
                    </a:cubicBezTo>
                    <a:cubicBezTo>
                      <a:pt x="611" y="527"/>
                      <a:pt x="611" y="527"/>
                      <a:pt x="611" y="527"/>
                    </a:cubicBezTo>
                    <a:cubicBezTo>
                      <a:pt x="611" y="531"/>
                      <a:pt x="611" y="531"/>
                      <a:pt x="611" y="531"/>
                    </a:cubicBezTo>
                    <a:cubicBezTo>
                      <a:pt x="611" y="534"/>
                      <a:pt x="611" y="534"/>
                      <a:pt x="611" y="534"/>
                    </a:cubicBezTo>
                    <a:cubicBezTo>
                      <a:pt x="608" y="534"/>
                      <a:pt x="608" y="534"/>
                      <a:pt x="608" y="534"/>
                    </a:cubicBezTo>
                    <a:cubicBezTo>
                      <a:pt x="607" y="537"/>
                      <a:pt x="607" y="537"/>
                      <a:pt x="607" y="537"/>
                    </a:cubicBezTo>
                    <a:cubicBezTo>
                      <a:pt x="607" y="542"/>
                      <a:pt x="607" y="542"/>
                      <a:pt x="607" y="542"/>
                    </a:cubicBezTo>
                    <a:cubicBezTo>
                      <a:pt x="606" y="544"/>
                      <a:pt x="606" y="544"/>
                      <a:pt x="606" y="544"/>
                    </a:cubicBezTo>
                    <a:cubicBezTo>
                      <a:pt x="606" y="541"/>
                      <a:pt x="606" y="541"/>
                      <a:pt x="606" y="541"/>
                    </a:cubicBezTo>
                    <a:cubicBezTo>
                      <a:pt x="605" y="542"/>
                      <a:pt x="605" y="542"/>
                      <a:pt x="605" y="542"/>
                    </a:cubicBezTo>
                    <a:cubicBezTo>
                      <a:pt x="604" y="545"/>
                      <a:pt x="604" y="545"/>
                      <a:pt x="604" y="545"/>
                    </a:cubicBezTo>
                    <a:cubicBezTo>
                      <a:pt x="600" y="545"/>
                      <a:pt x="600" y="545"/>
                      <a:pt x="600" y="545"/>
                    </a:cubicBezTo>
                    <a:cubicBezTo>
                      <a:pt x="595" y="543"/>
                      <a:pt x="595" y="543"/>
                      <a:pt x="595" y="543"/>
                    </a:cubicBezTo>
                    <a:cubicBezTo>
                      <a:pt x="600" y="546"/>
                      <a:pt x="600" y="546"/>
                      <a:pt x="600" y="546"/>
                    </a:cubicBezTo>
                    <a:cubicBezTo>
                      <a:pt x="603" y="546"/>
                      <a:pt x="603" y="546"/>
                      <a:pt x="603" y="546"/>
                    </a:cubicBezTo>
                    <a:cubicBezTo>
                      <a:pt x="606" y="549"/>
                      <a:pt x="606" y="549"/>
                      <a:pt x="606" y="549"/>
                    </a:cubicBezTo>
                    <a:cubicBezTo>
                      <a:pt x="606" y="552"/>
                      <a:pt x="606" y="552"/>
                      <a:pt x="606" y="552"/>
                    </a:cubicBezTo>
                    <a:cubicBezTo>
                      <a:pt x="604" y="555"/>
                      <a:pt x="604" y="555"/>
                      <a:pt x="604" y="555"/>
                    </a:cubicBezTo>
                    <a:cubicBezTo>
                      <a:pt x="604" y="556"/>
                      <a:pt x="604" y="556"/>
                      <a:pt x="604" y="556"/>
                    </a:cubicBezTo>
                    <a:cubicBezTo>
                      <a:pt x="602" y="558"/>
                      <a:pt x="602" y="558"/>
                      <a:pt x="602" y="558"/>
                    </a:cubicBezTo>
                    <a:cubicBezTo>
                      <a:pt x="602" y="559"/>
                      <a:pt x="602" y="559"/>
                      <a:pt x="602" y="559"/>
                    </a:cubicBezTo>
                    <a:cubicBezTo>
                      <a:pt x="605" y="563"/>
                      <a:pt x="605" y="563"/>
                      <a:pt x="605" y="563"/>
                    </a:cubicBezTo>
                    <a:cubicBezTo>
                      <a:pt x="606" y="563"/>
                      <a:pt x="606" y="563"/>
                      <a:pt x="606" y="563"/>
                    </a:cubicBezTo>
                    <a:cubicBezTo>
                      <a:pt x="605" y="564"/>
                      <a:pt x="605" y="564"/>
                      <a:pt x="605" y="564"/>
                    </a:cubicBezTo>
                    <a:cubicBezTo>
                      <a:pt x="602" y="562"/>
                      <a:pt x="602" y="562"/>
                      <a:pt x="602" y="562"/>
                    </a:cubicBezTo>
                    <a:cubicBezTo>
                      <a:pt x="604" y="565"/>
                      <a:pt x="604" y="565"/>
                      <a:pt x="604" y="565"/>
                    </a:cubicBezTo>
                    <a:cubicBezTo>
                      <a:pt x="606" y="567"/>
                      <a:pt x="606" y="567"/>
                      <a:pt x="606" y="567"/>
                    </a:cubicBezTo>
                    <a:cubicBezTo>
                      <a:pt x="606" y="567"/>
                      <a:pt x="606" y="567"/>
                      <a:pt x="606" y="567"/>
                    </a:cubicBezTo>
                    <a:cubicBezTo>
                      <a:pt x="606" y="564"/>
                      <a:pt x="606" y="564"/>
                      <a:pt x="606" y="564"/>
                    </a:cubicBezTo>
                    <a:cubicBezTo>
                      <a:pt x="608" y="564"/>
                      <a:pt x="608" y="564"/>
                      <a:pt x="608" y="564"/>
                    </a:cubicBezTo>
                    <a:cubicBezTo>
                      <a:pt x="610" y="566"/>
                      <a:pt x="610" y="566"/>
                      <a:pt x="610" y="566"/>
                    </a:cubicBezTo>
                    <a:cubicBezTo>
                      <a:pt x="611" y="568"/>
                      <a:pt x="611" y="568"/>
                      <a:pt x="611" y="568"/>
                    </a:cubicBezTo>
                    <a:cubicBezTo>
                      <a:pt x="610" y="570"/>
                      <a:pt x="610" y="570"/>
                      <a:pt x="610" y="570"/>
                    </a:cubicBezTo>
                    <a:cubicBezTo>
                      <a:pt x="610" y="572"/>
                      <a:pt x="610" y="572"/>
                      <a:pt x="610" y="572"/>
                    </a:cubicBezTo>
                    <a:cubicBezTo>
                      <a:pt x="608" y="576"/>
                      <a:pt x="608" y="576"/>
                      <a:pt x="608" y="576"/>
                    </a:cubicBezTo>
                    <a:cubicBezTo>
                      <a:pt x="608" y="578"/>
                      <a:pt x="608" y="578"/>
                      <a:pt x="608" y="578"/>
                    </a:cubicBezTo>
                    <a:cubicBezTo>
                      <a:pt x="606" y="580"/>
                      <a:pt x="606" y="580"/>
                      <a:pt x="606" y="580"/>
                    </a:cubicBezTo>
                    <a:cubicBezTo>
                      <a:pt x="608" y="579"/>
                      <a:pt x="608" y="579"/>
                      <a:pt x="608" y="579"/>
                    </a:cubicBezTo>
                    <a:cubicBezTo>
                      <a:pt x="611" y="574"/>
                      <a:pt x="611" y="574"/>
                      <a:pt x="611" y="574"/>
                    </a:cubicBezTo>
                    <a:cubicBezTo>
                      <a:pt x="613" y="571"/>
                      <a:pt x="613" y="571"/>
                      <a:pt x="613" y="571"/>
                    </a:cubicBezTo>
                    <a:cubicBezTo>
                      <a:pt x="614" y="571"/>
                      <a:pt x="614" y="571"/>
                      <a:pt x="614" y="571"/>
                    </a:cubicBezTo>
                    <a:cubicBezTo>
                      <a:pt x="614" y="573"/>
                      <a:pt x="614" y="573"/>
                      <a:pt x="614" y="573"/>
                    </a:cubicBezTo>
                    <a:cubicBezTo>
                      <a:pt x="614" y="577"/>
                      <a:pt x="614" y="577"/>
                      <a:pt x="614" y="577"/>
                    </a:cubicBezTo>
                    <a:cubicBezTo>
                      <a:pt x="613" y="578"/>
                      <a:pt x="613" y="578"/>
                      <a:pt x="613" y="578"/>
                    </a:cubicBezTo>
                    <a:cubicBezTo>
                      <a:pt x="613" y="580"/>
                      <a:pt x="613" y="580"/>
                      <a:pt x="613" y="580"/>
                    </a:cubicBezTo>
                    <a:cubicBezTo>
                      <a:pt x="613" y="581"/>
                      <a:pt x="613" y="581"/>
                      <a:pt x="613" y="581"/>
                    </a:cubicBezTo>
                    <a:cubicBezTo>
                      <a:pt x="615" y="579"/>
                      <a:pt x="615" y="579"/>
                      <a:pt x="615" y="579"/>
                    </a:cubicBezTo>
                    <a:cubicBezTo>
                      <a:pt x="615" y="577"/>
                      <a:pt x="615" y="577"/>
                      <a:pt x="615" y="577"/>
                    </a:cubicBezTo>
                    <a:cubicBezTo>
                      <a:pt x="617" y="575"/>
                      <a:pt x="617" y="575"/>
                      <a:pt x="617" y="575"/>
                    </a:cubicBezTo>
                    <a:cubicBezTo>
                      <a:pt x="619" y="575"/>
                      <a:pt x="619" y="575"/>
                      <a:pt x="619" y="575"/>
                    </a:cubicBezTo>
                    <a:cubicBezTo>
                      <a:pt x="621" y="573"/>
                      <a:pt x="621" y="573"/>
                      <a:pt x="621" y="573"/>
                    </a:cubicBezTo>
                    <a:cubicBezTo>
                      <a:pt x="622" y="573"/>
                      <a:pt x="622" y="573"/>
                      <a:pt x="622" y="573"/>
                    </a:cubicBezTo>
                    <a:cubicBezTo>
                      <a:pt x="622" y="574"/>
                      <a:pt x="622" y="574"/>
                      <a:pt x="622" y="574"/>
                    </a:cubicBezTo>
                    <a:cubicBezTo>
                      <a:pt x="623" y="573"/>
                      <a:pt x="623" y="573"/>
                      <a:pt x="623" y="573"/>
                    </a:cubicBezTo>
                    <a:cubicBezTo>
                      <a:pt x="625" y="573"/>
                      <a:pt x="625" y="573"/>
                      <a:pt x="625" y="573"/>
                    </a:cubicBezTo>
                    <a:cubicBezTo>
                      <a:pt x="625" y="571"/>
                      <a:pt x="625" y="571"/>
                      <a:pt x="625" y="571"/>
                    </a:cubicBezTo>
                    <a:cubicBezTo>
                      <a:pt x="626" y="569"/>
                      <a:pt x="626" y="569"/>
                      <a:pt x="626" y="569"/>
                    </a:cubicBezTo>
                    <a:cubicBezTo>
                      <a:pt x="629" y="567"/>
                      <a:pt x="629" y="567"/>
                      <a:pt x="629" y="567"/>
                    </a:cubicBezTo>
                    <a:cubicBezTo>
                      <a:pt x="630" y="569"/>
                      <a:pt x="630" y="569"/>
                      <a:pt x="630" y="569"/>
                    </a:cubicBezTo>
                    <a:cubicBezTo>
                      <a:pt x="631" y="571"/>
                      <a:pt x="631" y="571"/>
                      <a:pt x="631" y="571"/>
                    </a:cubicBezTo>
                    <a:cubicBezTo>
                      <a:pt x="631" y="574"/>
                      <a:pt x="631" y="574"/>
                      <a:pt x="631" y="574"/>
                    </a:cubicBezTo>
                    <a:cubicBezTo>
                      <a:pt x="632" y="571"/>
                      <a:pt x="632" y="571"/>
                      <a:pt x="632" y="571"/>
                    </a:cubicBezTo>
                    <a:cubicBezTo>
                      <a:pt x="632" y="568"/>
                      <a:pt x="632" y="568"/>
                      <a:pt x="632" y="568"/>
                    </a:cubicBezTo>
                    <a:cubicBezTo>
                      <a:pt x="633" y="568"/>
                      <a:pt x="633" y="568"/>
                      <a:pt x="633" y="568"/>
                    </a:cubicBezTo>
                    <a:cubicBezTo>
                      <a:pt x="632" y="567"/>
                      <a:pt x="632" y="567"/>
                      <a:pt x="632" y="567"/>
                    </a:cubicBezTo>
                    <a:cubicBezTo>
                      <a:pt x="633" y="565"/>
                      <a:pt x="633" y="565"/>
                      <a:pt x="633" y="565"/>
                    </a:cubicBezTo>
                    <a:cubicBezTo>
                      <a:pt x="635" y="564"/>
                      <a:pt x="635" y="564"/>
                      <a:pt x="635" y="564"/>
                    </a:cubicBezTo>
                    <a:cubicBezTo>
                      <a:pt x="636" y="562"/>
                      <a:pt x="636" y="562"/>
                      <a:pt x="636" y="562"/>
                    </a:cubicBezTo>
                    <a:cubicBezTo>
                      <a:pt x="637" y="561"/>
                      <a:pt x="637" y="561"/>
                      <a:pt x="637" y="561"/>
                    </a:cubicBezTo>
                    <a:cubicBezTo>
                      <a:pt x="638" y="559"/>
                      <a:pt x="638" y="559"/>
                      <a:pt x="638" y="559"/>
                    </a:cubicBezTo>
                    <a:cubicBezTo>
                      <a:pt x="639" y="558"/>
                      <a:pt x="639" y="558"/>
                      <a:pt x="639" y="558"/>
                    </a:cubicBezTo>
                    <a:cubicBezTo>
                      <a:pt x="640" y="558"/>
                      <a:pt x="640" y="558"/>
                      <a:pt x="640" y="558"/>
                    </a:cubicBezTo>
                    <a:cubicBezTo>
                      <a:pt x="641" y="559"/>
                      <a:pt x="641" y="559"/>
                      <a:pt x="641" y="559"/>
                    </a:cubicBezTo>
                    <a:cubicBezTo>
                      <a:pt x="642" y="558"/>
                      <a:pt x="642" y="558"/>
                      <a:pt x="642" y="558"/>
                    </a:cubicBezTo>
                    <a:cubicBezTo>
                      <a:pt x="641" y="557"/>
                      <a:pt x="641" y="557"/>
                      <a:pt x="641" y="557"/>
                    </a:cubicBezTo>
                    <a:cubicBezTo>
                      <a:pt x="639" y="557"/>
                      <a:pt x="639" y="557"/>
                      <a:pt x="639" y="557"/>
                    </a:cubicBezTo>
                    <a:cubicBezTo>
                      <a:pt x="639" y="555"/>
                      <a:pt x="639" y="555"/>
                      <a:pt x="639" y="555"/>
                    </a:cubicBezTo>
                    <a:cubicBezTo>
                      <a:pt x="640" y="552"/>
                      <a:pt x="640" y="552"/>
                      <a:pt x="640" y="552"/>
                    </a:cubicBezTo>
                    <a:cubicBezTo>
                      <a:pt x="641" y="552"/>
                      <a:pt x="641" y="552"/>
                      <a:pt x="641" y="552"/>
                    </a:cubicBezTo>
                    <a:cubicBezTo>
                      <a:pt x="642" y="553"/>
                      <a:pt x="642" y="553"/>
                      <a:pt x="642" y="553"/>
                    </a:cubicBezTo>
                    <a:cubicBezTo>
                      <a:pt x="642" y="551"/>
                      <a:pt x="642" y="551"/>
                      <a:pt x="642" y="551"/>
                    </a:cubicBezTo>
                    <a:cubicBezTo>
                      <a:pt x="643" y="550"/>
                      <a:pt x="643" y="550"/>
                      <a:pt x="643" y="550"/>
                    </a:cubicBezTo>
                    <a:cubicBezTo>
                      <a:pt x="644" y="549"/>
                      <a:pt x="644" y="549"/>
                      <a:pt x="644" y="549"/>
                    </a:cubicBezTo>
                    <a:cubicBezTo>
                      <a:pt x="646" y="547"/>
                      <a:pt x="646" y="547"/>
                      <a:pt x="646" y="547"/>
                    </a:cubicBezTo>
                    <a:cubicBezTo>
                      <a:pt x="647" y="545"/>
                      <a:pt x="647" y="545"/>
                      <a:pt x="647" y="545"/>
                    </a:cubicBezTo>
                    <a:cubicBezTo>
                      <a:pt x="646" y="544"/>
                      <a:pt x="646" y="544"/>
                      <a:pt x="646" y="544"/>
                    </a:cubicBezTo>
                    <a:cubicBezTo>
                      <a:pt x="648" y="541"/>
                      <a:pt x="648" y="541"/>
                      <a:pt x="648" y="541"/>
                    </a:cubicBezTo>
                    <a:cubicBezTo>
                      <a:pt x="650" y="541"/>
                      <a:pt x="650" y="541"/>
                      <a:pt x="650" y="541"/>
                    </a:cubicBezTo>
                    <a:cubicBezTo>
                      <a:pt x="651" y="541"/>
                      <a:pt x="651" y="541"/>
                      <a:pt x="651" y="541"/>
                    </a:cubicBezTo>
                    <a:cubicBezTo>
                      <a:pt x="649" y="543"/>
                      <a:pt x="649" y="543"/>
                      <a:pt x="649" y="543"/>
                    </a:cubicBezTo>
                    <a:cubicBezTo>
                      <a:pt x="651" y="542"/>
                      <a:pt x="651" y="542"/>
                      <a:pt x="651" y="542"/>
                    </a:cubicBezTo>
                    <a:cubicBezTo>
                      <a:pt x="651" y="543"/>
                      <a:pt x="651" y="543"/>
                      <a:pt x="651" y="543"/>
                    </a:cubicBezTo>
                    <a:cubicBezTo>
                      <a:pt x="650" y="544"/>
                      <a:pt x="650" y="544"/>
                      <a:pt x="650" y="544"/>
                    </a:cubicBezTo>
                    <a:cubicBezTo>
                      <a:pt x="650" y="545"/>
                      <a:pt x="650" y="545"/>
                      <a:pt x="650" y="545"/>
                    </a:cubicBezTo>
                    <a:cubicBezTo>
                      <a:pt x="651" y="546"/>
                      <a:pt x="651" y="546"/>
                      <a:pt x="651" y="546"/>
                    </a:cubicBezTo>
                    <a:cubicBezTo>
                      <a:pt x="650" y="548"/>
                      <a:pt x="650" y="548"/>
                      <a:pt x="650" y="548"/>
                    </a:cubicBezTo>
                    <a:cubicBezTo>
                      <a:pt x="649" y="548"/>
                      <a:pt x="649" y="548"/>
                      <a:pt x="649" y="548"/>
                    </a:cubicBezTo>
                    <a:cubicBezTo>
                      <a:pt x="649" y="548"/>
                      <a:pt x="649" y="548"/>
                      <a:pt x="649" y="548"/>
                    </a:cubicBezTo>
                    <a:cubicBezTo>
                      <a:pt x="650" y="548"/>
                      <a:pt x="650" y="548"/>
                      <a:pt x="650" y="548"/>
                    </a:cubicBezTo>
                    <a:cubicBezTo>
                      <a:pt x="651" y="549"/>
                      <a:pt x="651" y="549"/>
                      <a:pt x="651" y="549"/>
                    </a:cubicBezTo>
                    <a:cubicBezTo>
                      <a:pt x="651" y="550"/>
                      <a:pt x="651" y="550"/>
                      <a:pt x="651" y="550"/>
                    </a:cubicBezTo>
                    <a:cubicBezTo>
                      <a:pt x="650" y="551"/>
                      <a:pt x="650" y="551"/>
                      <a:pt x="650" y="551"/>
                    </a:cubicBezTo>
                    <a:cubicBezTo>
                      <a:pt x="652" y="551"/>
                      <a:pt x="652" y="551"/>
                      <a:pt x="652" y="551"/>
                    </a:cubicBezTo>
                    <a:cubicBezTo>
                      <a:pt x="652" y="553"/>
                      <a:pt x="652" y="553"/>
                      <a:pt x="652" y="553"/>
                    </a:cubicBezTo>
                    <a:cubicBezTo>
                      <a:pt x="651" y="554"/>
                      <a:pt x="651" y="554"/>
                      <a:pt x="651" y="554"/>
                    </a:cubicBezTo>
                    <a:cubicBezTo>
                      <a:pt x="651" y="556"/>
                      <a:pt x="651" y="556"/>
                      <a:pt x="651" y="556"/>
                    </a:cubicBezTo>
                    <a:cubicBezTo>
                      <a:pt x="653" y="557"/>
                      <a:pt x="653" y="557"/>
                      <a:pt x="653" y="557"/>
                    </a:cubicBezTo>
                    <a:cubicBezTo>
                      <a:pt x="653" y="560"/>
                      <a:pt x="653" y="560"/>
                      <a:pt x="653" y="560"/>
                    </a:cubicBezTo>
                    <a:cubicBezTo>
                      <a:pt x="652" y="560"/>
                      <a:pt x="652" y="560"/>
                      <a:pt x="652" y="560"/>
                    </a:cubicBezTo>
                    <a:cubicBezTo>
                      <a:pt x="651" y="560"/>
                      <a:pt x="651" y="560"/>
                      <a:pt x="651" y="560"/>
                    </a:cubicBezTo>
                    <a:cubicBezTo>
                      <a:pt x="650" y="560"/>
                      <a:pt x="650" y="560"/>
                      <a:pt x="650" y="560"/>
                    </a:cubicBezTo>
                    <a:cubicBezTo>
                      <a:pt x="651" y="561"/>
                      <a:pt x="651" y="561"/>
                      <a:pt x="651" y="561"/>
                    </a:cubicBezTo>
                    <a:cubicBezTo>
                      <a:pt x="652" y="563"/>
                      <a:pt x="652" y="563"/>
                      <a:pt x="652" y="563"/>
                    </a:cubicBezTo>
                    <a:cubicBezTo>
                      <a:pt x="652" y="563"/>
                      <a:pt x="652" y="563"/>
                      <a:pt x="652" y="563"/>
                    </a:cubicBezTo>
                    <a:cubicBezTo>
                      <a:pt x="654" y="561"/>
                      <a:pt x="654" y="561"/>
                      <a:pt x="654" y="561"/>
                    </a:cubicBezTo>
                    <a:cubicBezTo>
                      <a:pt x="654" y="563"/>
                      <a:pt x="654" y="563"/>
                      <a:pt x="654" y="563"/>
                    </a:cubicBezTo>
                    <a:cubicBezTo>
                      <a:pt x="655" y="563"/>
                      <a:pt x="655" y="563"/>
                      <a:pt x="655" y="563"/>
                    </a:cubicBezTo>
                    <a:cubicBezTo>
                      <a:pt x="654" y="566"/>
                      <a:pt x="654" y="566"/>
                      <a:pt x="654" y="566"/>
                    </a:cubicBezTo>
                    <a:cubicBezTo>
                      <a:pt x="652" y="566"/>
                      <a:pt x="652" y="566"/>
                      <a:pt x="652" y="566"/>
                    </a:cubicBezTo>
                    <a:cubicBezTo>
                      <a:pt x="650" y="566"/>
                      <a:pt x="650" y="566"/>
                      <a:pt x="650" y="566"/>
                    </a:cubicBezTo>
                    <a:cubicBezTo>
                      <a:pt x="649" y="567"/>
                      <a:pt x="649" y="567"/>
                      <a:pt x="649" y="567"/>
                    </a:cubicBezTo>
                    <a:cubicBezTo>
                      <a:pt x="651" y="568"/>
                      <a:pt x="651" y="568"/>
                      <a:pt x="651" y="568"/>
                    </a:cubicBezTo>
                    <a:cubicBezTo>
                      <a:pt x="655" y="567"/>
                      <a:pt x="655" y="567"/>
                      <a:pt x="655" y="567"/>
                    </a:cubicBezTo>
                    <a:cubicBezTo>
                      <a:pt x="656" y="567"/>
                      <a:pt x="656" y="567"/>
                      <a:pt x="656" y="567"/>
                    </a:cubicBezTo>
                    <a:cubicBezTo>
                      <a:pt x="656" y="569"/>
                      <a:pt x="656" y="569"/>
                      <a:pt x="656" y="569"/>
                    </a:cubicBezTo>
                    <a:cubicBezTo>
                      <a:pt x="654" y="571"/>
                      <a:pt x="654" y="571"/>
                      <a:pt x="654" y="571"/>
                    </a:cubicBezTo>
                    <a:cubicBezTo>
                      <a:pt x="656" y="572"/>
                      <a:pt x="656" y="572"/>
                      <a:pt x="656" y="572"/>
                    </a:cubicBezTo>
                    <a:cubicBezTo>
                      <a:pt x="657" y="571"/>
                      <a:pt x="657" y="571"/>
                      <a:pt x="657" y="571"/>
                    </a:cubicBezTo>
                    <a:cubicBezTo>
                      <a:pt x="657" y="573"/>
                      <a:pt x="657" y="573"/>
                      <a:pt x="657" y="573"/>
                    </a:cubicBezTo>
                    <a:cubicBezTo>
                      <a:pt x="656" y="575"/>
                      <a:pt x="656" y="575"/>
                      <a:pt x="656" y="575"/>
                    </a:cubicBezTo>
                    <a:cubicBezTo>
                      <a:pt x="653" y="575"/>
                      <a:pt x="653" y="575"/>
                      <a:pt x="653" y="575"/>
                    </a:cubicBezTo>
                    <a:cubicBezTo>
                      <a:pt x="651" y="574"/>
                      <a:pt x="651" y="574"/>
                      <a:pt x="651" y="574"/>
                    </a:cubicBezTo>
                    <a:cubicBezTo>
                      <a:pt x="650" y="575"/>
                      <a:pt x="650" y="575"/>
                      <a:pt x="650" y="575"/>
                    </a:cubicBezTo>
                    <a:cubicBezTo>
                      <a:pt x="651" y="577"/>
                      <a:pt x="651" y="577"/>
                      <a:pt x="651" y="577"/>
                    </a:cubicBezTo>
                    <a:cubicBezTo>
                      <a:pt x="650" y="578"/>
                      <a:pt x="650" y="578"/>
                      <a:pt x="650" y="578"/>
                    </a:cubicBezTo>
                    <a:cubicBezTo>
                      <a:pt x="653" y="577"/>
                      <a:pt x="653" y="577"/>
                      <a:pt x="653" y="577"/>
                    </a:cubicBezTo>
                    <a:cubicBezTo>
                      <a:pt x="656" y="577"/>
                      <a:pt x="656" y="577"/>
                      <a:pt x="656" y="577"/>
                    </a:cubicBezTo>
                    <a:cubicBezTo>
                      <a:pt x="658" y="576"/>
                      <a:pt x="658" y="576"/>
                      <a:pt x="658" y="576"/>
                    </a:cubicBezTo>
                    <a:cubicBezTo>
                      <a:pt x="658" y="577"/>
                      <a:pt x="658" y="577"/>
                      <a:pt x="658" y="577"/>
                    </a:cubicBezTo>
                    <a:cubicBezTo>
                      <a:pt x="657" y="578"/>
                      <a:pt x="657" y="578"/>
                      <a:pt x="657" y="578"/>
                    </a:cubicBezTo>
                    <a:cubicBezTo>
                      <a:pt x="657" y="579"/>
                      <a:pt x="657" y="579"/>
                      <a:pt x="657" y="579"/>
                    </a:cubicBezTo>
                    <a:cubicBezTo>
                      <a:pt x="656" y="580"/>
                      <a:pt x="656" y="580"/>
                      <a:pt x="656" y="580"/>
                    </a:cubicBezTo>
                    <a:cubicBezTo>
                      <a:pt x="654" y="580"/>
                      <a:pt x="654" y="580"/>
                      <a:pt x="654" y="580"/>
                    </a:cubicBezTo>
                    <a:cubicBezTo>
                      <a:pt x="651" y="584"/>
                      <a:pt x="651" y="584"/>
                      <a:pt x="651" y="584"/>
                    </a:cubicBezTo>
                    <a:cubicBezTo>
                      <a:pt x="654" y="582"/>
                      <a:pt x="654" y="582"/>
                      <a:pt x="654" y="582"/>
                    </a:cubicBezTo>
                    <a:cubicBezTo>
                      <a:pt x="656" y="582"/>
                      <a:pt x="656" y="582"/>
                      <a:pt x="656" y="582"/>
                    </a:cubicBezTo>
                    <a:cubicBezTo>
                      <a:pt x="658" y="582"/>
                      <a:pt x="658" y="582"/>
                      <a:pt x="658" y="582"/>
                    </a:cubicBezTo>
                    <a:cubicBezTo>
                      <a:pt x="659" y="582"/>
                      <a:pt x="659" y="582"/>
                      <a:pt x="659" y="582"/>
                    </a:cubicBezTo>
                    <a:cubicBezTo>
                      <a:pt x="659" y="584"/>
                      <a:pt x="659" y="584"/>
                      <a:pt x="659" y="584"/>
                    </a:cubicBezTo>
                    <a:cubicBezTo>
                      <a:pt x="658" y="584"/>
                      <a:pt x="658" y="584"/>
                      <a:pt x="658" y="584"/>
                    </a:cubicBezTo>
                    <a:cubicBezTo>
                      <a:pt x="656" y="585"/>
                      <a:pt x="656" y="585"/>
                      <a:pt x="656" y="585"/>
                    </a:cubicBezTo>
                    <a:cubicBezTo>
                      <a:pt x="655" y="587"/>
                      <a:pt x="655" y="587"/>
                      <a:pt x="655" y="587"/>
                    </a:cubicBezTo>
                    <a:cubicBezTo>
                      <a:pt x="656" y="586"/>
                      <a:pt x="656" y="586"/>
                      <a:pt x="656" y="586"/>
                    </a:cubicBezTo>
                    <a:cubicBezTo>
                      <a:pt x="658" y="587"/>
                      <a:pt x="658" y="587"/>
                      <a:pt x="658" y="587"/>
                    </a:cubicBezTo>
                    <a:cubicBezTo>
                      <a:pt x="659" y="585"/>
                      <a:pt x="659" y="585"/>
                      <a:pt x="659" y="585"/>
                    </a:cubicBezTo>
                    <a:cubicBezTo>
                      <a:pt x="661" y="587"/>
                      <a:pt x="661" y="587"/>
                      <a:pt x="661" y="587"/>
                    </a:cubicBezTo>
                    <a:cubicBezTo>
                      <a:pt x="662" y="590"/>
                      <a:pt x="662" y="590"/>
                      <a:pt x="662" y="590"/>
                    </a:cubicBezTo>
                    <a:cubicBezTo>
                      <a:pt x="660" y="592"/>
                      <a:pt x="660" y="592"/>
                      <a:pt x="660" y="592"/>
                    </a:cubicBezTo>
                    <a:cubicBezTo>
                      <a:pt x="659" y="592"/>
                      <a:pt x="659" y="592"/>
                      <a:pt x="659" y="592"/>
                    </a:cubicBezTo>
                    <a:cubicBezTo>
                      <a:pt x="658" y="592"/>
                      <a:pt x="658" y="592"/>
                      <a:pt x="658" y="592"/>
                    </a:cubicBezTo>
                    <a:cubicBezTo>
                      <a:pt x="656" y="592"/>
                      <a:pt x="656" y="592"/>
                      <a:pt x="656" y="592"/>
                    </a:cubicBezTo>
                    <a:cubicBezTo>
                      <a:pt x="657" y="594"/>
                      <a:pt x="657" y="594"/>
                      <a:pt x="657" y="594"/>
                    </a:cubicBezTo>
                    <a:cubicBezTo>
                      <a:pt x="659" y="593"/>
                      <a:pt x="659" y="593"/>
                      <a:pt x="659" y="593"/>
                    </a:cubicBezTo>
                    <a:cubicBezTo>
                      <a:pt x="659" y="594"/>
                      <a:pt x="659" y="594"/>
                      <a:pt x="659" y="594"/>
                    </a:cubicBezTo>
                    <a:cubicBezTo>
                      <a:pt x="662" y="594"/>
                      <a:pt x="662" y="594"/>
                      <a:pt x="662" y="594"/>
                    </a:cubicBezTo>
                    <a:cubicBezTo>
                      <a:pt x="662" y="595"/>
                      <a:pt x="662" y="595"/>
                      <a:pt x="662" y="595"/>
                    </a:cubicBezTo>
                    <a:cubicBezTo>
                      <a:pt x="662" y="597"/>
                      <a:pt x="662" y="597"/>
                      <a:pt x="662" y="597"/>
                    </a:cubicBezTo>
                    <a:cubicBezTo>
                      <a:pt x="660" y="597"/>
                      <a:pt x="660" y="597"/>
                      <a:pt x="660" y="597"/>
                    </a:cubicBezTo>
                    <a:cubicBezTo>
                      <a:pt x="662" y="598"/>
                      <a:pt x="662" y="598"/>
                      <a:pt x="662" y="598"/>
                    </a:cubicBezTo>
                    <a:cubicBezTo>
                      <a:pt x="664" y="598"/>
                      <a:pt x="664" y="598"/>
                      <a:pt x="664" y="598"/>
                    </a:cubicBezTo>
                    <a:cubicBezTo>
                      <a:pt x="665" y="599"/>
                      <a:pt x="665" y="599"/>
                      <a:pt x="665" y="599"/>
                    </a:cubicBezTo>
                    <a:cubicBezTo>
                      <a:pt x="665" y="601"/>
                      <a:pt x="665" y="601"/>
                      <a:pt x="665" y="601"/>
                    </a:cubicBezTo>
                    <a:cubicBezTo>
                      <a:pt x="664" y="602"/>
                      <a:pt x="664" y="602"/>
                      <a:pt x="664" y="602"/>
                    </a:cubicBezTo>
                    <a:cubicBezTo>
                      <a:pt x="661" y="604"/>
                      <a:pt x="661" y="604"/>
                      <a:pt x="661" y="604"/>
                    </a:cubicBezTo>
                    <a:cubicBezTo>
                      <a:pt x="660" y="603"/>
                      <a:pt x="660" y="603"/>
                      <a:pt x="660" y="603"/>
                    </a:cubicBezTo>
                    <a:cubicBezTo>
                      <a:pt x="659" y="604"/>
                      <a:pt x="659" y="604"/>
                      <a:pt x="659" y="604"/>
                    </a:cubicBezTo>
                    <a:cubicBezTo>
                      <a:pt x="661" y="605"/>
                      <a:pt x="661" y="605"/>
                      <a:pt x="661" y="605"/>
                    </a:cubicBezTo>
                    <a:cubicBezTo>
                      <a:pt x="661" y="606"/>
                      <a:pt x="661" y="606"/>
                      <a:pt x="661" y="606"/>
                    </a:cubicBezTo>
                    <a:cubicBezTo>
                      <a:pt x="659" y="606"/>
                      <a:pt x="659" y="606"/>
                      <a:pt x="659" y="606"/>
                    </a:cubicBezTo>
                    <a:cubicBezTo>
                      <a:pt x="656" y="605"/>
                      <a:pt x="656" y="605"/>
                      <a:pt x="656" y="605"/>
                    </a:cubicBezTo>
                    <a:cubicBezTo>
                      <a:pt x="654" y="605"/>
                      <a:pt x="654" y="605"/>
                      <a:pt x="654" y="605"/>
                    </a:cubicBezTo>
                    <a:cubicBezTo>
                      <a:pt x="656" y="606"/>
                      <a:pt x="656" y="606"/>
                      <a:pt x="656" y="606"/>
                    </a:cubicBezTo>
                    <a:cubicBezTo>
                      <a:pt x="656" y="608"/>
                      <a:pt x="656" y="608"/>
                      <a:pt x="656" y="608"/>
                    </a:cubicBezTo>
                    <a:cubicBezTo>
                      <a:pt x="658" y="610"/>
                      <a:pt x="658" y="610"/>
                      <a:pt x="658" y="610"/>
                    </a:cubicBezTo>
                    <a:cubicBezTo>
                      <a:pt x="659" y="611"/>
                      <a:pt x="659" y="611"/>
                      <a:pt x="659" y="611"/>
                    </a:cubicBezTo>
                    <a:cubicBezTo>
                      <a:pt x="659" y="612"/>
                      <a:pt x="659" y="612"/>
                      <a:pt x="659" y="612"/>
                    </a:cubicBezTo>
                    <a:cubicBezTo>
                      <a:pt x="657" y="613"/>
                      <a:pt x="657" y="613"/>
                      <a:pt x="657" y="613"/>
                    </a:cubicBezTo>
                    <a:cubicBezTo>
                      <a:pt x="656" y="614"/>
                      <a:pt x="656" y="614"/>
                      <a:pt x="656" y="614"/>
                    </a:cubicBezTo>
                    <a:cubicBezTo>
                      <a:pt x="653" y="613"/>
                      <a:pt x="653" y="613"/>
                      <a:pt x="653" y="613"/>
                    </a:cubicBezTo>
                    <a:cubicBezTo>
                      <a:pt x="657" y="614"/>
                      <a:pt x="657" y="614"/>
                      <a:pt x="657" y="614"/>
                    </a:cubicBezTo>
                    <a:cubicBezTo>
                      <a:pt x="658" y="614"/>
                      <a:pt x="658" y="614"/>
                      <a:pt x="658" y="614"/>
                    </a:cubicBezTo>
                    <a:cubicBezTo>
                      <a:pt x="658" y="613"/>
                      <a:pt x="658" y="613"/>
                      <a:pt x="658" y="613"/>
                    </a:cubicBezTo>
                    <a:cubicBezTo>
                      <a:pt x="661" y="613"/>
                      <a:pt x="661" y="613"/>
                      <a:pt x="661" y="613"/>
                    </a:cubicBezTo>
                    <a:cubicBezTo>
                      <a:pt x="662" y="613"/>
                      <a:pt x="662" y="613"/>
                      <a:pt x="662" y="613"/>
                    </a:cubicBezTo>
                    <a:cubicBezTo>
                      <a:pt x="662" y="614"/>
                      <a:pt x="662" y="614"/>
                      <a:pt x="662" y="614"/>
                    </a:cubicBezTo>
                    <a:cubicBezTo>
                      <a:pt x="663" y="615"/>
                      <a:pt x="663" y="615"/>
                      <a:pt x="663" y="615"/>
                    </a:cubicBezTo>
                    <a:cubicBezTo>
                      <a:pt x="662" y="616"/>
                      <a:pt x="662" y="616"/>
                      <a:pt x="662" y="616"/>
                    </a:cubicBezTo>
                    <a:cubicBezTo>
                      <a:pt x="663" y="616"/>
                      <a:pt x="663" y="616"/>
                      <a:pt x="663" y="616"/>
                    </a:cubicBezTo>
                    <a:cubicBezTo>
                      <a:pt x="663" y="617"/>
                      <a:pt x="663" y="617"/>
                      <a:pt x="663" y="617"/>
                    </a:cubicBezTo>
                    <a:cubicBezTo>
                      <a:pt x="663" y="618"/>
                      <a:pt x="663" y="618"/>
                      <a:pt x="663" y="618"/>
                    </a:cubicBezTo>
                    <a:cubicBezTo>
                      <a:pt x="663" y="619"/>
                      <a:pt x="663" y="619"/>
                      <a:pt x="663" y="619"/>
                    </a:cubicBezTo>
                    <a:cubicBezTo>
                      <a:pt x="665" y="618"/>
                      <a:pt x="665" y="618"/>
                      <a:pt x="665" y="618"/>
                    </a:cubicBezTo>
                    <a:cubicBezTo>
                      <a:pt x="666" y="618"/>
                      <a:pt x="666" y="618"/>
                      <a:pt x="666" y="618"/>
                    </a:cubicBezTo>
                    <a:cubicBezTo>
                      <a:pt x="667" y="619"/>
                      <a:pt x="667" y="619"/>
                      <a:pt x="667" y="619"/>
                    </a:cubicBezTo>
                    <a:cubicBezTo>
                      <a:pt x="667" y="621"/>
                      <a:pt x="667" y="621"/>
                      <a:pt x="667" y="621"/>
                    </a:cubicBezTo>
                    <a:cubicBezTo>
                      <a:pt x="666" y="622"/>
                      <a:pt x="666" y="622"/>
                      <a:pt x="666" y="622"/>
                    </a:cubicBezTo>
                    <a:cubicBezTo>
                      <a:pt x="666" y="623"/>
                      <a:pt x="666" y="623"/>
                      <a:pt x="666" y="623"/>
                    </a:cubicBezTo>
                    <a:cubicBezTo>
                      <a:pt x="667" y="623"/>
                      <a:pt x="667" y="623"/>
                      <a:pt x="667" y="623"/>
                    </a:cubicBezTo>
                    <a:cubicBezTo>
                      <a:pt x="669" y="620"/>
                      <a:pt x="669" y="620"/>
                      <a:pt x="669" y="620"/>
                    </a:cubicBezTo>
                    <a:cubicBezTo>
                      <a:pt x="670" y="621"/>
                      <a:pt x="670" y="621"/>
                      <a:pt x="670" y="621"/>
                    </a:cubicBezTo>
                    <a:cubicBezTo>
                      <a:pt x="669" y="622"/>
                      <a:pt x="669" y="622"/>
                      <a:pt x="669" y="622"/>
                    </a:cubicBezTo>
                    <a:cubicBezTo>
                      <a:pt x="670" y="624"/>
                      <a:pt x="670" y="624"/>
                      <a:pt x="670" y="624"/>
                    </a:cubicBezTo>
                    <a:cubicBezTo>
                      <a:pt x="668" y="625"/>
                      <a:pt x="668" y="625"/>
                      <a:pt x="668" y="625"/>
                    </a:cubicBezTo>
                    <a:cubicBezTo>
                      <a:pt x="665" y="629"/>
                      <a:pt x="665" y="629"/>
                      <a:pt x="665" y="629"/>
                    </a:cubicBezTo>
                    <a:cubicBezTo>
                      <a:pt x="663" y="630"/>
                      <a:pt x="663" y="630"/>
                      <a:pt x="663" y="630"/>
                    </a:cubicBezTo>
                    <a:cubicBezTo>
                      <a:pt x="661" y="630"/>
                      <a:pt x="661" y="630"/>
                      <a:pt x="661" y="630"/>
                    </a:cubicBezTo>
                    <a:cubicBezTo>
                      <a:pt x="663" y="631"/>
                      <a:pt x="663" y="631"/>
                      <a:pt x="663" y="631"/>
                    </a:cubicBezTo>
                    <a:cubicBezTo>
                      <a:pt x="665" y="631"/>
                      <a:pt x="665" y="631"/>
                      <a:pt x="665" y="631"/>
                    </a:cubicBezTo>
                    <a:cubicBezTo>
                      <a:pt x="669" y="627"/>
                      <a:pt x="669" y="627"/>
                      <a:pt x="669" y="627"/>
                    </a:cubicBezTo>
                    <a:cubicBezTo>
                      <a:pt x="670" y="627"/>
                      <a:pt x="670" y="627"/>
                      <a:pt x="670" y="627"/>
                    </a:cubicBezTo>
                    <a:cubicBezTo>
                      <a:pt x="670" y="628"/>
                      <a:pt x="670" y="628"/>
                      <a:pt x="670" y="628"/>
                    </a:cubicBezTo>
                    <a:cubicBezTo>
                      <a:pt x="668" y="629"/>
                      <a:pt x="668" y="629"/>
                      <a:pt x="668" y="629"/>
                    </a:cubicBezTo>
                    <a:cubicBezTo>
                      <a:pt x="668" y="631"/>
                      <a:pt x="668" y="631"/>
                      <a:pt x="668" y="631"/>
                    </a:cubicBezTo>
                    <a:cubicBezTo>
                      <a:pt x="668" y="631"/>
                      <a:pt x="668" y="631"/>
                      <a:pt x="668" y="631"/>
                    </a:cubicBezTo>
                    <a:cubicBezTo>
                      <a:pt x="670" y="629"/>
                      <a:pt x="670" y="629"/>
                      <a:pt x="670" y="629"/>
                    </a:cubicBezTo>
                    <a:cubicBezTo>
                      <a:pt x="672" y="627"/>
                      <a:pt x="672" y="627"/>
                      <a:pt x="672" y="627"/>
                    </a:cubicBezTo>
                    <a:cubicBezTo>
                      <a:pt x="674" y="627"/>
                      <a:pt x="674" y="627"/>
                      <a:pt x="674" y="627"/>
                    </a:cubicBezTo>
                    <a:cubicBezTo>
                      <a:pt x="674" y="628"/>
                      <a:pt x="674" y="628"/>
                      <a:pt x="674" y="628"/>
                    </a:cubicBezTo>
                    <a:cubicBezTo>
                      <a:pt x="673" y="629"/>
                      <a:pt x="673" y="629"/>
                      <a:pt x="673" y="629"/>
                    </a:cubicBezTo>
                    <a:cubicBezTo>
                      <a:pt x="672" y="629"/>
                      <a:pt x="672" y="629"/>
                      <a:pt x="672" y="629"/>
                    </a:cubicBezTo>
                    <a:cubicBezTo>
                      <a:pt x="673" y="630"/>
                      <a:pt x="673" y="630"/>
                      <a:pt x="673" y="630"/>
                    </a:cubicBezTo>
                    <a:cubicBezTo>
                      <a:pt x="675" y="629"/>
                      <a:pt x="675" y="629"/>
                      <a:pt x="675" y="629"/>
                    </a:cubicBezTo>
                    <a:cubicBezTo>
                      <a:pt x="676" y="629"/>
                      <a:pt x="676" y="629"/>
                      <a:pt x="676" y="629"/>
                    </a:cubicBezTo>
                    <a:cubicBezTo>
                      <a:pt x="673" y="632"/>
                      <a:pt x="673" y="632"/>
                      <a:pt x="673" y="632"/>
                    </a:cubicBezTo>
                    <a:cubicBezTo>
                      <a:pt x="672" y="633"/>
                      <a:pt x="672" y="633"/>
                      <a:pt x="672" y="633"/>
                    </a:cubicBezTo>
                    <a:cubicBezTo>
                      <a:pt x="673" y="633"/>
                      <a:pt x="673" y="633"/>
                      <a:pt x="673" y="633"/>
                    </a:cubicBezTo>
                    <a:cubicBezTo>
                      <a:pt x="674" y="632"/>
                      <a:pt x="674" y="632"/>
                      <a:pt x="674" y="632"/>
                    </a:cubicBezTo>
                    <a:cubicBezTo>
                      <a:pt x="678" y="629"/>
                      <a:pt x="678" y="629"/>
                      <a:pt x="678" y="629"/>
                    </a:cubicBezTo>
                    <a:cubicBezTo>
                      <a:pt x="679" y="629"/>
                      <a:pt x="679" y="629"/>
                      <a:pt x="679" y="629"/>
                    </a:cubicBezTo>
                    <a:cubicBezTo>
                      <a:pt x="678" y="630"/>
                      <a:pt x="678" y="630"/>
                      <a:pt x="678" y="630"/>
                    </a:cubicBezTo>
                    <a:cubicBezTo>
                      <a:pt x="678" y="631"/>
                      <a:pt x="678" y="631"/>
                      <a:pt x="678" y="631"/>
                    </a:cubicBezTo>
                    <a:cubicBezTo>
                      <a:pt x="680" y="629"/>
                      <a:pt x="680" y="629"/>
                      <a:pt x="680" y="629"/>
                    </a:cubicBezTo>
                    <a:cubicBezTo>
                      <a:pt x="680" y="630"/>
                      <a:pt x="680" y="630"/>
                      <a:pt x="680" y="630"/>
                    </a:cubicBezTo>
                    <a:cubicBezTo>
                      <a:pt x="680" y="633"/>
                      <a:pt x="680" y="633"/>
                      <a:pt x="680" y="633"/>
                    </a:cubicBezTo>
                    <a:cubicBezTo>
                      <a:pt x="679" y="634"/>
                      <a:pt x="679" y="634"/>
                      <a:pt x="679" y="634"/>
                    </a:cubicBezTo>
                    <a:cubicBezTo>
                      <a:pt x="679" y="635"/>
                      <a:pt x="679" y="635"/>
                      <a:pt x="679" y="635"/>
                    </a:cubicBezTo>
                    <a:cubicBezTo>
                      <a:pt x="681" y="635"/>
                      <a:pt x="681" y="635"/>
                      <a:pt x="681" y="635"/>
                    </a:cubicBezTo>
                    <a:cubicBezTo>
                      <a:pt x="683" y="636"/>
                      <a:pt x="683" y="636"/>
                      <a:pt x="683" y="636"/>
                    </a:cubicBezTo>
                    <a:cubicBezTo>
                      <a:pt x="685" y="634"/>
                      <a:pt x="685" y="634"/>
                      <a:pt x="685" y="634"/>
                    </a:cubicBezTo>
                    <a:cubicBezTo>
                      <a:pt x="688" y="633"/>
                      <a:pt x="688" y="633"/>
                      <a:pt x="688" y="633"/>
                    </a:cubicBezTo>
                    <a:cubicBezTo>
                      <a:pt x="689" y="634"/>
                      <a:pt x="689" y="634"/>
                      <a:pt x="689" y="634"/>
                    </a:cubicBezTo>
                    <a:cubicBezTo>
                      <a:pt x="688" y="636"/>
                      <a:pt x="688" y="636"/>
                      <a:pt x="688" y="636"/>
                    </a:cubicBezTo>
                    <a:cubicBezTo>
                      <a:pt x="687" y="636"/>
                      <a:pt x="687" y="636"/>
                      <a:pt x="687" y="636"/>
                    </a:cubicBezTo>
                    <a:cubicBezTo>
                      <a:pt x="686" y="637"/>
                      <a:pt x="686" y="637"/>
                      <a:pt x="686" y="637"/>
                    </a:cubicBezTo>
                    <a:cubicBezTo>
                      <a:pt x="691" y="638"/>
                      <a:pt x="691" y="638"/>
                      <a:pt x="691" y="638"/>
                    </a:cubicBezTo>
                    <a:cubicBezTo>
                      <a:pt x="692" y="639"/>
                      <a:pt x="692" y="639"/>
                      <a:pt x="692" y="639"/>
                    </a:cubicBezTo>
                    <a:cubicBezTo>
                      <a:pt x="689" y="640"/>
                      <a:pt x="689" y="640"/>
                      <a:pt x="689" y="640"/>
                    </a:cubicBezTo>
                    <a:cubicBezTo>
                      <a:pt x="689" y="641"/>
                      <a:pt x="689" y="641"/>
                      <a:pt x="689" y="641"/>
                    </a:cubicBezTo>
                    <a:cubicBezTo>
                      <a:pt x="686" y="641"/>
                      <a:pt x="686" y="641"/>
                      <a:pt x="686" y="641"/>
                    </a:cubicBezTo>
                    <a:cubicBezTo>
                      <a:pt x="685" y="641"/>
                      <a:pt x="685" y="641"/>
                      <a:pt x="685" y="641"/>
                    </a:cubicBezTo>
                    <a:cubicBezTo>
                      <a:pt x="682" y="642"/>
                      <a:pt x="682" y="642"/>
                      <a:pt x="682" y="642"/>
                    </a:cubicBezTo>
                    <a:cubicBezTo>
                      <a:pt x="680" y="644"/>
                      <a:pt x="680" y="644"/>
                      <a:pt x="680" y="644"/>
                    </a:cubicBezTo>
                    <a:cubicBezTo>
                      <a:pt x="677" y="644"/>
                      <a:pt x="677" y="644"/>
                      <a:pt x="677" y="644"/>
                    </a:cubicBezTo>
                    <a:cubicBezTo>
                      <a:pt x="671" y="645"/>
                      <a:pt x="671" y="645"/>
                      <a:pt x="671" y="645"/>
                    </a:cubicBezTo>
                    <a:cubicBezTo>
                      <a:pt x="671" y="646"/>
                      <a:pt x="671" y="646"/>
                      <a:pt x="671" y="646"/>
                    </a:cubicBezTo>
                    <a:cubicBezTo>
                      <a:pt x="675" y="645"/>
                      <a:pt x="675" y="645"/>
                      <a:pt x="675" y="645"/>
                    </a:cubicBezTo>
                    <a:cubicBezTo>
                      <a:pt x="679" y="644"/>
                      <a:pt x="679" y="644"/>
                      <a:pt x="679" y="644"/>
                    </a:cubicBezTo>
                    <a:cubicBezTo>
                      <a:pt x="680" y="644"/>
                      <a:pt x="680" y="644"/>
                      <a:pt x="680" y="644"/>
                    </a:cubicBezTo>
                    <a:cubicBezTo>
                      <a:pt x="680" y="645"/>
                      <a:pt x="680" y="645"/>
                      <a:pt x="680" y="645"/>
                    </a:cubicBezTo>
                    <a:cubicBezTo>
                      <a:pt x="676" y="646"/>
                      <a:pt x="676" y="646"/>
                      <a:pt x="676" y="646"/>
                    </a:cubicBezTo>
                    <a:cubicBezTo>
                      <a:pt x="673" y="647"/>
                      <a:pt x="673" y="647"/>
                      <a:pt x="673" y="647"/>
                    </a:cubicBezTo>
                    <a:cubicBezTo>
                      <a:pt x="670" y="648"/>
                      <a:pt x="670" y="648"/>
                      <a:pt x="670" y="648"/>
                    </a:cubicBezTo>
                    <a:cubicBezTo>
                      <a:pt x="668" y="649"/>
                      <a:pt x="668" y="649"/>
                      <a:pt x="668" y="649"/>
                    </a:cubicBezTo>
                    <a:cubicBezTo>
                      <a:pt x="666" y="650"/>
                      <a:pt x="666" y="650"/>
                      <a:pt x="666" y="650"/>
                    </a:cubicBezTo>
                    <a:cubicBezTo>
                      <a:pt x="666" y="651"/>
                      <a:pt x="666" y="651"/>
                      <a:pt x="666" y="651"/>
                    </a:cubicBezTo>
                    <a:cubicBezTo>
                      <a:pt x="665" y="652"/>
                      <a:pt x="665" y="652"/>
                      <a:pt x="665" y="652"/>
                    </a:cubicBezTo>
                    <a:cubicBezTo>
                      <a:pt x="662" y="650"/>
                      <a:pt x="662" y="650"/>
                      <a:pt x="662" y="650"/>
                    </a:cubicBezTo>
                    <a:cubicBezTo>
                      <a:pt x="660" y="646"/>
                      <a:pt x="660" y="646"/>
                      <a:pt x="660" y="646"/>
                    </a:cubicBezTo>
                    <a:cubicBezTo>
                      <a:pt x="660" y="648"/>
                      <a:pt x="660" y="648"/>
                      <a:pt x="660" y="648"/>
                    </a:cubicBezTo>
                    <a:cubicBezTo>
                      <a:pt x="659" y="649"/>
                      <a:pt x="659" y="649"/>
                      <a:pt x="659" y="649"/>
                    </a:cubicBezTo>
                    <a:cubicBezTo>
                      <a:pt x="661" y="650"/>
                      <a:pt x="661" y="650"/>
                      <a:pt x="661" y="650"/>
                    </a:cubicBezTo>
                    <a:cubicBezTo>
                      <a:pt x="661" y="651"/>
                      <a:pt x="661" y="651"/>
                      <a:pt x="661" y="651"/>
                    </a:cubicBezTo>
                    <a:cubicBezTo>
                      <a:pt x="665" y="654"/>
                      <a:pt x="665" y="654"/>
                      <a:pt x="665" y="654"/>
                    </a:cubicBezTo>
                    <a:cubicBezTo>
                      <a:pt x="664" y="655"/>
                      <a:pt x="664" y="655"/>
                      <a:pt x="664" y="655"/>
                    </a:cubicBezTo>
                    <a:cubicBezTo>
                      <a:pt x="663" y="655"/>
                      <a:pt x="663" y="655"/>
                      <a:pt x="663" y="655"/>
                    </a:cubicBezTo>
                    <a:cubicBezTo>
                      <a:pt x="662" y="656"/>
                      <a:pt x="662" y="656"/>
                      <a:pt x="662" y="656"/>
                    </a:cubicBezTo>
                    <a:cubicBezTo>
                      <a:pt x="663" y="657"/>
                      <a:pt x="663" y="657"/>
                      <a:pt x="663" y="657"/>
                    </a:cubicBezTo>
                    <a:cubicBezTo>
                      <a:pt x="664" y="658"/>
                      <a:pt x="664" y="658"/>
                      <a:pt x="664" y="658"/>
                    </a:cubicBezTo>
                    <a:cubicBezTo>
                      <a:pt x="664" y="657"/>
                      <a:pt x="664" y="657"/>
                      <a:pt x="664" y="657"/>
                    </a:cubicBezTo>
                    <a:cubicBezTo>
                      <a:pt x="666" y="657"/>
                      <a:pt x="666" y="657"/>
                      <a:pt x="666" y="657"/>
                    </a:cubicBezTo>
                    <a:cubicBezTo>
                      <a:pt x="667" y="653"/>
                      <a:pt x="667" y="653"/>
                      <a:pt x="667" y="653"/>
                    </a:cubicBezTo>
                    <a:cubicBezTo>
                      <a:pt x="670" y="653"/>
                      <a:pt x="670" y="653"/>
                      <a:pt x="670" y="653"/>
                    </a:cubicBezTo>
                    <a:cubicBezTo>
                      <a:pt x="672" y="652"/>
                      <a:pt x="672" y="652"/>
                      <a:pt x="672" y="652"/>
                    </a:cubicBezTo>
                    <a:cubicBezTo>
                      <a:pt x="674" y="652"/>
                      <a:pt x="674" y="652"/>
                      <a:pt x="674" y="652"/>
                    </a:cubicBezTo>
                    <a:cubicBezTo>
                      <a:pt x="674" y="650"/>
                      <a:pt x="674" y="650"/>
                      <a:pt x="674" y="650"/>
                    </a:cubicBezTo>
                    <a:cubicBezTo>
                      <a:pt x="676" y="648"/>
                      <a:pt x="676" y="648"/>
                      <a:pt x="676" y="648"/>
                    </a:cubicBezTo>
                    <a:cubicBezTo>
                      <a:pt x="679" y="647"/>
                      <a:pt x="679" y="647"/>
                      <a:pt x="679" y="647"/>
                    </a:cubicBezTo>
                    <a:cubicBezTo>
                      <a:pt x="682" y="646"/>
                      <a:pt x="682" y="646"/>
                      <a:pt x="682" y="646"/>
                    </a:cubicBezTo>
                    <a:cubicBezTo>
                      <a:pt x="684" y="646"/>
                      <a:pt x="684" y="646"/>
                      <a:pt x="684" y="646"/>
                    </a:cubicBezTo>
                    <a:cubicBezTo>
                      <a:pt x="686" y="646"/>
                      <a:pt x="686" y="646"/>
                      <a:pt x="686" y="646"/>
                    </a:cubicBezTo>
                    <a:cubicBezTo>
                      <a:pt x="685" y="645"/>
                      <a:pt x="685" y="645"/>
                      <a:pt x="685" y="645"/>
                    </a:cubicBezTo>
                    <a:cubicBezTo>
                      <a:pt x="683" y="645"/>
                      <a:pt x="683" y="645"/>
                      <a:pt x="683" y="645"/>
                    </a:cubicBezTo>
                    <a:cubicBezTo>
                      <a:pt x="682" y="645"/>
                      <a:pt x="682" y="645"/>
                      <a:pt x="682" y="645"/>
                    </a:cubicBezTo>
                    <a:cubicBezTo>
                      <a:pt x="684" y="644"/>
                      <a:pt x="684" y="644"/>
                      <a:pt x="684" y="644"/>
                    </a:cubicBezTo>
                    <a:cubicBezTo>
                      <a:pt x="688" y="644"/>
                      <a:pt x="688" y="644"/>
                      <a:pt x="688" y="644"/>
                    </a:cubicBezTo>
                    <a:cubicBezTo>
                      <a:pt x="691" y="645"/>
                      <a:pt x="691" y="645"/>
                      <a:pt x="691" y="645"/>
                    </a:cubicBezTo>
                    <a:cubicBezTo>
                      <a:pt x="693" y="648"/>
                      <a:pt x="693" y="648"/>
                      <a:pt x="693" y="648"/>
                    </a:cubicBezTo>
                    <a:cubicBezTo>
                      <a:pt x="692" y="650"/>
                      <a:pt x="692" y="650"/>
                      <a:pt x="692" y="650"/>
                    </a:cubicBezTo>
                    <a:cubicBezTo>
                      <a:pt x="690" y="652"/>
                      <a:pt x="690" y="652"/>
                      <a:pt x="690" y="652"/>
                    </a:cubicBezTo>
                    <a:cubicBezTo>
                      <a:pt x="689" y="652"/>
                      <a:pt x="689" y="652"/>
                      <a:pt x="689" y="652"/>
                    </a:cubicBezTo>
                    <a:cubicBezTo>
                      <a:pt x="688" y="653"/>
                      <a:pt x="688" y="653"/>
                      <a:pt x="688" y="653"/>
                    </a:cubicBezTo>
                    <a:cubicBezTo>
                      <a:pt x="690" y="653"/>
                      <a:pt x="690" y="653"/>
                      <a:pt x="690" y="653"/>
                    </a:cubicBezTo>
                    <a:cubicBezTo>
                      <a:pt x="691" y="655"/>
                      <a:pt x="691" y="655"/>
                      <a:pt x="691" y="655"/>
                    </a:cubicBezTo>
                    <a:cubicBezTo>
                      <a:pt x="692" y="654"/>
                      <a:pt x="692" y="654"/>
                      <a:pt x="692" y="654"/>
                    </a:cubicBezTo>
                    <a:cubicBezTo>
                      <a:pt x="692" y="652"/>
                      <a:pt x="692" y="652"/>
                      <a:pt x="692" y="652"/>
                    </a:cubicBezTo>
                    <a:cubicBezTo>
                      <a:pt x="695" y="651"/>
                      <a:pt x="695" y="651"/>
                      <a:pt x="695" y="651"/>
                    </a:cubicBezTo>
                    <a:cubicBezTo>
                      <a:pt x="697" y="651"/>
                      <a:pt x="697" y="651"/>
                      <a:pt x="697" y="651"/>
                    </a:cubicBezTo>
                    <a:cubicBezTo>
                      <a:pt x="698" y="652"/>
                      <a:pt x="698" y="652"/>
                      <a:pt x="698" y="652"/>
                    </a:cubicBezTo>
                    <a:cubicBezTo>
                      <a:pt x="697" y="652"/>
                      <a:pt x="697" y="652"/>
                      <a:pt x="697" y="652"/>
                    </a:cubicBezTo>
                    <a:cubicBezTo>
                      <a:pt x="697" y="653"/>
                      <a:pt x="697" y="653"/>
                      <a:pt x="697" y="653"/>
                    </a:cubicBezTo>
                    <a:cubicBezTo>
                      <a:pt x="699" y="653"/>
                      <a:pt x="699" y="653"/>
                      <a:pt x="699" y="653"/>
                    </a:cubicBezTo>
                    <a:cubicBezTo>
                      <a:pt x="702" y="654"/>
                      <a:pt x="702" y="654"/>
                      <a:pt x="702" y="654"/>
                    </a:cubicBezTo>
                    <a:cubicBezTo>
                      <a:pt x="702" y="656"/>
                      <a:pt x="702" y="656"/>
                      <a:pt x="702" y="656"/>
                    </a:cubicBezTo>
                    <a:cubicBezTo>
                      <a:pt x="700" y="655"/>
                      <a:pt x="700" y="655"/>
                      <a:pt x="700" y="655"/>
                    </a:cubicBezTo>
                    <a:cubicBezTo>
                      <a:pt x="700" y="655"/>
                      <a:pt x="700" y="655"/>
                      <a:pt x="700" y="655"/>
                    </a:cubicBezTo>
                    <a:cubicBezTo>
                      <a:pt x="700" y="657"/>
                      <a:pt x="700" y="657"/>
                      <a:pt x="700" y="657"/>
                    </a:cubicBezTo>
                    <a:cubicBezTo>
                      <a:pt x="703" y="658"/>
                      <a:pt x="703" y="658"/>
                      <a:pt x="703" y="658"/>
                    </a:cubicBezTo>
                    <a:cubicBezTo>
                      <a:pt x="703" y="659"/>
                      <a:pt x="703" y="659"/>
                      <a:pt x="703" y="659"/>
                    </a:cubicBezTo>
                    <a:cubicBezTo>
                      <a:pt x="702" y="661"/>
                      <a:pt x="702" y="661"/>
                      <a:pt x="702" y="661"/>
                    </a:cubicBezTo>
                    <a:cubicBezTo>
                      <a:pt x="700" y="660"/>
                      <a:pt x="700" y="660"/>
                      <a:pt x="700" y="660"/>
                    </a:cubicBezTo>
                    <a:cubicBezTo>
                      <a:pt x="699" y="662"/>
                      <a:pt x="699" y="662"/>
                      <a:pt x="699" y="662"/>
                    </a:cubicBezTo>
                    <a:cubicBezTo>
                      <a:pt x="701" y="662"/>
                      <a:pt x="701" y="662"/>
                      <a:pt x="701" y="662"/>
                    </a:cubicBezTo>
                    <a:cubicBezTo>
                      <a:pt x="701" y="664"/>
                      <a:pt x="701" y="664"/>
                      <a:pt x="701" y="664"/>
                    </a:cubicBezTo>
                    <a:cubicBezTo>
                      <a:pt x="699" y="665"/>
                      <a:pt x="699" y="665"/>
                      <a:pt x="699" y="665"/>
                    </a:cubicBezTo>
                    <a:cubicBezTo>
                      <a:pt x="699" y="666"/>
                      <a:pt x="699" y="666"/>
                      <a:pt x="699" y="666"/>
                    </a:cubicBezTo>
                    <a:cubicBezTo>
                      <a:pt x="697" y="667"/>
                      <a:pt x="697" y="667"/>
                      <a:pt x="697" y="667"/>
                    </a:cubicBezTo>
                    <a:cubicBezTo>
                      <a:pt x="695" y="666"/>
                      <a:pt x="695" y="666"/>
                      <a:pt x="695" y="666"/>
                    </a:cubicBezTo>
                    <a:cubicBezTo>
                      <a:pt x="696" y="667"/>
                      <a:pt x="696" y="667"/>
                      <a:pt x="696" y="667"/>
                    </a:cubicBezTo>
                    <a:cubicBezTo>
                      <a:pt x="699" y="669"/>
                      <a:pt x="699" y="669"/>
                      <a:pt x="699" y="669"/>
                    </a:cubicBezTo>
                    <a:cubicBezTo>
                      <a:pt x="700" y="668"/>
                      <a:pt x="700" y="668"/>
                      <a:pt x="700" y="668"/>
                    </a:cubicBezTo>
                    <a:cubicBezTo>
                      <a:pt x="702" y="670"/>
                      <a:pt x="702" y="670"/>
                      <a:pt x="702" y="670"/>
                    </a:cubicBezTo>
                    <a:cubicBezTo>
                      <a:pt x="700" y="670"/>
                      <a:pt x="700" y="670"/>
                      <a:pt x="700" y="670"/>
                    </a:cubicBezTo>
                    <a:cubicBezTo>
                      <a:pt x="698" y="670"/>
                      <a:pt x="698" y="670"/>
                      <a:pt x="698" y="670"/>
                    </a:cubicBezTo>
                    <a:cubicBezTo>
                      <a:pt x="697" y="670"/>
                      <a:pt x="697" y="670"/>
                      <a:pt x="697" y="670"/>
                    </a:cubicBezTo>
                    <a:cubicBezTo>
                      <a:pt x="699" y="671"/>
                      <a:pt x="699" y="671"/>
                      <a:pt x="699" y="671"/>
                    </a:cubicBezTo>
                    <a:cubicBezTo>
                      <a:pt x="700" y="671"/>
                      <a:pt x="700" y="671"/>
                      <a:pt x="700" y="671"/>
                    </a:cubicBezTo>
                    <a:cubicBezTo>
                      <a:pt x="702" y="672"/>
                      <a:pt x="702" y="672"/>
                      <a:pt x="702" y="672"/>
                    </a:cubicBezTo>
                    <a:cubicBezTo>
                      <a:pt x="701" y="673"/>
                      <a:pt x="701" y="673"/>
                      <a:pt x="701" y="673"/>
                    </a:cubicBezTo>
                    <a:cubicBezTo>
                      <a:pt x="700" y="675"/>
                      <a:pt x="700" y="675"/>
                      <a:pt x="700" y="675"/>
                    </a:cubicBezTo>
                    <a:cubicBezTo>
                      <a:pt x="699" y="675"/>
                      <a:pt x="699" y="675"/>
                      <a:pt x="699" y="675"/>
                    </a:cubicBezTo>
                    <a:cubicBezTo>
                      <a:pt x="698" y="677"/>
                      <a:pt x="698" y="677"/>
                      <a:pt x="698" y="677"/>
                    </a:cubicBezTo>
                    <a:cubicBezTo>
                      <a:pt x="696" y="679"/>
                      <a:pt x="696" y="679"/>
                      <a:pt x="696" y="679"/>
                    </a:cubicBezTo>
                    <a:cubicBezTo>
                      <a:pt x="693" y="679"/>
                      <a:pt x="693" y="679"/>
                      <a:pt x="693" y="679"/>
                    </a:cubicBezTo>
                    <a:cubicBezTo>
                      <a:pt x="692" y="681"/>
                      <a:pt x="692" y="681"/>
                      <a:pt x="692" y="681"/>
                    </a:cubicBezTo>
                    <a:cubicBezTo>
                      <a:pt x="691" y="681"/>
                      <a:pt x="691" y="681"/>
                      <a:pt x="691" y="681"/>
                    </a:cubicBezTo>
                    <a:cubicBezTo>
                      <a:pt x="689" y="682"/>
                      <a:pt x="689" y="682"/>
                      <a:pt x="689" y="682"/>
                    </a:cubicBezTo>
                    <a:cubicBezTo>
                      <a:pt x="688" y="682"/>
                      <a:pt x="688" y="682"/>
                      <a:pt x="688" y="682"/>
                    </a:cubicBezTo>
                    <a:cubicBezTo>
                      <a:pt x="688" y="683"/>
                      <a:pt x="688" y="683"/>
                      <a:pt x="688" y="683"/>
                    </a:cubicBezTo>
                    <a:cubicBezTo>
                      <a:pt x="686" y="684"/>
                      <a:pt x="686" y="684"/>
                      <a:pt x="686" y="684"/>
                    </a:cubicBezTo>
                    <a:cubicBezTo>
                      <a:pt x="685" y="683"/>
                      <a:pt x="685" y="683"/>
                      <a:pt x="685" y="683"/>
                    </a:cubicBezTo>
                    <a:cubicBezTo>
                      <a:pt x="684" y="683"/>
                      <a:pt x="684" y="683"/>
                      <a:pt x="684" y="683"/>
                    </a:cubicBezTo>
                    <a:cubicBezTo>
                      <a:pt x="682" y="683"/>
                      <a:pt x="682" y="683"/>
                      <a:pt x="682" y="683"/>
                    </a:cubicBezTo>
                    <a:cubicBezTo>
                      <a:pt x="682" y="682"/>
                      <a:pt x="682" y="682"/>
                      <a:pt x="682" y="682"/>
                    </a:cubicBezTo>
                    <a:cubicBezTo>
                      <a:pt x="680" y="684"/>
                      <a:pt x="680" y="684"/>
                      <a:pt x="680" y="684"/>
                    </a:cubicBezTo>
                    <a:cubicBezTo>
                      <a:pt x="677" y="684"/>
                      <a:pt x="677" y="684"/>
                      <a:pt x="677" y="684"/>
                    </a:cubicBezTo>
                    <a:cubicBezTo>
                      <a:pt x="677" y="682"/>
                      <a:pt x="677" y="682"/>
                      <a:pt x="677" y="682"/>
                    </a:cubicBezTo>
                    <a:cubicBezTo>
                      <a:pt x="676" y="683"/>
                      <a:pt x="676" y="683"/>
                      <a:pt x="676" y="683"/>
                    </a:cubicBezTo>
                    <a:cubicBezTo>
                      <a:pt x="676" y="684"/>
                      <a:pt x="676" y="684"/>
                      <a:pt x="676" y="684"/>
                    </a:cubicBezTo>
                    <a:cubicBezTo>
                      <a:pt x="674" y="684"/>
                      <a:pt x="674" y="684"/>
                      <a:pt x="674" y="684"/>
                    </a:cubicBezTo>
                    <a:cubicBezTo>
                      <a:pt x="672" y="684"/>
                      <a:pt x="672" y="684"/>
                      <a:pt x="672" y="684"/>
                    </a:cubicBezTo>
                    <a:cubicBezTo>
                      <a:pt x="672" y="685"/>
                      <a:pt x="672" y="685"/>
                      <a:pt x="672" y="685"/>
                    </a:cubicBezTo>
                    <a:cubicBezTo>
                      <a:pt x="672" y="685"/>
                      <a:pt x="672" y="685"/>
                      <a:pt x="672" y="685"/>
                    </a:cubicBezTo>
                    <a:cubicBezTo>
                      <a:pt x="672" y="686"/>
                      <a:pt x="672" y="686"/>
                      <a:pt x="672" y="686"/>
                    </a:cubicBezTo>
                    <a:cubicBezTo>
                      <a:pt x="671" y="688"/>
                      <a:pt x="671" y="688"/>
                      <a:pt x="671" y="688"/>
                    </a:cubicBezTo>
                    <a:cubicBezTo>
                      <a:pt x="670" y="688"/>
                      <a:pt x="670" y="688"/>
                      <a:pt x="670" y="688"/>
                    </a:cubicBezTo>
                    <a:cubicBezTo>
                      <a:pt x="670" y="689"/>
                      <a:pt x="670" y="689"/>
                      <a:pt x="670" y="689"/>
                    </a:cubicBezTo>
                    <a:cubicBezTo>
                      <a:pt x="668" y="692"/>
                      <a:pt x="668" y="692"/>
                      <a:pt x="668" y="692"/>
                    </a:cubicBezTo>
                    <a:cubicBezTo>
                      <a:pt x="667" y="692"/>
                      <a:pt x="667" y="692"/>
                      <a:pt x="667" y="692"/>
                    </a:cubicBezTo>
                    <a:cubicBezTo>
                      <a:pt x="666" y="693"/>
                      <a:pt x="666" y="693"/>
                      <a:pt x="666" y="693"/>
                    </a:cubicBezTo>
                    <a:cubicBezTo>
                      <a:pt x="664" y="694"/>
                      <a:pt x="664" y="694"/>
                      <a:pt x="664" y="694"/>
                    </a:cubicBezTo>
                    <a:cubicBezTo>
                      <a:pt x="663" y="696"/>
                      <a:pt x="663" y="696"/>
                      <a:pt x="663" y="696"/>
                    </a:cubicBezTo>
                    <a:cubicBezTo>
                      <a:pt x="662" y="695"/>
                      <a:pt x="662" y="695"/>
                      <a:pt x="662" y="695"/>
                    </a:cubicBezTo>
                    <a:cubicBezTo>
                      <a:pt x="661" y="696"/>
                      <a:pt x="661" y="696"/>
                      <a:pt x="661" y="696"/>
                    </a:cubicBezTo>
                    <a:cubicBezTo>
                      <a:pt x="659" y="696"/>
                      <a:pt x="659" y="696"/>
                      <a:pt x="659" y="696"/>
                    </a:cubicBezTo>
                    <a:cubicBezTo>
                      <a:pt x="659" y="697"/>
                      <a:pt x="659" y="697"/>
                      <a:pt x="659" y="697"/>
                    </a:cubicBezTo>
                    <a:cubicBezTo>
                      <a:pt x="657" y="698"/>
                      <a:pt x="657" y="698"/>
                      <a:pt x="657" y="698"/>
                    </a:cubicBezTo>
                    <a:cubicBezTo>
                      <a:pt x="656" y="697"/>
                      <a:pt x="656" y="697"/>
                      <a:pt x="656" y="697"/>
                    </a:cubicBezTo>
                    <a:cubicBezTo>
                      <a:pt x="653" y="697"/>
                      <a:pt x="653" y="697"/>
                      <a:pt x="653" y="697"/>
                    </a:cubicBezTo>
                    <a:cubicBezTo>
                      <a:pt x="652" y="696"/>
                      <a:pt x="652" y="696"/>
                      <a:pt x="652" y="696"/>
                    </a:cubicBezTo>
                    <a:cubicBezTo>
                      <a:pt x="650" y="697"/>
                      <a:pt x="650" y="697"/>
                      <a:pt x="650" y="697"/>
                    </a:cubicBezTo>
                    <a:cubicBezTo>
                      <a:pt x="649" y="697"/>
                      <a:pt x="649" y="697"/>
                      <a:pt x="649" y="697"/>
                    </a:cubicBezTo>
                    <a:cubicBezTo>
                      <a:pt x="644" y="699"/>
                      <a:pt x="644" y="699"/>
                      <a:pt x="644" y="699"/>
                    </a:cubicBezTo>
                    <a:cubicBezTo>
                      <a:pt x="643" y="698"/>
                      <a:pt x="643" y="698"/>
                      <a:pt x="643" y="698"/>
                    </a:cubicBezTo>
                    <a:cubicBezTo>
                      <a:pt x="643" y="697"/>
                      <a:pt x="643" y="697"/>
                      <a:pt x="643" y="697"/>
                    </a:cubicBezTo>
                    <a:cubicBezTo>
                      <a:pt x="642" y="697"/>
                      <a:pt x="642" y="697"/>
                      <a:pt x="642" y="697"/>
                    </a:cubicBezTo>
                    <a:cubicBezTo>
                      <a:pt x="640" y="697"/>
                      <a:pt x="640" y="697"/>
                      <a:pt x="640" y="697"/>
                    </a:cubicBezTo>
                    <a:cubicBezTo>
                      <a:pt x="638" y="698"/>
                      <a:pt x="638" y="698"/>
                      <a:pt x="638" y="698"/>
                    </a:cubicBezTo>
                    <a:cubicBezTo>
                      <a:pt x="636" y="696"/>
                      <a:pt x="636" y="696"/>
                      <a:pt x="636" y="696"/>
                    </a:cubicBezTo>
                    <a:cubicBezTo>
                      <a:pt x="635" y="697"/>
                      <a:pt x="635" y="697"/>
                      <a:pt x="635" y="697"/>
                    </a:cubicBezTo>
                    <a:cubicBezTo>
                      <a:pt x="632" y="696"/>
                      <a:pt x="632" y="696"/>
                      <a:pt x="632" y="696"/>
                    </a:cubicBezTo>
                    <a:cubicBezTo>
                      <a:pt x="631" y="695"/>
                      <a:pt x="631" y="695"/>
                      <a:pt x="631" y="695"/>
                    </a:cubicBezTo>
                    <a:cubicBezTo>
                      <a:pt x="630" y="695"/>
                      <a:pt x="630" y="695"/>
                      <a:pt x="630" y="695"/>
                    </a:cubicBezTo>
                    <a:cubicBezTo>
                      <a:pt x="629" y="696"/>
                      <a:pt x="629" y="696"/>
                      <a:pt x="629" y="696"/>
                    </a:cubicBezTo>
                    <a:cubicBezTo>
                      <a:pt x="626" y="696"/>
                      <a:pt x="626" y="696"/>
                      <a:pt x="626" y="696"/>
                    </a:cubicBezTo>
                    <a:cubicBezTo>
                      <a:pt x="623" y="694"/>
                      <a:pt x="623" y="694"/>
                      <a:pt x="623" y="694"/>
                    </a:cubicBezTo>
                    <a:cubicBezTo>
                      <a:pt x="622" y="695"/>
                      <a:pt x="622" y="695"/>
                      <a:pt x="622" y="695"/>
                    </a:cubicBezTo>
                    <a:cubicBezTo>
                      <a:pt x="620" y="695"/>
                      <a:pt x="620" y="695"/>
                      <a:pt x="620" y="695"/>
                    </a:cubicBezTo>
                    <a:cubicBezTo>
                      <a:pt x="619" y="694"/>
                      <a:pt x="619" y="694"/>
                      <a:pt x="619" y="694"/>
                    </a:cubicBezTo>
                    <a:cubicBezTo>
                      <a:pt x="617" y="695"/>
                      <a:pt x="617" y="695"/>
                      <a:pt x="617" y="695"/>
                    </a:cubicBezTo>
                    <a:cubicBezTo>
                      <a:pt x="615" y="695"/>
                      <a:pt x="615" y="695"/>
                      <a:pt x="615" y="695"/>
                    </a:cubicBezTo>
                    <a:cubicBezTo>
                      <a:pt x="614" y="695"/>
                      <a:pt x="614" y="695"/>
                      <a:pt x="614" y="695"/>
                    </a:cubicBezTo>
                    <a:cubicBezTo>
                      <a:pt x="611" y="694"/>
                      <a:pt x="611" y="694"/>
                      <a:pt x="611" y="694"/>
                    </a:cubicBezTo>
                    <a:cubicBezTo>
                      <a:pt x="607" y="695"/>
                      <a:pt x="607" y="695"/>
                      <a:pt x="607" y="695"/>
                    </a:cubicBezTo>
                    <a:cubicBezTo>
                      <a:pt x="605" y="694"/>
                      <a:pt x="605" y="694"/>
                      <a:pt x="605" y="694"/>
                    </a:cubicBezTo>
                    <a:cubicBezTo>
                      <a:pt x="603" y="692"/>
                      <a:pt x="603" y="692"/>
                      <a:pt x="603" y="692"/>
                    </a:cubicBezTo>
                    <a:cubicBezTo>
                      <a:pt x="602" y="693"/>
                      <a:pt x="602" y="693"/>
                      <a:pt x="602" y="693"/>
                    </a:cubicBezTo>
                    <a:cubicBezTo>
                      <a:pt x="601" y="694"/>
                      <a:pt x="601" y="694"/>
                      <a:pt x="601" y="694"/>
                    </a:cubicBezTo>
                    <a:cubicBezTo>
                      <a:pt x="602" y="695"/>
                      <a:pt x="602" y="695"/>
                      <a:pt x="602" y="695"/>
                    </a:cubicBezTo>
                    <a:cubicBezTo>
                      <a:pt x="601" y="696"/>
                      <a:pt x="601" y="696"/>
                      <a:pt x="601" y="696"/>
                    </a:cubicBezTo>
                    <a:cubicBezTo>
                      <a:pt x="599" y="696"/>
                      <a:pt x="599" y="696"/>
                      <a:pt x="599" y="696"/>
                    </a:cubicBezTo>
                    <a:cubicBezTo>
                      <a:pt x="595" y="699"/>
                      <a:pt x="595" y="699"/>
                      <a:pt x="595" y="699"/>
                    </a:cubicBezTo>
                    <a:cubicBezTo>
                      <a:pt x="593" y="700"/>
                      <a:pt x="593" y="700"/>
                      <a:pt x="593" y="700"/>
                    </a:cubicBezTo>
                    <a:cubicBezTo>
                      <a:pt x="593" y="702"/>
                      <a:pt x="593" y="702"/>
                      <a:pt x="593" y="702"/>
                    </a:cubicBezTo>
                    <a:cubicBezTo>
                      <a:pt x="592" y="703"/>
                      <a:pt x="592" y="703"/>
                      <a:pt x="592" y="703"/>
                    </a:cubicBezTo>
                    <a:cubicBezTo>
                      <a:pt x="592" y="705"/>
                      <a:pt x="592" y="705"/>
                      <a:pt x="592" y="705"/>
                    </a:cubicBezTo>
                    <a:cubicBezTo>
                      <a:pt x="591" y="707"/>
                      <a:pt x="591" y="707"/>
                      <a:pt x="591" y="707"/>
                    </a:cubicBezTo>
                    <a:cubicBezTo>
                      <a:pt x="588" y="707"/>
                      <a:pt x="588" y="707"/>
                      <a:pt x="588" y="707"/>
                    </a:cubicBezTo>
                    <a:cubicBezTo>
                      <a:pt x="586" y="708"/>
                      <a:pt x="586" y="708"/>
                      <a:pt x="586" y="708"/>
                    </a:cubicBezTo>
                    <a:cubicBezTo>
                      <a:pt x="583" y="708"/>
                      <a:pt x="583" y="708"/>
                      <a:pt x="583" y="708"/>
                    </a:cubicBezTo>
                    <a:cubicBezTo>
                      <a:pt x="581" y="710"/>
                      <a:pt x="581" y="710"/>
                      <a:pt x="581" y="710"/>
                    </a:cubicBezTo>
                    <a:cubicBezTo>
                      <a:pt x="580" y="711"/>
                      <a:pt x="580" y="711"/>
                      <a:pt x="580" y="711"/>
                    </a:cubicBezTo>
                    <a:cubicBezTo>
                      <a:pt x="580" y="710"/>
                      <a:pt x="580" y="710"/>
                      <a:pt x="580" y="710"/>
                    </a:cubicBezTo>
                    <a:cubicBezTo>
                      <a:pt x="578" y="711"/>
                      <a:pt x="578" y="711"/>
                      <a:pt x="578" y="711"/>
                    </a:cubicBezTo>
                    <a:cubicBezTo>
                      <a:pt x="577" y="713"/>
                      <a:pt x="577" y="713"/>
                      <a:pt x="577" y="713"/>
                    </a:cubicBezTo>
                    <a:cubicBezTo>
                      <a:pt x="575" y="713"/>
                      <a:pt x="575" y="713"/>
                      <a:pt x="575" y="713"/>
                    </a:cubicBezTo>
                    <a:cubicBezTo>
                      <a:pt x="573" y="715"/>
                      <a:pt x="573" y="715"/>
                      <a:pt x="573" y="715"/>
                    </a:cubicBezTo>
                    <a:cubicBezTo>
                      <a:pt x="573" y="716"/>
                      <a:pt x="573" y="716"/>
                      <a:pt x="573" y="716"/>
                    </a:cubicBezTo>
                    <a:cubicBezTo>
                      <a:pt x="572" y="716"/>
                      <a:pt x="572" y="716"/>
                      <a:pt x="572" y="716"/>
                    </a:cubicBezTo>
                    <a:cubicBezTo>
                      <a:pt x="569" y="720"/>
                      <a:pt x="569" y="720"/>
                      <a:pt x="569" y="720"/>
                    </a:cubicBezTo>
                    <a:cubicBezTo>
                      <a:pt x="566" y="722"/>
                      <a:pt x="566" y="722"/>
                      <a:pt x="566" y="722"/>
                    </a:cubicBezTo>
                    <a:cubicBezTo>
                      <a:pt x="565" y="725"/>
                      <a:pt x="565" y="725"/>
                      <a:pt x="565" y="725"/>
                    </a:cubicBezTo>
                    <a:cubicBezTo>
                      <a:pt x="562" y="727"/>
                      <a:pt x="562" y="727"/>
                      <a:pt x="562" y="727"/>
                    </a:cubicBezTo>
                    <a:cubicBezTo>
                      <a:pt x="560" y="729"/>
                      <a:pt x="560" y="729"/>
                      <a:pt x="560" y="729"/>
                    </a:cubicBezTo>
                    <a:cubicBezTo>
                      <a:pt x="558" y="729"/>
                      <a:pt x="558" y="729"/>
                      <a:pt x="558" y="729"/>
                    </a:cubicBezTo>
                    <a:cubicBezTo>
                      <a:pt x="557" y="732"/>
                      <a:pt x="557" y="732"/>
                      <a:pt x="557" y="732"/>
                    </a:cubicBezTo>
                    <a:cubicBezTo>
                      <a:pt x="556" y="734"/>
                      <a:pt x="556" y="734"/>
                      <a:pt x="556" y="734"/>
                    </a:cubicBezTo>
                    <a:cubicBezTo>
                      <a:pt x="551" y="737"/>
                      <a:pt x="551" y="737"/>
                      <a:pt x="551" y="737"/>
                    </a:cubicBezTo>
                    <a:cubicBezTo>
                      <a:pt x="551" y="738"/>
                      <a:pt x="551" y="738"/>
                      <a:pt x="551" y="738"/>
                    </a:cubicBezTo>
                    <a:cubicBezTo>
                      <a:pt x="546" y="740"/>
                      <a:pt x="546" y="740"/>
                      <a:pt x="546" y="740"/>
                    </a:cubicBezTo>
                    <a:cubicBezTo>
                      <a:pt x="543" y="741"/>
                      <a:pt x="543" y="741"/>
                      <a:pt x="543" y="741"/>
                    </a:cubicBezTo>
                    <a:cubicBezTo>
                      <a:pt x="545" y="741"/>
                      <a:pt x="545" y="741"/>
                      <a:pt x="545" y="741"/>
                    </a:cubicBezTo>
                    <a:cubicBezTo>
                      <a:pt x="550" y="739"/>
                      <a:pt x="550" y="739"/>
                      <a:pt x="550" y="739"/>
                    </a:cubicBezTo>
                    <a:cubicBezTo>
                      <a:pt x="555" y="737"/>
                      <a:pt x="555" y="737"/>
                      <a:pt x="555" y="737"/>
                    </a:cubicBezTo>
                    <a:cubicBezTo>
                      <a:pt x="558" y="735"/>
                      <a:pt x="558" y="735"/>
                      <a:pt x="558" y="735"/>
                    </a:cubicBezTo>
                    <a:cubicBezTo>
                      <a:pt x="561" y="731"/>
                      <a:pt x="561" y="731"/>
                      <a:pt x="561" y="731"/>
                    </a:cubicBezTo>
                    <a:cubicBezTo>
                      <a:pt x="563" y="729"/>
                      <a:pt x="563" y="729"/>
                      <a:pt x="563" y="729"/>
                    </a:cubicBezTo>
                    <a:cubicBezTo>
                      <a:pt x="564" y="728"/>
                      <a:pt x="564" y="728"/>
                      <a:pt x="564" y="728"/>
                    </a:cubicBezTo>
                    <a:cubicBezTo>
                      <a:pt x="569" y="724"/>
                      <a:pt x="569" y="724"/>
                      <a:pt x="569" y="724"/>
                    </a:cubicBezTo>
                    <a:cubicBezTo>
                      <a:pt x="576" y="719"/>
                      <a:pt x="576" y="719"/>
                      <a:pt x="576" y="719"/>
                    </a:cubicBezTo>
                    <a:cubicBezTo>
                      <a:pt x="580" y="716"/>
                      <a:pt x="580" y="716"/>
                      <a:pt x="580" y="716"/>
                    </a:cubicBezTo>
                    <a:cubicBezTo>
                      <a:pt x="583" y="716"/>
                      <a:pt x="583" y="716"/>
                      <a:pt x="583" y="716"/>
                    </a:cubicBezTo>
                    <a:cubicBezTo>
                      <a:pt x="585" y="714"/>
                      <a:pt x="585" y="714"/>
                      <a:pt x="585" y="714"/>
                    </a:cubicBezTo>
                    <a:cubicBezTo>
                      <a:pt x="590" y="713"/>
                      <a:pt x="590" y="713"/>
                      <a:pt x="590" y="713"/>
                    </a:cubicBezTo>
                    <a:cubicBezTo>
                      <a:pt x="596" y="711"/>
                      <a:pt x="596" y="711"/>
                      <a:pt x="596" y="711"/>
                    </a:cubicBezTo>
                    <a:cubicBezTo>
                      <a:pt x="598" y="711"/>
                      <a:pt x="598" y="711"/>
                      <a:pt x="598" y="711"/>
                    </a:cubicBezTo>
                    <a:cubicBezTo>
                      <a:pt x="600" y="710"/>
                      <a:pt x="600" y="710"/>
                      <a:pt x="600" y="710"/>
                    </a:cubicBezTo>
                    <a:cubicBezTo>
                      <a:pt x="607" y="710"/>
                      <a:pt x="607" y="710"/>
                      <a:pt x="607" y="710"/>
                    </a:cubicBezTo>
                    <a:cubicBezTo>
                      <a:pt x="610" y="712"/>
                      <a:pt x="610" y="712"/>
                      <a:pt x="610" y="712"/>
                    </a:cubicBezTo>
                    <a:cubicBezTo>
                      <a:pt x="614" y="714"/>
                      <a:pt x="614" y="714"/>
                      <a:pt x="614" y="714"/>
                    </a:cubicBezTo>
                    <a:cubicBezTo>
                      <a:pt x="614" y="715"/>
                      <a:pt x="614" y="715"/>
                      <a:pt x="614" y="715"/>
                    </a:cubicBezTo>
                    <a:cubicBezTo>
                      <a:pt x="611" y="714"/>
                      <a:pt x="611" y="714"/>
                      <a:pt x="611" y="714"/>
                    </a:cubicBezTo>
                    <a:cubicBezTo>
                      <a:pt x="611" y="715"/>
                      <a:pt x="611" y="715"/>
                      <a:pt x="611" y="715"/>
                    </a:cubicBezTo>
                    <a:cubicBezTo>
                      <a:pt x="611" y="715"/>
                      <a:pt x="611" y="715"/>
                      <a:pt x="611" y="715"/>
                    </a:cubicBezTo>
                    <a:cubicBezTo>
                      <a:pt x="613" y="715"/>
                      <a:pt x="613" y="715"/>
                      <a:pt x="613" y="715"/>
                    </a:cubicBezTo>
                    <a:cubicBezTo>
                      <a:pt x="615" y="716"/>
                      <a:pt x="615" y="716"/>
                      <a:pt x="615" y="716"/>
                    </a:cubicBezTo>
                    <a:cubicBezTo>
                      <a:pt x="616" y="717"/>
                      <a:pt x="616" y="717"/>
                      <a:pt x="616" y="717"/>
                    </a:cubicBezTo>
                    <a:cubicBezTo>
                      <a:pt x="614" y="718"/>
                      <a:pt x="614" y="718"/>
                      <a:pt x="614" y="718"/>
                    </a:cubicBezTo>
                    <a:cubicBezTo>
                      <a:pt x="615" y="719"/>
                      <a:pt x="615" y="719"/>
                      <a:pt x="615" y="719"/>
                    </a:cubicBezTo>
                    <a:cubicBezTo>
                      <a:pt x="614" y="722"/>
                      <a:pt x="614" y="722"/>
                      <a:pt x="614" y="722"/>
                    </a:cubicBezTo>
                    <a:cubicBezTo>
                      <a:pt x="612" y="722"/>
                      <a:pt x="612" y="722"/>
                      <a:pt x="612" y="722"/>
                    </a:cubicBezTo>
                    <a:cubicBezTo>
                      <a:pt x="610" y="724"/>
                      <a:pt x="610" y="724"/>
                      <a:pt x="610" y="724"/>
                    </a:cubicBezTo>
                    <a:cubicBezTo>
                      <a:pt x="608" y="724"/>
                      <a:pt x="608" y="724"/>
                      <a:pt x="608" y="724"/>
                    </a:cubicBezTo>
                    <a:cubicBezTo>
                      <a:pt x="606" y="726"/>
                      <a:pt x="606" y="726"/>
                      <a:pt x="606" y="726"/>
                    </a:cubicBezTo>
                    <a:cubicBezTo>
                      <a:pt x="604" y="726"/>
                      <a:pt x="604" y="726"/>
                      <a:pt x="604" y="726"/>
                    </a:cubicBezTo>
                    <a:cubicBezTo>
                      <a:pt x="602" y="725"/>
                      <a:pt x="602" y="725"/>
                      <a:pt x="602" y="725"/>
                    </a:cubicBezTo>
                    <a:cubicBezTo>
                      <a:pt x="600" y="724"/>
                      <a:pt x="600" y="724"/>
                      <a:pt x="600" y="724"/>
                    </a:cubicBezTo>
                    <a:cubicBezTo>
                      <a:pt x="599" y="725"/>
                      <a:pt x="599" y="725"/>
                      <a:pt x="599" y="725"/>
                    </a:cubicBezTo>
                    <a:cubicBezTo>
                      <a:pt x="596" y="725"/>
                      <a:pt x="596" y="725"/>
                      <a:pt x="596" y="725"/>
                    </a:cubicBezTo>
                    <a:cubicBezTo>
                      <a:pt x="594" y="725"/>
                      <a:pt x="594" y="725"/>
                      <a:pt x="594" y="725"/>
                    </a:cubicBezTo>
                    <a:cubicBezTo>
                      <a:pt x="592" y="726"/>
                      <a:pt x="592" y="726"/>
                      <a:pt x="592" y="726"/>
                    </a:cubicBezTo>
                    <a:cubicBezTo>
                      <a:pt x="594" y="726"/>
                      <a:pt x="594" y="726"/>
                      <a:pt x="594" y="726"/>
                    </a:cubicBezTo>
                    <a:cubicBezTo>
                      <a:pt x="597" y="726"/>
                      <a:pt x="597" y="726"/>
                      <a:pt x="597" y="726"/>
                    </a:cubicBezTo>
                    <a:cubicBezTo>
                      <a:pt x="601" y="727"/>
                      <a:pt x="601" y="727"/>
                      <a:pt x="601" y="727"/>
                    </a:cubicBezTo>
                    <a:cubicBezTo>
                      <a:pt x="601" y="729"/>
                      <a:pt x="601" y="729"/>
                      <a:pt x="601" y="729"/>
                    </a:cubicBezTo>
                    <a:cubicBezTo>
                      <a:pt x="602" y="730"/>
                      <a:pt x="602" y="730"/>
                      <a:pt x="602" y="730"/>
                    </a:cubicBezTo>
                    <a:cubicBezTo>
                      <a:pt x="604" y="729"/>
                      <a:pt x="604" y="729"/>
                      <a:pt x="604" y="729"/>
                    </a:cubicBezTo>
                    <a:cubicBezTo>
                      <a:pt x="606" y="728"/>
                      <a:pt x="606" y="728"/>
                      <a:pt x="606" y="728"/>
                    </a:cubicBezTo>
                    <a:cubicBezTo>
                      <a:pt x="608" y="728"/>
                      <a:pt x="608" y="728"/>
                      <a:pt x="608" y="728"/>
                    </a:cubicBezTo>
                    <a:cubicBezTo>
                      <a:pt x="609" y="729"/>
                      <a:pt x="609" y="729"/>
                      <a:pt x="609" y="729"/>
                    </a:cubicBezTo>
                    <a:cubicBezTo>
                      <a:pt x="610" y="729"/>
                      <a:pt x="610" y="729"/>
                      <a:pt x="610" y="729"/>
                    </a:cubicBezTo>
                    <a:cubicBezTo>
                      <a:pt x="610" y="730"/>
                      <a:pt x="610" y="730"/>
                      <a:pt x="610" y="730"/>
                    </a:cubicBezTo>
                    <a:cubicBezTo>
                      <a:pt x="609" y="732"/>
                      <a:pt x="609" y="732"/>
                      <a:pt x="609" y="732"/>
                    </a:cubicBezTo>
                    <a:cubicBezTo>
                      <a:pt x="606" y="737"/>
                      <a:pt x="606" y="737"/>
                      <a:pt x="606" y="737"/>
                    </a:cubicBezTo>
                    <a:cubicBezTo>
                      <a:pt x="605" y="737"/>
                      <a:pt x="605" y="737"/>
                      <a:pt x="605" y="737"/>
                    </a:cubicBezTo>
                    <a:cubicBezTo>
                      <a:pt x="604" y="738"/>
                      <a:pt x="604" y="738"/>
                      <a:pt x="604" y="738"/>
                    </a:cubicBezTo>
                    <a:cubicBezTo>
                      <a:pt x="607" y="738"/>
                      <a:pt x="607" y="738"/>
                      <a:pt x="607" y="738"/>
                    </a:cubicBezTo>
                    <a:cubicBezTo>
                      <a:pt x="607" y="739"/>
                      <a:pt x="607" y="739"/>
                      <a:pt x="607" y="739"/>
                    </a:cubicBezTo>
                    <a:cubicBezTo>
                      <a:pt x="606" y="741"/>
                      <a:pt x="606" y="741"/>
                      <a:pt x="606" y="741"/>
                    </a:cubicBezTo>
                    <a:cubicBezTo>
                      <a:pt x="608" y="742"/>
                      <a:pt x="608" y="742"/>
                      <a:pt x="608" y="742"/>
                    </a:cubicBezTo>
                    <a:cubicBezTo>
                      <a:pt x="607" y="744"/>
                      <a:pt x="607" y="744"/>
                      <a:pt x="607" y="744"/>
                    </a:cubicBezTo>
                    <a:cubicBezTo>
                      <a:pt x="608" y="747"/>
                      <a:pt x="608" y="747"/>
                      <a:pt x="608" y="747"/>
                    </a:cubicBezTo>
                    <a:cubicBezTo>
                      <a:pt x="608" y="747"/>
                      <a:pt x="608" y="747"/>
                      <a:pt x="608" y="747"/>
                    </a:cubicBezTo>
                    <a:cubicBezTo>
                      <a:pt x="609" y="750"/>
                      <a:pt x="609" y="750"/>
                      <a:pt x="609" y="750"/>
                    </a:cubicBezTo>
                    <a:cubicBezTo>
                      <a:pt x="611" y="750"/>
                      <a:pt x="611" y="750"/>
                      <a:pt x="611" y="750"/>
                    </a:cubicBezTo>
                    <a:cubicBezTo>
                      <a:pt x="612" y="751"/>
                      <a:pt x="612" y="751"/>
                      <a:pt x="612" y="751"/>
                    </a:cubicBezTo>
                    <a:cubicBezTo>
                      <a:pt x="615" y="751"/>
                      <a:pt x="615" y="751"/>
                      <a:pt x="615" y="751"/>
                    </a:cubicBezTo>
                    <a:cubicBezTo>
                      <a:pt x="615" y="752"/>
                      <a:pt x="615" y="752"/>
                      <a:pt x="615" y="752"/>
                    </a:cubicBezTo>
                    <a:cubicBezTo>
                      <a:pt x="612" y="753"/>
                      <a:pt x="612" y="753"/>
                      <a:pt x="612" y="753"/>
                    </a:cubicBezTo>
                    <a:cubicBezTo>
                      <a:pt x="615" y="755"/>
                      <a:pt x="615" y="755"/>
                      <a:pt x="615" y="755"/>
                    </a:cubicBezTo>
                    <a:cubicBezTo>
                      <a:pt x="618" y="755"/>
                      <a:pt x="618" y="755"/>
                      <a:pt x="618" y="755"/>
                    </a:cubicBezTo>
                    <a:cubicBezTo>
                      <a:pt x="620" y="756"/>
                      <a:pt x="620" y="756"/>
                      <a:pt x="620" y="756"/>
                    </a:cubicBezTo>
                    <a:cubicBezTo>
                      <a:pt x="621" y="755"/>
                      <a:pt x="621" y="755"/>
                      <a:pt x="621" y="755"/>
                    </a:cubicBezTo>
                    <a:cubicBezTo>
                      <a:pt x="623" y="756"/>
                      <a:pt x="623" y="756"/>
                      <a:pt x="623" y="756"/>
                    </a:cubicBezTo>
                    <a:cubicBezTo>
                      <a:pt x="624" y="757"/>
                      <a:pt x="624" y="757"/>
                      <a:pt x="624" y="757"/>
                    </a:cubicBezTo>
                    <a:cubicBezTo>
                      <a:pt x="627" y="758"/>
                      <a:pt x="627" y="758"/>
                      <a:pt x="627" y="758"/>
                    </a:cubicBezTo>
                    <a:cubicBezTo>
                      <a:pt x="628" y="757"/>
                      <a:pt x="628" y="757"/>
                      <a:pt x="628" y="757"/>
                    </a:cubicBezTo>
                    <a:cubicBezTo>
                      <a:pt x="631" y="755"/>
                      <a:pt x="631" y="755"/>
                      <a:pt x="631" y="755"/>
                    </a:cubicBezTo>
                    <a:cubicBezTo>
                      <a:pt x="631" y="756"/>
                      <a:pt x="631" y="756"/>
                      <a:pt x="631" y="756"/>
                    </a:cubicBezTo>
                    <a:cubicBezTo>
                      <a:pt x="630" y="757"/>
                      <a:pt x="630" y="757"/>
                      <a:pt x="630" y="757"/>
                    </a:cubicBezTo>
                    <a:cubicBezTo>
                      <a:pt x="633" y="758"/>
                      <a:pt x="633" y="758"/>
                      <a:pt x="633" y="758"/>
                    </a:cubicBezTo>
                    <a:cubicBezTo>
                      <a:pt x="636" y="759"/>
                      <a:pt x="636" y="759"/>
                      <a:pt x="636" y="759"/>
                    </a:cubicBezTo>
                    <a:cubicBezTo>
                      <a:pt x="636" y="760"/>
                      <a:pt x="636" y="760"/>
                      <a:pt x="636" y="760"/>
                    </a:cubicBezTo>
                    <a:cubicBezTo>
                      <a:pt x="635" y="761"/>
                      <a:pt x="635" y="761"/>
                      <a:pt x="635" y="761"/>
                    </a:cubicBezTo>
                    <a:cubicBezTo>
                      <a:pt x="634" y="761"/>
                      <a:pt x="634" y="761"/>
                      <a:pt x="634" y="761"/>
                    </a:cubicBezTo>
                    <a:cubicBezTo>
                      <a:pt x="636" y="762"/>
                      <a:pt x="636" y="762"/>
                      <a:pt x="636" y="762"/>
                    </a:cubicBezTo>
                    <a:cubicBezTo>
                      <a:pt x="638" y="762"/>
                      <a:pt x="638" y="762"/>
                      <a:pt x="638" y="762"/>
                    </a:cubicBezTo>
                    <a:cubicBezTo>
                      <a:pt x="638" y="763"/>
                      <a:pt x="638" y="763"/>
                      <a:pt x="638" y="763"/>
                    </a:cubicBezTo>
                    <a:cubicBezTo>
                      <a:pt x="637" y="764"/>
                      <a:pt x="637" y="764"/>
                      <a:pt x="637" y="764"/>
                    </a:cubicBezTo>
                    <a:cubicBezTo>
                      <a:pt x="636" y="763"/>
                      <a:pt x="636" y="763"/>
                      <a:pt x="636" y="763"/>
                    </a:cubicBezTo>
                    <a:cubicBezTo>
                      <a:pt x="634" y="763"/>
                      <a:pt x="634" y="763"/>
                      <a:pt x="634" y="763"/>
                    </a:cubicBezTo>
                    <a:cubicBezTo>
                      <a:pt x="631" y="764"/>
                      <a:pt x="631" y="764"/>
                      <a:pt x="631" y="764"/>
                    </a:cubicBezTo>
                    <a:cubicBezTo>
                      <a:pt x="627" y="767"/>
                      <a:pt x="627" y="767"/>
                      <a:pt x="627" y="767"/>
                    </a:cubicBezTo>
                    <a:cubicBezTo>
                      <a:pt x="625" y="767"/>
                      <a:pt x="625" y="767"/>
                      <a:pt x="625" y="767"/>
                    </a:cubicBezTo>
                    <a:cubicBezTo>
                      <a:pt x="622" y="768"/>
                      <a:pt x="622" y="768"/>
                      <a:pt x="622" y="768"/>
                    </a:cubicBezTo>
                    <a:cubicBezTo>
                      <a:pt x="619" y="768"/>
                      <a:pt x="619" y="768"/>
                      <a:pt x="619" y="768"/>
                    </a:cubicBezTo>
                    <a:cubicBezTo>
                      <a:pt x="616" y="770"/>
                      <a:pt x="616" y="770"/>
                      <a:pt x="616" y="770"/>
                    </a:cubicBezTo>
                    <a:cubicBezTo>
                      <a:pt x="614" y="770"/>
                      <a:pt x="614" y="770"/>
                      <a:pt x="614" y="770"/>
                    </a:cubicBezTo>
                    <a:cubicBezTo>
                      <a:pt x="614" y="771"/>
                      <a:pt x="614" y="771"/>
                      <a:pt x="614" y="771"/>
                    </a:cubicBezTo>
                    <a:cubicBezTo>
                      <a:pt x="612" y="771"/>
                      <a:pt x="612" y="771"/>
                      <a:pt x="612" y="771"/>
                    </a:cubicBezTo>
                    <a:cubicBezTo>
                      <a:pt x="611" y="769"/>
                      <a:pt x="611" y="769"/>
                      <a:pt x="611" y="769"/>
                    </a:cubicBezTo>
                    <a:cubicBezTo>
                      <a:pt x="610" y="768"/>
                      <a:pt x="610" y="768"/>
                      <a:pt x="610" y="768"/>
                    </a:cubicBezTo>
                    <a:cubicBezTo>
                      <a:pt x="609" y="770"/>
                      <a:pt x="609" y="770"/>
                      <a:pt x="609" y="770"/>
                    </a:cubicBezTo>
                    <a:cubicBezTo>
                      <a:pt x="608" y="769"/>
                      <a:pt x="608" y="769"/>
                      <a:pt x="608" y="769"/>
                    </a:cubicBezTo>
                    <a:cubicBezTo>
                      <a:pt x="607" y="772"/>
                      <a:pt x="607" y="772"/>
                      <a:pt x="607" y="772"/>
                    </a:cubicBezTo>
                    <a:cubicBezTo>
                      <a:pt x="607" y="773"/>
                      <a:pt x="607" y="773"/>
                      <a:pt x="607" y="773"/>
                    </a:cubicBezTo>
                    <a:cubicBezTo>
                      <a:pt x="605" y="775"/>
                      <a:pt x="605" y="775"/>
                      <a:pt x="605" y="775"/>
                    </a:cubicBezTo>
                    <a:cubicBezTo>
                      <a:pt x="602" y="779"/>
                      <a:pt x="602" y="779"/>
                      <a:pt x="602" y="779"/>
                    </a:cubicBezTo>
                    <a:cubicBezTo>
                      <a:pt x="600" y="779"/>
                      <a:pt x="600" y="779"/>
                      <a:pt x="600" y="779"/>
                    </a:cubicBezTo>
                    <a:cubicBezTo>
                      <a:pt x="598" y="781"/>
                      <a:pt x="598" y="781"/>
                      <a:pt x="598" y="781"/>
                    </a:cubicBezTo>
                    <a:cubicBezTo>
                      <a:pt x="597" y="781"/>
                      <a:pt x="597" y="781"/>
                      <a:pt x="597" y="781"/>
                    </a:cubicBezTo>
                    <a:cubicBezTo>
                      <a:pt x="596" y="781"/>
                      <a:pt x="596" y="781"/>
                      <a:pt x="596" y="781"/>
                    </a:cubicBezTo>
                    <a:cubicBezTo>
                      <a:pt x="596" y="783"/>
                      <a:pt x="596" y="783"/>
                      <a:pt x="596" y="783"/>
                    </a:cubicBezTo>
                    <a:cubicBezTo>
                      <a:pt x="595" y="784"/>
                      <a:pt x="595" y="784"/>
                      <a:pt x="595" y="784"/>
                    </a:cubicBezTo>
                    <a:cubicBezTo>
                      <a:pt x="594" y="783"/>
                      <a:pt x="594" y="783"/>
                      <a:pt x="594" y="783"/>
                    </a:cubicBezTo>
                    <a:cubicBezTo>
                      <a:pt x="593" y="783"/>
                      <a:pt x="593" y="783"/>
                      <a:pt x="593" y="783"/>
                    </a:cubicBezTo>
                    <a:cubicBezTo>
                      <a:pt x="591" y="782"/>
                      <a:pt x="591" y="782"/>
                      <a:pt x="591" y="782"/>
                    </a:cubicBezTo>
                    <a:cubicBezTo>
                      <a:pt x="591" y="780"/>
                      <a:pt x="591" y="780"/>
                      <a:pt x="591" y="780"/>
                    </a:cubicBezTo>
                    <a:cubicBezTo>
                      <a:pt x="590" y="779"/>
                      <a:pt x="590" y="779"/>
                      <a:pt x="590" y="779"/>
                    </a:cubicBezTo>
                    <a:cubicBezTo>
                      <a:pt x="589" y="780"/>
                      <a:pt x="589" y="780"/>
                      <a:pt x="589" y="780"/>
                    </a:cubicBezTo>
                    <a:cubicBezTo>
                      <a:pt x="589" y="778"/>
                      <a:pt x="589" y="778"/>
                      <a:pt x="589" y="778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8" y="774"/>
                      <a:pt x="588" y="774"/>
                      <a:pt x="588" y="774"/>
                    </a:cubicBezTo>
                    <a:cubicBezTo>
                      <a:pt x="590" y="771"/>
                      <a:pt x="590" y="771"/>
                      <a:pt x="590" y="771"/>
                    </a:cubicBezTo>
                    <a:cubicBezTo>
                      <a:pt x="592" y="769"/>
                      <a:pt x="592" y="769"/>
                      <a:pt x="592" y="769"/>
                    </a:cubicBezTo>
                    <a:cubicBezTo>
                      <a:pt x="593" y="767"/>
                      <a:pt x="593" y="767"/>
                      <a:pt x="593" y="767"/>
                    </a:cubicBezTo>
                    <a:cubicBezTo>
                      <a:pt x="596" y="765"/>
                      <a:pt x="596" y="765"/>
                      <a:pt x="596" y="765"/>
                    </a:cubicBezTo>
                    <a:cubicBezTo>
                      <a:pt x="600" y="764"/>
                      <a:pt x="600" y="764"/>
                      <a:pt x="600" y="764"/>
                    </a:cubicBezTo>
                    <a:cubicBezTo>
                      <a:pt x="604" y="762"/>
                      <a:pt x="604" y="762"/>
                      <a:pt x="604" y="762"/>
                    </a:cubicBezTo>
                    <a:cubicBezTo>
                      <a:pt x="607" y="761"/>
                      <a:pt x="607" y="761"/>
                      <a:pt x="607" y="761"/>
                    </a:cubicBezTo>
                    <a:cubicBezTo>
                      <a:pt x="608" y="762"/>
                      <a:pt x="608" y="762"/>
                      <a:pt x="608" y="762"/>
                    </a:cubicBezTo>
                    <a:cubicBezTo>
                      <a:pt x="608" y="763"/>
                      <a:pt x="608" y="763"/>
                      <a:pt x="608" y="763"/>
                    </a:cubicBezTo>
                    <a:cubicBezTo>
                      <a:pt x="609" y="764"/>
                      <a:pt x="609" y="764"/>
                      <a:pt x="609" y="764"/>
                    </a:cubicBezTo>
                    <a:cubicBezTo>
                      <a:pt x="609" y="763"/>
                      <a:pt x="609" y="763"/>
                      <a:pt x="609" y="763"/>
                    </a:cubicBezTo>
                    <a:cubicBezTo>
                      <a:pt x="609" y="762"/>
                      <a:pt x="609" y="762"/>
                      <a:pt x="609" y="762"/>
                    </a:cubicBezTo>
                    <a:cubicBezTo>
                      <a:pt x="611" y="762"/>
                      <a:pt x="611" y="762"/>
                      <a:pt x="611" y="762"/>
                    </a:cubicBezTo>
                    <a:cubicBezTo>
                      <a:pt x="614" y="762"/>
                      <a:pt x="614" y="762"/>
                      <a:pt x="614" y="762"/>
                    </a:cubicBezTo>
                    <a:cubicBezTo>
                      <a:pt x="616" y="760"/>
                      <a:pt x="616" y="760"/>
                      <a:pt x="616" y="760"/>
                    </a:cubicBezTo>
                    <a:cubicBezTo>
                      <a:pt x="613" y="761"/>
                      <a:pt x="613" y="761"/>
                      <a:pt x="613" y="761"/>
                    </a:cubicBezTo>
                    <a:cubicBezTo>
                      <a:pt x="609" y="760"/>
                      <a:pt x="609" y="760"/>
                      <a:pt x="609" y="760"/>
                    </a:cubicBezTo>
                    <a:cubicBezTo>
                      <a:pt x="608" y="759"/>
                      <a:pt x="608" y="759"/>
                      <a:pt x="608" y="759"/>
                    </a:cubicBezTo>
                    <a:cubicBezTo>
                      <a:pt x="606" y="759"/>
                      <a:pt x="606" y="759"/>
                      <a:pt x="606" y="759"/>
                    </a:cubicBezTo>
                    <a:cubicBezTo>
                      <a:pt x="605" y="761"/>
                      <a:pt x="605" y="761"/>
                      <a:pt x="605" y="761"/>
                    </a:cubicBezTo>
                    <a:cubicBezTo>
                      <a:pt x="602" y="760"/>
                      <a:pt x="602" y="760"/>
                      <a:pt x="602" y="760"/>
                    </a:cubicBezTo>
                    <a:cubicBezTo>
                      <a:pt x="604" y="758"/>
                      <a:pt x="604" y="758"/>
                      <a:pt x="604" y="758"/>
                    </a:cubicBezTo>
                    <a:cubicBezTo>
                      <a:pt x="606" y="757"/>
                      <a:pt x="606" y="757"/>
                      <a:pt x="606" y="757"/>
                    </a:cubicBezTo>
                    <a:cubicBezTo>
                      <a:pt x="608" y="755"/>
                      <a:pt x="608" y="755"/>
                      <a:pt x="608" y="755"/>
                    </a:cubicBezTo>
                    <a:cubicBezTo>
                      <a:pt x="608" y="754"/>
                      <a:pt x="608" y="754"/>
                      <a:pt x="608" y="754"/>
                    </a:cubicBezTo>
                    <a:cubicBezTo>
                      <a:pt x="607" y="755"/>
                      <a:pt x="607" y="755"/>
                      <a:pt x="607" y="755"/>
                    </a:cubicBezTo>
                    <a:cubicBezTo>
                      <a:pt x="607" y="754"/>
                      <a:pt x="607" y="754"/>
                      <a:pt x="607" y="754"/>
                    </a:cubicBezTo>
                    <a:cubicBezTo>
                      <a:pt x="605" y="757"/>
                      <a:pt x="605" y="757"/>
                      <a:pt x="605" y="757"/>
                    </a:cubicBezTo>
                    <a:cubicBezTo>
                      <a:pt x="603" y="757"/>
                      <a:pt x="603" y="757"/>
                      <a:pt x="603" y="757"/>
                    </a:cubicBezTo>
                    <a:cubicBezTo>
                      <a:pt x="601" y="759"/>
                      <a:pt x="601" y="759"/>
                      <a:pt x="601" y="759"/>
                    </a:cubicBezTo>
                    <a:cubicBezTo>
                      <a:pt x="599" y="760"/>
                      <a:pt x="599" y="760"/>
                      <a:pt x="599" y="760"/>
                    </a:cubicBezTo>
                    <a:cubicBezTo>
                      <a:pt x="598" y="761"/>
                      <a:pt x="598" y="761"/>
                      <a:pt x="598" y="761"/>
                    </a:cubicBezTo>
                    <a:cubicBezTo>
                      <a:pt x="594" y="762"/>
                      <a:pt x="594" y="762"/>
                      <a:pt x="594" y="762"/>
                    </a:cubicBezTo>
                    <a:cubicBezTo>
                      <a:pt x="593" y="761"/>
                      <a:pt x="593" y="761"/>
                      <a:pt x="593" y="761"/>
                    </a:cubicBezTo>
                    <a:cubicBezTo>
                      <a:pt x="593" y="760"/>
                      <a:pt x="593" y="760"/>
                      <a:pt x="593" y="760"/>
                    </a:cubicBezTo>
                    <a:cubicBezTo>
                      <a:pt x="593" y="760"/>
                      <a:pt x="593" y="760"/>
                      <a:pt x="593" y="760"/>
                    </a:cubicBezTo>
                    <a:cubicBezTo>
                      <a:pt x="594" y="758"/>
                      <a:pt x="594" y="758"/>
                      <a:pt x="594" y="758"/>
                    </a:cubicBezTo>
                    <a:cubicBezTo>
                      <a:pt x="592" y="760"/>
                      <a:pt x="592" y="760"/>
                      <a:pt x="592" y="760"/>
                    </a:cubicBezTo>
                    <a:cubicBezTo>
                      <a:pt x="591" y="762"/>
                      <a:pt x="591" y="762"/>
                      <a:pt x="591" y="762"/>
                    </a:cubicBezTo>
                    <a:cubicBezTo>
                      <a:pt x="589" y="763"/>
                      <a:pt x="589" y="763"/>
                      <a:pt x="589" y="763"/>
                    </a:cubicBezTo>
                    <a:cubicBezTo>
                      <a:pt x="587" y="762"/>
                      <a:pt x="587" y="762"/>
                      <a:pt x="587" y="762"/>
                    </a:cubicBezTo>
                    <a:cubicBezTo>
                      <a:pt x="587" y="763"/>
                      <a:pt x="587" y="763"/>
                      <a:pt x="587" y="763"/>
                    </a:cubicBezTo>
                    <a:cubicBezTo>
                      <a:pt x="585" y="763"/>
                      <a:pt x="585" y="763"/>
                      <a:pt x="585" y="763"/>
                    </a:cubicBezTo>
                    <a:cubicBezTo>
                      <a:pt x="585" y="762"/>
                      <a:pt x="585" y="762"/>
                      <a:pt x="585" y="762"/>
                    </a:cubicBezTo>
                    <a:cubicBezTo>
                      <a:pt x="583" y="762"/>
                      <a:pt x="583" y="762"/>
                      <a:pt x="583" y="762"/>
                    </a:cubicBezTo>
                    <a:cubicBezTo>
                      <a:pt x="580" y="761"/>
                      <a:pt x="580" y="761"/>
                      <a:pt x="580" y="761"/>
                    </a:cubicBezTo>
                    <a:cubicBezTo>
                      <a:pt x="580" y="761"/>
                      <a:pt x="580" y="761"/>
                      <a:pt x="580" y="761"/>
                    </a:cubicBezTo>
                    <a:cubicBezTo>
                      <a:pt x="579" y="761"/>
                      <a:pt x="579" y="761"/>
                      <a:pt x="579" y="761"/>
                    </a:cubicBezTo>
                    <a:cubicBezTo>
                      <a:pt x="580" y="760"/>
                      <a:pt x="580" y="760"/>
                      <a:pt x="580" y="760"/>
                    </a:cubicBezTo>
                    <a:cubicBezTo>
                      <a:pt x="580" y="759"/>
                      <a:pt x="580" y="759"/>
                      <a:pt x="580" y="759"/>
                    </a:cubicBezTo>
                    <a:cubicBezTo>
                      <a:pt x="580" y="758"/>
                      <a:pt x="580" y="758"/>
                      <a:pt x="580" y="758"/>
                    </a:cubicBezTo>
                    <a:cubicBezTo>
                      <a:pt x="580" y="756"/>
                      <a:pt x="580" y="756"/>
                      <a:pt x="580" y="756"/>
                    </a:cubicBezTo>
                    <a:cubicBezTo>
                      <a:pt x="579" y="755"/>
                      <a:pt x="579" y="755"/>
                      <a:pt x="579" y="755"/>
                    </a:cubicBezTo>
                    <a:cubicBezTo>
                      <a:pt x="579" y="754"/>
                      <a:pt x="579" y="754"/>
                      <a:pt x="579" y="754"/>
                    </a:cubicBezTo>
                    <a:cubicBezTo>
                      <a:pt x="578" y="754"/>
                      <a:pt x="578" y="754"/>
                      <a:pt x="578" y="754"/>
                    </a:cubicBezTo>
                    <a:cubicBezTo>
                      <a:pt x="578" y="752"/>
                      <a:pt x="578" y="752"/>
                      <a:pt x="578" y="752"/>
                    </a:cubicBezTo>
                    <a:cubicBezTo>
                      <a:pt x="580" y="740"/>
                      <a:pt x="580" y="740"/>
                      <a:pt x="580" y="740"/>
                    </a:cubicBezTo>
                    <a:cubicBezTo>
                      <a:pt x="580" y="737"/>
                      <a:pt x="580" y="737"/>
                      <a:pt x="580" y="737"/>
                    </a:cubicBezTo>
                    <a:cubicBezTo>
                      <a:pt x="576" y="733"/>
                      <a:pt x="576" y="733"/>
                      <a:pt x="576" y="733"/>
                    </a:cubicBezTo>
                    <a:cubicBezTo>
                      <a:pt x="576" y="734"/>
                      <a:pt x="576" y="734"/>
                      <a:pt x="576" y="734"/>
                    </a:cubicBezTo>
                    <a:cubicBezTo>
                      <a:pt x="573" y="733"/>
                      <a:pt x="573" y="733"/>
                      <a:pt x="573" y="733"/>
                    </a:cubicBezTo>
                    <a:cubicBezTo>
                      <a:pt x="571" y="733"/>
                      <a:pt x="571" y="733"/>
                      <a:pt x="571" y="733"/>
                    </a:cubicBezTo>
                    <a:cubicBezTo>
                      <a:pt x="569" y="732"/>
                      <a:pt x="569" y="732"/>
                      <a:pt x="569" y="732"/>
                    </a:cubicBezTo>
                    <a:cubicBezTo>
                      <a:pt x="568" y="731"/>
                      <a:pt x="568" y="731"/>
                      <a:pt x="568" y="731"/>
                    </a:cubicBezTo>
                    <a:cubicBezTo>
                      <a:pt x="568" y="732"/>
                      <a:pt x="568" y="732"/>
                      <a:pt x="568" y="732"/>
                    </a:cubicBezTo>
                    <a:cubicBezTo>
                      <a:pt x="566" y="733"/>
                      <a:pt x="566" y="733"/>
                      <a:pt x="566" y="733"/>
                    </a:cubicBezTo>
                    <a:cubicBezTo>
                      <a:pt x="565" y="735"/>
                      <a:pt x="565" y="735"/>
                      <a:pt x="565" y="735"/>
                    </a:cubicBezTo>
                    <a:cubicBezTo>
                      <a:pt x="562" y="739"/>
                      <a:pt x="562" y="739"/>
                      <a:pt x="562" y="739"/>
                    </a:cubicBezTo>
                    <a:cubicBezTo>
                      <a:pt x="560" y="741"/>
                      <a:pt x="560" y="741"/>
                      <a:pt x="560" y="741"/>
                    </a:cubicBezTo>
                    <a:cubicBezTo>
                      <a:pt x="560" y="743"/>
                      <a:pt x="560" y="743"/>
                      <a:pt x="560" y="743"/>
                    </a:cubicBezTo>
                    <a:cubicBezTo>
                      <a:pt x="558" y="744"/>
                      <a:pt x="558" y="744"/>
                      <a:pt x="558" y="744"/>
                    </a:cubicBezTo>
                    <a:cubicBezTo>
                      <a:pt x="558" y="746"/>
                      <a:pt x="558" y="746"/>
                      <a:pt x="558" y="746"/>
                    </a:cubicBezTo>
                    <a:cubicBezTo>
                      <a:pt x="557" y="748"/>
                      <a:pt x="557" y="748"/>
                      <a:pt x="557" y="748"/>
                    </a:cubicBezTo>
                    <a:cubicBezTo>
                      <a:pt x="554" y="751"/>
                      <a:pt x="554" y="751"/>
                      <a:pt x="554" y="751"/>
                    </a:cubicBezTo>
                    <a:cubicBezTo>
                      <a:pt x="553" y="752"/>
                      <a:pt x="553" y="752"/>
                      <a:pt x="553" y="752"/>
                    </a:cubicBezTo>
                    <a:cubicBezTo>
                      <a:pt x="550" y="755"/>
                      <a:pt x="550" y="755"/>
                      <a:pt x="550" y="755"/>
                    </a:cubicBezTo>
                    <a:cubicBezTo>
                      <a:pt x="549" y="757"/>
                      <a:pt x="549" y="757"/>
                      <a:pt x="549" y="757"/>
                    </a:cubicBezTo>
                    <a:cubicBezTo>
                      <a:pt x="548" y="758"/>
                      <a:pt x="548" y="758"/>
                      <a:pt x="548" y="758"/>
                    </a:cubicBezTo>
                    <a:cubicBezTo>
                      <a:pt x="547" y="757"/>
                      <a:pt x="547" y="757"/>
                      <a:pt x="547" y="757"/>
                    </a:cubicBezTo>
                    <a:cubicBezTo>
                      <a:pt x="545" y="757"/>
                      <a:pt x="545" y="757"/>
                      <a:pt x="545" y="757"/>
                    </a:cubicBezTo>
                    <a:cubicBezTo>
                      <a:pt x="544" y="758"/>
                      <a:pt x="544" y="758"/>
                      <a:pt x="544" y="758"/>
                    </a:cubicBezTo>
                    <a:cubicBezTo>
                      <a:pt x="544" y="758"/>
                      <a:pt x="544" y="758"/>
                      <a:pt x="544" y="758"/>
                    </a:cubicBezTo>
                    <a:cubicBezTo>
                      <a:pt x="541" y="760"/>
                      <a:pt x="541" y="760"/>
                      <a:pt x="541" y="760"/>
                    </a:cubicBezTo>
                    <a:cubicBezTo>
                      <a:pt x="513" y="760"/>
                      <a:pt x="513" y="760"/>
                      <a:pt x="513" y="760"/>
                    </a:cubicBezTo>
                    <a:cubicBezTo>
                      <a:pt x="510" y="760"/>
                      <a:pt x="510" y="760"/>
                      <a:pt x="510" y="760"/>
                    </a:cubicBezTo>
                    <a:cubicBezTo>
                      <a:pt x="508" y="762"/>
                      <a:pt x="508" y="762"/>
                      <a:pt x="508" y="762"/>
                    </a:cubicBezTo>
                    <a:cubicBezTo>
                      <a:pt x="506" y="763"/>
                      <a:pt x="506" y="763"/>
                      <a:pt x="506" y="763"/>
                    </a:cubicBezTo>
                    <a:cubicBezTo>
                      <a:pt x="504" y="765"/>
                      <a:pt x="504" y="765"/>
                      <a:pt x="504" y="765"/>
                    </a:cubicBezTo>
                    <a:cubicBezTo>
                      <a:pt x="500" y="769"/>
                      <a:pt x="500" y="769"/>
                      <a:pt x="500" y="769"/>
                    </a:cubicBezTo>
                    <a:cubicBezTo>
                      <a:pt x="497" y="769"/>
                      <a:pt x="497" y="769"/>
                      <a:pt x="497" y="769"/>
                    </a:cubicBezTo>
                    <a:cubicBezTo>
                      <a:pt x="495" y="771"/>
                      <a:pt x="495" y="771"/>
                      <a:pt x="495" y="771"/>
                    </a:cubicBezTo>
                    <a:cubicBezTo>
                      <a:pt x="487" y="777"/>
                      <a:pt x="487" y="777"/>
                      <a:pt x="487" y="777"/>
                    </a:cubicBezTo>
                    <a:cubicBezTo>
                      <a:pt x="469" y="782"/>
                      <a:pt x="469" y="782"/>
                      <a:pt x="469" y="782"/>
                    </a:cubicBezTo>
                    <a:cubicBezTo>
                      <a:pt x="468" y="787"/>
                      <a:pt x="468" y="787"/>
                      <a:pt x="468" y="787"/>
                    </a:cubicBezTo>
                    <a:cubicBezTo>
                      <a:pt x="464" y="788"/>
                      <a:pt x="464" y="788"/>
                      <a:pt x="464" y="788"/>
                    </a:cubicBezTo>
                    <a:cubicBezTo>
                      <a:pt x="430" y="798"/>
                      <a:pt x="430" y="798"/>
                      <a:pt x="430" y="798"/>
                    </a:cubicBezTo>
                    <a:cubicBezTo>
                      <a:pt x="429" y="795"/>
                      <a:pt x="429" y="795"/>
                      <a:pt x="429" y="795"/>
                    </a:cubicBezTo>
                    <a:cubicBezTo>
                      <a:pt x="431" y="792"/>
                      <a:pt x="431" y="792"/>
                      <a:pt x="431" y="792"/>
                    </a:cubicBezTo>
                    <a:cubicBezTo>
                      <a:pt x="434" y="790"/>
                      <a:pt x="434" y="790"/>
                      <a:pt x="434" y="790"/>
                    </a:cubicBezTo>
                    <a:cubicBezTo>
                      <a:pt x="436" y="788"/>
                      <a:pt x="436" y="788"/>
                      <a:pt x="436" y="788"/>
                    </a:cubicBezTo>
                    <a:cubicBezTo>
                      <a:pt x="437" y="786"/>
                      <a:pt x="437" y="786"/>
                      <a:pt x="437" y="786"/>
                    </a:cubicBezTo>
                    <a:cubicBezTo>
                      <a:pt x="438" y="784"/>
                      <a:pt x="438" y="784"/>
                      <a:pt x="438" y="784"/>
                    </a:cubicBezTo>
                    <a:cubicBezTo>
                      <a:pt x="439" y="770"/>
                      <a:pt x="439" y="770"/>
                      <a:pt x="439" y="770"/>
                    </a:cubicBezTo>
                    <a:cubicBezTo>
                      <a:pt x="432" y="740"/>
                      <a:pt x="432" y="740"/>
                      <a:pt x="432" y="740"/>
                    </a:cubicBezTo>
                    <a:cubicBezTo>
                      <a:pt x="427" y="735"/>
                      <a:pt x="427" y="735"/>
                      <a:pt x="427" y="735"/>
                    </a:cubicBezTo>
                    <a:cubicBezTo>
                      <a:pt x="424" y="732"/>
                      <a:pt x="424" y="732"/>
                      <a:pt x="424" y="732"/>
                    </a:cubicBezTo>
                    <a:cubicBezTo>
                      <a:pt x="385" y="714"/>
                      <a:pt x="385" y="714"/>
                      <a:pt x="385" y="714"/>
                    </a:cubicBezTo>
                    <a:cubicBezTo>
                      <a:pt x="384" y="712"/>
                      <a:pt x="384" y="712"/>
                      <a:pt x="384" y="712"/>
                    </a:cubicBezTo>
                    <a:cubicBezTo>
                      <a:pt x="382" y="712"/>
                      <a:pt x="382" y="712"/>
                      <a:pt x="382" y="712"/>
                    </a:cubicBezTo>
                    <a:cubicBezTo>
                      <a:pt x="381" y="711"/>
                      <a:pt x="381" y="711"/>
                      <a:pt x="381" y="711"/>
                    </a:cubicBezTo>
                    <a:cubicBezTo>
                      <a:pt x="376" y="711"/>
                      <a:pt x="376" y="711"/>
                      <a:pt x="376" y="711"/>
                    </a:cubicBezTo>
                    <a:cubicBezTo>
                      <a:pt x="375" y="709"/>
                      <a:pt x="375" y="709"/>
                      <a:pt x="375" y="709"/>
                    </a:cubicBezTo>
                    <a:cubicBezTo>
                      <a:pt x="374" y="708"/>
                      <a:pt x="374" y="708"/>
                      <a:pt x="374" y="708"/>
                    </a:cubicBezTo>
                    <a:cubicBezTo>
                      <a:pt x="373" y="709"/>
                      <a:pt x="373" y="709"/>
                      <a:pt x="373" y="709"/>
                    </a:cubicBezTo>
                    <a:cubicBezTo>
                      <a:pt x="370" y="709"/>
                      <a:pt x="370" y="709"/>
                      <a:pt x="370" y="709"/>
                    </a:cubicBezTo>
                    <a:cubicBezTo>
                      <a:pt x="368" y="709"/>
                      <a:pt x="368" y="709"/>
                      <a:pt x="368" y="709"/>
                    </a:cubicBezTo>
                    <a:cubicBezTo>
                      <a:pt x="367" y="707"/>
                      <a:pt x="367" y="707"/>
                      <a:pt x="367" y="707"/>
                    </a:cubicBezTo>
                    <a:cubicBezTo>
                      <a:pt x="365" y="707"/>
                      <a:pt x="365" y="707"/>
                      <a:pt x="365" y="707"/>
                    </a:cubicBezTo>
                    <a:cubicBezTo>
                      <a:pt x="361" y="705"/>
                      <a:pt x="361" y="705"/>
                      <a:pt x="361" y="705"/>
                    </a:cubicBezTo>
                    <a:cubicBezTo>
                      <a:pt x="360" y="703"/>
                      <a:pt x="360" y="703"/>
                      <a:pt x="360" y="703"/>
                    </a:cubicBezTo>
                    <a:cubicBezTo>
                      <a:pt x="359" y="703"/>
                      <a:pt x="359" y="703"/>
                      <a:pt x="359" y="703"/>
                    </a:cubicBezTo>
                    <a:cubicBezTo>
                      <a:pt x="357" y="701"/>
                      <a:pt x="357" y="701"/>
                      <a:pt x="357" y="701"/>
                    </a:cubicBezTo>
                    <a:cubicBezTo>
                      <a:pt x="355" y="702"/>
                      <a:pt x="355" y="702"/>
                      <a:pt x="355" y="702"/>
                    </a:cubicBezTo>
                    <a:cubicBezTo>
                      <a:pt x="354" y="701"/>
                      <a:pt x="354" y="701"/>
                      <a:pt x="354" y="701"/>
                    </a:cubicBezTo>
                    <a:cubicBezTo>
                      <a:pt x="352" y="702"/>
                      <a:pt x="352" y="702"/>
                      <a:pt x="352" y="702"/>
                    </a:cubicBezTo>
                    <a:cubicBezTo>
                      <a:pt x="351" y="702"/>
                      <a:pt x="351" y="702"/>
                      <a:pt x="351" y="702"/>
                    </a:cubicBezTo>
                    <a:cubicBezTo>
                      <a:pt x="350" y="700"/>
                      <a:pt x="350" y="700"/>
                      <a:pt x="350" y="700"/>
                    </a:cubicBezTo>
                    <a:cubicBezTo>
                      <a:pt x="348" y="700"/>
                      <a:pt x="348" y="700"/>
                      <a:pt x="348" y="700"/>
                    </a:cubicBezTo>
                    <a:cubicBezTo>
                      <a:pt x="348" y="699"/>
                      <a:pt x="348" y="699"/>
                      <a:pt x="348" y="699"/>
                    </a:cubicBezTo>
                    <a:cubicBezTo>
                      <a:pt x="346" y="699"/>
                      <a:pt x="346" y="699"/>
                      <a:pt x="346" y="699"/>
                    </a:cubicBezTo>
                    <a:cubicBezTo>
                      <a:pt x="345" y="698"/>
                      <a:pt x="345" y="698"/>
                      <a:pt x="345" y="698"/>
                    </a:cubicBezTo>
                    <a:cubicBezTo>
                      <a:pt x="344" y="697"/>
                      <a:pt x="344" y="697"/>
                      <a:pt x="344" y="697"/>
                    </a:cubicBezTo>
                    <a:cubicBezTo>
                      <a:pt x="344" y="696"/>
                      <a:pt x="344" y="696"/>
                      <a:pt x="344" y="696"/>
                    </a:cubicBezTo>
                    <a:cubicBezTo>
                      <a:pt x="342" y="694"/>
                      <a:pt x="342" y="694"/>
                      <a:pt x="342" y="694"/>
                    </a:cubicBezTo>
                    <a:cubicBezTo>
                      <a:pt x="340" y="695"/>
                      <a:pt x="340" y="695"/>
                      <a:pt x="340" y="695"/>
                    </a:cubicBezTo>
                    <a:cubicBezTo>
                      <a:pt x="338" y="694"/>
                      <a:pt x="338" y="694"/>
                      <a:pt x="338" y="694"/>
                    </a:cubicBezTo>
                    <a:lnTo>
                      <a:pt x="86" y="669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2" name="Freeform 316">
                <a:extLst>
                  <a:ext uri="{FF2B5EF4-FFF2-40B4-BE49-F238E27FC236}">
                    <a16:creationId xmlns:a16="http://schemas.microsoft.com/office/drawing/2014/main" xmlns="" id="{9E2B6575-86F8-48E0-B3F0-4ADACF22DA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" y="258"/>
                <a:ext cx="851" cy="665"/>
              </a:xfrm>
              <a:custGeom>
                <a:avLst/>
                <a:gdLst>
                  <a:gd name="T0" fmla="*/ 456 w 521"/>
                  <a:gd name="T1" fmla="*/ 327 h 407"/>
                  <a:gd name="T2" fmla="*/ 512 w 521"/>
                  <a:gd name="T3" fmla="*/ 69 h 407"/>
                  <a:gd name="T4" fmla="*/ 479 w 521"/>
                  <a:gd name="T5" fmla="*/ 52 h 407"/>
                  <a:gd name="T6" fmla="*/ 456 w 521"/>
                  <a:gd name="T7" fmla="*/ 25 h 407"/>
                  <a:gd name="T8" fmla="*/ 432 w 521"/>
                  <a:gd name="T9" fmla="*/ 16 h 407"/>
                  <a:gd name="T10" fmla="*/ 408 w 521"/>
                  <a:gd name="T11" fmla="*/ 5 h 407"/>
                  <a:gd name="T12" fmla="*/ 366 w 521"/>
                  <a:gd name="T13" fmla="*/ 21 h 407"/>
                  <a:gd name="T14" fmla="*/ 318 w 521"/>
                  <a:gd name="T15" fmla="*/ 90 h 407"/>
                  <a:gd name="T16" fmla="*/ 311 w 521"/>
                  <a:gd name="T17" fmla="*/ 110 h 407"/>
                  <a:gd name="T18" fmla="*/ 295 w 521"/>
                  <a:gd name="T19" fmla="*/ 98 h 407"/>
                  <a:gd name="T20" fmla="*/ 262 w 521"/>
                  <a:gd name="T21" fmla="*/ 124 h 407"/>
                  <a:gd name="T22" fmla="*/ 277 w 521"/>
                  <a:gd name="T23" fmla="*/ 147 h 407"/>
                  <a:gd name="T24" fmla="*/ 284 w 521"/>
                  <a:gd name="T25" fmla="*/ 173 h 407"/>
                  <a:gd name="T26" fmla="*/ 228 w 521"/>
                  <a:gd name="T27" fmla="*/ 193 h 407"/>
                  <a:gd name="T28" fmla="*/ 228 w 521"/>
                  <a:gd name="T29" fmla="*/ 219 h 407"/>
                  <a:gd name="T30" fmla="*/ 220 w 521"/>
                  <a:gd name="T31" fmla="*/ 250 h 407"/>
                  <a:gd name="T32" fmla="*/ 227 w 521"/>
                  <a:gd name="T33" fmla="*/ 269 h 407"/>
                  <a:gd name="T34" fmla="*/ 245 w 521"/>
                  <a:gd name="T35" fmla="*/ 280 h 407"/>
                  <a:gd name="T36" fmla="*/ 241 w 521"/>
                  <a:gd name="T37" fmla="*/ 307 h 407"/>
                  <a:gd name="T38" fmla="*/ 196 w 521"/>
                  <a:gd name="T39" fmla="*/ 333 h 407"/>
                  <a:gd name="T40" fmla="*/ 185 w 521"/>
                  <a:gd name="T41" fmla="*/ 347 h 407"/>
                  <a:gd name="T42" fmla="*/ 213 w 521"/>
                  <a:gd name="T43" fmla="*/ 339 h 407"/>
                  <a:gd name="T44" fmla="*/ 241 w 521"/>
                  <a:gd name="T45" fmla="*/ 324 h 407"/>
                  <a:gd name="T46" fmla="*/ 277 w 521"/>
                  <a:gd name="T47" fmla="*/ 302 h 407"/>
                  <a:gd name="T48" fmla="*/ 302 w 521"/>
                  <a:gd name="T49" fmla="*/ 275 h 407"/>
                  <a:gd name="T50" fmla="*/ 348 w 521"/>
                  <a:gd name="T51" fmla="*/ 246 h 407"/>
                  <a:gd name="T52" fmla="*/ 313 w 521"/>
                  <a:gd name="T53" fmla="*/ 283 h 407"/>
                  <a:gd name="T54" fmla="*/ 337 w 521"/>
                  <a:gd name="T55" fmla="*/ 278 h 407"/>
                  <a:gd name="T56" fmla="*/ 359 w 521"/>
                  <a:gd name="T57" fmla="*/ 265 h 407"/>
                  <a:gd name="T58" fmla="*/ 369 w 521"/>
                  <a:gd name="T59" fmla="*/ 274 h 407"/>
                  <a:gd name="T60" fmla="*/ 402 w 521"/>
                  <a:gd name="T61" fmla="*/ 293 h 407"/>
                  <a:gd name="T62" fmla="*/ 425 w 521"/>
                  <a:gd name="T63" fmla="*/ 311 h 407"/>
                  <a:gd name="T64" fmla="*/ 435 w 521"/>
                  <a:gd name="T65" fmla="*/ 321 h 407"/>
                  <a:gd name="T66" fmla="*/ 449 w 521"/>
                  <a:gd name="T67" fmla="*/ 325 h 407"/>
                  <a:gd name="T68" fmla="*/ 451 w 521"/>
                  <a:gd name="T69" fmla="*/ 361 h 407"/>
                  <a:gd name="T70" fmla="*/ 461 w 521"/>
                  <a:gd name="T71" fmla="*/ 386 h 407"/>
                  <a:gd name="T72" fmla="*/ 441 w 521"/>
                  <a:gd name="T73" fmla="*/ 399 h 407"/>
                  <a:gd name="T74" fmla="*/ 436 w 521"/>
                  <a:gd name="T75" fmla="*/ 399 h 407"/>
                  <a:gd name="T76" fmla="*/ 441 w 521"/>
                  <a:gd name="T77" fmla="*/ 381 h 407"/>
                  <a:gd name="T78" fmla="*/ 443 w 521"/>
                  <a:gd name="T79" fmla="*/ 405 h 407"/>
                  <a:gd name="T80" fmla="*/ 452 w 521"/>
                  <a:gd name="T81" fmla="*/ 384 h 407"/>
                  <a:gd name="T82" fmla="*/ 449 w 521"/>
                  <a:gd name="T83" fmla="*/ 371 h 407"/>
                  <a:gd name="T84" fmla="*/ 439 w 521"/>
                  <a:gd name="T85" fmla="*/ 373 h 407"/>
                  <a:gd name="T86" fmla="*/ 435 w 521"/>
                  <a:gd name="T87" fmla="*/ 357 h 407"/>
                  <a:gd name="T88" fmla="*/ 446 w 521"/>
                  <a:gd name="T89" fmla="*/ 356 h 407"/>
                  <a:gd name="T90" fmla="*/ 430 w 521"/>
                  <a:gd name="T91" fmla="*/ 351 h 407"/>
                  <a:gd name="T92" fmla="*/ 241 w 521"/>
                  <a:gd name="T93" fmla="*/ 185 h 407"/>
                  <a:gd name="T94" fmla="*/ 378 w 521"/>
                  <a:gd name="T95" fmla="*/ 287 h 407"/>
                  <a:gd name="T96" fmla="*/ 349 w 521"/>
                  <a:gd name="T97" fmla="*/ 285 h 407"/>
                  <a:gd name="T98" fmla="*/ 197 w 521"/>
                  <a:gd name="T99" fmla="*/ 153 h 407"/>
                  <a:gd name="T100" fmla="*/ 200 w 521"/>
                  <a:gd name="T101" fmla="*/ 233 h 407"/>
                  <a:gd name="T102" fmla="*/ 292 w 521"/>
                  <a:gd name="T103" fmla="*/ 299 h 407"/>
                  <a:gd name="T104" fmla="*/ 278 w 521"/>
                  <a:gd name="T105" fmla="*/ 312 h 407"/>
                  <a:gd name="T106" fmla="*/ 283 w 521"/>
                  <a:gd name="T107" fmla="*/ 316 h 407"/>
                  <a:gd name="T108" fmla="*/ 264 w 521"/>
                  <a:gd name="T109" fmla="*/ 333 h 407"/>
                  <a:gd name="T110" fmla="*/ 203 w 521"/>
                  <a:gd name="T111" fmla="*/ 350 h 407"/>
                  <a:gd name="T112" fmla="*/ 6 w 521"/>
                  <a:gd name="T113" fmla="*/ 384 h 407"/>
                  <a:gd name="T114" fmla="*/ 48 w 521"/>
                  <a:gd name="T115" fmla="*/ 384 h 407"/>
                  <a:gd name="T116" fmla="*/ 91 w 521"/>
                  <a:gd name="T117" fmla="*/ 380 h 407"/>
                  <a:gd name="T118" fmla="*/ 130 w 521"/>
                  <a:gd name="T119" fmla="*/ 367 h 407"/>
                  <a:gd name="T120" fmla="*/ 149 w 521"/>
                  <a:gd name="T121" fmla="*/ 363 h 407"/>
                  <a:gd name="T122" fmla="*/ 157 w 521"/>
                  <a:gd name="T123" fmla="*/ 350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1" h="407">
                    <a:moveTo>
                      <a:pt x="469" y="389"/>
                    </a:moveTo>
                    <a:cubicBezTo>
                      <a:pt x="469" y="388"/>
                      <a:pt x="469" y="388"/>
                      <a:pt x="469" y="388"/>
                    </a:cubicBezTo>
                    <a:cubicBezTo>
                      <a:pt x="469" y="387"/>
                      <a:pt x="469" y="387"/>
                      <a:pt x="469" y="387"/>
                    </a:cubicBezTo>
                    <a:cubicBezTo>
                      <a:pt x="470" y="386"/>
                      <a:pt x="470" y="386"/>
                      <a:pt x="470" y="386"/>
                    </a:cubicBezTo>
                    <a:cubicBezTo>
                      <a:pt x="470" y="385"/>
                      <a:pt x="470" y="385"/>
                      <a:pt x="470" y="385"/>
                    </a:cubicBezTo>
                    <a:cubicBezTo>
                      <a:pt x="470" y="385"/>
                      <a:pt x="470" y="385"/>
                      <a:pt x="470" y="385"/>
                    </a:cubicBezTo>
                    <a:cubicBezTo>
                      <a:pt x="470" y="384"/>
                      <a:pt x="470" y="384"/>
                      <a:pt x="470" y="384"/>
                    </a:cubicBezTo>
                    <a:cubicBezTo>
                      <a:pt x="469" y="383"/>
                      <a:pt x="469" y="383"/>
                      <a:pt x="469" y="383"/>
                    </a:cubicBezTo>
                    <a:cubicBezTo>
                      <a:pt x="469" y="381"/>
                      <a:pt x="469" y="381"/>
                      <a:pt x="469" y="381"/>
                    </a:cubicBezTo>
                    <a:cubicBezTo>
                      <a:pt x="468" y="379"/>
                      <a:pt x="468" y="379"/>
                      <a:pt x="468" y="379"/>
                    </a:cubicBezTo>
                    <a:cubicBezTo>
                      <a:pt x="466" y="378"/>
                      <a:pt x="466" y="378"/>
                      <a:pt x="466" y="378"/>
                    </a:cubicBezTo>
                    <a:cubicBezTo>
                      <a:pt x="464" y="377"/>
                      <a:pt x="464" y="377"/>
                      <a:pt x="464" y="377"/>
                    </a:cubicBezTo>
                    <a:cubicBezTo>
                      <a:pt x="464" y="375"/>
                      <a:pt x="464" y="375"/>
                      <a:pt x="464" y="375"/>
                    </a:cubicBezTo>
                    <a:cubicBezTo>
                      <a:pt x="462" y="373"/>
                      <a:pt x="462" y="373"/>
                      <a:pt x="462" y="373"/>
                    </a:cubicBezTo>
                    <a:cubicBezTo>
                      <a:pt x="461" y="372"/>
                      <a:pt x="461" y="372"/>
                      <a:pt x="461" y="372"/>
                    </a:cubicBezTo>
                    <a:cubicBezTo>
                      <a:pt x="459" y="372"/>
                      <a:pt x="459" y="372"/>
                      <a:pt x="459" y="372"/>
                    </a:cubicBezTo>
                    <a:cubicBezTo>
                      <a:pt x="459" y="372"/>
                      <a:pt x="459" y="372"/>
                      <a:pt x="459" y="372"/>
                    </a:cubicBezTo>
                    <a:cubicBezTo>
                      <a:pt x="460" y="371"/>
                      <a:pt x="460" y="371"/>
                      <a:pt x="460" y="371"/>
                    </a:cubicBezTo>
                    <a:cubicBezTo>
                      <a:pt x="459" y="369"/>
                      <a:pt x="459" y="369"/>
                      <a:pt x="459" y="369"/>
                    </a:cubicBezTo>
                    <a:cubicBezTo>
                      <a:pt x="459" y="368"/>
                      <a:pt x="459" y="368"/>
                      <a:pt x="459" y="368"/>
                    </a:cubicBezTo>
                    <a:cubicBezTo>
                      <a:pt x="458" y="367"/>
                      <a:pt x="458" y="367"/>
                      <a:pt x="458" y="367"/>
                    </a:cubicBezTo>
                    <a:cubicBezTo>
                      <a:pt x="459" y="366"/>
                      <a:pt x="459" y="366"/>
                      <a:pt x="459" y="366"/>
                    </a:cubicBezTo>
                    <a:cubicBezTo>
                      <a:pt x="460" y="366"/>
                      <a:pt x="460" y="366"/>
                      <a:pt x="460" y="366"/>
                    </a:cubicBezTo>
                    <a:cubicBezTo>
                      <a:pt x="460" y="365"/>
                      <a:pt x="460" y="365"/>
                      <a:pt x="460" y="365"/>
                    </a:cubicBezTo>
                    <a:cubicBezTo>
                      <a:pt x="458" y="364"/>
                      <a:pt x="458" y="364"/>
                      <a:pt x="458" y="364"/>
                    </a:cubicBezTo>
                    <a:cubicBezTo>
                      <a:pt x="457" y="364"/>
                      <a:pt x="457" y="364"/>
                      <a:pt x="457" y="364"/>
                    </a:cubicBezTo>
                    <a:cubicBezTo>
                      <a:pt x="457" y="363"/>
                      <a:pt x="457" y="363"/>
                      <a:pt x="457" y="363"/>
                    </a:cubicBezTo>
                    <a:cubicBezTo>
                      <a:pt x="459" y="362"/>
                      <a:pt x="459" y="362"/>
                      <a:pt x="459" y="362"/>
                    </a:cubicBezTo>
                    <a:cubicBezTo>
                      <a:pt x="459" y="355"/>
                      <a:pt x="459" y="355"/>
                      <a:pt x="459" y="355"/>
                    </a:cubicBezTo>
                    <a:cubicBezTo>
                      <a:pt x="459" y="348"/>
                      <a:pt x="459" y="348"/>
                      <a:pt x="459" y="348"/>
                    </a:cubicBezTo>
                    <a:cubicBezTo>
                      <a:pt x="459" y="342"/>
                      <a:pt x="459" y="342"/>
                      <a:pt x="459" y="342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39"/>
                      <a:pt x="459" y="339"/>
                      <a:pt x="459" y="339"/>
                    </a:cubicBezTo>
                    <a:cubicBezTo>
                      <a:pt x="460" y="337"/>
                      <a:pt x="460" y="337"/>
                      <a:pt x="460" y="337"/>
                    </a:cubicBezTo>
                    <a:cubicBezTo>
                      <a:pt x="459" y="335"/>
                      <a:pt x="459" y="335"/>
                      <a:pt x="459" y="335"/>
                    </a:cubicBezTo>
                    <a:cubicBezTo>
                      <a:pt x="458" y="333"/>
                      <a:pt x="458" y="333"/>
                      <a:pt x="458" y="333"/>
                    </a:cubicBezTo>
                    <a:cubicBezTo>
                      <a:pt x="458" y="330"/>
                      <a:pt x="458" y="330"/>
                      <a:pt x="458" y="330"/>
                    </a:cubicBezTo>
                    <a:cubicBezTo>
                      <a:pt x="456" y="327"/>
                      <a:pt x="456" y="327"/>
                      <a:pt x="456" y="327"/>
                    </a:cubicBezTo>
                    <a:cubicBezTo>
                      <a:pt x="455" y="324"/>
                      <a:pt x="455" y="324"/>
                      <a:pt x="455" y="324"/>
                    </a:cubicBezTo>
                    <a:cubicBezTo>
                      <a:pt x="456" y="322"/>
                      <a:pt x="456" y="322"/>
                      <a:pt x="456" y="322"/>
                    </a:cubicBezTo>
                    <a:cubicBezTo>
                      <a:pt x="454" y="316"/>
                      <a:pt x="454" y="316"/>
                      <a:pt x="454" y="316"/>
                    </a:cubicBezTo>
                    <a:cubicBezTo>
                      <a:pt x="454" y="315"/>
                      <a:pt x="454" y="315"/>
                      <a:pt x="454" y="315"/>
                    </a:cubicBezTo>
                    <a:cubicBezTo>
                      <a:pt x="456" y="312"/>
                      <a:pt x="456" y="312"/>
                      <a:pt x="456" y="312"/>
                    </a:cubicBezTo>
                    <a:cubicBezTo>
                      <a:pt x="455" y="311"/>
                      <a:pt x="455" y="311"/>
                      <a:pt x="455" y="311"/>
                    </a:cubicBezTo>
                    <a:cubicBezTo>
                      <a:pt x="455" y="309"/>
                      <a:pt x="455" y="309"/>
                      <a:pt x="455" y="309"/>
                    </a:cubicBezTo>
                    <a:cubicBezTo>
                      <a:pt x="453" y="307"/>
                      <a:pt x="453" y="307"/>
                      <a:pt x="453" y="307"/>
                    </a:cubicBezTo>
                    <a:cubicBezTo>
                      <a:pt x="450" y="308"/>
                      <a:pt x="450" y="308"/>
                      <a:pt x="450" y="308"/>
                    </a:cubicBezTo>
                    <a:cubicBezTo>
                      <a:pt x="447" y="309"/>
                      <a:pt x="447" y="309"/>
                      <a:pt x="447" y="309"/>
                    </a:cubicBezTo>
                    <a:cubicBezTo>
                      <a:pt x="446" y="309"/>
                      <a:pt x="446" y="309"/>
                      <a:pt x="446" y="309"/>
                    </a:cubicBezTo>
                    <a:cubicBezTo>
                      <a:pt x="442" y="310"/>
                      <a:pt x="442" y="310"/>
                      <a:pt x="442" y="310"/>
                    </a:cubicBezTo>
                    <a:cubicBezTo>
                      <a:pt x="440" y="312"/>
                      <a:pt x="440" y="312"/>
                      <a:pt x="440" y="312"/>
                    </a:cubicBezTo>
                    <a:cubicBezTo>
                      <a:pt x="438" y="317"/>
                      <a:pt x="438" y="317"/>
                      <a:pt x="438" y="317"/>
                    </a:cubicBezTo>
                    <a:cubicBezTo>
                      <a:pt x="435" y="318"/>
                      <a:pt x="435" y="318"/>
                      <a:pt x="435" y="318"/>
                    </a:cubicBezTo>
                    <a:cubicBezTo>
                      <a:pt x="432" y="318"/>
                      <a:pt x="432" y="318"/>
                      <a:pt x="432" y="318"/>
                    </a:cubicBezTo>
                    <a:cubicBezTo>
                      <a:pt x="428" y="319"/>
                      <a:pt x="428" y="319"/>
                      <a:pt x="428" y="319"/>
                    </a:cubicBezTo>
                    <a:cubicBezTo>
                      <a:pt x="428" y="319"/>
                      <a:pt x="428" y="319"/>
                      <a:pt x="428" y="319"/>
                    </a:cubicBezTo>
                    <a:cubicBezTo>
                      <a:pt x="428" y="318"/>
                      <a:pt x="428" y="318"/>
                      <a:pt x="428" y="318"/>
                    </a:cubicBezTo>
                    <a:cubicBezTo>
                      <a:pt x="429" y="315"/>
                      <a:pt x="429" y="315"/>
                      <a:pt x="429" y="315"/>
                    </a:cubicBezTo>
                    <a:cubicBezTo>
                      <a:pt x="428" y="312"/>
                      <a:pt x="428" y="312"/>
                      <a:pt x="428" y="312"/>
                    </a:cubicBezTo>
                    <a:cubicBezTo>
                      <a:pt x="426" y="301"/>
                      <a:pt x="426" y="301"/>
                      <a:pt x="426" y="301"/>
                    </a:cubicBezTo>
                    <a:cubicBezTo>
                      <a:pt x="424" y="296"/>
                      <a:pt x="424" y="296"/>
                      <a:pt x="424" y="296"/>
                    </a:cubicBezTo>
                    <a:cubicBezTo>
                      <a:pt x="423" y="293"/>
                      <a:pt x="423" y="293"/>
                      <a:pt x="423" y="293"/>
                    </a:cubicBezTo>
                    <a:cubicBezTo>
                      <a:pt x="425" y="289"/>
                      <a:pt x="425" y="289"/>
                      <a:pt x="425" y="289"/>
                    </a:cubicBezTo>
                    <a:cubicBezTo>
                      <a:pt x="420" y="288"/>
                      <a:pt x="420" y="288"/>
                      <a:pt x="420" y="288"/>
                    </a:cubicBezTo>
                    <a:cubicBezTo>
                      <a:pt x="417" y="290"/>
                      <a:pt x="417" y="290"/>
                      <a:pt x="417" y="290"/>
                    </a:cubicBezTo>
                    <a:cubicBezTo>
                      <a:pt x="415" y="289"/>
                      <a:pt x="415" y="289"/>
                      <a:pt x="415" y="289"/>
                    </a:cubicBezTo>
                    <a:cubicBezTo>
                      <a:pt x="408" y="289"/>
                      <a:pt x="408" y="289"/>
                      <a:pt x="408" y="289"/>
                    </a:cubicBezTo>
                    <a:cubicBezTo>
                      <a:pt x="521" y="80"/>
                      <a:pt x="521" y="80"/>
                      <a:pt x="521" y="80"/>
                    </a:cubicBezTo>
                    <a:cubicBezTo>
                      <a:pt x="520" y="79"/>
                      <a:pt x="520" y="79"/>
                      <a:pt x="520" y="79"/>
                    </a:cubicBezTo>
                    <a:cubicBezTo>
                      <a:pt x="518" y="79"/>
                      <a:pt x="518" y="79"/>
                      <a:pt x="518" y="79"/>
                    </a:cubicBezTo>
                    <a:cubicBezTo>
                      <a:pt x="517" y="79"/>
                      <a:pt x="517" y="79"/>
                      <a:pt x="517" y="79"/>
                    </a:cubicBezTo>
                    <a:cubicBezTo>
                      <a:pt x="516" y="78"/>
                      <a:pt x="516" y="78"/>
                      <a:pt x="516" y="78"/>
                    </a:cubicBezTo>
                    <a:cubicBezTo>
                      <a:pt x="515" y="74"/>
                      <a:pt x="515" y="74"/>
                      <a:pt x="515" y="74"/>
                    </a:cubicBezTo>
                    <a:cubicBezTo>
                      <a:pt x="514" y="72"/>
                      <a:pt x="514" y="72"/>
                      <a:pt x="514" y="72"/>
                    </a:cubicBezTo>
                    <a:cubicBezTo>
                      <a:pt x="513" y="71"/>
                      <a:pt x="513" y="71"/>
                      <a:pt x="513" y="71"/>
                    </a:cubicBezTo>
                    <a:cubicBezTo>
                      <a:pt x="512" y="69"/>
                      <a:pt x="512" y="69"/>
                      <a:pt x="512" y="69"/>
                    </a:cubicBezTo>
                    <a:cubicBezTo>
                      <a:pt x="511" y="66"/>
                      <a:pt x="511" y="66"/>
                      <a:pt x="511" y="66"/>
                    </a:cubicBezTo>
                    <a:cubicBezTo>
                      <a:pt x="510" y="65"/>
                      <a:pt x="510" y="65"/>
                      <a:pt x="510" y="65"/>
                    </a:cubicBezTo>
                    <a:cubicBezTo>
                      <a:pt x="507" y="65"/>
                      <a:pt x="507" y="65"/>
                      <a:pt x="507" y="65"/>
                    </a:cubicBezTo>
                    <a:cubicBezTo>
                      <a:pt x="506" y="66"/>
                      <a:pt x="506" y="66"/>
                      <a:pt x="506" y="66"/>
                    </a:cubicBezTo>
                    <a:cubicBezTo>
                      <a:pt x="503" y="65"/>
                      <a:pt x="503" y="65"/>
                      <a:pt x="503" y="65"/>
                    </a:cubicBezTo>
                    <a:cubicBezTo>
                      <a:pt x="501" y="66"/>
                      <a:pt x="501" y="66"/>
                      <a:pt x="501" y="66"/>
                    </a:cubicBezTo>
                    <a:cubicBezTo>
                      <a:pt x="500" y="65"/>
                      <a:pt x="500" y="65"/>
                      <a:pt x="500" y="65"/>
                    </a:cubicBezTo>
                    <a:cubicBezTo>
                      <a:pt x="499" y="65"/>
                      <a:pt x="499" y="65"/>
                      <a:pt x="499" y="65"/>
                    </a:cubicBezTo>
                    <a:cubicBezTo>
                      <a:pt x="498" y="65"/>
                      <a:pt x="498" y="65"/>
                      <a:pt x="498" y="65"/>
                    </a:cubicBezTo>
                    <a:cubicBezTo>
                      <a:pt x="498" y="65"/>
                      <a:pt x="498" y="65"/>
                      <a:pt x="498" y="65"/>
                    </a:cubicBezTo>
                    <a:cubicBezTo>
                      <a:pt x="496" y="65"/>
                      <a:pt x="496" y="65"/>
                      <a:pt x="496" y="65"/>
                    </a:cubicBezTo>
                    <a:cubicBezTo>
                      <a:pt x="496" y="65"/>
                      <a:pt x="496" y="65"/>
                      <a:pt x="496" y="65"/>
                    </a:cubicBezTo>
                    <a:cubicBezTo>
                      <a:pt x="497" y="65"/>
                      <a:pt x="497" y="65"/>
                      <a:pt x="497" y="65"/>
                    </a:cubicBezTo>
                    <a:cubicBezTo>
                      <a:pt x="497" y="64"/>
                      <a:pt x="497" y="64"/>
                      <a:pt x="497" y="64"/>
                    </a:cubicBezTo>
                    <a:cubicBezTo>
                      <a:pt x="496" y="62"/>
                      <a:pt x="496" y="62"/>
                      <a:pt x="496" y="62"/>
                    </a:cubicBezTo>
                    <a:cubicBezTo>
                      <a:pt x="495" y="63"/>
                      <a:pt x="495" y="63"/>
                      <a:pt x="495" y="63"/>
                    </a:cubicBezTo>
                    <a:cubicBezTo>
                      <a:pt x="493" y="63"/>
                      <a:pt x="493" y="63"/>
                      <a:pt x="493" y="63"/>
                    </a:cubicBezTo>
                    <a:cubicBezTo>
                      <a:pt x="494" y="62"/>
                      <a:pt x="494" y="62"/>
                      <a:pt x="494" y="62"/>
                    </a:cubicBezTo>
                    <a:cubicBezTo>
                      <a:pt x="494" y="61"/>
                      <a:pt x="494" y="61"/>
                      <a:pt x="494" y="61"/>
                    </a:cubicBezTo>
                    <a:cubicBezTo>
                      <a:pt x="494" y="61"/>
                      <a:pt x="494" y="61"/>
                      <a:pt x="494" y="61"/>
                    </a:cubicBezTo>
                    <a:cubicBezTo>
                      <a:pt x="493" y="61"/>
                      <a:pt x="493" y="61"/>
                      <a:pt x="493" y="61"/>
                    </a:cubicBezTo>
                    <a:cubicBezTo>
                      <a:pt x="491" y="60"/>
                      <a:pt x="491" y="60"/>
                      <a:pt x="491" y="60"/>
                    </a:cubicBezTo>
                    <a:cubicBezTo>
                      <a:pt x="491" y="59"/>
                      <a:pt x="491" y="59"/>
                      <a:pt x="491" y="59"/>
                    </a:cubicBezTo>
                    <a:cubicBezTo>
                      <a:pt x="490" y="58"/>
                      <a:pt x="490" y="58"/>
                      <a:pt x="490" y="58"/>
                    </a:cubicBezTo>
                    <a:cubicBezTo>
                      <a:pt x="487" y="56"/>
                      <a:pt x="487" y="56"/>
                      <a:pt x="487" y="56"/>
                    </a:cubicBezTo>
                    <a:cubicBezTo>
                      <a:pt x="486" y="56"/>
                      <a:pt x="486" y="56"/>
                      <a:pt x="486" y="56"/>
                    </a:cubicBezTo>
                    <a:cubicBezTo>
                      <a:pt x="486" y="55"/>
                      <a:pt x="486" y="55"/>
                      <a:pt x="486" y="55"/>
                    </a:cubicBezTo>
                    <a:cubicBezTo>
                      <a:pt x="485" y="55"/>
                      <a:pt x="485" y="55"/>
                      <a:pt x="485" y="55"/>
                    </a:cubicBezTo>
                    <a:cubicBezTo>
                      <a:pt x="484" y="56"/>
                      <a:pt x="484" y="56"/>
                      <a:pt x="484" y="56"/>
                    </a:cubicBezTo>
                    <a:cubicBezTo>
                      <a:pt x="484" y="56"/>
                      <a:pt x="484" y="56"/>
                      <a:pt x="484" y="56"/>
                    </a:cubicBezTo>
                    <a:cubicBezTo>
                      <a:pt x="484" y="55"/>
                      <a:pt x="484" y="55"/>
                      <a:pt x="484" y="55"/>
                    </a:cubicBezTo>
                    <a:cubicBezTo>
                      <a:pt x="482" y="54"/>
                      <a:pt x="482" y="54"/>
                      <a:pt x="482" y="54"/>
                    </a:cubicBezTo>
                    <a:cubicBezTo>
                      <a:pt x="481" y="56"/>
                      <a:pt x="481" y="56"/>
                      <a:pt x="481" y="56"/>
                    </a:cubicBezTo>
                    <a:cubicBezTo>
                      <a:pt x="480" y="55"/>
                      <a:pt x="480" y="55"/>
                      <a:pt x="480" y="55"/>
                    </a:cubicBezTo>
                    <a:cubicBezTo>
                      <a:pt x="480" y="54"/>
                      <a:pt x="480" y="54"/>
                      <a:pt x="480" y="54"/>
                    </a:cubicBezTo>
                    <a:cubicBezTo>
                      <a:pt x="481" y="53"/>
                      <a:pt x="481" y="53"/>
                      <a:pt x="481" y="53"/>
                    </a:cubicBezTo>
                    <a:cubicBezTo>
                      <a:pt x="481" y="53"/>
                      <a:pt x="481" y="53"/>
                      <a:pt x="481" y="53"/>
                    </a:cubicBezTo>
                    <a:cubicBezTo>
                      <a:pt x="479" y="52"/>
                      <a:pt x="479" y="52"/>
                      <a:pt x="479" y="52"/>
                    </a:cubicBezTo>
                    <a:cubicBezTo>
                      <a:pt x="478" y="52"/>
                      <a:pt x="478" y="52"/>
                      <a:pt x="478" y="52"/>
                    </a:cubicBezTo>
                    <a:cubicBezTo>
                      <a:pt x="478" y="51"/>
                      <a:pt x="478" y="51"/>
                      <a:pt x="478" y="51"/>
                    </a:cubicBezTo>
                    <a:cubicBezTo>
                      <a:pt x="478" y="51"/>
                      <a:pt x="478" y="51"/>
                      <a:pt x="478" y="51"/>
                    </a:cubicBezTo>
                    <a:cubicBezTo>
                      <a:pt x="476" y="50"/>
                      <a:pt x="476" y="50"/>
                      <a:pt x="476" y="50"/>
                    </a:cubicBezTo>
                    <a:cubicBezTo>
                      <a:pt x="475" y="48"/>
                      <a:pt x="475" y="48"/>
                      <a:pt x="475" y="48"/>
                    </a:cubicBezTo>
                    <a:cubicBezTo>
                      <a:pt x="475" y="47"/>
                      <a:pt x="475" y="47"/>
                      <a:pt x="475" y="47"/>
                    </a:cubicBezTo>
                    <a:cubicBezTo>
                      <a:pt x="475" y="47"/>
                      <a:pt x="475" y="47"/>
                      <a:pt x="475" y="47"/>
                    </a:cubicBezTo>
                    <a:cubicBezTo>
                      <a:pt x="473" y="46"/>
                      <a:pt x="473" y="46"/>
                      <a:pt x="473" y="46"/>
                    </a:cubicBezTo>
                    <a:cubicBezTo>
                      <a:pt x="473" y="47"/>
                      <a:pt x="473" y="47"/>
                      <a:pt x="473" y="47"/>
                    </a:cubicBezTo>
                    <a:cubicBezTo>
                      <a:pt x="469" y="51"/>
                      <a:pt x="469" y="51"/>
                      <a:pt x="469" y="51"/>
                    </a:cubicBezTo>
                    <a:cubicBezTo>
                      <a:pt x="465" y="53"/>
                      <a:pt x="465" y="53"/>
                      <a:pt x="465" y="53"/>
                    </a:cubicBezTo>
                    <a:cubicBezTo>
                      <a:pt x="468" y="50"/>
                      <a:pt x="468" y="50"/>
                      <a:pt x="468" y="50"/>
                    </a:cubicBezTo>
                    <a:cubicBezTo>
                      <a:pt x="471" y="47"/>
                      <a:pt x="471" y="47"/>
                      <a:pt x="471" y="47"/>
                    </a:cubicBezTo>
                    <a:cubicBezTo>
                      <a:pt x="473" y="45"/>
                      <a:pt x="473" y="45"/>
                      <a:pt x="473" y="45"/>
                    </a:cubicBezTo>
                    <a:cubicBezTo>
                      <a:pt x="473" y="42"/>
                      <a:pt x="473" y="42"/>
                      <a:pt x="473" y="42"/>
                    </a:cubicBezTo>
                    <a:cubicBezTo>
                      <a:pt x="472" y="41"/>
                      <a:pt x="472" y="41"/>
                      <a:pt x="472" y="41"/>
                    </a:cubicBezTo>
                    <a:cubicBezTo>
                      <a:pt x="469" y="39"/>
                      <a:pt x="469" y="39"/>
                      <a:pt x="469" y="39"/>
                    </a:cubicBezTo>
                    <a:cubicBezTo>
                      <a:pt x="467" y="39"/>
                      <a:pt x="467" y="39"/>
                      <a:pt x="467" y="39"/>
                    </a:cubicBezTo>
                    <a:cubicBezTo>
                      <a:pt x="465" y="40"/>
                      <a:pt x="465" y="40"/>
                      <a:pt x="465" y="40"/>
                    </a:cubicBezTo>
                    <a:cubicBezTo>
                      <a:pt x="463" y="40"/>
                      <a:pt x="463" y="40"/>
                      <a:pt x="463" y="40"/>
                    </a:cubicBezTo>
                    <a:cubicBezTo>
                      <a:pt x="462" y="41"/>
                      <a:pt x="462" y="41"/>
                      <a:pt x="462" y="41"/>
                    </a:cubicBezTo>
                    <a:cubicBezTo>
                      <a:pt x="460" y="41"/>
                      <a:pt x="460" y="41"/>
                      <a:pt x="460" y="41"/>
                    </a:cubicBezTo>
                    <a:cubicBezTo>
                      <a:pt x="457" y="44"/>
                      <a:pt x="457" y="44"/>
                      <a:pt x="457" y="44"/>
                    </a:cubicBezTo>
                    <a:cubicBezTo>
                      <a:pt x="455" y="46"/>
                      <a:pt x="455" y="46"/>
                      <a:pt x="455" y="46"/>
                    </a:cubicBezTo>
                    <a:cubicBezTo>
                      <a:pt x="457" y="44"/>
                      <a:pt x="457" y="44"/>
                      <a:pt x="457" y="44"/>
                    </a:cubicBezTo>
                    <a:cubicBezTo>
                      <a:pt x="456" y="41"/>
                      <a:pt x="456" y="41"/>
                      <a:pt x="456" y="41"/>
                    </a:cubicBezTo>
                    <a:cubicBezTo>
                      <a:pt x="457" y="39"/>
                      <a:pt x="457" y="39"/>
                      <a:pt x="457" y="39"/>
                    </a:cubicBezTo>
                    <a:cubicBezTo>
                      <a:pt x="457" y="37"/>
                      <a:pt x="457" y="37"/>
                      <a:pt x="457" y="37"/>
                    </a:cubicBezTo>
                    <a:cubicBezTo>
                      <a:pt x="453" y="35"/>
                      <a:pt x="453" y="35"/>
                      <a:pt x="453" y="35"/>
                    </a:cubicBezTo>
                    <a:cubicBezTo>
                      <a:pt x="453" y="35"/>
                      <a:pt x="453" y="35"/>
                      <a:pt x="453" y="35"/>
                    </a:cubicBezTo>
                    <a:cubicBezTo>
                      <a:pt x="455" y="34"/>
                      <a:pt x="455" y="34"/>
                      <a:pt x="455" y="34"/>
                    </a:cubicBezTo>
                    <a:cubicBezTo>
                      <a:pt x="457" y="34"/>
                      <a:pt x="457" y="34"/>
                      <a:pt x="457" y="34"/>
                    </a:cubicBezTo>
                    <a:cubicBezTo>
                      <a:pt x="457" y="33"/>
                      <a:pt x="457" y="33"/>
                      <a:pt x="457" y="33"/>
                    </a:cubicBezTo>
                    <a:cubicBezTo>
                      <a:pt x="452" y="30"/>
                      <a:pt x="452" y="30"/>
                      <a:pt x="452" y="30"/>
                    </a:cubicBezTo>
                    <a:cubicBezTo>
                      <a:pt x="452" y="29"/>
                      <a:pt x="452" y="29"/>
                      <a:pt x="452" y="29"/>
                    </a:cubicBezTo>
                    <a:cubicBezTo>
                      <a:pt x="452" y="28"/>
                      <a:pt x="452" y="28"/>
                      <a:pt x="452" y="28"/>
                    </a:cubicBezTo>
                    <a:cubicBezTo>
                      <a:pt x="455" y="26"/>
                      <a:pt x="455" y="26"/>
                      <a:pt x="455" y="26"/>
                    </a:cubicBezTo>
                    <a:cubicBezTo>
                      <a:pt x="456" y="25"/>
                      <a:pt x="456" y="25"/>
                      <a:pt x="456" y="25"/>
                    </a:cubicBezTo>
                    <a:cubicBezTo>
                      <a:pt x="455" y="24"/>
                      <a:pt x="455" y="24"/>
                      <a:pt x="455" y="24"/>
                    </a:cubicBezTo>
                    <a:cubicBezTo>
                      <a:pt x="454" y="22"/>
                      <a:pt x="454" y="22"/>
                      <a:pt x="454" y="22"/>
                    </a:cubicBezTo>
                    <a:cubicBezTo>
                      <a:pt x="454" y="22"/>
                      <a:pt x="454" y="22"/>
                      <a:pt x="454" y="22"/>
                    </a:cubicBezTo>
                    <a:cubicBezTo>
                      <a:pt x="453" y="22"/>
                      <a:pt x="453" y="22"/>
                      <a:pt x="453" y="22"/>
                    </a:cubicBezTo>
                    <a:cubicBezTo>
                      <a:pt x="452" y="21"/>
                      <a:pt x="452" y="21"/>
                      <a:pt x="452" y="21"/>
                    </a:cubicBezTo>
                    <a:cubicBezTo>
                      <a:pt x="450" y="20"/>
                      <a:pt x="450" y="20"/>
                      <a:pt x="450" y="20"/>
                    </a:cubicBezTo>
                    <a:cubicBezTo>
                      <a:pt x="448" y="20"/>
                      <a:pt x="448" y="20"/>
                      <a:pt x="448" y="20"/>
                    </a:cubicBezTo>
                    <a:cubicBezTo>
                      <a:pt x="446" y="19"/>
                      <a:pt x="446" y="19"/>
                      <a:pt x="446" y="19"/>
                    </a:cubicBezTo>
                    <a:cubicBezTo>
                      <a:pt x="445" y="19"/>
                      <a:pt x="445" y="19"/>
                      <a:pt x="445" y="19"/>
                    </a:cubicBezTo>
                    <a:cubicBezTo>
                      <a:pt x="444" y="19"/>
                      <a:pt x="444" y="19"/>
                      <a:pt x="444" y="19"/>
                    </a:cubicBezTo>
                    <a:cubicBezTo>
                      <a:pt x="442" y="19"/>
                      <a:pt x="442" y="19"/>
                      <a:pt x="442" y="19"/>
                    </a:cubicBezTo>
                    <a:cubicBezTo>
                      <a:pt x="441" y="21"/>
                      <a:pt x="441" y="21"/>
                      <a:pt x="441" y="21"/>
                    </a:cubicBezTo>
                    <a:cubicBezTo>
                      <a:pt x="441" y="22"/>
                      <a:pt x="441" y="22"/>
                      <a:pt x="441" y="22"/>
                    </a:cubicBezTo>
                    <a:cubicBezTo>
                      <a:pt x="439" y="20"/>
                      <a:pt x="439" y="20"/>
                      <a:pt x="439" y="20"/>
                    </a:cubicBezTo>
                    <a:cubicBezTo>
                      <a:pt x="440" y="19"/>
                      <a:pt x="440" y="19"/>
                      <a:pt x="440" y="19"/>
                    </a:cubicBezTo>
                    <a:cubicBezTo>
                      <a:pt x="441" y="18"/>
                      <a:pt x="441" y="18"/>
                      <a:pt x="441" y="18"/>
                    </a:cubicBezTo>
                    <a:cubicBezTo>
                      <a:pt x="441" y="16"/>
                      <a:pt x="441" y="16"/>
                      <a:pt x="441" y="16"/>
                    </a:cubicBezTo>
                    <a:cubicBezTo>
                      <a:pt x="441" y="15"/>
                      <a:pt x="441" y="15"/>
                      <a:pt x="441" y="15"/>
                    </a:cubicBezTo>
                    <a:cubicBezTo>
                      <a:pt x="442" y="14"/>
                      <a:pt x="442" y="14"/>
                      <a:pt x="442" y="14"/>
                    </a:cubicBezTo>
                    <a:cubicBezTo>
                      <a:pt x="443" y="13"/>
                      <a:pt x="443" y="13"/>
                      <a:pt x="443" y="13"/>
                    </a:cubicBezTo>
                    <a:cubicBezTo>
                      <a:pt x="443" y="11"/>
                      <a:pt x="443" y="11"/>
                      <a:pt x="443" y="11"/>
                    </a:cubicBezTo>
                    <a:cubicBezTo>
                      <a:pt x="443" y="10"/>
                      <a:pt x="443" y="10"/>
                      <a:pt x="443" y="10"/>
                    </a:cubicBezTo>
                    <a:cubicBezTo>
                      <a:pt x="442" y="10"/>
                      <a:pt x="442" y="10"/>
                      <a:pt x="442" y="10"/>
                    </a:cubicBezTo>
                    <a:cubicBezTo>
                      <a:pt x="440" y="12"/>
                      <a:pt x="440" y="12"/>
                      <a:pt x="440" y="12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37" y="13"/>
                      <a:pt x="437" y="13"/>
                      <a:pt x="437" y="13"/>
                    </a:cubicBezTo>
                    <a:cubicBezTo>
                      <a:pt x="435" y="13"/>
                      <a:pt x="435" y="13"/>
                      <a:pt x="435" y="13"/>
                    </a:cubicBezTo>
                    <a:cubicBezTo>
                      <a:pt x="435" y="14"/>
                      <a:pt x="435" y="14"/>
                      <a:pt x="435" y="14"/>
                    </a:cubicBezTo>
                    <a:cubicBezTo>
                      <a:pt x="435" y="16"/>
                      <a:pt x="435" y="16"/>
                      <a:pt x="435" y="16"/>
                    </a:cubicBezTo>
                    <a:cubicBezTo>
                      <a:pt x="434" y="18"/>
                      <a:pt x="434" y="18"/>
                      <a:pt x="434" y="18"/>
                    </a:cubicBezTo>
                    <a:cubicBezTo>
                      <a:pt x="433" y="18"/>
                      <a:pt x="433" y="18"/>
                      <a:pt x="433" y="18"/>
                    </a:cubicBezTo>
                    <a:cubicBezTo>
                      <a:pt x="433" y="17"/>
                      <a:pt x="433" y="17"/>
                      <a:pt x="433" y="17"/>
                    </a:cubicBezTo>
                    <a:cubicBezTo>
                      <a:pt x="432" y="20"/>
                      <a:pt x="432" y="20"/>
                      <a:pt x="432" y="20"/>
                    </a:cubicBezTo>
                    <a:cubicBezTo>
                      <a:pt x="432" y="22"/>
                      <a:pt x="432" y="22"/>
                      <a:pt x="432" y="22"/>
                    </a:cubicBezTo>
                    <a:cubicBezTo>
                      <a:pt x="431" y="20"/>
                      <a:pt x="431" y="20"/>
                      <a:pt x="431" y="20"/>
                    </a:cubicBezTo>
                    <a:cubicBezTo>
                      <a:pt x="431" y="18"/>
                      <a:pt x="431" y="18"/>
                      <a:pt x="431" y="18"/>
                    </a:cubicBezTo>
                    <a:cubicBezTo>
                      <a:pt x="432" y="16"/>
                      <a:pt x="432" y="16"/>
                      <a:pt x="432" y="16"/>
                    </a:cubicBezTo>
                    <a:cubicBezTo>
                      <a:pt x="431" y="16"/>
                      <a:pt x="431" y="16"/>
                      <a:pt x="431" y="16"/>
                    </a:cubicBezTo>
                    <a:cubicBezTo>
                      <a:pt x="430" y="17"/>
                      <a:pt x="430" y="17"/>
                      <a:pt x="430" y="17"/>
                    </a:cubicBezTo>
                    <a:cubicBezTo>
                      <a:pt x="429" y="18"/>
                      <a:pt x="429" y="18"/>
                      <a:pt x="429" y="18"/>
                    </a:cubicBezTo>
                    <a:cubicBezTo>
                      <a:pt x="428" y="19"/>
                      <a:pt x="428" y="19"/>
                      <a:pt x="428" y="19"/>
                    </a:cubicBezTo>
                    <a:cubicBezTo>
                      <a:pt x="429" y="16"/>
                      <a:pt x="429" y="16"/>
                      <a:pt x="429" y="16"/>
                    </a:cubicBezTo>
                    <a:cubicBezTo>
                      <a:pt x="428" y="14"/>
                      <a:pt x="428" y="14"/>
                      <a:pt x="428" y="14"/>
                    </a:cubicBezTo>
                    <a:cubicBezTo>
                      <a:pt x="426" y="14"/>
                      <a:pt x="426" y="14"/>
                      <a:pt x="426" y="14"/>
                    </a:cubicBezTo>
                    <a:cubicBezTo>
                      <a:pt x="426" y="13"/>
                      <a:pt x="426" y="13"/>
                      <a:pt x="426" y="13"/>
                    </a:cubicBezTo>
                    <a:cubicBezTo>
                      <a:pt x="429" y="11"/>
                      <a:pt x="429" y="11"/>
                      <a:pt x="429" y="11"/>
                    </a:cubicBezTo>
                    <a:cubicBezTo>
                      <a:pt x="430" y="11"/>
                      <a:pt x="430" y="11"/>
                      <a:pt x="430" y="11"/>
                    </a:cubicBezTo>
                    <a:cubicBezTo>
                      <a:pt x="433" y="12"/>
                      <a:pt x="433" y="12"/>
                      <a:pt x="433" y="12"/>
                    </a:cubicBezTo>
                    <a:cubicBezTo>
                      <a:pt x="435" y="11"/>
                      <a:pt x="435" y="11"/>
                      <a:pt x="435" y="11"/>
                    </a:cubicBezTo>
                    <a:cubicBezTo>
                      <a:pt x="437" y="11"/>
                      <a:pt x="437" y="11"/>
                      <a:pt x="437" y="11"/>
                    </a:cubicBezTo>
                    <a:cubicBezTo>
                      <a:pt x="439" y="9"/>
                      <a:pt x="439" y="9"/>
                      <a:pt x="439" y="9"/>
                    </a:cubicBezTo>
                    <a:cubicBezTo>
                      <a:pt x="439" y="8"/>
                      <a:pt x="439" y="8"/>
                      <a:pt x="439" y="8"/>
                    </a:cubicBezTo>
                    <a:cubicBezTo>
                      <a:pt x="440" y="7"/>
                      <a:pt x="440" y="7"/>
                      <a:pt x="440" y="7"/>
                    </a:cubicBezTo>
                    <a:cubicBezTo>
                      <a:pt x="439" y="6"/>
                      <a:pt x="439" y="6"/>
                      <a:pt x="439" y="6"/>
                    </a:cubicBezTo>
                    <a:cubicBezTo>
                      <a:pt x="437" y="5"/>
                      <a:pt x="437" y="5"/>
                      <a:pt x="437" y="5"/>
                    </a:cubicBezTo>
                    <a:cubicBezTo>
                      <a:pt x="436" y="5"/>
                      <a:pt x="436" y="5"/>
                      <a:pt x="436" y="5"/>
                    </a:cubicBezTo>
                    <a:cubicBezTo>
                      <a:pt x="436" y="3"/>
                      <a:pt x="436" y="3"/>
                      <a:pt x="436" y="3"/>
                    </a:cubicBezTo>
                    <a:cubicBezTo>
                      <a:pt x="435" y="3"/>
                      <a:pt x="435" y="3"/>
                      <a:pt x="435" y="3"/>
                    </a:cubicBezTo>
                    <a:cubicBezTo>
                      <a:pt x="435" y="2"/>
                      <a:pt x="435" y="2"/>
                      <a:pt x="435" y="2"/>
                    </a:cubicBezTo>
                    <a:cubicBezTo>
                      <a:pt x="435" y="1"/>
                      <a:pt x="435" y="1"/>
                      <a:pt x="435" y="1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36" y="0"/>
                      <a:pt x="436" y="0"/>
                      <a:pt x="436" y="0"/>
                    </a:cubicBezTo>
                    <a:cubicBezTo>
                      <a:pt x="435" y="0"/>
                      <a:pt x="435" y="0"/>
                      <a:pt x="435" y="0"/>
                    </a:cubicBezTo>
                    <a:cubicBezTo>
                      <a:pt x="432" y="2"/>
                      <a:pt x="432" y="2"/>
                      <a:pt x="432" y="2"/>
                    </a:cubicBezTo>
                    <a:cubicBezTo>
                      <a:pt x="431" y="3"/>
                      <a:pt x="431" y="3"/>
                      <a:pt x="431" y="3"/>
                    </a:cubicBezTo>
                    <a:cubicBezTo>
                      <a:pt x="429" y="3"/>
                      <a:pt x="429" y="3"/>
                      <a:pt x="429" y="3"/>
                    </a:cubicBezTo>
                    <a:cubicBezTo>
                      <a:pt x="426" y="4"/>
                      <a:pt x="426" y="4"/>
                      <a:pt x="426" y="4"/>
                    </a:cubicBezTo>
                    <a:cubicBezTo>
                      <a:pt x="422" y="8"/>
                      <a:pt x="422" y="8"/>
                      <a:pt x="422" y="8"/>
                    </a:cubicBezTo>
                    <a:cubicBezTo>
                      <a:pt x="420" y="9"/>
                      <a:pt x="420" y="9"/>
                      <a:pt x="420" y="9"/>
                    </a:cubicBezTo>
                    <a:cubicBezTo>
                      <a:pt x="415" y="9"/>
                      <a:pt x="415" y="9"/>
                      <a:pt x="415" y="9"/>
                    </a:cubicBezTo>
                    <a:cubicBezTo>
                      <a:pt x="413" y="7"/>
                      <a:pt x="413" y="7"/>
                      <a:pt x="413" y="7"/>
                    </a:cubicBezTo>
                    <a:cubicBezTo>
                      <a:pt x="412" y="6"/>
                      <a:pt x="412" y="6"/>
                      <a:pt x="412" y="6"/>
                    </a:cubicBezTo>
                    <a:cubicBezTo>
                      <a:pt x="412" y="7"/>
                      <a:pt x="412" y="7"/>
                      <a:pt x="412" y="7"/>
                    </a:cubicBezTo>
                    <a:cubicBezTo>
                      <a:pt x="410" y="7"/>
                      <a:pt x="410" y="7"/>
                      <a:pt x="410" y="7"/>
                    </a:cubicBezTo>
                    <a:cubicBezTo>
                      <a:pt x="408" y="5"/>
                      <a:pt x="408" y="5"/>
                      <a:pt x="408" y="5"/>
                    </a:cubicBezTo>
                    <a:cubicBezTo>
                      <a:pt x="407" y="6"/>
                      <a:pt x="407" y="6"/>
                      <a:pt x="407" y="6"/>
                    </a:cubicBezTo>
                    <a:cubicBezTo>
                      <a:pt x="406" y="8"/>
                      <a:pt x="406" y="8"/>
                      <a:pt x="406" y="8"/>
                    </a:cubicBezTo>
                    <a:cubicBezTo>
                      <a:pt x="405" y="8"/>
                      <a:pt x="405" y="8"/>
                      <a:pt x="405" y="8"/>
                    </a:cubicBezTo>
                    <a:cubicBezTo>
                      <a:pt x="405" y="6"/>
                      <a:pt x="405" y="6"/>
                      <a:pt x="405" y="6"/>
                    </a:cubicBezTo>
                    <a:cubicBezTo>
                      <a:pt x="405" y="5"/>
                      <a:pt x="405" y="5"/>
                      <a:pt x="405" y="5"/>
                    </a:cubicBezTo>
                    <a:cubicBezTo>
                      <a:pt x="407" y="5"/>
                      <a:pt x="407" y="5"/>
                      <a:pt x="407" y="5"/>
                    </a:cubicBezTo>
                    <a:cubicBezTo>
                      <a:pt x="406" y="4"/>
                      <a:pt x="406" y="4"/>
                      <a:pt x="406" y="4"/>
                    </a:cubicBezTo>
                    <a:cubicBezTo>
                      <a:pt x="404" y="4"/>
                      <a:pt x="404" y="4"/>
                      <a:pt x="404" y="4"/>
                    </a:cubicBezTo>
                    <a:cubicBezTo>
                      <a:pt x="400" y="6"/>
                      <a:pt x="400" y="6"/>
                      <a:pt x="400" y="6"/>
                    </a:cubicBezTo>
                    <a:cubicBezTo>
                      <a:pt x="397" y="8"/>
                      <a:pt x="397" y="8"/>
                      <a:pt x="397" y="8"/>
                    </a:cubicBezTo>
                    <a:cubicBezTo>
                      <a:pt x="396" y="10"/>
                      <a:pt x="396" y="10"/>
                      <a:pt x="396" y="10"/>
                    </a:cubicBezTo>
                    <a:cubicBezTo>
                      <a:pt x="397" y="12"/>
                      <a:pt x="397" y="12"/>
                      <a:pt x="397" y="12"/>
                    </a:cubicBezTo>
                    <a:cubicBezTo>
                      <a:pt x="399" y="12"/>
                      <a:pt x="399" y="12"/>
                      <a:pt x="399" y="12"/>
                    </a:cubicBezTo>
                    <a:cubicBezTo>
                      <a:pt x="398" y="13"/>
                      <a:pt x="398" y="13"/>
                      <a:pt x="398" y="13"/>
                    </a:cubicBezTo>
                    <a:cubicBezTo>
                      <a:pt x="395" y="13"/>
                      <a:pt x="395" y="13"/>
                      <a:pt x="395" y="13"/>
                    </a:cubicBezTo>
                    <a:cubicBezTo>
                      <a:pt x="393" y="15"/>
                      <a:pt x="393" y="15"/>
                      <a:pt x="393" y="15"/>
                    </a:cubicBezTo>
                    <a:cubicBezTo>
                      <a:pt x="391" y="20"/>
                      <a:pt x="391" y="20"/>
                      <a:pt x="391" y="20"/>
                    </a:cubicBezTo>
                    <a:cubicBezTo>
                      <a:pt x="390" y="23"/>
                      <a:pt x="390" y="23"/>
                      <a:pt x="390" y="23"/>
                    </a:cubicBezTo>
                    <a:cubicBezTo>
                      <a:pt x="389" y="23"/>
                      <a:pt x="389" y="23"/>
                      <a:pt x="389" y="23"/>
                    </a:cubicBezTo>
                    <a:cubicBezTo>
                      <a:pt x="388" y="23"/>
                      <a:pt x="388" y="23"/>
                      <a:pt x="388" y="23"/>
                    </a:cubicBezTo>
                    <a:cubicBezTo>
                      <a:pt x="389" y="19"/>
                      <a:pt x="389" y="19"/>
                      <a:pt x="389" y="19"/>
                    </a:cubicBezTo>
                    <a:cubicBezTo>
                      <a:pt x="392" y="15"/>
                      <a:pt x="392" y="15"/>
                      <a:pt x="392" y="15"/>
                    </a:cubicBezTo>
                    <a:cubicBezTo>
                      <a:pt x="392" y="13"/>
                      <a:pt x="392" y="13"/>
                      <a:pt x="392" y="13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86" y="16"/>
                      <a:pt x="386" y="16"/>
                      <a:pt x="386" y="16"/>
                    </a:cubicBezTo>
                    <a:cubicBezTo>
                      <a:pt x="384" y="16"/>
                      <a:pt x="384" y="16"/>
                      <a:pt x="384" y="16"/>
                    </a:cubicBezTo>
                    <a:cubicBezTo>
                      <a:pt x="383" y="15"/>
                      <a:pt x="383" y="15"/>
                      <a:pt x="383" y="15"/>
                    </a:cubicBezTo>
                    <a:cubicBezTo>
                      <a:pt x="381" y="13"/>
                      <a:pt x="381" y="13"/>
                      <a:pt x="381" y="13"/>
                    </a:cubicBezTo>
                    <a:cubicBezTo>
                      <a:pt x="379" y="12"/>
                      <a:pt x="379" y="12"/>
                      <a:pt x="379" y="12"/>
                    </a:cubicBezTo>
                    <a:cubicBezTo>
                      <a:pt x="378" y="12"/>
                      <a:pt x="378" y="12"/>
                      <a:pt x="378" y="12"/>
                    </a:cubicBezTo>
                    <a:cubicBezTo>
                      <a:pt x="378" y="13"/>
                      <a:pt x="378" y="13"/>
                      <a:pt x="378" y="13"/>
                    </a:cubicBezTo>
                    <a:cubicBezTo>
                      <a:pt x="381" y="14"/>
                      <a:pt x="381" y="14"/>
                      <a:pt x="381" y="14"/>
                    </a:cubicBezTo>
                    <a:cubicBezTo>
                      <a:pt x="382" y="16"/>
                      <a:pt x="382" y="16"/>
                      <a:pt x="382" y="16"/>
                    </a:cubicBezTo>
                    <a:cubicBezTo>
                      <a:pt x="381" y="16"/>
                      <a:pt x="381" y="16"/>
                      <a:pt x="381" y="16"/>
                    </a:cubicBezTo>
                    <a:cubicBezTo>
                      <a:pt x="378" y="16"/>
                      <a:pt x="378" y="16"/>
                      <a:pt x="378" y="16"/>
                    </a:cubicBezTo>
                    <a:cubicBezTo>
                      <a:pt x="375" y="15"/>
                      <a:pt x="375" y="15"/>
                      <a:pt x="375" y="15"/>
                    </a:cubicBezTo>
                    <a:cubicBezTo>
                      <a:pt x="371" y="17"/>
                      <a:pt x="371" y="17"/>
                      <a:pt x="371" y="17"/>
                    </a:cubicBezTo>
                    <a:cubicBezTo>
                      <a:pt x="366" y="21"/>
                      <a:pt x="366" y="21"/>
                      <a:pt x="366" y="21"/>
                    </a:cubicBezTo>
                    <a:cubicBezTo>
                      <a:pt x="360" y="24"/>
                      <a:pt x="360" y="24"/>
                      <a:pt x="360" y="24"/>
                    </a:cubicBezTo>
                    <a:cubicBezTo>
                      <a:pt x="357" y="27"/>
                      <a:pt x="357" y="27"/>
                      <a:pt x="357" y="27"/>
                    </a:cubicBezTo>
                    <a:cubicBezTo>
                      <a:pt x="353" y="31"/>
                      <a:pt x="353" y="31"/>
                      <a:pt x="353" y="31"/>
                    </a:cubicBezTo>
                    <a:cubicBezTo>
                      <a:pt x="348" y="35"/>
                      <a:pt x="348" y="35"/>
                      <a:pt x="348" y="35"/>
                    </a:cubicBezTo>
                    <a:cubicBezTo>
                      <a:pt x="344" y="36"/>
                      <a:pt x="344" y="36"/>
                      <a:pt x="344" y="36"/>
                    </a:cubicBezTo>
                    <a:cubicBezTo>
                      <a:pt x="343" y="37"/>
                      <a:pt x="343" y="37"/>
                      <a:pt x="343" y="37"/>
                    </a:cubicBezTo>
                    <a:cubicBezTo>
                      <a:pt x="340" y="38"/>
                      <a:pt x="340" y="38"/>
                      <a:pt x="340" y="38"/>
                    </a:cubicBezTo>
                    <a:cubicBezTo>
                      <a:pt x="338" y="39"/>
                      <a:pt x="338" y="39"/>
                      <a:pt x="338" y="39"/>
                    </a:cubicBezTo>
                    <a:cubicBezTo>
                      <a:pt x="335" y="41"/>
                      <a:pt x="335" y="41"/>
                      <a:pt x="335" y="41"/>
                    </a:cubicBezTo>
                    <a:cubicBezTo>
                      <a:pt x="332" y="41"/>
                      <a:pt x="332" y="41"/>
                      <a:pt x="332" y="41"/>
                    </a:cubicBezTo>
                    <a:cubicBezTo>
                      <a:pt x="330" y="40"/>
                      <a:pt x="330" y="40"/>
                      <a:pt x="330" y="40"/>
                    </a:cubicBezTo>
                    <a:cubicBezTo>
                      <a:pt x="327" y="39"/>
                      <a:pt x="327" y="39"/>
                      <a:pt x="327" y="39"/>
                    </a:cubicBezTo>
                    <a:cubicBezTo>
                      <a:pt x="325" y="38"/>
                      <a:pt x="325" y="38"/>
                      <a:pt x="325" y="38"/>
                    </a:cubicBezTo>
                    <a:cubicBezTo>
                      <a:pt x="323" y="37"/>
                      <a:pt x="323" y="37"/>
                      <a:pt x="323" y="37"/>
                    </a:cubicBezTo>
                    <a:cubicBezTo>
                      <a:pt x="320" y="35"/>
                      <a:pt x="320" y="35"/>
                      <a:pt x="320" y="35"/>
                    </a:cubicBezTo>
                    <a:cubicBezTo>
                      <a:pt x="319" y="35"/>
                      <a:pt x="319" y="35"/>
                      <a:pt x="319" y="35"/>
                    </a:cubicBezTo>
                    <a:cubicBezTo>
                      <a:pt x="317" y="38"/>
                      <a:pt x="317" y="38"/>
                      <a:pt x="317" y="38"/>
                    </a:cubicBezTo>
                    <a:cubicBezTo>
                      <a:pt x="313" y="41"/>
                      <a:pt x="313" y="41"/>
                      <a:pt x="313" y="41"/>
                    </a:cubicBezTo>
                    <a:cubicBezTo>
                      <a:pt x="312" y="44"/>
                      <a:pt x="312" y="44"/>
                      <a:pt x="312" y="44"/>
                    </a:cubicBezTo>
                    <a:cubicBezTo>
                      <a:pt x="310" y="46"/>
                      <a:pt x="310" y="46"/>
                      <a:pt x="310" y="46"/>
                    </a:cubicBezTo>
                    <a:cubicBezTo>
                      <a:pt x="309" y="48"/>
                      <a:pt x="309" y="48"/>
                      <a:pt x="309" y="48"/>
                    </a:cubicBezTo>
                    <a:cubicBezTo>
                      <a:pt x="308" y="48"/>
                      <a:pt x="308" y="48"/>
                      <a:pt x="308" y="48"/>
                    </a:cubicBezTo>
                    <a:cubicBezTo>
                      <a:pt x="307" y="47"/>
                      <a:pt x="307" y="47"/>
                      <a:pt x="307" y="47"/>
                    </a:cubicBezTo>
                    <a:cubicBezTo>
                      <a:pt x="305" y="48"/>
                      <a:pt x="305" y="48"/>
                      <a:pt x="305" y="48"/>
                    </a:cubicBezTo>
                    <a:cubicBezTo>
                      <a:pt x="307" y="52"/>
                      <a:pt x="307" y="52"/>
                      <a:pt x="307" y="52"/>
                    </a:cubicBezTo>
                    <a:cubicBezTo>
                      <a:pt x="310" y="61"/>
                      <a:pt x="310" y="61"/>
                      <a:pt x="310" y="61"/>
                    </a:cubicBezTo>
                    <a:cubicBezTo>
                      <a:pt x="312" y="67"/>
                      <a:pt x="312" y="67"/>
                      <a:pt x="312" y="67"/>
                    </a:cubicBezTo>
                    <a:cubicBezTo>
                      <a:pt x="313" y="73"/>
                      <a:pt x="313" y="73"/>
                      <a:pt x="313" y="73"/>
                    </a:cubicBezTo>
                    <a:cubicBezTo>
                      <a:pt x="312" y="79"/>
                      <a:pt x="312" y="79"/>
                      <a:pt x="312" y="79"/>
                    </a:cubicBezTo>
                    <a:cubicBezTo>
                      <a:pt x="310" y="83"/>
                      <a:pt x="310" y="83"/>
                      <a:pt x="310" y="83"/>
                    </a:cubicBezTo>
                    <a:cubicBezTo>
                      <a:pt x="308" y="85"/>
                      <a:pt x="308" y="85"/>
                      <a:pt x="308" y="85"/>
                    </a:cubicBezTo>
                    <a:cubicBezTo>
                      <a:pt x="308" y="86"/>
                      <a:pt x="308" y="86"/>
                      <a:pt x="308" y="86"/>
                    </a:cubicBezTo>
                    <a:cubicBezTo>
                      <a:pt x="312" y="91"/>
                      <a:pt x="312" y="91"/>
                      <a:pt x="312" y="91"/>
                    </a:cubicBezTo>
                    <a:cubicBezTo>
                      <a:pt x="314" y="92"/>
                      <a:pt x="314" y="92"/>
                      <a:pt x="314" y="92"/>
                    </a:cubicBezTo>
                    <a:cubicBezTo>
                      <a:pt x="314" y="90"/>
                      <a:pt x="314" y="90"/>
                      <a:pt x="314" y="90"/>
                    </a:cubicBezTo>
                    <a:cubicBezTo>
                      <a:pt x="315" y="91"/>
                      <a:pt x="315" y="91"/>
                      <a:pt x="315" y="91"/>
                    </a:cubicBezTo>
                    <a:cubicBezTo>
                      <a:pt x="317" y="90"/>
                      <a:pt x="317" y="90"/>
                      <a:pt x="317" y="90"/>
                    </a:cubicBezTo>
                    <a:cubicBezTo>
                      <a:pt x="318" y="90"/>
                      <a:pt x="318" y="90"/>
                      <a:pt x="318" y="90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16" y="92"/>
                      <a:pt x="316" y="92"/>
                      <a:pt x="316" y="92"/>
                    </a:cubicBezTo>
                    <a:cubicBezTo>
                      <a:pt x="321" y="96"/>
                      <a:pt x="321" y="96"/>
                      <a:pt x="321" y="96"/>
                    </a:cubicBezTo>
                    <a:cubicBezTo>
                      <a:pt x="320" y="97"/>
                      <a:pt x="320" y="97"/>
                      <a:pt x="320" y="97"/>
                    </a:cubicBezTo>
                    <a:cubicBezTo>
                      <a:pt x="318" y="96"/>
                      <a:pt x="318" y="96"/>
                      <a:pt x="318" y="96"/>
                    </a:cubicBezTo>
                    <a:cubicBezTo>
                      <a:pt x="317" y="98"/>
                      <a:pt x="317" y="98"/>
                      <a:pt x="317" y="98"/>
                    </a:cubicBezTo>
                    <a:cubicBezTo>
                      <a:pt x="317" y="103"/>
                      <a:pt x="317" y="103"/>
                      <a:pt x="317" y="103"/>
                    </a:cubicBezTo>
                    <a:cubicBezTo>
                      <a:pt x="317" y="105"/>
                      <a:pt x="317" y="105"/>
                      <a:pt x="317" y="105"/>
                    </a:cubicBezTo>
                    <a:cubicBezTo>
                      <a:pt x="318" y="106"/>
                      <a:pt x="318" y="106"/>
                      <a:pt x="318" y="106"/>
                    </a:cubicBezTo>
                    <a:cubicBezTo>
                      <a:pt x="320" y="105"/>
                      <a:pt x="320" y="105"/>
                      <a:pt x="320" y="105"/>
                    </a:cubicBezTo>
                    <a:cubicBezTo>
                      <a:pt x="322" y="104"/>
                      <a:pt x="322" y="104"/>
                      <a:pt x="322" y="104"/>
                    </a:cubicBezTo>
                    <a:cubicBezTo>
                      <a:pt x="323" y="105"/>
                      <a:pt x="323" y="105"/>
                      <a:pt x="323" y="105"/>
                    </a:cubicBezTo>
                    <a:cubicBezTo>
                      <a:pt x="324" y="106"/>
                      <a:pt x="324" y="106"/>
                      <a:pt x="324" y="106"/>
                    </a:cubicBezTo>
                    <a:cubicBezTo>
                      <a:pt x="327" y="105"/>
                      <a:pt x="327" y="105"/>
                      <a:pt x="327" y="105"/>
                    </a:cubicBezTo>
                    <a:cubicBezTo>
                      <a:pt x="330" y="106"/>
                      <a:pt x="330" y="106"/>
                      <a:pt x="330" y="106"/>
                    </a:cubicBezTo>
                    <a:cubicBezTo>
                      <a:pt x="332" y="108"/>
                      <a:pt x="332" y="108"/>
                      <a:pt x="332" y="108"/>
                    </a:cubicBezTo>
                    <a:cubicBezTo>
                      <a:pt x="330" y="109"/>
                      <a:pt x="330" y="109"/>
                      <a:pt x="330" y="109"/>
                    </a:cubicBezTo>
                    <a:cubicBezTo>
                      <a:pt x="330" y="111"/>
                      <a:pt x="330" y="111"/>
                      <a:pt x="330" y="111"/>
                    </a:cubicBezTo>
                    <a:cubicBezTo>
                      <a:pt x="330" y="113"/>
                      <a:pt x="330" y="113"/>
                      <a:pt x="330" y="113"/>
                    </a:cubicBezTo>
                    <a:cubicBezTo>
                      <a:pt x="326" y="114"/>
                      <a:pt x="326" y="114"/>
                      <a:pt x="326" y="114"/>
                    </a:cubicBezTo>
                    <a:cubicBezTo>
                      <a:pt x="327" y="112"/>
                      <a:pt x="327" y="112"/>
                      <a:pt x="327" y="112"/>
                    </a:cubicBezTo>
                    <a:cubicBezTo>
                      <a:pt x="325" y="111"/>
                      <a:pt x="325" y="111"/>
                      <a:pt x="325" y="111"/>
                    </a:cubicBezTo>
                    <a:cubicBezTo>
                      <a:pt x="324" y="112"/>
                      <a:pt x="324" y="112"/>
                      <a:pt x="324" y="112"/>
                    </a:cubicBezTo>
                    <a:cubicBezTo>
                      <a:pt x="321" y="112"/>
                      <a:pt x="321" y="112"/>
                      <a:pt x="321" y="112"/>
                    </a:cubicBezTo>
                    <a:cubicBezTo>
                      <a:pt x="320" y="111"/>
                      <a:pt x="320" y="111"/>
                      <a:pt x="320" y="111"/>
                    </a:cubicBezTo>
                    <a:cubicBezTo>
                      <a:pt x="319" y="108"/>
                      <a:pt x="319" y="108"/>
                      <a:pt x="319" y="108"/>
                    </a:cubicBezTo>
                    <a:cubicBezTo>
                      <a:pt x="317" y="107"/>
                      <a:pt x="317" y="107"/>
                      <a:pt x="317" y="107"/>
                    </a:cubicBezTo>
                    <a:cubicBezTo>
                      <a:pt x="317" y="107"/>
                      <a:pt x="317" y="107"/>
                      <a:pt x="317" y="107"/>
                    </a:cubicBezTo>
                    <a:cubicBezTo>
                      <a:pt x="314" y="105"/>
                      <a:pt x="314" y="105"/>
                      <a:pt x="314" y="105"/>
                    </a:cubicBezTo>
                    <a:cubicBezTo>
                      <a:pt x="315" y="102"/>
                      <a:pt x="315" y="102"/>
                      <a:pt x="315" y="102"/>
                    </a:cubicBezTo>
                    <a:cubicBezTo>
                      <a:pt x="317" y="97"/>
                      <a:pt x="317" y="97"/>
                      <a:pt x="317" y="97"/>
                    </a:cubicBezTo>
                    <a:cubicBezTo>
                      <a:pt x="316" y="95"/>
                      <a:pt x="316" y="95"/>
                      <a:pt x="316" y="95"/>
                    </a:cubicBezTo>
                    <a:cubicBezTo>
                      <a:pt x="316" y="95"/>
                      <a:pt x="316" y="95"/>
                      <a:pt x="316" y="95"/>
                    </a:cubicBezTo>
                    <a:cubicBezTo>
                      <a:pt x="314" y="96"/>
                      <a:pt x="314" y="96"/>
                      <a:pt x="314" y="96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13" y="106"/>
                      <a:pt x="313" y="106"/>
                      <a:pt x="313" y="106"/>
                    </a:cubicBezTo>
                    <a:cubicBezTo>
                      <a:pt x="311" y="108"/>
                      <a:pt x="311" y="108"/>
                      <a:pt x="311" y="108"/>
                    </a:cubicBezTo>
                    <a:cubicBezTo>
                      <a:pt x="311" y="110"/>
                      <a:pt x="311" y="110"/>
                      <a:pt x="311" y="110"/>
                    </a:cubicBezTo>
                    <a:cubicBezTo>
                      <a:pt x="312" y="108"/>
                      <a:pt x="312" y="108"/>
                      <a:pt x="312" y="108"/>
                    </a:cubicBezTo>
                    <a:cubicBezTo>
                      <a:pt x="314" y="108"/>
                      <a:pt x="314" y="108"/>
                      <a:pt x="314" y="108"/>
                    </a:cubicBezTo>
                    <a:cubicBezTo>
                      <a:pt x="315" y="108"/>
                      <a:pt x="315" y="108"/>
                      <a:pt x="315" y="108"/>
                    </a:cubicBezTo>
                    <a:cubicBezTo>
                      <a:pt x="317" y="108"/>
                      <a:pt x="317" y="108"/>
                      <a:pt x="317" y="108"/>
                    </a:cubicBezTo>
                    <a:cubicBezTo>
                      <a:pt x="318" y="111"/>
                      <a:pt x="318" y="111"/>
                      <a:pt x="318" y="111"/>
                    </a:cubicBezTo>
                    <a:cubicBezTo>
                      <a:pt x="318" y="114"/>
                      <a:pt x="318" y="114"/>
                      <a:pt x="318" y="114"/>
                    </a:cubicBezTo>
                    <a:cubicBezTo>
                      <a:pt x="316" y="116"/>
                      <a:pt x="316" y="116"/>
                      <a:pt x="316" y="116"/>
                    </a:cubicBezTo>
                    <a:cubicBezTo>
                      <a:pt x="313" y="118"/>
                      <a:pt x="313" y="118"/>
                      <a:pt x="313" y="118"/>
                    </a:cubicBezTo>
                    <a:cubicBezTo>
                      <a:pt x="316" y="114"/>
                      <a:pt x="316" y="114"/>
                      <a:pt x="316" y="114"/>
                    </a:cubicBezTo>
                    <a:cubicBezTo>
                      <a:pt x="315" y="113"/>
                      <a:pt x="315" y="113"/>
                      <a:pt x="315" y="113"/>
                    </a:cubicBezTo>
                    <a:cubicBezTo>
                      <a:pt x="314" y="112"/>
                      <a:pt x="314" y="112"/>
                      <a:pt x="314" y="112"/>
                    </a:cubicBezTo>
                    <a:cubicBezTo>
                      <a:pt x="313" y="112"/>
                      <a:pt x="313" y="112"/>
                      <a:pt x="313" y="112"/>
                    </a:cubicBezTo>
                    <a:cubicBezTo>
                      <a:pt x="312" y="113"/>
                      <a:pt x="312" y="113"/>
                      <a:pt x="312" y="113"/>
                    </a:cubicBezTo>
                    <a:cubicBezTo>
                      <a:pt x="309" y="115"/>
                      <a:pt x="309" y="115"/>
                      <a:pt x="309" y="115"/>
                    </a:cubicBezTo>
                    <a:cubicBezTo>
                      <a:pt x="309" y="117"/>
                      <a:pt x="309" y="117"/>
                      <a:pt x="309" y="117"/>
                    </a:cubicBezTo>
                    <a:cubicBezTo>
                      <a:pt x="307" y="117"/>
                      <a:pt x="307" y="117"/>
                      <a:pt x="307" y="117"/>
                    </a:cubicBezTo>
                    <a:cubicBezTo>
                      <a:pt x="306" y="118"/>
                      <a:pt x="306" y="118"/>
                      <a:pt x="306" y="118"/>
                    </a:cubicBezTo>
                    <a:cubicBezTo>
                      <a:pt x="305" y="116"/>
                      <a:pt x="305" y="116"/>
                      <a:pt x="305" y="116"/>
                    </a:cubicBezTo>
                    <a:cubicBezTo>
                      <a:pt x="304" y="116"/>
                      <a:pt x="304" y="116"/>
                      <a:pt x="304" y="116"/>
                    </a:cubicBezTo>
                    <a:cubicBezTo>
                      <a:pt x="302" y="116"/>
                      <a:pt x="302" y="116"/>
                      <a:pt x="302" y="116"/>
                    </a:cubicBezTo>
                    <a:cubicBezTo>
                      <a:pt x="301" y="116"/>
                      <a:pt x="301" y="116"/>
                      <a:pt x="301" y="116"/>
                    </a:cubicBezTo>
                    <a:cubicBezTo>
                      <a:pt x="300" y="114"/>
                      <a:pt x="300" y="114"/>
                      <a:pt x="300" y="114"/>
                    </a:cubicBezTo>
                    <a:cubicBezTo>
                      <a:pt x="299" y="113"/>
                      <a:pt x="299" y="113"/>
                      <a:pt x="299" y="113"/>
                    </a:cubicBezTo>
                    <a:cubicBezTo>
                      <a:pt x="298" y="114"/>
                      <a:pt x="298" y="114"/>
                      <a:pt x="298" y="114"/>
                    </a:cubicBezTo>
                    <a:cubicBezTo>
                      <a:pt x="296" y="114"/>
                      <a:pt x="296" y="114"/>
                      <a:pt x="296" y="114"/>
                    </a:cubicBezTo>
                    <a:cubicBezTo>
                      <a:pt x="296" y="112"/>
                      <a:pt x="296" y="112"/>
                      <a:pt x="296" y="112"/>
                    </a:cubicBezTo>
                    <a:cubicBezTo>
                      <a:pt x="295" y="111"/>
                      <a:pt x="295" y="111"/>
                      <a:pt x="295" y="111"/>
                    </a:cubicBezTo>
                    <a:cubicBezTo>
                      <a:pt x="293" y="112"/>
                      <a:pt x="293" y="112"/>
                      <a:pt x="293" y="112"/>
                    </a:cubicBezTo>
                    <a:cubicBezTo>
                      <a:pt x="293" y="112"/>
                      <a:pt x="293" y="112"/>
                      <a:pt x="293" y="112"/>
                    </a:cubicBezTo>
                    <a:cubicBezTo>
                      <a:pt x="293" y="110"/>
                      <a:pt x="293" y="110"/>
                      <a:pt x="293" y="110"/>
                    </a:cubicBezTo>
                    <a:cubicBezTo>
                      <a:pt x="292" y="108"/>
                      <a:pt x="292" y="108"/>
                      <a:pt x="292" y="108"/>
                    </a:cubicBezTo>
                    <a:cubicBezTo>
                      <a:pt x="292" y="107"/>
                      <a:pt x="292" y="107"/>
                      <a:pt x="292" y="107"/>
                    </a:cubicBezTo>
                    <a:cubicBezTo>
                      <a:pt x="294" y="106"/>
                      <a:pt x="294" y="106"/>
                      <a:pt x="294" y="106"/>
                    </a:cubicBezTo>
                    <a:cubicBezTo>
                      <a:pt x="296" y="103"/>
                      <a:pt x="296" y="103"/>
                      <a:pt x="296" y="103"/>
                    </a:cubicBezTo>
                    <a:cubicBezTo>
                      <a:pt x="297" y="103"/>
                      <a:pt x="297" y="103"/>
                      <a:pt x="297" y="103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00"/>
                      <a:pt x="298" y="100"/>
                      <a:pt x="298" y="100"/>
                    </a:cubicBezTo>
                    <a:cubicBezTo>
                      <a:pt x="295" y="98"/>
                      <a:pt x="295" y="98"/>
                      <a:pt x="295" y="98"/>
                    </a:cubicBezTo>
                    <a:cubicBezTo>
                      <a:pt x="294" y="97"/>
                      <a:pt x="294" y="97"/>
                      <a:pt x="294" y="97"/>
                    </a:cubicBezTo>
                    <a:cubicBezTo>
                      <a:pt x="292" y="97"/>
                      <a:pt x="292" y="97"/>
                      <a:pt x="292" y="97"/>
                    </a:cubicBezTo>
                    <a:cubicBezTo>
                      <a:pt x="289" y="99"/>
                      <a:pt x="289" y="99"/>
                      <a:pt x="289" y="99"/>
                    </a:cubicBezTo>
                    <a:cubicBezTo>
                      <a:pt x="287" y="99"/>
                      <a:pt x="287" y="99"/>
                      <a:pt x="287" y="99"/>
                    </a:cubicBezTo>
                    <a:cubicBezTo>
                      <a:pt x="285" y="97"/>
                      <a:pt x="285" y="97"/>
                      <a:pt x="285" y="97"/>
                    </a:cubicBezTo>
                    <a:cubicBezTo>
                      <a:pt x="284" y="98"/>
                      <a:pt x="284" y="98"/>
                      <a:pt x="284" y="98"/>
                    </a:cubicBezTo>
                    <a:cubicBezTo>
                      <a:pt x="278" y="100"/>
                      <a:pt x="278" y="100"/>
                      <a:pt x="278" y="100"/>
                    </a:cubicBezTo>
                    <a:cubicBezTo>
                      <a:pt x="278" y="101"/>
                      <a:pt x="278" y="101"/>
                      <a:pt x="278" y="101"/>
                    </a:cubicBezTo>
                    <a:cubicBezTo>
                      <a:pt x="278" y="102"/>
                      <a:pt x="278" y="102"/>
                      <a:pt x="278" y="102"/>
                    </a:cubicBezTo>
                    <a:cubicBezTo>
                      <a:pt x="281" y="104"/>
                      <a:pt x="281" y="104"/>
                      <a:pt x="281" y="104"/>
                    </a:cubicBezTo>
                    <a:cubicBezTo>
                      <a:pt x="280" y="105"/>
                      <a:pt x="280" y="105"/>
                      <a:pt x="280" y="105"/>
                    </a:cubicBezTo>
                    <a:cubicBezTo>
                      <a:pt x="279" y="104"/>
                      <a:pt x="279" y="104"/>
                      <a:pt x="279" y="104"/>
                    </a:cubicBezTo>
                    <a:cubicBezTo>
                      <a:pt x="277" y="104"/>
                      <a:pt x="277" y="104"/>
                      <a:pt x="277" y="104"/>
                    </a:cubicBezTo>
                    <a:cubicBezTo>
                      <a:pt x="276" y="103"/>
                      <a:pt x="276" y="103"/>
                      <a:pt x="276" y="103"/>
                    </a:cubicBezTo>
                    <a:cubicBezTo>
                      <a:pt x="274" y="103"/>
                      <a:pt x="274" y="103"/>
                      <a:pt x="274" y="103"/>
                    </a:cubicBezTo>
                    <a:cubicBezTo>
                      <a:pt x="271" y="102"/>
                      <a:pt x="271" y="102"/>
                      <a:pt x="271" y="102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6" y="104"/>
                      <a:pt x="266" y="104"/>
                      <a:pt x="266" y="104"/>
                    </a:cubicBezTo>
                    <a:cubicBezTo>
                      <a:pt x="266" y="105"/>
                      <a:pt x="266" y="105"/>
                      <a:pt x="266" y="105"/>
                    </a:cubicBezTo>
                    <a:cubicBezTo>
                      <a:pt x="264" y="105"/>
                      <a:pt x="264" y="105"/>
                      <a:pt x="264" y="105"/>
                    </a:cubicBezTo>
                    <a:cubicBezTo>
                      <a:pt x="264" y="104"/>
                      <a:pt x="264" y="104"/>
                      <a:pt x="264" y="104"/>
                    </a:cubicBezTo>
                    <a:cubicBezTo>
                      <a:pt x="262" y="104"/>
                      <a:pt x="262" y="104"/>
                      <a:pt x="262" y="104"/>
                    </a:cubicBezTo>
                    <a:cubicBezTo>
                      <a:pt x="259" y="106"/>
                      <a:pt x="259" y="106"/>
                      <a:pt x="259" y="106"/>
                    </a:cubicBezTo>
                    <a:cubicBezTo>
                      <a:pt x="259" y="107"/>
                      <a:pt x="259" y="107"/>
                      <a:pt x="259" y="107"/>
                    </a:cubicBezTo>
                    <a:cubicBezTo>
                      <a:pt x="258" y="107"/>
                      <a:pt x="258" y="107"/>
                      <a:pt x="258" y="107"/>
                    </a:cubicBezTo>
                    <a:cubicBezTo>
                      <a:pt x="255" y="109"/>
                      <a:pt x="255" y="109"/>
                      <a:pt x="255" y="109"/>
                    </a:cubicBezTo>
                    <a:cubicBezTo>
                      <a:pt x="253" y="110"/>
                      <a:pt x="253" y="110"/>
                      <a:pt x="253" y="110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53" y="108"/>
                      <a:pt x="253" y="108"/>
                      <a:pt x="253" y="108"/>
                    </a:cubicBezTo>
                    <a:cubicBezTo>
                      <a:pt x="251" y="109"/>
                      <a:pt x="251" y="109"/>
                      <a:pt x="251" y="109"/>
                    </a:cubicBezTo>
                    <a:cubicBezTo>
                      <a:pt x="250" y="112"/>
                      <a:pt x="250" y="112"/>
                      <a:pt x="250" y="112"/>
                    </a:cubicBezTo>
                    <a:cubicBezTo>
                      <a:pt x="250" y="112"/>
                      <a:pt x="250" y="112"/>
                      <a:pt x="250" y="112"/>
                    </a:cubicBezTo>
                    <a:cubicBezTo>
                      <a:pt x="252" y="116"/>
                      <a:pt x="252" y="116"/>
                      <a:pt x="252" y="116"/>
                    </a:cubicBezTo>
                    <a:cubicBezTo>
                      <a:pt x="255" y="120"/>
                      <a:pt x="255" y="120"/>
                      <a:pt x="255" y="120"/>
                    </a:cubicBezTo>
                    <a:cubicBezTo>
                      <a:pt x="257" y="120"/>
                      <a:pt x="257" y="120"/>
                      <a:pt x="257" y="120"/>
                    </a:cubicBezTo>
                    <a:cubicBezTo>
                      <a:pt x="259" y="123"/>
                      <a:pt x="259" y="123"/>
                      <a:pt x="259" y="123"/>
                    </a:cubicBezTo>
                    <a:cubicBezTo>
                      <a:pt x="262" y="124"/>
                      <a:pt x="262" y="124"/>
                      <a:pt x="262" y="124"/>
                    </a:cubicBezTo>
                    <a:cubicBezTo>
                      <a:pt x="262" y="127"/>
                      <a:pt x="262" y="127"/>
                      <a:pt x="262" y="127"/>
                    </a:cubicBezTo>
                    <a:cubicBezTo>
                      <a:pt x="264" y="127"/>
                      <a:pt x="264" y="127"/>
                      <a:pt x="264" y="127"/>
                    </a:cubicBezTo>
                    <a:cubicBezTo>
                      <a:pt x="267" y="128"/>
                      <a:pt x="267" y="128"/>
                      <a:pt x="267" y="128"/>
                    </a:cubicBezTo>
                    <a:cubicBezTo>
                      <a:pt x="266" y="129"/>
                      <a:pt x="266" y="129"/>
                      <a:pt x="266" y="129"/>
                    </a:cubicBezTo>
                    <a:cubicBezTo>
                      <a:pt x="263" y="129"/>
                      <a:pt x="263" y="129"/>
                      <a:pt x="263" y="129"/>
                    </a:cubicBezTo>
                    <a:cubicBezTo>
                      <a:pt x="262" y="127"/>
                      <a:pt x="262" y="127"/>
                      <a:pt x="262" y="127"/>
                    </a:cubicBezTo>
                    <a:cubicBezTo>
                      <a:pt x="260" y="125"/>
                      <a:pt x="260" y="125"/>
                      <a:pt x="260" y="125"/>
                    </a:cubicBezTo>
                    <a:cubicBezTo>
                      <a:pt x="259" y="124"/>
                      <a:pt x="259" y="124"/>
                      <a:pt x="259" y="124"/>
                    </a:cubicBezTo>
                    <a:cubicBezTo>
                      <a:pt x="258" y="125"/>
                      <a:pt x="258" y="125"/>
                      <a:pt x="258" y="125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54" y="127"/>
                      <a:pt x="254" y="127"/>
                      <a:pt x="254" y="127"/>
                    </a:cubicBezTo>
                    <a:cubicBezTo>
                      <a:pt x="253" y="125"/>
                      <a:pt x="253" y="125"/>
                      <a:pt x="253" y="125"/>
                    </a:cubicBezTo>
                    <a:cubicBezTo>
                      <a:pt x="255" y="123"/>
                      <a:pt x="255" y="123"/>
                      <a:pt x="255" y="123"/>
                    </a:cubicBezTo>
                    <a:cubicBezTo>
                      <a:pt x="255" y="122"/>
                      <a:pt x="255" y="122"/>
                      <a:pt x="255" y="122"/>
                    </a:cubicBezTo>
                    <a:cubicBezTo>
                      <a:pt x="253" y="122"/>
                      <a:pt x="253" y="122"/>
                      <a:pt x="253" y="122"/>
                    </a:cubicBezTo>
                    <a:cubicBezTo>
                      <a:pt x="252" y="124"/>
                      <a:pt x="252" y="124"/>
                      <a:pt x="252" y="124"/>
                    </a:cubicBezTo>
                    <a:cubicBezTo>
                      <a:pt x="252" y="128"/>
                      <a:pt x="252" y="128"/>
                      <a:pt x="252" y="128"/>
                    </a:cubicBezTo>
                    <a:cubicBezTo>
                      <a:pt x="253" y="129"/>
                      <a:pt x="253" y="129"/>
                      <a:pt x="253" y="129"/>
                    </a:cubicBezTo>
                    <a:cubicBezTo>
                      <a:pt x="253" y="131"/>
                      <a:pt x="253" y="131"/>
                      <a:pt x="253" y="131"/>
                    </a:cubicBezTo>
                    <a:cubicBezTo>
                      <a:pt x="251" y="133"/>
                      <a:pt x="251" y="133"/>
                      <a:pt x="251" y="133"/>
                    </a:cubicBezTo>
                    <a:cubicBezTo>
                      <a:pt x="249" y="135"/>
                      <a:pt x="249" y="135"/>
                      <a:pt x="249" y="135"/>
                    </a:cubicBezTo>
                    <a:cubicBezTo>
                      <a:pt x="249" y="138"/>
                      <a:pt x="249" y="138"/>
                      <a:pt x="249" y="138"/>
                    </a:cubicBezTo>
                    <a:cubicBezTo>
                      <a:pt x="249" y="141"/>
                      <a:pt x="249" y="141"/>
                      <a:pt x="249" y="141"/>
                    </a:cubicBezTo>
                    <a:cubicBezTo>
                      <a:pt x="252" y="144"/>
                      <a:pt x="252" y="144"/>
                      <a:pt x="252" y="144"/>
                    </a:cubicBezTo>
                    <a:cubicBezTo>
                      <a:pt x="256" y="146"/>
                      <a:pt x="256" y="146"/>
                      <a:pt x="256" y="146"/>
                    </a:cubicBezTo>
                    <a:cubicBezTo>
                      <a:pt x="258" y="148"/>
                      <a:pt x="258" y="148"/>
                      <a:pt x="258" y="148"/>
                    </a:cubicBezTo>
                    <a:cubicBezTo>
                      <a:pt x="259" y="148"/>
                      <a:pt x="259" y="148"/>
                      <a:pt x="259" y="148"/>
                    </a:cubicBezTo>
                    <a:cubicBezTo>
                      <a:pt x="261" y="146"/>
                      <a:pt x="261" y="146"/>
                      <a:pt x="261" y="146"/>
                    </a:cubicBezTo>
                    <a:cubicBezTo>
                      <a:pt x="264" y="145"/>
                      <a:pt x="264" y="145"/>
                      <a:pt x="264" y="145"/>
                    </a:cubicBezTo>
                    <a:cubicBezTo>
                      <a:pt x="266" y="147"/>
                      <a:pt x="266" y="147"/>
                      <a:pt x="266" y="147"/>
                    </a:cubicBezTo>
                    <a:cubicBezTo>
                      <a:pt x="271" y="147"/>
                      <a:pt x="271" y="147"/>
                      <a:pt x="271" y="147"/>
                    </a:cubicBezTo>
                    <a:cubicBezTo>
                      <a:pt x="272" y="148"/>
                      <a:pt x="272" y="148"/>
                      <a:pt x="272" y="148"/>
                    </a:cubicBezTo>
                    <a:cubicBezTo>
                      <a:pt x="273" y="151"/>
                      <a:pt x="273" y="151"/>
                      <a:pt x="273" y="151"/>
                    </a:cubicBezTo>
                    <a:cubicBezTo>
                      <a:pt x="274" y="151"/>
                      <a:pt x="274" y="151"/>
                      <a:pt x="274" y="151"/>
                    </a:cubicBezTo>
                    <a:cubicBezTo>
                      <a:pt x="275" y="150"/>
                      <a:pt x="275" y="150"/>
                      <a:pt x="275" y="150"/>
                    </a:cubicBezTo>
                    <a:cubicBezTo>
                      <a:pt x="275" y="148"/>
                      <a:pt x="275" y="148"/>
                      <a:pt x="275" y="148"/>
                    </a:cubicBezTo>
                    <a:cubicBezTo>
                      <a:pt x="275" y="147"/>
                      <a:pt x="275" y="147"/>
                      <a:pt x="275" y="147"/>
                    </a:cubicBezTo>
                    <a:cubicBezTo>
                      <a:pt x="277" y="147"/>
                      <a:pt x="277" y="147"/>
                      <a:pt x="277" y="147"/>
                    </a:cubicBezTo>
                    <a:cubicBezTo>
                      <a:pt x="277" y="149"/>
                      <a:pt x="277" y="149"/>
                      <a:pt x="277" y="149"/>
                    </a:cubicBezTo>
                    <a:cubicBezTo>
                      <a:pt x="275" y="151"/>
                      <a:pt x="275" y="151"/>
                      <a:pt x="275" y="151"/>
                    </a:cubicBezTo>
                    <a:cubicBezTo>
                      <a:pt x="275" y="153"/>
                      <a:pt x="275" y="153"/>
                      <a:pt x="275" y="153"/>
                    </a:cubicBezTo>
                    <a:cubicBezTo>
                      <a:pt x="276" y="153"/>
                      <a:pt x="276" y="153"/>
                      <a:pt x="276" y="153"/>
                    </a:cubicBezTo>
                    <a:cubicBezTo>
                      <a:pt x="279" y="151"/>
                      <a:pt x="279" y="151"/>
                      <a:pt x="279" y="151"/>
                    </a:cubicBezTo>
                    <a:cubicBezTo>
                      <a:pt x="279" y="150"/>
                      <a:pt x="279" y="150"/>
                      <a:pt x="279" y="150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89" y="146"/>
                      <a:pt x="289" y="146"/>
                      <a:pt x="289" y="146"/>
                    </a:cubicBezTo>
                    <a:cubicBezTo>
                      <a:pt x="291" y="144"/>
                      <a:pt x="291" y="144"/>
                      <a:pt x="291" y="144"/>
                    </a:cubicBezTo>
                    <a:cubicBezTo>
                      <a:pt x="291" y="144"/>
                      <a:pt x="291" y="144"/>
                      <a:pt x="291" y="144"/>
                    </a:cubicBezTo>
                    <a:cubicBezTo>
                      <a:pt x="292" y="145"/>
                      <a:pt x="292" y="145"/>
                      <a:pt x="292" y="145"/>
                    </a:cubicBezTo>
                    <a:cubicBezTo>
                      <a:pt x="293" y="146"/>
                      <a:pt x="293" y="146"/>
                      <a:pt x="293" y="146"/>
                    </a:cubicBezTo>
                    <a:cubicBezTo>
                      <a:pt x="296" y="144"/>
                      <a:pt x="296" y="144"/>
                      <a:pt x="296" y="144"/>
                    </a:cubicBezTo>
                    <a:cubicBezTo>
                      <a:pt x="299" y="143"/>
                      <a:pt x="299" y="143"/>
                      <a:pt x="299" y="143"/>
                    </a:cubicBezTo>
                    <a:cubicBezTo>
                      <a:pt x="300" y="143"/>
                      <a:pt x="300" y="143"/>
                      <a:pt x="300" y="143"/>
                    </a:cubicBezTo>
                    <a:cubicBezTo>
                      <a:pt x="299" y="144"/>
                      <a:pt x="299" y="144"/>
                      <a:pt x="299" y="144"/>
                    </a:cubicBezTo>
                    <a:cubicBezTo>
                      <a:pt x="297" y="146"/>
                      <a:pt x="297" y="146"/>
                      <a:pt x="297" y="146"/>
                    </a:cubicBezTo>
                    <a:cubicBezTo>
                      <a:pt x="297" y="146"/>
                      <a:pt x="297" y="146"/>
                      <a:pt x="297" y="146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6" y="150"/>
                      <a:pt x="296" y="150"/>
                      <a:pt x="296" y="150"/>
                    </a:cubicBezTo>
                    <a:cubicBezTo>
                      <a:pt x="293" y="151"/>
                      <a:pt x="293" y="151"/>
                      <a:pt x="293" y="151"/>
                    </a:cubicBezTo>
                    <a:cubicBezTo>
                      <a:pt x="292" y="150"/>
                      <a:pt x="292" y="150"/>
                      <a:pt x="292" y="150"/>
                    </a:cubicBezTo>
                    <a:cubicBezTo>
                      <a:pt x="291" y="150"/>
                      <a:pt x="291" y="150"/>
                      <a:pt x="291" y="150"/>
                    </a:cubicBezTo>
                    <a:cubicBezTo>
                      <a:pt x="288" y="152"/>
                      <a:pt x="288" y="152"/>
                      <a:pt x="288" y="152"/>
                    </a:cubicBezTo>
                    <a:cubicBezTo>
                      <a:pt x="289" y="152"/>
                      <a:pt x="289" y="152"/>
                      <a:pt x="289" y="152"/>
                    </a:cubicBezTo>
                    <a:cubicBezTo>
                      <a:pt x="291" y="153"/>
                      <a:pt x="291" y="153"/>
                      <a:pt x="291" y="153"/>
                    </a:cubicBezTo>
                    <a:cubicBezTo>
                      <a:pt x="292" y="154"/>
                      <a:pt x="292" y="154"/>
                      <a:pt x="292" y="154"/>
                    </a:cubicBezTo>
                    <a:cubicBezTo>
                      <a:pt x="292" y="157"/>
                      <a:pt x="292" y="157"/>
                      <a:pt x="292" y="157"/>
                    </a:cubicBezTo>
                    <a:cubicBezTo>
                      <a:pt x="289" y="160"/>
                      <a:pt x="289" y="160"/>
                      <a:pt x="289" y="160"/>
                    </a:cubicBezTo>
                    <a:cubicBezTo>
                      <a:pt x="288" y="162"/>
                      <a:pt x="288" y="162"/>
                      <a:pt x="288" y="162"/>
                    </a:cubicBezTo>
                    <a:cubicBezTo>
                      <a:pt x="287" y="164"/>
                      <a:pt x="287" y="164"/>
                      <a:pt x="287" y="164"/>
                    </a:cubicBezTo>
                    <a:cubicBezTo>
                      <a:pt x="287" y="165"/>
                      <a:pt x="287" y="165"/>
                      <a:pt x="287" y="165"/>
                    </a:cubicBezTo>
                    <a:cubicBezTo>
                      <a:pt x="287" y="166"/>
                      <a:pt x="287" y="166"/>
                      <a:pt x="287" y="166"/>
                    </a:cubicBezTo>
                    <a:cubicBezTo>
                      <a:pt x="288" y="168"/>
                      <a:pt x="288" y="168"/>
                      <a:pt x="288" y="168"/>
                    </a:cubicBezTo>
                    <a:cubicBezTo>
                      <a:pt x="287" y="169"/>
                      <a:pt x="287" y="169"/>
                      <a:pt x="287" y="169"/>
                    </a:cubicBezTo>
                    <a:cubicBezTo>
                      <a:pt x="285" y="172"/>
                      <a:pt x="285" y="172"/>
                      <a:pt x="285" y="172"/>
                    </a:cubicBezTo>
                    <a:cubicBezTo>
                      <a:pt x="284" y="173"/>
                      <a:pt x="284" y="173"/>
                      <a:pt x="284" y="173"/>
                    </a:cubicBezTo>
                    <a:cubicBezTo>
                      <a:pt x="282" y="173"/>
                      <a:pt x="282" y="173"/>
                      <a:pt x="282" y="173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78" y="175"/>
                      <a:pt x="278" y="175"/>
                      <a:pt x="278" y="175"/>
                    </a:cubicBezTo>
                    <a:cubicBezTo>
                      <a:pt x="277" y="176"/>
                      <a:pt x="277" y="176"/>
                      <a:pt x="277" y="176"/>
                    </a:cubicBezTo>
                    <a:cubicBezTo>
                      <a:pt x="275" y="176"/>
                      <a:pt x="275" y="176"/>
                      <a:pt x="275" y="176"/>
                    </a:cubicBezTo>
                    <a:cubicBezTo>
                      <a:pt x="272" y="174"/>
                      <a:pt x="272" y="174"/>
                      <a:pt x="272" y="174"/>
                    </a:cubicBezTo>
                    <a:cubicBezTo>
                      <a:pt x="271" y="174"/>
                      <a:pt x="271" y="174"/>
                      <a:pt x="271" y="174"/>
                    </a:cubicBezTo>
                    <a:cubicBezTo>
                      <a:pt x="270" y="173"/>
                      <a:pt x="270" y="173"/>
                      <a:pt x="270" y="173"/>
                    </a:cubicBezTo>
                    <a:cubicBezTo>
                      <a:pt x="269" y="172"/>
                      <a:pt x="269" y="172"/>
                      <a:pt x="269" y="172"/>
                    </a:cubicBezTo>
                    <a:cubicBezTo>
                      <a:pt x="268" y="172"/>
                      <a:pt x="268" y="172"/>
                      <a:pt x="268" y="172"/>
                    </a:cubicBezTo>
                    <a:cubicBezTo>
                      <a:pt x="266" y="174"/>
                      <a:pt x="266" y="174"/>
                      <a:pt x="266" y="174"/>
                    </a:cubicBezTo>
                    <a:cubicBezTo>
                      <a:pt x="264" y="176"/>
                      <a:pt x="264" y="176"/>
                      <a:pt x="264" y="176"/>
                    </a:cubicBezTo>
                    <a:cubicBezTo>
                      <a:pt x="263" y="178"/>
                      <a:pt x="263" y="178"/>
                      <a:pt x="263" y="178"/>
                    </a:cubicBezTo>
                    <a:cubicBezTo>
                      <a:pt x="259" y="179"/>
                      <a:pt x="259" y="179"/>
                      <a:pt x="259" y="179"/>
                    </a:cubicBezTo>
                    <a:cubicBezTo>
                      <a:pt x="258" y="180"/>
                      <a:pt x="258" y="180"/>
                      <a:pt x="258" y="180"/>
                    </a:cubicBezTo>
                    <a:cubicBezTo>
                      <a:pt x="256" y="180"/>
                      <a:pt x="256" y="180"/>
                      <a:pt x="256" y="180"/>
                    </a:cubicBezTo>
                    <a:cubicBezTo>
                      <a:pt x="254" y="180"/>
                      <a:pt x="254" y="180"/>
                      <a:pt x="254" y="180"/>
                    </a:cubicBezTo>
                    <a:cubicBezTo>
                      <a:pt x="251" y="180"/>
                      <a:pt x="251" y="180"/>
                      <a:pt x="251" y="180"/>
                    </a:cubicBezTo>
                    <a:cubicBezTo>
                      <a:pt x="249" y="182"/>
                      <a:pt x="249" y="182"/>
                      <a:pt x="249" y="182"/>
                    </a:cubicBezTo>
                    <a:cubicBezTo>
                      <a:pt x="247" y="182"/>
                      <a:pt x="247" y="182"/>
                      <a:pt x="247" y="182"/>
                    </a:cubicBezTo>
                    <a:cubicBezTo>
                      <a:pt x="245" y="183"/>
                      <a:pt x="245" y="183"/>
                      <a:pt x="245" y="183"/>
                    </a:cubicBezTo>
                    <a:cubicBezTo>
                      <a:pt x="245" y="185"/>
                      <a:pt x="245" y="185"/>
                      <a:pt x="245" y="185"/>
                    </a:cubicBezTo>
                    <a:cubicBezTo>
                      <a:pt x="244" y="189"/>
                      <a:pt x="244" y="189"/>
                      <a:pt x="244" y="189"/>
                    </a:cubicBezTo>
                    <a:cubicBezTo>
                      <a:pt x="243" y="190"/>
                      <a:pt x="243" y="190"/>
                      <a:pt x="243" y="190"/>
                    </a:cubicBezTo>
                    <a:cubicBezTo>
                      <a:pt x="242" y="189"/>
                      <a:pt x="242" y="189"/>
                      <a:pt x="242" y="189"/>
                    </a:cubicBezTo>
                    <a:cubicBezTo>
                      <a:pt x="240" y="186"/>
                      <a:pt x="240" y="186"/>
                      <a:pt x="240" y="186"/>
                    </a:cubicBezTo>
                    <a:cubicBezTo>
                      <a:pt x="237" y="186"/>
                      <a:pt x="237" y="186"/>
                      <a:pt x="237" y="186"/>
                    </a:cubicBezTo>
                    <a:cubicBezTo>
                      <a:pt x="236" y="187"/>
                      <a:pt x="236" y="187"/>
                      <a:pt x="236" y="187"/>
                    </a:cubicBezTo>
                    <a:cubicBezTo>
                      <a:pt x="237" y="188"/>
                      <a:pt x="237" y="188"/>
                      <a:pt x="237" y="188"/>
                    </a:cubicBezTo>
                    <a:cubicBezTo>
                      <a:pt x="238" y="189"/>
                      <a:pt x="238" y="189"/>
                      <a:pt x="238" y="189"/>
                    </a:cubicBezTo>
                    <a:cubicBezTo>
                      <a:pt x="237" y="191"/>
                      <a:pt x="237" y="191"/>
                      <a:pt x="237" y="191"/>
                    </a:cubicBezTo>
                    <a:cubicBezTo>
                      <a:pt x="236" y="191"/>
                      <a:pt x="236" y="191"/>
                      <a:pt x="236" y="191"/>
                    </a:cubicBezTo>
                    <a:cubicBezTo>
                      <a:pt x="235" y="189"/>
                      <a:pt x="235" y="189"/>
                      <a:pt x="235" y="189"/>
                    </a:cubicBezTo>
                    <a:cubicBezTo>
                      <a:pt x="234" y="187"/>
                      <a:pt x="234" y="187"/>
                      <a:pt x="234" y="187"/>
                    </a:cubicBezTo>
                    <a:cubicBezTo>
                      <a:pt x="233" y="187"/>
                      <a:pt x="233" y="187"/>
                      <a:pt x="233" y="187"/>
                    </a:cubicBezTo>
                    <a:cubicBezTo>
                      <a:pt x="230" y="190"/>
                      <a:pt x="230" y="190"/>
                      <a:pt x="230" y="190"/>
                    </a:cubicBezTo>
                    <a:cubicBezTo>
                      <a:pt x="229" y="193"/>
                      <a:pt x="229" y="193"/>
                      <a:pt x="229" y="193"/>
                    </a:cubicBezTo>
                    <a:cubicBezTo>
                      <a:pt x="228" y="193"/>
                      <a:pt x="228" y="193"/>
                      <a:pt x="228" y="193"/>
                    </a:cubicBezTo>
                    <a:cubicBezTo>
                      <a:pt x="227" y="193"/>
                      <a:pt x="227" y="193"/>
                      <a:pt x="227" y="193"/>
                    </a:cubicBezTo>
                    <a:cubicBezTo>
                      <a:pt x="222" y="197"/>
                      <a:pt x="222" y="197"/>
                      <a:pt x="222" y="197"/>
                    </a:cubicBezTo>
                    <a:cubicBezTo>
                      <a:pt x="222" y="200"/>
                      <a:pt x="222" y="200"/>
                      <a:pt x="222" y="200"/>
                    </a:cubicBezTo>
                    <a:cubicBezTo>
                      <a:pt x="221" y="201"/>
                      <a:pt x="221" y="201"/>
                      <a:pt x="221" y="201"/>
                    </a:cubicBezTo>
                    <a:cubicBezTo>
                      <a:pt x="219" y="201"/>
                      <a:pt x="219" y="201"/>
                      <a:pt x="219" y="201"/>
                    </a:cubicBezTo>
                    <a:cubicBezTo>
                      <a:pt x="217" y="201"/>
                      <a:pt x="217" y="201"/>
                      <a:pt x="217" y="201"/>
                    </a:cubicBezTo>
                    <a:cubicBezTo>
                      <a:pt x="216" y="201"/>
                      <a:pt x="216" y="201"/>
                      <a:pt x="216" y="201"/>
                    </a:cubicBezTo>
                    <a:cubicBezTo>
                      <a:pt x="218" y="203"/>
                      <a:pt x="218" y="203"/>
                      <a:pt x="218" y="203"/>
                    </a:cubicBezTo>
                    <a:cubicBezTo>
                      <a:pt x="218" y="205"/>
                      <a:pt x="218" y="205"/>
                      <a:pt x="218" y="205"/>
                    </a:cubicBezTo>
                    <a:cubicBezTo>
                      <a:pt x="217" y="205"/>
                      <a:pt x="217" y="205"/>
                      <a:pt x="217" y="205"/>
                    </a:cubicBezTo>
                    <a:cubicBezTo>
                      <a:pt x="216" y="203"/>
                      <a:pt x="216" y="203"/>
                      <a:pt x="216" y="203"/>
                    </a:cubicBezTo>
                    <a:cubicBezTo>
                      <a:pt x="215" y="203"/>
                      <a:pt x="215" y="203"/>
                      <a:pt x="215" y="203"/>
                    </a:cubicBezTo>
                    <a:cubicBezTo>
                      <a:pt x="214" y="205"/>
                      <a:pt x="214" y="205"/>
                      <a:pt x="214" y="205"/>
                    </a:cubicBezTo>
                    <a:cubicBezTo>
                      <a:pt x="212" y="208"/>
                      <a:pt x="212" y="208"/>
                      <a:pt x="212" y="208"/>
                    </a:cubicBezTo>
                    <a:cubicBezTo>
                      <a:pt x="212" y="209"/>
                      <a:pt x="212" y="209"/>
                      <a:pt x="212" y="209"/>
                    </a:cubicBezTo>
                    <a:cubicBezTo>
                      <a:pt x="213" y="212"/>
                      <a:pt x="213" y="212"/>
                      <a:pt x="213" y="212"/>
                    </a:cubicBezTo>
                    <a:cubicBezTo>
                      <a:pt x="214" y="214"/>
                      <a:pt x="214" y="214"/>
                      <a:pt x="214" y="214"/>
                    </a:cubicBezTo>
                    <a:cubicBezTo>
                      <a:pt x="213" y="216"/>
                      <a:pt x="213" y="216"/>
                      <a:pt x="213" y="216"/>
                    </a:cubicBezTo>
                    <a:cubicBezTo>
                      <a:pt x="212" y="218"/>
                      <a:pt x="212" y="218"/>
                      <a:pt x="212" y="218"/>
                    </a:cubicBezTo>
                    <a:cubicBezTo>
                      <a:pt x="213" y="219"/>
                      <a:pt x="213" y="219"/>
                      <a:pt x="213" y="219"/>
                    </a:cubicBezTo>
                    <a:cubicBezTo>
                      <a:pt x="214" y="219"/>
                      <a:pt x="214" y="219"/>
                      <a:pt x="214" y="219"/>
                    </a:cubicBezTo>
                    <a:cubicBezTo>
                      <a:pt x="215" y="217"/>
                      <a:pt x="215" y="217"/>
                      <a:pt x="215" y="217"/>
                    </a:cubicBezTo>
                    <a:cubicBezTo>
                      <a:pt x="215" y="218"/>
                      <a:pt x="215" y="218"/>
                      <a:pt x="215" y="218"/>
                    </a:cubicBezTo>
                    <a:cubicBezTo>
                      <a:pt x="216" y="221"/>
                      <a:pt x="216" y="221"/>
                      <a:pt x="216" y="221"/>
                    </a:cubicBezTo>
                    <a:cubicBezTo>
                      <a:pt x="215" y="222"/>
                      <a:pt x="215" y="222"/>
                      <a:pt x="215" y="222"/>
                    </a:cubicBezTo>
                    <a:cubicBezTo>
                      <a:pt x="214" y="223"/>
                      <a:pt x="214" y="223"/>
                      <a:pt x="214" y="223"/>
                    </a:cubicBezTo>
                    <a:cubicBezTo>
                      <a:pt x="215" y="223"/>
                      <a:pt x="215" y="223"/>
                      <a:pt x="215" y="223"/>
                    </a:cubicBezTo>
                    <a:cubicBezTo>
                      <a:pt x="216" y="223"/>
                      <a:pt x="216" y="223"/>
                      <a:pt x="216" y="223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8" y="222"/>
                      <a:pt x="218" y="222"/>
                      <a:pt x="218" y="222"/>
                    </a:cubicBezTo>
                    <a:cubicBezTo>
                      <a:pt x="219" y="223"/>
                      <a:pt x="219" y="223"/>
                      <a:pt x="219" y="223"/>
                    </a:cubicBezTo>
                    <a:cubicBezTo>
                      <a:pt x="219" y="224"/>
                      <a:pt x="219" y="224"/>
                      <a:pt x="219" y="224"/>
                    </a:cubicBezTo>
                    <a:cubicBezTo>
                      <a:pt x="221" y="224"/>
                      <a:pt x="221" y="224"/>
                      <a:pt x="221" y="224"/>
                    </a:cubicBezTo>
                    <a:cubicBezTo>
                      <a:pt x="222" y="226"/>
                      <a:pt x="222" y="226"/>
                      <a:pt x="222" y="226"/>
                    </a:cubicBezTo>
                    <a:cubicBezTo>
                      <a:pt x="224" y="225"/>
                      <a:pt x="224" y="225"/>
                      <a:pt x="224" y="225"/>
                    </a:cubicBezTo>
                    <a:cubicBezTo>
                      <a:pt x="226" y="224"/>
                      <a:pt x="226" y="224"/>
                      <a:pt x="226" y="224"/>
                    </a:cubicBezTo>
                    <a:cubicBezTo>
                      <a:pt x="227" y="220"/>
                      <a:pt x="227" y="220"/>
                      <a:pt x="227" y="220"/>
                    </a:cubicBezTo>
                    <a:cubicBezTo>
                      <a:pt x="228" y="219"/>
                      <a:pt x="228" y="219"/>
                      <a:pt x="228" y="219"/>
                    </a:cubicBezTo>
                    <a:cubicBezTo>
                      <a:pt x="232" y="219"/>
                      <a:pt x="232" y="219"/>
                      <a:pt x="232" y="219"/>
                    </a:cubicBezTo>
                    <a:cubicBezTo>
                      <a:pt x="233" y="218"/>
                      <a:pt x="233" y="218"/>
                      <a:pt x="233" y="218"/>
                    </a:cubicBezTo>
                    <a:cubicBezTo>
                      <a:pt x="231" y="220"/>
                      <a:pt x="231" y="220"/>
                      <a:pt x="231" y="220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27" y="223"/>
                      <a:pt x="227" y="223"/>
                      <a:pt x="227" y="223"/>
                    </a:cubicBezTo>
                    <a:cubicBezTo>
                      <a:pt x="226" y="225"/>
                      <a:pt x="226" y="225"/>
                      <a:pt x="226" y="225"/>
                    </a:cubicBezTo>
                    <a:cubicBezTo>
                      <a:pt x="225" y="226"/>
                      <a:pt x="225" y="226"/>
                      <a:pt x="225" y="226"/>
                    </a:cubicBezTo>
                    <a:cubicBezTo>
                      <a:pt x="227" y="229"/>
                      <a:pt x="227" y="229"/>
                      <a:pt x="227" y="229"/>
                    </a:cubicBezTo>
                    <a:cubicBezTo>
                      <a:pt x="227" y="230"/>
                      <a:pt x="227" y="230"/>
                      <a:pt x="227" y="230"/>
                    </a:cubicBezTo>
                    <a:cubicBezTo>
                      <a:pt x="224" y="231"/>
                      <a:pt x="224" y="231"/>
                      <a:pt x="224" y="231"/>
                    </a:cubicBezTo>
                    <a:cubicBezTo>
                      <a:pt x="224" y="230"/>
                      <a:pt x="224" y="230"/>
                      <a:pt x="224" y="230"/>
                    </a:cubicBezTo>
                    <a:cubicBezTo>
                      <a:pt x="224" y="229"/>
                      <a:pt x="224" y="229"/>
                      <a:pt x="224" y="229"/>
                    </a:cubicBezTo>
                    <a:cubicBezTo>
                      <a:pt x="223" y="228"/>
                      <a:pt x="223" y="228"/>
                      <a:pt x="223" y="228"/>
                    </a:cubicBezTo>
                    <a:cubicBezTo>
                      <a:pt x="221" y="228"/>
                      <a:pt x="221" y="228"/>
                      <a:pt x="221" y="228"/>
                    </a:cubicBezTo>
                    <a:cubicBezTo>
                      <a:pt x="220" y="226"/>
                      <a:pt x="220" y="226"/>
                      <a:pt x="220" y="226"/>
                    </a:cubicBezTo>
                    <a:cubicBezTo>
                      <a:pt x="217" y="226"/>
                      <a:pt x="217" y="226"/>
                      <a:pt x="217" y="226"/>
                    </a:cubicBezTo>
                    <a:cubicBezTo>
                      <a:pt x="216" y="224"/>
                      <a:pt x="216" y="224"/>
                      <a:pt x="216" y="224"/>
                    </a:cubicBezTo>
                    <a:cubicBezTo>
                      <a:pt x="215" y="225"/>
                      <a:pt x="215" y="225"/>
                      <a:pt x="215" y="225"/>
                    </a:cubicBezTo>
                    <a:cubicBezTo>
                      <a:pt x="213" y="226"/>
                      <a:pt x="213" y="226"/>
                      <a:pt x="213" y="226"/>
                    </a:cubicBezTo>
                    <a:cubicBezTo>
                      <a:pt x="213" y="227"/>
                      <a:pt x="213" y="227"/>
                      <a:pt x="213" y="227"/>
                    </a:cubicBezTo>
                    <a:cubicBezTo>
                      <a:pt x="211" y="228"/>
                      <a:pt x="211" y="228"/>
                      <a:pt x="211" y="228"/>
                    </a:cubicBezTo>
                    <a:cubicBezTo>
                      <a:pt x="209" y="228"/>
                      <a:pt x="209" y="228"/>
                      <a:pt x="209" y="228"/>
                    </a:cubicBezTo>
                    <a:cubicBezTo>
                      <a:pt x="209" y="229"/>
                      <a:pt x="209" y="229"/>
                      <a:pt x="209" y="229"/>
                    </a:cubicBezTo>
                    <a:cubicBezTo>
                      <a:pt x="210" y="231"/>
                      <a:pt x="210" y="231"/>
                      <a:pt x="210" y="231"/>
                    </a:cubicBezTo>
                    <a:cubicBezTo>
                      <a:pt x="211" y="231"/>
                      <a:pt x="211" y="231"/>
                      <a:pt x="211" y="231"/>
                    </a:cubicBezTo>
                    <a:cubicBezTo>
                      <a:pt x="210" y="232"/>
                      <a:pt x="210" y="232"/>
                      <a:pt x="210" y="232"/>
                    </a:cubicBezTo>
                    <a:cubicBezTo>
                      <a:pt x="209" y="235"/>
                      <a:pt x="209" y="235"/>
                      <a:pt x="209" y="235"/>
                    </a:cubicBezTo>
                    <a:cubicBezTo>
                      <a:pt x="210" y="237"/>
                      <a:pt x="210" y="237"/>
                      <a:pt x="210" y="237"/>
                    </a:cubicBezTo>
                    <a:cubicBezTo>
                      <a:pt x="211" y="237"/>
                      <a:pt x="211" y="237"/>
                      <a:pt x="211" y="237"/>
                    </a:cubicBezTo>
                    <a:cubicBezTo>
                      <a:pt x="212" y="240"/>
                      <a:pt x="212" y="240"/>
                      <a:pt x="212" y="240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2" y="243"/>
                      <a:pt x="212" y="243"/>
                      <a:pt x="212" y="243"/>
                    </a:cubicBezTo>
                    <a:cubicBezTo>
                      <a:pt x="214" y="245"/>
                      <a:pt x="214" y="245"/>
                      <a:pt x="214" y="245"/>
                    </a:cubicBezTo>
                    <a:cubicBezTo>
                      <a:pt x="214" y="245"/>
                      <a:pt x="214" y="245"/>
                      <a:pt x="214" y="245"/>
                    </a:cubicBezTo>
                    <a:cubicBezTo>
                      <a:pt x="211" y="246"/>
                      <a:pt x="211" y="246"/>
                      <a:pt x="211" y="246"/>
                    </a:cubicBezTo>
                    <a:cubicBezTo>
                      <a:pt x="211" y="247"/>
                      <a:pt x="211" y="247"/>
                      <a:pt x="211" y="247"/>
                    </a:cubicBezTo>
                    <a:cubicBezTo>
                      <a:pt x="217" y="250"/>
                      <a:pt x="217" y="250"/>
                      <a:pt x="217" y="250"/>
                    </a:cubicBezTo>
                    <a:cubicBezTo>
                      <a:pt x="220" y="250"/>
                      <a:pt x="220" y="250"/>
                      <a:pt x="220" y="250"/>
                    </a:cubicBezTo>
                    <a:cubicBezTo>
                      <a:pt x="223" y="248"/>
                      <a:pt x="223" y="248"/>
                      <a:pt x="223" y="248"/>
                    </a:cubicBezTo>
                    <a:cubicBezTo>
                      <a:pt x="224" y="248"/>
                      <a:pt x="224" y="248"/>
                      <a:pt x="224" y="248"/>
                    </a:cubicBezTo>
                    <a:cubicBezTo>
                      <a:pt x="225" y="248"/>
                      <a:pt x="225" y="248"/>
                      <a:pt x="225" y="248"/>
                    </a:cubicBezTo>
                    <a:cubicBezTo>
                      <a:pt x="226" y="248"/>
                      <a:pt x="226" y="248"/>
                      <a:pt x="226" y="248"/>
                    </a:cubicBezTo>
                    <a:cubicBezTo>
                      <a:pt x="229" y="245"/>
                      <a:pt x="229" y="245"/>
                      <a:pt x="229" y="245"/>
                    </a:cubicBezTo>
                    <a:cubicBezTo>
                      <a:pt x="229" y="243"/>
                      <a:pt x="229" y="243"/>
                      <a:pt x="229" y="243"/>
                    </a:cubicBezTo>
                    <a:cubicBezTo>
                      <a:pt x="228" y="242"/>
                      <a:pt x="228" y="242"/>
                      <a:pt x="228" y="242"/>
                    </a:cubicBezTo>
                    <a:cubicBezTo>
                      <a:pt x="228" y="241"/>
                      <a:pt x="228" y="241"/>
                      <a:pt x="228" y="241"/>
                    </a:cubicBezTo>
                    <a:cubicBezTo>
                      <a:pt x="231" y="239"/>
                      <a:pt x="231" y="239"/>
                      <a:pt x="231" y="239"/>
                    </a:cubicBezTo>
                    <a:cubicBezTo>
                      <a:pt x="233" y="237"/>
                      <a:pt x="233" y="237"/>
                      <a:pt x="233" y="237"/>
                    </a:cubicBezTo>
                    <a:cubicBezTo>
                      <a:pt x="238" y="234"/>
                      <a:pt x="238" y="234"/>
                      <a:pt x="238" y="234"/>
                    </a:cubicBezTo>
                    <a:cubicBezTo>
                      <a:pt x="239" y="235"/>
                      <a:pt x="239" y="235"/>
                      <a:pt x="239" y="235"/>
                    </a:cubicBezTo>
                    <a:cubicBezTo>
                      <a:pt x="238" y="235"/>
                      <a:pt x="238" y="235"/>
                      <a:pt x="238" y="235"/>
                    </a:cubicBezTo>
                    <a:cubicBezTo>
                      <a:pt x="234" y="239"/>
                      <a:pt x="234" y="239"/>
                      <a:pt x="234" y="239"/>
                    </a:cubicBezTo>
                    <a:cubicBezTo>
                      <a:pt x="231" y="241"/>
                      <a:pt x="231" y="241"/>
                      <a:pt x="231" y="241"/>
                    </a:cubicBezTo>
                    <a:cubicBezTo>
                      <a:pt x="231" y="242"/>
                      <a:pt x="231" y="242"/>
                      <a:pt x="231" y="242"/>
                    </a:cubicBezTo>
                    <a:cubicBezTo>
                      <a:pt x="232" y="243"/>
                      <a:pt x="232" y="243"/>
                      <a:pt x="232" y="243"/>
                    </a:cubicBezTo>
                    <a:cubicBezTo>
                      <a:pt x="232" y="244"/>
                      <a:pt x="232" y="244"/>
                      <a:pt x="232" y="244"/>
                    </a:cubicBezTo>
                    <a:cubicBezTo>
                      <a:pt x="231" y="247"/>
                      <a:pt x="231" y="247"/>
                      <a:pt x="231" y="247"/>
                    </a:cubicBezTo>
                    <a:cubicBezTo>
                      <a:pt x="229" y="248"/>
                      <a:pt x="229" y="248"/>
                      <a:pt x="229" y="248"/>
                    </a:cubicBezTo>
                    <a:cubicBezTo>
                      <a:pt x="228" y="250"/>
                      <a:pt x="228" y="250"/>
                      <a:pt x="228" y="250"/>
                    </a:cubicBezTo>
                    <a:cubicBezTo>
                      <a:pt x="229" y="253"/>
                      <a:pt x="229" y="253"/>
                      <a:pt x="229" y="253"/>
                    </a:cubicBezTo>
                    <a:cubicBezTo>
                      <a:pt x="228" y="255"/>
                      <a:pt x="228" y="255"/>
                      <a:pt x="228" y="255"/>
                    </a:cubicBezTo>
                    <a:cubicBezTo>
                      <a:pt x="229" y="256"/>
                      <a:pt x="229" y="256"/>
                      <a:pt x="229" y="256"/>
                    </a:cubicBezTo>
                    <a:cubicBezTo>
                      <a:pt x="228" y="258"/>
                      <a:pt x="228" y="258"/>
                      <a:pt x="228" y="258"/>
                    </a:cubicBezTo>
                    <a:cubicBezTo>
                      <a:pt x="229" y="260"/>
                      <a:pt x="229" y="260"/>
                      <a:pt x="229" y="260"/>
                    </a:cubicBezTo>
                    <a:cubicBezTo>
                      <a:pt x="226" y="261"/>
                      <a:pt x="226" y="261"/>
                      <a:pt x="226" y="261"/>
                    </a:cubicBezTo>
                    <a:cubicBezTo>
                      <a:pt x="225" y="262"/>
                      <a:pt x="225" y="262"/>
                      <a:pt x="225" y="262"/>
                    </a:cubicBezTo>
                    <a:cubicBezTo>
                      <a:pt x="224" y="263"/>
                      <a:pt x="224" y="263"/>
                      <a:pt x="224" y="263"/>
                    </a:cubicBezTo>
                    <a:cubicBezTo>
                      <a:pt x="223" y="263"/>
                      <a:pt x="223" y="263"/>
                      <a:pt x="223" y="263"/>
                    </a:cubicBezTo>
                    <a:cubicBezTo>
                      <a:pt x="223" y="263"/>
                      <a:pt x="223" y="263"/>
                      <a:pt x="223" y="263"/>
                    </a:cubicBezTo>
                    <a:cubicBezTo>
                      <a:pt x="223" y="265"/>
                      <a:pt x="223" y="265"/>
                      <a:pt x="223" y="265"/>
                    </a:cubicBezTo>
                    <a:cubicBezTo>
                      <a:pt x="223" y="267"/>
                      <a:pt x="223" y="267"/>
                      <a:pt x="223" y="267"/>
                    </a:cubicBezTo>
                    <a:cubicBezTo>
                      <a:pt x="224" y="268"/>
                      <a:pt x="224" y="268"/>
                      <a:pt x="224" y="268"/>
                    </a:cubicBezTo>
                    <a:cubicBezTo>
                      <a:pt x="226" y="267"/>
                      <a:pt x="226" y="267"/>
                      <a:pt x="226" y="267"/>
                    </a:cubicBezTo>
                    <a:cubicBezTo>
                      <a:pt x="227" y="267"/>
                      <a:pt x="227" y="267"/>
                      <a:pt x="227" y="267"/>
                    </a:cubicBezTo>
                    <a:cubicBezTo>
                      <a:pt x="228" y="268"/>
                      <a:pt x="228" y="268"/>
                      <a:pt x="228" y="268"/>
                    </a:cubicBezTo>
                    <a:cubicBezTo>
                      <a:pt x="227" y="269"/>
                      <a:pt x="227" y="269"/>
                      <a:pt x="227" y="269"/>
                    </a:cubicBezTo>
                    <a:cubicBezTo>
                      <a:pt x="225" y="269"/>
                      <a:pt x="225" y="269"/>
                      <a:pt x="225" y="269"/>
                    </a:cubicBezTo>
                    <a:cubicBezTo>
                      <a:pt x="224" y="270"/>
                      <a:pt x="224" y="270"/>
                      <a:pt x="224" y="270"/>
                    </a:cubicBezTo>
                    <a:cubicBezTo>
                      <a:pt x="224" y="271"/>
                      <a:pt x="224" y="271"/>
                      <a:pt x="224" y="271"/>
                    </a:cubicBezTo>
                    <a:cubicBezTo>
                      <a:pt x="224" y="272"/>
                      <a:pt x="224" y="272"/>
                      <a:pt x="224" y="272"/>
                    </a:cubicBezTo>
                    <a:cubicBezTo>
                      <a:pt x="224" y="274"/>
                      <a:pt x="224" y="274"/>
                      <a:pt x="224" y="274"/>
                    </a:cubicBezTo>
                    <a:cubicBezTo>
                      <a:pt x="223" y="274"/>
                      <a:pt x="223" y="274"/>
                      <a:pt x="223" y="274"/>
                    </a:cubicBezTo>
                    <a:cubicBezTo>
                      <a:pt x="222" y="275"/>
                      <a:pt x="222" y="275"/>
                      <a:pt x="222" y="275"/>
                    </a:cubicBezTo>
                    <a:cubicBezTo>
                      <a:pt x="220" y="276"/>
                      <a:pt x="220" y="276"/>
                      <a:pt x="220" y="276"/>
                    </a:cubicBezTo>
                    <a:cubicBezTo>
                      <a:pt x="219" y="276"/>
                      <a:pt x="219" y="276"/>
                      <a:pt x="219" y="276"/>
                    </a:cubicBezTo>
                    <a:cubicBezTo>
                      <a:pt x="218" y="276"/>
                      <a:pt x="218" y="276"/>
                      <a:pt x="218" y="276"/>
                    </a:cubicBezTo>
                    <a:cubicBezTo>
                      <a:pt x="219" y="277"/>
                      <a:pt x="219" y="277"/>
                      <a:pt x="219" y="277"/>
                    </a:cubicBezTo>
                    <a:cubicBezTo>
                      <a:pt x="221" y="277"/>
                      <a:pt x="221" y="277"/>
                      <a:pt x="221" y="277"/>
                    </a:cubicBezTo>
                    <a:cubicBezTo>
                      <a:pt x="222" y="278"/>
                      <a:pt x="222" y="278"/>
                      <a:pt x="222" y="278"/>
                    </a:cubicBezTo>
                    <a:cubicBezTo>
                      <a:pt x="224" y="276"/>
                      <a:pt x="224" y="276"/>
                      <a:pt x="224" y="276"/>
                    </a:cubicBezTo>
                    <a:cubicBezTo>
                      <a:pt x="228" y="273"/>
                      <a:pt x="228" y="273"/>
                      <a:pt x="228" y="273"/>
                    </a:cubicBezTo>
                    <a:cubicBezTo>
                      <a:pt x="229" y="274"/>
                      <a:pt x="229" y="274"/>
                      <a:pt x="229" y="274"/>
                    </a:cubicBezTo>
                    <a:cubicBezTo>
                      <a:pt x="231" y="274"/>
                      <a:pt x="231" y="274"/>
                      <a:pt x="231" y="274"/>
                    </a:cubicBezTo>
                    <a:cubicBezTo>
                      <a:pt x="232" y="272"/>
                      <a:pt x="232" y="272"/>
                      <a:pt x="232" y="272"/>
                    </a:cubicBezTo>
                    <a:cubicBezTo>
                      <a:pt x="235" y="271"/>
                      <a:pt x="235" y="271"/>
                      <a:pt x="235" y="271"/>
                    </a:cubicBezTo>
                    <a:cubicBezTo>
                      <a:pt x="235" y="272"/>
                      <a:pt x="235" y="272"/>
                      <a:pt x="235" y="272"/>
                    </a:cubicBezTo>
                    <a:cubicBezTo>
                      <a:pt x="233" y="273"/>
                      <a:pt x="233" y="273"/>
                      <a:pt x="233" y="273"/>
                    </a:cubicBezTo>
                    <a:cubicBezTo>
                      <a:pt x="233" y="274"/>
                      <a:pt x="233" y="274"/>
                      <a:pt x="233" y="274"/>
                    </a:cubicBezTo>
                    <a:cubicBezTo>
                      <a:pt x="235" y="275"/>
                      <a:pt x="235" y="275"/>
                      <a:pt x="235" y="275"/>
                    </a:cubicBezTo>
                    <a:cubicBezTo>
                      <a:pt x="235" y="277"/>
                      <a:pt x="235" y="277"/>
                      <a:pt x="235" y="277"/>
                    </a:cubicBezTo>
                    <a:cubicBezTo>
                      <a:pt x="235" y="278"/>
                      <a:pt x="235" y="278"/>
                      <a:pt x="235" y="278"/>
                    </a:cubicBezTo>
                    <a:cubicBezTo>
                      <a:pt x="236" y="278"/>
                      <a:pt x="236" y="278"/>
                      <a:pt x="236" y="278"/>
                    </a:cubicBezTo>
                    <a:cubicBezTo>
                      <a:pt x="238" y="277"/>
                      <a:pt x="238" y="277"/>
                      <a:pt x="238" y="277"/>
                    </a:cubicBezTo>
                    <a:cubicBezTo>
                      <a:pt x="239" y="276"/>
                      <a:pt x="239" y="276"/>
                      <a:pt x="239" y="276"/>
                    </a:cubicBezTo>
                    <a:cubicBezTo>
                      <a:pt x="239" y="277"/>
                      <a:pt x="239" y="277"/>
                      <a:pt x="239" y="277"/>
                    </a:cubicBezTo>
                    <a:cubicBezTo>
                      <a:pt x="239" y="278"/>
                      <a:pt x="239" y="278"/>
                      <a:pt x="239" y="278"/>
                    </a:cubicBezTo>
                    <a:cubicBezTo>
                      <a:pt x="240" y="280"/>
                      <a:pt x="240" y="280"/>
                      <a:pt x="240" y="280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0" y="285"/>
                      <a:pt x="240" y="285"/>
                      <a:pt x="240" y="285"/>
                    </a:cubicBezTo>
                    <a:cubicBezTo>
                      <a:pt x="241" y="287"/>
                      <a:pt x="241" y="287"/>
                      <a:pt x="241" y="287"/>
                    </a:cubicBezTo>
                    <a:cubicBezTo>
                      <a:pt x="242" y="288"/>
                      <a:pt x="242" y="288"/>
                      <a:pt x="242" y="288"/>
                    </a:cubicBezTo>
                    <a:cubicBezTo>
                      <a:pt x="243" y="285"/>
                      <a:pt x="243" y="285"/>
                      <a:pt x="243" y="285"/>
                    </a:cubicBezTo>
                    <a:cubicBezTo>
                      <a:pt x="243" y="283"/>
                      <a:pt x="243" y="283"/>
                      <a:pt x="243" y="283"/>
                    </a:cubicBezTo>
                    <a:cubicBezTo>
                      <a:pt x="245" y="280"/>
                      <a:pt x="245" y="280"/>
                      <a:pt x="245" y="280"/>
                    </a:cubicBezTo>
                    <a:cubicBezTo>
                      <a:pt x="245" y="279"/>
                      <a:pt x="245" y="279"/>
                      <a:pt x="245" y="279"/>
                    </a:cubicBezTo>
                    <a:cubicBezTo>
                      <a:pt x="247" y="277"/>
                      <a:pt x="247" y="277"/>
                      <a:pt x="247" y="277"/>
                    </a:cubicBezTo>
                    <a:cubicBezTo>
                      <a:pt x="248" y="277"/>
                      <a:pt x="248" y="277"/>
                      <a:pt x="248" y="277"/>
                    </a:cubicBezTo>
                    <a:cubicBezTo>
                      <a:pt x="250" y="275"/>
                      <a:pt x="250" y="275"/>
                      <a:pt x="250" y="275"/>
                    </a:cubicBezTo>
                    <a:cubicBezTo>
                      <a:pt x="252" y="275"/>
                      <a:pt x="252" y="275"/>
                      <a:pt x="252" y="275"/>
                    </a:cubicBezTo>
                    <a:cubicBezTo>
                      <a:pt x="250" y="276"/>
                      <a:pt x="250" y="276"/>
                      <a:pt x="250" y="276"/>
                    </a:cubicBezTo>
                    <a:cubicBezTo>
                      <a:pt x="247" y="279"/>
                      <a:pt x="247" y="279"/>
                      <a:pt x="247" y="279"/>
                    </a:cubicBezTo>
                    <a:cubicBezTo>
                      <a:pt x="247" y="280"/>
                      <a:pt x="247" y="280"/>
                      <a:pt x="247" y="280"/>
                    </a:cubicBezTo>
                    <a:cubicBezTo>
                      <a:pt x="250" y="283"/>
                      <a:pt x="250" y="283"/>
                      <a:pt x="250" y="283"/>
                    </a:cubicBezTo>
                    <a:cubicBezTo>
                      <a:pt x="251" y="284"/>
                      <a:pt x="251" y="284"/>
                      <a:pt x="251" y="284"/>
                    </a:cubicBezTo>
                    <a:cubicBezTo>
                      <a:pt x="254" y="282"/>
                      <a:pt x="254" y="282"/>
                      <a:pt x="254" y="282"/>
                    </a:cubicBezTo>
                    <a:cubicBezTo>
                      <a:pt x="257" y="282"/>
                      <a:pt x="257" y="282"/>
                      <a:pt x="257" y="282"/>
                    </a:cubicBezTo>
                    <a:cubicBezTo>
                      <a:pt x="259" y="280"/>
                      <a:pt x="259" y="280"/>
                      <a:pt x="259" y="280"/>
                    </a:cubicBezTo>
                    <a:cubicBezTo>
                      <a:pt x="260" y="280"/>
                      <a:pt x="260" y="280"/>
                      <a:pt x="260" y="280"/>
                    </a:cubicBezTo>
                    <a:cubicBezTo>
                      <a:pt x="264" y="278"/>
                      <a:pt x="264" y="278"/>
                      <a:pt x="264" y="278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4" y="279"/>
                      <a:pt x="264" y="279"/>
                      <a:pt x="264" y="279"/>
                    </a:cubicBezTo>
                    <a:cubicBezTo>
                      <a:pt x="262" y="281"/>
                      <a:pt x="262" y="281"/>
                      <a:pt x="262" y="281"/>
                    </a:cubicBezTo>
                    <a:cubicBezTo>
                      <a:pt x="262" y="283"/>
                      <a:pt x="262" y="283"/>
                      <a:pt x="262" y="283"/>
                    </a:cubicBezTo>
                    <a:cubicBezTo>
                      <a:pt x="260" y="284"/>
                      <a:pt x="260" y="284"/>
                      <a:pt x="260" y="284"/>
                    </a:cubicBezTo>
                    <a:cubicBezTo>
                      <a:pt x="255" y="287"/>
                      <a:pt x="255" y="287"/>
                      <a:pt x="255" y="287"/>
                    </a:cubicBezTo>
                    <a:cubicBezTo>
                      <a:pt x="252" y="289"/>
                      <a:pt x="252" y="289"/>
                      <a:pt x="252" y="289"/>
                    </a:cubicBezTo>
                    <a:cubicBezTo>
                      <a:pt x="251" y="292"/>
                      <a:pt x="251" y="292"/>
                      <a:pt x="251" y="292"/>
                    </a:cubicBezTo>
                    <a:cubicBezTo>
                      <a:pt x="251" y="294"/>
                      <a:pt x="251" y="294"/>
                      <a:pt x="251" y="294"/>
                    </a:cubicBezTo>
                    <a:cubicBezTo>
                      <a:pt x="251" y="295"/>
                      <a:pt x="251" y="295"/>
                      <a:pt x="251" y="295"/>
                    </a:cubicBezTo>
                    <a:cubicBezTo>
                      <a:pt x="253" y="297"/>
                      <a:pt x="253" y="297"/>
                      <a:pt x="253" y="297"/>
                    </a:cubicBezTo>
                    <a:cubicBezTo>
                      <a:pt x="250" y="296"/>
                      <a:pt x="250" y="296"/>
                      <a:pt x="250" y="296"/>
                    </a:cubicBezTo>
                    <a:cubicBezTo>
                      <a:pt x="249" y="297"/>
                      <a:pt x="249" y="297"/>
                      <a:pt x="249" y="297"/>
                    </a:cubicBezTo>
                    <a:cubicBezTo>
                      <a:pt x="247" y="299"/>
                      <a:pt x="247" y="299"/>
                      <a:pt x="247" y="299"/>
                    </a:cubicBezTo>
                    <a:cubicBezTo>
                      <a:pt x="246" y="301"/>
                      <a:pt x="246" y="301"/>
                      <a:pt x="246" y="301"/>
                    </a:cubicBezTo>
                    <a:cubicBezTo>
                      <a:pt x="244" y="304"/>
                      <a:pt x="244" y="304"/>
                      <a:pt x="244" y="304"/>
                    </a:cubicBezTo>
                    <a:cubicBezTo>
                      <a:pt x="243" y="306"/>
                      <a:pt x="243" y="306"/>
                      <a:pt x="243" y="306"/>
                    </a:cubicBezTo>
                    <a:cubicBezTo>
                      <a:pt x="243" y="307"/>
                      <a:pt x="243" y="307"/>
                      <a:pt x="243" y="307"/>
                    </a:cubicBezTo>
                    <a:cubicBezTo>
                      <a:pt x="244" y="308"/>
                      <a:pt x="244" y="308"/>
                      <a:pt x="244" y="308"/>
                    </a:cubicBezTo>
                    <a:cubicBezTo>
                      <a:pt x="244" y="309"/>
                      <a:pt x="244" y="309"/>
                      <a:pt x="244" y="309"/>
                    </a:cubicBezTo>
                    <a:cubicBezTo>
                      <a:pt x="242" y="309"/>
                      <a:pt x="242" y="309"/>
                      <a:pt x="242" y="309"/>
                    </a:cubicBezTo>
                    <a:cubicBezTo>
                      <a:pt x="242" y="308"/>
                      <a:pt x="242" y="308"/>
                      <a:pt x="242" y="308"/>
                    </a:cubicBezTo>
                    <a:cubicBezTo>
                      <a:pt x="241" y="307"/>
                      <a:pt x="241" y="307"/>
                      <a:pt x="241" y="307"/>
                    </a:cubicBezTo>
                    <a:cubicBezTo>
                      <a:pt x="239" y="309"/>
                      <a:pt x="239" y="309"/>
                      <a:pt x="239" y="309"/>
                    </a:cubicBezTo>
                    <a:cubicBezTo>
                      <a:pt x="237" y="311"/>
                      <a:pt x="237" y="311"/>
                      <a:pt x="237" y="311"/>
                    </a:cubicBezTo>
                    <a:cubicBezTo>
                      <a:pt x="237" y="312"/>
                      <a:pt x="237" y="312"/>
                      <a:pt x="237" y="312"/>
                    </a:cubicBezTo>
                    <a:cubicBezTo>
                      <a:pt x="237" y="313"/>
                      <a:pt x="237" y="313"/>
                      <a:pt x="237" y="313"/>
                    </a:cubicBezTo>
                    <a:cubicBezTo>
                      <a:pt x="235" y="313"/>
                      <a:pt x="235" y="313"/>
                      <a:pt x="235" y="313"/>
                    </a:cubicBezTo>
                    <a:cubicBezTo>
                      <a:pt x="235" y="312"/>
                      <a:pt x="235" y="312"/>
                      <a:pt x="235" y="312"/>
                    </a:cubicBezTo>
                    <a:cubicBezTo>
                      <a:pt x="234" y="313"/>
                      <a:pt x="234" y="313"/>
                      <a:pt x="234" y="313"/>
                    </a:cubicBezTo>
                    <a:cubicBezTo>
                      <a:pt x="229" y="316"/>
                      <a:pt x="229" y="316"/>
                      <a:pt x="229" y="316"/>
                    </a:cubicBezTo>
                    <a:cubicBezTo>
                      <a:pt x="228" y="318"/>
                      <a:pt x="228" y="318"/>
                      <a:pt x="228" y="318"/>
                    </a:cubicBezTo>
                    <a:cubicBezTo>
                      <a:pt x="229" y="319"/>
                      <a:pt x="229" y="319"/>
                      <a:pt x="229" y="319"/>
                    </a:cubicBezTo>
                    <a:cubicBezTo>
                      <a:pt x="228" y="320"/>
                      <a:pt x="228" y="320"/>
                      <a:pt x="228" y="320"/>
                    </a:cubicBezTo>
                    <a:cubicBezTo>
                      <a:pt x="226" y="320"/>
                      <a:pt x="226" y="320"/>
                      <a:pt x="226" y="320"/>
                    </a:cubicBezTo>
                    <a:cubicBezTo>
                      <a:pt x="226" y="318"/>
                      <a:pt x="226" y="318"/>
                      <a:pt x="226" y="318"/>
                    </a:cubicBezTo>
                    <a:cubicBezTo>
                      <a:pt x="224" y="319"/>
                      <a:pt x="224" y="319"/>
                      <a:pt x="224" y="319"/>
                    </a:cubicBezTo>
                    <a:cubicBezTo>
                      <a:pt x="221" y="321"/>
                      <a:pt x="221" y="321"/>
                      <a:pt x="221" y="321"/>
                    </a:cubicBezTo>
                    <a:cubicBezTo>
                      <a:pt x="220" y="321"/>
                      <a:pt x="220" y="321"/>
                      <a:pt x="220" y="321"/>
                    </a:cubicBezTo>
                    <a:cubicBezTo>
                      <a:pt x="219" y="323"/>
                      <a:pt x="219" y="323"/>
                      <a:pt x="219" y="323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5" y="323"/>
                      <a:pt x="215" y="323"/>
                      <a:pt x="215" y="323"/>
                    </a:cubicBezTo>
                    <a:cubicBezTo>
                      <a:pt x="213" y="326"/>
                      <a:pt x="213" y="326"/>
                      <a:pt x="213" y="326"/>
                    </a:cubicBezTo>
                    <a:cubicBezTo>
                      <a:pt x="208" y="328"/>
                      <a:pt x="208" y="328"/>
                      <a:pt x="208" y="328"/>
                    </a:cubicBezTo>
                    <a:cubicBezTo>
                      <a:pt x="205" y="330"/>
                      <a:pt x="205" y="330"/>
                      <a:pt x="205" y="330"/>
                    </a:cubicBezTo>
                    <a:cubicBezTo>
                      <a:pt x="204" y="333"/>
                      <a:pt x="204" y="333"/>
                      <a:pt x="204" y="333"/>
                    </a:cubicBezTo>
                    <a:cubicBezTo>
                      <a:pt x="204" y="334"/>
                      <a:pt x="204" y="334"/>
                      <a:pt x="204" y="334"/>
                    </a:cubicBez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04" y="337"/>
                      <a:pt x="204" y="337"/>
                      <a:pt x="204" y="337"/>
                    </a:cubicBezTo>
                    <a:cubicBezTo>
                      <a:pt x="204" y="337"/>
                      <a:pt x="204" y="337"/>
                      <a:pt x="204" y="337"/>
                    </a:cubicBezTo>
                    <a:cubicBezTo>
                      <a:pt x="203" y="336"/>
                      <a:pt x="203" y="336"/>
                      <a:pt x="203" y="336"/>
                    </a:cubicBezTo>
                    <a:cubicBezTo>
                      <a:pt x="202" y="336"/>
                      <a:pt x="202" y="336"/>
                      <a:pt x="202" y="336"/>
                    </a:cubicBezTo>
                    <a:cubicBezTo>
                      <a:pt x="201" y="337"/>
                      <a:pt x="201" y="337"/>
                      <a:pt x="201" y="337"/>
                    </a:cubicBezTo>
                    <a:cubicBezTo>
                      <a:pt x="201" y="338"/>
                      <a:pt x="201" y="338"/>
                      <a:pt x="201" y="338"/>
                    </a:cubicBezTo>
                    <a:cubicBezTo>
                      <a:pt x="201" y="339"/>
                      <a:pt x="201" y="339"/>
                      <a:pt x="201" y="339"/>
                    </a:cubicBezTo>
                    <a:cubicBezTo>
                      <a:pt x="199" y="337"/>
                      <a:pt x="199" y="337"/>
                      <a:pt x="199" y="337"/>
                    </a:cubicBezTo>
                    <a:cubicBezTo>
                      <a:pt x="199" y="335"/>
                      <a:pt x="199" y="335"/>
                      <a:pt x="199" y="335"/>
                    </a:cubicBezTo>
                    <a:cubicBezTo>
                      <a:pt x="200" y="334"/>
                      <a:pt x="200" y="334"/>
                      <a:pt x="200" y="334"/>
                    </a:cubicBezTo>
                    <a:cubicBezTo>
                      <a:pt x="199" y="333"/>
                      <a:pt x="199" y="333"/>
                      <a:pt x="199" y="333"/>
                    </a:cubicBezTo>
                    <a:cubicBezTo>
                      <a:pt x="197" y="334"/>
                      <a:pt x="197" y="334"/>
                      <a:pt x="197" y="334"/>
                    </a:cubicBezTo>
                    <a:cubicBezTo>
                      <a:pt x="196" y="333"/>
                      <a:pt x="196" y="333"/>
                      <a:pt x="196" y="333"/>
                    </a:cubicBezTo>
                    <a:cubicBezTo>
                      <a:pt x="194" y="334"/>
                      <a:pt x="194" y="334"/>
                      <a:pt x="194" y="334"/>
                    </a:cubicBezTo>
                    <a:cubicBezTo>
                      <a:pt x="191" y="334"/>
                      <a:pt x="191" y="334"/>
                      <a:pt x="191" y="334"/>
                    </a:cubicBezTo>
                    <a:cubicBezTo>
                      <a:pt x="190" y="335"/>
                      <a:pt x="190" y="335"/>
                      <a:pt x="190" y="335"/>
                    </a:cubicBezTo>
                    <a:cubicBezTo>
                      <a:pt x="188" y="336"/>
                      <a:pt x="188" y="336"/>
                      <a:pt x="188" y="336"/>
                    </a:cubicBezTo>
                    <a:cubicBezTo>
                      <a:pt x="186" y="337"/>
                      <a:pt x="186" y="337"/>
                      <a:pt x="186" y="337"/>
                    </a:cubicBezTo>
                    <a:cubicBezTo>
                      <a:pt x="184" y="339"/>
                      <a:pt x="184" y="339"/>
                      <a:pt x="184" y="339"/>
                    </a:cubicBezTo>
                    <a:cubicBezTo>
                      <a:pt x="181" y="341"/>
                      <a:pt x="181" y="341"/>
                      <a:pt x="181" y="341"/>
                    </a:cubicBezTo>
                    <a:cubicBezTo>
                      <a:pt x="182" y="342"/>
                      <a:pt x="182" y="342"/>
                      <a:pt x="182" y="342"/>
                    </a:cubicBezTo>
                    <a:cubicBezTo>
                      <a:pt x="181" y="343"/>
                      <a:pt x="181" y="343"/>
                      <a:pt x="181" y="343"/>
                    </a:cubicBezTo>
                    <a:cubicBezTo>
                      <a:pt x="180" y="343"/>
                      <a:pt x="180" y="343"/>
                      <a:pt x="180" y="343"/>
                    </a:cubicBezTo>
                    <a:cubicBezTo>
                      <a:pt x="178" y="344"/>
                      <a:pt x="178" y="344"/>
                      <a:pt x="178" y="344"/>
                    </a:cubicBezTo>
                    <a:cubicBezTo>
                      <a:pt x="176" y="345"/>
                      <a:pt x="176" y="345"/>
                      <a:pt x="176" y="345"/>
                    </a:cubicBezTo>
                    <a:cubicBezTo>
                      <a:pt x="176" y="346"/>
                      <a:pt x="176" y="346"/>
                      <a:pt x="176" y="346"/>
                    </a:cubicBezTo>
                    <a:cubicBezTo>
                      <a:pt x="175" y="346"/>
                      <a:pt x="175" y="346"/>
                      <a:pt x="175" y="346"/>
                    </a:cubicBezTo>
                    <a:cubicBezTo>
                      <a:pt x="174" y="346"/>
                      <a:pt x="174" y="346"/>
                      <a:pt x="174" y="346"/>
                    </a:cubicBezTo>
                    <a:cubicBezTo>
                      <a:pt x="172" y="346"/>
                      <a:pt x="172" y="346"/>
                      <a:pt x="172" y="346"/>
                    </a:cubicBezTo>
                    <a:cubicBezTo>
                      <a:pt x="171" y="348"/>
                      <a:pt x="171" y="348"/>
                      <a:pt x="171" y="348"/>
                    </a:cubicBezTo>
                    <a:cubicBezTo>
                      <a:pt x="171" y="350"/>
                      <a:pt x="171" y="350"/>
                      <a:pt x="171" y="350"/>
                    </a:cubicBezTo>
                    <a:cubicBezTo>
                      <a:pt x="171" y="351"/>
                      <a:pt x="171" y="351"/>
                      <a:pt x="171" y="351"/>
                    </a:cubicBezTo>
                    <a:cubicBezTo>
                      <a:pt x="173" y="350"/>
                      <a:pt x="173" y="350"/>
                      <a:pt x="173" y="350"/>
                    </a:cubicBezTo>
                    <a:cubicBezTo>
                      <a:pt x="173" y="349"/>
                      <a:pt x="173" y="349"/>
                      <a:pt x="173" y="349"/>
                    </a:cubicBezTo>
                    <a:cubicBezTo>
                      <a:pt x="173" y="348"/>
                      <a:pt x="173" y="348"/>
                      <a:pt x="173" y="348"/>
                    </a:cubicBezTo>
                    <a:cubicBezTo>
                      <a:pt x="174" y="347"/>
                      <a:pt x="174" y="347"/>
                      <a:pt x="174" y="347"/>
                    </a:cubicBezTo>
                    <a:cubicBezTo>
                      <a:pt x="175" y="348"/>
                      <a:pt x="175" y="348"/>
                      <a:pt x="175" y="348"/>
                    </a:cubicBezTo>
                    <a:cubicBezTo>
                      <a:pt x="175" y="349"/>
                      <a:pt x="175" y="349"/>
                      <a:pt x="175" y="349"/>
                    </a:cubicBezTo>
                    <a:cubicBezTo>
                      <a:pt x="175" y="350"/>
                      <a:pt x="175" y="350"/>
                      <a:pt x="175" y="350"/>
                    </a:cubicBezTo>
                    <a:cubicBezTo>
                      <a:pt x="176" y="350"/>
                      <a:pt x="176" y="350"/>
                      <a:pt x="176" y="350"/>
                    </a:cubicBezTo>
                    <a:cubicBezTo>
                      <a:pt x="178" y="347"/>
                      <a:pt x="178" y="347"/>
                      <a:pt x="178" y="347"/>
                    </a:cubicBezTo>
                    <a:cubicBezTo>
                      <a:pt x="179" y="346"/>
                      <a:pt x="179" y="346"/>
                      <a:pt x="179" y="346"/>
                    </a:cubicBezTo>
                    <a:cubicBezTo>
                      <a:pt x="180" y="347"/>
                      <a:pt x="180" y="347"/>
                      <a:pt x="180" y="347"/>
                    </a:cubicBezTo>
                    <a:cubicBezTo>
                      <a:pt x="179" y="349"/>
                      <a:pt x="179" y="349"/>
                      <a:pt x="179" y="349"/>
                    </a:cubicBezTo>
                    <a:cubicBezTo>
                      <a:pt x="180" y="349"/>
                      <a:pt x="180" y="349"/>
                      <a:pt x="180" y="349"/>
                    </a:cubicBezTo>
                    <a:cubicBezTo>
                      <a:pt x="181" y="349"/>
                      <a:pt x="181" y="349"/>
                      <a:pt x="181" y="349"/>
                    </a:cubicBezTo>
                    <a:cubicBezTo>
                      <a:pt x="182" y="347"/>
                      <a:pt x="182" y="347"/>
                      <a:pt x="182" y="347"/>
                    </a:cubicBezTo>
                    <a:cubicBezTo>
                      <a:pt x="182" y="349"/>
                      <a:pt x="182" y="349"/>
                      <a:pt x="182" y="349"/>
                    </a:cubicBezTo>
                    <a:cubicBezTo>
                      <a:pt x="183" y="349"/>
                      <a:pt x="183" y="349"/>
                      <a:pt x="183" y="349"/>
                    </a:cubicBezTo>
                    <a:cubicBezTo>
                      <a:pt x="183" y="347"/>
                      <a:pt x="183" y="347"/>
                      <a:pt x="183" y="347"/>
                    </a:cubicBezTo>
                    <a:cubicBezTo>
                      <a:pt x="185" y="347"/>
                      <a:pt x="185" y="347"/>
                      <a:pt x="185" y="347"/>
                    </a:cubicBezTo>
                    <a:cubicBezTo>
                      <a:pt x="186" y="347"/>
                      <a:pt x="186" y="347"/>
                      <a:pt x="186" y="347"/>
                    </a:cubicBezTo>
                    <a:cubicBezTo>
                      <a:pt x="188" y="346"/>
                      <a:pt x="188" y="346"/>
                      <a:pt x="188" y="346"/>
                    </a:cubicBezTo>
                    <a:cubicBezTo>
                      <a:pt x="189" y="343"/>
                      <a:pt x="189" y="343"/>
                      <a:pt x="189" y="343"/>
                    </a:cubicBezTo>
                    <a:cubicBezTo>
                      <a:pt x="189" y="342"/>
                      <a:pt x="189" y="342"/>
                      <a:pt x="189" y="342"/>
                    </a:cubicBezTo>
                    <a:cubicBezTo>
                      <a:pt x="191" y="341"/>
                      <a:pt x="191" y="341"/>
                      <a:pt x="191" y="341"/>
                    </a:cubicBezTo>
                    <a:cubicBezTo>
                      <a:pt x="192" y="339"/>
                      <a:pt x="192" y="339"/>
                      <a:pt x="192" y="339"/>
                    </a:cubicBezTo>
                    <a:cubicBezTo>
                      <a:pt x="193" y="339"/>
                      <a:pt x="193" y="339"/>
                      <a:pt x="193" y="339"/>
                    </a:cubicBezTo>
                    <a:cubicBezTo>
                      <a:pt x="195" y="341"/>
                      <a:pt x="195" y="341"/>
                      <a:pt x="195" y="341"/>
                    </a:cubicBezTo>
                    <a:cubicBezTo>
                      <a:pt x="195" y="341"/>
                      <a:pt x="195" y="341"/>
                      <a:pt x="195" y="341"/>
                    </a:cubicBezTo>
                    <a:cubicBezTo>
                      <a:pt x="193" y="342"/>
                      <a:pt x="193" y="342"/>
                      <a:pt x="193" y="342"/>
                    </a:cubicBezTo>
                    <a:cubicBezTo>
                      <a:pt x="192" y="343"/>
                      <a:pt x="192" y="343"/>
                      <a:pt x="192" y="343"/>
                    </a:cubicBezTo>
                    <a:cubicBezTo>
                      <a:pt x="192" y="345"/>
                      <a:pt x="192" y="345"/>
                      <a:pt x="192" y="345"/>
                    </a:cubicBezTo>
                    <a:cubicBezTo>
                      <a:pt x="193" y="345"/>
                      <a:pt x="193" y="345"/>
                      <a:pt x="193" y="345"/>
                    </a:cubicBezTo>
                    <a:cubicBezTo>
                      <a:pt x="195" y="344"/>
                      <a:pt x="195" y="344"/>
                      <a:pt x="195" y="344"/>
                    </a:cubicBezTo>
                    <a:cubicBezTo>
                      <a:pt x="196" y="342"/>
                      <a:pt x="196" y="342"/>
                      <a:pt x="196" y="342"/>
                    </a:cubicBezTo>
                    <a:cubicBezTo>
                      <a:pt x="197" y="342"/>
                      <a:pt x="197" y="342"/>
                      <a:pt x="197" y="342"/>
                    </a:cubicBezTo>
                    <a:cubicBezTo>
                      <a:pt x="197" y="343"/>
                      <a:pt x="197" y="343"/>
                      <a:pt x="197" y="343"/>
                    </a:cubicBezTo>
                    <a:cubicBezTo>
                      <a:pt x="198" y="341"/>
                      <a:pt x="198" y="341"/>
                      <a:pt x="198" y="341"/>
                    </a:cubicBezTo>
                    <a:cubicBezTo>
                      <a:pt x="199" y="342"/>
                      <a:pt x="199" y="342"/>
                      <a:pt x="199" y="342"/>
                    </a:cubicBezTo>
                    <a:cubicBezTo>
                      <a:pt x="199" y="343"/>
                      <a:pt x="199" y="343"/>
                      <a:pt x="199" y="343"/>
                    </a:cubicBezTo>
                    <a:cubicBezTo>
                      <a:pt x="199" y="344"/>
                      <a:pt x="199" y="344"/>
                      <a:pt x="199" y="344"/>
                    </a:cubicBezTo>
                    <a:cubicBezTo>
                      <a:pt x="199" y="344"/>
                      <a:pt x="199" y="344"/>
                      <a:pt x="199" y="344"/>
                    </a:cubicBezTo>
                    <a:cubicBezTo>
                      <a:pt x="201" y="342"/>
                      <a:pt x="201" y="342"/>
                      <a:pt x="201" y="342"/>
                    </a:cubicBezTo>
                    <a:cubicBezTo>
                      <a:pt x="202" y="342"/>
                      <a:pt x="202" y="342"/>
                      <a:pt x="202" y="342"/>
                    </a:cubicBezTo>
                    <a:cubicBezTo>
                      <a:pt x="204" y="341"/>
                      <a:pt x="204" y="341"/>
                      <a:pt x="204" y="341"/>
                    </a:cubicBezTo>
                    <a:cubicBezTo>
                      <a:pt x="205" y="341"/>
                      <a:pt x="205" y="341"/>
                      <a:pt x="205" y="341"/>
                    </a:cubicBezTo>
                    <a:cubicBezTo>
                      <a:pt x="207" y="338"/>
                      <a:pt x="207" y="338"/>
                      <a:pt x="207" y="338"/>
                    </a:cubicBezTo>
                    <a:cubicBezTo>
                      <a:pt x="209" y="337"/>
                      <a:pt x="209" y="337"/>
                      <a:pt x="209" y="337"/>
                    </a:cubicBezTo>
                    <a:cubicBezTo>
                      <a:pt x="210" y="338"/>
                      <a:pt x="210" y="338"/>
                      <a:pt x="210" y="338"/>
                    </a:cubicBezTo>
                    <a:cubicBezTo>
                      <a:pt x="210" y="339"/>
                      <a:pt x="210" y="339"/>
                      <a:pt x="210" y="339"/>
                    </a:cubicBezTo>
                    <a:cubicBezTo>
                      <a:pt x="209" y="341"/>
                      <a:pt x="209" y="341"/>
                      <a:pt x="209" y="341"/>
                    </a:cubicBezTo>
                    <a:cubicBezTo>
                      <a:pt x="208" y="343"/>
                      <a:pt x="208" y="343"/>
                      <a:pt x="208" y="343"/>
                    </a:cubicBezTo>
                    <a:cubicBezTo>
                      <a:pt x="208" y="344"/>
                      <a:pt x="208" y="344"/>
                      <a:pt x="208" y="344"/>
                    </a:cubicBezTo>
                    <a:cubicBezTo>
                      <a:pt x="209" y="344"/>
                      <a:pt x="209" y="344"/>
                      <a:pt x="209" y="344"/>
                    </a:cubicBezTo>
                    <a:cubicBezTo>
                      <a:pt x="211" y="341"/>
                      <a:pt x="211" y="341"/>
                      <a:pt x="211" y="341"/>
                    </a:cubicBezTo>
                    <a:cubicBezTo>
                      <a:pt x="211" y="338"/>
                      <a:pt x="211" y="338"/>
                      <a:pt x="211" y="338"/>
                    </a:cubicBezTo>
                    <a:cubicBezTo>
                      <a:pt x="212" y="337"/>
                      <a:pt x="212" y="337"/>
                      <a:pt x="212" y="337"/>
                    </a:cubicBezTo>
                    <a:cubicBezTo>
                      <a:pt x="213" y="339"/>
                      <a:pt x="213" y="339"/>
                      <a:pt x="213" y="339"/>
                    </a:cubicBezTo>
                    <a:cubicBezTo>
                      <a:pt x="214" y="338"/>
                      <a:pt x="214" y="338"/>
                      <a:pt x="214" y="338"/>
                    </a:cubicBezTo>
                    <a:cubicBezTo>
                      <a:pt x="215" y="338"/>
                      <a:pt x="215" y="338"/>
                      <a:pt x="215" y="338"/>
                    </a:cubicBezTo>
                    <a:cubicBezTo>
                      <a:pt x="217" y="338"/>
                      <a:pt x="217" y="338"/>
                      <a:pt x="217" y="338"/>
                    </a:cubicBezTo>
                    <a:cubicBezTo>
                      <a:pt x="219" y="336"/>
                      <a:pt x="219" y="336"/>
                      <a:pt x="219" y="336"/>
                    </a:cubicBezTo>
                    <a:cubicBezTo>
                      <a:pt x="220" y="336"/>
                      <a:pt x="220" y="336"/>
                      <a:pt x="220" y="336"/>
                    </a:cubicBezTo>
                    <a:cubicBezTo>
                      <a:pt x="220" y="336"/>
                      <a:pt x="220" y="336"/>
                      <a:pt x="220" y="336"/>
                    </a:cubicBezTo>
                    <a:cubicBezTo>
                      <a:pt x="221" y="334"/>
                      <a:pt x="221" y="334"/>
                      <a:pt x="221" y="334"/>
                    </a:cubicBezTo>
                    <a:cubicBezTo>
                      <a:pt x="222" y="333"/>
                      <a:pt x="222" y="333"/>
                      <a:pt x="222" y="333"/>
                    </a:cubicBezTo>
                    <a:cubicBezTo>
                      <a:pt x="222" y="334"/>
                      <a:pt x="222" y="334"/>
                      <a:pt x="222" y="334"/>
                    </a:cubicBezTo>
                    <a:cubicBezTo>
                      <a:pt x="222" y="335"/>
                      <a:pt x="222" y="335"/>
                      <a:pt x="222" y="335"/>
                    </a:cubicBezTo>
                    <a:cubicBezTo>
                      <a:pt x="222" y="337"/>
                      <a:pt x="222" y="337"/>
                      <a:pt x="222" y="337"/>
                    </a:cubicBezTo>
                    <a:cubicBezTo>
                      <a:pt x="223" y="336"/>
                      <a:pt x="223" y="336"/>
                      <a:pt x="223" y="336"/>
                    </a:cubicBezTo>
                    <a:cubicBezTo>
                      <a:pt x="225" y="335"/>
                      <a:pt x="225" y="335"/>
                      <a:pt x="225" y="335"/>
                    </a:cubicBezTo>
                    <a:cubicBezTo>
                      <a:pt x="224" y="334"/>
                      <a:pt x="224" y="334"/>
                      <a:pt x="224" y="334"/>
                    </a:cubicBezTo>
                    <a:cubicBezTo>
                      <a:pt x="226" y="333"/>
                      <a:pt x="226" y="333"/>
                      <a:pt x="226" y="333"/>
                    </a:cubicBezTo>
                    <a:cubicBezTo>
                      <a:pt x="225" y="332"/>
                      <a:pt x="225" y="332"/>
                      <a:pt x="225" y="332"/>
                    </a:cubicBezTo>
                    <a:cubicBezTo>
                      <a:pt x="222" y="332"/>
                      <a:pt x="222" y="332"/>
                      <a:pt x="222" y="332"/>
                    </a:cubicBezTo>
                    <a:cubicBezTo>
                      <a:pt x="222" y="332"/>
                      <a:pt x="222" y="332"/>
                      <a:pt x="222" y="332"/>
                    </a:cubicBezTo>
                    <a:cubicBezTo>
                      <a:pt x="224" y="331"/>
                      <a:pt x="224" y="331"/>
                      <a:pt x="224" y="331"/>
                    </a:cubicBezTo>
                    <a:cubicBezTo>
                      <a:pt x="227" y="329"/>
                      <a:pt x="227" y="329"/>
                      <a:pt x="227" y="329"/>
                    </a:cubicBezTo>
                    <a:cubicBezTo>
                      <a:pt x="231" y="329"/>
                      <a:pt x="231" y="329"/>
                      <a:pt x="231" y="329"/>
                    </a:cubicBezTo>
                    <a:cubicBezTo>
                      <a:pt x="232" y="328"/>
                      <a:pt x="232" y="328"/>
                      <a:pt x="232" y="328"/>
                    </a:cubicBezTo>
                    <a:cubicBezTo>
                      <a:pt x="232" y="327"/>
                      <a:pt x="232" y="327"/>
                      <a:pt x="232" y="327"/>
                    </a:cubicBezTo>
                    <a:cubicBezTo>
                      <a:pt x="231" y="327"/>
                      <a:pt x="231" y="327"/>
                      <a:pt x="231" y="327"/>
                    </a:cubicBezTo>
                    <a:cubicBezTo>
                      <a:pt x="232" y="326"/>
                      <a:pt x="232" y="326"/>
                      <a:pt x="232" y="326"/>
                    </a:cubicBezTo>
                    <a:cubicBezTo>
                      <a:pt x="233" y="326"/>
                      <a:pt x="233" y="326"/>
                      <a:pt x="233" y="326"/>
                    </a:cubicBezTo>
                    <a:cubicBezTo>
                      <a:pt x="234" y="325"/>
                      <a:pt x="234" y="325"/>
                      <a:pt x="234" y="325"/>
                    </a:cubicBezTo>
                    <a:cubicBezTo>
                      <a:pt x="235" y="325"/>
                      <a:pt x="235" y="325"/>
                      <a:pt x="235" y="325"/>
                    </a:cubicBezTo>
                    <a:cubicBezTo>
                      <a:pt x="236" y="327"/>
                      <a:pt x="236" y="327"/>
                      <a:pt x="236" y="327"/>
                    </a:cubicBezTo>
                    <a:cubicBezTo>
                      <a:pt x="237" y="327"/>
                      <a:pt x="237" y="327"/>
                      <a:pt x="237" y="327"/>
                    </a:cubicBezTo>
                    <a:cubicBezTo>
                      <a:pt x="238" y="326"/>
                      <a:pt x="238" y="326"/>
                      <a:pt x="238" y="326"/>
                    </a:cubicBezTo>
                    <a:cubicBezTo>
                      <a:pt x="237" y="325"/>
                      <a:pt x="237" y="325"/>
                      <a:pt x="237" y="325"/>
                    </a:cubicBezTo>
                    <a:cubicBezTo>
                      <a:pt x="239" y="324"/>
                      <a:pt x="239" y="324"/>
                      <a:pt x="239" y="324"/>
                    </a:cubicBezTo>
                    <a:cubicBezTo>
                      <a:pt x="239" y="322"/>
                      <a:pt x="239" y="322"/>
                      <a:pt x="239" y="322"/>
                    </a:cubicBezTo>
                    <a:cubicBezTo>
                      <a:pt x="239" y="321"/>
                      <a:pt x="239" y="321"/>
                      <a:pt x="239" y="321"/>
                    </a:cubicBezTo>
                    <a:cubicBezTo>
                      <a:pt x="240" y="322"/>
                      <a:pt x="240" y="322"/>
                      <a:pt x="240" y="322"/>
                    </a:cubicBezTo>
                    <a:cubicBezTo>
                      <a:pt x="240" y="324"/>
                      <a:pt x="240" y="324"/>
                      <a:pt x="240" y="324"/>
                    </a:cubicBezTo>
                    <a:cubicBezTo>
                      <a:pt x="241" y="324"/>
                      <a:pt x="241" y="324"/>
                      <a:pt x="241" y="324"/>
                    </a:cubicBezTo>
                    <a:cubicBezTo>
                      <a:pt x="243" y="323"/>
                      <a:pt x="243" y="323"/>
                      <a:pt x="243" y="323"/>
                    </a:cubicBezTo>
                    <a:cubicBezTo>
                      <a:pt x="244" y="321"/>
                      <a:pt x="244" y="321"/>
                      <a:pt x="244" y="321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7" y="320"/>
                      <a:pt x="247" y="320"/>
                      <a:pt x="247" y="320"/>
                    </a:cubicBezTo>
                    <a:cubicBezTo>
                      <a:pt x="247" y="319"/>
                      <a:pt x="247" y="319"/>
                      <a:pt x="247" y="319"/>
                    </a:cubicBezTo>
                    <a:cubicBezTo>
                      <a:pt x="248" y="320"/>
                      <a:pt x="248" y="320"/>
                      <a:pt x="248" y="320"/>
                    </a:cubicBezTo>
                    <a:cubicBezTo>
                      <a:pt x="250" y="320"/>
                      <a:pt x="250" y="320"/>
                      <a:pt x="250" y="320"/>
                    </a:cubicBezTo>
                    <a:cubicBezTo>
                      <a:pt x="252" y="317"/>
                      <a:pt x="252" y="317"/>
                      <a:pt x="252" y="317"/>
                    </a:cubicBezTo>
                    <a:cubicBezTo>
                      <a:pt x="252" y="316"/>
                      <a:pt x="252" y="316"/>
                      <a:pt x="252" y="316"/>
                    </a:cubicBezTo>
                    <a:cubicBezTo>
                      <a:pt x="251" y="316"/>
                      <a:pt x="251" y="316"/>
                      <a:pt x="251" y="316"/>
                    </a:cubicBezTo>
                    <a:cubicBezTo>
                      <a:pt x="250" y="316"/>
                      <a:pt x="250" y="316"/>
                      <a:pt x="250" y="316"/>
                    </a:cubicBezTo>
                    <a:cubicBezTo>
                      <a:pt x="250" y="316"/>
                      <a:pt x="250" y="316"/>
                      <a:pt x="250" y="316"/>
                    </a:cubicBezTo>
                    <a:cubicBezTo>
                      <a:pt x="252" y="314"/>
                      <a:pt x="252" y="314"/>
                      <a:pt x="252" y="314"/>
                    </a:cubicBezTo>
                    <a:cubicBezTo>
                      <a:pt x="254" y="313"/>
                      <a:pt x="254" y="313"/>
                      <a:pt x="254" y="313"/>
                    </a:cubicBezTo>
                    <a:cubicBezTo>
                      <a:pt x="256" y="311"/>
                      <a:pt x="256" y="311"/>
                      <a:pt x="256" y="311"/>
                    </a:cubicBezTo>
                    <a:cubicBezTo>
                      <a:pt x="256" y="311"/>
                      <a:pt x="256" y="311"/>
                      <a:pt x="256" y="311"/>
                    </a:cubicBezTo>
                    <a:cubicBezTo>
                      <a:pt x="257" y="312"/>
                      <a:pt x="257" y="312"/>
                      <a:pt x="257" y="312"/>
                    </a:cubicBezTo>
                    <a:cubicBezTo>
                      <a:pt x="259" y="310"/>
                      <a:pt x="259" y="310"/>
                      <a:pt x="259" y="310"/>
                    </a:cubicBezTo>
                    <a:cubicBezTo>
                      <a:pt x="261" y="309"/>
                      <a:pt x="261" y="309"/>
                      <a:pt x="261" y="309"/>
                    </a:cubicBezTo>
                    <a:cubicBezTo>
                      <a:pt x="261" y="308"/>
                      <a:pt x="261" y="308"/>
                      <a:pt x="261" y="308"/>
                    </a:cubicBezTo>
                    <a:cubicBezTo>
                      <a:pt x="262" y="307"/>
                      <a:pt x="262" y="307"/>
                      <a:pt x="262" y="307"/>
                    </a:cubicBezTo>
                    <a:cubicBezTo>
                      <a:pt x="263" y="306"/>
                      <a:pt x="263" y="306"/>
                      <a:pt x="263" y="306"/>
                    </a:cubicBezTo>
                    <a:cubicBezTo>
                      <a:pt x="264" y="306"/>
                      <a:pt x="264" y="306"/>
                      <a:pt x="264" y="306"/>
                    </a:cubicBezTo>
                    <a:cubicBezTo>
                      <a:pt x="265" y="307"/>
                      <a:pt x="265" y="307"/>
                      <a:pt x="265" y="307"/>
                    </a:cubicBezTo>
                    <a:cubicBezTo>
                      <a:pt x="266" y="308"/>
                      <a:pt x="266" y="308"/>
                      <a:pt x="266" y="308"/>
                    </a:cubicBezTo>
                    <a:cubicBezTo>
                      <a:pt x="266" y="306"/>
                      <a:pt x="266" y="306"/>
                      <a:pt x="266" y="306"/>
                    </a:cubicBezTo>
                    <a:cubicBezTo>
                      <a:pt x="268" y="306"/>
                      <a:pt x="268" y="306"/>
                      <a:pt x="268" y="306"/>
                    </a:cubicBezTo>
                    <a:cubicBezTo>
                      <a:pt x="269" y="306"/>
                      <a:pt x="269" y="306"/>
                      <a:pt x="269" y="306"/>
                    </a:cubicBezTo>
                    <a:cubicBezTo>
                      <a:pt x="269" y="305"/>
                      <a:pt x="269" y="305"/>
                      <a:pt x="269" y="305"/>
                    </a:cubicBezTo>
                    <a:cubicBezTo>
                      <a:pt x="270" y="304"/>
                      <a:pt x="270" y="304"/>
                      <a:pt x="270" y="304"/>
                    </a:cubicBezTo>
                    <a:cubicBezTo>
                      <a:pt x="271" y="303"/>
                      <a:pt x="271" y="303"/>
                      <a:pt x="271" y="303"/>
                    </a:cubicBezTo>
                    <a:cubicBezTo>
                      <a:pt x="271" y="304"/>
                      <a:pt x="271" y="304"/>
                      <a:pt x="271" y="304"/>
                    </a:cubicBezTo>
                    <a:cubicBezTo>
                      <a:pt x="274" y="304"/>
                      <a:pt x="274" y="304"/>
                      <a:pt x="274" y="304"/>
                    </a:cubicBezTo>
                    <a:cubicBezTo>
                      <a:pt x="275" y="302"/>
                      <a:pt x="275" y="302"/>
                      <a:pt x="275" y="302"/>
                    </a:cubicBezTo>
                    <a:cubicBezTo>
                      <a:pt x="275" y="302"/>
                      <a:pt x="275" y="302"/>
                      <a:pt x="275" y="302"/>
                    </a:cubicBezTo>
                    <a:cubicBezTo>
                      <a:pt x="276" y="303"/>
                      <a:pt x="276" y="303"/>
                      <a:pt x="276" y="303"/>
                    </a:cubicBezTo>
                    <a:cubicBezTo>
                      <a:pt x="276" y="303"/>
                      <a:pt x="276" y="303"/>
                      <a:pt x="276" y="303"/>
                    </a:cubicBezTo>
                    <a:cubicBezTo>
                      <a:pt x="277" y="302"/>
                      <a:pt x="277" y="302"/>
                      <a:pt x="277" y="302"/>
                    </a:cubicBezTo>
                    <a:cubicBezTo>
                      <a:pt x="278" y="303"/>
                      <a:pt x="278" y="303"/>
                      <a:pt x="278" y="303"/>
                    </a:cubicBezTo>
                    <a:cubicBezTo>
                      <a:pt x="279" y="303"/>
                      <a:pt x="279" y="303"/>
                      <a:pt x="279" y="303"/>
                    </a:cubicBezTo>
                    <a:cubicBezTo>
                      <a:pt x="280" y="300"/>
                      <a:pt x="280" y="300"/>
                      <a:pt x="280" y="300"/>
                    </a:cubicBezTo>
                    <a:cubicBezTo>
                      <a:pt x="279" y="300"/>
                      <a:pt x="279" y="300"/>
                      <a:pt x="279" y="300"/>
                    </a:cubicBezTo>
                    <a:cubicBezTo>
                      <a:pt x="278" y="300"/>
                      <a:pt x="278" y="300"/>
                      <a:pt x="278" y="300"/>
                    </a:cubicBezTo>
                    <a:cubicBezTo>
                      <a:pt x="278" y="299"/>
                      <a:pt x="278" y="299"/>
                      <a:pt x="278" y="299"/>
                    </a:cubicBezTo>
                    <a:cubicBezTo>
                      <a:pt x="280" y="297"/>
                      <a:pt x="280" y="297"/>
                      <a:pt x="280" y="297"/>
                    </a:cubicBezTo>
                    <a:cubicBezTo>
                      <a:pt x="281" y="297"/>
                      <a:pt x="281" y="297"/>
                      <a:pt x="281" y="297"/>
                    </a:cubicBezTo>
                    <a:cubicBezTo>
                      <a:pt x="282" y="298"/>
                      <a:pt x="282" y="298"/>
                      <a:pt x="282" y="298"/>
                    </a:cubicBezTo>
                    <a:cubicBezTo>
                      <a:pt x="282" y="297"/>
                      <a:pt x="282" y="297"/>
                      <a:pt x="282" y="297"/>
                    </a:cubicBezTo>
                    <a:cubicBezTo>
                      <a:pt x="282" y="296"/>
                      <a:pt x="282" y="296"/>
                      <a:pt x="282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2" y="295"/>
                      <a:pt x="282" y="295"/>
                      <a:pt x="282" y="295"/>
                    </a:cubicBezTo>
                    <a:cubicBezTo>
                      <a:pt x="283" y="296"/>
                      <a:pt x="283" y="296"/>
                      <a:pt x="283" y="296"/>
                    </a:cubicBezTo>
                    <a:cubicBezTo>
                      <a:pt x="285" y="294"/>
                      <a:pt x="285" y="294"/>
                      <a:pt x="285" y="294"/>
                    </a:cubicBezTo>
                    <a:cubicBezTo>
                      <a:pt x="288" y="294"/>
                      <a:pt x="288" y="294"/>
                      <a:pt x="288" y="294"/>
                    </a:cubicBezTo>
                    <a:cubicBezTo>
                      <a:pt x="290" y="292"/>
                      <a:pt x="290" y="292"/>
                      <a:pt x="290" y="292"/>
                    </a:cubicBezTo>
                    <a:cubicBezTo>
                      <a:pt x="291" y="292"/>
                      <a:pt x="291" y="292"/>
                      <a:pt x="291" y="292"/>
                    </a:cubicBezTo>
                    <a:cubicBezTo>
                      <a:pt x="293" y="290"/>
                      <a:pt x="293" y="290"/>
                      <a:pt x="293" y="290"/>
                    </a:cubicBezTo>
                    <a:cubicBezTo>
                      <a:pt x="293" y="287"/>
                      <a:pt x="293" y="287"/>
                      <a:pt x="293" y="287"/>
                    </a:cubicBezTo>
                    <a:cubicBezTo>
                      <a:pt x="293" y="286"/>
                      <a:pt x="293" y="286"/>
                      <a:pt x="293" y="286"/>
                    </a:cubicBezTo>
                    <a:cubicBezTo>
                      <a:pt x="292" y="286"/>
                      <a:pt x="292" y="286"/>
                      <a:pt x="292" y="286"/>
                    </a:cubicBezTo>
                    <a:cubicBezTo>
                      <a:pt x="291" y="284"/>
                      <a:pt x="291" y="284"/>
                      <a:pt x="291" y="284"/>
                    </a:cubicBezTo>
                    <a:cubicBezTo>
                      <a:pt x="290" y="283"/>
                      <a:pt x="290" y="283"/>
                      <a:pt x="290" y="283"/>
                    </a:cubicBezTo>
                    <a:cubicBezTo>
                      <a:pt x="288" y="283"/>
                      <a:pt x="288" y="283"/>
                      <a:pt x="288" y="283"/>
                    </a:cubicBezTo>
                    <a:cubicBezTo>
                      <a:pt x="288" y="281"/>
                      <a:pt x="288" y="281"/>
                      <a:pt x="288" y="281"/>
                    </a:cubicBezTo>
                    <a:cubicBezTo>
                      <a:pt x="288" y="279"/>
                      <a:pt x="288" y="279"/>
                      <a:pt x="288" y="279"/>
                    </a:cubicBezTo>
                    <a:cubicBezTo>
                      <a:pt x="291" y="278"/>
                      <a:pt x="291" y="278"/>
                      <a:pt x="291" y="278"/>
                    </a:cubicBezTo>
                    <a:cubicBezTo>
                      <a:pt x="291" y="277"/>
                      <a:pt x="291" y="277"/>
                      <a:pt x="291" y="277"/>
                    </a:cubicBezTo>
                    <a:cubicBezTo>
                      <a:pt x="292" y="277"/>
                      <a:pt x="292" y="277"/>
                      <a:pt x="292" y="277"/>
                    </a:cubicBezTo>
                    <a:cubicBezTo>
                      <a:pt x="293" y="276"/>
                      <a:pt x="293" y="276"/>
                      <a:pt x="293" y="276"/>
                    </a:cubicBezTo>
                    <a:cubicBezTo>
                      <a:pt x="292" y="276"/>
                      <a:pt x="292" y="276"/>
                      <a:pt x="292" y="276"/>
                    </a:cubicBezTo>
                    <a:cubicBezTo>
                      <a:pt x="293" y="275"/>
                      <a:pt x="293" y="275"/>
                      <a:pt x="293" y="275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8" y="274"/>
                      <a:pt x="298" y="274"/>
                      <a:pt x="298" y="274"/>
                    </a:cubicBezTo>
                    <a:cubicBezTo>
                      <a:pt x="300" y="275"/>
                      <a:pt x="300" y="275"/>
                      <a:pt x="300" y="275"/>
                    </a:cubicBezTo>
                    <a:cubicBezTo>
                      <a:pt x="302" y="274"/>
                      <a:pt x="302" y="274"/>
                      <a:pt x="302" y="274"/>
                    </a:cubicBezTo>
                    <a:cubicBezTo>
                      <a:pt x="302" y="275"/>
                      <a:pt x="302" y="275"/>
                      <a:pt x="302" y="275"/>
                    </a:cubicBezTo>
                    <a:cubicBezTo>
                      <a:pt x="302" y="276"/>
                      <a:pt x="302" y="276"/>
                      <a:pt x="302" y="276"/>
                    </a:cubicBezTo>
                    <a:cubicBezTo>
                      <a:pt x="303" y="276"/>
                      <a:pt x="303" y="276"/>
                      <a:pt x="303" y="276"/>
                    </a:cubicBezTo>
                    <a:cubicBezTo>
                      <a:pt x="305" y="274"/>
                      <a:pt x="305" y="274"/>
                      <a:pt x="305" y="274"/>
                    </a:cubicBezTo>
                    <a:cubicBezTo>
                      <a:pt x="305" y="273"/>
                      <a:pt x="305" y="273"/>
                      <a:pt x="305" y="273"/>
                    </a:cubicBezTo>
                    <a:cubicBezTo>
                      <a:pt x="304" y="273"/>
                      <a:pt x="304" y="273"/>
                      <a:pt x="304" y="273"/>
                    </a:cubicBezTo>
                    <a:cubicBezTo>
                      <a:pt x="303" y="272"/>
                      <a:pt x="303" y="272"/>
                      <a:pt x="303" y="272"/>
                    </a:cubicBezTo>
                    <a:cubicBezTo>
                      <a:pt x="304" y="271"/>
                      <a:pt x="304" y="271"/>
                      <a:pt x="304" y="271"/>
                    </a:cubicBezTo>
                    <a:cubicBezTo>
                      <a:pt x="306" y="272"/>
                      <a:pt x="306" y="272"/>
                      <a:pt x="306" y="272"/>
                    </a:cubicBezTo>
                    <a:cubicBezTo>
                      <a:pt x="310" y="271"/>
                      <a:pt x="310" y="271"/>
                      <a:pt x="310" y="271"/>
                    </a:cubicBezTo>
                    <a:cubicBezTo>
                      <a:pt x="310" y="268"/>
                      <a:pt x="310" y="268"/>
                      <a:pt x="310" y="268"/>
                    </a:cubicBezTo>
                    <a:cubicBezTo>
                      <a:pt x="310" y="266"/>
                      <a:pt x="310" y="266"/>
                      <a:pt x="310" y="266"/>
                    </a:cubicBezTo>
                    <a:cubicBezTo>
                      <a:pt x="307" y="264"/>
                      <a:pt x="307" y="264"/>
                      <a:pt x="307" y="264"/>
                    </a:cubicBezTo>
                    <a:cubicBezTo>
                      <a:pt x="306" y="264"/>
                      <a:pt x="306" y="264"/>
                      <a:pt x="306" y="264"/>
                    </a:cubicBezTo>
                    <a:cubicBezTo>
                      <a:pt x="305" y="265"/>
                      <a:pt x="305" y="265"/>
                      <a:pt x="305" y="265"/>
                    </a:cubicBezTo>
                    <a:cubicBezTo>
                      <a:pt x="305" y="265"/>
                      <a:pt x="305" y="265"/>
                      <a:pt x="305" y="265"/>
                    </a:cubicBezTo>
                    <a:cubicBezTo>
                      <a:pt x="306" y="264"/>
                      <a:pt x="306" y="264"/>
                      <a:pt x="306" y="264"/>
                    </a:cubicBezTo>
                    <a:cubicBezTo>
                      <a:pt x="308" y="263"/>
                      <a:pt x="308" y="263"/>
                      <a:pt x="308" y="263"/>
                    </a:cubicBezTo>
                    <a:cubicBezTo>
                      <a:pt x="310" y="265"/>
                      <a:pt x="310" y="265"/>
                      <a:pt x="310" y="265"/>
                    </a:cubicBezTo>
                    <a:cubicBezTo>
                      <a:pt x="312" y="264"/>
                      <a:pt x="312" y="264"/>
                      <a:pt x="312" y="264"/>
                    </a:cubicBezTo>
                    <a:cubicBezTo>
                      <a:pt x="314" y="263"/>
                      <a:pt x="314" y="263"/>
                      <a:pt x="314" y="263"/>
                    </a:cubicBezTo>
                    <a:cubicBezTo>
                      <a:pt x="314" y="261"/>
                      <a:pt x="314" y="261"/>
                      <a:pt x="314" y="261"/>
                    </a:cubicBezTo>
                    <a:cubicBezTo>
                      <a:pt x="319" y="259"/>
                      <a:pt x="319" y="259"/>
                      <a:pt x="319" y="259"/>
                    </a:cubicBezTo>
                    <a:cubicBezTo>
                      <a:pt x="321" y="257"/>
                      <a:pt x="321" y="257"/>
                      <a:pt x="321" y="257"/>
                    </a:cubicBezTo>
                    <a:cubicBezTo>
                      <a:pt x="323" y="257"/>
                      <a:pt x="323" y="257"/>
                      <a:pt x="323" y="257"/>
                    </a:cubicBezTo>
                    <a:cubicBezTo>
                      <a:pt x="324" y="256"/>
                      <a:pt x="324" y="256"/>
                      <a:pt x="324" y="256"/>
                    </a:cubicBezTo>
                    <a:cubicBezTo>
                      <a:pt x="324" y="255"/>
                      <a:pt x="324" y="255"/>
                      <a:pt x="324" y="255"/>
                    </a:cubicBezTo>
                    <a:cubicBezTo>
                      <a:pt x="328" y="252"/>
                      <a:pt x="328" y="252"/>
                      <a:pt x="328" y="252"/>
                    </a:cubicBezTo>
                    <a:cubicBezTo>
                      <a:pt x="331" y="251"/>
                      <a:pt x="331" y="251"/>
                      <a:pt x="331" y="251"/>
                    </a:cubicBezTo>
                    <a:cubicBezTo>
                      <a:pt x="335" y="248"/>
                      <a:pt x="335" y="248"/>
                      <a:pt x="335" y="248"/>
                    </a:cubicBezTo>
                    <a:cubicBezTo>
                      <a:pt x="338" y="248"/>
                      <a:pt x="338" y="248"/>
                      <a:pt x="338" y="248"/>
                    </a:cubicBezTo>
                    <a:cubicBezTo>
                      <a:pt x="341" y="243"/>
                      <a:pt x="341" y="243"/>
                      <a:pt x="341" y="243"/>
                    </a:cubicBezTo>
                    <a:cubicBezTo>
                      <a:pt x="340" y="246"/>
                      <a:pt x="340" y="246"/>
                      <a:pt x="340" y="246"/>
                    </a:cubicBezTo>
                    <a:cubicBezTo>
                      <a:pt x="341" y="248"/>
                      <a:pt x="341" y="248"/>
                      <a:pt x="341" y="248"/>
                    </a:cubicBezTo>
                    <a:cubicBezTo>
                      <a:pt x="341" y="249"/>
                      <a:pt x="341" y="249"/>
                      <a:pt x="341" y="249"/>
                    </a:cubicBezTo>
                    <a:cubicBezTo>
                      <a:pt x="343" y="249"/>
                      <a:pt x="343" y="249"/>
                      <a:pt x="343" y="249"/>
                    </a:cubicBezTo>
                    <a:cubicBezTo>
                      <a:pt x="344" y="250"/>
                      <a:pt x="344" y="250"/>
                      <a:pt x="344" y="250"/>
                    </a:cubicBezTo>
                    <a:cubicBezTo>
                      <a:pt x="346" y="247"/>
                      <a:pt x="346" y="247"/>
                      <a:pt x="346" y="247"/>
                    </a:cubicBezTo>
                    <a:cubicBezTo>
                      <a:pt x="348" y="246"/>
                      <a:pt x="348" y="246"/>
                      <a:pt x="348" y="246"/>
                    </a:cubicBezTo>
                    <a:cubicBezTo>
                      <a:pt x="352" y="245"/>
                      <a:pt x="352" y="245"/>
                      <a:pt x="352" y="245"/>
                    </a:cubicBezTo>
                    <a:cubicBezTo>
                      <a:pt x="353" y="244"/>
                      <a:pt x="353" y="244"/>
                      <a:pt x="353" y="244"/>
                    </a:cubicBezTo>
                    <a:cubicBezTo>
                      <a:pt x="352" y="246"/>
                      <a:pt x="352" y="246"/>
                      <a:pt x="352" y="246"/>
                    </a:cubicBezTo>
                    <a:cubicBezTo>
                      <a:pt x="349" y="248"/>
                      <a:pt x="349" y="248"/>
                      <a:pt x="349" y="248"/>
                    </a:cubicBezTo>
                    <a:cubicBezTo>
                      <a:pt x="347" y="248"/>
                      <a:pt x="347" y="248"/>
                      <a:pt x="347" y="248"/>
                    </a:cubicBezTo>
                    <a:cubicBezTo>
                      <a:pt x="343" y="252"/>
                      <a:pt x="343" y="252"/>
                      <a:pt x="343" y="252"/>
                    </a:cubicBezTo>
                    <a:cubicBezTo>
                      <a:pt x="342" y="254"/>
                      <a:pt x="342" y="254"/>
                      <a:pt x="342" y="254"/>
                    </a:cubicBezTo>
                    <a:cubicBezTo>
                      <a:pt x="345" y="257"/>
                      <a:pt x="345" y="257"/>
                      <a:pt x="345" y="257"/>
                    </a:cubicBezTo>
                    <a:cubicBezTo>
                      <a:pt x="345" y="259"/>
                      <a:pt x="345" y="259"/>
                      <a:pt x="345" y="259"/>
                    </a:cubicBezTo>
                    <a:cubicBezTo>
                      <a:pt x="343" y="258"/>
                      <a:pt x="343" y="258"/>
                      <a:pt x="343" y="258"/>
                    </a:cubicBezTo>
                    <a:cubicBezTo>
                      <a:pt x="342" y="257"/>
                      <a:pt x="342" y="257"/>
                      <a:pt x="342" y="257"/>
                    </a:cubicBezTo>
                    <a:cubicBezTo>
                      <a:pt x="341" y="258"/>
                      <a:pt x="341" y="258"/>
                      <a:pt x="341" y="258"/>
                    </a:cubicBezTo>
                    <a:cubicBezTo>
                      <a:pt x="339" y="258"/>
                      <a:pt x="339" y="258"/>
                      <a:pt x="339" y="258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37" y="254"/>
                      <a:pt x="337" y="254"/>
                      <a:pt x="337" y="254"/>
                    </a:cubicBezTo>
                    <a:cubicBezTo>
                      <a:pt x="334" y="255"/>
                      <a:pt x="334" y="255"/>
                      <a:pt x="334" y="255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29" y="258"/>
                      <a:pt x="329" y="258"/>
                      <a:pt x="329" y="258"/>
                    </a:cubicBezTo>
                    <a:cubicBezTo>
                      <a:pt x="327" y="258"/>
                      <a:pt x="327" y="258"/>
                      <a:pt x="327" y="258"/>
                    </a:cubicBezTo>
                    <a:cubicBezTo>
                      <a:pt x="325" y="259"/>
                      <a:pt x="325" y="259"/>
                      <a:pt x="325" y="259"/>
                    </a:cubicBezTo>
                    <a:cubicBezTo>
                      <a:pt x="325" y="261"/>
                      <a:pt x="325" y="261"/>
                      <a:pt x="325" y="261"/>
                    </a:cubicBez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3" y="265"/>
                      <a:pt x="323" y="265"/>
                      <a:pt x="323" y="265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0" y="270"/>
                      <a:pt x="320" y="270"/>
                      <a:pt x="320" y="270"/>
                    </a:cubicBezTo>
                    <a:cubicBezTo>
                      <a:pt x="315" y="274"/>
                      <a:pt x="315" y="274"/>
                      <a:pt x="315" y="274"/>
                    </a:cubicBezTo>
                    <a:cubicBezTo>
                      <a:pt x="313" y="276"/>
                      <a:pt x="313" y="276"/>
                      <a:pt x="313" y="276"/>
                    </a:cubicBezTo>
                    <a:cubicBezTo>
                      <a:pt x="314" y="278"/>
                      <a:pt x="314" y="278"/>
                      <a:pt x="314" y="278"/>
                    </a:cubicBezTo>
                    <a:cubicBezTo>
                      <a:pt x="315" y="281"/>
                      <a:pt x="315" y="281"/>
                      <a:pt x="315" y="281"/>
                    </a:cubicBezTo>
                    <a:cubicBezTo>
                      <a:pt x="316" y="279"/>
                      <a:pt x="316" y="279"/>
                      <a:pt x="316" y="279"/>
                    </a:cubicBezTo>
                    <a:cubicBezTo>
                      <a:pt x="317" y="279"/>
                      <a:pt x="317" y="279"/>
                      <a:pt x="317" y="279"/>
                    </a:cubicBezTo>
                    <a:cubicBezTo>
                      <a:pt x="319" y="278"/>
                      <a:pt x="319" y="278"/>
                      <a:pt x="319" y="278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321" y="279"/>
                      <a:pt x="321" y="279"/>
                      <a:pt x="321" y="279"/>
                    </a:cubicBezTo>
                    <a:cubicBezTo>
                      <a:pt x="317" y="282"/>
                      <a:pt x="317" y="282"/>
                      <a:pt x="317" y="282"/>
                    </a:cubicBezTo>
                    <a:cubicBezTo>
                      <a:pt x="316" y="282"/>
                      <a:pt x="316" y="282"/>
                      <a:pt x="316" y="282"/>
                    </a:cubicBezTo>
                    <a:cubicBezTo>
                      <a:pt x="315" y="284"/>
                      <a:pt x="315" y="284"/>
                      <a:pt x="315" y="284"/>
                    </a:cubicBezTo>
                    <a:cubicBezTo>
                      <a:pt x="313" y="283"/>
                      <a:pt x="313" y="283"/>
                      <a:pt x="313" y="283"/>
                    </a:cubicBezTo>
                    <a:cubicBezTo>
                      <a:pt x="312" y="283"/>
                      <a:pt x="312" y="283"/>
                      <a:pt x="312" y="283"/>
                    </a:cubicBezTo>
                    <a:cubicBezTo>
                      <a:pt x="310" y="284"/>
                      <a:pt x="310" y="284"/>
                      <a:pt x="310" y="284"/>
                    </a:cubicBezTo>
                    <a:cubicBezTo>
                      <a:pt x="310" y="285"/>
                      <a:pt x="310" y="285"/>
                      <a:pt x="310" y="285"/>
                    </a:cubicBezTo>
                    <a:cubicBezTo>
                      <a:pt x="309" y="285"/>
                      <a:pt x="309" y="285"/>
                      <a:pt x="309" y="285"/>
                    </a:cubicBezTo>
                    <a:cubicBezTo>
                      <a:pt x="307" y="285"/>
                      <a:pt x="307" y="285"/>
                      <a:pt x="307" y="285"/>
                    </a:cubicBezTo>
                    <a:cubicBezTo>
                      <a:pt x="307" y="288"/>
                      <a:pt x="307" y="288"/>
                      <a:pt x="307" y="288"/>
                    </a:cubicBezTo>
                    <a:cubicBezTo>
                      <a:pt x="310" y="291"/>
                      <a:pt x="310" y="291"/>
                      <a:pt x="310" y="291"/>
                    </a:cubicBezTo>
                    <a:cubicBezTo>
                      <a:pt x="311" y="290"/>
                      <a:pt x="311" y="290"/>
                      <a:pt x="311" y="290"/>
                    </a:cubicBezTo>
                    <a:cubicBezTo>
                      <a:pt x="312" y="289"/>
                      <a:pt x="312" y="289"/>
                      <a:pt x="312" y="289"/>
                    </a:cubicBezTo>
                    <a:cubicBezTo>
                      <a:pt x="313" y="290"/>
                      <a:pt x="313" y="290"/>
                      <a:pt x="313" y="290"/>
                    </a:cubicBezTo>
                    <a:cubicBezTo>
                      <a:pt x="314" y="288"/>
                      <a:pt x="314" y="288"/>
                      <a:pt x="314" y="288"/>
                    </a:cubicBezTo>
                    <a:cubicBezTo>
                      <a:pt x="315" y="288"/>
                      <a:pt x="315" y="288"/>
                      <a:pt x="315" y="288"/>
                    </a:cubicBezTo>
                    <a:cubicBezTo>
                      <a:pt x="315" y="290"/>
                      <a:pt x="315" y="290"/>
                      <a:pt x="315" y="290"/>
                    </a:cubicBezTo>
                    <a:cubicBezTo>
                      <a:pt x="316" y="289"/>
                      <a:pt x="316" y="289"/>
                      <a:pt x="316" y="289"/>
                    </a:cubicBezTo>
                    <a:cubicBezTo>
                      <a:pt x="316" y="288"/>
                      <a:pt x="316" y="288"/>
                      <a:pt x="316" y="288"/>
                    </a:cubicBezTo>
                    <a:cubicBezTo>
                      <a:pt x="318" y="287"/>
                      <a:pt x="318" y="287"/>
                      <a:pt x="318" y="287"/>
                    </a:cubicBezTo>
                    <a:cubicBezTo>
                      <a:pt x="320" y="285"/>
                      <a:pt x="320" y="285"/>
                      <a:pt x="320" y="285"/>
                    </a:cubicBezTo>
                    <a:cubicBezTo>
                      <a:pt x="320" y="283"/>
                      <a:pt x="320" y="283"/>
                      <a:pt x="320" y="283"/>
                    </a:cubicBezTo>
                    <a:cubicBezTo>
                      <a:pt x="321" y="282"/>
                      <a:pt x="321" y="282"/>
                      <a:pt x="321" y="282"/>
                    </a:cubicBezTo>
                    <a:cubicBezTo>
                      <a:pt x="321" y="283"/>
                      <a:pt x="321" y="283"/>
                      <a:pt x="321" y="283"/>
                    </a:cubicBezTo>
                    <a:cubicBezTo>
                      <a:pt x="321" y="284"/>
                      <a:pt x="321" y="284"/>
                      <a:pt x="321" y="284"/>
                    </a:cubicBezTo>
                    <a:cubicBezTo>
                      <a:pt x="322" y="285"/>
                      <a:pt x="322" y="285"/>
                      <a:pt x="322" y="285"/>
                    </a:cubicBezTo>
                    <a:cubicBezTo>
                      <a:pt x="324" y="285"/>
                      <a:pt x="324" y="285"/>
                      <a:pt x="324" y="285"/>
                    </a:cubicBezTo>
                    <a:cubicBezTo>
                      <a:pt x="327" y="283"/>
                      <a:pt x="327" y="283"/>
                      <a:pt x="327" y="283"/>
                    </a:cubicBezTo>
                    <a:cubicBezTo>
                      <a:pt x="329" y="283"/>
                      <a:pt x="329" y="283"/>
                      <a:pt x="329" y="283"/>
                    </a:cubicBezTo>
                    <a:cubicBezTo>
                      <a:pt x="329" y="284"/>
                      <a:pt x="329" y="284"/>
                      <a:pt x="329" y="284"/>
                    </a:cubicBezTo>
                    <a:cubicBezTo>
                      <a:pt x="330" y="283"/>
                      <a:pt x="330" y="283"/>
                      <a:pt x="330" y="283"/>
                    </a:cubicBezTo>
                    <a:cubicBezTo>
                      <a:pt x="331" y="279"/>
                      <a:pt x="331" y="279"/>
                      <a:pt x="331" y="279"/>
                    </a:cubicBezTo>
                    <a:cubicBezTo>
                      <a:pt x="333" y="278"/>
                      <a:pt x="333" y="278"/>
                      <a:pt x="333" y="278"/>
                    </a:cubicBezTo>
                    <a:cubicBezTo>
                      <a:pt x="334" y="278"/>
                      <a:pt x="334" y="278"/>
                      <a:pt x="334" y="278"/>
                    </a:cubicBezTo>
                    <a:cubicBezTo>
                      <a:pt x="332" y="281"/>
                      <a:pt x="332" y="281"/>
                      <a:pt x="332" y="281"/>
                    </a:cubicBezTo>
                    <a:cubicBezTo>
                      <a:pt x="332" y="282"/>
                      <a:pt x="332" y="282"/>
                      <a:pt x="332" y="282"/>
                    </a:cubicBezTo>
                    <a:cubicBezTo>
                      <a:pt x="333" y="281"/>
                      <a:pt x="333" y="281"/>
                      <a:pt x="333" y="281"/>
                    </a:cubicBezTo>
                    <a:cubicBezTo>
                      <a:pt x="335" y="279"/>
                      <a:pt x="335" y="279"/>
                      <a:pt x="335" y="279"/>
                    </a:cubicBezTo>
                    <a:cubicBezTo>
                      <a:pt x="337" y="275"/>
                      <a:pt x="337" y="275"/>
                      <a:pt x="337" y="275"/>
                    </a:cubicBezTo>
                    <a:cubicBezTo>
                      <a:pt x="338" y="274"/>
                      <a:pt x="338" y="274"/>
                      <a:pt x="338" y="274"/>
                    </a:cubicBezTo>
                    <a:cubicBezTo>
                      <a:pt x="338" y="276"/>
                      <a:pt x="338" y="276"/>
                      <a:pt x="338" y="276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37" y="279"/>
                      <a:pt x="337" y="279"/>
                      <a:pt x="337" y="279"/>
                    </a:cubicBezTo>
                    <a:cubicBezTo>
                      <a:pt x="339" y="277"/>
                      <a:pt x="339" y="277"/>
                      <a:pt x="339" y="277"/>
                    </a:cubicBezTo>
                    <a:cubicBezTo>
                      <a:pt x="340" y="278"/>
                      <a:pt x="340" y="278"/>
                      <a:pt x="340" y="278"/>
                    </a:cubicBezTo>
                    <a:cubicBezTo>
                      <a:pt x="340" y="279"/>
                      <a:pt x="340" y="279"/>
                      <a:pt x="340" y="279"/>
                    </a:cubicBezTo>
                    <a:cubicBezTo>
                      <a:pt x="342" y="279"/>
                      <a:pt x="342" y="279"/>
                      <a:pt x="342" y="279"/>
                    </a:cubicBezTo>
                    <a:cubicBezTo>
                      <a:pt x="343" y="280"/>
                      <a:pt x="343" y="280"/>
                      <a:pt x="343" y="280"/>
                    </a:cubicBezTo>
                    <a:cubicBezTo>
                      <a:pt x="344" y="279"/>
                      <a:pt x="344" y="279"/>
                      <a:pt x="344" y="279"/>
                    </a:cubicBezTo>
                    <a:cubicBezTo>
                      <a:pt x="345" y="277"/>
                      <a:pt x="345" y="277"/>
                      <a:pt x="345" y="277"/>
                    </a:cubicBezTo>
                    <a:cubicBezTo>
                      <a:pt x="348" y="276"/>
                      <a:pt x="348" y="276"/>
                      <a:pt x="348" y="276"/>
                    </a:cubicBezTo>
                    <a:cubicBezTo>
                      <a:pt x="349" y="275"/>
                      <a:pt x="349" y="275"/>
                      <a:pt x="349" y="275"/>
                    </a:cubicBezTo>
                    <a:cubicBezTo>
                      <a:pt x="348" y="275"/>
                      <a:pt x="348" y="275"/>
                      <a:pt x="348" y="275"/>
                    </a:cubicBezTo>
                    <a:cubicBezTo>
                      <a:pt x="349" y="272"/>
                      <a:pt x="349" y="272"/>
                      <a:pt x="349" y="272"/>
                    </a:cubicBezTo>
                    <a:cubicBezTo>
                      <a:pt x="352" y="271"/>
                      <a:pt x="352" y="271"/>
                      <a:pt x="352" y="271"/>
                    </a:cubicBezTo>
                    <a:cubicBezTo>
                      <a:pt x="353" y="270"/>
                      <a:pt x="353" y="270"/>
                      <a:pt x="353" y="270"/>
                    </a:cubicBezTo>
                    <a:cubicBezTo>
                      <a:pt x="353" y="268"/>
                      <a:pt x="353" y="268"/>
                      <a:pt x="353" y="268"/>
                    </a:cubicBezTo>
                    <a:cubicBezTo>
                      <a:pt x="351" y="268"/>
                      <a:pt x="351" y="268"/>
                      <a:pt x="351" y="268"/>
                    </a:cubicBezTo>
                    <a:cubicBezTo>
                      <a:pt x="350" y="267"/>
                      <a:pt x="350" y="267"/>
                      <a:pt x="350" y="267"/>
                    </a:cubicBezTo>
                    <a:cubicBezTo>
                      <a:pt x="348" y="267"/>
                      <a:pt x="348" y="267"/>
                      <a:pt x="348" y="267"/>
                    </a:cubicBezTo>
                    <a:cubicBezTo>
                      <a:pt x="349" y="266"/>
                      <a:pt x="349" y="266"/>
                      <a:pt x="349" y="266"/>
                    </a:cubicBezTo>
                    <a:cubicBezTo>
                      <a:pt x="350" y="266"/>
                      <a:pt x="350" y="266"/>
                      <a:pt x="350" y="266"/>
                    </a:cubicBezTo>
                    <a:cubicBezTo>
                      <a:pt x="352" y="266"/>
                      <a:pt x="352" y="266"/>
                      <a:pt x="352" y="266"/>
                    </a:cubicBezTo>
                    <a:cubicBezTo>
                      <a:pt x="353" y="265"/>
                      <a:pt x="353" y="265"/>
                      <a:pt x="353" y="265"/>
                    </a:cubicBezTo>
                    <a:cubicBezTo>
                      <a:pt x="353" y="264"/>
                      <a:pt x="353" y="264"/>
                      <a:pt x="353" y="264"/>
                    </a:cubicBezTo>
                    <a:cubicBezTo>
                      <a:pt x="351" y="264"/>
                      <a:pt x="351" y="264"/>
                      <a:pt x="351" y="264"/>
                    </a:cubicBezTo>
                    <a:cubicBezTo>
                      <a:pt x="349" y="263"/>
                      <a:pt x="349" y="263"/>
                      <a:pt x="349" y="263"/>
                    </a:cubicBezTo>
                    <a:cubicBezTo>
                      <a:pt x="349" y="261"/>
                      <a:pt x="349" y="261"/>
                      <a:pt x="349" y="261"/>
                    </a:cubicBezTo>
                    <a:cubicBezTo>
                      <a:pt x="351" y="261"/>
                      <a:pt x="351" y="261"/>
                      <a:pt x="351" y="261"/>
                    </a:cubicBezTo>
                    <a:cubicBezTo>
                      <a:pt x="352" y="260"/>
                      <a:pt x="352" y="260"/>
                      <a:pt x="352" y="260"/>
                    </a:cubicBezTo>
                    <a:cubicBezTo>
                      <a:pt x="353" y="261"/>
                      <a:pt x="353" y="261"/>
                      <a:pt x="353" y="261"/>
                    </a:cubicBezTo>
                    <a:cubicBezTo>
                      <a:pt x="354" y="260"/>
                      <a:pt x="354" y="260"/>
                      <a:pt x="354" y="260"/>
                    </a:cubicBezTo>
                    <a:cubicBezTo>
                      <a:pt x="353" y="258"/>
                      <a:pt x="353" y="258"/>
                      <a:pt x="353" y="258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8" y="258"/>
                      <a:pt x="358" y="258"/>
                      <a:pt x="358" y="258"/>
                    </a:cubicBezTo>
                    <a:cubicBezTo>
                      <a:pt x="359" y="257"/>
                      <a:pt x="359" y="257"/>
                      <a:pt x="359" y="257"/>
                    </a:cubicBezTo>
                    <a:cubicBezTo>
                      <a:pt x="362" y="257"/>
                      <a:pt x="362" y="257"/>
                      <a:pt x="362" y="257"/>
                    </a:cubicBezTo>
                    <a:cubicBezTo>
                      <a:pt x="358" y="260"/>
                      <a:pt x="358" y="260"/>
                      <a:pt x="358" y="260"/>
                    </a:cubicBezTo>
                    <a:cubicBezTo>
                      <a:pt x="358" y="261"/>
                      <a:pt x="358" y="261"/>
                      <a:pt x="358" y="261"/>
                    </a:cubicBezTo>
                    <a:cubicBezTo>
                      <a:pt x="359" y="265"/>
                      <a:pt x="359" y="265"/>
                      <a:pt x="359" y="265"/>
                    </a:cubicBezTo>
                    <a:cubicBezTo>
                      <a:pt x="360" y="264"/>
                      <a:pt x="360" y="264"/>
                      <a:pt x="360" y="264"/>
                    </a:cubicBezTo>
                    <a:cubicBezTo>
                      <a:pt x="361" y="261"/>
                      <a:pt x="361" y="261"/>
                      <a:pt x="361" y="261"/>
                    </a:cubicBezTo>
                    <a:cubicBezTo>
                      <a:pt x="362" y="260"/>
                      <a:pt x="362" y="260"/>
                      <a:pt x="362" y="260"/>
                    </a:cubicBezTo>
                    <a:cubicBezTo>
                      <a:pt x="363" y="260"/>
                      <a:pt x="363" y="260"/>
                      <a:pt x="363" y="260"/>
                    </a:cubicBezTo>
                    <a:cubicBezTo>
                      <a:pt x="363" y="261"/>
                      <a:pt x="363" y="261"/>
                      <a:pt x="363" y="261"/>
                    </a:cubicBezTo>
                    <a:cubicBezTo>
                      <a:pt x="362" y="262"/>
                      <a:pt x="362" y="262"/>
                      <a:pt x="362" y="262"/>
                    </a:cubicBezTo>
                    <a:cubicBezTo>
                      <a:pt x="362" y="264"/>
                      <a:pt x="362" y="264"/>
                      <a:pt x="362" y="264"/>
                    </a:cubicBezTo>
                    <a:cubicBezTo>
                      <a:pt x="364" y="262"/>
                      <a:pt x="364" y="262"/>
                      <a:pt x="364" y="262"/>
                    </a:cubicBezTo>
                    <a:cubicBezTo>
                      <a:pt x="365" y="261"/>
                      <a:pt x="365" y="261"/>
                      <a:pt x="365" y="261"/>
                    </a:cubicBezTo>
                    <a:cubicBezTo>
                      <a:pt x="366" y="262"/>
                      <a:pt x="366" y="262"/>
                      <a:pt x="366" y="262"/>
                    </a:cubicBezTo>
                    <a:cubicBezTo>
                      <a:pt x="368" y="260"/>
                      <a:pt x="368" y="260"/>
                      <a:pt x="368" y="260"/>
                    </a:cubicBezTo>
                    <a:cubicBezTo>
                      <a:pt x="369" y="260"/>
                      <a:pt x="369" y="260"/>
                      <a:pt x="369" y="260"/>
                    </a:cubicBezTo>
                    <a:cubicBezTo>
                      <a:pt x="371" y="259"/>
                      <a:pt x="371" y="259"/>
                      <a:pt x="371" y="259"/>
                    </a:cubicBezTo>
                    <a:cubicBezTo>
                      <a:pt x="373" y="259"/>
                      <a:pt x="373" y="259"/>
                      <a:pt x="373" y="259"/>
                    </a:cubicBezTo>
                    <a:cubicBezTo>
                      <a:pt x="374" y="259"/>
                      <a:pt x="374" y="259"/>
                      <a:pt x="374" y="259"/>
                    </a:cubicBezTo>
                    <a:cubicBezTo>
                      <a:pt x="374" y="260"/>
                      <a:pt x="374" y="260"/>
                      <a:pt x="374" y="260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370" y="262"/>
                      <a:pt x="370" y="262"/>
                      <a:pt x="370" y="262"/>
                    </a:cubicBezTo>
                    <a:cubicBezTo>
                      <a:pt x="369" y="262"/>
                      <a:pt x="369" y="262"/>
                      <a:pt x="369" y="262"/>
                    </a:cubicBezTo>
                    <a:cubicBezTo>
                      <a:pt x="368" y="263"/>
                      <a:pt x="368" y="263"/>
                      <a:pt x="368" y="263"/>
                    </a:cubicBezTo>
                    <a:cubicBezTo>
                      <a:pt x="369" y="265"/>
                      <a:pt x="369" y="265"/>
                      <a:pt x="369" y="265"/>
                    </a:cubicBezTo>
                    <a:cubicBezTo>
                      <a:pt x="372" y="265"/>
                      <a:pt x="372" y="265"/>
                      <a:pt x="372" y="265"/>
                    </a:cubicBezTo>
                    <a:cubicBezTo>
                      <a:pt x="373" y="267"/>
                      <a:pt x="373" y="267"/>
                      <a:pt x="373" y="267"/>
                    </a:cubicBezTo>
                    <a:cubicBezTo>
                      <a:pt x="373" y="268"/>
                      <a:pt x="373" y="268"/>
                      <a:pt x="373" y="268"/>
                    </a:cubicBezTo>
                    <a:cubicBezTo>
                      <a:pt x="371" y="266"/>
                      <a:pt x="371" y="266"/>
                      <a:pt x="371" y="266"/>
                    </a:cubicBezTo>
                    <a:cubicBezTo>
                      <a:pt x="369" y="266"/>
                      <a:pt x="369" y="266"/>
                      <a:pt x="369" y="266"/>
                    </a:cubicBezTo>
                    <a:cubicBezTo>
                      <a:pt x="367" y="266"/>
                      <a:pt x="367" y="266"/>
                      <a:pt x="367" y="266"/>
                    </a:cubicBezTo>
                    <a:cubicBezTo>
                      <a:pt x="367" y="268"/>
                      <a:pt x="367" y="268"/>
                      <a:pt x="367" y="268"/>
                    </a:cubicBezTo>
                    <a:cubicBezTo>
                      <a:pt x="368" y="268"/>
                      <a:pt x="368" y="268"/>
                      <a:pt x="368" y="268"/>
                    </a:cubicBezTo>
                    <a:cubicBezTo>
                      <a:pt x="370" y="268"/>
                      <a:pt x="370" y="268"/>
                      <a:pt x="370" y="268"/>
                    </a:cubicBezTo>
                    <a:cubicBezTo>
                      <a:pt x="371" y="269"/>
                      <a:pt x="371" y="269"/>
                      <a:pt x="371" y="269"/>
                    </a:cubicBezTo>
                    <a:cubicBezTo>
                      <a:pt x="370" y="269"/>
                      <a:pt x="370" y="269"/>
                      <a:pt x="370" y="269"/>
                    </a:cubicBezTo>
                    <a:cubicBezTo>
                      <a:pt x="368" y="269"/>
                      <a:pt x="368" y="269"/>
                      <a:pt x="368" y="269"/>
                    </a:cubicBezTo>
                    <a:cubicBezTo>
                      <a:pt x="369" y="271"/>
                      <a:pt x="369" y="271"/>
                      <a:pt x="369" y="271"/>
                    </a:cubicBezTo>
                    <a:cubicBezTo>
                      <a:pt x="371" y="271"/>
                      <a:pt x="371" y="271"/>
                      <a:pt x="371" y="271"/>
                    </a:cubicBezTo>
                    <a:cubicBezTo>
                      <a:pt x="372" y="273"/>
                      <a:pt x="372" y="273"/>
                      <a:pt x="372" y="273"/>
                    </a:cubicBezTo>
                    <a:cubicBezTo>
                      <a:pt x="371" y="273"/>
                      <a:pt x="371" y="273"/>
                      <a:pt x="371" y="273"/>
                    </a:cubicBezTo>
                    <a:cubicBezTo>
                      <a:pt x="369" y="274"/>
                      <a:pt x="369" y="274"/>
                      <a:pt x="369" y="274"/>
                    </a:cubicBezTo>
                    <a:cubicBezTo>
                      <a:pt x="369" y="275"/>
                      <a:pt x="369" y="275"/>
                      <a:pt x="369" y="275"/>
                    </a:cubicBezTo>
                    <a:cubicBezTo>
                      <a:pt x="371" y="275"/>
                      <a:pt x="371" y="275"/>
                      <a:pt x="371" y="275"/>
                    </a:cubicBezTo>
                    <a:cubicBezTo>
                      <a:pt x="373" y="274"/>
                      <a:pt x="373" y="274"/>
                      <a:pt x="373" y="274"/>
                    </a:cubicBezTo>
                    <a:cubicBezTo>
                      <a:pt x="375" y="275"/>
                      <a:pt x="375" y="275"/>
                      <a:pt x="375" y="275"/>
                    </a:cubicBezTo>
                    <a:cubicBezTo>
                      <a:pt x="377" y="276"/>
                      <a:pt x="377" y="276"/>
                      <a:pt x="377" y="276"/>
                    </a:cubicBezTo>
                    <a:cubicBezTo>
                      <a:pt x="379" y="275"/>
                      <a:pt x="379" y="275"/>
                      <a:pt x="379" y="275"/>
                    </a:cubicBezTo>
                    <a:cubicBezTo>
                      <a:pt x="380" y="276"/>
                      <a:pt x="380" y="276"/>
                      <a:pt x="380" y="276"/>
                    </a:cubicBezTo>
                    <a:cubicBezTo>
                      <a:pt x="380" y="277"/>
                      <a:pt x="380" y="277"/>
                      <a:pt x="380" y="277"/>
                    </a:cubicBezTo>
                    <a:cubicBezTo>
                      <a:pt x="379" y="278"/>
                      <a:pt x="379" y="278"/>
                      <a:pt x="379" y="278"/>
                    </a:cubicBezTo>
                    <a:cubicBezTo>
                      <a:pt x="379" y="279"/>
                      <a:pt x="379" y="279"/>
                      <a:pt x="379" y="279"/>
                    </a:cubicBezTo>
                    <a:cubicBezTo>
                      <a:pt x="380" y="280"/>
                      <a:pt x="380" y="280"/>
                      <a:pt x="380" y="280"/>
                    </a:cubicBezTo>
                    <a:cubicBezTo>
                      <a:pt x="380" y="281"/>
                      <a:pt x="380" y="281"/>
                      <a:pt x="380" y="281"/>
                    </a:cubicBezTo>
                    <a:cubicBezTo>
                      <a:pt x="382" y="281"/>
                      <a:pt x="382" y="281"/>
                      <a:pt x="382" y="281"/>
                    </a:cubicBezTo>
                    <a:cubicBezTo>
                      <a:pt x="383" y="279"/>
                      <a:pt x="383" y="279"/>
                      <a:pt x="383" y="279"/>
                    </a:cubicBezTo>
                    <a:cubicBezTo>
                      <a:pt x="383" y="279"/>
                      <a:pt x="383" y="279"/>
                      <a:pt x="383" y="279"/>
                    </a:cubicBezTo>
                    <a:cubicBezTo>
                      <a:pt x="383" y="278"/>
                      <a:pt x="383" y="278"/>
                      <a:pt x="383" y="278"/>
                    </a:cubicBezTo>
                    <a:cubicBezTo>
                      <a:pt x="385" y="278"/>
                      <a:pt x="385" y="278"/>
                      <a:pt x="385" y="278"/>
                    </a:cubicBezTo>
                    <a:cubicBezTo>
                      <a:pt x="384" y="280"/>
                      <a:pt x="384" y="280"/>
                      <a:pt x="384" y="280"/>
                    </a:cubicBezTo>
                    <a:cubicBezTo>
                      <a:pt x="384" y="281"/>
                      <a:pt x="384" y="281"/>
                      <a:pt x="384" y="281"/>
                    </a:cubicBezTo>
                    <a:cubicBezTo>
                      <a:pt x="382" y="283"/>
                      <a:pt x="382" y="283"/>
                      <a:pt x="382" y="283"/>
                    </a:cubicBezTo>
                    <a:cubicBezTo>
                      <a:pt x="384" y="285"/>
                      <a:pt x="384" y="285"/>
                      <a:pt x="384" y="285"/>
                    </a:cubicBezTo>
                    <a:cubicBezTo>
                      <a:pt x="383" y="286"/>
                      <a:pt x="383" y="286"/>
                      <a:pt x="383" y="286"/>
                    </a:cubicBezTo>
                    <a:cubicBezTo>
                      <a:pt x="382" y="285"/>
                      <a:pt x="382" y="285"/>
                      <a:pt x="382" y="285"/>
                    </a:cubicBezTo>
                    <a:cubicBezTo>
                      <a:pt x="381" y="286"/>
                      <a:pt x="381" y="286"/>
                      <a:pt x="381" y="286"/>
                    </a:cubicBezTo>
                    <a:cubicBezTo>
                      <a:pt x="381" y="287"/>
                      <a:pt x="381" y="287"/>
                      <a:pt x="381" y="287"/>
                    </a:cubicBezTo>
                    <a:cubicBezTo>
                      <a:pt x="386" y="288"/>
                      <a:pt x="386" y="288"/>
                      <a:pt x="386" y="288"/>
                    </a:cubicBezTo>
                    <a:cubicBezTo>
                      <a:pt x="387" y="287"/>
                      <a:pt x="387" y="287"/>
                      <a:pt x="387" y="287"/>
                    </a:cubicBezTo>
                    <a:cubicBezTo>
                      <a:pt x="389" y="288"/>
                      <a:pt x="389" y="288"/>
                      <a:pt x="389" y="288"/>
                    </a:cubicBezTo>
                    <a:cubicBezTo>
                      <a:pt x="390" y="287"/>
                      <a:pt x="390" y="287"/>
                      <a:pt x="390" y="287"/>
                    </a:cubicBezTo>
                    <a:cubicBezTo>
                      <a:pt x="393" y="288"/>
                      <a:pt x="393" y="288"/>
                      <a:pt x="393" y="288"/>
                    </a:cubicBezTo>
                    <a:cubicBezTo>
                      <a:pt x="395" y="287"/>
                      <a:pt x="395" y="287"/>
                      <a:pt x="395" y="287"/>
                    </a:cubicBezTo>
                    <a:cubicBezTo>
                      <a:pt x="396" y="287"/>
                      <a:pt x="396" y="287"/>
                      <a:pt x="396" y="287"/>
                    </a:cubicBezTo>
                    <a:cubicBezTo>
                      <a:pt x="396" y="289"/>
                      <a:pt x="396" y="289"/>
                      <a:pt x="396" y="289"/>
                    </a:cubicBezTo>
                    <a:cubicBezTo>
                      <a:pt x="397" y="289"/>
                      <a:pt x="397" y="289"/>
                      <a:pt x="397" y="289"/>
                    </a:cubicBezTo>
                    <a:cubicBezTo>
                      <a:pt x="399" y="291"/>
                      <a:pt x="399" y="291"/>
                      <a:pt x="399" y="291"/>
                    </a:cubicBezTo>
                    <a:cubicBezTo>
                      <a:pt x="400" y="292"/>
                      <a:pt x="400" y="292"/>
                      <a:pt x="400" y="292"/>
                    </a:cubicBezTo>
                    <a:cubicBezTo>
                      <a:pt x="400" y="293"/>
                      <a:pt x="400" y="293"/>
                      <a:pt x="400" y="293"/>
                    </a:cubicBezTo>
                    <a:cubicBezTo>
                      <a:pt x="402" y="293"/>
                      <a:pt x="402" y="293"/>
                      <a:pt x="402" y="293"/>
                    </a:cubicBezTo>
                    <a:cubicBezTo>
                      <a:pt x="405" y="291"/>
                      <a:pt x="405" y="291"/>
                      <a:pt x="405" y="291"/>
                    </a:cubicBezTo>
                    <a:cubicBezTo>
                      <a:pt x="405" y="291"/>
                      <a:pt x="405" y="291"/>
                      <a:pt x="405" y="291"/>
                    </a:cubicBezTo>
                    <a:cubicBezTo>
                      <a:pt x="406" y="291"/>
                      <a:pt x="406" y="291"/>
                      <a:pt x="406" y="291"/>
                    </a:cubicBezTo>
                    <a:cubicBezTo>
                      <a:pt x="406" y="293"/>
                      <a:pt x="406" y="293"/>
                      <a:pt x="406" y="293"/>
                    </a:cubicBezTo>
                    <a:cubicBezTo>
                      <a:pt x="405" y="294"/>
                      <a:pt x="405" y="294"/>
                      <a:pt x="405" y="294"/>
                    </a:cubicBezTo>
                    <a:cubicBezTo>
                      <a:pt x="403" y="294"/>
                      <a:pt x="403" y="294"/>
                      <a:pt x="403" y="294"/>
                    </a:cubicBezTo>
                    <a:cubicBezTo>
                      <a:pt x="403" y="295"/>
                      <a:pt x="403" y="295"/>
                      <a:pt x="403" y="295"/>
                    </a:cubicBezTo>
                    <a:cubicBezTo>
                      <a:pt x="406" y="296"/>
                      <a:pt x="406" y="296"/>
                      <a:pt x="406" y="296"/>
                    </a:cubicBezTo>
                    <a:cubicBezTo>
                      <a:pt x="406" y="298"/>
                      <a:pt x="406" y="298"/>
                      <a:pt x="406" y="298"/>
                    </a:cubicBezTo>
                    <a:cubicBezTo>
                      <a:pt x="408" y="299"/>
                      <a:pt x="408" y="299"/>
                      <a:pt x="408" y="299"/>
                    </a:cubicBezTo>
                    <a:cubicBezTo>
                      <a:pt x="410" y="300"/>
                      <a:pt x="410" y="300"/>
                      <a:pt x="410" y="300"/>
                    </a:cubicBezTo>
                    <a:cubicBezTo>
                      <a:pt x="414" y="299"/>
                      <a:pt x="414" y="299"/>
                      <a:pt x="414" y="299"/>
                    </a:cubicBezTo>
                    <a:cubicBezTo>
                      <a:pt x="416" y="299"/>
                      <a:pt x="416" y="299"/>
                      <a:pt x="416" y="299"/>
                    </a:cubicBezTo>
                    <a:cubicBezTo>
                      <a:pt x="416" y="300"/>
                      <a:pt x="416" y="300"/>
                      <a:pt x="416" y="300"/>
                    </a:cubicBezTo>
                    <a:cubicBezTo>
                      <a:pt x="417" y="298"/>
                      <a:pt x="417" y="298"/>
                      <a:pt x="417" y="298"/>
                    </a:cubicBezTo>
                    <a:cubicBezTo>
                      <a:pt x="420" y="296"/>
                      <a:pt x="420" y="296"/>
                      <a:pt x="420" y="296"/>
                    </a:cubicBez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20" y="297"/>
                      <a:pt x="420" y="297"/>
                      <a:pt x="420" y="297"/>
                    </a:cubicBezTo>
                    <a:cubicBezTo>
                      <a:pt x="418" y="299"/>
                      <a:pt x="418" y="299"/>
                      <a:pt x="418" y="299"/>
                    </a:cubicBezTo>
                    <a:cubicBezTo>
                      <a:pt x="418" y="302"/>
                      <a:pt x="418" y="302"/>
                      <a:pt x="418" y="302"/>
                    </a:cubicBezTo>
                    <a:cubicBezTo>
                      <a:pt x="417" y="304"/>
                      <a:pt x="417" y="304"/>
                      <a:pt x="417" y="304"/>
                    </a:cubicBezTo>
                    <a:cubicBezTo>
                      <a:pt x="416" y="305"/>
                      <a:pt x="416" y="305"/>
                      <a:pt x="416" y="305"/>
                    </a:cubicBezTo>
                    <a:cubicBezTo>
                      <a:pt x="414" y="303"/>
                      <a:pt x="414" y="303"/>
                      <a:pt x="414" y="303"/>
                    </a:cubicBezTo>
                    <a:cubicBezTo>
                      <a:pt x="413" y="304"/>
                      <a:pt x="413" y="304"/>
                      <a:pt x="413" y="304"/>
                    </a:cubicBezTo>
                    <a:cubicBezTo>
                      <a:pt x="414" y="306"/>
                      <a:pt x="414" y="306"/>
                      <a:pt x="414" y="306"/>
                    </a:cubicBezTo>
                    <a:cubicBezTo>
                      <a:pt x="415" y="308"/>
                      <a:pt x="415" y="308"/>
                      <a:pt x="415" y="308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18" y="308"/>
                      <a:pt x="418" y="308"/>
                      <a:pt x="418" y="308"/>
                    </a:cubicBezTo>
                    <a:cubicBezTo>
                      <a:pt x="419" y="309"/>
                      <a:pt x="419" y="309"/>
                      <a:pt x="419" y="309"/>
                    </a:cubicBezTo>
                    <a:cubicBezTo>
                      <a:pt x="418" y="310"/>
                      <a:pt x="418" y="310"/>
                      <a:pt x="418" y="310"/>
                    </a:cubicBezTo>
                    <a:cubicBezTo>
                      <a:pt x="417" y="310"/>
                      <a:pt x="417" y="310"/>
                      <a:pt x="417" y="310"/>
                    </a:cubicBezTo>
                    <a:cubicBezTo>
                      <a:pt x="417" y="311"/>
                      <a:pt x="417" y="311"/>
                      <a:pt x="417" y="311"/>
                    </a:cubicBezTo>
                    <a:cubicBezTo>
                      <a:pt x="420" y="314"/>
                      <a:pt x="420" y="314"/>
                      <a:pt x="420" y="314"/>
                    </a:cubicBezTo>
                    <a:cubicBezTo>
                      <a:pt x="421" y="313"/>
                      <a:pt x="421" y="313"/>
                      <a:pt x="421" y="313"/>
                    </a:cubicBezTo>
                    <a:cubicBezTo>
                      <a:pt x="423" y="313"/>
                      <a:pt x="423" y="313"/>
                      <a:pt x="423" y="313"/>
                    </a:cubicBezTo>
                    <a:cubicBezTo>
                      <a:pt x="424" y="312"/>
                      <a:pt x="424" y="312"/>
                      <a:pt x="424" y="312"/>
                    </a:cubicBezTo>
                    <a:cubicBezTo>
                      <a:pt x="426" y="307"/>
                      <a:pt x="426" y="307"/>
                      <a:pt x="426" y="307"/>
                    </a:cubicBezTo>
                    <a:cubicBezTo>
                      <a:pt x="425" y="311"/>
                      <a:pt x="425" y="311"/>
                      <a:pt x="425" y="311"/>
                    </a:cubicBezTo>
                    <a:cubicBezTo>
                      <a:pt x="425" y="313"/>
                      <a:pt x="425" y="313"/>
                      <a:pt x="425" y="313"/>
                    </a:cubicBezTo>
                    <a:cubicBezTo>
                      <a:pt x="424" y="314"/>
                      <a:pt x="424" y="314"/>
                      <a:pt x="424" y="314"/>
                    </a:cubicBezTo>
                    <a:cubicBezTo>
                      <a:pt x="423" y="315"/>
                      <a:pt x="423" y="315"/>
                      <a:pt x="423" y="315"/>
                    </a:cubicBezTo>
                    <a:cubicBezTo>
                      <a:pt x="422" y="316"/>
                      <a:pt x="422" y="316"/>
                      <a:pt x="422" y="316"/>
                    </a:cubicBezTo>
                    <a:cubicBezTo>
                      <a:pt x="422" y="318"/>
                      <a:pt x="422" y="318"/>
                      <a:pt x="422" y="318"/>
                    </a:cubicBezTo>
                    <a:cubicBezTo>
                      <a:pt x="424" y="319"/>
                      <a:pt x="424" y="319"/>
                      <a:pt x="424" y="319"/>
                    </a:cubicBezTo>
                    <a:cubicBezTo>
                      <a:pt x="423" y="320"/>
                      <a:pt x="423" y="320"/>
                      <a:pt x="423" y="320"/>
                    </a:cubicBezTo>
                    <a:cubicBezTo>
                      <a:pt x="423" y="324"/>
                      <a:pt x="423" y="324"/>
                      <a:pt x="423" y="324"/>
                    </a:cubicBezTo>
                    <a:cubicBezTo>
                      <a:pt x="424" y="325"/>
                      <a:pt x="424" y="325"/>
                      <a:pt x="424" y="325"/>
                    </a:cubicBezTo>
                    <a:cubicBezTo>
                      <a:pt x="425" y="325"/>
                      <a:pt x="425" y="325"/>
                      <a:pt x="425" y="325"/>
                    </a:cubicBezTo>
                    <a:cubicBezTo>
                      <a:pt x="425" y="327"/>
                      <a:pt x="425" y="327"/>
                      <a:pt x="425" y="327"/>
                    </a:cubicBezTo>
                    <a:cubicBezTo>
                      <a:pt x="425" y="329"/>
                      <a:pt x="425" y="329"/>
                      <a:pt x="425" y="329"/>
                    </a:cubicBezTo>
                    <a:cubicBezTo>
                      <a:pt x="428" y="332"/>
                      <a:pt x="428" y="332"/>
                      <a:pt x="428" y="332"/>
                    </a:cubicBezTo>
                    <a:cubicBezTo>
                      <a:pt x="429" y="332"/>
                      <a:pt x="429" y="332"/>
                      <a:pt x="429" y="332"/>
                    </a:cubicBezTo>
                    <a:cubicBezTo>
                      <a:pt x="430" y="334"/>
                      <a:pt x="430" y="334"/>
                      <a:pt x="430" y="334"/>
                    </a:cubicBezTo>
                    <a:cubicBezTo>
                      <a:pt x="431" y="333"/>
                      <a:pt x="431" y="333"/>
                      <a:pt x="431" y="333"/>
                    </a:cubicBezTo>
                    <a:cubicBezTo>
                      <a:pt x="432" y="334"/>
                      <a:pt x="432" y="334"/>
                      <a:pt x="432" y="334"/>
                    </a:cubicBezTo>
                    <a:cubicBezTo>
                      <a:pt x="433" y="334"/>
                      <a:pt x="433" y="334"/>
                      <a:pt x="433" y="334"/>
                    </a:cubicBezTo>
                    <a:cubicBezTo>
                      <a:pt x="432" y="333"/>
                      <a:pt x="432" y="333"/>
                      <a:pt x="432" y="333"/>
                    </a:cubicBezTo>
                    <a:cubicBezTo>
                      <a:pt x="433" y="332"/>
                      <a:pt x="433" y="332"/>
                      <a:pt x="433" y="332"/>
                    </a:cubicBezTo>
                    <a:cubicBezTo>
                      <a:pt x="434" y="333"/>
                      <a:pt x="434" y="333"/>
                      <a:pt x="434" y="333"/>
                    </a:cubicBezTo>
                    <a:cubicBezTo>
                      <a:pt x="435" y="333"/>
                      <a:pt x="435" y="333"/>
                      <a:pt x="435" y="333"/>
                    </a:cubicBezTo>
                    <a:cubicBezTo>
                      <a:pt x="436" y="331"/>
                      <a:pt x="436" y="331"/>
                      <a:pt x="436" y="331"/>
                    </a:cubicBezTo>
                    <a:cubicBezTo>
                      <a:pt x="434" y="329"/>
                      <a:pt x="434" y="329"/>
                      <a:pt x="434" y="329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2" y="329"/>
                      <a:pt x="432" y="329"/>
                      <a:pt x="432" y="329"/>
                    </a:cubicBezTo>
                    <a:cubicBezTo>
                      <a:pt x="433" y="327"/>
                      <a:pt x="433" y="327"/>
                      <a:pt x="433" y="327"/>
                    </a:cubicBezTo>
                    <a:cubicBezTo>
                      <a:pt x="433" y="325"/>
                      <a:pt x="433" y="325"/>
                      <a:pt x="433" y="325"/>
                    </a:cubicBezTo>
                    <a:cubicBezTo>
                      <a:pt x="433" y="324"/>
                      <a:pt x="433" y="324"/>
                      <a:pt x="433" y="324"/>
                    </a:cubicBezTo>
                    <a:cubicBezTo>
                      <a:pt x="431" y="324"/>
                      <a:pt x="431" y="324"/>
                      <a:pt x="431" y="324"/>
                    </a:cubicBezTo>
                    <a:cubicBezTo>
                      <a:pt x="431" y="323"/>
                      <a:pt x="431" y="323"/>
                      <a:pt x="431" y="323"/>
                    </a:cubicBezTo>
                    <a:cubicBezTo>
                      <a:pt x="432" y="322"/>
                      <a:pt x="432" y="322"/>
                      <a:pt x="432" y="322"/>
                    </a:cubicBezTo>
                    <a:cubicBezTo>
                      <a:pt x="432" y="319"/>
                      <a:pt x="432" y="319"/>
                      <a:pt x="432" y="319"/>
                    </a:cubicBezTo>
                    <a:cubicBezTo>
                      <a:pt x="433" y="320"/>
                      <a:pt x="433" y="320"/>
                      <a:pt x="433" y="320"/>
                    </a:cubicBezTo>
                    <a:cubicBezTo>
                      <a:pt x="434" y="322"/>
                      <a:pt x="434" y="322"/>
                      <a:pt x="434" y="322"/>
                    </a:cubicBezTo>
                    <a:cubicBezTo>
                      <a:pt x="434" y="323"/>
                      <a:pt x="434" y="323"/>
                      <a:pt x="434" y="323"/>
                    </a:cubicBezTo>
                    <a:cubicBezTo>
                      <a:pt x="435" y="321"/>
                      <a:pt x="435" y="321"/>
                      <a:pt x="435" y="321"/>
                    </a:cubicBezTo>
                    <a:cubicBezTo>
                      <a:pt x="436" y="322"/>
                      <a:pt x="436" y="322"/>
                      <a:pt x="436" y="322"/>
                    </a:cubicBezTo>
                    <a:cubicBezTo>
                      <a:pt x="437" y="323"/>
                      <a:pt x="437" y="323"/>
                      <a:pt x="437" y="323"/>
                    </a:cubicBezTo>
                    <a:cubicBezTo>
                      <a:pt x="436" y="325"/>
                      <a:pt x="436" y="325"/>
                      <a:pt x="436" y="325"/>
                    </a:cubicBezTo>
                    <a:cubicBezTo>
                      <a:pt x="436" y="327"/>
                      <a:pt x="436" y="327"/>
                      <a:pt x="436" y="327"/>
                    </a:cubicBezTo>
                    <a:cubicBezTo>
                      <a:pt x="437" y="327"/>
                      <a:pt x="437" y="327"/>
                      <a:pt x="437" y="327"/>
                    </a:cubicBezTo>
                    <a:cubicBezTo>
                      <a:pt x="439" y="325"/>
                      <a:pt x="439" y="325"/>
                      <a:pt x="439" y="325"/>
                    </a:cubicBezTo>
                    <a:cubicBezTo>
                      <a:pt x="440" y="325"/>
                      <a:pt x="440" y="325"/>
                      <a:pt x="440" y="325"/>
                    </a:cubicBezTo>
                    <a:cubicBezTo>
                      <a:pt x="439" y="327"/>
                      <a:pt x="439" y="327"/>
                      <a:pt x="439" y="327"/>
                    </a:cubicBezTo>
                    <a:cubicBezTo>
                      <a:pt x="438" y="328"/>
                      <a:pt x="438" y="328"/>
                      <a:pt x="438" y="328"/>
                    </a:cubicBezTo>
                    <a:cubicBezTo>
                      <a:pt x="438" y="330"/>
                      <a:pt x="438" y="330"/>
                      <a:pt x="438" y="330"/>
                    </a:cubicBezTo>
                    <a:cubicBezTo>
                      <a:pt x="438" y="331"/>
                      <a:pt x="438" y="331"/>
                      <a:pt x="438" y="331"/>
                    </a:cubicBezTo>
                    <a:cubicBezTo>
                      <a:pt x="438" y="334"/>
                      <a:pt x="438" y="334"/>
                      <a:pt x="438" y="334"/>
                    </a:cubicBezTo>
                    <a:cubicBezTo>
                      <a:pt x="438" y="335"/>
                      <a:pt x="438" y="335"/>
                      <a:pt x="438" y="335"/>
                    </a:cubicBezTo>
                    <a:cubicBezTo>
                      <a:pt x="440" y="335"/>
                      <a:pt x="440" y="335"/>
                      <a:pt x="440" y="335"/>
                    </a:cubicBezTo>
                    <a:cubicBezTo>
                      <a:pt x="441" y="334"/>
                      <a:pt x="441" y="334"/>
                      <a:pt x="441" y="334"/>
                    </a:cubicBezTo>
                    <a:cubicBezTo>
                      <a:pt x="442" y="333"/>
                      <a:pt x="442" y="333"/>
                      <a:pt x="442" y="333"/>
                    </a:cubicBezTo>
                    <a:cubicBezTo>
                      <a:pt x="442" y="334"/>
                      <a:pt x="442" y="334"/>
                      <a:pt x="442" y="334"/>
                    </a:cubicBezTo>
                    <a:cubicBezTo>
                      <a:pt x="441" y="335"/>
                      <a:pt x="441" y="335"/>
                      <a:pt x="441" y="335"/>
                    </a:cubicBezTo>
                    <a:cubicBezTo>
                      <a:pt x="442" y="337"/>
                      <a:pt x="442" y="337"/>
                      <a:pt x="442" y="337"/>
                    </a:cubicBezTo>
                    <a:cubicBezTo>
                      <a:pt x="443" y="338"/>
                      <a:pt x="443" y="338"/>
                      <a:pt x="443" y="338"/>
                    </a:cubicBezTo>
                    <a:cubicBezTo>
                      <a:pt x="445" y="335"/>
                      <a:pt x="445" y="335"/>
                      <a:pt x="445" y="335"/>
                    </a:cubicBezTo>
                    <a:cubicBezTo>
                      <a:pt x="445" y="332"/>
                      <a:pt x="445" y="332"/>
                      <a:pt x="445" y="332"/>
                    </a:cubicBezTo>
                    <a:cubicBezTo>
                      <a:pt x="446" y="331"/>
                      <a:pt x="446" y="331"/>
                      <a:pt x="446" y="331"/>
                    </a:cubicBezTo>
                    <a:cubicBezTo>
                      <a:pt x="446" y="326"/>
                      <a:pt x="446" y="326"/>
                      <a:pt x="446" y="326"/>
                    </a:cubicBezTo>
                    <a:cubicBezTo>
                      <a:pt x="447" y="322"/>
                      <a:pt x="447" y="322"/>
                      <a:pt x="447" y="322"/>
                    </a:cubicBezTo>
                    <a:cubicBezTo>
                      <a:pt x="447" y="318"/>
                      <a:pt x="447" y="318"/>
                      <a:pt x="447" y="318"/>
                    </a:cubicBezTo>
                    <a:cubicBezTo>
                      <a:pt x="447" y="315"/>
                      <a:pt x="447" y="315"/>
                      <a:pt x="447" y="315"/>
                    </a:cubicBezTo>
                    <a:cubicBezTo>
                      <a:pt x="446" y="314"/>
                      <a:pt x="446" y="314"/>
                      <a:pt x="446" y="314"/>
                    </a:cubicBezTo>
                    <a:cubicBezTo>
                      <a:pt x="446" y="313"/>
                      <a:pt x="446" y="313"/>
                      <a:pt x="446" y="313"/>
                    </a:cubicBezTo>
                    <a:cubicBezTo>
                      <a:pt x="447" y="314"/>
                      <a:pt x="447" y="314"/>
                      <a:pt x="447" y="314"/>
                    </a:cubicBezTo>
                    <a:cubicBezTo>
                      <a:pt x="448" y="316"/>
                      <a:pt x="448" y="316"/>
                      <a:pt x="448" y="316"/>
                    </a:cubicBezTo>
                    <a:cubicBezTo>
                      <a:pt x="449" y="316"/>
                      <a:pt x="449" y="316"/>
                      <a:pt x="449" y="316"/>
                    </a:cubicBezTo>
                    <a:cubicBezTo>
                      <a:pt x="450" y="314"/>
                      <a:pt x="450" y="314"/>
                      <a:pt x="450" y="314"/>
                    </a:cubicBezTo>
                    <a:cubicBezTo>
                      <a:pt x="452" y="313"/>
                      <a:pt x="452" y="313"/>
                      <a:pt x="452" y="313"/>
                    </a:cubicBezTo>
                    <a:cubicBezTo>
                      <a:pt x="451" y="315"/>
                      <a:pt x="451" y="315"/>
                      <a:pt x="451" y="315"/>
                    </a:cubicBezTo>
                    <a:cubicBezTo>
                      <a:pt x="450" y="319"/>
                      <a:pt x="450" y="319"/>
                      <a:pt x="450" y="319"/>
                    </a:cubicBezTo>
                    <a:cubicBezTo>
                      <a:pt x="450" y="321"/>
                      <a:pt x="450" y="321"/>
                      <a:pt x="450" y="321"/>
                    </a:cubicBezTo>
                    <a:cubicBezTo>
                      <a:pt x="449" y="325"/>
                      <a:pt x="449" y="325"/>
                      <a:pt x="449" y="325"/>
                    </a:cubicBezTo>
                    <a:cubicBezTo>
                      <a:pt x="448" y="327"/>
                      <a:pt x="448" y="327"/>
                      <a:pt x="448" y="327"/>
                    </a:cubicBezTo>
                    <a:cubicBezTo>
                      <a:pt x="449" y="329"/>
                      <a:pt x="449" y="329"/>
                      <a:pt x="449" y="329"/>
                    </a:cubicBezTo>
                    <a:cubicBezTo>
                      <a:pt x="448" y="330"/>
                      <a:pt x="448" y="330"/>
                      <a:pt x="448" y="330"/>
                    </a:cubicBezTo>
                    <a:cubicBezTo>
                      <a:pt x="448" y="333"/>
                      <a:pt x="448" y="333"/>
                      <a:pt x="448" y="333"/>
                    </a:cubicBezTo>
                    <a:cubicBezTo>
                      <a:pt x="448" y="334"/>
                      <a:pt x="448" y="334"/>
                      <a:pt x="448" y="334"/>
                    </a:cubicBezTo>
                    <a:cubicBezTo>
                      <a:pt x="448" y="336"/>
                      <a:pt x="448" y="336"/>
                      <a:pt x="448" y="336"/>
                    </a:cubicBezTo>
                    <a:cubicBezTo>
                      <a:pt x="450" y="338"/>
                      <a:pt x="450" y="338"/>
                      <a:pt x="450" y="338"/>
                    </a:cubicBezTo>
                    <a:cubicBezTo>
                      <a:pt x="450" y="340"/>
                      <a:pt x="450" y="340"/>
                      <a:pt x="450" y="340"/>
                    </a:cubicBezTo>
                    <a:cubicBezTo>
                      <a:pt x="451" y="340"/>
                      <a:pt x="451" y="340"/>
                      <a:pt x="451" y="340"/>
                    </a:cubicBezTo>
                    <a:cubicBezTo>
                      <a:pt x="451" y="342"/>
                      <a:pt x="451" y="342"/>
                      <a:pt x="451" y="342"/>
                    </a:cubicBezTo>
                    <a:cubicBezTo>
                      <a:pt x="453" y="344"/>
                      <a:pt x="453" y="344"/>
                      <a:pt x="453" y="344"/>
                    </a:cubicBezTo>
                    <a:cubicBezTo>
                      <a:pt x="454" y="343"/>
                      <a:pt x="454" y="343"/>
                      <a:pt x="454" y="343"/>
                    </a:cubicBezTo>
                    <a:cubicBezTo>
                      <a:pt x="455" y="344"/>
                      <a:pt x="455" y="344"/>
                      <a:pt x="455" y="344"/>
                    </a:cubicBezTo>
                    <a:cubicBezTo>
                      <a:pt x="457" y="343"/>
                      <a:pt x="457" y="343"/>
                      <a:pt x="457" y="343"/>
                    </a:cubicBezTo>
                    <a:cubicBezTo>
                      <a:pt x="459" y="343"/>
                      <a:pt x="459" y="343"/>
                      <a:pt x="459" y="343"/>
                    </a:cubicBezTo>
                    <a:cubicBezTo>
                      <a:pt x="459" y="343"/>
                      <a:pt x="459" y="343"/>
                      <a:pt x="459" y="343"/>
                    </a:cubicBezTo>
                    <a:cubicBezTo>
                      <a:pt x="456" y="345"/>
                      <a:pt x="456" y="345"/>
                      <a:pt x="456" y="345"/>
                    </a:cubicBezTo>
                    <a:cubicBezTo>
                      <a:pt x="455" y="345"/>
                      <a:pt x="455" y="345"/>
                      <a:pt x="455" y="345"/>
                    </a:cubicBezTo>
                    <a:cubicBezTo>
                      <a:pt x="455" y="346"/>
                      <a:pt x="455" y="346"/>
                      <a:pt x="455" y="346"/>
                    </a:cubicBezTo>
                    <a:cubicBezTo>
                      <a:pt x="457" y="347"/>
                      <a:pt x="457" y="347"/>
                      <a:pt x="457" y="347"/>
                    </a:cubicBezTo>
                    <a:cubicBezTo>
                      <a:pt x="456" y="348"/>
                      <a:pt x="456" y="348"/>
                      <a:pt x="456" y="348"/>
                    </a:cubicBezTo>
                    <a:cubicBezTo>
                      <a:pt x="454" y="348"/>
                      <a:pt x="454" y="348"/>
                      <a:pt x="454" y="348"/>
                    </a:cubicBezTo>
                    <a:cubicBezTo>
                      <a:pt x="454" y="349"/>
                      <a:pt x="454" y="349"/>
                      <a:pt x="454" y="349"/>
                    </a:cubicBezTo>
                    <a:cubicBezTo>
                      <a:pt x="456" y="351"/>
                      <a:pt x="456" y="351"/>
                      <a:pt x="456" y="351"/>
                    </a:cubicBezTo>
                    <a:cubicBezTo>
                      <a:pt x="456" y="353"/>
                      <a:pt x="456" y="353"/>
                      <a:pt x="456" y="353"/>
                    </a:cubicBezTo>
                    <a:cubicBezTo>
                      <a:pt x="455" y="354"/>
                      <a:pt x="455" y="354"/>
                      <a:pt x="455" y="354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3" y="351"/>
                      <a:pt x="453" y="351"/>
                      <a:pt x="453" y="351"/>
                    </a:cubicBezTo>
                    <a:cubicBezTo>
                      <a:pt x="452" y="352"/>
                      <a:pt x="452" y="352"/>
                      <a:pt x="452" y="352"/>
                    </a:cubicBezTo>
                    <a:cubicBezTo>
                      <a:pt x="453" y="353"/>
                      <a:pt x="453" y="353"/>
                      <a:pt x="453" y="353"/>
                    </a:cubicBezTo>
                    <a:cubicBezTo>
                      <a:pt x="452" y="354"/>
                      <a:pt x="452" y="354"/>
                      <a:pt x="452" y="354"/>
                    </a:cubicBezTo>
                    <a:cubicBezTo>
                      <a:pt x="452" y="357"/>
                      <a:pt x="452" y="357"/>
                      <a:pt x="452" y="357"/>
                    </a:cubicBezTo>
                    <a:cubicBezTo>
                      <a:pt x="452" y="357"/>
                      <a:pt x="452" y="357"/>
                      <a:pt x="452" y="357"/>
                    </a:cubicBezTo>
                    <a:cubicBezTo>
                      <a:pt x="452" y="358"/>
                      <a:pt x="452" y="358"/>
                      <a:pt x="452" y="358"/>
                    </a:cubicBezTo>
                    <a:cubicBezTo>
                      <a:pt x="450" y="358"/>
                      <a:pt x="450" y="358"/>
                      <a:pt x="450" y="358"/>
                    </a:cubicBezTo>
                    <a:cubicBezTo>
                      <a:pt x="450" y="360"/>
                      <a:pt x="450" y="360"/>
                      <a:pt x="450" y="360"/>
                    </a:cubicBezTo>
                    <a:cubicBezTo>
                      <a:pt x="450" y="361"/>
                      <a:pt x="450" y="361"/>
                      <a:pt x="450" y="361"/>
                    </a:cubicBezTo>
                    <a:cubicBezTo>
                      <a:pt x="451" y="361"/>
                      <a:pt x="451" y="361"/>
                      <a:pt x="451" y="361"/>
                    </a:cubicBezTo>
                    <a:cubicBezTo>
                      <a:pt x="452" y="361"/>
                      <a:pt x="452" y="361"/>
                      <a:pt x="452" y="361"/>
                    </a:cubicBezTo>
                    <a:cubicBezTo>
                      <a:pt x="453" y="362"/>
                      <a:pt x="453" y="362"/>
                      <a:pt x="453" y="362"/>
                    </a:cubicBezTo>
                    <a:cubicBezTo>
                      <a:pt x="454" y="364"/>
                      <a:pt x="454" y="364"/>
                      <a:pt x="454" y="364"/>
                    </a:cubicBezTo>
                    <a:cubicBezTo>
                      <a:pt x="455" y="364"/>
                      <a:pt x="455" y="364"/>
                      <a:pt x="455" y="364"/>
                    </a:cubicBezTo>
                    <a:cubicBezTo>
                      <a:pt x="456" y="364"/>
                      <a:pt x="456" y="364"/>
                      <a:pt x="456" y="364"/>
                    </a:cubicBezTo>
                    <a:cubicBezTo>
                      <a:pt x="456" y="365"/>
                      <a:pt x="456" y="365"/>
                      <a:pt x="456" y="365"/>
                    </a:cubicBezTo>
                    <a:cubicBezTo>
                      <a:pt x="454" y="365"/>
                      <a:pt x="454" y="365"/>
                      <a:pt x="454" y="365"/>
                    </a:cubicBezTo>
                    <a:cubicBezTo>
                      <a:pt x="454" y="365"/>
                      <a:pt x="454" y="365"/>
                      <a:pt x="454" y="365"/>
                    </a:cubicBezTo>
                    <a:cubicBezTo>
                      <a:pt x="454" y="366"/>
                      <a:pt x="454" y="366"/>
                      <a:pt x="454" y="366"/>
                    </a:cubicBezTo>
                    <a:cubicBezTo>
                      <a:pt x="456" y="367"/>
                      <a:pt x="456" y="367"/>
                      <a:pt x="456" y="367"/>
                    </a:cubicBezTo>
                    <a:cubicBezTo>
                      <a:pt x="456" y="369"/>
                      <a:pt x="456" y="369"/>
                      <a:pt x="456" y="369"/>
                    </a:cubicBezTo>
                    <a:cubicBezTo>
                      <a:pt x="458" y="370"/>
                      <a:pt x="458" y="370"/>
                      <a:pt x="458" y="370"/>
                    </a:cubicBezTo>
                    <a:cubicBezTo>
                      <a:pt x="459" y="370"/>
                      <a:pt x="459" y="370"/>
                      <a:pt x="459" y="370"/>
                    </a:cubicBezTo>
                    <a:cubicBezTo>
                      <a:pt x="458" y="371"/>
                      <a:pt x="458" y="371"/>
                      <a:pt x="458" y="371"/>
                    </a:cubicBezTo>
                    <a:cubicBezTo>
                      <a:pt x="456" y="371"/>
                      <a:pt x="456" y="371"/>
                      <a:pt x="456" y="371"/>
                    </a:cubicBezTo>
                    <a:cubicBezTo>
                      <a:pt x="455" y="373"/>
                      <a:pt x="455" y="373"/>
                      <a:pt x="455" y="373"/>
                    </a:cubicBezTo>
                    <a:cubicBezTo>
                      <a:pt x="456" y="375"/>
                      <a:pt x="456" y="375"/>
                      <a:pt x="456" y="375"/>
                    </a:cubicBezTo>
                    <a:cubicBezTo>
                      <a:pt x="457" y="378"/>
                      <a:pt x="457" y="378"/>
                      <a:pt x="457" y="378"/>
                    </a:cubicBezTo>
                    <a:cubicBezTo>
                      <a:pt x="459" y="379"/>
                      <a:pt x="459" y="379"/>
                      <a:pt x="459" y="379"/>
                    </a:cubicBezTo>
                    <a:cubicBezTo>
                      <a:pt x="461" y="379"/>
                      <a:pt x="461" y="379"/>
                      <a:pt x="461" y="379"/>
                    </a:cubicBezTo>
                    <a:cubicBezTo>
                      <a:pt x="462" y="379"/>
                      <a:pt x="462" y="379"/>
                      <a:pt x="462" y="379"/>
                    </a:cubicBezTo>
                    <a:cubicBezTo>
                      <a:pt x="460" y="380"/>
                      <a:pt x="460" y="380"/>
                      <a:pt x="460" y="380"/>
                    </a:cubicBezTo>
                    <a:cubicBezTo>
                      <a:pt x="458" y="380"/>
                      <a:pt x="458" y="380"/>
                      <a:pt x="458" y="380"/>
                    </a:cubicBezTo>
                    <a:cubicBezTo>
                      <a:pt x="456" y="380"/>
                      <a:pt x="456" y="380"/>
                      <a:pt x="456" y="380"/>
                    </a:cubicBezTo>
                    <a:cubicBezTo>
                      <a:pt x="455" y="383"/>
                      <a:pt x="455" y="383"/>
                      <a:pt x="455" y="383"/>
                    </a:cubicBezTo>
                    <a:cubicBezTo>
                      <a:pt x="452" y="386"/>
                      <a:pt x="452" y="386"/>
                      <a:pt x="452" y="386"/>
                    </a:cubicBezTo>
                    <a:cubicBezTo>
                      <a:pt x="450" y="388"/>
                      <a:pt x="450" y="388"/>
                      <a:pt x="450" y="388"/>
                    </a:cubicBezTo>
                    <a:cubicBezTo>
                      <a:pt x="450" y="390"/>
                      <a:pt x="450" y="390"/>
                      <a:pt x="450" y="390"/>
                    </a:cubicBezTo>
                    <a:cubicBezTo>
                      <a:pt x="451" y="392"/>
                      <a:pt x="451" y="392"/>
                      <a:pt x="451" y="392"/>
                    </a:cubicBezTo>
                    <a:cubicBezTo>
                      <a:pt x="453" y="390"/>
                      <a:pt x="453" y="390"/>
                      <a:pt x="453" y="390"/>
                    </a:cubicBezTo>
                    <a:cubicBezTo>
                      <a:pt x="454" y="387"/>
                      <a:pt x="454" y="387"/>
                      <a:pt x="454" y="387"/>
                    </a:cubicBezTo>
                    <a:cubicBezTo>
                      <a:pt x="454" y="386"/>
                      <a:pt x="454" y="386"/>
                      <a:pt x="454" y="386"/>
                    </a:cubicBezTo>
                    <a:cubicBezTo>
                      <a:pt x="456" y="386"/>
                      <a:pt x="456" y="386"/>
                      <a:pt x="456" y="386"/>
                    </a:cubicBezTo>
                    <a:cubicBezTo>
                      <a:pt x="458" y="383"/>
                      <a:pt x="458" y="383"/>
                      <a:pt x="458" y="383"/>
                    </a:cubicBezTo>
                    <a:cubicBezTo>
                      <a:pt x="458" y="384"/>
                      <a:pt x="458" y="384"/>
                      <a:pt x="458" y="384"/>
                    </a:cubicBezTo>
                    <a:cubicBezTo>
                      <a:pt x="460" y="384"/>
                      <a:pt x="460" y="384"/>
                      <a:pt x="460" y="384"/>
                    </a:cubicBezTo>
                    <a:cubicBezTo>
                      <a:pt x="462" y="384"/>
                      <a:pt x="462" y="384"/>
                      <a:pt x="462" y="384"/>
                    </a:cubicBezTo>
                    <a:cubicBezTo>
                      <a:pt x="461" y="386"/>
                      <a:pt x="461" y="386"/>
                      <a:pt x="461" y="386"/>
                    </a:cubicBezTo>
                    <a:cubicBezTo>
                      <a:pt x="461" y="386"/>
                      <a:pt x="461" y="386"/>
                      <a:pt x="461" y="386"/>
                    </a:cubicBezTo>
                    <a:cubicBezTo>
                      <a:pt x="463" y="386"/>
                      <a:pt x="463" y="386"/>
                      <a:pt x="463" y="386"/>
                    </a:cubicBezTo>
                    <a:cubicBezTo>
                      <a:pt x="463" y="387"/>
                      <a:pt x="463" y="387"/>
                      <a:pt x="463" y="387"/>
                    </a:cubicBezTo>
                    <a:cubicBezTo>
                      <a:pt x="461" y="389"/>
                      <a:pt x="461" y="389"/>
                      <a:pt x="461" y="389"/>
                    </a:cubicBezTo>
                    <a:cubicBezTo>
                      <a:pt x="461" y="391"/>
                      <a:pt x="461" y="391"/>
                      <a:pt x="461" y="391"/>
                    </a:cubicBezTo>
                    <a:cubicBezTo>
                      <a:pt x="462" y="392"/>
                      <a:pt x="462" y="392"/>
                      <a:pt x="462" y="392"/>
                    </a:cubicBezTo>
                    <a:cubicBezTo>
                      <a:pt x="460" y="394"/>
                      <a:pt x="460" y="394"/>
                      <a:pt x="460" y="394"/>
                    </a:cubicBezTo>
                    <a:cubicBezTo>
                      <a:pt x="460" y="396"/>
                      <a:pt x="460" y="396"/>
                      <a:pt x="460" y="396"/>
                    </a:cubicBezTo>
                    <a:cubicBezTo>
                      <a:pt x="460" y="397"/>
                      <a:pt x="460" y="397"/>
                      <a:pt x="460" y="397"/>
                    </a:cubicBezTo>
                    <a:cubicBezTo>
                      <a:pt x="461" y="398"/>
                      <a:pt x="461" y="398"/>
                      <a:pt x="461" y="398"/>
                    </a:cubicBezTo>
                    <a:cubicBezTo>
                      <a:pt x="459" y="397"/>
                      <a:pt x="459" y="397"/>
                      <a:pt x="459" y="397"/>
                    </a:cubicBezTo>
                    <a:cubicBezTo>
                      <a:pt x="458" y="398"/>
                      <a:pt x="458" y="398"/>
                      <a:pt x="458" y="398"/>
                    </a:cubicBezTo>
                    <a:cubicBezTo>
                      <a:pt x="456" y="399"/>
                      <a:pt x="456" y="399"/>
                      <a:pt x="456" y="399"/>
                    </a:cubicBezTo>
                    <a:cubicBezTo>
                      <a:pt x="456" y="400"/>
                      <a:pt x="456" y="400"/>
                      <a:pt x="456" y="400"/>
                    </a:cubicBezTo>
                    <a:cubicBezTo>
                      <a:pt x="458" y="400"/>
                      <a:pt x="458" y="400"/>
                      <a:pt x="458" y="400"/>
                    </a:cubicBezTo>
                    <a:cubicBezTo>
                      <a:pt x="459" y="400"/>
                      <a:pt x="459" y="400"/>
                      <a:pt x="459" y="400"/>
                    </a:cubicBezTo>
                    <a:cubicBezTo>
                      <a:pt x="461" y="400"/>
                      <a:pt x="461" y="400"/>
                      <a:pt x="461" y="400"/>
                    </a:cubicBezTo>
                    <a:cubicBezTo>
                      <a:pt x="461" y="400"/>
                      <a:pt x="461" y="400"/>
                      <a:pt x="461" y="400"/>
                    </a:cubicBezTo>
                    <a:cubicBezTo>
                      <a:pt x="459" y="402"/>
                      <a:pt x="459" y="402"/>
                      <a:pt x="459" y="402"/>
                    </a:cubicBezTo>
                    <a:cubicBezTo>
                      <a:pt x="458" y="402"/>
                      <a:pt x="458" y="402"/>
                      <a:pt x="458" y="402"/>
                    </a:cubicBezTo>
                    <a:cubicBezTo>
                      <a:pt x="457" y="402"/>
                      <a:pt x="457" y="402"/>
                      <a:pt x="457" y="402"/>
                    </a:cubicBezTo>
                    <a:cubicBezTo>
                      <a:pt x="456" y="402"/>
                      <a:pt x="456" y="402"/>
                      <a:pt x="456" y="402"/>
                    </a:cubicBezTo>
                    <a:cubicBezTo>
                      <a:pt x="455" y="405"/>
                      <a:pt x="455" y="405"/>
                      <a:pt x="455" y="405"/>
                    </a:cubicBezTo>
                    <a:cubicBezTo>
                      <a:pt x="456" y="407"/>
                      <a:pt x="456" y="407"/>
                      <a:pt x="456" y="407"/>
                    </a:cubicBezTo>
                    <a:cubicBezTo>
                      <a:pt x="458" y="406"/>
                      <a:pt x="458" y="406"/>
                      <a:pt x="458" y="406"/>
                    </a:cubicBezTo>
                    <a:cubicBezTo>
                      <a:pt x="458" y="405"/>
                      <a:pt x="458" y="405"/>
                      <a:pt x="458" y="405"/>
                    </a:cubicBezTo>
                    <a:cubicBezTo>
                      <a:pt x="459" y="405"/>
                      <a:pt x="459" y="405"/>
                      <a:pt x="459" y="405"/>
                    </a:cubicBezTo>
                    <a:cubicBezTo>
                      <a:pt x="461" y="404"/>
                      <a:pt x="461" y="404"/>
                      <a:pt x="461" y="404"/>
                    </a:cubicBezTo>
                    <a:cubicBezTo>
                      <a:pt x="463" y="401"/>
                      <a:pt x="463" y="401"/>
                      <a:pt x="463" y="401"/>
                    </a:cubicBezTo>
                    <a:cubicBezTo>
                      <a:pt x="465" y="398"/>
                      <a:pt x="465" y="398"/>
                      <a:pt x="465" y="398"/>
                    </a:cubicBezTo>
                    <a:cubicBezTo>
                      <a:pt x="466" y="394"/>
                      <a:pt x="466" y="394"/>
                      <a:pt x="466" y="394"/>
                    </a:cubicBezTo>
                    <a:cubicBezTo>
                      <a:pt x="468" y="389"/>
                      <a:pt x="468" y="389"/>
                      <a:pt x="468" y="389"/>
                    </a:cubicBezTo>
                    <a:cubicBezTo>
                      <a:pt x="469" y="389"/>
                      <a:pt x="469" y="389"/>
                      <a:pt x="469" y="389"/>
                    </a:cubicBezTo>
                    <a:cubicBezTo>
                      <a:pt x="469" y="389"/>
                      <a:pt x="469" y="389"/>
                      <a:pt x="469" y="389"/>
                    </a:cubicBezTo>
                    <a:close/>
                    <a:moveTo>
                      <a:pt x="440" y="400"/>
                    </a:moveTo>
                    <a:cubicBezTo>
                      <a:pt x="440" y="399"/>
                      <a:pt x="440" y="399"/>
                      <a:pt x="440" y="399"/>
                    </a:cubicBezTo>
                    <a:cubicBezTo>
                      <a:pt x="440" y="397"/>
                      <a:pt x="440" y="397"/>
                      <a:pt x="440" y="397"/>
                    </a:cubicBezTo>
                    <a:cubicBezTo>
                      <a:pt x="441" y="399"/>
                      <a:pt x="441" y="399"/>
                      <a:pt x="441" y="399"/>
                    </a:cubicBezTo>
                    <a:cubicBezTo>
                      <a:pt x="440" y="400"/>
                      <a:pt x="440" y="400"/>
                      <a:pt x="440" y="400"/>
                    </a:cubicBezTo>
                    <a:close/>
                    <a:moveTo>
                      <a:pt x="451" y="403"/>
                    </a:moveTo>
                    <a:cubicBezTo>
                      <a:pt x="453" y="402"/>
                      <a:pt x="453" y="402"/>
                      <a:pt x="453" y="402"/>
                    </a:cubicBezTo>
                    <a:cubicBezTo>
                      <a:pt x="454" y="403"/>
                      <a:pt x="454" y="403"/>
                      <a:pt x="454" y="403"/>
                    </a:cubicBezTo>
                    <a:cubicBezTo>
                      <a:pt x="453" y="405"/>
                      <a:pt x="453" y="405"/>
                      <a:pt x="453" y="405"/>
                    </a:cubicBezTo>
                    <a:cubicBezTo>
                      <a:pt x="451" y="403"/>
                      <a:pt x="451" y="403"/>
                      <a:pt x="451" y="403"/>
                    </a:cubicBezTo>
                    <a:close/>
                    <a:moveTo>
                      <a:pt x="452" y="398"/>
                    </a:moveTo>
                    <a:cubicBezTo>
                      <a:pt x="453" y="397"/>
                      <a:pt x="453" y="397"/>
                      <a:pt x="453" y="397"/>
                    </a:cubicBezTo>
                    <a:cubicBezTo>
                      <a:pt x="454" y="399"/>
                      <a:pt x="454" y="399"/>
                      <a:pt x="454" y="399"/>
                    </a:cubicBezTo>
                    <a:cubicBezTo>
                      <a:pt x="452" y="401"/>
                      <a:pt x="452" y="401"/>
                      <a:pt x="452" y="401"/>
                    </a:cubicBezTo>
                    <a:cubicBezTo>
                      <a:pt x="451" y="400"/>
                      <a:pt x="451" y="400"/>
                      <a:pt x="451" y="400"/>
                    </a:cubicBezTo>
                    <a:cubicBezTo>
                      <a:pt x="452" y="399"/>
                      <a:pt x="452" y="399"/>
                      <a:pt x="452" y="399"/>
                    </a:cubicBezTo>
                    <a:cubicBezTo>
                      <a:pt x="452" y="398"/>
                      <a:pt x="452" y="398"/>
                      <a:pt x="452" y="398"/>
                    </a:cubicBezTo>
                    <a:close/>
                    <a:moveTo>
                      <a:pt x="451" y="393"/>
                    </a:moveTo>
                    <a:cubicBezTo>
                      <a:pt x="453" y="396"/>
                      <a:pt x="453" y="396"/>
                      <a:pt x="453" y="396"/>
                    </a:cubicBezTo>
                    <a:cubicBezTo>
                      <a:pt x="451" y="397"/>
                      <a:pt x="451" y="397"/>
                      <a:pt x="451" y="397"/>
                    </a:cubicBezTo>
                    <a:cubicBezTo>
                      <a:pt x="451" y="395"/>
                      <a:pt x="451" y="395"/>
                      <a:pt x="451" y="395"/>
                    </a:cubicBezTo>
                    <a:cubicBezTo>
                      <a:pt x="450" y="394"/>
                      <a:pt x="450" y="394"/>
                      <a:pt x="450" y="394"/>
                    </a:cubicBezTo>
                    <a:cubicBezTo>
                      <a:pt x="451" y="393"/>
                      <a:pt x="451" y="393"/>
                      <a:pt x="451" y="393"/>
                    </a:cubicBezTo>
                    <a:close/>
                    <a:moveTo>
                      <a:pt x="453" y="393"/>
                    </a:moveTo>
                    <a:cubicBezTo>
                      <a:pt x="455" y="392"/>
                      <a:pt x="455" y="392"/>
                      <a:pt x="455" y="392"/>
                    </a:cubicBezTo>
                    <a:cubicBezTo>
                      <a:pt x="455" y="391"/>
                      <a:pt x="455" y="391"/>
                      <a:pt x="455" y="391"/>
                    </a:cubicBezTo>
                    <a:cubicBezTo>
                      <a:pt x="455" y="388"/>
                      <a:pt x="455" y="388"/>
                      <a:pt x="455" y="388"/>
                    </a:cubicBezTo>
                    <a:cubicBezTo>
                      <a:pt x="457" y="387"/>
                      <a:pt x="457" y="387"/>
                      <a:pt x="457" y="387"/>
                    </a:cubicBezTo>
                    <a:cubicBezTo>
                      <a:pt x="458" y="386"/>
                      <a:pt x="458" y="386"/>
                      <a:pt x="458" y="386"/>
                    </a:cubicBezTo>
                    <a:cubicBezTo>
                      <a:pt x="460" y="386"/>
                      <a:pt x="460" y="386"/>
                      <a:pt x="460" y="386"/>
                    </a:cubicBezTo>
                    <a:cubicBezTo>
                      <a:pt x="461" y="388"/>
                      <a:pt x="461" y="388"/>
                      <a:pt x="461" y="388"/>
                    </a:cubicBezTo>
                    <a:cubicBezTo>
                      <a:pt x="460" y="390"/>
                      <a:pt x="460" y="390"/>
                      <a:pt x="460" y="390"/>
                    </a:cubicBezTo>
                    <a:cubicBezTo>
                      <a:pt x="460" y="392"/>
                      <a:pt x="460" y="392"/>
                      <a:pt x="460" y="392"/>
                    </a:cubicBezTo>
                    <a:cubicBezTo>
                      <a:pt x="458" y="396"/>
                      <a:pt x="458" y="396"/>
                      <a:pt x="458" y="396"/>
                    </a:cubicBezTo>
                    <a:cubicBezTo>
                      <a:pt x="455" y="398"/>
                      <a:pt x="455" y="398"/>
                      <a:pt x="455" y="398"/>
                    </a:cubicBezTo>
                    <a:cubicBezTo>
                      <a:pt x="454" y="397"/>
                      <a:pt x="454" y="397"/>
                      <a:pt x="454" y="397"/>
                    </a:cubicBezTo>
                    <a:cubicBezTo>
                      <a:pt x="455" y="395"/>
                      <a:pt x="455" y="395"/>
                      <a:pt x="455" y="395"/>
                    </a:cubicBezTo>
                    <a:cubicBezTo>
                      <a:pt x="457" y="393"/>
                      <a:pt x="457" y="393"/>
                      <a:pt x="457" y="393"/>
                    </a:cubicBezTo>
                    <a:cubicBezTo>
                      <a:pt x="457" y="393"/>
                      <a:pt x="457" y="393"/>
                      <a:pt x="457" y="393"/>
                    </a:cubicBezTo>
                    <a:cubicBezTo>
                      <a:pt x="454" y="394"/>
                      <a:pt x="454" y="394"/>
                      <a:pt x="454" y="394"/>
                    </a:cubicBezTo>
                    <a:cubicBezTo>
                      <a:pt x="453" y="393"/>
                      <a:pt x="453" y="393"/>
                      <a:pt x="453" y="393"/>
                    </a:cubicBezTo>
                    <a:close/>
                    <a:moveTo>
                      <a:pt x="436" y="399"/>
                    </a:moveTo>
                    <a:cubicBezTo>
                      <a:pt x="437" y="399"/>
                      <a:pt x="437" y="399"/>
                      <a:pt x="437" y="399"/>
                    </a:cubicBezTo>
                    <a:cubicBezTo>
                      <a:pt x="438" y="400"/>
                      <a:pt x="438" y="400"/>
                      <a:pt x="438" y="400"/>
                    </a:cubicBezTo>
                    <a:cubicBezTo>
                      <a:pt x="438" y="401"/>
                      <a:pt x="438" y="401"/>
                      <a:pt x="438" y="401"/>
                    </a:cubicBezTo>
                    <a:cubicBezTo>
                      <a:pt x="439" y="403"/>
                      <a:pt x="439" y="403"/>
                      <a:pt x="439" y="403"/>
                    </a:cubicBezTo>
                    <a:cubicBezTo>
                      <a:pt x="438" y="406"/>
                      <a:pt x="438" y="406"/>
                      <a:pt x="438" y="406"/>
                    </a:cubicBezTo>
                    <a:cubicBezTo>
                      <a:pt x="437" y="405"/>
                      <a:pt x="437" y="405"/>
                      <a:pt x="437" y="405"/>
                    </a:cubicBezTo>
                    <a:cubicBezTo>
                      <a:pt x="437" y="403"/>
                      <a:pt x="437" y="403"/>
                      <a:pt x="437" y="403"/>
                    </a:cubicBezTo>
                    <a:cubicBezTo>
                      <a:pt x="435" y="401"/>
                      <a:pt x="435" y="401"/>
                      <a:pt x="435" y="401"/>
                    </a:cubicBezTo>
                    <a:cubicBezTo>
                      <a:pt x="436" y="399"/>
                      <a:pt x="436" y="399"/>
                      <a:pt x="436" y="399"/>
                    </a:cubicBezTo>
                    <a:close/>
                    <a:moveTo>
                      <a:pt x="436" y="397"/>
                    </a:moveTo>
                    <a:cubicBezTo>
                      <a:pt x="437" y="396"/>
                      <a:pt x="437" y="396"/>
                      <a:pt x="437" y="396"/>
                    </a:cubicBezTo>
                    <a:cubicBezTo>
                      <a:pt x="438" y="396"/>
                      <a:pt x="438" y="396"/>
                      <a:pt x="438" y="396"/>
                    </a:cubicBezTo>
                    <a:cubicBezTo>
                      <a:pt x="438" y="398"/>
                      <a:pt x="438" y="398"/>
                      <a:pt x="438" y="398"/>
                    </a:cubicBezTo>
                    <a:cubicBezTo>
                      <a:pt x="437" y="399"/>
                      <a:pt x="437" y="399"/>
                      <a:pt x="437" y="399"/>
                    </a:cubicBezTo>
                    <a:cubicBezTo>
                      <a:pt x="436" y="397"/>
                      <a:pt x="436" y="397"/>
                      <a:pt x="436" y="397"/>
                    </a:cubicBezTo>
                    <a:close/>
                    <a:moveTo>
                      <a:pt x="435" y="395"/>
                    </a:moveTo>
                    <a:cubicBezTo>
                      <a:pt x="437" y="393"/>
                      <a:pt x="437" y="393"/>
                      <a:pt x="437" y="393"/>
                    </a:cubicBezTo>
                    <a:cubicBezTo>
                      <a:pt x="437" y="395"/>
                      <a:pt x="437" y="395"/>
                      <a:pt x="437" y="395"/>
                    </a:cubicBezTo>
                    <a:cubicBezTo>
                      <a:pt x="435" y="395"/>
                      <a:pt x="435" y="395"/>
                      <a:pt x="435" y="395"/>
                    </a:cubicBezTo>
                    <a:close/>
                    <a:moveTo>
                      <a:pt x="434" y="392"/>
                    </a:moveTo>
                    <a:cubicBezTo>
                      <a:pt x="435" y="392"/>
                      <a:pt x="435" y="392"/>
                      <a:pt x="435" y="392"/>
                    </a:cubicBezTo>
                    <a:cubicBezTo>
                      <a:pt x="434" y="394"/>
                      <a:pt x="434" y="394"/>
                      <a:pt x="434" y="394"/>
                    </a:cubicBezTo>
                    <a:cubicBezTo>
                      <a:pt x="434" y="392"/>
                      <a:pt x="434" y="392"/>
                      <a:pt x="434" y="392"/>
                    </a:cubicBezTo>
                    <a:close/>
                    <a:moveTo>
                      <a:pt x="433" y="382"/>
                    </a:moveTo>
                    <a:cubicBezTo>
                      <a:pt x="433" y="381"/>
                      <a:pt x="433" y="381"/>
                      <a:pt x="433" y="381"/>
                    </a:cubicBezTo>
                    <a:cubicBezTo>
                      <a:pt x="434" y="381"/>
                      <a:pt x="434" y="381"/>
                      <a:pt x="434" y="381"/>
                    </a:cubicBezTo>
                    <a:cubicBezTo>
                      <a:pt x="433" y="382"/>
                      <a:pt x="433" y="382"/>
                      <a:pt x="433" y="382"/>
                    </a:cubicBezTo>
                    <a:close/>
                    <a:moveTo>
                      <a:pt x="438" y="385"/>
                    </a:moveTo>
                    <a:cubicBezTo>
                      <a:pt x="439" y="384"/>
                      <a:pt x="439" y="384"/>
                      <a:pt x="439" y="384"/>
                    </a:cubicBezTo>
                    <a:cubicBezTo>
                      <a:pt x="440" y="385"/>
                      <a:pt x="440" y="385"/>
                      <a:pt x="440" y="385"/>
                    </a:cubicBezTo>
                    <a:cubicBezTo>
                      <a:pt x="439" y="386"/>
                      <a:pt x="439" y="386"/>
                      <a:pt x="439" y="386"/>
                    </a:cubicBezTo>
                    <a:cubicBezTo>
                      <a:pt x="438" y="385"/>
                      <a:pt x="438" y="385"/>
                      <a:pt x="438" y="385"/>
                    </a:cubicBezTo>
                    <a:close/>
                    <a:moveTo>
                      <a:pt x="438" y="382"/>
                    </a:moveTo>
                    <a:cubicBezTo>
                      <a:pt x="440" y="379"/>
                      <a:pt x="440" y="379"/>
                      <a:pt x="440" y="379"/>
                    </a:cubicBezTo>
                    <a:cubicBezTo>
                      <a:pt x="442" y="379"/>
                      <a:pt x="442" y="379"/>
                      <a:pt x="442" y="379"/>
                    </a:cubicBezTo>
                    <a:cubicBezTo>
                      <a:pt x="443" y="380"/>
                      <a:pt x="443" y="380"/>
                      <a:pt x="443" y="380"/>
                    </a:cubicBezTo>
                    <a:cubicBezTo>
                      <a:pt x="442" y="381"/>
                      <a:pt x="442" y="381"/>
                      <a:pt x="442" y="381"/>
                    </a:cubicBezTo>
                    <a:cubicBezTo>
                      <a:pt x="441" y="381"/>
                      <a:pt x="441" y="381"/>
                      <a:pt x="441" y="381"/>
                    </a:cubicBezTo>
                    <a:cubicBezTo>
                      <a:pt x="439" y="382"/>
                      <a:pt x="439" y="382"/>
                      <a:pt x="439" y="382"/>
                    </a:cubicBezTo>
                    <a:cubicBezTo>
                      <a:pt x="438" y="382"/>
                      <a:pt x="438" y="382"/>
                      <a:pt x="438" y="382"/>
                    </a:cubicBezTo>
                    <a:close/>
                    <a:moveTo>
                      <a:pt x="443" y="383"/>
                    </a:moveTo>
                    <a:cubicBezTo>
                      <a:pt x="444" y="380"/>
                      <a:pt x="444" y="380"/>
                      <a:pt x="444" y="380"/>
                    </a:cubicBezTo>
                    <a:cubicBezTo>
                      <a:pt x="443" y="379"/>
                      <a:pt x="443" y="379"/>
                      <a:pt x="443" y="379"/>
                    </a:cubicBezTo>
                    <a:cubicBezTo>
                      <a:pt x="442" y="377"/>
                      <a:pt x="442" y="377"/>
                      <a:pt x="442" y="377"/>
                    </a:cubicBezTo>
                    <a:cubicBezTo>
                      <a:pt x="443" y="376"/>
                      <a:pt x="443" y="376"/>
                      <a:pt x="443" y="376"/>
                    </a:cubicBezTo>
                    <a:cubicBezTo>
                      <a:pt x="445" y="376"/>
                      <a:pt x="445" y="376"/>
                      <a:pt x="445" y="376"/>
                    </a:cubicBezTo>
                    <a:cubicBezTo>
                      <a:pt x="446" y="378"/>
                      <a:pt x="446" y="378"/>
                      <a:pt x="446" y="378"/>
                    </a:cubicBezTo>
                    <a:cubicBezTo>
                      <a:pt x="445" y="380"/>
                      <a:pt x="445" y="380"/>
                      <a:pt x="445" y="380"/>
                    </a:cubicBezTo>
                    <a:cubicBezTo>
                      <a:pt x="444" y="381"/>
                      <a:pt x="444" y="381"/>
                      <a:pt x="444" y="381"/>
                    </a:cubicBezTo>
                    <a:cubicBezTo>
                      <a:pt x="445" y="383"/>
                      <a:pt x="445" y="383"/>
                      <a:pt x="445" y="383"/>
                    </a:cubicBezTo>
                    <a:cubicBezTo>
                      <a:pt x="446" y="382"/>
                      <a:pt x="446" y="382"/>
                      <a:pt x="446" y="382"/>
                    </a:cubicBezTo>
                    <a:cubicBezTo>
                      <a:pt x="448" y="384"/>
                      <a:pt x="448" y="384"/>
                      <a:pt x="448" y="384"/>
                    </a:cubicBezTo>
                    <a:cubicBezTo>
                      <a:pt x="448" y="387"/>
                      <a:pt x="448" y="387"/>
                      <a:pt x="448" y="387"/>
                    </a:cubicBezTo>
                    <a:cubicBezTo>
                      <a:pt x="447" y="387"/>
                      <a:pt x="447" y="387"/>
                      <a:pt x="447" y="387"/>
                    </a:cubicBezTo>
                    <a:cubicBezTo>
                      <a:pt x="448" y="388"/>
                      <a:pt x="448" y="388"/>
                      <a:pt x="448" y="388"/>
                    </a:cubicBezTo>
                    <a:cubicBezTo>
                      <a:pt x="448" y="390"/>
                      <a:pt x="448" y="390"/>
                      <a:pt x="448" y="390"/>
                    </a:cubicBezTo>
                    <a:cubicBezTo>
                      <a:pt x="447" y="390"/>
                      <a:pt x="447" y="390"/>
                      <a:pt x="447" y="390"/>
                    </a:cubicBezTo>
                    <a:cubicBezTo>
                      <a:pt x="446" y="390"/>
                      <a:pt x="446" y="390"/>
                      <a:pt x="446" y="390"/>
                    </a:cubicBezTo>
                    <a:cubicBezTo>
                      <a:pt x="446" y="391"/>
                      <a:pt x="446" y="391"/>
                      <a:pt x="446" y="391"/>
                    </a:cubicBezTo>
                    <a:cubicBezTo>
                      <a:pt x="448" y="393"/>
                      <a:pt x="448" y="393"/>
                      <a:pt x="448" y="393"/>
                    </a:cubicBezTo>
                    <a:cubicBezTo>
                      <a:pt x="449" y="395"/>
                      <a:pt x="449" y="395"/>
                      <a:pt x="449" y="395"/>
                    </a:cubicBezTo>
                    <a:cubicBezTo>
                      <a:pt x="447" y="396"/>
                      <a:pt x="447" y="396"/>
                      <a:pt x="447" y="396"/>
                    </a:cubicBezTo>
                    <a:cubicBezTo>
                      <a:pt x="447" y="397"/>
                      <a:pt x="447" y="397"/>
                      <a:pt x="447" y="397"/>
                    </a:cubicBezTo>
                    <a:cubicBezTo>
                      <a:pt x="448" y="396"/>
                      <a:pt x="448" y="396"/>
                      <a:pt x="448" y="396"/>
                    </a:cubicBezTo>
                    <a:cubicBezTo>
                      <a:pt x="449" y="397"/>
                      <a:pt x="449" y="397"/>
                      <a:pt x="449" y="397"/>
                    </a:cubicBezTo>
                    <a:cubicBezTo>
                      <a:pt x="449" y="398"/>
                      <a:pt x="449" y="398"/>
                      <a:pt x="449" y="398"/>
                    </a:cubicBezTo>
                    <a:cubicBezTo>
                      <a:pt x="447" y="399"/>
                      <a:pt x="447" y="399"/>
                      <a:pt x="447" y="399"/>
                    </a:cubicBezTo>
                    <a:cubicBezTo>
                      <a:pt x="446" y="400"/>
                      <a:pt x="446" y="400"/>
                      <a:pt x="446" y="400"/>
                    </a:cubicBezTo>
                    <a:cubicBezTo>
                      <a:pt x="445" y="401"/>
                      <a:pt x="445" y="401"/>
                      <a:pt x="445" y="401"/>
                    </a:cubicBezTo>
                    <a:cubicBezTo>
                      <a:pt x="446" y="401"/>
                      <a:pt x="446" y="401"/>
                      <a:pt x="446" y="401"/>
                    </a:cubicBezTo>
                    <a:cubicBezTo>
                      <a:pt x="447" y="402"/>
                      <a:pt x="447" y="402"/>
                      <a:pt x="447" y="402"/>
                    </a:cubicBezTo>
                    <a:cubicBezTo>
                      <a:pt x="446" y="403"/>
                      <a:pt x="446" y="403"/>
                      <a:pt x="446" y="403"/>
                    </a:cubicBezTo>
                    <a:cubicBezTo>
                      <a:pt x="447" y="405"/>
                      <a:pt x="447" y="405"/>
                      <a:pt x="447" y="405"/>
                    </a:cubicBezTo>
                    <a:cubicBezTo>
                      <a:pt x="446" y="406"/>
                      <a:pt x="446" y="406"/>
                      <a:pt x="446" y="406"/>
                    </a:cubicBezTo>
                    <a:cubicBezTo>
                      <a:pt x="444" y="406"/>
                      <a:pt x="444" y="406"/>
                      <a:pt x="444" y="406"/>
                    </a:cubicBezTo>
                    <a:cubicBezTo>
                      <a:pt x="443" y="405"/>
                      <a:pt x="443" y="405"/>
                      <a:pt x="443" y="405"/>
                    </a:cubicBezTo>
                    <a:cubicBezTo>
                      <a:pt x="444" y="403"/>
                      <a:pt x="444" y="403"/>
                      <a:pt x="444" y="403"/>
                    </a:cubicBezTo>
                    <a:cubicBezTo>
                      <a:pt x="442" y="402"/>
                      <a:pt x="442" y="402"/>
                      <a:pt x="442" y="402"/>
                    </a:cubicBezTo>
                    <a:cubicBezTo>
                      <a:pt x="442" y="400"/>
                      <a:pt x="442" y="400"/>
                      <a:pt x="442" y="400"/>
                    </a:cubicBezTo>
                    <a:cubicBezTo>
                      <a:pt x="443" y="399"/>
                      <a:pt x="443" y="399"/>
                      <a:pt x="443" y="399"/>
                    </a:cubicBezTo>
                    <a:cubicBezTo>
                      <a:pt x="442" y="398"/>
                      <a:pt x="442" y="398"/>
                      <a:pt x="442" y="398"/>
                    </a:cubicBezTo>
                    <a:cubicBezTo>
                      <a:pt x="443" y="397"/>
                      <a:pt x="443" y="397"/>
                      <a:pt x="443" y="397"/>
                    </a:cubicBezTo>
                    <a:cubicBezTo>
                      <a:pt x="444" y="396"/>
                      <a:pt x="444" y="396"/>
                      <a:pt x="444" y="396"/>
                    </a:cubicBezTo>
                    <a:cubicBezTo>
                      <a:pt x="443" y="395"/>
                      <a:pt x="443" y="395"/>
                      <a:pt x="443" y="395"/>
                    </a:cubicBezTo>
                    <a:cubicBezTo>
                      <a:pt x="442" y="395"/>
                      <a:pt x="442" y="395"/>
                      <a:pt x="442" y="395"/>
                    </a:cubicBezTo>
                    <a:cubicBezTo>
                      <a:pt x="441" y="396"/>
                      <a:pt x="441" y="396"/>
                      <a:pt x="441" y="396"/>
                    </a:cubicBezTo>
                    <a:cubicBezTo>
                      <a:pt x="441" y="395"/>
                      <a:pt x="441" y="395"/>
                      <a:pt x="441" y="395"/>
                    </a:cubicBezTo>
                    <a:cubicBezTo>
                      <a:pt x="439" y="395"/>
                      <a:pt x="439" y="395"/>
                      <a:pt x="439" y="395"/>
                    </a:cubicBezTo>
                    <a:cubicBezTo>
                      <a:pt x="439" y="394"/>
                      <a:pt x="439" y="394"/>
                      <a:pt x="439" y="394"/>
                    </a:cubicBezTo>
                    <a:cubicBezTo>
                      <a:pt x="439" y="393"/>
                      <a:pt x="439" y="393"/>
                      <a:pt x="439" y="393"/>
                    </a:cubicBezTo>
                    <a:cubicBezTo>
                      <a:pt x="440" y="393"/>
                      <a:pt x="440" y="393"/>
                      <a:pt x="440" y="393"/>
                    </a:cubicBezTo>
                    <a:cubicBezTo>
                      <a:pt x="441" y="392"/>
                      <a:pt x="441" y="392"/>
                      <a:pt x="441" y="392"/>
                    </a:cubicBezTo>
                    <a:cubicBezTo>
                      <a:pt x="441" y="391"/>
                      <a:pt x="441" y="391"/>
                      <a:pt x="441" y="391"/>
                    </a:cubicBezTo>
                    <a:cubicBezTo>
                      <a:pt x="443" y="390"/>
                      <a:pt x="443" y="390"/>
                      <a:pt x="443" y="390"/>
                    </a:cubicBezTo>
                    <a:cubicBezTo>
                      <a:pt x="443" y="389"/>
                      <a:pt x="443" y="389"/>
                      <a:pt x="443" y="389"/>
                    </a:cubicBezTo>
                    <a:cubicBezTo>
                      <a:pt x="442" y="388"/>
                      <a:pt x="442" y="388"/>
                      <a:pt x="442" y="388"/>
                    </a:cubicBezTo>
                    <a:cubicBezTo>
                      <a:pt x="441" y="389"/>
                      <a:pt x="441" y="389"/>
                      <a:pt x="441" y="389"/>
                    </a:cubicBezTo>
                    <a:cubicBezTo>
                      <a:pt x="440" y="388"/>
                      <a:pt x="440" y="388"/>
                      <a:pt x="440" y="388"/>
                    </a:cubicBezTo>
                    <a:cubicBezTo>
                      <a:pt x="441" y="387"/>
                      <a:pt x="441" y="387"/>
                      <a:pt x="441" y="387"/>
                    </a:cubicBezTo>
                    <a:cubicBezTo>
                      <a:pt x="443" y="387"/>
                      <a:pt x="443" y="387"/>
                      <a:pt x="443" y="387"/>
                    </a:cubicBezTo>
                    <a:cubicBezTo>
                      <a:pt x="443" y="385"/>
                      <a:pt x="443" y="385"/>
                      <a:pt x="443" y="385"/>
                    </a:cubicBezTo>
                    <a:cubicBezTo>
                      <a:pt x="443" y="383"/>
                      <a:pt x="443" y="383"/>
                      <a:pt x="443" y="383"/>
                    </a:cubicBezTo>
                    <a:close/>
                    <a:moveTo>
                      <a:pt x="454" y="381"/>
                    </a:moveTo>
                    <a:cubicBezTo>
                      <a:pt x="453" y="380"/>
                      <a:pt x="453" y="380"/>
                      <a:pt x="453" y="380"/>
                    </a:cubicBezTo>
                    <a:cubicBezTo>
                      <a:pt x="454" y="379"/>
                      <a:pt x="454" y="379"/>
                      <a:pt x="454" y="379"/>
                    </a:cubicBezTo>
                    <a:cubicBezTo>
                      <a:pt x="455" y="377"/>
                      <a:pt x="455" y="377"/>
                      <a:pt x="455" y="377"/>
                    </a:cubicBezTo>
                    <a:cubicBezTo>
                      <a:pt x="456" y="378"/>
                      <a:pt x="456" y="378"/>
                      <a:pt x="456" y="378"/>
                    </a:cubicBezTo>
                    <a:cubicBezTo>
                      <a:pt x="456" y="380"/>
                      <a:pt x="456" y="380"/>
                      <a:pt x="456" y="380"/>
                    </a:cubicBezTo>
                    <a:cubicBezTo>
                      <a:pt x="454" y="381"/>
                      <a:pt x="454" y="381"/>
                      <a:pt x="454" y="381"/>
                    </a:cubicBezTo>
                    <a:close/>
                    <a:moveTo>
                      <a:pt x="451" y="384"/>
                    </a:moveTo>
                    <a:cubicBezTo>
                      <a:pt x="452" y="381"/>
                      <a:pt x="452" y="381"/>
                      <a:pt x="452" y="381"/>
                    </a:cubicBezTo>
                    <a:cubicBezTo>
                      <a:pt x="453" y="381"/>
                      <a:pt x="453" y="381"/>
                      <a:pt x="453" y="381"/>
                    </a:cubicBezTo>
                    <a:cubicBezTo>
                      <a:pt x="453" y="383"/>
                      <a:pt x="453" y="383"/>
                      <a:pt x="453" y="383"/>
                    </a:cubicBezTo>
                    <a:cubicBezTo>
                      <a:pt x="452" y="384"/>
                      <a:pt x="452" y="384"/>
                      <a:pt x="452" y="384"/>
                    </a:cubicBezTo>
                    <a:cubicBezTo>
                      <a:pt x="451" y="384"/>
                      <a:pt x="451" y="384"/>
                      <a:pt x="451" y="384"/>
                    </a:cubicBezTo>
                    <a:close/>
                    <a:moveTo>
                      <a:pt x="449" y="382"/>
                    </a:moveTo>
                    <a:cubicBezTo>
                      <a:pt x="450" y="380"/>
                      <a:pt x="450" y="380"/>
                      <a:pt x="450" y="380"/>
                    </a:cubicBezTo>
                    <a:cubicBezTo>
                      <a:pt x="453" y="378"/>
                      <a:pt x="453" y="378"/>
                      <a:pt x="453" y="378"/>
                    </a:cubicBezTo>
                    <a:cubicBezTo>
                      <a:pt x="453" y="379"/>
                      <a:pt x="453" y="379"/>
                      <a:pt x="453" y="379"/>
                    </a:cubicBezTo>
                    <a:cubicBezTo>
                      <a:pt x="452" y="380"/>
                      <a:pt x="452" y="380"/>
                      <a:pt x="452" y="380"/>
                    </a:cubicBezTo>
                    <a:cubicBezTo>
                      <a:pt x="451" y="382"/>
                      <a:pt x="451" y="382"/>
                      <a:pt x="451" y="382"/>
                    </a:cubicBezTo>
                    <a:cubicBezTo>
                      <a:pt x="449" y="382"/>
                      <a:pt x="449" y="382"/>
                      <a:pt x="449" y="382"/>
                    </a:cubicBezTo>
                    <a:close/>
                    <a:moveTo>
                      <a:pt x="447" y="377"/>
                    </a:moveTo>
                    <a:cubicBezTo>
                      <a:pt x="449" y="375"/>
                      <a:pt x="449" y="375"/>
                      <a:pt x="449" y="375"/>
                    </a:cubicBezTo>
                    <a:cubicBezTo>
                      <a:pt x="452" y="375"/>
                      <a:pt x="452" y="375"/>
                      <a:pt x="452" y="375"/>
                    </a:cubicBezTo>
                    <a:cubicBezTo>
                      <a:pt x="452" y="377"/>
                      <a:pt x="452" y="377"/>
                      <a:pt x="452" y="377"/>
                    </a:cubicBezTo>
                    <a:cubicBezTo>
                      <a:pt x="450" y="379"/>
                      <a:pt x="450" y="379"/>
                      <a:pt x="450" y="379"/>
                    </a:cubicBezTo>
                    <a:cubicBezTo>
                      <a:pt x="448" y="378"/>
                      <a:pt x="448" y="378"/>
                      <a:pt x="448" y="378"/>
                    </a:cubicBezTo>
                    <a:cubicBezTo>
                      <a:pt x="447" y="377"/>
                      <a:pt x="447" y="377"/>
                      <a:pt x="447" y="377"/>
                    </a:cubicBezTo>
                    <a:close/>
                    <a:moveTo>
                      <a:pt x="450" y="372"/>
                    </a:moveTo>
                    <a:cubicBezTo>
                      <a:pt x="452" y="369"/>
                      <a:pt x="452" y="369"/>
                      <a:pt x="452" y="369"/>
                    </a:cubicBezTo>
                    <a:cubicBezTo>
                      <a:pt x="453" y="368"/>
                      <a:pt x="453" y="368"/>
                      <a:pt x="453" y="368"/>
                    </a:cubicBezTo>
                    <a:cubicBezTo>
                      <a:pt x="454" y="371"/>
                      <a:pt x="454" y="371"/>
                      <a:pt x="454" y="371"/>
                    </a:cubicBezTo>
                    <a:cubicBezTo>
                      <a:pt x="453" y="373"/>
                      <a:pt x="453" y="373"/>
                      <a:pt x="453" y="373"/>
                    </a:cubicBezTo>
                    <a:cubicBezTo>
                      <a:pt x="451" y="374"/>
                      <a:pt x="451" y="374"/>
                      <a:pt x="451" y="374"/>
                    </a:cubicBezTo>
                    <a:cubicBezTo>
                      <a:pt x="450" y="373"/>
                      <a:pt x="450" y="373"/>
                      <a:pt x="450" y="373"/>
                    </a:cubicBezTo>
                    <a:cubicBezTo>
                      <a:pt x="450" y="372"/>
                      <a:pt x="450" y="372"/>
                      <a:pt x="450" y="372"/>
                    </a:cubicBezTo>
                    <a:close/>
                    <a:moveTo>
                      <a:pt x="444" y="374"/>
                    </a:moveTo>
                    <a:cubicBezTo>
                      <a:pt x="444" y="372"/>
                      <a:pt x="444" y="372"/>
                      <a:pt x="444" y="372"/>
                    </a:cubicBezTo>
                    <a:cubicBezTo>
                      <a:pt x="445" y="368"/>
                      <a:pt x="445" y="368"/>
                      <a:pt x="445" y="368"/>
                    </a:cubicBezTo>
                    <a:cubicBezTo>
                      <a:pt x="446" y="366"/>
                      <a:pt x="446" y="366"/>
                      <a:pt x="446" y="366"/>
                    </a:cubicBezTo>
                    <a:cubicBezTo>
                      <a:pt x="444" y="365"/>
                      <a:pt x="444" y="365"/>
                      <a:pt x="444" y="365"/>
                    </a:cubicBezTo>
                    <a:cubicBezTo>
                      <a:pt x="444" y="364"/>
                      <a:pt x="444" y="364"/>
                      <a:pt x="444" y="364"/>
                    </a:cubicBezTo>
                    <a:cubicBezTo>
                      <a:pt x="444" y="363"/>
                      <a:pt x="444" y="363"/>
                      <a:pt x="444" y="363"/>
                    </a:cubicBezTo>
                    <a:cubicBezTo>
                      <a:pt x="444" y="361"/>
                      <a:pt x="444" y="361"/>
                      <a:pt x="444" y="361"/>
                    </a:cubicBezTo>
                    <a:cubicBezTo>
                      <a:pt x="446" y="361"/>
                      <a:pt x="446" y="361"/>
                      <a:pt x="446" y="361"/>
                    </a:cubicBezTo>
                    <a:cubicBezTo>
                      <a:pt x="448" y="364"/>
                      <a:pt x="448" y="364"/>
                      <a:pt x="448" y="364"/>
                    </a:cubicBezTo>
                    <a:cubicBezTo>
                      <a:pt x="450" y="364"/>
                      <a:pt x="450" y="364"/>
                      <a:pt x="450" y="364"/>
                    </a:cubicBezTo>
                    <a:cubicBezTo>
                      <a:pt x="451" y="365"/>
                      <a:pt x="451" y="365"/>
                      <a:pt x="451" y="365"/>
                    </a:cubicBezTo>
                    <a:cubicBezTo>
                      <a:pt x="451" y="368"/>
                      <a:pt x="451" y="368"/>
                      <a:pt x="451" y="368"/>
                    </a:cubicBezTo>
                    <a:cubicBezTo>
                      <a:pt x="450" y="370"/>
                      <a:pt x="450" y="370"/>
                      <a:pt x="450" y="370"/>
                    </a:cubicBezTo>
                    <a:cubicBezTo>
                      <a:pt x="449" y="371"/>
                      <a:pt x="449" y="371"/>
                      <a:pt x="449" y="371"/>
                    </a:cubicBezTo>
                    <a:cubicBezTo>
                      <a:pt x="449" y="368"/>
                      <a:pt x="449" y="368"/>
                      <a:pt x="449" y="368"/>
                    </a:cubicBezTo>
                    <a:cubicBezTo>
                      <a:pt x="448" y="368"/>
                      <a:pt x="448" y="368"/>
                      <a:pt x="448" y="368"/>
                    </a:cubicBezTo>
                    <a:cubicBezTo>
                      <a:pt x="448" y="371"/>
                      <a:pt x="448" y="371"/>
                      <a:pt x="448" y="371"/>
                    </a:cubicBezTo>
                    <a:cubicBezTo>
                      <a:pt x="447" y="371"/>
                      <a:pt x="447" y="371"/>
                      <a:pt x="447" y="371"/>
                    </a:cubicBezTo>
                    <a:cubicBezTo>
                      <a:pt x="448" y="373"/>
                      <a:pt x="448" y="373"/>
                      <a:pt x="448" y="373"/>
                    </a:cubicBezTo>
                    <a:cubicBezTo>
                      <a:pt x="447" y="374"/>
                      <a:pt x="447" y="374"/>
                      <a:pt x="447" y="374"/>
                    </a:cubicBezTo>
                    <a:cubicBezTo>
                      <a:pt x="446" y="373"/>
                      <a:pt x="446" y="373"/>
                      <a:pt x="446" y="373"/>
                    </a:cubicBezTo>
                    <a:cubicBezTo>
                      <a:pt x="445" y="375"/>
                      <a:pt x="445" y="375"/>
                      <a:pt x="445" y="375"/>
                    </a:cubicBezTo>
                    <a:cubicBezTo>
                      <a:pt x="444" y="374"/>
                      <a:pt x="444" y="374"/>
                      <a:pt x="444" y="374"/>
                    </a:cubicBezTo>
                    <a:close/>
                    <a:moveTo>
                      <a:pt x="439" y="372"/>
                    </a:moveTo>
                    <a:cubicBezTo>
                      <a:pt x="437" y="370"/>
                      <a:pt x="437" y="370"/>
                      <a:pt x="437" y="370"/>
                    </a:cubicBezTo>
                    <a:cubicBezTo>
                      <a:pt x="439" y="368"/>
                      <a:pt x="439" y="368"/>
                      <a:pt x="439" y="368"/>
                    </a:cubicBezTo>
                    <a:cubicBezTo>
                      <a:pt x="438" y="368"/>
                      <a:pt x="438" y="368"/>
                      <a:pt x="438" y="368"/>
                    </a:cubicBezTo>
                    <a:cubicBezTo>
                      <a:pt x="438" y="366"/>
                      <a:pt x="438" y="366"/>
                      <a:pt x="438" y="366"/>
                    </a:cubicBezTo>
                    <a:cubicBezTo>
                      <a:pt x="439" y="364"/>
                      <a:pt x="439" y="364"/>
                      <a:pt x="439" y="364"/>
                    </a:cubicBezTo>
                    <a:cubicBezTo>
                      <a:pt x="440" y="365"/>
                      <a:pt x="440" y="365"/>
                      <a:pt x="440" y="365"/>
                    </a:cubicBezTo>
                    <a:cubicBezTo>
                      <a:pt x="440" y="363"/>
                      <a:pt x="440" y="363"/>
                      <a:pt x="440" y="363"/>
                    </a:cubicBezTo>
                    <a:cubicBezTo>
                      <a:pt x="441" y="363"/>
                      <a:pt x="441" y="363"/>
                      <a:pt x="441" y="363"/>
                    </a:cubicBezTo>
                    <a:cubicBezTo>
                      <a:pt x="443" y="365"/>
                      <a:pt x="443" y="365"/>
                      <a:pt x="443" y="365"/>
                    </a:cubicBezTo>
                    <a:cubicBezTo>
                      <a:pt x="442" y="367"/>
                      <a:pt x="442" y="367"/>
                      <a:pt x="442" y="367"/>
                    </a:cubicBezTo>
                    <a:cubicBezTo>
                      <a:pt x="442" y="368"/>
                      <a:pt x="442" y="368"/>
                      <a:pt x="442" y="368"/>
                    </a:cubicBezTo>
                    <a:cubicBezTo>
                      <a:pt x="443" y="367"/>
                      <a:pt x="443" y="367"/>
                      <a:pt x="443" y="367"/>
                    </a:cubicBezTo>
                    <a:cubicBezTo>
                      <a:pt x="444" y="368"/>
                      <a:pt x="444" y="368"/>
                      <a:pt x="444" y="368"/>
                    </a:cubicBezTo>
                    <a:cubicBezTo>
                      <a:pt x="442" y="372"/>
                      <a:pt x="442" y="372"/>
                      <a:pt x="442" y="372"/>
                    </a:cubicBezTo>
                    <a:cubicBezTo>
                      <a:pt x="440" y="375"/>
                      <a:pt x="440" y="375"/>
                      <a:pt x="440" y="375"/>
                    </a:cubicBezTo>
                    <a:cubicBezTo>
                      <a:pt x="440" y="377"/>
                      <a:pt x="440" y="377"/>
                      <a:pt x="440" y="377"/>
                    </a:cubicBezTo>
                    <a:cubicBezTo>
                      <a:pt x="439" y="378"/>
                      <a:pt x="439" y="378"/>
                      <a:pt x="439" y="378"/>
                    </a:cubicBezTo>
                    <a:cubicBezTo>
                      <a:pt x="437" y="379"/>
                      <a:pt x="437" y="379"/>
                      <a:pt x="437" y="379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6"/>
                      <a:pt x="437" y="376"/>
                      <a:pt x="437" y="376"/>
                    </a:cubicBezTo>
                    <a:cubicBezTo>
                      <a:pt x="436" y="379"/>
                      <a:pt x="436" y="379"/>
                      <a:pt x="436" y="379"/>
                    </a:cubicBezTo>
                    <a:cubicBezTo>
                      <a:pt x="435" y="378"/>
                      <a:pt x="435" y="378"/>
                      <a:pt x="435" y="378"/>
                    </a:cubicBezTo>
                    <a:cubicBezTo>
                      <a:pt x="435" y="377"/>
                      <a:pt x="435" y="377"/>
                      <a:pt x="435" y="377"/>
                    </a:cubicBezTo>
                    <a:cubicBezTo>
                      <a:pt x="436" y="376"/>
                      <a:pt x="436" y="376"/>
                      <a:pt x="436" y="376"/>
                    </a:cubicBezTo>
                    <a:cubicBezTo>
                      <a:pt x="436" y="374"/>
                      <a:pt x="436" y="374"/>
                      <a:pt x="436" y="374"/>
                    </a:cubicBezTo>
                    <a:cubicBezTo>
                      <a:pt x="437" y="373"/>
                      <a:pt x="437" y="373"/>
                      <a:pt x="437" y="373"/>
                    </a:cubicBezTo>
                    <a:cubicBezTo>
                      <a:pt x="438" y="374"/>
                      <a:pt x="438" y="374"/>
                      <a:pt x="438" y="374"/>
                    </a:cubicBezTo>
                    <a:cubicBezTo>
                      <a:pt x="439" y="373"/>
                      <a:pt x="439" y="373"/>
                      <a:pt x="439" y="373"/>
                    </a:cubicBezTo>
                    <a:cubicBezTo>
                      <a:pt x="439" y="372"/>
                      <a:pt x="439" y="372"/>
                      <a:pt x="439" y="372"/>
                    </a:cubicBezTo>
                    <a:close/>
                    <a:moveTo>
                      <a:pt x="437" y="354"/>
                    </a:moveTo>
                    <a:cubicBezTo>
                      <a:pt x="439" y="354"/>
                      <a:pt x="439" y="354"/>
                      <a:pt x="439" y="354"/>
                    </a:cubicBezTo>
                    <a:cubicBezTo>
                      <a:pt x="438" y="356"/>
                      <a:pt x="438" y="356"/>
                      <a:pt x="438" y="356"/>
                    </a:cubicBezTo>
                    <a:cubicBezTo>
                      <a:pt x="437" y="354"/>
                      <a:pt x="437" y="354"/>
                      <a:pt x="437" y="354"/>
                    </a:cubicBezTo>
                    <a:close/>
                    <a:moveTo>
                      <a:pt x="433" y="355"/>
                    </a:moveTo>
                    <a:cubicBezTo>
                      <a:pt x="435" y="354"/>
                      <a:pt x="435" y="354"/>
                      <a:pt x="435" y="354"/>
                    </a:cubicBezTo>
                    <a:cubicBezTo>
                      <a:pt x="435" y="353"/>
                      <a:pt x="435" y="353"/>
                      <a:pt x="435" y="353"/>
                    </a:cubicBezTo>
                    <a:cubicBezTo>
                      <a:pt x="436" y="354"/>
                      <a:pt x="436" y="354"/>
                      <a:pt x="436" y="354"/>
                    </a:cubicBezTo>
                    <a:cubicBezTo>
                      <a:pt x="437" y="356"/>
                      <a:pt x="437" y="356"/>
                      <a:pt x="437" y="356"/>
                    </a:cubicBezTo>
                    <a:cubicBezTo>
                      <a:pt x="437" y="360"/>
                      <a:pt x="437" y="360"/>
                      <a:pt x="437" y="360"/>
                    </a:cubicBezTo>
                    <a:cubicBezTo>
                      <a:pt x="437" y="363"/>
                      <a:pt x="437" y="363"/>
                      <a:pt x="437" y="363"/>
                    </a:cubicBezTo>
                    <a:cubicBezTo>
                      <a:pt x="436" y="364"/>
                      <a:pt x="436" y="364"/>
                      <a:pt x="436" y="364"/>
                    </a:cubicBezTo>
                    <a:cubicBezTo>
                      <a:pt x="435" y="367"/>
                      <a:pt x="435" y="367"/>
                      <a:pt x="435" y="367"/>
                    </a:cubicBezTo>
                    <a:cubicBezTo>
                      <a:pt x="434" y="368"/>
                      <a:pt x="434" y="368"/>
                      <a:pt x="434" y="368"/>
                    </a:cubicBezTo>
                    <a:cubicBezTo>
                      <a:pt x="434" y="371"/>
                      <a:pt x="434" y="371"/>
                      <a:pt x="434" y="371"/>
                    </a:cubicBezTo>
                    <a:cubicBezTo>
                      <a:pt x="433" y="373"/>
                      <a:pt x="433" y="373"/>
                      <a:pt x="433" y="373"/>
                    </a:cubicBezTo>
                    <a:cubicBezTo>
                      <a:pt x="433" y="375"/>
                      <a:pt x="433" y="375"/>
                      <a:pt x="433" y="375"/>
                    </a:cubicBezTo>
                    <a:cubicBezTo>
                      <a:pt x="432" y="375"/>
                      <a:pt x="432" y="375"/>
                      <a:pt x="432" y="375"/>
                    </a:cubicBezTo>
                    <a:cubicBezTo>
                      <a:pt x="432" y="374"/>
                      <a:pt x="432" y="374"/>
                      <a:pt x="432" y="374"/>
                    </a:cubicBezTo>
                    <a:cubicBezTo>
                      <a:pt x="432" y="372"/>
                      <a:pt x="432" y="372"/>
                      <a:pt x="432" y="372"/>
                    </a:cubicBezTo>
                    <a:cubicBezTo>
                      <a:pt x="431" y="372"/>
                      <a:pt x="431" y="372"/>
                      <a:pt x="431" y="372"/>
                    </a:cubicBezTo>
                    <a:cubicBezTo>
                      <a:pt x="431" y="369"/>
                      <a:pt x="431" y="369"/>
                      <a:pt x="431" y="369"/>
                    </a:cubicBezTo>
                    <a:cubicBezTo>
                      <a:pt x="431" y="368"/>
                      <a:pt x="431" y="368"/>
                      <a:pt x="431" y="368"/>
                    </a:cubicBezTo>
                    <a:cubicBezTo>
                      <a:pt x="433" y="367"/>
                      <a:pt x="433" y="367"/>
                      <a:pt x="433" y="367"/>
                    </a:cubicBezTo>
                    <a:cubicBezTo>
                      <a:pt x="434" y="367"/>
                      <a:pt x="434" y="367"/>
                      <a:pt x="434" y="367"/>
                    </a:cubicBezTo>
                    <a:cubicBezTo>
                      <a:pt x="433" y="366"/>
                      <a:pt x="433" y="366"/>
                      <a:pt x="433" y="366"/>
                    </a:cubicBez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1" y="366"/>
                      <a:pt x="431" y="366"/>
                      <a:pt x="431" y="366"/>
                    </a:cubicBezTo>
                    <a:cubicBezTo>
                      <a:pt x="431" y="365"/>
                      <a:pt x="431" y="365"/>
                      <a:pt x="431" y="365"/>
                    </a:cubicBezTo>
                    <a:cubicBezTo>
                      <a:pt x="432" y="365"/>
                      <a:pt x="432" y="365"/>
                      <a:pt x="432" y="365"/>
                    </a:cubicBezTo>
                    <a:cubicBezTo>
                      <a:pt x="433" y="364"/>
                      <a:pt x="433" y="364"/>
                      <a:pt x="433" y="364"/>
                    </a:cubicBezTo>
                    <a:cubicBezTo>
                      <a:pt x="430" y="363"/>
                      <a:pt x="430" y="363"/>
                      <a:pt x="430" y="363"/>
                    </a:cubicBezTo>
                    <a:cubicBezTo>
                      <a:pt x="431" y="362"/>
                      <a:pt x="431" y="362"/>
                      <a:pt x="431" y="362"/>
                    </a:cubicBezTo>
                    <a:cubicBezTo>
                      <a:pt x="432" y="362"/>
                      <a:pt x="432" y="362"/>
                      <a:pt x="432" y="362"/>
                    </a:cubicBezTo>
                    <a:cubicBezTo>
                      <a:pt x="433" y="361"/>
                      <a:pt x="433" y="361"/>
                      <a:pt x="433" y="361"/>
                    </a:cubicBezTo>
                    <a:cubicBezTo>
                      <a:pt x="433" y="359"/>
                      <a:pt x="433" y="359"/>
                      <a:pt x="433" y="359"/>
                    </a:cubicBezTo>
                    <a:cubicBezTo>
                      <a:pt x="435" y="357"/>
                      <a:pt x="435" y="357"/>
                      <a:pt x="435" y="357"/>
                    </a:cubicBezTo>
                    <a:cubicBezTo>
                      <a:pt x="433" y="356"/>
                      <a:pt x="433" y="356"/>
                      <a:pt x="433" y="356"/>
                    </a:cubicBezTo>
                    <a:cubicBezTo>
                      <a:pt x="433" y="355"/>
                      <a:pt x="433" y="355"/>
                      <a:pt x="433" y="355"/>
                    </a:cubicBezTo>
                    <a:close/>
                    <a:moveTo>
                      <a:pt x="429" y="355"/>
                    </a:moveTo>
                    <a:cubicBezTo>
                      <a:pt x="431" y="354"/>
                      <a:pt x="431" y="354"/>
                      <a:pt x="431" y="354"/>
                    </a:cubicBezTo>
                    <a:cubicBezTo>
                      <a:pt x="431" y="356"/>
                      <a:pt x="431" y="356"/>
                      <a:pt x="431" y="356"/>
                    </a:cubicBezTo>
                    <a:cubicBezTo>
                      <a:pt x="431" y="357"/>
                      <a:pt x="431" y="357"/>
                      <a:pt x="431" y="357"/>
                    </a:cubicBezTo>
                    <a:cubicBezTo>
                      <a:pt x="430" y="359"/>
                      <a:pt x="430" y="359"/>
                      <a:pt x="430" y="359"/>
                    </a:cubicBezTo>
                    <a:cubicBezTo>
                      <a:pt x="429" y="360"/>
                      <a:pt x="429" y="360"/>
                      <a:pt x="429" y="360"/>
                    </a:cubicBezTo>
                    <a:cubicBezTo>
                      <a:pt x="428" y="359"/>
                      <a:pt x="428" y="359"/>
                      <a:pt x="428" y="359"/>
                    </a:cubicBezTo>
                    <a:cubicBezTo>
                      <a:pt x="429" y="357"/>
                      <a:pt x="429" y="357"/>
                      <a:pt x="429" y="357"/>
                    </a:cubicBezTo>
                    <a:cubicBezTo>
                      <a:pt x="429" y="357"/>
                      <a:pt x="429" y="357"/>
                      <a:pt x="429" y="357"/>
                    </a:cubicBezTo>
                    <a:cubicBezTo>
                      <a:pt x="429" y="355"/>
                      <a:pt x="429" y="355"/>
                      <a:pt x="429" y="355"/>
                    </a:cubicBezTo>
                    <a:close/>
                    <a:moveTo>
                      <a:pt x="438" y="360"/>
                    </a:moveTo>
                    <a:cubicBezTo>
                      <a:pt x="440" y="358"/>
                      <a:pt x="440" y="358"/>
                      <a:pt x="440" y="358"/>
                    </a:cubicBezTo>
                    <a:cubicBezTo>
                      <a:pt x="440" y="356"/>
                      <a:pt x="440" y="356"/>
                      <a:pt x="440" y="356"/>
                    </a:cubicBezTo>
                    <a:cubicBezTo>
                      <a:pt x="441" y="354"/>
                      <a:pt x="441" y="354"/>
                      <a:pt x="441" y="354"/>
                    </a:cubicBezTo>
                    <a:cubicBezTo>
                      <a:pt x="443" y="355"/>
                      <a:pt x="443" y="355"/>
                      <a:pt x="443" y="355"/>
                    </a:cubicBezTo>
                    <a:cubicBezTo>
                      <a:pt x="442" y="353"/>
                      <a:pt x="442" y="353"/>
                      <a:pt x="442" y="353"/>
                    </a:cubicBezTo>
                    <a:cubicBezTo>
                      <a:pt x="443" y="352"/>
                      <a:pt x="443" y="352"/>
                      <a:pt x="443" y="352"/>
                    </a:cubicBezTo>
                    <a:cubicBezTo>
                      <a:pt x="442" y="351"/>
                      <a:pt x="442" y="351"/>
                      <a:pt x="442" y="351"/>
                    </a:cubicBezTo>
                    <a:cubicBezTo>
                      <a:pt x="442" y="348"/>
                      <a:pt x="442" y="348"/>
                      <a:pt x="442" y="348"/>
                    </a:cubicBezTo>
                    <a:cubicBezTo>
                      <a:pt x="444" y="345"/>
                      <a:pt x="444" y="345"/>
                      <a:pt x="444" y="345"/>
                    </a:cubicBezTo>
                    <a:cubicBezTo>
                      <a:pt x="444" y="339"/>
                      <a:pt x="444" y="339"/>
                      <a:pt x="444" y="339"/>
                    </a:cubicBezTo>
                    <a:cubicBezTo>
                      <a:pt x="446" y="337"/>
                      <a:pt x="446" y="337"/>
                      <a:pt x="446" y="337"/>
                    </a:cubicBezTo>
                    <a:cubicBezTo>
                      <a:pt x="446" y="338"/>
                      <a:pt x="446" y="338"/>
                      <a:pt x="446" y="338"/>
                    </a:cubicBezTo>
                    <a:cubicBezTo>
                      <a:pt x="446" y="339"/>
                      <a:pt x="446" y="339"/>
                      <a:pt x="446" y="339"/>
                    </a:cubicBezTo>
                    <a:cubicBezTo>
                      <a:pt x="449" y="341"/>
                      <a:pt x="449" y="341"/>
                      <a:pt x="449" y="341"/>
                    </a:cubicBezTo>
                    <a:cubicBezTo>
                      <a:pt x="450" y="343"/>
                      <a:pt x="450" y="343"/>
                      <a:pt x="450" y="343"/>
                    </a:cubicBezTo>
                    <a:cubicBezTo>
                      <a:pt x="450" y="350"/>
                      <a:pt x="450" y="350"/>
                      <a:pt x="450" y="350"/>
                    </a:cubicBezTo>
                    <a:cubicBezTo>
                      <a:pt x="449" y="353"/>
                      <a:pt x="449" y="353"/>
                      <a:pt x="449" y="353"/>
                    </a:cubicBezTo>
                    <a:cubicBezTo>
                      <a:pt x="449" y="352"/>
                      <a:pt x="449" y="352"/>
                      <a:pt x="449" y="352"/>
                    </a:cubicBezTo>
                    <a:cubicBezTo>
                      <a:pt x="449" y="348"/>
                      <a:pt x="449" y="348"/>
                      <a:pt x="449" y="348"/>
                    </a:cubicBezTo>
                    <a:cubicBezTo>
                      <a:pt x="448" y="344"/>
                      <a:pt x="448" y="344"/>
                      <a:pt x="448" y="344"/>
                    </a:cubicBezTo>
                    <a:cubicBezTo>
                      <a:pt x="448" y="345"/>
                      <a:pt x="448" y="345"/>
                      <a:pt x="448" y="345"/>
                    </a:cubicBezTo>
                    <a:cubicBezTo>
                      <a:pt x="448" y="352"/>
                      <a:pt x="448" y="352"/>
                      <a:pt x="448" y="352"/>
                    </a:cubicBezTo>
                    <a:cubicBezTo>
                      <a:pt x="447" y="353"/>
                      <a:pt x="447" y="353"/>
                      <a:pt x="447" y="353"/>
                    </a:cubicBezTo>
                    <a:cubicBezTo>
                      <a:pt x="447" y="355"/>
                      <a:pt x="447" y="355"/>
                      <a:pt x="447" y="355"/>
                    </a:cubicBezTo>
                    <a:cubicBezTo>
                      <a:pt x="446" y="356"/>
                      <a:pt x="446" y="356"/>
                      <a:pt x="446" y="356"/>
                    </a:cubicBezTo>
                    <a:cubicBezTo>
                      <a:pt x="444" y="355"/>
                      <a:pt x="444" y="355"/>
                      <a:pt x="444" y="355"/>
                    </a:cubicBezTo>
                    <a:cubicBezTo>
                      <a:pt x="444" y="358"/>
                      <a:pt x="444" y="358"/>
                      <a:pt x="444" y="358"/>
                    </a:cubicBezTo>
                    <a:cubicBezTo>
                      <a:pt x="441" y="360"/>
                      <a:pt x="441" y="360"/>
                      <a:pt x="441" y="360"/>
                    </a:cubicBezTo>
                    <a:cubicBezTo>
                      <a:pt x="439" y="361"/>
                      <a:pt x="439" y="361"/>
                      <a:pt x="439" y="361"/>
                    </a:cubicBezTo>
                    <a:cubicBezTo>
                      <a:pt x="438" y="360"/>
                      <a:pt x="438" y="360"/>
                      <a:pt x="438" y="360"/>
                    </a:cubicBezTo>
                    <a:close/>
                    <a:moveTo>
                      <a:pt x="434" y="337"/>
                    </a:moveTo>
                    <a:cubicBezTo>
                      <a:pt x="436" y="337"/>
                      <a:pt x="436" y="337"/>
                      <a:pt x="436" y="337"/>
                    </a:cubicBezTo>
                    <a:cubicBezTo>
                      <a:pt x="438" y="338"/>
                      <a:pt x="438" y="338"/>
                      <a:pt x="438" y="338"/>
                    </a:cubicBezTo>
                    <a:cubicBezTo>
                      <a:pt x="438" y="339"/>
                      <a:pt x="438" y="339"/>
                      <a:pt x="438" y="339"/>
                    </a:cubicBezTo>
                    <a:cubicBezTo>
                      <a:pt x="437" y="341"/>
                      <a:pt x="437" y="341"/>
                      <a:pt x="437" y="341"/>
                    </a:cubicBezTo>
                    <a:cubicBezTo>
                      <a:pt x="438" y="342"/>
                      <a:pt x="438" y="342"/>
                      <a:pt x="438" y="342"/>
                    </a:cubicBezTo>
                    <a:cubicBezTo>
                      <a:pt x="439" y="341"/>
                      <a:pt x="439" y="341"/>
                      <a:pt x="439" y="341"/>
                    </a:cubicBezTo>
                    <a:cubicBezTo>
                      <a:pt x="440" y="340"/>
                      <a:pt x="440" y="340"/>
                      <a:pt x="440" y="340"/>
                    </a:cubicBezTo>
                    <a:cubicBezTo>
                      <a:pt x="442" y="342"/>
                      <a:pt x="442" y="342"/>
                      <a:pt x="442" y="342"/>
                    </a:cubicBezTo>
                    <a:cubicBezTo>
                      <a:pt x="442" y="343"/>
                      <a:pt x="442" y="343"/>
                      <a:pt x="442" y="343"/>
                    </a:cubicBezTo>
                    <a:cubicBezTo>
                      <a:pt x="441" y="344"/>
                      <a:pt x="441" y="344"/>
                      <a:pt x="441" y="344"/>
                    </a:cubicBezTo>
                    <a:cubicBezTo>
                      <a:pt x="441" y="345"/>
                      <a:pt x="441" y="345"/>
                      <a:pt x="441" y="345"/>
                    </a:cubicBezTo>
                    <a:cubicBezTo>
                      <a:pt x="440" y="346"/>
                      <a:pt x="440" y="346"/>
                      <a:pt x="440" y="346"/>
                    </a:cubicBezTo>
                    <a:cubicBezTo>
                      <a:pt x="439" y="346"/>
                      <a:pt x="439" y="346"/>
                      <a:pt x="439" y="346"/>
                    </a:cubicBezTo>
                    <a:cubicBezTo>
                      <a:pt x="437" y="344"/>
                      <a:pt x="437" y="344"/>
                      <a:pt x="437" y="344"/>
                    </a:cubicBezTo>
                    <a:cubicBezTo>
                      <a:pt x="435" y="341"/>
                      <a:pt x="435" y="341"/>
                      <a:pt x="435" y="341"/>
                    </a:cubicBezTo>
                    <a:cubicBezTo>
                      <a:pt x="435" y="342"/>
                      <a:pt x="435" y="342"/>
                      <a:pt x="435" y="342"/>
                    </a:cubicBezTo>
                    <a:cubicBezTo>
                      <a:pt x="437" y="346"/>
                      <a:pt x="437" y="346"/>
                      <a:pt x="437" y="346"/>
                    </a:cubicBezTo>
                    <a:cubicBezTo>
                      <a:pt x="437" y="347"/>
                      <a:pt x="437" y="347"/>
                      <a:pt x="437" y="347"/>
                    </a:cubicBezTo>
                    <a:cubicBezTo>
                      <a:pt x="439" y="348"/>
                      <a:pt x="439" y="348"/>
                      <a:pt x="439" y="348"/>
                    </a:cubicBezTo>
                    <a:cubicBezTo>
                      <a:pt x="440" y="349"/>
                      <a:pt x="440" y="349"/>
                      <a:pt x="440" y="349"/>
                    </a:cubicBezTo>
                    <a:cubicBezTo>
                      <a:pt x="439" y="350"/>
                      <a:pt x="439" y="350"/>
                      <a:pt x="439" y="350"/>
                    </a:cubicBezTo>
                    <a:cubicBezTo>
                      <a:pt x="439" y="353"/>
                      <a:pt x="439" y="353"/>
                      <a:pt x="439" y="353"/>
                    </a:cubicBezTo>
                    <a:cubicBezTo>
                      <a:pt x="438" y="353"/>
                      <a:pt x="438" y="353"/>
                      <a:pt x="438" y="353"/>
                    </a:cubicBezTo>
                    <a:cubicBezTo>
                      <a:pt x="436" y="351"/>
                      <a:pt x="436" y="351"/>
                      <a:pt x="436" y="351"/>
                    </a:cubicBezTo>
                    <a:cubicBezTo>
                      <a:pt x="436" y="349"/>
                      <a:pt x="436" y="349"/>
                      <a:pt x="436" y="349"/>
                    </a:cubicBezTo>
                    <a:cubicBezTo>
                      <a:pt x="434" y="345"/>
                      <a:pt x="434" y="345"/>
                      <a:pt x="434" y="345"/>
                    </a:cubicBezTo>
                    <a:cubicBezTo>
                      <a:pt x="433" y="347"/>
                      <a:pt x="433" y="347"/>
                      <a:pt x="433" y="347"/>
                    </a:cubicBezTo>
                    <a:cubicBezTo>
                      <a:pt x="435" y="350"/>
                      <a:pt x="435" y="350"/>
                      <a:pt x="435" y="350"/>
                    </a:cubicBezTo>
                    <a:cubicBezTo>
                      <a:pt x="435" y="352"/>
                      <a:pt x="435" y="352"/>
                      <a:pt x="435" y="352"/>
                    </a:cubicBezTo>
                    <a:cubicBezTo>
                      <a:pt x="433" y="353"/>
                      <a:pt x="433" y="353"/>
                      <a:pt x="433" y="353"/>
                    </a:cubicBezTo>
                    <a:cubicBezTo>
                      <a:pt x="432" y="353"/>
                      <a:pt x="432" y="353"/>
                      <a:pt x="432" y="353"/>
                    </a:cubicBezTo>
                    <a:cubicBezTo>
                      <a:pt x="430" y="351"/>
                      <a:pt x="430" y="351"/>
                      <a:pt x="430" y="351"/>
                    </a:cubicBezTo>
                    <a:cubicBezTo>
                      <a:pt x="431" y="350"/>
                      <a:pt x="431" y="350"/>
                      <a:pt x="431" y="350"/>
                    </a:cubicBezTo>
                    <a:cubicBezTo>
                      <a:pt x="430" y="349"/>
                      <a:pt x="430" y="349"/>
                      <a:pt x="430" y="349"/>
                    </a:cubicBezTo>
                    <a:cubicBezTo>
                      <a:pt x="431" y="347"/>
                      <a:pt x="431" y="347"/>
                      <a:pt x="431" y="347"/>
                    </a:cubicBezTo>
                    <a:cubicBezTo>
                      <a:pt x="429" y="344"/>
                      <a:pt x="429" y="344"/>
                      <a:pt x="429" y="344"/>
                    </a:cubicBezTo>
                    <a:cubicBezTo>
                      <a:pt x="430" y="342"/>
                      <a:pt x="430" y="342"/>
                      <a:pt x="430" y="342"/>
                    </a:cubicBezTo>
                    <a:cubicBezTo>
                      <a:pt x="431" y="343"/>
                      <a:pt x="431" y="343"/>
                      <a:pt x="431" y="343"/>
                    </a:cubicBezTo>
                    <a:cubicBezTo>
                      <a:pt x="432" y="342"/>
                      <a:pt x="432" y="342"/>
                      <a:pt x="432" y="342"/>
                    </a:cubicBezTo>
                    <a:cubicBezTo>
                      <a:pt x="431" y="341"/>
                      <a:pt x="431" y="341"/>
                      <a:pt x="431" y="341"/>
                    </a:cubicBezTo>
                    <a:cubicBezTo>
                      <a:pt x="431" y="339"/>
                      <a:pt x="431" y="339"/>
                      <a:pt x="431" y="339"/>
                    </a:cubicBezTo>
                    <a:cubicBezTo>
                      <a:pt x="432" y="337"/>
                      <a:pt x="432" y="337"/>
                      <a:pt x="432" y="337"/>
                    </a:cubicBezTo>
                    <a:cubicBezTo>
                      <a:pt x="432" y="339"/>
                      <a:pt x="432" y="339"/>
                      <a:pt x="432" y="339"/>
                    </a:cubicBezTo>
                    <a:cubicBezTo>
                      <a:pt x="433" y="338"/>
                      <a:pt x="433" y="338"/>
                      <a:pt x="433" y="338"/>
                    </a:cubicBezTo>
                    <a:cubicBezTo>
                      <a:pt x="434" y="337"/>
                      <a:pt x="434" y="337"/>
                      <a:pt x="434" y="337"/>
                    </a:cubicBezTo>
                    <a:close/>
                    <a:moveTo>
                      <a:pt x="434" y="335"/>
                    </a:moveTo>
                    <a:cubicBezTo>
                      <a:pt x="436" y="334"/>
                      <a:pt x="436" y="334"/>
                      <a:pt x="436" y="334"/>
                    </a:cubicBezTo>
                    <a:cubicBezTo>
                      <a:pt x="437" y="335"/>
                      <a:pt x="437" y="335"/>
                      <a:pt x="437" y="335"/>
                    </a:cubicBezTo>
                    <a:cubicBezTo>
                      <a:pt x="435" y="336"/>
                      <a:pt x="435" y="336"/>
                      <a:pt x="435" y="336"/>
                    </a:cubicBezTo>
                    <a:cubicBezTo>
                      <a:pt x="434" y="335"/>
                      <a:pt x="434" y="335"/>
                      <a:pt x="434" y="335"/>
                    </a:cubicBezTo>
                    <a:close/>
                    <a:moveTo>
                      <a:pt x="144" y="213"/>
                    </a:moveTo>
                    <a:cubicBezTo>
                      <a:pt x="144" y="212"/>
                      <a:pt x="144" y="212"/>
                      <a:pt x="144" y="212"/>
                    </a:cubicBezTo>
                    <a:cubicBezTo>
                      <a:pt x="145" y="211"/>
                      <a:pt x="145" y="211"/>
                      <a:pt x="145" y="211"/>
                    </a:cubicBezTo>
                    <a:cubicBezTo>
                      <a:pt x="145" y="213"/>
                      <a:pt x="145" y="213"/>
                      <a:pt x="145" y="213"/>
                    </a:cubicBezTo>
                    <a:cubicBezTo>
                      <a:pt x="144" y="213"/>
                      <a:pt x="144" y="213"/>
                      <a:pt x="144" y="213"/>
                    </a:cubicBezTo>
                    <a:close/>
                    <a:moveTo>
                      <a:pt x="144" y="214"/>
                    </a:moveTo>
                    <a:cubicBezTo>
                      <a:pt x="145" y="215"/>
                      <a:pt x="145" y="215"/>
                      <a:pt x="145" y="215"/>
                    </a:cubicBezTo>
                    <a:cubicBezTo>
                      <a:pt x="145" y="217"/>
                      <a:pt x="145" y="217"/>
                      <a:pt x="145" y="217"/>
                    </a:cubicBezTo>
                    <a:cubicBezTo>
                      <a:pt x="148" y="220"/>
                      <a:pt x="148" y="220"/>
                      <a:pt x="148" y="220"/>
                    </a:cubicBezTo>
                    <a:cubicBezTo>
                      <a:pt x="148" y="221"/>
                      <a:pt x="148" y="221"/>
                      <a:pt x="148" y="221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143" y="215"/>
                      <a:pt x="143" y="215"/>
                      <a:pt x="143" y="215"/>
                    </a:cubicBezTo>
                    <a:cubicBezTo>
                      <a:pt x="143" y="215"/>
                      <a:pt x="144" y="214"/>
                      <a:pt x="144" y="214"/>
                    </a:cubicBezTo>
                    <a:close/>
                    <a:moveTo>
                      <a:pt x="245" y="181"/>
                    </a:moveTo>
                    <a:cubicBezTo>
                      <a:pt x="244" y="183"/>
                      <a:pt x="244" y="183"/>
                      <a:pt x="244" y="183"/>
                    </a:cubicBezTo>
                    <a:cubicBezTo>
                      <a:pt x="243" y="188"/>
                      <a:pt x="243" y="188"/>
                      <a:pt x="243" y="188"/>
                    </a:cubicBezTo>
                    <a:cubicBezTo>
                      <a:pt x="242" y="187"/>
                      <a:pt x="242" y="187"/>
                      <a:pt x="242" y="187"/>
                    </a:cubicBezTo>
                    <a:cubicBezTo>
                      <a:pt x="242" y="185"/>
                      <a:pt x="242" y="185"/>
                      <a:pt x="242" y="185"/>
                    </a:cubicBezTo>
                    <a:cubicBezTo>
                      <a:pt x="241" y="185"/>
                      <a:pt x="241" y="185"/>
                      <a:pt x="241" y="185"/>
                    </a:cubicBezTo>
                    <a:cubicBezTo>
                      <a:pt x="238" y="185"/>
                      <a:pt x="238" y="185"/>
                      <a:pt x="238" y="185"/>
                    </a:cubicBezTo>
                    <a:cubicBezTo>
                      <a:pt x="236" y="184"/>
                      <a:pt x="236" y="184"/>
                      <a:pt x="236" y="184"/>
                    </a:cubicBezTo>
                    <a:cubicBezTo>
                      <a:pt x="237" y="183"/>
                      <a:pt x="237" y="183"/>
                      <a:pt x="237" y="183"/>
                    </a:cubicBezTo>
                    <a:cubicBezTo>
                      <a:pt x="242" y="177"/>
                      <a:pt x="242" y="177"/>
                      <a:pt x="242" y="177"/>
                    </a:cubicBezTo>
                    <a:cubicBezTo>
                      <a:pt x="244" y="176"/>
                      <a:pt x="244" y="176"/>
                      <a:pt x="244" y="176"/>
                    </a:cubicBezTo>
                    <a:cubicBezTo>
                      <a:pt x="245" y="177"/>
                      <a:pt x="245" y="177"/>
                      <a:pt x="245" y="177"/>
                    </a:cubicBezTo>
                    <a:cubicBezTo>
                      <a:pt x="245" y="181"/>
                      <a:pt x="245" y="181"/>
                      <a:pt x="245" y="181"/>
                    </a:cubicBezTo>
                    <a:close/>
                    <a:moveTo>
                      <a:pt x="246" y="181"/>
                    </a:moveTo>
                    <a:cubicBezTo>
                      <a:pt x="246" y="181"/>
                      <a:pt x="247" y="180"/>
                      <a:pt x="247" y="180"/>
                    </a:cubicBezTo>
                    <a:cubicBezTo>
                      <a:pt x="248" y="179"/>
                      <a:pt x="248" y="179"/>
                      <a:pt x="248" y="179"/>
                    </a:cubicBezTo>
                    <a:cubicBezTo>
                      <a:pt x="246" y="178"/>
                      <a:pt x="246" y="178"/>
                      <a:pt x="246" y="178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5" y="174"/>
                      <a:pt x="245" y="174"/>
                      <a:pt x="245" y="174"/>
                    </a:cubicBezTo>
                    <a:cubicBezTo>
                      <a:pt x="246" y="173"/>
                      <a:pt x="246" y="173"/>
                      <a:pt x="246" y="173"/>
                    </a:cubicBezTo>
                    <a:cubicBezTo>
                      <a:pt x="250" y="173"/>
                      <a:pt x="250" y="173"/>
                      <a:pt x="250" y="173"/>
                    </a:cubicBezTo>
                    <a:cubicBezTo>
                      <a:pt x="253" y="175"/>
                      <a:pt x="253" y="175"/>
                      <a:pt x="253" y="175"/>
                    </a:cubicBezTo>
                    <a:cubicBezTo>
                      <a:pt x="254" y="177"/>
                      <a:pt x="254" y="177"/>
                      <a:pt x="254" y="177"/>
                    </a:cubicBezTo>
                    <a:cubicBezTo>
                      <a:pt x="252" y="178"/>
                      <a:pt x="252" y="178"/>
                      <a:pt x="252" y="178"/>
                    </a:cubicBezTo>
                    <a:cubicBezTo>
                      <a:pt x="248" y="181"/>
                      <a:pt x="248" y="181"/>
                      <a:pt x="248" y="181"/>
                    </a:cubicBezTo>
                    <a:cubicBezTo>
                      <a:pt x="246" y="181"/>
                      <a:pt x="246" y="181"/>
                      <a:pt x="246" y="181"/>
                    </a:cubicBezTo>
                    <a:close/>
                    <a:moveTo>
                      <a:pt x="265" y="168"/>
                    </a:moveTo>
                    <a:cubicBezTo>
                      <a:pt x="266" y="168"/>
                      <a:pt x="266" y="168"/>
                      <a:pt x="266" y="168"/>
                    </a:cubicBezTo>
                    <a:cubicBezTo>
                      <a:pt x="268" y="167"/>
                      <a:pt x="268" y="167"/>
                      <a:pt x="268" y="167"/>
                    </a:cubicBezTo>
                    <a:cubicBezTo>
                      <a:pt x="269" y="169"/>
                      <a:pt x="269" y="169"/>
                      <a:pt x="269" y="169"/>
                    </a:cubicBezTo>
                    <a:cubicBezTo>
                      <a:pt x="269" y="170"/>
                      <a:pt x="269" y="170"/>
                      <a:pt x="269" y="170"/>
                    </a:cubicBezTo>
                    <a:cubicBezTo>
                      <a:pt x="267" y="171"/>
                      <a:pt x="267" y="171"/>
                      <a:pt x="267" y="171"/>
                    </a:cubicBezTo>
                    <a:cubicBezTo>
                      <a:pt x="265" y="168"/>
                      <a:pt x="265" y="168"/>
                      <a:pt x="265" y="168"/>
                    </a:cubicBezTo>
                    <a:close/>
                    <a:moveTo>
                      <a:pt x="364" y="264"/>
                    </a:moveTo>
                    <a:cubicBezTo>
                      <a:pt x="365" y="263"/>
                      <a:pt x="365" y="263"/>
                      <a:pt x="365" y="263"/>
                    </a:cubicBezTo>
                    <a:cubicBezTo>
                      <a:pt x="366" y="263"/>
                      <a:pt x="366" y="263"/>
                      <a:pt x="366" y="263"/>
                    </a:cubicBezTo>
                    <a:cubicBezTo>
                      <a:pt x="365" y="264"/>
                      <a:pt x="365" y="264"/>
                      <a:pt x="365" y="264"/>
                    </a:cubicBezTo>
                    <a:cubicBezTo>
                      <a:pt x="364" y="264"/>
                      <a:pt x="364" y="264"/>
                      <a:pt x="364" y="264"/>
                    </a:cubicBezTo>
                    <a:close/>
                    <a:moveTo>
                      <a:pt x="354" y="293"/>
                    </a:moveTo>
                    <a:cubicBezTo>
                      <a:pt x="356" y="292"/>
                      <a:pt x="356" y="292"/>
                      <a:pt x="356" y="292"/>
                    </a:cubicBezTo>
                    <a:cubicBezTo>
                      <a:pt x="357" y="293"/>
                      <a:pt x="357" y="293"/>
                      <a:pt x="357" y="293"/>
                    </a:cubicBezTo>
                    <a:cubicBezTo>
                      <a:pt x="354" y="293"/>
                      <a:pt x="354" y="293"/>
                      <a:pt x="354" y="293"/>
                    </a:cubicBezTo>
                    <a:close/>
                    <a:moveTo>
                      <a:pt x="376" y="288"/>
                    </a:moveTo>
                    <a:cubicBezTo>
                      <a:pt x="378" y="287"/>
                      <a:pt x="378" y="287"/>
                      <a:pt x="378" y="287"/>
                    </a:cubicBezTo>
                    <a:cubicBezTo>
                      <a:pt x="379" y="287"/>
                      <a:pt x="379" y="287"/>
                      <a:pt x="379" y="287"/>
                    </a:cubicBezTo>
                    <a:cubicBezTo>
                      <a:pt x="377" y="289"/>
                      <a:pt x="377" y="289"/>
                      <a:pt x="377" y="289"/>
                    </a:cubicBezTo>
                    <a:cubicBezTo>
                      <a:pt x="376" y="290"/>
                      <a:pt x="376" y="290"/>
                      <a:pt x="376" y="290"/>
                    </a:cubicBezTo>
                    <a:cubicBezTo>
                      <a:pt x="376" y="288"/>
                      <a:pt x="376" y="288"/>
                      <a:pt x="376" y="288"/>
                    </a:cubicBezTo>
                    <a:close/>
                    <a:moveTo>
                      <a:pt x="360" y="268"/>
                    </a:moveTo>
                    <a:cubicBezTo>
                      <a:pt x="360" y="266"/>
                      <a:pt x="360" y="266"/>
                      <a:pt x="360" y="266"/>
                    </a:cubicBezTo>
                    <a:cubicBezTo>
                      <a:pt x="362" y="267"/>
                      <a:pt x="362" y="267"/>
                      <a:pt x="362" y="267"/>
                    </a:cubicBezTo>
                    <a:cubicBezTo>
                      <a:pt x="362" y="268"/>
                      <a:pt x="362" y="268"/>
                      <a:pt x="362" y="268"/>
                    </a:cubicBezTo>
                    <a:cubicBezTo>
                      <a:pt x="360" y="268"/>
                      <a:pt x="360" y="268"/>
                      <a:pt x="360" y="268"/>
                    </a:cubicBezTo>
                    <a:close/>
                    <a:moveTo>
                      <a:pt x="363" y="276"/>
                    </a:moveTo>
                    <a:cubicBezTo>
                      <a:pt x="363" y="273"/>
                      <a:pt x="363" y="273"/>
                      <a:pt x="363" y="273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365" y="272"/>
                      <a:pt x="365" y="272"/>
                      <a:pt x="365" y="272"/>
                    </a:cubicBezTo>
                    <a:cubicBezTo>
                      <a:pt x="365" y="274"/>
                      <a:pt x="365" y="274"/>
                      <a:pt x="365" y="274"/>
                    </a:cubicBezTo>
                    <a:cubicBezTo>
                      <a:pt x="366" y="274"/>
                      <a:pt x="366" y="274"/>
                      <a:pt x="366" y="274"/>
                    </a:cubicBezTo>
                    <a:cubicBezTo>
                      <a:pt x="367" y="275"/>
                      <a:pt x="367" y="275"/>
                      <a:pt x="367" y="275"/>
                    </a:cubicBezTo>
                    <a:cubicBezTo>
                      <a:pt x="365" y="276"/>
                      <a:pt x="365" y="276"/>
                      <a:pt x="365" y="276"/>
                    </a:cubicBezTo>
                    <a:cubicBezTo>
                      <a:pt x="363" y="276"/>
                      <a:pt x="363" y="276"/>
                      <a:pt x="363" y="276"/>
                    </a:cubicBezTo>
                    <a:close/>
                    <a:moveTo>
                      <a:pt x="347" y="284"/>
                    </a:moveTo>
                    <a:cubicBezTo>
                      <a:pt x="349" y="283"/>
                      <a:pt x="349" y="283"/>
                      <a:pt x="349" y="283"/>
                    </a:cubicBezTo>
                    <a:cubicBezTo>
                      <a:pt x="349" y="283"/>
                      <a:pt x="349" y="283"/>
                      <a:pt x="349" y="283"/>
                    </a:cubicBezTo>
                    <a:cubicBezTo>
                      <a:pt x="350" y="282"/>
                      <a:pt x="350" y="282"/>
                      <a:pt x="350" y="282"/>
                    </a:cubicBezTo>
                    <a:cubicBezTo>
                      <a:pt x="353" y="279"/>
                      <a:pt x="353" y="279"/>
                      <a:pt x="353" y="279"/>
                    </a:cubicBezTo>
                    <a:cubicBezTo>
                      <a:pt x="355" y="278"/>
                      <a:pt x="355" y="278"/>
                      <a:pt x="355" y="278"/>
                    </a:cubicBezTo>
                    <a:cubicBezTo>
                      <a:pt x="357" y="276"/>
                      <a:pt x="357" y="276"/>
                      <a:pt x="357" y="276"/>
                    </a:cubicBezTo>
                    <a:cubicBezTo>
                      <a:pt x="358" y="276"/>
                      <a:pt x="358" y="276"/>
                      <a:pt x="358" y="276"/>
                    </a:cubicBezTo>
                    <a:cubicBezTo>
                      <a:pt x="359" y="273"/>
                      <a:pt x="359" y="273"/>
                      <a:pt x="359" y="273"/>
                    </a:cubicBezTo>
                    <a:cubicBezTo>
                      <a:pt x="360" y="274"/>
                      <a:pt x="360" y="274"/>
                      <a:pt x="360" y="274"/>
                    </a:cubicBezTo>
                    <a:cubicBezTo>
                      <a:pt x="359" y="275"/>
                      <a:pt x="359" y="275"/>
                      <a:pt x="359" y="275"/>
                    </a:cubicBezTo>
                    <a:cubicBezTo>
                      <a:pt x="360" y="276"/>
                      <a:pt x="360" y="276"/>
                      <a:pt x="360" y="276"/>
                    </a:cubicBezTo>
                    <a:cubicBezTo>
                      <a:pt x="359" y="277"/>
                      <a:pt x="359" y="277"/>
                      <a:pt x="359" y="277"/>
                    </a:cubicBezTo>
                    <a:cubicBezTo>
                      <a:pt x="357" y="278"/>
                      <a:pt x="357" y="278"/>
                      <a:pt x="357" y="278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52" y="282"/>
                      <a:pt x="352" y="282"/>
                      <a:pt x="352" y="282"/>
                    </a:cubicBezTo>
                    <a:cubicBezTo>
                      <a:pt x="353" y="283"/>
                      <a:pt x="353" y="283"/>
                      <a:pt x="353" y="283"/>
                    </a:cubicBezTo>
                    <a:cubicBezTo>
                      <a:pt x="352" y="284"/>
                      <a:pt x="352" y="284"/>
                      <a:pt x="352" y="284"/>
                    </a:cubicBezTo>
                    <a:cubicBezTo>
                      <a:pt x="350" y="284"/>
                      <a:pt x="350" y="284"/>
                      <a:pt x="350" y="284"/>
                    </a:cubicBezTo>
                    <a:cubicBezTo>
                      <a:pt x="349" y="285"/>
                      <a:pt x="349" y="285"/>
                      <a:pt x="349" y="285"/>
                    </a:cubicBezTo>
                    <a:cubicBezTo>
                      <a:pt x="347" y="285"/>
                      <a:pt x="347" y="285"/>
                      <a:pt x="347" y="285"/>
                    </a:cubicBezTo>
                    <a:cubicBezTo>
                      <a:pt x="347" y="284"/>
                      <a:pt x="347" y="284"/>
                      <a:pt x="347" y="284"/>
                    </a:cubicBezTo>
                    <a:close/>
                    <a:moveTo>
                      <a:pt x="347" y="280"/>
                    </a:moveTo>
                    <a:cubicBezTo>
                      <a:pt x="349" y="278"/>
                      <a:pt x="349" y="278"/>
                      <a:pt x="349" y="278"/>
                    </a:cubicBezTo>
                    <a:cubicBezTo>
                      <a:pt x="349" y="279"/>
                      <a:pt x="349" y="279"/>
                      <a:pt x="349" y="279"/>
                    </a:cubicBezTo>
                    <a:cubicBezTo>
                      <a:pt x="348" y="280"/>
                      <a:pt x="348" y="280"/>
                      <a:pt x="348" y="280"/>
                    </a:cubicBezTo>
                    <a:cubicBezTo>
                      <a:pt x="348" y="280"/>
                      <a:pt x="347" y="280"/>
                      <a:pt x="347" y="280"/>
                    </a:cubicBezTo>
                    <a:close/>
                    <a:moveTo>
                      <a:pt x="352" y="275"/>
                    </a:moveTo>
                    <a:cubicBezTo>
                      <a:pt x="354" y="272"/>
                      <a:pt x="354" y="272"/>
                      <a:pt x="354" y="272"/>
                    </a:cubicBezTo>
                    <a:cubicBezTo>
                      <a:pt x="354" y="271"/>
                      <a:pt x="354" y="271"/>
                      <a:pt x="354" y="271"/>
                    </a:cubicBezTo>
                    <a:cubicBezTo>
                      <a:pt x="356" y="270"/>
                      <a:pt x="356" y="270"/>
                      <a:pt x="356" y="270"/>
                    </a:cubicBezTo>
                    <a:cubicBezTo>
                      <a:pt x="357" y="270"/>
                      <a:pt x="357" y="270"/>
                      <a:pt x="357" y="270"/>
                    </a:cubicBezTo>
                    <a:cubicBezTo>
                      <a:pt x="357" y="271"/>
                      <a:pt x="357" y="271"/>
                      <a:pt x="357" y="271"/>
                    </a:cubicBezTo>
                    <a:cubicBezTo>
                      <a:pt x="356" y="272"/>
                      <a:pt x="356" y="272"/>
                      <a:pt x="356" y="272"/>
                    </a:cubicBezTo>
                    <a:cubicBezTo>
                      <a:pt x="355" y="274"/>
                      <a:pt x="355" y="274"/>
                      <a:pt x="355" y="274"/>
                    </a:cubicBezTo>
                    <a:cubicBezTo>
                      <a:pt x="353" y="275"/>
                      <a:pt x="353" y="275"/>
                      <a:pt x="353" y="275"/>
                    </a:cubicBezTo>
                    <a:cubicBezTo>
                      <a:pt x="353" y="276"/>
                      <a:pt x="353" y="276"/>
                      <a:pt x="353" y="276"/>
                    </a:cubicBezTo>
                    <a:cubicBezTo>
                      <a:pt x="352" y="276"/>
                      <a:pt x="352" y="276"/>
                      <a:pt x="352" y="276"/>
                    </a:cubicBezTo>
                    <a:cubicBezTo>
                      <a:pt x="352" y="275"/>
                      <a:pt x="352" y="275"/>
                      <a:pt x="352" y="275"/>
                    </a:cubicBezTo>
                    <a:close/>
                    <a:moveTo>
                      <a:pt x="354" y="263"/>
                    </a:moveTo>
                    <a:cubicBezTo>
                      <a:pt x="355" y="261"/>
                      <a:pt x="355" y="261"/>
                      <a:pt x="355" y="261"/>
                    </a:cubicBezTo>
                    <a:cubicBezTo>
                      <a:pt x="357" y="262"/>
                      <a:pt x="357" y="262"/>
                      <a:pt x="357" y="262"/>
                    </a:cubicBezTo>
                    <a:cubicBezTo>
                      <a:pt x="356" y="263"/>
                      <a:pt x="356" y="263"/>
                      <a:pt x="356" y="263"/>
                    </a:cubicBezTo>
                    <a:cubicBezTo>
                      <a:pt x="357" y="264"/>
                      <a:pt x="357" y="264"/>
                      <a:pt x="357" y="264"/>
                    </a:cubicBezTo>
                    <a:cubicBezTo>
                      <a:pt x="356" y="265"/>
                      <a:pt x="356" y="265"/>
                      <a:pt x="356" y="265"/>
                    </a:cubicBezTo>
                    <a:cubicBezTo>
                      <a:pt x="354" y="263"/>
                      <a:pt x="354" y="263"/>
                      <a:pt x="354" y="263"/>
                    </a:cubicBezTo>
                    <a:close/>
                    <a:moveTo>
                      <a:pt x="238" y="125"/>
                    </a:moveTo>
                    <a:cubicBezTo>
                      <a:pt x="238" y="125"/>
                      <a:pt x="239" y="124"/>
                      <a:pt x="239" y="124"/>
                    </a:cubicBezTo>
                    <a:cubicBezTo>
                      <a:pt x="241" y="125"/>
                      <a:pt x="241" y="125"/>
                      <a:pt x="241" y="125"/>
                    </a:cubicBezTo>
                    <a:cubicBezTo>
                      <a:pt x="239" y="126"/>
                      <a:pt x="239" y="126"/>
                      <a:pt x="239" y="126"/>
                    </a:cubicBezTo>
                    <a:cubicBezTo>
                      <a:pt x="238" y="125"/>
                      <a:pt x="238" y="125"/>
                      <a:pt x="238" y="125"/>
                    </a:cubicBezTo>
                    <a:close/>
                    <a:moveTo>
                      <a:pt x="200" y="166"/>
                    </a:move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01" y="161"/>
                      <a:pt x="201" y="161"/>
                      <a:pt x="201" y="161"/>
                    </a:cubicBezTo>
                    <a:cubicBezTo>
                      <a:pt x="199" y="160"/>
                      <a:pt x="199" y="160"/>
                      <a:pt x="199" y="160"/>
                    </a:cubicBezTo>
                    <a:cubicBezTo>
                      <a:pt x="200" y="158"/>
                      <a:pt x="200" y="158"/>
                      <a:pt x="200" y="158"/>
                    </a:cubicBezTo>
                    <a:cubicBezTo>
                      <a:pt x="199" y="154"/>
                      <a:pt x="199" y="154"/>
                      <a:pt x="199" y="154"/>
                    </a:cubicBezTo>
                    <a:cubicBezTo>
                      <a:pt x="197" y="153"/>
                      <a:pt x="197" y="153"/>
                      <a:pt x="197" y="153"/>
                    </a:cubicBezTo>
                    <a:cubicBezTo>
                      <a:pt x="194" y="153"/>
                      <a:pt x="194" y="153"/>
                      <a:pt x="194" y="153"/>
                    </a:cubicBezTo>
                    <a:cubicBezTo>
                      <a:pt x="193" y="154"/>
                      <a:pt x="193" y="154"/>
                      <a:pt x="193" y="154"/>
                    </a:cubicBezTo>
                    <a:cubicBezTo>
                      <a:pt x="191" y="154"/>
                      <a:pt x="191" y="154"/>
                      <a:pt x="191" y="154"/>
                    </a:cubicBezTo>
                    <a:cubicBezTo>
                      <a:pt x="189" y="152"/>
                      <a:pt x="189" y="152"/>
                      <a:pt x="189" y="152"/>
                    </a:cubicBezTo>
                    <a:cubicBezTo>
                      <a:pt x="189" y="149"/>
                      <a:pt x="189" y="149"/>
                      <a:pt x="189" y="149"/>
                    </a:cubicBezTo>
                    <a:cubicBezTo>
                      <a:pt x="194" y="145"/>
                      <a:pt x="194" y="145"/>
                      <a:pt x="194" y="145"/>
                    </a:cubicBezTo>
                    <a:cubicBezTo>
                      <a:pt x="195" y="141"/>
                      <a:pt x="195" y="141"/>
                      <a:pt x="195" y="141"/>
                    </a:cubicBezTo>
                    <a:cubicBezTo>
                      <a:pt x="196" y="141"/>
                      <a:pt x="196" y="141"/>
                      <a:pt x="196" y="141"/>
                    </a:cubicBezTo>
                    <a:cubicBezTo>
                      <a:pt x="196" y="145"/>
                      <a:pt x="196" y="145"/>
                      <a:pt x="196" y="145"/>
                    </a:cubicBezTo>
                    <a:cubicBezTo>
                      <a:pt x="195" y="146"/>
                      <a:pt x="195" y="146"/>
                      <a:pt x="195" y="146"/>
                    </a:cubicBezTo>
                    <a:cubicBezTo>
                      <a:pt x="198" y="147"/>
                      <a:pt x="198" y="147"/>
                      <a:pt x="198" y="147"/>
                    </a:cubicBezTo>
                    <a:cubicBezTo>
                      <a:pt x="198" y="149"/>
                      <a:pt x="198" y="149"/>
                      <a:pt x="198" y="149"/>
                    </a:cubicBezTo>
                    <a:cubicBezTo>
                      <a:pt x="200" y="149"/>
                      <a:pt x="200" y="149"/>
                      <a:pt x="200" y="149"/>
                    </a:cubicBezTo>
                    <a:cubicBezTo>
                      <a:pt x="201" y="148"/>
                      <a:pt x="201" y="148"/>
                      <a:pt x="201" y="148"/>
                    </a:cubicBezTo>
                    <a:cubicBezTo>
                      <a:pt x="205" y="148"/>
                      <a:pt x="205" y="148"/>
                      <a:pt x="205" y="148"/>
                    </a:cubicBezTo>
                    <a:cubicBezTo>
                      <a:pt x="207" y="150"/>
                      <a:pt x="207" y="150"/>
                      <a:pt x="207" y="150"/>
                    </a:cubicBezTo>
                    <a:cubicBezTo>
                      <a:pt x="206" y="151"/>
                      <a:pt x="206" y="151"/>
                      <a:pt x="206" y="151"/>
                    </a:cubicBezTo>
                    <a:cubicBezTo>
                      <a:pt x="205" y="152"/>
                      <a:pt x="205" y="152"/>
                      <a:pt x="205" y="152"/>
                    </a:cubicBezTo>
                    <a:cubicBezTo>
                      <a:pt x="206" y="155"/>
                      <a:pt x="206" y="155"/>
                      <a:pt x="206" y="155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12" y="162"/>
                      <a:pt x="212" y="162"/>
                      <a:pt x="212" y="162"/>
                    </a:cubicBezTo>
                    <a:cubicBezTo>
                      <a:pt x="212" y="164"/>
                      <a:pt x="212" y="164"/>
                      <a:pt x="212" y="164"/>
                    </a:cubicBezTo>
                    <a:cubicBezTo>
                      <a:pt x="211" y="165"/>
                      <a:pt x="211" y="165"/>
                      <a:pt x="211" y="165"/>
                    </a:cubicBezTo>
                    <a:cubicBezTo>
                      <a:pt x="208" y="163"/>
                      <a:pt x="208" y="163"/>
                      <a:pt x="208" y="163"/>
                    </a:cubicBezTo>
                    <a:cubicBezTo>
                      <a:pt x="207" y="164"/>
                      <a:pt x="207" y="164"/>
                      <a:pt x="207" y="164"/>
                    </a:cubicBezTo>
                    <a:cubicBezTo>
                      <a:pt x="206" y="165"/>
                      <a:pt x="206" y="165"/>
                      <a:pt x="206" y="165"/>
                    </a:cubicBezTo>
                    <a:cubicBezTo>
                      <a:pt x="205" y="165"/>
                      <a:pt x="205" y="165"/>
                      <a:pt x="205" y="165"/>
                    </a:cubicBezTo>
                    <a:cubicBezTo>
                      <a:pt x="202" y="167"/>
                      <a:pt x="202" y="167"/>
                      <a:pt x="202" y="167"/>
                    </a:cubicBezTo>
                    <a:cubicBezTo>
                      <a:pt x="200" y="166"/>
                      <a:pt x="200" y="166"/>
                      <a:pt x="200" y="166"/>
                    </a:cubicBezTo>
                    <a:close/>
                    <a:moveTo>
                      <a:pt x="187" y="233"/>
                    </a:moveTo>
                    <a:cubicBezTo>
                      <a:pt x="190" y="233"/>
                      <a:pt x="190" y="233"/>
                      <a:pt x="190" y="233"/>
                    </a:cubicBezTo>
                    <a:cubicBezTo>
                      <a:pt x="192" y="234"/>
                      <a:pt x="192" y="234"/>
                      <a:pt x="192" y="234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5" y="235"/>
                      <a:pt x="195" y="235"/>
                    </a:cubicBezTo>
                    <a:cubicBezTo>
                      <a:pt x="198" y="232"/>
                      <a:pt x="198" y="232"/>
                      <a:pt x="198" y="232"/>
                    </a:cubicBezTo>
                    <a:cubicBezTo>
                      <a:pt x="200" y="232"/>
                      <a:pt x="200" y="232"/>
                      <a:pt x="200" y="232"/>
                    </a:cubicBezTo>
                    <a:cubicBezTo>
                      <a:pt x="200" y="233"/>
                      <a:pt x="200" y="233"/>
                      <a:pt x="200" y="233"/>
                    </a:cubicBezTo>
                    <a:cubicBezTo>
                      <a:pt x="202" y="235"/>
                      <a:pt x="202" y="235"/>
                      <a:pt x="202" y="235"/>
                    </a:cubicBezTo>
                    <a:cubicBezTo>
                      <a:pt x="202" y="237"/>
                      <a:pt x="202" y="237"/>
                      <a:pt x="202" y="237"/>
                    </a:cubicBezTo>
                    <a:cubicBezTo>
                      <a:pt x="201" y="239"/>
                      <a:pt x="201" y="239"/>
                      <a:pt x="201" y="239"/>
                    </a:cubicBezTo>
                    <a:cubicBezTo>
                      <a:pt x="200" y="242"/>
                      <a:pt x="200" y="242"/>
                      <a:pt x="200" y="242"/>
                    </a:cubicBezTo>
                    <a:cubicBezTo>
                      <a:pt x="197" y="242"/>
                      <a:pt x="197" y="242"/>
                      <a:pt x="197" y="242"/>
                    </a:cubicBezTo>
                    <a:cubicBezTo>
                      <a:pt x="196" y="241"/>
                      <a:pt x="196" y="241"/>
                      <a:pt x="196" y="241"/>
                    </a:cubicBezTo>
                    <a:cubicBezTo>
                      <a:pt x="194" y="242"/>
                      <a:pt x="194" y="242"/>
                      <a:pt x="194" y="242"/>
                    </a:cubicBezTo>
                    <a:cubicBezTo>
                      <a:pt x="192" y="241"/>
                      <a:pt x="192" y="241"/>
                      <a:pt x="192" y="241"/>
                    </a:cubicBezTo>
                    <a:cubicBezTo>
                      <a:pt x="190" y="241"/>
                      <a:pt x="190" y="241"/>
                      <a:pt x="190" y="241"/>
                    </a:cubicBezTo>
                    <a:cubicBezTo>
                      <a:pt x="188" y="237"/>
                      <a:pt x="188" y="237"/>
                      <a:pt x="188" y="237"/>
                    </a:cubicBezTo>
                    <a:cubicBezTo>
                      <a:pt x="187" y="233"/>
                      <a:pt x="187" y="233"/>
                      <a:pt x="187" y="233"/>
                    </a:cubicBezTo>
                    <a:close/>
                    <a:moveTo>
                      <a:pt x="316" y="264"/>
                    </a:moveTo>
                    <a:cubicBezTo>
                      <a:pt x="318" y="261"/>
                      <a:pt x="318" y="261"/>
                      <a:pt x="318" y="261"/>
                    </a:cubicBezTo>
                    <a:cubicBezTo>
                      <a:pt x="320" y="261"/>
                      <a:pt x="320" y="261"/>
                      <a:pt x="320" y="261"/>
                    </a:cubicBezTo>
                    <a:cubicBezTo>
                      <a:pt x="320" y="262"/>
                      <a:pt x="320" y="262"/>
                      <a:pt x="320" y="262"/>
                    </a:cubicBezTo>
                    <a:cubicBezTo>
                      <a:pt x="317" y="264"/>
                      <a:pt x="317" y="264"/>
                      <a:pt x="317" y="264"/>
                    </a:cubicBezTo>
                    <a:cubicBezTo>
                      <a:pt x="316" y="264"/>
                      <a:pt x="316" y="264"/>
                      <a:pt x="316" y="264"/>
                    </a:cubicBezTo>
                    <a:close/>
                    <a:moveTo>
                      <a:pt x="295" y="278"/>
                    </a:moveTo>
                    <a:cubicBezTo>
                      <a:pt x="297" y="277"/>
                      <a:pt x="297" y="277"/>
                      <a:pt x="297" y="277"/>
                    </a:cubicBezTo>
                    <a:cubicBezTo>
                      <a:pt x="298" y="278"/>
                      <a:pt x="298" y="278"/>
                      <a:pt x="298" y="278"/>
                    </a:cubicBezTo>
                    <a:cubicBezTo>
                      <a:pt x="297" y="279"/>
                      <a:pt x="297" y="279"/>
                      <a:pt x="297" y="279"/>
                    </a:cubicBezTo>
                    <a:cubicBezTo>
                      <a:pt x="295" y="278"/>
                      <a:pt x="295" y="278"/>
                      <a:pt x="295" y="278"/>
                    </a:cubicBezTo>
                    <a:close/>
                    <a:moveTo>
                      <a:pt x="296" y="295"/>
                    </a:moveTo>
                    <a:cubicBezTo>
                      <a:pt x="296" y="294"/>
                      <a:pt x="296" y="294"/>
                      <a:pt x="296" y="294"/>
                    </a:cubicBezTo>
                    <a:cubicBezTo>
                      <a:pt x="298" y="295"/>
                      <a:pt x="298" y="295"/>
                      <a:pt x="298" y="295"/>
                    </a:cubicBezTo>
                    <a:cubicBezTo>
                      <a:pt x="298" y="296"/>
                      <a:pt x="298" y="296"/>
                      <a:pt x="298" y="296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295" y="296"/>
                      <a:pt x="295" y="296"/>
                      <a:pt x="295" y="296"/>
                    </a:cubicBezTo>
                    <a:cubicBezTo>
                      <a:pt x="296" y="295"/>
                      <a:pt x="296" y="295"/>
                      <a:pt x="296" y="295"/>
                    </a:cubicBezTo>
                    <a:close/>
                    <a:moveTo>
                      <a:pt x="288" y="304"/>
                    </a:moveTo>
                    <a:cubicBezTo>
                      <a:pt x="287" y="303"/>
                      <a:pt x="287" y="303"/>
                      <a:pt x="287" y="303"/>
                    </a:cubicBezTo>
                    <a:cubicBezTo>
                      <a:pt x="288" y="302"/>
                      <a:pt x="288" y="302"/>
                      <a:pt x="288" y="302"/>
                    </a:cubicBezTo>
                    <a:cubicBezTo>
                      <a:pt x="289" y="303"/>
                      <a:pt x="289" y="303"/>
                      <a:pt x="289" y="303"/>
                    </a:cubicBezTo>
                    <a:cubicBezTo>
                      <a:pt x="290" y="302"/>
                      <a:pt x="290" y="302"/>
                      <a:pt x="290" y="302"/>
                    </a:cubicBezTo>
                    <a:cubicBezTo>
                      <a:pt x="291" y="303"/>
                      <a:pt x="291" y="303"/>
                      <a:pt x="291" y="303"/>
                    </a:cubicBezTo>
                    <a:cubicBezTo>
                      <a:pt x="292" y="301"/>
                      <a:pt x="292" y="301"/>
                      <a:pt x="292" y="301"/>
                    </a:cubicBezTo>
                    <a:cubicBezTo>
                      <a:pt x="292" y="300"/>
                      <a:pt x="292" y="300"/>
                      <a:pt x="292" y="300"/>
                    </a:cubicBezTo>
                    <a:cubicBezTo>
                      <a:pt x="292" y="299"/>
                      <a:pt x="292" y="299"/>
                      <a:pt x="292" y="299"/>
                    </a:cubicBezTo>
                    <a:cubicBezTo>
                      <a:pt x="294" y="298"/>
                      <a:pt x="294" y="298"/>
                      <a:pt x="294" y="298"/>
                    </a:cubicBezTo>
                    <a:cubicBezTo>
                      <a:pt x="295" y="299"/>
                      <a:pt x="295" y="299"/>
                      <a:pt x="295" y="299"/>
                    </a:cubicBezTo>
                    <a:cubicBezTo>
                      <a:pt x="295" y="300"/>
                      <a:pt x="295" y="300"/>
                      <a:pt x="295" y="300"/>
                    </a:cubicBezTo>
                    <a:cubicBezTo>
                      <a:pt x="296" y="301"/>
                      <a:pt x="296" y="301"/>
                      <a:pt x="296" y="301"/>
                    </a:cubicBez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8" y="299"/>
                      <a:pt x="298" y="299"/>
                      <a:pt x="298" y="299"/>
                    </a:cubicBezTo>
                    <a:cubicBezTo>
                      <a:pt x="298" y="301"/>
                      <a:pt x="298" y="301"/>
                      <a:pt x="298" y="301"/>
                    </a:cubicBezTo>
                    <a:cubicBezTo>
                      <a:pt x="297" y="302"/>
                      <a:pt x="297" y="302"/>
                      <a:pt x="297" y="302"/>
                    </a:cubicBezTo>
                    <a:cubicBezTo>
                      <a:pt x="297" y="303"/>
                      <a:pt x="297" y="303"/>
                      <a:pt x="297" y="303"/>
                    </a:cubicBezTo>
                    <a:cubicBezTo>
                      <a:pt x="298" y="304"/>
                      <a:pt x="298" y="304"/>
                      <a:pt x="298" y="304"/>
                    </a:cubicBezTo>
                    <a:cubicBezTo>
                      <a:pt x="298" y="305"/>
                      <a:pt x="298" y="305"/>
                      <a:pt x="298" y="305"/>
                    </a:cubicBezTo>
                    <a:cubicBezTo>
                      <a:pt x="297" y="305"/>
                      <a:pt x="297" y="305"/>
                      <a:pt x="297" y="305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4" y="306"/>
                      <a:pt x="294" y="306"/>
                      <a:pt x="294" y="306"/>
                    </a:cubicBezTo>
                    <a:cubicBezTo>
                      <a:pt x="293" y="306"/>
                      <a:pt x="293" y="306"/>
                      <a:pt x="293" y="306"/>
                    </a:cubicBezTo>
                    <a:cubicBezTo>
                      <a:pt x="293" y="305"/>
                      <a:pt x="293" y="305"/>
                      <a:pt x="293" y="305"/>
                    </a:cubicBezTo>
                    <a:cubicBezTo>
                      <a:pt x="291" y="306"/>
                      <a:pt x="291" y="306"/>
                      <a:pt x="291" y="306"/>
                    </a:cubicBezTo>
                    <a:cubicBezTo>
                      <a:pt x="290" y="306"/>
                      <a:pt x="290" y="306"/>
                      <a:pt x="290" y="306"/>
                    </a:cubicBezTo>
                    <a:cubicBezTo>
                      <a:pt x="288" y="304"/>
                      <a:pt x="288" y="304"/>
                      <a:pt x="288" y="304"/>
                    </a:cubicBezTo>
                    <a:close/>
                    <a:moveTo>
                      <a:pt x="267" y="325"/>
                    </a:moveTo>
                    <a:cubicBezTo>
                      <a:pt x="267" y="326"/>
                      <a:pt x="267" y="326"/>
                      <a:pt x="267" y="326"/>
                    </a:cubicBezTo>
                    <a:cubicBezTo>
                      <a:pt x="266" y="326"/>
                      <a:pt x="266" y="326"/>
                      <a:pt x="266" y="326"/>
                    </a:cubicBezTo>
                    <a:cubicBezTo>
                      <a:pt x="265" y="326"/>
                      <a:pt x="265" y="326"/>
                      <a:pt x="265" y="326"/>
                    </a:cubicBezTo>
                    <a:cubicBezTo>
                      <a:pt x="264" y="324"/>
                      <a:pt x="264" y="324"/>
                      <a:pt x="264" y="324"/>
                    </a:cubicBezTo>
                    <a:cubicBezTo>
                      <a:pt x="265" y="322"/>
                      <a:pt x="265" y="322"/>
                      <a:pt x="265" y="322"/>
                    </a:cubicBezTo>
                    <a:cubicBezTo>
                      <a:pt x="266" y="320"/>
                      <a:pt x="266" y="320"/>
                      <a:pt x="266" y="320"/>
                    </a:cubicBezTo>
                    <a:cubicBezTo>
                      <a:pt x="266" y="318"/>
                      <a:pt x="266" y="318"/>
                      <a:pt x="266" y="318"/>
                    </a:cubicBezTo>
                    <a:cubicBezTo>
                      <a:pt x="265" y="317"/>
                      <a:pt x="265" y="317"/>
                      <a:pt x="265" y="317"/>
                    </a:cubicBezTo>
                    <a:cubicBezTo>
                      <a:pt x="266" y="316"/>
                      <a:pt x="266" y="316"/>
                      <a:pt x="266" y="316"/>
                    </a:cubicBezTo>
                    <a:cubicBezTo>
                      <a:pt x="268" y="314"/>
                      <a:pt x="268" y="314"/>
                      <a:pt x="268" y="314"/>
                    </a:cubicBezTo>
                    <a:cubicBezTo>
                      <a:pt x="272" y="312"/>
                      <a:pt x="272" y="312"/>
                      <a:pt x="272" y="312"/>
                    </a:cubicBezTo>
                    <a:cubicBezTo>
                      <a:pt x="275" y="311"/>
                      <a:pt x="275" y="311"/>
                      <a:pt x="275" y="311"/>
                    </a:cubicBezTo>
                    <a:cubicBezTo>
                      <a:pt x="275" y="312"/>
                      <a:pt x="275" y="312"/>
                      <a:pt x="275" y="312"/>
                    </a:cubicBezTo>
                    <a:cubicBezTo>
                      <a:pt x="276" y="316"/>
                      <a:pt x="276" y="316"/>
                      <a:pt x="276" y="316"/>
                    </a:cubicBezTo>
                    <a:cubicBezTo>
                      <a:pt x="276" y="316"/>
                      <a:pt x="276" y="316"/>
                      <a:pt x="276" y="316"/>
                    </a:cubicBezTo>
                    <a:cubicBezTo>
                      <a:pt x="278" y="314"/>
                      <a:pt x="278" y="314"/>
                      <a:pt x="278" y="314"/>
                    </a:cubicBezTo>
                    <a:cubicBezTo>
                      <a:pt x="277" y="312"/>
                      <a:pt x="277" y="312"/>
                      <a:pt x="277" y="312"/>
                    </a:cubicBezTo>
                    <a:cubicBezTo>
                      <a:pt x="278" y="312"/>
                      <a:pt x="278" y="312"/>
                      <a:pt x="278" y="312"/>
                    </a:cubicBezTo>
                    <a:cubicBezTo>
                      <a:pt x="279" y="313"/>
                      <a:pt x="279" y="313"/>
                      <a:pt x="279" y="313"/>
                    </a:cubicBezTo>
                    <a:cubicBezTo>
                      <a:pt x="280" y="311"/>
                      <a:pt x="280" y="311"/>
                      <a:pt x="280" y="311"/>
                    </a:cubicBezTo>
                    <a:cubicBezTo>
                      <a:pt x="278" y="310"/>
                      <a:pt x="278" y="310"/>
                      <a:pt x="278" y="310"/>
                    </a:cubicBezTo>
                    <a:cubicBezTo>
                      <a:pt x="278" y="309"/>
                      <a:pt x="278" y="309"/>
                      <a:pt x="278" y="309"/>
                    </a:cubicBezTo>
                    <a:cubicBezTo>
                      <a:pt x="279" y="307"/>
                      <a:pt x="279" y="307"/>
                      <a:pt x="279" y="307"/>
                    </a:cubicBezTo>
                    <a:cubicBezTo>
                      <a:pt x="281" y="307"/>
                      <a:pt x="281" y="307"/>
                      <a:pt x="281" y="307"/>
                    </a:cubicBezTo>
                    <a:cubicBezTo>
                      <a:pt x="282" y="308"/>
                      <a:pt x="282" y="308"/>
                      <a:pt x="282" y="308"/>
                    </a:cubicBezTo>
                    <a:cubicBezTo>
                      <a:pt x="282" y="310"/>
                      <a:pt x="282" y="310"/>
                      <a:pt x="282" y="310"/>
                    </a:cubicBezTo>
                    <a:cubicBezTo>
                      <a:pt x="281" y="311"/>
                      <a:pt x="281" y="311"/>
                      <a:pt x="281" y="311"/>
                    </a:cubicBezTo>
                    <a:cubicBezTo>
                      <a:pt x="281" y="312"/>
                      <a:pt x="281" y="312"/>
                      <a:pt x="281" y="312"/>
                    </a:cubicBezTo>
                    <a:cubicBezTo>
                      <a:pt x="282" y="312"/>
                      <a:pt x="282" y="312"/>
                      <a:pt x="282" y="312"/>
                    </a:cubicBezTo>
                    <a:cubicBezTo>
                      <a:pt x="283" y="310"/>
                      <a:pt x="283" y="310"/>
                      <a:pt x="283" y="310"/>
                    </a:cubicBezTo>
                    <a:cubicBezTo>
                      <a:pt x="284" y="310"/>
                      <a:pt x="284" y="310"/>
                      <a:pt x="284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285" y="309"/>
                      <a:pt x="285" y="309"/>
                      <a:pt x="285" y="309"/>
                    </a:cubicBezTo>
                    <a:cubicBezTo>
                      <a:pt x="285" y="307"/>
                      <a:pt x="285" y="307"/>
                      <a:pt x="285" y="307"/>
                    </a:cubicBezTo>
                    <a:cubicBezTo>
                      <a:pt x="286" y="307"/>
                      <a:pt x="286" y="307"/>
                      <a:pt x="286" y="307"/>
                    </a:cubicBezTo>
                    <a:cubicBezTo>
                      <a:pt x="287" y="308"/>
                      <a:pt x="287" y="308"/>
                      <a:pt x="287" y="308"/>
                    </a:cubicBezTo>
                    <a:cubicBezTo>
                      <a:pt x="287" y="309"/>
                      <a:pt x="287" y="309"/>
                      <a:pt x="287" y="309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6" y="311"/>
                      <a:pt x="286" y="311"/>
                      <a:pt x="286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ubicBezTo>
                      <a:pt x="289" y="309"/>
                      <a:pt x="289" y="309"/>
                      <a:pt x="289" y="309"/>
                    </a:cubicBezTo>
                    <a:cubicBezTo>
                      <a:pt x="291" y="309"/>
                      <a:pt x="291" y="309"/>
                      <a:pt x="291" y="309"/>
                    </a:cubicBezTo>
                    <a:cubicBezTo>
                      <a:pt x="292" y="309"/>
                      <a:pt x="292" y="309"/>
                      <a:pt x="292" y="309"/>
                    </a:cubicBezTo>
                    <a:cubicBezTo>
                      <a:pt x="293" y="311"/>
                      <a:pt x="293" y="311"/>
                      <a:pt x="293" y="311"/>
                    </a:cubicBezTo>
                    <a:cubicBezTo>
                      <a:pt x="291" y="312"/>
                      <a:pt x="291" y="312"/>
                      <a:pt x="291" y="312"/>
                    </a:cubicBezTo>
                    <a:cubicBezTo>
                      <a:pt x="290" y="312"/>
                      <a:pt x="290" y="312"/>
                      <a:pt x="290" y="312"/>
                    </a:cubicBezTo>
                    <a:cubicBezTo>
                      <a:pt x="290" y="313"/>
                      <a:pt x="290" y="313"/>
                      <a:pt x="290" y="313"/>
                    </a:cubicBezTo>
                    <a:cubicBezTo>
                      <a:pt x="290" y="313"/>
                      <a:pt x="290" y="313"/>
                      <a:pt x="290" y="313"/>
                    </a:cubicBezTo>
                    <a:cubicBezTo>
                      <a:pt x="291" y="315"/>
                      <a:pt x="291" y="315"/>
                      <a:pt x="291" y="315"/>
                    </a:cubicBezTo>
                    <a:cubicBezTo>
                      <a:pt x="290" y="317"/>
                      <a:pt x="290" y="317"/>
                      <a:pt x="290" y="317"/>
                    </a:cubicBezTo>
                    <a:cubicBezTo>
                      <a:pt x="288" y="316"/>
                      <a:pt x="288" y="316"/>
                      <a:pt x="288" y="316"/>
                    </a:cubicBezTo>
                    <a:cubicBezTo>
                      <a:pt x="288" y="316"/>
                      <a:pt x="288" y="316"/>
                      <a:pt x="288" y="316"/>
                    </a:cubicBezTo>
                    <a:cubicBezTo>
                      <a:pt x="287" y="316"/>
                      <a:pt x="287" y="316"/>
                      <a:pt x="287" y="316"/>
                    </a:cubicBezTo>
                    <a:cubicBezTo>
                      <a:pt x="285" y="315"/>
                      <a:pt x="285" y="315"/>
                      <a:pt x="285" y="315"/>
                    </a:cubicBezTo>
                    <a:cubicBezTo>
                      <a:pt x="284" y="316"/>
                      <a:pt x="284" y="316"/>
                      <a:pt x="284" y="316"/>
                    </a:cubicBezTo>
                    <a:cubicBezTo>
                      <a:pt x="283" y="316"/>
                      <a:pt x="283" y="316"/>
                      <a:pt x="283" y="316"/>
                    </a:cubicBezTo>
                    <a:cubicBezTo>
                      <a:pt x="285" y="317"/>
                      <a:pt x="285" y="317"/>
                      <a:pt x="285" y="317"/>
                    </a:cubicBezTo>
                    <a:cubicBezTo>
                      <a:pt x="286" y="319"/>
                      <a:pt x="286" y="319"/>
                      <a:pt x="286" y="319"/>
                    </a:cubicBezTo>
                    <a:cubicBezTo>
                      <a:pt x="285" y="321"/>
                      <a:pt x="285" y="321"/>
                      <a:pt x="285" y="321"/>
                    </a:cubicBezTo>
                    <a:cubicBezTo>
                      <a:pt x="283" y="321"/>
                      <a:pt x="283" y="321"/>
                      <a:pt x="283" y="321"/>
                    </a:cubicBezTo>
                    <a:cubicBezTo>
                      <a:pt x="282" y="319"/>
                      <a:pt x="282" y="319"/>
                      <a:pt x="282" y="319"/>
                    </a:cubicBezTo>
                    <a:cubicBezTo>
                      <a:pt x="280" y="318"/>
                      <a:pt x="280" y="318"/>
                      <a:pt x="280" y="318"/>
                    </a:cubicBezTo>
                    <a:cubicBezTo>
                      <a:pt x="278" y="319"/>
                      <a:pt x="278" y="319"/>
                      <a:pt x="278" y="319"/>
                    </a:cubicBezTo>
                    <a:cubicBezTo>
                      <a:pt x="280" y="320"/>
                      <a:pt x="280" y="320"/>
                      <a:pt x="280" y="320"/>
                    </a:cubicBezTo>
                    <a:cubicBezTo>
                      <a:pt x="281" y="321"/>
                      <a:pt x="281" y="321"/>
                      <a:pt x="281" y="321"/>
                    </a:cubicBezTo>
                    <a:cubicBezTo>
                      <a:pt x="280" y="322"/>
                      <a:pt x="280" y="322"/>
                      <a:pt x="280" y="322"/>
                    </a:cubicBezTo>
                    <a:cubicBezTo>
                      <a:pt x="278" y="322"/>
                      <a:pt x="278" y="322"/>
                      <a:pt x="278" y="322"/>
                    </a:cubicBezTo>
                    <a:cubicBezTo>
                      <a:pt x="276" y="322"/>
                      <a:pt x="276" y="322"/>
                      <a:pt x="276" y="322"/>
                    </a:cubicBezTo>
                    <a:cubicBezTo>
                      <a:pt x="275" y="322"/>
                      <a:pt x="275" y="322"/>
                      <a:pt x="275" y="322"/>
                    </a:cubicBezTo>
                    <a:cubicBezTo>
                      <a:pt x="274" y="324"/>
                      <a:pt x="274" y="324"/>
                      <a:pt x="274" y="324"/>
                    </a:cubicBezTo>
                    <a:cubicBezTo>
                      <a:pt x="273" y="324"/>
                      <a:pt x="273" y="324"/>
                      <a:pt x="273" y="324"/>
                    </a:cubicBezTo>
                    <a:cubicBezTo>
                      <a:pt x="272" y="325"/>
                      <a:pt x="272" y="325"/>
                      <a:pt x="272" y="325"/>
                    </a:cubicBezTo>
                    <a:cubicBezTo>
                      <a:pt x="273" y="326"/>
                      <a:pt x="273" y="326"/>
                      <a:pt x="273" y="326"/>
                    </a:cubicBezTo>
                    <a:cubicBezTo>
                      <a:pt x="271" y="327"/>
                      <a:pt x="271" y="327"/>
                      <a:pt x="271" y="327"/>
                    </a:cubicBezTo>
                    <a:cubicBezTo>
                      <a:pt x="271" y="329"/>
                      <a:pt x="271" y="329"/>
                      <a:pt x="271" y="329"/>
                    </a:cubicBezTo>
                    <a:cubicBezTo>
                      <a:pt x="269" y="329"/>
                      <a:pt x="269" y="329"/>
                      <a:pt x="269" y="329"/>
                    </a:cubicBezTo>
                    <a:cubicBezTo>
                      <a:pt x="269" y="330"/>
                      <a:pt x="269" y="330"/>
                      <a:pt x="269" y="330"/>
                    </a:cubicBezTo>
                    <a:cubicBezTo>
                      <a:pt x="267" y="330"/>
                      <a:pt x="267" y="330"/>
                      <a:pt x="267" y="330"/>
                    </a:cubicBezTo>
                    <a:cubicBezTo>
                      <a:pt x="267" y="329"/>
                      <a:pt x="267" y="329"/>
                      <a:pt x="267" y="329"/>
                    </a:cubicBezTo>
                    <a:cubicBezTo>
                      <a:pt x="270" y="326"/>
                      <a:pt x="270" y="326"/>
                      <a:pt x="270" y="326"/>
                    </a:cubicBezTo>
                    <a:cubicBezTo>
                      <a:pt x="270" y="325"/>
                      <a:pt x="270" y="325"/>
                      <a:pt x="270" y="325"/>
                    </a:cubicBezTo>
                    <a:cubicBezTo>
                      <a:pt x="272" y="324"/>
                      <a:pt x="272" y="324"/>
                      <a:pt x="272" y="324"/>
                    </a:cubicBezTo>
                    <a:cubicBezTo>
                      <a:pt x="271" y="323"/>
                      <a:pt x="271" y="323"/>
                      <a:pt x="271" y="323"/>
                    </a:cubicBezTo>
                    <a:cubicBezTo>
                      <a:pt x="269" y="325"/>
                      <a:pt x="269" y="325"/>
                      <a:pt x="269" y="325"/>
                    </a:cubicBezTo>
                    <a:cubicBezTo>
                      <a:pt x="269" y="324"/>
                      <a:pt x="269" y="324"/>
                      <a:pt x="269" y="324"/>
                    </a:cubicBezTo>
                    <a:cubicBezTo>
                      <a:pt x="269" y="323"/>
                      <a:pt x="269" y="323"/>
                      <a:pt x="269" y="323"/>
                    </a:cubicBezTo>
                    <a:cubicBezTo>
                      <a:pt x="267" y="323"/>
                      <a:pt x="267" y="323"/>
                      <a:pt x="267" y="323"/>
                    </a:cubicBezTo>
                    <a:cubicBezTo>
                      <a:pt x="266" y="324"/>
                      <a:pt x="266" y="324"/>
                      <a:pt x="266" y="324"/>
                    </a:cubicBezTo>
                    <a:cubicBezTo>
                      <a:pt x="267" y="324"/>
                      <a:pt x="267" y="324"/>
                      <a:pt x="267" y="324"/>
                    </a:cubicBezTo>
                    <a:cubicBezTo>
                      <a:pt x="267" y="325"/>
                      <a:pt x="267" y="325"/>
                      <a:pt x="267" y="325"/>
                    </a:cubicBezTo>
                    <a:close/>
                    <a:moveTo>
                      <a:pt x="264" y="333"/>
                    </a:moveTo>
                    <a:cubicBezTo>
                      <a:pt x="265" y="332"/>
                      <a:pt x="265" y="332"/>
                      <a:pt x="265" y="332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264" y="333"/>
                      <a:pt x="264" y="333"/>
                      <a:pt x="264" y="333"/>
                    </a:cubicBezTo>
                    <a:close/>
                    <a:moveTo>
                      <a:pt x="258" y="335"/>
                    </a:moveTo>
                    <a:cubicBezTo>
                      <a:pt x="260" y="332"/>
                      <a:pt x="260" y="332"/>
                      <a:pt x="260" y="332"/>
                    </a:cubicBezTo>
                    <a:cubicBezTo>
                      <a:pt x="264" y="331"/>
                      <a:pt x="264" y="331"/>
                      <a:pt x="264" y="331"/>
                    </a:cubicBezTo>
                    <a:cubicBezTo>
                      <a:pt x="260" y="335"/>
                      <a:pt x="260" y="335"/>
                      <a:pt x="260" y="335"/>
                    </a:cubicBezTo>
                    <a:cubicBezTo>
                      <a:pt x="258" y="335"/>
                      <a:pt x="258" y="335"/>
                      <a:pt x="258" y="335"/>
                    </a:cubicBezTo>
                    <a:close/>
                    <a:moveTo>
                      <a:pt x="245" y="346"/>
                    </a:moveTo>
                    <a:cubicBezTo>
                      <a:pt x="244" y="346"/>
                      <a:pt x="244" y="346"/>
                      <a:pt x="244" y="346"/>
                    </a:cubicBezTo>
                    <a:cubicBezTo>
                      <a:pt x="244" y="345"/>
                      <a:pt x="244" y="345"/>
                      <a:pt x="244" y="345"/>
                    </a:cubicBezTo>
                    <a:cubicBezTo>
                      <a:pt x="247" y="344"/>
                      <a:pt x="247" y="344"/>
                      <a:pt x="247" y="344"/>
                    </a:cubicBezTo>
                    <a:cubicBezTo>
                      <a:pt x="246" y="345"/>
                      <a:pt x="246" y="345"/>
                      <a:pt x="246" y="345"/>
                    </a:cubicBezTo>
                    <a:cubicBezTo>
                      <a:pt x="245" y="346"/>
                      <a:pt x="245" y="346"/>
                      <a:pt x="245" y="346"/>
                    </a:cubicBezTo>
                    <a:close/>
                    <a:moveTo>
                      <a:pt x="238" y="328"/>
                    </a:moveTo>
                    <a:cubicBezTo>
                      <a:pt x="240" y="328"/>
                      <a:pt x="240" y="328"/>
                      <a:pt x="240" y="328"/>
                    </a:cubicBezTo>
                    <a:cubicBezTo>
                      <a:pt x="241" y="329"/>
                      <a:pt x="241" y="329"/>
                      <a:pt x="241" y="329"/>
                    </a:cubicBezTo>
                    <a:cubicBezTo>
                      <a:pt x="239" y="330"/>
                      <a:pt x="239" y="330"/>
                      <a:pt x="239" y="330"/>
                    </a:cubicBezTo>
                    <a:cubicBezTo>
                      <a:pt x="238" y="328"/>
                      <a:pt x="238" y="328"/>
                      <a:pt x="238" y="328"/>
                    </a:cubicBezTo>
                    <a:close/>
                    <a:moveTo>
                      <a:pt x="200" y="346"/>
                    </a:moveTo>
                    <a:cubicBezTo>
                      <a:pt x="200" y="346"/>
                      <a:pt x="201" y="345"/>
                      <a:pt x="201" y="345"/>
                    </a:cubicBezTo>
                    <a:cubicBezTo>
                      <a:pt x="201" y="346"/>
                      <a:pt x="201" y="346"/>
                      <a:pt x="201" y="346"/>
                    </a:cubicBezTo>
                    <a:cubicBezTo>
                      <a:pt x="200" y="346"/>
                      <a:pt x="200" y="346"/>
                      <a:pt x="200" y="346"/>
                    </a:cubicBezTo>
                    <a:close/>
                    <a:moveTo>
                      <a:pt x="198" y="346"/>
                    </a:moveTo>
                    <a:cubicBezTo>
                      <a:pt x="199" y="347"/>
                      <a:pt x="199" y="347"/>
                      <a:pt x="199" y="347"/>
                    </a:cubicBezTo>
                    <a:cubicBezTo>
                      <a:pt x="198" y="348"/>
                      <a:pt x="198" y="348"/>
                      <a:pt x="198" y="348"/>
                    </a:cubicBezTo>
                    <a:cubicBezTo>
                      <a:pt x="198" y="346"/>
                      <a:pt x="198" y="346"/>
                      <a:pt x="198" y="346"/>
                    </a:cubicBezTo>
                    <a:close/>
                    <a:moveTo>
                      <a:pt x="207" y="354"/>
                    </a:moveTo>
                    <a:cubicBezTo>
                      <a:pt x="207" y="355"/>
                      <a:pt x="207" y="355"/>
                      <a:pt x="207" y="355"/>
                    </a:cubicBezTo>
                    <a:cubicBezTo>
                      <a:pt x="206" y="356"/>
                      <a:pt x="206" y="356"/>
                      <a:pt x="206" y="356"/>
                    </a:cubicBezTo>
                    <a:cubicBezTo>
                      <a:pt x="206" y="355"/>
                      <a:pt x="206" y="355"/>
                      <a:pt x="206" y="355"/>
                    </a:cubicBezTo>
                    <a:cubicBezTo>
                      <a:pt x="207" y="354"/>
                      <a:pt x="207" y="354"/>
                      <a:pt x="207" y="354"/>
                    </a:cubicBezTo>
                    <a:close/>
                    <a:moveTo>
                      <a:pt x="205" y="353"/>
                    </a:moveTo>
                    <a:cubicBezTo>
                      <a:pt x="206" y="351"/>
                      <a:pt x="206" y="351"/>
                      <a:pt x="206" y="351"/>
                    </a:cubicBezTo>
                    <a:cubicBezTo>
                      <a:pt x="206" y="352"/>
                      <a:pt x="206" y="352"/>
                      <a:pt x="206" y="352"/>
                    </a:cubicBezTo>
                    <a:cubicBezTo>
                      <a:pt x="206" y="352"/>
                      <a:pt x="205" y="353"/>
                      <a:pt x="205" y="353"/>
                    </a:cubicBezTo>
                    <a:close/>
                    <a:moveTo>
                      <a:pt x="197" y="355"/>
                    </a:moveTo>
                    <a:cubicBezTo>
                      <a:pt x="198" y="353"/>
                      <a:pt x="198" y="353"/>
                      <a:pt x="198" y="353"/>
                    </a:cubicBezTo>
                    <a:cubicBezTo>
                      <a:pt x="200" y="351"/>
                      <a:pt x="200" y="351"/>
                      <a:pt x="200" y="351"/>
                    </a:cubicBezTo>
                    <a:cubicBezTo>
                      <a:pt x="200" y="350"/>
                      <a:pt x="200" y="350"/>
                      <a:pt x="200" y="350"/>
                    </a:cubicBezTo>
                    <a:cubicBezTo>
                      <a:pt x="203" y="350"/>
                      <a:pt x="203" y="350"/>
                      <a:pt x="203" y="350"/>
                    </a:cubicBezTo>
                    <a:cubicBezTo>
                      <a:pt x="201" y="351"/>
                      <a:pt x="201" y="351"/>
                      <a:pt x="201" y="351"/>
                    </a:cubicBezTo>
                    <a:cubicBezTo>
                      <a:pt x="201" y="353"/>
                      <a:pt x="201" y="353"/>
                      <a:pt x="201" y="353"/>
                    </a:cubicBezTo>
                    <a:cubicBezTo>
                      <a:pt x="198" y="354"/>
                      <a:pt x="198" y="354"/>
                      <a:pt x="198" y="354"/>
                    </a:cubicBezTo>
                    <a:cubicBezTo>
                      <a:pt x="197" y="355"/>
                      <a:pt x="197" y="355"/>
                      <a:pt x="197" y="355"/>
                    </a:cubicBezTo>
                    <a:close/>
                    <a:moveTo>
                      <a:pt x="195" y="349"/>
                    </a:moveTo>
                    <a:cubicBezTo>
                      <a:pt x="194" y="348"/>
                      <a:pt x="194" y="348"/>
                      <a:pt x="194" y="348"/>
                    </a:cubicBezTo>
                    <a:cubicBezTo>
                      <a:pt x="194" y="346"/>
                      <a:pt x="194" y="346"/>
                      <a:pt x="194" y="346"/>
                    </a:cubicBezTo>
                    <a:cubicBezTo>
                      <a:pt x="196" y="346"/>
                      <a:pt x="196" y="346"/>
                      <a:pt x="196" y="346"/>
                    </a:cubicBezTo>
                    <a:cubicBezTo>
                      <a:pt x="197" y="347"/>
                      <a:pt x="197" y="347"/>
                      <a:pt x="197" y="347"/>
                    </a:cubicBezTo>
                    <a:cubicBezTo>
                      <a:pt x="196" y="348"/>
                      <a:pt x="196" y="348"/>
                      <a:pt x="196" y="348"/>
                    </a:cubicBezTo>
                    <a:cubicBezTo>
                      <a:pt x="196" y="349"/>
                      <a:pt x="196" y="349"/>
                      <a:pt x="196" y="349"/>
                    </a:cubicBezTo>
                    <a:cubicBezTo>
                      <a:pt x="195" y="349"/>
                      <a:pt x="195" y="349"/>
                      <a:pt x="195" y="349"/>
                    </a:cubicBezTo>
                    <a:close/>
                    <a:moveTo>
                      <a:pt x="185" y="348"/>
                    </a:moveTo>
                    <a:cubicBezTo>
                      <a:pt x="186" y="348"/>
                      <a:pt x="186" y="348"/>
                      <a:pt x="186" y="348"/>
                    </a:cubicBezTo>
                    <a:cubicBezTo>
                      <a:pt x="187" y="349"/>
                      <a:pt x="187" y="349"/>
                      <a:pt x="187" y="349"/>
                    </a:cubicBezTo>
                    <a:cubicBezTo>
                      <a:pt x="186" y="350"/>
                      <a:pt x="186" y="350"/>
                      <a:pt x="186" y="350"/>
                    </a:cubicBezTo>
                    <a:cubicBezTo>
                      <a:pt x="185" y="348"/>
                      <a:pt x="185" y="348"/>
                      <a:pt x="185" y="348"/>
                    </a:cubicBezTo>
                    <a:close/>
                    <a:moveTo>
                      <a:pt x="179" y="353"/>
                    </a:moveTo>
                    <a:cubicBezTo>
                      <a:pt x="178" y="352"/>
                      <a:pt x="178" y="352"/>
                      <a:pt x="178" y="352"/>
                    </a:cubicBezTo>
                    <a:cubicBezTo>
                      <a:pt x="180" y="350"/>
                      <a:pt x="180" y="350"/>
                      <a:pt x="180" y="350"/>
                    </a:cubicBezTo>
                    <a:cubicBezTo>
                      <a:pt x="180" y="352"/>
                      <a:pt x="180" y="352"/>
                      <a:pt x="180" y="352"/>
                    </a:cubicBezTo>
                    <a:cubicBezTo>
                      <a:pt x="179" y="353"/>
                      <a:pt x="179" y="353"/>
                      <a:pt x="179" y="353"/>
                    </a:cubicBezTo>
                    <a:close/>
                    <a:moveTo>
                      <a:pt x="172" y="358"/>
                    </a:moveTo>
                    <a:cubicBezTo>
                      <a:pt x="174" y="360"/>
                      <a:pt x="174" y="360"/>
                      <a:pt x="174" y="360"/>
                    </a:cubicBezTo>
                    <a:cubicBezTo>
                      <a:pt x="172" y="360"/>
                      <a:pt x="172" y="360"/>
                      <a:pt x="172" y="360"/>
                    </a:cubicBezTo>
                    <a:cubicBezTo>
                      <a:pt x="171" y="359"/>
                      <a:pt x="171" y="359"/>
                      <a:pt x="171" y="359"/>
                    </a:cubicBezTo>
                    <a:cubicBezTo>
                      <a:pt x="172" y="358"/>
                      <a:pt x="172" y="358"/>
                      <a:pt x="172" y="358"/>
                    </a:cubicBezTo>
                    <a:close/>
                    <a:moveTo>
                      <a:pt x="1" y="392"/>
                    </a:moveTo>
                    <a:cubicBezTo>
                      <a:pt x="0" y="394"/>
                      <a:pt x="0" y="394"/>
                      <a:pt x="0" y="394"/>
                    </a:cubicBezTo>
                    <a:cubicBezTo>
                      <a:pt x="2" y="393"/>
                      <a:pt x="2" y="393"/>
                      <a:pt x="2" y="393"/>
                    </a:cubicBezTo>
                    <a:cubicBezTo>
                      <a:pt x="1" y="392"/>
                      <a:pt x="1" y="392"/>
                      <a:pt x="1" y="392"/>
                    </a:cubicBezTo>
                    <a:close/>
                    <a:moveTo>
                      <a:pt x="2" y="388"/>
                    </a:moveTo>
                    <a:cubicBezTo>
                      <a:pt x="1" y="388"/>
                      <a:pt x="1" y="388"/>
                      <a:pt x="1" y="388"/>
                    </a:cubicBezTo>
                    <a:cubicBezTo>
                      <a:pt x="2" y="390"/>
                      <a:pt x="2" y="390"/>
                      <a:pt x="2" y="390"/>
                    </a:cubicBezTo>
                    <a:cubicBezTo>
                      <a:pt x="4" y="388"/>
                      <a:pt x="4" y="388"/>
                      <a:pt x="4" y="388"/>
                    </a:cubicBezTo>
                    <a:cubicBezTo>
                      <a:pt x="2" y="388"/>
                      <a:pt x="2" y="388"/>
                      <a:pt x="2" y="388"/>
                    </a:cubicBezTo>
                    <a:close/>
                    <a:moveTo>
                      <a:pt x="5" y="383"/>
                    </a:moveTo>
                    <a:cubicBezTo>
                      <a:pt x="6" y="384"/>
                      <a:pt x="6" y="384"/>
                      <a:pt x="6" y="384"/>
                    </a:cubicBezTo>
                    <a:cubicBezTo>
                      <a:pt x="6" y="382"/>
                      <a:pt x="6" y="382"/>
                      <a:pt x="6" y="382"/>
                    </a:cubicBezTo>
                    <a:cubicBezTo>
                      <a:pt x="5" y="383"/>
                      <a:pt x="5" y="383"/>
                      <a:pt x="5" y="383"/>
                    </a:cubicBezTo>
                    <a:close/>
                    <a:moveTo>
                      <a:pt x="17" y="384"/>
                    </a:moveTo>
                    <a:cubicBezTo>
                      <a:pt x="15" y="382"/>
                      <a:pt x="15" y="382"/>
                      <a:pt x="15" y="382"/>
                    </a:cubicBezTo>
                    <a:cubicBezTo>
                      <a:pt x="13" y="382"/>
                      <a:pt x="13" y="382"/>
                      <a:pt x="13" y="382"/>
                    </a:cubicBezTo>
                    <a:cubicBezTo>
                      <a:pt x="12" y="383"/>
                      <a:pt x="12" y="383"/>
                      <a:pt x="12" y="383"/>
                    </a:cubicBezTo>
                    <a:cubicBezTo>
                      <a:pt x="12" y="384"/>
                      <a:pt x="12" y="384"/>
                      <a:pt x="12" y="384"/>
                    </a:cubicBezTo>
                    <a:cubicBezTo>
                      <a:pt x="14" y="385"/>
                      <a:pt x="14" y="385"/>
                      <a:pt x="14" y="385"/>
                    </a:cubicBezTo>
                    <a:cubicBezTo>
                      <a:pt x="13" y="385"/>
                      <a:pt x="13" y="385"/>
                      <a:pt x="13" y="385"/>
                    </a:cubicBezTo>
                    <a:cubicBezTo>
                      <a:pt x="13" y="387"/>
                      <a:pt x="13" y="387"/>
                      <a:pt x="13" y="387"/>
                    </a:cubicBezTo>
                    <a:cubicBezTo>
                      <a:pt x="14" y="387"/>
                      <a:pt x="14" y="387"/>
                      <a:pt x="14" y="387"/>
                    </a:cubicBezTo>
                    <a:cubicBezTo>
                      <a:pt x="16" y="385"/>
                      <a:pt x="16" y="385"/>
                      <a:pt x="16" y="385"/>
                    </a:cubicBezTo>
                    <a:cubicBezTo>
                      <a:pt x="17" y="384"/>
                      <a:pt x="17" y="384"/>
                      <a:pt x="17" y="384"/>
                    </a:cubicBezTo>
                    <a:close/>
                    <a:moveTo>
                      <a:pt x="18" y="388"/>
                    </a:moveTo>
                    <a:cubicBezTo>
                      <a:pt x="19" y="389"/>
                      <a:pt x="19" y="389"/>
                      <a:pt x="19" y="389"/>
                    </a:cubicBezTo>
                    <a:cubicBezTo>
                      <a:pt x="21" y="387"/>
                      <a:pt x="21" y="387"/>
                      <a:pt x="21" y="387"/>
                    </a:cubicBezTo>
                    <a:cubicBezTo>
                      <a:pt x="22" y="386"/>
                      <a:pt x="22" y="386"/>
                      <a:pt x="22" y="386"/>
                    </a:cubicBezTo>
                    <a:cubicBezTo>
                      <a:pt x="23" y="384"/>
                      <a:pt x="23" y="384"/>
                      <a:pt x="23" y="384"/>
                    </a:cubicBezTo>
                    <a:cubicBezTo>
                      <a:pt x="22" y="384"/>
                      <a:pt x="22" y="384"/>
                      <a:pt x="22" y="384"/>
                    </a:cubicBezTo>
                    <a:cubicBezTo>
                      <a:pt x="20" y="385"/>
                      <a:pt x="20" y="385"/>
                      <a:pt x="20" y="385"/>
                    </a:cubicBezTo>
                    <a:cubicBezTo>
                      <a:pt x="20" y="387"/>
                      <a:pt x="20" y="387"/>
                      <a:pt x="20" y="387"/>
                    </a:cubicBezTo>
                    <a:cubicBezTo>
                      <a:pt x="18" y="388"/>
                      <a:pt x="18" y="388"/>
                      <a:pt x="18" y="388"/>
                    </a:cubicBezTo>
                    <a:close/>
                    <a:moveTo>
                      <a:pt x="28" y="387"/>
                    </a:moveTo>
                    <a:cubicBezTo>
                      <a:pt x="27" y="384"/>
                      <a:pt x="27" y="384"/>
                      <a:pt x="27" y="384"/>
                    </a:cubicBezTo>
                    <a:cubicBezTo>
                      <a:pt x="26" y="384"/>
                      <a:pt x="26" y="384"/>
                      <a:pt x="26" y="384"/>
                    </a:cubicBezTo>
                    <a:cubicBezTo>
                      <a:pt x="26" y="386"/>
                      <a:pt x="26" y="386"/>
                      <a:pt x="26" y="386"/>
                    </a:cubicBezTo>
                    <a:cubicBezTo>
                      <a:pt x="25" y="387"/>
                      <a:pt x="25" y="387"/>
                      <a:pt x="25" y="387"/>
                    </a:cubicBezTo>
                    <a:cubicBezTo>
                      <a:pt x="24" y="389"/>
                      <a:pt x="24" y="389"/>
                      <a:pt x="24" y="389"/>
                    </a:cubicBezTo>
                    <a:cubicBezTo>
                      <a:pt x="26" y="389"/>
                      <a:pt x="26" y="389"/>
                      <a:pt x="26" y="389"/>
                    </a:cubicBezTo>
                    <a:cubicBezTo>
                      <a:pt x="28" y="387"/>
                      <a:pt x="28" y="387"/>
                      <a:pt x="28" y="387"/>
                    </a:cubicBezTo>
                    <a:close/>
                    <a:moveTo>
                      <a:pt x="51" y="386"/>
                    </a:moveTo>
                    <a:cubicBezTo>
                      <a:pt x="51" y="384"/>
                      <a:pt x="51" y="384"/>
                      <a:pt x="51" y="384"/>
                    </a:cubicBezTo>
                    <a:cubicBezTo>
                      <a:pt x="53" y="383"/>
                      <a:pt x="53" y="383"/>
                      <a:pt x="53" y="383"/>
                    </a:cubicBezTo>
                    <a:cubicBezTo>
                      <a:pt x="52" y="381"/>
                      <a:pt x="52" y="381"/>
                      <a:pt x="52" y="381"/>
                    </a:cubicBezTo>
                    <a:cubicBezTo>
                      <a:pt x="51" y="381"/>
                      <a:pt x="51" y="381"/>
                      <a:pt x="51" y="381"/>
                    </a:cubicBezTo>
                    <a:cubicBezTo>
                      <a:pt x="49" y="382"/>
                      <a:pt x="49" y="382"/>
                      <a:pt x="49" y="382"/>
                    </a:cubicBezTo>
                    <a:cubicBezTo>
                      <a:pt x="49" y="384"/>
                      <a:pt x="49" y="384"/>
                      <a:pt x="49" y="384"/>
                    </a:cubicBezTo>
                    <a:cubicBezTo>
                      <a:pt x="48" y="384"/>
                      <a:pt x="48" y="384"/>
                      <a:pt x="48" y="384"/>
                    </a:cubicBezTo>
                    <a:cubicBezTo>
                      <a:pt x="47" y="384"/>
                      <a:pt x="47" y="384"/>
                      <a:pt x="47" y="384"/>
                    </a:cubicBezTo>
                    <a:cubicBezTo>
                      <a:pt x="46" y="385"/>
                      <a:pt x="46" y="385"/>
                      <a:pt x="46" y="385"/>
                    </a:cubicBezTo>
                    <a:cubicBezTo>
                      <a:pt x="44" y="385"/>
                      <a:pt x="44" y="385"/>
                      <a:pt x="44" y="385"/>
                    </a:cubicBezTo>
                    <a:cubicBezTo>
                      <a:pt x="43" y="385"/>
                      <a:pt x="43" y="385"/>
                      <a:pt x="43" y="385"/>
                    </a:cubicBezTo>
                    <a:cubicBezTo>
                      <a:pt x="42" y="386"/>
                      <a:pt x="42" y="386"/>
                      <a:pt x="42" y="386"/>
                    </a:cubicBezTo>
                    <a:cubicBezTo>
                      <a:pt x="44" y="387"/>
                      <a:pt x="44" y="387"/>
                      <a:pt x="44" y="387"/>
                    </a:cubicBezTo>
                    <a:cubicBezTo>
                      <a:pt x="45" y="386"/>
                      <a:pt x="45" y="386"/>
                      <a:pt x="45" y="386"/>
                    </a:cubicBezTo>
                    <a:cubicBezTo>
                      <a:pt x="47" y="387"/>
                      <a:pt x="47" y="387"/>
                      <a:pt x="47" y="387"/>
                    </a:cubicBezTo>
                    <a:cubicBezTo>
                      <a:pt x="49" y="386"/>
                      <a:pt x="49" y="386"/>
                      <a:pt x="49" y="386"/>
                    </a:cubicBezTo>
                    <a:cubicBezTo>
                      <a:pt x="51" y="386"/>
                      <a:pt x="51" y="386"/>
                      <a:pt x="51" y="386"/>
                    </a:cubicBezTo>
                    <a:close/>
                    <a:moveTo>
                      <a:pt x="54" y="387"/>
                    </a:moveTo>
                    <a:cubicBezTo>
                      <a:pt x="59" y="388"/>
                      <a:pt x="59" y="388"/>
                      <a:pt x="59" y="388"/>
                    </a:cubicBezTo>
                    <a:cubicBezTo>
                      <a:pt x="60" y="387"/>
                      <a:pt x="60" y="387"/>
                      <a:pt x="60" y="387"/>
                    </a:cubicBezTo>
                    <a:cubicBezTo>
                      <a:pt x="62" y="389"/>
                      <a:pt x="62" y="389"/>
                      <a:pt x="62" y="389"/>
                    </a:cubicBezTo>
                    <a:cubicBezTo>
                      <a:pt x="60" y="389"/>
                      <a:pt x="60" y="389"/>
                      <a:pt x="60" y="389"/>
                    </a:cubicBezTo>
                    <a:cubicBezTo>
                      <a:pt x="55" y="388"/>
                      <a:pt x="55" y="388"/>
                      <a:pt x="55" y="388"/>
                    </a:cubicBezTo>
                    <a:cubicBezTo>
                      <a:pt x="54" y="388"/>
                      <a:pt x="54" y="388"/>
                      <a:pt x="54" y="388"/>
                    </a:cubicBezTo>
                    <a:cubicBezTo>
                      <a:pt x="53" y="387"/>
                      <a:pt x="53" y="387"/>
                      <a:pt x="53" y="387"/>
                    </a:cubicBezTo>
                    <a:cubicBezTo>
                      <a:pt x="53" y="387"/>
                      <a:pt x="54" y="387"/>
                      <a:pt x="54" y="387"/>
                    </a:cubicBezTo>
                    <a:close/>
                    <a:moveTo>
                      <a:pt x="71" y="384"/>
                    </a:moveTo>
                    <a:cubicBezTo>
                      <a:pt x="69" y="383"/>
                      <a:pt x="69" y="383"/>
                      <a:pt x="69" y="383"/>
                    </a:cubicBezTo>
                    <a:cubicBezTo>
                      <a:pt x="66" y="383"/>
                      <a:pt x="66" y="383"/>
                      <a:pt x="66" y="383"/>
                    </a:cubicBezTo>
                    <a:cubicBezTo>
                      <a:pt x="66" y="385"/>
                      <a:pt x="66" y="385"/>
                      <a:pt x="66" y="385"/>
                    </a:cubicBezTo>
                    <a:cubicBezTo>
                      <a:pt x="68" y="385"/>
                      <a:pt x="68" y="385"/>
                      <a:pt x="68" y="385"/>
                    </a:cubicBezTo>
                    <a:cubicBezTo>
                      <a:pt x="71" y="384"/>
                      <a:pt x="71" y="384"/>
                      <a:pt x="71" y="384"/>
                    </a:cubicBezTo>
                    <a:close/>
                    <a:moveTo>
                      <a:pt x="81" y="384"/>
                    </a:moveTo>
                    <a:cubicBezTo>
                      <a:pt x="80" y="381"/>
                      <a:pt x="80" y="381"/>
                      <a:pt x="80" y="381"/>
                    </a:cubicBezTo>
                    <a:cubicBezTo>
                      <a:pt x="80" y="383"/>
                      <a:pt x="80" y="383"/>
                      <a:pt x="80" y="383"/>
                    </a:cubicBezTo>
                    <a:cubicBezTo>
                      <a:pt x="81" y="384"/>
                      <a:pt x="81" y="384"/>
                      <a:pt x="81" y="384"/>
                    </a:cubicBezTo>
                    <a:close/>
                    <a:moveTo>
                      <a:pt x="88" y="380"/>
                    </a:moveTo>
                    <a:cubicBezTo>
                      <a:pt x="87" y="379"/>
                      <a:pt x="87" y="379"/>
                      <a:pt x="87" y="379"/>
                    </a:cubicBezTo>
                    <a:cubicBezTo>
                      <a:pt x="85" y="380"/>
                      <a:pt x="85" y="380"/>
                      <a:pt x="85" y="380"/>
                    </a:cubicBezTo>
                    <a:cubicBezTo>
                      <a:pt x="85" y="382"/>
                      <a:pt x="85" y="382"/>
                      <a:pt x="85" y="382"/>
                    </a:cubicBezTo>
                    <a:cubicBezTo>
                      <a:pt x="87" y="380"/>
                      <a:pt x="87" y="380"/>
                      <a:pt x="87" y="380"/>
                    </a:cubicBezTo>
                    <a:cubicBezTo>
                      <a:pt x="88" y="380"/>
                      <a:pt x="88" y="380"/>
                      <a:pt x="88" y="380"/>
                    </a:cubicBezTo>
                    <a:close/>
                    <a:moveTo>
                      <a:pt x="93" y="380"/>
                    </a:moveTo>
                    <a:cubicBezTo>
                      <a:pt x="92" y="379"/>
                      <a:pt x="92" y="379"/>
                      <a:pt x="92" y="379"/>
                    </a:cubicBezTo>
                    <a:cubicBezTo>
                      <a:pt x="91" y="380"/>
                      <a:pt x="91" y="380"/>
                      <a:pt x="91" y="380"/>
                    </a:cubicBezTo>
                    <a:cubicBezTo>
                      <a:pt x="92" y="381"/>
                      <a:pt x="92" y="381"/>
                      <a:pt x="92" y="381"/>
                    </a:cubicBezTo>
                    <a:cubicBezTo>
                      <a:pt x="93" y="380"/>
                      <a:pt x="93" y="380"/>
                      <a:pt x="93" y="380"/>
                    </a:cubicBezTo>
                    <a:close/>
                    <a:moveTo>
                      <a:pt x="94" y="377"/>
                    </a:moveTo>
                    <a:cubicBezTo>
                      <a:pt x="93" y="376"/>
                      <a:pt x="93" y="376"/>
                      <a:pt x="93" y="376"/>
                    </a:cubicBezTo>
                    <a:cubicBezTo>
                      <a:pt x="92" y="377"/>
                      <a:pt x="92" y="377"/>
                      <a:pt x="92" y="377"/>
                    </a:cubicBezTo>
                    <a:cubicBezTo>
                      <a:pt x="94" y="377"/>
                      <a:pt x="94" y="377"/>
                      <a:pt x="94" y="377"/>
                    </a:cubicBezTo>
                    <a:close/>
                    <a:moveTo>
                      <a:pt x="94" y="378"/>
                    </a:moveTo>
                    <a:cubicBezTo>
                      <a:pt x="96" y="379"/>
                      <a:pt x="96" y="379"/>
                      <a:pt x="96" y="379"/>
                    </a:cubicBezTo>
                    <a:cubicBezTo>
                      <a:pt x="97" y="378"/>
                      <a:pt x="97" y="378"/>
                      <a:pt x="97" y="378"/>
                    </a:cubicBezTo>
                    <a:cubicBezTo>
                      <a:pt x="96" y="377"/>
                      <a:pt x="96" y="377"/>
                      <a:pt x="96" y="377"/>
                    </a:cubicBezTo>
                    <a:cubicBezTo>
                      <a:pt x="94" y="378"/>
                      <a:pt x="94" y="378"/>
                      <a:pt x="94" y="378"/>
                    </a:cubicBezTo>
                    <a:close/>
                    <a:moveTo>
                      <a:pt x="117" y="368"/>
                    </a:moveTo>
                    <a:cubicBezTo>
                      <a:pt x="117" y="370"/>
                      <a:pt x="117" y="370"/>
                      <a:pt x="117" y="370"/>
                    </a:cubicBezTo>
                    <a:cubicBezTo>
                      <a:pt x="119" y="370"/>
                      <a:pt x="119" y="370"/>
                      <a:pt x="119" y="370"/>
                    </a:cubicBezTo>
                    <a:cubicBezTo>
                      <a:pt x="117" y="371"/>
                      <a:pt x="117" y="371"/>
                      <a:pt x="117" y="371"/>
                    </a:cubicBezTo>
                    <a:cubicBezTo>
                      <a:pt x="116" y="373"/>
                      <a:pt x="116" y="373"/>
                      <a:pt x="116" y="373"/>
                    </a:cubicBezTo>
                    <a:cubicBezTo>
                      <a:pt x="113" y="374"/>
                      <a:pt x="113" y="374"/>
                      <a:pt x="113" y="374"/>
                    </a:cubicBezTo>
                    <a:cubicBezTo>
                      <a:pt x="110" y="377"/>
                      <a:pt x="110" y="377"/>
                      <a:pt x="110" y="377"/>
                    </a:cubicBezTo>
                    <a:cubicBezTo>
                      <a:pt x="108" y="377"/>
                      <a:pt x="108" y="377"/>
                      <a:pt x="108" y="377"/>
                    </a:cubicBezTo>
                    <a:cubicBezTo>
                      <a:pt x="105" y="380"/>
                      <a:pt x="105" y="380"/>
                      <a:pt x="105" y="380"/>
                    </a:cubicBezTo>
                    <a:cubicBezTo>
                      <a:pt x="102" y="380"/>
                      <a:pt x="102" y="380"/>
                      <a:pt x="102" y="380"/>
                    </a:cubicBezTo>
                    <a:cubicBezTo>
                      <a:pt x="104" y="378"/>
                      <a:pt x="104" y="378"/>
                      <a:pt x="104" y="378"/>
                    </a:cubicBezTo>
                    <a:cubicBezTo>
                      <a:pt x="105" y="378"/>
                      <a:pt x="105" y="378"/>
                      <a:pt x="105" y="378"/>
                    </a:cubicBezTo>
                    <a:cubicBezTo>
                      <a:pt x="106" y="376"/>
                      <a:pt x="106" y="376"/>
                      <a:pt x="106" y="376"/>
                    </a:cubicBezTo>
                    <a:cubicBezTo>
                      <a:pt x="107" y="375"/>
                      <a:pt x="107" y="375"/>
                      <a:pt x="107" y="375"/>
                    </a:cubicBezTo>
                    <a:cubicBezTo>
                      <a:pt x="107" y="374"/>
                      <a:pt x="107" y="374"/>
                      <a:pt x="107" y="374"/>
                    </a:cubicBezTo>
                    <a:cubicBezTo>
                      <a:pt x="110" y="372"/>
                      <a:pt x="110" y="372"/>
                      <a:pt x="110" y="372"/>
                    </a:cubicBezTo>
                    <a:cubicBezTo>
                      <a:pt x="112" y="372"/>
                      <a:pt x="112" y="372"/>
                      <a:pt x="112" y="372"/>
                    </a:cubicBezTo>
                    <a:cubicBezTo>
                      <a:pt x="112" y="370"/>
                      <a:pt x="112" y="370"/>
                      <a:pt x="112" y="370"/>
                    </a:cubicBezTo>
                    <a:cubicBezTo>
                      <a:pt x="112" y="369"/>
                      <a:pt x="112" y="369"/>
                      <a:pt x="112" y="369"/>
                    </a:cubicBezTo>
                    <a:cubicBezTo>
                      <a:pt x="115" y="369"/>
                      <a:pt x="115" y="369"/>
                      <a:pt x="115" y="369"/>
                    </a:cubicBezTo>
                    <a:cubicBezTo>
                      <a:pt x="115" y="369"/>
                      <a:pt x="117" y="368"/>
                      <a:pt x="117" y="368"/>
                    </a:cubicBezTo>
                    <a:close/>
                    <a:moveTo>
                      <a:pt x="133" y="361"/>
                    </a:moveTo>
                    <a:cubicBezTo>
                      <a:pt x="131" y="361"/>
                      <a:pt x="131" y="361"/>
                      <a:pt x="131" y="361"/>
                    </a:cubicBezTo>
                    <a:cubicBezTo>
                      <a:pt x="129" y="363"/>
                      <a:pt x="129" y="363"/>
                      <a:pt x="129" y="363"/>
                    </a:cubicBezTo>
                    <a:cubicBezTo>
                      <a:pt x="129" y="364"/>
                      <a:pt x="129" y="364"/>
                      <a:pt x="129" y="364"/>
                    </a:cubicBezTo>
                    <a:cubicBezTo>
                      <a:pt x="131" y="366"/>
                      <a:pt x="131" y="366"/>
                      <a:pt x="131" y="366"/>
                    </a:cubicBezTo>
                    <a:cubicBezTo>
                      <a:pt x="130" y="367"/>
                      <a:pt x="130" y="367"/>
                      <a:pt x="130" y="367"/>
                    </a:cubicBezTo>
                    <a:cubicBezTo>
                      <a:pt x="128" y="366"/>
                      <a:pt x="128" y="366"/>
                      <a:pt x="128" y="366"/>
                    </a:cubicBezTo>
                    <a:cubicBezTo>
                      <a:pt x="127" y="367"/>
                      <a:pt x="127" y="367"/>
                      <a:pt x="127" y="367"/>
                    </a:cubicBezTo>
                    <a:cubicBezTo>
                      <a:pt x="127" y="368"/>
                      <a:pt x="127" y="368"/>
                      <a:pt x="127" y="368"/>
                    </a:cubicBezTo>
                    <a:cubicBezTo>
                      <a:pt x="126" y="369"/>
                      <a:pt x="126" y="369"/>
                      <a:pt x="126" y="369"/>
                    </a:cubicBezTo>
                    <a:cubicBezTo>
                      <a:pt x="124" y="371"/>
                      <a:pt x="124" y="371"/>
                      <a:pt x="124" y="371"/>
                    </a:cubicBezTo>
                    <a:cubicBezTo>
                      <a:pt x="123" y="371"/>
                      <a:pt x="123" y="371"/>
                      <a:pt x="123" y="371"/>
                    </a:cubicBezTo>
                    <a:cubicBezTo>
                      <a:pt x="121" y="372"/>
                      <a:pt x="121" y="372"/>
                      <a:pt x="121" y="372"/>
                    </a:cubicBezTo>
                    <a:cubicBezTo>
                      <a:pt x="119" y="372"/>
                      <a:pt x="119" y="372"/>
                      <a:pt x="119" y="372"/>
                    </a:cubicBezTo>
                    <a:cubicBezTo>
                      <a:pt x="118" y="373"/>
                      <a:pt x="118" y="373"/>
                      <a:pt x="118" y="373"/>
                    </a:cubicBezTo>
                    <a:cubicBezTo>
                      <a:pt x="119" y="374"/>
                      <a:pt x="119" y="374"/>
                      <a:pt x="119" y="374"/>
                    </a:cubicBezTo>
                    <a:cubicBezTo>
                      <a:pt x="122" y="374"/>
                      <a:pt x="122" y="374"/>
                      <a:pt x="122" y="374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7" y="371"/>
                      <a:pt x="127" y="371"/>
                      <a:pt x="127" y="371"/>
                    </a:cubicBezTo>
                    <a:cubicBezTo>
                      <a:pt x="127" y="372"/>
                      <a:pt x="127" y="372"/>
                      <a:pt x="127" y="372"/>
                    </a:cubicBezTo>
                    <a:cubicBezTo>
                      <a:pt x="128" y="373"/>
                      <a:pt x="128" y="373"/>
                      <a:pt x="128" y="373"/>
                    </a:cubicBezTo>
                    <a:cubicBezTo>
                      <a:pt x="129" y="371"/>
                      <a:pt x="129" y="371"/>
                      <a:pt x="129" y="371"/>
                    </a:cubicBezTo>
                    <a:cubicBezTo>
                      <a:pt x="129" y="369"/>
                      <a:pt x="129" y="369"/>
                      <a:pt x="129" y="369"/>
                    </a:cubicBezTo>
                    <a:cubicBezTo>
                      <a:pt x="130" y="370"/>
                      <a:pt x="130" y="370"/>
                      <a:pt x="130" y="370"/>
                    </a:cubicBezTo>
                    <a:cubicBezTo>
                      <a:pt x="131" y="371"/>
                      <a:pt x="131" y="371"/>
                      <a:pt x="131" y="371"/>
                    </a:cubicBezTo>
                    <a:cubicBezTo>
                      <a:pt x="132" y="371"/>
                      <a:pt x="132" y="371"/>
                      <a:pt x="132" y="371"/>
                    </a:cubicBezTo>
                    <a:cubicBezTo>
                      <a:pt x="133" y="369"/>
                      <a:pt x="133" y="369"/>
                      <a:pt x="133" y="369"/>
                    </a:cubicBezTo>
                    <a:cubicBezTo>
                      <a:pt x="136" y="367"/>
                      <a:pt x="136" y="367"/>
                      <a:pt x="136" y="367"/>
                    </a:cubicBezTo>
                    <a:cubicBezTo>
                      <a:pt x="136" y="367"/>
                      <a:pt x="136" y="367"/>
                      <a:pt x="136" y="367"/>
                    </a:cubicBezTo>
                    <a:cubicBezTo>
                      <a:pt x="134" y="366"/>
                      <a:pt x="134" y="366"/>
                      <a:pt x="134" y="366"/>
                    </a:cubicBezTo>
                    <a:cubicBezTo>
                      <a:pt x="136" y="365"/>
                      <a:pt x="136" y="365"/>
                      <a:pt x="136" y="365"/>
                    </a:cubicBezTo>
                    <a:cubicBezTo>
                      <a:pt x="136" y="363"/>
                      <a:pt x="136" y="363"/>
                      <a:pt x="136" y="363"/>
                    </a:cubicBezTo>
                    <a:cubicBezTo>
                      <a:pt x="134" y="362"/>
                      <a:pt x="134" y="362"/>
                      <a:pt x="134" y="362"/>
                    </a:cubicBezTo>
                    <a:cubicBezTo>
                      <a:pt x="133" y="361"/>
                      <a:pt x="133" y="361"/>
                      <a:pt x="133" y="361"/>
                    </a:cubicBezTo>
                    <a:close/>
                    <a:moveTo>
                      <a:pt x="139" y="364"/>
                    </a:moveTo>
                    <a:cubicBezTo>
                      <a:pt x="139" y="363"/>
                      <a:pt x="139" y="363"/>
                      <a:pt x="139" y="363"/>
                    </a:cubicBezTo>
                    <a:cubicBezTo>
                      <a:pt x="138" y="362"/>
                      <a:pt x="138" y="362"/>
                      <a:pt x="138" y="362"/>
                    </a:cubicBezTo>
                    <a:cubicBezTo>
                      <a:pt x="137" y="363"/>
                      <a:pt x="137" y="363"/>
                      <a:pt x="137" y="363"/>
                    </a:cubicBezTo>
                    <a:cubicBezTo>
                      <a:pt x="139" y="364"/>
                      <a:pt x="139" y="364"/>
                      <a:pt x="139" y="364"/>
                    </a:cubicBezTo>
                    <a:close/>
                    <a:moveTo>
                      <a:pt x="149" y="362"/>
                    </a:moveTo>
                    <a:cubicBezTo>
                      <a:pt x="149" y="361"/>
                      <a:pt x="149" y="361"/>
                      <a:pt x="149" y="361"/>
                    </a:cubicBezTo>
                    <a:cubicBezTo>
                      <a:pt x="150" y="361"/>
                      <a:pt x="150" y="361"/>
                      <a:pt x="150" y="361"/>
                    </a:cubicBezTo>
                    <a:cubicBezTo>
                      <a:pt x="151" y="362"/>
                      <a:pt x="151" y="362"/>
                      <a:pt x="151" y="362"/>
                    </a:cubicBezTo>
                    <a:cubicBezTo>
                      <a:pt x="149" y="363"/>
                      <a:pt x="149" y="363"/>
                      <a:pt x="149" y="363"/>
                    </a:cubicBezTo>
                    <a:cubicBezTo>
                      <a:pt x="149" y="362"/>
                      <a:pt x="149" y="362"/>
                      <a:pt x="149" y="362"/>
                    </a:cubicBezTo>
                    <a:close/>
                    <a:moveTo>
                      <a:pt x="146" y="363"/>
                    </a:moveTo>
                    <a:cubicBezTo>
                      <a:pt x="147" y="362"/>
                      <a:pt x="147" y="362"/>
                      <a:pt x="147" y="362"/>
                    </a:cubicBezTo>
                    <a:cubicBezTo>
                      <a:pt x="148" y="363"/>
                      <a:pt x="148" y="363"/>
                      <a:pt x="148" y="363"/>
                    </a:cubicBezTo>
                    <a:cubicBezTo>
                      <a:pt x="146" y="363"/>
                      <a:pt x="146" y="363"/>
                      <a:pt x="146" y="363"/>
                    </a:cubicBezTo>
                    <a:close/>
                    <a:moveTo>
                      <a:pt x="144" y="361"/>
                    </a:moveTo>
                    <a:cubicBezTo>
                      <a:pt x="145" y="359"/>
                      <a:pt x="145" y="359"/>
                      <a:pt x="145" y="359"/>
                    </a:cubicBezTo>
                    <a:cubicBezTo>
                      <a:pt x="145" y="358"/>
                      <a:pt x="145" y="358"/>
                      <a:pt x="145" y="358"/>
                    </a:cubicBezTo>
                    <a:cubicBezTo>
                      <a:pt x="146" y="358"/>
                      <a:pt x="146" y="358"/>
                      <a:pt x="146" y="358"/>
                    </a:cubicBezTo>
                    <a:cubicBezTo>
                      <a:pt x="146" y="360"/>
                      <a:pt x="146" y="360"/>
                      <a:pt x="146" y="360"/>
                    </a:cubicBezTo>
                    <a:cubicBezTo>
                      <a:pt x="144" y="361"/>
                      <a:pt x="144" y="361"/>
                      <a:pt x="144" y="361"/>
                    </a:cubicBezTo>
                    <a:close/>
                    <a:moveTo>
                      <a:pt x="141" y="359"/>
                    </a:moveTo>
                    <a:cubicBezTo>
                      <a:pt x="139" y="360"/>
                      <a:pt x="139" y="360"/>
                      <a:pt x="139" y="360"/>
                    </a:cubicBezTo>
                    <a:cubicBezTo>
                      <a:pt x="140" y="361"/>
                      <a:pt x="140" y="361"/>
                      <a:pt x="140" y="361"/>
                    </a:cubicBezTo>
                    <a:cubicBezTo>
                      <a:pt x="141" y="362"/>
                      <a:pt x="141" y="362"/>
                      <a:pt x="141" y="362"/>
                    </a:cubicBezTo>
                    <a:cubicBezTo>
                      <a:pt x="143" y="362"/>
                      <a:pt x="143" y="362"/>
                      <a:pt x="143" y="362"/>
                    </a:cubicBezTo>
                    <a:cubicBezTo>
                      <a:pt x="143" y="361"/>
                      <a:pt x="143" y="361"/>
                      <a:pt x="143" y="361"/>
                    </a:cubicBezTo>
                    <a:cubicBezTo>
                      <a:pt x="142" y="360"/>
                      <a:pt x="142" y="360"/>
                      <a:pt x="142" y="360"/>
                    </a:cubicBezTo>
                    <a:cubicBezTo>
                      <a:pt x="141" y="359"/>
                      <a:pt x="141" y="359"/>
                      <a:pt x="141" y="359"/>
                    </a:cubicBezTo>
                    <a:close/>
                    <a:moveTo>
                      <a:pt x="231" y="278"/>
                    </a:moveTo>
                    <a:cubicBezTo>
                      <a:pt x="230" y="278"/>
                      <a:pt x="230" y="278"/>
                      <a:pt x="230" y="278"/>
                    </a:cubicBezTo>
                    <a:cubicBezTo>
                      <a:pt x="232" y="277"/>
                      <a:pt x="232" y="277"/>
                      <a:pt x="232" y="277"/>
                    </a:cubicBezTo>
                    <a:cubicBezTo>
                      <a:pt x="231" y="278"/>
                      <a:pt x="231" y="278"/>
                      <a:pt x="231" y="278"/>
                    </a:cubicBezTo>
                    <a:cubicBezTo>
                      <a:pt x="231" y="278"/>
                      <a:pt x="231" y="278"/>
                      <a:pt x="231" y="278"/>
                    </a:cubicBezTo>
                    <a:close/>
                    <a:moveTo>
                      <a:pt x="227" y="279"/>
                    </a:move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7"/>
                      <a:pt x="226" y="277"/>
                      <a:pt x="226" y="277"/>
                    </a:cubicBezTo>
                    <a:cubicBezTo>
                      <a:pt x="228" y="276"/>
                      <a:pt x="228" y="276"/>
                      <a:pt x="228" y="276"/>
                    </a:cubicBezTo>
                    <a:cubicBezTo>
                      <a:pt x="230" y="275"/>
                      <a:pt x="230" y="275"/>
                      <a:pt x="230" y="275"/>
                    </a:cubicBezTo>
                    <a:cubicBezTo>
                      <a:pt x="230" y="276"/>
                      <a:pt x="230" y="276"/>
                      <a:pt x="230" y="276"/>
                    </a:cubicBezTo>
                    <a:cubicBezTo>
                      <a:pt x="228" y="278"/>
                      <a:pt x="228" y="278"/>
                      <a:pt x="228" y="278"/>
                    </a:cubicBezTo>
                    <a:cubicBezTo>
                      <a:pt x="227" y="279"/>
                      <a:pt x="227" y="279"/>
                      <a:pt x="227" y="279"/>
                    </a:cubicBezTo>
                    <a:close/>
                    <a:moveTo>
                      <a:pt x="153" y="354"/>
                    </a:moveTo>
                    <a:cubicBezTo>
                      <a:pt x="153" y="353"/>
                      <a:pt x="153" y="353"/>
                      <a:pt x="153" y="353"/>
                    </a:cubicBezTo>
                    <a:cubicBezTo>
                      <a:pt x="154" y="352"/>
                      <a:pt x="154" y="352"/>
                      <a:pt x="154" y="352"/>
                    </a:cubicBezTo>
                    <a:cubicBezTo>
                      <a:pt x="155" y="352"/>
                      <a:pt x="155" y="352"/>
                      <a:pt x="155" y="352"/>
                    </a:cubicBezTo>
                    <a:cubicBezTo>
                      <a:pt x="157" y="351"/>
                      <a:pt x="157" y="351"/>
                      <a:pt x="157" y="351"/>
                    </a:cubicBezTo>
                    <a:cubicBezTo>
                      <a:pt x="157" y="350"/>
                      <a:pt x="157" y="350"/>
                      <a:pt x="157" y="350"/>
                    </a:cubicBezTo>
                    <a:cubicBezTo>
                      <a:pt x="159" y="347"/>
                      <a:pt x="159" y="347"/>
                      <a:pt x="159" y="347"/>
                    </a:cubicBezTo>
                    <a:cubicBezTo>
                      <a:pt x="160" y="347"/>
                      <a:pt x="160" y="347"/>
                      <a:pt x="160" y="347"/>
                    </a:cubicBezTo>
                    <a:cubicBezTo>
                      <a:pt x="161" y="349"/>
                      <a:pt x="161" y="349"/>
                      <a:pt x="161" y="349"/>
                    </a:cubicBezTo>
                    <a:cubicBezTo>
                      <a:pt x="162" y="348"/>
                      <a:pt x="162" y="348"/>
                      <a:pt x="162" y="348"/>
                    </a:cubicBezTo>
                    <a:cubicBezTo>
                      <a:pt x="164" y="348"/>
                      <a:pt x="164" y="348"/>
                      <a:pt x="164" y="348"/>
                    </a:cubicBezTo>
                    <a:cubicBezTo>
                      <a:pt x="166" y="347"/>
                      <a:pt x="166" y="347"/>
                      <a:pt x="166" y="347"/>
                    </a:cubicBezTo>
                    <a:cubicBezTo>
                      <a:pt x="166" y="347"/>
                      <a:pt x="166" y="347"/>
                      <a:pt x="166" y="347"/>
                    </a:cubicBezTo>
                    <a:cubicBezTo>
                      <a:pt x="169" y="347"/>
                      <a:pt x="169" y="347"/>
                      <a:pt x="169" y="347"/>
                    </a:cubicBezTo>
                    <a:cubicBezTo>
                      <a:pt x="170" y="349"/>
                      <a:pt x="170" y="349"/>
                      <a:pt x="170" y="349"/>
                    </a:cubicBezTo>
                    <a:cubicBezTo>
                      <a:pt x="169" y="350"/>
                      <a:pt x="169" y="350"/>
                      <a:pt x="169" y="350"/>
                    </a:cubicBezTo>
                    <a:cubicBezTo>
                      <a:pt x="172" y="353"/>
                      <a:pt x="172" y="353"/>
                      <a:pt x="172" y="353"/>
                    </a:cubicBezTo>
                    <a:cubicBezTo>
                      <a:pt x="172" y="354"/>
                      <a:pt x="172" y="354"/>
                      <a:pt x="172" y="354"/>
                    </a:cubicBezTo>
                    <a:cubicBezTo>
                      <a:pt x="169" y="353"/>
                      <a:pt x="169" y="353"/>
                      <a:pt x="169" y="353"/>
                    </a:cubicBezTo>
                    <a:cubicBezTo>
                      <a:pt x="168" y="355"/>
                      <a:pt x="168" y="355"/>
                      <a:pt x="168" y="355"/>
                    </a:cubicBezTo>
                    <a:cubicBezTo>
                      <a:pt x="165" y="355"/>
                      <a:pt x="165" y="355"/>
                      <a:pt x="165" y="355"/>
                    </a:cubicBezTo>
                    <a:cubicBezTo>
                      <a:pt x="163" y="354"/>
                      <a:pt x="163" y="354"/>
                      <a:pt x="163" y="354"/>
                    </a:cubicBezTo>
                    <a:cubicBezTo>
                      <a:pt x="159" y="354"/>
                      <a:pt x="159" y="354"/>
                      <a:pt x="159" y="354"/>
                    </a:cubicBezTo>
                    <a:cubicBezTo>
                      <a:pt x="157" y="357"/>
                      <a:pt x="157" y="357"/>
                      <a:pt x="157" y="357"/>
                    </a:cubicBezTo>
                    <a:cubicBezTo>
                      <a:pt x="156" y="357"/>
                      <a:pt x="156" y="357"/>
                      <a:pt x="156" y="357"/>
                    </a:cubicBezTo>
                    <a:cubicBezTo>
                      <a:pt x="155" y="357"/>
                      <a:pt x="155" y="357"/>
                      <a:pt x="155" y="357"/>
                    </a:cubicBezTo>
                    <a:cubicBezTo>
                      <a:pt x="153" y="356"/>
                      <a:pt x="153" y="356"/>
                      <a:pt x="153" y="356"/>
                    </a:cubicBezTo>
                    <a:lnTo>
                      <a:pt x="153" y="35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3" name="Rectangle 317">
                <a:extLst>
                  <a:ext uri="{FF2B5EF4-FFF2-40B4-BE49-F238E27FC236}">
                    <a16:creationId xmlns:a16="http://schemas.microsoft.com/office/drawing/2014/main" xmlns="" id="{06AFBF68-A25E-431D-87FE-DBDB6F7299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2" y="1735"/>
                <a:ext cx="3" cy="4"/>
              </a:xfrm>
              <a:prstGeom prst="rect">
                <a:avLst/>
              </a:pr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4" name="Freeform 318">
                <a:extLst>
                  <a:ext uri="{FF2B5EF4-FFF2-40B4-BE49-F238E27FC236}">
                    <a16:creationId xmlns:a16="http://schemas.microsoft.com/office/drawing/2014/main" xmlns="" id="{64E95BE7-584E-4B33-8107-AB97B39D5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9" y="1750"/>
                <a:ext cx="36" cy="15"/>
              </a:xfrm>
              <a:custGeom>
                <a:avLst/>
                <a:gdLst>
                  <a:gd name="T0" fmla="*/ 5 w 36"/>
                  <a:gd name="T1" fmla="*/ 2 h 15"/>
                  <a:gd name="T2" fmla="*/ 8 w 36"/>
                  <a:gd name="T3" fmla="*/ 2 h 15"/>
                  <a:gd name="T4" fmla="*/ 13 w 36"/>
                  <a:gd name="T5" fmla="*/ 0 h 15"/>
                  <a:gd name="T6" fmla="*/ 26 w 36"/>
                  <a:gd name="T7" fmla="*/ 2 h 15"/>
                  <a:gd name="T8" fmla="*/ 30 w 36"/>
                  <a:gd name="T9" fmla="*/ 6 h 15"/>
                  <a:gd name="T10" fmla="*/ 33 w 36"/>
                  <a:gd name="T11" fmla="*/ 6 h 15"/>
                  <a:gd name="T12" fmla="*/ 36 w 36"/>
                  <a:gd name="T13" fmla="*/ 10 h 15"/>
                  <a:gd name="T14" fmla="*/ 34 w 36"/>
                  <a:gd name="T15" fmla="*/ 11 h 15"/>
                  <a:gd name="T16" fmla="*/ 30 w 36"/>
                  <a:gd name="T17" fmla="*/ 11 h 15"/>
                  <a:gd name="T18" fmla="*/ 28 w 36"/>
                  <a:gd name="T19" fmla="*/ 10 h 15"/>
                  <a:gd name="T20" fmla="*/ 26 w 36"/>
                  <a:gd name="T21" fmla="*/ 13 h 15"/>
                  <a:gd name="T22" fmla="*/ 25 w 36"/>
                  <a:gd name="T23" fmla="*/ 13 h 15"/>
                  <a:gd name="T24" fmla="*/ 23 w 36"/>
                  <a:gd name="T25" fmla="*/ 11 h 15"/>
                  <a:gd name="T26" fmla="*/ 21 w 36"/>
                  <a:gd name="T27" fmla="*/ 11 h 15"/>
                  <a:gd name="T28" fmla="*/ 21 w 36"/>
                  <a:gd name="T29" fmla="*/ 15 h 15"/>
                  <a:gd name="T30" fmla="*/ 16 w 36"/>
                  <a:gd name="T31" fmla="*/ 15 h 15"/>
                  <a:gd name="T32" fmla="*/ 15 w 36"/>
                  <a:gd name="T33" fmla="*/ 13 h 15"/>
                  <a:gd name="T34" fmla="*/ 10 w 36"/>
                  <a:gd name="T35" fmla="*/ 13 h 15"/>
                  <a:gd name="T36" fmla="*/ 8 w 36"/>
                  <a:gd name="T37" fmla="*/ 11 h 15"/>
                  <a:gd name="T38" fmla="*/ 7 w 36"/>
                  <a:gd name="T39" fmla="*/ 6 h 15"/>
                  <a:gd name="T40" fmla="*/ 5 w 36"/>
                  <a:gd name="T41" fmla="*/ 6 h 15"/>
                  <a:gd name="T42" fmla="*/ 3 w 36"/>
                  <a:gd name="T43" fmla="*/ 6 h 15"/>
                  <a:gd name="T44" fmla="*/ 0 w 36"/>
                  <a:gd name="T45" fmla="*/ 5 h 15"/>
                  <a:gd name="T46" fmla="*/ 2 w 36"/>
                  <a:gd name="T47" fmla="*/ 2 h 15"/>
                  <a:gd name="T48" fmla="*/ 5 w 36"/>
                  <a:gd name="T4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15">
                    <a:moveTo>
                      <a:pt x="5" y="2"/>
                    </a:moveTo>
                    <a:lnTo>
                      <a:pt x="8" y="2"/>
                    </a:lnTo>
                    <a:lnTo>
                      <a:pt x="13" y="0"/>
                    </a:lnTo>
                    <a:lnTo>
                      <a:pt x="26" y="2"/>
                    </a:lnTo>
                    <a:lnTo>
                      <a:pt x="30" y="6"/>
                    </a:lnTo>
                    <a:lnTo>
                      <a:pt x="33" y="6"/>
                    </a:lnTo>
                    <a:lnTo>
                      <a:pt x="36" y="10"/>
                    </a:lnTo>
                    <a:lnTo>
                      <a:pt x="34" y="11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6" y="13"/>
                    </a:lnTo>
                    <a:lnTo>
                      <a:pt x="25" y="13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1" y="15"/>
                    </a:lnTo>
                    <a:lnTo>
                      <a:pt x="16" y="15"/>
                    </a:lnTo>
                    <a:lnTo>
                      <a:pt x="15" y="13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7" y="6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5" name="Freeform 319">
                <a:extLst>
                  <a:ext uri="{FF2B5EF4-FFF2-40B4-BE49-F238E27FC236}">
                    <a16:creationId xmlns:a16="http://schemas.microsoft.com/office/drawing/2014/main" xmlns="" id="{1952DB45-BEE7-4923-9C2F-798DED8C15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1" y="1721"/>
                <a:ext cx="44" cy="39"/>
              </a:xfrm>
              <a:custGeom>
                <a:avLst/>
                <a:gdLst>
                  <a:gd name="T0" fmla="*/ 23 w 27"/>
                  <a:gd name="T1" fmla="*/ 21 h 24"/>
                  <a:gd name="T2" fmla="*/ 25 w 27"/>
                  <a:gd name="T3" fmla="*/ 18 h 24"/>
                  <a:gd name="T4" fmla="*/ 25 w 27"/>
                  <a:gd name="T5" fmla="*/ 14 h 24"/>
                  <a:gd name="T6" fmla="*/ 26 w 27"/>
                  <a:gd name="T7" fmla="*/ 12 h 24"/>
                  <a:gd name="T8" fmla="*/ 26 w 27"/>
                  <a:gd name="T9" fmla="*/ 9 h 24"/>
                  <a:gd name="T10" fmla="*/ 27 w 27"/>
                  <a:gd name="T11" fmla="*/ 6 h 24"/>
                  <a:gd name="T12" fmla="*/ 25 w 27"/>
                  <a:gd name="T13" fmla="*/ 5 h 24"/>
                  <a:gd name="T14" fmla="*/ 22 w 27"/>
                  <a:gd name="T15" fmla="*/ 4 h 24"/>
                  <a:gd name="T16" fmla="*/ 16 w 27"/>
                  <a:gd name="T17" fmla="*/ 4 h 24"/>
                  <a:gd name="T18" fmla="*/ 11 w 27"/>
                  <a:gd name="T19" fmla="*/ 4 h 24"/>
                  <a:gd name="T20" fmla="*/ 13 w 27"/>
                  <a:gd name="T21" fmla="*/ 6 h 24"/>
                  <a:gd name="T22" fmla="*/ 17 w 27"/>
                  <a:gd name="T23" fmla="*/ 9 h 24"/>
                  <a:gd name="T24" fmla="*/ 17 w 27"/>
                  <a:gd name="T25" fmla="*/ 13 h 24"/>
                  <a:gd name="T26" fmla="*/ 20 w 27"/>
                  <a:gd name="T27" fmla="*/ 15 h 24"/>
                  <a:gd name="T28" fmla="*/ 22 w 27"/>
                  <a:gd name="T29" fmla="*/ 18 h 24"/>
                  <a:gd name="T30" fmla="*/ 17 w 27"/>
                  <a:gd name="T31" fmla="*/ 19 h 24"/>
                  <a:gd name="T32" fmla="*/ 13 w 27"/>
                  <a:gd name="T33" fmla="*/ 18 h 24"/>
                  <a:gd name="T34" fmla="*/ 8 w 27"/>
                  <a:gd name="T35" fmla="*/ 18 h 24"/>
                  <a:gd name="T36" fmla="*/ 7 w 27"/>
                  <a:gd name="T37" fmla="*/ 17 h 24"/>
                  <a:gd name="T38" fmla="*/ 3 w 27"/>
                  <a:gd name="T39" fmla="*/ 16 h 24"/>
                  <a:gd name="T40" fmla="*/ 0 w 27"/>
                  <a:gd name="T41" fmla="*/ 19 h 24"/>
                  <a:gd name="T42" fmla="*/ 3 w 27"/>
                  <a:gd name="T43" fmla="*/ 20 h 24"/>
                  <a:gd name="T44" fmla="*/ 6 w 27"/>
                  <a:gd name="T45" fmla="*/ 24 h 24"/>
                  <a:gd name="T46" fmla="*/ 8 w 27"/>
                  <a:gd name="T47" fmla="*/ 21 h 24"/>
                  <a:gd name="T48" fmla="*/ 14 w 27"/>
                  <a:gd name="T49" fmla="*/ 22 h 24"/>
                  <a:gd name="T50" fmla="*/ 20 w 27"/>
                  <a:gd name="T51" fmla="*/ 22 h 24"/>
                  <a:gd name="T52" fmla="*/ 23 w 27"/>
                  <a:gd name="T53" fmla="*/ 22 h 24"/>
                  <a:gd name="T54" fmla="*/ 17 w 27"/>
                  <a:gd name="T55" fmla="*/ 0 h 24"/>
                  <a:gd name="T56" fmla="*/ 17 w 27"/>
                  <a:gd name="T57" fmla="*/ 3 h 24"/>
                  <a:gd name="T58" fmla="*/ 12 w 27"/>
                  <a:gd name="T59" fmla="*/ 14 h 24"/>
                  <a:gd name="T60" fmla="*/ 16 w 27"/>
                  <a:gd name="T61" fmla="*/ 14 h 24"/>
                  <a:gd name="T62" fmla="*/ 13 w 27"/>
                  <a:gd name="T63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" h="24">
                    <a:moveTo>
                      <a:pt x="23" y="22"/>
                    </a:moveTo>
                    <a:cubicBezTo>
                      <a:pt x="23" y="21"/>
                      <a:pt x="23" y="21"/>
                      <a:pt x="23" y="21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3" y="6"/>
                      <a:pt x="13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3" y="22"/>
                      <a:pt x="23" y="22"/>
                      <a:pt x="23" y="22"/>
                    </a:cubicBezTo>
                    <a:close/>
                    <a:moveTo>
                      <a:pt x="16" y="1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1"/>
                      <a:pt x="16" y="1"/>
                      <a:pt x="16" y="1"/>
                    </a:cubicBezTo>
                    <a:close/>
                    <a:moveTo>
                      <a:pt x="12" y="14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2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6" name="Freeform 320">
                <a:extLst>
                  <a:ext uri="{FF2B5EF4-FFF2-40B4-BE49-F238E27FC236}">
                    <a16:creationId xmlns:a16="http://schemas.microsoft.com/office/drawing/2014/main" xmlns="" id="{421AC157-A7D0-4EB3-8715-35720049B8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0" y="1667"/>
                <a:ext cx="168" cy="62"/>
              </a:xfrm>
              <a:custGeom>
                <a:avLst/>
                <a:gdLst>
                  <a:gd name="T0" fmla="*/ 34 w 168"/>
                  <a:gd name="T1" fmla="*/ 24 h 62"/>
                  <a:gd name="T2" fmla="*/ 32 w 168"/>
                  <a:gd name="T3" fmla="*/ 31 h 62"/>
                  <a:gd name="T4" fmla="*/ 31 w 168"/>
                  <a:gd name="T5" fmla="*/ 29 h 62"/>
                  <a:gd name="T6" fmla="*/ 32 w 168"/>
                  <a:gd name="T7" fmla="*/ 27 h 62"/>
                  <a:gd name="T8" fmla="*/ 8 w 168"/>
                  <a:gd name="T9" fmla="*/ 18 h 62"/>
                  <a:gd name="T10" fmla="*/ 6 w 168"/>
                  <a:gd name="T11" fmla="*/ 19 h 62"/>
                  <a:gd name="T12" fmla="*/ 0 w 168"/>
                  <a:gd name="T13" fmla="*/ 24 h 62"/>
                  <a:gd name="T14" fmla="*/ 6 w 168"/>
                  <a:gd name="T15" fmla="*/ 22 h 62"/>
                  <a:gd name="T16" fmla="*/ 13 w 168"/>
                  <a:gd name="T17" fmla="*/ 22 h 62"/>
                  <a:gd name="T18" fmla="*/ 22 w 168"/>
                  <a:gd name="T19" fmla="*/ 18 h 62"/>
                  <a:gd name="T20" fmla="*/ 32 w 168"/>
                  <a:gd name="T21" fmla="*/ 13 h 62"/>
                  <a:gd name="T22" fmla="*/ 40 w 168"/>
                  <a:gd name="T23" fmla="*/ 11 h 62"/>
                  <a:gd name="T24" fmla="*/ 52 w 168"/>
                  <a:gd name="T25" fmla="*/ 13 h 62"/>
                  <a:gd name="T26" fmla="*/ 45 w 168"/>
                  <a:gd name="T27" fmla="*/ 16 h 62"/>
                  <a:gd name="T28" fmla="*/ 58 w 168"/>
                  <a:gd name="T29" fmla="*/ 19 h 62"/>
                  <a:gd name="T30" fmla="*/ 68 w 168"/>
                  <a:gd name="T31" fmla="*/ 21 h 62"/>
                  <a:gd name="T32" fmla="*/ 73 w 168"/>
                  <a:gd name="T33" fmla="*/ 21 h 62"/>
                  <a:gd name="T34" fmla="*/ 83 w 168"/>
                  <a:gd name="T35" fmla="*/ 27 h 62"/>
                  <a:gd name="T36" fmla="*/ 91 w 168"/>
                  <a:gd name="T37" fmla="*/ 29 h 62"/>
                  <a:gd name="T38" fmla="*/ 99 w 168"/>
                  <a:gd name="T39" fmla="*/ 29 h 62"/>
                  <a:gd name="T40" fmla="*/ 109 w 168"/>
                  <a:gd name="T41" fmla="*/ 45 h 62"/>
                  <a:gd name="T42" fmla="*/ 120 w 168"/>
                  <a:gd name="T43" fmla="*/ 45 h 62"/>
                  <a:gd name="T44" fmla="*/ 122 w 168"/>
                  <a:gd name="T45" fmla="*/ 52 h 62"/>
                  <a:gd name="T46" fmla="*/ 114 w 168"/>
                  <a:gd name="T47" fmla="*/ 60 h 62"/>
                  <a:gd name="T48" fmla="*/ 125 w 168"/>
                  <a:gd name="T49" fmla="*/ 60 h 62"/>
                  <a:gd name="T50" fmla="*/ 143 w 168"/>
                  <a:gd name="T51" fmla="*/ 62 h 62"/>
                  <a:gd name="T52" fmla="*/ 153 w 168"/>
                  <a:gd name="T53" fmla="*/ 58 h 62"/>
                  <a:gd name="T54" fmla="*/ 166 w 168"/>
                  <a:gd name="T55" fmla="*/ 57 h 62"/>
                  <a:gd name="T56" fmla="*/ 163 w 168"/>
                  <a:gd name="T57" fmla="*/ 52 h 62"/>
                  <a:gd name="T58" fmla="*/ 147 w 168"/>
                  <a:gd name="T59" fmla="*/ 44 h 62"/>
                  <a:gd name="T60" fmla="*/ 147 w 168"/>
                  <a:gd name="T61" fmla="*/ 37 h 62"/>
                  <a:gd name="T62" fmla="*/ 138 w 168"/>
                  <a:gd name="T63" fmla="*/ 37 h 62"/>
                  <a:gd name="T64" fmla="*/ 129 w 168"/>
                  <a:gd name="T65" fmla="*/ 32 h 62"/>
                  <a:gd name="T66" fmla="*/ 122 w 168"/>
                  <a:gd name="T67" fmla="*/ 31 h 62"/>
                  <a:gd name="T68" fmla="*/ 119 w 168"/>
                  <a:gd name="T69" fmla="*/ 29 h 62"/>
                  <a:gd name="T70" fmla="*/ 107 w 168"/>
                  <a:gd name="T71" fmla="*/ 22 h 62"/>
                  <a:gd name="T72" fmla="*/ 91 w 168"/>
                  <a:gd name="T73" fmla="*/ 16 h 62"/>
                  <a:gd name="T74" fmla="*/ 83 w 168"/>
                  <a:gd name="T75" fmla="*/ 8 h 62"/>
                  <a:gd name="T76" fmla="*/ 66 w 168"/>
                  <a:gd name="T77" fmla="*/ 5 h 62"/>
                  <a:gd name="T78" fmla="*/ 55 w 168"/>
                  <a:gd name="T79" fmla="*/ 1 h 62"/>
                  <a:gd name="T80" fmla="*/ 39 w 168"/>
                  <a:gd name="T81" fmla="*/ 3 h 62"/>
                  <a:gd name="T82" fmla="*/ 21 w 168"/>
                  <a:gd name="T83" fmla="*/ 8 h 62"/>
                  <a:gd name="T84" fmla="*/ 9 w 168"/>
                  <a:gd name="T85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8" h="62">
                    <a:moveTo>
                      <a:pt x="31" y="26"/>
                    </a:moveTo>
                    <a:lnTo>
                      <a:pt x="32" y="22"/>
                    </a:lnTo>
                    <a:lnTo>
                      <a:pt x="34" y="24"/>
                    </a:lnTo>
                    <a:lnTo>
                      <a:pt x="37" y="27"/>
                    </a:lnTo>
                    <a:lnTo>
                      <a:pt x="37" y="31"/>
                    </a:lnTo>
                    <a:lnTo>
                      <a:pt x="32" y="31"/>
                    </a:lnTo>
                    <a:lnTo>
                      <a:pt x="29" y="31"/>
                    </a:lnTo>
                    <a:lnTo>
                      <a:pt x="29" y="27"/>
                    </a:lnTo>
                    <a:lnTo>
                      <a:pt x="31" y="29"/>
                    </a:lnTo>
                    <a:lnTo>
                      <a:pt x="32" y="29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6"/>
                    </a:lnTo>
                    <a:close/>
                    <a:moveTo>
                      <a:pt x="8" y="18"/>
                    </a:moveTo>
                    <a:lnTo>
                      <a:pt x="11" y="19"/>
                    </a:lnTo>
                    <a:lnTo>
                      <a:pt x="9" y="21"/>
                    </a:lnTo>
                    <a:lnTo>
                      <a:pt x="6" y="19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1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6" y="18"/>
                    </a:lnTo>
                    <a:lnTo>
                      <a:pt x="21" y="19"/>
                    </a:lnTo>
                    <a:lnTo>
                      <a:pt x="22" y="18"/>
                    </a:lnTo>
                    <a:lnTo>
                      <a:pt x="24" y="19"/>
                    </a:lnTo>
                    <a:lnTo>
                      <a:pt x="27" y="19"/>
                    </a:lnTo>
                    <a:lnTo>
                      <a:pt x="32" y="13"/>
                    </a:lnTo>
                    <a:lnTo>
                      <a:pt x="34" y="13"/>
                    </a:lnTo>
                    <a:lnTo>
                      <a:pt x="35" y="9"/>
                    </a:lnTo>
                    <a:lnTo>
                      <a:pt x="40" y="11"/>
                    </a:lnTo>
                    <a:lnTo>
                      <a:pt x="44" y="11"/>
                    </a:lnTo>
                    <a:lnTo>
                      <a:pt x="50" y="11"/>
                    </a:lnTo>
                    <a:lnTo>
                      <a:pt x="52" y="13"/>
                    </a:lnTo>
                    <a:lnTo>
                      <a:pt x="50" y="14"/>
                    </a:lnTo>
                    <a:lnTo>
                      <a:pt x="47" y="14"/>
                    </a:lnTo>
                    <a:lnTo>
                      <a:pt x="45" y="16"/>
                    </a:lnTo>
                    <a:lnTo>
                      <a:pt x="47" y="18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2" y="19"/>
                    </a:lnTo>
                    <a:lnTo>
                      <a:pt x="63" y="21"/>
                    </a:lnTo>
                    <a:lnTo>
                      <a:pt x="68" y="21"/>
                    </a:lnTo>
                    <a:lnTo>
                      <a:pt x="70" y="21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3" y="22"/>
                    </a:lnTo>
                    <a:lnTo>
                      <a:pt x="80" y="27"/>
                    </a:lnTo>
                    <a:lnTo>
                      <a:pt x="83" y="27"/>
                    </a:lnTo>
                    <a:lnTo>
                      <a:pt x="84" y="26"/>
                    </a:lnTo>
                    <a:lnTo>
                      <a:pt x="88" y="29"/>
                    </a:lnTo>
                    <a:lnTo>
                      <a:pt x="91" y="29"/>
                    </a:lnTo>
                    <a:lnTo>
                      <a:pt x="93" y="29"/>
                    </a:lnTo>
                    <a:lnTo>
                      <a:pt x="98" y="27"/>
                    </a:lnTo>
                    <a:lnTo>
                      <a:pt x="99" y="29"/>
                    </a:lnTo>
                    <a:lnTo>
                      <a:pt x="101" y="39"/>
                    </a:lnTo>
                    <a:lnTo>
                      <a:pt x="107" y="45"/>
                    </a:lnTo>
                    <a:lnTo>
                      <a:pt x="109" y="45"/>
                    </a:lnTo>
                    <a:lnTo>
                      <a:pt x="111" y="44"/>
                    </a:lnTo>
                    <a:lnTo>
                      <a:pt x="114" y="45"/>
                    </a:lnTo>
                    <a:lnTo>
                      <a:pt x="120" y="45"/>
                    </a:lnTo>
                    <a:lnTo>
                      <a:pt x="120" y="47"/>
                    </a:lnTo>
                    <a:lnTo>
                      <a:pt x="124" y="49"/>
                    </a:lnTo>
                    <a:lnTo>
                      <a:pt x="122" y="52"/>
                    </a:lnTo>
                    <a:lnTo>
                      <a:pt x="119" y="52"/>
                    </a:lnTo>
                    <a:lnTo>
                      <a:pt x="114" y="57"/>
                    </a:lnTo>
                    <a:lnTo>
                      <a:pt x="114" y="60"/>
                    </a:lnTo>
                    <a:lnTo>
                      <a:pt x="119" y="62"/>
                    </a:lnTo>
                    <a:lnTo>
                      <a:pt x="122" y="60"/>
                    </a:lnTo>
                    <a:lnTo>
                      <a:pt x="125" y="60"/>
                    </a:lnTo>
                    <a:lnTo>
                      <a:pt x="133" y="58"/>
                    </a:lnTo>
                    <a:lnTo>
                      <a:pt x="137" y="60"/>
                    </a:lnTo>
                    <a:lnTo>
                      <a:pt x="143" y="62"/>
                    </a:lnTo>
                    <a:lnTo>
                      <a:pt x="151" y="60"/>
                    </a:lnTo>
                    <a:lnTo>
                      <a:pt x="151" y="58"/>
                    </a:lnTo>
                    <a:lnTo>
                      <a:pt x="153" y="58"/>
                    </a:lnTo>
                    <a:lnTo>
                      <a:pt x="156" y="57"/>
                    </a:lnTo>
                    <a:lnTo>
                      <a:pt x="161" y="57"/>
                    </a:lnTo>
                    <a:lnTo>
                      <a:pt x="166" y="57"/>
                    </a:lnTo>
                    <a:lnTo>
                      <a:pt x="168" y="54"/>
                    </a:lnTo>
                    <a:lnTo>
                      <a:pt x="166" y="52"/>
                    </a:lnTo>
                    <a:lnTo>
                      <a:pt x="163" y="52"/>
                    </a:lnTo>
                    <a:lnTo>
                      <a:pt x="161" y="47"/>
                    </a:lnTo>
                    <a:lnTo>
                      <a:pt x="155" y="44"/>
                    </a:lnTo>
                    <a:lnTo>
                      <a:pt x="147" y="44"/>
                    </a:lnTo>
                    <a:lnTo>
                      <a:pt x="143" y="44"/>
                    </a:lnTo>
                    <a:lnTo>
                      <a:pt x="145" y="42"/>
                    </a:lnTo>
                    <a:lnTo>
                      <a:pt x="147" y="37"/>
                    </a:lnTo>
                    <a:lnTo>
                      <a:pt x="145" y="37"/>
                    </a:lnTo>
                    <a:lnTo>
                      <a:pt x="142" y="37"/>
                    </a:lnTo>
                    <a:lnTo>
                      <a:pt x="138" y="37"/>
                    </a:lnTo>
                    <a:lnTo>
                      <a:pt x="133" y="34"/>
                    </a:lnTo>
                    <a:lnTo>
                      <a:pt x="132" y="34"/>
                    </a:lnTo>
                    <a:lnTo>
                      <a:pt x="129" y="32"/>
                    </a:lnTo>
                    <a:lnTo>
                      <a:pt x="125" y="29"/>
                    </a:lnTo>
                    <a:lnTo>
                      <a:pt x="122" y="32"/>
                    </a:lnTo>
                    <a:lnTo>
                      <a:pt x="122" y="31"/>
                    </a:lnTo>
                    <a:lnTo>
                      <a:pt x="122" y="29"/>
                    </a:lnTo>
                    <a:lnTo>
                      <a:pt x="120" y="27"/>
                    </a:lnTo>
                    <a:lnTo>
                      <a:pt x="119" y="29"/>
                    </a:lnTo>
                    <a:lnTo>
                      <a:pt x="117" y="27"/>
                    </a:lnTo>
                    <a:lnTo>
                      <a:pt x="111" y="26"/>
                    </a:lnTo>
                    <a:lnTo>
                      <a:pt x="107" y="22"/>
                    </a:lnTo>
                    <a:lnTo>
                      <a:pt x="104" y="19"/>
                    </a:lnTo>
                    <a:lnTo>
                      <a:pt x="99" y="18"/>
                    </a:lnTo>
                    <a:lnTo>
                      <a:pt x="91" y="16"/>
                    </a:lnTo>
                    <a:lnTo>
                      <a:pt x="88" y="14"/>
                    </a:lnTo>
                    <a:lnTo>
                      <a:pt x="86" y="11"/>
                    </a:lnTo>
                    <a:lnTo>
                      <a:pt x="83" y="8"/>
                    </a:lnTo>
                    <a:lnTo>
                      <a:pt x="80" y="8"/>
                    </a:lnTo>
                    <a:lnTo>
                      <a:pt x="78" y="6"/>
                    </a:lnTo>
                    <a:lnTo>
                      <a:pt x="66" y="5"/>
                    </a:lnTo>
                    <a:lnTo>
                      <a:pt x="63" y="6"/>
                    </a:lnTo>
                    <a:lnTo>
                      <a:pt x="58" y="5"/>
                    </a:lnTo>
                    <a:lnTo>
                      <a:pt x="55" y="1"/>
                    </a:lnTo>
                    <a:lnTo>
                      <a:pt x="49" y="0"/>
                    </a:lnTo>
                    <a:lnTo>
                      <a:pt x="42" y="0"/>
                    </a:lnTo>
                    <a:lnTo>
                      <a:pt x="39" y="3"/>
                    </a:lnTo>
                    <a:lnTo>
                      <a:pt x="29" y="3"/>
                    </a:lnTo>
                    <a:lnTo>
                      <a:pt x="22" y="5"/>
                    </a:lnTo>
                    <a:lnTo>
                      <a:pt x="21" y="8"/>
                    </a:lnTo>
                    <a:lnTo>
                      <a:pt x="14" y="9"/>
                    </a:lnTo>
                    <a:lnTo>
                      <a:pt x="11" y="13"/>
                    </a:lnTo>
                    <a:lnTo>
                      <a:pt x="9" y="14"/>
                    </a:lnTo>
                    <a:lnTo>
                      <a:pt x="8" y="1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7" name="Freeform 321">
                <a:extLst>
                  <a:ext uri="{FF2B5EF4-FFF2-40B4-BE49-F238E27FC236}">
                    <a16:creationId xmlns:a16="http://schemas.microsoft.com/office/drawing/2014/main" xmlns="" id="{BEAF7CD2-7AB8-40AD-8CC6-3A29E39F93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2" y="1601"/>
                <a:ext cx="90" cy="108"/>
              </a:xfrm>
              <a:custGeom>
                <a:avLst/>
                <a:gdLst>
                  <a:gd name="T0" fmla="*/ 85 w 90"/>
                  <a:gd name="T1" fmla="*/ 95 h 108"/>
                  <a:gd name="T2" fmla="*/ 74 w 90"/>
                  <a:gd name="T3" fmla="*/ 108 h 108"/>
                  <a:gd name="T4" fmla="*/ 84 w 90"/>
                  <a:gd name="T5" fmla="*/ 100 h 108"/>
                  <a:gd name="T6" fmla="*/ 79 w 90"/>
                  <a:gd name="T7" fmla="*/ 102 h 108"/>
                  <a:gd name="T8" fmla="*/ 74 w 90"/>
                  <a:gd name="T9" fmla="*/ 108 h 108"/>
                  <a:gd name="T10" fmla="*/ 90 w 90"/>
                  <a:gd name="T11" fmla="*/ 84 h 108"/>
                  <a:gd name="T12" fmla="*/ 84 w 90"/>
                  <a:gd name="T13" fmla="*/ 84 h 108"/>
                  <a:gd name="T14" fmla="*/ 74 w 90"/>
                  <a:gd name="T15" fmla="*/ 74 h 108"/>
                  <a:gd name="T16" fmla="*/ 67 w 90"/>
                  <a:gd name="T17" fmla="*/ 82 h 108"/>
                  <a:gd name="T18" fmla="*/ 67 w 90"/>
                  <a:gd name="T19" fmla="*/ 84 h 108"/>
                  <a:gd name="T20" fmla="*/ 74 w 90"/>
                  <a:gd name="T21" fmla="*/ 74 h 108"/>
                  <a:gd name="T22" fmla="*/ 69 w 90"/>
                  <a:gd name="T23" fmla="*/ 74 h 108"/>
                  <a:gd name="T24" fmla="*/ 64 w 90"/>
                  <a:gd name="T25" fmla="*/ 74 h 108"/>
                  <a:gd name="T26" fmla="*/ 53 w 90"/>
                  <a:gd name="T27" fmla="*/ 59 h 108"/>
                  <a:gd name="T28" fmla="*/ 59 w 90"/>
                  <a:gd name="T29" fmla="*/ 72 h 108"/>
                  <a:gd name="T30" fmla="*/ 53 w 90"/>
                  <a:gd name="T31" fmla="*/ 66 h 108"/>
                  <a:gd name="T32" fmla="*/ 53 w 90"/>
                  <a:gd name="T33" fmla="*/ 59 h 108"/>
                  <a:gd name="T34" fmla="*/ 41 w 90"/>
                  <a:gd name="T35" fmla="*/ 59 h 108"/>
                  <a:gd name="T36" fmla="*/ 41 w 90"/>
                  <a:gd name="T37" fmla="*/ 57 h 108"/>
                  <a:gd name="T38" fmla="*/ 66 w 90"/>
                  <a:gd name="T39" fmla="*/ 56 h 108"/>
                  <a:gd name="T40" fmla="*/ 66 w 90"/>
                  <a:gd name="T41" fmla="*/ 51 h 108"/>
                  <a:gd name="T42" fmla="*/ 51 w 90"/>
                  <a:gd name="T43" fmla="*/ 46 h 108"/>
                  <a:gd name="T44" fmla="*/ 51 w 90"/>
                  <a:gd name="T45" fmla="*/ 54 h 108"/>
                  <a:gd name="T46" fmla="*/ 53 w 90"/>
                  <a:gd name="T47" fmla="*/ 48 h 108"/>
                  <a:gd name="T48" fmla="*/ 49 w 90"/>
                  <a:gd name="T49" fmla="*/ 41 h 108"/>
                  <a:gd name="T50" fmla="*/ 43 w 90"/>
                  <a:gd name="T51" fmla="*/ 35 h 108"/>
                  <a:gd name="T52" fmla="*/ 38 w 90"/>
                  <a:gd name="T53" fmla="*/ 38 h 108"/>
                  <a:gd name="T54" fmla="*/ 40 w 90"/>
                  <a:gd name="T55" fmla="*/ 31 h 108"/>
                  <a:gd name="T56" fmla="*/ 36 w 90"/>
                  <a:gd name="T57" fmla="*/ 28 h 108"/>
                  <a:gd name="T58" fmla="*/ 28 w 90"/>
                  <a:gd name="T59" fmla="*/ 4 h 108"/>
                  <a:gd name="T60" fmla="*/ 31 w 90"/>
                  <a:gd name="T61" fmla="*/ 12 h 108"/>
                  <a:gd name="T62" fmla="*/ 27 w 90"/>
                  <a:gd name="T63" fmla="*/ 20 h 108"/>
                  <a:gd name="T64" fmla="*/ 28 w 90"/>
                  <a:gd name="T65" fmla="*/ 8 h 108"/>
                  <a:gd name="T66" fmla="*/ 20 w 90"/>
                  <a:gd name="T67" fmla="*/ 0 h 108"/>
                  <a:gd name="T68" fmla="*/ 4 w 90"/>
                  <a:gd name="T69" fmla="*/ 4 h 108"/>
                  <a:gd name="T70" fmla="*/ 15 w 90"/>
                  <a:gd name="T71" fmla="*/ 2 h 108"/>
                  <a:gd name="T72" fmla="*/ 13 w 90"/>
                  <a:gd name="T73" fmla="*/ 4 h 108"/>
                  <a:gd name="T74" fmla="*/ 0 w 90"/>
                  <a:gd name="T75" fmla="*/ 4 h 108"/>
                  <a:gd name="T76" fmla="*/ 23 w 90"/>
                  <a:gd name="T77" fmla="*/ 31 h 108"/>
                  <a:gd name="T78" fmla="*/ 22 w 90"/>
                  <a:gd name="T79" fmla="*/ 35 h 108"/>
                  <a:gd name="T80" fmla="*/ 15 w 90"/>
                  <a:gd name="T81" fmla="*/ 49 h 108"/>
                  <a:gd name="T82" fmla="*/ 15 w 90"/>
                  <a:gd name="T83" fmla="*/ 49 h 108"/>
                  <a:gd name="T84" fmla="*/ 13 w 90"/>
                  <a:gd name="T85" fmla="*/ 49 h 108"/>
                  <a:gd name="T86" fmla="*/ 12 w 90"/>
                  <a:gd name="T87" fmla="*/ 49 h 108"/>
                  <a:gd name="T88" fmla="*/ 13 w 90"/>
                  <a:gd name="T89" fmla="*/ 38 h 108"/>
                  <a:gd name="T90" fmla="*/ 10 w 90"/>
                  <a:gd name="T91" fmla="*/ 38 h 108"/>
                  <a:gd name="T92" fmla="*/ 12 w 90"/>
                  <a:gd name="T93" fmla="*/ 43 h 108"/>
                  <a:gd name="T94" fmla="*/ 18 w 90"/>
                  <a:gd name="T95" fmla="*/ 49 h 108"/>
                  <a:gd name="T96" fmla="*/ 15 w 90"/>
                  <a:gd name="T97" fmla="*/ 59 h 108"/>
                  <a:gd name="T98" fmla="*/ 18 w 90"/>
                  <a:gd name="T99" fmla="*/ 5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0" h="108">
                    <a:moveTo>
                      <a:pt x="84" y="98"/>
                    </a:moveTo>
                    <a:lnTo>
                      <a:pt x="85" y="98"/>
                    </a:lnTo>
                    <a:lnTo>
                      <a:pt x="85" y="95"/>
                    </a:lnTo>
                    <a:lnTo>
                      <a:pt x="84" y="98"/>
                    </a:lnTo>
                    <a:lnTo>
                      <a:pt x="84" y="98"/>
                    </a:lnTo>
                    <a:close/>
                    <a:moveTo>
                      <a:pt x="74" y="108"/>
                    </a:moveTo>
                    <a:lnTo>
                      <a:pt x="82" y="108"/>
                    </a:lnTo>
                    <a:lnTo>
                      <a:pt x="84" y="105"/>
                    </a:lnTo>
                    <a:lnTo>
                      <a:pt x="84" y="100"/>
                    </a:lnTo>
                    <a:lnTo>
                      <a:pt x="84" y="102"/>
                    </a:lnTo>
                    <a:lnTo>
                      <a:pt x="82" y="103"/>
                    </a:lnTo>
                    <a:lnTo>
                      <a:pt x="79" y="102"/>
                    </a:lnTo>
                    <a:lnTo>
                      <a:pt x="74" y="103"/>
                    </a:lnTo>
                    <a:lnTo>
                      <a:pt x="74" y="108"/>
                    </a:lnTo>
                    <a:lnTo>
                      <a:pt x="74" y="108"/>
                    </a:lnTo>
                    <a:close/>
                    <a:moveTo>
                      <a:pt x="82" y="82"/>
                    </a:moveTo>
                    <a:lnTo>
                      <a:pt x="85" y="80"/>
                    </a:lnTo>
                    <a:lnTo>
                      <a:pt x="90" y="84"/>
                    </a:lnTo>
                    <a:lnTo>
                      <a:pt x="90" y="85"/>
                    </a:lnTo>
                    <a:lnTo>
                      <a:pt x="87" y="84"/>
                    </a:lnTo>
                    <a:lnTo>
                      <a:pt x="84" y="84"/>
                    </a:lnTo>
                    <a:lnTo>
                      <a:pt x="82" y="82"/>
                    </a:lnTo>
                    <a:lnTo>
                      <a:pt x="82" y="82"/>
                    </a:lnTo>
                    <a:close/>
                    <a:moveTo>
                      <a:pt x="74" y="74"/>
                    </a:moveTo>
                    <a:lnTo>
                      <a:pt x="71" y="75"/>
                    </a:lnTo>
                    <a:lnTo>
                      <a:pt x="71" y="77"/>
                    </a:lnTo>
                    <a:lnTo>
                      <a:pt x="67" y="82"/>
                    </a:lnTo>
                    <a:lnTo>
                      <a:pt x="66" y="82"/>
                    </a:lnTo>
                    <a:lnTo>
                      <a:pt x="66" y="84"/>
                    </a:lnTo>
                    <a:lnTo>
                      <a:pt x="67" y="84"/>
                    </a:lnTo>
                    <a:lnTo>
                      <a:pt x="74" y="79"/>
                    </a:lnTo>
                    <a:lnTo>
                      <a:pt x="74" y="75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66" y="71"/>
                    </a:moveTo>
                    <a:lnTo>
                      <a:pt x="69" y="74"/>
                    </a:lnTo>
                    <a:lnTo>
                      <a:pt x="69" y="75"/>
                    </a:lnTo>
                    <a:lnTo>
                      <a:pt x="67" y="75"/>
                    </a:lnTo>
                    <a:lnTo>
                      <a:pt x="64" y="74"/>
                    </a:lnTo>
                    <a:lnTo>
                      <a:pt x="66" y="71"/>
                    </a:lnTo>
                    <a:lnTo>
                      <a:pt x="66" y="71"/>
                    </a:lnTo>
                    <a:close/>
                    <a:moveTo>
                      <a:pt x="53" y="59"/>
                    </a:moveTo>
                    <a:lnTo>
                      <a:pt x="56" y="64"/>
                    </a:lnTo>
                    <a:lnTo>
                      <a:pt x="56" y="67"/>
                    </a:lnTo>
                    <a:lnTo>
                      <a:pt x="59" y="72"/>
                    </a:lnTo>
                    <a:lnTo>
                      <a:pt x="58" y="72"/>
                    </a:lnTo>
                    <a:lnTo>
                      <a:pt x="56" y="71"/>
                    </a:lnTo>
                    <a:lnTo>
                      <a:pt x="53" y="66"/>
                    </a:lnTo>
                    <a:lnTo>
                      <a:pt x="54" y="64"/>
                    </a:lnTo>
                    <a:lnTo>
                      <a:pt x="53" y="61"/>
                    </a:lnTo>
                    <a:lnTo>
                      <a:pt x="53" y="59"/>
                    </a:lnTo>
                    <a:lnTo>
                      <a:pt x="53" y="59"/>
                    </a:lnTo>
                    <a:close/>
                    <a:moveTo>
                      <a:pt x="41" y="57"/>
                    </a:moveTo>
                    <a:lnTo>
                      <a:pt x="41" y="59"/>
                    </a:lnTo>
                    <a:lnTo>
                      <a:pt x="43" y="59"/>
                    </a:lnTo>
                    <a:lnTo>
                      <a:pt x="41" y="57"/>
                    </a:lnTo>
                    <a:lnTo>
                      <a:pt x="41" y="57"/>
                    </a:lnTo>
                    <a:close/>
                    <a:moveTo>
                      <a:pt x="66" y="51"/>
                    </a:moveTo>
                    <a:lnTo>
                      <a:pt x="64" y="54"/>
                    </a:lnTo>
                    <a:lnTo>
                      <a:pt x="66" y="56"/>
                    </a:lnTo>
                    <a:lnTo>
                      <a:pt x="67" y="53"/>
                    </a:lnTo>
                    <a:lnTo>
                      <a:pt x="66" y="51"/>
                    </a:lnTo>
                    <a:lnTo>
                      <a:pt x="66" y="51"/>
                    </a:lnTo>
                    <a:close/>
                    <a:moveTo>
                      <a:pt x="49" y="41"/>
                    </a:moveTo>
                    <a:lnTo>
                      <a:pt x="48" y="43"/>
                    </a:lnTo>
                    <a:lnTo>
                      <a:pt x="51" y="46"/>
                    </a:lnTo>
                    <a:lnTo>
                      <a:pt x="51" y="51"/>
                    </a:lnTo>
                    <a:lnTo>
                      <a:pt x="49" y="53"/>
                    </a:lnTo>
                    <a:lnTo>
                      <a:pt x="51" y="54"/>
                    </a:lnTo>
                    <a:lnTo>
                      <a:pt x="54" y="54"/>
                    </a:lnTo>
                    <a:lnTo>
                      <a:pt x="54" y="53"/>
                    </a:lnTo>
                    <a:lnTo>
                      <a:pt x="53" y="48"/>
                    </a:lnTo>
                    <a:lnTo>
                      <a:pt x="51" y="44"/>
                    </a:lnTo>
                    <a:lnTo>
                      <a:pt x="49" y="41"/>
                    </a:lnTo>
                    <a:lnTo>
                      <a:pt x="49" y="41"/>
                    </a:lnTo>
                    <a:close/>
                    <a:moveTo>
                      <a:pt x="36" y="28"/>
                    </a:moveTo>
                    <a:lnTo>
                      <a:pt x="40" y="30"/>
                    </a:lnTo>
                    <a:lnTo>
                      <a:pt x="43" y="35"/>
                    </a:lnTo>
                    <a:lnTo>
                      <a:pt x="41" y="39"/>
                    </a:lnTo>
                    <a:lnTo>
                      <a:pt x="40" y="39"/>
                    </a:lnTo>
                    <a:lnTo>
                      <a:pt x="38" y="38"/>
                    </a:lnTo>
                    <a:lnTo>
                      <a:pt x="41" y="38"/>
                    </a:lnTo>
                    <a:lnTo>
                      <a:pt x="41" y="35"/>
                    </a:lnTo>
                    <a:lnTo>
                      <a:pt x="40" y="31"/>
                    </a:lnTo>
                    <a:lnTo>
                      <a:pt x="36" y="30"/>
                    </a:lnTo>
                    <a:lnTo>
                      <a:pt x="36" y="28"/>
                    </a:lnTo>
                    <a:lnTo>
                      <a:pt x="36" y="28"/>
                    </a:lnTo>
                    <a:close/>
                    <a:moveTo>
                      <a:pt x="20" y="0"/>
                    </a:moveTo>
                    <a:lnTo>
                      <a:pt x="23" y="0"/>
                    </a:lnTo>
                    <a:lnTo>
                      <a:pt x="28" y="4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1" y="12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7" y="20"/>
                    </a:lnTo>
                    <a:lnTo>
                      <a:pt x="27" y="15"/>
                    </a:lnTo>
                    <a:lnTo>
                      <a:pt x="27" y="12"/>
                    </a:lnTo>
                    <a:lnTo>
                      <a:pt x="28" y="8"/>
                    </a:lnTo>
                    <a:lnTo>
                      <a:pt x="25" y="5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  <a:moveTo>
                      <a:pt x="0" y="4"/>
                    </a:moveTo>
                    <a:lnTo>
                      <a:pt x="4" y="4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5" y="2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3" y="4"/>
                    </a:lnTo>
                    <a:lnTo>
                      <a:pt x="7" y="8"/>
                    </a:lnTo>
                    <a:lnTo>
                      <a:pt x="4" y="7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20" y="33"/>
                    </a:moveTo>
                    <a:lnTo>
                      <a:pt x="23" y="31"/>
                    </a:lnTo>
                    <a:lnTo>
                      <a:pt x="28" y="33"/>
                    </a:lnTo>
                    <a:lnTo>
                      <a:pt x="27" y="35"/>
                    </a:lnTo>
                    <a:lnTo>
                      <a:pt x="22" y="35"/>
                    </a:lnTo>
                    <a:lnTo>
                      <a:pt x="20" y="33"/>
                    </a:lnTo>
                    <a:lnTo>
                      <a:pt x="20" y="33"/>
                    </a:lnTo>
                    <a:close/>
                    <a:moveTo>
                      <a:pt x="15" y="49"/>
                    </a:moveTo>
                    <a:lnTo>
                      <a:pt x="15" y="48"/>
                    </a:lnTo>
                    <a:lnTo>
                      <a:pt x="17" y="46"/>
                    </a:lnTo>
                    <a:lnTo>
                      <a:pt x="15" y="49"/>
                    </a:lnTo>
                    <a:lnTo>
                      <a:pt x="15" y="49"/>
                    </a:lnTo>
                    <a:close/>
                    <a:moveTo>
                      <a:pt x="12" y="49"/>
                    </a:moveTo>
                    <a:lnTo>
                      <a:pt x="13" y="49"/>
                    </a:lnTo>
                    <a:lnTo>
                      <a:pt x="13" y="51"/>
                    </a:lnTo>
                    <a:lnTo>
                      <a:pt x="12" y="49"/>
                    </a:lnTo>
                    <a:lnTo>
                      <a:pt x="12" y="49"/>
                    </a:lnTo>
                    <a:close/>
                    <a:moveTo>
                      <a:pt x="13" y="46"/>
                    </a:moveTo>
                    <a:lnTo>
                      <a:pt x="17" y="43"/>
                    </a:lnTo>
                    <a:lnTo>
                      <a:pt x="13" y="38"/>
                    </a:lnTo>
                    <a:lnTo>
                      <a:pt x="13" y="35"/>
                    </a:lnTo>
                    <a:lnTo>
                      <a:pt x="12" y="33"/>
                    </a:lnTo>
                    <a:lnTo>
                      <a:pt x="10" y="38"/>
                    </a:lnTo>
                    <a:lnTo>
                      <a:pt x="7" y="41"/>
                    </a:lnTo>
                    <a:lnTo>
                      <a:pt x="10" y="44"/>
                    </a:lnTo>
                    <a:lnTo>
                      <a:pt x="12" y="43"/>
                    </a:lnTo>
                    <a:lnTo>
                      <a:pt x="13" y="46"/>
                    </a:lnTo>
                    <a:lnTo>
                      <a:pt x="13" y="46"/>
                    </a:lnTo>
                    <a:close/>
                    <a:moveTo>
                      <a:pt x="18" y="49"/>
                    </a:moveTo>
                    <a:lnTo>
                      <a:pt x="13" y="53"/>
                    </a:lnTo>
                    <a:lnTo>
                      <a:pt x="13" y="54"/>
                    </a:lnTo>
                    <a:lnTo>
                      <a:pt x="15" y="59"/>
                    </a:lnTo>
                    <a:lnTo>
                      <a:pt x="18" y="59"/>
                    </a:lnTo>
                    <a:lnTo>
                      <a:pt x="20" y="56"/>
                    </a:lnTo>
                    <a:lnTo>
                      <a:pt x="18" y="54"/>
                    </a:lnTo>
                    <a:lnTo>
                      <a:pt x="18" y="51"/>
                    </a:lnTo>
                    <a:lnTo>
                      <a:pt x="18" y="4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8" name="Freeform 322">
                <a:extLst>
                  <a:ext uri="{FF2B5EF4-FFF2-40B4-BE49-F238E27FC236}">
                    <a16:creationId xmlns:a16="http://schemas.microsoft.com/office/drawing/2014/main" xmlns="" id="{060DF860-E970-439F-AA05-94238F9987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3" y="1093"/>
                <a:ext cx="896" cy="539"/>
              </a:xfrm>
              <a:custGeom>
                <a:avLst/>
                <a:gdLst>
                  <a:gd name="T0" fmla="*/ 319 w 549"/>
                  <a:gd name="T1" fmla="*/ 32 h 330"/>
                  <a:gd name="T2" fmla="*/ 386 w 549"/>
                  <a:gd name="T3" fmla="*/ 63 h 330"/>
                  <a:gd name="T4" fmla="*/ 459 w 549"/>
                  <a:gd name="T5" fmla="*/ 100 h 330"/>
                  <a:gd name="T6" fmla="*/ 516 w 549"/>
                  <a:gd name="T7" fmla="*/ 82 h 330"/>
                  <a:gd name="T8" fmla="*/ 542 w 549"/>
                  <a:gd name="T9" fmla="*/ 68 h 330"/>
                  <a:gd name="T10" fmla="*/ 546 w 549"/>
                  <a:gd name="T11" fmla="*/ 98 h 330"/>
                  <a:gd name="T12" fmla="*/ 528 w 549"/>
                  <a:gd name="T13" fmla="*/ 103 h 330"/>
                  <a:gd name="T14" fmla="*/ 513 w 549"/>
                  <a:gd name="T15" fmla="*/ 112 h 330"/>
                  <a:gd name="T16" fmla="*/ 510 w 549"/>
                  <a:gd name="T17" fmla="*/ 131 h 330"/>
                  <a:gd name="T18" fmla="*/ 498 w 549"/>
                  <a:gd name="T19" fmla="*/ 140 h 330"/>
                  <a:gd name="T20" fmla="*/ 471 w 549"/>
                  <a:gd name="T21" fmla="*/ 152 h 330"/>
                  <a:gd name="T22" fmla="*/ 461 w 549"/>
                  <a:gd name="T23" fmla="*/ 169 h 330"/>
                  <a:gd name="T24" fmla="*/ 458 w 549"/>
                  <a:gd name="T25" fmla="*/ 173 h 330"/>
                  <a:gd name="T26" fmla="*/ 449 w 549"/>
                  <a:gd name="T27" fmla="*/ 185 h 330"/>
                  <a:gd name="T28" fmla="*/ 447 w 549"/>
                  <a:gd name="T29" fmla="*/ 166 h 330"/>
                  <a:gd name="T30" fmla="*/ 444 w 549"/>
                  <a:gd name="T31" fmla="*/ 180 h 330"/>
                  <a:gd name="T32" fmla="*/ 444 w 549"/>
                  <a:gd name="T33" fmla="*/ 186 h 330"/>
                  <a:gd name="T34" fmla="*/ 439 w 549"/>
                  <a:gd name="T35" fmla="*/ 192 h 330"/>
                  <a:gd name="T36" fmla="*/ 441 w 549"/>
                  <a:gd name="T37" fmla="*/ 205 h 330"/>
                  <a:gd name="T38" fmla="*/ 447 w 549"/>
                  <a:gd name="T39" fmla="*/ 211 h 330"/>
                  <a:gd name="T40" fmla="*/ 438 w 549"/>
                  <a:gd name="T41" fmla="*/ 218 h 330"/>
                  <a:gd name="T42" fmla="*/ 422 w 549"/>
                  <a:gd name="T43" fmla="*/ 232 h 330"/>
                  <a:gd name="T44" fmla="*/ 399 w 549"/>
                  <a:gd name="T45" fmla="*/ 246 h 330"/>
                  <a:gd name="T46" fmla="*/ 386 w 549"/>
                  <a:gd name="T47" fmla="*/ 273 h 330"/>
                  <a:gd name="T48" fmla="*/ 393 w 549"/>
                  <a:gd name="T49" fmla="*/ 316 h 330"/>
                  <a:gd name="T50" fmla="*/ 377 w 549"/>
                  <a:gd name="T51" fmla="*/ 322 h 330"/>
                  <a:gd name="T52" fmla="*/ 370 w 549"/>
                  <a:gd name="T53" fmla="*/ 308 h 330"/>
                  <a:gd name="T54" fmla="*/ 368 w 549"/>
                  <a:gd name="T55" fmla="*/ 285 h 330"/>
                  <a:gd name="T56" fmla="*/ 351 w 549"/>
                  <a:gd name="T57" fmla="*/ 278 h 330"/>
                  <a:gd name="T58" fmla="*/ 342 w 549"/>
                  <a:gd name="T59" fmla="*/ 272 h 330"/>
                  <a:gd name="T60" fmla="*/ 325 w 549"/>
                  <a:gd name="T61" fmla="*/ 271 h 330"/>
                  <a:gd name="T62" fmla="*/ 303 w 549"/>
                  <a:gd name="T63" fmla="*/ 277 h 330"/>
                  <a:gd name="T64" fmla="*/ 305 w 549"/>
                  <a:gd name="T65" fmla="*/ 285 h 330"/>
                  <a:gd name="T66" fmla="*/ 289 w 549"/>
                  <a:gd name="T67" fmla="*/ 283 h 330"/>
                  <a:gd name="T68" fmla="*/ 274 w 549"/>
                  <a:gd name="T69" fmla="*/ 278 h 330"/>
                  <a:gd name="T70" fmla="*/ 254 w 549"/>
                  <a:gd name="T71" fmla="*/ 279 h 330"/>
                  <a:gd name="T72" fmla="*/ 236 w 549"/>
                  <a:gd name="T73" fmla="*/ 291 h 330"/>
                  <a:gd name="T74" fmla="*/ 226 w 549"/>
                  <a:gd name="T75" fmla="*/ 319 h 330"/>
                  <a:gd name="T76" fmla="*/ 209 w 549"/>
                  <a:gd name="T77" fmla="*/ 304 h 330"/>
                  <a:gd name="T78" fmla="*/ 198 w 549"/>
                  <a:gd name="T79" fmla="*/ 278 h 330"/>
                  <a:gd name="T80" fmla="*/ 180 w 549"/>
                  <a:gd name="T81" fmla="*/ 279 h 330"/>
                  <a:gd name="T82" fmla="*/ 167 w 549"/>
                  <a:gd name="T83" fmla="*/ 278 h 330"/>
                  <a:gd name="T84" fmla="*/ 160 w 549"/>
                  <a:gd name="T85" fmla="*/ 266 h 330"/>
                  <a:gd name="T86" fmla="*/ 147 w 549"/>
                  <a:gd name="T87" fmla="*/ 249 h 330"/>
                  <a:gd name="T88" fmla="*/ 39 w 549"/>
                  <a:gd name="T89" fmla="*/ 218 h 330"/>
                  <a:gd name="T90" fmla="*/ 20 w 549"/>
                  <a:gd name="T91" fmla="*/ 203 h 330"/>
                  <a:gd name="T92" fmla="*/ 14 w 549"/>
                  <a:gd name="T93" fmla="*/ 177 h 330"/>
                  <a:gd name="T94" fmla="*/ 13 w 549"/>
                  <a:gd name="T95" fmla="*/ 164 h 330"/>
                  <a:gd name="T96" fmla="*/ 9 w 549"/>
                  <a:gd name="T97" fmla="*/ 164 h 330"/>
                  <a:gd name="T98" fmla="*/ 2 w 549"/>
                  <a:gd name="T99" fmla="*/ 129 h 330"/>
                  <a:gd name="T100" fmla="*/ 7 w 549"/>
                  <a:gd name="T101" fmla="*/ 95 h 330"/>
                  <a:gd name="T102" fmla="*/ 24 w 549"/>
                  <a:gd name="T103" fmla="*/ 47 h 330"/>
                  <a:gd name="T104" fmla="*/ 26 w 549"/>
                  <a:gd name="T105" fmla="*/ 40 h 330"/>
                  <a:gd name="T106" fmla="*/ 28 w 549"/>
                  <a:gd name="T107" fmla="*/ 18 h 330"/>
                  <a:gd name="T108" fmla="*/ 41 w 549"/>
                  <a:gd name="T109" fmla="*/ 20 h 330"/>
                  <a:gd name="T110" fmla="*/ 42 w 549"/>
                  <a:gd name="T111" fmla="*/ 29 h 330"/>
                  <a:gd name="T112" fmla="*/ 51 w 549"/>
                  <a:gd name="T113" fmla="*/ 6 h 330"/>
                  <a:gd name="T114" fmla="*/ 475 w 549"/>
                  <a:gd name="T115" fmla="*/ 148 h 330"/>
                  <a:gd name="T116" fmla="*/ 486 w 549"/>
                  <a:gd name="T117" fmla="*/ 144 h 330"/>
                  <a:gd name="T118" fmla="*/ 49 w 549"/>
                  <a:gd name="T119" fmla="*/ 10 h 330"/>
                  <a:gd name="T120" fmla="*/ 230 w 549"/>
                  <a:gd name="T121" fmla="*/ 305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9" h="330">
                    <a:moveTo>
                      <a:pt x="48" y="0"/>
                    </a:moveTo>
                    <a:cubicBezTo>
                      <a:pt x="300" y="25"/>
                      <a:pt x="300" y="25"/>
                      <a:pt x="300" y="25"/>
                    </a:cubicBezTo>
                    <a:cubicBezTo>
                      <a:pt x="302" y="26"/>
                      <a:pt x="302" y="26"/>
                      <a:pt x="302" y="26"/>
                    </a:cubicBezTo>
                    <a:cubicBezTo>
                      <a:pt x="304" y="25"/>
                      <a:pt x="304" y="25"/>
                      <a:pt x="304" y="25"/>
                    </a:cubicBezTo>
                    <a:cubicBezTo>
                      <a:pt x="306" y="27"/>
                      <a:pt x="306" y="27"/>
                      <a:pt x="306" y="27"/>
                    </a:cubicBezTo>
                    <a:cubicBezTo>
                      <a:pt x="306" y="28"/>
                      <a:pt x="306" y="28"/>
                      <a:pt x="306" y="28"/>
                    </a:cubicBezTo>
                    <a:cubicBezTo>
                      <a:pt x="307" y="29"/>
                      <a:pt x="307" y="29"/>
                      <a:pt x="307" y="29"/>
                    </a:cubicBezTo>
                    <a:cubicBezTo>
                      <a:pt x="308" y="30"/>
                      <a:pt x="308" y="30"/>
                      <a:pt x="308" y="30"/>
                    </a:cubicBezTo>
                    <a:cubicBezTo>
                      <a:pt x="310" y="30"/>
                      <a:pt x="310" y="30"/>
                      <a:pt x="310" y="30"/>
                    </a:cubicBezTo>
                    <a:cubicBezTo>
                      <a:pt x="310" y="31"/>
                      <a:pt x="310" y="31"/>
                      <a:pt x="310" y="31"/>
                    </a:cubicBezTo>
                    <a:cubicBezTo>
                      <a:pt x="312" y="31"/>
                      <a:pt x="312" y="31"/>
                      <a:pt x="312" y="31"/>
                    </a:cubicBezTo>
                    <a:cubicBezTo>
                      <a:pt x="313" y="33"/>
                      <a:pt x="313" y="33"/>
                      <a:pt x="313" y="33"/>
                    </a:cubicBezTo>
                    <a:cubicBezTo>
                      <a:pt x="314" y="33"/>
                      <a:pt x="314" y="33"/>
                      <a:pt x="314" y="33"/>
                    </a:cubicBezTo>
                    <a:cubicBezTo>
                      <a:pt x="316" y="32"/>
                      <a:pt x="316" y="32"/>
                      <a:pt x="316" y="32"/>
                    </a:cubicBezTo>
                    <a:cubicBezTo>
                      <a:pt x="317" y="33"/>
                      <a:pt x="317" y="33"/>
                      <a:pt x="317" y="33"/>
                    </a:cubicBezTo>
                    <a:cubicBezTo>
                      <a:pt x="319" y="32"/>
                      <a:pt x="319" y="32"/>
                      <a:pt x="319" y="32"/>
                    </a:cubicBezTo>
                    <a:cubicBezTo>
                      <a:pt x="321" y="34"/>
                      <a:pt x="321" y="34"/>
                      <a:pt x="321" y="34"/>
                    </a:cubicBezTo>
                    <a:cubicBezTo>
                      <a:pt x="322" y="34"/>
                      <a:pt x="322" y="34"/>
                      <a:pt x="322" y="34"/>
                    </a:cubicBezTo>
                    <a:cubicBezTo>
                      <a:pt x="323" y="36"/>
                      <a:pt x="323" y="36"/>
                      <a:pt x="323" y="36"/>
                    </a:cubicBezTo>
                    <a:cubicBezTo>
                      <a:pt x="327" y="38"/>
                      <a:pt x="327" y="38"/>
                      <a:pt x="327" y="38"/>
                    </a:cubicBezTo>
                    <a:cubicBezTo>
                      <a:pt x="329" y="38"/>
                      <a:pt x="329" y="38"/>
                      <a:pt x="329" y="38"/>
                    </a:cubicBezTo>
                    <a:cubicBezTo>
                      <a:pt x="330" y="40"/>
                      <a:pt x="330" y="40"/>
                      <a:pt x="330" y="40"/>
                    </a:cubicBezTo>
                    <a:cubicBezTo>
                      <a:pt x="332" y="40"/>
                      <a:pt x="332" y="40"/>
                      <a:pt x="332" y="40"/>
                    </a:cubicBezTo>
                    <a:cubicBezTo>
                      <a:pt x="335" y="40"/>
                      <a:pt x="335" y="40"/>
                      <a:pt x="335" y="40"/>
                    </a:cubicBezTo>
                    <a:cubicBezTo>
                      <a:pt x="336" y="39"/>
                      <a:pt x="336" y="39"/>
                      <a:pt x="336" y="39"/>
                    </a:cubicBezTo>
                    <a:cubicBezTo>
                      <a:pt x="337" y="40"/>
                      <a:pt x="337" y="40"/>
                      <a:pt x="337" y="40"/>
                    </a:cubicBezTo>
                    <a:cubicBezTo>
                      <a:pt x="338" y="42"/>
                      <a:pt x="338" y="42"/>
                      <a:pt x="338" y="42"/>
                    </a:cubicBezTo>
                    <a:cubicBezTo>
                      <a:pt x="343" y="42"/>
                      <a:pt x="343" y="42"/>
                      <a:pt x="343" y="42"/>
                    </a:cubicBezTo>
                    <a:cubicBezTo>
                      <a:pt x="344" y="43"/>
                      <a:pt x="344" y="43"/>
                      <a:pt x="344" y="43"/>
                    </a:cubicBezTo>
                    <a:cubicBezTo>
                      <a:pt x="346" y="43"/>
                      <a:pt x="346" y="43"/>
                      <a:pt x="346" y="43"/>
                    </a:cubicBezTo>
                    <a:cubicBezTo>
                      <a:pt x="347" y="45"/>
                      <a:pt x="347" y="45"/>
                      <a:pt x="347" y="45"/>
                    </a:cubicBezTo>
                    <a:cubicBezTo>
                      <a:pt x="386" y="63"/>
                      <a:pt x="386" y="63"/>
                      <a:pt x="386" y="63"/>
                    </a:cubicBezTo>
                    <a:cubicBezTo>
                      <a:pt x="389" y="66"/>
                      <a:pt x="389" y="66"/>
                      <a:pt x="389" y="66"/>
                    </a:cubicBezTo>
                    <a:cubicBezTo>
                      <a:pt x="394" y="71"/>
                      <a:pt x="394" y="71"/>
                      <a:pt x="394" y="71"/>
                    </a:cubicBezTo>
                    <a:cubicBezTo>
                      <a:pt x="401" y="101"/>
                      <a:pt x="401" y="101"/>
                      <a:pt x="401" y="101"/>
                    </a:cubicBezTo>
                    <a:cubicBezTo>
                      <a:pt x="400" y="115"/>
                      <a:pt x="400" y="115"/>
                      <a:pt x="400" y="115"/>
                    </a:cubicBezTo>
                    <a:cubicBezTo>
                      <a:pt x="399" y="117"/>
                      <a:pt x="399" y="117"/>
                      <a:pt x="399" y="117"/>
                    </a:cubicBezTo>
                    <a:cubicBezTo>
                      <a:pt x="398" y="119"/>
                      <a:pt x="398" y="119"/>
                      <a:pt x="398" y="119"/>
                    </a:cubicBezTo>
                    <a:cubicBezTo>
                      <a:pt x="396" y="121"/>
                      <a:pt x="396" y="121"/>
                      <a:pt x="396" y="121"/>
                    </a:cubicBezTo>
                    <a:cubicBezTo>
                      <a:pt x="393" y="123"/>
                      <a:pt x="393" y="123"/>
                      <a:pt x="393" y="123"/>
                    </a:cubicBezTo>
                    <a:cubicBezTo>
                      <a:pt x="391" y="126"/>
                      <a:pt x="391" y="126"/>
                      <a:pt x="391" y="126"/>
                    </a:cubicBezTo>
                    <a:cubicBezTo>
                      <a:pt x="392" y="129"/>
                      <a:pt x="392" y="129"/>
                      <a:pt x="392" y="129"/>
                    </a:cubicBezTo>
                    <a:cubicBezTo>
                      <a:pt x="426" y="119"/>
                      <a:pt x="426" y="119"/>
                      <a:pt x="426" y="119"/>
                    </a:cubicBezTo>
                    <a:cubicBezTo>
                      <a:pt x="430" y="118"/>
                      <a:pt x="430" y="118"/>
                      <a:pt x="430" y="118"/>
                    </a:cubicBezTo>
                    <a:cubicBezTo>
                      <a:pt x="431" y="113"/>
                      <a:pt x="431" y="113"/>
                      <a:pt x="431" y="113"/>
                    </a:cubicBezTo>
                    <a:cubicBezTo>
                      <a:pt x="449" y="108"/>
                      <a:pt x="449" y="108"/>
                      <a:pt x="449" y="108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9" y="100"/>
                      <a:pt x="459" y="100"/>
                      <a:pt x="459" y="100"/>
                    </a:cubicBezTo>
                    <a:cubicBezTo>
                      <a:pt x="462" y="100"/>
                      <a:pt x="462" y="100"/>
                      <a:pt x="462" y="100"/>
                    </a:cubicBezTo>
                    <a:cubicBezTo>
                      <a:pt x="466" y="96"/>
                      <a:pt x="466" y="96"/>
                      <a:pt x="466" y="96"/>
                    </a:cubicBezTo>
                    <a:cubicBezTo>
                      <a:pt x="468" y="94"/>
                      <a:pt x="468" y="94"/>
                      <a:pt x="468" y="94"/>
                    </a:cubicBezTo>
                    <a:cubicBezTo>
                      <a:pt x="470" y="93"/>
                      <a:pt x="470" y="93"/>
                      <a:pt x="470" y="93"/>
                    </a:cubicBezTo>
                    <a:cubicBezTo>
                      <a:pt x="472" y="91"/>
                      <a:pt x="472" y="91"/>
                      <a:pt x="472" y="91"/>
                    </a:cubicBezTo>
                    <a:cubicBezTo>
                      <a:pt x="475" y="91"/>
                      <a:pt x="475" y="91"/>
                      <a:pt x="475" y="91"/>
                    </a:cubicBezTo>
                    <a:cubicBezTo>
                      <a:pt x="503" y="91"/>
                      <a:pt x="503" y="91"/>
                      <a:pt x="503" y="91"/>
                    </a:cubicBezTo>
                    <a:cubicBezTo>
                      <a:pt x="506" y="89"/>
                      <a:pt x="506" y="89"/>
                      <a:pt x="506" y="89"/>
                    </a:cubicBezTo>
                    <a:cubicBezTo>
                      <a:pt x="506" y="89"/>
                      <a:pt x="506" y="89"/>
                      <a:pt x="506" y="89"/>
                    </a:cubicBezTo>
                    <a:cubicBezTo>
                      <a:pt x="507" y="88"/>
                      <a:pt x="507" y="88"/>
                      <a:pt x="507" y="88"/>
                    </a:cubicBezTo>
                    <a:cubicBezTo>
                      <a:pt x="509" y="88"/>
                      <a:pt x="509" y="88"/>
                      <a:pt x="509" y="88"/>
                    </a:cubicBezTo>
                    <a:cubicBezTo>
                      <a:pt x="510" y="89"/>
                      <a:pt x="510" y="89"/>
                      <a:pt x="510" y="89"/>
                    </a:cubicBezTo>
                    <a:cubicBezTo>
                      <a:pt x="511" y="88"/>
                      <a:pt x="511" y="88"/>
                      <a:pt x="511" y="88"/>
                    </a:cubicBezTo>
                    <a:cubicBezTo>
                      <a:pt x="512" y="86"/>
                      <a:pt x="512" y="86"/>
                      <a:pt x="512" y="86"/>
                    </a:cubicBezTo>
                    <a:cubicBezTo>
                      <a:pt x="515" y="83"/>
                      <a:pt x="515" y="83"/>
                      <a:pt x="515" y="83"/>
                    </a:cubicBezTo>
                    <a:cubicBezTo>
                      <a:pt x="516" y="82"/>
                      <a:pt x="516" y="82"/>
                      <a:pt x="516" y="82"/>
                    </a:cubicBezTo>
                    <a:cubicBezTo>
                      <a:pt x="519" y="79"/>
                      <a:pt x="519" y="79"/>
                      <a:pt x="519" y="79"/>
                    </a:cubicBezTo>
                    <a:cubicBezTo>
                      <a:pt x="520" y="77"/>
                      <a:pt x="520" y="77"/>
                      <a:pt x="520" y="77"/>
                    </a:cubicBezTo>
                    <a:cubicBezTo>
                      <a:pt x="520" y="75"/>
                      <a:pt x="520" y="75"/>
                      <a:pt x="520" y="75"/>
                    </a:cubicBezTo>
                    <a:cubicBezTo>
                      <a:pt x="522" y="74"/>
                      <a:pt x="522" y="74"/>
                      <a:pt x="522" y="74"/>
                    </a:cubicBezTo>
                    <a:cubicBezTo>
                      <a:pt x="522" y="72"/>
                      <a:pt x="522" y="72"/>
                      <a:pt x="522" y="72"/>
                    </a:cubicBezTo>
                    <a:cubicBezTo>
                      <a:pt x="524" y="70"/>
                      <a:pt x="524" y="70"/>
                      <a:pt x="524" y="70"/>
                    </a:cubicBezTo>
                    <a:cubicBezTo>
                      <a:pt x="527" y="66"/>
                      <a:pt x="527" y="66"/>
                      <a:pt x="527" y="66"/>
                    </a:cubicBezTo>
                    <a:cubicBezTo>
                      <a:pt x="528" y="64"/>
                      <a:pt x="528" y="64"/>
                      <a:pt x="528" y="64"/>
                    </a:cubicBezTo>
                    <a:cubicBezTo>
                      <a:pt x="530" y="63"/>
                      <a:pt x="530" y="63"/>
                      <a:pt x="530" y="63"/>
                    </a:cubicBezTo>
                    <a:cubicBezTo>
                      <a:pt x="530" y="62"/>
                      <a:pt x="530" y="62"/>
                      <a:pt x="530" y="62"/>
                    </a:cubicBezTo>
                    <a:cubicBezTo>
                      <a:pt x="531" y="63"/>
                      <a:pt x="531" y="63"/>
                      <a:pt x="531" y="63"/>
                    </a:cubicBezTo>
                    <a:cubicBezTo>
                      <a:pt x="533" y="64"/>
                      <a:pt x="533" y="64"/>
                      <a:pt x="533" y="64"/>
                    </a:cubicBezTo>
                    <a:cubicBezTo>
                      <a:pt x="535" y="64"/>
                      <a:pt x="535" y="64"/>
                      <a:pt x="535" y="64"/>
                    </a:cubicBezTo>
                    <a:cubicBezTo>
                      <a:pt x="538" y="65"/>
                      <a:pt x="538" y="65"/>
                      <a:pt x="538" y="65"/>
                    </a:cubicBezTo>
                    <a:cubicBezTo>
                      <a:pt x="538" y="64"/>
                      <a:pt x="538" y="64"/>
                      <a:pt x="538" y="64"/>
                    </a:cubicBezTo>
                    <a:cubicBezTo>
                      <a:pt x="542" y="68"/>
                      <a:pt x="542" y="68"/>
                      <a:pt x="542" y="68"/>
                    </a:cubicBezTo>
                    <a:cubicBezTo>
                      <a:pt x="542" y="71"/>
                      <a:pt x="542" y="71"/>
                      <a:pt x="542" y="71"/>
                    </a:cubicBezTo>
                    <a:cubicBezTo>
                      <a:pt x="540" y="83"/>
                      <a:pt x="540" y="83"/>
                      <a:pt x="540" y="83"/>
                    </a:cubicBezTo>
                    <a:cubicBezTo>
                      <a:pt x="540" y="85"/>
                      <a:pt x="540" y="85"/>
                      <a:pt x="540" y="85"/>
                    </a:cubicBezTo>
                    <a:cubicBezTo>
                      <a:pt x="541" y="85"/>
                      <a:pt x="541" y="85"/>
                      <a:pt x="541" y="85"/>
                    </a:cubicBezTo>
                    <a:cubicBezTo>
                      <a:pt x="541" y="86"/>
                      <a:pt x="541" y="86"/>
                      <a:pt x="541" y="86"/>
                    </a:cubicBezTo>
                    <a:cubicBezTo>
                      <a:pt x="542" y="87"/>
                      <a:pt x="542" y="87"/>
                      <a:pt x="542" y="87"/>
                    </a:cubicBezTo>
                    <a:cubicBezTo>
                      <a:pt x="542" y="89"/>
                      <a:pt x="542" y="89"/>
                      <a:pt x="542" y="89"/>
                    </a:cubicBezTo>
                    <a:cubicBezTo>
                      <a:pt x="542" y="90"/>
                      <a:pt x="542" y="90"/>
                      <a:pt x="542" y="90"/>
                    </a:cubicBezTo>
                    <a:cubicBezTo>
                      <a:pt x="542" y="91"/>
                      <a:pt x="542" y="91"/>
                      <a:pt x="542" y="91"/>
                    </a:cubicBezTo>
                    <a:cubicBezTo>
                      <a:pt x="541" y="92"/>
                      <a:pt x="541" y="92"/>
                      <a:pt x="541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2" y="92"/>
                      <a:pt x="542" y="92"/>
                      <a:pt x="542" y="92"/>
                    </a:cubicBezTo>
                    <a:cubicBezTo>
                      <a:pt x="546" y="94"/>
                      <a:pt x="546" y="94"/>
                      <a:pt x="546" y="94"/>
                    </a:cubicBezTo>
                    <a:cubicBezTo>
                      <a:pt x="545" y="97"/>
                      <a:pt x="545" y="97"/>
                      <a:pt x="545" y="97"/>
                    </a:cubicBezTo>
                    <a:cubicBezTo>
                      <a:pt x="546" y="98"/>
                      <a:pt x="546" y="98"/>
                      <a:pt x="546" y="98"/>
                    </a:cubicBezTo>
                    <a:cubicBezTo>
                      <a:pt x="547" y="97"/>
                      <a:pt x="547" y="97"/>
                      <a:pt x="547" y="97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8" y="99"/>
                      <a:pt x="548" y="99"/>
                      <a:pt x="548" y="99"/>
                    </a:cubicBezTo>
                    <a:cubicBezTo>
                      <a:pt x="546" y="100"/>
                      <a:pt x="546" y="100"/>
                      <a:pt x="546" y="100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3" y="100"/>
                      <a:pt x="543" y="100"/>
                      <a:pt x="543" y="100"/>
                    </a:cubicBezTo>
                    <a:cubicBezTo>
                      <a:pt x="541" y="100"/>
                      <a:pt x="541" y="100"/>
                      <a:pt x="541" y="100"/>
                    </a:cubicBezTo>
                    <a:cubicBezTo>
                      <a:pt x="540" y="101"/>
                      <a:pt x="540" y="101"/>
                      <a:pt x="540" y="101"/>
                    </a:cubicBezTo>
                    <a:cubicBezTo>
                      <a:pt x="539" y="102"/>
                      <a:pt x="539" y="102"/>
                      <a:pt x="539" y="102"/>
                    </a:cubicBezTo>
                    <a:cubicBezTo>
                      <a:pt x="537" y="101"/>
                      <a:pt x="537" y="101"/>
                      <a:pt x="537" y="101"/>
                    </a:cubicBezTo>
                    <a:cubicBezTo>
                      <a:pt x="536" y="103"/>
                      <a:pt x="536" y="103"/>
                      <a:pt x="536" y="103"/>
                    </a:cubicBezTo>
                    <a:cubicBezTo>
                      <a:pt x="534" y="103"/>
                      <a:pt x="534" y="103"/>
                      <a:pt x="534" y="103"/>
                    </a:cubicBezTo>
                    <a:cubicBezTo>
                      <a:pt x="534" y="101"/>
                      <a:pt x="534" y="101"/>
                      <a:pt x="534" y="101"/>
                    </a:cubicBezTo>
                    <a:cubicBezTo>
                      <a:pt x="532" y="101"/>
                      <a:pt x="532" y="101"/>
                      <a:pt x="532" y="101"/>
                    </a:cubicBezTo>
                    <a:cubicBezTo>
                      <a:pt x="530" y="103"/>
                      <a:pt x="530" y="103"/>
                      <a:pt x="530" y="103"/>
                    </a:cubicBezTo>
                    <a:cubicBezTo>
                      <a:pt x="528" y="103"/>
                      <a:pt x="528" y="103"/>
                      <a:pt x="528" y="103"/>
                    </a:cubicBezTo>
                    <a:cubicBezTo>
                      <a:pt x="528" y="101"/>
                      <a:pt x="528" y="101"/>
                      <a:pt x="528" y="101"/>
                    </a:cubicBezTo>
                    <a:cubicBezTo>
                      <a:pt x="528" y="100"/>
                      <a:pt x="528" y="100"/>
                      <a:pt x="528" y="100"/>
                    </a:cubicBezTo>
                    <a:cubicBezTo>
                      <a:pt x="526" y="103"/>
                      <a:pt x="526" y="103"/>
                      <a:pt x="526" y="103"/>
                    </a:cubicBezTo>
                    <a:cubicBezTo>
                      <a:pt x="524" y="106"/>
                      <a:pt x="524" y="106"/>
                      <a:pt x="524" y="106"/>
                    </a:cubicBezTo>
                    <a:cubicBezTo>
                      <a:pt x="523" y="107"/>
                      <a:pt x="523" y="107"/>
                      <a:pt x="523" y="107"/>
                    </a:cubicBezTo>
                    <a:cubicBezTo>
                      <a:pt x="522" y="106"/>
                      <a:pt x="522" y="106"/>
                      <a:pt x="522" y="106"/>
                    </a:cubicBezTo>
                    <a:cubicBezTo>
                      <a:pt x="521" y="108"/>
                      <a:pt x="521" y="108"/>
                      <a:pt x="521" y="108"/>
                    </a:cubicBezTo>
                    <a:cubicBezTo>
                      <a:pt x="520" y="108"/>
                      <a:pt x="520" y="108"/>
                      <a:pt x="520" y="108"/>
                    </a:cubicBezTo>
                    <a:cubicBezTo>
                      <a:pt x="520" y="106"/>
                      <a:pt x="520" y="106"/>
                      <a:pt x="520" y="106"/>
                    </a:cubicBezTo>
                    <a:cubicBezTo>
                      <a:pt x="519" y="108"/>
                      <a:pt x="519" y="108"/>
                      <a:pt x="519" y="108"/>
                    </a:cubicBezTo>
                    <a:cubicBezTo>
                      <a:pt x="518" y="109"/>
                      <a:pt x="518" y="109"/>
                      <a:pt x="518" y="109"/>
                    </a:cubicBezTo>
                    <a:cubicBezTo>
                      <a:pt x="516" y="109"/>
                      <a:pt x="516" y="109"/>
                      <a:pt x="516" y="109"/>
                    </a:cubicBezTo>
                    <a:cubicBezTo>
                      <a:pt x="516" y="107"/>
                      <a:pt x="516" y="107"/>
                      <a:pt x="516" y="107"/>
                    </a:cubicBezTo>
                    <a:cubicBezTo>
                      <a:pt x="515" y="109"/>
                      <a:pt x="515" y="109"/>
                      <a:pt x="515" y="109"/>
                    </a:cubicBezTo>
                    <a:cubicBezTo>
                      <a:pt x="514" y="109"/>
                      <a:pt x="514" y="109"/>
                      <a:pt x="514" y="109"/>
                    </a:cubicBezTo>
                    <a:cubicBezTo>
                      <a:pt x="513" y="112"/>
                      <a:pt x="513" y="112"/>
                      <a:pt x="513" y="112"/>
                    </a:cubicBezTo>
                    <a:cubicBezTo>
                      <a:pt x="509" y="115"/>
                      <a:pt x="509" y="115"/>
                      <a:pt x="509" y="115"/>
                    </a:cubicBezTo>
                    <a:cubicBezTo>
                      <a:pt x="508" y="118"/>
                      <a:pt x="508" y="118"/>
                      <a:pt x="508" y="118"/>
                    </a:cubicBezTo>
                    <a:cubicBezTo>
                      <a:pt x="507" y="120"/>
                      <a:pt x="507" y="120"/>
                      <a:pt x="507" y="120"/>
                    </a:cubicBezTo>
                    <a:cubicBezTo>
                      <a:pt x="506" y="121"/>
                      <a:pt x="506" y="121"/>
                      <a:pt x="506" y="121"/>
                    </a:cubicBezTo>
                    <a:cubicBezTo>
                      <a:pt x="505" y="122"/>
                      <a:pt x="505" y="122"/>
                      <a:pt x="505" y="122"/>
                    </a:cubicBezTo>
                    <a:cubicBezTo>
                      <a:pt x="505" y="123"/>
                      <a:pt x="505" y="123"/>
                      <a:pt x="505" y="123"/>
                    </a:cubicBezTo>
                    <a:cubicBezTo>
                      <a:pt x="507" y="123"/>
                      <a:pt x="507" y="123"/>
                      <a:pt x="507" y="123"/>
                    </a:cubicBezTo>
                    <a:cubicBezTo>
                      <a:pt x="507" y="125"/>
                      <a:pt x="507" y="125"/>
                      <a:pt x="507" y="125"/>
                    </a:cubicBezTo>
                    <a:cubicBezTo>
                      <a:pt x="503" y="128"/>
                      <a:pt x="503" y="128"/>
                      <a:pt x="503" y="128"/>
                    </a:cubicBezTo>
                    <a:cubicBezTo>
                      <a:pt x="503" y="129"/>
                      <a:pt x="503" y="129"/>
                      <a:pt x="503" y="129"/>
                    </a:cubicBezTo>
                    <a:cubicBezTo>
                      <a:pt x="506" y="130"/>
                      <a:pt x="506" y="130"/>
                      <a:pt x="506" y="130"/>
                    </a:cubicBezTo>
                    <a:cubicBezTo>
                      <a:pt x="507" y="133"/>
                      <a:pt x="507" y="133"/>
                      <a:pt x="507" y="133"/>
                    </a:cubicBezTo>
                    <a:cubicBezTo>
                      <a:pt x="507" y="135"/>
                      <a:pt x="507" y="135"/>
                      <a:pt x="507" y="135"/>
                    </a:cubicBezTo>
                    <a:cubicBezTo>
                      <a:pt x="510" y="135"/>
                      <a:pt x="510" y="135"/>
                      <a:pt x="510" y="135"/>
                    </a:cubicBezTo>
                    <a:cubicBezTo>
                      <a:pt x="511" y="133"/>
                      <a:pt x="511" y="133"/>
                      <a:pt x="511" y="133"/>
                    </a:cubicBezTo>
                    <a:cubicBezTo>
                      <a:pt x="510" y="131"/>
                      <a:pt x="510" y="131"/>
                      <a:pt x="510" y="131"/>
                    </a:cubicBezTo>
                    <a:cubicBezTo>
                      <a:pt x="511" y="131"/>
                      <a:pt x="511" y="131"/>
                      <a:pt x="511" y="131"/>
                    </a:cubicBezTo>
                    <a:cubicBezTo>
                      <a:pt x="512" y="134"/>
                      <a:pt x="512" y="134"/>
                      <a:pt x="512" y="134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06" y="138"/>
                      <a:pt x="506" y="138"/>
                      <a:pt x="506" y="138"/>
                    </a:cubicBezTo>
                    <a:cubicBezTo>
                      <a:pt x="505" y="138"/>
                      <a:pt x="505" y="138"/>
                      <a:pt x="505" y="138"/>
                    </a:cubicBezTo>
                    <a:cubicBezTo>
                      <a:pt x="505" y="137"/>
                      <a:pt x="505" y="137"/>
                      <a:pt x="505" y="137"/>
                    </a:cubicBezTo>
                    <a:cubicBezTo>
                      <a:pt x="504" y="135"/>
                      <a:pt x="504" y="135"/>
                      <a:pt x="504" y="135"/>
                    </a:cubicBezTo>
                    <a:cubicBezTo>
                      <a:pt x="503" y="138"/>
                      <a:pt x="503" y="138"/>
                      <a:pt x="503" y="138"/>
                    </a:cubicBezTo>
                    <a:cubicBezTo>
                      <a:pt x="501" y="140"/>
                      <a:pt x="501" y="140"/>
                      <a:pt x="501" y="140"/>
                    </a:cubicBezTo>
                    <a:cubicBezTo>
                      <a:pt x="500" y="140"/>
                      <a:pt x="500" y="140"/>
                      <a:pt x="500" y="140"/>
                    </a:cubicBezTo>
                    <a:cubicBezTo>
                      <a:pt x="500" y="138"/>
                      <a:pt x="500" y="138"/>
                      <a:pt x="500" y="138"/>
                    </a:cubicBezTo>
                    <a:cubicBezTo>
                      <a:pt x="500" y="136"/>
                      <a:pt x="500" y="136"/>
                      <a:pt x="500" y="136"/>
                    </a:cubicBezTo>
                    <a:cubicBezTo>
                      <a:pt x="498" y="134"/>
                      <a:pt x="498" y="134"/>
                      <a:pt x="498" y="134"/>
                    </a:cubicBezTo>
                    <a:cubicBezTo>
                      <a:pt x="498" y="137"/>
                      <a:pt x="498" y="137"/>
                      <a:pt x="498" y="137"/>
                    </a:cubicBezTo>
                    <a:cubicBezTo>
                      <a:pt x="498" y="139"/>
                      <a:pt x="498" y="139"/>
                      <a:pt x="498" y="139"/>
                    </a:cubicBezTo>
                    <a:cubicBezTo>
                      <a:pt x="498" y="140"/>
                      <a:pt x="498" y="140"/>
                      <a:pt x="498" y="140"/>
                    </a:cubicBezTo>
                    <a:cubicBezTo>
                      <a:pt x="497" y="141"/>
                      <a:pt x="497" y="141"/>
                      <a:pt x="497" y="141"/>
                    </a:cubicBezTo>
                    <a:cubicBezTo>
                      <a:pt x="493" y="141"/>
                      <a:pt x="493" y="141"/>
                      <a:pt x="493" y="141"/>
                    </a:cubicBezTo>
                    <a:cubicBezTo>
                      <a:pt x="491" y="141"/>
                      <a:pt x="491" y="141"/>
                      <a:pt x="491" y="141"/>
                    </a:cubicBezTo>
                    <a:cubicBezTo>
                      <a:pt x="489" y="141"/>
                      <a:pt x="489" y="141"/>
                      <a:pt x="489" y="141"/>
                    </a:cubicBezTo>
                    <a:cubicBezTo>
                      <a:pt x="485" y="141"/>
                      <a:pt x="485" y="141"/>
                      <a:pt x="485" y="141"/>
                    </a:cubicBezTo>
                    <a:cubicBezTo>
                      <a:pt x="484" y="141"/>
                      <a:pt x="484" y="141"/>
                      <a:pt x="484" y="141"/>
                    </a:cubicBezTo>
                    <a:cubicBezTo>
                      <a:pt x="483" y="141"/>
                      <a:pt x="483" y="141"/>
                      <a:pt x="483" y="141"/>
                    </a:cubicBezTo>
                    <a:cubicBezTo>
                      <a:pt x="480" y="143"/>
                      <a:pt x="480" y="143"/>
                      <a:pt x="480" y="143"/>
                    </a:cubicBezTo>
                    <a:cubicBezTo>
                      <a:pt x="478" y="143"/>
                      <a:pt x="478" y="143"/>
                      <a:pt x="478" y="143"/>
                    </a:cubicBezTo>
                    <a:cubicBezTo>
                      <a:pt x="475" y="145"/>
                      <a:pt x="475" y="145"/>
                      <a:pt x="475" y="145"/>
                    </a:cubicBezTo>
                    <a:cubicBezTo>
                      <a:pt x="473" y="145"/>
                      <a:pt x="473" y="145"/>
                      <a:pt x="473" y="145"/>
                    </a:cubicBezTo>
                    <a:cubicBezTo>
                      <a:pt x="472" y="146"/>
                      <a:pt x="472" y="146"/>
                      <a:pt x="472" y="146"/>
                    </a:cubicBezTo>
                    <a:cubicBezTo>
                      <a:pt x="472" y="148"/>
                      <a:pt x="472" y="148"/>
                      <a:pt x="472" y="148"/>
                    </a:cubicBezTo>
                    <a:cubicBezTo>
                      <a:pt x="469" y="149"/>
                      <a:pt x="469" y="149"/>
                      <a:pt x="469" y="149"/>
                    </a:cubicBezTo>
                    <a:cubicBezTo>
                      <a:pt x="470" y="151"/>
                      <a:pt x="470" y="151"/>
                      <a:pt x="470" y="151"/>
                    </a:cubicBezTo>
                    <a:cubicBezTo>
                      <a:pt x="471" y="152"/>
                      <a:pt x="471" y="152"/>
                      <a:pt x="471" y="152"/>
                    </a:cubicBezTo>
                    <a:cubicBezTo>
                      <a:pt x="471" y="153"/>
                      <a:pt x="471" y="153"/>
                      <a:pt x="471" y="153"/>
                    </a:cubicBezTo>
                    <a:cubicBezTo>
                      <a:pt x="470" y="154"/>
                      <a:pt x="470" y="154"/>
                      <a:pt x="470" y="154"/>
                    </a:cubicBezTo>
                    <a:cubicBezTo>
                      <a:pt x="470" y="155"/>
                      <a:pt x="470" y="155"/>
                      <a:pt x="470" y="155"/>
                    </a:cubicBezTo>
                    <a:cubicBezTo>
                      <a:pt x="470" y="157"/>
                      <a:pt x="470" y="157"/>
                      <a:pt x="470" y="157"/>
                    </a:cubicBezTo>
                    <a:cubicBezTo>
                      <a:pt x="470" y="158"/>
                      <a:pt x="470" y="158"/>
                      <a:pt x="470" y="158"/>
                    </a:cubicBezTo>
                    <a:cubicBezTo>
                      <a:pt x="469" y="159"/>
                      <a:pt x="469" y="159"/>
                      <a:pt x="469" y="159"/>
                    </a:cubicBezTo>
                    <a:cubicBezTo>
                      <a:pt x="468" y="161"/>
                      <a:pt x="468" y="161"/>
                      <a:pt x="468" y="161"/>
                    </a:cubicBezTo>
                    <a:cubicBezTo>
                      <a:pt x="468" y="161"/>
                      <a:pt x="468" y="161"/>
                      <a:pt x="468" y="161"/>
                    </a:cubicBezTo>
                    <a:cubicBezTo>
                      <a:pt x="467" y="162"/>
                      <a:pt x="467" y="162"/>
                      <a:pt x="467" y="162"/>
                    </a:cubicBezTo>
                    <a:cubicBezTo>
                      <a:pt x="466" y="165"/>
                      <a:pt x="466" y="165"/>
                      <a:pt x="466" y="165"/>
                    </a:cubicBezTo>
                    <a:cubicBezTo>
                      <a:pt x="464" y="166"/>
                      <a:pt x="464" y="166"/>
                      <a:pt x="464" y="166"/>
                    </a:cubicBezTo>
                    <a:cubicBezTo>
                      <a:pt x="464" y="167"/>
                      <a:pt x="464" y="167"/>
                      <a:pt x="464" y="167"/>
                    </a:cubicBezTo>
                    <a:cubicBezTo>
                      <a:pt x="463" y="167"/>
                      <a:pt x="463" y="167"/>
                      <a:pt x="463" y="167"/>
                    </a:cubicBezTo>
                    <a:cubicBezTo>
                      <a:pt x="463" y="168"/>
                      <a:pt x="463" y="168"/>
                      <a:pt x="463" y="168"/>
                    </a:cubicBezTo>
                    <a:cubicBezTo>
                      <a:pt x="461" y="170"/>
                      <a:pt x="461" y="170"/>
                      <a:pt x="461" y="170"/>
                    </a:cubicBezTo>
                    <a:cubicBezTo>
                      <a:pt x="461" y="169"/>
                      <a:pt x="461" y="169"/>
                      <a:pt x="461" y="169"/>
                    </a:cubicBezTo>
                    <a:cubicBezTo>
                      <a:pt x="459" y="170"/>
                      <a:pt x="459" y="170"/>
                      <a:pt x="459" y="170"/>
                    </a:cubicBezTo>
                    <a:cubicBezTo>
                      <a:pt x="461" y="168"/>
                      <a:pt x="461" y="168"/>
                      <a:pt x="461" y="168"/>
                    </a:cubicBezTo>
                    <a:cubicBezTo>
                      <a:pt x="460" y="167"/>
                      <a:pt x="460" y="167"/>
                      <a:pt x="460" y="167"/>
                    </a:cubicBezTo>
                    <a:cubicBezTo>
                      <a:pt x="458" y="167"/>
                      <a:pt x="458" y="167"/>
                      <a:pt x="458" y="167"/>
                    </a:cubicBezTo>
                    <a:cubicBezTo>
                      <a:pt x="456" y="165"/>
                      <a:pt x="456" y="165"/>
                      <a:pt x="456" y="165"/>
                    </a:cubicBezTo>
                    <a:cubicBezTo>
                      <a:pt x="455" y="164"/>
                      <a:pt x="455" y="164"/>
                      <a:pt x="455" y="164"/>
                    </a:cubicBezTo>
                    <a:cubicBezTo>
                      <a:pt x="456" y="162"/>
                      <a:pt x="456" y="162"/>
                      <a:pt x="456" y="162"/>
                    </a:cubicBezTo>
                    <a:cubicBezTo>
                      <a:pt x="459" y="159"/>
                      <a:pt x="459" y="159"/>
                      <a:pt x="459" y="159"/>
                    </a:cubicBezTo>
                    <a:cubicBezTo>
                      <a:pt x="457" y="160"/>
                      <a:pt x="457" y="160"/>
                      <a:pt x="457" y="160"/>
                    </a:cubicBezTo>
                    <a:cubicBezTo>
                      <a:pt x="455" y="161"/>
                      <a:pt x="455" y="161"/>
                      <a:pt x="455" y="161"/>
                    </a:cubicBezTo>
                    <a:cubicBezTo>
                      <a:pt x="454" y="163"/>
                      <a:pt x="454" y="163"/>
                      <a:pt x="454" y="163"/>
                    </a:cubicBezTo>
                    <a:cubicBezTo>
                      <a:pt x="454" y="165"/>
                      <a:pt x="454" y="165"/>
                      <a:pt x="454" y="165"/>
                    </a:cubicBezTo>
                    <a:cubicBezTo>
                      <a:pt x="455" y="166"/>
                      <a:pt x="455" y="166"/>
                      <a:pt x="455" y="166"/>
                    </a:cubicBezTo>
                    <a:cubicBezTo>
                      <a:pt x="456" y="169"/>
                      <a:pt x="456" y="169"/>
                      <a:pt x="456" y="169"/>
                    </a:cubicBezTo>
                    <a:cubicBezTo>
                      <a:pt x="457" y="170"/>
                      <a:pt x="457" y="170"/>
                      <a:pt x="457" y="170"/>
                    </a:cubicBezTo>
                    <a:cubicBezTo>
                      <a:pt x="458" y="173"/>
                      <a:pt x="458" y="173"/>
                      <a:pt x="458" y="173"/>
                    </a:cubicBezTo>
                    <a:cubicBezTo>
                      <a:pt x="458" y="176"/>
                      <a:pt x="458" y="176"/>
                      <a:pt x="458" y="176"/>
                    </a:cubicBezTo>
                    <a:cubicBezTo>
                      <a:pt x="456" y="179"/>
                      <a:pt x="456" y="179"/>
                      <a:pt x="456" y="179"/>
                    </a:cubicBezTo>
                    <a:cubicBezTo>
                      <a:pt x="454" y="181"/>
                      <a:pt x="454" y="181"/>
                      <a:pt x="454" y="181"/>
                    </a:cubicBezTo>
                    <a:cubicBezTo>
                      <a:pt x="452" y="185"/>
                      <a:pt x="452" y="185"/>
                      <a:pt x="452" y="185"/>
                    </a:cubicBezTo>
                    <a:cubicBezTo>
                      <a:pt x="451" y="187"/>
                      <a:pt x="451" y="187"/>
                      <a:pt x="451" y="187"/>
                    </a:cubicBezTo>
                    <a:cubicBezTo>
                      <a:pt x="451" y="188"/>
                      <a:pt x="451" y="188"/>
                      <a:pt x="451" y="188"/>
                    </a:cubicBezTo>
                    <a:cubicBezTo>
                      <a:pt x="451" y="189"/>
                      <a:pt x="451" y="189"/>
                      <a:pt x="451" y="189"/>
                    </a:cubicBezTo>
                    <a:cubicBezTo>
                      <a:pt x="451" y="188"/>
                      <a:pt x="451" y="188"/>
                      <a:pt x="451" y="188"/>
                    </a:cubicBezTo>
                    <a:cubicBezTo>
                      <a:pt x="450" y="187"/>
                      <a:pt x="450" y="187"/>
                      <a:pt x="450" y="187"/>
                    </a:cubicBezTo>
                    <a:cubicBezTo>
                      <a:pt x="448" y="191"/>
                      <a:pt x="448" y="191"/>
                      <a:pt x="448" y="191"/>
                    </a:cubicBezTo>
                    <a:cubicBezTo>
                      <a:pt x="448" y="192"/>
                      <a:pt x="448" y="192"/>
                      <a:pt x="448" y="192"/>
                    </a:cubicBezTo>
                    <a:cubicBezTo>
                      <a:pt x="448" y="192"/>
                      <a:pt x="448" y="192"/>
                      <a:pt x="448" y="192"/>
                    </a:cubicBezTo>
                    <a:cubicBezTo>
                      <a:pt x="448" y="190"/>
                      <a:pt x="448" y="190"/>
                      <a:pt x="448" y="190"/>
                    </a:cubicBezTo>
                    <a:cubicBezTo>
                      <a:pt x="448" y="188"/>
                      <a:pt x="448" y="188"/>
                      <a:pt x="448" y="188"/>
                    </a:cubicBezTo>
                    <a:cubicBezTo>
                      <a:pt x="449" y="186"/>
                      <a:pt x="449" y="186"/>
                      <a:pt x="449" y="186"/>
                    </a:cubicBezTo>
                    <a:cubicBezTo>
                      <a:pt x="449" y="185"/>
                      <a:pt x="449" y="185"/>
                      <a:pt x="449" y="185"/>
                    </a:cubicBezTo>
                    <a:cubicBezTo>
                      <a:pt x="450" y="184"/>
                      <a:pt x="450" y="184"/>
                      <a:pt x="450" y="184"/>
                    </a:cubicBezTo>
                    <a:cubicBezTo>
                      <a:pt x="450" y="183"/>
                      <a:pt x="450" y="183"/>
                      <a:pt x="450" y="183"/>
                    </a:cubicBezTo>
                    <a:cubicBezTo>
                      <a:pt x="451" y="182"/>
                      <a:pt x="451" y="182"/>
                      <a:pt x="451" y="182"/>
                    </a:cubicBezTo>
                    <a:cubicBezTo>
                      <a:pt x="449" y="182"/>
                      <a:pt x="449" y="182"/>
                      <a:pt x="449" y="182"/>
                    </a:cubicBezTo>
                    <a:cubicBezTo>
                      <a:pt x="448" y="181"/>
                      <a:pt x="448" y="181"/>
                      <a:pt x="448" y="181"/>
                    </a:cubicBezTo>
                    <a:cubicBezTo>
                      <a:pt x="449" y="180"/>
                      <a:pt x="449" y="180"/>
                      <a:pt x="449" y="180"/>
                    </a:cubicBezTo>
                    <a:cubicBezTo>
                      <a:pt x="449" y="179"/>
                      <a:pt x="449" y="179"/>
                      <a:pt x="449" y="179"/>
                    </a:cubicBezTo>
                    <a:cubicBezTo>
                      <a:pt x="448" y="180"/>
                      <a:pt x="448" y="180"/>
                      <a:pt x="448" y="180"/>
                    </a:cubicBezTo>
                    <a:cubicBezTo>
                      <a:pt x="448" y="179"/>
                      <a:pt x="448" y="179"/>
                      <a:pt x="448" y="179"/>
                    </a:cubicBezTo>
                    <a:cubicBezTo>
                      <a:pt x="447" y="179"/>
                      <a:pt x="447" y="179"/>
                      <a:pt x="447" y="179"/>
                    </a:cubicBezTo>
                    <a:cubicBezTo>
                      <a:pt x="446" y="177"/>
                      <a:pt x="446" y="177"/>
                      <a:pt x="446" y="177"/>
                    </a:cubicBezTo>
                    <a:cubicBezTo>
                      <a:pt x="446" y="176"/>
                      <a:pt x="446" y="176"/>
                      <a:pt x="446" y="176"/>
                    </a:cubicBezTo>
                    <a:cubicBezTo>
                      <a:pt x="447" y="174"/>
                      <a:pt x="447" y="174"/>
                      <a:pt x="447" y="174"/>
                    </a:cubicBezTo>
                    <a:cubicBezTo>
                      <a:pt x="447" y="171"/>
                      <a:pt x="447" y="171"/>
                      <a:pt x="447" y="171"/>
                    </a:cubicBezTo>
                    <a:cubicBezTo>
                      <a:pt x="446" y="168"/>
                      <a:pt x="446" y="168"/>
                      <a:pt x="446" y="168"/>
                    </a:cubicBezTo>
                    <a:cubicBezTo>
                      <a:pt x="447" y="166"/>
                      <a:pt x="447" y="166"/>
                      <a:pt x="447" y="166"/>
                    </a:cubicBezTo>
                    <a:cubicBezTo>
                      <a:pt x="449" y="165"/>
                      <a:pt x="449" y="165"/>
                      <a:pt x="449" y="165"/>
                    </a:cubicBezTo>
                    <a:cubicBezTo>
                      <a:pt x="448" y="164"/>
                      <a:pt x="448" y="164"/>
                      <a:pt x="448" y="164"/>
                    </a:cubicBezTo>
                    <a:cubicBezTo>
                      <a:pt x="449" y="162"/>
                      <a:pt x="449" y="162"/>
                      <a:pt x="449" y="162"/>
                    </a:cubicBezTo>
                    <a:cubicBezTo>
                      <a:pt x="448" y="162"/>
                      <a:pt x="448" y="162"/>
                      <a:pt x="448" y="162"/>
                    </a:cubicBezTo>
                    <a:cubicBezTo>
                      <a:pt x="448" y="162"/>
                      <a:pt x="448" y="162"/>
                      <a:pt x="448" y="162"/>
                    </a:cubicBezTo>
                    <a:cubicBezTo>
                      <a:pt x="448" y="164"/>
                      <a:pt x="448" y="164"/>
                      <a:pt x="448" y="164"/>
                    </a:cubicBezTo>
                    <a:cubicBezTo>
                      <a:pt x="446" y="166"/>
                      <a:pt x="446" y="166"/>
                      <a:pt x="446" y="166"/>
                    </a:cubicBezTo>
                    <a:cubicBezTo>
                      <a:pt x="444" y="167"/>
                      <a:pt x="444" y="167"/>
                      <a:pt x="444" y="167"/>
                    </a:cubicBezTo>
                    <a:cubicBezTo>
                      <a:pt x="444" y="167"/>
                      <a:pt x="444" y="167"/>
                      <a:pt x="444" y="167"/>
                    </a:cubicBezTo>
                    <a:cubicBezTo>
                      <a:pt x="445" y="168"/>
                      <a:pt x="445" y="168"/>
                      <a:pt x="445" y="168"/>
                    </a:cubicBezTo>
                    <a:cubicBezTo>
                      <a:pt x="444" y="169"/>
                      <a:pt x="444" y="169"/>
                      <a:pt x="444" y="169"/>
                    </a:cubicBezTo>
                    <a:cubicBezTo>
                      <a:pt x="444" y="172"/>
                      <a:pt x="444" y="172"/>
                      <a:pt x="444" y="172"/>
                    </a:cubicBezTo>
                    <a:cubicBezTo>
                      <a:pt x="444" y="173"/>
                      <a:pt x="444" y="173"/>
                      <a:pt x="444" y="173"/>
                    </a:cubicBezTo>
                    <a:cubicBezTo>
                      <a:pt x="444" y="174"/>
                      <a:pt x="444" y="174"/>
                      <a:pt x="444" y="174"/>
                    </a:cubicBezTo>
                    <a:cubicBezTo>
                      <a:pt x="444" y="176"/>
                      <a:pt x="444" y="176"/>
                      <a:pt x="444" y="176"/>
                    </a:cubicBezTo>
                    <a:cubicBezTo>
                      <a:pt x="444" y="180"/>
                      <a:pt x="444" y="180"/>
                      <a:pt x="444" y="180"/>
                    </a:cubicBezTo>
                    <a:cubicBezTo>
                      <a:pt x="443" y="180"/>
                      <a:pt x="443" y="180"/>
                      <a:pt x="443" y="180"/>
                    </a:cubicBezTo>
                    <a:cubicBezTo>
                      <a:pt x="441" y="178"/>
                      <a:pt x="441" y="178"/>
                      <a:pt x="441" y="178"/>
                    </a:cubicBezTo>
                    <a:cubicBezTo>
                      <a:pt x="439" y="177"/>
                      <a:pt x="439" y="177"/>
                      <a:pt x="439" y="177"/>
                    </a:cubicBezTo>
                    <a:cubicBezTo>
                      <a:pt x="438" y="175"/>
                      <a:pt x="438" y="175"/>
                      <a:pt x="438" y="175"/>
                    </a:cubicBezTo>
                    <a:cubicBezTo>
                      <a:pt x="437" y="175"/>
                      <a:pt x="437" y="175"/>
                      <a:pt x="437" y="175"/>
                    </a:cubicBezTo>
                    <a:cubicBezTo>
                      <a:pt x="437" y="174"/>
                      <a:pt x="437" y="174"/>
                      <a:pt x="437" y="174"/>
                    </a:cubicBezTo>
                    <a:cubicBezTo>
                      <a:pt x="438" y="172"/>
                      <a:pt x="438" y="172"/>
                      <a:pt x="438" y="172"/>
                    </a:cubicBezTo>
                    <a:cubicBezTo>
                      <a:pt x="436" y="174"/>
                      <a:pt x="436" y="174"/>
                      <a:pt x="436" y="174"/>
                    </a:cubicBezTo>
                    <a:cubicBezTo>
                      <a:pt x="436" y="176"/>
                      <a:pt x="436" y="176"/>
                      <a:pt x="436" y="176"/>
                    </a:cubicBezTo>
                    <a:cubicBezTo>
                      <a:pt x="438" y="176"/>
                      <a:pt x="438" y="176"/>
                      <a:pt x="438" y="176"/>
                    </a:cubicBezTo>
                    <a:cubicBezTo>
                      <a:pt x="439" y="178"/>
                      <a:pt x="439" y="178"/>
                      <a:pt x="439" y="178"/>
                    </a:cubicBezTo>
                    <a:cubicBezTo>
                      <a:pt x="441" y="179"/>
                      <a:pt x="441" y="179"/>
                      <a:pt x="441" y="179"/>
                    </a:cubicBezTo>
                    <a:cubicBezTo>
                      <a:pt x="443" y="182"/>
                      <a:pt x="443" y="182"/>
                      <a:pt x="443" y="182"/>
                    </a:cubicBezTo>
                    <a:cubicBezTo>
                      <a:pt x="444" y="183"/>
                      <a:pt x="444" y="183"/>
                      <a:pt x="444" y="183"/>
                    </a:cubicBezTo>
                    <a:cubicBezTo>
                      <a:pt x="445" y="184"/>
                      <a:pt x="445" y="184"/>
                      <a:pt x="445" y="184"/>
                    </a:cubicBezTo>
                    <a:cubicBezTo>
                      <a:pt x="444" y="186"/>
                      <a:pt x="444" y="186"/>
                      <a:pt x="444" y="186"/>
                    </a:cubicBezTo>
                    <a:cubicBezTo>
                      <a:pt x="443" y="186"/>
                      <a:pt x="443" y="186"/>
                      <a:pt x="443" y="186"/>
                    </a:cubicBezTo>
                    <a:cubicBezTo>
                      <a:pt x="442" y="184"/>
                      <a:pt x="442" y="184"/>
                      <a:pt x="442" y="184"/>
                    </a:cubicBezTo>
                    <a:cubicBezTo>
                      <a:pt x="441" y="184"/>
                      <a:pt x="441" y="184"/>
                      <a:pt x="441" y="184"/>
                    </a:cubicBezTo>
                    <a:cubicBezTo>
                      <a:pt x="442" y="186"/>
                      <a:pt x="442" y="186"/>
                      <a:pt x="442" y="186"/>
                    </a:cubicBezTo>
                    <a:cubicBezTo>
                      <a:pt x="444" y="188"/>
                      <a:pt x="444" y="188"/>
                      <a:pt x="444" y="188"/>
                    </a:cubicBezTo>
                    <a:cubicBezTo>
                      <a:pt x="445" y="189"/>
                      <a:pt x="445" y="189"/>
                      <a:pt x="445" y="189"/>
                    </a:cubicBezTo>
                    <a:cubicBezTo>
                      <a:pt x="444" y="190"/>
                      <a:pt x="444" y="190"/>
                      <a:pt x="444" y="190"/>
                    </a:cubicBezTo>
                    <a:cubicBezTo>
                      <a:pt x="444" y="191"/>
                      <a:pt x="444" y="191"/>
                      <a:pt x="444" y="191"/>
                    </a:cubicBezTo>
                    <a:cubicBezTo>
                      <a:pt x="442" y="190"/>
                      <a:pt x="442" y="190"/>
                      <a:pt x="442" y="190"/>
                    </a:cubicBezTo>
                    <a:cubicBezTo>
                      <a:pt x="444" y="192"/>
                      <a:pt x="444" y="192"/>
                      <a:pt x="444" y="192"/>
                    </a:cubicBezTo>
                    <a:cubicBezTo>
                      <a:pt x="444" y="194"/>
                      <a:pt x="444" y="194"/>
                      <a:pt x="444" y="194"/>
                    </a:cubicBezTo>
                    <a:cubicBezTo>
                      <a:pt x="442" y="193"/>
                      <a:pt x="442" y="193"/>
                      <a:pt x="442" y="193"/>
                    </a:cubicBezTo>
                    <a:cubicBezTo>
                      <a:pt x="441" y="191"/>
                      <a:pt x="441" y="191"/>
                      <a:pt x="441" y="191"/>
                    </a:cubicBezTo>
                    <a:cubicBezTo>
                      <a:pt x="439" y="191"/>
                      <a:pt x="439" y="191"/>
                      <a:pt x="439" y="191"/>
                    </a:cubicBezTo>
                    <a:cubicBezTo>
                      <a:pt x="437" y="191"/>
                      <a:pt x="437" y="191"/>
                      <a:pt x="437" y="191"/>
                    </a:cubicBezTo>
                    <a:cubicBezTo>
                      <a:pt x="439" y="192"/>
                      <a:pt x="439" y="192"/>
                      <a:pt x="439" y="192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1" y="193"/>
                      <a:pt x="441" y="193"/>
                      <a:pt x="441" y="193"/>
                    </a:cubicBezTo>
                    <a:cubicBezTo>
                      <a:pt x="442" y="195"/>
                      <a:pt x="442" y="195"/>
                      <a:pt x="442" y="195"/>
                    </a:cubicBezTo>
                    <a:cubicBezTo>
                      <a:pt x="444" y="196"/>
                      <a:pt x="444" y="196"/>
                      <a:pt x="444" y="196"/>
                    </a:cubicBezTo>
                    <a:cubicBezTo>
                      <a:pt x="445" y="195"/>
                      <a:pt x="445" y="195"/>
                      <a:pt x="445" y="195"/>
                    </a:cubicBezTo>
                    <a:cubicBezTo>
                      <a:pt x="446" y="196"/>
                      <a:pt x="446" y="196"/>
                      <a:pt x="446" y="196"/>
                    </a:cubicBezTo>
                    <a:cubicBezTo>
                      <a:pt x="447" y="198"/>
                      <a:pt x="447" y="198"/>
                      <a:pt x="447" y="198"/>
                    </a:cubicBezTo>
                    <a:cubicBezTo>
                      <a:pt x="446" y="200"/>
                      <a:pt x="446" y="200"/>
                      <a:pt x="446" y="200"/>
                    </a:cubicBezTo>
                    <a:cubicBezTo>
                      <a:pt x="445" y="199"/>
                      <a:pt x="445" y="199"/>
                      <a:pt x="445" y="199"/>
                    </a:cubicBezTo>
                    <a:cubicBezTo>
                      <a:pt x="445" y="200"/>
                      <a:pt x="445" y="200"/>
                      <a:pt x="445" y="200"/>
                    </a:cubicBezTo>
                    <a:cubicBezTo>
                      <a:pt x="446" y="201"/>
                      <a:pt x="446" y="201"/>
                      <a:pt x="446" y="201"/>
                    </a:cubicBezTo>
                    <a:cubicBezTo>
                      <a:pt x="446" y="203"/>
                      <a:pt x="446" y="203"/>
                      <a:pt x="446" y="203"/>
                    </a:cubicBezTo>
                    <a:cubicBezTo>
                      <a:pt x="445" y="204"/>
                      <a:pt x="445" y="204"/>
                      <a:pt x="445" y="204"/>
                    </a:cubicBezTo>
                    <a:cubicBezTo>
                      <a:pt x="444" y="204"/>
                      <a:pt x="444" y="204"/>
                      <a:pt x="444" y="204"/>
                    </a:cubicBezTo>
                    <a:cubicBezTo>
                      <a:pt x="444" y="205"/>
                      <a:pt x="444" y="205"/>
                      <a:pt x="444" y="205"/>
                    </a:cubicBezTo>
                    <a:cubicBezTo>
                      <a:pt x="441" y="205"/>
                      <a:pt x="441" y="205"/>
                      <a:pt x="441" y="205"/>
                    </a:cubicBezTo>
                    <a:cubicBezTo>
                      <a:pt x="440" y="206"/>
                      <a:pt x="440" y="206"/>
                      <a:pt x="440" y="206"/>
                    </a:cubicBezTo>
                    <a:cubicBezTo>
                      <a:pt x="439" y="206"/>
                      <a:pt x="439" y="206"/>
                      <a:pt x="439" y="206"/>
                    </a:cubicBezTo>
                    <a:cubicBezTo>
                      <a:pt x="438" y="204"/>
                      <a:pt x="438" y="204"/>
                      <a:pt x="438" y="204"/>
                    </a:cubicBezTo>
                    <a:cubicBezTo>
                      <a:pt x="437" y="204"/>
                      <a:pt x="437" y="204"/>
                      <a:pt x="437" y="204"/>
                    </a:cubicBezTo>
                    <a:cubicBezTo>
                      <a:pt x="437" y="207"/>
                      <a:pt x="437" y="207"/>
                      <a:pt x="437" y="207"/>
                    </a:cubicBezTo>
                    <a:cubicBezTo>
                      <a:pt x="437" y="208"/>
                      <a:pt x="437" y="208"/>
                      <a:pt x="437" y="208"/>
                    </a:cubicBezTo>
                    <a:cubicBezTo>
                      <a:pt x="439" y="208"/>
                      <a:pt x="439" y="208"/>
                      <a:pt x="439" y="208"/>
                    </a:cubicBezTo>
                    <a:cubicBezTo>
                      <a:pt x="443" y="207"/>
                      <a:pt x="443" y="207"/>
                      <a:pt x="443" y="207"/>
                    </a:cubicBezTo>
                    <a:cubicBezTo>
                      <a:pt x="443" y="208"/>
                      <a:pt x="443" y="208"/>
                      <a:pt x="443" y="208"/>
                    </a:cubicBezTo>
                    <a:cubicBezTo>
                      <a:pt x="444" y="211"/>
                      <a:pt x="444" y="211"/>
                      <a:pt x="444" y="211"/>
                    </a:cubicBezTo>
                    <a:cubicBezTo>
                      <a:pt x="445" y="211"/>
                      <a:pt x="445" y="211"/>
                      <a:pt x="445" y="211"/>
                    </a:cubicBezTo>
                    <a:cubicBezTo>
                      <a:pt x="445" y="210"/>
                      <a:pt x="445" y="210"/>
                      <a:pt x="445" y="210"/>
                    </a:cubicBezTo>
                    <a:cubicBezTo>
                      <a:pt x="446" y="208"/>
                      <a:pt x="446" y="208"/>
                      <a:pt x="446" y="208"/>
                    </a:cubicBezTo>
                    <a:cubicBezTo>
                      <a:pt x="446" y="208"/>
                      <a:pt x="446" y="208"/>
                      <a:pt x="446" y="208"/>
                    </a:cubicBezTo>
                    <a:cubicBezTo>
                      <a:pt x="447" y="209"/>
                      <a:pt x="447" y="209"/>
                      <a:pt x="447" y="209"/>
                    </a:cubicBezTo>
                    <a:cubicBezTo>
                      <a:pt x="447" y="211"/>
                      <a:pt x="447" y="211"/>
                      <a:pt x="447" y="211"/>
                    </a:cubicBezTo>
                    <a:cubicBezTo>
                      <a:pt x="446" y="211"/>
                      <a:pt x="446" y="211"/>
                      <a:pt x="446" y="211"/>
                    </a:cubicBezTo>
                    <a:cubicBezTo>
                      <a:pt x="444" y="213"/>
                      <a:pt x="444" y="213"/>
                      <a:pt x="444" y="213"/>
                    </a:cubicBezTo>
                    <a:cubicBezTo>
                      <a:pt x="443" y="215"/>
                      <a:pt x="443" y="215"/>
                      <a:pt x="443" y="215"/>
                    </a:cubicBezTo>
                    <a:cubicBezTo>
                      <a:pt x="442" y="215"/>
                      <a:pt x="442" y="215"/>
                      <a:pt x="442" y="215"/>
                    </a:cubicBezTo>
                    <a:cubicBezTo>
                      <a:pt x="441" y="214"/>
                      <a:pt x="441" y="214"/>
                      <a:pt x="441" y="214"/>
                    </a:cubicBezTo>
                    <a:cubicBezTo>
                      <a:pt x="440" y="215"/>
                      <a:pt x="440" y="215"/>
                      <a:pt x="440" y="215"/>
                    </a:cubicBezTo>
                    <a:cubicBezTo>
                      <a:pt x="439" y="213"/>
                      <a:pt x="439" y="213"/>
                      <a:pt x="439" y="213"/>
                    </a:cubicBezTo>
                    <a:cubicBezTo>
                      <a:pt x="439" y="214"/>
                      <a:pt x="439" y="214"/>
                      <a:pt x="439" y="214"/>
                    </a:cubicBezTo>
                    <a:cubicBezTo>
                      <a:pt x="437" y="214"/>
                      <a:pt x="437" y="214"/>
                      <a:pt x="437" y="214"/>
                    </a:cubicBezTo>
                    <a:cubicBezTo>
                      <a:pt x="436" y="214"/>
                      <a:pt x="436" y="214"/>
                      <a:pt x="436" y="214"/>
                    </a:cubicBezTo>
                    <a:cubicBezTo>
                      <a:pt x="435" y="214"/>
                      <a:pt x="435" y="214"/>
                      <a:pt x="435" y="214"/>
                    </a:cubicBezTo>
                    <a:cubicBezTo>
                      <a:pt x="436" y="215"/>
                      <a:pt x="436" y="215"/>
                      <a:pt x="436" y="215"/>
                    </a:cubicBezTo>
                    <a:cubicBezTo>
                      <a:pt x="438" y="215"/>
                      <a:pt x="438" y="215"/>
                      <a:pt x="438" y="215"/>
                    </a:cubicBezTo>
                    <a:cubicBezTo>
                      <a:pt x="439" y="216"/>
                      <a:pt x="439" y="216"/>
                      <a:pt x="439" y="216"/>
                    </a:cubicBezTo>
                    <a:cubicBezTo>
                      <a:pt x="438" y="217"/>
                      <a:pt x="438" y="217"/>
                      <a:pt x="438" y="217"/>
                    </a:cubicBezTo>
                    <a:cubicBezTo>
                      <a:pt x="438" y="218"/>
                      <a:pt x="438" y="218"/>
                      <a:pt x="438" y="218"/>
                    </a:cubicBezTo>
                    <a:cubicBezTo>
                      <a:pt x="436" y="219"/>
                      <a:pt x="436" y="219"/>
                      <a:pt x="436" y="219"/>
                    </a:cubicBezTo>
                    <a:cubicBezTo>
                      <a:pt x="434" y="218"/>
                      <a:pt x="434" y="218"/>
                      <a:pt x="434" y="218"/>
                    </a:cubicBezTo>
                    <a:cubicBezTo>
                      <a:pt x="435" y="220"/>
                      <a:pt x="435" y="220"/>
                      <a:pt x="435" y="220"/>
                    </a:cubicBezTo>
                    <a:cubicBezTo>
                      <a:pt x="438" y="220"/>
                      <a:pt x="438" y="220"/>
                      <a:pt x="438" y="220"/>
                    </a:cubicBezTo>
                    <a:cubicBezTo>
                      <a:pt x="440" y="218"/>
                      <a:pt x="440" y="218"/>
                      <a:pt x="440" y="218"/>
                    </a:cubicBezTo>
                    <a:cubicBezTo>
                      <a:pt x="440" y="219"/>
                      <a:pt x="440" y="219"/>
                      <a:pt x="440" y="219"/>
                    </a:cubicBezTo>
                    <a:cubicBezTo>
                      <a:pt x="441" y="219"/>
                      <a:pt x="441" y="219"/>
                      <a:pt x="441" y="219"/>
                    </a:cubicBezTo>
                    <a:cubicBezTo>
                      <a:pt x="439" y="222"/>
                      <a:pt x="439" y="222"/>
                      <a:pt x="439" y="222"/>
                    </a:cubicBezTo>
                    <a:cubicBezTo>
                      <a:pt x="437" y="222"/>
                      <a:pt x="437" y="222"/>
                      <a:pt x="437" y="222"/>
                    </a:cubicBezTo>
                    <a:cubicBezTo>
                      <a:pt x="437" y="221"/>
                      <a:pt x="437" y="221"/>
                      <a:pt x="437" y="221"/>
                    </a:cubicBezTo>
                    <a:cubicBezTo>
                      <a:pt x="436" y="221"/>
                      <a:pt x="436" y="221"/>
                      <a:pt x="436" y="221"/>
                    </a:cubicBezTo>
                    <a:cubicBezTo>
                      <a:pt x="435" y="222"/>
                      <a:pt x="435" y="222"/>
                      <a:pt x="435" y="222"/>
                    </a:cubicBezTo>
                    <a:cubicBezTo>
                      <a:pt x="433" y="222"/>
                      <a:pt x="433" y="222"/>
                      <a:pt x="433" y="222"/>
                    </a:cubicBezTo>
                    <a:cubicBezTo>
                      <a:pt x="428" y="225"/>
                      <a:pt x="428" y="225"/>
                      <a:pt x="428" y="225"/>
                    </a:cubicBezTo>
                    <a:cubicBezTo>
                      <a:pt x="423" y="229"/>
                      <a:pt x="423" y="229"/>
                      <a:pt x="423" y="229"/>
                    </a:cubicBezTo>
                    <a:cubicBezTo>
                      <a:pt x="422" y="232"/>
                      <a:pt x="422" y="232"/>
                      <a:pt x="422" y="232"/>
                    </a:cubicBezTo>
                    <a:cubicBezTo>
                      <a:pt x="421" y="232"/>
                      <a:pt x="421" y="232"/>
                      <a:pt x="421" y="232"/>
                    </a:cubicBezTo>
                    <a:cubicBezTo>
                      <a:pt x="420" y="231"/>
                      <a:pt x="420" y="231"/>
                      <a:pt x="420" y="231"/>
                    </a:cubicBezTo>
                    <a:cubicBezTo>
                      <a:pt x="417" y="232"/>
                      <a:pt x="417" y="232"/>
                      <a:pt x="417" y="232"/>
                    </a:cubicBezTo>
                    <a:cubicBezTo>
                      <a:pt x="415" y="233"/>
                      <a:pt x="415" y="233"/>
                      <a:pt x="415" y="233"/>
                    </a:cubicBezTo>
                    <a:cubicBezTo>
                      <a:pt x="412" y="238"/>
                      <a:pt x="412" y="238"/>
                      <a:pt x="412" y="238"/>
                    </a:cubicBezTo>
                    <a:cubicBezTo>
                      <a:pt x="412" y="239"/>
                      <a:pt x="412" y="239"/>
                      <a:pt x="412" y="239"/>
                    </a:cubicBezTo>
                    <a:cubicBezTo>
                      <a:pt x="410" y="241"/>
                      <a:pt x="410" y="241"/>
                      <a:pt x="410" y="241"/>
                    </a:cubicBezTo>
                    <a:cubicBezTo>
                      <a:pt x="409" y="241"/>
                      <a:pt x="409" y="241"/>
                      <a:pt x="409" y="241"/>
                    </a:cubicBezTo>
                    <a:cubicBezTo>
                      <a:pt x="409" y="242"/>
                      <a:pt x="409" y="242"/>
                      <a:pt x="409" y="242"/>
                    </a:cubicBezTo>
                    <a:cubicBezTo>
                      <a:pt x="407" y="244"/>
                      <a:pt x="407" y="244"/>
                      <a:pt x="407" y="244"/>
                    </a:cubicBezTo>
                    <a:cubicBezTo>
                      <a:pt x="406" y="243"/>
                      <a:pt x="406" y="243"/>
                      <a:pt x="406" y="243"/>
                    </a:cubicBezTo>
                    <a:cubicBezTo>
                      <a:pt x="405" y="244"/>
                      <a:pt x="405" y="244"/>
                      <a:pt x="405" y="244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03" y="244"/>
                      <a:pt x="403" y="244"/>
                      <a:pt x="403" y="244"/>
                    </a:cubicBezTo>
                    <a:cubicBezTo>
                      <a:pt x="402" y="246"/>
                      <a:pt x="402" y="246"/>
                      <a:pt x="402" y="246"/>
                    </a:cubicBezTo>
                    <a:cubicBezTo>
                      <a:pt x="399" y="246"/>
                      <a:pt x="399" y="246"/>
                      <a:pt x="399" y="246"/>
                    </a:cubicBezTo>
                    <a:cubicBezTo>
                      <a:pt x="398" y="247"/>
                      <a:pt x="398" y="247"/>
                      <a:pt x="398" y="247"/>
                    </a:cubicBezTo>
                    <a:cubicBezTo>
                      <a:pt x="396" y="247"/>
                      <a:pt x="396" y="247"/>
                      <a:pt x="396" y="247"/>
                    </a:cubicBezTo>
                    <a:cubicBezTo>
                      <a:pt x="396" y="248"/>
                      <a:pt x="396" y="248"/>
                      <a:pt x="396" y="248"/>
                    </a:cubicBezTo>
                    <a:cubicBezTo>
                      <a:pt x="394" y="248"/>
                      <a:pt x="394" y="248"/>
                      <a:pt x="394" y="248"/>
                    </a:cubicBezTo>
                    <a:cubicBezTo>
                      <a:pt x="393" y="249"/>
                      <a:pt x="393" y="249"/>
                      <a:pt x="393" y="249"/>
                    </a:cubicBezTo>
                    <a:cubicBezTo>
                      <a:pt x="394" y="249"/>
                      <a:pt x="394" y="249"/>
                      <a:pt x="394" y="249"/>
                    </a:cubicBezTo>
                    <a:cubicBezTo>
                      <a:pt x="394" y="251"/>
                      <a:pt x="394" y="251"/>
                      <a:pt x="394" y="251"/>
                    </a:cubicBezTo>
                    <a:cubicBezTo>
                      <a:pt x="392" y="253"/>
                      <a:pt x="392" y="253"/>
                      <a:pt x="392" y="253"/>
                    </a:cubicBezTo>
                    <a:cubicBezTo>
                      <a:pt x="391" y="253"/>
                      <a:pt x="391" y="253"/>
                      <a:pt x="391" y="253"/>
                    </a:cubicBezTo>
                    <a:cubicBezTo>
                      <a:pt x="391" y="254"/>
                      <a:pt x="391" y="254"/>
                      <a:pt x="391" y="254"/>
                    </a:cubicBezTo>
                    <a:cubicBezTo>
                      <a:pt x="389" y="255"/>
                      <a:pt x="389" y="255"/>
                      <a:pt x="389" y="255"/>
                    </a:cubicBezTo>
                    <a:cubicBezTo>
                      <a:pt x="387" y="257"/>
                      <a:pt x="387" y="257"/>
                      <a:pt x="387" y="257"/>
                    </a:cubicBezTo>
                    <a:cubicBezTo>
                      <a:pt x="386" y="260"/>
                      <a:pt x="386" y="260"/>
                      <a:pt x="386" y="260"/>
                    </a:cubicBezTo>
                    <a:cubicBezTo>
                      <a:pt x="386" y="264"/>
                      <a:pt x="386" y="264"/>
                      <a:pt x="386" y="264"/>
                    </a:cubicBezTo>
                    <a:cubicBezTo>
                      <a:pt x="385" y="270"/>
                      <a:pt x="385" y="270"/>
                      <a:pt x="385" y="270"/>
                    </a:cubicBezTo>
                    <a:cubicBezTo>
                      <a:pt x="386" y="273"/>
                      <a:pt x="386" y="273"/>
                      <a:pt x="386" y="273"/>
                    </a:cubicBezTo>
                    <a:cubicBezTo>
                      <a:pt x="385" y="277"/>
                      <a:pt x="385" y="277"/>
                      <a:pt x="385" y="277"/>
                    </a:cubicBezTo>
                    <a:cubicBezTo>
                      <a:pt x="386" y="280"/>
                      <a:pt x="386" y="280"/>
                      <a:pt x="386" y="280"/>
                    </a:cubicBezTo>
                    <a:cubicBezTo>
                      <a:pt x="387" y="284"/>
                      <a:pt x="387" y="284"/>
                      <a:pt x="387" y="284"/>
                    </a:cubicBezTo>
                    <a:cubicBezTo>
                      <a:pt x="387" y="286"/>
                      <a:pt x="387" y="286"/>
                      <a:pt x="387" y="286"/>
                    </a:cubicBezTo>
                    <a:cubicBezTo>
                      <a:pt x="388" y="290"/>
                      <a:pt x="388" y="290"/>
                      <a:pt x="388" y="290"/>
                    </a:cubicBezTo>
                    <a:cubicBezTo>
                      <a:pt x="390" y="292"/>
                      <a:pt x="390" y="292"/>
                      <a:pt x="390" y="292"/>
                    </a:cubicBezTo>
                    <a:cubicBezTo>
                      <a:pt x="390" y="294"/>
                      <a:pt x="390" y="294"/>
                      <a:pt x="390" y="294"/>
                    </a:cubicBezTo>
                    <a:cubicBezTo>
                      <a:pt x="390" y="296"/>
                      <a:pt x="390" y="296"/>
                      <a:pt x="390" y="296"/>
                    </a:cubicBezTo>
                    <a:cubicBezTo>
                      <a:pt x="389" y="299"/>
                      <a:pt x="389" y="299"/>
                      <a:pt x="389" y="299"/>
                    </a:cubicBezTo>
                    <a:cubicBezTo>
                      <a:pt x="390" y="300"/>
                      <a:pt x="390" y="300"/>
                      <a:pt x="390" y="300"/>
                    </a:cubicBezTo>
                    <a:cubicBezTo>
                      <a:pt x="391" y="307"/>
                      <a:pt x="391" y="307"/>
                      <a:pt x="391" y="307"/>
                    </a:cubicBezTo>
                    <a:cubicBezTo>
                      <a:pt x="393" y="308"/>
                      <a:pt x="393" y="308"/>
                      <a:pt x="393" y="308"/>
                    </a:cubicBezTo>
                    <a:cubicBezTo>
                      <a:pt x="394" y="311"/>
                      <a:pt x="394" y="311"/>
                      <a:pt x="394" y="311"/>
                    </a:cubicBezTo>
                    <a:cubicBezTo>
                      <a:pt x="392" y="312"/>
                      <a:pt x="392" y="312"/>
                      <a:pt x="392" y="312"/>
                    </a:cubicBezTo>
                    <a:cubicBezTo>
                      <a:pt x="393" y="313"/>
                      <a:pt x="393" y="313"/>
                      <a:pt x="393" y="313"/>
                    </a:cubicBezTo>
                    <a:cubicBezTo>
                      <a:pt x="393" y="316"/>
                      <a:pt x="393" y="316"/>
                      <a:pt x="393" y="316"/>
                    </a:cubicBezTo>
                    <a:cubicBezTo>
                      <a:pt x="392" y="317"/>
                      <a:pt x="392" y="317"/>
                      <a:pt x="392" y="317"/>
                    </a:cubicBezTo>
                    <a:cubicBezTo>
                      <a:pt x="392" y="319"/>
                      <a:pt x="392" y="319"/>
                      <a:pt x="392" y="319"/>
                    </a:cubicBezTo>
                    <a:cubicBezTo>
                      <a:pt x="391" y="322"/>
                      <a:pt x="391" y="322"/>
                      <a:pt x="391" y="322"/>
                    </a:cubicBezTo>
                    <a:cubicBezTo>
                      <a:pt x="390" y="325"/>
                      <a:pt x="390" y="325"/>
                      <a:pt x="390" y="325"/>
                    </a:cubicBezTo>
                    <a:cubicBezTo>
                      <a:pt x="389" y="326"/>
                      <a:pt x="389" y="326"/>
                      <a:pt x="389" y="326"/>
                    </a:cubicBezTo>
                    <a:cubicBezTo>
                      <a:pt x="388" y="329"/>
                      <a:pt x="388" y="329"/>
                      <a:pt x="388" y="329"/>
                    </a:cubicBezTo>
                    <a:cubicBezTo>
                      <a:pt x="387" y="329"/>
                      <a:pt x="387" y="329"/>
                      <a:pt x="387" y="329"/>
                    </a:cubicBezTo>
                    <a:cubicBezTo>
                      <a:pt x="385" y="330"/>
                      <a:pt x="385" y="330"/>
                      <a:pt x="385" y="330"/>
                    </a:cubicBezTo>
                    <a:cubicBezTo>
                      <a:pt x="383" y="330"/>
                      <a:pt x="383" y="330"/>
                      <a:pt x="383" y="330"/>
                    </a:cubicBezTo>
                    <a:cubicBezTo>
                      <a:pt x="382" y="328"/>
                      <a:pt x="382" y="328"/>
                      <a:pt x="382" y="328"/>
                    </a:cubicBezTo>
                    <a:cubicBezTo>
                      <a:pt x="380" y="328"/>
                      <a:pt x="380" y="328"/>
                      <a:pt x="380" y="328"/>
                    </a:cubicBezTo>
                    <a:cubicBezTo>
                      <a:pt x="381" y="327"/>
                      <a:pt x="381" y="327"/>
                      <a:pt x="381" y="327"/>
                    </a:cubicBezTo>
                    <a:cubicBezTo>
                      <a:pt x="379" y="325"/>
                      <a:pt x="379" y="325"/>
                      <a:pt x="379" y="325"/>
                    </a:cubicBezTo>
                    <a:cubicBezTo>
                      <a:pt x="379" y="324"/>
                      <a:pt x="379" y="324"/>
                      <a:pt x="379" y="324"/>
                    </a:cubicBezTo>
                    <a:cubicBezTo>
                      <a:pt x="378" y="322"/>
                      <a:pt x="378" y="322"/>
                      <a:pt x="378" y="322"/>
                    </a:cubicBezTo>
                    <a:cubicBezTo>
                      <a:pt x="377" y="322"/>
                      <a:pt x="377" y="322"/>
                      <a:pt x="377" y="322"/>
                    </a:cubicBezTo>
                    <a:cubicBezTo>
                      <a:pt x="376" y="322"/>
                      <a:pt x="376" y="322"/>
                      <a:pt x="376" y="322"/>
                    </a:cubicBezTo>
                    <a:cubicBezTo>
                      <a:pt x="376" y="319"/>
                      <a:pt x="376" y="319"/>
                      <a:pt x="376" y="319"/>
                    </a:cubicBezTo>
                    <a:cubicBezTo>
                      <a:pt x="376" y="317"/>
                      <a:pt x="376" y="317"/>
                      <a:pt x="376" y="317"/>
                    </a:cubicBezTo>
                    <a:cubicBezTo>
                      <a:pt x="373" y="315"/>
                      <a:pt x="373" y="315"/>
                      <a:pt x="373" y="315"/>
                    </a:cubicBezTo>
                    <a:cubicBezTo>
                      <a:pt x="373" y="314"/>
                      <a:pt x="373" y="314"/>
                      <a:pt x="373" y="314"/>
                    </a:cubicBezTo>
                    <a:cubicBezTo>
                      <a:pt x="374" y="313"/>
                      <a:pt x="374" y="313"/>
                      <a:pt x="374" y="313"/>
                    </a:cubicBezTo>
                    <a:cubicBezTo>
                      <a:pt x="374" y="311"/>
                      <a:pt x="374" y="311"/>
                      <a:pt x="374" y="311"/>
                    </a:cubicBezTo>
                    <a:cubicBezTo>
                      <a:pt x="376" y="310"/>
                      <a:pt x="376" y="310"/>
                      <a:pt x="376" y="310"/>
                    </a:cubicBezTo>
                    <a:cubicBezTo>
                      <a:pt x="374" y="310"/>
                      <a:pt x="374" y="310"/>
                      <a:pt x="374" y="310"/>
                    </a:cubicBezTo>
                    <a:cubicBezTo>
                      <a:pt x="373" y="310"/>
                      <a:pt x="373" y="310"/>
                      <a:pt x="373" y="310"/>
                    </a:cubicBezTo>
                    <a:cubicBezTo>
                      <a:pt x="373" y="311"/>
                      <a:pt x="373" y="311"/>
                      <a:pt x="373" y="311"/>
                    </a:cubicBezTo>
                    <a:cubicBezTo>
                      <a:pt x="373" y="312"/>
                      <a:pt x="373" y="312"/>
                      <a:pt x="373" y="312"/>
                    </a:cubicBezTo>
                    <a:cubicBezTo>
                      <a:pt x="372" y="310"/>
                      <a:pt x="372" y="310"/>
                      <a:pt x="372" y="310"/>
                    </a:cubicBezTo>
                    <a:cubicBezTo>
                      <a:pt x="371" y="310"/>
                      <a:pt x="371" y="310"/>
                      <a:pt x="371" y="310"/>
                    </a:cubicBezTo>
                    <a:cubicBezTo>
                      <a:pt x="371" y="309"/>
                      <a:pt x="371" y="309"/>
                      <a:pt x="371" y="309"/>
                    </a:cubicBezTo>
                    <a:cubicBezTo>
                      <a:pt x="370" y="308"/>
                      <a:pt x="370" y="308"/>
                      <a:pt x="370" y="308"/>
                    </a:cubicBezTo>
                    <a:cubicBezTo>
                      <a:pt x="370" y="306"/>
                      <a:pt x="370" y="306"/>
                      <a:pt x="370" y="306"/>
                    </a:cubicBezTo>
                    <a:cubicBezTo>
                      <a:pt x="369" y="304"/>
                      <a:pt x="369" y="304"/>
                      <a:pt x="369" y="304"/>
                    </a:cubicBezTo>
                    <a:cubicBezTo>
                      <a:pt x="371" y="301"/>
                      <a:pt x="371" y="301"/>
                      <a:pt x="371" y="301"/>
                    </a:cubicBezTo>
                    <a:cubicBezTo>
                      <a:pt x="371" y="299"/>
                      <a:pt x="371" y="299"/>
                      <a:pt x="371" y="299"/>
                    </a:cubicBezTo>
                    <a:cubicBezTo>
                      <a:pt x="370" y="299"/>
                      <a:pt x="370" y="299"/>
                      <a:pt x="370" y="299"/>
                    </a:cubicBezTo>
                    <a:cubicBezTo>
                      <a:pt x="369" y="299"/>
                      <a:pt x="369" y="299"/>
                      <a:pt x="369" y="299"/>
                    </a:cubicBez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69" y="302"/>
                      <a:pt x="369" y="302"/>
                      <a:pt x="369" y="302"/>
                    </a:cubicBezTo>
                    <a:cubicBezTo>
                      <a:pt x="368" y="302"/>
                      <a:pt x="368" y="302"/>
                      <a:pt x="368" y="302"/>
                    </a:cubicBezTo>
                    <a:cubicBezTo>
                      <a:pt x="367" y="300"/>
                      <a:pt x="367" y="300"/>
                      <a:pt x="367" y="300"/>
                    </a:cubicBezTo>
                    <a:cubicBezTo>
                      <a:pt x="367" y="299"/>
                      <a:pt x="367" y="299"/>
                      <a:pt x="367" y="299"/>
                    </a:cubicBezTo>
                    <a:cubicBezTo>
                      <a:pt x="369" y="295"/>
                      <a:pt x="369" y="295"/>
                      <a:pt x="369" y="295"/>
                    </a:cubicBezTo>
                    <a:cubicBezTo>
                      <a:pt x="370" y="290"/>
                      <a:pt x="370" y="290"/>
                      <a:pt x="370" y="290"/>
                    </a:cubicBezTo>
                    <a:cubicBezTo>
                      <a:pt x="370" y="288"/>
                      <a:pt x="370" y="288"/>
                      <a:pt x="370" y="288"/>
                    </a:cubicBezTo>
                    <a:cubicBezTo>
                      <a:pt x="369" y="286"/>
                      <a:pt x="369" y="286"/>
                      <a:pt x="369" y="286"/>
                    </a:cubicBezTo>
                    <a:cubicBezTo>
                      <a:pt x="368" y="285"/>
                      <a:pt x="368" y="285"/>
                      <a:pt x="368" y="285"/>
                    </a:cubicBezTo>
                    <a:cubicBezTo>
                      <a:pt x="367" y="284"/>
                      <a:pt x="367" y="284"/>
                      <a:pt x="367" y="284"/>
                    </a:cubicBezTo>
                    <a:cubicBezTo>
                      <a:pt x="367" y="283"/>
                      <a:pt x="367" y="283"/>
                      <a:pt x="367" y="283"/>
                    </a:cubicBezTo>
                    <a:cubicBezTo>
                      <a:pt x="366" y="283"/>
                      <a:pt x="366" y="283"/>
                      <a:pt x="366" y="283"/>
                    </a:cubicBezTo>
                    <a:cubicBezTo>
                      <a:pt x="365" y="282"/>
                      <a:pt x="365" y="282"/>
                      <a:pt x="365" y="282"/>
                    </a:cubicBezTo>
                    <a:cubicBezTo>
                      <a:pt x="364" y="280"/>
                      <a:pt x="364" y="280"/>
                      <a:pt x="364" y="280"/>
                    </a:cubicBezTo>
                    <a:cubicBezTo>
                      <a:pt x="364" y="280"/>
                      <a:pt x="364" y="280"/>
                      <a:pt x="364" y="280"/>
                    </a:cubicBezTo>
                    <a:cubicBezTo>
                      <a:pt x="363" y="279"/>
                      <a:pt x="363" y="279"/>
                      <a:pt x="363" y="279"/>
                    </a:cubicBezTo>
                    <a:cubicBezTo>
                      <a:pt x="362" y="276"/>
                      <a:pt x="362" y="276"/>
                      <a:pt x="362" y="276"/>
                    </a:cubicBezTo>
                    <a:cubicBezTo>
                      <a:pt x="359" y="275"/>
                      <a:pt x="359" y="275"/>
                      <a:pt x="359" y="275"/>
                    </a:cubicBezTo>
                    <a:cubicBezTo>
                      <a:pt x="358" y="274"/>
                      <a:pt x="358" y="274"/>
                      <a:pt x="358" y="274"/>
                    </a:cubicBezTo>
                    <a:cubicBezTo>
                      <a:pt x="356" y="274"/>
                      <a:pt x="356" y="274"/>
                      <a:pt x="356" y="274"/>
                    </a:cubicBezTo>
                    <a:cubicBezTo>
                      <a:pt x="355" y="275"/>
                      <a:pt x="355" y="275"/>
                      <a:pt x="355" y="275"/>
                    </a:cubicBezTo>
                    <a:cubicBezTo>
                      <a:pt x="355" y="276"/>
                      <a:pt x="355" y="276"/>
                      <a:pt x="355" y="276"/>
                    </a:cubicBezTo>
                    <a:cubicBezTo>
                      <a:pt x="355" y="276"/>
                      <a:pt x="355" y="276"/>
                      <a:pt x="355" y="276"/>
                    </a:cubicBezTo>
                    <a:cubicBezTo>
                      <a:pt x="354" y="276"/>
                      <a:pt x="354" y="276"/>
                      <a:pt x="354" y="276"/>
                    </a:cubicBezTo>
                    <a:cubicBezTo>
                      <a:pt x="351" y="278"/>
                      <a:pt x="351" y="278"/>
                      <a:pt x="351" y="278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347" y="279"/>
                      <a:pt x="347" y="279"/>
                      <a:pt x="347" y="279"/>
                    </a:cubicBezTo>
                    <a:cubicBezTo>
                      <a:pt x="346" y="278"/>
                      <a:pt x="346" y="278"/>
                      <a:pt x="346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8"/>
                      <a:pt x="347" y="278"/>
                      <a:pt x="347" y="278"/>
                    </a:cubicBezTo>
                    <a:cubicBezTo>
                      <a:pt x="347" y="277"/>
                      <a:pt x="347" y="277"/>
                      <a:pt x="347" y="277"/>
                    </a:cubicBezTo>
                    <a:cubicBezTo>
                      <a:pt x="346" y="276"/>
                      <a:pt x="346" y="276"/>
                      <a:pt x="346" y="276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4" y="274"/>
                      <a:pt x="344" y="274"/>
                      <a:pt x="344" y="274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5" y="274"/>
                      <a:pt x="345" y="274"/>
                      <a:pt x="345" y="274"/>
                    </a:cubicBezTo>
                    <a:cubicBezTo>
                      <a:pt x="344" y="272"/>
                      <a:pt x="344" y="272"/>
                      <a:pt x="344" y="272"/>
                    </a:cubicBezTo>
                    <a:cubicBezTo>
                      <a:pt x="343" y="271"/>
                      <a:pt x="343" y="271"/>
                      <a:pt x="343" y="271"/>
                    </a:cubicBezTo>
                    <a:cubicBezTo>
                      <a:pt x="342" y="271"/>
                      <a:pt x="342" y="271"/>
                      <a:pt x="342" y="271"/>
                    </a:cubicBezTo>
                    <a:cubicBezTo>
                      <a:pt x="342" y="272"/>
                      <a:pt x="342" y="272"/>
                      <a:pt x="342" y="272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2" y="273"/>
                      <a:pt x="342" y="273"/>
                      <a:pt x="342" y="273"/>
                    </a:cubicBezTo>
                    <a:cubicBezTo>
                      <a:pt x="340" y="271"/>
                      <a:pt x="340" y="271"/>
                      <a:pt x="340" y="271"/>
                    </a:cubicBezTo>
                    <a:cubicBezTo>
                      <a:pt x="338" y="271"/>
                      <a:pt x="338" y="271"/>
                      <a:pt x="338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5" y="271"/>
                      <a:pt x="335" y="271"/>
                      <a:pt x="335" y="271"/>
                    </a:cubicBezTo>
                    <a:cubicBezTo>
                      <a:pt x="338" y="271"/>
                      <a:pt x="338" y="271"/>
                      <a:pt x="338" y="271"/>
                    </a:cubicBezTo>
                    <a:cubicBezTo>
                      <a:pt x="339" y="270"/>
                      <a:pt x="339" y="270"/>
                      <a:pt x="339" y="270"/>
                    </a:cubicBezTo>
                    <a:cubicBezTo>
                      <a:pt x="338" y="270"/>
                      <a:pt x="338" y="270"/>
                      <a:pt x="338" y="270"/>
                    </a:cubicBezTo>
                    <a:cubicBezTo>
                      <a:pt x="336" y="270"/>
                      <a:pt x="336" y="270"/>
                      <a:pt x="336" y="270"/>
                    </a:cubicBezTo>
                    <a:cubicBezTo>
                      <a:pt x="334" y="271"/>
                      <a:pt x="334" y="271"/>
                      <a:pt x="334" y="271"/>
                    </a:cubicBezTo>
                    <a:cubicBezTo>
                      <a:pt x="333" y="271"/>
                      <a:pt x="333" y="271"/>
                      <a:pt x="333" y="271"/>
                    </a:cubicBezTo>
                    <a:cubicBezTo>
                      <a:pt x="330" y="271"/>
                      <a:pt x="330" y="271"/>
                      <a:pt x="330" y="271"/>
                    </a:cubicBezTo>
                    <a:cubicBezTo>
                      <a:pt x="329" y="270"/>
                      <a:pt x="329" y="270"/>
                      <a:pt x="329" y="270"/>
                    </a:cubicBezTo>
                    <a:cubicBezTo>
                      <a:pt x="328" y="271"/>
                      <a:pt x="328" y="271"/>
                      <a:pt x="328" y="271"/>
                    </a:cubicBezTo>
                    <a:cubicBezTo>
                      <a:pt x="325" y="271"/>
                      <a:pt x="325" y="271"/>
                      <a:pt x="325" y="271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2" y="270"/>
                      <a:pt x="322" y="270"/>
                      <a:pt x="322" y="270"/>
                    </a:cubicBezTo>
                    <a:cubicBezTo>
                      <a:pt x="322" y="268"/>
                      <a:pt x="322" y="268"/>
                      <a:pt x="322" y="268"/>
                    </a:cubicBezTo>
                    <a:cubicBezTo>
                      <a:pt x="322" y="267"/>
                      <a:pt x="322" y="267"/>
                      <a:pt x="322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0" y="269"/>
                      <a:pt x="320" y="269"/>
                      <a:pt x="320" y="269"/>
                    </a:cubicBezTo>
                    <a:cubicBezTo>
                      <a:pt x="319" y="270"/>
                      <a:pt x="319" y="270"/>
                      <a:pt x="319" y="270"/>
                    </a:cubicBezTo>
                    <a:cubicBezTo>
                      <a:pt x="318" y="270"/>
                      <a:pt x="318" y="270"/>
                      <a:pt x="318" y="270"/>
                    </a:cubicBezTo>
                    <a:cubicBezTo>
                      <a:pt x="316" y="270"/>
                      <a:pt x="316" y="270"/>
                      <a:pt x="316" y="270"/>
                    </a:cubicBezTo>
                    <a:cubicBezTo>
                      <a:pt x="314" y="270"/>
                      <a:pt x="314" y="270"/>
                      <a:pt x="314" y="270"/>
                    </a:cubicBezTo>
                    <a:cubicBezTo>
                      <a:pt x="309" y="271"/>
                      <a:pt x="309" y="271"/>
                      <a:pt x="309" y="271"/>
                    </a:cubicBezTo>
                    <a:cubicBezTo>
                      <a:pt x="307" y="273"/>
                      <a:pt x="307" y="273"/>
                      <a:pt x="307" y="273"/>
                    </a:cubicBezTo>
                    <a:cubicBezTo>
                      <a:pt x="304" y="274"/>
                      <a:pt x="304" y="274"/>
                      <a:pt x="304" y="274"/>
                    </a:cubicBezTo>
                    <a:cubicBezTo>
                      <a:pt x="302" y="276"/>
                      <a:pt x="302" y="276"/>
                      <a:pt x="302" y="276"/>
                    </a:cubicBezTo>
                    <a:cubicBezTo>
                      <a:pt x="302" y="277"/>
                      <a:pt x="302" y="277"/>
                      <a:pt x="302" y="277"/>
                    </a:cubicBezTo>
                    <a:cubicBezTo>
                      <a:pt x="303" y="277"/>
                      <a:pt x="303" y="277"/>
                      <a:pt x="303" y="277"/>
                    </a:cubicBezTo>
                    <a:cubicBezTo>
                      <a:pt x="304" y="275"/>
                      <a:pt x="304" y="275"/>
                      <a:pt x="304" y="275"/>
                    </a:cubicBezTo>
                    <a:cubicBezTo>
                      <a:pt x="305" y="276"/>
                      <a:pt x="305" y="276"/>
                      <a:pt x="305" y="276"/>
                    </a:cubicBezTo>
                    <a:cubicBezTo>
                      <a:pt x="306" y="277"/>
                      <a:pt x="306" y="277"/>
                      <a:pt x="306" y="277"/>
                    </a:cubicBezTo>
                    <a:cubicBezTo>
                      <a:pt x="307" y="277"/>
                      <a:pt x="307" y="277"/>
                      <a:pt x="307" y="277"/>
                    </a:cubicBezTo>
                    <a:cubicBezTo>
                      <a:pt x="307" y="278"/>
                      <a:pt x="307" y="278"/>
                      <a:pt x="307" y="278"/>
                    </a:cubicBezTo>
                    <a:cubicBezTo>
                      <a:pt x="304" y="279"/>
                      <a:pt x="304" y="279"/>
                      <a:pt x="304" y="279"/>
                    </a:cubicBezTo>
                    <a:cubicBezTo>
                      <a:pt x="304" y="281"/>
                      <a:pt x="304" y="281"/>
                      <a:pt x="304" y="281"/>
                    </a:cubicBezTo>
                    <a:cubicBezTo>
                      <a:pt x="304" y="282"/>
                      <a:pt x="304" y="282"/>
                      <a:pt x="304" y="282"/>
                    </a:cubicBezTo>
                    <a:cubicBezTo>
                      <a:pt x="307" y="283"/>
                      <a:pt x="307" y="283"/>
                      <a:pt x="307" y="283"/>
                    </a:cubicBezTo>
                    <a:cubicBezTo>
                      <a:pt x="310" y="285"/>
                      <a:pt x="310" y="285"/>
                      <a:pt x="310" y="285"/>
                    </a:cubicBezTo>
                    <a:cubicBezTo>
                      <a:pt x="310" y="286"/>
                      <a:pt x="310" y="286"/>
                      <a:pt x="310" y="286"/>
                    </a:cubicBezTo>
                    <a:cubicBezTo>
                      <a:pt x="308" y="286"/>
                      <a:pt x="308" y="286"/>
                      <a:pt x="308" y="286"/>
                    </a:cubicBezTo>
                    <a:cubicBezTo>
                      <a:pt x="307" y="287"/>
                      <a:pt x="307" y="287"/>
                      <a:pt x="307" y="287"/>
                    </a:cubicBezTo>
                    <a:cubicBezTo>
                      <a:pt x="307" y="286"/>
                      <a:pt x="307" y="286"/>
                      <a:pt x="307" y="286"/>
                    </a:cubicBezTo>
                    <a:cubicBezTo>
                      <a:pt x="306" y="285"/>
                      <a:pt x="306" y="285"/>
                      <a:pt x="306" y="285"/>
                    </a:cubicBezTo>
                    <a:cubicBezTo>
                      <a:pt x="305" y="285"/>
                      <a:pt x="305" y="285"/>
                      <a:pt x="305" y="285"/>
                    </a:cubicBezTo>
                    <a:cubicBezTo>
                      <a:pt x="304" y="284"/>
                      <a:pt x="304" y="284"/>
                      <a:pt x="304" y="284"/>
                    </a:cubicBezTo>
                    <a:cubicBezTo>
                      <a:pt x="303" y="283"/>
                      <a:pt x="303" y="283"/>
                      <a:pt x="303" y="283"/>
                    </a:cubicBezTo>
                    <a:cubicBezTo>
                      <a:pt x="302" y="281"/>
                      <a:pt x="302" y="281"/>
                      <a:pt x="302" y="281"/>
                    </a:cubicBezTo>
                    <a:cubicBezTo>
                      <a:pt x="300" y="281"/>
                      <a:pt x="300" y="281"/>
                      <a:pt x="300" y="281"/>
                    </a:cubicBezTo>
                    <a:cubicBezTo>
                      <a:pt x="301" y="283"/>
                      <a:pt x="301" y="283"/>
                      <a:pt x="301" y="283"/>
                    </a:cubicBezTo>
                    <a:cubicBezTo>
                      <a:pt x="301" y="285"/>
                      <a:pt x="301" y="285"/>
                      <a:pt x="301" y="285"/>
                    </a:cubicBezTo>
                    <a:cubicBezTo>
                      <a:pt x="299" y="286"/>
                      <a:pt x="299" y="286"/>
                      <a:pt x="299" y="286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7" y="284"/>
                      <a:pt x="297" y="284"/>
                      <a:pt x="297" y="284"/>
                    </a:cubicBezTo>
                    <a:cubicBezTo>
                      <a:pt x="295" y="285"/>
                      <a:pt x="295" y="285"/>
                      <a:pt x="295" y="285"/>
                    </a:cubicBezTo>
                    <a:cubicBezTo>
                      <a:pt x="294" y="286"/>
                      <a:pt x="294" y="286"/>
                      <a:pt x="294" y="286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91" y="284"/>
                      <a:pt x="291" y="284"/>
                      <a:pt x="291" y="284"/>
                    </a:cubicBezTo>
                    <a:cubicBezTo>
                      <a:pt x="289" y="285"/>
                      <a:pt x="289" y="285"/>
                      <a:pt x="289" y="285"/>
                    </a:cubicBezTo>
                    <a:cubicBezTo>
                      <a:pt x="288" y="284"/>
                      <a:pt x="288" y="284"/>
                      <a:pt x="288" y="284"/>
                    </a:cubicBezTo>
                    <a:cubicBezTo>
                      <a:pt x="289" y="283"/>
                      <a:pt x="289" y="283"/>
                      <a:pt x="289" y="283"/>
                    </a:cubicBezTo>
                    <a:cubicBezTo>
                      <a:pt x="290" y="282"/>
                      <a:pt x="290" y="282"/>
                      <a:pt x="290" y="282"/>
                    </a:cubicBezTo>
                    <a:cubicBezTo>
                      <a:pt x="289" y="281"/>
                      <a:pt x="289" y="281"/>
                      <a:pt x="289" y="281"/>
                    </a:cubicBezTo>
                    <a:cubicBezTo>
                      <a:pt x="287" y="281"/>
                      <a:pt x="287" y="281"/>
                      <a:pt x="287" y="281"/>
                    </a:cubicBezTo>
                    <a:cubicBezTo>
                      <a:pt x="287" y="280"/>
                      <a:pt x="287" y="280"/>
                      <a:pt x="287" y="280"/>
                    </a:cubicBezTo>
                    <a:cubicBezTo>
                      <a:pt x="287" y="279"/>
                      <a:pt x="287" y="279"/>
                      <a:pt x="287" y="279"/>
                    </a:cubicBezTo>
                    <a:cubicBezTo>
                      <a:pt x="286" y="278"/>
                      <a:pt x="286" y="278"/>
                      <a:pt x="286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cubicBezTo>
                      <a:pt x="284" y="278"/>
                      <a:pt x="284" y="278"/>
                      <a:pt x="284" y="278"/>
                    </a:cubicBezTo>
                    <a:cubicBezTo>
                      <a:pt x="285" y="277"/>
                      <a:pt x="285" y="277"/>
                      <a:pt x="285" y="277"/>
                    </a:cubicBezTo>
                    <a:cubicBezTo>
                      <a:pt x="283" y="277"/>
                      <a:pt x="283" y="277"/>
                      <a:pt x="283" y="277"/>
                    </a:cubicBezTo>
                    <a:cubicBezTo>
                      <a:pt x="282" y="278"/>
                      <a:pt x="282" y="278"/>
                      <a:pt x="282" y="278"/>
                    </a:cubicBezTo>
                    <a:cubicBezTo>
                      <a:pt x="281" y="279"/>
                      <a:pt x="281" y="279"/>
                      <a:pt x="281" y="279"/>
                    </a:cubicBezTo>
                    <a:cubicBezTo>
                      <a:pt x="282" y="280"/>
                      <a:pt x="282" y="280"/>
                      <a:pt x="282" y="280"/>
                    </a:cubicBezTo>
                    <a:cubicBezTo>
                      <a:pt x="280" y="280"/>
                      <a:pt x="280" y="280"/>
                      <a:pt x="280" y="280"/>
                    </a:cubicBezTo>
                    <a:cubicBezTo>
                      <a:pt x="274" y="279"/>
                      <a:pt x="274" y="279"/>
                      <a:pt x="274" y="279"/>
                    </a:cubicBezTo>
                    <a:cubicBezTo>
                      <a:pt x="274" y="278"/>
                      <a:pt x="274" y="278"/>
                      <a:pt x="274" y="278"/>
                    </a:cubicBezTo>
                    <a:cubicBezTo>
                      <a:pt x="269" y="277"/>
                      <a:pt x="269" y="277"/>
                      <a:pt x="269" y="277"/>
                    </a:cubicBezTo>
                    <a:cubicBezTo>
                      <a:pt x="267" y="277"/>
                      <a:pt x="267" y="277"/>
                      <a:pt x="267" y="277"/>
                    </a:cubicBezTo>
                    <a:cubicBezTo>
                      <a:pt x="263" y="278"/>
                      <a:pt x="263" y="278"/>
                      <a:pt x="263" y="278"/>
                    </a:cubicBezTo>
                    <a:cubicBezTo>
                      <a:pt x="262" y="279"/>
                      <a:pt x="262" y="279"/>
                      <a:pt x="262" y="279"/>
                    </a:cubicBezTo>
                    <a:cubicBezTo>
                      <a:pt x="261" y="279"/>
                      <a:pt x="261" y="279"/>
                      <a:pt x="261" y="279"/>
                    </a:cubicBezTo>
                    <a:cubicBezTo>
                      <a:pt x="259" y="281"/>
                      <a:pt x="259" y="281"/>
                      <a:pt x="259" y="281"/>
                    </a:cubicBezTo>
                    <a:cubicBezTo>
                      <a:pt x="257" y="282"/>
                      <a:pt x="257" y="282"/>
                      <a:pt x="257" y="282"/>
                    </a:cubicBezTo>
                    <a:cubicBezTo>
                      <a:pt x="257" y="280"/>
                      <a:pt x="257" y="280"/>
                      <a:pt x="257" y="280"/>
                    </a:cubicBezTo>
                    <a:cubicBezTo>
                      <a:pt x="257" y="278"/>
                      <a:pt x="257" y="278"/>
                      <a:pt x="257" y="278"/>
                    </a:cubicBezTo>
                    <a:cubicBezTo>
                      <a:pt x="258" y="277"/>
                      <a:pt x="258" y="277"/>
                      <a:pt x="258" y="277"/>
                    </a:cubicBezTo>
                    <a:cubicBezTo>
                      <a:pt x="257" y="275"/>
                      <a:pt x="257" y="275"/>
                      <a:pt x="257" y="275"/>
                    </a:cubicBezTo>
                    <a:cubicBezTo>
                      <a:pt x="257" y="276"/>
                      <a:pt x="257" y="276"/>
                      <a:pt x="257" y="276"/>
                    </a:cubicBezTo>
                    <a:cubicBezTo>
                      <a:pt x="255" y="278"/>
                      <a:pt x="255" y="278"/>
                      <a:pt x="255" y="278"/>
                    </a:cubicBezTo>
                    <a:cubicBezTo>
                      <a:pt x="254" y="278"/>
                      <a:pt x="254" y="278"/>
                      <a:pt x="254" y="278"/>
                    </a:cubicBezTo>
                    <a:cubicBezTo>
                      <a:pt x="253" y="276"/>
                      <a:pt x="253" y="276"/>
                      <a:pt x="253" y="276"/>
                    </a:cubicBezTo>
                    <a:cubicBezTo>
                      <a:pt x="254" y="279"/>
                      <a:pt x="254" y="279"/>
                      <a:pt x="254" y="279"/>
                    </a:cubicBezTo>
                    <a:cubicBezTo>
                      <a:pt x="254" y="281"/>
                      <a:pt x="254" y="281"/>
                      <a:pt x="254" y="281"/>
                    </a:cubicBezTo>
                    <a:cubicBezTo>
                      <a:pt x="255" y="283"/>
                      <a:pt x="255" y="283"/>
                      <a:pt x="255" y="283"/>
                    </a:cubicBezTo>
                    <a:cubicBezTo>
                      <a:pt x="253" y="284"/>
                      <a:pt x="253" y="284"/>
                      <a:pt x="253" y="284"/>
                    </a:cubicBezTo>
                    <a:cubicBezTo>
                      <a:pt x="252" y="284"/>
                      <a:pt x="252" y="284"/>
                      <a:pt x="252" y="284"/>
                    </a:cubicBezTo>
                    <a:cubicBezTo>
                      <a:pt x="249" y="287"/>
                      <a:pt x="249" y="287"/>
                      <a:pt x="249" y="287"/>
                    </a:cubicBezTo>
                    <a:cubicBezTo>
                      <a:pt x="245" y="289"/>
                      <a:pt x="245" y="289"/>
                      <a:pt x="245" y="289"/>
                    </a:cubicBezTo>
                    <a:cubicBezTo>
                      <a:pt x="244" y="289"/>
                      <a:pt x="244" y="289"/>
                      <a:pt x="244" y="289"/>
                    </a:cubicBezTo>
                    <a:cubicBezTo>
                      <a:pt x="242" y="291"/>
                      <a:pt x="242" y="291"/>
                      <a:pt x="242" y="291"/>
                    </a:cubicBezTo>
                    <a:cubicBezTo>
                      <a:pt x="240" y="291"/>
                      <a:pt x="240" y="291"/>
                      <a:pt x="240" y="291"/>
                    </a:cubicBezTo>
                    <a:cubicBezTo>
                      <a:pt x="242" y="289"/>
                      <a:pt x="242" y="289"/>
                      <a:pt x="242" y="289"/>
                    </a:cubicBezTo>
                    <a:cubicBezTo>
                      <a:pt x="241" y="288"/>
                      <a:pt x="241" y="288"/>
                      <a:pt x="241" y="288"/>
                    </a:cubicBezTo>
                    <a:cubicBezTo>
                      <a:pt x="240" y="289"/>
                      <a:pt x="240" y="289"/>
                      <a:pt x="240" y="289"/>
                    </a:cubicBezTo>
                    <a:cubicBezTo>
                      <a:pt x="239" y="288"/>
                      <a:pt x="239" y="288"/>
                      <a:pt x="239" y="288"/>
                    </a:cubicBezTo>
                    <a:cubicBezTo>
                      <a:pt x="237" y="289"/>
                      <a:pt x="237" y="289"/>
                      <a:pt x="237" y="289"/>
                    </a:cubicBezTo>
                    <a:cubicBezTo>
                      <a:pt x="238" y="290"/>
                      <a:pt x="238" y="290"/>
                      <a:pt x="238" y="290"/>
                    </a:cubicBezTo>
                    <a:cubicBezTo>
                      <a:pt x="236" y="291"/>
                      <a:pt x="236" y="291"/>
                      <a:pt x="236" y="291"/>
                    </a:cubicBezTo>
                    <a:cubicBezTo>
                      <a:pt x="235" y="290"/>
                      <a:pt x="235" y="290"/>
                      <a:pt x="235" y="290"/>
                    </a:cubicBezTo>
                    <a:cubicBezTo>
                      <a:pt x="235" y="293"/>
                      <a:pt x="235" y="293"/>
                      <a:pt x="235" y="293"/>
                    </a:cubicBezTo>
                    <a:cubicBezTo>
                      <a:pt x="234" y="294"/>
                      <a:pt x="234" y="294"/>
                      <a:pt x="234" y="294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1" y="295"/>
                      <a:pt x="231" y="295"/>
                      <a:pt x="231" y="295"/>
                    </a:cubicBezTo>
                    <a:cubicBezTo>
                      <a:pt x="232" y="296"/>
                      <a:pt x="232" y="296"/>
                      <a:pt x="232" y="296"/>
                    </a:cubicBezTo>
                    <a:cubicBezTo>
                      <a:pt x="230" y="298"/>
                      <a:pt x="230" y="298"/>
                      <a:pt x="230" y="298"/>
                    </a:cubicBezTo>
                    <a:cubicBezTo>
                      <a:pt x="229" y="299"/>
                      <a:pt x="229" y="299"/>
                      <a:pt x="229" y="299"/>
                    </a:cubicBezTo>
                    <a:cubicBezTo>
                      <a:pt x="229" y="302"/>
                      <a:pt x="229" y="302"/>
                      <a:pt x="229" y="302"/>
                    </a:cubicBezTo>
                    <a:cubicBezTo>
                      <a:pt x="228" y="304"/>
                      <a:pt x="228" y="304"/>
                      <a:pt x="228" y="304"/>
                    </a:cubicBezTo>
                    <a:cubicBezTo>
                      <a:pt x="227" y="307"/>
                      <a:pt x="227" y="307"/>
                      <a:pt x="227" y="307"/>
                    </a:cubicBezTo>
                    <a:cubicBezTo>
                      <a:pt x="226" y="310"/>
                      <a:pt x="226" y="310"/>
                      <a:pt x="226" y="310"/>
                    </a:cubicBezTo>
                    <a:cubicBezTo>
                      <a:pt x="227" y="311"/>
                      <a:pt x="227" y="311"/>
                      <a:pt x="227" y="311"/>
                    </a:cubicBezTo>
                    <a:cubicBezTo>
                      <a:pt x="227" y="315"/>
                      <a:pt x="227" y="315"/>
                      <a:pt x="227" y="315"/>
                    </a:cubicBezTo>
                    <a:cubicBezTo>
                      <a:pt x="227" y="317"/>
                      <a:pt x="227" y="317"/>
                      <a:pt x="227" y="317"/>
                    </a:cubicBezTo>
                    <a:cubicBezTo>
                      <a:pt x="226" y="319"/>
                      <a:pt x="226" y="319"/>
                      <a:pt x="226" y="319"/>
                    </a:cubicBezTo>
                    <a:cubicBezTo>
                      <a:pt x="225" y="322"/>
                      <a:pt x="225" y="322"/>
                      <a:pt x="225" y="322"/>
                    </a:cubicBezTo>
                    <a:cubicBezTo>
                      <a:pt x="225" y="321"/>
                      <a:pt x="225" y="321"/>
                      <a:pt x="225" y="321"/>
                    </a:cubicBezTo>
                    <a:cubicBezTo>
                      <a:pt x="224" y="320"/>
                      <a:pt x="224" y="320"/>
                      <a:pt x="224" y="320"/>
                    </a:cubicBezTo>
                    <a:cubicBezTo>
                      <a:pt x="222" y="320"/>
                      <a:pt x="222" y="320"/>
                      <a:pt x="222" y="320"/>
                    </a:cubicBezTo>
                    <a:cubicBezTo>
                      <a:pt x="220" y="319"/>
                      <a:pt x="220" y="319"/>
                      <a:pt x="220" y="319"/>
                    </a:cubicBezTo>
                    <a:cubicBezTo>
                      <a:pt x="217" y="318"/>
                      <a:pt x="217" y="318"/>
                      <a:pt x="217" y="318"/>
                    </a:cubicBezTo>
                    <a:cubicBezTo>
                      <a:pt x="216" y="316"/>
                      <a:pt x="216" y="316"/>
                      <a:pt x="216" y="316"/>
                    </a:cubicBezTo>
                    <a:cubicBezTo>
                      <a:pt x="214" y="315"/>
                      <a:pt x="214" y="315"/>
                      <a:pt x="214" y="315"/>
                    </a:cubicBezTo>
                    <a:cubicBezTo>
                      <a:pt x="213" y="316"/>
                      <a:pt x="213" y="316"/>
                      <a:pt x="213" y="316"/>
                    </a:cubicBezTo>
                    <a:cubicBezTo>
                      <a:pt x="212" y="315"/>
                      <a:pt x="212" y="315"/>
                      <a:pt x="212" y="315"/>
                    </a:cubicBezTo>
                    <a:cubicBezTo>
                      <a:pt x="212" y="315"/>
                      <a:pt x="212" y="315"/>
                      <a:pt x="212" y="315"/>
                    </a:cubicBezTo>
                    <a:cubicBezTo>
                      <a:pt x="211" y="314"/>
                      <a:pt x="211" y="314"/>
                      <a:pt x="211" y="314"/>
                    </a:cubicBezTo>
                    <a:cubicBezTo>
                      <a:pt x="211" y="311"/>
                      <a:pt x="211" y="311"/>
                      <a:pt x="211" y="311"/>
                    </a:cubicBezTo>
                    <a:cubicBezTo>
                      <a:pt x="209" y="306"/>
                      <a:pt x="209" y="306"/>
                      <a:pt x="209" y="306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3"/>
                      <a:pt x="209" y="303"/>
                      <a:pt x="209" y="303"/>
                    </a:cubicBezTo>
                    <a:cubicBezTo>
                      <a:pt x="209" y="301"/>
                      <a:pt x="209" y="301"/>
                      <a:pt x="209" y="301"/>
                    </a:cubicBezTo>
                    <a:cubicBezTo>
                      <a:pt x="208" y="299"/>
                      <a:pt x="208" y="299"/>
                      <a:pt x="208" y="299"/>
                    </a:cubicBezTo>
                    <a:cubicBezTo>
                      <a:pt x="207" y="298"/>
                      <a:pt x="207" y="298"/>
                      <a:pt x="207" y="298"/>
                    </a:cubicBezTo>
                    <a:cubicBezTo>
                      <a:pt x="206" y="296"/>
                      <a:pt x="206" y="296"/>
                      <a:pt x="206" y="296"/>
                    </a:cubicBezTo>
                    <a:cubicBezTo>
                      <a:pt x="205" y="295"/>
                      <a:pt x="205" y="295"/>
                      <a:pt x="205" y="295"/>
                    </a:cubicBezTo>
                    <a:cubicBezTo>
                      <a:pt x="205" y="293"/>
                      <a:pt x="205" y="293"/>
                      <a:pt x="205" y="293"/>
                    </a:cubicBezTo>
                    <a:cubicBezTo>
                      <a:pt x="204" y="293"/>
                      <a:pt x="204" y="293"/>
                      <a:pt x="204" y="293"/>
                    </a:cubicBezTo>
                    <a:cubicBezTo>
                      <a:pt x="202" y="289"/>
                      <a:pt x="202" y="289"/>
                      <a:pt x="202" y="289"/>
                    </a:cubicBezTo>
                    <a:cubicBezTo>
                      <a:pt x="202" y="288"/>
                      <a:pt x="202" y="288"/>
                      <a:pt x="202" y="288"/>
                    </a:cubicBezTo>
                    <a:cubicBezTo>
                      <a:pt x="201" y="287"/>
                      <a:pt x="201" y="287"/>
                      <a:pt x="201" y="287"/>
                    </a:cubicBezTo>
                    <a:cubicBezTo>
                      <a:pt x="201" y="285"/>
                      <a:pt x="201" y="285"/>
                      <a:pt x="201" y="285"/>
                    </a:cubicBezTo>
                    <a:cubicBezTo>
                      <a:pt x="201" y="284"/>
                      <a:pt x="201" y="284"/>
                      <a:pt x="201" y="284"/>
                    </a:cubicBezTo>
                    <a:cubicBezTo>
                      <a:pt x="200" y="283"/>
                      <a:pt x="200" y="283"/>
                      <a:pt x="200" y="283"/>
                    </a:cubicBezTo>
                    <a:cubicBezTo>
                      <a:pt x="199" y="281"/>
                      <a:pt x="199" y="281"/>
                      <a:pt x="199" y="281"/>
                    </a:cubicBezTo>
                    <a:cubicBezTo>
                      <a:pt x="198" y="278"/>
                      <a:pt x="198" y="278"/>
                      <a:pt x="198" y="278"/>
                    </a:cubicBezTo>
                    <a:cubicBezTo>
                      <a:pt x="196" y="277"/>
                      <a:pt x="196" y="277"/>
                      <a:pt x="196" y="277"/>
                    </a:cubicBezTo>
                    <a:cubicBezTo>
                      <a:pt x="195" y="275"/>
                      <a:pt x="195" y="275"/>
                      <a:pt x="195" y="275"/>
                    </a:cubicBezTo>
                    <a:cubicBezTo>
                      <a:pt x="194" y="275"/>
                      <a:pt x="194" y="275"/>
                      <a:pt x="194" y="275"/>
                    </a:cubicBezTo>
                    <a:cubicBezTo>
                      <a:pt x="193" y="275"/>
                      <a:pt x="193" y="275"/>
                      <a:pt x="193" y="275"/>
                    </a:cubicBezTo>
                    <a:cubicBezTo>
                      <a:pt x="192" y="274"/>
                      <a:pt x="192" y="274"/>
                      <a:pt x="192" y="274"/>
                    </a:cubicBezTo>
                    <a:cubicBezTo>
                      <a:pt x="191" y="274"/>
                      <a:pt x="191" y="274"/>
                      <a:pt x="191" y="274"/>
                    </a:cubicBezTo>
                    <a:cubicBezTo>
                      <a:pt x="190" y="274"/>
                      <a:pt x="190" y="274"/>
                      <a:pt x="190" y="274"/>
                    </a:cubicBezTo>
                    <a:cubicBezTo>
                      <a:pt x="188" y="274"/>
                      <a:pt x="188" y="274"/>
                      <a:pt x="188" y="274"/>
                    </a:cubicBezTo>
                    <a:cubicBezTo>
                      <a:pt x="186" y="274"/>
                      <a:pt x="186" y="274"/>
                      <a:pt x="186" y="274"/>
                    </a:cubicBezTo>
                    <a:cubicBezTo>
                      <a:pt x="186" y="275"/>
                      <a:pt x="186" y="275"/>
                      <a:pt x="186" y="275"/>
                    </a:cubicBezTo>
                    <a:cubicBezTo>
                      <a:pt x="185" y="275"/>
                      <a:pt x="185" y="275"/>
                      <a:pt x="185" y="275"/>
                    </a:cubicBezTo>
                    <a:cubicBezTo>
                      <a:pt x="185" y="275"/>
                      <a:pt x="185" y="275"/>
                      <a:pt x="185" y="275"/>
                    </a:cubicBezTo>
                    <a:cubicBezTo>
                      <a:pt x="184" y="275"/>
                      <a:pt x="184" y="275"/>
                      <a:pt x="184" y="275"/>
                    </a:cubicBezTo>
                    <a:cubicBezTo>
                      <a:pt x="183" y="275"/>
                      <a:pt x="183" y="275"/>
                      <a:pt x="183" y="275"/>
                    </a:cubicBezTo>
                    <a:cubicBezTo>
                      <a:pt x="182" y="276"/>
                      <a:pt x="182" y="276"/>
                      <a:pt x="182" y="276"/>
                    </a:cubicBezTo>
                    <a:cubicBezTo>
                      <a:pt x="180" y="279"/>
                      <a:pt x="180" y="279"/>
                      <a:pt x="180" y="279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0" y="281"/>
                      <a:pt x="180" y="281"/>
                      <a:pt x="180" y="281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83"/>
                      <a:pt x="177" y="283"/>
                      <a:pt x="177" y="283"/>
                    </a:cubicBezTo>
                    <a:cubicBezTo>
                      <a:pt x="177" y="283"/>
                      <a:pt x="177" y="283"/>
                      <a:pt x="177" y="283"/>
                    </a:cubicBezTo>
                    <a:cubicBezTo>
                      <a:pt x="176" y="284"/>
                      <a:pt x="176" y="284"/>
                      <a:pt x="176" y="284"/>
                    </a:cubicBezTo>
                    <a:cubicBezTo>
                      <a:pt x="175" y="283"/>
                      <a:pt x="175" y="283"/>
                      <a:pt x="175" y="283"/>
                    </a:cubicBezTo>
                    <a:cubicBezTo>
                      <a:pt x="175" y="283"/>
                      <a:pt x="175" y="283"/>
                      <a:pt x="175" y="283"/>
                    </a:cubicBezTo>
                    <a:cubicBezTo>
                      <a:pt x="173" y="282"/>
                      <a:pt x="173" y="282"/>
                      <a:pt x="173" y="282"/>
                    </a:cubicBezTo>
                    <a:cubicBezTo>
                      <a:pt x="171" y="281"/>
                      <a:pt x="171" y="281"/>
                      <a:pt x="171" y="281"/>
                    </a:cubicBezTo>
                    <a:cubicBezTo>
                      <a:pt x="171" y="280"/>
                      <a:pt x="171" y="280"/>
                      <a:pt x="171" y="280"/>
                    </a:cubicBezTo>
                    <a:cubicBezTo>
                      <a:pt x="169" y="279"/>
                      <a:pt x="169" y="279"/>
                      <a:pt x="169" y="279"/>
                    </a:cubicBezTo>
                    <a:cubicBezTo>
                      <a:pt x="168" y="279"/>
                      <a:pt x="168" y="279"/>
                      <a:pt x="168" y="279"/>
                    </a:cubicBezTo>
                    <a:cubicBezTo>
                      <a:pt x="167" y="279"/>
                      <a:pt x="167" y="279"/>
                      <a:pt x="167" y="279"/>
                    </a:cubicBezTo>
                    <a:cubicBezTo>
                      <a:pt x="167" y="278"/>
                      <a:pt x="167" y="278"/>
                      <a:pt x="167" y="278"/>
                    </a:cubicBezTo>
                    <a:cubicBezTo>
                      <a:pt x="167" y="277"/>
                      <a:pt x="167" y="277"/>
                      <a:pt x="167" y="277"/>
                    </a:cubicBezTo>
                    <a:cubicBezTo>
                      <a:pt x="166" y="277"/>
                      <a:pt x="166" y="277"/>
                      <a:pt x="166" y="277"/>
                    </a:cubicBezTo>
                    <a:cubicBezTo>
                      <a:pt x="165" y="277"/>
                      <a:pt x="165" y="277"/>
                      <a:pt x="165" y="277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4" y="276"/>
                      <a:pt x="164" y="276"/>
                      <a:pt x="164" y="276"/>
                    </a:cubicBezTo>
                    <a:cubicBezTo>
                      <a:pt x="163" y="274"/>
                      <a:pt x="163" y="274"/>
                      <a:pt x="163" y="274"/>
                    </a:cubicBezTo>
                    <a:cubicBezTo>
                      <a:pt x="162" y="273"/>
                      <a:pt x="162" y="273"/>
                      <a:pt x="162" y="273"/>
                    </a:cubicBezTo>
                    <a:cubicBezTo>
                      <a:pt x="160" y="271"/>
                      <a:pt x="160" y="271"/>
                      <a:pt x="160" y="271"/>
                    </a:cubicBezTo>
                    <a:cubicBezTo>
                      <a:pt x="160" y="270"/>
                      <a:pt x="160" y="270"/>
                      <a:pt x="160" y="270"/>
                    </a:cubicBezTo>
                    <a:cubicBezTo>
                      <a:pt x="161" y="270"/>
                      <a:pt x="161" y="270"/>
                      <a:pt x="161" y="270"/>
                    </a:cubicBezTo>
                    <a:cubicBezTo>
                      <a:pt x="162" y="269"/>
                      <a:pt x="162" y="269"/>
                      <a:pt x="162" y="269"/>
                    </a:cubicBezTo>
                    <a:cubicBezTo>
                      <a:pt x="162" y="268"/>
                      <a:pt x="162" y="268"/>
                      <a:pt x="162" y="268"/>
                    </a:cubicBezTo>
                    <a:cubicBezTo>
                      <a:pt x="161" y="267"/>
                      <a:pt x="161" y="267"/>
                      <a:pt x="161" y="267"/>
                    </a:cubicBezTo>
                    <a:cubicBezTo>
                      <a:pt x="161" y="266"/>
                      <a:pt x="161" y="266"/>
                      <a:pt x="161" y="266"/>
                    </a:cubicBezTo>
                    <a:cubicBezTo>
                      <a:pt x="160" y="266"/>
                      <a:pt x="160" y="266"/>
                      <a:pt x="160" y="266"/>
                    </a:cubicBezTo>
                    <a:cubicBezTo>
                      <a:pt x="159" y="265"/>
                      <a:pt x="159" y="265"/>
                      <a:pt x="159" y="265"/>
                    </a:cubicBezTo>
                    <a:cubicBezTo>
                      <a:pt x="159" y="263"/>
                      <a:pt x="159" y="263"/>
                      <a:pt x="159" y="263"/>
                    </a:cubicBezTo>
                    <a:cubicBezTo>
                      <a:pt x="158" y="261"/>
                      <a:pt x="158" y="261"/>
                      <a:pt x="158" y="261"/>
                    </a:cubicBezTo>
                    <a:cubicBezTo>
                      <a:pt x="157" y="260"/>
                      <a:pt x="157" y="260"/>
                      <a:pt x="157" y="260"/>
                    </a:cubicBezTo>
                    <a:cubicBezTo>
                      <a:pt x="156" y="260"/>
                      <a:pt x="156" y="260"/>
                      <a:pt x="156" y="260"/>
                    </a:cubicBezTo>
                    <a:cubicBezTo>
                      <a:pt x="156" y="259"/>
                      <a:pt x="156" y="259"/>
                      <a:pt x="156" y="259"/>
                    </a:cubicBezTo>
                    <a:cubicBezTo>
                      <a:pt x="156" y="258"/>
                      <a:pt x="156" y="258"/>
                      <a:pt x="156" y="258"/>
                    </a:cubicBezTo>
                    <a:cubicBezTo>
                      <a:pt x="155" y="257"/>
                      <a:pt x="155" y="257"/>
                      <a:pt x="155" y="257"/>
                    </a:cubicBezTo>
                    <a:cubicBezTo>
                      <a:pt x="153" y="257"/>
                      <a:pt x="153" y="257"/>
                      <a:pt x="153" y="257"/>
                    </a:cubicBezTo>
                    <a:cubicBezTo>
                      <a:pt x="154" y="256"/>
                      <a:pt x="154" y="256"/>
                      <a:pt x="154" y="256"/>
                    </a:cubicBezTo>
                    <a:cubicBezTo>
                      <a:pt x="153" y="254"/>
                      <a:pt x="153" y="254"/>
                      <a:pt x="153" y="254"/>
                    </a:cubicBezTo>
                    <a:cubicBezTo>
                      <a:pt x="152" y="254"/>
                      <a:pt x="152" y="254"/>
                      <a:pt x="152" y="254"/>
                    </a:cubicBezTo>
                    <a:cubicBezTo>
                      <a:pt x="152" y="253"/>
                      <a:pt x="152" y="253"/>
                      <a:pt x="152" y="253"/>
                    </a:cubicBezTo>
                    <a:cubicBezTo>
                      <a:pt x="151" y="252"/>
                      <a:pt x="151" y="252"/>
                      <a:pt x="151" y="252"/>
                    </a:cubicBezTo>
                    <a:cubicBezTo>
                      <a:pt x="149" y="250"/>
                      <a:pt x="149" y="250"/>
                      <a:pt x="149" y="250"/>
                    </a:cubicBezTo>
                    <a:cubicBezTo>
                      <a:pt x="147" y="249"/>
                      <a:pt x="147" y="249"/>
                      <a:pt x="147" y="249"/>
                    </a:cubicBezTo>
                    <a:cubicBezTo>
                      <a:pt x="132" y="248"/>
                      <a:pt x="132" y="248"/>
                      <a:pt x="132" y="248"/>
                    </a:cubicBezTo>
                    <a:cubicBezTo>
                      <a:pt x="132" y="252"/>
                      <a:pt x="132" y="252"/>
                      <a:pt x="132" y="252"/>
                    </a:cubicBezTo>
                    <a:cubicBezTo>
                      <a:pt x="104" y="251"/>
                      <a:pt x="104" y="251"/>
                      <a:pt x="104" y="251"/>
                    </a:cubicBezTo>
                    <a:cubicBezTo>
                      <a:pt x="71" y="236"/>
                      <a:pt x="71" y="236"/>
                      <a:pt x="71" y="236"/>
                    </a:cubicBezTo>
                    <a:cubicBezTo>
                      <a:pt x="71" y="235"/>
                      <a:pt x="71" y="235"/>
                      <a:pt x="71" y="235"/>
                    </a:cubicBezTo>
                    <a:cubicBezTo>
                      <a:pt x="71" y="234"/>
                      <a:pt x="71" y="234"/>
                      <a:pt x="71" y="234"/>
                    </a:cubicBezTo>
                    <a:cubicBezTo>
                      <a:pt x="48" y="235"/>
                      <a:pt x="48" y="235"/>
                      <a:pt x="48" y="235"/>
                    </a:cubicBezTo>
                    <a:cubicBezTo>
                      <a:pt x="47" y="233"/>
                      <a:pt x="47" y="233"/>
                      <a:pt x="47" y="233"/>
                    </a:cubicBezTo>
                    <a:cubicBezTo>
                      <a:pt x="48" y="231"/>
                      <a:pt x="48" y="231"/>
                      <a:pt x="48" y="231"/>
                    </a:cubicBezTo>
                    <a:cubicBezTo>
                      <a:pt x="47" y="228"/>
                      <a:pt x="47" y="228"/>
                      <a:pt x="47" y="228"/>
                    </a:cubicBezTo>
                    <a:cubicBezTo>
                      <a:pt x="44" y="222"/>
                      <a:pt x="44" y="222"/>
                      <a:pt x="44" y="222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41" y="220"/>
                      <a:pt x="41" y="220"/>
                      <a:pt x="41" y="220"/>
                    </a:cubicBezTo>
                    <a:cubicBezTo>
                      <a:pt x="40" y="220"/>
                      <a:pt x="40" y="220"/>
                      <a:pt x="40" y="220"/>
                    </a:cubicBezTo>
                    <a:cubicBezTo>
                      <a:pt x="39" y="220"/>
                      <a:pt x="39" y="220"/>
                      <a:pt x="39" y="220"/>
                    </a:cubicBezTo>
                    <a:cubicBezTo>
                      <a:pt x="39" y="218"/>
                      <a:pt x="39" y="218"/>
                      <a:pt x="39" y="218"/>
                    </a:cubicBezTo>
                    <a:cubicBezTo>
                      <a:pt x="39" y="217"/>
                      <a:pt x="39" y="217"/>
                      <a:pt x="39" y="217"/>
                    </a:cubicBezTo>
                    <a:cubicBezTo>
                      <a:pt x="36" y="217"/>
                      <a:pt x="36" y="217"/>
                      <a:pt x="36" y="217"/>
                    </a:cubicBezTo>
                    <a:cubicBezTo>
                      <a:pt x="35" y="217"/>
                      <a:pt x="35" y="217"/>
                      <a:pt x="35" y="217"/>
                    </a:cubicBezTo>
                    <a:cubicBezTo>
                      <a:pt x="32" y="215"/>
                      <a:pt x="32" y="215"/>
                      <a:pt x="32" y="215"/>
                    </a:cubicBezTo>
                    <a:cubicBezTo>
                      <a:pt x="32" y="213"/>
                      <a:pt x="32" y="213"/>
                      <a:pt x="32" y="213"/>
                    </a:cubicBezTo>
                    <a:cubicBezTo>
                      <a:pt x="31" y="212"/>
                      <a:pt x="31" y="212"/>
                      <a:pt x="31" y="212"/>
                    </a:cubicBezTo>
                    <a:cubicBezTo>
                      <a:pt x="28" y="212"/>
                      <a:pt x="28" y="212"/>
                      <a:pt x="28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5" y="211"/>
                      <a:pt x="25" y="211"/>
                      <a:pt x="25" y="211"/>
                    </a:cubicBezTo>
                    <a:cubicBezTo>
                      <a:pt x="23" y="210"/>
                      <a:pt x="23" y="210"/>
                      <a:pt x="23" y="210"/>
                    </a:cubicBezTo>
                    <a:cubicBezTo>
                      <a:pt x="20" y="210"/>
                      <a:pt x="20" y="210"/>
                      <a:pt x="20" y="210"/>
                    </a:cubicBezTo>
                    <a:cubicBezTo>
                      <a:pt x="19" y="210"/>
                      <a:pt x="19" y="210"/>
                      <a:pt x="19" y="210"/>
                    </a:cubicBezTo>
                    <a:cubicBezTo>
                      <a:pt x="19" y="208"/>
                      <a:pt x="19" y="208"/>
                      <a:pt x="19" y="208"/>
                    </a:cubicBezTo>
                    <a:cubicBezTo>
                      <a:pt x="19" y="208"/>
                      <a:pt x="19" y="208"/>
                      <a:pt x="19" y="208"/>
                    </a:cubicBezTo>
                    <a:cubicBezTo>
                      <a:pt x="20" y="206"/>
                      <a:pt x="20" y="206"/>
                      <a:pt x="20" y="206"/>
                    </a:cubicBezTo>
                    <a:cubicBezTo>
                      <a:pt x="20" y="203"/>
                      <a:pt x="20" y="203"/>
                      <a:pt x="20" y="203"/>
                    </a:cubicBezTo>
                    <a:cubicBezTo>
                      <a:pt x="20" y="201"/>
                      <a:pt x="20" y="201"/>
                      <a:pt x="20" y="201"/>
                    </a:cubicBezTo>
                    <a:cubicBezTo>
                      <a:pt x="18" y="199"/>
                      <a:pt x="18" y="199"/>
                      <a:pt x="18" y="199"/>
                    </a:cubicBezTo>
                    <a:cubicBezTo>
                      <a:pt x="18" y="199"/>
                      <a:pt x="18" y="199"/>
                      <a:pt x="18" y="199"/>
                    </a:cubicBezTo>
                    <a:cubicBezTo>
                      <a:pt x="18" y="198"/>
                      <a:pt x="18" y="198"/>
                      <a:pt x="18" y="198"/>
                    </a:cubicBezTo>
                    <a:cubicBezTo>
                      <a:pt x="18" y="197"/>
                      <a:pt x="18" y="197"/>
                      <a:pt x="18" y="197"/>
                    </a:cubicBezTo>
                    <a:cubicBezTo>
                      <a:pt x="16" y="195"/>
                      <a:pt x="16" y="195"/>
                      <a:pt x="16" y="195"/>
                    </a:cubicBezTo>
                    <a:cubicBezTo>
                      <a:pt x="14" y="191"/>
                      <a:pt x="14" y="191"/>
                      <a:pt x="14" y="191"/>
                    </a:cubicBezTo>
                    <a:cubicBezTo>
                      <a:pt x="14" y="187"/>
                      <a:pt x="14" y="187"/>
                      <a:pt x="14" y="187"/>
                    </a:cubicBezTo>
                    <a:cubicBezTo>
                      <a:pt x="12" y="186"/>
                      <a:pt x="12" y="186"/>
                      <a:pt x="12" y="186"/>
                    </a:cubicBezTo>
                    <a:cubicBezTo>
                      <a:pt x="12" y="185"/>
                      <a:pt x="12" y="185"/>
                      <a:pt x="12" y="185"/>
                    </a:cubicBezTo>
                    <a:cubicBezTo>
                      <a:pt x="12" y="183"/>
                      <a:pt x="12" y="183"/>
                      <a:pt x="12" y="183"/>
                    </a:cubicBezTo>
                    <a:cubicBezTo>
                      <a:pt x="11" y="181"/>
                      <a:pt x="11" y="181"/>
                      <a:pt x="11" y="181"/>
                    </a:cubicBezTo>
                    <a:cubicBezTo>
                      <a:pt x="12" y="180"/>
                      <a:pt x="12" y="180"/>
                      <a:pt x="12" y="180"/>
                    </a:cubicBezTo>
                    <a:cubicBezTo>
                      <a:pt x="12" y="180"/>
                      <a:pt x="12" y="180"/>
                      <a:pt x="12" y="180"/>
                    </a:cubicBezTo>
                    <a:cubicBezTo>
                      <a:pt x="14" y="179"/>
                      <a:pt x="14" y="179"/>
                      <a:pt x="14" y="179"/>
                    </a:cubicBezTo>
                    <a:cubicBezTo>
                      <a:pt x="14" y="177"/>
                      <a:pt x="14" y="177"/>
                      <a:pt x="14" y="177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11" y="175"/>
                      <a:pt x="11" y="175"/>
                      <a:pt x="11" y="175"/>
                    </a:cubicBezTo>
                    <a:cubicBezTo>
                      <a:pt x="11" y="173"/>
                      <a:pt x="11" y="173"/>
                      <a:pt x="11" y="173"/>
                    </a:cubicBezTo>
                    <a:cubicBezTo>
                      <a:pt x="10" y="173"/>
                      <a:pt x="10" y="173"/>
                      <a:pt x="10" y="173"/>
                    </a:cubicBezTo>
                    <a:cubicBezTo>
                      <a:pt x="9" y="171"/>
                      <a:pt x="9" y="171"/>
                      <a:pt x="9" y="171"/>
                    </a:cubicBezTo>
                    <a:cubicBezTo>
                      <a:pt x="10" y="170"/>
                      <a:pt x="10" y="170"/>
                      <a:pt x="10" y="170"/>
                    </a:cubicBezTo>
                    <a:cubicBezTo>
                      <a:pt x="10" y="169"/>
                      <a:pt x="10" y="169"/>
                      <a:pt x="10" y="169"/>
                    </a:cubicBezTo>
                    <a:cubicBezTo>
                      <a:pt x="11" y="168"/>
                      <a:pt x="11" y="168"/>
                      <a:pt x="11" y="168"/>
                    </a:cubicBezTo>
                    <a:cubicBezTo>
                      <a:pt x="10" y="167"/>
                      <a:pt x="10" y="167"/>
                      <a:pt x="10" y="167"/>
                    </a:cubicBezTo>
                    <a:cubicBezTo>
                      <a:pt x="11" y="166"/>
                      <a:pt x="11" y="166"/>
                      <a:pt x="11" y="166"/>
                    </a:cubicBezTo>
                    <a:cubicBezTo>
                      <a:pt x="12" y="166"/>
                      <a:pt x="12" y="166"/>
                      <a:pt x="12" y="166"/>
                    </a:cubicBezTo>
                    <a:cubicBezTo>
                      <a:pt x="13" y="168"/>
                      <a:pt x="13" y="168"/>
                      <a:pt x="13" y="168"/>
                    </a:cubicBezTo>
                    <a:cubicBezTo>
                      <a:pt x="14" y="169"/>
                      <a:pt x="14" y="169"/>
                      <a:pt x="14" y="169"/>
                    </a:cubicBezTo>
                    <a:cubicBezTo>
                      <a:pt x="14" y="168"/>
                      <a:pt x="14" y="168"/>
                      <a:pt x="14" y="168"/>
                    </a:cubicBezTo>
                    <a:cubicBezTo>
                      <a:pt x="13" y="166"/>
                      <a:pt x="13" y="166"/>
                      <a:pt x="13" y="166"/>
                    </a:cubicBezTo>
                    <a:cubicBezTo>
                      <a:pt x="13" y="164"/>
                      <a:pt x="13" y="164"/>
                      <a:pt x="13" y="164"/>
                    </a:cubicBezTo>
                    <a:cubicBezTo>
                      <a:pt x="12" y="163"/>
                      <a:pt x="12" y="163"/>
                      <a:pt x="12" y="163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4" y="163"/>
                      <a:pt x="14" y="163"/>
                      <a:pt x="14" y="163"/>
                    </a:cubicBezTo>
                    <a:cubicBezTo>
                      <a:pt x="15" y="162"/>
                      <a:pt x="15" y="162"/>
                      <a:pt x="15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5" y="161"/>
                      <a:pt x="15" y="161"/>
                      <a:pt x="15" y="161"/>
                    </a:cubicBezTo>
                    <a:cubicBezTo>
                      <a:pt x="14" y="161"/>
                      <a:pt x="14" y="161"/>
                      <a:pt x="14" y="161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2" y="160"/>
                      <a:pt x="12" y="160"/>
                      <a:pt x="12" y="160"/>
                    </a:cubicBezTo>
                    <a:cubicBezTo>
                      <a:pt x="11" y="159"/>
                      <a:pt x="11" y="159"/>
                      <a:pt x="11" y="159"/>
                    </a:cubicBezTo>
                    <a:cubicBezTo>
                      <a:pt x="11" y="162"/>
                      <a:pt x="11" y="162"/>
                      <a:pt x="11" y="162"/>
                    </a:cubicBezTo>
                    <a:cubicBezTo>
                      <a:pt x="11" y="164"/>
                      <a:pt x="11" y="164"/>
                      <a:pt x="11" y="164"/>
                    </a:cubicBezTo>
                    <a:cubicBezTo>
                      <a:pt x="10" y="163"/>
                      <a:pt x="10" y="163"/>
                      <a:pt x="10" y="163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9" y="163"/>
                      <a:pt x="9" y="163"/>
                      <a:pt x="9" y="163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6" y="159"/>
                      <a:pt x="6" y="159"/>
                      <a:pt x="6" y="159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156"/>
                      <a:pt x="7" y="156"/>
                      <a:pt x="7" y="156"/>
                    </a:cubicBezTo>
                    <a:cubicBezTo>
                      <a:pt x="3" y="149"/>
                      <a:pt x="3" y="149"/>
                      <a:pt x="3" y="149"/>
                    </a:cubicBezTo>
                    <a:cubicBezTo>
                      <a:pt x="2" y="148"/>
                      <a:pt x="2" y="148"/>
                      <a:pt x="2" y="148"/>
                    </a:cubicBezTo>
                    <a:cubicBezTo>
                      <a:pt x="3" y="147"/>
                      <a:pt x="3" y="147"/>
                      <a:pt x="3" y="147"/>
                    </a:cubicBezTo>
                    <a:cubicBezTo>
                      <a:pt x="3" y="146"/>
                      <a:pt x="3" y="146"/>
                      <a:pt x="3" y="146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2" y="142"/>
                      <a:pt x="2" y="142"/>
                      <a:pt x="2" y="142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4" y="137"/>
                      <a:pt x="4" y="137"/>
                      <a:pt x="4" y="137"/>
                    </a:cubicBezTo>
                    <a:cubicBezTo>
                      <a:pt x="4" y="133"/>
                      <a:pt x="4" y="133"/>
                      <a:pt x="4" y="133"/>
                    </a:cubicBezTo>
                    <a:cubicBezTo>
                      <a:pt x="2" y="129"/>
                      <a:pt x="2" y="129"/>
                      <a:pt x="2" y="12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2" y="122"/>
                      <a:pt x="2" y="122"/>
                      <a:pt x="2" y="122"/>
                    </a:cubicBezTo>
                    <a:cubicBezTo>
                      <a:pt x="4" y="120"/>
                      <a:pt x="4" y="120"/>
                      <a:pt x="4" y="120"/>
                    </a:cubicBezTo>
                    <a:cubicBezTo>
                      <a:pt x="5" y="118"/>
                      <a:pt x="5" y="118"/>
                      <a:pt x="5" y="118"/>
                    </a:cubicBezTo>
                    <a:cubicBezTo>
                      <a:pt x="5" y="117"/>
                      <a:pt x="5" y="117"/>
                      <a:pt x="5" y="117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09"/>
                      <a:pt x="7" y="109"/>
                      <a:pt x="7" y="109"/>
                    </a:cubicBezTo>
                    <a:cubicBezTo>
                      <a:pt x="6" y="106"/>
                      <a:pt x="6" y="106"/>
                      <a:pt x="6" y="106"/>
                    </a:cubicBezTo>
                    <a:cubicBezTo>
                      <a:pt x="6" y="105"/>
                      <a:pt x="6" y="105"/>
                      <a:pt x="6" y="105"/>
                    </a:cubicBezTo>
                    <a:cubicBezTo>
                      <a:pt x="7" y="104"/>
                      <a:pt x="7" y="104"/>
                      <a:pt x="7" y="104"/>
                    </a:cubicBezTo>
                    <a:cubicBezTo>
                      <a:pt x="6" y="101"/>
                      <a:pt x="6" y="101"/>
                      <a:pt x="6" y="101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7" y="95"/>
                      <a:pt x="7" y="95"/>
                      <a:pt x="7" y="95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4" y="78"/>
                      <a:pt x="14" y="78"/>
                      <a:pt x="14" y="78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24" y="50"/>
                      <a:pt x="24" y="50"/>
                      <a:pt x="24" y="50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4" y="47"/>
                      <a:pt x="24" y="47"/>
                      <a:pt x="24" y="47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4" y="44"/>
                      <a:pt x="34" y="44"/>
                      <a:pt x="34" y="44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9" y="35"/>
                      <a:pt x="29" y="35"/>
                      <a:pt x="29" y="35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7" y="33"/>
                      <a:pt x="27" y="33"/>
                      <a:pt x="27" y="33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5" y="21"/>
                      <a:pt x="45" y="21"/>
                      <a:pt x="45" y="2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2" y="26"/>
                      <a:pt x="42" y="26"/>
                      <a:pt x="42" y="26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8" y="0"/>
                      <a:pt x="48" y="0"/>
                      <a:pt x="48" y="0"/>
                    </a:cubicBezTo>
                    <a:close/>
                    <a:moveTo>
                      <a:pt x="504" y="140"/>
                    </a:moveTo>
                    <a:cubicBezTo>
                      <a:pt x="504" y="141"/>
                      <a:pt x="504" y="141"/>
                      <a:pt x="504" y="141"/>
                    </a:cubicBezTo>
                    <a:cubicBezTo>
                      <a:pt x="505" y="141"/>
                      <a:pt x="505" y="141"/>
                      <a:pt x="505" y="141"/>
                    </a:cubicBezTo>
                    <a:cubicBezTo>
                      <a:pt x="506" y="140"/>
                      <a:pt x="506" y="140"/>
                      <a:pt x="506" y="140"/>
                    </a:cubicBezTo>
                    <a:cubicBezTo>
                      <a:pt x="507" y="140"/>
                      <a:pt x="507" y="140"/>
                      <a:pt x="507" y="140"/>
                    </a:cubicBezTo>
                    <a:cubicBezTo>
                      <a:pt x="506" y="139"/>
                      <a:pt x="506" y="139"/>
                      <a:pt x="506" y="139"/>
                    </a:cubicBezTo>
                    <a:cubicBezTo>
                      <a:pt x="505" y="139"/>
                      <a:pt x="505" y="139"/>
                      <a:pt x="505" y="139"/>
                    </a:cubicBezTo>
                    <a:cubicBezTo>
                      <a:pt x="504" y="140"/>
                      <a:pt x="504" y="140"/>
                      <a:pt x="504" y="140"/>
                    </a:cubicBezTo>
                    <a:cubicBezTo>
                      <a:pt x="504" y="140"/>
                      <a:pt x="504" y="140"/>
                      <a:pt x="504" y="140"/>
                    </a:cubicBezTo>
                    <a:close/>
                    <a:moveTo>
                      <a:pt x="474" y="149"/>
                    </a:moveTo>
                    <a:cubicBezTo>
                      <a:pt x="473" y="149"/>
                      <a:pt x="473" y="149"/>
                      <a:pt x="473" y="149"/>
                    </a:cubicBezTo>
                    <a:cubicBezTo>
                      <a:pt x="475" y="149"/>
                      <a:pt x="475" y="149"/>
                      <a:pt x="475" y="149"/>
                    </a:cubicBezTo>
                    <a:cubicBezTo>
                      <a:pt x="475" y="148"/>
                      <a:pt x="475" y="148"/>
                      <a:pt x="475" y="148"/>
                    </a:cubicBezTo>
                    <a:cubicBezTo>
                      <a:pt x="478" y="148"/>
                      <a:pt x="478" y="148"/>
                      <a:pt x="478" y="148"/>
                    </a:cubicBezTo>
                    <a:cubicBezTo>
                      <a:pt x="480" y="147"/>
                      <a:pt x="480" y="147"/>
                      <a:pt x="480" y="147"/>
                    </a:cubicBezTo>
                    <a:cubicBezTo>
                      <a:pt x="483" y="147"/>
                      <a:pt x="483" y="147"/>
                      <a:pt x="483" y="147"/>
                    </a:cubicBezTo>
                    <a:cubicBezTo>
                      <a:pt x="484" y="147"/>
                      <a:pt x="484" y="147"/>
                      <a:pt x="484" y="147"/>
                    </a:cubicBezTo>
                    <a:cubicBezTo>
                      <a:pt x="487" y="147"/>
                      <a:pt x="487" y="147"/>
                      <a:pt x="487" y="147"/>
                    </a:cubicBezTo>
                    <a:cubicBezTo>
                      <a:pt x="488" y="146"/>
                      <a:pt x="488" y="146"/>
                      <a:pt x="488" y="146"/>
                    </a:cubicBezTo>
                    <a:cubicBezTo>
                      <a:pt x="488" y="146"/>
                      <a:pt x="488" y="146"/>
                      <a:pt x="488" y="146"/>
                    </a:cubicBezTo>
                    <a:cubicBezTo>
                      <a:pt x="491" y="145"/>
                      <a:pt x="491" y="145"/>
                      <a:pt x="491" y="145"/>
                    </a:cubicBezTo>
                    <a:cubicBezTo>
                      <a:pt x="492" y="144"/>
                      <a:pt x="492" y="144"/>
                      <a:pt x="492" y="144"/>
                    </a:cubicBezTo>
                    <a:cubicBezTo>
                      <a:pt x="490" y="145"/>
                      <a:pt x="490" y="145"/>
                      <a:pt x="490" y="145"/>
                    </a:cubicBezTo>
                    <a:cubicBezTo>
                      <a:pt x="489" y="144"/>
                      <a:pt x="489" y="144"/>
                      <a:pt x="489" y="144"/>
                    </a:cubicBezTo>
                    <a:cubicBezTo>
                      <a:pt x="488" y="145"/>
                      <a:pt x="488" y="145"/>
                      <a:pt x="488" y="145"/>
                    </a:cubicBez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89" y="143"/>
                      <a:pt x="489" y="143"/>
                      <a:pt x="489" y="143"/>
                    </a:cubicBezTo>
                    <a:cubicBezTo>
                      <a:pt x="489" y="143"/>
                      <a:pt x="489" y="143"/>
                      <a:pt x="489" y="143"/>
                    </a:cubicBezTo>
                    <a:cubicBezTo>
                      <a:pt x="486" y="144"/>
                      <a:pt x="486" y="144"/>
                      <a:pt x="486" y="144"/>
                    </a:cubicBezTo>
                    <a:cubicBezTo>
                      <a:pt x="483" y="144"/>
                      <a:pt x="483" y="144"/>
                      <a:pt x="483" y="144"/>
                    </a:cubicBezTo>
                    <a:cubicBezTo>
                      <a:pt x="481" y="145"/>
                      <a:pt x="481" y="145"/>
                      <a:pt x="481" y="145"/>
                    </a:cubicBezTo>
                    <a:cubicBezTo>
                      <a:pt x="479" y="145"/>
                      <a:pt x="479" y="145"/>
                      <a:pt x="479" y="145"/>
                    </a:cubicBezTo>
                    <a:cubicBezTo>
                      <a:pt x="476" y="146"/>
                      <a:pt x="476" y="146"/>
                      <a:pt x="476" y="146"/>
                    </a:cubicBezTo>
                    <a:cubicBezTo>
                      <a:pt x="474" y="146"/>
                      <a:pt x="474" y="146"/>
                      <a:pt x="474" y="146"/>
                    </a:cubicBezTo>
                    <a:cubicBezTo>
                      <a:pt x="473" y="148"/>
                      <a:pt x="473" y="148"/>
                      <a:pt x="473" y="148"/>
                    </a:cubicBezTo>
                    <a:cubicBezTo>
                      <a:pt x="473" y="148"/>
                      <a:pt x="473" y="148"/>
                      <a:pt x="473" y="148"/>
                    </a:cubicBezTo>
                    <a:cubicBezTo>
                      <a:pt x="474" y="149"/>
                      <a:pt x="474" y="149"/>
                      <a:pt x="474" y="149"/>
                    </a:cubicBezTo>
                    <a:close/>
                    <a:moveTo>
                      <a:pt x="48" y="10"/>
                    </a:move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10"/>
                      <a:pt x="48" y="10"/>
                      <a:pt x="48" y="10"/>
                    </a:cubicBezTo>
                    <a:close/>
                    <a:moveTo>
                      <a:pt x="232" y="298"/>
                    </a:moveTo>
                    <a:cubicBezTo>
                      <a:pt x="233" y="298"/>
                      <a:pt x="233" y="298"/>
                      <a:pt x="233" y="298"/>
                    </a:cubicBezTo>
                    <a:cubicBezTo>
                      <a:pt x="235" y="295"/>
                      <a:pt x="235" y="295"/>
                      <a:pt x="235" y="295"/>
                    </a:cubicBezTo>
                    <a:cubicBezTo>
                      <a:pt x="236" y="293"/>
                      <a:pt x="236" y="293"/>
                      <a:pt x="236" y="293"/>
                    </a:cubicBezTo>
                    <a:cubicBezTo>
                      <a:pt x="234" y="295"/>
                      <a:pt x="234" y="295"/>
                      <a:pt x="234" y="295"/>
                    </a:cubicBezTo>
                    <a:cubicBezTo>
                      <a:pt x="232" y="298"/>
                      <a:pt x="232" y="298"/>
                      <a:pt x="232" y="298"/>
                    </a:cubicBezTo>
                    <a:close/>
                    <a:moveTo>
                      <a:pt x="230" y="304"/>
                    </a:moveTo>
                    <a:cubicBezTo>
                      <a:pt x="230" y="303"/>
                      <a:pt x="230" y="303"/>
                      <a:pt x="230" y="303"/>
                    </a:cubicBezTo>
                    <a:cubicBezTo>
                      <a:pt x="231" y="301"/>
                      <a:pt x="231" y="301"/>
                      <a:pt x="231" y="301"/>
                    </a:cubicBezTo>
                    <a:cubicBezTo>
                      <a:pt x="231" y="300"/>
                      <a:pt x="231" y="300"/>
                      <a:pt x="231" y="300"/>
                    </a:cubicBezTo>
                    <a:cubicBezTo>
                      <a:pt x="230" y="304"/>
                      <a:pt x="230" y="304"/>
                      <a:pt x="230" y="304"/>
                    </a:cubicBezTo>
                    <a:close/>
                    <a:moveTo>
                      <a:pt x="229" y="317"/>
                    </a:moveTo>
                    <a:cubicBezTo>
                      <a:pt x="228" y="314"/>
                      <a:pt x="228" y="314"/>
                      <a:pt x="228" y="314"/>
                    </a:cubicBezTo>
                    <a:cubicBezTo>
                      <a:pt x="228" y="309"/>
                      <a:pt x="228" y="309"/>
                      <a:pt x="228" y="309"/>
                    </a:cubicBezTo>
                    <a:cubicBezTo>
                      <a:pt x="230" y="305"/>
                      <a:pt x="230" y="305"/>
                      <a:pt x="230" y="305"/>
                    </a:cubicBezTo>
                    <a:cubicBezTo>
                      <a:pt x="228" y="309"/>
                      <a:pt x="228" y="309"/>
                      <a:pt x="228" y="309"/>
                    </a:cubicBezTo>
                    <a:cubicBezTo>
                      <a:pt x="228" y="314"/>
                      <a:pt x="228" y="314"/>
                      <a:pt x="228" y="314"/>
                    </a:cubicBezTo>
                    <a:cubicBezTo>
                      <a:pt x="228" y="314"/>
                      <a:pt x="229" y="317"/>
                      <a:pt x="229" y="3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9" name="Freeform 323">
                <a:extLst>
                  <a:ext uri="{FF2B5EF4-FFF2-40B4-BE49-F238E27FC236}">
                    <a16:creationId xmlns:a16="http://schemas.microsoft.com/office/drawing/2014/main" xmlns="" id="{0260BE8C-A34C-49BA-AF7F-597CF0F4D4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0" y="3000"/>
                <a:ext cx="364" cy="67"/>
              </a:xfrm>
              <a:custGeom>
                <a:avLst/>
                <a:gdLst>
                  <a:gd name="T0" fmla="*/ 218 w 223"/>
                  <a:gd name="T1" fmla="*/ 38 h 41"/>
                  <a:gd name="T2" fmla="*/ 216 w 223"/>
                  <a:gd name="T3" fmla="*/ 35 h 41"/>
                  <a:gd name="T4" fmla="*/ 214 w 223"/>
                  <a:gd name="T5" fmla="*/ 33 h 41"/>
                  <a:gd name="T6" fmla="*/ 212 w 223"/>
                  <a:gd name="T7" fmla="*/ 32 h 41"/>
                  <a:gd name="T8" fmla="*/ 216 w 223"/>
                  <a:gd name="T9" fmla="*/ 33 h 41"/>
                  <a:gd name="T10" fmla="*/ 217 w 223"/>
                  <a:gd name="T11" fmla="*/ 34 h 41"/>
                  <a:gd name="T12" fmla="*/ 220 w 223"/>
                  <a:gd name="T13" fmla="*/ 36 h 41"/>
                  <a:gd name="T14" fmla="*/ 222 w 223"/>
                  <a:gd name="T15" fmla="*/ 38 h 41"/>
                  <a:gd name="T16" fmla="*/ 222 w 223"/>
                  <a:gd name="T17" fmla="*/ 40 h 41"/>
                  <a:gd name="T18" fmla="*/ 220 w 223"/>
                  <a:gd name="T19" fmla="*/ 41 h 41"/>
                  <a:gd name="T20" fmla="*/ 218 w 223"/>
                  <a:gd name="T21" fmla="*/ 40 h 41"/>
                  <a:gd name="T22" fmla="*/ 12 w 223"/>
                  <a:gd name="T23" fmla="*/ 0 h 41"/>
                  <a:gd name="T24" fmla="*/ 10 w 223"/>
                  <a:gd name="T25" fmla="*/ 0 h 41"/>
                  <a:gd name="T26" fmla="*/ 7 w 223"/>
                  <a:gd name="T27" fmla="*/ 2 h 41"/>
                  <a:gd name="T28" fmla="*/ 7 w 223"/>
                  <a:gd name="T29" fmla="*/ 1 h 41"/>
                  <a:gd name="T30" fmla="*/ 1 w 223"/>
                  <a:gd name="T31" fmla="*/ 8 h 41"/>
                  <a:gd name="T32" fmla="*/ 3 w 223"/>
                  <a:gd name="T33" fmla="*/ 9 h 41"/>
                  <a:gd name="T34" fmla="*/ 0 w 223"/>
                  <a:gd name="T35" fmla="*/ 9 h 41"/>
                  <a:gd name="T36" fmla="*/ 15 w 223"/>
                  <a:gd name="T37" fmla="*/ 13 h 41"/>
                  <a:gd name="T38" fmla="*/ 18 w 223"/>
                  <a:gd name="T39" fmla="*/ 15 h 41"/>
                  <a:gd name="T40" fmla="*/ 16 w 223"/>
                  <a:gd name="T41" fmla="*/ 13 h 41"/>
                  <a:gd name="T42" fmla="*/ 19 w 223"/>
                  <a:gd name="T43" fmla="*/ 13 h 41"/>
                  <a:gd name="T44" fmla="*/ 19 w 223"/>
                  <a:gd name="T45" fmla="*/ 12 h 41"/>
                  <a:gd name="T46" fmla="*/ 21 w 223"/>
                  <a:gd name="T47" fmla="*/ 11 h 41"/>
                  <a:gd name="T48" fmla="*/ 22 w 223"/>
                  <a:gd name="T49" fmla="*/ 10 h 41"/>
                  <a:gd name="T50" fmla="*/ 20 w 223"/>
                  <a:gd name="T51" fmla="*/ 9 h 41"/>
                  <a:gd name="T52" fmla="*/ 22 w 223"/>
                  <a:gd name="T53" fmla="*/ 9 h 41"/>
                  <a:gd name="T54" fmla="*/ 26 w 223"/>
                  <a:gd name="T55" fmla="*/ 7 h 41"/>
                  <a:gd name="T56" fmla="*/ 28 w 223"/>
                  <a:gd name="T57" fmla="*/ 5 h 41"/>
                  <a:gd name="T58" fmla="*/ 27 w 223"/>
                  <a:gd name="T59" fmla="*/ 4 h 41"/>
                  <a:gd name="T60" fmla="*/ 29 w 223"/>
                  <a:gd name="T61" fmla="*/ 4 h 41"/>
                  <a:gd name="T62" fmla="*/ 26 w 223"/>
                  <a:gd name="T63" fmla="*/ 2 h 41"/>
                  <a:gd name="T64" fmla="*/ 25 w 223"/>
                  <a:gd name="T65" fmla="*/ 4 h 41"/>
                  <a:gd name="T66" fmla="*/ 22 w 223"/>
                  <a:gd name="T67" fmla="*/ 2 h 41"/>
                  <a:gd name="T68" fmla="*/ 20 w 223"/>
                  <a:gd name="T69" fmla="*/ 0 h 41"/>
                  <a:gd name="T70" fmla="*/ 18 w 223"/>
                  <a:gd name="T71" fmla="*/ 3 h 41"/>
                  <a:gd name="T72" fmla="*/ 18 w 223"/>
                  <a:gd name="T73" fmla="*/ 5 h 41"/>
                  <a:gd name="T74" fmla="*/ 19 w 223"/>
                  <a:gd name="T75" fmla="*/ 8 h 41"/>
                  <a:gd name="T76" fmla="*/ 17 w 223"/>
                  <a:gd name="T77" fmla="*/ 8 h 41"/>
                  <a:gd name="T78" fmla="*/ 11 w 223"/>
                  <a:gd name="T79" fmla="*/ 2 h 41"/>
                  <a:gd name="T80" fmla="*/ 13 w 223"/>
                  <a:gd name="T81" fmla="*/ 4 h 41"/>
                  <a:gd name="T82" fmla="*/ 15 w 223"/>
                  <a:gd name="T83" fmla="*/ 2 h 41"/>
                  <a:gd name="T84" fmla="*/ 15 w 223"/>
                  <a:gd name="T85" fmla="*/ 6 h 41"/>
                  <a:gd name="T86" fmla="*/ 13 w 223"/>
                  <a:gd name="T87" fmla="*/ 10 h 41"/>
                  <a:gd name="T88" fmla="*/ 8 w 223"/>
                  <a:gd name="T89" fmla="*/ 10 h 41"/>
                  <a:gd name="T90" fmla="*/ 8 w 223"/>
                  <a:gd name="T91" fmla="*/ 12 h 41"/>
                  <a:gd name="T92" fmla="*/ 5 w 223"/>
                  <a:gd name="T93" fmla="*/ 13 h 41"/>
                  <a:gd name="T94" fmla="*/ 2 w 223"/>
                  <a:gd name="T95" fmla="*/ 13 h 41"/>
                  <a:gd name="T96" fmla="*/ 4 w 223"/>
                  <a:gd name="T97" fmla="*/ 12 h 41"/>
                  <a:gd name="T98" fmla="*/ 5 w 223"/>
                  <a:gd name="T99" fmla="*/ 9 h 41"/>
                  <a:gd name="T100" fmla="*/ 9 w 223"/>
                  <a:gd name="T101" fmla="*/ 8 h 41"/>
                  <a:gd name="T102" fmla="*/ 6 w 223"/>
                  <a:gd name="T103" fmla="*/ 7 h 41"/>
                  <a:gd name="T104" fmla="*/ 5 w 223"/>
                  <a:gd name="T105" fmla="*/ 3 h 41"/>
                  <a:gd name="T106" fmla="*/ 9 w 223"/>
                  <a:gd name="T107" fmla="*/ 5 h 41"/>
                  <a:gd name="T108" fmla="*/ 11 w 223"/>
                  <a:gd name="T109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3" h="41">
                    <a:moveTo>
                      <a:pt x="218" y="40"/>
                    </a:moveTo>
                    <a:cubicBezTo>
                      <a:pt x="218" y="38"/>
                      <a:pt x="218" y="38"/>
                      <a:pt x="218" y="38"/>
                    </a:cubicBezTo>
                    <a:cubicBezTo>
                      <a:pt x="216" y="37"/>
                      <a:pt x="216" y="37"/>
                      <a:pt x="216" y="37"/>
                    </a:cubicBezTo>
                    <a:cubicBezTo>
                      <a:pt x="216" y="35"/>
                      <a:pt x="216" y="35"/>
                      <a:pt x="216" y="35"/>
                    </a:cubicBezTo>
                    <a:cubicBezTo>
                      <a:pt x="214" y="35"/>
                      <a:pt x="214" y="35"/>
                      <a:pt x="214" y="35"/>
                    </a:cubicBezTo>
                    <a:cubicBezTo>
                      <a:pt x="214" y="33"/>
                      <a:pt x="214" y="33"/>
                      <a:pt x="214" y="33"/>
                    </a:cubicBezTo>
                    <a:cubicBezTo>
                      <a:pt x="212" y="33"/>
                      <a:pt x="212" y="33"/>
                      <a:pt x="212" y="33"/>
                    </a:cubicBezTo>
                    <a:cubicBezTo>
                      <a:pt x="212" y="32"/>
                      <a:pt x="212" y="32"/>
                      <a:pt x="212" y="32"/>
                    </a:cubicBezTo>
                    <a:cubicBezTo>
                      <a:pt x="214" y="32"/>
                      <a:pt x="214" y="32"/>
                      <a:pt x="214" y="32"/>
                    </a:cubicBezTo>
                    <a:cubicBezTo>
                      <a:pt x="216" y="33"/>
                      <a:pt x="216" y="33"/>
                      <a:pt x="216" y="33"/>
                    </a:cubicBezTo>
                    <a:cubicBezTo>
                      <a:pt x="216" y="34"/>
                      <a:pt x="216" y="34"/>
                      <a:pt x="216" y="34"/>
                    </a:cubicBezTo>
                    <a:cubicBezTo>
                      <a:pt x="216" y="34"/>
                      <a:pt x="217" y="34"/>
                      <a:pt x="217" y="34"/>
                    </a:cubicBezTo>
                    <a:cubicBezTo>
                      <a:pt x="217" y="34"/>
                      <a:pt x="219" y="36"/>
                      <a:pt x="219" y="36"/>
                    </a:cubicBezTo>
                    <a:cubicBezTo>
                      <a:pt x="220" y="36"/>
                      <a:pt x="220" y="36"/>
                      <a:pt x="220" y="36"/>
                    </a:cubicBezTo>
                    <a:cubicBezTo>
                      <a:pt x="220" y="38"/>
                      <a:pt x="220" y="38"/>
                      <a:pt x="220" y="38"/>
                    </a:cubicBezTo>
                    <a:cubicBezTo>
                      <a:pt x="222" y="38"/>
                      <a:pt x="222" y="38"/>
                      <a:pt x="222" y="38"/>
                    </a:cubicBezTo>
                    <a:cubicBezTo>
                      <a:pt x="223" y="39"/>
                      <a:pt x="223" y="39"/>
                      <a:pt x="223" y="39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220" y="41"/>
                      <a:pt x="220" y="41"/>
                      <a:pt x="220" y="41"/>
                    </a:cubicBezTo>
                    <a:cubicBezTo>
                      <a:pt x="219" y="41"/>
                      <a:pt x="219" y="41"/>
                      <a:pt x="219" y="41"/>
                    </a:cubicBezTo>
                    <a:cubicBezTo>
                      <a:pt x="218" y="40"/>
                      <a:pt x="218" y="40"/>
                      <a:pt x="218" y="40"/>
                    </a:cubicBezTo>
                    <a:close/>
                    <a:moveTo>
                      <a:pt x="1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7" y="1"/>
                      <a:pt x="7" y="1"/>
                      <a:pt x="7" y="1"/>
                    </a:cubicBezTo>
                    <a:close/>
                    <a:moveTo>
                      <a:pt x="0" y="9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  <a:moveTo>
                      <a:pt x="13" y="12"/>
                    </a:moveTo>
                    <a:cubicBezTo>
                      <a:pt x="15" y="13"/>
                      <a:pt x="15" y="13"/>
                      <a:pt x="15" y="13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3" y="12"/>
                      <a:pt x="13" y="12"/>
                      <a:pt x="13" y="12"/>
                    </a:cubicBezTo>
                    <a:close/>
                    <a:moveTo>
                      <a:pt x="11" y="2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3"/>
                      <a:pt x="9" y="3"/>
                      <a:pt x="9" y="3"/>
                    </a:cubicBez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0" name="Freeform 324">
                <a:extLst>
                  <a:ext uri="{FF2B5EF4-FFF2-40B4-BE49-F238E27FC236}">
                    <a16:creationId xmlns:a16="http://schemas.microsoft.com/office/drawing/2014/main" xmlns="" id="{CDC74F8D-2D25-4225-9833-E9D8CF95B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1900"/>
                <a:ext cx="87" cy="41"/>
              </a:xfrm>
              <a:custGeom>
                <a:avLst/>
                <a:gdLst>
                  <a:gd name="T0" fmla="*/ 76 w 87"/>
                  <a:gd name="T1" fmla="*/ 36 h 41"/>
                  <a:gd name="T2" fmla="*/ 71 w 87"/>
                  <a:gd name="T3" fmla="*/ 26 h 41"/>
                  <a:gd name="T4" fmla="*/ 74 w 87"/>
                  <a:gd name="T5" fmla="*/ 22 h 41"/>
                  <a:gd name="T6" fmla="*/ 77 w 87"/>
                  <a:gd name="T7" fmla="*/ 20 h 41"/>
                  <a:gd name="T8" fmla="*/ 76 w 87"/>
                  <a:gd name="T9" fmla="*/ 18 h 41"/>
                  <a:gd name="T10" fmla="*/ 72 w 87"/>
                  <a:gd name="T11" fmla="*/ 22 h 41"/>
                  <a:gd name="T12" fmla="*/ 69 w 87"/>
                  <a:gd name="T13" fmla="*/ 17 h 41"/>
                  <a:gd name="T14" fmla="*/ 64 w 87"/>
                  <a:gd name="T15" fmla="*/ 12 h 41"/>
                  <a:gd name="T16" fmla="*/ 59 w 87"/>
                  <a:gd name="T17" fmla="*/ 8 h 41"/>
                  <a:gd name="T18" fmla="*/ 51 w 87"/>
                  <a:gd name="T19" fmla="*/ 12 h 41"/>
                  <a:gd name="T20" fmla="*/ 51 w 87"/>
                  <a:gd name="T21" fmla="*/ 15 h 41"/>
                  <a:gd name="T22" fmla="*/ 48 w 87"/>
                  <a:gd name="T23" fmla="*/ 22 h 41"/>
                  <a:gd name="T24" fmla="*/ 40 w 87"/>
                  <a:gd name="T25" fmla="*/ 23 h 41"/>
                  <a:gd name="T26" fmla="*/ 40 w 87"/>
                  <a:gd name="T27" fmla="*/ 28 h 41"/>
                  <a:gd name="T28" fmla="*/ 44 w 87"/>
                  <a:gd name="T29" fmla="*/ 31 h 41"/>
                  <a:gd name="T30" fmla="*/ 43 w 87"/>
                  <a:gd name="T31" fmla="*/ 36 h 41"/>
                  <a:gd name="T32" fmla="*/ 38 w 87"/>
                  <a:gd name="T33" fmla="*/ 38 h 41"/>
                  <a:gd name="T34" fmla="*/ 31 w 87"/>
                  <a:gd name="T35" fmla="*/ 39 h 41"/>
                  <a:gd name="T36" fmla="*/ 31 w 87"/>
                  <a:gd name="T37" fmla="*/ 36 h 41"/>
                  <a:gd name="T38" fmla="*/ 31 w 87"/>
                  <a:gd name="T39" fmla="*/ 31 h 41"/>
                  <a:gd name="T40" fmla="*/ 28 w 87"/>
                  <a:gd name="T41" fmla="*/ 30 h 41"/>
                  <a:gd name="T42" fmla="*/ 28 w 87"/>
                  <a:gd name="T43" fmla="*/ 31 h 41"/>
                  <a:gd name="T44" fmla="*/ 25 w 87"/>
                  <a:gd name="T45" fmla="*/ 35 h 41"/>
                  <a:gd name="T46" fmla="*/ 20 w 87"/>
                  <a:gd name="T47" fmla="*/ 28 h 41"/>
                  <a:gd name="T48" fmla="*/ 13 w 87"/>
                  <a:gd name="T49" fmla="*/ 23 h 41"/>
                  <a:gd name="T50" fmla="*/ 12 w 87"/>
                  <a:gd name="T51" fmla="*/ 22 h 41"/>
                  <a:gd name="T52" fmla="*/ 9 w 87"/>
                  <a:gd name="T53" fmla="*/ 22 h 41"/>
                  <a:gd name="T54" fmla="*/ 4 w 87"/>
                  <a:gd name="T55" fmla="*/ 22 h 41"/>
                  <a:gd name="T56" fmla="*/ 0 w 87"/>
                  <a:gd name="T57" fmla="*/ 20 h 41"/>
                  <a:gd name="T58" fmla="*/ 0 w 87"/>
                  <a:gd name="T59" fmla="*/ 15 h 41"/>
                  <a:gd name="T60" fmla="*/ 2 w 87"/>
                  <a:gd name="T61" fmla="*/ 12 h 41"/>
                  <a:gd name="T62" fmla="*/ 0 w 87"/>
                  <a:gd name="T63" fmla="*/ 8 h 41"/>
                  <a:gd name="T64" fmla="*/ 2 w 87"/>
                  <a:gd name="T65" fmla="*/ 4 h 41"/>
                  <a:gd name="T66" fmla="*/ 7 w 87"/>
                  <a:gd name="T67" fmla="*/ 2 h 41"/>
                  <a:gd name="T68" fmla="*/ 9 w 87"/>
                  <a:gd name="T69" fmla="*/ 5 h 41"/>
                  <a:gd name="T70" fmla="*/ 12 w 87"/>
                  <a:gd name="T71" fmla="*/ 7 h 41"/>
                  <a:gd name="T72" fmla="*/ 12 w 87"/>
                  <a:gd name="T73" fmla="*/ 7 h 41"/>
                  <a:gd name="T74" fmla="*/ 12 w 87"/>
                  <a:gd name="T75" fmla="*/ 10 h 41"/>
                  <a:gd name="T76" fmla="*/ 17 w 87"/>
                  <a:gd name="T77" fmla="*/ 10 h 41"/>
                  <a:gd name="T78" fmla="*/ 15 w 87"/>
                  <a:gd name="T79" fmla="*/ 7 h 41"/>
                  <a:gd name="T80" fmla="*/ 20 w 87"/>
                  <a:gd name="T81" fmla="*/ 8 h 41"/>
                  <a:gd name="T82" fmla="*/ 30 w 87"/>
                  <a:gd name="T83" fmla="*/ 12 h 41"/>
                  <a:gd name="T84" fmla="*/ 36 w 87"/>
                  <a:gd name="T85" fmla="*/ 10 h 41"/>
                  <a:gd name="T86" fmla="*/ 51 w 87"/>
                  <a:gd name="T87" fmla="*/ 4 h 41"/>
                  <a:gd name="T88" fmla="*/ 56 w 87"/>
                  <a:gd name="T89" fmla="*/ 0 h 41"/>
                  <a:gd name="T90" fmla="*/ 59 w 87"/>
                  <a:gd name="T91" fmla="*/ 2 h 41"/>
                  <a:gd name="T92" fmla="*/ 69 w 87"/>
                  <a:gd name="T93" fmla="*/ 4 h 41"/>
                  <a:gd name="T94" fmla="*/ 79 w 87"/>
                  <a:gd name="T95" fmla="*/ 8 h 41"/>
                  <a:gd name="T96" fmla="*/ 82 w 87"/>
                  <a:gd name="T97" fmla="*/ 13 h 41"/>
                  <a:gd name="T98" fmla="*/ 87 w 87"/>
                  <a:gd name="T99" fmla="*/ 15 h 41"/>
                  <a:gd name="T100" fmla="*/ 85 w 87"/>
                  <a:gd name="T101" fmla="*/ 20 h 41"/>
                  <a:gd name="T102" fmla="*/ 85 w 87"/>
                  <a:gd name="T103" fmla="*/ 28 h 41"/>
                  <a:gd name="T104" fmla="*/ 82 w 87"/>
                  <a:gd name="T105" fmla="*/ 35 h 41"/>
                  <a:gd name="T106" fmla="*/ 79 w 87"/>
                  <a:gd name="T107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7" h="41">
                    <a:moveTo>
                      <a:pt x="79" y="39"/>
                    </a:moveTo>
                    <a:lnTo>
                      <a:pt x="76" y="36"/>
                    </a:lnTo>
                    <a:lnTo>
                      <a:pt x="72" y="31"/>
                    </a:lnTo>
                    <a:lnTo>
                      <a:pt x="71" y="26"/>
                    </a:lnTo>
                    <a:lnTo>
                      <a:pt x="72" y="25"/>
                    </a:lnTo>
                    <a:lnTo>
                      <a:pt x="74" y="22"/>
                    </a:lnTo>
                    <a:lnTo>
                      <a:pt x="76" y="22"/>
                    </a:lnTo>
                    <a:lnTo>
                      <a:pt x="77" y="20"/>
                    </a:lnTo>
                    <a:lnTo>
                      <a:pt x="77" y="18"/>
                    </a:lnTo>
                    <a:lnTo>
                      <a:pt x="76" y="18"/>
                    </a:lnTo>
                    <a:lnTo>
                      <a:pt x="72" y="20"/>
                    </a:lnTo>
                    <a:lnTo>
                      <a:pt x="72" y="22"/>
                    </a:lnTo>
                    <a:lnTo>
                      <a:pt x="71" y="20"/>
                    </a:lnTo>
                    <a:lnTo>
                      <a:pt x="69" y="17"/>
                    </a:lnTo>
                    <a:lnTo>
                      <a:pt x="66" y="13"/>
                    </a:lnTo>
                    <a:lnTo>
                      <a:pt x="64" y="12"/>
                    </a:lnTo>
                    <a:lnTo>
                      <a:pt x="61" y="10"/>
                    </a:lnTo>
                    <a:lnTo>
                      <a:pt x="59" y="8"/>
                    </a:lnTo>
                    <a:lnTo>
                      <a:pt x="56" y="8"/>
                    </a:lnTo>
                    <a:lnTo>
                      <a:pt x="51" y="12"/>
                    </a:lnTo>
                    <a:lnTo>
                      <a:pt x="51" y="15"/>
                    </a:lnTo>
                    <a:lnTo>
                      <a:pt x="51" y="15"/>
                    </a:lnTo>
                    <a:lnTo>
                      <a:pt x="51" y="17"/>
                    </a:lnTo>
                    <a:lnTo>
                      <a:pt x="48" y="22"/>
                    </a:lnTo>
                    <a:lnTo>
                      <a:pt x="43" y="22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40" y="28"/>
                    </a:lnTo>
                    <a:lnTo>
                      <a:pt x="43" y="30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3" y="36"/>
                    </a:lnTo>
                    <a:lnTo>
                      <a:pt x="41" y="35"/>
                    </a:lnTo>
                    <a:lnTo>
                      <a:pt x="38" y="38"/>
                    </a:lnTo>
                    <a:lnTo>
                      <a:pt x="36" y="41"/>
                    </a:lnTo>
                    <a:lnTo>
                      <a:pt x="31" y="39"/>
                    </a:lnTo>
                    <a:lnTo>
                      <a:pt x="31" y="38"/>
                    </a:lnTo>
                    <a:lnTo>
                      <a:pt x="31" y="36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2" y="33"/>
                    </a:lnTo>
                    <a:lnTo>
                      <a:pt x="20" y="28"/>
                    </a:lnTo>
                    <a:lnTo>
                      <a:pt x="20" y="25"/>
                    </a:lnTo>
                    <a:lnTo>
                      <a:pt x="13" y="23"/>
                    </a:lnTo>
                    <a:lnTo>
                      <a:pt x="12" y="23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9" y="22"/>
                    </a:lnTo>
                    <a:lnTo>
                      <a:pt x="7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9" y="5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2" y="7"/>
                    </a:lnTo>
                    <a:lnTo>
                      <a:pt x="10" y="8"/>
                    </a:lnTo>
                    <a:lnTo>
                      <a:pt x="12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5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25" y="12"/>
                    </a:lnTo>
                    <a:lnTo>
                      <a:pt x="30" y="12"/>
                    </a:lnTo>
                    <a:lnTo>
                      <a:pt x="33" y="12"/>
                    </a:lnTo>
                    <a:lnTo>
                      <a:pt x="36" y="10"/>
                    </a:lnTo>
                    <a:lnTo>
                      <a:pt x="46" y="4"/>
                    </a:lnTo>
                    <a:lnTo>
                      <a:pt x="51" y="4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9" y="0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9" y="4"/>
                    </a:lnTo>
                    <a:lnTo>
                      <a:pt x="72" y="4"/>
                    </a:lnTo>
                    <a:lnTo>
                      <a:pt x="79" y="8"/>
                    </a:lnTo>
                    <a:lnTo>
                      <a:pt x="82" y="12"/>
                    </a:lnTo>
                    <a:lnTo>
                      <a:pt x="82" y="13"/>
                    </a:lnTo>
                    <a:lnTo>
                      <a:pt x="85" y="13"/>
                    </a:lnTo>
                    <a:lnTo>
                      <a:pt x="87" y="15"/>
                    </a:lnTo>
                    <a:lnTo>
                      <a:pt x="85" y="18"/>
                    </a:lnTo>
                    <a:lnTo>
                      <a:pt x="85" y="20"/>
                    </a:lnTo>
                    <a:lnTo>
                      <a:pt x="87" y="25"/>
                    </a:lnTo>
                    <a:lnTo>
                      <a:pt x="85" y="28"/>
                    </a:lnTo>
                    <a:lnTo>
                      <a:pt x="84" y="33"/>
                    </a:lnTo>
                    <a:lnTo>
                      <a:pt x="82" y="35"/>
                    </a:lnTo>
                    <a:lnTo>
                      <a:pt x="80" y="35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1" name="Freeform 325">
                <a:extLst>
                  <a:ext uri="{FF2B5EF4-FFF2-40B4-BE49-F238E27FC236}">
                    <a16:creationId xmlns:a16="http://schemas.microsoft.com/office/drawing/2014/main" xmlns="" id="{9A225E82-197F-4941-829F-85C9FF8E2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5" y="1872"/>
                <a:ext cx="54" cy="53"/>
              </a:xfrm>
              <a:custGeom>
                <a:avLst/>
                <a:gdLst>
                  <a:gd name="T0" fmla="*/ 47 w 54"/>
                  <a:gd name="T1" fmla="*/ 48 h 53"/>
                  <a:gd name="T2" fmla="*/ 47 w 54"/>
                  <a:gd name="T3" fmla="*/ 50 h 53"/>
                  <a:gd name="T4" fmla="*/ 47 w 54"/>
                  <a:gd name="T5" fmla="*/ 53 h 53"/>
                  <a:gd name="T6" fmla="*/ 44 w 54"/>
                  <a:gd name="T7" fmla="*/ 51 h 53"/>
                  <a:gd name="T8" fmla="*/ 42 w 54"/>
                  <a:gd name="T9" fmla="*/ 51 h 53"/>
                  <a:gd name="T10" fmla="*/ 39 w 54"/>
                  <a:gd name="T11" fmla="*/ 45 h 53"/>
                  <a:gd name="T12" fmla="*/ 38 w 54"/>
                  <a:gd name="T13" fmla="*/ 43 h 53"/>
                  <a:gd name="T14" fmla="*/ 39 w 54"/>
                  <a:gd name="T15" fmla="*/ 46 h 53"/>
                  <a:gd name="T16" fmla="*/ 41 w 54"/>
                  <a:gd name="T17" fmla="*/ 51 h 53"/>
                  <a:gd name="T18" fmla="*/ 38 w 54"/>
                  <a:gd name="T19" fmla="*/ 50 h 53"/>
                  <a:gd name="T20" fmla="*/ 33 w 54"/>
                  <a:gd name="T21" fmla="*/ 46 h 53"/>
                  <a:gd name="T22" fmla="*/ 34 w 54"/>
                  <a:gd name="T23" fmla="*/ 41 h 53"/>
                  <a:gd name="T24" fmla="*/ 29 w 54"/>
                  <a:gd name="T25" fmla="*/ 35 h 53"/>
                  <a:gd name="T26" fmla="*/ 26 w 54"/>
                  <a:gd name="T27" fmla="*/ 32 h 53"/>
                  <a:gd name="T28" fmla="*/ 21 w 54"/>
                  <a:gd name="T29" fmla="*/ 27 h 53"/>
                  <a:gd name="T30" fmla="*/ 18 w 54"/>
                  <a:gd name="T31" fmla="*/ 22 h 53"/>
                  <a:gd name="T32" fmla="*/ 11 w 54"/>
                  <a:gd name="T33" fmla="*/ 17 h 53"/>
                  <a:gd name="T34" fmla="*/ 11 w 54"/>
                  <a:gd name="T35" fmla="*/ 20 h 53"/>
                  <a:gd name="T36" fmla="*/ 16 w 54"/>
                  <a:gd name="T37" fmla="*/ 27 h 53"/>
                  <a:gd name="T38" fmla="*/ 13 w 54"/>
                  <a:gd name="T39" fmla="*/ 30 h 53"/>
                  <a:gd name="T40" fmla="*/ 10 w 54"/>
                  <a:gd name="T41" fmla="*/ 25 h 53"/>
                  <a:gd name="T42" fmla="*/ 0 w 54"/>
                  <a:gd name="T43" fmla="*/ 22 h 53"/>
                  <a:gd name="T44" fmla="*/ 2 w 54"/>
                  <a:gd name="T45" fmla="*/ 15 h 53"/>
                  <a:gd name="T46" fmla="*/ 3 w 54"/>
                  <a:gd name="T47" fmla="*/ 10 h 53"/>
                  <a:gd name="T48" fmla="*/ 0 w 54"/>
                  <a:gd name="T49" fmla="*/ 9 h 53"/>
                  <a:gd name="T50" fmla="*/ 2 w 54"/>
                  <a:gd name="T51" fmla="*/ 4 h 53"/>
                  <a:gd name="T52" fmla="*/ 3 w 54"/>
                  <a:gd name="T53" fmla="*/ 4 h 53"/>
                  <a:gd name="T54" fmla="*/ 8 w 54"/>
                  <a:gd name="T55" fmla="*/ 0 h 53"/>
                  <a:gd name="T56" fmla="*/ 20 w 54"/>
                  <a:gd name="T57" fmla="*/ 4 h 53"/>
                  <a:gd name="T58" fmla="*/ 26 w 54"/>
                  <a:gd name="T59" fmla="*/ 5 h 53"/>
                  <a:gd name="T60" fmla="*/ 28 w 54"/>
                  <a:gd name="T61" fmla="*/ 7 h 53"/>
                  <a:gd name="T62" fmla="*/ 33 w 54"/>
                  <a:gd name="T63" fmla="*/ 10 h 53"/>
                  <a:gd name="T64" fmla="*/ 34 w 54"/>
                  <a:gd name="T65" fmla="*/ 10 h 53"/>
                  <a:gd name="T66" fmla="*/ 38 w 54"/>
                  <a:gd name="T67" fmla="*/ 9 h 53"/>
                  <a:gd name="T68" fmla="*/ 39 w 54"/>
                  <a:gd name="T69" fmla="*/ 12 h 53"/>
                  <a:gd name="T70" fmla="*/ 42 w 54"/>
                  <a:gd name="T71" fmla="*/ 18 h 53"/>
                  <a:gd name="T72" fmla="*/ 46 w 54"/>
                  <a:gd name="T73" fmla="*/ 25 h 53"/>
                  <a:gd name="T74" fmla="*/ 51 w 54"/>
                  <a:gd name="T75" fmla="*/ 27 h 53"/>
                  <a:gd name="T76" fmla="*/ 54 w 54"/>
                  <a:gd name="T77" fmla="*/ 30 h 53"/>
                  <a:gd name="T78" fmla="*/ 49 w 54"/>
                  <a:gd name="T79" fmla="*/ 32 h 53"/>
                  <a:gd name="T80" fmla="*/ 47 w 54"/>
                  <a:gd name="T81" fmla="*/ 36 h 53"/>
                  <a:gd name="T82" fmla="*/ 49 w 54"/>
                  <a:gd name="T83" fmla="*/ 40 h 53"/>
                  <a:gd name="T84" fmla="*/ 47 w 54"/>
                  <a:gd name="T85" fmla="*/ 43 h 53"/>
                  <a:gd name="T86" fmla="*/ 47 w 54"/>
                  <a:gd name="T87" fmla="*/ 48 h 53"/>
                  <a:gd name="T88" fmla="*/ 47 w 54"/>
                  <a:gd name="T89" fmla="*/ 4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4" h="53">
                    <a:moveTo>
                      <a:pt x="47" y="48"/>
                    </a:moveTo>
                    <a:lnTo>
                      <a:pt x="47" y="48"/>
                    </a:lnTo>
                    <a:lnTo>
                      <a:pt x="49" y="50"/>
                    </a:lnTo>
                    <a:lnTo>
                      <a:pt x="47" y="50"/>
                    </a:lnTo>
                    <a:lnTo>
                      <a:pt x="47" y="51"/>
                    </a:lnTo>
                    <a:lnTo>
                      <a:pt x="47" y="53"/>
                    </a:lnTo>
                    <a:lnTo>
                      <a:pt x="46" y="53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48"/>
                    </a:lnTo>
                    <a:lnTo>
                      <a:pt x="39" y="45"/>
                    </a:lnTo>
                    <a:lnTo>
                      <a:pt x="38" y="43"/>
                    </a:lnTo>
                    <a:lnTo>
                      <a:pt x="38" y="43"/>
                    </a:lnTo>
                    <a:lnTo>
                      <a:pt x="38" y="45"/>
                    </a:lnTo>
                    <a:lnTo>
                      <a:pt x="39" y="46"/>
                    </a:lnTo>
                    <a:lnTo>
                      <a:pt x="41" y="48"/>
                    </a:lnTo>
                    <a:lnTo>
                      <a:pt x="41" y="51"/>
                    </a:lnTo>
                    <a:lnTo>
                      <a:pt x="39" y="51"/>
                    </a:lnTo>
                    <a:lnTo>
                      <a:pt x="38" y="50"/>
                    </a:lnTo>
                    <a:lnTo>
                      <a:pt x="33" y="48"/>
                    </a:lnTo>
                    <a:lnTo>
                      <a:pt x="33" y="46"/>
                    </a:lnTo>
                    <a:lnTo>
                      <a:pt x="33" y="43"/>
                    </a:lnTo>
                    <a:lnTo>
                      <a:pt x="34" y="41"/>
                    </a:lnTo>
                    <a:lnTo>
                      <a:pt x="34" y="40"/>
                    </a:lnTo>
                    <a:lnTo>
                      <a:pt x="29" y="35"/>
                    </a:lnTo>
                    <a:lnTo>
                      <a:pt x="28" y="35"/>
                    </a:lnTo>
                    <a:lnTo>
                      <a:pt x="26" y="32"/>
                    </a:lnTo>
                    <a:lnTo>
                      <a:pt x="21" y="30"/>
                    </a:lnTo>
                    <a:lnTo>
                      <a:pt x="21" y="27"/>
                    </a:lnTo>
                    <a:lnTo>
                      <a:pt x="18" y="23"/>
                    </a:lnTo>
                    <a:lnTo>
                      <a:pt x="18" y="22"/>
                    </a:lnTo>
                    <a:lnTo>
                      <a:pt x="15" y="20"/>
                    </a:lnTo>
                    <a:lnTo>
                      <a:pt x="11" y="17"/>
                    </a:lnTo>
                    <a:lnTo>
                      <a:pt x="10" y="18"/>
                    </a:lnTo>
                    <a:lnTo>
                      <a:pt x="11" y="20"/>
                    </a:lnTo>
                    <a:lnTo>
                      <a:pt x="16" y="23"/>
                    </a:lnTo>
                    <a:lnTo>
                      <a:pt x="16" y="27"/>
                    </a:lnTo>
                    <a:lnTo>
                      <a:pt x="15" y="30"/>
                    </a:lnTo>
                    <a:lnTo>
                      <a:pt x="13" y="30"/>
                    </a:lnTo>
                    <a:lnTo>
                      <a:pt x="11" y="27"/>
                    </a:lnTo>
                    <a:lnTo>
                      <a:pt x="10" y="25"/>
                    </a:lnTo>
                    <a:lnTo>
                      <a:pt x="5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3" y="10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8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5" y="4"/>
                    </a:lnTo>
                    <a:lnTo>
                      <a:pt x="26" y="5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31" y="10"/>
                    </a:lnTo>
                    <a:lnTo>
                      <a:pt x="33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39" y="12"/>
                    </a:lnTo>
                    <a:lnTo>
                      <a:pt x="41" y="15"/>
                    </a:lnTo>
                    <a:lnTo>
                      <a:pt x="42" y="18"/>
                    </a:lnTo>
                    <a:lnTo>
                      <a:pt x="46" y="22"/>
                    </a:lnTo>
                    <a:lnTo>
                      <a:pt x="46" y="25"/>
                    </a:lnTo>
                    <a:lnTo>
                      <a:pt x="47" y="27"/>
                    </a:lnTo>
                    <a:lnTo>
                      <a:pt x="51" y="27"/>
                    </a:lnTo>
                    <a:lnTo>
                      <a:pt x="52" y="28"/>
                    </a:lnTo>
                    <a:lnTo>
                      <a:pt x="54" y="30"/>
                    </a:lnTo>
                    <a:lnTo>
                      <a:pt x="51" y="30"/>
                    </a:lnTo>
                    <a:lnTo>
                      <a:pt x="49" y="32"/>
                    </a:lnTo>
                    <a:lnTo>
                      <a:pt x="49" y="33"/>
                    </a:lnTo>
                    <a:lnTo>
                      <a:pt x="47" y="36"/>
                    </a:lnTo>
                    <a:lnTo>
                      <a:pt x="47" y="38"/>
                    </a:lnTo>
                    <a:lnTo>
                      <a:pt x="49" y="40"/>
                    </a:lnTo>
                    <a:lnTo>
                      <a:pt x="51" y="41"/>
                    </a:lnTo>
                    <a:lnTo>
                      <a:pt x="47" y="43"/>
                    </a:lnTo>
                    <a:lnTo>
                      <a:pt x="47" y="46"/>
                    </a:lnTo>
                    <a:lnTo>
                      <a:pt x="47" y="48"/>
                    </a:lnTo>
                    <a:lnTo>
                      <a:pt x="47" y="48"/>
                    </a:lnTo>
                    <a:lnTo>
                      <a:pt x="47" y="48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2" name="Freeform 326">
                <a:extLst>
                  <a:ext uri="{FF2B5EF4-FFF2-40B4-BE49-F238E27FC236}">
                    <a16:creationId xmlns:a16="http://schemas.microsoft.com/office/drawing/2014/main" xmlns="" id="{A53D794C-C429-4AB3-B08E-89CCA8023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" y="1809"/>
                <a:ext cx="73" cy="73"/>
              </a:xfrm>
              <a:custGeom>
                <a:avLst/>
                <a:gdLst>
                  <a:gd name="T0" fmla="*/ 18 w 45"/>
                  <a:gd name="T1" fmla="*/ 41 h 45"/>
                  <a:gd name="T2" fmla="*/ 21 w 45"/>
                  <a:gd name="T3" fmla="*/ 39 h 45"/>
                  <a:gd name="T4" fmla="*/ 28 w 45"/>
                  <a:gd name="T5" fmla="*/ 41 h 45"/>
                  <a:gd name="T6" fmla="*/ 32 w 45"/>
                  <a:gd name="T7" fmla="*/ 42 h 45"/>
                  <a:gd name="T8" fmla="*/ 33 w 45"/>
                  <a:gd name="T9" fmla="*/ 43 h 45"/>
                  <a:gd name="T10" fmla="*/ 36 w 45"/>
                  <a:gd name="T11" fmla="*/ 45 h 45"/>
                  <a:gd name="T12" fmla="*/ 37 w 45"/>
                  <a:gd name="T13" fmla="*/ 44 h 45"/>
                  <a:gd name="T14" fmla="*/ 38 w 45"/>
                  <a:gd name="T15" fmla="*/ 42 h 45"/>
                  <a:gd name="T16" fmla="*/ 36 w 45"/>
                  <a:gd name="T17" fmla="*/ 39 h 45"/>
                  <a:gd name="T18" fmla="*/ 38 w 45"/>
                  <a:gd name="T19" fmla="*/ 35 h 45"/>
                  <a:gd name="T20" fmla="*/ 38 w 45"/>
                  <a:gd name="T21" fmla="*/ 34 h 45"/>
                  <a:gd name="T22" fmla="*/ 36 w 45"/>
                  <a:gd name="T23" fmla="*/ 36 h 45"/>
                  <a:gd name="T24" fmla="*/ 37 w 45"/>
                  <a:gd name="T25" fmla="*/ 33 h 45"/>
                  <a:gd name="T26" fmla="*/ 37 w 45"/>
                  <a:gd name="T27" fmla="*/ 29 h 45"/>
                  <a:gd name="T28" fmla="*/ 39 w 45"/>
                  <a:gd name="T29" fmla="*/ 25 h 45"/>
                  <a:gd name="T30" fmla="*/ 39 w 45"/>
                  <a:gd name="T31" fmla="*/ 26 h 45"/>
                  <a:gd name="T32" fmla="*/ 39 w 45"/>
                  <a:gd name="T33" fmla="*/ 30 h 45"/>
                  <a:gd name="T34" fmla="*/ 40 w 45"/>
                  <a:gd name="T35" fmla="*/ 28 h 45"/>
                  <a:gd name="T36" fmla="*/ 41 w 45"/>
                  <a:gd name="T37" fmla="*/ 20 h 45"/>
                  <a:gd name="T38" fmla="*/ 40 w 45"/>
                  <a:gd name="T39" fmla="*/ 18 h 45"/>
                  <a:gd name="T40" fmla="*/ 40 w 45"/>
                  <a:gd name="T41" fmla="*/ 17 h 45"/>
                  <a:gd name="T42" fmla="*/ 41 w 45"/>
                  <a:gd name="T43" fmla="*/ 16 h 45"/>
                  <a:gd name="T44" fmla="*/ 42 w 45"/>
                  <a:gd name="T45" fmla="*/ 14 h 45"/>
                  <a:gd name="T46" fmla="*/ 44 w 45"/>
                  <a:gd name="T47" fmla="*/ 11 h 45"/>
                  <a:gd name="T48" fmla="*/ 43 w 45"/>
                  <a:gd name="T49" fmla="*/ 9 h 45"/>
                  <a:gd name="T50" fmla="*/ 44 w 45"/>
                  <a:gd name="T51" fmla="*/ 7 h 45"/>
                  <a:gd name="T52" fmla="*/ 44 w 45"/>
                  <a:gd name="T53" fmla="*/ 3 h 45"/>
                  <a:gd name="T54" fmla="*/ 45 w 45"/>
                  <a:gd name="T55" fmla="*/ 1 h 45"/>
                  <a:gd name="T56" fmla="*/ 42 w 45"/>
                  <a:gd name="T57" fmla="*/ 1 h 45"/>
                  <a:gd name="T58" fmla="*/ 41 w 45"/>
                  <a:gd name="T59" fmla="*/ 0 h 45"/>
                  <a:gd name="T60" fmla="*/ 40 w 45"/>
                  <a:gd name="T61" fmla="*/ 2 h 45"/>
                  <a:gd name="T62" fmla="*/ 37 w 45"/>
                  <a:gd name="T63" fmla="*/ 4 h 45"/>
                  <a:gd name="T64" fmla="*/ 35 w 45"/>
                  <a:gd name="T65" fmla="*/ 5 h 45"/>
                  <a:gd name="T66" fmla="*/ 32 w 45"/>
                  <a:gd name="T67" fmla="*/ 5 h 45"/>
                  <a:gd name="T68" fmla="*/ 30 w 45"/>
                  <a:gd name="T69" fmla="*/ 3 h 45"/>
                  <a:gd name="T70" fmla="*/ 29 w 45"/>
                  <a:gd name="T71" fmla="*/ 5 h 45"/>
                  <a:gd name="T72" fmla="*/ 26 w 45"/>
                  <a:gd name="T73" fmla="*/ 8 h 45"/>
                  <a:gd name="T74" fmla="*/ 24 w 45"/>
                  <a:gd name="T75" fmla="*/ 9 h 45"/>
                  <a:gd name="T76" fmla="*/ 21 w 45"/>
                  <a:gd name="T77" fmla="*/ 12 h 45"/>
                  <a:gd name="T78" fmla="*/ 19 w 45"/>
                  <a:gd name="T79" fmla="*/ 13 h 45"/>
                  <a:gd name="T80" fmla="*/ 17 w 45"/>
                  <a:gd name="T81" fmla="*/ 12 h 45"/>
                  <a:gd name="T82" fmla="*/ 11 w 45"/>
                  <a:gd name="T83" fmla="*/ 13 h 45"/>
                  <a:gd name="T84" fmla="*/ 8 w 45"/>
                  <a:gd name="T85" fmla="*/ 15 h 45"/>
                  <a:gd name="T86" fmla="*/ 8 w 45"/>
                  <a:gd name="T87" fmla="*/ 19 h 45"/>
                  <a:gd name="T88" fmla="*/ 5 w 45"/>
                  <a:gd name="T89" fmla="*/ 21 h 45"/>
                  <a:gd name="T90" fmla="*/ 3 w 45"/>
                  <a:gd name="T91" fmla="*/ 22 h 45"/>
                  <a:gd name="T92" fmla="*/ 1 w 45"/>
                  <a:gd name="T93" fmla="*/ 22 h 45"/>
                  <a:gd name="T94" fmla="*/ 4 w 45"/>
                  <a:gd name="T95" fmla="*/ 27 h 45"/>
                  <a:gd name="T96" fmla="*/ 5 w 45"/>
                  <a:gd name="T97" fmla="*/ 29 h 45"/>
                  <a:gd name="T98" fmla="*/ 11 w 45"/>
                  <a:gd name="T99" fmla="*/ 35 h 45"/>
                  <a:gd name="T100" fmla="*/ 16 w 45"/>
                  <a:gd name="T101" fmla="*/ 4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5" h="45">
                    <a:moveTo>
                      <a:pt x="17" y="41"/>
                    </a:moveTo>
                    <a:cubicBezTo>
                      <a:pt x="18" y="41"/>
                      <a:pt x="18" y="41"/>
                      <a:pt x="18" y="41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37" y="45"/>
                      <a:pt x="37" y="45"/>
                      <a:pt x="37" y="45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38" y="44"/>
                      <a:pt x="38" y="44"/>
                      <a:pt x="38" y="44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5"/>
                      <a:pt x="38" y="35"/>
                      <a:pt x="38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7" y="35"/>
                      <a:pt x="37" y="35"/>
                      <a:pt x="37" y="35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39" y="26"/>
                      <a:pt x="39" y="27"/>
                      <a:pt x="39" y="28"/>
                    </a:cubicBezTo>
                    <a:cubicBezTo>
                      <a:pt x="39" y="28"/>
                      <a:pt x="39" y="30"/>
                      <a:pt x="39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40" y="17"/>
                      <a:pt x="40" y="17"/>
                      <a:pt x="40" y="17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6" y="40"/>
                      <a:pt x="16" y="40"/>
                      <a:pt x="16" y="40"/>
                    </a:cubicBezTo>
                    <a:lnTo>
                      <a:pt x="17" y="4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3" name="Freeform 327">
                <a:extLst>
                  <a:ext uri="{FF2B5EF4-FFF2-40B4-BE49-F238E27FC236}">
                    <a16:creationId xmlns:a16="http://schemas.microsoft.com/office/drawing/2014/main" xmlns="" id="{028CB3CD-2164-498F-B5FD-B3AAB2327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1791"/>
                <a:ext cx="106" cy="52"/>
              </a:xfrm>
              <a:custGeom>
                <a:avLst/>
                <a:gdLst>
                  <a:gd name="T0" fmla="*/ 39 w 106"/>
                  <a:gd name="T1" fmla="*/ 52 h 52"/>
                  <a:gd name="T2" fmla="*/ 44 w 106"/>
                  <a:gd name="T3" fmla="*/ 49 h 52"/>
                  <a:gd name="T4" fmla="*/ 44 w 106"/>
                  <a:gd name="T5" fmla="*/ 42 h 52"/>
                  <a:gd name="T6" fmla="*/ 49 w 106"/>
                  <a:gd name="T7" fmla="*/ 39 h 52"/>
                  <a:gd name="T8" fmla="*/ 59 w 106"/>
                  <a:gd name="T9" fmla="*/ 37 h 52"/>
                  <a:gd name="T10" fmla="*/ 62 w 106"/>
                  <a:gd name="T11" fmla="*/ 39 h 52"/>
                  <a:gd name="T12" fmla="*/ 65 w 106"/>
                  <a:gd name="T13" fmla="*/ 37 h 52"/>
                  <a:gd name="T14" fmla="*/ 70 w 106"/>
                  <a:gd name="T15" fmla="*/ 32 h 52"/>
                  <a:gd name="T16" fmla="*/ 73 w 106"/>
                  <a:gd name="T17" fmla="*/ 31 h 52"/>
                  <a:gd name="T18" fmla="*/ 78 w 106"/>
                  <a:gd name="T19" fmla="*/ 26 h 52"/>
                  <a:gd name="T20" fmla="*/ 80 w 106"/>
                  <a:gd name="T21" fmla="*/ 23 h 52"/>
                  <a:gd name="T22" fmla="*/ 83 w 106"/>
                  <a:gd name="T23" fmla="*/ 26 h 52"/>
                  <a:gd name="T24" fmla="*/ 88 w 106"/>
                  <a:gd name="T25" fmla="*/ 26 h 52"/>
                  <a:gd name="T26" fmla="*/ 91 w 106"/>
                  <a:gd name="T27" fmla="*/ 24 h 52"/>
                  <a:gd name="T28" fmla="*/ 96 w 106"/>
                  <a:gd name="T29" fmla="*/ 21 h 52"/>
                  <a:gd name="T30" fmla="*/ 98 w 106"/>
                  <a:gd name="T31" fmla="*/ 18 h 52"/>
                  <a:gd name="T32" fmla="*/ 99 w 106"/>
                  <a:gd name="T33" fmla="*/ 19 h 52"/>
                  <a:gd name="T34" fmla="*/ 104 w 106"/>
                  <a:gd name="T35" fmla="*/ 19 h 52"/>
                  <a:gd name="T36" fmla="*/ 104 w 106"/>
                  <a:gd name="T37" fmla="*/ 16 h 52"/>
                  <a:gd name="T38" fmla="*/ 98 w 106"/>
                  <a:gd name="T39" fmla="*/ 11 h 52"/>
                  <a:gd name="T40" fmla="*/ 98 w 106"/>
                  <a:gd name="T41" fmla="*/ 15 h 52"/>
                  <a:gd name="T42" fmla="*/ 91 w 106"/>
                  <a:gd name="T43" fmla="*/ 15 h 52"/>
                  <a:gd name="T44" fmla="*/ 86 w 106"/>
                  <a:gd name="T45" fmla="*/ 13 h 52"/>
                  <a:gd name="T46" fmla="*/ 85 w 106"/>
                  <a:gd name="T47" fmla="*/ 11 h 52"/>
                  <a:gd name="T48" fmla="*/ 86 w 106"/>
                  <a:gd name="T49" fmla="*/ 10 h 52"/>
                  <a:gd name="T50" fmla="*/ 90 w 106"/>
                  <a:gd name="T51" fmla="*/ 10 h 52"/>
                  <a:gd name="T52" fmla="*/ 95 w 106"/>
                  <a:gd name="T53" fmla="*/ 11 h 52"/>
                  <a:gd name="T54" fmla="*/ 88 w 106"/>
                  <a:gd name="T55" fmla="*/ 6 h 52"/>
                  <a:gd name="T56" fmla="*/ 83 w 106"/>
                  <a:gd name="T57" fmla="*/ 6 h 52"/>
                  <a:gd name="T58" fmla="*/ 80 w 106"/>
                  <a:gd name="T59" fmla="*/ 8 h 52"/>
                  <a:gd name="T60" fmla="*/ 72 w 106"/>
                  <a:gd name="T61" fmla="*/ 5 h 52"/>
                  <a:gd name="T62" fmla="*/ 60 w 106"/>
                  <a:gd name="T63" fmla="*/ 1 h 52"/>
                  <a:gd name="T64" fmla="*/ 57 w 106"/>
                  <a:gd name="T65" fmla="*/ 1 h 52"/>
                  <a:gd name="T66" fmla="*/ 55 w 106"/>
                  <a:gd name="T67" fmla="*/ 5 h 52"/>
                  <a:gd name="T68" fmla="*/ 52 w 106"/>
                  <a:gd name="T69" fmla="*/ 5 h 52"/>
                  <a:gd name="T70" fmla="*/ 39 w 106"/>
                  <a:gd name="T71" fmla="*/ 5 h 52"/>
                  <a:gd name="T72" fmla="*/ 26 w 106"/>
                  <a:gd name="T73" fmla="*/ 8 h 52"/>
                  <a:gd name="T74" fmla="*/ 24 w 106"/>
                  <a:gd name="T75" fmla="*/ 8 h 52"/>
                  <a:gd name="T76" fmla="*/ 21 w 106"/>
                  <a:gd name="T77" fmla="*/ 11 h 52"/>
                  <a:gd name="T78" fmla="*/ 15 w 106"/>
                  <a:gd name="T79" fmla="*/ 15 h 52"/>
                  <a:gd name="T80" fmla="*/ 6 w 106"/>
                  <a:gd name="T81" fmla="*/ 21 h 52"/>
                  <a:gd name="T82" fmla="*/ 6 w 106"/>
                  <a:gd name="T83" fmla="*/ 29 h 52"/>
                  <a:gd name="T84" fmla="*/ 2 w 106"/>
                  <a:gd name="T85" fmla="*/ 32 h 52"/>
                  <a:gd name="T86" fmla="*/ 2 w 106"/>
                  <a:gd name="T87" fmla="*/ 34 h 52"/>
                  <a:gd name="T88" fmla="*/ 2 w 106"/>
                  <a:gd name="T89" fmla="*/ 46 h 52"/>
                  <a:gd name="T90" fmla="*/ 8 w 106"/>
                  <a:gd name="T91" fmla="*/ 49 h 52"/>
                  <a:gd name="T92" fmla="*/ 15 w 106"/>
                  <a:gd name="T93" fmla="*/ 49 h 52"/>
                  <a:gd name="T94" fmla="*/ 13 w 106"/>
                  <a:gd name="T95" fmla="*/ 47 h 52"/>
                  <a:gd name="T96" fmla="*/ 18 w 106"/>
                  <a:gd name="T97" fmla="*/ 50 h 52"/>
                  <a:gd name="T98" fmla="*/ 28 w 106"/>
                  <a:gd name="T99" fmla="*/ 52 h 52"/>
                  <a:gd name="T100" fmla="*/ 29 w 106"/>
                  <a:gd name="T101" fmla="*/ 49 h 52"/>
                  <a:gd name="T102" fmla="*/ 31 w 106"/>
                  <a:gd name="T103" fmla="*/ 49 h 52"/>
                  <a:gd name="T104" fmla="*/ 34 w 106"/>
                  <a:gd name="T105" fmla="*/ 49 h 52"/>
                  <a:gd name="T106" fmla="*/ 36 w 106"/>
                  <a:gd name="T107" fmla="*/ 49 h 52"/>
                  <a:gd name="T108" fmla="*/ 36 w 106"/>
                  <a:gd name="T10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6" h="52">
                    <a:moveTo>
                      <a:pt x="36" y="52"/>
                    </a:moveTo>
                    <a:lnTo>
                      <a:pt x="39" y="52"/>
                    </a:lnTo>
                    <a:lnTo>
                      <a:pt x="42" y="52"/>
                    </a:lnTo>
                    <a:lnTo>
                      <a:pt x="44" y="49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1"/>
                    </a:lnTo>
                    <a:lnTo>
                      <a:pt x="49" y="39"/>
                    </a:lnTo>
                    <a:lnTo>
                      <a:pt x="54" y="36"/>
                    </a:lnTo>
                    <a:lnTo>
                      <a:pt x="59" y="37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4" y="39"/>
                    </a:lnTo>
                    <a:lnTo>
                      <a:pt x="65" y="37"/>
                    </a:lnTo>
                    <a:lnTo>
                      <a:pt x="68" y="36"/>
                    </a:lnTo>
                    <a:lnTo>
                      <a:pt x="70" y="32"/>
                    </a:lnTo>
                    <a:lnTo>
                      <a:pt x="72" y="32"/>
                    </a:lnTo>
                    <a:lnTo>
                      <a:pt x="73" y="31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78" y="23"/>
                    </a:lnTo>
                    <a:lnTo>
                      <a:pt x="80" y="23"/>
                    </a:lnTo>
                    <a:lnTo>
                      <a:pt x="82" y="24"/>
                    </a:lnTo>
                    <a:lnTo>
                      <a:pt x="83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4"/>
                    </a:lnTo>
                    <a:lnTo>
                      <a:pt x="91" y="24"/>
                    </a:lnTo>
                    <a:lnTo>
                      <a:pt x="93" y="23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8" y="18"/>
                    </a:lnTo>
                    <a:lnTo>
                      <a:pt x="99" y="18"/>
                    </a:lnTo>
                    <a:lnTo>
                      <a:pt x="99" y="19"/>
                    </a:lnTo>
                    <a:lnTo>
                      <a:pt x="103" y="19"/>
                    </a:lnTo>
                    <a:lnTo>
                      <a:pt x="104" y="19"/>
                    </a:lnTo>
                    <a:lnTo>
                      <a:pt x="106" y="18"/>
                    </a:lnTo>
                    <a:lnTo>
                      <a:pt x="104" y="16"/>
                    </a:lnTo>
                    <a:lnTo>
                      <a:pt x="101" y="13"/>
                    </a:lnTo>
                    <a:lnTo>
                      <a:pt x="98" y="11"/>
                    </a:lnTo>
                    <a:lnTo>
                      <a:pt x="98" y="13"/>
                    </a:lnTo>
                    <a:lnTo>
                      <a:pt x="98" y="15"/>
                    </a:lnTo>
                    <a:lnTo>
                      <a:pt x="95" y="15"/>
                    </a:lnTo>
                    <a:lnTo>
                      <a:pt x="91" y="15"/>
                    </a:lnTo>
                    <a:lnTo>
                      <a:pt x="90" y="13"/>
                    </a:lnTo>
                    <a:lnTo>
                      <a:pt x="86" y="13"/>
                    </a:lnTo>
                    <a:lnTo>
                      <a:pt x="83" y="13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90" y="10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1" y="8"/>
                    </a:lnTo>
                    <a:lnTo>
                      <a:pt x="88" y="6"/>
                    </a:lnTo>
                    <a:lnTo>
                      <a:pt x="85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0" y="8"/>
                    </a:lnTo>
                    <a:lnTo>
                      <a:pt x="78" y="6"/>
                    </a:lnTo>
                    <a:lnTo>
                      <a:pt x="72" y="5"/>
                    </a:lnTo>
                    <a:lnTo>
                      <a:pt x="65" y="5"/>
                    </a:lnTo>
                    <a:lnTo>
                      <a:pt x="60" y="1"/>
                    </a:lnTo>
                    <a:lnTo>
                      <a:pt x="57" y="0"/>
                    </a:lnTo>
                    <a:lnTo>
                      <a:pt x="57" y="1"/>
                    </a:lnTo>
                    <a:lnTo>
                      <a:pt x="59" y="3"/>
                    </a:lnTo>
                    <a:lnTo>
                      <a:pt x="55" y="5"/>
                    </a:lnTo>
                    <a:lnTo>
                      <a:pt x="54" y="5"/>
                    </a:lnTo>
                    <a:lnTo>
                      <a:pt x="52" y="5"/>
                    </a:lnTo>
                    <a:lnTo>
                      <a:pt x="46" y="6"/>
                    </a:lnTo>
                    <a:lnTo>
                      <a:pt x="39" y="5"/>
                    </a:lnTo>
                    <a:lnTo>
                      <a:pt x="31" y="5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1" y="10"/>
                    </a:lnTo>
                    <a:lnTo>
                      <a:pt x="21" y="11"/>
                    </a:lnTo>
                    <a:lnTo>
                      <a:pt x="16" y="15"/>
                    </a:lnTo>
                    <a:lnTo>
                      <a:pt x="15" y="15"/>
                    </a:lnTo>
                    <a:lnTo>
                      <a:pt x="10" y="19"/>
                    </a:lnTo>
                    <a:lnTo>
                      <a:pt x="6" y="21"/>
                    </a:lnTo>
                    <a:lnTo>
                      <a:pt x="8" y="24"/>
                    </a:lnTo>
                    <a:lnTo>
                      <a:pt x="6" y="29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2"/>
                    </a:lnTo>
                    <a:lnTo>
                      <a:pt x="2" y="46"/>
                    </a:lnTo>
                    <a:lnTo>
                      <a:pt x="3" y="46"/>
                    </a:lnTo>
                    <a:lnTo>
                      <a:pt x="8" y="49"/>
                    </a:lnTo>
                    <a:lnTo>
                      <a:pt x="15" y="50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6" y="47"/>
                    </a:lnTo>
                    <a:lnTo>
                      <a:pt x="18" y="50"/>
                    </a:lnTo>
                    <a:lnTo>
                      <a:pt x="19" y="52"/>
                    </a:lnTo>
                    <a:lnTo>
                      <a:pt x="28" y="52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9" y="47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4" y="49"/>
                    </a:lnTo>
                    <a:lnTo>
                      <a:pt x="34" y="49"/>
                    </a:lnTo>
                    <a:lnTo>
                      <a:pt x="36" y="49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4" name="Freeform 328">
                <a:extLst>
                  <a:ext uri="{FF2B5EF4-FFF2-40B4-BE49-F238E27FC236}">
                    <a16:creationId xmlns:a16="http://schemas.microsoft.com/office/drawing/2014/main" xmlns="" id="{C313F3AB-7255-4AA9-95DB-225B873C2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820"/>
                <a:ext cx="39" cy="23"/>
              </a:xfrm>
              <a:custGeom>
                <a:avLst/>
                <a:gdLst>
                  <a:gd name="T0" fmla="*/ 14 w 39"/>
                  <a:gd name="T1" fmla="*/ 0 h 23"/>
                  <a:gd name="T2" fmla="*/ 16 w 39"/>
                  <a:gd name="T3" fmla="*/ 0 h 23"/>
                  <a:gd name="T4" fmla="*/ 16 w 39"/>
                  <a:gd name="T5" fmla="*/ 2 h 23"/>
                  <a:gd name="T6" fmla="*/ 19 w 39"/>
                  <a:gd name="T7" fmla="*/ 2 h 23"/>
                  <a:gd name="T8" fmla="*/ 19 w 39"/>
                  <a:gd name="T9" fmla="*/ 3 h 23"/>
                  <a:gd name="T10" fmla="*/ 23 w 39"/>
                  <a:gd name="T11" fmla="*/ 3 h 23"/>
                  <a:gd name="T12" fmla="*/ 26 w 39"/>
                  <a:gd name="T13" fmla="*/ 3 h 23"/>
                  <a:gd name="T14" fmla="*/ 27 w 39"/>
                  <a:gd name="T15" fmla="*/ 7 h 23"/>
                  <a:gd name="T16" fmla="*/ 29 w 39"/>
                  <a:gd name="T17" fmla="*/ 8 h 23"/>
                  <a:gd name="T18" fmla="*/ 31 w 39"/>
                  <a:gd name="T19" fmla="*/ 10 h 23"/>
                  <a:gd name="T20" fmla="*/ 31 w 39"/>
                  <a:gd name="T21" fmla="*/ 8 h 23"/>
                  <a:gd name="T22" fmla="*/ 32 w 39"/>
                  <a:gd name="T23" fmla="*/ 7 h 23"/>
                  <a:gd name="T24" fmla="*/ 34 w 39"/>
                  <a:gd name="T25" fmla="*/ 7 h 23"/>
                  <a:gd name="T26" fmla="*/ 36 w 39"/>
                  <a:gd name="T27" fmla="*/ 7 h 23"/>
                  <a:gd name="T28" fmla="*/ 39 w 39"/>
                  <a:gd name="T29" fmla="*/ 7 h 23"/>
                  <a:gd name="T30" fmla="*/ 39 w 39"/>
                  <a:gd name="T31" fmla="*/ 10 h 23"/>
                  <a:gd name="T32" fmla="*/ 37 w 39"/>
                  <a:gd name="T33" fmla="*/ 13 h 23"/>
                  <a:gd name="T34" fmla="*/ 37 w 39"/>
                  <a:gd name="T35" fmla="*/ 15 h 23"/>
                  <a:gd name="T36" fmla="*/ 37 w 39"/>
                  <a:gd name="T37" fmla="*/ 17 h 23"/>
                  <a:gd name="T38" fmla="*/ 37 w 39"/>
                  <a:gd name="T39" fmla="*/ 18 h 23"/>
                  <a:gd name="T40" fmla="*/ 37 w 39"/>
                  <a:gd name="T41" fmla="*/ 20 h 23"/>
                  <a:gd name="T42" fmla="*/ 37 w 39"/>
                  <a:gd name="T43" fmla="*/ 21 h 23"/>
                  <a:gd name="T44" fmla="*/ 36 w 39"/>
                  <a:gd name="T45" fmla="*/ 23 h 23"/>
                  <a:gd name="T46" fmla="*/ 27 w 39"/>
                  <a:gd name="T47" fmla="*/ 23 h 23"/>
                  <a:gd name="T48" fmla="*/ 26 w 39"/>
                  <a:gd name="T49" fmla="*/ 21 h 23"/>
                  <a:gd name="T50" fmla="*/ 24 w 39"/>
                  <a:gd name="T51" fmla="*/ 18 h 23"/>
                  <a:gd name="T52" fmla="*/ 21 w 39"/>
                  <a:gd name="T53" fmla="*/ 18 h 23"/>
                  <a:gd name="T54" fmla="*/ 21 w 39"/>
                  <a:gd name="T55" fmla="*/ 20 h 23"/>
                  <a:gd name="T56" fmla="*/ 23 w 39"/>
                  <a:gd name="T57" fmla="*/ 20 h 23"/>
                  <a:gd name="T58" fmla="*/ 23 w 39"/>
                  <a:gd name="T59" fmla="*/ 21 h 23"/>
                  <a:gd name="T60" fmla="*/ 16 w 39"/>
                  <a:gd name="T61" fmla="*/ 20 h 23"/>
                  <a:gd name="T62" fmla="*/ 11 w 39"/>
                  <a:gd name="T63" fmla="*/ 17 h 23"/>
                  <a:gd name="T64" fmla="*/ 10 w 39"/>
                  <a:gd name="T65" fmla="*/ 17 h 23"/>
                  <a:gd name="T66" fmla="*/ 6 w 39"/>
                  <a:gd name="T67" fmla="*/ 17 h 23"/>
                  <a:gd name="T68" fmla="*/ 3 w 39"/>
                  <a:gd name="T69" fmla="*/ 13 h 23"/>
                  <a:gd name="T70" fmla="*/ 0 w 39"/>
                  <a:gd name="T71" fmla="*/ 13 h 23"/>
                  <a:gd name="T72" fmla="*/ 0 w 39"/>
                  <a:gd name="T73" fmla="*/ 13 h 23"/>
                  <a:gd name="T74" fmla="*/ 0 w 39"/>
                  <a:gd name="T75" fmla="*/ 12 h 23"/>
                  <a:gd name="T76" fmla="*/ 0 w 39"/>
                  <a:gd name="T77" fmla="*/ 10 h 23"/>
                  <a:gd name="T78" fmla="*/ 3 w 39"/>
                  <a:gd name="T79" fmla="*/ 7 h 23"/>
                  <a:gd name="T80" fmla="*/ 6 w 39"/>
                  <a:gd name="T81" fmla="*/ 5 h 23"/>
                  <a:gd name="T82" fmla="*/ 10 w 39"/>
                  <a:gd name="T83" fmla="*/ 5 h 23"/>
                  <a:gd name="T84" fmla="*/ 10 w 39"/>
                  <a:gd name="T85" fmla="*/ 3 h 23"/>
                  <a:gd name="T86" fmla="*/ 14 w 39"/>
                  <a:gd name="T8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" h="23">
                    <a:moveTo>
                      <a:pt x="14" y="0"/>
                    </a:moveTo>
                    <a:lnTo>
                      <a:pt x="16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19" y="3"/>
                    </a:lnTo>
                    <a:lnTo>
                      <a:pt x="23" y="3"/>
                    </a:lnTo>
                    <a:lnTo>
                      <a:pt x="26" y="3"/>
                    </a:lnTo>
                    <a:lnTo>
                      <a:pt x="27" y="7"/>
                    </a:lnTo>
                    <a:lnTo>
                      <a:pt x="29" y="8"/>
                    </a:lnTo>
                    <a:lnTo>
                      <a:pt x="31" y="10"/>
                    </a:lnTo>
                    <a:lnTo>
                      <a:pt x="31" y="8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9" y="7"/>
                    </a:lnTo>
                    <a:lnTo>
                      <a:pt x="39" y="10"/>
                    </a:lnTo>
                    <a:lnTo>
                      <a:pt x="37" y="13"/>
                    </a:lnTo>
                    <a:lnTo>
                      <a:pt x="37" y="15"/>
                    </a:lnTo>
                    <a:lnTo>
                      <a:pt x="37" y="17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3"/>
                    </a:lnTo>
                    <a:lnTo>
                      <a:pt x="27" y="23"/>
                    </a:lnTo>
                    <a:lnTo>
                      <a:pt x="26" y="21"/>
                    </a:lnTo>
                    <a:lnTo>
                      <a:pt x="24" y="18"/>
                    </a:lnTo>
                    <a:lnTo>
                      <a:pt x="21" y="18"/>
                    </a:lnTo>
                    <a:lnTo>
                      <a:pt x="21" y="20"/>
                    </a:lnTo>
                    <a:lnTo>
                      <a:pt x="23" y="20"/>
                    </a:lnTo>
                    <a:lnTo>
                      <a:pt x="23" y="21"/>
                    </a:lnTo>
                    <a:lnTo>
                      <a:pt x="16" y="20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5" name="Freeform 329">
                <a:extLst>
                  <a:ext uri="{FF2B5EF4-FFF2-40B4-BE49-F238E27FC236}">
                    <a16:creationId xmlns:a16="http://schemas.microsoft.com/office/drawing/2014/main" xmlns="" id="{12E39E55-7E22-4790-A556-EB14177B9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6" y="1753"/>
                <a:ext cx="20" cy="41"/>
              </a:xfrm>
              <a:custGeom>
                <a:avLst/>
                <a:gdLst>
                  <a:gd name="T0" fmla="*/ 2 w 20"/>
                  <a:gd name="T1" fmla="*/ 10 h 41"/>
                  <a:gd name="T2" fmla="*/ 2 w 20"/>
                  <a:gd name="T3" fmla="*/ 10 h 41"/>
                  <a:gd name="T4" fmla="*/ 2 w 20"/>
                  <a:gd name="T5" fmla="*/ 8 h 41"/>
                  <a:gd name="T6" fmla="*/ 3 w 20"/>
                  <a:gd name="T7" fmla="*/ 7 h 41"/>
                  <a:gd name="T8" fmla="*/ 5 w 20"/>
                  <a:gd name="T9" fmla="*/ 7 h 41"/>
                  <a:gd name="T10" fmla="*/ 5 w 20"/>
                  <a:gd name="T11" fmla="*/ 8 h 41"/>
                  <a:gd name="T12" fmla="*/ 7 w 20"/>
                  <a:gd name="T13" fmla="*/ 8 h 41"/>
                  <a:gd name="T14" fmla="*/ 7 w 20"/>
                  <a:gd name="T15" fmla="*/ 8 h 41"/>
                  <a:gd name="T16" fmla="*/ 8 w 20"/>
                  <a:gd name="T17" fmla="*/ 8 h 41"/>
                  <a:gd name="T18" fmla="*/ 8 w 20"/>
                  <a:gd name="T19" fmla="*/ 7 h 41"/>
                  <a:gd name="T20" fmla="*/ 10 w 20"/>
                  <a:gd name="T21" fmla="*/ 3 h 41"/>
                  <a:gd name="T22" fmla="*/ 11 w 20"/>
                  <a:gd name="T23" fmla="*/ 2 h 41"/>
                  <a:gd name="T24" fmla="*/ 11 w 20"/>
                  <a:gd name="T25" fmla="*/ 0 h 41"/>
                  <a:gd name="T26" fmla="*/ 13 w 20"/>
                  <a:gd name="T27" fmla="*/ 0 h 41"/>
                  <a:gd name="T28" fmla="*/ 15 w 20"/>
                  <a:gd name="T29" fmla="*/ 0 h 41"/>
                  <a:gd name="T30" fmla="*/ 15 w 20"/>
                  <a:gd name="T31" fmla="*/ 2 h 41"/>
                  <a:gd name="T32" fmla="*/ 16 w 20"/>
                  <a:gd name="T33" fmla="*/ 0 h 41"/>
                  <a:gd name="T34" fmla="*/ 20 w 20"/>
                  <a:gd name="T35" fmla="*/ 0 h 41"/>
                  <a:gd name="T36" fmla="*/ 20 w 20"/>
                  <a:gd name="T37" fmla="*/ 2 h 41"/>
                  <a:gd name="T38" fmla="*/ 18 w 20"/>
                  <a:gd name="T39" fmla="*/ 3 h 41"/>
                  <a:gd name="T40" fmla="*/ 18 w 20"/>
                  <a:gd name="T41" fmla="*/ 12 h 41"/>
                  <a:gd name="T42" fmla="*/ 16 w 20"/>
                  <a:gd name="T43" fmla="*/ 15 h 41"/>
                  <a:gd name="T44" fmla="*/ 16 w 20"/>
                  <a:gd name="T45" fmla="*/ 20 h 41"/>
                  <a:gd name="T46" fmla="*/ 18 w 20"/>
                  <a:gd name="T47" fmla="*/ 21 h 41"/>
                  <a:gd name="T48" fmla="*/ 18 w 20"/>
                  <a:gd name="T49" fmla="*/ 26 h 41"/>
                  <a:gd name="T50" fmla="*/ 16 w 20"/>
                  <a:gd name="T51" fmla="*/ 31 h 41"/>
                  <a:gd name="T52" fmla="*/ 11 w 20"/>
                  <a:gd name="T53" fmla="*/ 36 h 41"/>
                  <a:gd name="T54" fmla="*/ 10 w 20"/>
                  <a:gd name="T55" fmla="*/ 35 h 41"/>
                  <a:gd name="T56" fmla="*/ 7 w 20"/>
                  <a:gd name="T57" fmla="*/ 38 h 41"/>
                  <a:gd name="T58" fmla="*/ 5 w 20"/>
                  <a:gd name="T59" fmla="*/ 41 h 41"/>
                  <a:gd name="T60" fmla="*/ 5 w 20"/>
                  <a:gd name="T61" fmla="*/ 41 h 41"/>
                  <a:gd name="T62" fmla="*/ 3 w 20"/>
                  <a:gd name="T63" fmla="*/ 41 h 41"/>
                  <a:gd name="T64" fmla="*/ 3 w 20"/>
                  <a:gd name="T65" fmla="*/ 41 h 41"/>
                  <a:gd name="T66" fmla="*/ 0 w 20"/>
                  <a:gd name="T67" fmla="*/ 41 h 41"/>
                  <a:gd name="T68" fmla="*/ 2 w 20"/>
                  <a:gd name="T69" fmla="*/ 10 h 41"/>
                  <a:gd name="T70" fmla="*/ 2 w 20"/>
                  <a:gd name="T71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41">
                    <a:moveTo>
                      <a:pt x="2" y="10"/>
                    </a:moveTo>
                    <a:lnTo>
                      <a:pt x="2" y="10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8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10" y="3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3"/>
                    </a:lnTo>
                    <a:lnTo>
                      <a:pt x="18" y="12"/>
                    </a:lnTo>
                    <a:lnTo>
                      <a:pt x="16" y="15"/>
                    </a:lnTo>
                    <a:lnTo>
                      <a:pt x="16" y="20"/>
                    </a:lnTo>
                    <a:lnTo>
                      <a:pt x="18" y="21"/>
                    </a:lnTo>
                    <a:lnTo>
                      <a:pt x="18" y="26"/>
                    </a:lnTo>
                    <a:lnTo>
                      <a:pt x="16" y="31"/>
                    </a:lnTo>
                    <a:lnTo>
                      <a:pt x="11" y="36"/>
                    </a:lnTo>
                    <a:lnTo>
                      <a:pt x="10" y="35"/>
                    </a:lnTo>
                    <a:lnTo>
                      <a:pt x="7" y="38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0" y="41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6" name="Freeform 330">
                <a:extLst>
                  <a:ext uri="{FF2B5EF4-FFF2-40B4-BE49-F238E27FC236}">
                    <a16:creationId xmlns:a16="http://schemas.microsoft.com/office/drawing/2014/main" xmlns="" id="{B90E4377-6716-47F2-A5BE-6795620F1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7" y="1763"/>
                <a:ext cx="65" cy="70"/>
              </a:xfrm>
              <a:custGeom>
                <a:avLst/>
                <a:gdLst>
                  <a:gd name="T0" fmla="*/ 33 w 65"/>
                  <a:gd name="T1" fmla="*/ 70 h 70"/>
                  <a:gd name="T2" fmla="*/ 33 w 65"/>
                  <a:gd name="T3" fmla="*/ 69 h 70"/>
                  <a:gd name="T4" fmla="*/ 33 w 65"/>
                  <a:gd name="T5" fmla="*/ 67 h 70"/>
                  <a:gd name="T6" fmla="*/ 36 w 65"/>
                  <a:gd name="T7" fmla="*/ 64 h 70"/>
                  <a:gd name="T8" fmla="*/ 39 w 65"/>
                  <a:gd name="T9" fmla="*/ 62 h 70"/>
                  <a:gd name="T10" fmla="*/ 43 w 65"/>
                  <a:gd name="T11" fmla="*/ 62 h 70"/>
                  <a:gd name="T12" fmla="*/ 43 w 65"/>
                  <a:gd name="T13" fmla="*/ 60 h 70"/>
                  <a:gd name="T14" fmla="*/ 47 w 65"/>
                  <a:gd name="T15" fmla="*/ 57 h 70"/>
                  <a:gd name="T16" fmla="*/ 49 w 65"/>
                  <a:gd name="T17" fmla="*/ 52 h 70"/>
                  <a:gd name="T18" fmla="*/ 47 w 65"/>
                  <a:gd name="T19" fmla="*/ 49 h 70"/>
                  <a:gd name="T20" fmla="*/ 51 w 65"/>
                  <a:gd name="T21" fmla="*/ 47 h 70"/>
                  <a:gd name="T22" fmla="*/ 56 w 65"/>
                  <a:gd name="T23" fmla="*/ 43 h 70"/>
                  <a:gd name="T24" fmla="*/ 57 w 65"/>
                  <a:gd name="T25" fmla="*/ 43 h 70"/>
                  <a:gd name="T26" fmla="*/ 62 w 65"/>
                  <a:gd name="T27" fmla="*/ 39 h 70"/>
                  <a:gd name="T28" fmla="*/ 62 w 65"/>
                  <a:gd name="T29" fmla="*/ 38 h 70"/>
                  <a:gd name="T30" fmla="*/ 65 w 65"/>
                  <a:gd name="T31" fmla="*/ 36 h 70"/>
                  <a:gd name="T32" fmla="*/ 65 w 65"/>
                  <a:gd name="T33" fmla="*/ 34 h 70"/>
                  <a:gd name="T34" fmla="*/ 64 w 65"/>
                  <a:gd name="T35" fmla="*/ 33 h 70"/>
                  <a:gd name="T36" fmla="*/ 60 w 65"/>
                  <a:gd name="T37" fmla="*/ 33 h 70"/>
                  <a:gd name="T38" fmla="*/ 60 w 65"/>
                  <a:gd name="T39" fmla="*/ 34 h 70"/>
                  <a:gd name="T40" fmla="*/ 57 w 65"/>
                  <a:gd name="T41" fmla="*/ 33 h 70"/>
                  <a:gd name="T42" fmla="*/ 56 w 65"/>
                  <a:gd name="T43" fmla="*/ 33 h 70"/>
                  <a:gd name="T44" fmla="*/ 54 w 65"/>
                  <a:gd name="T45" fmla="*/ 31 h 70"/>
                  <a:gd name="T46" fmla="*/ 52 w 65"/>
                  <a:gd name="T47" fmla="*/ 31 h 70"/>
                  <a:gd name="T48" fmla="*/ 52 w 65"/>
                  <a:gd name="T49" fmla="*/ 31 h 70"/>
                  <a:gd name="T50" fmla="*/ 49 w 65"/>
                  <a:gd name="T51" fmla="*/ 31 h 70"/>
                  <a:gd name="T52" fmla="*/ 51 w 65"/>
                  <a:gd name="T53" fmla="*/ 0 h 70"/>
                  <a:gd name="T54" fmla="*/ 51 w 65"/>
                  <a:gd name="T55" fmla="*/ 0 h 70"/>
                  <a:gd name="T56" fmla="*/ 23 w 65"/>
                  <a:gd name="T57" fmla="*/ 0 h 70"/>
                  <a:gd name="T58" fmla="*/ 21 w 65"/>
                  <a:gd name="T59" fmla="*/ 8 h 70"/>
                  <a:gd name="T60" fmla="*/ 15 w 65"/>
                  <a:gd name="T61" fmla="*/ 10 h 70"/>
                  <a:gd name="T62" fmla="*/ 18 w 65"/>
                  <a:gd name="T63" fmla="*/ 11 h 70"/>
                  <a:gd name="T64" fmla="*/ 18 w 65"/>
                  <a:gd name="T65" fmla="*/ 13 h 70"/>
                  <a:gd name="T66" fmla="*/ 21 w 65"/>
                  <a:gd name="T67" fmla="*/ 16 h 70"/>
                  <a:gd name="T68" fmla="*/ 23 w 65"/>
                  <a:gd name="T69" fmla="*/ 18 h 70"/>
                  <a:gd name="T70" fmla="*/ 25 w 65"/>
                  <a:gd name="T71" fmla="*/ 18 h 70"/>
                  <a:gd name="T72" fmla="*/ 26 w 65"/>
                  <a:gd name="T73" fmla="*/ 20 h 70"/>
                  <a:gd name="T74" fmla="*/ 26 w 65"/>
                  <a:gd name="T75" fmla="*/ 23 h 70"/>
                  <a:gd name="T76" fmla="*/ 28 w 65"/>
                  <a:gd name="T77" fmla="*/ 23 h 70"/>
                  <a:gd name="T78" fmla="*/ 31 w 65"/>
                  <a:gd name="T79" fmla="*/ 23 h 70"/>
                  <a:gd name="T80" fmla="*/ 33 w 65"/>
                  <a:gd name="T81" fmla="*/ 25 h 70"/>
                  <a:gd name="T82" fmla="*/ 33 w 65"/>
                  <a:gd name="T83" fmla="*/ 26 h 70"/>
                  <a:gd name="T84" fmla="*/ 31 w 65"/>
                  <a:gd name="T85" fmla="*/ 29 h 70"/>
                  <a:gd name="T86" fmla="*/ 10 w 65"/>
                  <a:gd name="T87" fmla="*/ 29 h 70"/>
                  <a:gd name="T88" fmla="*/ 2 w 65"/>
                  <a:gd name="T89" fmla="*/ 44 h 70"/>
                  <a:gd name="T90" fmla="*/ 2 w 65"/>
                  <a:gd name="T91" fmla="*/ 47 h 70"/>
                  <a:gd name="T92" fmla="*/ 2 w 65"/>
                  <a:gd name="T93" fmla="*/ 47 h 70"/>
                  <a:gd name="T94" fmla="*/ 2 w 65"/>
                  <a:gd name="T95" fmla="*/ 49 h 70"/>
                  <a:gd name="T96" fmla="*/ 2 w 65"/>
                  <a:gd name="T97" fmla="*/ 51 h 70"/>
                  <a:gd name="T98" fmla="*/ 3 w 65"/>
                  <a:gd name="T99" fmla="*/ 51 h 70"/>
                  <a:gd name="T100" fmla="*/ 2 w 65"/>
                  <a:gd name="T101" fmla="*/ 52 h 70"/>
                  <a:gd name="T102" fmla="*/ 2 w 65"/>
                  <a:gd name="T103" fmla="*/ 54 h 70"/>
                  <a:gd name="T104" fmla="*/ 0 w 65"/>
                  <a:gd name="T105" fmla="*/ 56 h 70"/>
                  <a:gd name="T106" fmla="*/ 0 w 65"/>
                  <a:gd name="T107" fmla="*/ 56 h 70"/>
                  <a:gd name="T108" fmla="*/ 2 w 65"/>
                  <a:gd name="T109" fmla="*/ 59 h 70"/>
                  <a:gd name="T110" fmla="*/ 5 w 65"/>
                  <a:gd name="T111" fmla="*/ 62 h 70"/>
                  <a:gd name="T112" fmla="*/ 7 w 65"/>
                  <a:gd name="T113" fmla="*/ 62 h 70"/>
                  <a:gd name="T114" fmla="*/ 8 w 65"/>
                  <a:gd name="T115" fmla="*/ 65 h 70"/>
                  <a:gd name="T116" fmla="*/ 16 w 65"/>
                  <a:gd name="T117" fmla="*/ 69 h 70"/>
                  <a:gd name="T118" fmla="*/ 21 w 65"/>
                  <a:gd name="T119" fmla="*/ 69 h 70"/>
                  <a:gd name="T120" fmla="*/ 26 w 65"/>
                  <a:gd name="T121" fmla="*/ 69 h 70"/>
                  <a:gd name="T122" fmla="*/ 33 w 65"/>
                  <a:gd name="T12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5" h="70">
                    <a:moveTo>
                      <a:pt x="33" y="70"/>
                    </a:moveTo>
                    <a:lnTo>
                      <a:pt x="33" y="69"/>
                    </a:lnTo>
                    <a:lnTo>
                      <a:pt x="33" y="67"/>
                    </a:lnTo>
                    <a:lnTo>
                      <a:pt x="36" y="64"/>
                    </a:lnTo>
                    <a:lnTo>
                      <a:pt x="39" y="62"/>
                    </a:lnTo>
                    <a:lnTo>
                      <a:pt x="43" y="62"/>
                    </a:lnTo>
                    <a:lnTo>
                      <a:pt x="43" y="60"/>
                    </a:lnTo>
                    <a:lnTo>
                      <a:pt x="47" y="57"/>
                    </a:lnTo>
                    <a:lnTo>
                      <a:pt x="49" y="52"/>
                    </a:lnTo>
                    <a:lnTo>
                      <a:pt x="47" y="49"/>
                    </a:lnTo>
                    <a:lnTo>
                      <a:pt x="51" y="47"/>
                    </a:lnTo>
                    <a:lnTo>
                      <a:pt x="56" y="43"/>
                    </a:lnTo>
                    <a:lnTo>
                      <a:pt x="57" y="43"/>
                    </a:lnTo>
                    <a:lnTo>
                      <a:pt x="62" y="39"/>
                    </a:lnTo>
                    <a:lnTo>
                      <a:pt x="62" y="38"/>
                    </a:lnTo>
                    <a:lnTo>
                      <a:pt x="65" y="36"/>
                    </a:lnTo>
                    <a:lnTo>
                      <a:pt x="65" y="34"/>
                    </a:lnTo>
                    <a:lnTo>
                      <a:pt x="64" y="33"/>
                    </a:lnTo>
                    <a:lnTo>
                      <a:pt x="60" y="33"/>
                    </a:lnTo>
                    <a:lnTo>
                      <a:pt x="60" y="34"/>
                    </a:lnTo>
                    <a:lnTo>
                      <a:pt x="57" y="33"/>
                    </a:lnTo>
                    <a:lnTo>
                      <a:pt x="56" y="33"/>
                    </a:lnTo>
                    <a:lnTo>
                      <a:pt x="54" y="31"/>
                    </a:lnTo>
                    <a:lnTo>
                      <a:pt x="52" y="31"/>
                    </a:lnTo>
                    <a:lnTo>
                      <a:pt x="52" y="31"/>
                    </a:lnTo>
                    <a:lnTo>
                      <a:pt x="49" y="31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23" y="0"/>
                    </a:lnTo>
                    <a:lnTo>
                      <a:pt x="21" y="8"/>
                    </a:lnTo>
                    <a:lnTo>
                      <a:pt x="15" y="10"/>
                    </a:lnTo>
                    <a:lnTo>
                      <a:pt x="18" y="11"/>
                    </a:lnTo>
                    <a:lnTo>
                      <a:pt x="18" y="13"/>
                    </a:lnTo>
                    <a:lnTo>
                      <a:pt x="21" y="16"/>
                    </a:lnTo>
                    <a:lnTo>
                      <a:pt x="23" y="18"/>
                    </a:lnTo>
                    <a:lnTo>
                      <a:pt x="25" y="18"/>
                    </a:lnTo>
                    <a:lnTo>
                      <a:pt x="26" y="20"/>
                    </a:lnTo>
                    <a:lnTo>
                      <a:pt x="26" y="23"/>
                    </a:lnTo>
                    <a:lnTo>
                      <a:pt x="2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6"/>
                    </a:lnTo>
                    <a:lnTo>
                      <a:pt x="31" y="29"/>
                    </a:lnTo>
                    <a:lnTo>
                      <a:pt x="10" y="29"/>
                    </a:lnTo>
                    <a:lnTo>
                      <a:pt x="2" y="44"/>
                    </a:lnTo>
                    <a:lnTo>
                      <a:pt x="2" y="47"/>
                    </a:lnTo>
                    <a:lnTo>
                      <a:pt x="2" y="47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3" y="51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9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8" y="65"/>
                    </a:lnTo>
                    <a:lnTo>
                      <a:pt x="16" y="69"/>
                    </a:lnTo>
                    <a:lnTo>
                      <a:pt x="21" y="69"/>
                    </a:lnTo>
                    <a:lnTo>
                      <a:pt x="26" y="69"/>
                    </a:lnTo>
                    <a:lnTo>
                      <a:pt x="33" y="7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7" name="Freeform 331">
                <a:extLst>
                  <a:ext uri="{FF2B5EF4-FFF2-40B4-BE49-F238E27FC236}">
                    <a16:creationId xmlns:a16="http://schemas.microsoft.com/office/drawing/2014/main" xmlns="" id="{37F1FB0B-544D-49C4-9A23-CBA34C3841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1" y="1475"/>
                <a:ext cx="452" cy="344"/>
              </a:xfrm>
              <a:custGeom>
                <a:avLst/>
                <a:gdLst>
                  <a:gd name="T0" fmla="*/ 170 w 452"/>
                  <a:gd name="T1" fmla="*/ 32 h 344"/>
                  <a:gd name="T2" fmla="*/ 181 w 452"/>
                  <a:gd name="T3" fmla="*/ 48 h 344"/>
                  <a:gd name="T4" fmla="*/ 188 w 452"/>
                  <a:gd name="T5" fmla="*/ 66 h 344"/>
                  <a:gd name="T6" fmla="*/ 201 w 452"/>
                  <a:gd name="T7" fmla="*/ 76 h 344"/>
                  <a:gd name="T8" fmla="*/ 216 w 452"/>
                  <a:gd name="T9" fmla="*/ 76 h 344"/>
                  <a:gd name="T10" fmla="*/ 234 w 452"/>
                  <a:gd name="T11" fmla="*/ 66 h 344"/>
                  <a:gd name="T12" fmla="*/ 250 w 452"/>
                  <a:gd name="T13" fmla="*/ 87 h 344"/>
                  <a:gd name="T14" fmla="*/ 263 w 452"/>
                  <a:gd name="T15" fmla="*/ 115 h 344"/>
                  <a:gd name="T16" fmla="*/ 281 w 452"/>
                  <a:gd name="T17" fmla="*/ 139 h 344"/>
                  <a:gd name="T18" fmla="*/ 292 w 452"/>
                  <a:gd name="T19" fmla="*/ 146 h 344"/>
                  <a:gd name="T20" fmla="*/ 284 w 452"/>
                  <a:gd name="T21" fmla="*/ 161 h 344"/>
                  <a:gd name="T22" fmla="*/ 279 w 452"/>
                  <a:gd name="T23" fmla="*/ 203 h 344"/>
                  <a:gd name="T24" fmla="*/ 283 w 452"/>
                  <a:gd name="T25" fmla="*/ 229 h 344"/>
                  <a:gd name="T26" fmla="*/ 309 w 452"/>
                  <a:gd name="T27" fmla="*/ 270 h 344"/>
                  <a:gd name="T28" fmla="*/ 343 w 452"/>
                  <a:gd name="T29" fmla="*/ 277 h 344"/>
                  <a:gd name="T30" fmla="*/ 371 w 452"/>
                  <a:gd name="T31" fmla="*/ 280 h 344"/>
                  <a:gd name="T32" fmla="*/ 385 w 452"/>
                  <a:gd name="T33" fmla="*/ 255 h 344"/>
                  <a:gd name="T34" fmla="*/ 426 w 452"/>
                  <a:gd name="T35" fmla="*/ 224 h 344"/>
                  <a:gd name="T36" fmla="*/ 446 w 452"/>
                  <a:gd name="T37" fmla="*/ 239 h 344"/>
                  <a:gd name="T38" fmla="*/ 434 w 452"/>
                  <a:gd name="T39" fmla="*/ 265 h 344"/>
                  <a:gd name="T40" fmla="*/ 428 w 452"/>
                  <a:gd name="T41" fmla="*/ 270 h 344"/>
                  <a:gd name="T42" fmla="*/ 412 w 452"/>
                  <a:gd name="T43" fmla="*/ 286 h 344"/>
                  <a:gd name="T44" fmla="*/ 374 w 452"/>
                  <a:gd name="T45" fmla="*/ 301 h 344"/>
                  <a:gd name="T46" fmla="*/ 366 w 452"/>
                  <a:gd name="T47" fmla="*/ 317 h 344"/>
                  <a:gd name="T48" fmla="*/ 353 w 452"/>
                  <a:gd name="T49" fmla="*/ 340 h 344"/>
                  <a:gd name="T50" fmla="*/ 322 w 452"/>
                  <a:gd name="T51" fmla="*/ 314 h 344"/>
                  <a:gd name="T52" fmla="*/ 320 w 452"/>
                  <a:gd name="T53" fmla="*/ 316 h 344"/>
                  <a:gd name="T54" fmla="*/ 315 w 452"/>
                  <a:gd name="T55" fmla="*/ 317 h 344"/>
                  <a:gd name="T56" fmla="*/ 263 w 452"/>
                  <a:gd name="T57" fmla="*/ 316 h 344"/>
                  <a:gd name="T58" fmla="*/ 229 w 452"/>
                  <a:gd name="T59" fmla="*/ 301 h 344"/>
                  <a:gd name="T60" fmla="*/ 189 w 452"/>
                  <a:gd name="T61" fmla="*/ 281 h 344"/>
                  <a:gd name="T62" fmla="*/ 163 w 452"/>
                  <a:gd name="T63" fmla="*/ 264 h 344"/>
                  <a:gd name="T64" fmla="*/ 155 w 452"/>
                  <a:gd name="T65" fmla="*/ 239 h 344"/>
                  <a:gd name="T66" fmla="*/ 154 w 452"/>
                  <a:gd name="T67" fmla="*/ 205 h 344"/>
                  <a:gd name="T68" fmla="*/ 121 w 452"/>
                  <a:gd name="T69" fmla="*/ 162 h 344"/>
                  <a:gd name="T70" fmla="*/ 105 w 452"/>
                  <a:gd name="T71" fmla="*/ 143 h 344"/>
                  <a:gd name="T72" fmla="*/ 106 w 452"/>
                  <a:gd name="T73" fmla="*/ 126 h 344"/>
                  <a:gd name="T74" fmla="*/ 88 w 452"/>
                  <a:gd name="T75" fmla="*/ 103 h 344"/>
                  <a:gd name="T76" fmla="*/ 72 w 452"/>
                  <a:gd name="T77" fmla="*/ 85 h 344"/>
                  <a:gd name="T78" fmla="*/ 60 w 452"/>
                  <a:gd name="T79" fmla="*/ 58 h 344"/>
                  <a:gd name="T80" fmla="*/ 51 w 452"/>
                  <a:gd name="T81" fmla="*/ 30 h 344"/>
                  <a:gd name="T82" fmla="*/ 33 w 452"/>
                  <a:gd name="T83" fmla="*/ 32 h 344"/>
                  <a:gd name="T84" fmla="*/ 44 w 452"/>
                  <a:gd name="T85" fmla="*/ 74 h 344"/>
                  <a:gd name="T86" fmla="*/ 59 w 452"/>
                  <a:gd name="T87" fmla="*/ 102 h 344"/>
                  <a:gd name="T88" fmla="*/ 70 w 452"/>
                  <a:gd name="T89" fmla="*/ 118 h 344"/>
                  <a:gd name="T90" fmla="*/ 77 w 452"/>
                  <a:gd name="T91" fmla="*/ 149 h 344"/>
                  <a:gd name="T92" fmla="*/ 85 w 452"/>
                  <a:gd name="T93" fmla="*/ 167 h 344"/>
                  <a:gd name="T94" fmla="*/ 90 w 452"/>
                  <a:gd name="T95" fmla="*/ 193 h 344"/>
                  <a:gd name="T96" fmla="*/ 67 w 452"/>
                  <a:gd name="T97" fmla="*/ 165 h 344"/>
                  <a:gd name="T98" fmla="*/ 56 w 452"/>
                  <a:gd name="T99" fmla="*/ 130 h 344"/>
                  <a:gd name="T100" fmla="*/ 38 w 452"/>
                  <a:gd name="T101" fmla="*/ 116 h 344"/>
                  <a:gd name="T102" fmla="*/ 25 w 452"/>
                  <a:gd name="T103" fmla="*/ 98 h 344"/>
                  <a:gd name="T104" fmla="*/ 34 w 452"/>
                  <a:gd name="T105" fmla="*/ 90 h 344"/>
                  <a:gd name="T106" fmla="*/ 15 w 452"/>
                  <a:gd name="T107" fmla="*/ 61 h 344"/>
                  <a:gd name="T108" fmla="*/ 10 w 452"/>
                  <a:gd name="T109" fmla="*/ 32 h 344"/>
                  <a:gd name="T110" fmla="*/ 83 w 452"/>
                  <a:gd name="T111" fmla="*/ 156 h 344"/>
                  <a:gd name="T112" fmla="*/ 83 w 452"/>
                  <a:gd name="T113" fmla="*/ 164 h 344"/>
                  <a:gd name="T114" fmla="*/ 286 w 452"/>
                  <a:gd name="T115" fmla="*/ 16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2" h="344">
                    <a:moveTo>
                      <a:pt x="0" y="2"/>
                    </a:moveTo>
                    <a:lnTo>
                      <a:pt x="38" y="0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91" y="28"/>
                    </a:lnTo>
                    <a:lnTo>
                      <a:pt x="137" y="30"/>
                    </a:lnTo>
                    <a:lnTo>
                      <a:pt x="137" y="23"/>
                    </a:lnTo>
                    <a:lnTo>
                      <a:pt x="162" y="25"/>
                    </a:lnTo>
                    <a:lnTo>
                      <a:pt x="165" y="27"/>
                    </a:lnTo>
                    <a:lnTo>
                      <a:pt x="168" y="30"/>
                    </a:lnTo>
                    <a:lnTo>
                      <a:pt x="170" y="32"/>
                    </a:lnTo>
                    <a:lnTo>
                      <a:pt x="170" y="33"/>
                    </a:lnTo>
                    <a:lnTo>
                      <a:pt x="171" y="33"/>
                    </a:lnTo>
                    <a:lnTo>
                      <a:pt x="173" y="36"/>
                    </a:lnTo>
                    <a:lnTo>
                      <a:pt x="171" y="38"/>
                    </a:lnTo>
                    <a:lnTo>
                      <a:pt x="175" y="38"/>
                    </a:lnTo>
                    <a:lnTo>
                      <a:pt x="176" y="40"/>
                    </a:lnTo>
                    <a:lnTo>
                      <a:pt x="176" y="41"/>
                    </a:lnTo>
                    <a:lnTo>
                      <a:pt x="176" y="43"/>
                    </a:lnTo>
                    <a:lnTo>
                      <a:pt x="178" y="43"/>
                    </a:lnTo>
                    <a:lnTo>
                      <a:pt x="180" y="45"/>
                    </a:lnTo>
                    <a:lnTo>
                      <a:pt x="181" y="48"/>
                    </a:lnTo>
                    <a:lnTo>
                      <a:pt x="181" y="51"/>
                    </a:lnTo>
                    <a:lnTo>
                      <a:pt x="183" y="53"/>
                    </a:lnTo>
                    <a:lnTo>
                      <a:pt x="185" y="53"/>
                    </a:lnTo>
                    <a:lnTo>
                      <a:pt x="185" y="54"/>
                    </a:lnTo>
                    <a:lnTo>
                      <a:pt x="186" y="56"/>
                    </a:lnTo>
                    <a:lnTo>
                      <a:pt x="186" y="58"/>
                    </a:lnTo>
                    <a:lnTo>
                      <a:pt x="185" y="59"/>
                    </a:lnTo>
                    <a:lnTo>
                      <a:pt x="183" y="59"/>
                    </a:lnTo>
                    <a:lnTo>
                      <a:pt x="183" y="61"/>
                    </a:lnTo>
                    <a:lnTo>
                      <a:pt x="186" y="64"/>
                    </a:lnTo>
                    <a:lnTo>
                      <a:pt x="188" y="66"/>
                    </a:lnTo>
                    <a:lnTo>
                      <a:pt x="189" y="69"/>
                    </a:lnTo>
                    <a:lnTo>
                      <a:pt x="189" y="69"/>
                    </a:lnTo>
                    <a:lnTo>
                      <a:pt x="189" y="69"/>
                    </a:lnTo>
                    <a:lnTo>
                      <a:pt x="191" y="71"/>
                    </a:lnTo>
                    <a:lnTo>
                      <a:pt x="193" y="71"/>
                    </a:lnTo>
                    <a:lnTo>
                      <a:pt x="194" y="71"/>
                    </a:lnTo>
                    <a:lnTo>
                      <a:pt x="194" y="72"/>
                    </a:lnTo>
                    <a:lnTo>
                      <a:pt x="194" y="74"/>
                    </a:lnTo>
                    <a:lnTo>
                      <a:pt x="196" y="74"/>
                    </a:lnTo>
                    <a:lnTo>
                      <a:pt x="198" y="74"/>
                    </a:lnTo>
                    <a:lnTo>
                      <a:pt x="201" y="76"/>
                    </a:lnTo>
                    <a:lnTo>
                      <a:pt x="201" y="77"/>
                    </a:lnTo>
                    <a:lnTo>
                      <a:pt x="204" y="79"/>
                    </a:lnTo>
                    <a:lnTo>
                      <a:pt x="207" y="81"/>
                    </a:lnTo>
                    <a:lnTo>
                      <a:pt x="207" y="81"/>
                    </a:lnTo>
                    <a:lnTo>
                      <a:pt x="209" y="82"/>
                    </a:lnTo>
                    <a:lnTo>
                      <a:pt x="211" y="81"/>
                    </a:lnTo>
                    <a:lnTo>
                      <a:pt x="211" y="81"/>
                    </a:lnTo>
                    <a:lnTo>
                      <a:pt x="214" y="77"/>
                    </a:lnTo>
                    <a:lnTo>
                      <a:pt x="216" y="77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6" y="74"/>
                    </a:lnTo>
                    <a:lnTo>
                      <a:pt x="219" y="69"/>
                    </a:lnTo>
                    <a:lnTo>
                      <a:pt x="220" y="67"/>
                    </a:lnTo>
                    <a:lnTo>
                      <a:pt x="222" y="67"/>
                    </a:lnTo>
                    <a:lnTo>
                      <a:pt x="224" y="67"/>
                    </a:lnTo>
                    <a:lnTo>
                      <a:pt x="224" y="67"/>
                    </a:lnTo>
                    <a:lnTo>
                      <a:pt x="225" y="67"/>
                    </a:lnTo>
                    <a:lnTo>
                      <a:pt x="225" y="66"/>
                    </a:lnTo>
                    <a:lnTo>
                      <a:pt x="229" y="66"/>
                    </a:lnTo>
                    <a:lnTo>
                      <a:pt x="232" y="66"/>
                    </a:lnTo>
                    <a:lnTo>
                      <a:pt x="234" y="66"/>
                    </a:lnTo>
                    <a:lnTo>
                      <a:pt x="235" y="66"/>
                    </a:lnTo>
                    <a:lnTo>
                      <a:pt x="237" y="67"/>
                    </a:lnTo>
                    <a:lnTo>
                      <a:pt x="238" y="67"/>
                    </a:lnTo>
                    <a:lnTo>
                      <a:pt x="240" y="67"/>
                    </a:lnTo>
                    <a:lnTo>
                      <a:pt x="242" y="71"/>
                    </a:lnTo>
                    <a:lnTo>
                      <a:pt x="245" y="72"/>
                    </a:lnTo>
                    <a:lnTo>
                      <a:pt x="247" y="77"/>
                    </a:lnTo>
                    <a:lnTo>
                      <a:pt x="248" y="81"/>
                    </a:lnTo>
                    <a:lnTo>
                      <a:pt x="250" y="82"/>
                    </a:lnTo>
                    <a:lnTo>
                      <a:pt x="250" y="84"/>
                    </a:lnTo>
                    <a:lnTo>
                      <a:pt x="250" y="87"/>
                    </a:lnTo>
                    <a:lnTo>
                      <a:pt x="252" y="89"/>
                    </a:lnTo>
                    <a:lnTo>
                      <a:pt x="252" y="90"/>
                    </a:lnTo>
                    <a:lnTo>
                      <a:pt x="255" y="97"/>
                    </a:lnTo>
                    <a:lnTo>
                      <a:pt x="256" y="97"/>
                    </a:lnTo>
                    <a:lnTo>
                      <a:pt x="256" y="100"/>
                    </a:lnTo>
                    <a:lnTo>
                      <a:pt x="258" y="102"/>
                    </a:lnTo>
                    <a:lnTo>
                      <a:pt x="260" y="105"/>
                    </a:lnTo>
                    <a:lnTo>
                      <a:pt x="261" y="107"/>
                    </a:lnTo>
                    <a:lnTo>
                      <a:pt x="263" y="110"/>
                    </a:lnTo>
                    <a:lnTo>
                      <a:pt x="263" y="113"/>
                    </a:lnTo>
                    <a:lnTo>
                      <a:pt x="263" y="115"/>
                    </a:lnTo>
                    <a:lnTo>
                      <a:pt x="263" y="116"/>
                    </a:lnTo>
                    <a:lnTo>
                      <a:pt x="263" y="118"/>
                    </a:lnTo>
                    <a:lnTo>
                      <a:pt x="266" y="126"/>
                    </a:lnTo>
                    <a:lnTo>
                      <a:pt x="266" y="131"/>
                    </a:lnTo>
                    <a:lnTo>
                      <a:pt x="268" y="133"/>
                    </a:lnTo>
                    <a:lnTo>
                      <a:pt x="268" y="133"/>
                    </a:lnTo>
                    <a:lnTo>
                      <a:pt x="269" y="134"/>
                    </a:lnTo>
                    <a:lnTo>
                      <a:pt x="271" y="133"/>
                    </a:lnTo>
                    <a:lnTo>
                      <a:pt x="274" y="134"/>
                    </a:lnTo>
                    <a:lnTo>
                      <a:pt x="276" y="138"/>
                    </a:lnTo>
                    <a:lnTo>
                      <a:pt x="281" y="139"/>
                    </a:lnTo>
                    <a:lnTo>
                      <a:pt x="284" y="141"/>
                    </a:lnTo>
                    <a:lnTo>
                      <a:pt x="287" y="141"/>
                    </a:lnTo>
                    <a:lnTo>
                      <a:pt x="289" y="143"/>
                    </a:lnTo>
                    <a:lnTo>
                      <a:pt x="289" y="144"/>
                    </a:lnTo>
                    <a:lnTo>
                      <a:pt x="289" y="146"/>
                    </a:lnTo>
                    <a:lnTo>
                      <a:pt x="292" y="144"/>
                    </a:lnTo>
                    <a:lnTo>
                      <a:pt x="292" y="139"/>
                    </a:lnTo>
                    <a:lnTo>
                      <a:pt x="296" y="138"/>
                    </a:lnTo>
                    <a:lnTo>
                      <a:pt x="294" y="139"/>
                    </a:lnTo>
                    <a:lnTo>
                      <a:pt x="294" y="144"/>
                    </a:lnTo>
                    <a:lnTo>
                      <a:pt x="292" y="146"/>
                    </a:lnTo>
                    <a:lnTo>
                      <a:pt x="292" y="149"/>
                    </a:lnTo>
                    <a:lnTo>
                      <a:pt x="289" y="152"/>
                    </a:lnTo>
                    <a:lnTo>
                      <a:pt x="289" y="156"/>
                    </a:lnTo>
                    <a:lnTo>
                      <a:pt x="287" y="156"/>
                    </a:lnTo>
                    <a:lnTo>
                      <a:pt x="287" y="154"/>
                    </a:lnTo>
                    <a:lnTo>
                      <a:pt x="287" y="151"/>
                    </a:lnTo>
                    <a:lnTo>
                      <a:pt x="286" y="151"/>
                    </a:lnTo>
                    <a:lnTo>
                      <a:pt x="286" y="156"/>
                    </a:lnTo>
                    <a:lnTo>
                      <a:pt x="284" y="157"/>
                    </a:lnTo>
                    <a:lnTo>
                      <a:pt x="286" y="159"/>
                    </a:lnTo>
                    <a:lnTo>
                      <a:pt x="284" y="161"/>
                    </a:lnTo>
                    <a:lnTo>
                      <a:pt x="284" y="165"/>
                    </a:lnTo>
                    <a:lnTo>
                      <a:pt x="283" y="167"/>
                    </a:lnTo>
                    <a:lnTo>
                      <a:pt x="283" y="170"/>
                    </a:lnTo>
                    <a:lnTo>
                      <a:pt x="283" y="172"/>
                    </a:lnTo>
                    <a:lnTo>
                      <a:pt x="283" y="174"/>
                    </a:lnTo>
                    <a:lnTo>
                      <a:pt x="283" y="177"/>
                    </a:lnTo>
                    <a:lnTo>
                      <a:pt x="281" y="185"/>
                    </a:lnTo>
                    <a:lnTo>
                      <a:pt x="281" y="190"/>
                    </a:lnTo>
                    <a:lnTo>
                      <a:pt x="281" y="198"/>
                    </a:lnTo>
                    <a:lnTo>
                      <a:pt x="278" y="201"/>
                    </a:lnTo>
                    <a:lnTo>
                      <a:pt x="279" y="203"/>
                    </a:lnTo>
                    <a:lnTo>
                      <a:pt x="279" y="210"/>
                    </a:lnTo>
                    <a:lnTo>
                      <a:pt x="279" y="213"/>
                    </a:lnTo>
                    <a:lnTo>
                      <a:pt x="284" y="219"/>
                    </a:lnTo>
                    <a:lnTo>
                      <a:pt x="284" y="224"/>
                    </a:lnTo>
                    <a:lnTo>
                      <a:pt x="283" y="226"/>
                    </a:lnTo>
                    <a:lnTo>
                      <a:pt x="283" y="219"/>
                    </a:lnTo>
                    <a:lnTo>
                      <a:pt x="279" y="214"/>
                    </a:lnTo>
                    <a:lnTo>
                      <a:pt x="278" y="218"/>
                    </a:lnTo>
                    <a:lnTo>
                      <a:pt x="281" y="221"/>
                    </a:lnTo>
                    <a:lnTo>
                      <a:pt x="283" y="228"/>
                    </a:lnTo>
                    <a:lnTo>
                      <a:pt x="283" y="229"/>
                    </a:lnTo>
                    <a:lnTo>
                      <a:pt x="283" y="232"/>
                    </a:lnTo>
                    <a:lnTo>
                      <a:pt x="284" y="234"/>
                    </a:lnTo>
                    <a:lnTo>
                      <a:pt x="284" y="237"/>
                    </a:lnTo>
                    <a:lnTo>
                      <a:pt x="294" y="247"/>
                    </a:lnTo>
                    <a:lnTo>
                      <a:pt x="294" y="250"/>
                    </a:lnTo>
                    <a:lnTo>
                      <a:pt x="297" y="255"/>
                    </a:lnTo>
                    <a:lnTo>
                      <a:pt x="297" y="257"/>
                    </a:lnTo>
                    <a:lnTo>
                      <a:pt x="299" y="260"/>
                    </a:lnTo>
                    <a:lnTo>
                      <a:pt x="305" y="268"/>
                    </a:lnTo>
                    <a:lnTo>
                      <a:pt x="307" y="270"/>
                    </a:lnTo>
                    <a:lnTo>
                      <a:pt x="309" y="270"/>
                    </a:lnTo>
                    <a:lnTo>
                      <a:pt x="314" y="270"/>
                    </a:lnTo>
                    <a:lnTo>
                      <a:pt x="314" y="272"/>
                    </a:lnTo>
                    <a:lnTo>
                      <a:pt x="318" y="273"/>
                    </a:lnTo>
                    <a:lnTo>
                      <a:pt x="322" y="278"/>
                    </a:lnTo>
                    <a:lnTo>
                      <a:pt x="323" y="283"/>
                    </a:lnTo>
                    <a:lnTo>
                      <a:pt x="327" y="281"/>
                    </a:lnTo>
                    <a:lnTo>
                      <a:pt x="333" y="280"/>
                    </a:lnTo>
                    <a:lnTo>
                      <a:pt x="333" y="281"/>
                    </a:lnTo>
                    <a:lnTo>
                      <a:pt x="335" y="281"/>
                    </a:lnTo>
                    <a:lnTo>
                      <a:pt x="343" y="278"/>
                    </a:lnTo>
                    <a:lnTo>
                      <a:pt x="343" y="277"/>
                    </a:lnTo>
                    <a:lnTo>
                      <a:pt x="348" y="275"/>
                    </a:lnTo>
                    <a:lnTo>
                      <a:pt x="353" y="275"/>
                    </a:lnTo>
                    <a:lnTo>
                      <a:pt x="354" y="273"/>
                    </a:lnTo>
                    <a:lnTo>
                      <a:pt x="359" y="273"/>
                    </a:lnTo>
                    <a:lnTo>
                      <a:pt x="363" y="273"/>
                    </a:lnTo>
                    <a:lnTo>
                      <a:pt x="364" y="272"/>
                    </a:lnTo>
                    <a:lnTo>
                      <a:pt x="369" y="273"/>
                    </a:lnTo>
                    <a:lnTo>
                      <a:pt x="366" y="275"/>
                    </a:lnTo>
                    <a:lnTo>
                      <a:pt x="364" y="277"/>
                    </a:lnTo>
                    <a:lnTo>
                      <a:pt x="369" y="278"/>
                    </a:lnTo>
                    <a:lnTo>
                      <a:pt x="371" y="280"/>
                    </a:lnTo>
                    <a:lnTo>
                      <a:pt x="371" y="278"/>
                    </a:lnTo>
                    <a:lnTo>
                      <a:pt x="372" y="278"/>
                    </a:lnTo>
                    <a:lnTo>
                      <a:pt x="376" y="275"/>
                    </a:lnTo>
                    <a:lnTo>
                      <a:pt x="376" y="270"/>
                    </a:lnTo>
                    <a:lnTo>
                      <a:pt x="377" y="267"/>
                    </a:lnTo>
                    <a:lnTo>
                      <a:pt x="374" y="270"/>
                    </a:lnTo>
                    <a:lnTo>
                      <a:pt x="372" y="268"/>
                    </a:lnTo>
                    <a:lnTo>
                      <a:pt x="381" y="265"/>
                    </a:lnTo>
                    <a:lnTo>
                      <a:pt x="382" y="265"/>
                    </a:lnTo>
                    <a:lnTo>
                      <a:pt x="385" y="260"/>
                    </a:lnTo>
                    <a:lnTo>
                      <a:pt x="385" y="255"/>
                    </a:lnTo>
                    <a:lnTo>
                      <a:pt x="392" y="249"/>
                    </a:lnTo>
                    <a:lnTo>
                      <a:pt x="390" y="247"/>
                    </a:lnTo>
                    <a:lnTo>
                      <a:pt x="392" y="237"/>
                    </a:lnTo>
                    <a:lnTo>
                      <a:pt x="397" y="231"/>
                    </a:lnTo>
                    <a:lnTo>
                      <a:pt x="395" y="231"/>
                    </a:lnTo>
                    <a:lnTo>
                      <a:pt x="395" y="229"/>
                    </a:lnTo>
                    <a:lnTo>
                      <a:pt x="405" y="226"/>
                    </a:lnTo>
                    <a:lnTo>
                      <a:pt x="418" y="226"/>
                    </a:lnTo>
                    <a:lnTo>
                      <a:pt x="421" y="223"/>
                    </a:lnTo>
                    <a:lnTo>
                      <a:pt x="425" y="223"/>
                    </a:lnTo>
                    <a:lnTo>
                      <a:pt x="426" y="224"/>
                    </a:lnTo>
                    <a:lnTo>
                      <a:pt x="430" y="223"/>
                    </a:lnTo>
                    <a:lnTo>
                      <a:pt x="430" y="221"/>
                    </a:lnTo>
                    <a:lnTo>
                      <a:pt x="436" y="219"/>
                    </a:lnTo>
                    <a:lnTo>
                      <a:pt x="443" y="223"/>
                    </a:lnTo>
                    <a:lnTo>
                      <a:pt x="444" y="221"/>
                    </a:lnTo>
                    <a:lnTo>
                      <a:pt x="444" y="219"/>
                    </a:lnTo>
                    <a:lnTo>
                      <a:pt x="447" y="219"/>
                    </a:lnTo>
                    <a:lnTo>
                      <a:pt x="452" y="224"/>
                    </a:lnTo>
                    <a:lnTo>
                      <a:pt x="452" y="229"/>
                    </a:lnTo>
                    <a:lnTo>
                      <a:pt x="449" y="232"/>
                    </a:lnTo>
                    <a:lnTo>
                      <a:pt x="446" y="239"/>
                    </a:lnTo>
                    <a:lnTo>
                      <a:pt x="439" y="246"/>
                    </a:lnTo>
                    <a:lnTo>
                      <a:pt x="438" y="247"/>
                    </a:lnTo>
                    <a:lnTo>
                      <a:pt x="438" y="252"/>
                    </a:lnTo>
                    <a:lnTo>
                      <a:pt x="434" y="254"/>
                    </a:lnTo>
                    <a:lnTo>
                      <a:pt x="433" y="255"/>
                    </a:lnTo>
                    <a:lnTo>
                      <a:pt x="436" y="257"/>
                    </a:lnTo>
                    <a:lnTo>
                      <a:pt x="438" y="257"/>
                    </a:lnTo>
                    <a:lnTo>
                      <a:pt x="438" y="259"/>
                    </a:lnTo>
                    <a:lnTo>
                      <a:pt x="434" y="264"/>
                    </a:lnTo>
                    <a:lnTo>
                      <a:pt x="434" y="264"/>
                    </a:lnTo>
                    <a:lnTo>
                      <a:pt x="434" y="265"/>
                    </a:lnTo>
                    <a:lnTo>
                      <a:pt x="436" y="264"/>
                    </a:lnTo>
                    <a:lnTo>
                      <a:pt x="438" y="264"/>
                    </a:lnTo>
                    <a:lnTo>
                      <a:pt x="436" y="265"/>
                    </a:lnTo>
                    <a:lnTo>
                      <a:pt x="434" y="277"/>
                    </a:lnTo>
                    <a:lnTo>
                      <a:pt x="431" y="281"/>
                    </a:lnTo>
                    <a:lnTo>
                      <a:pt x="431" y="281"/>
                    </a:lnTo>
                    <a:lnTo>
                      <a:pt x="430" y="278"/>
                    </a:lnTo>
                    <a:lnTo>
                      <a:pt x="426" y="277"/>
                    </a:lnTo>
                    <a:lnTo>
                      <a:pt x="426" y="275"/>
                    </a:lnTo>
                    <a:lnTo>
                      <a:pt x="426" y="273"/>
                    </a:lnTo>
                    <a:lnTo>
                      <a:pt x="428" y="270"/>
                    </a:lnTo>
                    <a:lnTo>
                      <a:pt x="426" y="272"/>
                    </a:lnTo>
                    <a:lnTo>
                      <a:pt x="421" y="275"/>
                    </a:lnTo>
                    <a:lnTo>
                      <a:pt x="420" y="278"/>
                    </a:lnTo>
                    <a:lnTo>
                      <a:pt x="420" y="278"/>
                    </a:lnTo>
                    <a:lnTo>
                      <a:pt x="418" y="278"/>
                    </a:lnTo>
                    <a:lnTo>
                      <a:pt x="416" y="278"/>
                    </a:lnTo>
                    <a:lnTo>
                      <a:pt x="416" y="280"/>
                    </a:lnTo>
                    <a:lnTo>
                      <a:pt x="415" y="281"/>
                    </a:lnTo>
                    <a:lnTo>
                      <a:pt x="413" y="285"/>
                    </a:lnTo>
                    <a:lnTo>
                      <a:pt x="413" y="286"/>
                    </a:lnTo>
                    <a:lnTo>
                      <a:pt x="412" y="286"/>
                    </a:lnTo>
                    <a:lnTo>
                      <a:pt x="412" y="286"/>
                    </a:lnTo>
                    <a:lnTo>
                      <a:pt x="410" y="286"/>
                    </a:lnTo>
                    <a:lnTo>
                      <a:pt x="410" y="285"/>
                    </a:lnTo>
                    <a:lnTo>
                      <a:pt x="408" y="285"/>
                    </a:lnTo>
                    <a:lnTo>
                      <a:pt x="407" y="286"/>
                    </a:lnTo>
                    <a:lnTo>
                      <a:pt x="407" y="288"/>
                    </a:lnTo>
                    <a:lnTo>
                      <a:pt x="379" y="288"/>
                    </a:lnTo>
                    <a:lnTo>
                      <a:pt x="377" y="296"/>
                    </a:lnTo>
                    <a:lnTo>
                      <a:pt x="371" y="298"/>
                    </a:lnTo>
                    <a:lnTo>
                      <a:pt x="374" y="299"/>
                    </a:lnTo>
                    <a:lnTo>
                      <a:pt x="374" y="301"/>
                    </a:lnTo>
                    <a:lnTo>
                      <a:pt x="377" y="304"/>
                    </a:lnTo>
                    <a:lnTo>
                      <a:pt x="379" y="306"/>
                    </a:lnTo>
                    <a:lnTo>
                      <a:pt x="381" y="306"/>
                    </a:lnTo>
                    <a:lnTo>
                      <a:pt x="382" y="308"/>
                    </a:lnTo>
                    <a:lnTo>
                      <a:pt x="382" y="311"/>
                    </a:lnTo>
                    <a:lnTo>
                      <a:pt x="384" y="311"/>
                    </a:lnTo>
                    <a:lnTo>
                      <a:pt x="387" y="311"/>
                    </a:lnTo>
                    <a:lnTo>
                      <a:pt x="389" y="313"/>
                    </a:lnTo>
                    <a:lnTo>
                      <a:pt x="389" y="314"/>
                    </a:lnTo>
                    <a:lnTo>
                      <a:pt x="387" y="317"/>
                    </a:lnTo>
                    <a:lnTo>
                      <a:pt x="366" y="317"/>
                    </a:lnTo>
                    <a:lnTo>
                      <a:pt x="358" y="332"/>
                    </a:lnTo>
                    <a:lnTo>
                      <a:pt x="358" y="335"/>
                    </a:lnTo>
                    <a:lnTo>
                      <a:pt x="358" y="335"/>
                    </a:lnTo>
                    <a:lnTo>
                      <a:pt x="358" y="337"/>
                    </a:lnTo>
                    <a:lnTo>
                      <a:pt x="358" y="339"/>
                    </a:lnTo>
                    <a:lnTo>
                      <a:pt x="359" y="339"/>
                    </a:lnTo>
                    <a:lnTo>
                      <a:pt x="358" y="340"/>
                    </a:lnTo>
                    <a:lnTo>
                      <a:pt x="358" y="342"/>
                    </a:lnTo>
                    <a:lnTo>
                      <a:pt x="356" y="344"/>
                    </a:lnTo>
                    <a:lnTo>
                      <a:pt x="356" y="344"/>
                    </a:lnTo>
                    <a:lnTo>
                      <a:pt x="353" y="340"/>
                    </a:lnTo>
                    <a:lnTo>
                      <a:pt x="350" y="337"/>
                    </a:lnTo>
                    <a:lnTo>
                      <a:pt x="348" y="335"/>
                    </a:lnTo>
                    <a:lnTo>
                      <a:pt x="345" y="334"/>
                    </a:lnTo>
                    <a:lnTo>
                      <a:pt x="335" y="324"/>
                    </a:lnTo>
                    <a:lnTo>
                      <a:pt x="333" y="322"/>
                    </a:lnTo>
                    <a:lnTo>
                      <a:pt x="333" y="321"/>
                    </a:lnTo>
                    <a:lnTo>
                      <a:pt x="330" y="317"/>
                    </a:lnTo>
                    <a:lnTo>
                      <a:pt x="327" y="316"/>
                    </a:lnTo>
                    <a:lnTo>
                      <a:pt x="323" y="316"/>
                    </a:lnTo>
                    <a:lnTo>
                      <a:pt x="323" y="314"/>
                    </a:lnTo>
                    <a:lnTo>
                      <a:pt x="322" y="314"/>
                    </a:lnTo>
                    <a:lnTo>
                      <a:pt x="323" y="316"/>
                    </a:lnTo>
                    <a:lnTo>
                      <a:pt x="328" y="317"/>
                    </a:lnTo>
                    <a:lnTo>
                      <a:pt x="332" y="321"/>
                    </a:lnTo>
                    <a:lnTo>
                      <a:pt x="332" y="322"/>
                    </a:lnTo>
                    <a:lnTo>
                      <a:pt x="330" y="321"/>
                    </a:lnTo>
                    <a:lnTo>
                      <a:pt x="325" y="317"/>
                    </a:lnTo>
                    <a:lnTo>
                      <a:pt x="322" y="316"/>
                    </a:lnTo>
                    <a:lnTo>
                      <a:pt x="320" y="316"/>
                    </a:lnTo>
                    <a:lnTo>
                      <a:pt x="318" y="316"/>
                    </a:lnTo>
                    <a:lnTo>
                      <a:pt x="318" y="316"/>
                    </a:lnTo>
                    <a:lnTo>
                      <a:pt x="320" y="316"/>
                    </a:lnTo>
                    <a:lnTo>
                      <a:pt x="320" y="314"/>
                    </a:lnTo>
                    <a:lnTo>
                      <a:pt x="318" y="314"/>
                    </a:lnTo>
                    <a:lnTo>
                      <a:pt x="317" y="314"/>
                    </a:lnTo>
                    <a:lnTo>
                      <a:pt x="317" y="313"/>
                    </a:lnTo>
                    <a:lnTo>
                      <a:pt x="315" y="313"/>
                    </a:lnTo>
                    <a:lnTo>
                      <a:pt x="312" y="314"/>
                    </a:lnTo>
                    <a:lnTo>
                      <a:pt x="312" y="316"/>
                    </a:lnTo>
                    <a:lnTo>
                      <a:pt x="314" y="316"/>
                    </a:lnTo>
                    <a:lnTo>
                      <a:pt x="317" y="316"/>
                    </a:lnTo>
                    <a:lnTo>
                      <a:pt x="317" y="317"/>
                    </a:lnTo>
                    <a:lnTo>
                      <a:pt x="315" y="317"/>
                    </a:lnTo>
                    <a:lnTo>
                      <a:pt x="312" y="317"/>
                    </a:lnTo>
                    <a:lnTo>
                      <a:pt x="309" y="317"/>
                    </a:lnTo>
                    <a:lnTo>
                      <a:pt x="304" y="321"/>
                    </a:lnTo>
                    <a:lnTo>
                      <a:pt x="301" y="321"/>
                    </a:lnTo>
                    <a:lnTo>
                      <a:pt x="292" y="324"/>
                    </a:lnTo>
                    <a:lnTo>
                      <a:pt x="289" y="326"/>
                    </a:lnTo>
                    <a:lnTo>
                      <a:pt x="283" y="322"/>
                    </a:lnTo>
                    <a:lnTo>
                      <a:pt x="278" y="319"/>
                    </a:lnTo>
                    <a:lnTo>
                      <a:pt x="273" y="319"/>
                    </a:lnTo>
                    <a:lnTo>
                      <a:pt x="266" y="317"/>
                    </a:lnTo>
                    <a:lnTo>
                      <a:pt x="263" y="316"/>
                    </a:lnTo>
                    <a:lnTo>
                      <a:pt x="261" y="316"/>
                    </a:lnTo>
                    <a:lnTo>
                      <a:pt x="260" y="316"/>
                    </a:lnTo>
                    <a:lnTo>
                      <a:pt x="255" y="314"/>
                    </a:lnTo>
                    <a:lnTo>
                      <a:pt x="253" y="311"/>
                    </a:lnTo>
                    <a:lnTo>
                      <a:pt x="253" y="309"/>
                    </a:lnTo>
                    <a:lnTo>
                      <a:pt x="250" y="311"/>
                    </a:lnTo>
                    <a:lnTo>
                      <a:pt x="247" y="308"/>
                    </a:lnTo>
                    <a:lnTo>
                      <a:pt x="242" y="308"/>
                    </a:lnTo>
                    <a:lnTo>
                      <a:pt x="240" y="304"/>
                    </a:lnTo>
                    <a:lnTo>
                      <a:pt x="235" y="303"/>
                    </a:lnTo>
                    <a:lnTo>
                      <a:pt x="229" y="301"/>
                    </a:lnTo>
                    <a:lnTo>
                      <a:pt x="220" y="299"/>
                    </a:lnTo>
                    <a:lnTo>
                      <a:pt x="217" y="295"/>
                    </a:lnTo>
                    <a:lnTo>
                      <a:pt x="214" y="293"/>
                    </a:lnTo>
                    <a:lnTo>
                      <a:pt x="207" y="286"/>
                    </a:lnTo>
                    <a:lnTo>
                      <a:pt x="206" y="285"/>
                    </a:lnTo>
                    <a:lnTo>
                      <a:pt x="204" y="285"/>
                    </a:lnTo>
                    <a:lnTo>
                      <a:pt x="203" y="285"/>
                    </a:lnTo>
                    <a:lnTo>
                      <a:pt x="201" y="285"/>
                    </a:lnTo>
                    <a:lnTo>
                      <a:pt x="194" y="283"/>
                    </a:lnTo>
                    <a:lnTo>
                      <a:pt x="193" y="283"/>
                    </a:lnTo>
                    <a:lnTo>
                      <a:pt x="189" y="281"/>
                    </a:lnTo>
                    <a:lnTo>
                      <a:pt x="188" y="281"/>
                    </a:lnTo>
                    <a:lnTo>
                      <a:pt x="185" y="280"/>
                    </a:lnTo>
                    <a:lnTo>
                      <a:pt x="183" y="277"/>
                    </a:lnTo>
                    <a:lnTo>
                      <a:pt x="180" y="273"/>
                    </a:lnTo>
                    <a:lnTo>
                      <a:pt x="176" y="268"/>
                    </a:lnTo>
                    <a:lnTo>
                      <a:pt x="171" y="267"/>
                    </a:lnTo>
                    <a:lnTo>
                      <a:pt x="171" y="265"/>
                    </a:lnTo>
                    <a:lnTo>
                      <a:pt x="173" y="264"/>
                    </a:lnTo>
                    <a:lnTo>
                      <a:pt x="171" y="264"/>
                    </a:lnTo>
                    <a:lnTo>
                      <a:pt x="168" y="264"/>
                    </a:lnTo>
                    <a:lnTo>
                      <a:pt x="163" y="264"/>
                    </a:lnTo>
                    <a:lnTo>
                      <a:pt x="162" y="262"/>
                    </a:lnTo>
                    <a:lnTo>
                      <a:pt x="160" y="262"/>
                    </a:lnTo>
                    <a:lnTo>
                      <a:pt x="158" y="260"/>
                    </a:lnTo>
                    <a:lnTo>
                      <a:pt x="157" y="255"/>
                    </a:lnTo>
                    <a:lnTo>
                      <a:pt x="154" y="252"/>
                    </a:lnTo>
                    <a:lnTo>
                      <a:pt x="154" y="249"/>
                    </a:lnTo>
                    <a:lnTo>
                      <a:pt x="152" y="247"/>
                    </a:lnTo>
                    <a:lnTo>
                      <a:pt x="150" y="242"/>
                    </a:lnTo>
                    <a:lnTo>
                      <a:pt x="150" y="241"/>
                    </a:lnTo>
                    <a:lnTo>
                      <a:pt x="152" y="239"/>
                    </a:lnTo>
                    <a:lnTo>
                      <a:pt x="155" y="239"/>
                    </a:lnTo>
                    <a:lnTo>
                      <a:pt x="157" y="237"/>
                    </a:lnTo>
                    <a:lnTo>
                      <a:pt x="155" y="236"/>
                    </a:lnTo>
                    <a:lnTo>
                      <a:pt x="154" y="236"/>
                    </a:lnTo>
                    <a:lnTo>
                      <a:pt x="154" y="234"/>
                    </a:lnTo>
                    <a:lnTo>
                      <a:pt x="157" y="231"/>
                    </a:lnTo>
                    <a:lnTo>
                      <a:pt x="158" y="228"/>
                    </a:lnTo>
                    <a:lnTo>
                      <a:pt x="158" y="224"/>
                    </a:lnTo>
                    <a:lnTo>
                      <a:pt x="155" y="214"/>
                    </a:lnTo>
                    <a:lnTo>
                      <a:pt x="154" y="211"/>
                    </a:lnTo>
                    <a:lnTo>
                      <a:pt x="152" y="208"/>
                    </a:lnTo>
                    <a:lnTo>
                      <a:pt x="154" y="205"/>
                    </a:lnTo>
                    <a:lnTo>
                      <a:pt x="154" y="201"/>
                    </a:lnTo>
                    <a:lnTo>
                      <a:pt x="147" y="195"/>
                    </a:lnTo>
                    <a:lnTo>
                      <a:pt x="147" y="192"/>
                    </a:lnTo>
                    <a:lnTo>
                      <a:pt x="142" y="187"/>
                    </a:lnTo>
                    <a:lnTo>
                      <a:pt x="139" y="179"/>
                    </a:lnTo>
                    <a:lnTo>
                      <a:pt x="134" y="174"/>
                    </a:lnTo>
                    <a:lnTo>
                      <a:pt x="129" y="169"/>
                    </a:lnTo>
                    <a:lnTo>
                      <a:pt x="127" y="169"/>
                    </a:lnTo>
                    <a:lnTo>
                      <a:pt x="127" y="165"/>
                    </a:lnTo>
                    <a:lnTo>
                      <a:pt x="122" y="164"/>
                    </a:lnTo>
                    <a:lnTo>
                      <a:pt x="121" y="162"/>
                    </a:lnTo>
                    <a:lnTo>
                      <a:pt x="121" y="162"/>
                    </a:lnTo>
                    <a:lnTo>
                      <a:pt x="122" y="161"/>
                    </a:lnTo>
                    <a:lnTo>
                      <a:pt x="124" y="157"/>
                    </a:lnTo>
                    <a:lnTo>
                      <a:pt x="122" y="156"/>
                    </a:lnTo>
                    <a:lnTo>
                      <a:pt x="121" y="152"/>
                    </a:lnTo>
                    <a:lnTo>
                      <a:pt x="121" y="151"/>
                    </a:lnTo>
                    <a:lnTo>
                      <a:pt x="119" y="151"/>
                    </a:lnTo>
                    <a:lnTo>
                      <a:pt x="114" y="151"/>
                    </a:lnTo>
                    <a:lnTo>
                      <a:pt x="108" y="144"/>
                    </a:lnTo>
                    <a:lnTo>
                      <a:pt x="106" y="143"/>
                    </a:lnTo>
                    <a:lnTo>
                      <a:pt x="105" y="143"/>
                    </a:lnTo>
                    <a:lnTo>
                      <a:pt x="101" y="141"/>
                    </a:lnTo>
                    <a:lnTo>
                      <a:pt x="101" y="138"/>
                    </a:lnTo>
                    <a:lnTo>
                      <a:pt x="103" y="133"/>
                    </a:lnTo>
                    <a:lnTo>
                      <a:pt x="105" y="131"/>
                    </a:lnTo>
                    <a:lnTo>
                      <a:pt x="108" y="130"/>
                    </a:lnTo>
                    <a:lnTo>
                      <a:pt x="109" y="131"/>
                    </a:lnTo>
                    <a:lnTo>
                      <a:pt x="109" y="130"/>
                    </a:lnTo>
                    <a:lnTo>
                      <a:pt x="109" y="128"/>
                    </a:lnTo>
                    <a:lnTo>
                      <a:pt x="109" y="126"/>
                    </a:lnTo>
                    <a:lnTo>
                      <a:pt x="108" y="128"/>
                    </a:lnTo>
                    <a:lnTo>
                      <a:pt x="106" y="126"/>
                    </a:lnTo>
                    <a:lnTo>
                      <a:pt x="105" y="125"/>
                    </a:lnTo>
                    <a:lnTo>
                      <a:pt x="103" y="121"/>
                    </a:lnTo>
                    <a:lnTo>
                      <a:pt x="100" y="121"/>
                    </a:lnTo>
                    <a:lnTo>
                      <a:pt x="98" y="120"/>
                    </a:lnTo>
                    <a:lnTo>
                      <a:pt x="96" y="118"/>
                    </a:lnTo>
                    <a:lnTo>
                      <a:pt x="96" y="115"/>
                    </a:lnTo>
                    <a:lnTo>
                      <a:pt x="95" y="115"/>
                    </a:lnTo>
                    <a:lnTo>
                      <a:pt x="93" y="115"/>
                    </a:lnTo>
                    <a:lnTo>
                      <a:pt x="87" y="110"/>
                    </a:lnTo>
                    <a:lnTo>
                      <a:pt x="87" y="105"/>
                    </a:lnTo>
                    <a:lnTo>
                      <a:pt x="88" y="103"/>
                    </a:lnTo>
                    <a:lnTo>
                      <a:pt x="88" y="98"/>
                    </a:lnTo>
                    <a:lnTo>
                      <a:pt x="87" y="98"/>
                    </a:lnTo>
                    <a:lnTo>
                      <a:pt x="83" y="98"/>
                    </a:lnTo>
                    <a:lnTo>
                      <a:pt x="83" y="98"/>
                    </a:lnTo>
                    <a:lnTo>
                      <a:pt x="82" y="98"/>
                    </a:lnTo>
                    <a:lnTo>
                      <a:pt x="80" y="97"/>
                    </a:lnTo>
                    <a:lnTo>
                      <a:pt x="78" y="95"/>
                    </a:lnTo>
                    <a:lnTo>
                      <a:pt x="77" y="92"/>
                    </a:lnTo>
                    <a:lnTo>
                      <a:pt x="75" y="89"/>
                    </a:lnTo>
                    <a:lnTo>
                      <a:pt x="74" y="87"/>
                    </a:lnTo>
                    <a:lnTo>
                      <a:pt x="72" y="85"/>
                    </a:lnTo>
                    <a:lnTo>
                      <a:pt x="72" y="82"/>
                    </a:lnTo>
                    <a:lnTo>
                      <a:pt x="70" y="79"/>
                    </a:lnTo>
                    <a:lnTo>
                      <a:pt x="69" y="79"/>
                    </a:lnTo>
                    <a:lnTo>
                      <a:pt x="67" y="74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4" y="69"/>
                    </a:lnTo>
                    <a:lnTo>
                      <a:pt x="65" y="67"/>
                    </a:lnTo>
                    <a:lnTo>
                      <a:pt x="65" y="66"/>
                    </a:lnTo>
                    <a:lnTo>
                      <a:pt x="60" y="61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1"/>
                    </a:lnTo>
                    <a:lnTo>
                      <a:pt x="59" y="49"/>
                    </a:lnTo>
                    <a:lnTo>
                      <a:pt x="57" y="43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6" y="32"/>
                    </a:lnTo>
                    <a:lnTo>
                      <a:pt x="52" y="32"/>
                    </a:lnTo>
                    <a:lnTo>
                      <a:pt x="51" y="30"/>
                    </a:lnTo>
                    <a:lnTo>
                      <a:pt x="49" y="27"/>
                    </a:lnTo>
                    <a:lnTo>
                      <a:pt x="47" y="28"/>
                    </a:lnTo>
                    <a:lnTo>
                      <a:pt x="44" y="28"/>
                    </a:lnTo>
                    <a:lnTo>
                      <a:pt x="42" y="27"/>
                    </a:lnTo>
                    <a:lnTo>
                      <a:pt x="39" y="22"/>
                    </a:lnTo>
                    <a:lnTo>
                      <a:pt x="36" y="20"/>
                    </a:lnTo>
                    <a:lnTo>
                      <a:pt x="33" y="17"/>
                    </a:lnTo>
                    <a:lnTo>
                      <a:pt x="34" y="20"/>
                    </a:lnTo>
                    <a:lnTo>
                      <a:pt x="34" y="23"/>
                    </a:lnTo>
                    <a:lnTo>
                      <a:pt x="34" y="28"/>
                    </a:lnTo>
                    <a:lnTo>
                      <a:pt x="33" y="32"/>
                    </a:lnTo>
                    <a:lnTo>
                      <a:pt x="33" y="40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4" y="54"/>
                    </a:lnTo>
                    <a:lnTo>
                      <a:pt x="36" y="59"/>
                    </a:lnTo>
                    <a:lnTo>
                      <a:pt x="36" y="63"/>
                    </a:lnTo>
                    <a:lnTo>
                      <a:pt x="38" y="63"/>
                    </a:lnTo>
                    <a:lnTo>
                      <a:pt x="39" y="66"/>
                    </a:lnTo>
                    <a:lnTo>
                      <a:pt x="44" y="67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4" y="77"/>
                    </a:lnTo>
                    <a:lnTo>
                      <a:pt x="47" y="79"/>
                    </a:lnTo>
                    <a:lnTo>
                      <a:pt x="49" y="81"/>
                    </a:lnTo>
                    <a:lnTo>
                      <a:pt x="49" y="84"/>
                    </a:lnTo>
                    <a:lnTo>
                      <a:pt x="51" y="85"/>
                    </a:lnTo>
                    <a:lnTo>
                      <a:pt x="52" y="87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6" y="98"/>
                    </a:lnTo>
                    <a:lnTo>
                      <a:pt x="59" y="100"/>
                    </a:lnTo>
                    <a:lnTo>
                      <a:pt x="59" y="102"/>
                    </a:lnTo>
                    <a:lnTo>
                      <a:pt x="62" y="105"/>
                    </a:lnTo>
                    <a:lnTo>
                      <a:pt x="64" y="112"/>
                    </a:lnTo>
                    <a:lnTo>
                      <a:pt x="64" y="112"/>
                    </a:lnTo>
                    <a:lnTo>
                      <a:pt x="65" y="113"/>
                    </a:lnTo>
                    <a:lnTo>
                      <a:pt x="64" y="116"/>
                    </a:lnTo>
                    <a:lnTo>
                      <a:pt x="64" y="118"/>
                    </a:lnTo>
                    <a:lnTo>
                      <a:pt x="67" y="123"/>
                    </a:lnTo>
                    <a:lnTo>
                      <a:pt x="69" y="121"/>
                    </a:lnTo>
                    <a:lnTo>
                      <a:pt x="69" y="120"/>
                    </a:lnTo>
                    <a:lnTo>
                      <a:pt x="69" y="118"/>
                    </a:lnTo>
                    <a:lnTo>
                      <a:pt x="70" y="118"/>
                    </a:lnTo>
                    <a:lnTo>
                      <a:pt x="70" y="121"/>
                    </a:lnTo>
                    <a:lnTo>
                      <a:pt x="72" y="125"/>
                    </a:lnTo>
                    <a:lnTo>
                      <a:pt x="74" y="130"/>
                    </a:lnTo>
                    <a:lnTo>
                      <a:pt x="72" y="133"/>
                    </a:lnTo>
                    <a:lnTo>
                      <a:pt x="74" y="136"/>
                    </a:lnTo>
                    <a:lnTo>
                      <a:pt x="74" y="138"/>
                    </a:lnTo>
                    <a:lnTo>
                      <a:pt x="74" y="141"/>
                    </a:lnTo>
                    <a:lnTo>
                      <a:pt x="75" y="143"/>
                    </a:lnTo>
                    <a:lnTo>
                      <a:pt x="75" y="146"/>
                    </a:lnTo>
                    <a:lnTo>
                      <a:pt x="77" y="148"/>
                    </a:lnTo>
                    <a:lnTo>
                      <a:pt x="77" y="149"/>
                    </a:lnTo>
                    <a:lnTo>
                      <a:pt x="77" y="152"/>
                    </a:lnTo>
                    <a:lnTo>
                      <a:pt x="78" y="156"/>
                    </a:lnTo>
                    <a:lnTo>
                      <a:pt x="78" y="159"/>
                    </a:lnTo>
                    <a:lnTo>
                      <a:pt x="77" y="162"/>
                    </a:lnTo>
                    <a:lnTo>
                      <a:pt x="78" y="164"/>
                    </a:lnTo>
                    <a:lnTo>
                      <a:pt x="80" y="167"/>
                    </a:lnTo>
                    <a:lnTo>
                      <a:pt x="83" y="169"/>
                    </a:lnTo>
                    <a:lnTo>
                      <a:pt x="83" y="170"/>
                    </a:lnTo>
                    <a:lnTo>
                      <a:pt x="85" y="170"/>
                    </a:lnTo>
                    <a:lnTo>
                      <a:pt x="85" y="169"/>
                    </a:lnTo>
                    <a:lnTo>
                      <a:pt x="85" y="167"/>
                    </a:lnTo>
                    <a:lnTo>
                      <a:pt x="87" y="169"/>
                    </a:lnTo>
                    <a:lnTo>
                      <a:pt x="88" y="170"/>
                    </a:lnTo>
                    <a:lnTo>
                      <a:pt x="90" y="172"/>
                    </a:lnTo>
                    <a:lnTo>
                      <a:pt x="91" y="174"/>
                    </a:lnTo>
                    <a:lnTo>
                      <a:pt x="93" y="177"/>
                    </a:lnTo>
                    <a:lnTo>
                      <a:pt x="95" y="179"/>
                    </a:lnTo>
                    <a:lnTo>
                      <a:pt x="95" y="182"/>
                    </a:lnTo>
                    <a:lnTo>
                      <a:pt x="98" y="182"/>
                    </a:lnTo>
                    <a:lnTo>
                      <a:pt x="96" y="187"/>
                    </a:lnTo>
                    <a:lnTo>
                      <a:pt x="95" y="192"/>
                    </a:lnTo>
                    <a:lnTo>
                      <a:pt x="90" y="193"/>
                    </a:lnTo>
                    <a:lnTo>
                      <a:pt x="88" y="193"/>
                    </a:lnTo>
                    <a:lnTo>
                      <a:pt x="87" y="190"/>
                    </a:lnTo>
                    <a:lnTo>
                      <a:pt x="87" y="187"/>
                    </a:lnTo>
                    <a:lnTo>
                      <a:pt x="83" y="185"/>
                    </a:lnTo>
                    <a:lnTo>
                      <a:pt x="83" y="182"/>
                    </a:lnTo>
                    <a:lnTo>
                      <a:pt x="82" y="179"/>
                    </a:lnTo>
                    <a:lnTo>
                      <a:pt x="78" y="179"/>
                    </a:lnTo>
                    <a:lnTo>
                      <a:pt x="77" y="175"/>
                    </a:lnTo>
                    <a:lnTo>
                      <a:pt x="75" y="174"/>
                    </a:lnTo>
                    <a:lnTo>
                      <a:pt x="74" y="172"/>
                    </a:lnTo>
                    <a:lnTo>
                      <a:pt x="67" y="165"/>
                    </a:lnTo>
                    <a:lnTo>
                      <a:pt x="65" y="162"/>
                    </a:lnTo>
                    <a:lnTo>
                      <a:pt x="62" y="161"/>
                    </a:lnTo>
                    <a:lnTo>
                      <a:pt x="60" y="159"/>
                    </a:lnTo>
                    <a:lnTo>
                      <a:pt x="59" y="159"/>
                    </a:lnTo>
                    <a:lnTo>
                      <a:pt x="57" y="157"/>
                    </a:lnTo>
                    <a:lnTo>
                      <a:pt x="56" y="154"/>
                    </a:lnTo>
                    <a:lnTo>
                      <a:pt x="59" y="149"/>
                    </a:lnTo>
                    <a:lnTo>
                      <a:pt x="59" y="144"/>
                    </a:lnTo>
                    <a:lnTo>
                      <a:pt x="59" y="138"/>
                    </a:lnTo>
                    <a:lnTo>
                      <a:pt x="57" y="131"/>
                    </a:lnTo>
                    <a:lnTo>
                      <a:pt x="56" y="130"/>
                    </a:lnTo>
                    <a:lnTo>
                      <a:pt x="54" y="130"/>
                    </a:lnTo>
                    <a:lnTo>
                      <a:pt x="52" y="128"/>
                    </a:lnTo>
                    <a:lnTo>
                      <a:pt x="46" y="123"/>
                    </a:lnTo>
                    <a:lnTo>
                      <a:pt x="46" y="118"/>
                    </a:lnTo>
                    <a:lnTo>
                      <a:pt x="46" y="115"/>
                    </a:lnTo>
                    <a:lnTo>
                      <a:pt x="46" y="115"/>
                    </a:lnTo>
                    <a:lnTo>
                      <a:pt x="42" y="118"/>
                    </a:lnTo>
                    <a:lnTo>
                      <a:pt x="41" y="118"/>
                    </a:lnTo>
                    <a:lnTo>
                      <a:pt x="39" y="120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6" y="115"/>
                    </a:lnTo>
                    <a:lnTo>
                      <a:pt x="34" y="115"/>
                    </a:lnTo>
                    <a:lnTo>
                      <a:pt x="34" y="113"/>
                    </a:lnTo>
                    <a:lnTo>
                      <a:pt x="29" y="112"/>
                    </a:lnTo>
                    <a:lnTo>
                      <a:pt x="28" y="112"/>
                    </a:lnTo>
                    <a:lnTo>
                      <a:pt x="26" y="108"/>
                    </a:lnTo>
                    <a:lnTo>
                      <a:pt x="26" y="105"/>
                    </a:lnTo>
                    <a:lnTo>
                      <a:pt x="23" y="103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25" y="98"/>
                    </a:lnTo>
                    <a:lnTo>
                      <a:pt x="26" y="98"/>
                    </a:lnTo>
                    <a:lnTo>
                      <a:pt x="31" y="100"/>
                    </a:lnTo>
                    <a:lnTo>
                      <a:pt x="33" y="100"/>
                    </a:lnTo>
                    <a:lnTo>
                      <a:pt x="34" y="98"/>
                    </a:lnTo>
                    <a:lnTo>
                      <a:pt x="34" y="97"/>
                    </a:lnTo>
                    <a:lnTo>
                      <a:pt x="31" y="97"/>
                    </a:lnTo>
                    <a:lnTo>
                      <a:pt x="31" y="95"/>
                    </a:lnTo>
                    <a:lnTo>
                      <a:pt x="33" y="94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4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77"/>
                    </a:lnTo>
                    <a:lnTo>
                      <a:pt x="28" y="74"/>
                    </a:lnTo>
                    <a:lnTo>
                      <a:pt x="26" y="71"/>
                    </a:lnTo>
                    <a:lnTo>
                      <a:pt x="25" y="67"/>
                    </a:lnTo>
                    <a:lnTo>
                      <a:pt x="20" y="63"/>
                    </a:lnTo>
                    <a:lnTo>
                      <a:pt x="18" y="63"/>
                    </a:lnTo>
                    <a:lnTo>
                      <a:pt x="15" y="61"/>
                    </a:lnTo>
                    <a:lnTo>
                      <a:pt x="15" y="56"/>
                    </a:lnTo>
                    <a:lnTo>
                      <a:pt x="15" y="51"/>
                    </a:lnTo>
                    <a:lnTo>
                      <a:pt x="13" y="49"/>
                    </a:lnTo>
                    <a:lnTo>
                      <a:pt x="11" y="46"/>
                    </a:lnTo>
                    <a:lnTo>
                      <a:pt x="11" y="43"/>
                    </a:lnTo>
                    <a:lnTo>
                      <a:pt x="13" y="43"/>
                    </a:lnTo>
                    <a:lnTo>
                      <a:pt x="11" y="40"/>
                    </a:lnTo>
                    <a:lnTo>
                      <a:pt x="8" y="36"/>
                    </a:lnTo>
                    <a:lnTo>
                      <a:pt x="8" y="35"/>
                    </a:lnTo>
                    <a:lnTo>
                      <a:pt x="8" y="33"/>
                    </a:lnTo>
                    <a:lnTo>
                      <a:pt x="10" y="32"/>
                    </a:lnTo>
                    <a:lnTo>
                      <a:pt x="5" y="27"/>
                    </a:lnTo>
                    <a:lnTo>
                      <a:pt x="3" y="23"/>
                    </a:lnTo>
                    <a:lnTo>
                      <a:pt x="5" y="20"/>
                    </a:lnTo>
                    <a:lnTo>
                      <a:pt x="5" y="20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  <a:moveTo>
                      <a:pt x="82" y="157"/>
                    </a:moveTo>
                    <a:lnTo>
                      <a:pt x="83" y="156"/>
                    </a:lnTo>
                    <a:lnTo>
                      <a:pt x="82" y="154"/>
                    </a:lnTo>
                    <a:lnTo>
                      <a:pt x="80" y="151"/>
                    </a:lnTo>
                    <a:lnTo>
                      <a:pt x="80" y="152"/>
                    </a:lnTo>
                    <a:lnTo>
                      <a:pt x="80" y="154"/>
                    </a:lnTo>
                    <a:lnTo>
                      <a:pt x="82" y="157"/>
                    </a:lnTo>
                    <a:lnTo>
                      <a:pt x="82" y="157"/>
                    </a:lnTo>
                    <a:close/>
                    <a:moveTo>
                      <a:pt x="83" y="164"/>
                    </a:moveTo>
                    <a:lnTo>
                      <a:pt x="83" y="165"/>
                    </a:lnTo>
                    <a:lnTo>
                      <a:pt x="85" y="165"/>
                    </a:lnTo>
                    <a:lnTo>
                      <a:pt x="85" y="164"/>
                    </a:lnTo>
                    <a:lnTo>
                      <a:pt x="83" y="164"/>
                    </a:lnTo>
                    <a:lnTo>
                      <a:pt x="83" y="164"/>
                    </a:lnTo>
                    <a:close/>
                    <a:moveTo>
                      <a:pt x="286" y="159"/>
                    </a:moveTo>
                    <a:lnTo>
                      <a:pt x="287" y="159"/>
                    </a:lnTo>
                    <a:lnTo>
                      <a:pt x="287" y="157"/>
                    </a:lnTo>
                    <a:lnTo>
                      <a:pt x="287" y="157"/>
                    </a:lnTo>
                    <a:lnTo>
                      <a:pt x="286" y="159"/>
                    </a:lnTo>
                    <a:lnTo>
                      <a:pt x="286" y="159"/>
                    </a:lnTo>
                    <a:close/>
                    <a:moveTo>
                      <a:pt x="286" y="164"/>
                    </a:moveTo>
                    <a:lnTo>
                      <a:pt x="286" y="164"/>
                    </a:lnTo>
                    <a:lnTo>
                      <a:pt x="287" y="161"/>
                    </a:lnTo>
                    <a:lnTo>
                      <a:pt x="286" y="161"/>
                    </a:lnTo>
                    <a:lnTo>
                      <a:pt x="286" y="164"/>
                    </a:lnTo>
                    <a:lnTo>
                      <a:pt x="286" y="164"/>
                    </a:lnTo>
                    <a:close/>
                    <a:moveTo>
                      <a:pt x="284" y="170"/>
                    </a:moveTo>
                    <a:lnTo>
                      <a:pt x="286" y="167"/>
                    </a:lnTo>
                    <a:lnTo>
                      <a:pt x="286" y="165"/>
                    </a:lnTo>
                    <a:lnTo>
                      <a:pt x="284" y="17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8" name="Freeform 332">
                <a:extLst>
                  <a:ext uri="{FF2B5EF4-FFF2-40B4-BE49-F238E27FC236}">
                    <a16:creationId xmlns:a16="http://schemas.microsoft.com/office/drawing/2014/main" xmlns="" id="{BD932B9C-CBEC-4937-B7A1-5657968E82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3" y="1972"/>
                <a:ext cx="620" cy="665"/>
              </a:xfrm>
              <a:custGeom>
                <a:avLst/>
                <a:gdLst>
                  <a:gd name="T0" fmla="*/ 226 w 380"/>
                  <a:gd name="T1" fmla="*/ 55 h 407"/>
                  <a:gd name="T2" fmla="*/ 229 w 380"/>
                  <a:gd name="T3" fmla="*/ 53 h 407"/>
                  <a:gd name="T4" fmla="*/ 233 w 380"/>
                  <a:gd name="T5" fmla="*/ 53 h 407"/>
                  <a:gd name="T6" fmla="*/ 238 w 380"/>
                  <a:gd name="T7" fmla="*/ 55 h 407"/>
                  <a:gd name="T8" fmla="*/ 219 w 380"/>
                  <a:gd name="T9" fmla="*/ 12 h 407"/>
                  <a:gd name="T10" fmla="*/ 205 w 380"/>
                  <a:gd name="T11" fmla="*/ 30 h 407"/>
                  <a:gd name="T12" fmla="*/ 192 w 380"/>
                  <a:gd name="T13" fmla="*/ 34 h 407"/>
                  <a:gd name="T14" fmla="*/ 173 w 380"/>
                  <a:gd name="T15" fmla="*/ 29 h 407"/>
                  <a:gd name="T16" fmla="*/ 165 w 380"/>
                  <a:gd name="T17" fmla="*/ 34 h 407"/>
                  <a:gd name="T18" fmla="*/ 141 w 380"/>
                  <a:gd name="T19" fmla="*/ 38 h 407"/>
                  <a:gd name="T20" fmla="*/ 140 w 380"/>
                  <a:gd name="T21" fmla="*/ 13 h 407"/>
                  <a:gd name="T22" fmla="*/ 130 w 380"/>
                  <a:gd name="T23" fmla="*/ 0 h 407"/>
                  <a:gd name="T24" fmla="*/ 96 w 380"/>
                  <a:gd name="T25" fmla="*/ 14 h 407"/>
                  <a:gd name="T26" fmla="*/ 102 w 380"/>
                  <a:gd name="T27" fmla="*/ 29 h 407"/>
                  <a:gd name="T28" fmla="*/ 67 w 380"/>
                  <a:gd name="T29" fmla="*/ 41 h 407"/>
                  <a:gd name="T30" fmla="*/ 40 w 380"/>
                  <a:gd name="T31" fmla="*/ 40 h 407"/>
                  <a:gd name="T32" fmla="*/ 45 w 380"/>
                  <a:gd name="T33" fmla="*/ 69 h 407"/>
                  <a:gd name="T34" fmla="*/ 22 w 380"/>
                  <a:gd name="T35" fmla="*/ 100 h 407"/>
                  <a:gd name="T36" fmla="*/ 6 w 380"/>
                  <a:gd name="T37" fmla="*/ 122 h 407"/>
                  <a:gd name="T38" fmla="*/ 12 w 380"/>
                  <a:gd name="T39" fmla="*/ 148 h 407"/>
                  <a:gd name="T40" fmla="*/ 34 w 380"/>
                  <a:gd name="T41" fmla="*/ 165 h 407"/>
                  <a:gd name="T42" fmla="*/ 59 w 380"/>
                  <a:gd name="T43" fmla="*/ 163 h 407"/>
                  <a:gd name="T44" fmla="*/ 83 w 380"/>
                  <a:gd name="T45" fmla="*/ 162 h 407"/>
                  <a:gd name="T46" fmla="*/ 110 w 380"/>
                  <a:gd name="T47" fmla="*/ 186 h 407"/>
                  <a:gd name="T48" fmla="*/ 137 w 380"/>
                  <a:gd name="T49" fmla="*/ 213 h 407"/>
                  <a:gd name="T50" fmla="*/ 161 w 380"/>
                  <a:gd name="T51" fmla="*/ 262 h 407"/>
                  <a:gd name="T52" fmla="*/ 184 w 380"/>
                  <a:gd name="T53" fmla="*/ 282 h 407"/>
                  <a:gd name="T54" fmla="*/ 198 w 380"/>
                  <a:gd name="T55" fmla="*/ 313 h 407"/>
                  <a:gd name="T56" fmla="*/ 201 w 380"/>
                  <a:gd name="T57" fmla="*/ 335 h 407"/>
                  <a:gd name="T58" fmla="*/ 181 w 380"/>
                  <a:gd name="T59" fmla="*/ 354 h 407"/>
                  <a:gd name="T60" fmla="*/ 184 w 380"/>
                  <a:gd name="T61" fmla="*/ 370 h 407"/>
                  <a:gd name="T62" fmla="*/ 209 w 380"/>
                  <a:gd name="T63" fmla="*/ 388 h 407"/>
                  <a:gd name="T64" fmla="*/ 223 w 380"/>
                  <a:gd name="T65" fmla="*/ 394 h 407"/>
                  <a:gd name="T66" fmla="*/ 231 w 380"/>
                  <a:gd name="T67" fmla="*/ 375 h 407"/>
                  <a:gd name="T68" fmla="*/ 237 w 380"/>
                  <a:gd name="T69" fmla="*/ 368 h 407"/>
                  <a:gd name="T70" fmla="*/ 227 w 380"/>
                  <a:gd name="T71" fmla="*/ 385 h 407"/>
                  <a:gd name="T72" fmla="*/ 253 w 380"/>
                  <a:gd name="T73" fmla="*/ 346 h 407"/>
                  <a:gd name="T74" fmla="*/ 253 w 380"/>
                  <a:gd name="T75" fmla="*/ 328 h 407"/>
                  <a:gd name="T76" fmla="*/ 260 w 380"/>
                  <a:gd name="T77" fmla="*/ 311 h 407"/>
                  <a:gd name="T78" fmla="*/ 285 w 380"/>
                  <a:gd name="T79" fmla="*/ 293 h 407"/>
                  <a:gd name="T80" fmla="*/ 298 w 380"/>
                  <a:gd name="T81" fmla="*/ 285 h 407"/>
                  <a:gd name="T82" fmla="*/ 308 w 380"/>
                  <a:gd name="T83" fmla="*/ 286 h 407"/>
                  <a:gd name="T84" fmla="*/ 325 w 380"/>
                  <a:gd name="T85" fmla="*/ 269 h 407"/>
                  <a:gd name="T86" fmla="*/ 336 w 380"/>
                  <a:gd name="T87" fmla="*/ 237 h 407"/>
                  <a:gd name="T88" fmla="*/ 341 w 380"/>
                  <a:gd name="T89" fmla="*/ 193 h 407"/>
                  <a:gd name="T90" fmla="*/ 339 w 380"/>
                  <a:gd name="T91" fmla="*/ 180 h 407"/>
                  <a:gd name="T92" fmla="*/ 352 w 380"/>
                  <a:gd name="T93" fmla="*/ 177 h 407"/>
                  <a:gd name="T94" fmla="*/ 377 w 380"/>
                  <a:gd name="T95" fmla="*/ 139 h 407"/>
                  <a:gd name="T96" fmla="*/ 367 w 380"/>
                  <a:gd name="T97" fmla="*/ 104 h 407"/>
                  <a:gd name="T98" fmla="*/ 331 w 380"/>
                  <a:gd name="T99" fmla="*/ 82 h 407"/>
                  <a:gd name="T100" fmla="*/ 310 w 380"/>
                  <a:gd name="T101" fmla="*/ 82 h 407"/>
                  <a:gd name="T102" fmla="*/ 293 w 380"/>
                  <a:gd name="T103" fmla="*/ 79 h 407"/>
                  <a:gd name="T104" fmla="*/ 284 w 380"/>
                  <a:gd name="T105" fmla="*/ 86 h 407"/>
                  <a:gd name="T106" fmla="*/ 276 w 380"/>
                  <a:gd name="T107" fmla="*/ 71 h 407"/>
                  <a:gd name="T108" fmla="*/ 263 w 380"/>
                  <a:gd name="T109" fmla="*/ 63 h 407"/>
                  <a:gd name="T110" fmla="*/ 247 w 380"/>
                  <a:gd name="T111" fmla="*/ 67 h 407"/>
                  <a:gd name="T112" fmla="*/ 234 w 380"/>
                  <a:gd name="T113" fmla="*/ 83 h 407"/>
                  <a:gd name="T114" fmla="*/ 229 w 380"/>
                  <a:gd name="T115" fmla="*/ 72 h 407"/>
                  <a:gd name="T116" fmla="*/ 247 w 380"/>
                  <a:gd name="T117" fmla="*/ 59 h 407"/>
                  <a:gd name="T118" fmla="*/ 226 w 380"/>
                  <a:gd name="T119" fmla="*/ 61 h 407"/>
                  <a:gd name="T120" fmla="*/ 216 w 380"/>
                  <a:gd name="T121" fmla="*/ 63 h 407"/>
                  <a:gd name="T122" fmla="*/ 231 w 380"/>
                  <a:gd name="T123" fmla="*/ 44 h 407"/>
                  <a:gd name="T124" fmla="*/ 222 w 380"/>
                  <a:gd name="T125" fmla="*/ 22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80" h="407">
                    <a:moveTo>
                      <a:pt x="222" y="60"/>
                    </a:moveTo>
                    <a:cubicBezTo>
                      <a:pt x="223" y="59"/>
                      <a:pt x="223" y="59"/>
                      <a:pt x="223" y="59"/>
                    </a:cubicBezTo>
                    <a:cubicBezTo>
                      <a:pt x="224" y="58"/>
                      <a:pt x="224" y="58"/>
                      <a:pt x="224" y="58"/>
                    </a:cubicBezTo>
                    <a:cubicBezTo>
                      <a:pt x="225" y="59"/>
                      <a:pt x="225" y="59"/>
                      <a:pt x="225" y="59"/>
                    </a:cubicBezTo>
                    <a:cubicBezTo>
                      <a:pt x="224" y="60"/>
                      <a:pt x="224" y="60"/>
                      <a:pt x="224" y="60"/>
                    </a:cubicBezTo>
                    <a:cubicBezTo>
                      <a:pt x="223" y="60"/>
                      <a:pt x="223" y="60"/>
                      <a:pt x="223" y="60"/>
                    </a:cubicBezTo>
                    <a:cubicBezTo>
                      <a:pt x="222" y="60"/>
                      <a:pt x="222" y="60"/>
                      <a:pt x="222" y="60"/>
                    </a:cubicBezTo>
                    <a:close/>
                    <a:moveTo>
                      <a:pt x="220" y="60"/>
                    </a:moveTo>
                    <a:cubicBezTo>
                      <a:pt x="221" y="60"/>
                      <a:pt x="221" y="60"/>
                      <a:pt x="221" y="60"/>
                    </a:cubicBezTo>
                    <a:cubicBezTo>
                      <a:pt x="221" y="59"/>
                      <a:pt x="221" y="59"/>
                      <a:pt x="221" y="59"/>
                    </a:cubicBezTo>
                    <a:cubicBezTo>
                      <a:pt x="223" y="57"/>
                      <a:pt x="223" y="57"/>
                      <a:pt x="223" y="57"/>
                    </a:cubicBezTo>
                    <a:cubicBezTo>
                      <a:pt x="224" y="57"/>
                      <a:pt x="224" y="57"/>
                      <a:pt x="224" y="57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226" y="54"/>
                      <a:pt x="226" y="54"/>
                      <a:pt x="226" y="54"/>
                    </a:cubicBezTo>
                    <a:cubicBezTo>
                      <a:pt x="225" y="55"/>
                      <a:pt x="225" y="55"/>
                      <a:pt x="225" y="55"/>
                    </a:cubicBezTo>
                    <a:cubicBezTo>
                      <a:pt x="224" y="55"/>
                      <a:pt x="224" y="55"/>
                      <a:pt x="224" y="55"/>
                    </a:cubicBezTo>
                    <a:cubicBezTo>
                      <a:pt x="223" y="55"/>
                      <a:pt x="223" y="55"/>
                      <a:pt x="223" y="55"/>
                    </a:cubicBezTo>
                    <a:cubicBezTo>
                      <a:pt x="221" y="57"/>
                      <a:pt x="221" y="57"/>
                      <a:pt x="221" y="57"/>
                    </a:cubicBezTo>
                    <a:cubicBezTo>
                      <a:pt x="220" y="60"/>
                      <a:pt x="220" y="60"/>
                      <a:pt x="220" y="60"/>
                    </a:cubicBezTo>
                    <a:close/>
                    <a:moveTo>
                      <a:pt x="229" y="53"/>
                    </a:moveTo>
                    <a:cubicBezTo>
                      <a:pt x="228" y="52"/>
                      <a:pt x="228" y="52"/>
                      <a:pt x="228" y="52"/>
                    </a:cubicBezTo>
                    <a:cubicBezTo>
                      <a:pt x="227" y="52"/>
                      <a:pt x="227" y="52"/>
                      <a:pt x="227" y="52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28" y="54"/>
                      <a:pt x="228" y="54"/>
                      <a:pt x="228" y="54"/>
                    </a:cubicBezTo>
                    <a:cubicBezTo>
                      <a:pt x="229" y="54"/>
                      <a:pt x="229" y="54"/>
                      <a:pt x="229" y="54"/>
                    </a:cubicBezTo>
                    <a:cubicBezTo>
                      <a:pt x="229" y="53"/>
                      <a:pt x="229" y="53"/>
                      <a:pt x="229" y="53"/>
                    </a:cubicBezTo>
                    <a:close/>
                    <a:moveTo>
                      <a:pt x="229" y="51"/>
                    </a:moveTo>
                    <a:cubicBezTo>
                      <a:pt x="228" y="49"/>
                      <a:pt x="228" y="49"/>
                      <a:pt x="228" y="49"/>
                    </a:cubicBezTo>
                    <a:cubicBezTo>
                      <a:pt x="229" y="48"/>
                      <a:pt x="229" y="48"/>
                      <a:pt x="229" y="48"/>
                    </a:cubicBezTo>
                    <a:cubicBezTo>
                      <a:pt x="230" y="48"/>
                      <a:pt x="230" y="48"/>
                      <a:pt x="230" y="48"/>
                    </a:cubicBezTo>
                    <a:cubicBezTo>
                      <a:pt x="232" y="47"/>
                      <a:pt x="232" y="47"/>
                      <a:pt x="232" y="47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31" y="48"/>
                      <a:pt x="231" y="48"/>
                      <a:pt x="231" y="48"/>
                    </a:cubicBezTo>
                    <a:cubicBezTo>
                      <a:pt x="230" y="50"/>
                      <a:pt x="230" y="50"/>
                      <a:pt x="230" y="50"/>
                    </a:cubicBezTo>
                    <a:cubicBezTo>
                      <a:pt x="229" y="51"/>
                      <a:pt x="229" y="51"/>
                      <a:pt x="229" y="51"/>
                    </a:cubicBezTo>
                    <a:close/>
                    <a:moveTo>
                      <a:pt x="229" y="52"/>
                    </a:moveTo>
                    <a:cubicBezTo>
                      <a:pt x="230" y="53"/>
                      <a:pt x="230" y="53"/>
                      <a:pt x="230" y="53"/>
                    </a:cubicBezTo>
                    <a:cubicBezTo>
                      <a:pt x="233" y="53"/>
                      <a:pt x="233" y="53"/>
                      <a:pt x="233" y="53"/>
                    </a:cubicBezTo>
                    <a:cubicBezTo>
                      <a:pt x="233" y="53"/>
                      <a:pt x="233" y="53"/>
                      <a:pt x="233" y="53"/>
                    </a:cubicBezTo>
                    <a:cubicBezTo>
                      <a:pt x="235" y="53"/>
                      <a:pt x="235" y="53"/>
                      <a:pt x="235" y="53"/>
                    </a:cubicBezTo>
                    <a:cubicBezTo>
                      <a:pt x="235" y="52"/>
                      <a:pt x="235" y="52"/>
                      <a:pt x="235" y="52"/>
                    </a:cubicBezTo>
                    <a:cubicBezTo>
                      <a:pt x="234" y="51"/>
                      <a:pt x="234" y="51"/>
                      <a:pt x="234" y="51"/>
                    </a:cubicBezTo>
                    <a:cubicBezTo>
                      <a:pt x="231" y="51"/>
                      <a:pt x="231" y="51"/>
                      <a:pt x="231" y="51"/>
                    </a:cubicBezTo>
                    <a:cubicBezTo>
                      <a:pt x="230" y="51"/>
                      <a:pt x="230" y="51"/>
                      <a:pt x="230" y="51"/>
                    </a:cubicBezTo>
                    <a:cubicBezTo>
                      <a:pt x="229" y="52"/>
                      <a:pt x="229" y="52"/>
                      <a:pt x="229" y="52"/>
                    </a:cubicBezTo>
                    <a:close/>
                    <a:moveTo>
                      <a:pt x="235" y="55"/>
                    </a:moveTo>
                    <a:cubicBezTo>
                      <a:pt x="236" y="54"/>
                      <a:pt x="236" y="54"/>
                      <a:pt x="236" y="54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9" y="54"/>
                      <a:pt x="239" y="54"/>
                      <a:pt x="239" y="54"/>
                    </a:cubicBezTo>
                    <a:cubicBezTo>
                      <a:pt x="238" y="55"/>
                      <a:pt x="238" y="55"/>
                      <a:pt x="238" y="55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5" y="55"/>
                      <a:pt x="235" y="55"/>
                      <a:pt x="235" y="55"/>
                    </a:cubicBezTo>
                    <a:close/>
                    <a:moveTo>
                      <a:pt x="229" y="34"/>
                    </a:moveTo>
                    <a:cubicBezTo>
                      <a:pt x="228" y="33"/>
                      <a:pt x="228" y="33"/>
                      <a:pt x="228" y="33"/>
                    </a:cubicBezTo>
                    <a:cubicBezTo>
                      <a:pt x="227" y="30"/>
                      <a:pt x="227" y="30"/>
                      <a:pt x="227" y="30"/>
                    </a:cubicBezTo>
                    <a:cubicBezTo>
                      <a:pt x="227" y="29"/>
                      <a:pt x="227" y="29"/>
                      <a:pt x="227" y="29"/>
                    </a:cubicBezTo>
                    <a:cubicBezTo>
                      <a:pt x="229" y="30"/>
                      <a:pt x="229" y="30"/>
                      <a:pt x="229" y="30"/>
                    </a:cubicBezTo>
                    <a:cubicBezTo>
                      <a:pt x="230" y="33"/>
                      <a:pt x="230" y="33"/>
                      <a:pt x="230" y="33"/>
                    </a:cubicBezTo>
                    <a:cubicBezTo>
                      <a:pt x="230" y="34"/>
                      <a:pt x="230" y="34"/>
                      <a:pt x="230" y="34"/>
                    </a:cubicBezTo>
                    <a:cubicBezTo>
                      <a:pt x="230" y="34"/>
                      <a:pt x="229" y="34"/>
                      <a:pt x="229" y="34"/>
                    </a:cubicBezTo>
                    <a:close/>
                    <a:moveTo>
                      <a:pt x="220" y="14"/>
                    </a:moveTo>
                    <a:cubicBezTo>
                      <a:pt x="219" y="14"/>
                      <a:pt x="219" y="14"/>
                      <a:pt x="219" y="14"/>
                    </a:cubicBezTo>
                    <a:cubicBezTo>
                      <a:pt x="219" y="12"/>
                      <a:pt x="219" y="12"/>
                      <a:pt x="219" y="12"/>
                    </a:cubicBezTo>
                    <a:cubicBezTo>
                      <a:pt x="218" y="9"/>
                      <a:pt x="218" y="9"/>
                      <a:pt x="218" y="9"/>
                    </a:cubicBezTo>
                    <a:cubicBezTo>
                      <a:pt x="217" y="10"/>
                      <a:pt x="217" y="10"/>
                      <a:pt x="217" y="10"/>
                    </a:cubicBezTo>
                    <a:cubicBezTo>
                      <a:pt x="218" y="11"/>
                      <a:pt x="218" y="11"/>
                      <a:pt x="218" y="11"/>
                    </a:cubicBezTo>
                    <a:cubicBezTo>
                      <a:pt x="217" y="13"/>
                      <a:pt x="217" y="13"/>
                      <a:pt x="217" y="13"/>
                    </a:cubicBezTo>
                    <a:cubicBezTo>
                      <a:pt x="215" y="14"/>
                      <a:pt x="215" y="14"/>
                      <a:pt x="215" y="14"/>
                    </a:cubicBezTo>
                    <a:cubicBezTo>
                      <a:pt x="215" y="14"/>
                      <a:pt x="215" y="14"/>
                      <a:pt x="215" y="14"/>
                    </a:cubicBezTo>
                    <a:cubicBezTo>
                      <a:pt x="214" y="14"/>
                      <a:pt x="214" y="14"/>
                      <a:pt x="214" y="14"/>
                    </a:cubicBezTo>
                    <a:cubicBezTo>
                      <a:pt x="214" y="15"/>
                      <a:pt x="214" y="15"/>
                      <a:pt x="214" y="15"/>
                    </a:cubicBezTo>
                    <a:cubicBezTo>
                      <a:pt x="211" y="18"/>
                      <a:pt x="211" y="18"/>
                      <a:pt x="211" y="18"/>
                    </a:cubicBezTo>
                    <a:cubicBezTo>
                      <a:pt x="209" y="22"/>
                      <a:pt x="209" y="22"/>
                      <a:pt x="209" y="22"/>
                    </a:cubicBezTo>
                    <a:cubicBezTo>
                      <a:pt x="209" y="23"/>
                      <a:pt x="209" y="23"/>
                      <a:pt x="209" y="23"/>
                    </a:cubicBezTo>
                    <a:cubicBezTo>
                      <a:pt x="207" y="27"/>
                      <a:pt x="207" y="27"/>
                      <a:pt x="207" y="27"/>
                    </a:cubicBezTo>
                    <a:cubicBezTo>
                      <a:pt x="205" y="30"/>
                      <a:pt x="205" y="30"/>
                      <a:pt x="205" y="30"/>
                    </a:cubicBezTo>
                    <a:cubicBezTo>
                      <a:pt x="204" y="32"/>
                      <a:pt x="204" y="32"/>
                      <a:pt x="204" y="32"/>
                    </a:cubicBezTo>
                    <a:cubicBezTo>
                      <a:pt x="202" y="33"/>
                      <a:pt x="202" y="33"/>
                      <a:pt x="202" y="33"/>
                    </a:cubicBezTo>
                    <a:cubicBezTo>
                      <a:pt x="201" y="34"/>
                      <a:pt x="201" y="34"/>
                      <a:pt x="201" y="34"/>
                    </a:cubicBezTo>
                    <a:cubicBezTo>
                      <a:pt x="201" y="35"/>
                      <a:pt x="201" y="35"/>
                      <a:pt x="201" y="35"/>
                    </a:cubicBezTo>
                    <a:cubicBezTo>
                      <a:pt x="199" y="36"/>
                      <a:pt x="199" y="36"/>
                      <a:pt x="199" y="36"/>
                    </a:cubicBezTo>
                    <a:cubicBezTo>
                      <a:pt x="198" y="36"/>
                      <a:pt x="198" y="36"/>
                      <a:pt x="198" y="36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6" y="32"/>
                      <a:pt x="196" y="32"/>
                      <a:pt x="196" y="32"/>
                    </a:cubicBezTo>
                    <a:cubicBezTo>
                      <a:pt x="195" y="33"/>
                      <a:pt x="195" y="33"/>
                      <a:pt x="195" y="33"/>
                    </a:cubicBezTo>
                    <a:cubicBezTo>
                      <a:pt x="194" y="34"/>
                      <a:pt x="194" y="34"/>
                      <a:pt x="194" y="34"/>
                    </a:cubicBezTo>
                    <a:cubicBezTo>
                      <a:pt x="192" y="34"/>
                      <a:pt x="192" y="34"/>
                      <a:pt x="192" y="34"/>
                    </a:cubicBezTo>
                    <a:cubicBezTo>
                      <a:pt x="191" y="32"/>
                      <a:pt x="191" y="32"/>
                      <a:pt x="191" y="32"/>
                    </a:cubicBezTo>
                    <a:cubicBezTo>
                      <a:pt x="191" y="31"/>
                      <a:pt x="191" y="31"/>
                      <a:pt x="191" y="31"/>
                    </a:cubicBezTo>
                    <a:cubicBezTo>
                      <a:pt x="190" y="31"/>
                      <a:pt x="190" y="31"/>
                      <a:pt x="190" y="31"/>
                    </a:cubicBezTo>
                    <a:cubicBezTo>
                      <a:pt x="190" y="29"/>
                      <a:pt x="190" y="29"/>
                      <a:pt x="190" y="29"/>
                    </a:cubicBezTo>
                    <a:cubicBezTo>
                      <a:pt x="189" y="28"/>
                      <a:pt x="189" y="28"/>
                      <a:pt x="189" y="28"/>
                    </a:cubicBezTo>
                    <a:cubicBezTo>
                      <a:pt x="188" y="28"/>
                      <a:pt x="188" y="28"/>
                      <a:pt x="188" y="28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82" y="27"/>
                      <a:pt x="182" y="27"/>
                      <a:pt x="182" y="27"/>
                    </a:cubicBezTo>
                    <a:cubicBezTo>
                      <a:pt x="178" y="27"/>
                      <a:pt x="178" y="27"/>
                      <a:pt x="178" y="27"/>
                    </a:cubicBezTo>
                    <a:cubicBezTo>
                      <a:pt x="175" y="26"/>
                      <a:pt x="175" y="26"/>
                      <a:pt x="175" y="26"/>
                    </a:cubicBezTo>
                    <a:cubicBezTo>
                      <a:pt x="174" y="28"/>
                      <a:pt x="174" y="28"/>
                      <a:pt x="174" y="28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5" y="31"/>
                      <a:pt x="175" y="31"/>
                      <a:pt x="175" y="31"/>
                    </a:cubicBezTo>
                    <a:cubicBezTo>
                      <a:pt x="176" y="32"/>
                      <a:pt x="176" y="32"/>
                      <a:pt x="176" y="32"/>
                    </a:cubicBezTo>
                    <a:cubicBezTo>
                      <a:pt x="176" y="34"/>
                      <a:pt x="176" y="34"/>
                      <a:pt x="176" y="34"/>
                    </a:cubicBezTo>
                    <a:cubicBezTo>
                      <a:pt x="176" y="35"/>
                      <a:pt x="176" y="35"/>
                      <a:pt x="176" y="35"/>
                    </a:cubicBezTo>
                    <a:cubicBezTo>
                      <a:pt x="174" y="35"/>
                      <a:pt x="174" y="35"/>
                      <a:pt x="174" y="35"/>
                    </a:cubicBezTo>
                    <a:cubicBezTo>
                      <a:pt x="172" y="35"/>
                      <a:pt x="172" y="35"/>
                      <a:pt x="172" y="35"/>
                    </a:cubicBezTo>
                    <a:cubicBezTo>
                      <a:pt x="171" y="34"/>
                      <a:pt x="171" y="34"/>
                      <a:pt x="171" y="34"/>
                    </a:cubicBezTo>
                    <a:cubicBezTo>
                      <a:pt x="171" y="34"/>
                      <a:pt x="171" y="34"/>
                      <a:pt x="171" y="34"/>
                    </a:cubicBezTo>
                    <a:cubicBezTo>
                      <a:pt x="170" y="34"/>
                      <a:pt x="170" y="34"/>
                      <a:pt x="170" y="34"/>
                    </a:cubicBezTo>
                    <a:cubicBezTo>
                      <a:pt x="170" y="34"/>
                      <a:pt x="170" y="34"/>
                      <a:pt x="170" y="34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4"/>
                      <a:pt x="166" y="34"/>
                      <a:pt x="166" y="34"/>
                    </a:cubicBezTo>
                    <a:cubicBezTo>
                      <a:pt x="165" y="34"/>
                      <a:pt x="165" y="34"/>
                      <a:pt x="165" y="34"/>
                    </a:cubicBezTo>
                    <a:cubicBezTo>
                      <a:pt x="162" y="34"/>
                      <a:pt x="162" y="34"/>
                      <a:pt x="162" y="34"/>
                    </a:cubicBezTo>
                    <a:cubicBezTo>
                      <a:pt x="160" y="35"/>
                      <a:pt x="160" y="35"/>
                      <a:pt x="160" y="35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55" y="38"/>
                      <a:pt x="155" y="38"/>
                      <a:pt x="155" y="38"/>
                    </a:cubicBezTo>
                    <a:cubicBezTo>
                      <a:pt x="153" y="38"/>
                      <a:pt x="153" y="38"/>
                      <a:pt x="153" y="38"/>
                    </a:cubicBezTo>
                    <a:cubicBezTo>
                      <a:pt x="153" y="39"/>
                      <a:pt x="153" y="39"/>
                      <a:pt x="153" y="39"/>
                    </a:cubicBezTo>
                    <a:cubicBezTo>
                      <a:pt x="151" y="41"/>
                      <a:pt x="151" y="41"/>
                      <a:pt x="151" y="41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46" y="42"/>
                      <a:pt x="146" y="42"/>
                      <a:pt x="146" y="42"/>
                    </a:cubicBezTo>
                    <a:cubicBezTo>
                      <a:pt x="145" y="42"/>
                      <a:pt x="145" y="42"/>
                      <a:pt x="145" y="42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6"/>
                      <a:pt x="139" y="36"/>
                      <a:pt x="139" y="36"/>
                    </a:cubicBezTo>
                    <a:cubicBezTo>
                      <a:pt x="139" y="35"/>
                      <a:pt x="139" y="35"/>
                      <a:pt x="139" y="35"/>
                    </a:cubicBezTo>
                    <a:cubicBezTo>
                      <a:pt x="137" y="33"/>
                      <a:pt x="137" y="33"/>
                      <a:pt x="137" y="33"/>
                    </a:cubicBezTo>
                    <a:cubicBezTo>
                      <a:pt x="136" y="31"/>
                      <a:pt x="136" y="31"/>
                      <a:pt x="136" y="31"/>
                    </a:cubicBezTo>
                    <a:cubicBezTo>
                      <a:pt x="135" y="29"/>
                      <a:pt x="135" y="29"/>
                      <a:pt x="135" y="29"/>
                    </a:cubicBezTo>
                    <a:cubicBezTo>
                      <a:pt x="136" y="28"/>
                      <a:pt x="136" y="28"/>
                      <a:pt x="136" y="28"/>
                    </a:cubicBezTo>
                    <a:cubicBezTo>
                      <a:pt x="135" y="27"/>
                      <a:pt x="135" y="27"/>
                      <a:pt x="135" y="27"/>
                    </a:cubicBezTo>
                    <a:cubicBezTo>
                      <a:pt x="136" y="25"/>
                      <a:pt x="136" y="25"/>
                      <a:pt x="136" y="25"/>
                    </a:cubicBezTo>
                    <a:cubicBezTo>
                      <a:pt x="136" y="23"/>
                      <a:pt x="136" y="23"/>
                      <a:pt x="136" y="23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18"/>
                      <a:pt x="138" y="18"/>
                      <a:pt x="138" y="18"/>
                    </a:cubicBezTo>
                    <a:cubicBezTo>
                      <a:pt x="139" y="15"/>
                      <a:pt x="139" y="15"/>
                      <a:pt x="139" y="15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0" y="12"/>
                      <a:pt x="140" y="12"/>
                      <a:pt x="140" y="12"/>
                    </a:cubicBezTo>
                    <a:cubicBezTo>
                      <a:pt x="138" y="12"/>
                      <a:pt x="138" y="12"/>
                      <a:pt x="138" y="12"/>
                    </a:cubicBezTo>
                    <a:cubicBezTo>
                      <a:pt x="138" y="11"/>
                      <a:pt x="138" y="11"/>
                      <a:pt x="138" y="11"/>
                    </a:cubicBezTo>
                    <a:cubicBezTo>
                      <a:pt x="137" y="9"/>
                      <a:pt x="137" y="9"/>
                      <a:pt x="137" y="9"/>
                    </a:cubicBezTo>
                    <a:cubicBezTo>
                      <a:pt x="135" y="9"/>
                      <a:pt x="135" y="9"/>
                      <a:pt x="135" y="9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4" y="7"/>
                      <a:pt x="134" y="7"/>
                      <a:pt x="134" y="7"/>
                    </a:cubicBezTo>
                    <a:cubicBezTo>
                      <a:pt x="135" y="5"/>
                      <a:pt x="135" y="5"/>
                      <a:pt x="135" y="5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4" y="1"/>
                      <a:pt x="134" y="1"/>
                      <a:pt x="134" y="1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"/>
                      <a:pt x="129" y="2"/>
                      <a:pt x="129" y="2"/>
                    </a:cubicBezTo>
                    <a:cubicBezTo>
                      <a:pt x="128" y="5"/>
                      <a:pt x="128" y="5"/>
                      <a:pt x="128" y="5"/>
                    </a:cubicBezTo>
                    <a:cubicBezTo>
                      <a:pt x="123" y="8"/>
                      <a:pt x="123" y="8"/>
                      <a:pt x="123" y="8"/>
                    </a:cubicBezTo>
                    <a:cubicBezTo>
                      <a:pt x="120" y="9"/>
                      <a:pt x="120" y="9"/>
                      <a:pt x="120" y="9"/>
                    </a:cubicBezTo>
                    <a:cubicBezTo>
                      <a:pt x="116" y="10"/>
                      <a:pt x="116" y="10"/>
                      <a:pt x="116" y="10"/>
                    </a:cubicBezTo>
                    <a:cubicBezTo>
                      <a:pt x="114" y="10"/>
                      <a:pt x="114" y="10"/>
                      <a:pt x="114" y="1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4"/>
                      <a:pt x="100" y="14"/>
                      <a:pt x="100" y="14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3" y="12"/>
                      <a:pt x="93" y="12"/>
                      <a:pt x="93" y="12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91" y="14"/>
                      <a:pt x="91" y="14"/>
                      <a:pt x="91" y="14"/>
                    </a:cubicBezTo>
                    <a:cubicBezTo>
                      <a:pt x="93" y="16"/>
                      <a:pt x="93" y="16"/>
                      <a:pt x="93" y="16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2" y="24"/>
                      <a:pt x="92" y="24"/>
                      <a:pt x="92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6" y="29"/>
                      <a:pt x="96" y="29"/>
                      <a:pt x="96" y="29"/>
                    </a:cubicBezTo>
                    <a:cubicBezTo>
                      <a:pt x="99" y="29"/>
                      <a:pt x="99" y="29"/>
                      <a:pt x="99" y="29"/>
                    </a:cubicBezTo>
                    <a:cubicBezTo>
                      <a:pt x="102" y="29"/>
                      <a:pt x="102" y="29"/>
                      <a:pt x="102" y="29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95" y="33"/>
                      <a:pt x="95" y="33"/>
                      <a:pt x="95" y="33"/>
                    </a:cubicBezTo>
                    <a:cubicBezTo>
                      <a:pt x="94" y="35"/>
                      <a:pt x="94" y="35"/>
                      <a:pt x="94" y="35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83" y="44"/>
                      <a:pt x="83" y="44"/>
                      <a:pt x="83" y="44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77" y="47"/>
                      <a:pt x="77" y="47"/>
                      <a:pt x="77" y="47"/>
                    </a:cubicBezTo>
                    <a:cubicBezTo>
                      <a:pt x="74" y="47"/>
                      <a:pt x="74" y="47"/>
                      <a:pt x="74" y="47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37"/>
                      <a:pt x="64" y="37"/>
                      <a:pt x="64" y="37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5"/>
                      <a:pt x="55" y="35"/>
                      <a:pt x="55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37" y="51"/>
                      <a:pt x="37" y="51"/>
                      <a:pt x="37" y="51"/>
                    </a:cubicBezTo>
                    <a:cubicBezTo>
                      <a:pt x="37" y="56"/>
                      <a:pt x="37" y="56"/>
                      <a:pt x="37" y="56"/>
                    </a:cubicBezTo>
                    <a:cubicBezTo>
                      <a:pt x="39" y="58"/>
                      <a:pt x="39" y="58"/>
                      <a:pt x="39" y="58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5" y="66"/>
                      <a:pt x="45" y="66"/>
                      <a:pt x="45" y="66"/>
                    </a:cubicBezTo>
                    <a:cubicBezTo>
                      <a:pt x="45" y="69"/>
                      <a:pt x="45" y="69"/>
                      <a:pt x="45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39" y="91"/>
                      <a:pt x="39" y="91"/>
                      <a:pt x="39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3" y="96"/>
                      <a:pt x="33" y="96"/>
                      <a:pt x="33" y="96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29" y="98"/>
                      <a:pt x="29" y="98"/>
                      <a:pt x="29" y="98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11" y="106"/>
                      <a:pt x="11" y="106"/>
                      <a:pt x="11" y="106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9" y="110"/>
                      <a:pt x="9" y="110"/>
                      <a:pt x="9" y="110"/>
                    </a:cubicBezTo>
                    <a:cubicBezTo>
                      <a:pt x="8" y="111"/>
                      <a:pt x="8" y="111"/>
                      <a:pt x="8" y="111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7" y="119"/>
                      <a:pt x="7" y="119"/>
                      <a:pt x="7" y="119"/>
                    </a:cubicBezTo>
                    <a:cubicBezTo>
                      <a:pt x="8" y="121"/>
                      <a:pt x="8" y="121"/>
                      <a:pt x="8" y="121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2" y="124"/>
                      <a:pt x="2" y="124"/>
                      <a:pt x="2" y="124"/>
                    </a:cubicBezTo>
                    <a:cubicBezTo>
                      <a:pt x="2" y="126"/>
                      <a:pt x="2" y="126"/>
                      <a:pt x="2" y="12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8"/>
                      <a:pt x="2" y="128"/>
                      <a:pt x="2" y="128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3" y="138"/>
                      <a:pt x="3" y="138"/>
                      <a:pt x="3" y="138"/>
                    </a:cubicBezTo>
                    <a:cubicBezTo>
                      <a:pt x="8" y="146"/>
                      <a:pt x="8" y="146"/>
                      <a:pt x="8" y="146"/>
                    </a:cubicBezTo>
                    <a:cubicBezTo>
                      <a:pt x="6" y="149"/>
                      <a:pt x="6" y="149"/>
                      <a:pt x="6" y="149"/>
                    </a:cubicBezTo>
                    <a:cubicBezTo>
                      <a:pt x="12" y="148"/>
                      <a:pt x="12" y="148"/>
                      <a:pt x="12" y="148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7" y="152"/>
                      <a:pt x="17" y="152"/>
                      <a:pt x="17" y="152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21" y="155"/>
                      <a:pt x="21" y="155"/>
                      <a:pt x="21" y="155"/>
                    </a:cubicBezTo>
                    <a:cubicBezTo>
                      <a:pt x="26" y="155"/>
                      <a:pt x="26" y="155"/>
                      <a:pt x="26" y="155"/>
                    </a:cubicBezTo>
                    <a:cubicBezTo>
                      <a:pt x="30" y="151"/>
                      <a:pt x="30" y="151"/>
                      <a:pt x="30" y="151"/>
                    </a:cubicBezTo>
                    <a:cubicBezTo>
                      <a:pt x="34" y="149"/>
                      <a:pt x="34" y="149"/>
                      <a:pt x="34" y="149"/>
                    </a:cubicBezTo>
                    <a:cubicBezTo>
                      <a:pt x="35" y="150"/>
                      <a:pt x="35" y="150"/>
                      <a:pt x="35" y="150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7"/>
                      <a:pt x="34" y="157"/>
                      <a:pt x="34" y="157"/>
                    </a:cubicBezTo>
                    <a:cubicBezTo>
                      <a:pt x="34" y="163"/>
                      <a:pt x="34" y="163"/>
                      <a:pt x="34" y="163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35" y="166"/>
                      <a:pt x="35" y="166"/>
                      <a:pt x="35" y="166"/>
                    </a:cubicBezTo>
                    <a:cubicBezTo>
                      <a:pt x="37" y="166"/>
                      <a:pt x="37" y="166"/>
                      <a:pt x="37" y="166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43" y="166"/>
                      <a:pt x="43" y="166"/>
                      <a:pt x="43" y="166"/>
                    </a:cubicBezTo>
                    <a:cubicBezTo>
                      <a:pt x="44" y="166"/>
                      <a:pt x="44" y="166"/>
                      <a:pt x="44" y="166"/>
                    </a:cubicBezTo>
                    <a:cubicBezTo>
                      <a:pt x="44" y="166"/>
                      <a:pt x="44" y="166"/>
                      <a:pt x="44" y="166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3" y="166"/>
                      <a:pt x="53" y="166"/>
                      <a:pt x="53" y="166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7" y="164"/>
                      <a:pt x="57" y="164"/>
                      <a:pt x="57" y="164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61" y="163"/>
                      <a:pt x="61" y="163"/>
                      <a:pt x="61" y="163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6" y="157"/>
                      <a:pt x="66" y="157"/>
                      <a:pt x="66" y="157"/>
                    </a:cubicBezTo>
                    <a:cubicBezTo>
                      <a:pt x="70" y="154"/>
                      <a:pt x="70" y="154"/>
                      <a:pt x="70" y="154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7" y="152"/>
                      <a:pt x="77" y="152"/>
                      <a:pt x="77" y="152"/>
                    </a:cubicBezTo>
                    <a:cubicBezTo>
                      <a:pt x="79" y="152"/>
                      <a:pt x="79" y="152"/>
                      <a:pt x="79" y="152"/>
                    </a:cubicBezTo>
                    <a:cubicBezTo>
                      <a:pt x="81" y="154"/>
                      <a:pt x="81" y="154"/>
                      <a:pt x="81" y="154"/>
                    </a:cubicBezTo>
                    <a:cubicBezTo>
                      <a:pt x="83" y="152"/>
                      <a:pt x="83" y="152"/>
                      <a:pt x="83" y="152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5" y="159"/>
                      <a:pt x="85" y="159"/>
                      <a:pt x="85" y="159"/>
                    </a:cubicBezTo>
                    <a:cubicBezTo>
                      <a:pt x="83" y="162"/>
                      <a:pt x="83" y="162"/>
                      <a:pt x="83" y="162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4" y="168"/>
                      <a:pt x="84" y="168"/>
                      <a:pt x="84" y="168"/>
                    </a:cubicBezTo>
                    <a:cubicBezTo>
                      <a:pt x="85" y="172"/>
                      <a:pt x="85" y="172"/>
                      <a:pt x="85" y="172"/>
                    </a:cubicBezTo>
                    <a:cubicBezTo>
                      <a:pt x="88" y="173"/>
                      <a:pt x="88" y="173"/>
                      <a:pt x="88" y="173"/>
                    </a:cubicBezTo>
                    <a:cubicBezTo>
                      <a:pt x="88" y="176"/>
                      <a:pt x="88" y="176"/>
                      <a:pt x="88" y="176"/>
                    </a:cubicBezTo>
                    <a:cubicBezTo>
                      <a:pt x="91" y="177"/>
                      <a:pt x="91" y="177"/>
                      <a:pt x="91" y="177"/>
                    </a:cubicBezTo>
                    <a:cubicBezTo>
                      <a:pt x="94" y="179"/>
                      <a:pt x="94" y="179"/>
                      <a:pt x="94" y="179"/>
                    </a:cubicBezTo>
                    <a:cubicBezTo>
                      <a:pt x="96" y="181"/>
                      <a:pt x="96" y="181"/>
                      <a:pt x="96" y="181"/>
                    </a:cubicBezTo>
                    <a:cubicBezTo>
                      <a:pt x="97" y="180"/>
                      <a:pt x="97" y="180"/>
                      <a:pt x="97" y="180"/>
                    </a:cubicBezTo>
                    <a:cubicBezTo>
                      <a:pt x="101" y="179"/>
                      <a:pt x="101" y="179"/>
                      <a:pt x="101" y="179"/>
                    </a:cubicBezTo>
                    <a:cubicBezTo>
                      <a:pt x="104" y="183"/>
                      <a:pt x="104" y="183"/>
                      <a:pt x="104" y="183"/>
                    </a:cubicBezTo>
                    <a:cubicBezTo>
                      <a:pt x="107" y="182"/>
                      <a:pt x="107" y="182"/>
                      <a:pt x="107" y="182"/>
                    </a:cubicBezTo>
                    <a:cubicBezTo>
                      <a:pt x="110" y="186"/>
                      <a:pt x="110" y="186"/>
                      <a:pt x="110" y="186"/>
                    </a:cubicBezTo>
                    <a:cubicBezTo>
                      <a:pt x="112" y="186"/>
                      <a:pt x="112" y="186"/>
                      <a:pt x="112" y="186"/>
                    </a:cubicBezTo>
                    <a:cubicBezTo>
                      <a:pt x="116" y="187"/>
                      <a:pt x="116" y="187"/>
                      <a:pt x="116" y="187"/>
                    </a:cubicBezTo>
                    <a:cubicBezTo>
                      <a:pt x="118" y="188"/>
                      <a:pt x="118" y="188"/>
                      <a:pt x="118" y="188"/>
                    </a:cubicBezTo>
                    <a:cubicBezTo>
                      <a:pt x="119" y="191"/>
                      <a:pt x="119" y="191"/>
                      <a:pt x="119" y="191"/>
                    </a:cubicBezTo>
                    <a:cubicBezTo>
                      <a:pt x="121" y="192"/>
                      <a:pt x="121" y="192"/>
                      <a:pt x="121" y="192"/>
                    </a:cubicBezTo>
                    <a:cubicBezTo>
                      <a:pt x="124" y="193"/>
                      <a:pt x="124" y="193"/>
                      <a:pt x="124" y="193"/>
                    </a:cubicBezTo>
                    <a:cubicBezTo>
                      <a:pt x="129" y="192"/>
                      <a:pt x="129" y="192"/>
                      <a:pt x="129" y="192"/>
                    </a:cubicBezTo>
                    <a:cubicBezTo>
                      <a:pt x="133" y="195"/>
                      <a:pt x="133" y="195"/>
                      <a:pt x="133" y="195"/>
                    </a:cubicBezTo>
                    <a:cubicBezTo>
                      <a:pt x="134" y="196"/>
                      <a:pt x="134" y="196"/>
                      <a:pt x="134" y="196"/>
                    </a:cubicBezTo>
                    <a:cubicBezTo>
                      <a:pt x="133" y="201"/>
                      <a:pt x="133" y="201"/>
                      <a:pt x="133" y="201"/>
                    </a:cubicBezTo>
                    <a:cubicBezTo>
                      <a:pt x="134" y="205"/>
                      <a:pt x="134" y="205"/>
                      <a:pt x="134" y="205"/>
                    </a:cubicBezTo>
                    <a:cubicBezTo>
                      <a:pt x="133" y="207"/>
                      <a:pt x="133" y="207"/>
                      <a:pt x="133" y="207"/>
                    </a:cubicBezTo>
                    <a:cubicBezTo>
                      <a:pt x="137" y="213"/>
                      <a:pt x="137" y="213"/>
                      <a:pt x="137" y="213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54" y="224"/>
                      <a:pt x="154" y="224"/>
                      <a:pt x="154" y="224"/>
                    </a:cubicBezTo>
                    <a:cubicBezTo>
                      <a:pt x="154" y="228"/>
                      <a:pt x="154" y="228"/>
                      <a:pt x="154" y="228"/>
                    </a:cubicBezTo>
                    <a:cubicBezTo>
                      <a:pt x="159" y="230"/>
                      <a:pt x="159" y="230"/>
                      <a:pt x="159" y="230"/>
                    </a:cubicBezTo>
                    <a:cubicBezTo>
                      <a:pt x="164" y="239"/>
                      <a:pt x="164" y="239"/>
                      <a:pt x="164" y="239"/>
                    </a:cubicBezTo>
                    <a:cubicBezTo>
                      <a:pt x="164" y="244"/>
                      <a:pt x="164" y="244"/>
                      <a:pt x="164" y="244"/>
                    </a:cubicBezTo>
                    <a:cubicBezTo>
                      <a:pt x="160" y="253"/>
                      <a:pt x="160" y="253"/>
                      <a:pt x="160" y="253"/>
                    </a:cubicBezTo>
                    <a:cubicBezTo>
                      <a:pt x="160" y="255"/>
                      <a:pt x="160" y="255"/>
                      <a:pt x="160" y="255"/>
                    </a:cubicBezTo>
                    <a:cubicBezTo>
                      <a:pt x="159" y="257"/>
                      <a:pt x="159" y="257"/>
                      <a:pt x="159" y="257"/>
                    </a:cubicBezTo>
                    <a:cubicBezTo>
                      <a:pt x="159" y="258"/>
                      <a:pt x="159" y="258"/>
                      <a:pt x="159" y="258"/>
                    </a:cubicBezTo>
                    <a:cubicBezTo>
                      <a:pt x="159" y="260"/>
                      <a:pt x="159" y="260"/>
                      <a:pt x="159" y="260"/>
                    </a:cubicBezTo>
                    <a:cubicBezTo>
                      <a:pt x="161" y="262"/>
                      <a:pt x="161" y="262"/>
                      <a:pt x="161" y="262"/>
                    </a:cubicBezTo>
                    <a:cubicBezTo>
                      <a:pt x="161" y="265"/>
                      <a:pt x="161" y="265"/>
                      <a:pt x="161" y="265"/>
                    </a:cubicBezTo>
                    <a:cubicBezTo>
                      <a:pt x="163" y="268"/>
                      <a:pt x="163" y="268"/>
                      <a:pt x="163" y="268"/>
                    </a:cubicBezTo>
                    <a:cubicBezTo>
                      <a:pt x="162" y="274"/>
                      <a:pt x="162" y="274"/>
                      <a:pt x="162" y="274"/>
                    </a:cubicBezTo>
                    <a:cubicBezTo>
                      <a:pt x="163" y="276"/>
                      <a:pt x="163" y="276"/>
                      <a:pt x="163" y="276"/>
                    </a:cubicBezTo>
                    <a:cubicBezTo>
                      <a:pt x="162" y="278"/>
                      <a:pt x="162" y="278"/>
                      <a:pt x="162" y="278"/>
                    </a:cubicBezTo>
                    <a:cubicBezTo>
                      <a:pt x="163" y="280"/>
                      <a:pt x="163" y="280"/>
                      <a:pt x="163" y="280"/>
                    </a:cubicBezTo>
                    <a:cubicBezTo>
                      <a:pt x="167" y="280"/>
                      <a:pt x="167" y="280"/>
                      <a:pt x="167" y="280"/>
                    </a:cubicBezTo>
                    <a:cubicBezTo>
                      <a:pt x="168" y="281"/>
                      <a:pt x="168" y="281"/>
                      <a:pt x="168" y="281"/>
                    </a:cubicBezTo>
                    <a:cubicBezTo>
                      <a:pt x="173" y="280"/>
                      <a:pt x="173" y="280"/>
                      <a:pt x="173" y="280"/>
                    </a:cubicBezTo>
                    <a:cubicBezTo>
                      <a:pt x="175" y="281"/>
                      <a:pt x="175" y="281"/>
                      <a:pt x="175" y="281"/>
                    </a:cubicBezTo>
                    <a:cubicBezTo>
                      <a:pt x="180" y="280"/>
                      <a:pt x="180" y="280"/>
                      <a:pt x="180" y="280"/>
                    </a:cubicBezTo>
                    <a:cubicBezTo>
                      <a:pt x="182" y="281"/>
                      <a:pt x="182" y="281"/>
                      <a:pt x="182" y="281"/>
                    </a:cubicBezTo>
                    <a:cubicBezTo>
                      <a:pt x="184" y="282"/>
                      <a:pt x="184" y="282"/>
                      <a:pt x="184" y="282"/>
                    </a:cubicBezTo>
                    <a:cubicBezTo>
                      <a:pt x="185" y="284"/>
                      <a:pt x="185" y="284"/>
                      <a:pt x="185" y="284"/>
                    </a:cubicBezTo>
                    <a:cubicBezTo>
                      <a:pt x="187" y="295"/>
                      <a:pt x="187" y="295"/>
                      <a:pt x="187" y="295"/>
                    </a:cubicBezTo>
                    <a:cubicBezTo>
                      <a:pt x="189" y="299"/>
                      <a:pt x="189" y="299"/>
                      <a:pt x="189" y="299"/>
                    </a:cubicBezTo>
                    <a:cubicBezTo>
                      <a:pt x="191" y="299"/>
                      <a:pt x="191" y="299"/>
                      <a:pt x="191" y="299"/>
                    </a:cubicBezTo>
                    <a:cubicBezTo>
                      <a:pt x="194" y="297"/>
                      <a:pt x="194" y="297"/>
                      <a:pt x="194" y="297"/>
                    </a:cubicBezTo>
                    <a:cubicBezTo>
                      <a:pt x="197" y="298"/>
                      <a:pt x="197" y="298"/>
                      <a:pt x="197" y="298"/>
                    </a:cubicBezTo>
                    <a:cubicBezTo>
                      <a:pt x="198" y="299"/>
                      <a:pt x="198" y="299"/>
                      <a:pt x="198" y="299"/>
                    </a:cubicBezTo>
                    <a:cubicBezTo>
                      <a:pt x="199" y="300"/>
                      <a:pt x="199" y="300"/>
                      <a:pt x="199" y="300"/>
                    </a:cubicBezTo>
                    <a:cubicBezTo>
                      <a:pt x="198" y="301"/>
                      <a:pt x="198" y="301"/>
                      <a:pt x="198" y="301"/>
                    </a:cubicBezTo>
                    <a:cubicBezTo>
                      <a:pt x="198" y="310"/>
                      <a:pt x="198" y="310"/>
                      <a:pt x="198" y="310"/>
                    </a:cubicBezTo>
                    <a:cubicBezTo>
                      <a:pt x="198" y="312"/>
                      <a:pt x="198" y="312"/>
                      <a:pt x="198" y="312"/>
                    </a:cubicBezTo>
                    <a:cubicBezTo>
                      <a:pt x="198" y="312"/>
                      <a:pt x="198" y="312"/>
                      <a:pt x="198" y="312"/>
                    </a:cubicBezTo>
                    <a:cubicBezTo>
                      <a:pt x="198" y="313"/>
                      <a:pt x="198" y="313"/>
                      <a:pt x="198" y="313"/>
                    </a:cubicBezTo>
                    <a:cubicBezTo>
                      <a:pt x="197" y="314"/>
                      <a:pt x="197" y="314"/>
                      <a:pt x="197" y="314"/>
                    </a:cubicBezTo>
                    <a:cubicBezTo>
                      <a:pt x="197" y="315"/>
                      <a:pt x="197" y="315"/>
                      <a:pt x="197" y="315"/>
                    </a:cubicBezTo>
                    <a:cubicBezTo>
                      <a:pt x="199" y="314"/>
                      <a:pt x="199" y="314"/>
                      <a:pt x="199" y="314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204" y="317"/>
                      <a:pt x="204" y="317"/>
                      <a:pt x="204" y="317"/>
                    </a:cubicBezTo>
                    <a:cubicBezTo>
                      <a:pt x="205" y="321"/>
                      <a:pt x="205" y="321"/>
                      <a:pt x="205" y="321"/>
                    </a:cubicBezTo>
                    <a:cubicBezTo>
                      <a:pt x="205" y="324"/>
                      <a:pt x="205" y="324"/>
                      <a:pt x="205" y="324"/>
                    </a:cubicBezTo>
                    <a:cubicBezTo>
                      <a:pt x="206" y="328"/>
                      <a:pt x="206" y="328"/>
                      <a:pt x="206" y="328"/>
                    </a:cubicBezTo>
                    <a:cubicBezTo>
                      <a:pt x="206" y="332"/>
                      <a:pt x="206" y="332"/>
                      <a:pt x="206" y="332"/>
                    </a:cubicBezTo>
                    <a:cubicBezTo>
                      <a:pt x="205" y="333"/>
                      <a:pt x="205" y="333"/>
                      <a:pt x="205" y="333"/>
                    </a:cubicBezTo>
                    <a:cubicBezTo>
                      <a:pt x="203" y="333"/>
                      <a:pt x="203" y="333"/>
                      <a:pt x="203" y="333"/>
                    </a:cubicBezTo>
                    <a:cubicBezTo>
                      <a:pt x="201" y="335"/>
                      <a:pt x="201" y="335"/>
                      <a:pt x="201" y="335"/>
                    </a:cubicBezTo>
                    <a:cubicBezTo>
                      <a:pt x="201" y="335"/>
                      <a:pt x="201" y="335"/>
                      <a:pt x="201" y="335"/>
                    </a:cubicBezTo>
                    <a:cubicBezTo>
                      <a:pt x="199" y="337"/>
                      <a:pt x="199" y="337"/>
                      <a:pt x="199" y="337"/>
                    </a:cubicBezTo>
                    <a:cubicBezTo>
                      <a:pt x="199" y="336"/>
                      <a:pt x="199" y="336"/>
                      <a:pt x="199" y="336"/>
                    </a:cubicBezTo>
                    <a:cubicBezTo>
                      <a:pt x="195" y="339"/>
                      <a:pt x="195" y="339"/>
                      <a:pt x="195" y="339"/>
                    </a:cubicBezTo>
                    <a:cubicBezTo>
                      <a:pt x="194" y="340"/>
                      <a:pt x="194" y="340"/>
                      <a:pt x="194" y="340"/>
                    </a:cubicBezTo>
                    <a:cubicBezTo>
                      <a:pt x="192" y="341"/>
                      <a:pt x="192" y="341"/>
                      <a:pt x="192" y="341"/>
                    </a:cubicBezTo>
                    <a:cubicBezTo>
                      <a:pt x="189" y="344"/>
                      <a:pt x="189" y="344"/>
                      <a:pt x="189" y="344"/>
                    </a:cubicBezTo>
                    <a:cubicBezTo>
                      <a:pt x="188" y="344"/>
                      <a:pt x="188" y="344"/>
                      <a:pt x="188" y="344"/>
                    </a:cubicBezTo>
                    <a:cubicBezTo>
                      <a:pt x="188" y="347"/>
                      <a:pt x="188" y="347"/>
                      <a:pt x="188" y="347"/>
                    </a:cubicBezTo>
                    <a:cubicBezTo>
                      <a:pt x="186" y="347"/>
                      <a:pt x="186" y="347"/>
                      <a:pt x="186" y="347"/>
                    </a:cubicBezTo>
                    <a:cubicBezTo>
                      <a:pt x="185" y="347"/>
                      <a:pt x="185" y="347"/>
                      <a:pt x="185" y="347"/>
                    </a:cubicBezTo>
                    <a:cubicBezTo>
                      <a:pt x="182" y="351"/>
                      <a:pt x="182" y="351"/>
                      <a:pt x="182" y="351"/>
                    </a:cubicBezTo>
                    <a:cubicBezTo>
                      <a:pt x="181" y="352"/>
                      <a:pt x="181" y="352"/>
                      <a:pt x="181" y="352"/>
                    </a:cubicBezTo>
                    <a:cubicBezTo>
                      <a:pt x="181" y="354"/>
                      <a:pt x="181" y="354"/>
                      <a:pt x="181" y="354"/>
                    </a:cubicBezTo>
                    <a:cubicBezTo>
                      <a:pt x="180" y="355"/>
                      <a:pt x="180" y="355"/>
                      <a:pt x="180" y="355"/>
                    </a:cubicBezTo>
                    <a:cubicBezTo>
                      <a:pt x="179" y="356"/>
                      <a:pt x="179" y="356"/>
                      <a:pt x="179" y="356"/>
                    </a:cubicBezTo>
                    <a:cubicBezTo>
                      <a:pt x="177" y="360"/>
                      <a:pt x="177" y="360"/>
                      <a:pt x="177" y="360"/>
                    </a:cubicBezTo>
                    <a:cubicBezTo>
                      <a:pt x="176" y="361"/>
                      <a:pt x="176" y="361"/>
                      <a:pt x="176" y="361"/>
                    </a:cubicBezTo>
                    <a:cubicBezTo>
                      <a:pt x="174" y="364"/>
                      <a:pt x="174" y="364"/>
                      <a:pt x="174" y="364"/>
                    </a:cubicBezTo>
                    <a:cubicBezTo>
                      <a:pt x="174" y="365"/>
                      <a:pt x="174" y="365"/>
                      <a:pt x="174" y="365"/>
                    </a:cubicBezTo>
                    <a:cubicBezTo>
                      <a:pt x="173" y="366"/>
                      <a:pt x="173" y="366"/>
                      <a:pt x="173" y="366"/>
                    </a:cubicBezTo>
                    <a:cubicBezTo>
                      <a:pt x="172" y="367"/>
                      <a:pt x="172" y="367"/>
                      <a:pt x="172" y="367"/>
                    </a:cubicBezTo>
                    <a:cubicBezTo>
                      <a:pt x="174" y="367"/>
                      <a:pt x="174" y="367"/>
                      <a:pt x="174" y="367"/>
                    </a:cubicBezTo>
                    <a:cubicBezTo>
                      <a:pt x="175" y="367"/>
                      <a:pt x="175" y="367"/>
                      <a:pt x="175" y="367"/>
                    </a:cubicBezTo>
                    <a:cubicBezTo>
                      <a:pt x="180" y="366"/>
                      <a:pt x="180" y="366"/>
                      <a:pt x="180" y="366"/>
                    </a:cubicBezTo>
                    <a:cubicBezTo>
                      <a:pt x="182" y="367"/>
                      <a:pt x="182" y="367"/>
                      <a:pt x="182" y="367"/>
                    </a:cubicBezTo>
                    <a:cubicBezTo>
                      <a:pt x="184" y="370"/>
                      <a:pt x="184" y="370"/>
                      <a:pt x="184" y="370"/>
                    </a:cubicBezTo>
                    <a:cubicBezTo>
                      <a:pt x="186" y="371"/>
                      <a:pt x="186" y="371"/>
                      <a:pt x="186" y="371"/>
                    </a:cubicBezTo>
                    <a:cubicBezTo>
                      <a:pt x="187" y="374"/>
                      <a:pt x="187" y="374"/>
                      <a:pt x="187" y="374"/>
                    </a:cubicBezTo>
                    <a:cubicBezTo>
                      <a:pt x="189" y="378"/>
                      <a:pt x="189" y="378"/>
                      <a:pt x="189" y="378"/>
                    </a:cubicBezTo>
                    <a:cubicBezTo>
                      <a:pt x="190" y="378"/>
                      <a:pt x="190" y="378"/>
                      <a:pt x="190" y="378"/>
                    </a:cubicBezTo>
                    <a:cubicBezTo>
                      <a:pt x="192" y="376"/>
                      <a:pt x="192" y="376"/>
                      <a:pt x="192" y="376"/>
                    </a:cubicBezTo>
                    <a:cubicBezTo>
                      <a:pt x="193" y="376"/>
                      <a:pt x="193" y="376"/>
                      <a:pt x="193" y="376"/>
                    </a:cubicBezTo>
                    <a:cubicBezTo>
                      <a:pt x="196" y="380"/>
                      <a:pt x="196" y="380"/>
                      <a:pt x="196" y="380"/>
                    </a:cubicBezTo>
                    <a:cubicBezTo>
                      <a:pt x="198" y="381"/>
                      <a:pt x="198" y="381"/>
                      <a:pt x="198" y="381"/>
                    </a:cubicBezTo>
                    <a:cubicBezTo>
                      <a:pt x="200" y="381"/>
                      <a:pt x="200" y="381"/>
                      <a:pt x="200" y="381"/>
                    </a:cubicBezTo>
                    <a:cubicBezTo>
                      <a:pt x="203" y="384"/>
                      <a:pt x="203" y="384"/>
                      <a:pt x="203" y="384"/>
                    </a:cubicBezTo>
                    <a:cubicBezTo>
                      <a:pt x="203" y="386"/>
                      <a:pt x="203" y="386"/>
                      <a:pt x="203" y="386"/>
                    </a:cubicBezTo>
                    <a:cubicBezTo>
                      <a:pt x="205" y="386"/>
                      <a:pt x="205" y="386"/>
                      <a:pt x="205" y="386"/>
                    </a:cubicBezTo>
                    <a:cubicBezTo>
                      <a:pt x="209" y="388"/>
                      <a:pt x="209" y="388"/>
                      <a:pt x="209" y="388"/>
                    </a:cubicBezTo>
                    <a:cubicBezTo>
                      <a:pt x="211" y="391"/>
                      <a:pt x="211" y="391"/>
                      <a:pt x="211" y="391"/>
                    </a:cubicBezTo>
                    <a:cubicBezTo>
                      <a:pt x="213" y="394"/>
                      <a:pt x="213" y="394"/>
                      <a:pt x="213" y="394"/>
                    </a:cubicBezTo>
                    <a:cubicBezTo>
                      <a:pt x="215" y="396"/>
                      <a:pt x="215" y="396"/>
                      <a:pt x="215" y="396"/>
                    </a:cubicBezTo>
                    <a:cubicBezTo>
                      <a:pt x="215" y="399"/>
                      <a:pt x="215" y="399"/>
                      <a:pt x="215" y="399"/>
                    </a:cubicBezTo>
                    <a:cubicBezTo>
                      <a:pt x="213" y="401"/>
                      <a:pt x="213" y="401"/>
                      <a:pt x="213" y="401"/>
                    </a:cubicBezTo>
                    <a:cubicBezTo>
                      <a:pt x="214" y="404"/>
                      <a:pt x="214" y="404"/>
                      <a:pt x="214" y="404"/>
                    </a:cubicBezTo>
                    <a:cubicBezTo>
                      <a:pt x="214" y="405"/>
                      <a:pt x="214" y="405"/>
                      <a:pt x="214" y="405"/>
                    </a:cubicBezTo>
                    <a:cubicBezTo>
                      <a:pt x="215" y="405"/>
                      <a:pt x="215" y="405"/>
                      <a:pt x="215" y="405"/>
                    </a:cubicBezTo>
                    <a:cubicBezTo>
                      <a:pt x="216" y="407"/>
                      <a:pt x="216" y="407"/>
                      <a:pt x="216" y="407"/>
                    </a:cubicBezTo>
                    <a:cubicBezTo>
                      <a:pt x="216" y="407"/>
                      <a:pt x="216" y="407"/>
                      <a:pt x="216" y="407"/>
                    </a:cubicBezTo>
                    <a:cubicBezTo>
                      <a:pt x="220" y="404"/>
                      <a:pt x="220" y="404"/>
                      <a:pt x="220" y="404"/>
                    </a:cubicBezTo>
                    <a:cubicBezTo>
                      <a:pt x="221" y="401"/>
                      <a:pt x="221" y="401"/>
                      <a:pt x="221" y="401"/>
                    </a:cubicBezTo>
                    <a:cubicBezTo>
                      <a:pt x="223" y="394"/>
                      <a:pt x="223" y="394"/>
                      <a:pt x="223" y="394"/>
                    </a:cubicBezTo>
                    <a:cubicBezTo>
                      <a:pt x="224" y="390"/>
                      <a:pt x="224" y="390"/>
                      <a:pt x="224" y="390"/>
                    </a:cubicBezTo>
                    <a:cubicBezTo>
                      <a:pt x="225" y="389"/>
                      <a:pt x="225" y="389"/>
                      <a:pt x="225" y="389"/>
                    </a:cubicBezTo>
                    <a:cubicBezTo>
                      <a:pt x="224" y="388"/>
                      <a:pt x="224" y="388"/>
                      <a:pt x="224" y="388"/>
                    </a:cubicBezTo>
                    <a:cubicBezTo>
                      <a:pt x="223" y="385"/>
                      <a:pt x="223" y="385"/>
                      <a:pt x="223" y="385"/>
                    </a:cubicBezTo>
                    <a:cubicBezTo>
                      <a:pt x="223" y="383"/>
                      <a:pt x="223" y="383"/>
                      <a:pt x="223" y="383"/>
                    </a:cubicBezTo>
                    <a:cubicBezTo>
                      <a:pt x="225" y="383"/>
                      <a:pt x="225" y="383"/>
                      <a:pt x="225" y="383"/>
                    </a:cubicBezTo>
                    <a:cubicBezTo>
                      <a:pt x="225" y="381"/>
                      <a:pt x="225" y="381"/>
                      <a:pt x="225" y="381"/>
                    </a:cubicBezTo>
                    <a:cubicBezTo>
                      <a:pt x="226" y="379"/>
                      <a:pt x="226" y="379"/>
                      <a:pt x="226" y="379"/>
                    </a:cubicBezTo>
                    <a:cubicBezTo>
                      <a:pt x="226" y="378"/>
                      <a:pt x="226" y="378"/>
                      <a:pt x="226" y="378"/>
                    </a:cubicBezTo>
                    <a:cubicBezTo>
                      <a:pt x="227" y="379"/>
                      <a:pt x="227" y="379"/>
                      <a:pt x="227" y="379"/>
                    </a:cubicBezTo>
                    <a:cubicBezTo>
                      <a:pt x="229" y="379"/>
                      <a:pt x="229" y="379"/>
                      <a:pt x="229" y="379"/>
                    </a:cubicBezTo>
                    <a:cubicBezTo>
                      <a:pt x="230" y="377"/>
                      <a:pt x="230" y="377"/>
                      <a:pt x="230" y="377"/>
                    </a:cubicBezTo>
                    <a:cubicBezTo>
                      <a:pt x="231" y="375"/>
                      <a:pt x="231" y="375"/>
                      <a:pt x="231" y="375"/>
                    </a:cubicBezTo>
                    <a:cubicBezTo>
                      <a:pt x="231" y="374"/>
                      <a:pt x="231" y="374"/>
                      <a:pt x="231" y="374"/>
                    </a:cubicBezTo>
                    <a:cubicBezTo>
                      <a:pt x="231" y="372"/>
                      <a:pt x="231" y="372"/>
                      <a:pt x="231" y="372"/>
                    </a:cubicBezTo>
                    <a:cubicBezTo>
                      <a:pt x="232" y="371"/>
                      <a:pt x="232" y="371"/>
                      <a:pt x="232" y="371"/>
                    </a:cubicBezTo>
                    <a:cubicBezTo>
                      <a:pt x="233" y="371"/>
                      <a:pt x="233" y="371"/>
                      <a:pt x="233" y="371"/>
                    </a:cubicBezTo>
                    <a:cubicBezTo>
                      <a:pt x="234" y="369"/>
                      <a:pt x="234" y="369"/>
                      <a:pt x="234" y="369"/>
                    </a:cubicBezTo>
                    <a:cubicBezTo>
                      <a:pt x="233" y="368"/>
                      <a:pt x="233" y="368"/>
                      <a:pt x="233" y="368"/>
                    </a:cubicBezTo>
                    <a:cubicBezTo>
                      <a:pt x="232" y="367"/>
                      <a:pt x="232" y="367"/>
                      <a:pt x="232" y="367"/>
                    </a:cubicBezTo>
                    <a:cubicBezTo>
                      <a:pt x="232" y="364"/>
                      <a:pt x="232" y="364"/>
                      <a:pt x="232" y="364"/>
                    </a:cubicBezTo>
                    <a:cubicBezTo>
                      <a:pt x="231" y="363"/>
                      <a:pt x="231" y="363"/>
                      <a:pt x="231" y="363"/>
                    </a:cubicBezTo>
                    <a:cubicBezTo>
                      <a:pt x="232" y="363"/>
                      <a:pt x="232" y="363"/>
                      <a:pt x="232" y="363"/>
                    </a:cubicBezTo>
                    <a:cubicBezTo>
                      <a:pt x="234" y="366"/>
                      <a:pt x="234" y="366"/>
                      <a:pt x="234" y="366"/>
                    </a:cubicBezTo>
                    <a:cubicBezTo>
                      <a:pt x="236" y="368"/>
                      <a:pt x="236" y="368"/>
                      <a:pt x="236" y="368"/>
                    </a:cubicBezTo>
                    <a:cubicBezTo>
                      <a:pt x="237" y="368"/>
                      <a:pt x="237" y="368"/>
                      <a:pt x="237" y="368"/>
                    </a:cubicBezTo>
                    <a:cubicBezTo>
                      <a:pt x="238" y="368"/>
                      <a:pt x="238" y="368"/>
                      <a:pt x="238" y="368"/>
                    </a:cubicBezTo>
                    <a:cubicBezTo>
                      <a:pt x="238" y="368"/>
                      <a:pt x="238" y="368"/>
                      <a:pt x="238" y="368"/>
                    </a:cubicBezTo>
                    <a:cubicBezTo>
                      <a:pt x="239" y="370"/>
                      <a:pt x="239" y="370"/>
                      <a:pt x="239" y="370"/>
                    </a:cubicBezTo>
                    <a:cubicBezTo>
                      <a:pt x="238" y="370"/>
                      <a:pt x="238" y="370"/>
                      <a:pt x="238" y="370"/>
                    </a:cubicBezTo>
                    <a:cubicBezTo>
                      <a:pt x="237" y="374"/>
                      <a:pt x="237" y="374"/>
                      <a:pt x="237" y="374"/>
                    </a:cubicBezTo>
                    <a:cubicBezTo>
                      <a:pt x="235" y="377"/>
                      <a:pt x="235" y="377"/>
                      <a:pt x="235" y="377"/>
                    </a:cubicBezTo>
                    <a:cubicBezTo>
                      <a:pt x="233" y="378"/>
                      <a:pt x="233" y="378"/>
                      <a:pt x="233" y="378"/>
                    </a:cubicBezTo>
                    <a:cubicBezTo>
                      <a:pt x="232" y="380"/>
                      <a:pt x="232" y="380"/>
                      <a:pt x="232" y="380"/>
                    </a:cubicBezTo>
                    <a:cubicBezTo>
                      <a:pt x="232" y="381"/>
                      <a:pt x="232" y="381"/>
                      <a:pt x="232" y="381"/>
                    </a:cubicBezTo>
                    <a:cubicBezTo>
                      <a:pt x="231" y="381"/>
                      <a:pt x="231" y="381"/>
                      <a:pt x="231" y="381"/>
                    </a:cubicBezTo>
                    <a:cubicBezTo>
                      <a:pt x="229" y="382"/>
                      <a:pt x="229" y="382"/>
                      <a:pt x="229" y="382"/>
                    </a:cubicBezTo>
                    <a:cubicBezTo>
                      <a:pt x="228" y="384"/>
                      <a:pt x="228" y="384"/>
                      <a:pt x="228" y="384"/>
                    </a:cubicBezTo>
                    <a:cubicBezTo>
                      <a:pt x="227" y="385"/>
                      <a:pt x="227" y="385"/>
                      <a:pt x="227" y="385"/>
                    </a:cubicBezTo>
                    <a:cubicBezTo>
                      <a:pt x="226" y="385"/>
                      <a:pt x="226" y="385"/>
                      <a:pt x="226" y="385"/>
                    </a:cubicBezTo>
                    <a:cubicBezTo>
                      <a:pt x="225" y="386"/>
                      <a:pt x="225" y="386"/>
                      <a:pt x="225" y="386"/>
                    </a:cubicBezTo>
                    <a:cubicBezTo>
                      <a:pt x="225" y="387"/>
                      <a:pt x="225" y="387"/>
                      <a:pt x="225" y="387"/>
                    </a:cubicBezTo>
                    <a:cubicBezTo>
                      <a:pt x="227" y="387"/>
                      <a:pt x="227" y="387"/>
                      <a:pt x="227" y="387"/>
                    </a:cubicBezTo>
                    <a:cubicBezTo>
                      <a:pt x="233" y="382"/>
                      <a:pt x="233" y="382"/>
                      <a:pt x="233" y="382"/>
                    </a:cubicBezTo>
                    <a:cubicBezTo>
                      <a:pt x="236" y="379"/>
                      <a:pt x="236" y="379"/>
                      <a:pt x="236" y="379"/>
                    </a:cubicBezTo>
                    <a:cubicBezTo>
                      <a:pt x="241" y="371"/>
                      <a:pt x="241" y="371"/>
                      <a:pt x="241" y="371"/>
                    </a:cubicBezTo>
                    <a:cubicBezTo>
                      <a:pt x="242" y="367"/>
                      <a:pt x="242" y="367"/>
                      <a:pt x="242" y="367"/>
                    </a:cubicBezTo>
                    <a:cubicBezTo>
                      <a:pt x="244" y="362"/>
                      <a:pt x="244" y="362"/>
                      <a:pt x="244" y="362"/>
                    </a:cubicBezTo>
                    <a:cubicBezTo>
                      <a:pt x="249" y="353"/>
                      <a:pt x="249" y="353"/>
                      <a:pt x="249" y="353"/>
                    </a:cubicBezTo>
                    <a:cubicBezTo>
                      <a:pt x="253" y="348"/>
                      <a:pt x="253" y="348"/>
                      <a:pt x="253" y="348"/>
                    </a:cubicBezTo>
                    <a:cubicBezTo>
                      <a:pt x="254" y="346"/>
                      <a:pt x="254" y="346"/>
                      <a:pt x="254" y="346"/>
                    </a:cubicBezTo>
                    <a:cubicBezTo>
                      <a:pt x="253" y="346"/>
                      <a:pt x="253" y="346"/>
                      <a:pt x="253" y="346"/>
                    </a:cubicBezTo>
                    <a:cubicBezTo>
                      <a:pt x="253" y="344"/>
                      <a:pt x="253" y="344"/>
                      <a:pt x="253" y="344"/>
                    </a:cubicBezTo>
                    <a:cubicBezTo>
                      <a:pt x="254" y="344"/>
                      <a:pt x="254" y="344"/>
                      <a:pt x="254" y="344"/>
                    </a:cubicBezTo>
                    <a:cubicBezTo>
                      <a:pt x="255" y="342"/>
                      <a:pt x="255" y="342"/>
                      <a:pt x="255" y="342"/>
                    </a:cubicBezTo>
                    <a:cubicBezTo>
                      <a:pt x="256" y="341"/>
                      <a:pt x="256" y="341"/>
                      <a:pt x="256" y="341"/>
                    </a:cubicBezTo>
                    <a:cubicBezTo>
                      <a:pt x="256" y="339"/>
                      <a:pt x="256" y="339"/>
                      <a:pt x="256" y="339"/>
                    </a:cubicBezTo>
                    <a:cubicBezTo>
                      <a:pt x="256" y="338"/>
                      <a:pt x="256" y="338"/>
                      <a:pt x="256" y="338"/>
                    </a:cubicBezTo>
                    <a:cubicBezTo>
                      <a:pt x="256" y="338"/>
                      <a:pt x="256" y="338"/>
                      <a:pt x="256" y="338"/>
                    </a:cubicBezTo>
                    <a:cubicBezTo>
                      <a:pt x="255" y="337"/>
                      <a:pt x="255" y="337"/>
                      <a:pt x="255" y="337"/>
                    </a:cubicBezTo>
                    <a:cubicBezTo>
                      <a:pt x="255" y="335"/>
                      <a:pt x="255" y="335"/>
                      <a:pt x="255" y="335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31"/>
                      <a:pt x="253" y="331"/>
                      <a:pt x="253" y="331"/>
                    </a:cubicBezTo>
                    <a:cubicBezTo>
                      <a:pt x="254" y="330"/>
                      <a:pt x="254" y="330"/>
                      <a:pt x="254" y="330"/>
                    </a:cubicBezTo>
                    <a:cubicBezTo>
                      <a:pt x="253" y="328"/>
                      <a:pt x="253" y="328"/>
                      <a:pt x="253" y="328"/>
                    </a:cubicBezTo>
                    <a:cubicBezTo>
                      <a:pt x="253" y="326"/>
                      <a:pt x="253" y="326"/>
                      <a:pt x="253" y="326"/>
                    </a:cubicBezTo>
                    <a:cubicBezTo>
                      <a:pt x="252" y="323"/>
                      <a:pt x="252" y="323"/>
                      <a:pt x="252" y="323"/>
                    </a:cubicBezTo>
                    <a:cubicBezTo>
                      <a:pt x="253" y="322"/>
                      <a:pt x="253" y="322"/>
                      <a:pt x="253" y="322"/>
                    </a:cubicBezTo>
                    <a:cubicBezTo>
                      <a:pt x="255" y="321"/>
                      <a:pt x="255" y="321"/>
                      <a:pt x="255" y="321"/>
                    </a:cubicBezTo>
                    <a:cubicBezTo>
                      <a:pt x="254" y="320"/>
                      <a:pt x="254" y="320"/>
                      <a:pt x="254" y="320"/>
                    </a:cubicBezTo>
                    <a:cubicBezTo>
                      <a:pt x="253" y="319"/>
                      <a:pt x="253" y="319"/>
                      <a:pt x="253" y="319"/>
                    </a:cubicBezTo>
                    <a:cubicBezTo>
                      <a:pt x="255" y="318"/>
                      <a:pt x="255" y="318"/>
                      <a:pt x="255" y="318"/>
                    </a:cubicBezTo>
                    <a:cubicBezTo>
                      <a:pt x="256" y="317"/>
                      <a:pt x="256" y="317"/>
                      <a:pt x="256" y="317"/>
                    </a:cubicBezTo>
                    <a:cubicBezTo>
                      <a:pt x="253" y="315"/>
                      <a:pt x="253" y="315"/>
                      <a:pt x="253" y="315"/>
                    </a:cubicBezTo>
                    <a:cubicBezTo>
                      <a:pt x="255" y="315"/>
                      <a:pt x="255" y="315"/>
                      <a:pt x="255" y="315"/>
                    </a:cubicBezTo>
                    <a:cubicBezTo>
                      <a:pt x="256" y="313"/>
                      <a:pt x="256" y="313"/>
                      <a:pt x="256" y="313"/>
                    </a:cubicBezTo>
                    <a:cubicBezTo>
                      <a:pt x="257" y="314"/>
                      <a:pt x="257" y="314"/>
                      <a:pt x="257" y="314"/>
                    </a:cubicBezTo>
                    <a:cubicBezTo>
                      <a:pt x="260" y="311"/>
                      <a:pt x="260" y="311"/>
                      <a:pt x="260" y="311"/>
                    </a:cubicBezTo>
                    <a:cubicBezTo>
                      <a:pt x="262" y="310"/>
                      <a:pt x="262" y="310"/>
                      <a:pt x="262" y="310"/>
                    </a:cubicBezTo>
                    <a:cubicBezTo>
                      <a:pt x="262" y="309"/>
                      <a:pt x="262" y="309"/>
                      <a:pt x="262" y="309"/>
                    </a:cubicBezTo>
                    <a:cubicBezTo>
                      <a:pt x="265" y="306"/>
                      <a:pt x="265" y="306"/>
                      <a:pt x="265" y="306"/>
                    </a:cubicBezTo>
                    <a:cubicBezTo>
                      <a:pt x="268" y="304"/>
                      <a:pt x="268" y="304"/>
                      <a:pt x="268" y="304"/>
                    </a:cubicBezTo>
                    <a:cubicBezTo>
                      <a:pt x="272" y="300"/>
                      <a:pt x="272" y="300"/>
                      <a:pt x="272" y="300"/>
                    </a:cubicBezTo>
                    <a:cubicBezTo>
                      <a:pt x="275" y="299"/>
                      <a:pt x="275" y="299"/>
                      <a:pt x="275" y="299"/>
                    </a:cubicBezTo>
                    <a:cubicBezTo>
                      <a:pt x="277" y="297"/>
                      <a:pt x="277" y="297"/>
                      <a:pt x="277" y="297"/>
                    </a:cubicBezTo>
                    <a:cubicBezTo>
                      <a:pt x="279" y="296"/>
                      <a:pt x="279" y="296"/>
                      <a:pt x="279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2" y="297"/>
                      <a:pt x="282" y="297"/>
                      <a:pt x="282" y="297"/>
                    </a:cubicBezTo>
                    <a:cubicBezTo>
                      <a:pt x="284" y="297"/>
                      <a:pt x="284" y="297"/>
                      <a:pt x="284" y="297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3"/>
                      <a:pt x="285" y="293"/>
                      <a:pt x="285" y="293"/>
                    </a:cubicBezTo>
                    <a:cubicBezTo>
                      <a:pt x="290" y="290"/>
                      <a:pt x="290" y="290"/>
                      <a:pt x="290" y="290"/>
                    </a:cubicBezTo>
                    <a:cubicBezTo>
                      <a:pt x="291" y="290"/>
                      <a:pt x="291" y="290"/>
                      <a:pt x="291" y="290"/>
                    </a:cubicBezTo>
                    <a:cubicBezTo>
                      <a:pt x="291" y="289"/>
                      <a:pt x="291" y="289"/>
                      <a:pt x="291" y="289"/>
                    </a:cubicBezTo>
                    <a:cubicBezTo>
                      <a:pt x="290" y="289"/>
                      <a:pt x="290" y="289"/>
                      <a:pt x="290" y="289"/>
                    </a:cubicBezTo>
                    <a:cubicBezTo>
                      <a:pt x="289" y="288"/>
                      <a:pt x="289" y="288"/>
                      <a:pt x="289" y="288"/>
                    </a:cubicBezTo>
                    <a:cubicBezTo>
                      <a:pt x="288" y="287"/>
                      <a:pt x="288" y="287"/>
                      <a:pt x="288" y="287"/>
                    </a:cubicBezTo>
                    <a:cubicBezTo>
                      <a:pt x="290" y="287"/>
                      <a:pt x="290" y="287"/>
                      <a:pt x="290" y="287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94" y="286"/>
                      <a:pt x="294" y="286"/>
                      <a:pt x="294" y="286"/>
                    </a:cubicBezTo>
                    <a:cubicBezTo>
                      <a:pt x="295" y="285"/>
                      <a:pt x="295" y="285"/>
                      <a:pt x="295" y="285"/>
                    </a:cubicBezTo>
                    <a:cubicBezTo>
                      <a:pt x="296" y="284"/>
                      <a:pt x="296" y="284"/>
                      <a:pt x="296" y="284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8" y="285"/>
                      <a:pt x="298" y="285"/>
                      <a:pt x="298" y="285"/>
                    </a:cubicBezTo>
                    <a:cubicBezTo>
                      <a:pt x="296" y="287"/>
                      <a:pt x="296" y="287"/>
                      <a:pt x="296" y="287"/>
                    </a:cubicBezTo>
                    <a:cubicBezTo>
                      <a:pt x="293" y="287"/>
                      <a:pt x="293" y="287"/>
                      <a:pt x="293" y="287"/>
                    </a:cubicBezTo>
                    <a:cubicBezTo>
                      <a:pt x="293" y="288"/>
                      <a:pt x="293" y="288"/>
                      <a:pt x="293" y="288"/>
                    </a:cubicBezTo>
                    <a:cubicBezTo>
                      <a:pt x="294" y="288"/>
                      <a:pt x="294" y="288"/>
                      <a:pt x="294" y="288"/>
                    </a:cubicBezTo>
                    <a:cubicBezTo>
                      <a:pt x="297" y="287"/>
                      <a:pt x="297" y="287"/>
                      <a:pt x="297" y="287"/>
                    </a:cubicBezTo>
                    <a:cubicBezTo>
                      <a:pt x="302" y="285"/>
                      <a:pt x="302" y="285"/>
                      <a:pt x="302" y="285"/>
                    </a:cubicBezTo>
                    <a:cubicBezTo>
                      <a:pt x="301" y="284"/>
                      <a:pt x="301" y="284"/>
                      <a:pt x="301" y="284"/>
                    </a:cubicBezTo>
                    <a:cubicBezTo>
                      <a:pt x="303" y="283"/>
                      <a:pt x="303" y="283"/>
                      <a:pt x="303" y="283"/>
                    </a:cubicBezTo>
                    <a:cubicBezTo>
                      <a:pt x="304" y="284"/>
                      <a:pt x="304" y="284"/>
                      <a:pt x="304" y="284"/>
                    </a:cubicBezTo>
                    <a:cubicBezTo>
                      <a:pt x="303" y="285"/>
                      <a:pt x="303" y="285"/>
                      <a:pt x="303" y="285"/>
                    </a:cubicBezTo>
                    <a:cubicBezTo>
                      <a:pt x="303" y="285"/>
                      <a:pt x="303" y="286"/>
                      <a:pt x="304" y="286"/>
                    </a:cubicBezTo>
                    <a:cubicBezTo>
                      <a:pt x="304" y="286"/>
                      <a:pt x="306" y="287"/>
                      <a:pt x="306" y="287"/>
                    </a:cubicBezTo>
                    <a:cubicBezTo>
                      <a:pt x="308" y="286"/>
                      <a:pt x="308" y="286"/>
                      <a:pt x="308" y="286"/>
                    </a:cubicBezTo>
                    <a:cubicBezTo>
                      <a:pt x="311" y="286"/>
                      <a:pt x="311" y="286"/>
                      <a:pt x="311" y="286"/>
                    </a:cubicBezTo>
                    <a:cubicBezTo>
                      <a:pt x="314" y="286"/>
                      <a:pt x="314" y="286"/>
                      <a:pt x="314" y="286"/>
                    </a:cubicBezTo>
                    <a:cubicBezTo>
                      <a:pt x="316" y="285"/>
                      <a:pt x="316" y="285"/>
                      <a:pt x="316" y="285"/>
                    </a:cubicBezTo>
                    <a:cubicBezTo>
                      <a:pt x="316" y="284"/>
                      <a:pt x="316" y="284"/>
                      <a:pt x="316" y="284"/>
                    </a:cubicBezTo>
                    <a:cubicBezTo>
                      <a:pt x="315" y="283"/>
                      <a:pt x="315" y="283"/>
                      <a:pt x="315" y="283"/>
                    </a:cubicBezTo>
                    <a:cubicBezTo>
                      <a:pt x="316" y="282"/>
                      <a:pt x="316" y="282"/>
                      <a:pt x="316" y="282"/>
                    </a:cubicBezTo>
                    <a:cubicBezTo>
                      <a:pt x="320" y="279"/>
                      <a:pt x="320" y="279"/>
                      <a:pt x="320" y="279"/>
                    </a:cubicBezTo>
                    <a:cubicBezTo>
                      <a:pt x="324" y="278"/>
                      <a:pt x="324" y="278"/>
                      <a:pt x="324" y="278"/>
                    </a:cubicBezTo>
                    <a:cubicBezTo>
                      <a:pt x="326" y="277"/>
                      <a:pt x="326" y="277"/>
                      <a:pt x="326" y="277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5"/>
                      <a:pt x="326" y="275"/>
                      <a:pt x="326" y="275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5" y="269"/>
                      <a:pt x="325" y="269"/>
                      <a:pt x="325" y="269"/>
                    </a:cubicBezTo>
                    <a:cubicBezTo>
                      <a:pt x="327" y="267"/>
                      <a:pt x="327" y="267"/>
                      <a:pt x="327" y="267"/>
                    </a:cubicBezTo>
                    <a:cubicBezTo>
                      <a:pt x="327" y="265"/>
                      <a:pt x="327" y="265"/>
                      <a:pt x="327" y="265"/>
                    </a:cubicBezTo>
                    <a:cubicBezTo>
                      <a:pt x="328" y="264"/>
                      <a:pt x="328" y="264"/>
                      <a:pt x="328" y="264"/>
                    </a:cubicBezTo>
                    <a:cubicBezTo>
                      <a:pt x="329" y="263"/>
                      <a:pt x="329" y="263"/>
                      <a:pt x="329" y="263"/>
                    </a:cubicBezTo>
                    <a:cubicBezTo>
                      <a:pt x="329" y="261"/>
                      <a:pt x="329" y="261"/>
                      <a:pt x="329" y="261"/>
                    </a:cubicBezTo>
                    <a:cubicBezTo>
                      <a:pt x="329" y="261"/>
                      <a:pt x="329" y="261"/>
                      <a:pt x="329" y="261"/>
                    </a:cubicBezTo>
                    <a:cubicBezTo>
                      <a:pt x="332" y="256"/>
                      <a:pt x="332" y="256"/>
                      <a:pt x="332" y="256"/>
                    </a:cubicBezTo>
                    <a:cubicBezTo>
                      <a:pt x="335" y="252"/>
                      <a:pt x="335" y="252"/>
                      <a:pt x="335" y="252"/>
                    </a:cubicBezTo>
                    <a:cubicBezTo>
                      <a:pt x="335" y="250"/>
                      <a:pt x="335" y="250"/>
                      <a:pt x="335" y="250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4" y="242"/>
                      <a:pt x="334" y="242"/>
                      <a:pt x="334" y="242"/>
                    </a:cubicBezTo>
                    <a:cubicBezTo>
                      <a:pt x="335" y="239"/>
                      <a:pt x="335" y="239"/>
                      <a:pt x="335" y="239"/>
                    </a:cubicBezTo>
                    <a:cubicBezTo>
                      <a:pt x="336" y="237"/>
                      <a:pt x="336" y="237"/>
                      <a:pt x="336" y="237"/>
                    </a:cubicBezTo>
                    <a:cubicBezTo>
                      <a:pt x="336" y="236"/>
                      <a:pt x="336" y="236"/>
                      <a:pt x="336" y="236"/>
                    </a:cubicBezTo>
                    <a:cubicBezTo>
                      <a:pt x="339" y="233"/>
                      <a:pt x="339" y="233"/>
                      <a:pt x="339" y="233"/>
                    </a:cubicBezTo>
                    <a:cubicBezTo>
                      <a:pt x="340" y="232"/>
                      <a:pt x="340" y="232"/>
                      <a:pt x="340" y="232"/>
                    </a:cubicBezTo>
                    <a:cubicBezTo>
                      <a:pt x="339" y="229"/>
                      <a:pt x="339" y="229"/>
                      <a:pt x="339" y="229"/>
                    </a:cubicBezTo>
                    <a:cubicBezTo>
                      <a:pt x="341" y="224"/>
                      <a:pt x="341" y="224"/>
                      <a:pt x="341" y="224"/>
                    </a:cubicBezTo>
                    <a:cubicBezTo>
                      <a:pt x="340" y="221"/>
                      <a:pt x="340" y="221"/>
                      <a:pt x="340" y="221"/>
                    </a:cubicBezTo>
                    <a:cubicBezTo>
                      <a:pt x="341" y="218"/>
                      <a:pt x="341" y="218"/>
                      <a:pt x="341" y="218"/>
                    </a:cubicBezTo>
                    <a:cubicBezTo>
                      <a:pt x="341" y="217"/>
                      <a:pt x="341" y="217"/>
                      <a:pt x="341" y="217"/>
                    </a:cubicBezTo>
                    <a:cubicBezTo>
                      <a:pt x="341" y="213"/>
                      <a:pt x="341" y="213"/>
                      <a:pt x="341" y="213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40" y="197"/>
                      <a:pt x="340" y="197"/>
                      <a:pt x="340" y="197"/>
                    </a:cubicBezTo>
                    <a:cubicBezTo>
                      <a:pt x="341" y="195"/>
                      <a:pt x="341" y="195"/>
                      <a:pt x="341" y="195"/>
                    </a:cubicBezTo>
                    <a:cubicBezTo>
                      <a:pt x="341" y="193"/>
                      <a:pt x="341" y="193"/>
                      <a:pt x="341" y="193"/>
                    </a:cubicBezTo>
                    <a:cubicBezTo>
                      <a:pt x="340" y="194"/>
                      <a:pt x="340" y="194"/>
                      <a:pt x="340" y="194"/>
                    </a:cubicBezTo>
                    <a:cubicBezTo>
                      <a:pt x="339" y="193"/>
                      <a:pt x="339" y="193"/>
                      <a:pt x="339" y="193"/>
                    </a:cubicBezTo>
                    <a:cubicBezTo>
                      <a:pt x="339" y="192"/>
                      <a:pt x="339" y="192"/>
                      <a:pt x="339" y="192"/>
                    </a:cubicBezTo>
                    <a:cubicBezTo>
                      <a:pt x="340" y="190"/>
                      <a:pt x="340" y="190"/>
                      <a:pt x="340" y="190"/>
                    </a:cubicBezTo>
                    <a:cubicBezTo>
                      <a:pt x="340" y="188"/>
                      <a:pt x="340" y="188"/>
                      <a:pt x="340" y="188"/>
                    </a:cubicBezTo>
                    <a:cubicBezTo>
                      <a:pt x="340" y="186"/>
                      <a:pt x="340" y="186"/>
                      <a:pt x="340" y="186"/>
                    </a:cubicBezTo>
                    <a:cubicBezTo>
                      <a:pt x="341" y="186"/>
                      <a:pt x="341" y="186"/>
                      <a:pt x="341" y="186"/>
                    </a:cubicBezTo>
                    <a:cubicBezTo>
                      <a:pt x="342" y="183"/>
                      <a:pt x="342" y="183"/>
                      <a:pt x="342" y="183"/>
                    </a:cubicBezTo>
                    <a:cubicBezTo>
                      <a:pt x="340" y="181"/>
                      <a:pt x="340" y="181"/>
                      <a:pt x="340" y="181"/>
                    </a:cubicBezTo>
                    <a:cubicBezTo>
                      <a:pt x="338" y="180"/>
                      <a:pt x="338" y="180"/>
                      <a:pt x="338" y="180"/>
                    </a:cubicBezTo>
                    <a:cubicBezTo>
                      <a:pt x="338" y="180"/>
                      <a:pt x="338" y="180"/>
                      <a:pt x="338" y="180"/>
                    </a:cubicBezTo>
                    <a:cubicBezTo>
                      <a:pt x="339" y="179"/>
                      <a:pt x="339" y="179"/>
                      <a:pt x="339" y="179"/>
                    </a:cubicBezTo>
                    <a:cubicBezTo>
                      <a:pt x="339" y="180"/>
                      <a:pt x="339" y="180"/>
                      <a:pt x="339" y="180"/>
                    </a:cubicBezTo>
                    <a:cubicBezTo>
                      <a:pt x="341" y="181"/>
                      <a:pt x="341" y="181"/>
                      <a:pt x="341" y="181"/>
                    </a:cubicBezTo>
                    <a:cubicBezTo>
                      <a:pt x="342" y="181"/>
                      <a:pt x="342" y="181"/>
                      <a:pt x="342" y="181"/>
                    </a:cubicBezTo>
                    <a:cubicBezTo>
                      <a:pt x="343" y="179"/>
                      <a:pt x="343" y="179"/>
                      <a:pt x="343" y="179"/>
                    </a:cubicBezTo>
                    <a:cubicBezTo>
                      <a:pt x="344" y="179"/>
                      <a:pt x="344" y="179"/>
                      <a:pt x="344" y="179"/>
                    </a:cubicBezTo>
                    <a:cubicBezTo>
                      <a:pt x="345" y="181"/>
                      <a:pt x="345" y="181"/>
                      <a:pt x="345" y="181"/>
                    </a:cubicBezTo>
                    <a:cubicBezTo>
                      <a:pt x="346" y="181"/>
                      <a:pt x="346" y="181"/>
                      <a:pt x="346" y="181"/>
                    </a:cubicBezTo>
                    <a:cubicBezTo>
                      <a:pt x="345" y="183"/>
                      <a:pt x="345" y="183"/>
                      <a:pt x="345" y="183"/>
                    </a:cubicBezTo>
                    <a:cubicBezTo>
                      <a:pt x="343" y="184"/>
                      <a:pt x="343" y="184"/>
                      <a:pt x="343" y="184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4" y="185"/>
                      <a:pt x="344" y="185"/>
                      <a:pt x="344" y="185"/>
                    </a:cubicBezTo>
                    <a:cubicBezTo>
                      <a:pt x="346" y="183"/>
                      <a:pt x="346" y="183"/>
                      <a:pt x="346" y="183"/>
                    </a:cubicBezTo>
                    <a:cubicBezTo>
                      <a:pt x="348" y="182"/>
                      <a:pt x="348" y="182"/>
                      <a:pt x="348" y="182"/>
                    </a:cubicBezTo>
                    <a:cubicBezTo>
                      <a:pt x="352" y="177"/>
                      <a:pt x="352" y="177"/>
                      <a:pt x="352" y="177"/>
                    </a:cubicBezTo>
                    <a:cubicBezTo>
                      <a:pt x="353" y="173"/>
                      <a:pt x="353" y="173"/>
                      <a:pt x="353" y="173"/>
                    </a:cubicBezTo>
                    <a:cubicBezTo>
                      <a:pt x="354" y="171"/>
                      <a:pt x="354" y="171"/>
                      <a:pt x="354" y="171"/>
                    </a:cubicBezTo>
                    <a:cubicBezTo>
                      <a:pt x="355" y="169"/>
                      <a:pt x="355" y="169"/>
                      <a:pt x="355" y="169"/>
                    </a:cubicBezTo>
                    <a:cubicBezTo>
                      <a:pt x="356" y="166"/>
                      <a:pt x="356" y="166"/>
                      <a:pt x="356" y="166"/>
                    </a:cubicBezTo>
                    <a:cubicBezTo>
                      <a:pt x="357" y="163"/>
                      <a:pt x="357" y="163"/>
                      <a:pt x="357" y="163"/>
                    </a:cubicBezTo>
                    <a:cubicBezTo>
                      <a:pt x="363" y="160"/>
                      <a:pt x="363" y="160"/>
                      <a:pt x="363" y="160"/>
                    </a:cubicBezTo>
                    <a:cubicBezTo>
                      <a:pt x="363" y="158"/>
                      <a:pt x="363" y="158"/>
                      <a:pt x="363" y="158"/>
                    </a:cubicBezTo>
                    <a:cubicBezTo>
                      <a:pt x="365" y="157"/>
                      <a:pt x="365" y="157"/>
                      <a:pt x="365" y="157"/>
                    </a:cubicBezTo>
                    <a:cubicBezTo>
                      <a:pt x="366" y="155"/>
                      <a:pt x="366" y="155"/>
                      <a:pt x="366" y="155"/>
                    </a:cubicBezTo>
                    <a:cubicBezTo>
                      <a:pt x="370" y="151"/>
                      <a:pt x="370" y="151"/>
                      <a:pt x="370" y="151"/>
                    </a:cubicBezTo>
                    <a:cubicBezTo>
                      <a:pt x="374" y="146"/>
                      <a:pt x="374" y="146"/>
                      <a:pt x="374" y="146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7" y="139"/>
                      <a:pt x="377" y="139"/>
                      <a:pt x="377" y="139"/>
                    </a:cubicBezTo>
                    <a:cubicBezTo>
                      <a:pt x="378" y="137"/>
                      <a:pt x="378" y="137"/>
                      <a:pt x="378" y="137"/>
                    </a:cubicBezTo>
                    <a:cubicBezTo>
                      <a:pt x="379" y="135"/>
                      <a:pt x="379" y="135"/>
                      <a:pt x="379" y="135"/>
                    </a:cubicBezTo>
                    <a:cubicBezTo>
                      <a:pt x="379" y="134"/>
                      <a:pt x="379" y="134"/>
                      <a:pt x="379" y="134"/>
                    </a:cubicBezTo>
                    <a:cubicBezTo>
                      <a:pt x="378" y="132"/>
                      <a:pt x="378" y="132"/>
                      <a:pt x="378" y="132"/>
                    </a:cubicBezTo>
                    <a:cubicBezTo>
                      <a:pt x="378" y="130"/>
                      <a:pt x="378" y="130"/>
                      <a:pt x="378" y="130"/>
                    </a:cubicBezTo>
                    <a:cubicBezTo>
                      <a:pt x="380" y="129"/>
                      <a:pt x="380" y="129"/>
                      <a:pt x="380" y="129"/>
                    </a:cubicBezTo>
                    <a:cubicBezTo>
                      <a:pt x="379" y="124"/>
                      <a:pt x="379" y="124"/>
                      <a:pt x="379" y="124"/>
                    </a:cubicBezTo>
                    <a:cubicBezTo>
                      <a:pt x="378" y="123"/>
                      <a:pt x="378" y="123"/>
                      <a:pt x="378" y="123"/>
                    </a:cubicBezTo>
                    <a:cubicBezTo>
                      <a:pt x="378" y="121"/>
                      <a:pt x="378" y="121"/>
                      <a:pt x="378" y="121"/>
                    </a:cubicBezTo>
                    <a:cubicBezTo>
                      <a:pt x="374" y="113"/>
                      <a:pt x="374" y="113"/>
                      <a:pt x="374" y="113"/>
                    </a:cubicBezTo>
                    <a:cubicBezTo>
                      <a:pt x="374" y="110"/>
                      <a:pt x="374" y="110"/>
                      <a:pt x="374" y="110"/>
                    </a:cubicBezTo>
                    <a:cubicBezTo>
                      <a:pt x="374" y="107"/>
                      <a:pt x="374" y="107"/>
                      <a:pt x="374" y="107"/>
                    </a:cubicBezTo>
                    <a:cubicBezTo>
                      <a:pt x="367" y="104"/>
                      <a:pt x="367" y="104"/>
                      <a:pt x="367" y="104"/>
                    </a:cubicBezTo>
                    <a:cubicBezTo>
                      <a:pt x="364" y="105"/>
                      <a:pt x="364" y="105"/>
                      <a:pt x="364" y="105"/>
                    </a:cubicBezTo>
                    <a:cubicBezTo>
                      <a:pt x="361" y="106"/>
                      <a:pt x="361" y="106"/>
                      <a:pt x="361" y="106"/>
                    </a:cubicBezTo>
                    <a:cubicBezTo>
                      <a:pt x="359" y="103"/>
                      <a:pt x="359" y="103"/>
                      <a:pt x="359" y="103"/>
                    </a:cubicBezTo>
                    <a:cubicBezTo>
                      <a:pt x="357" y="103"/>
                      <a:pt x="357" y="103"/>
                      <a:pt x="357" y="103"/>
                    </a:cubicBezTo>
                    <a:cubicBezTo>
                      <a:pt x="355" y="100"/>
                      <a:pt x="355" y="100"/>
                      <a:pt x="355" y="100"/>
                    </a:cubicBezTo>
                    <a:cubicBezTo>
                      <a:pt x="352" y="99"/>
                      <a:pt x="352" y="99"/>
                      <a:pt x="352" y="99"/>
                    </a:cubicBezTo>
                    <a:cubicBezTo>
                      <a:pt x="350" y="99"/>
                      <a:pt x="350" y="99"/>
                      <a:pt x="350" y="99"/>
                    </a:cubicBezTo>
                    <a:cubicBezTo>
                      <a:pt x="346" y="94"/>
                      <a:pt x="346" y="94"/>
                      <a:pt x="346" y="94"/>
                    </a:cubicBezTo>
                    <a:cubicBezTo>
                      <a:pt x="343" y="89"/>
                      <a:pt x="343" y="89"/>
                      <a:pt x="343" y="89"/>
                    </a:cubicBezTo>
                    <a:cubicBezTo>
                      <a:pt x="341" y="88"/>
                      <a:pt x="341" y="88"/>
                      <a:pt x="341" y="88"/>
                    </a:cubicBezTo>
                    <a:cubicBezTo>
                      <a:pt x="339" y="86"/>
                      <a:pt x="339" y="86"/>
                      <a:pt x="339" y="86"/>
                    </a:cubicBezTo>
                    <a:cubicBezTo>
                      <a:pt x="336" y="86"/>
                      <a:pt x="336" y="86"/>
                      <a:pt x="336" y="86"/>
                    </a:cubicBezTo>
                    <a:cubicBezTo>
                      <a:pt x="331" y="82"/>
                      <a:pt x="331" y="82"/>
                      <a:pt x="331" y="82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5" y="81"/>
                      <a:pt x="325" y="81"/>
                      <a:pt x="325" y="81"/>
                    </a:cubicBezTo>
                    <a:cubicBezTo>
                      <a:pt x="323" y="82"/>
                      <a:pt x="323" y="82"/>
                      <a:pt x="323" y="82"/>
                    </a:cubicBezTo>
                    <a:cubicBezTo>
                      <a:pt x="320" y="82"/>
                      <a:pt x="320" y="82"/>
                      <a:pt x="320" y="82"/>
                    </a:cubicBezTo>
                    <a:cubicBezTo>
                      <a:pt x="319" y="81"/>
                      <a:pt x="319" y="81"/>
                      <a:pt x="319" y="81"/>
                    </a:cubicBezTo>
                    <a:cubicBezTo>
                      <a:pt x="317" y="82"/>
                      <a:pt x="317" y="82"/>
                      <a:pt x="317" y="82"/>
                    </a:cubicBezTo>
                    <a:cubicBezTo>
                      <a:pt x="316" y="83"/>
                      <a:pt x="316" y="83"/>
                      <a:pt x="316" y="83"/>
                    </a:cubicBezTo>
                    <a:cubicBezTo>
                      <a:pt x="315" y="82"/>
                      <a:pt x="315" y="82"/>
                      <a:pt x="315" y="82"/>
                    </a:cubicBezTo>
                    <a:cubicBezTo>
                      <a:pt x="312" y="80"/>
                      <a:pt x="312" y="80"/>
                      <a:pt x="312" y="80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0" y="81"/>
                      <a:pt x="310" y="81"/>
                      <a:pt x="310" y="81"/>
                    </a:cubicBez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1"/>
                      <a:pt x="309" y="81"/>
                      <a:pt x="309" y="81"/>
                    </a:cubicBezTo>
                    <a:cubicBezTo>
                      <a:pt x="309" y="80"/>
                      <a:pt x="309" y="80"/>
                      <a:pt x="309" y="80"/>
                    </a:cubicBezTo>
                    <a:cubicBezTo>
                      <a:pt x="307" y="79"/>
                      <a:pt x="307" y="79"/>
                      <a:pt x="307" y="79"/>
                    </a:cubicBezTo>
                    <a:cubicBezTo>
                      <a:pt x="308" y="80"/>
                      <a:pt x="308" y="80"/>
                      <a:pt x="308" y="80"/>
                    </a:cubicBezTo>
                    <a:cubicBezTo>
                      <a:pt x="307" y="81"/>
                      <a:pt x="307" y="81"/>
                      <a:pt x="307" y="81"/>
                    </a:cubicBezTo>
                    <a:cubicBezTo>
                      <a:pt x="304" y="80"/>
                      <a:pt x="304" y="80"/>
                      <a:pt x="304" y="80"/>
                    </a:cubicBezTo>
                    <a:cubicBezTo>
                      <a:pt x="303" y="80"/>
                      <a:pt x="303" y="80"/>
                      <a:pt x="303" y="80"/>
                    </a:cubicBezTo>
                    <a:cubicBezTo>
                      <a:pt x="301" y="79"/>
                      <a:pt x="301" y="79"/>
                      <a:pt x="301" y="79"/>
                    </a:cubicBezTo>
                    <a:cubicBezTo>
                      <a:pt x="296" y="77"/>
                      <a:pt x="296" y="77"/>
                      <a:pt x="296" y="77"/>
                    </a:cubicBezTo>
                    <a:cubicBezTo>
                      <a:pt x="294" y="77"/>
                      <a:pt x="294" y="77"/>
                      <a:pt x="294" y="77"/>
                    </a:cubicBezTo>
                    <a:cubicBezTo>
                      <a:pt x="293" y="78"/>
                      <a:pt x="293" y="78"/>
                      <a:pt x="293" y="78"/>
                    </a:cubicBezTo>
                    <a:cubicBezTo>
                      <a:pt x="294" y="79"/>
                      <a:pt x="294" y="79"/>
                      <a:pt x="294" y="79"/>
                    </a:cubicBezTo>
                    <a:cubicBezTo>
                      <a:pt x="293" y="79"/>
                      <a:pt x="293" y="79"/>
                      <a:pt x="293" y="79"/>
                    </a:cubicBezTo>
                    <a:cubicBezTo>
                      <a:pt x="292" y="79"/>
                      <a:pt x="292" y="79"/>
                      <a:pt x="292" y="79"/>
                    </a:cubicBezTo>
                    <a:cubicBezTo>
                      <a:pt x="292" y="79"/>
                      <a:pt x="292" y="79"/>
                      <a:pt x="292" y="79"/>
                    </a:cubicBezTo>
                    <a:cubicBezTo>
                      <a:pt x="292" y="80"/>
                      <a:pt x="292" y="80"/>
                      <a:pt x="292" y="80"/>
                    </a:cubicBezTo>
                    <a:cubicBezTo>
                      <a:pt x="290" y="81"/>
                      <a:pt x="290" y="81"/>
                      <a:pt x="290" y="81"/>
                    </a:cubicBezTo>
                    <a:cubicBezTo>
                      <a:pt x="289" y="82"/>
                      <a:pt x="289" y="82"/>
                      <a:pt x="289" y="82"/>
                    </a:cubicBezTo>
                    <a:cubicBezTo>
                      <a:pt x="289" y="84"/>
                      <a:pt x="289" y="84"/>
                      <a:pt x="289" y="84"/>
                    </a:cubicBezTo>
                    <a:cubicBezTo>
                      <a:pt x="288" y="82"/>
                      <a:pt x="288" y="82"/>
                      <a:pt x="288" y="82"/>
                    </a:cubicBezTo>
                    <a:cubicBezTo>
                      <a:pt x="287" y="81"/>
                      <a:pt x="287" y="81"/>
                      <a:pt x="287" y="81"/>
                    </a:cubicBezTo>
                    <a:cubicBezTo>
                      <a:pt x="286" y="81"/>
                      <a:pt x="286" y="81"/>
                      <a:pt x="286" y="81"/>
                    </a:cubicBezTo>
                    <a:cubicBezTo>
                      <a:pt x="286" y="83"/>
                      <a:pt x="286" y="83"/>
                      <a:pt x="286" y="83"/>
                    </a:cubicBezTo>
                    <a:cubicBezTo>
                      <a:pt x="285" y="86"/>
                      <a:pt x="285" y="86"/>
                      <a:pt x="285" y="86"/>
                    </a:cubicBezTo>
                    <a:cubicBezTo>
                      <a:pt x="285" y="89"/>
                      <a:pt x="285" y="89"/>
                      <a:pt x="285" y="89"/>
                    </a:cubicBezTo>
                    <a:cubicBezTo>
                      <a:pt x="284" y="86"/>
                      <a:pt x="284" y="86"/>
                      <a:pt x="284" y="86"/>
                    </a:cubicBezTo>
                    <a:cubicBezTo>
                      <a:pt x="285" y="84"/>
                      <a:pt x="285" y="84"/>
                      <a:pt x="285" y="84"/>
                    </a:cubicBezTo>
                    <a:cubicBezTo>
                      <a:pt x="284" y="82"/>
                      <a:pt x="284" y="82"/>
                      <a:pt x="284" y="82"/>
                    </a:cubicBezTo>
                    <a:cubicBezTo>
                      <a:pt x="285" y="78"/>
                      <a:pt x="285" y="78"/>
                      <a:pt x="285" y="78"/>
                    </a:cubicBezTo>
                    <a:cubicBezTo>
                      <a:pt x="286" y="78"/>
                      <a:pt x="286" y="78"/>
                      <a:pt x="286" y="78"/>
                    </a:cubicBezTo>
                    <a:cubicBezTo>
                      <a:pt x="286" y="77"/>
                      <a:pt x="286" y="77"/>
                      <a:pt x="286" y="77"/>
                    </a:cubicBezTo>
                    <a:cubicBezTo>
                      <a:pt x="284" y="77"/>
                      <a:pt x="284" y="77"/>
                      <a:pt x="284" y="77"/>
                    </a:cubicBezTo>
                    <a:cubicBezTo>
                      <a:pt x="286" y="74"/>
                      <a:pt x="286" y="74"/>
                      <a:pt x="286" y="74"/>
                    </a:cubicBezTo>
                    <a:cubicBezTo>
                      <a:pt x="283" y="72"/>
                      <a:pt x="283" y="72"/>
                      <a:pt x="283" y="72"/>
                    </a:cubicBezTo>
                    <a:cubicBezTo>
                      <a:pt x="282" y="69"/>
                      <a:pt x="282" y="69"/>
                      <a:pt x="282" y="69"/>
                    </a:cubicBezTo>
                    <a:cubicBezTo>
                      <a:pt x="280" y="69"/>
                      <a:pt x="280" y="69"/>
                      <a:pt x="280" y="69"/>
                    </a:cubicBezTo>
                    <a:cubicBezTo>
                      <a:pt x="278" y="69"/>
                      <a:pt x="278" y="69"/>
                      <a:pt x="278" y="69"/>
                    </a:cubicBezTo>
                    <a:cubicBezTo>
                      <a:pt x="277" y="70"/>
                      <a:pt x="277" y="70"/>
                      <a:pt x="277" y="70"/>
                    </a:cubicBezTo>
                    <a:cubicBezTo>
                      <a:pt x="276" y="71"/>
                      <a:pt x="276" y="71"/>
                      <a:pt x="276" y="71"/>
                    </a:cubicBezTo>
                    <a:cubicBezTo>
                      <a:pt x="275" y="70"/>
                      <a:pt x="275" y="70"/>
                      <a:pt x="275" y="70"/>
                    </a:cubicBezTo>
                    <a:cubicBezTo>
                      <a:pt x="274" y="69"/>
                      <a:pt x="274" y="69"/>
                      <a:pt x="274" y="69"/>
                    </a:cubicBezTo>
                    <a:cubicBezTo>
                      <a:pt x="274" y="68"/>
                      <a:pt x="274" y="68"/>
                      <a:pt x="274" y="68"/>
                    </a:cubicBezTo>
                    <a:cubicBezTo>
                      <a:pt x="273" y="67"/>
                      <a:pt x="273" y="67"/>
                      <a:pt x="273" y="67"/>
                    </a:cubicBezTo>
                    <a:cubicBezTo>
                      <a:pt x="271" y="67"/>
                      <a:pt x="271" y="67"/>
                      <a:pt x="271" y="67"/>
                    </a:cubicBezTo>
                    <a:cubicBezTo>
                      <a:pt x="270" y="66"/>
                      <a:pt x="270" y="66"/>
                      <a:pt x="270" y="66"/>
                    </a:cubicBezTo>
                    <a:cubicBezTo>
                      <a:pt x="269" y="65"/>
                      <a:pt x="269" y="65"/>
                      <a:pt x="269" y="65"/>
                    </a:cubicBezTo>
                    <a:cubicBezTo>
                      <a:pt x="268" y="66"/>
                      <a:pt x="268" y="66"/>
                      <a:pt x="268" y="66"/>
                    </a:cubicBezTo>
                    <a:cubicBezTo>
                      <a:pt x="268" y="65"/>
                      <a:pt x="268" y="65"/>
                      <a:pt x="268" y="65"/>
                    </a:cubicBezTo>
                    <a:cubicBezTo>
                      <a:pt x="267" y="65"/>
                      <a:pt x="267" y="65"/>
                      <a:pt x="267" y="65"/>
                    </a:cubicBezTo>
                    <a:cubicBezTo>
                      <a:pt x="267" y="63"/>
                      <a:pt x="267" y="63"/>
                      <a:pt x="267" y="63"/>
                    </a:cubicBezTo>
                    <a:cubicBezTo>
                      <a:pt x="265" y="64"/>
                      <a:pt x="265" y="64"/>
                      <a:pt x="265" y="64"/>
                    </a:cubicBezTo>
                    <a:cubicBezTo>
                      <a:pt x="263" y="63"/>
                      <a:pt x="263" y="63"/>
                      <a:pt x="263" y="63"/>
                    </a:cubicBezTo>
                    <a:cubicBezTo>
                      <a:pt x="260" y="62"/>
                      <a:pt x="260" y="62"/>
                      <a:pt x="260" y="62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9" y="62"/>
                      <a:pt x="259" y="62"/>
                      <a:pt x="259" y="62"/>
                    </a:cubicBezTo>
                    <a:cubicBezTo>
                      <a:pt x="257" y="61"/>
                      <a:pt x="257" y="61"/>
                      <a:pt x="257" y="61"/>
                    </a:cubicBezTo>
                    <a:cubicBezTo>
                      <a:pt x="256" y="61"/>
                      <a:pt x="256" y="61"/>
                      <a:pt x="256" y="61"/>
                    </a:cubicBezTo>
                    <a:cubicBezTo>
                      <a:pt x="256" y="62"/>
                      <a:pt x="256" y="62"/>
                      <a:pt x="256" y="62"/>
                    </a:cubicBezTo>
                    <a:cubicBezTo>
                      <a:pt x="255" y="62"/>
                      <a:pt x="255" y="62"/>
                      <a:pt x="255" y="62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2" y="61"/>
                      <a:pt x="252" y="61"/>
                      <a:pt x="252" y="61"/>
                    </a:cubicBezTo>
                    <a:cubicBezTo>
                      <a:pt x="250" y="62"/>
                      <a:pt x="250" y="62"/>
                      <a:pt x="250" y="62"/>
                    </a:cubicBezTo>
                    <a:cubicBezTo>
                      <a:pt x="249" y="64"/>
                      <a:pt x="249" y="64"/>
                      <a:pt x="249" y="64"/>
                    </a:cubicBezTo>
                    <a:cubicBezTo>
                      <a:pt x="249" y="65"/>
                      <a:pt x="249" y="65"/>
                      <a:pt x="249" y="65"/>
                    </a:cubicBezTo>
                    <a:cubicBezTo>
                      <a:pt x="247" y="67"/>
                      <a:pt x="247" y="67"/>
                      <a:pt x="247" y="67"/>
                    </a:cubicBezTo>
                    <a:cubicBezTo>
                      <a:pt x="245" y="69"/>
                      <a:pt x="245" y="69"/>
                      <a:pt x="245" y="69"/>
                    </a:cubicBezTo>
                    <a:cubicBezTo>
                      <a:pt x="241" y="71"/>
                      <a:pt x="241" y="71"/>
                      <a:pt x="241" y="71"/>
                    </a:cubicBezTo>
                    <a:cubicBezTo>
                      <a:pt x="239" y="73"/>
                      <a:pt x="239" y="73"/>
                      <a:pt x="239" y="73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8" y="79"/>
                      <a:pt x="238" y="79"/>
                      <a:pt x="238" y="79"/>
                    </a:cubicBezTo>
                    <a:cubicBezTo>
                      <a:pt x="237" y="80"/>
                      <a:pt x="237" y="80"/>
                      <a:pt x="237" y="80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6" y="83"/>
                      <a:pt x="236" y="83"/>
                      <a:pt x="236" y="83"/>
                    </a:cubicBez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89"/>
                      <a:pt x="236" y="89"/>
                      <a:pt x="236" y="89"/>
                    </a:cubicBezTo>
                    <a:cubicBezTo>
                      <a:pt x="235" y="87"/>
                      <a:pt x="235" y="87"/>
                      <a:pt x="235" y="87"/>
                    </a:cubicBezTo>
                    <a:cubicBezTo>
                      <a:pt x="234" y="84"/>
                      <a:pt x="234" y="84"/>
                      <a:pt x="234" y="84"/>
                    </a:cubicBezTo>
                    <a:cubicBezTo>
                      <a:pt x="234" y="83"/>
                      <a:pt x="234" y="83"/>
                      <a:pt x="234" y="83"/>
                    </a:cubicBezTo>
                    <a:cubicBezTo>
                      <a:pt x="235" y="81"/>
                      <a:pt x="235" y="81"/>
                      <a:pt x="235" y="81"/>
                    </a:cubicBezTo>
                    <a:cubicBezTo>
                      <a:pt x="237" y="80"/>
                      <a:pt x="237" y="80"/>
                      <a:pt x="237" y="80"/>
                    </a:cubicBezTo>
                    <a:cubicBezTo>
                      <a:pt x="236" y="77"/>
                      <a:pt x="236" y="77"/>
                      <a:pt x="236" y="77"/>
                    </a:cubicBezTo>
                    <a:cubicBezTo>
                      <a:pt x="237" y="75"/>
                      <a:pt x="237" y="75"/>
                      <a:pt x="237" y="75"/>
                    </a:cubicBezTo>
                    <a:cubicBezTo>
                      <a:pt x="237" y="73"/>
                      <a:pt x="237" y="73"/>
                      <a:pt x="237" y="73"/>
                    </a:cubicBezTo>
                    <a:cubicBezTo>
                      <a:pt x="236" y="73"/>
                      <a:pt x="236" y="73"/>
                      <a:pt x="236" y="73"/>
                    </a:cubicBezTo>
                    <a:cubicBezTo>
                      <a:pt x="234" y="74"/>
                      <a:pt x="234" y="74"/>
                      <a:pt x="234" y="74"/>
                    </a:cubicBezTo>
                    <a:cubicBezTo>
                      <a:pt x="231" y="73"/>
                      <a:pt x="231" y="73"/>
                      <a:pt x="231" y="73"/>
                    </a:cubicBezTo>
                    <a:cubicBezTo>
                      <a:pt x="229" y="74"/>
                      <a:pt x="229" y="74"/>
                      <a:pt x="229" y="74"/>
                    </a:cubicBezTo>
                    <a:cubicBezTo>
                      <a:pt x="227" y="74"/>
                      <a:pt x="227" y="74"/>
                      <a:pt x="227" y="74"/>
                    </a:cubicBezTo>
                    <a:cubicBezTo>
                      <a:pt x="226" y="73"/>
                      <a:pt x="226" y="73"/>
                      <a:pt x="226" y="73"/>
                    </a:cubicBezTo>
                    <a:cubicBezTo>
                      <a:pt x="227" y="73"/>
                      <a:pt x="227" y="73"/>
                      <a:pt x="227" y="73"/>
                    </a:cubicBezTo>
                    <a:cubicBezTo>
                      <a:pt x="229" y="72"/>
                      <a:pt x="229" y="72"/>
                      <a:pt x="229" y="72"/>
                    </a:cubicBezTo>
                    <a:cubicBezTo>
                      <a:pt x="231" y="71"/>
                      <a:pt x="231" y="71"/>
                      <a:pt x="231" y="7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5" y="72"/>
                      <a:pt x="235" y="72"/>
                      <a:pt x="235" y="72"/>
                    </a:cubicBezTo>
                    <a:cubicBezTo>
                      <a:pt x="237" y="70"/>
                      <a:pt x="237" y="70"/>
                      <a:pt x="237" y="70"/>
                    </a:cubicBezTo>
                    <a:cubicBezTo>
                      <a:pt x="237" y="70"/>
                      <a:pt x="237" y="70"/>
                      <a:pt x="237" y="70"/>
                    </a:cubicBezTo>
                    <a:cubicBezTo>
                      <a:pt x="238" y="70"/>
                      <a:pt x="238" y="70"/>
                      <a:pt x="238" y="70"/>
                    </a:cubicBezTo>
                    <a:cubicBezTo>
                      <a:pt x="239" y="70"/>
                      <a:pt x="239" y="70"/>
                      <a:pt x="239" y="70"/>
                    </a:cubicBezTo>
                    <a:cubicBezTo>
                      <a:pt x="241" y="69"/>
                      <a:pt x="241" y="69"/>
                      <a:pt x="241" y="69"/>
                    </a:cubicBezTo>
                    <a:cubicBezTo>
                      <a:pt x="244" y="68"/>
                      <a:pt x="244" y="68"/>
                      <a:pt x="244" y="68"/>
                    </a:cubicBezTo>
                    <a:cubicBezTo>
                      <a:pt x="244" y="66"/>
                      <a:pt x="244" y="66"/>
                      <a:pt x="244" y="66"/>
                    </a:cubicBezTo>
                    <a:cubicBezTo>
                      <a:pt x="246" y="63"/>
                      <a:pt x="246" y="63"/>
                      <a:pt x="246" y="63"/>
                    </a:cubicBezTo>
                    <a:cubicBezTo>
                      <a:pt x="246" y="61"/>
                      <a:pt x="246" y="61"/>
                      <a:pt x="246" y="61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247" y="57"/>
                      <a:pt x="247" y="57"/>
                      <a:pt x="247" y="57"/>
                    </a:cubicBezTo>
                    <a:cubicBezTo>
                      <a:pt x="245" y="57"/>
                      <a:pt x="245" y="57"/>
                      <a:pt x="245" y="57"/>
                    </a:cubicBezTo>
                    <a:cubicBezTo>
                      <a:pt x="243" y="55"/>
                      <a:pt x="243" y="55"/>
                      <a:pt x="243" y="55"/>
                    </a:cubicBezTo>
                    <a:cubicBezTo>
                      <a:pt x="241" y="55"/>
                      <a:pt x="241" y="55"/>
                      <a:pt x="241" y="55"/>
                    </a:cubicBezTo>
                    <a:cubicBezTo>
                      <a:pt x="238" y="57"/>
                      <a:pt x="238" y="57"/>
                      <a:pt x="238" y="57"/>
                    </a:cubicBezTo>
                    <a:cubicBezTo>
                      <a:pt x="236" y="57"/>
                      <a:pt x="236" y="57"/>
                      <a:pt x="236" y="57"/>
                    </a:cubicBezTo>
                    <a:cubicBezTo>
                      <a:pt x="232" y="56"/>
                      <a:pt x="232" y="56"/>
                      <a:pt x="232" y="56"/>
                    </a:cubicBezTo>
                    <a:cubicBezTo>
                      <a:pt x="229" y="55"/>
                      <a:pt x="229" y="55"/>
                      <a:pt x="229" y="55"/>
                    </a:cubicBezTo>
                    <a:cubicBezTo>
                      <a:pt x="226" y="58"/>
                      <a:pt x="226" y="58"/>
                      <a:pt x="226" y="58"/>
                    </a:cubicBezTo>
                    <a:cubicBezTo>
                      <a:pt x="226" y="59"/>
                      <a:pt x="226" y="59"/>
                      <a:pt x="226" y="59"/>
                    </a:cubicBezTo>
                    <a:cubicBezTo>
                      <a:pt x="227" y="60"/>
                      <a:pt x="227" y="60"/>
                      <a:pt x="227" y="60"/>
                    </a:cubicBezTo>
                    <a:cubicBezTo>
                      <a:pt x="228" y="61"/>
                      <a:pt x="228" y="61"/>
                      <a:pt x="228" y="61"/>
                    </a:cubicBezTo>
                    <a:cubicBezTo>
                      <a:pt x="226" y="61"/>
                      <a:pt x="226" y="61"/>
                      <a:pt x="226" y="61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25" y="63"/>
                      <a:pt x="225" y="63"/>
                      <a:pt x="225" y="63"/>
                    </a:cubicBezTo>
                    <a:cubicBezTo>
                      <a:pt x="224" y="62"/>
                      <a:pt x="224" y="62"/>
                      <a:pt x="224" y="62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1" y="62"/>
                      <a:pt x="221" y="62"/>
                      <a:pt x="221" y="62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9"/>
                      <a:pt x="216" y="69"/>
                      <a:pt x="216" y="69"/>
                    </a:cubicBezTo>
                    <a:cubicBezTo>
                      <a:pt x="218" y="66"/>
                      <a:pt x="218" y="66"/>
                      <a:pt x="218" y="66"/>
                    </a:cubicBezTo>
                    <a:cubicBezTo>
                      <a:pt x="218" y="64"/>
                      <a:pt x="218" y="64"/>
                      <a:pt x="218" y="64"/>
                    </a:cubicBezTo>
                    <a:cubicBezTo>
                      <a:pt x="219" y="62"/>
                      <a:pt x="219" y="62"/>
                      <a:pt x="219" y="62"/>
                    </a:cubicBezTo>
                    <a:cubicBezTo>
                      <a:pt x="219" y="61"/>
                      <a:pt x="219" y="61"/>
                      <a:pt x="219" y="61"/>
                    </a:cubicBezTo>
                    <a:cubicBezTo>
                      <a:pt x="218" y="61"/>
                      <a:pt x="218" y="61"/>
                      <a:pt x="218" y="61"/>
                    </a:cubicBezTo>
                    <a:cubicBezTo>
                      <a:pt x="216" y="63"/>
                      <a:pt x="216" y="63"/>
                      <a:pt x="216" y="63"/>
                    </a:cubicBezTo>
                    <a:cubicBezTo>
                      <a:pt x="215" y="65"/>
                      <a:pt x="215" y="65"/>
                      <a:pt x="215" y="65"/>
                    </a:cubicBezTo>
                    <a:cubicBezTo>
                      <a:pt x="214" y="68"/>
                      <a:pt x="214" y="68"/>
                      <a:pt x="214" y="68"/>
                    </a:cubicBezTo>
                    <a:cubicBezTo>
                      <a:pt x="212" y="69"/>
                      <a:pt x="212" y="69"/>
                      <a:pt x="212" y="69"/>
                    </a:cubicBezTo>
                    <a:cubicBezTo>
                      <a:pt x="214" y="66"/>
                      <a:pt x="214" y="66"/>
                      <a:pt x="214" y="66"/>
                    </a:cubicBezTo>
                    <a:cubicBezTo>
                      <a:pt x="214" y="63"/>
                      <a:pt x="214" y="63"/>
                      <a:pt x="214" y="63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9" y="56"/>
                      <a:pt x="219" y="56"/>
                      <a:pt x="219" y="56"/>
                    </a:cubicBezTo>
                    <a:cubicBezTo>
                      <a:pt x="220" y="54"/>
                      <a:pt x="220" y="54"/>
                      <a:pt x="220" y="54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24" y="52"/>
                      <a:pt x="224" y="52"/>
                      <a:pt x="224" y="52"/>
                    </a:cubicBezTo>
                    <a:cubicBezTo>
                      <a:pt x="225" y="51"/>
                      <a:pt x="225" y="51"/>
                      <a:pt x="225" y="51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31" y="44"/>
                      <a:pt x="231" y="44"/>
                      <a:pt x="231" y="44"/>
                    </a:cubicBezTo>
                    <a:cubicBezTo>
                      <a:pt x="232" y="42"/>
                      <a:pt x="232" y="42"/>
                      <a:pt x="232" y="42"/>
                    </a:cubicBezTo>
                    <a:cubicBezTo>
                      <a:pt x="233" y="42"/>
                      <a:pt x="233" y="42"/>
                      <a:pt x="233" y="42"/>
                    </a:cubicBezTo>
                    <a:cubicBezTo>
                      <a:pt x="232" y="40"/>
                      <a:pt x="232" y="40"/>
                      <a:pt x="232" y="40"/>
                    </a:cubicBezTo>
                    <a:cubicBezTo>
                      <a:pt x="232" y="39"/>
                      <a:pt x="232" y="39"/>
                      <a:pt x="232" y="39"/>
                    </a:cubicBezTo>
                    <a:cubicBezTo>
                      <a:pt x="233" y="38"/>
                      <a:pt x="233" y="38"/>
                      <a:pt x="233" y="38"/>
                    </a:cubicBezTo>
                    <a:cubicBezTo>
                      <a:pt x="233" y="37"/>
                      <a:pt x="233" y="37"/>
                      <a:pt x="233" y="37"/>
                    </a:cubicBezTo>
                    <a:cubicBezTo>
                      <a:pt x="231" y="35"/>
                      <a:pt x="231" y="35"/>
                      <a:pt x="231" y="35"/>
                    </a:cubicBezTo>
                    <a:cubicBezTo>
                      <a:pt x="229" y="35"/>
                      <a:pt x="229" y="35"/>
                      <a:pt x="229" y="35"/>
                    </a:cubicBezTo>
                    <a:cubicBezTo>
                      <a:pt x="228" y="36"/>
                      <a:pt x="228" y="36"/>
                      <a:pt x="228" y="36"/>
                    </a:cubicBezTo>
                    <a:cubicBezTo>
                      <a:pt x="227" y="34"/>
                      <a:pt x="227" y="34"/>
                      <a:pt x="227" y="34"/>
                    </a:cubicBezTo>
                    <a:cubicBezTo>
                      <a:pt x="226" y="31"/>
                      <a:pt x="226" y="31"/>
                      <a:pt x="226" y="31"/>
                    </a:cubicBezTo>
                    <a:cubicBezTo>
                      <a:pt x="224" y="25"/>
                      <a:pt x="224" y="25"/>
                      <a:pt x="224" y="25"/>
                    </a:cubicBezTo>
                    <a:cubicBezTo>
                      <a:pt x="222" y="22"/>
                      <a:pt x="222" y="22"/>
                      <a:pt x="222" y="22"/>
                    </a:cubicBezTo>
                    <a:cubicBezTo>
                      <a:pt x="221" y="19"/>
                      <a:pt x="221" y="19"/>
                      <a:pt x="221" y="19"/>
                    </a:cubicBezTo>
                    <a:cubicBezTo>
                      <a:pt x="221" y="17"/>
                      <a:pt x="221" y="17"/>
                      <a:pt x="221" y="17"/>
                    </a:cubicBezTo>
                    <a:lnTo>
                      <a:pt x="220" y="14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9" name="Freeform 333">
                <a:extLst>
                  <a:ext uri="{FF2B5EF4-FFF2-40B4-BE49-F238E27FC236}">
                    <a16:creationId xmlns:a16="http://schemas.microsoft.com/office/drawing/2014/main" xmlns="" id="{C0C694C4-0349-427A-9F67-D727A5818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" y="1966"/>
                <a:ext cx="44" cy="65"/>
              </a:xfrm>
              <a:custGeom>
                <a:avLst/>
                <a:gdLst>
                  <a:gd name="T0" fmla="*/ 0 w 44"/>
                  <a:gd name="T1" fmla="*/ 52 h 65"/>
                  <a:gd name="T2" fmla="*/ 1 w 44"/>
                  <a:gd name="T3" fmla="*/ 54 h 65"/>
                  <a:gd name="T4" fmla="*/ 1 w 44"/>
                  <a:gd name="T5" fmla="*/ 57 h 65"/>
                  <a:gd name="T6" fmla="*/ 3 w 44"/>
                  <a:gd name="T7" fmla="*/ 57 h 65"/>
                  <a:gd name="T8" fmla="*/ 3 w 44"/>
                  <a:gd name="T9" fmla="*/ 58 h 65"/>
                  <a:gd name="T10" fmla="*/ 4 w 44"/>
                  <a:gd name="T11" fmla="*/ 62 h 65"/>
                  <a:gd name="T12" fmla="*/ 8 w 44"/>
                  <a:gd name="T13" fmla="*/ 62 h 65"/>
                  <a:gd name="T14" fmla="*/ 9 w 44"/>
                  <a:gd name="T15" fmla="*/ 60 h 65"/>
                  <a:gd name="T16" fmla="*/ 11 w 44"/>
                  <a:gd name="T17" fmla="*/ 58 h 65"/>
                  <a:gd name="T18" fmla="*/ 13 w 44"/>
                  <a:gd name="T19" fmla="*/ 58 h 65"/>
                  <a:gd name="T20" fmla="*/ 13 w 44"/>
                  <a:gd name="T21" fmla="*/ 60 h 65"/>
                  <a:gd name="T22" fmla="*/ 14 w 44"/>
                  <a:gd name="T23" fmla="*/ 60 h 65"/>
                  <a:gd name="T24" fmla="*/ 14 w 44"/>
                  <a:gd name="T25" fmla="*/ 65 h 65"/>
                  <a:gd name="T26" fmla="*/ 16 w 44"/>
                  <a:gd name="T27" fmla="*/ 65 h 65"/>
                  <a:gd name="T28" fmla="*/ 19 w 44"/>
                  <a:gd name="T29" fmla="*/ 63 h 65"/>
                  <a:gd name="T30" fmla="*/ 19 w 44"/>
                  <a:gd name="T31" fmla="*/ 62 h 65"/>
                  <a:gd name="T32" fmla="*/ 21 w 44"/>
                  <a:gd name="T33" fmla="*/ 60 h 65"/>
                  <a:gd name="T34" fmla="*/ 24 w 44"/>
                  <a:gd name="T35" fmla="*/ 58 h 65"/>
                  <a:gd name="T36" fmla="*/ 26 w 44"/>
                  <a:gd name="T37" fmla="*/ 55 h 65"/>
                  <a:gd name="T38" fmla="*/ 29 w 44"/>
                  <a:gd name="T39" fmla="*/ 50 h 65"/>
                  <a:gd name="T40" fmla="*/ 32 w 44"/>
                  <a:gd name="T41" fmla="*/ 44 h 65"/>
                  <a:gd name="T42" fmla="*/ 32 w 44"/>
                  <a:gd name="T43" fmla="*/ 42 h 65"/>
                  <a:gd name="T44" fmla="*/ 35 w 44"/>
                  <a:gd name="T45" fmla="*/ 36 h 65"/>
                  <a:gd name="T46" fmla="*/ 40 w 44"/>
                  <a:gd name="T47" fmla="*/ 31 h 65"/>
                  <a:gd name="T48" fmla="*/ 40 w 44"/>
                  <a:gd name="T49" fmla="*/ 29 h 65"/>
                  <a:gd name="T50" fmla="*/ 42 w 44"/>
                  <a:gd name="T51" fmla="*/ 29 h 65"/>
                  <a:gd name="T52" fmla="*/ 44 w 44"/>
                  <a:gd name="T53" fmla="*/ 26 h 65"/>
                  <a:gd name="T54" fmla="*/ 44 w 44"/>
                  <a:gd name="T55" fmla="*/ 21 h 65"/>
                  <a:gd name="T56" fmla="*/ 40 w 44"/>
                  <a:gd name="T57" fmla="*/ 18 h 65"/>
                  <a:gd name="T58" fmla="*/ 39 w 44"/>
                  <a:gd name="T59" fmla="*/ 19 h 65"/>
                  <a:gd name="T60" fmla="*/ 37 w 44"/>
                  <a:gd name="T61" fmla="*/ 18 h 65"/>
                  <a:gd name="T62" fmla="*/ 37 w 44"/>
                  <a:gd name="T63" fmla="*/ 16 h 65"/>
                  <a:gd name="T64" fmla="*/ 32 w 44"/>
                  <a:gd name="T65" fmla="*/ 9 h 65"/>
                  <a:gd name="T66" fmla="*/ 31 w 44"/>
                  <a:gd name="T67" fmla="*/ 8 h 65"/>
                  <a:gd name="T68" fmla="*/ 27 w 44"/>
                  <a:gd name="T69" fmla="*/ 5 h 65"/>
                  <a:gd name="T70" fmla="*/ 17 w 44"/>
                  <a:gd name="T71" fmla="*/ 3 h 65"/>
                  <a:gd name="T72" fmla="*/ 14 w 44"/>
                  <a:gd name="T73" fmla="*/ 0 h 65"/>
                  <a:gd name="T74" fmla="*/ 9 w 44"/>
                  <a:gd name="T75" fmla="*/ 0 h 65"/>
                  <a:gd name="T76" fmla="*/ 6 w 44"/>
                  <a:gd name="T77" fmla="*/ 1 h 65"/>
                  <a:gd name="T78" fmla="*/ 3 w 44"/>
                  <a:gd name="T79" fmla="*/ 3 h 65"/>
                  <a:gd name="T80" fmla="*/ 3 w 44"/>
                  <a:gd name="T81" fmla="*/ 3 h 65"/>
                  <a:gd name="T82" fmla="*/ 3 w 44"/>
                  <a:gd name="T83" fmla="*/ 3 h 65"/>
                  <a:gd name="T84" fmla="*/ 1 w 44"/>
                  <a:gd name="T85" fmla="*/ 5 h 65"/>
                  <a:gd name="T86" fmla="*/ 0 w 44"/>
                  <a:gd name="T87" fmla="*/ 8 h 65"/>
                  <a:gd name="T88" fmla="*/ 0 w 44"/>
                  <a:gd name="T89" fmla="*/ 13 h 65"/>
                  <a:gd name="T90" fmla="*/ 1 w 44"/>
                  <a:gd name="T91" fmla="*/ 16 h 65"/>
                  <a:gd name="T92" fmla="*/ 1 w 44"/>
                  <a:gd name="T93" fmla="*/ 19 h 65"/>
                  <a:gd name="T94" fmla="*/ 1 w 44"/>
                  <a:gd name="T95" fmla="*/ 23 h 65"/>
                  <a:gd name="T96" fmla="*/ 3 w 44"/>
                  <a:gd name="T97" fmla="*/ 24 h 65"/>
                  <a:gd name="T98" fmla="*/ 4 w 44"/>
                  <a:gd name="T99" fmla="*/ 27 h 65"/>
                  <a:gd name="T100" fmla="*/ 6 w 44"/>
                  <a:gd name="T101" fmla="*/ 29 h 65"/>
                  <a:gd name="T102" fmla="*/ 8 w 44"/>
                  <a:gd name="T103" fmla="*/ 32 h 65"/>
                  <a:gd name="T104" fmla="*/ 8 w 44"/>
                  <a:gd name="T105" fmla="*/ 34 h 65"/>
                  <a:gd name="T106" fmla="*/ 8 w 44"/>
                  <a:gd name="T107" fmla="*/ 37 h 65"/>
                  <a:gd name="T108" fmla="*/ 4 w 44"/>
                  <a:gd name="T109" fmla="*/ 40 h 65"/>
                  <a:gd name="T110" fmla="*/ 4 w 44"/>
                  <a:gd name="T111" fmla="*/ 44 h 65"/>
                  <a:gd name="T112" fmla="*/ 6 w 44"/>
                  <a:gd name="T113" fmla="*/ 45 h 65"/>
                  <a:gd name="T114" fmla="*/ 4 w 44"/>
                  <a:gd name="T115" fmla="*/ 50 h 65"/>
                  <a:gd name="T116" fmla="*/ 1 w 44"/>
                  <a:gd name="T117" fmla="*/ 52 h 65"/>
                  <a:gd name="T118" fmla="*/ 0 w 44"/>
                  <a:gd name="T119" fmla="*/ 5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65">
                    <a:moveTo>
                      <a:pt x="0" y="52"/>
                    </a:moveTo>
                    <a:lnTo>
                      <a:pt x="1" y="54"/>
                    </a:lnTo>
                    <a:lnTo>
                      <a:pt x="1" y="57"/>
                    </a:lnTo>
                    <a:lnTo>
                      <a:pt x="3" y="57"/>
                    </a:lnTo>
                    <a:lnTo>
                      <a:pt x="3" y="58"/>
                    </a:lnTo>
                    <a:lnTo>
                      <a:pt x="4" y="62"/>
                    </a:lnTo>
                    <a:lnTo>
                      <a:pt x="8" y="62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60"/>
                    </a:lnTo>
                    <a:lnTo>
                      <a:pt x="14" y="60"/>
                    </a:lnTo>
                    <a:lnTo>
                      <a:pt x="14" y="65"/>
                    </a:lnTo>
                    <a:lnTo>
                      <a:pt x="16" y="65"/>
                    </a:lnTo>
                    <a:lnTo>
                      <a:pt x="19" y="63"/>
                    </a:lnTo>
                    <a:lnTo>
                      <a:pt x="19" y="62"/>
                    </a:lnTo>
                    <a:lnTo>
                      <a:pt x="21" y="60"/>
                    </a:lnTo>
                    <a:lnTo>
                      <a:pt x="24" y="58"/>
                    </a:lnTo>
                    <a:lnTo>
                      <a:pt x="26" y="55"/>
                    </a:lnTo>
                    <a:lnTo>
                      <a:pt x="29" y="50"/>
                    </a:lnTo>
                    <a:lnTo>
                      <a:pt x="32" y="44"/>
                    </a:lnTo>
                    <a:lnTo>
                      <a:pt x="32" y="42"/>
                    </a:lnTo>
                    <a:lnTo>
                      <a:pt x="35" y="36"/>
                    </a:lnTo>
                    <a:lnTo>
                      <a:pt x="40" y="31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4" y="26"/>
                    </a:lnTo>
                    <a:lnTo>
                      <a:pt x="44" y="21"/>
                    </a:lnTo>
                    <a:lnTo>
                      <a:pt x="40" y="18"/>
                    </a:lnTo>
                    <a:lnTo>
                      <a:pt x="39" y="19"/>
                    </a:lnTo>
                    <a:lnTo>
                      <a:pt x="37" y="18"/>
                    </a:lnTo>
                    <a:lnTo>
                      <a:pt x="37" y="16"/>
                    </a:lnTo>
                    <a:lnTo>
                      <a:pt x="32" y="9"/>
                    </a:lnTo>
                    <a:lnTo>
                      <a:pt x="31" y="8"/>
                    </a:lnTo>
                    <a:lnTo>
                      <a:pt x="27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3"/>
                    </a:lnTo>
                    <a:lnTo>
                      <a:pt x="3" y="24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7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6" y="45"/>
                    </a:lnTo>
                    <a:lnTo>
                      <a:pt x="4" y="50"/>
                    </a:lnTo>
                    <a:lnTo>
                      <a:pt x="1" y="52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0" name="Freeform 334">
                <a:extLst>
                  <a:ext uri="{FF2B5EF4-FFF2-40B4-BE49-F238E27FC236}">
                    <a16:creationId xmlns:a16="http://schemas.microsoft.com/office/drawing/2014/main" xmlns="" id="{77F77C62-69EC-40BA-90ED-6D7371712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1959"/>
                <a:ext cx="64" cy="70"/>
              </a:xfrm>
              <a:custGeom>
                <a:avLst/>
                <a:gdLst>
                  <a:gd name="T0" fmla="*/ 26 w 64"/>
                  <a:gd name="T1" fmla="*/ 69 h 70"/>
                  <a:gd name="T2" fmla="*/ 28 w 64"/>
                  <a:gd name="T3" fmla="*/ 70 h 70"/>
                  <a:gd name="T4" fmla="*/ 34 w 64"/>
                  <a:gd name="T5" fmla="*/ 70 h 70"/>
                  <a:gd name="T6" fmla="*/ 34 w 64"/>
                  <a:gd name="T7" fmla="*/ 65 h 70"/>
                  <a:gd name="T8" fmla="*/ 29 w 64"/>
                  <a:gd name="T9" fmla="*/ 61 h 70"/>
                  <a:gd name="T10" fmla="*/ 33 w 64"/>
                  <a:gd name="T11" fmla="*/ 56 h 70"/>
                  <a:gd name="T12" fmla="*/ 44 w 64"/>
                  <a:gd name="T13" fmla="*/ 57 h 70"/>
                  <a:gd name="T14" fmla="*/ 51 w 64"/>
                  <a:gd name="T15" fmla="*/ 56 h 70"/>
                  <a:gd name="T16" fmla="*/ 57 w 64"/>
                  <a:gd name="T17" fmla="*/ 59 h 70"/>
                  <a:gd name="T18" fmla="*/ 62 w 64"/>
                  <a:gd name="T19" fmla="*/ 52 h 70"/>
                  <a:gd name="T20" fmla="*/ 60 w 64"/>
                  <a:gd name="T21" fmla="*/ 47 h 70"/>
                  <a:gd name="T22" fmla="*/ 64 w 64"/>
                  <a:gd name="T23" fmla="*/ 41 h 70"/>
                  <a:gd name="T24" fmla="*/ 62 w 64"/>
                  <a:gd name="T25" fmla="*/ 36 h 70"/>
                  <a:gd name="T26" fmla="*/ 59 w 64"/>
                  <a:gd name="T27" fmla="*/ 31 h 70"/>
                  <a:gd name="T28" fmla="*/ 57 w 64"/>
                  <a:gd name="T29" fmla="*/ 26 h 70"/>
                  <a:gd name="T30" fmla="*/ 56 w 64"/>
                  <a:gd name="T31" fmla="*/ 20 h 70"/>
                  <a:gd name="T32" fmla="*/ 57 w 64"/>
                  <a:gd name="T33" fmla="*/ 12 h 70"/>
                  <a:gd name="T34" fmla="*/ 59 w 64"/>
                  <a:gd name="T35" fmla="*/ 10 h 70"/>
                  <a:gd name="T36" fmla="*/ 62 w 64"/>
                  <a:gd name="T37" fmla="*/ 5 h 70"/>
                  <a:gd name="T38" fmla="*/ 54 w 64"/>
                  <a:gd name="T39" fmla="*/ 2 h 70"/>
                  <a:gd name="T40" fmla="*/ 46 w 64"/>
                  <a:gd name="T41" fmla="*/ 0 h 70"/>
                  <a:gd name="T42" fmla="*/ 38 w 64"/>
                  <a:gd name="T43" fmla="*/ 0 h 70"/>
                  <a:gd name="T44" fmla="*/ 26 w 64"/>
                  <a:gd name="T45" fmla="*/ 0 h 70"/>
                  <a:gd name="T46" fmla="*/ 15 w 64"/>
                  <a:gd name="T47" fmla="*/ 2 h 70"/>
                  <a:gd name="T48" fmla="*/ 15 w 64"/>
                  <a:gd name="T49" fmla="*/ 7 h 70"/>
                  <a:gd name="T50" fmla="*/ 13 w 64"/>
                  <a:gd name="T51" fmla="*/ 12 h 70"/>
                  <a:gd name="T52" fmla="*/ 8 w 64"/>
                  <a:gd name="T53" fmla="*/ 16 h 70"/>
                  <a:gd name="T54" fmla="*/ 3 w 64"/>
                  <a:gd name="T55" fmla="*/ 20 h 70"/>
                  <a:gd name="T56" fmla="*/ 0 w 64"/>
                  <a:gd name="T57" fmla="*/ 30 h 70"/>
                  <a:gd name="T58" fmla="*/ 3 w 64"/>
                  <a:gd name="T59" fmla="*/ 34 h 70"/>
                  <a:gd name="T60" fmla="*/ 5 w 64"/>
                  <a:gd name="T61" fmla="*/ 38 h 70"/>
                  <a:gd name="T62" fmla="*/ 8 w 64"/>
                  <a:gd name="T63" fmla="*/ 43 h 70"/>
                  <a:gd name="T64" fmla="*/ 11 w 64"/>
                  <a:gd name="T65" fmla="*/ 44 h 70"/>
                  <a:gd name="T66" fmla="*/ 13 w 64"/>
                  <a:gd name="T67" fmla="*/ 47 h 70"/>
                  <a:gd name="T68" fmla="*/ 15 w 64"/>
                  <a:gd name="T69" fmla="*/ 56 h 70"/>
                  <a:gd name="T70" fmla="*/ 18 w 64"/>
                  <a:gd name="T71" fmla="*/ 59 h 70"/>
                  <a:gd name="T72" fmla="*/ 23 w 64"/>
                  <a:gd name="T73" fmla="*/ 64 h 70"/>
                  <a:gd name="T74" fmla="*/ 23 w 64"/>
                  <a:gd name="T75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4" h="70">
                    <a:moveTo>
                      <a:pt x="24" y="69"/>
                    </a:moveTo>
                    <a:lnTo>
                      <a:pt x="26" y="69"/>
                    </a:lnTo>
                    <a:lnTo>
                      <a:pt x="26" y="69"/>
                    </a:lnTo>
                    <a:lnTo>
                      <a:pt x="28" y="70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69"/>
                    </a:lnTo>
                    <a:lnTo>
                      <a:pt x="34" y="65"/>
                    </a:lnTo>
                    <a:lnTo>
                      <a:pt x="33" y="64"/>
                    </a:lnTo>
                    <a:lnTo>
                      <a:pt x="29" y="61"/>
                    </a:lnTo>
                    <a:lnTo>
                      <a:pt x="31" y="59"/>
                    </a:lnTo>
                    <a:lnTo>
                      <a:pt x="33" y="56"/>
                    </a:lnTo>
                    <a:lnTo>
                      <a:pt x="38" y="57"/>
                    </a:lnTo>
                    <a:lnTo>
                      <a:pt x="44" y="57"/>
                    </a:lnTo>
                    <a:lnTo>
                      <a:pt x="47" y="56"/>
                    </a:lnTo>
                    <a:lnTo>
                      <a:pt x="51" y="56"/>
                    </a:lnTo>
                    <a:lnTo>
                      <a:pt x="54" y="59"/>
                    </a:lnTo>
                    <a:lnTo>
                      <a:pt x="57" y="59"/>
                    </a:lnTo>
                    <a:lnTo>
                      <a:pt x="60" y="57"/>
                    </a:lnTo>
                    <a:lnTo>
                      <a:pt x="62" y="52"/>
                    </a:lnTo>
                    <a:lnTo>
                      <a:pt x="60" y="51"/>
                    </a:lnTo>
                    <a:lnTo>
                      <a:pt x="60" y="47"/>
                    </a:lnTo>
                    <a:lnTo>
                      <a:pt x="64" y="44"/>
                    </a:lnTo>
                    <a:lnTo>
                      <a:pt x="64" y="41"/>
                    </a:lnTo>
                    <a:lnTo>
                      <a:pt x="64" y="39"/>
                    </a:lnTo>
                    <a:lnTo>
                      <a:pt x="62" y="36"/>
                    </a:lnTo>
                    <a:lnTo>
                      <a:pt x="60" y="34"/>
                    </a:lnTo>
                    <a:lnTo>
                      <a:pt x="59" y="31"/>
                    </a:lnTo>
                    <a:lnTo>
                      <a:pt x="57" y="30"/>
                    </a:lnTo>
                    <a:lnTo>
                      <a:pt x="57" y="26"/>
                    </a:lnTo>
                    <a:lnTo>
                      <a:pt x="57" y="23"/>
                    </a:lnTo>
                    <a:lnTo>
                      <a:pt x="56" y="20"/>
                    </a:lnTo>
                    <a:lnTo>
                      <a:pt x="56" y="15"/>
                    </a:lnTo>
                    <a:lnTo>
                      <a:pt x="57" y="12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62" y="7"/>
                    </a:lnTo>
                    <a:lnTo>
                      <a:pt x="62" y="5"/>
                    </a:lnTo>
                    <a:lnTo>
                      <a:pt x="59" y="3"/>
                    </a:lnTo>
                    <a:lnTo>
                      <a:pt x="54" y="2"/>
                    </a:lnTo>
                    <a:lnTo>
                      <a:pt x="47" y="0"/>
                    </a:lnTo>
                    <a:lnTo>
                      <a:pt x="46" y="0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1" y="2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15" y="5"/>
                    </a:lnTo>
                    <a:lnTo>
                      <a:pt x="15" y="7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16"/>
                    </a:lnTo>
                    <a:lnTo>
                      <a:pt x="5" y="16"/>
                    </a:lnTo>
                    <a:lnTo>
                      <a:pt x="3" y="20"/>
                    </a:lnTo>
                    <a:lnTo>
                      <a:pt x="3" y="23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5" y="38"/>
                    </a:lnTo>
                    <a:lnTo>
                      <a:pt x="7" y="39"/>
                    </a:lnTo>
                    <a:lnTo>
                      <a:pt x="8" y="43"/>
                    </a:lnTo>
                    <a:lnTo>
                      <a:pt x="10" y="44"/>
                    </a:lnTo>
                    <a:lnTo>
                      <a:pt x="11" y="44"/>
                    </a:lnTo>
                    <a:lnTo>
                      <a:pt x="13" y="44"/>
                    </a:lnTo>
                    <a:lnTo>
                      <a:pt x="13" y="47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6" y="57"/>
                    </a:lnTo>
                    <a:lnTo>
                      <a:pt x="18" y="59"/>
                    </a:lnTo>
                    <a:lnTo>
                      <a:pt x="20" y="62"/>
                    </a:lnTo>
                    <a:lnTo>
                      <a:pt x="23" y="64"/>
                    </a:lnTo>
                    <a:lnTo>
                      <a:pt x="23" y="65"/>
                    </a:lnTo>
                    <a:lnTo>
                      <a:pt x="23" y="67"/>
                    </a:lnTo>
                    <a:lnTo>
                      <a:pt x="24" y="69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1" name="Freeform 335">
                <a:extLst>
                  <a:ext uri="{FF2B5EF4-FFF2-40B4-BE49-F238E27FC236}">
                    <a16:creationId xmlns:a16="http://schemas.microsoft.com/office/drawing/2014/main" xmlns="" id="{9ECDC146-F6D4-4EB0-BF95-0B170579E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" y="1918"/>
                <a:ext cx="78" cy="123"/>
              </a:xfrm>
              <a:custGeom>
                <a:avLst/>
                <a:gdLst>
                  <a:gd name="T0" fmla="*/ 13 w 78"/>
                  <a:gd name="T1" fmla="*/ 54 h 123"/>
                  <a:gd name="T2" fmla="*/ 15 w 78"/>
                  <a:gd name="T3" fmla="*/ 54 h 123"/>
                  <a:gd name="T4" fmla="*/ 21 w 78"/>
                  <a:gd name="T5" fmla="*/ 59 h 123"/>
                  <a:gd name="T6" fmla="*/ 20 w 78"/>
                  <a:gd name="T7" fmla="*/ 66 h 123"/>
                  <a:gd name="T8" fmla="*/ 21 w 78"/>
                  <a:gd name="T9" fmla="*/ 69 h 123"/>
                  <a:gd name="T10" fmla="*/ 26 w 78"/>
                  <a:gd name="T11" fmla="*/ 72 h 123"/>
                  <a:gd name="T12" fmla="*/ 29 w 78"/>
                  <a:gd name="T13" fmla="*/ 74 h 123"/>
                  <a:gd name="T14" fmla="*/ 28 w 78"/>
                  <a:gd name="T15" fmla="*/ 79 h 123"/>
                  <a:gd name="T16" fmla="*/ 23 w 78"/>
                  <a:gd name="T17" fmla="*/ 88 h 123"/>
                  <a:gd name="T18" fmla="*/ 23 w 78"/>
                  <a:gd name="T19" fmla="*/ 95 h 123"/>
                  <a:gd name="T20" fmla="*/ 23 w 78"/>
                  <a:gd name="T21" fmla="*/ 100 h 123"/>
                  <a:gd name="T22" fmla="*/ 23 w 78"/>
                  <a:gd name="T23" fmla="*/ 105 h 123"/>
                  <a:gd name="T24" fmla="*/ 28 w 78"/>
                  <a:gd name="T25" fmla="*/ 111 h 123"/>
                  <a:gd name="T26" fmla="*/ 31 w 78"/>
                  <a:gd name="T27" fmla="*/ 116 h 123"/>
                  <a:gd name="T28" fmla="*/ 39 w 78"/>
                  <a:gd name="T29" fmla="*/ 123 h 123"/>
                  <a:gd name="T30" fmla="*/ 44 w 78"/>
                  <a:gd name="T31" fmla="*/ 120 h 123"/>
                  <a:gd name="T32" fmla="*/ 47 w 78"/>
                  <a:gd name="T33" fmla="*/ 121 h 123"/>
                  <a:gd name="T34" fmla="*/ 51 w 78"/>
                  <a:gd name="T35" fmla="*/ 116 h 123"/>
                  <a:gd name="T36" fmla="*/ 61 w 78"/>
                  <a:gd name="T37" fmla="*/ 116 h 123"/>
                  <a:gd name="T38" fmla="*/ 65 w 78"/>
                  <a:gd name="T39" fmla="*/ 110 h 123"/>
                  <a:gd name="T40" fmla="*/ 72 w 78"/>
                  <a:gd name="T41" fmla="*/ 110 h 123"/>
                  <a:gd name="T42" fmla="*/ 78 w 78"/>
                  <a:gd name="T43" fmla="*/ 110 h 123"/>
                  <a:gd name="T44" fmla="*/ 77 w 78"/>
                  <a:gd name="T45" fmla="*/ 106 h 123"/>
                  <a:gd name="T46" fmla="*/ 74 w 78"/>
                  <a:gd name="T47" fmla="*/ 103 h 123"/>
                  <a:gd name="T48" fmla="*/ 70 w 78"/>
                  <a:gd name="T49" fmla="*/ 98 h 123"/>
                  <a:gd name="T50" fmla="*/ 69 w 78"/>
                  <a:gd name="T51" fmla="*/ 93 h 123"/>
                  <a:gd name="T52" fmla="*/ 67 w 78"/>
                  <a:gd name="T53" fmla="*/ 85 h 123"/>
                  <a:gd name="T54" fmla="*/ 64 w 78"/>
                  <a:gd name="T55" fmla="*/ 85 h 123"/>
                  <a:gd name="T56" fmla="*/ 61 w 78"/>
                  <a:gd name="T57" fmla="*/ 80 h 123"/>
                  <a:gd name="T58" fmla="*/ 59 w 78"/>
                  <a:gd name="T59" fmla="*/ 77 h 123"/>
                  <a:gd name="T60" fmla="*/ 54 w 78"/>
                  <a:gd name="T61" fmla="*/ 74 h 123"/>
                  <a:gd name="T62" fmla="*/ 57 w 78"/>
                  <a:gd name="T63" fmla="*/ 64 h 123"/>
                  <a:gd name="T64" fmla="*/ 59 w 78"/>
                  <a:gd name="T65" fmla="*/ 57 h 123"/>
                  <a:gd name="T66" fmla="*/ 65 w 78"/>
                  <a:gd name="T67" fmla="*/ 56 h 123"/>
                  <a:gd name="T68" fmla="*/ 67 w 78"/>
                  <a:gd name="T69" fmla="*/ 51 h 123"/>
                  <a:gd name="T70" fmla="*/ 69 w 78"/>
                  <a:gd name="T71" fmla="*/ 46 h 123"/>
                  <a:gd name="T72" fmla="*/ 67 w 78"/>
                  <a:gd name="T73" fmla="*/ 43 h 123"/>
                  <a:gd name="T74" fmla="*/ 67 w 78"/>
                  <a:gd name="T75" fmla="*/ 38 h 123"/>
                  <a:gd name="T76" fmla="*/ 56 w 78"/>
                  <a:gd name="T77" fmla="*/ 30 h 123"/>
                  <a:gd name="T78" fmla="*/ 51 w 78"/>
                  <a:gd name="T79" fmla="*/ 28 h 123"/>
                  <a:gd name="T80" fmla="*/ 46 w 78"/>
                  <a:gd name="T81" fmla="*/ 33 h 123"/>
                  <a:gd name="T82" fmla="*/ 44 w 78"/>
                  <a:gd name="T83" fmla="*/ 31 h 123"/>
                  <a:gd name="T84" fmla="*/ 46 w 78"/>
                  <a:gd name="T85" fmla="*/ 23 h 123"/>
                  <a:gd name="T86" fmla="*/ 41 w 78"/>
                  <a:gd name="T87" fmla="*/ 17 h 123"/>
                  <a:gd name="T88" fmla="*/ 31 w 78"/>
                  <a:gd name="T89" fmla="*/ 7 h 123"/>
                  <a:gd name="T90" fmla="*/ 28 w 78"/>
                  <a:gd name="T91" fmla="*/ 2 h 123"/>
                  <a:gd name="T92" fmla="*/ 25 w 78"/>
                  <a:gd name="T93" fmla="*/ 0 h 123"/>
                  <a:gd name="T94" fmla="*/ 18 w 78"/>
                  <a:gd name="T95" fmla="*/ 8 h 123"/>
                  <a:gd name="T96" fmla="*/ 13 w 78"/>
                  <a:gd name="T97" fmla="*/ 10 h 123"/>
                  <a:gd name="T98" fmla="*/ 10 w 78"/>
                  <a:gd name="T99" fmla="*/ 18 h 123"/>
                  <a:gd name="T100" fmla="*/ 15 w 78"/>
                  <a:gd name="T101" fmla="*/ 21 h 123"/>
                  <a:gd name="T102" fmla="*/ 18 w 78"/>
                  <a:gd name="T103" fmla="*/ 28 h 123"/>
                  <a:gd name="T104" fmla="*/ 10 w 78"/>
                  <a:gd name="T105" fmla="*/ 28 h 123"/>
                  <a:gd name="T106" fmla="*/ 5 w 78"/>
                  <a:gd name="T107" fmla="*/ 28 h 123"/>
                  <a:gd name="T108" fmla="*/ 3 w 78"/>
                  <a:gd name="T109" fmla="*/ 36 h 123"/>
                  <a:gd name="T110" fmla="*/ 2 w 78"/>
                  <a:gd name="T111" fmla="*/ 43 h 123"/>
                  <a:gd name="T112" fmla="*/ 12 w 78"/>
                  <a:gd name="T113" fmla="*/ 5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8" h="123">
                    <a:moveTo>
                      <a:pt x="12" y="54"/>
                    </a:moveTo>
                    <a:lnTo>
                      <a:pt x="13" y="54"/>
                    </a:lnTo>
                    <a:lnTo>
                      <a:pt x="13" y="56"/>
                    </a:lnTo>
                    <a:lnTo>
                      <a:pt x="15" y="54"/>
                    </a:lnTo>
                    <a:lnTo>
                      <a:pt x="20" y="56"/>
                    </a:lnTo>
                    <a:lnTo>
                      <a:pt x="21" y="59"/>
                    </a:lnTo>
                    <a:lnTo>
                      <a:pt x="21" y="62"/>
                    </a:lnTo>
                    <a:lnTo>
                      <a:pt x="20" y="66"/>
                    </a:lnTo>
                    <a:lnTo>
                      <a:pt x="18" y="69"/>
                    </a:lnTo>
                    <a:lnTo>
                      <a:pt x="21" y="69"/>
                    </a:lnTo>
                    <a:lnTo>
                      <a:pt x="25" y="69"/>
                    </a:lnTo>
                    <a:lnTo>
                      <a:pt x="26" y="72"/>
                    </a:lnTo>
                    <a:lnTo>
                      <a:pt x="26" y="74"/>
                    </a:lnTo>
                    <a:lnTo>
                      <a:pt x="29" y="74"/>
                    </a:lnTo>
                    <a:lnTo>
                      <a:pt x="29" y="75"/>
                    </a:lnTo>
                    <a:lnTo>
                      <a:pt x="28" y="79"/>
                    </a:lnTo>
                    <a:lnTo>
                      <a:pt x="26" y="84"/>
                    </a:lnTo>
                    <a:lnTo>
                      <a:pt x="23" y="88"/>
                    </a:lnTo>
                    <a:lnTo>
                      <a:pt x="23" y="92"/>
                    </a:lnTo>
                    <a:lnTo>
                      <a:pt x="23" y="95"/>
                    </a:lnTo>
                    <a:lnTo>
                      <a:pt x="21" y="98"/>
                    </a:lnTo>
                    <a:lnTo>
                      <a:pt x="23" y="100"/>
                    </a:lnTo>
                    <a:lnTo>
                      <a:pt x="21" y="102"/>
                    </a:lnTo>
                    <a:lnTo>
                      <a:pt x="23" y="105"/>
                    </a:lnTo>
                    <a:lnTo>
                      <a:pt x="25" y="108"/>
                    </a:lnTo>
                    <a:lnTo>
                      <a:pt x="28" y="111"/>
                    </a:lnTo>
                    <a:lnTo>
                      <a:pt x="28" y="113"/>
                    </a:lnTo>
                    <a:lnTo>
                      <a:pt x="31" y="116"/>
                    </a:lnTo>
                    <a:lnTo>
                      <a:pt x="38" y="123"/>
                    </a:lnTo>
                    <a:lnTo>
                      <a:pt x="39" y="123"/>
                    </a:lnTo>
                    <a:lnTo>
                      <a:pt x="41" y="121"/>
                    </a:lnTo>
                    <a:lnTo>
                      <a:pt x="44" y="120"/>
                    </a:lnTo>
                    <a:lnTo>
                      <a:pt x="44" y="121"/>
                    </a:lnTo>
                    <a:lnTo>
                      <a:pt x="47" y="121"/>
                    </a:lnTo>
                    <a:lnTo>
                      <a:pt x="51" y="118"/>
                    </a:lnTo>
                    <a:lnTo>
                      <a:pt x="51" y="116"/>
                    </a:lnTo>
                    <a:lnTo>
                      <a:pt x="54" y="116"/>
                    </a:lnTo>
                    <a:lnTo>
                      <a:pt x="61" y="116"/>
                    </a:lnTo>
                    <a:lnTo>
                      <a:pt x="62" y="111"/>
                    </a:lnTo>
                    <a:lnTo>
                      <a:pt x="65" y="110"/>
                    </a:lnTo>
                    <a:lnTo>
                      <a:pt x="70" y="110"/>
                    </a:lnTo>
                    <a:lnTo>
                      <a:pt x="72" y="110"/>
                    </a:lnTo>
                    <a:lnTo>
                      <a:pt x="74" y="110"/>
                    </a:lnTo>
                    <a:lnTo>
                      <a:pt x="78" y="110"/>
                    </a:lnTo>
                    <a:lnTo>
                      <a:pt x="77" y="108"/>
                    </a:lnTo>
                    <a:lnTo>
                      <a:pt x="77" y="106"/>
                    </a:lnTo>
                    <a:lnTo>
                      <a:pt x="77" y="105"/>
                    </a:lnTo>
                    <a:lnTo>
                      <a:pt x="74" y="103"/>
                    </a:lnTo>
                    <a:lnTo>
                      <a:pt x="72" y="100"/>
                    </a:lnTo>
                    <a:lnTo>
                      <a:pt x="70" y="98"/>
                    </a:lnTo>
                    <a:lnTo>
                      <a:pt x="69" y="97"/>
                    </a:lnTo>
                    <a:lnTo>
                      <a:pt x="69" y="93"/>
                    </a:lnTo>
                    <a:lnTo>
                      <a:pt x="67" y="88"/>
                    </a:lnTo>
                    <a:lnTo>
                      <a:pt x="67" y="85"/>
                    </a:lnTo>
                    <a:lnTo>
                      <a:pt x="65" y="85"/>
                    </a:lnTo>
                    <a:lnTo>
                      <a:pt x="64" y="85"/>
                    </a:lnTo>
                    <a:lnTo>
                      <a:pt x="62" y="84"/>
                    </a:lnTo>
                    <a:lnTo>
                      <a:pt x="61" y="80"/>
                    </a:lnTo>
                    <a:lnTo>
                      <a:pt x="59" y="79"/>
                    </a:lnTo>
                    <a:lnTo>
                      <a:pt x="59" y="77"/>
                    </a:lnTo>
                    <a:lnTo>
                      <a:pt x="57" y="75"/>
                    </a:lnTo>
                    <a:lnTo>
                      <a:pt x="54" y="74"/>
                    </a:lnTo>
                    <a:lnTo>
                      <a:pt x="54" y="71"/>
                    </a:lnTo>
                    <a:lnTo>
                      <a:pt x="57" y="64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7"/>
                    </a:lnTo>
                    <a:lnTo>
                      <a:pt x="65" y="56"/>
                    </a:lnTo>
                    <a:lnTo>
                      <a:pt x="67" y="53"/>
                    </a:lnTo>
                    <a:lnTo>
                      <a:pt x="67" y="51"/>
                    </a:lnTo>
                    <a:lnTo>
                      <a:pt x="69" y="48"/>
                    </a:lnTo>
                    <a:lnTo>
                      <a:pt x="69" y="46"/>
                    </a:lnTo>
                    <a:lnTo>
                      <a:pt x="69" y="46"/>
                    </a:lnTo>
                    <a:lnTo>
                      <a:pt x="67" y="43"/>
                    </a:lnTo>
                    <a:lnTo>
                      <a:pt x="67" y="39"/>
                    </a:lnTo>
                    <a:lnTo>
                      <a:pt x="67" y="38"/>
                    </a:lnTo>
                    <a:lnTo>
                      <a:pt x="61" y="36"/>
                    </a:lnTo>
                    <a:lnTo>
                      <a:pt x="56" y="30"/>
                    </a:lnTo>
                    <a:lnTo>
                      <a:pt x="52" y="28"/>
                    </a:lnTo>
                    <a:lnTo>
                      <a:pt x="51" y="28"/>
                    </a:lnTo>
                    <a:lnTo>
                      <a:pt x="47" y="30"/>
                    </a:lnTo>
                    <a:lnTo>
                      <a:pt x="46" y="33"/>
                    </a:lnTo>
                    <a:lnTo>
                      <a:pt x="44" y="35"/>
                    </a:lnTo>
                    <a:lnTo>
                      <a:pt x="44" y="31"/>
                    </a:lnTo>
                    <a:lnTo>
                      <a:pt x="44" y="26"/>
                    </a:lnTo>
                    <a:lnTo>
                      <a:pt x="46" y="23"/>
                    </a:lnTo>
                    <a:lnTo>
                      <a:pt x="44" y="18"/>
                    </a:lnTo>
                    <a:lnTo>
                      <a:pt x="41" y="17"/>
                    </a:lnTo>
                    <a:lnTo>
                      <a:pt x="36" y="12"/>
                    </a:lnTo>
                    <a:lnTo>
                      <a:pt x="31" y="7"/>
                    </a:lnTo>
                    <a:lnTo>
                      <a:pt x="31" y="5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18" y="8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8" y="15"/>
                    </a:lnTo>
                    <a:lnTo>
                      <a:pt x="10" y="18"/>
                    </a:lnTo>
                    <a:lnTo>
                      <a:pt x="12" y="21"/>
                    </a:lnTo>
                    <a:lnTo>
                      <a:pt x="15" y="21"/>
                    </a:lnTo>
                    <a:lnTo>
                      <a:pt x="18" y="23"/>
                    </a:lnTo>
                    <a:lnTo>
                      <a:pt x="18" y="28"/>
                    </a:lnTo>
                    <a:lnTo>
                      <a:pt x="13" y="30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5" y="28"/>
                    </a:lnTo>
                    <a:lnTo>
                      <a:pt x="3" y="31"/>
                    </a:lnTo>
                    <a:lnTo>
                      <a:pt x="3" y="36"/>
                    </a:lnTo>
                    <a:lnTo>
                      <a:pt x="0" y="39"/>
                    </a:lnTo>
                    <a:lnTo>
                      <a:pt x="2" y="43"/>
                    </a:lnTo>
                    <a:lnTo>
                      <a:pt x="5" y="49"/>
                    </a:lnTo>
                    <a:lnTo>
                      <a:pt x="12" y="54"/>
                    </a:lnTo>
                    <a:lnTo>
                      <a:pt x="12" y="5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2" name="Freeform 336">
                <a:extLst>
                  <a:ext uri="{FF2B5EF4-FFF2-40B4-BE49-F238E27FC236}">
                    <a16:creationId xmlns:a16="http://schemas.microsoft.com/office/drawing/2014/main" xmlns="" id="{ABFC355E-893C-4B79-998B-8BA81C66DC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4" y="1850"/>
                <a:ext cx="213" cy="199"/>
              </a:xfrm>
              <a:custGeom>
                <a:avLst/>
                <a:gdLst>
                  <a:gd name="T0" fmla="*/ 74 w 130"/>
                  <a:gd name="T1" fmla="*/ 122 h 122"/>
                  <a:gd name="T2" fmla="*/ 87 w 130"/>
                  <a:gd name="T3" fmla="*/ 110 h 122"/>
                  <a:gd name="T4" fmla="*/ 92 w 130"/>
                  <a:gd name="T5" fmla="*/ 104 h 122"/>
                  <a:gd name="T6" fmla="*/ 87 w 130"/>
                  <a:gd name="T7" fmla="*/ 93 h 122"/>
                  <a:gd name="T8" fmla="*/ 83 w 130"/>
                  <a:gd name="T9" fmla="*/ 87 h 122"/>
                  <a:gd name="T10" fmla="*/ 98 w 130"/>
                  <a:gd name="T11" fmla="*/ 89 h 122"/>
                  <a:gd name="T12" fmla="*/ 113 w 130"/>
                  <a:gd name="T13" fmla="*/ 84 h 122"/>
                  <a:gd name="T14" fmla="*/ 118 w 130"/>
                  <a:gd name="T15" fmla="*/ 72 h 122"/>
                  <a:gd name="T16" fmla="*/ 118 w 130"/>
                  <a:gd name="T17" fmla="*/ 59 h 122"/>
                  <a:gd name="T18" fmla="*/ 126 w 130"/>
                  <a:gd name="T19" fmla="*/ 56 h 122"/>
                  <a:gd name="T20" fmla="*/ 123 w 130"/>
                  <a:gd name="T21" fmla="*/ 48 h 122"/>
                  <a:gd name="T22" fmla="*/ 129 w 130"/>
                  <a:gd name="T23" fmla="*/ 42 h 122"/>
                  <a:gd name="T24" fmla="*/ 120 w 130"/>
                  <a:gd name="T25" fmla="*/ 40 h 122"/>
                  <a:gd name="T26" fmla="*/ 114 w 130"/>
                  <a:gd name="T27" fmla="*/ 41 h 122"/>
                  <a:gd name="T28" fmla="*/ 119 w 130"/>
                  <a:gd name="T29" fmla="*/ 36 h 122"/>
                  <a:gd name="T30" fmla="*/ 112 w 130"/>
                  <a:gd name="T31" fmla="*/ 30 h 122"/>
                  <a:gd name="T32" fmla="*/ 105 w 130"/>
                  <a:gd name="T33" fmla="*/ 27 h 122"/>
                  <a:gd name="T34" fmla="*/ 100 w 130"/>
                  <a:gd name="T35" fmla="*/ 24 h 122"/>
                  <a:gd name="T36" fmla="*/ 109 w 130"/>
                  <a:gd name="T37" fmla="*/ 21 h 122"/>
                  <a:gd name="T38" fmla="*/ 98 w 130"/>
                  <a:gd name="T39" fmla="*/ 19 h 122"/>
                  <a:gd name="T40" fmla="*/ 85 w 130"/>
                  <a:gd name="T41" fmla="*/ 23 h 122"/>
                  <a:gd name="T42" fmla="*/ 77 w 130"/>
                  <a:gd name="T43" fmla="*/ 26 h 122"/>
                  <a:gd name="T44" fmla="*/ 56 w 130"/>
                  <a:gd name="T45" fmla="*/ 23 h 122"/>
                  <a:gd name="T46" fmla="*/ 51 w 130"/>
                  <a:gd name="T47" fmla="*/ 19 h 122"/>
                  <a:gd name="T48" fmla="*/ 40 w 130"/>
                  <a:gd name="T49" fmla="*/ 13 h 122"/>
                  <a:gd name="T50" fmla="*/ 35 w 130"/>
                  <a:gd name="T51" fmla="*/ 4 h 122"/>
                  <a:gd name="T52" fmla="*/ 30 w 130"/>
                  <a:gd name="T53" fmla="*/ 11 h 122"/>
                  <a:gd name="T54" fmla="*/ 33 w 130"/>
                  <a:gd name="T55" fmla="*/ 14 h 122"/>
                  <a:gd name="T56" fmla="*/ 28 w 130"/>
                  <a:gd name="T57" fmla="*/ 15 h 122"/>
                  <a:gd name="T58" fmla="*/ 19 w 130"/>
                  <a:gd name="T59" fmla="*/ 23 h 122"/>
                  <a:gd name="T60" fmla="*/ 15 w 130"/>
                  <a:gd name="T61" fmla="*/ 37 h 122"/>
                  <a:gd name="T62" fmla="*/ 13 w 130"/>
                  <a:gd name="T63" fmla="*/ 28 h 122"/>
                  <a:gd name="T64" fmla="*/ 16 w 130"/>
                  <a:gd name="T65" fmla="*/ 17 h 122"/>
                  <a:gd name="T66" fmla="*/ 16 w 130"/>
                  <a:gd name="T67" fmla="*/ 11 h 122"/>
                  <a:gd name="T68" fmla="*/ 14 w 130"/>
                  <a:gd name="T69" fmla="*/ 10 h 122"/>
                  <a:gd name="T70" fmla="*/ 5 w 130"/>
                  <a:gd name="T71" fmla="*/ 20 h 122"/>
                  <a:gd name="T72" fmla="*/ 1 w 130"/>
                  <a:gd name="T73" fmla="*/ 34 h 122"/>
                  <a:gd name="T74" fmla="*/ 9 w 130"/>
                  <a:gd name="T75" fmla="*/ 45 h 122"/>
                  <a:gd name="T76" fmla="*/ 8 w 130"/>
                  <a:gd name="T77" fmla="*/ 53 h 122"/>
                  <a:gd name="T78" fmla="*/ 18 w 130"/>
                  <a:gd name="T79" fmla="*/ 57 h 122"/>
                  <a:gd name="T80" fmla="*/ 30 w 130"/>
                  <a:gd name="T81" fmla="*/ 57 h 122"/>
                  <a:gd name="T82" fmla="*/ 43 w 130"/>
                  <a:gd name="T83" fmla="*/ 65 h 122"/>
                  <a:gd name="T84" fmla="*/ 52 w 130"/>
                  <a:gd name="T85" fmla="*/ 65 h 122"/>
                  <a:gd name="T86" fmla="*/ 56 w 130"/>
                  <a:gd name="T87" fmla="*/ 71 h 122"/>
                  <a:gd name="T88" fmla="*/ 53 w 130"/>
                  <a:gd name="T89" fmla="*/ 80 h 122"/>
                  <a:gd name="T90" fmla="*/ 53 w 130"/>
                  <a:gd name="T91" fmla="*/ 89 h 122"/>
                  <a:gd name="T92" fmla="*/ 54 w 130"/>
                  <a:gd name="T93" fmla="*/ 101 h 122"/>
                  <a:gd name="T94" fmla="*/ 57 w 130"/>
                  <a:gd name="T95" fmla="*/ 107 h 122"/>
                  <a:gd name="T96" fmla="*/ 47 w 130"/>
                  <a:gd name="T97" fmla="*/ 3 h 122"/>
                  <a:gd name="T98" fmla="*/ 48 w 130"/>
                  <a:gd name="T99" fmla="*/ 5 h 122"/>
                  <a:gd name="T100" fmla="*/ 43 w 130"/>
                  <a:gd name="T101" fmla="*/ 6 h 122"/>
                  <a:gd name="T102" fmla="*/ 33 w 130"/>
                  <a:gd name="T103" fmla="*/ 2 h 122"/>
                  <a:gd name="T104" fmla="*/ 88 w 130"/>
                  <a:gd name="T105" fmla="*/ 16 h 122"/>
                  <a:gd name="T106" fmla="*/ 89 w 130"/>
                  <a:gd name="T107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0" h="122">
                    <a:moveTo>
                      <a:pt x="60" y="116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7" y="122"/>
                      <a:pt x="67" y="122"/>
                      <a:pt x="67" y="122"/>
                    </a:cubicBezTo>
                    <a:cubicBezTo>
                      <a:pt x="70" y="122"/>
                      <a:pt x="70" y="122"/>
                      <a:pt x="70" y="122"/>
                    </a:cubicBezTo>
                    <a:cubicBezTo>
                      <a:pt x="74" y="122"/>
                      <a:pt x="74" y="122"/>
                      <a:pt x="74" y="122"/>
                    </a:cubicBezTo>
                    <a:cubicBezTo>
                      <a:pt x="76" y="119"/>
                      <a:pt x="76" y="119"/>
                      <a:pt x="76" y="119"/>
                    </a:cubicBezTo>
                    <a:cubicBezTo>
                      <a:pt x="79" y="117"/>
                      <a:pt x="79" y="117"/>
                      <a:pt x="79" y="117"/>
                    </a:cubicBezTo>
                    <a:cubicBezTo>
                      <a:pt x="81" y="115"/>
                      <a:pt x="81" y="115"/>
                      <a:pt x="81" y="115"/>
                    </a:cubicBezTo>
                    <a:cubicBezTo>
                      <a:pt x="86" y="113"/>
                      <a:pt x="86" y="113"/>
                      <a:pt x="86" y="113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88" y="108"/>
                      <a:pt x="88" y="108"/>
                      <a:pt x="88" y="108"/>
                    </a:cubicBezTo>
                    <a:cubicBezTo>
                      <a:pt x="93" y="107"/>
                      <a:pt x="93" y="107"/>
                      <a:pt x="93" y="107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4"/>
                      <a:pt x="95" y="104"/>
                      <a:pt x="95" y="104"/>
                    </a:cubicBezTo>
                    <a:cubicBezTo>
                      <a:pt x="92" y="104"/>
                      <a:pt x="92" y="104"/>
                      <a:pt x="92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5" y="99"/>
                      <a:pt x="85" y="99"/>
                      <a:pt x="85" y="99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7" y="93"/>
                      <a:pt x="87" y="93"/>
                      <a:pt x="87" y="93"/>
                    </a:cubicBezTo>
                    <a:cubicBezTo>
                      <a:pt x="86" y="91"/>
                      <a:pt x="86" y="91"/>
                      <a:pt x="86" y="91"/>
                    </a:cubicBezTo>
                    <a:cubicBezTo>
                      <a:pt x="84" y="89"/>
                      <a:pt x="84" y="89"/>
                      <a:pt x="84" y="89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0" y="86"/>
                      <a:pt x="80" y="86"/>
                      <a:pt x="80" y="86"/>
                    </a:cubicBezTo>
                    <a:cubicBezTo>
                      <a:pt x="83" y="87"/>
                      <a:pt x="83" y="87"/>
                      <a:pt x="83" y="87"/>
                    </a:cubicBezTo>
                    <a:cubicBezTo>
                      <a:pt x="86" y="87"/>
                      <a:pt x="86" y="87"/>
                      <a:pt x="86" y="87"/>
                    </a:cubicBezTo>
                    <a:cubicBezTo>
                      <a:pt x="89" y="89"/>
                      <a:pt x="89" y="89"/>
                      <a:pt x="89" y="89"/>
                    </a:cubicBezTo>
                    <a:cubicBezTo>
                      <a:pt x="93" y="89"/>
                      <a:pt x="93" y="89"/>
                      <a:pt x="93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8" y="89"/>
                      <a:pt x="98" y="89"/>
                      <a:pt x="98" y="89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4" y="85"/>
                      <a:pt x="104" y="85"/>
                      <a:pt x="104" y="85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13" y="84"/>
                      <a:pt x="113" y="84"/>
                      <a:pt x="113" y="84"/>
                    </a:cubicBezTo>
                    <a:cubicBezTo>
                      <a:pt x="116" y="83"/>
                      <a:pt x="116" y="83"/>
                      <a:pt x="116" y="83"/>
                    </a:cubicBezTo>
                    <a:cubicBezTo>
                      <a:pt x="121" y="80"/>
                      <a:pt x="121" y="80"/>
                      <a:pt x="121" y="80"/>
                    </a:cubicBezTo>
                    <a:cubicBezTo>
                      <a:pt x="122" y="77"/>
                      <a:pt x="122" y="77"/>
                      <a:pt x="122" y="77"/>
                    </a:cubicBezTo>
                    <a:cubicBezTo>
                      <a:pt x="122" y="75"/>
                      <a:pt x="122" y="75"/>
                      <a:pt x="122" y="75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5" y="66"/>
                      <a:pt x="115" y="66"/>
                      <a:pt x="115" y="66"/>
                    </a:cubicBezTo>
                    <a:cubicBezTo>
                      <a:pt x="117" y="64"/>
                      <a:pt x="117" y="64"/>
                      <a:pt x="117" y="64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8" y="59"/>
                      <a:pt x="118" y="59"/>
                      <a:pt x="118" y="59"/>
                    </a:cubicBezTo>
                    <a:cubicBezTo>
                      <a:pt x="120" y="60"/>
                      <a:pt x="120" y="60"/>
                      <a:pt x="120" y="60"/>
                    </a:cubicBezTo>
                    <a:cubicBezTo>
                      <a:pt x="121" y="59"/>
                      <a:pt x="121" y="59"/>
                      <a:pt x="121" y="59"/>
                    </a:cubicBezTo>
                    <a:cubicBezTo>
                      <a:pt x="123" y="60"/>
                      <a:pt x="123" y="60"/>
                      <a:pt x="123" y="60"/>
                    </a:cubicBezTo>
                    <a:cubicBezTo>
                      <a:pt x="126" y="59"/>
                      <a:pt x="126" y="59"/>
                      <a:pt x="126" y="59"/>
                    </a:cubicBezTo>
                    <a:cubicBezTo>
                      <a:pt x="126" y="56"/>
                      <a:pt x="126" y="56"/>
                      <a:pt x="126" y="56"/>
                    </a:cubicBezTo>
                    <a:cubicBezTo>
                      <a:pt x="124" y="55"/>
                      <a:pt x="124" y="55"/>
                      <a:pt x="124" y="55"/>
                    </a:cubicBezTo>
                    <a:cubicBezTo>
                      <a:pt x="122" y="55"/>
                      <a:pt x="122" y="55"/>
                      <a:pt x="122" y="55"/>
                    </a:cubicBezTo>
                    <a:cubicBezTo>
                      <a:pt x="121" y="53"/>
                      <a:pt x="121" y="53"/>
                      <a:pt x="121" y="53"/>
                    </a:cubicBezTo>
                    <a:cubicBezTo>
                      <a:pt x="120" y="51"/>
                      <a:pt x="120" y="51"/>
                      <a:pt x="120" y="51"/>
                    </a:cubicBezTo>
                    <a:cubicBezTo>
                      <a:pt x="123" y="48"/>
                      <a:pt x="123" y="48"/>
                      <a:pt x="123" y="48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6" y="47"/>
                      <a:pt x="126" y="47"/>
                      <a:pt x="126" y="47"/>
                    </a:cubicBezTo>
                    <a:cubicBezTo>
                      <a:pt x="129" y="43"/>
                      <a:pt x="129" y="43"/>
                      <a:pt x="129" y="43"/>
                    </a:cubicBezTo>
                    <a:cubicBezTo>
                      <a:pt x="130" y="42"/>
                      <a:pt x="130" y="42"/>
                      <a:pt x="130" y="42"/>
                    </a:cubicBezTo>
                    <a:cubicBezTo>
                      <a:pt x="129" y="42"/>
                      <a:pt x="129" y="42"/>
                      <a:pt x="129" y="42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124" y="40"/>
                      <a:pt x="124" y="40"/>
                      <a:pt x="124" y="40"/>
                    </a:cubicBezTo>
                    <a:cubicBezTo>
                      <a:pt x="123" y="41"/>
                      <a:pt x="123" y="41"/>
                      <a:pt x="123" y="41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0" y="40"/>
                      <a:pt x="120" y="40"/>
                      <a:pt x="120" y="40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3" y="41"/>
                      <a:pt x="113" y="41"/>
                      <a:pt x="113" y="41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14" y="41"/>
                      <a:pt x="114" y="41"/>
                      <a:pt x="114" y="41"/>
                    </a:cubicBezTo>
                    <a:cubicBezTo>
                      <a:pt x="115" y="41"/>
                      <a:pt x="115" y="41"/>
                      <a:pt x="115" y="41"/>
                    </a:cubicBezTo>
                    <a:cubicBezTo>
                      <a:pt x="116" y="40"/>
                      <a:pt x="116" y="40"/>
                      <a:pt x="116" y="40"/>
                    </a:cubicBezTo>
                    <a:cubicBezTo>
                      <a:pt x="117" y="38"/>
                      <a:pt x="117" y="38"/>
                      <a:pt x="117" y="38"/>
                    </a:cubicBezTo>
                    <a:cubicBezTo>
                      <a:pt x="119" y="37"/>
                      <a:pt x="119" y="37"/>
                      <a:pt x="119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18" y="35"/>
                      <a:pt x="118" y="35"/>
                      <a:pt x="118" y="35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8" y="33"/>
                      <a:pt x="118" y="33"/>
                      <a:pt x="118" y="33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2" y="30"/>
                      <a:pt x="112" y="30"/>
                      <a:pt x="112" y="30"/>
                    </a:cubicBezTo>
                    <a:cubicBezTo>
                      <a:pt x="111" y="29"/>
                      <a:pt x="111" y="29"/>
                      <a:pt x="111" y="29"/>
                    </a:cubicBezTo>
                    <a:cubicBezTo>
                      <a:pt x="110" y="29"/>
                      <a:pt x="110" y="29"/>
                      <a:pt x="110" y="29"/>
                    </a:cubicBezTo>
                    <a:cubicBezTo>
                      <a:pt x="108" y="29"/>
                      <a:pt x="108" y="29"/>
                      <a:pt x="108" y="29"/>
                    </a:cubicBezTo>
                    <a:cubicBezTo>
                      <a:pt x="107" y="28"/>
                      <a:pt x="107" y="28"/>
                      <a:pt x="107" y="28"/>
                    </a:cubicBezTo>
                    <a:cubicBezTo>
                      <a:pt x="105" y="27"/>
                      <a:pt x="105" y="27"/>
                      <a:pt x="105" y="27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104" y="29"/>
                      <a:pt x="104" y="29"/>
                      <a:pt x="104" y="29"/>
                    </a:cubicBezTo>
                    <a:cubicBezTo>
                      <a:pt x="103" y="27"/>
                      <a:pt x="103" y="27"/>
                      <a:pt x="103" y="27"/>
                    </a:cubicBezTo>
                    <a:cubicBezTo>
                      <a:pt x="102" y="25"/>
                      <a:pt x="102" y="25"/>
                      <a:pt x="102" y="25"/>
                    </a:cubicBezTo>
                    <a:cubicBezTo>
                      <a:pt x="100" y="24"/>
                      <a:pt x="100" y="24"/>
                      <a:pt x="100" y="24"/>
                    </a:cubicBezTo>
                    <a:cubicBezTo>
                      <a:pt x="100" y="23"/>
                      <a:pt x="100" y="23"/>
                      <a:pt x="100" y="23"/>
                    </a:cubicBezTo>
                    <a:cubicBezTo>
                      <a:pt x="101" y="22"/>
                      <a:pt x="101" y="22"/>
                      <a:pt x="101" y="22"/>
                    </a:cubicBezTo>
                    <a:cubicBezTo>
                      <a:pt x="105" y="22"/>
                      <a:pt x="105" y="22"/>
                      <a:pt x="105" y="22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7" y="20"/>
                      <a:pt x="107" y="20"/>
                      <a:pt x="107" y="2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0"/>
                      <a:pt x="92" y="20"/>
                      <a:pt x="92" y="20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7" y="23"/>
                      <a:pt x="87" y="23"/>
                      <a:pt x="87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3" y="24"/>
                      <a:pt x="83" y="24"/>
                      <a:pt x="83" y="24"/>
                    </a:cubicBezTo>
                    <a:cubicBezTo>
                      <a:pt x="82" y="25"/>
                      <a:pt x="82" y="25"/>
                      <a:pt x="82" y="25"/>
                    </a:cubicBezTo>
                    <a:cubicBezTo>
                      <a:pt x="79" y="26"/>
                      <a:pt x="79" y="26"/>
                      <a:pt x="79" y="26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7" y="26"/>
                      <a:pt x="77" y="26"/>
                      <a:pt x="77" y="26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8" y="13"/>
                      <a:pt x="38" y="13"/>
                      <a:pt x="38" y="13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9" y="45"/>
                      <a:pt x="9" y="45"/>
                      <a:pt x="9" y="45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8" y="57"/>
                      <a:pt x="18" y="57"/>
                      <a:pt x="18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24" y="57"/>
                      <a:pt x="24" y="57"/>
                      <a:pt x="24" y="57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3" y="65"/>
                      <a:pt x="43" y="65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65"/>
                      <a:pt x="50" y="65"/>
                      <a:pt x="50" y="65"/>
                    </a:cubicBezTo>
                    <a:cubicBezTo>
                      <a:pt x="52" y="65"/>
                      <a:pt x="52" y="65"/>
                      <a:pt x="52" y="65"/>
                    </a:cubicBezTo>
                    <a:cubicBezTo>
                      <a:pt x="53" y="65"/>
                      <a:pt x="53" y="65"/>
                      <a:pt x="53" y="65"/>
                    </a:cubicBezTo>
                    <a:cubicBezTo>
                      <a:pt x="55" y="65"/>
                      <a:pt x="55" y="65"/>
                      <a:pt x="55" y="65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56" y="71"/>
                      <a:pt x="56" y="71"/>
                      <a:pt x="56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3" y="80"/>
                      <a:pt x="53" y="80"/>
                      <a:pt x="53" y="80"/>
                    </a:cubicBezTo>
                    <a:cubicBezTo>
                      <a:pt x="53" y="81"/>
                      <a:pt x="53" y="81"/>
                      <a:pt x="53" y="81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3" y="88"/>
                      <a:pt x="53" y="88"/>
                      <a:pt x="53" y="88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94"/>
                      <a:pt x="55" y="94"/>
                      <a:pt x="55" y="94"/>
                    </a:cubicBezTo>
                    <a:cubicBezTo>
                      <a:pt x="52" y="100"/>
                      <a:pt x="52" y="100"/>
                      <a:pt x="52" y="100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54" y="101"/>
                      <a:pt x="54" y="101"/>
                      <a:pt x="54" y="101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55" y="103"/>
                      <a:pt x="55" y="103"/>
                      <a:pt x="55" y="103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7"/>
                      <a:pt x="57" y="107"/>
                      <a:pt x="57" y="107"/>
                    </a:cubicBezTo>
                    <a:cubicBezTo>
                      <a:pt x="58" y="110"/>
                      <a:pt x="58" y="110"/>
                      <a:pt x="58" y="110"/>
                    </a:cubicBezTo>
                    <a:cubicBezTo>
                      <a:pt x="60" y="115"/>
                      <a:pt x="60" y="115"/>
                      <a:pt x="60" y="115"/>
                    </a:cubicBezTo>
                    <a:cubicBezTo>
                      <a:pt x="60" y="116"/>
                      <a:pt x="60" y="116"/>
                      <a:pt x="60" y="116"/>
                    </a:cubicBezTo>
                    <a:cubicBezTo>
                      <a:pt x="60" y="116"/>
                      <a:pt x="60" y="116"/>
                      <a:pt x="60" y="116"/>
                    </a:cubicBezTo>
                    <a:close/>
                    <a:moveTo>
                      <a:pt x="47" y="3"/>
                    </a:moveTo>
                    <a:cubicBezTo>
                      <a:pt x="49" y="3"/>
                      <a:pt x="49" y="3"/>
                      <a:pt x="49" y="3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7" y="3"/>
                      <a:pt x="47" y="3"/>
                      <a:pt x="47" y="3"/>
                    </a:cubicBezTo>
                    <a:close/>
                    <a:moveTo>
                      <a:pt x="41" y="3"/>
                    </a:moveTo>
                    <a:cubicBezTo>
                      <a:pt x="42" y="5"/>
                      <a:pt x="42" y="5"/>
                      <a:pt x="4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1" y="3"/>
                      <a:pt x="41" y="3"/>
                      <a:pt x="41" y="3"/>
                    </a:cubicBezTo>
                    <a:close/>
                    <a:moveTo>
                      <a:pt x="31" y="0"/>
                    </a:move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1" y="0"/>
                      <a:pt x="31" y="0"/>
                      <a:pt x="31" y="0"/>
                    </a:cubicBezTo>
                    <a:close/>
                    <a:moveTo>
                      <a:pt x="86" y="17"/>
                    </a:moveTo>
                    <a:cubicBezTo>
                      <a:pt x="88" y="16"/>
                      <a:pt x="88" y="16"/>
                      <a:pt x="88" y="16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8"/>
                      <a:pt x="89" y="18"/>
                      <a:pt x="89" y="18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7" y="18"/>
                      <a:pt x="86" y="17"/>
                      <a:pt x="86" y="17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3" name="Freeform 337">
                <a:extLst>
                  <a:ext uri="{FF2B5EF4-FFF2-40B4-BE49-F238E27FC236}">
                    <a16:creationId xmlns:a16="http://schemas.microsoft.com/office/drawing/2014/main" xmlns="" id="{88CB2C5C-4599-4F2D-8DF8-B8DEE208D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3" y="1853"/>
                <a:ext cx="189" cy="278"/>
              </a:xfrm>
              <a:custGeom>
                <a:avLst/>
                <a:gdLst>
                  <a:gd name="T0" fmla="*/ 153 w 189"/>
                  <a:gd name="T1" fmla="*/ 227 h 278"/>
                  <a:gd name="T2" fmla="*/ 152 w 189"/>
                  <a:gd name="T3" fmla="*/ 199 h 278"/>
                  <a:gd name="T4" fmla="*/ 153 w 189"/>
                  <a:gd name="T5" fmla="*/ 189 h 278"/>
                  <a:gd name="T6" fmla="*/ 166 w 189"/>
                  <a:gd name="T7" fmla="*/ 176 h 278"/>
                  <a:gd name="T8" fmla="*/ 181 w 189"/>
                  <a:gd name="T9" fmla="*/ 173 h 278"/>
                  <a:gd name="T10" fmla="*/ 189 w 189"/>
                  <a:gd name="T11" fmla="*/ 186 h 278"/>
                  <a:gd name="T12" fmla="*/ 183 w 189"/>
                  <a:gd name="T13" fmla="*/ 167 h 278"/>
                  <a:gd name="T14" fmla="*/ 176 w 189"/>
                  <a:gd name="T15" fmla="*/ 163 h 278"/>
                  <a:gd name="T16" fmla="*/ 176 w 189"/>
                  <a:gd name="T17" fmla="*/ 137 h 278"/>
                  <a:gd name="T18" fmla="*/ 178 w 189"/>
                  <a:gd name="T19" fmla="*/ 119 h 278"/>
                  <a:gd name="T20" fmla="*/ 183 w 189"/>
                  <a:gd name="T21" fmla="*/ 104 h 278"/>
                  <a:gd name="T22" fmla="*/ 170 w 189"/>
                  <a:gd name="T23" fmla="*/ 103 h 278"/>
                  <a:gd name="T24" fmla="*/ 158 w 189"/>
                  <a:gd name="T25" fmla="*/ 101 h 278"/>
                  <a:gd name="T26" fmla="*/ 130 w 189"/>
                  <a:gd name="T27" fmla="*/ 90 h 278"/>
                  <a:gd name="T28" fmla="*/ 116 w 189"/>
                  <a:gd name="T29" fmla="*/ 88 h 278"/>
                  <a:gd name="T30" fmla="*/ 106 w 189"/>
                  <a:gd name="T31" fmla="*/ 80 h 278"/>
                  <a:gd name="T32" fmla="*/ 96 w 189"/>
                  <a:gd name="T33" fmla="*/ 54 h 278"/>
                  <a:gd name="T34" fmla="*/ 95 w 189"/>
                  <a:gd name="T35" fmla="*/ 42 h 278"/>
                  <a:gd name="T36" fmla="*/ 104 w 189"/>
                  <a:gd name="T37" fmla="*/ 23 h 278"/>
                  <a:gd name="T38" fmla="*/ 122 w 189"/>
                  <a:gd name="T39" fmla="*/ 10 h 278"/>
                  <a:gd name="T40" fmla="*/ 126 w 189"/>
                  <a:gd name="T41" fmla="*/ 3 h 278"/>
                  <a:gd name="T42" fmla="*/ 114 w 189"/>
                  <a:gd name="T43" fmla="*/ 3 h 278"/>
                  <a:gd name="T44" fmla="*/ 108 w 189"/>
                  <a:gd name="T45" fmla="*/ 8 h 278"/>
                  <a:gd name="T46" fmla="*/ 90 w 189"/>
                  <a:gd name="T47" fmla="*/ 18 h 278"/>
                  <a:gd name="T48" fmla="*/ 78 w 189"/>
                  <a:gd name="T49" fmla="*/ 24 h 278"/>
                  <a:gd name="T50" fmla="*/ 73 w 189"/>
                  <a:gd name="T51" fmla="*/ 24 h 278"/>
                  <a:gd name="T52" fmla="*/ 62 w 189"/>
                  <a:gd name="T53" fmla="*/ 26 h 278"/>
                  <a:gd name="T54" fmla="*/ 54 w 189"/>
                  <a:gd name="T55" fmla="*/ 42 h 278"/>
                  <a:gd name="T56" fmla="*/ 49 w 189"/>
                  <a:gd name="T57" fmla="*/ 51 h 278"/>
                  <a:gd name="T58" fmla="*/ 36 w 189"/>
                  <a:gd name="T59" fmla="*/ 62 h 278"/>
                  <a:gd name="T60" fmla="*/ 36 w 189"/>
                  <a:gd name="T61" fmla="*/ 75 h 278"/>
                  <a:gd name="T62" fmla="*/ 29 w 189"/>
                  <a:gd name="T63" fmla="*/ 69 h 278"/>
                  <a:gd name="T64" fmla="*/ 26 w 189"/>
                  <a:gd name="T65" fmla="*/ 72 h 278"/>
                  <a:gd name="T66" fmla="*/ 18 w 189"/>
                  <a:gd name="T67" fmla="*/ 86 h 278"/>
                  <a:gd name="T68" fmla="*/ 24 w 189"/>
                  <a:gd name="T69" fmla="*/ 98 h 278"/>
                  <a:gd name="T70" fmla="*/ 24 w 189"/>
                  <a:gd name="T71" fmla="*/ 106 h 278"/>
                  <a:gd name="T72" fmla="*/ 24 w 189"/>
                  <a:gd name="T73" fmla="*/ 116 h 278"/>
                  <a:gd name="T74" fmla="*/ 23 w 189"/>
                  <a:gd name="T75" fmla="*/ 137 h 278"/>
                  <a:gd name="T76" fmla="*/ 31 w 189"/>
                  <a:gd name="T77" fmla="*/ 144 h 278"/>
                  <a:gd name="T78" fmla="*/ 19 w 189"/>
                  <a:gd name="T79" fmla="*/ 160 h 278"/>
                  <a:gd name="T80" fmla="*/ 0 w 189"/>
                  <a:gd name="T81" fmla="*/ 181 h 278"/>
                  <a:gd name="T82" fmla="*/ 19 w 189"/>
                  <a:gd name="T83" fmla="*/ 194 h 278"/>
                  <a:gd name="T84" fmla="*/ 32 w 189"/>
                  <a:gd name="T85" fmla="*/ 206 h 278"/>
                  <a:gd name="T86" fmla="*/ 44 w 189"/>
                  <a:gd name="T87" fmla="*/ 201 h 278"/>
                  <a:gd name="T88" fmla="*/ 55 w 189"/>
                  <a:gd name="T89" fmla="*/ 207 h 278"/>
                  <a:gd name="T90" fmla="*/ 68 w 189"/>
                  <a:gd name="T91" fmla="*/ 212 h 278"/>
                  <a:gd name="T92" fmla="*/ 78 w 189"/>
                  <a:gd name="T93" fmla="*/ 227 h 278"/>
                  <a:gd name="T94" fmla="*/ 91 w 189"/>
                  <a:gd name="T95" fmla="*/ 238 h 278"/>
                  <a:gd name="T96" fmla="*/ 99 w 189"/>
                  <a:gd name="T97" fmla="*/ 248 h 278"/>
                  <a:gd name="T98" fmla="*/ 117 w 189"/>
                  <a:gd name="T99" fmla="*/ 245 h 278"/>
                  <a:gd name="T100" fmla="*/ 132 w 189"/>
                  <a:gd name="T101" fmla="*/ 247 h 278"/>
                  <a:gd name="T102" fmla="*/ 130 w 189"/>
                  <a:gd name="T103" fmla="*/ 269 h 278"/>
                  <a:gd name="T104" fmla="*/ 142 w 189"/>
                  <a:gd name="T105" fmla="*/ 278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9" h="278">
                    <a:moveTo>
                      <a:pt x="142" y="278"/>
                    </a:moveTo>
                    <a:lnTo>
                      <a:pt x="144" y="268"/>
                    </a:lnTo>
                    <a:lnTo>
                      <a:pt x="153" y="234"/>
                    </a:lnTo>
                    <a:lnTo>
                      <a:pt x="153" y="232"/>
                    </a:lnTo>
                    <a:lnTo>
                      <a:pt x="153" y="227"/>
                    </a:lnTo>
                    <a:lnTo>
                      <a:pt x="150" y="219"/>
                    </a:lnTo>
                    <a:lnTo>
                      <a:pt x="144" y="214"/>
                    </a:lnTo>
                    <a:lnTo>
                      <a:pt x="140" y="211"/>
                    </a:lnTo>
                    <a:lnTo>
                      <a:pt x="140" y="202"/>
                    </a:lnTo>
                    <a:lnTo>
                      <a:pt x="152" y="199"/>
                    </a:lnTo>
                    <a:lnTo>
                      <a:pt x="155" y="201"/>
                    </a:lnTo>
                    <a:lnTo>
                      <a:pt x="155" y="198"/>
                    </a:lnTo>
                    <a:lnTo>
                      <a:pt x="153" y="196"/>
                    </a:lnTo>
                    <a:lnTo>
                      <a:pt x="155" y="194"/>
                    </a:lnTo>
                    <a:lnTo>
                      <a:pt x="153" y="189"/>
                    </a:lnTo>
                    <a:lnTo>
                      <a:pt x="147" y="188"/>
                    </a:lnTo>
                    <a:lnTo>
                      <a:pt x="145" y="185"/>
                    </a:lnTo>
                    <a:lnTo>
                      <a:pt x="147" y="180"/>
                    </a:lnTo>
                    <a:lnTo>
                      <a:pt x="165" y="180"/>
                    </a:lnTo>
                    <a:lnTo>
                      <a:pt x="166" y="176"/>
                    </a:lnTo>
                    <a:lnTo>
                      <a:pt x="170" y="176"/>
                    </a:lnTo>
                    <a:lnTo>
                      <a:pt x="171" y="178"/>
                    </a:lnTo>
                    <a:lnTo>
                      <a:pt x="173" y="178"/>
                    </a:lnTo>
                    <a:lnTo>
                      <a:pt x="176" y="175"/>
                    </a:lnTo>
                    <a:lnTo>
                      <a:pt x="181" y="173"/>
                    </a:lnTo>
                    <a:lnTo>
                      <a:pt x="181" y="176"/>
                    </a:lnTo>
                    <a:lnTo>
                      <a:pt x="184" y="180"/>
                    </a:lnTo>
                    <a:lnTo>
                      <a:pt x="184" y="183"/>
                    </a:lnTo>
                    <a:lnTo>
                      <a:pt x="184" y="188"/>
                    </a:lnTo>
                    <a:lnTo>
                      <a:pt x="189" y="186"/>
                    </a:lnTo>
                    <a:lnTo>
                      <a:pt x="189" y="185"/>
                    </a:lnTo>
                    <a:lnTo>
                      <a:pt x="186" y="176"/>
                    </a:lnTo>
                    <a:lnTo>
                      <a:pt x="184" y="171"/>
                    </a:lnTo>
                    <a:lnTo>
                      <a:pt x="184" y="170"/>
                    </a:lnTo>
                    <a:lnTo>
                      <a:pt x="183" y="167"/>
                    </a:lnTo>
                    <a:lnTo>
                      <a:pt x="181" y="165"/>
                    </a:lnTo>
                    <a:lnTo>
                      <a:pt x="181" y="163"/>
                    </a:lnTo>
                    <a:lnTo>
                      <a:pt x="179" y="162"/>
                    </a:lnTo>
                    <a:lnTo>
                      <a:pt x="178" y="163"/>
                    </a:lnTo>
                    <a:lnTo>
                      <a:pt x="176" y="163"/>
                    </a:lnTo>
                    <a:lnTo>
                      <a:pt x="176" y="160"/>
                    </a:lnTo>
                    <a:lnTo>
                      <a:pt x="181" y="150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6" y="137"/>
                    </a:lnTo>
                    <a:lnTo>
                      <a:pt x="176" y="132"/>
                    </a:lnTo>
                    <a:lnTo>
                      <a:pt x="178" y="129"/>
                    </a:lnTo>
                    <a:lnTo>
                      <a:pt x="178" y="127"/>
                    </a:lnTo>
                    <a:lnTo>
                      <a:pt x="176" y="121"/>
                    </a:lnTo>
                    <a:lnTo>
                      <a:pt x="178" y="119"/>
                    </a:lnTo>
                    <a:lnTo>
                      <a:pt x="181" y="118"/>
                    </a:lnTo>
                    <a:lnTo>
                      <a:pt x="183" y="116"/>
                    </a:lnTo>
                    <a:lnTo>
                      <a:pt x="183" y="113"/>
                    </a:lnTo>
                    <a:lnTo>
                      <a:pt x="184" y="109"/>
                    </a:lnTo>
                    <a:lnTo>
                      <a:pt x="183" y="104"/>
                    </a:lnTo>
                    <a:lnTo>
                      <a:pt x="181" y="103"/>
                    </a:lnTo>
                    <a:lnTo>
                      <a:pt x="178" y="103"/>
                    </a:lnTo>
                    <a:lnTo>
                      <a:pt x="176" y="103"/>
                    </a:lnTo>
                    <a:lnTo>
                      <a:pt x="173" y="103"/>
                    </a:lnTo>
                    <a:lnTo>
                      <a:pt x="170" y="103"/>
                    </a:lnTo>
                    <a:lnTo>
                      <a:pt x="166" y="104"/>
                    </a:lnTo>
                    <a:lnTo>
                      <a:pt x="165" y="103"/>
                    </a:lnTo>
                    <a:lnTo>
                      <a:pt x="162" y="103"/>
                    </a:lnTo>
                    <a:lnTo>
                      <a:pt x="160" y="103"/>
                    </a:lnTo>
                    <a:lnTo>
                      <a:pt x="158" y="101"/>
                    </a:lnTo>
                    <a:lnTo>
                      <a:pt x="155" y="103"/>
                    </a:lnTo>
                    <a:lnTo>
                      <a:pt x="142" y="91"/>
                    </a:lnTo>
                    <a:lnTo>
                      <a:pt x="140" y="90"/>
                    </a:lnTo>
                    <a:lnTo>
                      <a:pt x="135" y="88"/>
                    </a:lnTo>
                    <a:lnTo>
                      <a:pt x="130" y="90"/>
                    </a:lnTo>
                    <a:lnTo>
                      <a:pt x="129" y="90"/>
                    </a:lnTo>
                    <a:lnTo>
                      <a:pt x="126" y="90"/>
                    </a:lnTo>
                    <a:lnTo>
                      <a:pt x="121" y="90"/>
                    </a:lnTo>
                    <a:lnTo>
                      <a:pt x="119" y="90"/>
                    </a:lnTo>
                    <a:lnTo>
                      <a:pt x="116" y="88"/>
                    </a:lnTo>
                    <a:lnTo>
                      <a:pt x="113" y="88"/>
                    </a:lnTo>
                    <a:lnTo>
                      <a:pt x="108" y="86"/>
                    </a:lnTo>
                    <a:lnTo>
                      <a:pt x="104" y="83"/>
                    </a:lnTo>
                    <a:lnTo>
                      <a:pt x="104" y="82"/>
                    </a:lnTo>
                    <a:lnTo>
                      <a:pt x="106" y="80"/>
                    </a:lnTo>
                    <a:lnTo>
                      <a:pt x="104" y="77"/>
                    </a:lnTo>
                    <a:lnTo>
                      <a:pt x="106" y="73"/>
                    </a:lnTo>
                    <a:lnTo>
                      <a:pt x="106" y="70"/>
                    </a:lnTo>
                    <a:lnTo>
                      <a:pt x="103" y="67"/>
                    </a:lnTo>
                    <a:lnTo>
                      <a:pt x="96" y="54"/>
                    </a:lnTo>
                    <a:lnTo>
                      <a:pt x="95" y="54"/>
                    </a:lnTo>
                    <a:lnTo>
                      <a:pt x="91" y="54"/>
                    </a:lnTo>
                    <a:lnTo>
                      <a:pt x="93" y="52"/>
                    </a:lnTo>
                    <a:lnTo>
                      <a:pt x="95" y="47"/>
                    </a:lnTo>
                    <a:lnTo>
                      <a:pt x="95" y="42"/>
                    </a:lnTo>
                    <a:lnTo>
                      <a:pt x="95" y="39"/>
                    </a:lnTo>
                    <a:lnTo>
                      <a:pt x="95" y="36"/>
                    </a:lnTo>
                    <a:lnTo>
                      <a:pt x="99" y="29"/>
                    </a:lnTo>
                    <a:lnTo>
                      <a:pt x="103" y="26"/>
                    </a:lnTo>
                    <a:lnTo>
                      <a:pt x="104" y="23"/>
                    </a:lnTo>
                    <a:lnTo>
                      <a:pt x="108" y="23"/>
                    </a:lnTo>
                    <a:lnTo>
                      <a:pt x="109" y="21"/>
                    </a:lnTo>
                    <a:lnTo>
                      <a:pt x="114" y="13"/>
                    </a:lnTo>
                    <a:lnTo>
                      <a:pt x="122" y="10"/>
                    </a:lnTo>
                    <a:lnTo>
                      <a:pt x="122" y="10"/>
                    </a:lnTo>
                    <a:lnTo>
                      <a:pt x="124" y="10"/>
                    </a:lnTo>
                    <a:lnTo>
                      <a:pt x="126" y="8"/>
                    </a:lnTo>
                    <a:lnTo>
                      <a:pt x="127" y="8"/>
                    </a:lnTo>
                    <a:lnTo>
                      <a:pt x="127" y="5"/>
                    </a:lnTo>
                    <a:lnTo>
                      <a:pt x="126" y="3"/>
                    </a:lnTo>
                    <a:lnTo>
                      <a:pt x="121" y="0"/>
                    </a:lnTo>
                    <a:lnTo>
                      <a:pt x="117" y="0"/>
                    </a:lnTo>
                    <a:lnTo>
                      <a:pt x="117" y="2"/>
                    </a:lnTo>
                    <a:lnTo>
                      <a:pt x="117" y="3"/>
                    </a:lnTo>
                    <a:lnTo>
                      <a:pt x="114" y="3"/>
                    </a:lnTo>
                    <a:lnTo>
                      <a:pt x="113" y="5"/>
                    </a:lnTo>
                    <a:lnTo>
                      <a:pt x="111" y="3"/>
                    </a:lnTo>
                    <a:lnTo>
                      <a:pt x="108" y="5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03" y="11"/>
                    </a:lnTo>
                    <a:lnTo>
                      <a:pt x="98" y="15"/>
                    </a:lnTo>
                    <a:lnTo>
                      <a:pt x="95" y="18"/>
                    </a:lnTo>
                    <a:lnTo>
                      <a:pt x="90" y="18"/>
                    </a:lnTo>
                    <a:lnTo>
                      <a:pt x="85" y="19"/>
                    </a:lnTo>
                    <a:lnTo>
                      <a:pt x="80" y="18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8" y="24"/>
                    </a:lnTo>
                    <a:lnTo>
                      <a:pt x="78" y="28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75" y="26"/>
                    </a:lnTo>
                    <a:lnTo>
                      <a:pt x="73" y="24"/>
                    </a:lnTo>
                    <a:lnTo>
                      <a:pt x="77" y="24"/>
                    </a:lnTo>
                    <a:lnTo>
                      <a:pt x="73" y="24"/>
                    </a:lnTo>
                    <a:lnTo>
                      <a:pt x="68" y="23"/>
                    </a:lnTo>
                    <a:lnTo>
                      <a:pt x="67" y="23"/>
                    </a:lnTo>
                    <a:lnTo>
                      <a:pt x="62" y="26"/>
                    </a:lnTo>
                    <a:lnTo>
                      <a:pt x="60" y="28"/>
                    </a:lnTo>
                    <a:lnTo>
                      <a:pt x="57" y="33"/>
                    </a:lnTo>
                    <a:lnTo>
                      <a:pt x="52" y="41"/>
                    </a:lnTo>
                    <a:lnTo>
                      <a:pt x="52" y="42"/>
                    </a:lnTo>
                    <a:lnTo>
                      <a:pt x="54" y="42"/>
                    </a:lnTo>
                    <a:lnTo>
                      <a:pt x="55" y="42"/>
                    </a:lnTo>
                    <a:lnTo>
                      <a:pt x="55" y="46"/>
                    </a:lnTo>
                    <a:lnTo>
                      <a:pt x="54" y="49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7" y="52"/>
                    </a:lnTo>
                    <a:lnTo>
                      <a:pt x="42" y="55"/>
                    </a:lnTo>
                    <a:lnTo>
                      <a:pt x="41" y="57"/>
                    </a:lnTo>
                    <a:lnTo>
                      <a:pt x="37" y="60"/>
                    </a:lnTo>
                    <a:lnTo>
                      <a:pt x="36" y="62"/>
                    </a:lnTo>
                    <a:lnTo>
                      <a:pt x="32" y="62"/>
                    </a:lnTo>
                    <a:lnTo>
                      <a:pt x="34" y="65"/>
                    </a:lnTo>
                    <a:lnTo>
                      <a:pt x="37" y="67"/>
                    </a:lnTo>
                    <a:lnTo>
                      <a:pt x="37" y="72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2" y="70"/>
                    </a:lnTo>
                    <a:lnTo>
                      <a:pt x="29" y="69"/>
                    </a:lnTo>
                    <a:lnTo>
                      <a:pt x="29" y="65"/>
                    </a:lnTo>
                    <a:lnTo>
                      <a:pt x="26" y="62"/>
                    </a:lnTo>
                    <a:lnTo>
                      <a:pt x="24" y="65"/>
                    </a:lnTo>
                    <a:lnTo>
                      <a:pt x="24" y="67"/>
                    </a:lnTo>
                    <a:lnTo>
                      <a:pt x="26" y="72"/>
                    </a:lnTo>
                    <a:lnTo>
                      <a:pt x="24" y="75"/>
                    </a:lnTo>
                    <a:lnTo>
                      <a:pt x="23" y="80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19" y="90"/>
                    </a:lnTo>
                    <a:lnTo>
                      <a:pt x="19" y="95"/>
                    </a:lnTo>
                    <a:lnTo>
                      <a:pt x="23" y="98"/>
                    </a:lnTo>
                    <a:lnTo>
                      <a:pt x="24" y="98"/>
                    </a:lnTo>
                    <a:lnTo>
                      <a:pt x="24" y="96"/>
                    </a:lnTo>
                    <a:lnTo>
                      <a:pt x="26" y="98"/>
                    </a:lnTo>
                    <a:lnTo>
                      <a:pt x="26" y="101"/>
                    </a:lnTo>
                    <a:lnTo>
                      <a:pt x="24" y="104"/>
                    </a:lnTo>
                    <a:lnTo>
                      <a:pt x="24" y="106"/>
                    </a:lnTo>
                    <a:lnTo>
                      <a:pt x="26" y="108"/>
                    </a:lnTo>
                    <a:lnTo>
                      <a:pt x="26" y="113"/>
                    </a:lnTo>
                    <a:lnTo>
                      <a:pt x="24" y="114"/>
                    </a:lnTo>
                    <a:lnTo>
                      <a:pt x="23" y="116"/>
                    </a:lnTo>
                    <a:lnTo>
                      <a:pt x="24" y="116"/>
                    </a:lnTo>
                    <a:lnTo>
                      <a:pt x="26" y="119"/>
                    </a:lnTo>
                    <a:lnTo>
                      <a:pt x="24" y="126"/>
                    </a:lnTo>
                    <a:lnTo>
                      <a:pt x="26" y="132"/>
                    </a:lnTo>
                    <a:lnTo>
                      <a:pt x="23" y="136"/>
                    </a:lnTo>
                    <a:lnTo>
                      <a:pt x="23" y="137"/>
                    </a:lnTo>
                    <a:lnTo>
                      <a:pt x="24" y="140"/>
                    </a:lnTo>
                    <a:lnTo>
                      <a:pt x="28" y="139"/>
                    </a:lnTo>
                    <a:lnTo>
                      <a:pt x="28" y="140"/>
                    </a:lnTo>
                    <a:lnTo>
                      <a:pt x="29" y="144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29" y="147"/>
                    </a:lnTo>
                    <a:lnTo>
                      <a:pt x="28" y="150"/>
                    </a:lnTo>
                    <a:lnTo>
                      <a:pt x="21" y="157"/>
                    </a:lnTo>
                    <a:lnTo>
                      <a:pt x="19" y="160"/>
                    </a:lnTo>
                    <a:lnTo>
                      <a:pt x="16" y="163"/>
                    </a:lnTo>
                    <a:lnTo>
                      <a:pt x="10" y="165"/>
                    </a:lnTo>
                    <a:lnTo>
                      <a:pt x="5" y="168"/>
                    </a:lnTo>
                    <a:lnTo>
                      <a:pt x="0" y="176"/>
                    </a:lnTo>
                    <a:lnTo>
                      <a:pt x="0" y="181"/>
                    </a:lnTo>
                    <a:lnTo>
                      <a:pt x="0" y="185"/>
                    </a:lnTo>
                    <a:lnTo>
                      <a:pt x="3" y="186"/>
                    </a:lnTo>
                    <a:lnTo>
                      <a:pt x="10" y="189"/>
                    </a:lnTo>
                    <a:lnTo>
                      <a:pt x="16" y="194"/>
                    </a:lnTo>
                    <a:lnTo>
                      <a:pt x="19" y="194"/>
                    </a:lnTo>
                    <a:lnTo>
                      <a:pt x="23" y="198"/>
                    </a:lnTo>
                    <a:lnTo>
                      <a:pt x="23" y="201"/>
                    </a:lnTo>
                    <a:lnTo>
                      <a:pt x="23" y="202"/>
                    </a:lnTo>
                    <a:lnTo>
                      <a:pt x="28" y="202"/>
                    </a:lnTo>
                    <a:lnTo>
                      <a:pt x="32" y="206"/>
                    </a:lnTo>
                    <a:lnTo>
                      <a:pt x="36" y="207"/>
                    </a:lnTo>
                    <a:lnTo>
                      <a:pt x="41" y="209"/>
                    </a:lnTo>
                    <a:lnTo>
                      <a:pt x="42" y="206"/>
                    </a:lnTo>
                    <a:lnTo>
                      <a:pt x="42" y="202"/>
                    </a:lnTo>
                    <a:lnTo>
                      <a:pt x="44" y="201"/>
                    </a:lnTo>
                    <a:lnTo>
                      <a:pt x="46" y="201"/>
                    </a:lnTo>
                    <a:lnTo>
                      <a:pt x="50" y="202"/>
                    </a:lnTo>
                    <a:lnTo>
                      <a:pt x="52" y="204"/>
                    </a:lnTo>
                    <a:lnTo>
                      <a:pt x="54" y="207"/>
                    </a:lnTo>
                    <a:lnTo>
                      <a:pt x="55" y="207"/>
                    </a:lnTo>
                    <a:lnTo>
                      <a:pt x="55" y="207"/>
                    </a:lnTo>
                    <a:lnTo>
                      <a:pt x="57" y="207"/>
                    </a:lnTo>
                    <a:lnTo>
                      <a:pt x="59" y="211"/>
                    </a:lnTo>
                    <a:lnTo>
                      <a:pt x="64" y="211"/>
                    </a:lnTo>
                    <a:lnTo>
                      <a:pt x="68" y="212"/>
                    </a:lnTo>
                    <a:lnTo>
                      <a:pt x="68" y="214"/>
                    </a:lnTo>
                    <a:lnTo>
                      <a:pt x="72" y="219"/>
                    </a:lnTo>
                    <a:lnTo>
                      <a:pt x="73" y="222"/>
                    </a:lnTo>
                    <a:lnTo>
                      <a:pt x="75" y="227"/>
                    </a:lnTo>
                    <a:lnTo>
                      <a:pt x="78" y="227"/>
                    </a:lnTo>
                    <a:lnTo>
                      <a:pt x="85" y="229"/>
                    </a:lnTo>
                    <a:lnTo>
                      <a:pt x="88" y="234"/>
                    </a:lnTo>
                    <a:lnTo>
                      <a:pt x="88" y="237"/>
                    </a:lnTo>
                    <a:lnTo>
                      <a:pt x="90" y="238"/>
                    </a:lnTo>
                    <a:lnTo>
                      <a:pt x="91" y="238"/>
                    </a:lnTo>
                    <a:lnTo>
                      <a:pt x="93" y="243"/>
                    </a:lnTo>
                    <a:lnTo>
                      <a:pt x="93" y="245"/>
                    </a:lnTo>
                    <a:lnTo>
                      <a:pt x="93" y="247"/>
                    </a:lnTo>
                    <a:lnTo>
                      <a:pt x="96" y="248"/>
                    </a:lnTo>
                    <a:lnTo>
                      <a:pt x="99" y="248"/>
                    </a:lnTo>
                    <a:lnTo>
                      <a:pt x="103" y="248"/>
                    </a:lnTo>
                    <a:lnTo>
                      <a:pt x="106" y="248"/>
                    </a:lnTo>
                    <a:lnTo>
                      <a:pt x="108" y="247"/>
                    </a:lnTo>
                    <a:lnTo>
                      <a:pt x="113" y="245"/>
                    </a:lnTo>
                    <a:lnTo>
                      <a:pt x="117" y="245"/>
                    </a:lnTo>
                    <a:lnTo>
                      <a:pt x="121" y="247"/>
                    </a:lnTo>
                    <a:lnTo>
                      <a:pt x="126" y="245"/>
                    </a:lnTo>
                    <a:lnTo>
                      <a:pt x="129" y="245"/>
                    </a:lnTo>
                    <a:lnTo>
                      <a:pt x="130" y="247"/>
                    </a:lnTo>
                    <a:lnTo>
                      <a:pt x="132" y="247"/>
                    </a:lnTo>
                    <a:lnTo>
                      <a:pt x="135" y="248"/>
                    </a:lnTo>
                    <a:lnTo>
                      <a:pt x="137" y="250"/>
                    </a:lnTo>
                    <a:lnTo>
                      <a:pt x="140" y="250"/>
                    </a:lnTo>
                    <a:lnTo>
                      <a:pt x="140" y="252"/>
                    </a:lnTo>
                    <a:lnTo>
                      <a:pt x="130" y="269"/>
                    </a:lnTo>
                    <a:lnTo>
                      <a:pt x="130" y="271"/>
                    </a:lnTo>
                    <a:lnTo>
                      <a:pt x="134" y="271"/>
                    </a:lnTo>
                    <a:lnTo>
                      <a:pt x="139" y="271"/>
                    </a:lnTo>
                    <a:lnTo>
                      <a:pt x="140" y="273"/>
                    </a:lnTo>
                    <a:lnTo>
                      <a:pt x="142" y="278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4" name="Freeform 338">
                <a:extLst>
                  <a:ext uri="{FF2B5EF4-FFF2-40B4-BE49-F238E27FC236}">
                    <a16:creationId xmlns:a16="http://schemas.microsoft.com/office/drawing/2014/main" xmlns="" id="{9C5325CF-5571-46F9-BCDC-14AAB5E47A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9" y="2038"/>
                <a:ext cx="94" cy="104"/>
              </a:xfrm>
              <a:custGeom>
                <a:avLst/>
                <a:gdLst>
                  <a:gd name="T0" fmla="*/ 89 w 94"/>
                  <a:gd name="T1" fmla="*/ 22 h 104"/>
                  <a:gd name="T2" fmla="*/ 86 w 94"/>
                  <a:gd name="T3" fmla="*/ 19 h 104"/>
                  <a:gd name="T4" fmla="*/ 80 w 94"/>
                  <a:gd name="T5" fmla="*/ 16 h 104"/>
                  <a:gd name="T6" fmla="*/ 76 w 94"/>
                  <a:gd name="T7" fmla="*/ 17 h 104"/>
                  <a:gd name="T8" fmla="*/ 75 w 94"/>
                  <a:gd name="T9" fmla="*/ 24 h 104"/>
                  <a:gd name="T10" fmla="*/ 66 w 94"/>
                  <a:gd name="T11" fmla="*/ 21 h 104"/>
                  <a:gd name="T12" fmla="*/ 57 w 94"/>
                  <a:gd name="T13" fmla="*/ 17 h 104"/>
                  <a:gd name="T14" fmla="*/ 57 w 94"/>
                  <a:gd name="T15" fmla="*/ 13 h 104"/>
                  <a:gd name="T16" fmla="*/ 50 w 94"/>
                  <a:gd name="T17" fmla="*/ 9 h 104"/>
                  <a:gd name="T18" fmla="*/ 37 w 94"/>
                  <a:gd name="T19" fmla="*/ 1 h 104"/>
                  <a:gd name="T20" fmla="*/ 32 w 94"/>
                  <a:gd name="T21" fmla="*/ 3 h 104"/>
                  <a:gd name="T22" fmla="*/ 21 w 94"/>
                  <a:gd name="T23" fmla="*/ 8 h 104"/>
                  <a:gd name="T24" fmla="*/ 13 w 94"/>
                  <a:gd name="T25" fmla="*/ 11 h 104"/>
                  <a:gd name="T26" fmla="*/ 14 w 94"/>
                  <a:gd name="T27" fmla="*/ 17 h 104"/>
                  <a:gd name="T28" fmla="*/ 14 w 94"/>
                  <a:gd name="T29" fmla="*/ 24 h 104"/>
                  <a:gd name="T30" fmla="*/ 9 w 94"/>
                  <a:gd name="T31" fmla="*/ 32 h 104"/>
                  <a:gd name="T32" fmla="*/ 8 w 94"/>
                  <a:gd name="T33" fmla="*/ 39 h 104"/>
                  <a:gd name="T34" fmla="*/ 1 w 94"/>
                  <a:gd name="T35" fmla="*/ 44 h 104"/>
                  <a:gd name="T36" fmla="*/ 3 w 94"/>
                  <a:gd name="T37" fmla="*/ 50 h 104"/>
                  <a:gd name="T38" fmla="*/ 3 w 94"/>
                  <a:gd name="T39" fmla="*/ 57 h 104"/>
                  <a:gd name="T40" fmla="*/ 0 w 94"/>
                  <a:gd name="T41" fmla="*/ 62 h 104"/>
                  <a:gd name="T42" fmla="*/ 6 w 94"/>
                  <a:gd name="T43" fmla="*/ 65 h 104"/>
                  <a:gd name="T44" fmla="*/ 11 w 94"/>
                  <a:gd name="T45" fmla="*/ 70 h 104"/>
                  <a:gd name="T46" fmla="*/ 14 w 94"/>
                  <a:gd name="T47" fmla="*/ 65 h 104"/>
                  <a:gd name="T48" fmla="*/ 17 w 94"/>
                  <a:gd name="T49" fmla="*/ 62 h 104"/>
                  <a:gd name="T50" fmla="*/ 17 w 94"/>
                  <a:gd name="T51" fmla="*/ 67 h 104"/>
                  <a:gd name="T52" fmla="*/ 17 w 94"/>
                  <a:gd name="T53" fmla="*/ 63 h 104"/>
                  <a:gd name="T54" fmla="*/ 21 w 94"/>
                  <a:gd name="T55" fmla="*/ 67 h 104"/>
                  <a:gd name="T56" fmla="*/ 19 w 94"/>
                  <a:gd name="T57" fmla="*/ 75 h 104"/>
                  <a:gd name="T58" fmla="*/ 14 w 94"/>
                  <a:gd name="T59" fmla="*/ 81 h 104"/>
                  <a:gd name="T60" fmla="*/ 17 w 94"/>
                  <a:gd name="T61" fmla="*/ 86 h 104"/>
                  <a:gd name="T62" fmla="*/ 11 w 94"/>
                  <a:gd name="T63" fmla="*/ 91 h 104"/>
                  <a:gd name="T64" fmla="*/ 14 w 94"/>
                  <a:gd name="T65" fmla="*/ 94 h 104"/>
                  <a:gd name="T66" fmla="*/ 19 w 94"/>
                  <a:gd name="T67" fmla="*/ 96 h 104"/>
                  <a:gd name="T68" fmla="*/ 27 w 94"/>
                  <a:gd name="T69" fmla="*/ 98 h 104"/>
                  <a:gd name="T70" fmla="*/ 34 w 94"/>
                  <a:gd name="T71" fmla="*/ 104 h 104"/>
                  <a:gd name="T72" fmla="*/ 49 w 94"/>
                  <a:gd name="T73" fmla="*/ 75 h 104"/>
                  <a:gd name="T74" fmla="*/ 68 w 94"/>
                  <a:gd name="T75" fmla="*/ 68 h 104"/>
                  <a:gd name="T76" fmla="*/ 84 w 94"/>
                  <a:gd name="T77" fmla="*/ 52 h 104"/>
                  <a:gd name="T78" fmla="*/ 93 w 94"/>
                  <a:gd name="T79" fmla="*/ 42 h 104"/>
                  <a:gd name="T80" fmla="*/ 94 w 94"/>
                  <a:gd name="T81" fmla="*/ 37 h 104"/>
                  <a:gd name="T82" fmla="*/ 91 w 94"/>
                  <a:gd name="T83" fmla="*/ 27 h 104"/>
                  <a:gd name="T84" fmla="*/ 89 w 94"/>
                  <a:gd name="T85" fmla="*/ 22 h 104"/>
                  <a:gd name="T86" fmla="*/ 89 w 94"/>
                  <a:gd name="T87" fmla="*/ 22 h 104"/>
                  <a:gd name="T88" fmla="*/ 11 w 94"/>
                  <a:gd name="T89" fmla="*/ 75 h 104"/>
                  <a:gd name="T90" fmla="*/ 16 w 94"/>
                  <a:gd name="T91" fmla="*/ 68 h 104"/>
                  <a:gd name="T92" fmla="*/ 14 w 94"/>
                  <a:gd name="T93" fmla="*/ 71 h 104"/>
                  <a:gd name="T94" fmla="*/ 14 w 94"/>
                  <a:gd name="T95" fmla="*/ 76 h 104"/>
                  <a:gd name="T96" fmla="*/ 11 w 94"/>
                  <a:gd name="T97" fmla="*/ 7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4" h="104">
                    <a:moveTo>
                      <a:pt x="89" y="22"/>
                    </a:moveTo>
                    <a:lnTo>
                      <a:pt x="89" y="22"/>
                    </a:lnTo>
                    <a:lnTo>
                      <a:pt x="88" y="22"/>
                    </a:lnTo>
                    <a:lnTo>
                      <a:pt x="86" y="19"/>
                    </a:lnTo>
                    <a:lnTo>
                      <a:pt x="84" y="17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6" y="17"/>
                    </a:lnTo>
                    <a:lnTo>
                      <a:pt x="76" y="21"/>
                    </a:lnTo>
                    <a:lnTo>
                      <a:pt x="75" y="24"/>
                    </a:lnTo>
                    <a:lnTo>
                      <a:pt x="70" y="22"/>
                    </a:lnTo>
                    <a:lnTo>
                      <a:pt x="66" y="21"/>
                    </a:lnTo>
                    <a:lnTo>
                      <a:pt x="62" y="17"/>
                    </a:lnTo>
                    <a:lnTo>
                      <a:pt x="57" y="17"/>
                    </a:lnTo>
                    <a:lnTo>
                      <a:pt x="57" y="16"/>
                    </a:lnTo>
                    <a:lnTo>
                      <a:pt x="57" y="13"/>
                    </a:lnTo>
                    <a:lnTo>
                      <a:pt x="53" y="9"/>
                    </a:lnTo>
                    <a:lnTo>
                      <a:pt x="50" y="9"/>
                    </a:lnTo>
                    <a:lnTo>
                      <a:pt x="44" y="4"/>
                    </a:lnTo>
                    <a:lnTo>
                      <a:pt x="37" y="1"/>
                    </a:lnTo>
                    <a:lnTo>
                      <a:pt x="34" y="0"/>
                    </a:lnTo>
                    <a:lnTo>
                      <a:pt x="32" y="3"/>
                    </a:lnTo>
                    <a:lnTo>
                      <a:pt x="27" y="3"/>
                    </a:lnTo>
                    <a:lnTo>
                      <a:pt x="21" y="8"/>
                    </a:lnTo>
                    <a:lnTo>
                      <a:pt x="16" y="9"/>
                    </a:lnTo>
                    <a:lnTo>
                      <a:pt x="13" y="11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14" y="24"/>
                    </a:lnTo>
                    <a:lnTo>
                      <a:pt x="9" y="31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8" y="39"/>
                    </a:lnTo>
                    <a:lnTo>
                      <a:pt x="3" y="40"/>
                    </a:lnTo>
                    <a:lnTo>
                      <a:pt x="1" y="44"/>
                    </a:lnTo>
                    <a:lnTo>
                      <a:pt x="3" y="47"/>
                    </a:lnTo>
                    <a:lnTo>
                      <a:pt x="3" y="50"/>
                    </a:lnTo>
                    <a:lnTo>
                      <a:pt x="3" y="52"/>
                    </a:lnTo>
                    <a:lnTo>
                      <a:pt x="3" y="57"/>
                    </a:lnTo>
                    <a:lnTo>
                      <a:pt x="1" y="60"/>
                    </a:lnTo>
                    <a:lnTo>
                      <a:pt x="0" y="62"/>
                    </a:lnTo>
                    <a:lnTo>
                      <a:pt x="1" y="63"/>
                    </a:lnTo>
                    <a:lnTo>
                      <a:pt x="6" y="65"/>
                    </a:lnTo>
                    <a:lnTo>
                      <a:pt x="9" y="68"/>
                    </a:lnTo>
                    <a:lnTo>
                      <a:pt x="11" y="70"/>
                    </a:lnTo>
                    <a:lnTo>
                      <a:pt x="13" y="70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7" y="62"/>
                    </a:lnTo>
                    <a:lnTo>
                      <a:pt x="17" y="65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21" y="67"/>
                    </a:lnTo>
                    <a:lnTo>
                      <a:pt x="19" y="71"/>
                    </a:lnTo>
                    <a:lnTo>
                      <a:pt x="19" y="75"/>
                    </a:lnTo>
                    <a:lnTo>
                      <a:pt x="17" y="78"/>
                    </a:lnTo>
                    <a:lnTo>
                      <a:pt x="14" y="81"/>
                    </a:lnTo>
                    <a:lnTo>
                      <a:pt x="16" y="83"/>
                    </a:lnTo>
                    <a:lnTo>
                      <a:pt x="17" y="86"/>
                    </a:lnTo>
                    <a:lnTo>
                      <a:pt x="13" y="88"/>
                    </a:lnTo>
                    <a:lnTo>
                      <a:pt x="11" y="91"/>
                    </a:lnTo>
                    <a:lnTo>
                      <a:pt x="11" y="94"/>
                    </a:lnTo>
                    <a:lnTo>
                      <a:pt x="14" y="94"/>
                    </a:lnTo>
                    <a:lnTo>
                      <a:pt x="17" y="93"/>
                    </a:lnTo>
                    <a:lnTo>
                      <a:pt x="19" y="96"/>
                    </a:lnTo>
                    <a:lnTo>
                      <a:pt x="24" y="96"/>
                    </a:lnTo>
                    <a:lnTo>
                      <a:pt x="27" y="98"/>
                    </a:lnTo>
                    <a:lnTo>
                      <a:pt x="32" y="104"/>
                    </a:lnTo>
                    <a:lnTo>
                      <a:pt x="34" y="104"/>
                    </a:lnTo>
                    <a:lnTo>
                      <a:pt x="37" y="101"/>
                    </a:lnTo>
                    <a:lnTo>
                      <a:pt x="49" y="75"/>
                    </a:lnTo>
                    <a:lnTo>
                      <a:pt x="52" y="73"/>
                    </a:lnTo>
                    <a:lnTo>
                      <a:pt x="68" y="68"/>
                    </a:lnTo>
                    <a:lnTo>
                      <a:pt x="75" y="63"/>
                    </a:lnTo>
                    <a:lnTo>
                      <a:pt x="84" y="52"/>
                    </a:lnTo>
                    <a:lnTo>
                      <a:pt x="89" y="42"/>
                    </a:lnTo>
                    <a:lnTo>
                      <a:pt x="93" y="42"/>
                    </a:lnTo>
                    <a:lnTo>
                      <a:pt x="93" y="40"/>
                    </a:lnTo>
                    <a:lnTo>
                      <a:pt x="94" y="37"/>
                    </a:lnTo>
                    <a:lnTo>
                      <a:pt x="94" y="34"/>
                    </a:lnTo>
                    <a:lnTo>
                      <a:pt x="91" y="27"/>
                    </a:lnTo>
                    <a:lnTo>
                      <a:pt x="91" y="26"/>
                    </a:lnTo>
                    <a:lnTo>
                      <a:pt x="89" y="22"/>
                    </a:lnTo>
                    <a:lnTo>
                      <a:pt x="89" y="22"/>
                    </a:lnTo>
                    <a:lnTo>
                      <a:pt x="89" y="22"/>
                    </a:lnTo>
                    <a:close/>
                    <a:moveTo>
                      <a:pt x="11" y="75"/>
                    </a:moveTo>
                    <a:lnTo>
                      <a:pt x="11" y="75"/>
                    </a:lnTo>
                    <a:lnTo>
                      <a:pt x="13" y="71"/>
                    </a:lnTo>
                    <a:lnTo>
                      <a:pt x="16" y="68"/>
                    </a:lnTo>
                    <a:lnTo>
                      <a:pt x="16" y="70"/>
                    </a:lnTo>
                    <a:lnTo>
                      <a:pt x="14" y="71"/>
                    </a:lnTo>
                    <a:lnTo>
                      <a:pt x="16" y="73"/>
                    </a:lnTo>
                    <a:lnTo>
                      <a:pt x="14" y="76"/>
                    </a:lnTo>
                    <a:lnTo>
                      <a:pt x="13" y="76"/>
                    </a:lnTo>
                    <a:lnTo>
                      <a:pt x="11" y="7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5" name="Freeform 339">
                <a:extLst>
                  <a:ext uri="{FF2B5EF4-FFF2-40B4-BE49-F238E27FC236}">
                    <a16:creationId xmlns:a16="http://schemas.microsoft.com/office/drawing/2014/main" xmlns="" id="{A58C4C31-FD7D-4827-9679-7DF024160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" y="2060"/>
                <a:ext cx="205" cy="309"/>
              </a:xfrm>
              <a:custGeom>
                <a:avLst/>
                <a:gdLst>
                  <a:gd name="T0" fmla="*/ 186 w 205"/>
                  <a:gd name="T1" fmla="*/ 182 h 309"/>
                  <a:gd name="T2" fmla="*/ 174 w 205"/>
                  <a:gd name="T3" fmla="*/ 182 h 309"/>
                  <a:gd name="T4" fmla="*/ 174 w 205"/>
                  <a:gd name="T5" fmla="*/ 162 h 309"/>
                  <a:gd name="T6" fmla="*/ 161 w 205"/>
                  <a:gd name="T7" fmla="*/ 165 h 309"/>
                  <a:gd name="T8" fmla="*/ 142 w 205"/>
                  <a:gd name="T9" fmla="*/ 156 h 309"/>
                  <a:gd name="T10" fmla="*/ 124 w 205"/>
                  <a:gd name="T11" fmla="*/ 138 h 309"/>
                  <a:gd name="T12" fmla="*/ 120 w 205"/>
                  <a:gd name="T13" fmla="*/ 125 h 309"/>
                  <a:gd name="T14" fmla="*/ 122 w 205"/>
                  <a:gd name="T15" fmla="*/ 115 h 309"/>
                  <a:gd name="T16" fmla="*/ 130 w 205"/>
                  <a:gd name="T17" fmla="*/ 107 h 309"/>
                  <a:gd name="T18" fmla="*/ 134 w 205"/>
                  <a:gd name="T19" fmla="*/ 92 h 309"/>
                  <a:gd name="T20" fmla="*/ 143 w 205"/>
                  <a:gd name="T21" fmla="*/ 80 h 309"/>
                  <a:gd name="T22" fmla="*/ 166 w 205"/>
                  <a:gd name="T23" fmla="*/ 72 h 309"/>
                  <a:gd name="T24" fmla="*/ 173 w 205"/>
                  <a:gd name="T25" fmla="*/ 69 h 309"/>
                  <a:gd name="T26" fmla="*/ 181 w 205"/>
                  <a:gd name="T27" fmla="*/ 72 h 309"/>
                  <a:gd name="T28" fmla="*/ 169 w 205"/>
                  <a:gd name="T29" fmla="*/ 64 h 309"/>
                  <a:gd name="T30" fmla="*/ 176 w 205"/>
                  <a:gd name="T31" fmla="*/ 43 h 309"/>
                  <a:gd name="T32" fmla="*/ 168 w 205"/>
                  <a:gd name="T33" fmla="*/ 38 h 309"/>
                  <a:gd name="T34" fmla="*/ 152 w 205"/>
                  <a:gd name="T35" fmla="*/ 38 h 309"/>
                  <a:gd name="T36" fmla="*/ 138 w 205"/>
                  <a:gd name="T37" fmla="*/ 41 h 309"/>
                  <a:gd name="T38" fmla="*/ 132 w 205"/>
                  <a:gd name="T39" fmla="*/ 36 h 309"/>
                  <a:gd name="T40" fmla="*/ 127 w 205"/>
                  <a:gd name="T41" fmla="*/ 27 h 309"/>
                  <a:gd name="T42" fmla="*/ 112 w 205"/>
                  <a:gd name="T43" fmla="*/ 15 h 309"/>
                  <a:gd name="T44" fmla="*/ 103 w 205"/>
                  <a:gd name="T45" fmla="*/ 4 h 309"/>
                  <a:gd name="T46" fmla="*/ 96 w 205"/>
                  <a:gd name="T47" fmla="*/ 4 h 309"/>
                  <a:gd name="T48" fmla="*/ 98 w 205"/>
                  <a:gd name="T49" fmla="*/ 18 h 309"/>
                  <a:gd name="T50" fmla="*/ 80 w 205"/>
                  <a:gd name="T51" fmla="*/ 41 h 309"/>
                  <a:gd name="T52" fmla="*/ 42 w 205"/>
                  <a:gd name="T53" fmla="*/ 79 h 309"/>
                  <a:gd name="T54" fmla="*/ 29 w 205"/>
                  <a:gd name="T55" fmla="*/ 74 h 309"/>
                  <a:gd name="T56" fmla="*/ 16 w 205"/>
                  <a:gd name="T57" fmla="*/ 72 h 309"/>
                  <a:gd name="T58" fmla="*/ 21 w 205"/>
                  <a:gd name="T59" fmla="*/ 61 h 309"/>
                  <a:gd name="T60" fmla="*/ 8 w 205"/>
                  <a:gd name="T61" fmla="*/ 66 h 309"/>
                  <a:gd name="T62" fmla="*/ 1 w 205"/>
                  <a:gd name="T63" fmla="*/ 80 h 309"/>
                  <a:gd name="T64" fmla="*/ 1 w 205"/>
                  <a:gd name="T65" fmla="*/ 87 h 309"/>
                  <a:gd name="T66" fmla="*/ 5 w 205"/>
                  <a:gd name="T67" fmla="*/ 98 h 309"/>
                  <a:gd name="T68" fmla="*/ 6 w 205"/>
                  <a:gd name="T69" fmla="*/ 105 h 309"/>
                  <a:gd name="T70" fmla="*/ 26 w 205"/>
                  <a:gd name="T71" fmla="*/ 116 h 309"/>
                  <a:gd name="T72" fmla="*/ 32 w 205"/>
                  <a:gd name="T73" fmla="*/ 131 h 309"/>
                  <a:gd name="T74" fmla="*/ 44 w 205"/>
                  <a:gd name="T75" fmla="*/ 147 h 309"/>
                  <a:gd name="T76" fmla="*/ 52 w 205"/>
                  <a:gd name="T77" fmla="*/ 162 h 309"/>
                  <a:gd name="T78" fmla="*/ 58 w 205"/>
                  <a:gd name="T79" fmla="*/ 180 h 309"/>
                  <a:gd name="T80" fmla="*/ 63 w 205"/>
                  <a:gd name="T81" fmla="*/ 188 h 309"/>
                  <a:gd name="T82" fmla="*/ 71 w 205"/>
                  <a:gd name="T83" fmla="*/ 203 h 309"/>
                  <a:gd name="T84" fmla="*/ 83 w 205"/>
                  <a:gd name="T85" fmla="*/ 219 h 309"/>
                  <a:gd name="T86" fmla="*/ 85 w 205"/>
                  <a:gd name="T87" fmla="*/ 229 h 309"/>
                  <a:gd name="T88" fmla="*/ 88 w 205"/>
                  <a:gd name="T89" fmla="*/ 236 h 309"/>
                  <a:gd name="T90" fmla="*/ 94 w 205"/>
                  <a:gd name="T91" fmla="*/ 245 h 309"/>
                  <a:gd name="T92" fmla="*/ 104 w 205"/>
                  <a:gd name="T93" fmla="*/ 254 h 309"/>
                  <a:gd name="T94" fmla="*/ 114 w 205"/>
                  <a:gd name="T95" fmla="*/ 259 h 309"/>
                  <a:gd name="T96" fmla="*/ 122 w 205"/>
                  <a:gd name="T97" fmla="*/ 265 h 309"/>
                  <a:gd name="T98" fmla="*/ 132 w 205"/>
                  <a:gd name="T99" fmla="*/ 273 h 309"/>
                  <a:gd name="T100" fmla="*/ 145 w 205"/>
                  <a:gd name="T101" fmla="*/ 278 h 309"/>
                  <a:gd name="T102" fmla="*/ 155 w 205"/>
                  <a:gd name="T103" fmla="*/ 285 h 309"/>
                  <a:gd name="T104" fmla="*/ 165 w 205"/>
                  <a:gd name="T105" fmla="*/ 293 h 309"/>
                  <a:gd name="T106" fmla="*/ 171 w 205"/>
                  <a:gd name="T107" fmla="*/ 299 h 309"/>
                  <a:gd name="T108" fmla="*/ 183 w 205"/>
                  <a:gd name="T109" fmla="*/ 309 h 309"/>
                  <a:gd name="T110" fmla="*/ 196 w 205"/>
                  <a:gd name="T111" fmla="*/ 303 h 309"/>
                  <a:gd name="T112" fmla="*/ 196 w 205"/>
                  <a:gd name="T113" fmla="*/ 293 h 309"/>
                  <a:gd name="T114" fmla="*/ 194 w 205"/>
                  <a:gd name="T115" fmla="*/ 290 h 309"/>
                  <a:gd name="T116" fmla="*/ 204 w 205"/>
                  <a:gd name="T117" fmla="*/ 273 h 309"/>
                  <a:gd name="T118" fmla="*/ 201 w 205"/>
                  <a:gd name="T119" fmla="*/ 254 h 309"/>
                  <a:gd name="T120" fmla="*/ 202 w 205"/>
                  <a:gd name="T121" fmla="*/ 232 h 309"/>
                  <a:gd name="T122" fmla="*/ 205 w 205"/>
                  <a:gd name="T123" fmla="*/ 2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5" h="309">
                    <a:moveTo>
                      <a:pt x="191" y="183"/>
                    </a:moveTo>
                    <a:lnTo>
                      <a:pt x="189" y="183"/>
                    </a:lnTo>
                    <a:lnTo>
                      <a:pt x="187" y="182"/>
                    </a:lnTo>
                    <a:lnTo>
                      <a:pt x="186" y="182"/>
                    </a:lnTo>
                    <a:lnTo>
                      <a:pt x="183" y="182"/>
                    </a:lnTo>
                    <a:lnTo>
                      <a:pt x="179" y="183"/>
                    </a:lnTo>
                    <a:lnTo>
                      <a:pt x="176" y="183"/>
                    </a:lnTo>
                    <a:lnTo>
                      <a:pt x="174" y="182"/>
                    </a:lnTo>
                    <a:lnTo>
                      <a:pt x="174" y="178"/>
                    </a:lnTo>
                    <a:lnTo>
                      <a:pt x="174" y="169"/>
                    </a:lnTo>
                    <a:lnTo>
                      <a:pt x="174" y="162"/>
                    </a:lnTo>
                    <a:lnTo>
                      <a:pt x="174" y="162"/>
                    </a:lnTo>
                    <a:lnTo>
                      <a:pt x="176" y="157"/>
                    </a:lnTo>
                    <a:lnTo>
                      <a:pt x="174" y="156"/>
                    </a:lnTo>
                    <a:lnTo>
                      <a:pt x="168" y="159"/>
                    </a:lnTo>
                    <a:lnTo>
                      <a:pt x="161" y="165"/>
                    </a:lnTo>
                    <a:lnTo>
                      <a:pt x="153" y="165"/>
                    </a:lnTo>
                    <a:lnTo>
                      <a:pt x="147" y="165"/>
                    </a:lnTo>
                    <a:lnTo>
                      <a:pt x="147" y="161"/>
                    </a:lnTo>
                    <a:lnTo>
                      <a:pt x="142" y="156"/>
                    </a:lnTo>
                    <a:lnTo>
                      <a:pt x="138" y="154"/>
                    </a:lnTo>
                    <a:lnTo>
                      <a:pt x="129" y="156"/>
                    </a:lnTo>
                    <a:lnTo>
                      <a:pt x="132" y="151"/>
                    </a:lnTo>
                    <a:lnTo>
                      <a:pt x="124" y="138"/>
                    </a:lnTo>
                    <a:lnTo>
                      <a:pt x="120" y="133"/>
                    </a:lnTo>
                    <a:lnTo>
                      <a:pt x="120" y="131"/>
                    </a:lnTo>
                    <a:lnTo>
                      <a:pt x="119" y="128"/>
                    </a:lnTo>
                    <a:lnTo>
                      <a:pt x="120" y="125"/>
                    </a:lnTo>
                    <a:lnTo>
                      <a:pt x="122" y="121"/>
                    </a:lnTo>
                    <a:lnTo>
                      <a:pt x="120" y="120"/>
                    </a:lnTo>
                    <a:lnTo>
                      <a:pt x="122" y="118"/>
                    </a:lnTo>
                    <a:lnTo>
                      <a:pt x="122" y="115"/>
                    </a:lnTo>
                    <a:lnTo>
                      <a:pt x="127" y="112"/>
                    </a:lnTo>
                    <a:lnTo>
                      <a:pt x="129" y="112"/>
                    </a:lnTo>
                    <a:lnTo>
                      <a:pt x="132" y="110"/>
                    </a:lnTo>
                    <a:lnTo>
                      <a:pt x="130" y="107"/>
                    </a:lnTo>
                    <a:lnTo>
                      <a:pt x="129" y="100"/>
                    </a:lnTo>
                    <a:lnTo>
                      <a:pt x="134" y="97"/>
                    </a:lnTo>
                    <a:lnTo>
                      <a:pt x="132" y="94"/>
                    </a:lnTo>
                    <a:lnTo>
                      <a:pt x="134" y="92"/>
                    </a:lnTo>
                    <a:lnTo>
                      <a:pt x="134" y="87"/>
                    </a:lnTo>
                    <a:lnTo>
                      <a:pt x="137" y="85"/>
                    </a:lnTo>
                    <a:lnTo>
                      <a:pt x="140" y="84"/>
                    </a:lnTo>
                    <a:lnTo>
                      <a:pt x="143" y="80"/>
                    </a:lnTo>
                    <a:lnTo>
                      <a:pt x="145" y="79"/>
                    </a:lnTo>
                    <a:lnTo>
                      <a:pt x="147" y="77"/>
                    </a:lnTo>
                    <a:lnTo>
                      <a:pt x="155" y="76"/>
                    </a:lnTo>
                    <a:lnTo>
                      <a:pt x="166" y="72"/>
                    </a:lnTo>
                    <a:lnTo>
                      <a:pt x="168" y="69"/>
                    </a:lnTo>
                    <a:lnTo>
                      <a:pt x="168" y="71"/>
                    </a:lnTo>
                    <a:lnTo>
                      <a:pt x="171" y="71"/>
                    </a:lnTo>
                    <a:lnTo>
                      <a:pt x="173" y="69"/>
                    </a:lnTo>
                    <a:lnTo>
                      <a:pt x="176" y="72"/>
                    </a:lnTo>
                    <a:lnTo>
                      <a:pt x="176" y="72"/>
                    </a:lnTo>
                    <a:lnTo>
                      <a:pt x="179" y="74"/>
                    </a:lnTo>
                    <a:lnTo>
                      <a:pt x="181" y="72"/>
                    </a:lnTo>
                    <a:lnTo>
                      <a:pt x="179" y="66"/>
                    </a:lnTo>
                    <a:lnTo>
                      <a:pt x="178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9" y="62"/>
                    </a:lnTo>
                    <a:lnTo>
                      <a:pt x="179" y="45"/>
                    </a:lnTo>
                    <a:lnTo>
                      <a:pt x="179" y="43"/>
                    </a:lnTo>
                    <a:lnTo>
                      <a:pt x="176" y="43"/>
                    </a:lnTo>
                    <a:lnTo>
                      <a:pt x="174" y="41"/>
                    </a:lnTo>
                    <a:lnTo>
                      <a:pt x="171" y="40"/>
                    </a:lnTo>
                    <a:lnTo>
                      <a:pt x="169" y="40"/>
                    </a:lnTo>
                    <a:lnTo>
                      <a:pt x="168" y="38"/>
                    </a:lnTo>
                    <a:lnTo>
                      <a:pt x="165" y="38"/>
                    </a:lnTo>
                    <a:lnTo>
                      <a:pt x="160" y="40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7" y="40"/>
                    </a:lnTo>
                    <a:lnTo>
                      <a:pt x="145" y="41"/>
                    </a:lnTo>
                    <a:lnTo>
                      <a:pt x="142" y="41"/>
                    </a:lnTo>
                    <a:lnTo>
                      <a:pt x="138" y="41"/>
                    </a:lnTo>
                    <a:lnTo>
                      <a:pt x="135" y="41"/>
                    </a:lnTo>
                    <a:lnTo>
                      <a:pt x="132" y="40"/>
                    </a:lnTo>
                    <a:lnTo>
                      <a:pt x="132" y="38"/>
                    </a:lnTo>
                    <a:lnTo>
                      <a:pt x="132" y="36"/>
                    </a:lnTo>
                    <a:lnTo>
                      <a:pt x="130" y="31"/>
                    </a:lnTo>
                    <a:lnTo>
                      <a:pt x="129" y="31"/>
                    </a:lnTo>
                    <a:lnTo>
                      <a:pt x="127" y="30"/>
                    </a:lnTo>
                    <a:lnTo>
                      <a:pt x="127" y="27"/>
                    </a:lnTo>
                    <a:lnTo>
                      <a:pt x="124" y="22"/>
                    </a:lnTo>
                    <a:lnTo>
                      <a:pt x="117" y="20"/>
                    </a:lnTo>
                    <a:lnTo>
                      <a:pt x="114" y="20"/>
                    </a:lnTo>
                    <a:lnTo>
                      <a:pt x="112" y="15"/>
                    </a:lnTo>
                    <a:lnTo>
                      <a:pt x="111" y="12"/>
                    </a:lnTo>
                    <a:lnTo>
                      <a:pt x="107" y="7"/>
                    </a:lnTo>
                    <a:lnTo>
                      <a:pt x="107" y="5"/>
                    </a:lnTo>
                    <a:lnTo>
                      <a:pt x="103" y="4"/>
                    </a:lnTo>
                    <a:lnTo>
                      <a:pt x="98" y="4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9" y="12"/>
                    </a:lnTo>
                    <a:lnTo>
                      <a:pt x="99" y="15"/>
                    </a:lnTo>
                    <a:lnTo>
                      <a:pt x="98" y="18"/>
                    </a:lnTo>
                    <a:lnTo>
                      <a:pt x="98" y="20"/>
                    </a:lnTo>
                    <a:lnTo>
                      <a:pt x="94" y="20"/>
                    </a:lnTo>
                    <a:lnTo>
                      <a:pt x="89" y="30"/>
                    </a:lnTo>
                    <a:lnTo>
                      <a:pt x="80" y="41"/>
                    </a:lnTo>
                    <a:lnTo>
                      <a:pt x="73" y="46"/>
                    </a:lnTo>
                    <a:lnTo>
                      <a:pt x="57" y="51"/>
                    </a:lnTo>
                    <a:lnTo>
                      <a:pt x="54" y="53"/>
                    </a:lnTo>
                    <a:lnTo>
                      <a:pt x="42" y="79"/>
                    </a:lnTo>
                    <a:lnTo>
                      <a:pt x="39" y="82"/>
                    </a:lnTo>
                    <a:lnTo>
                      <a:pt x="37" y="82"/>
                    </a:lnTo>
                    <a:lnTo>
                      <a:pt x="32" y="76"/>
                    </a:lnTo>
                    <a:lnTo>
                      <a:pt x="29" y="74"/>
                    </a:lnTo>
                    <a:lnTo>
                      <a:pt x="24" y="74"/>
                    </a:lnTo>
                    <a:lnTo>
                      <a:pt x="22" y="71"/>
                    </a:lnTo>
                    <a:lnTo>
                      <a:pt x="19" y="72"/>
                    </a:lnTo>
                    <a:lnTo>
                      <a:pt x="16" y="72"/>
                    </a:lnTo>
                    <a:lnTo>
                      <a:pt x="16" y="69"/>
                    </a:lnTo>
                    <a:lnTo>
                      <a:pt x="18" y="66"/>
                    </a:lnTo>
                    <a:lnTo>
                      <a:pt x="22" y="64"/>
                    </a:lnTo>
                    <a:lnTo>
                      <a:pt x="21" y="61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11" y="62"/>
                    </a:lnTo>
                    <a:lnTo>
                      <a:pt x="8" y="66"/>
                    </a:lnTo>
                    <a:lnTo>
                      <a:pt x="3" y="71"/>
                    </a:lnTo>
                    <a:lnTo>
                      <a:pt x="1" y="76"/>
                    </a:lnTo>
                    <a:lnTo>
                      <a:pt x="0" y="79"/>
                    </a:lnTo>
                    <a:lnTo>
                      <a:pt x="1" y="80"/>
                    </a:lnTo>
                    <a:lnTo>
                      <a:pt x="3" y="82"/>
                    </a:lnTo>
                    <a:lnTo>
                      <a:pt x="3" y="85"/>
                    </a:lnTo>
                    <a:lnTo>
                      <a:pt x="1" y="85"/>
                    </a:lnTo>
                    <a:lnTo>
                      <a:pt x="1" y="87"/>
                    </a:lnTo>
                    <a:lnTo>
                      <a:pt x="5" y="90"/>
                    </a:lnTo>
                    <a:lnTo>
                      <a:pt x="6" y="95"/>
                    </a:lnTo>
                    <a:lnTo>
                      <a:pt x="6" y="98"/>
                    </a:lnTo>
                    <a:lnTo>
                      <a:pt x="5" y="98"/>
                    </a:lnTo>
                    <a:lnTo>
                      <a:pt x="1" y="100"/>
                    </a:lnTo>
                    <a:lnTo>
                      <a:pt x="1" y="102"/>
                    </a:lnTo>
                    <a:lnTo>
                      <a:pt x="3" y="105"/>
                    </a:lnTo>
                    <a:lnTo>
                      <a:pt x="6" y="105"/>
                    </a:lnTo>
                    <a:lnTo>
                      <a:pt x="11" y="110"/>
                    </a:lnTo>
                    <a:lnTo>
                      <a:pt x="16" y="110"/>
                    </a:lnTo>
                    <a:lnTo>
                      <a:pt x="22" y="115"/>
                    </a:lnTo>
                    <a:lnTo>
                      <a:pt x="26" y="116"/>
                    </a:lnTo>
                    <a:lnTo>
                      <a:pt x="26" y="118"/>
                    </a:lnTo>
                    <a:lnTo>
                      <a:pt x="29" y="123"/>
                    </a:lnTo>
                    <a:lnTo>
                      <a:pt x="31" y="128"/>
                    </a:lnTo>
                    <a:lnTo>
                      <a:pt x="32" y="131"/>
                    </a:lnTo>
                    <a:lnTo>
                      <a:pt x="39" y="134"/>
                    </a:lnTo>
                    <a:lnTo>
                      <a:pt x="40" y="139"/>
                    </a:lnTo>
                    <a:lnTo>
                      <a:pt x="42" y="144"/>
                    </a:lnTo>
                    <a:lnTo>
                      <a:pt x="44" y="147"/>
                    </a:lnTo>
                    <a:lnTo>
                      <a:pt x="44" y="152"/>
                    </a:lnTo>
                    <a:lnTo>
                      <a:pt x="47" y="156"/>
                    </a:lnTo>
                    <a:lnTo>
                      <a:pt x="49" y="157"/>
                    </a:lnTo>
                    <a:lnTo>
                      <a:pt x="52" y="162"/>
                    </a:lnTo>
                    <a:lnTo>
                      <a:pt x="52" y="167"/>
                    </a:lnTo>
                    <a:lnTo>
                      <a:pt x="52" y="169"/>
                    </a:lnTo>
                    <a:lnTo>
                      <a:pt x="54" y="174"/>
                    </a:lnTo>
                    <a:lnTo>
                      <a:pt x="58" y="180"/>
                    </a:lnTo>
                    <a:lnTo>
                      <a:pt x="62" y="183"/>
                    </a:lnTo>
                    <a:lnTo>
                      <a:pt x="60" y="187"/>
                    </a:lnTo>
                    <a:lnTo>
                      <a:pt x="60" y="188"/>
                    </a:lnTo>
                    <a:lnTo>
                      <a:pt x="63" y="188"/>
                    </a:lnTo>
                    <a:lnTo>
                      <a:pt x="68" y="193"/>
                    </a:lnTo>
                    <a:lnTo>
                      <a:pt x="70" y="196"/>
                    </a:lnTo>
                    <a:lnTo>
                      <a:pt x="70" y="201"/>
                    </a:lnTo>
                    <a:lnTo>
                      <a:pt x="71" y="203"/>
                    </a:lnTo>
                    <a:lnTo>
                      <a:pt x="76" y="205"/>
                    </a:lnTo>
                    <a:lnTo>
                      <a:pt x="76" y="208"/>
                    </a:lnTo>
                    <a:lnTo>
                      <a:pt x="81" y="216"/>
                    </a:lnTo>
                    <a:lnTo>
                      <a:pt x="83" y="219"/>
                    </a:lnTo>
                    <a:lnTo>
                      <a:pt x="88" y="228"/>
                    </a:lnTo>
                    <a:lnTo>
                      <a:pt x="88" y="231"/>
                    </a:lnTo>
                    <a:lnTo>
                      <a:pt x="86" y="231"/>
                    </a:lnTo>
                    <a:lnTo>
                      <a:pt x="85" y="229"/>
                    </a:lnTo>
                    <a:lnTo>
                      <a:pt x="85" y="231"/>
                    </a:lnTo>
                    <a:lnTo>
                      <a:pt x="85" y="234"/>
                    </a:lnTo>
                    <a:lnTo>
                      <a:pt x="85" y="237"/>
                    </a:lnTo>
                    <a:lnTo>
                      <a:pt x="88" y="236"/>
                    </a:lnTo>
                    <a:lnTo>
                      <a:pt x="89" y="237"/>
                    </a:lnTo>
                    <a:lnTo>
                      <a:pt x="89" y="241"/>
                    </a:lnTo>
                    <a:lnTo>
                      <a:pt x="89" y="242"/>
                    </a:lnTo>
                    <a:lnTo>
                      <a:pt x="94" y="245"/>
                    </a:lnTo>
                    <a:lnTo>
                      <a:pt x="99" y="247"/>
                    </a:lnTo>
                    <a:lnTo>
                      <a:pt x="99" y="250"/>
                    </a:lnTo>
                    <a:lnTo>
                      <a:pt x="103" y="254"/>
                    </a:lnTo>
                    <a:lnTo>
                      <a:pt x="104" y="254"/>
                    </a:lnTo>
                    <a:lnTo>
                      <a:pt x="106" y="255"/>
                    </a:lnTo>
                    <a:lnTo>
                      <a:pt x="107" y="257"/>
                    </a:lnTo>
                    <a:lnTo>
                      <a:pt x="109" y="259"/>
                    </a:lnTo>
                    <a:lnTo>
                      <a:pt x="114" y="259"/>
                    </a:lnTo>
                    <a:lnTo>
                      <a:pt x="116" y="257"/>
                    </a:lnTo>
                    <a:lnTo>
                      <a:pt x="114" y="260"/>
                    </a:lnTo>
                    <a:lnTo>
                      <a:pt x="117" y="263"/>
                    </a:lnTo>
                    <a:lnTo>
                      <a:pt x="122" y="265"/>
                    </a:lnTo>
                    <a:lnTo>
                      <a:pt x="124" y="268"/>
                    </a:lnTo>
                    <a:lnTo>
                      <a:pt x="125" y="270"/>
                    </a:lnTo>
                    <a:lnTo>
                      <a:pt x="127" y="272"/>
                    </a:lnTo>
                    <a:lnTo>
                      <a:pt x="132" y="273"/>
                    </a:lnTo>
                    <a:lnTo>
                      <a:pt x="132" y="273"/>
                    </a:lnTo>
                    <a:lnTo>
                      <a:pt x="135" y="273"/>
                    </a:lnTo>
                    <a:lnTo>
                      <a:pt x="142" y="277"/>
                    </a:lnTo>
                    <a:lnTo>
                      <a:pt x="145" y="278"/>
                    </a:lnTo>
                    <a:lnTo>
                      <a:pt x="148" y="278"/>
                    </a:lnTo>
                    <a:lnTo>
                      <a:pt x="150" y="280"/>
                    </a:lnTo>
                    <a:lnTo>
                      <a:pt x="152" y="281"/>
                    </a:lnTo>
                    <a:lnTo>
                      <a:pt x="155" y="285"/>
                    </a:lnTo>
                    <a:lnTo>
                      <a:pt x="158" y="286"/>
                    </a:lnTo>
                    <a:lnTo>
                      <a:pt x="161" y="290"/>
                    </a:lnTo>
                    <a:lnTo>
                      <a:pt x="163" y="291"/>
                    </a:lnTo>
                    <a:lnTo>
                      <a:pt x="165" y="293"/>
                    </a:lnTo>
                    <a:lnTo>
                      <a:pt x="165" y="294"/>
                    </a:lnTo>
                    <a:lnTo>
                      <a:pt x="165" y="296"/>
                    </a:lnTo>
                    <a:lnTo>
                      <a:pt x="168" y="298"/>
                    </a:lnTo>
                    <a:lnTo>
                      <a:pt x="171" y="299"/>
                    </a:lnTo>
                    <a:lnTo>
                      <a:pt x="176" y="304"/>
                    </a:lnTo>
                    <a:lnTo>
                      <a:pt x="179" y="308"/>
                    </a:lnTo>
                    <a:lnTo>
                      <a:pt x="183" y="308"/>
                    </a:lnTo>
                    <a:lnTo>
                      <a:pt x="183" y="309"/>
                    </a:lnTo>
                    <a:lnTo>
                      <a:pt x="187" y="308"/>
                    </a:lnTo>
                    <a:lnTo>
                      <a:pt x="191" y="304"/>
                    </a:lnTo>
                    <a:lnTo>
                      <a:pt x="192" y="304"/>
                    </a:lnTo>
                    <a:lnTo>
                      <a:pt x="196" y="303"/>
                    </a:lnTo>
                    <a:lnTo>
                      <a:pt x="196" y="301"/>
                    </a:lnTo>
                    <a:lnTo>
                      <a:pt x="194" y="298"/>
                    </a:lnTo>
                    <a:lnTo>
                      <a:pt x="194" y="294"/>
                    </a:lnTo>
                    <a:lnTo>
                      <a:pt x="196" y="293"/>
                    </a:lnTo>
                    <a:lnTo>
                      <a:pt x="199" y="293"/>
                    </a:lnTo>
                    <a:lnTo>
                      <a:pt x="197" y="291"/>
                    </a:lnTo>
                    <a:lnTo>
                      <a:pt x="196" y="290"/>
                    </a:lnTo>
                    <a:lnTo>
                      <a:pt x="194" y="290"/>
                    </a:lnTo>
                    <a:lnTo>
                      <a:pt x="197" y="283"/>
                    </a:lnTo>
                    <a:lnTo>
                      <a:pt x="201" y="281"/>
                    </a:lnTo>
                    <a:lnTo>
                      <a:pt x="204" y="277"/>
                    </a:lnTo>
                    <a:lnTo>
                      <a:pt x="204" y="273"/>
                    </a:lnTo>
                    <a:lnTo>
                      <a:pt x="199" y="262"/>
                    </a:lnTo>
                    <a:lnTo>
                      <a:pt x="201" y="260"/>
                    </a:lnTo>
                    <a:lnTo>
                      <a:pt x="201" y="255"/>
                    </a:lnTo>
                    <a:lnTo>
                      <a:pt x="201" y="254"/>
                    </a:lnTo>
                    <a:lnTo>
                      <a:pt x="199" y="250"/>
                    </a:lnTo>
                    <a:lnTo>
                      <a:pt x="201" y="247"/>
                    </a:lnTo>
                    <a:lnTo>
                      <a:pt x="202" y="242"/>
                    </a:lnTo>
                    <a:lnTo>
                      <a:pt x="202" y="232"/>
                    </a:lnTo>
                    <a:lnTo>
                      <a:pt x="201" y="228"/>
                    </a:lnTo>
                    <a:lnTo>
                      <a:pt x="202" y="223"/>
                    </a:lnTo>
                    <a:lnTo>
                      <a:pt x="202" y="211"/>
                    </a:lnTo>
                    <a:lnTo>
                      <a:pt x="205" y="206"/>
                    </a:lnTo>
                    <a:lnTo>
                      <a:pt x="204" y="205"/>
                    </a:lnTo>
                    <a:lnTo>
                      <a:pt x="191" y="183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6" name="Freeform 340">
                <a:extLst>
                  <a:ext uri="{FF2B5EF4-FFF2-40B4-BE49-F238E27FC236}">
                    <a16:creationId xmlns:a16="http://schemas.microsoft.com/office/drawing/2014/main" xmlns="" id="{0F596F99-F6AA-4F02-8C57-15C5AB468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5" y="2221"/>
                <a:ext cx="196" cy="225"/>
              </a:xfrm>
              <a:custGeom>
                <a:avLst/>
                <a:gdLst>
                  <a:gd name="T0" fmla="*/ 189 w 196"/>
                  <a:gd name="T1" fmla="*/ 165 h 225"/>
                  <a:gd name="T2" fmla="*/ 188 w 196"/>
                  <a:gd name="T3" fmla="*/ 127 h 225"/>
                  <a:gd name="T4" fmla="*/ 178 w 196"/>
                  <a:gd name="T5" fmla="*/ 107 h 225"/>
                  <a:gd name="T6" fmla="*/ 145 w 196"/>
                  <a:gd name="T7" fmla="*/ 89 h 225"/>
                  <a:gd name="T8" fmla="*/ 147 w 196"/>
                  <a:gd name="T9" fmla="*/ 71 h 225"/>
                  <a:gd name="T10" fmla="*/ 130 w 196"/>
                  <a:gd name="T11" fmla="*/ 67 h 225"/>
                  <a:gd name="T12" fmla="*/ 121 w 196"/>
                  <a:gd name="T13" fmla="*/ 58 h 225"/>
                  <a:gd name="T14" fmla="*/ 107 w 196"/>
                  <a:gd name="T15" fmla="*/ 55 h 225"/>
                  <a:gd name="T16" fmla="*/ 93 w 196"/>
                  <a:gd name="T17" fmla="*/ 44 h 225"/>
                  <a:gd name="T18" fmla="*/ 81 w 196"/>
                  <a:gd name="T19" fmla="*/ 44 h 225"/>
                  <a:gd name="T20" fmla="*/ 72 w 196"/>
                  <a:gd name="T21" fmla="*/ 34 h 225"/>
                  <a:gd name="T22" fmla="*/ 67 w 196"/>
                  <a:gd name="T23" fmla="*/ 22 h 225"/>
                  <a:gd name="T24" fmla="*/ 65 w 196"/>
                  <a:gd name="T25" fmla="*/ 4 h 225"/>
                  <a:gd name="T26" fmla="*/ 60 w 196"/>
                  <a:gd name="T27" fmla="*/ 3 h 225"/>
                  <a:gd name="T28" fmla="*/ 49 w 196"/>
                  <a:gd name="T29" fmla="*/ 3 h 225"/>
                  <a:gd name="T30" fmla="*/ 32 w 196"/>
                  <a:gd name="T31" fmla="*/ 16 h 225"/>
                  <a:gd name="T32" fmla="*/ 21 w 196"/>
                  <a:gd name="T33" fmla="*/ 19 h 225"/>
                  <a:gd name="T34" fmla="*/ 10 w 196"/>
                  <a:gd name="T35" fmla="*/ 22 h 225"/>
                  <a:gd name="T36" fmla="*/ 14 w 196"/>
                  <a:gd name="T37" fmla="*/ 45 h 225"/>
                  <a:gd name="T38" fmla="*/ 10 w 196"/>
                  <a:gd name="T39" fmla="*/ 67 h 225"/>
                  <a:gd name="T40" fmla="*/ 10 w 196"/>
                  <a:gd name="T41" fmla="*/ 86 h 225"/>
                  <a:gd name="T42" fmla="*/ 10 w 196"/>
                  <a:gd name="T43" fmla="*/ 94 h 225"/>
                  <a:gd name="T44" fmla="*/ 13 w 196"/>
                  <a:gd name="T45" fmla="*/ 112 h 225"/>
                  <a:gd name="T46" fmla="*/ 6 w 196"/>
                  <a:gd name="T47" fmla="*/ 122 h 225"/>
                  <a:gd name="T48" fmla="*/ 6 w 196"/>
                  <a:gd name="T49" fmla="*/ 130 h 225"/>
                  <a:gd name="T50" fmla="*/ 8 w 196"/>
                  <a:gd name="T51" fmla="*/ 137 h 225"/>
                  <a:gd name="T52" fmla="*/ 14 w 196"/>
                  <a:gd name="T53" fmla="*/ 143 h 225"/>
                  <a:gd name="T54" fmla="*/ 14 w 196"/>
                  <a:gd name="T55" fmla="*/ 153 h 225"/>
                  <a:gd name="T56" fmla="*/ 24 w 196"/>
                  <a:gd name="T57" fmla="*/ 166 h 225"/>
                  <a:gd name="T58" fmla="*/ 21 w 196"/>
                  <a:gd name="T59" fmla="*/ 183 h 225"/>
                  <a:gd name="T60" fmla="*/ 42 w 196"/>
                  <a:gd name="T61" fmla="*/ 225 h 225"/>
                  <a:gd name="T62" fmla="*/ 50 w 196"/>
                  <a:gd name="T63" fmla="*/ 223 h 225"/>
                  <a:gd name="T64" fmla="*/ 55 w 196"/>
                  <a:gd name="T65" fmla="*/ 214 h 225"/>
                  <a:gd name="T66" fmla="*/ 68 w 196"/>
                  <a:gd name="T67" fmla="*/ 210 h 225"/>
                  <a:gd name="T68" fmla="*/ 80 w 196"/>
                  <a:gd name="T69" fmla="*/ 210 h 225"/>
                  <a:gd name="T70" fmla="*/ 90 w 196"/>
                  <a:gd name="T71" fmla="*/ 214 h 225"/>
                  <a:gd name="T72" fmla="*/ 94 w 196"/>
                  <a:gd name="T73" fmla="*/ 220 h 225"/>
                  <a:gd name="T74" fmla="*/ 96 w 196"/>
                  <a:gd name="T75" fmla="*/ 210 h 225"/>
                  <a:gd name="T76" fmla="*/ 116 w 196"/>
                  <a:gd name="T77" fmla="*/ 207 h 225"/>
                  <a:gd name="T78" fmla="*/ 124 w 196"/>
                  <a:gd name="T79" fmla="*/ 196 h 225"/>
                  <a:gd name="T80" fmla="*/ 122 w 196"/>
                  <a:gd name="T81" fmla="*/ 184 h 225"/>
                  <a:gd name="T82" fmla="*/ 129 w 196"/>
                  <a:gd name="T83" fmla="*/ 168 h 225"/>
                  <a:gd name="T84" fmla="*/ 171 w 196"/>
                  <a:gd name="T85" fmla="*/ 160 h 225"/>
                  <a:gd name="T86" fmla="*/ 188 w 196"/>
                  <a:gd name="T87" fmla="*/ 17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6" h="225">
                    <a:moveTo>
                      <a:pt x="188" y="171"/>
                    </a:moveTo>
                    <a:lnTo>
                      <a:pt x="189" y="168"/>
                    </a:lnTo>
                    <a:lnTo>
                      <a:pt x="189" y="165"/>
                    </a:lnTo>
                    <a:lnTo>
                      <a:pt x="196" y="150"/>
                    </a:lnTo>
                    <a:lnTo>
                      <a:pt x="196" y="142"/>
                    </a:lnTo>
                    <a:lnTo>
                      <a:pt x="188" y="127"/>
                    </a:lnTo>
                    <a:lnTo>
                      <a:pt x="179" y="124"/>
                    </a:lnTo>
                    <a:lnTo>
                      <a:pt x="179" y="117"/>
                    </a:lnTo>
                    <a:lnTo>
                      <a:pt x="178" y="107"/>
                    </a:lnTo>
                    <a:lnTo>
                      <a:pt x="150" y="107"/>
                    </a:lnTo>
                    <a:lnTo>
                      <a:pt x="152" y="99"/>
                    </a:lnTo>
                    <a:lnTo>
                      <a:pt x="145" y="89"/>
                    </a:lnTo>
                    <a:lnTo>
                      <a:pt x="147" y="86"/>
                    </a:lnTo>
                    <a:lnTo>
                      <a:pt x="145" y="80"/>
                    </a:lnTo>
                    <a:lnTo>
                      <a:pt x="147" y="71"/>
                    </a:lnTo>
                    <a:lnTo>
                      <a:pt x="145" y="70"/>
                    </a:lnTo>
                    <a:lnTo>
                      <a:pt x="139" y="65"/>
                    </a:lnTo>
                    <a:lnTo>
                      <a:pt x="130" y="67"/>
                    </a:lnTo>
                    <a:lnTo>
                      <a:pt x="125" y="65"/>
                    </a:lnTo>
                    <a:lnTo>
                      <a:pt x="122" y="63"/>
                    </a:lnTo>
                    <a:lnTo>
                      <a:pt x="121" y="58"/>
                    </a:lnTo>
                    <a:lnTo>
                      <a:pt x="117" y="57"/>
                    </a:lnTo>
                    <a:lnTo>
                      <a:pt x="111" y="55"/>
                    </a:lnTo>
                    <a:lnTo>
                      <a:pt x="107" y="55"/>
                    </a:lnTo>
                    <a:lnTo>
                      <a:pt x="103" y="49"/>
                    </a:lnTo>
                    <a:lnTo>
                      <a:pt x="98" y="50"/>
                    </a:lnTo>
                    <a:lnTo>
                      <a:pt x="93" y="44"/>
                    </a:lnTo>
                    <a:lnTo>
                      <a:pt x="86" y="45"/>
                    </a:lnTo>
                    <a:lnTo>
                      <a:pt x="85" y="47"/>
                    </a:lnTo>
                    <a:lnTo>
                      <a:pt x="81" y="44"/>
                    </a:lnTo>
                    <a:lnTo>
                      <a:pt x="76" y="40"/>
                    </a:lnTo>
                    <a:lnTo>
                      <a:pt x="72" y="39"/>
                    </a:lnTo>
                    <a:lnTo>
                      <a:pt x="72" y="34"/>
                    </a:lnTo>
                    <a:lnTo>
                      <a:pt x="67" y="32"/>
                    </a:lnTo>
                    <a:lnTo>
                      <a:pt x="65" y="26"/>
                    </a:lnTo>
                    <a:lnTo>
                      <a:pt x="67" y="22"/>
                    </a:lnTo>
                    <a:lnTo>
                      <a:pt x="63" y="16"/>
                    </a:lnTo>
                    <a:lnTo>
                      <a:pt x="67" y="11"/>
                    </a:lnTo>
                    <a:lnTo>
                      <a:pt x="65" y="4"/>
                    </a:lnTo>
                    <a:lnTo>
                      <a:pt x="65" y="1"/>
                    </a:lnTo>
                    <a:lnTo>
                      <a:pt x="63" y="0"/>
                    </a:lnTo>
                    <a:lnTo>
                      <a:pt x="60" y="3"/>
                    </a:lnTo>
                    <a:lnTo>
                      <a:pt x="57" y="0"/>
                    </a:lnTo>
                    <a:lnTo>
                      <a:pt x="54" y="0"/>
                    </a:lnTo>
                    <a:lnTo>
                      <a:pt x="49" y="3"/>
                    </a:lnTo>
                    <a:lnTo>
                      <a:pt x="42" y="3"/>
                    </a:lnTo>
                    <a:lnTo>
                      <a:pt x="36" y="8"/>
                    </a:lnTo>
                    <a:lnTo>
                      <a:pt x="32" y="16"/>
                    </a:lnTo>
                    <a:lnTo>
                      <a:pt x="27" y="17"/>
                    </a:lnTo>
                    <a:lnTo>
                      <a:pt x="24" y="17"/>
                    </a:lnTo>
                    <a:lnTo>
                      <a:pt x="21" y="19"/>
                    </a:lnTo>
                    <a:lnTo>
                      <a:pt x="18" y="19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0" y="22"/>
                    </a:lnTo>
                    <a:lnTo>
                      <a:pt x="13" y="44"/>
                    </a:lnTo>
                    <a:lnTo>
                      <a:pt x="14" y="45"/>
                    </a:lnTo>
                    <a:lnTo>
                      <a:pt x="11" y="50"/>
                    </a:lnTo>
                    <a:lnTo>
                      <a:pt x="11" y="62"/>
                    </a:lnTo>
                    <a:lnTo>
                      <a:pt x="10" y="67"/>
                    </a:lnTo>
                    <a:lnTo>
                      <a:pt x="11" y="71"/>
                    </a:lnTo>
                    <a:lnTo>
                      <a:pt x="11" y="81"/>
                    </a:lnTo>
                    <a:lnTo>
                      <a:pt x="10" y="86"/>
                    </a:lnTo>
                    <a:lnTo>
                      <a:pt x="8" y="89"/>
                    </a:lnTo>
                    <a:lnTo>
                      <a:pt x="10" y="93"/>
                    </a:lnTo>
                    <a:lnTo>
                      <a:pt x="10" y="94"/>
                    </a:lnTo>
                    <a:lnTo>
                      <a:pt x="10" y="99"/>
                    </a:lnTo>
                    <a:lnTo>
                      <a:pt x="8" y="101"/>
                    </a:lnTo>
                    <a:lnTo>
                      <a:pt x="13" y="112"/>
                    </a:lnTo>
                    <a:lnTo>
                      <a:pt x="13" y="116"/>
                    </a:lnTo>
                    <a:lnTo>
                      <a:pt x="10" y="120"/>
                    </a:lnTo>
                    <a:lnTo>
                      <a:pt x="6" y="122"/>
                    </a:lnTo>
                    <a:lnTo>
                      <a:pt x="3" y="129"/>
                    </a:lnTo>
                    <a:lnTo>
                      <a:pt x="5" y="129"/>
                    </a:lnTo>
                    <a:lnTo>
                      <a:pt x="6" y="130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8" y="137"/>
                    </a:lnTo>
                    <a:lnTo>
                      <a:pt x="11" y="138"/>
                    </a:lnTo>
                    <a:lnTo>
                      <a:pt x="13" y="140"/>
                    </a:lnTo>
                    <a:lnTo>
                      <a:pt x="14" y="143"/>
                    </a:lnTo>
                    <a:lnTo>
                      <a:pt x="13" y="147"/>
                    </a:lnTo>
                    <a:lnTo>
                      <a:pt x="14" y="148"/>
                    </a:lnTo>
                    <a:lnTo>
                      <a:pt x="14" y="153"/>
                    </a:lnTo>
                    <a:lnTo>
                      <a:pt x="18" y="158"/>
                    </a:lnTo>
                    <a:lnTo>
                      <a:pt x="24" y="163"/>
                    </a:lnTo>
                    <a:lnTo>
                      <a:pt x="24" y="166"/>
                    </a:lnTo>
                    <a:lnTo>
                      <a:pt x="23" y="171"/>
                    </a:lnTo>
                    <a:lnTo>
                      <a:pt x="24" y="174"/>
                    </a:lnTo>
                    <a:lnTo>
                      <a:pt x="21" y="183"/>
                    </a:lnTo>
                    <a:lnTo>
                      <a:pt x="23" y="186"/>
                    </a:lnTo>
                    <a:lnTo>
                      <a:pt x="31" y="194"/>
                    </a:lnTo>
                    <a:lnTo>
                      <a:pt x="42" y="225"/>
                    </a:lnTo>
                    <a:lnTo>
                      <a:pt x="45" y="225"/>
                    </a:lnTo>
                    <a:lnTo>
                      <a:pt x="47" y="223"/>
                    </a:lnTo>
                    <a:lnTo>
                      <a:pt x="50" y="223"/>
                    </a:lnTo>
                    <a:lnTo>
                      <a:pt x="50" y="223"/>
                    </a:lnTo>
                    <a:lnTo>
                      <a:pt x="52" y="220"/>
                    </a:lnTo>
                    <a:lnTo>
                      <a:pt x="55" y="214"/>
                    </a:lnTo>
                    <a:lnTo>
                      <a:pt x="60" y="207"/>
                    </a:lnTo>
                    <a:lnTo>
                      <a:pt x="65" y="207"/>
                    </a:lnTo>
                    <a:lnTo>
                      <a:pt x="68" y="210"/>
                    </a:lnTo>
                    <a:lnTo>
                      <a:pt x="73" y="209"/>
                    </a:lnTo>
                    <a:lnTo>
                      <a:pt x="76" y="209"/>
                    </a:lnTo>
                    <a:lnTo>
                      <a:pt x="80" y="210"/>
                    </a:lnTo>
                    <a:lnTo>
                      <a:pt x="85" y="209"/>
                    </a:lnTo>
                    <a:lnTo>
                      <a:pt x="88" y="209"/>
                    </a:lnTo>
                    <a:lnTo>
                      <a:pt x="90" y="214"/>
                    </a:lnTo>
                    <a:lnTo>
                      <a:pt x="91" y="220"/>
                    </a:lnTo>
                    <a:lnTo>
                      <a:pt x="93" y="222"/>
                    </a:lnTo>
                    <a:lnTo>
                      <a:pt x="94" y="220"/>
                    </a:lnTo>
                    <a:lnTo>
                      <a:pt x="93" y="217"/>
                    </a:lnTo>
                    <a:lnTo>
                      <a:pt x="96" y="214"/>
                    </a:lnTo>
                    <a:lnTo>
                      <a:pt x="96" y="210"/>
                    </a:lnTo>
                    <a:lnTo>
                      <a:pt x="98" y="207"/>
                    </a:lnTo>
                    <a:lnTo>
                      <a:pt x="107" y="207"/>
                    </a:lnTo>
                    <a:lnTo>
                      <a:pt x="116" y="207"/>
                    </a:lnTo>
                    <a:lnTo>
                      <a:pt x="117" y="210"/>
                    </a:lnTo>
                    <a:lnTo>
                      <a:pt x="119" y="205"/>
                    </a:lnTo>
                    <a:lnTo>
                      <a:pt x="124" y="196"/>
                    </a:lnTo>
                    <a:lnTo>
                      <a:pt x="124" y="192"/>
                    </a:lnTo>
                    <a:lnTo>
                      <a:pt x="124" y="187"/>
                    </a:lnTo>
                    <a:lnTo>
                      <a:pt x="122" y="184"/>
                    </a:lnTo>
                    <a:lnTo>
                      <a:pt x="127" y="178"/>
                    </a:lnTo>
                    <a:lnTo>
                      <a:pt x="129" y="171"/>
                    </a:lnTo>
                    <a:lnTo>
                      <a:pt x="129" y="168"/>
                    </a:lnTo>
                    <a:lnTo>
                      <a:pt x="132" y="166"/>
                    </a:lnTo>
                    <a:lnTo>
                      <a:pt x="153" y="160"/>
                    </a:lnTo>
                    <a:lnTo>
                      <a:pt x="171" y="160"/>
                    </a:lnTo>
                    <a:lnTo>
                      <a:pt x="183" y="168"/>
                    </a:lnTo>
                    <a:lnTo>
                      <a:pt x="184" y="168"/>
                    </a:lnTo>
                    <a:lnTo>
                      <a:pt x="188" y="171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7" name="Freeform 341">
                <a:extLst>
                  <a:ext uri="{FF2B5EF4-FFF2-40B4-BE49-F238E27FC236}">
                    <a16:creationId xmlns:a16="http://schemas.microsoft.com/office/drawing/2014/main" xmlns="" id="{9EADA707-FF07-4A3E-A6B5-FDCDD0D72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2381"/>
                <a:ext cx="136" cy="147"/>
              </a:xfrm>
              <a:custGeom>
                <a:avLst/>
                <a:gdLst>
                  <a:gd name="T0" fmla="*/ 2 w 136"/>
                  <a:gd name="T1" fmla="*/ 45 h 147"/>
                  <a:gd name="T2" fmla="*/ 7 w 136"/>
                  <a:gd name="T3" fmla="*/ 32 h 147"/>
                  <a:gd name="T4" fmla="*/ 5 w 136"/>
                  <a:gd name="T5" fmla="*/ 24 h 147"/>
                  <a:gd name="T6" fmla="*/ 12 w 136"/>
                  <a:gd name="T7" fmla="*/ 11 h 147"/>
                  <a:gd name="T8" fmla="*/ 15 w 136"/>
                  <a:gd name="T9" fmla="*/ 6 h 147"/>
                  <a:gd name="T10" fmla="*/ 54 w 136"/>
                  <a:gd name="T11" fmla="*/ 0 h 147"/>
                  <a:gd name="T12" fmla="*/ 67 w 136"/>
                  <a:gd name="T13" fmla="*/ 8 h 147"/>
                  <a:gd name="T14" fmla="*/ 71 w 136"/>
                  <a:gd name="T15" fmla="*/ 16 h 147"/>
                  <a:gd name="T16" fmla="*/ 74 w 136"/>
                  <a:gd name="T17" fmla="*/ 24 h 147"/>
                  <a:gd name="T18" fmla="*/ 75 w 136"/>
                  <a:gd name="T19" fmla="*/ 39 h 147"/>
                  <a:gd name="T20" fmla="*/ 75 w 136"/>
                  <a:gd name="T21" fmla="*/ 45 h 147"/>
                  <a:gd name="T22" fmla="*/ 84 w 136"/>
                  <a:gd name="T23" fmla="*/ 49 h 147"/>
                  <a:gd name="T24" fmla="*/ 93 w 136"/>
                  <a:gd name="T25" fmla="*/ 49 h 147"/>
                  <a:gd name="T26" fmla="*/ 105 w 136"/>
                  <a:gd name="T27" fmla="*/ 49 h 147"/>
                  <a:gd name="T28" fmla="*/ 111 w 136"/>
                  <a:gd name="T29" fmla="*/ 52 h 147"/>
                  <a:gd name="T30" fmla="*/ 116 w 136"/>
                  <a:gd name="T31" fmla="*/ 73 h 147"/>
                  <a:gd name="T32" fmla="*/ 123 w 136"/>
                  <a:gd name="T33" fmla="*/ 80 h 147"/>
                  <a:gd name="T34" fmla="*/ 133 w 136"/>
                  <a:gd name="T35" fmla="*/ 78 h 147"/>
                  <a:gd name="T36" fmla="*/ 136 w 136"/>
                  <a:gd name="T37" fmla="*/ 81 h 147"/>
                  <a:gd name="T38" fmla="*/ 134 w 136"/>
                  <a:gd name="T39" fmla="*/ 98 h 147"/>
                  <a:gd name="T40" fmla="*/ 134 w 136"/>
                  <a:gd name="T41" fmla="*/ 101 h 147"/>
                  <a:gd name="T42" fmla="*/ 133 w 136"/>
                  <a:gd name="T43" fmla="*/ 104 h 147"/>
                  <a:gd name="T44" fmla="*/ 133 w 136"/>
                  <a:gd name="T45" fmla="*/ 107 h 147"/>
                  <a:gd name="T46" fmla="*/ 133 w 136"/>
                  <a:gd name="T47" fmla="*/ 114 h 147"/>
                  <a:gd name="T48" fmla="*/ 129 w 136"/>
                  <a:gd name="T49" fmla="*/ 122 h 147"/>
                  <a:gd name="T50" fmla="*/ 126 w 136"/>
                  <a:gd name="T51" fmla="*/ 129 h 147"/>
                  <a:gd name="T52" fmla="*/ 118 w 136"/>
                  <a:gd name="T53" fmla="*/ 139 h 147"/>
                  <a:gd name="T54" fmla="*/ 111 w 136"/>
                  <a:gd name="T55" fmla="*/ 142 h 147"/>
                  <a:gd name="T56" fmla="*/ 106 w 136"/>
                  <a:gd name="T57" fmla="*/ 147 h 147"/>
                  <a:gd name="T58" fmla="*/ 103 w 136"/>
                  <a:gd name="T59" fmla="*/ 145 h 147"/>
                  <a:gd name="T60" fmla="*/ 93 w 136"/>
                  <a:gd name="T61" fmla="*/ 142 h 147"/>
                  <a:gd name="T62" fmla="*/ 72 w 136"/>
                  <a:gd name="T63" fmla="*/ 140 h 147"/>
                  <a:gd name="T64" fmla="*/ 71 w 136"/>
                  <a:gd name="T65" fmla="*/ 137 h 147"/>
                  <a:gd name="T66" fmla="*/ 77 w 136"/>
                  <a:gd name="T67" fmla="*/ 125 h 147"/>
                  <a:gd name="T68" fmla="*/ 79 w 136"/>
                  <a:gd name="T69" fmla="*/ 119 h 147"/>
                  <a:gd name="T70" fmla="*/ 84 w 136"/>
                  <a:gd name="T71" fmla="*/ 114 h 147"/>
                  <a:gd name="T72" fmla="*/ 82 w 136"/>
                  <a:gd name="T73" fmla="*/ 106 h 147"/>
                  <a:gd name="T74" fmla="*/ 74 w 136"/>
                  <a:gd name="T75" fmla="*/ 98 h 147"/>
                  <a:gd name="T76" fmla="*/ 57 w 136"/>
                  <a:gd name="T77" fmla="*/ 93 h 147"/>
                  <a:gd name="T78" fmla="*/ 48 w 136"/>
                  <a:gd name="T79" fmla="*/ 86 h 147"/>
                  <a:gd name="T80" fmla="*/ 31 w 136"/>
                  <a:gd name="T81" fmla="*/ 81 h 147"/>
                  <a:gd name="T82" fmla="*/ 25 w 136"/>
                  <a:gd name="T83" fmla="*/ 73 h 147"/>
                  <a:gd name="T84" fmla="*/ 12 w 136"/>
                  <a:gd name="T85" fmla="*/ 62 h 147"/>
                  <a:gd name="T86" fmla="*/ 5 w 136"/>
                  <a:gd name="T87" fmla="*/ 55 h 147"/>
                  <a:gd name="T88" fmla="*/ 0 w 136"/>
                  <a:gd name="T89" fmla="*/ 5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" h="147">
                    <a:moveTo>
                      <a:pt x="0" y="50"/>
                    </a:moveTo>
                    <a:lnTo>
                      <a:pt x="2" y="45"/>
                    </a:lnTo>
                    <a:lnTo>
                      <a:pt x="7" y="36"/>
                    </a:lnTo>
                    <a:lnTo>
                      <a:pt x="7" y="32"/>
                    </a:lnTo>
                    <a:lnTo>
                      <a:pt x="7" y="27"/>
                    </a:lnTo>
                    <a:lnTo>
                      <a:pt x="5" y="24"/>
                    </a:lnTo>
                    <a:lnTo>
                      <a:pt x="10" y="18"/>
                    </a:lnTo>
                    <a:lnTo>
                      <a:pt x="12" y="11"/>
                    </a:lnTo>
                    <a:lnTo>
                      <a:pt x="12" y="8"/>
                    </a:lnTo>
                    <a:lnTo>
                      <a:pt x="15" y="6"/>
                    </a:lnTo>
                    <a:lnTo>
                      <a:pt x="36" y="0"/>
                    </a:lnTo>
                    <a:lnTo>
                      <a:pt x="54" y="0"/>
                    </a:lnTo>
                    <a:lnTo>
                      <a:pt x="66" y="8"/>
                    </a:lnTo>
                    <a:lnTo>
                      <a:pt x="67" y="8"/>
                    </a:lnTo>
                    <a:lnTo>
                      <a:pt x="71" y="13"/>
                    </a:lnTo>
                    <a:lnTo>
                      <a:pt x="71" y="16"/>
                    </a:lnTo>
                    <a:lnTo>
                      <a:pt x="74" y="19"/>
                    </a:lnTo>
                    <a:lnTo>
                      <a:pt x="74" y="24"/>
                    </a:lnTo>
                    <a:lnTo>
                      <a:pt x="77" y="29"/>
                    </a:lnTo>
                    <a:lnTo>
                      <a:pt x="75" y="39"/>
                    </a:lnTo>
                    <a:lnTo>
                      <a:pt x="77" y="42"/>
                    </a:lnTo>
                    <a:lnTo>
                      <a:pt x="75" y="45"/>
                    </a:lnTo>
                    <a:lnTo>
                      <a:pt x="77" y="49"/>
                    </a:lnTo>
                    <a:lnTo>
                      <a:pt x="84" y="49"/>
                    </a:lnTo>
                    <a:lnTo>
                      <a:pt x="85" y="50"/>
                    </a:lnTo>
                    <a:lnTo>
                      <a:pt x="93" y="49"/>
                    </a:lnTo>
                    <a:lnTo>
                      <a:pt x="97" y="50"/>
                    </a:lnTo>
                    <a:lnTo>
                      <a:pt x="105" y="49"/>
                    </a:lnTo>
                    <a:lnTo>
                      <a:pt x="108" y="50"/>
                    </a:lnTo>
                    <a:lnTo>
                      <a:pt x="111" y="52"/>
                    </a:lnTo>
                    <a:lnTo>
                      <a:pt x="113" y="55"/>
                    </a:lnTo>
                    <a:lnTo>
                      <a:pt x="116" y="73"/>
                    </a:lnTo>
                    <a:lnTo>
                      <a:pt x="120" y="80"/>
                    </a:lnTo>
                    <a:lnTo>
                      <a:pt x="123" y="80"/>
                    </a:lnTo>
                    <a:lnTo>
                      <a:pt x="128" y="76"/>
                    </a:lnTo>
                    <a:lnTo>
                      <a:pt x="133" y="78"/>
                    </a:lnTo>
                    <a:lnTo>
                      <a:pt x="134" y="80"/>
                    </a:lnTo>
                    <a:lnTo>
                      <a:pt x="136" y="81"/>
                    </a:lnTo>
                    <a:lnTo>
                      <a:pt x="134" y="83"/>
                    </a:lnTo>
                    <a:lnTo>
                      <a:pt x="134" y="98"/>
                    </a:lnTo>
                    <a:lnTo>
                      <a:pt x="134" y="101"/>
                    </a:lnTo>
                    <a:lnTo>
                      <a:pt x="134" y="101"/>
                    </a:lnTo>
                    <a:lnTo>
                      <a:pt x="134" y="103"/>
                    </a:lnTo>
                    <a:lnTo>
                      <a:pt x="133" y="104"/>
                    </a:lnTo>
                    <a:lnTo>
                      <a:pt x="133" y="106"/>
                    </a:lnTo>
                    <a:lnTo>
                      <a:pt x="133" y="107"/>
                    </a:lnTo>
                    <a:lnTo>
                      <a:pt x="133" y="112"/>
                    </a:lnTo>
                    <a:lnTo>
                      <a:pt x="133" y="114"/>
                    </a:lnTo>
                    <a:lnTo>
                      <a:pt x="133" y="119"/>
                    </a:lnTo>
                    <a:lnTo>
                      <a:pt x="129" y="122"/>
                    </a:lnTo>
                    <a:lnTo>
                      <a:pt x="128" y="125"/>
                    </a:lnTo>
                    <a:lnTo>
                      <a:pt x="126" y="129"/>
                    </a:lnTo>
                    <a:lnTo>
                      <a:pt x="120" y="134"/>
                    </a:lnTo>
                    <a:lnTo>
                      <a:pt x="118" y="139"/>
                    </a:lnTo>
                    <a:lnTo>
                      <a:pt x="115" y="142"/>
                    </a:lnTo>
                    <a:lnTo>
                      <a:pt x="111" y="142"/>
                    </a:lnTo>
                    <a:lnTo>
                      <a:pt x="110" y="142"/>
                    </a:lnTo>
                    <a:lnTo>
                      <a:pt x="106" y="147"/>
                    </a:lnTo>
                    <a:lnTo>
                      <a:pt x="105" y="145"/>
                    </a:lnTo>
                    <a:lnTo>
                      <a:pt x="103" y="145"/>
                    </a:lnTo>
                    <a:lnTo>
                      <a:pt x="100" y="147"/>
                    </a:lnTo>
                    <a:lnTo>
                      <a:pt x="93" y="142"/>
                    </a:lnTo>
                    <a:lnTo>
                      <a:pt x="84" y="139"/>
                    </a:lnTo>
                    <a:lnTo>
                      <a:pt x="72" y="140"/>
                    </a:lnTo>
                    <a:lnTo>
                      <a:pt x="69" y="140"/>
                    </a:lnTo>
                    <a:lnTo>
                      <a:pt x="71" y="137"/>
                    </a:lnTo>
                    <a:lnTo>
                      <a:pt x="75" y="132"/>
                    </a:lnTo>
                    <a:lnTo>
                      <a:pt x="77" y="125"/>
                    </a:lnTo>
                    <a:lnTo>
                      <a:pt x="77" y="122"/>
                    </a:lnTo>
                    <a:lnTo>
                      <a:pt x="79" y="119"/>
                    </a:lnTo>
                    <a:lnTo>
                      <a:pt x="80" y="117"/>
                    </a:lnTo>
                    <a:lnTo>
                      <a:pt x="84" y="114"/>
                    </a:lnTo>
                    <a:lnTo>
                      <a:pt x="84" y="111"/>
                    </a:lnTo>
                    <a:lnTo>
                      <a:pt x="82" y="106"/>
                    </a:lnTo>
                    <a:lnTo>
                      <a:pt x="77" y="103"/>
                    </a:lnTo>
                    <a:lnTo>
                      <a:pt x="74" y="98"/>
                    </a:lnTo>
                    <a:lnTo>
                      <a:pt x="64" y="96"/>
                    </a:lnTo>
                    <a:lnTo>
                      <a:pt x="57" y="93"/>
                    </a:lnTo>
                    <a:lnTo>
                      <a:pt x="51" y="86"/>
                    </a:lnTo>
                    <a:lnTo>
                      <a:pt x="48" y="86"/>
                    </a:lnTo>
                    <a:lnTo>
                      <a:pt x="41" y="83"/>
                    </a:lnTo>
                    <a:lnTo>
                      <a:pt x="31" y="81"/>
                    </a:lnTo>
                    <a:lnTo>
                      <a:pt x="30" y="76"/>
                    </a:lnTo>
                    <a:lnTo>
                      <a:pt x="25" y="73"/>
                    </a:lnTo>
                    <a:lnTo>
                      <a:pt x="22" y="73"/>
                    </a:lnTo>
                    <a:lnTo>
                      <a:pt x="12" y="62"/>
                    </a:lnTo>
                    <a:lnTo>
                      <a:pt x="8" y="55"/>
                    </a:lnTo>
                    <a:lnTo>
                      <a:pt x="5" y="55"/>
                    </a:lnTo>
                    <a:lnTo>
                      <a:pt x="2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8" name="Freeform 342">
                <a:extLst>
                  <a:ext uri="{FF2B5EF4-FFF2-40B4-BE49-F238E27FC236}">
                    <a16:creationId xmlns:a16="http://schemas.microsoft.com/office/drawing/2014/main" xmlns="" id="{9C520D4A-5D03-484D-9423-689A2B2CB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2570"/>
                <a:ext cx="80" cy="93"/>
              </a:xfrm>
              <a:custGeom>
                <a:avLst/>
                <a:gdLst>
                  <a:gd name="T0" fmla="*/ 11 w 80"/>
                  <a:gd name="T1" fmla="*/ 2 h 93"/>
                  <a:gd name="T2" fmla="*/ 21 w 80"/>
                  <a:gd name="T3" fmla="*/ 0 h 93"/>
                  <a:gd name="T4" fmla="*/ 27 w 80"/>
                  <a:gd name="T5" fmla="*/ 7 h 93"/>
                  <a:gd name="T6" fmla="*/ 32 w 80"/>
                  <a:gd name="T7" fmla="*/ 13 h 93"/>
                  <a:gd name="T8" fmla="*/ 37 w 80"/>
                  <a:gd name="T9" fmla="*/ 20 h 93"/>
                  <a:gd name="T10" fmla="*/ 42 w 80"/>
                  <a:gd name="T11" fmla="*/ 17 h 93"/>
                  <a:gd name="T12" fmla="*/ 50 w 80"/>
                  <a:gd name="T13" fmla="*/ 25 h 93"/>
                  <a:gd name="T14" fmla="*/ 58 w 80"/>
                  <a:gd name="T15" fmla="*/ 30 h 93"/>
                  <a:gd name="T16" fmla="*/ 62 w 80"/>
                  <a:gd name="T17" fmla="*/ 33 h 93"/>
                  <a:gd name="T18" fmla="*/ 71 w 80"/>
                  <a:gd name="T19" fmla="*/ 41 h 93"/>
                  <a:gd name="T20" fmla="*/ 78 w 80"/>
                  <a:gd name="T21" fmla="*/ 49 h 93"/>
                  <a:gd name="T22" fmla="*/ 75 w 80"/>
                  <a:gd name="T23" fmla="*/ 57 h 93"/>
                  <a:gd name="T24" fmla="*/ 76 w 80"/>
                  <a:gd name="T25" fmla="*/ 64 h 93"/>
                  <a:gd name="T26" fmla="*/ 80 w 80"/>
                  <a:gd name="T27" fmla="*/ 67 h 93"/>
                  <a:gd name="T28" fmla="*/ 78 w 80"/>
                  <a:gd name="T29" fmla="*/ 69 h 93"/>
                  <a:gd name="T30" fmla="*/ 76 w 80"/>
                  <a:gd name="T31" fmla="*/ 77 h 93"/>
                  <a:gd name="T32" fmla="*/ 71 w 80"/>
                  <a:gd name="T33" fmla="*/ 82 h 93"/>
                  <a:gd name="T34" fmla="*/ 71 w 80"/>
                  <a:gd name="T35" fmla="*/ 84 h 93"/>
                  <a:gd name="T36" fmla="*/ 62 w 80"/>
                  <a:gd name="T37" fmla="*/ 90 h 93"/>
                  <a:gd name="T38" fmla="*/ 60 w 80"/>
                  <a:gd name="T39" fmla="*/ 90 h 93"/>
                  <a:gd name="T40" fmla="*/ 57 w 80"/>
                  <a:gd name="T41" fmla="*/ 93 h 93"/>
                  <a:gd name="T42" fmla="*/ 53 w 80"/>
                  <a:gd name="T43" fmla="*/ 92 h 93"/>
                  <a:gd name="T44" fmla="*/ 49 w 80"/>
                  <a:gd name="T45" fmla="*/ 92 h 93"/>
                  <a:gd name="T46" fmla="*/ 42 w 80"/>
                  <a:gd name="T47" fmla="*/ 92 h 93"/>
                  <a:gd name="T48" fmla="*/ 36 w 80"/>
                  <a:gd name="T49" fmla="*/ 93 h 93"/>
                  <a:gd name="T50" fmla="*/ 36 w 80"/>
                  <a:gd name="T51" fmla="*/ 90 h 93"/>
                  <a:gd name="T52" fmla="*/ 32 w 80"/>
                  <a:gd name="T53" fmla="*/ 88 h 93"/>
                  <a:gd name="T54" fmla="*/ 26 w 80"/>
                  <a:gd name="T55" fmla="*/ 85 h 93"/>
                  <a:gd name="T56" fmla="*/ 14 w 80"/>
                  <a:gd name="T57" fmla="*/ 87 h 93"/>
                  <a:gd name="T58" fmla="*/ 8 w 80"/>
                  <a:gd name="T59" fmla="*/ 82 h 93"/>
                  <a:gd name="T60" fmla="*/ 1 w 80"/>
                  <a:gd name="T61" fmla="*/ 74 h 93"/>
                  <a:gd name="T62" fmla="*/ 0 w 80"/>
                  <a:gd name="T63" fmla="*/ 61 h 93"/>
                  <a:gd name="T64" fmla="*/ 0 w 80"/>
                  <a:gd name="T65" fmla="*/ 61 h 93"/>
                  <a:gd name="T66" fmla="*/ 3 w 80"/>
                  <a:gd name="T67" fmla="*/ 56 h 93"/>
                  <a:gd name="T68" fmla="*/ 1 w 80"/>
                  <a:gd name="T69" fmla="*/ 43 h 93"/>
                  <a:gd name="T70" fmla="*/ 1 w 80"/>
                  <a:gd name="T71" fmla="*/ 36 h 93"/>
                  <a:gd name="T72" fmla="*/ 3 w 80"/>
                  <a:gd name="T73" fmla="*/ 30 h 93"/>
                  <a:gd name="T74" fmla="*/ 4 w 80"/>
                  <a:gd name="T75" fmla="*/ 20 h 93"/>
                  <a:gd name="T76" fmla="*/ 4 w 80"/>
                  <a:gd name="T77" fmla="*/ 15 h 93"/>
                  <a:gd name="T78" fmla="*/ 6 w 80"/>
                  <a:gd name="T79" fmla="*/ 7 h 93"/>
                  <a:gd name="T80" fmla="*/ 8 w 80"/>
                  <a:gd name="T81" fmla="*/ 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0" h="93">
                    <a:moveTo>
                      <a:pt x="8" y="2"/>
                    </a:moveTo>
                    <a:lnTo>
                      <a:pt x="11" y="2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7" y="7"/>
                    </a:lnTo>
                    <a:lnTo>
                      <a:pt x="31" y="8"/>
                    </a:lnTo>
                    <a:lnTo>
                      <a:pt x="32" y="13"/>
                    </a:lnTo>
                    <a:lnTo>
                      <a:pt x="36" y="20"/>
                    </a:lnTo>
                    <a:lnTo>
                      <a:pt x="37" y="20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7" y="23"/>
                    </a:lnTo>
                    <a:lnTo>
                      <a:pt x="50" y="25"/>
                    </a:lnTo>
                    <a:lnTo>
                      <a:pt x="53" y="25"/>
                    </a:lnTo>
                    <a:lnTo>
                      <a:pt x="58" y="30"/>
                    </a:lnTo>
                    <a:lnTo>
                      <a:pt x="58" y="33"/>
                    </a:lnTo>
                    <a:lnTo>
                      <a:pt x="62" y="33"/>
                    </a:lnTo>
                    <a:lnTo>
                      <a:pt x="68" y="36"/>
                    </a:lnTo>
                    <a:lnTo>
                      <a:pt x="71" y="41"/>
                    </a:lnTo>
                    <a:lnTo>
                      <a:pt x="75" y="46"/>
                    </a:lnTo>
                    <a:lnTo>
                      <a:pt x="78" y="49"/>
                    </a:lnTo>
                    <a:lnTo>
                      <a:pt x="78" y="54"/>
                    </a:lnTo>
                    <a:lnTo>
                      <a:pt x="75" y="57"/>
                    </a:lnTo>
                    <a:lnTo>
                      <a:pt x="76" y="62"/>
                    </a:lnTo>
                    <a:lnTo>
                      <a:pt x="76" y="64"/>
                    </a:lnTo>
                    <a:lnTo>
                      <a:pt x="78" y="64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78" y="69"/>
                    </a:lnTo>
                    <a:lnTo>
                      <a:pt x="76" y="72"/>
                    </a:lnTo>
                    <a:lnTo>
                      <a:pt x="76" y="77"/>
                    </a:lnTo>
                    <a:lnTo>
                      <a:pt x="73" y="79"/>
                    </a:lnTo>
                    <a:lnTo>
                      <a:pt x="71" y="82"/>
                    </a:lnTo>
                    <a:lnTo>
                      <a:pt x="71" y="82"/>
                    </a:lnTo>
                    <a:lnTo>
                      <a:pt x="71" y="84"/>
                    </a:lnTo>
                    <a:lnTo>
                      <a:pt x="67" y="88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58" y="92"/>
                    </a:lnTo>
                    <a:lnTo>
                      <a:pt x="57" y="93"/>
                    </a:lnTo>
                    <a:lnTo>
                      <a:pt x="55" y="93"/>
                    </a:lnTo>
                    <a:lnTo>
                      <a:pt x="53" y="92"/>
                    </a:lnTo>
                    <a:lnTo>
                      <a:pt x="50" y="92"/>
                    </a:lnTo>
                    <a:lnTo>
                      <a:pt x="49" y="92"/>
                    </a:lnTo>
                    <a:lnTo>
                      <a:pt x="45" y="90"/>
                    </a:lnTo>
                    <a:lnTo>
                      <a:pt x="42" y="92"/>
                    </a:lnTo>
                    <a:lnTo>
                      <a:pt x="39" y="93"/>
                    </a:lnTo>
                    <a:lnTo>
                      <a:pt x="36" y="93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4" y="88"/>
                    </a:lnTo>
                    <a:lnTo>
                      <a:pt x="32" y="88"/>
                    </a:lnTo>
                    <a:lnTo>
                      <a:pt x="29" y="88"/>
                    </a:lnTo>
                    <a:lnTo>
                      <a:pt x="26" y="85"/>
                    </a:lnTo>
                    <a:lnTo>
                      <a:pt x="22" y="85"/>
                    </a:lnTo>
                    <a:lnTo>
                      <a:pt x="14" y="87"/>
                    </a:lnTo>
                    <a:lnTo>
                      <a:pt x="13" y="85"/>
                    </a:lnTo>
                    <a:lnTo>
                      <a:pt x="8" y="82"/>
                    </a:lnTo>
                    <a:lnTo>
                      <a:pt x="6" y="80"/>
                    </a:lnTo>
                    <a:lnTo>
                      <a:pt x="1" y="74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3" y="57"/>
                    </a:lnTo>
                    <a:lnTo>
                      <a:pt x="3" y="56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3" y="41"/>
                    </a:lnTo>
                    <a:lnTo>
                      <a:pt x="1" y="36"/>
                    </a:lnTo>
                    <a:lnTo>
                      <a:pt x="3" y="33"/>
                    </a:lnTo>
                    <a:lnTo>
                      <a:pt x="3" y="30"/>
                    </a:lnTo>
                    <a:lnTo>
                      <a:pt x="4" y="28"/>
                    </a:lnTo>
                    <a:lnTo>
                      <a:pt x="4" y="20"/>
                    </a:lnTo>
                    <a:lnTo>
                      <a:pt x="3" y="18"/>
                    </a:lnTo>
                    <a:lnTo>
                      <a:pt x="4" y="15"/>
                    </a:lnTo>
                    <a:lnTo>
                      <a:pt x="3" y="10"/>
                    </a:lnTo>
                    <a:lnTo>
                      <a:pt x="6" y="7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29" name="Freeform 343">
                <a:extLst>
                  <a:ext uri="{FF2B5EF4-FFF2-40B4-BE49-F238E27FC236}">
                    <a16:creationId xmlns:a16="http://schemas.microsoft.com/office/drawing/2014/main" xmlns="" id="{75D9796D-9954-45CE-AAE1-0E5770C2B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86" y="2428"/>
                <a:ext cx="253" cy="670"/>
              </a:xfrm>
              <a:custGeom>
                <a:avLst/>
                <a:gdLst>
                  <a:gd name="T0" fmla="*/ 65 w 253"/>
                  <a:gd name="T1" fmla="*/ 2 h 670"/>
                  <a:gd name="T2" fmla="*/ 82 w 253"/>
                  <a:gd name="T3" fmla="*/ 10 h 670"/>
                  <a:gd name="T4" fmla="*/ 114 w 253"/>
                  <a:gd name="T5" fmla="*/ 8 h 670"/>
                  <a:gd name="T6" fmla="*/ 157 w 253"/>
                  <a:gd name="T7" fmla="*/ 39 h 670"/>
                  <a:gd name="T8" fmla="*/ 186 w 253"/>
                  <a:gd name="T9" fmla="*/ 70 h 670"/>
                  <a:gd name="T10" fmla="*/ 190 w 253"/>
                  <a:gd name="T11" fmla="*/ 92 h 670"/>
                  <a:gd name="T12" fmla="*/ 221 w 253"/>
                  <a:gd name="T13" fmla="*/ 95 h 670"/>
                  <a:gd name="T14" fmla="*/ 239 w 253"/>
                  <a:gd name="T15" fmla="*/ 65 h 670"/>
                  <a:gd name="T16" fmla="*/ 253 w 253"/>
                  <a:gd name="T17" fmla="*/ 87 h 670"/>
                  <a:gd name="T18" fmla="*/ 234 w 253"/>
                  <a:gd name="T19" fmla="*/ 100 h 670"/>
                  <a:gd name="T20" fmla="*/ 212 w 253"/>
                  <a:gd name="T21" fmla="*/ 119 h 670"/>
                  <a:gd name="T22" fmla="*/ 199 w 253"/>
                  <a:gd name="T23" fmla="*/ 142 h 670"/>
                  <a:gd name="T24" fmla="*/ 193 w 253"/>
                  <a:gd name="T25" fmla="*/ 172 h 670"/>
                  <a:gd name="T26" fmla="*/ 190 w 253"/>
                  <a:gd name="T27" fmla="*/ 203 h 670"/>
                  <a:gd name="T28" fmla="*/ 191 w 253"/>
                  <a:gd name="T29" fmla="*/ 222 h 670"/>
                  <a:gd name="T30" fmla="*/ 211 w 253"/>
                  <a:gd name="T31" fmla="*/ 255 h 670"/>
                  <a:gd name="T32" fmla="*/ 224 w 253"/>
                  <a:gd name="T33" fmla="*/ 271 h 670"/>
                  <a:gd name="T34" fmla="*/ 216 w 253"/>
                  <a:gd name="T35" fmla="*/ 294 h 670"/>
                  <a:gd name="T36" fmla="*/ 170 w 253"/>
                  <a:gd name="T37" fmla="*/ 314 h 670"/>
                  <a:gd name="T38" fmla="*/ 144 w 253"/>
                  <a:gd name="T39" fmla="*/ 309 h 670"/>
                  <a:gd name="T40" fmla="*/ 149 w 253"/>
                  <a:gd name="T41" fmla="*/ 328 h 670"/>
                  <a:gd name="T42" fmla="*/ 150 w 253"/>
                  <a:gd name="T43" fmla="*/ 343 h 670"/>
                  <a:gd name="T44" fmla="*/ 131 w 253"/>
                  <a:gd name="T45" fmla="*/ 361 h 670"/>
                  <a:gd name="T46" fmla="*/ 105 w 253"/>
                  <a:gd name="T47" fmla="*/ 355 h 670"/>
                  <a:gd name="T48" fmla="*/ 121 w 253"/>
                  <a:gd name="T49" fmla="*/ 382 h 670"/>
                  <a:gd name="T50" fmla="*/ 123 w 253"/>
                  <a:gd name="T51" fmla="*/ 379 h 670"/>
                  <a:gd name="T52" fmla="*/ 136 w 253"/>
                  <a:gd name="T53" fmla="*/ 391 h 670"/>
                  <a:gd name="T54" fmla="*/ 116 w 253"/>
                  <a:gd name="T55" fmla="*/ 391 h 670"/>
                  <a:gd name="T56" fmla="*/ 114 w 253"/>
                  <a:gd name="T57" fmla="*/ 404 h 670"/>
                  <a:gd name="T58" fmla="*/ 111 w 253"/>
                  <a:gd name="T59" fmla="*/ 423 h 670"/>
                  <a:gd name="T60" fmla="*/ 113 w 253"/>
                  <a:gd name="T61" fmla="*/ 441 h 670"/>
                  <a:gd name="T62" fmla="*/ 92 w 253"/>
                  <a:gd name="T63" fmla="*/ 451 h 670"/>
                  <a:gd name="T64" fmla="*/ 88 w 253"/>
                  <a:gd name="T65" fmla="*/ 475 h 670"/>
                  <a:gd name="T66" fmla="*/ 118 w 253"/>
                  <a:gd name="T67" fmla="*/ 489 h 670"/>
                  <a:gd name="T68" fmla="*/ 121 w 253"/>
                  <a:gd name="T69" fmla="*/ 505 h 670"/>
                  <a:gd name="T70" fmla="*/ 110 w 253"/>
                  <a:gd name="T71" fmla="*/ 520 h 670"/>
                  <a:gd name="T72" fmla="*/ 98 w 253"/>
                  <a:gd name="T73" fmla="*/ 538 h 670"/>
                  <a:gd name="T74" fmla="*/ 90 w 253"/>
                  <a:gd name="T75" fmla="*/ 552 h 670"/>
                  <a:gd name="T76" fmla="*/ 83 w 253"/>
                  <a:gd name="T77" fmla="*/ 572 h 670"/>
                  <a:gd name="T78" fmla="*/ 90 w 253"/>
                  <a:gd name="T79" fmla="*/ 591 h 670"/>
                  <a:gd name="T80" fmla="*/ 93 w 253"/>
                  <a:gd name="T81" fmla="*/ 601 h 670"/>
                  <a:gd name="T82" fmla="*/ 43 w 253"/>
                  <a:gd name="T83" fmla="*/ 587 h 670"/>
                  <a:gd name="T84" fmla="*/ 16 w 253"/>
                  <a:gd name="T85" fmla="*/ 562 h 670"/>
                  <a:gd name="T86" fmla="*/ 26 w 253"/>
                  <a:gd name="T87" fmla="*/ 500 h 670"/>
                  <a:gd name="T88" fmla="*/ 25 w 253"/>
                  <a:gd name="T89" fmla="*/ 459 h 670"/>
                  <a:gd name="T90" fmla="*/ 15 w 253"/>
                  <a:gd name="T91" fmla="*/ 438 h 670"/>
                  <a:gd name="T92" fmla="*/ 13 w 253"/>
                  <a:gd name="T93" fmla="*/ 417 h 670"/>
                  <a:gd name="T94" fmla="*/ 8 w 253"/>
                  <a:gd name="T95" fmla="*/ 377 h 670"/>
                  <a:gd name="T96" fmla="*/ 8 w 253"/>
                  <a:gd name="T97" fmla="*/ 319 h 670"/>
                  <a:gd name="T98" fmla="*/ 13 w 253"/>
                  <a:gd name="T99" fmla="*/ 261 h 670"/>
                  <a:gd name="T100" fmla="*/ 16 w 253"/>
                  <a:gd name="T101" fmla="*/ 222 h 670"/>
                  <a:gd name="T102" fmla="*/ 0 w 253"/>
                  <a:gd name="T103" fmla="*/ 172 h 670"/>
                  <a:gd name="T104" fmla="*/ 7 w 253"/>
                  <a:gd name="T105" fmla="*/ 127 h 670"/>
                  <a:gd name="T106" fmla="*/ 23 w 253"/>
                  <a:gd name="T107" fmla="*/ 85 h 670"/>
                  <a:gd name="T108" fmla="*/ 21 w 253"/>
                  <a:gd name="T109" fmla="*/ 59 h 670"/>
                  <a:gd name="T110" fmla="*/ 168 w 253"/>
                  <a:gd name="T111" fmla="*/ 662 h 670"/>
                  <a:gd name="T112" fmla="*/ 168 w 253"/>
                  <a:gd name="T113" fmla="*/ 662 h 670"/>
                  <a:gd name="T114" fmla="*/ 103 w 253"/>
                  <a:gd name="T115" fmla="*/ 626 h 670"/>
                  <a:gd name="T116" fmla="*/ 113 w 253"/>
                  <a:gd name="T117" fmla="*/ 639 h 670"/>
                  <a:gd name="T118" fmla="*/ 147 w 253"/>
                  <a:gd name="T119" fmla="*/ 658 h 670"/>
                  <a:gd name="T120" fmla="*/ 150 w 253"/>
                  <a:gd name="T121" fmla="*/ 667 h 670"/>
                  <a:gd name="T122" fmla="*/ 114 w 253"/>
                  <a:gd name="T123" fmla="*/ 668 h 670"/>
                  <a:gd name="T124" fmla="*/ 116 w 253"/>
                  <a:gd name="T125" fmla="*/ 658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3" h="670">
                    <a:moveTo>
                      <a:pt x="39" y="16"/>
                    </a:moveTo>
                    <a:lnTo>
                      <a:pt x="41" y="13"/>
                    </a:lnTo>
                    <a:lnTo>
                      <a:pt x="44" y="7"/>
                    </a:lnTo>
                    <a:lnTo>
                      <a:pt x="49" y="0"/>
                    </a:lnTo>
                    <a:lnTo>
                      <a:pt x="54" y="0"/>
                    </a:lnTo>
                    <a:lnTo>
                      <a:pt x="57" y="3"/>
                    </a:lnTo>
                    <a:lnTo>
                      <a:pt x="62" y="2"/>
                    </a:lnTo>
                    <a:lnTo>
                      <a:pt x="65" y="2"/>
                    </a:lnTo>
                    <a:lnTo>
                      <a:pt x="69" y="3"/>
                    </a:lnTo>
                    <a:lnTo>
                      <a:pt x="74" y="2"/>
                    </a:lnTo>
                    <a:lnTo>
                      <a:pt x="77" y="2"/>
                    </a:lnTo>
                    <a:lnTo>
                      <a:pt x="79" y="7"/>
                    </a:lnTo>
                    <a:lnTo>
                      <a:pt x="80" y="13"/>
                    </a:lnTo>
                    <a:lnTo>
                      <a:pt x="82" y="15"/>
                    </a:lnTo>
                    <a:lnTo>
                      <a:pt x="83" y="13"/>
                    </a:lnTo>
                    <a:lnTo>
                      <a:pt x="82" y="10"/>
                    </a:lnTo>
                    <a:lnTo>
                      <a:pt x="85" y="7"/>
                    </a:lnTo>
                    <a:lnTo>
                      <a:pt x="85" y="3"/>
                    </a:lnTo>
                    <a:lnTo>
                      <a:pt x="87" y="0"/>
                    </a:lnTo>
                    <a:lnTo>
                      <a:pt x="96" y="0"/>
                    </a:lnTo>
                    <a:lnTo>
                      <a:pt x="105" y="0"/>
                    </a:lnTo>
                    <a:lnTo>
                      <a:pt x="108" y="3"/>
                    </a:lnTo>
                    <a:lnTo>
                      <a:pt x="111" y="8"/>
                    </a:lnTo>
                    <a:lnTo>
                      <a:pt x="114" y="8"/>
                    </a:lnTo>
                    <a:lnTo>
                      <a:pt x="118" y="15"/>
                    </a:lnTo>
                    <a:lnTo>
                      <a:pt x="128" y="26"/>
                    </a:lnTo>
                    <a:lnTo>
                      <a:pt x="131" y="26"/>
                    </a:lnTo>
                    <a:lnTo>
                      <a:pt x="136" y="29"/>
                    </a:lnTo>
                    <a:lnTo>
                      <a:pt x="137" y="34"/>
                    </a:lnTo>
                    <a:lnTo>
                      <a:pt x="147" y="36"/>
                    </a:lnTo>
                    <a:lnTo>
                      <a:pt x="154" y="39"/>
                    </a:lnTo>
                    <a:lnTo>
                      <a:pt x="157" y="39"/>
                    </a:lnTo>
                    <a:lnTo>
                      <a:pt x="163" y="46"/>
                    </a:lnTo>
                    <a:lnTo>
                      <a:pt x="170" y="49"/>
                    </a:lnTo>
                    <a:lnTo>
                      <a:pt x="180" y="51"/>
                    </a:lnTo>
                    <a:lnTo>
                      <a:pt x="183" y="56"/>
                    </a:lnTo>
                    <a:lnTo>
                      <a:pt x="188" y="59"/>
                    </a:lnTo>
                    <a:lnTo>
                      <a:pt x="190" y="64"/>
                    </a:lnTo>
                    <a:lnTo>
                      <a:pt x="190" y="67"/>
                    </a:lnTo>
                    <a:lnTo>
                      <a:pt x="186" y="70"/>
                    </a:lnTo>
                    <a:lnTo>
                      <a:pt x="185" y="72"/>
                    </a:lnTo>
                    <a:lnTo>
                      <a:pt x="183" y="75"/>
                    </a:lnTo>
                    <a:lnTo>
                      <a:pt x="183" y="78"/>
                    </a:lnTo>
                    <a:lnTo>
                      <a:pt x="181" y="85"/>
                    </a:lnTo>
                    <a:lnTo>
                      <a:pt x="177" y="90"/>
                    </a:lnTo>
                    <a:lnTo>
                      <a:pt x="175" y="93"/>
                    </a:lnTo>
                    <a:lnTo>
                      <a:pt x="178" y="93"/>
                    </a:lnTo>
                    <a:lnTo>
                      <a:pt x="190" y="92"/>
                    </a:lnTo>
                    <a:lnTo>
                      <a:pt x="199" y="95"/>
                    </a:lnTo>
                    <a:lnTo>
                      <a:pt x="206" y="100"/>
                    </a:lnTo>
                    <a:lnTo>
                      <a:pt x="209" y="98"/>
                    </a:lnTo>
                    <a:lnTo>
                      <a:pt x="211" y="98"/>
                    </a:lnTo>
                    <a:lnTo>
                      <a:pt x="212" y="100"/>
                    </a:lnTo>
                    <a:lnTo>
                      <a:pt x="216" y="95"/>
                    </a:lnTo>
                    <a:lnTo>
                      <a:pt x="217" y="95"/>
                    </a:lnTo>
                    <a:lnTo>
                      <a:pt x="221" y="95"/>
                    </a:lnTo>
                    <a:lnTo>
                      <a:pt x="224" y="92"/>
                    </a:lnTo>
                    <a:lnTo>
                      <a:pt x="226" y="87"/>
                    </a:lnTo>
                    <a:lnTo>
                      <a:pt x="232" y="82"/>
                    </a:lnTo>
                    <a:lnTo>
                      <a:pt x="234" y="78"/>
                    </a:lnTo>
                    <a:lnTo>
                      <a:pt x="235" y="75"/>
                    </a:lnTo>
                    <a:lnTo>
                      <a:pt x="239" y="72"/>
                    </a:lnTo>
                    <a:lnTo>
                      <a:pt x="239" y="67"/>
                    </a:lnTo>
                    <a:lnTo>
                      <a:pt x="239" y="65"/>
                    </a:lnTo>
                    <a:lnTo>
                      <a:pt x="239" y="60"/>
                    </a:lnTo>
                    <a:lnTo>
                      <a:pt x="242" y="57"/>
                    </a:lnTo>
                    <a:lnTo>
                      <a:pt x="248" y="59"/>
                    </a:lnTo>
                    <a:lnTo>
                      <a:pt x="250" y="62"/>
                    </a:lnTo>
                    <a:lnTo>
                      <a:pt x="252" y="69"/>
                    </a:lnTo>
                    <a:lnTo>
                      <a:pt x="252" y="74"/>
                    </a:lnTo>
                    <a:lnTo>
                      <a:pt x="253" y="80"/>
                    </a:lnTo>
                    <a:lnTo>
                      <a:pt x="253" y="87"/>
                    </a:lnTo>
                    <a:lnTo>
                      <a:pt x="252" y="88"/>
                    </a:lnTo>
                    <a:lnTo>
                      <a:pt x="248" y="88"/>
                    </a:lnTo>
                    <a:lnTo>
                      <a:pt x="245" y="92"/>
                    </a:lnTo>
                    <a:lnTo>
                      <a:pt x="245" y="92"/>
                    </a:lnTo>
                    <a:lnTo>
                      <a:pt x="242" y="95"/>
                    </a:lnTo>
                    <a:lnTo>
                      <a:pt x="242" y="93"/>
                    </a:lnTo>
                    <a:lnTo>
                      <a:pt x="235" y="98"/>
                    </a:lnTo>
                    <a:lnTo>
                      <a:pt x="234" y="100"/>
                    </a:lnTo>
                    <a:lnTo>
                      <a:pt x="230" y="101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4" y="111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14" y="118"/>
                    </a:lnTo>
                    <a:lnTo>
                      <a:pt x="212" y="119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09" y="126"/>
                    </a:lnTo>
                    <a:lnTo>
                      <a:pt x="206" y="132"/>
                    </a:lnTo>
                    <a:lnTo>
                      <a:pt x="204" y="134"/>
                    </a:lnTo>
                    <a:lnTo>
                      <a:pt x="201" y="139"/>
                    </a:lnTo>
                    <a:lnTo>
                      <a:pt x="201" y="141"/>
                    </a:lnTo>
                    <a:lnTo>
                      <a:pt x="199" y="142"/>
                    </a:lnTo>
                    <a:lnTo>
                      <a:pt x="198" y="144"/>
                    </a:lnTo>
                    <a:lnTo>
                      <a:pt x="196" y="149"/>
                    </a:lnTo>
                    <a:lnTo>
                      <a:pt x="193" y="152"/>
                    </a:lnTo>
                    <a:lnTo>
                      <a:pt x="194" y="157"/>
                    </a:lnTo>
                    <a:lnTo>
                      <a:pt x="193" y="160"/>
                    </a:lnTo>
                    <a:lnTo>
                      <a:pt x="194" y="162"/>
                    </a:lnTo>
                    <a:lnTo>
                      <a:pt x="194" y="170"/>
                    </a:lnTo>
                    <a:lnTo>
                      <a:pt x="193" y="172"/>
                    </a:lnTo>
                    <a:lnTo>
                      <a:pt x="193" y="175"/>
                    </a:lnTo>
                    <a:lnTo>
                      <a:pt x="191" y="178"/>
                    </a:lnTo>
                    <a:lnTo>
                      <a:pt x="193" y="183"/>
                    </a:lnTo>
                    <a:lnTo>
                      <a:pt x="191" y="185"/>
                    </a:lnTo>
                    <a:lnTo>
                      <a:pt x="193" y="193"/>
                    </a:lnTo>
                    <a:lnTo>
                      <a:pt x="193" y="198"/>
                    </a:lnTo>
                    <a:lnTo>
                      <a:pt x="193" y="199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3"/>
                    </a:lnTo>
                    <a:lnTo>
                      <a:pt x="190" y="209"/>
                    </a:lnTo>
                    <a:lnTo>
                      <a:pt x="190" y="216"/>
                    </a:lnTo>
                    <a:lnTo>
                      <a:pt x="190" y="217"/>
                    </a:lnTo>
                    <a:lnTo>
                      <a:pt x="191" y="219"/>
                    </a:lnTo>
                    <a:lnTo>
                      <a:pt x="191" y="222"/>
                    </a:lnTo>
                    <a:lnTo>
                      <a:pt x="191" y="224"/>
                    </a:lnTo>
                    <a:lnTo>
                      <a:pt x="191" y="227"/>
                    </a:lnTo>
                    <a:lnTo>
                      <a:pt x="199" y="232"/>
                    </a:lnTo>
                    <a:lnTo>
                      <a:pt x="206" y="234"/>
                    </a:lnTo>
                    <a:lnTo>
                      <a:pt x="214" y="240"/>
                    </a:lnTo>
                    <a:lnTo>
                      <a:pt x="216" y="243"/>
                    </a:lnTo>
                    <a:lnTo>
                      <a:pt x="216" y="247"/>
                    </a:lnTo>
                    <a:lnTo>
                      <a:pt x="211" y="255"/>
                    </a:lnTo>
                    <a:lnTo>
                      <a:pt x="211" y="257"/>
                    </a:lnTo>
                    <a:lnTo>
                      <a:pt x="214" y="261"/>
                    </a:lnTo>
                    <a:lnTo>
                      <a:pt x="217" y="265"/>
                    </a:lnTo>
                    <a:lnTo>
                      <a:pt x="221" y="265"/>
                    </a:lnTo>
                    <a:lnTo>
                      <a:pt x="222" y="261"/>
                    </a:lnTo>
                    <a:lnTo>
                      <a:pt x="224" y="261"/>
                    </a:lnTo>
                    <a:lnTo>
                      <a:pt x="224" y="265"/>
                    </a:lnTo>
                    <a:lnTo>
                      <a:pt x="224" y="271"/>
                    </a:lnTo>
                    <a:lnTo>
                      <a:pt x="224" y="275"/>
                    </a:lnTo>
                    <a:lnTo>
                      <a:pt x="221" y="279"/>
                    </a:lnTo>
                    <a:lnTo>
                      <a:pt x="219" y="286"/>
                    </a:lnTo>
                    <a:lnTo>
                      <a:pt x="219" y="288"/>
                    </a:lnTo>
                    <a:lnTo>
                      <a:pt x="217" y="284"/>
                    </a:lnTo>
                    <a:lnTo>
                      <a:pt x="217" y="286"/>
                    </a:lnTo>
                    <a:lnTo>
                      <a:pt x="216" y="291"/>
                    </a:lnTo>
                    <a:lnTo>
                      <a:pt x="216" y="294"/>
                    </a:lnTo>
                    <a:lnTo>
                      <a:pt x="214" y="297"/>
                    </a:lnTo>
                    <a:lnTo>
                      <a:pt x="206" y="304"/>
                    </a:lnTo>
                    <a:lnTo>
                      <a:pt x="199" y="306"/>
                    </a:lnTo>
                    <a:lnTo>
                      <a:pt x="198" y="304"/>
                    </a:lnTo>
                    <a:lnTo>
                      <a:pt x="198" y="306"/>
                    </a:lnTo>
                    <a:lnTo>
                      <a:pt x="188" y="310"/>
                    </a:lnTo>
                    <a:lnTo>
                      <a:pt x="177" y="314"/>
                    </a:lnTo>
                    <a:lnTo>
                      <a:pt x="170" y="314"/>
                    </a:lnTo>
                    <a:lnTo>
                      <a:pt x="165" y="312"/>
                    </a:lnTo>
                    <a:lnTo>
                      <a:pt x="160" y="314"/>
                    </a:lnTo>
                    <a:lnTo>
                      <a:pt x="157" y="314"/>
                    </a:lnTo>
                    <a:lnTo>
                      <a:pt x="154" y="310"/>
                    </a:lnTo>
                    <a:lnTo>
                      <a:pt x="149" y="310"/>
                    </a:lnTo>
                    <a:lnTo>
                      <a:pt x="147" y="310"/>
                    </a:lnTo>
                    <a:lnTo>
                      <a:pt x="145" y="307"/>
                    </a:lnTo>
                    <a:lnTo>
                      <a:pt x="144" y="309"/>
                    </a:lnTo>
                    <a:lnTo>
                      <a:pt x="144" y="312"/>
                    </a:lnTo>
                    <a:lnTo>
                      <a:pt x="145" y="314"/>
                    </a:lnTo>
                    <a:lnTo>
                      <a:pt x="145" y="319"/>
                    </a:lnTo>
                    <a:lnTo>
                      <a:pt x="147" y="322"/>
                    </a:lnTo>
                    <a:lnTo>
                      <a:pt x="147" y="324"/>
                    </a:lnTo>
                    <a:lnTo>
                      <a:pt x="149" y="324"/>
                    </a:lnTo>
                    <a:lnTo>
                      <a:pt x="150" y="327"/>
                    </a:lnTo>
                    <a:lnTo>
                      <a:pt x="149" y="328"/>
                    </a:lnTo>
                    <a:lnTo>
                      <a:pt x="149" y="328"/>
                    </a:lnTo>
                    <a:lnTo>
                      <a:pt x="149" y="330"/>
                    </a:lnTo>
                    <a:lnTo>
                      <a:pt x="145" y="333"/>
                    </a:lnTo>
                    <a:lnTo>
                      <a:pt x="145" y="333"/>
                    </a:lnTo>
                    <a:lnTo>
                      <a:pt x="145" y="337"/>
                    </a:lnTo>
                    <a:lnTo>
                      <a:pt x="145" y="340"/>
                    </a:lnTo>
                    <a:lnTo>
                      <a:pt x="147" y="343"/>
                    </a:lnTo>
                    <a:lnTo>
                      <a:pt x="150" y="343"/>
                    </a:lnTo>
                    <a:lnTo>
                      <a:pt x="149" y="346"/>
                    </a:lnTo>
                    <a:lnTo>
                      <a:pt x="147" y="348"/>
                    </a:lnTo>
                    <a:lnTo>
                      <a:pt x="149" y="350"/>
                    </a:lnTo>
                    <a:lnTo>
                      <a:pt x="147" y="353"/>
                    </a:lnTo>
                    <a:lnTo>
                      <a:pt x="144" y="356"/>
                    </a:lnTo>
                    <a:lnTo>
                      <a:pt x="145" y="356"/>
                    </a:lnTo>
                    <a:lnTo>
                      <a:pt x="139" y="361"/>
                    </a:lnTo>
                    <a:lnTo>
                      <a:pt x="131" y="361"/>
                    </a:lnTo>
                    <a:lnTo>
                      <a:pt x="126" y="359"/>
                    </a:lnTo>
                    <a:lnTo>
                      <a:pt x="119" y="355"/>
                    </a:lnTo>
                    <a:lnTo>
                      <a:pt x="114" y="353"/>
                    </a:lnTo>
                    <a:lnTo>
                      <a:pt x="111" y="353"/>
                    </a:lnTo>
                    <a:lnTo>
                      <a:pt x="110" y="353"/>
                    </a:lnTo>
                    <a:lnTo>
                      <a:pt x="111" y="351"/>
                    </a:lnTo>
                    <a:lnTo>
                      <a:pt x="108" y="351"/>
                    </a:lnTo>
                    <a:lnTo>
                      <a:pt x="105" y="355"/>
                    </a:lnTo>
                    <a:lnTo>
                      <a:pt x="105" y="359"/>
                    </a:lnTo>
                    <a:lnTo>
                      <a:pt x="108" y="363"/>
                    </a:lnTo>
                    <a:lnTo>
                      <a:pt x="110" y="369"/>
                    </a:lnTo>
                    <a:lnTo>
                      <a:pt x="110" y="376"/>
                    </a:lnTo>
                    <a:lnTo>
                      <a:pt x="111" y="379"/>
                    </a:lnTo>
                    <a:lnTo>
                      <a:pt x="114" y="382"/>
                    </a:lnTo>
                    <a:lnTo>
                      <a:pt x="119" y="381"/>
                    </a:lnTo>
                    <a:lnTo>
                      <a:pt x="121" y="382"/>
                    </a:lnTo>
                    <a:lnTo>
                      <a:pt x="119" y="382"/>
                    </a:lnTo>
                    <a:lnTo>
                      <a:pt x="118" y="384"/>
                    </a:lnTo>
                    <a:lnTo>
                      <a:pt x="119" y="386"/>
                    </a:lnTo>
                    <a:lnTo>
                      <a:pt x="126" y="384"/>
                    </a:lnTo>
                    <a:lnTo>
                      <a:pt x="126" y="382"/>
                    </a:lnTo>
                    <a:lnTo>
                      <a:pt x="123" y="382"/>
                    </a:lnTo>
                    <a:lnTo>
                      <a:pt x="123" y="381"/>
                    </a:lnTo>
                    <a:lnTo>
                      <a:pt x="123" y="379"/>
                    </a:lnTo>
                    <a:lnTo>
                      <a:pt x="126" y="379"/>
                    </a:lnTo>
                    <a:lnTo>
                      <a:pt x="129" y="377"/>
                    </a:lnTo>
                    <a:lnTo>
                      <a:pt x="131" y="377"/>
                    </a:lnTo>
                    <a:lnTo>
                      <a:pt x="134" y="381"/>
                    </a:lnTo>
                    <a:lnTo>
                      <a:pt x="132" y="384"/>
                    </a:lnTo>
                    <a:lnTo>
                      <a:pt x="131" y="386"/>
                    </a:lnTo>
                    <a:lnTo>
                      <a:pt x="134" y="387"/>
                    </a:lnTo>
                    <a:lnTo>
                      <a:pt x="136" y="391"/>
                    </a:lnTo>
                    <a:lnTo>
                      <a:pt x="134" y="394"/>
                    </a:lnTo>
                    <a:lnTo>
                      <a:pt x="128" y="397"/>
                    </a:lnTo>
                    <a:lnTo>
                      <a:pt x="126" y="397"/>
                    </a:lnTo>
                    <a:lnTo>
                      <a:pt x="124" y="394"/>
                    </a:lnTo>
                    <a:lnTo>
                      <a:pt x="124" y="392"/>
                    </a:lnTo>
                    <a:lnTo>
                      <a:pt x="124" y="391"/>
                    </a:lnTo>
                    <a:lnTo>
                      <a:pt x="121" y="389"/>
                    </a:lnTo>
                    <a:lnTo>
                      <a:pt x="116" y="391"/>
                    </a:lnTo>
                    <a:lnTo>
                      <a:pt x="114" y="392"/>
                    </a:lnTo>
                    <a:lnTo>
                      <a:pt x="113" y="394"/>
                    </a:lnTo>
                    <a:lnTo>
                      <a:pt x="114" y="395"/>
                    </a:lnTo>
                    <a:lnTo>
                      <a:pt x="118" y="395"/>
                    </a:lnTo>
                    <a:lnTo>
                      <a:pt x="123" y="397"/>
                    </a:lnTo>
                    <a:lnTo>
                      <a:pt x="123" y="399"/>
                    </a:lnTo>
                    <a:lnTo>
                      <a:pt x="119" y="402"/>
                    </a:lnTo>
                    <a:lnTo>
                      <a:pt x="114" y="404"/>
                    </a:lnTo>
                    <a:lnTo>
                      <a:pt x="113" y="407"/>
                    </a:lnTo>
                    <a:lnTo>
                      <a:pt x="114" y="409"/>
                    </a:lnTo>
                    <a:lnTo>
                      <a:pt x="113" y="410"/>
                    </a:lnTo>
                    <a:lnTo>
                      <a:pt x="110" y="413"/>
                    </a:lnTo>
                    <a:lnTo>
                      <a:pt x="111" y="418"/>
                    </a:lnTo>
                    <a:lnTo>
                      <a:pt x="113" y="420"/>
                    </a:lnTo>
                    <a:lnTo>
                      <a:pt x="113" y="422"/>
                    </a:lnTo>
                    <a:lnTo>
                      <a:pt x="111" y="423"/>
                    </a:lnTo>
                    <a:lnTo>
                      <a:pt x="116" y="428"/>
                    </a:lnTo>
                    <a:lnTo>
                      <a:pt x="114" y="430"/>
                    </a:lnTo>
                    <a:lnTo>
                      <a:pt x="114" y="431"/>
                    </a:lnTo>
                    <a:lnTo>
                      <a:pt x="114" y="433"/>
                    </a:lnTo>
                    <a:lnTo>
                      <a:pt x="110" y="435"/>
                    </a:lnTo>
                    <a:lnTo>
                      <a:pt x="110" y="438"/>
                    </a:lnTo>
                    <a:lnTo>
                      <a:pt x="110" y="440"/>
                    </a:lnTo>
                    <a:lnTo>
                      <a:pt x="113" y="441"/>
                    </a:lnTo>
                    <a:lnTo>
                      <a:pt x="114" y="441"/>
                    </a:lnTo>
                    <a:lnTo>
                      <a:pt x="113" y="443"/>
                    </a:lnTo>
                    <a:lnTo>
                      <a:pt x="108" y="444"/>
                    </a:lnTo>
                    <a:lnTo>
                      <a:pt x="106" y="444"/>
                    </a:lnTo>
                    <a:lnTo>
                      <a:pt x="101" y="444"/>
                    </a:lnTo>
                    <a:lnTo>
                      <a:pt x="98" y="448"/>
                    </a:lnTo>
                    <a:lnTo>
                      <a:pt x="95" y="448"/>
                    </a:lnTo>
                    <a:lnTo>
                      <a:pt x="92" y="451"/>
                    </a:lnTo>
                    <a:lnTo>
                      <a:pt x="90" y="453"/>
                    </a:lnTo>
                    <a:lnTo>
                      <a:pt x="88" y="456"/>
                    </a:lnTo>
                    <a:lnTo>
                      <a:pt x="88" y="459"/>
                    </a:lnTo>
                    <a:lnTo>
                      <a:pt x="83" y="461"/>
                    </a:lnTo>
                    <a:lnTo>
                      <a:pt x="83" y="462"/>
                    </a:lnTo>
                    <a:lnTo>
                      <a:pt x="85" y="466"/>
                    </a:lnTo>
                    <a:lnTo>
                      <a:pt x="85" y="469"/>
                    </a:lnTo>
                    <a:lnTo>
                      <a:pt x="88" y="475"/>
                    </a:lnTo>
                    <a:lnTo>
                      <a:pt x="92" y="477"/>
                    </a:lnTo>
                    <a:lnTo>
                      <a:pt x="95" y="479"/>
                    </a:lnTo>
                    <a:lnTo>
                      <a:pt x="98" y="482"/>
                    </a:lnTo>
                    <a:lnTo>
                      <a:pt x="105" y="489"/>
                    </a:lnTo>
                    <a:lnTo>
                      <a:pt x="110" y="487"/>
                    </a:lnTo>
                    <a:lnTo>
                      <a:pt x="113" y="487"/>
                    </a:lnTo>
                    <a:lnTo>
                      <a:pt x="114" y="487"/>
                    </a:lnTo>
                    <a:lnTo>
                      <a:pt x="118" y="489"/>
                    </a:lnTo>
                    <a:lnTo>
                      <a:pt x="118" y="490"/>
                    </a:lnTo>
                    <a:lnTo>
                      <a:pt x="116" y="490"/>
                    </a:lnTo>
                    <a:lnTo>
                      <a:pt x="116" y="492"/>
                    </a:lnTo>
                    <a:lnTo>
                      <a:pt x="119" y="497"/>
                    </a:lnTo>
                    <a:lnTo>
                      <a:pt x="119" y="498"/>
                    </a:lnTo>
                    <a:lnTo>
                      <a:pt x="116" y="502"/>
                    </a:lnTo>
                    <a:lnTo>
                      <a:pt x="118" y="502"/>
                    </a:lnTo>
                    <a:lnTo>
                      <a:pt x="121" y="505"/>
                    </a:lnTo>
                    <a:lnTo>
                      <a:pt x="119" y="507"/>
                    </a:lnTo>
                    <a:lnTo>
                      <a:pt x="118" y="508"/>
                    </a:lnTo>
                    <a:lnTo>
                      <a:pt x="119" y="510"/>
                    </a:lnTo>
                    <a:lnTo>
                      <a:pt x="116" y="511"/>
                    </a:lnTo>
                    <a:lnTo>
                      <a:pt x="114" y="513"/>
                    </a:lnTo>
                    <a:lnTo>
                      <a:pt x="113" y="516"/>
                    </a:lnTo>
                    <a:lnTo>
                      <a:pt x="111" y="516"/>
                    </a:lnTo>
                    <a:lnTo>
                      <a:pt x="110" y="520"/>
                    </a:lnTo>
                    <a:lnTo>
                      <a:pt x="108" y="523"/>
                    </a:lnTo>
                    <a:lnTo>
                      <a:pt x="105" y="523"/>
                    </a:lnTo>
                    <a:lnTo>
                      <a:pt x="101" y="528"/>
                    </a:lnTo>
                    <a:lnTo>
                      <a:pt x="101" y="531"/>
                    </a:lnTo>
                    <a:lnTo>
                      <a:pt x="100" y="534"/>
                    </a:lnTo>
                    <a:lnTo>
                      <a:pt x="96" y="538"/>
                    </a:lnTo>
                    <a:lnTo>
                      <a:pt x="96" y="539"/>
                    </a:lnTo>
                    <a:lnTo>
                      <a:pt x="98" y="538"/>
                    </a:lnTo>
                    <a:lnTo>
                      <a:pt x="100" y="539"/>
                    </a:lnTo>
                    <a:lnTo>
                      <a:pt x="101" y="544"/>
                    </a:lnTo>
                    <a:lnTo>
                      <a:pt x="100" y="546"/>
                    </a:lnTo>
                    <a:lnTo>
                      <a:pt x="98" y="549"/>
                    </a:lnTo>
                    <a:lnTo>
                      <a:pt x="96" y="552"/>
                    </a:lnTo>
                    <a:lnTo>
                      <a:pt x="93" y="554"/>
                    </a:lnTo>
                    <a:lnTo>
                      <a:pt x="92" y="554"/>
                    </a:lnTo>
                    <a:lnTo>
                      <a:pt x="90" y="552"/>
                    </a:lnTo>
                    <a:lnTo>
                      <a:pt x="87" y="551"/>
                    </a:lnTo>
                    <a:lnTo>
                      <a:pt x="88" y="552"/>
                    </a:lnTo>
                    <a:lnTo>
                      <a:pt x="88" y="556"/>
                    </a:lnTo>
                    <a:lnTo>
                      <a:pt x="90" y="557"/>
                    </a:lnTo>
                    <a:lnTo>
                      <a:pt x="88" y="559"/>
                    </a:lnTo>
                    <a:lnTo>
                      <a:pt x="85" y="562"/>
                    </a:lnTo>
                    <a:lnTo>
                      <a:pt x="83" y="567"/>
                    </a:lnTo>
                    <a:lnTo>
                      <a:pt x="83" y="572"/>
                    </a:lnTo>
                    <a:lnTo>
                      <a:pt x="87" y="577"/>
                    </a:lnTo>
                    <a:lnTo>
                      <a:pt x="88" y="585"/>
                    </a:lnTo>
                    <a:lnTo>
                      <a:pt x="88" y="587"/>
                    </a:lnTo>
                    <a:lnTo>
                      <a:pt x="90" y="588"/>
                    </a:lnTo>
                    <a:lnTo>
                      <a:pt x="90" y="590"/>
                    </a:lnTo>
                    <a:lnTo>
                      <a:pt x="87" y="591"/>
                    </a:lnTo>
                    <a:lnTo>
                      <a:pt x="88" y="593"/>
                    </a:lnTo>
                    <a:lnTo>
                      <a:pt x="90" y="591"/>
                    </a:lnTo>
                    <a:lnTo>
                      <a:pt x="93" y="595"/>
                    </a:lnTo>
                    <a:lnTo>
                      <a:pt x="93" y="598"/>
                    </a:lnTo>
                    <a:lnTo>
                      <a:pt x="100" y="601"/>
                    </a:lnTo>
                    <a:lnTo>
                      <a:pt x="103" y="605"/>
                    </a:lnTo>
                    <a:lnTo>
                      <a:pt x="103" y="608"/>
                    </a:lnTo>
                    <a:lnTo>
                      <a:pt x="101" y="606"/>
                    </a:lnTo>
                    <a:lnTo>
                      <a:pt x="98" y="605"/>
                    </a:lnTo>
                    <a:lnTo>
                      <a:pt x="93" y="601"/>
                    </a:lnTo>
                    <a:lnTo>
                      <a:pt x="90" y="601"/>
                    </a:lnTo>
                    <a:lnTo>
                      <a:pt x="88" y="600"/>
                    </a:lnTo>
                    <a:lnTo>
                      <a:pt x="69" y="600"/>
                    </a:lnTo>
                    <a:lnTo>
                      <a:pt x="57" y="601"/>
                    </a:lnTo>
                    <a:lnTo>
                      <a:pt x="54" y="600"/>
                    </a:lnTo>
                    <a:lnTo>
                      <a:pt x="48" y="600"/>
                    </a:lnTo>
                    <a:lnTo>
                      <a:pt x="44" y="593"/>
                    </a:lnTo>
                    <a:lnTo>
                      <a:pt x="43" y="587"/>
                    </a:lnTo>
                    <a:lnTo>
                      <a:pt x="39" y="583"/>
                    </a:lnTo>
                    <a:lnTo>
                      <a:pt x="38" y="574"/>
                    </a:lnTo>
                    <a:lnTo>
                      <a:pt x="38" y="570"/>
                    </a:lnTo>
                    <a:lnTo>
                      <a:pt x="34" y="570"/>
                    </a:lnTo>
                    <a:lnTo>
                      <a:pt x="30" y="572"/>
                    </a:lnTo>
                    <a:lnTo>
                      <a:pt x="26" y="575"/>
                    </a:lnTo>
                    <a:lnTo>
                      <a:pt x="23" y="575"/>
                    </a:lnTo>
                    <a:lnTo>
                      <a:pt x="16" y="562"/>
                    </a:lnTo>
                    <a:lnTo>
                      <a:pt x="16" y="556"/>
                    </a:lnTo>
                    <a:lnTo>
                      <a:pt x="18" y="542"/>
                    </a:lnTo>
                    <a:lnTo>
                      <a:pt x="21" y="538"/>
                    </a:lnTo>
                    <a:lnTo>
                      <a:pt x="26" y="531"/>
                    </a:lnTo>
                    <a:lnTo>
                      <a:pt x="28" y="523"/>
                    </a:lnTo>
                    <a:lnTo>
                      <a:pt x="26" y="515"/>
                    </a:lnTo>
                    <a:lnTo>
                      <a:pt x="25" y="508"/>
                    </a:lnTo>
                    <a:lnTo>
                      <a:pt x="26" y="500"/>
                    </a:lnTo>
                    <a:lnTo>
                      <a:pt x="30" y="497"/>
                    </a:lnTo>
                    <a:lnTo>
                      <a:pt x="26" y="489"/>
                    </a:lnTo>
                    <a:lnTo>
                      <a:pt x="26" y="485"/>
                    </a:lnTo>
                    <a:lnTo>
                      <a:pt x="30" y="482"/>
                    </a:lnTo>
                    <a:lnTo>
                      <a:pt x="28" y="475"/>
                    </a:lnTo>
                    <a:lnTo>
                      <a:pt x="26" y="467"/>
                    </a:lnTo>
                    <a:lnTo>
                      <a:pt x="25" y="462"/>
                    </a:lnTo>
                    <a:lnTo>
                      <a:pt x="25" y="459"/>
                    </a:lnTo>
                    <a:lnTo>
                      <a:pt x="28" y="456"/>
                    </a:lnTo>
                    <a:lnTo>
                      <a:pt x="28" y="453"/>
                    </a:lnTo>
                    <a:lnTo>
                      <a:pt x="25" y="446"/>
                    </a:lnTo>
                    <a:lnTo>
                      <a:pt x="20" y="443"/>
                    </a:lnTo>
                    <a:lnTo>
                      <a:pt x="16" y="443"/>
                    </a:lnTo>
                    <a:lnTo>
                      <a:pt x="15" y="443"/>
                    </a:lnTo>
                    <a:lnTo>
                      <a:pt x="13" y="441"/>
                    </a:lnTo>
                    <a:lnTo>
                      <a:pt x="15" y="438"/>
                    </a:lnTo>
                    <a:lnTo>
                      <a:pt x="21" y="438"/>
                    </a:lnTo>
                    <a:lnTo>
                      <a:pt x="26" y="435"/>
                    </a:lnTo>
                    <a:lnTo>
                      <a:pt x="25" y="430"/>
                    </a:lnTo>
                    <a:lnTo>
                      <a:pt x="23" y="430"/>
                    </a:lnTo>
                    <a:lnTo>
                      <a:pt x="21" y="431"/>
                    </a:lnTo>
                    <a:lnTo>
                      <a:pt x="18" y="431"/>
                    </a:lnTo>
                    <a:lnTo>
                      <a:pt x="16" y="423"/>
                    </a:lnTo>
                    <a:lnTo>
                      <a:pt x="13" y="417"/>
                    </a:lnTo>
                    <a:lnTo>
                      <a:pt x="13" y="412"/>
                    </a:lnTo>
                    <a:lnTo>
                      <a:pt x="13" y="407"/>
                    </a:lnTo>
                    <a:lnTo>
                      <a:pt x="8" y="405"/>
                    </a:lnTo>
                    <a:lnTo>
                      <a:pt x="7" y="400"/>
                    </a:lnTo>
                    <a:lnTo>
                      <a:pt x="7" y="387"/>
                    </a:lnTo>
                    <a:lnTo>
                      <a:pt x="10" y="386"/>
                    </a:lnTo>
                    <a:lnTo>
                      <a:pt x="10" y="381"/>
                    </a:lnTo>
                    <a:lnTo>
                      <a:pt x="8" y="377"/>
                    </a:lnTo>
                    <a:lnTo>
                      <a:pt x="7" y="376"/>
                    </a:lnTo>
                    <a:lnTo>
                      <a:pt x="5" y="369"/>
                    </a:lnTo>
                    <a:lnTo>
                      <a:pt x="3" y="358"/>
                    </a:lnTo>
                    <a:lnTo>
                      <a:pt x="5" y="346"/>
                    </a:lnTo>
                    <a:lnTo>
                      <a:pt x="2" y="342"/>
                    </a:lnTo>
                    <a:lnTo>
                      <a:pt x="2" y="335"/>
                    </a:lnTo>
                    <a:lnTo>
                      <a:pt x="7" y="327"/>
                    </a:lnTo>
                    <a:lnTo>
                      <a:pt x="8" y="319"/>
                    </a:lnTo>
                    <a:lnTo>
                      <a:pt x="13" y="317"/>
                    </a:lnTo>
                    <a:lnTo>
                      <a:pt x="15" y="314"/>
                    </a:lnTo>
                    <a:lnTo>
                      <a:pt x="5" y="294"/>
                    </a:lnTo>
                    <a:lnTo>
                      <a:pt x="7" y="289"/>
                    </a:lnTo>
                    <a:lnTo>
                      <a:pt x="7" y="284"/>
                    </a:lnTo>
                    <a:lnTo>
                      <a:pt x="7" y="273"/>
                    </a:lnTo>
                    <a:lnTo>
                      <a:pt x="10" y="266"/>
                    </a:lnTo>
                    <a:lnTo>
                      <a:pt x="13" y="261"/>
                    </a:lnTo>
                    <a:lnTo>
                      <a:pt x="13" y="257"/>
                    </a:lnTo>
                    <a:lnTo>
                      <a:pt x="10" y="250"/>
                    </a:lnTo>
                    <a:lnTo>
                      <a:pt x="7" y="248"/>
                    </a:lnTo>
                    <a:lnTo>
                      <a:pt x="12" y="243"/>
                    </a:lnTo>
                    <a:lnTo>
                      <a:pt x="10" y="237"/>
                    </a:lnTo>
                    <a:lnTo>
                      <a:pt x="13" y="230"/>
                    </a:lnTo>
                    <a:lnTo>
                      <a:pt x="15" y="229"/>
                    </a:lnTo>
                    <a:lnTo>
                      <a:pt x="16" y="222"/>
                    </a:lnTo>
                    <a:lnTo>
                      <a:pt x="15" y="209"/>
                    </a:lnTo>
                    <a:lnTo>
                      <a:pt x="13" y="208"/>
                    </a:lnTo>
                    <a:lnTo>
                      <a:pt x="12" y="198"/>
                    </a:lnTo>
                    <a:lnTo>
                      <a:pt x="8" y="193"/>
                    </a:lnTo>
                    <a:lnTo>
                      <a:pt x="5" y="186"/>
                    </a:lnTo>
                    <a:lnTo>
                      <a:pt x="3" y="183"/>
                    </a:lnTo>
                    <a:lnTo>
                      <a:pt x="2" y="180"/>
                    </a:lnTo>
                    <a:lnTo>
                      <a:pt x="0" y="172"/>
                    </a:lnTo>
                    <a:lnTo>
                      <a:pt x="0" y="165"/>
                    </a:lnTo>
                    <a:lnTo>
                      <a:pt x="5" y="163"/>
                    </a:lnTo>
                    <a:lnTo>
                      <a:pt x="5" y="155"/>
                    </a:lnTo>
                    <a:lnTo>
                      <a:pt x="7" y="152"/>
                    </a:lnTo>
                    <a:lnTo>
                      <a:pt x="8" y="145"/>
                    </a:lnTo>
                    <a:lnTo>
                      <a:pt x="5" y="139"/>
                    </a:lnTo>
                    <a:lnTo>
                      <a:pt x="5" y="129"/>
                    </a:lnTo>
                    <a:lnTo>
                      <a:pt x="7" y="127"/>
                    </a:lnTo>
                    <a:lnTo>
                      <a:pt x="8" y="116"/>
                    </a:lnTo>
                    <a:lnTo>
                      <a:pt x="10" y="111"/>
                    </a:lnTo>
                    <a:lnTo>
                      <a:pt x="15" y="100"/>
                    </a:lnTo>
                    <a:lnTo>
                      <a:pt x="20" y="96"/>
                    </a:lnTo>
                    <a:lnTo>
                      <a:pt x="21" y="95"/>
                    </a:lnTo>
                    <a:lnTo>
                      <a:pt x="25" y="92"/>
                    </a:lnTo>
                    <a:lnTo>
                      <a:pt x="23" y="90"/>
                    </a:lnTo>
                    <a:lnTo>
                      <a:pt x="23" y="85"/>
                    </a:lnTo>
                    <a:lnTo>
                      <a:pt x="21" y="83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3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8" y="62"/>
                    </a:lnTo>
                    <a:lnTo>
                      <a:pt x="21" y="59"/>
                    </a:lnTo>
                    <a:lnTo>
                      <a:pt x="20" y="56"/>
                    </a:lnTo>
                    <a:lnTo>
                      <a:pt x="16" y="52"/>
                    </a:lnTo>
                    <a:lnTo>
                      <a:pt x="18" y="49"/>
                    </a:lnTo>
                    <a:lnTo>
                      <a:pt x="36" y="38"/>
                    </a:lnTo>
                    <a:lnTo>
                      <a:pt x="41" y="20"/>
                    </a:lnTo>
                    <a:lnTo>
                      <a:pt x="39" y="16"/>
                    </a:lnTo>
                    <a:lnTo>
                      <a:pt x="39" y="16"/>
                    </a:lnTo>
                    <a:close/>
                    <a:moveTo>
                      <a:pt x="168" y="662"/>
                    </a:moveTo>
                    <a:lnTo>
                      <a:pt x="172" y="665"/>
                    </a:lnTo>
                    <a:lnTo>
                      <a:pt x="175" y="662"/>
                    </a:lnTo>
                    <a:lnTo>
                      <a:pt x="178" y="662"/>
                    </a:lnTo>
                    <a:lnTo>
                      <a:pt x="181" y="658"/>
                    </a:lnTo>
                    <a:lnTo>
                      <a:pt x="177" y="658"/>
                    </a:lnTo>
                    <a:lnTo>
                      <a:pt x="175" y="660"/>
                    </a:lnTo>
                    <a:lnTo>
                      <a:pt x="170" y="660"/>
                    </a:lnTo>
                    <a:lnTo>
                      <a:pt x="168" y="662"/>
                    </a:lnTo>
                    <a:lnTo>
                      <a:pt x="168" y="662"/>
                    </a:lnTo>
                    <a:close/>
                    <a:moveTo>
                      <a:pt x="98" y="611"/>
                    </a:moveTo>
                    <a:lnTo>
                      <a:pt x="98" y="611"/>
                    </a:lnTo>
                    <a:lnTo>
                      <a:pt x="101" y="614"/>
                    </a:lnTo>
                    <a:lnTo>
                      <a:pt x="106" y="619"/>
                    </a:lnTo>
                    <a:lnTo>
                      <a:pt x="108" y="627"/>
                    </a:lnTo>
                    <a:lnTo>
                      <a:pt x="106" y="626"/>
                    </a:lnTo>
                    <a:lnTo>
                      <a:pt x="103" y="626"/>
                    </a:lnTo>
                    <a:lnTo>
                      <a:pt x="103" y="629"/>
                    </a:lnTo>
                    <a:lnTo>
                      <a:pt x="98" y="611"/>
                    </a:lnTo>
                    <a:lnTo>
                      <a:pt x="98" y="611"/>
                    </a:lnTo>
                    <a:close/>
                    <a:moveTo>
                      <a:pt x="103" y="629"/>
                    </a:moveTo>
                    <a:lnTo>
                      <a:pt x="106" y="631"/>
                    </a:lnTo>
                    <a:lnTo>
                      <a:pt x="110" y="631"/>
                    </a:lnTo>
                    <a:lnTo>
                      <a:pt x="111" y="634"/>
                    </a:lnTo>
                    <a:lnTo>
                      <a:pt x="113" y="639"/>
                    </a:lnTo>
                    <a:lnTo>
                      <a:pt x="118" y="639"/>
                    </a:lnTo>
                    <a:lnTo>
                      <a:pt x="121" y="642"/>
                    </a:lnTo>
                    <a:lnTo>
                      <a:pt x="123" y="647"/>
                    </a:lnTo>
                    <a:lnTo>
                      <a:pt x="126" y="647"/>
                    </a:lnTo>
                    <a:lnTo>
                      <a:pt x="137" y="652"/>
                    </a:lnTo>
                    <a:lnTo>
                      <a:pt x="139" y="654"/>
                    </a:lnTo>
                    <a:lnTo>
                      <a:pt x="144" y="655"/>
                    </a:lnTo>
                    <a:lnTo>
                      <a:pt x="147" y="658"/>
                    </a:lnTo>
                    <a:lnTo>
                      <a:pt x="150" y="658"/>
                    </a:lnTo>
                    <a:lnTo>
                      <a:pt x="157" y="657"/>
                    </a:lnTo>
                    <a:lnTo>
                      <a:pt x="159" y="658"/>
                    </a:lnTo>
                    <a:lnTo>
                      <a:pt x="160" y="662"/>
                    </a:lnTo>
                    <a:lnTo>
                      <a:pt x="155" y="663"/>
                    </a:lnTo>
                    <a:lnTo>
                      <a:pt x="154" y="662"/>
                    </a:lnTo>
                    <a:lnTo>
                      <a:pt x="150" y="663"/>
                    </a:lnTo>
                    <a:lnTo>
                      <a:pt x="150" y="667"/>
                    </a:lnTo>
                    <a:lnTo>
                      <a:pt x="147" y="670"/>
                    </a:lnTo>
                    <a:lnTo>
                      <a:pt x="144" y="670"/>
                    </a:lnTo>
                    <a:lnTo>
                      <a:pt x="141" y="668"/>
                    </a:lnTo>
                    <a:lnTo>
                      <a:pt x="137" y="667"/>
                    </a:lnTo>
                    <a:lnTo>
                      <a:pt x="131" y="667"/>
                    </a:lnTo>
                    <a:lnTo>
                      <a:pt x="126" y="667"/>
                    </a:lnTo>
                    <a:lnTo>
                      <a:pt x="119" y="667"/>
                    </a:lnTo>
                    <a:lnTo>
                      <a:pt x="114" y="668"/>
                    </a:lnTo>
                    <a:lnTo>
                      <a:pt x="113" y="668"/>
                    </a:lnTo>
                    <a:lnTo>
                      <a:pt x="111" y="662"/>
                    </a:lnTo>
                    <a:lnTo>
                      <a:pt x="118" y="662"/>
                    </a:lnTo>
                    <a:lnTo>
                      <a:pt x="123" y="660"/>
                    </a:lnTo>
                    <a:lnTo>
                      <a:pt x="124" y="660"/>
                    </a:lnTo>
                    <a:lnTo>
                      <a:pt x="126" y="658"/>
                    </a:lnTo>
                    <a:lnTo>
                      <a:pt x="121" y="658"/>
                    </a:lnTo>
                    <a:lnTo>
                      <a:pt x="116" y="658"/>
                    </a:lnTo>
                    <a:lnTo>
                      <a:pt x="111" y="660"/>
                    </a:lnTo>
                    <a:lnTo>
                      <a:pt x="110" y="660"/>
                    </a:lnTo>
                    <a:lnTo>
                      <a:pt x="103" y="629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0" name="Freeform 344">
                <a:extLst>
                  <a:ext uri="{FF2B5EF4-FFF2-40B4-BE49-F238E27FC236}">
                    <a16:creationId xmlns:a16="http://schemas.microsoft.com/office/drawing/2014/main" xmlns="" id="{80D9D561-F19A-40F7-B2AC-8693C8BAB3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50" y="2353"/>
                <a:ext cx="173" cy="768"/>
              </a:xfrm>
              <a:custGeom>
                <a:avLst/>
                <a:gdLst>
                  <a:gd name="T0" fmla="*/ 72 w 106"/>
                  <a:gd name="T1" fmla="*/ 451 h 470"/>
                  <a:gd name="T2" fmla="*/ 71 w 106"/>
                  <a:gd name="T3" fmla="*/ 456 h 470"/>
                  <a:gd name="T4" fmla="*/ 87 w 106"/>
                  <a:gd name="T5" fmla="*/ 456 h 470"/>
                  <a:gd name="T6" fmla="*/ 72 w 106"/>
                  <a:gd name="T7" fmla="*/ 437 h 470"/>
                  <a:gd name="T8" fmla="*/ 85 w 106"/>
                  <a:gd name="T9" fmla="*/ 431 h 470"/>
                  <a:gd name="T10" fmla="*/ 32 w 106"/>
                  <a:gd name="T11" fmla="*/ 386 h 470"/>
                  <a:gd name="T12" fmla="*/ 31 w 106"/>
                  <a:gd name="T13" fmla="*/ 317 h 470"/>
                  <a:gd name="T14" fmla="*/ 24 w 106"/>
                  <a:gd name="T15" fmla="*/ 265 h 470"/>
                  <a:gd name="T16" fmla="*/ 32 w 106"/>
                  <a:gd name="T17" fmla="*/ 182 h 470"/>
                  <a:gd name="T18" fmla="*/ 35 w 106"/>
                  <a:gd name="T19" fmla="*/ 104 h 470"/>
                  <a:gd name="T20" fmla="*/ 34 w 106"/>
                  <a:gd name="T21" fmla="*/ 38 h 470"/>
                  <a:gd name="T22" fmla="*/ 16 w 106"/>
                  <a:gd name="T23" fmla="*/ 7 h 470"/>
                  <a:gd name="T24" fmla="*/ 11 w 106"/>
                  <a:gd name="T25" fmla="*/ 60 h 470"/>
                  <a:gd name="T26" fmla="*/ 11 w 106"/>
                  <a:gd name="T27" fmla="*/ 115 h 470"/>
                  <a:gd name="T28" fmla="*/ 13 w 106"/>
                  <a:gd name="T29" fmla="*/ 165 h 470"/>
                  <a:gd name="T30" fmla="*/ 9 w 106"/>
                  <a:gd name="T31" fmla="*/ 202 h 470"/>
                  <a:gd name="T32" fmla="*/ 4 w 106"/>
                  <a:gd name="T33" fmla="*/ 232 h 470"/>
                  <a:gd name="T34" fmla="*/ 5 w 106"/>
                  <a:gd name="T35" fmla="*/ 269 h 470"/>
                  <a:gd name="T36" fmla="*/ 22 w 106"/>
                  <a:gd name="T37" fmla="*/ 287 h 470"/>
                  <a:gd name="T38" fmla="*/ 18 w 106"/>
                  <a:gd name="T39" fmla="*/ 308 h 470"/>
                  <a:gd name="T40" fmla="*/ 19 w 106"/>
                  <a:gd name="T41" fmla="*/ 339 h 470"/>
                  <a:gd name="T42" fmla="*/ 6 w 106"/>
                  <a:gd name="T43" fmla="*/ 332 h 470"/>
                  <a:gd name="T44" fmla="*/ 12 w 106"/>
                  <a:gd name="T45" fmla="*/ 344 h 470"/>
                  <a:gd name="T46" fmla="*/ 22 w 106"/>
                  <a:gd name="T47" fmla="*/ 356 h 470"/>
                  <a:gd name="T48" fmla="*/ 21 w 106"/>
                  <a:gd name="T49" fmla="*/ 370 h 470"/>
                  <a:gd name="T50" fmla="*/ 24 w 106"/>
                  <a:gd name="T51" fmla="*/ 387 h 470"/>
                  <a:gd name="T52" fmla="*/ 33 w 106"/>
                  <a:gd name="T53" fmla="*/ 406 h 470"/>
                  <a:gd name="T54" fmla="*/ 42 w 106"/>
                  <a:gd name="T55" fmla="*/ 412 h 470"/>
                  <a:gd name="T56" fmla="*/ 46 w 106"/>
                  <a:gd name="T57" fmla="*/ 420 h 470"/>
                  <a:gd name="T58" fmla="*/ 40 w 106"/>
                  <a:gd name="T59" fmla="*/ 425 h 470"/>
                  <a:gd name="T60" fmla="*/ 49 w 106"/>
                  <a:gd name="T61" fmla="*/ 422 h 470"/>
                  <a:gd name="T62" fmla="*/ 46 w 106"/>
                  <a:gd name="T63" fmla="*/ 432 h 470"/>
                  <a:gd name="T64" fmla="*/ 62 w 106"/>
                  <a:gd name="T65" fmla="*/ 428 h 470"/>
                  <a:gd name="T66" fmla="*/ 63 w 106"/>
                  <a:gd name="T67" fmla="*/ 442 h 470"/>
                  <a:gd name="T68" fmla="*/ 82 w 106"/>
                  <a:gd name="T69" fmla="*/ 416 h 470"/>
                  <a:gd name="T70" fmla="*/ 6 w 106"/>
                  <a:gd name="T71" fmla="*/ 290 h 470"/>
                  <a:gd name="T72" fmla="*/ 16 w 106"/>
                  <a:gd name="T73" fmla="*/ 284 h 470"/>
                  <a:gd name="T74" fmla="*/ 14 w 106"/>
                  <a:gd name="T75" fmla="*/ 305 h 470"/>
                  <a:gd name="T76" fmla="*/ 6 w 106"/>
                  <a:gd name="T77" fmla="*/ 316 h 470"/>
                  <a:gd name="T78" fmla="*/ 9 w 106"/>
                  <a:gd name="T79" fmla="*/ 315 h 470"/>
                  <a:gd name="T80" fmla="*/ 20 w 106"/>
                  <a:gd name="T81" fmla="*/ 312 h 470"/>
                  <a:gd name="T82" fmla="*/ 12 w 106"/>
                  <a:gd name="T83" fmla="*/ 321 h 470"/>
                  <a:gd name="T84" fmla="*/ 15 w 106"/>
                  <a:gd name="T85" fmla="*/ 366 h 470"/>
                  <a:gd name="T86" fmla="*/ 12 w 106"/>
                  <a:gd name="T87" fmla="*/ 365 h 470"/>
                  <a:gd name="T88" fmla="*/ 11 w 106"/>
                  <a:gd name="T89" fmla="*/ 376 h 470"/>
                  <a:gd name="T90" fmla="*/ 13 w 106"/>
                  <a:gd name="T91" fmla="*/ 379 h 470"/>
                  <a:gd name="T92" fmla="*/ 19 w 106"/>
                  <a:gd name="T93" fmla="*/ 386 h 470"/>
                  <a:gd name="T94" fmla="*/ 21 w 106"/>
                  <a:gd name="T95" fmla="*/ 399 h 470"/>
                  <a:gd name="T96" fmla="*/ 21 w 106"/>
                  <a:gd name="T97" fmla="*/ 398 h 470"/>
                  <a:gd name="T98" fmla="*/ 24 w 106"/>
                  <a:gd name="T99" fmla="*/ 412 h 470"/>
                  <a:gd name="T100" fmla="*/ 31 w 106"/>
                  <a:gd name="T101" fmla="*/ 416 h 470"/>
                  <a:gd name="T102" fmla="*/ 32 w 106"/>
                  <a:gd name="T103" fmla="*/ 417 h 470"/>
                  <a:gd name="T104" fmla="*/ 38 w 106"/>
                  <a:gd name="T105" fmla="*/ 425 h 470"/>
                  <a:gd name="T106" fmla="*/ 46 w 106"/>
                  <a:gd name="T107" fmla="*/ 436 h 470"/>
                  <a:gd name="T108" fmla="*/ 47 w 106"/>
                  <a:gd name="T109" fmla="*/ 445 h 470"/>
                  <a:gd name="T110" fmla="*/ 56 w 106"/>
                  <a:gd name="T111" fmla="*/ 445 h 470"/>
                  <a:gd name="T112" fmla="*/ 59 w 106"/>
                  <a:gd name="T113" fmla="*/ 446 h 470"/>
                  <a:gd name="T114" fmla="*/ 68 w 106"/>
                  <a:gd name="T115" fmla="*/ 442 h 470"/>
                  <a:gd name="T116" fmla="*/ 105 w 106"/>
                  <a:gd name="T117" fmla="*/ 465 h 470"/>
                  <a:gd name="T118" fmla="*/ 99 w 106"/>
                  <a:gd name="T119" fmla="*/ 460 h 470"/>
                  <a:gd name="T120" fmla="*/ 89 w 106"/>
                  <a:gd name="T121" fmla="*/ 462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6" h="470">
                    <a:moveTo>
                      <a:pt x="91" y="455"/>
                    </a:moveTo>
                    <a:cubicBezTo>
                      <a:pt x="90" y="451"/>
                      <a:pt x="90" y="451"/>
                      <a:pt x="90" y="451"/>
                    </a:cubicBezTo>
                    <a:cubicBezTo>
                      <a:pt x="88" y="451"/>
                      <a:pt x="88" y="451"/>
                      <a:pt x="88" y="451"/>
                    </a:cubicBezTo>
                    <a:cubicBezTo>
                      <a:pt x="87" y="450"/>
                      <a:pt x="87" y="450"/>
                      <a:pt x="87" y="450"/>
                    </a:cubicBezTo>
                    <a:cubicBezTo>
                      <a:pt x="83" y="449"/>
                      <a:pt x="83" y="449"/>
                      <a:pt x="83" y="449"/>
                    </a:cubicBezTo>
                    <a:cubicBezTo>
                      <a:pt x="78" y="447"/>
                      <a:pt x="78" y="447"/>
                      <a:pt x="78" y="447"/>
                    </a:cubicBezTo>
                    <a:cubicBezTo>
                      <a:pt x="76" y="446"/>
                      <a:pt x="76" y="446"/>
                      <a:pt x="76" y="446"/>
                    </a:cubicBezTo>
                    <a:cubicBezTo>
                      <a:pt x="76" y="447"/>
                      <a:pt x="76" y="447"/>
                      <a:pt x="76" y="447"/>
                    </a:cubicBezTo>
                    <a:cubicBezTo>
                      <a:pt x="77" y="448"/>
                      <a:pt x="77" y="448"/>
                      <a:pt x="77" y="448"/>
                    </a:cubicBezTo>
                    <a:cubicBezTo>
                      <a:pt x="76" y="448"/>
                      <a:pt x="76" y="448"/>
                      <a:pt x="76" y="448"/>
                    </a:cubicBezTo>
                    <a:cubicBezTo>
                      <a:pt x="75" y="448"/>
                      <a:pt x="75" y="448"/>
                      <a:pt x="75" y="448"/>
                    </a:cubicBezTo>
                    <a:cubicBezTo>
                      <a:pt x="72" y="447"/>
                      <a:pt x="72" y="447"/>
                      <a:pt x="72" y="447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70" y="446"/>
                      <a:pt x="70" y="446"/>
                      <a:pt x="70" y="446"/>
                    </a:cubicBezTo>
                    <a:cubicBezTo>
                      <a:pt x="70" y="447"/>
                      <a:pt x="70" y="447"/>
                      <a:pt x="70" y="447"/>
                    </a:cubicBezTo>
                    <a:cubicBezTo>
                      <a:pt x="75" y="449"/>
                      <a:pt x="75" y="449"/>
                      <a:pt x="75" y="449"/>
                    </a:cubicBezTo>
                    <a:cubicBezTo>
                      <a:pt x="75" y="450"/>
                      <a:pt x="75" y="450"/>
                      <a:pt x="75" y="450"/>
                    </a:cubicBezTo>
                    <a:cubicBezTo>
                      <a:pt x="74" y="450"/>
                      <a:pt x="74" y="450"/>
                      <a:pt x="74" y="450"/>
                    </a:cubicBezTo>
                    <a:cubicBezTo>
                      <a:pt x="73" y="450"/>
                      <a:pt x="73" y="450"/>
                      <a:pt x="73" y="450"/>
                    </a:cubicBezTo>
                    <a:cubicBezTo>
                      <a:pt x="73" y="451"/>
                      <a:pt x="73" y="451"/>
                      <a:pt x="73" y="451"/>
                    </a:cubicBezTo>
                    <a:cubicBezTo>
                      <a:pt x="72" y="451"/>
                      <a:pt x="72" y="451"/>
                      <a:pt x="72" y="451"/>
                    </a:cubicBezTo>
                    <a:cubicBezTo>
                      <a:pt x="72" y="450"/>
                      <a:pt x="72" y="450"/>
                      <a:pt x="72" y="450"/>
                    </a:cubicBezTo>
                    <a:cubicBezTo>
                      <a:pt x="70" y="449"/>
                      <a:pt x="70" y="449"/>
                      <a:pt x="70" y="449"/>
                    </a:cubicBezTo>
                    <a:cubicBezTo>
                      <a:pt x="69" y="449"/>
                      <a:pt x="69" y="449"/>
                      <a:pt x="69" y="449"/>
                    </a:cubicBezTo>
                    <a:cubicBezTo>
                      <a:pt x="69" y="451"/>
                      <a:pt x="69" y="451"/>
                      <a:pt x="69" y="451"/>
                    </a:cubicBezTo>
                    <a:cubicBezTo>
                      <a:pt x="68" y="451"/>
                      <a:pt x="68" y="451"/>
                      <a:pt x="68" y="451"/>
                    </a:cubicBezTo>
                    <a:cubicBezTo>
                      <a:pt x="65" y="451"/>
                      <a:pt x="65" y="451"/>
                      <a:pt x="65" y="451"/>
                    </a:cubicBezTo>
                    <a:cubicBezTo>
                      <a:pt x="64" y="451"/>
                      <a:pt x="64" y="451"/>
                      <a:pt x="64" y="451"/>
                    </a:cubicBezTo>
                    <a:cubicBezTo>
                      <a:pt x="65" y="452"/>
                      <a:pt x="65" y="452"/>
                      <a:pt x="65" y="452"/>
                    </a:cubicBezTo>
                    <a:cubicBezTo>
                      <a:pt x="65" y="453"/>
                      <a:pt x="65" y="453"/>
                      <a:pt x="65" y="453"/>
                    </a:cubicBezTo>
                    <a:cubicBezTo>
                      <a:pt x="63" y="452"/>
                      <a:pt x="63" y="452"/>
                      <a:pt x="63" y="452"/>
                    </a:cubicBezTo>
                    <a:cubicBezTo>
                      <a:pt x="61" y="453"/>
                      <a:pt x="61" y="453"/>
                      <a:pt x="61" y="453"/>
                    </a:cubicBezTo>
                    <a:cubicBezTo>
                      <a:pt x="62" y="454"/>
                      <a:pt x="62" y="454"/>
                      <a:pt x="62" y="454"/>
                    </a:cubicBezTo>
                    <a:cubicBezTo>
                      <a:pt x="64" y="454"/>
                      <a:pt x="64" y="454"/>
                      <a:pt x="64" y="454"/>
                    </a:cubicBezTo>
                    <a:cubicBezTo>
                      <a:pt x="65" y="454"/>
                      <a:pt x="65" y="454"/>
                      <a:pt x="65" y="454"/>
                    </a:cubicBezTo>
                    <a:cubicBezTo>
                      <a:pt x="66" y="453"/>
                      <a:pt x="66" y="453"/>
                      <a:pt x="66" y="453"/>
                    </a:cubicBezTo>
                    <a:cubicBezTo>
                      <a:pt x="66" y="453"/>
                      <a:pt x="66" y="453"/>
                      <a:pt x="66" y="453"/>
                    </a:cubicBezTo>
                    <a:cubicBezTo>
                      <a:pt x="68" y="454"/>
                      <a:pt x="68" y="454"/>
                      <a:pt x="68" y="454"/>
                    </a:cubicBezTo>
                    <a:cubicBezTo>
                      <a:pt x="70" y="455"/>
                      <a:pt x="70" y="455"/>
                      <a:pt x="70" y="455"/>
                    </a:cubicBezTo>
                    <a:cubicBezTo>
                      <a:pt x="70" y="454"/>
                      <a:pt x="70" y="454"/>
                      <a:pt x="70" y="454"/>
                    </a:cubicBezTo>
                    <a:cubicBezTo>
                      <a:pt x="71" y="455"/>
                      <a:pt x="71" y="455"/>
                      <a:pt x="71" y="455"/>
                    </a:cubicBezTo>
                    <a:cubicBezTo>
                      <a:pt x="71" y="456"/>
                      <a:pt x="71" y="456"/>
                      <a:pt x="71" y="456"/>
                    </a:cubicBezTo>
                    <a:cubicBezTo>
                      <a:pt x="72" y="457"/>
                      <a:pt x="72" y="457"/>
                      <a:pt x="72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0" y="459"/>
                      <a:pt x="70" y="459"/>
                      <a:pt x="70" y="459"/>
                    </a:cubicBezTo>
                    <a:cubicBezTo>
                      <a:pt x="71" y="461"/>
                      <a:pt x="71" y="461"/>
                      <a:pt x="71" y="461"/>
                    </a:cubicBezTo>
                    <a:cubicBezTo>
                      <a:pt x="72" y="461"/>
                      <a:pt x="72" y="461"/>
                      <a:pt x="72" y="461"/>
                    </a:cubicBezTo>
                    <a:cubicBezTo>
                      <a:pt x="73" y="461"/>
                      <a:pt x="73" y="461"/>
                      <a:pt x="73" y="461"/>
                    </a:cubicBezTo>
                    <a:cubicBezTo>
                      <a:pt x="75" y="463"/>
                      <a:pt x="75" y="463"/>
                      <a:pt x="75" y="463"/>
                    </a:cubicBezTo>
                    <a:cubicBezTo>
                      <a:pt x="76" y="463"/>
                      <a:pt x="76" y="463"/>
                      <a:pt x="76" y="463"/>
                    </a:cubicBezTo>
                    <a:cubicBezTo>
                      <a:pt x="76" y="462"/>
                      <a:pt x="76" y="462"/>
                      <a:pt x="76" y="462"/>
                    </a:cubicBezTo>
                    <a:cubicBezTo>
                      <a:pt x="75" y="461"/>
                      <a:pt x="75" y="461"/>
                      <a:pt x="75" y="461"/>
                    </a:cubicBezTo>
                    <a:cubicBezTo>
                      <a:pt x="73" y="460"/>
                      <a:pt x="73" y="460"/>
                      <a:pt x="73" y="460"/>
                    </a:cubicBezTo>
                    <a:cubicBezTo>
                      <a:pt x="73" y="459"/>
                      <a:pt x="73" y="459"/>
                      <a:pt x="73" y="459"/>
                    </a:cubicBezTo>
                    <a:cubicBezTo>
                      <a:pt x="74" y="459"/>
                      <a:pt x="74" y="459"/>
                      <a:pt x="74" y="459"/>
                    </a:cubicBezTo>
                    <a:cubicBezTo>
                      <a:pt x="75" y="460"/>
                      <a:pt x="75" y="460"/>
                      <a:pt x="75" y="460"/>
                    </a:cubicBezTo>
                    <a:cubicBezTo>
                      <a:pt x="76" y="459"/>
                      <a:pt x="76" y="459"/>
                      <a:pt x="76" y="459"/>
                    </a:cubicBezTo>
                    <a:cubicBezTo>
                      <a:pt x="76" y="458"/>
                      <a:pt x="76" y="458"/>
                      <a:pt x="76" y="458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8" y="455"/>
                      <a:pt x="78" y="455"/>
                      <a:pt x="78" y="455"/>
                    </a:cubicBezTo>
                    <a:cubicBezTo>
                      <a:pt x="80" y="454"/>
                      <a:pt x="80" y="454"/>
                      <a:pt x="80" y="454"/>
                    </a:cubicBezTo>
                    <a:cubicBezTo>
                      <a:pt x="87" y="456"/>
                      <a:pt x="87" y="456"/>
                      <a:pt x="87" y="456"/>
                    </a:cubicBezTo>
                    <a:cubicBezTo>
                      <a:pt x="88" y="456"/>
                      <a:pt x="88" y="456"/>
                      <a:pt x="88" y="456"/>
                    </a:cubicBezTo>
                    <a:cubicBezTo>
                      <a:pt x="88" y="455"/>
                      <a:pt x="88" y="455"/>
                      <a:pt x="88" y="455"/>
                    </a:cubicBezTo>
                    <a:cubicBezTo>
                      <a:pt x="91" y="455"/>
                      <a:pt x="91" y="455"/>
                      <a:pt x="91" y="455"/>
                    </a:cubicBezTo>
                    <a:close/>
                    <a:moveTo>
                      <a:pt x="89" y="450"/>
                    </a:moveTo>
                    <a:cubicBezTo>
                      <a:pt x="87" y="449"/>
                      <a:pt x="87" y="449"/>
                      <a:pt x="87" y="449"/>
                    </a:cubicBezTo>
                    <a:cubicBezTo>
                      <a:pt x="83" y="446"/>
                      <a:pt x="83" y="446"/>
                      <a:pt x="83" y="446"/>
                    </a:cubicBezTo>
                    <a:cubicBezTo>
                      <a:pt x="79" y="445"/>
                      <a:pt x="79" y="445"/>
                      <a:pt x="79" y="445"/>
                    </a:cubicBezTo>
                    <a:cubicBezTo>
                      <a:pt x="78" y="445"/>
                      <a:pt x="78" y="445"/>
                      <a:pt x="78" y="445"/>
                    </a:cubicBezTo>
                    <a:cubicBezTo>
                      <a:pt x="76" y="444"/>
                      <a:pt x="76" y="444"/>
                      <a:pt x="76" y="444"/>
                    </a:cubicBezTo>
                    <a:cubicBezTo>
                      <a:pt x="74" y="442"/>
                      <a:pt x="74" y="442"/>
                      <a:pt x="74" y="442"/>
                    </a:cubicBezTo>
                    <a:cubicBezTo>
                      <a:pt x="73" y="441"/>
                      <a:pt x="73" y="441"/>
                      <a:pt x="73" y="441"/>
                    </a:cubicBezTo>
                    <a:cubicBezTo>
                      <a:pt x="73" y="440"/>
                      <a:pt x="73" y="440"/>
                      <a:pt x="73" y="440"/>
                    </a:cubicBezTo>
                    <a:cubicBezTo>
                      <a:pt x="76" y="439"/>
                      <a:pt x="76" y="439"/>
                      <a:pt x="76" y="439"/>
                    </a:cubicBezTo>
                    <a:cubicBezTo>
                      <a:pt x="77" y="438"/>
                      <a:pt x="77" y="438"/>
                      <a:pt x="77" y="438"/>
                    </a:cubicBezTo>
                    <a:cubicBezTo>
                      <a:pt x="79" y="437"/>
                      <a:pt x="79" y="437"/>
                      <a:pt x="79" y="437"/>
                    </a:cubicBezTo>
                    <a:cubicBezTo>
                      <a:pt x="80" y="435"/>
                      <a:pt x="80" y="435"/>
                      <a:pt x="80" y="435"/>
                    </a:cubicBezTo>
                    <a:cubicBezTo>
                      <a:pt x="79" y="433"/>
                      <a:pt x="79" y="433"/>
                      <a:pt x="79" y="433"/>
                    </a:cubicBezTo>
                    <a:cubicBezTo>
                      <a:pt x="77" y="433"/>
                      <a:pt x="77" y="433"/>
                      <a:pt x="77" y="433"/>
                    </a:cubicBezTo>
                    <a:cubicBezTo>
                      <a:pt x="75" y="435"/>
                      <a:pt x="75" y="435"/>
                      <a:pt x="75" y="435"/>
                    </a:cubicBezTo>
                    <a:cubicBezTo>
                      <a:pt x="73" y="436"/>
                      <a:pt x="73" y="436"/>
                      <a:pt x="73" y="436"/>
                    </a:cubicBezTo>
                    <a:cubicBezTo>
                      <a:pt x="72" y="437"/>
                      <a:pt x="72" y="437"/>
                      <a:pt x="72" y="437"/>
                    </a:cubicBezTo>
                    <a:cubicBezTo>
                      <a:pt x="70" y="434"/>
                      <a:pt x="70" y="434"/>
                      <a:pt x="70" y="434"/>
                    </a:cubicBezTo>
                    <a:cubicBezTo>
                      <a:pt x="70" y="432"/>
                      <a:pt x="70" y="432"/>
                      <a:pt x="70" y="432"/>
                    </a:cubicBezTo>
                    <a:cubicBezTo>
                      <a:pt x="69" y="431"/>
                      <a:pt x="69" y="431"/>
                      <a:pt x="69" y="431"/>
                    </a:cubicBezTo>
                    <a:cubicBezTo>
                      <a:pt x="71" y="429"/>
                      <a:pt x="71" y="429"/>
                      <a:pt x="71" y="429"/>
                    </a:cubicBezTo>
                    <a:cubicBezTo>
                      <a:pt x="71" y="428"/>
                      <a:pt x="71" y="428"/>
                      <a:pt x="71" y="428"/>
                    </a:cubicBezTo>
                    <a:cubicBezTo>
                      <a:pt x="70" y="428"/>
                      <a:pt x="70" y="428"/>
                      <a:pt x="70" y="428"/>
                    </a:cubicBezTo>
                    <a:cubicBezTo>
                      <a:pt x="68" y="427"/>
                      <a:pt x="68" y="427"/>
                      <a:pt x="68" y="427"/>
                    </a:cubicBezTo>
                    <a:cubicBezTo>
                      <a:pt x="70" y="425"/>
                      <a:pt x="70" y="425"/>
                      <a:pt x="70" y="425"/>
                    </a:cubicBezTo>
                    <a:cubicBezTo>
                      <a:pt x="71" y="425"/>
                      <a:pt x="71" y="425"/>
                      <a:pt x="71" y="425"/>
                    </a:cubicBezTo>
                    <a:cubicBezTo>
                      <a:pt x="73" y="427"/>
                      <a:pt x="73" y="427"/>
                      <a:pt x="73" y="427"/>
                    </a:cubicBezTo>
                    <a:cubicBezTo>
                      <a:pt x="73" y="426"/>
                      <a:pt x="73" y="426"/>
                      <a:pt x="73" y="426"/>
                    </a:cubicBezTo>
                    <a:cubicBezTo>
                      <a:pt x="75" y="424"/>
                      <a:pt x="75" y="424"/>
                      <a:pt x="75" y="424"/>
                    </a:cubicBezTo>
                    <a:cubicBezTo>
                      <a:pt x="75" y="423"/>
                      <a:pt x="75" y="423"/>
                      <a:pt x="75" y="423"/>
                    </a:cubicBezTo>
                    <a:cubicBezTo>
                      <a:pt x="75" y="421"/>
                      <a:pt x="75" y="421"/>
                      <a:pt x="75" y="421"/>
                    </a:cubicBezTo>
                    <a:cubicBezTo>
                      <a:pt x="76" y="420"/>
                      <a:pt x="76" y="420"/>
                      <a:pt x="76" y="420"/>
                    </a:cubicBezTo>
                    <a:cubicBezTo>
                      <a:pt x="77" y="420"/>
                      <a:pt x="77" y="420"/>
                      <a:pt x="77" y="420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9" y="421"/>
                      <a:pt x="79" y="421"/>
                      <a:pt x="79" y="421"/>
                    </a:cubicBezTo>
                    <a:cubicBezTo>
                      <a:pt x="82" y="420"/>
                      <a:pt x="82" y="420"/>
                      <a:pt x="82" y="420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5" y="431"/>
                      <a:pt x="85" y="431"/>
                      <a:pt x="85" y="431"/>
                    </a:cubicBezTo>
                    <a:cubicBezTo>
                      <a:pt x="89" y="450"/>
                      <a:pt x="89" y="450"/>
                      <a:pt x="89" y="450"/>
                    </a:cubicBezTo>
                    <a:close/>
                    <a:moveTo>
                      <a:pt x="82" y="416"/>
                    </a:moveTo>
                    <a:cubicBezTo>
                      <a:pt x="79" y="414"/>
                      <a:pt x="79" y="414"/>
                      <a:pt x="79" y="414"/>
                    </a:cubicBezTo>
                    <a:cubicBezTo>
                      <a:pt x="77" y="414"/>
                      <a:pt x="77" y="414"/>
                      <a:pt x="77" y="414"/>
                    </a:cubicBezTo>
                    <a:cubicBezTo>
                      <a:pt x="76" y="413"/>
                      <a:pt x="76" y="413"/>
                      <a:pt x="76" y="413"/>
                    </a:cubicBezTo>
                    <a:cubicBezTo>
                      <a:pt x="64" y="413"/>
                      <a:pt x="64" y="413"/>
                      <a:pt x="64" y="413"/>
                    </a:cubicBezTo>
                    <a:cubicBezTo>
                      <a:pt x="57" y="414"/>
                      <a:pt x="57" y="414"/>
                      <a:pt x="57" y="414"/>
                    </a:cubicBezTo>
                    <a:cubicBezTo>
                      <a:pt x="55" y="413"/>
                      <a:pt x="55" y="413"/>
                      <a:pt x="55" y="413"/>
                    </a:cubicBezTo>
                    <a:cubicBezTo>
                      <a:pt x="51" y="413"/>
                      <a:pt x="51" y="413"/>
                      <a:pt x="51" y="413"/>
                    </a:cubicBezTo>
                    <a:cubicBezTo>
                      <a:pt x="49" y="409"/>
                      <a:pt x="49" y="409"/>
                      <a:pt x="49" y="409"/>
                    </a:cubicBezTo>
                    <a:cubicBezTo>
                      <a:pt x="48" y="405"/>
                      <a:pt x="48" y="405"/>
                      <a:pt x="48" y="405"/>
                    </a:cubicBezTo>
                    <a:cubicBezTo>
                      <a:pt x="46" y="403"/>
                      <a:pt x="46" y="403"/>
                      <a:pt x="46" y="403"/>
                    </a:cubicBezTo>
                    <a:cubicBezTo>
                      <a:pt x="45" y="397"/>
                      <a:pt x="45" y="397"/>
                      <a:pt x="45" y="397"/>
                    </a:cubicBezTo>
                    <a:cubicBezTo>
                      <a:pt x="45" y="395"/>
                      <a:pt x="45" y="395"/>
                      <a:pt x="45" y="395"/>
                    </a:cubicBezTo>
                    <a:cubicBezTo>
                      <a:pt x="43" y="395"/>
                      <a:pt x="43" y="395"/>
                      <a:pt x="43" y="395"/>
                    </a:cubicBezTo>
                    <a:cubicBezTo>
                      <a:pt x="40" y="396"/>
                      <a:pt x="40" y="396"/>
                      <a:pt x="40" y="396"/>
                    </a:cubicBezTo>
                    <a:cubicBezTo>
                      <a:pt x="38" y="398"/>
                      <a:pt x="38" y="398"/>
                      <a:pt x="38" y="398"/>
                    </a:cubicBezTo>
                    <a:cubicBezTo>
                      <a:pt x="36" y="398"/>
                      <a:pt x="36" y="398"/>
                      <a:pt x="36" y="398"/>
                    </a:cubicBezTo>
                    <a:cubicBezTo>
                      <a:pt x="32" y="390"/>
                      <a:pt x="32" y="390"/>
                      <a:pt x="32" y="390"/>
                    </a:cubicBezTo>
                    <a:cubicBezTo>
                      <a:pt x="32" y="386"/>
                      <a:pt x="32" y="386"/>
                      <a:pt x="32" y="386"/>
                    </a:cubicBezTo>
                    <a:cubicBezTo>
                      <a:pt x="33" y="378"/>
                      <a:pt x="33" y="378"/>
                      <a:pt x="33" y="378"/>
                    </a:cubicBezTo>
                    <a:cubicBezTo>
                      <a:pt x="35" y="375"/>
                      <a:pt x="35" y="375"/>
                      <a:pt x="35" y="375"/>
                    </a:cubicBezTo>
                    <a:cubicBezTo>
                      <a:pt x="38" y="371"/>
                      <a:pt x="38" y="371"/>
                      <a:pt x="38" y="371"/>
                    </a:cubicBezTo>
                    <a:cubicBezTo>
                      <a:pt x="39" y="366"/>
                      <a:pt x="39" y="366"/>
                      <a:pt x="39" y="366"/>
                    </a:cubicBezTo>
                    <a:cubicBezTo>
                      <a:pt x="38" y="361"/>
                      <a:pt x="38" y="361"/>
                      <a:pt x="38" y="361"/>
                    </a:cubicBezTo>
                    <a:cubicBezTo>
                      <a:pt x="37" y="357"/>
                      <a:pt x="37" y="357"/>
                      <a:pt x="37" y="357"/>
                    </a:cubicBezTo>
                    <a:cubicBezTo>
                      <a:pt x="38" y="352"/>
                      <a:pt x="38" y="352"/>
                      <a:pt x="38" y="352"/>
                    </a:cubicBezTo>
                    <a:cubicBezTo>
                      <a:pt x="40" y="350"/>
                      <a:pt x="40" y="350"/>
                      <a:pt x="40" y="350"/>
                    </a:cubicBezTo>
                    <a:cubicBezTo>
                      <a:pt x="38" y="345"/>
                      <a:pt x="38" y="345"/>
                      <a:pt x="38" y="345"/>
                    </a:cubicBezTo>
                    <a:cubicBezTo>
                      <a:pt x="38" y="343"/>
                      <a:pt x="38" y="343"/>
                      <a:pt x="38" y="343"/>
                    </a:cubicBezTo>
                    <a:cubicBezTo>
                      <a:pt x="40" y="341"/>
                      <a:pt x="40" y="341"/>
                      <a:pt x="40" y="341"/>
                    </a:cubicBezTo>
                    <a:cubicBezTo>
                      <a:pt x="39" y="337"/>
                      <a:pt x="39" y="337"/>
                      <a:pt x="39" y="337"/>
                    </a:cubicBezTo>
                    <a:cubicBezTo>
                      <a:pt x="38" y="332"/>
                      <a:pt x="38" y="332"/>
                      <a:pt x="38" y="332"/>
                    </a:cubicBezTo>
                    <a:cubicBezTo>
                      <a:pt x="37" y="329"/>
                      <a:pt x="37" y="329"/>
                      <a:pt x="37" y="329"/>
                    </a:cubicBezTo>
                    <a:cubicBezTo>
                      <a:pt x="37" y="327"/>
                      <a:pt x="37" y="327"/>
                      <a:pt x="37" y="327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9" y="323"/>
                      <a:pt x="39" y="323"/>
                      <a:pt x="39" y="323"/>
                    </a:cubicBezTo>
                    <a:cubicBezTo>
                      <a:pt x="37" y="319"/>
                      <a:pt x="37" y="319"/>
                      <a:pt x="37" y="319"/>
                    </a:cubicBezTo>
                    <a:cubicBezTo>
                      <a:pt x="34" y="317"/>
                      <a:pt x="34" y="317"/>
                      <a:pt x="34" y="317"/>
                    </a:cubicBezTo>
                    <a:cubicBezTo>
                      <a:pt x="32" y="317"/>
                      <a:pt x="32" y="317"/>
                      <a:pt x="32" y="317"/>
                    </a:cubicBezTo>
                    <a:cubicBezTo>
                      <a:pt x="31" y="317"/>
                      <a:pt x="31" y="317"/>
                      <a:pt x="31" y="317"/>
                    </a:cubicBezTo>
                    <a:cubicBezTo>
                      <a:pt x="30" y="316"/>
                      <a:pt x="30" y="316"/>
                      <a:pt x="30" y="316"/>
                    </a:cubicBezTo>
                    <a:cubicBezTo>
                      <a:pt x="31" y="314"/>
                      <a:pt x="31" y="314"/>
                      <a:pt x="31" y="314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38" y="312"/>
                      <a:pt x="38" y="312"/>
                      <a:pt x="38" y="312"/>
                    </a:cubicBezTo>
                    <a:cubicBezTo>
                      <a:pt x="37" y="309"/>
                      <a:pt x="37" y="309"/>
                      <a:pt x="37" y="309"/>
                    </a:cubicBezTo>
                    <a:cubicBezTo>
                      <a:pt x="36" y="309"/>
                      <a:pt x="36" y="309"/>
                      <a:pt x="36" y="309"/>
                    </a:cubicBezTo>
                    <a:cubicBezTo>
                      <a:pt x="35" y="310"/>
                      <a:pt x="35" y="310"/>
                      <a:pt x="35" y="310"/>
                    </a:cubicBezTo>
                    <a:cubicBezTo>
                      <a:pt x="33" y="310"/>
                      <a:pt x="33" y="310"/>
                      <a:pt x="33" y="310"/>
                    </a:cubicBezTo>
                    <a:cubicBezTo>
                      <a:pt x="32" y="305"/>
                      <a:pt x="32" y="305"/>
                      <a:pt x="32" y="305"/>
                    </a:cubicBezTo>
                    <a:cubicBezTo>
                      <a:pt x="30" y="301"/>
                      <a:pt x="30" y="301"/>
                      <a:pt x="30" y="301"/>
                    </a:cubicBezTo>
                    <a:cubicBezTo>
                      <a:pt x="30" y="298"/>
                      <a:pt x="30" y="298"/>
                      <a:pt x="30" y="298"/>
                    </a:cubicBezTo>
                    <a:cubicBezTo>
                      <a:pt x="30" y="295"/>
                      <a:pt x="30" y="295"/>
                      <a:pt x="30" y="295"/>
                    </a:cubicBezTo>
                    <a:cubicBezTo>
                      <a:pt x="27" y="294"/>
                      <a:pt x="27" y="294"/>
                      <a:pt x="27" y="294"/>
                    </a:cubicBezTo>
                    <a:cubicBezTo>
                      <a:pt x="26" y="291"/>
                      <a:pt x="26" y="291"/>
                      <a:pt x="26" y="291"/>
                    </a:cubicBezTo>
                    <a:cubicBezTo>
                      <a:pt x="26" y="283"/>
                      <a:pt x="26" y="283"/>
                      <a:pt x="26" y="283"/>
                    </a:cubicBezTo>
                    <a:cubicBezTo>
                      <a:pt x="28" y="282"/>
                      <a:pt x="28" y="282"/>
                      <a:pt x="28" y="282"/>
                    </a:cubicBezTo>
                    <a:cubicBezTo>
                      <a:pt x="28" y="279"/>
                      <a:pt x="28" y="279"/>
                      <a:pt x="28" y="279"/>
                    </a:cubicBezTo>
                    <a:cubicBezTo>
                      <a:pt x="27" y="277"/>
                      <a:pt x="27" y="277"/>
                      <a:pt x="27" y="277"/>
                    </a:cubicBezTo>
                    <a:cubicBezTo>
                      <a:pt x="26" y="276"/>
                      <a:pt x="26" y="276"/>
                      <a:pt x="26" y="276"/>
                    </a:cubicBezTo>
                    <a:cubicBezTo>
                      <a:pt x="25" y="272"/>
                      <a:pt x="25" y="272"/>
                      <a:pt x="25" y="272"/>
                    </a:cubicBezTo>
                    <a:cubicBezTo>
                      <a:pt x="24" y="265"/>
                      <a:pt x="24" y="265"/>
                      <a:pt x="24" y="265"/>
                    </a:cubicBezTo>
                    <a:cubicBezTo>
                      <a:pt x="25" y="258"/>
                      <a:pt x="25" y="258"/>
                      <a:pt x="25" y="258"/>
                    </a:cubicBezTo>
                    <a:cubicBezTo>
                      <a:pt x="23" y="255"/>
                      <a:pt x="23" y="255"/>
                      <a:pt x="23" y="255"/>
                    </a:cubicBezTo>
                    <a:cubicBezTo>
                      <a:pt x="23" y="251"/>
                      <a:pt x="23" y="251"/>
                      <a:pt x="23" y="251"/>
                    </a:cubicBezTo>
                    <a:cubicBezTo>
                      <a:pt x="26" y="246"/>
                      <a:pt x="26" y="246"/>
                      <a:pt x="26" y="246"/>
                    </a:cubicBezTo>
                    <a:cubicBezTo>
                      <a:pt x="27" y="241"/>
                      <a:pt x="27" y="241"/>
                      <a:pt x="27" y="241"/>
                    </a:cubicBezTo>
                    <a:cubicBezTo>
                      <a:pt x="30" y="240"/>
                      <a:pt x="30" y="240"/>
                      <a:pt x="30" y="240"/>
                    </a:cubicBezTo>
                    <a:cubicBezTo>
                      <a:pt x="31" y="238"/>
                      <a:pt x="31" y="238"/>
                      <a:pt x="31" y="238"/>
                    </a:cubicBezTo>
                    <a:cubicBezTo>
                      <a:pt x="25" y="226"/>
                      <a:pt x="25" y="226"/>
                      <a:pt x="25" y="226"/>
                    </a:cubicBezTo>
                    <a:cubicBezTo>
                      <a:pt x="26" y="223"/>
                      <a:pt x="26" y="223"/>
                      <a:pt x="26" y="223"/>
                    </a:cubicBezTo>
                    <a:cubicBezTo>
                      <a:pt x="26" y="220"/>
                      <a:pt x="26" y="220"/>
                      <a:pt x="26" y="220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8" y="209"/>
                      <a:pt x="28" y="209"/>
                      <a:pt x="28" y="209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30" y="203"/>
                      <a:pt x="30" y="203"/>
                      <a:pt x="30" y="203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6" y="198"/>
                      <a:pt x="26" y="198"/>
                      <a:pt x="26" y="198"/>
                    </a:cubicBezTo>
                    <a:cubicBezTo>
                      <a:pt x="29" y="195"/>
                      <a:pt x="29" y="195"/>
                      <a:pt x="29" y="195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30" y="187"/>
                      <a:pt x="30" y="187"/>
                      <a:pt x="30" y="187"/>
                    </a:cubicBezTo>
                    <a:cubicBezTo>
                      <a:pt x="31" y="186"/>
                      <a:pt x="31" y="186"/>
                      <a:pt x="31" y="186"/>
                    </a:cubicBezTo>
                    <a:cubicBezTo>
                      <a:pt x="32" y="182"/>
                      <a:pt x="32" y="182"/>
                      <a:pt x="32" y="182"/>
                    </a:cubicBezTo>
                    <a:cubicBezTo>
                      <a:pt x="31" y="174"/>
                      <a:pt x="31" y="174"/>
                      <a:pt x="31" y="174"/>
                    </a:cubicBezTo>
                    <a:cubicBezTo>
                      <a:pt x="30" y="173"/>
                      <a:pt x="30" y="173"/>
                      <a:pt x="30" y="173"/>
                    </a:cubicBezTo>
                    <a:cubicBezTo>
                      <a:pt x="29" y="167"/>
                      <a:pt x="29" y="167"/>
                      <a:pt x="29" y="167"/>
                    </a:cubicBezTo>
                    <a:cubicBezTo>
                      <a:pt x="27" y="164"/>
                      <a:pt x="27" y="164"/>
                      <a:pt x="27" y="164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24" y="158"/>
                      <a:pt x="24" y="158"/>
                      <a:pt x="24" y="158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2" y="151"/>
                      <a:pt x="22" y="151"/>
                      <a:pt x="22" y="151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5" y="146"/>
                      <a:pt x="25" y="146"/>
                      <a:pt x="25" y="146"/>
                    </a:cubicBezTo>
                    <a:cubicBezTo>
                      <a:pt x="25" y="141"/>
                      <a:pt x="25" y="141"/>
                      <a:pt x="25" y="141"/>
                    </a:cubicBezTo>
                    <a:cubicBezTo>
                      <a:pt x="26" y="139"/>
                      <a:pt x="26" y="139"/>
                      <a:pt x="26" y="139"/>
                    </a:cubicBezTo>
                    <a:cubicBezTo>
                      <a:pt x="27" y="135"/>
                      <a:pt x="27" y="135"/>
                      <a:pt x="27" y="135"/>
                    </a:cubicBezTo>
                    <a:cubicBezTo>
                      <a:pt x="25" y="131"/>
                      <a:pt x="25" y="131"/>
                      <a:pt x="25" y="131"/>
                    </a:cubicBezTo>
                    <a:cubicBezTo>
                      <a:pt x="25" y="125"/>
                      <a:pt x="25" y="125"/>
                      <a:pt x="25" y="125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27" y="117"/>
                      <a:pt x="27" y="117"/>
                      <a:pt x="27" y="117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31" y="107"/>
                      <a:pt x="31" y="107"/>
                      <a:pt x="31" y="107"/>
                    </a:cubicBezTo>
                    <a:cubicBezTo>
                      <a:pt x="34" y="105"/>
                      <a:pt x="34" y="105"/>
                      <a:pt x="34" y="105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7" y="102"/>
                      <a:pt x="37" y="102"/>
                      <a:pt x="37" y="102"/>
                    </a:cubicBezTo>
                    <a:cubicBezTo>
                      <a:pt x="36" y="101"/>
                      <a:pt x="36" y="101"/>
                      <a:pt x="36" y="101"/>
                    </a:cubicBezTo>
                    <a:cubicBezTo>
                      <a:pt x="36" y="98"/>
                      <a:pt x="36" y="98"/>
                      <a:pt x="36" y="98"/>
                    </a:cubicBezTo>
                    <a:cubicBezTo>
                      <a:pt x="35" y="97"/>
                      <a:pt x="35" y="97"/>
                      <a:pt x="35" y="97"/>
                    </a:cubicBezTo>
                    <a:cubicBezTo>
                      <a:pt x="34" y="96"/>
                      <a:pt x="34" y="96"/>
                      <a:pt x="34" y="96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36" y="90"/>
                      <a:pt x="36" y="90"/>
                      <a:pt x="36" y="90"/>
                    </a:cubicBezTo>
                    <a:cubicBezTo>
                      <a:pt x="34" y="87"/>
                      <a:pt x="34" y="87"/>
                      <a:pt x="34" y="8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4" y="80"/>
                      <a:pt x="34" y="80"/>
                      <a:pt x="34" y="80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44" y="69"/>
                      <a:pt x="44" y="69"/>
                      <a:pt x="44" y="69"/>
                    </a:cubicBezTo>
                    <a:cubicBezTo>
                      <a:pt x="47" y="58"/>
                      <a:pt x="47" y="58"/>
                      <a:pt x="47" y="58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43" y="57"/>
                      <a:pt x="43" y="57"/>
                      <a:pt x="43" y="57"/>
                    </a:cubicBezTo>
                    <a:cubicBezTo>
                      <a:pt x="41" y="57"/>
                      <a:pt x="41" y="57"/>
                      <a:pt x="41" y="57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29" y="33"/>
                      <a:pt x="29" y="33"/>
                      <a:pt x="29" y="33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3" y="59"/>
                      <a:pt x="13" y="59"/>
                      <a:pt x="13" y="59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3" y="66"/>
                      <a:pt x="13" y="66"/>
                      <a:pt x="13" y="66"/>
                    </a:cubicBezTo>
                    <a:cubicBezTo>
                      <a:pt x="13" y="76"/>
                      <a:pt x="13" y="76"/>
                      <a:pt x="13" y="76"/>
                    </a:cubicBezTo>
                    <a:cubicBezTo>
                      <a:pt x="14" y="80"/>
                      <a:pt x="14" y="80"/>
                      <a:pt x="14" y="80"/>
                    </a:cubicBezTo>
                    <a:cubicBezTo>
                      <a:pt x="15" y="83"/>
                      <a:pt x="15" y="83"/>
                      <a:pt x="15" y="83"/>
                    </a:cubicBezTo>
                    <a:cubicBezTo>
                      <a:pt x="14" y="86"/>
                      <a:pt x="14" y="86"/>
                      <a:pt x="14" y="86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91"/>
                      <a:pt x="13" y="91"/>
                      <a:pt x="13" y="91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4" y="102"/>
                      <a:pt x="14" y="102"/>
                      <a:pt x="14" y="102"/>
                    </a:cubicBezTo>
                    <a:cubicBezTo>
                      <a:pt x="13" y="103"/>
                      <a:pt x="13" y="103"/>
                      <a:pt x="13" y="103"/>
                    </a:cubicBezTo>
                    <a:cubicBezTo>
                      <a:pt x="13" y="106"/>
                      <a:pt x="13" y="106"/>
                      <a:pt x="13" y="106"/>
                    </a:cubicBezTo>
                    <a:cubicBezTo>
                      <a:pt x="13" y="108"/>
                      <a:pt x="13" y="108"/>
                      <a:pt x="13" y="108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2" y="111"/>
                      <a:pt x="12" y="111"/>
                      <a:pt x="12" y="111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5"/>
                      <a:pt x="11" y="115"/>
                      <a:pt x="11" y="115"/>
                    </a:cubicBezTo>
                    <a:cubicBezTo>
                      <a:pt x="11" y="119"/>
                      <a:pt x="11" y="119"/>
                      <a:pt x="11" y="119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9" y="125"/>
                      <a:pt x="9" y="125"/>
                      <a:pt x="9" y="125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2" y="133"/>
                      <a:pt x="12" y="133"/>
                      <a:pt x="12" y="133"/>
                    </a:cubicBezTo>
                    <a:cubicBezTo>
                      <a:pt x="11" y="134"/>
                      <a:pt x="11" y="134"/>
                      <a:pt x="11" y="134"/>
                    </a:cubicBezTo>
                    <a:cubicBezTo>
                      <a:pt x="10" y="136"/>
                      <a:pt x="10" y="136"/>
                      <a:pt x="10" y="136"/>
                    </a:cubicBezTo>
                    <a:cubicBezTo>
                      <a:pt x="11" y="138"/>
                      <a:pt x="11" y="138"/>
                      <a:pt x="11" y="138"/>
                    </a:cubicBezTo>
                    <a:cubicBezTo>
                      <a:pt x="10" y="139"/>
                      <a:pt x="10" y="139"/>
                      <a:pt x="10" y="139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9"/>
                      <a:pt x="11" y="159"/>
                      <a:pt x="11" y="159"/>
                    </a:cubicBezTo>
                    <a:cubicBezTo>
                      <a:pt x="13" y="162"/>
                      <a:pt x="13" y="162"/>
                      <a:pt x="13" y="162"/>
                    </a:cubicBezTo>
                    <a:cubicBezTo>
                      <a:pt x="13" y="165"/>
                      <a:pt x="13" y="165"/>
                      <a:pt x="13" y="165"/>
                    </a:cubicBezTo>
                    <a:cubicBezTo>
                      <a:pt x="12" y="168"/>
                      <a:pt x="12" y="168"/>
                      <a:pt x="12" y="168"/>
                    </a:cubicBezTo>
                    <a:cubicBezTo>
                      <a:pt x="12" y="169"/>
                      <a:pt x="12" y="169"/>
                      <a:pt x="12" y="169"/>
                    </a:cubicBezTo>
                    <a:cubicBezTo>
                      <a:pt x="13" y="170"/>
                      <a:pt x="13" y="170"/>
                      <a:pt x="13" y="170"/>
                    </a:cubicBezTo>
                    <a:cubicBezTo>
                      <a:pt x="13" y="172"/>
                      <a:pt x="13" y="172"/>
                      <a:pt x="13" y="172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3" y="175"/>
                      <a:pt x="13" y="175"/>
                      <a:pt x="13" y="175"/>
                    </a:cubicBezTo>
                    <a:cubicBezTo>
                      <a:pt x="15" y="178"/>
                      <a:pt x="15" y="178"/>
                      <a:pt x="15" y="178"/>
                    </a:cubicBezTo>
                    <a:cubicBezTo>
                      <a:pt x="15" y="179"/>
                      <a:pt x="15" y="179"/>
                      <a:pt x="15" y="179"/>
                    </a:cubicBezTo>
                    <a:cubicBezTo>
                      <a:pt x="14" y="181"/>
                      <a:pt x="14" y="181"/>
                      <a:pt x="14" y="181"/>
                    </a:cubicBezTo>
                    <a:cubicBezTo>
                      <a:pt x="13" y="182"/>
                      <a:pt x="13" y="182"/>
                      <a:pt x="13" y="182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11" y="186"/>
                      <a:pt x="11" y="186"/>
                      <a:pt x="11" y="186"/>
                    </a:cubicBezTo>
                    <a:cubicBezTo>
                      <a:pt x="12" y="187"/>
                      <a:pt x="12" y="187"/>
                      <a:pt x="12" y="187"/>
                    </a:cubicBezTo>
                    <a:cubicBezTo>
                      <a:pt x="11" y="189"/>
                      <a:pt x="11" y="189"/>
                      <a:pt x="11" y="189"/>
                    </a:cubicBezTo>
                    <a:cubicBezTo>
                      <a:pt x="10" y="190"/>
                      <a:pt x="10" y="190"/>
                      <a:pt x="10" y="190"/>
                    </a:cubicBezTo>
                    <a:cubicBezTo>
                      <a:pt x="10" y="192"/>
                      <a:pt x="10" y="192"/>
                      <a:pt x="10" y="192"/>
                    </a:cubicBezTo>
                    <a:cubicBezTo>
                      <a:pt x="10" y="195"/>
                      <a:pt x="10" y="195"/>
                      <a:pt x="10" y="195"/>
                    </a:cubicBezTo>
                    <a:cubicBezTo>
                      <a:pt x="9" y="197"/>
                      <a:pt x="9" y="197"/>
                      <a:pt x="9" y="197"/>
                    </a:cubicBezTo>
                    <a:cubicBezTo>
                      <a:pt x="9" y="198"/>
                      <a:pt x="9" y="198"/>
                      <a:pt x="9" y="198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2"/>
                      <a:pt x="9" y="202"/>
                      <a:pt x="9" y="202"/>
                    </a:cubicBezTo>
                    <a:cubicBezTo>
                      <a:pt x="7" y="203"/>
                      <a:pt x="7" y="203"/>
                      <a:pt x="7" y="203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8" y="205"/>
                      <a:pt x="8" y="205"/>
                      <a:pt x="8" y="205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10"/>
                      <a:pt x="7" y="210"/>
                      <a:pt x="7" y="210"/>
                    </a:cubicBezTo>
                    <a:cubicBezTo>
                      <a:pt x="7" y="211"/>
                      <a:pt x="7" y="211"/>
                      <a:pt x="7" y="211"/>
                    </a:cubicBezTo>
                    <a:cubicBezTo>
                      <a:pt x="6" y="212"/>
                      <a:pt x="6" y="212"/>
                      <a:pt x="6" y="212"/>
                    </a:cubicBezTo>
                    <a:cubicBezTo>
                      <a:pt x="6" y="214"/>
                      <a:pt x="6" y="214"/>
                      <a:pt x="6" y="214"/>
                    </a:cubicBezTo>
                    <a:cubicBezTo>
                      <a:pt x="5" y="215"/>
                      <a:pt x="5" y="215"/>
                      <a:pt x="5" y="215"/>
                    </a:cubicBezTo>
                    <a:cubicBezTo>
                      <a:pt x="5" y="217"/>
                      <a:pt x="5" y="217"/>
                      <a:pt x="5" y="217"/>
                    </a:cubicBezTo>
                    <a:cubicBezTo>
                      <a:pt x="5" y="218"/>
                      <a:pt x="5" y="218"/>
                      <a:pt x="5" y="218"/>
                    </a:cubicBezTo>
                    <a:cubicBezTo>
                      <a:pt x="5" y="220"/>
                      <a:pt x="5" y="220"/>
                      <a:pt x="5" y="220"/>
                    </a:cubicBezTo>
                    <a:cubicBezTo>
                      <a:pt x="4" y="222"/>
                      <a:pt x="4" y="222"/>
                      <a:pt x="4" y="222"/>
                    </a:cubicBezTo>
                    <a:cubicBezTo>
                      <a:pt x="3" y="222"/>
                      <a:pt x="3" y="222"/>
                      <a:pt x="3" y="222"/>
                    </a:cubicBezTo>
                    <a:cubicBezTo>
                      <a:pt x="2" y="221"/>
                      <a:pt x="2" y="221"/>
                      <a:pt x="2" y="221"/>
                    </a:cubicBezTo>
                    <a:cubicBezTo>
                      <a:pt x="1" y="221"/>
                      <a:pt x="1" y="221"/>
                      <a:pt x="1" y="221"/>
                    </a:cubicBezTo>
                    <a:cubicBezTo>
                      <a:pt x="0" y="223"/>
                      <a:pt x="0" y="223"/>
                      <a:pt x="0" y="223"/>
                    </a:cubicBezTo>
                    <a:cubicBezTo>
                      <a:pt x="1" y="225"/>
                      <a:pt x="1" y="225"/>
                      <a:pt x="1" y="225"/>
                    </a:cubicBezTo>
                    <a:cubicBezTo>
                      <a:pt x="1" y="228"/>
                      <a:pt x="1" y="228"/>
                      <a:pt x="1" y="228"/>
                    </a:cubicBezTo>
                    <a:cubicBezTo>
                      <a:pt x="2" y="230"/>
                      <a:pt x="2" y="230"/>
                      <a:pt x="2" y="230"/>
                    </a:cubicBezTo>
                    <a:cubicBezTo>
                      <a:pt x="4" y="232"/>
                      <a:pt x="4" y="232"/>
                      <a:pt x="4" y="232"/>
                    </a:cubicBezTo>
                    <a:cubicBezTo>
                      <a:pt x="5" y="234"/>
                      <a:pt x="5" y="234"/>
                      <a:pt x="5" y="234"/>
                    </a:cubicBezTo>
                    <a:cubicBezTo>
                      <a:pt x="4" y="236"/>
                      <a:pt x="4" y="236"/>
                      <a:pt x="4" y="236"/>
                    </a:cubicBezTo>
                    <a:cubicBezTo>
                      <a:pt x="7" y="241"/>
                      <a:pt x="7" y="241"/>
                      <a:pt x="7" y="241"/>
                    </a:cubicBezTo>
                    <a:cubicBezTo>
                      <a:pt x="8" y="243"/>
                      <a:pt x="8" y="243"/>
                      <a:pt x="8" y="243"/>
                    </a:cubicBezTo>
                    <a:cubicBezTo>
                      <a:pt x="9" y="244"/>
                      <a:pt x="9" y="244"/>
                      <a:pt x="9" y="244"/>
                    </a:cubicBezTo>
                    <a:cubicBezTo>
                      <a:pt x="9" y="247"/>
                      <a:pt x="9" y="247"/>
                      <a:pt x="9" y="247"/>
                    </a:cubicBezTo>
                    <a:cubicBezTo>
                      <a:pt x="8" y="252"/>
                      <a:pt x="8" y="252"/>
                      <a:pt x="8" y="252"/>
                    </a:cubicBezTo>
                    <a:cubicBezTo>
                      <a:pt x="7" y="252"/>
                      <a:pt x="7" y="252"/>
                      <a:pt x="7" y="252"/>
                    </a:cubicBezTo>
                    <a:cubicBezTo>
                      <a:pt x="8" y="254"/>
                      <a:pt x="8" y="254"/>
                      <a:pt x="8" y="254"/>
                    </a:cubicBezTo>
                    <a:cubicBezTo>
                      <a:pt x="7" y="255"/>
                      <a:pt x="7" y="255"/>
                      <a:pt x="7" y="255"/>
                    </a:cubicBezTo>
                    <a:cubicBezTo>
                      <a:pt x="7" y="255"/>
                      <a:pt x="7" y="255"/>
                      <a:pt x="7" y="255"/>
                    </a:cubicBezTo>
                    <a:cubicBezTo>
                      <a:pt x="6" y="255"/>
                      <a:pt x="6" y="255"/>
                      <a:pt x="6" y="255"/>
                    </a:cubicBezTo>
                    <a:cubicBezTo>
                      <a:pt x="5" y="257"/>
                      <a:pt x="5" y="257"/>
                      <a:pt x="5" y="257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7" y="259"/>
                      <a:pt x="7" y="259"/>
                      <a:pt x="7" y="259"/>
                    </a:cubicBezTo>
                    <a:cubicBezTo>
                      <a:pt x="6" y="264"/>
                      <a:pt x="6" y="264"/>
                      <a:pt x="6" y="264"/>
                    </a:cubicBezTo>
                    <a:cubicBezTo>
                      <a:pt x="6" y="265"/>
                      <a:pt x="6" y="265"/>
                      <a:pt x="6" y="265"/>
                    </a:cubicBezTo>
                    <a:cubicBezTo>
                      <a:pt x="5" y="266"/>
                      <a:pt x="5" y="266"/>
                      <a:pt x="5" y="266"/>
                    </a:cubicBezTo>
                    <a:cubicBezTo>
                      <a:pt x="6" y="267"/>
                      <a:pt x="6" y="267"/>
                      <a:pt x="6" y="267"/>
                    </a:cubicBezTo>
                    <a:cubicBezTo>
                      <a:pt x="6" y="269"/>
                      <a:pt x="6" y="269"/>
                      <a:pt x="6" y="269"/>
                    </a:cubicBezTo>
                    <a:cubicBezTo>
                      <a:pt x="5" y="269"/>
                      <a:pt x="5" y="269"/>
                      <a:pt x="5" y="269"/>
                    </a:cubicBezTo>
                    <a:cubicBezTo>
                      <a:pt x="6" y="270"/>
                      <a:pt x="6" y="270"/>
                      <a:pt x="6" y="270"/>
                    </a:cubicBezTo>
                    <a:cubicBezTo>
                      <a:pt x="9" y="275"/>
                      <a:pt x="9" y="275"/>
                      <a:pt x="9" y="275"/>
                    </a:cubicBezTo>
                    <a:cubicBezTo>
                      <a:pt x="10" y="276"/>
                      <a:pt x="10" y="276"/>
                      <a:pt x="10" y="276"/>
                    </a:cubicBezTo>
                    <a:cubicBezTo>
                      <a:pt x="10" y="278"/>
                      <a:pt x="10" y="278"/>
                      <a:pt x="10" y="278"/>
                    </a:cubicBezTo>
                    <a:cubicBezTo>
                      <a:pt x="13" y="279"/>
                      <a:pt x="13" y="279"/>
                      <a:pt x="13" y="279"/>
                    </a:cubicBezTo>
                    <a:cubicBezTo>
                      <a:pt x="16" y="278"/>
                      <a:pt x="16" y="278"/>
                      <a:pt x="16" y="278"/>
                    </a:cubicBezTo>
                    <a:cubicBezTo>
                      <a:pt x="16" y="275"/>
                      <a:pt x="16" y="275"/>
                      <a:pt x="16" y="275"/>
                    </a:cubicBezTo>
                    <a:cubicBezTo>
                      <a:pt x="17" y="275"/>
                      <a:pt x="17" y="275"/>
                      <a:pt x="17" y="275"/>
                    </a:cubicBezTo>
                    <a:cubicBezTo>
                      <a:pt x="18" y="275"/>
                      <a:pt x="18" y="275"/>
                      <a:pt x="18" y="275"/>
                    </a:cubicBezTo>
                    <a:cubicBezTo>
                      <a:pt x="20" y="277"/>
                      <a:pt x="20" y="277"/>
                      <a:pt x="20" y="277"/>
                    </a:cubicBezTo>
                    <a:cubicBezTo>
                      <a:pt x="20" y="276"/>
                      <a:pt x="20" y="276"/>
                      <a:pt x="20" y="276"/>
                    </a:cubicBezTo>
                    <a:cubicBezTo>
                      <a:pt x="22" y="276"/>
                      <a:pt x="22" y="276"/>
                      <a:pt x="22" y="276"/>
                    </a:cubicBezTo>
                    <a:cubicBezTo>
                      <a:pt x="21" y="277"/>
                      <a:pt x="21" y="277"/>
                      <a:pt x="21" y="277"/>
                    </a:cubicBezTo>
                    <a:cubicBezTo>
                      <a:pt x="19" y="279"/>
                      <a:pt x="19" y="279"/>
                      <a:pt x="19" y="279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81"/>
                      <a:pt x="20" y="281"/>
                      <a:pt x="20" y="281"/>
                    </a:cubicBezTo>
                    <a:cubicBezTo>
                      <a:pt x="21" y="281"/>
                      <a:pt x="21" y="281"/>
                      <a:pt x="21" y="281"/>
                    </a:cubicBezTo>
                    <a:cubicBezTo>
                      <a:pt x="22" y="282"/>
                      <a:pt x="22" y="282"/>
                      <a:pt x="22" y="282"/>
                    </a:cubicBezTo>
                    <a:cubicBezTo>
                      <a:pt x="22" y="286"/>
                      <a:pt x="22" y="286"/>
                      <a:pt x="22" y="286"/>
                    </a:cubicBezTo>
                    <a:cubicBezTo>
                      <a:pt x="23" y="287"/>
                      <a:pt x="23" y="287"/>
                      <a:pt x="23" y="287"/>
                    </a:cubicBezTo>
                    <a:cubicBezTo>
                      <a:pt x="22" y="287"/>
                      <a:pt x="22" y="287"/>
                      <a:pt x="22" y="287"/>
                    </a:cubicBezTo>
                    <a:cubicBezTo>
                      <a:pt x="21" y="286"/>
                      <a:pt x="21" y="286"/>
                      <a:pt x="21" y="286"/>
                    </a:cubicBezTo>
                    <a:cubicBezTo>
                      <a:pt x="21" y="285"/>
                      <a:pt x="21" y="285"/>
                      <a:pt x="21" y="285"/>
                    </a:cubicBezTo>
                    <a:cubicBezTo>
                      <a:pt x="19" y="284"/>
                      <a:pt x="19" y="284"/>
                      <a:pt x="19" y="284"/>
                    </a:cubicBezTo>
                    <a:cubicBezTo>
                      <a:pt x="19" y="285"/>
                      <a:pt x="19" y="285"/>
                      <a:pt x="19" y="285"/>
                    </a:cubicBezTo>
                    <a:cubicBezTo>
                      <a:pt x="19" y="286"/>
                      <a:pt x="19" y="286"/>
                      <a:pt x="19" y="286"/>
                    </a:cubicBezTo>
                    <a:cubicBezTo>
                      <a:pt x="21" y="287"/>
                      <a:pt x="21" y="287"/>
                      <a:pt x="21" y="287"/>
                    </a:cubicBezTo>
                    <a:cubicBezTo>
                      <a:pt x="21" y="288"/>
                      <a:pt x="21" y="288"/>
                      <a:pt x="21" y="288"/>
                    </a:cubicBezTo>
                    <a:cubicBezTo>
                      <a:pt x="20" y="289"/>
                      <a:pt x="20" y="289"/>
                      <a:pt x="20" y="289"/>
                    </a:cubicBezTo>
                    <a:cubicBezTo>
                      <a:pt x="19" y="290"/>
                      <a:pt x="19" y="290"/>
                      <a:pt x="19" y="290"/>
                    </a:cubicBezTo>
                    <a:cubicBezTo>
                      <a:pt x="19" y="292"/>
                      <a:pt x="19" y="292"/>
                      <a:pt x="19" y="292"/>
                    </a:cubicBezTo>
                    <a:cubicBezTo>
                      <a:pt x="21" y="294"/>
                      <a:pt x="21" y="294"/>
                      <a:pt x="21" y="294"/>
                    </a:cubicBezTo>
                    <a:cubicBezTo>
                      <a:pt x="19" y="295"/>
                      <a:pt x="19" y="295"/>
                      <a:pt x="19" y="295"/>
                    </a:cubicBezTo>
                    <a:cubicBezTo>
                      <a:pt x="19" y="297"/>
                      <a:pt x="19" y="297"/>
                      <a:pt x="19" y="297"/>
                    </a:cubicBezTo>
                    <a:cubicBezTo>
                      <a:pt x="20" y="297"/>
                      <a:pt x="20" y="297"/>
                      <a:pt x="20" y="297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19" y="300"/>
                      <a:pt x="19" y="300"/>
                      <a:pt x="19" y="300"/>
                    </a:cubicBezTo>
                    <a:cubicBezTo>
                      <a:pt x="21" y="301"/>
                      <a:pt x="21" y="301"/>
                      <a:pt x="21" y="301"/>
                    </a:cubicBezTo>
                    <a:cubicBezTo>
                      <a:pt x="20" y="303"/>
                      <a:pt x="20" y="303"/>
                      <a:pt x="20" y="303"/>
                    </a:cubicBezTo>
                    <a:cubicBezTo>
                      <a:pt x="20" y="305"/>
                      <a:pt x="20" y="305"/>
                      <a:pt x="20" y="305"/>
                    </a:cubicBezTo>
                    <a:cubicBezTo>
                      <a:pt x="19" y="307"/>
                      <a:pt x="19" y="307"/>
                      <a:pt x="19" y="307"/>
                    </a:cubicBezTo>
                    <a:cubicBezTo>
                      <a:pt x="18" y="308"/>
                      <a:pt x="18" y="308"/>
                      <a:pt x="18" y="308"/>
                    </a:cubicBezTo>
                    <a:cubicBezTo>
                      <a:pt x="19" y="309"/>
                      <a:pt x="19" y="309"/>
                      <a:pt x="19" y="309"/>
                    </a:cubicBezTo>
                    <a:cubicBezTo>
                      <a:pt x="21" y="309"/>
                      <a:pt x="21" y="309"/>
                      <a:pt x="21" y="309"/>
                    </a:cubicBezTo>
                    <a:cubicBezTo>
                      <a:pt x="22" y="310"/>
                      <a:pt x="22" y="310"/>
                      <a:pt x="22" y="310"/>
                    </a:cubicBezTo>
                    <a:cubicBezTo>
                      <a:pt x="23" y="312"/>
                      <a:pt x="23" y="312"/>
                      <a:pt x="23" y="312"/>
                    </a:cubicBezTo>
                    <a:cubicBezTo>
                      <a:pt x="24" y="312"/>
                      <a:pt x="24" y="312"/>
                      <a:pt x="24" y="312"/>
                    </a:cubicBezTo>
                    <a:cubicBezTo>
                      <a:pt x="25" y="313"/>
                      <a:pt x="25" y="313"/>
                      <a:pt x="25" y="313"/>
                    </a:cubicBezTo>
                    <a:cubicBezTo>
                      <a:pt x="25" y="317"/>
                      <a:pt x="25" y="317"/>
                      <a:pt x="25" y="317"/>
                    </a:cubicBezTo>
                    <a:cubicBezTo>
                      <a:pt x="24" y="319"/>
                      <a:pt x="24" y="319"/>
                      <a:pt x="24" y="319"/>
                    </a:cubicBezTo>
                    <a:cubicBezTo>
                      <a:pt x="21" y="320"/>
                      <a:pt x="21" y="320"/>
                      <a:pt x="21" y="320"/>
                    </a:cubicBezTo>
                    <a:cubicBezTo>
                      <a:pt x="20" y="320"/>
                      <a:pt x="20" y="320"/>
                      <a:pt x="20" y="320"/>
                    </a:cubicBezTo>
                    <a:cubicBezTo>
                      <a:pt x="20" y="322"/>
                      <a:pt x="20" y="322"/>
                      <a:pt x="20" y="322"/>
                    </a:cubicBezTo>
                    <a:cubicBezTo>
                      <a:pt x="20" y="324"/>
                      <a:pt x="20" y="324"/>
                      <a:pt x="20" y="324"/>
                    </a:cubicBezTo>
                    <a:cubicBezTo>
                      <a:pt x="20" y="325"/>
                      <a:pt x="20" y="325"/>
                      <a:pt x="20" y="325"/>
                    </a:cubicBezTo>
                    <a:cubicBezTo>
                      <a:pt x="20" y="327"/>
                      <a:pt x="20" y="327"/>
                      <a:pt x="20" y="327"/>
                    </a:cubicBezTo>
                    <a:cubicBezTo>
                      <a:pt x="21" y="327"/>
                      <a:pt x="21" y="327"/>
                      <a:pt x="21" y="327"/>
                    </a:cubicBezTo>
                    <a:cubicBezTo>
                      <a:pt x="19" y="329"/>
                      <a:pt x="19" y="329"/>
                      <a:pt x="19" y="329"/>
                    </a:cubicBezTo>
                    <a:cubicBezTo>
                      <a:pt x="18" y="332"/>
                      <a:pt x="18" y="332"/>
                      <a:pt x="18" y="332"/>
                    </a:cubicBezTo>
                    <a:cubicBezTo>
                      <a:pt x="18" y="334"/>
                      <a:pt x="18" y="334"/>
                      <a:pt x="18" y="334"/>
                    </a:cubicBezTo>
                    <a:cubicBezTo>
                      <a:pt x="19" y="335"/>
                      <a:pt x="19" y="335"/>
                      <a:pt x="19" y="335"/>
                    </a:cubicBezTo>
                    <a:cubicBezTo>
                      <a:pt x="19" y="336"/>
                      <a:pt x="19" y="336"/>
                      <a:pt x="19" y="336"/>
                    </a:cubicBezTo>
                    <a:cubicBezTo>
                      <a:pt x="19" y="339"/>
                      <a:pt x="19" y="339"/>
                      <a:pt x="19" y="339"/>
                    </a:cubicBezTo>
                    <a:cubicBezTo>
                      <a:pt x="17" y="340"/>
                      <a:pt x="17" y="340"/>
                      <a:pt x="17" y="340"/>
                    </a:cubicBezTo>
                    <a:cubicBezTo>
                      <a:pt x="17" y="342"/>
                      <a:pt x="17" y="342"/>
                      <a:pt x="17" y="342"/>
                    </a:cubicBezTo>
                    <a:cubicBezTo>
                      <a:pt x="16" y="341"/>
                      <a:pt x="16" y="341"/>
                      <a:pt x="16" y="341"/>
                    </a:cubicBezTo>
                    <a:cubicBezTo>
                      <a:pt x="17" y="340"/>
                      <a:pt x="17" y="340"/>
                      <a:pt x="17" y="340"/>
                    </a:cubicBezTo>
                    <a:cubicBezTo>
                      <a:pt x="17" y="337"/>
                      <a:pt x="17" y="337"/>
                      <a:pt x="17" y="337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17" y="334"/>
                      <a:pt x="17" y="334"/>
                      <a:pt x="17" y="334"/>
                    </a:cubicBezTo>
                    <a:cubicBezTo>
                      <a:pt x="17" y="334"/>
                      <a:pt x="17" y="334"/>
                      <a:pt x="17" y="334"/>
                    </a:cubicBezTo>
                    <a:cubicBezTo>
                      <a:pt x="14" y="335"/>
                      <a:pt x="14" y="335"/>
                      <a:pt x="14" y="335"/>
                    </a:cubicBezTo>
                    <a:cubicBezTo>
                      <a:pt x="12" y="336"/>
                      <a:pt x="12" y="336"/>
                      <a:pt x="12" y="336"/>
                    </a:cubicBezTo>
                    <a:cubicBezTo>
                      <a:pt x="11" y="336"/>
                      <a:pt x="11" y="336"/>
                      <a:pt x="11" y="336"/>
                    </a:cubicBezTo>
                    <a:cubicBezTo>
                      <a:pt x="11" y="335"/>
                      <a:pt x="11" y="335"/>
                      <a:pt x="11" y="335"/>
                    </a:cubicBezTo>
                    <a:cubicBezTo>
                      <a:pt x="13" y="334"/>
                      <a:pt x="13" y="334"/>
                      <a:pt x="13" y="334"/>
                    </a:cubicBezTo>
                    <a:cubicBezTo>
                      <a:pt x="14" y="334"/>
                      <a:pt x="14" y="334"/>
                      <a:pt x="14" y="334"/>
                    </a:cubicBezTo>
                    <a:cubicBezTo>
                      <a:pt x="14" y="331"/>
                      <a:pt x="14" y="331"/>
                      <a:pt x="14" y="331"/>
                    </a:cubicBezTo>
                    <a:cubicBezTo>
                      <a:pt x="13" y="330"/>
                      <a:pt x="13" y="330"/>
                      <a:pt x="13" y="330"/>
                    </a:cubicBezTo>
                    <a:cubicBezTo>
                      <a:pt x="12" y="331"/>
                      <a:pt x="12" y="331"/>
                      <a:pt x="12" y="331"/>
                    </a:cubicBezTo>
                    <a:cubicBezTo>
                      <a:pt x="8" y="331"/>
                      <a:pt x="8" y="331"/>
                      <a:pt x="8" y="331"/>
                    </a:cubicBezTo>
                    <a:cubicBezTo>
                      <a:pt x="7" y="331"/>
                      <a:pt x="7" y="331"/>
                      <a:pt x="7" y="331"/>
                    </a:cubicBezTo>
                    <a:cubicBezTo>
                      <a:pt x="6" y="331"/>
                      <a:pt x="6" y="331"/>
                      <a:pt x="6" y="331"/>
                    </a:cubicBezTo>
                    <a:cubicBezTo>
                      <a:pt x="6" y="332"/>
                      <a:pt x="6" y="332"/>
                      <a:pt x="6" y="332"/>
                    </a:cubicBezTo>
                    <a:cubicBezTo>
                      <a:pt x="7" y="334"/>
                      <a:pt x="7" y="334"/>
                      <a:pt x="7" y="334"/>
                    </a:cubicBezTo>
                    <a:cubicBezTo>
                      <a:pt x="7" y="334"/>
                      <a:pt x="7" y="334"/>
                      <a:pt x="7" y="334"/>
                    </a:cubicBezTo>
                    <a:cubicBezTo>
                      <a:pt x="8" y="336"/>
                      <a:pt x="8" y="336"/>
                      <a:pt x="8" y="336"/>
                    </a:cubicBezTo>
                    <a:cubicBezTo>
                      <a:pt x="7" y="336"/>
                      <a:pt x="7" y="336"/>
                      <a:pt x="7" y="336"/>
                    </a:cubicBezTo>
                    <a:cubicBezTo>
                      <a:pt x="6" y="338"/>
                      <a:pt x="6" y="338"/>
                      <a:pt x="6" y="338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4" y="341"/>
                      <a:pt x="4" y="341"/>
                      <a:pt x="4" y="341"/>
                    </a:cubicBezTo>
                    <a:cubicBezTo>
                      <a:pt x="1" y="342"/>
                      <a:pt x="1" y="342"/>
                      <a:pt x="1" y="342"/>
                    </a:cubicBezTo>
                    <a:cubicBezTo>
                      <a:pt x="1" y="344"/>
                      <a:pt x="1" y="344"/>
                      <a:pt x="1" y="344"/>
                    </a:cubicBezTo>
                    <a:cubicBezTo>
                      <a:pt x="4" y="347"/>
                      <a:pt x="4" y="347"/>
                      <a:pt x="4" y="347"/>
                    </a:cubicBezTo>
                    <a:cubicBezTo>
                      <a:pt x="5" y="347"/>
                      <a:pt x="5" y="347"/>
                      <a:pt x="5" y="347"/>
                    </a:cubicBezTo>
                    <a:cubicBezTo>
                      <a:pt x="6" y="346"/>
                      <a:pt x="6" y="346"/>
                      <a:pt x="6" y="346"/>
                    </a:cubicBezTo>
                    <a:cubicBezTo>
                      <a:pt x="6" y="345"/>
                      <a:pt x="6" y="345"/>
                      <a:pt x="6" y="345"/>
                    </a:cubicBezTo>
                    <a:cubicBezTo>
                      <a:pt x="4" y="344"/>
                      <a:pt x="4" y="344"/>
                      <a:pt x="4" y="344"/>
                    </a:cubicBezTo>
                    <a:cubicBezTo>
                      <a:pt x="4" y="343"/>
                      <a:pt x="4" y="343"/>
                      <a:pt x="4" y="343"/>
                    </a:cubicBezTo>
                    <a:cubicBezTo>
                      <a:pt x="5" y="341"/>
                      <a:pt x="5" y="341"/>
                      <a:pt x="5" y="341"/>
                    </a:cubicBezTo>
                    <a:cubicBezTo>
                      <a:pt x="7" y="341"/>
                      <a:pt x="7" y="341"/>
                      <a:pt x="7" y="341"/>
                    </a:cubicBezTo>
                    <a:cubicBezTo>
                      <a:pt x="8" y="340"/>
                      <a:pt x="8" y="340"/>
                      <a:pt x="8" y="340"/>
                    </a:cubicBezTo>
                    <a:cubicBezTo>
                      <a:pt x="8" y="343"/>
                      <a:pt x="8" y="343"/>
                      <a:pt x="8" y="343"/>
                    </a:cubicBezTo>
                    <a:cubicBezTo>
                      <a:pt x="10" y="344"/>
                      <a:pt x="10" y="344"/>
                      <a:pt x="10" y="344"/>
                    </a:cubicBezTo>
                    <a:cubicBezTo>
                      <a:pt x="12" y="344"/>
                      <a:pt x="12" y="344"/>
                      <a:pt x="12" y="344"/>
                    </a:cubicBezTo>
                    <a:cubicBezTo>
                      <a:pt x="13" y="343"/>
                      <a:pt x="13" y="343"/>
                      <a:pt x="13" y="343"/>
                    </a:cubicBezTo>
                    <a:cubicBezTo>
                      <a:pt x="14" y="343"/>
                      <a:pt x="14" y="343"/>
                      <a:pt x="14" y="343"/>
                    </a:cubicBezTo>
                    <a:cubicBezTo>
                      <a:pt x="15" y="344"/>
                      <a:pt x="15" y="344"/>
                      <a:pt x="15" y="344"/>
                    </a:cubicBezTo>
                    <a:cubicBezTo>
                      <a:pt x="18" y="346"/>
                      <a:pt x="18" y="346"/>
                      <a:pt x="18" y="346"/>
                    </a:cubicBezTo>
                    <a:cubicBezTo>
                      <a:pt x="19" y="347"/>
                      <a:pt x="19" y="347"/>
                      <a:pt x="19" y="347"/>
                    </a:cubicBezTo>
                    <a:cubicBezTo>
                      <a:pt x="18" y="347"/>
                      <a:pt x="18" y="347"/>
                      <a:pt x="18" y="347"/>
                    </a:cubicBezTo>
                    <a:cubicBezTo>
                      <a:pt x="17" y="348"/>
                      <a:pt x="17" y="348"/>
                      <a:pt x="17" y="348"/>
                    </a:cubicBezTo>
                    <a:cubicBezTo>
                      <a:pt x="18" y="349"/>
                      <a:pt x="18" y="349"/>
                      <a:pt x="18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6" y="351"/>
                      <a:pt x="16" y="351"/>
                      <a:pt x="16" y="351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9" y="354"/>
                      <a:pt x="19" y="354"/>
                      <a:pt x="19" y="354"/>
                    </a:cubicBezTo>
                    <a:cubicBezTo>
                      <a:pt x="18" y="354"/>
                      <a:pt x="18" y="354"/>
                      <a:pt x="18" y="354"/>
                    </a:cubicBezTo>
                    <a:cubicBezTo>
                      <a:pt x="16" y="354"/>
                      <a:pt x="16" y="354"/>
                      <a:pt x="16" y="354"/>
                    </a:cubicBezTo>
                    <a:cubicBezTo>
                      <a:pt x="16" y="353"/>
                      <a:pt x="16" y="353"/>
                      <a:pt x="16" y="353"/>
                    </a:cubicBezTo>
                    <a:cubicBezTo>
                      <a:pt x="15" y="353"/>
                      <a:pt x="15" y="353"/>
                      <a:pt x="15" y="353"/>
                    </a:cubicBezTo>
                    <a:cubicBezTo>
                      <a:pt x="15" y="354"/>
                      <a:pt x="15" y="354"/>
                      <a:pt x="15" y="354"/>
                    </a:cubicBezTo>
                    <a:cubicBezTo>
                      <a:pt x="16" y="356"/>
                      <a:pt x="16" y="356"/>
                      <a:pt x="16" y="356"/>
                    </a:cubicBezTo>
                    <a:cubicBezTo>
                      <a:pt x="17" y="357"/>
                      <a:pt x="17" y="357"/>
                      <a:pt x="17" y="357"/>
                    </a:cubicBezTo>
                    <a:cubicBezTo>
                      <a:pt x="19" y="357"/>
                      <a:pt x="19" y="357"/>
                      <a:pt x="19" y="357"/>
                    </a:cubicBezTo>
                    <a:cubicBezTo>
                      <a:pt x="22" y="356"/>
                      <a:pt x="22" y="356"/>
                      <a:pt x="22" y="356"/>
                    </a:cubicBezTo>
                    <a:cubicBezTo>
                      <a:pt x="23" y="357"/>
                      <a:pt x="23" y="357"/>
                      <a:pt x="23" y="357"/>
                    </a:cubicBezTo>
                    <a:cubicBezTo>
                      <a:pt x="24" y="357"/>
                      <a:pt x="24" y="357"/>
                      <a:pt x="24" y="357"/>
                    </a:cubicBezTo>
                    <a:cubicBezTo>
                      <a:pt x="26" y="356"/>
                      <a:pt x="26" y="356"/>
                      <a:pt x="26" y="356"/>
                    </a:cubicBezTo>
                    <a:cubicBezTo>
                      <a:pt x="25" y="358"/>
                      <a:pt x="25" y="358"/>
                      <a:pt x="25" y="358"/>
                    </a:cubicBezTo>
                    <a:cubicBezTo>
                      <a:pt x="25" y="358"/>
                      <a:pt x="25" y="358"/>
                      <a:pt x="25" y="358"/>
                    </a:cubicBezTo>
                    <a:cubicBezTo>
                      <a:pt x="25" y="359"/>
                      <a:pt x="25" y="359"/>
                      <a:pt x="25" y="359"/>
                    </a:cubicBezTo>
                    <a:cubicBezTo>
                      <a:pt x="23" y="359"/>
                      <a:pt x="23" y="359"/>
                      <a:pt x="23" y="359"/>
                    </a:cubicBezTo>
                    <a:cubicBezTo>
                      <a:pt x="22" y="360"/>
                      <a:pt x="22" y="360"/>
                      <a:pt x="22" y="360"/>
                    </a:cubicBezTo>
                    <a:cubicBezTo>
                      <a:pt x="21" y="359"/>
                      <a:pt x="21" y="359"/>
                      <a:pt x="21" y="359"/>
                    </a:cubicBezTo>
                    <a:cubicBezTo>
                      <a:pt x="18" y="359"/>
                      <a:pt x="18" y="359"/>
                      <a:pt x="18" y="359"/>
                    </a:cubicBezTo>
                    <a:cubicBezTo>
                      <a:pt x="17" y="361"/>
                      <a:pt x="17" y="361"/>
                      <a:pt x="17" y="361"/>
                    </a:cubicBezTo>
                    <a:cubicBezTo>
                      <a:pt x="18" y="362"/>
                      <a:pt x="18" y="362"/>
                      <a:pt x="18" y="362"/>
                    </a:cubicBezTo>
                    <a:cubicBezTo>
                      <a:pt x="20" y="363"/>
                      <a:pt x="20" y="363"/>
                      <a:pt x="20" y="363"/>
                    </a:cubicBezTo>
                    <a:cubicBezTo>
                      <a:pt x="20" y="365"/>
                      <a:pt x="20" y="365"/>
                      <a:pt x="20" y="365"/>
                    </a:cubicBezTo>
                    <a:cubicBezTo>
                      <a:pt x="22" y="365"/>
                      <a:pt x="22" y="365"/>
                      <a:pt x="22" y="365"/>
                    </a:cubicBezTo>
                    <a:cubicBezTo>
                      <a:pt x="23" y="364"/>
                      <a:pt x="23" y="364"/>
                      <a:pt x="23" y="364"/>
                    </a:cubicBezTo>
                    <a:cubicBezTo>
                      <a:pt x="23" y="365"/>
                      <a:pt x="23" y="365"/>
                      <a:pt x="23" y="365"/>
                    </a:cubicBezTo>
                    <a:cubicBezTo>
                      <a:pt x="21" y="367"/>
                      <a:pt x="21" y="367"/>
                      <a:pt x="21" y="367"/>
                    </a:cubicBezTo>
                    <a:cubicBezTo>
                      <a:pt x="21" y="368"/>
                      <a:pt x="21" y="368"/>
                      <a:pt x="21" y="368"/>
                    </a:cubicBezTo>
                    <a:cubicBezTo>
                      <a:pt x="22" y="369"/>
                      <a:pt x="22" y="369"/>
                      <a:pt x="22" y="369"/>
                    </a:cubicBezTo>
                    <a:cubicBezTo>
                      <a:pt x="21" y="370"/>
                      <a:pt x="21" y="370"/>
                      <a:pt x="21" y="370"/>
                    </a:cubicBezTo>
                    <a:cubicBezTo>
                      <a:pt x="20" y="370"/>
                      <a:pt x="20" y="370"/>
                      <a:pt x="20" y="370"/>
                    </a:cubicBezTo>
                    <a:cubicBezTo>
                      <a:pt x="20" y="371"/>
                      <a:pt x="20" y="371"/>
                      <a:pt x="20" y="371"/>
                    </a:cubicBezTo>
                    <a:cubicBezTo>
                      <a:pt x="21" y="376"/>
                      <a:pt x="21" y="376"/>
                      <a:pt x="21" y="376"/>
                    </a:cubicBezTo>
                    <a:cubicBezTo>
                      <a:pt x="22" y="377"/>
                      <a:pt x="22" y="377"/>
                      <a:pt x="22" y="377"/>
                    </a:cubicBezTo>
                    <a:cubicBezTo>
                      <a:pt x="22" y="379"/>
                      <a:pt x="22" y="379"/>
                      <a:pt x="22" y="379"/>
                    </a:cubicBezTo>
                    <a:cubicBezTo>
                      <a:pt x="23" y="381"/>
                      <a:pt x="23" y="381"/>
                      <a:pt x="23" y="381"/>
                    </a:cubicBezTo>
                    <a:cubicBezTo>
                      <a:pt x="25" y="382"/>
                      <a:pt x="25" y="382"/>
                      <a:pt x="25" y="382"/>
                    </a:cubicBezTo>
                    <a:cubicBezTo>
                      <a:pt x="25" y="379"/>
                      <a:pt x="25" y="379"/>
                      <a:pt x="25" y="379"/>
                    </a:cubicBezTo>
                    <a:cubicBezTo>
                      <a:pt x="26" y="375"/>
                      <a:pt x="26" y="375"/>
                      <a:pt x="26" y="375"/>
                    </a:cubicBezTo>
                    <a:cubicBezTo>
                      <a:pt x="27" y="374"/>
                      <a:pt x="27" y="374"/>
                      <a:pt x="27" y="374"/>
                    </a:cubicBezTo>
                    <a:cubicBezTo>
                      <a:pt x="28" y="375"/>
                      <a:pt x="28" y="375"/>
                      <a:pt x="28" y="375"/>
                    </a:cubicBezTo>
                    <a:cubicBezTo>
                      <a:pt x="27" y="375"/>
                      <a:pt x="27" y="375"/>
                      <a:pt x="27" y="375"/>
                    </a:cubicBezTo>
                    <a:cubicBezTo>
                      <a:pt x="25" y="379"/>
                      <a:pt x="25" y="379"/>
                      <a:pt x="25" y="379"/>
                    </a:cubicBezTo>
                    <a:cubicBezTo>
                      <a:pt x="26" y="380"/>
                      <a:pt x="26" y="380"/>
                      <a:pt x="26" y="380"/>
                    </a:cubicBezTo>
                    <a:cubicBezTo>
                      <a:pt x="27" y="381"/>
                      <a:pt x="27" y="381"/>
                      <a:pt x="27" y="381"/>
                    </a:cubicBezTo>
                    <a:cubicBezTo>
                      <a:pt x="28" y="381"/>
                      <a:pt x="28" y="381"/>
                      <a:pt x="28" y="381"/>
                    </a:cubicBezTo>
                    <a:cubicBezTo>
                      <a:pt x="28" y="382"/>
                      <a:pt x="28" y="382"/>
                      <a:pt x="28" y="382"/>
                    </a:cubicBezTo>
                    <a:cubicBezTo>
                      <a:pt x="26" y="382"/>
                      <a:pt x="26" y="382"/>
                      <a:pt x="26" y="382"/>
                    </a:cubicBezTo>
                    <a:cubicBezTo>
                      <a:pt x="24" y="384"/>
                      <a:pt x="24" y="384"/>
                      <a:pt x="24" y="384"/>
                    </a:cubicBezTo>
                    <a:cubicBezTo>
                      <a:pt x="24" y="385"/>
                      <a:pt x="24" y="385"/>
                      <a:pt x="24" y="385"/>
                    </a:cubicBezTo>
                    <a:cubicBezTo>
                      <a:pt x="24" y="387"/>
                      <a:pt x="24" y="387"/>
                      <a:pt x="24" y="387"/>
                    </a:cubicBezTo>
                    <a:cubicBezTo>
                      <a:pt x="24" y="388"/>
                      <a:pt x="24" y="388"/>
                      <a:pt x="24" y="388"/>
                    </a:cubicBezTo>
                    <a:cubicBezTo>
                      <a:pt x="23" y="389"/>
                      <a:pt x="23" y="389"/>
                      <a:pt x="23" y="389"/>
                    </a:cubicBezTo>
                    <a:cubicBezTo>
                      <a:pt x="22" y="391"/>
                      <a:pt x="22" y="391"/>
                      <a:pt x="22" y="391"/>
                    </a:cubicBezTo>
                    <a:cubicBezTo>
                      <a:pt x="22" y="392"/>
                      <a:pt x="22" y="392"/>
                      <a:pt x="22" y="392"/>
                    </a:cubicBezTo>
                    <a:cubicBezTo>
                      <a:pt x="25" y="394"/>
                      <a:pt x="25" y="394"/>
                      <a:pt x="25" y="394"/>
                    </a:cubicBezTo>
                    <a:cubicBezTo>
                      <a:pt x="29" y="395"/>
                      <a:pt x="29" y="395"/>
                      <a:pt x="29" y="395"/>
                    </a:cubicBezTo>
                    <a:cubicBezTo>
                      <a:pt x="30" y="396"/>
                      <a:pt x="30" y="396"/>
                      <a:pt x="30" y="396"/>
                    </a:cubicBezTo>
                    <a:cubicBezTo>
                      <a:pt x="30" y="397"/>
                      <a:pt x="30" y="397"/>
                      <a:pt x="30" y="397"/>
                    </a:cubicBezTo>
                    <a:cubicBezTo>
                      <a:pt x="29" y="397"/>
                      <a:pt x="29" y="397"/>
                      <a:pt x="29" y="397"/>
                    </a:cubicBezTo>
                    <a:cubicBezTo>
                      <a:pt x="29" y="399"/>
                      <a:pt x="29" y="399"/>
                      <a:pt x="29" y="399"/>
                    </a:cubicBezTo>
                    <a:cubicBezTo>
                      <a:pt x="30" y="400"/>
                      <a:pt x="30" y="400"/>
                      <a:pt x="30" y="400"/>
                    </a:cubicBezTo>
                    <a:cubicBezTo>
                      <a:pt x="32" y="398"/>
                      <a:pt x="32" y="398"/>
                      <a:pt x="32" y="398"/>
                    </a:cubicBezTo>
                    <a:cubicBezTo>
                      <a:pt x="32" y="399"/>
                      <a:pt x="32" y="399"/>
                      <a:pt x="32" y="399"/>
                    </a:cubicBezTo>
                    <a:cubicBezTo>
                      <a:pt x="31" y="401"/>
                      <a:pt x="31" y="401"/>
                      <a:pt x="31" y="401"/>
                    </a:cubicBezTo>
                    <a:cubicBezTo>
                      <a:pt x="30" y="401"/>
                      <a:pt x="30" y="401"/>
                      <a:pt x="30" y="401"/>
                    </a:cubicBezTo>
                    <a:cubicBezTo>
                      <a:pt x="29" y="403"/>
                      <a:pt x="29" y="403"/>
                      <a:pt x="29" y="403"/>
                    </a:cubicBezTo>
                    <a:cubicBezTo>
                      <a:pt x="30" y="403"/>
                      <a:pt x="30" y="403"/>
                      <a:pt x="30" y="403"/>
                    </a:cubicBezTo>
                    <a:cubicBezTo>
                      <a:pt x="31" y="403"/>
                      <a:pt x="31" y="403"/>
                      <a:pt x="31" y="403"/>
                    </a:cubicBezTo>
                    <a:cubicBezTo>
                      <a:pt x="31" y="405"/>
                      <a:pt x="31" y="405"/>
                      <a:pt x="31" y="405"/>
                    </a:cubicBezTo>
                    <a:cubicBezTo>
                      <a:pt x="32" y="406"/>
                      <a:pt x="32" y="406"/>
                      <a:pt x="32" y="406"/>
                    </a:cubicBezTo>
                    <a:cubicBezTo>
                      <a:pt x="33" y="406"/>
                      <a:pt x="33" y="406"/>
                      <a:pt x="33" y="406"/>
                    </a:cubicBezTo>
                    <a:cubicBezTo>
                      <a:pt x="34" y="405"/>
                      <a:pt x="34" y="405"/>
                      <a:pt x="34" y="405"/>
                    </a:cubicBezTo>
                    <a:cubicBezTo>
                      <a:pt x="34" y="407"/>
                      <a:pt x="34" y="407"/>
                      <a:pt x="34" y="407"/>
                    </a:cubicBezTo>
                    <a:cubicBezTo>
                      <a:pt x="35" y="409"/>
                      <a:pt x="35" y="409"/>
                      <a:pt x="35" y="409"/>
                    </a:cubicBezTo>
                    <a:cubicBezTo>
                      <a:pt x="34" y="409"/>
                      <a:pt x="34" y="409"/>
                      <a:pt x="34" y="409"/>
                    </a:cubicBezTo>
                    <a:cubicBezTo>
                      <a:pt x="33" y="408"/>
                      <a:pt x="33" y="408"/>
                      <a:pt x="33" y="408"/>
                    </a:cubicBezTo>
                    <a:cubicBezTo>
                      <a:pt x="32" y="408"/>
                      <a:pt x="32" y="408"/>
                      <a:pt x="32" y="408"/>
                    </a:cubicBezTo>
                    <a:cubicBezTo>
                      <a:pt x="32" y="410"/>
                      <a:pt x="32" y="410"/>
                      <a:pt x="32" y="410"/>
                    </a:cubicBezTo>
                    <a:cubicBezTo>
                      <a:pt x="33" y="412"/>
                      <a:pt x="33" y="412"/>
                      <a:pt x="33" y="412"/>
                    </a:cubicBezTo>
                    <a:cubicBezTo>
                      <a:pt x="34" y="412"/>
                      <a:pt x="34" y="412"/>
                      <a:pt x="34" y="412"/>
                    </a:cubicBezTo>
                    <a:cubicBezTo>
                      <a:pt x="35" y="414"/>
                      <a:pt x="35" y="414"/>
                      <a:pt x="35" y="414"/>
                    </a:cubicBezTo>
                    <a:cubicBezTo>
                      <a:pt x="36" y="415"/>
                      <a:pt x="36" y="415"/>
                      <a:pt x="36" y="415"/>
                    </a:cubicBezTo>
                    <a:cubicBezTo>
                      <a:pt x="37" y="417"/>
                      <a:pt x="37" y="417"/>
                      <a:pt x="37" y="417"/>
                    </a:cubicBezTo>
                    <a:cubicBezTo>
                      <a:pt x="39" y="417"/>
                      <a:pt x="39" y="417"/>
                      <a:pt x="39" y="417"/>
                    </a:cubicBezTo>
                    <a:cubicBezTo>
                      <a:pt x="38" y="414"/>
                      <a:pt x="38" y="414"/>
                      <a:pt x="38" y="414"/>
                    </a:cubicBezTo>
                    <a:cubicBezTo>
                      <a:pt x="38" y="413"/>
                      <a:pt x="38" y="413"/>
                      <a:pt x="38" y="413"/>
                    </a:cubicBezTo>
                    <a:cubicBezTo>
                      <a:pt x="38" y="411"/>
                      <a:pt x="38" y="411"/>
                      <a:pt x="38" y="411"/>
                    </a:cubicBezTo>
                    <a:cubicBezTo>
                      <a:pt x="39" y="412"/>
                      <a:pt x="39" y="412"/>
                      <a:pt x="39" y="412"/>
                    </a:cubicBezTo>
                    <a:cubicBezTo>
                      <a:pt x="39" y="414"/>
                      <a:pt x="39" y="414"/>
                      <a:pt x="39" y="414"/>
                    </a:cubicBezTo>
                    <a:cubicBezTo>
                      <a:pt x="41" y="416"/>
                      <a:pt x="41" y="416"/>
                      <a:pt x="41" y="416"/>
                    </a:cubicBezTo>
                    <a:cubicBezTo>
                      <a:pt x="41" y="414"/>
                      <a:pt x="41" y="414"/>
                      <a:pt x="41" y="414"/>
                    </a:cubicBezTo>
                    <a:cubicBezTo>
                      <a:pt x="42" y="412"/>
                      <a:pt x="42" y="412"/>
                      <a:pt x="42" y="412"/>
                    </a:cubicBezTo>
                    <a:cubicBezTo>
                      <a:pt x="42" y="411"/>
                      <a:pt x="42" y="411"/>
                      <a:pt x="42" y="411"/>
                    </a:cubicBezTo>
                    <a:cubicBezTo>
                      <a:pt x="41" y="411"/>
                      <a:pt x="41" y="411"/>
                      <a:pt x="41" y="411"/>
                    </a:cubicBezTo>
                    <a:cubicBezTo>
                      <a:pt x="39" y="410"/>
                      <a:pt x="39" y="410"/>
                      <a:pt x="39" y="410"/>
                    </a:cubicBezTo>
                    <a:cubicBezTo>
                      <a:pt x="39" y="410"/>
                      <a:pt x="39" y="410"/>
                      <a:pt x="39" y="410"/>
                    </a:cubicBezTo>
                    <a:cubicBezTo>
                      <a:pt x="40" y="410"/>
                      <a:pt x="40" y="410"/>
                      <a:pt x="40" y="410"/>
                    </a:cubicBezTo>
                    <a:cubicBezTo>
                      <a:pt x="43" y="410"/>
                      <a:pt x="43" y="410"/>
                      <a:pt x="43" y="410"/>
                    </a:cubicBezTo>
                    <a:cubicBezTo>
                      <a:pt x="44" y="411"/>
                      <a:pt x="44" y="411"/>
                      <a:pt x="44" y="411"/>
                    </a:cubicBezTo>
                    <a:cubicBezTo>
                      <a:pt x="46" y="411"/>
                      <a:pt x="46" y="411"/>
                      <a:pt x="46" y="411"/>
                    </a:cubicBezTo>
                    <a:cubicBezTo>
                      <a:pt x="45" y="410"/>
                      <a:pt x="45" y="410"/>
                      <a:pt x="45" y="410"/>
                    </a:cubicBezTo>
                    <a:cubicBezTo>
                      <a:pt x="43" y="409"/>
                      <a:pt x="43" y="409"/>
                      <a:pt x="43" y="409"/>
                    </a:cubicBezTo>
                    <a:cubicBezTo>
                      <a:pt x="40" y="408"/>
                      <a:pt x="40" y="408"/>
                      <a:pt x="40" y="408"/>
                    </a:cubicBezTo>
                    <a:cubicBezTo>
                      <a:pt x="40" y="408"/>
                      <a:pt x="40" y="408"/>
                      <a:pt x="40" y="408"/>
                    </a:cubicBezTo>
                    <a:cubicBezTo>
                      <a:pt x="41" y="407"/>
                      <a:pt x="41" y="407"/>
                      <a:pt x="41" y="407"/>
                    </a:cubicBezTo>
                    <a:cubicBezTo>
                      <a:pt x="44" y="408"/>
                      <a:pt x="44" y="408"/>
                      <a:pt x="44" y="408"/>
                    </a:cubicBezTo>
                    <a:cubicBezTo>
                      <a:pt x="47" y="410"/>
                      <a:pt x="47" y="410"/>
                      <a:pt x="47" y="410"/>
                    </a:cubicBezTo>
                    <a:cubicBezTo>
                      <a:pt x="47" y="412"/>
                      <a:pt x="47" y="412"/>
                      <a:pt x="47" y="412"/>
                    </a:cubicBezTo>
                    <a:cubicBezTo>
                      <a:pt x="46" y="414"/>
                      <a:pt x="46" y="414"/>
                      <a:pt x="46" y="414"/>
                    </a:cubicBezTo>
                    <a:cubicBezTo>
                      <a:pt x="46" y="415"/>
                      <a:pt x="46" y="415"/>
                      <a:pt x="46" y="415"/>
                    </a:cubicBezTo>
                    <a:cubicBezTo>
                      <a:pt x="47" y="418"/>
                      <a:pt x="47" y="418"/>
                      <a:pt x="47" y="418"/>
                    </a:cubicBezTo>
                    <a:cubicBezTo>
                      <a:pt x="47" y="419"/>
                      <a:pt x="47" y="419"/>
                      <a:pt x="47" y="419"/>
                    </a:cubicBezTo>
                    <a:cubicBezTo>
                      <a:pt x="46" y="420"/>
                      <a:pt x="46" y="420"/>
                      <a:pt x="46" y="420"/>
                    </a:cubicBezTo>
                    <a:cubicBezTo>
                      <a:pt x="47" y="418"/>
                      <a:pt x="47" y="418"/>
                      <a:pt x="47" y="418"/>
                    </a:cubicBezTo>
                    <a:cubicBezTo>
                      <a:pt x="45" y="415"/>
                      <a:pt x="45" y="415"/>
                      <a:pt x="45" y="415"/>
                    </a:cubicBezTo>
                    <a:cubicBezTo>
                      <a:pt x="44" y="414"/>
                      <a:pt x="44" y="414"/>
                      <a:pt x="44" y="414"/>
                    </a:cubicBezTo>
                    <a:cubicBezTo>
                      <a:pt x="43" y="415"/>
                      <a:pt x="43" y="415"/>
                      <a:pt x="43" y="415"/>
                    </a:cubicBezTo>
                    <a:cubicBezTo>
                      <a:pt x="43" y="417"/>
                      <a:pt x="43" y="417"/>
                      <a:pt x="43" y="417"/>
                    </a:cubicBezTo>
                    <a:cubicBezTo>
                      <a:pt x="44" y="418"/>
                      <a:pt x="44" y="418"/>
                      <a:pt x="44" y="418"/>
                    </a:cubicBezTo>
                    <a:cubicBezTo>
                      <a:pt x="43" y="419"/>
                      <a:pt x="43" y="419"/>
                      <a:pt x="43" y="419"/>
                    </a:cubicBezTo>
                    <a:cubicBezTo>
                      <a:pt x="42" y="419"/>
                      <a:pt x="42" y="419"/>
                      <a:pt x="42" y="419"/>
                    </a:cubicBezTo>
                    <a:cubicBezTo>
                      <a:pt x="42" y="417"/>
                      <a:pt x="42" y="417"/>
                      <a:pt x="42" y="417"/>
                    </a:cubicBezTo>
                    <a:cubicBezTo>
                      <a:pt x="41" y="417"/>
                      <a:pt x="41" y="417"/>
                      <a:pt x="41" y="417"/>
                    </a:cubicBezTo>
                    <a:cubicBezTo>
                      <a:pt x="40" y="418"/>
                      <a:pt x="40" y="418"/>
                      <a:pt x="40" y="418"/>
                    </a:cubicBezTo>
                    <a:cubicBezTo>
                      <a:pt x="37" y="418"/>
                      <a:pt x="37" y="418"/>
                      <a:pt x="37" y="418"/>
                    </a:cubicBezTo>
                    <a:cubicBezTo>
                      <a:pt x="36" y="419"/>
                      <a:pt x="36" y="419"/>
                      <a:pt x="36" y="419"/>
                    </a:cubicBezTo>
                    <a:cubicBezTo>
                      <a:pt x="37" y="420"/>
                      <a:pt x="37" y="420"/>
                      <a:pt x="37" y="420"/>
                    </a:cubicBezTo>
                    <a:cubicBezTo>
                      <a:pt x="37" y="422"/>
                      <a:pt x="37" y="422"/>
                      <a:pt x="37" y="422"/>
                    </a:cubicBezTo>
                    <a:cubicBezTo>
                      <a:pt x="38" y="424"/>
                      <a:pt x="38" y="424"/>
                      <a:pt x="38" y="424"/>
                    </a:cubicBezTo>
                    <a:cubicBezTo>
                      <a:pt x="38" y="425"/>
                      <a:pt x="38" y="425"/>
                      <a:pt x="38" y="425"/>
                    </a:cubicBezTo>
                    <a:cubicBezTo>
                      <a:pt x="38" y="426"/>
                      <a:pt x="38" y="426"/>
                      <a:pt x="38" y="426"/>
                    </a:cubicBezTo>
                    <a:cubicBezTo>
                      <a:pt x="38" y="427"/>
                      <a:pt x="38" y="427"/>
                      <a:pt x="38" y="427"/>
                    </a:cubicBezTo>
                    <a:cubicBezTo>
                      <a:pt x="39" y="427"/>
                      <a:pt x="39" y="427"/>
                      <a:pt x="39" y="427"/>
                    </a:cubicBezTo>
                    <a:cubicBezTo>
                      <a:pt x="40" y="425"/>
                      <a:pt x="40" y="425"/>
                      <a:pt x="40" y="425"/>
                    </a:cubicBezTo>
                    <a:cubicBezTo>
                      <a:pt x="41" y="426"/>
                      <a:pt x="41" y="426"/>
                      <a:pt x="41" y="426"/>
                    </a:cubicBezTo>
                    <a:cubicBezTo>
                      <a:pt x="43" y="427"/>
                      <a:pt x="43" y="427"/>
                      <a:pt x="43" y="427"/>
                    </a:cubicBezTo>
                    <a:cubicBezTo>
                      <a:pt x="43" y="427"/>
                      <a:pt x="43" y="427"/>
                      <a:pt x="43" y="427"/>
                    </a:cubicBezTo>
                    <a:cubicBezTo>
                      <a:pt x="41" y="428"/>
                      <a:pt x="41" y="428"/>
                      <a:pt x="41" y="428"/>
                    </a:cubicBezTo>
                    <a:cubicBezTo>
                      <a:pt x="40" y="429"/>
                      <a:pt x="40" y="429"/>
                      <a:pt x="40" y="429"/>
                    </a:cubicBezTo>
                    <a:cubicBezTo>
                      <a:pt x="40" y="430"/>
                      <a:pt x="40" y="430"/>
                      <a:pt x="40" y="430"/>
                    </a:cubicBezTo>
                    <a:cubicBezTo>
                      <a:pt x="43" y="430"/>
                      <a:pt x="43" y="430"/>
                      <a:pt x="43" y="430"/>
                    </a:cubicBezTo>
                    <a:cubicBezTo>
                      <a:pt x="45" y="432"/>
                      <a:pt x="45" y="432"/>
                      <a:pt x="45" y="432"/>
                    </a:cubicBezTo>
                    <a:cubicBezTo>
                      <a:pt x="46" y="431"/>
                      <a:pt x="46" y="431"/>
                      <a:pt x="46" y="431"/>
                    </a:cubicBezTo>
                    <a:cubicBezTo>
                      <a:pt x="47" y="430"/>
                      <a:pt x="47" y="430"/>
                      <a:pt x="47" y="430"/>
                    </a:cubicBezTo>
                    <a:cubicBezTo>
                      <a:pt x="46" y="428"/>
                      <a:pt x="46" y="428"/>
                      <a:pt x="46" y="428"/>
                    </a:cubicBezTo>
                    <a:cubicBezTo>
                      <a:pt x="47" y="427"/>
                      <a:pt x="47" y="427"/>
                      <a:pt x="47" y="427"/>
                    </a:cubicBezTo>
                    <a:cubicBezTo>
                      <a:pt x="46" y="425"/>
                      <a:pt x="46" y="425"/>
                      <a:pt x="46" y="425"/>
                    </a:cubicBezTo>
                    <a:cubicBezTo>
                      <a:pt x="45" y="425"/>
                      <a:pt x="45" y="425"/>
                      <a:pt x="45" y="425"/>
                    </a:cubicBezTo>
                    <a:cubicBezTo>
                      <a:pt x="44" y="425"/>
                      <a:pt x="44" y="425"/>
                      <a:pt x="44" y="425"/>
                    </a:cubicBezTo>
                    <a:cubicBezTo>
                      <a:pt x="44" y="425"/>
                      <a:pt x="44" y="425"/>
                      <a:pt x="44" y="425"/>
                    </a:cubicBezTo>
                    <a:cubicBezTo>
                      <a:pt x="46" y="424"/>
                      <a:pt x="46" y="424"/>
                      <a:pt x="46" y="424"/>
                    </a:cubicBezTo>
                    <a:cubicBezTo>
                      <a:pt x="45" y="423"/>
                      <a:pt x="45" y="423"/>
                      <a:pt x="45" y="423"/>
                    </a:cubicBezTo>
                    <a:cubicBezTo>
                      <a:pt x="46" y="422"/>
                      <a:pt x="46" y="422"/>
                      <a:pt x="46" y="422"/>
                    </a:cubicBezTo>
                    <a:cubicBezTo>
                      <a:pt x="48" y="423"/>
                      <a:pt x="48" y="423"/>
                      <a:pt x="48" y="423"/>
                    </a:cubicBezTo>
                    <a:cubicBezTo>
                      <a:pt x="49" y="422"/>
                      <a:pt x="49" y="422"/>
                      <a:pt x="49" y="422"/>
                    </a:cubicBezTo>
                    <a:cubicBezTo>
                      <a:pt x="50" y="423"/>
                      <a:pt x="50" y="423"/>
                      <a:pt x="50" y="423"/>
                    </a:cubicBezTo>
                    <a:cubicBezTo>
                      <a:pt x="51" y="424"/>
                      <a:pt x="51" y="424"/>
                      <a:pt x="51" y="424"/>
                    </a:cubicBezTo>
                    <a:cubicBezTo>
                      <a:pt x="51" y="423"/>
                      <a:pt x="51" y="423"/>
                      <a:pt x="51" y="423"/>
                    </a:cubicBezTo>
                    <a:cubicBezTo>
                      <a:pt x="53" y="422"/>
                      <a:pt x="53" y="422"/>
                      <a:pt x="53" y="422"/>
                    </a:cubicBezTo>
                    <a:cubicBezTo>
                      <a:pt x="55" y="423"/>
                      <a:pt x="55" y="423"/>
                      <a:pt x="55" y="423"/>
                    </a:cubicBezTo>
                    <a:cubicBezTo>
                      <a:pt x="57" y="423"/>
                      <a:pt x="57" y="423"/>
                      <a:pt x="57" y="423"/>
                    </a:cubicBezTo>
                    <a:cubicBezTo>
                      <a:pt x="58" y="423"/>
                      <a:pt x="58" y="423"/>
                      <a:pt x="58" y="423"/>
                    </a:cubicBezTo>
                    <a:cubicBezTo>
                      <a:pt x="58" y="424"/>
                      <a:pt x="58" y="424"/>
                      <a:pt x="58" y="424"/>
                    </a:cubicBezTo>
                    <a:cubicBezTo>
                      <a:pt x="57" y="424"/>
                      <a:pt x="57" y="424"/>
                      <a:pt x="57" y="424"/>
                    </a:cubicBezTo>
                    <a:cubicBezTo>
                      <a:pt x="57" y="425"/>
                      <a:pt x="57" y="425"/>
                      <a:pt x="57" y="425"/>
                    </a:cubicBezTo>
                    <a:cubicBezTo>
                      <a:pt x="55" y="425"/>
                      <a:pt x="55" y="425"/>
                      <a:pt x="55" y="425"/>
                    </a:cubicBezTo>
                    <a:cubicBezTo>
                      <a:pt x="54" y="424"/>
                      <a:pt x="54" y="424"/>
                      <a:pt x="54" y="424"/>
                    </a:cubicBezTo>
                    <a:cubicBezTo>
                      <a:pt x="53" y="424"/>
                      <a:pt x="53" y="424"/>
                      <a:pt x="53" y="424"/>
                    </a:cubicBezTo>
                    <a:cubicBezTo>
                      <a:pt x="50" y="427"/>
                      <a:pt x="50" y="427"/>
                      <a:pt x="50" y="427"/>
                    </a:cubicBezTo>
                    <a:cubicBezTo>
                      <a:pt x="49" y="427"/>
                      <a:pt x="49" y="427"/>
                      <a:pt x="49" y="427"/>
                    </a:cubicBezTo>
                    <a:cubicBezTo>
                      <a:pt x="48" y="427"/>
                      <a:pt x="48" y="427"/>
                      <a:pt x="48" y="427"/>
                    </a:cubicBezTo>
                    <a:cubicBezTo>
                      <a:pt x="47" y="428"/>
                      <a:pt x="47" y="428"/>
                      <a:pt x="47" y="428"/>
                    </a:cubicBezTo>
                    <a:cubicBezTo>
                      <a:pt x="48" y="430"/>
                      <a:pt x="48" y="430"/>
                      <a:pt x="48" y="430"/>
                    </a:cubicBezTo>
                    <a:cubicBezTo>
                      <a:pt x="47" y="431"/>
                      <a:pt x="47" y="431"/>
                      <a:pt x="47" y="431"/>
                    </a:cubicBezTo>
                    <a:cubicBezTo>
                      <a:pt x="46" y="432"/>
                      <a:pt x="46" y="432"/>
                      <a:pt x="46" y="432"/>
                    </a:cubicBezTo>
                    <a:cubicBezTo>
                      <a:pt x="46" y="432"/>
                      <a:pt x="46" y="432"/>
                      <a:pt x="46" y="432"/>
                    </a:cubicBezTo>
                    <a:cubicBezTo>
                      <a:pt x="47" y="433"/>
                      <a:pt x="47" y="433"/>
                      <a:pt x="47" y="433"/>
                    </a:cubicBezTo>
                    <a:cubicBezTo>
                      <a:pt x="47" y="434"/>
                      <a:pt x="47" y="434"/>
                      <a:pt x="47" y="434"/>
                    </a:cubicBezTo>
                    <a:cubicBezTo>
                      <a:pt x="47" y="435"/>
                      <a:pt x="47" y="435"/>
                      <a:pt x="47" y="435"/>
                    </a:cubicBezTo>
                    <a:cubicBezTo>
                      <a:pt x="49" y="436"/>
                      <a:pt x="49" y="436"/>
                      <a:pt x="49" y="436"/>
                    </a:cubicBezTo>
                    <a:cubicBezTo>
                      <a:pt x="51" y="437"/>
                      <a:pt x="51" y="437"/>
                      <a:pt x="51" y="437"/>
                    </a:cubicBezTo>
                    <a:cubicBezTo>
                      <a:pt x="52" y="437"/>
                      <a:pt x="52" y="437"/>
                      <a:pt x="52" y="437"/>
                    </a:cubicBezTo>
                    <a:cubicBezTo>
                      <a:pt x="52" y="437"/>
                      <a:pt x="52" y="437"/>
                      <a:pt x="52" y="437"/>
                    </a:cubicBezTo>
                    <a:cubicBezTo>
                      <a:pt x="52" y="435"/>
                      <a:pt x="52" y="435"/>
                      <a:pt x="52" y="435"/>
                    </a:cubicBezTo>
                    <a:cubicBezTo>
                      <a:pt x="53" y="434"/>
                      <a:pt x="53" y="434"/>
                      <a:pt x="53" y="434"/>
                    </a:cubicBezTo>
                    <a:cubicBezTo>
                      <a:pt x="54" y="433"/>
                      <a:pt x="54" y="433"/>
                      <a:pt x="54" y="433"/>
                    </a:cubicBezTo>
                    <a:cubicBezTo>
                      <a:pt x="55" y="433"/>
                      <a:pt x="55" y="433"/>
                      <a:pt x="55" y="433"/>
                    </a:cubicBezTo>
                    <a:cubicBezTo>
                      <a:pt x="53" y="431"/>
                      <a:pt x="53" y="431"/>
                      <a:pt x="53" y="431"/>
                    </a:cubicBezTo>
                    <a:cubicBezTo>
                      <a:pt x="56" y="430"/>
                      <a:pt x="56" y="430"/>
                      <a:pt x="56" y="430"/>
                    </a:cubicBezTo>
                    <a:cubicBezTo>
                      <a:pt x="57" y="429"/>
                      <a:pt x="57" y="429"/>
                      <a:pt x="57" y="429"/>
                    </a:cubicBezTo>
                    <a:cubicBezTo>
                      <a:pt x="59" y="426"/>
                      <a:pt x="59" y="426"/>
                      <a:pt x="59" y="426"/>
                    </a:cubicBezTo>
                    <a:cubicBezTo>
                      <a:pt x="60" y="426"/>
                      <a:pt x="60" y="426"/>
                      <a:pt x="60" y="426"/>
                    </a:cubicBezTo>
                    <a:cubicBezTo>
                      <a:pt x="60" y="426"/>
                      <a:pt x="60" y="426"/>
                      <a:pt x="60" y="426"/>
                    </a:cubicBezTo>
                    <a:cubicBezTo>
                      <a:pt x="62" y="427"/>
                      <a:pt x="62" y="427"/>
                      <a:pt x="62" y="427"/>
                    </a:cubicBezTo>
                    <a:cubicBezTo>
                      <a:pt x="63" y="427"/>
                      <a:pt x="63" y="427"/>
                      <a:pt x="63" y="427"/>
                    </a:cubicBezTo>
                    <a:cubicBezTo>
                      <a:pt x="63" y="427"/>
                      <a:pt x="63" y="427"/>
                      <a:pt x="63" y="427"/>
                    </a:cubicBezTo>
                    <a:cubicBezTo>
                      <a:pt x="62" y="428"/>
                      <a:pt x="62" y="428"/>
                      <a:pt x="62" y="428"/>
                    </a:cubicBezTo>
                    <a:cubicBezTo>
                      <a:pt x="61" y="430"/>
                      <a:pt x="61" y="430"/>
                      <a:pt x="61" y="430"/>
                    </a:cubicBezTo>
                    <a:cubicBezTo>
                      <a:pt x="60" y="431"/>
                      <a:pt x="60" y="431"/>
                      <a:pt x="60" y="431"/>
                    </a:cubicBezTo>
                    <a:cubicBezTo>
                      <a:pt x="59" y="432"/>
                      <a:pt x="59" y="432"/>
                      <a:pt x="59" y="432"/>
                    </a:cubicBezTo>
                    <a:cubicBezTo>
                      <a:pt x="59" y="434"/>
                      <a:pt x="59" y="434"/>
                      <a:pt x="59" y="434"/>
                    </a:cubicBezTo>
                    <a:cubicBezTo>
                      <a:pt x="59" y="436"/>
                      <a:pt x="59" y="436"/>
                      <a:pt x="59" y="436"/>
                    </a:cubicBezTo>
                    <a:cubicBezTo>
                      <a:pt x="58" y="437"/>
                      <a:pt x="58" y="437"/>
                      <a:pt x="58" y="437"/>
                    </a:cubicBezTo>
                    <a:cubicBezTo>
                      <a:pt x="57" y="438"/>
                      <a:pt x="57" y="438"/>
                      <a:pt x="57" y="438"/>
                    </a:cubicBezTo>
                    <a:cubicBezTo>
                      <a:pt x="57" y="437"/>
                      <a:pt x="57" y="437"/>
                      <a:pt x="57" y="437"/>
                    </a:cubicBezTo>
                    <a:cubicBezTo>
                      <a:pt x="58" y="436"/>
                      <a:pt x="58" y="436"/>
                      <a:pt x="58" y="436"/>
                    </a:cubicBezTo>
                    <a:cubicBezTo>
                      <a:pt x="58" y="434"/>
                      <a:pt x="58" y="434"/>
                      <a:pt x="58" y="434"/>
                    </a:cubicBezTo>
                    <a:cubicBezTo>
                      <a:pt x="57" y="433"/>
                      <a:pt x="57" y="433"/>
                      <a:pt x="57" y="433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35"/>
                      <a:pt x="56" y="435"/>
                      <a:pt x="56" y="435"/>
                    </a:cubicBezTo>
                    <a:cubicBezTo>
                      <a:pt x="55" y="435"/>
                      <a:pt x="55" y="435"/>
                      <a:pt x="55" y="435"/>
                    </a:cubicBezTo>
                    <a:cubicBezTo>
                      <a:pt x="54" y="435"/>
                      <a:pt x="54" y="435"/>
                      <a:pt x="54" y="435"/>
                    </a:cubicBezTo>
                    <a:cubicBezTo>
                      <a:pt x="53" y="436"/>
                      <a:pt x="53" y="436"/>
                      <a:pt x="53" y="436"/>
                    </a:cubicBezTo>
                    <a:cubicBezTo>
                      <a:pt x="54" y="438"/>
                      <a:pt x="54" y="438"/>
                      <a:pt x="54" y="438"/>
                    </a:cubicBezTo>
                    <a:cubicBezTo>
                      <a:pt x="57" y="441"/>
                      <a:pt x="57" y="441"/>
                      <a:pt x="57" y="441"/>
                    </a:cubicBezTo>
                    <a:cubicBezTo>
                      <a:pt x="60" y="441"/>
                      <a:pt x="60" y="441"/>
                      <a:pt x="60" y="441"/>
                    </a:cubicBezTo>
                    <a:cubicBezTo>
                      <a:pt x="62" y="442"/>
                      <a:pt x="62" y="442"/>
                      <a:pt x="62" y="442"/>
                    </a:cubicBezTo>
                    <a:cubicBezTo>
                      <a:pt x="63" y="442"/>
                      <a:pt x="63" y="442"/>
                      <a:pt x="63" y="442"/>
                    </a:cubicBezTo>
                    <a:cubicBezTo>
                      <a:pt x="64" y="443"/>
                      <a:pt x="64" y="443"/>
                      <a:pt x="64" y="443"/>
                    </a:cubicBezTo>
                    <a:cubicBezTo>
                      <a:pt x="65" y="442"/>
                      <a:pt x="65" y="442"/>
                      <a:pt x="65" y="442"/>
                    </a:cubicBezTo>
                    <a:cubicBezTo>
                      <a:pt x="66" y="440"/>
                      <a:pt x="66" y="440"/>
                      <a:pt x="66" y="440"/>
                    </a:cubicBezTo>
                    <a:cubicBezTo>
                      <a:pt x="66" y="437"/>
                      <a:pt x="66" y="437"/>
                      <a:pt x="66" y="437"/>
                    </a:cubicBezTo>
                    <a:cubicBezTo>
                      <a:pt x="66" y="435"/>
                      <a:pt x="66" y="435"/>
                      <a:pt x="66" y="435"/>
                    </a:cubicBezTo>
                    <a:cubicBezTo>
                      <a:pt x="66" y="434"/>
                      <a:pt x="66" y="434"/>
                      <a:pt x="66" y="434"/>
                    </a:cubicBezTo>
                    <a:cubicBezTo>
                      <a:pt x="66" y="431"/>
                      <a:pt x="66" y="431"/>
                      <a:pt x="66" y="431"/>
                    </a:cubicBezTo>
                    <a:cubicBezTo>
                      <a:pt x="66" y="428"/>
                      <a:pt x="66" y="428"/>
                      <a:pt x="66" y="428"/>
                    </a:cubicBezTo>
                    <a:cubicBezTo>
                      <a:pt x="66" y="426"/>
                      <a:pt x="66" y="426"/>
                      <a:pt x="66" y="426"/>
                    </a:cubicBezTo>
                    <a:cubicBezTo>
                      <a:pt x="66" y="425"/>
                      <a:pt x="66" y="425"/>
                      <a:pt x="66" y="425"/>
                    </a:cubicBezTo>
                    <a:cubicBezTo>
                      <a:pt x="68" y="424"/>
                      <a:pt x="68" y="424"/>
                      <a:pt x="68" y="424"/>
                    </a:cubicBezTo>
                    <a:cubicBezTo>
                      <a:pt x="71" y="421"/>
                      <a:pt x="71" y="421"/>
                      <a:pt x="71" y="421"/>
                    </a:cubicBezTo>
                    <a:cubicBezTo>
                      <a:pt x="72" y="420"/>
                      <a:pt x="72" y="420"/>
                      <a:pt x="72" y="420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5" y="420"/>
                      <a:pt x="75" y="420"/>
                      <a:pt x="75" y="420"/>
                    </a:cubicBezTo>
                    <a:cubicBezTo>
                      <a:pt x="74" y="417"/>
                      <a:pt x="74" y="417"/>
                      <a:pt x="74" y="417"/>
                    </a:cubicBezTo>
                    <a:cubicBezTo>
                      <a:pt x="76" y="416"/>
                      <a:pt x="76" y="416"/>
                      <a:pt x="76" y="416"/>
                    </a:cubicBezTo>
                    <a:cubicBezTo>
                      <a:pt x="78" y="415"/>
                      <a:pt x="78" y="415"/>
                      <a:pt x="78" y="415"/>
                    </a:cubicBezTo>
                    <a:cubicBezTo>
                      <a:pt x="80" y="417"/>
                      <a:pt x="80" y="417"/>
                      <a:pt x="80" y="417"/>
                    </a:cubicBezTo>
                    <a:cubicBezTo>
                      <a:pt x="81" y="416"/>
                      <a:pt x="81" y="416"/>
                      <a:pt x="81" y="416"/>
                    </a:cubicBezTo>
                    <a:cubicBezTo>
                      <a:pt x="82" y="416"/>
                      <a:pt x="82" y="416"/>
                      <a:pt x="82" y="416"/>
                    </a:cubicBezTo>
                    <a:close/>
                    <a:moveTo>
                      <a:pt x="101" y="469"/>
                    </a:moveTo>
                    <a:cubicBezTo>
                      <a:pt x="102" y="470"/>
                      <a:pt x="102" y="470"/>
                      <a:pt x="102" y="470"/>
                    </a:cubicBezTo>
                    <a:cubicBezTo>
                      <a:pt x="103" y="468"/>
                      <a:pt x="103" y="468"/>
                      <a:pt x="103" y="468"/>
                    </a:cubicBezTo>
                    <a:cubicBezTo>
                      <a:pt x="102" y="468"/>
                      <a:pt x="102" y="468"/>
                      <a:pt x="102" y="468"/>
                    </a:cubicBezTo>
                    <a:cubicBezTo>
                      <a:pt x="102" y="468"/>
                      <a:pt x="101" y="469"/>
                      <a:pt x="101" y="469"/>
                    </a:cubicBezTo>
                    <a:close/>
                    <a:moveTo>
                      <a:pt x="13" y="289"/>
                    </a:moveTo>
                    <a:cubicBezTo>
                      <a:pt x="12" y="288"/>
                      <a:pt x="12" y="288"/>
                      <a:pt x="12" y="288"/>
                    </a:cubicBezTo>
                    <a:cubicBezTo>
                      <a:pt x="10" y="288"/>
                      <a:pt x="10" y="288"/>
                      <a:pt x="10" y="288"/>
                    </a:cubicBezTo>
                    <a:cubicBezTo>
                      <a:pt x="11" y="290"/>
                      <a:pt x="11" y="290"/>
                      <a:pt x="11" y="290"/>
                    </a:cubicBezTo>
                    <a:cubicBezTo>
                      <a:pt x="13" y="292"/>
                      <a:pt x="13" y="292"/>
                      <a:pt x="13" y="292"/>
                    </a:cubicBezTo>
                    <a:cubicBezTo>
                      <a:pt x="12" y="293"/>
                      <a:pt x="12" y="293"/>
                      <a:pt x="12" y="293"/>
                    </a:cubicBezTo>
                    <a:cubicBezTo>
                      <a:pt x="14" y="295"/>
                      <a:pt x="14" y="295"/>
                      <a:pt x="14" y="295"/>
                    </a:cubicBezTo>
                    <a:cubicBezTo>
                      <a:pt x="14" y="295"/>
                      <a:pt x="14" y="295"/>
                      <a:pt x="14" y="295"/>
                    </a:cubicBezTo>
                    <a:cubicBezTo>
                      <a:pt x="12" y="294"/>
                      <a:pt x="12" y="294"/>
                      <a:pt x="12" y="294"/>
                    </a:cubicBezTo>
                    <a:cubicBezTo>
                      <a:pt x="11" y="296"/>
                      <a:pt x="11" y="296"/>
                      <a:pt x="11" y="296"/>
                    </a:cubicBezTo>
                    <a:cubicBezTo>
                      <a:pt x="11" y="298"/>
                      <a:pt x="11" y="298"/>
                      <a:pt x="11" y="298"/>
                    </a:cubicBezTo>
                    <a:cubicBezTo>
                      <a:pt x="11" y="299"/>
                      <a:pt x="11" y="299"/>
                      <a:pt x="11" y="299"/>
                    </a:cubicBezTo>
                    <a:cubicBezTo>
                      <a:pt x="8" y="299"/>
                      <a:pt x="8" y="299"/>
                      <a:pt x="8" y="299"/>
                    </a:cubicBezTo>
                    <a:cubicBezTo>
                      <a:pt x="6" y="298"/>
                      <a:pt x="6" y="298"/>
                      <a:pt x="6" y="298"/>
                    </a:cubicBezTo>
                    <a:cubicBezTo>
                      <a:pt x="7" y="296"/>
                      <a:pt x="7" y="296"/>
                      <a:pt x="7" y="296"/>
                    </a:cubicBezTo>
                    <a:cubicBezTo>
                      <a:pt x="6" y="290"/>
                      <a:pt x="6" y="290"/>
                      <a:pt x="6" y="290"/>
                    </a:cubicBezTo>
                    <a:cubicBezTo>
                      <a:pt x="5" y="287"/>
                      <a:pt x="5" y="287"/>
                      <a:pt x="5" y="287"/>
                    </a:cubicBezTo>
                    <a:cubicBezTo>
                      <a:pt x="5" y="287"/>
                      <a:pt x="5" y="287"/>
                      <a:pt x="5" y="287"/>
                    </a:cubicBezTo>
                    <a:cubicBezTo>
                      <a:pt x="4" y="286"/>
                      <a:pt x="4" y="286"/>
                      <a:pt x="4" y="286"/>
                    </a:cubicBezTo>
                    <a:cubicBezTo>
                      <a:pt x="5" y="284"/>
                      <a:pt x="5" y="284"/>
                      <a:pt x="5" y="284"/>
                    </a:cubicBezTo>
                    <a:cubicBezTo>
                      <a:pt x="6" y="283"/>
                      <a:pt x="6" y="283"/>
                      <a:pt x="6" y="283"/>
                    </a:cubicBezTo>
                    <a:cubicBezTo>
                      <a:pt x="6" y="282"/>
                      <a:pt x="6" y="282"/>
                      <a:pt x="6" y="282"/>
                    </a:cubicBezTo>
                    <a:cubicBezTo>
                      <a:pt x="5" y="281"/>
                      <a:pt x="5" y="281"/>
                      <a:pt x="5" y="281"/>
                    </a:cubicBezTo>
                    <a:cubicBezTo>
                      <a:pt x="5" y="280"/>
                      <a:pt x="5" y="280"/>
                      <a:pt x="5" y="280"/>
                    </a:cubicBezTo>
                    <a:cubicBezTo>
                      <a:pt x="7" y="278"/>
                      <a:pt x="7" y="278"/>
                      <a:pt x="7" y="278"/>
                    </a:cubicBezTo>
                    <a:cubicBezTo>
                      <a:pt x="9" y="278"/>
                      <a:pt x="9" y="278"/>
                      <a:pt x="9" y="278"/>
                    </a:cubicBezTo>
                    <a:cubicBezTo>
                      <a:pt x="11" y="279"/>
                      <a:pt x="11" y="279"/>
                      <a:pt x="11" y="279"/>
                    </a:cubicBezTo>
                    <a:cubicBezTo>
                      <a:pt x="12" y="282"/>
                      <a:pt x="12" y="282"/>
                      <a:pt x="12" y="282"/>
                    </a:cubicBezTo>
                    <a:cubicBezTo>
                      <a:pt x="12" y="284"/>
                      <a:pt x="12" y="284"/>
                      <a:pt x="12" y="284"/>
                    </a:cubicBezTo>
                    <a:cubicBezTo>
                      <a:pt x="13" y="285"/>
                      <a:pt x="13" y="285"/>
                      <a:pt x="13" y="285"/>
                    </a:cubicBezTo>
                    <a:cubicBezTo>
                      <a:pt x="13" y="287"/>
                      <a:pt x="13" y="287"/>
                      <a:pt x="13" y="287"/>
                    </a:cubicBezTo>
                    <a:cubicBezTo>
                      <a:pt x="10" y="286"/>
                      <a:pt x="10" y="286"/>
                      <a:pt x="10" y="286"/>
                    </a:cubicBezTo>
                    <a:cubicBezTo>
                      <a:pt x="13" y="288"/>
                      <a:pt x="13" y="288"/>
                      <a:pt x="13" y="288"/>
                    </a:cubicBezTo>
                    <a:cubicBezTo>
                      <a:pt x="13" y="289"/>
                      <a:pt x="13" y="289"/>
                      <a:pt x="13" y="289"/>
                    </a:cubicBezTo>
                    <a:cubicBezTo>
                      <a:pt x="13" y="289"/>
                      <a:pt x="13" y="289"/>
                      <a:pt x="13" y="289"/>
                    </a:cubicBezTo>
                    <a:close/>
                    <a:moveTo>
                      <a:pt x="15" y="284"/>
                    </a:moveTo>
                    <a:cubicBezTo>
                      <a:pt x="16" y="284"/>
                      <a:pt x="16" y="284"/>
                      <a:pt x="16" y="284"/>
                    </a:cubicBezTo>
                    <a:cubicBezTo>
                      <a:pt x="17" y="285"/>
                      <a:pt x="17" y="285"/>
                      <a:pt x="17" y="285"/>
                    </a:cubicBezTo>
                    <a:cubicBezTo>
                      <a:pt x="16" y="286"/>
                      <a:pt x="16" y="286"/>
                      <a:pt x="16" y="286"/>
                    </a:cubicBezTo>
                    <a:cubicBezTo>
                      <a:pt x="15" y="284"/>
                      <a:pt x="15" y="284"/>
                      <a:pt x="15" y="284"/>
                    </a:cubicBezTo>
                    <a:close/>
                    <a:moveTo>
                      <a:pt x="3" y="303"/>
                    </a:moveTo>
                    <a:cubicBezTo>
                      <a:pt x="4" y="302"/>
                      <a:pt x="4" y="302"/>
                      <a:pt x="4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7" y="303"/>
                      <a:pt x="7" y="303"/>
                      <a:pt x="7" y="303"/>
                    </a:cubicBezTo>
                    <a:cubicBezTo>
                      <a:pt x="4" y="304"/>
                      <a:pt x="4" y="304"/>
                      <a:pt x="4" y="304"/>
                    </a:cubicBezTo>
                    <a:cubicBezTo>
                      <a:pt x="3" y="303"/>
                      <a:pt x="3" y="303"/>
                      <a:pt x="3" y="303"/>
                    </a:cubicBezTo>
                    <a:close/>
                    <a:moveTo>
                      <a:pt x="17" y="305"/>
                    </a:moveTo>
                    <a:cubicBezTo>
                      <a:pt x="18" y="304"/>
                      <a:pt x="18" y="304"/>
                      <a:pt x="18" y="304"/>
                    </a:cubicBezTo>
                    <a:cubicBezTo>
                      <a:pt x="18" y="305"/>
                      <a:pt x="18" y="305"/>
                      <a:pt x="18" y="305"/>
                    </a:cubicBezTo>
                    <a:cubicBezTo>
                      <a:pt x="17" y="306"/>
                      <a:pt x="17" y="306"/>
                      <a:pt x="17" y="306"/>
                    </a:cubicBezTo>
                    <a:cubicBezTo>
                      <a:pt x="17" y="305"/>
                      <a:pt x="17" y="305"/>
                      <a:pt x="17" y="305"/>
                    </a:cubicBezTo>
                    <a:close/>
                    <a:moveTo>
                      <a:pt x="14" y="305"/>
                    </a:moveTo>
                    <a:cubicBezTo>
                      <a:pt x="15" y="305"/>
                      <a:pt x="15" y="305"/>
                      <a:pt x="15" y="305"/>
                    </a:cubicBezTo>
                    <a:cubicBezTo>
                      <a:pt x="15" y="307"/>
                      <a:pt x="15" y="307"/>
                      <a:pt x="15" y="307"/>
                    </a:cubicBezTo>
                    <a:cubicBezTo>
                      <a:pt x="14" y="308"/>
                      <a:pt x="14" y="308"/>
                      <a:pt x="14" y="308"/>
                    </a:cubicBezTo>
                    <a:cubicBezTo>
                      <a:pt x="14" y="307"/>
                      <a:pt x="14" y="307"/>
                      <a:pt x="14" y="307"/>
                    </a:cubicBezTo>
                    <a:cubicBezTo>
                      <a:pt x="13" y="306"/>
                      <a:pt x="13" y="306"/>
                      <a:pt x="13" y="306"/>
                    </a:cubicBezTo>
                    <a:cubicBezTo>
                      <a:pt x="14" y="305"/>
                      <a:pt x="14" y="305"/>
                      <a:pt x="14" y="305"/>
                    </a:cubicBezTo>
                    <a:close/>
                    <a:moveTo>
                      <a:pt x="9" y="305"/>
                    </a:moveTo>
                    <a:cubicBezTo>
                      <a:pt x="10" y="304"/>
                      <a:pt x="10" y="304"/>
                      <a:pt x="10" y="304"/>
                    </a:cubicBezTo>
                    <a:cubicBezTo>
                      <a:pt x="12" y="304"/>
                      <a:pt x="12" y="304"/>
                      <a:pt x="12" y="304"/>
                    </a:cubicBezTo>
                    <a:cubicBezTo>
                      <a:pt x="10" y="306"/>
                      <a:pt x="10" y="306"/>
                      <a:pt x="10" y="306"/>
                    </a:cubicBezTo>
                    <a:cubicBezTo>
                      <a:pt x="9" y="305"/>
                      <a:pt x="9" y="305"/>
                      <a:pt x="9" y="305"/>
                    </a:cubicBezTo>
                    <a:close/>
                    <a:moveTo>
                      <a:pt x="10" y="308"/>
                    </a:moveTo>
                    <a:cubicBezTo>
                      <a:pt x="11" y="308"/>
                      <a:pt x="11" y="308"/>
                      <a:pt x="11" y="308"/>
                    </a:cubicBezTo>
                    <a:cubicBezTo>
                      <a:pt x="11" y="308"/>
                      <a:pt x="11" y="308"/>
                      <a:pt x="11" y="308"/>
                    </a:cubicBezTo>
                    <a:cubicBezTo>
                      <a:pt x="11" y="309"/>
                      <a:pt x="11" y="309"/>
                      <a:pt x="11" y="309"/>
                    </a:cubicBezTo>
                    <a:cubicBezTo>
                      <a:pt x="10" y="308"/>
                      <a:pt x="10" y="308"/>
                      <a:pt x="10" y="308"/>
                    </a:cubicBezTo>
                    <a:close/>
                    <a:moveTo>
                      <a:pt x="8" y="311"/>
                    </a:moveTo>
                    <a:cubicBezTo>
                      <a:pt x="8" y="309"/>
                      <a:pt x="8" y="309"/>
                      <a:pt x="8" y="309"/>
                    </a:cubicBezTo>
                    <a:cubicBezTo>
                      <a:pt x="10" y="309"/>
                      <a:pt x="10" y="309"/>
                      <a:pt x="10" y="309"/>
                    </a:cubicBezTo>
                    <a:cubicBezTo>
                      <a:pt x="11" y="310"/>
                      <a:pt x="11" y="310"/>
                      <a:pt x="11" y="310"/>
                    </a:cubicBezTo>
                    <a:cubicBezTo>
                      <a:pt x="10" y="311"/>
                      <a:pt x="10" y="311"/>
                      <a:pt x="10" y="311"/>
                    </a:cubicBezTo>
                    <a:cubicBezTo>
                      <a:pt x="9" y="312"/>
                      <a:pt x="9" y="312"/>
                      <a:pt x="9" y="312"/>
                    </a:cubicBezTo>
                    <a:cubicBezTo>
                      <a:pt x="8" y="312"/>
                      <a:pt x="8" y="312"/>
                      <a:pt x="8" y="312"/>
                    </a:cubicBezTo>
                    <a:cubicBezTo>
                      <a:pt x="8" y="311"/>
                      <a:pt x="8" y="311"/>
                      <a:pt x="8" y="311"/>
                    </a:cubicBezTo>
                    <a:close/>
                    <a:moveTo>
                      <a:pt x="6" y="314"/>
                    </a:moveTo>
                    <a:cubicBezTo>
                      <a:pt x="7" y="315"/>
                      <a:pt x="7" y="315"/>
                      <a:pt x="7" y="315"/>
                    </a:cubicBezTo>
                    <a:cubicBezTo>
                      <a:pt x="6" y="316"/>
                      <a:pt x="6" y="316"/>
                      <a:pt x="6" y="316"/>
                    </a:cubicBezTo>
                    <a:cubicBezTo>
                      <a:pt x="5" y="315"/>
                      <a:pt x="5" y="315"/>
                      <a:pt x="5" y="315"/>
                    </a:cubicBezTo>
                    <a:cubicBezTo>
                      <a:pt x="6" y="314"/>
                      <a:pt x="6" y="314"/>
                      <a:pt x="6" y="314"/>
                    </a:cubicBezTo>
                    <a:close/>
                    <a:moveTo>
                      <a:pt x="15" y="313"/>
                    </a:moveTo>
                    <a:cubicBezTo>
                      <a:pt x="16" y="316"/>
                      <a:pt x="16" y="316"/>
                      <a:pt x="16" y="316"/>
                    </a:cubicBezTo>
                    <a:cubicBezTo>
                      <a:pt x="14" y="315"/>
                      <a:pt x="14" y="315"/>
                      <a:pt x="14" y="315"/>
                    </a:cubicBezTo>
                    <a:cubicBezTo>
                      <a:pt x="15" y="313"/>
                      <a:pt x="15" y="313"/>
                      <a:pt x="15" y="313"/>
                    </a:cubicBezTo>
                    <a:close/>
                    <a:moveTo>
                      <a:pt x="12" y="313"/>
                    </a:moveTo>
                    <a:cubicBezTo>
                      <a:pt x="14" y="312"/>
                      <a:pt x="14" y="312"/>
                      <a:pt x="14" y="312"/>
                    </a:cubicBezTo>
                    <a:cubicBezTo>
                      <a:pt x="14" y="314"/>
                      <a:pt x="14" y="314"/>
                      <a:pt x="14" y="314"/>
                    </a:cubicBezTo>
                    <a:cubicBezTo>
                      <a:pt x="12" y="313"/>
                      <a:pt x="12" y="313"/>
                      <a:pt x="12" y="313"/>
                    </a:cubicBezTo>
                    <a:close/>
                    <a:moveTo>
                      <a:pt x="8" y="328"/>
                    </a:moveTo>
                    <a:cubicBezTo>
                      <a:pt x="9" y="328"/>
                      <a:pt x="9" y="328"/>
                      <a:pt x="9" y="328"/>
                    </a:cubicBezTo>
                    <a:cubicBezTo>
                      <a:pt x="9" y="330"/>
                      <a:pt x="9" y="330"/>
                      <a:pt x="9" y="330"/>
                    </a:cubicBezTo>
                    <a:cubicBezTo>
                      <a:pt x="8" y="330"/>
                      <a:pt x="8" y="330"/>
                      <a:pt x="8" y="330"/>
                    </a:cubicBezTo>
                    <a:cubicBezTo>
                      <a:pt x="8" y="328"/>
                      <a:pt x="8" y="328"/>
                      <a:pt x="8" y="328"/>
                    </a:cubicBezTo>
                    <a:close/>
                    <a:moveTo>
                      <a:pt x="8" y="315"/>
                    </a:moveTo>
                    <a:cubicBezTo>
                      <a:pt x="8" y="314"/>
                      <a:pt x="8" y="314"/>
                      <a:pt x="8" y="314"/>
                    </a:cubicBezTo>
                    <a:cubicBezTo>
                      <a:pt x="8" y="312"/>
                      <a:pt x="8" y="312"/>
                      <a:pt x="8" y="312"/>
                    </a:cubicBezTo>
                    <a:cubicBezTo>
                      <a:pt x="10" y="312"/>
                      <a:pt x="10" y="312"/>
                      <a:pt x="10" y="312"/>
                    </a:cubicBezTo>
                    <a:cubicBezTo>
                      <a:pt x="11" y="314"/>
                      <a:pt x="11" y="314"/>
                      <a:pt x="11" y="314"/>
                    </a:cubicBezTo>
                    <a:cubicBezTo>
                      <a:pt x="9" y="315"/>
                      <a:pt x="9" y="315"/>
                      <a:pt x="9" y="315"/>
                    </a:cubicBezTo>
                    <a:cubicBezTo>
                      <a:pt x="8" y="315"/>
                      <a:pt x="8" y="315"/>
                      <a:pt x="8" y="315"/>
                    </a:cubicBezTo>
                    <a:close/>
                    <a:moveTo>
                      <a:pt x="4" y="318"/>
                    </a:moveTo>
                    <a:cubicBezTo>
                      <a:pt x="2" y="317"/>
                      <a:pt x="2" y="317"/>
                      <a:pt x="2" y="317"/>
                    </a:cubicBezTo>
                    <a:cubicBezTo>
                      <a:pt x="2" y="316"/>
                      <a:pt x="2" y="316"/>
                      <a:pt x="2" y="316"/>
                    </a:cubicBezTo>
                    <a:cubicBezTo>
                      <a:pt x="4" y="316"/>
                      <a:pt x="4" y="316"/>
                      <a:pt x="4" y="316"/>
                    </a:cubicBezTo>
                    <a:cubicBezTo>
                      <a:pt x="5" y="317"/>
                      <a:pt x="5" y="317"/>
                      <a:pt x="5" y="317"/>
                    </a:cubicBezTo>
                    <a:cubicBezTo>
                      <a:pt x="4" y="318"/>
                      <a:pt x="4" y="318"/>
                      <a:pt x="4" y="318"/>
                    </a:cubicBezTo>
                    <a:close/>
                    <a:moveTo>
                      <a:pt x="11" y="325"/>
                    </a:moveTo>
                    <a:cubicBezTo>
                      <a:pt x="13" y="325"/>
                      <a:pt x="13" y="325"/>
                      <a:pt x="13" y="325"/>
                    </a:cubicBezTo>
                    <a:cubicBezTo>
                      <a:pt x="13" y="327"/>
                      <a:pt x="13" y="327"/>
                      <a:pt x="13" y="327"/>
                    </a:cubicBezTo>
                    <a:cubicBezTo>
                      <a:pt x="11" y="325"/>
                      <a:pt x="11" y="325"/>
                      <a:pt x="11" y="325"/>
                    </a:cubicBezTo>
                    <a:close/>
                    <a:moveTo>
                      <a:pt x="13" y="327"/>
                    </a:moveTo>
                    <a:cubicBezTo>
                      <a:pt x="15" y="327"/>
                      <a:pt x="15" y="327"/>
                      <a:pt x="15" y="327"/>
                    </a:cubicBezTo>
                    <a:cubicBezTo>
                      <a:pt x="14" y="329"/>
                      <a:pt x="14" y="329"/>
                      <a:pt x="14" y="329"/>
                    </a:cubicBezTo>
                    <a:cubicBezTo>
                      <a:pt x="13" y="327"/>
                      <a:pt x="13" y="327"/>
                      <a:pt x="13" y="327"/>
                    </a:cubicBezTo>
                    <a:close/>
                    <a:moveTo>
                      <a:pt x="17" y="310"/>
                    </a:moveTo>
                    <a:cubicBezTo>
                      <a:pt x="18" y="310"/>
                      <a:pt x="18" y="310"/>
                      <a:pt x="18" y="310"/>
                    </a:cubicBezTo>
                    <a:cubicBezTo>
                      <a:pt x="19" y="311"/>
                      <a:pt x="19" y="311"/>
                      <a:pt x="19" y="311"/>
                    </a:cubicBezTo>
                    <a:cubicBezTo>
                      <a:pt x="17" y="311"/>
                      <a:pt x="17" y="311"/>
                      <a:pt x="17" y="311"/>
                    </a:cubicBezTo>
                    <a:cubicBezTo>
                      <a:pt x="17" y="310"/>
                      <a:pt x="17" y="310"/>
                      <a:pt x="17" y="310"/>
                    </a:cubicBezTo>
                    <a:close/>
                    <a:moveTo>
                      <a:pt x="20" y="312"/>
                    </a:moveTo>
                    <a:cubicBezTo>
                      <a:pt x="22" y="312"/>
                      <a:pt x="22" y="312"/>
                      <a:pt x="22" y="312"/>
                    </a:cubicBezTo>
                    <a:cubicBezTo>
                      <a:pt x="22" y="313"/>
                      <a:pt x="22" y="313"/>
                      <a:pt x="22" y="313"/>
                    </a:cubicBezTo>
                    <a:cubicBezTo>
                      <a:pt x="24" y="315"/>
                      <a:pt x="24" y="315"/>
                      <a:pt x="24" y="315"/>
                    </a:cubicBezTo>
                    <a:cubicBezTo>
                      <a:pt x="23" y="317"/>
                      <a:pt x="23" y="317"/>
                      <a:pt x="23" y="317"/>
                    </a:cubicBezTo>
                    <a:cubicBezTo>
                      <a:pt x="22" y="318"/>
                      <a:pt x="22" y="318"/>
                      <a:pt x="22" y="318"/>
                    </a:cubicBezTo>
                    <a:cubicBezTo>
                      <a:pt x="21" y="318"/>
                      <a:pt x="21" y="318"/>
                      <a:pt x="21" y="318"/>
                    </a:cubicBezTo>
                    <a:cubicBezTo>
                      <a:pt x="20" y="318"/>
                      <a:pt x="20" y="318"/>
                      <a:pt x="20" y="318"/>
                    </a:cubicBezTo>
                    <a:cubicBezTo>
                      <a:pt x="19" y="318"/>
                      <a:pt x="19" y="318"/>
                      <a:pt x="19" y="318"/>
                    </a:cubicBezTo>
                    <a:cubicBezTo>
                      <a:pt x="18" y="319"/>
                      <a:pt x="18" y="319"/>
                      <a:pt x="18" y="319"/>
                    </a:cubicBezTo>
                    <a:cubicBezTo>
                      <a:pt x="18" y="317"/>
                      <a:pt x="18" y="317"/>
                      <a:pt x="18" y="317"/>
                    </a:cubicBezTo>
                    <a:cubicBezTo>
                      <a:pt x="17" y="315"/>
                      <a:pt x="17" y="315"/>
                      <a:pt x="17" y="315"/>
                    </a:cubicBezTo>
                    <a:cubicBezTo>
                      <a:pt x="18" y="312"/>
                      <a:pt x="18" y="312"/>
                      <a:pt x="18" y="312"/>
                    </a:cubicBezTo>
                    <a:cubicBezTo>
                      <a:pt x="20" y="312"/>
                      <a:pt x="20" y="312"/>
                      <a:pt x="20" y="312"/>
                    </a:cubicBezTo>
                    <a:close/>
                    <a:moveTo>
                      <a:pt x="9" y="318"/>
                    </a:moveTo>
                    <a:cubicBezTo>
                      <a:pt x="10" y="316"/>
                      <a:pt x="10" y="316"/>
                      <a:pt x="10" y="316"/>
                    </a:cubicBezTo>
                    <a:cubicBezTo>
                      <a:pt x="14" y="316"/>
                      <a:pt x="14" y="316"/>
                      <a:pt x="14" y="316"/>
                    </a:cubicBezTo>
                    <a:cubicBezTo>
                      <a:pt x="13" y="317"/>
                      <a:pt x="13" y="317"/>
                      <a:pt x="13" y="317"/>
                    </a:cubicBezTo>
                    <a:cubicBezTo>
                      <a:pt x="10" y="318"/>
                      <a:pt x="10" y="318"/>
                      <a:pt x="10" y="318"/>
                    </a:cubicBezTo>
                    <a:cubicBezTo>
                      <a:pt x="10" y="318"/>
                      <a:pt x="10" y="318"/>
                      <a:pt x="10" y="318"/>
                    </a:cubicBezTo>
                    <a:cubicBezTo>
                      <a:pt x="10" y="318"/>
                      <a:pt x="9" y="318"/>
                      <a:pt x="9" y="318"/>
                    </a:cubicBezTo>
                    <a:close/>
                    <a:moveTo>
                      <a:pt x="12" y="321"/>
                    </a:moveTo>
                    <a:cubicBezTo>
                      <a:pt x="11" y="320"/>
                      <a:pt x="11" y="320"/>
                      <a:pt x="11" y="320"/>
                    </a:cubicBezTo>
                    <a:cubicBezTo>
                      <a:pt x="13" y="320"/>
                      <a:pt x="13" y="320"/>
                      <a:pt x="13" y="320"/>
                    </a:cubicBezTo>
                    <a:cubicBezTo>
                      <a:pt x="14" y="320"/>
                      <a:pt x="14" y="320"/>
                      <a:pt x="14" y="320"/>
                    </a:cubicBezTo>
                    <a:cubicBezTo>
                      <a:pt x="14" y="321"/>
                      <a:pt x="14" y="321"/>
                      <a:pt x="14" y="321"/>
                    </a:cubicBezTo>
                    <a:cubicBezTo>
                      <a:pt x="12" y="321"/>
                      <a:pt x="12" y="321"/>
                      <a:pt x="12" y="321"/>
                    </a:cubicBezTo>
                    <a:close/>
                    <a:moveTo>
                      <a:pt x="12" y="323"/>
                    </a:moveTo>
                    <a:cubicBezTo>
                      <a:pt x="14" y="322"/>
                      <a:pt x="14" y="322"/>
                      <a:pt x="14" y="322"/>
                    </a:cubicBezTo>
                    <a:cubicBezTo>
                      <a:pt x="16" y="322"/>
                      <a:pt x="16" y="322"/>
                      <a:pt x="16" y="322"/>
                    </a:cubicBezTo>
                    <a:cubicBezTo>
                      <a:pt x="16" y="325"/>
                      <a:pt x="16" y="325"/>
                      <a:pt x="16" y="325"/>
                    </a:cubicBezTo>
                    <a:cubicBezTo>
                      <a:pt x="15" y="326"/>
                      <a:pt x="15" y="326"/>
                      <a:pt x="15" y="326"/>
                    </a:cubicBezTo>
                    <a:cubicBezTo>
                      <a:pt x="14" y="326"/>
                      <a:pt x="14" y="326"/>
                      <a:pt x="14" y="326"/>
                    </a:cubicBezTo>
                    <a:cubicBezTo>
                      <a:pt x="13" y="324"/>
                      <a:pt x="13" y="324"/>
                      <a:pt x="13" y="324"/>
                    </a:cubicBezTo>
                    <a:cubicBezTo>
                      <a:pt x="12" y="323"/>
                      <a:pt x="12" y="323"/>
                      <a:pt x="12" y="323"/>
                    </a:cubicBezTo>
                    <a:close/>
                    <a:moveTo>
                      <a:pt x="10" y="328"/>
                    </a:moveTo>
                    <a:cubicBezTo>
                      <a:pt x="10" y="327"/>
                      <a:pt x="10" y="327"/>
                      <a:pt x="10" y="327"/>
                    </a:cubicBezTo>
                    <a:cubicBezTo>
                      <a:pt x="11" y="328"/>
                      <a:pt x="11" y="328"/>
                      <a:pt x="11" y="328"/>
                    </a:cubicBezTo>
                    <a:cubicBezTo>
                      <a:pt x="13" y="328"/>
                      <a:pt x="13" y="328"/>
                      <a:pt x="13" y="328"/>
                    </a:cubicBezTo>
                    <a:cubicBezTo>
                      <a:pt x="13" y="330"/>
                      <a:pt x="13" y="330"/>
                      <a:pt x="13" y="330"/>
                    </a:cubicBezTo>
                    <a:cubicBezTo>
                      <a:pt x="11" y="330"/>
                      <a:pt x="11" y="330"/>
                      <a:pt x="11" y="330"/>
                    </a:cubicBezTo>
                    <a:cubicBezTo>
                      <a:pt x="10" y="328"/>
                      <a:pt x="10" y="328"/>
                      <a:pt x="10" y="328"/>
                    </a:cubicBezTo>
                    <a:close/>
                    <a:moveTo>
                      <a:pt x="15" y="366"/>
                    </a:moveTo>
                    <a:cubicBezTo>
                      <a:pt x="16" y="365"/>
                      <a:pt x="16" y="365"/>
                      <a:pt x="16" y="365"/>
                    </a:cubicBezTo>
                    <a:cubicBezTo>
                      <a:pt x="15" y="364"/>
                      <a:pt x="15" y="364"/>
                      <a:pt x="15" y="364"/>
                    </a:cubicBezTo>
                    <a:cubicBezTo>
                      <a:pt x="15" y="365"/>
                      <a:pt x="15" y="365"/>
                      <a:pt x="15" y="365"/>
                    </a:cubicBezTo>
                    <a:cubicBezTo>
                      <a:pt x="12" y="362"/>
                      <a:pt x="12" y="362"/>
                      <a:pt x="12" y="362"/>
                    </a:cubicBezTo>
                    <a:cubicBezTo>
                      <a:pt x="10" y="360"/>
                      <a:pt x="10" y="360"/>
                      <a:pt x="10" y="360"/>
                    </a:cubicBezTo>
                    <a:cubicBezTo>
                      <a:pt x="11" y="359"/>
                      <a:pt x="11" y="359"/>
                      <a:pt x="11" y="359"/>
                    </a:cubicBezTo>
                    <a:cubicBezTo>
                      <a:pt x="13" y="359"/>
                      <a:pt x="13" y="359"/>
                      <a:pt x="13" y="359"/>
                    </a:cubicBezTo>
                    <a:cubicBezTo>
                      <a:pt x="14" y="358"/>
                      <a:pt x="14" y="358"/>
                      <a:pt x="14" y="358"/>
                    </a:cubicBezTo>
                    <a:cubicBezTo>
                      <a:pt x="15" y="361"/>
                      <a:pt x="15" y="361"/>
                      <a:pt x="15" y="361"/>
                    </a:cubicBezTo>
                    <a:cubicBezTo>
                      <a:pt x="16" y="362"/>
                      <a:pt x="16" y="362"/>
                      <a:pt x="16" y="362"/>
                    </a:cubicBezTo>
                    <a:cubicBezTo>
                      <a:pt x="17" y="364"/>
                      <a:pt x="17" y="364"/>
                      <a:pt x="17" y="364"/>
                    </a:cubicBezTo>
                    <a:cubicBezTo>
                      <a:pt x="18" y="365"/>
                      <a:pt x="18" y="365"/>
                      <a:pt x="18" y="365"/>
                    </a:cubicBezTo>
                    <a:cubicBezTo>
                      <a:pt x="19" y="369"/>
                      <a:pt x="19" y="369"/>
                      <a:pt x="19" y="369"/>
                    </a:cubicBezTo>
                    <a:cubicBezTo>
                      <a:pt x="17" y="368"/>
                      <a:pt x="17" y="368"/>
                      <a:pt x="17" y="368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6"/>
                      <a:pt x="15" y="366"/>
                      <a:pt x="15" y="366"/>
                    </a:cubicBezTo>
                    <a:close/>
                    <a:moveTo>
                      <a:pt x="8" y="363"/>
                    </a:moveTo>
                    <a:cubicBezTo>
                      <a:pt x="8" y="361"/>
                      <a:pt x="8" y="361"/>
                      <a:pt x="8" y="361"/>
                    </a:cubicBezTo>
                    <a:cubicBezTo>
                      <a:pt x="8" y="361"/>
                      <a:pt x="8" y="361"/>
                      <a:pt x="8" y="361"/>
                    </a:cubicBezTo>
                    <a:cubicBezTo>
                      <a:pt x="10" y="361"/>
                      <a:pt x="10" y="361"/>
                      <a:pt x="10" y="361"/>
                    </a:cubicBezTo>
                    <a:cubicBezTo>
                      <a:pt x="12" y="365"/>
                      <a:pt x="12" y="365"/>
                      <a:pt x="12" y="365"/>
                    </a:cubicBezTo>
                    <a:cubicBezTo>
                      <a:pt x="14" y="368"/>
                      <a:pt x="14" y="368"/>
                      <a:pt x="14" y="368"/>
                    </a:cubicBezTo>
                    <a:cubicBezTo>
                      <a:pt x="14" y="370"/>
                      <a:pt x="14" y="370"/>
                      <a:pt x="14" y="370"/>
                    </a:cubicBezTo>
                    <a:cubicBezTo>
                      <a:pt x="13" y="371"/>
                      <a:pt x="13" y="371"/>
                      <a:pt x="13" y="371"/>
                    </a:cubicBezTo>
                    <a:cubicBezTo>
                      <a:pt x="12" y="370"/>
                      <a:pt x="12" y="370"/>
                      <a:pt x="12" y="370"/>
                    </a:cubicBezTo>
                    <a:cubicBezTo>
                      <a:pt x="11" y="367"/>
                      <a:pt x="11" y="367"/>
                      <a:pt x="11" y="367"/>
                    </a:cubicBezTo>
                    <a:cubicBezTo>
                      <a:pt x="11" y="366"/>
                      <a:pt x="11" y="366"/>
                      <a:pt x="11" y="366"/>
                    </a:cubicBezTo>
                    <a:cubicBezTo>
                      <a:pt x="10" y="365"/>
                      <a:pt x="10" y="365"/>
                      <a:pt x="10" y="365"/>
                    </a:cubicBezTo>
                    <a:cubicBezTo>
                      <a:pt x="8" y="365"/>
                      <a:pt x="8" y="365"/>
                      <a:pt x="8" y="365"/>
                    </a:cubicBezTo>
                    <a:cubicBezTo>
                      <a:pt x="8" y="363"/>
                      <a:pt x="8" y="363"/>
                      <a:pt x="8" y="363"/>
                    </a:cubicBezTo>
                    <a:close/>
                    <a:moveTo>
                      <a:pt x="8" y="366"/>
                    </a:moveTo>
                    <a:cubicBezTo>
                      <a:pt x="9" y="366"/>
                      <a:pt x="9" y="366"/>
                      <a:pt x="9" y="366"/>
                    </a:cubicBezTo>
                    <a:cubicBezTo>
                      <a:pt x="10" y="367"/>
                      <a:pt x="10" y="367"/>
                      <a:pt x="10" y="367"/>
                    </a:cubicBezTo>
                    <a:cubicBezTo>
                      <a:pt x="11" y="369"/>
                      <a:pt x="11" y="369"/>
                      <a:pt x="11" y="369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9" y="370"/>
                      <a:pt x="9" y="370"/>
                      <a:pt x="9" y="370"/>
                    </a:cubicBezTo>
                    <a:cubicBezTo>
                      <a:pt x="9" y="369"/>
                      <a:pt x="9" y="369"/>
                      <a:pt x="9" y="369"/>
                    </a:cubicBezTo>
                    <a:cubicBezTo>
                      <a:pt x="8" y="369"/>
                      <a:pt x="8" y="369"/>
                      <a:pt x="8" y="369"/>
                    </a:cubicBezTo>
                    <a:cubicBezTo>
                      <a:pt x="8" y="366"/>
                      <a:pt x="8" y="366"/>
                      <a:pt x="8" y="366"/>
                    </a:cubicBezTo>
                    <a:close/>
                    <a:moveTo>
                      <a:pt x="11" y="378"/>
                    </a:moveTo>
                    <a:cubicBezTo>
                      <a:pt x="11" y="377"/>
                      <a:pt x="11" y="377"/>
                      <a:pt x="11" y="377"/>
                    </a:cubicBezTo>
                    <a:cubicBezTo>
                      <a:pt x="11" y="376"/>
                      <a:pt x="11" y="376"/>
                      <a:pt x="11" y="376"/>
                    </a:cubicBezTo>
                    <a:cubicBezTo>
                      <a:pt x="10" y="372"/>
                      <a:pt x="10" y="372"/>
                      <a:pt x="10" y="372"/>
                    </a:cubicBezTo>
                    <a:cubicBezTo>
                      <a:pt x="11" y="371"/>
                      <a:pt x="11" y="371"/>
                      <a:pt x="11" y="371"/>
                    </a:cubicBezTo>
                    <a:cubicBezTo>
                      <a:pt x="11" y="372"/>
                      <a:pt x="11" y="372"/>
                      <a:pt x="11" y="372"/>
                    </a:cubicBezTo>
                    <a:cubicBezTo>
                      <a:pt x="14" y="373"/>
                      <a:pt x="14" y="373"/>
                      <a:pt x="14" y="373"/>
                    </a:cubicBezTo>
                    <a:cubicBezTo>
                      <a:pt x="14" y="374"/>
                      <a:pt x="14" y="374"/>
                      <a:pt x="14" y="374"/>
                    </a:cubicBezTo>
                    <a:cubicBezTo>
                      <a:pt x="13" y="375"/>
                      <a:pt x="13" y="375"/>
                      <a:pt x="13" y="375"/>
                    </a:cubicBezTo>
                    <a:cubicBezTo>
                      <a:pt x="11" y="378"/>
                      <a:pt x="11" y="378"/>
                      <a:pt x="11" y="378"/>
                    </a:cubicBezTo>
                    <a:close/>
                    <a:moveTo>
                      <a:pt x="14" y="385"/>
                    </a:moveTo>
                    <a:cubicBezTo>
                      <a:pt x="13" y="386"/>
                      <a:pt x="13" y="386"/>
                      <a:pt x="13" y="386"/>
                    </a:cubicBezTo>
                    <a:cubicBezTo>
                      <a:pt x="12" y="385"/>
                      <a:pt x="12" y="385"/>
                      <a:pt x="12" y="385"/>
                    </a:cubicBezTo>
                    <a:cubicBezTo>
                      <a:pt x="12" y="384"/>
                      <a:pt x="12" y="384"/>
                      <a:pt x="12" y="384"/>
                    </a:cubicBezTo>
                    <a:cubicBezTo>
                      <a:pt x="11" y="383"/>
                      <a:pt x="11" y="383"/>
                      <a:pt x="11" y="383"/>
                    </a:cubicBezTo>
                    <a:cubicBezTo>
                      <a:pt x="13" y="382"/>
                      <a:pt x="13" y="382"/>
                      <a:pt x="13" y="382"/>
                    </a:cubicBezTo>
                    <a:cubicBezTo>
                      <a:pt x="15" y="383"/>
                      <a:pt x="15" y="383"/>
                      <a:pt x="15" y="383"/>
                    </a:cubicBezTo>
                    <a:cubicBezTo>
                      <a:pt x="14" y="385"/>
                      <a:pt x="14" y="385"/>
                      <a:pt x="14" y="385"/>
                    </a:cubicBezTo>
                    <a:close/>
                    <a:moveTo>
                      <a:pt x="19" y="384"/>
                    </a:moveTo>
                    <a:cubicBezTo>
                      <a:pt x="18" y="386"/>
                      <a:pt x="18" y="386"/>
                      <a:pt x="18" y="386"/>
                    </a:cubicBezTo>
                    <a:cubicBezTo>
                      <a:pt x="18" y="387"/>
                      <a:pt x="18" y="387"/>
                      <a:pt x="18" y="387"/>
                    </a:cubicBezTo>
                    <a:cubicBezTo>
                      <a:pt x="16" y="385"/>
                      <a:pt x="16" y="385"/>
                      <a:pt x="16" y="385"/>
                    </a:cubicBezTo>
                    <a:cubicBezTo>
                      <a:pt x="15" y="383"/>
                      <a:pt x="15" y="383"/>
                      <a:pt x="15" y="383"/>
                    </a:cubicBezTo>
                    <a:cubicBezTo>
                      <a:pt x="13" y="379"/>
                      <a:pt x="13" y="379"/>
                      <a:pt x="13" y="379"/>
                    </a:cubicBezTo>
                    <a:cubicBezTo>
                      <a:pt x="15" y="379"/>
                      <a:pt x="15" y="379"/>
                      <a:pt x="15" y="379"/>
                    </a:cubicBezTo>
                    <a:cubicBezTo>
                      <a:pt x="17" y="377"/>
                      <a:pt x="17" y="377"/>
                      <a:pt x="17" y="377"/>
                    </a:cubicBezTo>
                    <a:cubicBezTo>
                      <a:pt x="17" y="376"/>
                      <a:pt x="17" y="376"/>
                      <a:pt x="17" y="376"/>
                    </a:cubicBezTo>
                    <a:cubicBezTo>
                      <a:pt x="16" y="377"/>
                      <a:pt x="16" y="377"/>
                      <a:pt x="16" y="377"/>
                    </a:cubicBezTo>
                    <a:cubicBezTo>
                      <a:pt x="15" y="377"/>
                      <a:pt x="15" y="377"/>
                      <a:pt x="15" y="377"/>
                    </a:cubicBezTo>
                    <a:cubicBezTo>
                      <a:pt x="15" y="376"/>
                      <a:pt x="15" y="376"/>
                      <a:pt x="15" y="376"/>
                    </a:cubicBezTo>
                    <a:cubicBezTo>
                      <a:pt x="15" y="374"/>
                      <a:pt x="15" y="374"/>
                      <a:pt x="15" y="374"/>
                    </a:cubicBezTo>
                    <a:cubicBezTo>
                      <a:pt x="14" y="373"/>
                      <a:pt x="14" y="373"/>
                      <a:pt x="14" y="373"/>
                    </a:cubicBezTo>
                    <a:cubicBezTo>
                      <a:pt x="14" y="371"/>
                      <a:pt x="14" y="371"/>
                      <a:pt x="14" y="371"/>
                    </a:cubicBezTo>
                    <a:cubicBezTo>
                      <a:pt x="15" y="370"/>
                      <a:pt x="15" y="370"/>
                      <a:pt x="15" y="370"/>
                    </a:cubicBezTo>
                    <a:cubicBezTo>
                      <a:pt x="18" y="370"/>
                      <a:pt x="18" y="370"/>
                      <a:pt x="18" y="370"/>
                    </a:cubicBezTo>
                    <a:cubicBezTo>
                      <a:pt x="19" y="371"/>
                      <a:pt x="19" y="371"/>
                      <a:pt x="19" y="371"/>
                    </a:cubicBezTo>
                    <a:cubicBezTo>
                      <a:pt x="20" y="375"/>
                      <a:pt x="20" y="375"/>
                      <a:pt x="20" y="375"/>
                    </a:cubicBezTo>
                    <a:cubicBezTo>
                      <a:pt x="21" y="378"/>
                      <a:pt x="21" y="378"/>
                      <a:pt x="21" y="378"/>
                    </a:cubicBezTo>
                    <a:cubicBezTo>
                      <a:pt x="22" y="381"/>
                      <a:pt x="22" y="381"/>
                      <a:pt x="22" y="381"/>
                    </a:cubicBezTo>
                    <a:cubicBezTo>
                      <a:pt x="21" y="382"/>
                      <a:pt x="21" y="382"/>
                      <a:pt x="21" y="382"/>
                    </a:cubicBezTo>
                    <a:cubicBezTo>
                      <a:pt x="22" y="385"/>
                      <a:pt x="22" y="385"/>
                      <a:pt x="22" y="385"/>
                    </a:cubicBezTo>
                    <a:cubicBezTo>
                      <a:pt x="22" y="388"/>
                      <a:pt x="22" y="388"/>
                      <a:pt x="22" y="388"/>
                    </a:cubicBezTo>
                    <a:cubicBezTo>
                      <a:pt x="21" y="389"/>
                      <a:pt x="21" y="389"/>
                      <a:pt x="21" y="389"/>
                    </a:cubicBezTo>
                    <a:cubicBezTo>
                      <a:pt x="20" y="388"/>
                      <a:pt x="20" y="388"/>
                      <a:pt x="20" y="388"/>
                    </a:cubicBezTo>
                    <a:cubicBezTo>
                      <a:pt x="19" y="386"/>
                      <a:pt x="19" y="386"/>
                      <a:pt x="19" y="386"/>
                    </a:cubicBezTo>
                    <a:cubicBezTo>
                      <a:pt x="19" y="384"/>
                      <a:pt x="19" y="384"/>
                      <a:pt x="19" y="384"/>
                    </a:cubicBezTo>
                    <a:close/>
                    <a:moveTo>
                      <a:pt x="17" y="394"/>
                    </a:moveTo>
                    <a:cubicBezTo>
                      <a:pt x="17" y="393"/>
                      <a:pt x="17" y="393"/>
                      <a:pt x="17" y="393"/>
                    </a:cubicBezTo>
                    <a:cubicBezTo>
                      <a:pt x="16" y="392"/>
                      <a:pt x="16" y="392"/>
                      <a:pt x="16" y="392"/>
                    </a:cubicBezTo>
                    <a:cubicBezTo>
                      <a:pt x="16" y="391"/>
                      <a:pt x="16" y="391"/>
                      <a:pt x="16" y="391"/>
                    </a:cubicBezTo>
                    <a:cubicBezTo>
                      <a:pt x="17" y="390"/>
                      <a:pt x="17" y="390"/>
                      <a:pt x="17" y="390"/>
                    </a:cubicBezTo>
                    <a:cubicBezTo>
                      <a:pt x="17" y="389"/>
                      <a:pt x="17" y="389"/>
                      <a:pt x="17" y="389"/>
                    </a:cubicBezTo>
                    <a:cubicBezTo>
                      <a:pt x="18" y="390"/>
                      <a:pt x="18" y="390"/>
                      <a:pt x="18" y="390"/>
                    </a:cubicBezTo>
                    <a:cubicBezTo>
                      <a:pt x="20" y="390"/>
                      <a:pt x="20" y="390"/>
                      <a:pt x="20" y="390"/>
                    </a:cubicBezTo>
                    <a:cubicBezTo>
                      <a:pt x="19" y="392"/>
                      <a:pt x="19" y="392"/>
                      <a:pt x="19" y="392"/>
                    </a:cubicBezTo>
                    <a:cubicBezTo>
                      <a:pt x="19" y="393"/>
                      <a:pt x="19" y="393"/>
                      <a:pt x="19" y="393"/>
                    </a:cubicBezTo>
                    <a:cubicBezTo>
                      <a:pt x="18" y="394"/>
                      <a:pt x="18" y="394"/>
                      <a:pt x="18" y="394"/>
                    </a:cubicBezTo>
                    <a:cubicBezTo>
                      <a:pt x="17" y="394"/>
                      <a:pt x="17" y="394"/>
                      <a:pt x="17" y="394"/>
                    </a:cubicBezTo>
                    <a:close/>
                    <a:moveTo>
                      <a:pt x="16" y="397"/>
                    </a:moveTo>
                    <a:cubicBezTo>
                      <a:pt x="16" y="395"/>
                      <a:pt x="16" y="395"/>
                      <a:pt x="16" y="395"/>
                    </a:cubicBezTo>
                    <a:cubicBezTo>
                      <a:pt x="19" y="395"/>
                      <a:pt x="19" y="395"/>
                      <a:pt x="19" y="395"/>
                    </a:cubicBezTo>
                    <a:cubicBezTo>
                      <a:pt x="17" y="396"/>
                      <a:pt x="17" y="396"/>
                      <a:pt x="17" y="396"/>
                    </a:cubicBezTo>
                    <a:cubicBezTo>
                      <a:pt x="16" y="397"/>
                      <a:pt x="16" y="397"/>
                      <a:pt x="16" y="397"/>
                    </a:cubicBezTo>
                    <a:close/>
                    <a:moveTo>
                      <a:pt x="20" y="396"/>
                    </a:moveTo>
                    <a:cubicBezTo>
                      <a:pt x="21" y="397"/>
                      <a:pt x="21" y="397"/>
                      <a:pt x="21" y="397"/>
                    </a:cubicBezTo>
                    <a:cubicBezTo>
                      <a:pt x="21" y="399"/>
                      <a:pt x="21" y="399"/>
                      <a:pt x="21" y="399"/>
                    </a:cubicBezTo>
                    <a:cubicBezTo>
                      <a:pt x="20" y="400"/>
                      <a:pt x="20" y="400"/>
                      <a:pt x="20" y="400"/>
                    </a:cubicBezTo>
                    <a:cubicBezTo>
                      <a:pt x="20" y="398"/>
                      <a:pt x="20" y="398"/>
                      <a:pt x="20" y="398"/>
                    </a:cubicBezTo>
                    <a:cubicBezTo>
                      <a:pt x="20" y="396"/>
                      <a:pt x="20" y="396"/>
                      <a:pt x="20" y="396"/>
                    </a:cubicBezTo>
                    <a:close/>
                    <a:moveTo>
                      <a:pt x="21" y="395"/>
                    </a:moveTo>
                    <a:cubicBezTo>
                      <a:pt x="22" y="394"/>
                      <a:pt x="22" y="394"/>
                      <a:pt x="22" y="394"/>
                    </a:cubicBezTo>
                    <a:cubicBezTo>
                      <a:pt x="22" y="394"/>
                      <a:pt x="22" y="394"/>
                      <a:pt x="22" y="394"/>
                    </a:cubicBezTo>
                    <a:cubicBezTo>
                      <a:pt x="24" y="395"/>
                      <a:pt x="24" y="395"/>
                      <a:pt x="24" y="395"/>
                    </a:cubicBezTo>
                    <a:cubicBezTo>
                      <a:pt x="25" y="395"/>
                      <a:pt x="25" y="395"/>
                      <a:pt x="25" y="395"/>
                    </a:cubicBezTo>
                    <a:cubicBezTo>
                      <a:pt x="27" y="398"/>
                      <a:pt x="27" y="398"/>
                      <a:pt x="27" y="398"/>
                    </a:cubicBezTo>
                    <a:cubicBezTo>
                      <a:pt x="27" y="400"/>
                      <a:pt x="27" y="400"/>
                      <a:pt x="27" y="400"/>
                    </a:cubicBezTo>
                    <a:cubicBezTo>
                      <a:pt x="25" y="398"/>
                      <a:pt x="25" y="398"/>
                      <a:pt x="25" y="398"/>
                    </a:cubicBezTo>
                    <a:cubicBezTo>
                      <a:pt x="23" y="397"/>
                      <a:pt x="23" y="397"/>
                      <a:pt x="23" y="397"/>
                    </a:cubicBezTo>
                    <a:cubicBezTo>
                      <a:pt x="21" y="395"/>
                      <a:pt x="21" y="395"/>
                      <a:pt x="21" y="395"/>
                    </a:cubicBezTo>
                    <a:close/>
                    <a:moveTo>
                      <a:pt x="21" y="398"/>
                    </a:moveTo>
                    <a:cubicBezTo>
                      <a:pt x="22" y="398"/>
                      <a:pt x="22" y="398"/>
                      <a:pt x="22" y="398"/>
                    </a:cubicBezTo>
                    <a:cubicBezTo>
                      <a:pt x="24" y="399"/>
                      <a:pt x="24" y="399"/>
                      <a:pt x="24" y="399"/>
                    </a:cubicBezTo>
                    <a:cubicBezTo>
                      <a:pt x="26" y="402"/>
                      <a:pt x="26" y="402"/>
                      <a:pt x="26" y="402"/>
                    </a:cubicBezTo>
                    <a:cubicBezTo>
                      <a:pt x="26" y="404"/>
                      <a:pt x="26" y="404"/>
                      <a:pt x="26" y="404"/>
                    </a:cubicBezTo>
                    <a:cubicBezTo>
                      <a:pt x="24" y="403"/>
                      <a:pt x="24" y="403"/>
                      <a:pt x="24" y="403"/>
                    </a:cubicBezTo>
                    <a:cubicBezTo>
                      <a:pt x="22" y="401"/>
                      <a:pt x="22" y="401"/>
                      <a:pt x="22" y="401"/>
                    </a:cubicBezTo>
                    <a:cubicBezTo>
                      <a:pt x="21" y="398"/>
                      <a:pt x="21" y="398"/>
                      <a:pt x="21" y="398"/>
                    </a:cubicBezTo>
                    <a:close/>
                    <a:moveTo>
                      <a:pt x="23" y="408"/>
                    </a:moveTo>
                    <a:cubicBezTo>
                      <a:pt x="21" y="409"/>
                      <a:pt x="21" y="409"/>
                      <a:pt x="21" y="409"/>
                    </a:cubicBezTo>
                    <a:cubicBezTo>
                      <a:pt x="20" y="408"/>
                      <a:pt x="20" y="408"/>
                      <a:pt x="20" y="408"/>
                    </a:cubicBezTo>
                    <a:cubicBezTo>
                      <a:pt x="21" y="407"/>
                      <a:pt x="21" y="407"/>
                      <a:pt x="21" y="407"/>
                    </a:cubicBezTo>
                    <a:cubicBezTo>
                      <a:pt x="22" y="405"/>
                      <a:pt x="22" y="405"/>
                      <a:pt x="22" y="405"/>
                    </a:cubicBezTo>
                    <a:cubicBezTo>
                      <a:pt x="21" y="404"/>
                      <a:pt x="21" y="404"/>
                      <a:pt x="21" y="404"/>
                    </a:cubicBezTo>
                    <a:cubicBezTo>
                      <a:pt x="22" y="403"/>
                      <a:pt x="22" y="403"/>
                      <a:pt x="22" y="403"/>
                    </a:cubicBezTo>
                    <a:cubicBezTo>
                      <a:pt x="23" y="404"/>
                      <a:pt x="23" y="404"/>
                      <a:pt x="23" y="404"/>
                    </a:cubicBezTo>
                    <a:cubicBezTo>
                      <a:pt x="24" y="404"/>
                      <a:pt x="24" y="404"/>
                      <a:pt x="24" y="404"/>
                    </a:cubicBezTo>
                    <a:cubicBezTo>
                      <a:pt x="27" y="406"/>
                      <a:pt x="27" y="406"/>
                      <a:pt x="27" y="406"/>
                    </a:cubicBezTo>
                    <a:cubicBezTo>
                      <a:pt x="27" y="407"/>
                      <a:pt x="27" y="407"/>
                      <a:pt x="27" y="407"/>
                    </a:cubicBezTo>
                    <a:cubicBezTo>
                      <a:pt x="25" y="407"/>
                      <a:pt x="25" y="407"/>
                      <a:pt x="25" y="407"/>
                    </a:cubicBezTo>
                    <a:cubicBezTo>
                      <a:pt x="25" y="408"/>
                      <a:pt x="25" y="408"/>
                      <a:pt x="25" y="408"/>
                    </a:cubicBezTo>
                    <a:cubicBezTo>
                      <a:pt x="23" y="408"/>
                      <a:pt x="23" y="408"/>
                      <a:pt x="23" y="408"/>
                    </a:cubicBezTo>
                    <a:close/>
                    <a:moveTo>
                      <a:pt x="26" y="416"/>
                    </a:moveTo>
                    <a:cubicBezTo>
                      <a:pt x="24" y="416"/>
                      <a:pt x="24" y="416"/>
                      <a:pt x="24" y="416"/>
                    </a:cubicBezTo>
                    <a:cubicBezTo>
                      <a:pt x="24" y="416"/>
                      <a:pt x="24" y="416"/>
                      <a:pt x="24" y="416"/>
                    </a:cubicBezTo>
                    <a:cubicBezTo>
                      <a:pt x="23" y="414"/>
                      <a:pt x="23" y="414"/>
                      <a:pt x="23" y="414"/>
                    </a:cubicBezTo>
                    <a:cubicBezTo>
                      <a:pt x="24" y="413"/>
                      <a:pt x="24" y="413"/>
                      <a:pt x="24" y="413"/>
                    </a:cubicBezTo>
                    <a:cubicBezTo>
                      <a:pt x="24" y="412"/>
                      <a:pt x="24" y="412"/>
                      <a:pt x="24" y="412"/>
                    </a:cubicBezTo>
                    <a:cubicBezTo>
                      <a:pt x="24" y="412"/>
                      <a:pt x="24" y="412"/>
                      <a:pt x="24" y="412"/>
                    </a:cubicBezTo>
                    <a:cubicBezTo>
                      <a:pt x="23" y="411"/>
                      <a:pt x="23" y="411"/>
                      <a:pt x="23" y="411"/>
                    </a:cubicBezTo>
                    <a:cubicBezTo>
                      <a:pt x="25" y="411"/>
                      <a:pt x="25" y="411"/>
                      <a:pt x="25" y="411"/>
                    </a:cubicBezTo>
                    <a:cubicBezTo>
                      <a:pt x="26" y="412"/>
                      <a:pt x="26" y="412"/>
                      <a:pt x="26" y="412"/>
                    </a:cubicBezTo>
                    <a:cubicBezTo>
                      <a:pt x="26" y="414"/>
                      <a:pt x="26" y="414"/>
                      <a:pt x="26" y="414"/>
                    </a:cubicBezTo>
                    <a:cubicBezTo>
                      <a:pt x="25" y="415"/>
                      <a:pt x="25" y="415"/>
                      <a:pt x="25" y="415"/>
                    </a:cubicBezTo>
                    <a:cubicBezTo>
                      <a:pt x="26" y="416"/>
                      <a:pt x="26" y="416"/>
                      <a:pt x="26" y="416"/>
                    </a:cubicBezTo>
                    <a:close/>
                    <a:moveTo>
                      <a:pt x="26" y="413"/>
                    </a:moveTo>
                    <a:cubicBezTo>
                      <a:pt x="26" y="412"/>
                      <a:pt x="26" y="412"/>
                      <a:pt x="26" y="412"/>
                    </a:cubicBezTo>
                    <a:cubicBezTo>
                      <a:pt x="27" y="412"/>
                      <a:pt x="27" y="412"/>
                      <a:pt x="27" y="412"/>
                    </a:cubicBezTo>
                    <a:cubicBezTo>
                      <a:pt x="28" y="413"/>
                      <a:pt x="28" y="413"/>
                      <a:pt x="28" y="413"/>
                    </a:cubicBezTo>
                    <a:cubicBezTo>
                      <a:pt x="29" y="414"/>
                      <a:pt x="29" y="414"/>
                      <a:pt x="29" y="414"/>
                    </a:cubicBezTo>
                    <a:cubicBezTo>
                      <a:pt x="29" y="415"/>
                      <a:pt x="29" y="415"/>
                      <a:pt x="29" y="415"/>
                    </a:cubicBezTo>
                    <a:cubicBezTo>
                      <a:pt x="28" y="416"/>
                      <a:pt x="28" y="416"/>
                      <a:pt x="28" y="416"/>
                    </a:cubicBezTo>
                    <a:cubicBezTo>
                      <a:pt x="27" y="416"/>
                      <a:pt x="27" y="416"/>
                      <a:pt x="27" y="416"/>
                    </a:cubicBezTo>
                    <a:cubicBezTo>
                      <a:pt x="27" y="415"/>
                      <a:pt x="27" y="415"/>
                      <a:pt x="27" y="415"/>
                    </a:cubicBezTo>
                    <a:cubicBezTo>
                      <a:pt x="26" y="415"/>
                      <a:pt x="26" y="415"/>
                      <a:pt x="26" y="415"/>
                    </a:cubicBezTo>
                    <a:cubicBezTo>
                      <a:pt x="26" y="413"/>
                      <a:pt x="26" y="413"/>
                      <a:pt x="26" y="413"/>
                    </a:cubicBezTo>
                    <a:close/>
                    <a:moveTo>
                      <a:pt x="29" y="414"/>
                    </a:moveTo>
                    <a:cubicBezTo>
                      <a:pt x="31" y="415"/>
                      <a:pt x="31" y="415"/>
                      <a:pt x="31" y="415"/>
                    </a:cubicBezTo>
                    <a:cubicBezTo>
                      <a:pt x="32" y="416"/>
                      <a:pt x="32" y="416"/>
                      <a:pt x="32" y="416"/>
                    </a:cubicBezTo>
                    <a:cubicBezTo>
                      <a:pt x="31" y="416"/>
                      <a:pt x="31" y="416"/>
                      <a:pt x="31" y="416"/>
                    </a:cubicBezTo>
                    <a:cubicBezTo>
                      <a:pt x="30" y="415"/>
                      <a:pt x="30" y="415"/>
                      <a:pt x="30" y="415"/>
                    </a:cubicBezTo>
                    <a:cubicBezTo>
                      <a:pt x="29" y="414"/>
                      <a:pt x="29" y="414"/>
                      <a:pt x="29" y="414"/>
                    </a:cubicBezTo>
                    <a:close/>
                    <a:moveTo>
                      <a:pt x="29" y="421"/>
                    </a:moveTo>
                    <a:cubicBezTo>
                      <a:pt x="28" y="421"/>
                      <a:pt x="28" y="421"/>
                      <a:pt x="28" y="421"/>
                    </a:cubicBezTo>
                    <a:cubicBezTo>
                      <a:pt x="27" y="421"/>
                      <a:pt x="27" y="421"/>
                      <a:pt x="27" y="421"/>
                    </a:cubicBezTo>
                    <a:cubicBezTo>
                      <a:pt x="28" y="420"/>
                      <a:pt x="28" y="420"/>
                      <a:pt x="28" y="420"/>
                    </a:cubicBezTo>
                    <a:cubicBezTo>
                      <a:pt x="28" y="418"/>
                      <a:pt x="28" y="418"/>
                      <a:pt x="28" y="418"/>
                    </a:cubicBezTo>
                    <a:cubicBezTo>
                      <a:pt x="29" y="418"/>
                      <a:pt x="29" y="418"/>
                      <a:pt x="29" y="418"/>
                    </a:cubicBezTo>
                    <a:cubicBezTo>
                      <a:pt x="29" y="419"/>
                      <a:pt x="29" y="419"/>
                      <a:pt x="29" y="419"/>
                    </a:cubicBezTo>
                    <a:cubicBezTo>
                      <a:pt x="29" y="421"/>
                      <a:pt x="29" y="421"/>
                      <a:pt x="29" y="421"/>
                    </a:cubicBezTo>
                    <a:close/>
                    <a:moveTo>
                      <a:pt x="34" y="416"/>
                    </a:moveTo>
                    <a:cubicBezTo>
                      <a:pt x="32" y="415"/>
                      <a:pt x="32" y="415"/>
                      <a:pt x="32" y="415"/>
                    </a:cubicBezTo>
                    <a:cubicBezTo>
                      <a:pt x="31" y="413"/>
                      <a:pt x="31" y="413"/>
                      <a:pt x="31" y="413"/>
                    </a:cubicBezTo>
                    <a:cubicBezTo>
                      <a:pt x="31" y="410"/>
                      <a:pt x="31" y="410"/>
                      <a:pt x="31" y="410"/>
                    </a:cubicBezTo>
                    <a:cubicBezTo>
                      <a:pt x="31" y="410"/>
                      <a:pt x="31" y="410"/>
                      <a:pt x="31" y="410"/>
                    </a:cubicBezTo>
                    <a:cubicBezTo>
                      <a:pt x="32" y="413"/>
                      <a:pt x="32" y="413"/>
                      <a:pt x="32" y="413"/>
                    </a:cubicBezTo>
                    <a:cubicBezTo>
                      <a:pt x="34" y="414"/>
                      <a:pt x="34" y="414"/>
                      <a:pt x="34" y="414"/>
                    </a:cubicBezTo>
                    <a:cubicBezTo>
                      <a:pt x="35" y="416"/>
                      <a:pt x="35" y="416"/>
                      <a:pt x="35" y="416"/>
                    </a:cubicBezTo>
                    <a:cubicBezTo>
                      <a:pt x="34" y="416"/>
                      <a:pt x="34" y="416"/>
                      <a:pt x="34" y="416"/>
                    </a:cubicBezTo>
                    <a:close/>
                    <a:moveTo>
                      <a:pt x="34" y="419"/>
                    </a:moveTo>
                    <a:cubicBezTo>
                      <a:pt x="32" y="417"/>
                      <a:pt x="32" y="417"/>
                      <a:pt x="32" y="417"/>
                    </a:cubicBezTo>
                    <a:cubicBezTo>
                      <a:pt x="33" y="417"/>
                      <a:pt x="33" y="417"/>
                      <a:pt x="33" y="417"/>
                    </a:cubicBezTo>
                    <a:cubicBezTo>
                      <a:pt x="34" y="417"/>
                      <a:pt x="34" y="417"/>
                      <a:pt x="34" y="417"/>
                    </a:cubicBezTo>
                    <a:cubicBezTo>
                      <a:pt x="35" y="419"/>
                      <a:pt x="35" y="419"/>
                      <a:pt x="35" y="419"/>
                    </a:cubicBezTo>
                    <a:cubicBezTo>
                      <a:pt x="34" y="419"/>
                      <a:pt x="34" y="419"/>
                      <a:pt x="34" y="419"/>
                    </a:cubicBezTo>
                    <a:close/>
                    <a:moveTo>
                      <a:pt x="35" y="422"/>
                    </a:moveTo>
                    <a:cubicBezTo>
                      <a:pt x="33" y="420"/>
                      <a:pt x="33" y="420"/>
                      <a:pt x="33" y="420"/>
                    </a:cubicBezTo>
                    <a:cubicBezTo>
                      <a:pt x="32" y="419"/>
                      <a:pt x="32" y="419"/>
                      <a:pt x="32" y="419"/>
                    </a:cubicBezTo>
                    <a:cubicBezTo>
                      <a:pt x="32" y="418"/>
                      <a:pt x="32" y="418"/>
                      <a:pt x="32" y="418"/>
                    </a:cubicBezTo>
                    <a:cubicBezTo>
                      <a:pt x="35" y="421"/>
                      <a:pt x="35" y="421"/>
                      <a:pt x="35" y="421"/>
                    </a:cubicBezTo>
                    <a:cubicBezTo>
                      <a:pt x="35" y="422"/>
                      <a:pt x="35" y="422"/>
                      <a:pt x="35" y="422"/>
                    </a:cubicBezTo>
                    <a:cubicBezTo>
                      <a:pt x="35" y="422"/>
                      <a:pt x="35" y="422"/>
                      <a:pt x="35" y="422"/>
                    </a:cubicBezTo>
                    <a:close/>
                    <a:moveTo>
                      <a:pt x="37" y="427"/>
                    </a:moveTo>
                    <a:cubicBezTo>
                      <a:pt x="36" y="427"/>
                      <a:pt x="36" y="427"/>
                      <a:pt x="36" y="427"/>
                    </a:cubicBezTo>
                    <a:cubicBezTo>
                      <a:pt x="35" y="426"/>
                      <a:pt x="35" y="426"/>
                      <a:pt x="35" y="426"/>
                    </a:cubicBezTo>
                    <a:cubicBezTo>
                      <a:pt x="35" y="425"/>
                      <a:pt x="35" y="425"/>
                      <a:pt x="35" y="425"/>
                    </a:cubicBezTo>
                    <a:cubicBezTo>
                      <a:pt x="33" y="425"/>
                      <a:pt x="33" y="425"/>
                      <a:pt x="33" y="425"/>
                    </a:cubicBezTo>
                    <a:cubicBezTo>
                      <a:pt x="32" y="424"/>
                      <a:pt x="32" y="424"/>
                      <a:pt x="32" y="424"/>
                    </a:cubicBezTo>
                    <a:cubicBezTo>
                      <a:pt x="34" y="424"/>
                      <a:pt x="34" y="424"/>
                      <a:pt x="34" y="424"/>
                    </a:cubicBezTo>
                    <a:cubicBezTo>
                      <a:pt x="35" y="424"/>
                      <a:pt x="35" y="424"/>
                      <a:pt x="35" y="424"/>
                    </a:cubicBezTo>
                    <a:cubicBezTo>
                      <a:pt x="37" y="423"/>
                      <a:pt x="37" y="423"/>
                      <a:pt x="37" y="423"/>
                    </a:cubicBezTo>
                    <a:cubicBezTo>
                      <a:pt x="38" y="425"/>
                      <a:pt x="38" y="425"/>
                      <a:pt x="38" y="425"/>
                    </a:cubicBezTo>
                    <a:cubicBezTo>
                      <a:pt x="37" y="427"/>
                      <a:pt x="37" y="427"/>
                      <a:pt x="37" y="427"/>
                    </a:cubicBezTo>
                    <a:close/>
                    <a:moveTo>
                      <a:pt x="43" y="437"/>
                    </a:moveTo>
                    <a:cubicBezTo>
                      <a:pt x="40" y="436"/>
                      <a:pt x="40" y="436"/>
                      <a:pt x="40" y="436"/>
                    </a:cubicBezTo>
                    <a:cubicBezTo>
                      <a:pt x="39" y="436"/>
                      <a:pt x="39" y="436"/>
                      <a:pt x="39" y="436"/>
                    </a:cubicBezTo>
                    <a:cubicBezTo>
                      <a:pt x="38" y="436"/>
                      <a:pt x="38" y="436"/>
                      <a:pt x="38" y="436"/>
                    </a:cubicBezTo>
                    <a:cubicBezTo>
                      <a:pt x="37" y="435"/>
                      <a:pt x="37" y="435"/>
                      <a:pt x="37" y="435"/>
                    </a:cubicBezTo>
                    <a:cubicBezTo>
                      <a:pt x="34" y="434"/>
                      <a:pt x="34" y="434"/>
                      <a:pt x="34" y="434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1" y="431"/>
                      <a:pt x="31" y="431"/>
                      <a:pt x="31" y="431"/>
                    </a:cubicBezTo>
                    <a:cubicBezTo>
                      <a:pt x="30" y="429"/>
                      <a:pt x="30" y="429"/>
                      <a:pt x="30" y="429"/>
                    </a:cubicBezTo>
                    <a:cubicBezTo>
                      <a:pt x="31" y="428"/>
                      <a:pt x="31" y="428"/>
                      <a:pt x="31" y="428"/>
                    </a:cubicBezTo>
                    <a:cubicBezTo>
                      <a:pt x="32" y="429"/>
                      <a:pt x="32" y="429"/>
                      <a:pt x="32" y="429"/>
                    </a:cubicBezTo>
                    <a:cubicBezTo>
                      <a:pt x="34" y="431"/>
                      <a:pt x="34" y="431"/>
                      <a:pt x="34" y="431"/>
                    </a:cubicBezTo>
                    <a:cubicBezTo>
                      <a:pt x="35" y="432"/>
                      <a:pt x="35" y="432"/>
                      <a:pt x="35" y="432"/>
                    </a:cubicBezTo>
                    <a:cubicBezTo>
                      <a:pt x="37" y="432"/>
                      <a:pt x="37" y="432"/>
                      <a:pt x="37" y="432"/>
                    </a:cubicBezTo>
                    <a:cubicBezTo>
                      <a:pt x="39" y="433"/>
                      <a:pt x="39" y="433"/>
                      <a:pt x="39" y="433"/>
                    </a:cubicBezTo>
                    <a:cubicBezTo>
                      <a:pt x="40" y="434"/>
                      <a:pt x="40" y="434"/>
                      <a:pt x="40" y="434"/>
                    </a:cubicBezTo>
                    <a:cubicBezTo>
                      <a:pt x="42" y="434"/>
                      <a:pt x="42" y="434"/>
                      <a:pt x="42" y="434"/>
                    </a:cubicBezTo>
                    <a:cubicBezTo>
                      <a:pt x="43" y="435"/>
                      <a:pt x="43" y="435"/>
                      <a:pt x="43" y="435"/>
                    </a:cubicBezTo>
                    <a:cubicBezTo>
                      <a:pt x="45" y="436"/>
                      <a:pt x="45" y="436"/>
                      <a:pt x="45" y="436"/>
                    </a:cubicBezTo>
                    <a:cubicBezTo>
                      <a:pt x="46" y="436"/>
                      <a:pt x="46" y="436"/>
                      <a:pt x="46" y="436"/>
                    </a:cubicBezTo>
                    <a:cubicBezTo>
                      <a:pt x="47" y="437"/>
                      <a:pt x="47" y="437"/>
                      <a:pt x="47" y="437"/>
                    </a:cubicBezTo>
                    <a:cubicBezTo>
                      <a:pt x="46" y="438"/>
                      <a:pt x="46" y="438"/>
                      <a:pt x="46" y="438"/>
                    </a:cubicBezTo>
                    <a:cubicBezTo>
                      <a:pt x="44" y="438"/>
                      <a:pt x="44" y="438"/>
                      <a:pt x="44" y="438"/>
                    </a:cubicBezTo>
                    <a:cubicBezTo>
                      <a:pt x="43" y="437"/>
                      <a:pt x="43" y="437"/>
                      <a:pt x="43" y="437"/>
                    </a:cubicBezTo>
                    <a:close/>
                    <a:moveTo>
                      <a:pt x="36" y="438"/>
                    </a:moveTo>
                    <a:cubicBezTo>
                      <a:pt x="36" y="438"/>
                      <a:pt x="38" y="439"/>
                      <a:pt x="38" y="439"/>
                    </a:cubicBezTo>
                    <a:cubicBezTo>
                      <a:pt x="35" y="438"/>
                      <a:pt x="35" y="438"/>
                      <a:pt x="35" y="438"/>
                    </a:cubicBezTo>
                    <a:cubicBezTo>
                      <a:pt x="36" y="438"/>
                      <a:pt x="36" y="438"/>
                      <a:pt x="36" y="438"/>
                    </a:cubicBezTo>
                    <a:close/>
                    <a:moveTo>
                      <a:pt x="50" y="447"/>
                    </a:moveTo>
                    <a:cubicBezTo>
                      <a:pt x="50" y="447"/>
                      <a:pt x="50" y="447"/>
                      <a:pt x="50" y="447"/>
                    </a:cubicBezTo>
                    <a:cubicBezTo>
                      <a:pt x="51" y="447"/>
                      <a:pt x="51" y="447"/>
                      <a:pt x="51" y="447"/>
                    </a:cubicBezTo>
                    <a:cubicBezTo>
                      <a:pt x="50" y="446"/>
                      <a:pt x="50" y="446"/>
                      <a:pt x="50" y="446"/>
                    </a:cubicBezTo>
                    <a:cubicBezTo>
                      <a:pt x="49" y="446"/>
                      <a:pt x="49" y="446"/>
                      <a:pt x="49" y="446"/>
                    </a:cubicBezTo>
                    <a:cubicBezTo>
                      <a:pt x="50" y="447"/>
                      <a:pt x="50" y="447"/>
                      <a:pt x="50" y="447"/>
                    </a:cubicBezTo>
                    <a:close/>
                    <a:moveTo>
                      <a:pt x="55" y="448"/>
                    </a:moveTo>
                    <a:cubicBezTo>
                      <a:pt x="53" y="448"/>
                      <a:pt x="53" y="448"/>
                      <a:pt x="53" y="448"/>
                    </a:cubicBezTo>
                    <a:cubicBezTo>
                      <a:pt x="52" y="447"/>
                      <a:pt x="52" y="447"/>
                      <a:pt x="52" y="447"/>
                    </a:cubicBezTo>
                    <a:cubicBezTo>
                      <a:pt x="52" y="446"/>
                      <a:pt x="52" y="446"/>
                      <a:pt x="52" y="446"/>
                    </a:cubicBezTo>
                    <a:cubicBezTo>
                      <a:pt x="51" y="445"/>
                      <a:pt x="51" y="445"/>
                      <a:pt x="51" y="445"/>
                    </a:cubicBezTo>
                    <a:cubicBezTo>
                      <a:pt x="49" y="445"/>
                      <a:pt x="49" y="445"/>
                      <a:pt x="49" y="445"/>
                    </a:cubicBezTo>
                    <a:cubicBezTo>
                      <a:pt x="47" y="445"/>
                      <a:pt x="47" y="445"/>
                      <a:pt x="47" y="445"/>
                    </a:cubicBezTo>
                    <a:cubicBezTo>
                      <a:pt x="45" y="443"/>
                      <a:pt x="45" y="443"/>
                      <a:pt x="45" y="443"/>
                    </a:cubicBezTo>
                    <a:cubicBezTo>
                      <a:pt x="44" y="442"/>
                      <a:pt x="44" y="442"/>
                      <a:pt x="44" y="442"/>
                    </a:cubicBezTo>
                    <a:cubicBezTo>
                      <a:pt x="43" y="441"/>
                      <a:pt x="43" y="441"/>
                      <a:pt x="43" y="441"/>
                    </a:cubicBezTo>
                    <a:cubicBezTo>
                      <a:pt x="41" y="440"/>
                      <a:pt x="41" y="440"/>
                      <a:pt x="41" y="440"/>
                    </a:cubicBezTo>
                    <a:cubicBezTo>
                      <a:pt x="41" y="439"/>
                      <a:pt x="41" y="439"/>
                      <a:pt x="41" y="439"/>
                    </a:cubicBezTo>
                    <a:cubicBezTo>
                      <a:pt x="42" y="438"/>
                      <a:pt x="42" y="438"/>
                      <a:pt x="42" y="438"/>
                    </a:cubicBezTo>
                    <a:cubicBezTo>
                      <a:pt x="43" y="438"/>
                      <a:pt x="43" y="438"/>
                      <a:pt x="43" y="438"/>
                    </a:cubicBezTo>
                    <a:cubicBezTo>
                      <a:pt x="44" y="439"/>
                      <a:pt x="44" y="439"/>
                      <a:pt x="44" y="439"/>
                    </a:cubicBezTo>
                    <a:cubicBezTo>
                      <a:pt x="45" y="439"/>
                      <a:pt x="45" y="439"/>
                      <a:pt x="45" y="439"/>
                    </a:cubicBezTo>
                    <a:cubicBezTo>
                      <a:pt x="47" y="438"/>
                      <a:pt x="47" y="438"/>
                      <a:pt x="47" y="438"/>
                    </a:cubicBezTo>
                    <a:cubicBezTo>
                      <a:pt x="49" y="438"/>
                      <a:pt x="49" y="438"/>
                      <a:pt x="49" y="438"/>
                    </a:cubicBezTo>
                    <a:cubicBezTo>
                      <a:pt x="51" y="440"/>
                      <a:pt x="51" y="440"/>
                      <a:pt x="51" y="440"/>
                    </a:cubicBezTo>
                    <a:cubicBezTo>
                      <a:pt x="53" y="441"/>
                      <a:pt x="53" y="441"/>
                      <a:pt x="53" y="441"/>
                    </a:cubicBezTo>
                    <a:cubicBezTo>
                      <a:pt x="53" y="442"/>
                      <a:pt x="53" y="442"/>
                      <a:pt x="53" y="442"/>
                    </a:cubicBezTo>
                    <a:cubicBezTo>
                      <a:pt x="55" y="441"/>
                      <a:pt x="55" y="441"/>
                      <a:pt x="55" y="441"/>
                    </a:cubicBezTo>
                    <a:cubicBezTo>
                      <a:pt x="56" y="442"/>
                      <a:pt x="56" y="442"/>
                      <a:pt x="56" y="442"/>
                    </a:cubicBezTo>
                    <a:cubicBezTo>
                      <a:pt x="57" y="443"/>
                      <a:pt x="57" y="443"/>
                      <a:pt x="57" y="443"/>
                    </a:cubicBezTo>
                    <a:cubicBezTo>
                      <a:pt x="56" y="443"/>
                      <a:pt x="56" y="443"/>
                      <a:pt x="56" y="443"/>
                    </a:cubicBezTo>
                    <a:cubicBezTo>
                      <a:pt x="55" y="444"/>
                      <a:pt x="55" y="444"/>
                      <a:pt x="55" y="444"/>
                    </a:cubicBezTo>
                    <a:cubicBezTo>
                      <a:pt x="55" y="444"/>
                      <a:pt x="55" y="444"/>
                      <a:pt x="55" y="444"/>
                    </a:cubicBezTo>
                    <a:cubicBezTo>
                      <a:pt x="56" y="445"/>
                      <a:pt x="56" y="445"/>
                      <a:pt x="56" y="445"/>
                    </a:cubicBezTo>
                    <a:cubicBezTo>
                      <a:pt x="54" y="447"/>
                      <a:pt x="54" y="447"/>
                      <a:pt x="54" y="447"/>
                    </a:cubicBezTo>
                    <a:cubicBezTo>
                      <a:pt x="55" y="448"/>
                      <a:pt x="55" y="448"/>
                      <a:pt x="55" y="448"/>
                    </a:cubicBezTo>
                    <a:close/>
                    <a:moveTo>
                      <a:pt x="57" y="447"/>
                    </a:moveTo>
                    <a:cubicBezTo>
                      <a:pt x="56" y="448"/>
                      <a:pt x="56" y="448"/>
                      <a:pt x="56" y="448"/>
                    </a:cubicBezTo>
                    <a:cubicBezTo>
                      <a:pt x="56" y="450"/>
                      <a:pt x="56" y="450"/>
                      <a:pt x="56" y="450"/>
                    </a:cubicBezTo>
                    <a:cubicBezTo>
                      <a:pt x="57" y="449"/>
                      <a:pt x="57" y="449"/>
                      <a:pt x="57" y="449"/>
                    </a:cubicBezTo>
                    <a:cubicBezTo>
                      <a:pt x="58" y="448"/>
                      <a:pt x="58" y="448"/>
                      <a:pt x="58" y="448"/>
                    </a:cubicBezTo>
                    <a:cubicBezTo>
                      <a:pt x="58" y="447"/>
                      <a:pt x="58" y="447"/>
                      <a:pt x="58" y="447"/>
                    </a:cubicBezTo>
                    <a:cubicBezTo>
                      <a:pt x="57" y="447"/>
                      <a:pt x="57" y="447"/>
                      <a:pt x="57" y="447"/>
                    </a:cubicBezTo>
                    <a:cubicBezTo>
                      <a:pt x="57" y="447"/>
                      <a:pt x="57" y="447"/>
                      <a:pt x="57" y="447"/>
                    </a:cubicBezTo>
                    <a:close/>
                    <a:moveTo>
                      <a:pt x="68" y="445"/>
                    </a:moveTo>
                    <a:cubicBezTo>
                      <a:pt x="67" y="447"/>
                      <a:pt x="67" y="447"/>
                      <a:pt x="67" y="447"/>
                    </a:cubicBezTo>
                    <a:cubicBezTo>
                      <a:pt x="68" y="448"/>
                      <a:pt x="68" y="448"/>
                      <a:pt x="68" y="448"/>
                    </a:cubicBezTo>
                    <a:cubicBezTo>
                      <a:pt x="66" y="449"/>
                      <a:pt x="66" y="449"/>
                      <a:pt x="66" y="449"/>
                    </a:cubicBezTo>
                    <a:cubicBezTo>
                      <a:pt x="65" y="448"/>
                      <a:pt x="65" y="448"/>
                      <a:pt x="65" y="448"/>
                    </a:cubicBezTo>
                    <a:cubicBezTo>
                      <a:pt x="64" y="447"/>
                      <a:pt x="64" y="447"/>
                      <a:pt x="64" y="447"/>
                    </a:cubicBezTo>
                    <a:cubicBezTo>
                      <a:pt x="63" y="448"/>
                      <a:pt x="63" y="448"/>
                      <a:pt x="63" y="448"/>
                    </a:cubicBezTo>
                    <a:cubicBezTo>
                      <a:pt x="62" y="447"/>
                      <a:pt x="62" y="447"/>
                      <a:pt x="62" y="447"/>
                    </a:cubicBezTo>
                    <a:cubicBezTo>
                      <a:pt x="61" y="447"/>
                      <a:pt x="61" y="447"/>
                      <a:pt x="61" y="447"/>
                    </a:cubicBezTo>
                    <a:cubicBezTo>
                      <a:pt x="60" y="448"/>
                      <a:pt x="60" y="448"/>
                      <a:pt x="60" y="448"/>
                    </a:cubicBezTo>
                    <a:cubicBezTo>
                      <a:pt x="59" y="446"/>
                      <a:pt x="59" y="446"/>
                      <a:pt x="59" y="446"/>
                    </a:cubicBezTo>
                    <a:cubicBezTo>
                      <a:pt x="58" y="445"/>
                      <a:pt x="58" y="445"/>
                      <a:pt x="58" y="445"/>
                    </a:cubicBezTo>
                    <a:cubicBezTo>
                      <a:pt x="58" y="445"/>
                      <a:pt x="58" y="445"/>
                      <a:pt x="58" y="445"/>
                    </a:cubicBezTo>
                    <a:cubicBezTo>
                      <a:pt x="60" y="444"/>
                      <a:pt x="60" y="444"/>
                      <a:pt x="60" y="444"/>
                    </a:cubicBezTo>
                    <a:cubicBezTo>
                      <a:pt x="61" y="444"/>
                      <a:pt x="61" y="444"/>
                      <a:pt x="61" y="444"/>
                    </a:cubicBezTo>
                    <a:cubicBezTo>
                      <a:pt x="64" y="445"/>
                      <a:pt x="64" y="445"/>
                      <a:pt x="64" y="445"/>
                    </a:cubicBezTo>
                    <a:cubicBezTo>
                      <a:pt x="65" y="446"/>
                      <a:pt x="65" y="446"/>
                      <a:pt x="65" y="446"/>
                    </a:cubicBezTo>
                    <a:cubicBezTo>
                      <a:pt x="66" y="445"/>
                      <a:pt x="66" y="445"/>
                      <a:pt x="66" y="445"/>
                    </a:cubicBezTo>
                    <a:cubicBezTo>
                      <a:pt x="67" y="445"/>
                      <a:pt x="67" y="445"/>
                      <a:pt x="67" y="445"/>
                    </a:cubicBezTo>
                    <a:cubicBezTo>
                      <a:pt x="68" y="445"/>
                      <a:pt x="68" y="445"/>
                      <a:pt x="68" y="445"/>
                    </a:cubicBezTo>
                    <a:close/>
                    <a:moveTo>
                      <a:pt x="73" y="445"/>
                    </a:moveTo>
                    <a:cubicBezTo>
                      <a:pt x="71" y="443"/>
                      <a:pt x="71" y="443"/>
                      <a:pt x="71" y="443"/>
                    </a:cubicBezTo>
                    <a:cubicBezTo>
                      <a:pt x="72" y="442"/>
                      <a:pt x="72" y="442"/>
                      <a:pt x="72" y="442"/>
                    </a:cubicBezTo>
                    <a:cubicBezTo>
                      <a:pt x="71" y="441"/>
                      <a:pt x="71" y="441"/>
                      <a:pt x="71" y="44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1" y="438"/>
                      <a:pt x="71" y="438"/>
                      <a:pt x="71" y="438"/>
                    </a:cubicBezTo>
                    <a:cubicBezTo>
                      <a:pt x="70" y="436"/>
                      <a:pt x="70" y="436"/>
                      <a:pt x="70" y="436"/>
                    </a:cubicBezTo>
                    <a:cubicBezTo>
                      <a:pt x="69" y="435"/>
                      <a:pt x="69" y="435"/>
                      <a:pt x="69" y="435"/>
                    </a:cubicBezTo>
                    <a:cubicBezTo>
                      <a:pt x="69" y="437"/>
                      <a:pt x="69" y="437"/>
                      <a:pt x="69" y="437"/>
                    </a:cubicBezTo>
                    <a:cubicBezTo>
                      <a:pt x="68" y="439"/>
                      <a:pt x="68" y="439"/>
                      <a:pt x="68" y="439"/>
                    </a:cubicBezTo>
                    <a:cubicBezTo>
                      <a:pt x="69" y="441"/>
                      <a:pt x="69" y="441"/>
                      <a:pt x="69" y="441"/>
                    </a:cubicBezTo>
                    <a:cubicBezTo>
                      <a:pt x="68" y="442"/>
                      <a:pt x="68" y="442"/>
                      <a:pt x="68" y="442"/>
                    </a:cubicBezTo>
                    <a:cubicBezTo>
                      <a:pt x="68" y="443"/>
                      <a:pt x="68" y="443"/>
                      <a:pt x="68" y="443"/>
                    </a:cubicBezTo>
                    <a:cubicBezTo>
                      <a:pt x="70" y="444"/>
                      <a:pt x="70" y="444"/>
                      <a:pt x="70" y="444"/>
                    </a:cubicBezTo>
                    <a:cubicBezTo>
                      <a:pt x="72" y="445"/>
                      <a:pt x="72" y="445"/>
                      <a:pt x="72" y="445"/>
                    </a:cubicBezTo>
                    <a:cubicBezTo>
                      <a:pt x="72" y="446"/>
                      <a:pt x="72" y="446"/>
                      <a:pt x="72" y="446"/>
                    </a:cubicBezTo>
                    <a:cubicBezTo>
                      <a:pt x="73" y="445"/>
                      <a:pt x="73" y="445"/>
                      <a:pt x="73" y="445"/>
                    </a:cubicBezTo>
                    <a:close/>
                    <a:moveTo>
                      <a:pt x="66" y="459"/>
                    </a:moveTo>
                    <a:cubicBezTo>
                      <a:pt x="68" y="459"/>
                      <a:pt x="68" y="459"/>
                      <a:pt x="68" y="459"/>
                    </a:cubicBezTo>
                    <a:cubicBezTo>
                      <a:pt x="68" y="459"/>
                      <a:pt x="68" y="459"/>
                      <a:pt x="68" y="459"/>
                    </a:cubicBezTo>
                    <a:cubicBezTo>
                      <a:pt x="67" y="461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lose/>
                    <a:moveTo>
                      <a:pt x="67" y="458"/>
                    </a:moveTo>
                    <a:cubicBezTo>
                      <a:pt x="66" y="457"/>
                      <a:pt x="66" y="457"/>
                      <a:pt x="66" y="457"/>
                    </a:cubicBezTo>
                    <a:cubicBezTo>
                      <a:pt x="66" y="456"/>
                      <a:pt x="66" y="456"/>
                      <a:pt x="66" y="456"/>
                    </a:cubicBezTo>
                    <a:cubicBezTo>
                      <a:pt x="68" y="456"/>
                      <a:pt x="68" y="456"/>
                      <a:pt x="68" y="456"/>
                    </a:cubicBezTo>
                    <a:cubicBezTo>
                      <a:pt x="68" y="458"/>
                      <a:pt x="68" y="458"/>
                      <a:pt x="68" y="458"/>
                    </a:cubicBezTo>
                    <a:cubicBezTo>
                      <a:pt x="67" y="458"/>
                      <a:pt x="67" y="458"/>
                      <a:pt x="67" y="458"/>
                    </a:cubicBezTo>
                    <a:close/>
                    <a:moveTo>
                      <a:pt x="104" y="468"/>
                    </a:moveTo>
                    <a:cubicBezTo>
                      <a:pt x="104" y="467"/>
                      <a:pt x="104" y="467"/>
                      <a:pt x="104" y="467"/>
                    </a:cubicBezTo>
                    <a:cubicBezTo>
                      <a:pt x="105" y="465"/>
                      <a:pt x="105" y="465"/>
                      <a:pt x="105" y="465"/>
                    </a:cubicBezTo>
                    <a:cubicBezTo>
                      <a:pt x="104" y="464"/>
                      <a:pt x="104" y="464"/>
                      <a:pt x="104" y="464"/>
                    </a:cubicBezTo>
                    <a:cubicBezTo>
                      <a:pt x="105" y="465"/>
                      <a:pt x="105" y="465"/>
                      <a:pt x="105" y="465"/>
                    </a:cubicBezTo>
                    <a:cubicBezTo>
                      <a:pt x="106" y="466"/>
                      <a:pt x="106" y="466"/>
                      <a:pt x="106" y="466"/>
                    </a:cubicBezTo>
                    <a:cubicBezTo>
                      <a:pt x="106" y="468"/>
                      <a:pt x="106" y="468"/>
                      <a:pt x="106" y="468"/>
                    </a:cubicBezTo>
                    <a:cubicBezTo>
                      <a:pt x="104" y="468"/>
                      <a:pt x="104" y="468"/>
                      <a:pt x="104" y="468"/>
                    </a:cubicBezTo>
                    <a:close/>
                    <a:moveTo>
                      <a:pt x="80" y="458"/>
                    </a:moveTo>
                    <a:cubicBezTo>
                      <a:pt x="82" y="457"/>
                      <a:pt x="82" y="457"/>
                      <a:pt x="82" y="457"/>
                    </a:cubicBezTo>
                    <a:cubicBezTo>
                      <a:pt x="83" y="457"/>
                      <a:pt x="83" y="457"/>
                      <a:pt x="83" y="457"/>
                    </a:cubicBezTo>
                    <a:cubicBezTo>
                      <a:pt x="84" y="457"/>
                      <a:pt x="84" y="457"/>
                      <a:pt x="84" y="457"/>
                    </a:cubicBezTo>
                    <a:cubicBezTo>
                      <a:pt x="87" y="457"/>
                      <a:pt x="87" y="457"/>
                      <a:pt x="87" y="457"/>
                    </a:cubicBezTo>
                    <a:cubicBezTo>
                      <a:pt x="91" y="456"/>
                      <a:pt x="91" y="456"/>
                      <a:pt x="91" y="456"/>
                    </a:cubicBezTo>
                    <a:cubicBezTo>
                      <a:pt x="94" y="455"/>
                      <a:pt x="94" y="455"/>
                      <a:pt x="94" y="455"/>
                    </a:cubicBezTo>
                    <a:cubicBezTo>
                      <a:pt x="97" y="456"/>
                      <a:pt x="97" y="456"/>
                      <a:pt x="97" y="456"/>
                    </a:cubicBezTo>
                    <a:cubicBezTo>
                      <a:pt x="99" y="455"/>
                      <a:pt x="99" y="455"/>
                      <a:pt x="99" y="455"/>
                    </a:cubicBezTo>
                    <a:cubicBezTo>
                      <a:pt x="102" y="455"/>
                      <a:pt x="102" y="455"/>
                      <a:pt x="102" y="455"/>
                    </a:cubicBezTo>
                    <a:cubicBezTo>
                      <a:pt x="104" y="456"/>
                      <a:pt x="104" y="456"/>
                      <a:pt x="104" y="456"/>
                    </a:cubicBezTo>
                    <a:cubicBezTo>
                      <a:pt x="104" y="457"/>
                      <a:pt x="104" y="457"/>
                      <a:pt x="104" y="457"/>
                    </a:cubicBezTo>
                    <a:cubicBezTo>
                      <a:pt x="105" y="458"/>
                      <a:pt x="105" y="458"/>
                      <a:pt x="105" y="458"/>
                    </a:cubicBezTo>
                    <a:cubicBezTo>
                      <a:pt x="104" y="459"/>
                      <a:pt x="104" y="459"/>
                      <a:pt x="104" y="459"/>
                    </a:cubicBezTo>
                    <a:cubicBezTo>
                      <a:pt x="103" y="460"/>
                      <a:pt x="103" y="460"/>
                      <a:pt x="103" y="460"/>
                    </a:cubicBezTo>
                    <a:cubicBezTo>
                      <a:pt x="102" y="459"/>
                      <a:pt x="102" y="459"/>
                      <a:pt x="102" y="459"/>
                    </a:cubicBezTo>
                    <a:cubicBezTo>
                      <a:pt x="101" y="459"/>
                      <a:pt x="101" y="459"/>
                      <a:pt x="101" y="459"/>
                    </a:cubicBezTo>
                    <a:cubicBezTo>
                      <a:pt x="99" y="460"/>
                      <a:pt x="99" y="460"/>
                      <a:pt x="99" y="460"/>
                    </a:cubicBezTo>
                    <a:cubicBezTo>
                      <a:pt x="97" y="460"/>
                      <a:pt x="97" y="460"/>
                      <a:pt x="97" y="460"/>
                    </a:cubicBezTo>
                    <a:cubicBezTo>
                      <a:pt x="96" y="459"/>
                      <a:pt x="96" y="459"/>
                      <a:pt x="96" y="459"/>
                    </a:cubicBezTo>
                    <a:cubicBezTo>
                      <a:pt x="95" y="457"/>
                      <a:pt x="95" y="457"/>
                      <a:pt x="95" y="457"/>
                    </a:cubicBezTo>
                    <a:cubicBezTo>
                      <a:pt x="94" y="457"/>
                      <a:pt x="94" y="457"/>
                      <a:pt x="94" y="457"/>
                    </a:cubicBezTo>
                    <a:cubicBezTo>
                      <a:pt x="92" y="459"/>
                      <a:pt x="92" y="459"/>
                      <a:pt x="92" y="459"/>
                    </a:cubicBezTo>
                    <a:cubicBezTo>
                      <a:pt x="91" y="459"/>
                      <a:pt x="91" y="459"/>
                      <a:pt x="91" y="459"/>
                    </a:cubicBezTo>
                    <a:cubicBezTo>
                      <a:pt x="89" y="459"/>
                      <a:pt x="89" y="459"/>
                      <a:pt x="89" y="459"/>
                    </a:cubicBezTo>
                    <a:cubicBezTo>
                      <a:pt x="90" y="460"/>
                      <a:pt x="90" y="460"/>
                      <a:pt x="90" y="460"/>
                    </a:cubicBezTo>
                    <a:cubicBezTo>
                      <a:pt x="91" y="460"/>
                      <a:pt x="91" y="460"/>
                      <a:pt x="91" y="460"/>
                    </a:cubicBezTo>
                    <a:cubicBezTo>
                      <a:pt x="93" y="461"/>
                      <a:pt x="93" y="461"/>
                      <a:pt x="93" y="461"/>
                    </a:cubicBezTo>
                    <a:cubicBezTo>
                      <a:pt x="94" y="461"/>
                      <a:pt x="94" y="461"/>
                      <a:pt x="94" y="461"/>
                    </a:cubicBezTo>
                    <a:cubicBezTo>
                      <a:pt x="93" y="462"/>
                      <a:pt x="93" y="462"/>
                      <a:pt x="93" y="462"/>
                    </a:cubicBezTo>
                    <a:cubicBezTo>
                      <a:pt x="95" y="463"/>
                      <a:pt x="95" y="463"/>
                      <a:pt x="95" y="463"/>
                    </a:cubicBezTo>
                    <a:cubicBezTo>
                      <a:pt x="97" y="465"/>
                      <a:pt x="97" y="465"/>
                      <a:pt x="97" y="465"/>
                    </a:cubicBezTo>
                    <a:cubicBezTo>
                      <a:pt x="97" y="466"/>
                      <a:pt x="97" y="466"/>
                      <a:pt x="97" y="466"/>
                    </a:cubicBezTo>
                    <a:cubicBezTo>
                      <a:pt x="96" y="466"/>
                      <a:pt x="96" y="466"/>
                      <a:pt x="96" y="466"/>
                    </a:cubicBezTo>
                    <a:cubicBezTo>
                      <a:pt x="94" y="464"/>
                      <a:pt x="94" y="464"/>
                      <a:pt x="94" y="464"/>
                    </a:cubicBezTo>
                    <a:cubicBezTo>
                      <a:pt x="93" y="464"/>
                      <a:pt x="93" y="464"/>
                      <a:pt x="93" y="464"/>
                    </a:cubicBezTo>
                    <a:cubicBezTo>
                      <a:pt x="91" y="465"/>
                      <a:pt x="91" y="465"/>
                      <a:pt x="91" y="465"/>
                    </a:cubicBezTo>
                    <a:cubicBezTo>
                      <a:pt x="90" y="464"/>
                      <a:pt x="90" y="464"/>
                      <a:pt x="90" y="464"/>
                    </a:cubicBezTo>
                    <a:cubicBezTo>
                      <a:pt x="89" y="462"/>
                      <a:pt x="89" y="462"/>
                      <a:pt x="89" y="462"/>
                    </a:cubicBezTo>
                    <a:cubicBezTo>
                      <a:pt x="87" y="462"/>
                      <a:pt x="87" y="462"/>
                      <a:pt x="87" y="462"/>
                    </a:cubicBezTo>
                    <a:cubicBezTo>
                      <a:pt x="87" y="463"/>
                      <a:pt x="87" y="463"/>
                      <a:pt x="87" y="463"/>
                    </a:cubicBezTo>
                    <a:cubicBezTo>
                      <a:pt x="88" y="464"/>
                      <a:pt x="88" y="464"/>
                      <a:pt x="88" y="464"/>
                    </a:cubicBezTo>
                    <a:cubicBezTo>
                      <a:pt x="88" y="465"/>
                      <a:pt x="88" y="465"/>
                      <a:pt x="88" y="465"/>
                    </a:cubicBezTo>
                    <a:cubicBezTo>
                      <a:pt x="87" y="465"/>
                      <a:pt x="87" y="465"/>
                      <a:pt x="87" y="465"/>
                    </a:cubicBezTo>
                    <a:cubicBezTo>
                      <a:pt x="85" y="464"/>
                      <a:pt x="85" y="464"/>
                      <a:pt x="85" y="464"/>
                    </a:cubicBezTo>
                    <a:cubicBezTo>
                      <a:pt x="84" y="465"/>
                      <a:pt x="84" y="465"/>
                      <a:pt x="84" y="465"/>
                    </a:cubicBezTo>
                    <a:cubicBezTo>
                      <a:pt x="83" y="464"/>
                      <a:pt x="83" y="464"/>
                      <a:pt x="83" y="464"/>
                    </a:cubicBezTo>
                    <a:cubicBezTo>
                      <a:pt x="82" y="463"/>
                      <a:pt x="82" y="463"/>
                      <a:pt x="82" y="463"/>
                    </a:cubicBezTo>
                    <a:cubicBezTo>
                      <a:pt x="83" y="462"/>
                      <a:pt x="83" y="462"/>
                      <a:pt x="83" y="462"/>
                    </a:cubicBezTo>
                    <a:cubicBezTo>
                      <a:pt x="81" y="463"/>
                      <a:pt x="81" y="463"/>
                      <a:pt x="81" y="463"/>
                    </a:cubicBezTo>
                    <a:cubicBezTo>
                      <a:pt x="80" y="462"/>
                      <a:pt x="80" y="462"/>
                      <a:pt x="80" y="462"/>
                    </a:cubicBezTo>
                    <a:cubicBezTo>
                      <a:pt x="80" y="461"/>
                      <a:pt x="80" y="461"/>
                      <a:pt x="80" y="461"/>
                    </a:cubicBezTo>
                    <a:cubicBezTo>
                      <a:pt x="81" y="460"/>
                      <a:pt x="81" y="460"/>
                      <a:pt x="81" y="460"/>
                    </a:cubicBezTo>
                    <a:cubicBezTo>
                      <a:pt x="84" y="459"/>
                      <a:pt x="84" y="459"/>
                      <a:pt x="84" y="459"/>
                    </a:cubicBezTo>
                    <a:cubicBezTo>
                      <a:pt x="83" y="458"/>
                      <a:pt x="83" y="458"/>
                      <a:pt x="83" y="458"/>
                    </a:cubicBezTo>
                    <a:cubicBezTo>
                      <a:pt x="82" y="459"/>
                      <a:pt x="82" y="459"/>
                      <a:pt x="82" y="459"/>
                    </a:cubicBezTo>
                    <a:lnTo>
                      <a:pt x="80" y="458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1" name="Freeform 345">
                <a:extLst>
                  <a:ext uri="{FF2B5EF4-FFF2-40B4-BE49-F238E27FC236}">
                    <a16:creationId xmlns:a16="http://schemas.microsoft.com/office/drawing/2014/main" xmlns="" id="{B5F79A6B-003F-4918-ADCB-4E0A0F421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" y="1779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4 h 4"/>
                  <a:gd name="T4" fmla="*/ 3 w 3"/>
                  <a:gd name="T5" fmla="*/ 2 h 4"/>
                  <a:gd name="T6" fmla="*/ 1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4"/>
                    </a:lnTo>
                    <a:lnTo>
                      <a:pt x="3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2" name="Freeform 346">
                <a:extLst>
                  <a:ext uri="{FF2B5EF4-FFF2-40B4-BE49-F238E27FC236}">
                    <a16:creationId xmlns:a16="http://schemas.microsoft.com/office/drawing/2014/main" xmlns="" id="{00A0C8C9-27E0-4656-83FC-AE14A6E07C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7" y="1783"/>
                <a:ext cx="12" cy="13"/>
              </a:xfrm>
              <a:custGeom>
                <a:avLst/>
                <a:gdLst>
                  <a:gd name="T0" fmla="*/ 12 w 12"/>
                  <a:gd name="T1" fmla="*/ 9 h 13"/>
                  <a:gd name="T2" fmla="*/ 8 w 12"/>
                  <a:gd name="T3" fmla="*/ 13 h 13"/>
                  <a:gd name="T4" fmla="*/ 12 w 12"/>
                  <a:gd name="T5" fmla="*/ 13 h 13"/>
                  <a:gd name="T6" fmla="*/ 12 w 12"/>
                  <a:gd name="T7" fmla="*/ 9 h 13"/>
                  <a:gd name="T8" fmla="*/ 12 w 12"/>
                  <a:gd name="T9" fmla="*/ 9 h 13"/>
                  <a:gd name="T10" fmla="*/ 10 w 12"/>
                  <a:gd name="T11" fmla="*/ 0 h 13"/>
                  <a:gd name="T12" fmla="*/ 7 w 12"/>
                  <a:gd name="T13" fmla="*/ 3 h 13"/>
                  <a:gd name="T14" fmla="*/ 8 w 12"/>
                  <a:gd name="T15" fmla="*/ 6 h 13"/>
                  <a:gd name="T16" fmla="*/ 12 w 12"/>
                  <a:gd name="T17" fmla="*/ 6 h 13"/>
                  <a:gd name="T18" fmla="*/ 10 w 12"/>
                  <a:gd name="T19" fmla="*/ 0 h 13"/>
                  <a:gd name="T20" fmla="*/ 10 w 12"/>
                  <a:gd name="T21" fmla="*/ 0 h 13"/>
                  <a:gd name="T22" fmla="*/ 3 w 12"/>
                  <a:gd name="T23" fmla="*/ 3 h 13"/>
                  <a:gd name="T24" fmla="*/ 7 w 12"/>
                  <a:gd name="T25" fmla="*/ 6 h 13"/>
                  <a:gd name="T26" fmla="*/ 5 w 12"/>
                  <a:gd name="T27" fmla="*/ 13 h 13"/>
                  <a:gd name="T28" fmla="*/ 0 w 12"/>
                  <a:gd name="T29" fmla="*/ 6 h 13"/>
                  <a:gd name="T30" fmla="*/ 2 w 12"/>
                  <a:gd name="T31" fmla="*/ 3 h 13"/>
                  <a:gd name="T32" fmla="*/ 3 w 12"/>
                  <a:gd name="T3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12" y="9"/>
                    </a:moveTo>
                    <a:lnTo>
                      <a:pt x="8" y="13"/>
                    </a:lnTo>
                    <a:lnTo>
                      <a:pt x="12" y="13"/>
                    </a:lnTo>
                    <a:lnTo>
                      <a:pt x="12" y="9"/>
                    </a:lnTo>
                    <a:lnTo>
                      <a:pt x="12" y="9"/>
                    </a:lnTo>
                    <a:close/>
                    <a:moveTo>
                      <a:pt x="10" y="0"/>
                    </a:moveTo>
                    <a:lnTo>
                      <a:pt x="7" y="3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3" y="3"/>
                    </a:moveTo>
                    <a:lnTo>
                      <a:pt x="7" y="6"/>
                    </a:lnTo>
                    <a:lnTo>
                      <a:pt x="5" y="13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3" name="Freeform 347">
                <a:extLst>
                  <a:ext uri="{FF2B5EF4-FFF2-40B4-BE49-F238E27FC236}">
                    <a16:creationId xmlns:a16="http://schemas.microsoft.com/office/drawing/2014/main" xmlns="" id="{09071A87-2BDF-4803-978D-F196D4808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4" y="1799"/>
                <a:ext cx="3" cy="8"/>
              </a:xfrm>
              <a:custGeom>
                <a:avLst/>
                <a:gdLst>
                  <a:gd name="T0" fmla="*/ 1 w 2"/>
                  <a:gd name="T1" fmla="*/ 0 h 5"/>
                  <a:gd name="T2" fmla="*/ 2 w 2"/>
                  <a:gd name="T3" fmla="*/ 2 h 5"/>
                  <a:gd name="T4" fmla="*/ 2 w 2"/>
                  <a:gd name="T5" fmla="*/ 5 h 5"/>
                  <a:gd name="T6" fmla="*/ 0 w 2"/>
                  <a:gd name="T7" fmla="*/ 5 h 5"/>
                  <a:gd name="T8" fmla="*/ 0 w 2"/>
                  <a:gd name="T9" fmla="*/ 2 h 5"/>
                  <a:gd name="T10" fmla="*/ 1 w 2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1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4" name="Freeform 348">
                <a:extLst>
                  <a:ext uri="{FF2B5EF4-FFF2-40B4-BE49-F238E27FC236}">
                    <a16:creationId xmlns:a16="http://schemas.microsoft.com/office/drawing/2014/main" xmlns="" id="{6123E72A-711C-459D-8EBE-50FCB03B7F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4" y="1812"/>
                <a:ext cx="8" cy="23"/>
              </a:xfrm>
              <a:custGeom>
                <a:avLst/>
                <a:gdLst>
                  <a:gd name="T0" fmla="*/ 6 w 8"/>
                  <a:gd name="T1" fmla="*/ 13 h 23"/>
                  <a:gd name="T2" fmla="*/ 3 w 8"/>
                  <a:gd name="T3" fmla="*/ 18 h 23"/>
                  <a:gd name="T4" fmla="*/ 3 w 8"/>
                  <a:gd name="T5" fmla="*/ 21 h 23"/>
                  <a:gd name="T6" fmla="*/ 6 w 8"/>
                  <a:gd name="T7" fmla="*/ 23 h 23"/>
                  <a:gd name="T8" fmla="*/ 8 w 8"/>
                  <a:gd name="T9" fmla="*/ 18 h 23"/>
                  <a:gd name="T10" fmla="*/ 6 w 8"/>
                  <a:gd name="T11" fmla="*/ 13 h 23"/>
                  <a:gd name="T12" fmla="*/ 6 w 8"/>
                  <a:gd name="T13" fmla="*/ 13 h 23"/>
                  <a:gd name="T14" fmla="*/ 0 w 8"/>
                  <a:gd name="T15" fmla="*/ 0 h 23"/>
                  <a:gd name="T16" fmla="*/ 6 w 8"/>
                  <a:gd name="T17" fmla="*/ 2 h 23"/>
                  <a:gd name="T18" fmla="*/ 8 w 8"/>
                  <a:gd name="T19" fmla="*/ 7 h 23"/>
                  <a:gd name="T20" fmla="*/ 8 w 8"/>
                  <a:gd name="T21" fmla="*/ 10 h 23"/>
                  <a:gd name="T22" fmla="*/ 6 w 8"/>
                  <a:gd name="T23" fmla="*/ 8 h 23"/>
                  <a:gd name="T24" fmla="*/ 3 w 8"/>
                  <a:gd name="T25" fmla="*/ 8 h 23"/>
                  <a:gd name="T26" fmla="*/ 5 w 8"/>
                  <a:gd name="T27" fmla="*/ 7 h 23"/>
                  <a:gd name="T28" fmla="*/ 0 w 8"/>
                  <a:gd name="T29" fmla="*/ 2 h 23"/>
                  <a:gd name="T30" fmla="*/ 0 w 8"/>
                  <a:gd name="T3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23">
                    <a:moveTo>
                      <a:pt x="6" y="13"/>
                    </a:moveTo>
                    <a:lnTo>
                      <a:pt x="3" y="18"/>
                    </a:lnTo>
                    <a:lnTo>
                      <a:pt x="3" y="21"/>
                    </a:lnTo>
                    <a:lnTo>
                      <a:pt x="6" y="23"/>
                    </a:lnTo>
                    <a:lnTo>
                      <a:pt x="8" y="18"/>
                    </a:lnTo>
                    <a:lnTo>
                      <a:pt x="6" y="13"/>
                    </a:lnTo>
                    <a:lnTo>
                      <a:pt x="6" y="13"/>
                    </a:lnTo>
                    <a:close/>
                    <a:moveTo>
                      <a:pt x="0" y="0"/>
                    </a:moveTo>
                    <a:lnTo>
                      <a:pt x="6" y="2"/>
                    </a:lnTo>
                    <a:lnTo>
                      <a:pt x="8" y="7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5" name="Freeform 349">
                <a:extLst>
                  <a:ext uri="{FF2B5EF4-FFF2-40B4-BE49-F238E27FC236}">
                    <a16:creationId xmlns:a16="http://schemas.microsoft.com/office/drawing/2014/main" xmlns="" id="{64BE35C1-A46C-4F16-B5FC-80A4ED481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1" y="1838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3 h 5"/>
                  <a:gd name="T4" fmla="*/ 2 w 5"/>
                  <a:gd name="T5" fmla="*/ 5 h 5"/>
                  <a:gd name="T6" fmla="*/ 5 w 5"/>
                  <a:gd name="T7" fmla="*/ 5 h 5"/>
                  <a:gd name="T8" fmla="*/ 5 w 5"/>
                  <a:gd name="T9" fmla="*/ 3 h 5"/>
                  <a:gd name="T10" fmla="*/ 2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6" name="Freeform 350">
                <a:extLst>
                  <a:ext uri="{FF2B5EF4-FFF2-40B4-BE49-F238E27FC236}">
                    <a16:creationId xmlns:a16="http://schemas.microsoft.com/office/drawing/2014/main" xmlns="" id="{267D8F82-2EA8-4ED0-85EF-F0574566CF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7" y="1837"/>
                <a:ext cx="10" cy="24"/>
              </a:xfrm>
              <a:custGeom>
                <a:avLst/>
                <a:gdLst>
                  <a:gd name="T0" fmla="*/ 3 w 6"/>
                  <a:gd name="T1" fmla="*/ 14 h 15"/>
                  <a:gd name="T2" fmla="*/ 2 w 6"/>
                  <a:gd name="T3" fmla="*/ 12 h 15"/>
                  <a:gd name="T4" fmla="*/ 0 w 6"/>
                  <a:gd name="T5" fmla="*/ 13 h 15"/>
                  <a:gd name="T6" fmla="*/ 0 w 6"/>
                  <a:gd name="T7" fmla="*/ 15 h 15"/>
                  <a:gd name="T8" fmla="*/ 2 w 6"/>
                  <a:gd name="T9" fmla="*/ 15 h 15"/>
                  <a:gd name="T10" fmla="*/ 3 w 6"/>
                  <a:gd name="T11" fmla="*/ 14 h 15"/>
                  <a:gd name="T12" fmla="*/ 4 w 6"/>
                  <a:gd name="T13" fmla="*/ 9 h 15"/>
                  <a:gd name="T14" fmla="*/ 5 w 6"/>
                  <a:gd name="T15" fmla="*/ 11 h 15"/>
                  <a:gd name="T16" fmla="*/ 3 w 6"/>
                  <a:gd name="T17" fmla="*/ 11 h 15"/>
                  <a:gd name="T18" fmla="*/ 4 w 6"/>
                  <a:gd name="T19" fmla="*/ 9 h 15"/>
                  <a:gd name="T20" fmla="*/ 6 w 6"/>
                  <a:gd name="T21" fmla="*/ 0 h 15"/>
                  <a:gd name="T22" fmla="*/ 6 w 6"/>
                  <a:gd name="T23" fmla="*/ 2 h 15"/>
                  <a:gd name="T24" fmla="*/ 5 w 6"/>
                  <a:gd name="T25" fmla="*/ 5 h 15"/>
                  <a:gd name="T26" fmla="*/ 6 w 6"/>
                  <a:gd name="T2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5">
                    <a:moveTo>
                      <a:pt x="3" y="14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4"/>
                      <a:pt x="3" y="14"/>
                      <a:pt x="3" y="14"/>
                    </a:cubicBezTo>
                    <a:close/>
                    <a:moveTo>
                      <a:pt x="4" y="9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4" y="9"/>
                      <a:pt x="4" y="9"/>
                    </a:cubicBezTo>
                    <a:close/>
                    <a:moveTo>
                      <a:pt x="6" y="0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7" name="Freeform 351">
                <a:extLst>
                  <a:ext uri="{FF2B5EF4-FFF2-40B4-BE49-F238E27FC236}">
                    <a16:creationId xmlns:a16="http://schemas.microsoft.com/office/drawing/2014/main" xmlns="" id="{DFB5EC4A-A448-4433-ABEF-1C066052D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4" y="1874"/>
                <a:ext cx="21" cy="20"/>
              </a:xfrm>
              <a:custGeom>
                <a:avLst/>
                <a:gdLst>
                  <a:gd name="T0" fmla="*/ 18 w 21"/>
                  <a:gd name="T1" fmla="*/ 2 h 20"/>
                  <a:gd name="T2" fmla="*/ 21 w 21"/>
                  <a:gd name="T3" fmla="*/ 0 h 20"/>
                  <a:gd name="T4" fmla="*/ 21 w 21"/>
                  <a:gd name="T5" fmla="*/ 3 h 20"/>
                  <a:gd name="T6" fmla="*/ 18 w 21"/>
                  <a:gd name="T7" fmla="*/ 2 h 20"/>
                  <a:gd name="T8" fmla="*/ 18 w 21"/>
                  <a:gd name="T9" fmla="*/ 2 h 20"/>
                  <a:gd name="T10" fmla="*/ 16 w 21"/>
                  <a:gd name="T11" fmla="*/ 5 h 20"/>
                  <a:gd name="T12" fmla="*/ 10 w 21"/>
                  <a:gd name="T13" fmla="*/ 7 h 20"/>
                  <a:gd name="T14" fmla="*/ 8 w 21"/>
                  <a:gd name="T15" fmla="*/ 7 h 20"/>
                  <a:gd name="T16" fmla="*/ 3 w 21"/>
                  <a:gd name="T17" fmla="*/ 7 h 20"/>
                  <a:gd name="T18" fmla="*/ 3 w 21"/>
                  <a:gd name="T19" fmla="*/ 10 h 20"/>
                  <a:gd name="T20" fmla="*/ 6 w 21"/>
                  <a:gd name="T21" fmla="*/ 12 h 20"/>
                  <a:gd name="T22" fmla="*/ 6 w 21"/>
                  <a:gd name="T23" fmla="*/ 15 h 20"/>
                  <a:gd name="T24" fmla="*/ 3 w 21"/>
                  <a:gd name="T25" fmla="*/ 18 h 20"/>
                  <a:gd name="T26" fmla="*/ 0 w 21"/>
                  <a:gd name="T27" fmla="*/ 18 h 20"/>
                  <a:gd name="T28" fmla="*/ 3 w 21"/>
                  <a:gd name="T29" fmla="*/ 20 h 20"/>
                  <a:gd name="T30" fmla="*/ 11 w 21"/>
                  <a:gd name="T31" fmla="*/ 20 h 20"/>
                  <a:gd name="T32" fmla="*/ 15 w 21"/>
                  <a:gd name="T33" fmla="*/ 16 h 20"/>
                  <a:gd name="T34" fmla="*/ 15 w 21"/>
                  <a:gd name="T35" fmla="*/ 13 h 20"/>
                  <a:gd name="T36" fmla="*/ 13 w 21"/>
                  <a:gd name="T37" fmla="*/ 10 h 20"/>
                  <a:gd name="T38" fmla="*/ 16 w 21"/>
                  <a:gd name="T39" fmla="*/ 7 h 20"/>
                  <a:gd name="T40" fmla="*/ 16 w 21"/>
                  <a:gd name="T41" fmla="*/ 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1" h="20">
                    <a:moveTo>
                      <a:pt x="18" y="2"/>
                    </a:moveTo>
                    <a:lnTo>
                      <a:pt x="21" y="0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  <a:moveTo>
                      <a:pt x="16" y="5"/>
                    </a:moveTo>
                    <a:lnTo>
                      <a:pt x="10" y="7"/>
                    </a:lnTo>
                    <a:lnTo>
                      <a:pt x="8" y="7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3" y="20"/>
                    </a:lnTo>
                    <a:lnTo>
                      <a:pt x="11" y="20"/>
                    </a:lnTo>
                    <a:lnTo>
                      <a:pt x="15" y="16"/>
                    </a:lnTo>
                    <a:lnTo>
                      <a:pt x="15" y="13"/>
                    </a:lnTo>
                    <a:lnTo>
                      <a:pt x="13" y="10"/>
                    </a:lnTo>
                    <a:lnTo>
                      <a:pt x="16" y="7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8" name="Freeform 352">
                <a:extLst>
                  <a:ext uri="{FF2B5EF4-FFF2-40B4-BE49-F238E27FC236}">
                    <a16:creationId xmlns:a16="http://schemas.microsoft.com/office/drawing/2014/main" xmlns="" id="{155EF8E9-17B8-4161-B882-A8D689694B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" y="971"/>
                <a:ext cx="970" cy="777"/>
              </a:xfrm>
              <a:custGeom>
                <a:avLst/>
                <a:gdLst>
                  <a:gd name="T0" fmla="*/ 424 w 594"/>
                  <a:gd name="T1" fmla="*/ 464 h 476"/>
                  <a:gd name="T2" fmla="*/ 416 w 594"/>
                  <a:gd name="T3" fmla="*/ 440 h 476"/>
                  <a:gd name="T4" fmla="*/ 590 w 594"/>
                  <a:gd name="T5" fmla="*/ 70 h 476"/>
                  <a:gd name="T6" fmla="*/ 563 w 594"/>
                  <a:gd name="T7" fmla="*/ 83 h 476"/>
                  <a:gd name="T8" fmla="*/ 544 w 594"/>
                  <a:gd name="T9" fmla="*/ 65 h 476"/>
                  <a:gd name="T10" fmla="*/ 523 w 594"/>
                  <a:gd name="T11" fmla="*/ 57 h 476"/>
                  <a:gd name="T12" fmla="*/ 499 w 594"/>
                  <a:gd name="T13" fmla="*/ 27 h 476"/>
                  <a:gd name="T14" fmla="*/ 482 w 594"/>
                  <a:gd name="T15" fmla="*/ 6 h 476"/>
                  <a:gd name="T16" fmla="*/ 454 w 594"/>
                  <a:gd name="T17" fmla="*/ 3 h 476"/>
                  <a:gd name="T18" fmla="*/ 440 w 594"/>
                  <a:gd name="T19" fmla="*/ 19 h 476"/>
                  <a:gd name="T20" fmla="*/ 441 w 594"/>
                  <a:gd name="T21" fmla="*/ 56 h 476"/>
                  <a:gd name="T22" fmla="*/ 438 w 594"/>
                  <a:gd name="T23" fmla="*/ 96 h 476"/>
                  <a:gd name="T24" fmla="*/ 439 w 594"/>
                  <a:gd name="T25" fmla="*/ 116 h 476"/>
                  <a:gd name="T26" fmla="*/ 395 w 594"/>
                  <a:gd name="T27" fmla="*/ 140 h 476"/>
                  <a:gd name="T28" fmla="*/ 346 w 594"/>
                  <a:gd name="T29" fmla="*/ 192 h 476"/>
                  <a:gd name="T30" fmla="*/ 257 w 594"/>
                  <a:gd name="T31" fmla="*/ 184 h 476"/>
                  <a:gd name="T32" fmla="*/ 212 w 594"/>
                  <a:gd name="T33" fmla="*/ 155 h 476"/>
                  <a:gd name="T34" fmla="*/ 184 w 594"/>
                  <a:gd name="T35" fmla="*/ 117 h 476"/>
                  <a:gd name="T36" fmla="*/ 160 w 594"/>
                  <a:gd name="T37" fmla="*/ 105 h 476"/>
                  <a:gd name="T38" fmla="*/ 138 w 594"/>
                  <a:gd name="T39" fmla="*/ 133 h 476"/>
                  <a:gd name="T40" fmla="*/ 103 w 594"/>
                  <a:gd name="T41" fmla="*/ 161 h 476"/>
                  <a:gd name="T42" fmla="*/ 99 w 594"/>
                  <a:gd name="T43" fmla="*/ 192 h 476"/>
                  <a:gd name="T44" fmla="*/ 26 w 594"/>
                  <a:gd name="T45" fmla="*/ 198 h 476"/>
                  <a:gd name="T46" fmla="*/ 15 w 594"/>
                  <a:gd name="T47" fmla="*/ 223 h 476"/>
                  <a:gd name="T48" fmla="*/ 7 w 594"/>
                  <a:gd name="T49" fmla="*/ 269 h 476"/>
                  <a:gd name="T50" fmla="*/ 38 w 594"/>
                  <a:gd name="T51" fmla="*/ 253 h 476"/>
                  <a:gd name="T52" fmla="*/ 69 w 594"/>
                  <a:gd name="T53" fmla="*/ 265 h 476"/>
                  <a:gd name="T54" fmla="*/ 79 w 594"/>
                  <a:gd name="T55" fmla="*/ 319 h 476"/>
                  <a:gd name="T56" fmla="*/ 124 w 594"/>
                  <a:gd name="T57" fmla="*/ 335 h 476"/>
                  <a:gd name="T58" fmla="*/ 156 w 594"/>
                  <a:gd name="T59" fmla="*/ 375 h 476"/>
                  <a:gd name="T60" fmla="*/ 222 w 594"/>
                  <a:gd name="T61" fmla="*/ 375 h 476"/>
                  <a:gd name="T62" fmla="*/ 260 w 594"/>
                  <a:gd name="T63" fmla="*/ 368 h 476"/>
                  <a:gd name="T64" fmla="*/ 297 w 594"/>
                  <a:gd name="T65" fmla="*/ 361 h 476"/>
                  <a:gd name="T66" fmla="*/ 315 w 594"/>
                  <a:gd name="T67" fmla="*/ 397 h 476"/>
                  <a:gd name="T68" fmla="*/ 329 w 594"/>
                  <a:gd name="T69" fmla="*/ 424 h 476"/>
                  <a:gd name="T70" fmla="*/ 353 w 594"/>
                  <a:gd name="T71" fmla="*/ 444 h 476"/>
                  <a:gd name="T72" fmla="*/ 376 w 594"/>
                  <a:gd name="T73" fmla="*/ 427 h 476"/>
                  <a:gd name="T74" fmla="*/ 414 w 594"/>
                  <a:gd name="T75" fmla="*/ 439 h 476"/>
                  <a:gd name="T76" fmla="*/ 435 w 594"/>
                  <a:gd name="T77" fmla="*/ 452 h 476"/>
                  <a:gd name="T78" fmla="*/ 441 w 594"/>
                  <a:gd name="T79" fmla="*/ 443 h 476"/>
                  <a:gd name="T80" fmla="*/ 467 w 594"/>
                  <a:gd name="T81" fmla="*/ 425 h 476"/>
                  <a:gd name="T82" fmla="*/ 492 w 594"/>
                  <a:gd name="T83" fmla="*/ 423 h 476"/>
                  <a:gd name="T84" fmla="*/ 508 w 594"/>
                  <a:gd name="T85" fmla="*/ 407 h 476"/>
                  <a:gd name="T86" fmla="*/ 516 w 594"/>
                  <a:gd name="T87" fmla="*/ 393 h 476"/>
                  <a:gd name="T88" fmla="*/ 517 w 594"/>
                  <a:gd name="T89" fmla="*/ 377 h 476"/>
                  <a:gd name="T90" fmla="*/ 532 w 594"/>
                  <a:gd name="T91" fmla="*/ 359 h 476"/>
                  <a:gd name="T92" fmla="*/ 537 w 594"/>
                  <a:gd name="T93" fmla="*/ 345 h 476"/>
                  <a:gd name="T94" fmla="*/ 520 w 594"/>
                  <a:gd name="T95" fmla="*/ 332 h 476"/>
                  <a:gd name="T96" fmla="*/ 503 w 594"/>
                  <a:gd name="T97" fmla="*/ 310 h 476"/>
                  <a:gd name="T98" fmla="*/ 515 w 594"/>
                  <a:gd name="T99" fmla="*/ 294 h 476"/>
                  <a:gd name="T100" fmla="*/ 507 w 594"/>
                  <a:gd name="T101" fmla="*/ 251 h 476"/>
                  <a:gd name="T102" fmla="*/ 516 w 594"/>
                  <a:gd name="T103" fmla="*/ 240 h 476"/>
                  <a:gd name="T104" fmla="*/ 480 w 594"/>
                  <a:gd name="T105" fmla="*/ 236 h 476"/>
                  <a:gd name="T106" fmla="*/ 489 w 594"/>
                  <a:gd name="T107" fmla="*/ 206 h 476"/>
                  <a:gd name="T108" fmla="*/ 506 w 594"/>
                  <a:gd name="T109" fmla="*/ 214 h 476"/>
                  <a:gd name="T110" fmla="*/ 521 w 594"/>
                  <a:gd name="T111" fmla="*/ 209 h 476"/>
                  <a:gd name="T112" fmla="*/ 562 w 594"/>
                  <a:gd name="T113" fmla="*/ 180 h 476"/>
                  <a:gd name="T114" fmla="*/ 578 w 594"/>
                  <a:gd name="T115" fmla="*/ 156 h 476"/>
                  <a:gd name="T116" fmla="*/ 582 w 594"/>
                  <a:gd name="T117" fmla="*/ 120 h 476"/>
                  <a:gd name="T118" fmla="*/ 592 w 594"/>
                  <a:gd name="T119" fmla="*/ 97 h 476"/>
                  <a:gd name="T120" fmla="*/ 543 w 594"/>
                  <a:gd name="T121" fmla="*/ 396 h 476"/>
                  <a:gd name="T122" fmla="*/ 537 w 594"/>
                  <a:gd name="T123" fmla="*/ 43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4" h="476">
                    <a:moveTo>
                      <a:pt x="500" y="417"/>
                    </a:moveTo>
                    <a:cubicBezTo>
                      <a:pt x="500" y="418"/>
                      <a:pt x="500" y="418"/>
                      <a:pt x="500" y="418"/>
                    </a:cubicBezTo>
                    <a:cubicBezTo>
                      <a:pt x="502" y="418"/>
                      <a:pt x="502" y="418"/>
                      <a:pt x="502" y="418"/>
                    </a:cubicBezTo>
                    <a:cubicBezTo>
                      <a:pt x="503" y="418"/>
                      <a:pt x="503" y="418"/>
                      <a:pt x="503" y="418"/>
                    </a:cubicBezTo>
                    <a:cubicBezTo>
                      <a:pt x="502" y="416"/>
                      <a:pt x="502" y="416"/>
                      <a:pt x="502" y="416"/>
                    </a:cubicBezTo>
                    <a:lnTo>
                      <a:pt x="500" y="417"/>
                    </a:lnTo>
                    <a:close/>
                    <a:moveTo>
                      <a:pt x="443" y="446"/>
                    </a:moveTo>
                    <a:cubicBezTo>
                      <a:pt x="442" y="445"/>
                      <a:pt x="442" y="445"/>
                      <a:pt x="442" y="445"/>
                    </a:cubicBezTo>
                    <a:cubicBezTo>
                      <a:pt x="439" y="446"/>
                      <a:pt x="439" y="446"/>
                      <a:pt x="439" y="446"/>
                    </a:cubicBezTo>
                    <a:cubicBezTo>
                      <a:pt x="440" y="447"/>
                      <a:pt x="440" y="447"/>
                      <a:pt x="440" y="447"/>
                    </a:cubicBezTo>
                    <a:cubicBezTo>
                      <a:pt x="442" y="447"/>
                      <a:pt x="442" y="447"/>
                      <a:pt x="442" y="447"/>
                    </a:cubicBezTo>
                    <a:cubicBezTo>
                      <a:pt x="443" y="447"/>
                      <a:pt x="443" y="447"/>
                      <a:pt x="443" y="447"/>
                    </a:cubicBezTo>
                    <a:lnTo>
                      <a:pt x="443" y="446"/>
                    </a:lnTo>
                    <a:close/>
                    <a:moveTo>
                      <a:pt x="444" y="456"/>
                    </a:moveTo>
                    <a:cubicBezTo>
                      <a:pt x="442" y="455"/>
                      <a:pt x="442" y="455"/>
                      <a:pt x="442" y="455"/>
                    </a:cubicBezTo>
                    <a:cubicBezTo>
                      <a:pt x="441" y="456"/>
                      <a:pt x="441" y="456"/>
                      <a:pt x="441" y="456"/>
                    </a:cubicBezTo>
                    <a:cubicBezTo>
                      <a:pt x="441" y="456"/>
                      <a:pt x="440" y="456"/>
                      <a:pt x="440" y="456"/>
                    </a:cubicBezTo>
                    <a:cubicBezTo>
                      <a:pt x="438" y="456"/>
                      <a:pt x="438" y="456"/>
                      <a:pt x="438" y="456"/>
                    </a:cubicBezTo>
                    <a:cubicBezTo>
                      <a:pt x="437" y="456"/>
                      <a:pt x="437" y="456"/>
                      <a:pt x="437" y="456"/>
                    </a:cubicBezTo>
                    <a:cubicBezTo>
                      <a:pt x="435" y="457"/>
                      <a:pt x="435" y="457"/>
                      <a:pt x="435" y="457"/>
                    </a:cubicBezTo>
                    <a:cubicBezTo>
                      <a:pt x="434" y="457"/>
                      <a:pt x="434" y="457"/>
                      <a:pt x="434" y="457"/>
                    </a:cubicBezTo>
                    <a:cubicBezTo>
                      <a:pt x="432" y="458"/>
                      <a:pt x="432" y="458"/>
                      <a:pt x="432" y="458"/>
                    </a:cubicBezTo>
                    <a:cubicBezTo>
                      <a:pt x="430" y="458"/>
                      <a:pt x="430" y="458"/>
                      <a:pt x="430" y="458"/>
                    </a:cubicBezTo>
                    <a:cubicBezTo>
                      <a:pt x="430" y="460"/>
                      <a:pt x="430" y="460"/>
                      <a:pt x="430" y="460"/>
                    </a:cubicBezTo>
                    <a:cubicBezTo>
                      <a:pt x="427" y="462"/>
                      <a:pt x="427" y="462"/>
                      <a:pt x="427" y="462"/>
                    </a:cubicBezTo>
                    <a:cubicBezTo>
                      <a:pt x="424" y="464"/>
                      <a:pt x="424" y="464"/>
                      <a:pt x="424" y="464"/>
                    </a:cubicBezTo>
                    <a:cubicBezTo>
                      <a:pt x="425" y="466"/>
                      <a:pt x="425" y="466"/>
                      <a:pt x="425" y="466"/>
                    </a:cubicBezTo>
                    <a:cubicBezTo>
                      <a:pt x="425" y="470"/>
                      <a:pt x="425" y="470"/>
                      <a:pt x="425" y="470"/>
                    </a:cubicBezTo>
                    <a:cubicBezTo>
                      <a:pt x="426" y="472"/>
                      <a:pt x="426" y="472"/>
                      <a:pt x="426" y="472"/>
                    </a:cubicBezTo>
                    <a:cubicBezTo>
                      <a:pt x="426" y="473"/>
                      <a:pt x="426" y="473"/>
                      <a:pt x="426" y="473"/>
                    </a:cubicBezTo>
                    <a:cubicBezTo>
                      <a:pt x="428" y="474"/>
                      <a:pt x="428" y="474"/>
                      <a:pt x="428" y="474"/>
                    </a:cubicBezTo>
                    <a:cubicBezTo>
                      <a:pt x="430" y="474"/>
                      <a:pt x="430" y="474"/>
                      <a:pt x="430" y="474"/>
                    </a:cubicBezTo>
                    <a:cubicBezTo>
                      <a:pt x="431" y="475"/>
                      <a:pt x="431" y="475"/>
                      <a:pt x="431" y="475"/>
                    </a:cubicBezTo>
                    <a:cubicBezTo>
                      <a:pt x="433" y="475"/>
                      <a:pt x="433" y="475"/>
                      <a:pt x="433" y="475"/>
                    </a:cubicBezTo>
                    <a:cubicBezTo>
                      <a:pt x="434" y="476"/>
                      <a:pt x="434" y="476"/>
                      <a:pt x="434" y="476"/>
                    </a:cubicBezTo>
                    <a:cubicBezTo>
                      <a:pt x="435" y="476"/>
                      <a:pt x="435" y="476"/>
                      <a:pt x="435" y="476"/>
                    </a:cubicBezTo>
                    <a:cubicBezTo>
                      <a:pt x="436" y="474"/>
                      <a:pt x="436" y="474"/>
                      <a:pt x="436" y="474"/>
                    </a:cubicBezTo>
                    <a:cubicBezTo>
                      <a:pt x="437" y="474"/>
                      <a:pt x="437" y="474"/>
                      <a:pt x="437" y="474"/>
                    </a:cubicBezTo>
                    <a:cubicBezTo>
                      <a:pt x="439" y="474"/>
                      <a:pt x="439" y="474"/>
                      <a:pt x="439" y="474"/>
                    </a:cubicBezTo>
                    <a:cubicBezTo>
                      <a:pt x="440" y="473"/>
                      <a:pt x="440" y="473"/>
                      <a:pt x="440" y="473"/>
                    </a:cubicBezTo>
                    <a:cubicBezTo>
                      <a:pt x="440" y="471"/>
                      <a:pt x="440" y="471"/>
                      <a:pt x="440" y="471"/>
                    </a:cubicBezTo>
                    <a:cubicBezTo>
                      <a:pt x="442" y="471"/>
                      <a:pt x="442" y="471"/>
                      <a:pt x="442" y="471"/>
                    </a:cubicBezTo>
                    <a:cubicBezTo>
                      <a:pt x="444" y="470"/>
                      <a:pt x="444" y="470"/>
                      <a:pt x="444" y="470"/>
                    </a:cubicBezTo>
                    <a:cubicBezTo>
                      <a:pt x="443" y="468"/>
                      <a:pt x="443" y="468"/>
                      <a:pt x="443" y="468"/>
                    </a:cubicBezTo>
                    <a:cubicBezTo>
                      <a:pt x="444" y="465"/>
                      <a:pt x="444" y="465"/>
                      <a:pt x="444" y="465"/>
                    </a:cubicBezTo>
                    <a:cubicBezTo>
                      <a:pt x="445" y="464"/>
                      <a:pt x="445" y="464"/>
                      <a:pt x="445" y="464"/>
                    </a:cubicBezTo>
                    <a:cubicBezTo>
                      <a:pt x="446" y="463"/>
                      <a:pt x="446" y="463"/>
                      <a:pt x="446" y="463"/>
                    </a:cubicBezTo>
                    <a:cubicBezTo>
                      <a:pt x="447" y="460"/>
                      <a:pt x="447" y="460"/>
                      <a:pt x="447" y="460"/>
                    </a:cubicBezTo>
                    <a:cubicBezTo>
                      <a:pt x="446" y="458"/>
                      <a:pt x="446" y="458"/>
                      <a:pt x="446" y="458"/>
                    </a:cubicBezTo>
                    <a:lnTo>
                      <a:pt x="444" y="456"/>
                    </a:lnTo>
                    <a:close/>
                    <a:moveTo>
                      <a:pt x="416" y="440"/>
                    </a:move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6" y="440"/>
                      <a:pt x="416" y="440"/>
                      <a:pt x="416" y="440"/>
                    </a:cubicBezTo>
                    <a:close/>
                    <a:moveTo>
                      <a:pt x="528" y="316"/>
                    </a:moveTo>
                    <a:cubicBezTo>
                      <a:pt x="525" y="315"/>
                      <a:pt x="525" y="315"/>
                      <a:pt x="525" y="315"/>
                    </a:cubicBezTo>
                    <a:cubicBezTo>
                      <a:pt x="525" y="316"/>
                      <a:pt x="525" y="316"/>
                      <a:pt x="525" y="316"/>
                    </a:cubicBezTo>
                    <a:cubicBezTo>
                      <a:pt x="526" y="317"/>
                      <a:pt x="526" y="317"/>
                      <a:pt x="526" y="317"/>
                    </a:cubicBezTo>
                    <a:cubicBezTo>
                      <a:pt x="528" y="317"/>
                      <a:pt x="528" y="317"/>
                      <a:pt x="528" y="317"/>
                    </a:cubicBezTo>
                    <a:cubicBezTo>
                      <a:pt x="530" y="318"/>
                      <a:pt x="530" y="318"/>
                      <a:pt x="530" y="318"/>
                    </a:cubicBezTo>
                    <a:cubicBezTo>
                      <a:pt x="530" y="316"/>
                      <a:pt x="530" y="316"/>
                      <a:pt x="530" y="316"/>
                    </a:cubicBezTo>
                    <a:cubicBezTo>
                      <a:pt x="528" y="316"/>
                      <a:pt x="528" y="316"/>
                      <a:pt x="528" y="316"/>
                    </a:cubicBezTo>
                    <a:close/>
                    <a:moveTo>
                      <a:pt x="540" y="336"/>
                    </a:moveTo>
                    <a:cubicBezTo>
                      <a:pt x="538" y="335"/>
                      <a:pt x="538" y="335"/>
                      <a:pt x="538" y="335"/>
                    </a:cubicBezTo>
                    <a:cubicBezTo>
                      <a:pt x="537" y="335"/>
                      <a:pt x="537" y="335"/>
                      <a:pt x="537" y="335"/>
                    </a:cubicBezTo>
                    <a:cubicBezTo>
                      <a:pt x="536" y="335"/>
                      <a:pt x="536" y="335"/>
                      <a:pt x="536" y="335"/>
                    </a:cubicBezTo>
                    <a:cubicBezTo>
                      <a:pt x="536" y="336"/>
                      <a:pt x="536" y="336"/>
                      <a:pt x="536" y="336"/>
                    </a:cubicBezTo>
                    <a:cubicBezTo>
                      <a:pt x="538" y="337"/>
                      <a:pt x="538" y="337"/>
                      <a:pt x="538" y="337"/>
                    </a:cubicBezTo>
                    <a:cubicBezTo>
                      <a:pt x="540" y="337"/>
                      <a:pt x="540" y="337"/>
                      <a:pt x="540" y="337"/>
                    </a:cubicBezTo>
                    <a:lnTo>
                      <a:pt x="540" y="336"/>
                    </a:lnTo>
                    <a:close/>
                    <a:moveTo>
                      <a:pt x="593" y="79"/>
                    </a:moveTo>
                    <a:cubicBezTo>
                      <a:pt x="592" y="78"/>
                      <a:pt x="592" y="78"/>
                      <a:pt x="592" y="78"/>
                    </a:cubicBezTo>
                    <a:cubicBezTo>
                      <a:pt x="592" y="77"/>
                      <a:pt x="592" y="77"/>
                      <a:pt x="592" y="77"/>
                    </a:cubicBezTo>
                    <a:cubicBezTo>
                      <a:pt x="591" y="75"/>
                      <a:pt x="591" y="75"/>
                      <a:pt x="591" y="75"/>
                    </a:cubicBezTo>
                    <a:cubicBezTo>
                      <a:pt x="590" y="74"/>
                      <a:pt x="590" y="74"/>
                      <a:pt x="590" y="74"/>
                    </a:cubicBezTo>
                    <a:cubicBezTo>
                      <a:pt x="591" y="73"/>
                      <a:pt x="591" y="73"/>
                      <a:pt x="591" y="73"/>
                    </a:cubicBezTo>
                    <a:cubicBezTo>
                      <a:pt x="590" y="71"/>
                      <a:pt x="590" y="71"/>
                      <a:pt x="590" y="71"/>
                    </a:cubicBezTo>
                    <a:cubicBezTo>
                      <a:pt x="590" y="70"/>
                      <a:pt x="590" y="70"/>
                      <a:pt x="590" y="70"/>
                    </a:cubicBezTo>
                    <a:cubicBezTo>
                      <a:pt x="588" y="70"/>
                      <a:pt x="588" y="70"/>
                      <a:pt x="588" y="70"/>
                    </a:cubicBezTo>
                    <a:cubicBezTo>
                      <a:pt x="587" y="70"/>
                      <a:pt x="587" y="70"/>
                      <a:pt x="587" y="70"/>
                    </a:cubicBezTo>
                    <a:cubicBezTo>
                      <a:pt x="585" y="69"/>
                      <a:pt x="585" y="69"/>
                      <a:pt x="585" y="69"/>
                    </a:cubicBezTo>
                    <a:cubicBezTo>
                      <a:pt x="584" y="70"/>
                      <a:pt x="584" y="70"/>
                      <a:pt x="584" y="70"/>
                    </a:cubicBezTo>
                    <a:cubicBezTo>
                      <a:pt x="583" y="70"/>
                      <a:pt x="583" y="70"/>
                      <a:pt x="583" y="70"/>
                    </a:cubicBezTo>
                    <a:cubicBezTo>
                      <a:pt x="581" y="71"/>
                      <a:pt x="581" y="71"/>
                      <a:pt x="581" y="71"/>
                    </a:cubicBezTo>
                    <a:cubicBezTo>
                      <a:pt x="581" y="72"/>
                      <a:pt x="581" y="72"/>
                      <a:pt x="581" y="72"/>
                    </a:cubicBezTo>
                    <a:cubicBezTo>
                      <a:pt x="580" y="73"/>
                      <a:pt x="580" y="73"/>
                      <a:pt x="580" y="73"/>
                    </a:cubicBezTo>
                    <a:cubicBezTo>
                      <a:pt x="579" y="73"/>
                      <a:pt x="579" y="73"/>
                      <a:pt x="579" y="73"/>
                    </a:cubicBezTo>
                    <a:cubicBezTo>
                      <a:pt x="579" y="75"/>
                      <a:pt x="579" y="75"/>
                      <a:pt x="579" y="75"/>
                    </a:cubicBezTo>
                    <a:cubicBezTo>
                      <a:pt x="577" y="75"/>
                      <a:pt x="577" y="75"/>
                      <a:pt x="577" y="75"/>
                    </a:cubicBezTo>
                    <a:cubicBezTo>
                      <a:pt x="576" y="75"/>
                      <a:pt x="576" y="75"/>
                      <a:pt x="576" y="75"/>
                    </a:cubicBezTo>
                    <a:cubicBezTo>
                      <a:pt x="575" y="77"/>
                      <a:pt x="575" y="77"/>
                      <a:pt x="575" y="77"/>
                    </a:cubicBezTo>
                    <a:cubicBezTo>
                      <a:pt x="575" y="78"/>
                      <a:pt x="575" y="78"/>
                      <a:pt x="575" y="78"/>
                    </a:cubicBezTo>
                    <a:cubicBezTo>
                      <a:pt x="574" y="79"/>
                      <a:pt x="574" y="79"/>
                      <a:pt x="574" y="79"/>
                    </a:cubicBezTo>
                    <a:cubicBezTo>
                      <a:pt x="573" y="81"/>
                      <a:pt x="573" y="81"/>
                      <a:pt x="573" y="81"/>
                    </a:cubicBezTo>
                    <a:cubicBezTo>
                      <a:pt x="573" y="82"/>
                      <a:pt x="573" y="82"/>
                      <a:pt x="573" y="82"/>
                    </a:cubicBezTo>
                    <a:cubicBezTo>
                      <a:pt x="572" y="82"/>
                      <a:pt x="572" y="82"/>
                      <a:pt x="572" y="82"/>
                    </a:cubicBezTo>
                    <a:cubicBezTo>
                      <a:pt x="571" y="83"/>
                      <a:pt x="571" y="83"/>
                      <a:pt x="571" y="83"/>
                    </a:cubicBezTo>
                    <a:cubicBezTo>
                      <a:pt x="568" y="84"/>
                      <a:pt x="568" y="84"/>
                      <a:pt x="568" y="84"/>
                    </a:cubicBezTo>
                    <a:cubicBezTo>
                      <a:pt x="567" y="84"/>
                      <a:pt x="567" y="84"/>
                      <a:pt x="567" y="84"/>
                    </a:cubicBezTo>
                    <a:cubicBezTo>
                      <a:pt x="566" y="84"/>
                      <a:pt x="566" y="84"/>
                      <a:pt x="566" y="84"/>
                    </a:cubicBezTo>
                    <a:cubicBezTo>
                      <a:pt x="565" y="85"/>
                      <a:pt x="565" y="85"/>
                      <a:pt x="565" y="85"/>
                    </a:cubicBezTo>
                    <a:cubicBezTo>
                      <a:pt x="564" y="85"/>
                      <a:pt x="564" y="85"/>
                      <a:pt x="564" y="85"/>
                    </a:cubicBezTo>
                    <a:cubicBezTo>
                      <a:pt x="564" y="84"/>
                      <a:pt x="564" y="84"/>
                      <a:pt x="564" y="84"/>
                    </a:cubicBezTo>
                    <a:cubicBezTo>
                      <a:pt x="563" y="83"/>
                      <a:pt x="563" y="83"/>
                      <a:pt x="563" y="83"/>
                    </a:cubicBezTo>
                    <a:cubicBezTo>
                      <a:pt x="561" y="83"/>
                      <a:pt x="561" y="83"/>
                      <a:pt x="561" y="83"/>
                    </a:cubicBezTo>
                    <a:cubicBezTo>
                      <a:pt x="560" y="84"/>
                      <a:pt x="560" y="84"/>
                      <a:pt x="560" y="84"/>
                    </a:cubicBezTo>
                    <a:cubicBezTo>
                      <a:pt x="559" y="84"/>
                      <a:pt x="559" y="84"/>
                      <a:pt x="559" y="84"/>
                    </a:cubicBezTo>
                    <a:cubicBezTo>
                      <a:pt x="558" y="83"/>
                      <a:pt x="558" y="83"/>
                      <a:pt x="558" y="83"/>
                    </a:cubicBezTo>
                    <a:cubicBezTo>
                      <a:pt x="557" y="81"/>
                      <a:pt x="557" y="81"/>
                      <a:pt x="557" y="81"/>
                    </a:cubicBezTo>
                    <a:cubicBezTo>
                      <a:pt x="556" y="80"/>
                      <a:pt x="556" y="80"/>
                      <a:pt x="556" y="80"/>
                    </a:cubicBezTo>
                    <a:cubicBezTo>
                      <a:pt x="554" y="78"/>
                      <a:pt x="554" y="78"/>
                      <a:pt x="554" y="78"/>
                    </a:cubicBezTo>
                    <a:cubicBezTo>
                      <a:pt x="554" y="77"/>
                      <a:pt x="554" y="77"/>
                      <a:pt x="554" y="77"/>
                    </a:cubicBezTo>
                    <a:cubicBezTo>
                      <a:pt x="554" y="76"/>
                      <a:pt x="554" y="76"/>
                      <a:pt x="554" y="76"/>
                    </a:cubicBezTo>
                    <a:cubicBezTo>
                      <a:pt x="555" y="74"/>
                      <a:pt x="555" y="74"/>
                      <a:pt x="555" y="74"/>
                    </a:cubicBezTo>
                    <a:cubicBezTo>
                      <a:pt x="554" y="73"/>
                      <a:pt x="554" y="73"/>
                      <a:pt x="554" y="73"/>
                    </a:cubicBezTo>
                    <a:cubicBezTo>
                      <a:pt x="554" y="71"/>
                      <a:pt x="554" y="71"/>
                      <a:pt x="554" y="71"/>
                    </a:cubicBezTo>
                    <a:cubicBezTo>
                      <a:pt x="552" y="71"/>
                      <a:pt x="552" y="71"/>
                      <a:pt x="552" y="71"/>
                    </a:cubicBezTo>
                    <a:cubicBezTo>
                      <a:pt x="552" y="70"/>
                      <a:pt x="552" y="70"/>
                      <a:pt x="552" y="70"/>
                    </a:cubicBezTo>
                    <a:cubicBezTo>
                      <a:pt x="552" y="68"/>
                      <a:pt x="552" y="68"/>
                      <a:pt x="552" y="68"/>
                    </a:cubicBezTo>
                    <a:cubicBezTo>
                      <a:pt x="553" y="67"/>
                      <a:pt x="553" y="67"/>
                      <a:pt x="553" y="67"/>
                    </a:cubicBezTo>
                    <a:cubicBezTo>
                      <a:pt x="553" y="66"/>
                      <a:pt x="553" y="66"/>
                      <a:pt x="553" y="66"/>
                    </a:cubicBezTo>
                    <a:cubicBezTo>
                      <a:pt x="552" y="66"/>
                      <a:pt x="552" y="66"/>
                      <a:pt x="552" y="66"/>
                    </a:cubicBezTo>
                    <a:cubicBezTo>
                      <a:pt x="551" y="66"/>
                      <a:pt x="551" y="66"/>
                      <a:pt x="551" y="66"/>
                    </a:cubicBezTo>
                    <a:cubicBezTo>
                      <a:pt x="550" y="67"/>
                      <a:pt x="550" y="67"/>
                      <a:pt x="550" y="67"/>
                    </a:cubicBezTo>
                    <a:cubicBezTo>
                      <a:pt x="549" y="67"/>
                      <a:pt x="549" y="67"/>
                      <a:pt x="549" y="67"/>
                    </a:cubicBezTo>
                    <a:cubicBezTo>
                      <a:pt x="548" y="67"/>
                      <a:pt x="548" y="67"/>
                      <a:pt x="548" y="67"/>
                    </a:cubicBezTo>
                    <a:cubicBezTo>
                      <a:pt x="547" y="67"/>
                      <a:pt x="547" y="67"/>
                      <a:pt x="547" y="67"/>
                    </a:cubicBezTo>
                    <a:cubicBezTo>
                      <a:pt x="546" y="66"/>
                      <a:pt x="546" y="66"/>
                      <a:pt x="546" y="66"/>
                    </a:cubicBezTo>
                    <a:cubicBezTo>
                      <a:pt x="545" y="66"/>
                      <a:pt x="545" y="66"/>
                      <a:pt x="545" y="66"/>
                    </a:cubicBezTo>
                    <a:cubicBezTo>
                      <a:pt x="544" y="65"/>
                      <a:pt x="544" y="65"/>
                      <a:pt x="544" y="65"/>
                    </a:cubicBezTo>
                    <a:cubicBezTo>
                      <a:pt x="542" y="64"/>
                      <a:pt x="542" y="64"/>
                      <a:pt x="542" y="64"/>
                    </a:cubicBezTo>
                    <a:cubicBezTo>
                      <a:pt x="542" y="63"/>
                      <a:pt x="542" y="63"/>
                      <a:pt x="542" y="63"/>
                    </a:cubicBezTo>
                    <a:cubicBezTo>
                      <a:pt x="541" y="62"/>
                      <a:pt x="541" y="62"/>
                      <a:pt x="541" y="62"/>
                    </a:cubicBezTo>
                    <a:cubicBezTo>
                      <a:pt x="541" y="62"/>
                      <a:pt x="541" y="62"/>
                      <a:pt x="541" y="62"/>
                    </a:cubicBezTo>
                    <a:cubicBezTo>
                      <a:pt x="540" y="62"/>
                      <a:pt x="540" y="62"/>
                      <a:pt x="540" y="62"/>
                    </a:cubicBezTo>
                    <a:cubicBezTo>
                      <a:pt x="539" y="61"/>
                      <a:pt x="539" y="61"/>
                      <a:pt x="539" y="61"/>
                    </a:cubicBezTo>
                    <a:cubicBezTo>
                      <a:pt x="538" y="61"/>
                      <a:pt x="538" y="61"/>
                      <a:pt x="538" y="61"/>
                    </a:cubicBezTo>
                    <a:cubicBezTo>
                      <a:pt x="537" y="59"/>
                      <a:pt x="537" y="59"/>
                      <a:pt x="537" y="59"/>
                    </a:cubicBezTo>
                    <a:cubicBezTo>
                      <a:pt x="537" y="58"/>
                      <a:pt x="537" y="58"/>
                      <a:pt x="537" y="58"/>
                    </a:cubicBezTo>
                    <a:cubicBezTo>
                      <a:pt x="536" y="58"/>
                      <a:pt x="536" y="58"/>
                      <a:pt x="536" y="58"/>
                    </a:cubicBezTo>
                    <a:cubicBezTo>
                      <a:pt x="535" y="58"/>
                      <a:pt x="535" y="58"/>
                      <a:pt x="535" y="58"/>
                    </a:cubicBezTo>
                    <a:cubicBezTo>
                      <a:pt x="535" y="59"/>
                      <a:pt x="535" y="59"/>
                      <a:pt x="535" y="59"/>
                    </a:cubicBezTo>
                    <a:cubicBezTo>
                      <a:pt x="534" y="59"/>
                      <a:pt x="534" y="59"/>
                      <a:pt x="534" y="59"/>
                    </a:cubicBezTo>
                    <a:cubicBezTo>
                      <a:pt x="533" y="59"/>
                      <a:pt x="533" y="59"/>
                      <a:pt x="533" y="59"/>
                    </a:cubicBezTo>
                    <a:cubicBezTo>
                      <a:pt x="533" y="60"/>
                      <a:pt x="533" y="60"/>
                      <a:pt x="533" y="60"/>
                    </a:cubicBezTo>
                    <a:cubicBezTo>
                      <a:pt x="531" y="59"/>
                      <a:pt x="531" y="59"/>
                      <a:pt x="531" y="59"/>
                    </a:cubicBezTo>
                    <a:cubicBezTo>
                      <a:pt x="531" y="58"/>
                      <a:pt x="531" y="58"/>
                      <a:pt x="531" y="58"/>
                    </a:cubicBezTo>
                    <a:cubicBezTo>
                      <a:pt x="530" y="58"/>
                      <a:pt x="530" y="58"/>
                      <a:pt x="530" y="58"/>
                    </a:cubicBezTo>
                    <a:cubicBezTo>
                      <a:pt x="528" y="57"/>
                      <a:pt x="528" y="57"/>
                      <a:pt x="528" y="57"/>
                    </a:cubicBezTo>
                    <a:cubicBezTo>
                      <a:pt x="527" y="57"/>
                      <a:pt x="527" y="57"/>
                      <a:pt x="527" y="57"/>
                    </a:cubicBezTo>
                    <a:cubicBezTo>
                      <a:pt x="528" y="56"/>
                      <a:pt x="528" y="56"/>
                      <a:pt x="528" y="56"/>
                    </a:cubicBezTo>
                    <a:cubicBezTo>
                      <a:pt x="528" y="56"/>
                      <a:pt x="528" y="56"/>
                      <a:pt x="528" y="56"/>
                    </a:cubicBezTo>
                    <a:cubicBezTo>
                      <a:pt x="526" y="56"/>
                      <a:pt x="526" y="56"/>
                      <a:pt x="526" y="56"/>
                    </a:cubicBezTo>
                    <a:cubicBezTo>
                      <a:pt x="525" y="56"/>
                      <a:pt x="525" y="56"/>
                      <a:pt x="525" y="56"/>
                    </a:cubicBezTo>
                    <a:cubicBezTo>
                      <a:pt x="523" y="56"/>
                      <a:pt x="523" y="56"/>
                      <a:pt x="523" y="56"/>
                    </a:cubicBezTo>
                    <a:cubicBezTo>
                      <a:pt x="523" y="57"/>
                      <a:pt x="523" y="57"/>
                      <a:pt x="523" y="57"/>
                    </a:cubicBezTo>
                    <a:cubicBezTo>
                      <a:pt x="522" y="56"/>
                      <a:pt x="522" y="56"/>
                      <a:pt x="522" y="56"/>
                    </a:cubicBezTo>
                    <a:cubicBezTo>
                      <a:pt x="521" y="56"/>
                      <a:pt x="521" y="56"/>
                      <a:pt x="521" y="56"/>
                    </a:cubicBezTo>
                    <a:cubicBezTo>
                      <a:pt x="519" y="56"/>
                      <a:pt x="519" y="56"/>
                      <a:pt x="519" y="56"/>
                    </a:cubicBezTo>
                    <a:cubicBezTo>
                      <a:pt x="519" y="55"/>
                      <a:pt x="519" y="55"/>
                      <a:pt x="519" y="55"/>
                    </a:cubicBezTo>
                    <a:cubicBezTo>
                      <a:pt x="517" y="54"/>
                      <a:pt x="517" y="54"/>
                      <a:pt x="517" y="54"/>
                    </a:cubicBezTo>
                    <a:cubicBezTo>
                      <a:pt x="515" y="52"/>
                      <a:pt x="515" y="52"/>
                      <a:pt x="515" y="52"/>
                    </a:cubicBezTo>
                    <a:cubicBezTo>
                      <a:pt x="514" y="50"/>
                      <a:pt x="514" y="50"/>
                      <a:pt x="514" y="50"/>
                    </a:cubicBezTo>
                    <a:cubicBezTo>
                      <a:pt x="514" y="49"/>
                      <a:pt x="514" y="49"/>
                      <a:pt x="514" y="49"/>
                    </a:cubicBezTo>
                    <a:cubicBezTo>
                      <a:pt x="514" y="47"/>
                      <a:pt x="514" y="47"/>
                      <a:pt x="514" y="47"/>
                    </a:cubicBezTo>
                    <a:cubicBezTo>
                      <a:pt x="513" y="47"/>
                      <a:pt x="513" y="47"/>
                      <a:pt x="513" y="47"/>
                    </a:cubicBezTo>
                    <a:cubicBezTo>
                      <a:pt x="512" y="46"/>
                      <a:pt x="512" y="46"/>
                      <a:pt x="512" y="46"/>
                    </a:cubicBezTo>
                    <a:cubicBezTo>
                      <a:pt x="511" y="44"/>
                      <a:pt x="511" y="44"/>
                      <a:pt x="511" y="44"/>
                    </a:cubicBezTo>
                    <a:cubicBezTo>
                      <a:pt x="511" y="43"/>
                      <a:pt x="511" y="43"/>
                      <a:pt x="511" y="43"/>
                    </a:cubicBezTo>
                    <a:cubicBezTo>
                      <a:pt x="510" y="41"/>
                      <a:pt x="510" y="41"/>
                      <a:pt x="510" y="41"/>
                    </a:cubicBezTo>
                    <a:cubicBezTo>
                      <a:pt x="510" y="40"/>
                      <a:pt x="510" y="40"/>
                      <a:pt x="510" y="40"/>
                    </a:cubicBezTo>
                    <a:cubicBezTo>
                      <a:pt x="506" y="37"/>
                      <a:pt x="506" y="37"/>
                      <a:pt x="506" y="37"/>
                    </a:cubicBezTo>
                    <a:cubicBezTo>
                      <a:pt x="504" y="35"/>
                      <a:pt x="504" y="35"/>
                      <a:pt x="504" y="35"/>
                    </a:cubicBezTo>
                    <a:cubicBezTo>
                      <a:pt x="504" y="34"/>
                      <a:pt x="504" y="34"/>
                      <a:pt x="504" y="34"/>
                    </a:cubicBezTo>
                    <a:cubicBezTo>
                      <a:pt x="503" y="32"/>
                      <a:pt x="503" y="32"/>
                      <a:pt x="503" y="32"/>
                    </a:cubicBezTo>
                    <a:cubicBezTo>
                      <a:pt x="502" y="32"/>
                      <a:pt x="502" y="32"/>
                      <a:pt x="502" y="32"/>
                    </a:cubicBezTo>
                    <a:cubicBezTo>
                      <a:pt x="502" y="32"/>
                      <a:pt x="502" y="32"/>
                      <a:pt x="502" y="32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0"/>
                      <a:pt x="502" y="30"/>
                      <a:pt x="502" y="30"/>
                    </a:cubicBezTo>
                    <a:cubicBezTo>
                      <a:pt x="501" y="29"/>
                      <a:pt x="501" y="29"/>
                      <a:pt x="501" y="29"/>
                    </a:cubicBezTo>
                    <a:cubicBezTo>
                      <a:pt x="500" y="28"/>
                      <a:pt x="500" y="28"/>
                      <a:pt x="500" y="28"/>
                    </a:cubicBezTo>
                    <a:cubicBezTo>
                      <a:pt x="499" y="27"/>
                      <a:pt x="499" y="27"/>
                      <a:pt x="499" y="27"/>
                    </a:cubicBezTo>
                    <a:cubicBezTo>
                      <a:pt x="499" y="26"/>
                      <a:pt x="499" y="26"/>
                      <a:pt x="499" y="26"/>
                    </a:cubicBezTo>
                    <a:cubicBezTo>
                      <a:pt x="498" y="24"/>
                      <a:pt x="498" y="24"/>
                      <a:pt x="498" y="24"/>
                    </a:cubicBezTo>
                    <a:cubicBezTo>
                      <a:pt x="497" y="23"/>
                      <a:pt x="497" y="23"/>
                      <a:pt x="497" y="23"/>
                    </a:cubicBezTo>
                    <a:cubicBezTo>
                      <a:pt x="495" y="21"/>
                      <a:pt x="495" y="21"/>
                      <a:pt x="495" y="21"/>
                    </a:cubicBezTo>
                    <a:cubicBezTo>
                      <a:pt x="494" y="20"/>
                      <a:pt x="494" y="20"/>
                      <a:pt x="494" y="20"/>
                    </a:cubicBezTo>
                    <a:cubicBezTo>
                      <a:pt x="495" y="19"/>
                      <a:pt x="495" y="19"/>
                      <a:pt x="495" y="19"/>
                    </a:cubicBezTo>
                    <a:cubicBezTo>
                      <a:pt x="495" y="18"/>
                      <a:pt x="495" y="18"/>
                      <a:pt x="495" y="18"/>
                    </a:cubicBezTo>
                    <a:cubicBezTo>
                      <a:pt x="492" y="18"/>
                      <a:pt x="492" y="18"/>
                      <a:pt x="492" y="18"/>
                    </a:cubicBezTo>
                    <a:cubicBezTo>
                      <a:pt x="492" y="17"/>
                      <a:pt x="492" y="17"/>
                      <a:pt x="492" y="17"/>
                    </a:cubicBezTo>
                    <a:cubicBezTo>
                      <a:pt x="492" y="16"/>
                      <a:pt x="492" y="16"/>
                      <a:pt x="492" y="16"/>
                    </a:cubicBezTo>
                    <a:cubicBezTo>
                      <a:pt x="491" y="15"/>
                      <a:pt x="491" y="15"/>
                      <a:pt x="491" y="15"/>
                    </a:cubicBezTo>
                    <a:cubicBezTo>
                      <a:pt x="491" y="13"/>
                      <a:pt x="491" y="13"/>
                      <a:pt x="491" y="13"/>
                    </a:cubicBezTo>
                    <a:cubicBezTo>
                      <a:pt x="491" y="12"/>
                      <a:pt x="491" y="12"/>
                      <a:pt x="491" y="12"/>
                    </a:cubicBezTo>
                    <a:cubicBezTo>
                      <a:pt x="490" y="12"/>
                      <a:pt x="490" y="12"/>
                      <a:pt x="490" y="12"/>
                    </a:cubicBezTo>
                    <a:cubicBezTo>
                      <a:pt x="490" y="11"/>
                      <a:pt x="490" y="11"/>
                      <a:pt x="490" y="11"/>
                    </a:cubicBezTo>
                    <a:cubicBezTo>
                      <a:pt x="489" y="10"/>
                      <a:pt x="489" y="10"/>
                      <a:pt x="489" y="10"/>
                    </a:cubicBezTo>
                    <a:cubicBezTo>
                      <a:pt x="488" y="10"/>
                      <a:pt x="488" y="10"/>
                      <a:pt x="488" y="10"/>
                    </a:cubicBezTo>
                    <a:cubicBezTo>
                      <a:pt x="486" y="10"/>
                      <a:pt x="486" y="10"/>
                      <a:pt x="486" y="10"/>
                    </a:cubicBezTo>
                    <a:cubicBezTo>
                      <a:pt x="486" y="9"/>
                      <a:pt x="486" y="9"/>
                      <a:pt x="486" y="9"/>
                    </a:cubicBezTo>
                    <a:cubicBezTo>
                      <a:pt x="487" y="8"/>
                      <a:pt x="487" y="8"/>
                      <a:pt x="487" y="8"/>
                    </a:cubicBezTo>
                    <a:cubicBezTo>
                      <a:pt x="486" y="7"/>
                      <a:pt x="486" y="7"/>
                      <a:pt x="486" y="7"/>
                    </a:cubicBezTo>
                    <a:cubicBezTo>
                      <a:pt x="485" y="7"/>
                      <a:pt x="485" y="7"/>
                      <a:pt x="485" y="7"/>
                    </a:cubicBezTo>
                    <a:cubicBezTo>
                      <a:pt x="484" y="8"/>
                      <a:pt x="484" y="8"/>
                      <a:pt x="484" y="8"/>
                    </a:cubicBezTo>
                    <a:cubicBezTo>
                      <a:pt x="483" y="7"/>
                      <a:pt x="483" y="7"/>
                      <a:pt x="483" y="7"/>
                    </a:cubicBezTo>
                    <a:cubicBezTo>
                      <a:pt x="482" y="7"/>
                      <a:pt x="482" y="7"/>
                      <a:pt x="482" y="7"/>
                    </a:cubicBezTo>
                    <a:cubicBezTo>
                      <a:pt x="482" y="6"/>
                      <a:pt x="482" y="6"/>
                      <a:pt x="482" y="6"/>
                    </a:cubicBezTo>
                    <a:cubicBezTo>
                      <a:pt x="482" y="5"/>
                      <a:pt x="482" y="5"/>
                      <a:pt x="482" y="5"/>
                    </a:cubicBezTo>
                    <a:cubicBezTo>
                      <a:pt x="482" y="4"/>
                      <a:pt x="482" y="4"/>
                      <a:pt x="482" y="4"/>
                    </a:cubicBezTo>
                    <a:cubicBezTo>
                      <a:pt x="480" y="3"/>
                      <a:pt x="480" y="3"/>
                      <a:pt x="480" y="3"/>
                    </a:cubicBezTo>
                    <a:cubicBezTo>
                      <a:pt x="479" y="3"/>
                      <a:pt x="479" y="3"/>
                      <a:pt x="479" y="3"/>
                    </a:cubicBezTo>
                    <a:cubicBezTo>
                      <a:pt x="478" y="2"/>
                      <a:pt x="478" y="2"/>
                      <a:pt x="478" y="2"/>
                    </a:cubicBezTo>
                    <a:cubicBezTo>
                      <a:pt x="478" y="3"/>
                      <a:pt x="478" y="3"/>
                      <a:pt x="478" y="3"/>
                    </a:cubicBezTo>
                    <a:cubicBezTo>
                      <a:pt x="476" y="3"/>
                      <a:pt x="476" y="3"/>
                      <a:pt x="476" y="3"/>
                    </a:cubicBezTo>
                    <a:cubicBezTo>
                      <a:pt x="476" y="2"/>
                      <a:pt x="476" y="2"/>
                      <a:pt x="476" y="2"/>
                    </a:cubicBezTo>
                    <a:cubicBezTo>
                      <a:pt x="475" y="3"/>
                      <a:pt x="475" y="3"/>
                      <a:pt x="475" y="3"/>
                    </a:cubicBezTo>
                    <a:cubicBezTo>
                      <a:pt x="475" y="4"/>
                      <a:pt x="475" y="4"/>
                      <a:pt x="475" y="4"/>
                    </a:cubicBezTo>
                    <a:cubicBezTo>
                      <a:pt x="474" y="4"/>
                      <a:pt x="474" y="4"/>
                      <a:pt x="474" y="4"/>
                    </a:cubicBezTo>
                    <a:cubicBezTo>
                      <a:pt x="472" y="4"/>
                      <a:pt x="472" y="4"/>
                      <a:pt x="472" y="4"/>
                    </a:cubicBezTo>
                    <a:cubicBezTo>
                      <a:pt x="472" y="3"/>
                      <a:pt x="472" y="3"/>
                      <a:pt x="472" y="3"/>
                    </a:cubicBezTo>
                    <a:cubicBezTo>
                      <a:pt x="470" y="3"/>
                      <a:pt x="470" y="3"/>
                      <a:pt x="470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67" y="1"/>
                      <a:pt x="467" y="1"/>
                      <a:pt x="467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456" y="2"/>
                      <a:pt x="456" y="2"/>
                      <a:pt x="456" y="2"/>
                    </a:cubicBezTo>
                    <a:cubicBezTo>
                      <a:pt x="455" y="2"/>
                      <a:pt x="455" y="2"/>
                      <a:pt x="455" y="2"/>
                    </a:cubicBezTo>
                    <a:cubicBezTo>
                      <a:pt x="454" y="3"/>
                      <a:pt x="454" y="3"/>
                      <a:pt x="454" y="3"/>
                    </a:cubicBezTo>
                    <a:cubicBezTo>
                      <a:pt x="452" y="3"/>
                      <a:pt x="452" y="3"/>
                      <a:pt x="452" y="3"/>
                    </a:cubicBezTo>
                    <a:cubicBezTo>
                      <a:pt x="451" y="3"/>
                      <a:pt x="451" y="3"/>
                      <a:pt x="451" y="3"/>
                    </a:cubicBezTo>
                    <a:cubicBezTo>
                      <a:pt x="449" y="2"/>
                      <a:pt x="449" y="2"/>
                      <a:pt x="449" y="2"/>
                    </a:cubicBezTo>
                    <a:cubicBezTo>
                      <a:pt x="448" y="4"/>
                      <a:pt x="448" y="4"/>
                      <a:pt x="448" y="4"/>
                    </a:cubicBezTo>
                    <a:cubicBezTo>
                      <a:pt x="446" y="4"/>
                      <a:pt x="446" y="4"/>
                      <a:pt x="446" y="4"/>
                    </a:cubicBezTo>
                    <a:cubicBezTo>
                      <a:pt x="445" y="5"/>
                      <a:pt x="445" y="5"/>
                      <a:pt x="445" y="5"/>
                    </a:cubicBezTo>
                    <a:cubicBezTo>
                      <a:pt x="444" y="6"/>
                      <a:pt x="444" y="6"/>
                      <a:pt x="444" y="6"/>
                    </a:cubicBezTo>
                    <a:cubicBezTo>
                      <a:pt x="442" y="6"/>
                      <a:pt x="442" y="6"/>
                      <a:pt x="442" y="6"/>
                    </a:cubicBezTo>
                    <a:cubicBezTo>
                      <a:pt x="442" y="6"/>
                      <a:pt x="442" y="6"/>
                      <a:pt x="442" y="6"/>
                    </a:cubicBezTo>
                    <a:cubicBezTo>
                      <a:pt x="441" y="6"/>
                      <a:pt x="441" y="6"/>
                      <a:pt x="441" y="6"/>
                    </a:cubicBezTo>
                    <a:cubicBezTo>
                      <a:pt x="440" y="7"/>
                      <a:pt x="440" y="7"/>
                      <a:pt x="440" y="7"/>
                    </a:cubicBezTo>
                    <a:cubicBezTo>
                      <a:pt x="437" y="7"/>
                      <a:pt x="437" y="7"/>
                      <a:pt x="437" y="7"/>
                    </a:cubicBezTo>
                    <a:cubicBezTo>
                      <a:pt x="436" y="8"/>
                      <a:pt x="436" y="8"/>
                      <a:pt x="436" y="8"/>
                    </a:cubicBezTo>
                    <a:cubicBezTo>
                      <a:pt x="436" y="9"/>
                      <a:pt x="436" y="9"/>
                      <a:pt x="436" y="9"/>
                    </a:cubicBezTo>
                    <a:cubicBezTo>
                      <a:pt x="435" y="11"/>
                      <a:pt x="435" y="11"/>
                      <a:pt x="435" y="11"/>
                    </a:cubicBezTo>
                    <a:cubicBezTo>
                      <a:pt x="434" y="13"/>
                      <a:pt x="434" y="13"/>
                      <a:pt x="434" y="13"/>
                    </a:cubicBezTo>
                    <a:cubicBezTo>
                      <a:pt x="433" y="14"/>
                      <a:pt x="433" y="14"/>
                      <a:pt x="433" y="14"/>
                    </a:cubicBezTo>
                    <a:cubicBezTo>
                      <a:pt x="433" y="15"/>
                      <a:pt x="433" y="15"/>
                      <a:pt x="433" y="15"/>
                    </a:cubicBezTo>
                    <a:cubicBezTo>
                      <a:pt x="433" y="15"/>
                      <a:pt x="433" y="15"/>
                      <a:pt x="433" y="15"/>
                    </a:cubicBezTo>
                    <a:cubicBezTo>
                      <a:pt x="433" y="18"/>
                      <a:pt x="433" y="18"/>
                      <a:pt x="433" y="18"/>
                    </a:cubicBezTo>
                    <a:cubicBezTo>
                      <a:pt x="433" y="19"/>
                      <a:pt x="433" y="19"/>
                      <a:pt x="433" y="19"/>
                    </a:cubicBezTo>
                    <a:cubicBezTo>
                      <a:pt x="434" y="19"/>
                      <a:pt x="434" y="19"/>
                      <a:pt x="434" y="19"/>
                    </a:cubicBezTo>
                    <a:cubicBezTo>
                      <a:pt x="436" y="17"/>
                      <a:pt x="436" y="17"/>
                      <a:pt x="436" y="17"/>
                    </a:cubicBezTo>
                    <a:cubicBezTo>
                      <a:pt x="438" y="17"/>
                      <a:pt x="438" y="17"/>
                      <a:pt x="438" y="17"/>
                    </a:cubicBezTo>
                    <a:cubicBezTo>
                      <a:pt x="439" y="17"/>
                      <a:pt x="439" y="17"/>
                      <a:pt x="439" y="17"/>
                    </a:cubicBezTo>
                    <a:cubicBezTo>
                      <a:pt x="440" y="19"/>
                      <a:pt x="440" y="19"/>
                      <a:pt x="440" y="19"/>
                    </a:cubicBezTo>
                    <a:cubicBezTo>
                      <a:pt x="441" y="21"/>
                      <a:pt x="441" y="21"/>
                      <a:pt x="441" y="21"/>
                    </a:cubicBezTo>
                    <a:cubicBezTo>
                      <a:pt x="442" y="22"/>
                      <a:pt x="442" y="22"/>
                      <a:pt x="442" y="22"/>
                    </a:cubicBezTo>
                    <a:cubicBezTo>
                      <a:pt x="442" y="24"/>
                      <a:pt x="442" y="24"/>
                      <a:pt x="442" y="24"/>
                    </a:cubicBezTo>
                    <a:cubicBezTo>
                      <a:pt x="443" y="25"/>
                      <a:pt x="443" y="25"/>
                      <a:pt x="443" y="25"/>
                    </a:cubicBezTo>
                    <a:cubicBezTo>
                      <a:pt x="443" y="27"/>
                      <a:pt x="443" y="27"/>
                      <a:pt x="443" y="27"/>
                    </a:cubicBezTo>
                    <a:cubicBezTo>
                      <a:pt x="442" y="28"/>
                      <a:pt x="442" y="28"/>
                      <a:pt x="442" y="28"/>
                    </a:cubicBezTo>
                    <a:cubicBezTo>
                      <a:pt x="440" y="30"/>
                      <a:pt x="440" y="30"/>
                      <a:pt x="440" y="30"/>
                    </a:cubicBezTo>
                    <a:cubicBezTo>
                      <a:pt x="440" y="33"/>
                      <a:pt x="440" y="33"/>
                      <a:pt x="440" y="33"/>
                    </a:cubicBezTo>
                    <a:cubicBezTo>
                      <a:pt x="439" y="34"/>
                      <a:pt x="439" y="34"/>
                      <a:pt x="439" y="34"/>
                    </a:cubicBezTo>
                    <a:cubicBezTo>
                      <a:pt x="438" y="36"/>
                      <a:pt x="438" y="36"/>
                      <a:pt x="438" y="36"/>
                    </a:cubicBezTo>
                    <a:cubicBezTo>
                      <a:pt x="437" y="37"/>
                      <a:pt x="437" y="37"/>
                      <a:pt x="437" y="37"/>
                    </a:cubicBezTo>
                    <a:cubicBezTo>
                      <a:pt x="438" y="39"/>
                      <a:pt x="438" y="39"/>
                      <a:pt x="438" y="39"/>
                    </a:cubicBezTo>
                    <a:cubicBezTo>
                      <a:pt x="438" y="40"/>
                      <a:pt x="438" y="40"/>
                      <a:pt x="438" y="40"/>
                    </a:cubicBezTo>
                    <a:cubicBezTo>
                      <a:pt x="438" y="42"/>
                      <a:pt x="438" y="42"/>
                      <a:pt x="438" y="42"/>
                    </a:cubicBezTo>
                    <a:cubicBezTo>
                      <a:pt x="439" y="43"/>
                      <a:pt x="439" y="43"/>
                      <a:pt x="439" y="43"/>
                    </a:cubicBezTo>
                    <a:cubicBezTo>
                      <a:pt x="439" y="45"/>
                      <a:pt x="439" y="45"/>
                      <a:pt x="439" y="45"/>
                    </a:cubicBezTo>
                    <a:cubicBezTo>
                      <a:pt x="438" y="46"/>
                      <a:pt x="438" y="46"/>
                      <a:pt x="438" y="46"/>
                    </a:cubicBezTo>
                    <a:cubicBezTo>
                      <a:pt x="438" y="47"/>
                      <a:pt x="438" y="47"/>
                      <a:pt x="438" y="47"/>
                    </a:cubicBezTo>
                    <a:cubicBezTo>
                      <a:pt x="438" y="49"/>
                      <a:pt x="438" y="49"/>
                      <a:pt x="438" y="49"/>
                    </a:cubicBezTo>
                    <a:cubicBezTo>
                      <a:pt x="439" y="52"/>
                      <a:pt x="439" y="52"/>
                      <a:pt x="439" y="52"/>
                    </a:cubicBezTo>
                    <a:cubicBezTo>
                      <a:pt x="438" y="52"/>
                      <a:pt x="438" y="52"/>
                      <a:pt x="438" y="52"/>
                    </a:cubicBezTo>
                    <a:cubicBezTo>
                      <a:pt x="438" y="55"/>
                      <a:pt x="438" y="55"/>
                      <a:pt x="438" y="55"/>
                    </a:cubicBezTo>
                    <a:cubicBezTo>
                      <a:pt x="439" y="55"/>
                      <a:pt x="439" y="55"/>
                      <a:pt x="439" y="55"/>
                    </a:cubicBezTo>
                    <a:cubicBezTo>
                      <a:pt x="440" y="56"/>
                      <a:pt x="440" y="56"/>
                      <a:pt x="440" y="56"/>
                    </a:cubicBezTo>
                    <a:cubicBezTo>
                      <a:pt x="441" y="55"/>
                      <a:pt x="441" y="55"/>
                      <a:pt x="441" y="55"/>
                    </a:cubicBezTo>
                    <a:cubicBezTo>
                      <a:pt x="441" y="56"/>
                      <a:pt x="441" y="56"/>
                      <a:pt x="441" y="56"/>
                    </a:cubicBezTo>
                    <a:cubicBezTo>
                      <a:pt x="442" y="58"/>
                      <a:pt x="442" y="58"/>
                      <a:pt x="442" y="58"/>
                    </a:cubicBezTo>
                    <a:cubicBezTo>
                      <a:pt x="441" y="60"/>
                      <a:pt x="441" y="60"/>
                      <a:pt x="441" y="60"/>
                    </a:cubicBezTo>
                    <a:cubicBezTo>
                      <a:pt x="440" y="61"/>
                      <a:pt x="440" y="61"/>
                      <a:pt x="440" y="61"/>
                    </a:cubicBezTo>
                    <a:cubicBezTo>
                      <a:pt x="436" y="62"/>
                      <a:pt x="436" y="62"/>
                      <a:pt x="436" y="62"/>
                    </a:cubicBezTo>
                    <a:cubicBezTo>
                      <a:pt x="434" y="63"/>
                      <a:pt x="434" y="63"/>
                      <a:pt x="434" y="63"/>
                    </a:cubicBezTo>
                    <a:cubicBezTo>
                      <a:pt x="429" y="68"/>
                      <a:pt x="429" y="68"/>
                      <a:pt x="429" y="68"/>
                    </a:cubicBezTo>
                    <a:cubicBezTo>
                      <a:pt x="428" y="68"/>
                      <a:pt x="428" y="68"/>
                      <a:pt x="428" y="68"/>
                    </a:cubicBezTo>
                    <a:cubicBezTo>
                      <a:pt x="427" y="67"/>
                      <a:pt x="427" y="67"/>
                      <a:pt x="427" y="67"/>
                    </a:cubicBezTo>
                    <a:cubicBezTo>
                      <a:pt x="424" y="67"/>
                      <a:pt x="424" y="67"/>
                      <a:pt x="424" y="67"/>
                    </a:cubicBezTo>
                    <a:cubicBezTo>
                      <a:pt x="422" y="67"/>
                      <a:pt x="422" y="67"/>
                      <a:pt x="422" y="67"/>
                    </a:cubicBezTo>
                    <a:cubicBezTo>
                      <a:pt x="422" y="66"/>
                      <a:pt x="422" y="66"/>
                      <a:pt x="422" y="66"/>
                    </a:cubicBezTo>
                    <a:cubicBezTo>
                      <a:pt x="421" y="66"/>
                      <a:pt x="421" y="66"/>
                      <a:pt x="421" y="66"/>
                    </a:cubicBezTo>
                    <a:cubicBezTo>
                      <a:pt x="420" y="66"/>
                      <a:pt x="420" y="66"/>
                      <a:pt x="420" y="66"/>
                    </a:cubicBezTo>
                    <a:cubicBezTo>
                      <a:pt x="420" y="66"/>
                      <a:pt x="420" y="66"/>
                      <a:pt x="420" y="66"/>
                    </a:cubicBezTo>
                    <a:cubicBezTo>
                      <a:pt x="418" y="82"/>
                      <a:pt x="418" y="82"/>
                      <a:pt x="418" y="82"/>
                    </a:cubicBezTo>
                    <a:cubicBezTo>
                      <a:pt x="418" y="85"/>
                      <a:pt x="418" y="85"/>
                      <a:pt x="418" y="85"/>
                    </a:cubicBezTo>
                    <a:cubicBezTo>
                      <a:pt x="417" y="88"/>
                      <a:pt x="417" y="88"/>
                      <a:pt x="417" y="88"/>
                    </a:cubicBezTo>
                    <a:cubicBezTo>
                      <a:pt x="417" y="90"/>
                      <a:pt x="417" y="90"/>
                      <a:pt x="417" y="90"/>
                    </a:cubicBezTo>
                    <a:cubicBezTo>
                      <a:pt x="416" y="94"/>
                      <a:pt x="416" y="94"/>
                      <a:pt x="416" y="94"/>
                    </a:cubicBezTo>
                    <a:cubicBezTo>
                      <a:pt x="418" y="97"/>
                      <a:pt x="418" y="97"/>
                      <a:pt x="418" y="97"/>
                    </a:cubicBezTo>
                    <a:cubicBezTo>
                      <a:pt x="422" y="100"/>
                      <a:pt x="422" y="100"/>
                      <a:pt x="422" y="100"/>
                    </a:cubicBezTo>
                    <a:cubicBezTo>
                      <a:pt x="425" y="97"/>
                      <a:pt x="425" y="97"/>
                      <a:pt x="425" y="97"/>
                    </a:cubicBezTo>
                    <a:cubicBezTo>
                      <a:pt x="429" y="97"/>
                      <a:pt x="429" y="97"/>
                      <a:pt x="429" y="97"/>
                    </a:cubicBezTo>
                    <a:cubicBezTo>
                      <a:pt x="434" y="98"/>
                      <a:pt x="434" y="98"/>
                      <a:pt x="434" y="98"/>
                    </a:cubicBezTo>
                    <a:cubicBezTo>
                      <a:pt x="435" y="100"/>
                      <a:pt x="435" y="100"/>
                      <a:pt x="435" y="100"/>
                    </a:cubicBezTo>
                    <a:cubicBezTo>
                      <a:pt x="438" y="96"/>
                      <a:pt x="438" y="96"/>
                      <a:pt x="438" y="96"/>
                    </a:cubicBezTo>
                    <a:cubicBezTo>
                      <a:pt x="438" y="94"/>
                      <a:pt x="438" y="94"/>
                      <a:pt x="438" y="94"/>
                    </a:cubicBezTo>
                    <a:cubicBezTo>
                      <a:pt x="438" y="92"/>
                      <a:pt x="438" y="92"/>
                      <a:pt x="438" y="92"/>
                    </a:cubicBezTo>
                    <a:cubicBezTo>
                      <a:pt x="440" y="91"/>
                      <a:pt x="440" y="91"/>
                      <a:pt x="440" y="91"/>
                    </a:cubicBezTo>
                    <a:cubicBezTo>
                      <a:pt x="441" y="91"/>
                      <a:pt x="441" y="91"/>
                      <a:pt x="441" y="91"/>
                    </a:cubicBezTo>
                    <a:cubicBezTo>
                      <a:pt x="446" y="92"/>
                      <a:pt x="446" y="92"/>
                      <a:pt x="446" y="92"/>
                    </a:cubicBezTo>
                    <a:cubicBezTo>
                      <a:pt x="448" y="95"/>
                      <a:pt x="448" y="95"/>
                      <a:pt x="448" y="95"/>
                    </a:cubicBezTo>
                    <a:cubicBezTo>
                      <a:pt x="452" y="98"/>
                      <a:pt x="452" y="98"/>
                      <a:pt x="452" y="98"/>
                    </a:cubicBezTo>
                    <a:cubicBezTo>
                      <a:pt x="454" y="102"/>
                      <a:pt x="454" y="102"/>
                      <a:pt x="454" y="102"/>
                    </a:cubicBezTo>
                    <a:cubicBezTo>
                      <a:pt x="458" y="104"/>
                      <a:pt x="458" y="104"/>
                      <a:pt x="458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9" y="107"/>
                      <a:pt x="459" y="107"/>
                      <a:pt x="459" y="107"/>
                    </a:cubicBezTo>
                    <a:cubicBezTo>
                      <a:pt x="459" y="109"/>
                      <a:pt x="459" y="109"/>
                      <a:pt x="459" y="109"/>
                    </a:cubicBezTo>
                    <a:cubicBezTo>
                      <a:pt x="458" y="110"/>
                      <a:pt x="458" y="110"/>
                      <a:pt x="458" y="110"/>
                    </a:cubicBezTo>
                    <a:cubicBezTo>
                      <a:pt x="458" y="112"/>
                      <a:pt x="458" y="112"/>
                      <a:pt x="458" y="112"/>
                    </a:cubicBezTo>
                    <a:cubicBezTo>
                      <a:pt x="457" y="113"/>
                      <a:pt x="457" y="113"/>
                      <a:pt x="457" y="113"/>
                    </a:cubicBezTo>
                    <a:cubicBezTo>
                      <a:pt x="456" y="112"/>
                      <a:pt x="456" y="112"/>
                      <a:pt x="456" y="112"/>
                    </a:cubicBezTo>
                    <a:cubicBezTo>
                      <a:pt x="455" y="112"/>
                      <a:pt x="455" y="112"/>
                      <a:pt x="455" y="112"/>
                    </a:cubicBezTo>
                    <a:cubicBezTo>
                      <a:pt x="453" y="112"/>
                      <a:pt x="453" y="112"/>
                      <a:pt x="453" y="112"/>
                    </a:cubicBezTo>
                    <a:cubicBezTo>
                      <a:pt x="452" y="113"/>
                      <a:pt x="452" y="113"/>
                      <a:pt x="452" y="113"/>
                    </a:cubicBezTo>
                    <a:cubicBezTo>
                      <a:pt x="449" y="111"/>
                      <a:pt x="449" y="111"/>
                      <a:pt x="449" y="111"/>
                    </a:cubicBezTo>
                    <a:cubicBezTo>
                      <a:pt x="447" y="112"/>
                      <a:pt x="447" y="112"/>
                      <a:pt x="447" y="112"/>
                    </a:cubicBezTo>
                    <a:cubicBezTo>
                      <a:pt x="446" y="114"/>
                      <a:pt x="446" y="114"/>
                      <a:pt x="446" y="114"/>
                    </a:cubicBezTo>
                    <a:cubicBezTo>
                      <a:pt x="443" y="116"/>
                      <a:pt x="443" y="116"/>
                      <a:pt x="443" y="116"/>
                    </a:cubicBezTo>
                    <a:cubicBezTo>
                      <a:pt x="441" y="117"/>
                      <a:pt x="441" y="117"/>
                      <a:pt x="441" y="117"/>
                    </a:cubicBezTo>
                    <a:cubicBezTo>
                      <a:pt x="440" y="116"/>
                      <a:pt x="440" y="116"/>
                      <a:pt x="440" y="116"/>
                    </a:cubicBezTo>
                    <a:cubicBezTo>
                      <a:pt x="439" y="116"/>
                      <a:pt x="439" y="116"/>
                      <a:pt x="439" y="116"/>
                    </a:cubicBezTo>
                    <a:cubicBezTo>
                      <a:pt x="439" y="118"/>
                      <a:pt x="439" y="118"/>
                      <a:pt x="439" y="118"/>
                    </a:cubicBezTo>
                    <a:cubicBezTo>
                      <a:pt x="438" y="119"/>
                      <a:pt x="438" y="119"/>
                      <a:pt x="438" y="119"/>
                    </a:cubicBezTo>
                    <a:cubicBezTo>
                      <a:pt x="437" y="119"/>
                      <a:pt x="437" y="119"/>
                      <a:pt x="437" y="119"/>
                    </a:cubicBezTo>
                    <a:cubicBezTo>
                      <a:pt x="436" y="119"/>
                      <a:pt x="436" y="119"/>
                      <a:pt x="436" y="119"/>
                    </a:cubicBezTo>
                    <a:cubicBezTo>
                      <a:pt x="435" y="120"/>
                      <a:pt x="435" y="120"/>
                      <a:pt x="435" y="120"/>
                    </a:cubicBezTo>
                    <a:cubicBezTo>
                      <a:pt x="433" y="123"/>
                      <a:pt x="433" y="123"/>
                      <a:pt x="433" y="123"/>
                    </a:cubicBezTo>
                    <a:cubicBezTo>
                      <a:pt x="433" y="126"/>
                      <a:pt x="433" y="126"/>
                      <a:pt x="433" y="126"/>
                    </a:cubicBezTo>
                    <a:cubicBezTo>
                      <a:pt x="433" y="128"/>
                      <a:pt x="433" y="128"/>
                      <a:pt x="433" y="128"/>
                    </a:cubicBezTo>
                    <a:cubicBezTo>
                      <a:pt x="432" y="129"/>
                      <a:pt x="432" y="129"/>
                      <a:pt x="432" y="129"/>
                    </a:cubicBezTo>
                    <a:cubicBezTo>
                      <a:pt x="430" y="130"/>
                      <a:pt x="430" y="130"/>
                      <a:pt x="430" y="130"/>
                    </a:cubicBezTo>
                    <a:cubicBezTo>
                      <a:pt x="426" y="133"/>
                      <a:pt x="426" y="133"/>
                      <a:pt x="426" y="133"/>
                    </a:cubicBezTo>
                    <a:cubicBezTo>
                      <a:pt x="423" y="133"/>
                      <a:pt x="423" y="133"/>
                      <a:pt x="423" y="133"/>
                    </a:cubicBezTo>
                    <a:cubicBezTo>
                      <a:pt x="421" y="132"/>
                      <a:pt x="421" y="132"/>
                      <a:pt x="421" y="132"/>
                    </a:cubicBezTo>
                    <a:cubicBezTo>
                      <a:pt x="420" y="133"/>
                      <a:pt x="420" y="133"/>
                      <a:pt x="420" y="133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6" y="139"/>
                      <a:pt x="416" y="139"/>
                      <a:pt x="416" y="139"/>
                    </a:cubicBezTo>
                    <a:cubicBezTo>
                      <a:pt x="414" y="140"/>
                      <a:pt x="414" y="140"/>
                      <a:pt x="414" y="140"/>
                    </a:cubicBezTo>
                    <a:cubicBezTo>
                      <a:pt x="413" y="142"/>
                      <a:pt x="413" y="142"/>
                      <a:pt x="413" y="142"/>
                    </a:cubicBezTo>
                    <a:cubicBezTo>
                      <a:pt x="412" y="143"/>
                      <a:pt x="412" y="143"/>
                      <a:pt x="412" y="143"/>
                    </a:cubicBezTo>
                    <a:cubicBezTo>
                      <a:pt x="411" y="143"/>
                      <a:pt x="411" y="143"/>
                      <a:pt x="411" y="143"/>
                    </a:cubicBezTo>
                    <a:cubicBezTo>
                      <a:pt x="409" y="142"/>
                      <a:pt x="409" y="142"/>
                      <a:pt x="409" y="142"/>
                    </a:cubicBezTo>
                    <a:cubicBezTo>
                      <a:pt x="407" y="142"/>
                      <a:pt x="407" y="142"/>
                      <a:pt x="407" y="142"/>
                    </a:cubicBezTo>
                    <a:cubicBezTo>
                      <a:pt x="404" y="141"/>
                      <a:pt x="404" y="141"/>
                      <a:pt x="404" y="141"/>
                    </a:cubicBezTo>
                    <a:cubicBezTo>
                      <a:pt x="401" y="139"/>
                      <a:pt x="401" y="139"/>
                      <a:pt x="401" y="139"/>
                    </a:cubicBezTo>
                    <a:cubicBezTo>
                      <a:pt x="399" y="139"/>
                      <a:pt x="399" y="139"/>
                      <a:pt x="399" y="139"/>
                    </a:cubicBezTo>
                    <a:cubicBezTo>
                      <a:pt x="395" y="140"/>
                      <a:pt x="395" y="140"/>
                      <a:pt x="395" y="140"/>
                    </a:cubicBezTo>
                    <a:cubicBezTo>
                      <a:pt x="393" y="142"/>
                      <a:pt x="393" y="142"/>
                      <a:pt x="393" y="142"/>
                    </a:cubicBezTo>
                    <a:cubicBezTo>
                      <a:pt x="392" y="144"/>
                      <a:pt x="392" y="144"/>
                      <a:pt x="392" y="144"/>
                    </a:cubicBezTo>
                    <a:cubicBezTo>
                      <a:pt x="392" y="148"/>
                      <a:pt x="392" y="148"/>
                      <a:pt x="392" y="148"/>
                    </a:cubicBezTo>
                    <a:cubicBezTo>
                      <a:pt x="392" y="150"/>
                      <a:pt x="392" y="150"/>
                      <a:pt x="392" y="150"/>
                    </a:cubicBezTo>
                    <a:cubicBezTo>
                      <a:pt x="392" y="151"/>
                      <a:pt x="392" y="151"/>
                      <a:pt x="392" y="151"/>
                    </a:cubicBezTo>
                    <a:cubicBezTo>
                      <a:pt x="396" y="154"/>
                      <a:pt x="396" y="154"/>
                      <a:pt x="396" y="154"/>
                    </a:cubicBezTo>
                    <a:cubicBezTo>
                      <a:pt x="400" y="157"/>
                      <a:pt x="400" y="157"/>
                      <a:pt x="400" y="157"/>
                    </a:cubicBezTo>
                    <a:cubicBezTo>
                      <a:pt x="400" y="158"/>
                      <a:pt x="400" y="158"/>
                      <a:pt x="400" y="158"/>
                    </a:cubicBezTo>
                    <a:cubicBezTo>
                      <a:pt x="399" y="160"/>
                      <a:pt x="399" y="160"/>
                      <a:pt x="399" y="160"/>
                    </a:cubicBezTo>
                    <a:cubicBezTo>
                      <a:pt x="398" y="162"/>
                      <a:pt x="398" y="162"/>
                      <a:pt x="398" y="162"/>
                    </a:cubicBezTo>
                    <a:cubicBezTo>
                      <a:pt x="393" y="167"/>
                      <a:pt x="393" y="167"/>
                      <a:pt x="393" y="167"/>
                    </a:cubicBezTo>
                    <a:cubicBezTo>
                      <a:pt x="391" y="171"/>
                      <a:pt x="391" y="171"/>
                      <a:pt x="391" y="171"/>
                    </a:cubicBezTo>
                    <a:cubicBezTo>
                      <a:pt x="390" y="174"/>
                      <a:pt x="390" y="174"/>
                      <a:pt x="390" y="174"/>
                    </a:cubicBezTo>
                    <a:cubicBezTo>
                      <a:pt x="388" y="174"/>
                      <a:pt x="388" y="174"/>
                      <a:pt x="388" y="174"/>
                    </a:cubicBezTo>
                    <a:cubicBezTo>
                      <a:pt x="385" y="175"/>
                      <a:pt x="385" y="175"/>
                      <a:pt x="385" y="175"/>
                    </a:cubicBezTo>
                    <a:cubicBezTo>
                      <a:pt x="383" y="175"/>
                      <a:pt x="383" y="175"/>
                      <a:pt x="383" y="175"/>
                    </a:cubicBezTo>
                    <a:cubicBezTo>
                      <a:pt x="380" y="177"/>
                      <a:pt x="380" y="177"/>
                      <a:pt x="380" y="177"/>
                    </a:cubicBezTo>
                    <a:cubicBezTo>
                      <a:pt x="377" y="179"/>
                      <a:pt x="377" y="179"/>
                      <a:pt x="377" y="179"/>
                    </a:cubicBezTo>
                    <a:cubicBezTo>
                      <a:pt x="375" y="179"/>
                      <a:pt x="375" y="179"/>
                      <a:pt x="375" y="179"/>
                    </a:cubicBezTo>
                    <a:cubicBezTo>
                      <a:pt x="371" y="180"/>
                      <a:pt x="371" y="180"/>
                      <a:pt x="371" y="180"/>
                    </a:cubicBezTo>
                    <a:cubicBezTo>
                      <a:pt x="368" y="181"/>
                      <a:pt x="368" y="181"/>
                      <a:pt x="368" y="181"/>
                    </a:cubicBezTo>
                    <a:cubicBezTo>
                      <a:pt x="365" y="182"/>
                      <a:pt x="365" y="182"/>
                      <a:pt x="365" y="182"/>
                    </a:cubicBezTo>
                    <a:cubicBezTo>
                      <a:pt x="358" y="184"/>
                      <a:pt x="358" y="184"/>
                      <a:pt x="358" y="184"/>
                    </a:cubicBezTo>
                    <a:cubicBezTo>
                      <a:pt x="352" y="186"/>
                      <a:pt x="352" y="186"/>
                      <a:pt x="352" y="186"/>
                    </a:cubicBezTo>
                    <a:cubicBezTo>
                      <a:pt x="350" y="189"/>
                      <a:pt x="350" y="189"/>
                      <a:pt x="350" y="189"/>
                    </a:cubicBezTo>
                    <a:cubicBezTo>
                      <a:pt x="346" y="192"/>
                      <a:pt x="346" y="192"/>
                      <a:pt x="346" y="192"/>
                    </a:cubicBezTo>
                    <a:cubicBezTo>
                      <a:pt x="344" y="194"/>
                      <a:pt x="344" y="194"/>
                      <a:pt x="344" y="194"/>
                    </a:cubicBezTo>
                    <a:cubicBezTo>
                      <a:pt x="341" y="194"/>
                      <a:pt x="341" y="194"/>
                      <a:pt x="341" y="194"/>
                    </a:cubicBezTo>
                    <a:cubicBezTo>
                      <a:pt x="339" y="193"/>
                      <a:pt x="339" y="193"/>
                      <a:pt x="339" y="193"/>
                    </a:cubicBezTo>
                    <a:cubicBezTo>
                      <a:pt x="339" y="192"/>
                      <a:pt x="339" y="192"/>
                      <a:pt x="339" y="192"/>
                    </a:cubicBezTo>
                    <a:cubicBezTo>
                      <a:pt x="338" y="191"/>
                      <a:pt x="338" y="191"/>
                      <a:pt x="338" y="191"/>
                    </a:cubicBezTo>
                    <a:cubicBezTo>
                      <a:pt x="334" y="192"/>
                      <a:pt x="334" y="192"/>
                      <a:pt x="334" y="192"/>
                    </a:cubicBezTo>
                    <a:cubicBezTo>
                      <a:pt x="331" y="192"/>
                      <a:pt x="331" y="192"/>
                      <a:pt x="331" y="192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90"/>
                      <a:pt x="325" y="190"/>
                      <a:pt x="325" y="190"/>
                    </a:cubicBezTo>
                    <a:cubicBezTo>
                      <a:pt x="318" y="188"/>
                      <a:pt x="318" y="188"/>
                      <a:pt x="318" y="188"/>
                    </a:cubicBezTo>
                    <a:cubicBezTo>
                      <a:pt x="312" y="185"/>
                      <a:pt x="312" y="185"/>
                      <a:pt x="312" y="185"/>
                    </a:cubicBezTo>
                    <a:cubicBezTo>
                      <a:pt x="309" y="182"/>
                      <a:pt x="309" y="182"/>
                      <a:pt x="309" y="182"/>
                    </a:cubicBezTo>
                    <a:cubicBezTo>
                      <a:pt x="307" y="182"/>
                      <a:pt x="307" y="182"/>
                      <a:pt x="307" y="182"/>
                    </a:cubicBezTo>
                    <a:cubicBezTo>
                      <a:pt x="300" y="181"/>
                      <a:pt x="300" y="181"/>
                      <a:pt x="300" y="181"/>
                    </a:cubicBezTo>
                    <a:cubicBezTo>
                      <a:pt x="294" y="181"/>
                      <a:pt x="294" y="181"/>
                      <a:pt x="294" y="181"/>
                    </a:cubicBezTo>
                    <a:cubicBezTo>
                      <a:pt x="292" y="181"/>
                      <a:pt x="292" y="181"/>
                      <a:pt x="292" y="181"/>
                    </a:cubicBezTo>
                    <a:cubicBezTo>
                      <a:pt x="291" y="181"/>
                      <a:pt x="291" y="181"/>
                      <a:pt x="291" y="181"/>
                    </a:cubicBezTo>
                    <a:cubicBezTo>
                      <a:pt x="291" y="183"/>
                      <a:pt x="291" y="183"/>
                      <a:pt x="291" y="183"/>
                    </a:cubicBezTo>
                    <a:cubicBezTo>
                      <a:pt x="287" y="184"/>
                      <a:pt x="287" y="184"/>
                      <a:pt x="287" y="184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75" y="184"/>
                      <a:pt x="275" y="184"/>
                      <a:pt x="275" y="184"/>
                    </a:cubicBezTo>
                    <a:cubicBezTo>
                      <a:pt x="269" y="184"/>
                      <a:pt x="269" y="184"/>
                      <a:pt x="269" y="184"/>
                    </a:cubicBezTo>
                    <a:cubicBezTo>
                      <a:pt x="264" y="184"/>
                      <a:pt x="264" y="184"/>
                      <a:pt x="264" y="184"/>
                    </a:cubicBezTo>
                    <a:cubicBezTo>
                      <a:pt x="261" y="184"/>
                      <a:pt x="261" y="184"/>
                      <a:pt x="261" y="184"/>
                    </a:cubicBezTo>
                    <a:cubicBezTo>
                      <a:pt x="259" y="184"/>
                      <a:pt x="259" y="184"/>
                      <a:pt x="259" y="184"/>
                    </a:cubicBezTo>
                    <a:cubicBezTo>
                      <a:pt x="257" y="184"/>
                      <a:pt x="257" y="184"/>
                      <a:pt x="257" y="184"/>
                    </a:cubicBezTo>
                    <a:cubicBezTo>
                      <a:pt x="255" y="179"/>
                      <a:pt x="255" y="179"/>
                      <a:pt x="255" y="179"/>
                    </a:cubicBezTo>
                    <a:cubicBezTo>
                      <a:pt x="254" y="177"/>
                      <a:pt x="254" y="177"/>
                      <a:pt x="254" y="177"/>
                    </a:cubicBezTo>
                    <a:cubicBezTo>
                      <a:pt x="252" y="174"/>
                      <a:pt x="252" y="174"/>
                      <a:pt x="252" y="174"/>
                    </a:cubicBezTo>
                    <a:cubicBezTo>
                      <a:pt x="250" y="172"/>
                      <a:pt x="250" y="172"/>
                      <a:pt x="250" y="172"/>
                    </a:cubicBezTo>
                    <a:cubicBezTo>
                      <a:pt x="249" y="169"/>
                      <a:pt x="249" y="169"/>
                      <a:pt x="249" y="169"/>
                    </a:cubicBezTo>
                    <a:cubicBezTo>
                      <a:pt x="249" y="168"/>
                      <a:pt x="249" y="168"/>
                      <a:pt x="249" y="168"/>
                    </a:cubicBezTo>
                    <a:cubicBezTo>
                      <a:pt x="248" y="166"/>
                      <a:pt x="248" y="166"/>
                      <a:pt x="248" y="166"/>
                    </a:cubicBezTo>
                    <a:cubicBezTo>
                      <a:pt x="246" y="166"/>
                      <a:pt x="246" y="166"/>
                      <a:pt x="246" y="166"/>
                    </a:cubicBezTo>
                    <a:cubicBezTo>
                      <a:pt x="245" y="166"/>
                      <a:pt x="245" y="166"/>
                      <a:pt x="245" y="166"/>
                    </a:cubicBezTo>
                    <a:cubicBezTo>
                      <a:pt x="245" y="165"/>
                      <a:pt x="245" y="165"/>
                      <a:pt x="245" y="165"/>
                    </a:cubicBezTo>
                    <a:cubicBezTo>
                      <a:pt x="244" y="163"/>
                      <a:pt x="244" y="163"/>
                      <a:pt x="244" y="163"/>
                    </a:cubicBezTo>
                    <a:cubicBezTo>
                      <a:pt x="244" y="163"/>
                      <a:pt x="244" y="163"/>
                      <a:pt x="244" y="163"/>
                    </a:cubicBezTo>
                    <a:cubicBezTo>
                      <a:pt x="243" y="163"/>
                      <a:pt x="243" y="163"/>
                      <a:pt x="243" y="163"/>
                    </a:cubicBezTo>
                    <a:cubicBezTo>
                      <a:pt x="240" y="163"/>
                      <a:pt x="240" y="163"/>
                      <a:pt x="240" y="163"/>
                    </a:cubicBezTo>
                    <a:cubicBezTo>
                      <a:pt x="238" y="161"/>
                      <a:pt x="238" y="161"/>
                      <a:pt x="238" y="161"/>
                    </a:cubicBezTo>
                    <a:cubicBezTo>
                      <a:pt x="234" y="159"/>
                      <a:pt x="234" y="159"/>
                      <a:pt x="234" y="159"/>
                    </a:cubicBezTo>
                    <a:cubicBezTo>
                      <a:pt x="233" y="159"/>
                      <a:pt x="233" y="159"/>
                      <a:pt x="233" y="159"/>
                    </a:cubicBezTo>
                    <a:cubicBezTo>
                      <a:pt x="232" y="159"/>
                      <a:pt x="232" y="159"/>
                      <a:pt x="232" y="159"/>
                    </a:cubicBezTo>
                    <a:cubicBezTo>
                      <a:pt x="231" y="158"/>
                      <a:pt x="231" y="158"/>
                      <a:pt x="231" y="158"/>
                    </a:cubicBezTo>
                    <a:cubicBezTo>
                      <a:pt x="230" y="157"/>
                      <a:pt x="230" y="157"/>
                      <a:pt x="230" y="157"/>
                    </a:cubicBezTo>
                    <a:cubicBezTo>
                      <a:pt x="227" y="155"/>
                      <a:pt x="227" y="155"/>
                      <a:pt x="227" y="155"/>
                    </a:cubicBezTo>
                    <a:cubicBezTo>
                      <a:pt x="220" y="154"/>
                      <a:pt x="220" y="154"/>
                      <a:pt x="220" y="154"/>
                    </a:cubicBezTo>
                    <a:cubicBezTo>
                      <a:pt x="219" y="154"/>
                      <a:pt x="219" y="154"/>
                      <a:pt x="219" y="154"/>
                    </a:cubicBezTo>
                    <a:cubicBezTo>
                      <a:pt x="219" y="155"/>
                      <a:pt x="219" y="155"/>
                      <a:pt x="219" y="155"/>
                    </a:cubicBezTo>
                    <a:cubicBezTo>
                      <a:pt x="216" y="155"/>
                      <a:pt x="216" y="155"/>
                      <a:pt x="216" y="155"/>
                    </a:cubicBezTo>
                    <a:cubicBezTo>
                      <a:pt x="212" y="155"/>
                      <a:pt x="212" y="155"/>
                      <a:pt x="212" y="155"/>
                    </a:cubicBezTo>
                    <a:cubicBezTo>
                      <a:pt x="202" y="153"/>
                      <a:pt x="202" y="153"/>
                      <a:pt x="202" y="153"/>
                    </a:cubicBezTo>
                    <a:cubicBezTo>
                      <a:pt x="200" y="152"/>
                      <a:pt x="200" y="152"/>
                      <a:pt x="200" y="152"/>
                    </a:cubicBezTo>
                    <a:cubicBezTo>
                      <a:pt x="198" y="148"/>
                      <a:pt x="198" y="148"/>
                      <a:pt x="198" y="148"/>
                    </a:cubicBezTo>
                    <a:cubicBezTo>
                      <a:pt x="198" y="147"/>
                      <a:pt x="198" y="147"/>
                      <a:pt x="198" y="147"/>
                    </a:cubicBezTo>
                    <a:cubicBezTo>
                      <a:pt x="198" y="145"/>
                      <a:pt x="198" y="145"/>
                      <a:pt x="198" y="145"/>
                    </a:cubicBezTo>
                    <a:cubicBezTo>
                      <a:pt x="198" y="144"/>
                      <a:pt x="198" y="144"/>
                      <a:pt x="198" y="144"/>
                    </a:cubicBezTo>
                    <a:cubicBezTo>
                      <a:pt x="200" y="143"/>
                      <a:pt x="200" y="143"/>
                      <a:pt x="200" y="143"/>
                    </a:cubicBezTo>
                    <a:cubicBezTo>
                      <a:pt x="200" y="141"/>
                      <a:pt x="200" y="141"/>
                      <a:pt x="200" y="141"/>
                    </a:cubicBezTo>
                    <a:cubicBezTo>
                      <a:pt x="199" y="140"/>
                      <a:pt x="199" y="140"/>
                      <a:pt x="199" y="140"/>
                    </a:cubicBezTo>
                    <a:cubicBezTo>
                      <a:pt x="199" y="138"/>
                      <a:pt x="199" y="138"/>
                      <a:pt x="199" y="138"/>
                    </a:cubicBezTo>
                    <a:cubicBezTo>
                      <a:pt x="199" y="136"/>
                      <a:pt x="199" y="136"/>
                      <a:pt x="199" y="136"/>
                    </a:cubicBezTo>
                    <a:cubicBezTo>
                      <a:pt x="199" y="134"/>
                      <a:pt x="199" y="134"/>
                      <a:pt x="199" y="134"/>
                    </a:cubicBezTo>
                    <a:cubicBezTo>
                      <a:pt x="198" y="133"/>
                      <a:pt x="198" y="133"/>
                      <a:pt x="198" y="133"/>
                    </a:cubicBezTo>
                    <a:cubicBezTo>
                      <a:pt x="197" y="131"/>
                      <a:pt x="197" y="131"/>
                      <a:pt x="197" y="131"/>
                    </a:cubicBezTo>
                    <a:cubicBezTo>
                      <a:pt x="196" y="130"/>
                      <a:pt x="196" y="130"/>
                      <a:pt x="196" y="130"/>
                    </a:cubicBezTo>
                    <a:cubicBezTo>
                      <a:pt x="194" y="129"/>
                      <a:pt x="194" y="129"/>
                      <a:pt x="194" y="129"/>
                    </a:cubicBezTo>
                    <a:cubicBezTo>
                      <a:pt x="193" y="127"/>
                      <a:pt x="193" y="127"/>
                      <a:pt x="193" y="127"/>
                    </a:cubicBezTo>
                    <a:cubicBezTo>
                      <a:pt x="192" y="126"/>
                      <a:pt x="192" y="126"/>
                      <a:pt x="192" y="126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22"/>
                      <a:pt x="192" y="122"/>
                      <a:pt x="192" y="122"/>
                    </a:cubicBezTo>
                    <a:cubicBezTo>
                      <a:pt x="191" y="121"/>
                      <a:pt x="191" y="121"/>
                      <a:pt x="191" y="121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88" y="119"/>
                      <a:pt x="188" y="119"/>
                      <a:pt x="188" y="119"/>
                    </a:cubicBezTo>
                    <a:cubicBezTo>
                      <a:pt x="187" y="118"/>
                      <a:pt x="187" y="118"/>
                      <a:pt x="187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4" y="117"/>
                      <a:pt x="184" y="117"/>
                      <a:pt x="184" y="117"/>
                    </a:cubicBezTo>
                    <a:cubicBezTo>
                      <a:pt x="183" y="118"/>
                      <a:pt x="183" y="118"/>
                      <a:pt x="183" y="118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81" y="118"/>
                      <a:pt x="181" y="118"/>
                      <a:pt x="181" y="118"/>
                    </a:cubicBezTo>
                    <a:cubicBezTo>
                      <a:pt x="179" y="117"/>
                      <a:pt x="179" y="117"/>
                      <a:pt x="179" y="117"/>
                    </a:cubicBezTo>
                    <a:cubicBezTo>
                      <a:pt x="179" y="116"/>
                      <a:pt x="179" y="116"/>
                      <a:pt x="179" y="116"/>
                    </a:cubicBezTo>
                    <a:cubicBezTo>
                      <a:pt x="177" y="116"/>
                      <a:pt x="177" y="116"/>
                      <a:pt x="177" y="116"/>
                    </a:cubicBezTo>
                    <a:cubicBezTo>
                      <a:pt x="175" y="117"/>
                      <a:pt x="175" y="117"/>
                      <a:pt x="175" y="117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3" y="119"/>
                      <a:pt x="173" y="119"/>
                      <a:pt x="173" y="119"/>
                    </a:cubicBezTo>
                    <a:cubicBezTo>
                      <a:pt x="171" y="117"/>
                      <a:pt x="171" y="117"/>
                      <a:pt x="171" y="117"/>
                    </a:cubicBezTo>
                    <a:cubicBezTo>
                      <a:pt x="171" y="116"/>
                      <a:pt x="171" y="116"/>
                      <a:pt x="171" y="116"/>
                    </a:cubicBezTo>
                    <a:cubicBezTo>
                      <a:pt x="171" y="115"/>
                      <a:pt x="171" y="115"/>
                      <a:pt x="171" y="115"/>
                    </a:cubicBezTo>
                    <a:cubicBezTo>
                      <a:pt x="169" y="114"/>
                      <a:pt x="169" y="114"/>
                      <a:pt x="169" y="114"/>
                    </a:cubicBezTo>
                    <a:cubicBezTo>
                      <a:pt x="167" y="112"/>
                      <a:pt x="167" y="112"/>
                      <a:pt x="167" y="112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65" y="110"/>
                      <a:pt x="165" y="110"/>
                      <a:pt x="165" y="110"/>
                    </a:cubicBezTo>
                    <a:cubicBezTo>
                      <a:pt x="164" y="109"/>
                      <a:pt x="164" y="109"/>
                      <a:pt x="164" y="109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3" y="107"/>
                      <a:pt x="163" y="107"/>
                      <a:pt x="163" y="107"/>
                    </a:cubicBezTo>
                    <a:cubicBezTo>
                      <a:pt x="163" y="106"/>
                      <a:pt x="163" y="106"/>
                      <a:pt x="163" y="106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2" y="107"/>
                      <a:pt x="162" y="107"/>
                      <a:pt x="162" y="107"/>
                    </a:cubicBezTo>
                    <a:cubicBezTo>
                      <a:pt x="161" y="105"/>
                      <a:pt x="161" y="105"/>
                      <a:pt x="161" y="105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60" y="102"/>
                      <a:pt x="160" y="102"/>
                      <a:pt x="160" y="102"/>
                    </a:cubicBezTo>
                    <a:cubicBezTo>
                      <a:pt x="160" y="101"/>
                      <a:pt x="160" y="101"/>
                      <a:pt x="160" y="101"/>
                    </a:cubicBezTo>
                    <a:cubicBezTo>
                      <a:pt x="159" y="101"/>
                      <a:pt x="159" y="101"/>
                      <a:pt x="159" y="101"/>
                    </a:cubicBezTo>
                    <a:cubicBezTo>
                      <a:pt x="157" y="101"/>
                      <a:pt x="157" y="101"/>
                      <a:pt x="157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5" y="103"/>
                      <a:pt x="155" y="103"/>
                      <a:pt x="155" y="103"/>
                    </a:cubicBezTo>
                    <a:cubicBezTo>
                      <a:pt x="153" y="104"/>
                      <a:pt x="153" y="104"/>
                      <a:pt x="153" y="104"/>
                    </a:cubicBezTo>
                    <a:cubicBezTo>
                      <a:pt x="151" y="107"/>
                      <a:pt x="151" y="107"/>
                      <a:pt x="151" y="107"/>
                    </a:cubicBezTo>
                    <a:cubicBezTo>
                      <a:pt x="150" y="108"/>
                      <a:pt x="150" y="108"/>
                      <a:pt x="150" y="108"/>
                    </a:cubicBezTo>
                    <a:cubicBezTo>
                      <a:pt x="151" y="109"/>
                      <a:pt x="151" y="109"/>
                      <a:pt x="151" y="109"/>
                    </a:cubicBezTo>
                    <a:cubicBezTo>
                      <a:pt x="150" y="111"/>
                      <a:pt x="150" y="111"/>
                      <a:pt x="150" y="111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5" y="114"/>
                      <a:pt x="145" y="114"/>
                      <a:pt x="145" y="114"/>
                    </a:cubicBezTo>
                    <a:cubicBezTo>
                      <a:pt x="145" y="116"/>
                      <a:pt x="145" y="116"/>
                      <a:pt x="145" y="116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7" y="124"/>
                      <a:pt x="147" y="124"/>
                      <a:pt x="147" y="124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48" y="128"/>
                      <a:pt x="148" y="128"/>
                      <a:pt x="148" y="128"/>
                    </a:cubicBezTo>
                    <a:cubicBezTo>
                      <a:pt x="146" y="131"/>
                      <a:pt x="146" y="131"/>
                      <a:pt x="146" y="131"/>
                    </a:cubicBezTo>
                    <a:cubicBezTo>
                      <a:pt x="144" y="132"/>
                      <a:pt x="144" y="132"/>
                      <a:pt x="144" y="132"/>
                    </a:cubicBezTo>
                    <a:cubicBezTo>
                      <a:pt x="142" y="134"/>
                      <a:pt x="142" y="134"/>
                      <a:pt x="142" y="134"/>
                    </a:cubicBezTo>
                    <a:cubicBezTo>
                      <a:pt x="141" y="134"/>
                      <a:pt x="141" y="134"/>
                      <a:pt x="141" y="134"/>
                    </a:cubicBezTo>
                    <a:cubicBezTo>
                      <a:pt x="140" y="134"/>
                      <a:pt x="140" y="134"/>
                      <a:pt x="140" y="134"/>
                    </a:cubicBezTo>
                    <a:cubicBezTo>
                      <a:pt x="139" y="133"/>
                      <a:pt x="139" y="133"/>
                      <a:pt x="139" y="133"/>
                    </a:cubicBezTo>
                    <a:cubicBezTo>
                      <a:pt x="138" y="133"/>
                      <a:pt x="138" y="133"/>
                      <a:pt x="138" y="133"/>
                    </a:cubicBezTo>
                    <a:cubicBezTo>
                      <a:pt x="134" y="133"/>
                      <a:pt x="134" y="133"/>
                      <a:pt x="134" y="133"/>
                    </a:cubicBezTo>
                    <a:cubicBezTo>
                      <a:pt x="131" y="133"/>
                      <a:pt x="131" y="133"/>
                      <a:pt x="131" y="133"/>
                    </a:cubicBezTo>
                    <a:cubicBezTo>
                      <a:pt x="128" y="132"/>
                      <a:pt x="128" y="132"/>
                      <a:pt x="128" y="132"/>
                    </a:cubicBezTo>
                    <a:cubicBezTo>
                      <a:pt x="125" y="132"/>
                      <a:pt x="125" y="132"/>
                      <a:pt x="125" y="132"/>
                    </a:cubicBezTo>
                    <a:cubicBezTo>
                      <a:pt x="124" y="132"/>
                      <a:pt x="124" y="132"/>
                      <a:pt x="124" y="132"/>
                    </a:cubicBezTo>
                    <a:cubicBezTo>
                      <a:pt x="123" y="136"/>
                      <a:pt x="123" y="136"/>
                      <a:pt x="123" y="136"/>
                    </a:cubicBezTo>
                    <a:cubicBezTo>
                      <a:pt x="123" y="139"/>
                      <a:pt x="123" y="139"/>
                      <a:pt x="123" y="139"/>
                    </a:cubicBezTo>
                    <a:cubicBezTo>
                      <a:pt x="122" y="141"/>
                      <a:pt x="122" y="141"/>
                      <a:pt x="122" y="141"/>
                    </a:cubicBezTo>
                    <a:cubicBezTo>
                      <a:pt x="122" y="147"/>
                      <a:pt x="122" y="147"/>
                      <a:pt x="122" y="147"/>
                    </a:cubicBezTo>
                    <a:cubicBezTo>
                      <a:pt x="122" y="151"/>
                      <a:pt x="122" y="151"/>
                      <a:pt x="122" y="151"/>
                    </a:cubicBezTo>
                    <a:cubicBezTo>
                      <a:pt x="121" y="153"/>
                      <a:pt x="121" y="153"/>
                      <a:pt x="121" y="153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4" y="155"/>
                      <a:pt x="124" y="155"/>
                      <a:pt x="124" y="155"/>
                    </a:cubicBezTo>
                    <a:cubicBezTo>
                      <a:pt x="124" y="157"/>
                      <a:pt x="124" y="157"/>
                      <a:pt x="124" y="157"/>
                    </a:cubicBezTo>
                    <a:cubicBezTo>
                      <a:pt x="123" y="158"/>
                      <a:pt x="123" y="158"/>
                      <a:pt x="123" y="158"/>
                    </a:cubicBezTo>
                    <a:cubicBezTo>
                      <a:pt x="122" y="158"/>
                      <a:pt x="122" y="158"/>
                      <a:pt x="122" y="158"/>
                    </a:cubicBezTo>
                    <a:cubicBezTo>
                      <a:pt x="121" y="159"/>
                      <a:pt x="121" y="159"/>
                      <a:pt x="121" y="159"/>
                    </a:cubicBezTo>
                    <a:cubicBezTo>
                      <a:pt x="119" y="159"/>
                      <a:pt x="119" y="159"/>
                      <a:pt x="119" y="159"/>
                    </a:cubicBezTo>
                    <a:cubicBezTo>
                      <a:pt x="118" y="158"/>
                      <a:pt x="118" y="158"/>
                      <a:pt x="118" y="158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5" y="159"/>
                      <a:pt x="115" y="159"/>
                      <a:pt x="115" y="159"/>
                    </a:cubicBezTo>
                    <a:cubicBezTo>
                      <a:pt x="110" y="160"/>
                      <a:pt x="110" y="160"/>
                      <a:pt x="110" y="160"/>
                    </a:cubicBezTo>
                    <a:cubicBezTo>
                      <a:pt x="107" y="161"/>
                      <a:pt x="107" y="161"/>
                      <a:pt x="107" y="161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5" y="161"/>
                      <a:pt x="105" y="161"/>
                      <a:pt x="105" y="161"/>
                    </a:cubicBezTo>
                    <a:cubicBezTo>
                      <a:pt x="103" y="161"/>
                      <a:pt x="103" y="161"/>
                      <a:pt x="103" y="161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102" y="164"/>
                      <a:pt x="102" y="164"/>
                      <a:pt x="102" y="164"/>
                    </a:cubicBezTo>
                    <a:cubicBezTo>
                      <a:pt x="103" y="166"/>
                      <a:pt x="103" y="166"/>
                      <a:pt x="103" y="166"/>
                    </a:cubicBezTo>
                    <a:cubicBezTo>
                      <a:pt x="106" y="165"/>
                      <a:pt x="106" y="165"/>
                      <a:pt x="106" y="165"/>
                    </a:cubicBezTo>
                    <a:cubicBezTo>
                      <a:pt x="108" y="166"/>
                      <a:pt x="108" y="166"/>
                      <a:pt x="108" y="166"/>
                    </a:cubicBezTo>
                    <a:cubicBezTo>
                      <a:pt x="108" y="167"/>
                      <a:pt x="108" y="167"/>
                      <a:pt x="108" y="167"/>
                    </a:cubicBezTo>
                    <a:cubicBezTo>
                      <a:pt x="107" y="168"/>
                      <a:pt x="107" y="168"/>
                      <a:pt x="107" y="168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08" y="173"/>
                      <a:pt x="108" y="173"/>
                      <a:pt x="108" y="173"/>
                    </a:cubicBezTo>
                    <a:cubicBezTo>
                      <a:pt x="109" y="174"/>
                      <a:pt x="109" y="174"/>
                      <a:pt x="109" y="174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13" y="182"/>
                      <a:pt x="113" y="182"/>
                      <a:pt x="113" y="182"/>
                    </a:cubicBezTo>
                    <a:cubicBezTo>
                      <a:pt x="114" y="186"/>
                      <a:pt x="114" y="186"/>
                      <a:pt x="114" y="186"/>
                    </a:cubicBezTo>
                    <a:cubicBezTo>
                      <a:pt x="113" y="187"/>
                      <a:pt x="113" y="187"/>
                      <a:pt x="113" y="187"/>
                    </a:cubicBezTo>
                    <a:cubicBezTo>
                      <a:pt x="112" y="189"/>
                      <a:pt x="112" y="189"/>
                      <a:pt x="112" y="189"/>
                    </a:cubicBezTo>
                    <a:cubicBezTo>
                      <a:pt x="114" y="191"/>
                      <a:pt x="114" y="191"/>
                      <a:pt x="114" y="191"/>
                    </a:cubicBezTo>
                    <a:cubicBezTo>
                      <a:pt x="113" y="191"/>
                      <a:pt x="113" y="191"/>
                      <a:pt x="113" y="191"/>
                    </a:cubicBezTo>
                    <a:cubicBezTo>
                      <a:pt x="113" y="193"/>
                      <a:pt x="113" y="193"/>
                      <a:pt x="113" y="193"/>
                    </a:cubicBezTo>
                    <a:cubicBezTo>
                      <a:pt x="111" y="194"/>
                      <a:pt x="111" y="194"/>
                      <a:pt x="111" y="194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09" y="197"/>
                      <a:pt x="109" y="197"/>
                      <a:pt x="109" y="197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01" y="192"/>
                      <a:pt x="101" y="192"/>
                      <a:pt x="101" y="192"/>
                    </a:cubicBezTo>
                    <a:cubicBezTo>
                      <a:pt x="99" y="192"/>
                      <a:pt x="99" y="192"/>
                      <a:pt x="99" y="192"/>
                    </a:cubicBezTo>
                    <a:cubicBezTo>
                      <a:pt x="95" y="190"/>
                      <a:pt x="95" y="190"/>
                      <a:pt x="95" y="190"/>
                    </a:cubicBezTo>
                    <a:cubicBezTo>
                      <a:pt x="89" y="190"/>
                      <a:pt x="89" y="190"/>
                      <a:pt x="89" y="190"/>
                    </a:cubicBezTo>
                    <a:cubicBezTo>
                      <a:pt x="86" y="191"/>
                      <a:pt x="86" y="191"/>
                      <a:pt x="86" y="191"/>
                    </a:cubicBezTo>
                    <a:cubicBezTo>
                      <a:pt x="81" y="190"/>
                      <a:pt x="81" y="190"/>
                      <a:pt x="81" y="190"/>
                    </a:cubicBezTo>
                    <a:cubicBezTo>
                      <a:pt x="76" y="191"/>
                      <a:pt x="76" y="191"/>
                      <a:pt x="76" y="191"/>
                    </a:cubicBezTo>
                    <a:cubicBezTo>
                      <a:pt x="74" y="191"/>
                      <a:pt x="74" y="191"/>
                      <a:pt x="74" y="191"/>
                    </a:cubicBezTo>
                    <a:cubicBezTo>
                      <a:pt x="72" y="190"/>
                      <a:pt x="72" y="190"/>
                      <a:pt x="72" y="190"/>
                    </a:cubicBezTo>
                    <a:cubicBezTo>
                      <a:pt x="70" y="192"/>
                      <a:pt x="70" y="192"/>
                      <a:pt x="70" y="192"/>
                    </a:cubicBezTo>
                    <a:cubicBezTo>
                      <a:pt x="68" y="193"/>
                      <a:pt x="68" y="193"/>
                      <a:pt x="68" y="193"/>
                    </a:cubicBezTo>
                    <a:cubicBezTo>
                      <a:pt x="63" y="192"/>
                      <a:pt x="63" y="192"/>
                      <a:pt x="63" y="192"/>
                    </a:cubicBezTo>
                    <a:cubicBezTo>
                      <a:pt x="59" y="191"/>
                      <a:pt x="59" y="191"/>
                      <a:pt x="59" y="191"/>
                    </a:cubicBezTo>
                    <a:cubicBezTo>
                      <a:pt x="57" y="190"/>
                      <a:pt x="57" y="190"/>
                      <a:pt x="57" y="190"/>
                    </a:cubicBezTo>
                    <a:cubicBezTo>
                      <a:pt x="54" y="190"/>
                      <a:pt x="54" y="190"/>
                      <a:pt x="54" y="190"/>
                    </a:cubicBezTo>
                    <a:cubicBezTo>
                      <a:pt x="53" y="190"/>
                      <a:pt x="53" y="190"/>
                      <a:pt x="53" y="190"/>
                    </a:cubicBezTo>
                    <a:cubicBezTo>
                      <a:pt x="51" y="190"/>
                      <a:pt x="51" y="190"/>
                      <a:pt x="51" y="190"/>
                    </a:cubicBezTo>
                    <a:cubicBezTo>
                      <a:pt x="49" y="190"/>
                      <a:pt x="49" y="190"/>
                      <a:pt x="49" y="190"/>
                    </a:cubicBezTo>
                    <a:cubicBezTo>
                      <a:pt x="48" y="191"/>
                      <a:pt x="48" y="191"/>
                      <a:pt x="48" y="191"/>
                    </a:cubicBezTo>
                    <a:cubicBezTo>
                      <a:pt x="48" y="193"/>
                      <a:pt x="48" y="193"/>
                      <a:pt x="48" y="193"/>
                    </a:cubicBezTo>
                    <a:cubicBezTo>
                      <a:pt x="49" y="195"/>
                      <a:pt x="49" y="195"/>
                      <a:pt x="49" y="195"/>
                    </a:cubicBezTo>
                    <a:cubicBezTo>
                      <a:pt x="49" y="197"/>
                      <a:pt x="49" y="197"/>
                      <a:pt x="49" y="197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0" y="198"/>
                      <a:pt x="40" y="198"/>
                      <a:pt x="40" y="198"/>
                    </a:cubicBezTo>
                    <a:cubicBezTo>
                      <a:pt x="32" y="197"/>
                      <a:pt x="32" y="197"/>
                      <a:pt x="32" y="197"/>
                    </a:cubicBezTo>
                    <a:cubicBezTo>
                      <a:pt x="31" y="196"/>
                      <a:pt x="31" y="196"/>
                      <a:pt x="31" y="196"/>
                    </a:cubicBezTo>
                    <a:cubicBezTo>
                      <a:pt x="28" y="196"/>
                      <a:pt x="28" y="196"/>
                      <a:pt x="28" y="196"/>
                    </a:cubicBezTo>
                    <a:cubicBezTo>
                      <a:pt x="26" y="198"/>
                      <a:pt x="26" y="198"/>
                      <a:pt x="26" y="198"/>
                    </a:cubicBezTo>
                    <a:cubicBezTo>
                      <a:pt x="26" y="199"/>
                      <a:pt x="26" y="199"/>
                      <a:pt x="26" y="199"/>
                    </a:cubicBezTo>
                    <a:cubicBezTo>
                      <a:pt x="24" y="201"/>
                      <a:pt x="24" y="201"/>
                      <a:pt x="24" y="201"/>
                    </a:cubicBezTo>
                    <a:cubicBezTo>
                      <a:pt x="24" y="201"/>
                      <a:pt x="24" y="201"/>
                      <a:pt x="24" y="201"/>
                    </a:cubicBezTo>
                    <a:cubicBezTo>
                      <a:pt x="23" y="201"/>
                      <a:pt x="23" y="201"/>
                      <a:pt x="23" y="201"/>
                    </a:cubicBezTo>
                    <a:cubicBezTo>
                      <a:pt x="25" y="202"/>
                      <a:pt x="25" y="202"/>
                      <a:pt x="25" y="202"/>
                    </a:cubicBezTo>
                    <a:cubicBezTo>
                      <a:pt x="25" y="204"/>
                      <a:pt x="25" y="204"/>
                      <a:pt x="25" y="204"/>
                    </a:cubicBezTo>
                    <a:cubicBezTo>
                      <a:pt x="22" y="208"/>
                      <a:pt x="22" y="208"/>
                      <a:pt x="22" y="208"/>
                    </a:cubicBezTo>
                    <a:cubicBezTo>
                      <a:pt x="21" y="211"/>
                      <a:pt x="21" y="211"/>
                      <a:pt x="21" y="211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9" y="215"/>
                      <a:pt x="29" y="215"/>
                      <a:pt x="29" y="215"/>
                    </a:cubicBezTo>
                    <a:cubicBezTo>
                      <a:pt x="30" y="216"/>
                      <a:pt x="30" y="216"/>
                      <a:pt x="30" y="216"/>
                    </a:cubicBezTo>
                    <a:cubicBezTo>
                      <a:pt x="32" y="214"/>
                      <a:pt x="32" y="214"/>
                      <a:pt x="32" y="214"/>
                    </a:cubicBezTo>
                    <a:cubicBezTo>
                      <a:pt x="32" y="211"/>
                      <a:pt x="32" y="211"/>
                      <a:pt x="32" y="211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8" y="215"/>
                      <a:pt x="38" y="215"/>
                      <a:pt x="38" y="215"/>
                    </a:cubicBezTo>
                    <a:cubicBezTo>
                      <a:pt x="39" y="217"/>
                      <a:pt x="39" y="217"/>
                      <a:pt x="39" y="217"/>
                    </a:cubicBezTo>
                    <a:cubicBezTo>
                      <a:pt x="36" y="220"/>
                      <a:pt x="36" y="220"/>
                      <a:pt x="36" y="220"/>
                    </a:cubicBezTo>
                    <a:cubicBezTo>
                      <a:pt x="33" y="220"/>
                      <a:pt x="33" y="220"/>
                      <a:pt x="33" y="220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27" y="219"/>
                      <a:pt x="27" y="219"/>
                      <a:pt x="27" y="219"/>
                    </a:cubicBezTo>
                    <a:cubicBezTo>
                      <a:pt x="25" y="217"/>
                      <a:pt x="25" y="217"/>
                      <a:pt x="25" y="217"/>
                    </a:cubicBezTo>
                    <a:cubicBezTo>
                      <a:pt x="22" y="220"/>
                      <a:pt x="22" y="220"/>
                      <a:pt x="22" y="220"/>
                    </a:cubicBezTo>
                    <a:cubicBezTo>
                      <a:pt x="20" y="220"/>
                      <a:pt x="20" y="220"/>
                      <a:pt x="20" y="220"/>
                    </a:cubicBezTo>
                    <a:cubicBezTo>
                      <a:pt x="17" y="222"/>
                      <a:pt x="17" y="222"/>
                      <a:pt x="17" y="222"/>
                    </a:cubicBezTo>
                    <a:cubicBezTo>
                      <a:pt x="15" y="223"/>
                      <a:pt x="15" y="223"/>
                      <a:pt x="15" y="223"/>
                    </a:cubicBezTo>
                    <a:cubicBezTo>
                      <a:pt x="15" y="226"/>
                      <a:pt x="15" y="226"/>
                      <a:pt x="15" y="226"/>
                    </a:cubicBezTo>
                    <a:cubicBezTo>
                      <a:pt x="18" y="227"/>
                      <a:pt x="18" y="227"/>
                      <a:pt x="18" y="227"/>
                    </a:cubicBezTo>
                    <a:cubicBezTo>
                      <a:pt x="18" y="229"/>
                      <a:pt x="18" y="229"/>
                      <a:pt x="18" y="229"/>
                    </a:cubicBezTo>
                    <a:cubicBezTo>
                      <a:pt x="14" y="230"/>
                      <a:pt x="14" y="230"/>
                      <a:pt x="14" y="230"/>
                    </a:cubicBezTo>
                    <a:cubicBezTo>
                      <a:pt x="10" y="231"/>
                      <a:pt x="10" y="231"/>
                      <a:pt x="10" y="231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2" y="234"/>
                      <a:pt x="12" y="234"/>
                      <a:pt x="12" y="234"/>
                    </a:cubicBezTo>
                    <a:cubicBezTo>
                      <a:pt x="8" y="235"/>
                      <a:pt x="8" y="235"/>
                      <a:pt x="8" y="235"/>
                    </a:cubicBezTo>
                    <a:cubicBezTo>
                      <a:pt x="8" y="237"/>
                      <a:pt x="8" y="237"/>
                      <a:pt x="8" y="237"/>
                    </a:cubicBezTo>
                    <a:cubicBezTo>
                      <a:pt x="6" y="238"/>
                      <a:pt x="6" y="238"/>
                      <a:pt x="6" y="238"/>
                    </a:cubicBezTo>
                    <a:cubicBezTo>
                      <a:pt x="2" y="237"/>
                      <a:pt x="2" y="237"/>
                      <a:pt x="2" y="237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2" y="246"/>
                      <a:pt x="2" y="246"/>
                      <a:pt x="2" y="246"/>
                    </a:cubicBezTo>
                    <a:cubicBezTo>
                      <a:pt x="4" y="245"/>
                      <a:pt x="4" y="245"/>
                      <a:pt x="4" y="245"/>
                    </a:cubicBezTo>
                    <a:cubicBezTo>
                      <a:pt x="7" y="245"/>
                      <a:pt x="7" y="245"/>
                      <a:pt x="7" y="245"/>
                    </a:cubicBezTo>
                    <a:cubicBezTo>
                      <a:pt x="7" y="247"/>
                      <a:pt x="7" y="247"/>
                      <a:pt x="7" y="247"/>
                    </a:cubicBezTo>
                    <a:cubicBezTo>
                      <a:pt x="6" y="249"/>
                      <a:pt x="6" y="249"/>
                      <a:pt x="6" y="249"/>
                    </a:cubicBezTo>
                    <a:cubicBezTo>
                      <a:pt x="7" y="252"/>
                      <a:pt x="7" y="252"/>
                      <a:pt x="7" y="252"/>
                    </a:cubicBezTo>
                    <a:cubicBezTo>
                      <a:pt x="9" y="252"/>
                      <a:pt x="9" y="252"/>
                      <a:pt x="9" y="252"/>
                    </a:cubicBezTo>
                    <a:cubicBezTo>
                      <a:pt x="10" y="255"/>
                      <a:pt x="10" y="255"/>
                      <a:pt x="10" y="255"/>
                    </a:cubicBezTo>
                    <a:cubicBezTo>
                      <a:pt x="9" y="256"/>
                      <a:pt x="9" y="256"/>
                      <a:pt x="9" y="256"/>
                    </a:cubicBezTo>
                    <a:cubicBezTo>
                      <a:pt x="7" y="261"/>
                      <a:pt x="7" y="261"/>
                      <a:pt x="7" y="261"/>
                    </a:cubicBezTo>
                    <a:cubicBezTo>
                      <a:pt x="6" y="267"/>
                      <a:pt x="6" y="267"/>
                      <a:pt x="6" y="267"/>
                    </a:cubicBezTo>
                    <a:cubicBezTo>
                      <a:pt x="5" y="266"/>
                      <a:pt x="5" y="266"/>
                      <a:pt x="5" y="266"/>
                    </a:cubicBezTo>
                    <a:cubicBezTo>
                      <a:pt x="7" y="269"/>
                      <a:pt x="7" y="269"/>
                      <a:pt x="7" y="269"/>
                    </a:cubicBezTo>
                    <a:cubicBezTo>
                      <a:pt x="9" y="270"/>
                      <a:pt x="9" y="270"/>
                      <a:pt x="9" y="270"/>
                    </a:cubicBezTo>
                    <a:cubicBezTo>
                      <a:pt x="12" y="269"/>
                      <a:pt x="12" y="269"/>
                      <a:pt x="12" y="269"/>
                    </a:cubicBezTo>
                    <a:cubicBezTo>
                      <a:pt x="14" y="268"/>
                      <a:pt x="14" y="268"/>
                      <a:pt x="14" y="268"/>
                    </a:cubicBezTo>
                    <a:cubicBezTo>
                      <a:pt x="15" y="266"/>
                      <a:pt x="15" y="266"/>
                      <a:pt x="15" y="266"/>
                    </a:cubicBezTo>
                    <a:cubicBezTo>
                      <a:pt x="16" y="266"/>
                      <a:pt x="16" y="266"/>
                      <a:pt x="16" y="266"/>
                    </a:cubicBezTo>
                    <a:cubicBezTo>
                      <a:pt x="17" y="265"/>
                      <a:pt x="17" y="265"/>
                      <a:pt x="17" y="265"/>
                    </a:cubicBezTo>
                    <a:cubicBezTo>
                      <a:pt x="18" y="266"/>
                      <a:pt x="18" y="266"/>
                      <a:pt x="18" y="266"/>
                    </a:cubicBezTo>
                    <a:cubicBezTo>
                      <a:pt x="19" y="267"/>
                      <a:pt x="19" y="267"/>
                      <a:pt x="19" y="267"/>
                    </a:cubicBezTo>
                    <a:cubicBezTo>
                      <a:pt x="23" y="267"/>
                      <a:pt x="23" y="267"/>
                      <a:pt x="23" y="267"/>
                    </a:cubicBezTo>
                    <a:cubicBezTo>
                      <a:pt x="23" y="266"/>
                      <a:pt x="23" y="266"/>
                      <a:pt x="23" y="266"/>
                    </a:cubicBezTo>
                    <a:cubicBezTo>
                      <a:pt x="22" y="265"/>
                      <a:pt x="22" y="265"/>
                      <a:pt x="22" y="265"/>
                    </a:cubicBezTo>
                    <a:cubicBezTo>
                      <a:pt x="22" y="264"/>
                      <a:pt x="22" y="264"/>
                      <a:pt x="22" y="264"/>
                    </a:cubicBezTo>
                    <a:cubicBezTo>
                      <a:pt x="24" y="263"/>
                      <a:pt x="24" y="263"/>
                      <a:pt x="24" y="263"/>
                    </a:cubicBezTo>
                    <a:cubicBezTo>
                      <a:pt x="25" y="262"/>
                      <a:pt x="25" y="262"/>
                      <a:pt x="25" y="262"/>
                    </a:cubicBezTo>
                    <a:cubicBezTo>
                      <a:pt x="26" y="262"/>
                      <a:pt x="26" y="262"/>
                      <a:pt x="26" y="262"/>
                    </a:cubicBezTo>
                    <a:cubicBezTo>
                      <a:pt x="26" y="263"/>
                      <a:pt x="26" y="263"/>
                      <a:pt x="26" y="263"/>
                    </a:cubicBezTo>
                    <a:cubicBezTo>
                      <a:pt x="28" y="263"/>
                      <a:pt x="28" y="263"/>
                      <a:pt x="28" y="263"/>
                    </a:cubicBezTo>
                    <a:cubicBezTo>
                      <a:pt x="29" y="261"/>
                      <a:pt x="29" y="261"/>
                      <a:pt x="29" y="261"/>
                    </a:cubicBezTo>
                    <a:cubicBezTo>
                      <a:pt x="29" y="258"/>
                      <a:pt x="29" y="258"/>
                      <a:pt x="29" y="258"/>
                    </a:cubicBezTo>
                    <a:cubicBezTo>
                      <a:pt x="30" y="257"/>
                      <a:pt x="30" y="257"/>
                      <a:pt x="30" y="257"/>
                    </a:cubicBezTo>
                    <a:cubicBezTo>
                      <a:pt x="31" y="255"/>
                      <a:pt x="31" y="255"/>
                      <a:pt x="31" y="255"/>
                    </a:cubicBezTo>
                    <a:cubicBezTo>
                      <a:pt x="31" y="253"/>
                      <a:pt x="31" y="253"/>
                      <a:pt x="31" y="253"/>
                    </a:cubicBezTo>
                    <a:cubicBezTo>
                      <a:pt x="32" y="251"/>
                      <a:pt x="32" y="251"/>
                      <a:pt x="32" y="251"/>
                    </a:cubicBezTo>
                    <a:cubicBezTo>
                      <a:pt x="34" y="251"/>
                      <a:pt x="34" y="251"/>
                      <a:pt x="34" y="251"/>
                    </a:cubicBezTo>
                    <a:cubicBezTo>
                      <a:pt x="36" y="252"/>
                      <a:pt x="36" y="252"/>
                      <a:pt x="36" y="252"/>
                    </a:cubicBezTo>
                    <a:cubicBezTo>
                      <a:pt x="38" y="253"/>
                      <a:pt x="38" y="253"/>
                      <a:pt x="38" y="253"/>
                    </a:cubicBezTo>
                    <a:cubicBezTo>
                      <a:pt x="38" y="255"/>
                      <a:pt x="38" y="255"/>
                      <a:pt x="38" y="255"/>
                    </a:cubicBezTo>
                    <a:cubicBezTo>
                      <a:pt x="37" y="257"/>
                      <a:pt x="37" y="257"/>
                      <a:pt x="37" y="257"/>
                    </a:cubicBezTo>
                    <a:cubicBezTo>
                      <a:pt x="38" y="259"/>
                      <a:pt x="38" y="259"/>
                      <a:pt x="38" y="259"/>
                    </a:cubicBezTo>
                    <a:cubicBezTo>
                      <a:pt x="40" y="259"/>
                      <a:pt x="40" y="259"/>
                      <a:pt x="40" y="259"/>
                    </a:cubicBezTo>
                    <a:cubicBezTo>
                      <a:pt x="40" y="260"/>
                      <a:pt x="40" y="260"/>
                      <a:pt x="40" y="260"/>
                    </a:cubicBezTo>
                    <a:cubicBezTo>
                      <a:pt x="40" y="263"/>
                      <a:pt x="40" y="263"/>
                      <a:pt x="40" y="263"/>
                    </a:cubicBezTo>
                    <a:cubicBezTo>
                      <a:pt x="40" y="265"/>
                      <a:pt x="40" y="265"/>
                      <a:pt x="40" y="265"/>
                    </a:cubicBezTo>
                    <a:cubicBezTo>
                      <a:pt x="41" y="269"/>
                      <a:pt x="41" y="269"/>
                      <a:pt x="41" y="269"/>
                    </a:cubicBezTo>
                    <a:cubicBezTo>
                      <a:pt x="42" y="271"/>
                      <a:pt x="42" y="271"/>
                      <a:pt x="42" y="271"/>
                    </a:cubicBezTo>
                    <a:cubicBezTo>
                      <a:pt x="42" y="272"/>
                      <a:pt x="42" y="272"/>
                      <a:pt x="42" y="272"/>
                    </a:cubicBezTo>
                    <a:cubicBezTo>
                      <a:pt x="44" y="273"/>
                      <a:pt x="44" y="273"/>
                      <a:pt x="44" y="273"/>
                    </a:cubicBezTo>
                    <a:cubicBezTo>
                      <a:pt x="46" y="273"/>
                      <a:pt x="46" y="273"/>
                      <a:pt x="46" y="273"/>
                    </a:cubicBezTo>
                    <a:cubicBezTo>
                      <a:pt x="48" y="272"/>
                      <a:pt x="48" y="272"/>
                      <a:pt x="48" y="272"/>
                    </a:cubicBezTo>
                    <a:cubicBezTo>
                      <a:pt x="48" y="271"/>
                      <a:pt x="48" y="271"/>
                      <a:pt x="48" y="271"/>
                    </a:cubicBezTo>
                    <a:cubicBezTo>
                      <a:pt x="52" y="269"/>
                      <a:pt x="52" y="269"/>
                      <a:pt x="52" y="269"/>
                    </a:cubicBezTo>
                    <a:cubicBezTo>
                      <a:pt x="53" y="268"/>
                      <a:pt x="53" y="268"/>
                      <a:pt x="53" y="268"/>
                    </a:cubicBezTo>
                    <a:cubicBezTo>
                      <a:pt x="54" y="266"/>
                      <a:pt x="54" y="266"/>
                      <a:pt x="54" y="266"/>
                    </a:cubicBezTo>
                    <a:cubicBezTo>
                      <a:pt x="55" y="265"/>
                      <a:pt x="55" y="265"/>
                      <a:pt x="55" y="265"/>
                    </a:cubicBezTo>
                    <a:cubicBezTo>
                      <a:pt x="59" y="262"/>
                      <a:pt x="59" y="262"/>
                      <a:pt x="59" y="262"/>
                    </a:cubicBezTo>
                    <a:cubicBezTo>
                      <a:pt x="62" y="261"/>
                      <a:pt x="62" y="261"/>
                      <a:pt x="62" y="261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6" y="263"/>
                      <a:pt x="66" y="263"/>
                      <a:pt x="66" y="263"/>
                    </a:cubicBezTo>
                    <a:cubicBezTo>
                      <a:pt x="67" y="261"/>
                      <a:pt x="67" y="261"/>
                      <a:pt x="67" y="261"/>
                    </a:cubicBezTo>
                    <a:cubicBezTo>
                      <a:pt x="72" y="261"/>
                      <a:pt x="72" y="261"/>
                      <a:pt x="72" y="261"/>
                    </a:cubicBezTo>
                    <a:cubicBezTo>
                      <a:pt x="72" y="263"/>
                      <a:pt x="72" y="263"/>
                      <a:pt x="72" y="263"/>
                    </a:cubicBezTo>
                    <a:cubicBezTo>
                      <a:pt x="69" y="265"/>
                      <a:pt x="69" y="265"/>
                      <a:pt x="69" y="265"/>
                    </a:cubicBezTo>
                    <a:cubicBezTo>
                      <a:pt x="71" y="266"/>
                      <a:pt x="71" y="266"/>
                      <a:pt x="71" y="266"/>
                    </a:cubicBezTo>
                    <a:cubicBezTo>
                      <a:pt x="69" y="269"/>
                      <a:pt x="69" y="269"/>
                      <a:pt x="69" y="269"/>
                    </a:cubicBezTo>
                    <a:cubicBezTo>
                      <a:pt x="64" y="271"/>
                      <a:pt x="64" y="271"/>
                      <a:pt x="64" y="271"/>
                    </a:cubicBezTo>
                    <a:cubicBezTo>
                      <a:pt x="57" y="273"/>
                      <a:pt x="57" y="273"/>
                      <a:pt x="57" y="273"/>
                    </a:cubicBezTo>
                    <a:cubicBezTo>
                      <a:pt x="58" y="274"/>
                      <a:pt x="58" y="274"/>
                      <a:pt x="58" y="274"/>
                    </a:cubicBezTo>
                    <a:cubicBezTo>
                      <a:pt x="53" y="277"/>
                      <a:pt x="53" y="277"/>
                      <a:pt x="53" y="277"/>
                    </a:cubicBezTo>
                    <a:cubicBezTo>
                      <a:pt x="54" y="281"/>
                      <a:pt x="54" y="281"/>
                      <a:pt x="54" y="281"/>
                    </a:cubicBezTo>
                    <a:cubicBezTo>
                      <a:pt x="55" y="283"/>
                      <a:pt x="55" y="283"/>
                      <a:pt x="55" y="283"/>
                    </a:cubicBezTo>
                    <a:cubicBezTo>
                      <a:pt x="57" y="282"/>
                      <a:pt x="57" y="282"/>
                      <a:pt x="57" y="282"/>
                    </a:cubicBezTo>
                    <a:cubicBezTo>
                      <a:pt x="59" y="281"/>
                      <a:pt x="59" y="281"/>
                      <a:pt x="59" y="281"/>
                    </a:cubicBezTo>
                    <a:cubicBezTo>
                      <a:pt x="61" y="284"/>
                      <a:pt x="61" y="284"/>
                      <a:pt x="61" y="284"/>
                    </a:cubicBezTo>
                    <a:cubicBezTo>
                      <a:pt x="63" y="286"/>
                      <a:pt x="63" y="286"/>
                      <a:pt x="63" y="286"/>
                    </a:cubicBezTo>
                    <a:cubicBezTo>
                      <a:pt x="66" y="288"/>
                      <a:pt x="66" y="288"/>
                      <a:pt x="66" y="288"/>
                    </a:cubicBezTo>
                    <a:cubicBezTo>
                      <a:pt x="66" y="290"/>
                      <a:pt x="66" y="290"/>
                      <a:pt x="66" y="290"/>
                    </a:cubicBezTo>
                    <a:cubicBezTo>
                      <a:pt x="69" y="291"/>
                      <a:pt x="69" y="291"/>
                      <a:pt x="69" y="291"/>
                    </a:cubicBezTo>
                    <a:cubicBezTo>
                      <a:pt x="69" y="293"/>
                      <a:pt x="69" y="293"/>
                      <a:pt x="69" y="293"/>
                    </a:cubicBezTo>
                    <a:cubicBezTo>
                      <a:pt x="66" y="295"/>
                      <a:pt x="66" y="295"/>
                      <a:pt x="66" y="295"/>
                    </a:cubicBezTo>
                    <a:cubicBezTo>
                      <a:pt x="66" y="297"/>
                      <a:pt x="66" y="297"/>
                      <a:pt x="66" y="297"/>
                    </a:cubicBezTo>
                    <a:cubicBezTo>
                      <a:pt x="65" y="298"/>
                      <a:pt x="65" y="298"/>
                      <a:pt x="65" y="298"/>
                    </a:cubicBezTo>
                    <a:cubicBezTo>
                      <a:pt x="65" y="301"/>
                      <a:pt x="65" y="301"/>
                      <a:pt x="65" y="301"/>
                    </a:cubicBezTo>
                    <a:cubicBezTo>
                      <a:pt x="66" y="304"/>
                      <a:pt x="66" y="304"/>
                      <a:pt x="66" y="304"/>
                    </a:cubicBezTo>
                    <a:cubicBezTo>
                      <a:pt x="68" y="310"/>
                      <a:pt x="68" y="310"/>
                      <a:pt x="68" y="310"/>
                    </a:cubicBezTo>
                    <a:cubicBezTo>
                      <a:pt x="68" y="313"/>
                      <a:pt x="68" y="313"/>
                      <a:pt x="68" y="313"/>
                    </a:cubicBezTo>
                    <a:cubicBezTo>
                      <a:pt x="72" y="316"/>
                      <a:pt x="72" y="316"/>
                      <a:pt x="72" y="316"/>
                    </a:cubicBezTo>
                    <a:cubicBezTo>
                      <a:pt x="76" y="317"/>
                      <a:pt x="76" y="317"/>
                      <a:pt x="76" y="317"/>
                    </a:cubicBezTo>
                    <a:cubicBezTo>
                      <a:pt x="79" y="319"/>
                      <a:pt x="79" y="319"/>
                      <a:pt x="79" y="319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83" y="322"/>
                      <a:pt x="83" y="322"/>
                      <a:pt x="83" y="322"/>
                    </a:cubicBezTo>
                    <a:cubicBezTo>
                      <a:pt x="85" y="321"/>
                      <a:pt x="85" y="321"/>
                      <a:pt x="85" y="321"/>
                    </a:cubicBezTo>
                    <a:cubicBezTo>
                      <a:pt x="88" y="322"/>
                      <a:pt x="88" y="322"/>
                      <a:pt x="88" y="322"/>
                    </a:cubicBezTo>
                    <a:cubicBezTo>
                      <a:pt x="88" y="324"/>
                      <a:pt x="88" y="324"/>
                      <a:pt x="88" y="324"/>
                    </a:cubicBezTo>
                    <a:cubicBezTo>
                      <a:pt x="89" y="323"/>
                      <a:pt x="89" y="323"/>
                      <a:pt x="89" y="323"/>
                    </a:cubicBezTo>
                    <a:cubicBezTo>
                      <a:pt x="92" y="318"/>
                      <a:pt x="92" y="318"/>
                      <a:pt x="92" y="318"/>
                    </a:cubicBezTo>
                    <a:cubicBezTo>
                      <a:pt x="94" y="316"/>
                      <a:pt x="94" y="316"/>
                      <a:pt x="94" y="316"/>
                    </a:cubicBezTo>
                    <a:cubicBezTo>
                      <a:pt x="97" y="316"/>
                      <a:pt x="97" y="316"/>
                      <a:pt x="97" y="316"/>
                    </a:cubicBezTo>
                    <a:cubicBezTo>
                      <a:pt x="98" y="313"/>
                      <a:pt x="98" y="313"/>
                      <a:pt x="98" y="313"/>
                    </a:cubicBezTo>
                    <a:cubicBezTo>
                      <a:pt x="100" y="313"/>
                      <a:pt x="100" y="313"/>
                      <a:pt x="100" y="313"/>
                    </a:cubicBezTo>
                    <a:cubicBezTo>
                      <a:pt x="105" y="317"/>
                      <a:pt x="105" y="317"/>
                      <a:pt x="105" y="317"/>
                    </a:cubicBezTo>
                    <a:cubicBezTo>
                      <a:pt x="108" y="315"/>
                      <a:pt x="108" y="315"/>
                      <a:pt x="108" y="315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12" y="319"/>
                      <a:pt x="112" y="319"/>
                      <a:pt x="112" y="319"/>
                    </a:cubicBezTo>
                    <a:cubicBezTo>
                      <a:pt x="114" y="319"/>
                      <a:pt x="114" y="319"/>
                      <a:pt x="114" y="319"/>
                    </a:cubicBezTo>
                    <a:cubicBezTo>
                      <a:pt x="118" y="321"/>
                      <a:pt x="118" y="321"/>
                      <a:pt x="118" y="321"/>
                    </a:cubicBezTo>
                    <a:cubicBezTo>
                      <a:pt x="118" y="321"/>
                      <a:pt x="118" y="321"/>
                      <a:pt x="118" y="321"/>
                    </a:cubicBezTo>
                    <a:cubicBezTo>
                      <a:pt x="119" y="323"/>
                      <a:pt x="119" y="323"/>
                      <a:pt x="119" y="323"/>
                    </a:cubicBezTo>
                    <a:cubicBezTo>
                      <a:pt x="119" y="324"/>
                      <a:pt x="119" y="324"/>
                      <a:pt x="119" y="324"/>
                    </a:cubicBezTo>
                    <a:cubicBezTo>
                      <a:pt x="122" y="326"/>
                      <a:pt x="122" y="326"/>
                      <a:pt x="122" y="326"/>
                    </a:cubicBezTo>
                    <a:cubicBezTo>
                      <a:pt x="121" y="329"/>
                      <a:pt x="121" y="329"/>
                      <a:pt x="121" y="329"/>
                    </a:cubicBezTo>
                    <a:cubicBezTo>
                      <a:pt x="122" y="331"/>
                      <a:pt x="122" y="331"/>
                      <a:pt x="122" y="331"/>
                    </a:cubicBezTo>
                    <a:cubicBezTo>
                      <a:pt x="122" y="332"/>
                      <a:pt x="122" y="332"/>
                      <a:pt x="122" y="332"/>
                    </a:cubicBezTo>
                    <a:cubicBezTo>
                      <a:pt x="123" y="333"/>
                      <a:pt x="123" y="333"/>
                      <a:pt x="123" y="333"/>
                    </a:cubicBezTo>
                    <a:cubicBezTo>
                      <a:pt x="124" y="335"/>
                      <a:pt x="124" y="335"/>
                      <a:pt x="124" y="335"/>
                    </a:cubicBezTo>
                    <a:cubicBezTo>
                      <a:pt x="124" y="336"/>
                      <a:pt x="124" y="336"/>
                      <a:pt x="124" y="336"/>
                    </a:cubicBezTo>
                    <a:cubicBezTo>
                      <a:pt x="125" y="337"/>
                      <a:pt x="125" y="337"/>
                      <a:pt x="125" y="337"/>
                    </a:cubicBezTo>
                    <a:cubicBezTo>
                      <a:pt x="125" y="339"/>
                      <a:pt x="125" y="339"/>
                      <a:pt x="125" y="339"/>
                    </a:cubicBezTo>
                    <a:cubicBezTo>
                      <a:pt x="127" y="340"/>
                      <a:pt x="127" y="340"/>
                      <a:pt x="127" y="340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31" y="338"/>
                      <a:pt x="131" y="338"/>
                      <a:pt x="131" y="338"/>
                    </a:cubicBezTo>
                    <a:cubicBezTo>
                      <a:pt x="132" y="339"/>
                      <a:pt x="132" y="339"/>
                      <a:pt x="132" y="339"/>
                    </a:cubicBezTo>
                    <a:cubicBezTo>
                      <a:pt x="134" y="340"/>
                      <a:pt x="134" y="340"/>
                      <a:pt x="134" y="340"/>
                    </a:cubicBezTo>
                    <a:cubicBezTo>
                      <a:pt x="136" y="342"/>
                      <a:pt x="136" y="342"/>
                      <a:pt x="136" y="342"/>
                    </a:cubicBezTo>
                    <a:cubicBezTo>
                      <a:pt x="137" y="342"/>
                      <a:pt x="137" y="342"/>
                      <a:pt x="137" y="342"/>
                    </a:cubicBezTo>
                    <a:cubicBezTo>
                      <a:pt x="138" y="344"/>
                      <a:pt x="138" y="344"/>
                      <a:pt x="138" y="344"/>
                    </a:cubicBezTo>
                    <a:cubicBezTo>
                      <a:pt x="140" y="345"/>
                      <a:pt x="140" y="345"/>
                      <a:pt x="140" y="345"/>
                    </a:cubicBezTo>
                    <a:cubicBezTo>
                      <a:pt x="141" y="346"/>
                      <a:pt x="141" y="346"/>
                      <a:pt x="141" y="346"/>
                    </a:cubicBezTo>
                    <a:cubicBezTo>
                      <a:pt x="141" y="346"/>
                      <a:pt x="141" y="346"/>
                      <a:pt x="141" y="346"/>
                    </a:cubicBezTo>
                    <a:cubicBezTo>
                      <a:pt x="141" y="350"/>
                      <a:pt x="141" y="350"/>
                      <a:pt x="141" y="350"/>
                    </a:cubicBezTo>
                    <a:cubicBezTo>
                      <a:pt x="140" y="355"/>
                      <a:pt x="140" y="355"/>
                      <a:pt x="140" y="355"/>
                    </a:cubicBezTo>
                    <a:cubicBezTo>
                      <a:pt x="140" y="358"/>
                      <a:pt x="140" y="358"/>
                      <a:pt x="140" y="358"/>
                    </a:cubicBezTo>
                    <a:cubicBezTo>
                      <a:pt x="137" y="362"/>
                      <a:pt x="137" y="362"/>
                      <a:pt x="137" y="362"/>
                    </a:cubicBezTo>
                    <a:cubicBezTo>
                      <a:pt x="138" y="364"/>
                      <a:pt x="138" y="364"/>
                      <a:pt x="138" y="364"/>
                    </a:cubicBezTo>
                    <a:cubicBezTo>
                      <a:pt x="140" y="364"/>
                      <a:pt x="140" y="364"/>
                      <a:pt x="140" y="364"/>
                    </a:cubicBezTo>
                    <a:cubicBezTo>
                      <a:pt x="142" y="366"/>
                      <a:pt x="142" y="366"/>
                      <a:pt x="142" y="366"/>
                    </a:cubicBezTo>
                    <a:cubicBezTo>
                      <a:pt x="143" y="366"/>
                      <a:pt x="143" y="366"/>
                      <a:pt x="143" y="366"/>
                    </a:cubicBezTo>
                    <a:cubicBezTo>
                      <a:pt x="145" y="367"/>
                      <a:pt x="145" y="367"/>
                      <a:pt x="145" y="367"/>
                    </a:cubicBezTo>
                    <a:cubicBezTo>
                      <a:pt x="149" y="368"/>
                      <a:pt x="149" y="368"/>
                      <a:pt x="149" y="368"/>
                    </a:cubicBezTo>
                    <a:cubicBezTo>
                      <a:pt x="153" y="371"/>
                      <a:pt x="153" y="371"/>
                      <a:pt x="153" y="371"/>
                    </a:cubicBezTo>
                    <a:cubicBezTo>
                      <a:pt x="156" y="375"/>
                      <a:pt x="156" y="375"/>
                      <a:pt x="156" y="375"/>
                    </a:cubicBezTo>
                    <a:cubicBezTo>
                      <a:pt x="160" y="376"/>
                      <a:pt x="160" y="376"/>
                      <a:pt x="160" y="376"/>
                    </a:cubicBezTo>
                    <a:cubicBezTo>
                      <a:pt x="162" y="377"/>
                      <a:pt x="162" y="377"/>
                      <a:pt x="162" y="377"/>
                    </a:cubicBezTo>
                    <a:cubicBezTo>
                      <a:pt x="164" y="377"/>
                      <a:pt x="164" y="377"/>
                      <a:pt x="164" y="377"/>
                    </a:cubicBezTo>
                    <a:cubicBezTo>
                      <a:pt x="167" y="379"/>
                      <a:pt x="167" y="379"/>
                      <a:pt x="167" y="379"/>
                    </a:cubicBezTo>
                    <a:cubicBezTo>
                      <a:pt x="172" y="379"/>
                      <a:pt x="172" y="379"/>
                      <a:pt x="172" y="379"/>
                    </a:cubicBezTo>
                    <a:cubicBezTo>
                      <a:pt x="174" y="380"/>
                      <a:pt x="174" y="380"/>
                      <a:pt x="174" y="380"/>
                    </a:cubicBezTo>
                    <a:cubicBezTo>
                      <a:pt x="179" y="379"/>
                      <a:pt x="179" y="379"/>
                      <a:pt x="179" y="379"/>
                    </a:cubicBezTo>
                    <a:cubicBezTo>
                      <a:pt x="184" y="380"/>
                      <a:pt x="184" y="380"/>
                      <a:pt x="184" y="380"/>
                    </a:cubicBezTo>
                    <a:cubicBezTo>
                      <a:pt x="184" y="382"/>
                      <a:pt x="184" y="382"/>
                      <a:pt x="184" y="382"/>
                    </a:cubicBezTo>
                    <a:cubicBezTo>
                      <a:pt x="187" y="385"/>
                      <a:pt x="187" y="385"/>
                      <a:pt x="187" y="385"/>
                    </a:cubicBezTo>
                    <a:cubicBezTo>
                      <a:pt x="192" y="386"/>
                      <a:pt x="192" y="386"/>
                      <a:pt x="192" y="386"/>
                    </a:cubicBezTo>
                    <a:cubicBezTo>
                      <a:pt x="194" y="385"/>
                      <a:pt x="194" y="385"/>
                      <a:pt x="194" y="385"/>
                    </a:cubicBezTo>
                    <a:cubicBezTo>
                      <a:pt x="197" y="385"/>
                      <a:pt x="197" y="385"/>
                      <a:pt x="197" y="385"/>
                    </a:cubicBezTo>
                    <a:cubicBezTo>
                      <a:pt x="205" y="388"/>
                      <a:pt x="205" y="388"/>
                      <a:pt x="205" y="388"/>
                    </a:cubicBezTo>
                    <a:cubicBezTo>
                      <a:pt x="208" y="387"/>
                      <a:pt x="208" y="387"/>
                      <a:pt x="208" y="387"/>
                    </a:cubicBezTo>
                    <a:cubicBezTo>
                      <a:pt x="211" y="389"/>
                      <a:pt x="211" y="389"/>
                      <a:pt x="211" y="389"/>
                    </a:cubicBezTo>
                    <a:cubicBezTo>
                      <a:pt x="217" y="388"/>
                      <a:pt x="217" y="388"/>
                      <a:pt x="217" y="388"/>
                    </a:cubicBezTo>
                    <a:cubicBezTo>
                      <a:pt x="218" y="383"/>
                      <a:pt x="218" y="383"/>
                      <a:pt x="218" y="383"/>
                    </a:cubicBezTo>
                    <a:cubicBezTo>
                      <a:pt x="216" y="379"/>
                      <a:pt x="216" y="379"/>
                      <a:pt x="216" y="379"/>
                    </a:cubicBezTo>
                    <a:cubicBezTo>
                      <a:pt x="217" y="375"/>
                      <a:pt x="217" y="375"/>
                      <a:pt x="217" y="375"/>
                    </a:cubicBezTo>
                    <a:cubicBezTo>
                      <a:pt x="216" y="372"/>
                      <a:pt x="216" y="372"/>
                      <a:pt x="216" y="372"/>
                    </a:cubicBezTo>
                    <a:cubicBezTo>
                      <a:pt x="217" y="373"/>
                      <a:pt x="217" y="373"/>
                      <a:pt x="217" y="373"/>
                    </a:cubicBezTo>
                    <a:cubicBezTo>
                      <a:pt x="218" y="371"/>
                      <a:pt x="218" y="371"/>
                      <a:pt x="218" y="371"/>
                    </a:cubicBezTo>
                    <a:cubicBezTo>
                      <a:pt x="221" y="371"/>
                      <a:pt x="221" y="371"/>
                      <a:pt x="221" y="371"/>
                    </a:cubicBezTo>
                    <a:cubicBezTo>
                      <a:pt x="222" y="373"/>
                      <a:pt x="222" y="373"/>
                      <a:pt x="222" y="373"/>
                    </a:cubicBezTo>
                    <a:cubicBezTo>
                      <a:pt x="222" y="375"/>
                      <a:pt x="222" y="375"/>
                      <a:pt x="222" y="375"/>
                    </a:cubicBezTo>
                    <a:cubicBezTo>
                      <a:pt x="224" y="377"/>
                      <a:pt x="224" y="377"/>
                      <a:pt x="224" y="377"/>
                    </a:cubicBezTo>
                    <a:cubicBezTo>
                      <a:pt x="224" y="377"/>
                      <a:pt x="224" y="377"/>
                      <a:pt x="224" y="377"/>
                    </a:cubicBezTo>
                    <a:cubicBezTo>
                      <a:pt x="224" y="379"/>
                      <a:pt x="224" y="379"/>
                      <a:pt x="224" y="379"/>
                    </a:cubicBezTo>
                    <a:cubicBezTo>
                      <a:pt x="223" y="380"/>
                      <a:pt x="223" y="380"/>
                      <a:pt x="223" y="380"/>
                    </a:cubicBezTo>
                    <a:cubicBezTo>
                      <a:pt x="225" y="384"/>
                      <a:pt x="225" y="384"/>
                      <a:pt x="225" y="384"/>
                    </a:cubicBezTo>
                    <a:cubicBezTo>
                      <a:pt x="228" y="384"/>
                      <a:pt x="228" y="384"/>
                      <a:pt x="228" y="384"/>
                    </a:cubicBezTo>
                    <a:cubicBezTo>
                      <a:pt x="229" y="383"/>
                      <a:pt x="229" y="383"/>
                      <a:pt x="229" y="383"/>
                    </a:cubicBezTo>
                    <a:cubicBezTo>
                      <a:pt x="234" y="386"/>
                      <a:pt x="234" y="386"/>
                      <a:pt x="234" y="386"/>
                    </a:cubicBezTo>
                    <a:cubicBezTo>
                      <a:pt x="237" y="386"/>
                      <a:pt x="237" y="386"/>
                      <a:pt x="237" y="386"/>
                    </a:cubicBezTo>
                    <a:cubicBezTo>
                      <a:pt x="239" y="384"/>
                      <a:pt x="239" y="384"/>
                      <a:pt x="239" y="384"/>
                    </a:cubicBezTo>
                    <a:cubicBezTo>
                      <a:pt x="241" y="383"/>
                      <a:pt x="241" y="383"/>
                      <a:pt x="241" y="383"/>
                    </a:cubicBezTo>
                    <a:cubicBezTo>
                      <a:pt x="243" y="384"/>
                      <a:pt x="243" y="384"/>
                      <a:pt x="243" y="384"/>
                    </a:cubicBezTo>
                    <a:cubicBezTo>
                      <a:pt x="246" y="383"/>
                      <a:pt x="246" y="383"/>
                      <a:pt x="246" y="383"/>
                    </a:cubicBezTo>
                    <a:cubicBezTo>
                      <a:pt x="249" y="384"/>
                      <a:pt x="249" y="384"/>
                      <a:pt x="249" y="384"/>
                    </a:cubicBezTo>
                    <a:cubicBezTo>
                      <a:pt x="253" y="382"/>
                      <a:pt x="253" y="382"/>
                      <a:pt x="253" y="382"/>
                    </a:cubicBezTo>
                    <a:cubicBezTo>
                      <a:pt x="253" y="381"/>
                      <a:pt x="253" y="381"/>
                      <a:pt x="253" y="381"/>
                    </a:cubicBezTo>
                    <a:cubicBezTo>
                      <a:pt x="253" y="378"/>
                      <a:pt x="253" y="378"/>
                      <a:pt x="253" y="378"/>
                    </a:cubicBezTo>
                    <a:cubicBezTo>
                      <a:pt x="250" y="377"/>
                      <a:pt x="250" y="377"/>
                      <a:pt x="250" y="377"/>
                    </a:cubicBezTo>
                    <a:cubicBezTo>
                      <a:pt x="249" y="375"/>
                      <a:pt x="249" y="375"/>
                      <a:pt x="249" y="375"/>
                    </a:cubicBezTo>
                    <a:cubicBezTo>
                      <a:pt x="250" y="372"/>
                      <a:pt x="250" y="372"/>
                      <a:pt x="250" y="372"/>
                    </a:cubicBezTo>
                    <a:cubicBezTo>
                      <a:pt x="251" y="372"/>
                      <a:pt x="251" y="372"/>
                      <a:pt x="251" y="372"/>
                    </a:cubicBezTo>
                    <a:cubicBezTo>
                      <a:pt x="255" y="371"/>
                      <a:pt x="255" y="371"/>
                      <a:pt x="255" y="371"/>
                    </a:cubicBezTo>
                    <a:cubicBezTo>
                      <a:pt x="257" y="371"/>
                      <a:pt x="257" y="371"/>
                      <a:pt x="257" y="371"/>
                    </a:cubicBezTo>
                    <a:cubicBezTo>
                      <a:pt x="258" y="369"/>
                      <a:pt x="258" y="369"/>
                      <a:pt x="258" y="369"/>
                    </a:cubicBezTo>
                    <a:cubicBezTo>
                      <a:pt x="259" y="368"/>
                      <a:pt x="259" y="368"/>
                      <a:pt x="259" y="368"/>
                    </a:cubicBezTo>
                    <a:cubicBezTo>
                      <a:pt x="260" y="368"/>
                      <a:pt x="260" y="368"/>
                      <a:pt x="260" y="368"/>
                    </a:cubicBezTo>
                    <a:cubicBezTo>
                      <a:pt x="260" y="367"/>
                      <a:pt x="260" y="367"/>
                      <a:pt x="260" y="367"/>
                    </a:cubicBezTo>
                    <a:cubicBezTo>
                      <a:pt x="263" y="366"/>
                      <a:pt x="263" y="366"/>
                      <a:pt x="263" y="366"/>
                    </a:cubicBezTo>
                    <a:cubicBezTo>
                      <a:pt x="263" y="364"/>
                      <a:pt x="263" y="364"/>
                      <a:pt x="263" y="364"/>
                    </a:cubicBezTo>
                    <a:cubicBezTo>
                      <a:pt x="265" y="362"/>
                      <a:pt x="265" y="362"/>
                      <a:pt x="265" y="362"/>
                    </a:cubicBezTo>
                    <a:cubicBezTo>
                      <a:pt x="267" y="362"/>
                      <a:pt x="267" y="362"/>
                      <a:pt x="267" y="362"/>
                    </a:cubicBezTo>
                    <a:cubicBezTo>
                      <a:pt x="270" y="361"/>
                      <a:pt x="270" y="361"/>
                      <a:pt x="270" y="361"/>
                    </a:cubicBezTo>
                    <a:cubicBezTo>
                      <a:pt x="273" y="358"/>
                      <a:pt x="273" y="358"/>
                      <a:pt x="273" y="358"/>
                    </a:cubicBezTo>
                    <a:cubicBezTo>
                      <a:pt x="272" y="356"/>
                      <a:pt x="272" y="356"/>
                      <a:pt x="272" y="356"/>
                    </a:cubicBezTo>
                    <a:cubicBezTo>
                      <a:pt x="274" y="356"/>
                      <a:pt x="274" y="356"/>
                      <a:pt x="274" y="356"/>
                    </a:cubicBezTo>
                    <a:cubicBezTo>
                      <a:pt x="276" y="354"/>
                      <a:pt x="276" y="354"/>
                      <a:pt x="276" y="354"/>
                    </a:cubicBezTo>
                    <a:cubicBezTo>
                      <a:pt x="278" y="357"/>
                      <a:pt x="278" y="357"/>
                      <a:pt x="278" y="357"/>
                    </a:cubicBezTo>
                    <a:cubicBezTo>
                      <a:pt x="280" y="356"/>
                      <a:pt x="280" y="356"/>
                      <a:pt x="280" y="356"/>
                    </a:cubicBezTo>
                    <a:cubicBezTo>
                      <a:pt x="284" y="357"/>
                      <a:pt x="284" y="357"/>
                      <a:pt x="284" y="357"/>
                    </a:cubicBezTo>
                    <a:cubicBezTo>
                      <a:pt x="285" y="356"/>
                      <a:pt x="285" y="356"/>
                      <a:pt x="285" y="356"/>
                    </a:cubicBezTo>
                    <a:cubicBezTo>
                      <a:pt x="285" y="354"/>
                      <a:pt x="285" y="354"/>
                      <a:pt x="285" y="354"/>
                    </a:cubicBezTo>
                    <a:cubicBezTo>
                      <a:pt x="289" y="352"/>
                      <a:pt x="289" y="352"/>
                      <a:pt x="289" y="352"/>
                    </a:cubicBezTo>
                    <a:cubicBezTo>
                      <a:pt x="290" y="352"/>
                      <a:pt x="290" y="352"/>
                      <a:pt x="290" y="352"/>
                    </a:cubicBezTo>
                    <a:cubicBezTo>
                      <a:pt x="292" y="354"/>
                      <a:pt x="292" y="354"/>
                      <a:pt x="292" y="354"/>
                    </a:cubicBezTo>
                    <a:cubicBezTo>
                      <a:pt x="293" y="354"/>
                      <a:pt x="293" y="354"/>
                      <a:pt x="293" y="354"/>
                    </a:cubicBezTo>
                    <a:cubicBezTo>
                      <a:pt x="293" y="354"/>
                      <a:pt x="293" y="354"/>
                      <a:pt x="293" y="354"/>
                    </a:cubicBezTo>
                    <a:cubicBezTo>
                      <a:pt x="292" y="357"/>
                      <a:pt x="292" y="357"/>
                      <a:pt x="292" y="357"/>
                    </a:cubicBezTo>
                    <a:cubicBezTo>
                      <a:pt x="293" y="359"/>
                      <a:pt x="293" y="359"/>
                      <a:pt x="293" y="359"/>
                    </a:cubicBezTo>
                    <a:cubicBezTo>
                      <a:pt x="294" y="358"/>
                      <a:pt x="294" y="358"/>
                      <a:pt x="294" y="358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296" y="360"/>
                      <a:pt x="296" y="360"/>
                      <a:pt x="296" y="360"/>
                    </a:cubicBezTo>
                    <a:cubicBezTo>
                      <a:pt x="297" y="361"/>
                      <a:pt x="297" y="361"/>
                      <a:pt x="297" y="361"/>
                    </a:cubicBezTo>
                    <a:cubicBezTo>
                      <a:pt x="297" y="363"/>
                      <a:pt x="297" y="363"/>
                      <a:pt x="297" y="363"/>
                    </a:cubicBezTo>
                    <a:cubicBezTo>
                      <a:pt x="295" y="365"/>
                      <a:pt x="295" y="365"/>
                      <a:pt x="295" y="365"/>
                    </a:cubicBezTo>
                    <a:cubicBezTo>
                      <a:pt x="296" y="366"/>
                      <a:pt x="296" y="366"/>
                      <a:pt x="296" y="366"/>
                    </a:cubicBezTo>
                    <a:cubicBezTo>
                      <a:pt x="298" y="367"/>
                      <a:pt x="298" y="367"/>
                      <a:pt x="298" y="367"/>
                    </a:cubicBezTo>
                    <a:cubicBezTo>
                      <a:pt x="299" y="366"/>
                      <a:pt x="299" y="366"/>
                      <a:pt x="299" y="366"/>
                    </a:cubicBezTo>
                    <a:cubicBezTo>
                      <a:pt x="301" y="367"/>
                      <a:pt x="301" y="367"/>
                      <a:pt x="301" y="367"/>
                    </a:cubicBezTo>
                    <a:cubicBezTo>
                      <a:pt x="303" y="369"/>
                      <a:pt x="303" y="369"/>
                      <a:pt x="303" y="369"/>
                    </a:cubicBezTo>
                    <a:cubicBezTo>
                      <a:pt x="302" y="368"/>
                      <a:pt x="302" y="368"/>
                      <a:pt x="302" y="368"/>
                    </a:cubicBezTo>
                    <a:cubicBezTo>
                      <a:pt x="304" y="368"/>
                      <a:pt x="304" y="368"/>
                      <a:pt x="304" y="368"/>
                    </a:cubicBezTo>
                    <a:cubicBezTo>
                      <a:pt x="306" y="369"/>
                      <a:pt x="306" y="369"/>
                      <a:pt x="306" y="369"/>
                    </a:cubicBezTo>
                    <a:cubicBezTo>
                      <a:pt x="308" y="368"/>
                      <a:pt x="308" y="368"/>
                      <a:pt x="308" y="368"/>
                    </a:cubicBezTo>
                    <a:cubicBezTo>
                      <a:pt x="310" y="368"/>
                      <a:pt x="310" y="368"/>
                      <a:pt x="310" y="368"/>
                    </a:cubicBezTo>
                    <a:cubicBezTo>
                      <a:pt x="311" y="370"/>
                      <a:pt x="311" y="370"/>
                      <a:pt x="311" y="370"/>
                    </a:cubicBezTo>
                    <a:cubicBezTo>
                      <a:pt x="313" y="372"/>
                      <a:pt x="313" y="372"/>
                      <a:pt x="313" y="372"/>
                    </a:cubicBezTo>
                    <a:cubicBezTo>
                      <a:pt x="314" y="375"/>
                      <a:pt x="314" y="375"/>
                      <a:pt x="314" y="375"/>
                    </a:cubicBezTo>
                    <a:cubicBezTo>
                      <a:pt x="315" y="375"/>
                      <a:pt x="315" y="375"/>
                      <a:pt x="315" y="375"/>
                    </a:cubicBezTo>
                    <a:cubicBezTo>
                      <a:pt x="317" y="377"/>
                      <a:pt x="317" y="377"/>
                      <a:pt x="317" y="377"/>
                    </a:cubicBezTo>
                    <a:cubicBezTo>
                      <a:pt x="317" y="380"/>
                      <a:pt x="317" y="380"/>
                      <a:pt x="317" y="380"/>
                    </a:cubicBezTo>
                    <a:cubicBezTo>
                      <a:pt x="319" y="383"/>
                      <a:pt x="319" y="383"/>
                      <a:pt x="319" y="383"/>
                    </a:cubicBezTo>
                    <a:cubicBezTo>
                      <a:pt x="319" y="386"/>
                      <a:pt x="319" y="386"/>
                      <a:pt x="319" y="386"/>
                    </a:cubicBezTo>
                    <a:cubicBezTo>
                      <a:pt x="318" y="390"/>
                      <a:pt x="318" y="390"/>
                      <a:pt x="318" y="390"/>
                    </a:cubicBezTo>
                    <a:cubicBezTo>
                      <a:pt x="318" y="392"/>
                      <a:pt x="318" y="392"/>
                      <a:pt x="318" y="392"/>
                    </a:cubicBezTo>
                    <a:cubicBezTo>
                      <a:pt x="318" y="394"/>
                      <a:pt x="318" y="394"/>
                      <a:pt x="318" y="394"/>
                    </a:cubicBezTo>
                    <a:cubicBezTo>
                      <a:pt x="316" y="394"/>
                      <a:pt x="316" y="394"/>
                      <a:pt x="316" y="394"/>
                    </a:cubicBezTo>
                    <a:cubicBezTo>
                      <a:pt x="316" y="396"/>
                      <a:pt x="316" y="396"/>
                      <a:pt x="316" y="396"/>
                    </a:cubicBezTo>
                    <a:cubicBezTo>
                      <a:pt x="315" y="397"/>
                      <a:pt x="315" y="397"/>
                      <a:pt x="315" y="397"/>
                    </a:cubicBezTo>
                    <a:cubicBezTo>
                      <a:pt x="315" y="398"/>
                      <a:pt x="315" y="398"/>
                      <a:pt x="315" y="398"/>
                    </a:cubicBezTo>
                    <a:cubicBezTo>
                      <a:pt x="315" y="400"/>
                      <a:pt x="315" y="400"/>
                      <a:pt x="315" y="400"/>
                    </a:cubicBezTo>
                    <a:cubicBezTo>
                      <a:pt x="315" y="401"/>
                      <a:pt x="315" y="401"/>
                      <a:pt x="315" y="401"/>
                    </a:cubicBezTo>
                    <a:cubicBezTo>
                      <a:pt x="313" y="401"/>
                      <a:pt x="313" y="401"/>
                      <a:pt x="313" y="401"/>
                    </a:cubicBezTo>
                    <a:cubicBezTo>
                      <a:pt x="312" y="402"/>
                      <a:pt x="312" y="402"/>
                      <a:pt x="312" y="402"/>
                    </a:cubicBezTo>
                    <a:cubicBezTo>
                      <a:pt x="311" y="404"/>
                      <a:pt x="311" y="404"/>
                      <a:pt x="311" y="404"/>
                    </a:cubicBezTo>
                    <a:cubicBezTo>
                      <a:pt x="312" y="405"/>
                      <a:pt x="312" y="405"/>
                      <a:pt x="312" y="405"/>
                    </a:cubicBezTo>
                    <a:cubicBezTo>
                      <a:pt x="311" y="406"/>
                      <a:pt x="311" y="406"/>
                      <a:pt x="311" y="406"/>
                    </a:cubicBezTo>
                    <a:cubicBezTo>
                      <a:pt x="311" y="408"/>
                      <a:pt x="311" y="408"/>
                      <a:pt x="311" y="408"/>
                    </a:cubicBezTo>
                    <a:cubicBezTo>
                      <a:pt x="313" y="409"/>
                      <a:pt x="313" y="409"/>
                      <a:pt x="313" y="409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5" y="411"/>
                      <a:pt x="315" y="411"/>
                      <a:pt x="315" y="411"/>
                    </a:cubicBezTo>
                    <a:cubicBezTo>
                      <a:pt x="315" y="414"/>
                      <a:pt x="315" y="414"/>
                      <a:pt x="315" y="414"/>
                    </a:cubicBezTo>
                    <a:cubicBezTo>
                      <a:pt x="316" y="416"/>
                      <a:pt x="316" y="416"/>
                      <a:pt x="316" y="416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22" y="413"/>
                      <a:pt x="322" y="413"/>
                      <a:pt x="322" y="413"/>
                    </a:cubicBezTo>
                    <a:cubicBezTo>
                      <a:pt x="323" y="415"/>
                      <a:pt x="323" y="415"/>
                      <a:pt x="323" y="415"/>
                    </a:cubicBezTo>
                    <a:cubicBezTo>
                      <a:pt x="322" y="416"/>
                      <a:pt x="322" y="416"/>
                      <a:pt x="322" y="416"/>
                    </a:cubicBezTo>
                    <a:cubicBezTo>
                      <a:pt x="323" y="417"/>
                      <a:pt x="323" y="417"/>
                      <a:pt x="323" y="417"/>
                    </a:cubicBezTo>
                    <a:cubicBezTo>
                      <a:pt x="326" y="417"/>
                      <a:pt x="326" y="417"/>
                      <a:pt x="326" y="417"/>
                    </a:cubicBezTo>
                    <a:cubicBezTo>
                      <a:pt x="326" y="418"/>
                      <a:pt x="326" y="418"/>
                      <a:pt x="326" y="418"/>
                    </a:cubicBezTo>
                    <a:cubicBezTo>
                      <a:pt x="326" y="420"/>
                      <a:pt x="326" y="420"/>
                      <a:pt x="326" y="420"/>
                    </a:cubicBezTo>
                    <a:cubicBezTo>
                      <a:pt x="327" y="422"/>
                      <a:pt x="327" y="422"/>
                      <a:pt x="327" y="422"/>
                    </a:cubicBezTo>
                    <a:cubicBezTo>
                      <a:pt x="329" y="422"/>
                      <a:pt x="329" y="422"/>
                      <a:pt x="329" y="422"/>
                    </a:cubicBezTo>
                    <a:cubicBezTo>
                      <a:pt x="329" y="423"/>
                      <a:pt x="329" y="423"/>
                      <a:pt x="329" y="423"/>
                    </a:cubicBezTo>
                    <a:cubicBezTo>
                      <a:pt x="329" y="424"/>
                      <a:pt x="329" y="424"/>
                      <a:pt x="329" y="424"/>
                    </a:cubicBezTo>
                    <a:cubicBezTo>
                      <a:pt x="330" y="424"/>
                      <a:pt x="330" y="424"/>
                      <a:pt x="330" y="424"/>
                    </a:cubicBezTo>
                    <a:cubicBezTo>
                      <a:pt x="333" y="423"/>
                      <a:pt x="333" y="423"/>
                      <a:pt x="333" y="423"/>
                    </a:cubicBezTo>
                    <a:cubicBezTo>
                      <a:pt x="335" y="424"/>
                      <a:pt x="335" y="424"/>
                      <a:pt x="335" y="424"/>
                    </a:cubicBezTo>
                    <a:cubicBezTo>
                      <a:pt x="335" y="426"/>
                      <a:pt x="335" y="426"/>
                      <a:pt x="335" y="426"/>
                    </a:cubicBezTo>
                    <a:cubicBezTo>
                      <a:pt x="334" y="428"/>
                      <a:pt x="334" y="428"/>
                      <a:pt x="334" y="428"/>
                    </a:cubicBezTo>
                    <a:cubicBezTo>
                      <a:pt x="334" y="429"/>
                      <a:pt x="334" y="429"/>
                      <a:pt x="334" y="429"/>
                    </a:cubicBezTo>
                    <a:cubicBezTo>
                      <a:pt x="332" y="432"/>
                      <a:pt x="332" y="432"/>
                      <a:pt x="332" y="432"/>
                    </a:cubicBezTo>
                    <a:cubicBezTo>
                      <a:pt x="330" y="434"/>
                      <a:pt x="330" y="434"/>
                      <a:pt x="330" y="434"/>
                    </a:cubicBezTo>
                    <a:cubicBezTo>
                      <a:pt x="330" y="435"/>
                      <a:pt x="330" y="435"/>
                      <a:pt x="330" y="435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35" y="435"/>
                      <a:pt x="335" y="435"/>
                      <a:pt x="335" y="435"/>
                    </a:cubicBezTo>
                    <a:cubicBezTo>
                      <a:pt x="335" y="436"/>
                      <a:pt x="335" y="436"/>
                      <a:pt x="335" y="436"/>
                    </a:cubicBezTo>
                    <a:cubicBezTo>
                      <a:pt x="337" y="434"/>
                      <a:pt x="337" y="434"/>
                      <a:pt x="337" y="434"/>
                    </a:cubicBezTo>
                    <a:cubicBezTo>
                      <a:pt x="338" y="436"/>
                      <a:pt x="338" y="436"/>
                      <a:pt x="338" y="436"/>
                    </a:cubicBezTo>
                    <a:cubicBezTo>
                      <a:pt x="337" y="439"/>
                      <a:pt x="337" y="439"/>
                      <a:pt x="337" y="439"/>
                    </a:cubicBezTo>
                    <a:cubicBezTo>
                      <a:pt x="338" y="441"/>
                      <a:pt x="338" y="441"/>
                      <a:pt x="338" y="441"/>
                    </a:cubicBezTo>
                    <a:cubicBezTo>
                      <a:pt x="340" y="442"/>
                      <a:pt x="340" y="442"/>
                      <a:pt x="340" y="442"/>
                    </a:cubicBezTo>
                    <a:cubicBezTo>
                      <a:pt x="341" y="440"/>
                      <a:pt x="341" y="440"/>
                      <a:pt x="341" y="440"/>
                    </a:cubicBezTo>
                    <a:cubicBezTo>
                      <a:pt x="344" y="440"/>
                      <a:pt x="344" y="440"/>
                      <a:pt x="344" y="440"/>
                    </a:cubicBezTo>
                    <a:cubicBezTo>
                      <a:pt x="348" y="439"/>
                      <a:pt x="348" y="439"/>
                      <a:pt x="348" y="439"/>
                    </a:cubicBezTo>
                    <a:cubicBezTo>
                      <a:pt x="350" y="439"/>
                      <a:pt x="350" y="439"/>
                      <a:pt x="350" y="439"/>
                    </a:cubicBezTo>
                    <a:cubicBezTo>
                      <a:pt x="350" y="441"/>
                      <a:pt x="350" y="441"/>
                      <a:pt x="350" y="441"/>
                    </a:cubicBezTo>
                    <a:cubicBezTo>
                      <a:pt x="349" y="442"/>
                      <a:pt x="349" y="442"/>
                      <a:pt x="349" y="442"/>
                    </a:cubicBezTo>
                    <a:cubicBezTo>
                      <a:pt x="350" y="443"/>
                      <a:pt x="350" y="443"/>
                      <a:pt x="350" y="443"/>
                    </a:cubicBezTo>
                    <a:cubicBezTo>
                      <a:pt x="351" y="444"/>
                      <a:pt x="351" y="444"/>
                      <a:pt x="351" y="444"/>
                    </a:cubicBezTo>
                    <a:cubicBezTo>
                      <a:pt x="353" y="444"/>
                      <a:pt x="353" y="444"/>
                      <a:pt x="353" y="444"/>
                    </a:cubicBezTo>
                    <a:cubicBezTo>
                      <a:pt x="355" y="444"/>
                      <a:pt x="355" y="444"/>
                      <a:pt x="355" y="444"/>
                    </a:cubicBezTo>
                    <a:cubicBezTo>
                      <a:pt x="355" y="441"/>
                      <a:pt x="355" y="441"/>
                      <a:pt x="355" y="441"/>
                    </a:cubicBezTo>
                    <a:cubicBezTo>
                      <a:pt x="354" y="439"/>
                      <a:pt x="354" y="439"/>
                      <a:pt x="354" y="439"/>
                    </a:cubicBezTo>
                    <a:cubicBezTo>
                      <a:pt x="354" y="437"/>
                      <a:pt x="354" y="437"/>
                      <a:pt x="354" y="437"/>
                    </a:cubicBezTo>
                    <a:cubicBezTo>
                      <a:pt x="354" y="434"/>
                      <a:pt x="354" y="434"/>
                      <a:pt x="354" y="434"/>
                    </a:cubicBezTo>
                    <a:cubicBezTo>
                      <a:pt x="355" y="433"/>
                      <a:pt x="355" y="433"/>
                      <a:pt x="355" y="433"/>
                    </a:cubicBezTo>
                    <a:cubicBezTo>
                      <a:pt x="355" y="431"/>
                      <a:pt x="355" y="431"/>
                      <a:pt x="355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59" y="431"/>
                      <a:pt x="359" y="431"/>
                      <a:pt x="359" y="431"/>
                    </a:cubicBezTo>
                    <a:cubicBezTo>
                      <a:pt x="360" y="431"/>
                      <a:pt x="360" y="431"/>
                      <a:pt x="360" y="431"/>
                    </a:cubicBezTo>
                    <a:cubicBezTo>
                      <a:pt x="361" y="430"/>
                      <a:pt x="361" y="430"/>
                      <a:pt x="361" y="430"/>
                    </a:cubicBezTo>
                    <a:cubicBezTo>
                      <a:pt x="362" y="429"/>
                      <a:pt x="362" y="429"/>
                      <a:pt x="362" y="429"/>
                    </a:cubicBezTo>
                    <a:cubicBezTo>
                      <a:pt x="364" y="428"/>
                      <a:pt x="364" y="428"/>
                      <a:pt x="364" y="428"/>
                    </a:cubicBezTo>
                    <a:cubicBezTo>
                      <a:pt x="365" y="428"/>
                      <a:pt x="365" y="428"/>
                      <a:pt x="365" y="428"/>
                    </a:cubicBezTo>
                    <a:cubicBezTo>
                      <a:pt x="365" y="430"/>
                      <a:pt x="365" y="430"/>
                      <a:pt x="365" y="430"/>
                    </a:cubicBezTo>
                    <a:cubicBezTo>
                      <a:pt x="366" y="430"/>
                      <a:pt x="366" y="430"/>
                      <a:pt x="366" y="430"/>
                    </a:cubicBezTo>
                    <a:cubicBezTo>
                      <a:pt x="367" y="430"/>
                      <a:pt x="367" y="430"/>
                      <a:pt x="367" y="430"/>
                    </a:cubicBezTo>
                    <a:cubicBezTo>
                      <a:pt x="367" y="428"/>
                      <a:pt x="367" y="428"/>
                      <a:pt x="367" y="428"/>
                    </a:cubicBezTo>
                    <a:cubicBezTo>
                      <a:pt x="369" y="427"/>
                      <a:pt x="369" y="427"/>
                      <a:pt x="369" y="427"/>
                    </a:cubicBezTo>
                    <a:cubicBezTo>
                      <a:pt x="371" y="429"/>
                      <a:pt x="371" y="429"/>
                      <a:pt x="371" y="429"/>
                    </a:cubicBezTo>
                    <a:cubicBezTo>
                      <a:pt x="372" y="428"/>
                      <a:pt x="372" y="428"/>
                      <a:pt x="372" y="428"/>
                    </a:cubicBezTo>
                    <a:cubicBezTo>
                      <a:pt x="373" y="428"/>
                      <a:pt x="373" y="428"/>
                      <a:pt x="373" y="428"/>
                    </a:cubicBezTo>
                    <a:cubicBezTo>
                      <a:pt x="373" y="429"/>
                      <a:pt x="373" y="429"/>
                      <a:pt x="373" y="429"/>
                    </a:cubicBezTo>
                    <a:cubicBezTo>
                      <a:pt x="376" y="428"/>
                      <a:pt x="376" y="428"/>
                      <a:pt x="376" y="428"/>
                    </a:cubicBezTo>
                    <a:cubicBezTo>
                      <a:pt x="376" y="427"/>
                      <a:pt x="376" y="427"/>
                      <a:pt x="376" y="427"/>
                    </a:cubicBezTo>
                    <a:cubicBezTo>
                      <a:pt x="378" y="426"/>
                      <a:pt x="378" y="426"/>
                      <a:pt x="378" y="426"/>
                    </a:cubicBezTo>
                    <a:cubicBezTo>
                      <a:pt x="380" y="427"/>
                      <a:pt x="380" y="427"/>
                      <a:pt x="380" y="427"/>
                    </a:cubicBezTo>
                    <a:cubicBezTo>
                      <a:pt x="383" y="426"/>
                      <a:pt x="383" y="426"/>
                      <a:pt x="383" y="426"/>
                    </a:cubicBezTo>
                    <a:cubicBezTo>
                      <a:pt x="383" y="423"/>
                      <a:pt x="383" y="423"/>
                      <a:pt x="383" y="423"/>
                    </a:cubicBezTo>
                    <a:cubicBezTo>
                      <a:pt x="385" y="422"/>
                      <a:pt x="385" y="422"/>
                      <a:pt x="385" y="422"/>
                    </a:cubicBezTo>
                    <a:cubicBezTo>
                      <a:pt x="388" y="422"/>
                      <a:pt x="388" y="422"/>
                      <a:pt x="388" y="422"/>
                    </a:cubicBezTo>
                    <a:cubicBezTo>
                      <a:pt x="389" y="420"/>
                      <a:pt x="389" y="420"/>
                      <a:pt x="389" y="420"/>
                    </a:cubicBezTo>
                    <a:cubicBezTo>
                      <a:pt x="391" y="422"/>
                      <a:pt x="391" y="422"/>
                      <a:pt x="391" y="422"/>
                    </a:cubicBezTo>
                    <a:cubicBezTo>
                      <a:pt x="391" y="423"/>
                      <a:pt x="391" y="423"/>
                      <a:pt x="391" y="423"/>
                    </a:cubicBezTo>
                    <a:cubicBezTo>
                      <a:pt x="393" y="424"/>
                      <a:pt x="393" y="424"/>
                      <a:pt x="393" y="424"/>
                    </a:cubicBezTo>
                    <a:cubicBezTo>
                      <a:pt x="394" y="425"/>
                      <a:pt x="394" y="425"/>
                      <a:pt x="394" y="425"/>
                    </a:cubicBezTo>
                    <a:cubicBezTo>
                      <a:pt x="399" y="425"/>
                      <a:pt x="399" y="425"/>
                      <a:pt x="399" y="425"/>
                    </a:cubicBezTo>
                    <a:cubicBezTo>
                      <a:pt x="399" y="426"/>
                      <a:pt x="399" y="426"/>
                      <a:pt x="399" y="426"/>
                    </a:cubicBezTo>
                    <a:cubicBezTo>
                      <a:pt x="402" y="425"/>
                      <a:pt x="402" y="425"/>
                      <a:pt x="402" y="425"/>
                    </a:cubicBezTo>
                    <a:cubicBezTo>
                      <a:pt x="404" y="426"/>
                      <a:pt x="404" y="426"/>
                      <a:pt x="404" y="426"/>
                    </a:cubicBezTo>
                    <a:cubicBezTo>
                      <a:pt x="403" y="428"/>
                      <a:pt x="403" y="428"/>
                      <a:pt x="403" y="428"/>
                    </a:cubicBezTo>
                    <a:cubicBezTo>
                      <a:pt x="402" y="429"/>
                      <a:pt x="402" y="429"/>
                      <a:pt x="402" y="429"/>
                    </a:cubicBezTo>
                    <a:cubicBezTo>
                      <a:pt x="401" y="432"/>
                      <a:pt x="401" y="432"/>
                      <a:pt x="401" y="432"/>
                    </a:cubicBezTo>
                    <a:cubicBezTo>
                      <a:pt x="402" y="433"/>
                      <a:pt x="402" y="433"/>
                      <a:pt x="402" y="433"/>
                    </a:cubicBezTo>
                    <a:cubicBezTo>
                      <a:pt x="403" y="435"/>
                      <a:pt x="403" y="435"/>
                      <a:pt x="403" y="435"/>
                    </a:cubicBezTo>
                    <a:cubicBezTo>
                      <a:pt x="406" y="436"/>
                      <a:pt x="406" y="436"/>
                      <a:pt x="406" y="436"/>
                    </a:cubicBezTo>
                    <a:cubicBezTo>
                      <a:pt x="407" y="437"/>
                      <a:pt x="407" y="437"/>
                      <a:pt x="407" y="437"/>
                    </a:cubicBezTo>
                    <a:cubicBezTo>
                      <a:pt x="409" y="438"/>
                      <a:pt x="409" y="438"/>
                      <a:pt x="409" y="438"/>
                    </a:cubicBezTo>
                    <a:cubicBezTo>
                      <a:pt x="411" y="439"/>
                      <a:pt x="411" y="439"/>
                      <a:pt x="411" y="439"/>
                    </a:cubicBezTo>
                    <a:cubicBezTo>
                      <a:pt x="413" y="439"/>
                      <a:pt x="413" y="439"/>
                      <a:pt x="413" y="439"/>
                    </a:cubicBezTo>
                    <a:cubicBezTo>
                      <a:pt x="414" y="439"/>
                      <a:pt x="414" y="439"/>
                      <a:pt x="414" y="439"/>
                    </a:cubicBezTo>
                    <a:cubicBezTo>
                      <a:pt x="415" y="439"/>
                      <a:pt x="415" y="439"/>
                      <a:pt x="415" y="439"/>
                    </a:cubicBezTo>
                    <a:cubicBezTo>
                      <a:pt x="416" y="440"/>
                      <a:pt x="416" y="440"/>
                      <a:pt x="416" y="440"/>
                    </a:cubicBezTo>
                    <a:cubicBezTo>
                      <a:pt x="417" y="440"/>
                      <a:pt x="417" y="440"/>
                      <a:pt x="417" y="440"/>
                    </a:cubicBezTo>
                    <a:cubicBezTo>
                      <a:pt x="418" y="440"/>
                      <a:pt x="418" y="440"/>
                      <a:pt x="418" y="440"/>
                    </a:cubicBezTo>
                    <a:cubicBezTo>
                      <a:pt x="419" y="440"/>
                      <a:pt x="419" y="440"/>
                      <a:pt x="419" y="440"/>
                    </a:cubicBezTo>
                    <a:cubicBezTo>
                      <a:pt x="421" y="440"/>
                      <a:pt x="421" y="440"/>
                      <a:pt x="421" y="440"/>
                    </a:cubicBezTo>
                    <a:cubicBezTo>
                      <a:pt x="420" y="438"/>
                      <a:pt x="420" y="438"/>
                      <a:pt x="420" y="438"/>
                    </a:cubicBezTo>
                    <a:cubicBezTo>
                      <a:pt x="421" y="437"/>
                      <a:pt x="421" y="437"/>
                      <a:pt x="421" y="437"/>
                    </a:cubicBezTo>
                    <a:cubicBezTo>
                      <a:pt x="422" y="438"/>
                      <a:pt x="422" y="438"/>
                      <a:pt x="422" y="438"/>
                    </a:cubicBezTo>
                    <a:cubicBezTo>
                      <a:pt x="424" y="440"/>
                      <a:pt x="424" y="440"/>
                      <a:pt x="424" y="440"/>
                    </a:cubicBezTo>
                    <a:cubicBezTo>
                      <a:pt x="425" y="440"/>
                      <a:pt x="425" y="440"/>
                      <a:pt x="425" y="440"/>
                    </a:cubicBezTo>
                    <a:cubicBezTo>
                      <a:pt x="427" y="442"/>
                      <a:pt x="427" y="442"/>
                      <a:pt x="427" y="442"/>
                    </a:cubicBezTo>
                    <a:cubicBezTo>
                      <a:pt x="428" y="442"/>
                      <a:pt x="428" y="442"/>
                      <a:pt x="428" y="442"/>
                    </a:cubicBezTo>
                    <a:cubicBezTo>
                      <a:pt x="429" y="442"/>
                      <a:pt x="429" y="442"/>
                      <a:pt x="429" y="442"/>
                    </a:cubicBezTo>
                    <a:cubicBezTo>
                      <a:pt x="430" y="440"/>
                      <a:pt x="430" y="440"/>
                      <a:pt x="430" y="440"/>
                    </a:cubicBezTo>
                    <a:cubicBezTo>
                      <a:pt x="432" y="441"/>
                      <a:pt x="432" y="441"/>
                      <a:pt x="432" y="441"/>
                    </a:cubicBezTo>
                    <a:cubicBezTo>
                      <a:pt x="433" y="441"/>
                      <a:pt x="433" y="441"/>
                      <a:pt x="433" y="441"/>
                    </a:cubicBezTo>
                    <a:cubicBezTo>
                      <a:pt x="434" y="441"/>
                      <a:pt x="434" y="441"/>
                      <a:pt x="434" y="441"/>
                    </a:cubicBezTo>
                    <a:cubicBezTo>
                      <a:pt x="434" y="442"/>
                      <a:pt x="434" y="442"/>
                      <a:pt x="434" y="442"/>
                    </a:cubicBezTo>
                    <a:cubicBezTo>
                      <a:pt x="433" y="442"/>
                      <a:pt x="433" y="442"/>
                      <a:pt x="433" y="442"/>
                    </a:cubicBezTo>
                    <a:cubicBezTo>
                      <a:pt x="432" y="444"/>
                      <a:pt x="432" y="444"/>
                      <a:pt x="432" y="444"/>
                    </a:cubicBezTo>
                    <a:cubicBezTo>
                      <a:pt x="431" y="446"/>
                      <a:pt x="431" y="446"/>
                      <a:pt x="431" y="446"/>
                    </a:cubicBezTo>
                    <a:cubicBezTo>
                      <a:pt x="431" y="447"/>
                      <a:pt x="431" y="447"/>
                      <a:pt x="431" y="447"/>
                    </a:cubicBezTo>
                    <a:cubicBezTo>
                      <a:pt x="433" y="450"/>
                      <a:pt x="433" y="450"/>
                      <a:pt x="433" y="450"/>
                    </a:cubicBezTo>
                    <a:cubicBezTo>
                      <a:pt x="435" y="451"/>
                      <a:pt x="435" y="451"/>
                      <a:pt x="435" y="451"/>
                    </a:cubicBezTo>
                    <a:cubicBezTo>
                      <a:pt x="435" y="452"/>
                      <a:pt x="435" y="452"/>
                      <a:pt x="435" y="452"/>
                    </a:cubicBezTo>
                    <a:cubicBezTo>
                      <a:pt x="435" y="454"/>
                      <a:pt x="435" y="454"/>
                      <a:pt x="435" y="454"/>
                    </a:cubicBezTo>
                    <a:cubicBezTo>
                      <a:pt x="435" y="454"/>
                      <a:pt x="435" y="454"/>
                      <a:pt x="435" y="454"/>
                    </a:cubicBezTo>
                    <a:cubicBezTo>
                      <a:pt x="436" y="452"/>
                      <a:pt x="436" y="452"/>
                      <a:pt x="436" y="452"/>
                    </a:cubicBezTo>
                    <a:cubicBezTo>
                      <a:pt x="438" y="453"/>
                      <a:pt x="438" y="453"/>
                      <a:pt x="438" y="453"/>
                    </a:cubicBezTo>
                    <a:cubicBezTo>
                      <a:pt x="438" y="453"/>
                      <a:pt x="438" y="453"/>
                      <a:pt x="438" y="453"/>
                    </a:cubicBezTo>
                    <a:cubicBezTo>
                      <a:pt x="439" y="453"/>
                      <a:pt x="439" y="453"/>
                      <a:pt x="439" y="453"/>
                    </a:cubicBezTo>
                    <a:cubicBezTo>
                      <a:pt x="441" y="451"/>
                      <a:pt x="441" y="451"/>
                      <a:pt x="441" y="451"/>
                    </a:cubicBezTo>
                    <a:cubicBezTo>
                      <a:pt x="441" y="450"/>
                      <a:pt x="441" y="450"/>
                      <a:pt x="441" y="450"/>
                    </a:cubicBezTo>
                    <a:cubicBezTo>
                      <a:pt x="440" y="450"/>
                      <a:pt x="440" y="450"/>
                      <a:pt x="440" y="450"/>
                    </a:cubicBezTo>
                    <a:cubicBezTo>
                      <a:pt x="440" y="449"/>
                      <a:pt x="440" y="449"/>
                      <a:pt x="440" y="449"/>
                    </a:cubicBezTo>
                    <a:cubicBezTo>
                      <a:pt x="439" y="447"/>
                      <a:pt x="439" y="447"/>
                      <a:pt x="439" y="447"/>
                    </a:cubicBezTo>
                    <a:cubicBezTo>
                      <a:pt x="438" y="447"/>
                      <a:pt x="438" y="447"/>
                      <a:pt x="438" y="447"/>
                    </a:cubicBezTo>
                    <a:cubicBezTo>
                      <a:pt x="437" y="446"/>
                      <a:pt x="437" y="446"/>
                      <a:pt x="437" y="446"/>
                    </a:cubicBezTo>
                    <a:cubicBezTo>
                      <a:pt x="437" y="445"/>
                      <a:pt x="437" y="445"/>
                      <a:pt x="437" y="445"/>
                    </a:cubicBezTo>
                    <a:cubicBezTo>
                      <a:pt x="439" y="444"/>
                      <a:pt x="439" y="444"/>
                      <a:pt x="439" y="444"/>
                    </a:cubicBezTo>
                    <a:cubicBezTo>
                      <a:pt x="439" y="442"/>
                      <a:pt x="439" y="442"/>
                      <a:pt x="439" y="442"/>
                    </a:cubicBezTo>
                    <a:cubicBezTo>
                      <a:pt x="439" y="441"/>
                      <a:pt x="439" y="441"/>
                      <a:pt x="439" y="441"/>
                    </a:cubicBezTo>
                    <a:cubicBezTo>
                      <a:pt x="439" y="441"/>
                      <a:pt x="439" y="441"/>
                      <a:pt x="439" y="441"/>
                    </a:cubicBezTo>
                    <a:cubicBezTo>
                      <a:pt x="440" y="441"/>
                      <a:pt x="440" y="441"/>
                      <a:pt x="440" y="441"/>
                    </a:cubicBezTo>
                    <a:cubicBezTo>
                      <a:pt x="440" y="441"/>
                      <a:pt x="440" y="441"/>
                      <a:pt x="440" y="441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2"/>
                      <a:pt x="441" y="442"/>
                      <a:pt x="441" y="442"/>
                    </a:cubicBezTo>
                    <a:cubicBezTo>
                      <a:pt x="441" y="443"/>
                      <a:pt x="441" y="443"/>
                      <a:pt x="441" y="443"/>
                    </a:cubicBezTo>
                    <a:cubicBezTo>
                      <a:pt x="442" y="443"/>
                      <a:pt x="442" y="443"/>
                      <a:pt x="442" y="443"/>
                    </a:cubicBezTo>
                    <a:cubicBezTo>
                      <a:pt x="441" y="443"/>
                      <a:pt x="441" y="443"/>
                      <a:pt x="441" y="443"/>
                    </a:cubicBezTo>
                    <a:cubicBezTo>
                      <a:pt x="442" y="443"/>
                      <a:pt x="442" y="443"/>
                      <a:pt x="442" y="443"/>
                    </a:cubicBezTo>
                    <a:cubicBezTo>
                      <a:pt x="443" y="442"/>
                      <a:pt x="443" y="442"/>
                      <a:pt x="443" y="442"/>
                    </a:cubicBezTo>
                    <a:cubicBezTo>
                      <a:pt x="445" y="442"/>
                      <a:pt x="445" y="442"/>
                      <a:pt x="445" y="442"/>
                    </a:cubicBezTo>
                    <a:cubicBezTo>
                      <a:pt x="445" y="440"/>
                      <a:pt x="445" y="440"/>
                      <a:pt x="445" y="440"/>
                    </a:cubicBezTo>
                    <a:cubicBezTo>
                      <a:pt x="447" y="441"/>
                      <a:pt x="447" y="441"/>
                      <a:pt x="447" y="441"/>
                    </a:cubicBezTo>
                    <a:cubicBezTo>
                      <a:pt x="449" y="440"/>
                      <a:pt x="449" y="440"/>
                      <a:pt x="449" y="440"/>
                    </a:cubicBezTo>
                    <a:cubicBezTo>
                      <a:pt x="451" y="439"/>
                      <a:pt x="451" y="439"/>
                      <a:pt x="451" y="439"/>
                    </a:cubicBezTo>
                    <a:cubicBezTo>
                      <a:pt x="450" y="438"/>
                      <a:pt x="450" y="438"/>
                      <a:pt x="450" y="438"/>
                    </a:cubicBezTo>
                    <a:cubicBezTo>
                      <a:pt x="452" y="438"/>
                      <a:pt x="452" y="438"/>
                      <a:pt x="452" y="438"/>
                    </a:cubicBezTo>
                    <a:cubicBezTo>
                      <a:pt x="454" y="437"/>
                      <a:pt x="454" y="437"/>
                      <a:pt x="454" y="437"/>
                    </a:cubicBezTo>
                    <a:cubicBezTo>
                      <a:pt x="456" y="438"/>
                      <a:pt x="456" y="438"/>
                      <a:pt x="456" y="438"/>
                    </a:cubicBezTo>
                    <a:cubicBezTo>
                      <a:pt x="457" y="438"/>
                      <a:pt x="457" y="438"/>
                      <a:pt x="457" y="438"/>
                    </a:cubicBezTo>
                    <a:cubicBezTo>
                      <a:pt x="459" y="437"/>
                      <a:pt x="459" y="437"/>
                      <a:pt x="459" y="437"/>
                    </a:cubicBezTo>
                    <a:cubicBezTo>
                      <a:pt x="461" y="435"/>
                      <a:pt x="461" y="435"/>
                      <a:pt x="461" y="435"/>
                    </a:cubicBezTo>
                    <a:cubicBezTo>
                      <a:pt x="462" y="433"/>
                      <a:pt x="462" y="433"/>
                      <a:pt x="462" y="433"/>
                    </a:cubicBezTo>
                    <a:cubicBezTo>
                      <a:pt x="462" y="432"/>
                      <a:pt x="462" y="432"/>
                      <a:pt x="462" y="432"/>
                    </a:cubicBezTo>
                    <a:cubicBezTo>
                      <a:pt x="463" y="433"/>
                      <a:pt x="463" y="433"/>
                      <a:pt x="463" y="433"/>
                    </a:cubicBezTo>
                    <a:cubicBezTo>
                      <a:pt x="463" y="433"/>
                      <a:pt x="463" y="433"/>
                      <a:pt x="463" y="433"/>
                    </a:cubicBezTo>
                    <a:cubicBezTo>
                      <a:pt x="464" y="433"/>
                      <a:pt x="464" y="433"/>
                      <a:pt x="464" y="433"/>
                    </a:cubicBezTo>
                    <a:cubicBezTo>
                      <a:pt x="465" y="431"/>
                      <a:pt x="465" y="431"/>
                      <a:pt x="465" y="431"/>
                    </a:cubicBezTo>
                    <a:cubicBezTo>
                      <a:pt x="467" y="430"/>
                      <a:pt x="467" y="430"/>
                      <a:pt x="467" y="430"/>
                    </a:cubicBezTo>
                    <a:cubicBezTo>
                      <a:pt x="466" y="428"/>
                      <a:pt x="466" y="428"/>
                      <a:pt x="466" y="428"/>
                    </a:cubicBezTo>
                    <a:cubicBezTo>
                      <a:pt x="466" y="426"/>
                      <a:pt x="466" y="426"/>
                      <a:pt x="466" y="426"/>
                    </a:cubicBezTo>
                    <a:cubicBezTo>
                      <a:pt x="466" y="425"/>
                      <a:pt x="466" y="425"/>
                      <a:pt x="466" y="425"/>
                    </a:cubicBezTo>
                    <a:cubicBezTo>
                      <a:pt x="466" y="424"/>
                      <a:pt x="466" y="424"/>
                      <a:pt x="466" y="424"/>
                    </a:cubicBezTo>
                    <a:cubicBezTo>
                      <a:pt x="467" y="425"/>
                      <a:pt x="467" y="425"/>
                      <a:pt x="467" y="425"/>
                    </a:cubicBezTo>
                    <a:cubicBezTo>
                      <a:pt x="469" y="426"/>
                      <a:pt x="469" y="426"/>
                      <a:pt x="469" y="426"/>
                    </a:cubicBezTo>
                    <a:cubicBezTo>
                      <a:pt x="469" y="427"/>
                      <a:pt x="469" y="427"/>
                      <a:pt x="469" y="427"/>
                    </a:cubicBezTo>
                    <a:cubicBezTo>
                      <a:pt x="471" y="429"/>
                      <a:pt x="471" y="429"/>
                      <a:pt x="471" y="429"/>
                    </a:cubicBezTo>
                    <a:cubicBezTo>
                      <a:pt x="473" y="429"/>
                      <a:pt x="473" y="429"/>
                      <a:pt x="473" y="429"/>
                    </a:cubicBezTo>
                    <a:cubicBezTo>
                      <a:pt x="472" y="430"/>
                      <a:pt x="472" y="430"/>
                      <a:pt x="472" y="430"/>
                    </a:cubicBezTo>
                    <a:cubicBezTo>
                      <a:pt x="470" y="431"/>
                      <a:pt x="470" y="431"/>
                      <a:pt x="470" y="431"/>
                    </a:cubicBezTo>
                    <a:cubicBezTo>
                      <a:pt x="471" y="432"/>
                      <a:pt x="471" y="432"/>
                      <a:pt x="471" y="43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74" y="428"/>
                      <a:pt x="474" y="428"/>
                      <a:pt x="474" y="428"/>
                    </a:cubicBezTo>
                    <a:cubicBezTo>
                      <a:pt x="476" y="427"/>
                      <a:pt x="476" y="427"/>
                      <a:pt x="476" y="427"/>
                    </a:cubicBezTo>
                    <a:cubicBezTo>
                      <a:pt x="477" y="427"/>
                      <a:pt x="477" y="427"/>
                      <a:pt x="477" y="427"/>
                    </a:cubicBezTo>
                    <a:cubicBezTo>
                      <a:pt x="478" y="427"/>
                      <a:pt x="478" y="427"/>
                      <a:pt x="478" y="427"/>
                    </a:cubicBezTo>
                    <a:cubicBezTo>
                      <a:pt x="480" y="427"/>
                      <a:pt x="480" y="427"/>
                      <a:pt x="480" y="427"/>
                    </a:cubicBezTo>
                    <a:cubicBezTo>
                      <a:pt x="480" y="426"/>
                      <a:pt x="480" y="426"/>
                      <a:pt x="480" y="426"/>
                    </a:cubicBezTo>
                    <a:cubicBezTo>
                      <a:pt x="482" y="425"/>
                      <a:pt x="482" y="425"/>
                      <a:pt x="482" y="425"/>
                    </a:cubicBezTo>
                    <a:cubicBezTo>
                      <a:pt x="482" y="424"/>
                      <a:pt x="482" y="424"/>
                      <a:pt x="482" y="424"/>
                    </a:cubicBezTo>
                    <a:cubicBezTo>
                      <a:pt x="483" y="426"/>
                      <a:pt x="483" y="426"/>
                      <a:pt x="483" y="426"/>
                    </a:cubicBezTo>
                    <a:cubicBezTo>
                      <a:pt x="484" y="427"/>
                      <a:pt x="484" y="427"/>
                      <a:pt x="484" y="427"/>
                    </a:cubicBezTo>
                    <a:cubicBezTo>
                      <a:pt x="485" y="426"/>
                      <a:pt x="485" y="426"/>
                      <a:pt x="485" y="426"/>
                    </a:cubicBezTo>
                    <a:cubicBezTo>
                      <a:pt x="485" y="425"/>
                      <a:pt x="485" y="425"/>
                      <a:pt x="485" y="425"/>
                    </a:cubicBezTo>
                    <a:cubicBezTo>
                      <a:pt x="487" y="425"/>
                      <a:pt x="487" y="425"/>
                      <a:pt x="487" y="425"/>
                    </a:cubicBezTo>
                    <a:cubicBezTo>
                      <a:pt x="487" y="425"/>
                      <a:pt x="487" y="425"/>
                      <a:pt x="487" y="425"/>
                    </a:cubicBezTo>
                    <a:cubicBezTo>
                      <a:pt x="488" y="425"/>
                      <a:pt x="488" y="425"/>
                      <a:pt x="488" y="425"/>
                    </a:cubicBezTo>
                    <a:cubicBezTo>
                      <a:pt x="489" y="424"/>
                      <a:pt x="489" y="424"/>
                      <a:pt x="489" y="424"/>
                    </a:cubicBezTo>
                    <a:cubicBezTo>
                      <a:pt x="491" y="424"/>
                      <a:pt x="491" y="424"/>
                      <a:pt x="491" y="424"/>
                    </a:cubicBezTo>
                    <a:cubicBezTo>
                      <a:pt x="492" y="423"/>
                      <a:pt x="492" y="423"/>
                      <a:pt x="492" y="423"/>
                    </a:cubicBezTo>
                    <a:cubicBezTo>
                      <a:pt x="493" y="422"/>
                      <a:pt x="493" y="422"/>
                      <a:pt x="493" y="422"/>
                    </a:cubicBezTo>
                    <a:cubicBezTo>
                      <a:pt x="493" y="423"/>
                      <a:pt x="493" y="423"/>
                      <a:pt x="493" y="423"/>
                    </a:cubicBezTo>
                    <a:cubicBezTo>
                      <a:pt x="494" y="422"/>
                      <a:pt x="494" y="422"/>
                      <a:pt x="494" y="422"/>
                    </a:cubicBezTo>
                    <a:cubicBezTo>
                      <a:pt x="495" y="423"/>
                      <a:pt x="495" y="423"/>
                      <a:pt x="495" y="423"/>
                    </a:cubicBezTo>
                    <a:cubicBezTo>
                      <a:pt x="496" y="422"/>
                      <a:pt x="496" y="422"/>
                      <a:pt x="496" y="422"/>
                    </a:cubicBezTo>
                    <a:cubicBezTo>
                      <a:pt x="496" y="420"/>
                      <a:pt x="496" y="420"/>
                      <a:pt x="496" y="420"/>
                    </a:cubicBezTo>
                    <a:cubicBezTo>
                      <a:pt x="496" y="419"/>
                      <a:pt x="496" y="419"/>
                      <a:pt x="496" y="419"/>
                    </a:cubicBezTo>
                    <a:cubicBezTo>
                      <a:pt x="497" y="417"/>
                      <a:pt x="497" y="417"/>
                      <a:pt x="497" y="417"/>
                    </a:cubicBezTo>
                    <a:cubicBezTo>
                      <a:pt x="496" y="415"/>
                      <a:pt x="496" y="415"/>
                      <a:pt x="496" y="415"/>
                    </a:cubicBezTo>
                    <a:cubicBezTo>
                      <a:pt x="497" y="415"/>
                      <a:pt x="497" y="415"/>
                      <a:pt x="497" y="415"/>
                    </a:cubicBezTo>
                    <a:cubicBezTo>
                      <a:pt x="498" y="414"/>
                      <a:pt x="498" y="414"/>
                      <a:pt x="498" y="414"/>
                    </a:cubicBezTo>
                    <a:cubicBezTo>
                      <a:pt x="500" y="414"/>
                      <a:pt x="500" y="414"/>
                      <a:pt x="500" y="414"/>
                    </a:cubicBezTo>
                    <a:cubicBezTo>
                      <a:pt x="500" y="415"/>
                      <a:pt x="500" y="415"/>
                      <a:pt x="500" y="415"/>
                    </a:cubicBezTo>
                    <a:cubicBezTo>
                      <a:pt x="502" y="415"/>
                      <a:pt x="502" y="415"/>
                      <a:pt x="502" y="415"/>
                    </a:cubicBezTo>
                    <a:cubicBezTo>
                      <a:pt x="503" y="413"/>
                      <a:pt x="503" y="413"/>
                      <a:pt x="503" y="413"/>
                    </a:cubicBezTo>
                    <a:cubicBezTo>
                      <a:pt x="504" y="413"/>
                      <a:pt x="504" y="413"/>
                      <a:pt x="504" y="413"/>
                    </a:cubicBezTo>
                    <a:cubicBezTo>
                      <a:pt x="504" y="411"/>
                      <a:pt x="504" y="411"/>
                      <a:pt x="504" y="411"/>
                    </a:cubicBezTo>
                    <a:cubicBezTo>
                      <a:pt x="505" y="411"/>
                      <a:pt x="505" y="411"/>
                      <a:pt x="505" y="411"/>
                    </a:cubicBezTo>
                    <a:cubicBezTo>
                      <a:pt x="505" y="412"/>
                      <a:pt x="505" y="412"/>
                      <a:pt x="505" y="412"/>
                    </a:cubicBezTo>
                    <a:cubicBezTo>
                      <a:pt x="506" y="411"/>
                      <a:pt x="506" y="411"/>
                      <a:pt x="506" y="411"/>
                    </a:cubicBezTo>
                    <a:cubicBezTo>
                      <a:pt x="507" y="410"/>
                      <a:pt x="507" y="410"/>
                      <a:pt x="507" y="410"/>
                    </a:cubicBezTo>
                    <a:cubicBezTo>
                      <a:pt x="508" y="411"/>
                      <a:pt x="508" y="411"/>
                      <a:pt x="508" y="411"/>
                    </a:cubicBezTo>
                    <a:cubicBezTo>
                      <a:pt x="508" y="409"/>
                      <a:pt x="508" y="409"/>
                      <a:pt x="508" y="409"/>
                    </a:cubicBezTo>
                    <a:cubicBezTo>
                      <a:pt x="509" y="409"/>
                      <a:pt x="509" y="409"/>
                      <a:pt x="509" y="409"/>
                    </a:cubicBezTo>
                    <a:cubicBezTo>
                      <a:pt x="510" y="407"/>
                      <a:pt x="510" y="407"/>
                      <a:pt x="510" y="407"/>
                    </a:cubicBezTo>
                    <a:cubicBezTo>
                      <a:pt x="508" y="407"/>
                      <a:pt x="508" y="407"/>
                      <a:pt x="508" y="407"/>
                    </a:cubicBezTo>
                    <a:cubicBezTo>
                      <a:pt x="507" y="407"/>
                      <a:pt x="507" y="407"/>
                      <a:pt x="507" y="407"/>
                    </a:cubicBezTo>
                    <a:cubicBezTo>
                      <a:pt x="504" y="406"/>
                      <a:pt x="504" y="406"/>
                      <a:pt x="504" y="406"/>
                    </a:cubicBezTo>
                    <a:cubicBezTo>
                      <a:pt x="508" y="405"/>
                      <a:pt x="508" y="405"/>
                      <a:pt x="508" y="405"/>
                    </a:cubicBezTo>
                    <a:cubicBezTo>
                      <a:pt x="509" y="403"/>
                      <a:pt x="509" y="403"/>
                      <a:pt x="509" y="403"/>
                    </a:cubicBezTo>
                    <a:cubicBezTo>
                      <a:pt x="510" y="404"/>
                      <a:pt x="510" y="404"/>
                      <a:pt x="510" y="404"/>
                    </a:cubicBezTo>
                    <a:cubicBezTo>
                      <a:pt x="511" y="403"/>
                      <a:pt x="511" y="403"/>
                      <a:pt x="511" y="403"/>
                    </a:cubicBezTo>
                    <a:cubicBezTo>
                      <a:pt x="513" y="405"/>
                      <a:pt x="513" y="405"/>
                      <a:pt x="513" y="405"/>
                    </a:cubicBezTo>
                    <a:cubicBezTo>
                      <a:pt x="514" y="403"/>
                      <a:pt x="514" y="403"/>
                      <a:pt x="514" y="403"/>
                    </a:cubicBezTo>
                    <a:cubicBezTo>
                      <a:pt x="513" y="402"/>
                      <a:pt x="513" y="402"/>
                      <a:pt x="513" y="402"/>
                    </a:cubicBezTo>
                    <a:cubicBezTo>
                      <a:pt x="512" y="401"/>
                      <a:pt x="512" y="401"/>
                      <a:pt x="512" y="401"/>
                    </a:cubicBezTo>
                    <a:cubicBezTo>
                      <a:pt x="512" y="400"/>
                      <a:pt x="512" y="400"/>
                      <a:pt x="512" y="400"/>
                    </a:cubicBezTo>
                    <a:cubicBezTo>
                      <a:pt x="514" y="401"/>
                      <a:pt x="514" y="401"/>
                      <a:pt x="514" y="401"/>
                    </a:cubicBezTo>
                    <a:cubicBezTo>
                      <a:pt x="515" y="400"/>
                      <a:pt x="515" y="400"/>
                      <a:pt x="515" y="400"/>
                    </a:cubicBezTo>
                    <a:cubicBezTo>
                      <a:pt x="515" y="399"/>
                      <a:pt x="515" y="399"/>
                      <a:pt x="515" y="399"/>
                    </a:cubicBezTo>
                    <a:cubicBezTo>
                      <a:pt x="514" y="399"/>
                      <a:pt x="514" y="399"/>
                      <a:pt x="514" y="399"/>
                    </a:cubicBezTo>
                    <a:cubicBezTo>
                      <a:pt x="513" y="398"/>
                      <a:pt x="513" y="398"/>
                      <a:pt x="513" y="398"/>
                    </a:cubicBezTo>
                    <a:cubicBezTo>
                      <a:pt x="512" y="397"/>
                      <a:pt x="512" y="397"/>
                      <a:pt x="512" y="397"/>
                    </a:cubicBezTo>
                    <a:cubicBezTo>
                      <a:pt x="514" y="396"/>
                      <a:pt x="514" y="396"/>
                      <a:pt x="514" y="396"/>
                    </a:cubicBezTo>
                    <a:cubicBezTo>
                      <a:pt x="515" y="397"/>
                      <a:pt x="515" y="397"/>
                      <a:pt x="515" y="397"/>
                    </a:cubicBezTo>
                    <a:cubicBezTo>
                      <a:pt x="516" y="397"/>
                      <a:pt x="516" y="397"/>
                      <a:pt x="516" y="397"/>
                    </a:cubicBezTo>
                    <a:cubicBezTo>
                      <a:pt x="516" y="398"/>
                      <a:pt x="516" y="398"/>
                      <a:pt x="516" y="398"/>
                    </a:cubicBezTo>
                    <a:cubicBezTo>
                      <a:pt x="516" y="397"/>
                      <a:pt x="516" y="397"/>
                      <a:pt x="516" y="397"/>
                    </a:cubicBezTo>
                    <a:cubicBezTo>
                      <a:pt x="515" y="395"/>
                      <a:pt x="515" y="395"/>
                      <a:pt x="515" y="395"/>
                    </a:cubicBezTo>
                    <a:cubicBezTo>
                      <a:pt x="515" y="394"/>
                      <a:pt x="515" y="394"/>
                      <a:pt x="515" y="394"/>
                    </a:cubicBezTo>
                    <a:cubicBezTo>
                      <a:pt x="516" y="394"/>
                      <a:pt x="516" y="394"/>
                      <a:pt x="516" y="394"/>
                    </a:cubicBezTo>
                    <a:cubicBezTo>
                      <a:pt x="516" y="393"/>
                      <a:pt x="516" y="393"/>
                      <a:pt x="516" y="393"/>
                    </a:cubicBezTo>
                    <a:cubicBezTo>
                      <a:pt x="518" y="394"/>
                      <a:pt x="518" y="394"/>
                      <a:pt x="518" y="394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9" y="395"/>
                      <a:pt x="519" y="395"/>
                      <a:pt x="519" y="395"/>
                    </a:cubicBezTo>
                    <a:cubicBezTo>
                      <a:pt x="520" y="397"/>
                      <a:pt x="520" y="397"/>
                      <a:pt x="520" y="397"/>
                    </a:cubicBezTo>
                    <a:cubicBezTo>
                      <a:pt x="520" y="395"/>
                      <a:pt x="520" y="395"/>
                      <a:pt x="520" y="395"/>
                    </a:cubicBezTo>
                    <a:cubicBezTo>
                      <a:pt x="519" y="393"/>
                      <a:pt x="519" y="393"/>
                      <a:pt x="519" y="393"/>
                    </a:cubicBezTo>
                    <a:cubicBezTo>
                      <a:pt x="518" y="393"/>
                      <a:pt x="518" y="393"/>
                      <a:pt x="518" y="393"/>
                    </a:cubicBezTo>
                    <a:cubicBezTo>
                      <a:pt x="518" y="392"/>
                      <a:pt x="518" y="392"/>
                      <a:pt x="518" y="392"/>
                    </a:cubicBezTo>
                    <a:cubicBezTo>
                      <a:pt x="519" y="392"/>
                      <a:pt x="519" y="392"/>
                      <a:pt x="519" y="392"/>
                    </a:cubicBezTo>
                    <a:cubicBezTo>
                      <a:pt x="520" y="390"/>
                      <a:pt x="520" y="390"/>
                      <a:pt x="520" y="390"/>
                    </a:cubicBezTo>
                    <a:cubicBezTo>
                      <a:pt x="518" y="390"/>
                      <a:pt x="518" y="390"/>
                      <a:pt x="518" y="390"/>
                    </a:cubicBezTo>
                    <a:cubicBezTo>
                      <a:pt x="520" y="388"/>
                      <a:pt x="520" y="388"/>
                      <a:pt x="520" y="388"/>
                    </a:cubicBezTo>
                    <a:cubicBezTo>
                      <a:pt x="519" y="387"/>
                      <a:pt x="519" y="387"/>
                      <a:pt x="519" y="387"/>
                    </a:cubicBezTo>
                    <a:cubicBezTo>
                      <a:pt x="518" y="387"/>
                      <a:pt x="518" y="387"/>
                      <a:pt x="518" y="387"/>
                    </a:cubicBezTo>
                    <a:cubicBezTo>
                      <a:pt x="517" y="388"/>
                      <a:pt x="517" y="388"/>
                      <a:pt x="517" y="388"/>
                    </a:cubicBezTo>
                    <a:cubicBezTo>
                      <a:pt x="517" y="386"/>
                      <a:pt x="517" y="386"/>
                      <a:pt x="517" y="386"/>
                    </a:cubicBezTo>
                    <a:cubicBezTo>
                      <a:pt x="519" y="385"/>
                      <a:pt x="519" y="385"/>
                      <a:pt x="519" y="385"/>
                    </a:cubicBezTo>
                    <a:cubicBezTo>
                      <a:pt x="522" y="383"/>
                      <a:pt x="522" y="383"/>
                      <a:pt x="522" y="383"/>
                    </a:cubicBezTo>
                    <a:cubicBezTo>
                      <a:pt x="521" y="382"/>
                      <a:pt x="521" y="382"/>
                      <a:pt x="521" y="382"/>
                    </a:cubicBezTo>
                    <a:cubicBezTo>
                      <a:pt x="520" y="383"/>
                      <a:pt x="520" y="383"/>
                      <a:pt x="520" y="383"/>
                    </a:cubicBezTo>
                    <a:cubicBezTo>
                      <a:pt x="518" y="381"/>
                      <a:pt x="518" y="381"/>
                      <a:pt x="518" y="381"/>
                    </a:cubicBezTo>
                    <a:cubicBezTo>
                      <a:pt x="520" y="381"/>
                      <a:pt x="520" y="381"/>
                      <a:pt x="520" y="381"/>
                    </a:cubicBezTo>
                    <a:cubicBezTo>
                      <a:pt x="519" y="379"/>
                      <a:pt x="519" y="379"/>
                      <a:pt x="519" y="379"/>
                    </a:cubicBezTo>
                    <a:cubicBezTo>
                      <a:pt x="517" y="379"/>
                      <a:pt x="517" y="379"/>
                      <a:pt x="517" y="379"/>
                    </a:cubicBezTo>
                    <a:cubicBezTo>
                      <a:pt x="518" y="378"/>
                      <a:pt x="518" y="378"/>
                      <a:pt x="518" y="378"/>
                    </a:cubicBezTo>
                    <a:cubicBezTo>
                      <a:pt x="517" y="377"/>
                      <a:pt x="517" y="377"/>
                      <a:pt x="517" y="377"/>
                    </a:cubicBezTo>
                    <a:cubicBezTo>
                      <a:pt x="519" y="378"/>
                      <a:pt x="519" y="378"/>
                      <a:pt x="519" y="378"/>
                    </a:cubicBezTo>
                    <a:cubicBezTo>
                      <a:pt x="519" y="376"/>
                      <a:pt x="519" y="376"/>
                      <a:pt x="519" y="376"/>
                    </a:cubicBezTo>
                    <a:cubicBezTo>
                      <a:pt x="519" y="376"/>
                      <a:pt x="519" y="376"/>
                      <a:pt x="519" y="376"/>
                    </a:cubicBezTo>
                    <a:cubicBezTo>
                      <a:pt x="521" y="376"/>
                      <a:pt x="521" y="376"/>
                      <a:pt x="521" y="376"/>
                    </a:cubicBezTo>
                    <a:cubicBezTo>
                      <a:pt x="520" y="378"/>
                      <a:pt x="520" y="378"/>
                      <a:pt x="520" y="378"/>
                    </a:cubicBezTo>
                    <a:cubicBezTo>
                      <a:pt x="522" y="378"/>
                      <a:pt x="522" y="378"/>
                      <a:pt x="522" y="378"/>
                    </a:cubicBezTo>
                    <a:cubicBezTo>
                      <a:pt x="524" y="375"/>
                      <a:pt x="524" y="375"/>
                      <a:pt x="524" y="375"/>
                    </a:cubicBezTo>
                    <a:cubicBezTo>
                      <a:pt x="524" y="374"/>
                      <a:pt x="524" y="374"/>
                      <a:pt x="524" y="374"/>
                    </a:cubicBezTo>
                    <a:cubicBezTo>
                      <a:pt x="526" y="374"/>
                      <a:pt x="526" y="374"/>
                      <a:pt x="526" y="374"/>
                    </a:cubicBezTo>
                    <a:cubicBezTo>
                      <a:pt x="525" y="373"/>
                      <a:pt x="525" y="373"/>
                      <a:pt x="525" y="373"/>
                    </a:cubicBezTo>
                    <a:cubicBezTo>
                      <a:pt x="524" y="372"/>
                      <a:pt x="524" y="372"/>
                      <a:pt x="524" y="372"/>
                    </a:cubicBezTo>
                    <a:cubicBezTo>
                      <a:pt x="524" y="371"/>
                      <a:pt x="524" y="371"/>
                      <a:pt x="524" y="371"/>
                    </a:cubicBezTo>
                    <a:cubicBezTo>
                      <a:pt x="525" y="372"/>
                      <a:pt x="525" y="372"/>
                      <a:pt x="525" y="372"/>
                    </a:cubicBezTo>
                    <a:cubicBezTo>
                      <a:pt x="527" y="371"/>
                      <a:pt x="527" y="371"/>
                      <a:pt x="527" y="371"/>
                    </a:cubicBezTo>
                    <a:cubicBezTo>
                      <a:pt x="527" y="370"/>
                      <a:pt x="527" y="370"/>
                      <a:pt x="527" y="370"/>
                    </a:cubicBezTo>
                    <a:cubicBezTo>
                      <a:pt x="528" y="369"/>
                      <a:pt x="528" y="369"/>
                      <a:pt x="528" y="369"/>
                    </a:cubicBezTo>
                    <a:cubicBezTo>
                      <a:pt x="527" y="368"/>
                      <a:pt x="527" y="368"/>
                      <a:pt x="527" y="368"/>
                    </a:cubicBezTo>
                    <a:cubicBezTo>
                      <a:pt x="527" y="366"/>
                      <a:pt x="527" y="366"/>
                      <a:pt x="527" y="366"/>
                    </a:cubicBezTo>
                    <a:cubicBezTo>
                      <a:pt x="528" y="366"/>
                      <a:pt x="528" y="366"/>
                      <a:pt x="528" y="366"/>
                    </a:cubicBezTo>
                    <a:cubicBezTo>
                      <a:pt x="527" y="364"/>
                      <a:pt x="527" y="364"/>
                      <a:pt x="527" y="364"/>
                    </a:cubicBezTo>
                    <a:cubicBezTo>
                      <a:pt x="527" y="363"/>
                      <a:pt x="527" y="363"/>
                      <a:pt x="527" y="363"/>
                    </a:cubicBezTo>
                    <a:cubicBezTo>
                      <a:pt x="525" y="362"/>
                      <a:pt x="525" y="362"/>
                      <a:pt x="525" y="362"/>
                    </a:cubicBezTo>
                    <a:cubicBezTo>
                      <a:pt x="528" y="363"/>
                      <a:pt x="528" y="363"/>
                      <a:pt x="528" y="363"/>
                    </a:cubicBezTo>
                    <a:cubicBezTo>
                      <a:pt x="529" y="362"/>
                      <a:pt x="529" y="362"/>
                      <a:pt x="529" y="362"/>
                    </a:cubicBezTo>
                    <a:cubicBezTo>
                      <a:pt x="531" y="359"/>
                      <a:pt x="531" y="359"/>
                      <a:pt x="531" y="359"/>
                    </a:cubicBezTo>
                    <a:cubicBezTo>
                      <a:pt x="532" y="359"/>
                      <a:pt x="532" y="359"/>
                      <a:pt x="532" y="359"/>
                    </a:cubicBezTo>
                    <a:cubicBezTo>
                      <a:pt x="533" y="360"/>
                      <a:pt x="533" y="360"/>
                      <a:pt x="533" y="360"/>
                    </a:cubicBezTo>
                    <a:cubicBezTo>
                      <a:pt x="533" y="361"/>
                      <a:pt x="533" y="361"/>
                      <a:pt x="533" y="361"/>
                    </a:cubicBezTo>
                    <a:cubicBezTo>
                      <a:pt x="533" y="359"/>
                      <a:pt x="533" y="359"/>
                      <a:pt x="533" y="359"/>
                    </a:cubicBezTo>
                    <a:cubicBezTo>
                      <a:pt x="535" y="358"/>
                      <a:pt x="535" y="358"/>
                      <a:pt x="535" y="358"/>
                    </a:cubicBezTo>
                    <a:cubicBezTo>
                      <a:pt x="534" y="356"/>
                      <a:pt x="534" y="356"/>
                      <a:pt x="534" y="356"/>
                    </a:cubicBezTo>
                    <a:cubicBezTo>
                      <a:pt x="532" y="356"/>
                      <a:pt x="532" y="356"/>
                      <a:pt x="532" y="356"/>
                    </a:cubicBezTo>
                    <a:cubicBezTo>
                      <a:pt x="531" y="355"/>
                      <a:pt x="531" y="355"/>
                      <a:pt x="531" y="355"/>
                    </a:cubicBezTo>
                    <a:cubicBezTo>
                      <a:pt x="532" y="354"/>
                      <a:pt x="532" y="354"/>
                      <a:pt x="532" y="354"/>
                    </a:cubicBezTo>
                    <a:cubicBezTo>
                      <a:pt x="533" y="355"/>
                      <a:pt x="533" y="355"/>
                      <a:pt x="533" y="355"/>
                    </a:cubicBezTo>
                    <a:cubicBezTo>
                      <a:pt x="534" y="354"/>
                      <a:pt x="534" y="354"/>
                      <a:pt x="534" y="354"/>
                    </a:cubicBezTo>
                    <a:cubicBezTo>
                      <a:pt x="533" y="353"/>
                      <a:pt x="533" y="353"/>
                      <a:pt x="533" y="353"/>
                    </a:cubicBezTo>
                    <a:cubicBezTo>
                      <a:pt x="532" y="352"/>
                      <a:pt x="532" y="352"/>
                      <a:pt x="532" y="352"/>
                    </a:cubicBezTo>
                    <a:cubicBezTo>
                      <a:pt x="533" y="351"/>
                      <a:pt x="533" y="351"/>
                      <a:pt x="533" y="351"/>
                    </a:cubicBezTo>
                    <a:cubicBezTo>
                      <a:pt x="534" y="351"/>
                      <a:pt x="534" y="351"/>
                      <a:pt x="534" y="351"/>
                    </a:cubicBezTo>
                    <a:cubicBezTo>
                      <a:pt x="534" y="350"/>
                      <a:pt x="534" y="350"/>
                      <a:pt x="534" y="350"/>
                    </a:cubicBezTo>
                    <a:cubicBezTo>
                      <a:pt x="533" y="349"/>
                      <a:pt x="533" y="349"/>
                      <a:pt x="533" y="349"/>
                    </a:cubicBezTo>
                    <a:cubicBezTo>
                      <a:pt x="530" y="349"/>
                      <a:pt x="530" y="349"/>
                      <a:pt x="530" y="349"/>
                    </a:cubicBezTo>
                    <a:cubicBezTo>
                      <a:pt x="530" y="348"/>
                      <a:pt x="530" y="348"/>
                      <a:pt x="530" y="348"/>
                    </a:cubicBezTo>
                    <a:cubicBezTo>
                      <a:pt x="532" y="347"/>
                      <a:pt x="532" y="347"/>
                      <a:pt x="532" y="347"/>
                    </a:cubicBezTo>
                    <a:cubicBezTo>
                      <a:pt x="534" y="347"/>
                      <a:pt x="534" y="347"/>
                      <a:pt x="534" y="347"/>
                    </a:cubicBezTo>
                    <a:cubicBezTo>
                      <a:pt x="535" y="347"/>
                      <a:pt x="535" y="347"/>
                      <a:pt x="535" y="347"/>
                    </a:cubicBezTo>
                    <a:cubicBezTo>
                      <a:pt x="535" y="346"/>
                      <a:pt x="535" y="346"/>
                      <a:pt x="535" y="346"/>
                    </a:cubicBezTo>
                    <a:cubicBezTo>
                      <a:pt x="536" y="346"/>
                      <a:pt x="536" y="346"/>
                      <a:pt x="536" y="346"/>
                    </a:cubicBezTo>
                    <a:cubicBezTo>
                      <a:pt x="536" y="347"/>
                      <a:pt x="536" y="347"/>
                      <a:pt x="536" y="347"/>
                    </a:cubicBezTo>
                    <a:cubicBezTo>
                      <a:pt x="538" y="346"/>
                      <a:pt x="538" y="346"/>
                      <a:pt x="538" y="346"/>
                    </a:cubicBezTo>
                    <a:cubicBezTo>
                      <a:pt x="537" y="345"/>
                      <a:pt x="537" y="345"/>
                      <a:pt x="537" y="345"/>
                    </a:cubicBezTo>
                    <a:cubicBezTo>
                      <a:pt x="537" y="342"/>
                      <a:pt x="537" y="342"/>
                      <a:pt x="537" y="342"/>
                    </a:cubicBezTo>
                    <a:cubicBezTo>
                      <a:pt x="536" y="341"/>
                      <a:pt x="536" y="341"/>
                      <a:pt x="536" y="341"/>
                    </a:cubicBezTo>
                    <a:cubicBezTo>
                      <a:pt x="534" y="342"/>
                      <a:pt x="534" y="342"/>
                      <a:pt x="534" y="342"/>
                    </a:cubicBezTo>
                    <a:cubicBezTo>
                      <a:pt x="535" y="343"/>
                      <a:pt x="535" y="343"/>
                      <a:pt x="535" y="343"/>
                    </a:cubicBezTo>
                    <a:cubicBezTo>
                      <a:pt x="535" y="344"/>
                      <a:pt x="535" y="344"/>
                      <a:pt x="535" y="344"/>
                    </a:cubicBezTo>
                    <a:cubicBezTo>
                      <a:pt x="533" y="343"/>
                      <a:pt x="533" y="343"/>
                      <a:pt x="533" y="343"/>
                    </a:cubicBezTo>
                    <a:cubicBezTo>
                      <a:pt x="530" y="346"/>
                      <a:pt x="530" y="346"/>
                      <a:pt x="530" y="346"/>
                    </a:cubicBezTo>
                    <a:cubicBezTo>
                      <a:pt x="529" y="345"/>
                      <a:pt x="529" y="345"/>
                      <a:pt x="529" y="345"/>
                    </a:cubicBezTo>
                    <a:cubicBezTo>
                      <a:pt x="529" y="344"/>
                      <a:pt x="529" y="344"/>
                      <a:pt x="529" y="344"/>
                    </a:cubicBezTo>
                    <a:cubicBezTo>
                      <a:pt x="532" y="343"/>
                      <a:pt x="532" y="343"/>
                      <a:pt x="532" y="343"/>
                    </a:cubicBezTo>
                    <a:cubicBezTo>
                      <a:pt x="536" y="339"/>
                      <a:pt x="536" y="339"/>
                      <a:pt x="536" y="339"/>
                    </a:cubicBezTo>
                    <a:cubicBezTo>
                      <a:pt x="536" y="338"/>
                      <a:pt x="536" y="338"/>
                      <a:pt x="536" y="338"/>
                    </a:cubicBezTo>
                    <a:cubicBezTo>
                      <a:pt x="534" y="338"/>
                      <a:pt x="534" y="338"/>
                      <a:pt x="534" y="338"/>
                    </a:cubicBezTo>
                    <a:cubicBezTo>
                      <a:pt x="533" y="337"/>
                      <a:pt x="533" y="337"/>
                      <a:pt x="533" y="337"/>
                    </a:cubicBezTo>
                    <a:cubicBezTo>
                      <a:pt x="532" y="338"/>
                      <a:pt x="532" y="338"/>
                      <a:pt x="532" y="338"/>
                    </a:cubicBezTo>
                    <a:cubicBezTo>
                      <a:pt x="529" y="334"/>
                      <a:pt x="529" y="334"/>
                      <a:pt x="529" y="334"/>
                    </a:cubicBezTo>
                    <a:cubicBezTo>
                      <a:pt x="527" y="334"/>
                      <a:pt x="527" y="334"/>
                      <a:pt x="527" y="334"/>
                    </a:cubicBezTo>
                    <a:cubicBezTo>
                      <a:pt x="524" y="336"/>
                      <a:pt x="524" y="336"/>
                      <a:pt x="524" y="336"/>
                    </a:cubicBezTo>
                    <a:cubicBezTo>
                      <a:pt x="522" y="336"/>
                      <a:pt x="522" y="336"/>
                      <a:pt x="522" y="336"/>
                    </a:cubicBezTo>
                    <a:cubicBezTo>
                      <a:pt x="521" y="333"/>
                      <a:pt x="521" y="333"/>
                      <a:pt x="521" y="333"/>
                    </a:cubicBezTo>
                    <a:cubicBezTo>
                      <a:pt x="519" y="333"/>
                      <a:pt x="519" y="333"/>
                      <a:pt x="519" y="333"/>
                    </a:cubicBezTo>
                    <a:cubicBezTo>
                      <a:pt x="517" y="335"/>
                      <a:pt x="517" y="335"/>
                      <a:pt x="517" y="335"/>
                    </a:cubicBezTo>
                    <a:cubicBezTo>
                      <a:pt x="516" y="337"/>
                      <a:pt x="516" y="337"/>
                      <a:pt x="516" y="337"/>
                    </a:cubicBezTo>
                    <a:cubicBezTo>
                      <a:pt x="516" y="334"/>
                      <a:pt x="516" y="334"/>
                      <a:pt x="516" y="334"/>
                    </a:cubicBezTo>
                    <a:cubicBezTo>
                      <a:pt x="518" y="332"/>
                      <a:pt x="518" y="332"/>
                      <a:pt x="518" y="332"/>
                    </a:cubicBezTo>
                    <a:cubicBezTo>
                      <a:pt x="520" y="332"/>
                      <a:pt x="520" y="332"/>
                      <a:pt x="520" y="332"/>
                    </a:cubicBezTo>
                    <a:cubicBezTo>
                      <a:pt x="521" y="332"/>
                      <a:pt x="521" y="332"/>
                      <a:pt x="521" y="332"/>
                    </a:cubicBezTo>
                    <a:cubicBezTo>
                      <a:pt x="523" y="333"/>
                      <a:pt x="523" y="333"/>
                      <a:pt x="523" y="333"/>
                    </a:cubicBezTo>
                    <a:cubicBezTo>
                      <a:pt x="525" y="332"/>
                      <a:pt x="525" y="332"/>
                      <a:pt x="525" y="332"/>
                    </a:cubicBezTo>
                    <a:cubicBezTo>
                      <a:pt x="525" y="330"/>
                      <a:pt x="525" y="330"/>
                      <a:pt x="525" y="330"/>
                    </a:cubicBezTo>
                    <a:cubicBezTo>
                      <a:pt x="526" y="329"/>
                      <a:pt x="526" y="329"/>
                      <a:pt x="526" y="329"/>
                    </a:cubicBezTo>
                    <a:cubicBezTo>
                      <a:pt x="527" y="329"/>
                      <a:pt x="527" y="329"/>
                      <a:pt x="527" y="329"/>
                    </a:cubicBezTo>
                    <a:cubicBezTo>
                      <a:pt x="530" y="327"/>
                      <a:pt x="530" y="327"/>
                      <a:pt x="530" y="327"/>
                    </a:cubicBezTo>
                    <a:cubicBezTo>
                      <a:pt x="532" y="326"/>
                      <a:pt x="532" y="326"/>
                      <a:pt x="532" y="326"/>
                    </a:cubicBezTo>
                    <a:cubicBezTo>
                      <a:pt x="532" y="325"/>
                      <a:pt x="532" y="325"/>
                      <a:pt x="532" y="325"/>
                    </a:cubicBezTo>
                    <a:cubicBezTo>
                      <a:pt x="530" y="321"/>
                      <a:pt x="530" y="321"/>
                      <a:pt x="530" y="321"/>
                    </a:cubicBezTo>
                    <a:cubicBezTo>
                      <a:pt x="525" y="318"/>
                      <a:pt x="525" y="318"/>
                      <a:pt x="525" y="318"/>
                    </a:cubicBezTo>
                    <a:cubicBezTo>
                      <a:pt x="522" y="316"/>
                      <a:pt x="522" y="316"/>
                      <a:pt x="522" y="316"/>
                    </a:cubicBezTo>
                    <a:cubicBezTo>
                      <a:pt x="518" y="312"/>
                      <a:pt x="518" y="312"/>
                      <a:pt x="518" y="312"/>
                    </a:cubicBezTo>
                    <a:cubicBezTo>
                      <a:pt x="516" y="312"/>
                      <a:pt x="516" y="312"/>
                      <a:pt x="516" y="312"/>
                    </a:cubicBezTo>
                    <a:cubicBezTo>
                      <a:pt x="513" y="314"/>
                      <a:pt x="513" y="314"/>
                      <a:pt x="513" y="314"/>
                    </a:cubicBezTo>
                    <a:cubicBezTo>
                      <a:pt x="511" y="314"/>
                      <a:pt x="511" y="314"/>
                      <a:pt x="511" y="314"/>
                    </a:cubicBezTo>
                    <a:cubicBezTo>
                      <a:pt x="509" y="312"/>
                      <a:pt x="509" y="312"/>
                      <a:pt x="509" y="312"/>
                    </a:cubicBezTo>
                    <a:cubicBezTo>
                      <a:pt x="509" y="311"/>
                      <a:pt x="509" y="311"/>
                      <a:pt x="509" y="311"/>
                    </a:cubicBezTo>
                    <a:cubicBezTo>
                      <a:pt x="508" y="310"/>
                      <a:pt x="508" y="310"/>
                      <a:pt x="508" y="310"/>
                    </a:cubicBezTo>
                    <a:cubicBezTo>
                      <a:pt x="505" y="311"/>
                      <a:pt x="505" y="311"/>
                      <a:pt x="505" y="311"/>
                    </a:cubicBezTo>
                    <a:cubicBezTo>
                      <a:pt x="503" y="311"/>
                      <a:pt x="503" y="311"/>
                      <a:pt x="503" y="311"/>
                    </a:cubicBezTo>
                    <a:cubicBezTo>
                      <a:pt x="501" y="312"/>
                      <a:pt x="501" y="312"/>
                      <a:pt x="501" y="312"/>
                    </a:cubicBezTo>
                    <a:cubicBezTo>
                      <a:pt x="498" y="315"/>
                      <a:pt x="498" y="315"/>
                      <a:pt x="498" y="315"/>
                    </a:cubicBezTo>
                    <a:cubicBezTo>
                      <a:pt x="500" y="310"/>
                      <a:pt x="500" y="310"/>
                      <a:pt x="500" y="310"/>
                    </a:cubicBezTo>
                    <a:cubicBezTo>
                      <a:pt x="502" y="310"/>
                      <a:pt x="502" y="310"/>
                      <a:pt x="502" y="310"/>
                    </a:cubicBezTo>
                    <a:cubicBezTo>
                      <a:pt x="503" y="310"/>
                      <a:pt x="503" y="310"/>
                      <a:pt x="503" y="310"/>
                    </a:cubicBezTo>
                    <a:cubicBezTo>
                      <a:pt x="505" y="310"/>
                      <a:pt x="505" y="310"/>
                      <a:pt x="505" y="310"/>
                    </a:cubicBezTo>
                    <a:cubicBezTo>
                      <a:pt x="505" y="309"/>
                      <a:pt x="505" y="309"/>
                      <a:pt x="505" y="309"/>
                    </a:cubicBezTo>
                    <a:cubicBezTo>
                      <a:pt x="507" y="310"/>
                      <a:pt x="507" y="310"/>
                      <a:pt x="507" y="310"/>
                    </a:cubicBezTo>
                    <a:cubicBezTo>
                      <a:pt x="509" y="309"/>
                      <a:pt x="509" y="309"/>
                      <a:pt x="509" y="309"/>
                    </a:cubicBezTo>
                    <a:cubicBezTo>
                      <a:pt x="510" y="312"/>
                      <a:pt x="510" y="312"/>
                      <a:pt x="510" y="312"/>
                    </a:cubicBezTo>
                    <a:cubicBezTo>
                      <a:pt x="512" y="313"/>
                      <a:pt x="512" y="313"/>
                      <a:pt x="512" y="313"/>
                    </a:cubicBezTo>
                    <a:cubicBezTo>
                      <a:pt x="513" y="313"/>
                      <a:pt x="513" y="313"/>
                      <a:pt x="513" y="313"/>
                    </a:cubicBezTo>
                    <a:cubicBezTo>
                      <a:pt x="515" y="311"/>
                      <a:pt x="515" y="311"/>
                      <a:pt x="515" y="311"/>
                    </a:cubicBezTo>
                    <a:cubicBezTo>
                      <a:pt x="518" y="312"/>
                      <a:pt x="518" y="312"/>
                      <a:pt x="518" y="312"/>
                    </a:cubicBezTo>
                    <a:cubicBezTo>
                      <a:pt x="520" y="313"/>
                      <a:pt x="520" y="313"/>
                      <a:pt x="520" y="313"/>
                    </a:cubicBezTo>
                    <a:cubicBezTo>
                      <a:pt x="521" y="313"/>
                      <a:pt x="521" y="313"/>
                      <a:pt x="521" y="313"/>
                    </a:cubicBezTo>
                    <a:cubicBezTo>
                      <a:pt x="523" y="315"/>
                      <a:pt x="523" y="315"/>
                      <a:pt x="523" y="315"/>
                    </a:cubicBezTo>
                    <a:cubicBezTo>
                      <a:pt x="526" y="314"/>
                      <a:pt x="526" y="314"/>
                      <a:pt x="526" y="314"/>
                    </a:cubicBezTo>
                    <a:cubicBezTo>
                      <a:pt x="530" y="315"/>
                      <a:pt x="530" y="315"/>
                      <a:pt x="530" y="315"/>
                    </a:cubicBezTo>
                    <a:cubicBezTo>
                      <a:pt x="531" y="314"/>
                      <a:pt x="531" y="314"/>
                      <a:pt x="531" y="314"/>
                    </a:cubicBezTo>
                    <a:cubicBezTo>
                      <a:pt x="530" y="312"/>
                      <a:pt x="530" y="312"/>
                      <a:pt x="530" y="312"/>
                    </a:cubicBezTo>
                    <a:cubicBezTo>
                      <a:pt x="528" y="311"/>
                      <a:pt x="528" y="311"/>
                      <a:pt x="528" y="311"/>
                    </a:cubicBezTo>
                    <a:cubicBezTo>
                      <a:pt x="526" y="308"/>
                      <a:pt x="526" y="308"/>
                      <a:pt x="526" y="308"/>
                    </a:cubicBezTo>
                    <a:cubicBezTo>
                      <a:pt x="526" y="307"/>
                      <a:pt x="526" y="307"/>
                      <a:pt x="526" y="307"/>
                    </a:cubicBezTo>
                    <a:cubicBezTo>
                      <a:pt x="525" y="307"/>
                      <a:pt x="525" y="307"/>
                      <a:pt x="525" y="307"/>
                    </a:cubicBezTo>
                    <a:cubicBezTo>
                      <a:pt x="523" y="307"/>
                      <a:pt x="523" y="307"/>
                      <a:pt x="523" y="307"/>
                    </a:cubicBezTo>
                    <a:cubicBezTo>
                      <a:pt x="521" y="306"/>
                      <a:pt x="521" y="306"/>
                      <a:pt x="521" y="306"/>
                    </a:cubicBezTo>
                    <a:cubicBezTo>
                      <a:pt x="519" y="302"/>
                      <a:pt x="519" y="302"/>
                      <a:pt x="519" y="302"/>
                    </a:cubicBezTo>
                    <a:cubicBezTo>
                      <a:pt x="519" y="299"/>
                      <a:pt x="519" y="299"/>
                      <a:pt x="519" y="299"/>
                    </a:cubicBezTo>
                    <a:cubicBezTo>
                      <a:pt x="515" y="297"/>
                      <a:pt x="515" y="297"/>
                      <a:pt x="515" y="297"/>
                    </a:cubicBezTo>
                    <a:cubicBezTo>
                      <a:pt x="515" y="294"/>
                      <a:pt x="515" y="294"/>
                      <a:pt x="515" y="294"/>
                    </a:cubicBezTo>
                    <a:cubicBezTo>
                      <a:pt x="513" y="293"/>
                      <a:pt x="513" y="293"/>
                      <a:pt x="513" y="293"/>
                    </a:cubicBezTo>
                    <a:cubicBezTo>
                      <a:pt x="514" y="291"/>
                      <a:pt x="514" y="291"/>
                      <a:pt x="514" y="291"/>
                    </a:cubicBezTo>
                    <a:cubicBezTo>
                      <a:pt x="513" y="290"/>
                      <a:pt x="513" y="290"/>
                      <a:pt x="513" y="290"/>
                    </a:cubicBezTo>
                    <a:cubicBezTo>
                      <a:pt x="510" y="284"/>
                      <a:pt x="510" y="284"/>
                      <a:pt x="510" y="284"/>
                    </a:cubicBezTo>
                    <a:cubicBezTo>
                      <a:pt x="505" y="282"/>
                      <a:pt x="505" y="282"/>
                      <a:pt x="505" y="282"/>
                    </a:cubicBezTo>
                    <a:cubicBezTo>
                      <a:pt x="504" y="282"/>
                      <a:pt x="504" y="282"/>
                      <a:pt x="504" y="282"/>
                    </a:cubicBezTo>
                    <a:cubicBezTo>
                      <a:pt x="504" y="281"/>
                      <a:pt x="504" y="281"/>
                      <a:pt x="504" y="281"/>
                    </a:cubicBezTo>
                    <a:cubicBezTo>
                      <a:pt x="499" y="279"/>
                      <a:pt x="499" y="279"/>
                      <a:pt x="499" y="279"/>
                    </a:cubicBezTo>
                    <a:cubicBezTo>
                      <a:pt x="498" y="279"/>
                      <a:pt x="498" y="279"/>
                      <a:pt x="498" y="279"/>
                    </a:cubicBezTo>
                    <a:cubicBezTo>
                      <a:pt x="498" y="274"/>
                      <a:pt x="498" y="274"/>
                      <a:pt x="498" y="274"/>
                    </a:cubicBezTo>
                    <a:cubicBezTo>
                      <a:pt x="499" y="270"/>
                      <a:pt x="499" y="270"/>
                      <a:pt x="499" y="270"/>
                    </a:cubicBezTo>
                    <a:cubicBezTo>
                      <a:pt x="498" y="268"/>
                      <a:pt x="498" y="268"/>
                      <a:pt x="498" y="268"/>
                    </a:cubicBezTo>
                    <a:cubicBezTo>
                      <a:pt x="498" y="265"/>
                      <a:pt x="498" y="265"/>
                      <a:pt x="498" y="265"/>
                    </a:cubicBezTo>
                    <a:cubicBezTo>
                      <a:pt x="499" y="266"/>
                      <a:pt x="499" y="266"/>
                      <a:pt x="499" y="266"/>
                    </a:cubicBezTo>
                    <a:cubicBezTo>
                      <a:pt x="500" y="265"/>
                      <a:pt x="500" y="265"/>
                      <a:pt x="500" y="265"/>
                    </a:cubicBezTo>
                    <a:cubicBezTo>
                      <a:pt x="502" y="262"/>
                      <a:pt x="502" y="262"/>
                      <a:pt x="502" y="262"/>
                    </a:cubicBezTo>
                    <a:cubicBezTo>
                      <a:pt x="503" y="263"/>
                      <a:pt x="503" y="263"/>
                      <a:pt x="503" y="263"/>
                    </a:cubicBezTo>
                    <a:cubicBezTo>
                      <a:pt x="505" y="261"/>
                      <a:pt x="505" y="261"/>
                      <a:pt x="505" y="261"/>
                    </a:cubicBezTo>
                    <a:cubicBezTo>
                      <a:pt x="503" y="260"/>
                      <a:pt x="503" y="260"/>
                      <a:pt x="503" y="260"/>
                    </a:cubicBezTo>
                    <a:cubicBezTo>
                      <a:pt x="502" y="258"/>
                      <a:pt x="502" y="258"/>
                      <a:pt x="502" y="258"/>
                    </a:cubicBezTo>
                    <a:cubicBezTo>
                      <a:pt x="504" y="257"/>
                      <a:pt x="504" y="257"/>
                      <a:pt x="504" y="257"/>
                    </a:cubicBezTo>
                    <a:cubicBezTo>
                      <a:pt x="507" y="257"/>
                      <a:pt x="507" y="257"/>
                      <a:pt x="507" y="257"/>
                    </a:cubicBezTo>
                    <a:cubicBezTo>
                      <a:pt x="507" y="255"/>
                      <a:pt x="507" y="255"/>
                      <a:pt x="507" y="255"/>
                    </a:cubicBezTo>
                    <a:cubicBezTo>
                      <a:pt x="509" y="254"/>
                      <a:pt x="509" y="254"/>
                      <a:pt x="509" y="254"/>
                    </a:cubicBezTo>
                    <a:cubicBezTo>
                      <a:pt x="509" y="253"/>
                      <a:pt x="509" y="253"/>
                      <a:pt x="509" y="253"/>
                    </a:cubicBezTo>
                    <a:cubicBezTo>
                      <a:pt x="507" y="251"/>
                      <a:pt x="507" y="251"/>
                      <a:pt x="507" y="251"/>
                    </a:cubicBezTo>
                    <a:cubicBezTo>
                      <a:pt x="509" y="251"/>
                      <a:pt x="509" y="251"/>
                      <a:pt x="509" y="251"/>
                    </a:cubicBezTo>
                    <a:cubicBezTo>
                      <a:pt x="510" y="252"/>
                      <a:pt x="510" y="252"/>
                      <a:pt x="510" y="252"/>
                    </a:cubicBezTo>
                    <a:cubicBezTo>
                      <a:pt x="511" y="251"/>
                      <a:pt x="511" y="251"/>
                      <a:pt x="511" y="251"/>
                    </a:cubicBezTo>
                    <a:cubicBezTo>
                      <a:pt x="513" y="251"/>
                      <a:pt x="513" y="251"/>
                      <a:pt x="513" y="251"/>
                    </a:cubicBezTo>
                    <a:cubicBezTo>
                      <a:pt x="514" y="250"/>
                      <a:pt x="514" y="250"/>
                      <a:pt x="514" y="250"/>
                    </a:cubicBezTo>
                    <a:cubicBezTo>
                      <a:pt x="516" y="250"/>
                      <a:pt x="516" y="250"/>
                      <a:pt x="516" y="250"/>
                    </a:cubicBezTo>
                    <a:cubicBezTo>
                      <a:pt x="518" y="247"/>
                      <a:pt x="518" y="247"/>
                      <a:pt x="518" y="247"/>
                    </a:cubicBezTo>
                    <a:cubicBezTo>
                      <a:pt x="518" y="248"/>
                      <a:pt x="518" y="248"/>
                      <a:pt x="518" y="248"/>
                    </a:cubicBezTo>
                    <a:cubicBezTo>
                      <a:pt x="519" y="247"/>
                      <a:pt x="519" y="247"/>
                      <a:pt x="519" y="247"/>
                    </a:cubicBezTo>
                    <a:cubicBezTo>
                      <a:pt x="519" y="248"/>
                      <a:pt x="519" y="248"/>
                      <a:pt x="519" y="248"/>
                    </a:cubicBezTo>
                    <a:cubicBezTo>
                      <a:pt x="522" y="250"/>
                      <a:pt x="522" y="250"/>
                      <a:pt x="522" y="250"/>
                    </a:cubicBezTo>
                    <a:cubicBezTo>
                      <a:pt x="524" y="248"/>
                      <a:pt x="524" y="248"/>
                      <a:pt x="524" y="248"/>
                    </a:cubicBezTo>
                    <a:cubicBezTo>
                      <a:pt x="524" y="247"/>
                      <a:pt x="524" y="247"/>
                      <a:pt x="524" y="247"/>
                    </a:cubicBezTo>
                    <a:cubicBezTo>
                      <a:pt x="523" y="246"/>
                      <a:pt x="523" y="246"/>
                      <a:pt x="523" y="246"/>
                    </a:cubicBezTo>
                    <a:cubicBezTo>
                      <a:pt x="522" y="244"/>
                      <a:pt x="522" y="244"/>
                      <a:pt x="522" y="244"/>
                    </a:cubicBezTo>
                    <a:cubicBezTo>
                      <a:pt x="524" y="244"/>
                      <a:pt x="524" y="244"/>
                      <a:pt x="524" y="244"/>
                    </a:cubicBezTo>
                    <a:cubicBezTo>
                      <a:pt x="525" y="244"/>
                      <a:pt x="525" y="244"/>
                      <a:pt x="525" y="244"/>
                    </a:cubicBezTo>
                    <a:cubicBezTo>
                      <a:pt x="523" y="241"/>
                      <a:pt x="523" y="241"/>
                      <a:pt x="523" y="241"/>
                    </a:cubicBezTo>
                    <a:cubicBezTo>
                      <a:pt x="523" y="240"/>
                      <a:pt x="523" y="240"/>
                      <a:pt x="523" y="240"/>
                    </a:cubicBezTo>
                    <a:cubicBezTo>
                      <a:pt x="525" y="239"/>
                      <a:pt x="525" y="239"/>
                      <a:pt x="525" y="239"/>
                    </a:cubicBezTo>
                    <a:cubicBezTo>
                      <a:pt x="524" y="239"/>
                      <a:pt x="524" y="239"/>
                      <a:pt x="524" y="239"/>
                    </a:cubicBezTo>
                    <a:cubicBezTo>
                      <a:pt x="522" y="239"/>
                      <a:pt x="522" y="239"/>
                      <a:pt x="522" y="239"/>
                    </a:cubicBezTo>
                    <a:cubicBezTo>
                      <a:pt x="519" y="239"/>
                      <a:pt x="519" y="239"/>
                      <a:pt x="519" y="239"/>
                    </a:cubicBezTo>
                    <a:cubicBezTo>
                      <a:pt x="519" y="239"/>
                      <a:pt x="519" y="239"/>
                      <a:pt x="519" y="239"/>
                    </a:cubicBezTo>
                    <a:cubicBezTo>
                      <a:pt x="517" y="239"/>
                      <a:pt x="517" y="239"/>
                      <a:pt x="517" y="239"/>
                    </a:cubicBezTo>
                    <a:cubicBezTo>
                      <a:pt x="516" y="240"/>
                      <a:pt x="516" y="240"/>
                      <a:pt x="516" y="240"/>
                    </a:cubicBezTo>
                    <a:cubicBezTo>
                      <a:pt x="510" y="240"/>
                      <a:pt x="510" y="240"/>
                      <a:pt x="510" y="240"/>
                    </a:cubicBezTo>
                    <a:cubicBezTo>
                      <a:pt x="509" y="239"/>
                      <a:pt x="509" y="239"/>
                      <a:pt x="509" y="239"/>
                    </a:cubicBezTo>
                    <a:cubicBezTo>
                      <a:pt x="508" y="238"/>
                      <a:pt x="508" y="238"/>
                      <a:pt x="508" y="238"/>
                    </a:cubicBezTo>
                    <a:cubicBezTo>
                      <a:pt x="507" y="236"/>
                      <a:pt x="507" y="236"/>
                      <a:pt x="507" y="236"/>
                    </a:cubicBezTo>
                    <a:cubicBezTo>
                      <a:pt x="506" y="236"/>
                      <a:pt x="506" y="236"/>
                      <a:pt x="506" y="236"/>
                    </a:cubicBezTo>
                    <a:cubicBezTo>
                      <a:pt x="505" y="235"/>
                      <a:pt x="505" y="235"/>
                      <a:pt x="505" y="235"/>
                    </a:cubicBezTo>
                    <a:cubicBezTo>
                      <a:pt x="501" y="237"/>
                      <a:pt x="501" y="237"/>
                      <a:pt x="501" y="237"/>
                    </a:cubicBezTo>
                    <a:cubicBezTo>
                      <a:pt x="498" y="237"/>
                      <a:pt x="498" y="237"/>
                      <a:pt x="498" y="237"/>
                    </a:cubicBezTo>
                    <a:cubicBezTo>
                      <a:pt x="499" y="238"/>
                      <a:pt x="499" y="238"/>
                      <a:pt x="499" y="238"/>
                    </a:cubicBezTo>
                    <a:cubicBezTo>
                      <a:pt x="499" y="240"/>
                      <a:pt x="499" y="240"/>
                      <a:pt x="499" y="240"/>
                    </a:cubicBezTo>
                    <a:cubicBezTo>
                      <a:pt x="498" y="241"/>
                      <a:pt x="498" y="241"/>
                      <a:pt x="498" y="241"/>
                    </a:cubicBezTo>
                    <a:cubicBezTo>
                      <a:pt x="495" y="242"/>
                      <a:pt x="495" y="242"/>
                      <a:pt x="495" y="242"/>
                    </a:cubicBezTo>
                    <a:cubicBezTo>
                      <a:pt x="496" y="242"/>
                      <a:pt x="496" y="242"/>
                      <a:pt x="496" y="242"/>
                    </a:cubicBezTo>
                    <a:cubicBezTo>
                      <a:pt x="496" y="243"/>
                      <a:pt x="496" y="243"/>
                      <a:pt x="496" y="243"/>
                    </a:cubicBezTo>
                    <a:cubicBezTo>
                      <a:pt x="495" y="245"/>
                      <a:pt x="495" y="245"/>
                      <a:pt x="495" y="245"/>
                    </a:cubicBezTo>
                    <a:cubicBezTo>
                      <a:pt x="495" y="246"/>
                      <a:pt x="495" y="246"/>
                      <a:pt x="495" y="246"/>
                    </a:cubicBezTo>
                    <a:cubicBezTo>
                      <a:pt x="493" y="245"/>
                      <a:pt x="493" y="245"/>
                      <a:pt x="493" y="245"/>
                    </a:cubicBezTo>
                    <a:cubicBezTo>
                      <a:pt x="491" y="247"/>
                      <a:pt x="491" y="247"/>
                      <a:pt x="491" y="247"/>
                    </a:cubicBezTo>
                    <a:cubicBezTo>
                      <a:pt x="488" y="246"/>
                      <a:pt x="488" y="246"/>
                      <a:pt x="488" y="246"/>
                    </a:cubicBezTo>
                    <a:cubicBezTo>
                      <a:pt x="486" y="241"/>
                      <a:pt x="486" y="241"/>
                      <a:pt x="486" y="241"/>
                    </a:cubicBezTo>
                    <a:cubicBezTo>
                      <a:pt x="486" y="239"/>
                      <a:pt x="486" y="239"/>
                      <a:pt x="486" y="239"/>
                    </a:cubicBezTo>
                    <a:cubicBezTo>
                      <a:pt x="485" y="237"/>
                      <a:pt x="485" y="237"/>
                      <a:pt x="485" y="237"/>
                    </a:cubicBezTo>
                    <a:cubicBezTo>
                      <a:pt x="483" y="237"/>
                      <a:pt x="483" y="237"/>
                      <a:pt x="483" y="237"/>
                    </a:cubicBezTo>
                    <a:cubicBezTo>
                      <a:pt x="482" y="237"/>
                      <a:pt x="482" y="237"/>
                      <a:pt x="482" y="237"/>
                    </a:cubicBezTo>
                    <a:cubicBezTo>
                      <a:pt x="481" y="236"/>
                      <a:pt x="481" y="236"/>
                      <a:pt x="481" y="236"/>
                    </a:cubicBezTo>
                    <a:cubicBezTo>
                      <a:pt x="480" y="236"/>
                      <a:pt x="480" y="236"/>
                      <a:pt x="480" y="236"/>
                    </a:cubicBezTo>
                    <a:cubicBezTo>
                      <a:pt x="480" y="238"/>
                      <a:pt x="480" y="238"/>
                      <a:pt x="480" y="238"/>
                    </a:cubicBezTo>
                    <a:cubicBezTo>
                      <a:pt x="479" y="236"/>
                      <a:pt x="479" y="236"/>
                      <a:pt x="479" y="236"/>
                    </a:cubicBezTo>
                    <a:cubicBezTo>
                      <a:pt x="479" y="237"/>
                      <a:pt x="479" y="237"/>
                      <a:pt x="479" y="237"/>
                    </a:cubicBezTo>
                    <a:cubicBezTo>
                      <a:pt x="477" y="235"/>
                      <a:pt x="477" y="235"/>
                      <a:pt x="477" y="235"/>
                    </a:cubicBezTo>
                    <a:cubicBezTo>
                      <a:pt x="477" y="234"/>
                      <a:pt x="477" y="234"/>
                      <a:pt x="477" y="234"/>
                    </a:cubicBezTo>
                    <a:cubicBezTo>
                      <a:pt x="474" y="231"/>
                      <a:pt x="474" y="231"/>
                      <a:pt x="474" y="231"/>
                    </a:cubicBezTo>
                    <a:cubicBezTo>
                      <a:pt x="472" y="230"/>
                      <a:pt x="472" y="230"/>
                      <a:pt x="472" y="230"/>
                    </a:cubicBezTo>
                    <a:cubicBezTo>
                      <a:pt x="472" y="228"/>
                      <a:pt x="472" y="228"/>
                      <a:pt x="472" y="228"/>
                    </a:cubicBezTo>
                    <a:cubicBezTo>
                      <a:pt x="470" y="226"/>
                      <a:pt x="470" y="226"/>
                      <a:pt x="470" y="226"/>
                    </a:cubicBezTo>
                    <a:cubicBezTo>
                      <a:pt x="471" y="225"/>
                      <a:pt x="471" y="225"/>
                      <a:pt x="471" y="225"/>
                    </a:cubicBezTo>
                    <a:cubicBezTo>
                      <a:pt x="471" y="224"/>
                      <a:pt x="471" y="224"/>
                      <a:pt x="471" y="224"/>
                    </a:cubicBezTo>
                    <a:cubicBezTo>
                      <a:pt x="472" y="223"/>
                      <a:pt x="472" y="223"/>
                      <a:pt x="472" y="223"/>
                    </a:cubicBezTo>
                    <a:cubicBezTo>
                      <a:pt x="472" y="221"/>
                      <a:pt x="472" y="221"/>
                      <a:pt x="472" y="221"/>
                    </a:cubicBezTo>
                    <a:cubicBezTo>
                      <a:pt x="473" y="220"/>
                      <a:pt x="473" y="220"/>
                      <a:pt x="473" y="220"/>
                    </a:cubicBezTo>
                    <a:cubicBezTo>
                      <a:pt x="473" y="219"/>
                      <a:pt x="473" y="219"/>
                      <a:pt x="473" y="219"/>
                    </a:cubicBezTo>
                    <a:cubicBezTo>
                      <a:pt x="477" y="220"/>
                      <a:pt x="477" y="220"/>
                      <a:pt x="477" y="220"/>
                    </a:cubicBezTo>
                    <a:cubicBezTo>
                      <a:pt x="480" y="220"/>
                      <a:pt x="480" y="220"/>
                      <a:pt x="480" y="220"/>
                    </a:cubicBezTo>
                    <a:cubicBezTo>
                      <a:pt x="482" y="220"/>
                      <a:pt x="482" y="220"/>
                      <a:pt x="482" y="220"/>
                    </a:cubicBezTo>
                    <a:cubicBezTo>
                      <a:pt x="483" y="218"/>
                      <a:pt x="483" y="218"/>
                      <a:pt x="483" y="218"/>
                    </a:cubicBezTo>
                    <a:cubicBezTo>
                      <a:pt x="483" y="217"/>
                      <a:pt x="483" y="217"/>
                      <a:pt x="483" y="217"/>
                    </a:cubicBezTo>
                    <a:cubicBezTo>
                      <a:pt x="484" y="217"/>
                      <a:pt x="484" y="217"/>
                      <a:pt x="484" y="217"/>
                    </a:cubicBezTo>
                    <a:cubicBezTo>
                      <a:pt x="484" y="215"/>
                      <a:pt x="484" y="215"/>
                      <a:pt x="484" y="215"/>
                    </a:cubicBezTo>
                    <a:cubicBezTo>
                      <a:pt x="483" y="214"/>
                      <a:pt x="483" y="214"/>
                      <a:pt x="483" y="214"/>
                    </a:cubicBezTo>
                    <a:cubicBezTo>
                      <a:pt x="484" y="213"/>
                      <a:pt x="484" y="213"/>
                      <a:pt x="484" y="213"/>
                    </a:cubicBezTo>
                    <a:cubicBezTo>
                      <a:pt x="485" y="208"/>
                      <a:pt x="485" y="208"/>
                      <a:pt x="485" y="208"/>
                    </a:cubicBezTo>
                    <a:cubicBezTo>
                      <a:pt x="489" y="206"/>
                      <a:pt x="489" y="206"/>
                      <a:pt x="489" y="206"/>
                    </a:cubicBezTo>
                    <a:cubicBezTo>
                      <a:pt x="491" y="206"/>
                      <a:pt x="491" y="206"/>
                      <a:pt x="491" y="206"/>
                    </a:cubicBezTo>
                    <a:cubicBezTo>
                      <a:pt x="492" y="203"/>
                      <a:pt x="492" y="203"/>
                      <a:pt x="492" y="203"/>
                    </a:cubicBezTo>
                    <a:cubicBezTo>
                      <a:pt x="493" y="203"/>
                      <a:pt x="493" y="203"/>
                      <a:pt x="493" y="203"/>
                    </a:cubicBezTo>
                    <a:cubicBezTo>
                      <a:pt x="493" y="199"/>
                      <a:pt x="493" y="199"/>
                      <a:pt x="493" y="199"/>
                    </a:cubicBezTo>
                    <a:cubicBezTo>
                      <a:pt x="495" y="197"/>
                      <a:pt x="495" y="197"/>
                      <a:pt x="495" y="197"/>
                    </a:cubicBezTo>
                    <a:cubicBezTo>
                      <a:pt x="496" y="195"/>
                      <a:pt x="496" y="195"/>
                      <a:pt x="496" y="195"/>
                    </a:cubicBezTo>
                    <a:cubicBezTo>
                      <a:pt x="496" y="194"/>
                      <a:pt x="496" y="194"/>
                      <a:pt x="496" y="194"/>
                    </a:cubicBezTo>
                    <a:cubicBezTo>
                      <a:pt x="498" y="192"/>
                      <a:pt x="498" y="192"/>
                      <a:pt x="498" y="192"/>
                    </a:cubicBezTo>
                    <a:cubicBezTo>
                      <a:pt x="500" y="192"/>
                      <a:pt x="500" y="192"/>
                      <a:pt x="500" y="192"/>
                    </a:cubicBezTo>
                    <a:cubicBezTo>
                      <a:pt x="501" y="192"/>
                      <a:pt x="501" y="192"/>
                      <a:pt x="501" y="192"/>
                    </a:cubicBezTo>
                    <a:cubicBezTo>
                      <a:pt x="502" y="192"/>
                      <a:pt x="502" y="192"/>
                      <a:pt x="502" y="192"/>
                    </a:cubicBezTo>
                    <a:cubicBezTo>
                      <a:pt x="503" y="191"/>
                      <a:pt x="503" y="191"/>
                      <a:pt x="503" y="191"/>
                    </a:cubicBezTo>
                    <a:cubicBezTo>
                      <a:pt x="506" y="194"/>
                      <a:pt x="506" y="194"/>
                      <a:pt x="506" y="194"/>
                    </a:cubicBezTo>
                    <a:cubicBezTo>
                      <a:pt x="510" y="197"/>
                      <a:pt x="510" y="197"/>
                      <a:pt x="510" y="197"/>
                    </a:cubicBezTo>
                    <a:cubicBezTo>
                      <a:pt x="511" y="198"/>
                      <a:pt x="511" y="198"/>
                      <a:pt x="511" y="198"/>
                    </a:cubicBezTo>
                    <a:cubicBezTo>
                      <a:pt x="510" y="199"/>
                      <a:pt x="510" y="199"/>
                      <a:pt x="510" y="199"/>
                    </a:cubicBezTo>
                    <a:cubicBezTo>
                      <a:pt x="509" y="200"/>
                      <a:pt x="509" y="200"/>
                      <a:pt x="509" y="200"/>
                    </a:cubicBezTo>
                    <a:cubicBezTo>
                      <a:pt x="507" y="203"/>
                      <a:pt x="507" y="203"/>
                      <a:pt x="507" y="203"/>
                    </a:cubicBezTo>
                    <a:cubicBezTo>
                      <a:pt x="507" y="206"/>
                      <a:pt x="507" y="206"/>
                      <a:pt x="507" y="206"/>
                    </a:cubicBezTo>
                    <a:cubicBezTo>
                      <a:pt x="505" y="206"/>
                      <a:pt x="505" y="206"/>
                      <a:pt x="505" y="206"/>
                    </a:cubicBezTo>
                    <a:cubicBezTo>
                      <a:pt x="505" y="206"/>
                      <a:pt x="505" y="206"/>
                      <a:pt x="505" y="206"/>
                    </a:cubicBezTo>
                    <a:cubicBezTo>
                      <a:pt x="505" y="209"/>
                      <a:pt x="505" y="209"/>
                      <a:pt x="505" y="209"/>
                    </a:cubicBezTo>
                    <a:cubicBezTo>
                      <a:pt x="507" y="211"/>
                      <a:pt x="507" y="211"/>
                      <a:pt x="507" y="211"/>
                    </a:cubicBezTo>
                    <a:cubicBezTo>
                      <a:pt x="507" y="213"/>
                      <a:pt x="507" y="213"/>
                      <a:pt x="507" y="213"/>
                    </a:cubicBezTo>
                    <a:cubicBezTo>
                      <a:pt x="506" y="213"/>
                      <a:pt x="506" y="213"/>
                      <a:pt x="506" y="213"/>
                    </a:cubicBezTo>
                    <a:cubicBezTo>
                      <a:pt x="506" y="214"/>
                      <a:pt x="506" y="214"/>
                      <a:pt x="506" y="214"/>
                    </a:cubicBezTo>
                    <a:cubicBezTo>
                      <a:pt x="507" y="215"/>
                      <a:pt x="507" y="215"/>
                      <a:pt x="507" y="215"/>
                    </a:cubicBezTo>
                    <a:cubicBezTo>
                      <a:pt x="509" y="214"/>
                      <a:pt x="509" y="214"/>
                      <a:pt x="509" y="214"/>
                    </a:cubicBezTo>
                    <a:cubicBezTo>
                      <a:pt x="511" y="213"/>
                      <a:pt x="511" y="213"/>
                      <a:pt x="511" y="213"/>
                    </a:cubicBezTo>
                    <a:cubicBezTo>
                      <a:pt x="510" y="214"/>
                      <a:pt x="510" y="214"/>
                      <a:pt x="510" y="214"/>
                    </a:cubicBezTo>
                    <a:cubicBezTo>
                      <a:pt x="508" y="216"/>
                      <a:pt x="508" y="216"/>
                      <a:pt x="508" y="216"/>
                    </a:cubicBezTo>
                    <a:cubicBezTo>
                      <a:pt x="509" y="217"/>
                      <a:pt x="509" y="217"/>
                      <a:pt x="509" y="217"/>
                    </a:cubicBezTo>
                    <a:cubicBezTo>
                      <a:pt x="510" y="217"/>
                      <a:pt x="510" y="217"/>
                      <a:pt x="510" y="217"/>
                    </a:cubicBezTo>
                    <a:cubicBezTo>
                      <a:pt x="510" y="218"/>
                      <a:pt x="510" y="218"/>
                      <a:pt x="510" y="218"/>
                    </a:cubicBezTo>
                    <a:cubicBezTo>
                      <a:pt x="509" y="219"/>
                      <a:pt x="509" y="219"/>
                      <a:pt x="509" y="219"/>
                    </a:cubicBezTo>
                    <a:cubicBezTo>
                      <a:pt x="507" y="218"/>
                      <a:pt x="507" y="218"/>
                      <a:pt x="507" y="218"/>
                    </a:cubicBezTo>
                    <a:cubicBezTo>
                      <a:pt x="506" y="220"/>
                      <a:pt x="506" y="220"/>
                      <a:pt x="506" y="220"/>
                    </a:cubicBezTo>
                    <a:cubicBezTo>
                      <a:pt x="504" y="220"/>
                      <a:pt x="504" y="220"/>
                      <a:pt x="504" y="220"/>
                    </a:cubicBezTo>
                    <a:cubicBezTo>
                      <a:pt x="503" y="221"/>
                      <a:pt x="503" y="221"/>
                      <a:pt x="503" y="221"/>
                    </a:cubicBezTo>
                    <a:cubicBezTo>
                      <a:pt x="505" y="222"/>
                      <a:pt x="505" y="222"/>
                      <a:pt x="505" y="222"/>
                    </a:cubicBezTo>
                    <a:cubicBezTo>
                      <a:pt x="505" y="224"/>
                      <a:pt x="505" y="224"/>
                      <a:pt x="505" y="224"/>
                    </a:cubicBezTo>
                    <a:cubicBezTo>
                      <a:pt x="506" y="224"/>
                      <a:pt x="506" y="224"/>
                      <a:pt x="506" y="224"/>
                    </a:cubicBezTo>
                    <a:cubicBezTo>
                      <a:pt x="507" y="222"/>
                      <a:pt x="507" y="222"/>
                      <a:pt x="507" y="222"/>
                    </a:cubicBezTo>
                    <a:cubicBezTo>
                      <a:pt x="509" y="222"/>
                      <a:pt x="509" y="222"/>
                      <a:pt x="509" y="222"/>
                    </a:cubicBezTo>
                    <a:cubicBezTo>
                      <a:pt x="510" y="220"/>
                      <a:pt x="510" y="220"/>
                      <a:pt x="510" y="220"/>
                    </a:cubicBezTo>
                    <a:cubicBezTo>
                      <a:pt x="513" y="219"/>
                      <a:pt x="513" y="219"/>
                      <a:pt x="513" y="219"/>
                    </a:cubicBezTo>
                    <a:cubicBezTo>
                      <a:pt x="513" y="218"/>
                      <a:pt x="513" y="218"/>
                      <a:pt x="513" y="218"/>
                    </a:cubicBezTo>
                    <a:cubicBezTo>
                      <a:pt x="512" y="216"/>
                      <a:pt x="512" y="216"/>
                      <a:pt x="512" y="216"/>
                    </a:cubicBezTo>
                    <a:cubicBezTo>
                      <a:pt x="515" y="214"/>
                      <a:pt x="515" y="214"/>
                      <a:pt x="515" y="214"/>
                    </a:cubicBezTo>
                    <a:cubicBezTo>
                      <a:pt x="519" y="211"/>
                      <a:pt x="519" y="211"/>
                      <a:pt x="519" y="211"/>
                    </a:cubicBezTo>
                    <a:cubicBezTo>
                      <a:pt x="520" y="211"/>
                      <a:pt x="520" y="211"/>
                      <a:pt x="520" y="211"/>
                    </a:cubicBezTo>
                    <a:cubicBezTo>
                      <a:pt x="521" y="209"/>
                      <a:pt x="521" y="209"/>
                      <a:pt x="521" y="209"/>
                    </a:cubicBezTo>
                    <a:cubicBezTo>
                      <a:pt x="523" y="209"/>
                      <a:pt x="523" y="209"/>
                      <a:pt x="523" y="209"/>
                    </a:cubicBezTo>
                    <a:cubicBezTo>
                      <a:pt x="525" y="207"/>
                      <a:pt x="525" y="207"/>
                      <a:pt x="525" y="207"/>
                    </a:cubicBezTo>
                    <a:cubicBezTo>
                      <a:pt x="526" y="208"/>
                      <a:pt x="526" y="208"/>
                      <a:pt x="526" y="208"/>
                    </a:cubicBezTo>
                    <a:cubicBezTo>
                      <a:pt x="527" y="207"/>
                      <a:pt x="527" y="207"/>
                      <a:pt x="527" y="207"/>
                    </a:cubicBezTo>
                    <a:cubicBezTo>
                      <a:pt x="530" y="207"/>
                      <a:pt x="530" y="207"/>
                      <a:pt x="530" y="207"/>
                    </a:cubicBezTo>
                    <a:cubicBezTo>
                      <a:pt x="532" y="204"/>
                      <a:pt x="532" y="204"/>
                      <a:pt x="532" y="204"/>
                    </a:cubicBezTo>
                    <a:cubicBezTo>
                      <a:pt x="533" y="206"/>
                      <a:pt x="533" y="206"/>
                      <a:pt x="533" y="206"/>
                    </a:cubicBezTo>
                    <a:cubicBezTo>
                      <a:pt x="533" y="200"/>
                      <a:pt x="533" y="200"/>
                      <a:pt x="533" y="200"/>
                    </a:cubicBezTo>
                    <a:cubicBezTo>
                      <a:pt x="536" y="198"/>
                      <a:pt x="536" y="198"/>
                      <a:pt x="536" y="198"/>
                    </a:cubicBezTo>
                    <a:cubicBezTo>
                      <a:pt x="537" y="195"/>
                      <a:pt x="537" y="195"/>
                      <a:pt x="537" y="195"/>
                    </a:cubicBezTo>
                    <a:cubicBezTo>
                      <a:pt x="537" y="194"/>
                      <a:pt x="537" y="194"/>
                      <a:pt x="537" y="194"/>
                    </a:cubicBezTo>
                    <a:cubicBezTo>
                      <a:pt x="539" y="192"/>
                      <a:pt x="539" y="192"/>
                      <a:pt x="539" y="192"/>
                    </a:cubicBezTo>
                    <a:cubicBezTo>
                      <a:pt x="541" y="189"/>
                      <a:pt x="541" y="189"/>
                      <a:pt x="541" y="189"/>
                    </a:cubicBezTo>
                    <a:cubicBezTo>
                      <a:pt x="543" y="188"/>
                      <a:pt x="543" y="188"/>
                      <a:pt x="543" y="188"/>
                    </a:cubicBezTo>
                    <a:cubicBezTo>
                      <a:pt x="544" y="183"/>
                      <a:pt x="544" y="183"/>
                      <a:pt x="544" y="183"/>
                    </a:cubicBezTo>
                    <a:cubicBezTo>
                      <a:pt x="545" y="181"/>
                      <a:pt x="545" y="181"/>
                      <a:pt x="545" y="181"/>
                    </a:cubicBezTo>
                    <a:cubicBezTo>
                      <a:pt x="545" y="180"/>
                      <a:pt x="545" y="180"/>
                      <a:pt x="545" y="180"/>
                    </a:cubicBezTo>
                    <a:cubicBezTo>
                      <a:pt x="545" y="177"/>
                      <a:pt x="545" y="177"/>
                      <a:pt x="545" y="177"/>
                    </a:cubicBezTo>
                    <a:cubicBezTo>
                      <a:pt x="547" y="175"/>
                      <a:pt x="547" y="175"/>
                      <a:pt x="547" y="175"/>
                    </a:cubicBezTo>
                    <a:cubicBezTo>
                      <a:pt x="549" y="178"/>
                      <a:pt x="549" y="178"/>
                      <a:pt x="549" y="178"/>
                    </a:cubicBezTo>
                    <a:cubicBezTo>
                      <a:pt x="550" y="178"/>
                      <a:pt x="550" y="178"/>
                      <a:pt x="550" y="178"/>
                    </a:cubicBezTo>
                    <a:cubicBezTo>
                      <a:pt x="552" y="180"/>
                      <a:pt x="552" y="180"/>
                      <a:pt x="552" y="180"/>
                    </a:cubicBezTo>
                    <a:cubicBezTo>
                      <a:pt x="553" y="179"/>
                      <a:pt x="553" y="179"/>
                      <a:pt x="553" y="179"/>
                    </a:cubicBezTo>
                    <a:cubicBezTo>
                      <a:pt x="555" y="180"/>
                      <a:pt x="555" y="180"/>
                      <a:pt x="555" y="180"/>
                    </a:cubicBezTo>
                    <a:cubicBezTo>
                      <a:pt x="559" y="179"/>
                      <a:pt x="559" y="179"/>
                      <a:pt x="559" y="179"/>
                    </a:cubicBezTo>
                    <a:cubicBezTo>
                      <a:pt x="562" y="180"/>
                      <a:pt x="562" y="180"/>
                      <a:pt x="562" y="180"/>
                    </a:cubicBezTo>
                    <a:cubicBezTo>
                      <a:pt x="563" y="177"/>
                      <a:pt x="563" y="177"/>
                      <a:pt x="563" y="177"/>
                    </a:cubicBezTo>
                    <a:cubicBezTo>
                      <a:pt x="563" y="176"/>
                      <a:pt x="563" y="176"/>
                      <a:pt x="563" y="176"/>
                    </a:cubicBezTo>
                    <a:cubicBezTo>
                      <a:pt x="561" y="174"/>
                      <a:pt x="561" y="174"/>
                      <a:pt x="561" y="174"/>
                    </a:cubicBezTo>
                    <a:cubicBezTo>
                      <a:pt x="559" y="172"/>
                      <a:pt x="559" y="172"/>
                      <a:pt x="559" y="172"/>
                    </a:cubicBezTo>
                    <a:cubicBezTo>
                      <a:pt x="560" y="171"/>
                      <a:pt x="560" y="171"/>
                      <a:pt x="560" y="171"/>
                    </a:cubicBezTo>
                    <a:cubicBezTo>
                      <a:pt x="563" y="171"/>
                      <a:pt x="563" y="171"/>
                      <a:pt x="563" y="171"/>
                    </a:cubicBezTo>
                    <a:cubicBezTo>
                      <a:pt x="566" y="168"/>
                      <a:pt x="566" y="168"/>
                      <a:pt x="566" y="168"/>
                    </a:cubicBezTo>
                    <a:cubicBezTo>
                      <a:pt x="566" y="165"/>
                      <a:pt x="566" y="165"/>
                      <a:pt x="566" y="165"/>
                    </a:cubicBezTo>
                    <a:cubicBezTo>
                      <a:pt x="568" y="163"/>
                      <a:pt x="568" y="163"/>
                      <a:pt x="568" y="163"/>
                    </a:cubicBezTo>
                    <a:cubicBezTo>
                      <a:pt x="570" y="163"/>
                      <a:pt x="570" y="163"/>
                      <a:pt x="570" y="163"/>
                    </a:cubicBezTo>
                    <a:cubicBezTo>
                      <a:pt x="571" y="161"/>
                      <a:pt x="571" y="161"/>
                      <a:pt x="571" y="161"/>
                    </a:cubicBezTo>
                    <a:cubicBezTo>
                      <a:pt x="570" y="160"/>
                      <a:pt x="570" y="160"/>
                      <a:pt x="570" y="160"/>
                    </a:cubicBezTo>
                    <a:cubicBezTo>
                      <a:pt x="570" y="158"/>
                      <a:pt x="570" y="158"/>
                      <a:pt x="570" y="158"/>
                    </a:cubicBezTo>
                    <a:cubicBezTo>
                      <a:pt x="570" y="156"/>
                      <a:pt x="570" y="156"/>
                      <a:pt x="570" y="156"/>
                    </a:cubicBezTo>
                    <a:cubicBezTo>
                      <a:pt x="571" y="155"/>
                      <a:pt x="571" y="155"/>
                      <a:pt x="571" y="155"/>
                    </a:cubicBezTo>
                    <a:cubicBezTo>
                      <a:pt x="573" y="156"/>
                      <a:pt x="573" y="156"/>
                      <a:pt x="573" y="156"/>
                    </a:cubicBezTo>
                    <a:cubicBezTo>
                      <a:pt x="573" y="158"/>
                      <a:pt x="573" y="158"/>
                      <a:pt x="573" y="158"/>
                    </a:cubicBezTo>
                    <a:cubicBezTo>
                      <a:pt x="574" y="159"/>
                      <a:pt x="574" y="159"/>
                      <a:pt x="574" y="159"/>
                    </a:cubicBezTo>
                    <a:cubicBezTo>
                      <a:pt x="577" y="160"/>
                      <a:pt x="577" y="160"/>
                      <a:pt x="577" y="160"/>
                    </a:cubicBezTo>
                    <a:cubicBezTo>
                      <a:pt x="577" y="161"/>
                      <a:pt x="577" y="161"/>
                      <a:pt x="577" y="161"/>
                    </a:cubicBezTo>
                    <a:cubicBezTo>
                      <a:pt x="578" y="160"/>
                      <a:pt x="578" y="160"/>
                      <a:pt x="578" y="160"/>
                    </a:cubicBezTo>
                    <a:cubicBezTo>
                      <a:pt x="578" y="159"/>
                      <a:pt x="578" y="159"/>
                      <a:pt x="578" y="159"/>
                    </a:cubicBezTo>
                    <a:cubicBezTo>
                      <a:pt x="577" y="159"/>
                      <a:pt x="577" y="159"/>
                      <a:pt x="577" y="159"/>
                    </a:cubicBezTo>
                    <a:cubicBezTo>
                      <a:pt x="577" y="157"/>
                      <a:pt x="577" y="157"/>
                      <a:pt x="577" y="157"/>
                    </a:cubicBezTo>
                    <a:cubicBezTo>
                      <a:pt x="577" y="156"/>
                      <a:pt x="577" y="156"/>
                      <a:pt x="577" y="156"/>
                    </a:cubicBezTo>
                    <a:cubicBezTo>
                      <a:pt x="578" y="156"/>
                      <a:pt x="578" y="156"/>
                      <a:pt x="578" y="156"/>
                    </a:cubicBezTo>
                    <a:cubicBezTo>
                      <a:pt x="580" y="156"/>
                      <a:pt x="580" y="156"/>
                      <a:pt x="580" y="156"/>
                    </a:cubicBezTo>
                    <a:cubicBezTo>
                      <a:pt x="581" y="156"/>
                      <a:pt x="581" y="156"/>
                      <a:pt x="581" y="156"/>
                    </a:cubicBezTo>
                    <a:cubicBezTo>
                      <a:pt x="581" y="154"/>
                      <a:pt x="581" y="154"/>
                      <a:pt x="581" y="154"/>
                    </a:cubicBezTo>
                    <a:cubicBezTo>
                      <a:pt x="580" y="153"/>
                      <a:pt x="580" y="153"/>
                      <a:pt x="580" y="153"/>
                    </a:cubicBezTo>
                    <a:cubicBezTo>
                      <a:pt x="581" y="152"/>
                      <a:pt x="581" y="152"/>
                      <a:pt x="581" y="152"/>
                    </a:cubicBezTo>
                    <a:cubicBezTo>
                      <a:pt x="581" y="151"/>
                      <a:pt x="581" y="151"/>
                      <a:pt x="581" y="151"/>
                    </a:cubicBezTo>
                    <a:cubicBezTo>
                      <a:pt x="581" y="149"/>
                      <a:pt x="581" y="149"/>
                      <a:pt x="581" y="149"/>
                    </a:cubicBezTo>
                    <a:cubicBezTo>
                      <a:pt x="581" y="147"/>
                      <a:pt x="581" y="147"/>
                      <a:pt x="581" y="147"/>
                    </a:cubicBezTo>
                    <a:cubicBezTo>
                      <a:pt x="580" y="146"/>
                      <a:pt x="580" y="146"/>
                      <a:pt x="580" y="146"/>
                    </a:cubicBezTo>
                    <a:cubicBezTo>
                      <a:pt x="580" y="143"/>
                      <a:pt x="580" y="143"/>
                      <a:pt x="580" y="143"/>
                    </a:cubicBezTo>
                    <a:cubicBezTo>
                      <a:pt x="579" y="141"/>
                      <a:pt x="579" y="141"/>
                      <a:pt x="579" y="141"/>
                    </a:cubicBezTo>
                    <a:cubicBezTo>
                      <a:pt x="579" y="139"/>
                      <a:pt x="579" y="139"/>
                      <a:pt x="579" y="139"/>
                    </a:cubicBezTo>
                    <a:cubicBezTo>
                      <a:pt x="579" y="137"/>
                      <a:pt x="579" y="137"/>
                      <a:pt x="579" y="137"/>
                    </a:cubicBezTo>
                    <a:cubicBezTo>
                      <a:pt x="578" y="135"/>
                      <a:pt x="578" y="135"/>
                      <a:pt x="578" y="135"/>
                    </a:cubicBezTo>
                    <a:cubicBezTo>
                      <a:pt x="577" y="134"/>
                      <a:pt x="577" y="134"/>
                      <a:pt x="577" y="134"/>
                    </a:cubicBezTo>
                    <a:cubicBezTo>
                      <a:pt x="577" y="133"/>
                      <a:pt x="577" y="133"/>
                      <a:pt x="577" y="133"/>
                    </a:cubicBezTo>
                    <a:cubicBezTo>
                      <a:pt x="575" y="129"/>
                      <a:pt x="575" y="129"/>
                      <a:pt x="575" y="129"/>
                    </a:cubicBezTo>
                    <a:cubicBezTo>
                      <a:pt x="574" y="127"/>
                      <a:pt x="574" y="127"/>
                      <a:pt x="574" y="127"/>
                    </a:cubicBezTo>
                    <a:cubicBezTo>
                      <a:pt x="574" y="126"/>
                      <a:pt x="574" y="126"/>
                      <a:pt x="574" y="126"/>
                    </a:cubicBezTo>
                    <a:cubicBezTo>
                      <a:pt x="576" y="126"/>
                      <a:pt x="576" y="126"/>
                      <a:pt x="576" y="126"/>
                    </a:cubicBezTo>
                    <a:cubicBezTo>
                      <a:pt x="577" y="126"/>
                      <a:pt x="577" y="126"/>
                      <a:pt x="577" y="126"/>
                    </a:cubicBezTo>
                    <a:cubicBezTo>
                      <a:pt x="578" y="124"/>
                      <a:pt x="578" y="124"/>
                      <a:pt x="578" y="124"/>
                    </a:cubicBezTo>
                    <a:cubicBezTo>
                      <a:pt x="578" y="123"/>
                      <a:pt x="578" y="123"/>
                      <a:pt x="578" y="123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1" y="120"/>
                      <a:pt x="581" y="120"/>
                      <a:pt x="581" y="120"/>
                    </a:cubicBezTo>
                    <a:cubicBezTo>
                      <a:pt x="582" y="120"/>
                      <a:pt x="582" y="120"/>
                      <a:pt x="582" y="120"/>
                    </a:cubicBezTo>
                    <a:cubicBezTo>
                      <a:pt x="583" y="121"/>
                      <a:pt x="583" y="121"/>
                      <a:pt x="583" y="121"/>
                    </a:cubicBezTo>
                    <a:cubicBezTo>
                      <a:pt x="590" y="122"/>
                      <a:pt x="590" y="122"/>
                      <a:pt x="590" y="122"/>
                    </a:cubicBezTo>
                    <a:cubicBezTo>
                      <a:pt x="590" y="122"/>
                      <a:pt x="590" y="122"/>
                      <a:pt x="590" y="122"/>
                    </a:cubicBezTo>
                    <a:cubicBezTo>
                      <a:pt x="592" y="122"/>
                      <a:pt x="592" y="122"/>
                      <a:pt x="592" y="122"/>
                    </a:cubicBezTo>
                    <a:cubicBezTo>
                      <a:pt x="592" y="121"/>
                      <a:pt x="592" y="121"/>
                      <a:pt x="592" y="121"/>
                    </a:cubicBezTo>
                    <a:cubicBezTo>
                      <a:pt x="592" y="120"/>
                      <a:pt x="592" y="120"/>
                      <a:pt x="592" y="120"/>
                    </a:cubicBezTo>
                    <a:cubicBezTo>
                      <a:pt x="592" y="119"/>
                      <a:pt x="592" y="119"/>
                      <a:pt x="592" y="119"/>
                    </a:cubicBezTo>
                    <a:cubicBezTo>
                      <a:pt x="591" y="118"/>
                      <a:pt x="591" y="118"/>
                      <a:pt x="591" y="118"/>
                    </a:cubicBezTo>
                    <a:cubicBezTo>
                      <a:pt x="592" y="117"/>
                      <a:pt x="592" y="117"/>
                      <a:pt x="592" y="117"/>
                    </a:cubicBezTo>
                    <a:cubicBezTo>
                      <a:pt x="591" y="116"/>
                      <a:pt x="591" y="116"/>
                      <a:pt x="591" y="116"/>
                    </a:cubicBezTo>
                    <a:cubicBezTo>
                      <a:pt x="591" y="115"/>
                      <a:pt x="591" y="115"/>
                      <a:pt x="591" y="115"/>
                    </a:cubicBezTo>
                    <a:cubicBezTo>
                      <a:pt x="592" y="113"/>
                      <a:pt x="592" y="113"/>
                      <a:pt x="592" y="113"/>
                    </a:cubicBezTo>
                    <a:cubicBezTo>
                      <a:pt x="593" y="112"/>
                      <a:pt x="593" y="112"/>
                      <a:pt x="593" y="112"/>
                    </a:cubicBezTo>
                    <a:cubicBezTo>
                      <a:pt x="592" y="111"/>
                      <a:pt x="592" y="111"/>
                      <a:pt x="592" y="111"/>
                    </a:cubicBezTo>
                    <a:cubicBezTo>
                      <a:pt x="592" y="110"/>
                      <a:pt x="592" y="110"/>
                      <a:pt x="592" y="110"/>
                    </a:cubicBezTo>
                    <a:cubicBezTo>
                      <a:pt x="592" y="109"/>
                      <a:pt x="592" y="109"/>
                      <a:pt x="592" y="109"/>
                    </a:cubicBezTo>
                    <a:cubicBezTo>
                      <a:pt x="593" y="108"/>
                      <a:pt x="593" y="108"/>
                      <a:pt x="593" y="108"/>
                    </a:cubicBezTo>
                    <a:cubicBezTo>
                      <a:pt x="593" y="107"/>
                      <a:pt x="593" y="107"/>
                      <a:pt x="593" y="107"/>
                    </a:cubicBezTo>
                    <a:cubicBezTo>
                      <a:pt x="593" y="106"/>
                      <a:pt x="593" y="106"/>
                      <a:pt x="593" y="106"/>
                    </a:cubicBezTo>
                    <a:cubicBezTo>
                      <a:pt x="592" y="105"/>
                      <a:pt x="592" y="105"/>
                      <a:pt x="592" y="105"/>
                    </a:cubicBezTo>
                    <a:cubicBezTo>
                      <a:pt x="593" y="104"/>
                      <a:pt x="593" y="104"/>
                      <a:pt x="593" y="104"/>
                    </a:cubicBezTo>
                    <a:cubicBezTo>
                      <a:pt x="594" y="103"/>
                      <a:pt x="594" y="103"/>
                      <a:pt x="594" y="103"/>
                    </a:cubicBezTo>
                    <a:cubicBezTo>
                      <a:pt x="594" y="102"/>
                      <a:pt x="594" y="102"/>
                      <a:pt x="594" y="102"/>
                    </a:cubicBezTo>
                    <a:cubicBezTo>
                      <a:pt x="593" y="101"/>
                      <a:pt x="593" y="101"/>
                      <a:pt x="593" y="101"/>
                    </a:cubicBezTo>
                    <a:cubicBezTo>
                      <a:pt x="592" y="99"/>
                      <a:pt x="592" y="99"/>
                      <a:pt x="592" y="99"/>
                    </a:cubicBezTo>
                    <a:cubicBezTo>
                      <a:pt x="592" y="97"/>
                      <a:pt x="592" y="97"/>
                      <a:pt x="592" y="97"/>
                    </a:cubicBezTo>
                    <a:cubicBezTo>
                      <a:pt x="593" y="97"/>
                      <a:pt x="593" y="97"/>
                      <a:pt x="593" y="97"/>
                    </a:cubicBezTo>
                    <a:cubicBezTo>
                      <a:pt x="593" y="96"/>
                      <a:pt x="593" y="96"/>
                      <a:pt x="593" y="96"/>
                    </a:cubicBezTo>
                    <a:cubicBezTo>
                      <a:pt x="593" y="96"/>
                      <a:pt x="593" y="96"/>
                      <a:pt x="593" y="96"/>
                    </a:cubicBezTo>
                    <a:cubicBezTo>
                      <a:pt x="593" y="95"/>
                      <a:pt x="593" y="95"/>
                      <a:pt x="593" y="95"/>
                    </a:cubicBezTo>
                    <a:cubicBezTo>
                      <a:pt x="593" y="94"/>
                      <a:pt x="593" y="94"/>
                      <a:pt x="593" y="94"/>
                    </a:cubicBezTo>
                    <a:cubicBezTo>
                      <a:pt x="592" y="93"/>
                      <a:pt x="592" y="93"/>
                      <a:pt x="592" y="93"/>
                    </a:cubicBezTo>
                    <a:cubicBezTo>
                      <a:pt x="591" y="92"/>
                      <a:pt x="591" y="92"/>
                      <a:pt x="591" y="92"/>
                    </a:cubicBezTo>
                    <a:cubicBezTo>
                      <a:pt x="592" y="91"/>
                      <a:pt x="592" y="91"/>
                      <a:pt x="592" y="91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2" y="89"/>
                      <a:pt x="592" y="89"/>
                      <a:pt x="592" y="89"/>
                    </a:cubicBezTo>
                    <a:cubicBezTo>
                      <a:pt x="591" y="88"/>
                      <a:pt x="591" y="88"/>
                      <a:pt x="591" y="88"/>
                    </a:cubicBezTo>
                    <a:cubicBezTo>
                      <a:pt x="591" y="87"/>
                      <a:pt x="591" y="87"/>
                      <a:pt x="591" y="87"/>
                    </a:cubicBezTo>
                    <a:cubicBezTo>
                      <a:pt x="592" y="85"/>
                      <a:pt x="592" y="85"/>
                      <a:pt x="592" y="85"/>
                    </a:cubicBezTo>
                    <a:cubicBezTo>
                      <a:pt x="594" y="85"/>
                      <a:pt x="594" y="85"/>
                      <a:pt x="594" y="85"/>
                    </a:cubicBezTo>
                    <a:cubicBezTo>
                      <a:pt x="594" y="84"/>
                      <a:pt x="594" y="84"/>
                      <a:pt x="594" y="84"/>
                    </a:cubicBezTo>
                    <a:cubicBezTo>
                      <a:pt x="594" y="82"/>
                      <a:pt x="594" y="82"/>
                      <a:pt x="594" y="82"/>
                    </a:cubicBezTo>
                    <a:cubicBezTo>
                      <a:pt x="594" y="80"/>
                      <a:pt x="594" y="80"/>
                      <a:pt x="594" y="80"/>
                    </a:cubicBezTo>
                    <a:lnTo>
                      <a:pt x="593" y="79"/>
                    </a:lnTo>
                    <a:close/>
                    <a:moveTo>
                      <a:pt x="521" y="392"/>
                    </a:moveTo>
                    <a:cubicBezTo>
                      <a:pt x="521" y="394"/>
                      <a:pt x="521" y="394"/>
                      <a:pt x="521" y="394"/>
                    </a:cubicBezTo>
                    <a:cubicBezTo>
                      <a:pt x="522" y="393"/>
                      <a:pt x="522" y="393"/>
                      <a:pt x="522" y="393"/>
                    </a:cubicBezTo>
                    <a:cubicBezTo>
                      <a:pt x="522" y="392"/>
                      <a:pt x="522" y="392"/>
                      <a:pt x="522" y="392"/>
                    </a:cubicBezTo>
                    <a:cubicBezTo>
                      <a:pt x="522" y="391"/>
                      <a:pt x="522" y="391"/>
                      <a:pt x="522" y="391"/>
                    </a:cubicBezTo>
                    <a:lnTo>
                      <a:pt x="521" y="392"/>
                    </a:lnTo>
                    <a:close/>
                    <a:moveTo>
                      <a:pt x="544" y="396"/>
                    </a:moveTo>
                    <a:cubicBezTo>
                      <a:pt x="543" y="396"/>
                      <a:pt x="543" y="396"/>
                      <a:pt x="543" y="396"/>
                    </a:cubicBezTo>
                    <a:cubicBezTo>
                      <a:pt x="542" y="394"/>
                      <a:pt x="542" y="394"/>
                      <a:pt x="542" y="394"/>
                    </a:cubicBezTo>
                    <a:cubicBezTo>
                      <a:pt x="540" y="393"/>
                      <a:pt x="540" y="393"/>
                      <a:pt x="540" y="393"/>
                    </a:cubicBezTo>
                    <a:cubicBezTo>
                      <a:pt x="539" y="394"/>
                      <a:pt x="539" y="394"/>
                      <a:pt x="539" y="394"/>
                    </a:cubicBezTo>
                    <a:cubicBezTo>
                      <a:pt x="539" y="395"/>
                      <a:pt x="539" y="395"/>
                      <a:pt x="539" y="395"/>
                    </a:cubicBezTo>
                    <a:cubicBezTo>
                      <a:pt x="537" y="395"/>
                      <a:pt x="537" y="395"/>
                      <a:pt x="537" y="395"/>
                    </a:cubicBezTo>
                    <a:cubicBezTo>
                      <a:pt x="535" y="398"/>
                      <a:pt x="535" y="398"/>
                      <a:pt x="535" y="398"/>
                    </a:cubicBezTo>
                    <a:cubicBezTo>
                      <a:pt x="533" y="401"/>
                      <a:pt x="533" y="401"/>
                      <a:pt x="533" y="401"/>
                    </a:cubicBezTo>
                    <a:cubicBezTo>
                      <a:pt x="534" y="402"/>
                      <a:pt x="534" y="402"/>
                      <a:pt x="534" y="402"/>
                    </a:cubicBezTo>
                    <a:cubicBezTo>
                      <a:pt x="534" y="404"/>
                      <a:pt x="534" y="404"/>
                      <a:pt x="534" y="404"/>
                    </a:cubicBezTo>
                    <a:cubicBezTo>
                      <a:pt x="533" y="404"/>
                      <a:pt x="533" y="404"/>
                      <a:pt x="533" y="404"/>
                    </a:cubicBezTo>
                    <a:cubicBezTo>
                      <a:pt x="531" y="408"/>
                      <a:pt x="531" y="408"/>
                      <a:pt x="531" y="408"/>
                    </a:cubicBezTo>
                    <a:cubicBezTo>
                      <a:pt x="530" y="412"/>
                      <a:pt x="530" y="412"/>
                      <a:pt x="530" y="412"/>
                    </a:cubicBezTo>
                    <a:cubicBezTo>
                      <a:pt x="529" y="413"/>
                      <a:pt x="529" y="413"/>
                      <a:pt x="529" y="413"/>
                    </a:cubicBezTo>
                    <a:cubicBezTo>
                      <a:pt x="529" y="414"/>
                      <a:pt x="529" y="414"/>
                      <a:pt x="529" y="414"/>
                    </a:cubicBezTo>
                    <a:cubicBezTo>
                      <a:pt x="530" y="417"/>
                      <a:pt x="530" y="417"/>
                      <a:pt x="530" y="417"/>
                    </a:cubicBezTo>
                    <a:cubicBezTo>
                      <a:pt x="530" y="421"/>
                      <a:pt x="530" y="421"/>
                      <a:pt x="530" y="421"/>
                    </a:cubicBezTo>
                    <a:cubicBezTo>
                      <a:pt x="531" y="422"/>
                      <a:pt x="531" y="422"/>
                      <a:pt x="531" y="422"/>
                    </a:cubicBezTo>
                    <a:cubicBezTo>
                      <a:pt x="531" y="423"/>
                      <a:pt x="531" y="423"/>
                      <a:pt x="531" y="423"/>
                    </a:cubicBezTo>
                    <a:cubicBezTo>
                      <a:pt x="531" y="423"/>
                      <a:pt x="531" y="423"/>
                      <a:pt x="531" y="423"/>
                    </a:cubicBezTo>
                    <a:cubicBezTo>
                      <a:pt x="531" y="425"/>
                      <a:pt x="531" y="425"/>
                      <a:pt x="531" y="425"/>
                    </a:cubicBezTo>
                    <a:cubicBezTo>
                      <a:pt x="532" y="426"/>
                      <a:pt x="532" y="426"/>
                      <a:pt x="532" y="426"/>
                    </a:cubicBezTo>
                    <a:cubicBezTo>
                      <a:pt x="533" y="427"/>
                      <a:pt x="533" y="427"/>
                      <a:pt x="533" y="427"/>
                    </a:cubicBezTo>
                    <a:cubicBezTo>
                      <a:pt x="533" y="428"/>
                      <a:pt x="533" y="428"/>
                      <a:pt x="533" y="428"/>
                    </a:cubicBezTo>
                    <a:cubicBezTo>
                      <a:pt x="536" y="429"/>
                      <a:pt x="536" y="429"/>
                      <a:pt x="536" y="429"/>
                    </a:cubicBezTo>
                    <a:cubicBezTo>
                      <a:pt x="537" y="431"/>
                      <a:pt x="537" y="431"/>
                      <a:pt x="537" y="431"/>
                    </a:cubicBezTo>
                    <a:cubicBezTo>
                      <a:pt x="537" y="433"/>
                      <a:pt x="537" y="433"/>
                      <a:pt x="537" y="433"/>
                    </a:cubicBezTo>
                    <a:cubicBezTo>
                      <a:pt x="537" y="435"/>
                      <a:pt x="537" y="435"/>
                      <a:pt x="537" y="435"/>
                    </a:cubicBezTo>
                    <a:cubicBezTo>
                      <a:pt x="538" y="434"/>
                      <a:pt x="538" y="434"/>
                      <a:pt x="538" y="434"/>
                    </a:cubicBezTo>
                    <a:cubicBezTo>
                      <a:pt x="540" y="435"/>
                      <a:pt x="540" y="435"/>
                      <a:pt x="540" y="435"/>
                    </a:cubicBezTo>
                    <a:cubicBezTo>
                      <a:pt x="539" y="433"/>
                      <a:pt x="539" y="433"/>
                      <a:pt x="539" y="433"/>
                    </a:cubicBezTo>
                    <a:cubicBezTo>
                      <a:pt x="540" y="430"/>
                      <a:pt x="540" y="430"/>
                      <a:pt x="540" y="430"/>
                    </a:cubicBezTo>
                    <a:cubicBezTo>
                      <a:pt x="539" y="428"/>
                      <a:pt x="539" y="428"/>
                      <a:pt x="539" y="428"/>
                    </a:cubicBezTo>
                    <a:cubicBezTo>
                      <a:pt x="541" y="425"/>
                      <a:pt x="541" y="425"/>
                      <a:pt x="541" y="425"/>
                    </a:cubicBezTo>
                    <a:cubicBezTo>
                      <a:pt x="543" y="422"/>
                      <a:pt x="543" y="422"/>
                      <a:pt x="543" y="422"/>
                    </a:cubicBezTo>
                    <a:cubicBezTo>
                      <a:pt x="543" y="419"/>
                      <a:pt x="543" y="419"/>
                      <a:pt x="543" y="419"/>
                    </a:cubicBezTo>
                    <a:cubicBezTo>
                      <a:pt x="544" y="418"/>
                      <a:pt x="544" y="418"/>
                      <a:pt x="544" y="418"/>
                    </a:cubicBezTo>
                    <a:cubicBezTo>
                      <a:pt x="543" y="418"/>
                      <a:pt x="543" y="418"/>
                      <a:pt x="543" y="418"/>
                    </a:cubicBezTo>
                    <a:cubicBezTo>
                      <a:pt x="543" y="414"/>
                      <a:pt x="543" y="414"/>
                      <a:pt x="543" y="414"/>
                    </a:cubicBezTo>
                    <a:cubicBezTo>
                      <a:pt x="544" y="412"/>
                      <a:pt x="544" y="412"/>
                      <a:pt x="544" y="412"/>
                    </a:cubicBezTo>
                    <a:cubicBezTo>
                      <a:pt x="543" y="409"/>
                      <a:pt x="543" y="409"/>
                      <a:pt x="543" y="409"/>
                    </a:cubicBezTo>
                    <a:cubicBezTo>
                      <a:pt x="544" y="407"/>
                      <a:pt x="544" y="407"/>
                      <a:pt x="544" y="407"/>
                    </a:cubicBezTo>
                    <a:cubicBezTo>
                      <a:pt x="545" y="402"/>
                      <a:pt x="545" y="402"/>
                      <a:pt x="545" y="402"/>
                    </a:cubicBezTo>
                    <a:cubicBezTo>
                      <a:pt x="545" y="399"/>
                      <a:pt x="545" y="399"/>
                      <a:pt x="545" y="399"/>
                    </a:cubicBezTo>
                    <a:cubicBezTo>
                      <a:pt x="546" y="399"/>
                      <a:pt x="546" y="399"/>
                      <a:pt x="546" y="399"/>
                    </a:cubicBezTo>
                    <a:cubicBezTo>
                      <a:pt x="546" y="397"/>
                      <a:pt x="546" y="397"/>
                      <a:pt x="546" y="397"/>
                    </a:cubicBezTo>
                    <a:lnTo>
                      <a:pt x="544" y="39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39" name="Freeform 353">
                <a:extLst>
                  <a:ext uri="{FF2B5EF4-FFF2-40B4-BE49-F238E27FC236}">
                    <a16:creationId xmlns:a16="http://schemas.microsoft.com/office/drawing/2014/main" xmlns="" id="{1EB74780-8830-481B-AAE8-01BFFF6D6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1060"/>
                <a:ext cx="145" cy="126"/>
              </a:xfrm>
              <a:custGeom>
                <a:avLst/>
                <a:gdLst>
                  <a:gd name="T0" fmla="*/ 88 w 145"/>
                  <a:gd name="T1" fmla="*/ 125 h 126"/>
                  <a:gd name="T2" fmla="*/ 93 w 145"/>
                  <a:gd name="T3" fmla="*/ 123 h 126"/>
                  <a:gd name="T4" fmla="*/ 98 w 145"/>
                  <a:gd name="T5" fmla="*/ 121 h 126"/>
                  <a:gd name="T6" fmla="*/ 105 w 145"/>
                  <a:gd name="T7" fmla="*/ 123 h 126"/>
                  <a:gd name="T8" fmla="*/ 108 w 145"/>
                  <a:gd name="T9" fmla="*/ 121 h 126"/>
                  <a:gd name="T10" fmla="*/ 113 w 145"/>
                  <a:gd name="T11" fmla="*/ 121 h 126"/>
                  <a:gd name="T12" fmla="*/ 126 w 145"/>
                  <a:gd name="T13" fmla="*/ 125 h 126"/>
                  <a:gd name="T14" fmla="*/ 129 w 145"/>
                  <a:gd name="T15" fmla="*/ 121 h 126"/>
                  <a:gd name="T16" fmla="*/ 139 w 145"/>
                  <a:gd name="T17" fmla="*/ 105 h 126"/>
                  <a:gd name="T18" fmla="*/ 142 w 145"/>
                  <a:gd name="T19" fmla="*/ 98 h 126"/>
                  <a:gd name="T20" fmla="*/ 145 w 145"/>
                  <a:gd name="T21" fmla="*/ 94 h 126"/>
                  <a:gd name="T22" fmla="*/ 144 w 145"/>
                  <a:gd name="T23" fmla="*/ 89 h 126"/>
                  <a:gd name="T24" fmla="*/ 142 w 145"/>
                  <a:gd name="T25" fmla="*/ 84 h 126"/>
                  <a:gd name="T26" fmla="*/ 137 w 145"/>
                  <a:gd name="T27" fmla="*/ 77 h 126"/>
                  <a:gd name="T28" fmla="*/ 137 w 145"/>
                  <a:gd name="T29" fmla="*/ 66 h 126"/>
                  <a:gd name="T30" fmla="*/ 134 w 145"/>
                  <a:gd name="T31" fmla="*/ 56 h 126"/>
                  <a:gd name="T32" fmla="*/ 139 w 145"/>
                  <a:gd name="T33" fmla="*/ 49 h 126"/>
                  <a:gd name="T34" fmla="*/ 137 w 145"/>
                  <a:gd name="T35" fmla="*/ 38 h 126"/>
                  <a:gd name="T36" fmla="*/ 134 w 145"/>
                  <a:gd name="T37" fmla="*/ 31 h 126"/>
                  <a:gd name="T38" fmla="*/ 129 w 145"/>
                  <a:gd name="T39" fmla="*/ 18 h 126"/>
                  <a:gd name="T40" fmla="*/ 128 w 145"/>
                  <a:gd name="T41" fmla="*/ 9 h 126"/>
                  <a:gd name="T42" fmla="*/ 123 w 145"/>
                  <a:gd name="T43" fmla="*/ 7 h 126"/>
                  <a:gd name="T44" fmla="*/ 80 w 145"/>
                  <a:gd name="T45" fmla="*/ 7 h 126"/>
                  <a:gd name="T46" fmla="*/ 74 w 145"/>
                  <a:gd name="T47" fmla="*/ 14 h 126"/>
                  <a:gd name="T48" fmla="*/ 69 w 145"/>
                  <a:gd name="T49" fmla="*/ 14 h 126"/>
                  <a:gd name="T50" fmla="*/ 77 w 145"/>
                  <a:gd name="T51" fmla="*/ 5 h 126"/>
                  <a:gd name="T52" fmla="*/ 72 w 145"/>
                  <a:gd name="T53" fmla="*/ 9 h 126"/>
                  <a:gd name="T54" fmla="*/ 59 w 145"/>
                  <a:gd name="T55" fmla="*/ 10 h 126"/>
                  <a:gd name="T56" fmla="*/ 59 w 145"/>
                  <a:gd name="T57" fmla="*/ 4 h 126"/>
                  <a:gd name="T58" fmla="*/ 64 w 145"/>
                  <a:gd name="T59" fmla="*/ 5 h 126"/>
                  <a:gd name="T60" fmla="*/ 61 w 145"/>
                  <a:gd name="T61" fmla="*/ 2 h 126"/>
                  <a:gd name="T62" fmla="*/ 46 w 145"/>
                  <a:gd name="T63" fmla="*/ 4 h 126"/>
                  <a:gd name="T64" fmla="*/ 36 w 145"/>
                  <a:gd name="T65" fmla="*/ 5 h 126"/>
                  <a:gd name="T66" fmla="*/ 30 w 145"/>
                  <a:gd name="T67" fmla="*/ 9 h 126"/>
                  <a:gd name="T68" fmla="*/ 26 w 145"/>
                  <a:gd name="T69" fmla="*/ 15 h 126"/>
                  <a:gd name="T70" fmla="*/ 13 w 145"/>
                  <a:gd name="T71" fmla="*/ 18 h 126"/>
                  <a:gd name="T72" fmla="*/ 7 w 145"/>
                  <a:gd name="T73" fmla="*/ 23 h 126"/>
                  <a:gd name="T74" fmla="*/ 5 w 145"/>
                  <a:gd name="T75" fmla="*/ 28 h 126"/>
                  <a:gd name="T76" fmla="*/ 3 w 145"/>
                  <a:gd name="T77" fmla="*/ 30 h 126"/>
                  <a:gd name="T78" fmla="*/ 5 w 145"/>
                  <a:gd name="T79" fmla="*/ 41 h 126"/>
                  <a:gd name="T80" fmla="*/ 0 w 145"/>
                  <a:gd name="T81" fmla="*/ 46 h 126"/>
                  <a:gd name="T82" fmla="*/ 5 w 145"/>
                  <a:gd name="T83" fmla="*/ 56 h 126"/>
                  <a:gd name="T84" fmla="*/ 7 w 145"/>
                  <a:gd name="T85" fmla="*/ 61 h 126"/>
                  <a:gd name="T86" fmla="*/ 7 w 145"/>
                  <a:gd name="T87" fmla="*/ 67 h 126"/>
                  <a:gd name="T88" fmla="*/ 12 w 145"/>
                  <a:gd name="T89" fmla="*/ 74 h 126"/>
                  <a:gd name="T90" fmla="*/ 13 w 145"/>
                  <a:gd name="T91" fmla="*/ 85 h 126"/>
                  <a:gd name="T92" fmla="*/ 15 w 145"/>
                  <a:gd name="T93" fmla="*/ 90 h 126"/>
                  <a:gd name="T94" fmla="*/ 18 w 145"/>
                  <a:gd name="T95" fmla="*/ 89 h 126"/>
                  <a:gd name="T96" fmla="*/ 26 w 145"/>
                  <a:gd name="T97" fmla="*/ 89 h 126"/>
                  <a:gd name="T98" fmla="*/ 30 w 145"/>
                  <a:gd name="T99" fmla="*/ 94 h 126"/>
                  <a:gd name="T100" fmla="*/ 34 w 145"/>
                  <a:gd name="T101" fmla="*/ 95 h 126"/>
                  <a:gd name="T102" fmla="*/ 33 w 145"/>
                  <a:gd name="T103" fmla="*/ 100 h 126"/>
                  <a:gd name="T104" fmla="*/ 34 w 145"/>
                  <a:gd name="T105" fmla="*/ 105 h 126"/>
                  <a:gd name="T106" fmla="*/ 38 w 145"/>
                  <a:gd name="T107" fmla="*/ 103 h 126"/>
                  <a:gd name="T108" fmla="*/ 36 w 145"/>
                  <a:gd name="T109" fmla="*/ 98 h 126"/>
                  <a:gd name="T110" fmla="*/ 46 w 145"/>
                  <a:gd name="T111" fmla="*/ 102 h 126"/>
                  <a:gd name="T112" fmla="*/ 49 w 145"/>
                  <a:gd name="T113" fmla="*/ 105 h 126"/>
                  <a:gd name="T114" fmla="*/ 59 w 145"/>
                  <a:gd name="T115" fmla="*/ 105 h 126"/>
                  <a:gd name="T116" fmla="*/ 74 w 145"/>
                  <a:gd name="T117" fmla="*/ 115 h 126"/>
                  <a:gd name="T118" fmla="*/ 79 w 145"/>
                  <a:gd name="T119" fmla="*/ 120 h 126"/>
                  <a:gd name="T120" fmla="*/ 83 w 145"/>
                  <a:gd name="T121" fmla="*/ 118 h 126"/>
                  <a:gd name="T122" fmla="*/ 87 w 145"/>
                  <a:gd name="T123" fmla="*/ 12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5" h="126">
                    <a:moveTo>
                      <a:pt x="87" y="125"/>
                    </a:moveTo>
                    <a:lnTo>
                      <a:pt x="88" y="125"/>
                    </a:lnTo>
                    <a:lnTo>
                      <a:pt x="92" y="125"/>
                    </a:lnTo>
                    <a:lnTo>
                      <a:pt x="93" y="123"/>
                    </a:lnTo>
                    <a:lnTo>
                      <a:pt x="95" y="121"/>
                    </a:lnTo>
                    <a:lnTo>
                      <a:pt x="98" y="121"/>
                    </a:lnTo>
                    <a:lnTo>
                      <a:pt x="101" y="121"/>
                    </a:lnTo>
                    <a:lnTo>
                      <a:pt x="105" y="123"/>
                    </a:lnTo>
                    <a:lnTo>
                      <a:pt x="106" y="121"/>
                    </a:lnTo>
                    <a:lnTo>
                      <a:pt x="108" y="121"/>
                    </a:lnTo>
                    <a:lnTo>
                      <a:pt x="111" y="121"/>
                    </a:lnTo>
                    <a:lnTo>
                      <a:pt x="113" y="121"/>
                    </a:lnTo>
                    <a:lnTo>
                      <a:pt x="119" y="121"/>
                    </a:lnTo>
                    <a:lnTo>
                      <a:pt x="126" y="125"/>
                    </a:lnTo>
                    <a:lnTo>
                      <a:pt x="129" y="126"/>
                    </a:lnTo>
                    <a:lnTo>
                      <a:pt x="129" y="121"/>
                    </a:lnTo>
                    <a:lnTo>
                      <a:pt x="129" y="116"/>
                    </a:lnTo>
                    <a:lnTo>
                      <a:pt x="139" y="105"/>
                    </a:lnTo>
                    <a:lnTo>
                      <a:pt x="139" y="100"/>
                    </a:lnTo>
                    <a:lnTo>
                      <a:pt x="142" y="98"/>
                    </a:lnTo>
                    <a:lnTo>
                      <a:pt x="144" y="97"/>
                    </a:lnTo>
                    <a:lnTo>
                      <a:pt x="145" y="94"/>
                    </a:lnTo>
                    <a:lnTo>
                      <a:pt x="144" y="90"/>
                    </a:lnTo>
                    <a:lnTo>
                      <a:pt x="144" y="89"/>
                    </a:lnTo>
                    <a:lnTo>
                      <a:pt x="145" y="87"/>
                    </a:lnTo>
                    <a:lnTo>
                      <a:pt x="142" y="84"/>
                    </a:lnTo>
                    <a:lnTo>
                      <a:pt x="139" y="79"/>
                    </a:lnTo>
                    <a:lnTo>
                      <a:pt x="137" y="77"/>
                    </a:lnTo>
                    <a:lnTo>
                      <a:pt x="137" y="69"/>
                    </a:lnTo>
                    <a:lnTo>
                      <a:pt x="137" y="66"/>
                    </a:lnTo>
                    <a:lnTo>
                      <a:pt x="134" y="61"/>
                    </a:lnTo>
                    <a:lnTo>
                      <a:pt x="134" y="56"/>
                    </a:lnTo>
                    <a:lnTo>
                      <a:pt x="136" y="51"/>
                    </a:lnTo>
                    <a:lnTo>
                      <a:pt x="139" y="49"/>
                    </a:lnTo>
                    <a:lnTo>
                      <a:pt x="139" y="40"/>
                    </a:lnTo>
                    <a:lnTo>
                      <a:pt x="137" y="38"/>
                    </a:lnTo>
                    <a:lnTo>
                      <a:pt x="136" y="35"/>
                    </a:lnTo>
                    <a:lnTo>
                      <a:pt x="134" y="31"/>
                    </a:lnTo>
                    <a:lnTo>
                      <a:pt x="132" y="23"/>
                    </a:lnTo>
                    <a:lnTo>
                      <a:pt x="129" y="18"/>
                    </a:lnTo>
                    <a:lnTo>
                      <a:pt x="129" y="15"/>
                    </a:lnTo>
                    <a:lnTo>
                      <a:pt x="128" y="9"/>
                    </a:lnTo>
                    <a:lnTo>
                      <a:pt x="126" y="9"/>
                    </a:lnTo>
                    <a:lnTo>
                      <a:pt x="123" y="7"/>
                    </a:lnTo>
                    <a:lnTo>
                      <a:pt x="101" y="9"/>
                    </a:lnTo>
                    <a:lnTo>
                      <a:pt x="80" y="7"/>
                    </a:lnTo>
                    <a:lnTo>
                      <a:pt x="79" y="9"/>
                    </a:lnTo>
                    <a:lnTo>
                      <a:pt x="74" y="14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72" y="10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2" y="9"/>
                    </a:lnTo>
                    <a:lnTo>
                      <a:pt x="65" y="12"/>
                    </a:lnTo>
                    <a:lnTo>
                      <a:pt x="59" y="10"/>
                    </a:lnTo>
                    <a:lnTo>
                      <a:pt x="57" y="7"/>
                    </a:lnTo>
                    <a:lnTo>
                      <a:pt x="59" y="4"/>
                    </a:lnTo>
                    <a:lnTo>
                      <a:pt x="62" y="4"/>
                    </a:lnTo>
                    <a:lnTo>
                      <a:pt x="64" y="5"/>
                    </a:lnTo>
                    <a:lnTo>
                      <a:pt x="64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6" y="4"/>
                    </a:lnTo>
                    <a:lnTo>
                      <a:pt x="41" y="2"/>
                    </a:lnTo>
                    <a:lnTo>
                      <a:pt x="36" y="5"/>
                    </a:lnTo>
                    <a:lnTo>
                      <a:pt x="33" y="9"/>
                    </a:lnTo>
                    <a:lnTo>
                      <a:pt x="30" y="9"/>
                    </a:lnTo>
                    <a:lnTo>
                      <a:pt x="26" y="12"/>
                    </a:lnTo>
                    <a:lnTo>
                      <a:pt x="26" y="15"/>
                    </a:lnTo>
                    <a:lnTo>
                      <a:pt x="21" y="15"/>
                    </a:lnTo>
                    <a:lnTo>
                      <a:pt x="13" y="18"/>
                    </a:lnTo>
                    <a:lnTo>
                      <a:pt x="8" y="20"/>
                    </a:lnTo>
                    <a:lnTo>
                      <a:pt x="7" y="23"/>
                    </a:lnTo>
                    <a:lnTo>
                      <a:pt x="5" y="27"/>
                    </a:lnTo>
                    <a:lnTo>
                      <a:pt x="5" y="28"/>
                    </a:lnTo>
                    <a:lnTo>
                      <a:pt x="5" y="30"/>
                    </a:lnTo>
                    <a:lnTo>
                      <a:pt x="3" y="30"/>
                    </a:lnTo>
                    <a:lnTo>
                      <a:pt x="5" y="36"/>
                    </a:lnTo>
                    <a:lnTo>
                      <a:pt x="5" y="41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5" y="53"/>
                    </a:lnTo>
                    <a:lnTo>
                      <a:pt x="5" y="56"/>
                    </a:lnTo>
                    <a:lnTo>
                      <a:pt x="7" y="58"/>
                    </a:lnTo>
                    <a:lnTo>
                      <a:pt x="7" y="61"/>
                    </a:lnTo>
                    <a:lnTo>
                      <a:pt x="8" y="64"/>
                    </a:lnTo>
                    <a:lnTo>
                      <a:pt x="7" y="67"/>
                    </a:lnTo>
                    <a:lnTo>
                      <a:pt x="10" y="74"/>
                    </a:lnTo>
                    <a:lnTo>
                      <a:pt x="12" y="74"/>
                    </a:lnTo>
                    <a:lnTo>
                      <a:pt x="13" y="77"/>
                    </a:lnTo>
                    <a:lnTo>
                      <a:pt x="13" y="85"/>
                    </a:lnTo>
                    <a:lnTo>
                      <a:pt x="13" y="87"/>
                    </a:lnTo>
                    <a:lnTo>
                      <a:pt x="15" y="90"/>
                    </a:lnTo>
                    <a:lnTo>
                      <a:pt x="15" y="89"/>
                    </a:lnTo>
                    <a:lnTo>
                      <a:pt x="18" y="89"/>
                    </a:lnTo>
                    <a:lnTo>
                      <a:pt x="20" y="89"/>
                    </a:lnTo>
                    <a:lnTo>
                      <a:pt x="26" y="89"/>
                    </a:lnTo>
                    <a:lnTo>
                      <a:pt x="26" y="90"/>
                    </a:lnTo>
                    <a:lnTo>
                      <a:pt x="30" y="94"/>
                    </a:lnTo>
                    <a:lnTo>
                      <a:pt x="31" y="94"/>
                    </a:lnTo>
                    <a:lnTo>
                      <a:pt x="34" y="95"/>
                    </a:lnTo>
                    <a:lnTo>
                      <a:pt x="33" y="98"/>
                    </a:lnTo>
                    <a:lnTo>
                      <a:pt x="33" y="100"/>
                    </a:lnTo>
                    <a:lnTo>
                      <a:pt x="34" y="102"/>
                    </a:lnTo>
                    <a:lnTo>
                      <a:pt x="34" y="105"/>
                    </a:lnTo>
                    <a:lnTo>
                      <a:pt x="36" y="105"/>
                    </a:lnTo>
                    <a:lnTo>
                      <a:pt x="38" y="103"/>
                    </a:lnTo>
                    <a:lnTo>
                      <a:pt x="39" y="103"/>
                    </a:lnTo>
                    <a:lnTo>
                      <a:pt x="36" y="98"/>
                    </a:lnTo>
                    <a:lnTo>
                      <a:pt x="38" y="98"/>
                    </a:lnTo>
                    <a:lnTo>
                      <a:pt x="46" y="102"/>
                    </a:lnTo>
                    <a:lnTo>
                      <a:pt x="51" y="102"/>
                    </a:lnTo>
                    <a:lnTo>
                      <a:pt x="49" y="105"/>
                    </a:lnTo>
                    <a:lnTo>
                      <a:pt x="52" y="107"/>
                    </a:lnTo>
                    <a:lnTo>
                      <a:pt x="59" y="105"/>
                    </a:lnTo>
                    <a:lnTo>
                      <a:pt x="64" y="107"/>
                    </a:lnTo>
                    <a:lnTo>
                      <a:pt x="74" y="115"/>
                    </a:lnTo>
                    <a:lnTo>
                      <a:pt x="75" y="120"/>
                    </a:lnTo>
                    <a:lnTo>
                      <a:pt x="79" y="120"/>
                    </a:lnTo>
                    <a:lnTo>
                      <a:pt x="80" y="118"/>
                    </a:lnTo>
                    <a:lnTo>
                      <a:pt x="83" y="118"/>
                    </a:lnTo>
                    <a:lnTo>
                      <a:pt x="87" y="121"/>
                    </a:lnTo>
                    <a:lnTo>
                      <a:pt x="87" y="12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40" name="Freeform 354">
                <a:extLst>
                  <a:ext uri="{FF2B5EF4-FFF2-40B4-BE49-F238E27FC236}">
                    <a16:creationId xmlns:a16="http://schemas.microsoft.com/office/drawing/2014/main" xmlns="" id="{729701C6-9995-477C-BF0D-850FFBBF6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7" y="1044"/>
                <a:ext cx="39" cy="25"/>
              </a:xfrm>
              <a:custGeom>
                <a:avLst/>
                <a:gdLst>
                  <a:gd name="T0" fmla="*/ 23 w 24"/>
                  <a:gd name="T1" fmla="*/ 14 h 15"/>
                  <a:gd name="T2" fmla="*/ 22 w 24"/>
                  <a:gd name="T3" fmla="*/ 10 h 15"/>
                  <a:gd name="T4" fmla="*/ 23 w 24"/>
                  <a:gd name="T5" fmla="*/ 8 h 15"/>
                  <a:gd name="T6" fmla="*/ 22 w 24"/>
                  <a:gd name="T7" fmla="*/ 7 h 15"/>
                  <a:gd name="T8" fmla="*/ 21 w 24"/>
                  <a:gd name="T9" fmla="*/ 7 h 15"/>
                  <a:gd name="T10" fmla="*/ 21 w 24"/>
                  <a:gd name="T11" fmla="*/ 5 h 15"/>
                  <a:gd name="T12" fmla="*/ 20 w 24"/>
                  <a:gd name="T13" fmla="*/ 4 h 15"/>
                  <a:gd name="T14" fmla="*/ 16 w 24"/>
                  <a:gd name="T15" fmla="*/ 5 h 15"/>
                  <a:gd name="T16" fmla="*/ 13 w 24"/>
                  <a:gd name="T17" fmla="*/ 4 h 15"/>
                  <a:gd name="T18" fmla="*/ 11 w 24"/>
                  <a:gd name="T19" fmla="*/ 0 h 15"/>
                  <a:gd name="T20" fmla="*/ 9 w 24"/>
                  <a:gd name="T21" fmla="*/ 1 h 15"/>
                  <a:gd name="T22" fmla="*/ 9 w 24"/>
                  <a:gd name="T23" fmla="*/ 1 h 15"/>
                  <a:gd name="T24" fmla="*/ 7 w 24"/>
                  <a:gd name="T25" fmla="*/ 7 h 15"/>
                  <a:gd name="T26" fmla="*/ 5 w 24"/>
                  <a:gd name="T27" fmla="*/ 7 h 15"/>
                  <a:gd name="T28" fmla="*/ 3 w 24"/>
                  <a:gd name="T29" fmla="*/ 7 h 15"/>
                  <a:gd name="T30" fmla="*/ 0 w 24"/>
                  <a:gd name="T31" fmla="*/ 9 h 15"/>
                  <a:gd name="T32" fmla="*/ 0 w 24"/>
                  <a:gd name="T33" fmla="*/ 12 h 15"/>
                  <a:gd name="T34" fmla="*/ 0 w 24"/>
                  <a:gd name="T35" fmla="*/ 14 h 15"/>
                  <a:gd name="T36" fmla="*/ 12 w 24"/>
                  <a:gd name="T37" fmla="*/ 15 h 15"/>
                  <a:gd name="T38" fmla="*/ 24 w 24"/>
                  <a:gd name="T39" fmla="*/ 14 h 15"/>
                  <a:gd name="T40" fmla="*/ 24 w 24"/>
                  <a:gd name="T41" fmla="*/ 13 h 15"/>
                  <a:gd name="T42" fmla="*/ 23 w 24"/>
                  <a:gd name="T43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3" y="14"/>
                    </a:move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3"/>
                      <a:pt x="12" y="8"/>
                      <a:pt x="7" y="7"/>
                    </a:cubicBezTo>
                    <a:cubicBezTo>
                      <a:pt x="6" y="6"/>
                      <a:pt x="6" y="7"/>
                      <a:pt x="5" y="7"/>
                    </a:cubicBezTo>
                    <a:cubicBezTo>
                      <a:pt x="4" y="6"/>
                      <a:pt x="5" y="5"/>
                      <a:pt x="3" y="7"/>
                    </a:cubicBezTo>
                    <a:cubicBezTo>
                      <a:pt x="1" y="8"/>
                      <a:pt x="0" y="6"/>
                      <a:pt x="0" y="9"/>
                    </a:cubicBezTo>
                    <a:cubicBezTo>
                      <a:pt x="0" y="10"/>
                      <a:pt x="1" y="11"/>
                      <a:pt x="0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3"/>
                      <a:pt x="24" y="13"/>
                    </a:cubicBezTo>
                    <a:lnTo>
                      <a:pt x="23" y="14"/>
                    </a:lnTo>
                    <a:close/>
                  </a:path>
                </a:pathLst>
              </a:custGeom>
              <a:solidFill>
                <a:srgbClr val="BCBEC0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368" name="Groupe 367">
              <a:extLst>
                <a:ext uri="{FF2B5EF4-FFF2-40B4-BE49-F238E27FC236}">
                  <a16:creationId xmlns:a16="http://schemas.microsoft.com/office/drawing/2014/main" xmlns="" id="{F7DB430A-1058-417F-BB53-AB1E16F7DD5B}"/>
                </a:ext>
              </a:extLst>
            </p:cNvPr>
            <p:cNvGrpSpPr/>
            <p:nvPr/>
          </p:nvGrpSpPr>
          <p:grpSpPr>
            <a:xfrm>
              <a:off x="1383195" y="2331136"/>
              <a:ext cx="3636932" cy="1665982"/>
              <a:chOff x="1649888" y="2560539"/>
              <a:chExt cx="2639178" cy="1208937"/>
            </a:xfrm>
          </p:grpSpPr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xmlns="" id="{15B1F3A4-9BD0-4741-AAC2-9A5B49E2CC55}"/>
                  </a:ext>
                </a:extLst>
              </p:cNvPr>
              <p:cNvSpPr/>
              <p:nvPr/>
            </p:nvSpPr>
            <p:spPr>
              <a:xfrm>
                <a:off x="1668338" y="2560539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77" name="Ellipse 376">
                <a:extLst>
                  <a:ext uri="{FF2B5EF4-FFF2-40B4-BE49-F238E27FC236}">
                    <a16:creationId xmlns:a16="http://schemas.microsoft.com/office/drawing/2014/main" xmlns="" id="{3C5E88B1-F53B-47AD-B2BF-E3086FB8A705}"/>
                  </a:ext>
                </a:extLst>
              </p:cNvPr>
              <p:cNvSpPr/>
              <p:nvPr/>
            </p:nvSpPr>
            <p:spPr>
              <a:xfrm>
                <a:off x="1649888" y="2844510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78" name="Ellipse 377">
                <a:extLst>
                  <a:ext uri="{FF2B5EF4-FFF2-40B4-BE49-F238E27FC236}">
                    <a16:creationId xmlns:a16="http://schemas.microsoft.com/office/drawing/2014/main" xmlns="" id="{A735F575-0032-4D4D-A777-9959EC52D934}"/>
                  </a:ext>
                </a:extLst>
              </p:cNvPr>
              <p:cNvSpPr/>
              <p:nvPr/>
            </p:nvSpPr>
            <p:spPr>
              <a:xfrm>
                <a:off x="1863245" y="3242101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79" name="Ellipse 378">
                <a:extLst>
                  <a:ext uri="{FF2B5EF4-FFF2-40B4-BE49-F238E27FC236}">
                    <a16:creationId xmlns:a16="http://schemas.microsoft.com/office/drawing/2014/main" xmlns="" id="{8B8732B8-946E-45C3-8BF3-337AE52A5BEF}"/>
                  </a:ext>
                </a:extLst>
              </p:cNvPr>
              <p:cNvSpPr/>
              <p:nvPr/>
            </p:nvSpPr>
            <p:spPr>
              <a:xfrm>
                <a:off x="2161382" y="3457703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xmlns="" id="{2BF487C5-1A0B-43F0-AF80-9B33F2163660}"/>
                  </a:ext>
                </a:extLst>
              </p:cNvPr>
              <p:cNvSpPr/>
              <p:nvPr/>
            </p:nvSpPr>
            <p:spPr>
              <a:xfrm>
                <a:off x="1936943" y="3723757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xmlns="" id="{F522C392-31FC-4826-8BC9-23F516D1B4F8}"/>
                  </a:ext>
                </a:extLst>
              </p:cNvPr>
              <p:cNvSpPr/>
              <p:nvPr/>
            </p:nvSpPr>
            <p:spPr>
              <a:xfrm>
                <a:off x="3004483" y="3658558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2" name="Ellipse 381">
                <a:extLst>
                  <a:ext uri="{FF2B5EF4-FFF2-40B4-BE49-F238E27FC236}">
                    <a16:creationId xmlns:a16="http://schemas.microsoft.com/office/drawing/2014/main" xmlns="" id="{105CA608-5252-468F-AF83-057C8FE209C2}"/>
                  </a:ext>
                </a:extLst>
              </p:cNvPr>
              <p:cNvSpPr/>
              <p:nvPr/>
            </p:nvSpPr>
            <p:spPr>
              <a:xfrm>
                <a:off x="2757224" y="2954309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3" name="Ellipse 382">
                <a:extLst>
                  <a:ext uri="{FF2B5EF4-FFF2-40B4-BE49-F238E27FC236}">
                    <a16:creationId xmlns:a16="http://schemas.microsoft.com/office/drawing/2014/main" xmlns="" id="{F2283D8D-84EC-429E-945F-62BA29CAE818}"/>
                  </a:ext>
                </a:extLst>
              </p:cNvPr>
              <p:cNvSpPr/>
              <p:nvPr/>
            </p:nvSpPr>
            <p:spPr>
              <a:xfrm>
                <a:off x="3133075" y="2799180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4" name="Ellipse 383">
                <a:extLst>
                  <a:ext uri="{FF2B5EF4-FFF2-40B4-BE49-F238E27FC236}">
                    <a16:creationId xmlns:a16="http://schemas.microsoft.com/office/drawing/2014/main" xmlns="" id="{9C999330-8A26-4AC5-9891-5976D207A5EE}"/>
                  </a:ext>
                </a:extLst>
              </p:cNvPr>
              <p:cNvSpPr/>
              <p:nvPr/>
            </p:nvSpPr>
            <p:spPr>
              <a:xfrm>
                <a:off x="3285262" y="2992639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5" name="Ellipse 384">
                <a:extLst>
                  <a:ext uri="{FF2B5EF4-FFF2-40B4-BE49-F238E27FC236}">
                    <a16:creationId xmlns:a16="http://schemas.microsoft.com/office/drawing/2014/main" xmlns="" id="{5BB06AB8-10CA-4DBF-9D1A-5E9FFD3579DC}"/>
                  </a:ext>
                </a:extLst>
              </p:cNvPr>
              <p:cNvSpPr/>
              <p:nvPr/>
            </p:nvSpPr>
            <p:spPr>
              <a:xfrm>
                <a:off x="3400246" y="3027303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6" name="Ellipse 385">
                <a:extLst>
                  <a:ext uri="{FF2B5EF4-FFF2-40B4-BE49-F238E27FC236}">
                    <a16:creationId xmlns:a16="http://schemas.microsoft.com/office/drawing/2014/main" xmlns="" id="{44B8E1CF-52CE-4069-8738-7A494138A48B}"/>
                  </a:ext>
                </a:extLst>
              </p:cNvPr>
              <p:cNvSpPr/>
              <p:nvPr/>
            </p:nvSpPr>
            <p:spPr>
              <a:xfrm>
                <a:off x="3631046" y="3018433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7" name="Ellipse 386">
                <a:extLst>
                  <a:ext uri="{FF2B5EF4-FFF2-40B4-BE49-F238E27FC236}">
                    <a16:creationId xmlns:a16="http://schemas.microsoft.com/office/drawing/2014/main" xmlns="" id="{0574185E-5FC6-4460-9FA2-568216528E25}"/>
                  </a:ext>
                </a:extLst>
              </p:cNvPr>
              <p:cNvSpPr/>
              <p:nvPr/>
            </p:nvSpPr>
            <p:spPr>
              <a:xfrm>
                <a:off x="3923352" y="3119400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8" name="Ellipse 387">
                <a:extLst>
                  <a:ext uri="{FF2B5EF4-FFF2-40B4-BE49-F238E27FC236}">
                    <a16:creationId xmlns:a16="http://schemas.microsoft.com/office/drawing/2014/main" xmlns="" id="{F6E1149E-85AB-4B43-BA00-6D15753C32AE}"/>
                  </a:ext>
                </a:extLst>
              </p:cNvPr>
              <p:cNvSpPr/>
              <p:nvPr/>
            </p:nvSpPr>
            <p:spPr>
              <a:xfrm>
                <a:off x="4018732" y="3313228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89" name="Ellipse 388">
                <a:extLst>
                  <a:ext uri="{FF2B5EF4-FFF2-40B4-BE49-F238E27FC236}">
                    <a16:creationId xmlns:a16="http://schemas.microsoft.com/office/drawing/2014/main" xmlns="" id="{B4D5118E-A810-47FD-AC25-D7B87EB49E07}"/>
                  </a:ext>
                </a:extLst>
              </p:cNvPr>
              <p:cNvSpPr/>
              <p:nvPr/>
            </p:nvSpPr>
            <p:spPr>
              <a:xfrm>
                <a:off x="4243347" y="3616593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90" name="Ellipse 389">
                <a:extLst>
                  <a:ext uri="{FF2B5EF4-FFF2-40B4-BE49-F238E27FC236}">
                    <a16:creationId xmlns:a16="http://schemas.microsoft.com/office/drawing/2014/main" xmlns="" id="{9BE16731-D099-43E1-9D70-771780CADD32}"/>
                  </a:ext>
                </a:extLst>
              </p:cNvPr>
              <p:cNvSpPr/>
              <p:nvPr/>
            </p:nvSpPr>
            <p:spPr>
              <a:xfrm>
                <a:off x="4042174" y="3018433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91" name="Ellipse 390">
                <a:extLst>
                  <a:ext uri="{FF2B5EF4-FFF2-40B4-BE49-F238E27FC236}">
                    <a16:creationId xmlns:a16="http://schemas.microsoft.com/office/drawing/2014/main" xmlns="" id="{6E2E8DED-6134-4EF7-957E-2AD6E8B83995}"/>
                  </a:ext>
                </a:extLst>
              </p:cNvPr>
              <p:cNvSpPr/>
              <p:nvPr/>
            </p:nvSpPr>
            <p:spPr>
              <a:xfrm>
                <a:off x="4173727" y="2801047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92" name="Ellipse 391">
                <a:extLst>
                  <a:ext uri="{FF2B5EF4-FFF2-40B4-BE49-F238E27FC236}">
                    <a16:creationId xmlns:a16="http://schemas.microsoft.com/office/drawing/2014/main" xmlns="" id="{969B35E5-3204-4219-9F7D-07390956F2F4}"/>
                  </a:ext>
                </a:extLst>
              </p:cNvPr>
              <p:cNvSpPr/>
              <p:nvPr/>
            </p:nvSpPr>
            <p:spPr>
              <a:xfrm>
                <a:off x="4236002" y="2860778"/>
                <a:ext cx="45719" cy="45719"/>
              </a:xfrm>
              <a:prstGeom prst="ellipse">
                <a:avLst/>
              </a:prstGeom>
              <a:solidFill>
                <a:srgbClr val="FFC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xmlns="" id="{33AAE3BC-CAFC-4C23-95E7-88F4B1FB45D0}"/>
                </a:ext>
              </a:extLst>
            </p:cNvPr>
            <p:cNvSpPr/>
            <p:nvPr/>
          </p:nvSpPr>
          <p:spPr>
            <a:xfrm>
              <a:off x="1376237" y="2800656"/>
              <a:ext cx="148313" cy="148313"/>
            </a:xfrm>
            <a:prstGeom prst="ellipse">
              <a:avLst/>
            </a:prstGeom>
            <a:solidFill>
              <a:srgbClr val="552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0" name="Ellipse 369">
              <a:extLst>
                <a:ext uri="{FF2B5EF4-FFF2-40B4-BE49-F238E27FC236}">
                  <a16:creationId xmlns:a16="http://schemas.microsoft.com/office/drawing/2014/main" xmlns="" id="{2F31286A-3EFF-4CC8-8E02-3105CC323DCA}"/>
                </a:ext>
              </a:extLst>
            </p:cNvPr>
            <p:cNvSpPr/>
            <p:nvPr/>
          </p:nvSpPr>
          <p:spPr>
            <a:xfrm>
              <a:off x="1728536" y="3775284"/>
              <a:ext cx="148313" cy="148313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1" name="Ellipse 370">
              <a:extLst>
                <a:ext uri="{FF2B5EF4-FFF2-40B4-BE49-F238E27FC236}">
                  <a16:creationId xmlns:a16="http://schemas.microsoft.com/office/drawing/2014/main" xmlns="" id="{A01BFBE3-D53E-4E9F-B5CD-7C947BE73566}"/>
                </a:ext>
              </a:extLst>
            </p:cNvPr>
            <p:cNvSpPr/>
            <p:nvPr/>
          </p:nvSpPr>
          <p:spPr>
            <a:xfrm>
              <a:off x="3283977" y="2612771"/>
              <a:ext cx="148313" cy="148313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2" name="Ellipse 371">
              <a:extLst>
                <a:ext uri="{FF2B5EF4-FFF2-40B4-BE49-F238E27FC236}">
                  <a16:creationId xmlns:a16="http://schemas.microsoft.com/office/drawing/2014/main" xmlns="" id="{D7587D7B-A440-4A69-83A6-04246655D06F}"/>
                </a:ext>
              </a:extLst>
            </p:cNvPr>
            <p:cNvSpPr/>
            <p:nvPr/>
          </p:nvSpPr>
          <p:spPr>
            <a:xfrm>
              <a:off x="4508966" y="3253620"/>
              <a:ext cx="148313" cy="148313"/>
            </a:xfrm>
            <a:prstGeom prst="ellipse">
              <a:avLst/>
            </a:prstGeom>
            <a:solidFill>
              <a:srgbClr val="552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43" name="ZoneTexte 164">
            <a:extLst>
              <a:ext uri="{FF2B5EF4-FFF2-40B4-BE49-F238E27FC236}">
                <a16:creationId xmlns:a16="http://schemas.microsoft.com/office/drawing/2014/main" xmlns="" id="{51021E5A-9769-4B53-801B-A8563C6F7AD1}"/>
              </a:ext>
            </a:extLst>
          </p:cNvPr>
          <p:cNvSpPr txBox="1"/>
          <p:nvPr/>
        </p:nvSpPr>
        <p:spPr>
          <a:xfrm>
            <a:off x="1375860" y="3750788"/>
            <a:ext cx="213592" cy="68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fr-FR"/>
            </a:defPPr>
            <a:lvl1pPr algn="ctr" defTabSz="914400"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algn="l"/>
            <a:r>
              <a:rPr lang="en-US" sz="400" dirty="0">
                <a:solidFill>
                  <a:schemeClr val="tx1"/>
                </a:solidFill>
              </a:rPr>
              <a:t>Houston</a:t>
            </a:r>
          </a:p>
        </p:txBody>
      </p:sp>
      <p:sp>
        <p:nvSpPr>
          <p:cNvPr id="1044" name="ZoneTexte 164">
            <a:extLst>
              <a:ext uri="{FF2B5EF4-FFF2-40B4-BE49-F238E27FC236}">
                <a16:creationId xmlns:a16="http://schemas.microsoft.com/office/drawing/2014/main" xmlns="" id="{F16DED53-7307-493E-B09E-106088E2443B}"/>
              </a:ext>
            </a:extLst>
          </p:cNvPr>
          <p:cNvSpPr txBox="1"/>
          <p:nvPr/>
        </p:nvSpPr>
        <p:spPr>
          <a:xfrm>
            <a:off x="4908430" y="4050892"/>
            <a:ext cx="261651" cy="68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fr-FR"/>
            </a:defPPr>
            <a:lvl1pPr algn="ctr" defTabSz="914400"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algn="l"/>
            <a:r>
              <a:rPr lang="en-US" sz="400" dirty="0">
                <a:solidFill>
                  <a:schemeClr val="tx1"/>
                </a:solidFill>
              </a:rPr>
              <a:t>Singapore</a:t>
            </a:r>
          </a:p>
        </p:txBody>
      </p:sp>
      <p:grpSp>
        <p:nvGrpSpPr>
          <p:cNvPr id="1045" name="Groupe 1044">
            <a:extLst>
              <a:ext uri="{FF2B5EF4-FFF2-40B4-BE49-F238E27FC236}">
                <a16:creationId xmlns:a16="http://schemas.microsoft.com/office/drawing/2014/main" xmlns="" id="{4A3EA47C-2A37-491B-9B90-E12D169055CA}"/>
              </a:ext>
            </a:extLst>
          </p:cNvPr>
          <p:cNvGrpSpPr/>
          <p:nvPr/>
        </p:nvGrpSpPr>
        <p:grpSpPr>
          <a:xfrm>
            <a:off x="5430318" y="1968202"/>
            <a:ext cx="3410512" cy="3410509"/>
            <a:chOff x="4859407" y="840109"/>
            <a:chExt cx="3071498" cy="3071496"/>
          </a:xfrm>
        </p:grpSpPr>
        <p:sp>
          <p:nvSpPr>
            <p:cNvPr id="1046" name="Ellipse 1045">
              <a:extLst>
                <a:ext uri="{FF2B5EF4-FFF2-40B4-BE49-F238E27FC236}">
                  <a16:creationId xmlns:a16="http://schemas.microsoft.com/office/drawing/2014/main" xmlns="" id="{551DD39B-1E6C-44AA-AB29-6BCFA1D0A6D2}"/>
                </a:ext>
              </a:extLst>
            </p:cNvPr>
            <p:cNvSpPr/>
            <p:nvPr/>
          </p:nvSpPr>
          <p:spPr>
            <a:xfrm>
              <a:off x="4859407" y="840109"/>
              <a:ext cx="3071498" cy="307149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FC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047" name="Group 6">
              <a:extLst>
                <a:ext uri="{FF2B5EF4-FFF2-40B4-BE49-F238E27FC236}">
                  <a16:creationId xmlns:a16="http://schemas.microsoft.com/office/drawing/2014/main" xmlns="" id="{A600C8ED-9C6B-4F58-B012-55BF625C28D3}"/>
                </a:ext>
              </a:extLst>
            </p:cNvPr>
            <p:cNvGrpSpPr/>
            <p:nvPr/>
          </p:nvGrpSpPr>
          <p:grpSpPr>
            <a:xfrm>
              <a:off x="5006843" y="864529"/>
              <a:ext cx="2909907" cy="2633208"/>
              <a:chOff x="4578386" y="602670"/>
              <a:chExt cx="4162899" cy="3767085"/>
            </a:xfrm>
          </p:grpSpPr>
          <p:sp>
            <p:nvSpPr>
              <p:cNvPr id="1118" name="Freeform 7">
                <a:extLst>
                  <a:ext uri="{FF2B5EF4-FFF2-40B4-BE49-F238E27FC236}">
                    <a16:creationId xmlns:a16="http://schemas.microsoft.com/office/drawing/2014/main" xmlns="" id="{644B62F6-95F6-4678-9090-FAAB51760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259" y="2143750"/>
                <a:ext cx="25142" cy="28739"/>
              </a:xfrm>
              <a:custGeom>
                <a:avLst/>
                <a:gdLst>
                  <a:gd name="T0" fmla="*/ 2 w 10"/>
                  <a:gd name="T1" fmla="*/ 0 h 11"/>
                  <a:gd name="T2" fmla="*/ 0 w 10"/>
                  <a:gd name="T3" fmla="*/ 2 h 11"/>
                  <a:gd name="T4" fmla="*/ 0 w 10"/>
                  <a:gd name="T5" fmla="*/ 6 h 11"/>
                  <a:gd name="T6" fmla="*/ 3 w 10"/>
                  <a:gd name="T7" fmla="*/ 8 h 11"/>
                  <a:gd name="T8" fmla="*/ 5 w 10"/>
                  <a:gd name="T9" fmla="*/ 10 h 11"/>
                  <a:gd name="T10" fmla="*/ 8 w 10"/>
                  <a:gd name="T11" fmla="*/ 11 h 11"/>
                  <a:gd name="T12" fmla="*/ 10 w 10"/>
                  <a:gd name="T13" fmla="*/ 8 h 11"/>
                  <a:gd name="T14" fmla="*/ 9 w 10"/>
                  <a:gd name="T15" fmla="*/ 5 h 11"/>
                  <a:gd name="T16" fmla="*/ 7 w 10"/>
                  <a:gd name="T17" fmla="*/ 4 h 11"/>
                  <a:gd name="T18" fmla="*/ 4 w 10"/>
                  <a:gd name="T19" fmla="*/ 2 h 11"/>
                  <a:gd name="T20" fmla="*/ 2 w 10"/>
                  <a:gd name="T2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1">
                    <a:moveTo>
                      <a:pt x="2" y="0"/>
                    </a:moveTo>
                    <a:cubicBezTo>
                      <a:pt x="1" y="0"/>
                      <a:pt x="1" y="1"/>
                      <a:pt x="0" y="2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0" y="7"/>
                      <a:pt x="2" y="7"/>
                      <a:pt x="3" y="8"/>
                    </a:cubicBezTo>
                    <a:cubicBezTo>
                      <a:pt x="4" y="9"/>
                      <a:pt x="4" y="10"/>
                      <a:pt x="5" y="10"/>
                    </a:cubicBezTo>
                    <a:cubicBezTo>
                      <a:pt x="6" y="11"/>
                      <a:pt x="7" y="11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0" y="7"/>
                      <a:pt x="10" y="6"/>
                      <a:pt x="9" y="5"/>
                    </a:cubicBezTo>
                    <a:cubicBezTo>
                      <a:pt x="8" y="4"/>
                      <a:pt x="8" y="4"/>
                      <a:pt x="7" y="4"/>
                    </a:cubicBezTo>
                    <a:cubicBezTo>
                      <a:pt x="5" y="3"/>
                      <a:pt x="5" y="3"/>
                      <a:pt x="4" y="2"/>
                    </a:cubicBezTo>
                    <a:cubicBezTo>
                      <a:pt x="3" y="1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9" name="Freeform 8">
                <a:extLst>
                  <a:ext uri="{FF2B5EF4-FFF2-40B4-BE49-F238E27FC236}">
                    <a16:creationId xmlns:a16="http://schemas.microsoft.com/office/drawing/2014/main" xmlns="" id="{CFBBC479-B08D-4970-9C86-7CFC86584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9021" y="2152133"/>
                <a:ext cx="28735" cy="17961"/>
              </a:xfrm>
              <a:custGeom>
                <a:avLst/>
                <a:gdLst>
                  <a:gd name="T0" fmla="*/ 7 w 11"/>
                  <a:gd name="T1" fmla="*/ 0 h 7"/>
                  <a:gd name="T2" fmla="*/ 4 w 11"/>
                  <a:gd name="T3" fmla="*/ 2 h 7"/>
                  <a:gd name="T4" fmla="*/ 0 w 11"/>
                  <a:gd name="T5" fmla="*/ 3 h 7"/>
                  <a:gd name="T6" fmla="*/ 0 w 11"/>
                  <a:gd name="T7" fmla="*/ 4 h 7"/>
                  <a:gd name="T8" fmla="*/ 2 w 11"/>
                  <a:gd name="T9" fmla="*/ 7 h 7"/>
                  <a:gd name="T10" fmla="*/ 4 w 11"/>
                  <a:gd name="T11" fmla="*/ 6 h 7"/>
                  <a:gd name="T12" fmla="*/ 7 w 11"/>
                  <a:gd name="T13" fmla="*/ 4 h 7"/>
                  <a:gd name="T14" fmla="*/ 11 w 11"/>
                  <a:gd name="T15" fmla="*/ 2 h 7"/>
                  <a:gd name="T16" fmla="*/ 9 w 11"/>
                  <a:gd name="T17" fmla="*/ 1 h 7"/>
                  <a:gd name="T18" fmla="*/ 7 w 11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7">
                    <a:moveTo>
                      <a:pt x="7" y="0"/>
                    </a:moveTo>
                    <a:cubicBezTo>
                      <a:pt x="6" y="0"/>
                      <a:pt x="5" y="1"/>
                      <a:pt x="4" y="2"/>
                    </a:cubicBezTo>
                    <a:cubicBezTo>
                      <a:pt x="3" y="3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7"/>
                      <a:pt x="2" y="7"/>
                    </a:cubicBezTo>
                    <a:cubicBezTo>
                      <a:pt x="2" y="7"/>
                      <a:pt x="3" y="7"/>
                      <a:pt x="4" y="6"/>
                    </a:cubicBezTo>
                    <a:cubicBezTo>
                      <a:pt x="5" y="5"/>
                      <a:pt x="5" y="4"/>
                      <a:pt x="7" y="4"/>
                    </a:cubicBezTo>
                    <a:cubicBezTo>
                      <a:pt x="8" y="4"/>
                      <a:pt x="11" y="4"/>
                      <a:pt x="11" y="2"/>
                    </a:cubicBezTo>
                    <a:cubicBezTo>
                      <a:pt x="11" y="1"/>
                      <a:pt x="10" y="1"/>
                      <a:pt x="9" y="1"/>
                    </a:cubicBezTo>
                    <a:cubicBezTo>
                      <a:pt x="8" y="1"/>
                      <a:pt x="8" y="0"/>
                      <a:pt x="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0" name="Freeform 9">
                <a:extLst>
                  <a:ext uri="{FF2B5EF4-FFF2-40B4-BE49-F238E27FC236}">
                    <a16:creationId xmlns:a16="http://schemas.microsoft.com/office/drawing/2014/main" xmlns="" id="{B0BB6453-11BA-49B9-B5FC-59297D0B2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3880" y="2164106"/>
                <a:ext cx="22748" cy="31133"/>
              </a:xfrm>
              <a:custGeom>
                <a:avLst/>
                <a:gdLst>
                  <a:gd name="T0" fmla="*/ 8 w 9"/>
                  <a:gd name="T1" fmla="*/ 1 h 12"/>
                  <a:gd name="T2" fmla="*/ 5 w 9"/>
                  <a:gd name="T3" fmla="*/ 0 h 12"/>
                  <a:gd name="T4" fmla="*/ 1 w 9"/>
                  <a:gd name="T5" fmla="*/ 0 h 12"/>
                  <a:gd name="T6" fmla="*/ 0 w 9"/>
                  <a:gd name="T7" fmla="*/ 0 h 12"/>
                  <a:gd name="T8" fmla="*/ 2 w 9"/>
                  <a:gd name="T9" fmla="*/ 4 h 12"/>
                  <a:gd name="T10" fmla="*/ 2 w 9"/>
                  <a:gd name="T11" fmla="*/ 6 h 12"/>
                  <a:gd name="T12" fmla="*/ 1 w 9"/>
                  <a:gd name="T13" fmla="*/ 10 h 12"/>
                  <a:gd name="T14" fmla="*/ 3 w 9"/>
                  <a:gd name="T15" fmla="*/ 12 h 12"/>
                  <a:gd name="T16" fmla="*/ 3 w 9"/>
                  <a:gd name="T17" fmla="*/ 10 h 12"/>
                  <a:gd name="T18" fmla="*/ 6 w 9"/>
                  <a:gd name="T19" fmla="*/ 6 h 12"/>
                  <a:gd name="T20" fmla="*/ 8 w 9"/>
                  <a:gd name="T21" fmla="*/ 5 h 12"/>
                  <a:gd name="T22" fmla="*/ 8 w 9"/>
                  <a:gd name="T23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8" y="1"/>
                    </a:moveTo>
                    <a:cubicBezTo>
                      <a:pt x="7" y="0"/>
                      <a:pt x="7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2"/>
                      <a:pt x="2" y="2"/>
                      <a:pt x="2" y="4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8"/>
                      <a:pt x="1" y="8"/>
                      <a:pt x="1" y="10"/>
                    </a:cubicBezTo>
                    <a:cubicBezTo>
                      <a:pt x="1" y="10"/>
                      <a:pt x="2" y="11"/>
                      <a:pt x="3" y="12"/>
                    </a:cubicBezTo>
                    <a:cubicBezTo>
                      <a:pt x="3" y="11"/>
                      <a:pt x="3" y="10"/>
                      <a:pt x="3" y="10"/>
                    </a:cubicBezTo>
                    <a:cubicBezTo>
                      <a:pt x="4" y="8"/>
                      <a:pt x="5" y="8"/>
                      <a:pt x="6" y="6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9" y="4"/>
                      <a:pt x="9" y="2"/>
                      <a:pt x="8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1" name="Freeform 10">
                <a:extLst>
                  <a:ext uri="{FF2B5EF4-FFF2-40B4-BE49-F238E27FC236}">
                    <a16:creationId xmlns:a16="http://schemas.microsoft.com/office/drawing/2014/main" xmlns="" id="{98551F1E-3986-4D9F-8AC8-D6145C696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0845" y="2131777"/>
                <a:ext cx="22748" cy="40713"/>
              </a:xfrm>
              <a:custGeom>
                <a:avLst/>
                <a:gdLst>
                  <a:gd name="T0" fmla="*/ 9 w 9"/>
                  <a:gd name="T1" fmla="*/ 0 h 16"/>
                  <a:gd name="T2" fmla="*/ 5 w 9"/>
                  <a:gd name="T3" fmla="*/ 5 h 16"/>
                  <a:gd name="T4" fmla="*/ 2 w 9"/>
                  <a:gd name="T5" fmla="*/ 9 h 16"/>
                  <a:gd name="T6" fmla="*/ 0 w 9"/>
                  <a:gd name="T7" fmla="*/ 11 h 16"/>
                  <a:gd name="T8" fmla="*/ 0 w 9"/>
                  <a:gd name="T9" fmla="*/ 15 h 16"/>
                  <a:gd name="T10" fmla="*/ 0 w 9"/>
                  <a:gd name="T11" fmla="*/ 16 h 16"/>
                  <a:gd name="T12" fmla="*/ 4 w 9"/>
                  <a:gd name="T13" fmla="*/ 12 h 16"/>
                  <a:gd name="T14" fmla="*/ 6 w 9"/>
                  <a:gd name="T15" fmla="*/ 8 h 16"/>
                  <a:gd name="T16" fmla="*/ 9 w 9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6">
                    <a:moveTo>
                      <a:pt x="9" y="0"/>
                    </a:moveTo>
                    <a:cubicBezTo>
                      <a:pt x="7" y="2"/>
                      <a:pt x="6" y="3"/>
                      <a:pt x="5" y="5"/>
                    </a:cubicBezTo>
                    <a:cubicBezTo>
                      <a:pt x="4" y="7"/>
                      <a:pt x="3" y="8"/>
                      <a:pt x="2" y="9"/>
                    </a:cubicBezTo>
                    <a:cubicBezTo>
                      <a:pt x="1" y="10"/>
                      <a:pt x="0" y="10"/>
                      <a:pt x="0" y="1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3" y="15"/>
                      <a:pt x="3" y="14"/>
                      <a:pt x="4" y="12"/>
                    </a:cubicBezTo>
                    <a:cubicBezTo>
                      <a:pt x="4" y="10"/>
                      <a:pt x="5" y="10"/>
                      <a:pt x="6" y="8"/>
                    </a:cubicBezTo>
                    <a:cubicBezTo>
                      <a:pt x="8" y="5"/>
                      <a:pt x="8" y="3"/>
                      <a:pt x="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2" name="Freeform 11">
                <a:extLst>
                  <a:ext uri="{FF2B5EF4-FFF2-40B4-BE49-F238E27FC236}">
                    <a16:creationId xmlns:a16="http://schemas.microsoft.com/office/drawing/2014/main" xmlns="" id="{E342953E-00C9-4481-969C-8B8611857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5772" y="2124592"/>
                <a:ext cx="14368" cy="25146"/>
              </a:xfrm>
              <a:custGeom>
                <a:avLst/>
                <a:gdLst>
                  <a:gd name="T0" fmla="*/ 1 w 6"/>
                  <a:gd name="T1" fmla="*/ 0 h 10"/>
                  <a:gd name="T2" fmla="*/ 0 w 6"/>
                  <a:gd name="T3" fmla="*/ 0 h 10"/>
                  <a:gd name="T4" fmla="*/ 0 w 6"/>
                  <a:gd name="T5" fmla="*/ 1 h 10"/>
                  <a:gd name="T6" fmla="*/ 2 w 6"/>
                  <a:gd name="T7" fmla="*/ 3 h 10"/>
                  <a:gd name="T8" fmla="*/ 2 w 6"/>
                  <a:gd name="T9" fmla="*/ 6 h 10"/>
                  <a:gd name="T10" fmla="*/ 4 w 6"/>
                  <a:gd name="T11" fmla="*/ 8 h 10"/>
                  <a:gd name="T12" fmla="*/ 5 w 6"/>
                  <a:gd name="T13" fmla="*/ 10 h 10"/>
                  <a:gd name="T14" fmla="*/ 6 w 6"/>
                  <a:gd name="T15" fmla="*/ 7 h 10"/>
                  <a:gd name="T16" fmla="*/ 4 w 6"/>
                  <a:gd name="T17" fmla="*/ 4 h 10"/>
                  <a:gd name="T18" fmla="*/ 1 w 6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0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1" y="2"/>
                      <a:pt x="2" y="3"/>
                    </a:cubicBezTo>
                    <a:cubicBezTo>
                      <a:pt x="2" y="4"/>
                      <a:pt x="2" y="5"/>
                      <a:pt x="2" y="6"/>
                    </a:cubicBezTo>
                    <a:cubicBezTo>
                      <a:pt x="2" y="7"/>
                      <a:pt x="3" y="7"/>
                      <a:pt x="4" y="8"/>
                    </a:cubicBezTo>
                    <a:cubicBezTo>
                      <a:pt x="4" y="9"/>
                      <a:pt x="4" y="10"/>
                      <a:pt x="5" y="10"/>
                    </a:cubicBezTo>
                    <a:cubicBezTo>
                      <a:pt x="6" y="9"/>
                      <a:pt x="6" y="8"/>
                      <a:pt x="6" y="7"/>
                    </a:cubicBezTo>
                    <a:cubicBezTo>
                      <a:pt x="6" y="6"/>
                      <a:pt x="5" y="5"/>
                      <a:pt x="4" y="4"/>
                    </a:cubicBezTo>
                    <a:cubicBezTo>
                      <a:pt x="4" y="2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3" name="Freeform 12">
                <a:extLst>
                  <a:ext uri="{FF2B5EF4-FFF2-40B4-BE49-F238E27FC236}">
                    <a16:creationId xmlns:a16="http://schemas.microsoft.com/office/drawing/2014/main" xmlns="" id="{148624A1-60EB-4315-8FD1-21478EC0C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029" y="2040772"/>
                <a:ext cx="10775" cy="17961"/>
              </a:xfrm>
              <a:custGeom>
                <a:avLst/>
                <a:gdLst>
                  <a:gd name="T0" fmla="*/ 3 w 4"/>
                  <a:gd name="T1" fmla="*/ 1 h 7"/>
                  <a:gd name="T2" fmla="*/ 2 w 4"/>
                  <a:gd name="T3" fmla="*/ 0 h 7"/>
                  <a:gd name="T4" fmla="*/ 1 w 4"/>
                  <a:gd name="T5" fmla="*/ 1 h 7"/>
                  <a:gd name="T6" fmla="*/ 0 w 4"/>
                  <a:gd name="T7" fmla="*/ 4 h 7"/>
                  <a:gd name="T8" fmla="*/ 0 w 4"/>
                  <a:gd name="T9" fmla="*/ 7 h 7"/>
                  <a:gd name="T10" fmla="*/ 1 w 4"/>
                  <a:gd name="T11" fmla="*/ 7 h 7"/>
                  <a:gd name="T12" fmla="*/ 2 w 4"/>
                  <a:gd name="T13" fmla="*/ 6 h 7"/>
                  <a:gd name="T14" fmla="*/ 4 w 4"/>
                  <a:gd name="T15" fmla="*/ 3 h 7"/>
                  <a:gd name="T16" fmla="*/ 3 w 4"/>
                  <a:gd name="T1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7">
                    <a:moveTo>
                      <a:pt x="3" y="1"/>
                    </a:move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0" y="2"/>
                      <a:pt x="0" y="4"/>
                    </a:cubicBezTo>
                    <a:cubicBezTo>
                      <a:pt x="0" y="5"/>
                      <a:pt x="0" y="5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6"/>
                      <a:pt x="2" y="6"/>
                    </a:cubicBezTo>
                    <a:cubicBezTo>
                      <a:pt x="3" y="5"/>
                      <a:pt x="4" y="4"/>
                      <a:pt x="4" y="3"/>
                    </a:cubicBezTo>
                    <a:cubicBezTo>
                      <a:pt x="4" y="2"/>
                      <a:pt x="3" y="2"/>
                      <a:pt x="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4" name="Freeform 13">
                <a:extLst>
                  <a:ext uri="{FF2B5EF4-FFF2-40B4-BE49-F238E27FC236}">
                    <a16:creationId xmlns:a16="http://schemas.microsoft.com/office/drawing/2014/main" xmlns="" id="{9BB8DC0E-3E0C-4259-B152-17C713069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3948" y="1886305"/>
                <a:ext cx="22748" cy="17961"/>
              </a:xfrm>
              <a:custGeom>
                <a:avLst/>
                <a:gdLst>
                  <a:gd name="T0" fmla="*/ 8 w 9"/>
                  <a:gd name="T1" fmla="*/ 0 h 7"/>
                  <a:gd name="T2" fmla="*/ 3 w 9"/>
                  <a:gd name="T3" fmla="*/ 2 h 7"/>
                  <a:gd name="T4" fmla="*/ 0 w 9"/>
                  <a:gd name="T5" fmla="*/ 4 h 7"/>
                  <a:gd name="T6" fmla="*/ 0 w 9"/>
                  <a:gd name="T7" fmla="*/ 6 h 7"/>
                  <a:gd name="T8" fmla="*/ 6 w 9"/>
                  <a:gd name="T9" fmla="*/ 7 h 7"/>
                  <a:gd name="T10" fmla="*/ 8 w 9"/>
                  <a:gd name="T11" fmla="*/ 3 h 7"/>
                  <a:gd name="T12" fmla="*/ 9 w 9"/>
                  <a:gd name="T13" fmla="*/ 1 h 7"/>
                  <a:gd name="T14" fmla="*/ 7 w 9"/>
                  <a:gd name="T15" fmla="*/ 0 h 7"/>
                  <a:gd name="T16" fmla="*/ 8 w 9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7">
                    <a:moveTo>
                      <a:pt x="8" y="0"/>
                    </a:moveTo>
                    <a:cubicBezTo>
                      <a:pt x="6" y="1"/>
                      <a:pt x="5" y="1"/>
                      <a:pt x="3" y="2"/>
                    </a:cubicBezTo>
                    <a:cubicBezTo>
                      <a:pt x="2" y="3"/>
                      <a:pt x="0" y="3"/>
                      <a:pt x="0" y="4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3" y="6"/>
                      <a:pt x="4" y="7"/>
                      <a:pt x="6" y="7"/>
                    </a:cubicBezTo>
                    <a:cubicBezTo>
                      <a:pt x="7" y="7"/>
                      <a:pt x="7" y="5"/>
                      <a:pt x="8" y="3"/>
                    </a:cubicBezTo>
                    <a:cubicBezTo>
                      <a:pt x="8" y="3"/>
                      <a:pt x="9" y="2"/>
                      <a:pt x="9" y="1"/>
                    </a:cubicBezTo>
                    <a:cubicBezTo>
                      <a:pt x="9" y="0"/>
                      <a:pt x="8" y="0"/>
                      <a:pt x="7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5" name="Freeform 14">
                <a:extLst>
                  <a:ext uri="{FF2B5EF4-FFF2-40B4-BE49-F238E27FC236}">
                    <a16:creationId xmlns:a16="http://schemas.microsoft.com/office/drawing/2014/main" xmlns="" id="{E5892AC7-B734-452A-801C-6F89E53C0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7458" y="1922228"/>
                <a:ext cx="13170" cy="20357"/>
              </a:xfrm>
              <a:custGeom>
                <a:avLst/>
                <a:gdLst>
                  <a:gd name="T0" fmla="*/ 3 w 5"/>
                  <a:gd name="T1" fmla="*/ 5 h 8"/>
                  <a:gd name="T2" fmla="*/ 2 w 5"/>
                  <a:gd name="T3" fmla="*/ 5 h 8"/>
                  <a:gd name="T4" fmla="*/ 5 w 5"/>
                  <a:gd name="T5" fmla="*/ 0 h 8"/>
                  <a:gd name="T6" fmla="*/ 4 w 5"/>
                  <a:gd name="T7" fmla="*/ 0 h 8"/>
                  <a:gd name="T8" fmla="*/ 2 w 5"/>
                  <a:gd name="T9" fmla="*/ 1 h 8"/>
                  <a:gd name="T10" fmla="*/ 0 w 5"/>
                  <a:gd name="T11" fmla="*/ 4 h 8"/>
                  <a:gd name="T12" fmla="*/ 0 w 5"/>
                  <a:gd name="T13" fmla="*/ 7 h 8"/>
                  <a:gd name="T14" fmla="*/ 1 w 5"/>
                  <a:gd name="T15" fmla="*/ 8 h 8"/>
                  <a:gd name="T16" fmla="*/ 3 w 5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8">
                    <a:moveTo>
                      <a:pt x="3" y="5"/>
                    </a:moveTo>
                    <a:cubicBezTo>
                      <a:pt x="3" y="5"/>
                      <a:pt x="2" y="5"/>
                      <a:pt x="2" y="5"/>
                    </a:cubicBezTo>
                    <a:cubicBezTo>
                      <a:pt x="2" y="3"/>
                      <a:pt x="4" y="2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1"/>
                      <a:pt x="2" y="1"/>
                    </a:cubicBezTo>
                    <a:cubicBezTo>
                      <a:pt x="1" y="2"/>
                      <a:pt x="0" y="2"/>
                      <a:pt x="0" y="4"/>
                    </a:cubicBezTo>
                    <a:cubicBezTo>
                      <a:pt x="0" y="5"/>
                      <a:pt x="0" y="6"/>
                      <a:pt x="0" y="7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3" y="8"/>
                      <a:pt x="2" y="6"/>
                      <a:pt x="3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6" name="Freeform 15">
                <a:extLst>
                  <a:ext uri="{FF2B5EF4-FFF2-40B4-BE49-F238E27FC236}">
                    <a16:creationId xmlns:a16="http://schemas.microsoft.com/office/drawing/2014/main" xmlns="" id="{ABC74170-4B6A-429F-9F14-2AA22B7E0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316" y="1833619"/>
                <a:ext cx="159237" cy="116150"/>
              </a:xfrm>
              <a:custGeom>
                <a:avLst/>
                <a:gdLst>
                  <a:gd name="T0" fmla="*/ 59 w 63"/>
                  <a:gd name="T1" fmla="*/ 0 h 46"/>
                  <a:gd name="T2" fmla="*/ 57 w 63"/>
                  <a:gd name="T3" fmla="*/ 0 h 46"/>
                  <a:gd name="T4" fmla="*/ 54 w 63"/>
                  <a:gd name="T5" fmla="*/ 3 h 46"/>
                  <a:gd name="T6" fmla="*/ 50 w 63"/>
                  <a:gd name="T7" fmla="*/ 3 h 46"/>
                  <a:gd name="T8" fmla="*/ 44 w 63"/>
                  <a:gd name="T9" fmla="*/ 5 h 46"/>
                  <a:gd name="T10" fmla="*/ 42 w 63"/>
                  <a:gd name="T11" fmla="*/ 10 h 46"/>
                  <a:gd name="T12" fmla="*/ 37 w 63"/>
                  <a:gd name="T13" fmla="*/ 19 h 46"/>
                  <a:gd name="T14" fmla="*/ 32 w 63"/>
                  <a:gd name="T15" fmla="*/ 24 h 46"/>
                  <a:gd name="T16" fmla="*/ 28 w 63"/>
                  <a:gd name="T17" fmla="*/ 26 h 46"/>
                  <a:gd name="T18" fmla="*/ 25 w 63"/>
                  <a:gd name="T19" fmla="*/ 25 h 46"/>
                  <a:gd name="T20" fmla="*/ 22 w 63"/>
                  <a:gd name="T21" fmla="*/ 25 h 46"/>
                  <a:gd name="T22" fmla="*/ 16 w 63"/>
                  <a:gd name="T23" fmla="*/ 27 h 46"/>
                  <a:gd name="T24" fmla="*/ 10 w 63"/>
                  <a:gd name="T25" fmla="*/ 26 h 46"/>
                  <a:gd name="T26" fmla="*/ 6 w 63"/>
                  <a:gd name="T27" fmla="*/ 29 h 46"/>
                  <a:gd name="T28" fmla="*/ 3 w 63"/>
                  <a:gd name="T29" fmla="*/ 31 h 46"/>
                  <a:gd name="T30" fmla="*/ 0 w 63"/>
                  <a:gd name="T31" fmla="*/ 38 h 46"/>
                  <a:gd name="T32" fmla="*/ 0 w 63"/>
                  <a:gd name="T33" fmla="*/ 40 h 46"/>
                  <a:gd name="T34" fmla="*/ 0 w 63"/>
                  <a:gd name="T35" fmla="*/ 40 h 46"/>
                  <a:gd name="T36" fmla="*/ 1 w 63"/>
                  <a:gd name="T37" fmla="*/ 40 h 46"/>
                  <a:gd name="T38" fmla="*/ 3 w 63"/>
                  <a:gd name="T39" fmla="*/ 42 h 46"/>
                  <a:gd name="T40" fmla="*/ 5 w 63"/>
                  <a:gd name="T41" fmla="*/ 45 h 46"/>
                  <a:gd name="T42" fmla="*/ 6 w 63"/>
                  <a:gd name="T43" fmla="*/ 46 h 46"/>
                  <a:gd name="T44" fmla="*/ 8 w 63"/>
                  <a:gd name="T45" fmla="*/ 45 h 46"/>
                  <a:gd name="T46" fmla="*/ 6 w 63"/>
                  <a:gd name="T47" fmla="*/ 43 h 46"/>
                  <a:gd name="T48" fmla="*/ 5 w 63"/>
                  <a:gd name="T49" fmla="*/ 40 h 46"/>
                  <a:gd name="T50" fmla="*/ 7 w 63"/>
                  <a:gd name="T51" fmla="*/ 37 h 46"/>
                  <a:gd name="T52" fmla="*/ 7 w 63"/>
                  <a:gd name="T53" fmla="*/ 34 h 46"/>
                  <a:gd name="T54" fmla="*/ 9 w 63"/>
                  <a:gd name="T55" fmla="*/ 33 h 46"/>
                  <a:gd name="T56" fmla="*/ 12 w 63"/>
                  <a:gd name="T57" fmla="*/ 32 h 46"/>
                  <a:gd name="T58" fmla="*/ 19 w 63"/>
                  <a:gd name="T59" fmla="*/ 31 h 46"/>
                  <a:gd name="T60" fmla="*/ 24 w 63"/>
                  <a:gd name="T61" fmla="*/ 31 h 46"/>
                  <a:gd name="T62" fmla="*/ 34 w 63"/>
                  <a:gd name="T63" fmla="*/ 29 h 46"/>
                  <a:gd name="T64" fmla="*/ 37 w 63"/>
                  <a:gd name="T65" fmla="*/ 29 h 46"/>
                  <a:gd name="T66" fmla="*/ 43 w 63"/>
                  <a:gd name="T67" fmla="*/ 29 h 46"/>
                  <a:gd name="T68" fmla="*/ 47 w 63"/>
                  <a:gd name="T69" fmla="*/ 30 h 46"/>
                  <a:gd name="T70" fmla="*/ 50 w 63"/>
                  <a:gd name="T71" fmla="*/ 31 h 46"/>
                  <a:gd name="T72" fmla="*/ 52 w 63"/>
                  <a:gd name="T73" fmla="*/ 32 h 46"/>
                  <a:gd name="T74" fmla="*/ 53 w 63"/>
                  <a:gd name="T75" fmla="*/ 31 h 46"/>
                  <a:gd name="T76" fmla="*/ 54 w 63"/>
                  <a:gd name="T77" fmla="*/ 29 h 46"/>
                  <a:gd name="T78" fmla="*/ 56 w 63"/>
                  <a:gd name="T79" fmla="*/ 25 h 46"/>
                  <a:gd name="T80" fmla="*/ 57 w 63"/>
                  <a:gd name="T81" fmla="*/ 19 h 46"/>
                  <a:gd name="T82" fmla="*/ 58 w 63"/>
                  <a:gd name="T83" fmla="*/ 17 h 46"/>
                  <a:gd name="T84" fmla="*/ 57 w 63"/>
                  <a:gd name="T85" fmla="*/ 12 h 46"/>
                  <a:gd name="T86" fmla="*/ 57 w 63"/>
                  <a:gd name="T87" fmla="*/ 10 h 46"/>
                  <a:gd name="T88" fmla="*/ 60 w 63"/>
                  <a:gd name="T89" fmla="*/ 6 h 46"/>
                  <a:gd name="T90" fmla="*/ 63 w 63"/>
                  <a:gd name="T91" fmla="*/ 0 h 46"/>
                  <a:gd name="T92" fmla="*/ 59 w 63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3" h="46">
                    <a:moveTo>
                      <a:pt x="59" y="0"/>
                    </a:moveTo>
                    <a:cubicBezTo>
                      <a:pt x="58" y="0"/>
                      <a:pt x="58" y="0"/>
                      <a:pt x="57" y="0"/>
                    </a:cubicBezTo>
                    <a:cubicBezTo>
                      <a:pt x="55" y="0"/>
                      <a:pt x="55" y="2"/>
                      <a:pt x="54" y="3"/>
                    </a:cubicBezTo>
                    <a:cubicBezTo>
                      <a:pt x="52" y="3"/>
                      <a:pt x="51" y="3"/>
                      <a:pt x="50" y="3"/>
                    </a:cubicBezTo>
                    <a:cubicBezTo>
                      <a:pt x="47" y="4"/>
                      <a:pt x="46" y="3"/>
                      <a:pt x="44" y="5"/>
                    </a:cubicBezTo>
                    <a:cubicBezTo>
                      <a:pt x="43" y="6"/>
                      <a:pt x="43" y="8"/>
                      <a:pt x="42" y="10"/>
                    </a:cubicBezTo>
                    <a:cubicBezTo>
                      <a:pt x="40" y="13"/>
                      <a:pt x="39" y="15"/>
                      <a:pt x="37" y="19"/>
                    </a:cubicBezTo>
                    <a:cubicBezTo>
                      <a:pt x="35" y="21"/>
                      <a:pt x="34" y="22"/>
                      <a:pt x="32" y="24"/>
                    </a:cubicBezTo>
                    <a:cubicBezTo>
                      <a:pt x="31" y="25"/>
                      <a:pt x="30" y="26"/>
                      <a:pt x="28" y="26"/>
                    </a:cubicBezTo>
                    <a:cubicBezTo>
                      <a:pt x="26" y="26"/>
                      <a:pt x="26" y="25"/>
                      <a:pt x="25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0" y="25"/>
                      <a:pt x="19" y="27"/>
                      <a:pt x="16" y="27"/>
                    </a:cubicBezTo>
                    <a:cubicBezTo>
                      <a:pt x="14" y="27"/>
                      <a:pt x="13" y="26"/>
                      <a:pt x="10" y="26"/>
                    </a:cubicBezTo>
                    <a:cubicBezTo>
                      <a:pt x="8" y="26"/>
                      <a:pt x="8" y="28"/>
                      <a:pt x="6" y="29"/>
                    </a:cubicBezTo>
                    <a:cubicBezTo>
                      <a:pt x="5" y="30"/>
                      <a:pt x="4" y="30"/>
                      <a:pt x="3" y="31"/>
                    </a:cubicBezTo>
                    <a:cubicBezTo>
                      <a:pt x="1" y="34"/>
                      <a:pt x="0" y="35"/>
                      <a:pt x="0" y="38"/>
                    </a:cubicBezTo>
                    <a:cubicBezTo>
                      <a:pt x="0" y="39"/>
                      <a:pt x="0" y="39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2" y="40"/>
                      <a:pt x="3" y="41"/>
                      <a:pt x="3" y="42"/>
                    </a:cubicBezTo>
                    <a:cubicBezTo>
                      <a:pt x="3" y="43"/>
                      <a:pt x="4" y="44"/>
                      <a:pt x="5" y="45"/>
                    </a:cubicBezTo>
                    <a:cubicBezTo>
                      <a:pt x="5" y="46"/>
                      <a:pt x="5" y="46"/>
                      <a:pt x="6" y="46"/>
                    </a:cubicBezTo>
                    <a:cubicBezTo>
                      <a:pt x="7" y="46"/>
                      <a:pt x="8" y="46"/>
                      <a:pt x="8" y="45"/>
                    </a:cubicBezTo>
                    <a:cubicBezTo>
                      <a:pt x="8" y="44"/>
                      <a:pt x="7" y="44"/>
                      <a:pt x="6" y="43"/>
                    </a:cubicBezTo>
                    <a:cubicBezTo>
                      <a:pt x="6" y="42"/>
                      <a:pt x="5" y="42"/>
                      <a:pt x="5" y="40"/>
                    </a:cubicBezTo>
                    <a:cubicBezTo>
                      <a:pt x="5" y="39"/>
                      <a:pt x="6" y="38"/>
                      <a:pt x="7" y="37"/>
                    </a:cubicBezTo>
                    <a:cubicBezTo>
                      <a:pt x="8" y="36"/>
                      <a:pt x="7" y="35"/>
                      <a:pt x="7" y="34"/>
                    </a:cubicBezTo>
                    <a:cubicBezTo>
                      <a:pt x="7" y="33"/>
                      <a:pt x="8" y="33"/>
                      <a:pt x="9" y="33"/>
                    </a:cubicBezTo>
                    <a:cubicBezTo>
                      <a:pt x="10" y="33"/>
                      <a:pt x="11" y="33"/>
                      <a:pt x="12" y="32"/>
                    </a:cubicBezTo>
                    <a:cubicBezTo>
                      <a:pt x="14" y="31"/>
                      <a:pt x="16" y="31"/>
                      <a:pt x="19" y="31"/>
                    </a:cubicBezTo>
                    <a:cubicBezTo>
                      <a:pt x="21" y="31"/>
                      <a:pt x="22" y="31"/>
                      <a:pt x="24" y="31"/>
                    </a:cubicBezTo>
                    <a:cubicBezTo>
                      <a:pt x="28" y="31"/>
                      <a:pt x="30" y="29"/>
                      <a:pt x="34" y="29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9"/>
                      <a:pt x="41" y="29"/>
                      <a:pt x="43" y="29"/>
                    </a:cubicBezTo>
                    <a:cubicBezTo>
                      <a:pt x="45" y="29"/>
                      <a:pt x="45" y="30"/>
                      <a:pt x="47" y="30"/>
                    </a:cubicBezTo>
                    <a:cubicBezTo>
                      <a:pt x="48" y="30"/>
                      <a:pt x="49" y="30"/>
                      <a:pt x="50" y="31"/>
                    </a:cubicBezTo>
                    <a:cubicBezTo>
                      <a:pt x="51" y="32"/>
                      <a:pt x="51" y="32"/>
                      <a:pt x="52" y="32"/>
                    </a:cubicBezTo>
                    <a:cubicBezTo>
                      <a:pt x="52" y="32"/>
                      <a:pt x="52" y="32"/>
                      <a:pt x="53" y="31"/>
                    </a:cubicBezTo>
                    <a:cubicBezTo>
                      <a:pt x="53" y="30"/>
                      <a:pt x="53" y="30"/>
                      <a:pt x="54" y="29"/>
                    </a:cubicBezTo>
                    <a:cubicBezTo>
                      <a:pt x="54" y="27"/>
                      <a:pt x="55" y="27"/>
                      <a:pt x="56" y="25"/>
                    </a:cubicBezTo>
                    <a:cubicBezTo>
                      <a:pt x="57" y="23"/>
                      <a:pt x="57" y="21"/>
                      <a:pt x="57" y="19"/>
                    </a:cubicBezTo>
                    <a:cubicBezTo>
                      <a:pt x="58" y="19"/>
                      <a:pt x="58" y="18"/>
                      <a:pt x="58" y="17"/>
                    </a:cubicBezTo>
                    <a:cubicBezTo>
                      <a:pt x="58" y="15"/>
                      <a:pt x="57" y="14"/>
                      <a:pt x="57" y="12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8"/>
                      <a:pt x="59" y="7"/>
                      <a:pt x="60" y="6"/>
                    </a:cubicBezTo>
                    <a:cubicBezTo>
                      <a:pt x="61" y="4"/>
                      <a:pt x="62" y="2"/>
                      <a:pt x="63" y="0"/>
                    </a:cubicBezTo>
                    <a:cubicBezTo>
                      <a:pt x="61" y="0"/>
                      <a:pt x="61" y="0"/>
                      <a:pt x="5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7" name="Freeform 16">
                <a:extLst>
                  <a:ext uri="{FF2B5EF4-FFF2-40B4-BE49-F238E27FC236}">
                    <a16:creationId xmlns:a16="http://schemas.microsoft.com/office/drawing/2014/main" xmlns="" id="{7451A64B-8BB6-40CE-9FC1-492770A22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955" y="2070708"/>
                <a:ext cx="58666" cy="61069"/>
              </a:xfrm>
              <a:custGeom>
                <a:avLst/>
                <a:gdLst>
                  <a:gd name="T0" fmla="*/ 12 w 23"/>
                  <a:gd name="T1" fmla="*/ 0 h 24"/>
                  <a:gd name="T2" fmla="*/ 6 w 23"/>
                  <a:gd name="T3" fmla="*/ 4 h 24"/>
                  <a:gd name="T4" fmla="*/ 3 w 23"/>
                  <a:gd name="T5" fmla="*/ 6 h 24"/>
                  <a:gd name="T6" fmla="*/ 0 w 23"/>
                  <a:gd name="T7" fmla="*/ 7 h 24"/>
                  <a:gd name="T8" fmla="*/ 2 w 23"/>
                  <a:gd name="T9" fmla="*/ 10 h 24"/>
                  <a:gd name="T10" fmla="*/ 2 w 23"/>
                  <a:gd name="T11" fmla="*/ 12 h 24"/>
                  <a:gd name="T12" fmla="*/ 4 w 23"/>
                  <a:gd name="T13" fmla="*/ 16 h 24"/>
                  <a:gd name="T14" fmla="*/ 6 w 23"/>
                  <a:gd name="T15" fmla="*/ 20 h 24"/>
                  <a:gd name="T16" fmla="*/ 9 w 23"/>
                  <a:gd name="T17" fmla="*/ 23 h 24"/>
                  <a:gd name="T18" fmla="*/ 10 w 23"/>
                  <a:gd name="T19" fmla="*/ 23 h 24"/>
                  <a:gd name="T20" fmla="*/ 17 w 23"/>
                  <a:gd name="T21" fmla="*/ 24 h 24"/>
                  <a:gd name="T22" fmla="*/ 21 w 23"/>
                  <a:gd name="T23" fmla="*/ 23 h 24"/>
                  <a:gd name="T24" fmla="*/ 22 w 23"/>
                  <a:gd name="T25" fmla="*/ 20 h 24"/>
                  <a:gd name="T26" fmla="*/ 23 w 23"/>
                  <a:gd name="T27" fmla="*/ 16 h 24"/>
                  <a:gd name="T28" fmla="*/ 21 w 23"/>
                  <a:gd name="T29" fmla="*/ 10 h 24"/>
                  <a:gd name="T30" fmla="*/ 23 w 23"/>
                  <a:gd name="T31" fmla="*/ 8 h 24"/>
                  <a:gd name="T32" fmla="*/ 23 w 23"/>
                  <a:gd name="T33" fmla="*/ 3 h 24"/>
                  <a:gd name="T34" fmla="*/ 22 w 23"/>
                  <a:gd name="T35" fmla="*/ 2 h 24"/>
                  <a:gd name="T36" fmla="*/ 21 w 23"/>
                  <a:gd name="T37" fmla="*/ 5 h 24"/>
                  <a:gd name="T38" fmla="*/ 16 w 23"/>
                  <a:gd name="T39" fmla="*/ 8 h 24"/>
                  <a:gd name="T40" fmla="*/ 13 w 23"/>
                  <a:gd name="T41" fmla="*/ 6 h 24"/>
                  <a:gd name="T42" fmla="*/ 13 w 23"/>
                  <a:gd name="T43" fmla="*/ 5 h 24"/>
                  <a:gd name="T44" fmla="*/ 16 w 23"/>
                  <a:gd name="T45" fmla="*/ 3 h 24"/>
                  <a:gd name="T46" fmla="*/ 12 w 23"/>
                  <a:gd name="T4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3" h="24">
                    <a:moveTo>
                      <a:pt x="12" y="0"/>
                    </a:moveTo>
                    <a:cubicBezTo>
                      <a:pt x="9" y="1"/>
                      <a:pt x="9" y="3"/>
                      <a:pt x="6" y="4"/>
                    </a:cubicBezTo>
                    <a:cubicBezTo>
                      <a:pt x="5" y="5"/>
                      <a:pt x="4" y="5"/>
                      <a:pt x="3" y="6"/>
                    </a:cubicBezTo>
                    <a:cubicBezTo>
                      <a:pt x="2" y="6"/>
                      <a:pt x="0" y="6"/>
                      <a:pt x="0" y="7"/>
                    </a:cubicBezTo>
                    <a:cubicBezTo>
                      <a:pt x="0" y="8"/>
                      <a:pt x="1" y="9"/>
                      <a:pt x="2" y="10"/>
                    </a:cubicBezTo>
                    <a:cubicBezTo>
                      <a:pt x="2" y="11"/>
                      <a:pt x="2" y="11"/>
                      <a:pt x="2" y="12"/>
                    </a:cubicBezTo>
                    <a:cubicBezTo>
                      <a:pt x="2" y="14"/>
                      <a:pt x="3" y="14"/>
                      <a:pt x="4" y="16"/>
                    </a:cubicBezTo>
                    <a:cubicBezTo>
                      <a:pt x="4" y="18"/>
                      <a:pt x="5" y="19"/>
                      <a:pt x="6" y="20"/>
                    </a:cubicBezTo>
                    <a:cubicBezTo>
                      <a:pt x="7" y="21"/>
                      <a:pt x="7" y="23"/>
                      <a:pt x="9" y="23"/>
                    </a:cubicBezTo>
                    <a:cubicBezTo>
                      <a:pt x="9" y="23"/>
                      <a:pt x="10" y="23"/>
                      <a:pt x="10" y="23"/>
                    </a:cubicBezTo>
                    <a:cubicBezTo>
                      <a:pt x="13" y="23"/>
                      <a:pt x="14" y="24"/>
                      <a:pt x="17" y="24"/>
                    </a:cubicBezTo>
                    <a:cubicBezTo>
                      <a:pt x="18" y="24"/>
                      <a:pt x="20" y="24"/>
                      <a:pt x="21" y="23"/>
                    </a:cubicBezTo>
                    <a:cubicBezTo>
                      <a:pt x="22" y="23"/>
                      <a:pt x="22" y="22"/>
                      <a:pt x="22" y="20"/>
                    </a:cubicBezTo>
                    <a:cubicBezTo>
                      <a:pt x="22" y="19"/>
                      <a:pt x="23" y="18"/>
                      <a:pt x="23" y="16"/>
                    </a:cubicBezTo>
                    <a:cubicBezTo>
                      <a:pt x="23" y="14"/>
                      <a:pt x="21" y="13"/>
                      <a:pt x="21" y="10"/>
                    </a:cubicBezTo>
                    <a:cubicBezTo>
                      <a:pt x="21" y="9"/>
                      <a:pt x="23" y="9"/>
                      <a:pt x="23" y="8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3"/>
                      <a:pt x="22" y="4"/>
                      <a:pt x="21" y="5"/>
                    </a:cubicBezTo>
                    <a:cubicBezTo>
                      <a:pt x="21" y="7"/>
                      <a:pt x="18" y="8"/>
                      <a:pt x="16" y="8"/>
                    </a:cubicBezTo>
                    <a:cubicBezTo>
                      <a:pt x="14" y="8"/>
                      <a:pt x="14" y="7"/>
                      <a:pt x="13" y="6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4" y="5"/>
                      <a:pt x="16" y="4"/>
                      <a:pt x="16" y="3"/>
                    </a:cubicBezTo>
                    <a:cubicBezTo>
                      <a:pt x="16" y="1"/>
                      <a:pt x="14" y="1"/>
                      <a:pt x="1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8" name="Freeform 17">
                <a:extLst>
                  <a:ext uri="{FF2B5EF4-FFF2-40B4-BE49-F238E27FC236}">
                    <a16:creationId xmlns:a16="http://schemas.microsoft.com/office/drawing/2014/main" xmlns="" id="{042B2F3F-90B6-4899-9852-E9D1F9C72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3593" y="2154528"/>
                <a:ext cx="45497" cy="34725"/>
              </a:xfrm>
              <a:custGeom>
                <a:avLst/>
                <a:gdLst>
                  <a:gd name="T0" fmla="*/ 6 w 18"/>
                  <a:gd name="T1" fmla="*/ 1 h 14"/>
                  <a:gd name="T2" fmla="*/ 5 w 18"/>
                  <a:gd name="T3" fmla="*/ 0 h 14"/>
                  <a:gd name="T4" fmla="*/ 3 w 18"/>
                  <a:gd name="T5" fmla="*/ 1 h 14"/>
                  <a:gd name="T6" fmla="*/ 1 w 18"/>
                  <a:gd name="T7" fmla="*/ 2 h 14"/>
                  <a:gd name="T8" fmla="*/ 1 w 18"/>
                  <a:gd name="T9" fmla="*/ 4 h 14"/>
                  <a:gd name="T10" fmla="*/ 0 w 18"/>
                  <a:gd name="T11" fmla="*/ 8 h 14"/>
                  <a:gd name="T12" fmla="*/ 3 w 18"/>
                  <a:gd name="T13" fmla="*/ 9 h 14"/>
                  <a:gd name="T14" fmla="*/ 6 w 18"/>
                  <a:gd name="T15" fmla="*/ 10 h 14"/>
                  <a:gd name="T16" fmla="*/ 9 w 18"/>
                  <a:gd name="T17" fmla="*/ 12 h 14"/>
                  <a:gd name="T18" fmla="*/ 11 w 18"/>
                  <a:gd name="T19" fmla="*/ 14 h 14"/>
                  <a:gd name="T20" fmla="*/ 13 w 18"/>
                  <a:gd name="T21" fmla="*/ 13 h 14"/>
                  <a:gd name="T22" fmla="*/ 14 w 18"/>
                  <a:gd name="T23" fmla="*/ 13 h 14"/>
                  <a:gd name="T24" fmla="*/ 18 w 18"/>
                  <a:gd name="T25" fmla="*/ 13 h 14"/>
                  <a:gd name="T26" fmla="*/ 18 w 18"/>
                  <a:gd name="T27" fmla="*/ 10 h 14"/>
                  <a:gd name="T28" fmla="*/ 18 w 18"/>
                  <a:gd name="T29" fmla="*/ 7 h 14"/>
                  <a:gd name="T30" fmla="*/ 17 w 18"/>
                  <a:gd name="T31" fmla="*/ 4 h 14"/>
                  <a:gd name="T32" fmla="*/ 14 w 18"/>
                  <a:gd name="T33" fmla="*/ 6 h 14"/>
                  <a:gd name="T34" fmla="*/ 10 w 18"/>
                  <a:gd name="T35" fmla="*/ 4 h 14"/>
                  <a:gd name="T36" fmla="*/ 6 w 18"/>
                  <a:gd name="T3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4">
                    <a:moveTo>
                      <a:pt x="6" y="1"/>
                    </a:moveTo>
                    <a:cubicBezTo>
                      <a:pt x="6" y="1"/>
                      <a:pt x="6" y="0"/>
                      <a:pt x="5" y="0"/>
                    </a:cubicBezTo>
                    <a:cubicBezTo>
                      <a:pt x="4" y="0"/>
                      <a:pt x="4" y="1"/>
                      <a:pt x="3" y="1"/>
                    </a:cubicBezTo>
                    <a:cubicBezTo>
                      <a:pt x="2" y="1"/>
                      <a:pt x="1" y="1"/>
                      <a:pt x="1" y="2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1" y="6"/>
                      <a:pt x="0" y="6"/>
                      <a:pt x="0" y="8"/>
                    </a:cubicBezTo>
                    <a:cubicBezTo>
                      <a:pt x="0" y="9"/>
                      <a:pt x="2" y="9"/>
                      <a:pt x="3" y="9"/>
                    </a:cubicBezTo>
                    <a:cubicBezTo>
                      <a:pt x="4" y="9"/>
                      <a:pt x="5" y="9"/>
                      <a:pt x="6" y="10"/>
                    </a:cubicBezTo>
                    <a:cubicBezTo>
                      <a:pt x="7" y="11"/>
                      <a:pt x="8" y="11"/>
                      <a:pt x="9" y="12"/>
                    </a:cubicBezTo>
                    <a:cubicBezTo>
                      <a:pt x="10" y="13"/>
                      <a:pt x="10" y="14"/>
                      <a:pt x="11" y="14"/>
                    </a:cubicBezTo>
                    <a:cubicBezTo>
                      <a:pt x="12" y="14"/>
                      <a:pt x="12" y="13"/>
                      <a:pt x="13" y="13"/>
                    </a:cubicBezTo>
                    <a:cubicBezTo>
                      <a:pt x="13" y="13"/>
                      <a:pt x="14" y="13"/>
                      <a:pt x="14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2"/>
                      <a:pt x="18" y="11"/>
                      <a:pt x="18" y="10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4"/>
                      <a:pt x="17" y="4"/>
                    </a:cubicBezTo>
                    <a:cubicBezTo>
                      <a:pt x="15" y="4"/>
                      <a:pt x="15" y="6"/>
                      <a:pt x="14" y="6"/>
                    </a:cubicBezTo>
                    <a:cubicBezTo>
                      <a:pt x="12" y="6"/>
                      <a:pt x="11" y="5"/>
                      <a:pt x="10" y="4"/>
                    </a:cubicBezTo>
                    <a:cubicBezTo>
                      <a:pt x="9" y="3"/>
                      <a:pt x="8" y="2"/>
                      <a:pt x="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29" name="Freeform 18">
                <a:extLst>
                  <a:ext uri="{FF2B5EF4-FFF2-40B4-BE49-F238E27FC236}">
                    <a16:creationId xmlns:a16="http://schemas.microsoft.com/office/drawing/2014/main" xmlns="" id="{8500CAFD-80BD-4C7E-8718-F80797ED2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383" y="2025206"/>
                <a:ext cx="99373" cy="131716"/>
              </a:xfrm>
              <a:custGeom>
                <a:avLst/>
                <a:gdLst>
                  <a:gd name="T0" fmla="*/ 24 w 39"/>
                  <a:gd name="T1" fmla="*/ 6 h 52"/>
                  <a:gd name="T2" fmla="*/ 27 w 39"/>
                  <a:gd name="T3" fmla="*/ 6 h 52"/>
                  <a:gd name="T4" fmla="*/ 28 w 39"/>
                  <a:gd name="T5" fmla="*/ 10 h 52"/>
                  <a:gd name="T6" fmla="*/ 27 w 39"/>
                  <a:gd name="T7" fmla="*/ 13 h 52"/>
                  <a:gd name="T8" fmla="*/ 26 w 39"/>
                  <a:gd name="T9" fmla="*/ 15 h 52"/>
                  <a:gd name="T10" fmla="*/ 25 w 39"/>
                  <a:gd name="T11" fmla="*/ 18 h 52"/>
                  <a:gd name="T12" fmla="*/ 24 w 39"/>
                  <a:gd name="T13" fmla="*/ 18 h 52"/>
                  <a:gd name="T14" fmla="*/ 24 w 39"/>
                  <a:gd name="T15" fmla="*/ 17 h 52"/>
                  <a:gd name="T16" fmla="*/ 26 w 39"/>
                  <a:gd name="T17" fmla="*/ 11 h 52"/>
                  <a:gd name="T18" fmla="*/ 25 w 39"/>
                  <a:gd name="T19" fmla="*/ 10 h 52"/>
                  <a:gd name="T20" fmla="*/ 24 w 39"/>
                  <a:gd name="T21" fmla="*/ 10 h 52"/>
                  <a:gd name="T22" fmla="*/ 22 w 39"/>
                  <a:gd name="T23" fmla="*/ 15 h 52"/>
                  <a:gd name="T24" fmla="*/ 18 w 39"/>
                  <a:gd name="T25" fmla="*/ 18 h 52"/>
                  <a:gd name="T26" fmla="*/ 16 w 39"/>
                  <a:gd name="T27" fmla="*/ 16 h 52"/>
                  <a:gd name="T28" fmla="*/ 17 w 39"/>
                  <a:gd name="T29" fmla="*/ 14 h 52"/>
                  <a:gd name="T30" fmla="*/ 18 w 39"/>
                  <a:gd name="T31" fmla="*/ 10 h 52"/>
                  <a:gd name="T32" fmla="*/ 19 w 39"/>
                  <a:gd name="T33" fmla="*/ 10 h 52"/>
                  <a:gd name="T34" fmla="*/ 19 w 39"/>
                  <a:gd name="T35" fmla="*/ 8 h 52"/>
                  <a:gd name="T36" fmla="*/ 19 w 39"/>
                  <a:gd name="T37" fmla="*/ 7 h 52"/>
                  <a:gd name="T38" fmla="*/ 18 w 39"/>
                  <a:gd name="T39" fmla="*/ 6 h 52"/>
                  <a:gd name="T40" fmla="*/ 17 w 39"/>
                  <a:gd name="T41" fmla="*/ 7 h 52"/>
                  <a:gd name="T42" fmla="*/ 9 w 39"/>
                  <a:gd name="T43" fmla="*/ 6 h 52"/>
                  <a:gd name="T44" fmla="*/ 8 w 39"/>
                  <a:gd name="T45" fmla="*/ 6 h 52"/>
                  <a:gd name="T46" fmla="*/ 11 w 39"/>
                  <a:gd name="T47" fmla="*/ 9 h 52"/>
                  <a:gd name="T48" fmla="*/ 13 w 39"/>
                  <a:gd name="T49" fmla="*/ 10 h 52"/>
                  <a:gd name="T50" fmla="*/ 11 w 39"/>
                  <a:gd name="T51" fmla="*/ 12 h 52"/>
                  <a:gd name="T52" fmla="*/ 6 w 39"/>
                  <a:gd name="T53" fmla="*/ 14 h 52"/>
                  <a:gd name="T54" fmla="*/ 1 w 39"/>
                  <a:gd name="T55" fmla="*/ 14 h 52"/>
                  <a:gd name="T56" fmla="*/ 0 w 39"/>
                  <a:gd name="T57" fmla="*/ 14 h 52"/>
                  <a:gd name="T58" fmla="*/ 0 w 39"/>
                  <a:gd name="T59" fmla="*/ 15 h 52"/>
                  <a:gd name="T60" fmla="*/ 2 w 39"/>
                  <a:gd name="T61" fmla="*/ 18 h 52"/>
                  <a:gd name="T62" fmla="*/ 3 w 39"/>
                  <a:gd name="T63" fmla="*/ 20 h 52"/>
                  <a:gd name="T64" fmla="*/ 3 w 39"/>
                  <a:gd name="T65" fmla="*/ 24 h 52"/>
                  <a:gd name="T66" fmla="*/ 2 w 39"/>
                  <a:gd name="T67" fmla="*/ 26 h 52"/>
                  <a:gd name="T68" fmla="*/ 3 w 39"/>
                  <a:gd name="T69" fmla="*/ 29 h 52"/>
                  <a:gd name="T70" fmla="*/ 3 w 39"/>
                  <a:gd name="T71" fmla="*/ 32 h 52"/>
                  <a:gd name="T72" fmla="*/ 5 w 39"/>
                  <a:gd name="T73" fmla="*/ 35 h 52"/>
                  <a:gd name="T74" fmla="*/ 12 w 39"/>
                  <a:gd name="T75" fmla="*/ 39 h 52"/>
                  <a:gd name="T76" fmla="*/ 15 w 39"/>
                  <a:gd name="T77" fmla="*/ 40 h 52"/>
                  <a:gd name="T78" fmla="*/ 17 w 39"/>
                  <a:gd name="T79" fmla="*/ 39 h 52"/>
                  <a:gd name="T80" fmla="*/ 17 w 39"/>
                  <a:gd name="T81" fmla="*/ 41 h 52"/>
                  <a:gd name="T82" fmla="*/ 16 w 39"/>
                  <a:gd name="T83" fmla="*/ 46 h 52"/>
                  <a:gd name="T84" fmla="*/ 17 w 39"/>
                  <a:gd name="T85" fmla="*/ 48 h 52"/>
                  <a:gd name="T86" fmla="*/ 20 w 39"/>
                  <a:gd name="T87" fmla="*/ 50 h 52"/>
                  <a:gd name="T88" fmla="*/ 27 w 39"/>
                  <a:gd name="T89" fmla="*/ 52 h 52"/>
                  <a:gd name="T90" fmla="*/ 27 w 39"/>
                  <a:gd name="T91" fmla="*/ 51 h 52"/>
                  <a:gd name="T92" fmla="*/ 27 w 39"/>
                  <a:gd name="T93" fmla="*/ 48 h 52"/>
                  <a:gd name="T94" fmla="*/ 28 w 39"/>
                  <a:gd name="T95" fmla="*/ 45 h 52"/>
                  <a:gd name="T96" fmla="*/ 28 w 39"/>
                  <a:gd name="T97" fmla="*/ 43 h 52"/>
                  <a:gd name="T98" fmla="*/ 26 w 39"/>
                  <a:gd name="T99" fmla="*/ 42 h 52"/>
                  <a:gd name="T100" fmla="*/ 26 w 39"/>
                  <a:gd name="T101" fmla="*/ 41 h 52"/>
                  <a:gd name="T102" fmla="*/ 32 w 39"/>
                  <a:gd name="T103" fmla="*/ 39 h 52"/>
                  <a:gd name="T104" fmla="*/ 36 w 39"/>
                  <a:gd name="T105" fmla="*/ 37 h 52"/>
                  <a:gd name="T106" fmla="*/ 33 w 39"/>
                  <a:gd name="T107" fmla="*/ 33 h 52"/>
                  <a:gd name="T108" fmla="*/ 31 w 39"/>
                  <a:gd name="T109" fmla="*/ 28 h 52"/>
                  <a:gd name="T110" fmla="*/ 33 w 39"/>
                  <a:gd name="T111" fmla="*/ 25 h 52"/>
                  <a:gd name="T112" fmla="*/ 38 w 39"/>
                  <a:gd name="T113" fmla="*/ 18 h 52"/>
                  <a:gd name="T114" fmla="*/ 38 w 39"/>
                  <a:gd name="T115" fmla="*/ 10 h 52"/>
                  <a:gd name="T116" fmla="*/ 39 w 39"/>
                  <a:gd name="T117" fmla="*/ 6 h 52"/>
                  <a:gd name="T118" fmla="*/ 36 w 39"/>
                  <a:gd name="T119" fmla="*/ 4 h 52"/>
                  <a:gd name="T120" fmla="*/ 34 w 39"/>
                  <a:gd name="T121" fmla="*/ 1 h 52"/>
                  <a:gd name="T122" fmla="*/ 31 w 39"/>
                  <a:gd name="T123" fmla="*/ 1 h 52"/>
                  <a:gd name="T124" fmla="*/ 24 w 39"/>
                  <a:gd name="T125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" h="52">
                    <a:moveTo>
                      <a:pt x="24" y="6"/>
                    </a:moveTo>
                    <a:cubicBezTo>
                      <a:pt x="25" y="6"/>
                      <a:pt x="26" y="6"/>
                      <a:pt x="27" y="6"/>
                    </a:cubicBezTo>
                    <a:cubicBezTo>
                      <a:pt x="28" y="7"/>
                      <a:pt x="28" y="8"/>
                      <a:pt x="28" y="10"/>
                    </a:cubicBezTo>
                    <a:cubicBezTo>
                      <a:pt x="28" y="11"/>
                      <a:pt x="28" y="12"/>
                      <a:pt x="27" y="13"/>
                    </a:cubicBezTo>
                    <a:cubicBezTo>
                      <a:pt x="26" y="14"/>
                      <a:pt x="27" y="14"/>
                      <a:pt x="26" y="15"/>
                    </a:cubicBezTo>
                    <a:cubicBezTo>
                      <a:pt x="26" y="16"/>
                      <a:pt x="26" y="17"/>
                      <a:pt x="25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24" y="17"/>
                      <a:pt x="24" y="17"/>
                    </a:cubicBezTo>
                    <a:cubicBezTo>
                      <a:pt x="24" y="14"/>
                      <a:pt x="25" y="13"/>
                      <a:pt x="26" y="11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0"/>
                      <a:pt x="25" y="10"/>
                      <a:pt x="24" y="10"/>
                    </a:cubicBezTo>
                    <a:cubicBezTo>
                      <a:pt x="23" y="12"/>
                      <a:pt x="23" y="14"/>
                      <a:pt x="22" y="15"/>
                    </a:cubicBezTo>
                    <a:cubicBezTo>
                      <a:pt x="21" y="17"/>
                      <a:pt x="20" y="18"/>
                      <a:pt x="18" y="18"/>
                    </a:cubicBezTo>
                    <a:cubicBezTo>
                      <a:pt x="17" y="18"/>
                      <a:pt x="16" y="18"/>
                      <a:pt x="16" y="16"/>
                    </a:cubicBezTo>
                    <a:cubicBezTo>
                      <a:pt x="16" y="15"/>
                      <a:pt x="17" y="15"/>
                      <a:pt x="17" y="14"/>
                    </a:cubicBezTo>
                    <a:cubicBezTo>
                      <a:pt x="18" y="13"/>
                      <a:pt x="17" y="12"/>
                      <a:pt x="18" y="10"/>
                    </a:cubicBezTo>
                    <a:cubicBezTo>
                      <a:pt x="18" y="10"/>
                      <a:pt x="19" y="10"/>
                      <a:pt x="19" y="10"/>
                    </a:cubicBezTo>
                    <a:cubicBezTo>
                      <a:pt x="20" y="9"/>
                      <a:pt x="19" y="9"/>
                      <a:pt x="19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6"/>
                      <a:pt x="19" y="6"/>
                      <a:pt x="18" y="6"/>
                    </a:cubicBezTo>
                    <a:cubicBezTo>
                      <a:pt x="18" y="6"/>
                      <a:pt x="17" y="7"/>
                      <a:pt x="17" y="7"/>
                    </a:cubicBezTo>
                    <a:cubicBezTo>
                      <a:pt x="13" y="7"/>
                      <a:pt x="12" y="6"/>
                      <a:pt x="9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0" y="7"/>
                      <a:pt x="10" y="8"/>
                      <a:pt x="11" y="9"/>
                    </a:cubicBezTo>
                    <a:cubicBezTo>
                      <a:pt x="12" y="9"/>
                      <a:pt x="13" y="9"/>
                      <a:pt x="13" y="10"/>
                    </a:cubicBezTo>
                    <a:cubicBezTo>
                      <a:pt x="13" y="11"/>
                      <a:pt x="12" y="12"/>
                      <a:pt x="11" y="12"/>
                    </a:cubicBezTo>
                    <a:cubicBezTo>
                      <a:pt x="10" y="14"/>
                      <a:pt x="8" y="14"/>
                      <a:pt x="6" y="14"/>
                    </a:cubicBezTo>
                    <a:cubicBezTo>
                      <a:pt x="4" y="14"/>
                      <a:pt x="3" y="14"/>
                      <a:pt x="1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6"/>
                      <a:pt x="0" y="17"/>
                      <a:pt x="2" y="18"/>
                    </a:cubicBezTo>
                    <a:cubicBezTo>
                      <a:pt x="2" y="18"/>
                      <a:pt x="3" y="19"/>
                      <a:pt x="3" y="20"/>
                    </a:cubicBezTo>
                    <a:cubicBezTo>
                      <a:pt x="3" y="21"/>
                      <a:pt x="3" y="22"/>
                      <a:pt x="3" y="24"/>
                    </a:cubicBezTo>
                    <a:cubicBezTo>
                      <a:pt x="2" y="25"/>
                      <a:pt x="2" y="25"/>
                      <a:pt x="2" y="26"/>
                    </a:cubicBezTo>
                    <a:cubicBezTo>
                      <a:pt x="2" y="27"/>
                      <a:pt x="3" y="28"/>
                      <a:pt x="3" y="29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3"/>
                      <a:pt x="4" y="34"/>
                      <a:pt x="5" y="35"/>
                    </a:cubicBezTo>
                    <a:cubicBezTo>
                      <a:pt x="6" y="38"/>
                      <a:pt x="9" y="39"/>
                      <a:pt x="12" y="39"/>
                    </a:cubicBezTo>
                    <a:cubicBezTo>
                      <a:pt x="13" y="39"/>
                      <a:pt x="14" y="40"/>
                      <a:pt x="15" y="40"/>
                    </a:cubicBezTo>
                    <a:cubicBezTo>
                      <a:pt x="16" y="40"/>
                      <a:pt x="16" y="39"/>
                      <a:pt x="17" y="39"/>
                    </a:cubicBezTo>
                    <a:cubicBezTo>
                      <a:pt x="17" y="40"/>
                      <a:pt x="17" y="40"/>
                      <a:pt x="17" y="41"/>
                    </a:cubicBezTo>
                    <a:cubicBezTo>
                      <a:pt x="17" y="43"/>
                      <a:pt x="16" y="44"/>
                      <a:pt x="16" y="46"/>
                    </a:cubicBezTo>
                    <a:cubicBezTo>
                      <a:pt x="16" y="47"/>
                      <a:pt x="16" y="47"/>
                      <a:pt x="17" y="48"/>
                    </a:cubicBezTo>
                    <a:cubicBezTo>
                      <a:pt x="18" y="49"/>
                      <a:pt x="19" y="49"/>
                      <a:pt x="20" y="50"/>
                    </a:cubicBezTo>
                    <a:cubicBezTo>
                      <a:pt x="23" y="51"/>
                      <a:pt x="24" y="51"/>
                      <a:pt x="27" y="52"/>
                    </a:cubicBezTo>
                    <a:cubicBezTo>
                      <a:pt x="27" y="51"/>
                      <a:pt x="27" y="51"/>
                      <a:pt x="27" y="51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47"/>
                      <a:pt x="28" y="47"/>
                      <a:pt x="28" y="45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7" y="43"/>
                      <a:pt x="26" y="43"/>
                      <a:pt x="26" y="42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41"/>
                      <a:pt x="29" y="39"/>
                      <a:pt x="32" y="39"/>
                    </a:cubicBezTo>
                    <a:cubicBezTo>
                      <a:pt x="34" y="39"/>
                      <a:pt x="36" y="39"/>
                      <a:pt x="36" y="37"/>
                    </a:cubicBezTo>
                    <a:cubicBezTo>
                      <a:pt x="36" y="35"/>
                      <a:pt x="34" y="35"/>
                      <a:pt x="33" y="33"/>
                    </a:cubicBezTo>
                    <a:cubicBezTo>
                      <a:pt x="31" y="32"/>
                      <a:pt x="31" y="30"/>
                      <a:pt x="31" y="28"/>
                    </a:cubicBezTo>
                    <a:cubicBezTo>
                      <a:pt x="31" y="27"/>
                      <a:pt x="32" y="26"/>
                      <a:pt x="33" y="25"/>
                    </a:cubicBezTo>
                    <a:cubicBezTo>
                      <a:pt x="35" y="23"/>
                      <a:pt x="38" y="21"/>
                      <a:pt x="38" y="18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8" y="8"/>
                      <a:pt x="39" y="7"/>
                      <a:pt x="39" y="6"/>
                    </a:cubicBezTo>
                    <a:cubicBezTo>
                      <a:pt x="39" y="4"/>
                      <a:pt x="37" y="4"/>
                      <a:pt x="36" y="4"/>
                    </a:cubicBezTo>
                    <a:cubicBezTo>
                      <a:pt x="35" y="3"/>
                      <a:pt x="35" y="2"/>
                      <a:pt x="34" y="1"/>
                    </a:cubicBezTo>
                    <a:cubicBezTo>
                      <a:pt x="33" y="0"/>
                      <a:pt x="32" y="1"/>
                      <a:pt x="31" y="1"/>
                    </a:cubicBezTo>
                    <a:cubicBezTo>
                      <a:pt x="28" y="2"/>
                      <a:pt x="25" y="3"/>
                      <a:pt x="24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0" name="Freeform 19">
                <a:extLst>
                  <a:ext uri="{FF2B5EF4-FFF2-40B4-BE49-F238E27FC236}">
                    <a16:creationId xmlns:a16="http://schemas.microsoft.com/office/drawing/2014/main" xmlns="" id="{22837802-9793-4F77-8F15-1FDFB74B3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4003" y="1911451"/>
                <a:ext cx="204732" cy="243077"/>
              </a:xfrm>
              <a:custGeom>
                <a:avLst/>
                <a:gdLst>
                  <a:gd name="T0" fmla="*/ 40 w 81"/>
                  <a:gd name="T1" fmla="*/ 93 h 96"/>
                  <a:gd name="T2" fmla="*/ 36 w 81"/>
                  <a:gd name="T3" fmla="*/ 87 h 96"/>
                  <a:gd name="T4" fmla="*/ 34 w 81"/>
                  <a:gd name="T5" fmla="*/ 83 h 96"/>
                  <a:gd name="T6" fmla="*/ 40 w 81"/>
                  <a:gd name="T7" fmla="*/ 79 h 96"/>
                  <a:gd name="T8" fmla="*/ 38 w 81"/>
                  <a:gd name="T9" fmla="*/ 73 h 96"/>
                  <a:gd name="T10" fmla="*/ 41 w 81"/>
                  <a:gd name="T11" fmla="*/ 68 h 96"/>
                  <a:gd name="T12" fmla="*/ 37 w 81"/>
                  <a:gd name="T13" fmla="*/ 66 h 96"/>
                  <a:gd name="T14" fmla="*/ 40 w 81"/>
                  <a:gd name="T15" fmla="*/ 64 h 96"/>
                  <a:gd name="T16" fmla="*/ 43 w 81"/>
                  <a:gd name="T17" fmla="*/ 58 h 96"/>
                  <a:gd name="T18" fmla="*/ 41 w 81"/>
                  <a:gd name="T19" fmla="*/ 55 h 96"/>
                  <a:gd name="T20" fmla="*/ 51 w 81"/>
                  <a:gd name="T21" fmla="*/ 57 h 96"/>
                  <a:gd name="T22" fmla="*/ 48 w 81"/>
                  <a:gd name="T23" fmla="*/ 51 h 96"/>
                  <a:gd name="T24" fmla="*/ 50 w 81"/>
                  <a:gd name="T25" fmla="*/ 51 h 96"/>
                  <a:gd name="T26" fmla="*/ 56 w 81"/>
                  <a:gd name="T27" fmla="*/ 52 h 96"/>
                  <a:gd name="T28" fmla="*/ 59 w 81"/>
                  <a:gd name="T29" fmla="*/ 49 h 96"/>
                  <a:gd name="T30" fmla="*/ 59 w 81"/>
                  <a:gd name="T31" fmla="*/ 43 h 96"/>
                  <a:gd name="T32" fmla="*/ 64 w 81"/>
                  <a:gd name="T33" fmla="*/ 36 h 96"/>
                  <a:gd name="T34" fmla="*/ 63 w 81"/>
                  <a:gd name="T35" fmla="*/ 41 h 96"/>
                  <a:gd name="T36" fmla="*/ 68 w 81"/>
                  <a:gd name="T37" fmla="*/ 43 h 96"/>
                  <a:gd name="T38" fmla="*/ 71 w 81"/>
                  <a:gd name="T39" fmla="*/ 39 h 96"/>
                  <a:gd name="T40" fmla="*/ 72 w 81"/>
                  <a:gd name="T41" fmla="*/ 42 h 96"/>
                  <a:gd name="T42" fmla="*/ 75 w 81"/>
                  <a:gd name="T43" fmla="*/ 42 h 96"/>
                  <a:gd name="T44" fmla="*/ 78 w 81"/>
                  <a:gd name="T45" fmla="*/ 37 h 96"/>
                  <a:gd name="T46" fmla="*/ 78 w 81"/>
                  <a:gd name="T47" fmla="*/ 28 h 96"/>
                  <a:gd name="T48" fmla="*/ 68 w 81"/>
                  <a:gd name="T49" fmla="*/ 24 h 96"/>
                  <a:gd name="T50" fmla="*/ 61 w 81"/>
                  <a:gd name="T51" fmla="*/ 27 h 96"/>
                  <a:gd name="T52" fmla="*/ 61 w 81"/>
                  <a:gd name="T53" fmla="*/ 23 h 96"/>
                  <a:gd name="T54" fmla="*/ 64 w 81"/>
                  <a:gd name="T55" fmla="*/ 14 h 96"/>
                  <a:gd name="T56" fmla="*/ 63 w 81"/>
                  <a:gd name="T57" fmla="*/ 2 h 96"/>
                  <a:gd name="T58" fmla="*/ 53 w 81"/>
                  <a:gd name="T59" fmla="*/ 2 h 96"/>
                  <a:gd name="T60" fmla="*/ 43 w 81"/>
                  <a:gd name="T61" fmla="*/ 2 h 96"/>
                  <a:gd name="T62" fmla="*/ 39 w 81"/>
                  <a:gd name="T63" fmla="*/ 14 h 96"/>
                  <a:gd name="T64" fmla="*/ 41 w 81"/>
                  <a:gd name="T65" fmla="*/ 21 h 96"/>
                  <a:gd name="T66" fmla="*/ 36 w 81"/>
                  <a:gd name="T67" fmla="*/ 21 h 96"/>
                  <a:gd name="T68" fmla="*/ 36 w 81"/>
                  <a:gd name="T69" fmla="*/ 14 h 96"/>
                  <a:gd name="T70" fmla="*/ 33 w 81"/>
                  <a:gd name="T71" fmla="*/ 11 h 96"/>
                  <a:gd name="T72" fmla="*/ 30 w 81"/>
                  <a:gd name="T73" fmla="*/ 13 h 96"/>
                  <a:gd name="T74" fmla="*/ 29 w 81"/>
                  <a:gd name="T75" fmla="*/ 16 h 96"/>
                  <a:gd name="T76" fmla="*/ 26 w 81"/>
                  <a:gd name="T77" fmla="*/ 19 h 96"/>
                  <a:gd name="T78" fmla="*/ 25 w 81"/>
                  <a:gd name="T79" fmla="*/ 24 h 96"/>
                  <a:gd name="T80" fmla="*/ 18 w 81"/>
                  <a:gd name="T81" fmla="*/ 20 h 96"/>
                  <a:gd name="T82" fmla="*/ 10 w 81"/>
                  <a:gd name="T83" fmla="*/ 20 h 96"/>
                  <a:gd name="T84" fmla="*/ 12 w 81"/>
                  <a:gd name="T85" fmla="*/ 25 h 96"/>
                  <a:gd name="T86" fmla="*/ 9 w 81"/>
                  <a:gd name="T87" fmla="*/ 24 h 96"/>
                  <a:gd name="T88" fmla="*/ 6 w 81"/>
                  <a:gd name="T89" fmla="*/ 30 h 96"/>
                  <a:gd name="T90" fmla="*/ 4 w 81"/>
                  <a:gd name="T91" fmla="*/ 37 h 96"/>
                  <a:gd name="T92" fmla="*/ 2 w 81"/>
                  <a:gd name="T93" fmla="*/ 52 h 96"/>
                  <a:gd name="T94" fmla="*/ 0 w 81"/>
                  <a:gd name="T95" fmla="*/ 59 h 96"/>
                  <a:gd name="T96" fmla="*/ 5 w 81"/>
                  <a:gd name="T97" fmla="*/ 63 h 96"/>
                  <a:gd name="T98" fmla="*/ 8 w 81"/>
                  <a:gd name="T99" fmla="*/ 59 h 96"/>
                  <a:gd name="T100" fmla="*/ 12 w 81"/>
                  <a:gd name="T101" fmla="*/ 64 h 96"/>
                  <a:gd name="T102" fmla="*/ 13 w 81"/>
                  <a:gd name="T103" fmla="*/ 76 h 96"/>
                  <a:gd name="T104" fmla="*/ 11 w 81"/>
                  <a:gd name="T105" fmla="*/ 85 h 96"/>
                  <a:gd name="T106" fmla="*/ 15 w 81"/>
                  <a:gd name="T107" fmla="*/ 88 h 96"/>
                  <a:gd name="T108" fmla="*/ 23 w 81"/>
                  <a:gd name="T109" fmla="*/ 91 h 96"/>
                  <a:gd name="T110" fmla="*/ 25 w 81"/>
                  <a:gd name="T111" fmla="*/ 93 h 96"/>
                  <a:gd name="T112" fmla="*/ 32 w 81"/>
                  <a:gd name="T113" fmla="*/ 96 h 96"/>
                  <a:gd name="T114" fmla="*/ 37 w 81"/>
                  <a:gd name="T1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1" h="96">
                    <a:moveTo>
                      <a:pt x="37" y="96"/>
                    </a:moveTo>
                    <a:cubicBezTo>
                      <a:pt x="38" y="95"/>
                      <a:pt x="40" y="94"/>
                      <a:pt x="40" y="93"/>
                    </a:cubicBezTo>
                    <a:cubicBezTo>
                      <a:pt x="40" y="91"/>
                      <a:pt x="39" y="90"/>
                      <a:pt x="38" y="89"/>
                    </a:cubicBezTo>
                    <a:cubicBezTo>
                      <a:pt x="37" y="88"/>
                      <a:pt x="37" y="87"/>
                      <a:pt x="36" y="87"/>
                    </a:cubicBezTo>
                    <a:cubicBezTo>
                      <a:pt x="34" y="86"/>
                      <a:pt x="33" y="86"/>
                      <a:pt x="31" y="85"/>
                    </a:cubicBezTo>
                    <a:cubicBezTo>
                      <a:pt x="32" y="85"/>
                      <a:pt x="33" y="85"/>
                      <a:pt x="34" y="83"/>
                    </a:cubicBezTo>
                    <a:cubicBezTo>
                      <a:pt x="34" y="82"/>
                      <a:pt x="34" y="80"/>
                      <a:pt x="36" y="79"/>
                    </a:cubicBezTo>
                    <a:cubicBezTo>
                      <a:pt x="37" y="79"/>
                      <a:pt x="39" y="80"/>
                      <a:pt x="40" y="79"/>
                    </a:cubicBezTo>
                    <a:cubicBezTo>
                      <a:pt x="41" y="78"/>
                      <a:pt x="41" y="77"/>
                      <a:pt x="41" y="76"/>
                    </a:cubicBezTo>
                    <a:cubicBezTo>
                      <a:pt x="41" y="74"/>
                      <a:pt x="38" y="74"/>
                      <a:pt x="38" y="73"/>
                    </a:cubicBezTo>
                    <a:cubicBezTo>
                      <a:pt x="38" y="72"/>
                      <a:pt x="38" y="72"/>
                      <a:pt x="39" y="72"/>
                    </a:cubicBezTo>
                    <a:cubicBezTo>
                      <a:pt x="40" y="71"/>
                      <a:pt x="41" y="70"/>
                      <a:pt x="41" y="68"/>
                    </a:cubicBezTo>
                    <a:cubicBezTo>
                      <a:pt x="41" y="67"/>
                      <a:pt x="39" y="67"/>
                      <a:pt x="38" y="67"/>
                    </a:cubicBezTo>
                    <a:cubicBezTo>
                      <a:pt x="37" y="66"/>
                      <a:pt x="37" y="66"/>
                      <a:pt x="37" y="66"/>
                    </a:cubicBezTo>
                    <a:cubicBezTo>
                      <a:pt x="36" y="66"/>
                      <a:pt x="36" y="66"/>
                      <a:pt x="36" y="66"/>
                    </a:cubicBezTo>
                    <a:cubicBezTo>
                      <a:pt x="38" y="65"/>
                      <a:pt x="39" y="65"/>
                      <a:pt x="40" y="64"/>
                    </a:cubicBezTo>
                    <a:cubicBezTo>
                      <a:pt x="42" y="63"/>
                      <a:pt x="44" y="62"/>
                      <a:pt x="44" y="59"/>
                    </a:cubicBezTo>
                    <a:cubicBezTo>
                      <a:pt x="44" y="58"/>
                      <a:pt x="43" y="58"/>
                      <a:pt x="43" y="58"/>
                    </a:cubicBezTo>
                    <a:cubicBezTo>
                      <a:pt x="42" y="57"/>
                      <a:pt x="41" y="57"/>
                      <a:pt x="41" y="56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4" y="56"/>
                      <a:pt x="46" y="57"/>
                      <a:pt x="49" y="57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51" y="56"/>
                      <a:pt x="51" y="56"/>
                      <a:pt x="51" y="55"/>
                    </a:cubicBezTo>
                    <a:cubicBezTo>
                      <a:pt x="51" y="53"/>
                      <a:pt x="49" y="52"/>
                      <a:pt x="48" y="51"/>
                    </a:cubicBezTo>
                    <a:cubicBezTo>
                      <a:pt x="48" y="51"/>
                      <a:pt x="48" y="50"/>
                      <a:pt x="48" y="50"/>
                    </a:cubicBezTo>
                    <a:cubicBezTo>
                      <a:pt x="49" y="50"/>
                      <a:pt x="49" y="51"/>
                      <a:pt x="50" y="51"/>
                    </a:cubicBezTo>
                    <a:cubicBezTo>
                      <a:pt x="51" y="51"/>
                      <a:pt x="52" y="51"/>
                      <a:pt x="53" y="51"/>
                    </a:cubicBezTo>
                    <a:cubicBezTo>
                      <a:pt x="54" y="51"/>
                      <a:pt x="55" y="52"/>
                      <a:pt x="56" y="52"/>
                    </a:cubicBezTo>
                    <a:cubicBezTo>
                      <a:pt x="57" y="52"/>
                      <a:pt x="57" y="51"/>
                      <a:pt x="58" y="50"/>
                    </a:cubicBezTo>
                    <a:cubicBezTo>
                      <a:pt x="58" y="50"/>
                      <a:pt x="59" y="49"/>
                      <a:pt x="59" y="49"/>
                    </a:cubicBezTo>
                    <a:cubicBezTo>
                      <a:pt x="59" y="48"/>
                      <a:pt x="59" y="47"/>
                      <a:pt x="59" y="46"/>
                    </a:cubicBezTo>
                    <a:cubicBezTo>
                      <a:pt x="59" y="45"/>
                      <a:pt x="59" y="44"/>
                      <a:pt x="59" y="43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9" y="36"/>
                      <a:pt x="62" y="36"/>
                      <a:pt x="64" y="36"/>
                    </a:cubicBezTo>
                    <a:cubicBezTo>
                      <a:pt x="65" y="36"/>
                      <a:pt x="66" y="36"/>
                      <a:pt x="66" y="37"/>
                    </a:cubicBezTo>
                    <a:cubicBezTo>
                      <a:pt x="66" y="39"/>
                      <a:pt x="63" y="39"/>
                      <a:pt x="63" y="41"/>
                    </a:cubicBezTo>
                    <a:cubicBezTo>
                      <a:pt x="63" y="42"/>
                      <a:pt x="64" y="42"/>
                      <a:pt x="65" y="43"/>
                    </a:cubicBezTo>
                    <a:cubicBezTo>
                      <a:pt x="66" y="43"/>
                      <a:pt x="67" y="43"/>
                      <a:pt x="68" y="43"/>
                    </a:cubicBezTo>
                    <a:cubicBezTo>
                      <a:pt x="70" y="43"/>
                      <a:pt x="70" y="41"/>
                      <a:pt x="70" y="40"/>
                    </a:cubicBezTo>
                    <a:cubicBezTo>
                      <a:pt x="71" y="39"/>
                      <a:pt x="71" y="39"/>
                      <a:pt x="71" y="39"/>
                    </a:cubicBezTo>
                    <a:cubicBezTo>
                      <a:pt x="72" y="39"/>
                      <a:pt x="72" y="39"/>
                      <a:pt x="72" y="39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43"/>
                      <a:pt x="73" y="44"/>
                      <a:pt x="73" y="44"/>
                    </a:cubicBezTo>
                    <a:cubicBezTo>
                      <a:pt x="74" y="44"/>
                      <a:pt x="75" y="43"/>
                      <a:pt x="75" y="42"/>
                    </a:cubicBezTo>
                    <a:cubicBezTo>
                      <a:pt x="75" y="40"/>
                      <a:pt x="75" y="40"/>
                      <a:pt x="75" y="40"/>
                    </a:cubicBezTo>
                    <a:cubicBezTo>
                      <a:pt x="75" y="38"/>
                      <a:pt x="76" y="38"/>
                      <a:pt x="78" y="37"/>
                    </a:cubicBezTo>
                    <a:cubicBezTo>
                      <a:pt x="80" y="35"/>
                      <a:pt x="81" y="34"/>
                      <a:pt x="81" y="31"/>
                    </a:cubicBezTo>
                    <a:cubicBezTo>
                      <a:pt x="81" y="29"/>
                      <a:pt x="79" y="29"/>
                      <a:pt x="78" y="28"/>
                    </a:cubicBezTo>
                    <a:cubicBezTo>
                      <a:pt x="77" y="26"/>
                      <a:pt x="76" y="25"/>
                      <a:pt x="73" y="25"/>
                    </a:cubicBezTo>
                    <a:cubicBezTo>
                      <a:pt x="71" y="25"/>
                      <a:pt x="70" y="25"/>
                      <a:pt x="68" y="24"/>
                    </a:cubicBezTo>
                    <a:cubicBezTo>
                      <a:pt x="67" y="24"/>
                      <a:pt x="67" y="22"/>
                      <a:pt x="65" y="22"/>
                    </a:cubicBezTo>
                    <a:cubicBezTo>
                      <a:pt x="63" y="22"/>
                      <a:pt x="63" y="27"/>
                      <a:pt x="61" y="27"/>
                    </a:cubicBezTo>
                    <a:cubicBezTo>
                      <a:pt x="61" y="26"/>
                      <a:pt x="60" y="25"/>
                      <a:pt x="60" y="24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2" y="21"/>
                      <a:pt x="64" y="20"/>
                      <a:pt x="64" y="18"/>
                    </a:cubicBezTo>
                    <a:cubicBezTo>
                      <a:pt x="64" y="17"/>
                      <a:pt x="64" y="16"/>
                      <a:pt x="64" y="14"/>
                    </a:cubicBezTo>
                    <a:cubicBezTo>
                      <a:pt x="64" y="10"/>
                      <a:pt x="65" y="8"/>
                      <a:pt x="65" y="5"/>
                    </a:cubicBezTo>
                    <a:cubicBezTo>
                      <a:pt x="65" y="3"/>
                      <a:pt x="64" y="2"/>
                      <a:pt x="63" y="2"/>
                    </a:cubicBezTo>
                    <a:cubicBezTo>
                      <a:pt x="62" y="1"/>
                      <a:pt x="61" y="0"/>
                      <a:pt x="59" y="0"/>
                    </a:cubicBezTo>
                    <a:cubicBezTo>
                      <a:pt x="57" y="0"/>
                      <a:pt x="55" y="2"/>
                      <a:pt x="53" y="2"/>
                    </a:cubicBezTo>
                    <a:cubicBezTo>
                      <a:pt x="50" y="2"/>
                      <a:pt x="49" y="0"/>
                      <a:pt x="46" y="0"/>
                    </a:cubicBezTo>
                    <a:cubicBezTo>
                      <a:pt x="45" y="0"/>
                      <a:pt x="44" y="1"/>
                      <a:pt x="43" y="2"/>
                    </a:cubicBezTo>
                    <a:cubicBezTo>
                      <a:pt x="43" y="2"/>
                      <a:pt x="42" y="2"/>
                      <a:pt x="42" y="2"/>
                    </a:cubicBezTo>
                    <a:cubicBezTo>
                      <a:pt x="38" y="6"/>
                      <a:pt x="39" y="9"/>
                      <a:pt x="39" y="14"/>
                    </a:cubicBezTo>
                    <a:cubicBezTo>
                      <a:pt x="39" y="15"/>
                      <a:pt x="39" y="16"/>
                      <a:pt x="40" y="17"/>
                    </a:cubicBezTo>
                    <a:cubicBezTo>
                      <a:pt x="40" y="19"/>
                      <a:pt x="40" y="20"/>
                      <a:pt x="41" y="21"/>
                    </a:cubicBezTo>
                    <a:cubicBezTo>
                      <a:pt x="41" y="21"/>
                      <a:pt x="40" y="21"/>
                      <a:pt x="40" y="21"/>
                    </a:cubicBezTo>
                    <a:cubicBezTo>
                      <a:pt x="38" y="21"/>
                      <a:pt x="37" y="21"/>
                      <a:pt x="36" y="21"/>
                    </a:cubicBezTo>
                    <a:cubicBezTo>
                      <a:pt x="35" y="21"/>
                      <a:pt x="34" y="21"/>
                      <a:pt x="34" y="20"/>
                    </a:cubicBezTo>
                    <a:cubicBezTo>
                      <a:pt x="34" y="18"/>
                      <a:pt x="36" y="17"/>
                      <a:pt x="36" y="14"/>
                    </a:cubicBezTo>
                    <a:cubicBezTo>
                      <a:pt x="36" y="13"/>
                      <a:pt x="35" y="12"/>
                      <a:pt x="34" y="11"/>
                    </a:cubicBezTo>
                    <a:cubicBezTo>
                      <a:pt x="34" y="11"/>
                      <a:pt x="33" y="11"/>
                      <a:pt x="33" y="11"/>
                    </a:cubicBezTo>
                    <a:cubicBezTo>
                      <a:pt x="32" y="11"/>
                      <a:pt x="32" y="11"/>
                      <a:pt x="31" y="12"/>
                    </a:cubicBezTo>
                    <a:cubicBezTo>
                      <a:pt x="31" y="12"/>
                      <a:pt x="30" y="12"/>
                      <a:pt x="30" y="13"/>
                    </a:cubicBezTo>
                    <a:cubicBezTo>
                      <a:pt x="29" y="14"/>
                      <a:pt x="30" y="14"/>
                      <a:pt x="30" y="15"/>
                    </a:cubicBezTo>
                    <a:cubicBezTo>
                      <a:pt x="29" y="15"/>
                      <a:pt x="29" y="15"/>
                      <a:pt x="29" y="16"/>
                    </a:cubicBezTo>
                    <a:cubicBezTo>
                      <a:pt x="28" y="16"/>
                      <a:pt x="28" y="17"/>
                      <a:pt x="27" y="18"/>
                    </a:cubicBezTo>
                    <a:cubicBezTo>
                      <a:pt x="27" y="18"/>
                      <a:pt x="26" y="18"/>
                      <a:pt x="26" y="19"/>
                    </a:cubicBezTo>
                    <a:cubicBezTo>
                      <a:pt x="26" y="20"/>
                      <a:pt x="27" y="21"/>
                      <a:pt x="27" y="22"/>
                    </a:cubicBezTo>
                    <a:cubicBezTo>
                      <a:pt x="27" y="23"/>
                      <a:pt x="26" y="24"/>
                      <a:pt x="25" y="24"/>
                    </a:cubicBezTo>
                    <a:cubicBezTo>
                      <a:pt x="23" y="24"/>
                      <a:pt x="22" y="24"/>
                      <a:pt x="21" y="22"/>
                    </a:cubicBezTo>
                    <a:cubicBezTo>
                      <a:pt x="20" y="21"/>
                      <a:pt x="20" y="21"/>
                      <a:pt x="18" y="20"/>
                    </a:cubicBezTo>
                    <a:cubicBezTo>
                      <a:pt x="16" y="19"/>
                      <a:pt x="15" y="17"/>
                      <a:pt x="13" y="15"/>
                    </a:cubicBezTo>
                    <a:cubicBezTo>
                      <a:pt x="12" y="17"/>
                      <a:pt x="10" y="18"/>
                      <a:pt x="10" y="20"/>
                    </a:cubicBezTo>
                    <a:cubicBezTo>
                      <a:pt x="10" y="21"/>
                      <a:pt x="10" y="21"/>
                      <a:pt x="11" y="21"/>
                    </a:cubicBezTo>
                    <a:cubicBezTo>
                      <a:pt x="12" y="22"/>
                      <a:pt x="12" y="23"/>
                      <a:pt x="12" y="25"/>
                    </a:cubicBezTo>
                    <a:cubicBezTo>
                      <a:pt x="11" y="25"/>
                      <a:pt x="10" y="25"/>
                      <a:pt x="10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7"/>
                      <a:pt x="7" y="28"/>
                      <a:pt x="6" y="30"/>
                    </a:cubicBezTo>
                    <a:cubicBezTo>
                      <a:pt x="5" y="32"/>
                      <a:pt x="6" y="33"/>
                      <a:pt x="5" y="35"/>
                    </a:cubicBezTo>
                    <a:cubicBezTo>
                      <a:pt x="5" y="36"/>
                      <a:pt x="5" y="36"/>
                      <a:pt x="4" y="37"/>
                    </a:cubicBezTo>
                    <a:cubicBezTo>
                      <a:pt x="4" y="39"/>
                      <a:pt x="4" y="39"/>
                      <a:pt x="4" y="41"/>
                    </a:cubicBezTo>
                    <a:cubicBezTo>
                      <a:pt x="4" y="45"/>
                      <a:pt x="3" y="47"/>
                      <a:pt x="2" y="52"/>
                    </a:cubicBezTo>
                    <a:cubicBezTo>
                      <a:pt x="2" y="54"/>
                      <a:pt x="2" y="55"/>
                      <a:pt x="1" y="57"/>
                    </a:cubicBezTo>
                    <a:cubicBezTo>
                      <a:pt x="1" y="58"/>
                      <a:pt x="0" y="58"/>
                      <a:pt x="0" y="59"/>
                    </a:cubicBezTo>
                    <a:cubicBezTo>
                      <a:pt x="0" y="59"/>
                      <a:pt x="1" y="60"/>
                      <a:pt x="2" y="60"/>
                    </a:cubicBezTo>
                    <a:cubicBezTo>
                      <a:pt x="3" y="61"/>
                      <a:pt x="3" y="62"/>
                      <a:pt x="5" y="63"/>
                    </a:cubicBezTo>
                    <a:cubicBezTo>
                      <a:pt x="5" y="60"/>
                      <a:pt x="5" y="58"/>
                      <a:pt x="7" y="58"/>
                    </a:cubicBezTo>
                    <a:cubicBezTo>
                      <a:pt x="8" y="58"/>
                      <a:pt x="8" y="58"/>
                      <a:pt x="8" y="59"/>
                    </a:cubicBezTo>
                    <a:cubicBezTo>
                      <a:pt x="8" y="60"/>
                      <a:pt x="8" y="61"/>
                      <a:pt x="9" y="62"/>
                    </a:cubicBezTo>
                    <a:cubicBezTo>
                      <a:pt x="9" y="63"/>
                      <a:pt x="10" y="64"/>
                      <a:pt x="12" y="64"/>
                    </a:cubicBezTo>
                    <a:cubicBezTo>
                      <a:pt x="12" y="64"/>
                      <a:pt x="13" y="64"/>
                      <a:pt x="13" y="64"/>
                    </a:cubicBezTo>
                    <a:cubicBezTo>
                      <a:pt x="13" y="76"/>
                      <a:pt x="13" y="76"/>
                      <a:pt x="13" y="76"/>
                    </a:cubicBezTo>
                    <a:cubicBezTo>
                      <a:pt x="13" y="77"/>
                      <a:pt x="12" y="78"/>
                      <a:pt x="12" y="78"/>
                    </a:cubicBezTo>
                    <a:cubicBezTo>
                      <a:pt x="11" y="81"/>
                      <a:pt x="11" y="83"/>
                      <a:pt x="11" y="85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3" y="86"/>
                      <a:pt x="13" y="87"/>
                      <a:pt x="15" y="88"/>
                    </a:cubicBezTo>
                    <a:cubicBezTo>
                      <a:pt x="16" y="88"/>
                      <a:pt x="17" y="88"/>
                      <a:pt x="18" y="88"/>
                    </a:cubicBezTo>
                    <a:cubicBezTo>
                      <a:pt x="20" y="89"/>
                      <a:pt x="21" y="90"/>
                      <a:pt x="23" y="91"/>
                    </a:cubicBezTo>
                    <a:cubicBezTo>
                      <a:pt x="23" y="92"/>
                      <a:pt x="24" y="92"/>
                      <a:pt x="25" y="92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6" y="94"/>
                      <a:pt x="27" y="95"/>
                      <a:pt x="28" y="96"/>
                    </a:cubicBezTo>
                    <a:cubicBezTo>
                      <a:pt x="30" y="96"/>
                      <a:pt x="30" y="96"/>
                      <a:pt x="32" y="96"/>
                    </a:cubicBezTo>
                    <a:cubicBezTo>
                      <a:pt x="33" y="96"/>
                      <a:pt x="33" y="95"/>
                      <a:pt x="34" y="96"/>
                    </a:cubicBezTo>
                    <a:cubicBezTo>
                      <a:pt x="35" y="96"/>
                      <a:pt x="36" y="96"/>
                      <a:pt x="37" y="9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1" name="Freeform 27">
                <a:extLst>
                  <a:ext uri="{FF2B5EF4-FFF2-40B4-BE49-F238E27FC236}">
                    <a16:creationId xmlns:a16="http://schemas.microsoft.com/office/drawing/2014/main" xmlns="" id="{BA526F4E-5A58-48CF-8E3C-AADE4BCE0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532" y="3864444"/>
                <a:ext cx="11973" cy="13172"/>
              </a:xfrm>
              <a:custGeom>
                <a:avLst/>
                <a:gdLst>
                  <a:gd name="T0" fmla="*/ 5 w 5"/>
                  <a:gd name="T1" fmla="*/ 1 h 5"/>
                  <a:gd name="T2" fmla="*/ 3 w 5"/>
                  <a:gd name="T3" fmla="*/ 5 h 5"/>
                  <a:gd name="T4" fmla="*/ 0 w 5"/>
                  <a:gd name="T5" fmla="*/ 3 h 5"/>
                  <a:gd name="T6" fmla="*/ 1 w 5"/>
                  <a:gd name="T7" fmla="*/ 0 h 5"/>
                  <a:gd name="T8" fmla="*/ 2 w 5"/>
                  <a:gd name="T9" fmla="*/ 0 h 5"/>
                  <a:gd name="T10" fmla="*/ 3 w 5"/>
                  <a:gd name="T11" fmla="*/ 0 h 5"/>
                  <a:gd name="T12" fmla="*/ 4 w 5"/>
                  <a:gd name="T13" fmla="*/ 0 h 5"/>
                  <a:gd name="T14" fmla="*/ 5 w 5"/>
                  <a:gd name="T15" fmla="*/ 0 h 5"/>
                  <a:gd name="T16" fmla="*/ 5 w 5"/>
                  <a:gd name="T17" fmla="*/ 0 h 5"/>
                  <a:gd name="T18" fmla="*/ 5 w 5"/>
                  <a:gd name="T1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1"/>
                    </a:moveTo>
                    <a:cubicBezTo>
                      <a:pt x="4" y="2"/>
                      <a:pt x="4" y="3"/>
                      <a:pt x="3" y="5"/>
                    </a:cubicBezTo>
                    <a:cubicBezTo>
                      <a:pt x="2" y="4"/>
                      <a:pt x="1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2" name="Freeform 52">
                <a:extLst>
                  <a:ext uri="{FF2B5EF4-FFF2-40B4-BE49-F238E27FC236}">
                    <a16:creationId xmlns:a16="http://schemas.microsoft.com/office/drawing/2014/main" xmlns="" id="{7968D4BD-3429-4D83-90E0-E4213276B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8386" y="3162756"/>
                <a:ext cx="374745" cy="553209"/>
              </a:xfrm>
              <a:custGeom>
                <a:avLst/>
                <a:gdLst>
                  <a:gd name="T0" fmla="*/ 84 w 148"/>
                  <a:gd name="T1" fmla="*/ 0 h 219"/>
                  <a:gd name="T2" fmla="*/ 92 w 148"/>
                  <a:gd name="T3" fmla="*/ 1 h 219"/>
                  <a:gd name="T4" fmla="*/ 96 w 148"/>
                  <a:gd name="T5" fmla="*/ 5 h 219"/>
                  <a:gd name="T6" fmla="*/ 101 w 148"/>
                  <a:gd name="T7" fmla="*/ 17 h 219"/>
                  <a:gd name="T8" fmla="*/ 111 w 148"/>
                  <a:gd name="T9" fmla="*/ 20 h 219"/>
                  <a:gd name="T10" fmla="*/ 119 w 148"/>
                  <a:gd name="T11" fmla="*/ 22 h 219"/>
                  <a:gd name="T12" fmla="*/ 129 w 148"/>
                  <a:gd name="T13" fmla="*/ 24 h 219"/>
                  <a:gd name="T14" fmla="*/ 136 w 148"/>
                  <a:gd name="T15" fmla="*/ 27 h 219"/>
                  <a:gd name="T16" fmla="*/ 141 w 148"/>
                  <a:gd name="T17" fmla="*/ 28 h 219"/>
                  <a:gd name="T18" fmla="*/ 142 w 148"/>
                  <a:gd name="T19" fmla="*/ 42 h 219"/>
                  <a:gd name="T20" fmla="*/ 147 w 148"/>
                  <a:gd name="T21" fmla="*/ 46 h 219"/>
                  <a:gd name="T22" fmla="*/ 145 w 148"/>
                  <a:gd name="T23" fmla="*/ 50 h 219"/>
                  <a:gd name="T24" fmla="*/ 136 w 148"/>
                  <a:gd name="T25" fmla="*/ 58 h 219"/>
                  <a:gd name="T26" fmla="*/ 126 w 148"/>
                  <a:gd name="T27" fmla="*/ 62 h 219"/>
                  <a:gd name="T28" fmla="*/ 121 w 148"/>
                  <a:gd name="T29" fmla="*/ 65 h 219"/>
                  <a:gd name="T30" fmla="*/ 121 w 148"/>
                  <a:gd name="T31" fmla="*/ 71 h 219"/>
                  <a:gd name="T32" fmla="*/ 116 w 148"/>
                  <a:gd name="T33" fmla="*/ 85 h 219"/>
                  <a:gd name="T34" fmla="*/ 109 w 148"/>
                  <a:gd name="T35" fmla="*/ 90 h 219"/>
                  <a:gd name="T36" fmla="*/ 105 w 148"/>
                  <a:gd name="T37" fmla="*/ 93 h 219"/>
                  <a:gd name="T38" fmla="*/ 104 w 148"/>
                  <a:gd name="T39" fmla="*/ 107 h 219"/>
                  <a:gd name="T40" fmla="*/ 88 w 148"/>
                  <a:gd name="T41" fmla="*/ 112 h 219"/>
                  <a:gd name="T42" fmla="*/ 91 w 148"/>
                  <a:gd name="T43" fmla="*/ 134 h 219"/>
                  <a:gd name="T44" fmla="*/ 76 w 148"/>
                  <a:gd name="T45" fmla="*/ 169 h 219"/>
                  <a:gd name="T46" fmla="*/ 86 w 148"/>
                  <a:gd name="T47" fmla="*/ 176 h 219"/>
                  <a:gd name="T48" fmla="*/ 80 w 148"/>
                  <a:gd name="T49" fmla="*/ 182 h 219"/>
                  <a:gd name="T50" fmla="*/ 65 w 148"/>
                  <a:gd name="T51" fmla="*/ 190 h 219"/>
                  <a:gd name="T52" fmla="*/ 59 w 148"/>
                  <a:gd name="T53" fmla="*/ 202 h 219"/>
                  <a:gd name="T54" fmla="*/ 58 w 148"/>
                  <a:gd name="T55" fmla="*/ 212 h 219"/>
                  <a:gd name="T56" fmla="*/ 44 w 148"/>
                  <a:gd name="T57" fmla="*/ 218 h 219"/>
                  <a:gd name="T58" fmla="*/ 32 w 148"/>
                  <a:gd name="T59" fmla="*/ 212 h 219"/>
                  <a:gd name="T60" fmla="*/ 18 w 148"/>
                  <a:gd name="T61" fmla="*/ 204 h 219"/>
                  <a:gd name="T62" fmla="*/ 1 w 148"/>
                  <a:gd name="T63" fmla="*/ 204 h 219"/>
                  <a:gd name="T64" fmla="*/ 2 w 148"/>
                  <a:gd name="T65" fmla="*/ 199 h 219"/>
                  <a:gd name="T66" fmla="*/ 8 w 148"/>
                  <a:gd name="T67" fmla="*/ 189 h 219"/>
                  <a:gd name="T68" fmla="*/ 17 w 148"/>
                  <a:gd name="T69" fmla="*/ 176 h 219"/>
                  <a:gd name="T70" fmla="*/ 20 w 148"/>
                  <a:gd name="T71" fmla="*/ 169 h 219"/>
                  <a:gd name="T72" fmla="*/ 21 w 148"/>
                  <a:gd name="T73" fmla="*/ 161 h 219"/>
                  <a:gd name="T74" fmla="*/ 27 w 148"/>
                  <a:gd name="T75" fmla="*/ 150 h 219"/>
                  <a:gd name="T76" fmla="*/ 26 w 148"/>
                  <a:gd name="T77" fmla="*/ 145 h 219"/>
                  <a:gd name="T78" fmla="*/ 31 w 148"/>
                  <a:gd name="T79" fmla="*/ 149 h 219"/>
                  <a:gd name="T80" fmla="*/ 39 w 148"/>
                  <a:gd name="T81" fmla="*/ 152 h 219"/>
                  <a:gd name="T82" fmla="*/ 32 w 148"/>
                  <a:gd name="T83" fmla="*/ 143 h 219"/>
                  <a:gd name="T84" fmla="*/ 31 w 148"/>
                  <a:gd name="T85" fmla="*/ 146 h 219"/>
                  <a:gd name="T86" fmla="*/ 20 w 148"/>
                  <a:gd name="T87" fmla="*/ 143 h 219"/>
                  <a:gd name="T88" fmla="*/ 11 w 148"/>
                  <a:gd name="T89" fmla="*/ 142 h 219"/>
                  <a:gd name="T90" fmla="*/ 14 w 148"/>
                  <a:gd name="T91" fmla="*/ 135 h 219"/>
                  <a:gd name="T92" fmla="*/ 21 w 148"/>
                  <a:gd name="T93" fmla="*/ 135 h 219"/>
                  <a:gd name="T94" fmla="*/ 27 w 148"/>
                  <a:gd name="T95" fmla="*/ 127 h 219"/>
                  <a:gd name="T96" fmla="*/ 17 w 148"/>
                  <a:gd name="T97" fmla="*/ 129 h 219"/>
                  <a:gd name="T98" fmla="*/ 11 w 148"/>
                  <a:gd name="T99" fmla="*/ 126 h 219"/>
                  <a:gd name="T100" fmla="*/ 15 w 148"/>
                  <a:gd name="T101" fmla="*/ 120 h 219"/>
                  <a:gd name="T102" fmla="*/ 21 w 148"/>
                  <a:gd name="T103" fmla="*/ 110 h 219"/>
                  <a:gd name="T104" fmla="*/ 22 w 148"/>
                  <a:gd name="T105" fmla="*/ 101 h 219"/>
                  <a:gd name="T106" fmla="*/ 34 w 148"/>
                  <a:gd name="T107" fmla="*/ 93 h 219"/>
                  <a:gd name="T108" fmla="*/ 41 w 148"/>
                  <a:gd name="T109" fmla="*/ 82 h 219"/>
                  <a:gd name="T110" fmla="*/ 50 w 148"/>
                  <a:gd name="T111" fmla="*/ 74 h 219"/>
                  <a:gd name="T112" fmla="*/ 55 w 148"/>
                  <a:gd name="T113" fmla="*/ 62 h 219"/>
                  <a:gd name="T114" fmla="*/ 64 w 148"/>
                  <a:gd name="T115" fmla="*/ 49 h 219"/>
                  <a:gd name="T116" fmla="*/ 61 w 148"/>
                  <a:gd name="T117" fmla="*/ 50 h 219"/>
                  <a:gd name="T118" fmla="*/ 63 w 148"/>
                  <a:gd name="T119" fmla="*/ 45 h 219"/>
                  <a:gd name="T120" fmla="*/ 67 w 148"/>
                  <a:gd name="T121" fmla="*/ 31 h 219"/>
                  <a:gd name="T122" fmla="*/ 70 w 148"/>
                  <a:gd name="T123" fmla="*/ 19 h 219"/>
                  <a:gd name="T124" fmla="*/ 71 w 148"/>
                  <a:gd name="T125" fmla="*/ 13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8" h="219">
                    <a:moveTo>
                      <a:pt x="78" y="5"/>
                    </a:moveTo>
                    <a:cubicBezTo>
                      <a:pt x="79" y="4"/>
                      <a:pt x="80" y="4"/>
                      <a:pt x="81" y="3"/>
                    </a:cubicBezTo>
                    <a:cubicBezTo>
                      <a:pt x="82" y="2"/>
                      <a:pt x="83" y="0"/>
                      <a:pt x="84" y="0"/>
                    </a:cubicBezTo>
                    <a:cubicBezTo>
                      <a:pt x="85" y="0"/>
                      <a:pt x="85" y="1"/>
                      <a:pt x="86" y="1"/>
                    </a:cubicBezTo>
                    <a:cubicBezTo>
                      <a:pt x="87" y="2"/>
                      <a:pt x="88" y="1"/>
                      <a:pt x="89" y="1"/>
                    </a:cubicBezTo>
                    <a:cubicBezTo>
                      <a:pt x="91" y="1"/>
                      <a:pt x="91" y="1"/>
                      <a:pt x="92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1"/>
                      <a:pt x="97" y="2"/>
                      <a:pt x="97" y="3"/>
                    </a:cubicBezTo>
                    <a:cubicBezTo>
                      <a:pt x="97" y="4"/>
                      <a:pt x="97" y="4"/>
                      <a:pt x="96" y="5"/>
                    </a:cubicBezTo>
                    <a:cubicBezTo>
                      <a:pt x="95" y="7"/>
                      <a:pt x="94" y="7"/>
                      <a:pt x="94" y="9"/>
                    </a:cubicBezTo>
                    <a:cubicBezTo>
                      <a:pt x="94" y="11"/>
                      <a:pt x="96" y="12"/>
                      <a:pt x="97" y="14"/>
                    </a:cubicBezTo>
                    <a:cubicBezTo>
                      <a:pt x="98" y="15"/>
                      <a:pt x="99" y="17"/>
                      <a:pt x="101" y="17"/>
                    </a:cubicBezTo>
                    <a:cubicBezTo>
                      <a:pt x="102" y="17"/>
                      <a:pt x="102" y="16"/>
                      <a:pt x="103" y="16"/>
                    </a:cubicBezTo>
                    <a:cubicBezTo>
                      <a:pt x="105" y="16"/>
                      <a:pt x="106" y="17"/>
                      <a:pt x="107" y="18"/>
                    </a:cubicBezTo>
                    <a:cubicBezTo>
                      <a:pt x="108" y="19"/>
                      <a:pt x="109" y="19"/>
                      <a:pt x="111" y="20"/>
                    </a:cubicBezTo>
                    <a:cubicBezTo>
                      <a:pt x="112" y="20"/>
                      <a:pt x="113" y="20"/>
                      <a:pt x="114" y="21"/>
                    </a:cubicBezTo>
                    <a:cubicBezTo>
                      <a:pt x="115" y="22"/>
                      <a:pt x="116" y="22"/>
                      <a:pt x="117" y="22"/>
                    </a:cubicBezTo>
                    <a:cubicBezTo>
                      <a:pt x="118" y="22"/>
                      <a:pt x="118" y="22"/>
                      <a:pt x="119" y="22"/>
                    </a:cubicBezTo>
                    <a:cubicBezTo>
                      <a:pt x="120" y="21"/>
                      <a:pt x="121" y="21"/>
                      <a:pt x="122" y="21"/>
                    </a:cubicBezTo>
                    <a:cubicBezTo>
                      <a:pt x="123" y="21"/>
                      <a:pt x="124" y="22"/>
                      <a:pt x="125" y="22"/>
                    </a:cubicBezTo>
                    <a:cubicBezTo>
                      <a:pt x="127" y="23"/>
                      <a:pt x="128" y="23"/>
                      <a:pt x="129" y="24"/>
                    </a:cubicBezTo>
                    <a:cubicBezTo>
                      <a:pt x="130" y="25"/>
                      <a:pt x="131" y="25"/>
                      <a:pt x="133" y="25"/>
                    </a:cubicBezTo>
                    <a:cubicBezTo>
                      <a:pt x="133" y="25"/>
                      <a:pt x="134" y="26"/>
                      <a:pt x="134" y="26"/>
                    </a:cubicBezTo>
                    <a:cubicBezTo>
                      <a:pt x="135" y="27"/>
                      <a:pt x="135" y="27"/>
                      <a:pt x="136" y="27"/>
                    </a:cubicBezTo>
                    <a:cubicBezTo>
                      <a:pt x="137" y="27"/>
                      <a:pt x="137" y="27"/>
                      <a:pt x="138" y="27"/>
                    </a:cubicBezTo>
                    <a:cubicBezTo>
                      <a:pt x="139" y="27"/>
                      <a:pt x="139" y="27"/>
                      <a:pt x="140" y="28"/>
                    </a:cubicBezTo>
                    <a:cubicBezTo>
                      <a:pt x="140" y="28"/>
                      <a:pt x="141" y="28"/>
                      <a:pt x="141" y="28"/>
                    </a:cubicBezTo>
                    <a:cubicBezTo>
                      <a:pt x="142" y="29"/>
                      <a:pt x="142" y="30"/>
                      <a:pt x="142" y="31"/>
                    </a:cubicBezTo>
                    <a:cubicBezTo>
                      <a:pt x="142" y="35"/>
                      <a:pt x="141" y="37"/>
                      <a:pt x="141" y="41"/>
                    </a:cubicBezTo>
                    <a:cubicBezTo>
                      <a:pt x="141" y="42"/>
                      <a:pt x="141" y="42"/>
                      <a:pt x="142" y="42"/>
                    </a:cubicBezTo>
                    <a:cubicBezTo>
                      <a:pt x="142" y="42"/>
                      <a:pt x="142" y="42"/>
                      <a:pt x="143" y="43"/>
                    </a:cubicBezTo>
                    <a:cubicBezTo>
                      <a:pt x="143" y="44"/>
                      <a:pt x="144" y="44"/>
                      <a:pt x="145" y="44"/>
                    </a:cubicBezTo>
                    <a:cubicBezTo>
                      <a:pt x="146" y="45"/>
                      <a:pt x="146" y="45"/>
                      <a:pt x="147" y="46"/>
                    </a:cubicBezTo>
                    <a:cubicBezTo>
                      <a:pt x="148" y="46"/>
                      <a:pt x="148" y="46"/>
                      <a:pt x="148" y="47"/>
                    </a:cubicBezTo>
                    <a:cubicBezTo>
                      <a:pt x="148" y="48"/>
                      <a:pt x="147" y="48"/>
                      <a:pt x="147" y="49"/>
                    </a:cubicBezTo>
                    <a:cubicBezTo>
                      <a:pt x="146" y="49"/>
                      <a:pt x="145" y="50"/>
                      <a:pt x="145" y="50"/>
                    </a:cubicBezTo>
                    <a:cubicBezTo>
                      <a:pt x="144" y="52"/>
                      <a:pt x="144" y="53"/>
                      <a:pt x="143" y="54"/>
                    </a:cubicBezTo>
                    <a:cubicBezTo>
                      <a:pt x="143" y="56"/>
                      <a:pt x="142" y="56"/>
                      <a:pt x="141" y="57"/>
                    </a:cubicBezTo>
                    <a:cubicBezTo>
                      <a:pt x="139" y="57"/>
                      <a:pt x="138" y="58"/>
                      <a:pt x="136" y="58"/>
                    </a:cubicBezTo>
                    <a:cubicBezTo>
                      <a:pt x="134" y="58"/>
                      <a:pt x="133" y="59"/>
                      <a:pt x="131" y="59"/>
                    </a:cubicBezTo>
                    <a:cubicBezTo>
                      <a:pt x="130" y="60"/>
                      <a:pt x="129" y="60"/>
                      <a:pt x="128" y="60"/>
                    </a:cubicBezTo>
                    <a:cubicBezTo>
                      <a:pt x="127" y="60"/>
                      <a:pt x="126" y="61"/>
                      <a:pt x="126" y="62"/>
                    </a:cubicBezTo>
                    <a:cubicBezTo>
                      <a:pt x="125" y="62"/>
                      <a:pt x="125" y="63"/>
                      <a:pt x="124" y="63"/>
                    </a:cubicBezTo>
                    <a:cubicBezTo>
                      <a:pt x="123" y="63"/>
                      <a:pt x="123" y="64"/>
                      <a:pt x="122" y="64"/>
                    </a:cubicBezTo>
                    <a:cubicBezTo>
                      <a:pt x="122" y="64"/>
                      <a:pt x="121" y="64"/>
                      <a:pt x="121" y="65"/>
                    </a:cubicBezTo>
                    <a:cubicBezTo>
                      <a:pt x="121" y="65"/>
                      <a:pt x="121" y="66"/>
                      <a:pt x="121" y="66"/>
                    </a:cubicBezTo>
                    <a:cubicBezTo>
                      <a:pt x="121" y="67"/>
                      <a:pt x="121" y="67"/>
                      <a:pt x="121" y="68"/>
                    </a:cubicBezTo>
                    <a:cubicBezTo>
                      <a:pt x="121" y="69"/>
                      <a:pt x="121" y="69"/>
                      <a:pt x="121" y="71"/>
                    </a:cubicBezTo>
                    <a:cubicBezTo>
                      <a:pt x="120" y="72"/>
                      <a:pt x="120" y="73"/>
                      <a:pt x="120" y="74"/>
                    </a:cubicBezTo>
                    <a:cubicBezTo>
                      <a:pt x="119" y="77"/>
                      <a:pt x="119" y="78"/>
                      <a:pt x="118" y="80"/>
                    </a:cubicBezTo>
                    <a:cubicBezTo>
                      <a:pt x="117" y="82"/>
                      <a:pt x="117" y="83"/>
                      <a:pt x="116" y="85"/>
                    </a:cubicBezTo>
                    <a:cubicBezTo>
                      <a:pt x="115" y="86"/>
                      <a:pt x="115" y="86"/>
                      <a:pt x="115" y="87"/>
                    </a:cubicBezTo>
                    <a:cubicBezTo>
                      <a:pt x="114" y="88"/>
                      <a:pt x="114" y="88"/>
                      <a:pt x="113" y="88"/>
                    </a:cubicBezTo>
                    <a:cubicBezTo>
                      <a:pt x="112" y="89"/>
                      <a:pt x="111" y="90"/>
                      <a:pt x="109" y="90"/>
                    </a:cubicBezTo>
                    <a:cubicBezTo>
                      <a:pt x="108" y="90"/>
                      <a:pt x="108" y="90"/>
                      <a:pt x="107" y="90"/>
                    </a:cubicBezTo>
                    <a:cubicBezTo>
                      <a:pt x="106" y="90"/>
                      <a:pt x="104" y="90"/>
                      <a:pt x="104" y="91"/>
                    </a:cubicBezTo>
                    <a:cubicBezTo>
                      <a:pt x="104" y="92"/>
                      <a:pt x="104" y="92"/>
                      <a:pt x="105" y="93"/>
                    </a:cubicBezTo>
                    <a:cubicBezTo>
                      <a:pt x="105" y="93"/>
                      <a:pt x="105" y="93"/>
                      <a:pt x="105" y="94"/>
                    </a:cubicBezTo>
                    <a:cubicBezTo>
                      <a:pt x="107" y="97"/>
                      <a:pt x="107" y="99"/>
                      <a:pt x="107" y="102"/>
                    </a:cubicBezTo>
                    <a:cubicBezTo>
                      <a:pt x="107" y="104"/>
                      <a:pt x="106" y="105"/>
                      <a:pt x="104" y="107"/>
                    </a:cubicBezTo>
                    <a:cubicBezTo>
                      <a:pt x="102" y="111"/>
                      <a:pt x="99" y="112"/>
                      <a:pt x="94" y="112"/>
                    </a:cubicBezTo>
                    <a:cubicBezTo>
                      <a:pt x="92" y="112"/>
                      <a:pt x="90" y="112"/>
                      <a:pt x="88" y="111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89" y="115"/>
                      <a:pt x="89" y="115"/>
                      <a:pt x="89" y="115"/>
                    </a:cubicBezTo>
                    <a:cubicBezTo>
                      <a:pt x="89" y="117"/>
                      <a:pt x="89" y="119"/>
                      <a:pt x="89" y="121"/>
                    </a:cubicBezTo>
                    <a:cubicBezTo>
                      <a:pt x="89" y="126"/>
                      <a:pt x="90" y="129"/>
                      <a:pt x="91" y="134"/>
                    </a:cubicBezTo>
                    <a:cubicBezTo>
                      <a:pt x="92" y="137"/>
                      <a:pt x="92" y="140"/>
                      <a:pt x="92" y="144"/>
                    </a:cubicBezTo>
                    <a:cubicBezTo>
                      <a:pt x="88" y="146"/>
                      <a:pt x="85" y="148"/>
                      <a:pt x="82" y="152"/>
                    </a:cubicBezTo>
                    <a:cubicBezTo>
                      <a:pt x="78" y="158"/>
                      <a:pt x="76" y="162"/>
                      <a:pt x="76" y="169"/>
                    </a:cubicBezTo>
                    <a:cubicBezTo>
                      <a:pt x="76" y="171"/>
                      <a:pt x="75" y="172"/>
                      <a:pt x="77" y="173"/>
                    </a:cubicBezTo>
                    <a:cubicBezTo>
                      <a:pt x="78" y="175"/>
                      <a:pt x="79" y="175"/>
                      <a:pt x="81" y="175"/>
                    </a:cubicBezTo>
                    <a:cubicBezTo>
                      <a:pt x="82" y="175"/>
                      <a:pt x="84" y="176"/>
                      <a:pt x="86" y="176"/>
                    </a:cubicBezTo>
                    <a:cubicBezTo>
                      <a:pt x="86" y="177"/>
                      <a:pt x="86" y="177"/>
                      <a:pt x="86" y="177"/>
                    </a:cubicBezTo>
                    <a:cubicBezTo>
                      <a:pt x="86" y="178"/>
                      <a:pt x="85" y="179"/>
                      <a:pt x="85" y="179"/>
                    </a:cubicBezTo>
                    <a:cubicBezTo>
                      <a:pt x="84" y="181"/>
                      <a:pt x="82" y="182"/>
                      <a:pt x="80" y="182"/>
                    </a:cubicBezTo>
                    <a:cubicBezTo>
                      <a:pt x="78" y="182"/>
                      <a:pt x="77" y="182"/>
                      <a:pt x="75" y="182"/>
                    </a:cubicBezTo>
                    <a:cubicBezTo>
                      <a:pt x="73" y="182"/>
                      <a:pt x="72" y="184"/>
                      <a:pt x="70" y="185"/>
                    </a:cubicBezTo>
                    <a:cubicBezTo>
                      <a:pt x="68" y="186"/>
                      <a:pt x="67" y="188"/>
                      <a:pt x="65" y="190"/>
                    </a:cubicBezTo>
                    <a:cubicBezTo>
                      <a:pt x="64" y="192"/>
                      <a:pt x="63" y="192"/>
                      <a:pt x="61" y="194"/>
                    </a:cubicBezTo>
                    <a:cubicBezTo>
                      <a:pt x="60" y="195"/>
                      <a:pt x="59" y="196"/>
                      <a:pt x="59" y="198"/>
                    </a:cubicBezTo>
                    <a:cubicBezTo>
                      <a:pt x="58" y="199"/>
                      <a:pt x="59" y="200"/>
                      <a:pt x="59" y="202"/>
                    </a:cubicBezTo>
                    <a:cubicBezTo>
                      <a:pt x="58" y="204"/>
                      <a:pt x="58" y="205"/>
                      <a:pt x="58" y="207"/>
                    </a:cubicBezTo>
                    <a:cubicBezTo>
                      <a:pt x="58" y="208"/>
                      <a:pt x="57" y="208"/>
                      <a:pt x="57" y="209"/>
                    </a:cubicBezTo>
                    <a:cubicBezTo>
                      <a:pt x="57" y="210"/>
                      <a:pt x="58" y="211"/>
                      <a:pt x="58" y="212"/>
                    </a:cubicBezTo>
                    <a:cubicBezTo>
                      <a:pt x="57" y="212"/>
                      <a:pt x="57" y="212"/>
                      <a:pt x="57" y="212"/>
                    </a:cubicBezTo>
                    <a:cubicBezTo>
                      <a:pt x="56" y="212"/>
                      <a:pt x="55" y="212"/>
                      <a:pt x="54" y="213"/>
                    </a:cubicBezTo>
                    <a:cubicBezTo>
                      <a:pt x="50" y="214"/>
                      <a:pt x="48" y="216"/>
                      <a:pt x="44" y="218"/>
                    </a:cubicBezTo>
                    <a:cubicBezTo>
                      <a:pt x="42" y="218"/>
                      <a:pt x="41" y="219"/>
                      <a:pt x="40" y="219"/>
                    </a:cubicBezTo>
                    <a:cubicBezTo>
                      <a:pt x="38" y="219"/>
                      <a:pt x="38" y="218"/>
                      <a:pt x="37" y="217"/>
                    </a:cubicBezTo>
                    <a:cubicBezTo>
                      <a:pt x="35" y="215"/>
                      <a:pt x="33" y="214"/>
                      <a:pt x="32" y="212"/>
                    </a:cubicBezTo>
                    <a:cubicBezTo>
                      <a:pt x="30" y="210"/>
                      <a:pt x="28" y="209"/>
                      <a:pt x="27" y="207"/>
                    </a:cubicBezTo>
                    <a:cubicBezTo>
                      <a:pt x="22" y="207"/>
                      <a:pt x="22" y="207"/>
                      <a:pt x="22" y="207"/>
                    </a:cubicBezTo>
                    <a:cubicBezTo>
                      <a:pt x="22" y="205"/>
                      <a:pt x="20" y="205"/>
                      <a:pt x="18" y="204"/>
                    </a:cubicBezTo>
                    <a:cubicBezTo>
                      <a:pt x="16" y="203"/>
                      <a:pt x="15" y="201"/>
                      <a:pt x="12" y="201"/>
                    </a:cubicBezTo>
                    <a:cubicBezTo>
                      <a:pt x="10" y="201"/>
                      <a:pt x="10" y="202"/>
                      <a:pt x="8" y="203"/>
                    </a:cubicBezTo>
                    <a:cubicBezTo>
                      <a:pt x="5" y="204"/>
                      <a:pt x="4" y="204"/>
                      <a:pt x="1" y="204"/>
                    </a:cubicBezTo>
                    <a:cubicBezTo>
                      <a:pt x="1" y="204"/>
                      <a:pt x="1" y="204"/>
                      <a:pt x="0" y="204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0" y="201"/>
                      <a:pt x="1" y="200"/>
                      <a:pt x="2" y="199"/>
                    </a:cubicBezTo>
                    <a:cubicBezTo>
                      <a:pt x="3" y="198"/>
                      <a:pt x="4" y="198"/>
                      <a:pt x="4" y="197"/>
                    </a:cubicBezTo>
                    <a:cubicBezTo>
                      <a:pt x="5" y="196"/>
                      <a:pt x="6" y="195"/>
                      <a:pt x="7" y="194"/>
                    </a:cubicBezTo>
                    <a:cubicBezTo>
                      <a:pt x="8" y="192"/>
                      <a:pt x="7" y="191"/>
                      <a:pt x="8" y="189"/>
                    </a:cubicBezTo>
                    <a:cubicBezTo>
                      <a:pt x="10" y="188"/>
                      <a:pt x="12" y="187"/>
                      <a:pt x="12" y="185"/>
                    </a:cubicBezTo>
                    <a:cubicBezTo>
                      <a:pt x="14" y="183"/>
                      <a:pt x="15" y="182"/>
                      <a:pt x="15" y="180"/>
                    </a:cubicBezTo>
                    <a:cubicBezTo>
                      <a:pt x="16" y="178"/>
                      <a:pt x="16" y="177"/>
                      <a:pt x="17" y="176"/>
                    </a:cubicBezTo>
                    <a:cubicBezTo>
                      <a:pt x="18" y="176"/>
                      <a:pt x="18" y="175"/>
                      <a:pt x="18" y="175"/>
                    </a:cubicBezTo>
                    <a:cubicBezTo>
                      <a:pt x="18" y="174"/>
                      <a:pt x="17" y="174"/>
                      <a:pt x="17" y="172"/>
                    </a:cubicBezTo>
                    <a:cubicBezTo>
                      <a:pt x="17" y="171"/>
                      <a:pt x="20" y="171"/>
                      <a:pt x="20" y="169"/>
                    </a:cubicBezTo>
                    <a:cubicBezTo>
                      <a:pt x="20" y="167"/>
                      <a:pt x="19" y="166"/>
                      <a:pt x="17" y="165"/>
                    </a:cubicBezTo>
                    <a:cubicBezTo>
                      <a:pt x="17" y="164"/>
                      <a:pt x="18" y="164"/>
                      <a:pt x="19" y="164"/>
                    </a:cubicBezTo>
                    <a:cubicBezTo>
                      <a:pt x="20" y="163"/>
                      <a:pt x="21" y="162"/>
                      <a:pt x="21" y="161"/>
                    </a:cubicBezTo>
                    <a:cubicBezTo>
                      <a:pt x="22" y="160"/>
                      <a:pt x="23" y="159"/>
                      <a:pt x="24" y="158"/>
                    </a:cubicBezTo>
                    <a:cubicBezTo>
                      <a:pt x="25" y="157"/>
                      <a:pt x="24" y="156"/>
                      <a:pt x="25" y="154"/>
                    </a:cubicBezTo>
                    <a:cubicBezTo>
                      <a:pt x="26" y="153"/>
                      <a:pt x="27" y="152"/>
                      <a:pt x="27" y="15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7"/>
                      <a:pt x="26" y="147"/>
                      <a:pt x="26" y="146"/>
                    </a:cubicBezTo>
                    <a:cubicBezTo>
                      <a:pt x="26" y="145"/>
                      <a:pt x="26" y="145"/>
                      <a:pt x="26" y="145"/>
                    </a:cubicBezTo>
                    <a:cubicBezTo>
                      <a:pt x="27" y="145"/>
                      <a:pt x="27" y="145"/>
                      <a:pt x="27" y="145"/>
                    </a:cubicBezTo>
                    <a:cubicBezTo>
                      <a:pt x="28" y="146"/>
                      <a:pt x="27" y="147"/>
                      <a:pt x="28" y="148"/>
                    </a:cubicBezTo>
                    <a:cubicBezTo>
                      <a:pt x="29" y="149"/>
                      <a:pt x="30" y="149"/>
                      <a:pt x="31" y="149"/>
                    </a:cubicBezTo>
                    <a:cubicBezTo>
                      <a:pt x="33" y="149"/>
                      <a:pt x="34" y="149"/>
                      <a:pt x="35" y="150"/>
                    </a:cubicBezTo>
                    <a:cubicBezTo>
                      <a:pt x="36" y="150"/>
                      <a:pt x="37" y="152"/>
                      <a:pt x="38" y="152"/>
                    </a:cubicBezTo>
                    <a:cubicBezTo>
                      <a:pt x="38" y="152"/>
                      <a:pt x="38" y="152"/>
                      <a:pt x="39" y="152"/>
                    </a:cubicBezTo>
                    <a:cubicBezTo>
                      <a:pt x="38" y="150"/>
                      <a:pt x="37" y="150"/>
                      <a:pt x="36" y="149"/>
                    </a:cubicBezTo>
                    <a:cubicBezTo>
                      <a:pt x="35" y="148"/>
                      <a:pt x="34" y="148"/>
                      <a:pt x="34" y="148"/>
                    </a:cubicBezTo>
                    <a:cubicBezTo>
                      <a:pt x="34" y="146"/>
                      <a:pt x="34" y="143"/>
                      <a:pt x="32" y="143"/>
                    </a:cubicBezTo>
                    <a:cubicBezTo>
                      <a:pt x="32" y="143"/>
                      <a:pt x="32" y="143"/>
                      <a:pt x="31" y="143"/>
                    </a:cubicBezTo>
                    <a:cubicBezTo>
                      <a:pt x="31" y="146"/>
                      <a:pt x="31" y="146"/>
                      <a:pt x="31" y="146"/>
                    </a:cubicBezTo>
                    <a:cubicBezTo>
                      <a:pt x="31" y="146"/>
                      <a:pt x="31" y="146"/>
                      <a:pt x="31" y="146"/>
                    </a:cubicBezTo>
                    <a:cubicBezTo>
                      <a:pt x="29" y="146"/>
                      <a:pt x="29" y="143"/>
                      <a:pt x="29" y="141"/>
                    </a:cubicBezTo>
                    <a:cubicBezTo>
                      <a:pt x="28" y="141"/>
                      <a:pt x="27" y="141"/>
                      <a:pt x="26" y="141"/>
                    </a:cubicBezTo>
                    <a:cubicBezTo>
                      <a:pt x="24" y="141"/>
                      <a:pt x="23" y="143"/>
                      <a:pt x="20" y="143"/>
                    </a:cubicBezTo>
                    <a:cubicBezTo>
                      <a:pt x="19" y="143"/>
                      <a:pt x="18" y="143"/>
                      <a:pt x="16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3" y="143"/>
                      <a:pt x="11" y="143"/>
                      <a:pt x="11" y="142"/>
                    </a:cubicBezTo>
                    <a:cubicBezTo>
                      <a:pt x="11" y="141"/>
                      <a:pt x="12" y="141"/>
                      <a:pt x="12" y="140"/>
                    </a:cubicBezTo>
                    <a:cubicBezTo>
                      <a:pt x="13" y="139"/>
                      <a:pt x="13" y="138"/>
                      <a:pt x="13" y="137"/>
                    </a:cubicBezTo>
                    <a:cubicBezTo>
                      <a:pt x="13" y="136"/>
                      <a:pt x="14" y="136"/>
                      <a:pt x="14" y="135"/>
                    </a:cubicBezTo>
                    <a:cubicBezTo>
                      <a:pt x="14" y="134"/>
                      <a:pt x="14" y="133"/>
                      <a:pt x="14" y="132"/>
                    </a:cubicBezTo>
                    <a:cubicBezTo>
                      <a:pt x="16" y="132"/>
                      <a:pt x="17" y="131"/>
                      <a:pt x="19" y="131"/>
                    </a:cubicBezTo>
                    <a:cubicBezTo>
                      <a:pt x="20" y="131"/>
                      <a:pt x="20" y="134"/>
                      <a:pt x="21" y="135"/>
                    </a:cubicBezTo>
                    <a:cubicBezTo>
                      <a:pt x="22" y="134"/>
                      <a:pt x="22" y="133"/>
                      <a:pt x="23" y="133"/>
                    </a:cubicBezTo>
                    <a:cubicBezTo>
                      <a:pt x="24" y="132"/>
                      <a:pt x="25" y="132"/>
                      <a:pt x="26" y="132"/>
                    </a:cubicBezTo>
                    <a:cubicBezTo>
                      <a:pt x="27" y="130"/>
                      <a:pt x="26" y="128"/>
                      <a:pt x="27" y="127"/>
                    </a:cubicBezTo>
                    <a:cubicBezTo>
                      <a:pt x="26" y="127"/>
                      <a:pt x="26" y="127"/>
                      <a:pt x="25" y="127"/>
                    </a:cubicBezTo>
                    <a:cubicBezTo>
                      <a:pt x="21" y="127"/>
                      <a:pt x="21" y="127"/>
                      <a:pt x="21" y="127"/>
                    </a:cubicBezTo>
                    <a:cubicBezTo>
                      <a:pt x="19" y="127"/>
                      <a:pt x="19" y="129"/>
                      <a:pt x="17" y="129"/>
                    </a:cubicBezTo>
                    <a:cubicBezTo>
                      <a:pt x="16" y="129"/>
                      <a:pt x="15" y="127"/>
                      <a:pt x="14" y="127"/>
                    </a:cubicBezTo>
                    <a:cubicBezTo>
                      <a:pt x="11" y="127"/>
                      <a:pt x="11" y="127"/>
                      <a:pt x="11" y="127"/>
                    </a:cubicBezTo>
                    <a:cubicBezTo>
                      <a:pt x="11" y="126"/>
                      <a:pt x="11" y="126"/>
                      <a:pt x="11" y="126"/>
                    </a:cubicBezTo>
                    <a:cubicBezTo>
                      <a:pt x="11" y="126"/>
                      <a:pt x="12" y="125"/>
                      <a:pt x="12" y="124"/>
                    </a:cubicBezTo>
                    <a:cubicBezTo>
                      <a:pt x="12" y="124"/>
                      <a:pt x="12" y="123"/>
                      <a:pt x="13" y="122"/>
                    </a:cubicBezTo>
                    <a:cubicBezTo>
                      <a:pt x="13" y="121"/>
                      <a:pt x="14" y="121"/>
                      <a:pt x="15" y="120"/>
                    </a:cubicBezTo>
                    <a:cubicBezTo>
                      <a:pt x="16" y="118"/>
                      <a:pt x="15" y="117"/>
                      <a:pt x="16" y="115"/>
                    </a:cubicBezTo>
                    <a:cubicBezTo>
                      <a:pt x="17" y="114"/>
                      <a:pt x="17" y="112"/>
                      <a:pt x="19" y="111"/>
                    </a:cubicBezTo>
                    <a:cubicBezTo>
                      <a:pt x="19" y="110"/>
                      <a:pt x="20" y="110"/>
                      <a:pt x="21" y="110"/>
                    </a:cubicBezTo>
                    <a:cubicBezTo>
                      <a:pt x="22" y="108"/>
                      <a:pt x="23" y="107"/>
                      <a:pt x="23" y="105"/>
                    </a:cubicBezTo>
                    <a:cubicBezTo>
                      <a:pt x="23" y="104"/>
                      <a:pt x="22" y="103"/>
                      <a:pt x="22" y="102"/>
                    </a:cubicBezTo>
                    <a:cubicBezTo>
                      <a:pt x="22" y="101"/>
                      <a:pt x="22" y="101"/>
                      <a:pt x="22" y="101"/>
                    </a:cubicBezTo>
                    <a:cubicBezTo>
                      <a:pt x="25" y="101"/>
                      <a:pt x="26" y="100"/>
                      <a:pt x="28" y="99"/>
                    </a:cubicBezTo>
                    <a:cubicBezTo>
                      <a:pt x="30" y="97"/>
                      <a:pt x="30" y="96"/>
                      <a:pt x="32" y="95"/>
                    </a:cubicBezTo>
                    <a:cubicBezTo>
                      <a:pt x="33" y="94"/>
                      <a:pt x="34" y="94"/>
                      <a:pt x="34" y="93"/>
                    </a:cubicBezTo>
                    <a:cubicBezTo>
                      <a:pt x="34" y="92"/>
                      <a:pt x="34" y="91"/>
                      <a:pt x="34" y="90"/>
                    </a:cubicBezTo>
                    <a:cubicBezTo>
                      <a:pt x="34" y="88"/>
                      <a:pt x="35" y="88"/>
                      <a:pt x="37" y="87"/>
                    </a:cubicBezTo>
                    <a:cubicBezTo>
                      <a:pt x="39" y="86"/>
                      <a:pt x="39" y="83"/>
                      <a:pt x="41" y="82"/>
                    </a:cubicBezTo>
                    <a:cubicBezTo>
                      <a:pt x="43" y="81"/>
                      <a:pt x="43" y="79"/>
                      <a:pt x="45" y="78"/>
                    </a:cubicBezTo>
                    <a:cubicBezTo>
                      <a:pt x="46" y="77"/>
                      <a:pt x="48" y="77"/>
                      <a:pt x="49" y="76"/>
                    </a:cubicBezTo>
                    <a:cubicBezTo>
                      <a:pt x="49" y="75"/>
                      <a:pt x="50" y="75"/>
                      <a:pt x="50" y="74"/>
                    </a:cubicBezTo>
                    <a:cubicBezTo>
                      <a:pt x="50" y="73"/>
                      <a:pt x="49" y="73"/>
                      <a:pt x="49" y="73"/>
                    </a:cubicBezTo>
                    <a:cubicBezTo>
                      <a:pt x="49" y="71"/>
                      <a:pt x="51" y="71"/>
                      <a:pt x="51" y="70"/>
                    </a:cubicBezTo>
                    <a:cubicBezTo>
                      <a:pt x="53" y="67"/>
                      <a:pt x="53" y="65"/>
                      <a:pt x="55" y="62"/>
                    </a:cubicBezTo>
                    <a:cubicBezTo>
                      <a:pt x="56" y="60"/>
                      <a:pt x="58" y="59"/>
                      <a:pt x="61" y="57"/>
                    </a:cubicBezTo>
                    <a:cubicBezTo>
                      <a:pt x="62" y="55"/>
                      <a:pt x="64" y="55"/>
                      <a:pt x="64" y="53"/>
                    </a:cubicBezTo>
                    <a:cubicBezTo>
                      <a:pt x="64" y="52"/>
                      <a:pt x="64" y="51"/>
                      <a:pt x="64" y="49"/>
                    </a:cubicBezTo>
                    <a:cubicBezTo>
                      <a:pt x="62" y="51"/>
                      <a:pt x="61" y="52"/>
                      <a:pt x="60" y="54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60" y="52"/>
                      <a:pt x="60" y="52"/>
                      <a:pt x="61" y="50"/>
                    </a:cubicBezTo>
                    <a:cubicBezTo>
                      <a:pt x="61" y="50"/>
                      <a:pt x="61" y="49"/>
                      <a:pt x="61" y="48"/>
                    </a:cubicBezTo>
                    <a:cubicBezTo>
                      <a:pt x="62" y="48"/>
                      <a:pt x="63" y="48"/>
                      <a:pt x="63" y="47"/>
                    </a:cubicBezTo>
                    <a:cubicBezTo>
                      <a:pt x="63" y="46"/>
                      <a:pt x="63" y="46"/>
                      <a:pt x="63" y="45"/>
                    </a:cubicBezTo>
                    <a:cubicBezTo>
                      <a:pt x="64" y="43"/>
                      <a:pt x="66" y="41"/>
                      <a:pt x="66" y="39"/>
                    </a:cubicBezTo>
                    <a:cubicBezTo>
                      <a:pt x="66" y="38"/>
                      <a:pt x="65" y="37"/>
                      <a:pt x="65" y="35"/>
                    </a:cubicBezTo>
                    <a:cubicBezTo>
                      <a:pt x="65" y="34"/>
                      <a:pt x="67" y="33"/>
                      <a:pt x="67" y="31"/>
                    </a:cubicBezTo>
                    <a:cubicBezTo>
                      <a:pt x="67" y="31"/>
                      <a:pt x="66" y="30"/>
                      <a:pt x="66" y="30"/>
                    </a:cubicBezTo>
                    <a:cubicBezTo>
                      <a:pt x="68" y="28"/>
                      <a:pt x="68" y="25"/>
                      <a:pt x="69" y="22"/>
                    </a:cubicBezTo>
                    <a:cubicBezTo>
                      <a:pt x="70" y="21"/>
                      <a:pt x="70" y="21"/>
                      <a:pt x="70" y="19"/>
                    </a:cubicBezTo>
                    <a:cubicBezTo>
                      <a:pt x="71" y="18"/>
                      <a:pt x="70" y="17"/>
                      <a:pt x="71" y="16"/>
                    </a:cubicBezTo>
                    <a:cubicBezTo>
                      <a:pt x="71" y="15"/>
                      <a:pt x="72" y="15"/>
                      <a:pt x="73" y="14"/>
                    </a:cubicBezTo>
                    <a:cubicBezTo>
                      <a:pt x="73" y="13"/>
                      <a:pt x="72" y="13"/>
                      <a:pt x="71" y="13"/>
                    </a:cubicBezTo>
                    <a:cubicBezTo>
                      <a:pt x="73" y="9"/>
                      <a:pt x="75" y="8"/>
                      <a:pt x="7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3" name="Freeform 53">
                <a:extLst>
                  <a:ext uri="{FF2B5EF4-FFF2-40B4-BE49-F238E27FC236}">
                    <a16:creationId xmlns:a16="http://schemas.microsoft.com/office/drawing/2014/main" xmlns="" id="{39677E11-0FD1-495C-9E59-700EF8EAC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6908" y="3351948"/>
                <a:ext cx="27537" cy="25146"/>
              </a:xfrm>
              <a:custGeom>
                <a:avLst/>
                <a:gdLst>
                  <a:gd name="T0" fmla="*/ 11 w 11"/>
                  <a:gd name="T1" fmla="*/ 8 h 10"/>
                  <a:gd name="T2" fmla="*/ 11 w 11"/>
                  <a:gd name="T3" fmla="*/ 8 h 10"/>
                  <a:gd name="T4" fmla="*/ 10 w 11"/>
                  <a:gd name="T5" fmla="*/ 9 h 10"/>
                  <a:gd name="T6" fmla="*/ 10 w 11"/>
                  <a:gd name="T7" fmla="*/ 9 h 10"/>
                  <a:gd name="T8" fmla="*/ 8 w 11"/>
                  <a:gd name="T9" fmla="*/ 9 h 10"/>
                  <a:gd name="T10" fmla="*/ 7 w 11"/>
                  <a:gd name="T11" fmla="*/ 10 h 10"/>
                  <a:gd name="T12" fmla="*/ 5 w 11"/>
                  <a:gd name="T13" fmla="*/ 10 h 10"/>
                  <a:gd name="T14" fmla="*/ 4 w 11"/>
                  <a:gd name="T15" fmla="*/ 10 h 10"/>
                  <a:gd name="T16" fmla="*/ 3 w 11"/>
                  <a:gd name="T17" fmla="*/ 10 h 10"/>
                  <a:gd name="T18" fmla="*/ 2 w 11"/>
                  <a:gd name="T19" fmla="*/ 9 h 10"/>
                  <a:gd name="T20" fmla="*/ 1 w 11"/>
                  <a:gd name="T21" fmla="*/ 9 h 10"/>
                  <a:gd name="T22" fmla="*/ 0 w 11"/>
                  <a:gd name="T23" fmla="*/ 7 h 10"/>
                  <a:gd name="T24" fmla="*/ 0 w 11"/>
                  <a:gd name="T25" fmla="*/ 6 h 10"/>
                  <a:gd name="T26" fmla="*/ 0 w 11"/>
                  <a:gd name="T27" fmla="*/ 5 h 10"/>
                  <a:gd name="T28" fmla="*/ 0 w 11"/>
                  <a:gd name="T29" fmla="*/ 4 h 10"/>
                  <a:gd name="T30" fmla="*/ 0 w 11"/>
                  <a:gd name="T31" fmla="*/ 3 h 10"/>
                  <a:gd name="T32" fmla="*/ 1 w 11"/>
                  <a:gd name="T33" fmla="*/ 2 h 10"/>
                  <a:gd name="T34" fmla="*/ 2 w 11"/>
                  <a:gd name="T35" fmla="*/ 1 h 10"/>
                  <a:gd name="T36" fmla="*/ 3 w 11"/>
                  <a:gd name="T37" fmla="*/ 0 h 10"/>
                  <a:gd name="T38" fmla="*/ 3 w 11"/>
                  <a:gd name="T39" fmla="*/ 0 h 10"/>
                  <a:gd name="T40" fmla="*/ 4 w 11"/>
                  <a:gd name="T41" fmla="*/ 0 h 10"/>
                  <a:gd name="T42" fmla="*/ 5 w 11"/>
                  <a:gd name="T43" fmla="*/ 0 h 10"/>
                  <a:gd name="T44" fmla="*/ 7 w 11"/>
                  <a:gd name="T45" fmla="*/ 0 h 10"/>
                  <a:gd name="T46" fmla="*/ 8 w 11"/>
                  <a:gd name="T47" fmla="*/ 1 h 10"/>
                  <a:gd name="T48" fmla="*/ 9 w 11"/>
                  <a:gd name="T49" fmla="*/ 2 h 10"/>
                  <a:gd name="T50" fmla="*/ 9 w 11"/>
                  <a:gd name="T51" fmla="*/ 2 h 10"/>
                  <a:gd name="T52" fmla="*/ 10 w 11"/>
                  <a:gd name="T53" fmla="*/ 2 h 10"/>
                  <a:gd name="T54" fmla="*/ 11 w 11"/>
                  <a:gd name="T55" fmla="*/ 4 h 10"/>
                  <a:gd name="T56" fmla="*/ 11 w 11"/>
                  <a:gd name="T57" fmla="*/ 5 h 10"/>
                  <a:gd name="T58" fmla="*/ 11 w 11"/>
                  <a:gd name="T59" fmla="*/ 7 h 10"/>
                  <a:gd name="T60" fmla="*/ 11 w 11"/>
                  <a:gd name="T61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" h="10">
                    <a:moveTo>
                      <a:pt x="11" y="8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0" y="9"/>
                      <a:pt x="10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9"/>
                      <a:pt x="9" y="9"/>
                      <a:pt x="8" y="9"/>
                    </a:cubicBezTo>
                    <a:cubicBezTo>
                      <a:pt x="8" y="9"/>
                      <a:pt x="7" y="9"/>
                      <a:pt x="7" y="10"/>
                    </a:cubicBezTo>
                    <a:cubicBezTo>
                      <a:pt x="6" y="10"/>
                      <a:pt x="6" y="10"/>
                      <a:pt x="5" y="10"/>
                    </a:cubicBezTo>
                    <a:cubicBezTo>
                      <a:pt x="5" y="10"/>
                      <a:pt x="5" y="10"/>
                      <a:pt x="4" y="10"/>
                    </a:cubicBezTo>
                    <a:cubicBezTo>
                      <a:pt x="4" y="10"/>
                      <a:pt x="4" y="10"/>
                      <a:pt x="3" y="10"/>
                    </a:cubicBezTo>
                    <a:cubicBezTo>
                      <a:pt x="3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1" y="9"/>
                    </a:cubicBezTo>
                    <a:cubicBezTo>
                      <a:pt x="1" y="8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6" y="0"/>
                      <a:pt x="6" y="0"/>
                      <a:pt x="7" y="0"/>
                    </a:cubicBezTo>
                    <a:cubicBezTo>
                      <a:pt x="7" y="0"/>
                      <a:pt x="7" y="1"/>
                      <a:pt x="8" y="1"/>
                    </a:cubicBezTo>
                    <a:cubicBezTo>
                      <a:pt x="8" y="1"/>
                      <a:pt x="8" y="1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10" y="2"/>
                    </a:cubicBezTo>
                    <a:cubicBezTo>
                      <a:pt x="10" y="3"/>
                      <a:pt x="11" y="3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6"/>
                      <a:pt x="11" y="6"/>
                      <a:pt x="11" y="7"/>
                    </a:cubicBezTo>
                    <a:cubicBezTo>
                      <a:pt x="11" y="8"/>
                      <a:pt x="11" y="8"/>
                      <a:pt x="11" y="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4" name="Freeform 54">
                <a:extLst>
                  <a:ext uri="{FF2B5EF4-FFF2-40B4-BE49-F238E27FC236}">
                    <a16:creationId xmlns:a16="http://schemas.microsoft.com/office/drawing/2014/main" xmlns="" id="{EF0B2DE2-6A3B-4369-8753-37AB18C82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9407" y="3336381"/>
                <a:ext cx="20353" cy="13172"/>
              </a:xfrm>
              <a:custGeom>
                <a:avLst/>
                <a:gdLst>
                  <a:gd name="T0" fmla="*/ 8 w 8"/>
                  <a:gd name="T1" fmla="*/ 1 h 5"/>
                  <a:gd name="T2" fmla="*/ 1 w 8"/>
                  <a:gd name="T3" fmla="*/ 5 h 5"/>
                  <a:gd name="T4" fmla="*/ 0 w 8"/>
                  <a:gd name="T5" fmla="*/ 5 h 5"/>
                  <a:gd name="T6" fmla="*/ 0 w 8"/>
                  <a:gd name="T7" fmla="*/ 5 h 5"/>
                  <a:gd name="T8" fmla="*/ 1 w 8"/>
                  <a:gd name="T9" fmla="*/ 4 h 5"/>
                  <a:gd name="T10" fmla="*/ 1 w 8"/>
                  <a:gd name="T11" fmla="*/ 2 h 5"/>
                  <a:gd name="T12" fmla="*/ 1 w 8"/>
                  <a:gd name="T13" fmla="*/ 2 h 5"/>
                  <a:gd name="T14" fmla="*/ 2 w 8"/>
                  <a:gd name="T15" fmla="*/ 1 h 5"/>
                  <a:gd name="T16" fmla="*/ 3 w 8"/>
                  <a:gd name="T17" fmla="*/ 0 h 5"/>
                  <a:gd name="T18" fmla="*/ 5 w 8"/>
                  <a:gd name="T19" fmla="*/ 0 h 5"/>
                  <a:gd name="T20" fmla="*/ 6 w 8"/>
                  <a:gd name="T21" fmla="*/ 1 h 5"/>
                  <a:gd name="T22" fmla="*/ 8 w 8"/>
                  <a:gd name="T2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5" y="3"/>
                      <a:pt x="4" y="4"/>
                      <a:pt x="1" y="5"/>
                    </a:cubicBezTo>
                    <a:cubicBezTo>
                      <a:pt x="1" y="5"/>
                      <a:pt x="1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0"/>
                      <a:pt x="6" y="0"/>
                      <a:pt x="6" y="1"/>
                    </a:cubicBezTo>
                    <a:cubicBezTo>
                      <a:pt x="7" y="1"/>
                      <a:pt x="7" y="1"/>
                      <a:pt x="8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5" name="Freeform 55">
                <a:extLst>
                  <a:ext uri="{FF2B5EF4-FFF2-40B4-BE49-F238E27FC236}">
                    <a16:creationId xmlns:a16="http://schemas.microsoft.com/office/drawing/2014/main" xmlns="" id="{88363F94-17C2-4BD5-AF04-E12B8BD0D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281" y="3367515"/>
                <a:ext cx="15564" cy="11974"/>
              </a:xfrm>
              <a:custGeom>
                <a:avLst/>
                <a:gdLst>
                  <a:gd name="T0" fmla="*/ 2 w 6"/>
                  <a:gd name="T1" fmla="*/ 0 h 5"/>
                  <a:gd name="T2" fmla="*/ 2 w 6"/>
                  <a:gd name="T3" fmla="*/ 0 h 5"/>
                  <a:gd name="T4" fmla="*/ 1 w 6"/>
                  <a:gd name="T5" fmla="*/ 1 h 5"/>
                  <a:gd name="T6" fmla="*/ 0 w 6"/>
                  <a:gd name="T7" fmla="*/ 2 h 5"/>
                  <a:gd name="T8" fmla="*/ 0 w 6"/>
                  <a:gd name="T9" fmla="*/ 2 h 5"/>
                  <a:gd name="T10" fmla="*/ 0 w 6"/>
                  <a:gd name="T11" fmla="*/ 4 h 5"/>
                  <a:gd name="T12" fmla="*/ 1 w 6"/>
                  <a:gd name="T13" fmla="*/ 5 h 5"/>
                  <a:gd name="T14" fmla="*/ 2 w 6"/>
                  <a:gd name="T15" fmla="*/ 5 h 5"/>
                  <a:gd name="T16" fmla="*/ 4 w 6"/>
                  <a:gd name="T17" fmla="*/ 4 h 5"/>
                  <a:gd name="T18" fmla="*/ 5 w 6"/>
                  <a:gd name="T19" fmla="*/ 4 h 5"/>
                  <a:gd name="T20" fmla="*/ 6 w 6"/>
                  <a:gd name="T21" fmla="*/ 3 h 5"/>
                  <a:gd name="T22" fmla="*/ 5 w 6"/>
                  <a:gd name="T23" fmla="*/ 2 h 5"/>
                  <a:gd name="T24" fmla="*/ 4 w 6"/>
                  <a:gd name="T25" fmla="*/ 1 h 5"/>
                  <a:gd name="T26" fmla="*/ 4 w 6"/>
                  <a:gd name="T27" fmla="*/ 0 h 5"/>
                  <a:gd name="T28" fmla="*/ 3 w 6"/>
                  <a:gd name="T29" fmla="*/ 0 h 5"/>
                  <a:gd name="T30" fmla="*/ 2 w 6"/>
                  <a:gd name="T3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3" y="5"/>
                      <a:pt x="3" y="5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5" y="4"/>
                      <a:pt x="6" y="3"/>
                      <a:pt x="6" y="3"/>
                    </a:cubicBezTo>
                    <a:cubicBezTo>
                      <a:pt x="6" y="2"/>
                      <a:pt x="6" y="2"/>
                      <a:pt x="5" y="2"/>
                    </a:cubicBezTo>
                    <a:cubicBezTo>
                      <a:pt x="5" y="2"/>
                      <a:pt x="5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6" name="Freeform 56">
                <a:extLst>
                  <a:ext uri="{FF2B5EF4-FFF2-40B4-BE49-F238E27FC236}">
                    <a16:creationId xmlns:a16="http://schemas.microsoft.com/office/drawing/2014/main" xmlns="" id="{7D12E83A-DDCB-4AE7-B895-FA33B5529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071" y="2975958"/>
                <a:ext cx="15564" cy="34725"/>
              </a:xfrm>
              <a:custGeom>
                <a:avLst/>
                <a:gdLst>
                  <a:gd name="T0" fmla="*/ 3 w 6"/>
                  <a:gd name="T1" fmla="*/ 0 h 14"/>
                  <a:gd name="T2" fmla="*/ 2 w 6"/>
                  <a:gd name="T3" fmla="*/ 1 h 14"/>
                  <a:gd name="T4" fmla="*/ 1 w 6"/>
                  <a:gd name="T5" fmla="*/ 2 h 14"/>
                  <a:gd name="T6" fmla="*/ 0 w 6"/>
                  <a:gd name="T7" fmla="*/ 5 h 14"/>
                  <a:gd name="T8" fmla="*/ 0 w 6"/>
                  <a:gd name="T9" fmla="*/ 6 h 14"/>
                  <a:gd name="T10" fmla="*/ 0 w 6"/>
                  <a:gd name="T11" fmla="*/ 9 h 14"/>
                  <a:gd name="T12" fmla="*/ 0 w 6"/>
                  <a:gd name="T13" fmla="*/ 9 h 14"/>
                  <a:gd name="T14" fmla="*/ 1 w 6"/>
                  <a:gd name="T15" fmla="*/ 12 h 14"/>
                  <a:gd name="T16" fmla="*/ 3 w 6"/>
                  <a:gd name="T17" fmla="*/ 13 h 14"/>
                  <a:gd name="T18" fmla="*/ 4 w 6"/>
                  <a:gd name="T19" fmla="*/ 14 h 14"/>
                  <a:gd name="T20" fmla="*/ 6 w 6"/>
                  <a:gd name="T21" fmla="*/ 13 h 14"/>
                  <a:gd name="T22" fmla="*/ 6 w 6"/>
                  <a:gd name="T23" fmla="*/ 12 h 14"/>
                  <a:gd name="T24" fmla="*/ 6 w 6"/>
                  <a:gd name="T25" fmla="*/ 10 h 14"/>
                  <a:gd name="T26" fmla="*/ 6 w 6"/>
                  <a:gd name="T27" fmla="*/ 6 h 14"/>
                  <a:gd name="T28" fmla="*/ 6 w 6"/>
                  <a:gd name="T29" fmla="*/ 5 h 14"/>
                  <a:gd name="T30" fmla="*/ 5 w 6"/>
                  <a:gd name="T31" fmla="*/ 2 h 14"/>
                  <a:gd name="T32" fmla="*/ 4 w 6"/>
                  <a:gd name="T33" fmla="*/ 1 h 14"/>
                  <a:gd name="T34" fmla="*/ 3 w 6"/>
                  <a:gd name="T3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14">
                    <a:moveTo>
                      <a:pt x="3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0"/>
                      <a:pt x="1" y="11"/>
                      <a:pt x="1" y="12"/>
                    </a:cubicBezTo>
                    <a:cubicBezTo>
                      <a:pt x="2" y="13"/>
                      <a:pt x="2" y="13"/>
                      <a:pt x="3" y="13"/>
                    </a:cubicBezTo>
                    <a:cubicBezTo>
                      <a:pt x="3" y="13"/>
                      <a:pt x="3" y="14"/>
                      <a:pt x="4" y="14"/>
                    </a:cubicBezTo>
                    <a:cubicBezTo>
                      <a:pt x="5" y="14"/>
                      <a:pt x="5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1"/>
                      <a:pt x="6" y="11"/>
                      <a:pt x="6" y="10"/>
                    </a:cubicBezTo>
                    <a:cubicBezTo>
                      <a:pt x="6" y="8"/>
                      <a:pt x="6" y="8"/>
                      <a:pt x="6" y="6"/>
                    </a:cubicBezTo>
                    <a:cubicBezTo>
                      <a:pt x="6" y="6"/>
                      <a:pt x="6" y="5"/>
                      <a:pt x="6" y="5"/>
                    </a:cubicBezTo>
                    <a:cubicBezTo>
                      <a:pt x="6" y="4"/>
                      <a:pt x="5" y="3"/>
                      <a:pt x="5" y="2"/>
                    </a:cubicBezTo>
                    <a:cubicBezTo>
                      <a:pt x="5" y="2"/>
                      <a:pt x="5" y="2"/>
                      <a:pt x="4" y="1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7" name="Freeform 57">
                <a:extLst>
                  <a:ext uri="{FF2B5EF4-FFF2-40B4-BE49-F238E27FC236}">
                    <a16:creationId xmlns:a16="http://schemas.microsoft.com/office/drawing/2014/main" xmlns="" id="{76974103-22F5-4773-A096-AD0673B57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3255" y="3008289"/>
                <a:ext cx="1004509" cy="899263"/>
              </a:xfrm>
              <a:custGeom>
                <a:avLst/>
                <a:gdLst>
                  <a:gd name="T0" fmla="*/ 266 w 398"/>
                  <a:gd name="T1" fmla="*/ 95 h 356"/>
                  <a:gd name="T2" fmla="*/ 288 w 398"/>
                  <a:gd name="T3" fmla="*/ 116 h 356"/>
                  <a:gd name="T4" fmla="*/ 322 w 398"/>
                  <a:gd name="T5" fmla="*/ 122 h 356"/>
                  <a:gd name="T6" fmla="*/ 338 w 398"/>
                  <a:gd name="T7" fmla="*/ 141 h 356"/>
                  <a:gd name="T8" fmla="*/ 345 w 398"/>
                  <a:gd name="T9" fmla="*/ 146 h 356"/>
                  <a:gd name="T10" fmla="*/ 355 w 398"/>
                  <a:gd name="T11" fmla="*/ 150 h 356"/>
                  <a:gd name="T12" fmla="*/ 381 w 398"/>
                  <a:gd name="T13" fmla="*/ 156 h 356"/>
                  <a:gd name="T14" fmla="*/ 397 w 398"/>
                  <a:gd name="T15" fmla="*/ 168 h 356"/>
                  <a:gd name="T16" fmla="*/ 388 w 398"/>
                  <a:gd name="T17" fmla="*/ 186 h 356"/>
                  <a:gd name="T18" fmla="*/ 358 w 398"/>
                  <a:gd name="T19" fmla="*/ 194 h 356"/>
                  <a:gd name="T20" fmla="*/ 314 w 398"/>
                  <a:gd name="T21" fmla="*/ 202 h 356"/>
                  <a:gd name="T22" fmla="*/ 302 w 398"/>
                  <a:gd name="T23" fmla="*/ 218 h 356"/>
                  <a:gd name="T24" fmla="*/ 292 w 398"/>
                  <a:gd name="T25" fmla="*/ 217 h 356"/>
                  <a:gd name="T26" fmla="*/ 253 w 398"/>
                  <a:gd name="T27" fmla="*/ 259 h 356"/>
                  <a:gd name="T28" fmla="*/ 265 w 398"/>
                  <a:gd name="T29" fmla="*/ 295 h 356"/>
                  <a:gd name="T30" fmla="*/ 239 w 398"/>
                  <a:gd name="T31" fmla="*/ 303 h 356"/>
                  <a:gd name="T32" fmla="*/ 226 w 398"/>
                  <a:gd name="T33" fmla="*/ 329 h 356"/>
                  <a:gd name="T34" fmla="*/ 190 w 398"/>
                  <a:gd name="T35" fmla="*/ 332 h 356"/>
                  <a:gd name="T36" fmla="*/ 167 w 398"/>
                  <a:gd name="T37" fmla="*/ 356 h 356"/>
                  <a:gd name="T38" fmla="*/ 150 w 398"/>
                  <a:gd name="T39" fmla="*/ 351 h 356"/>
                  <a:gd name="T40" fmla="*/ 120 w 398"/>
                  <a:gd name="T41" fmla="*/ 341 h 356"/>
                  <a:gd name="T42" fmla="*/ 83 w 398"/>
                  <a:gd name="T43" fmla="*/ 334 h 356"/>
                  <a:gd name="T44" fmla="*/ 61 w 398"/>
                  <a:gd name="T45" fmla="*/ 339 h 356"/>
                  <a:gd name="T46" fmla="*/ 44 w 398"/>
                  <a:gd name="T47" fmla="*/ 344 h 356"/>
                  <a:gd name="T48" fmla="*/ 25 w 398"/>
                  <a:gd name="T49" fmla="*/ 318 h 356"/>
                  <a:gd name="T50" fmla="*/ 30 w 398"/>
                  <a:gd name="T51" fmla="*/ 313 h 356"/>
                  <a:gd name="T52" fmla="*/ 18 w 398"/>
                  <a:gd name="T53" fmla="*/ 286 h 356"/>
                  <a:gd name="T54" fmla="*/ 2 w 398"/>
                  <a:gd name="T55" fmla="*/ 259 h 356"/>
                  <a:gd name="T56" fmla="*/ 29 w 398"/>
                  <a:gd name="T57" fmla="*/ 237 h 356"/>
                  <a:gd name="T58" fmla="*/ 32 w 398"/>
                  <a:gd name="T59" fmla="*/ 176 h 356"/>
                  <a:gd name="T60" fmla="*/ 47 w 398"/>
                  <a:gd name="T61" fmla="*/ 152 h 356"/>
                  <a:gd name="T62" fmla="*/ 64 w 398"/>
                  <a:gd name="T63" fmla="*/ 132 h 356"/>
                  <a:gd name="T64" fmla="*/ 74 w 398"/>
                  <a:gd name="T65" fmla="*/ 120 h 356"/>
                  <a:gd name="T66" fmla="*/ 88 w 398"/>
                  <a:gd name="T67" fmla="*/ 105 h 356"/>
                  <a:gd name="T68" fmla="*/ 79 w 398"/>
                  <a:gd name="T69" fmla="*/ 88 h 356"/>
                  <a:gd name="T70" fmla="*/ 57 w 398"/>
                  <a:gd name="T71" fmla="*/ 82 h 356"/>
                  <a:gd name="T72" fmla="*/ 40 w 398"/>
                  <a:gd name="T73" fmla="*/ 64 h 356"/>
                  <a:gd name="T74" fmla="*/ 21 w 398"/>
                  <a:gd name="T75" fmla="*/ 66 h 356"/>
                  <a:gd name="T76" fmla="*/ 25 w 398"/>
                  <a:gd name="T77" fmla="*/ 57 h 356"/>
                  <a:gd name="T78" fmla="*/ 21 w 398"/>
                  <a:gd name="T79" fmla="*/ 49 h 356"/>
                  <a:gd name="T80" fmla="*/ 30 w 398"/>
                  <a:gd name="T81" fmla="*/ 36 h 356"/>
                  <a:gd name="T82" fmla="*/ 22 w 398"/>
                  <a:gd name="T83" fmla="*/ 34 h 356"/>
                  <a:gd name="T84" fmla="*/ 21 w 398"/>
                  <a:gd name="T85" fmla="*/ 18 h 356"/>
                  <a:gd name="T86" fmla="*/ 26 w 398"/>
                  <a:gd name="T87" fmla="*/ 9 h 356"/>
                  <a:gd name="T88" fmla="*/ 40 w 398"/>
                  <a:gd name="T89" fmla="*/ 10 h 356"/>
                  <a:gd name="T90" fmla="*/ 56 w 398"/>
                  <a:gd name="T91" fmla="*/ 11 h 356"/>
                  <a:gd name="T92" fmla="*/ 59 w 398"/>
                  <a:gd name="T93" fmla="*/ 4 h 356"/>
                  <a:gd name="T94" fmla="*/ 79 w 398"/>
                  <a:gd name="T95" fmla="*/ 8 h 356"/>
                  <a:gd name="T96" fmla="*/ 106 w 398"/>
                  <a:gd name="T97" fmla="*/ 24 h 356"/>
                  <a:gd name="T98" fmla="*/ 126 w 398"/>
                  <a:gd name="T99" fmla="*/ 26 h 356"/>
                  <a:gd name="T100" fmla="*/ 142 w 398"/>
                  <a:gd name="T101" fmla="*/ 39 h 356"/>
                  <a:gd name="T102" fmla="*/ 171 w 398"/>
                  <a:gd name="T103" fmla="*/ 54 h 356"/>
                  <a:gd name="T104" fmla="*/ 191 w 398"/>
                  <a:gd name="T105" fmla="*/ 55 h 356"/>
                  <a:gd name="T106" fmla="*/ 208 w 398"/>
                  <a:gd name="T107" fmla="*/ 67 h 356"/>
                  <a:gd name="T108" fmla="*/ 224 w 398"/>
                  <a:gd name="T109" fmla="*/ 71 h 356"/>
                  <a:gd name="T110" fmla="*/ 250 w 398"/>
                  <a:gd name="T111" fmla="*/ 78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98" h="356">
                    <a:moveTo>
                      <a:pt x="250" y="78"/>
                    </a:moveTo>
                    <a:cubicBezTo>
                      <a:pt x="250" y="80"/>
                      <a:pt x="249" y="81"/>
                      <a:pt x="251" y="83"/>
                    </a:cubicBezTo>
                    <a:cubicBezTo>
                      <a:pt x="252" y="84"/>
                      <a:pt x="253" y="84"/>
                      <a:pt x="255" y="84"/>
                    </a:cubicBezTo>
                    <a:cubicBezTo>
                      <a:pt x="256" y="85"/>
                      <a:pt x="257" y="85"/>
                      <a:pt x="258" y="86"/>
                    </a:cubicBezTo>
                    <a:cubicBezTo>
                      <a:pt x="258" y="90"/>
                      <a:pt x="258" y="90"/>
                      <a:pt x="258" y="90"/>
                    </a:cubicBezTo>
                    <a:cubicBezTo>
                      <a:pt x="259" y="90"/>
                      <a:pt x="259" y="91"/>
                      <a:pt x="259" y="91"/>
                    </a:cubicBezTo>
                    <a:cubicBezTo>
                      <a:pt x="260" y="91"/>
                      <a:pt x="260" y="90"/>
                      <a:pt x="261" y="90"/>
                    </a:cubicBezTo>
                    <a:cubicBezTo>
                      <a:pt x="264" y="90"/>
                      <a:pt x="264" y="93"/>
                      <a:pt x="266" y="95"/>
                    </a:cubicBezTo>
                    <a:cubicBezTo>
                      <a:pt x="268" y="97"/>
                      <a:pt x="269" y="98"/>
                      <a:pt x="270" y="101"/>
                    </a:cubicBezTo>
                    <a:cubicBezTo>
                      <a:pt x="271" y="102"/>
                      <a:pt x="271" y="103"/>
                      <a:pt x="273" y="103"/>
                    </a:cubicBezTo>
                    <a:cubicBezTo>
                      <a:pt x="274" y="104"/>
                      <a:pt x="275" y="103"/>
                      <a:pt x="276" y="104"/>
                    </a:cubicBezTo>
                    <a:cubicBezTo>
                      <a:pt x="276" y="105"/>
                      <a:pt x="276" y="106"/>
                      <a:pt x="276" y="106"/>
                    </a:cubicBezTo>
                    <a:cubicBezTo>
                      <a:pt x="276" y="107"/>
                      <a:pt x="277" y="108"/>
                      <a:pt x="277" y="109"/>
                    </a:cubicBezTo>
                    <a:cubicBezTo>
                      <a:pt x="278" y="110"/>
                      <a:pt x="278" y="112"/>
                      <a:pt x="279" y="112"/>
                    </a:cubicBezTo>
                    <a:cubicBezTo>
                      <a:pt x="282" y="113"/>
                      <a:pt x="283" y="112"/>
                      <a:pt x="285" y="113"/>
                    </a:cubicBezTo>
                    <a:cubicBezTo>
                      <a:pt x="287" y="114"/>
                      <a:pt x="287" y="115"/>
                      <a:pt x="288" y="116"/>
                    </a:cubicBezTo>
                    <a:cubicBezTo>
                      <a:pt x="290" y="118"/>
                      <a:pt x="292" y="119"/>
                      <a:pt x="294" y="121"/>
                    </a:cubicBezTo>
                    <a:cubicBezTo>
                      <a:pt x="295" y="122"/>
                      <a:pt x="295" y="123"/>
                      <a:pt x="296" y="123"/>
                    </a:cubicBezTo>
                    <a:cubicBezTo>
                      <a:pt x="297" y="123"/>
                      <a:pt x="298" y="123"/>
                      <a:pt x="299" y="123"/>
                    </a:cubicBezTo>
                    <a:cubicBezTo>
                      <a:pt x="301" y="123"/>
                      <a:pt x="301" y="123"/>
                      <a:pt x="303" y="123"/>
                    </a:cubicBezTo>
                    <a:cubicBezTo>
                      <a:pt x="308" y="123"/>
                      <a:pt x="311" y="127"/>
                      <a:pt x="316" y="127"/>
                    </a:cubicBezTo>
                    <a:cubicBezTo>
                      <a:pt x="316" y="125"/>
                      <a:pt x="317" y="124"/>
                      <a:pt x="317" y="122"/>
                    </a:cubicBezTo>
                    <a:cubicBezTo>
                      <a:pt x="318" y="121"/>
                      <a:pt x="318" y="120"/>
                      <a:pt x="319" y="120"/>
                    </a:cubicBezTo>
                    <a:cubicBezTo>
                      <a:pt x="321" y="120"/>
                      <a:pt x="321" y="121"/>
                      <a:pt x="322" y="122"/>
                    </a:cubicBezTo>
                    <a:cubicBezTo>
                      <a:pt x="323" y="123"/>
                      <a:pt x="324" y="124"/>
                      <a:pt x="325" y="124"/>
                    </a:cubicBezTo>
                    <a:cubicBezTo>
                      <a:pt x="328" y="126"/>
                      <a:pt x="329" y="127"/>
                      <a:pt x="331" y="128"/>
                    </a:cubicBezTo>
                    <a:cubicBezTo>
                      <a:pt x="336" y="130"/>
                      <a:pt x="339" y="132"/>
                      <a:pt x="341" y="136"/>
                    </a:cubicBezTo>
                    <a:cubicBezTo>
                      <a:pt x="340" y="136"/>
                      <a:pt x="340" y="136"/>
                      <a:pt x="340" y="137"/>
                    </a:cubicBezTo>
                    <a:cubicBezTo>
                      <a:pt x="340" y="137"/>
                      <a:pt x="339" y="137"/>
                      <a:pt x="339" y="138"/>
                    </a:cubicBezTo>
                    <a:cubicBezTo>
                      <a:pt x="339" y="138"/>
                      <a:pt x="339" y="138"/>
                      <a:pt x="338" y="139"/>
                    </a:cubicBezTo>
                    <a:cubicBezTo>
                      <a:pt x="338" y="139"/>
                      <a:pt x="338" y="139"/>
                      <a:pt x="338" y="140"/>
                    </a:cubicBezTo>
                    <a:cubicBezTo>
                      <a:pt x="338" y="140"/>
                      <a:pt x="338" y="141"/>
                      <a:pt x="338" y="141"/>
                    </a:cubicBezTo>
                    <a:cubicBezTo>
                      <a:pt x="338" y="142"/>
                      <a:pt x="338" y="142"/>
                      <a:pt x="338" y="142"/>
                    </a:cubicBezTo>
                    <a:cubicBezTo>
                      <a:pt x="338" y="142"/>
                      <a:pt x="338" y="142"/>
                      <a:pt x="338" y="143"/>
                    </a:cubicBezTo>
                    <a:cubicBezTo>
                      <a:pt x="338" y="143"/>
                      <a:pt x="339" y="144"/>
                      <a:pt x="339" y="145"/>
                    </a:cubicBezTo>
                    <a:cubicBezTo>
                      <a:pt x="340" y="145"/>
                      <a:pt x="340" y="145"/>
                      <a:pt x="340" y="145"/>
                    </a:cubicBezTo>
                    <a:cubicBezTo>
                      <a:pt x="340" y="145"/>
                      <a:pt x="341" y="145"/>
                      <a:pt x="341" y="146"/>
                    </a:cubicBezTo>
                    <a:cubicBezTo>
                      <a:pt x="342" y="146"/>
                      <a:pt x="342" y="146"/>
                      <a:pt x="342" y="146"/>
                    </a:cubicBezTo>
                    <a:cubicBezTo>
                      <a:pt x="343" y="146"/>
                      <a:pt x="343" y="146"/>
                      <a:pt x="343" y="146"/>
                    </a:cubicBezTo>
                    <a:cubicBezTo>
                      <a:pt x="344" y="146"/>
                      <a:pt x="344" y="146"/>
                      <a:pt x="345" y="146"/>
                    </a:cubicBezTo>
                    <a:cubicBezTo>
                      <a:pt x="345" y="145"/>
                      <a:pt x="346" y="145"/>
                      <a:pt x="346" y="145"/>
                    </a:cubicBezTo>
                    <a:cubicBezTo>
                      <a:pt x="347" y="145"/>
                      <a:pt x="347" y="145"/>
                      <a:pt x="348" y="145"/>
                    </a:cubicBezTo>
                    <a:cubicBezTo>
                      <a:pt x="348" y="145"/>
                      <a:pt x="348" y="145"/>
                      <a:pt x="348" y="145"/>
                    </a:cubicBezTo>
                    <a:cubicBezTo>
                      <a:pt x="348" y="145"/>
                      <a:pt x="349" y="145"/>
                      <a:pt x="349" y="144"/>
                    </a:cubicBezTo>
                    <a:cubicBezTo>
                      <a:pt x="349" y="144"/>
                      <a:pt x="349" y="144"/>
                      <a:pt x="349" y="144"/>
                    </a:cubicBezTo>
                    <a:cubicBezTo>
                      <a:pt x="351" y="145"/>
                      <a:pt x="351" y="146"/>
                      <a:pt x="351" y="147"/>
                    </a:cubicBezTo>
                    <a:cubicBezTo>
                      <a:pt x="352" y="147"/>
                      <a:pt x="353" y="148"/>
                      <a:pt x="353" y="148"/>
                    </a:cubicBezTo>
                    <a:cubicBezTo>
                      <a:pt x="354" y="149"/>
                      <a:pt x="354" y="149"/>
                      <a:pt x="355" y="150"/>
                    </a:cubicBezTo>
                    <a:cubicBezTo>
                      <a:pt x="355" y="150"/>
                      <a:pt x="356" y="151"/>
                      <a:pt x="357" y="151"/>
                    </a:cubicBezTo>
                    <a:cubicBezTo>
                      <a:pt x="363" y="151"/>
                      <a:pt x="363" y="151"/>
                      <a:pt x="363" y="151"/>
                    </a:cubicBezTo>
                    <a:cubicBezTo>
                      <a:pt x="365" y="151"/>
                      <a:pt x="366" y="152"/>
                      <a:pt x="368" y="153"/>
                    </a:cubicBezTo>
                    <a:cubicBezTo>
                      <a:pt x="368" y="154"/>
                      <a:pt x="369" y="154"/>
                      <a:pt x="370" y="155"/>
                    </a:cubicBezTo>
                    <a:cubicBezTo>
                      <a:pt x="371" y="155"/>
                      <a:pt x="371" y="155"/>
                      <a:pt x="372" y="155"/>
                    </a:cubicBezTo>
                    <a:cubicBezTo>
                      <a:pt x="373" y="156"/>
                      <a:pt x="374" y="156"/>
                      <a:pt x="376" y="156"/>
                    </a:cubicBezTo>
                    <a:cubicBezTo>
                      <a:pt x="377" y="156"/>
                      <a:pt x="377" y="156"/>
                      <a:pt x="378" y="156"/>
                    </a:cubicBezTo>
                    <a:cubicBezTo>
                      <a:pt x="381" y="156"/>
                      <a:pt x="381" y="156"/>
                      <a:pt x="381" y="156"/>
                    </a:cubicBezTo>
                    <a:cubicBezTo>
                      <a:pt x="382" y="156"/>
                      <a:pt x="383" y="156"/>
                      <a:pt x="384" y="157"/>
                    </a:cubicBezTo>
                    <a:cubicBezTo>
                      <a:pt x="386" y="157"/>
                      <a:pt x="387" y="157"/>
                      <a:pt x="388" y="157"/>
                    </a:cubicBezTo>
                    <a:cubicBezTo>
                      <a:pt x="390" y="158"/>
                      <a:pt x="391" y="159"/>
                      <a:pt x="392" y="160"/>
                    </a:cubicBezTo>
                    <a:cubicBezTo>
                      <a:pt x="393" y="161"/>
                      <a:pt x="394" y="161"/>
                      <a:pt x="395" y="161"/>
                    </a:cubicBezTo>
                    <a:cubicBezTo>
                      <a:pt x="395" y="161"/>
                      <a:pt x="395" y="162"/>
                      <a:pt x="395" y="162"/>
                    </a:cubicBezTo>
                    <a:cubicBezTo>
                      <a:pt x="397" y="164"/>
                      <a:pt x="398" y="165"/>
                      <a:pt x="398" y="167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7" y="168"/>
                      <a:pt x="397" y="168"/>
                      <a:pt x="397" y="168"/>
                    </a:cubicBezTo>
                    <a:cubicBezTo>
                      <a:pt x="396" y="168"/>
                      <a:pt x="395" y="167"/>
                      <a:pt x="394" y="167"/>
                    </a:cubicBezTo>
                    <a:cubicBezTo>
                      <a:pt x="393" y="167"/>
                      <a:pt x="392" y="168"/>
                      <a:pt x="392" y="169"/>
                    </a:cubicBezTo>
                    <a:cubicBezTo>
                      <a:pt x="392" y="172"/>
                      <a:pt x="392" y="172"/>
                      <a:pt x="392" y="172"/>
                    </a:cubicBezTo>
                    <a:cubicBezTo>
                      <a:pt x="392" y="173"/>
                      <a:pt x="392" y="174"/>
                      <a:pt x="393" y="175"/>
                    </a:cubicBezTo>
                    <a:cubicBezTo>
                      <a:pt x="393" y="176"/>
                      <a:pt x="394" y="176"/>
                      <a:pt x="394" y="177"/>
                    </a:cubicBezTo>
                    <a:cubicBezTo>
                      <a:pt x="394" y="178"/>
                      <a:pt x="393" y="178"/>
                      <a:pt x="393" y="179"/>
                    </a:cubicBezTo>
                    <a:cubicBezTo>
                      <a:pt x="393" y="181"/>
                      <a:pt x="393" y="181"/>
                      <a:pt x="393" y="181"/>
                    </a:cubicBezTo>
                    <a:cubicBezTo>
                      <a:pt x="393" y="184"/>
                      <a:pt x="391" y="186"/>
                      <a:pt x="388" y="186"/>
                    </a:cubicBezTo>
                    <a:cubicBezTo>
                      <a:pt x="384" y="186"/>
                      <a:pt x="384" y="186"/>
                      <a:pt x="384" y="186"/>
                    </a:cubicBezTo>
                    <a:cubicBezTo>
                      <a:pt x="383" y="186"/>
                      <a:pt x="383" y="187"/>
                      <a:pt x="382" y="188"/>
                    </a:cubicBezTo>
                    <a:cubicBezTo>
                      <a:pt x="381" y="188"/>
                      <a:pt x="381" y="189"/>
                      <a:pt x="380" y="189"/>
                    </a:cubicBezTo>
                    <a:cubicBezTo>
                      <a:pt x="379" y="190"/>
                      <a:pt x="378" y="190"/>
                      <a:pt x="377" y="190"/>
                    </a:cubicBezTo>
                    <a:cubicBezTo>
                      <a:pt x="375" y="190"/>
                      <a:pt x="374" y="191"/>
                      <a:pt x="373" y="191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7" y="191"/>
                      <a:pt x="366" y="192"/>
                      <a:pt x="363" y="193"/>
                    </a:cubicBezTo>
                    <a:cubicBezTo>
                      <a:pt x="361" y="193"/>
                      <a:pt x="360" y="193"/>
                      <a:pt x="358" y="194"/>
                    </a:cubicBezTo>
                    <a:cubicBezTo>
                      <a:pt x="357" y="195"/>
                      <a:pt x="357" y="197"/>
                      <a:pt x="355" y="198"/>
                    </a:cubicBezTo>
                    <a:cubicBezTo>
                      <a:pt x="354" y="199"/>
                      <a:pt x="352" y="199"/>
                      <a:pt x="351" y="199"/>
                    </a:cubicBezTo>
                    <a:cubicBezTo>
                      <a:pt x="348" y="200"/>
                      <a:pt x="346" y="201"/>
                      <a:pt x="344" y="201"/>
                    </a:cubicBezTo>
                    <a:cubicBezTo>
                      <a:pt x="341" y="201"/>
                      <a:pt x="340" y="200"/>
                      <a:pt x="338" y="200"/>
                    </a:cubicBezTo>
                    <a:cubicBezTo>
                      <a:pt x="337" y="200"/>
                      <a:pt x="337" y="200"/>
                      <a:pt x="336" y="201"/>
                    </a:cubicBezTo>
                    <a:cubicBezTo>
                      <a:pt x="334" y="201"/>
                      <a:pt x="333" y="201"/>
                      <a:pt x="330" y="201"/>
                    </a:cubicBezTo>
                    <a:cubicBezTo>
                      <a:pt x="323" y="201"/>
                      <a:pt x="323" y="201"/>
                      <a:pt x="323" y="201"/>
                    </a:cubicBezTo>
                    <a:cubicBezTo>
                      <a:pt x="320" y="201"/>
                      <a:pt x="318" y="202"/>
                      <a:pt x="314" y="202"/>
                    </a:cubicBezTo>
                    <a:cubicBezTo>
                      <a:pt x="311" y="202"/>
                      <a:pt x="311" y="202"/>
                      <a:pt x="311" y="202"/>
                    </a:cubicBezTo>
                    <a:cubicBezTo>
                      <a:pt x="309" y="204"/>
                      <a:pt x="307" y="205"/>
                      <a:pt x="305" y="207"/>
                    </a:cubicBezTo>
                    <a:cubicBezTo>
                      <a:pt x="303" y="209"/>
                      <a:pt x="301" y="210"/>
                      <a:pt x="299" y="210"/>
                    </a:cubicBezTo>
                    <a:cubicBezTo>
                      <a:pt x="299" y="213"/>
                      <a:pt x="299" y="213"/>
                      <a:pt x="299" y="213"/>
                    </a:cubicBezTo>
                    <a:cubicBezTo>
                      <a:pt x="301" y="213"/>
                      <a:pt x="301" y="214"/>
                      <a:pt x="303" y="214"/>
                    </a:cubicBezTo>
                    <a:cubicBezTo>
                      <a:pt x="304" y="214"/>
                      <a:pt x="305" y="214"/>
                      <a:pt x="306" y="214"/>
                    </a:cubicBezTo>
                    <a:cubicBezTo>
                      <a:pt x="307" y="215"/>
                      <a:pt x="307" y="215"/>
                      <a:pt x="307" y="215"/>
                    </a:cubicBezTo>
                    <a:cubicBezTo>
                      <a:pt x="305" y="216"/>
                      <a:pt x="303" y="216"/>
                      <a:pt x="302" y="218"/>
                    </a:cubicBezTo>
                    <a:cubicBezTo>
                      <a:pt x="300" y="219"/>
                      <a:pt x="299" y="220"/>
                      <a:pt x="297" y="220"/>
                    </a:cubicBezTo>
                    <a:cubicBezTo>
                      <a:pt x="295" y="220"/>
                      <a:pt x="295" y="220"/>
                      <a:pt x="295" y="220"/>
                    </a:cubicBezTo>
                    <a:cubicBezTo>
                      <a:pt x="295" y="220"/>
                      <a:pt x="295" y="219"/>
                      <a:pt x="295" y="218"/>
                    </a:cubicBezTo>
                    <a:cubicBezTo>
                      <a:pt x="296" y="218"/>
                      <a:pt x="298" y="218"/>
                      <a:pt x="298" y="217"/>
                    </a:cubicBezTo>
                    <a:cubicBezTo>
                      <a:pt x="298" y="216"/>
                      <a:pt x="298" y="216"/>
                      <a:pt x="298" y="216"/>
                    </a:cubicBezTo>
                    <a:cubicBezTo>
                      <a:pt x="295" y="216"/>
                      <a:pt x="295" y="216"/>
                      <a:pt x="295" y="216"/>
                    </a:cubicBezTo>
                    <a:cubicBezTo>
                      <a:pt x="295" y="216"/>
                      <a:pt x="295" y="215"/>
                      <a:pt x="294" y="215"/>
                    </a:cubicBezTo>
                    <a:cubicBezTo>
                      <a:pt x="293" y="215"/>
                      <a:pt x="293" y="216"/>
                      <a:pt x="292" y="217"/>
                    </a:cubicBezTo>
                    <a:cubicBezTo>
                      <a:pt x="291" y="218"/>
                      <a:pt x="290" y="219"/>
                      <a:pt x="290" y="220"/>
                    </a:cubicBezTo>
                    <a:cubicBezTo>
                      <a:pt x="287" y="222"/>
                      <a:pt x="286" y="223"/>
                      <a:pt x="284" y="226"/>
                    </a:cubicBezTo>
                    <a:cubicBezTo>
                      <a:pt x="282" y="227"/>
                      <a:pt x="282" y="228"/>
                      <a:pt x="280" y="230"/>
                    </a:cubicBezTo>
                    <a:cubicBezTo>
                      <a:pt x="278" y="233"/>
                      <a:pt x="276" y="234"/>
                      <a:pt x="273" y="236"/>
                    </a:cubicBezTo>
                    <a:cubicBezTo>
                      <a:pt x="270" y="238"/>
                      <a:pt x="269" y="240"/>
                      <a:pt x="267" y="243"/>
                    </a:cubicBezTo>
                    <a:cubicBezTo>
                      <a:pt x="266" y="243"/>
                      <a:pt x="266" y="244"/>
                      <a:pt x="266" y="244"/>
                    </a:cubicBezTo>
                    <a:cubicBezTo>
                      <a:pt x="265" y="245"/>
                      <a:pt x="264" y="246"/>
                      <a:pt x="263" y="247"/>
                    </a:cubicBezTo>
                    <a:cubicBezTo>
                      <a:pt x="259" y="252"/>
                      <a:pt x="257" y="255"/>
                      <a:pt x="253" y="259"/>
                    </a:cubicBezTo>
                    <a:cubicBezTo>
                      <a:pt x="256" y="269"/>
                      <a:pt x="256" y="269"/>
                      <a:pt x="256" y="269"/>
                    </a:cubicBezTo>
                    <a:cubicBezTo>
                      <a:pt x="256" y="274"/>
                      <a:pt x="256" y="274"/>
                      <a:pt x="256" y="274"/>
                    </a:cubicBezTo>
                    <a:cubicBezTo>
                      <a:pt x="256" y="274"/>
                      <a:pt x="256" y="274"/>
                      <a:pt x="256" y="275"/>
                    </a:cubicBezTo>
                    <a:cubicBezTo>
                      <a:pt x="256" y="279"/>
                      <a:pt x="256" y="279"/>
                      <a:pt x="256" y="279"/>
                    </a:cubicBezTo>
                    <a:cubicBezTo>
                      <a:pt x="257" y="282"/>
                      <a:pt x="259" y="284"/>
                      <a:pt x="261" y="286"/>
                    </a:cubicBezTo>
                    <a:cubicBezTo>
                      <a:pt x="262" y="287"/>
                      <a:pt x="264" y="287"/>
                      <a:pt x="265" y="289"/>
                    </a:cubicBezTo>
                    <a:cubicBezTo>
                      <a:pt x="265" y="290"/>
                      <a:pt x="265" y="291"/>
                      <a:pt x="265" y="292"/>
                    </a:cubicBezTo>
                    <a:cubicBezTo>
                      <a:pt x="265" y="293"/>
                      <a:pt x="265" y="294"/>
                      <a:pt x="265" y="295"/>
                    </a:cubicBezTo>
                    <a:cubicBezTo>
                      <a:pt x="264" y="295"/>
                      <a:pt x="264" y="295"/>
                      <a:pt x="263" y="295"/>
                    </a:cubicBezTo>
                    <a:cubicBezTo>
                      <a:pt x="262" y="295"/>
                      <a:pt x="261" y="296"/>
                      <a:pt x="260" y="296"/>
                    </a:cubicBezTo>
                    <a:cubicBezTo>
                      <a:pt x="259" y="297"/>
                      <a:pt x="258" y="298"/>
                      <a:pt x="256" y="299"/>
                    </a:cubicBezTo>
                    <a:cubicBezTo>
                      <a:pt x="256" y="300"/>
                      <a:pt x="255" y="300"/>
                      <a:pt x="255" y="301"/>
                    </a:cubicBezTo>
                    <a:cubicBezTo>
                      <a:pt x="254" y="301"/>
                      <a:pt x="254" y="302"/>
                      <a:pt x="254" y="302"/>
                    </a:cubicBezTo>
                    <a:cubicBezTo>
                      <a:pt x="252" y="302"/>
                      <a:pt x="251" y="301"/>
                      <a:pt x="249" y="301"/>
                    </a:cubicBezTo>
                    <a:cubicBezTo>
                      <a:pt x="247" y="301"/>
                      <a:pt x="246" y="302"/>
                      <a:pt x="244" y="303"/>
                    </a:cubicBezTo>
                    <a:cubicBezTo>
                      <a:pt x="242" y="303"/>
                      <a:pt x="241" y="303"/>
                      <a:pt x="239" y="303"/>
                    </a:cubicBezTo>
                    <a:cubicBezTo>
                      <a:pt x="237" y="304"/>
                      <a:pt x="237" y="306"/>
                      <a:pt x="235" y="307"/>
                    </a:cubicBezTo>
                    <a:cubicBezTo>
                      <a:pt x="234" y="308"/>
                      <a:pt x="233" y="308"/>
                      <a:pt x="233" y="309"/>
                    </a:cubicBezTo>
                    <a:cubicBezTo>
                      <a:pt x="231" y="310"/>
                      <a:pt x="230" y="311"/>
                      <a:pt x="229" y="312"/>
                    </a:cubicBezTo>
                    <a:cubicBezTo>
                      <a:pt x="228" y="314"/>
                      <a:pt x="229" y="316"/>
                      <a:pt x="227" y="317"/>
                    </a:cubicBezTo>
                    <a:cubicBezTo>
                      <a:pt x="226" y="317"/>
                      <a:pt x="225" y="317"/>
                      <a:pt x="225" y="318"/>
                    </a:cubicBezTo>
                    <a:cubicBezTo>
                      <a:pt x="224" y="319"/>
                      <a:pt x="224" y="320"/>
                      <a:pt x="223" y="321"/>
                    </a:cubicBezTo>
                    <a:cubicBezTo>
                      <a:pt x="222" y="322"/>
                      <a:pt x="221" y="322"/>
                      <a:pt x="221" y="324"/>
                    </a:cubicBezTo>
                    <a:cubicBezTo>
                      <a:pt x="221" y="327"/>
                      <a:pt x="224" y="327"/>
                      <a:pt x="226" y="329"/>
                    </a:cubicBezTo>
                    <a:cubicBezTo>
                      <a:pt x="225" y="330"/>
                      <a:pt x="224" y="330"/>
                      <a:pt x="223" y="330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3" y="329"/>
                      <a:pt x="213" y="329"/>
                      <a:pt x="212" y="329"/>
                    </a:cubicBezTo>
                    <a:cubicBezTo>
                      <a:pt x="210" y="329"/>
                      <a:pt x="210" y="328"/>
                      <a:pt x="208" y="328"/>
                    </a:cubicBezTo>
                    <a:cubicBezTo>
                      <a:pt x="206" y="328"/>
                      <a:pt x="204" y="328"/>
                      <a:pt x="201" y="329"/>
                    </a:cubicBezTo>
                    <a:cubicBezTo>
                      <a:pt x="200" y="329"/>
                      <a:pt x="199" y="329"/>
                      <a:pt x="197" y="330"/>
                    </a:cubicBezTo>
                    <a:cubicBezTo>
                      <a:pt x="196" y="331"/>
                      <a:pt x="196" y="332"/>
                      <a:pt x="194" y="332"/>
                    </a:cubicBezTo>
                    <a:cubicBezTo>
                      <a:pt x="190" y="332"/>
                      <a:pt x="190" y="332"/>
                      <a:pt x="190" y="332"/>
                    </a:cubicBezTo>
                    <a:cubicBezTo>
                      <a:pt x="188" y="332"/>
                      <a:pt x="188" y="334"/>
                      <a:pt x="187" y="334"/>
                    </a:cubicBezTo>
                    <a:cubicBezTo>
                      <a:pt x="185" y="336"/>
                      <a:pt x="184" y="336"/>
                      <a:pt x="182" y="337"/>
                    </a:cubicBezTo>
                    <a:cubicBezTo>
                      <a:pt x="180" y="340"/>
                      <a:pt x="177" y="340"/>
                      <a:pt x="177" y="343"/>
                    </a:cubicBezTo>
                    <a:cubicBezTo>
                      <a:pt x="176" y="345"/>
                      <a:pt x="176" y="346"/>
                      <a:pt x="175" y="348"/>
                    </a:cubicBezTo>
                    <a:cubicBezTo>
                      <a:pt x="174" y="349"/>
                      <a:pt x="174" y="350"/>
                      <a:pt x="173" y="351"/>
                    </a:cubicBezTo>
                    <a:cubicBezTo>
                      <a:pt x="171" y="351"/>
                      <a:pt x="170" y="352"/>
                      <a:pt x="168" y="353"/>
                    </a:cubicBezTo>
                    <a:cubicBezTo>
                      <a:pt x="168" y="354"/>
                      <a:pt x="168" y="354"/>
                      <a:pt x="167" y="355"/>
                    </a:cubicBezTo>
                    <a:cubicBezTo>
                      <a:pt x="167" y="355"/>
                      <a:pt x="167" y="356"/>
                      <a:pt x="167" y="356"/>
                    </a:cubicBezTo>
                    <a:cubicBezTo>
                      <a:pt x="165" y="356"/>
                      <a:pt x="165" y="355"/>
                      <a:pt x="164" y="354"/>
                    </a:cubicBezTo>
                    <a:cubicBezTo>
                      <a:pt x="163" y="352"/>
                      <a:pt x="163" y="351"/>
                      <a:pt x="162" y="349"/>
                    </a:cubicBezTo>
                    <a:cubicBezTo>
                      <a:pt x="162" y="348"/>
                      <a:pt x="161" y="347"/>
                      <a:pt x="160" y="347"/>
                    </a:cubicBezTo>
                    <a:cubicBezTo>
                      <a:pt x="159" y="347"/>
                      <a:pt x="159" y="348"/>
                      <a:pt x="158" y="348"/>
                    </a:cubicBezTo>
                    <a:cubicBezTo>
                      <a:pt x="158" y="348"/>
                      <a:pt x="158" y="349"/>
                      <a:pt x="157" y="349"/>
                    </a:cubicBezTo>
                    <a:cubicBezTo>
                      <a:pt x="156" y="349"/>
                      <a:pt x="155" y="349"/>
                      <a:pt x="154" y="348"/>
                    </a:cubicBezTo>
                    <a:cubicBezTo>
                      <a:pt x="154" y="348"/>
                      <a:pt x="154" y="347"/>
                      <a:pt x="153" y="347"/>
                    </a:cubicBezTo>
                    <a:cubicBezTo>
                      <a:pt x="151" y="347"/>
                      <a:pt x="151" y="350"/>
                      <a:pt x="150" y="351"/>
                    </a:cubicBezTo>
                    <a:cubicBezTo>
                      <a:pt x="149" y="352"/>
                      <a:pt x="147" y="352"/>
                      <a:pt x="145" y="352"/>
                    </a:cubicBezTo>
                    <a:cubicBezTo>
                      <a:pt x="144" y="352"/>
                      <a:pt x="143" y="352"/>
                      <a:pt x="142" y="350"/>
                    </a:cubicBezTo>
                    <a:cubicBezTo>
                      <a:pt x="142" y="349"/>
                      <a:pt x="142" y="347"/>
                      <a:pt x="141" y="346"/>
                    </a:cubicBezTo>
                    <a:cubicBezTo>
                      <a:pt x="140" y="346"/>
                      <a:pt x="139" y="346"/>
                      <a:pt x="138" y="346"/>
                    </a:cubicBezTo>
                    <a:cubicBezTo>
                      <a:pt x="136" y="345"/>
                      <a:pt x="135" y="344"/>
                      <a:pt x="132" y="344"/>
                    </a:cubicBezTo>
                    <a:cubicBezTo>
                      <a:pt x="130" y="344"/>
                      <a:pt x="128" y="345"/>
                      <a:pt x="126" y="345"/>
                    </a:cubicBezTo>
                    <a:cubicBezTo>
                      <a:pt x="124" y="345"/>
                      <a:pt x="123" y="345"/>
                      <a:pt x="122" y="344"/>
                    </a:cubicBezTo>
                    <a:cubicBezTo>
                      <a:pt x="121" y="343"/>
                      <a:pt x="121" y="342"/>
                      <a:pt x="120" y="341"/>
                    </a:cubicBezTo>
                    <a:cubicBezTo>
                      <a:pt x="120" y="340"/>
                      <a:pt x="119" y="340"/>
                      <a:pt x="118" y="340"/>
                    </a:cubicBezTo>
                    <a:cubicBezTo>
                      <a:pt x="114" y="338"/>
                      <a:pt x="111" y="338"/>
                      <a:pt x="107" y="338"/>
                    </a:cubicBezTo>
                    <a:cubicBezTo>
                      <a:pt x="106" y="337"/>
                      <a:pt x="105" y="336"/>
                      <a:pt x="104" y="335"/>
                    </a:cubicBezTo>
                    <a:cubicBezTo>
                      <a:pt x="101" y="334"/>
                      <a:pt x="99" y="334"/>
                      <a:pt x="96" y="333"/>
                    </a:cubicBezTo>
                    <a:cubicBezTo>
                      <a:pt x="93" y="332"/>
                      <a:pt x="92" y="330"/>
                      <a:pt x="89" y="330"/>
                    </a:cubicBezTo>
                    <a:cubicBezTo>
                      <a:pt x="88" y="330"/>
                      <a:pt x="88" y="332"/>
                      <a:pt x="87" y="332"/>
                    </a:cubicBezTo>
                    <a:cubicBezTo>
                      <a:pt x="86" y="333"/>
                      <a:pt x="85" y="332"/>
                      <a:pt x="84" y="333"/>
                    </a:cubicBezTo>
                    <a:cubicBezTo>
                      <a:pt x="83" y="333"/>
                      <a:pt x="83" y="334"/>
                      <a:pt x="83" y="334"/>
                    </a:cubicBezTo>
                    <a:cubicBezTo>
                      <a:pt x="81" y="335"/>
                      <a:pt x="79" y="336"/>
                      <a:pt x="76" y="336"/>
                    </a:cubicBezTo>
                    <a:cubicBezTo>
                      <a:pt x="75" y="336"/>
                      <a:pt x="75" y="335"/>
                      <a:pt x="74" y="335"/>
                    </a:cubicBezTo>
                    <a:cubicBezTo>
                      <a:pt x="73" y="334"/>
                      <a:pt x="72" y="335"/>
                      <a:pt x="72" y="334"/>
                    </a:cubicBezTo>
                    <a:cubicBezTo>
                      <a:pt x="71" y="334"/>
                      <a:pt x="71" y="333"/>
                      <a:pt x="70" y="333"/>
                    </a:cubicBezTo>
                    <a:cubicBezTo>
                      <a:pt x="68" y="333"/>
                      <a:pt x="68" y="335"/>
                      <a:pt x="66" y="335"/>
                    </a:cubicBezTo>
                    <a:cubicBezTo>
                      <a:pt x="64" y="336"/>
                      <a:pt x="62" y="338"/>
                      <a:pt x="61" y="340"/>
                    </a:cubicBezTo>
                    <a:cubicBezTo>
                      <a:pt x="61" y="340"/>
                      <a:pt x="61" y="340"/>
                      <a:pt x="61" y="339"/>
                    </a:cubicBezTo>
                    <a:cubicBezTo>
                      <a:pt x="61" y="339"/>
                      <a:pt x="61" y="339"/>
                      <a:pt x="61" y="339"/>
                    </a:cubicBezTo>
                    <a:cubicBezTo>
                      <a:pt x="60" y="339"/>
                      <a:pt x="60" y="339"/>
                      <a:pt x="60" y="339"/>
                    </a:cubicBezTo>
                    <a:cubicBezTo>
                      <a:pt x="60" y="339"/>
                      <a:pt x="59" y="339"/>
                      <a:pt x="59" y="339"/>
                    </a:cubicBezTo>
                    <a:cubicBezTo>
                      <a:pt x="58" y="339"/>
                      <a:pt x="58" y="339"/>
                      <a:pt x="58" y="339"/>
                    </a:cubicBezTo>
                    <a:cubicBezTo>
                      <a:pt x="57" y="339"/>
                      <a:pt x="57" y="339"/>
                      <a:pt x="57" y="339"/>
                    </a:cubicBezTo>
                    <a:cubicBezTo>
                      <a:pt x="56" y="340"/>
                      <a:pt x="56" y="341"/>
                      <a:pt x="56" y="342"/>
                    </a:cubicBezTo>
                    <a:cubicBezTo>
                      <a:pt x="56" y="342"/>
                      <a:pt x="55" y="342"/>
                      <a:pt x="55" y="342"/>
                    </a:cubicBezTo>
                    <a:cubicBezTo>
                      <a:pt x="52" y="342"/>
                      <a:pt x="52" y="346"/>
                      <a:pt x="49" y="346"/>
                    </a:cubicBezTo>
                    <a:cubicBezTo>
                      <a:pt x="47" y="346"/>
                      <a:pt x="46" y="346"/>
                      <a:pt x="44" y="344"/>
                    </a:cubicBezTo>
                    <a:cubicBezTo>
                      <a:pt x="44" y="344"/>
                      <a:pt x="44" y="342"/>
                      <a:pt x="44" y="341"/>
                    </a:cubicBezTo>
                    <a:cubicBezTo>
                      <a:pt x="43" y="340"/>
                      <a:pt x="42" y="340"/>
                      <a:pt x="41" y="339"/>
                    </a:cubicBezTo>
                    <a:cubicBezTo>
                      <a:pt x="40" y="339"/>
                      <a:pt x="32" y="337"/>
                      <a:pt x="31" y="331"/>
                    </a:cubicBezTo>
                    <a:cubicBezTo>
                      <a:pt x="31" y="329"/>
                      <a:pt x="31" y="328"/>
                      <a:pt x="30" y="327"/>
                    </a:cubicBezTo>
                    <a:cubicBezTo>
                      <a:pt x="30" y="327"/>
                      <a:pt x="30" y="326"/>
                      <a:pt x="30" y="325"/>
                    </a:cubicBezTo>
                    <a:cubicBezTo>
                      <a:pt x="29" y="325"/>
                      <a:pt x="29" y="325"/>
                      <a:pt x="29" y="325"/>
                    </a:cubicBezTo>
                    <a:cubicBezTo>
                      <a:pt x="28" y="323"/>
                      <a:pt x="28" y="322"/>
                      <a:pt x="27" y="320"/>
                    </a:cubicBezTo>
                    <a:cubicBezTo>
                      <a:pt x="26" y="319"/>
                      <a:pt x="25" y="319"/>
                      <a:pt x="25" y="318"/>
                    </a:cubicBezTo>
                    <a:cubicBezTo>
                      <a:pt x="25" y="317"/>
                      <a:pt x="25" y="317"/>
                      <a:pt x="25" y="317"/>
                    </a:cubicBezTo>
                    <a:cubicBezTo>
                      <a:pt x="27" y="317"/>
                      <a:pt x="27" y="317"/>
                      <a:pt x="27" y="317"/>
                    </a:cubicBezTo>
                    <a:cubicBezTo>
                      <a:pt x="28" y="317"/>
                      <a:pt x="30" y="317"/>
                      <a:pt x="30" y="318"/>
                    </a:cubicBezTo>
                    <a:cubicBezTo>
                      <a:pt x="31" y="319"/>
                      <a:pt x="31" y="320"/>
                      <a:pt x="32" y="320"/>
                    </a:cubicBezTo>
                    <a:cubicBezTo>
                      <a:pt x="33" y="320"/>
                      <a:pt x="33" y="320"/>
                      <a:pt x="33" y="319"/>
                    </a:cubicBezTo>
                    <a:cubicBezTo>
                      <a:pt x="33" y="318"/>
                      <a:pt x="33" y="318"/>
                      <a:pt x="33" y="317"/>
                    </a:cubicBezTo>
                    <a:cubicBezTo>
                      <a:pt x="32" y="316"/>
                      <a:pt x="33" y="315"/>
                      <a:pt x="32" y="314"/>
                    </a:cubicBezTo>
                    <a:cubicBezTo>
                      <a:pt x="32" y="314"/>
                      <a:pt x="31" y="314"/>
                      <a:pt x="30" y="313"/>
                    </a:cubicBezTo>
                    <a:cubicBezTo>
                      <a:pt x="29" y="312"/>
                      <a:pt x="28" y="311"/>
                      <a:pt x="26" y="311"/>
                    </a:cubicBezTo>
                    <a:cubicBezTo>
                      <a:pt x="26" y="309"/>
                      <a:pt x="27" y="307"/>
                      <a:pt x="29" y="306"/>
                    </a:cubicBezTo>
                    <a:cubicBezTo>
                      <a:pt x="29" y="306"/>
                      <a:pt x="30" y="306"/>
                      <a:pt x="31" y="305"/>
                    </a:cubicBezTo>
                    <a:cubicBezTo>
                      <a:pt x="32" y="304"/>
                      <a:pt x="32" y="303"/>
                      <a:pt x="33" y="302"/>
                    </a:cubicBezTo>
                    <a:cubicBezTo>
                      <a:pt x="31" y="302"/>
                      <a:pt x="31" y="303"/>
                      <a:pt x="29" y="303"/>
                    </a:cubicBezTo>
                    <a:cubicBezTo>
                      <a:pt x="28" y="303"/>
                      <a:pt x="28" y="301"/>
                      <a:pt x="27" y="299"/>
                    </a:cubicBezTo>
                    <a:cubicBezTo>
                      <a:pt x="27" y="297"/>
                      <a:pt x="26" y="296"/>
                      <a:pt x="25" y="294"/>
                    </a:cubicBezTo>
                    <a:cubicBezTo>
                      <a:pt x="23" y="290"/>
                      <a:pt x="21" y="289"/>
                      <a:pt x="18" y="286"/>
                    </a:cubicBezTo>
                    <a:cubicBezTo>
                      <a:pt x="16" y="283"/>
                      <a:pt x="15" y="282"/>
                      <a:pt x="12" y="280"/>
                    </a:cubicBezTo>
                    <a:cubicBezTo>
                      <a:pt x="11" y="279"/>
                      <a:pt x="11" y="278"/>
                      <a:pt x="10" y="277"/>
                    </a:cubicBezTo>
                    <a:cubicBezTo>
                      <a:pt x="8" y="276"/>
                      <a:pt x="7" y="275"/>
                      <a:pt x="5" y="275"/>
                    </a:cubicBezTo>
                    <a:cubicBezTo>
                      <a:pt x="3" y="275"/>
                      <a:pt x="2" y="273"/>
                      <a:pt x="1" y="273"/>
                    </a:cubicBezTo>
                    <a:cubicBezTo>
                      <a:pt x="1" y="272"/>
                      <a:pt x="0" y="271"/>
                      <a:pt x="0" y="270"/>
                    </a:cubicBezTo>
                    <a:cubicBezTo>
                      <a:pt x="0" y="269"/>
                      <a:pt x="1" y="269"/>
                      <a:pt x="1" y="268"/>
                    </a:cubicBezTo>
                    <a:cubicBezTo>
                      <a:pt x="1" y="266"/>
                      <a:pt x="1" y="265"/>
                      <a:pt x="2" y="263"/>
                    </a:cubicBezTo>
                    <a:cubicBezTo>
                      <a:pt x="2" y="261"/>
                      <a:pt x="1" y="260"/>
                      <a:pt x="2" y="259"/>
                    </a:cubicBezTo>
                    <a:cubicBezTo>
                      <a:pt x="2" y="257"/>
                      <a:pt x="3" y="256"/>
                      <a:pt x="4" y="255"/>
                    </a:cubicBezTo>
                    <a:cubicBezTo>
                      <a:pt x="6" y="253"/>
                      <a:pt x="7" y="253"/>
                      <a:pt x="8" y="251"/>
                    </a:cubicBezTo>
                    <a:cubicBezTo>
                      <a:pt x="10" y="249"/>
                      <a:pt x="11" y="247"/>
                      <a:pt x="13" y="246"/>
                    </a:cubicBezTo>
                    <a:cubicBezTo>
                      <a:pt x="15" y="245"/>
                      <a:pt x="16" y="243"/>
                      <a:pt x="18" y="243"/>
                    </a:cubicBezTo>
                    <a:cubicBezTo>
                      <a:pt x="23" y="243"/>
                      <a:pt x="23" y="243"/>
                      <a:pt x="23" y="243"/>
                    </a:cubicBezTo>
                    <a:cubicBezTo>
                      <a:pt x="25" y="243"/>
                      <a:pt x="27" y="242"/>
                      <a:pt x="28" y="240"/>
                    </a:cubicBezTo>
                    <a:cubicBezTo>
                      <a:pt x="28" y="240"/>
                      <a:pt x="29" y="239"/>
                      <a:pt x="29" y="238"/>
                    </a:cubicBezTo>
                    <a:cubicBezTo>
                      <a:pt x="29" y="238"/>
                      <a:pt x="29" y="238"/>
                      <a:pt x="29" y="237"/>
                    </a:cubicBezTo>
                    <a:cubicBezTo>
                      <a:pt x="27" y="237"/>
                      <a:pt x="25" y="236"/>
                      <a:pt x="24" y="236"/>
                    </a:cubicBezTo>
                    <a:cubicBezTo>
                      <a:pt x="22" y="236"/>
                      <a:pt x="21" y="236"/>
                      <a:pt x="20" y="234"/>
                    </a:cubicBezTo>
                    <a:cubicBezTo>
                      <a:pt x="18" y="233"/>
                      <a:pt x="19" y="232"/>
                      <a:pt x="19" y="230"/>
                    </a:cubicBezTo>
                    <a:cubicBezTo>
                      <a:pt x="19" y="223"/>
                      <a:pt x="21" y="219"/>
                      <a:pt x="25" y="213"/>
                    </a:cubicBezTo>
                    <a:cubicBezTo>
                      <a:pt x="28" y="209"/>
                      <a:pt x="31" y="207"/>
                      <a:pt x="35" y="205"/>
                    </a:cubicBezTo>
                    <a:cubicBezTo>
                      <a:pt x="35" y="201"/>
                      <a:pt x="35" y="198"/>
                      <a:pt x="34" y="195"/>
                    </a:cubicBezTo>
                    <a:cubicBezTo>
                      <a:pt x="33" y="190"/>
                      <a:pt x="32" y="187"/>
                      <a:pt x="32" y="182"/>
                    </a:cubicBezTo>
                    <a:cubicBezTo>
                      <a:pt x="32" y="176"/>
                      <a:pt x="32" y="176"/>
                      <a:pt x="32" y="176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1" y="172"/>
                      <a:pt x="31" y="172"/>
                      <a:pt x="31" y="172"/>
                    </a:cubicBezTo>
                    <a:cubicBezTo>
                      <a:pt x="33" y="173"/>
                      <a:pt x="35" y="173"/>
                      <a:pt x="37" y="173"/>
                    </a:cubicBezTo>
                    <a:cubicBezTo>
                      <a:pt x="42" y="173"/>
                      <a:pt x="45" y="172"/>
                      <a:pt x="47" y="168"/>
                    </a:cubicBezTo>
                    <a:cubicBezTo>
                      <a:pt x="49" y="166"/>
                      <a:pt x="50" y="165"/>
                      <a:pt x="50" y="163"/>
                    </a:cubicBezTo>
                    <a:cubicBezTo>
                      <a:pt x="50" y="160"/>
                      <a:pt x="50" y="158"/>
                      <a:pt x="48" y="155"/>
                    </a:cubicBezTo>
                    <a:cubicBezTo>
                      <a:pt x="48" y="154"/>
                      <a:pt x="48" y="154"/>
                      <a:pt x="48" y="154"/>
                    </a:cubicBezTo>
                    <a:cubicBezTo>
                      <a:pt x="47" y="153"/>
                      <a:pt x="47" y="153"/>
                      <a:pt x="47" y="152"/>
                    </a:cubicBezTo>
                    <a:cubicBezTo>
                      <a:pt x="47" y="151"/>
                      <a:pt x="49" y="151"/>
                      <a:pt x="50" y="151"/>
                    </a:cubicBezTo>
                    <a:cubicBezTo>
                      <a:pt x="51" y="151"/>
                      <a:pt x="51" y="151"/>
                      <a:pt x="52" y="151"/>
                    </a:cubicBezTo>
                    <a:cubicBezTo>
                      <a:pt x="54" y="151"/>
                      <a:pt x="55" y="150"/>
                      <a:pt x="56" y="149"/>
                    </a:cubicBezTo>
                    <a:cubicBezTo>
                      <a:pt x="57" y="149"/>
                      <a:pt x="57" y="149"/>
                      <a:pt x="58" y="148"/>
                    </a:cubicBezTo>
                    <a:cubicBezTo>
                      <a:pt x="58" y="147"/>
                      <a:pt x="58" y="147"/>
                      <a:pt x="59" y="146"/>
                    </a:cubicBezTo>
                    <a:cubicBezTo>
                      <a:pt x="60" y="144"/>
                      <a:pt x="60" y="143"/>
                      <a:pt x="61" y="141"/>
                    </a:cubicBezTo>
                    <a:cubicBezTo>
                      <a:pt x="62" y="139"/>
                      <a:pt x="62" y="138"/>
                      <a:pt x="63" y="135"/>
                    </a:cubicBezTo>
                    <a:cubicBezTo>
                      <a:pt x="63" y="134"/>
                      <a:pt x="63" y="133"/>
                      <a:pt x="64" y="132"/>
                    </a:cubicBezTo>
                    <a:cubicBezTo>
                      <a:pt x="64" y="130"/>
                      <a:pt x="64" y="130"/>
                      <a:pt x="64" y="129"/>
                    </a:cubicBezTo>
                    <a:cubicBezTo>
                      <a:pt x="64" y="128"/>
                      <a:pt x="64" y="128"/>
                      <a:pt x="64" y="127"/>
                    </a:cubicBezTo>
                    <a:cubicBezTo>
                      <a:pt x="64" y="127"/>
                      <a:pt x="64" y="126"/>
                      <a:pt x="64" y="126"/>
                    </a:cubicBezTo>
                    <a:cubicBezTo>
                      <a:pt x="64" y="125"/>
                      <a:pt x="65" y="125"/>
                      <a:pt x="65" y="125"/>
                    </a:cubicBezTo>
                    <a:cubicBezTo>
                      <a:pt x="66" y="125"/>
                      <a:pt x="66" y="124"/>
                      <a:pt x="67" y="124"/>
                    </a:cubicBezTo>
                    <a:cubicBezTo>
                      <a:pt x="68" y="124"/>
                      <a:pt x="68" y="123"/>
                      <a:pt x="69" y="123"/>
                    </a:cubicBezTo>
                    <a:cubicBezTo>
                      <a:pt x="69" y="122"/>
                      <a:pt x="70" y="121"/>
                      <a:pt x="71" y="121"/>
                    </a:cubicBezTo>
                    <a:cubicBezTo>
                      <a:pt x="72" y="121"/>
                      <a:pt x="73" y="121"/>
                      <a:pt x="74" y="120"/>
                    </a:cubicBezTo>
                    <a:cubicBezTo>
                      <a:pt x="76" y="120"/>
                      <a:pt x="77" y="119"/>
                      <a:pt x="79" y="119"/>
                    </a:cubicBezTo>
                    <a:cubicBezTo>
                      <a:pt x="81" y="119"/>
                      <a:pt x="82" y="118"/>
                      <a:pt x="84" y="118"/>
                    </a:cubicBezTo>
                    <a:cubicBezTo>
                      <a:pt x="85" y="117"/>
                      <a:pt x="86" y="117"/>
                      <a:pt x="86" y="115"/>
                    </a:cubicBezTo>
                    <a:cubicBezTo>
                      <a:pt x="87" y="114"/>
                      <a:pt x="87" y="113"/>
                      <a:pt x="88" y="111"/>
                    </a:cubicBezTo>
                    <a:cubicBezTo>
                      <a:pt x="88" y="111"/>
                      <a:pt x="89" y="110"/>
                      <a:pt x="90" y="110"/>
                    </a:cubicBezTo>
                    <a:cubicBezTo>
                      <a:pt x="90" y="109"/>
                      <a:pt x="91" y="109"/>
                      <a:pt x="91" y="108"/>
                    </a:cubicBezTo>
                    <a:cubicBezTo>
                      <a:pt x="91" y="107"/>
                      <a:pt x="91" y="107"/>
                      <a:pt x="90" y="107"/>
                    </a:cubicBezTo>
                    <a:cubicBezTo>
                      <a:pt x="89" y="106"/>
                      <a:pt x="89" y="106"/>
                      <a:pt x="88" y="105"/>
                    </a:cubicBezTo>
                    <a:cubicBezTo>
                      <a:pt x="87" y="105"/>
                      <a:pt x="86" y="105"/>
                      <a:pt x="86" y="104"/>
                    </a:cubicBezTo>
                    <a:cubicBezTo>
                      <a:pt x="85" y="103"/>
                      <a:pt x="85" y="103"/>
                      <a:pt x="85" y="103"/>
                    </a:cubicBezTo>
                    <a:cubicBezTo>
                      <a:pt x="84" y="103"/>
                      <a:pt x="84" y="103"/>
                      <a:pt x="84" y="102"/>
                    </a:cubicBezTo>
                    <a:cubicBezTo>
                      <a:pt x="84" y="98"/>
                      <a:pt x="85" y="96"/>
                      <a:pt x="85" y="92"/>
                    </a:cubicBezTo>
                    <a:cubicBezTo>
                      <a:pt x="85" y="91"/>
                      <a:pt x="85" y="90"/>
                      <a:pt x="84" y="89"/>
                    </a:cubicBezTo>
                    <a:cubicBezTo>
                      <a:pt x="84" y="89"/>
                      <a:pt x="83" y="89"/>
                      <a:pt x="83" y="89"/>
                    </a:cubicBezTo>
                    <a:cubicBezTo>
                      <a:pt x="82" y="88"/>
                      <a:pt x="82" y="88"/>
                      <a:pt x="81" y="88"/>
                    </a:cubicBezTo>
                    <a:cubicBezTo>
                      <a:pt x="79" y="88"/>
                      <a:pt x="79" y="88"/>
                      <a:pt x="79" y="88"/>
                    </a:cubicBezTo>
                    <a:cubicBezTo>
                      <a:pt x="78" y="88"/>
                      <a:pt x="78" y="88"/>
                      <a:pt x="77" y="87"/>
                    </a:cubicBezTo>
                    <a:cubicBezTo>
                      <a:pt x="77" y="87"/>
                      <a:pt x="76" y="86"/>
                      <a:pt x="76" y="86"/>
                    </a:cubicBezTo>
                    <a:cubicBezTo>
                      <a:pt x="74" y="86"/>
                      <a:pt x="73" y="86"/>
                      <a:pt x="72" y="85"/>
                    </a:cubicBezTo>
                    <a:cubicBezTo>
                      <a:pt x="71" y="84"/>
                      <a:pt x="70" y="84"/>
                      <a:pt x="68" y="83"/>
                    </a:cubicBezTo>
                    <a:cubicBezTo>
                      <a:pt x="67" y="83"/>
                      <a:pt x="66" y="82"/>
                      <a:pt x="65" y="82"/>
                    </a:cubicBezTo>
                    <a:cubicBezTo>
                      <a:pt x="64" y="82"/>
                      <a:pt x="63" y="82"/>
                      <a:pt x="62" y="83"/>
                    </a:cubicBezTo>
                    <a:cubicBezTo>
                      <a:pt x="61" y="83"/>
                      <a:pt x="61" y="83"/>
                      <a:pt x="60" y="83"/>
                    </a:cubicBezTo>
                    <a:cubicBezTo>
                      <a:pt x="59" y="83"/>
                      <a:pt x="58" y="83"/>
                      <a:pt x="57" y="82"/>
                    </a:cubicBezTo>
                    <a:cubicBezTo>
                      <a:pt x="56" y="81"/>
                      <a:pt x="55" y="81"/>
                      <a:pt x="54" y="81"/>
                    </a:cubicBezTo>
                    <a:cubicBezTo>
                      <a:pt x="52" y="80"/>
                      <a:pt x="51" y="80"/>
                      <a:pt x="50" y="79"/>
                    </a:cubicBezTo>
                    <a:cubicBezTo>
                      <a:pt x="49" y="78"/>
                      <a:pt x="48" y="77"/>
                      <a:pt x="46" y="77"/>
                    </a:cubicBezTo>
                    <a:cubicBezTo>
                      <a:pt x="45" y="77"/>
                      <a:pt x="45" y="78"/>
                      <a:pt x="44" y="78"/>
                    </a:cubicBezTo>
                    <a:cubicBezTo>
                      <a:pt x="42" y="78"/>
                      <a:pt x="41" y="76"/>
                      <a:pt x="40" y="75"/>
                    </a:cubicBezTo>
                    <a:cubicBezTo>
                      <a:pt x="39" y="73"/>
                      <a:pt x="37" y="72"/>
                      <a:pt x="37" y="70"/>
                    </a:cubicBezTo>
                    <a:cubicBezTo>
                      <a:pt x="37" y="68"/>
                      <a:pt x="38" y="68"/>
                      <a:pt x="39" y="66"/>
                    </a:cubicBezTo>
                    <a:cubicBezTo>
                      <a:pt x="40" y="65"/>
                      <a:pt x="40" y="65"/>
                      <a:pt x="40" y="64"/>
                    </a:cubicBezTo>
                    <a:cubicBezTo>
                      <a:pt x="40" y="63"/>
                      <a:pt x="41" y="62"/>
                      <a:pt x="41" y="61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2"/>
                      <a:pt x="30" y="63"/>
                      <a:pt x="29" y="62"/>
                    </a:cubicBezTo>
                    <a:cubicBezTo>
                      <a:pt x="28" y="62"/>
                      <a:pt x="28" y="61"/>
                      <a:pt x="27" y="61"/>
                    </a:cubicBezTo>
                    <a:cubicBezTo>
                      <a:pt x="26" y="61"/>
                      <a:pt x="25" y="63"/>
                      <a:pt x="24" y="64"/>
                    </a:cubicBezTo>
                    <a:cubicBezTo>
                      <a:pt x="23" y="65"/>
                      <a:pt x="22" y="65"/>
                      <a:pt x="21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0" y="66"/>
                      <a:pt x="19" y="66"/>
                      <a:pt x="18" y="66"/>
                    </a:cubicBezTo>
                    <a:cubicBezTo>
                      <a:pt x="17" y="66"/>
                      <a:pt x="16" y="67"/>
                      <a:pt x="16" y="67"/>
                    </a:cubicBezTo>
                    <a:cubicBezTo>
                      <a:pt x="16" y="65"/>
                      <a:pt x="15" y="64"/>
                      <a:pt x="16" y="63"/>
                    </a:cubicBezTo>
                    <a:cubicBezTo>
                      <a:pt x="17" y="61"/>
                      <a:pt x="18" y="61"/>
                      <a:pt x="18" y="59"/>
                    </a:cubicBezTo>
                    <a:cubicBezTo>
                      <a:pt x="18" y="59"/>
                      <a:pt x="17" y="59"/>
                      <a:pt x="17" y="58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20" y="58"/>
                      <a:pt x="20" y="58"/>
                      <a:pt x="21" y="58"/>
                    </a:cubicBezTo>
                    <a:cubicBezTo>
                      <a:pt x="22" y="58"/>
                      <a:pt x="23" y="58"/>
                      <a:pt x="25" y="57"/>
                    </a:cubicBezTo>
                    <a:cubicBezTo>
                      <a:pt x="26" y="57"/>
                      <a:pt x="26" y="57"/>
                      <a:pt x="27" y="56"/>
                    </a:cubicBezTo>
                    <a:cubicBezTo>
                      <a:pt x="28" y="55"/>
                      <a:pt x="29" y="54"/>
                      <a:pt x="29" y="53"/>
                    </a:cubicBezTo>
                    <a:cubicBezTo>
                      <a:pt x="29" y="52"/>
                      <a:pt x="29" y="52"/>
                      <a:pt x="28" y="52"/>
                    </a:cubicBezTo>
                    <a:cubicBezTo>
                      <a:pt x="27" y="52"/>
                      <a:pt x="27" y="55"/>
                      <a:pt x="25" y="55"/>
                    </a:cubicBezTo>
                    <a:cubicBezTo>
                      <a:pt x="23" y="55"/>
                      <a:pt x="22" y="54"/>
                      <a:pt x="20" y="55"/>
                    </a:cubicBezTo>
                    <a:cubicBezTo>
                      <a:pt x="20" y="54"/>
                      <a:pt x="20" y="54"/>
                      <a:pt x="20" y="53"/>
                    </a:cubicBezTo>
                    <a:cubicBezTo>
                      <a:pt x="20" y="52"/>
                      <a:pt x="22" y="52"/>
                      <a:pt x="22" y="51"/>
                    </a:cubicBezTo>
                    <a:cubicBezTo>
                      <a:pt x="22" y="50"/>
                      <a:pt x="22" y="50"/>
                      <a:pt x="21" y="49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24" y="49"/>
                      <a:pt x="25" y="48"/>
                      <a:pt x="27" y="48"/>
                    </a:cubicBezTo>
                    <a:cubicBezTo>
                      <a:pt x="29" y="48"/>
                      <a:pt x="31" y="48"/>
                      <a:pt x="33" y="46"/>
                    </a:cubicBezTo>
                    <a:cubicBezTo>
                      <a:pt x="32" y="45"/>
                      <a:pt x="31" y="44"/>
                      <a:pt x="30" y="44"/>
                    </a:cubicBezTo>
                    <a:cubicBezTo>
                      <a:pt x="28" y="44"/>
                      <a:pt x="27" y="45"/>
                      <a:pt x="24" y="45"/>
                    </a:cubicBezTo>
                    <a:cubicBezTo>
                      <a:pt x="24" y="45"/>
                      <a:pt x="23" y="45"/>
                      <a:pt x="23" y="45"/>
                    </a:cubicBezTo>
                    <a:cubicBezTo>
                      <a:pt x="24" y="42"/>
                      <a:pt x="26" y="42"/>
                      <a:pt x="28" y="40"/>
                    </a:cubicBezTo>
                    <a:cubicBezTo>
                      <a:pt x="29" y="39"/>
                      <a:pt x="29" y="38"/>
                      <a:pt x="30" y="36"/>
                    </a:cubicBezTo>
                    <a:cubicBezTo>
                      <a:pt x="31" y="35"/>
                      <a:pt x="32" y="35"/>
                      <a:pt x="32" y="33"/>
                    </a:cubicBezTo>
                    <a:cubicBezTo>
                      <a:pt x="32" y="33"/>
                      <a:pt x="32" y="33"/>
                      <a:pt x="31" y="33"/>
                    </a:cubicBezTo>
                    <a:cubicBezTo>
                      <a:pt x="31" y="33"/>
                      <a:pt x="30" y="33"/>
                      <a:pt x="30" y="33"/>
                    </a:cubicBezTo>
                    <a:cubicBezTo>
                      <a:pt x="29" y="33"/>
                      <a:pt x="28" y="32"/>
                      <a:pt x="27" y="32"/>
                    </a:cubicBezTo>
                    <a:cubicBezTo>
                      <a:pt x="25" y="32"/>
                      <a:pt x="26" y="34"/>
                      <a:pt x="25" y="35"/>
                    </a:cubicBezTo>
                    <a:cubicBezTo>
                      <a:pt x="23" y="37"/>
                      <a:pt x="22" y="39"/>
                      <a:pt x="20" y="39"/>
                    </a:cubicBezTo>
                    <a:cubicBezTo>
                      <a:pt x="20" y="39"/>
                      <a:pt x="19" y="38"/>
                      <a:pt x="19" y="38"/>
                    </a:cubicBezTo>
                    <a:cubicBezTo>
                      <a:pt x="19" y="36"/>
                      <a:pt x="20" y="35"/>
                      <a:pt x="22" y="34"/>
                    </a:cubicBezTo>
                    <a:cubicBezTo>
                      <a:pt x="24" y="31"/>
                      <a:pt x="26" y="30"/>
                      <a:pt x="29" y="29"/>
                    </a:cubicBezTo>
                    <a:cubicBezTo>
                      <a:pt x="29" y="28"/>
                      <a:pt x="29" y="27"/>
                      <a:pt x="29" y="26"/>
                    </a:cubicBezTo>
                    <a:cubicBezTo>
                      <a:pt x="26" y="26"/>
                      <a:pt x="24" y="26"/>
                      <a:pt x="23" y="28"/>
                    </a:cubicBezTo>
                    <a:cubicBezTo>
                      <a:pt x="22" y="28"/>
                      <a:pt x="22" y="27"/>
                      <a:pt x="22" y="27"/>
                    </a:cubicBezTo>
                    <a:cubicBezTo>
                      <a:pt x="22" y="25"/>
                      <a:pt x="22" y="24"/>
                      <a:pt x="22" y="22"/>
                    </a:cubicBezTo>
                    <a:cubicBezTo>
                      <a:pt x="21" y="22"/>
                      <a:pt x="20" y="23"/>
                      <a:pt x="20" y="23"/>
                    </a:cubicBezTo>
                    <a:cubicBezTo>
                      <a:pt x="19" y="23"/>
                      <a:pt x="19" y="22"/>
                      <a:pt x="19" y="22"/>
                    </a:cubicBezTo>
                    <a:cubicBezTo>
                      <a:pt x="19" y="20"/>
                      <a:pt x="20" y="19"/>
                      <a:pt x="21" y="18"/>
                    </a:cubicBezTo>
                    <a:cubicBezTo>
                      <a:pt x="21" y="17"/>
                      <a:pt x="22" y="17"/>
                      <a:pt x="22" y="16"/>
                    </a:cubicBezTo>
                    <a:cubicBezTo>
                      <a:pt x="22" y="15"/>
                      <a:pt x="21" y="15"/>
                      <a:pt x="21" y="14"/>
                    </a:cubicBezTo>
                    <a:cubicBezTo>
                      <a:pt x="21" y="14"/>
                      <a:pt x="21" y="14"/>
                      <a:pt x="21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4" y="13"/>
                      <a:pt x="26" y="14"/>
                      <a:pt x="26" y="12"/>
                    </a:cubicBezTo>
                    <a:cubicBezTo>
                      <a:pt x="26" y="11"/>
                      <a:pt x="25" y="11"/>
                      <a:pt x="24" y="1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8" y="9"/>
                      <a:pt x="29" y="10"/>
                      <a:pt x="32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3" y="10"/>
                      <a:pt x="33" y="9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5" y="8"/>
                      <a:pt x="35" y="7"/>
                      <a:pt x="37" y="7"/>
                    </a:cubicBezTo>
                    <a:cubicBezTo>
                      <a:pt x="38" y="7"/>
                      <a:pt x="38" y="8"/>
                      <a:pt x="38" y="8"/>
                    </a:cubicBezTo>
                    <a:cubicBezTo>
                      <a:pt x="39" y="9"/>
                      <a:pt x="39" y="9"/>
                      <a:pt x="40" y="10"/>
                    </a:cubicBezTo>
                    <a:cubicBezTo>
                      <a:pt x="42" y="11"/>
                      <a:pt x="44" y="12"/>
                      <a:pt x="47" y="12"/>
                    </a:cubicBezTo>
                    <a:cubicBezTo>
                      <a:pt x="48" y="13"/>
                      <a:pt x="49" y="13"/>
                      <a:pt x="50" y="14"/>
                    </a:cubicBezTo>
                    <a:cubicBezTo>
                      <a:pt x="51" y="15"/>
                      <a:pt x="51" y="16"/>
                      <a:pt x="52" y="16"/>
                    </a:cubicBezTo>
                    <a:cubicBezTo>
                      <a:pt x="54" y="17"/>
                      <a:pt x="55" y="18"/>
                      <a:pt x="56" y="19"/>
                    </a:cubicBezTo>
                    <a:cubicBezTo>
                      <a:pt x="57" y="18"/>
                      <a:pt x="58" y="16"/>
                      <a:pt x="58" y="14"/>
                    </a:cubicBezTo>
                    <a:cubicBezTo>
                      <a:pt x="58" y="14"/>
                      <a:pt x="57" y="14"/>
                      <a:pt x="57" y="14"/>
                    </a:cubicBezTo>
                    <a:cubicBezTo>
                      <a:pt x="56" y="13"/>
                      <a:pt x="56" y="13"/>
                      <a:pt x="56" y="12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6" y="12"/>
                      <a:pt x="57" y="12"/>
                      <a:pt x="58" y="12"/>
                    </a:cubicBezTo>
                    <a:cubicBezTo>
                      <a:pt x="58" y="12"/>
                      <a:pt x="58" y="12"/>
                      <a:pt x="59" y="12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8" y="9"/>
                      <a:pt x="57" y="9"/>
                    </a:cubicBezTo>
                    <a:cubicBezTo>
                      <a:pt x="57" y="8"/>
                      <a:pt x="56" y="8"/>
                      <a:pt x="56" y="8"/>
                    </a:cubicBezTo>
                    <a:cubicBezTo>
                      <a:pt x="56" y="7"/>
                      <a:pt x="56" y="7"/>
                      <a:pt x="57" y="6"/>
                    </a:cubicBezTo>
                    <a:cubicBezTo>
                      <a:pt x="57" y="5"/>
                      <a:pt x="57" y="5"/>
                      <a:pt x="57" y="4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60" y="4"/>
                      <a:pt x="60" y="3"/>
                      <a:pt x="61" y="3"/>
                    </a:cubicBezTo>
                    <a:cubicBezTo>
                      <a:pt x="64" y="2"/>
                      <a:pt x="66" y="4"/>
                      <a:pt x="68" y="3"/>
                    </a:cubicBezTo>
                    <a:cubicBezTo>
                      <a:pt x="70" y="2"/>
                      <a:pt x="71" y="0"/>
                      <a:pt x="73" y="0"/>
                    </a:cubicBezTo>
                    <a:cubicBezTo>
                      <a:pt x="73" y="0"/>
                      <a:pt x="73" y="1"/>
                      <a:pt x="73" y="2"/>
                    </a:cubicBezTo>
                    <a:cubicBezTo>
                      <a:pt x="73" y="2"/>
                      <a:pt x="73" y="3"/>
                      <a:pt x="73" y="3"/>
                    </a:cubicBezTo>
                    <a:cubicBezTo>
                      <a:pt x="78" y="3"/>
                      <a:pt x="78" y="3"/>
                      <a:pt x="78" y="3"/>
                    </a:cubicBezTo>
                    <a:cubicBezTo>
                      <a:pt x="78" y="5"/>
                      <a:pt x="78" y="6"/>
                      <a:pt x="78" y="8"/>
                    </a:cubicBezTo>
                    <a:cubicBezTo>
                      <a:pt x="79" y="8"/>
                      <a:pt x="79" y="8"/>
                      <a:pt x="79" y="8"/>
                    </a:cubicBezTo>
                    <a:cubicBezTo>
                      <a:pt x="80" y="8"/>
                      <a:pt x="80" y="8"/>
                      <a:pt x="81" y="8"/>
                    </a:cubicBezTo>
                    <a:cubicBezTo>
                      <a:pt x="83" y="8"/>
                      <a:pt x="83" y="9"/>
                      <a:pt x="84" y="10"/>
                    </a:cubicBezTo>
                    <a:cubicBezTo>
                      <a:pt x="86" y="12"/>
                      <a:pt x="88" y="14"/>
                      <a:pt x="90" y="17"/>
                    </a:cubicBezTo>
                    <a:cubicBezTo>
                      <a:pt x="91" y="18"/>
                      <a:pt x="91" y="21"/>
                      <a:pt x="93" y="21"/>
                    </a:cubicBezTo>
                    <a:cubicBezTo>
                      <a:pt x="95" y="21"/>
                      <a:pt x="95" y="20"/>
                      <a:pt x="97" y="20"/>
                    </a:cubicBezTo>
                    <a:cubicBezTo>
                      <a:pt x="98" y="20"/>
                      <a:pt x="99" y="22"/>
                      <a:pt x="100" y="22"/>
                    </a:cubicBezTo>
                    <a:cubicBezTo>
                      <a:pt x="103" y="22"/>
                      <a:pt x="103" y="22"/>
                      <a:pt x="103" y="22"/>
                    </a:cubicBezTo>
                    <a:cubicBezTo>
                      <a:pt x="104" y="22"/>
                      <a:pt x="105" y="24"/>
                      <a:pt x="106" y="24"/>
                    </a:cubicBezTo>
                    <a:cubicBezTo>
                      <a:pt x="107" y="25"/>
                      <a:pt x="108" y="24"/>
                      <a:pt x="109" y="24"/>
                    </a:cubicBezTo>
                    <a:cubicBezTo>
                      <a:pt x="112" y="24"/>
                      <a:pt x="113" y="25"/>
                      <a:pt x="115" y="26"/>
                    </a:cubicBezTo>
                    <a:cubicBezTo>
                      <a:pt x="117" y="27"/>
                      <a:pt x="118" y="28"/>
                      <a:pt x="121" y="28"/>
                    </a:cubicBezTo>
                    <a:cubicBezTo>
                      <a:pt x="122" y="28"/>
                      <a:pt x="122" y="28"/>
                      <a:pt x="123" y="28"/>
                    </a:cubicBezTo>
                    <a:cubicBezTo>
                      <a:pt x="124" y="28"/>
                      <a:pt x="125" y="28"/>
                      <a:pt x="126" y="29"/>
                    </a:cubicBezTo>
                    <a:cubicBezTo>
                      <a:pt x="126" y="29"/>
                      <a:pt x="126" y="30"/>
                      <a:pt x="126" y="30"/>
                    </a:cubicBezTo>
                    <a:cubicBezTo>
                      <a:pt x="127" y="30"/>
                      <a:pt x="127" y="30"/>
                      <a:pt x="127" y="30"/>
                    </a:cubicBezTo>
                    <a:cubicBezTo>
                      <a:pt x="127" y="28"/>
                      <a:pt x="126" y="28"/>
                      <a:pt x="126" y="26"/>
                    </a:cubicBezTo>
                    <a:cubicBezTo>
                      <a:pt x="126" y="26"/>
                      <a:pt x="127" y="26"/>
                      <a:pt x="127" y="26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1" y="27"/>
                      <a:pt x="131" y="28"/>
                      <a:pt x="131" y="29"/>
                    </a:cubicBezTo>
                    <a:cubicBezTo>
                      <a:pt x="131" y="30"/>
                      <a:pt x="131" y="31"/>
                      <a:pt x="131" y="32"/>
                    </a:cubicBezTo>
                    <a:cubicBezTo>
                      <a:pt x="132" y="33"/>
                      <a:pt x="134" y="33"/>
                      <a:pt x="135" y="33"/>
                    </a:cubicBezTo>
                    <a:cubicBezTo>
                      <a:pt x="136" y="34"/>
                      <a:pt x="137" y="34"/>
                      <a:pt x="138" y="35"/>
                    </a:cubicBezTo>
                    <a:cubicBezTo>
                      <a:pt x="139" y="35"/>
                      <a:pt x="140" y="35"/>
                      <a:pt x="141" y="36"/>
                    </a:cubicBezTo>
                    <a:cubicBezTo>
                      <a:pt x="142" y="36"/>
                      <a:pt x="141" y="38"/>
                      <a:pt x="142" y="39"/>
                    </a:cubicBezTo>
                    <a:cubicBezTo>
                      <a:pt x="144" y="40"/>
                      <a:pt x="145" y="39"/>
                      <a:pt x="148" y="40"/>
                    </a:cubicBezTo>
                    <a:cubicBezTo>
                      <a:pt x="149" y="41"/>
                      <a:pt x="150" y="41"/>
                      <a:pt x="152" y="42"/>
                    </a:cubicBezTo>
                    <a:cubicBezTo>
                      <a:pt x="153" y="43"/>
                      <a:pt x="153" y="43"/>
                      <a:pt x="154" y="43"/>
                    </a:cubicBezTo>
                    <a:cubicBezTo>
                      <a:pt x="156" y="44"/>
                      <a:pt x="156" y="45"/>
                      <a:pt x="157" y="46"/>
                    </a:cubicBezTo>
                    <a:cubicBezTo>
                      <a:pt x="159" y="47"/>
                      <a:pt x="160" y="48"/>
                      <a:pt x="162" y="49"/>
                    </a:cubicBezTo>
                    <a:cubicBezTo>
                      <a:pt x="163" y="50"/>
                      <a:pt x="164" y="51"/>
                      <a:pt x="165" y="51"/>
                    </a:cubicBezTo>
                    <a:cubicBezTo>
                      <a:pt x="166" y="52"/>
                      <a:pt x="166" y="52"/>
                      <a:pt x="168" y="52"/>
                    </a:cubicBezTo>
                    <a:cubicBezTo>
                      <a:pt x="169" y="53"/>
                      <a:pt x="170" y="54"/>
                      <a:pt x="171" y="54"/>
                    </a:cubicBezTo>
                    <a:cubicBezTo>
                      <a:pt x="172" y="54"/>
                      <a:pt x="172" y="53"/>
                      <a:pt x="173" y="53"/>
                    </a:cubicBezTo>
                    <a:cubicBezTo>
                      <a:pt x="175" y="53"/>
                      <a:pt x="176" y="53"/>
                      <a:pt x="177" y="53"/>
                    </a:cubicBezTo>
                    <a:cubicBezTo>
                      <a:pt x="178" y="53"/>
                      <a:pt x="178" y="53"/>
                      <a:pt x="179" y="54"/>
                    </a:cubicBezTo>
                    <a:cubicBezTo>
                      <a:pt x="181" y="54"/>
                      <a:pt x="182" y="54"/>
                      <a:pt x="183" y="54"/>
                    </a:cubicBezTo>
                    <a:cubicBezTo>
                      <a:pt x="184" y="54"/>
                      <a:pt x="185" y="54"/>
                      <a:pt x="186" y="54"/>
                    </a:cubicBezTo>
                    <a:cubicBezTo>
                      <a:pt x="186" y="57"/>
                      <a:pt x="186" y="57"/>
                      <a:pt x="186" y="57"/>
                    </a:cubicBezTo>
                    <a:cubicBezTo>
                      <a:pt x="187" y="57"/>
                      <a:pt x="188" y="57"/>
                      <a:pt x="189" y="57"/>
                    </a:cubicBezTo>
                    <a:cubicBezTo>
                      <a:pt x="189" y="56"/>
                      <a:pt x="190" y="55"/>
                      <a:pt x="191" y="55"/>
                    </a:cubicBezTo>
                    <a:cubicBezTo>
                      <a:pt x="191" y="55"/>
                      <a:pt x="192" y="55"/>
                      <a:pt x="193" y="56"/>
                    </a:cubicBezTo>
                    <a:cubicBezTo>
                      <a:pt x="195" y="56"/>
                      <a:pt x="196" y="58"/>
                      <a:pt x="198" y="58"/>
                    </a:cubicBezTo>
                    <a:cubicBezTo>
                      <a:pt x="197" y="59"/>
                      <a:pt x="197" y="60"/>
                      <a:pt x="195" y="60"/>
                    </a:cubicBezTo>
                    <a:cubicBezTo>
                      <a:pt x="196" y="62"/>
                      <a:pt x="196" y="63"/>
                      <a:pt x="197" y="65"/>
                    </a:cubicBezTo>
                    <a:cubicBezTo>
                      <a:pt x="198" y="64"/>
                      <a:pt x="198" y="63"/>
                      <a:pt x="199" y="63"/>
                    </a:cubicBezTo>
                    <a:cubicBezTo>
                      <a:pt x="201" y="63"/>
                      <a:pt x="201" y="63"/>
                      <a:pt x="203" y="63"/>
                    </a:cubicBezTo>
                    <a:cubicBezTo>
                      <a:pt x="203" y="64"/>
                      <a:pt x="203" y="65"/>
                      <a:pt x="204" y="65"/>
                    </a:cubicBezTo>
                    <a:cubicBezTo>
                      <a:pt x="205" y="67"/>
                      <a:pt x="207" y="66"/>
                      <a:pt x="208" y="67"/>
                    </a:cubicBezTo>
                    <a:cubicBezTo>
                      <a:pt x="209" y="68"/>
                      <a:pt x="209" y="69"/>
                      <a:pt x="210" y="69"/>
                    </a:cubicBezTo>
                    <a:cubicBezTo>
                      <a:pt x="211" y="68"/>
                      <a:pt x="211" y="68"/>
                      <a:pt x="212" y="67"/>
                    </a:cubicBezTo>
                    <a:cubicBezTo>
                      <a:pt x="212" y="67"/>
                      <a:pt x="212" y="66"/>
                      <a:pt x="213" y="66"/>
                    </a:cubicBezTo>
                    <a:cubicBezTo>
                      <a:pt x="213" y="65"/>
                      <a:pt x="214" y="66"/>
                      <a:pt x="215" y="66"/>
                    </a:cubicBezTo>
                    <a:cubicBezTo>
                      <a:pt x="215" y="66"/>
                      <a:pt x="216" y="65"/>
                      <a:pt x="216" y="65"/>
                    </a:cubicBezTo>
                    <a:cubicBezTo>
                      <a:pt x="217" y="65"/>
                      <a:pt x="217" y="66"/>
                      <a:pt x="217" y="67"/>
                    </a:cubicBezTo>
                    <a:cubicBezTo>
                      <a:pt x="218" y="69"/>
                      <a:pt x="218" y="70"/>
                      <a:pt x="218" y="71"/>
                    </a:cubicBezTo>
                    <a:cubicBezTo>
                      <a:pt x="220" y="71"/>
                      <a:pt x="222" y="71"/>
                      <a:pt x="224" y="71"/>
                    </a:cubicBezTo>
                    <a:cubicBezTo>
                      <a:pt x="225" y="71"/>
                      <a:pt x="226" y="70"/>
                      <a:pt x="227" y="71"/>
                    </a:cubicBezTo>
                    <a:cubicBezTo>
                      <a:pt x="228" y="73"/>
                      <a:pt x="229" y="75"/>
                      <a:pt x="231" y="76"/>
                    </a:cubicBezTo>
                    <a:cubicBezTo>
                      <a:pt x="232" y="77"/>
                      <a:pt x="233" y="77"/>
                      <a:pt x="235" y="78"/>
                    </a:cubicBezTo>
                    <a:cubicBezTo>
                      <a:pt x="236" y="79"/>
                      <a:pt x="236" y="80"/>
                      <a:pt x="238" y="80"/>
                    </a:cubicBezTo>
                    <a:cubicBezTo>
                      <a:pt x="239" y="80"/>
                      <a:pt x="239" y="79"/>
                      <a:pt x="241" y="78"/>
                    </a:cubicBezTo>
                    <a:cubicBezTo>
                      <a:pt x="242" y="77"/>
                      <a:pt x="244" y="78"/>
                      <a:pt x="245" y="78"/>
                    </a:cubicBezTo>
                    <a:cubicBezTo>
                      <a:pt x="247" y="78"/>
                      <a:pt x="247" y="77"/>
                      <a:pt x="249" y="77"/>
                    </a:cubicBezTo>
                    <a:cubicBezTo>
                      <a:pt x="250" y="77"/>
                      <a:pt x="250" y="77"/>
                      <a:pt x="250" y="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8" name="Freeform 58">
                <a:extLst>
                  <a:ext uri="{FF2B5EF4-FFF2-40B4-BE49-F238E27FC236}">
                    <a16:creationId xmlns:a16="http://schemas.microsoft.com/office/drawing/2014/main" xmlns="" id="{D63F15F8-97B1-46D3-BD57-1B4EFA305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2975" y="3677647"/>
                <a:ext cx="45497" cy="35923"/>
              </a:xfrm>
              <a:custGeom>
                <a:avLst/>
                <a:gdLst>
                  <a:gd name="T0" fmla="*/ 9 w 18"/>
                  <a:gd name="T1" fmla="*/ 1 h 14"/>
                  <a:gd name="T2" fmla="*/ 5 w 18"/>
                  <a:gd name="T3" fmla="*/ 1 h 14"/>
                  <a:gd name="T4" fmla="*/ 2 w 18"/>
                  <a:gd name="T5" fmla="*/ 0 h 14"/>
                  <a:gd name="T6" fmla="*/ 1 w 18"/>
                  <a:gd name="T7" fmla="*/ 0 h 14"/>
                  <a:gd name="T8" fmla="*/ 1 w 18"/>
                  <a:gd name="T9" fmla="*/ 4 h 14"/>
                  <a:gd name="T10" fmla="*/ 0 w 18"/>
                  <a:gd name="T11" fmla="*/ 6 h 14"/>
                  <a:gd name="T12" fmla="*/ 0 w 18"/>
                  <a:gd name="T13" fmla="*/ 7 h 14"/>
                  <a:gd name="T14" fmla="*/ 4 w 18"/>
                  <a:gd name="T15" fmla="*/ 7 h 14"/>
                  <a:gd name="T16" fmla="*/ 11 w 18"/>
                  <a:gd name="T17" fmla="*/ 9 h 14"/>
                  <a:gd name="T18" fmla="*/ 15 w 18"/>
                  <a:gd name="T19" fmla="*/ 12 h 14"/>
                  <a:gd name="T20" fmla="*/ 17 w 18"/>
                  <a:gd name="T21" fmla="*/ 14 h 14"/>
                  <a:gd name="T22" fmla="*/ 18 w 18"/>
                  <a:gd name="T23" fmla="*/ 14 h 14"/>
                  <a:gd name="T24" fmla="*/ 18 w 18"/>
                  <a:gd name="T25" fmla="*/ 4 h 14"/>
                  <a:gd name="T26" fmla="*/ 15 w 18"/>
                  <a:gd name="T27" fmla="*/ 2 h 14"/>
                  <a:gd name="T28" fmla="*/ 12 w 18"/>
                  <a:gd name="T29" fmla="*/ 0 h 14"/>
                  <a:gd name="T30" fmla="*/ 9 w 18"/>
                  <a:gd name="T31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4">
                    <a:moveTo>
                      <a:pt x="9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3" y="7"/>
                      <a:pt x="4" y="7"/>
                    </a:cubicBezTo>
                    <a:cubicBezTo>
                      <a:pt x="7" y="7"/>
                      <a:pt x="8" y="8"/>
                      <a:pt x="11" y="9"/>
                    </a:cubicBezTo>
                    <a:cubicBezTo>
                      <a:pt x="12" y="10"/>
                      <a:pt x="14" y="10"/>
                      <a:pt x="15" y="12"/>
                    </a:cubicBezTo>
                    <a:cubicBezTo>
                      <a:pt x="16" y="13"/>
                      <a:pt x="16" y="13"/>
                      <a:pt x="17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2"/>
                      <a:pt x="15" y="2"/>
                    </a:cubicBezTo>
                    <a:cubicBezTo>
                      <a:pt x="14" y="1"/>
                      <a:pt x="13" y="0"/>
                      <a:pt x="12" y="0"/>
                    </a:cubicBezTo>
                    <a:cubicBezTo>
                      <a:pt x="11" y="0"/>
                      <a:pt x="10" y="1"/>
                      <a:pt x="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39" name="Freeform 59">
                <a:extLst>
                  <a:ext uri="{FF2B5EF4-FFF2-40B4-BE49-F238E27FC236}">
                    <a16:creationId xmlns:a16="http://schemas.microsoft.com/office/drawing/2014/main" xmlns="" id="{6A0269AA-0148-4E0A-9A7B-0818FBCEF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1277" y="3682437"/>
                <a:ext cx="93387" cy="65859"/>
              </a:xfrm>
              <a:custGeom>
                <a:avLst/>
                <a:gdLst>
                  <a:gd name="T0" fmla="*/ 0 w 37"/>
                  <a:gd name="T1" fmla="*/ 6 h 26"/>
                  <a:gd name="T2" fmla="*/ 1 w 37"/>
                  <a:gd name="T3" fmla="*/ 9 h 26"/>
                  <a:gd name="T4" fmla="*/ 4 w 37"/>
                  <a:gd name="T5" fmla="*/ 11 h 26"/>
                  <a:gd name="T6" fmla="*/ 5 w 37"/>
                  <a:gd name="T7" fmla="*/ 14 h 26"/>
                  <a:gd name="T8" fmla="*/ 10 w 37"/>
                  <a:gd name="T9" fmla="*/ 11 h 26"/>
                  <a:gd name="T10" fmla="*/ 13 w 37"/>
                  <a:gd name="T11" fmla="*/ 11 h 26"/>
                  <a:gd name="T12" fmla="*/ 14 w 37"/>
                  <a:gd name="T13" fmla="*/ 16 h 26"/>
                  <a:gd name="T14" fmla="*/ 15 w 37"/>
                  <a:gd name="T15" fmla="*/ 21 h 26"/>
                  <a:gd name="T16" fmla="*/ 18 w 37"/>
                  <a:gd name="T17" fmla="*/ 23 h 26"/>
                  <a:gd name="T18" fmla="*/ 21 w 37"/>
                  <a:gd name="T19" fmla="*/ 23 h 26"/>
                  <a:gd name="T20" fmla="*/ 24 w 37"/>
                  <a:gd name="T21" fmla="*/ 26 h 26"/>
                  <a:gd name="T22" fmla="*/ 30 w 37"/>
                  <a:gd name="T23" fmla="*/ 17 h 26"/>
                  <a:gd name="T24" fmla="*/ 32 w 37"/>
                  <a:gd name="T25" fmla="*/ 14 h 26"/>
                  <a:gd name="T26" fmla="*/ 35 w 37"/>
                  <a:gd name="T27" fmla="*/ 14 h 26"/>
                  <a:gd name="T28" fmla="*/ 37 w 37"/>
                  <a:gd name="T29" fmla="*/ 10 h 26"/>
                  <a:gd name="T30" fmla="*/ 37 w 37"/>
                  <a:gd name="T31" fmla="*/ 9 h 26"/>
                  <a:gd name="T32" fmla="*/ 35 w 37"/>
                  <a:gd name="T33" fmla="*/ 9 h 26"/>
                  <a:gd name="T34" fmla="*/ 29 w 37"/>
                  <a:gd name="T35" fmla="*/ 5 h 26"/>
                  <a:gd name="T36" fmla="*/ 29 w 37"/>
                  <a:gd name="T37" fmla="*/ 4 h 26"/>
                  <a:gd name="T38" fmla="*/ 26 w 37"/>
                  <a:gd name="T39" fmla="*/ 2 h 26"/>
                  <a:gd name="T40" fmla="*/ 28 w 37"/>
                  <a:gd name="T41" fmla="*/ 0 h 26"/>
                  <a:gd name="T42" fmla="*/ 27 w 37"/>
                  <a:gd name="T43" fmla="*/ 0 h 26"/>
                  <a:gd name="T44" fmla="*/ 22 w 37"/>
                  <a:gd name="T45" fmla="*/ 0 h 26"/>
                  <a:gd name="T46" fmla="*/ 11 w 37"/>
                  <a:gd name="T47" fmla="*/ 3 h 26"/>
                  <a:gd name="T48" fmla="*/ 5 w 37"/>
                  <a:gd name="T49" fmla="*/ 5 h 26"/>
                  <a:gd name="T50" fmla="*/ 0 w 37"/>
                  <a:gd name="T51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7" h="26">
                    <a:moveTo>
                      <a:pt x="0" y="6"/>
                    </a:moveTo>
                    <a:cubicBezTo>
                      <a:pt x="0" y="7"/>
                      <a:pt x="1" y="8"/>
                      <a:pt x="1" y="9"/>
                    </a:cubicBezTo>
                    <a:cubicBezTo>
                      <a:pt x="2" y="9"/>
                      <a:pt x="4" y="9"/>
                      <a:pt x="4" y="11"/>
                    </a:cubicBezTo>
                    <a:cubicBezTo>
                      <a:pt x="5" y="12"/>
                      <a:pt x="4" y="14"/>
                      <a:pt x="5" y="14"/>
                    </a:cubicBezTo>
                    <a:cubicBezTo>
                      <a:pt x="7" y="14"/>
                      <a:pt x="8" y="11"/>
                      <a:pt x="10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4" y="13"/>
                      <a:pt x="14" y="14"/>
                      <a:pt x="14" y="16"/>
                    </a:cubicBezTo>
                    <a:cubicBezTo>
                      <a:pt x="15" y="18"/>
                      <a:pt x="14" y="20"/>
                      <a:pt x="15" y="21"/>
                    </a:cubicBezTo>
                    <a:cubicBezTo>
                      <a:pt x="16" y="22"/>
                      <a:pt x="17" y="23"/>
                      <a:pt x="18" y="23"/>
                    </a:cubicBezTo>
                    <a:cubicBezTo>
                      <a:pt x="19" y="24"/>
                      <a:pt x="20" y="23"/>
                      <a:pt x="21" y="23"/>
                    </a:cubicBezTo>
                    <a:cubicBezTo>
                      <a:pt x="22" y="23"/>
                      <a:pt x="22" y="25"/>
                      <a:pt x="24" y="26"/>
                    </a:cubicBezTo>
                    <a:cubicBezTo>
                      <a:pt x="26" y="22"/>
                      <a:pt x="28" y="21"/>
                      <a:pt x="30" y="17"/>
                    </a:cubicBezTo>
                    <a:cubicBezTo>
                      <a:pt x="31" y="15"/>
                      <a:pt x="31" y="14"/>
                      <a:pt x="32" y="14"/>
                    </a:cubicBezTo>
                    <a:cubicBezTo>
                      <a:pt x="33" y="13"/>
                      <a:pt x="34" y="14"/>
                      <a:pt x="35" y="14"/>
                    </a:cubicBezTo>
                    <a:cubicBezTo>
                      <a:pt x="36" y="13"/>
                      <a:pt x="37" y="12"/>
                      <a:pt x="37" y="10"/>
                    </a:cubicBezTo>
                    <a:cubicBezTo>
                      <a:pt x="37" y="10"/>
                      <a:pt x="37" y="9"/>
                      <a:pt x="37" y="9"/>
                    </a:cubicBezTo>
                    <a:cubicBezTo>
                      <a:pt x="36" y="9"/>
                      <a:pt x="36" y="9"/>
                      <a:pt x="35" y="9"/>
                    </a:cubicBezTo>
                    <a:cubicBezTo>
                      <a:pt x="32" y="9"/>
                      <a:pt x="29" y="8"/>
                      <a:pt x="29" y="5"/>
                    </a:cubicBezTo>
                    <a:cubicBezTo>
                      <a:pt x="29" y="5"/>
                      <a:pt x="29" y="5"/>
                      <a:pt x="29" y="4"/>
                    </a:cubicBezTo>
                    <a:cubicBezTo>
                      <a:pt x="28" y="4"/>
                      <a:pt x="26" y="3"/>
                      <a:pt x="26" y="2"/>
                    </a:cubicBezTo>
                    <a:cubicBezTo>
                      <a:pt x="26" y="1"/>
                      <a:pt x="27" y="1"/>
                      <a:pt x="28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7" y="0"/>
                      <a:pt x="15" y="1"/>
                      <a:pt x="11" y="3"/>
                    </a:cubicBezTo>
                    <a:cubicBezTo>
                      <a:pt x="9" y="4"/>
                      <a:pt x="7" y="5"/>
                      <a:pt x="5" y="5"/>
                    </a:cubicBezTo>
                    <a:cubicBezTo>
                      <a:pt x="3" y="4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0" name="Freeform 60">
                <a:extLst>
                  <a:ext uri="{FF2B5EF4-FFF2-40B4-BE49-F238E27FC236}">
                    <a16:creationId xmlns:a16="http://schemas.microsoft.com/office/drawing/2014/main" xmlns="" id="{6981B45A-3F71-42BF-BDE7-AFF7945D8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890" y="3781822"/>
                <a:ext cx="17959" cy="11974"/>
              </a:xfrm>
              <a:custGeom>
                <a:avLst/>
                <a:gdLst>
                  <a:gd name="T0" fmla="*/ 2 w 7"/>
                  <a:gd name="T1" fmla="*/ 0 h 5"/>
                  <a:gd name="T2" fmla="*/ 0 w 7"/>
                  <a:gd name="T3" fmla="*/ 2 h 5"/>
                  <a:gd name="T4" fmla="*/ 1 w 7"/>
                  <a:gd name="T5" fmla="*/ 3 h 5"/>
                  <a:gd name="T6" fmla="*/ 3 w 7"/>
                  <a:gd name="T7" fmla="*/ 3 h 5"/>
                  <a:gd name="T8" fmla="*/ 5 w 7"/>
                  <a:gd name="T9" fmla="*/ 5 h 5"/>
                  <a:gd name="T10" fmla="*/ 6 w 7"/>
                  <a:gd name="T11" fmla="*/ 5 h 5"/>
                  <a:gd name="T12" fmla="*/ 7 w 7"/>
                  <a:gd name="T13" fmla="*/ 5 h 5"/>
                  <a:gd name="T14" fmla="*/ 4 w 7"/>
                  <a:gd name="T15" fmla="*/ 2 h 5"/>
                  <a:gd name="T16" fmla="*/ 2 w 7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4"/>
                      <a:pt x="2" y="3"/>
                      <a:pt x="3" y="3"/>
                    </a:cubicBezTo>
                    <a:cubicBezTo>
                      <a:pt x="4" y="4"/>
                      <a:pt x="4" y="5"/>
                      <a:pt x="5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3"/>
                      <a:pt x="5" y="3"/>
                      <a:pt x="4" y="2"/>
                    </a:cubicBezTo>
                    <a:cubicBezTo>
                      <a:pt x="3" y="2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1" name="Freeform 61">
                <a:extLst>
                  <a:ext uri="{FF2B5EF4-FFF2-40B4-BE49-F238E27FC236}">
                    <a16:creationId xmlns:a16="http://schemas.microsoft.com/office/drawing/2014/main" xmlns="" id="{6FAE9147-AD8B-4B09-B8F6-BC76CAD51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3522" y="3727939"/>
                <a:ext cx="39510" cy="43107"/>
              </a:xfrm>
              <a:custGeom>
                <a:avLst/>
                <a:gdLst>
                  <a:gd name="T0" fmla="*/ 0 w 16"/>
                  <a:gd name="T1" fmla="*/ 7 h 17"/>
                  <a:gd name="T2" fmla="*/ 0 w 16"/>
                  <a:gd name="T3" fmla="*/ 7 h 17"/>
                  <a:gd name="T4" fmla="*/ 0 w 16"/>
                  <a:gd name="T5" fmla="*/ 9 h 17"/>
                  <a:gd name="T6" fmla="*/ 7 w 16"/>
                  <a:gd name="T7" fmla="*/ 17 h 17"/>
                  <a:gd name="T8" fmla="*/ 7 w 16"/>
                  <a:gd name="T9" fmla="*/ 16 h 17"/>
                  <a:gd name="T10" fmla="*/ 7 w 16"/>
                  <a:gd name="T11" fmla="*/ 14 h 17"/>
                  <a:gd name="T12" fmla="*/ 8 w 16"/>
                  <a:gd name="T13" fmla="*/ 11 h 17"/>
                  <a:gd name="T14" fmla="*/ 10 w 16"/>
                  <a:gd name="T15" fmla="*/ 11 h 17"/>
                  <a:gd name="T16" fmla="*/ 11 w 16"/>
                  <a:gd name="T17" fmla="*/ 9 h 17"/>
                  <a:gd name="T18" fmla="*/ 14 w 16"/>
                  <a:gd name="T19" fmla="*/ 8 h 17"/>
                  <a:gd name="T20" fmla="*/ 15 w 16"/>
                  <a:gd name="T21" fmla="*/ 5 h 17"/>
                  <a:gd name="T22" fmla="*/ 14 w 16"/>
                  <a:gd name="T23" fmla="*/ 1 h 17"/>
                  <a:gd name="T24" fmla="*/ 8 w 16"/>
                  <a:gd name="T25" fmla="*/ 1 h 17"/>
                  <a:gd name="T26" fmla="*/ 5 w 16"/>
                  <a:gd name="T27" fmla="*/ 6 h 17"/>
                  <a:gd name="T28" fmla="*/ 0 w 16"/>
                  <a:gd name="T29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17">
                    <a:moveTo>
                      <a:pt x="0" y="7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1" y="13"/>
                      <a:pt x="4" y="14"/>
                      <a:pt x="7" y="17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5"/>
                      <a:pt x="7" y="15"/>
                      <a:pt x="7" y="14"/>
                    </a:cubicBezTo>
                    <a:cubicBezTo>
                      <a:pt x="7" y="13"/>
                      <a:pt x="7" y="12"/>
                      <a:pt x="8" y="11"/>
                    </a:cubicBezTo>
                    <a:cubicBezTo>
                      <a:pt x="9" y="11"/>
                      <a:pt x="10" y="11"/>
                      <a:pt x="10" y="11"/>
                    </a:cubicBezTo>
                    <a:cubicBezTo>
                      <a:pt x="11" y="10"/>
                      <a:pt x="11" y="9"/>
                      <a:pt x="11" y="9"/>
                    </a:cubicBezTo>
                    <a:cubicBezTo>
                      <a:pt x="12" y="8"/>
                      <a:pt x="14" y="8"/>
                      <a:pt x="14" y="8"/>
                    </a:cubicBezTo>
                    <a:cubicBezTo>
                      <a:pt x="15" y="7"/>
                      <a:pt x="15" y="6"/>
                      <a:pt x="15" y="5"/>
                    </a:cubicBezTo>
                    <a:cubicBezTo>
                      <a:pt x="15" y="4"/>
                      <a:pt x="16" y="2"/>
                      <a:pt x="14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2"/>
                      <a:pt x="7" y="5"/>
                      <a:pt x="5" y="6"/>
                    </a:cubicBezTo>
                    <a:cubicBezTo>
                      <a:pt x="3" y="6"/>
                      <a:pt x="2" y="7"/>
                      <a:pt x="0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2" name="Freeform 64">
                <a:extLst>
                  <a:ext uri="{FF2B5EF4-FFF2-40B4-BE49-F238E27FC236}">
                    <a16:creationId xmlns:a16="http://schemas.microsoft.com/office/drawing/2014/main" xmlns="" id="{706C7035-B2F3-4B96-AC5F-5C63ACB2B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339" y="2129381"/>
                <a:ext cx="644131" cy="853761"/>
              </a:xfrm>
              <a:custGeom>
                <a:avLst/>
                <a:gdLst>
                  <a:gd name="T0" fmla="*/ 46 w 255"/>
                  <a:gd name="T1" fmla="*/ 318 h 338"/>
                  <a:gd name="T2" fmla="*/ 85 w 255"/>
                  <a:gd name="T3" fmla="*/ 327 h 338"/>
                  <a:gd name="T4" fmla="*/ 94 w 255"/>
                  <a:gd name="T5" fmla="*/ 331 h 338"/>
                  <a:gd name="T6" fmla="*/ 102 w 255"/>
                  <a:gd name="T7" fmla="*/ 338 h 338"/>
                  <a:gd name="T8" fmla="*/ 108 w 255"/>
                  <a:gd name="T9" fmla="*/ 330 h 338"/>
                  <a:gd name="T10" fmla="*/ 117 w 255"/>
                  <a:gd name="T11" fmla="*/ 328 h 338"/>
                  <a:gd name="T12" fmla="*/ 127 w 255"/>
                  <a:gd name="T13" fmla="*/ 335 h 338"/>
                  <a:gd name="T14" fmla="*/ 142 w 255"/>
                  <a:gd name="T15" fmla="*/ 333 h 338"/>
                  <a:gd name="T16" fmla="*/ 163 w 255"/>
                  <a:gd name="T17" fmla="*/ 326 h 338"/>
                  <a:gd name="T18" fmla="*/ 179 w 255"/>
                  <a:gd name="T19" fmla="*/ 336 h 338"/>
                  <a:gd name="T20" fmla="*/ 178 w 255"/>
                  <a:gd name="T21" fmla="*/ 310 h 338"/>
                  <a:gd name="T22" fmla="*/ 192 w 255"/>
                  <a:gd name="T23" fmla="*/ 306 h 338"/>
                  <a:gd name="T24" fmla="*/ 206 w 255"/>
                  <a:gd name="T25" fmla="*/ 295 h 338"/>
                  <a:gd name="T26" fmla="*/ 211 w 255"/>
                  <a:gd name="T27" fmla="*/ 278 h 338"/>
                  <a:gd name="T28" fmla="*/ 193 w 255"/>
                  <a:gd name="T29" fmla="*/ 255 h 338"/>
                  <a:gd name="T30" fmla="*/ 171 w 255"/>
                  <a:gd name="T31" fmla="*/ 214 h 338"/>
                  <a:gd name="T32" fmla="*/ 202 w 255"/>
                  <a:gd name="T33" fmla="*/ 202 h 338"/>
                  <a:gd name="T34" fmla="*/ 240 w 255"/>
                  <a:gd name="T35" fmla="*/ 188 h 338"/>
                  <a:gd name="T36" fmla="*/ 250 w 255"/>
                  <a:gd name="T37" fmla="*/ 160 h 338"/>
                  <a:gd name="T38" fmla="*/ 246 w 255"/>
                  <a:gd name="T39" fmla="*/ 132 h 338"/>
                  <a:gd name="T40" fmla="*/ 246 w 255"/>
                  <a:gd name="T41" fmla="*/ 117 h 338"/>
                  <a:gd name="T42" fmla="*/ 235 w 255"/>
                  <a:gd name="T43" fmla="*/ 111 h 338"/>
                  <a:gd name="T44" fmla="*/ 242 w 255"/>
                  <a:gd name="T45" fmla="*/ 92 h 338"/>
                  <a:gd name="T46" fmla="*/ 239 w 255"/>
                  <a:gd name="T47" fmla="*/ 73 h 338"/>
                  <a:gd name="T48" fmla="*/ 229 w 255"/>
                  <a:gd name="T49" fmla="*/ 54 h 338"/>
                  <a:gd name="T50" fmla="*/ 211 w 255"/>
                  <a:gd name="T51" fmla="*/ 41 h 338"/>
                  <a:gd name="T52" fmla="*/ 196 w 255"/>
                  <a:gd name="T53" fmla="*/ 47 h 338"/>
                  <a:gd name="T54" fmla="*/ 210 w 255"/>
                  <a:gd name="T55" fmla="*/ 38 h 338"/>
                  <a:gd name="T56" fmla="*/ 188 w 255"/>
                  <a:gd name="T57" fmla="*/ 48 h 338"/>
                  <a:gd name="T58" fmla="*/ 172 w 255"/>
                  <a:gd name="T59" fmla="*/ 53 h 338"/>
                  <a:gd name="T60" fmla="*/ 160 w 255"/>
                  <a:gd name="T61" fmla="*/ 52 h 338"/>
                  <a:gd name="T62" fmla="*/ 159 w 255"/>
                  <a:gd name="T63" fmla="*/ 44 h 338"/>
                  <a:gd name="T64" fmla="*/ 169 w 255"/>
                  <a:gd name="T65" fmla="*/ 32 h 338"/>
                  <a:gd name="T66" fmla="*/ 154 w 255"/>
                  <a:gd name="T67" fmla="*/ 38 h 338"/>
                  <a:gd name="T68" fmla="*/ 140 w 255"/>
                  <a:gd name="T69" fmla="*/ 35 h 338"/>
                  <a:gd name="T70" fmla="*/ 137 w 255"/>
                  <a:gd name="T71" fmla="*/ 17 h 338"/>
                  <a:gd name="T72" fmla="*/ 118 w 255"/>
                  <a:gd name="T73" fmla="*/ 7 h 338"/>
                  <a:gd name="T74" fmla="*/ 104 w 255"/>
                  <a:gd name="T75" fmla="*/ 9 h 338"/>
                  <a:gd name="T76" fmla="*/ 100 w 255"/>
                  <a:gd name="T77" fmla="*/ 28 h 338"/>
                  <a:gd name="T78" fmla="*/ 107 w 255"/>
                  <a:gd name="T79" fmla="*/ 41 h 338"/>
                  <a:gd name="T80" fmla="*/ 121 w 255"/>
                  <a:gd name="T81" fmla="*/ 60 h 338"/>
                  <a:gd name="T82" fmla="*/ 95 w 255"/>
                  <a:gd name="T83" fmla="*/ 50 h 338"/>
                  <a:gd name="T84" fmla="*/ 92 w 255"/>
                  <a:gd name="T85" fmla="*/ 79 h 338"/>
                  <a:gd name="T86" fmla="*/ 84 w 255"/>
                  <a:gd name="T87" fmla="*/ 69 h 338"/>
                  <a:gd name="T88" fmla="*/ 77 w 255"/>
                  <a:gd name="T89" fmla="*/ 53 h 338"/>
                  <a:gd name="T90" fmla="*/ 58 w 255"/>
                  <a:gd name="T91" fmla="*/ 59 h 338"/>
                  <a:gd name="T92" fmla="*/ 57 w 255"/>
                  <a:gd name="T93" fmla="*/ 71 h 338"/>
                  <a:gd name="T94" fmla="*/ 46 w 255"/>
                  <a:gd name="T95" fmla="*/ 92 h 338"/>
                  <a:gd name="T96" fmla="*/ 46 w 255"/>
                  <a:gd name="T97" fmla="*/ 102 h 338"/>
                  <a:gd name="T98" fmla="*/ 35 w 255"/>
                  <a:gd name="T99" fmla="*/ 118 h 338"/>
                  <a:gd name="T100" fmla="*/ 20 w 255"/>
                  <a:gd name="T101" fmla="*/ 126 h 338"/>
                  <a:gd name="T102" fmla="*/ 13 w 255"/>
                  <a:gd name="T103" fmla="*/ 143 h 338"/>
                  <a:gd name="T104" fmla="*/ 6 w 255"/>
                  <a:gd name="T105" fmla="*/ 173 h 338"/>
                  <a:gd name="T106" fmla="*/ 6 w 255"/>
                  <a:gd name="T107" fmla="*/ 191 h 338"/>
                  <a:gd name="T108" fmla="*/ 0 w 255"/>
                  <a:gd name="T109" fmla="*/ 201 h 338"/>
                  <a:gd name="T110" fmla="*/ 7 w 255"/>
                  <a:gd name="T111" fmla="*/ 211 h 338"/>
                  <a:gd name="T112" fmla="*/ 7 w 255"/>
                  <a:gd name="T113" fmla="*/ 221 h 338"/>
                  <a:gd name="T114" fmla="*/ 17 w 255"/>
                  <a:gd name="T115" fmla="*/ 236 h 338"/>
                  <a:gd name="T116" fmla="*/ 36 w 255"/>
                  <a:gd name="T117" fmla="*/ 248 h 338"/>
                  <a:gd name="T118" fmla="*/ 51 w 255"/>
                  <a:gd name="T119" fmla="*/ 261 h 338"/>
                  <a:gd name="T120" fmla="*/ 38 w 255"/>
                  <a:gd name="T121" fmla="*/ 277 h 338"/>
                  <a:gd name="T122" fmla="*/ 27 w 255"/>
                  <a:gd name="T123" fmla="*/ 307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5" h="338">
                    <a:moveTo>
                      <a:pt x="28" y="314"/>
                    </a:moveTo>
                    <a:cubicBezTo>
                      <a:pt x="29" y="316"/>
                      <a:pt x="30" y="318"/>
                      <a:pt x="32" y="318"/>
                    </a:cubicBezTo>
                    <a:cubicBezTo>
                      <a:pt x="33" y="318"/>
                      <a:pt x="34" y="316"/>
                      <a:pt x="35" y="316"/>
                    </a:cubicBezTo>
                    <a:cubicBezTo>
                      <a:pt x="36" y="316"/>
                      <a:pt x="37" y="317"/>
                      <a:pt x="38" y="317"/>
                    </a:cubicBezTo>
                    <a:cubicBezTo>
                      <a:pt x="39" y="317"/>
                      <a:pt x="40" y="316"/>
                      <a:pt x="41" y="316"/>
                    </a:cubicBezTo>
                    <a:cubicBezTo>
                      <a:pt x="43" y="316"/>
                      <a:pt x="43" y="317"/>
                      <a:pt x="44" y="318"/>
                    </a:cubicBezTo>
                    <a:cubicBezTo>
                      <a:pt x="45" y="318"/>
                      <a:pt x="45" y="318"/>
                      <a:pt x="46" y="318"/>
                    </a:cubicBezTo>
                    <a:cubicBezTo>
                      <a:pt x="48" y="318"/>
                      <a:pt x="49" y="319"/>
                      <a:pt x="51" y="319"/>
                    </a:cubicBezTo>
                    <a:cubicBezTo>
                      <a:pt x="53" y="319"/>
                      <a:pt x="53" y="319"/>
                      <a:pt x="53" y="319"/>
                    </a:cubicBezTo>
                    <a:cubicBezTo>
                      <a:pt x="54" y="316"/>
                      <a:pt x="54" y="314"/>
                      <a:pt x="55" y="311"/>
                    </a:cubicBezTo>
                    <a:cubicBezTo>
                      <a:pt x="56" y="310"/>
                      <a:pt x="56" y="310"/>
                      <a:pt x="56" y="310"/>
                    </a:cubicBezTo>
                    <a:cubicBezTo>
                      <a:pt x="61" y="314"/>
                      <a:pt x="65" y="315"/>
                      <a:pt x="71" y="317"/>
                    </a:cubicBezTo>
                    <a:cubicBezTo>
                      <a:pt x="74" y="318"/>
                      <a:pt x="75" y="321"/>
                      <a:pt x="78" y="323"/>
                    </a:cubicBezTo>
                    <a:cubicBezTo>
                      <a:pt x="80" y="326"/>
                      <a:pt x="82" y="326"/>
                      <a:pt x="85" y="327"/>
                    </a:cubicBezTo>
                    <a:cubicBezTo>
                      <a:pt x="86" y="327"/>
                      <a:pt x="86" y="326"/>
                      <a:pt x="88" y="326"/>
                    </a:cubicBezTo>
                    <a:cubicBezTo>
                      <a:pt x="88" y="326"/>
                      <a:pt x="89" y="326"/>
                      <a:pt x="89" y="326"/>
                    </a:cubicBezTo>
                    <a:cubicBezTo>
                      <a:pt x="90" y="326"/>
                      <a:pt x="90" y="326"/>
                      <a:pt x="90" y="327"/>
                    </a:cubicBezTo>
                    <a:cubicBezTo>
                      <a:pt x="91" y="327"/>
                      <a:pt x="91" y="327"/>
                      <a:pt x="92" y="328"/>
                    </a:cubicBezTo>
                    <a:cubicBezTo>
                      <a:pt x="92" y="328"/>
                      <a:pt x="92" y="328"/>
                      <a:pt x="93" y="328"/>
                    </a:cubicBezTo>
                    <a:cubicBezTo>
                      <a:pt x="93" y="329"/>
                      <a:pt x="93" y="329"/>
                      <a:pt x="93" y="329"/>
                    </a:cubicBezTo>
                    <a:cubicBezTo>
                      <a:pt x="94" y="330"/>
                      <a:pt x="94" y="330"/>
                      <a:pt x="94" y="331"/>
                    </a:cubicBezTo>
                    <a:cubicBezTo>
                      <a:pt x="95" y="331"/>
                      <a:pt x="95" y="332"/>
                      <a:pt x="95" y="332"/>
                    </a:cubicBezTo>
                    <a:cubicBezTo>
                      <a:pt x="96" y="332"/>
                      <a:pt x="96" y="332"/>
                      <a:pt x="96" y="332"/>
                    </a:cubicBezTo>
                    <a:cubicBezTo>
                      <a:pt x="97" y="332"/>
                      <a:pt x="97" y="333"/>
                      <a:pt x="97" y="333"/>
                    </a:cubicBezTo>
                    <a:cubicBezTo>
                      <a:pt x="97" y="333"/>
                      <a:pt x="98" y="333"/>
                      <a:pt x="98" y="334"/>
                    </a:cubicBezTo>
                    <a:cubicBezTo>
                      <a:pt x="99" y="335"/>
                      <a:pt x="99" y="336"/>
                      <a:pt x="100" y="337"/>
                    </a:cubicBezTo>
                    <a:cubicBezTo>
                      <a:pt x="100" y="337"/>
                      <a:pt x="100" y="337"/>
                      <a:pt x="101" y="337"/>
                    </a:cubicBezTo>
                    <a:cubicBezTo>
                      <a:pt x="101" y="338"/>
                      <a:pt x="101" y="338"/>
                      <a:pt x="102" y="338"/>
                    </a:cubicBezTo>
                    <a:cubicBezTo>
                      <a:pt x="103" y="338"/>
                      <a:pt x="104" y="338"/>
                      <a:pt x="105" y="338"/>
                    </a:cubicBezTo>
                    <a:cubicBezTo>
                      <a:pt x="105" y="338"/>
                      <a:pt x="106" y="338"/>
                      <a:pt x="106" y="338"/>
                    </a:cubicBezTo>
                    <a:cubicBezTo>
                      <a:pt x="107" y="337"/>
                      <a:pt x="107" y="337"/>
                      <a:pt x="107" y="336"/>
                    </a:cubicBezTo>
                    <a:cubicBezTo>
                      <a:pt x="107" y="336"/>
                      <a:pt x="107" y="336"/>
                      <a:pt x="107" y="335"/>
                    </a:cubicBezTo>
                    <a:cubicBezTo>
                      <a:pt x="107" y="333"/>
                      <a:pt x="107" y="333"/>
                      <a:pt x="107" y="333"/>
                    </a:cubicBezTo>
                    <a:cubicBezTo>
                      <a:pt x="107" y="333"/>
                      <a:pt x="107" y="333"/>
                      <a:pt x="107" y="332"/>
                    </a:cubicBezTo>
                    <a:cubicBezTo>
                      <a:pt x="108" y="332"/>
                      <a:pt x="108" y="331"/>
                      <a:pt x="108" y="330"/>
                    </a:cubicBezTo>
                    <a:cubicBezTo>
                      <a:pt x="108" y="330"/>
                      <a:pt x="108" y="329"/>
                      <a:pt x="108" y="329"/>
                    </a:cubicBezTo>
                    <a:cubicBezTo>
                      <a:pt x="108" y="328"/>
                      <a:pt x="108" y="328"/>
                      <a:pt x="109" y="328"/>
                    </a:cubicBezTo>
                    <a:cubicBezTo>
                      <a:pt x="109" y="328"/>
                      <a:pt x="109" y="328"/>
                      <a:pt x="109" y="328"/>
                    </a:cubicBezTo>
                    <a:cubicBezTo>
                      <a:pt x="110" y="328"/>
                      <a:pt x="110" y="328"/>
                      <a:pt x="111" y="328"/>
                    </a:cubicBezTo>
                    <a:cubicBezTo>
                      <a:pt x="112" y="328"/>
                      <a:pt x="112" y="328"/>
                      <a:pt x="114" y="328"/>
                    </a:cubicBezTo>
                    <a:cubicBezTo>
                      <a:pt x="114" y="328"/>
                      <a:pt x="115" y="327"/>
                      <a:pt x="115" y="327"/>
                    </a:cubicBezTo>
                    <a:cubicBezTo>
                      <a:pt x="116" y="327"/>
                      <a:pt x="116" y="328"/>
                      <a:pt x="117" y="328"/>
                    </a:cubicBezTo>
                    <a:cubicBezTo>
                      <a:pt x="117" y="329"/>
                      <a:pt x="118" y="329"/>
                      <a:pt x="118" y="329"/>
                    </a:cubicBezTo>
                    <a:cubicBezTo>
                      <a:pt x="118" y="330"/>
                      <a:pt x="119" y="331"/>
                      <a:pt x="119" y="332"/>
                    </a:cubicBezTo>
                    <a:cubicBezTo>
                      <a:pt x="120" y="332"/>
                      <a:pt x="120" y="333"/>
                      <a:pt x="121" y="334"/>
                    </a:cubicBezTo>
                    <a:cubicBezTo>
                      <a:pt x="122" y="335"/>
                      <a:pt x="123" y="334"/>
                      <a:pt x="124" y="335"/>
                    </a:cubicBezTo>
                    <a:cubicBezTo>
                      <a:pt x="124" y="335"/>
                      <a:pt x="124" y="335"/>
                      <a:pt x="124" y="335"/>
                    </a:cubicBezTo>
                    <a:cubicBezTo>
                      <a:pt x="124" y="335"/>
                      <a:pt x="124" y="335"/>
                      <a:pt x="124" y="335"/>
                    </a:cubicBezTo>
                    <a:cubicBezTo>
                      <a:pt x="125" y="335"/>
                      <a:pt x="125" y="335"/>
                      <a:pt x="127" y="335"/>
                    </a:cubicBezTo>
                    <a:cubicBezTo>
                      <a:pt x="127" y="335"/>
                      <a:pt x="128" y="335"/>
                      <a:pt x="129" y="335"/>
                    </a:cubicBezTo>
                    <a:cubicBezTo>
                      <a:pt x="129" y="335"/>
                      <a:pt x="130" y="335"/>
                      <a:pt x="130" y="335"/>
                    </a:cubicBezTo>
                    <a:cubicBezTo>
                      <a:pt x="131" y="335"/>
                      <a:pt x="131" y="335"/>
                      <a:pt x="132" y="334"/>
                    </a:cubicBezTo>
                    <a:cubicBezTo>
                      <a:pt x="132" y="334"/>
                      <a:pt x="132" y="334"/>
                      <a:pt x="133" y="334"/>
                    </a:cubicBezTo>
                    <a:cubicBezTo>
                      <a:pt x="135" y="333"/>
                      <a:pt x="136" y="332"/>
                      <a:pt x="139" y="332"/>
                    </a:cubicBezTo>
                    <a:cubicBezTo>
                      <a:pt x="139" y="332"/>
                      <a:pt x="139" y="332"/>
                      <a:pt x="140" y="332"/>
                    </a:cubicBezTo>
                    <a:cubicBezTo>
                      <a:pt x="141" y="333"/>
                      <a:pt x="141" y="333"/>
                      <a:pt x="142" y="333"/>
                    </a:cubicBezTo>
                    <a:cubicBezTo>
                      <a:pt x="146" y="333"/>
                      <a:pt x="148" y="332"/>
                      <a:pt x="152" y="332"/>
                    </a:cubicBezTo>
                    <a:cubicBezTo>
                      <a:pt x="155" y="332"/>
                      <a:pt x="155" y="332"/>
                      <a:pt x="155" y="332"/>
                    </a:cubicBezTo>
                    <a:cubicBezTo>
                      <a:pt x="156" y="332"/>
                      <a:pt x="157" y="332"/>
                      <a:pt x="157" y="331"/>
                    </a:cubicBezTo>
                    <a:cubicBezTo>
                      <a:pt x="158" y="331"/>
                      <a:pt x="158" y="330"/>
                      <a:pt x="159" y="329"/>
                    </a:cubicBezTo>
                    <a:cubicBezTo>
                      <a:pt x="159" y="328"/>
                      <a:pt x="160" y="328"/>
                      <a:pt x="160" y="327"/>
                    </a:cubicBezTo>
                    <a:cubicBezTo>
                      <a:pt x="160" y="326"/>
                      <a:pt x="160" y="325"/>
                      <a:pt x="161" y="325"/>
                    </a:cubicBezTo>
                    <a:cubicBezTo>
                      <a:pt x="162" y="325"/>
                      <a:pt x="162" y="326"/>
                      <a:pt x="163" y="326"/>
                    </a:cubicBezTo>
                    <a:cubicBezTo>
                      <a:pt x="164" y="327"/>
                      <a:pt x="165" y="327"/>
                      <a:pt x="166" y="328"/>
                    </a:cubicBezTo>
                    <a:cubicBezTo>
                      <a:pt x="167" y="328"/>
                      <a:pt x="167" y="328"/>
                      <a:pt x="167" y="328"/>
                    </a:cubicBezTo>
                    <a:cubicBezTo>
                      <a:pt x="169" y="329"/>
                      <a:pt x="170" y="329"/>
                      <a:pt x="171" y="329"/>
                    </a:cubicBezTo>
                    <a:cubicBezTo>
                      <a:pt x="173" y="330"/>
                      <a:pt x="174" y="331"/>
                      <a:pt x="176" y="333"/>
                    </a:cubicBezTo>
                    <a:cubicBezTo>
                      <a:pt x="176" y="333"/>
                      <a:pt x="176" y="333"/>
                      <a:pt x="177" y="334"/>
                    </a:cubicBezTo>
                    <a:cubicBezTo>
                      <a:pt x="177" y="334"/>
                      <a:pt x="178" y="334"/>
                      <a:pt x="178" y="335"/>
                    </a:cubicBezTo>
                    <a:cubicBezTo>
                      <a:pt x="178" y="335"/>
                      <a:pt x="178" y="336"/>
                      <a:pt x="179" y="336"/>
                    </a:cubicBezTo>
                    <a:cubicBezTo>
                      <a:pt x="181" y="336"/>
                      <a:pt x="181" y="335"/>
                      <a:pt x="182" y="334"/>
                    </a:cubicBezTo>
                    <a:cubicBezTo>
                      <a:pt x="183" y="334"/>
                      <a:pt x="183" y="334"/>
                      <a:pt x="183" y="333"/>
                    </a:cubicBezTo>
                    <a:cubicBezTo>
                      <a:pt x="184" y="333"/>
                      <a:pt x="185" y="333"/>
                      <a:pt x="185" y="332"/>
                    </a:cubicBezTo>
                    <a:cubicBezTo>
                      <a:pt x="185" y="331"/>
                      <a:pt x="184" y="331"/>
                      <a:pt x="184" y="330"/>
                    </a:cubicBezTo>
                    <a:cubicBezTo>
                      <a:pt x="183" y="328"/>
                      <a:pt x="183" y="327"/>
                      <a:pt x="182" y="325"/>
                    </a:cubicBezTo>
                    <a:cubicBezTo>
                      <a:pt x="181" y="323"/>
                      <a:pt x="181" y="321"/>
                      <a:pt x="181" y="319"/>
                    </a:cubicBezTo>
                    <a:cubicBezTo>
                      <a:pt x="179" y="315"/>
                      <a:pt x="179" y="313"/>
                      <a:pt x="178" y="310"/>
                    </a:cubicBezTo>
                    <a:cubicBezTo>
                      <a:pt x="178" y="308"/>
                      <a:pt x="178" y="308"/>
                      <a:pt x="178" y="307"/>
                    </a:cubicBezTo>
                    <a:cubicBezTo>
                      <a:pt x="178" y="306"/>
                      <a:pt x="178" y="306"/>
                      <a:pt x="178" y="306"/>
                    </a:cubicBezTo>
                    <a:cubicBezTo>
                      <a:pt x="179" y="306"/>
                      <a:pt x="179" y="306"/>
                      <a:pt x="180" y="306"/>
                    </a:cubicBezTo>
                    <a:cubicBezTo>
                      <a:pt x="181" y="306"/>
                      <a:pt x="181" y="307"/>
                      <a:pt x="181" y="307"/>
                    </a:cubicBezTo>
                    <a:cubicBezTo>
                      <a:pt x="189" y="307"/>
                      <a:pt x="189" y="307"/>
                      <a:pt x="189" y="307"/>
                    </a:cubicBezTo>
                    <a:cubicBezTo>
                      <a:pt x="189" y="307"/>
                      <a:pt x="189" y="306"/>
                      <a:pt x="190" y="306"/>
                    </a:cubicBezTo>
                    <a:cubicBezTo>
                      <a:pt x="191" y="306"/>
                      <a:pt x="191" y="306"/>
                      <a:pt x="192" y="306"/>
                    </a:cubicBezTo>
                    <a:cubicBezTo>
                      <a:pt x="193" y="306"/>
                      <a:pt x="194" y="306"/>
                      <a:pt x="195" y="305"/>
                    </a:cubicBezTo>
                    <a:cubicBezTo>
                      <a:pt x="196" y="304"/>
                      <a:pt x="196" y="304"/>
                      <a:pt x="197" y="304"/>
                    </a:cubicBezTo>
                    <a:cubicBezTo>
                      <a:pt x="198" y="302"/>
                      <a:pt x="199" y="301"/>
                      <a:pt x="199" y="299"/>
                    </a:cubicBezTo>
                    <a:cubicBezTo>
                      <a:pt x="199" y="298"/>
                      <a:pt x="199" y="297"/>
                      <a:pt x="200" y="297"/>
                    </a:cubicBezTo>
                    <a:cubicBezTo>
                      <a:pt x="200" y="296"/>
                      <a:pt x="201" y="295"/>
                      <a:pt x="201" y="295"/>
                    </a:cubicBezTo>
                    <a:cubicBezTo>
                      <a:pt x="202" y="295"/>
                      <a:pt x="202" y="295"/>
                      <a:pt x="203" y="295"/>
                    </a:cubicBezTo>
                    <a:cubicBezTo>
                      <a:pt x="204" y="295"/>
                      <a:pt x="205" y="295"/>
                      <a:pt x="206" y="295"/>
                    </a:cubicBezTo>
                    <a:cubicBezTo>
                      <a:pt x="207" y="295"/>
                      <a:pt x="207" y="295"/>
                      <a:pt x="208" y="294"/>
                    </a:cubicBezTo>
                    <a:cubicBezTo>
                      <a:pt x="209" y="293"/>
                      <a:pt x="209" y="292"/>
                      <a:pt x="209" y="291"/>
                    </a:cubicBezTo>
                    <a:cubicBezTo>
                      <a:pt x="210" y="289"/>
                      <a:pt x="210" y="289"/>
                      <a:pt x="210" y="288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2" y="285"/>
                      <a:pt x="212" y="284"/>
                      <a:pt x="213" y="283"/>
                    </a:cubicBezTo>
                    <a:cubicBezTo>
                      <a:pt x="213" y="282"/>
                      <a:pt x="212" y="281"/>
                      <a:pt x="212" y="280"/>
                    </a:cubicBezTo>
                    <a:cubicBezTo>
                      <a:pt x="211" y="279"/>
                      <a:pt x="211" y="279"/>
                      <a:pt x="211" y="278"/>
                    </a:cubicBezTo>
                    <a:cubicBezTo>
                      <a:pt x="211" y="277"/>
                      <a:pt x="210" y="277"/>
                      <a:pt x="210" y="276"/>
                    </a:cubicBezTo>
                    <a:cubicBezTo>
                      <a:pt x="209" y="275"/>
                      <a:pt x="209" y="274"/>
                      <a:pt x="208" y="273"/>
                    </a:cubicBezTo>
                    <a:cubicBezTo>
                      <a:pt x="207" y="273"/>
                      <a:pt x="206" y="272"/>
                      <a:pt x="206" y="272"/>
                    </a:cubicBezTo>
                    <a:cubicBezTo>
                      <a:pt x="204" y="271"/>
                      <a:pt x="204" y="270"/>
                      <a:pt x="203" y="269"/>
                    </a:cubicBezTo>
                    <a:cubicBezTo>
                      <a:pt x="203" y="267"/>
                      <a:pt x="203" y="266"/>
                      <a:pt x="201" y="264"/>
                    </a:cubicBezTo>
                    <a:cubicBezTo>
                      <a:pt x="200" y="262"/>
                      <a:pt x="198" y="261"/>
                      <a:pt x="196" y="259"/>
                    </a:cubicBezTo>
                    <a:cubicBezTo>
                      <a:pt x="195" y="258"/>
                      <a:pt x="194" y="257"/>
                      <a:pt x="193" y="255"/>
                    </a:cubicBezTo>
                    <a:cubicBezTo>
                      <a:pt x="191" y="253"/>
                      <a:pt x="190" y="252"/>
                      <a:pt x="188" y="249"/>
                    </a:cubicBezTo>
                    <a:cubicBezTo>
                      <a:pt x="187" y="247"/>
                      <a:pt x="186" y="246"/>
                      <a:pt x="184" y="244"/>
                    </a:cubicBezTo>
                    <a:cubicBezTo>
                      <a:pt x="183" y="243"/>
                      <a:pt x="183" y="241"/>
                      <a:pt x="181" y="240"/>
                    </a:cubicBezTo>
                    <a:cubicBezTo>
                      <a:pt x="179" y="238"/>
                      <a:pt x="177" y="236"/>
                      <a:pt x="177" y="233"/>
                    </a:cubicBezTo>
                    <a:cubicBezTo>
                      <a:pt x="177" y="227"/>
                      <a:pt x="177" y="227"/>
                      <a:pt x="177" y="227"/>
                    </a:cubicBezTo>
                    <a:cubicBezTo>
                      <a:pt x="177" y="225"/>
                      <a:pt x="177" y="224"/>
                      <a:pt x="176" y="222"/>
                    </a:cubicBezTo>
                    <a:cubicBezTo>
                      <a:pt x="175" y="219"/>
                      <a:pt x="174" y="217"/>
                      <a:pt x="171" y="214"/>
                    </a:cubicBezTo>
                    <a:cubicBezTo>
                      <a:pt x="171" y="214"/>
                      <a:pt x="171" y="214"/>
                      <a:pt x="171" y="213"/>
                    </a:cubicBezTo>
                    <a:cubicBezTo>
                      <a:pt x="172" y="213"/>
                      <a:pt x="174" y="213"/>
                      <a:pt x="175" y="213"/>
                    </a:cubicBezTo>
                    <a:cubicBezTo>
                      <a:pt x="176" y="213"/>
                      <a:pt x="177" y="212"/>
                      <a:pt x="178" y="212"/>
                    </a:cubicBezTo>
                    <a:cubicBezTo>
                      <a:pt x="181" y="210"/>
                      <a:pt x="183" y="210"/>
                      <a:pt x="186" y="209"/>
                    </a:cubicBezTo>
                    <a:cubicBezTo>
                      <a:pt x="190" y="208"/>
                      <a:pt x="192" y="207"/>
                      <a:pt x="196" y="205"/>
                    </a:cubicBezTo>
                    <a:cubicBezTo>
                      <a:pt x="197" y="205"/>
                      <a:pt x="198" y="204"/>
                      <a:pt x="199" y="203"/>
                    </a:cubicBezTo>
                    <a:cubicBezTo>
                      <a:pt x="200" y="202"/>
                      <a:pt x="201" y="202"/>
                      <a:pt x="202" y="202"/>
                    </a:cubicBezTo>
                    <a:cubicBezTo>
                      <a:pt x="203" y="201"/>
                      <a:pt x="203" y="201"/>
                      <a:pt x="204" y="200"/>
                    </a:cubicBezTo>
                    <a:cubicBezTo>
                      <a:pt x="209" y="199"/>
                      <a:pt x="209" y="199"/>
                      <a:pt x="209" y="199"/>
                    </a:cubicBezTo>
                    <a:cubicBezTo>
                      <a:pt x="214" y="197"/>
                      <a:pt x="217" y="197"/>
                      <a:pt x="221" y="194"/>
                    </a:cubicBezTo>
                    <a:cubicBezTo>
                      <a:pt x="224" y="193"/>
                      <a:pt x="226" y="191"/>
                      <a:pt x="229" y="191"/>
                    </a:cubicBezTo>
                    <a:cubicBezTo>
                      <a:pt x="233" y="190"/>
                      <a:pt x="236" y="189"/>
                      <a:pt x="237" y="185"/>
                    </a:cubicBezTo>
                    <a:cubicBezTo>
                      <a:pt x="238" y="186"/>
                      <a:pt x="238" y="187"/>
                      <a:pt x="239" y="188"/>
                    </a:cubicBezTo>
                    <a:cubicBezTo>
                      <a:pt x="239" y="188"/>
                      <a:pt x="240" y="188"/>
                      <a:pt x="240" y="188"/>
                    </a:cubicBezTo>
                    <a:cubicBezTo>
                      <a:pt x="242" y="190"/>
                      <a:pt x="242" y="192"/>
                      <a:pt x="244" y="193"/>
                    </a:cubicBezTo>
                    <a:cubicBezTo>
                      <a:pt x="245" y="190"/>
                      <a:pt x="246" y="189"/>
                      <a:pt x="248" y="186"/>
                    </a:cubicBezTo>
                    <a:cubicBezTo>
                      <a:pt x="250" y="184"/>
                      <a:pt x="251" y="183"/>
                      <a:pt x="253" y="180"/>
                    </a:cubicBezTo>
                    <a:cubicBezTo>
                      <a:pt x="253" y="179"/>
                      <a:pt x="253" y="177"/>
                      <a:pt x="254" y="176"/>
                    </a:cubicBezTo>
                    <a:cubicBezTo>
                      <a:pt x="254" y="174"/>
                      <a:pt x="255" y="172"/>
                      <a:pt x="255" y="170"/>
                    </a:cubicBezTo>
                    <a:cubicBezTo>
                      <a:pt x="255" y="167"/>
                      <a:pt x="254" y="166"/>
                      <a:pt x="252" y="163"/>
                    </a:cubicBezTo>
                    <a:cubicBezTo>
                      <a:pt x="251" y="162"/>
                      <a:pt x="250" y="162"/>
                      <a:pt x="250" y="160"/>
                    </a:cubicBezTo>
                    <a:cubicBezTo>
                      <a:pt x="250" y="160"/>
                      <a:pt x="250" y="160"/>
                      <a:pt x="250" y="159"/>
                    </a:cubicBezTo>
                    <a:cubicBezTo>
                      <a:pt x="249" y="157"/>
                      <a:pt x="249" y="156"/>
                      <a:pt x="249" y="154"/>
                    </a:cubicBezTo>
                    <a:cubicBezTo>
                      <a:pt x="249" y="151"/>
                      <a:pt x="250" y="150"/>
                      <a:pt x="250" y="147"/>
                    </a:cubicBezTo>
                    <a:cubicBezTo>
                      <a:pt x="250" y="143"/>
                      <a:pt x="247" y="142"/>
                      <a:pt x="246" y="139"/>
                    </a:cubicBezTo>
                    <a:cubicBezTo>
                      <a:pt x="246" y="139"/>
                      <a:pt x="246" y="139"/>
                      <a:pt x="246" y="139"/>
                    </a:cubicBezTo>
                    <a:cubicBezTo>
                      <a:pt x="246" y="138"/>
                      <a:pt x="246" y="137"/>
                      <a:pt x="245" y="136"/>
                    </a:cubicBezTo>
                    <a:cubicBezTo>
                      <a:pt x="246" y="132"/>
                      <a:pt x="246" y="132"/>
                      <a:pt x="246" y="132"/>
                    </a:cubicBezTo>
                    <a:cubicBezTo>
                      <a:pt x="246" y="131"/>
                      <a:pt x="246" y="130"/>
                      <a:pt x="245" y="129"/>
                    </a:cubicBezTo>
                    <a:cubicBezTo>
                      <a:pt x="245" y="128"/>
                      <a:pt x="244" y="128"/>
                      <a:pt x="244" y="127"/>
                    </a:cubicBezTo>
                    <a:cubicBezTo>
                      <a:pt x="244" y="126"/>
                      <a:pt x="245" y="125"/>
                      <a:pt x="245" y="125"/>
                    </a:cubicBezTo>
                    <a:cubicBezTo>
                      <a:pt x="246" y="124"/>
                      <a:pt x="246" y="124"/>
                      <a:pt x="246" y="124"/>
                    </a:cubicBezTo>
                    <a:cubicBezTo>
                      <a:pt x="247" y="124"/>
                      <a:pt x="247" y="124"/>
                      <a:pt x="248" y="123"/>
                    </a:cubicBezTo>
                    <a:cubicBezTo>
                      <a:pt x="248" y="123"/>
                      <a:pt x="248" y="122"/>
                      <a:pt x="248" y="122"/>
                    </a:cubicBezTo>
                    <a:cubicBezTo>
                      <a:pt x="248" y="120"/>
                      <a:pt x="247" y="119"/>
                      <a:pt x="246" y="117"/>
                    </a:cubicBezTo>
                    <a:cubicBezTo>
                      <a:pt x="245" y="117"/>
                      <a:pt x="245" y="117"/>
                      <a:pt x="244" y="116"/>
                    </a:cubicBezTo>
                    <a:cubicBezTo>
                      <a:pt x="243" y="116"/>
                      <a:pt x="243" y="115"/>
                      <a:pt x="242" y="115"/>
                    </a:cubicBezTo>
                    <a:cubicBezTo>
                      <a:pt x="242" y="115"/>
                      <a:pt x="241" y="115"/>
                      <a:pt x="241" y="114"/>
                    </a:cubicBezTo>
                    <a:cubicBezTo>
                      <a:pt x="240" y="114"/>
                      <a:pt x="240" y="113"/>
                      <a:pt x="239" y="112"/>
                    </a:cubicBezTo>
                    <a:cubicBezTo>
                      <a:pt x="238" y="112"/>
                      <a:pt x="238" y="112"/>
                      <a:pt x="237" y="112"/>
                    </a:cubicBezTo>
                    <a:cubicBezTo>
                      <a:pt x="237" y="111"/>
                      <a:pt x="236" y="111"/>
                      <a:pt x="236" y="111"/>
                    </a:cubicBezTo>
                    <a:cubicBezTo>
                      <a:pt x="236" y="111"/>
                      <a:pt x="235" y="111"/>
                      <a:pt x="235" y="111"/>
                    </a:cubicBezTo>
                    <a:cubicBezTo>
                      <a:pt x="234" y="110"/>
                      <a:pt x="234" y="109"/>
                      <a:pt x="234" y="108"/>
                    </a:cubicBezTo>
                    <a:cubicBezTo>
                      <a:pt x="234" y="108"/>
                      <a:pt x="233" y="108"/>
                      <a:pt x="233" y="108"/>
                    </a:cubicBezTo>
                    <a:cubicBezTo>
                      <a:pt x="233" y="107"/>
                      <a:pt x="234" y="106"/>
                      <a:pt x="235" y="105"/>
                    </a:cubicBezTo>
                    <a:cubicBezTo>
                      <a:pt x="236" y="104"/>
                      <a:pt x="236" y="103"/>
                      <a:pt x="237" y="102"/>
                    </a:cubicBezTo>
                    <a:cubicBezTo>
                      <a:pt x="238" y="102"/>
                      <a:pt x="239" y="102"/>
                      <a:pt x="239" y="101"/>
                    </a:cubicBezTo>
                    <a:cubicBezTo>
                      <a:pt x="240" y="99"/>
                      <a:pt x="240" y="98"/>
                      <a:pt x="241" y="96"/>
                    </a:cubicBezTo>
                    <a:cubicBezTo>
                      <a:pt x="241" y="95"/>
                      <a:pt x="242" y="94"/>
                      <a:pt x="242" y="92"/>
                    </a:cubicBezTo>
                    <a:cubicBezTo>
                      <a:pt x="242" y="90"/>
                      <a:pt x="242" y="89"/>
                      <a:pt x="242" y="87"/>
                    </a:cubicBezTo>
                    <a:cubicBezTo>
                      <a:pt x="242" y="85"/>
                      <a:pt x="241" y="85"/>
                      <a:pt x="241" y="83"/>
                    </a:cubicBezTo>
                    <a:cubicBezTo>
                      <a:pt x="241" y="82"/>
                      <a:pt x="240" y="82"/>
                      <a:pt x="240" y="81"/>
                    </a:cubicBezTo>
                    <a:cubicBezTo>
                      <a:pt x="240" y="79"/>
                      <a:pt x="240" y="78"/>
                      <a:pt x="240" y="76"/>
                    </a:cubicBezTo>
                    <a:cubicBezTo>
                      <a:pt x="240" y="74"/>
                      <a:pt x="240" y="73"/>
                      <a:pt x="241" y="72"/>
                    </a:cubicBezTo>
                    <a:cubicBezTo>
                      <a:pt x="241" y="72"/>
                      <a:pt x="240" y="72"/>
                      <a:pt x="240" y="72"/>
                    </a:cubicBezTo>
                    <a:cubicBezTo>
                      <a:pt x="240" y="72"/>
                      <a:pt x="239" y="73"/>
                      <a:pt x="239" y="73"/>
                    </a:cubicBezTo>
                    <a:cubicBezTo>
                      <a:pt x="238" y="72"/>
                      <a:pt x="238" y="71"/>
                      <a:pt x="237" y="69"/>
                    </a:cubicBezTo>
                    <a:cubicBezTo>
                      <a:pt x="236" y="70"/>
                      <a:pt x="236" y="70"/>
                      <a:pt x="234" y="70"/>
                    </a:cubicBezTo>
                    <a:cubicBezTo>
                      <a:pt x="233" y="70"/>
                      <a:pt x="232" y="69"/>
                      <a:pt x="231" y="68"/>
                    </a:cubicBezTo>
                    <a:cubicBezTo>
                      <a:pt x="229" y="66"/>
                      <a:pt x="228" y="65"/>
                      <a:pt x="227" y="63"/>
                    </a:cubicBezTo>
                    <a:cubicBezTo>
                      <a:pt x="229" y="63"/>
                      <a:pt x="231" y="62"/>
                      <a:pt x="231" y="60"/>
                    </a:cubicBezTo>
                    <a:cubicBezTo>
                      <a:pt x="231" y="58"/>
                      <a:pt x="229" y="57"/>
                      <a:pt x="228" y="55"/>
                    </a:cubicBezTo>
                    <a:cubicBezTo>
                      <a:pt x="228" y="55"/>
                      <a:pt x="229" y="55"/>
                      <a:pt x="229" y="54"/>
                    </a:cubicBezTo>
                    <a:cubicBezTo>
                      <a:pt x="229" y="53"/>
                      <a:pt x="228" y="52"/>
                      <a:pt x="228" y="51"/>
                    </a:cubicBezTo>
                    <a:cubicBezTo>
                      <a:pt x="228" y="50"/>
                      <a:pt x="228" y="49"/>
                      <a:pt x="227" y="49"/>
                    </a:cubicBezTo>
                    <a:cubicBezTo>
                      <a:pt x="225" y="49"/>
                      <a:pt x="225" y="50"/>
                      <a:pt x="223" y="50"/>
                    </a:cubicBezTo>
                    <a:cubicBezTo>
                      <a:pt x="223" y="51"/>
                      <a:pt x="223" y="52"/>
                      <a:pt x="223" y="53"/>
                    </a:cubicBezTo>
                    <a:cubicBezTo>
                      <a:pt x="220" y="51"/>
                      <a:pt x="218" y="50"/>
                      <a:pt x="216" y="47"/>
                    </a:cubicBezTo>
                    <a:cubicBezTo>
                      <a:pt x="215" y="46"/>
                      <a:pt x="214" y="46"/>
                      <a:pt x="214" y="45"/>
                    </a:cubicBezTo>
                    <a:cubicBezTo>
                      <a:pt x="213" y="43"/>
                      <a:pt x="213" y="41"/>
                      <a:pt x="211" y="41"/>
                    </a:cubicBezTo>
                    <a:cubicBezTo>
                      <a:pt x="209" y="41"/>
                      <a:pt x="208" y="43"/>
                      <a:pt x="206" y="45"/>
                    </a:cubicBezTo>
                    <a:cubicBezTo>
                      <a:pt x="205" y="44"/>
                      <a:pt x="204" y="44"/>
                      <a:pt x="203" y="44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201" y="44"/>
                      <a:pt x="200" y="44"/>
                      <a:pt x="199" y="44"/>
                    </a:cubicBezTo>
                    <a:cubicBezTo>
                      <a:pt x="199" y="45"/>
                      <a:pt x="199" y="45"/>
                      <a:pt x="199" y="46"/>
                    </a:cubicBezTo>
                    <a:cubicBezTo>
                      <a:pt x="199" y="47"/>
                      <a:pt x="198" y="46"/>
                      <a:pt x="197" y="47"/>
                    </a:cubicBezTo>
                    <a:cubicBezTo>
                      <a:pt x="196" y="47"/>
                      <a:pt x="196" y="47"/>
                      <a:pt x="196" y="47"/>
                    </a:cubicBezTo>
                    <a:cubicBezTo>
                      <a:pt x="196" y="44"/>
                      <a:pt x="196" y="44"/>
                      <a:pt x="196" y="44"/>
                    </a:cubicBezTo>
                    <a:cubicBezTo>
                      <a:pt x="196" y="42"/>
                      <a:pt x="197" y="41"/>
                      <a:pt x="198" y="40"/>
                    </a:cubicBezTo>
                    <a:cubicBezTo>
                      <a:pt x="199" y="39"/>
                      <a:pt x="199" y="40"/>
                      <a:pt x="201" y="40"/>
                    </a:cubicBezTo>
                    <a:cubicBezTo>
                      <a:pt x="202" y="40"/>
                      <a:pt x="202" y="39"/>
                      <a:pt x="203" y="39"/>
                    </a:cubicBezTo>
                    <a:cubicBezTo>
                      <a:pt x="205" y="39"/>
                      <a:pt x="205" y="39"/>
                      <a:pt x="205" y="39"/>
                    </a:cubicBezTo>
                    <a:cubicBezTo>
                      <a:pt x="206" y="39"/>
                      <a:pt x="207" y="40"/>
                      <a:pt x="208" y="40"/>
                    </a:cubicBezTo>
                    <a:cubicBezTo>
                      <a:pt x="209" y="40"/>
                      <a:pt x="209" y="39"/>
                      <a:pt x="210" y="38"/>
                    </a:cubicBezTo>
                    <a:cubicBezTo>
                      <a:pt x="207" y="37"/>
                      <a:pt x="205" y="37"/>
                      <a:pt x="202" y="37"/>
                    </a:cubicBezTo>
                    <a:cubicBezTo>
                      <a:pt x="200" y="36"/>
                      <a:pt x="199" y="35"/>
                      <a:pt x="198" y="35"/>
                    </a:cubicBezTo>
                    <a:cubicBezTo>
                      <a:pt x="196" y="36"/>
                      <a:pt x="197" y="38"/>
                      <a:pt x="196" y="39"/>
                    </a:cubicBezTo>
                    <a:cubicBezTo>
                      <a:pt x="196" y="40"/>
                      <a:pt x="195" y="40"/>
                      <a:pt x="195" y="40"/>
                    </a:cubicBezTo>
                    <a:cubicBezTo>
                      <a:pt x="194" y="41"/>
                      <a:pt x="194" y="42"/>
                      <a:pt x="194" y="43"/>
                    </a:cubicBezTo>
                    <a:cubicBezTo>
                      <a:pt x="193" y="44"/>
                      <a:pt x="192" y="44"/>
                      <a:pt x="191" y="46"/>
                    </a:cubicBezTo>
                    <a:cubicBezTo>
                      <a:pt x="190" y="47"/>
                      <a:pt x="189" y="48"/>
                      <a:pt x="188" y="48"/>
                    </a:cubicBezTo>
                    <a:cubicBezTo>
                      <a:pt x="187" y="48"/>
                      <a:pt x="186" y="48"/>
                      <a:pt x="185" y="48"/>
                    </a:cubicBezTo>
                    <a:cubicBezTo>
                      <a:pt x="183" y="48"/>
                      <a:pt x="182" y="48"/>
                      <a:pt x="180" y="48"/>
                    </a:cubicBezTo>
                    <a:cubicBezTo>
                      <a:pt x="179" y="48"/>
                      <a:pt x="179" y="49"/>
                      <a:pt x="178" y="48"/>
                    </a:cubicBezTo>
                    <a:cubicBezTo>
                      <a:pt x="177" y="48"/>
                      <a:pt x="178" y="47"/>
                      <a:pt x="177" y="47"/>
                    </a:cubicBezTo>
                    <a:cubicBezTo>
                      <a:pt x="175" y="47"/>
                      <a:pt x="174" y="47"/>
                      <a:pt x="173" y="49"/>
                    </a:cubicBez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52"/>
                      <a:pt x="173" y="52"/>
                      <a:pt x="172" y="53"/>
                    </a:cubicBezTo>
                    <a:cubicBezTo>
                      <a:pt x="171" y="54"/>
                      <a:pt x="171" y="55"/>
                      <a:pt x="169" y="55"/>
                    </a:cubicBezTo>
                    <a:cubicBezTo>
                      <a:pt x="168" y="55"/>
                      <a:pt x="168" y="54"/>
                      <a:pt x="167" y="53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6" y="53"/>
                      <a:pt x="166" y="53"/>
                      <a:pt x="165" y="53"/>
                    </a:cubicBezTo>
                    <a:cubicBezTo>
                      <a:pt x="164" y="53"/>
                      <a:pt x="163" y="53"/>
                      <a:pt x="163" y="51"/>
                    </a:cubicBezTo>
                    <a:cubicBezTo>
                      <a:pt x="163" y="51"/>
                      <a:pt x="162" y="50"/>
                      <a:pt x="162" y="50"/>
                    </a:cubicBezTo>
                    <a:cubicBezTo>
                      <a:pt x="161" y="50"/>
                      <a:pt x="160" y="51"/>
                      <a:pt x="160" y="52"/>
                    </a:cubicBezTo>
                    <a:cubicBezTo>
                      <a:pt x="159" y="52"/>
                      <a:pt x="158" y="52"/>
                      <a:pt x="157" y="52"/>
                    </a:cubicBezTo>
                    <a:cubicBezTo>
                      <a:pt x="156" y="52"/>
                      <a:pt x="156" y="53"/>
                      <a:pt x="154" y="53"/>
                    </a:cubicBezTo>
                    <a:cubicBezTo>
                      <a:pt x="154" y="53"/>
                      <a:pt x="154" y="52"/>
                      <a:pt x="154" y="52"/>
                    </a:cubicBezTo>
                    <a:cubicBezTo>
                      <a:pt x="153" y="51"/>
                      <a:pt x="153" y="51"/>
                      <a:pt x="153" y="50"/>
                    </a:cubicBezTo>
                    <a:cubicBezTo>
                      <a:pt x="153" y="50"/>
                      <a:pt x="153" y="50"/>
                      <a:pt x="153" y="49"/>
                    </a:cubicBezTo>
                    <a:cubicBezTo>
                      <a:pt x="153" y="48"/>
                      <a:pt x="153" y="48"/>
                      <a:pt x="153" y="46"/>
                    </a:cubicBezTo>
                    <a:cubicBezTo>
                      <a:pt x="155" y="46"/>
                      <a:pt x="156" y="45"/>
                      <a:pt x="159" y="44"/>
                    </a:cubicBezTo>
                    <a:cubicBezTo>
                      <a:pt x="161" y="44"/>
                      <a:pt x="163" y="43"/>
                      <a:pt x="163" y="41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4" y="36"/>
                      <a:pt x="165" y="35"/>
                      <a:pt x="165" y="34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8" y="34"/>
                      <a:pt x="168" y="34"/>
                      <a:pt x="169" y="34"/>
                    </a:cubicBezTo>
                    <a:cubicBezTo>
                      <a:pt x="169" y="34"/>
                      <a:pt x="170" y="34"/>
                      <a:pt x="170" y="33"/>
                    </a:cubicBezTo>
                    <a:cubicBezTo>
                      <a:pt x="170" y="33"/>
                      <a:pt x="169" y="33"/>
                      <a:pt x="169" y="32"/>
                    </a:cubicBezTo>
                    <a:cubicBezTo>
                      <a:pt x="168" y="32"/>
                      <a:pt x="168" y="31"/>
                      <a:pt x="167" y="31"/>
                    </a:cubicBezTo>
                    <a:cubicBezTo>
                      <a:pt x="165" y="30"/>
                      <a:pt x="165" y="29"/>
                      <a:pt x="163" y="29"/>
                    </a:cubicBezTo>
                    <a:cubicBezTo>
                      <a:pt x="162" y="29"/>
                      <a:pt x="161" y="30"/>
                      <a:pt x="161" y="32"/>
                    </a:cubicBezTo>
                    <a:cubicBezTo>
                      <a:pt x="161" y="33"/>
                      <a:pt x="163" y="34"/>
                      <a:pt x="164" y="33"/>
                    </a:cubicBezTo>
                    <a:cubicBezTo>
                      <a:pt x="164" y="35"/>
                      <a:pt x="164" y="36"/>
                      <a:pt x="163" y="36"/>
                    </a:cubicBezTo>
                    <a:cubicBezTo>
                      <a:pt x="161" y="37"/>
                      <a:pt x="160" y="36"/>
                      <a:pt x="159" y="37"/>
                    </a:cubicBezTo>
                    <a:cubicBezTo>
                      <a:pt x="157" y="37"/>
                      <a:pt x="156" y="38"/>
                      <a:pt x="154" y="38"/>
                    </a:cubicBezTo>
                    <a:cubicBezTo>
                      <a:pt x="152" y="38"/>
                      <a:pt x="152" y="37"/>
                      <a:pt x="151" y="35"/>
                    </a:cubicBezTo>
                    <a:cubicBezTo>
                      <a:pt x="150" y="34"/>
                      <a:pt x="149" y="34"/>
                      <a:pt x="148" y="33"/>
                    </a:cubicBezTo>
                    <a:cubicBezTo>
                      <a:pt x="147" y="33"/>
                      <a:pt x="147" y="32"/>
                      <a:pt x="146" y="32"/>
                    </a:cubicBezTo>
                    <a:cubicBezTo>
                      <a:pt x="145" y="32"/>
                      <a:pt x="145" y="33"/>
                      <a:pt x="144" y="33"/>
                    </a:cubicBezTo>
                    <a:cubicBezTo>
                      <a:pt x="141" y="35"/>
                      <a:pt x="140" y="37"/>
                      <a:pt x="138" y="39"/>
                    </a:cubicBezTo>
                    <a:cubicBezTo>
                      <a:pt x="138" y="38"/>
                      <a:pt x="138" y="38"/>
                      <a:pt x="138" y="38"/>
                    </a:cubicBezTo>
                    <a:cubicBezTo>
                      <a:pt x="138" y="37"/>
                      <a:pt x="139" y="36"/>
                      <a:pt x="140" y="35"/>
                    </a:cubicBezTo>
                    <a:cubicBezTo>
                      <a:pt x="141" y="34"/>
                      <a:pt x="141" y="33"/>
                      <a:pt x="141" y="32"/>
                    </a:cubicBezTo>
                    <a:cubicBezTo>
                      <a:pt x="141" y="31"/>
                      <a:pt x="140" y="30"/>
                      <a:pt x="140" y="29"/>
                    </a:cubicBezTo>
                    <a:cubicBezTo>
                      <a:pt x="139" y="29"/>
                      <a:pt x="139" y="28"/>
                      <a:pt x="138" y="28"/>
                    </a:cubicBezTo>
                    <a:cubicBezTo>
                      <a:pt x="134" y="28"/>
                      <a:pt x="133" y="28"/>
                      <a:pt x="129" y="28"/>
                    </a:cubicBezTo>
                    <a:cubicBezTo>
                      <a:pt x="132" y="26"/>
                      <a:pt x="134" y="26"/>
                      <a:pt x="137" y="23"/>
                    </a:cubicBezTo>
                    <a:cubicBezTo>
                      <a:pt x="138" y="22"/>
                      <a:pt x="138" y="21"/>
                      <a:pt x="138" y="19"/>
                    </a:cubicBezTo>
                    <a:cubicBezTo>
                      <a:pt x="138" y="18"/>
                      <a:pt x="137" y="18"/>
                      <a:pt x="137" y="17"/>
                    </a:cubicBezTo>
                    <a:cubicBezTo>
                      <a:pt x="136" y="16"/>
                      <a:pt x="136" y="15"/>
                      <a:pt x="135" y="14"/>
                    </a:cubicBezTo>
                    <a:cubicBezTo>
                      <a:pt x="135" y="14"/>
                      <a:pt x="134" y="14"/>
                      <a:pt x="133" y="13"/>
                    </a:cubicBezTo>
                    <a:cubicBezTo>
                      <a:pt x="132" y="12"/>
                      <a:pt x="131" y="11"/>
                      <a:pt x="130" y="10"/>
                    </a:cubicBezTo>
                    <a:cubicBezTo>
                      <a:pt x="129" y="10"/>
                      <a:pt x="128" y="10"/>
                      <a:pt x="127" y="10"/>
                    </a:cubicBezTo>
                    <a:cubicBezTo>
                      <a:pt x="126" y="9"/>
                      <a:pt x="126" y="10"/>
                      <a:pt x="125" y="10"/>
                    </a:cubicBezTo>
                    <a:cubicBezTo>
                      <a:pt x="123" y="10"/>
                      <a:pt x="123" y="10"/>
                      <a:pt x="121" y="10"/>
                    </a:cubicBezTo>
                    <a:cubicBezTo>
                      <a:pt x="120" y="9"/>
                      <a:pt x="119" y="8"/>
                      <a:pt x="118" y="7"/>
                    </a:cubicBezTo>
                    <a:cubicBezTo>
                      <a:pt x="118" y="7"/>
                      <a:pt x="118" y="7"/>
                      <a:pt x="118" y="6"/>
                    </a:cubicBezTo>
                    <a:cubicBezTo>
                      <a:pt x="117" y="6"/>
                      <a:pt x="116" y="6"/>
                      <a:pt x="116" y="5"/>
                    </a:cubicBezTo>
                    <a:cubicBezTo>
                      <a:pt x="114" y="4"/>
                      <a:pt x="113" y="3"/>
                      <a:pt x="111" y="2"/>
                    </a:cubicBezTo>
                    <a:cubicBezTo>
                      <a:pt x="110" y="2"/>
                      <a:pt x="109" y="2"/>
                      <a:pt x="108" y="2"/>
                    </a:cubicBezTo>
                    <a:cubicBezTo>
                      <a:pt x="106" y="1"/>
                      <a:pt x="106" y="0"/>
                      <a:pt x="104" y="0"/>
                    </a:cubicBezTo>
                    <a:cubicBezTo>
                      <a:pt x="104" y="1"/>
                      <a:pt x="105" y="2"/>
                      <a:pt x="105" y="4"/>
                    </a:cubicBezTo>
                    <a:cubicBezTo>
                      <a:pt x="104" y="9"/>
                      <a:pt x="104" y="9"/>
                      <a:pt x="104" y="9"/>
                    </a:cubicBezTo>
                    <a:cubicBezTo>
                      <a:pt x="104" y="10"/>
                      <a:pt x="104" y="10"/>
                      <a:pt x="104" y="10"/>
                    </a:cubicBezTo>
                    <a:cubicBezTo>
                      <a:pt x="104" y="13"/>
                      <a:pt x="106" y="14"/>
                      <a:pt x="108" y="16"/>
                    </a:cubicBezTo>
                    <a:cubicBezTo>
                      <a:pt x="109" y="17"/>
                      <a:pt x="108" y="19"/>
                      <a:pt x="109" y="20"/>
                    </a:cubicBezTo>
                    <a:cubicBezTo>
                      <a:pt x="109" y="21"/>
                      <a:pt x="110" y="22"/>
                      <a:pt x="110" y="23"/>
                    </a:cubicBezTo>
                    <a:cubicBezTo>
                      <a:pt x="110" y="25"/>
                      <a:pt x="109" y="26"/>
                      <a:pt x="107" y="27"/>
                    </a:cubicBezTo>
                    <a:cubicBezTo>
                      <a:pt x="105" y="27"/>
                      <a:pt x="104" y="27"/>
                      <a:pt x="102" y="27"/>
                    </a:cubicBezTo>
                    <a:cubicBezTo>
                      <a:pt x="102" y="27"/>
                      <a:pt x="101" y="27"/>
                      <a:pt x="100" y="28"/>
                    </a:cubicBezTo>
                    <a:cubicBezTo>
                      <a:pt x="99" y="29"/>
                      <a:pt x="99" y="30"/>
                      <a:pt x="98" y="32"/>
                    </a:cubicBezTo>
                    <a:cubicBezTo>
                      <a:pt x="106" y="32"/>
                      <a:pt x="106" y="32"/>
                      <a:pt x="106" y="32"/>
                    </a:cubicBezTo>
                    <a:cubicBezTo>
                      <a:pt x="106" y="33"/>
                      <a:pt x="106" y="33"/>
                      <a:pt x="106" y="33"/>
                    </a:cubicBezTo>
                    <a:cubicBezTo>
                      <a:pt x="106" y="33"/>
                      <a:pt x="106" y="33"/>
                      <a:pt x="105" y="34"/>
                    </a:cubicBezTo>
                    <a:cubicBezTo>
                      <a:pt x="105" y="35"/>
                      <a:pt x="104" y="36"/>
                      <a:pt x="103" y="38"/>
                    </a:cubicBezTo>
                    <a:cubicBezTo>
                      <a:pt x="105" y="38"/>
                      <a:pt x="107" y="38"/>
                      <a:pt x="107" y="40"/>
                    </a:cubicBezTo>
                    <a:cubicBezTo>
                      <a:pt x="107" y="40"/>
                      <a:pt x="107" y="41"/>
                      <a:pt x="107" y="41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104" y="43"/>
                      <a:pt x="104" y="43"/>
                      <a:pt x="104" y="43"/>
                    </a:cubicBezTo>
                    <a:cubicBezTo>
                      <a:pt x="104" y="45"/>
                      <a:pt x="104" y="45"/>
                      <a:pt x="105" y="46"/>
                    </a:cubicBezTo>
                    <a:cubicBezTo>
                      <a:pt x="106" y="47"/>
                      <a:pt x="107" y="47"/>
                      <a:pt x="108" y="48"/>
                    </a:cubicBezTo>
                    <a:cubicBezTo>
                      <a:pt x="111" y="49"/>
                      <a:pt x="112" y="49"/>
                      <a:pt x="114" y="51"/>
                    </a:cubicBezTo>
                    <a:cubicBezTo>
                      <a:pt x="116" y="53"/>
                      <a:pt x="118" y="54"/>
                      <a:pt x="120" y="56"/>
                    </a:cubicBezTo>
                    <a:cubicBezTo>
                      <a:pt x="121" y="57"/>
                      <a:pt x="121" y="59"/>
                      <a:pt x="121" y="60"/>
                    </a:cubicBezTo>
                    <a:cubicBezTo>
                      <a:pt x="122" y="61"/>
                      <a:pt x="122" y="62"/>
                      <a:pt x="122" y="63"/>
                    </a:cubicBezTo>
                    <a:cubicBezTo>
                      <a:pt x="122" y="63"/>
                      <a:pt x="123" y="63"/>
                      <a:pt x="123" y="64"/>
                    </a:cubicBezTo>
                    <a:cubicBezTo>
                      <a:pt x="122" y="60"/>
                      <a:pt x="119" y="59"/>
                      <a:pt x="116" y="57"/>
                    </a:cubicBezTo>
                    <a:cubicBezTo>
                      <a:pt x="114" y="56"/>
                      <a:pt x="113" y="54"/>
                      <a:pt x="111" y="52"/>
                    </a:cubicBezTo>
                    <a:cubicBezTo>
                      <a:pt x="108" y="50"/>
                      <a:pt x="106" y="50"/>
                      <a:pt x="102" y="50"/>
                    </a:cubicBezTo>
                    <a:cubicBezTo>
                      <a:pt x="100" y="50"/>
                      <a:pt x="99" y="48"/>
                      <a:pt x="97" y="48"/>
                    </a:cubicBezTo>
                    <a:cubicBezTo>
                      <a:pt x="96" y="48"/>
                      <a:pt x="96" y="49"/>
                      <a:pt x="95" y="50"/>
                    </a:cubicBezTo>
                    <a:cubicBezTo>
                      <a:pt x="94" y="51"/>
                      <a:pt x="94" y="52"/>
                      <a:pt x="93" y="54"/>
                    </a:cubicBezTo>
                    <a:cubicBezTo>
                      <a:pt x="93" y="55"/>
                      <a:pt x="92" y="55"/>
                      <a:pt x="92" y="56"/>
                    </a:cubicBezTo>
                    <a:cubicBezTo>
                      <a:pt x="92" y="58"/>
                      <a:pt x="94" y="59"/>
                      <a:pt x="94" y="61"/>
                    </a:cubicBezTo>
                    <a:cubicBezTo>
                      <a:pt x="94" y="63"/>
                      <a:pt x="93" y="64"/>
                      <a:pt x="92" y="66"/>
                    </a:cubicBezTo>
                    <a:cubicBezTo>
                      <a:pt x="91" y="69"/>
                      <a:pt x="92" y="70"/>
                      <a:pt x="92" y="73"/>
                    </a:cubicBezTo>
                    <a:cubicBezTo>
                      <a:pt x="92" y="75"/>
                      <a:pt x="92" y="77"/>
                      <a:pt x="93" y="79"/>
                    </a:cubicBezTo>
                    <a:cubicBezTo>
                      <a:pt x="92" y="79"/>
                      <a:pt x="92" y="79"/>
                      <a:pt x="92" y="79"/>
                    </a:cubicBezTo>
                    <a:cubicBezTo>
                      <a:pt x="90" y="77"/>
                      <a:pt x="89" y="75"/>
                      <a:pt x="89" y="72"/>
                    </a:cubicBezTo>
                    <a:cubicBezTo>
                      <a:pt x="89" y="69"/>
                      <a:pt x="91" y="67"/>
                      <a:pt x="91" y="64"/>
                    </a:cubicBezTo>
                    <a:cubicBezTo>
                      <a:pt x="91" y="62"/>
                      <a:pt x="89" y="60"/>
                      <a:pt x="88" y="60"/>
                    </a:cubicBezTo>
                    <a:cubicBezTo>
                      <a:pt x="87" y="61"/>
                      <a:pt x="86" y="61"/>
                      <a:pt x="86" y="63"/>
                    </a:cubicBezTo>
                    <a:cubicBezTo>
                      <a:pt x="86" y="63"/>
                      <a:pt x="86" y="63"/>
                      <a:pt x="86" y="64"/>
                    </a:cubicBezTo>
                    <a:cubicBezTo>
                      <a:pt x="86" y="66"/>
                      <a:pt x="86" y="66"/>
                      <a:pt x="86" y="66"/>
                    </a:cubicBezTo>
                    <a:cubicBezTo>
                      <a:pt x="86" y="67"/>
                      <a:pt x="85" y="68"/>
                      <a:pt x="84" y="69"/>
                    </a:cubicBezTo>
                    <a:cubicBezTo>
                      <a:pt x="83" y="67"/>
                      <a:pt x="81" y="67"/>
                      <a:pt x="81" y="65"/>
                    </a:cubicBezTo>
                    <a:cubicBezTo>
                      <a:pt x="81" y="64"/>
                      <a:pt x="82" y="63"/>
                      <a:pt x="82" y="62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2" y="58"/>
                      <a:pt x="82" y="58"/>
                      <a:pt x="82" y="58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0" y="55"/>
                      <a:pt x="79" y="53"/>
                      <a:pt x="77" y="53"/>
                    </a:cubicBezTo>
                    <a:cubicBezTo>
                      <a:pt x="76" y="53"/>
                      <a:pt x="75" y="53"/>
                      <a:pt x="74" y="53"/>
                    </a:cubicBezTo>
                    <a:cubicBezTo>
                      <a:pt x="72" y="53"/>
                      <a:pt x="71" y="53"/>
                      <a:pt x="70" y="53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2" y="53"/>
                      <a:pt x="61" y="53"/>
                      <a:pt x="58" y="53"/>
                    </a:cubicBezTo>
                    <a:cubicBezTo>
                      <a:pt x="57" y="53"/>
                      <a:pt x="56" y="55"/>
                      <a:pt x="56" y="56"/>
                    </a:cubicBezTo>
                    <a:cubicBezTo>
                      <a:pt x="56" y="57"/>
                      <a:pt x="58" y="58"/>
                      <a:pt x="58" y="59"/>
                    </a:cubicBezTo>
                    <a:cubicBezTo>
                      <a:pt x="58" y="60"/>
                      <a:pt x="57" y="60"/>
                      <a:pt x="56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4" y="60"/>
                      <a:pt x="53" y="61"/>
                      <a:pt x="53" y="62"/>
                    </a:cubicBezTo>
                    <a:cubicBezTo>
                      <a:pt x="53" y="62"/>
                      <a:pt x="54" y="63"/>
                      <a:pt x="54" y="63"/>
                    </a:cubicBezTo>
                    <a:cubicBezTo>
                      <a:pt x="54" y="66"/>
                      <a:pt x="54" y="66"/>
                      <a:pt x="54" y="66"/>
                    </a:cubicBezTo>
                    <a:cubicBezTo>
                      <a:pt x="54" y="68"/>
                      <a:pt x="59" y="67"/>
                      <a:pt x="59" y="69"/>
                    </a:cubicBezTo>
                    <a:cubicBezTo>
                      <a:pt x="59" y="70"/>
                      <a:pt x="58" y="70"/>
                      <a:pt x="57" y="71"/>
                    </a:cubicBezTo>
                    <a:cubicBezTo>
                      <a:pt x="56" y="72"/>
                      <a:pt x="56" y="73"/>
                      <a:pt x="55" y="73"/>
                    </a:cubicBezTo>
                    <a:cubicBezTo>
                      <a:pt x="54" y="73"/>
                      <a:pt x="54" y="73"/>
                      <a:pt x="54" y="73"/>
                    </a:cubicBezTo>
                    <a:cubicBezTo>
                      <a:pt x="53" y="75"/>
                      <a:pt x="53" y="76"/>
                      <a:pt x="52" y="78"/>
                    </a:cubicBezTo>
                    <a:cubicBezTo>
                      <a:pt x="51" y="79"/>
                      <a:pt x="51" y="80"/>
                      <a:pt x="50" y="81"/>
                    </a:cubicBezTo>
                    <a:cubicBezTo>
                      <a:pt x="50" y="82"/>
                      <a:pt x="50" y="83"/>
                      <a:pt x="49" y="85"/>
                    </a:cubicBezTo>
                    <a:cubicBezTo>
                      <a:pt x="48" y="87"/>
                      <a:pt x="48" y="88"/>
                      <a:pt x="47" y="91"/>
                    </a:cubicBezTo>
                    <a:cubicBezTo>
                      <a:pt x="47" y="91"/>
                      <a:pt x="46" y="92"/>
                      <a:pt x="46" y="92"/>
                    </a:cubicBezTo>
                    <a:cubicBezTo>
                      <a:pt x="46" y="93"/>
                      <a:pt x="45" y="93"/>
                      <a:pt x="44" y="93"/>
                    </a:cubicBezTo>
                    <a:cubicBezTo>
                      <a:pt x="43" y="93"/>
                      <a:pt x="42" y="93"/>
                      <a:pt x="41" y="93"/>
                    </a:cubicBezTo>
                    <a:cubicBezTo>
                      <a:pt x="41" y="95"/>
                      <a:pt x="41" y="96"/>
                      <a:pt x="41" y="97"/>
                    </a:cubicBezTo>
                    <a:cubicBezTo>
                      <a:pt x="40" y="99"/>
                      <a:pt x="40" y="99"/>
                      <a:pt x="39" y="101"/>
                    </a:cubicBezTo>
                    <a:cubicBezTo>
                      <a:pt x="40" y="101"/>
                      <a:pt x="41" y="102"/>
                      <a:pt x="43" y="102"/>
                    </a:cubicBezTo>
                    <a:cubicBezTo>
                      <a:pt x="44" y="102"/>
                      <a:pt x="44" y="102"/>
                      <a:pt x="45" y="102"/>
                    </a:cubicBezTo>
                    <a:cubicBezTo>
                      <a:pt x="46" y="102"/>
                      <a:pt x="46" y="102"/>
                      <a:pt x="46" y="102"/>
                    </a:cubicBezTo>
                    <a:cubicBezTo>
                      <a:pt x="46" y="102"/>
                      <a:pt x="46" y="102"/>
                      <a:pt x="46" y="103"/>
                    </a:cubicBezTo>
                    <a:cubicBezTo>
                      <a:pt x="46" y="104"/>
                      <a:pt x="46" y="104"/>
                      <a:pt x="45" y="105"/>
                    </a:cubicBezTo>
                    <a:cubicBezTo>
                      <a:pt x="45" y="107"/>
                      <a:pt x="44" y="109"/>
                      <a:pt x="42" y="110"/>
                    </a:cubicBezTo>
                    <a:cubicBezTo>
                      <a:pt x="42" y="112"/>
                      <a:pt x="41" y="112"/>
                      <a:pt x="40" y="113"/>
                    </a:cubicBezTo>
                    <a:cubicBezTo>
                      <a:pt x="39" y="113"/>
                      <a:pt x="38" y="114"/>
                      <a:pt x="37" y="114"/>
                    </a:cubicBezTo>
                    <a:cubicBezTo>
                      <a:pt x="37" y="115"/>
                      <a:pt x="36" y="115"/>
                      <a:pt x="36" y="115"/>
                    </a:cubicBezTo>
                    <a:cubicBezTo>
                      <a:pt x="35" y="116"/>
                      <a:pt x="35" y="117"/>
                      <a:pt x="35" y="118"/>
                    </a:cubicBezTo>
                    <a:cubicBezTo>
                      <a:pt x="35" y="119"/>
                      <a:pt x="35" y="120"/>
                      <a:pt x="35" y="121"/>
                    </a:cubicBezTo>
                    <a:cubicBezTo>
                      <a:pt x="35" y="122"/>
                      <a:pt x="36" y="122"/>
                      <a:pt x="35" y="123"/>
                    </a:cubicBezTo>
                    <a:cubicBezTo>
                      <a:pt x="35" y="124"/>
                      <a:pt x="34" y="124"/>
                      <a:pt x="33" y="124"/>
                    </a:cubicBezTo>
                    <a:cubicBezTo>
                      <a:pt x="31" y="124"/>
                      <a:pt x="30" y="124"/>
                      <a:pt x="28" y="124"/>
                    </a:cubicBezTo>
                    <a:cubicBezTo>
                      <a:pt x="27" y="125"/>
                      <a:pt x="26" y="125"/>
                      <a:pt x="25" y="126"/>
                    </a:cubicBezTo>
                    <a:cubicBezTo>
                      <a:pt x="24" y="126"/>
                      <a:pt x="24" y="126"/>
                      <a:pt x="23" y="126"/>
                    </a:cubicBezTo>
                    <a:cubicBezTo>
                      <a:pt x="22" y="126"/>
                      <a:pt x="21" y="126"/>
                      <a:pt x="20" y="126"/>
                    </a:cubicBezTo>
                    <a:cubicBezTo>
                      <a:pt x="18" y="126"/>
                      <a:pt x="17" y="126"/>
                      <a:pt x="15" y="125"/>
                    </a:cubicBezTo>
                    <a:cubicBezTo>
                      <a:pt x="15" y="125"/>
                      <a:pt x="15" y="124"/>
                      <a:pt x="14" y="124"/>
                    </a:cubicBezTo>
                    <a:cubicBezTo>
                      <a:pt x="14" y="125"/>
                      <a:pt x="13" y="125"/>
                      <a:pt x="13" y="126"/>
                    </a:cubicBezTo>
                    <a:cubicBezTo>
                      <a:pt x="12" y="127"/>
                      <a:pt x="12" y="127"/>
                      <a:pt x="11" y="128"/>
                    </a:cubicBezTo>
                    <a:cubicBezTo>
                      <a:pt x="11" y="129"/>
                      <a:pt x="11" y="130"/>
                      <a:pt x="11" y="132"/>
                    </a:cubicBezTo>
                    <a:cubicBezTo>
                      <a:pt x="11" y="134"/>
                      <a:pt x="12" y="136"/>
                      <a:pt x="12" y="138"/>
                    </a:cubicBezTo>
                    <a:cubicBezTo>
                      <a:pt x="13" y="140"/>
                      <a:pt x="13" y="141"/>
                      <a:pt x="13" y="143"/>
                    </a:cubicBezTo>
                    <a:cubicBezTo>
                      <a:pt x="13" y="145"/>
                      <a:pt x="13" y="147"/>
                      <a:pt x="12" y="148"/>
                    </a:cubicBezTo>
                    <a:cubicBezTo>
                      <a:pt x="11" y="149"/>
                      <a:pt x="11" y="149"/>
                      <a:pt x="11" y="150"/>
                    </a:cubicBezTo>
                    <a:cubicBezTo>
                      <a:pt x="9" y="151"/>
                      <a:pt x="8" y="152"/>
                      <a:pt x="7" y="154"/>
                    </a:cubicBezTo>
                    <a:cubicBezTo>
                      <a:pt x="7" y="156"/>
                      <a:pt x="6" y="157"/>
                      <a:pt x="6" y="159"/>
                    </a:cubicBezTo>
                    <a:cubicBezTo>
                      <a:pt x="6" y="161"/>
                      <a:pt x="6" y="163"/>
                      <a:pt x="4" y="165"/>
                    </a:cubicBezTo>
                    <a:cubicBezTo>
                      <a:pt x="4" y="167"/>
                      <a:pt x="5" y="168"/>
                      <a:pt x="5" y="169"/>
                    </a:cubicBezTo>
                    <a:cubicBezTo>
                      <a:pt x="5" y="171"/>
                      <a:pt x="5" y="172"/>
                      <a:pt x="6" y="173"/>
                    </a:cubicBezTo>
                    <a:cubicBezTo>
                      <a:pt x="6" y="175"/>
                      <a:pt x="6" y="176"/>
                      <a:pt x="6" y="179"/>
                    </a:cubicBezTo>
                    <a:cubicBezTo>
                      <a:pt x="6" y="180"/>
                      <a:pt x="6" y="180"/>
                      <a:pt x="6" y="182"/>
                    </a:cubicBezTo>
                    <a:cubicBezTo>
                      <a:pt x="7" y="184"/>
                      <a:pt x="7" y="185"/>
                      <a:pt x="7" y="187"/>
                    </a:cubicBezTo>
                    <a:cubicBezTo>
                      <a:pt x="7" y="188"/>
                      <a:pt x="7" y="188"/>
                      <a:pt x="7" y="189"/>
                    </a:cubicBezTo>
                    <a:cubicBezTo>
                      <a:pt x="7" y="189"/>
                      <a:pt x="8" y="190"/>
                      <a:pt x="7" y="190"/>
                    </a:cubicBezTo>
                    <a:cubicBezTo>
                      <a:pt x="7" y="190"/>
                      <a:pt x="7" y="190"/>
                      <a:pt x="7" y="191"/>
                    </a:cubicBezTo>
                    <a:cubicBezTo>
                      <a:pt x="6" y="191"/>
                      <a:pt x="6" y="191"/>
                      <a:pt x="6" y="191"/>
                    </a:cubicBezTo>
                    <a:cubicBezTo>
                      <a:pt x="5" y="192"/>
                      <a:pt x="5" y="192"/>
                      <a:pt x="4" y="192"/>
                    </a:cubicBezTo>
                    <a:cubicBezTo>
                      <a:pt x="4" y="193"/>
                      <a:pt x="3" y="193"/>
                      <a:pt x="3" y="193"/>
                    </a:cubicBezTo>
                    <a:cubicBezTo>
                      <a:pt x="2" y="194"/>
                      <a:pt x="2" y="194"/>
                      <a:pt x="2" y="194"/>
                    </a:cubicBezTo>
                    <a:cubicBezTo>
                      <a:pt x="1" y="194"/>
                      <a:pt x="1" y="195"/>
                      <a:pt x="0" y="196"/>
                    </a:cubicBezTo>
                    <a:cubicBezTo>
                      <a:pt x="0" y="196"/>
                      <a:pt x="0" y="197"/>
                      <a:pt x="0" y="197"/>
                    </a:cubicBezTo>
                    <a:cubicBezTo>
                      <a:pt x="0" y="198"/>
                      <a:pt x="0" y="198"/>
                      <a:pt x="0" y="199"/>
                    </a:cubicBezTo>
                    <a:cubicBezTo>
                      <a:pt x="0" y="199"/>
                      <a:pt x="0" y="200"/>
                      <a:pt x="0" y="201"/>
                    </a:cubicBezTo>
                    <a:cubicBezTo>
                      <a:pt x="0" y="201"/>
                      <a:pt x="0" y="201"/>
                      <a:pt x="0" y="202"/>
                    </a:cubicBezTo>
                    <a:cubicBezTo>
                      <a:pt x="1" y="203"/>
                      <a:pt x="1" y="204"/>
                      <a:pt x="2" y="205"/>
                    </a:cubicBezTo>
                    <a:cubicBezTo>
                      <a:pt x="2" y="205"/>
                      <a:pt x="2" y="206"/>
                      <a:pt x="2" y="206"/>
                    </a:cubicBezTo>
                    <a:cubicBezTo>
                      <a:pt x="3" y="207"/>
                      <a:pt x="3" y="207"/>
                      <a:pt x="3" y="208"/>
                    </a:cubicBezTo>
                    <a:cubicBezTo>
                      <a:pt x="3" y="208"/>
                      <a:pt x="4" y="208"/>
                      <a:pt x="4" y="208"/>
                    </a:cubicBezTo>
                    <a:cubicBezTo>
                      <a:pt x="5" y="209"/>
                      <a:pt x="5" y="209"/>
                      <a:pt x="6" y="210"/>
                    </a:cubicBezTo>
                    <a:cubicBezTo>
                      <a:pt x="7" y="211"/>
                      <a:pt x="7" y="211"/>
                      <a:pt x="7" y="211"/>
                    </a:cubicBezTo>
                    <a:cubicBezTo>
                      <a:pt x="8" y="212"/>
                      <a:pt x="9" y="212"/>
                      <a:pt x="9" y="214"/>
                    </a:cubicBezTo>
                    <a:cubicBezTo>
                      <a:pt x="9" y="214"/>
                      <a:pt x="9" y="214"/>
                      <a:pt x="9" y="214"/>
                    </a:cubicBezTo>
                    <a:cubicBezTo>
                      <a:pt x="9" y="215"/>
                      <a:pt x="9" y="215"/>
                      <a:pt x="9" y="215"/>
                    </a:cubicBezTo>
                    <a:cubicBezTo>
                      <a:pt x="9" y="216"/>
                      <a:pt x="9" y="216"/>
                      <a:pt x="9" y="216"/>
                    </a:cubicBezTo>
                    <a:cubicBezTo>
                      <a:pt x="9" y="217"/>
                      <a:pt x="9" y="217"/>
                      <a:pt x="9" y="217"/>
                    </a:cubicBezTo>
                    <a:cubicBezTo>
                      <a:pt x="8" y="217"/>
                      <a:pt x="8" y="218"/>
                      <a:pt x="8" y="219"/>
                    </a:cubicBezTo>
                    <a:cubicBezTo>
                      <a:pt x="8" y="220"/>
                      <a:pt x="8" y="220"/>
                      <a:pt x="7" y="221"/>
                    </a:cubicBezTo>
                    <a:cubicBezTo>
                      <a:pt x="7" y="221"/>
                      <a:pt x="6" y="221"/>
                      <a:pt x="6" y="222"/>
                    </a:cubicBezTo>
                    <a:cubicBezTo>
                      <a:pt x="7" y="223"/>
                      <a:pt x="7" y="224"/>
                      <a:pt x="8" y="225"/>
                    </a:cubicBezTo>
                    <a:cubicBezTo>
                      <a:pt x="9" y="226"/>
                      <a:pt x="9" y="227"/>
                      <a:pt x="10" y="229"/>
                    </a:cubicBezTo>
                    <a:cubicBezTo>
                      <a:pt x="12" y="232"/>
                      <a:pt x="13" y="233"/>
                      <a:pt x="14" y="237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4" y="237"/>
                      <a:pt x="15" y="237"/>
                      <a:pt x="15" y="237"/>
                    </a:cubicBezTo>
                    <a:cubicBezTo>
                      <a:pt x="16" y="236"/>
                      <a:pt x="16" y="237"/>
                      <a:pt x="17" y="236"/>
                    </a:cubicBezTo>
                    <a:cubicBezTo>
                      <a:pt x="18" y="236"/>
                      <a:pt x="18" y="236"/>
                      <a:pt x="19" y="236"/>
                    </a:cubicBezTo>
                    <a:cubicBezTo>
                      <a:pt x="19" y="236"/>
                      <a:pt x="20" y="236"/>
                      <a:pt x="20" y="237"/>
                    </a:cubicBezTo>
                    <a:cubicBezTo>
                      <a:pt x="21" y="237"/>
                      <a:pt x="22" y="238"/>
                      <a:pt x="23" y="239"/>
                    </a:cubicBezTo>
                    <a:cubicBezTo>
                      <a:pt x="25" y="240"/>
                      <a:pt x="26" y="241"/>
                      <a:pt x="28" y="242"/>
                    </a:cubicBezTo>
                    <a:cubicBezTo>
                      <a:pt x="29" y="243"/>
                      <a:pt x="29" y="243"/>
                      <a:pt x="30" y="244"/>
                    </a:cubicBezTo>
                    <a:cubicBezTo>
                      <a:pt x="32" y="245"/>
                      <a:pt x="33" y="246"/>
                      <a:pt x="34" y="247"/>
                    </a:cubicBezTo>
                    <a:cubicBezTo>
                      <a:pt x="35" y="248"/>
                      <a:pt x="36" y="248"/>
                      <a:pt x="36" y="248"/>
                    </a:cubicBezTo>
                    <a:cubicBezTo>
                      <a:pt x="39" y="250"/>
                      <a:pt x="41" y="251"/>
                      <a:pt x="43" y="252"/>
                    </a:cubicBezTo>
                    <a:cubicBezTo>
                      <a:pt x="44" y="252"/>
                      <a:pt x="44" y="253"/>
                      <a:pt x="45" y="253"/>
                    </a:cubicBezTo>
                    <a:cubicBezTo>
                      <a:pt x="46" y="254"/>
                      <a:pt x="47" y="254"/>
                      <a:pt x="48" y="255"/>
                    </a:cubicBezTo>
                    <a:cubicBezTo>
                      <a:pt x="50" y="255"/>
                      <a:pt x="50" y="256"/>
                      <a:pt x="52" y="257"/>
                    </a:cubicBezTo>
                    <a:cubicBezTo>
                      <a:pt x="53" y="257"/>
                      <a:pt x="53" y="257"/>
                      <a:pt x="54" y="258"/>
                    </a:cubicBezTo>
                    <a:cubicBezTo>
                      <a:pt x="54" y="259"/>
                      <a:pt x="53" y="259"/>
                      <a:pt x="53" y="259"/>
                    </a:cubicBezTo>
                    <a:cubicBezTo>
                      <a:pt x="52" y="260"/>
                      <a:pt x="52" y="261"/>
                      <a:pt x="51" y="261"/>
                    </a:cubicBezTo>
                    <a:cubicBezTo>
                      <a:pt x="51" y="262"/>
                      <a:pt x="50" y="263"/>
                      <a:pt x="50" y="263"/>
                    </a:cubicBezTo>
                    <a:cubicBezTo>
                      <a:pt x="50" y="264"/>
                      <a:pt x="50" y="264"/>
                      <a:pt x="49" y="264"/>
                    </a:cubicBezTo>
                    <a:cubicBezTo>
                      <a:pt x="48" y="265"/>
                      <a:pt x="47" y="266"/>
                      <a:pt x="46" y="267"/>
                    </a:cubicBezTo>
                    <a:cubicBezTo>
                      <a:pt x="44" y="268"/>
                      <a:pt x="44" y="269"/>
                      <a:pt x="43" y="271"/>
                    </a:cubicBezTo>
                    <a:cubicBezTo>
                      <a:pt x="42" y="272"/>
                      <a:pt x="41" y="272"/>
                      <a:pt x="41" y="273"/>
                    </a:cubicBezTo>
                    <a:cubicBezTo>
                      <a:pt x="40" y="274"/>
                      <a:pt x="40" y="275"/>
                      <a:pt x="39" y="275"/>
                    </a:cubicBezTo>
                    <a:cubicBezTo>
                      <a:pt x="39" y="276"/>
                      <a:pt x="38" y="276"/>
                      <a:pt x="38" y="277"/>
                    </a:cubicBezTo>
                    <a:cubicBezTo>
                      <a:pt x="38" y="278"/>
                      <a:pt x="38" y="278"/>
                      <a:pt x="38" y="280"/>
                    </a:cubicBezTo>
                    <a:cubicBezTo>
                      <a:pt x="37" y="281"/>
                      <a:pt x="36" y="282"/>
                      <a:pt x="36" y="284"/>
                    </a:cubicBezTo>
                    <a:cubicBezTo>
                      <a:pt x="36" y="285"/>
                      <a:pt x="36" y="285"/>
                      <a:pt x="35" y="287"/>
                    </a:cubicBezTo>
                    <a:cubicBezTo>
                      <a:pt x="35" y="289"/>
                      <a:pt x="34" y="290"/>
                      <a:pt x="32" y="291"/>
                    </a:cubicBezTo>
                    <a:cubicBezTo>
                      <a:pt x="31" y="292"/>
                      <a:pt x="30" y="292"/>
                      <a:pt x="30" y="293"/>
                    </a:cubicBezTo>
                    <a:cubicBezTo>
                      <a:pt x="29" y="294"/>
                      <a:pt x="29" y="295"/>
                      <a:pt x="29" y="297"/>
                    </a:cubicBezTo>
                    <a:cubicBezTo>
                      <a:pt x="29" y="301"/>
                      <a:pt x="27" y="303"/>
                      <a:pt x="27" y="307"/>
                    </a:cubicBezTo>
                    <a:cubicBezTo>
                      <a:pt x="27" y="309"/>
                      <a:pt x="28" y="311"/>
                      <a:pt x="28" y="31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3" name="Freeform 65">
                <a:extLst>
                  <a:ext uri="{FF2B5EF4-FFF2-40B4-BE49-F238E27FC236}">
                    <a16:creationId xmlns:a16="http://schemas.microsoft.com/office/drawing/2014/main" xmlns="" id="{64EB3DEB-40D1-41EF-A5B9-2488423E7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5293" y="2195240"/>
                <a:ext cx="40708" cy="52687"/>
              </a:xfrm>
              <a:custGeom>
                <a:avLst/>
                <a:gdLst>
                  <a:gd name="T0" fmla="*/ 9 w 16"/>
                  <a:gd name="T1" fmla="*/ 0 h 21"/>
                  <a:gd name="T2" fmla="*/ 7 w 16"/>
                  <a:gd name="T3" fmla="*/ 0 h 21"/>
                  <a:gd name="T4" fmla="*/ 3 w 16"/>
                  <a:gd name="T5" fmla="*/ 2 h 21"/>
                  <a:gd name="T6" fmla="*/ 4 w 16"/>
                  <a:gd name="T7" fmla="*/ 4 h 21"/>
                  <a:gd name="T8" fmla="*/ 4 w 16"/>
                  <a:gd name="T9" fmla="*/ 6 h 21"/>
                  <a:gd name="T10" fmla="*/ 7 w 16"/>
                  <a:gd name="T11" fmla="*/ 7 h 21"/>
                  <a:gd name="T12" fmla="*/ 10 w 16"/>
                  <a:gd name="T13" fmla="*/ 9 h 21"/>
                  <a:gd name="T14" fmla="*/ 12 w 16"/>
                  <a:gd name="T15" fmla="*/ 14 h 21"/>
                  <a:gd name="T16" fmla="*/ 11 w 16"/>
                  <a:gd name="T17" fmla="*/ 14 h 21"/>
                  <a:gd name="T18" fmla="*/ 9 w 16"/>
                  <a:gd name="T19" fmla="*/ 14 h 21"/>
                  <a:gd name="T20" fmla="*/ 2 w 16"/>
                  <a:gd name="T21" fmla="*/ 9 h 21"/>
                  <a:gd name="T22" fmla="*/ 0 w 16"/>
                  <a:gd name="T23" fmla="*/ 10 h 21"/>
                  <a:gd name="T24" fmla="*/ 3 w 16"/>
                  <a:gd name="T25" fmla="*/ 15 h 21"/>
                  <a:gd name="T26" fmla="*/ 2 w 16"/>
                  <a:gd name="T27" fmla="*/ 17 h 21"/>
                  <a:gd name="T28" fmla="*/ 7 w 16"/>
                  <a:gd name="T29" fmla="*/ 21 h 21"/>
                  <a:gd name="T30" fmla="*/ 8 w 16"/>
                  <a:gd name="T31" fmla="*/ 19 h 21"/>
                  <a:gd name="T32" fmla="*/ 11 w 16"/>
                  <a:gd name="T33" fmla="*/ 17 h 21"/>
                  <a:gd name="T34" fmla="*/ 13 w 16"/>
                  <a:gd name="T35" fmla="*/ 17 h 21"/>
                  <a:gd name="T36" fmla="*/ 15 w 16"/>
                  <a:gd name="T37" fmla="*/ 19 h 21"/>
                  <a:gd name="T38" fmla="*/ 16 w 16"/>
                  <a:gd name="T39" fmla="*/ 17 h 21"/>
                  <a:gd name="T40" fmla="*/ 15 w 16"/>
                  <a:gd name="T41" fmla="*/ 15 h 21"/>
                  <a:gd name="T42" fmla="*/ 15 w 16"/>
                  <a:gd name="T43" fmla="*/ 12 h 21"/>
                  <a:gd name="T44" fmla="*/ 16 w 16"/>
                  <a:gd name="T45" fmla="*/ 7 h 21"/>
                  <a:gd name="T46" fmla="*/ 14 w 16"/>
                  <a:gd name="T47" fmla="*/ 6 h 21"/>
                  <a:gd name="T48" fmla="*/ 11 w 16"/>
                  <a:gd name="T49" fmla="*/ 6 h 21"/>
                  <a:gd name="T50" fmla="*/ 9 w 16"/>
                  <a:gd name="T51" fmla="*/ 5 h 21"/>
                  <a:gd name="T52" fmla="*/ 9 w 16"/>
                  <a:gd name="T5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21">
                    <a:moveTo>
                      <a:pt x="9" y="0"/>
                    </a:moveTo>
                    <a:cubicBezTo>
                      <a:pt x="8" y="0"/>
                      <a:pt x="8" y="0"/>
                      <a:pt x="7" y="0"/>
                    </a:cubicBezTo>
                    <a:cubicBezTo>
                      <a:pt x="5" y="0"/>
                      <a:pt x="3" y="1"/>
                      <a:pt x="3" y="2"/>
                    </a:cubicBezTo>
                    <a:cubicBezTo>
                      <a:pt x="3" y="3"/>
                      <a:pt x="4" y="3"/>
                      <a:pt x="4" y="4"/>
                    </a:cubicBezTo>
                    <a:cubicBezTo>
                      <a:pt x="4" y="5"/>
                      <a:pt x="4" y="5"/>
                      <a:pt x="4" y="6"/>
                    </a:cubicBezTo>
                    <a:cubicBezTo>
                      <a:pt x="5" y="6"/>
                      <a:pt x="6" y="7"/>
                      <a:pt x="7" y="7"/>
                    </a:cubicBezTo>
                    <a:cubicBezTo>
                      <a:pt x="8" y="8"/>
                      <a:pt x="9" y="8"/>
                      <a:pt x="10" y="9"/>
                    </a:cubicBezTo>
                    <a:cubicBezTo>
                      <a:pt x="11" y="10"/>
                      <a:pt x="11" y="12"/>
                      <a:pt x="12" y="14"/>
                    </a:cubicBezTo>
                    <a:cubicBezTo>
                      <a:pt x="12" y="14"/>
                      <a:pt x="11" y="14"/>
                      <a:pt x="11" y="14"/>
                    </a:cubicBezTo>
                    <a:cubicBezTo>
                      <a:pt x="10" y="14"/>
                      <a:pt x="10" y="14"/>
                      <a:pt x="9" y="14"/>
                    </a:cubicBezTo>
                    <a:cubicBezTo>
                      <a:pt x="9" y="10"/>
                      <a:pt x="6" y="9"/>
                      <a:pt x="2" y="9"/>
                    </a:cubicBezTo>
                    <a:cubicBezTo>
                      <a:pt x="1" y="9"/>
                      <a:pt x="0" y="9"/>
                      <a:pt x="0" y="10"/>
                    </a:cubicBezTo>
                    <a:cubicBezTo>
                      <a:pt x="0" y="12"/>
                      <a:pt x="3" y="13"/>
                      <a:pt x="3" y="15"/>
                    </a:cubicBezTo>
                    <a:cubicBezTo>
                      <a:pt x="3" y="16"/>
                      <a:pt x="2" y="16"/>
                      <a:pt x="2" y="17"/>
                    </a:cubicBezTo>
                    <a:cubicBezTo>
                      <a:pt x="2" y="19"/>
                      <a:pt x="4" y="21"/>
                      <a:pt x="7" y="21"/>
                    </a:cubicBezTo>
                    <a:cubicBezTo>
                      <a:pt x="7" y="21"/>
                      <a:pt x="7" y="20"/>
                      <a:pt x="8" y="19"/>
                    </a:cubicBezTo>
                    <a:cubicBezTo>
                      <a:pt x="8" y="18"/>
                      <a:pt x="9" y="17"/>
                      <a:pt x="11" y="17"/>
                    </a:cubicBezTo>
                    <a:cubicBezTo>
                      <a:pt x="11" y="17"/>
                      <a:pt x="12" y="17"/>
                      <a:pt x="13" y="17"/>
                    </a:cubicBezTo>
                    <a:cubicBezTo>
                      <a:pt x="13" y="18"/>
                      <a:pt x="14" y="19"/>
                      <a:pt x="15" y="19"/>
                    </a:cubicBezTo>
                    <a:cubicBezTo>
                      <a:pt x="16" y="19"/>
                      <a:pt x="16" y="18"/>
                      <a:pt x="16" y="17"/>
                    </a:cubicBezTo>
                    <a:cubicBezTo>
                      <a:pt x="16" y="16"/>
                      <a:pt x="15" y="16"/>
                      <a:pt x="15" y="15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0"/>
                      <a:pt x="16" y="9"/>
                      <a:pt x="16" y="7"/>
                    </a:cubicBezTo>
                    <a:cubicBezTo>
                      <a:pt x="16" y="6"/>
                      <a:pt x="15" y="6"/>
                      <a:pt x="14" y="6"/>
                    </a:cubicBezTo>
                    <a:cubicBezTo>
                      <a:pt x="13" y="6"/>
                      <a:pt x="12" y="6"/>
                      <a:pt x="11" y="6"/>
                    </a:cubicBezTo>
                    <a:cubicBezTo>
                      <a:pt x="10" y="6"/>
                      <a:pt x="9" y="6"/>
                      <a:pt x="9" y="5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4" name="Freeform 66">
                <a:extLst>
                  <a:ext uri="{FF2B5EF4-FFF2-40B4-BE49-F238E27FC236}">
                    <a16:creationId xmlns:a16="http://schemas.microsoft.com/office/drawing/2014/main" xmlns="" id="{4F8418B4-DFC8-4654-9C11-39398420F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398" y="2111421"/>
                <a:ext cx="20353" cy="43107"/>
              </a:xfrm>
              <a:custGeom>
                <a:avLst/>
                <a:gdLst>
                  <a:gd name="T0" fmla="*/ 8 w 8"/>
                  <a:gd name="T1" fmla="*/ 0 h 17"/>
                  <a:gd name="T2" fmla="*/ 6 w 8"/>
                  <a:gd name="T3" fmla="*/ 0 h 17"/>
                  <a:gd name="T4" fmla="*/ 5 w 8"/>
                  <a:gd name="T5" fmla="*/ 1 h 17"/>
                  <a:gd name="T6" fmla="*/ 4 w 8"/>
                  <a:gd name="T7" fmla="*/ 3 h 17"/>
                  <a:gd name="T8" fmla="*/ 2 w 8"/>
                  <a:gd name="T9" fmla="*/ 6 h 17"/>
                  <a:gd name="T10" fmla="*/ 1 w 8"/>
                  <a:gd name="T11" fmla="*/ 9 h 17"/>
                  <a:gd name="T12" fmla="*/ 0 w 8"/>
                  <a:gd name="T13" fmla="*/ 12 h 17"/>
                  <a:gd name="T14" fmla="*/ 0 w 8"/>
                  <a:gd name="T15" fmla="*/ 15 h 17"/>
                  <a:gd name="T16" fmla="*/ 0 w 8"/>
                  <a:gd name="T17" fmla="*/ 16 h 17"/>
                  <a:gd name="T18" fmla="*/ 0 w 8"/>
                  <a:gd name="T19" fmla="*/ 17 h 17"/>
                  <a:gd name="T20" fmla="*/ 2 w 8"/>
                  <a:gd name="T21" fmla="*/ 15 h 17"/>
                  <a:gd name="T22" fmla="*/ 3 w 8"/>
                  <a:gd name="T23" fmla="*/ 8 h 17"/>
                  <a:gd name="T24" fmla="*/ 6 w 8"/>
                  <a:gd name="T25" fmla="*/ 7 h 17"/>
                  <a:gd name="T26" fmla="*/ 8 w 8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7">
                    <a:moveTo>
                      <a:pt x="8" y="0"/>
                    </a:moveTo>
                    <a:cubicBezTo>
                      <a:pt x="7" y="0"/>
                      <a:pt x="7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2"/>
                      <a:pt x="4" y="3"/>
                      <a:pt x="4" y="3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2" y="7"/>
                      <a:pt x="2" y="8"/>
                      <a:pt x="1" y="9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0" y="16"/>
                      <a:pt x="0" y="17"/>
                      <a:pt x="0" y="17"/>
                    </a:cubicBezTo>
                    <a:cubicBezTo>
                      <a:pt x="1" y="17"/>
                      <a:pt x="1" y="16"/>
                      <a:pt x="2" y="15"/>
                    </a:cubicBezTo>
                    <a:cubicBezTo>
                      <a:pt x="4" y="13"/>
                      <a:pt x="2" y="11"/>
                      <a:pt x="3" y="8"/>
                    </a:cubicBezTo>
                    <a:cubicBezTo>
                      <a:pt x="4" y="7"/>
                      <a:pt x="5" y="7"/>
                      <a:pt x="6" y="7"/>
                    </a:cubicBezTo>
                    <a:cubicBezTo>
                      <a:pt x="8" y="6"/>
                      <a:pt x="8" y="3"/>
                      <a:pt x="8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5" name="Freeform 67">
                <a:extLst>
                  <a:ext uri="{FF2B5EF4-FFF2-40B4-BE49-F238E27FC236}">
                    <a16:creationId xmlns:a16="http://schemas.microsoft.com/office/drawing/2014/main" xmlns="" id="{503106FF-3DD0-4827-A6B7-5E1FEC0E6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0101" y="2277861"/>
                <a:ext cx="295725" cy="268222"/>
              </a:xfrm>
              <a:custGeom>
                <a:avLst/>
                <a:gdLst>
                  <a:gd name="T0" fmla="*/ 70 w 117"/>
                  <a:gd name="T1" fmla="*/ 95 h 106"/>
                  <a:gd name="T2" fmla="*/ 76 w 117"/>
                  <a:gd name="T3" fmla="*/ 84 h 106"/>
                  <a:gd name="T4" fmla="*/ 74 w 117"/>
                  <a:gd name="T5" fmla="*/ 69 h 106"/>
                  <a:gd name="T6" fmla="*/ 78 w 117"/>
                  <a:gd name="T7" fmla="*/ 66 h 106"/>
                  <a:gd name="T8" fmla="*/ 88 w 117"/>
                  <a:gd name="T9" fmla="*/ 67 h 106"/>
                  <a:gd name="T10" fmla="*/ 98 w 117"/>
                  <a:gd name="T11" fmla="*/ 64 h 106"/>
                  <a:gd name="T12" fmla="*/ 99 w 117"/>
                  <a:gd name="T13" fmla="*/ 56 h 106"/>
                  <a:gd name="T14" fmla="*/ 105 w 117"/>
                  <a:gd name="T15" fmla="*/ 51 h 106"/>
                  <a:gd name="T16" fmla="*/ 109 w 117"/>
                  <a:gd name="T17" fmla="*/ 43 h 106"/>
                  <a:gd name="T18" fmla="*/ 102 w 117"/>
                  <a:gd name="T19" fmla="*/ 42 h 106"/>
                  <a:gd name="T20" fmla="*/ 107 w 117"/>
                  <a:gd name="T21" fmla="*/ 34 h 106"/>
                  <a:gd name="T22" fmla="*/ 112 w 117"/>
                  <a:gd name="T23" fmla="*/ 26 h 106"/>
                  <a:gd name="T24" fmla="*/ 117 w 117"/>
                  <a:gd name="T25" fmla="*/ 14 h 106"/>
                  <a:gd name="T26" fmla="*/ 108 w 117"/>
                  <a:gd name="T27" fmla="*/ 5 h 106"/>
                  <a:gd name="T28" fmla="*/ 96 w 117"/>
                  <a:gd name="T29" fmla="*/ 4 h 106"/>
                  <a:gd name="T30" fmla="*/ 92 w 117"/>
                  <a:gd name="T31" fmla="*/ 5 h 106"/>
                  <a:gd name="T32" fmla="*/ 88 w 117"/>
                  <a:gd name="T33" fmla="*/ 1 h 106"/>
                  <a:gd name="T34" fmla="*/ 81 w 117"/>
                  <a:gd name="T35" fmla="*/ 1 h 106"/>
                  <a:gd name="T36" fmla="*/ 71 w 117"/>
                  <a:gd name="T37" fmla="*/ 13 h 106"/>
                  <a:gd name="T38" fmla="*/ 77 w 117"/>
                  <a:gd name="T39" fmla="*/ 18 h 106"/>
                  <a:gd name="T40" fmla="*/ 77 w 117"/>
                  <a:gd name="T41" fmla="*/ 28 h 106"/>
                  <a:gd name="T42" fmla="*/ 81 w 117"/>
                  <a:gd name="T43" fmla="*/ 33 h 106"/>
                  <a:gd name="T44" fmla="*/ 72 w 117"/>
                  <a:gd name="T45" fmla="*/ 38 h 106"/>
                  <a:gd name="T46" fmla="*/ 67 w 117"/>
                  <a:gd name="T47" fmla="*/ 43 h 106"/>
                  <a:gd name="T48" fmla="*/ 60 w 117"/>
                  <a:gd name="T49" fmla="*/ 37 h 106"/>
                  <a:gd name="T50" fmla="*/ 59 w 117"/>
                  <a:gd name="T51" fmla="*/ 27 h 106"/>
                  <a:gd name="T52" fmla="*/ 67 w 117"/>
                  <a:gd name="T53" fmla="*/ 20 h 106"/>
                  <a:gd name="T54" fmla="*/ 60 w 117"/>
                  <a:gd name="T55" fmla="*/ 20 h 106"/>
                  <a:gd name="T56" fmla="*/ 64 w 117"/>
                  <a:gd name="T57" fmla="*/ 14 h 106"/>
                  <a:gd name="T58" fmla="*/ 58 w 117"/>
                  <a:gd name="T59" fmla="*/ 12 h 106"/>
                  <a:gd name="T60" fmla="*/ 50 w 117"/>
                  <a:gd name="T61" fmla="*/ 17 h 106"/>
                  <a:gd name="T62" fmla="*/ 44 w 117"/>
                  <a:gd name="T63" fmla="*/ 33 h 106"/>
                  <a:gd name="T64" fmla="*/ 25 w 117"/>
                  <a:gd name="T65" fmla="*/ 53 h 106"/>
                  <a:gd name="T66" fmla="*/ 34 w 117"/>
                  <a:gd name="T67" fmla="*/ 60 h 106"/>
                  <a:gd name="T68" fmla="*/ 24 w 117"/>
                  <a:gd name="T69" fmla="*/ 64 h 106"/>
                  <a:gd name="T70" fmla="*/ 25 w 117"/>
                  <a:gd name="T71" fmla="*/ 69 h 106"/>
                  <a:gd name="T72" fmla="*/ 20 w 117"/>
                  <a:gd name="T73" fmla="*/ 68 h 106"/>
                  <a:gd name="T74" fmla="*/ 10 w 117"/>
                  <a:gd name="T75" fmla="*/ 64 h 106"/>
                  <a:gd name="T76" fmla="*/ 7 w 117"/>
                  <a:gd name="T77" fmla="*/ 59 h 106"/>
                  <a:gd name="T78" fmla="*/ 4 w 117"/>
                  <a:gd name="T79" fmla="*/ 66 h 106"/>
                  <a:gd name="T80" fmla="*/ 18 w 117"/>
                  <a:gd name="T81" fmla="*/ 71 h 106"/>
                  <a:gd name="T82" fmla="*/ 26 w 117"/>
                  <a:gd name="T83" fmla="*/ 74 h 106"/>
                  <a:gd name="T84" fmla="*/ 15 w 117"/>
                  <a:gd name="T85" fmla="*/ 77 h 106"/>
                  <a:gd name="T86" fmla="*/ 5 w 117"/>
                  <a:gd name="T87" fmla="*/ 72 h 106"/>
                  <a:gd name="T88" fmla="*/ 1 w 117"/>
                  <a:gd name="T89" fmla="*/ 72 h 106"/>
                  <a:gd name="T90" fmla="*/ 6 w 117"/>
                  <a:gd name="T91" fmla="*/ 79 h 106"/>
                  <a:gd name="T92" fmla="*/ 15 w 117"/>
                  <a:gd name="T93" fmla="*/ 80 h 106"/>
                  <a:gd name="T94" fmla="*/ 21 w 117"/>
                  <a:gd name="T95" fmla="*/ 77 h 106"/>
                  <a:gd name="T96" fmla="*/ 33 w 117"/>
                  <a:gd name="T97" fmla="*/ 74 h 106"/>
                  <a:gd name="T98" fmla="*/ 43 w 117"/>
                  <a:gd name="T99" fmla="*/ 76 h 106"/>
                  <a:gd name="T100" fmla="*/ 56 w 117"/>
                  <a:gd name="T101" fmla="*/ 84 h 106"/>
                  <a:gd name="T102" fmla="*/ 61 w 117"/>
                  <a:gd name="T103" fmla="*/ 93 h 106"/>
                  <a:gd name="T104" fmla="*/ 60 w 117"/>
                  <a:gd name="T105" fmla="*/ 10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106">
                    <a:moveTo>
                      <a:pt x="67" y="106"/>
                    </a:moveTo>
                    <a:cubicBezTo>
                      <a:pt x="69" y="104"/>
                      <a:pt x="69" y="102"/>
                      <a:pt x="69" y="100"/>
                    </a:cubicBezTo>
                    <a:cubicBezTo>
                      <a:pt x="69" y="98"/>
                      <a:pt x="70" y="97"/>
                      <a:pt x="70" y="95"/>
                    </a:cubicBezTo>
                    <a:cubicBezTo>
                      <a:pt x="71" y="93"/>
                      <a:pt x="72" y="92"/>
                      <a:pt x="74" y="91"/>
                    </a:cubicBezTo>
                    <a:cubicBezTo>
                      <a:pt x="74" y="90"/>
                      <a:pt x="74" y="90"/>
                      <a:pt x="75" y="89"/>
                    </a:cubicBezTo>
                    <a:cubicBezTo>
                      <a:pt x="76" y="88"/>
                      <a:pt x="76" y="86"/>
                      <a:pt x="76" y="84"/>
                    </a:cubicBezTo>
                    <a:cubicBezTo>
                      <a:pt x="76" y="82"/>
                      <a:pt x="76" y="81"/>
                      <a:pt x="75" y="79"/>
                    </a:cubicBezTo>
                    <a:cubicBezTo>
                      <a:pt x="75" y="77"/>
                      <a:pt x="74" y="75"/>
                      <a:pt x="74" y="73"/>
                    </a:cubicBezTo>
                    <a:cubicBezTo>
                      <a:pt x="74" y="71"/>
                      <a:pt x="74" y="70"/>
                      <a:pt x="74" y="69"/>
                    </a:cubicBezTo>
                    <a:cubicBezTo>
                      <a:pt x="75" y="68"/>
                      <a:pt x="75" y="68"/>
                      <a:pt x="76" y="67"/>
                    </a:cubicBezTo>
                    <a:cubicBezTo>
                      <a:pt x="76" y="66"/>
                      <a:pt x="77" y="66"/>
                      <a:pt x="77" y="65"/>
                    </a:cubicBezTo>
                    <a:cubicBezTo>
                      <a:pt x="78" y="65"/>
                      <a:pt x="78" y="66"/>
                      <a:pt x="78" y="66"/>
                    </a:cubicBezTo>
                    <a:cubicBezTo>
                      <a:pt x="80" y="67"/>
                      <a:pt x="81" y="67"/>
                      <a:pt x="83" y="67"/>
                    </a:cubicBezTo>
                    <a:cubicBezTo>
                      <a:pt x="84" y="67"/>
                      <a:pt x="85" y="67"/>
                      <a:pt x="86" y="67"/>
                    </a:cubicBezTo>
                    <a:cubicBezTo>
                      <a:pt x="87" y="67"/>
                      <a:pt x="87" y="67"/>
                      <a:pt x="88" y="67"/>
                    </a:cubicBezTo>
                    <a:cubicBezTo>
                      <a:pt x="89" y="66"/>
                      <a:pt x="90" y="66"/>
                      <a:pt x="91" y="65"/>
                    </a:cubicBezTo>
                    <a:cubicBezTo>
                      <a:pt x="93" y="65"/>
                      <a:pt x="94" y="65"/>
                      <a:pt x="96" y="65"/>
                    </a:cubicBezTo>
                    <a:cubicBezTo>
                      <a:pt x="97" y="65"/>
                      <a:pt x="98" y="65"/>
                      <a:pt x="98" y="64"/>
                    </a:cubicBezTo>
                    <a:cubicBezTo>
                      <a:pt x="99" y="63"/>
                      <a:pt x="98" y="63"/>
                      <a:pt x="98" y="62"/>
                    </a:cubicBezTo>
                    <a:cubicBezTo>
                      <a:pt x="98" y="61"/>
                      <a:pt x="98" y="60"/>
                      <a:pt x="98" y="59"/>
                    </a:cubicBezTo>
                    <a:cubicBezTo>
                      <a:pt x="98" y="58"/>
                      <a:pt x="98" y="57"/>
                      <a:pt x="99" y="56"/>
                    </a:cubicBezTo>
                    <a:cubicBezTo>
                      <a:pt x="99" y="56"/>
                      <a:pt x="100" y="56"/>
                      <a:pt x="100" y="55"/>
                    </a:cubicBezTo>
                    <a:cubicBezTo>
                      <a:pt x="101" y="55"/>
                      <a:pt x="102" y="54"/>
                      <a:pt x="103" y="54"/>
                    </a:cubicBezTo>
                    <a:cubicBezTo>
                      <a:pt x="104" y="53"/>
                      <a:pt x="105" y="53"/>
                      <a:pt x="105" y="51"/>
                    </a:cubicBezTo>
                    <a:cubicBezTo>
                      <a:pt x="107" y="50"/>
                      <a:pt x="108" y="48"/>
                      <a:pt x="108" y="46"/>
                    </a:cubicBezTo>
                    <a:cubicBezTo>
                      <a:pt x="109" y="45"/>
                      <a:pt x="109" y="45"/>
                      <a:pt x="109" y="44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109" y="43"/>
                      <a:pt x="109" y="43"/>
                      <a:pt x="108" y="43"/>
                    </a:cubicBezTo>
                    <a:cubicBezTo>
                      <a:pt x="107" y="43"/>
                      <a:pt x="107" y="43"/>
                      <a:pt x="106" y="43"/>
                    </a:cubicBezTo>
                    <a:cubicBezTo>
                      <a:pt x="104" y="43"/>
                      <a:pt x="103" y="42"/>
                      <a:pt x="102" y="42"/>
                    </a:cubicBezTo>
                    <a:cubicBezTo>
                      <a:pt x="103" y="40"/>
                      <a:pt x="103" y="40"/>
                      <a:pt x="104" y="38"/>
                    </a:cubicBezTo>
                    <a:cubicBezTo>
                      <a:pt x="104" y="37"/>
                      <a:pt x="104" y="36"/>
                      <a:pt x="104" y="34"/>
                    </a:cubicBezTo>
                    <a:cubicBezTo>
                      <a:pt x="105" y="34"/>
                      <a:pt x="106" y="34"/>
                      <a:pt x="107" y="34"/>
                    </a:cubicBezTo>
                    <a:cubicBezTo>
                      <a:pt x="108" y="34"/>
                      <a:pt x="109" y="34"/>
                      <a:pt x="109" y="33"/>
                    </a:cubicBezTo>
                    <a:cubicBezTo>
                      <a:pt x="109" y="33"/>
                      <a:pt x="110" y="32"/>
                      <a:pt x="110" y="32"/>
                    </a:cubicBezTo>
                    <a:cubicBezTo>
                      <a:pt x="111" y="29"/>
                      <a:pt x="111" y="28"/>
                      <a:pt x="112" y="26"/>
                    </a:cubicBezTo>
                    <a:cubicBezTo>
                      <a:pt x="113" y="24"/>
                      <a:pt x="113" y="23"/>
                      <a:pt x="113" y="22"/>
                    </a:cubicBezTo>
                    <a:cubicBezTo>
                      <a:pt x="114" y="21"/>
                      <a:pt x="114" y="20"/>
                      <a:pt x="115" y="19"/>
                    </a:cubicBezTo>
                    <a:cubicBezTo>
                      <a:pt x="116" y="17"/>
                      <a:pt x="116" y="16"/>
                      <a:pt x="117" y="14"/>
                    </a:cubicBezTo>
                    <a:cubicBezTo>
                      <a:pt x="115" y="13"/>
                      <a:pt x="115" y="12"/>
                      <a:pt x="114" y="10"/>
                    </a:cubicBezTo>
                    <a:cubicBezTo>
                      <a:pt x="113" y="9"/>
                      <a:pt x="113" y="8"/>
                      <a:pt x="112" y="8"/>
                    </a:cubicBezTo>
                    <a:cubicBezTo>
                      <a:pt x="110" y="6"/>
                      <a:pt x="109" y="6"/>
                      <a:pt x="108" y="5"/>
                    </a:cubicBezTo>
                    <a:cubicBezTo>
                      <a:pt x="107" y="4"/>
                      <a:pt x="106" y="3"/>
                      <a:pt x="105" y="3"/>
                    </a:cubicBezTo>
                    <a:cubicBezTo>
                      <a:pt x="103" y="3"/>
                      <a:pt x="102" y="3"/>
                      <a:pt x="101" y="3"/>
                    </a:cubicBezTo>
                    <a:cubicBezTo>
                      <a:pt x="99" y="3"/>
                      <a:pt x="97" y="3"/>
                      <a:pt x="96" y="4"/>
                    </a:cubicBezTo>
                    <a:cubicBezTo>
                      <a:pt x="95" y="5"/>
                      <a:pt x="95" y="6"/>
                      <a:pt x="94" y="6"/>
                    </a:cubicBezTo>
                    <a:cubicBezTo>
                      <a:pt x="93" y="6"/>
                      <a:pt x="92" y="6"/>
                      <a:pt x="92" y="6"/>
                    </a:cubicBezTo>
                    <a:cubicBezTo>
                      <a:pt x="92" y="6"/>
                      <a:pt x="92" y="6"/>
                      <a:pt x="92" y="5"/>
                    </a:cubicBezTo>
                    <a:cubicBezTo>
                      <a:pt x="92" y="3"/>
                      <a:pt x="91" y="2"/>
                      <a:pt x="91" y="0"/>
                    </a:cubicBezTo>
                    <a:cubicBezTo>
                      <a:pt x="91" y="0"/>
                      <a:pt x="91" y="0"/>
                      <a:pt x="90" y="0"/>
                    </a:cubicBezTo>
                    <a:cubicBezTo>
                      <a:pt x="89" y="0"/>
                      <a:pt x="89" y="1"/>
                      <a:pt x="88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4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1" y="1"/>
                    </a:cubicBezTo>
                    <a:cubicBezTo>
                      <a:pt x="79" y="1"/>
                      <a:pt x="78" y="1"/>
                      <a:pt x="76" y="2"/>
                    </a:cubicBezTo>
                    <a:cubicBezTo>
                      <a:pt x="75" y="2"/>
                      <a:pt x="74" y="2"/>
                      <a:pt x="73" y="3"/>
                    </a:cubicBezTo>
                    <a:cubicBezTo>
                      <a:pt x="71" y="6"/>
                      <a:pt x="71" y="9"/>
                      <a:pt x="71" y="13"/>
                    </a:cubicBezTo>
                    <a:cubicBezTo>
                      <a:pt x="71" y="14"/>
                      <a:pt x="70" y="15"/>
                      <a:pt x="71" y="16"/>
                    </a:cubicBezTo>
                    <a:cubicBezTo>
                      <a:pt x="72" y="16"/>
                      <a:pt x="73" y="16"/>
                      <a:pt x="74" y="17"/>
                    </a:cubicBezTo>
                    <a:cubicBezTo>
                      <a:pt x="75" y="17"/>
                      <a:pt x="77" y="17"/>
                      <a:pt x="77" y="18"/>
                    </a:cubicBezTo>
                    <a:cubicBezTo>
                      <a:pt x="77" y="20"/>
                      <a:pt x="75" y="20"/>
                      <a:pt x="75" y="22"/>
                    </a:cubicBezTo>
                    <a:cubicBezTo>
                      <a:pt x="75" y="24"/>
                      <a:pt x="76" y="24"/>
                      <a:pt x="76" y="26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82" y="28"/>
                      <a:pt x="82" y="29"/>
                      <a:pt x="83" y="29"/>
                    </a:cubicBezTo>
                    <a:cubicBezTo>
                      <a:pt x="82" y="31"/>
                      <a:pt x="82" y="32"/>
                      <a:pt x="81" y="33"/>
                    </a:cubicBezTo>
                    <a:cubicBezTo>
                      <a:pt x="80" y="31"/>
                      <a:pt x="79" y="30"/>
                      <a:pt x="77" y="30"/>
                    </a:cubicBezTo>
                    <a:cubicBezTo>
                      <a:pt x="74" y="30"/>
                      <a:pt x="71" y="32"/>
                      <a:pt x="71" y="35"/>
                    </a:cubicBezTo>
                    <a:cubicBezTo>
                      <a:pt x="71" y="36"/>
                      <a:pt x="72" y="36"/>
                      <a:pt x="72" y="38"/>
                    </a:cubicBezTo>
                    <a:cubicBezTo>
                      <a:pt x="72" y="39"/>
                      <a:pt x="71" y="39"/>
                      <a:pt x="71" y="40"/>
                    </a:cubicBezTo>
                    <a:cubicBezTo>
                      <a:pt x="70" y="41"/>
                      <a:pt x="71" y="41"/>
                      <a:pt x="70" y="42"/>
                    </a:cubicBezTo>
                    <a:cubicBezTo>
                      <a:pt x="69" y="43"/>
                      <a:pt x="68" y="43"/>
                      <a:pt x="67" y="43"/>
                    </a:cubicBezTo>
                    <a:cubicBezTo>
                      <a:pt x="65" y="43"/>
                      <a:pt x="66" y="40"/>
                      <a:pt x="64" y="40"/>
                    </a:cubicBezTo>
                    <a:cubicBezTo>
                      <a:pt x="64" y="39"/>
                      <a:pt x="63" y="39"/>
                      <a:pt x="62" y="39"/>
                    </a:cubicBezTo>
                    <a:cubicBezTo>
                      <a:pt x="61" y="39"/>
                      <a:pt x="61" y="38"/>
                      <a:pt x="60" y="37"/>
                    </a:cubicBezTo>
                    <a:cubicBezTo>
                      <a:pt x="59" y="37"/>
                      <a:pt x="58" y="36"/>
                      <a:pt x="58" y="34"/>
                    </a:cubicBezTo>
                    <a:cubicBezTo>
                      <a:pt x="58" y="33"/>
                      <a:pt x="59" y="32"/>
                      <a:pt x="59" y="31"/>
                    </a:cubicBezTo>
                    <a:cubicBezTo>
                      <a:pt x="59" y="29"/>
                      <a:pt x="59" y="28"/>
                      <a:pt x="59" y="27"/>
                    </a:cubicBezTo>
                    <a:cubicBezTo>
                      <a:pt x="61" y="27"/>
                      <a:pt x="63" y="26"/>
                      <a:pt x="65" y="24"/>
                    </a:cubicBezTo>
                    <a:cubicBezTo>
                      <a:pt x="66" y="23"/>
                      <a:pt x="67" y="23"/>
                      <a:pt x="67" y="22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7" y="20"/>
                      <a:pt x="67" y="19"/>
                      <a:pt x="66" y="19"/>
                    </a:cubicBezTo>
                    <a:cubicBezTo>
                      <a:pt x="64" y="19"/>
                      <a:pt x="63" y="20"/>
                      <a:pt x="61" y="20"/>
                    </a:cubicBezTo>
                    <a:cubicBezTo>
                      <a:pt x="60" y="20"/>
                      <a:pt x="60" y="20"/>
                      <a:pt x="60" y="20"/>
                    </a:cubicBezTo>
                    <a:cubicBezTo>
                      <a:pt x="61" y="19"/>
                      <a:pt x="61" y="18"/>
                      <a:pt x="62" y="17"/>
                    </a:cubicBezTo>
                    <a:cubicBezTo>
                      <a:pt x="62" y="16"/>
                      <a:pt x="63" y="16"/>
                      <a:pt x="63" y="16"/>
                    </a:cubicBezTo>
                    <a:cubicBezTo>
                      <a:pt x="63" y="15"/>
                      <a:pt x="64" y="14"/>
                      <a:pt x="64" y="14"/>
                    </a:cubicBezTo>
                    <a:cubicBezTo>
                      <a:pt x="64" y="13"/>
                      <a:pt x="63" y="11"/>
                      <a:pt x="62" y="11"/>
                    </a:cubicBezTo>
                    <a:cubicBezTo>
                      <a:pt x="62" y="11"/>
                      <a:pt x="61" y="12"/>
                      <a:pt x="61" y="12"/>
                    </a:cubicBezTo>
                    <a:cubicBezTo>
                      <a:pt x="60" y="13"/>
                      <a:pt x="59" y="12"/>
                      <a:pt x="58" y="12"/>
                    </a:cubicBezTo>
                    <a:cubicBezTo>
                      <a:pt x="57" y="13"/>
                      <a:pt x="57" y="13"/>
                      <a:pt x="56" y="13"/>
                    </a:cubicBezTo>
                    <a:cubicBezTo>
                      <a:pt x="54" y="13"/>
                      <a:pt x="54" y="10"/>
                      <a:pt x="52" y="9"/>
                    </a:cubicBezTo>
                    <a:cubicBezTo>
                      <a:pt x="51" y="12"/>
                      <a:pt x="50" y="14"/>
                      <a:pt x="50" y="17"/>
                    </a:cubicBezTo>
                    <a:cubicBezTo>
                      <a:pt x="49" y="21"/>
                      <a:pt x="49" y="24"/>
                      <a:pt x="47" y="27"/>
                    </a:cubicBezTo>
                    <a:cubicBezTo>
                      <a:pt x="46" y="29"/>
                      <a:pt x="46" y="30"/>
                      <a:pt x="45" y="32"/>
                    </a:cubicBezTo>
                    <a:cubicBezTo>
                      <a:pt x="44" y="32"/>
                      <a:pt x="44" y="33"/>
                      <a:pt x="44" y="33"/>
                    </a:cubicBezTo>
                    <a:cubicBezTo>
                      <a:pt x="41" y="37"/>
                      <a:pt x="39" y="39"/>
                      <a:pt x="35" y="43"/>
                    </a:cubicBezTo>
                    <a:cubicBezTo>
                      <a:pt x="32" y="45"/>
                      <a:pt x="31" y="46"/>
                      <a:pt x="29" y="49"/>
                    </a:cubicBezTo>
                    <a:cubicBezTo>
                      <a:pt x="27" y="50"/>
                      <a:pt x="25" y="51"/>
                      <a:pt x="25" y="53"/>
                    </a:cubicBezTo>
                    <a:cubicBezTo>
                      <a:pt x="25" y="54"/>
                      <a:pt x="25" y="54"/>
                      <a:pt x="25" y="54"/>
                    </a:cubicBezTo>
                    <a:cubicBezTo>
                      <a:pt x="28" y="55"/>
                      <a:pt x="29" y="55"/>
                      <a:pt x="31" y="56"/>
                    </a:cubicBezTo>
                    <a:cubicBezTo>
                      <a:pt x="32" y="58"/>
                      <a:pt x="33" y="59"/>
                      <a:pt x="34" y="60"/>
                    </a:cubicBezTo>
                    <a:cubicBezTo>
                      <a:pt x="35" y="61"/>
                      <a:pt x="37" y="61"/>
                      <a:pt x="38" y="62"/>
                    </a:cubicBezTo>
                    <a:cubicBezTo>
                      <a:pt x="36" y="63"/>
                      <a:pt x="35" y="62"/>
                      <a:pt x="33" y="62"/>
                    </a:cubicBezTo>
                    <a:cubicBezTo>
                      <a:pt x="30" y="63"/>
                      <a:pt x="28" y="64"/>
                      <a:pt x="24" y="64"/>
                    </a:cubicBezTo>
                    <a:cubicBezTo>
                      <a:pt x="24" y="64"/>
                      <a:pt x="24" y="63"/>
                      <a:pt x="23" y="63"/>
                    </a:cubicBezTo>
                    <a:cubicBezTo>
                      <a:pt x="23" y="63"/>
                      <a:pt x="23" y="64"/>
                      <a:pt x="23" y="64"/>
                    </a:cubicBezTo>
                    <a:cubicBezTo>
                      <a:pt x="23" y="66"/>
                      <a:pt x="24" y="67"/>
                      <a:pt x="25" y="69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3" y="69"/>
                      <a:pt x="23" y="68"/>
                      <a:pt x="22" y="68"/>
                    </a:cubicBezTo>
                    <a:cubicBezTo>
                      <a:pt x="21" y="68"/>
                      <a:pt x="21" y="68"/>
                      <a:pt x="20" y="68"/>
                    </a:cubicBezTo>
                    <a:cubicBezTo>
                      <a:pt x="19" y="67"/>
                      <a:pt x="19" y="66"/>
                      <a:pt x="18" y="66"/>
                    </a:cubicBezTo>
                    <a:cubicBezTo>
                      <a:pt x="16" y="65"/>
                      <a:pt x="15" y="65"/>
                      <a:pt x="14" y="64"/>
                    </a:cubicBezTo>
                    <a:cubicBezTo>
                      <a:pt x="12" y="64"/>
                      <a:pt x="11" y="64"/>
                      <a:pt x="10" y="64"/>
                    </a:cubicBezTo>
                    <a:cubicBezTo>
                      <a:pt x="9" y="64"/>
                      <a:pt x="9" y="64"/>
                      <a:pt x="8" y="63"/>
                    </a:cubicBezTo>
                    <a:cubicBezTo>
                      <a:pt x="8" y="63"/>
                      <a:pt x="8" y="62"/>
                      <a:pt x="8" y="61"/>
                    </a:cubicBezTo>
                    <a:cubicBezTo>
                      <a:pt x="8" y="60"/>
                      <a:pt x="7" y="60"/>
                      <a:pt x="7" y="59"/>
                    </a:cubicBezTo>
                    <a:cubicBezTo>
                      <a:pt x="5" y="60"/>
                      <a:pt x="2" y="60"/>
                      <a:pt x="0" y="62"/>
                    </a:cubicBezTo>
                    <a:cubicBezTo>
                      <a:pt x="2" y="63"/>
                      <a:pt x="2" y="63"/>
                      <a:pt x="3" y="65"/>
                    </a:cubicBezTo>
                    <a:cubicBezTo>
                      <a:pt x="4" y="65"/>
                      <a:pt x="3" y="66"/>
                      <a:pt x="4" y="66"/>
                    </a:cubicBezTo>
                    <a:cubicBezTo>
                      <a:pt x="4" y="67"/>
                      <a:pt x="5" y="67"/>
                      <a:pt x="6" y="67"/>
                    </a:cubicBezTo>
                    <a:cubicBezTo>
                      <a:pt x="9" y="68"/>
                      <a:pt x="9" y="72"/>
                      <a:pt x="12" y="72"/>
                    </a:cubicBezTo>
                    <a:cubicBezTo>
                      <a:pt x="14" y="72"/>
                      <a:pt x="16" y="71"/>
                      <a:pt x="18" y="71"/>
                    </a:cubicBezTo>
                    <a:cubicBezTo>
                      <a:pt x="19" y="71"/>
                      <a:pt x="19" y="72"/>
                      <a:pt x="20" y="72"/>
                    </a:cubicBezTo>
                    <a:cubicBezTo>
                      <a:pt x="21" y="72"/>
                      <a:pt x="21" y="73"/>
                      <a:pt x="22" y="73"/>
                    </a:cubicBezTo>
                    <a:cubicBezTo>
                      <a:pt x="24" y="73"/>
                      <a:pt x="26" y="73"/>
                      <a:pt x="26" y="74"/>
                    </a:cubicBezTo>
                    <a:cubicBezTo>
                      <a:pt x="26" y="75"/>
                      <a:pt x="25" y="76"/>
                      <a:pt x="25" y="76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18" y="76"/>
                      <a:pt x="17" y="76"/>
                      <a:pt x="15" y="77"/>
                    </a:cubicBezTo>
                    <a:cubicBezTo>
                      <a:pt x="14" y="77"/>
                      <a:pt x="13" y="78"/>
                      <a:pt x="11" y="78"/>
                    </a:cubicBezTo>
                    <a:cubicBezTo>
                      <a:pt x="10" y="78"/>
                      <a:pt x="10" y="76"/>
                      <a:pt x="9" y="76"/>
                    </a:cubicBezTo>
                    <a:cubicBezTo>
                      <a:pt x="7" y="75"/>
                      <a:pt x="7" y="73"/>
                      <a:pt x="5" y="72"/>
                    </a:cubicBezTo>
                    <a:cubicBezTo>
                      <a:pt x="4" y="72"/>
                      <a:pt x="3" y="72"/>
                      <a:pt x="1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3"/>
                      <a:pt x="1" y="74"/>
                      <a:pt x="2" y="76"/>
                    </a:cubicBezTo>
                    <a:cubicBezTo>
                      <a:pt x="3" y="77"/>
                      <a:pt x="3" y="77"/>
                      <a:pt x="4" y="78"/>
                    </a:cubicBezTo>
                    <a:cubicBezTo>
                      <a:pt x="5" y="78"/>
                      <a:pt x="6" y="79"/>
                      <a:pt x="6" y="79"/>
                    </a:cubicBezTo>
                    <a:cubicBezTo>
                      <a:pt x="8" y="80"/>
                      <a:pt x="9" y="80"/>
                      <a:pt x="11" y="80"/>
                    </a:cubicBezTo>
                    <a:cubicBezTo>
                      <a:pt x="12" y="80"/>
                      <a:pt x="12" y="80"/>
                      <a:pt x="13" y="80"/>
                    </a:cubicBezTo>
                    <a:cubicBezTo>
                      <a:pt x="14" y="80"/>
                      <a:pt x="14" y="80"/>
                      <a:pt x="15" y="80"/>
                    </a:cubicBezTo>
                    <a:cubicBezTo>
                      <a:pt x="16" y="80"/>
                      <a:pt x="17" y="79"/>
                      <a:pt x="18" y="79"/>
                    </a:cubicBezTo>
                    <a:cubicBezTo>
                      <a:pt x="18" y="79"/>
                      <a:pt x="19" y="78"/>
                      <a:pt x="20" y="78"/>
                    </a:cubicBezTo>
                    <a:cubicBezTo>
                      <a:pt x="20" y="78"/>
                      <a:pt x="21" y="78"/>
                      <a:pt x="21" y="77"/>
                    </a:cubicBezTo>
                    <a:cubicBezTo>
                      <a:pt x="22" y="77"/>
                      <a:pt x="23" y="78"/>
                      <a:pt x="23" y="77"/>
                    </a:cubicBezTo>
                    <a:cubicBezTo>
                      <a:pt x="26" y="77"/>
                      <a:pt x="27" y="77"/>
                      <a:pt x="29" y="76"/>
                    </a:cubicBezTo>
                    <a:cubicBezTo>
                      <a:pt x="31" y="75"/>
                      <a:pt x="31" y="75"/>
                      <a:pt x="33" y="74"/>
                    </a:cubicBezTo>
                    <a:cubicBezTo>
                      <a:pt x="33" y="74"/>
                      <a:pt x="34" y="73"/>
                      <a:pt x="34" y="73"/>
                    </a:cubicBezTo>
                    <a:cubicBezTo>
                      <a:pt x="35" y="73"/>
                      <a:pt x="36" y="74"/>
                      <a:pt x="37" y="74"/>
                    </a:cubicBezTo>
                    <a:cubicBezTo>
                      <a:pt x="39" y="75"/>
                      <a:pt x="41" y="75"/>
                      <a:pt x="43" y="76"/>
                    </a:cubicBezTo>
                    <a:cubicBezTo>
                      <a:pt x="45" y="76"/>
                      <a:pt x="45" y="77"/>
                      <a:pt x="47" y="78"/>
                    </a:cubicBezTo>
                    <a:cubicBezTo>
                      <a:pt x="49" y="79"/>
                      <a:pt x="50" y="79"/>
                      <a:pt x="52" y="81"/>
                    </a:cubicBezTo>
                    <a:cubicBezTo>
                      <a:pt x="54" y="82"/>
                      <a:pt x="54" y="83"/>
                      <a:pt x="56" y="84"/>
                    </a:cubicBezTo>
                    <a:cubicBezTo>
                      <a:pt x="57" y="86"/>
                      <a:pt x="59" y="86"/>
                      <a:pt x="59" y="88"/>
                    </a:cubicBezTo>
                    <a:cubicBezTo>
                      <a:pt x="60" y="89"/>
                      <a:pt x="60" y="90"/>
                      <a:pt x="60" y="90"/>
                    </a:cubicBezTo>
                    <a:cubicBezTo>
                      <a:pt x="60" y="91"/>
                      <a:pt x="60" y="92"/>
                      <a:pt x="61" y="93"/>
                    </a:cubicBezTo>
                    <a:cubicBezTo>
                      <a:pt x="61" y="94"/>
                      <a:pt x="61" y="95"/>
                      <a:pt x="61" y="97"/>
                    </a:cubicBezTo>
                    <a:cubicBezTo>
                      <a:pt x="61" y="98"/>
                      <a:pt x="61" y="99"/>
                      <a:pt x="61" y="100"/>
                    </a:cubicBezTo>
                    <a:cubicBezTo>
                      <a:pt x="61" y="101"/>
                      <a:pt x="60" y="101"/>
                      <a:pt x="60" y="102"/>
                    </a:cubicBezTo>
                    <a:cubicBezTo>
                      <a:pt x="60" y="103"/>
                      <a:pt x="61" y="104"/>
                      <a:pt x="62" y="105"/>
                    </a:cubicBezTo>
                    <a:cubicBezTo>
                      <a:pt x="64" y="106"/>
                      <a:pt x="65" y="106"/>
                      <a:pt x="67" y="10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6" name="Freeform 68">
                <a:extLst>
                  <a:ext uri="{FF2B5EF4-FFF2-40B4-BE49-F238E27FC236}">
                    <a16:creationId xmlns:a16="http://schemas.microsoft.com/office/drawing/2014/main" xmlns="" id="{BC55D6C6-9E2D-48A3-ADDC-4276038BC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5246" y="2429934"/>
                <a:ext cx="8382" cy="4790"/>
              </a:xfrm>
              <a:custGeom>
                <a:avLst/>
                <a:gdLst>
                  <a:gd name="T0" fmla="*/ 2 w 3"/>
                  <a:gd name="T1" fmla="*/ 0 h 2"/>
                  <a:gd name="T2" fmla="*/ 0 w 3"/>
                  <a:gd name="T3" fmla="*/ 0 h 2"/>
                  <a:gd name="T4" fmla="*/ 0 w 3"/>
                  <a:gd name="T5" fmla="*/ 1 h 2"/>
                  <a:gd name="T6" fmla="*/ 1 w 3"/>
                  <a:gd name="T7" fmla="*/ 2 h 2"/>
                  <a:gd name="T8" fmla="*/ 3 w 3"/>
                  <a:gd name="T9" fmla="*/ 2 h 2"/>
                  <a:gd name="T10" fmla="*/ 3 w 3"/>
                  <a:gd name="T11" fmla="*/ 1 h 2"/>
                  <a:gd name="T12" fmla="*/ 2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7" name="Freeform 69">
                <a:extLst>
                  <a:ext uri="{FF2B5EF4-FFF2-40B4-BE49-F238E27FC236}">
                    <a16:creationId xmlns:a16="http://schemas.microsoft.com/office/drawing/2014/main" xmlns="" id="{BC28ACB4-13EE-42B2-B73E-A35DFB420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8414" y="2425145"/>
                <a:ext cx="11973" cy="7184"/>
              </a:xfrm>
              <a:custGeom>
                <a:avLst/>
                <a:gdLst>
                  <a:gd name="T0" fmla="*/ 4 w 5"/>
                  <a:gd name="T1" fmla="*/ 1 h 3"/>
                  <a:gd name="T2" fmla="*/ 1 w 5"/>
                  <a:gd name="T3" fmla="*/ 0 h 3"/>
                  <a:gd name="T4" fmla="*/ 0 w 5"/>
                  <a:gd name="T5" fmla="*/ 1 h 3"/>
                  <a:gd name="T6" fmla="*/ 3 w 5"/>
                  <a:gd name="T7" fmla="*/ 2 h 3"/>
                  <a:gd name="T8" fmla="*/ 4 w 5"/>
                  <a:gd name="T9" fmla="*/ 3 h 3"/>
                  <a:gd name="T10" fmla="*/ 5 w 5"/>
                  <a:gd name="T11" fmla="*/ 3 h 3"/>
                  <a:gd name="T12" fmla="*/ 5 w 5"/>
                  <a:gd name="T13" fmla="*/ 2 h 3"/>
                  <a:gd name="T14" fmla="*/ 4 w 5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cubicBezTo>
                      <a:pt x="3" y="1"/>
                      <a:pt x="2" y="1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2" y="2"/>
                      <a:pt x="3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1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8" name="Freeform 70">
                <a:extLst>
                  <a:ext uri="{FF2B5EF4-FFF2-40B4-BE49-F238E27FC236}">
                    <a16:creationId xmlns:a16="http://schemas.microsoft.com/office/drawing/2014/main" xmlns="" id="{4A22D775-4BC3-4E67-A226-73CE44B6E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993" y="2416762"/>
                <a:ext cx="22748" cy="13172"/>
              </a:xfrm>
              <a:custGeom>
                <a:avLst/>
                <a:gdLst>
                  <a:gd name="T0" fmla="*/ 2 w 9"/>
                  <a:gd name="T1" fmla="*/ 0 h 5"/>
                  <a:gd name="T2" fmla="*/ 0 w 9"/>
                  <a:gd name="T3" fmla="*/ 1 h 5"/>
                  <a:gd name="T4" fmla="*/ 8 w 9"/>
                  <a:gd name="T5" fmla="*/ 5 h 5"/>
                  <a:gd name="T6" fmla="*/ 9 w 9"/>
                  <a:gd name="T7" fmla="*/ 4 h 5"/>
                  <a:gd name="T8" fmla="*/ 8 w 9"/>
                  <a:gd name="T9" fmla="*/ 3 h 5"/>
                  <a:gd name="T10" fmla="*/ 6 w 9"/>
                  <a:gd name="T11" fmla="*/ 2 h 5"/>
                  <a:gd name="T12" fmla="*/ 4 w 9"/>
                  <a:gd name="T13" fmla="*/ 0 h 5"/>
                  <a:gd name="T14" fmla="*/ 2 w 9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5">
                    <a:moveTo>
                      <a:pt x="2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2" y="3"/>
                      <a:pt x="5" y="5"/>
                      <a:pt x="8" y="5"/>
                    </a:cubicBezTo>
                    <a:cubicBezTo>
                      <a:pt x="9" y="5"/>
                      <a:pt x="9" y="5"/>
                      <a:pt x="9" y="4"/>
                    </a:cubicBezTo>
                    <a:cubicBezTo>
                      <a:pt x="9" y="4"/>
                      <a:pt x="8" y="4"/>
                      <a:pt x="8" y="3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5" y="1"/>
                      <a:pt x="4" y="1"/>
                      <a:pt x="4" y="0"/>
                    </a:cubicBezTo>
                    <a:cubicBezTo>
                      <a:pt x="3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49" name="Freeform 71">
                <a:extLst>
                  <a:ext uri="{FF2B5EF4-FFF2-40B4-BE49-F238E27FC236}">
                    <a16:creationId xmlns:a16="http://schemas.microsoft.com/office/drawing/2014/main" xmlns="" id="{8CC801B0-E8E8-446C-8D32-D5CD7600B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441" y="2261098"/>
                <a:ext cx="15564" cy="7184"/>
              </a:xfrm>
              <a:custGeom>
                <a:avLst/>
                <a:gdLst>
                  <a:gd name="T0" fmla="*/ 3 w 6"/>
                  <a:gd name="T1" fmla="*/ 0 h 3"/>
                  <a:gd name="T2" fmla="*/ 0 w 6"/>
                  <a:gd name="T3" fmla="*/ 0 h 3"/>
                  <a:gd name="T4" fmla="*/ 0 w 6"/>
                  <a:gd name="T5" fmla="*/ 1 h 3"/>
                  <a:gd name="T6" fmla="*/ 2 w 6"/>
                  <a:gd name="T7" fmla="*/ 2 h 3"/>
                  <a:gd name="T8" fmla="*/ 6 w 6"/>
                  <a:gd name="T9" fmla="*/ 3 h 3"/>
                  <a:gd name="T10" fmla="*/ 6 w 6"/>
                  <a:gd name="T11" fmla="*/ 2 h 3"/>
                  <a:gd name="T12" fmla="*/ 4 w 6"/>
                  <a:gd name="T13" fmla="*/ 1 h 3"/>
                  <a:gd name="T14" fmla="*/ 3 w 6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3" y="2"/>
                      <a:pt x="4" y="2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0" name="Freeform 72">
                <a:extLst>
                  <a:ext uri="{FF2B5EF4-FFF2-40B4-BE49-F238E27FC236}">
                    <a16:creationId xmlns:a16="http://schemas.microsoft.com/office/drawing/2014/main" xmlns="" id="{1AD35904-E0ED-4B36-9D7A-5B58C1D67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903" y="2261098"/>
                <a:ext cx="16762" cy="7184"/>
              </a:xfrm>
              <a:custGeom>
                <a:avLst/>
                <a:gdLst>
                  <a:gd name="T0" fmla="*/ 0 w 7"/>
                  <a:gd name="T1" fmla="*/ 2 h 3"/>
                  <a:gd name="T2" fmla="*/ 1 w 7"/>
                  <a:gd name="T3" fmla="*/ 3 h 3"/>
                  <a:gd name="T4" fmla="*/ 4 w 7"/>
                  <a:gd name="T5" fmla="*/ 2 h 3"/>
                  <a:gd name="T6" fmla="*/ 7 w 7"/>
                  <a:gd name="T7" fmla="*/ 1 h 3"/>
                  <a:gd name="T8" fmla="*/ 2 w 7"/>
                  <a:gd name="T9" fmla="*/ 1 h 3"/>
                  <a:gd name="T10" fmla="*/ 0 w 7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0" y="2"/>
                    </a:moveTo>
                    <a:cubicBezTo>
                      <a:pt x="0" y="2"/>
                      <a:pt x="0" y="3"/>
                      <a:pt x="1" y="3"/>
                    </a:cubicBezTo>
                    <a:cubicBezTo>
                      <a:pt x="2" y="3"/>
                      <a:pt x="3" y="2"/>
                      <a:pt x="4" y="2"/>
                    </a:cubicBezTo>
                    <a:cubicBezTo>
                      <a:pt x="5" y="2"/>
                      <a:pt x="6" y="2"/>
                      <a:pt x="7" y="1"/>
                    </a:cubicBezTo>
                    <a:cubicBezTo>
                      <a:pt x="5" y="0"/>
                      <a:pt x="4" y="1"/>
                      <a:pt x="2" y="1"/>
                    </a:cubicBezTo>
                    <a:cubicBezTo>
                      <a:pt x="1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1" name="Freeform 73">
                <a:extLst>
                  <a:ext uri="{FF2B5EF4-FFF2-40B4-BE49-F238E27FC236}">
                    <a16:creationId xmlns:a16="http://schemas.microsoft.com/office/drawing/2014/main" xmlns="" id="{61CCD8A9-440B-46F0-8D9A-63750A749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4550" y="2270677"/>
                <a:ext cx="11973" cy="13172"/>
              </a:xfrm>
              <a:custGeom>
                <a:avLst/>
                <a:gdLst>
                  <a:gd name="T0" fmla="*/ 0 w 5"/>
                  <a:gd name="T1" fmla="*/ 4 h 5"/>
                  <a:gd name="T2" fmla="*/ 1 w 5"/>
                  <a:gd name="T3" fmla="*/ 5 h 5"/>
                  <a:gd name="T4" fmla="*/ 4 w 5"/>
                  <a:gd name="T5" fmla="*/ 2 h 5"/>
                  <a:gd name="T6" fmla="*/ 5 w 5"/>
                  <a:gd name="T7" fmla="*/ 0 h 5"/>
                  <a:gd name="T8" fmla="*/ 5 w 5"/>
                  <a:gd name="T9" fmla="*/ 0 h 5"/>
                  <a:gd name="T10" fmla="*/ 4 w 5"/>
                  <a:gd name="T11" fmla="*/ 0 h 5"/>
                  <a:gd name="T12" fmla="*/ 2 w 5"/>
                  <a:gd name="T13" fmla="*/ 1 h 5"/>
                  <a:gd name="T14" fmla="*/ 0 w 5"/>
                  <a:gd name="T1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0" y="4"/>
                    </a:moveTo>
                    <a:cubicBezTo>
                      <a:pt x="0" y="4"/>
                      <a:pt x="0" y="5"/>
                      <a:pt x="1" y="5"/>
                    </a:cubicBezTo>
                    <a:cubicBezTo>
                      <a:pt x="2" y="5"/>
                      <a:pt x="2" y="3"/>
                      <a:pt x="4" y="2"/>
                    </a:cubicBezTo>
                    <a:cubicBezTo>
                      <a:pt x="4" y="2"/>
                      <a:pt x="5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3" y="0"/>
                      <a:pt x="3" y="0"/>
                      <a:pt x="2" y="1"/>
                    </a:cubicBezTo>
                    <a:cubicBezTo>
                      <a:pt x="1" y="2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2" name="Freeform 74">
                <a:extLst>
                  <a:ext uri="{FF2B5EF4-FFF2-40B4-BE49-F238E27FC236}">
                    <a16:creationId xmlns:a16="http://schemas.microsoft.com/office/drawing/2014/main" xmlns="" id="{E2BB4849-6674-4088-B477-3EF66B07B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591" y="2283849"/>
                <a:ext cx="13170" cy="11974"/>
              </a:xfrm>
              <a:custGeom>
                <a:avLst/>
                <a:gdLst>
                  <a:gd name="T0" fmla="*/ 4 w 5"/>
                  <a:gd name="T1" fmla="*/ 0 h 5"/>
                  <a:gd name="T2" fmla="*/ 0 w 5"/>
                  <a:gd name="T3" fmla="*/ 4 h 5"/>
                  <a:gd name="T4" fmla="*/ 0 w 5"/>
                  <a:gd name="T5" fmla="*/ 5 h 5"/>
                  <a:gd name="T6" fmla="*/ 5 w 5"/>
                  <a:gd name="T7" fmla="*/ 5 h 5"/>
                  <a:gd name="T8" fmla="*/ 5 w 5"/>
                  <a:gd name="T9" fmla="*/ 3 h 5"/>
                  <a:gd name="T10" fmla="*/ 4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4" y="0"/>
                    </a:moveTo>
                    <a:cubicBezTo>
                      <a:pt x="2" y="0"/>
                      <a:pt x="2" y="2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3" y="5"/>
                      <a:pt x="5" y="5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3" name="Freeform 75">
                <a:extLst>
                  <a:ext uri="{FF2B5EF4-FFF2-40B4-BE49-F238E27FC236}">
                    <a16:creationId xmlns:a16="http://schemas.microsoft.com/office/drawing/2014/main" xmlns="" id="{7DDCF9E8-992F-49CF-9A0F-33FD9EB9E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5028" y="2457474"/>
                <a:ext cx="234664" cy="225115"/>
              </a:xfrm>
              <a:custGeom>
                <a:avLst/>
                <a:gdLst>
                  <a:gd name="T0" fmla="*/ 68 w 93"/>
                  <a:gd name="T1" fmla="*/ 87 h 89"/>
                  <a:gd name="T2" fmla="*/ 64 w 93"/>
                  <a:gd name="T3" fmla="*/ 89 h 89"/>
                  <a:gd name="T4" fmla="*/ 59 w 93"/>
                  <a:gd name="T5" fmla="*/ 82 h 89"/>
                  <a:gd name="T6" fmla="*/ 51 w 93"/>
                  <a:gd name="T7" fmla="*/ 73 h 89"/>
                  <a:gd name="T8" fmla="*/ 49 w 93"/>
                  <a:gd name="T9" fmla="*/ 67 h 89"/>
                  <a:gd name="T10" fmla="*/ 44 w 93"/>
                  <a:gd name="T11" fmla="*/ 61 h 89"/>
                  <a:gd name="T12" fmla="*/ 36 w 93"/>
                  <a:gd name="T13" fmla="*/ 66 h 89"/>
                  <a:gd name="T14" fmla="*/ 33 w 93"/>
                  <a:gd name="T15" fmla="*/ 61 h 89"/>
                  <a:gd name="T16" fmla="*/ 31 w 93"/>
                  <a:gd name="T17" fmla="*/ 49 h 89"/>
                  <a:gd name="T18" fmla="*/ 22 w 93"/>
                  <a:gd name="T19" fmla="*/ 43 h 89"/>
                  <a:gd name="T20" fmla="*/ 13 w 93"/>
                  <a:gd name="T21" fmla="*/ 34 h 89"/>
                  <a:gd name="T22" fmla="*/ 13 w 93"/>
                  <a:gd name="T23" fmla="*/ 23 h 89"/>
                  <a:gd name="T24" fmla="*/ 9 w 93"/>
                  <a:gd name="T25" fmla="*/ 20 h 89"/>
                  <a:gd name="T26" fmla="*/ 1 w 93"/>
                  <a:gd name="T27" fmla="*/ 20 h 89"/>
                  <a:gd name="T28" fmla="*/ 0 w 93"/>
                  <a:gd name="T29" fmla="*/ 14 h 89"/>
                  <a:gd name="T30" fmla="*/ 1 w 93"/>
                  <a:gd name="T31" fmla="*/ 6 h 89"/>
                  <a:gd name="T32" fmla="*/ 6 w 93"/>
                  <a:gd name="T33" fmla="*/ 5 h 89"/>
                  <a:gd name="T34" fmla="*/ 12 w 93"/>
                  <a:gd name="T35" fmla="*/ 2 h 89"/>
                  <a:gd name="T36" fmla="*/ 22 w 93"/>
                  <a:gd name="T37" fmla="*/ 1 h 89"/>
                  <a:gd name="T38" fmla="*/ 24 w 93"/>
                  <a:gd name="T39" fmla="*/ 5 h 89"/>
                  <a:gd name="T40" fmla="*/ 28 w 93"/>
                  <a:gd name="T41" fmla="*/ 8 h 89"/>
                  <a:gd name="T42" fmla="*/ 35 w 93"/>
                  <a:gd name="T43" fmla="*/ 9 h 89"/>
                  <a:gd name="T44" fmla="*/ 40 w 93"/>
                  <a:gd name="T45" fmla="*/ 8 h 89"/>
                  <a:gd name="T46" fmla="*/ 43 w 93"/>
                  <a:gd name="T47" fmla="*/ 6 h 89"/>
                  <a:gd name="T48" fmla="*/ 51 w 93"/>
                  <a:gd name="T49" fmla="*/ 5 h 89"/>
                  <a:gd name="T50" fmla="*/ 56 w 93"/>
                  <a:gd name="T51" fmla="*/ 2 h 89"/>
                  <a:gd name="T52" fmla="*/ 65 w 93"/>
                  <a:gd name="T53" fmla="*/ 5 h 89"/>
                  <a:gd name="T54" fmla="*/ 74 w 93"/>
                  <a:gd name="T55" fmla="*/ 10 h 89"/>
                  <a:gd name="T56" fmla="*/ 81 w 93"/>
                  <a:gd name="T57" fmla="*/ 17 h 89"/>
                  <a:gd name="T58" fmla="*/ 83 w 93"/>
                  <a:gd name="T59" fmla="*/ 22 h 89"/>
                  <a:gd name="T60" fmla="*/ 83 w 93"/>
                  <a:gd name="T61" fmla="*/ 29 h 89"/>
                  <a:gd name="T62" fmla="*/ 84 w 93"/>
                  <a:gd name="T63" fmla="*/ 34 h 89"/>
                  <a:gd name="T64" fmla="*/ 90 w 93"/>
                  <a:gd name="T65" fmla="*/ 39 h 89"/>
                  <a:gd name="T66" fmla="*/ 91 w 93"/>
                  <a:gd name="T67" fmla="*/ 49 h 89"/>
                  <a:gd name="T68" fmla="*/ 92 w 93"/>
                  <a:gd name="T69" fmla="*/ 57 h 89"/>
                  <a:gd name="T70" fmla="*/ 92 w 93"/>
                  <a:gd name="T71" fmla="*/ 60 h 89"/>
                  <a:gd name="T72" fmla="*/ 91 w 93"/>
                  <a:gd name="T73" fmla="*/ 61 h 89"/>
                  <a:gd name="T74" fmla="*/ 88 w 93"/>
                  <a:gd name="T75" fmla="*/ 63 h 89"/>
                  <a:gd name="T76" fmla="*/ 85 w 93"/>
                  <a:gd name="T77" fmla="*/ 66 h 89"/>
                  <a:gd name="T78" fmla="*/ 80 w 93"/>
                  <a:gd name="T79" fmla="*/ 66 h 89"/>
                  <a:gd name="T80" fmla="*/ 75 w 93"/>
                  <a:gd name="T81" fmla="*/ 72 h 89"/>
                  <a:gd name="T82" fmla="*/ 73 w 93"/>
                  <a:gd name="T83" fmla="*/ 75 h 89"/>
                  <a:gd name="T84" fmla="*/ 73 w 93"/>
                  <a:gd name="T85" fmla="*/ 79 h 89"/>
                  <a:gd name="T86" fmla="*/ 74 w 93"/>
                  <a:gd name="T87" fmla="*/ 8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3" h="89">
                    <a:moveTo>
                      <a:pt x="74" y="88"/>
                    </a:moveTo>
                    <a:cubicBezTo>
                      <a:pt x="71" y="87"/>
                      <a:pt x="70" y="87"/>
                      <a:pt x="68" y="87"/>
                    </a:cubicBezTo>
                    <a:cubicBezTo>
                      <a:pt x="67" y="87"/>
                      <a:pt x="67" y="87"/>
                      <a:pt x="66" y="88"/>
                    </a:cubicBezTo>
                    <a:cubicBezTo>
                      <a:pt x="65" y="88"/>
                      <a:pt x="64" y="89"/>
                      <a:pt x="64" y="89"/>
                    </a:cubicBezTo>
                    <a:cubicBezTo>
                      <a:pt x="62" y="89"/>
                      <a:pt x="62" y="87"/>
                      <a:pt x="62" y="86"/>
                    </a:cubicBezTo>
                    <a:cubicBezTo>
                      <a:pt x="61" y="85"/>
                      <a:pt x="60" y="84"/>
                      <a:pt x="59" y="82"/>
                    </a:cubicBezTo>
                    <a:cubicBezTo>
                      <a:pt x="57" y="79"/>
                      <a:pt x="56" y="78"/>
                      <a:pt x="53" y="76"/>
                    </a:cubicBezTo>
                    <a:cubicBezTo>
                      <a:pt x="52" y="75"/>
                      <a:pt x="52" y="74"/>
                      <a:pt x="51" y="73"/>
                    </a:cubicBezTo>
                    <a:cubicBezTo>
                      <a:pt x="51" y="73"/>
                      <a:pt x="50" y="72"/>
                      <a:pt x="50" y="72"/>
                    </a:cubicBezTo>
                    <a:cubicBezTo>
                      <a:pt x="49" y="70"/>
                      <a:pt x="50" y="69"/>
                      <a:pt x="49" y="67"/>
                    </a:cubicBezTo>
                    <a:cubicBezTo>
                      <a:pt x="49" y="65"/>
                      <a:pt x="49" y="64"/>
                      <a:pt x="49" y="62"/>
                    </a:cubicBezTo>
                    <a:cubicBezTo>
                      <a:pt x="47" y="62"/>
                      <a:pt x="46" y="61"/>
                      <a:pt x="44" y="61"/>
                    </a:cubicBezTo>
                    <a:cubicBezTo>
                      <a:pt x="43" y="61"/>
                      <a:pt x="42" y="62"/>
                      <a:pt x="41" y="63"/>
                    </a:cubicBezTo>
                    <a:cubicBezTo>
                      <a:pt x="39" y="65"/>
                      <a:pt x="38" y="66"/>
                      <a:pt x="36" y="66"/>
                    </a:cubicBezTo>
                    <a:cubicBezTo>
                      <a:pt x="35" y="66"/>
                      <a:pt x="35" y="64"/>
                      <a:pt x="34" y="63"/>
                    </a:cubicBezTo>
                    <a:cubicBezTo>
                      <a:pt x="34" y="62"/>
                      <a:pt x="33" y="62"/>
                      <a:pt x="33" y="61"/>
                    </a:cubicBezTo>
                    <a:cubicBezTo>
                      <a:pt x="32" y="59"/>
                      <a:pt x="32" y="58"/>
                      <a:pt x="31" y="55"/>
                    </a:cubicBezTo>
                    <a:cubicBezTo>
                      <a:pt x="31" y="53"/>
                      <a:pt x="31" y="52"/>
                      <a:pt x="31" y="49"/>
                    </a:cubicBezTo>
                    <a:cubicBezTo>
                      <a:pt x="30" y="47"/>
                      <a:pt x="30" y="46"/>
                      <a:pt x="28" y="46"/>
                    </a:cubicBezTo>
                    <a:cubicBezTo>
                      <a:pt x="25" y="45"/>
                      <a:pt x="24" y="45"/>
                      <a:pt x="22" y="43"/>
                    </a:cubicBezTo>
                    <a:cubicBezTo>
                      <a:pt x="20" y="42"/>
                      <a:pt x="20" y="40"/>
                      <a:pt x="19" y="38"/>
                    </a:cubicBezTo>
                    <a:cubicBezTo>
                      <a:pt x="18" y="36"/>
                      <a:pt x="16" y="35"/>
                      <a:pt x="13" y="34"/>
                    </a:cubicBezTo>
                    <a:cubicBezTo>
                      <a:pt x="12" y="33"/>
                      <a:pt x="11" y="31"/>
                      <a:pt x="11" y="30"/>
                    </a:cubicBezTo>
                    <a:cubicBezTo>
                      <a:pt x="11" y="27"/>
                      <a:pt x="13" y="25"/>
                      <a:pt x="13" y="23"/>
                    </a:cubicBezTo>
                    <a:cubicBezTo>
                      <a:pt x="13" y="22"/>
                      <a:pt x="12" y="21"/>
                      <a:pt x="11" y="21"/>
                    </a:cubicBezTo>
                    <a:cubicBezTo>
                      <a:pt x="11" y="21"/>
                      <a:pt x="10" y="20"/>
                      <a:pt x="9" y="20"/>
                    </a:cubicBezTo>
                    <a:cubicBezTo>
                      <a:pt x="7" y="20"/>
                      <a:pt x="6" y="23"/>
                      <a:pt x="3" y="23"/>
                    </a:cubicBezTo>
                    <a:cubicBezTo>
                      <a:pt x="2" y="23"/>
                      <a:pt x="2" y="21"/>
                      <a:pt x="1" y="20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12"/>
                      <a:pt x="0" y="11"/>
                      <a:pt x="0" y="9"/>
                    </a:cubicBezTo>
                    <a:cubicBezTo>
                      <a:pt x="0" y="7"/>
                      <a:pt x="1" y="7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ubicBezTo>
                      <a:pt x="4" y="6"/>
                      <a:pt x="5" y="5"/>
                      <a:pt x="6" y="5"/>
                    </a:cubicBezTo>
                    <a:cubicBezTo>
                      <a:pt x="8" y="4"/>
                      <a:pt x="8" y="4"/>
                      <a:pt x="10" y="4"/>
                    </a:cubicBezTo>
                    <a:cubicBezTo>
                      <a:pt x="11" y="3"/>
                      <a:pt x="11" y="3"/>
                      <a:pt x="12" y="2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0"/>
                      <a:pt x="20" y="1"/>
                      <a:pt x="22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2"/>
                      <a:pt x="23" y="3"/>
                      <a:pt x="24" y="5"/>
                    </a:cubicBezTo>
                    <a:cubicBezTo>
                      <a:pt x="25" y="6"/>
                      <a:pt x="25" y="6"/>
                      <a:pt x="26" y="7"/>
                    </a:cubicBezTo>
                    <a:cubicBezTo>
                      <a:pt x="27" y="7"/>
                      <a:pt x="28" y="8"/>
                      <a:pt x="28" y="8"/>
                    </a:cubicBezTo>
                    <a:cubicBezTo>
                      <a:pt x="30" y="9"/>
                      <a:pt x="31" y="9"/>
                      <a:pt x="33" y="9"/>
                    </a:cubicBezTo>
                    <a:cubicBezTo>
                      <a:pt x="34" y="9"/>
                      <a:pt x="34" y="9"/>
                      <a:pt x="35" y="9"/>
                    </a:cubicBezTo>
                    <a:cubicBezTo>
                      <a:pt x="36" y="9"/>
                      <a:pt x="36" y="9"/>
                      <a:pt x="37" y="9"/>
                    </a:cubicBezTo>
                    <a:cubicBezTo>
                      <a:pt x="38" y="9"/>
                      <a:pt x="39" y="8"/>
                      <a:pt x="40" y="8"/>
                    </a:cubicBezTo>
                    <a:cubicBezTo>
                      <a:pt x="40" y="8"/>
                      <a:pt x="41" y="7"/>
                      <a:pt x="42" y="7"/>
                    </a:cubicBezTo>
                    <a:cubicBezTo>
                      <a:pt x="42" y="7"/>
                      <a:pt x="43" y="7"/>
                      <a:pt x="43" y="6"/>
                    </a:cubicBezTo>
                    <a:cubicBezTo>
                      <a:pt x="44" y="6"/>
                      <a:pt x="45" y="7"/>
                      <a:pt x="45" y="6"/>
                    </a:cubicBezTo>
                    <a:cubicBezTo>
                      <a:pt x="48" y="6"/>
                      <a:pt x="49" y="6"/>
                      <a:pt x="51" y="5"/>
                    </a:cubicBezTo>
                    <a:cubicBezTo>
                      <a:pt x="53" y="4"/>
                      <a:pt x="53" y="4"/>
                      <a:pt x="55" y="3"/>
                    </a:cubicBezTo>
                    <a:cubicBezTo>
                      <a:pt x="55" y="3"/>
                      <a:pt x="56" y="2"/>
                      <a:pt x="56" y="2"/>
                    </a:cubicBezTo>
                    <a:cubicBezTo>
                      <a:pt x="57" y="2"/>
                      <a:pt x="58" y="3"/>
                      <a:pt x="59" y="3"/>
                    </a:cubicBezTo>
                    <a:cubicBezTo>
                      <a:pt x="61" y="4"/>
                      <a:pt x="63" y="4"/>
                      <a:pt x="65" y="5"/>
                    </a:cubicBezTo>
                    <a:cubicBezTo>
                      <a:pt x="67" y="5"/>
                      <a:pt x="67" y="6"/>
                      <a:pt x="69" y="7"/>
                    </a:cubicBezTo>
                    <a:cubicBezTo>
                      <a:pt x="71" y="8"/>
                      <a:pt x="72" y="8"/>
                      <a:pt x="74" y="10"/>
                    </a:cubicBezTo>
                    <a:cubicBezTo>
                      <a:pt x="76" y="11"/>
                      <a:pt x="76" y="12"/>
                      <a:pt x="78" y="13"/>
                    </a:cubicBezTo>
                    <a:cubicBezTo>
                      <a:pt x="79" y="15"/>
                      <a:pt x="81" y="15"/>
                      <a:pt x="81" y="17"/>
                    </a:cubicBezTo>
                    <a:cubicBezTo>
                      <a:pt x="82" y="18"/>
                      <a:pt x="82" y="19"/>
                      <a:pt x="82" y="19"/>
                    </a:cubicBezTo>
                    <a:cubicBezTo>
                      <a:pt x="82" y="20"/>
                      <a:pt x="82" y="21"/>
                      <a:pt x="83" y="22"/>
                    </a:cubicBezTo>
                    <a:cubicBezTo>
                      <a:pt x="83" y="23"/>
                      <a:pt x="83" y="24"/>
                      <a:pt x="83" y="26"/>
                    </a:cubicBezTo>
                    <a:cubicBezTo>
                      <a:pt x="83" y="27"/>
                      <a:pt x="83" y="28"/>
                      <a:pt x="83" y="29"/>
                    </a:cubicBezTo>
                    <a:cubicBezTo>
                      <a:pt x="83" y="30"/>
                      <a:pt x="82" y="30"/>
                      <a:pt x="82" y="31"/>
                    </a:cubicBezTo>
                    <a:cubicBezTo>
                      <a:pt x="82" y="32"/>
                      <a:pt x="83" y="33"/>
                      <a:pt x="84" y="34"/>
                    </a:cubicBezTo>
                    <a:cubicBezTo>
                      <a:pt x="86" y="35"/>
                      <a:pt x="87" y="35"/>
                      <a:pt x="89" y="35"/>
                    </a:cubicBezTo>
                    <a:cubicBezTo>
                      <a:pt x="89" y="37"/>
                      <a:pt x="90" y="38"/>
                      <a:pt x="90" y="39"/>
                    </a:cubicBezTo>
                    <a:cubicBezTo>
                      <a:pt x="90" y="41"/>
                      <a:pt x="90" y="42"/>
                      <a:pt x="91" y="43"/>
                    </a:cubicBezTo>
                    <a:cubicBezTo>
                      <a:pt x="91" y="45"/>
                      <a:pt x="91" y="46"/>
                      <a:pt x="91" y="49"/>
                    </a:cubicBezTo>
                    <a:cubicBezTo>
                      <a:pt x="91" y="50"/>
                      <a:pt x="91" y="50"/>
                      <a:pt x="91" y="52"/>
                    </a:cubicBezTo>
                    <a:cubicBezTo>
                      <a:pt x="92" y="54"/>
                      <a:pt x="92" y="55"/>
                      <a:pt x="92" y="57"/>
                    </a:cubicBezTo>
                    <a:cubicBezTo>
                      <a:pt x="92" y="58"/>
                      <a:pt x="92" y="58"/>
                      <a:pt x="92" y="59"/>
                    </a:cubicBezTo>
                    <a:cubicBezTo>
                      <a:pt x="92" y="59"/>
                      <a:pt x="93" y="60"/>
                      <a:pt x="92" y="60"/>
                    </a:cubicBezTo>
                    <a:cubicBezTo>
                      <a:pt x="92" y="60"/>
                      <a:pt x="92" y="60"/>
                      <a:pt x="92" y="61"/>
                    </a:cubicBezTo>
                    <a:cubicBezTo>
                      <a:pt x="91" y="61"/>
                      <a:pt x="91" y="61"/>
                      <a:pt x="91" y="61"/>
                    </a:cubicBezTo>
                    <a:cubicBezTo>
                      <a:pt x="90" y="62"/>
                      <a:pt x="90" y="62"/>
                      <a:pt x="89" y="62"/>
                    </a:cubicBezTo>
                    <a:cubicBezTo>
                      <a:pt x="89" y="63"/>
                      <a:pt x="88" y="63"/>
                      <a:pt x="88" y="63"/>
                    </a:cubicBezTo>
                    <a:cubicBezTo>
                      <a:pt x="87" y="64"/>
                      <a:pt x="87" y="64"/>
                      <a:pt x="87" y="64"/>
                    </a:cubicBezTo>
                    <a:cubicBezTo>
                      <a:pt x="86" y="64"/>
                      <a:pt x="86" y="65"/>
                      <a:pt x="85" y="66"/>
                    </a:cubicBezTo>
                    <a:cubicBezTo>
                      <a:pt x="84" y="66"/>
                      <a:pt x="83" y="66"/>
                      <a:pt x="82" y="66"/>
                    </a:cubicBezTo>
                    <a:cubicBezTo>
                      <a:pt x="82" y="66"/>
                      <a:pt x="81" y="66"/>
                      <a:pt x="80" y="66"/>
                    </a:cubicBezTo>
                    <a:cubicBezTo>
                      <a:pt x="79" y="66"/>
                      <a:pt x="79" y="67"/>
                      <a:pt x="78" y="68"/>
                    </a:cubicBezTo>
                    <a:cubicBezTo>
                      <a:pt x="77" y="69"/>
                      <a:pt x="76" y="70"/>
                      <a:pt x="75" y="72"/>
                    </a:cubicBezTo>
                    <a:cubicBezTo>
                      <a:pt x="75" y="72"/>
                      <a:pt x="74" y="73"/>
                      <a:pt x="74" y="74"/>
                    </a:cubicBezTo>
                    <a:cubicBezTo>
                      <a:pt x="74" y="74"/>
                      <a:pt x="73" y="75"/>
                      <a:pt x="73" y="75"/>
                    </a:cubicBezTo>
                    <a:cubicBezTo>
                      <a:pt x="73" y="76"/>
                      <a:pt x="72" y="76"/>
                      <a:pt x="72" y="76"/>
                    </a:cubicBezTo>
                    <a:cubicBezTo>
                      <a:pt x="72" y="77"/>
                      <a:pt x="73" y="78"/>
                      <a:pt x="73" y="79"/>
                    </a:cubicBezTo>
                    <a:cubicBezTo>
                      <a:pt x="74" y="81"/>
                      <a:pt x="75" y="82"/>
                      <a:pt x="76" y="84"/>
                    </a:cubicBezTo>
                    <a:lnTo>
                      <a:pt x="74" y="88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4" name="Freeform 76">
                <a:extLst>
                  <a:ext uri="{FF2B5EF4-FFF2-40B4-BE49-F238E27FC236}">
                    <a16:creationId xmlns:a16="http://schemas.microsoft.com/office/drawing/2014/main" xmlns="" id="{3FFF7561-9CF4-47E8-A7E0-306F115C6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7013" y="2623916"/>
                <a:ext cx="55074" cy="74239"/>
              </a:xfrm>
              <a:custGeom>
                <a:avLst/>
                <a:gdLst>
                  <a:gd name="T0" fmla="*/ 19 w 22"/>
                  <a:gd name="T1" fmla="*/ 26 h 29"/>
                  <a:gd name="T2" fmla="*/ 15 w 22"/>
                  <a:gd name="T3" fmla="*/ 27 h 29"/>
                  <a:gd name="T4" fmla="*/ 12 w 22"/>
                  <a:gd name="T5" fmla="*/ 28 h 29"/>
                  <a:gd name="T6" fmla="*/ 10 w 22"/>
                  <a:gd name="T7" fmla="*/ 29 h 29"/>
                  <a:gd name="T8" fmla="*/ 8 w 22"/>
                  <a:gd name="T9" fmla="*/ 29 h 29"/>
                  <a:gd name="T10" fmla="*/ 4 w 22"/>
                  <a:gd name="T11" fmla="*/ 27 h 29"/>
                  <a:gd name="T12" fmla="*/ 3 w 22"/>
                  <a:gd name="T13" fmla="*/ 26 h 29"/>
                  <a:gd name="T14" fmla="*/ 3 w 22"/>
                  <a:gd name="T15" fmla="*/ 25 h 29"/>
                  <a:gd name="T16" fmla="*/ 1 w 22"/>
                  <a:gd name="T17" fmla="*/ 22 h 29"/>
                  <a:gd name="T18" fmla="*/ 4 w 22"/>
                  <a:gd name="T19" fmla="*/ 18 h 29"/>
                  <a:gd name="T20" fmla="*/ 1 w 22"/>
                  <a:gd name="T21" fmla="*/ 13 h 29"/>
                  <a:gd name="T22" fmla="*/ 0 w 22"/>
                  <a:gd name="T23" fmla="*/ 10 h 29"/>
                  <a:gd name="T24" fmla="*/ 1 w 22"/>
                  <a:gd name="T25" fmla="*/ 9 h 29"/>
                  <a:gd name="T26" fmla="*/ 2 w 22"/>
                  <a:gd name="T27" fmla="*/ 8 h 29"/>
                  <a:gd name="T28" fmla="*/ 3 w 22"/>
                  <a:gd name="T29" fmla="*/ 6 h 29"/>
                  <a:gd name="T30" fmla="*/ 6 w 22"/>
                  <a:gd name="T31" fmla="*/ 2 h 29"/>
                  <a:gd name="T32" fmla="*/ 8 w 22"/>
                  <a:gd name="T33" fmla="*/ 0 h 29"/>
                  <a:gd name="T34" fmla="*/ 10 w 22"/>
                  <a:gd name="T35" fmla="*/ 0 h 29"/>
                  <a:gd name="T36" fmla="*/ 13 w 22"/>
                  <a:gd name="T37" fmla="*/ 0 h 29"/>
                  <a:gd name="T38" fmla="*/ 13 w 22"/>
                  <a:gd name="T39" fmla="*/ 1 h 29"/>
                  <a:gd name="T40" fmla="*/ 13 w 22"/>
                  <a:gd name="T41" fmla="*/ 3 h 29"/>
                  <a:gd name="T42" fmla="*/ 13 w 22"/>
                  <a:gd name="T43" fmla="*/ 5 h 29"/>
                  <a:gd name="T44" fmla="*/ 13 w 22"/>
                  <a:gd name="T45" fmla="*/ 6 h 29"/>
                  <a:gd name="T46" fmla="*/ 15 w 22"/>
                  <a:gd name="T47" fmla="*/ 9 h 29"/>
                  <a:gd name="T48" fmla="*/ 15 w 22"/>
                  <a:gd name="T49" fmla="*/ 10 h 29"/>
                  <a:gd name="T50" fmla="*/ 16 w 22"/>
                  <a:gd name="T51" fmla="*/ 12 h 29"/>
                  <a:gd name="T52" fmla="*/ 17 w 22"/>
                  <a:gd name="T53" fmla="*/ 12 h 29"/>
                  <a:gd name="T54" fmla="*/ 19 w 22"/>
                  <a:gd name="T55" fmla="*/ 14 h 29"/>
                  <a:gd name="T56" fmla="*/ 20 w 22"/>
                  <a:gd name="T57" fmla="*/ 15 h 29"/>
                  <a:gd name="T58" fmla="*/ 22 w 22"/>
                  <a:gd name="T59" fmla="*/ 18 h 29"/>
                  <a:gd name="T60" fmla="*/ 22 w 22"/>
                  <a:gd name="T61" fmla="*/ 18 h 29"/>
                  <a:gd name="T62" fmla="*/ 22 w 22"/>
                  <a:gd name="T63" fmla="*/ 19 h 29"/>
                  <a:gd name="T64" fmla="*/ 22 w 22"/>
                  <a:gd name="T65" fmla="*/ 20 h 29"/>
                  <a:gd name="T66" fmla="*/ 22 w 22"/>
                  <a:gd name="T67" fmla="*/ 21 h 29"/>
                  <a:gd name="T68" fmla="*/ 21 w 22"/>
                  <a:gd name="T69" fmla="*/ 23 h 29"/>
                  <a:gd name="T70" fmla="*/ 20 w 22"/>
                  <a:gd name="T71" fmla="*/ 25 h 29"/>
                  <a:gd name="T72" fmla="*/ 19 w 22"/>
                  <a:gd name="T73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2" h="29">
                    <a:moveTo>
                      <a:pt x="19" y="26"/>
                    </a:moveTo>
                    <a:cubicBezTo>
                      <a:pt x="18" y="26"/>
                      <a:pt x="17" y="26"/>
                      <a:pt x="15" y="27"/>
                    </a:cubicBezTo>
                    <a:cubicBezTo>
                      <a:pt x="14" y="27"/>
                      <a:pt x="13" y="27"/>
                      <a:pt x="12" y="28"/>
                    </a:cubicBezTo>
                    <a:cubicBezTo>
                      <a:pt x="11" y="28"/>
                      <a:pt x="11" y="29"/>
                      <a:pt x="10" y="29"/>
                    </a:cubicBezTo>
                    <a:cubicBezTo>
                      <a:pt x="9" y="29"/>
                      <a:pt x="9" y="29"/>
                      <a:pt x="8" y="29"/>
                    </a:cubicBezTo>
                    <a:cubicBezTo>
                      <a:pt x="7" y="28"/>
                      <a:pt x="6" y="28"/>
                      <a:pt x="4" y="27"/>
                    </a:cubicBezTo>
                    <a:cubicBezTo>
                      <a:pt x="4" y="27"/>
                      <a:pt x="3" y="27"/>
                      <a:pt x="3" y="26"/>
                    </a:cubicBezTo>
                    <a:cubicBezTo>
                      <a:pt x="3" y="26"/>
                      <a:pt x="3" y="26"/>
                      <a:pt x="3" y="25"/>
                    </a:cubicBezTo>
                    <a:cubicBezTo>
                      <a:pt x="2" y="24"/>
                      <a:pt x="2" y="23"/>
                      <a:pt x="1" y="22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3" y="16"/>
                      <a:pt x="2" y="15"/>
                      <a:pt x="1" y="13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10"/>
                      <a:pt x="1" y="10"/>
                      <a:pt x="1" y="9"/>
                    </a:cubicBezTo>
                    <a:cubicBezTo>
                      <a:pt x="1" y="9"/>
                      <a:pt x="2" y="8"/>
                      <a:pt x="2" y="8"/>
                    </a:cubicBezTo>
                    <a:cubicBezTo>
                      <a:pt x="2" y="7"/>
                      <a:pt x="3" y="6"/>
                      <a:pt x="3" y="6"/>
                    </a:cubicBezTo>
                    <a:cubicBezTo>
                      <a:pt x="4" y="4"/>
                      <a:pt x="5" y="3"/>
                      <a:pt x="6" y="2"/>
                    </a:cubicBezTo>
                    <a:cubicBezTo>
                      <a:pt x="7" y="1"/>
                      <a:pt x="7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3" y="2"/>
                      <a:pt x="13" y="2"/>
                      <a:pt x="13" y="3"/>
                    </a:cubicBezTo>
                    <a:cubicBezTo>
                      <a:pt x="13" y="3"/>
                      <a:pt x="13" y="4"/>
                      <a:pt x="13" y="5"/>
                    </a:cubicBezTo>
                    <a:cubicBezTo>
                      <a:pt x="13" y="5"/>
                      <a:pt x="13" y="5"/>
                      <a:pt x="13" y="6"/>
                    </a:cubicBezTo>
                    <a:cubicBezTo>
                      <a:pt x="14" y="7"/>
                      <a:pt x="14" y="8"/>
                      <a:pt x="15" y="9"/>
                    </a:cubicBezTo>
                    <a:cubicBezTo>
                      <a:pt x="15" y="9"/>
                      <a:pt x="15" y="10"/>
                      <a:pt x="15" y="10"/>
                    </a:cubicBezTo>
                    <a:cubicBezTo>
                      <a:pt x="16" y="11"/>
                      <a:pt x="16" y="11"/>
                      <a:pt x="16" y="12"/>
                    </a:cubicBezTo>
                    <a:cubicBezTo>
                      <a:pt x="16" y="12"/>
                      <a:pt x="17" y="12"/>
                      <a:pt x="17" y="12"/>
                    </a:cubicBezTo>
                    <a:cubicBezTo>
                      <a:pt x="18" y="13"/>
                      <a:pt x="18" y="13"/>
                      <a:pt x="19" y="14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1" y="16"/>
                      <a:pt x="22" y="16"/>
                      <a:pt x="22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20"/>
                      <a:pt x="22" y="20"/>
                      <a:pt x="22" y="21"/>
                    </a:cubicBezTo>
                    <a:cubicBezTo>
                      <a:pt x="21" y="21"/>
                      <a:pt x="21" y="22"/>
                      <a:pt x="21" y="23"/>
                    </a:cubicBezTo>
                    <a:cubicBezTo>
                      <a:pt x="21" y="24"/>
                      <a:pt x="21" y="24"/>
                      <a:pt x="20" y="25"/>
                    </a:cubicBezTo>
                    <a:cubicBezTo>
                      <a:pt x="20" y="25"/>
                      <a:pt x="20" y="25"/>
                      <a:pt x="19" y="26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5" name="Freeform 77">
                <a:extLst>
                  <a:ext uri="{FF2B5EF4-FFF2-40B4-BE49-F238E27FC236}">
                    <a16:creationId xmlns:a16="http://schemas.microsoft.com/office/drawing/2014/main" xmlns="" id="{7413AAD1-4ACF-4E3B-8FA7-D778687A3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8785" y="2473041"/>
                <a:ext cx="947040" cy="942370"/>
              </a:xfrm>
              <a:custGeom>
                <a:avLst/>
                <a:gdLst>
                  <a:gd name="T0" fmla="*/ 341 w 375"/>
                  <a:gd name="T1" fmla="*/ 101 h 373"/>
                  <a:gd name="T2" fmla="*/ 373 w 375"/>
                  <a:gd name="T3" fmla="*/ 121 h 373"/>
                  <a:gd name="T4" fmla="*/ 360 w 375"/>
                  <a:gd name="T5" fmla="*/ 139 h 373"/>
                  <a:gd name="T6" fmla="*/ 349 w 375"/>
                  <a:gd name="T7" fmla="*/ 178 h 373"/>
                  <a:gd name="T8" fmla="*/ 311 w 375"/>
                  <a:gd name="T9" fmla="*/ 199 h 373"/>
                  <a:gd name="T10" fmla="*/ 289 w 375"/>
                  <a:gd name="T11" fmla="*/ 234 h 373"/>
                  <a:gd name="T12" fmla="*/ 312 w 375"/>
                  <a:gd name="T13" fmla="*/ 249 h 373"/>
                  <a:gd name="T14" fmla="*/ 304 w 375"/>
                  <a:gd name="T15" fmla="*/ 282 h 373"/>
                  <a:gd name="T16" fmla="*/ 320 w 375"/>
                  <a:gd name="T17" fmla="*/ 330 h 373"/>
                  <a:gd name="T18" fmla="*/ 312 w 375"/>
                  <a:gd name="T19" fmla="*/ 342 h 373"/>
                  <a:gd name="T20" fmla="*/ 295 w 375"/>
                  <a:gd name="T21" fmla="*/ 353 h 373"/>
                  <a:gd name="T22" fmla="*/ 277 w 375"/>
                  <a:gd name="T23" fmla="*/ 363 h 373"/>
                  <a:gd name="T24" fmla="*/ 263 w 375"/>
                  <a:gd name="T25" fmla="*/ 364 h 373"/>
                  <a:gd name="T26" fmla="*/ 246 w 375"/>
                  <a:gd name="T27" fmla="*/ 353 h 373"/>
                  <a:gd name="T28" fmla="*/ 229 w 375"/>
                  <a:gd name="T29" fmla="*/ 346 h 373"/>
                  <a:gd name="T30" fmla="*/ 201 w 375"/>
                  <a:gd name="T31" fmla="*/ 335 h 373"/>
                  <a:gd name="T32" fmla="*/ 172 w 375"/>
                  <a:gd name="T33" fmla="*/ 351 h 373"/>
                  <a:gd name="T34" fmla="*/ 164 w 375"/>
                  <a:gd name="T35" fmla="*/ 369 h 373"/>
                  <a:gd name="T36" fmla="*/ 135 w 375"/>
                  <a:gd name="T37" fmla="*/ 362 h 373"/>
                  <a:gd name="T38" fmla="*/ 127 w 375"/>
                  <a:gd name="T39" fmla="*/ 350 h 373"/>
                  <a:gd name="T40" fmla="*/ 102 w 375"/>
                  <a:gd name="T41" fmla="*/ 334 h 373"/>
                  <a:gd name="T42" fmla="*/ 65 w 375"/>
                  <a:gd name="T43" fmla="*/ 325 h 373"/>
                  <a:gd name="T44" fmla="*/ 39 w 375"/>
                  <a:gd name="T45" fmla="*/ 303 h 373"/>
                  <a:gd name="T46" fmla="*/ 49 w 375"/>
                  <a:gd name="T47" fmla="*/ 272 h 373"/>
                  <a:gd name="T48" fmla="*/ 67 w 375"/>
                  <a:gd name="T49" fmla="*/ 244 h 373"/>
                  <a:gd name="T50" fmla="*/ 69 w 375"/>
                  <a:gd name="T51" fmla="*/ 215 h 373"/>
                  <a:gd name="T52" fmla="*/ 80 w 375"/>
                  <a:gd name="T53" fmla="*/ 225 h 373"/>
                  <a:gd name="T54" fmla="*/ 76 w 375"/>
                  <a:gd name="T55" fmla="*/ 203 h 373"/>
                  <a:gd name="T56" fmla="*/ 78 w 375"/>
                  <a:gd name="T57" fmla="*/ 189 h 373"/>
                  <a:gd name="T58" fmla="*/ 83 w 375"/>
                  <a:gd name="T59" fmla="*/ 174 h 373"/>
                  <a:gd name="T60" fmla="*/ 67 w 375"/>
                  <a:gd name="T61" fmla="*/ 162 h 373"/>
                  <a:gd name="T62" fmla="*/ 64 w 375"/>
                  <a:gd name="T63" fmla="*/ 130 h 373"/>
                  <a:gd name="T64" fmla="*/ 55 w 375"/>
                  <a:gd name="T65" fmla="*/ 117 h 373"/>
                  <a:gd name="T66" fmla="*/ 55 w 375"/>
                  <a:gd name="T67" fmla="*/ 111 h 373"/>
                  <a:gd name="T68" fmla="*/ 41 w 375"/>
                  <a:gd name="T69" fmla="*/ 104 h 373"/>
                  <a:gd name="T70" fmla="*/ 40 w 375"/>
                  <a:gd name="T71" fmla="*/ 94 h 373"/>
                  <a:gd name="T72" fmla="*/ 24 w 375"/>
                  <a:gd name="T73" fmla="*/ 85 h 373"/>
                  <a:gd name="T74" fmla="*/ 7 w 375"/>
                  <a:gd name="T75" fmla="*/ 72 h 373"/>
                  <a:gd name="T76" fmla="*/ 6 w 375"/>
                  <a:gd name="T77" fmla="*/ 65 h 373"/>
                  <a:gd name="T78" fmla="*/ 14 w 375"/>
                  <a:gd name="T79" fmla="*/ 62 h 373"/>
                  <a:gd name="T80" fmla="*/ 7 w 375"/>
                  <a:gd name="T81" fmla="*/ 48 h 373"/>
                  <a:gd name="T82" fmla="*/ 32 w 375"/>
                  <a:gd name="T83" fmla="*/ 50 h 373"/>
                  <a:gd name="T84" fmla="*/ 42 w 375"/>
                  <a:gd name="T85" fmla="*/ 47 h 373"/>
                  <a:gd name="T86" fmla="*/ 61 w 375"/>
                  <a:gd name="T87" fmla="*/ 60 h 373"/>
                  <a:gd name="T88" fmla="*/ 73 w 375"/>
                  <a:gd name="T89" fmla="*/ 64 h 373"/>
                  <a:gd name="T90" fmla="*/ 82 w 375"/>
                  <a:gd name="T91" fmla="*/ 73 h 373"/>
                  <a:gd name="T92" fmla="*/ 89 w 375"/>
                  <a:gd name="T93" fmla="*/ 71 h 373"/>
                  <a:gd name="T94" fmla="*/ 97 w 375"/>
                  <a:gd name="T95" fmla="*/ 67 h 373"/>
                  <a:gd name="T96" fmla="*/ 98 w 375"/>
                  <a:gd name="T97" fmla="*/ 43 h 373"/>
                  <a:gd name="T98" fmla="*/ 91 w 375"/>
                  <a:gd name="T99" fmla="*/ 23 h 373"/>
                  <a:gd name="T100" fmla="*/ 115 w 375"/>
                  <a:gd name="T101" fmla="*/ 28 h 373"/>
                  <a:gd name="T102" fmla="*/ 113 w 375"/>
                  <a:gd name="T103" fmla="*/ 47 h 373"/>
                  <a:gd name="T104" fmla="*/ 143 w 375"/>
                  <a:gd name="T105" fmla="*/ 57 h 373"/>
                  <a:gd name="T106" fmla="*/ 167 w 375"/>
                  <a:gd name="T107" fmla="*/ 58 h 373"/>
                  <a:gd name="T108" fmla="*/ 174 w 375"/>
                  <a:gd name="T109" fmla="*/ 39 h 373"/>
                  <a:gd name="T110" fmla="*/ 203 w 375"/>
                  <a:gd name="T111" fmla="*/ 20 h 373"/>
                  <a:gd name="T112" fmla="*/ 236 w 375"/>
                  <a:gd name="T113" fmla="*/ 8 h 373"/>
                  <a:gd name="T114" fmla="*/ 255 w 375"/>
                  <a:gd name="T115" fmla="*/ 32 h 373"/>
                  <a:gd name="T116" fmla="*/ 280 w 375"/>
                  <a:gd name="T117" fmla="*/ 55 h 373"/>
                  <a:gd name="T118" fmla="*/ 302 w 375"/>
                  <a:gd name="T119" fmla="*/ 82 h 373"/>
                  <a:gd name="T120" fmla="*/ 323 w 375"/>
                  <a:gd name="T121" fmla="*/ 87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5" h="373">
                    <a:moveTo>
                      <a:pt x="327" y="86"/>
                    </a:moveTo>
                    <a:cubicBezTo>
                      <a:pt x="328" y="87"/>
                      <a:pt x="328" y="88"/>
                      <a:pt x="329" y="89"/>
                    </a:cubicBezTo>
                    <a:cubicBezTo>
                      <a:pt x="330" y="90"/>
                      <a:pt x="330" y="91"/>
                      <a:pt x="331" y="93"/>
                    </a:cubicBezTo>
                    <a:cubicBezTo>
                      <a:pt x="333" y="96"/>
                      <a:pt x="334" y="97"/>
                      <a:pt x="335" y="101"/>
                    </a:cubicBezTo>
                    <a:cubicBezTo>
                      <a:pt x="335" y="101"/>
                      <a:pt x="335" y="101"/>
                      <a:pt x="335" y="101"/>
                    </a:cubicBezTo>
                    <a:cubicBezTo>
                      <a:pt x="335" y="101"/>
                      <a:pt x="336" y="101"/>
                      <a:pt x="336" y="101"/>
                    </a:cubicBezTo>
                    <a:cubicBezTo>
                      <a:pt x="337" y="100"/>
                      <a:pt x="337" y="101"/>
                      <a:pt x="338" y="100"/>
                    </a:cubicBezTo>
                    <a:cubicBezTo>
                      <a:pt x="339" y="100"/>
                      <a:pt x="339" y="100"/>
                      <a:pt x="340" y="100"/>
                    </a:cubicBezTo>
                    <a:cubicBezTo>
                      <a:pt x="340" y="100"/>
                      <a:pt x="341" y="100"/>
                      <a:pt x="341" y="101"/>
                    </a:cubicBezTo>
                    <a:cubicBezTo>
                      <a:pt x="342" y="101"/>
                      <a:pt x="343" y="102"/>
                      <a:pt x="344" y="103"/>
                    </a:cubicBezTo>
                    <a:cubicBezTo>
                      <a:pt x="346" y="104"/>
                      <a:pt x="347" y="105"/>
                      <a:pt x="349" y="106"/>
                    </a:cubicBezTo>
                    <a:cubicBezTo>
                      <a:pt x="350" y="107"/>
                      <a:pt x="350" y="107"/>
                      <a:pt x="351" y="108"/>
                    </a:cubicBezTo>
                    <a:cubicBezTo>
                      <a:pt x="353" y="109"/>
                      <a:pt x="354" y="110"/>
                      <a:pt x="355" y="111"/>
                    </a:cubicBezTo>
                    <a:cubicBezTo>
                      <a:pt x="356" y="112"/>
                      <a:pt x="357" y="112"/>
                      <a:pt x="357" y="112"/>
                    </a:cubicBezTo>
                    <a:cubicBezTo>
                      <a:pt x="360" y="114"/>
                      <a:pt x="362" y="115"/>
                      <a:pt x="364" y="116"/>
                    </a:cubicBezTo>
                    <a:cubicBezTo>
                      <a:pt x="365" y="116"/>
                      <a:pt x="365" y="117"/>
                      <a:pt x="366" y="117"/>
                    </a:cubicBezTo>
                    <a:cubicBezTo>
                      <a:pt x="367" y="118"/>
                      <a:pt x="368" y="118"/>
                      <a:pt x="369" y="119"/>
                    </a:cubicBezTo>
                    <a:cubicBezTo>
                      <a:pt x="371" y="119"/>
                      <a:pt x="371" y="120"/>
                      <a:pt x="373" y="121"/>
                    </a:cubicBezTo>
                    <a:cubicBezTo>
                      <a:pt x="374" y="121"/>
                      <a:pt x="374" y="121"/>
                      <a:pt x="375" y="122"/>
                    </a:cubicBezTo>
                    <a:cubicBezTo>
                      <a:pt x="375" y="123"/>
                      <a:pt x="374" y="123"/>
                      <a:pt x="374" y="123"/>
                    </a:cubicBezTo>
                    <a:cubicBezTo>
                      <a:pt x="373" y="124"/>
                      <a:pt x="373" y="125"/>
                      <a:pt x="372" y="125"/>
                    </a:cubicBezTo>
                    <a:cubicBezTo>
                      <a:pt x="372" y="126"/>
                      <a:pt x="371" y="127"/>
                      <a:pt x="371" y="127"/>
                    </a:cubicBezTo>
                    <a:cubicBezTo>
                      <a:pt x="371" y="128"/>
                      <a:pt x="371" y="128"/>
                      <a:pt x="370" y="128"/>
                    </a:cubicBezTo>
                    <a:cubicBezTo>
                      <a:pt x="369" y="129"/>
                      <a:pt x="368" y="130"/>
                      <a:pt x="367" y="131"/>
                    </a:cubicBezTo>
                    <a:cubicBezTo>
                      <a:pt x="365" y="132"/>
                      <a:pt x="365" y="133"/>
                      <a:pt x="364" y="135"/>
                    </a:cubicBezTo>
                    <a:cubicBezTo>
                      <a:pt x="363" y="136"/>
                      <a:pt x="362" y="136"/>
                      <a:pt x="362" y="137"/>
                    </a:cubicBezTo>
                    <a:cubicBezTo>
                      <a:pt x="361" y="138"/>
                      <a:pt x="361" y="139"/>
                      <a:pt x="360" y="139"/>
                    </a:cubicBezTo>
                    <a:cubicBezTo>
                      <a:pt x="360" y="140"/>
                      <a:pt x="359" y="140"/>
                      <a:pt x="359" y="141"/>
                    </a:cubicBezTo>
                    <a:cubicBezTo>
                      <a:pt x="359" y="142"/>
                      <a:pt x="359" y="142"/>
                      <a:pt x="359" y="144"/>
                    </a:cubicBezTo>
                    <a:cubicBezTo>
                      <a:pt x="358" y="145"/>
                      <a:pt x="357" y="146"/>
                      <a:pt x="357" y="148"/>
                    </a:cubicBezTo>
                    <a:cubicBezTo>
                      <a:pt x="357" y="149"/>
                      <a:pt x="357" y="149"/>
                      <a:pt x="356" y="151"/>
                    </a:cubicBezTo>
                    <a:cubicBezTo>
                      <a:pt x="356" y="153"/>
                      <a:pt x="355" y="154"/>
                      <a:pt x="353" y="155"/>
                    </a:cubicBezTo>
                    <a:cubicBezTo>
                      <a:pt x="352" y="156"/>
                      <a:pt x="351" y="156"/>
                      <a:pt x="351" y="157"/>
                    </a:cubicBezTo>
                    <a:cubicBezTo>
                      <a:pt x="350" y="158"/>
                      <a:pt x="350" y="159"/>
                      <a:pt x="350" y="161"/>
                    </a:cubicBezTo>
                    <a:cubicBezTo>
                      <a:pt x="350" y="165"/>
                      <a:pt x="348" y="167"/>
                      <a:pt x="348" y="171"/>
                    </a:cubicBezTo>
                    <a:cubicBezTo>
                      <a:pt x="348" y="173"/>
                      <a:pt x="349" y="175"/>
                      <a:pt x="349" y="178"/>
                    </a:cubicBezTo>
                    <a:cubicBezTo>
                      <a:pt x="347" y="180"/>
                      <a:pt x="345" y="181"/>
                      <a:pt x="342" y="181"/>
                    </a:cubicBezTo>
                    <a:cubicBezTo>
                      <a:pt x="336" y="181"/>
                      <a:pt x="336" y="181"/>
                      <a:pt x="336" y="181"/>
                    </a:cubicBezTo>
                    <a:cubicBezTo>
                      <a:pt x="336" y="181"/>
                      <a:pt x="335" y="181"/>
                      <a:pt x="334" y="181"/>
                    </a:cubicBezTo>
                    <a:cubicBezTo>
                      <a:pt x="332" y="181"/>
                      <a:pt x="330" y="180"/>
                      <a:pt x="327" y="180"/>
                    </a:cubicBezTo>
                    <a:cubicBezTo>
                      <a:pt x="327" y="182"/>
                      <a:pt x="326" y="183"/>
                      <a:pt x="325" y="186"/>
                    </a:cubicBezTo>
                    <a:cubicBezTo>
                      <a:pt x="324" y="188"/>
                      <a:pt x="324" y="189"/>
                      <a:pt x="324" y="191"/>
                    </a:cubicBezTo>
                    <a:cubicBezTo>
                      <a:pt x="323" y="192"/>
                      <a:pt x="321" y="193"/>
                      <a:pt x="320" y="193"/>
                    </a:cubicBezTo>
                    <a:cubicBezTo>
                      <a:pt x="317" y="195"/>
                      <a:pt x="315" y="196"/>
                      <a:pt x="313" y="197"/>
                    </a:cubicBezTo>
                    <a:cubicBezTo>
                      <a:pt x="312" y="198"/>
                      <a:pt x="311" y="198"/>
                      <a:pt x="311" y="199"/>
                    </a:cubicBezTo>
                    <a:cubicBezTo>
                      <a:pt x="309" y="201"/>
                      <a:pt x="309" y="203"/>
                      <a:pt x="307" y="204"/>
                    </a:cubicBezTo>
                    <a:cubicBezTo>
                      <a:pt x="305" y="206"/>
                      <a:pt x="303" y="206"/>
                      <a:pt x="302" y="207"/>
                    </a:cubicBezTo>
                    <a:cubicBezTo>
                      <a:pt x="298" y="210"/>
                      <a:pt x="297" y="213"/>
                      <a:pt x="295" y="217"/>
                    </a:cubicBezTo>
                    <a:cubicBezTo>
                      <a:pt x="294" y="220"/>
                      <a:pt x="291" y="220"/>
                      <a:pt x="289" y="223"/>
                    </a:cubicBezTo>
                    <a:cubicBezTo>
                      <a:pt x="289" y="224"/>
                      <a:pt x="289" y="224"/>
                      <a:pt x="288" y="225"/>
                    </a:cubicBezTo>
                    <a:cubicBezTo>
                      <a:pt x="287" y="227"/>
                      <a:pt x="285" y="227"/>
                      <a:pt x="285" y="229"/>
                    </a:cubicBezTo>
                    <a:cubicBezTo>
                      <a:pt x="285" y="231"/>
                      <a:pt x="285" y="231"/>
                      <a:pt x="286" y="232"/>
                    </a:cubicBezTo>
                    <a:cubicBezTo>
                      <a:pt x="286" y="234"/>
                      <a:pt x="287" y="235"/>
                      <a:pt x="288" y="235"/>
                    </a:cubicBezTo>
                    <a:cubicBezTo>
                      <a:pt x="289" y="235"/>
                      <a:pt x="289" y="235"/>
                      <a:pt x="289" y="234"/>
                    </a:cubicBezTo>
                    <a:cubicBezTo>
                      <a:pt x="290" y="234"/>
                      <a:pt x="291" y="233"/>
                      <a:pt x="291" y="233"/>
                    </a:cubicBezTo>
                    <a:cubicBezTo>
                      <a:pt x="293" y="230"/>
                      <a:pt x="294" y="228"/>
                      <a:pt x="297" y="227"/>
                    </a:cubicBezTo>
                    <a:cubicBezTo>
                      <a:pt x="300" y="226"/>
                      <a:pt x="302" y="226"/>
                      <a:pt x="306" y="226"/>
                    </a:cubicBezTo>
                    <a:cubicBezTo>
                      <a:pt x="309" y="226"/>
                      <a:pt x="311" y="226"/>
                      <a:pt x="314" y="227"/>
                    </a:cubicBezTo>
                    <a:cubicBezTo>
                      <a:pt x="314" y="230"/>
                      <a:pt x="314" y="230"/>
                      <a:pt x="314" y="230"/>
                    </a:cubicBezTo>
                    <a:cubicBezTo>
                      <a:pt x="314" y="232"/>
                      <a:pt x="313" y="232"/>
                      <a:pt x="313" y="234"/>
                    </a:cubicBezTo>
                    <a:cubicBezTo>
                      <a:pt x="313" y="236"/>
                      <a:pt x="314" y="237"/>
                      <a:pt x="314" y="238"/>
                    </a:cubicBezTo>
                    <a:cubicBezTo>
                      <a:pt x="315" y="242"/>
                      <a:pt x="315" y="245"/>
                      <a:pt x="316" y="248"/>
                    </a:cubicBezTo>
                    <a:cubicBezTo>
                      <a:pt x="314" y="249"/>
                      <a:pt x="313" y="249"/>
                      <a:pt x="312" y="249"/>
                    </a:cubicBezTo>
                    <a:cubicBezTo>
                      <a:pt x="312" y="249"/>
                      <a:pt x="311" y="249"/>
                      <a:pt x="311" y="250"/>
                    </a:cubicBezTo>
                    <a:cubicBezTo>
                      <a:pt x="311" y="250"/>
                      <a:pt x="312" y="250"/>
                      <a:pt x="312" y="251"/>
                    </a:cubicBezTo>
                    <a:cubicBezTo>
                      <a:pt x="313" y="252"/>
                      <a:pt x="313" y="253"/>
                      <a:pt x="313" y="254"/>
                    </a:cubicBezTo>
                    <a:cubicBezTo>
                      <a:pt x="314" y="257"/>
                      <a:pt x="313" y="259"/>
                      <a:pt x="315" y="262"/>
                    </a:cubicBezTo>
                    <a:cubicBezTo>
                      <a:pt x="317" y="264"/>
                      <a:pt x="318" y="266"/>
                      <a:pt x="318" y="269"/>
                    </a:cubicBezTo>
                    <a:cubicBezTo>
                      <a:pt x="318" y="271"/>
                      <a:pt x="317" y="273"/>
                      <a:pt x="315" y="275"/>
                    </a:cubicBezTo>
                    <a:cubicBezTo>
                      <a:pt x="313" y="276"/>
                      <a:pt x="310" y="276"/>
                      <a:pt x="307" y="278"/>
                    </a:cubicBezTo>
                    <a:cubicBezTo>
                      <a:pt x="306" y="278"/>
                      <a:pt x="305" y="278"/>
                      <a:pt x="304" y="279"/>
                    </a:cubicBezTo>
                    <a:cubicBezTo>
                      <a:pt x="304" y="279"/>
                      <a:pt x="304" y="280"/>
                      <a:pt x="304" y="282"/>
                    </a:cubicBezTo>
                    <a:cubicBezTo>
                      <a:pt x="304" y="283"/>
                      <a:pt x="304" y="284"/>
                      <a:pt x="303" y="286"/>
                    </a:cubicBezTo>
                    <a:cubicBezTo>
                      <a:pt x="303" y="286"/>
                      <a:pt x="303" y="286"/>
                      <a:pt x="303" y="286"/>
                    </a:cubicBezTo>
                    <a:cubicBezTo>
                      <a:pt x="303" y="289"/>
                      <a:pt x="303" y="289"/>
                      <a:pt x="303" y="289"/>
                    </a:cubicBezTo>
                    <a:cubicBezTo>
                      <a:pt x="306" y="289"/>
                      <a:pt x="307" y="289"/>
                      <a:pt x="310" y="291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304" y="314"/>
                      <a:pt x="304" y="315"/>
                      <a:pt x="305" y="318"/>
                    </a:cubicBezTo>
                    <a:cubicBezTo>
                      <a:pt x="305" y="320"/>
                      <a:pt x="308" y="320"/>
                      <a:pt x="310" y="321"/>
                    </a:cubicBezTo>
                    <a:cubicBezTo>
                      <a:pt x="313" y="322"/>
                      <a:pt x="314" y="324"/>
                      <a:pt x="316" y="326"/>
                    </a:cubicBezTo>
                    <a:cubicBezTo>
                      <a:pt x="318" y="327"/>
                      <a:pt x="318" y="328"/>
                      <a:pt x="320" y="330"/>
                    </a:cubicBezTo>
                    <a:cubicBezTo>
                      <a:pt x="320" y="331"/>
                      <a:pt x="321" y="331"/>
                      <a:pt x="321" y="332"/>
                    </a:cubicBezTo>
                    <a:cubicBezTo>
                      <a:pt x="321" y="333"/>
                      <a:pt x="320" y="334"/>
                      <a:pt x="319" y="335"/>
                    </a:cubicBezTo>
                    <a:cubicBezTo>
                      <a:pt x="319" y="336"/>
                      <a:pt x="318" y="337"/>
                      <a:pt x="318" y="339"/>
                    </a:cubicBezTo>
                    <a:cubicBezTo>
                      <a:pt x="318" y="340"/>
                      <a:pt x="319" y="341"/>
                      <a:pt x="319" y="342"/>
                    </a:cubicBezTo>
                    <a:cubicBezTo>
                      <a:pt x="319" y="342"/>
                      <a:pt x="319" y="342"/>
                      <a:pt x="318" y="343"/>
                    </a:cubicBezTo>
                    <a:cubicBezTo>
                      <a:pt x="318" y="343"/>
                      <a:pt x="317" y="343"/>
                      <a:pt x="317" y="343"/>
                    </a:cubicBezTo>
                    <a:cubicBezTo>
                      <a:pt x="316" y="343"/>
                      <a:pt x="316" y="343"/>
                      <a:pt x="315" y="343"/>
                    </a:cubicBezTo>
                    <a:cubicBezTo>
                      <a:pt x="315" y="342"/>
                      <a:pt x="315" y="342"/>
                      <a:pt x="314" y="342"/>
                    </a:cubicBezTo>
                    <a:cubicBezTo>
                      <a:pt x="313" y="342"/>
                      <a:pt x="313" y="342"/>
                      <a:pt x="312" y="342"/>
                    </a:cubicBezTo>
                    <a:cubicBezTo>
                      <a:pt x="312" y="342"/>
                      <a:pt x="311" y="342"/>
                      <a:pt x="311" y="343"/>
                    </a:cubicBezTo>
                    <a:cubicBezTo>
                      <a:pt x="311" y="343"/>
                      <a:pt x="310" y="343"/>
                      <a:pt x="310" y="344"/>
                    </a:cubicBezTo>
                    <a:cubicBezTo>
                      <a:pt x="310" y="344"/>
                      <a:pt x="310" y="344"/>
                      <a:pt x="310" y="344"/>
                    </a:cubicBezTo>
                    <a:cubicBezTo>
                      <a:pt x="310" y="346"/>
                      <a:pt x="310" y="346"/>
                      <a:pt x="310" y="346"/>
                    </a:cubicBezTo>
                    <a:cubicBezTo>
                      <a:pt x="310" y="346"/>
                      <a:pt x="309" y="346"/>
                      <a:pt x="309" y="347"/>
                    </a:cubicBezTo>
                    <a:cubicBezTo>
                      <a:pt x="308" y="347"/>
                      <a:pt x="308" y="347"/>
                      <a:pt x="307" y="347"/>
                    </a:cubicBezTo>
                    <a:cubicBezTo>
                      <a:pt x="305" y="347"/>
                      <a:pt x="305" y="349"/>
                      <a:pt x="303" y="350"/>
                    </a:cubicBezTo>
                    <a:cubicBezTo>
                      <a:pt x="302" y="350"/>
                      <a:pt x="301" y="350"/>
                      <a:pt x="299" y="351"/>
                    </a:cubicBezTo>
                    <a:cubicBezTo>
                      <a:pt x="297" y="351"/>
                      <a:pt x="297" y="353"/>
                      <a:pt x="295" y="353"/>
                    </a:cubicBezTo>
                    <a:cubicBezTo>
                      <a:pt x="294" y="354"/>
                      <a:pt x="294" y="353"/>
                      <a:pt x="293" y="353"/>
                    </a:cubicBezTo>
                    <a:cubicBezTo>
                      <a:pt x="292" y="354"/>
                      <a:pt x="292" y="355"/>
                      <a:pt x="291" y="356"/>
                    </a:cubicBezTo>
                    <a:cubicBezTo>
                      <a:pt x="289" y="357"/>
                      <a:pt x="288" y="357"/>
                      <a:pt x="287" y="357"/>
                    </a:cubicBezTo>
                    <a:cubicBezTo>
                      <a:pt x="287" y="360"/>
                      <a:pt x="287" y="360"/>
                      <a:pt x="287" y="360"/>
                    </a:cubicBezTo>
                    <a:cubicBezTo>
                      <a:pt x="288" y="360"/>
                      <a:pt x="288" y="360"/>
                      <a:pt x="289" y="360"/>
                    </a:cubicBezTo>
                    <a:cubicBezTo>
                      <a:pt x="288" y="361"/>
                      <a:pt x="288" y="363"/>
                      <a:pt x="287" y="363"/>
                    </a:cubicBezTo>
                    <a:cubicBezTo>
                      <a:pt x="284" y="363"/>
                      <a:pt x="283" y="362"/>
                      <a:pt x="281" y="362"/>
                    </a:cubicBezTo>
                    <a:cubicBezTo>
                      <a:pt x="280" y="362"/>
                      <a:pt x="279" y="362"/>
                      <a:pt x="279" y="362"/>
                    </a:cubicBezTo>
                    <a:cubicBezTo>
                      <a:pt x="278" y="363"/>
                      <a:pt x="277" y="363"/>
                      <a:pt x="277" y="363"/>
                    </a:cubicBezTo>
                    <a:cubicBezTo>
                      <a:pt x="273" y="363"/>
                      <a:pt x="273" y="363"/>
                      <a:pt x="273" y="363"/>
                    </a:cubicBezTo>
                    <a:cubicBezTo>
                      <a:pt x="272" y="363"/>
                      <a:pt x="272" y="363"/>
                      <a:pt x="272" y="363"/>
                    </a:cubicBezTo>
                    <a:cubicBezTo>
                      <a:pt x="271" y="364"/>
                      <a:pt x="272" y="364"/>
                      <a:pt x="272" y="365"/>
                    </a:cubicBezTo>
                    <a:cubicBezTo>
                      <a:pt x="271" y="366"/>
                      <a:pt x="271" y="365"/>
                      <a:pt x="270" y="366"/>
                    </a:cubicBezTo>
                    <a:cubicBezTo>
                      <a:pt x="270" y="365"/>
                      <a:pt x="270" y="365"/>
                      <a:pt x="270" y="365"/>
                    </a:cubicBezTo>
                    <a:cubicBezTo>
                      <a:pt x="270" y="364"/>
                      <a:pt x="270" y="364"/>
                      <a:pt x="270" y="363"/>
                    </a:cubicBezTo>
                    <a:cubicBezTo>
                      <a:pt x="270" y="362"/>
                      <a:pt x="269" y="363"/>
                      <a:pt x="268" y="363"/>
                    </a:cubicBezTo>
                    <a:cubicBezTo>
                      <a:pt x="267" y="363"/>
                      <a:pt x="267" y="362"/>
                      <a:pt x="266" y="362"/>
                    </a:cubicBezTo>
                    <a:cubicBezTo>
                      <a:pt x="264" y="362"/>
                      <a:pt x="265" y="364"/>
                      <a:pt x="263" y="364"/>
                    </a:cubicBezTo>
                    <a:cubicBezTo>
                      <a:pt x="262" y="364"/>
                      <a:pt x="262" y="363"/>
                      <a:pt x="262" y="363"/>
                    </a:cubicBezTo>
                    <a:cubicBezTo>
                      <a:pt x="261" y="362"/>
                      <a:pt x="260" y="362"/>
                      <a:pt x="260" y="361"/>
                    </a:cubicBezTo>
                    <a:cubicBezTo>
                      <a:pt x="260" y="360"/>
                      <a:pt x="261" y="360"/>
                      <a:pt x="260" y="359"/>
                    </a:cubicBezTo>
                    <a:cubicBezTo>
                      <a:pt x="260" y="358"/>
                      <a:pt x="259" y="358"/>
                      <a:pt x="258" y="358"/>
                    </a:cubicBezTo>
                    <a:cubicBezTo>
                      <a:pt x="257" y="357"/>
                      <a:pt x="256" y="356"/>
                      <a:pt x="255" y="356"/>
                    </a:cubicBezTo>
                    <a:cubicBezTo>
                      <a:pt x="254" y="356"/>
                      <a:pt x="254" y="357"/>
                      <a:pt x="253" y="357"/>
                    </a:cubicBezTo>
                    <a:cubicBezTo>
                      <a:pt x="251" y="357"/>
                      <a:pt x="251" y="355"/>
                      <a:pt x="249" y="355"/>
                    </a:cubicBezTo>
                    <a:cubicBezTo>
                      <a:pt x="248" y="355"/>
                      <a:pt x="248" y="355"/>
                      <a:pt x="247" y="355"/>
                    </a:cubicBezTo>
                    <a:cubicBezTo>
                      <a:pt x="247" y="355"/>
                      <a:pt x="246" y="354"/>
                      <a:pt x="246" y="353"/>
                    </a:cubicBezTo>
                    <a:cubicBezTo>
                      <a:pt x="247" y="350"/>
                      <a:pt x="247" y="350"/>
                      <a:pt x="247" y="350"/>
                    </a:cubicBezTo>
                    <a:cubicBezTo>
                      <a:pt x="247" y="350"/>
                      <a:pt x="247" y="349"/>
                      <a:pt x="246" y="349"/>
                    </a:cubicBezTo>
                    <a:cubicBezTo>
                      <a:pt x="245" y="348"/>
                      <a:pt x="245" y="349"/>
                      <a:pt x="244" y="348"/>
                    </a:cubicBezTo>
                    <a:cubicBezTo>
                      <a:pt x="242" y="348"/>
                      <a:pt x="240" y="349"/>
                      <a:pt x="239" y="347"/>
                    </a:cubicBezTo>
                    <a:cubicBezTo>
                      <a:pt x="238" y="346"/>
                      <a:pt x="239" y="345"/>
                      <a:pt x="238" y="344"/>
                    </a:cubicBezTo>
                    <a:cubicBezTo>
                      <a:pt x="237" y="343"/>
                      <a:pt x="237" y="343"/>
                      <a:pt x="236" y="343"/>
                    </a:cubicBezTo>
                    <a:cubicBezTo>
                      <a:pt x="235" y="343"/>
                      <a:pt x="235" y="343"/>
                      <a:pt x="235" y="343"/>
                    </a:cubicBezTo>
                    <a:cubicBezTo>
                      <a:pt x="235" y="345"/>
                      <a:pt x="234" y="347"/>
                      <a:pt x="233" y="347"/>
                    </a:cubicBezTo>
                    <a:cubicBezTo>
                      <a:pt x="231" y="347"/>
                      <a:pt x="231" y="346"/>
                      <a:pt x="229" y="346"/>
                    </a:cubicBezTo>
                    <a:cubicBezTo>
                      <a:pt x="229" y="346"/>
                      <a:pt x="228" y="346"/>
                      <a:pt x="227" y="346"/>
                    </a:cubicBezTo>
                    <a:cubicBezTo>
                      <a:pt x="226" y="345"/>
                      <a:pt x="226" y="344"/>
                      <a:pt x="226" y="343"/>
                    </a:cubicBezTo>
                    <a:cubicBezTo>
                      <a:pt x="226" y="342"/>
                      <a:pt x="227" y="342"/>
                      <a:pt x="226" y="341"/>
                    </a:cubicBezTo>
                    <a:cubicBezTo>
                      <a:pt x="223" y="340"/>
                      <a:pt x="221" y="339"/>
                      <a:pt x="218" y="338"/>
                    </a:cubicBezTo>
                    <a:cubicBezTo>
                      <a:pt x="216" y="338"/>
                      <a:pt x="213" y="337"/>
                      <a:pt x="213" y="334"/>
                    </a:cubicBezTo>
                    <a:cubicBezTo>
                      <a:pt x="213" y="332"/>
                      <a:pt x="213" y="332"/>
                      <a:pt x="213" y="332"/>
                    </a:cubicBezTo>
                    <a:cubicBezTo>
                      <a:pt x="213" y="330"/>
                      <a:pt x="211" y="330"/>
                      <a:pt x="209" y="330"/>
                    </a:cubicBezTo>
                    <a:cubicBezTo>
                      <a:pt x="208" y="330"/>
                      <a:pt x="207" y="331"/>
                      <a:pt x="207" y="331"/>
                    </a:cubicBezTo>
                    <a:cubicBezTo>
                      <a:pt x="204" y="333"/>
                      <a:pt x="203" y="334"/>
                      <a:pt x="201" y="335"/>
                    </a:cubicBezTo>
                    <a:cubicBezTo>
                      <a:pt x="198" y="336"/>
                      <a:pt x="197" y="337"/>
                      <a:pt x="194" y="337"/>
                    </a:cubicBezTo>
                    <a:cubicBezTo>
                      <a:pt x="193" y="338"/>
                      <a:pt x="192" y="337"/>
                      <a:pt x="190" y="338"/>
                    </a:cubicBezTo>
                    <a:cubicBezTo>
                      <a:pt x="187" y="339"/>
                      <a:pt x="185" y="340"/>
                      <a:pt x="182" y="341"/>
                    </a:cubicBezTo>
                    <a:cubicBezTo>
                      <a:pt x="180" y="342"/>
                      <a:pt x="179" y="344"/>
                      <a:pt x="178" y="346"/>
                    </a:cubicBezTo>
                    <a:cubicBezTo>
                      <a:pt x="177" y="347"/>
                      <a:pt x="177" y="349"/>
                      <a:pt x="176" y="349"/>
                    </a:cubicBezTo>
                    <a:cubicBezTo>
                      <a:pt x="175" y="349"/>
                      <a:pt x="175" y="348"/>
                      <a:pt x="175" y="348"/>
                    </a:cubicBezTo>
                    <a:cubicBezTo>
                      <a:pt x="174" y="348"/>
                      <a:pt x="174" y="349"/>
                      <a:pt x="174" y="349"/>
                    </a:cubicBezTo>
                    <a:cubicBezTo>
                      <a:pt x="174" y="349"/>
                      <a:pt x="174" y="350"/>
                      <a:pt x="174" y="351"/>
                    </a:cubicBezTo>
                    <a:cubicBezTo>
                      <a:pt x="173" y="351"/>
                      <a:pt x="173" y="351"/>
                      <a:pt x="172" y="351"/>
                    </a:cubicBezTo>
                    <a:cubicBezTo>
                      <a:pt x="173" y="352"/>
                      <a:pt x="175" y="352"/>
                      <a:pt x="175" y="354"/>
                    </a:cubicBezTo>
                    <a:cubicBezTo>
                      <a:pt x="176" y="355"/>
                      <a:pt x="175" y="355"/>
                      <a:pt x="175" y="356"/>
                    </a:cubicBezTo>
                    <a:cubicBezTo>
                      <a:pt x="175" y="360"/>
                      <a:pt x="174" y="362"/>
                      <a:pt x="174" y="366"/>
                    </a:cubicBezTo>
                    <a:cubicBezTo>
                      <a:pt x="174" y="369"/>
                      <a:pt x="174" y="369"/>
                      <a:pt x="174" y="369"/>
                    </a:cubicBezTo>
                    <a:cubicBezTo>
                      <a:pt x="174" y="370"/>
                      <a:pt x="174" y="370"/>
                      <a:pt x="175" y="371"/>
                    </a:cubicBezTo>
                    <a:cubicBezTo>
                      <a:pt x="175" y="372"/>
                      <a:pt x="175" y="372"/>
                      <a:pt x="175" y="373"/>
                    </a:cubicBezTo>
                    <a:cubicBezTo>
                      <a:pt x="174" y="373"/>
                      <a:pt x="173" y="373"/>
                      <a:pt x="172" y="372"/>
                    </a:cubicBezTo>
                    <a:cubicBezTo>
                      <a:pt x="171" y="371"/>
                      <a:pt x="170" y="370"/>
                      <a:pt x="168" y="369"/>
                    </a:cubicBezTo>
                    <a:cubicBezTo>
                      <a:pt x="167" y="369"/>
                      <a:pt x="166" y="369"/>
                      <a:pt x="164" y="369"/>
                    </a:cubicBezTo>
                    <a:cubicBezTo>
                      <a:pt x="163" y="368"/>
                      <a:pt x="162" y="368"/>
                      <a:pt x="161" y="368"/>
                    </a:cubicBezTo>
                    <a:cubicBezTo>
                      <a:pt x="158" y="368"/>
                      <a:pt x="158" y="368"/>
                      <a:pt x="158" y="368"/>
                    </a:cubicBezTo>
                    <a:cubicBezTo>
                      <a:pt x="157" y="368"/>
                      <a:pt x="157" y="368"/>
                      <a:pt x="156" y="368"/>
                    </a:cubicBezTo>
                    <a:cubicBezTo>
                      <a:pt x="154" y="368"/>
                      <a:pt x="153" y="368"/>
                      <a:pt x="152" y="367"/>
                    </a:cubicBezTo>
                    <a:cubicBezTo>
                      <a:pt x="151" y="367"/>
                      <a:pt x="151" y="367"/>
                      <a:pt x="150" y="367"/>
                    </a:cubicBezTo>
                    <a:cubicBezTo>
                      <a:pt x="149" y="366"/>
                      <a:pt x="148" y="366"/>
                      <a:pt x="148" y="365"/>
                    </a:cubicBezTo>
                    <a:cubicBezTo>
                      <a:pt x="146" y="364"/>
                      <a:pt x="145" y="363"/>
                      <a:pt x="143" y="363"/>
                    </a:cubicBezTo>
                    <a:cubicBezTo>
                      <a:pt x="137" y="363"/>
                      <a:pt x="137" y="363"/>
                      <a:pt x="137" y="363"/>
                    </a:cubicBezTo>
                    <a:cubicBezTo>
                      <a:pt x="136" y="363"/>
                      <a:pt x="135" y="362"/>
                      <a:pt x="135" y="362"/>
                    </a:cubicBezTo>
                    <a:cubicBezTo>
                      <a:pt x="134" y="361"/>
                      <a:pt x="134" y="361"/>
                      <a:pt x="133" y="360"/>
                    </a:cubicBezTo>
                    <a:cubicBezTo>
                      <a:pt x="133" y="360"/>
                      <a:pt x="132" y="359"/>
                      <a:pt x="131" y="359"/>
                    </a:cubicBezTo>
                    <a:cubicBezTo>
                      <a:pt x="131" y="358"/>
                      <a:pt x="131" y="357"/>
                      <a:pt x="130" y="356"/>
                    </a:cubicBezTo>
                    <a:cubicBezTo>
                      <a:pt x="129" y="356"/>
                      <a:pt x="129" y="356"/>
                      <a:pt x="129" y="355"/>
                    </a:cubicBezTo>
                    <a:cubicBezTo>
                      <a:pt x="129" y="354"/>
                      <a:pt x="129" y="354"/>
                      <a:pt x="129" y="353"/>
                    </a:cubicBezTo>
                    <a:cubicBezTo>
                      <a:pt x="129" y="353"/>
                      <a:pt x="129" y="353"/>
                      <a:pt x="129" y="352"/>
                    </a:cubicBezTo>
                    <a:cubicBezTo>
                      <a:pt x="129" y="351"/>
                      <a:pt x="128" y="351"/>
                      <a:pt x="128" y="350"/>
                    </a:cubicBezTo>
                    <a:cubicBezTo>
                      <a:pt x="127" y="350"/>
                      <a:pt x="127" y="350"/>
                      <a:pt x="127" y="350"/>
                    </a:cubicBezTo>
                    <a:cubicBezTo>
                      <a:pt x="127" y="350"/>
                      <a:pt x="127" y="350"/>
                      <a:pt x="127" y="350"/>
                    </a:cubicBezTo>
                    <a:cubicBezTo>
                      <a:pt x="126" y="349"/>
                      <a:pt x="126" y="349"/>
                      <a:pt x="126" y="349"/>
                    </a:cubicBezTo>
                    <a:cubicBezTo>
                      <a:pt x="125" y="349"/>
                      <a:pt x="125" y="348"/>
                      <a:pt x="125" y="348"/>
                    </a:cubicBezTo>
                    <a:cubicBezTo>
                      <a:pt x="124" y="348"/>
                      <a:pt x="124" y="348"/>
                      <a:pt x="123" y="348"/>
                    </a:cubicBezTo>
                    <a:cubicBezTo>
                      <a:pt x="123" y="348"/>
                      <a:pt x="122" y="348"/>
                      <a:pt x="122" y="348"/>
                    </a:cubicBezTo>
                    <a:cubicBezTo>
                      <a:pt x="122" y="348"/>
                      <a:pt x="122" y="348"/>
                      <a:pt x="121" y="348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19" y="344"/>
                      <a:pt x="116" y="342"/>
                      <a:pt x="111" y="340"/>
                    </a:cubicBezTo>
                    <a:cubicBezTo>
                      <a:pt x="109" y="339"/>
                      <a:pt x="108" y="338"/>
                      <a:pt x="105" y="336"/>
                    </a:cubicBezTo>
                    <a:cubicBezTo>
                      <a:pt x="104" y="336"/>
                      <a:pt x="103" y="335"/>
                      <a:pt x="102" y="334"/>
                    </a:cubicBezTo>
                    <a:cubicBezTo>
                      <a:pt x="101" y="333"/>
                      <a:pt x="101" y="332"/>
                      <a:pt x="99" y="332"/>
                    </a:cubicBezTo>
                    <a:cubicBezTo>
                      <a:pt x="98" y="332"/>
                      <a:pt x="98" y="333"/>
                      <a:pt x="97" y="334"/>
                    </a:cubicBezTo>
                    <a:cubicBezTo>
                      <a:pt x="97" y="336"/>
                      <a:pt x="96" y="337"/>
                      <a:pt x="96" y="339"/>
                    </a:cubicBezTo>
                    <a:cubicBezTo>
                      <a:pt x="91" y="339"/>
                      <a:pt x="88" y="335"/>
                      <a:pt x="83" y="335"/>
                    </a:cubicBezTo>
                    <a:cubicBezTo>
                      <a:pt x="81" y="335"/>
                      <a:pt x="81" y="335"/>
                      <a:pt x="79" y="335"/>
                    </a:cubicBezTo>
                    <a:cubicBezTo>
                      <a:pt x="78" y="335"/>
                      <a:pt x="77" y="335"/>
                      <a:pt x="76" y="335"/>
                    </a:cubicBezTo>
                    <a:cubicBezTo>
                      <a:pt x="75" y="335"/>
                      <a:pt x="75" y="334"/>
                      <a:pt x="74" y="333"/>
                    </a:cubicBezTo>
                    <a:cubicBezTo>
                      <a:pt x="72" y="331"/>
                      <a:pt x="70" y="330"/>
                      <a:pt x="68" y="328"/>
                    </a:cubicBezTo>
                    <a:cubicBezTo>
                      <a:pt x="67" y="327"/>
                      <a:pt x="67" y="326"/>
                      <a:pt x="65" y="325"/>
                    </a:cubicBezTo>
                    <a:cubicBezTo>
                      <a:pt x="63" y="324"/>
                      <a:pt x="62" y="325"/>
                      <a:pt x="59" y="324"/>
                    </a:cubicBezTo>
                    <a:cubicBezTo>
                      <a:pt x="58" y="324"/>
                      <a:pt x="58" y="322"/>
                      <a:pt x="57" y="321"/>
                    </a:cubicBezTo>
                    <a:cubicBezTo>
                      <a:pt x="57" y="320"/>
                      <a:pt x="56" y="319"/>
                      <a:pt x="56" y="318"/>
                    </a:cubicBezTo>
                    <a:cubicBezTo>
                      <a:pt x="56" y="318"/>
                      <a:pt x="56" y="317"/>
                      <a:pt x="56" y="316"/>
                    </a:cubicBezTo>
                    <a:cubicBezTo>
                      <a:pt x="55" y="315"/>
                      <a:pt x="54" y="316"/>
                      <a:pt x="53" y="315"/>
                    </a:cubicBezTo>
                    <a:cubicBezTo>
                      <a:pt x="51" y="315"/>
                      <a:pt x="51" y="314"/>
                      <a:pt x="50" y="313"/>
                    </a:cubicBezTo>
                    <a:cubicBezTo>
                      <a:pt x="49" y="310"/>
                      <a:pt x="48" y="309"/>
                      <a:pt x="46" y="307"/>
                    </a:cubicBezTo>
                    <a:cubicBezTo>
                      <a:pt x="44" y="305"/>
                      <a:pt x="44" y="302"/>
                      <a:pt x="41" y="302"/>
                    </a:cubicBezTo>
                    <a:cubicBezTo>
                      <a:pt x="40" y="302"/>
                      <a:pt x="40" y="303"/>
                      <a:pt x="39" y="303"/>
                    </a:cubicBezTo>
                    <a:cubicBezTo>
                      <a:pt x="39" y="303"/>
                      <a:pt x="39" y="302"/>
                      <a:pt x="38" y="302"/>
                    </a:cubicBezTo>
                    <a:cubicBezTo>
                      <a:pt x="38" y="298"/>
                      <a:pt x="38" y="298"/>
                      <a:pt x="38" y="298"/>
                    </a:cubicBezTo>
                    <a:cubicBezTo>
                      <a:pt x="37" y="297"/>
                      <a:pt x="36" y="297"/>
                      <a:pt x="35" y="296"/>
                    </a:cubicBezTo>
                    <a:cubicBezTo>
                      <a:pt x="33" y="296"/>
                      <a:pt x="32" y="296"/>
                      <a:pt x="31" y="295"/>
                    </a:cubicBezTo>
                    <a:cubicBezTo>
                      <a:pt x="29" y="293"/>
                      <a:pt x="30" y="292"/>
                      <a:pt x="30" y="290"/>
                    </a:cubicBezTo>
                    <a:cubicBezTo>
                      <a:pt x="30" y="290"/>
                      <a:pt x="30" y="291"/>
                      <a:pt x="30" y="291"/>
                    </a:cubicBezTo>
                    <a:cubicBezTo>
                      <a:pt x="31" y="292"/>
                      <a:pt x="32" y="292"/>
                      <a:pt x="33" y="292"/>
                    </a:cubicBezTo>
                    <a:cubicBezTo>
                      <a:pt x="38" y="292"/>
                      <a:pt x="39" y="288"/>
                      <a:pt x="43" y="285"/>
                    </a:cubicBezTo>
                    <a:cubicBezTo>
                      <a:pt x="46" y="281"/>
                      <a:pt x="47" y="277"/>
                      <a:pt x="49" y="272"/>
                    </a:cubicBezTo>
                    <a:cubicBezTo>
                      <a:pt x="50" y="269"/>
                      <a:pt x="52" y="268"/>
                      <a:pt x="53" y="266"/>
                    </a:cubicBezTo>
                    <a:cubicBezTo>
                      <a:pt x="54" y="263"/>
                      <a:pt x="53" y="262"/>
                      <a:pt x="54" y="259"/>
                    </a:cubicBezTo>
                    <a:cubicBezTo>
                      <a:pt x="55" y="258"/>
                      <a:pt x="55" y="258"/>
                      <a:pt x="56" y="256"/>
                    </a:cubicBezTo>
                    <a:cubicBezTo>
                      <a:pt x="56" y="254"/>
                      <a:pt x="56" y="253"/>
                      <a:pt x="56" y="251"/>
                    </a:cubicBezTo>
                    <a:cubicBezTo>
                      <a:pt x="57" y="249"/>
                      <a:pt x="59" y="249"/>
                      <a:pt x="59" y="247"/>
                    </a:cubicBezTo>
                    <a:cubicBezTo>
                      <a:pt x="59" y="246"/>
                      <a:pt x="59" y="246"/>
                      <a:pt x="59" y="246"/>
                    </a:cubicBezTo>
                    <a:cubicBezTo>
                      <a:pt x="60" y="245"/>
                      <a:pt x="61" y="243"/>
                      <a:pt x="63" y="243"/>
                    </a:cubicBezTo>
                    <a:cubicBezTo>
                      <a:pt x="64" y="243"/>
                      <a:pt x="64" y="244"/>
                      <a:pt x="65" y="244"/>
                    </a:cubicBezTo>
                    <a:cubicBezTo>
                      <a:pt x="67" y="244"/>
                      <a:pt x="67" y="244"/>
                      <a:pt x="67" y="244"/>
                    </a:cubicBezTo>
                    <a:cubicBezTo>
                      <a:pt x="67" y="244"/>
                      <a:pt x="68" y="243"/>
                      <a:pt x="68" y="243"/>
                    </a:cubicBezTo>
                    <a:cubicBezTo>
                      <a:pt x="68" y="242"/>
                      <a:pt x="67" y="242"/>
                      <a:pt x="66" y="241"/>
                    </a:cubicBezTo>
                    <a:cubicBezTo>
                      <a:pt x="66" y="241"/>
                      <a:pt x="66" y="239"/>
                      <a:pt x="65" y="239"/>
                    </a:cubicBezTo>
                    <a:cubicBezTo>
                      <a:pt x="63" y="239"/>
                      <a:pt x="62" y="241"/>
                      <a:pt x="61" y="242"/>
                    </a:cubicBezTo>
                    <a:cubicBezTo>
                      <a:pt x="62" y="240"/>
                      <a:pt x="62" y="239"/>
                      <a:pt x="62" y="237"/>
                    </a:cubicBezTo>
                    <a:cubicBezTo>
                      <a:pt x="63" y="234"/>
                      <a:pt x="63" y="233"/>
                      <a:pt x="64" y="230"/>
                    </a:cubicBezTo>
                    <a:cubicBezTo>
                      <a:pt x="65" y="227"/>
                      <a:pt x="65" y="225"/>
                      <a:pt x="67" y="222"/>
                    </a:cubicBezTo>
                    <a:cubicBezTo>
                      <a:pt x="67" y="220"/>
                      <a:pt x="69" y="220"/>
                      <a:pt x="69" y="218"/>
                    </a:cubicBezTo>
                    <a:cubicBezTo>
                      <a:pt x="69" y="215"/>
                      <a:pt x="69" y="215"/>
                      <a:pt x="69" y="215"/>
                    </a:cubicBezTo>
                    <a:cubicBezTo>
                      <a:pt x="69" y="212"/>
                      <a:pt x="69" y="211"/>
                      <a:pt x="70" y="209"/>
                    </a:cubicBezTo>
                    <a:cubicBezTo>
                      <a:pt x="70" y="208"/>
                      <a:pt x="71" y="208"/>
                      <a:pt x="72" y="208"/>
                    </a:cubicBezTo>
                    <a:cubicBezTo>
                      <a:pt x="72" y="207"/>
                      <a:pt x="73" y="207"/>
                      <a:pt x="73" y="207"/>
                    </a:cubicBezTo>
                    <a:cubicBezTo>
                      <a:pt x="74" y="207"/>
                      <a:pt x="74" y="208"/>
                      <a:pt x="75" y="209"/>
                    </a:cubicBezTo>
                    <a:cubicBezTo>
                      <a:pt x="76" y="210"/>
                      <a:pt x="76" y="211"/>
                      <a:pt x="77" y="212"/>
                    </a:cubicBezTo>
                    <a:cubicBezTo>
                      <a:pt x="77" y="213"/>
                      <a:pt x="77" y="214"/>
                      <a:pt x="78" y="216"/>
                    </a:cubicBezTo>
                    <a:cubicBezTo>
                      <a:pt x="79" y="217"/>
                      <a:pt x="80" y="217"/>
                      <a:pt x="80" y="218"/>
                    </a:cubicBezTo>
                    <a:cubicBezTo>
                      <a:pt x="80" y="220"/>
                      <a:pt x="80" y="220"/>
                      <a:pt x="80" y="222"/>
                    </a:cubicBezTo>
                    <a:cubicBezTo>
                      <a:pt x="80" y="225"/>
                      <a:pt x="80" y="225"/>
                      <a:pt x="80" y="225"/>
                    </a:cubicBezTo>
                    <a:cubicBezTo>
                      <a:pt x="82" y="235"/>
                      <a:pt x="82" y="235"/>
                      <a:pt x="82" y="235"/>
                    </a:cubicBezTo>
                    <a:cubicBezTo>
                      <a:pt x="82" y="238"/>
                      <a:pt x="82" y="238"/>
                      <a:pt x="82" y="238"/>
                    </a:cubicBezTo>
                    <a:cubicBezTo>
                      <a:pt x="82" y="239"/>
                      <a:pt x="82" y="239"/>
                      <a:pt x="82" y="240"/>
                    </a:cubicBezTo>
                    <a:cubicBezTo>
                      <a:pt x="83" y="238"/>
                      <a:pt x="82" y="236"/>
                      <a:pt x="83" y="235"/>
                    </a:cubicBezTo>
                    <a:cubicBezTo>
                      <a:pt x="83" y="234"/>
                      <a:pt x="83" y="233"/>
                      <a:pt x="83" y="232"/>
                    </a:cubicBezTo>
                    <a:cubicBezTo>
                      <a:pt x="83" y="225"/>
                      <a:pt x="83" y="225"/>
                      <a:pt x="83" y="225"/>
                    </a:cubicBezTo>
                    <a:cubicBezTo>
                      <a:pt x="83" y="222"/>
                      <a:pt x="83" y="221"/>
                      <a:pt x="83" y="218"/>
                    </a:cubicBezTo>
                    <a:cubicBezTo>
                      <a:pt x="82" y="215"/>
                      <a:pt x="83" y="213"/>
                      <a:pt x="81" y="211"/>
                    </a:cubicBezTo>
                    <a:cubicBezTo>
                      <a:pt x="79" y="208"/>
                      <a:pt x="78" y="206"/>
                      <a:pt x="76" y="203"/>
                    </a:cubicBezTo>
                    <a:cubicBezTo>
                      <a:pt x="75" y="201"/>
                      <a:pt x="74" y="199"/>
                      <a:pt x="72" y="198"/>
                    </a:cubicBezTo>
                    <a:cubicBezTo>
                      <a:pt x="72" y="197"/>
                      <a:pt x="72" y="197"/>
                      <a:pt x="73" y="197"/>
                    </a:cubicBezTo>
                    <a:cubicBezTo>
                      <a:pt x="75" y="197"/>
                      <a:pt x="75" y="197"/>
                      <a:pt x="77" y="197"/>
                    </a:cubicBezTo>
                    <a:cubicBezTo>
                      <a:pt x="77" y="197"/>
                      <a:pt x="77" y="197"/>
                      <a:pt x="77" y="197"/>
                    </a:cubicBezTo>
                    <a:cubicBezTo>
                      <a:pt x="77" y="196"/>
                      <a:pt x="77" y="196"/>
                      <a:pt x="76" y="195"/>
                    </a:cubicBezTo>
                    <a:cubicBezTo>
                      <a:pt x="76" y="194"/>
                      <a:pt x="75" y="194"/>
                      <a:pt x="75" y="194"/>
                    </a:cubicBezTo>
                    <a:cubicBezTo>
                      <a:pt x="75" y="193"/>
                      <a:pt x="76" y="193"/>
                      <a:pt x="77" y="193"/>
                    </a:cubicBezTo>
                    <a:cubicBezTo>
                      <a:pt x="77" y="190"/>
                      <a:pt x="77" y="190"/>
                      <a:pt x="77" y="190"/>
                    </a:cubicBezTo>
                    <a:cubicBezTo>
                      <a:pt x="77" y="190"/>
                      <a:pt x="78" y="189"/>
                      <a:pt x="78" y="189"/>
                    </a:cubicBezTo>
                    <a:cubicBezTo>
                      <a:pt x="78" y="188"/>
                      <a:pt x="77" y="188"/>
                      <a:pt x="77" y="187"/>
                    </a:cubicBezTo>
                    <a:cubicBezTo>
                      <a:pt x="77" y="186"/>
                      <a:pt x="77" y="186"/>
                      <a:pt x="77" y="186"/>
                    </a:cubicBezTo>
                    <a:cubicBezTo>
                      <a:pt x="78" y="186"/>
                      <a:pt x="78" y="187"/>
                      <a:pt x="79" y="187"/>
                    </a:cubicBezTo>
                    <a:cubicBezTo>
                      <a:pt x="79" y="187"/>
                      <a:pt x="80" y="187"/>
                      <a:pt x="80" y="187"/>
                    </a:cubicBezTo>
                    <a:cubicBezTo>
                      <a:pt x="80" y="186"/>
                      <a:pt x="80" y="186"/>
                      <a:pt x="80" y="186"/>
                    </a:cubicBezTo>
                    <a:cubicBezTo>
                      <a:pt x="80" y="184"/>
                      <a:pt x="79" y="183"/>
                      <a:pt x="80" y="181"/>
                    </a:cubicBezTo>
                    <a:cubicBezTo>
                      <a:pt x="81" y="181"/>
                      <a:pt x="82" y="181"/>
                      <a:pt x="82" y="180"/>
                    </a:cubicBezTo>
                    <a:cubicBezTo>
                      <a:pt x="82" y="178"/>
                      <a:pt x="79" y="178"/>
                      <a:pt x="79" y="176"/>
                    </a:cubicBezTo>
                    <a:cubicBezTo>
                      <a:pt x="79" y="175"/>
                      <a:pt x="82" y="175"/>
                      <a:pt x="83" y="174"/>
                    </a:cubicBezTo>
                    <a:cubicBezTo>
                      <a:pt x="84" y="174"/>
                      <a:pt x="84" y="173"/>
                      <a:pt x="84" y="172"/>
                    </a:cubicBezTo>
                    <a:cubicBezTo>
                      <a:pt x="84" y="172"/>
                      <a:pt x="84" y="172"/>
                      <a:pt x="84" y="172"/>
                    </a:cubicBezTo>
                    <a:cubicBezTo>
                      <a:pt x="81" y="172"/>
                      <a:pt x="81" y="172"/>
                      <a:pt x="81" y="172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6" y="172"/>
                      <a:pt x="75" y="170"/>
                      <a:pt x="74" y="169"/>
                    </a:cubicBezTo>
                    <a:cubicBezTo>
                      <a:pt x="73" y="167"/>
                      <a:pt x="70" y="167"/>
                      <a:pt x="70" y="165"/>
                    </a:cubicBezTo>
                    <a:cubicBezTo>
                      <a:pt x="69" y="165"/>
                      <a:pt x="69" y="164"/>
                      <a:pt x="68" y="164"/>
                    </a:cubicBezTo>
                    <a:cubicBezTo>
                      <a:pt x="67" y="163"/>
                      <a:pt x="68" y="163"/>
                      <a:pt x="67" y="162"/>
                    </a:cubicBezTo>
                    <a:cubicBezTo>
                      <a:pt x="65" y="160"/>
                      <a:pt x="64" y="158"/>
                      <a:pt x="64" y="155"/>
                    </a:cubicBezTo>
                    <a:cubicBezTo>
                      <a:pt x="63" y="153"/>
                      <a:pt x="62" y="152"/>
                      <a:pt x="61" y="150"/>
                    </a:cubicBezTo>
                    <a:cubicBezTo>
                      <a:pt x="60" y="148"/>
                      <a:pt x="59" y="146"/>
                      <a:pt x="59" y="144"/>
                    </a:cubicBezTo>
                    <a:cubicBezTo>
                      <a:pt x="59" y="143"/>
                      <a:pt x="60" y="143"/>
                      <a:pt x="61" y="142"/>
                    </a:cubicBezTo>
                    <a:cubicBezTo>
                      <a:pt x="62" y="140"/>
                      <a:pt x="62" y="138"/>
                      <a:pt x="63" y="136"/>
                    </a:cubicBezTo>
                    <a:cubicBezTo>
                      <a:pt x="64" y="135"/>
                      <a:pt x="65" y="135"/>
                      <a:pt x="65" y="134"/>
                    </a:cubicBezTo>
                    <a:cubicBezTo>
                      <a:pt x="65" y="133"/>
                      <a:pt x="64" y="133"/>
                      <a:pt x="63" y="133"/>
                    </a:cubicBezTo>
                    <a:cubicBezTo>
                      <a:pt x="63" y="132"/>
                      <a:pt x="63" y="132"/>
                      <a:pt x="63" y="132"/>
                    </a:cubicBezTo>
                    <a:cubicBezTo>
                      <a:pt x="63" y="131"/>
                      <a:pt x="63" y="130"/>
                      <a:pt x="64" y="130"/>
                    </a:cubicBezTo>
                    <a:cubicBezTo>
                      <a:pt x="64" y="129"/>
                      <a:pt x="65" y="128"/>
                      <a:pt x="66" y="128"/>
                    </a:cubicBezTo>
                    <a:cubicBezTo>
                      <a:pt x="68" y="127"/>
                      <a:pt x="70" y="129"/>
                      <a:pt x="71" y="127"/>
                    </a:cubicBezTo>
                    <a:cubicBezTo>
                      <a:pt x="69" y="125"/>
                      <a:pt x="68" y="125"/>
                      <a:pt x="65" y="125"/>
                    </a:cubicBezTo>
                    <a:cubicBezTo>
                      <a:pt x="62" y="125"/>
                      <a:pt x="60" y="126"/>
                      <a:pt x="57" y="126"/>
                    </a:cubicBezTo>
                    <a:cubicBezTo>
                      <a:pt x="56" y="126"/>
                      <a:pt x="55" y="126"/>
                      <a:pt x="53" y="125"/>
                    </a:cubicBezTo>
                    <a:cubicBezTo>
                      <a:pt x="53" y="124"/>
                      <a:pt x="54" y="124"/>
                      <a:pt x="54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5" y="121"/>
                      <a:pt x="54" y="120"/>
                      <a:pt x="53" y="119"/>
                    </a:cubicBezTo>
                    <a:cubicBezTo>
                      <a:pt x="54" y="119"/>
                      <a:pt x="54" y="118"/>
                      <a:pt x="55" y="117"/>
                    </a:cubicBezTo>
                    <a:cubicBezTo>
                      <a:pt x="56" y="117"/>
                      <a:pt x="57" y="117"/>
                      <a:pt x="58" y="117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58" y="114"/>
                      <a:pt x="58" y="114"/>
                      <a:pt x="58" y="114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2"/>
                      <a:pt x="60" y="112"/>
                      <a:pt x="60" y="112"/>
                    </a:cubicBezTo>
                    <a:cubicBezTo>
                      <a:pt x="60" y="112"/>
                      <a:pt x="60" y="112"/>
                      <a:pt x="60" y="112"/>
                    </a:cubicBezTo>
                    <a:cubicBezTo>
                      <a:pt x="59" y="112"/>
                      <a:pt x="58" y="113"/>
                      <a:pt x="57" y="113"/>
                    </a:cubicBezTo>
                    <a:cubicBezTo>
                      <a:pt x="56" y="113"/>
                      <a:pt x="56" y="111"/>
                      <a:pt x="55" y="111"/>
                    </a:cubicBezTo>
                    <a:cubicBezTo>
                      <a:pt x="54" y="111"/>
                      <a:pt x="53" y="111"/>
                      <a:pt x="53" y="111"/>
                    </a:cubicBezTo>
                    <a:cubicBezTo>
                      <a:pt x="51" y="111"/>
                      <a:pt x="50" y="110"/>
                      <a:pt x="48" y="109"/>
                    </a:cubicBezTo>
                    <a:cubicBezTo>
                      <a:pt x="48" y="109"/>
                      <a:pt x="48" y="109"/>
                      <a:pt x="48" y="109"/>
                    </a:cubicBezTo>
                    <a:cubicBezTo>
                      <a:pt x="50" y="108"/>
                      <a:pt x="52" y="108"/>
                      <a:pt x="52" y="107"/>
                    </a:cubicBezTo>
                    <a:cubicBezTo>
                      <a:pt x="52" y="106"/>
                      <a:pt x="52" y="105"/>
                      <a:pt x="52" y="104"/>
                    </a:cubicBezTo>
                    <a:cubicBezTo>
                      <a:pt x="52" y="104"/>
                      <a:pt x="52" y="104"/>
                      <a:pt x="52" y="104"/>
                    </a:cubicBezTo>
                    <a:cubicBezTo>
                      <a:pt x="50" y="104"/>
                      <a:pt x="48" y="103"/>
                      <a:pt x="46" y="103"/>
                    </a:cubicBezTo>
                    <a:cubicBezTo>
                      <a:pt x="45" y="103"/>
                      <a:pt x="44" y="104"/>
                      <a:pt x="43" y="104"/>
                    </a:cubicBezTo>
                    <a:cubicBezTo>
                      <a:pt x="43" y="104"/>
                      <a:pt x="42" y="104"/>
                      <a:pt x="41" y="104"/>
                    </a:cubicBezTo>
                    <a:cubicBezTo>
                      <a:pt x="41" y="105"/>
                      <a:pt x="41" y="105"/>
                      <a:pt x="41" y="106"/>
                    </a:cubicBezTo>
                    <a:cubicBezTo>
                      <a:pt x="40" y="106"/>
                      <a:pt x="40" y="106"/>
                      <a:pt x="40" y="106"/>
                    </a:cubicBezTo>
                    <a:cubicBezTo>
                      <a:pt x="40" y="104"/>
                      <a:pt x="40" y="104"/>
                      <a:pt x="40" y="103"/>
                    </a:cubicBezTo>
                    <a:cubicBezTo>
                      <a:pt x="40" y="101"/>
                      <a:pt x="41" y="100"/>
                      <a:pt x="42" y="99"/>
                    </a:cubicBezTo>
                    <a:cubicBezTo>
                      <a:pt x="42" y="99"/>
                      <a:pt x="43" y="99"/>
                      <a:pt x="43" y="98"/>
                    </a:cubicBezTo>
                    <a:cubicBezTo>
                      <a:pt x="43" y="97"/>
                      <a:pt x="43" y="96"/>
                      <a:pt x="42" y="95"/>
                    </a:cubicBezTo>
                    <a:cubicBezTo>
                      <a:pt x="42" y="96"/>
                      <a:pt x="41" y="96"/>
                      <a:pt x="41" y="97"/>
                    </a:cubicBezTo>
                    <a:cubicBezTo>
                      <a:pt x="40" y="97"/>
                      <a:pt x="40" y="97"/>
                      <a:pt x="39" y="96"/>
                    </a:cubicBezTo>
                    <a:cubicBezTo>
                      <a:pt x="39" y="95"/>
                      <a:pt x="39" y="95"/>
                      <a:pt x="40" y="94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3"/>
                      <a:pt x="38" y="93"/>
                      <a:pt x="37" y="93"/>
                    </a:cubicBezTo>
                    <a:cubicBezTo>
                      <a:pt x="36" y="93"/>
                      <a:pt x="35" y="94"/>
                      <a:pt x="34" y="96"/>
                    </a:cubicBezTo>
                    <a:cubicBezTo>
                      <a:pt x="33" y="94"/>
                      <a:pt x="32" y="93"/>
                      <a:pt x="30" y="93"/>
                    </a:cubicBezTo>
                    <a:cubicBezTo>
                      <a:pt x="30" y="90"/>
                      <a:pt x="30" y="90"/>
                      <a:pt x="30" y="90"/>
                    </a:cubicBezTo>
                    <a:cubicBezTo>
                      <a:pt x="30" y="88"/>
                      <a:pt x="30" y="86"/>
                      <a:pt x="29" y="85"/>
                    </a:cubicBezTo>
                    <a:cubicBezTo>
                      <a:pt x="28" y="85"/>
                      <a:pt x="28" y="84"/>
                      <a:pt x="28" y="84"/>
                    </a:cubicBezTo>
                    <a:cubicBezTo>
                      <a:pt x="27" y="84"/>
                      <a:pt x="26" y="85"/>
                      <a:pt x="25" y="85"/>
                    </a:cubicBezTo>
                    <a:cubicBezTo>
                      <a:pt x="25" y="85"/>
                      <a:pt x="24" y="85"/>
                      <a:pt x="24" y="85"/>
                    </a:cubicBezTo>
                    <a:cubicBezTo>
                      <a:pt x="24" y="84"/>
                      <a:pt x="24" y="84"/>
                      <a:pt x="23" y="83"/>
                    </a:cubicBezTo>
                    <a:cubicBezTo>
                      <a:pt x="23" y="82"/>
                      <a:pt x="22" y="83"/>
                      <a:pt x="22" y="82"/>
                    </a:cubicBezTo>
                    <a:cubicBezTo>
                      <a:pt x="20" y="80"/>
                      <a:pt x="20" y="78"/>
                      <a:pt x="19" y="76"/>
                    </a:cubicBezTo>
                    <a:cubicBezTo>
                      <a:pt x="18" y="77"/>
                      <a:pt x="18" y="78"/>
                      <a:pt x="17" y="78"/>
                    </a:cubicBezTo>
                    <a:cubicBezTo>
                      <a:pt x="16" y="79"/>
                      <a:pt x="15" y="78"/>
                      <a:pt x="15" y="79"/>
                    </a:cubicBezTo>
                    <a:cubicBezTo>
                      <a:pt x="15" y="80"/>
                      <a:pt x="14" y="81"/>
                      <a:pt x="14" y="82"/>
                    </a:cubicBezTo>
                    <a:cubicBezTo>
                      <a:pt x="12" y="82"/>
                      <a:pt x="10" y="82"/>
                      <a:pt x="9" y="80"/>
                    </a:cubicBezTo>
                    <a:cubicBezTo>
                      <a:pt x="8" y="79"/>
                      <a:pt x="9" y="77"/>
                      <a:pt x="8" y="75"/>
                    </a:cubicBezTo>
                    <a:cubicBezTo>
                      <a:pt x="7" y="74"/>
                      <a:pt x="8" y="73"/>
                      <a:pt x="7" y="72"/>
                    </a:cubicBezTo>
                    <a:cubicBezTo>
                      <a:pt x="6" y="72"/>
                      <a:pt x="6" y="72"/>
                      <a:pt x="5" y="72"/>
                    </a:cubicBezTo>
                    <a:cubicBezTo>
                      <a:pt x="3" y="72"/>
                      <a:pt x="2" y="71"/>
                      <a:pt x="0" y="71"/>
                    </a:cubicBezTo>
                    <a:cubicBezTo>
                      <a:pt x="2" y="68"/>
                      <a:pt x="5" y="69"/>
                      <a:pt x="8" y="69"/>
                    </a:cubicBezTo>
                    <a:cubicBezTo>
                      <a:pt x="9" y="69"/>
                      <a:pt x="9" y="69"/>
                      <a:pt x="10" y="69"/>
                    </a:cubicBezTo>
                    <a:cubicBezTo>
                      <a:pt x="11" y="69"/>
                      <a:pt x="11" y="68"/>
                      <a:pt x="11" y="67"/>
                    </a:cubicBezTo>
                    <a:cubicBezTo>
                      <a:pt x="11" y="65"/>
                      <a:pt x="11" y="65"/>
                      <a:pt x="11" y="65"/>
                    </a:cubicBezTo>
                    <a:cubicBezTo>
                      <a:pt x="11" y="65"/>
                      <a:pt x="11" y="65"/>
                      <a:pt x="11" y="65"/>
                    </a:cubicBezTo>
                    <a:cubicBezTo>
                      <a:pt x="9" y="66"/>
                      <a:pt x="9" y="66"/>
                      <a:pt x="8" y="66"/>
                    </a:cubicBezTo>
                    <a:cubicBezTo>
                      <a:pt x="7" y="66"/>
                      <a:pt x="7" y="66"/>
                      <a:pt x="6" y="65"/>
                    </a:cubicBezTo>
                    <a:cubicBezTo>
                      <a:pt x="7" y="63"/>
                      <a:pt x="8" y="62"/>
                      <a:pt x="10" y="60"/>
                    </a:cubicBezTo>
                    <a:cubicBezTo>
                      <a:pt x="11" y="61"/>
                      <a:pt x="11" y="62"/>
                      <a:pt x="12" y="64"/>
                    </a:cubicBezTo>
                    <a:cubicBezTo>
                      <a:pt x="13" y="64"/>
                      <a:pt x="13" y="64"/>
                      <a:pt x="14" y="64"/>
                    </a:cubicBezTo>
                    <a:cubicBezTo>
                      <a:pt x="15" y="65"/>
                      <a:pt x="14" y="66"/>
                      <a:pt x="16" y="66"/>
                    </a:cubicBezTo>
                    <a:cubicBezTo>
                      <a:pt x="16" y="67"/>
                      <a:pt x="17" y="66"/>
                      <a:pt x="18" y="67"/>
                    </a:cubicBezTo>
                    <a:cubicBezTo>
                      <a:pt x="19" y="67"/>
                      <a:pt x="19" y="67"/>
                      <a:pt x="20" y="67"/>
                    </a:cubicBezTo>
                    <a:cubicBezTo>
                      <a:pt x="20" y="67"/>
                      <a:pt x="21" y="67"/>
                      <a:pt x="21" y="67"/>
                    </a:cubicBezTo>
                    <a:cubicBezTo>
                      <a:pt x="20" y="65"/>
                      <a:pt x="19" y="64"/>
                      <a:pt x="17" y="63"/>
                    </a:cubicBezTo>
                    <a:cubicBezTo>
                      <a:pt x="16" y="63"/>
                      <a:pt x="14" y="63"/>
                      <a:pt x="14" y="62"/>
                    </a:cubicBezTo>
                    <a:cubicBezTo>
                      <a:pt x="14" y="61"/>
                      <a:pt x="14" y="59"/>
                      <a:pt x="15" y="59"/>
                    </a:cubicBezTo>
                    <a:cubicBezTo>
                      <a:pt x="16" y="58"/>
                      <a:pt x="17" y="58"/>
                      <a:pt x="17" y="57"/>
                    </a:cubicBezTo>
                    <a:cubicBezTo>
                      <a:pt x="15" y="57"/>
                      <a:pt x="13" y="58"/>
                      <a:pt x="11" y="58"/>
                    </a:cubicBezTo>
                    <a:cubicBezTo>
                      <a:pt x="11" y="58"/>
                      <a:pt x="10" y="59"/>
                      <a:pt x="10" y="59"/>
                    </a:cubicBezTo>
                    <a:cubicBezTo>
                      <a:pt x="9" y="59"/>
                      <a:pt x="8" y="57"/>
                      <a:pt x="7" y="57"/>
                    </a:cubicBezTo>
                    <a:cubicBezTo>
                      <a:pt x="6" y="57"/>
                      <a:pt x="5" y="58"/>
                      <a:pt x="4" y="58"/>
                    </a:cubicBezTo>
                    <a:cubicBezTo>
                      <a:pt x="4" y="58"/>
                      <a:pt x="4" y="58"/>
                      <a:pt x="4" y="55"/>
                    </a:cubicBezTo>
                    <a:cubicBezTo>
                      <a:pt x="4" y="57"/>
                      <a:pt x="5" y="52"/>
                      <a:pt x="5" y="50"/>
                    </a:cubicBezTo>
                    <a:cubicBezTo>
                      <a:pt x="5" y="49"/>
                      <a:pt x="6" y="48"/>
                      <a:pt x="7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2" y="48"/>
                      <a:pt x="12" y="46"/>
                      <a:pt x="14" y="46"/>
                    </a:cubicBezTo>
                    <a:cubicBezTo>
                      <a:pt x="16" y="46"/>
                      <a:pt x="17" y="46"/>
                      <a:pt x="19" y="47"/>
                    </a:cubicBezTo>
                    <a:cubicBezTo>
                      <a:pt x="20" y="47"/>
                      <a:pt x="20" y="48"/>
                      <a:pt x="21" y="49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5" y="49"/>
                      <a:pt x="25" y="48"/>
                      <a:pt x="27" y="48"/>
                    </a:cubicBezTo>
                    <a:cubicBezTo>
                      <a:pt x="28" y="48"/>
                      <a:pt x="28" y="48"/>
                      <a:pt x="29" y="48"/>
                    </a:cubicBezTo>
                    <a:cubicBezTo>
                      <a:pt x="30" y="48"/>
                      <a:pt x="31" y="48"/>
                      <a:pt x="31" y="47"/>
                    </a:cubicBezTo>
                    <a:cubicBezTo>
                      <a:pt x="32" y="48"/>
                      <a:pt x="32" y="49"/>
                      <a:pt x="32" y="50"/>
                    </a:cubicBezTo>
                    <a:cubicBezTo>
                      <a:pt x="32" y="51"/>
                      <a:pt x="31" y="51"/>
                      <a:pt x="31" y="52"/>
                    </a:cubicBezTo>
                    <a:cubicBezTo>
                      <a:pt x="31" y="53"/>
                      <a:pt x="32" y="53"/>
                      <a:pt x="32" y="54"/>
                    </a:cubicBezTo>
                    <a:cubicBezTo>
                      <a:pt x="33" y="54"/>
                      <a:pt x="33" y="55"/>
                      <a:pt x="34" y="55"/>
                    </a:cubicBezTo>
                    <a:cubicBezTo>
                      <a:pt x="35" y="54"/>
                      <a:pt x="35" y="51"/>
                      <a:pt x="37" y="51"/>
                    </a:cubicBezTo>
                    <a:cubicBezTo>
                      <a:pt x="38" y="51"/>
                      <a:pt x="38" y="52"/>
                      <a:pt x="39" y="52"/>
                    </a:cubicBezTo>
                    <a:cubicBezTo>
                      <a:pt x="40" y="52"/>
                      <a:pt x="40" y="53"/>
                      <a:pt x="40" y="53"/>
                    </a:cubicBezTo>
                    <a:cubicBezTo>
                      <a:pt x="41" y="53"/>
                      <a:pt x="43" y="52"/>
                      <a:pt x="43" y="51"/>
                    </a:cubicBezTo>
                    <a:cubicBezTo>
                      <a:pt x="43" y="50"/>
                      <a:pt x="42" y="50"/>
                      <a:pt x="42" y="49"/>
                    </a:cubicBezTo>
                    <a:cubicBezTo>
                      <a:pt x="42" y="48"/>
                      <a:pt x="42" y="48"/>
                      <a:pt x="42" y="47"/>
                    </a:cubicBezTo>
                    <a:cubicBezTo>
                      <a:pt x="43" y="47"/>
                      <a:pt x="44" y="48"/>
                      <a:pt x="45" y="47"/>
                    </a:cubicBezTo>
                    <a:cubicBezTo>
                      <a:pt x="46" y="47"/>
                      <a:pt x="47" y="46"/>
                      <a:pt x="48" y="46"/>
                    </a:cubicBezTo>
                    <a:cubicBezTo>
                      <a:pt x="50" y="46"/>
                      <a:pt x="50" y="48"/>
                      <a:pt x="50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4" y="49"/>
                      <a:pt x="54" y="50"/>
                      <a:pt x="55" y="50"/>
                    </a:cubicBezTo>
                    <a:cubicBezTo>
                      <a:pt x="57" y="50"/>
                      <a:pt x="58" y="49"/>
                      <a:pt x="60" y="50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0" y="52"/>
                      <a:pt x="59" y="53"/>
                      <a:pt x="59" y="54"/>
                    </a:cubicBezTo>
                    <a:cubicBezTo>
                      <a:pt x="60" y="56"/>
                      <a:pt x="61" y="57"/>
                      <a:pt x="61" y="60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61" y="64"/>
                      <a:pt x="62" y="66"/>
                      <a:pt x="62" y="68"/>
                    </a:cubicBezTo>
                    <a:cubicBezTo>
                      <a:pt x="62" y="69"/>
                      <a:pt x="61" y="70"/>
                      <a:pt x="62" y="71"/>
                    </a:cubicBezTo>
                    <a:cubicBezTo>
                      <a:pt x="62" y="71"/>
                      <a:pt x="62" y="71"/>
                      <a:pt x="62" y="71"/>
                    </a:cubicBezTo>
                    <a:cubicBezTo>
                      <a:pt x="63" y="71"/>
                      <a:pt x="63" y="70"/>
                      <a:pt x="64" y="69"/>
                    </a:cubicBezTo>
                    <a:cubicBezTo>
                      <a:pt x="65" y="68"/>
                      <a:pt x="65" y="68"/>
                      <a:pt x="66" y="68"/>
                    </a:cubicBezTo>
                    <a:cubicBezTo>
                      <a:pt x="69" y="68"/>
                      <a:pt x="70" y="67"/>
                      <a:pt x="71" y="65"/>
                    </a:cubicBezTo>
                    <a:cubicBezTo>
                      <a:pt x="72" y="65"/>
                      <a:pt x="72" y="64"/>
                      <a:pt x="72" y="64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6" y="64"/>
                      <a:pt x="76" y="64"/>
                      <a:pt x="76" y="64"/>
                    </a:cubicBezTo>
                    <a:cubicBezTo>
                      <a:pt x="76" y="64"/>
                      <a:pt x="76" y="64"/>
                      <a:pt x="77" y="64"/>
                    </a:cubicBezTo>
                    <a:cubicBezTo>
                      <a:pt x="77" y="64"/>
                      <a:pt x="77" y="64"/>
                      <a:pt x="77" y="64"/>
                    </a:cubicBezTo>
                    <a:cubicBezTo>
                      <a:pt x="76" y="65"/>
                      <a:pt x="76" y="66"/>
                      <a:pt x="75" y="67"/>
                    </a:cubicBezTo>
                    <a:cubicBezTo>
                      <a:pt x="75" y="67"/>
                      <a:pt x="74" y="67"/>
                      <a:pt x="74" y="68"/>
                    </a:cubicBezTo>
                    <a:cubicBezTo>
                      <a:pt x="74" y="69"/>
                      <a:pt x="76" y="69"/>
                      <a:pt x="78" y="69"/>
                    </a:cubicBezTo>
                    <a:cubicBezTo>
                      <a:pt x="79" y="69"/>
                      <a:pt x="80" y="68"/>
                      <a:pt x="81" y="68"/>
                    </a:cubicBezTo>
                    <a:cubicBezTo>
                      <a:pt x="82" y="68"/>
                      <a:pt x="82" y="69"/>
                      <a:pt x="82" y="70"/>
                    </a:cubicBezTo>
                    <a:cubicBezTo>
                      <a:pt x="82" y="71"/>
                      <a:pt x="82" y="72"/>
                      <a:pt x="82" y="73"/>
                    </a:cubicBezTo>
                    <a:cubicBezTo>
                      <a:pt x="82" y="74"/>
                      <a:pt x="82" y="74"/>
                      <a:pt x="82" y="75"/>
                    </a:cubicBezTo>
                    <a:cubicBezTo>
                      <a:pt x="82" y="76"/>
                      <a:pt x="82" y="76"/>
                      <a:pt x="82" y="77"/>
                    </a:cubicBezTo>
                    <a:cubicBezTo>
                      <a:pt x="83" y="76"/>
                      <a:pt x="84" y="75"/>
                      <a:pt x="84" y="73"/>
                    </a:cubicBezTo>
                    <a:cubicBezTo>
                      <a:pt x="84" y="71"/>
                      <a:pt x="84" y="71"/>
                      <a:pt x="84" y="69"/>
                    </a:cubicBezTo>
                    <a:cubicBezTo>
                      <a:pt x="84" y="69"/>
                      <a:pt x="84" y="69"/>
                      <a:pt x="84" y="69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7" y="69"/>
                      <a:pt x="88" y="68"/>
                      <a:pt x="88" y="68"/>
                    </a:cubicBezTo>
                    <a:cubicBezTo>
                      <a:pt x="89" y="68"/>
                      <a:pt x="89" y="68"/>
                      <a:pt x="89" y="68"/>
                    </a:cubicBezTo>
                    <a:cubicBezTo>
                      <a:pt x="89" y="69"/>
                      <a:pt x="89" y="70"/>
                      <a:pt x="89" y="71"/>
                    </a:cubicBezTo>
                    <a:cubicBezTo>
                      <a:pt x="89" y="71"/>
                      <a:pt x="88" y="71"/>
                      <a:pt x="88" y="72"/>
                    </a:cubicBezTo>
                    <a:cubicBezTo>
                      <a:pt x="88" y="74"/>
                      <a:pt x="90" y="74"/>
                      <a:pt x="91" y="75"/>
                    </a:cubicBezTo>
                    <a:cubicBezTo>
                      <a:pt x="92" y="76"/>
                      <a:pt x="93" y="76"/>
                      <a:pt x="95" y="77"/>
                    </a:cubicBezTo>
                    <a:cubicBezTo>
                      <a:pt x="96" y="77"/>
                      <a:pt x="96" y="78"/>
                      <a:pt x="97" y="78"/>
                    </a:cubicBezTo>
                    <a:cubicBezTo>
                      <a:pt x="98" y="78"/>
                      <a:pt x="99" y="77"/>
                      <a:pt x="100" y="77"/>
                    </a:cubicBezTo>
                    <a:cubicBezTo>
                      <a:pt x="101" y="77"/>
                      <a:pt x="101" y="77"/>
                      <a:pt x="102" y="77"/>
                    </a:cubicBezTo>
                    <a:cubicBezTo>
                      <a:pt x="103" y="77"/>
                      <a:pt x="103" y="76"/>
                      <a:pt x="103" y="75"/>
                    </a:cubicBezTo>
                    <a:cubicBezTo>
                      <a:pt x="103" y="74"/>
                      <a:pt x="103" y="74"/>
                      <a:pt x="103" y="73"/>
                    </a:cubicBezTo>
                    <a:cubicBezTo>
                      <a:pt x="100" y="73"/>
                      <a:pt x="97" y="70"/>
                      <a:pt x="97" y="67"/>
                    </a:cubicBezTo>
                    <a:cubicBezTo>
                      <a:pt x="97" y="64"/>
                      <a:pt x="99" y="62"/>
                      <a:pt x="99" y="59"/>
                    </a:cubicBezTo>
                    <a:cubicBezTo>
                      <a:pt x="99" y="57"/>
                      <a:pt x="99" y="55"/>
                      <a:pt x="101" y="53"/>
                    </a:cubicBezTo>
                    <a:cubicBezTo>
                      <a:pt x="101" y="52"/>
                      <a:pt x="102" y="52"/>
                      <a:pt x="102" y="51"/>
                    </a:cubicBezTo>
                    <a:cubicBezTo>
                      <a:pt x="102" y="50"/>
                      <a:pt x="102" y="48"/>
                      <a:pt x="101" y="48"/>
                    </a:cubicBezTo>
                    <a:cubicBezTo>
                      <a:pt x="100" y="48"/>
                      <a:pt x="100" y="49"/>
                      <a:pt x="100" y="49"/>
                    </a:cubicBezTo>
                    <a:cubicBezTo>
                      <a:pt x="99" y="49"/>
                      <a:pt x="100" y="48"/>
                      <a:pt x="99" y="48"/>
                    </a:cubicBezTo>
                    <a:cubicBezTo>
                      <a:pt x="99" y="48"/>
                      <a:pt x="99" y="47"/>
                      <a:pt x="99" y="47"/>
                    </a:cubicBezTo>
                    <a:cubicBezTo>
                      <a:pt x="99" y="46"/>
                      <a:pt x="99" y="46"/>
                      <a:pt x="99" y="45"/>
                    </a:cubicBezTo>
                    <a:cubicBezTo>
                      <a:pt x="99" y="44"/>
                      <a:pt x="98" y="43"/>
                      <a:pt x="98" y="43"/>
                    </a:cubicBezTo>
                    <a:cubicBezTo>
                      <a:pt x="97" y="40"/>
                      <a:pt x="98" y="39"/>
                      <a:pt x="97" y="37"/>
                    </a:cubicBezTo>
                    <a:cubicBezTo>
                      <a:pt x="96" y="36"/>
                      <a:pt x="94" y="35"/>
                      <a:pt x="94" y="34"/>
                    </a:cubicBezTo>
                    <a:cubicBezTo>
                      <a:pt x="94" y="32"/>
                      <a:pt x="96" y="32"/>
                      <a:pt x="98" y="32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8" y="29"/>
                      <a:pt x="97" y="29"/>
                      <a:pt x="96" y="28"/>
                    </a:cubicBezTo>
                    <a:cubicBezTo>
                      <a:pt x="96" y="28"/>
                      <a:pt x="96" y="27"/>
                      <a:pt x="96" y="27"/>
                    </a:cubicBezTo>
                    <a:cubicBezTo>
                      <a:pt x="96" y="26"/>
                      <a:pt x="95" y="26"/>
                      <a:pt x="93" y="25"/>
                    </a:cubicBezTo>
                    <a:cubicBezTo>
                      <a:pt x="93" y="25"/>
                      <a:pt x="93" y="24"/>
                      <a:pt x="92" y="24"/>
                    </a:cubicBezTo>
                    <a:cubicBezTo>
                      <a:pt x="92" y="24"/>
                      <a:pt x="91" y="24"/>
                      <a:pt x="91" y="23"/>
                    </a:cubicBezTo>
                    <a:cubicBezTo>
                      <a:pt x="91" y="23"/>
                      <a:pt x="91" y="22"/>
                      <a:pt x="91" y="22"/>
                    </a:cubicBezTo>
                    <a:cubicBezTo>
                      <a:pt x="93" y="22"/>
                      <a:pt x="93" y="23"/>
                      <a:pt x="95" y="23"/>
                    </a:cubicBezTo>
                    <a:cubicBezTo>
                      <a:pt x="97" y="24"/>
                      <a:pt x="98" y="23"/>
                      <a:pt x="100" y="24"/>
                    </a:cubicBezTo>
                    <a:cubicBezTo>
                      <a:pt x="101" y="25"/>
                      <a:pt x="102" y="24"/>
                      <a:pt x="104" y="25"/>
                    </a:cubicBezTo>
                    <a:cubicBezTo>
                      <a:pt x="105" y="26"/>
                      <a:pt x="105" y="27"/>
                      <a:pt x="107" y="28"/>
                    </a:cubicBezTo>
                    <a:cubicBezTo>
                      <a:pt x="107" y="28"/>
                      <a:pt x="108" y="28"/>
                      <a:pt x="108" y="28"/>
                    </a:cubicBezTo>
                    <a:cubicBezTo>
                      <a:pt x="109" y="28"/>
                      <a:pt x="109" y="27"/>
                      <a:pt x="110" y="27"/>
                    </a:cubicBezTo>
                    <a:cubicBezTo>
                      <a:pt x="111" y="27"/>
                      <a:pt x="112" y="28"/>
                      <a:pt x="114" y="28"/>
                    </a:cubicBezTo>
                    <a:cubicBezTo>
                      <a:pt x="114" y="28"/>
                      <a:pt x="115" y="28"/>
                      <a:pt x="115" y="28"/>
                    </a:cubicBezTo>
                    <a:cubicBezTo>
                      <a:pt x="116" y="28"/>
                      <a:pt x="116" y="29"/>
                      <a:pt x="116" y="29"/>
                    </a:cubicBezTo>
                    <a:cubicBezTo>
                      <a:pt x="117" y="30"/>
                      <a:pt x="117" y="31"/>
                      <a:pt x="117" y="32"/>
                    </a:cubicBezTo>
                    <a:cubicBezTo>
                      <a:pt x="117" y="34"/>
                      <a:pt x="117" y="34"/>
                      <a:pt x="117" y="34"/>
                    </a:cubicBezTo>
                    <a:cubicBezTo>
                      <a:pt x="117" y="36"/>
                      <a:pt x="115" y="36"/>
                      <a:pt x="114" y="37"/>
                    </a:cubicBezTo>
                    <a:cubicBezTo>
                      <a:pt x="114" y="38"/>
                      <a:pt x="114" y="39"/>
                      <a:pt x="115" y="40"/>
                    </a:cubicBezTo>
                    <a:cubicBezTo>
                      <a:pt x="115" y="41"/>
                      <a:pt x="115" y="42"/>
                      <a:pt x="115" y="42"/>
                    </a:cubicBezTo>
                    <a:cubicBezTo>
                      <a:pt x="115" y="43"/>
                      <a:pt x="116" y="43"/>
                      <a:pt x="116" y="44"/>
                    </a:cubicBezTo>
                    <a:cubicBezTo>
                      <a:pt x="116" y="46"/>
                      <a:pt x="115" y="46"/>
                      <a:pt x="113" y="46"/>
                    </a:cubicBezTo>
                    <a:cubicBezTo>
                      <a:pt x="113" y="47"/>
                      <a:pt x="113" y="47"/>
                      <a:pt x="113" y="47"/>
                    </a:cubicBezTo>
                    <a:cubicBezTo>
                      <a:pt x="114" y="47"/>
                      <a:pt x="115" y="47"/>
                      <a:pt x="116" y="47"/>
                    </a:cubicBezTo>
                    <a:cubicBezTo>
                      <a:pt x="116" y="48"/>
                      <a:pt x="116" y="49"/>
                      <a:pt x="117" y="49"/>
                    </a:cubicBezTo>
                    <a:cubicBezTo>
                      <a:pt x="117" y="49"/>
                      <a:pt x="118" y="48"/>
                      <a:pt x="119" y="48"/>
                    </a:cubicBezTo>
                    <a:cubicBezTo>
                      <a:pt x="121" y="48"/>
                      <a:pt x="122" y="48"/>
                      <a:pt x="124" y="48"/>
                    </a:cubicBezTo>
                    <a:cubicBezTo>
                      <a:pt x="125" y="48"/>
                      <a:pt x="125" y="48"/>
                      <a:pt x="126" y="49"/>
                    </a:cubicBezTo>
                    <a:cubicBezTo>
                      <a:pt x="127" y="49"/>
                      <a:pt x="127" y="50"/>
                      <a:pt x="129" y="51"/>
                    </a:cubicBezTo>
                    <a:cubicBezTo>
                      <a:pt x="131" y="52"/>
                      <a:pt x="134" y="52"/>
                      <a:pt x="136" y="54"/>
                    </a:cubicBezTo>
                    <a:cubicBezTo>
                      <a:pt x="138" y="55"/>
                      <a:pt x="137" y="57"/>
                      <a:pt x="138" y="59"/>
                    </a:cubicBezTo>
                    <a:cubicBezTo>
                      <a:pt x="139" y="57"/>
                      <a:pt x="141" y="57"/>
                      <a:pt x="143" y="57"/>
                    </a:cubicBezTo>
                    <a:cubicBezTo>
                      <a:pt x="146" y="57"/>
                      <a:pt x="146" y="57"/>
                      <a:pt x="146" y="57"/>
                    </a:cubicBezTo>
                    <a:cubicBezTo>
                      <a:pt x="147" y="57"/>
                      <a:pt x="148" y="56"/>
                      <a:pt x="149" y="56"/>
                    </a:cubicBezTo>
                    <a:cubicBezTo>
                      <a:pt x="152" y="56"/>
                      <a:pt x="152" y="56"/>
                      <a:pt x="152" y="56"/>
                    </a:cubicBezTo>
                    <a:cubicBezTo>
                      <a:pt x="153" y="56"/>
                      <a:pt x="154" y="57"/>
                      <a:pt x="155" y="57"/>
                    </a:cubicBezTo>
                    <a:cubicBezTo>
                      <a:pt x="157" y="57"/>
                      <a:pt x="158" y="57"/>
                      <a:pt x="160" y="57"/>
                    </a:cubicBezTo>
                    <a:cubicBezTo>
                      <a:pt x="160" y="57"/>
                      <a:pt x="161" y="57"/>
                      <a:pt x="161" y="57"/>
                    </a:cubicBezTo>
                    <a:cubicBezTo>
                      <a:pt x="165" y="57"/>
                      <a:pt x="165" y="57"/>
                      <a:pt x="165" y="57"/>
                    </a:cubicBezTo>
                    <a:cubicBezTo>
                      <a:pt x="166" y="58"/>
                      <a:pt x="166" y="58"/>
                      <a:pt x="166" y="58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4" y="57"/>
                      <a:pt x="162" y="56"/>
                      <a:pt x="160" y="54"/>
                    </a:cubicBezTo>
                    <a:cubicBezTo>
                      <a:pt x="158" y="53"/>
                      <a:pt x="158" y="52"/>
                      <a:pt x="156" y="51"/>
                    </a:cubicBezTo>
                    <a:cubicBezTo>
                      <a:pt x="154" y="51"/>
                      <a:pt x="154" y="51"/>
                      <a:pt x="152" y="50"/>
                    </a:cubicBezTo>
                    <a:cubicBezTo>
                      <a:pt x="152" y="50"/>
                      <a:pt x="152" y="50"/>
                      <a:pt x="152" y="50"/>
                    </a:cubicBezTo>
                    <a:cubicBezTo>
                      <a:pt x="152" y="48"/>
                      <a:pt x="153" y="48"/>
                      <a:pt x="153" y="47"/>
                    </a:cubicBezTo>
                    <a:cubicBezTo>
                      <a:pt x="155" y="44"/>
                      <a:pt x="157" y="43"/>
                      <a:pt x="160" y="42"/>
                    </a:cubicBezTo>
                    <a:cubicBezTo>
                      <a:pt x="163" y="41"/>
                      <a:pt x="164" y="41"/>
                      <a:pt x="167" y="40"/>
                    </a:cubicBezTo>
                    <a:cubicBezTo>
                      <a:pt x="168" y="39"/>
                      <a:pt x="169" y="38"/>
                      <a:pt x="171" y="38"/>
                    </a:cubicBezTo>
                    <a:cubicBezTo>
                      <a:pt x="172" y="38"/>
                      <a:pt x="173" y="38"/>
                      <a:pt x="174" y="39"/>
                    </a:cubicBezTo>
                    <a:cubicBezTo>
                      <a:pt x="175" y="39"/>
                      <a:pt x="176" y="39"/>
                      <a:pt x="178" y="39"/>
                    </a:cubicBezTo>
                    <a:cubicBezTo>
                      <a:pt x="183" y="39"/>
                      <a:pt x="183" y="39"/>
                      <a:pt x="183" y="39"/>
                    </a:cubicBezTo>
                    <a:cubicBezTo>
                      <a:pt x="187" y="39"/>
                      <a:pt x="188" y="36"/>
                      <a:pt x="191" y="36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96" y="36"/>
                      <a:pt x="196" y="32"/>
                      <a:pt x="199" y="32"/>
                    </a:cubicBezTo>
                    <a:cubicBezTo>
                      <a:pt x="201" y="32"/>
                      <a:pt x="201" y="33"/>
                      <a:pt x="203" y="33"/>
                    </a:cubicBezTo>
                    <a:cubicBezTo>
                      <a:pt x="202" y="32"/>
                      <a:pt x="202" y="31"/>
                      <a:pt x="201" y="30"/>
                    </a:cubicBezTo>
                    <a:cubicBezTo>
                      <a:pt x="201" y="29"/>
                      <a:pt x="200" y="29"/>
                      <a:pt x="200" y="28"/>
                    </a:cubicBezTo>
                    <a:cubicBezTo>
                      <a:pt x="200" y="25"/>
                      <a:pt x="201" y="23"/>
                      <a:pt x="203" y="20"/>
                    </a:cubicBezTo>
                    <a:cubicBezTo>
                      <a:pt x="204" y="19"/>
                      <a:pt x="203" y="18"/>
                      <a:pt x="204" y="16"/>
                    </a:cubicBezTo>
                    <a:cubicBezTo>
                      <a:pt x="204" y="15"/>
                      <a:pt x="205" y="14"/>
                      <a:pt x="206" y="13"/>
                    </a:cubicBezTo>
                    <a:cubicBezTo>
                      <a:pt x="207" y="10"/>
                      <a:pt x="207" y="8"/>
                      <a:pt x="208" y="5"/>
                    </a:cubicBezTo>
                    <a:cubicBezTo>
                      <a:pt x="208" y="3"/>
                      <a:pt x="210" y="3"/>
                      <a:pt x="212" y="2"/>
                    </a:cubicBezTo>
                    <a:cubicBezTo>
                      <a:pt x="214" y="2"/>
                      <a:pt x="216" y="2"/>
                      <a:pt x="218" y="1"/>
                    </a:cubicBezTo>
                    <a:cubicBezTo>
                      <a:pt x="223" y="1"/>
                      <a:pt x="226" y="0"/>
                      <a:pt x="231" y="0"/>
                    </a:cubicBezTo>
                    <a:cubicBezTo>
                      <a:pt x="233" y="0"/>
                      <a:pt x="235" y="0"/>
                      <a:pt x="237" y="0"/>
                    </a:cubicBezTo>
                    <a:cubicBezTo>
                      <a:pt x="237" y="1"/>
                      <a:pt x="236" y="1"/>
                      <a:pt x="236" y="3"/>
                    </a:cubicBezTo>
                    <a:cubicBezTo>
                      <a:pt x="236" y="5"/>
                      <a:pt x="236" y="6"/>
                      <a:pt x="236" y="8"/>
                    </a:cubicBezTo>
                    <a:cubicBezTo>
                      <a:pt x="236" y="9"/>
                      <a:pt x="236" y="10"/>
                      <a:pt x="236" y="12"/>
                    </a:cubicBezTo>
                    <a:cubicBezTo>
                      <a:pt x="236" y="13"/>
                      <a:pt x="237" y="13"/>
                      <a:pt x="237" y="14"/>
                    </a:cubicBezTo>
                    <a:cubicBezTo>
                      <a:pt x="238" y="15"/>
                      <a:pt x="238" y="17"/>
                      <a:pt x="239" y="17"/>
                    </a:cubicBezTo>
                    <a:cubicBezTo>
                      <a:pt x="242" y="17"/>
                      <a:pt x="243" y="14"/>
                      <a:pt x="245" y="14"/>
                    </a:cubicBezTo>
                    <a:cubicBezTo>
                      <a:pt x="246" y="14"/>
                      <a:pt x="247" y="15"/>
                      <a:pt x="247" y="15"/>
                    </a:cubicBezTo>
                    <a:cubicBezTo>
                      <a:pt x="248" y="15"/>
                      <a:pt x="249" y="16"/>
                      <a:pt x="249" y="17"/>
                    </a:cubicBezTo>
                    <a:cubicBezTo>
                      <a:pt x="249" y="19"/>
                      <a:pt x="247" y="21"/>
                      <a:pt x="247" y="24"/>
                    </a:cubicBezTo>
                    <a:cubicBezTo>
                      <a:pt x="247" y="25"/>
                      <a:pt x="248" y="27"/>
                      <a:pt x="249" y="28"/>
                    </a:cubicBezTo>
                    <a:cubicBezTo>
                      <a:pt x="252" y="29"/>
                      <a:pt x="254" y="30"/>
                      <a:pt x="255" y="32"/>
                    </a:cubicBezTo>
                    <a:cubicBezTo>
                      <a:pt x="256" y="34"/>
                      <a:pt x="256" y="36"/>
                      <a:pt x="258" y="37"/>
                    </a:cubicBezTo>
                    <a:cubicBezTo>
                      <a:pt x="260" y="39"/>
                      <a:pt x="261" y="39"/>
                      <a:pt x="264" y="40"/>
                    </a:cubicBezTo>
                    <a:cubicBezTo>
                      <a:pt x="266" y="40"/>
                      <a:pt x="266" y="41"/>
                      <a:pt x="267" y="43"/>
                    </a:cubicBezTo>
                    <a:cubicBezTo>
                      <a:pt x="267" y="46"/>
                      <a:pt x="267" y="47"/>
                      <a:pt x="267" y="49"/>
                    </a:cubicBezTo>
                    <a:cubicBezTo>
                      <a:pt x="268" y="52"/>
                      <a:pt x="268" y="53"/>
                      <a:pt x="269" y="55"/>
                    </a:cubicBezTo>
                    <a:cubicBezTo>
                      <a:pt x="269" y="56"/>
                      <a:pt x="270" y="56"/>
                      <a:pt x="270" y="57"/>
                    </a:cubicBezTo>
                    <a:cubicBezTo>
                      <a:pt x="271" y="58"/>
                      <a:pt x="271" y="60"/>
                      <a:pt x="272" y="60"/>
                    </a:cubicBezTo>
                    <a:cubicBezTo>
                      <a:pt x="274" y="60"/>
                      <a:pt x="275" y="59"/>
                      <a:pt x="277" y="57"/>
                    </a:cubicBezTo>
                    <a:cubicBezTo>
                      <a:pt x="278" y="56"/>
                      <a:pt x="279" y="55"/>
                      <a:pt x="280" y="55"/>
                    </a:cubicBezTo>
                    <a:cubicBezTo>
                      <a:pt x="282" y="55"/>
                      <a:pt x="283" y="56"/>
                      <a:pt x="285" y="56"/>
                    </a:cubicBezTo>
                    <a:cubicBezTo>
                      <a:pt x="285" y="58"/>
                      <a:pt x="285" y="59"/>
                      <a:pt x="285" y="61"/>
                    </a:cubicBezTo>
                    <a:cubicBezTo>
                      <a:pt x="286" y="63"/>
                      <a:pt x="285" y="64"/>
                      <a:pt x="286" y="66"/>
                    </a:cubicBezTo>
                    <a:cubicBezTo>
                      <a:pt x="286" y="66"/>
                      <a:pt x="287" y="67"/>
                      <a:pt x="287" y="67"/>
                    </a:cubicBezTo>
                    <a:cubicBezTo>
                      <a:pt x="288" y="68"/>
                      <a:pt x="288" y="69"/>
                      <a:pt x="289" y="70"/>
                    </a:cubicBezTo>
                    <a:cubicBezTo>
                      <a:pt x="292" y="72"/>
                      <a:pt x="293" y="73"/>
                      <a:pt x="295" y="76"/>
                    </a:cubicBezTo>
                    <a:cubicBezTo>
                      <a:pt x="296" y="78"/>
                      <a:pt x="297" y="79"/>
                      <a:pt x="298" y="80"/>
                    </a:cubicBezTo>
                    <a:cubicBezTo>
                      <a:pt x="298" y="81"/>
                      <a:pt x="298" y="83"/>
                      <a:pt x="300" y="83"/>
                    </a:cubicBezTo>
                    <a:cubicBezTo>
                      <a:pt x="300" y="83"/>
                      <a:pt x="301" y="82"/>
                      <a:pt x="302" y="82"/>
                    </a:cubicBezTo>
                    <a:cubicBezTo>
                      <a:pt x="303" y="81"/>
                      <a:pt x="303" y="81"/>
                      <a:pt x="304" y="81"/>
                    </a:cubicBezTo>
                    <a:cubicBezTo>
                      <a:pt x="306" y="81"/>
                      <a:pt x="307" y="81"/>
                      <a:pt x="309" y="82"/>
                    </a:cubicBezTo>
                    <a:cubicBezTo>
                      <a:pt x="310" y="83"/>
                      <a:pt x="310" y="84"/>
                      <a:pt x="311" y="85"/>
                    </a:cubicBezTo>
                    <a:cubicBezTo>
                      <a:pt x="311" y="86"/>
                      <a:pt x="311" y="86"/>
                      <a:pt x="311" y="86"/>
                    </a:cubicBezTo>
                    <a:cubicBezTo>
                      <a:pt x="311" y="87"/>
                      <a:pt x="312" y="87"/>
                      <a:pt x="312" y="87"/>
                    </a:cubicBezTo>
                    <a:cubicBezTo>
                      <a:pt x="314" y="88"/>
                      <a:pt x="315" y="88"/>
                      <a:pt x="316" y="89"/>
                    </a:cubicBezTo>
                    <a:cubicBezTo>
                      <a:pt x="317" y="89"/>
                      <a:pt x="317" y="89"/>
                      <a:pt x="318" y="89"/>
                    </a:cubicBezTo>
                    <a:cubicBezTo>
                      <a:pt x="319" y="89"/>
                      <a:pt x="319" y="88"/>
                      <a:pt x="320" y="88"/>
                    </a:cubicBezTo>
                    <a:cubicBezTo>
                      <a:pt x="321" y="87"/>
                      <a:pt x="322" y="87"/>
                      <a:pt x="323" y="87"/>
                    </a:cubicBezTo>
                    <a:cubicBezTo>
                      <a:pt x="325" y="86"/>
                      <a:pt x="325" y="86"/>
                      <a:pt x="327" y="8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6" name="Freeform 83">
                <a:extLst>
                  <a:ext uri="{FF2B5EF4-FFF2-40B4-BE49-F238E27FC236}">
                    <a16:creationId xmlns:a16="http://schemas.microsoft.com/office/drawing/2014/main" xmlns="" id="{BFC6362B-5D37-4D59-9797-7CFC9773B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19" y="3445347"/>
                <a:ext cx="81414" cy="177218"/>
              </a:xfrm>
              <a:custGeom>
                <a:avLst/>
                <a:gdLst>
                  <a:gd name="T0" fmla="*/ 28 w 32"/>
                  <a:gd name="T1" fmla="*/ 6 h 70"/>
                  <a:gd name="T2" fmla="*/ 28 w 32"/>
                  <a:gd name="T3" fmla="*/ 8 h 70"/>
                  <a:gd name="T4" fmla="*/ 26 w 32"/>
                  <a:gd name="T5" fmla="*/ 12 h 70"/>
                  <a:gd name="T6" fmla="*/ 25 w 32"/>
                  <a:gd name="T7" fmla="*/ 10 h 70"/>
                  <a:gd name="T8" fmla="*/ 22 w 32"/>
                  <a:gd name="T9" fmla="*/ 8 h 70"/>
                  <a:gd name="T10" fmla="*/ 17 w 32"/>
                  <a:gd name="T11" fmla="*/ 11 h 70"/>
                  <a:gd name="T12" fmla="*/ 10 w 32"/>
                  <a:gd name="T13" fmla="*/ 12 h 70"/>
                  <a:gd name="T14" fmla="*/ 7 w 32"/>
                  <a:gd name="T15" fmla="*/ 17 h 70"/>
                  <a:gd name="T16" fmla="*/ 6 w 32"/>
                  <a:gd name="T17" fmla="*/ 20 h 70"/>
                  <a:gd name="T18" fmla="*/ 4 w 32"/>
                  <a:gd name="T19" fmla="*/ 22 h 70"/>
                  <a:gd name="T20" fmla="*/ 6 w 32"/>
                  <a:gd name="T21" fmla="*/ 26 h 70"/>
                  <a:gd name="T22" fmla="*/ 6 w 32"/>
                  <a:gd name="T23" fmla="*/ 27 h 70"/>
                  <a:gd name="T24" fmla="*/ 3 w 32"/>
                  <a:gd name="T25" fmla="*/ 29 h 70"/>
                  <a:gd name="T26" fmla="*/ 4 w 32"/>
                  <a:gd name="T27" fmla="*/ 34 h 70"/>
                  <a:gd name="T28" fmla="*/ 6 w 32"/>
                  <a:gd name="T29" fmla="*/ 35 h 70"/>
                  <a:gd name="T30" fmla="*/ 4 w 32"/>
                  <a:gd name="T31" fmla="*/ 37 h 70"/>
                  <a:gd name="T32" fmla="*/ 3 w 32"/>
                  <a:gd name="T33" fmla="*/ 42 h 70"/>
                  <a:gd name="T34" fmla="*/ 1 w 32"/>
                  <a:gd name="T35" fmla="*/ 42 h 70"/>
                  <a:gd name="T36" fmla="*/ 0 w 32"/>
                  <a:gd name="T37" fmla="*/ 47 h 70"/>
                  <a:gd name="T38" fmla="*/ 0 w 32"/>
                  <a:gd name="T39" fmla="*/ 48 h 70"/>
                  <a:gd name="T40" fmla="*/ 1 w 32"/>
                  <a:gd name="T41" fmla="*/ 48 h 70"/>
                  <a:gd name="T42" fmla="*/ 3 w 32"/>
                  <a:gd name="T43" fmla="*/ 47 h 70"/>
                  <a:gd name="T44" fmla="*/ 4 w 32"/>
                  <a:gd name="T45" fmla="*/ 47 h 70"/>
                  <a:gd name="T46" fmla="*/ 4 w 32"/>
                  <a:gd name="T47" fmla="*/ 49 h 70"/>
                  <a:gd name="T48" fmla="*/ 3 w 32"/>
                  <a:gd name="T49" fmla="*/ 50 h 70"/>
                  <a:gd name="T50" fmla="*/ 2 w 32"/>
                  <a:gd name="T51" fmla="*/ 53 h 70"/>
                  <a:gd name="T52" fmla="*/ 6 w 32"/>
                  <a:gd name="T53" fmla="*/ 54 h 70"/>
                  <a:gd name="T54" fmla="*/ 7 w 32"/>
                  <a:gd name="T55" fmla="*/ 54 h 70"/>
                  <a:gd name="T56" fmla="*/ 5 w 32"/>
                  <a:gd name="T57" fmla="*/ 59 h 70"/>
                  <a:gd name="T58" fmla="*/ 12 w 32"/>
                  <a:gd name="T59" fmla="*/ 64 h 70"/>
                  <a:gd name="T60" fmla="*/ 15 w 32"/>
                  <a:gd name="T61" fmla="*/ 66 h 70"/>
                  <a:gd name="T62" fmla="*/ 17 w 32"/>
                  <a:gd name="T63" fmla="*/ 70 h 70"/>
                  <a:gd name="T64" fmla="*/ 19 w 32"/>
                  <a:gd name="T65" fmla="*/ 70 h 70"/>
                  <a:gd name="T66" fmla="*/ 19 w 32"/>
                  <a:gd name="T67" fmla="*/ 69 h 70"/>
                  <a:gd name="T68" fmla="*/ 18 w 32"/>
                  <a:gd name="T69" fmla="*/ 68 h 70"/>
                  <a:gd name="T70" fmla="*/ 18 w 32"/>
                  <a:gd name="T71" fmla="*/ 66 h 70"/>
                  <a:gd name="T72" fmla="*/ 20 w 32"/>
                  <a:gd name="T73" fmla="*/ 64 h 70"/>
                  <a:gd name="T74" fmla="*/ 22 w 32"/>
                  <a:gd name="T75" fmla="*/ 60 h 70"/>
                  <a:gd name="T76" fmla="*/ 21 w 32"/>
                  <a:gd name="T77" fmla="*/ 58 h 70"/>
                  <a:gd name="T78" fmla="*/ 23 w 32"/>
                  <a:gd name="T79" fmla="*/ 57 h 70"/>
                  <a:gd name="T80" fmla="*/ 24 w 32"/>
                  <a:gd name="T81" fmla="*/ 56 h 70"/>
                  <a:gd name="T82" fmla="*/ 24 w 32"/>
                  <a:gd name="T83" fmla="*/ 53 h 70"/>
                  <a:gd name="T84" fmla="*/ 24 w 32"/>
                  <a:gd name="T85" fmla="*/ 52 h 70"/>
                  <a:gd name="T86" fmla="*/ 24 w 32"/>
                  <a:gd name="T87" fmla="*/ 49 h 70"/>
                  <a:gd name="T88" fmla="*/ 26 w 32"/>
                  <a:gd name="T89" fmla="*/ 44 h 70"/>
                  <a:gd name="T90" fmla="*/ 27 w 32"/>
                  <a:gd name="T91" fmla="*/ 41 h 70"/>
                  <a:gd name="T92" fmla="*/ 31 w 32"/>
                  <a:gd name="T93" fmla="*/ 37 h 70"/>
                  <a:gd name="T94" fmla="*/ 32 w 32"/>
                  <a:gd name="T95" fmla="*/ 32 h 70"/>
                  <a:gd name="T96" fmla="*/ 31 w 32"/>
                  <a:gd name="T97" fmla="*/ 21 h 70"/>
                  <a:gd name="T98" fmla="*/ 30 w 32"/>
                  <a:gd name="T99" fmla="*/ 15 h 70"/>
                  <a:gd name="T100" fmla="*/ 32 w 32"/>
                  <a:gd name="T101" fmla="*/ 8 h 70"/>
                  <a:gd name="T102" fmla="*/ 32 w 32"/>
                  <a:gd name="T103" fmla="*/ 1 h 70"/>
                  <a:gd name="T104" fmla="*/ 31 w 32"/>
                  <a:gd name="T105" fmla="*/ 0 h 70"/>
                  <a:gd name="T106" fmla="*/ 30 w 32"/>
                  <a:gd name="T107" fmla="*/ 3 h 70"/>
                  <a:gd name="T108" fmla="*/ 28 w 32"/>
                  <a:gd name="T109" fmla="*/ 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" h="70">
                    <a:moveTo>
                      <a:pt x="28" y="6"/>
                    </a:moveTo>
                    <a:cubicBezTo>
                      <a:pt x="28" y="7"/>
                      <a:pt x="28" y="7"/>
                      <a:pt x="28" y="8"/>
                    </a:cubicBezTo>
                    <a:cubicBezTo>
                      <a:pt x="28" y="10"/>
                      <a:pt x="28" y="12"/>
                      <a:pt x="26" y="12"/>
                    </a:cubicBezTo>
                    <a:cubicBezTo>
                      <a:pt x="26" y="12"/>
                      <a:pt x="26" y="10"/>
                      <a:pt x="25" y="10"/>
                    </a:cubicBezTo>
                    <a:cubicBezTo>
                      <a:pt x="24" y="10"/>
                      <a:pt x="23" y="8"/>
                      <a:pt x="22" y="8"/>
                    </a:cubicBezTo>
                    <a:cubicBezTo>
                      <a:pt x="20" y="8"/>
                      <a:pt x="19" y="10"/>
                      <a:pt x="17" y="11"/>
                    </a:cubicBezTo>
                    <a:cubicBezTo>
                      <a:pt x="15" y="12"/>
                      <a:pt x="13" y="11"/>
                      <a:pt x="10" y="12"/>
                    </a:cubicBezTo>
                    <a:cubicBezTo>
                      <a:pt x="8" y="13"/>
                      <a:pt x="8" y="15"/>
                      <a:pt x="7" y="17"/>
                    </a:cubicBezTo>
                    <a:cubicBezTo>
                      <a:pt x="7" y="18"/>
                      <a:pt x="6" y="19"/>
                      <a:pt x="6" y="20"/>
                    </a:cubicBezTo>
                    <a:cubicBezTo>
                      <a:pt x="5" y="21"/>
                      <a:pt x="4" y="21"/>
                      <a:pt x="4" y="22"/>
                    </a:cubicBezTo>
                    <a:cubicBezTo>
                      <a:pt x="4" y="24"/>
                      <a:pt x="6" y="24"/>
                      <a:pt x="6" y="26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5" y="27"/>
                      <a:pt x="3" y="27"/>
                      <a:pt x="3" y="29"/>
                    </a:cubicBezTo>
                    <a:cubicBezTo>
                      <a:pt x="3" y="31"/>
                      <a:pt x="3" y="32"/>
                      <a:pt x="4" y="34"/>
                    </a:cubicBezTo>
                    <a:cubicBezTo>
                      <a:pt x="4" y="34"/>
                      <a:pt x="5" y="34"/>
                      <a:pt x="6" y="35"/>
                    </a:cubicBezTo>
                    <a:cubicBezTo>
                      <a:pt x="6" y="36"/>
                      <a:pt x="5" y="36"/>
                      <a:pt x="4" y="37"/>
                    </a:cubicBezTo>
                    <a:cubicBezTo>
                      <a:pt x="4" y="39"/>
                      <a:pt x="4" y="40"/>
                      <a:pt x="3" y="42"/>
                    </a:cubicBezTo>
                    <a:cubicBezTo>
                      <a:pt x="2" y="42"/>
                      <a:pt x="1" y="42"/>
                      <a:pt x="1" y="42"/>
                    </a:cubicBezTo>
                    <a:cubicBezTo>
                      <a:pt x="0" y="44"/>
                      <a:pt x="0" y="45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8"/>
                      <a:pt x="1" y="48"/>
                    </a:cubicBezTo>
                    <a:cubicBezTo>
                      <a:pt x="2" y="48"/>
                      <a:pt x="2" y="47"/>
                      <a:pt x="3" y="47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3" y="50"/>
                      <a:pt x="3" y="50"/>
                    </a:cubicBezTo>
                    <a:cubicBezTo>
                      <a:pt x="2" y="51"/>
                      <a:pt x="2" y="52"/>
                      <a:pt x="2" y="53"/>
                    </a:cubicBezTo>
                    <a:cubicBezTo>
                      <a:pt x="3" y="54"/>
                      <a:pt x="5" y="54"/>
                      <a:pt x="6" y="54"/>
                    </a:cubicBezTo>
                    <a:cubicBezTo>
                      <a:pt x="6" y="54"/>
                      <a:pt x="7" y="54"/>
                      <a:pt x="7" y="54"/>
                    </a:cubicBezTo>
                    <a:cubicBezTo>
                      <a:pt x="7" y="56"/>
                      <a:pt x="5" y="57"/>
                      <a:pt x="5" y="59"/>
                    </a:cubicBezTo>
                    <a:cubicBezTo>
                      <a:pt x="8" y="59"/>
                      <a:pt x="10" y="62"/>
                      <a:pt x="12" y="64"/>
                    </a:cubicBezTo>
                    <a:cubicBezTo>
                      <a:pt x="13" y="65"/>
                      <a:pt x="14" y="65"/>
                      <a:pt x="15" y="66"/>
                    </a:cubicBezTo>
                    <a:cubicBezTo>
                      <a:pt x="16" y="68"/>
                      <a:pt x="15" y="70"/>
                      <a:pt x="17" y="70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8" y="69"/>
                      <a:pt x="18" y="68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8" y="65"/>
                      <a:pt x="19" y="65"/>
                      <a:pt x="20" y="64"/>
                    </a:cubicBezTo>
                    <a:cubicBezTo>
                      <a:pt x="21" y="62"/>
                      <a:pt x="22" y="61"/>
                      <a:pt x="22" y="60"/>
                    </a:cubicBezTo>
                    <a:cubicBezTo>
                      <a:pt x="22" y="59"/>
                      <a:pt x="21" y="58"/>
                      <a:pt x="21" y="58"/>
                    </a:cubicBezTo>
                    <a:cubicBezTo>
                      <a:pt x="21" y="57"/>
                      <a:pt x="22" y="57"/>
                      <a:pt x="23" y="57"/>
                    </a:cubicBezTo>
                    <a:cubicBezTo>
                      <a:pt x="23" y="56"/>
                      <a:pt x="24" y="56"/>
                      <a:pt x="24" y="56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4" y="47"/>
                      <a:pt x="25" y="46"/>
                      <a:pt x="26" y="44"/>
                    </a:cubicBezTo>
                    <a:cubicBezTo>
                      <a:pt x="26" y="43"/>
                      <a:pt x="27" y="42"/>
                      <a:pt x="27" y="41"/>
                    </a:cubicBezTo>
                    <a:cubicBezTo>
                      <a:pt x="29" y="39"/>
                      <a:pt x="31" y="39"/>
                      <a:pt x="31" y="37"/>
                    </a:cubicBezTo>
                    <a:cubicBezTo>
                      <a:pt x="32" y="35"/>
                      <a:pt x="32" y="34"/>
                      <a:pt x="32" y="32"/>
                    </a:cubicBezTo>
                    <a:cubicBezTo>
                      <a:pt x="32" y="28"/>
                      <a:pt x="32" y="25"/>
                      <a:pt x="31" y="21"/>
                    </a:cubicBezTo>
                    <a:cubicBezTo>
                      <a:pt x="30" y="19"/>
                      <a:pt x="30" y="17"/>
                      <a:pt x="30" y="15"/>
                    </a:cubicBezTo>
                    <a:cubicBezTo>
                      <a:pt x="30" y="12"/>
                      <a:pt x="32" y="11"/>
                      <a:pt x="32" y="8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2" y="0"/>
                      <a:pt x="31" y="0"/>
                      <a:pt x="31" y="0"/>
                    </a:cubicBezTo>
                    <a:cubicBezTo>
                      <a:pt x="30" y="1"/>
                      <a:pt x="30" y="2"/>
                      <a:pt x="30" y="3"/>
                    </a:cubicBezTo>
                    <a:cubicBezTo>
                      <a:pt x="29" y="4"/>
                      <a:pt x="28" y="4"/>
                      <a:pt x="28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7" name="Freeform 84">
                <a:extLst>
                  <a:ext uri="{FF2B5EF4-FFF2-40B4-BE49-F238E27FC236}">
                    <a16:creationId xmlns:a16="http://schemas.microsoft.com/office/drawing/2014/main" xmlns="" id="{A6E795AF-620D-42D0-B982-C223184FE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1005" y="3498034"/>
                <a:ext cx="13170" cy="8383"/>
              </a:xfrm>
              <a:custGeom>
                <a:avLst/>
                <a:gdLst>
                  <a:gd name="T0" fmla="*/ 3 w 5"/>
                  <a:gd name="T1" fmla="*/ 0 h 3"/>
                  <a:gd name="T2" fmla="*/ 0 w 5"/>
                  <a:gd name="T3" fmla="*/ 0 h 3"/>
                  <a:gd name="T4" fmla="*/ 0 w 5"/>
                  <a:gd name="T5" fmla="*/ 2 h 3"/>
                  <a:gd name="T6" fmla="*/ 2 w 5"/>
                  <a:gd name="T7" fmla="*/ 3 h 3"/>
                  <a:gd name="T8" fmla="*/ 5 w 5"/>
                  <a:gd name="T9" fmla="*/ 1 h 3"/>
                  <a:gd name="T10" fmla="*/ 3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3"/>
                      <a:pt x="2" y="3"/>
                    </a:cubicBezTo>
                    <a:cubicBezTo>
                      <a:pt x="3" y="3"/>
                      <a:pt x="5" y="3"/>
                      <a:pt x="5" y="1"/>
                    </a:cubicBezTo>
                    <a:cubicBezTo>
                      <a:pt x="5" y="0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8" name="Freeform 85">
                <a:extLst>
                  <a:ext uri="{FF2B5EF4-FFF2-40B4-BE49-F238E27FC236}">
                    <a16:creationId xmlns:a16="http://schemas.microsoft.com/office/drawing/2014/main" xmlns="" id="{B1795960-1985-40AD-8E0C-3B70D45AD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0367" y="3407030"/>
                <a:ext cx="13170" cy="13172"/>
              </a:xfrm>
              <a:custGeom>
                <a:avLst/>
                <a:gdLst>
                  <a:gd name="T0" fmla="*/ 4 w 5"/>
                  <a:gd name="T1" fmla="*/ 2 h 5"/>
                  <a:gd name="T2" fmla="*/ 1 w 5"/>
                  <a:gd name="T3" fmla="*/ 0 h 5"/>
                  <a:gd name="T4" fmla="*/ 0 w 5"/>
                  <a:gd name="T5" fmla="*/ 0 h 5"/>
                  <a:gd name="T6" fmla="*/ 0 w 5"/>
                  <a:gd name="T7" fmla="*/ 1 h 5"/>
                  <a:gd name="T8" fmla="*/ 5 w 5"/>
                  <a:gd name="T9" fmla="*/ 5 h 5"/>
                  <a:gd name="T10" fmla="*/ 5 w 5"/>
                  <a:gd name="T11" fmla="*/ 4 h 5"/>
                  <a:gd name="T12" fmla="*/ 5 w 5"/>
                  <a:gd name="T13" fmla="*/ 4 h 5"/>
                  <a:gd name="T14" fmla="*/ 3 w 5"/>
                  <a:gd name="T15" fmla="*/ 1 h 5"/>
                  <a:gd name="T16" fmla="*/ 4 w 5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4" y="2"/>
                    </a:moveTo>
                    <a:cubicBezTo>
                      <a:pt x="3" y="1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4"/>
                      <a:pt x="3" y="4"/>
                      <a:pt x="5" y="5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4" y="2"/>
                      <a:pt x="3" y="1"/>
                    </a:cubicBez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59" name="Freeform 86">
                <a:extLst>
                  <a:ext uri="{FF2B5EF4-FFF2-40B4-BE49-F238E27FC236}">
                    <a16:creationId xmlns:a16="http://schemas.microsoft.com/office/drawing/2014/main" xmlns="" id="{EEB70272-A521-4EE3-91BA-23574FC53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047" y="3096898"/>
                <a:ext cx="451370" cy="441848"/>
              </a:xfrm>
              <a:custGeom>
                <a:avLst/>
                <a:gdLst>
                  <a:gd name="T0" fmla="*/ 167 w 179"/>
                  <a:gd name="T1" fmla="*/ 47 h 175"/>
                  <a:gd name="T2" fmla="*/ 174 w 179"/>
                  <a:gd name="T3" fmla="*/ 58 h 175"/>
                  <a:gd name="T4" fmla="*/ 177 w 179"/>
                  <a:gd name="T5" fmla="*/ 69 h 175"/>
                  <a:gd name="T6" fmla="*/ 168 w 179"/>
                  <a:gd name="T7" fmla="*/ 78 h 175"/>
                  <a:gd name="T8" fmla="*/ 154 w 179"/>
                  <a:gd name="T9" fmla="*/ 67 h 175"/>
                  <a:gd name="T10" fmla="*/ 132 w 179"/>
                  <a:gd name="T11" fmla="*/ 66 h 175"/>
                  <a:gd name="T12" fmla="*/ 109 w 179"/>
                  <a:gd name="T13" fmla="*/ 63 h 175"/>
                  <a:gd name="T14" fmla="*/ 93 w 179"/>
                  <a:gd name="T15" fmla="*/ 69 h 175"/>
                  <a:gd name="T16" fmla="*/ 72 w 179"/>
                  <a:gd name="T17" fmla="*/ 61 h 175"/>
                  <a:gd name="T18" fmla="*/ 77 w 179"/>
                  <a:gd name="T19" fmla="*/ 88 h 175"/>
                  <a:gd name="T20" fmla="*/ 87 w 179"/>
                  <a:gd name="T21" fmla="*/ 119 h 175"/>
                  <a:gd name="T22" fmla="*/ 103 w 179"/>
                  <a:gd name="T23" fmla="*/ 131 h 175"/>
                  <a:gd name="T24" fmla="*/ 117 w 179"/>
                  <a:gd name="T25" fmla="*/ 147 h 175"/>
                  <a:gd name="T26" fmla="*/ 130 w 179"/>
                  <a:gd name="T27" fmla="*/ 160 h 175"/>
                  <a:gd name="T28" fmla="*/ 131 w 179"/>
                  <a:gd name="T29" fmla="*/ 169 h 175"/>
                  <a:gd name="T30" fmla="*/ 106 w 179"/>
                  <a:gd name="T31" fmla="*/ 149 h 175"/>
                  <a:gd name="T32" fmla="*/ 90 w 179"/>
                  <a:gd name="T33" fmla="*/ 137 h 175"/>
                  <a:gd name="T34" fmla="*/ 77 w 179"/>
                  <a:gd name="T35" fmla="*/ 138 h 175"/>
                  <a:gd name="T36" fmla="*/ 74 w 179"/>
                  <a:gd name="T37" fmla="*/ 140 h 175"/>
                  <a:gd name="T38" fmla="*/ 72 w 179"/>
                  <a:gd name="T39" fmla="*/ 133 h 175"/>
                  <a:gd name="T40" fmla="*/ 67 w 179"/>
                  <a:gd name="T41" fmla="*/ 125 h 175"/>
                  <a:gd name="T42" fmla="*/ 57 w 179"/>
                  <a:gd name="T43" fmla="*/ 117 h 175"/>
                  <a:gd name="T44" fmla="*/ 50 w 179"/>
                  <a:gd name="T45" fmla="*/ 105 h 175"/>
                  <a:gd name="T46" fmla="*/ 58 w 179"/>
                  <a:gd name="T47" fmla="*/ 104 h 175"/>
                  <a:gd name="T48" fmla="*/ 58 w 179"/>
                  <a:gd name="T49" fmla="*/ 100 h 175"/>
                  <a:gd name="T50" fmla="*/ 41 w 179"/>
                  <a:gd name="T51" fmla="*/ 83 h 175"/>
                  <a:gd name="T52" fmla="*/ 42 w 179"/>
                  <a:gd name="T53" fmla="*/ 64 h 175"/>
                  <a:gd name="T54" fmla="*/ 27 w 179"/>
                  <a:gd name="T55" fmla="*/ 56 h 175"/>
                  <a:gd name="T56" fmla="*/ 21 w 179"/>
                  <a:gd name="T57" fmla="*/ 63 h 175"/>
                  <a:gd name="T58" fmla="*/ 18 w 179"/>
                  <a:gd name="T59" fmla="*/ 70 h 175"/>
                  <a:gd name="T60" fmla="*/ 14 w 179"/>
                  <a:gd name="T61" fmla="*/ 77 h 175"/>
                  <a:gd name="T62" fmla="*/ 9 w 179"/>
                  <a:gd name="T63" fmla="*/ 74 h 175"/>
                  <a:gd name="T64" fmla="*/ 4 w 179"/>
                  <a:gd name="T65" fmla="*/ 64 h 175"/>
                  <a:gd name="T66" fmla="*/ 3 w 179"/>
                  <a:gd name="T67" fmla="*/ 63 h 175"/>
                  <a:gd name="T68" fmla="*/ 3 w 179"/>
                  <a:gd name="T69" fmla="*/ 47 h 175"/>
                  <a:gd name="T70" fmla="*/ 26 w 179"/>
                  <a:gd name="T71" fmla="*/ 49 h 175"/>
                  <a:gd name="T72" fmla="*/ 35 w 179"/>
                  <a:gd name="T73" fmla="*/ 43 h 175"/>
                  <a:gd name="T74" fmla="*/ 54 w 179"/>
                  <a:gd name="T75" fmla="*/ 52 h 175"/>
                  <a:gd name="T76" fmla="*/ 69 w 179"/>
                  <a:gd name="T77" fmla="*/ 33 h 175"/>
                  <a:gd name="T78" fmla="*/ 67 w 179"/>
                  <a:gd name="T79" fmla="*/ 17 h 175"/>
                  <a:gd name="T80" fmla="*/ 88 w 179"/>
                  <a:gd name="T81" fmla="*/ 8 h 175"/>
                  <a:gd name="T82" fmla="*/ 99 w 179"/>
                  <a:gd name="T83" fmla="*/ 9 h 175"/>
                  <a:gd name="T84" fmla="*/ 105 w 179"/>
                  <a:gd name="T85" fmla="*/ 15 h 175"/>
                  <a:gd name="T86" fmla="*/ 112 w 179"/>
                  <a:gd name="T87" fmla="*/ 22 h 175"/>
                  <a:gd name="T88" fmla="*/ 121 w 179"/>
                  <a:gd name="T89" fmla="*/ 32 h 175"/>
                  <a:gd name="T90" fmla="*/ 133 w 179"/>
                  <a:gd name="T91" fmla="*/ 37 h 175"/>
                  <a:gd name="T92" fmla="*/ 150 w 179"/>
                  <a:gd name="T93" fmla="*/ 38 h 175"/>
                  <a:gd name="T94" fmla="*/ 163 w 179"/>
                  <a:gd name="T95" fmla="*/ 34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9" h="175">
                    <a:moveTo>
                      <a:pt x="163" y="34"/>
                    </a:moveTo>
                    <a:cubicBezTo>
                      <a:pt x="164" y="37"/>
                      <a:pt x="164" y="39"/>
                      <a:pt x="164" y="42"/>
                    </a:cubicBezTo>
                    <a:cubicBezTo>
                      <a:pt x="164" y="43"/>
                      <a:pt x="164" y="44"/>
                      <a:pt x="164" y="45"/>
                    </a:cubicBezTo>
                    <a:cubicBezTo>
                      <a:pt x="165" y="46"/>
                      <a:pt x="166" y="46"/>
                      <a:pt x="167" y="47"/>
                    </a:cubicBezTo>
                    <a:cubicBezTo>
                      <a:pt x="167" y="48"/>
                      <a:pt x="167" y="48"/>
                      <a:pt x="168" y="49"/>
                    </a:cubicBezTo>
                    <a:cubicBezTo>
                      <a:pt x="169" y="50"/>
                      <a:pt x="170" y="51"/>
                      <a:pt x="171" y="52"/>
                    </a:cubicBezTo>
                    <a:cubicBezTo>
                      <a:pt x="172" y="54"/>
                      <a:pt x="172" y="55"/>
                      <a:pt x="173" y="56"/>
                    </a:cubicBezTo>
                    <a:cubicBezTo>
                      <a:pt x="174" y="57"/>
                      <a:pt x="174" y="58"/>
                      <a:pt x="174" y="58"/>
                    </a:cubicBezTo>
                    <a:cubicBezTo>
                      <a:pt x="175" y="59"/>
                      <a:pt x="175" y="59"/>
                      <a:pt x="175" y="60"/>
                    </a:cubicBezTo>
                    <a:cubicBezTo>
                      <a:pt x="177" y="61"/>
                      <a:pt x="178" y="61"/>
                      <a:pt x="178" y="63"/>
                    </a:cubicBezTo>
                    <a:cubicBezTo>
                      <a:pt x="178" y="64"/>
                      <a:pt x="177" y="65"/>
                      <a:pt x="177" y="67"/>
                    </a:cubicBezTo>
                    <a:cubicBezTo>
                      <a:pt x="177" y="69"/>
                      <a:pt x="177" y="69"/>
                      <a:pt x="177" y="69"/>
                    </a:cubicBezTo>
                    <a:cubicBezTo>
                      <a:pt x="177" y="71"/>
                      <a:pt x="178" y="72"/>
                      <a:pt x="178" y="73"/>
                    </a:cubicBezTo>
                    <a:cubicBezTo>
                      <a:pt x="179" y="74"/>
                      <a:pt x="179" y="75"/>
                      <a:pt x="179" y="77"/>
                    </a:cubicBezTo>
                    <a:cubicBezTo>
                      <a:pt x="176" y="78"/>
                      <a:pt x="175" y="77"/>
                      <a:pt x="172" y="78"/>
                    </a:cubicBezTo>
                    <a:cubicBezTo>
                      <a:pt x="170" y="78"/>
                      <a:pt x="170" y="78"/>
                      <a:pt x="168" y="78"/>
                    </a:cubicBezTo>
                    <a:cubicBezTo>
                      <a:pt x="167" y="78"/>
                      <a:pt x="166" y="79"/>
                      <a:pt x="166" y="78"/>
                    </a:cubicBezTo>
                    <a:cubicBezTo>
                      <a:pt x="165" y="76"/>
                      <a:pt x="165" y="75"/>
                      <a:pt x="165" y="74"/>
                    </a:cubicBezTo>
                    <a:cubicBezTo>
                      <a:pt x="164" y="71"/>
                      <a:pt x="163" y="69"/>
                      <a:pt x="161" y="67"/>
                    </a:cubicBezTo>
                    <a:cubicBezTo>
                      <a:pt x="159" y="68"/>
                      <a:pt x="157" y="67"/>
                      <a:pt x="154" y="67"/>
                    </a:cubicBezTo>
                    <a:cubicBezTo>
                      <a:pt x="152" y="67"/>
                      <a:pt x="150" y="68"/>
                      <a:pt x="147" y="68"/>
                    </a:cubicBezTo>
                    <a:cubicBezTo>
                      <a:pt x="145" y="68"/>
                      <a:pt x="144" y="67"/>
                      <a:pt x="142" y="67"/>
                    </a:cubicBezTo>
                    <a:cubicBezTo>
                      <a:pt x="141" y="67"/>
                      <a:pt x="140" y="68"/>
                      <a:pt x="138" y="68"/>
                    </a:cubicBezTo>
                    <a:cubicBezTo>
                      <a:pt x="136" y="68"/>
                      <a:pt x="134" y="67"/>
                      <a:pt x="132" y="66"/>
                    </a:cubicBezTo>
                    <a:cubicBezTo>
                      <a:pt x="130" y="66"/>
                      <a:pt x="129" y="64"/>
                      <a:pt x="127" y="64"/>
                    </a:cubicBezTo>
                    <a:cubicBezTo>
                      <a:pt x="126" y="64"/>
                      <a:pt x="125" y="65"/>
                      <a:pt x="123" y="65"/>
                    </a:cubicBezTo>
                    <a:cubicBezTo>
                      <a:pt x="120" y="65"/>
                      <a:pt x="118" y="63"/>
                      <a:pt x="115" y="63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9" y="63"/>
                      <a:pt x="108" y="63"/>
                      <a:pt x="108" y="63"/>
                    </a:cubicBezTo>
                    <a:cubicBezTo>
                      <a:pt x="107" y="62"/>
                      <a:pt x="106" y="62"/>
                      <a:pt x="105" y="62"/>
                    </a:cubicBezTo>
                    <a:cubicBezTo>
                      <a:pt x="101" y="62"/>
                      <a:pt x="99" y="64"/>
                      <a:pt x="96" y="66"/>
                    </a:cubicBezTo>
                    <a:cubicBezTo>
                      <a:pt x="95" y="67"/>
                      <a:pt x="94" y="68"/>
                      <a:pt x="93" y="69"/>
                    </a:cubicBezTo>
                    <a:cubicBezTo>
                      <a:pt x="91" y="70"/>
                      <a:pt x="91" y="72"/>
                      <a:pt x="89" y="72"/>
                    </a:cubicBezTo>
                    <a:cubicBezTo>
                      <a:pt x="87" y="72"/>
                      <a:pt x="86" y="71"/>
                      <a:pt x="85" y="70"/>
                    </a:cubicBezTo>
                    <a:cubicBezTo>
                      <a:pt x="83" y="68"/>
                      <a:pt x="82" y="67"/>
                      <a:pt x="80" y="66"/>
                    </a:cubicBezTo>
                    <a:cubicBezTo>
                      <a:pt x="77" y="64"/>
                      <a:pt x="76" y="62"/>
                      <a:pt x="72" y="61"/>
                    </a:cubicBezTo>
                    <a:cubicBezTo>
                      <a:pt x="71" y="65"/>
                      <a:pt x="70" y="66"/>
                      <a:pt x="69" y="70"/>
                    </a:cubicBezTo>
                    <a:cubicBezTo>
                      <a:pt x="68" y="73"/>
                      <a:pt x="67" y="76"/>
                      <a:pt x="67" y="79"/>
                    </a:cubicBezTo>
                    <a:cubicBezTo>
                      <a:pt x="69" y="80"/>
                      <a:pt x="70" y="81"/>
                      <a:pt x="73" y="82"/>
                    </a:cubicBezTo>
                    <a:cubicBezTo>
                      <a:pt x="75" y="84"/>
                      <a:pt x="77" y="86"/>
                      <a:pt x="77" y="88"/>
                    </a:cubicBezTo>
                    <a:cubicBezTo>
                      <a:pt x="77" y="92"/>
                      <a:pt x="75" y="94"/>
                      <a:pt x="75" y="97"/>
                    </a:cubicBezTo>
                    <a:cubicBezTo>
                      <a:pt x="75" y="99"/>
                      <a:pt x="76" y="100"/>
                      <a:pt x="77" y="102"/>
                    </a:cubicBezTo>
                    <a:cubicBezTo>
                      <a:pt x="78" y="105"/>
                      <a:pt x="78" y="107"/>
                      <a:pt x="80" y="109"/>
                    </a:cubicBezTo>
                    <a:cubicBezTo>
                      <a:pt x="82" y="113"/>
                      <a:pt x="84" y="115"/>
                      <a:pt x="87" y="119"/>
                    </a:cubicBezTo>
                    <a:cubicBezTo>
                      <a:pt x="90" y="121"/>
                      <a:pt x="91" y="122"/>
                      <a:pt x="94" y="124"/>
                    </a:cubicBezTo>
                    <a:cubicBezTo>
                      <a:pt x="95" y="125"/>
                      <a:pt x="96" y="126"/>
                      <a:pt x="97" y="126"/>
                    </a:cubicBezTo>
                    <a:cubicBezTo>
                      <a:pt x="98" y="127"/>
                      <a:pt x="98" y="128"/>
                      <a:pt x="99" y="128"/>
                    </a:cubicBezTo>
                    <a:cubicBezTo>
                      <a:pt x="100" y="130"/>
                      <a:pt x="101" y="130"/>
                      <a:pt x="103" y="131"/>
                    </a:cubicBezTo>
                    <a:cubicBezTo>
                      <a:pt x="104" y="133"/>
                      <a:pt x="105" y="134"/>
                      <a:pt x="107" y="136"/>
                    </a:cubicBezTo>
                    <a:cubicBezTo>
                      <a:pt x="108" y="137"/>
                      <a:pt x="108" y="138"/>
                      <a:pt x="109" y="139"/>
                    </a:cubicBezTo>
                    <a:cubicBezTo>
                      <a:pt x="111" y="140"/>
                      <a:pt x="112" y="141"/>
                      <a:pt x="113" y="143"/>
                    </a:cubicBezTo>
                    <a:cubicBezTo>
                      <a:pt x="114" y="145"/>
                      <a:pt x="116" y="146"/>
                      <a:pt x="117" y="147"/>
                    </a:cubicBezTo>
                    <a:cubicBezTo>
                      <a:pt x="119" y="149"/>
                      <a:pt x="119" y="150"/>
                      <a:pt x="120" y="151"/>
                    </a:cubicBezTo>
                    <a:cubicBezTo>
                      <a:pt x="121" y="152"/>
                      <a:pt x="122" y="152"/>
                      <a:pt x="123" y="152"/>
                    </a:cubicBezTo>
                    <a:cubicBezTo>
                      <a:pt x="124" y="153"/>
                      <a:pt x="124" y="154"/>
                      <a:pt x="125" y="155"/>
                    </a:cubicBezTo>
                    <a:cubicBezTo>
                      <a:pt x="127" y="157"/>
                      <a:pt x="128" y="158"/>
                      <a:pt x="130" y="160"/>
                    </a:cubicBezTo>
                    <a:cubicBezTo>
                      <a:pt x="136" y="164"/>
                      <a:pt x="139" y="168"/>
                      <a:pt x="140" y="175"/>
                    </a:cubicBezTo>
                    <a:cubicBezTo>
                      <a:pt x="140" y="175"/>
                      <a:pt x="139" y="175"/>
                      <a:pt x="138" y="175"/>
                    </a:cubicBezTo>
                    <a:cubicBezTo>
                      <a:pt x="137" y="174"/>
                      <a:pt x="136" y="173"/>
                      <a:pt x="134" y="172"/>
                    </a:cubicBezTo>
                    <a:cubicBezTo>
                      <a:pt x="133" y="170"/>
                      <a:pt x="132" y="170"/>
                      <a:pt x="131" y="169"/>
                    </a:cubicBezTo>
                    <a:cubicBezTo>
                      <a:pt x="130" y="167"/>
                      <a:pt x="130" y="166"/>
                      <a:pt x="128" y="165"/>
                    </a:cubicBezTo>
                    <a:cubicBezTo>
                      <a:pt x="127" y="163"/>
                      <a:pt x="126" y="163"/>
                      <a:pt x="124" y="162"/>
                    </a:cubicBezTo>
                    <a:cubicBezTo>
                      <a:pt x="121" y="161"/>
                      <a:pt x="119" y="160"/>
                      <a:pt x="117" y="158"/>
                    </a:cubicBezTo>
                    <a:cubicBezTo>
                      <a:pt x="113" y="155"/>
                      <a:pt x="110" y="153"/>
                      <a:pt x="106" y="149"/>
                    </a:cubicBezTo>
                    <a:cubicBezTo>
                      <a:pt x="104" y="148"/>
                      <a:pt x="104" y="146"/>
                      <a:pt x="102" y="144"/>
                    </a:cubicBezTo>
                    <a:cubicBezTo>
                      <a:pt x="97" y="141"/>
                      <a:pt x="94" y="141"/>
                      <a:pt x="88" y="139"/>
                    </a:cubicBezTo>
                    <a:cubicBezTo>
                      <a:pt x="88" y="139"/>
                      <a:pt x="88" y="138"/>
                      <a:pt x="89" y="138"/>
                    </a:cubicBezTo>
                    <a:cubicBezTo>
                      <a:pt x="89" y="138"/>
                      <a:pt x="90" y="137"/>
                      <a:pt x="90" y="137"/>
                    </a:cubicBezTo>
                    <a:cubicBezTo>
                      <a:pt x="90" y="137"/>
                      <a:pt x="89" y="137"/>
                      <a:pt x="89" y="136"/>
                    </a:cubicBezTo>
                    <a:cubicBezTo>
                      <a:pt x="88" y="137"/>
                      <a:pt x="87" y="137"/>
                      <a:pt x="86" y="137"/>
                    </a:cubicBezTo>
                    <a:cubicBezTo>
                      <a:pt x="85" y="137"/>
                      <a:pt x="84" y="137"/>
                      <a:pt x="83" y="138"/>
                    </a:cubicBezTo>
                    <a:cubicBezTo>
                      <a:pt x="81" y="138"/>
                      <a:pt x="79" y="137"/>
                      <a:pt x="77" y="138"/>
                    </a:cubicBezTo>
                    <a:cubicBezTo>
                      <a:pt x="78" y="139"/>
                      <a:pt x="78" y="139"/>
                      <a:pt x="78" y="140"/>
                    </a:cubicBezTo>
                    <a:cubicBezTo>
                      <a:pt x="78" y="141"/>
                      <a:pt x="78" y="141"/>
                      <a:pt x="78" y="141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5" y="141"/>
                      <a:pt x="75" y="140"/>
                      <a:pt x="74" y="140"/>
                    </a:cubicBezTo>
                    <a:cubicBezTo>
                      <a:pt x="71" y="140"/>
                      <a:pt x="71" y="140"/>
                      <a:pt x="71" y="140"/>
                    </a:cubicBezTo>
                    <a:cubicBezTo>
                      <a:pt x="71" y="138"/>
                      <a:pt x="71" y="138"/>
                      <a:pt x="71" y="138"/>
                    </a:cubicBezTo>
                    <a:cubicBezTo>
                      <a:pt x="71" y="137"/>
                      <a:pt x="72" y="136"/>
                      <a:pt x="72" y="136"/>
                    </a:cubicBezTo>
                    <a:cubicBezTo>
                      <a:pt x="72" y="133"/>
                      <a:pt x="72" y="133"/>
                      <a:pt x="72" y="133"/>
                    </a:cubicBezTo>
                    <a:cubicBezTo>
                      <a:pt x="72" y="132"/>
                      <a:pt x="72" y="132"/>
                      <a:pt x="71" y="131"/>
                    </a:cubicBezTo>
                    <a:cubicBezTo>
                      <a:pt x="72" y="130"/>
                      <a:pt x="72" y="130"/>
                      <a:pt x="72" y="130"/>
                    </a:cubicBezTo>
                    <a:cubicBezTo>
                      <a:pt x="72" y="128"/>
                      <a:pt x="72" y="127"/>
                      <a:pt x="71" y="126"/>
                    </a:cubicBezTo>
                    <a:cubicBezTo>
                      <a:pt x="70" y="125"/>
                      <a:pt x="69" y="126"/>
                      <a:pt x="67" y="125"/>
                    </a:cubicBezTo>
                    <a:cubicBezTo>
                      <a:pt x="66" y="125"/>
                      <a:pt x="65" y="125"/>
                      <a:pt x="64" y="124"/>
                    </a:cubicBezTo>
                    <a:cubicBezTo>
                      <a:pt x="64" y="123"/>
                      <a:pt x="64" y="122"/>
                      <a:pt x="63" y="122"/>
                    </a:cubicBezTo>
                    <a:cubicBezTo>
                      <a:pt x="63" y="121"/>
                      <a:pt x="62" y="121"/>
                      <a:pt x="61" y="120"/>
                    </a:cubicBezTo>
                    <a:cubicBezTo>
                      <a:pt x="59" y="119"/>
                      <a:pt x="58" y="118"/>
                      <a:pt x="57" y="117"/>
                    </a:cubicBezTo>
                    <a:cubicBezTo>
                      <a:pt x="55" y="116"/>
                      <a:pt x="54" y="116"/>
                      <a:pt x="52" y="114"/>
                    </a:cubicBezTo>
                    <a:cubicBezTo>
                      <a:pt x="51" y="113"/>
                      <a:pt x="51" y="112"/>
                      <a:pt x="50" y="110"/>
                    </a:cubicBezTo>
                    <a:cubicBezTo>
                      <a:pt x="49" y="109"/>
                      <a:pt x="48" y="108"/>
                      <a:pt x="48" y="107"/>
                    </a:cubicBezTo>
                    <a:cubicBezTo>
                      <a:pt x="48" y="106"/>
                      <a:pt x="49" y="105"/>
                      <a:pt x="50" y="105"/>
                    </a:cubicBezTo>
                    <a:cubicBezTo>
                      <a:pt x="50" y="105"/>
                      <a:pt x="50" y="106"/>
                      <a:pt x="50" y="106"/>
                    </a:cubicBezTo>
                    <a:cubicBezTo>
                      <a:pt x="52" y="106"/>
                      <a:pt x="53" y="105"/>
                      <a:pt x="54" y="104"/>
                    </a:cubicBezTo>
                    <a:cubicBezTo>
                      <a:pt x="54" y="104"/>
                      <a:pt x="54" y="103"/>
                      <a:pt x="55" y="103"/>
                    </a:cubicBezTo>
                    <a:cubicBezTo>
                      <a:pt x="56" y="103"/>
                      <a:pt x="56" y="104"/>
                      <a:pt x="58" y="104"/>
                    </a:cubicBezTo>
                    <a:cubicBezTo>
                      <a:pt x="59" y="104"/>
                      <a:pt x="59" y="104"/>
                      <a:pt x="60" y="105"/>
                    </a:cubicBezTo>
                    <a:cubicBezTo>
                      <a:pt x="61" y="105"/>
                      <a:pt x="62" y="106"/>
                      <a:pt x="63" y="107"/>
                    </a:cubicBezTo>
                    <a:cubicBezTo>
                      <a:pt x="62" y="105"/>
                      <a:pt x="61" y="104"/>
                      <a:pt x="60" y="102"/>
                    </a:cubicBezTo>
                    <a:cubicBezTo>
                      <a:pt x="60" y="101"/>
                      <a:pt x="59" y="100"/>
                      <a:pt x="58" y="100"/>
                    </a:cubicBezTo>
                    <a:cubicBezTo>
                      <a:pt x="55" y="99"/>
                      <a:pt x="54" y="99"/>
                      <a:pt x="51" y="97"/>
                    </a:cubicBezTo>
                    <a:cubicBezTo>
                      <a:pt x="50" y="96"/>
                      <a:pt x="49" y="95"/>
                      <a:pt x="48" y="94"/>
                    </a:cubicBezTo>
                    <a:cubicBezTo>
                      <a:pt x="47" y="92"/>
                      <a:pt x="46" y="92"/>
                      <a:pt x="45" y="90"/>
                    </a:cubicBezTo>
                    <a:cubicBezTo>
                      <a:pt x="43" y="87"/>
                      <a:pt x="41" y="86"/>
                      <a:pt x="41" y="83"/>
                    </a:cubicBezTo>
                    <a:cubicBezTo>
                      <a:pt x="41" y="80"/>
                      <a:pt x="41" y="78"/>
                      <a:pt x="42" y="75"/>
                    </a:cubicBezTo>
                    <a:cubicBezTo>
                      <a:pt x="43" y="74"/>
                      <a:pt x="43" y="73"/>
                      <a:pt x="43" y="71"/>
                    </a:cubicBezTo>
                    <a:cubicBezTo>
                      <a:pt x="43" y="69"/>
                      <a:pt x="43" y="68"/>
                      <a:pt x="42" y="66"/>
                    </a:cubicBezTo>
                    <a:cubicBezTo>
                      <a:pt x="42" y="66"/>
                      <a:pt x="42" y="65"/>
                      <a:pt x="42" y="64"/>
                    </a:cubicBezTo>
                    <a:cubicBezTo>
                      <a:pt x="41" y="63"/>
                      <a:pt x="40" y="63"/>
                      <a:pt x="39" y="62"/>
                    </a:cubicBezTo>
                    <a:cubicBezTo>
                      <a:pt x="37" y="60"/>
                      <a:pt x="35" y="60"/>
                      <a:pt x="33" y="59"/>
                    </a:cubicBezTo>
                    <a:cubicBezTo>
                      <a:pt x="31" y="58"/>
                      <a:pt x="31" y="56"/>
                      <a:pt x="29" y="56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6" y="56"/>
                      <a:pt x="26" y="56"/>
                      <a:pt x="25" y="56"/>
                    </a:cubicBezTo>
                    <a:cubicBezTo>
                      <a:pt x="24" y="56"/>
                      <a:pt x="24" y="58"/>
                      <a:pt x="23" y="59"/>
                    </a:cubicBezTo>
                    <a:cubicBezTo>
                      <a:pt x="23" y="60"/>
                      <a:pt x="23" y="61"/>
                      <a:pt x="23" y="61"/>
                    </a:cubicBezTo>
                    <a:cubicBezTo>
                      <a:pt x="22" y="62"/>
                      <a:pt x="21" y="62"/>
                      <a:pt x="21" y="63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1" y="67"/>
                      <a:pt x="21" y="68"/>
                      <a:pt x="21" y="69"/>
                    </a:cubicBezTo>
                    <a:cubicBezTo>
                      <a:pt x="20" y="69"/>
                      <a:pt x="20" y="69"/>
                      <a:pt x="19" y="70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18" y="68"/>
                      <a:pt x="17" y="66"/>
                      <a:pt x="16" y="64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3"/>
                      <a:pt x="15" y="73"/>
                      <a:pt x="14" y="74"/>
                    </a:cubicBezTo>
                    <a:cubicBezTo>
                      <a:pt x="14" y="75"/>
                      <a:pt x="15" y="76"/>
                      <a:pt x="14" y="77"/>
                    </a:cubicBezTo>
                    <a:cubicBezTo>
                      <a:pt x="13" y="77"/>
                      <a:pt x="12" y="77"/>
                      <a:pt x="12" y="77"/>
                    </a:cubicBezTo>
                    <a:cubicBezTo>
                      <a:pt x="11" y="77"/>
                      <a:pt x="11" y="78"/>
                      <a:pt x="10" y="78"/>
                    </a:cubicBezTo>
                    <a:cubicBezTo>
                      <a:pt x="9" y="78"/>
                      <a:pt x="8" y="77"/>
                      <a:pt x="8" y="76"/>
                    </a:cubicBezTo>
                    <a:cubicBezTo>
                      <a:pt x="8" y="75"/>
                      <a:pt x="9" y="75"/>
                      <a:pt x="9" y="74"/>
                    </a:cubicBezTo>
                    <a:cubicBezTo>
                      <a:pt x="9" y="73"/>
                      <a:pt x="7" y="73"/>
                      <a:pt x="6" y="72"/>
                    </a:cubicBezTo>
                    <a:cubicBezTo>
                      <a:pt x="5" y="71"/>
                      <a:pt x="4" y="69"/>
                      <a:pt x="2" y="68"/>
                    </a:cubicBezTo>
                    <a:cubicBezTo>
                      <a:pt x="2" y="67"/>
                      <a:pt x="2" y="67"/>
                      <a:pt x="2" y="66"/>
                    </a:cubicBezTo>
                    <a:cubicBezTo>
                      <a:pt x="3" y="66"/>
                      <a:pt x="3" y="65"/>
                      <a:pt x="4" y="64"/>
                    </a:cubicBezTo>
                    <a:cubicBezTo>
                      <a:pt x="5" y="64"/>
                      <a:pt x="5" y="64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1"/>
                      <a:pt x="3" y="59"/>
                      <a:pt x="3" y="57"/>
                    </a:cubicBezTo>
                    <a:cubicBezTo>
                      <a:pt x="3" y="56"/>
                      <a:pt x="1" y="56"/>
                      <a:pt x="1" y="55"/>
                    </a:cubicBezTo>
                    <a:cubicBezTo>
                      <a:pt x="1" y="52"/>
                      <a:pt x="0" y="51"/>
                      <a:pt x="0" y="48"/>
                    </a:cubicBezTo>
                    <a:cubicBezTo>
                      <a:pt x="0" y="47"/>
                      <a:pt x="2" y="48"/>
                      <a:pt x="3" y="47"/>
                    </a:cubicBezTo>
                    <a:cubicBezTo>
                      <a:pt x="3" y="47"/>
                      <a:pt x="4" y="47"/>
                      <a:pt x="4" y="47"/>
                    </a:cubicBezTo>
                    <a:cubicBezTo>
                      <a:pt x="7" y="48"/>
                      <a:pt x="9" y="48"/>
                      <a:pt x="11" y="49"/>
                    </a:cubicBezTo>
                    <a:cubicBezTo>
                      <a:pt x="15" y="49"/>
                      <a:pt x="17" y="50"/>
                      <a:pt x="20" y="50"/>
                    </a:cubicBezTo>
                    <a:cubicBezTo>
                      <a:pt x="22" y="50"/>
                      <a:pt x="24" y="50"/>
                      <a:pt x="26" y="49"/>
                    </a:cubicBezTo>
                    <a:cubicBezTo>
                      <a:pt x="27" y="49"/>
                      <a:pt x="29" y="48"/>
                      <a:pt x="29" y="47"/>
                    </a:cubicBezTo>
                    <a:cubicBezTo>
                      <a:pt x="30" y="46"/>
                      <a:pt x="29" y="44"/>
                      <a:pt x="31" y="43"/>
                    </a:cubicBezTo>
                    <a:cubicBezTo>
                      <a:pt x="31" y="43"/>
                      <a:pt x="32" y="43"/>
                      <a:pt x="33" y="43"/>
                    </a:cubicBezTo>
                    <a:cubicBezTo>
                      <a:pt x="33" y="43"/>
                      <a:pt x="34" y="43"/>
                      <a:pt x="35" y="43"/>
                    </a:cubicBezTo>
                    <a:cubicBezTo>
                      <a:pt x="35" y="43"/>
                      <a:pt x="36" y="43"/>
                      <a:pt x="36" y="44"/>
                    </a:cubicBezTo>
                    <a:cubicBezTo>
                      <a:pt x="37" y="45"/>
                      <a:pt x="38" y="46"/>
                      <a:pt x="39" y="47"/>
                    </a:cubicBezTo>
                    <a:cubicBezTo>
                      <a:pt x="41" y="48"/>
                      <a:pt x="42" y="48"/>
                      <a:pt x="44" y="49"/>
                    </a:cubicBezTo>
                    <a:cubicBezTo>
                      <a:pt x="48" y="50"/>
                      <a:pt x="50" y="51"/>
                      <a:pt x="54" y="52"/>
                    </a:cubicBezTo>
                    <a:cubicBezTo>
                      <a:pt x="55" y="47"/>
                      <a:pt x="55" y="42"/>
                      <a:pt x="59" y="40"/>
                    </a:cubicBezTo>
                    <a:cubicBezTo>
                      <a:pt x="61" y="39"/>
                      <a:pt x="63" y="39"/>
                      <a:pt x="65" y="37"/>
                    </a:cubicBezTo>
                    <a:cubicBezTo>
                      <a:pt x="66" y="37"/>
                      <a:pt x="67" y="36"/>
                      <a:pt x="68" y="35"/>
                    </a:cubicBezTo>
                    <a:cubicBezTo>
                      <a:pt x="69" y="34"/>
                      <a:pt x="69" y="34"/>
                      <a:pt x="69" y="33"/>
                    </a:cubicBezTo>
                    <a:cubicBezTo>
                      <a:pt x="69" y="31"/>
                      <a:pt x="68" y="31"/>
                      <a:pt x="68" y="30"/>
                    </a:cubicBezTo>
                    <a:cubicBezTo>
                      <a:pt x="66" y="28"/>
                      <a:pt x="66" y="27"/>
                      <a:pt x="66" y="25"/>
                    </a:cubicBezTo>
                    <a:cubicBezTo>
                      <a:pt x="66" y="23"/>
                      <a:pt x="66" y="23"/>
                      <a:pt x="66" y="21"/>
                    </a:cubicBezTo>
                    <a:cubicBezTo>
                      <a:pt x="66" y="20"/>
                      <a:pt x="66" y="19"/>
                      <a:pt x="67" y="17"/>
                    </a:cubicBezTo>
                    <a:cubicBezTo>
                      <a:pt x="69" y="17"/>
                      <a:pt x="71" y="17"/>
                      <a:pt x="74" y="16"/>
                    </a:cubicBezTo>
                    <a:cubicBezTo>
                      <a:pt x="75" y="16"/>
                      <a:pt x="76" y="16"/>
                      <a:pt x="78" y="15"/>
                    </a:cubicBezTo>
                    <a:cubicBezTo>
                      <a:pt x="79" y="15"/>
                      <a:pt x="80" y="14"/>
                      <a:pt x="82" y="13"/>
                    </a:cubicBezTo>
                    <a:cubicBezTo>
                      <a:pt x="85" y="12"/>
                      <a:pt x="87" y="11"/>
                      <a:pt x="88" y="8"/>
                    </a:cubicBezTo>
                    <a:cubicBezTo>
                      <a:pt x="90" y="5"/>
                      <a:pt x="90" y="3"/>
                      <a:pt x="91" y="0"/>
                    </a:cubicBezTo>
                    <a:cubicBezTo>
                      <a:pt x="93" y="2"/>
                      <a:pt x="95" y="2"/>
                      <a:pt x="96" y="4"/>
                    </a:cubicBezTo>
                    <a:cubicBezTo>
                      <a:pt x="96" y="5"/>
                      <a:pt x="96" y="6"/>
                      <a:pt x="96" y="7"/>
                    </a:cubicBezTo>
                    <a:cubicBezTo>
                      <a:pt x="97" y="8"/>
                      <a:pt x="98" y="8"/>
                      <a:pt x="99" y="9"/>
                    </a:cubicBezTo>
                    <a:cubicBezTo>
                      <a:pt x="100" y="9"/>
                      <a:pt x="101" y="10"/>
                      <a:pt x="102" y="11"/>
                    </a:cubicBezTo>
                    <a:cubicBezTo>
                      <a:pt x="103" y="11"/>
                      <a:pt x="103" y="12"/>
                      <a:pt x="104" y="13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5" y="15"/>
                      <a:pt x="105" y="15"/>
                      <a:pt x="105" y="15"/>
                    </a:cubicBezTo>
                    <a:cubicBezTo>
                      <a:pt x="106" y="15"/>
                      <a:pt x="106" y="16"/>
                      <a:pt x="107" y="16"/>
                    </a:cubicBezTo>
                    <a:cubicBezTo>
                      <a:pt x="108" y="17"/>
                      <a:pt x="108" y="17"/>
                      <a:pt x="108" y="18"/>
                    </a:cubicBezTo>
                    <a:cubicBezTo>
                      <a:pt x="109" y="19"/>
                      <a:pt x="109" y="19"/>
                      <a:pt x="110" y="20"/>
                    </a:cubicBezTo>
                    <a:cubicBezTo>
                      <a:pt x="110" y="21"/>
                      <a:pt x="111" y="21"/>
                      <a:pt x="112" y="22"/>
                    </a:cubicBezTo>
                    <a:cubicBezTo>
                      <a:pt x="113" y="22"/>
                      <a:pt x="113" y="22"/>
                      <a:pt x="114" y="23"/>
                    </a:cubicBezTo>
                    <a:cubicBezTo>
                      <a:pt x="116" y="24"/>
                      <a:pt x="116" y="25"/>
                      <a:pt x="117" y="26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31"/>
                      <a:pt x="120" y="31"/>
                      <a:pt x="121" y="32"/>
                    </a:cubicBezTo>
                    <a:cubicBezTo>
                      <a:pt x="123" y="33"/>
                      <a:pt x="124" y="33"/>
                      <a:pt x="127" y="33"/>
                    </a:cubicBezTo>
                    <a:cubicBezTo>
                      <a:pt x="127" y="34"/>
                      <a:pt x="128" y="34"/>
                      <a:pt x="128" y="34"/>
                    </a:cubicBezTo>
                    <a:cubicBezTo>
                      <a:pt x="130" y="34"/>
                      <a:pt x="130" y="35"/>
                      <a:pt x="132" y="36"/>
                    </a:cubicBezTo>
                    <a:cubicBezTo>
                      <a:pt x="132" y="36"/>
                      <a:pt x="133" y="36"/>
                      <a:pt x="133" y="37"/>
                    </a:cubicBezTo>
                    <a:cubicBezTo>
                      <a:pt x="134" y="38"/>
                      <a:pt x="135" y="39"/>
                      <a:pt x="137" y="39"/>
                    </a:cubicBezTo>
                    <a:cubicBezTo>
                      <a:pt x="140" y="39"/>
                      <a:pt x="141" y="39"/>
                      <a:pt x="145" y="39"/>
                    </a:cubicBezTo>
                    <a:cubicBezTo>
                      <a:pt x="146" y="39"/>
                      <a:pt x="146" y="39"/>
                      <a:pt x="147" y="39"/>
                    </a:cubicBezTo>
                    <a:cubicBezTo>
                      <a:pt x="148" y="39"/>
                      <a:pt x="149" y="39"/>
                      <a:pt x="150" y="38"/>
                    </a:cubicBezTo>
                    <a:cubicBezTo>
                      <a:pt x="152" y="38"/>
                      <a:pt x="153" y="38"/>
                      <a:pt x="155" y="38"/>
                    </a:cubicBezTo>
                    <a:cubicBezTo>
                      <a:pt x="157" y="37"/>
                      <a:pt x="158" y="36"/>
                      <a:pt x="160" y="36"/>
                    </a:cubicBezTo>
                    <a:cubicBezTo>
                      <a:pt x="160" y="35"/>
                      <a:pt x="161" y="35"/>
                      <a:pt x="162" y="35"/>
                    </a:cubicBezTo>
                    <a:cubicBezTo>
                      <a:pt x="162" y="35"/>
                      <a:pt x="162" y="35"/>
                      <a:pt x="163" y="3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0" name="Freeform 87">
                <a:extLst>
                  <a:ext uri="{FF2B5EF4-FFF2-40B4-BE49-F238E27FC236}">
                    <a16:creationId xmlns:a16="http://schemas.microsoft.com/office/drawing/2014/main" xmlns="" id="{FD4B02BE-6BAF-46C1-B44A-BF6080EDA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2637" y="3541141"/>
                <a:ext cx="15564" cy="15567"/>
              </a:xfrm>
              <a:custGeom>
                <a:avLst/>
                <a:gdLst>
                  <a:gd name="T0" fmla="*/ 6 w 6"/>
                  <a:gd name="T1" fmla="*/ 3 h 6"/>
                  <a:gd name="T2" fmla="*/ 5 w 6"/>
                  <a:gd name="T3" fmla="*/ 3 h 6"/>
                  <a:gd name="T4" fmla="*/ 5 w 6"/>
                  <a:gd name="T5" fmla="*/ 3 h 6"/>
                  <a:gd name="T6" fmla="*/ 4 w 6"/>
                  <a:gd name="T7" fmla="*/ 2 h 6"/>
                  <a:gd name="T8" fmla="*/ 4 w 6"/>
                  <a:gd name="T9" fmla="*/ 2 h 6"/>
                  <a:gd name="T10" fmla="*/ 4 w 6"/>
                  <a:gd name="T11" fmla="*/ 2 h 6"/>
                  <a:gd name="T12" fmla="*/ 3 w 6"/>
                  <a:gd name="T13" fmla="*/ 2 h 6"/>
                  <a:gd name="T14" fmla="*/ 2 w 6"/>
                  <a:gd name="T15" fmla="*/ 1 h 6"/>
                  <a:gd name="T16" fmla="*/ 2 w 6"/>
                  <a:gd name="T17" fmla="*/ 1 h 6"/>
                  <a:gd name="T18" fmla="*/ 2 w 6"/>
                  <a:gd name="T19" fmla="*/ 1 h 6"/>
                  <a:gd name="T20" fmla="*/ 1 w 6"/>
                  <a:gd name="T21" fmla="*/ 0 h 6"/>
                  <a:gd name="T22" fmla="*/ 0 w 6"/>
                  <a:gd name="T23" fmla="*/ 0 h 6"/>
                  <a:gd name="T24" fmla="*/ 0 w 6"/>
                  <a:gd name="T25" fmla="*/ 0 h 6"/>
                  <a:gd name="T26" fmla="*/ 1 w 6"/>
                  <a:gd name="T27" fmla="*/ 4 h 6"/>
                  <a:gd name="T28" fmla="*/ 5 w 6"/>
                  <a:gd name="T29" fmla="*/ 6 h 6"/>
                  <a:gd name="T30" fmla="*/ 5 w 6"/>
                  <a:gd name="T31" fmla="*/ 6 h 6"/>
                  <a:gd name="T32" fmla="*/ 5 w 6"/>
                  <a:gd name="T33" fmla="*/ 5 h 6"/>
                  <a:gd name="T34" fmla="*/ 6 w 6"/>
                  <a:gd name="T3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1" y="4"/>
                    </a:cubicBezTo>
                    <a:cubicBezTo>
                      <a:pt x="2" y="5"/>
                      <a:pt x="4" y="6"/>
                      <a:pt x="5" y="6"/>
                    </a:cubicBezTo>
                    <a:cubicBezTo>
                      <a:pt x="6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5"/>
                    </a:cubicBezTo>
                    <a:cubicBezTo>
                      <a:pt x="6" y="3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1" name="Freeform 88">
                <a:extLst>
                  <a:ext uri="{FF2B5EF4-FFF2-40B4-BE49-F238E27FC236}">
                    <a16:creationId xmlns:a16="http://schemas.microsoft.com/office/drawing/2014/main" xmlns="" id="{DF1E2F89-8644-4D20-80E7-B845A56B2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475" y="3253760"/>
                <a:ext cx="17959" cy="20357"/>
              </a:xfrm>
              <a:custGeom>
                <a:avLst/>
                <a:gdLst>
                  <a:gd name="T0" fmla="*/ 3 w 7"/>
                  <a:gd name="T1" fmla="*/ 0 h 8"/>
                  <a:gd name="T2" fmla="*/ 1 w 7"/>
                  <a:gd name="T3" fmla="*/ 2 h 8"/>
                  <a:gd name="T4" fmla="*/ 0 w 7"/>
                  <a:gd name="T5" fmla="*/ 4 h 8"/>
                  <a:gd name="T6" fmla="*/ 3 w 7"/>
                  <a:gd name="T7" fmla="*/ 6 h 8"/>
                  <a:gd name="T8" fmla="*/ 6 w 7"/>
                  <a:gd name="T9" fmla="*/ 8 h 8"/>
                  <a:gd name="T10" fmla="*/ 7 w 7"/>
                  <a:gd name="T11" fmla="*/ 8 h 8"/>
                  <a:gd name="T12" fmla="*/ 7 w 7"/>
                  <a:gd name="T13" fmla="*/ 6 h 8"/>
                  <a:gd name="T14" fmla="*/ 5 w 7"/>
                  <a:gd name="T15" fmla="*/ 2 h 8"/>
                  <a:gd name="T16" fmla="*/ 3 w 7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3" y="0"/>
                    </a:moveTo>
                    <a:cubicBezTo>
                      <a:pt x="1" y="0"/>
                      <a:pt x="1" y="1"/>
                      <a:pt x="1" y="2"/>
                    </a:cubicBezTo>
                    <a:cubicBezTo>
                      <a:pt x="1" y="3"/>
                      <a:pt x="0" y="3"/>
                      <a:pt x="0" y="4"/>
                    </a:cubicBezTo>
                    <a:cubicBezTo>
                      <a:pt x="0" y="6"/>
                      <a:pt x="2" y="5"/>
                      <a:pt x="3" y="6"/>
                    </a:cubicBezTo>
                    <a:cubicBezTo>
                      <a:pt x="4" y="7"/>
                      <a:pt x="5" y="8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4"/>
                      <a:pt x="5" y="4"/>
                      <a:pt x="5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2" name="Freeform 89">
                <a:extLst>
                  <a:ext uri="{FF2B5EF4-FFF2-40B4-BE49-F238E27FC236}">
                    <a16:creationId xmlns:a16="http://schemas.microsoft.com/office/drawing/2014/main" xmlns="" id="{30D057BB-9939-4D73-BADD-0700E4323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6911" y="3258550"/>
                <a:ext cx="13170" cy="50292"/>
              </a:xfrm>
              <a:custGeom>
                <a:avLst/>
                <a:gdLst>
                  <a:gd name="T0" fmla="*/ 1 w 5"/>
                  <a:gd name="T1" fmla="*/ 0 h 20"/>
                  <a:gd name="T2" fmla="*/ 0 w 5"/>
                  <a:gd name="T3" fmla="*/ 0 h 20"/>
                  <a:gd name="T4" fmla="*/ 1 w 5"/>
                  <a:gd name="T5" fmla="*/ 2 h 20"/>
                  <a:gd name="T6" fmla="*/ 2 w 5"/>
                  <a:gd name="T7" fmla="*/ 6 h 20"/>
                  <a:gd name="T8" fmla="*/ 2 w 5"/>
                  <a:gd name="T9" fmla="*/ 9 h 20"/>
                  <a:gd name="T10" fmla="*/ 0 w 5"/>
                  <a:gd name="T11" fmla="*/ 10 h 20"/>
                  <a:gd name="T12" fmla="*/ 2 w 5"/>
                  <a:gd name="T13" fmla="*/ 14 h 20"/>
                  <a:gd name="T14" fmla="*/ 2 w 5"/>
                  <a:gd name="T15" fmla="*/ 17 h 20"/>
                  <a:gd name="T16" fmla="*/ 5 w 5"/>
                  <a:gd name="T17" fmla="*/ 20 h 20"/>
                  <a:gd name="T18" fmla="*/ 5 w 5"/>
                  <a:gd name="T19" fmla="*/ 15 h 20"/>
                  <a:gd name="T20" fmla="*/ 5 w 5"/>
                  <a:gd name="T21" fmla="*/ 7 h 20"/>
                  <a:gd name="T22" fmla="*/ 3 w 5"/>
                  <a:gd name="T23" fmla="*/ 4 h 20"/>
                  <a:gd name="T24" fmla="*/ 1 w 5"/>
                  <a:gd name="T2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20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2" y="3"/>
                      <a:pt x="2" y="4"/>
                      <a:pt x="2" y="6"/>
                    </a:cubicBezTo>
                    <a:cubicBezTo>
                      <a:pt x="2" y="7"/>
                      <a:pt x="2" y="8"/>
                      <a:pt x="2" y="9"/>
                    </a:cubicBezTo>
                    <a:cubicBezTo>
                      <a:pt x="2" y="9"/>
                      <a:pt x="0" y="9"/>
                      <a:pt x="0" y="10"/>
                    </a:cubicBezTo>
                    <a:cubicBezTo>
                      <a:pt x="0" y="12"/>
                      <a:pt x="2" y="12"/>
                      <a:pt x="2" y="14"/>
                    </a:cubicBezTo>
                    <a:cubicBezTo>
                      <a:pt x="2" y="15"/>
                      <a:pt x="2" y="16"/>
                      <a:pt x="2" y="17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2"/>
                      <a:pt x="5" y="10"/>
                      <a:pt x="5" y="7"/>
                    </a:cubicBezTo>
                    <a:cubicBezTo>
                      <a:pt x="4" y="6"/>
                      <a:pt x="4" y="5"/>
                      <a:pt x="3" y="4"/>
                    </a:cubicBezTo>
                    <a:cubicBezTo>
                      <a:pt x="3" y="2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3" name="Freeform 90">
                <a:extLst>
                  <a:ext uri="{FF2B5EF4-FFF2-40B4-BE49-F238E27FC236}">
                    <a16:creationId xmlns:a16="http://schemas.microsoft.com/office/drawing/2014/main" xmlns="" id="{55051CD2-3F18-4692-9A89-1F4D957B2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2121" y="3304052"/>
                <a:ext cx="15564" cy="25146"/>
              </a:xfrm>
              <a:custGeom>
                <a:avLst/>
                <a:gdLst>
                  <a:gd name="T0" fmla="*/ 3 w 6"/>
                  <a:gd name="T1" fmla="*/ 3 h 10"/>
                  <a:gd name="T2" fmla="*/ 1 w 6"/>
                  <a:gd name="T3" fmla="*/ 0 h 10"/>
                  <a:gd name="T4" fmla="*/ 0 w 6"/>
                  <a:gd name="T5" fmla="*/ 1 h 10"/>
                  <a:gd name="T6" fmla="*/ 0 w 6"/>
                  <a:gd name="T7" fmla="*/ 3 h 10"/>
                  <a:gd name="T8" fmla="*/ 3 w 6"/>
                  <a:gd name="T9" fmla="*/ 8 h 10"/>
                  <a:gd name="T10" fmla="*/ 6 w 6"/>
                  <a:gd name="T11" fmla="*/ 10 h 10"/>
                  <a:gd name="T12" fmla="*/ 6 w 6"/>
                  <a:gd name="T13" fmla="*/ 10 h 10"/>
                  <a:gd name="T14" fmla="*/ 3 w 6"/>
                  <a:gd name="T1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3" y="3"/>
                    </a:moveTo>
                    <a:cubicBezTo>
                      <a:pt x="2" y="1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7"/>
                      <a:pt x="3" y="8"/>
                    </a:cubicBezTo>
                    <a:cubicBezTo>
                      <a:pt x="4" y="9"/>
                      <a:pt x="4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4" name="Freeform 91">
                <a:extLst>
                  <a:ext uri="{FF2B5EF4-FFF2-40B4-BE49-F238E27FC236}">
                    <a16:creationId xmlns:a16="http://schemas.microsoft.com/office/drawing/2014/main" xmlns="" id="{6A83D2CB-84E3-4CB9-A10E-12E41FDBE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7903" y="3407030"/>
                <a:ext cx="8382" cy="838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2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5" name="Freeform 92">
                <a:extLst>
                  <a:ext uri="{FF2B5EF4-FFF2-40B4-BE49-F238E27FC236}">
                    <a16:creationId xmlns:a16="http://schemas.microsoft.com/office/drawing/2014/main" xmlns="" id="{45756E1A-55B0-4B35-A4A0-98EFC1F16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8393" y="3374699"/>
                <a:ext cx="27537" cy="27541"/>
              </a:xfrm>
              <a:custGeom>
                <a:avLst/>
                <a:gdLst>
                  <a:gd name="T0" fmla="*/ 1 w 11"/>
                  <a:gd name="T1" fmla="*/ 0 h 11"/>
                  <a:gd name="T2" fmla="*/ 0 w 11"/>
                  <a:gd name="T3" fmla="*/ 0 h 11"/>
                  <a:gd name="T4" fmla="*/ 0 w 11"/>
                  <a:gd name="T5" fmla="*/ 2 h 11"/>
                  <a:gd name="T6" fmla="*/ 2 w 11"/>
                  <a:gd name="T7" fmla="*/ 4 h 11"/>
                  <a:gd name="T8" fmla="*/ 5 w 11"/>
                  <a:gd name="T9" fmla="*/ 7 h 11"/>
                  <a:gd name="T10" fmla="*/ 7 w 11"/>
                  <a:gd name="T11" fmla="*/ 9 h 11"/>
                  <a:gd name="T12" fmla="*/ 9 w 11"/>
                  <a:gd name="T13" fmla="*/ 11 h 11"/>
                  <a:gd name="T14" fmla="*/ 11 w 11"/>
                  <a:gd name="T15" fmla="*/ 11 h 11"/>
                  <a:gd name="T16" fmla="*/ 11 w 11"/>
                  <a:gd name="T17" fmla="*/ 10 h 11"/>
                  <a:gd name="T18" fmla="*/ 9 w 11"/>
                  <a:gd name="T19" fmla="*/ 8 h 11"/>
                  <a:gd name="T20" fmla="*/ 7 w 11"/>
                  <a:gd name="T21" fmla="*/ 6 h 11"/>
                  <a:gd name="T22" fmla="*/ 5 w 11"/>
                  <a:gd name="T23" fmla="*/ 5 h 11"/>
                  <a:gd name="T24" fmla="*/ 5 w 11"/>
                  <a:gd name="T25" fmla="*/ 3 h 11"/>
                  <a:gd name="T26" fmla="*/ 3 w 11"/>
                  <a:gd name="T27" fmla="*/ 2 h 11"/>
                  <a:gd name="T28" fmla="*/ 1 w 11"/>
                  <a:gd name="T2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3"/>
                      <a:pt x="2" y="4"/>
                    </a:cubicBezTo>
                    <a:cubicBezTo>
                      <a:pt x="3" y="5"/>
                      <a:pt x="4" y="5"/>
                      <a:pt x="5" y="7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8" y="10"/>
                      <a:pt x="8" y="11"/>
                      <a:pt x="9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9"/>
                      <a:pt x="10" y="9"/>
                      <a:pt x="9" y="8"/>
                    </a:cubicBezTo>
                    <a:cubicBezTo>
                      <a:pt x="9" y="7"/>
                      <a:pt x="8" y="7"/>
                      <a:pt x="7" y="6"/>
                    </a:cubicBezTo>
                    <a:cubicBezTo>
                      <a:pt x="6" y="6"/>
                      <a:pt x="5" y="6"/>
                      <a:pt x="5" y="5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2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6" name="Freeform 93">
                <a:extLst>
                  <a:ext uri="{FF2B5EF4-FFF2-40B4-BE49-F238E27FC236}">
                    <a16:creationId xmlns:a16="http://schemas.microsoft.com/office/drawing/2014/main" xmlns="" id="{5FE6786F-8B2A-4D83-B423-44F59EF48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0434" y="3367515"/>
                <a:ext cx="22748" cy="34725"/>
              </a:xfrm>
              <a:custGeom>
                <a:avLst/>
                <a:gdLst>
                  <a:gd name="T0" fmla="*/ 2 w 9"/>
                  <a:gd name="T1" fmla="*/ 0 h 14"/>
                  <a:gd name="T2" fmla="*/ 0 w 9"/>
                  <a:gd name="T3" fmla="*/ 1 h 14"/>
                  <a:gd name="T4" fmla="*/ 2 w 9"/>
                  <a:gd name="T5" fmla="*/ 4 h 14"/>
                  <a:gd name="T6" fmla="*/ 5 w 9"/>
                  <a:gd name="T7" fmla="*/ 8 h 14"/>
                  <a:gd name="T8" fmla="*/ 6 w 9"/>
                  <a:gd name="T9" fmla="*/ 11 h 14"/>
                  <a:gd name="T10" fmla="*/ 8 w 9"/>
                  <a:gd name="T11" fmla="*/ 14 h 14"/>
                  <a:gd name="T12" fmla="*/ 9 w 9"/>
                  <a:gd name="T13" fmla="*/ 12 h 14"/>
                  <a:gd name="T14" fmla="*/ 5 w 9"/>
                  <a:gd name="T15" fmla="*/ 6 h 14"/>
                  <a:gd name="T16" fmla="*/ 3 w 9"/>
                  <a:gd name="T17" fmla="*/ 3 h 14"/>
                  <a:gd name="T18" fmla="*/ 2 w 9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4"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3"/>
                      <a:pt x="1" y="3"/>
                      <a:pt x="2" y="4"/>
                    </a:cubicBezTo>
                    <a:cubicBezTo>
                      <a:pt x="3" y="6"/>
                      <a:pt x="4" y="6"/>
                      <a:pt x="5" y="8"/>
                    </a:cubicBezTo>
                    <a:cubicBezTo>
                      <a:pt x="5" y="9"/>
                      <a:pt x="5" y="10"/>
                      <a:pt x="6" y="11"/>
                    </a:cubicBezTo>
                    <a:cubicBezTo>
                      <a:pt x="6" y="12"/>
                      <a:pt x="7" y="14"/>
                      <a:pt x="8" y="14"/>
                    </a:cubicBezTo>
                    <a:cubicBezTo>
                      <a:pt x="9" y="14"/>
                      <a:pt x="9" y="13"/>
                      <a:pt x="9" y="12"/>
                    </a:cubicBezTo>
                    <a:cubicBezTo>
                      <a:pt x="9" y="9"/>
                      <a:pt x="6" y="9"/>
                      <a:pt x="5" y="6"/>
                    </a:cubicBezTo>
                    <a:cubicBezTo>
                      <a:pt x="5" y="5"/>
                      <a:pt x="4" y="4"/>
                      <a:pt x="3" y="3"/>
                    </a:cubicBezTo>
                    <a:cubicBezTo>
                      <a:pt x="3" y="2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7" name="Freeform 94">
                <a:extLst>
                  <a:ext uri="{FF2B5EF4-FFF2-40B4-BE49-F238E27FC236}">
                    <a16:creationId xmlns:a16="http://schemas.microsoft.com/office/drawing/2014/main" xmlns="" id="{70F048E4-8A37-4891-A903-41DD0E9C2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2830" y="3316025"/>
                <a:ext cx="27537" cy="38317"/>
              </a:xfrm>
              <a:custGeom>
                <a:avLst/>
                <a:gdLst>
                  <a:gd name="T0" fmla="*/ 1 w 11"/>
                  <a:gd name="T1" fmla="*/ 0 h 15"/>
                  <a:gd name="T2" fmla="*/ 0 w 11"/>
                  <a:gd name="T3" fmla="*/ 0 h 15"/>
                  <a:gd name="T4" fmla="*/ 0 w 11"/>
                  <a:gd name="T5" fmla="*/ 1 h 15"/>
                  <a:gd name="T6" fmla="*/ 2 w 11"/>
                  <a:gd name="T7" fmla="*/ 4 h 15"/>
                  <a:gd name="T8" fmla="*/ 5 w 11"/>
                  <a:gd name="T9" fmla="*/ 9 h 15"/>
                  <a:gd name="T10" fmla="*/ 7 w 11"/>
                  <a:gd name="T11" fmla="*/ 12 h 15"/>
                  <a:gd name="T12" fmla="*/ 10 w 11"/>
                  <a:gd name="T13" fmla="*/ 15 h 15"/>
                  <a:gd name="T14" fmla="*/ 11 w 11"/>
                  <a:gd name="T15" fmla="*/ 12 h 15"/>
                  <a:gd name="T16" fmla="*/ 10 w 11"/>
                  <a:gd name="T17" fmla="*/ 10 h 15"/>
                  <a:gd name="T18" fmla="*/ 6 w 11"/>
                  <a:gd name="T19" fmla="*/ 6 h 15"/>
                  <a:gd name="T20" fmla="*/ 5 w 11"/>
                  <a:gd name="T21" fmla="*/ 3 h 15"/>
                  <a:gd name="T22" fmla="*/ 3 w 11"/>
                  <a:gd name="T23" fmla="*/ 2 h 15"/>
                  <a:gd name="T24" fmla="*/ 1 w 11"/>
                  <a:gd name="T2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5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1" y="3"/>
                      <a:pt x="2" y="4"/>
                    </a:cubicBezTo>
                    <a:cubicBezTo>
                      <a:pt x="3" y="6"/>
                      <a:pt x="3" y="7"/>
                      <a:pt x="5" y="9"/>
                    </a:cubicBezTo>
                    <a:cubicBezTo>
                      <a:pt x="6" y="10"/>
                      <a:pt x="6" y="11"/>
                      <a:pt x="7" y="12"/>
                    </a:cubicBezTo>
                    <a:cubicBezTo>
                      <a:pt x="8" y="14"/>
                      <a:pt x="9" y="15"/>
                      <a:pt x="10" y="15"/>
                    </a:cubicBezTo>
                    <a:cubicBezTo>
                      <a:pt x="11" y="15"/>
                      <a:pt x="11" y="13"/>
                      <a:pt x="11" y="12"/>
                    </a:cubicBezTo>
                    <a:cubicBezTo>
                      <a:pt x="11" y="11"/>
                      <a:pt x="11" y="11"/>
                      <a:pt x="10" y="10"/>
                    </a:cubicBezTo>
                    <a:cubicBezTo>
                      <a:pt x="9" y="8"/>
                      <a:pt x="7" y="8"/>
                      <a:pt x="6" y="6"/>
                    </a:cubicBezTo>
                    <a:cubicBezTo>
                      <a:pt x="5" y="5"/>
                      <a:pt x="5" y="4"/>
                      <a:pt x="5" y="3"/>
                    </a:cubicBezTo>
                    <a:cubicBezTo>
                      <a:pt x="4" y="3"/>
                      <a:pt x="3" y="2"/>
                      <a:pt x="3" y="2"/>
                    </a:cubicBezTo>
                    <a:cubicBezTo>
                      <a:pt x="2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8" name="Freeform 95">
                <a:extLst>
                  <a:ext uri="{FF2B5EF4-FFF2-40B4-BE49-F238E27FC236}">
                    <a16:creationId xmlns:a16="http://schemas.microsoft.com/office/drawing/2014/main" xmlns="" id="{31E2C490-F3BB-4B33-B77D-A1FADEB7A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7265" y="3288485"/>
                <a:ext cx="10775" cy="15567"/>
              </a:xfrm>
              <a:custGeom>
                <a:avLst/>
                <a:gdLst>
                  <a:gd name="T0" fmla="*/ 0 w 4"/>
                  <a:gd name="T1" fmla="*/ 3 h 6"/>
                  <a:gd name="T2" fmla="*/ 1 w 4"/>
                  <a:gd name="T3" fmla="*/ 4 h 6"/>
                  <a:gd name="T4" fmla="*/ 3 w 4"/>
                  <a:gd name="T5" fmla="*/ 6 h 6"/>
                  <a:gd name="T6" fmla="*/ 4 w 4"/>
                  <a:gd name="T7" fmla="*/ 4 h 6"/>
                  <a:gd name="T8" fmla="*/ 4 w 4"/>
                  <a:gd name="T9" fmla="*/ 2 h 6"/>
                  <a:gd name="T10" fmla="*/ 3 w 4"/>
                  <a:gd name="T11" fmla="*/ 0 h 6"/>
                  <a:gd name="T12" fmla="*/ 2 w 4"/>
                  <a:gd name="T13" fmla="*/ 1 h 6"/>
                  <a:gd name="T14" fmla="*/ 0 w 4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0" y="3"/>
                    </a:moveTo>
                    <a:cubicBezTo>
                      <a:pt x="0" y="4"/>
                      <a:pt x="1" y="4"/>
                      <a:pt x="1" y="4"/>
                    </a:cubicBezTo>
                    <a:cubicBezTo>
                      <a:pt x="2" y="5"/>
                      <a:pt x="2" y="6"/>
                      <a:pt x="3" y="6"/>
                    </a:cubicBezTo>
                    <a:cubicBezTo>
                      <a:pt x="4" y="6"/>
                      <a:pt x="4" y="5"/>
                      <a:pt x="4" y="4"/>
                    </a:cubicBezTo>
                    <a:cubicBezTo>
                      <a:pt x="4" y="3"/>
                      <a:pt x="4" y="3"/>
                      <a:pt x="4" y="2"/>
                    </a:cubicBezTo>
                    <a:cubicBezTo>
                      <a:pt x="3" y="1"/>
                      <a:pt x="4" y="0"/>
                      <a:pt x="3" y="0"/>
                    </a:cubicBezTo>
                    <a:cubicBezTo>
                      <a:pt x="2" y="0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69" name="Freeform 96">
                <a:extLst>
                  <a:ext uri="{FF2B5EF4-FFF2-40B4-BE49-F238E27FC236}">
                    <a16:creationId xmlns:a16="http://schemas.microsoft.com/office/drawing/2014/main" xmlns="" id="{03190137-C32E-4618-9A59-27D3E2AA8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8543" y="3460913"/>
                <a:ext cx="31129" cy="17961"/>
              </a:xfrm>
              <a:custGeom>
                <a:avLst/>
                <a:gdLst>
                  <a:gd name="T0" fmla="*/ 2 w 12"/>
                  <a:gd name="T1" fmla="*/ 1 h 7"/>
                  <a:gd name="T2" fmla="*/ 0 w 12"/>
                  <a:gd name="T3" fmla="*/ 4 h 7"/>
                  <a:gd name="T4" fmla="*/ 1 w 12"/>
                  <a:gd name="T5" fmla="*/ 6 h 7"/>
                  <a:gd name="T6" fmla="*/ 4 w 12"/>
                  <a:gd name="T7" fmla="*/ 6 h 7"/>
                  <a:gd name="T8" fmla="*/ 6 w 12"/>
                  <a:gd name="T9" fmla="*/ 7 h 7"/>
                  <a:gd name="T10" fmla="*/ 10 w 12"/>
                  <a:gd name="T11" fmla="*/ 6 h 7"/>
                  <a:gd name="T12" fmla="*/ 12 w 12"/>
                  <a:gd name="T13" fmla="*/ 5 h 7"/>
                  <a:gd name="T14" fmla="*/ 10 w 12"/>
                  <a:gd name="T15" fmla="*/ 3 h 7"/>
                  <a:gd name="T16" fmla="*/ 7 w 12"/>
                  <a:gd name="T17" fmla="*/ 2 h 7"/>
                  <a:gd name="T18" fmla="*/ 5 w 12"/>
                  <a:gd name="T19" fmla="*/ 0 h 7"/>
                  <a:gd name="T20" fmla="*/ 2 w 12"/>
                  <a:gd name="T2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7">
                    <a:moveTo>
                      <a:pt x="2" y="1"/>
                    </a:move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6"/>
                      <a:pt x="3" y="6"/>
                      <a:pt x="4" y="6"/>
                    </a:cubicBezTo>
                    <a:cubicBezTo>
                      <a:pt x="5" y="6"/>
                      <a:pt x="6" y="7"/>
                      <a:pt x="6" y="7"/>
                    </a:cubicBezTo>
                    <a:cubicBezTo>
                      <a:pt x="8" y="7"/>
                      <a:pt x="9" y="6"/>
                      <a:pt x="10" y="6"/>
                    </a:cubicBezTo>
                    <a:cubicBezTo>
                      <a:pt x="11" y="6"/>
                      <a:pt x="12" y="6"/>
                      <a:pt x="12" y="5"/>
                    </a:cubicBezTo>
                    <a:cubicBezTo>
                      <a:pt x="12" y="4"/>
                      <a:pt x="11" y="4"/>
                      <a:pt x="10" y="3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3" y="0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0" name="Freeform 97">
                <a:extLst>
                  <a:ext uri="{FF2B5EF4-FFF2-40B4-BE49-F238E27FC236}">
                    <a16:creationId xmlns:a16="http://schemas.microsoft.com/office/drawing/2014/main" xmlns="" id="{03C3709F-100D-4309-8B9B-A25D60FAA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4106" y="3504021"/>
                <a:ext cx="35919" cy="11974"/>
              </a:xfrm>
              <a:custGeom>
                <a:avLst/>
                <a:gdLst>
                  <a:gd name="T0" fmla="*/ 0 w 14"/>
                  <a:gd name="T1" fmla="*/ 2 h 5"/>
                  <a:gd name="T2" fmla="*/ 4 w 14"/>
                  <a:gd name="T3" fmla="*/ 5 h 5"/>
                  <a:gd name="T4" fmla="*/ 9 w 14"/>
                  <a:gd name="T5" fmla="*/ 4 h 5"/>
                  <a:gd name="T6" fmla="*/ 12 w 14"/>
                  <a:gd name="T7" fmla="*/ 4 h 5"/>
                  <a:gd name="T8" fmla="*/ 14 w 14"/>
                  <a:gd name="T9" fmla="*/ 3 h 5"/>
                  <a:gd name="T10" fmla="*/ 12 w 14"/>
                  <a:gd name="T11" fmla="*/ 1 h 5"/>
                  <a:gd name="T12" fmla="*/ 5 w 14"/>
                  <a:gd name="T13" fmla="*/ 1 h 5"/>
                  <a:gd name="T14" fmla="*/ 3 w 14"/>
                  <a:gd name="T15" fmla="*/ 0 h 5"/>
                  <a:gd name="T16" fmla="*/ 0 w 14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5">
                    <a:moveTo>
                      <a:pt x="0" y="2"/>
                    </a:moveTo>
                    <a:cubicBezTo>
                      <a:pt x="0" y="4"/>
                      <a:pt x="2" y="5"/>
                      <a:pt x="4" y="5"/>
                    </a:cubicBezTo>
                    <a:cubicBezTo>
                      <a:pt x="6" y="5"/>
                      <a:pt x="7" y="5"/>
                      <a:pt x="9" y="4"/>
                    </a:cubicBezTo>
                    <a:cubicBezTo>
                      <a:pt x="10" y="4"/>
                      <a:pt x="11" y="4"/>
                      <a:pt x="12" y="4"/>
                    </a:cubicBezTo>
                    <a:cubicBezTo>
                      <a:pt x="13" y="3"/>
                      <a:pt x="14" y="3"/>
                      <a:pt x="14" y="3"/>
                    </a:cubicBezTo>
                    <a:cubicBezTo>
                      <a:pt x="14" y="2"/>
                      <a:pt x="13" y="1"/>
                      <a:pt x="1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1" name="Freeform 98">
                <a:extLst>
                  <a:ext uri="{FF2B5EF4-FFF2-40B4-BE49-F238E27FC236}">
                    <a16:creationId xmlns:a16="http://schemas.microsoft.com/office/drawing/2014/main" xmlns="" id="{DD6B0745-E34A-4ED8-84EB-9398EC756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4882" y="3526772"/>
                <a:ext cx="9578" cy="11974"/>
              </a:xfrm>
              <a:custGeom>
                <a:avLst/>
                <a:gdLst>
                  <a:gd name="T0" fmla="*/ 0 w 4"/>
                  <a:gd name="T1" fmla="*/ 3 h 5"/>
                  <a:gd name="T2" fmla="*/ 1 w 4"/>
                  <a:gd name="T3" fmla="*/ 5 h 5"/>
                  <a:gd name="T4" fmla="*/ 4 w 4"/>
                  <a:gd name="T5" fmla="*/ 1 h 5"/>
                  <a:gd name="T6" fmla="*/ 2 w 4"/>
                  <a:gd name="T7" fmla="*/ 0 h 5"/>
                  <a:gd name="T8" fmla="*/ 0 w 4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0" y="3"/>
                    </a:moveTo>
                    <a:cubicBezTo>
                      <a:pt x="0" y="4"/>
                      <a:pt x="0" y="5"/>
                      <a:pt x="1" y="5"/>
                    </a:cubicBezTo>
                    <a:cubicBezTo>
                      <a:pt x="2" y="5"/>
                      <a:pt x="4" y="3"/>
                      <a:pt x="4" y="1"/>
                    </a:cubicBezTo>
                    <a:cubicBezTo>
                      <a:pt x="4" y="0"/>
                      <a:pt x="2" y="0"/>
                      <a:pt x="2" y="0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2" name="Freeform 99">
                <a:extLst>
                  <a:ext uri="{FF2B5EF4-FFF2-40B4-BE49-F238E27FC236}">
                    <a16:creationId xmlns:a16="http://schemas.microsoft.com/office/drawing/2014/main" xmlns="" id="{C6035915-DF18-4B19-898A-A7C5A66F1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1997" y="3529167"/>
                <a:ext cx="35919" cy="11974"/>
              </a:xfrm>
              <a:custGeom>
                <a:avLst/>
                <a:gdLst>
                  <a:gd name="T0" fmla="*/ 3 w 14"/>
                  <a:gd name="T1" fmla="*/ 0 h 5"/>
                  <a:gd name="T2" fmla="*/ 0 w 14"/>
                  <a:gd name="T3" fmla="*/ 2 h 5"/>
                  <a:gd name="T4" fmla="*/ 3 w 14"/>
                  <a:gd name="T5" fmla="*/ 2 h 5"/>
                  <a:gd name="T6" fmla="*/ 7 w 14"/>
                  <a:gd name="T7" fmla="*/ 3 h 5"/>
                  <a:gd name="T8" fmla="*/ 13 w 14"/>
                  <a:gd name="T9" fmla="*/ 5 h 5"/>
                  <a:gd name="T10" fmla="*/ 14 w 14"/>
                  <a:gd name="T11" fmla="*/ 4 h 5"/>
                  <a:gd name="T12" fmla="*/ 14 w 14"/>
                  <a:gd name="T13" fmla="*/ 3 h 5"/>
                  <a:gd name="T14" fmla="*/ 12 w 14"/>
                  <a:gd name="T15" fmla="*/ 2 h 5"/>
                  <a:gd name="T16" fmla="*/ 3 w 14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5">
                    <a:moveTo>
                      <a:pt x="3" y="0"/>
                    </a:moveTo>
                    <a:cubicBezTo>
                      <a:pt x="2" y="0"/>
                      <a:pt x="0" y="0"/>
                      <a:pt x="0" y="2"/>
                    </a:cubicBezTo>
                    <a:cubicBezTo>
                      <a:pt x="0" y="3"/>
                      <a:pt x="2" y="2"/>
                      <a:pt x="3" y="2"/>
                    </a:cubicBezTo>
                    <a:cubicBezTo>
                      <a:pt x="5" y="2"/>
                      <a:pt x="5" y="3"/>
                      <a:pt x="7" y="3"/>
                    </a:cubicBezTo>
                    <a:cubicBezTo>
                      <a:pt x="9" y="3"/>
                      <a:pt x="10" y="5"/>
                      <a:pt x="13" y="5"/>
                    </a:cubicBezTo>
                    <a:cubicBezTo>
                      <a:pt x="13" y="5"/>
                      <a:pt x="13" y="5"/>
                      <a:pt x="14" y="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2"/>
                      <a:pt x="12" y="2"/>
                      <a:pt x="12" y="2"/>
                    </a:cubicBezTo>
                    <a:cubicBezTo>
                      <a:pt x="9" y="0"/>
                      <a:pt x="6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3" name="Freeform 100">
                <a:extLst>
                  <a:ext uri="{FF2B5EF4-FFF2-40B4-BE49-F238E27FC236}">
                    <a16:creationId xmlns:a16="http://schemas.microsoft.com/office/drawing/2014/main" xmlns="" id="{929F7DE1-E2CE-4CBF-81DC-9B2A063FE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7631" y="3498034"/>
                <a:ext cx="50285" cy="22751"/>
              </a:xfrm>
              <a:custGeom>
                <a:avLst/>
                <a:gdLst>
                  <a:gd name="T0" fmla="*/ 1 w 20"/>
                  <a:gd name="T1" fmla="*/ 0 h 9"/>
                  <a:gd name="T2" fmla="*/ 0 w 20"/>
                  <a:gd name="T3" fmla="*/ 1 h 9"/>
                  <a:gd name="T4" fmla="*/ 2 w 20"/>
                  <a:gd name="T5" fmla="*/ 2 h 9"/>
                  <a:gd name="T6" fmla="*/ 10 w 20"/>
                  <a:gd name="T7" fmla="*/ 5 h 9"/>
                  <a:gd name="T8" fmla="*/ 15 w 20"/>
                  <a:gd name="T9" fmla="*/ 8 h 9"/>
                  <a:gd name="T10" fmla="*/ 19 w 20"/>
                  <a:gd name="T11" fmla="*/ 9 h 9"/>
                  <a:gd name="T12" fmla="*/ 20 w 20"/>
                  <a:gd name="T13" fmla="*/ 9 h 9"/>
                  <a:gd name="T14" fmla="*/ 19 w 20"/>
                  <a:gd name="T15" fmla="*/ 7 h 9"/>
                  <a:gd name="T16" fmla="*/ 16 w 20"/>
                  <a:gd name="T17" fmla="*/ 5 h 9"/>
                  <a:gd name="T18" fmla="*/ 13 w 20"/>
                  <a:gd name="T19" fmla="*/ 5 h 9"/>
                  <a:gd name="T20" fmla="*/ 8 w 20"/>
                  <a:gd name="T21" fmla="*/ 2 h 9"/>
                  <a:gd name="T22" fmla="*/ 4 w 20"/>
                  <a:gd name="T23" fmla="*/ 1 h 9"/>
                  <a:gd name="T24" fmla="*/ 1 w 20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9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2" y="2"/>
                      <a:pt x="2" y="2"/>
                    </a:cubicBezTo>
                    <a:cubicBezTo>
                      <a:pt x="6" y="3"/>
                      <a:pt x="8" y="3"/>
                      <a:pt x="10" y="5"/>
                    </a:cubicBezTo>
                    <a:cubicBezTo>
                      <a:pt x="12" y="7"/>
                      <a:pt x="13" y="7"/>
                      <a:pt x="15" y="8"/>
                    </a:cubicBezTo>
                    <a:cubicBezTo>
                      <a:pt x="17" y="8"/>
                      <a:pt x="17" y="9"/>
                      <a:pt x="19" y="9"/>
                    </a:cubicBezTo>
                    <a:cubicBezTo>
                      <a:pt x="19" y="9"/>
                      <a:pt x="20" y="9"/>
                      <a:pt x="20" y="9"/>
                    </a:cubicBezTo>
                    <a:cubicBezTo>
                      <a:pt x="20" y="8"/>
                      <a:pt x="19" y="8"/>
                      <a:pt x="19" y="7"/>
                    </a:cubicBezTo>
                    <a:cubicBezTo>
                      <a:pt x="18" y="6"/>
                      <a:pt x="17" y="5"/>
                      <a:pt x="16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1" y="5"/>
                      <a:pt x="10" y="3"/>
                      <a:pt x="8" y="2"/>
                    </a:cubicBezTo>
                    <a:cubicBezTo>
                      <a:pt x="7" y="1"/>
                      <a:pt x="5" y="2"/>
                      <a:pt x="4" y="1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4" name="Freeform 101">
                <a:extLst>
                  <a:ext uri="{FF2B5EF4-FFF2-40B4-BE49-F238E27FC236}">
                    <a16:creationId xmlns:a16="http://schemas.microsoft.com/office/drawing/2014/main" xmlns="" id="{ECBA02B1-D3C6-4DC2-85B6-FE030CF65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6148" y="3478875"/>
                <a:ext cx="43101" cy="14369"/>
              </a:xfrm>
              <a:custGeom>
                <a:avLst/>
                <a:gdLst>
                  <a:gd name="T0" fmla="*/ 6 w 17"/>
                  <a:gd name="T1" fmla="*/ 1 h 6"/>
                  <a:gd name="T2" fmla="*/ 4 w 17"/>
                  <a:gd name="T3" fmla="*/ 0 h 6"/>
                  <a:gd name="T4" fmla="*/ 3 w 17"/>
                  <a:gd name="T5" fmla="*/ 0 h 6"/>
                  <a:gd name="T6" fmla="*/ 0 w 17"/>
                  <a:gd name="T7" fmla="*/ 6 h 6"/>
                  <a:gd name="T8" fmla="*/ 2 w 17"/>
                  <a:gd name="T9" fmla="*/ 6 h 6"/>
                  <a:gd name="T10" fmla="*/ 3 w 17"/>
                  <a:gd name="T11" fmla="*/ 5 h 6"/>
                  <a:gd name="T12" fmla="*/ 6 w 17"/>
                  <a:gd name="T13" fmla="*/ 5 h 6"/>
                  <a:gd name="T14" fmla="*/ 7 w 17"/>
                  <a:gd name="T15" fmla="*/ 6 h 6"/>
                  <a:gd name="T16" fmla="*/ 10 w 17"/>
                  <a:gd name="T17" fmla="*/ 6 h 6"/>
                  <a:gd name="T18" fmla="*/ 12 w 17"/>
                  <a:gd name="T19" fmla="*/ 6 h 6"/>
                  <a:gd name="T20" fmla="*/ 14 w 17"/>
                  <a:gd name="T21" fmla="*/ 6 h 6"/>
                  <a:gd name="T22" fmla="*/ 17 w 17"/>
                  <a:gd name="T23" fmla="*/ 4 h 6"/>
                  <a:gd name="T24" fmla="*/ 17 w 17"/>
                  <a:gd name="T25" fmla="*/ 3 h 6"/>
                  <a:gd name="T26" fmla="*/ 10 w 17"/>
                  <a:gd name="T27" fmla="*/ 3 h 6"/>
                  <a:gd name="T28" fmla="*/ 8 w 17"/>
                  <a:gd name="T29" fmla="*/ 2 h 6"/>
                  <a:gd name="T30" fmla="*/ 5 w 17"/>
                  <a:gd name="T31" fmla="*/ 1 h 6"/>
                  <a:gd name="T32" fmla="*/ 6 w 17"/>
                  <a:gd name="T3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6">
                    <a:moveTo>
                      <a:pt x="6" y="1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0" y="3"/>
                      <a:pt x="0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5"/>
                      <a:pt x="3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6"/>
                      <a:pt x="7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1" y="6"/>
                      <a:pt x="12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6" y="6"/>
                      <a:pt x="17" y="6"/>
                      <a:pt x="17" y="4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3"/>
                      <a:pt x="8" y="3"/>
                      <a:pt x="8" y="2"/>
                    </a:cubicBezTo>
                    <a:cubicBezTo>
                      <a:pt x="7" y="1"/>
                      <a:pt x="6" y="1"/>
                      <a:pt x="5" y="1"/>
                    </a:cubicBez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5" name="Freeform 102">
                <a:extLst>
                  <a:ext uri="{FF2B5EF4-FFF2-40B4-BE49-F238E27FC236}">
                    <a16:creationId xmlns:a16="http://schemas.microsoft.com/office/drawing/2014/main" xmlns="" id="{CADE2AE6-5D0B-444A-BB63-CF0B0E91C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8429" y="1727048"/>
                <a:ext cx="43101" cy="35923"/>
              </a:xfrm>
              <a:custGeom>
                <a:avLst/>
                <a:gdLst>
                  <a:gd name="T0" fmla="*/ 0 w 17"/>
                  <a:gd name="T1" fmla="*/ 8 h 14"/>
                  <a:gd name="T2" fmla="*/ 0 w 17"/>
                  <a:gd name="T3" fmla="*/ 9 h 14"/>
                  <a:gd name="T4" fmla="*/ 6 w 17"/>
                  <a:gd name="T5" fmla="*/ 10 h 14"/>
                  <a:gd name="T6" fmla="*/ 8 w 17"/>
                  <a:gd name="T7" fmla="*/ 10 h 14"/>
                  <a:gd name="T8" fmla="*/ 10 w 17"/>
                  <a:gd name="T9" fmla="*/ 14 h 14"/>
                  <a:gd name="T10" fmla="*/ 11 w 17"/>
                  <a:gd name="T11" fmla="*/ 11 h 14"/>
                  <a:gd name="T12" fmla="*/ 13 w 17"/>
                  <a:gd name="T13" fmla="*/ 10 h 14"/>
                  <a:gd name="T14" fmla="*/ 17 w 17"/>
                  <a:gd name="T15" fmla="*/ 8 h 14"/>
                  <a:gd name="T16" fmla="*/ 16 w 17"/>
                  <a:gd name="T17" fmla="*/ 6 h 14"/>
                  <a:gd name="T18" fmla="*/ 15 w 17"/>
                  <a:gd name="T19" fmla="*/ 4 h 14"/>
                  <a:gd name="T20" fmla="*/ 14 w 17"/>
                  <a:gd name="T21" fmla="*/ 3 h 14"/>
                  <a:gd name="T22" fmla="*/ 11 w 17"/>
                  <a:gd name="T23" fmla="*/ 4 h 14"/>
                  <a:gd name="T24" fmla="*/ 11 w 17"/>
                  <a:gd name="T25" fmla="*/ 2 h 14"/>
                  <a:gd name="T26" fmla="*/ 11 w 17"/>
                  <a:gd name="T27" fmla="*/ 1 h 14"/>
                  <a:gd name="T28" fmla="*/ 9 w 17"/>
                  <a:gd name="T29" fmla="*/ 0 h 14"/>
                  <a:gd name="T30" fmla="*/ 6 w 17"/>
                  <a:gd name="T31" fmla="*/ 4 h 14"/>
                  <a:gd name="T32" fmla="*/ 2 w 17"/>
                  <a:gd name="T33" fmla="*/ 6 h 14"/>
                  <a:gd name="T34" fmla="*/ 0 w 17"/>
                  <a:gd name="T3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" h="14">
                    <a:moveTo>
                      <a:pt x="0" y="8"/>
                    </a:moveTo>
                    <a:cubicBezTo>
                      <a:pt x="0" y="8"/>
                      <a:pt x="0" y="9"/>
                      <a:pt x="0" y="9"/>
                    </a:cubicBezTo>
                    <a:cubicBezTo>
                      <a:pt x="3" y="9"/>
                      <a:pt x="4" y="9"/>
                      <a:pt x="6" y="10"/>
                    </a:cubicBezTo>
                    <a:cubicBezTo>
                      <a:pt x="7" y="10"/>
                      <a:pt x="8" y="10"/>
                      <a:pt x="8" y="10"/>
                    </a:cubicBezTo>
                    <a:cubicBezTo>
                      <a:pt x="9" y="12"/>
                      <a:pt x="9" y="14"/>
                      <a:pt x="10" y="14"/>
                    </a:cubicBezTo>
                    <a:cubicBezTo>
                      <a:pt x="11" y="14"/>
                      <a:pt x="11" y="12"/>
                      <a:pt x="11" y="11"/>
                    </a:cubicBezTo>
                    <a:cubicBezTo>
                      <a:pt x="12" y="10"/>
                      <a:pt x="13" y="10"/>
                      <a:pt x="13" y="10"/>
                    </a:cubicBezTo>
                    <a:cubicBezTo>
                      <a:pt x="15" y="9"/>
                      <a:pt x="17" y="9"/>
                      <a:pt x="17" y="8"/>
                    </a:cubicBezTo>
                    <a:cubicBezTo>
                      <a:pt x="17" y="7"/>
                      <a:pt x="16" y="7"/>
                      <a:pt x="16" y="6"/>
                    </a:cubicBezTo>
                    <a:cubicBezTo>
                      <a:pt x="15" y="5"/>
                      <a:pt x="16" y="4"/>
                      <a:pt x="15" y="4"/>
                    </a:cubicBezTo>
                    <a:cubicBezTo>
                      <a:pt x="15" y="3"/>
                      <a:pt x="14" y="3"/>
                      <a:pt x="14" y="3"/>
                    </a:cubicBezTo>
                    <a:cubicBezTo>
                      <a:pt x="13" y="3"/>
                      <a:pt x="12" y="4"/>
                      <a:pt x="11" y="4"/>
                    </a:cubicBezTo>
                    <a:cubicBezTo>
                      <a:pt x="11" y="4"/>
                      <a:pt x="11" y="2"/>
                      <a:pt x="11" y="2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8" y="1"/>
                      <a:pt x="7" y="2"/>
                      <a:pt x="6" y="4"/>
                    </a:cubicBezTo>
                    <a:cubicBezTo>
                      <a:pt x="5" y="6"/>
                      <a:pt x="4" y="5"/>
                      <a:pt x="2" y="6"/>
                    </a:cubicBezTo>
                    <a:cubicBezTo>
                      <a:pt x="1" y="7"/>
                      <a:pt x="0" y="7"/>
                      <a:pt x="0" y="8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6" name="Freeform 103">
                <a:extLst>
                  <a:ext uri="{FF2B5EF4-FFF2-40B4-BE49-F238E27FC236}">
                    <a16:creationId xmlns:a16="http://schemas.microsoft.com/office/drawing/2014/main" xmlns="" id="{67433518-A842-42D1-9436-F7882EEC0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5259" y="1778538"/>
                <a:ext cx="73034" cy="73043"/>
              </a:xfrm>
              <a:custGeom>
                <a:avLst/>
                <a:gdLst>
                  <a:gd name="T0" fmla="*/ 18 w 29"/>
                  <a:gd name="T1" fmla="*/ 0 h 29"/>
                  <a:gd name="T2" fmla="*/ 16 w 29"/>
                  <a:gd name="T3" fmla="*/ 0 h 29"/>
                  <a:gd name="T4" fmla="*/ 15 w 29"/>
                  <a:gd name="T5" fmla="*/ 0 h 29"/>
                  <a:gd name="T6" fmla="*/ 11 w 29"/>
                  <a:gd name="T7" fmla="*/ 1 h 29"/>
                  <a:gd name="T8" fmla="*/ 9 w 29"/>
                  <a:gd name="T9" fmla="*/ 2 h 29"/>
                  <a:gd name="T10" fmla="*/ 10 w 29"/>
                  <a:gd name="T11" fmla="*/ 4 h 29"/>
                  <a:gd name="T12" fmla="*/ 6 w 29"/>
                  <a:gd name="T13" fmla="*/ 6 h 29"/>
                  <a:gd name="T14" fmla="*/ 6 w 29"/>
                  <a:gd name="T15" fmla="*/ 9 h 29"/>
                  <a:gd name="T16" fmla="*/ 5 w 29"/>
                  <a:gd name="T17" fmla="*/ 9 h 29"/>
                  <a:gd name="T18" fmla="*/ 2 w 29"/>
                  <a:gd name="T19" fmla="*/ 7 h 29"/>
                  <a:gd name="T20" fmla="*/ 0 w 29"/>
                  <a:gd name="T21" fmla="*/ 9 h 29"/>
                  <a:gd name="T22" fmla="*/ 2 w 29"/>
                  <a:gd name="T23" fmla="*/ 11 h 29"/>
                  <a:gd name="T24" fmla="*/ 4 w 29"/>
                  <a:gd name="T25" fmla="*/ 14 h 29"/>
                  <a:gd name="T26" fmla="*/ 1 w 29"/>
                  <a:gd name="T27" fmla="*/ 16 h 29"/>
                  <a:gd name="T28" fmla="*/ 3 w 29"/>
                  <a:gd name="T29" fmla="*/ 18 h 29"/>
                  <a:gd name="T30" fmla="*/ 6 w 29"/>
                  <a:gd name="T31" fmla="*/ 18 h 29"/>
                  <a:gd name="T32" fmla="*/ 7 w 29"/>
                  <a:gd name="T33" fmla="*/ 22 h 29"/>
                  <a:gd name="T34" fmla="*/ 5 w 29"/>
                  <a:gd name="T35" fmla="*/ 26 h 29"/>
                  <a:gd name="T36" fmla="*/ 5 w 29"/>
                  <a:gd name="T37" fmla="*/ 29 h 29"/>
                  <a:gd name="T38" fmla="*/ 10 w 29"/>
                  <a:gd name="T39" fmla="*/ 23 h 29"/>
                  <a:gd name="T40" fmla="*/ 12 w 29"/>
                  <a:gd name="T41" fmla="*/ 18 h 29"/>
                  <a:gd name="T42" fmla="*/ 13 w 29"/>
                  <a:gd name="T43" fmla="*/ 17 h 29"/>
                  <a:gd name="T44" fmla="*/ 16 w 29"/>
                  <a:gd name="T45" fmla="*/ 17 h 29"/>
                  <a:gd name="T46" fmla="*/ 17 w 29"/>
                  <a:gd name="T47" fmla="*/ 17 h 29"/>
                  <a:gd name="T48" fmla="*/ 19 w 29"/>
                  <a:gd name="T49" fmla="*/ 16 h 29"/>
                  <a:gd name="T50" fmla="*/ 21 w 29"/>
                  <a:gd name="T51" fmla="*/ 14 h 29"/>
                  <a:gd name="T52" fmla="*/ 23 w 29"/>
                  <a:gd name="T53" fmla="*/ 13 h 29"/>
                  <a:gd name="T54" fmla="*/ 25 w 29"/>
                  <a:gd name="T55" fmla="*/ 9 h 29"/>
                  <a:gd name="T56" fmla="*/ 26 w 29"/>
                  <a:gd name="T57" fmla="*/ 8 h 29"/>
                  <a:gd name="T58" fmla="*/ 26 w 29"/>
                  <a:gd name="T59" fmla="*/ 6 h 29"/>
                  <a:gd name="T60" fmla="*/ 27 w 29"/>
                  <a:gd name="T61" fmla="*/ 6 h 29"/>
                  <a:gd name="T62" fmla="*/ 28 w 29"/>
                  <a:gd name="T63" fmla="*/ 6 h 29"/>
                  <a:gd name="T64" fmla="*/ 29 w 29"/>
                  <a:gd name="T65" fmla="*/ 5 h 29"/>
                  <a:gd name="T66" fmla="*/ 26 w 29"/>
                  <a:gd name="T67" fmla="*/ 4 h 29"/>
                  <a:gd name="T68" fmla="*/ 25 w 29"/>
                  <a:gd name="T69" fmla="*/ 2 h 29"/>
                  <a:gd name="T70" fmla="*/ 21 w 29"/>
                  <a:gd name="T71" fmla="*/ 0 h 29"/>
                  <a:gd name="T72" fmla="*/ 18 w 29"/>
                  <a:gd name="T7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9" h="29">
                    <a:moveTo>
                      <a:pt x="18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3" y="1"/>
                      <a:pt x="11" y="1"/>
                    </a:cubicBezTo>
                    <a:cubicBezTo>
                      <a:pt x="10" y="1"/>
                      <a:pt x="9" y="1"/>
                      <a:pt x="9" y="2"/>
                    </a:cubicBezTo>
                    <a:cubicBezTo>
                      <a:pt x="9" y="3"/>
                      <a:pt x="10" y="3"/>
                      <a:pt x="10" y="4"/>
                    </a:cubicBezTo>
                    <a:cubicBezTo>
                      <a:pt x="8" y="4"/>
                      <a:pt x="7" y="4"/>
                      <a:pt x="6" y="6"/>
                    </a:cubicBezTo>
                    <a:cubicBezTo>
                      <a:pt x="6" y="7"/>
                      <a:pt x="6" y="8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8"/>
                      <a:pt x="3" y="7"/>
                      <a:pt x="2" y="7"/>
                    </a:cubicBezTo>
                    <a:cubicBezTo>
                      <a:pt x="1" y="7"/>
                      <a:pt x="0" y="8"/>
                      <a:pt x="0" y="9"/>
                    </a:cubicBezTo>
                    <a:cubicBezTo>
                      <a:pt x="0" y="10"/>
                      <a:pt x="1" y="10"/>
                      <a:pt x="2" y="11"/>
                    </a:cubicBezTo>
                    <a:cubicBezTo>
                      <a:pt x="2" y="12"/>
                      <a:pt x="3" y="13"/>
                      <a:pt x="4" y="14"/>
                    </a:cubicBezTo>
                    <a:cubicBezTo>
                      <a:pt x="3" y="15"/>
                      <a:pt x="1" y="15"/>
                      <a:pt x="1" y="16"/>
                    </a:cubicBezTo>
                    <a:cubicBezTo>
                      <a:pt x="1" y="18"/>
                      <a:pt x="2" y="18"/>
                      <a:pt x="3" y="18"/>
                    </a:cubicBezTo>
                    <a:cubicBezTo>
                      <a:pt x="4" y="18"/>
                      <a:pt x="5" y="18"/>
                      <a:pt x="6" y="18"/>
                    </a:cubicBezTo>
                    <a:cubicBezTo>
                      <a:pt x="6" y="19"/>
                      <a:pt x="7" y="20"/>
                      <a:pt x="7" y="22"/>
                    </a:cubicBezTo>
                    <a:cubicBezTo>
                      <a:pt x="7" y="24"/>
                      <a:pt x="5" y="24"/>
                      <a:pt x="5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7" y="27"/>
                      <a:pt x="8" y="25"/>
                      <a:pt x="10" y="23"/>
                    </a:cubicBezTo>
                    <a:cubicBezTo>
                      <a:pt x="11" y="21"/>
                      <a:pt x="10" y="19"/>
                      <a:pt x="12" y="18"/>
                    </a:cubicBezTo>
                    <a:cubicBezTo>
                      <a:pt x="12" y="18"/>
                      <a:pt x="13" y="17"/>
                      <a:pt x="13" y="17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7"/>
                      <a:pt x="17" y="17"/>
                    </a:cubicBezTo>
                    <a:cubicBezTo>
                      <a:pt x="18" y="16"/>
                      <a:pt x="18" y="17"/>
                      <a:pt x="19" y="16"/>
                    </a:cubicBezTo>
                    <a:cubicBezTo>
                      <a:pt x="20" y="16"/>
                      <a:pt x="20" y="15"/>
                      <a:pt x="21" y="14"/>
                    </a:cubicBezTo>
                    <a:cubicBezTo>
                      <a:pt x="22" y="13"/>
                      <a:pt x="23" y="14"/>
                      <a:pt x="23" y="13"/>
                    </a:cubicBezTo>
                    <a:cubicBezTo>
                      <a:pt x="25" y="12"/>
                      <a:pt x="24" y="10"/>
                      <a:pt x="25" y="9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6" y="7"/>
                      <a:pt x="26" y="7"/>
                      <a:pt x="26" y="6"/>
                    </a:cubicBezTo>
                    <a:cubicBezTo>
                      <a:pt x="26" y="6"/>
                      <a:pt x="27" y="6"/>
                      <a:pt x="27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6"/>
                      <a:pt x="29" y="6"/>
                      <a:pt x="29" y="5"/>
                    </a:cubicBezTo>
                    <a:cubicBezTo>
                      <a:pt x="28" y="5"/>
                      <a:pt x="27" y="5"/>
                      <a:pt x="26" y="4"/>
                    </a:cubicBezTo>
                    <a:cubicBezTo>
                      <a:pt x="25" y="4"/>
                      <a:pt x="26" y="3"/>
                      <a:pt x="25" y="2"/>
                    </a:cubicBezTo>
                    <a:cubicBezTo>
                      <a:pt x="24" y="0"/>
                      <a:pt x="23" y="0"/>
                      <a:pt x="21" y="0"/>
                    </a:cubicBezTo>
                    <a:cubicBezTo>
                      <a:pt x="20" y="0"/>
                      <a:pt x="19" y="0"/>
                      <a:pt x="18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7" name="Freeform 104">
                <a:extLst>
                  <a:ext uri="{FF2B5EF4-FFF2-40B4-BE49-F238E27FC236}">
                    <a16:creationId xmlns:a16="http://schemas.microsoft.com/office/drawing/2014/main" xmlns="" id="{D12C7CF0-A960-45ED-BCCE-243AB0FF4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1462" y="1656401"/>
                <a:ext cx="257414" cy="222720"/>
              </a:xfrm>
              <a:custGeom>
                <a:avLst/>
                <a:gdLst>
                  <a:gd name="T0" fmla="*/ 73 w 102"/>
                  <a:gd name="T1" fmla="*/ 88 h 88"/>
                  <a:gd name="T2" fmla="*/ 58 w 102"/>
                  <a:gd name="T3" fmla="*/ 82 h 88"/>
                  <a:gd name="T4" fmla="*/ 50 w 102"/>
                  <a:gd name="T5" fmla="*/ 72 h 88"/>
                  <a:gd name="T6" fmla="*/ 24 w 102"/>
                  <a:gd name="T7" fmla="*/ 76 h 88"/>
                  <a:gd name="T8" fmla="*/ 27 w 102"/>
                  <a:gd name="T9" fmla="*/ 61 h 88"/>
                  <a:gd name="T10" fmla="*/ 28 w 102"/>
                  <a:gd name="T11" fmla="*/ 55 h 88"/>
                  <a:gd name="T12" fmla="*/ 22 w 102"/>
                  <a:gd name="T13" fmla="*/ 57 h 88"/>
                  <a:gd name="T14" fmla="*/ 20 w 102"/>
                  <a:gd name="T15" fmla="*/ 62 h 88"/>
                  <a:gd name="T16" fmla="*/ 18 w 102"/>
                  <a:gd name="T17" fmla="*/ 64 h 88"/>
                  <a:gd name="T18" fmla="*/ 11 w 102"/>
                  <a:gd name="T19" fmla="*/ 58 h 88"/>
                  <a:gd name="T20" fmla="*/ 5 w 102"/>
                  <a:gd name="T21" fmla="*/ 52 h 88"/>
                  <a:gd name="T22" fmla="*/ 3 w 102"/>
                  <a:gd name="T23" fmla="*/ 50 h 88"/>
                  <a:gd name="T24" fmla="*/ 2 w 102"/>
                  <a:gd name="T25" fmla="*/ 46 h 88"/>
                  <a:gd name="T26" fmla="*/ 5 w 102"/>
                  <a:gd name="T27" fmla="*/ 42 h 88"/>
                  <a:gd name="T28" fmla="*/ 8 w 102"/>
                  <a:gd name="T29" fmla="*/ 41 h 88"/>
                  <a:gd name="T30" fmla="*/ 1 w 102"/>
                  <a:gd name="T31" fmla="*/ 38 h 88"/>
                  <a:gd name="T32" fmla="*/ 0 w 102"/>
                  <a:gd name="T33" fmla="*/ 34 h 88"/>
                  <a:gd name="T34" fmla="*/ 3 w 102"/>
                  <a:gd name="T35" fmla="*/ 32 h 88"/>
                  <a:gd name="T36" fmla="*/ 1 w 102"/>
                  <a:gd name="T37" fmla="*/ 24 h 88"/>
                  <a:gd name="T38" fmla="*/ 3 w 102"/>
                  <a:gd name="T39" fmla="*/ 19 h 88"/>
                  <a:gd name="T40" fmla="*/ 9 w 102"/>
                  <a:gd name="T41" fmla="*/ 19 h 88"/>
                  <a:gd name="T42" fmla="*/ 12 w 102"/>
                  <a:gd name="T43" fmla="*/ 14 h 88"/>
                  <a:gd name="T44" fmla="*/ 15 w 102"/>
                  <a:gd name="T45" fmla="*/ 13 h 88"/>
                  <a:gd name="T46" fmla="*/ 22 w 102"/>
                  <a:gd name="T47" fmla="*/ 7 h 88"/>
                  <a:gd name="T48" fmla="*/ 25 w 102"/>
                  <a:gd name="T49" fmla="*/ 8 h 88"/>
                  <a:gd name="T50" fmla="*/ 29 w 102"/>
                  <a:gd name="T51" fmla="*/ 8 h 88"/>
                  <a:gd name="T52" fmla="*/ 29 w 102"/>
                  <a:gd name="T53" fmla="*/ 3 h 88"/>
                  <a:gd name="T54" fmla="*/ 33 w 102"/>
                  <a:gd name="T55" fmla="*/ 6 h 88"/>
                  <a:gd name="T56" fmla="*/ 39 w 102"/>
                  <a:gd name="T57" fmla="*/ 6 h 88"/>
                  <a:gd name="T58" fmla="*/ 43 w 102"/>
                  <a:gd name="T59" fmla="*/ 6 h 88"/>
                  <a:gd name="T60" fmla="*/ 44 w 102"/>
                  <a:gd name="T61" fmla="*/ 2 h 88"/>
                  <a:gd name="T62" fmla="*/ 47 w 102"/>
                  <a:gd name="T63" fmla="*/ 4 h 88"/>
                  <a:gd name="T64" fmla="*/ 47 w 102"/>
                  <a:gd name="T65" fmla="*/ 2 h 88"/>
                  <a:gd name="T66" fmla="*/ 51 w 102"/>
                  <a:gd name="T67" fmla="*/ 3 h 88"/>
                  <a:gd name="T68" fmla="*/ 57 w 102"/>
                  <a:gd name="T69" fmla="*/ 0 h 88"/>
                  <a:gd name="T70" fmla="*/ 60 w 102"/>
                  <a:gd name="T71" fmla="*/ 2 h 88"/>
                  <a:gd name="T72" fmla="*/ 71 w 102"/>
                  <a:gd name="T73" fmla="*/ 2 h 88"/>
                  <a:gd name="T74" fmla="*/ 85 w 102"/>
                  <a:gd name="T75" fmla="*/ 4 h 88"/>
                  <a:gd name="T76" fmla="*/ 94 w 102"/>
                  <a:gd name="T77" fmla="*/ 3 h 88"/>
                  <a:gd name="T78" fmla="*/ 98 w 102"/>
                  <a:gd name="T79" fmla="*/ 3 h 88"/>
                  <a:gd name="T80" fmla="*/ 102 w 102"/>
                  <a:gd name="T81" fmla="*/ 6 h 88"/>
                  <a:gd name="T82" fmla="*/ 98 w 102"/>
                  <a:gd name="T83" fmla="*/ 12 h 88"/>
                  <a:gd name="T84" fmla="*/ 94 w 102"/>
                  <a:gd name="T85" fmla="*/ 24 h 88"/>
                  <a:gd name="T86" fmla="*/ 91 w 102"/>
                  <a:gd name="T87" fmla="*/ 30 h 88"/>
                  <a:gd name="T88" fmla="*/ 93 w 102"/>
                  <a:gd name="T89" fmla="*/ 40 h 88"/>
                  <a:gd name="T90" fmla="*/ 94 w 102"/>
                  <a:gd name="T91" fmla="*/ 58 h 88"/>
                  <a:gd name="T92" fmla="*/ 97 w 102"/>
                  <a:gd name="T93" fmla="*/ 68 h 88"/>
                  <a:gd name="T94" fmla="*/ 95 w 102"/>
                  <a:gd name="T95" fmla="*/ 74 h 88"/>
                  <a:gd name="T96" fmla="*/ 90 w 102"/>
                  <a:gd name="T97" fmla="*/ 8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2" h="88">
                    <a:moveTo>
                      <a:pt x="90" y="86"/>
                    </a:moveTo>
                    <a:cubicBezTo>
                      <a:pt x="73" y="88"/>
                      <a:pt x="73" y="88"/>
                      <a:pt x="73" y="88"/>
                    </a:cubicBezTo>
                    <a:cubicBezTo>
                      <a:pt x="70" y="88"/>
                      <a:pt x="68" y="87"/>
                      <a:pt x="66" y="85"/>
                    </a:cubicBezTo>
                    <a:cubicBezTo>
                      <a:pt x="63" y="83"/>
                      <a:pt x="61" y="83"/>
                      <a:pt x="58" y="82"/>
                    </a:cubicBezTo>
                    <a:cubicBezTo>
                      <a:pt x="56" y="81"/>
                      <a:pt x="55" y="78"/>
                      <a:pt x="54" y="76"/>
                    </a:cubicBezTo>
                    <a:cubicBezTo>
                      <a:pt x="53" y="74"/>
                      <a:pt x="52" y="74"/>
                      <a:pt x="50" y="72"/>
                    </a:cubicBezTo>
                    <a:cubicBezTo>
                      <a:pt x="49" y="71"/>
                      <a:pt x="48" y="70"/>
                      <a:pt x="47" y="70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5" y="73"/>
                      <a:pt x="25" y="72"/>
                      <a:pt x="26" y="69"/>
                    </a:cubicBezTo>
                    <a:cubicBezTo>
                      <a:pt x="26" y="66"/>
                      <a:pt x="26" y="64"/>
                      <a:pt x="27" y="61"/>
                    </a:cubicBezTo>
                    <a:cubicBezTo>
                      <a:pt x="27" y="59"/>
                      <a:pt x="28" y="58"/>
                      <a:pt x="28" y="56"/>
                    </a:cubicBezTo>
                    <a:cubicBezTo>
                      <a:pt x="28" y="56"/>
                      <a:pt x="28" y="56"/>
                      <a:pt x="28" y="55"/>
                    </a:cubicBezTo>
                    <a:cubicBezTo>
                      <a:pt x="26" y="55"/>
                      <a:pt x="25" y="54"/>
                      <a:pt x="23" y="54"/>
                    </a:cubicBezTo>
                    <a:cubicBezTo>
                      <a:pt x="22" y="54"/>
                      <a:pt x="22" y="56"/>
                      <a:pt x="22" y="57"/>
                    </a:cubicBezTo>
                    <a:cubicBezTo>
                      <a:pt x="22" y="58"/>
                      <a:pt x="22" y="59"/>
                      <a:pt x="22" y="60"/>
                    </a:cubicBezTo>
                    <a:cubicBezTo>
                      <a:pt x="22" y="61"/>
                      <a:pt x="21" y="61"/>
                      <a:pt x="20" y="62"/>
                    </a:cubicBezTo>
                    <a:cubicBezTo>
                      <a:pt x="19" y="62"/>
                      <a:pt x="19" y="62"/>
                      <a:pt x="18" y="63"/>
                    </a:cubicBezTo>
                    <a:cubicBezTo>
                      <a:pt x="18" y="63"/>
                      <a:pt x="18" y="64"/>
                      <a:pt x="18" y="64"/>
                    </a:cubicBezTo>
                    <a:cubicBezTo>
                      <a:pt x="16" y="64"/>
                      <a:pt x="16" y="62"/>
                      <a:pt x="15" y="60"/>
                    </a:cubicBezTo>
                    <a:cubicBezTo>
                      <a:pt x="14" y="59"/>
                      <a:pt x="12" y="58"/>
                      <a:pt x="11" y="58"/>
                    </a:cubicBezTo>
                    <a:cubicBezTo>
                      <a:pt x="9" y="58"/>
                      <a:pt x="8" y="59"/>
                      <a:pt x="6" y="57"/>
                    </a:cubicBezTo>
                    <a:cubicBezTo>
                      <a:pt x="5" y="56"/>
                      <a:pt x="5" y="54"/>
                      <a:pt x="5" y="52"/>
                    </a:cubicBezTo>
                    <a:cubicBezTo>
                      <a:pt x="5" y="51"/>
                      <a:pt x="5" y="51"/>
                      <a:pt x="5" y="50"/>
                    </a:cubicBezTo>
                    <a:cubicBezTo>
                      <a:pt x="5" y="50"/>
                      <a:pt x="4" y="50"/>
                      <a:pt x="3" y="50"/>
                    </a:cubicBezTo>
                    <a:cubicBezTo>
                      <a:pt x="3" y="50"/>
                      <a:pt x="3" y="50"/>
                      <a:pt x="2" y="5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5"/>
                      <a:pt x="2" y="44"/>
                      <a:pt x="2" y="43"/>
                    </a:cubicBezTo>
                    <a:cubicBezTo>
                      <a:pt x="2" y="42"/>
                      <a:pt x="4" y="42"/>
                      <a:pt x="5" y="42"/>
                    </a:cubicBezTo>
                    <a:cubicBezTo>
                      <a:pt x="6" y="42"/>
                      <a:pt x="7" y="42"/>
                      <a:pt x="8" y="42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8" y="40"/>
                      <a:pt x="8" y="38"/>
                      <a:pt x="7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1" y="32"/>
                      <a:pt x="2" y="32"/>
                    </a:cubicBezTo>
                    <a:cubicBezTo>
                      <a:pt x="2" y="32"/>
                      <a:pt x="3" y="32"/>
                      <a:pt x="3" y="32"/>
                    </a:cubicBezTo>
                    <a:cubicBezTo>
                      <a:pt x="3" y="30"/>
                      <a:pt x="0" y="30"/>
                      <a:pt x="0" y="28"/>
                    </a:cubicBezTo>
                    <a:cubicBezTo>
                      <a:pt x="0" y="26"/>
                      <a:pt x="1" y="25"/>
                      <a:pt x="1" y="24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2" y="19"/>
                      <a:pt x="3" y="19"/>
                    </a:cubicBezTo>
                    <a:cubicBezTo>
                      <a:pt x="4" y="19"/>
                      <a:pt x="4" y="20"/>
                      <a:pt x="5" y="20"/>
                    </a:cubicBezTo>
                    <a:cubicBezTo>
                      <a:pt x="7" y="20"/>
                      <a:pt x="8" y="19"/>
                      <a:pt x="9" y="19"/>
                    </a:cubicBezTo>
                    <a:cubicBezTo>
                      <a:pt x="11" y="19"/>
                      <a:pt x="11" y="19"/>
                      <a:pt x="12" y="20"/>
                    </a:cubicBezTo>
                    <a:cubicBezTo>
                      <a:pt x="12" y="18"/>
                      <a:pt x="12" y="16"/>
                      <a:pt x="12" y="14"/>
                    </a:cubicBezTo>
                    <a:cubicBezTo>
                      <a:pt x="12" y="13"/>
                      <a:pt x="13" y="13"/>
                      <a:pt x="14" y="13"/>
                    </a:cubicBezTo>
                    <a:cubicBezTo>
                      <a:pt x="14" y="13"/>
                      <a:pt x="15" y="13"/>
                      <a:pt x="15" y="13"/>
                    </a:cubicBezTo>
                    <a:cubicBezTo>
                      <a:pt x="18" y="13"/>
                      <a:pt x="19" y="12"/>
                      <a:pt x="20" y="9"/>
                    </a:cubicBezTo>
                    <a:cubicBezTo>
                      <a:pt x="21" y="8"/>
                      <a:pt x="21" y="7"/>
                      <a:pt x="22" y="7"/>
                    </a:cubicBezTo>
                    <a:cubicBezTo>
                      <a:pt x="23" y="7"/>
                      <a:pt x="24" y="8"/>
                      <a:pt x="25" y="8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8" y="9"/>
                    </a:cubicBezTo>
                    <a:cubicBezTo>
                      <a:pt x="29" y="9"/>
                      <a:pt x="29" y="8"/>
                      <a:pt x="29" y="8"/>
                    </a:cubicBezTo>
                    <a:cubicBezTo>
                      <a:pt x="29" y="7"/>
                      <a:pt x="30" y="7"/>
                      <a:pt x="30" y="6"/>
                    </a:cubicBezTo>
                    <a:cubicBezTo>
                      <a:pt x="30" y="5"/>
                      <a:pt x="29" y="4"/>
                      <a:pt x="29" y="3"/>
                    </a:cubicBezTo>
                    <a:cubicBezTo>
                      <a:pt x="29" y="3"/>
                      <a:pt x="30" y="3"/>
                      <a:pt x="31" y="4"/>
                    </a:cubicBezTo>
                    <a:cubicBezTo>
                      <a:pt x="32" y="4"/>
                      <a:pt x="32" y="6"/>
                      <a:pt x="33" y="6"/>
                    </a:cubicBezTo>
                    <a:cubicBezTo>
                      <a:pt x="35" y="6"/>
                      <a:pt x="35" y="5"/>
                      <a:pt x="36" y="5"/>
                    </a:cubicBezTo>
                    <a:cubicBezTo>
                      <a:pt x="38" y="5"/>
                      <a:pt x="38" y="6"/>
                      <a:pt x="39" y="6"/>
                    </a:cubicBezTo>
                    <a:cubicBezTo>
                      <a:pt x="40" y="7"/>
                      <a:pt x="41" y="7"/>
                      <a:pt x="42" y="7"/>
                    </a:cubicBezTo>
                    <a:cubicBezTo>
                      <a:pt x="43" y="7"/>
                      <a:pt x="43" y="6"/>
                      <a:pt x="43" y="6"/>
                    </a:cubicBezTo>
                    <a:cubicBezTo>
                      <a:pt x="43" y="5"/>
                      <a:pt x="44" y="4"/>
                      <a:pt x="44" y="3"/>
                    </a:cubicBezTo>
                    <a:cubicBezTo>
                      <a:pt x="44" y="3"/>
                      <a:pt x="44" y="2"/>
                      <a:pt x="44" y="2"/>
                    </a:cubicBezTo>
                    <a:cubicBezTo>
                      <a:pt x="44" y="2"/>
                      <a:pt x="44" y="1"/>
                      <a:pt x="44" y="1"/>
                    </a:cubicBezTo>
                    <a:cubicBezTo>
                      <a:pt x="45" y="1"/>
                      <a:pt x="47" y="2"/>
                      <a:pt x="47" y="4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7" y="3"/>
                      <a:pt x="47" y="3"/>
                      <a:pt x="47" y="2"/>
                    </a:cubicBezTo>
                    <a:cubicBezTo>
                      <a:pt x="47" y="1"/>
                      <a:pt x="48" y="0"/>
                      <a:pt x="49" y="0"/>
                    </a:cubicBezTo>
                    <a:cubicBezTo>
                      <a:pt x="50" y="0"/>
                      <a:pt x="50" y="3"/>
                      <a:pt x="51" y="3"/>
                    </a:cubicBezTo>
                    <a:cubicBezTo>
                      <a:pt x="53" y="2"/>
                      <a:pt x="54" y="1"/>
                      <a:pt x="57" y="1"/>
                    </a:cubicBezTo>
                    <a:cubicBezTo>
                      <a:pt x="57" y="1"/>
                      <a:pt x="57" y="1"/>
                      <a:pt x="57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9" y="1"/>
                      <a:pt x="59" y="2"/>
                      <a:pt x="60" y="2"/>
                    </a:cubicBezTo>
                    <a:cubicBezTo>
                      <a:pt x="62" y="3"/>
                      <a:pt x="63" y="3"/>
                      <a:pt x="65" y="3"/>
                    </a:cubicBezTo>
                    <a:cubicBezTo>
                      <a:pt x="67" y="3"/>
                      <a:pt x="68" y="2"/>
                      <a:pt x="71" y="2"/>
                    </a:cubicBezTo>
                    <a:cubicBezTo>
                      <a:pt x="75" y="2"/>
                      <a:pt x="77" y="5"/>
                      <a:pt x="81" y="5"/>
                    </a:cubicBezTo>
                    <a:cubicBezTo>
                      <a:pt x="83" y="5"/>
                      <a:pt x="84" y="4"/>
                      <a:pt x="85" y="4"/>
                    </a:cubicBezTo>
                    <a:cubicBezTo>
                      <a:pt x="87" y="3"/>
                      <a:pt x="89" y="3"/>
                      <a:pt x="91" y="3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95" y="3"/>
                      <a:pt x="95" y="3"/>
                      <a:pt x="96" y="3"/>
                    </a:cubicBezTo>
                    <a:cubicBezTo>
                      <a:pt x="97" y="3"/>
                      <a:pt x="97" y="3"/>
                      <a:pt x="98" y="3"/>
                    </a:cubicBezTo>
                    <a:cubicBezTo>
                      <a:pt x="99" y="3"/>
                      <a:pt x="99" y="3"/>
                      <a:pt x="100" y="2"/>
                    </a:cubicBezTo>
                    <a:cubicBezTo>
                      <a:pt x="101" y="3"/>
                      <a:pt x="102" y="4"/>
                      <a:pt x="102" y="6"/>
                    </a:cubicBezTo>
                    <a:cubicBezTo>
                      <a:pt x="102" y="7"/>
                      <a:pt x="102" y="7"/>
                      <a:pt x="101" y="8"/>
                    </a:cubicBezTo>
                    <a:cubicBezTo>
                      <a:pt x="100" y="10"/>
                      <a:pt x="99" y="10"/>
                      <a:pt x="98" y="12"/>
                    </a:cubicBezTo>
                    <a:cubicBezTo>
                      <a:pt x="97" y="14"/>
                      <a:pt x="97" y="16"/>
                      <a:pt x="96" y="18"/>
                    </a:cubicBezTo>
                    <a:cubicBezTo>
                      <a:pt x="95" y="21"/>
                      <a:pt x="95" y="22"/>
                      <a:pt x="94" y="24"/>
                    </a:cubicBezTo>
                    <a:cubicBezTo>
                      <a:pt x="94" y="26"/>
                      <a:pt x="93" y="26"/>
                      <a:pt x="93" y="27"/>
                    </a:cubicBezTo>
                    <a:cubicBezTo>
                      <a:pt x="92" y="28"/>
                      <a:pt x="91" y="29"/>
                      <a:pt x="91" y="30"/>
                    </a:cubicBezTo>
                    <a:cubicBezTo>
                      <a:pt x="91" y="32"/>
                      <a:pt x="92" y="33"/>
                      <a:pt x="93" y="34"/>
                    </a:cubicBezTo>
                    <a:cubicBezTo>
                      <a:pt x="93" y="36"/>
                      <a:pt x="93" y="38"/>
                      <a:pt x="93" y="40"/>
                    </a:cubicBezTo>
                    <a:cubicBezTo>
                      <a:pt x="93" y="40"/>
                      <a:pt x="94" y="41"/>
                      <a:pt x="94" y="41"/>
                    </a:cubicBezTo>
                    <a:cubicBezTo>
                      <a:pt x="94" y="58"/>
                      <a:pt x="94" y="58"/>
                      <a:pt x="94" y="58"/>
                    </a:cubicBezTo>
                    <a:cubicBezTo>
                      <a:pt x="94" y="59"/>
                      <a:pt x="95" y="59"/>
                      <a:pt x="95" y="60"/>
                    </a:cubicBezTo>
                    <a:cubicBezTo>
                      <a:pt x="96" y="63"/>
                      <a:pt x="96" y="65"/>
                      <a:pt x="97" y="68"/>
                    </a:cubicBezTo>
                    <a:cubicBezTo>
                      <a:pt x="97" y="69"/>
                      <a:pt x="97" y="69"/>
                      <a:pt x="97" y="70"/>
                    </a:cubicBezTo>
                    <a:cubicBezTo>
                      <a:pt x="97" y="72"/>
                      <a:pt x="96" y="73"/>
                      <a:pt x="95" y="74"/>
                    </a:cubicBezTo>
                    <a:cubicBezTo>
                      <a:pt x="94" y="76"/>
                      <a:pt x="93" y="77"/>
                      <a:pt x="93" y="79"/>
                    </a:cubicBezTo>
                    <a:cubicBezTo>
                      <a:pt x="91" y="81"/>
                      <a:pt x="91" y="83"/>
                      <a:pt x="90" y="86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8" name="Freeform 105">
                <a:extLst>
                  <a:ext uri="{FF2B5EF4-FFF2-40B4-BE49-F238E27FC236}">
                    <a16:creationId xmlns:a16="http://schemas.microsoft.com/office/drawing/2014/main" xmlns="" id="{D0C59103-E203-41A3-AB1F-3E1899425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8345" y="2912495"/>
                <a:ext cx="353195" cy="211944"/>
              </a:xfrm>
              <a:custGeom>
                <a:avLst/>
                <a:gdLst>
                  <a:gd name="T0" fmla="*/ 29 w 140"/>
                  <a:gd name="T1" fmla="*/ 64 h 84"/>
                  <a:gd name="T2" fmla="*/ 29 w 140"/>
                  <a:gd name="T3" fmla="*/ 56 h 84"/>
                  <a:gd name="T4" fmla="*/ 21 w 140"/>
                  <a:gd name="T5" fmla="*/ 52 h 84"/>
                  <a:gd name="T6" fmla="*/ 6 w 140"/>
                  <a:gd name="T7" fmla="*/ 59 h 84"/>
                  <a:gd name="T8" fmla="*/ 3 w 140"/>
                  <a:gd name="T9" fmla="*/ 61 h 84"/>
                  <a:gd name="T10" fmla="*/ 0 w 140"/>
                  <a:gd name="T11" fmla="*/ 55 h 84"/>
                  <a:gd name="T12" fmla="*/ 4 w 140"/>
                  <a:gd name="T13" fmla="*/ 49 h 84"/>
                  <a:gd name="T14" fmla="*/ 17 w 140"/>
                  <a:gd name="T15" fmla="*/ 33 h 84"/>
                  <a:gd name="T16" fmla="*/ 26 w 140"/>
                  <a:gd name="T17" fmla="*/ 25 h 84"/>
                  <a:gd name="T18" fmla="*/ 35 w 140"/>
                  <a:gd name="T19" fmla="*/ 19 h 84"/>
                  <a:gd name="T20" fmla="*/ 40 w 140"/>
                  <a:gd name="T21" fmla="*/ 12 h 84"/>
                  <a:gd name="T22" fmla="*/ 49 w 140"/>
                  <a:gd name="T23" fmla="*/ 7 h 84"/>
                  <a:gd name="T24" fmla="*/ 57 w 140"/>
                  <a:gd name="T25" fmla="*/ 7 h 84"/>
                  <a:gd name="T26" fmla="*/ 68 w 140"/>
                  <a:gd name="T27" fmla="*/ 8 h 84"/>
                  <a:gd name="T28" fmla="*/ 74 w 140"/>
                  <a:gd name="T29" fmla="*/ 7 h 84"/>
                  <a:gd name="T30" fmla="*/ 80 w 140"/>
                  <a:gd name="T31" fmla="*/ 8 h 84"/>
                  <a:gd name="T32" fmla="*/ 87 w 140"/>
                  <a:gd name="T33" fmla="*/ 9 h 84"/>
                  <a:gd name="T34" fmla="*/ 91 w 140"/>
                  <a:gd name="T35" fmla="*/ 1 h 84"/>
                  <a:gd name="T36" fmla="*/ 107 w 140"/>
                  <a:gd name="T37" fmla="*/ 7 h 84"/>
                  <a:gd name="T38" fmla="*/ 121 w 140"/>
                  <a:gd name="T39" fmla="*/ 17 h 84"/>
                  <a:gd name="T40" fmla="*/ 120 w 140"/>
                  <a:gd name="T41" fmla="*/ 21 h 84"/>
                  <a:gd name="T42" fmla="*/ 120 w 140"/>
                  <a:gd name="T43" fmla="*/ 23 h 84"/>
                  <a:gd name="T44" fmla="*/ 119 w 140"/>
                  <a:gd name="T45" fmla="*/ 26 h 84"/>
                  <a:gd name="T46" fmla="*/ 117 w 140"/>
                  <a:gd name="T47" fmla="*/ 30 h 84"/>
                  <a:gd name="T48" fmla="*/ 117 w 140"/>
                  <a:gd name="T49" fmla="*/ 34 h 84"/>
                  <a:gd name="T50" fmla="*/ 118 w 140"/>
                  <a:gd name="T51" fmla="*/ 37 h 84"/>
                  <a:gd name="T52" fmla="*/ 121 w 140"/>
                  <a:gd name="T53" fmla="*/ 39 h 84"/>
                  <a:gd name="T54" fmla="*/ 123 w 140"/>
                  <a:gd name="T55" fmla="*/ 40 h 84"/>
                  <a:gd name="T56" fmla="*/ 128 w 140"/>
                  <a:gd name="T57" fmla="*/ 45 h 84"/>
                  <a:gd name="T58" fmla="*/ 129 w 140"/>
                  <a:gd name="T59" fmla="*/ 47 h 84"/>
                  <a:gd name="T60" fmla="*/ 132 w 140"/>
                  <a:gd name="T61" fmla="*/ 45 h 84"/>
                  <a:gd name="T62" fmla="*/ 140 w 140"/>
                  <a:gd name="T63" fmla="*/ 47 h 84"/>
                  <a:gd name="T64" fmla="*/ 137 w 140"/>
                  <a:gd name="T65" fmla="*/ 56 h 84"/>
                  <a:gd name="T66" fmla="*/ 136 w 140"/>
                  <a:gd name="T67" fmla="*/ 62 h 84"/>
                  <a:gd name="T68" fmla="*/ 128 w 140"/>
                  <a:gd name="T69" fmla="*/ 60 h 84"/>
                  <a:gd name="T70" fmla="*/ 122 w 140"/>
                  <a:gd name="T71" fmla="*/ 69 h 84"/>
                  <a:gd name="T72" fmla="*/ 110 w 140"/>
                  <a:gd name="T73" fmla="*/ 66 h 84"/>
                  <a:gd name="T74" fmla="*/ 107 w 140"/>
                  <a:gd name="T75" fmla="*/ 60 h 84"/>
                  <a:gd name="T76" fmla="*/ 103 w 140"/>
                  <a:gd name="T77" fmla="*/ 66 h 84"/>
                  <a:gd name="T78" fmla="*/ 96 w 140"/>
                  <a:gd name="T79" fmla="*/ 76 h 84"/>
                  <a:gd name="T80" fmla="*/ 88 w 140"/>
                  <a:gd name="T81" fmla="*/ 79 h 84"/>
                  <a:gd name="T82" fmla="*/ 80 w 140"/>
                  <a:gd name="T83" fmla="*/ 71 h 84"/>
                  <a:gd name="T84" fmla="*/ 77 w 140"/>
                  <a:gd name="T85" fmla="*/ 63 h 84"/>
                  <a:gd name="T86" fmla="*/ 70 w 140"/>
                  <a:gd name="T87" fmla="*/ 65 h 84"/>
                  <a:gd name="T88" fmla="*/ 66 w 140"/>
                  <a:gd name="T89" fmla="*/ 69 h 84"/>
                  <a:gd name="T90" fmla="*/ 65 w 140"/>
                  <a:gd name="T91" fmla="*/ 73 h 84"/>
                  <a:gd name="T92" fmla="*/ 57 w 140"/>
                  <a:gd name="T93" fmla="*/ 76 h 84"/>
                  <a:gd name="T94" fmla="*/ 50 w 140"/>
                  <a:gd name="T95" fmla="*/ 73 h 84"/>
                  <a:gd name="T96" fmla="*/ 43 w 140"/>
                  <a:gd name="T97" fmla="*/ 75 h 84"/>
                  <a:gd name="T98" fmla="*/ 31 w 140"/>
                  <a:gd name="T99" fmla="*/ 7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0" h="84">
                    <a:moveTo>
                      <a:pt x="31" y="74"/>
                    </a:moveTo>
                    <a:cubicBezTo>
                      <a:pt x="30" y="71"/>
                      <a:pt x="30" y="68"/>
                      <a:pt x="29" y="64"/>
                    </a:cubicBezTo>
                    <a:cubicBezTo>
                      <a:pt x="29" y="63"/>
                      <a:pt x="28" y="62"/>
                      <a:pt x="28" y="60"/>
                    </a:cubicBezTo>
                    <a:cubicBezTo>
                      <a:pt x="28" y="58"/>
                      <a:pt x="29" y="58"/>
                      <a:pt x="29" y="56"/>
                    </a:cubicBezTo>
                    <a:cubicBezTo>
                      <a:pt x="29" y="55"/>
                      <a:pt x="29" y="54"/>
                      <a:pt x="29" y="53"/>
                    </a:cubicBezTo>
                    <a:cubicBezTo>
                      <a:pt x="26" y="52"/>
                      <a:pt x="24" y="52"/>
                      <a:pt x="21" y="52"/>
                    </a:cubicBezTo>
                    <a:cubicBezTo>
                      <a:pt x="17" y="52"/>
                      <a:pt x="15" y="52"/>
                      <a:pt x="12" y="53"/>
                    </a:cubicBezTo>
                    <a:cubicBezTo>
                      <a:pt x="9" y="54"/>
                      <a:pt x="8" y="56"/>
                      <a:pt x="6" y="59"/>
                    </a:cubicBezTo>
                    <a:cubicBezTo>
                      <a:pt x="6" y="59"/>
                      <a:pt x="5" y="60"/>
                      <a:pt x="4" y="60"/>
                    </a:cubicBezTo>
                    <a:cubicBezTo>
                      <a:pt x="4" y="61"/>
                      <a:pt x="4" y="61"/>
                      <a:pt x="3" y="61"/>
                    </a:cubicBezTo>
                    <a:cubicBezTo>
                      <a:pt x="2" y="61"/>
                      <a:pt x="1" y="60"/>
                      <a:pt x="1" y="58"/>
                    </a:cubicBezTo>
                    <a:cubicBezTo>
                      <a:pt x="0" y="57"/>
                      <a:pt x="0" y="57"/>
                      <a:pt x="0" y="55"/>
                    </a:cubicBezTo>
                    <a:cubicBezTo>
                      <a:pt x="0" y="53"/>
                      <a:pt x="2" y="53"/>
                      <a:pt x="3" y="51"/>
                    </a:cubicBezTo>
                    <a:cubicBezTo>
                      <a:pt x="4" y="50"/>
                      <a:pt x="4" y="50"/>
                      <a:pt x="4" y="49"/>
                    </a:cubicBezTo>
                    <a:cubicBezTo>
                      <a:pt x="6" y="46"/>
                      <a:pt x="9" y="46"/>
                      <a:pt x="10" y="43"/>
                    </a:cubicBezTo>
                    <a:cubicBezTo>
                      <a:pt x="12" y="39"/>
                      <a:pt x="13" y="36"/>
                      <a:pt x="17" y="33"/>
                    </a:cubicBezTo>
                    <a:cubicBezTo>
                      <a:pt x="18" y="32"/>
                      <a:pt x="20" y="32"/>
                      <a:pt x="22" y="30"/>
                    </a:cubicBezTo>
                    <a:cubicBezTo>
                      <a:pt x="24" y="29"/>
                      <a:pt x="24" y="27"/>
                      <a:pt x="26" y="25"/>
                    </a:cubicBezTo>
                    <a:cubicBezTo>
                      <a:pt x="26" y="24"/>
                      <a:pt x="27" y="24"/>
                      <a:pt x="28" y="23"/>
                    </a:cubicBezTo>
                    <a:cubicBezTo>
                      <a:pt x="30" y="22"/>
                      <a:pt x="32" y="21"/>
                      <a:pt x="35" y="19"/>
                    </a:cubicBezTo>
                    <a:cubicBezTo>
                      <a:pt x="36" y="19"/>
                      <a:pt x="38" y="18"/>
                      <a:pt x="39" y="17"/>
                    </a:cubicBezTo>
                    <a:cubicBezTo>
                      <a:pt x="39" y="15"/>
                      <a:pt x="39" y="14"/>
                      <a:pt x="40" y="12"/>
                    </a:cubicBezTo>
                    <a:cubicBezTo>
                      <a:pt x="41" y="9"/>
                      <a:pt x="42" y="8"/>
                      <a:pt x="42" y="6"/>
                    </a:cubicBezTo>
                    <a:cubicBezTo>
                      <a:pt x="45" y="6"/>
                      <a:pt x="47" y="7"/>
                      <a:pt x="49" y="7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4" y="7"/>
                      <a:pt x="55" y="7"/>
                      <a:pt x="57" y="7"/>
                    </a:cubicBezTo>
                    <a:cubicBezTo>
                      <a:pt x="60" y="7"/>
                      <a:pt x="62" y="6"/>
                      <a:pt x="64" y="4"/>
                    </a:cubicBezTo>
                    <a:cubicBezTo>
                      <a:pt x="65" y="6"/>
                      <a:pt x="66" y="8"/>
                      <a:pt x="68" y="8"/>
                    </a:cubicBezTo>
                    <a:cubicBezTo>
                      <a:pt x="69" y="8"/>
                      <a:pt x="70" y="6"/>
                      <a:pt x="71" y="6"/>
                    </a:cubicBezTo>
                    <a:cubicBezTo>
                      <a:pt x="72" y="6"/>
                      <a:pt x="73" y="7"/>
                      <a:pt x="74" y="7"/>
                    </a:cubicBezTo>
                    <a:cubicBezTo>
                      <a:pt x="75" y="7"/>
                      <a:pt x="76" y="6"/>
                      <a:pt x="77" y="6"/>
                    </a:cubicBezTo>
                    <a:cubicBezTo>
                      <a:pt x="79" y="6"/>
                      <a:pt x="79" y="7"/>
                      <a:pt x="80" y="8"/>
                    </a:cubicBezTo>
                    <a:cubicBezTo>
                      <a:pt x="81" y="8"/>
                      <a:pt x="81" y="8"/>
                      <a:pt x="82" y="8"/>
                    </a:cubicBezTo>
                    <a:cubicBezTo>
                      <a:pt x="84" y="8"/>
                      <a:pt x="85" y="9"/>
                      <a:pt x="87" y="9"/>
                    </a:cubicBezTo>
                    <a:cubicBezTo>
                      <a:pt x="88" y="9"/>
                      <a:pt x="88" y="9"/>
                      <a:pt x="89" y="9"/>
                    </a:cubicBezTo>
                    <a:cubicBezTo>
                      <a:pt x="90" y="6"/>
                      <a:pt x="90" y="4"/>
                      <a:pt x="91" y="1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97" y="4"/>
                      <a:pt x="101" y="5"/>
                      <a:pt x="107" y="7"/>
                    </a:cubicBezTo>
                    <a:cubicBezTo>
                      <a:pt x="110" y="8"/>
                      <a:pt x="111" y="11"/>
                      <a:pt x="114" y="13"/>
                    </a:cubicBezTo>
                    <a:cubicBezTo>
                      <a:pt x="116" y="16"/>
                      <a:pt x="118" y="16"/>
                      <a:pt x="121" y="17"/>
                    </a:cubicBezTo>
                    <a:cubicBezTo>
                      <a:pt x="121" y="18"/>
                      <a:pt x="120" y="19"/>
                      <a:pt x="120" y="19"/>
                    </a:cubicBezTo>
                    <a:cubicBezTo>
                      <a:pt x="120" y="20"/>
                      <a:pt x="120" y="20"/>
                      <a:pt x="120" y="21"/>
                    </a:cubicBezTo>
                    <a:cubicBezTo>
                      <a:pt x="120" y="21"/>
                      <a:pt x="120" y="21"/>
                      <a:pt x="120" y="22"/>
                    </a:cubicBezTo>
                    <a:cubicBezTo>
                      <a:pt x="120" y="22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5"/>
                    </a:cubicBezTo>
                    <a:cubicBezTo>
                      <a:pt x="119" y="25"/>
                      <a:pt x="119" y="25"/>
                      <a:pt x="119" y="26"/>
                    </a:cubicBezTo>
                    <a:cubicBezTo>
                      <a:pt x="118" y="26"/>
                      <a:pt x="118" y="27"/>
                      <a:pt x="118" y="27"/>
                    </a:cubicBezTo>
                    <a:cubicBezTo>
                      <a:pt x="117" y="28"/>
                      <a:pt x="117" y="29"/>
                      <a:pt x="117" y="30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17" y="32"/>
                      <a:pt x="117" y="33"/>
                      <a:pt x="117" y="34"/>
                    </a:cubicBezTo>
                    <a:cubicBezTo>
                      <a:pt x="117" y="34"/>
                      <a:pt x="117" y="34"/>
                      <a:pt x="117" y="34"/>
                    </a:cubicBezTo>
                    <a:cubicBezTo>
                      <a:pt x="118" y="35"/>
                      <a:pt x="118" y="36"/>
                      <a:pt x="118" y="37"/>
                    </a:cubicBezTo>
                    <a:cubicBezTo>
                      <a:pt x="119" y="38"/>
                      <a:pt x="119" y="38"/>
                      <a:pt x="120" y="38"/>
                    </a:cubicBezTo>
                    <a:cubicBezTo>
                      <a:pt x="120" y="38"/>
                      <a:pt x="120" y="39"/>
                      <a:pt x="121" y="39"/>
                    </a:cubicBezTo>
                    <a:cubicBezTo>
                      <a:pt x="121" y="39"/>
                      <a:pt x="121" y="40"/>
                      <a:pt x="122" y="40"/>
                    </a:cubicBezTo>
                    <a:cubicBezTo>
                      <a:pt x="122" y="40"/>
                      <a:pt x="123" y="40"/>
                      <a:pt x="123" y="40"/>
                    </a:cubicBezTo>
                    <a:cubicBezTo>
                      <a:pt x="124" y="41"/>
                      <a:pt x="125" y="41"/>
                      <a:pt x="125" y="42"/>
                    </a:cubicBezTo>
                    <a:cubicBezTo>
                      <a:pt x="126" y="43"/>
                      <a:pt x="127" y="44"/>
                      <a:pt x="128" y="45"/>
                    </a:cubicBezTo>
                    <a:cubicBezTo>
                      <a:pt x="128" y="45"/>
                      <a:pt x="128" y="46"/>
                      <a:pt x="129" y="46"/>
                    </a:cubicBezTo>
                    <a:cubicBezTo>
                      <a:pt x="129" y="47"/>
                      <a:pt x="129" y="47"/>
                      <a:pt x="129" y="47"/>
                    </a:cubicBezTo>
                    <a:cubicBezTo>
                      <a:pt x="130" y="47"/>
                      <a:pt x="130" y="46"/>
                      <a:pt x="131" y="46"/>
                    </a:cubicBezTo>
                    <a:cubicBezTo>
                      <a:pt x="131" y="46"/>
                      <a:pt x="131" y="46"/>
                      <a:pt x="132" y="45"/>
                    </a:cubicBezTo>
                    <a:cubicBezTo>
                      <a:pt x="132" y="45"/>
                      <a:pt x="133" y="44"/>
                      <a:pt x="134" y="44"/>
                    </a:cubicBezTo>
                    <a:cubicBezTo>
                      <a:pt x="140" y="47"/>
                      <a:pt x="140" y="47"/>
                      <a:pt x="140" y="47"/>
                    </a:cubicBezTo>
                    <a:cubicBezTo>
                      <a:pt x="139" y="49"/>
                      <a:pt x="138" y="50"/>
                      <a:pt x="138" y="52"/>
                    </a:cubicBezTo>
                    <a:cubicBezTo>
                      <a:pt x="137" y="53"/>
                      <a:pt x="137" y="54"/>
                      <a:pt x="137" y="56"/>
                    </a:cubicBezTo>
                    <a:cubicBezTo>
                      <a:pt x="137" y="58"/>
                      <a:pt x="137" y="59"/>
                      <a:pt x="137" y="61"/>
                    </a:cubicBezTo>
                    <a:cubicBezTo>
                      <a:pt x="137" y="61"/>
                      <a:pt x="136" y="62"/>
                      <a:pt x="136" y="62"/>
                    </a:cubicBezTo>
                    <a:cubicBezTo>
                      <a:pt x="136" y="63"/>
                      <a:pt x="136" y="64"/>
                      <a:pt x="136" y="65"/>
                    </a:cubicBezTo>
                    <a:cubicBezTo>
                      <a:pt x="133" y="63"/>
                      <a:pt x="132" y="61"/>
                      <a:pt x="128" y="60"/>
                    </a:cubicBezTo>
                    <a:cubicBezTo>
                      <a:pt x="128" y="65"/>
                      <a:pt x="128" y="68"/>
                      <a:pt x="127" y="73"/>
                    </a:cubicBezTo>
                    <a:cubicBezTo>
                      <a:pt x="125" y="71"/>
                      <a:pt x="124" y="70"/>
                      <a:pt x="122" y="69"/>
                    </a:cubicBezTo>
                    <a:cubicBezTo>
                      <a:pt x="120" y="67"/>
                      <a:pt x="118" y="68"/>
                      <a:pt x="116" y="67"/>
                    </a:cubicBezTo>
                    <a:cubicBezTo>
                      <a:pt x="114" y="67"/>
                      <a:pt x="111" y="68"/>
                      <a:pt x="110" y="66"/>
                    </a:cubicBezTo>
                    <a:cubicBezTo>
                      <a:pt x="109" y="65"/>
                      <a:pt x="109" y="63"/>
                      <a:pt x="109" y="62"/>
                    </a:cubicBezTo>
                    <a:cubicBezTo>
                      <a:pt x="108" y="61"/>
                      <a:pt x="108" y="61"/>
                      <a:pt x="107" y="60"/>
                    </a:cubicBezTo>
                    <a:cubicBezTo>
                      <a:pt x="106" y="61"/>
                      <a:pt x="106" y="62"/>
                      <a:pt x="105" y="63"/>
                    </a:cubicBezTo>
                    <a:cubicBezTo>
                      <a:pt x="105" y="65"/>
                      <a:pt x="104" y="65"/>
                      <a:pt x="103" y="66"/>
                    </a:cubicBezTo>
                    <a:cubicBezTo>
                      <a:pt x="102" y="68"/>
                      <a:pt x="101" y="70"/>
                      <a:pt x="99" y="71"/>
                    </a:cubicBezTo>
                    <a:cubicBezTo>
                      <a:pt x="98" y="73"/>
                      <a:pt x="97" y="74"/>
                      <a:pt x="96" y="76"/>
                    </a:cubicBezTo>
                    <a:cubicBezTo>
                      <a:pt x="95" y="79"/>
                      <a:pt x="94" y="82"/>
                      <a:pt x="91" y="84"/>
                    </a:cubicBezTo>
                    <a:cubicBezTo>
                      <a:pt x="90" y="81"/>
                      <a:pt x="89" y="81"/>
                      <a:pt x="88" y="79"/>
                    </a:cubicBezTo>
                    <a:cubicBezTo>
                      <a:pt x="87" y="77"/>
                      <a:pt x="87" y="75"/>
                      <a:pt x="85" y="74"/>
                    </a:cubicBezTo>
                    <a:cubicBezTo>
                      <a:pt x="83" y="72"/>
                      <a:pt x="82" y="72"/>
                      <a:pt x="80" y="71"/>
                    </a:cubicBezTo>
                    <a:cubicBezTo>
                      <a:pt x="78" y="70"/>
                      <a:pt x="76" y="69"/>
                      <a:pt x="76" y="67"/>
                    </a:cubicBezTo>
                    <a:cubicBezTo>
                      <a:pt x="76" y="66"/>
                      <a:pt x="77" y="65"/>
                      <a:pt x="77" y="63"/>
                    </a:cubicBezTo>
                    <a:cubicBezTo>
                      <a:pt x="77" y="62"/>
                      <a:pt x="77" y="61"/>
                      <a:pt x="77" y="60"/>
                    </a:cubicBezTo>
                    <a:cubicBezTo>
                      <a:pt x="75" y="62"/>
                      <a:pt x="73" y="63"/>
                      <a:pt x="70" y="65"/>
                    </a:cubicBezTo>
                    <a:cubicBezTo>
                      <a:pt x="69" y="65"/>
                      <a:pt x="68" y="65"/>
                      <a:pt x="67" y="66"/>
                    </a:cubicBezTo>
                    <a:cubicBezTo>
                      <a:pt x="66" y="67"/>
                      <a:pt x="66" y="68"/>
                      <a:pt x="66" y="69"/>
                    </a:cubicBezTo>
                    <a:cubicBezTo>
                      <a:pt x="66" y="70"/>
                      <a:pt x="65" y="71"/>
                      <a:pt x="65" y="71"/>
                    </a:cubicBezTo>
                    <a:cubicBezTo>
                      <a:pt x="65" y="72"/>
                      <a:pt x="66" y="73"/>
                      <a:pt x="65" y="73"/>
                    </a:cubicBezTo>
                    <a:cubicBezTo>
                      <a:pt x="65" y="74"/>
                      <a:pt x="64" y="74"/>
                      <a:pt x="63" y="74"/>
                    </a:cubicBezTo>
                    <a:cubicBezTo>
                      <a:pt x="61" y="75"/>
                      <a:pt x="60" y="75"/>
                      <a:pt x="57" y="76"/>
                    </a:cubicBezTo>
                    <a:cubicBezTo>
                      <a:pt x="56" y="76"/>
                      <a:pt x="56" y="77"/>
                      <a:pt x="55" y="77"/>
                    </a:cubicBezTo>
                    <a:cubicBezTo>
                      <a:pt x="52" y="77"/>
                      <a:pt x="52" y="73"/>
                      <a:pt x="50" y="73"/>
                    </a:cubicBezTo>
                    <a:cubicBezTo>
                      <a:pt x="49" y="73"/>
                      <a:pt x="48" y="74"/>
                      <a:pt x="47" y="74"/>
                    </a:cubicBezTo>
                    <a:cubicBezTo>
                      <a:pt x="45" y="75"/>
                      <a:pt x="44" y="74"/>
                      <a:pt x="43" y="75"/>
                    </a:cubicBezTo>
                    <a:cubicBezTo>
                      <a:pt x="41" y="75"/>
                      <a:pt x="41" y="75"/>
                      <a:pt x="39" y="75"/>
                    </a:cubicBezTo>
                    <a:cubicBezTo>
                      <a:pt x="36" y="75"/>
                      <a:pt x="34" y="75"/>
                      <a:pt x="31" y="7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79" name="Freeform 106">
                <a:extLst>
                  <a:ext uri="{FF2B5EF4-FFF2-40B4-BE49-F238E27FC236}">
                    <a16:creationId xmlns:a16="http://schemas.microsoft.com/office/drawing/2014/main" xmlns="" id="{37574B03-80DE-4A31-B7EA-A4004EBFD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1253" y="2821491"/>
                <a:ext cx="559125" cy="290974"/>
              </a:xfrm>
              <a:custGeom>
                <a:avLst/>
                <a:gdLst>
                  <a:gd name="T0" fmla="*/ 206 w 221"/>
                  <a:gd name="T1" fmla="*/ 13 h 115"/>
                  <a:gd name="T2" fmla="*/ 182 w 221"/>
                  <a:gd name="T3" fmla="*/ 9 h 115"/>
                  <a:gd name="T4" fmla="*/ 171 w 221"/>
                  <a:gd name="T5" fmla="*/ 2 h 115"/>
                  <a:gd name="T6" fmla="*/ 165 w 221"/>
                  <a:gd name="T7" fmla="*/ 1 h 115"/>
                  <a:gd name="T8" fmla="*/ 156 w 221"/>
                  <a:gd name="T9" fmla="*/ 8 h 115"/>
                  <a:gd name="T10" fmla="*/ 141 w 221"/>
                  <a:gd name="T11" fmla="*/ 16 h 115"/>
                  <a:gd name="T12" fmla="*/ 136 w 221"/>
                  <a:gd name="T13" fmla="*/ 16 h 115"/>
                  <a:gd name="T14" fmla="*/ 126 w 221"/>
                  <a:gd name="T15" fmla="*/ 14 h 115"/>
                  <a:gd name="T16" fmla="*/ 119 w 221"/>
                  <a:gd name="T17" fmla="*/ 21 h 115"/>
                  <a:gd name="T18" fmla="*/ 113 w 221"/>
                  <a:gd name="T19" fmla="*/ 30 h 115"/>
                  <a:gd name="T20" fmla="*/ 105 w 221"/>
                  <a:gd name="T21" fmla="*/ 33 h 115"/>
                  <a:gd name="T22" fmla="*/ 94 w 221"/>
                  <a:gd name="T23" fmla="*/ 33 h 115"/>
                  <a:gd name="T24" fmla="*/ 100 w 221"/>
                  <a:gd name="T25" fmla="*/ 56 h 115"/>
                  <a:gd name="T26" fmla="*/ 95 w 221"/>
                  <a:gd name="T27" fmla="*/ 62 h 115"/>
                  <a:gd name="T28" fmla="*/ 87 w 221"/>
                  <a:gd name="T29" fmla="*/ 55 h 115"/>
                  <a:gd name="T30" fmla="*/ 77 w 221"/>
                  <a:gd name="T31" fmla="*/ 51 h 115"/>
                  <a:gd name="T32" fmla="*/ 71 w 221"/>
                  <a:gd name="T33" fmla="*/ 58 h 115"/>
                  <a:gd name="T34" fmla="*/ 55 w 221"/>
                  <a:gd name="T35" fmla="*/ 58 h 115"/>
                  <a:gd name="T36" fmla="*/ 45 w 221"/>
                  <a:gd name="T37" fmla="*/ 61 h 115"/>
                  <a:gd name="T38" fmla="*/ 40 w 221"/>
                  <a:gd name="T39" fmla="*/ 61 h 115"/>
                  <a:gd name="T40" fmla="*/ 33 w 221"/>
                  <a:gd name="T41" fmla="*/ 54 h 115"/>
                  <a:gd name="T42" fmla="*/ 25 w 221"/>
                  <a:gd name="T43" fmla="*/ 54 h 115"/>
                  <a:gd name="T44" fmla="*/ 23 w 221"/>
                  <a:gd name="T45" fmla="*/ 58 h 115"/>
                  <a:gd name="T46" fmla="*/ 22 w 221"/>
                  <a:gd name="T47" fmla="*/ 64 h 115"/>
                  <a:gd name="T48" fmla="*/ 16 w 221"/>
                  <a:gd name="T49" fmla="*/ 63 h 115"/>
                  <a:gd name="T50" fmla="*/ 11 w 221"/>
                  <a:gd name="T51" fmla="*/ 58 h 115"/>
                  <a:gd name="T52" fmla="*/ 8 w 221"/>
                  <a:gd name="T53" fmla="*/ 54 h 115"/>
                  <a:gd name="T54" fmla="*/ 1 w 221"/>
                  <a:gd name="T55" fmla="*/ 53 h 115"/>
                  <a:gd name="T56" fmla="*/ 0 w 221"/>
                  <a:gd name="T57" fmla="*/ 59 h 115"/>
                  <a:gd name="T58" fmla="*/ 3 w 221"/>
                  <a:gd name="T59" fmla="*/ 66 h 115"/>
                  <a:gd name="T60" fmla="*/ 3 w 221"/>
                  <a:gd name="T61" fmla="*/ 74 h 115"/>
                  <a:gd name="T62" fmla="*/ 5 w 221"/>
                  <a:gd name="T63" fmla="*/ 78 h 115"/>
                  <a:gd name="T64" fmla="*/ 11 w 221"/>
                  <a:gd name="T65" fmla="*/ 82 h 115"/>
                  <a:gd name="T66" fmla="*/ 23 w 221"/>
                  <a:gd name="T67" fmla="*/ 82 h 115"/>
                  <a:gd name="T68" fmla="*/ 36 w 221"/>
                  <a:gd name="T69" fmla="*/ 80 h 115"/>
                  <a:gd name="T70" fmla="*/ 52 w 221"/>
                  <a:gd name="T71" fmla="*/ 77 h 115"/>
                  <a:gd name="T72" fmla="*/ 73 w 221"/>
                  <a:gd name="T73" fmla="*/ 78 h 115"/>
                  <a:gd name="T74" fmla="*/ 75 w 221"/>
                  <a:gd name="T75" fmla="*/ 83 h 115"/>
                  <a:gd name="T76" fmla="*/ 89 w 221"/>
                  <a:gd name="T77" fmla="*/ 98 h 115"/>
                  <a:gd name="T78" fmla="*/ 106 w 221"/>
                  <a:gd name="T79" fmla="*/ 106 h 115"/>
                  <a:gd name="T80" fmla="*/ 119 w 221"/>
                  <a:gd name="T81" fmla="*/ 114 h 115"/>
                  <a:gd name="T82" fmla="*/ 144 w 221"/>
                  <a:gd name="T83" fmla="*/ 115 h 115"/>
                  <a:gd name="T84" fmla="*/ 159 w 221"/>
                  <a:gd name="T85" fmla="*/ 106 h 115"/>
                  <a:gd name="T86" fmla="*/ 171 w 221"/>
                  <a:gd name="T87" fmla="*/ 105 h 115"/>
                  <a:gd name="T88" fmla="*/ 184 w 221"/>
                  <a:gd name="T89" fmla="*/ 104 h 115"/>
                  <a:gd name="T90" fmla="*/ 196 w 221"/>
                  <a:gd name="T91" fmla="*/ 99 h 115"/>
                  <a:gd name="T92" fmla="*/ 199 w 221"/>
                  <a:gd name="T93" fmla="*/ 85 h 115"/>
                  <a:gd name="T94" fmla="*/ 202 w 221"/>
                  <a:gd name="T95" fmla="*/ 76 h 115"/>
                  <a:gd name="T96" fmla="*/ 206 w 221"/>
                  <a:gd name="T97" fmla="*/ 65 h 115"/>
                  <a:gd name="T98" fmla="*/ 213 w 221"/>
                  <a:gd name="T99" fmla="*/ 61 h 115"/>
                  <a:gd name="T100" fmla="*/ 220 w 221"/>
                  <a:gd name="T101" fmla="*/ 55 h 115"/>
                  <a:gd name="T102" fmla="*/ 220 w 221"/>
                  <a:gd name="T103" fmla="*/ 41 h 115"/>
                  <a:gd name="T104" fmla="*/ 213 w 221"/>
                  <a:gd name="T105" fmla="*/ 34 h 115"/>
                  <a:gd name="T106" fmla="*/ 214 w 221"/>
                  <a:gd name="T107" fmla="*/ 2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1" h="115">
                    <a:moveTo>
                      <a:pt x="216" y="18"/>
                    </a:moveTo>
                    <a:cubicBezTo>
                      <a:pt x="214" y="17"/>
                      <a:pt x="213" y="16"/>
                      <a:pt x="210" y="14"/>
                    </a:cubicBezTo>
                    <a:cubicBezTo>
                      <a:pt x="210" y="14"/>
                      <a:pt x="209" y="14"/>
                      <a:pt x="209" y="13"/>
                    </a:cubicBezTo>
                    <a:cubicBezTo>
                      <a:pt x="208" y="13"/>
                      <a:pt x="207" y="13"/>
                      <a:pt x="206" y="13"/>
                    </a:cubicBezTo>
                    <a:cubicBezTo>
                      <a:pt x="203" y="13"/>
                      <a:pt x="202" y="13"/>
                      <a:pt x="200" y="13"/>
                    </a:cubicBezTo>
                    <a:cubicBezTo>
                      <a:pt x="196" y="13"/>
                      <a:pt x="193" y="13"/>
                      <a:pt x="189" y="13"/>
                    </a:cubicBezTo>
                    <a:cubicBezTo>
                      <a:pt x="187" y="13"/>
                      <a:pt x="185" y="11"/>
                      <a:pt x="183" y="10"/>
                    </a:cubicBezTo>
                    <a:cubicBezTo>
                      <a:pt x="183" y="9"/>
                      <a:pt x="182" y="9"/>
                      <a:pt x="182" y="9"/>
                    </a:cubicBezTo>
                    <a:cubicBezTo>
                      <a:pt x="181" y="8"/>
                      <a:pt x="180" y="8"/>
                      <a:pt x="179" y="7"/>
                    </a:cubicBezTo>
                    <a:cubicBezTo>
                      <a:pt x="178" y="6"/>
                      <a:pt x="176" y="6"/>
                      <a:pt x="175" y="5"/>
                    </a:cubicBezTo>
                    <a:cubicBezTo>
                      <a:pt x="175" y="5"/>
                      <a:pt x="175" y="5"/>
                      <a:pt x="174" y="4"/>
                    </a:cubicBezTo>
                    <a:cubicBezTo>
                      <a:pt x="173" y="4"/>
                      <a:pt x="172" y="3"/>
                      <a:pt x="171" y="2"/>
                    </a:cubicBezTo>
                    <a:cubicBezTo>
                      <a:pt x="170" y="2"/>
                      <a:pt x="169" y="2"/>
                      <a:pt x="169" y="1"/>
                    </a:cubicBezTo>
                    <a:cubicBezTo>
                      <a:pt x="168" y="1"/>
                      <a:pt x="168" y="1"/>
                      <a:pt x="168" y="1"/>
                    </a:cubicBezTo>
                    <a:cubicBezTo>
                      <a:pt x="168" y="1"/>
                      <a:pt x="168" y="0"/>
                      <a:pt x="167" y="0"/>
                    </a:cubicBezTo>
                    <a:cubicBezTo>
                      <a:pt x="167" y="0"/>
                      <a:pt x="166" y="1"/>
                      <a:pt x="165" y="1"/>
                    </a:cubicBezTo>
                    <a:cubicBezTo>
                      <a:pt x="164" y="1"/>
                      <a:pt x="163" y="1"/>
                      <a:pt x="162" y="1"/>
                    </a:cubicBezTo>
                    <a:cubicBezTo>
                      <a:pt x="161" y="1"/>
                      <a:pt x="160" y="2"/>
                      <a:pt x="160" y="4"/>
                    </a:cubicBezTo>
                    <a:cubicBezTo>
                      <a:pt x="160" y="5"/>
                      <a:pt x="159" y="5"/>
                      <a:pt x="159" y="6"/>
                    </a:cubicBezTo>
                    <a:cubicBezTo>
                      <a:pt x="158" y="7"/>
                      <a:pt x="157" y="8"/>
                      <a:pt x="156" y="8"/>
                    </a:cubicBezTo>
                    <a:cubicBezTo>
                      <a:pt x="156" y="8"/>
                      <a:pt x="155" y="9"/>
                      <a:pt x="154" y="9"/>
                    </a:cubicBezTo>
                    <a:cubicBezTo>
                      <a:pt x="154" y="9"/>
                      <a:pt x="153" y="9"/>
                      <a:pt x="152" y="10"/>
                    </a:cubicBezTo>
                    <a:cubicBezTo>
                      <a:pt x="149" y="11"/>
                      <a:pt x="148" y="12"/>
                      <a:pt x="145" y="14"/>
                    </a:cubicBezTo>
                    <a:cubicBezTo>
                      <a:pt x="143" y="14"/>
                      <a:pt x="143" y="15"/>
                      <a:pt x="141" y="16"/>
                    </a:cubicBezTo>
                    <a:cubicBezTo>
                      <a:pt x="140" y="16"/>
                      <a:pt x="139" y="16"/>
                      <a:pt x="138" y="17"/>
                    </a:cubicBezTo>
                    <a:cubicBezTo>
                      <a:pt x="138" y="17"/>
                      <a:pt x="138" y="18"/>
                      <a:pt x="137" y="18"/>
                    </a:cubicBezTo>
                    <a:cubicBezTo>
                      <a:pt x="137" y="18"/>
                      <a:pt x="137" y="17"/>
                      <a:pt x="137" y="17"/>
                    </a:cubicBezTo>
                    <a:cubicBezTo>
                      <a:pt x="136" y="17"/>
                      <a:pt x="136" y="17"/>
                      <a:pt x="136" y="16"/>
                    </a:cubicBezTo>
                    <a:cubicBezTo>
                      <a:pt x="134" y="15"/>
                      <a:pt x="134" y="15"/>
                      <a:pt x="133" y="14"/>
                    </a:cubicBezTo>
                    <a:cubicBezTo>
                      <a:pt x="131" y="12"/>
                      <a:pt x="131" y="11"/>
                      <a:pt x="129" y="9"/>
                    </a:cubicBezTo>
                    <a:cubicBezTo>
                      <a:pt x="128" y="10"/>
                      <a:pt x="128" y="11"/>
                      <a:pt x="127" y="13"/>
                    </a:cubicBezTo>
                    <a:cubicBezTo>
                      <a:pt x="127" y="13"/>
                      <a:pt x="127" y="13"/>
                      <a:pt x="126" y="14"/>
                    </a:cubicBezTo>
                    <a:cubicBezTo>
                      <a:pt x="126" y="15"/>
                      <a:pt x="126" y="15"/>
                      <a:pt x="125" y="17"/>
                    </a:cubicBezTo>
                    <a:cubicBezTo>
                      <a:pt x="125" y="18"/>
                      <a:pt x="125" y="19"/>
                      <a:pt x="124" y="20"/>
                    </a:cubicBezTo>
                    <a:cubicBezTo>
                      <a:pt x="123" y="21"/>
                      <a:pt x="123" y="21"/>
                      <a:pt x="122" y="21"/>
                    </a:cubicBezTo>
                    <a:cubicBezTo>
                      <a:pt x="121" y="21"/>
                      <a:pt x="120" y="21"/>
                      <a:pt x="119" y="21"/>
                    </a:cubicBezTo>
                    <a:cubicBezTo>
                      <a:pt x="118" y="21"/>
                      <a:pt x="118" y="21"/>
                      <a:pt x="117" y="21"/>
                    </a:cubicBezTo>
                    <a:cubicBezTo>
                      <a:pt x="117" y="21"/>
                      <a:pt x="116" y="22"/>
                      <a:pt x="116" y="23"/>
                    </a:cubicBezTo>
                    <a:cubicBezTo>
                      <a:pt x="115" y="23"/>
                      <a:pt x="115" y="24"/>
                      <a:pt x="115" y="25"/>
                    </a:cubicBezTo>
                    <a:cubicBezTo>
                      <a:pt x="115" y="27"/>
                      <a:pt x="114" y="28"/>
                      <a:pt x="113" y="30"/>
                    </a:cubicBezTo>
                    <a:cubicBezTo>
                      <a:pt x="112" y="30"/>
                      <a:pt x="112" y="30"/>
                      <a:pt x="111" y="31"/>
                    </a:cubicBezTo>
                    <a:cubicBezTo>
                      <a:pt x="110" y="32"/>
                      <a:pt x="109" y="32"/>
                      <a:pt x="108" y="32"/>
                    </a:cubicBezTo>
                    <a:cubicBezTo>
                      <a:pt x="107" y="32"/>
                      <a:pt x="107" y="32"/>
                      <a:pt x="106" y="32"/>
                    </a:cubicBezTo>
                    <a:cubicBezTo>
                      <a:pt x="105" y="32"/>
                      <a:pt x="105" y="33"/>
                      <a:pt x="105" y="33"/>
                    </a:cubicBezTo>
                    <a:cubicBezTo>
                      <a:pt x="102" y="33"/>
                      <a:pt x="100" y="33"/>
                      <a:pt x="97" y="33"/>
                    </a:cubicBezTo>
                    <a:cubicBezTo>
                      <a:pt x="97" y="33"/>
                      <a:pt x="97" y="32"/>
                      <a:pt x="96" y="32"/>
                    </a:cubicBezTo>
                    <a:cubicBezTo>
                      <a:pt x="95" y="32"/>
                      <a:pt x="95" y="32"/>
                      <a:pt x="94" y="32"/>
                    </a:cubicBezTo>
                    <a:cubicBezTo>
                      <a:pt x="94" y="32"/>
                      <a:pt x="94" y="32"/>
                      <a:pt x="94" y="33"/>
                    </a:cubicBezTo>
                    <a:cubicBezTo>
                      <a:pt x="94" y="34"/>
                      <a:pt x="94" y="34"/>
                      <a:pt x="94" y="36"/>
                    </a:cubicBezTo>
                    <a:cubicBezTo>
                      <a:pt x="95" y="39"/>
                      <a:pt x="95" y="41"/>
                      <a:pt x="97" y="45"/>
                    </a:cubicBezTo>
                    <a:cubicBezTo>
                      <a:pt x="97" y="47"/>
                      <a:pt x="97" y="49"/>
                      <a:pt x="98" y="51"/>
                    </a:cubicBezTo>
                    <a:cubicBezTo>
                      <a:pt x="99" y="53"/>
                      <a:pt x="99" y="54"/>
                      <a:pt x="100" y="56"/>
                    </a:cubicBezTo>
                    <a:cubicBezTo>
                      <a:pt x="100" y="57"/>
                      <a:pt x="101" y="57"/>
                      <a:pt x="101" y="58"/>
                    </a:cubicBezTo>
                    <a:cubicBezTo>
                      <a:pt x="101" y="59"/>
                      <a:pt x="100" y="59"/>
                      <a:pt x="99" y="59"/>
                    </a:cubicBezTo>
                    <a:cubicBezTo>
                      <a:pt x="99" y="60"/>
                      <a:pt x="99" y="60"/>
                      <a:pt x="98" y="60"/>
                    </a:cubicBezTo>
                    <a:cubicBezTo>
                      <a:pt x="97" y="61"/>
                      <a:pt x="97" y="62"/>
                      <a:pt x="95" y="62"/>
                    </a:cubicBezTo>
                    <a:cubicBezTo>
                      <a:pt x="94" y="62"/>
                      <a:pt x="94" y="61"/>
                      <a:pt x="94" y="61"/>
                    </a:cubicBezTo>
                    <a:cubicBezTo>
                      <a:pt x="94" y="60"/>
                      <a:pt x="93" y="60"/>
                      <a:pt x="93" y="60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0" y="57"/>
                      <a:pt x="89" y="56"/>
                      <a:pt x="87" y="55"/>
                    </a:cubicBezTo>
                    <a:cubicBezTo>
                      <a:pt x="86" y="55"/>
                      <a:pt x="85" y="55"/>
                      <a:pt x="83" y="54"/>
                    </a:cubicBezTo>
                    <a:cubicBezTo>
                      <a:pt x="83" y="54"/>
                      <a:pt x="83" y="54"/>
                      <a:pt x="82" y="54"/>
                    </a:cubicBezTo>
                    <a:cubicBezTo>
                      <a:pt x="81" y="53"/>
                      <a:pt x="80" y="53"/>
                      <a:pt x="79" y="52"/>
                    </a:cubicBezTo>
                    <a:cubicBezTo>
                      <a:pt x="78" y="52"/>
                      <a:pt x="78" y="51"/>
                      <a:pt x="77" y="51"/>
                    </a:cubicBezTo>
                    <a:cubicBezTo>
                      <a:pt x="76" y="51"/>
                      <a:pt x="76" y="52"/>
                      <a:pt x="76" y="53"/>
                    </a:cubicBezTo>
                    <a:cubicBezTo>
                      <a:pt x="76" y="54"/>
                      <a:pt x="75" y="54"/>
                      <a:pt x="75" y="55"/>
                    </a:cubicBezTo>
                    <a:cubicBezTo>
                      <a:pt x="74" y="56"/>
                      <a:pt x="74" y="57"/>
                      <a:pt x="73" y="57"/>
                    </a:cubicBezTo>
                    <a:cubicBezTo>
                      <a:pt x="73" y="58"/>
                      <a:pt x="72" y="58"/>
                      <a:pt x="71" y="58"/>
                    </a:cubicBezTo>
                    <a:cubicBezTo>
                      <a:pt x="70" y="58"/>
                      <a:pt x="69" y="58"/>
                      <a:pt x="68" y="58"/>
                    </a:cubicBezTo>
                    <a:cubicBezTo>
                      <a:pt x="64" y="58"/>
                      <a:pt x="62" y="59"/>
                      <a:pt x="58" y="59"/>
                    </a:cubicBezTo>
                    <a:cubicBezTo>
                      <a:pt x="57" y="59"/>
                      <a:pt x="57" y="59"/>
                      <a:pt x="56" y="58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2" y="58"/>
                      <a:pt x="51" y="59"/>
                      <a:pt x="49" y="60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7" y="61"/>
                      <a:pt x="47" y="61"/>
                      <a:pt x="46" y="61"/>
                    </a:cubicBezTo>
                    <a:cubicBezTo>
                      <a:pt x="46" y="61"/>
                      <a:pt x="45" y="61"/>
                      <a:pt x="45" y="61"/>
                    </a:cubicBezTo>
                    <a:cubicBezTo>
                      <a:pt x="44" y="61"/>
                      <a:pt x="43" y="61"/>
                      <a:pt x="43" y="61"/>
                    </a:cubicBezTo>
                    <a:cubicBezTo>
                      <a:pt x="41" y="61"/>
                      <a:pt x="41" y="61"/>
                      <a:pt x="40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40" y="61"/>
                      <a:pt x="40" y="61"/>
                      <a:pt x="40" y="61"/>
                    </a:cubicBezTo>
                    <a:cubicBezTo>
                      <a:pt x="39" y="60"/>
                      <a:pt x="38" y="61"/>
                      <a:pt x="37" y="60"/>
                    </a:cubicBezTo>
                    <a:cubicBezTo>
                      <a:pt x="36" y="59"/>
                      <a:pt x="36" y="58"/>
                      <a:pt x="35" y="58"/>
                    </a:cubicBezTo>
                    <a:cubicBezTo>
                      <a:pt x="35" y="57"/>
                      <a:pt x="34" y="56"/>
                      <a:pt x="34" y="55"/>
                    </a:cubicBezTo>
                    <a:cubicBezTo>
                      <a:pt x="34" y="55"/>
                      <a:pt x="33" y="55"/>
                      <a:pt x="33" y="54"/>
                    </a:cubicBezTo>
                    <a:cubicBezTo>
                      <a:pt x="32" y="54"/>
                      <a:pt x="32" y="53"/>
                      <a:pt x="31" y="53"/>
                    </a:cubicBezTo>
                    <a:cubicBezTo>
                      <a:pt x="31" y="53"/>
                      <a:pt x="30" y="54"/>
                      <a:pt x="30" y="54"/>
                    </a:cubicBezTo>
                    <a:cubicBezTo>
                      <a:pt x="28" y="54"/>
                      <a:pt x="28" y="54"/>
                      <a:pt x="27" y="54"/>
                    </a:cubicBezTo>
                    <a:cubicBezTo>
                      <a:pt x="26" y="54"/>
                      <a:pt x="26" y="54"/>
                      <a:pt x="25" y="54"/>
                    </a:cubicBezTo>
                    <a:cubicBezTo>
                      <a:pt x="25" y="54"/>
                      <a:pt x="25" y="54"/>
                      <a:pt x="25" y="54"/>
                    </a:cubicBezTo>
                    <a:cubicBezTo>
                      <a:pt x="24" y="54"/>
                      <a:pt x="24" y="54"/>
                      <a:pt x="24" y="55"/>
                    </a:cubicBezTo>
                    <a:cubicBezTo>
                      <a:pt x="24" y="55"/>
                      <a:pt x="24" y="56"/>
                      <a:pt x="24" y="56"/>
                    </a:cubicBezTo>
                    <a:cubicBezTo>
                      <a:pt x="24" y="57"/>
                      <a:pt x="24" y="58"/>
                      <a:pt x="23" y="58"/>
                    </a:cubicBezTo>
                    <a:cubicBezTo>
                      <a:pt x="23" y="59"/>
                      <a:pt x="23" y="59"/>
                      <a:pt x="23" y="59"/>
                    </a:cubicBezTo>
                    <a:cubicBezTo>
                      <a:pt x="23" y="60"/>
                      <a:pt x="23" y="61"/>
                      <a:pt x="23" y="61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23" y="63"/>
                      <a:pt x="23" y="63"/>
                      <a:pt x="22" y="64"/>
                    </a:cubicBezTo>
                    <a:cubicBezTo>
                      <a:pt x="22" y="64"/>
                      <a:pt x="21" y="64"/>
                      <a:pt x="21" y="64"/>
                    </a:cubicBezTo>
                    <a:cubicBezTo>
                      <a:pt x="20" y="64"/>
                      <a:pt x="19" y="64"/>
                      <a:pt x="18" y="64"/>
                    </a:cubicBezTo>
                    <a:cubicBezTo>
                      <a:pt x="17" y="64"/>
                      <a:pt x="17" y="64"/>
                      <a:pt x="17" y="63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5" y="62"/>
                      <a:pt x="15" y="61"/>
                      <a:pt x="14" y="60"/>
                    </a:cubicBezTo>
                    <a:cubicBezTo>
                      <a:pt x="14" y="59"/>
                      <a:pt x="13" y="59"/>
                      <a:pt x="13" y="59"/>
                    </a:cubicBezTo>
                    <a:cubicBezTo>
                      <a:pt x="13" y="59"/>
                      <a:pt x="13" y="58"/>
                      <a:pt x="12" y="58"/>
                    </a:cubicBezTo>
                    <a:cubicBezTo>
                      <a:pt x="12" y="58"/>
                      <a:pt x="12" y="58"/>
                      <a:pt x="11" y="58"/>
                    </a:cubicBezTo>
                    <a:cubicBezTo>
                      <a:pt x="11" y="58"/>
                      <a:pt x="11" y="57"/>
                      <a:pt x="10" y="57"/>
                    </a:cubicBezTo>
                    <a:cubicBezTo>
                      <a:pt x="10" y="56"/>
                      <a:pt x="10" y="56"/>
                      <a:pt x="9" y="55"/>
                    </a:cubicBezTo>
                    <a:cubicBezTo>
                      <a:pt x="9" y="55"/>
                      <a:pt x="9" y="55"/>
                      <a:pt x="9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7" y="53"/>
                      <a:pt x="7" y="53"/>
                      <a:pt x="6" y="53"/>
                    </a:cubicBezTo>
                    <a:cubicBezTo>
                      <a:pt x="6" y="52"/>
                      <a:pt x="6" y="52"/>
                      <a:pt x="5" y="52"/>
                    </a:cubicBezTo>
                    <a:cubicBezTo>
                      <a:pt x="5" y="52"/>
                      <a:pt x="4" y="52"/>
                      <a:pt x="4" y="52"/>
                    </a:cubicBezTo>
                    <a:cubicBezTo>
                      <a:pt x="2" y="52"/>
                      <a:pt x="2" y="53"/>
                      <a:pt x="1" y="53"/>
                    </a:cubicBezTo>
                    <a:cubicBezTo>
                      <a:pt x="1" y="54"/>
                      <a:pt x="0" y="55"/>
                      <a:pt x="0" y="55"/>
                    </a:cubicBezTo>
                    <a:cubicBezTo>
                      <a:pt x="0" y="56"/>
                      <a:pt x="0" y="56"/>
                      <a:pt x="0" y="57"/>
                    </a:cubicBezTo>
                    <a:cubicBezTo>
                      <a:pt x="0" y="57"/>
                      <a:pt x="0" y="57"/>
                      <a:pt x="0" y="58"/>
                    </a:cubicBezTo>
                    <a:cubicBezTo>
                      <a:pt x="0" y="58"/>
                      <a:pt x="0" y="59"/>
                      <a:pt x="0" y="59"/>
                    </a:cubicBezTo>
                    <a:cubicBezTo>
                      <a:pt x="0" y="60"/>
                      <a:pt x="0" y="60"/>
                      <a:pt x="0" y="61"/>
                    </a:cubicBezTo>
                    <a:cubicBezTo>
                      <a:pt x="0" y="61"/>
                      <a:pt x="1" y="61"/>
                      <a:pt x="1" y="62"/>
                    </a:cubicBezTo>
                    <a:cubicBezTo>
                      <a:pt x="2" y="63"/>
                      <a:pt x="2" y="63"/>
                      <a:pt x="2" y="63"/>
                    </a:cubicBezTo>
                    <a:cubicBezTo>
                      <a:pt x="2" y="64"/>
                      <a:pt x="3" y="65"/>
                      <a:pt x="3" y="66"/>
                    </a:cubicBezTo>
                    <a:cubicBezTo>
                      <a:pt x="3" y="66"/>
                      <a:pt x="3" y="67"/>
                      <a:pt x="3" y="67"/>
                    </a:cubicBezTo>
                    <a:cubicBezTo>
                      <a:pt x="3" y="69"/>
                      <a:pt x="3" y="69"/>
                      <a:pt x="3" y="71"/>
                    </a:cubicBezTo>
                    <a:cubicBezTo>
                      <a:pt x="3" y="72"/>
                      <a:pt x="3" y="72"/>
                      <a:pt x="3" y="73"/>
                    </a:cubicBezTo>
                    <a:cubicBezTo>
                      <a:pt x="3" y="73"/>
                      <a:pt x="3" y="73"/>
                      <a:pt x="3" y="74"/>
                    </a:cubicBezTo>
                    <a:cubicBezTo>
                      <a:pt x="2" y="74"/>
                      <a:pt x="2" y="75"/>
                      <a:pt x="1" y="75"/>
                    </a:cubicBezTo>
                    <a:cubicBezTo>
                      <a:pt x="1" y="75"/>
                      <a:pt x="1" y="76"/>
                      <a:pt x="2" y="76"/>
                    </a:cubicBezTo>
                    <a:cubicBezTo>
                      <a:pt x="2" y="76"/>
                      <a:pt x="3" y="76"/>
                      <a:pt x="3" y="76"/>
                    </a:cubicBezTo>
                    <a:cubicBezTo>
                      <a:pt x="4" y="77"/>
                      <a:pt x="5" y="77"/>
                      <a:pt x="5" y="78"/>
                    </a:cubicBezTo>
                    <a:cubicBezTo>
                      <a:pt x="6" y="79"/>
                      <a:pt x="7" y="80"/>
                      <a:pt x="8" y="81"/>
                    </a:cubicBezTo>
                    <a:cubicBezTo>
                      <a:pt x="8" y="81"/>
                      <a:pt x="8" y="82"/>
                      <a:pt x="9" y="82"/>
                    </a:cubicBezTo>
                    <a:cubicBezTo>
                      <a:pt x="9" y="83"/>
                      <a:pt x="9" y="83"/>
                      <a:pt x="9" y="83"/>
                    </a:cubicBezTo>
                    <a:cubicBezTo>
                      <a:pt x="10" y="83"/>
                      <a:pt x="10" y="82"/>
                      <a:pt x="11" y="82"/>
                    </a:cubicBezTo>
                    <a:cubicBezTo>
                      <a:pt x="11" y="82"/>
                      <a:pt x="11" y="82"/>
                      <a:pt x="12" y="81"/>
                    </a:cubicBezTo>
                    <a:cubicBezTo>
                      <a:pt x="12" y="81"/>
                      <a:pt x="13" y="80"/>
                      <a:pt x="14" y="80"/>
                    </a:cubicBezTo>
                    <a:cubicBezTo>
                      <a:pt x="20" y="83"/>
                      <a:pt x="20" y="83"/>
                      <a:pt x="20" y="83"/>
                    </a:cubicBezTo>
                    <a:cubicBezTo>
                      <a:pt x="21" y="83"/>
                      <a:pt x="22" y="82"/>
                      <a:pt x="23" y="82"/>
                    </a:cubicBezTo>
                    <a:cubicBezTo>
                      <a:pt x="26" y="81"/>
                      <a:pt x="27" y="80"/>
                      <a:pt x="29" y="77"/>
                    </a:cubicBezTo>
                    <a:cubicBezTo>
                      <a:pt x="29" y="78"/>
                      <a:pt x="30" y="79"/>
                      <a:pt x="31" y="80"/>
                    </a:cubicBezTo>
                    <a:cubicBezTo>
                      <a:pt x="32" y="80"/>
                      <a:pt x="33" y="81"/>
                      <a:pt x="34" y="81"/>
                    </a:cubicBezTo>
                    <a:cubicBezTo>
                      <a:pt x="35" y="81"/>
                      <a:pt x="35" y="81"/>
                      <a:pt x="36" y="80"/>
                    </a:cubicBezTo>
                    <a:cubicBezTo>
                      <a:pt x="38" y="80"/>
                      <a:pt x="38" y="80"/>
                      <a:pt x="40" y="79"/>
                    </a:cubicBezTo>
                    <a:cubicBezTo>
                      <a:pt x="41" y="78"/>
                      <a:pt x="43" y="78"/>
                      <a:pt x="44" y="77"/>
                    </a:cubicBezTo>
                    <a:cubicBezTo>
                      <a:pt x="45" y="77"/>
                      <a:pt x="46" y="76"/>
                      <a:pt x="47" y="76"/>
                    </a:cubicBezTo>
                    <a:cubicBezTo>
                      <a:pt x="49" y="76"/>
                      <a:pt x="50" y="77"/>
                      <a:pt x="52" y="77"/>
                    </a:cubicBezTo>
                    <a:cubicBezTo>
                      <a:pt x="55" y="77"/>
                      <a:pt x="56" y="78"/>
                      <a:pt x="58" y="78"/>
                    </a:cubicBezTo>
                    <a:cubicBezTo>
                      <a:pt x="60" y="78"/>
                      <a:pt x="61" y="78"/>
                      <a:pt x="63" y="78"/>
                    </a:cubicBezTo>
                    <a:cubicBezTo>
                      <a:pt x="65" y="79"/>
                      <a:pt x="67" y="79"/>
                      <a:pt x="69" y="79"/>
                    </a:cubicBezTo>
                    <a:cubicBezTo>
                      <a:pt x="70" y="79"/>
                      <a:pt x="71" y="79"/>
                      <a:pt x="73" y="78"/>
                    </a:cubicBezTo>
                    <a:cubicBezTo>
                      <a:pt x="73" y="78"/>
                      <a:pt x="74" y="78"/>
                      <a:pt x="74" y="78"/>
                    </a:cubicBezTo>
                    <a:cubicBezTo>
                      <a:pt x="75" y="78"/>
                      <a:pt x="75" y="78"/>
                      <a:pt x="75" y="78"/>
                    </a:cubicBezTo>
                    <a:cubicBezTo>
                      <a:pt x="75" y="80"/>
                      <a:pt x="75" y="80"/>
                      <a:pt x="75" y="82"/>
                    </a:cubicBezTo>
                    <a:cubicBezTo>
                      <a:pt x="75" y="82"/>
                      <a:pt x="75" y="83"/>
                      <a:pt x="75" y="83"/>
                    </a:cubicBezTo>
                    <a:cubicBezTo>
                      <a:pt x="75" y="85"/>
                      <a:pt x="75" y="86"/>
                      <a:pt x="76" y="88"/>
                    </a:cubicBezTo>
                    <a:cubicBezTo>
                      <a:pt x="76" y="90"/>
                      <a:pt x="77" y="90"/>
                      <a:pt x="78" y="92"/>
                    </a:cubicBezTo>
                    <a:cubicBezTo>
                      <a:pt x="79" y="93"/>
                      <a:pt x="79" y="94"/>
                      <a:pt x="81" y="96"/>
                    </a:cubicBezTo>
                    <a:cubicBezTo>
                      <a:pt x="84" y="97"/>
                      <a:pt x="86" y="98"/>
                      <a:pt x="89" y="98"/>
                    </a:cubicBezTo>
                    <a:cubicBezTo>
                      <a:pt x="91" y="98"/>
                      <a:pt x="92" y="98"/>
                      <a:pt x="93" y="99"/>
                    </a:cubicBezTo>
                    <a:cubicBezTo>
                      <a:pt x="96" y="100"/>
                      <a:pt x="97" y="101"/>
                      <a:pt x="100" y="102"/>
                    </a:cubicBezTo>
                    <a:cubicBezTo>
                      <a:pt x="101" y="103"/>
                      <a:pt x="101" y="104"/>
                      <a:pt x="102" y="104"/>
                    </a:cubicBezTo>
                    <a:cubicBezTo>
                      <a:pt x="104" y="105"/>
                      <a:pt x="105" y="106"/>
                      <a:pt x="106" y="106"/>
                    </a:cubicBezTo>
                    <a:cubicBezTo>
                      <a:pt x="108" y="107"/>
                      <a:pt x="109" y="107"/>
                      <a:pt x="110" y="108"/>
                    </a:cubicBezTo>
                    <a:cubicBezTo>
                      <a:pt x="112" y="109"/>
                      <a:pt x="113" y="109"/>
                      <a:pt x="114" y="109"/>
                    </a:cubicBezTo>
                    <a:cubicBezTo>
                      <a:pt x="115" y="110"/>
                      <a:pt x="115" y="110"/>
                      <a:pt x="116" y="111"/>
                    </a:cubicBezTo>
                    <a:cubicBezTo>
                      <a:pt x="117" y="112"/>
                      <a:pt x="118" y="113"/>
                      <a:pt x="119" y="114"/>
                    </a:cubicBezTo>
                    <a:cubicBezTo>
                      <a:pt x="121" y="114"/>
                      <a:pt x="122" y="114"/>
                      <a:pt x="124" y="114"/>
                    </a:cubicBezTo>
                    <a:cubicBezTo>
                      <a:pt x="130" y="114"/>
                      <a:pt x="134" y="115"/>
                      <a:pt x="140" y="115"/>
                    </a:cubicBezTo>
                    <a:cubicBezTo>
                      <a:pt x="141" y="115"/>
                      <a:pt x="142" y="115"/>
                      <a:pt x="143" y="115"/>
                    </a:cubicBezTo>
                    <a:cubicBezTo>
                      <a:pt x="143" y="115"/>
                      <a:pt x="143" y="115"/>
                      <a:pt x="144" y="115"/>
                    </a:cubicBezTo>
                    <a:cubicBezTo>
                      <a:pt x="145" y="114"/>
                      <a:pt x="146" y="114"/>
                      <a:pt x="147" y="113"/>
                    </a:cubicBezTo>
                    <a:cubicBezTo>
                      <a:pt x="148" y="112"/>
                      <a:pt x="149" y="111"/>
                      <a:pt x="151" y="110"/>
                    </a:cubicBezTo>
                    <a:cubicBezTo>
                      <a:pt x="152" y="109"/>
                      <a:pt x="153" y="108"/>
                      <a:pt x="154" y="108"/>
                    </a:cubicBezTo>
                    <a:cubicBezTo>
                      <a:pt x="156" y="107"/>
                      <a:pt x="157" y="106"/>
                      <a:pt x="159" y="106"/>
                    </a:cubicBezTo>
                    <a:cubicBezTo>
                      <a:pt x="161" y="106"/>
                      <a:pt x="162" y="107"/>
                      <a:pt x="163" y="107"/>
                    </a:cubicBezTo>
                    <a:cubicBezTo>
                      <a:pt x="164" y="107"/>
                      <a:pt x="164" y="107"/>
                      <a:pt x="165" y="106"/>
                    </a:cubicBezTo>
                    <a:cubicBezTo>
                      <a:pt x="166" y="106"/>
                      <a:pt x="166" y="106"/>
                      <a:pt x="167" y="106"/>
                    </a:cubicBezTo>
                    <a:cubicBezTo>
                      <a:pt x="168" y="106"/>
                      <a:pt x="169" y="105"/>
                      <a:pt x="171" y="105"/>
                    </a:cubicBezTo>
                    <a:cubicBezTo>
                      <a:pt x="174" y="104"/>
                      <a:pt x="175" y="104"/>
                      <a:pt x="178" y="104"/>
                    </a:cubicBezTo>
                    <a:cubicBezTo>
                      <a:pt x="179" y="104"/>
                      <a:pt x="179" y="104"/>
                      <a:pt x="180" y="104"/>
                    </a:cubicBezTo>
                    <a:cubicBezTo>
                      <a:pt x="180" y="104"/>
                      <a:pt x="181" y="104"/>
                      <a:pt x="181" y="104"/>
                    </a:cubicBezTo>
                    <a:cubicBezTo>
                      <a:pt x="182" y="104"/>
                      <a:pt x="183" y="104"/>
                      <a:pt x="184" y="104"/>
                    </a:cubicBezTo>
                    <a:cubicBezTo>
                      <a:pt x="184" y="103"/>
                      <a:pt x="184" y="103"/>
                      <a:pt x="185" y="102"/>
                    </a:cubicBezTo>
                    <a:cubicBezTo>
                      <a:pt x="186" y="102"/>
                      <a:pt x="187" y="101"/>
                      <a:pt x="188" y="101"/>
                    </a:cubicBezTo>
                    <a:cubicBezTo>
                      <a:pt x="189" y="100"/>
                      <a:pt x="190" y="100"/>
                      <a:pt x="191" y="100"/>
                    </a:cubicBezTo>
                    <a:cubicBezTo>
                      <a:pt x="193" y="99"/>
                      <a:pt x="194" y="99"/>
                      <a:pt x="196" y="99"/>
                    </a:cubicBezTo>
                    <a:cubicBezTo>
                      <a:pt x="196" y="97"/>
                      <a:pt x="196" y="96"/>
                      <a:pt x="197" y="95"/>
                    </a:cubicBezTo>
                    <a:cubicBezTo>
                      <a:pt x="198" y="93"/>
                      <a:pt x="198" y="92"/>
                      <a:pt x="198" y="91"/>
                    </a:cubicBezTo>
                    <a:cubicBezTo>
                      <a:pt x="198" y="89"/>
                      <a:pt x="198" y="88"/>
                      <a:pt x="198" y="87"/>
                    </a:cubicBezTo>
                    <a:cubicBezTo>
                      <a:pt x="198" y="86"/>
                      <a:pt x="199" y="86"/>
                      <a:pt x="199" y="85"/>
                    </a:cubicBezTo>
                    <a:cubicBezTo>
                      <a:pt x="200" y="83"/>
                      <a:pt x="200" y="83"/>
                      <a:pt x="200" y="82"/>
                    </a:cubicBezTo>
                    <a:cubicBezTo>
                      <a:pt x="201" y="80"/>
                      <a:pt x="201" y="80"/>
                      <a:pt x="201" y="79"/>
                    </a:cubicBezTo>
                    <a:cubicBezTo>
                      <a:pt x="201" y="78"/>
                      <a:pt x="202" y="78"/>
                      <a:pt x="202" y="78"/>
                    </a:cubicBezTo>
                    <a:cubicBezTo>
                      <a:pt x="202" y="77"/>
                      <a:pt x="201" y="77"/>
                      <a:pt x="202" y="76"/>
                    </a:cubicBezTo>
                    <a:cubicBezTo>
                      <a:pt x="202" y="76"/>
                      <a:pt x="202" y="75"/>
                      <a:pt x="203" y="75"/>
                    </a:cubicBezTo>
                    <a:cubicBezTo>
                      <a:pt x="204" y="74"/>
                      <a:pt x="204" y="73"/>
                      <a:pt x="205" y="72"/>
                    </a:cubicBezTo>
                    <a:cubicBezTo>
                      <a:pt x="205" y="70"/>
                      <a:pt x="206" y="69"/>
                      <a:pt x="206" y="67"/>
                    </a:cubicBezTo>
                    <a:cubicBezTo>
                      <a:pt x="206" y="66"/>
                      <a:pt x="206" y="66"/>
                      <a:pt x="206" y="65"/>
                    </a:cubicBezTo>
                    <a:cubicBezTo>
                      <a:pt x="206" y="64"/>
                      <a:pt x="206" y="63"/>
                      <a:pt x="207" y="63"/>
                    </a:cubicBezTo>
                    <a:cubicBezTo>
                      <a:pt x="207" y="63"/>
                      <a:pt x="208" y="63"/>
                      <a:pt x="208" y="63"/>
                    </a:cubicBezTo>
                    <a:cubicBezTo>
                      <a:pt x="209" y="63"/>
                      <a:pt x="210" y="62"/>
                      <a:pt x="211" y="62"/>
                    </a:cubicBezTo>
                    <a:cubicBezTo>
                      <a:pt x="212" y="62"/>
                      <a:pt x="212" y="61"/>
                      <a:pt x="213" y="61"/>
                    </a:cubicBezTo>
                    <a:cubicBezTo>
                      <a:pt x="214" y="60"/>
                      <a:pt x="215" y="60"/>
                      <a:pt x="217" y="59"/>
                    </a:cubicBezTo>
                    <a:cubicBezTo>
                      <a:pt x="218" y="59"/>
                      <a:pt x="219" y="58"/>
                      <a:pt x="219" y="57"/>
                    </a:cubicBezTo>
                    <a:cubicBezTo>
                      <a:pt x="220" y="57"/>
                      <a:pt x="220" y="57"/>
                      <a:pt x="220" y="57"/>
                    </a:cubicBezTo>
                    <a:cubicBezTo>
                      <a:pt x="220" y="56"/>
                      <a:pt x="220" y="56"/>
                      <a:pt x="220" y="55"/>
                    </a:cubicBezTo>
                    <a:cubicBezTo>
                      <a:pt x="221" y="50"/>
                      <a:pt x="221" y="50"/>
                      <a:pt x="221" y="50"/>
                    </a:cubicBezTo>
                    <a:cubicBezTo>
                      <a:pt x="221" y="48"/>
                      <a:pt x="221" y="48"/>
                      <a:pt x="221" y="47"/>
                    </a:cubicBezTo>
                    <a:cubicBezTo>
                      <a:pt x="221" y="45"/>
                      <a:pt x="221" y="44"/>
                      <a:pt x="220" y="43"/>
                    </a:cubicBezTo>
                    <a:cubicBezTo>
                      <a:pt x="220" y="42"/>
                      <a:pt x="220" y="41"/>
                      <a:pt x="220" y="41"/>
                    </a:cubicBezTo>
                    <a:cubicBezTo>
                      <a:pt x="219" y="40"/>
                      <a:pt x="218" y="39"/>
                      <a:pt x="217" y="39"/>
                    </a:cubicBezTo>
                    <a:cubicBezTo>
                      <a:pt x="216" y="38"/>
                      <a:pt x="216" y="38"/>
                      <a:pt x="215" y="38"/>
                    </a:cubicBezTo>
                    <a:cubicBezTo>
                      <a:pt x="215" y="37"/>
                      <a:pt x="215" y="36"/>
                      <a:pt x="214" y="35"/>
                    </a:cubicBezTo>
                    <a:cubicBezTo>
                      <a:pt x="214" y="35"/>
                      <a:pt x="213" y="34"/>
                      <a:pt x="213" y="34"/>
                    </a:cubicBezTo>
                    <a:cubicBezTo>
                      <a:pt x="213" y="33"/>
                      <a:pt x="213" y="33"/>
                      <a:pt x="213" y="32"/>
                    </a:cubicBezTo>
                    <a:cubicBezTo>
                      <a:pt x="212" y="32"/>
                      <a:pt x="212" y="31"/>
                      <a:pt x="212" y="31"/>
                    </a:cubicBezTo>
                    <a:cubicBezTo>
                      <a:pt x="212" y="29"/>
                      <a:pt x="213" y="29"/>
                      <a:pt x="213" y="28"/>
                    </a:cubicBezTo>
                    <a:cubicBezTo>
                      <a:pt x="214" y="27"/>
                      <a:pt x="214" y="26"/>
                      <a:pt x="214" y="25"/>
                    </a:cubicBezTo>
                    <a:cubicBezTo>
                      <a:pt x="215" y="24"/>
                      <a:pt x="215" y="23"/>
                      <a:pt x="215" y="22"/>
                    </a:cubicBezTo>
                    <a:cubicBezTo>
                      <a:pt x="216" y="22"/>
                      <a:pt x="216" y="21"/>
                      <a:pt x="216" y="21"/>
                    </a:cubicBezTo>
                    <a:cubicBezTo>
                      <a:pt x="216" y="20"/>
                      <a:pt x="216" y="19"/>
                      <a:pt x="216" y="1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0" name="Freeform 107">
                <a:extLst>
                  <a:ext uri="{FF2B5EF4-FFF2-40B4-BE49-F238E27FC236}">
                    <a16:creationId xmlns:a16="http://schemas.microsoft.com/office/drawing/2014/main" xmlns="" id="{AA09964F-232E-4011-921F-9FE8FB687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9759" y="3629750"/>
                <a:ext cx="141277" cy="257446"/>
              </a:xfrm>
              <a:custGeom>
                <a:avLst/>
                <a:gdLst>
                  <a:gd name="T0" fmla="*/ 53 w 56"/>
                  <a:gd name="T1" fmla="*/ 33 h 102"/>
                  <a:gd name="T2" fmla="*/ 56 w 56"/>
                  <a:gd name="T3" fmla="*/ 36 h 102"/>
                  <a:gd name="T4" fmla="*/ 53 w 56"/>
                  <a:gd name="T5" fmla="*/ 40 h 102"/>
                  <a:gd name="T6" fmla="*/ 48 w 56"/>
                  <a:gd name="T7" fmla="*/ 47 h 102"/>
                  <a:gd name="T8" fmla="*/ 51 w 56"/>
                  <a:gd name="T9" fmla="*/ 55 h 102"/>
                  <a:gd name="T10" fmla="*/ 47 w 56"/>
                  <a:gd name="T11" fmla="*/ 70 h 102"/>
                  <a:gd name="T12" fmla="*/ 46 w 56"/>
                  <a:gd name="T13" fmla="*/ 77 h 102"/>
                  <a:gd name="T14" fmla="*/ 44 w 56"/>
                  <a:gd name="T15" fmla="*/ 87 h 102"/>
                  <a:gd name="T16" fmla="*/ 42 w 56"/>
                  <a:gd name="T17" fmla="*/ 93 h 102"/>
                  <a:gd name="T18" fmla="*/ 40 w 56"/>
                  <a:gd name="T19" fmla="*/ 91 h 102"/>
                  <a:gd name="T20" fmla="*/ 38 w 56"/>
                  <a:gd name="T21" fmla="*/ 89 h 102"/>
                  <a:gd name="T22" fmla="*/ 33 w 56"/>
                  <a:gd name="T23" fmla="*/ 85 h 102"/>
                  <a:gd name="T24" fmla="*/ 30 w 56"/>
                  <a:gd name="T25" fmla="*/ 85 h 102"/>
                  <a:gd name="T26" fmla="*/ 27 w 56"/>
                  <a:gd name="T27" fmla="*/ 83 h 102"/>
                  <a:gd name="T28" fmla="*/ 25 w 56"/>
                  <a:gd name="T29" fmla="*/ 84 h 102"/>
                  <a:gd name="T30" fmla="*/ 26 w 56"/>
                  <a:gd name="T31" fmla="*/ 89 h 102"/>
                  <a:gd name="T32" fmla="*/ 24 w 56"/>
                  <a:gd name="T33" fmla="*/ 92 h 102"/>
                  <a:gd name="T34" fmla="*/ 25 w 56"/>
                  <a:gd name="T35" fmla="*/ 98 h 102"/>
                  <a:gd name="T36" fmla="*/ 19 w 56"/>
                  <a:gd name="T37" fmla="*/ 102 h 102"/>
                  <a:gd name="T38" fmla="*/ 14 w 56"/>
                  <a:gd name="T39" fmla="*/ 100 h 102"/>
                  <a:gd name="T40" fmla="*/ 11 w 56"/>
                  <a:gd name="T41" fmla="*/ 102 h 102"/>
                  <a:gd name="T42" fmla="*/ 12 w 56"/>
                  <a:gd name="T43" fmla="*/ 98 h 102"/>
                  <a:gd name="T44" fmla="*/ 10 w 56"/>
                  <a:gd name="T45" fmla="*/ 93 h 102"/>
                  <a:gd name="T46" fmla="*/ 9 w 56"/>
                  <a:gd name="T47" fmla="*/ 90 h 102"/>
                  <a:gd name="T48" fmla="*/ 1 w 56"/>
                  <a:gd name="T49" fmla="*/ 90 h 102"/>
                  <a:gd name="T50" fmla="*/ 2 w 56"/>
                  <a:gd name="T51" fmla="*/ 86 h 102"/>
                  <a:gd name="T52" fmla="*/ 8 w 56"/>
                  <a:gd name="T53" fmla="*/ 89 h 102"/>
                  <a:gd name="T54" fmla="*/ 6 w 56"/>
                  <a:gd name="T55" fmla="*/ 85 h 102"/>
                  <a:gd name="T56" fmla="*/ 6 w 56"/>
                  <a:gd name="T57" fmla="*/ 79 h 102"/>
                  <a:gd name="T58" fmla="*/ 9 w 56"/>
                  <a:gd name="T59" fmla="*/ 68 h 102"/>
                  <a:gd name="T60" fmla="*/ 9 w 56"/>
                  <a:gd name="T61" fmla="*/ 65 h 102"/>
                  <a:gd name="T62" fmla="*/ 12 w 56"/>
                  <a:gd name="T63" fmla="*/ 65 h 102"/>
                  <a:gd name="T64" fmla="*/ 13 w 56"/>
                  <a:gd name="T65" fmla="*/ 63 h 102"/>
                  <a:gd name="T66" fmla="*/ 13 w 56"/>
                  <a:gd name="T67" fmla="*/ 57 h 102"/>
                  <a:gd name="T68" fmla="*/ 11 w 56"/>
                  <a:gd name="T69" fmla="*/ 53 h 102"/>
                  <a:gd name="T70" fmla="*/ 9 w 56"/>
                  <a:gd name="T71" fmla="*/ 57 h 102"/>
                  <a:gd name="T72" fmla="*/ 10 w 56"/>
                  <a:gd name="T73" fmla="*/ 50 h 102"/>
                  <a:gd name="T74" fmla="*/ 12 w 56"/>
                  <a:gd name="T75" fmla="*/ 46 h 102"/>
                  <a:gd name="T76" fmla="*/ 12 w 56"/>
                  <a:gd name="T77" fmla="*/ 36 h 102"/>
                  <a:gd name="T78" fmla="*/ 10 w 56"/>
                  <a:gd name="T79" fmla="*/ 28 h 102"/>
                  <a:gd name="T80" fmla="*/ 6 w 56"/>
                  <a:gd name="T81" fmla="*/ 26 h 102"/>
                  <a:gd name="T82" fmla="*/ 3 w 56"/>
                  <a:gd name="T83" fmla="*/ 23 h 102"/>
                  <a:gd name="T84" fmla="*/ 3 w 56"/>
                  <a:gd name="T85" fmla="*/ 18 h 102"/>
                  <a:gd name="T86" fmla="*/ 6 w 56"/>
                  <a:gd name="T87" fmla="*/ 10 h 102"/>
                  <a:gd name="T88" fmla="*/ 5 w 56"/>
                  <a:gd name="T89" fmla="*/ 7 h 102"/>
                  <a:gd name="T90" fmla="*/ 8 w 56"/>
                  <a:gd name="T91" fmla="*/ 11 h 102"/>
                  <a:gd name="T92" fmla="*/ 19 w 56"/>
                  <a:gd name="T93" fmla="*/ 15 h 102"/>
                  <a:gd name="T94" fmla="*/ 31 w 56"/>
                  <a:gd name="T95" fmla="*/ 8 h 102"/>
                  <a:gd name="T96" fmla="*/ 37 w 56"/>
                  <a:gd name="T97" fmla="*/ 6 h 102"/>
                  <a:gd name="T98" fmla="*/ 38 w 56"/>
                  <a:gd name="T99" fmla="*/ 3 h 102"/>
                  <a:gd name="T100" fmla="*/ 42 w 56"/>
                  <a:gd name="T101" fmla="*/ 0 h 102"/>
                  <a:gd name="T102" fmla="*/ 48 w 56"/>
                  <a:gd name="T103" fmla="*/ 9 h 102"/>
                  <a:gd name="T104" fmla="*/ 51 w 56"/>
                  <a:gd name="T105" fmla="*/ 9 h 102"/>
                  <a:gd name="T106" fmla="*/ 49 w 56"/>
                  <a:gd name="T107" fmla="*/ 14 h 102"/>
                  <a:gd name="T108" fmla="*/ 55 w 56"/>
                  <a:gd name="T109" fmla="*/ 15 h 102"/>
                  <a:gd name="T110" fmla="*/ 51 w 56"/>
                  <a:gd name="T111" fmla="*/ 18 h 102"/>
                  <a:gd name="T112" fmla="*/ 50 w 56"/>
                  <a:gd name="T113" fmla="*/ 20 h 102"/>
                  <a:gd name="T114" fmla="*/ 55 w 56"/>
                  <a:gd name="T115" fmla="*/ 24 h 102"/>
                  <a:gd name="T116" fmla="*/ 52 w 56"/>
                  <a:gd name="T117" fmla="*/ 3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102">
                    <a:moveTo>
                      <a:pt x="52" y="30"/>
                    </a:moveTo>
                    <a:cubicBezTo>
                      <a:pt x="53" y="31"/>
                      <a:pt x="52" y="33"/>
                      <a:pt x="53" y="33"/>
                    </a:cubicBezTo>
                    <a:cubicBezTo>
                      <a:pt x="54" y="34"/>
                      <a:pt x="55" y="34"/>
                      <a:pt x="56" y="34"/>
                    </a:cubicBezTo>
                    <a:cubicBezTo>
                      <a:pt x="56" y="35"/>
                      <a:pt x="56" y="35"/>
                      <a:pt x="56" y="36"/>
                    </a:cubicBezTo>
                    <a:cubicBezTo>
                      <a:pt x="56" y="37"/>
                      <a:pt x="55" y="37"/>
                      <a:pt x="54" y="38"/>
                    </a:cubicBezTo>
                    <a:cubicBezTo>
                      <a:pt x="53" y="39"/>
                      <a:pt x="53" y="39"/>
                      <a:pt x="53" y="40"/>
                    </a:cubicBezTo>
                    <a:cubicBezTo>
                      <a:pt x="52" y="42"/>
                      <a:pt x="52" y="43"/>
                      <a:pt x="50" y="45"/>
                    </a:cubicBezTo>
                    <a:cubicBezTo>
                      <a:pt x="49" y="46"/>
                      <a:pt x="48" y="46"/>
                      <a:pt x="48" y="47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8" y="52"/>
                      <a:pt x="51" y="52"/>
                      <a:pt x="51" y="55"/>
                    </a:cubicBezTo>
                    <a:cubicBezTo>
                      <a:pt x="51" y="58"/>
                      <a:pt x="49" y="59"/>
                      <a:pt x="48" y="62"/>
                    </a:cubicBezTo>
                    <a:cubicBezTo>
                      <a:pt x="48" y="65"/>
                      <a:pt x="48" y="67"/>
                      <a:pt x="47" y="70"/>
                    </a:cubicBezTo>
                    <a:cubicBezTo>
                      <a:pt x="47" y="71"/>
                      <a:pt x="46" y="72"/>
                      <a:pt x="46" y="73"/>
                    </a:cubicBezTo>
                    <a:cubicBezTo>
                      <a:pt x="46" y="77"/>
                      <a:pt x="46" y="77"/>
                      <a:pt x="46" y="77"/>
                    </a:cubicBezTo>
                    <a:cubicBezTo>
                      <a:pt x="46" y="79"/>
                      <a:pt x="45" y="79"/>
                      <a:pt x="45" y="81"/>
                    </a:cubicBezTo>
                    <a:cubicBezTo>
                      <a:pt x="45" y="83"/>
                      <a:pt x="45" y="85"/>
                      <a:pt x="44" y="87"/>
                    </a:cubicBezTo>
                    <a:cubicBezTo>
                      <a:pt x="44" y="88"/>
                      <a:pt x="43" y="89"/>
                      <a:pt x="43" y="90"/>
                    </a:cubicBezTo>
                    <a:cubicBezTo>
                      <a:pt x="42" y="91"/>
                      <a:pt x="42" y="92"/>
                      <a:pt x="42" y="93"/>
                    </a:cubicBezTo>
                    <a:cubicBezTo>
                      <a:pt x="41" y="93"/>
                      <a:pt x="41" y="93"/>
                      <a:pt x="41" y="93"/>
                    </a:cubicBezTo>
                    <a:cubicBezTo>
                      <a:pt x="41" y="92"/>
                      <a:pt x="40" y="92"/>
                      <a:pt x="40" y="91"/>
                    </a:cubicBezTo>
                    <a:cubicBezTo>
                      <a:pt x="40" y="91"/>
                      <a:pt x="41" y="90"/>
                      <a:pt x="40" y="89"/>
                    </a:cubicBezTo>
                    <a:cubicBezTo>
                      <a:pt x="40" y="89"/>
                      <a:pt x="39" y="89"/>
                      <a:pt x="38" y="89"/>
                    </a:cubicBezTo>
                    <a:cubicBezTo>
                      <a:pt x="38" y="88"/>
                      <a:pt x="38" y="88"/>
                      <a:pt x="37" y="87"/>
                    </a:cubicBezTo>
                    <a:cubicBezTo>
                      <a:pt x="36" y="86"/>
                      <a:pt x="35" y="85"/>
                      <a:pt x="33" y="85"/>
                    </a:cubicBezTo>
                    <a:cubicBezTo>
                      <a:pt x="32" y="85"/>
                      <a:pt x="32" y="85"/>
                      <a:pt x="31" y="85"/>
                    </a:cubicBezTo>
                    <a:cubicBezTo>
                      <a:pt x="31" y="85"/>
                      <a:pt x="30" y="85"/>
                      <a:pt x="30" y="85"/>
                    </a:cubicBezTo>
                    <a:cubicBezTo>
                      <a:pt x="30" y="84"/>
                      <a:pt x="30" y="84"/>
                      <a:pt x="30" y="83"/>
                    </a:cubicBezTo>
                    <a:cubicBezTo>
                      <a:pt x="29" y="83"/>
                      <a:pt x="28" y="83"/>
                      <a:pt x="27" y="83"/>
                    </a:cubicBezTo>
                    <a:cubicBezTo>
                      <a:pt x="26" y="83"/>
                      <a:pt x="25" y="82"/>
                      <a:pt x="24" y="82"/>
                    </a:cubicBezTo>
                    <a:cubicBezTo>
                      <a:pt x="25" y="83"/>
                      <a:pt x="25" y="83"/>
                      <a:pt x="25" y="84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25" y="87"/>
                      <a:pt x="26" y="88"/>
                      <a:pt x="26" y="89"/>
                    </a:cubicBezTo>
                    <a:cubicBezTo>
                      <a:pt x="26" y="90"/>
                      <a:pt x="26" y="91"/>
                      <a:pt x="25" y="91"/>
                    </a:cubicBezTo>
                    <a:cubicBezTo>
                      <a:pt x="25" y="91"/>
                      <a:pt x="24" y="91"/>
                      <a:pt x="24" y="92"/>
                    </a:cubicBezTo>
                    <a:cubicBezTo>
                      <a:pt x="24" y="94"/>
                      <a:pt x="25" y="95"/>
                      <a:pt x="25" y="97"/>
                    </a:cubicBezTo>
                    <a:cubicBezTo>
                      <a:pt x="25" y="98"/>
                      <a:pt x="25" y="98"/>
                      <a:pt x="25" y="98"/>
                    </a:cubicBezTo>
                    <a:cubicBezTo>
                      <a:pt x="23" y="98"/>
                      <a:pt x="22" y="99"/>
                      <a:pt x="20" y="101"/>
                    </a:cubicBezTo>
                    <a:cubicBezTo>
                      <a:pt x="19" y="101"/>
                      <a:pt x="19" y="102"/>
                      <a:pt x="19" y="102"/>
                    </a:cubicBezTo>
                    <a:cubicBezTo>
                      <a:pt x="18" y="102"/>
                      <a:pt x="18" y="101"/>
                      <a:pt x="17" y="100"/>
                    </a:cubicBezTo>
                    <a:cubicBezTo>
                      <a:pt x="16" y="100"/>
                      <a:pt x="15" y="100"/>
                      <a:pt x="14" y="100"/>
                    </a:cubicBezTo>
                    <a:cubicBezTo>
                      <a:pt x="13" y="100"/>
                      <a:pt x="12" y="101"/>
                      <a:pt x="12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1" y="99"/>
                      <a:pt x="12" y="99"/>
                      <a:pt x="12" y="98"/>
                    </a:cubicBezTo>
                    <a:cubicBezTo>
                      <a:pt x="12" y="97"/>
                      <a:pt x="10" y="97"/>
                      <a:pt x="10" y="95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2"/>
                      <a:pt x="10" y="91"/>
                      <a:pt x="10" y="90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6" y="91"/>
                      <a:pt x="4" y="92"/>
                      <a:pt x="3" y="95"/>
                    </a:cubicBezTo>
                    <a:cubicBezTo>
                      <a:pt x="2" y="93"/>
                      <a:pt x="2" y="92"/>
                      <a:pt x="1" y="90"/>
                    </a:cubicBezTo>
                    <a:cubicBezTo>
                      <a:pt x="1" y="89"/>
                      <a:pt x="0" y="89"/>
                      <a:pt x="0" y="88"/>
                    </a:cubicBezTo>
                    <a:cubicBezTo>
                      <a:pt x="0" y="87"/>
                      <a:pt x="1" y="86"/>
                      <a:pt x="2" y="86"/>
                    </a:cubicBezTo>
                    <a:cubicBezTo>
                      <a:pt x="4" y="86"/>
                      <a:pt x="4" y="89"/>
                      <a:pt x="5" y="89"/>
                    </a:cubicBezTo>
                    <a:cubicBezTo>
                      <a:pt x="6" y="89"/>
                      <a:pt x="7" y="89"/>
                      <a:pt x="8" y="89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86"/>
                      <a:pt x="6" y="86"/>
                      <a:pt x="6" y="85"/>
                    </a:cubicBezTo>
                    <a:cubicBezTo>
                      <a:pt x="5" y="85"/>
                      <a:pt x="5" y="84"/>
                      <a:pt x="5" y="83"/>
                    </a:cubicBezTo>
                    <a:cubicBezTo>
                      <a:pt x="5" y="81"/>
                      <a:pt x="6" y="80"/>
                      <a:pt x="6" y="79"/>
                    </a:cubicBezTo>
                    <a:cubicBezTo>
                      <a:pt x="6" y="77"/>
                      <a:pt x="6" y="75"/>
                      <a:pt x="7" y="73"/>
                    </a:cubicBezTo>
                    <a:cubicBezTo>
                      <a:pt x="8" y="71"/>
                      <a:pt x="9" y="70"/>
                      <a:pt x="9" y="68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9" y="66"/>
                      <a:pt x="9" y="66"/>
                      <a:pt x="9" y="65"/>
                    </a:cubicBezTo>
                    <a:cubicBezTo>
                      <a:pt x="9" y="64"/>
                      <a:pt x="9" y="64"/>
                      <a:pt x="9" y="63"/>
                    </a:cubicBezTo>
                    <a:cubicBezTo>
                      <a:pt x="11" y="64"/>
                      <a:pt x="11" y="65"/>
                      <a:pt x="12" y="65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3" y="62"/>
                      <a:pt x="13" y="62"/>
                      <a:pt x="13" y="61"/>
                    </a:cubicBezTo>
                    <a:cubicBezTo>
                      <a:pt x="13" y="60"/>
                      <a:pt x="13" y="59"/>
                      <a:pt x="13" y="57"/>
                    </a:cubicBezTo>
                    <a:cubicBezTo>
                      <a:pt x="13" y="56"/>
                      <a:pt x="13" y="55"/>
                      <a:pt x="13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1" y="53"/>
                      <a:pt x="10" y="54"/>
                      <a:pt x="10" y="55"/>
                    </a:cubicBezTo>
                    <a:cubicBezTo>
                      <a:pt x="10" y="56"/>
                      <a:pt x="10" y="56"/>
                      <a:pt x="9" y="57"/>
                    </a:cubicBezTo>
                    <a:cubicBezTo>
                      <a:pt x="8" y="57"/>
                      <a:pt x="8" y="56"/>
                      <a:pt x="8" y="55"/>
                    </a:cubicBezTo>
                    <a:cubicBezTo>
                      <a:pt x="8" y="53"/>
                      <a:pt x="9" y="52"/>
                      <a:pt x="10" y="50"/>
                    </a:cubicBezTo>
                    <a:cubicBezTo>
                      <a:pt x="10" y="49"/>
                      <a:pt x="10" y="48"/>
                      <a:pt x="11" y="48"/>
                    </a:cubicBezTo>
                    <a:cubicBezTo>
                      <a:pt x="11" y="47"/>
                      <a:pt x="12" y="47"/>
                      <a:pt x="12" y="46"/>
                    </a:cubicBezTo>
                    <a:cubicBezTo>
                      <a:pt x="13" y="44"/>
                      <a:pt x="12" y="43"/>
                      <a:pt x="12" y="41"/>
                    </a:cubicBezTo>
                    <a:cubicBezTo>
                      <a:pt x="12" y="39"/>
                      <a:pt x="13" y="38"/>
                      <a:pt x="12" y="36"/>
                    </a:cubicBezTo>
                    <a:cubicBezTo>
                      <a:pt x="11" y="36"/>
                      <a:pt x="10" y="35"/>
                      <a:pt x="10" y="34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6"/>
                      <a:pt x="10" y="25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ubicBezTo>
                      <a:pt x="5" y="26"/>
                      <a:pt x="5" y="25"/>
                      <a:pt x="5" y="25"/>
                    </a:cubicBezTo>
                    <a:cubicBezTo>
                      <a:pt x="4" y="24"/>
                      <a:pt x="3" y="24"/>
                      <a:pt x="3" y="23"/>
                    </a:cubicBezTo>
                    <a:cubicBezTo>
                      <a:pt x="3" y="22"/>
                      <a:pt x="5" y="21"/>
                      <a:pt x="5" y="20"/>
                    </a:cubicBezTo>
                    <a:cubicBezTo>
                      <a:pt x="5" y="19"/>
                      <a:pt x="3" y="19"/>
                      <a:pt x="3" y="18"/>
                    </a:cubicBezTo>
                    <a:cubicBezTo>
                      <a:pt x="3" y="16"/>
                      <a:pt x="6" y="15"/>
                      <a:pt x="6" y="13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9"/>
                      <a:pt x="5" y="9"/>
                      <a:pt x="5" y="8"/>
                    </a:cubicBezTo>
                    <a:cubicBezTo>
                      <a:pt x="5" y="8"/>
                      <a:pt x="5" y="8"/>
                      <a:pt x="5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9"/>
                      <a:pt x="8" y="10"/>
                      <a:pt x="8" y="11"/>
                    </a:cubicBezTo>
                    <a:cubicBezTo>
                      <a:pt x="9" y="12"/>
                      <a:pt x="11" y="12"/>
                      <a:pt x="12" y="13"/>
                    </a:cubicBezTo>
                    <a:cubicBezTo>
                      <a:pt x="15" y="14"/>
                      <a:pt x="16" y="15"/>
                      <a:pt x="19" y="15"/>
                    </a:cubicBezTo>
                    <a:cubicBezTo>
                      <a:pt x="22" y="15"/>
                      <a:pt x="24" y="14"/>
                      <a:pt x="27" y="12"/>
                    </a:cubicBezTo>
                    <a:cubicBezTo>
                      <a:pt x="28" y="11"/>
                      <a:pt x="29" y="10"/>
                      <a:pt x="31" y="8"/>
                    </a:cubicBezTo>
                    <a:cubicBezTo>
                      <a:pt x="32" y="7"/>
                      <a:pt x="33" y="6"/>
                      <a:pt x="34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9" y="6"/>
                      <a:pt x="39" y="5"/>
                    </a:cubicBezTo>
                    <a:cubicBezTo>
                      <a:pt x="39" y="4"/>
                      <a:pt x="38" y="3"/>
                      <a:pt x="38" y="3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4" y="2"/>
                      <a:pt x="44" y="4"/>
                      <a:pt x="46" y="4"/>
                    </a:cubicBezTo>
                    <a:cubicBezTo>
                      <a:pt x="46" y="6"/>
                      <a:pt x="47" y="7"/>
                      <a:pt x="48" y="9"/>
                    </a:cubicBezTo>
                    <a:cubicBezTo>
                      <a:pt x="49" y="8"/>
                      <a:pt x="49" y="6"/>
                      <a:pt x="50" y="6"/>
                    </a:cubicBezTo>
                    <a:cubicBezTo>
                      <a:pt x="51" y="6"/>
                      <a:pt x="51" y="8"/>
                      <a:pt x="51" y="9"/>
                    </a:cubicBezTo>
                    <a:cubicBezTo>
                      <a:pt x="51" y="10"/>
                      <a:pt x="51" y="10"/>
                      <a:pt x="50" y="10"/>
                    </a:cubicBezTo>
                    <a:cubicBezTo>
                      <a:pt x="49" y="12"/>
                      <a:pt x="49" y="13"/>
                      <a:pt x="49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4"/>
                      <a:pt x="55" y="15"/>
                      <a:pt x="55" y="15"/>
                    </a:cubicBezTo>
                    <a:cubicBezTo>
                      <a:pt x="55" y="16"/>
                      <a:pt x="55" y="16"/>
                      <a:pt x="54" y="16"/>
                    </a:cubicBezTo>
                    <a:cubicBezTo>
                      <a:pt x="53" y="17"/>
                      <a:pt x="53" y="18"/>
                      <a:pt x="51" y="18"/>
                    </a:cubicBezTo>
                    <a:cubicBezTo>
                      <a:pt x="50" y="19"/>
                      <a:pt x="49" y="18"/>
                      <a:pt x="49" y="19"/>
                    </a:cubicBezTo>
                    <a:cubicBezTo>
                      <a:pt x="49" y="20"/>
                      <a:pt x="50" y="20"/>
                      <a:pt x="50" y="20"/>
                    </a:cubicBezTo>
                    <a:cubicBezTo>
                      <a:pt x="51" y="21"/>
                      <a:pt x="52" y="22"/>
                      <a:pt x="53" y="22"/>
                    </a:cubicBezTo>
                    <a:cubicBezTo>
                      <a:pt x="54" y="22"/>
                      <a:pt x="55" y="23"/>
                      <a:pt x="55" y="24"/>
                    </a:cubicBezTo>
                    <a:cubicBezTo>
                      <a:pt x="55" y="25"/>
                      <a:pt x="54" y="25"/>
                      <a:pt x="53" y="26"/>
                    </a:cubicBezTo>
                    <a:cubicBezTo>
                      <a:pt x="52" y="27"/>
                      <a:pt x="53" y="28"/>
                      <a:pt x="52" y="3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1" name="Freeform 108">
                <a:extLst>
                  <a:ext uri="{FF2B5EF4-FFF2-40B4-BE49-F238E27FC236}">
                    <a16:creationId xmlns:a16="http://schemas.microsoft.com/office/drawing/2014/main" xmlns="" id="{CC2A319E-22A3-4395-AF33-8828CADEB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717" y="3468098"/>
                <a:ext cx="22748" cy="17961"/>
              </a:xfrm>
              <a:custGeom>
                <a:avLst/>
                <a:gdLst>
                  <a:gd name="T0" fmla="*/ 5 w 9"/>
                  <a:gd name="T1" fmla="*/ 2 h 7"/>
                  <a:gd name="T2" fmla="*/ 2 w 9"/>
                  <a:gd name="T3" fmla="*/ 2 h 7"/>
                  <a:gd name="T4" fmla="*/ 0 w 9"/>
                  <a:gd name="T5" fmla="*/ 3 h 7"/>
                  <a:gd name="T6" fmla="*/ 0 w 9"/>
                  <a:gd name="T7" fmla="*/ 4 h 7"/>
                  <a:gd name="T8" fmla="*/ 4 w 9"/>
                  <a:gd name="T9" fmla="*/ 5 h 7"/>
                  <a:gd name="T10" fmla="*/ 7 w 9"/>
                  <a:gd name="T11" fmla="*/ 5 h 7"/>
                  <a:gd name="T12" fmla="*/ 8 w 9"/>
                  <a:gd name="T13" fmla="*/ 7 h 7"/>
                  <a:gd name="T14" fmla="*/ 9 w 9"/>
                  <a:gd name="T15" fmla="*/ 1 h 7"/>
                  <a:gd name="T16" fmla="*/ 9 w 9"/>
                  <a:gd name="T17" fmla="*/ 0 h 7"/>
                  <a:gd name="T18" fmla="*/ 8 w 9"/>
                  <a:gd name="T19" fmla="*/ 2 h 7"/>
                  <a:gd name="T20" fmla="*/ 5 w 9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7">
                    <a:moveTo>
                      <a:pt x="5" y="2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4"/>
                      <a:pt x="2" y="4"/>
                      <a:pt x="4" y="5"/>
                    </a:cubicBezTo>
                    <a:cubicBezTo>
                      <a:pt x="5" y="5"/>
                      <a:pt x="6" y="5"/>
                      <a:pt x="7" y="5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9" y="5"/>
                      <a:pt x="9" y="4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8" y="1"/>
                      <a:pt x="8" y="2"/>
                    </a:cubicBezTo>
                    <a:cubicBezTo>
                      <a:pt x="7" y="2"/>
                      <a:pt x="6" y="2"/>
                      <a:pt x="5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2" name="Freeform 109">
                <a:extLst>
                  <a:ext uri="{FF2B5EF4-FFF2-40B4-BE49-F238E27FC236}">
                    <a16:creationId xmlns:a16="http://schemas.microsoft.com/office/drawing/2014/main" xmlns="" id="{5411F5CC-102E-4722-8881-A81E6B676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5771" y="3996161"/>
                <a:ext cx="275372" cy="186797"/>
              </a:xfrm>
              <a:custGeom>
                <a:avLst/>
                <a:gdLst>
                  <a:gd name="T0" fmla="*/ 25 w 109"/>
                  <a:gd name="T1" fmla="*/ 0 h 74"/>
                  <a:gd name="T2" fmla="*/ 21 w 109"/>
                  <a:gd name="T3" fmla="*/ 4 h 74"/>
                  <a:gd name="T4" fmla="*/ 19 w 109"/>
                  <a:gd name="T5" fmla="*/ 8 h 74"/>
                  <a:gd name="T6" fmla="*/ 13 w 109"/>
                  <a:gd name="T7" fmla="*/ 7 h 74"/>
                  <a:gd name="T8" fmla="*/ 10 w 109"/>
                  <a:gd name="T9" fmla="*/ 1 h 74"/>
                  <a:gd name="T10" fmla="*/ 7 w 109"/>
                  <a:gd name="T11" fmla="*/ 4 h 74"/>
                  <a:gd name="T12" fmla="*/ 4 w 109"/>
                  <a:gd name="T13" fmla="*/ 7 h 74"/>
                  <a:gd name="T14" fmla="*/ 3 w 109"/>
                  <a:gd name="T15" fmla="*/ 11 h 74"/>
                  <a:gd name="T16" fmla="*/ 0 w 109"/>
                  <a:gd name="T17" fmla="*/ 22 h 74"/>
                  <a:gd name="T18" fmla="*/ 3 w 109"/>
                  <a:gd name="T19" fmla="*/ 26 h 74"/>
                  <a:gd name="T20" fmla="*/ 8 w 109"/>
                  <a:gd name="T21" fmla="*/ 29 h 74"/>
                  <a:gd name="T22" fmla="*/ 11 w 109"/>
                  <a:gd name="T23" fmla="*/ 29 h 74"/>
                  <a:gd name="T24" fmla="*/ 17 w 109"/>
                  <a:gd name="T25" fmla="*/ 33 h 74"/>
                  <a:gd name="T26" fmla="*/ 22 w 109"/>
                  <a:gd name="T27" fmla="*/ 33 h 74"/>
                  <a:gd name="T28" fmla="*/ 29 w 109"/>
                  <a:gd name="T29" fmla="*/ 40 h 74"/>
                  <a:gd name="T30" fmla="*/ 37 w 109"/>
                  <a:gd name="T31" fmla="*/ 43 h 74"/>
                  <a:gd name="T32" fmla="*/ 45 w 109"/>
                  <a:gd name="T33" fmla="*/ 50 h 74"/>
                  <a:gd name="T34" fmla="*/ 52 w 109"/>
                  <a:gd name="T35" fmla="*/ 52 h 74"/>
                  <a:gd name="T36" fmla="*/ 63 w 109"/>
                  <a:gd name="T37" fmla="*/ 55 h 74"/>
                  <a:gd name="T38" fmla="*/ 66 w 109"/>
                  <a:gd name="T39" fmla="*/ 65 h 74"/>
                  <a:gd name="T40" fmla="*/ 75 w 109"/>
                  <a:gd name="T41" fmla="*/ 69 h 74"/>
                  <a:gd name="T42" fmla="*/ 84 w 109"/>
                  <a:gd name="T43" fmla="*/ 70 h 74"/>
                  <a:gd name="T44" fmla="*/ 87 w 109"/>
                  <a:gd name="T45" fmla="*/ 70 h 74"/>
                  <a:gd name="T46" fmla="*/ 96 w 109"/>
                  <a:gd name="T47" fmla="*/ 59 h 74"/>
                  <a:gd name="T48" fmla="*/ 94 w 109"/>
                  <a:gd name="T49" fmla="*/ 48 h 74"/>
                  <a:gd name="T50" fmla="*/ 91 w 109"/>
                  <a:gd name="T51" fmla="*/ 48 h 74"/>
                  <a:gd name="T52" fmla="*/ 87 w 109"/>
                  <a:gd name="T53" fmla="*/ 44 h 74"/>
                  <a:gd name="T54" fmla="*/ 97 w 109"/>
                  <a:gd name="T55" fmla="*/ 25 h 74"/>
                  <a:gd name="T56" fmla="*/ 105 w 109"/>
                  <a:gd name="T57" fmla="*/ 12 h 74"/>
                  <a:gd name="T58" fmla="*/ 109 w 109"/>
                  <a:gd name="T59" fmla="*/ 7 h 74"/>
                  <a:gd name="T60" fmla="*/ 104 w 109"/>
                  <a:gd name="T61" fmla="*/ 5 h 74"/>
                  <a:gd name="T62" fmla="*/ 95 w 109"/>
                  <a:gd name="T63" fmla="*/ 9 h 74"/>
                  <a:gd name="T64" fmla="*/ 87 w 109"/>
                  <a:gd name="T65" fmla="*/ 13 h 74"/>
                  <a:gd name="T66" fmla="*/ 80 w 109"/>
                  <a:gd name="T67" fmla="*/ 11 h 74"/>
                  <a:gd name="T68" fmla="*/ 67 w 109"/>
                  <a:gd name="T69" fmla="*/ 15 h 74"/>
                  <a:gd name="T70" fmla="*/ 47 w 109"/>
                  <a:gd name="T71" fmla="*/ 17 h 74"/>
                  <a:gd name="T72" fmla="*/ 41 w 109"/>
                  <a:gd name="T73" fmla="*/ 14 h 74"/>
                  <a:gd name="T74" fmla="*/ 33 w 109"/>
                  <a:gd name="T75" fmla="*/ 8 h 74"/>
                  <a:gd name="T76" fmla="*/ 27 w 109"/>
                  <a:gd name="T77" fmla="*/ 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9" h="74">
                    <a:moveTo>
                      <a:pt x="27" y="1"/>
                    </a:moveTo>
                    <a:cubicBezTo>
                      <a:pt x="26" y="0"/>
                      <a:pt x="26" y="0"/>
                      <a:pt x="25" y="0"/>
                    </a:cubicBezTo>
                    <a:cubicBezTo>
                      <a:pt x="23" y="0"/>
                      <a:pt x="22" y="0"/>
                      <a:pt x="21" y="1"/>
                    </a:cubicBezTo>
                    <a:cubicBezTo>
                      <a:pt x="20" y="2"/>
                      <a:pt x="21" y="3"/>
                      <a:pt x="21" y="4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8"/>
                      <a:pt x="20" y="8"/>
                      <a:pt x="19" y="8"/>
                    </a:cubicBezTo>
                    <a:cubicBezTo>
                      <a:pt x="17" y="9"/>
                      <a:pt x="16" y="9"/>
                      <a:pt x="15" y="9"/>
                    </a:cubicBezTo>
                    <a:cubicBezTo>
                      <a:pt x="14" y="9"/>
                      <a:pt x="14" y="8"/>
                      <a:pt x="13" y="7"/>
                    </a:cubicBezTo>
                    <a:cubicBezTo>
                      <a:pt x="13" y="7"/>
                      <a:pt x="12" y="7"/>
                      <a:pt x="12" y="6"/>
                    </a:cubicBezTo>
                    <a:cubicBezTo>
                      <a:pt x="10" y="4"/>
                      <a:pt x="11" y="3"/>
                      <a:pt x="1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2"/>
                      <a:pt x="8" y="3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8"/>
                      <a:pt x="3" y="8"/>
                      <a:pt x="3" y="9"/>
                    </a:cubicBezTo>
                    <a:cubicBezTo>
                      <a:pt x="3" y="10"/>
                      <a:pt x="3" y="10"/>
                      <a:pt x="3" y="11"/>
                    </a:cubicBezTo>
                    <a:cubicBezTo>
                      <a:pt x="3" y="13"/>
                      <a:pt x="1" y="14"/>
                      <a:pt x="0" y="16"/>
                    </a:cubicBezTo>
                    <a:cubicBezTo>
                      <a:pt x="0" y="18"/>
                      <a:pt x="0" y="20"/>
                      <a:pt x="0" y="22"/>
                    </a:cubicBezTo>
                    <a:cubicBezTo>
                      <a:pt x="0" y="23"/>
                      <a:pt x="1" y="23"/>
                      <a:pt x="1" y="24"/>
                    </a:cubicBezTo>
                    <a:cubicBezTo>
                      <a:pt x="2" y="24"/>
                      <a:pt x="2" y="25"/>
                      <a:pt x="3" y="26"/>
                    </a:cubicBezTo>
                    <a:cubicBezTo>
                      <a:pt x="4" y="27"/>
                      <a:pt x="4" y="30"/>
                      <a:pt x="6" y="30"/>
                    </a:cubicBezTo>
                    <a:cubicBezTo>
                      <a:pt x="7" y="30"/>
                      <a:pt x="7" y="29"/>
                      <a:pt x="8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29"/>
                      <a:pt x="11" y="29"/>
                      <a:pt x="11" y="29"/>
                    </a:cubicBezTo>
                    <a:cubicBezTo>
                      <a:pt x="13" y="29"/>
                      <a:pt x="14" y="29"/>
                      <a:pt x="15" y="30"/>
                    </a:cubicBezTo>
                    <a:cubicBezTo>
                      <a:pt x="16" y="31"/>
                      <a:pt x="16" y="32"/>
                      <a:pt x="17" y="33"/>
                    </a:cubicBezTo>
                    <a:cubicBezTo>
                      <a:pt x="18" y="33"/>
                      <a:pt x="19" y="33"/>
                      <a:pt x="20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4" y="33"/>
                      <a:pt x="25" y="35"/>
                      <a:pt x="26" y="37"/>
                    </a:cubicBezTo>
                    <a:cubicBezTo>
                      <a:pt x="27" y="38"/>
                      <a:pt x="28" y="39"/>
                      <a:pt x="29" y="40"/>
                    </a:cubicBezTo>
                    <a:cubicBezTo>
                      <a:pt x="30" y="41"/>
                      <a:pt x="31" y="42"/>
                      <a:pt x="33" y="42"/>
                    </a:cubicBezTo>
                    <a:cubicBezTo>
                      <a:pt x="35" y="42"/>
                      <a:pt x="36" y="42"/>
                      <a:pt x="37" y="43"/>
                    </a:cubicBezTo>
                    <a:cubicBezTo>
                      <a:pt x="38" y="44"/>
                      <a:pt x="37" y="45"/>
                      <a:pt x="38" y="45"/>
                    </a:cubicBezTo>
                    <a:cubicBezTo>
                      <a:pt x="40" y="47"/>
                      <a:pt x="42" y="49"/>
                      <a:pt x="45" y="50"/>
                    </a:cubicBezTo>
                    <a:cubicBezTo>
                      <a:pt x="46" y="50"/>
                      <a:pt x="46" y="50"/>
                      <a:pt x="47" y="50"/>
                    </a:cubicBezTo>
                    <a:cubicBezTo>
                      <a:pt x="49" y="51"/>
                      <a:pt x="50" y="52"/>
                      <a:pt x="52" y="52"/>
                    </a:cubicBezTo>
                    <a:cubicBezTo>
                      <a:pt x="54" y="52"/>
                      <a:pt x="56" y="52"/>
                      <a:pt x="58" y="52"/>
                    </a:cubicBezTo>
                    <a:cubicBezTo>
                      <a:pt x="60" y="52"/>
                      <a:pt x="61" y="54"/>
                      <a:pt x="63" y="55"/>
                    </a:cubicBezTo>
                    <a:cubicBezTo>
                      <a:pt x="65" y="57"/>
                      <a:pt x="65" y="59"/>
                      <a:pt x="66" y="62"/>
                    </a:cubicBezTo>
                    <a:cubicBezTo>
                      <a:pt x="66" y="63"/>
                      <a:pt x="66" y="64"/>
                      <a:pt x="66" y="65"/>
                    </a:cubicBezTo>
                    <a:cubicBezTo>
                      <a:pt x="67" y="67"/>
                      <a:pt x="69" y="67"/>
                      <a:pt x="71" y="68"/>
                    </a:cubicBezTo>
                    <a:cubicBezTo>
                      <a:pt x="72" y="68"/>
                      <a:pt x="73" y="69"/>
                      <a:pt x="75" y="69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3" y="69"/>
                      <a:pt x="83" y="69"/>
                      <a:pt x="84" y="70"/>
                    </a:cubicBezTo>
                    <a:cubicBezTo>
                      <a:pt x="86" y="71"/>
                      <a:pt x="86" y="72"/>
                      <a:pt x="87" y="74"/>
                    </a:cubicBezTo>
                    <a:cubicBezTo>
                      <a:pt x="87" y="72"/>
                      <a:pt x="87" y="71"/>
                      <a:pt x="87" y="70"/>
                    </a:cubicBezTo>
                    <a:cubicBezTo>
                      <a:pt x="87" y="67"/>
                      <a:pt x="88" y="65"/>
                      <a:pt x="91" y="63"/>
                    </a:cubicBezTo>
                    <a:cubicBezTo>
                      <a:pt x="93" y="62"/>
                      <a:pt x="96" y="62"/>
                      <a:pt x="96" y="59"/>
                    </a:cubicBezTo>
                    <a:cubicBezTo>
                      <a:pt x="96" y="56"/>
                      <a:pt x="91" y="56"/>
                      <a:pt x="90" y="52"/>
                    </a:cubicBezTo>
                    <a:cubicBezTo>
                      <a:pt x="92" y="51"/>
                      <a:pt x="93" y="51"/>
                      <a:pt x="94" y="48"/>
                    </a:cubicBezTo>
                    <a:cubicBezTo>
                      <a:pt x="93" y="48"/>
                      <a:pt x="93" y="48"/>
                      <a:pt x="92" y="48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90" y="47"/>
                      <a:pt x="89" y="47"/>
                      <a:pt x="89" y="46"/>
                    </a:cubicBezTo>
                    <a:cubicBezTo>
                      <a:pt x="88" y="45"/>
                      <a:pt x="87" y="45"/>
                      <a:pt x="87" y="44"/>
                    </a:cubicBezTo>
                    <a:cubicBezTo>
                      <a:pt x="87" y="40"/>
                      <a:pt x="89" y="37"/>
                      <a:pt x="92" y="34"/>
                    </a:cubicBezTo>
                    <a:cubicBezTo>
                      <a:pt x="95" y="31"/>
                      <a:pt x="94" y="28"/>
                      <a:pt x="97" y="25"/>
                    </a:cubicBezTo>
                    <a:cubicBezTo>
                      <a:pt x="100" y="21"/>
                      <a:pt x="101" y="19"/>
                      <a:pt x="103" y="16"/>
                    </a:cubicBezTo>
                    <a:cubicBezTo>
                      <a:pt x="104" y="14"/>
                      <a:pt x="105" y="14"/>
                      <a:pt x="105" y="12"/>
                    </a:cubicBezTo>
                    <a:cubicBezTo>
                      <a:pt x="106" y="11"/>
                      <a:pt x="105" y="10"/>
                      <a:pt x="106" y="10"/>
                    </a:cubicBezTo>
                    <a:cubicBezTo>
                      <a:pt x="107" y="9"/>
                      <a:pt x="109" y="8"/>
                      <a:pt x="109" y="7"/>
                    </a:cubicBezTo>
                    <a:cubicBezTo>
                      <a:pt x="109" y="6"/>
                      <a:pt x="108" y="6"/>
                      <a:pt x="107" y="6"/>
                    </a:cubicBezTo>
                    <a:cubicBezTo>
                      <a:pt x="106" y="6"/>
                      <a:pt x="105" y="5"/>
                      <a:pt x="104" y="5"/>
                    </a:cubicBezTo>
                    <a:cubicBezTo>
                      <a:pt x="103" y="5"/>
                      <a:pt x="102" y="7"/>
                      <a:pt x="100" y="8"/>
                    </a:cubicBezTo>
                    <a:cubicBezTo>
                      <a:pt x="98" y="8"/>
                      <a:pt x="97" y="8"/>
                      <a:pt x="95" y="9"/>
                    </a:cubicBezTo>
                    <a:cubicBezTo>
                      <a:pt x="93" y="9"/>
                      <a:pt x="93" y="10"/>
                      <a:pt x="92" y="11"/>
                    </a:cubicBezTo>
                    <a:cubicBezTo>
                      <a:pt x="91" y="12"/>
                      <a:pt x="89" y="13"/>
                      <a:pt x="87" y="13"/>
                    </a:cubicBezTo>
                    <a:cubicBezTo>
                      <a:pt x="85" y="13"/>
                      <a:pt x="84" y="11"/>
                      <a:pt x="82" y="11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78" y="11"/>
                      <a:pt x="77" y="13"/>
                      <a:pt x="75" y="14"/>
                    </a:cubicBezTo>
                    <a:cubicBezTo>
                      <a:pt x="72" y="15"/>
                      <a:pt x="70" y="15"/>
                      <a:pt x="67" y="15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2" y="17"/>
                      <a:pt x="42" y="16"/>
                      <a:pt x="41" y="14"/>
                    </a:cubicBezTo>
                    <a:cubicBezTo>
                      <a:pt x="40" y="11"/>
                      <a:pt x="39" y="8"/>
                      <a:pt x="36" y="8"/>
                    </a:cubicBezTo>
                    <a:cubicBezTo>
                      <a:pt x="35" y="8"/>
                      <a:pt x="34" y="8"/>
                      <a:pt x="33" y="8"/>
                    </a:cubicBezTo>
                    <a:cubicBezTo>
                      <a:pt x="32" y="7"/>
                      <a:pt x="32" y="5"/>
                      <a:pt x="31" y="3"/>
                    </a:cubicBezTo>
                    <a:cubicBezTo>
                      <a:pt x="30" y="2"/>
                      <a:pt x="29" y="1"/>
                      <a:pt x="27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3" name="Freeform 110">
                <a:extLst>
                  <a:ext uri="{FF2B5EF4-FFF2-40B4-BE49-F238E27FC236}">
                    <a16:creationId xmlns:a16="http://schemas.microsoft.com/office/drawing/2014/main" xmlns="" id="{D878A24F-82DE-489C-B668-4C78FD7ED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104" y="4137456"/>
                <a:ext cx="15564" cy="13172"/>
              </a:xfrm>
              <a:custGeom>
                <a:avLst/>
                <a:gdLst>
                  <a:gd name="T0" fmla="*/ 2 w 6"/>
                  <a:gd name="T1" fmla="*/ 0 h 5"/>
                  <a:gd name="T2" fmla="*/ 0 w 6"/>
                  <a:gd name="T3" fmla="*/ 0 h 5"/>
                  <a:gd name="T4" fmla="*/ 0 w 6"/>
                  <a:gd name="T5" fmla="*/ 0 h 5"/>
                  <a:gd name="T6" fmla="*/ 3 w 6"/>
                  <a:gd name="T7" fmla="*/ 3 h 5"/>
                  <a:gd name="T8" fmla="*/ 5 w 6"/>
                  <a:gd name="T9" fmla="*/ 5 h 5"/>
                  <a:gd name="T10" fmla="*/ 6 w 6"/>
                  <a:gd name="T11" fmla="*/ 5 h 5"/>
                  <a:gd name="T12" fmla="*/ 6 w 6"/>
                  <a:gd name="T13" fmla="*/ 3 h 5"/>
                  <a:gd name="T14" fmla="*/ 2 w 6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5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2"/>
                      <a:pt x="3" y="3"/>
                    </a:cubicBezTo>
                    <a:cubicBezTo>
                      <a:pt x="4" y="4"/>
                      <a:pt x="4" y="5"/>
                      <a:pt x="5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4"/>
                      <a:pt x="6" y="4"/>
                      <a:pt x="6" y="3"/>
                    </a:cubicBezTo>
                    <a:cubicBezTo>
                      <a:pt x="6" y="1"/>
                      <a:pt x="4" y="0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4" name="Freeform 111">
                <a:extLst>
                  <a:ext uri="{FF2B5EF4-FFF2-40B4-BE49-F238E27FC236}">
                    <a16:creationId xmlns:a16="http://schemas.microsoft.com/office/drawing/2014/main" xmlns="" id="{692B6CC2-080A-4BD4-8AAC-67D2F2A9F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50" y="3013078"/>
                <a:ext cx="901545" cy="1041757"/>
              </a:xfrm>
              <a:custGeom>
                <a:avLst/>
                <a:gdLst>
                  <a:gd name="T0" fmla="*/ 203 w 357"/>
                  <a:gd name="T1" fmla="*/ 26 h 412"/>
                  <a:gd name="T2" fmla="*/ 178 w 357"/>
                  <a:gd name="T3" fmla="*/ 6 h 412"/>
                  <a:gd name="T4" fmla="*/ 155 w 357"/>
                  <a:gd name="T5" fmla="*/ 1 h 412"/>
                  <a:gd name="T6" fmla="*/ 132 w 357"/>
                  <a:gd name="T7" fmla="*/ 1 h 412"/>
                  <a:gd name="T8" fmla="*/ 119 w 357"/>
                  <a:gd name="T9" fmla="*/ 25 h 412"/>
                  <a:gd name="T10" fmla="*/ 90 w 357"/>
                  <a:gd name="T11" fmla="*/ 20 h 412"/>
                  <a:gd name="T12" fmla="*/ 68 w 357"/>
                  <a:gd name="T13" fmla="*/ 34 h 412"/>
                  <a:gd name="T14" fmla="*/ 49 w 357"/>
                  <a:gd name="T15" fmla="*/ 29 h 412"/>
                  <a:gd name="T16" fmla="*/ 30 w 357"/>
                  <a:gd name="T17" fmla="*/ 34 h 412"/>
                  <a:gd name="T18" fmla="*/ 11 w 357"/>
                  <a:gd name="T19" fmla="*/ 40 h 412"/>
                  <a:gd name="T20" fmla="*/ 1 w 357"/>
                  <a:gd name="T21" fmla="*/ 72 h 412"/>
                  <a:gd name="T22" fmla="*/ 14 w 357"/>
                  <a:gd name="T23" fmla="*/ 112 h 412"/>
                  <a:gd name="T24" fmla="*/ 24 w 357"/>
                  <a:gd name="T25" fmla="*/ 127 h 412"/>
                  <a:gd name="T26" fmla="*/ 49 w 357"/>
                  <a:gd name="T27" fmla="*/ 112 h 412"/>
                  <a:gd name="T28" fmla="*/ 71 w 357"/>
                  <a:gd name="T29" fmla="*/ 114 h 412"/>
                  <a:gd name="T30" fmla="*/ 94 w 357"/>
                  <a:gd name="T31" fmla="*/ 125 h 412"/>
                  <a:gd name="T32" fmla="*/ 109 w 357"/>
                  <a:gd name="T33" fmla="*/ 171 h 412"/>
                  <a:gd name="T34" fmla="*/ 122 w 357"/>
                  <a:gd name="T35" fmla="*/ 191 h 412"/>
                  <a:gd name="T36" fmla="*/ 123 w 357"/>
                  <a:gd name="T37" fmla="*/ 203 h 412"/>
                  <a:gd name="T38" fmla="*/ 143 w 357"/>
                  <a:gd name="T39" fmla="*/ 216 h 412"/>
                  <a:gd name="T40" fmla="*/ 167 w 357"/>
                  <a:gd name="T41" fmla="*/ 246 h 412"/>
                  <a:gd name="T42" fmla="*/ 187 w 357"/>
                  <a:gd name="T43" fmla="*/ 260 h 412"/>
                  <a:gd name="T44" fmla="*/ 204 w 357"/>
                  <a:gd name="T45" fmla="*/ 262 h 412"/>
                  <a:gd name="T46" fmla="*/ 220 w 357"/>
                  <a:gd name="T47" fmla="*/ 282 h 412"/>
                  <a:gd name="T48" fmla="*/ 230 w 357"/>
                  <a:gd name="T49" fmla="*/ 293 h 412"/>
                  <a:gd name="T50" fmla="*/ 240 w 357"/>
                  <a:gd name="T51" fmla="*/ 306 h 412"/>
                  <a:gd name="T52" fmla="*/ 254 w 357"/>
                  <a:gd name="T53" fmla="*/ 322 h 412"/>
                  <a:gd name="T54" fmla="*/ 273 w 357"/>
                  <a:gd name="T55" fmla="*/ 342 h 412"/>
                  <a:gd name="T56" fmla="*/ 281 w 357"/>
                  <a:gd name="T57" fmla="*/ 362 h 412"/>
                  <a:gd name="T58" fmla="*/ 272 w 357"/>
                  <a:gd name="T59" fmla="*/ 378 h 412"/>
                  <a:gd name="T60" fmla="*/ 265 w 357"/>
                  <a:gd name="T61" fmla="*/ 397 h 412"/>
                  <a:gd name="T62" fmla="*/ 271 w 357"/>
                  <a:gd name="T63" fmla="*/ 412 h 412"/>
                  <a:gd name="T64" fmla="*/ 295 w 357"/>
                  <a:gd name="T65" fmla="*/ 389 h 412"/>
                  <a:gd name="T66" fmla="*/ 311 w 357"/>
                  <a:gd name="T67" fmla="*/ 369 h 412"/>
                  <a:gd name="T68" fmla="*/ 313 w 357"/>
                  <a:gd name="T69" fmla="*/ 348 h 412"/>
                  <a:gd name="T70" fmla="*/ 294 w 357"/>
                  <a:gd name="T71" fmla="*/ 335 h 412"/>
                  <a:gd name="T72" fmla="*/ 313 w 357"/>
                  <a:gd name="T73" fmla="*/ 302 h 412"/>
                  <a:gd name="T74" fmla="*/ 332 w 357"/>
                  <a:gd name="T75" fmla="*/ 310 h 412"/>
                  <a:gd name="T76" fmla="*/ 350 w 357"/>
                  <a:gd name="T77" fmla="*/ 329 h 412"/>
                  <a:gd name="T78" fmla="*/ 357 w 357"/>
                  <a:gd name="T79" fmla="*/ 315 h 412"/>
                  <a:gd name="T80" fmla="*/ 333 w 357"/>
                  <a:gd name="T81" fmla="*/ 289 h 412"/>
                  <a:gd name="T82" fmla="*/ 293 w 357"/>
                  <a:gd name="T83" fmla="*/ 265 h 412"/>
                  <a:gd name="T84" fmla="*/ 285 w 357"/>
                  <a:gd name="T85" fmla="*/ 245 h 412"/>
                  <a:gd name="T86" fmla="*/ 249 w 357"/>
                  <a:gd name="T87" fmla="*/ 234 h 412"/>
                  <a:gd name="T88" fmla="*/ 214 w 357"/>
                  <a:gd name="T89" fmla="*/ 198 h 412"/>
                  <a:gd name="T90" fmla="*/ 205 w 357"/>
                  <a:gd name="T91" fmla="*/ 161 h 412"/>
                  <a:gd name="T92" fmla="*/ 184 w 357"/>
                  <a:gd name="T93" fmla="*/ 143 h 412"/>
                  <a:gd name="T94" fmla="*/ 178 w 357"/>
                  <a:gd name="T95" fmla="*/ 97 h 412"/>
                  <a:gd name="T96" fmla="*/ 168 w 357"/>
                  <a:gd name="T97" fmla="*/ 79 h 412"/>
                  <a:gd name="T98" fmla="*/ 182 w 357"/>
                  <a:gd name="T99" fmla="*/ 75 h 412"/>
                  <a:gd name="T100" fmla="*/ 189 w 357"/>
                  <a:gd name="T101" fmla="*/ 75 h 412"/>
                  <a:gd name="T102" fmla="*/ 200 w 357"/>
                  <a:gd name="T103" fmla="*/ 66 h 412"/>
                  <a:gd name="T104" fmla="*/ 211 w 357"/>
                  <a:gd name="T105" fmla="*/ 69 h 412"/>
                  <a:gd name="T106" fmla="*/ 217 w 357"/>
                  <a:gd name="T107" fmla="*/ 75 h 412"/>
                  <a:gd name="T108" fmla="*/ 216 w 357"/>
                  <a:gd name="T109" fmla="*/ 58 h 412"/>
                  <a:gd name="T110" fmla="*/ 213 w 357"/>
                  <a:gd name="T111" fmla="*/ 43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7" h="412">
                    <a:moveTo>
                      <a:pt x="222" y="38"/>
                    </a:moveTo>
                    <a:cubicBezTo>
                      <a:pt x="221" y="37"/>
                      <a:pt x="220" y="36"/>
                      <a:pt x="219" y="35"/>
                    </a:cubicBezTo>
                    <a:cubicBezTo>
                      <a:pt x="218" y="34"/>
                      <a:pt x="218" y="34"/>
                      <a:pt x="217" y="33"/>
                    </a:cubicBezTo>
                    <a:cubicBezTo>
                      <a:pt x="216" y="33"/>
                      <a:pt x="215" y="33"/>
                      <a:pt x="213" y="32"/>
                    </a:cubicBezTo>
                    <a:cubicBezTo>
                      <a:pt x="212" y="31"/>
                      <a:pt x="211" y="31"/>
                      <a:pt x="209" y="30"/>
                    </a:cubicBezTo>
                    <a:cubicBezTo>
                      <a:pt x="208" y="30"/>
                      <a:pt x="207" y="29"/>
                      <a:pt x="205" y="28"/>
                    </a:cubicBezTo>
                    <a:cubicBezTo>
                      <a:pt x="204" y="28"/>
                      <a:pt x="204" y="27"/>
                      <a:pt x="203" y="26"/>
                    </a:cubicBezTo>
                    <a:cubicBezTo>
                      <a:pt x="200" y="25"/>
                      <a:pt x="199" y="24"/>
                      <a:pt x="196" y="23"/>
                    </a:cubicBezTo>
                    <a:cubicBezTo>
                      <a:pt x="195" y="22"/>
                      <a:pt x="194" y="22"/>
                      <a:pt x="192" y="22"/>
                    </a:cubicBezTo>
                    <a:cubicBezTo>
                      <a:pt x="189" y="22"/>
                      <a:pt x="187" y="21"/>
                      <a:pt x="184" y="20"/>
                    </a:cubicBezTo>
                    <a:cubicBezTo>
                      <a:pt x="182" y="18"/>
                      <a:pt x="182" y="17"/>
                      <a:pt x="181" y="16"/>
                    </a:cubicBezTo>
                    <a:cubicBezTo>
                      <a:pt x="180" y="14"/>
                      <a:pt x="179" y="14"/>
                      <a:pt x="179" y="12"/>
                    </a:cubicBezTo>
                    <a:cubicBezTo>
                      <a:pt x="178" y="10"/>
                      <a:pt x="178" y="9"/>
                      <a:pt x="178" y="7"/>
                    </a:cubicBezTo>
                    <a:cubicBezTo>
                      <a:pt x="178" y="6"/>
                      <a:pt x="178" y="6"/>
                      <a:pt x="178" y="6"/>
                    </a:cubicBezTo>
                    <a:cubicBezTo>
                      <a:pt x="178" y="4"/>
                      <a:pt x="178" y="4"/>
                      <a:pt x="178" y="2"/>
                    </a:cubicBezTo>
                    <a:cubicBezTo>
                      <a:pt x="177" y="2"/>
                      <a:pt x="177" y="2"/>
                      <a:pt x="177" y="2"/>
                    </a:cubicBezTo>
                    <a:cubicBezTo>
                      <a:pt x="177" y="2"/>
                      <a:pt x="176" y="2"/>
                      <a:pt x="176" y="2"/>
                    </a:cubicBezTo>
                    <a:cubicBezTo>
                      <a:pt x="174" y="3"/>
                      <a:pt x="173" y="3"/>
                      <a:pt x="172" y="3"/>
                    </a:cubicBezTo>
                    <a:cubicBezTo>
                      <a:pt x="170" y="3"/>
                      <a:pt x="168" y="3"/>
                      <a:pt x="166" y="2"/>
                    </a:cubicBezTo>
                    <a:cubicBezTo>
                      <a:pt x="164" y="2"/>
                      <a:pt x="163" y="2"/>
                      <a:pt x="161" y="2"/>
                    </a:cubicBezTo>
                    <a:cubicBezTo>
                      <a:pt x="159" y="2"/>
                      <a:pt x="158" y="1"/>
                      <a:pt x="155" y="1"/>
                    </a:cubicBezTo>
                    <a:cubicBezTo>
                      <a:pt x="153" y="1"/>
                      <a:pt x="152" y="0"/>
                      <a:pt x="150" y="0"/>
                    </a:cubicBezTo>
                    <a:cubicBezTo>
                      <a:pt x="149" y="0"/>
                      <a:pt x="148" y="1"/>
                      <a:pt x="147" y="1"/>
                    </a:cubicBezTo>
                    <a:cubicBezTo>
                      <a:pt x="146" y="2"/>
                      <a:pt x="144" y="2"/>
                      <a:pt x="143" y="3"/>
                    </a:cubicBezTo>
                    <a:cubicBezTo>
                      <a:pt x="141" y="4"/>
                      <a:pt x="141" y="4"/>
                      <a:pt x="139" y="4"/>
                    </a:cubicBezTo>
                    <a:cubicBezTo>
                      <a:pt x="138" y="5"/>
                      <a:pt x="138" y="5"/>
                      <a:pt x="137" y="5"/>
                    </a:cubicBezTo>
                    <a:cubicBezTo>
                      <a:pt x="136" y="5"/>
                      <a:pt x="135" y="4"/>
                      <a:pt x="134" y="4"/>
                    </a:cubicBezTo>
                    <a:cubicBezTo>
                      <a:pt x="133" y="3"/>
                      <a:pt x="132" y="2"/>
                      <a:pt x="132" y="1"/>
                    </a:cubicBezTo>
                    <a:cubicBezTo>
                      <a:pt x="130" y="4"/>
                      <a:pt x="129" y="5"/>
                      <a:pt x="126" y="6"/>
                    </a:cubicBezTo>
                    <a:cubicBezTo>
                      <a:pt x="125" y="6"/>
                      <a:pt x="124" y="7"/>
                      <a:pt x="123" y="7"/>
                    </a:cubicBezTo>
                    <a:cubicBezTo>
                      <a:pt x="122" y="9"/>
                      <a:pt x="121" y="10"/>
                      <a:pt x="121" y="12"/>
                    </a:cubicBezTo>
                    <a:cubicBezTo>
                      <a:pt x="120" y="13"/>
                      <a:pt x="120" y="14"/>
                      <a:pt x="120" y="16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0" y="21"/>
                      <a:pt x="119" y="22"/>
                      <a:pt x="119" y="22"/>
                    </a:cubicBezTo>
                    <a:cubicBezTo>
                      <a:pt x="119" y="23"/>
                      <a:pt x="119" y="24"/>
                      <a:pt x="119" y="25"/>
                    </a:cubicBezTo>
                    <a:cubicBezTo>
                      <a:pt x="116" y="23"/>
                      <a:pt x="115" y="21"/>
                      <a:pt x="111" y="20"/>
                    </a:cubicBezTo>
                    <a:cubicBezTo>
                      <a:pt x="111" y="25"/>
                      <a:pt x="111" y="28"/>
                      <a:pt x="110" y="33"/>
                    </a:cubicBezTo>
                    <a:cubicBezTo>
                      <a:pt x="108" y="31"/>
                      <a:pt x="107" y="30"/>
                      <a:pt x="105" y="29"/>
                    </a:cubicBezTo>
                    <a:cubicBezTo>
                      <a:pt x="103" y="27"/>
                      <a:pt x="101" y="28"/>
                      <a:pt x="99" y="27"/>
                    </a:cubicBezTo>
                    <a:cubicBezTo>
                      <a:pt x="97" y="27"/>
                      <a:pt x="94" y="28"/>
                      <a:pt x="93" y="26"/>
                    </a:cubicBezTo>
                    <a:cubicBezTo>
                      <a:pt x="92" y="25"/>
                      <a:pt x="92" y="23"/>
                      <a:pt x="92" y="22"/>
                    </a:cubicBezTo>
                    <a:cubicBezTo>
                      <a:pt x="91" y="21"/>
                      <a:pt x="91" y="21"/>
                      <a:pt x="90" y="20"/>
                    </a:cubicBezTo>
                    <a:cubicBezTo>
                      <a:pt x="89" y="21"/>
                      <a:pt x="89" y="22"/>
                      <a:pt x="88" y="23"/>
                    </a:cubicBezTo>
                    <a:cubicBezTo>
                      <a:pt x="88" y="25"/>
                      <a:pt x="87" y="25"/>
                      <a:pt x="86" y="26"/>
                    </a:cubicBezTo>
                    <a:cubicBezTo>
                      <a:pt x="85" y="28"/>
                      <a:pt x="84" y="30"/>
                      <a:pt x="82" y="31"/>
                    </a:cubicBezTo>
                    <a:cubicBezTo>
                      <a:pt x="81" y="33"/>
                      <a:pt x="80" y="34"/>
                      <a:pt x="79" y="36"/>
                    </a:cubicBezTo>
                    <a:cubicBezTo>
                      <a:pt x="78" y="39"/>
                      <a:pt x="77" y="42"/>
                      <a:pt x="74" y="44"/>
                    </a:cubicBezTo>
                    <a:cubicBezTo>
                      <a:pt x="73" y="41"/>
                      <a:pt x="72" y="41"/>
                      <a:pt x="71" y="39"/>
                    </a:cubicBezTo>
                    <a:cubicBezTo>
                      <a:pt x="70" y="37"/>
                      <a:pt x="70" y="35"/>
                      <a:pt x="68" y="34"/>
                    </a:cubicBezTo>
                    <a:cubicBezTo>
                      <a:pt x="66" y="32"/>
                      <a:pt x="65" y="32"/>
                      <a:pt x="63" y="31"/>
                    </a:cubicBezTo>
                    <a:cubicBezTo>
                      <a:pt x="61" y="30"/>
                      <a:pt x="59" y="29"/>
                      <a:pt x="59" y="27"/>
                    </a:cubicBezTo>
                    <a:cubicBezTo>
                      <a:pt x="59" y="26"/>
                      <a:pt x="60" y="25"/>
                      <a:pt x="60" y="23"/>
                    </a:cubicBezTo>
                    <a:cubicBezTo>
                      <a:pt x="60" y="22"/>
                      <a:pt x="60" y="21"/>
                      <a:pt x="60" y="20"/>
                    </a:cubicBezTo>
                    <a:cubicBezTo>
                      <a:pt x="58" y="22"/>
                      <a:pt x="56" y="23"/>
                      <a:pt x="53" y="25"/>
                    </a:cubicBezTo>
                    <a:cubicBezTo>
                      <a:pt x="52" y="25"/>
                      <a:pt x="51" y="25"/>
                      <a:pt x="50" y="26"/>
                    </a:cubicBezTo>
                    <a:cubicBezTo>
                      <a:pt x="49" y="27"/>
                      <a:pt x="49" y="28"/>
                      <a:pt x="49" y="29"/>
                    </a:cubicBezTo>
                    <a:cubicBezTo>
                      <a:pt x="49" y="30"/>
                      <a:pt x="48" y="31"/>
                      <a:pt x="48" y="31"/>
                    </a:cubicBezTo>
                    <a:cubicBezTo>
                      <a:pt x="48" y="32"/>
                      <a:pt x="49" y="33"/>
                      <a:pt x="48" y="33"/>
                    </a:cubicBezTo>
                    <a:cubicBezTo>
                      <a:pt x="48" y="34"/>
                      <a:pt x="47" y="34"/>
                      <a:pt x="46" y="34"/>
                    </a:cubicBezTo>
                    <a:cubicBezTo>
                      <a:pt x="44" y="35"/>
                      <a:pt x="43" y="35"/>
                      <a:pt x="40" y="36"/>
                    </a:cubicBezTo>
                    <a:cubicBezTo>
                      <a:pt x="39" y="36"/>
                      <a:pt x="39" y="37"/>
                      <a:pt x="38" y="37"/>
                    </a:cubicBezTo>
                    <a:cubicBezTo>
                      <a:pt x="35" y="37"/>
                      <a:pt x="35" y="33"/>
                      <a:pt x="33" y="33"/>
                    </a:cubicBezTo>
                    <a:cubicBezTo>
                      <a:pt x="32" y="33"/>
                      <a:pt x="31" y="34"/>
                      <a:pt x="30" y="34"/>
                    </a:cubicBezTo>
                    <a:cubicBezTo>
                      <a:pt x="28" y="35"/>
                      <a:pt x="27" y="34"/>
                      <a:pt x="26" y="35"/>
                    </a:cubicBezTo>
                    <a:cubicBezTo>
                      <a:pt x="24" y="35"/>
                      <a:pt x="24" y="35"/>
                      <a:pt x="22" y="35"/>
                    </a:cubicBezTo>
                    <a:cubicBezTo>
                      <a:pt x="19" y="35"/>
                      <a:pt x="17" y="34"/>
                      <a:pt x="14" y="34"/>
                    </a:cubicBezTo>
                    <a:cubicBezTo>
                      <a:pt x="12" y="35"/>
                      <a:pt x="11" y="35"/>
                      <a:pt x="10" y="35"/>
                    </a:cubicBezTo>
                    <a:cubicBezTo>
                      <a:pt x="10" y="35"/>
                      <a:pt x="9" y="35"/>
                      <a:pt x="9" y="36"/>
                    </a:cubicBezTo>
                    <a:cubicBezTo>
                      <a:pt x="9" y="36"/>
                      <a:pt x="10" y="36"/>
                      <a:pt x="10" y="37"/>
                    </a:cubicBezTo>
                    <a:cubicBezTo>
                      <a:pt x="11" y="38"/>
                      <a:pt x="11" y="39"/>
                      <a:pt x="11" y="40"/>
                    </a:cubicBezTo>
                    <a:cubicBezTo>
                      <a:pt x="12" y="43"/>
                      <a:pt x="11" y="45"/>
                      <a:pt x="13" y="48"/>
                    </a:cubicBezTo>
                    <a:cubicBezTo>
                      <a:pt x="15" y="50"/>
                      <a:pt x="16" y="52"/>
                      <a:pt x="16" y="55"/>
                    </a:cubicBezTo>
                    <a:cubicBezTo>
                      <a:pt x="16" y="57"/>
                      <a:pt x="15" y="59"/>
                      <a:pt x="13" y="61"/>
                    </a:cubicBezTo>
                    <a:cubicBezTo>
                      <a:pt x="11" y="62"/>
                      <a:pt x="8" y="62"/>
                      <a:pt x="5" y="64"/>
                    </a:cubicBezTo>
                    <a:cubicBezTo>
                      <a:pt x="4" y="64"/>
                      <a:pt x="3" y="64"/>
                      <a:pt x="2" y="65"/>
                    </a:cubicBezTo>
                    <a:cubicBezTo>
                      <a:pt x="2" y="65"/>
                      <a:pt x="2" y="66"/>
                      <a:pt x="2" y="68"/>
                    </a:cubicBezTo>
                    <a:cubicBezTo>
                      <a:pt x="2" y="69"/>
                      <a:pt x="2" y="70"/>
                      <a:pt x="1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4" y="75"/>
                      <a:pt x="5" y="75"/>
                      <a:pt x="8" y="77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2" y="100"/>
                      <a:pt x="2" y="101"/>
                      <a:pt x="3" y="104"/>
                    </a:cubicBezTo>
                    <a:cubicBezTo>
                      <a:pt x="3" y="106"/>
                      <a:pt x="6" y="106"/>
                      <a:pt x="8" y="107"/>
                    </a:cubicBezTo>
                    <a:cubicBezTo>
                      <a:pt x="11" y="108"/>
                      <a:pt x="12" y="110"/>
                      <a:pt x="14" y="112"/>
                    </a:cubicBezTo>
                    <a:cubicBezTo>
                      <a:pt x="16" y="113"/>
                      <a:pt x="16" y="114"/>
                      <a:pt x="18" y="116"/>
                    </a:cubicBezTo>
                    <a:cubicBezTo>
                      <a:pt x="18" y="117"/>
                      <a:pt x="19" y="117"/>
                      <a:pt x="19" y="118"/>
                    </a:cubicBezTo>
                    <a:cubicBezTo>
                      <a:pt x="19" y="119"/>
                      <a:pt x="18" y="120"/>
                      <a:pt x="17" y="121"/>
                    </a:cubicBezTo>
                    <a:cubicBezTo>
                      <a:pt x="17" y="122"/>
                      <a:pt x="16" y="123"/>
                      <a:pt x="16" y="125"/>
                    </a:cubicBezTo>
                    <a:cubicBezTo>
                      <a:pt x="16" y="126"/>
                      <a:pt x="17" y="127"/>
                      <a:pt x="17" y="128"/>
                    </a:cubicBezTo>
                    <a:cubicBezTo>
                      <a:pt x="18" y="128"/>
                      <a:pt x="19" y="128"/>
                      <a:pt x="20" y="128"/>
                    </a:cubicBezTo>
                    <a:cubicBezTo>
                      <a:pt x="22" y="128"/>
                      <a:pt x="23" y="128"/>
                      <a:pt x="24" y="127"/>
                    </a:cubicBezTo>
                    <a:cubicBezTo>
                      <a:pt x="28" y="127"/>
                      <a:pt x="30" y="126"/>
                      <a:pt x="34" y="125"/>
                    </a:cubicBezTo>
                    <a:cubicBezTo>
                      <a:pt x="35" y="125"/>
                      <a:pt x="36" y="125"/>
                      <a:pt x="37" y="125"/>
                    </a:cubicBezTo>
                    <a:cubicBezTo>
                      <a:pt x="38" y="124"/>
                      <a:pt x="38" y="122"/>
                      <a:pt x="38" y="121"/>
                    </a:cubicBezTo>
                    <a:cubicBezTo>
                      <a:pt x="39" y="120"/>
                      <a:pt x="40" y="119"/>
                      <a:pt x="41" y="118"/>
                    </a:cubicBezTo>
                    <a:cubicBezTo>
                      <a:pt x="42" y="117"/>
                      <a:pt x="42" y="115"/>
                      <a:pt x="44" y="115"/>
                    </a:cubicBezTo>
                    <a:cubicBezTo>
                      <a:pt x="45" y="114"/>
                      <a:pt x="46" y="115"/>
                      <a:pt x="47" y="115"/>
                    </a:cubicBezTo>
                    <a:cubicBezTo>
                      <a:pt x="48" y="114"/>
                      <a:pt x="48" y="113"/>
                      <a:pt x="49" y="112"/>
                    </a:cubicBezTo>
                    <a:cubicBezTo>
                      <a:pt x="50" y="110"/>
                      <a:pt x="51" y="109"/>
                      <a:pt x="53" y="108"/>
                    </a:cubicBezTo>
                    <a:cubicBezTo>
                      <a:pt x="53" y="108"/>
                      <a:pt x="54" y="108"/>
                      <a:pt x="55" y="108"/>
                    </a:cubicBezTo>
                    <a:cubicBezTo>
                      <a:pt x="56" y="108"/>
                      <a:pt x="56" y="107"/>
                      <a:pt x="57" y="107"/>
                    </a:cubicBezTo>
                    <a:cubicBezTo>
                      <a:pt x="58" y="107"/>
                      <a:pt x="58" y="107"/>
                      <a:pt x="59" y="108"/>
                    </a:cubicBezTo>
                    <a:cubicBezTo>
                      <a:pt x="60" y="108"/>
                      <a:pt x="61" y="108"/>
                      <a:pt x="62" y="108"/>
                    </a:cubicBezTo>
                    <a:cubicBezTo>
                      <a:pt x="65" y="109"/>
                      <a:pt x="67" y="109"/>
                      <a:pt x="68" y="111"/>
                    </a:cubicBezTo>
                    <a:cubicBezTo>
                      <a:pt x="69" y="112"/>
                      <a:pt x="70" y="114"/>
                      <a:pt x="71" y="114"/>
                    </a:cubicBezTo>
                    <a:cubicBezTo>
                      <a:pt x="72" y="114"/>
                      <a:pt x="73" y="112"/>
                      <a:pt x="74" y="112"/>
                    </a:cubicBezTo>
                    <a:cubicBezTo>
                      <a:pt x="75" y="112"/>
                      <a:pt x="75" y="113"/>
                      <a:pt x="76" y="114"/>
                    </a:cubicBezTo>
                    <a:cubicBezTo>
                      <a:pt x="79" y="116"/>
                      <a:pt x="81" y="117"/>
                      <a:pt x="82" y="119"/>
                    </a:cubicBezTo>
                    <a:cubicBezTo>
                      <a:pt x="83" y="121"/>
                      <a:pt x="84" y="121"/>
                      <a:pt x="85" y="122"/>
                    </a:cubicBezTo>
                    <a:cubicBezTo>
                      <a:pt x="86" y="123"/>
                      <a:pt x="87" y="125"/>
                      <a:pt x="89" y="125"/>
                    </a:cubicBezTo>
                    <a:cubicBezTo>
                      <a:pt x="90" y="125"/>
                      <a:pt x="90" y="123"/>
                      <a:pt x="92" y="123"/>
                    </a:cubicBezTo>
                    <a:cubicBezTo>
                      <a:pt x="93" y="123"/>
                      <a:pt x="93" y="124"/>
                      <a:pt x="94" y="125"/>
                    </a:cubicBezTo>
                    <a:cubicBezTo>
                      <a:pt x="96" y="127"/>
                      <a:pt x="96" y="128"/>
                      <a:pt x="98" y="130"/>
                    </a:cubicBezTo>
                    <a:cubicBezTo>
                      <a:pt x="100" y="132"/>
                      <a:pt x="101" y="134"/>
                      <a:pt x="101" y="136"/>
                    </a:cubicBezTo>
                    <a:cubicBezTo>
                      <a:pt x="101" y="140"/>
                      <a:pt x="101" y="140"/>
                      <a:pt x="101" y="140"/>
                    </a:cubicBezTo>
                    <a:cubicBezTo>
                      <a:pt x="101" y="143"/>
                      <a:pt x="100" y="144"/>
                      <a:pt x="100" y="147"/>
                    </a:cubicBezTo>
                    <a:cubicBezTo>
                      <a:pt x="100" y="152"/>
                      <a:pt x="101" y="154"/>
                      <a:pt x="104" y="158"/>
                    </a:cubicBezTo>
                    <a:cubicBezTo>
                      <a:pt x="105" y="161"/>
                      <a:pt x="107" y="161"/>
                      <a:pt x="107" y="164"/>
                    </a:cubicBezTo>
                    <a:cubicBezTo>
                      <a:pt x="108" y="167"/>
                      <a:pt x="109" y="168"/>
                      <a:pt x="109" y="171"/>
                    </a:cubicBezTo>
                    <a:cubicBezTo>
                      <a:pt x="109" y="173"/>
                      <a:pt x="109" y="174"/>
                      <a:pt x="108" y="175"/>
                    </a:cubicBezTo>
                    <a:cubicBezTo>
                      <a:pt x="108" y="177"/>
                      <a:pt x="107" y="178"/>
                      <a:pt x="107" y="180"/>
                    </a:cubicBezTo>
                    <a:cubicBezTo>
                      <a:pt x="107" y="181"/>
                      <a:pt x="108" y="182"/>
                      <a:pt x="110" y="182"/>
                    </a:cubicBezTo>
                    <a:cubicBezTo>
                      <a:pt x="111" y="182"/>
                      <a:pt x="111" y="181"/>
                      <a:pt x="112" y="181"/>
                    </a:cubicBezTo>
                    <a:cubicBezTo>
                      <a:pt x="113" y="181"/>
                      <a:pt x="113" y="182"/>
                      <a:pt x="114" y="183"/>
                    </a:cubicBezTo>
                    <a:cubicBezTo>
                      <a:pt x="114" y="184"/>
                      <a:pt x="115" y="185"/>
                      <a:pt x="117" y="186"/>
                    </a:cubicBezTo>
                    <a:cubicBezTo>
                      <a:pt x="119" y="188"/>
                      <a:pt x="119" y="189"/>
                      <a:pt x="122" y="191"/>
                    </a:cubicBezTo>
                    <a:cubicBezTo>
                      <a:pt x="123" y="191"/>
                      <a:pt x="124" y="191"/>
                      <a:pt x="125" y="192"/>
                    </a:cubicBezTo>
                    <a:cubicBezTo>
                      <a:pt x="126" y="193"/>
                      <a:pt x="126" y="194"/>
                      <a:pt x="126" y="195"/>
                    </a:cubicBezTo>
                    <a:cubicBezTo>
                      <a:pt x="126" y="195"/>
                      <a:pt x="126" y="196"/>
                      <a:pt x="127" y="197"/>
                    </a:cubicBezTo>
                    <a:cubicBezTo>
                      <a:pt x="128" y="197"/>
                      <a:pt x="129" y="198"/>
                      <a:pt x="129" y="199"/>
                    </a:cubicBezTo>
                    <a:cubicBezTo>
                      <a:pt x="129" y="200"/>
                      <a:pt x="129" y="201"/>
                      <a:pt x="128" y="201"/>
                    </a:cubicBezTo>
                    <a:cubicBezTo>
                      <a:pt x="127" y="201"/>
                      <a:pt x="127" y="201"/>
                      <a:pt x="127" y="201"/>
                    </a:cubicBezTo>
                    <a:cubicBezTo>
                      <a:pt x="125" y="201"/>
                      <a:pt x="123" y="201"/>
                      <a:pt x="123" y="203"/>
                    </a:cubicBezTo>
                    <a:cubicBezTo>
                      <a:pt x="123" y="204"/>
                      <a:pt x="124" y="204"/>
                      <a:pt x="125" y="205"/>
                    </a:cubicBezTo>
                    <a:cubicBezTo>
                      <a:pt x="125" y="206"/>
                      <a:pt x="125" y="207"/>
                      <a:pt x="126" y="207"/>
                    </a:cubicBezTo>
                    <a:cubicBezTo>
                      <a:pt x="127" y="207"/>
                      <a:pt x="127" y="206"/>
                      <a:pt x="127" y="205"/>
                    </a:cubicBezTo>
                    <a:cubicBezTo>
                      <a:pt x="128" y="205"/>
                      <a:pt x="129" y="205"/>
                      <a:pt x="130" y="205"/>
                    </a:cubicBezTo>
                    <a:cubicBezTo>
                      <a:pt x="132" y="205"/>
                      <a:pt x="134" y="205"/>
                      <a:pt x="136" y="206"/>
                    </a:cubicBezTo>
                    <a:cubicBezTo>
                      <a:pt x="138" y="207"/>
                      <a:pt x="138" y="208"/>
                      <a:pt x="139" y="209"/>
                    </a:cubicBezTo>
                    <a:cubicBezTo>
                      <a:pt x="140" y="212"/>
                      <a:pt x="141" y="213"/>
                      <a:pt x="143" y="216"/>
                    </a:cubicBezTo>
                    <a:cubicBezTo>
                      <a:pt x="143" y="217"/>
                      <a:pt x="143" y="218"/>
                      <a:pt x="144" y="219"/>
                    </a:cubicBezTo>
                    <a:cubicBezTo>
                      <a:pt x="146" y="221"/>
                      <a:pt x="148" y="221"/>
                      <a:pt x="150" y="222"/>
                    </a:cubicBezTo>
                    <a:cubicBezTo>
                      <a:pt x="151" y="223"/>
                      <a:pt x="152" y="224"/>
                      <a:pt x="153" y="225"/>
                    </a:cubicBezTo>
                    <a:cubicBezTo>
                      <a:pt x="155" y="227"/>
                      <a:pt x="156" y="227"/>
                      <a:pt x="158" y="229"/>
                    </a:cubicBezTo>
                    <a:cubicBezTo>
                      <a:pt x="159" y="232"/>
                      <a:pt x="158" y="234"/>
                      <a:pt x="160" y="237"/>
                    </a:cubicBezTo>
                    <a:cubicBezTo>
                      <a:pt x="161" y="238"/>
                      <a:pt x="162" y="238"/>
                      <a:pt x="163" y="239"/>
                    </a:cubicBezTo>
                    <a:cubicBezTo>
                      <a:pt x="165" y="242"/>
                      <a:pt x="165" y="243"/>
                      <a:pt x="167" y="246"/>
                    </a:cubicBezTo>
                    <a:cubicBezTo>
                      <a:pt x="168" y="249"/>
                      <a:pt x="170" y="251"/>
                      <a:pt x="173" y="252"/>
                    </a:cubicBezTo>
                    <a:cubicBezTo>
                      <a:pt x="174" y="253"/>
                      <a:pt x="175" y="253"/>
                      <a:pt x="176" y="253"/>
                    </a:cubicBezTo>
                    <a:cubicBezTo>
                      <a:pt x="179" y="254"/>
                      <a:pt x="179" y="256"/>
                      <a:pt x="180" y="258"/>
                    </a:cubicBezTo>
                    <a:cubicBezTo>
                      <a:pt x="181" y="259"/>
                      <a:pt x="181" y="260"/>
                      <a:pt x="182" y="261"/>
                    </a:cubicBezTo>
                    <a:cubicBezTo>
                      <a:pt x="182" y="262"/>
                      <a:pt x="182" y="263"/>
                      <a:pt x="183" y="263"/>
                    </a:cubicBezTo>
                    <a:cubicBezTo>
                      <a:pt x="184" y="263"/>
                      <a:pt x="184" y="261"/>
                      <a:pt x="184" y="261"/>
                    </a:cubicBezTo>
                    <a:cubicBezTo>
                      <a:pt x="185" y="260"/>
                      <a:pt x="186" y="261"/>
                      <a:pt x="187" y="260"/>
                    </a:cubicBezTo>
                    <a:cubicBezTo>
                      <a:pt x="187" y="260"/>
                      <a:pt x="188" y="260"/>
                      <a:pt x="188" y="260"/>
                    </a:cubicBezTo>
                    <a:cubicBezTo>
                      <a:pt x="191" y="260"/>
                      <a:pt x="191" y="260"/>
                      <a:pt x="191" y="260"/>
                    </a:cubicBezTo>
                    <a:cubicBezTo>
                      <a:pt x="192" y="260"/>
                      <a:pt x="192" y="259"/>
                      <a:pt x="193" y="259"/>
                    </a:cubicBezTo>
                    <a:cubicBezTo>
                      <a:pt x="194" y="259"/>
                      <a:pt x="194" y="260"/>
                      <a:pt x="195" y="260"/>
                    </a:cubicBezTo>
                    <a:cubicBezTo>
                      <a:pt x="197" y="260"/>
                      <a:pt x="198" y="259"/>
                      <a:pt x="199" y="259"/>
                    </a:cubicBezTo>
                    <a:cubicBezTo>
                      <a:pt x="200" y="259"/>
                      <a:pt x="201" y="260"/>
                      <a:pt x="202" y="260"/>
                    </a:cubicBezTo>
                    <a:cubicBezTo>
                      <a:pt x="203" y="260"/>
                      <a:pt x="203" y="261"/>
                      <a:pt x="204" y="262"/>
                    </a:cubicBezTo>
                    <a:cubicBezTo>
                      <a:pt x="206" y="264"/>
                      <a:pt x="207" y="265"/>
                      <a:pt x="209" y="268"/>
                    </a:cubicBezTo>
                    <a:cubicBezTo>
                      <a:pt x="210" y="271"/>
                      <a:pt x="210" y="272"/>
                      <a:pt x="212" y="274"/>
                    </a:cubicBezTo>
                    <a:cubicBezTo>
                      <a:pt x="213" y="276"/>
                      <a:pt x="215" y="276"/>
                      <a:pt x="215" y="278"/>
                    </a:cubicBezTo>
                    <a:cubicBezTo>
                      <a:pt x="215" y="279"/>
                      <a:pt x="214" y="280"/>
                      <a:pt x="214" y="281"/>
                    </a:cubicBezTo>
                    <a:cubicBezTo>
                      <a:pt x="214" y="285"/>
                      <a:pt x="214" y="285"/>
                      <a:pt x="214" y="285"/>
                    </a:cubicBezTo>
                    <a:cubicBezTo>
                      <a:pt x="215" y="284"/>
                      <a:pt x="216" y="282"/>
                      <a:pt x="217" y="282"/>
                    </a:cubicBezTo>
                    <a:cubicBezTo>
                      <a:pt x="220" y="282"/>
                      <a:pt x="220" y="282"/>
                      <a:pt x="220" y="282"/>
                    </a:cubicBezTo>
                    <a:cubicBezTo>
                      <a:pt x="221" y="282"/>
                      <a:pt x="221" y="281"/>
                      <a:pt x="221" y="281"/>
                    </a:cubicBezTo>
                    <a:cubicBezTo>
                      <a:pt x="223" y="281"/>
                      <a:pt x="223" y="283"/>
                      <a:pt x="224" y="284"/>
                    </a:cubicBezTo>
                    <a:cubicBezTo>
                      <a:pt x="225" y="285"/>
                      <a:pt x="227" y="285"/>
                      <a:pt x="227" y="287"/>
                    </a:cubicBezTo>
                    <a:cubicBezTo>
                      <a:pt x="227" y="291"/>
                      <a:pt x="222" y="291"/>
                      <a:pt x="221" y="295"/>
                    </a:cubicBezTo>
                    <a:cubicBezTo>
                      <a:pt x="221" y="295"/>
                      <a:pt x="221" y="295"/>
                      <a:pt x="222" y="295"/>
                    </a:cubicBezTo>
                    <a:cubicBezTo>
                      <a:pt x="223" y="295"/>
                      <a:pt x="223" y="295"/>
                      <a:pt x="224" y="294"/>
                    </a:cubicBezTo>
                    <a:cubicBezTo>
                      <a:pt x="226" y="293"/>
                      <a:pt x="228" y="293"/>
                      <a:pt x="230" y="293"/>
                    </a:cubicBezTo>
                    <a:cubicBezTo>
                      <a:pt x="231" y="292"/>
                      <a:pt x="232" y="291"/>
                      <a:pt x="234" y="291"/>
                    </a:cubicBezTo>
                    <a:cubicBezTo>
                      <a:pt x="235" y="291"/>
                      <a:pt x="235" y="291"/>
                      <a:pt x="236" y="292"/>
                    </a:cubicBezTo>
                    <a:cubicBezTo>
                      <a:pt x="237" y="292"/>
                      <a:pt x="237" y="293"/>
                      <a:pt x="238" y="293"/>
                    </a:cubicBezTo>
                    <a:cubicBezTo>
                      <a:pt x="238" y="294"/>
                      <a:pt x="238" y="295"/>
                      <a:pt x="238" y="296"/>
                    </a:cubicBezTo>
                    <a:cubicBezTo>
                      <a:pt x="239" y="299"/>
                      <a:pt x="241" y="300"/>
                      <a:pt x="241" y="303"/>
                    </a:cubicBezTo>
                    <a:cubicBezTo>
                      <a:pt x="241" y="304"/>
                      <a:pt x="241" y="304"/>
                      <a:pt x="240" y="305"/>
                    </a:cubicBezTo>
                    <a:cubicBezTo>
                      <a:pt x="240" y="305"/>
                      <a:pt x="240" y="306"/>
                      <a:pt x="240" y="306"/>
                    </a:cubicBezTo>
                    <a:cubicBezTo>
                      <a:pt x="239" y="307"/>
                      <a:pt x="238" y="307"/>
                      <a:pt x="238" y="308"/>
                    </a:cubicBezTo>
                    <a:cubicBezTo>
                      <a:pt x="238" y="309"/>
                      <a:pt x="239" y="309"/>
                      <a:pt x="240" y="309"/>
                    </a:cubicBezTo>
                    <a:cubicBezTo>
                      <a:pt x="241" y="309"/>
                      <a:pt x="241" y="309"/>
                      <a:pt x="243" y="310"/>
                    </a:cubicBezTo>
                    <a:cubicBezTo>
                      <a:pt x="244" y="311"/>
                      <a:pt x="245" y="311"/>
                      <a:pt x="246" y="312"/>
                    </a:cubicBezTo>
                    <a:cubicBezTo>
                      <a:pt x="249" y="314"/>
                      <a:pt x="251" y="316"/>
                      <a:pt x="251" y="319"/>
                    </a:cubicBezTo>
                    <a:cubicBezTo>
                      <a:pt x="251" y="320"/>
                      <a:pt x="250" y="320"/>
                      <a:pt x="250" y="320"/>
                    </a:cubicBezTo>
                    <a:cubicBezTo>
                      <a:pt x="250" y="322"/>
                      <a:pt x="252" y="322"/>
                      <a:pt x="254" y="322"/>
                    </a:cubicBezTo>
                    <a:cubicBezTo>
                      <a:pt x="255" y="322"/>
                      <a:pt x="256" y="322"/>
                      <a:pt x="256" y="320"/>
                    </a:cubicBezTo>
                    <a:cubicBezTo>
                      <a:pt x="257" y="319"/>
                      <a:pt x="258" y="319"/>
                      <a:pt x="259" y="318"/>
                    </a:cubicBezTo>
                    <a:cubicBezTo>
                      <a:pt x="259" y="317"/>
                      <a:pt x="260" y="316"/>
                      <a:pt x="261" y="316"/>
                    </a:cubicBezTo>
                    <a:cubicBezTo>
                      <a:pt x="265" y="316"/>
                      <a:pt x="267" y="320"/>
                      <a:pt x="268" y="324"/>
                    </a:cubicBezTo>
                    <a:cubicBezTo>
                      <a:pt x="268" y="326"/>
                      <a:pt x="269" y="327"/>
                      <a:pt x="269" y="329"/>
                    </a:cubicBezTo>
                    <a:cubicBezTo>
                      <a:pt x="269" y="329"/>
                      <a:pt x="269" y="330"/>
                      <a:pt x="269" y="331"/>
                    </a:cubicBezTo>
                    <a:cubicBezTo>
                      <a:pt x="271" y="335"/>
                      <a:pt x="269" y="339"/>
                      <a:pt x="273" y="342"/>
                    </a:cubicBezTo>
                    <a:cubicBezTo>
                      <a:pt x="275" y="343"/>
                      <a:pt x="276" y="343"/>
                      <a:pt x="277" y="345"/>
                    </a:cubicBezTo>
                    <a:cubicBezTo>
                      <a:pt x="277" y="346"/>
                      <a:pt x="277" y="347"/>
                      <a:pt x="278" y="348"/>
                    </a:cubicBezTo>
                    <a:cubicBezTo>
                      <a:pt x="278" y="349"/>
                      <a:pt x="279" y="350"/>
                      <a:pt x="279" y="351"/>
                    </a:cubicBezTo>
                    <a:cubicBezTo>
                      <a:pt x="279" y="355"/>
                      <a:pt x="279" y="355"/>
                      <a:pt x="279" y="355"/>
                    </a:cubicBezTo>
                    <a:cubicBezTo>
                      <a:pt x="279" y="355"/>
                      <a:pt x="279" y="355"/>
                      <a:pt x="279" y="356"/>
                    </a:cubicBezTo>
                    <a:cubicBezTo>
                      <a:pt x="279" y="358"/>
                      <a:pt x="279" y="358"/>
                      <a:pt x="279" y="358"/>
                    </a:cubicBezTo>
                    <a:cubicBezTo>
                      <a:pt x="279" y="360"/>
                      <a:pt x="279" y="361"/>
                      <a:pt x="281" y="362"/>
                    </a:cubicBezTo>
                    <a:cubicBezTo>
                      <a:pt x="282" y="363"/>
                      <a:pt x="283" y="363"/>
                      <a:pt x="284" y="364"/>
                    </a:cubicBezTo>
                    <a:cubicBezTo>
                      <a:pt x="285" y="366"/>
                      <a:pt x="285" y="367"/>
                      <a:pt x="285" y="369"/>
                    </a:cubicBezTo>
                    <a:cubicBezTo>
                      <a:pt x="285" y="371"/>
                      <a:pt x="284" y="373"/>
                      <a:pt x="282" y="374"/>
                    </a:cubicBezTo>
                    <a:cubicBezTo>
                      <a:pt x="282" y="375"/>
                      <a:pt x="281" y="375"/>
                      <a:pt x="281" y="375"/>
                    </a:cubicBezTo>
                    <a:cubicBezTo>
                      <a:pt x="277" y="375"/>
                      <a:pt x="277" y="375"/>
                      <a:pt x="277" y="375"/>
                    </a:cubicBezTo>
                    <a:cubicBezTo>
                      <a:pt x="276" y="375"/>
                      <a:pt x="276" y="376"/>
                      <a:pt x="275" y="376"/>
                    </a:cubicBezTo>
                    <a:cubicBezTo>
                      <a:pt x="275" y="378"/>
                      <a:pt x="273" y="378"/>
                      <a:pt x="272" y="378"/>
                    </a:cubicBezTo>
                    <a:cubicBezTo>
                      <a:pt x="271" y="379"/>
                      <a:pt x="271" y="380"/>
                      <a:pt x="270" y="381"/>
                    </a:cubicBezTo>
                    <a:cubicBezTo>
                      <a:pt x="269" y="381"/>
                      <a:pt x="268" y="381"/>
                      <a:pt x="268" y="382"/>
                    </a:cubicBezTo>
                    <a:cubicBezTo>
                      <a:pt x="268" y="383"/>
                      <a:pt x="268" y="384"/>
                      <a:pt x="269" y="384"/>
                    </a:cubicBezTo>
                    <a:cubicBezTo>
                      <a:pt x="270" y="385"/>
                      <a:pt x="272" y="385"/>
                      <a:pt x="272" y="386"/>
                    </a:cubicBezTo>
                    <a:cubicBezTo>
                      <a:pt x="272" y="388"/>
                      <a:pt x="271" y="389"/>
                      <a:pt x="270" y="391"/>
                    </a:cubicBezTo>
                    <a:cubicBezTo>
                      <a:pt x="270" y="392"/>
                      <a:pt x="269" y="393"/>
                      <a:pt x="268" y="395"/>
                    </a:cubicBezTo>
                    <a:cubicBezTo>
                      <a:pt x="267" y="396"/>
                      <a:pt x="267" y="396"/>
                      <a:pt x="265" y="397"/>
                    </a:cubicBezTo>
                    <a:cubicBezTo>
                      <a:pt x="263" y="397"/>
                      <a:pt x="262" y="399"/>
                      <a:pt x="262" y="401"/>
                    </a:cubicBezTo>
                    <a:cubicBezTo>
                      <a:pt x="262" y="404"/>
                      <a:pt x="262" y="404"/>
                      <a:pt x="262" y="404"/>
                    </a:cubicBezTo>
                    <a:cubicBezTo>
                      <a:pt x="262" y="406"/>
                      <a:pt x="263" y="407"/>
                      <a:pt x="264" y="408"/>
                    </a:cubicBezTo>
                    <a:cubicBezTo>
                      <a:pt x="264" y="410"/>
                      <a:pt x="264" y="411"/>
                      <a:pt x="265" y="411"/>
                    </a:cubicBezTo>
                    <a:cubicBezTo>
                      <a:pt x="266" y="411"/>
                      <a:pt x="266" y="411"/>
                      <a:pt x="267" y="411"/>
                    </a:cubicBezTo>
                    <a:cubicBezTo>
                      <a:pt x="269" y="411"/>
                      <a:pt x="269" y="411"/>
                      <a:pt x="269" y="411"/>
                    </a:cubicBezTo>
                    <a:cubicBezTo>
                      <a:pt x="270" y="411"/>
                      <a:pt x="270" y="412"/>
                      <a:pt x="271" y="412"/>
                    </a:cubicBezTo>
                    <a:cubicBezTo>
                      <a:pt x="272" y="412"/>
                      <a:pt x="273" y="412"/>
                      <a:pt x="274" y="412"/>
                    </a:cubicBezTo>
                    <a:cubicBezTo>
                      <a:pt x="275" y="412"/>
                      <a:pt x="276" y="412"/>
                      <a:pt x="277" y="411"/>
                    </a:cubicBezTo>
                    <a:cubicBezTo>
                      <a:pt x="279" y="409"/>
                      <a:pt x="278" y="408"/>
                      <a:pt x="279" y="405"/>
                    </a:cubicBezTo>
                    <a:cubicBezTo>
                      <a:pt x="280" y="403"/>
                      <a:pt x="281" y="401"/>
                      <a:pt x="282" y="399"/>
                    </a:cubicBezTo>
                    <a:cubicBezTo>
                      <a:pt x="283" y="395"/>
                      <a:pt x="286" y="394"/>
                      <a:pt x="290" y="393"/>
                    </a:cubicBezTo>
                    <a:cubicBezTo>
                      <a:pt x="291" y="392"/>
                      <a:pt x="292" y="392"/>
                      <a:pt x="294" y="391"/>
                    </a:cubicBezTo>
                    <a:cubicBezTo>
                      <a:pt x="294" y="390"/>
                      <a:pt x="295" y="390"/>
                      <a:pt x="295" y="389"/>
                    </a:cubicBezTo>
                    <a:cubicBezTo>
                      <a:pt x="295" y="388"/>
                      <a:pt x="294" y="388"/>
                      <a:pt x="294" y="386"/>
                    </a:cubicBezTo>
                    <a:cubicBezTo>
                      <a:pt x="294" y="383"/>
                      <a:pt x="294" y="381"/>
                      <a:pt x="294" y="377"/>
                    </a:cubicBezTo>
                    <a:cubicBezTo>
                      <a:pt x="294" y="374"/>
                      <a:pt x="295" y="373"/>
                      <a:pt x="297" y="371"/>
                    </a:cubicBezTo>
                    <a:cubicBezTo>
                      <a:pt x="298" y="369"/>
                      <a:pt x="300" y="368"/>
                      <a:pt x="302" y="368"/>
                    </a:cubicBezTo>
                    <a:cubicBezTo>
                      <a:pt x="303" y="367"/>
                      <a:pt x="303" y="368"/>
                      <a:pt x="304" y="367"/>
                    </a:cubicBezTo>
                    <a:cubicBezTo>
                      <a:pt x="305" y="367"/>
                      <a:pt x="305" y="367"/>
                      <a:pt x="306" y="367"/>
                    </a:cubicBezTo>
                    <a:cubicBezTo>
                      <a:pt x="308" y="367"/>
                      <a:pt x="309" y="369"/>
                      <a:pt x="311" y="369"/>
                    </a:cubicBezTo>
                    <a:cubicBezTo>
                      <a:pt x="311" y="369"/>
                      <a:pt x="311" y="368"/>
                      <a:pt x="312" y="367"/>
                    </a:cubicBezTo>
                    <a:cubicBezTo>
                      <a:pt x="313" y="367"/>
                      <a:pt x="315" y="366"/>
                      <a:pt x="315" y="365"/>
                    </a:cubicBezTo>
                    <a:cubicBezTo>
                      <a:pt x="315" y="364"/>
                      <a:pt x="314" y="363"/>
                      <a:pt x="314" y="362"/>
                    </a:cubicBezTo>
                    <a:cubicBezTo>
                      <a:pt x="314" y="361"/>
                      <a:pt x="314" y="360"/>
                      <a:pt x="314" y="358"/>
                    </a:cubicBezTo>
                    <a:cubicBezTo>
                      <a:pt x="314" y="356"/>
                      <a:pt x="314" y="355"/>
                      <a:pt x="314" y="354"/>
                    </a:cubicBezTo>
                    <a:cubicBezTo>
                      <a:pt x="314" y="352"/>
                      <a:pt x="314" y="351"/>
                      <a:pt x="314" y="350"/>
                    </a:cubicBezTo>
                    <a:cubicBezTo>
                      <a:pt x="314" y="349"/>
                      <a:pt x="314" y="348"/>
                      <a:pt x="313" y="348"/>
                    </a:cubicBezTo>
                    <a:cubicBezTo>
                      <a:pt x="313" y="348"/>
                      <a:pt x="313" y="348"/>
                      <a:pt x="312" y="348"/>
                    </a:cubicBezTo>
                    <a:cubicBezTo>
                      <a:pt x="311" y="348"/>
                      <a:pt x="311" y="348"/>
                      <a:pt x="311" y="347"/>
                    </a:cubicBezTo>
                    <a:cubicBezTo>
                      <a:pt x="310" y="346"/>
                      <a:pt x="309" y="346"/>
                      <a:pt x="308" y="345"/>
                    </a:cubicBezTo>
                    <a:cubicBezTo>
                      <a:pt x="306" y="343"/>
                      <a:pt x="304" y="341"/>
                      <a:pt x="301" y="340"/>
                    </a:cubicBezTo>
                    <a:cubicBezTo>
                      <a:pt x="300" y="340"/>
                      <a:pt x="299" y="339"/>
                      <a:pt x="298" y="339"/>
                    </a:cubicBezTo>
                    <a:cubicBezTo>
                      <a:pt x="297" y="338"/>
                      <a:pt x="296" y="337"/>
                      <a:pt x="295" y="336"/>
                    </a:cubicBezTo>
                    <a:cubicBezTo>
                      <a:pt x="295" y="336"/>
                      <a:pt x="294" y="336"/>
                      <a:pt x="294" y="335"/>
                    </a:cubicBezTo>
                    <a:cubicBezTo>
                      <a:pt x="293" y="334"/>
                      <a:pt x="293" y="333"/>
                      <a:pt x="293" y="331"/>
                    </a:cubicBezTo>
                    <a:cubicBezTo>
                      <a:pt x="293" y="330"/>
                      <a:pt x="293" y="330"/>
                      <a:pt x="293" y="330"/>
                    </a:cubicBezTo>
                    <a:cubicBezTo>
                      <a:pt x="296" y="328"/>
                      <a:pt x="296" y="325"/>
                      <a:pt x="296" y="322"/>
                    </a:cubicBezTo>
                    <a:cubicBezTo>
                      <a:pt x="297" y="318"/>
                      <a:pt x="299" y="317"/>
                      <a:pt x="301" y="314"/>
                    </a:cubicBezTo>
                    <a:cubicBezTo>
                      <a:pt x="302" y="312"/>
                      <a:pt x="303" y="311"/>
                      <a:pt x="305" y="309"/>
                    </a:cubicBezTo>
                    <a:cubicBezTo>
                      <a:pt x="306" y="307"/>
                      <a:pt x="306" y="305"/>
                      <a:pt x="308" y="303"/>
                    </a:cubicBezTo>
                    <a:cubicBezTo>
                      <a:pt x="310" y="302"/>
                      <a:pt x="311" y="302"/>
                      <a:pt x="313" y="302"/>
                    </a:cubicBezTo>
                    <a:cubicBezTo>
                      <a:pt x="316" y="302"/>
                      <a:pt x="317" y="302"/>
                      <a:pt x="320" y="302"/>
                    </a:cubicBezTo>
                    <a:cubicBezTo>
                      <a:pt x="320" y="302"/>
                      <a:pt x="320" y="303"/>
                      <a:pt x="320" y="303"/>
                    </a:cubicBezTo>
                    <a:cubicBezTo>
                      <a:pt x="320" y="304"/>
                      <a:pt x="318" y="304"/>
                      <a:pt x="318" y="305"/>
                    </a:cubicBezTo>
                    <a:cubicBezTo>
                      <a:pt x="318" y="306"/>
                      <a:pt x="319" y="307"/>
                      <a:pt x="320" y="307"/>
                    </a:cubicBezTo>
                    <a:cubicBezTo>
                      <a:pt x="322" y="307"/>
                      <a:pt x="322" y="308"/>
                      <a:pt x="323" y="308"/>
                    </a:cubicBezTo>
                    <a:cubicBezTo>
                      <a:pt x="325" y="309"/>
                      <a:pt x="326" y="310"/>
                      <a:pt x="328" y="310"/>
                    </a:cubicBezTo>
                    <a:cubicBezTo>
                      <a:pt x="332" y="310"/>
                      <a:pt x="332" y="310"/>
                      <a:pt x="332" y="310"/>
                    </a:cubicBezTo>
                    <a:cubicBezTo>
                      <a:pt x="334" y="310"/>
                      <a:pt x="335" y="311"/>
                      <a:pt x="337" y="311"/>
                    </a:cubicBezTo>
                    <a:cubicBezTo>
                      <a:pt x="338" y="311"/>
                      <a:pt x="339" y="311"/>
                      <a:pt x="341" y="311"/>
                    </a:cubicBezTo>
                    <a:cubicBezTo>
                      <a:pt x="342" y="312"/>
                      <a:pt x="343" y="312"/>
                      <a:pt x="344" y="314"/>
                    </a:cubicBezTo>
                    <a:cubicBezTo>
                      <a:pt x="344" y="316"/>
                      <a:pt x="344" y="317"/>
                      <a:pt x="344" y="319"/>
                    </a:cubicBezTo>
                    <a:cubicBezTo>
                      <a:pt x="346" y="322"/>
                      <a:pt x="346" y="324"/>
                      <a:pt x="347" y="327"/>
                    </a:cubicBezTo>
                    <a:cubicBezTo>
                      <a:pt x="347" y="327"/>
                      <a:pt x="348" y="327"/>
                      <a:pt x="348" y="327"/>
                    </a:cubicBezTo>
                    <a:cubicBezTo>
                      <a:pt x="349" y="328"/>
                      <a:pt x="349" y="328"/>
                      <a:pt x="350" y="329"/>
                    </a:cubicBezTo>
                    <a:cubicBezTo>
                      <a:pt x="352" y="330"/>
                      <a:pt x="353" y="330"/>
                      <a:pt x="354" y="330"/>
                    </a:cubicBezTo>
                    <a:cubicBezTo>
                      <a:pt x="355" y="330"/>
                      <a:pt x="355" y="330"/>
                      <a:pt x="356" y="330"/>
                    </a:cubicBezTo>
                    <a:cubicBezTo>
                      <a:pt x="356" y="327"/>
                      <a:pt x="356" y="327"/>
                      <a:pt x="356" y="327"/>
                    </a:cubicBezTo>
                    <a:cubicBezTo>
                      <a:pt x="356" y="326"/>
                      <a:pt x="354" y="325"/>
                      <a:pt x="354" y="323"/>
                    </a:cubicBezTo>
                    <a:cubicBezTo>
                      <a:pt x="354" y="322"/>
                      <a:pt x="355" y="322"/>
                      <a:pt x="355" y="322"/>
                    </a:cubicBezTo>
                    <a:cubicBezTo>
                      <a:pt x="356" y="320"/>
                      <a:pt x="357" y="319"/>
                      <a:pt x="357" y="317"/>
                    </a:cubicBezTo>
                    <a:cubicBezTo>
                      <a:pt x="357" y="315"/>
                      <a:pt x="357" y="315"/>
                      <a:pt x="357" y="315"/>
                    </a:cubicBezTo>
                    <a:cubicBezTo>
                      <a:pt x="357" y="312"/>
                      <a:pt x="355" y="311"/>
                      <a:pt x="354" y="309"/>
                    </a:cubicBezTo>
                    <a:cubicBezTo>
                      <a:pt x="353" y="308"/>
                      <a:pt x="352" y="308"/>
                      <a:pt x="352" y="306"/>
                    </a:cubicBezTo>
                    <a:cubicBezTo>
                      <a:pt x="351" y="306"/>
                      <a:pt x="351" y="305"/>
                      <a:pt x="350" y="304"/>
                    </a:cubicBezTo>
                    <a:cubicBezTo>
                      <a:pt x="348" y="303"/>
                      <a:pt x="349" y="300"/>
                      <a:pt x="347" y="299"/>
                    </a:cubicBezTo>
                    <a:cubicBezTo>
                      <a:pt x="345" y="298"/>
                      <a:pt x="344" y="297"/>
                      <a:pt x="342" y="296"/>
                    </a:cubicBezTo>
                    <a:cubicBezTo>
                      <a:pt x="340" y="295"/>
                      <a:pt x="339" y="294"/>
                      <a:pt x="337" y="293"/>
                    </a:cubicBezTo>
                    <a:cubicBezTo>
                      <a:pt x="335" y="292"/>
                      <a:pt x="335" y="290"/>
                      <a:pt x="333" y="289"/>
                    </a:cubicBezTo>
                    <a:cubicBezTo>
                      <a:pt x="331" y="289"/>
                      <a:pt x="330" y="288"/>
                      <a:pt x="328" y="288"/>
                    </a:cubicBezTo>
                    <a:cubicBezTo>
                      <a:pt x="326" y="287"/>
                      <a:pt x="325" y="285"/>
                      <a:pt x="323" y="283"/>
                    </a:cubicBezTo>
                    <a:cubicBezTo>
                      <a:pt x="322" y="282"/>
                      <a:pt x="320" y="282"/>
                      <a:pt x="319" y="280"/>
                    </a:cubicBezTo>
                    <a:cubicBezTo>
                      <a:pt x="315" y="276"/>
                      <a:pt x="312" y="275"/>
                      <a:pt x="307" y="273"/>
                    </a:cubicBezTo>
                    <a:cubicBezTo>
                      <a:pt x="306" y="273"/>
                      <a:pt x="305" y="272"/>
                      <a:pt x="303" y="271"/>
                    </a:cubicBezTo>
                    <a:cubicBezTo>
                      <a:pt x="300" y="269"/>
                      <a:pt x="298" y="268"/>
                      <a:pt x="295" y="266"/>
                    </a:cubicBezTo>
                    <a:cubicBezTo>
                      <a:pt x="294" y="266"/>
                      <a:pt x="294" y="266"/>
                      <a:pt x="293" y="265"/>
                    </a:cubicBezTo>
                    <a:cubicBezTo>
                      <a:pt x="289" y="263"/>
                      <a:pt x="287" y="263"/>
                      <a:pt x="284" y="261"/>
                    </a:cubicBezTo>
                    <a:cubicBezTo>
                      <a:pt x="282" y="260"/>
                      <a:pt x="281" y="259"/>
                      <a:pt x="279" y="258"/>
                    </a:cubicBezTo>
                    <a:cubicBezTo>
                      <a:pt x="277" y="256"/>
                      <a:pt x="275" y="255"/>
                      <a:pt x="275" y="252"/>
                    </a:cubicBezTo>
                    <a:cubicBezTo>
                      <a:pt x="275" y="251"/>
                      <a:pt x="276" y="251"/>
                      <a:pt x="276" y="251"/>
                    </a:cubicBezTo>
                    <a:cubicBezTo>
                      <a:pt x="277" y="250"/>
                      <a:pt x="278" y="250"/>
                      <a:pt x="279" y="249"/>
                    </a:cubicBezTo>
                    <a:cubicBezTo>
                      <a:pt x="280" y="249"/>
                      <a:pt x="280" y="248"/>
                      <a:pt x="281" y="247"/>
                    </a:cubicBezTo>
                    <a:cubicBezTo>
                      <a:pt x="282" y="246"/>
                      <a:pt x="284" y="246"/>
                      <a:pt x="285" y="245"/>
                    </a:cubicBezTo>
                    <a:cubicBezTo>
                      <a:pt x="285" y="243"/>
                      <a:pt x="285" y="242"/>
                      <a:pt x="285" y="241"/>
                    </a:cubicBezTo>
                    <a:cubicBezTo>
                      <a:pt x="285" y="238"/>
                      <a:pt x="281" y="239"/>
                      <a:pt x="277" y="239"/>
                    </a:cubicBezTo>
                    <a:cubicBezTo>
                      <a:pt x="275" y="239"/>
                      <a:pt x="274" y="238"/>
                      <a:pt x="272" y="239"/>
                    </a:cubicBezTo>
                    <a:cubicBezTo>
                      <a:pt x="271" y="239"/>
                      <a:pt x="271" y="239"/>
                      <a:pt x="270" y="239"/>
                    </a:cubicBezTo>
                    <a:cubicBezTo>
                      <a:pt x="266" y="239"/>
                      <a:pt x="266" y="239"/>
                      <a:pt x="266" y="239"/>
                    </a:cubicBezTo>
                    <a:cubicBezTo>
                      <a:pt x="263" y="239"/>
                      <a:pt x="261" y="238"/>
                      <a:pt x="259" y="238"/>
                    </a:cubicBezTo>
                    <a:cubicBezTo>
                      <a:pt x="255" y="237"/>
                      <a:pt x="252" y="236"/>
                      <a:pt x="249" y="234"/>
                    </a:cubicBezTo>
                    <a:cubicBezTo>
                      <a:pt x="245" y="233"/>
                      <a:pt x="244" y="232"/>
                      <a:pt x="241" y="229"/>
                    </a:cubicBezTo>
                    <a:cubicBezTo>
                      <a:pt x="238" y="227"/>
                      <a:pt x="238" y="223"/>
                      <a:pt x="235" y="223"/>
                    </a:cubicBezTo>
                    <a:cubicBezTo>
                      <a:pt x="232" y="223"/>
                      <a:pt x="232" y="223"/>
                      <a:pt x="232" y="223"/>
                    </a:cubicBezTo>
                    <a:cubicBezTo>
                      <a:pt x="231" y="223"/>
                      <a:pt x="231" y="222"/>
                      <a:pt x="230" y="221"/>
                    </a:cubicBezTo>
                    <a:cubicBezTo>
                      <a:pt x="229" y="218"/>
                      <a:pt x="228" y="218"/>
                      <a:pt x="227" y="216"/>
                    </a:cubicBezTo>
                    <a:cubicBezTo>
                      <a:pt x="225" y="213"/>
                      <a:pt x="222" y="213"/>
                      <a:pt x="220" y="210"/>
                    </a:cubicBezTo>
                    <a:cubicBezTo>
                      <a:pt x="217" y="205"/>
                      <a:pt x="215" y="203"/>
                      <a:pt x="214" y="198"/>
                    </a:cubicBezTo>
                    <a:cubicBezTo>
                      <a:pt x="213" y="196"/>
                      <a:pt x="212" y="195"/>
                      <a:pt x="212" y="193"/>
                    </a:cubicBezTo>
                    <a:cubicBezTo>
                      <a:pt x="212" y="191"/>
                      <a:pt x="212" y="191"/>
                      <a:pt x="212" y="191"/>
                    </a:cubicBezTo>
                    <a:cubicBezTo>
                      <a:pt x="212" y="186"/>
                      <a:pt x="211" y="184"/>
                      <a:pt x="211" y="179"/>
                    </a:cubicBezTo>
                    <a:cubicBezTo>
                      <a:pt x="211" y="177"/>
                      <a:pt x="210" y="175"/>
                      <a:pt x="209" y="172"/>
                    </a:cubicBezTo>
                    <a:cubicBezTo>
                      <a:pt x="209" y="171"/>
                      <a:pt x="209" y="170"/>
                      <a:pt x="208" y="169"/>
                    </a:cubicBezTo>
                    <a:cubicBezTo>
                      <a:pt x="208" y="163"/>
                      <a:pt x="208" y="163"/>
                      <a:pt x="208" y="163"/>
                    </a:cubicBezTo>
                    <a:cubicBezTo>
                      <a:pt x="208" y="162"/>
                      <a:pt x="207" y="161"/>
                      <a:pt x="205" y="161"/>
                    </a:cubicBezTo>
                    <a:cubicBezTo>
                      <a:pt x="203" y="160"/>
                      <a:pt x="202" y="159"/>
                      <a:pt x="200" y="159"/>
                    </a:cubicBezTo>
                    <a:cubicBezTo>
                      <a:pt x="198" y="158"/>
                      <a:pt x="198" y="158"/>
                      <a:pt x="196" y="157"/>
                    </a:cubicBezTo>
                    <a:cubicBezTo>
                      <a:pt x="196" y="157"/>
                      <a:pt x="195" y="157"/>
                      <a:pt x="194" y="156"/>
                    </a:cubicBezTo>
                    <a:cubicBezTo>
                      <a:pt x="193" y="156"/>
                      <a:pt x="193" y="154"/>
                      <a:pt x="192" y="153"/>
                    </a:cubicBezTo>
                    <a:cubicBezTo>
                      <a:pt x="191" y="152"/>
                      <a:pt x="190" y="151"/>
                      <a:pt x="189" y="150"/>
                    </a:cubicBezTo>
                    <a:cubicBezTo>
                      <a:pt x="189" y="148"/>
                      <a:pt x="189" y="146"/>
                      <a:pt x="188" y="145"/>
                    </a:cubicBezTo>
                    <a:cubicBezTo>
                      <a:pt x="187" y="144"/>
                      <a:pt x="185" y="144"/>
                      <a:pt x="184" y="143"/>
                    </a:cubicBezTo>
                    <a:cubicBezTo>
                      <a:pt x="182" y="142"/>
                      <a:pt x="181" y="142"/>
                      <a:pt x="180" y="141"/>
                    </a:cubicBezTo>
                    <a:cubicBezTo>
                      <a:pt x="177" y="139"/>
                      <a:pt x="175" y="138"/>
                      <a:pt x="173" y="135"/>
                    </a:cubicBezTo>
                    <a:cubicBezTo>
                      <a:pt x="169" y="129"/>
                      <a:pt x="168" y="125"/>
                      <a:pt x="167" y="119"/>
                    </a:cubicBezTo>
                    <a:cubicBezTo>
                      <a:pt x="166" y="115"/>
                      <a:pt x="165" y="113"/>
                      <a:pt x="165" y="109"/>
                    </a:cubicBezTo>
                    <a:cubicBezTo>
                      <a:pt x="165" y="107"/>
                      <a:pt x="167" y="105"/>
                      <a:pt x="169" y="104"/>
                    </a:cubicBezTo>
                    <a:cubicBezTo>
                      <a:pt x="171" y="103"/>
                      <a:pt x="172" y="103"/>
                      <a:pt x="174" y="103"/>
                    </a:cubicBezTo>
                    <a:cubicBezTo>
                      <a:pt x="177" y="102"/>
                      <a:pt x="178" y="100"/>
                      <a:pt x="178" y="97"/>
                    </a:cubicBezTo>
                    <a:cubicBezTo>
                      <a:pt x="178" y="96"/>
                      <a:pt x="177" y="96"/>
                      <a:pt x="177" y="95"/>
                    </a:cubicBezTo>
                    <a:cubicBezTo>
                      <a:pt x="176" y="93"/>
                      <a:pt x="175" y="92"/>
                      <a:pt x="174" y="91"/>
                    </a:cubicBezTo>
                    <a:cubicBezTo>
                      <a:pt x="174" y="91"/>
                      <a:pt x="173" y="91"/>
                      <a:pt x="173" y="90"/>
                    </a:cubicBezTo>
                    <a:cubicBezTo>
                      <a:pt x="172" y="88"/>
                      <a:pt x="170" y="86"/>
                      <a:pt x="167" y="86"/>
                    </a:cubicBezTo>
                    <a:cubicBezTo>
                      <a:pt x="167" y="85"/>
                      <a:pt x="167" y="84"/>
                      <a:pt x="167" y="83"/>
                    </a:cubicBezTo>
                    <a:cubicBezTo>
                      <a:pt x="167" y="82"/>
                      <a:pt x="167" y="81"/>
                      <a:pt x="167" y="80"/>
                    </a:cubicBezTo>
                    <a:cubicBezTo>
                      <a:pt x="167" y="80"/>
                      <a:pt x="168" y="79"/>
                      <a:pt x="168" y="79"/>
                    </a:cubicBezTo>
                    <a:cubicBezTo>
                      <a:pt x="169" y="79"/>
                      <a:pt x="169" y="80"/>
                      <a:pt x="170" y="80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77"/>
                      <a:pt x="171" y="77"/>
                      <a:pt x="171" y="77"/>
                    </a:cubicBezTo>
                    <a:cubicBezTo>
                      <a:pt x="172" y="76"/>
                      <a:pt x="173" y="77"/>
                      <a:pt x="174" y="76"/>
                    </a:cubicBezTo>
                    <a:cubicBezTo>
                      <a:pt x="175" y="75"/>
                      <a:pt x="176" y="73"/>
                      <a:pt x="178" y="73"/>
                    </a:cubicBezTo>
                    <a:cubicBezTo>
                      <a:pt x="179" y="73"/>
                      <a:pt x="180" y="73"/>
                      <a:pt x="181" y="72"/>
                    </a:cubicBezTo>
                    <a:cubicBezTo>
                      <a:pt x="181" y="73"/>
                      <a:pt x="182" y="74"/>
                      <a:pt x="182" y="75"/>
                    </a:cubicBezTo>
                    <a:cubicBezTo>
                      <a:pt x="182" y="75"/>
                      <a:pt x="181" y="76"/>
                      <a:pt x="181" y="76"/>
                    </a:cubicBezTo>
                    <a:cubicBezTo>
                      <a:pt x="180" y="76"/>
                      <a:pt x="180" y="75"/>
                      <a:pt x="179" y="75"/>
                    </a:cubicBezTo>
                    <a:cubicBezTo>
                      <a:pt x="179" y="75"/>
                      <a:pt x="179" y="76"/>
                      <a:pt x="179" y="76"/>
                    </a:cubicBezTo>
                    <a:cubicBezTo>
                      <a:pt x="179" y="77"/>
                      <a:pt x="179" y="78"/>
                      <a:pt x="179" y="79"/>
                    </a:cubicBezTo>
                    <a:cubicBezTo>
                      <a:pt x="180" y="79"/>
                      <a:pt x="181" y="78"/>
                      <a:pt x="182" y="77"/>
                    </a:cubicBezTo>
                    <a:cubicBezTo>
                      <a:pt x="183" y="77"/>
                      <a:pt x="184" y="76"/>
                      <a:pt x="186" y="76"/>
                    </a:cubicBezTo>
                    <a:cubicBezTo>
                      <a:pt x="187" y="76"/>
                      <a:pt x="188" y="76"/>
                      <a:pt x="189" y="75"/>
                    </a:cubicBezTo>
                    <a:cubicBezTo>
                      <a:pt x="190" y="74"/>
                      <a:pt x="189" y="73"/>
                      <a:pt x="190" y="73"/>
                    </a:cubicBezTo>
                    <a:cubicBezTo>
                      <a:pt x="191" y="73"/>
                      <a:pt x="192" y="74"/>
                      <a:pt x="193" y="74"/>
                    </a:cubicBezTo>
                    <a:cubicBezTo>
                      <a:pt x="194" y="74"/>
                      <a:pt x="195" y="73"/>
                      <a:pt x="196" y="73"/>
                    </a:cubicBezTo>
                    <a:cubicBezTo>
                      <a:pt x="197" y="73"/>
                      <a:pt x="199" y="73"/>
                      <a:pt x="200" y="72"/>
                    </a:cubicBezTo>
                    <a:cubicBezTo>
                      <a:pt x="198" y="71"/>
                      <a:pt x="196" y="71"/>
                      <a:pt x="196" y="69"/>
                    </a:cubicBezTo>
                    <a:cubicBezTo>
                      <a:pt x="196" y="68"/>
                      <a:pt x="198" y="67"/>
                      <a:pt x="198" y="66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201" y="66"/>
                      <a:pt x="202" y="67"/>
                      <a:pt x="203" y="67"/>
                    </a:cubicBezTo>
                    <a:cubicBezTo>
                      <a:pt x="206" y="67"/>
                      <a:pt x="206" y="67"/>
                      <a:pt x="206" y="67"/>
                    </a:cubicBezTo>
                    <a:cubicBezTo>
                      <a:pt x="206" y="68"/>
                      <a:pt x="206" y="68"/>
                      <a:pt x="206" y="69"/>
                    </a:cubicBezTo>
                    <a:cubicBezTo>
                      <a:pt x="206" y="70"/>
                      <a:pt x="206" y="71"/>
                      <a:pt x="206" y="71"/>
                    </a:cubicBezTo>
                    <a:cubicBezTo>
                      <a:pt x="207" y="71"/>
                      <a:pt x="208" y="71"/>
                      <a:pt x="209" y="70"/>
                    </a:cubicBezTo>
                    <a:cubicBezTo>
                      <a:pt x="210" y="70"/>
                      <a:pt x="211" y="70"/>
                      <a:pt x="211" y="70"/>
                    </a:cubicBezTo>
                    <a:cubicBezTo>
                      <a:pt x="211" y="69"/>
                      <a:pt x="211" y="69"/>
                      <a:pt x="211" y="69"/>
                    </a:cubicBezTo>
                    <a:cubicBezTo>
                      <a:pt x="211" y="67"/>
                      <a:pt x="211" y="67"/>
                      <a:pt x="211" y="67"/>
                    </a:cubicBezTo>
                    <a:cubicBezTo>
                      <a:pt x="211" y="67"/>
                      <a:pt x="211" y="66"/>
                      <a:pt x="211" y="66"/>
                    </a:cubicBezTo>
                    <a:cubicBezTo>
                      <a:pt x="213" y="68"/>
                      <a:pt x="214" y="69"/>
                      <a:pt x="216" y="70"/>
                    </a:cubicBezTo>
                    <a:cubicBezTo>
                      <a:pt x="217" y="71"/>
                      <a:pt x="218" y="71"/>
                      <a:pt x="219" y="72"/>
                    </a:cubicBezTo>
                    <a:cubicBezTo>
                      <a:pt x="220" y="73"/>
                      <a:pt x="220" y="74"/>
                      <a:pt x="221" y="74"/>
                    </a:cubicBezTo>
                    <a:cubicBezTo>
                      <a:pt x="220" y="75"/>
                      <a:pt x="220" y="75"/>
                      <a:pt x="220" y="75"/>
                    </a:cubicBezTo>
                    <a:cubicBezTo>
                      <a:pt x="217" y="75"/>
                      <a:pt x="217" y="75"/>
                      <a:pt x="217" y="75"/>
                    </a:cubicBezTo>
                    <a:cubicBezTo>
                      <a:pt x="217" y="77"/>
                      <a:pt x="217" y="77"/>
                      <a:pt x="217" y="77"/>
                    </a:cubicBezTo>
                    <a:cubicBezTo>
                      <a:pt x="219" y="76"/>
                      <a:pt x="220" y="76"/>
                      <a:pt x="222" y="76"/>
                    </a:cubicBezTo>
                    <a:cubicBezTo>
                      <a:pt x="223" y="75"/>
                      <a:pt x="224" y="75"/>
                      <a:pt x="224" y="75"/>
                    </a:cubicBezTo>
                    <a:cubicBezTo>
                      <a:pt x="224" y="74"/>
                      <a:pt x="224" y="74"/>
                      <a:pt x="224" y="73"/>
                    </a:cubicBezTo>
                    <a:cubicBezTo>
                      <a:pt x="224" y="70"/>
                      <a:pt x="222" y="69"/>
                      <a:pt x="221" y="66"/>
                    </a:cubicBezTo>
                    <a:cubicBezTo>
                      <a:pt x="220" y="65"/>
                      <a:pt x="219" y="64"/>
                      <a:pt x="219" y="63"/>
                    </a:cubicBezTo>
                    <a:cubicBezTo>
                      <a:pt x="218" y="61"/>
                      <a:pt x="217" y="60"/>
                      <a:pt x="216" y="58"/>
                    </a:cubicBezTo>
                    <a:cubicBezTo>
                      <a:pt x="216" y="58"/>
                      <a:pt x="215" y="58"/>
                      <a:pt x="215" y="58"/>
                    </a:cubicBezTo>
                    <a:cubicBezTo>
                      <a:pt x="215" y="57"/>
                      <a:pt x="215" y="57"/>
                      <a:pt x="215" y="56"/>
                    </a:cubicBezTo>
                    <a:cubicBezTo>
                      <a:pt x="214" y="54"/>
                      <a:pt x="215" y="53"/>
                      <a:pt x="215" y="51"/>
                    </a:cubicBezTo>
                    <a:cubicBezTo>
                      <a:pt x="214" y="50"/>
                      <a:pt x="215" y="49"/>
                      <a:pt x="214" y="47"/>
                    </a:cubicBezTo>
                    <a:cubicBezTo>
                      <a:pt x="214" y="47"/>
                      <a:pt x="214" y="46"/>
                      <a:pt x="214" y="45"/>
                    </a:cubicBezTo>
                    <a:cubicBezTo>
                      <a:pt x="213" y="45"/>
                      <a:pt x="213" y="44"/>
                      <a:pt x="213" y="44"/>
                    </a:cubicBezTo>
                    <a:cubicBezTo>
                      <a:pt x="213" y="44"/>
                      <a:pt x="213" y="44"/>
                      <a:pt x="213" y="43"/>
                    </a:cubicBezTo>
                    <a:cubicBezTo>
                      <a:pt x="213" y="43"/>
                      <a:pt x="214" y="42"/>
                      <a:pt x="214" y="42"/>
                    </a:cubicBezTo>
                    <a:cubicBezTo>
                      <a:pt x="215" y="41"/>
                      <a:pt x="216" y="41"/>
                      <a:pt x="217" y="40"/>
                    </a:cubicBezTo>
                    <a:cubicBezTo>
                      <a:pt x="219" y="40"/>
                      <a:pt x="221" y="39"/>
                      <a:pt x="222" y="3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5" name="Freeform 113">
                <a:extLst>
                  <a:ext uri="{FF2B5EF4-FFF2-40B4-BE49-F238E27FC236}">
                    <a16:creationId xmlns:a16="http://schemas.microsoft.com/office/drawing/2014/main" xmlns="" id="{3E0A0269-15D4-4B96-B529-9D77DB32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6627" y="1790512"/>
                <a:ext cx="17959" cy="13172"/>
              </a:xfrm>
              <a:custGeom>
                <a:avLst/>
                <a:gdLst>
                  <a:gd name="T0" fmla="*/ 6 w 7"/>
                  <a:gd name="T1" fmla="*/ 0 h 5"/>
                  <a:gd name="T2" fmla="*/ 4 w 7"/>
                  <a:gd name="T3" fmla="*/ 2 h 5"/>
                  <a:gd name="T4" fmla="*/ 0 w 7"/>
                  <a:gd name="T5" fmla="*/ 4 h 5"/>
                  <a:gd name="T6" fmla="*/ 0 w 7"/>
                  <a:gd name="T7" fmla="*/ 5 h 5"/>
                  <a:gd name="T8" fmla="*/ 1 w 7"/>
                  <a:gd name="T9" fmla="*/ 5 h 5"/>
                  <a:gd name="T10" fmla="*/ 3 w 7"/>
                  <a:gd name="T11" fmla="*/ 5 h 5"/>
                  <a:gd name="T12" fmla="*/ 6 w 7"/>
                  <a:gd name="T13" fmla="*/ 5 h 5"/>
                  <a:gd name="T14" fmla="*/ 7 w 7"/>
                  <a:gd name="T15" fmla="*/ 2 h 5"/>
                  <a:gd name="T16" fmla="*/ 6 w 7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6" y="0"/>
                    </a:moveTo>
                    <a:cubicBezTo>
                      <a:pt x="5" y="0"/>
                      <a:pt x="5" y="1"/>
                      <a:pt x="4" y="2"/>
                    </a:cubicBezTo>
                    <a:cubicBezTo>
                      <a:pt x="2" y="2"/>
                      <a:pt x="0" y="2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4" y="4"/>
                      <a:pt x="5" y="5"/>
                      <a:pt x="6" y="5"/>
                    </a:cubicBezTo>
                    <a:cubicBezTo>
                      <a:pt x="7" y="4"/>
                      <a:pt x="7" y="3"/>
                      <a:pt x="7" y="2"/>
                    </a:cubicBezTo>
                    <a:cubicBezTo>
                      <a:pt x="7" y="1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6" name="Freeform 114">
                <a:extLst>
                  <a:ext uri="{FF2B5EF4-FFF2-40B4-BE49-F238E27FC236}">
                    <a16:creationId xmlns:a16="http://schemas.microsoft.com/office/drawing/2014/main" xmlns="" id="{A7557D2C-7BCD-4B56-9734-D0123D091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4817" y="1906661"/>
                <a:ext cx="52679" cy="129322"/>
              </a:xfrm>
              <a:custGeom>
                <a:avLst/>
                <a:gdLst>
                  <a:gd name="T0" fmla="*/ 14 w 21"/>
                  <a:gd name="T1" fmla="*/ 9 h 51"/>
                  <a:gd name="T2" fmla="*/ 14 w 21"/>
                  <a:gd name="T3" fmla="*/ 11 h 51"/>
                  <a:gd name="T4" fmla="*/ 12 w 21"/>
                  <a:gd name="T5" fmla="*/ 16 h 51"/>
                  <a:gd name="T6" fmla="*/ 7 w 21"/>
                  <a:gd name="T7" fmla="*/ 22 h 51"/>
                  <a:gd name="T8" fmla="*/ 5 w 21"/>
                  <a:gd name="T9" fmla="*/ 30 h 51"/>
                  <a:gd name="T10" fmla="*/ 4 w 21"/>
                  <a:gd name="T11" fmla="*/ 35 h 51"/>
                  <a:gd name="T12" fmla="*/ 2 w 21"/>
                  <a:gd name="T13" fmla="*/ 38 h 51"/>
                  <a:gd name="T14" fmla="*/ 1 w 21"/>
                  <a:gd name="T15" fmla="*/ 44 h 51"/>
                  <a:gd name="T16" fmla="*/ 0 w 21"/>
                  <a:gd name="T17" fmla="*/ 50 h 51"/>
                  <a:gd name="T18" fmla="*/ 0 w 21"/>
                  <a:gd name="T19" fmla="*/ 51 h 51"/>
                  <a:gd name="T20" fmla="*/ 1 w 21"/>
                  <a:gd name="T21" fmla="*/ 51 h 51"/>
                  <a:gd name="T22" fmla="*/ 4 w 21"/>
                  <a:gd name="T23" fmla="*/ 42 h 51"/>
                  <a:gd name="T24" fmla="*/ 5 w 21"/>
                  <a:gd name="T25" fmla="*/ 38 h 51"/>
                  <a:gd name="T26" fmla="*/ 8 w 21"/>
                  <a:gd name="T27" fmla="*/ 34 h 51"/>
                  <a:gd name="T28" fmla="*/ 9 w 21"/>
                  <a:gd name="T29" fmla="*/ 30 h 51"/>
                  <a:gd name="T30" fmla="*/ 9 w 21"/>
                  <a:gd name="T31" fmla="*/ 27 h 51"/>
                  <a:gd name="T32" fmla="*/ 12 w 21"/>
                  <a:gd name="T33" fmla="*/ 25 h 51"/>
                  <a:gd name="T34" fmla="*/ 13 w 21"/>
                  <a:gd name="T35" fmla="*/ 19 h 51"/>
                  <a:gd name="T36" fmla="*/ 16 w 21"/>
                  <a:gd name="T37" fmla="*/ 14 h 51"/>
                  <a:gd name="T38" fmla="*/ 19 w 21"/>
                  <a:gd name="T39" fmla="*/ 10 h 51"/>
                  <a:gd name="T40" fmla="*/ 19 w 21"/>
                  <a:gd name="T41" fmla="*/ 6 h 51"/>
                  <a:gd name="T42" fmla="*/ 21 w 21"/>
                  <a:gd name="T43" fmla="*/ 3 h 51"/>
                  <a:gd name="T44" fmla="*/ 20 w 21"/>
                  <a:gd name="T45" fmla="*/ 1 h 51"/>
                  <a:gd name="T46" fmla="*/ 17 w 21"/>
                  <a:gd name="T47" fmla="*/ 4 h 51"/>
                  <a:gd name="T48" fmla="*/ 14 w 21"/>
                  <a:gd name="T49" fmla="*/ 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" h="51">
                    <a:moveTo>
                      <a:pt x="14" y="9"/>
                    </a:moveTo>
                    <a:cubicBezTo>
                      <a:pt x="14" y="9"/>
                      <a:pt x="14" y="10"/>
                      <a:pt x="14" y="11"/>
                    </a:cubicBezTo>
                    <a:cubicBezTo>
                      <a:pt x="14" y="13"/>
                      <a:pt x="13" y="14"/>
                      <a:pt x="12" y="16"/>
                    </a:cubicBezTo>
                    <a:cubicBezTo>
                      <a:pt x="10" y="18"/>
                      <a:pt x="9" y="20"/>
                      <a:pt x="7" y="22"/>
                    </a:cubicBezTo>
                    <a:cubicBezTo>
                      <a:pt x="5" y="25"/>
                      <a:pt x="5" y="27"/>
                      <a:pt x="5" y="30"/>
                    </a:cubicBezTo>
                    <a:cubicBezTo>
                      <a:pt x="4" y="32"/>
                      <a:pt x="4" y="33"/>
                      <a:pt x="4" y="35"/>
                    </a:cubicBezTo>
                    <a:cubicBezTo>
                      <a:pt x="3" y="36"/>
                      <a:pt x="2" y="37"/>
                      <a:pt x="2" y="38"/>
                    </a:cubicBezTo>
                    <a:cubicBezTo>
                      <a:pt x="2" y="40"/>
                      <a:pt x="2" y="42"/>
                      <a:pt x="1" y="44"/>
                    </a:cubicBezTo>
                    <a:cubicBezTo>
                      <a:pt x="1" y="46"/>
                      <a:pt x="0" y="47"/>
                      <a:pt x="0" y="5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3" y="48"/>
                      <a:pt x="4" y="46"/>
                      <a:pt x="4" y="42"/>
                    </a:cubicBezTo>
                    <a:cubicBezTo>
                      <a:pt x="5" y="40"/>
                      <a:pt x="5" y="40"/>
                      <a:pt x="5" y="38"/>
                    </a:cubicBezTo>
                    <a:cubicBezTo>
                      <a:pt x="7" y="37"/>
                      <a:pt x="8" y="36"/>
                      <a:pt x="8" y="34"/>
                    </a:cubicBezTo>
                    <a:cubicBezTo>
                      <a:pt x="8" y="32"/>
                      <a:pt x="9" y="32"/>
                      <a:pt x="9" y="30"/>
                    </a:cubicBezTo>
                    <a:cubicBezTo>
                      <a:pt x="9" y="29"/>
                      <a:pt x="9" y="28"/>
                      <a:pt x="9" y="27"/>
                    </a:cubicBezTo>
                    <a:cubicBezTo>
                      <a:pt x="10" y="26"/>
                      <a:pt x="11" y="26"/>
                      <a:pt x="12" y="25"/>
                    </a:cubicBezTo>
                    <a:cubicBezTo>
                      <a:pt x="13" y="23"/>
                      <a:pt x="13" y="21"/>
                      <a:pt x="13" y="19"/>
                    </a:cubicBezTo>
                    <a:cubicBezTo>
                      <a:pt x="13" y="17"/>
                      <a:pt x="15" y="16"/>
                      <a:pt x="16" y="14"/>
                    </a:cubicBezTo>
                    <a:cubicBezTo>
                      <a:pt x="17" y="12"/>
                      <a:pt x="18" y="11"/>
                      <a:pt x="19" y="10"/>
                    </a:cubicBezTo>
                    <a:cubicBezTo>
                      <a:pt x="19" y="8"/>
                      <a:pt x="19" y="7"/>
                      <a:pt x="19" y="6"/>
                    </a:cubicBezTo>
                    <a:cubicBezTo>
                      <a:pt x="20" y="5"/>
                      <a:pt x="21" y="4"/>
                      <a:pt x="21" y="3"/>
                    </a:cubicBezTo>
                    <a:cubicBezTo>
                      <a:pt x="21" y="2"/>
                      <a:pt x="21" y="0"/>
                      <a:pt x="20" y="1"/>
                    </a:cubicBezTo>
                    <a:cubicBezTo>
                      <a:pt x="18" y="1"/>
                      <a:pt x="18" y="3"/>
                      <a:pt x="17" y="4"/>
                    </a:cubicBezTo>
                    <a:cubicBezTo>
                      <a:pt x="16" y="6"/>
                      <a:pt x="14" y="7"/>
                      <a:pt x="14" y="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7" name="Freeform 115">
                <a:extLst>
                  <a:ext uri="{FF2B5EF4-FFF2-40B4-BE49-F238E27FC236}">
                    <a16:creationId xmlns:a16="http://schemas.microsoft.com/office/drawing/2014/main" xmlns="" id="{FE9E002F-205F-42AA-B5E4-5659C35BC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781" y="1849185"/>
                <a:ext cx="61061" cy="116150"/>
              </a:xfrm>
              <a:custGeom>
                <a:avLst/>
                <a:gdLst>
                  <a:gd name="T0" fmla="*/ 22 w 24"/>
                  <a:gd name="T1" fmla="*/ 0 h 46"/>
                  <a:gd name="T2" fmla="*/ 20 w 24"/>
                  <a:gd name="T3" fmla="*/ 1 h 46"/>
                  <a:gd name="T4" fmla="*/ 19 w 24"/>
                  <a:gd name="T5" fmla="*/ 2 h 46"/>
                  <a:gd name="T6" fmla="*/ 19 w 24"/>
                  <a:gd name="T7" fmla="*/ 4 h 46"/>
                  <a:gd name="T8" fmla="*/ 17 w 24"/>
                  <a:gd name="T9" fmla="*/ 6 h 46"/>
                  <a:gd name="T10" fmla="*/ 17 w 24"/>
                  <a:gd name="T11" fmla="*/ 3 h 46"/>
                  <a:gd name="T12" fmla="*/ 14 w 24"/>
                  <a:gd name="T13" fmla="*/ 3 h 46"/>
                  <a:gd name="T14" fmla="*/ 13 w 24"/>
                  <a:gd name="T15" fmla="*/ 5 h 46"/>
                  <a:gd name="T16" fmla="*/ 10 w 24"/>
                  <a:gd name="T17" fmla="*/ 7 h 46"/>
                  <a:gd name="T18" fmla="*/ 9 w 24"/>
                  <a:gd name="T19" fmla="*/ 9 h 46"/>
                  <a:gd name="T20" fmla="*/ 5 w 24"/>
                  <a:gd name="T21" fmla="*/ 12 h 46"/>
                  <a:gd name="T22" fmla="*/ 1 w 24"/>
                  <a:gd name="T23" fmla="*/ 18 h 46"/>
                  <a:gd name="T24" fmla="*/ 2 w 24"/>
                  <a:gd name="T25" fmla="*/ 23 h 46"/>
                  <a:gd name="T26" fmla="*/ 0 w 24"/>
                  <a:gd name="T27" fmla="*/ 29 h 46"/>
                  <a:gd name="T28" fmla="*/ 1 w 24"/>
                  <a:gd name="T29" fmla="*/ 31 h 46"/>
                  <a:gd name="T30" fmla="*/ 3 w 24"/>
                  <a:gd name="T31" fmla="*/ 35 h 46"/>
                  <a:gd name="T32" fmla="*/ 5 w 24"/>
                  <a:gd name="T33" fmla="*/ 38 h 46"/>
                  <a:gd name="T34" fmla="*/ 4 w 24"/>
                  <a:gd name="T35" fmla="*/ 40 h 46"/>
                  <a:gd name="T36" fmla="*/ 2 w 24"/>
                  <a:gd name="T37" fmla="*/ 45 h 46"/>
                  <a:gd name="T38" fmla="*/ 2 w 24"/>
                  <a:gd name="T39" fmla="*/ 46 h 46"/>
                  <a:gd name="T40" fmla="*/ 4 w 24"/>
                  <a:gd name="T41" fmla="*/ 46 h 46"/>
                  <a:gd name="T42" fmla="*/ 5 w 24"/>
                  <a:gd name="T43" fmla="*/ 44 h 46"/>
                  <a:gd name="T44" fmla="*/ 7 w 24"/>
                  <a:gd name="T45" fmla="*/ 40 h 46"/>
                  <a:gd name="T46" fmla="*/ 12 w 24"/>
                  <a:gd name="T47" fmla="*/ 33 h 46"/>
                  <a:gd name="T48" fmla="*/ 15 w 24"/>
                  <a:gd name="T49" fmla="*/ 32 h 46"/>
                  <a:gd name="T50" fmla="*/ 17 w 24"/>
                  <a:gd name="T51" fmla="*/ 28 h 46"/>
                  <a:gd name="T52" fmla="*/ 20 w 24"/>
                  <a:gd name="T53" fmla="*/ 26 h 46"/>
                  <a:gd name="T54" fmla="*/ 22 w 24"/>
                  <a:gd name="T55" fmla="*/ 24 h 46"/>
                  <a:gd name="T56" fmla="*/ 20 w 24"/>
                  <a:gd name="T57" fmla="*/ 24 h 46"/>
                  <a:gd name="T58" fmla="*/ 18 w 24"/>
                  <a:gd name="T59" fmla="*/ 24 h 46"/>
                  <a:gd name="T60" fmla="*/ 18 w 24"/>
                  <a:gd name="T61" fmla="*/ 23 h 46"/>
                  <a:gd name="T62" fmla="*/ 18 w 24"/>
                  <a:gd name="T63" fmla="*/ 22 h 46"/>
                  <a:gd name="T64" fmla="*/ 18 w 24"/>
                  <a:gd name="T65" fmla="*/ 20 h 46"/>
                  <a:gd name="T66" fmla="*/ 17 w 24"/>
                  <a:gd name="T67" fmla="*/ 14 h 46"/>
                  <a:gd name="T68" fmla="*/ 18 w 24"/>
                  <a:gd name="T69" fmla="*/ 11 h 46"/>
                  <a:gd name="T70" fmla="*/ 21 w 24"/>
                  <a:gd name="T71" fmla="*/ 10 h 46"/>
                  <a:gd name="T72" fmla="*/ 22 w 24"/>
                  <a:gd name="T73" fmla="*/ 6 h 46"/>
                  <a:gd name="T74" fmla="*/ 24 w 24"/>
                  <a:gd name="T75" fmla="*/ 2 h 46"/>
                  <a:gd name="T76" fmla="*/ 22 w 24"/>
                  <a:gd name="T7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4" h="46">
                    <a:moveTo>
                      <a:pt x="22" y="0"/>
                    </a:moveTo>
                    <a:cubicBezTo>
                      <a:pt x="22" y="0"/>
                      <a:pt x="21" y="1"/>
                      <a:pt x="20" y="1"/>
                    </a:cubicBezTo>
                    <a:cubicBezTo>
                      <a:pt x="20" y="1"/>
                      <a:pt x="19" y="1"/>
                      <a:pt x="19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5"/>
                      <a:pt x="18" y="5"/>
                      <a:pt x="17" y="6"/>
                    </a:cubicBezTo>
                    <a:cubicBezTo>
                      <a:pt x="17" y="5"/>
                      <a:pt x="17" y="4"/>
                      <a:pt x="17" y="3"/>
                    </a:cubicBezTo>
                    <a:cubicBezTo>
                      <a:pt x="16" y="3"/>
                      <a:pt x="15" y="2"/>
                      <a:pt x="14" y="3"/>
                    </a:cubicBezTo>
                    <a:cubicBezTo>
                      <a:pt x="14" y="3"/>
                      <a:pt x="14" y="4"/>
                      <a:pt x="13" y="5"/>
                    </a:cubicBezTo>
                    <a:cubicBezTo>
                      <a:pt x="12" y="6"/>
                      <a:pt x="11" y="5"/>
                      <a:pt x="10" y="7"/>
                    </a:cubicBezTo>
                    <a:cubicBezTo>
                      <a:pt x="9" y="8"/>
                      <a:pt x="9" y="8"/>
                      <a:pt x="9" y="9"/>
                    </a:cubicBezTo>
                    <a:cubicBezTo>
                      <a:pt x="7" y="10"/>
                      <a:pt x="6" y="11"/>
                      <a:pt x="5" y="12"/>
                    </a:cubicBezTo>
                    <a:cubicBezTo>
                      <a:pt x="3" y="14"/>
                      <a:pt x="1" y="15"/>
                      <a:pt x="1" y="18"/>
                    </a:cubicBezTo>
                    <a:cubicBezTo>
                      <a:pt x="1" y="20"/>
                      <a:pt x="2" y="21"/>
                      <a:pt x="2" y="23"/>
                    </a:cubicBezTo>
                    <a:cubicBezTo>
                      <a:pt x="2" y="25"/>
                      <a:pt x="0" y="26"/>
                      <a:pt x="0" y="29"/>
                    </a:cubicBezTo>
                    <a:cubicBezTo>
                      <a:pt x="0" y="30"/>
                      <a:pt x="1" y="30"/>
                      <a:pt x="1" y="31"/>
                    </a:cubicBezTo>
                    <a:cubicBezTo>
                      <a:pt x="2" y="33"/>
                      <a:pt x="3" y="34"/>
                      <a:pt x="3" y="35"/>
                    </a:cubicBezTo>
                    <a:cubicBezTo>
                      <a:pt x="4" y="37"/>
                      <a:pt x="5" y="37"/>
                      <a:pt x="5" y="38"/>
                    </a:cubicBezTo>
                    <a:cubicBezTo>
                      <a:pt x="5" y="39"/>
                      <a:pt x="4" y="39"/>
                      <a:pt x="4" y="40"/>
                    </a:cubicBezTo>
                    <a:cubicBezTo>
                      <a:pt x="3" y="42"/>
                      <a:pt x="2" y="43"/>
                      <a:pt x="2" y="45"/>
                    </a:cubicBezTo>
                    <a:cubicBezTo>
                      <a:pt x="2" y="45"/>
                      <a:pt x="2" y="46"/>
                      <a:pt x="2" y="46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5" y="46"/>
                      <a:pt x="5" y="45"/>
                      <a:pt x="5" y="44"/>
                    </a:cubicBezTo>
                    <a:cubicBezTo>
                      <a:pt x="6" y="43"/>
                      <a:pt x="6" y="41"/>
                      <a:pt x="7" y="40"/>
                    </a:cubicBezTo>
                    <a:cubicBezTo>
                      <a:pt x="9" y="37"/>
                      <a:pt x="10" y="35"/>
                      <a:pt x="12" y="33"/>
                    </a:cubicBezTo>
                    <a:cubicBezTo>
                      <a:pt x="13" y="32"/>
                      <a:pt x="14" y="33"/>
                      <a:pt x="15" y="32"/>
                    </a:cubicBezTo>
                    <a:cubicBezTo>
                      <a:pt x="16" y="31"/>
                      <a:pt x="15" y="29"/>
                      <a:pt x="17" y="28"/>
                    </a:cubicBezTo>
                    <a:cubicBezTo>
                      <a:pt x="18" y="27"/>
                      <a:pt x="18" y="27"/>
                      <a:pt x="20" y="26"/>
                    </a:cubicBezTo>
                    <a:cubicBezTo>
                      <a:pt x="21" y="26"/>
                      <a:pt x="22" y="26"/>
                      <a:pt x="22" y="24"/>
                    </a:cubicBezTo>
                    <a:cubicBezTo>
                      <a:pt x="22" y="23"/>
                      <a:pt x="21" y="24"/>
                      <a:pt x="20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18"/>
                      <a:pt x="17" y="17"/>
                      <a:pt x="17" y="14"/>
                    </a:cubicBezTo>
                    <a:cubicBezTo>
                      <a:pt x="17" y="13"/>
                      <a:pt x="18" y="12"/>
                      <a:pt x="18" y="11"/>
                    </a:cubicBezTo>
                    <a:cubicBezTo>
                      <a:pt x="19" y="11"/>
                      <a:pt x="20" y="11"/>
                      <a:pt x="21" y="10"/>
                    </a:cubicBezTo>
                    <a:cubicBezTo>
                      <a:pt x="22" y="8"/>
                      <a:pt x="21" y="8"/>
                      <a:pt x="22" y="6"/>
                    </a:cubicBezTo>
                    <a:cubicBezTo>
                      <a:pt x="22" y="4"/>
                      <a:pt x="24" y="4"/>
                      <a:pt x="24" y="2"/>
                    </a:cubicBezTo>
                    <a:cubicBezTo>
                      <a:pt x="24" y="1"/>
                      <a:pt x="23" y="0"/>
                      <a:pt x="2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8" name="Freeform 116">
                <a:extLst>
                  <a:ext uri="{FF2B5EF4-FFF2-40B4-BE49-F238E27FC236}">
                    <a16:creationId xmlns:a16="http://schemas.microsoft.com/office/drawing/2014/main" xmlns="" id="{2FCA5058-9964-4AD5-A5DD-01E4C39B5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1167" y="1576173"/>
                <a:ext cx="43101" cy="52687"/>
              </a:xfrm>
              <a:custGeom>
                <a:avLst/>
                <a:gdLst>
                  <a:gd name="T0" fmla="*/ 4 w 17"/>
                  <a:gd name="T1" fmla="*/ 0 h 21"/>
                  <a:gd name="T2" fmla="*/ 3 w 17"/>
                  <a:gd name="T3" fmla="*/ 2 h 21"/>
                  <a:gd name="T4" fmla="*/ 3 w 17"/>
                  <a:gd name="T5" fmla="*/ 4 h 21"/>
                  <a:gd name="T6" fmla="*/ 5 w 17"/>
                  <a:gd name="T7" fmla="*/ 5 h 21"/>
                  <a:gd name="T8" fmla="*/ 1 w 17"/>
                  <a:gd name="T9" fmla="*/ 9 h 21"/>
                  <a:gd name="T10" fmla="*/ 0 w 17"/>
                  <a:gd name="T11" fmla="*/ 9 h 21"/>
                  <a:gd name="T12" fmla="*/ 0 w 17"/>
                  <a:gd name="T13" fmla="*/ 10 h 21"/>
                  <a:gd name="T14" fmla="*/ 2 w 17"/>
                  <a:gd name="T15" fmla="*/ 13 h 21"/>
                  <a:gd name="T16" fmla="*/ 4 w 17"/>
                  <a:gd name="T17" fmla="*/ 17 h 21"/>
                  <a:gd name="T18" fmla="*/ 8 w 17"/>
                  <a:gd name="T19" fmla="*/ 18 h 21"/>
                  <a:gd name="T20" fmla="*/ 10 w 17"/>
                  <a:gd name="T21" fmla="*/ 20 h 21"/>
                  <a:gd name="T22" fmla="*/ 13 w 17"/>
                  <a:gd name="T23" fmla="*/ 21 h 21"/>
                  <a:gd name="T24" fmla="*/ 13 w 17"/>
                  <a:gd name="T25" fmla="*/ 18 h 21"/>
                  <a:gd name="T26" fmla="*/ 13 w 17"/>
                  <a:gd name="T27" fmla="*/ 14 h 21"/>
                  <a:gd name="T28" fmla="*/ 13 w 17"/>
                  <a:gd name="T29" fmla="*/ 11 h 21"/>
                  <a:gd name="T30" fmla="*/ 14 w 17"/>
                  <a:gd name="T31" fmla="*/ 11 h 21"/>
                  <a:gd name="T32" fmla="*/ 16 w 17"/>
                  <a:gd name="T33" fmla="*/ 12 h 21"/>
                  <a:gd name="T34" fmla="*/ 17 w 17"/>
                  <a:gd name="T35" fmla="*/ 8 h 21"/>
                  <a:gd name="T36" fmla="*/ 16 w 17"/>
                  <a:gd name="T37" fmla="*/ 7 h 21"/>
                  <a:gd name="T38" fmla="*/ 13 w 17"/>
                  <a:gd name="T39" fmla="*/ 6 h 21"/>
                  <a:gd name="T40" fmla="*/ 11 w 17"/>
                  <a:gd name="T41" fmla="*/ 4 h 21"/>
                  <a:gd name="T42" fmla="*/ 7 w 17"/>
                  <a:gd name="T43" fmla="*/ 3 h 21"/>
                  <a:gd name="T44" fmla="*/ 4 w 17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" h="21">
                    <a:moveTo>
                      <a:pt x="4" y="0"/>
                    </a:moveTo>
                    <a:cubicBezTo>
                      <a:pt x="4" y="0"/>
                      <a:pt x="3" y="1"/>
                      <a:pt x="3" y="2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7"/>
                      <a:pt x="3" y="9"/>
                      <a:pt x="1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2"/>
                      <a:pt x="1" y="12"/>
                      <a:pt x="2" y="13"/>
                    </a:cubicBezTo>
                    <a:cubicBezTo>
                      <a:pt x="3" y="14"/>
                      <a:pt x="2" y="16"/>
                      <a:pt x="4" y="17"/>
                    </a:cubicBezTo>
                    <a:cubicBezTo>
                      <a:pt x="5" y="18"/>
                      <a:pt x="6" y="17"/>
                      <a:pt x="8" y="18"/>
                    </a:cubicBezTo>
                    <a:cubicBezTo>
                      <a:pt x="9" y="19"/>
                      <a:pt x="9" y="20"/>
                      <a:pt x="10" y="20"/>
                    </a:cubicBezTo>
                    <a:cubicBezTo>
                      <a:pt x="11" y="21"/>
                      <a:pt x="12" y="21"/>
                      <a:pt x="13" y="21"/>
                    </a:cubicBezTo>
                    <a:cubicBezTo>
                      <a:pt x="13" y="20"/>
                      <a:pt x="13" y="19"/>
                      <a:pt x="13" y="18"/>
                    </a:cubicBezTo>
                    <a:cubicBezTo>
                      <a:pt x="13" y="17"/>
                      <a:pt x="13" y="16"/>
                      <a:pt x="13" y="14"/>
                    </a:cubicBezTo>
                    <a:cubicBezTo>
                      <a:pt x="13" y="13"/>
                      <a:pt x="14" y="12"/>
                      <a:pt x="13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5" y="11"/>
                      <a:pt x="15" y="12"/>
                      <a:pt x="16" y="12"/>
                    </a:cubicBezTo>
                    <a:cubicBezTo>
                      <a:pt x="17" y="12"/>
                      <a:pt x="17" y="9"/>
                      <a:pt x="17" y="8"/>
                    </a:cubicBezTo>
                    <a:cubicBezTo>
                      <a:pt x="17" y="7"/>
                      <a:pt x="17" y="7"/>
                      <a:pt x="16" y="7"/>
                    </a:cubicBezTo>
                    <a:cubicBezTo>
                      <a:pt x="15" y="6"/>
                      <a:pt x="15" y="6"/>
                      <a:pt x="13" y="6"/>
                    </a:cubicBezTo>
                    <a:cubicBezTo>
                      <a:pt x="12" y="6"/>
                      <a:pt x="12" y="5"/>
                      <a:pt x="11" y="4"/>
                    </a:cubicBezTo>
                    <a:cubicBezTo>
                      <a:pt x="9" y="4"/>
                      <a:pt x="8" y="4"/>
                      <a:pt x="7" y="3"/>
                    </a:cubicBezTo>
                    <a:cubicBezTo>
                      <a:pt x="6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89" name="Freeform 117">
                <a:extLst>
                  <a:ext uri="{FF2B5EF4-FFF2-40B4-BE49-F238E27FC236}">
                    <a16:creationId xmlns:a16="http://schemas.microsoft.com/office/drawing/2014/main" xmlns="" id="{0576297C-B396-434E-A31B-DB15DE702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8648" y="1057690"/>
                <a:ext cx="22748" cy="17961"/>
              </a:xfrm>
              <a:custGeom>
                <a:avLst/>
                <a:gdLst>
                  <a:gd name="T0" fmla="*/ 0 w 9"/>
                  <a:gd name="T1" fmla="*/ 4 h 7"/>
                  <a:gd name="T2" fmla="*/ 3 w 9"/>
                  <a:gd name="T3" fmla="*/ 7 h 7"/>
                  <a:gd name="T4" fmla="*/ 7 w 9"/>
                  <a:gd name="T5" fmla="*/ 4 h 7"/>
                  <a:gd name="T6" fmla="*/ 9 w 9"/>
                  <a:gd name="T7" fmla="*/ 2 h 7"/>
                  <a:gd name="T8" fmla="*/ 6 w 9"/>
                  <a:gd name="T9" fmla="*/ 1 h 7"/>
                  <a:gd name="T10" fmla="*/ 2 w 9"/>
                  <a:gd name="T11" fmla="*/ 1 h 7"/>
                  <a:gd name="T12" fmla="*/ 0 w 9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6"/>
                      <a:pt x="1" y="7"/>
                      <a:pt x="3" y="7"/>
                    </a:cubicBezTo>
                    <a:cubicBezTo>
                      <a:pt x="5" y="7"/>
                      <a:pt x="6" y="6"/>
                      <a:pt x="7" y="4"/>
                    </a:cubicBezTo>
                    <a:cubicBezTo>
                      <a:pt x="8" y="3"/>
                      <a:pt x="9" y="3"/>
                      <a:pt x="9" y="2"/>
                    </a:cubicBezTo>
                    <a:cubicBezTo>
                      <a:pt x="9" y="0"/>
                      <a:pt x="7" y="1"/>
                      <a:pt x="6" y="1"/>
                    </a:cubicBezTo>
                    <a:cubicBezTo>
                      <a:pt x="4" y="1"/>
                      <a:pt x="3" y="1"/>
                      <a:pt x="2" y="1"/>
                    </a:cubicBezTo>
                    <a:cubicBezTo>
                      <a:pt x="0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0" name="Freeform 118">
                <a:extLst>
                  <a:ext uri="{FF2B5EF4-FFF2-40B4-BE49-F238E27FC236}">
                    <a16:creationId xmlns:a16="http://schemas.microsoft.com/office/drawing/2014/main" xmlns="" id="{D937EF29-9747-4608-B311-15C527AA3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1552" y="2596376"/>
                <a:ext cx="469330" cy="270617"/>
              </a:xfrm>
              <a:custGeom>
                <a:avLst/>
                <a:gdLst>
                  <a:gd name="T0" fmla="*/ 132 w 186"/>
                  <a:gd name="T1" fmla="*/ 103 h 107"/>
                  <a:gd name="T2" fmla="*/ 138 w 186"/>
                  <a:gd name="T3" fmla="*/ 100 h 107"/>
                  <a:gd name="T4" fmla="*/ 149 w 186"/>
                  <a:gd name="T5" fmla="*/ 98 h 107"/>
                  <a:gd name="T6" fmla="*/ 155 w 186"/>
                  <a:gd name="T7" fmla="*/ 97 h 107"/>
                  <a:gd name="T8" fmla="*/ 162 w 186"/>
                  <a:gd name="T9" fmla="*/ 91 h 107"/>
                  <a:gd name="T10" fmla="*/ 166 w 186"/>
                  <a:gd name="T11" fmla="*/ 85 h 107"/>
                  <a:gd name="T12" fmla="*/ 171 w 186"/>
                  <a:gd name="T13" fmla="*/ 80 h 107"/>
                  <a:gd name="T14" fmla="*/ 182 w 186"/>
                  <a:gd name="T15" fmla="*/ 74 h 107"/>
                  <a:gd name="T16" fmla="*/ 182 w 186"/>
                  <a:gd name="T17" fmla="*/ 63 h 107"/>
                  <a:gd name="T18" fmla="*/ 173 w 186"/>
                  <a:gd name="T19" fmla="*/ 53 h 107"/>
                  <a:gd name="T20" fmla="*/ 168 w 186"/>
                  <a:gd name="T21" fmla="*/ 51 h 107"/>
                  <a:gd name="T22" fmla="*/ 160 w 186"/>
                  <a:gd name="T23" fmla="*/ 49 h 107"/>
                  <a:gd name="T24" fmla="*/ 156 w 186"/>
                  <a:gd name="T25" fmla="*/ 45 h 107"/>
                  <a:gd name="T26" fmla="*/ 154 w 186"/>
                  <a:gd name="T27" fmla="*/ 44 h 107"/>
                  <a:gd name="T28" fmla="*/ 153 w 186"/>
                  <a:gd name="T29" fmla="*/ 38 h 107"/>
                  <a:gd name="T30" fmla="*/ 147 w 186"/>
                  <a:gd name="T31" fmla="*/ 39 h 107"/>
                  <a:gd name="T32" fmla="*/ 138 w 186"/>
                  <a:gd name="T33" fmla="*/ 36 h 107"/>
                  <a:gd name="T34" fmla="*/ 132 w 186"/>
                  <a:gd name="T35" fmla="*/ 38 h 107"/>
                  <a:gd name="T36" fmla="*/ 128 w 186"/>
                  <a:gd name="T37" fmla="*/ 47 h 107"/>
                  <a:gd name="T38" fmla="*/ 118 w 186"/>
                  <a:gd name="T39" fmla="*/ 28 h 107"/>
                  <a:gd name="T40" fmla="*/ 115 w 186"/>
                  <a:gd name="T41" fmla="*/ 23 h 107"/>
                  <a:gd name="T42" fmla="*/ 110 w 186"/>
                  <a:gd name="T43" fmla="*/ 21 h 107"/>
                  <a:gd name="T44" fmla="*/ 103 w 186"/>
                  <a:gd name="T45" fmla="*/ 19 h 107"/>
                  <a:gd name="T46" fmla="*/ 95 w 186"/>
                  <a:gd name="T47" fmla="*/ 14 h 107"/>
                  <a:gd name="T48" fmla="*/ 89 w 186"/>
                  <a:gd name="T49" fmla="*/ 8 h 107"/>
                  <a:gd name="T50" fmla="*/ 83 w 186"/>
                  <a:gd name="T51" fmla="*/ 9 h 107"/>
                  <a:gd name="T52" fmla="*/ 77 w 186"/>
                  <a:gd name="T53" fmla="*/ 11 h 107"/>
                  <a:gd name="T54" fmla="*/ 69 w 186"/>
                  <a:gd name="T55" fmla="*/ 3 h 107"/>
                  <a:gd name="T56" fmla="*/ 66 w 186"/>
                  <a:gd name="T57" fmla="*/ 0 h 107"/>
                  <a:gd name="T58" fmla="*/ 50 w 186"/>
                  <a:gd name="T59" fmla="*/ 9 h 107"/>
                  <a:gd name="T60" fmla="*/ 33 w 186"/>
                  <a:gd name="T61" fmla="*/ 15 h 107"/>
                  <a:gd name="T62" fmla="*/ 28 w 186"/>
                  <a:gd name="T63" fmla="*/ 18 h 107"/>
                  <a:gd name="T64" fmla="*/ 15 w 186"/>
                  <a:gd name="T65" fmla="*/ 24 h 107"/>
                  <a:gd name="T66" fmla="*/ 4 w 186"/>
                  <a:gd name="T67" fmla="*/ 28 h 107"/>
                  <a:gd name="T68" fmla="*/ 0 w 186"/>
                  <a:gd name="T69" fmla="*/ 29 h 107"/>
                  <a:gd name="T70" fmla="*/ 6 w 186"/>
                  <a:gd name="T71" fmla="*/ 42 h 107"/>
                  <a:gd name="T72" fmla="*/ 10 w 186"/>
                  <a:gd name="T73" fmla="*/ 55 h 107"/>
                  <a:gd name="T74" fmla="*/ 17 w 186"/>
                  <a:gd name="T75" fmla="*/ 64 h 107"/>
                  <a:gd name="T76" fmla="*/ 25 w 186"/>
                  <a:gd name="T77" fmla="*/ 74 h 107"/>
                  <a:gd name="T78" fmla="*/ 32 w 186"/>
                  <a:gd name="T79" fmla="*/ 84 h 107"/>
                  <a:gd name="T80" fmla="*/ 37 w 186"/>
                  <a:gd name="T81" fmla="*/ 88 h 107"/>
                  <a:gd name="T82" fmla="*/ 40 w 186"/>
                  <a:gd name="T83" fmla="*/ 93 h 107"/>
                  <a:gd name="T84" fmla="*/ 42 w 186"/>
                  <a:gd name="T85" fmla="*/ 98 h 107"/>
                  <a:gd name="T86" fmla="*/ 49 w 186"/>
                  <a:gd name="T87" fmla="*/ 105 h 107"/>
                  <a:gd name="T88" fmla="*/ 50 w 186"/>
                  <a:gd name="T89" fmla="*/ 107 h 107"/>
                  <a:gd name="T90" fmla="*/ 54 w 186"/>
                  <a:gd name="T91" fmla="*/ 105 h 107"/>
                  <a:gd name="T92" fmla="*/ 65 w 186"/>
                  <a:gd name="T93" fmla="*/ 99 h 107"/>
                  <a:gd name="T94" fmla="*/ 69 w 186"/>
                  <a:gd name="T95" fmla="*/ 97 h 107"/>
                  <a:gd name="T96" fmla="*/ 73 w 186"/>
                  <a:gd name="T97" fmla="*/ 93 h 107"/>
                  <a:gd name="T98" fmla="*/ 78 w 186"/>
                  <a:gd name="T99" fmla="*/ 90 h 107"/>
                  <a:gd name="T100" fmla="*/ 81 w 186"/>
                  <a:gd name="T101" fmla="*/ 90 h 107"/>
                  <a:gd name="T102" fmla="*/ 84 w 186"/>
                  <a:gd name="T103" fmla="*/ 91 h 107"/>
                  <a:gd name="T104" fmla="*/ 88 w 186"/>
                  <a:gd name="T105" fmla="*/ 94 h 107"/>
                  <a:gd name="T106" fmla="*/ 95 w 186"/>
                  <a:gd name="T107" fmla="*/ 98 h 107"/>
                  <a:gd name="T108" fmla="*/ 102 w 186"/>
                  <a:gd name="T109" fmla="*/ 102 h 107"/>
                  <a:gd name="T110" fmla="*/ 119 w 186"/>
                  <a:gd name="T111" fmla="*/ 102 h 107"/>
                  <a:gd name="T112" fmla="*/ 123 w 186"/>
                  <a:gd name="T113" fmla="*/ 10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6" h="107">
                    <a:moveTo>
                      <a:pt x="129" y="107"/>
                    </a:moveTo>
                    <a:cubicBezTo>
                      <a:pt x="130" y="106"/>
                      <a:pt x="131" y="105"/>
                      <a:pt x="132" y="103"/>
                    </a:cubicBezTo>
                    <a:cubicBezTo>
                      <a:pt x="133" y="102"/>
                      <a:pt x="133" y="100"/>
                      <a:pt x="135" y="100"/>
                    </a:cubicBezTo>
                    <a:cubicBezTo>
                      <a:pt x="136" y="100"/>
                      <a:pt x="137" y="100"/>
                      <a:pt x="138" y="100"/>
                    </a:cubicBezTo>
                    <a:cubicBezTo>
                      <a:pt x="140" y="100"/>
                      <a:pt x="141" y="99"/>
                      <a:pt x="143" y="99"/>
                    </a:cubicBezTo>
                    <a:cubicBezTo>
                      <a:pt x="145" y="99"/>
                      <a:pt x="147" y="99"/>
                      <a:pt x="149" y="98"/>
                    </a:cubicBezTo>
                    <a:cubicBezTo>
                      <a:pt x="150" y="98"/>
                      <a:pt x="150" y="98"/>
                      <a:pt x="150" y="98"/>
                    </a:cubicBezTo>
                    <a:cubicBezTo>
                      <a:pt x="152" y="98"/>
                      <a:pt x="153" y="98"/>
                      <a:pt x="155" y="97"/>
                    </a:cubicBezTo>
                    <a:cubicBezTo>
                      <a:pt x="157" y="97"/>
                      <a:pt x="157" y="96"/>
                      <a:pt x="159" y="95"/>
                    </a:cubicBezTo>
                    <a:cubicBezTo>
                      <a:pt x="160" y="93"/>
                      <a:pt x="161" y="92"/>
                      <a:pt x="162" y="91"/>
                    </a:cubicBezTo>
                    <a:cubicBezTo>
                      <a:pt x="162" y="90"/>
                      <a:pt x="163" y="89"/>
                      <a:pt x="164" y="88"/>
                    </a:cubicBezTo>
                    <a:cubicBezTo>
                      <a:pt x="165" y="87"/>
                      <a:pt x="165" y="86"/>
                      <a:pt x="166" y="85"/>
                    </a:cubicBezTo>
                    <a:cubicBezTo>
                      <a:pt x="167" y="84"/>
                      <a:pt x="168" y="83"/>
                      <a:pt x="169" y="82"/>
                    </a:cubicBezTo>
                    <a:cubicBezTo>
                      <a:pt x="170" y="81"/>
                      <a:pt x="170" y="81"/>
                      <a:pt x="171" y="80"/>
                    </a:cubicBezTo>
                    <a:cubicBezTo>
                      <a:pt x="173" y="78"/>
                      <a:pt x="174" y="78"/>
                      <a:pt x="176" y="77"/>
                    </a:cubicBezTo>
                    <a:cubicBezTo>
                      <a:pt x="178" y="76"/>
                      <a:pt x="179" y="75"/>
                      <a:pt x="182" y="74"/>
                    </a:cubicBezTo>
                    <a:cubicBezTo>
                      <a:pt x="183" y="74"/>
                      <a:pt x="184" y="73"/>
                      <a:pt x="186" y="72"/>
                    </a:cubicBezTo>
                    <a:cubicBezTo>
                      <a:pt x="184" y="69"/>
                      <a:pt x="184" y="67"/>
                      <a:pt x="182" y="63"/>
                    </a:cubicBezTo>
                    <a:cubicBezTo>
                      <a:pt x="181" y="59"/>
                      <a:pt x="179" y="57"/>
                      <a:pt x="179" y="53"/>
                    </a:cubicBezTo>
                    <a:cubicBezTo>
                      <a:pt x="177" y="53"/>
                      <a:pt x="175" y="53"/>
                      <a:pt x="173" y="53"/>
                    </a:cubicBezTo>
                    <a:cubicBezTo>
                      <a:pt x="172" y="53"/>
                      <a:pt x="172" y="53"/>
                      <a:pt x="171" y="53"/>
                    </a:cubicBezTo>
                    <a:cubicBezTo>
                      <a:pt x="170" y="53"/>
                      <a:pt x="169" y="52"/>
                      <a:pt x="168" y="51"/>
                    </a:cubicBezTo>
                    <a:cubicBezTo>
                      <a:pt x="166" y="50"/>
                      <a:pt x="165" y="48"/>
                      <a:pt x="163" y="46"/>
                    </a:cubicBezTo>
                    <a:cubicBezTo>
                      <a:pt x="162" y="47"/>
                      <a:pt x="162" y="49"/>
                      <a:pt x="160" y="49"/>
                    </a:cubicBezTo>
                    <a:cubicBezTo>
                      <a:pt x="159" y="49"/>
                      <a:pt x="158" y="48"/>
                      <a:pt x="158" y="47"/>
                    </a:cubicBezTo>
                    <a:cubicBezTo>
                      <a:pt x="157" y="46"/>
                      <a:pt x="157" y="46"/>
                      <a:pt x="156" y="45"/>
                    </a:cubicBezTo>
                    <a:cubicBezTo>
                      <a:pt x="156" y="45"/>
                      <a:pt x="156" y="45"/>
                      <a:pt x="155" y="45"/>
                    </a:cubicBezTo>
                    <a:cubicBezTo>
                      <a:pt x="155" y="45"/>
                      <a:pt x="154" y="45"/>
                      <a:pt x="154" y="44"/>
                    </a:cubicBezTo>
                    <a:cubicBezTo>
                      <a:pt x="154" y="42"/>
                      <a:pt x="156" y="41"/>
                      <a:pt x="157" y="39"/>
                    </a:cubicBezTo>
                    <a:cubicBezTo>
                      <a:pt x="156" y="38"/>
                      <a:pt x="154" y="38"/>
                      <a:pt x="153" y="38"/>
                    </a:cubicBezTo>
                    <a:cubicBezTo>
                      <a:pt x="151" y="38"/>
                      <a:pt x="151" y="38"/>
                      <a:pt x="149" y="38"/>
                    </a:cubicBezTo>
                    <a:cubicBezTo>
                      <a:pt x="148" y="38"/>
                      <a:pt x="148" y="39"/>
                      <a:pt x="147" y="39"/>
                    </a:cubicBezTo>
                    <a:cubicBezTo>
                      <a:pt x="145" y="39"/>
                      <a:pt x="145" y="38"/>
                      <a:pt x="143" y="37"/>
                    </a:cubicBezTo>
                    <a:cubicBezTo>
                      <a:pt x="141" y="36"/>
                      <a:pt x="140" y="37"/>
                      <a:pt x="138" y="36"/>
                    </a:cubicBezTo>
                    <a:cubicBezTo>
                      <a:pt x="135" y="34"/>
                      <a:pt x="133" y="33"/>
                      <a:pt x="130" y="32"/>
                    </a:cubicBezTo>
                    <a:cubicBezTo>
                      <a:pt x="131" y="34"/>
                      <a:pt x="132" y="36"/>
                      <a:pt x="132" y="38"/>
                    </a:cubicBezTo>
                    <a:cubicBezTo>
                      <a:pt x="132" y="40"/>
                      <a:pt x="130" y="41"/>
                      <a:pt x="129" y="42"/>
                    </a:cubicBezTo>
                    <a:cubicBezTo>
                      <a:pt x="128" y="43"/>
                      <a:pt x="128" y="45"/>
                      <a:pt x="128" y="47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14" y="30"/>
                      <a:pt x="115" y="29"/>
                      <a:pt x="118" y="28"/>
                    </a:cubicBezTo>
                    <a:cubicBezTo>
                      <a:pt x="117" y="27"/>
                      <a:pt x="117" y="26"/>
                      <a:pt x="116" y="25"/>
                    </a:cubicBezTo>
                    <a:cubicBezTo>
                      <a:pt x="116" y="24"/>
                      <a:pt x="116" y="23"/>
                      <a:pt x="115" y="23"/>
                    </a:cubicBezTo>
                    <a:cubicBezTo>
                      <a:pt x="114" y="23"/>
                      <a:pt x="113" y="23"/>
                      <a:pt x="113" y="23"/>
                    </a:cubicBezTo>
                    <a:cubicBezTo>
                      <a:pt x="112" y="22"/>
                      <a:pt x="111" y="22"/>
                      <a:pt x="110" y="21"/>
                    </a:cubicBezTo>
                    <a:cubicBezTo>
                      <a:pt x="107" y="21"/>
                      <a:pt x="106" y="21"/>
                      <a:pt x="104" y="20"/>
                    </a:cubicBezTo>
                    <a:cubicBezTo>
                      <a:pt x="103" y="20"/>
                      <a:pt x="103" y="19"/>
                      <a:pt x="103" y="19"/>
                    </a:cubicBezTo>
                    <a:cubicBezTo>
                      <a:pt x="101" y="18"/>
                      <a:pt x="100" y="18"/>
                      <a:pt x="99" y="17"/>
                    </a:cubicBezTo>
                    <a:cubicBezTo>
                      <a:pt x="97" y="16"/>
                      <a:pt x="96" y="15"/>
                      <a:pt x="95" y="14"/>
                    </a:cubicBezTo>
                    <a:cubicBezTo>
                      <a:pt x="93" y="13"/>
                      <a:pt x="92" y="12"/>
                      <a:pt x="91" y="11"/>
                    </a:cubicBezTo>
                    <a:cubicBezTo>
                      <a:pt x="90" y="10"/>
                      <a:pt x="90" y="9"/>
                      <a:pt x="89" y="8"/>
                    </a:cubicBezTo>
                    <a:cubicBezTo>
                      <a:pt x="89" y="7"/>
                      <a:pt x="89" y="6"/>
                      <a:pt x="88" y="6"/>
                    </a:cubicBezTo>
                    <a:cubicBezTo>
                      <a:pt x="86" y="6"/>
                      <a:pt x="85" y="8"/>
                      <a:pt x="83" y="9"/>
                    </a:cubicBezTo>
                    <a:cubicBezTo>
                      <a:pt x="82" y="9"/>
                      <a:pt x="81" y="9"/>
                      <a:pt x="79" y="9"/>
                    </a:cubicBezTo>
                    <a:cubicBezTo>
                      <a:pt x="78" y="10"/>
                      <a:pt x="78" y="11"/>
                      <a:pt x="77" y="11"/>
                    </a:cubicBezTo>
                    <a:cubicBezTo>
                      <a:pt x="75" y="11"/>
                      <a:pt x="74" y="10"/>
                      <a:pt x="73" y="8"/>
                    </a:cubicBezTo>
                    <a:cubicBezTo>
                      <a:pt x="71" y="7"/>
                      <a:pt x="71" y="5"/>
                      <a:pt x="69" y="3"/>
                    </a:cubicBezTo>
                    <a:cubicBezTo>
                      <a:pt x="69" y="3"/>
                      <a:pt x="68" y="3"/>
                      <a:pt x="68" y="3"/>
                    </a:cubicBezTo>
                    <a:cubicBezTo>
                      <a:pt x="67" y="2"/>
                      <a:pt x="67" y="1"/>
                      <a:pt x="66" y="0"/>
                    </a:cubicBezTo>
                    <a:cubicBezTo>
                      <a:pt x="65" y="4"/>
                      <a:pt x="62" y="5"/>
                      <a:pt x="58" y="6"/>
                    </a:cubicBezTo>
                    <a:cubicBezTo>
                      <a:pt x="55" y="6"/>
                      <a:pt x="53" y="8"/>
                      <a:pt x="50" y="9"/>
                    </a:cubicBezTo>
                    <a:cubicBezTo>
                      <a:pt x="46" y="12"/>
                      <a:pt x="43" y="12"/>
                      <a:pt x="38" y="14"/>
                    </a:cubicBezTo>
                    <a:cubicBezTo>
                      <a:pt x="36" y="15"/>
                      <a:pt x="35" y="15"/>
                      <a:pt x="33" y="15"/>
                    </a:cubicBezTo>
                    <a:cubicBezTo>
                      <a:pt x="32" y="16"/>
                      <a:pt x="32" y="16"/>
                      <a:pt x="31" y="17"/>
                    </a:cubicBezTo>
                    <a:cubicBezTo>
                      <a:pt x="30" y="17"/>
                      <a:pt x="29" y="17"/>
                      <a:pt x="28" y="18"/>
                    </a:cubicBezTo>
                    <a:cubicBezTo>
                      <a:pt x="27" y="19"/>
                      <a:pt x="26" y="20"/>
                      <a:pt x="25" y="20"/>
                    </a:cubicBezTo>
                    <a:cubicBezTo>
                      <a:pt x="21" y="22"/>
                      <a:pt x="19" y="23"/>
                      <a:pt x="15" y="24"/>
                    </a:cubicBezTo>
                    <a:cubicBezTo>
                      <a:pt x="12" y="25"/>
                      <a:pt x="10" y="25"/>
                      <a:pt x="7" y="27"/>
                    </a:cubicBezTo>
                    <a:cubicBezTo>
                      <a:pt x="6" y="27"/>
                      <a:pt x="5" y="28"/>
                      <a:pt x="4" y="28"/>
                    </a:cubicBezTo>
                    <a:cubicBezTo>
                      <a:pt x="3" y="28"/>
                      <a:pt x="1" y="28"/>
                      <a:pt x="0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32"/>
                      <a:pt x="4" y="34"/>
                      <a:pt x="5" y="37"/>
                    </a:cubicBezTo>
                    <a:cubicBezTo>
                      <a:pt x="6" y="39"/>
                      <a:pt x="6" y="40"/>
                      <a:pt x="6" y="42"/>
                    </a:cubicBezTo>
                    <a:cubicBezTo>
                      <a:pt x="6" y="45"/>
                      <a:pt x="6" y="46"/>
                      <a:pt x="6" y="48"/>
                    </a:cubicBezTo>
                    <a:cubicBezTo>
                      <a:pt x="6" y="51"/>
                      <a:pt x="8" y="53"/>
                      <a:pt x="10" y="55"/>
                    </a:cubicBezTo>
                    <a:cubicBezTo>
                      <a:pt x="12" y="56"/>
                      <a:pt x="12" y="58"/>
                      <a:pt x="13" y="59"/>
                    </a:cubicBezTo>
                    <a:cubicBezTo>
                      <a:pt x="15" y="61"/>
                      <a:pt x="16" y="62"/>
                      <a:pt x="17" y="64"/>
                    </a:cubicBezTo>
                    <a:cubicBezTo>
                      <a:pt x="19" y="67"/>
                      <a:pt x="20" y="68"/>
                      <a:pt x="22" y="70"/>
                    </a:cubicBezTo>
                    <a:cubicBezTo>
                      <a:pt x="23" y="72"/>
                      <a:pt x="24" y="73"/>
                      <a:pt x="25" y="74"/>
                    </a:cubicBezTo>
                    <a:cubicBezTo>
                      <a:pt x="27" y="76"/>
                      <a:pt x="29" y="77"/>
                      <a:pt x="30" y="79"/>
                    </a:cubicBezTo>
                    <a:cubicBezTo>
                      <a:pt x="32" y="81"/>
                      <a:pt x="32" y="82"/>
                      <a:pt x="32" y="84"/>
                    </a:cubicBezTo>
                    <a:cubicBezTo>
                      <a:pt x="33" y="85"/>
                      <a:pt x="33" y="86"/>
                      <a:pt x="35" y="87"/>
                    </a:cubicBezTo>
                    <a:cubicBezTo>
                      <a:pt x="35" y="87"/>
                      <a:pt x="36" y="88"/>
                      <a:pt x="37" y="88"/>
                    </a:cubicBezTo>
                    <a:cubicBezTo>
                      <a:pt x="38" y="89"/>
                      <a:pt x="38" y="90"/>
                      <a:pt x="39" y="91"/>
                    </a:cubicBezTo>
                    <a:cubicBezTo>
                      <a:pt x="39" y="92"/>
                      <a:pt x="40" y="92"/>
                      <a:pt x="40" y="93"/>
                    </a:cubicBezTo>
                    <a:cubicBezTo>
                      <a:pt x="40" y="94"/>
                      <a:pt x="40" y="94"/>
                      <a:pt x="41" y="95"/>
                    </a:cubicBezTo>
                    <a:cubicBezTo>
                      <a:pt x="41" y="96"/>
                      <a:pt x="42" y="97"/>
                      <a:pt x="42" y="98"/>
                    </a:cubicBezTo>
                    <a:cubicBezTo>
                      <a:pt x="44" y="100"/>
                      <a:pt x="44" y="101"/>
                      <a:pt x="46" y="103"/>
                    </a:cubicBezTo>
                    <a:cubicBezTo>
                      <a:pt x="47" y="104"/>
                      <a:pt x="47" y="104"/>
                      <a:pt x="49" y="105"/>
                    </a:cubicBezTo>
                    <a:cubicBezTo>
                      <a:pt x="49" y="106"/>
                      <a:pt x="49" y="106"/>
                      <a:pt x="50" y="106"/>
                    </a:cubicBezTo>
                    <a:cubicBezTo>
                      <a:pt x="50" y="106"/>
                      <a:pt x="50" y="107"/>
                      <a:pt x="50" y="107"/>
                    </a:cubicBezTo>
                    <a:cubicBezTo>
                      <a:pt x="51" y="107"/>
                      <a:pt x="51" y="106"/>
                      <a:pt x="51" y="106"/>
                    </a:cubicBezTo>
                    <a:cubicBezTo>
                      <a:pt x="52" y="105"/>
                      <a:pt x="53" y="105"/>
                      <a:pt x="54" y="105"/>
                    </a:cubicBezTo>
                    <a:cubicBezTo>
                      <a:pt x="56" y="104"/>
                      <a:pt x="56" y="103"/>
                      <a:pt x="58" y="103"/>
                    </a:cubicBezTo>
                    <a:cubicBezTo>
                      <a:pt x="61" y="101"/>
                      <a:pt x="62" y="100"/>
                      <a:pt x="65" y="99"/>
                    </a:cubicBezTo>
                    <a:cubicBezTo>
                      <a:pt x="66" y="98"/>
                      <a:pt x="67" y="98"/>
                      <a:pt x="67" y="98"/>
                    </a:cubicBezTo>
                    <a:cubicBezTo>
                      <a:pt x="68" y="98"/>
                      <a:pt x="69" y="97"/>
                      <a:pt x="69" y="97"/>
                    </a:cubicBezTo>
                    <a:cubicBezTo>
                      <a:pt x="70" y="97"/>
                      <a:pt x="71" y="96"/>
                      <a:pt x="72" y="95"/>
                    </a:cubicBezTo>
                    <a:cubicBezTo>
                      <a:pt x="72" y="94"/>
                      <a:pt x="73" y="94"/>
                      <a:pt x="73" y="93"/>
                    </a:cubicBezTo>
                    <a:cubicBezTo>
                      <a:pt x="73" y="91"/>
                      <a:pt x="74" y="90"/>
                      <a:pt x="75" y="90"/>
                    </a:cubicBezTo>
                    <a:cubicBezTo>
                      <a:pt x="76" y="90"/>
                      <a:pt x="77" y="90"/>
                      <a:pt x="78" y="90"/>
                    </a:cubicBezTo>
                    <a:cubicBezTo>
                      <a:pt x="79" y="90"/>
                      <a:pt x="80" y="89"/>
                      <a:pt x="80" y="89"/>
                    </a:cubicBezTo>
                    <a:cubicBezTo>
                      <a:pt x="81" y="89"/>
                      <a:pt x="81" y="90"/>
                      <a:pt x="81" y="90"/>
                    </a:cubicBezTo>
                    <a:cubicBezTo>
                      <a:pt x="81" y="90"/>
                      <a:pt x="81" y="90"/>
                      <a:pt x="82" y="90"/>
                    </a:cubicBezTo>
                    <a:cubicBezTo>
                      <a:pt x="82" y="91"/>
                      <a:pt x="83" y="91"/>
                      <a:pt x="84" y="91"/>
                    </a:cubicBezTo>
                    <a:cubicBezTo>
                      <a:pt x="85" y="92"/>
                      <a:pt x="86" y="93"/>
                      <a:pt x="87" y="93"/>
                    </a:cubicBezTo>
                    <a:cubicBezTo>
                      <a:pt x="88" y="94"/>
                      <a:pt x="88" y="94"/>
                      <a:pt x="88" y="94"/>
                    </a:cubicBezTo>
                    <a:cubicBezTo>
                      <a:pt x="89" y="95"/>
                      <a:pt x="91" y="95"/>
                      <a:pt x="92" y="96"/>
                    </a:cubicBezTo>
                    <a:cubicBezTo>
                      <a:pt x="93" y="97"/>
                      <a:pt x="94" y="97"/>
                      <a:pt x="95" y="98"/>
                    </a:cubicBezTo>
                    <a:cubicBezTo>
                      <a:pt x="95" y="98"/>
                      <a:pt x="96" y="98"/>
                      <a:pt x="96" y="99"/>
                    </a:cubicBezTo>
                    <a:cubicBezTo>
                      <a:pt x="98" y="100"/>
                      <a:pt x="100" y="102"/>
                      <a:pt x="102" y="102"/>
                    </a:cubicBezTo>
                    <a:cubicBezTo>
                      <a:pt x="106" y="102"/>
                      <a:pt x="109" y="102"/>
                      <a:pt x="113" y="102"/>
                    </a:cubicBezTo>
                    <a:cubicBezTo>
                      <a:pt x="115" y="102"/>
                      <a:pt x="116" y="102"/>
                      <a:pt x="119" y="102"/>
                    </a:cubicBezTo>
                    <a:cubicBezTo>
                      <a:pt x="120" y="102"/>
                      <a:pt x="121" y="102"/>
                      <a:pt x="122" y="102"/>
                    </a:cubicBezTo>
                    <a:cubicBezTo>
                      <a:pt x="122" y="103"/>
                      <a:pt x="123" y="103"/>
                      <a:pt x="123" y="103"/>
                    </a:cubicBezTo>
                    <a:cubicBezTo>
                      <a:pt x="126" y="105"/>
                      <a:pt x="127" y="106"/>
                      <a:pt x="129" y="1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1" name="Freeform 119">
                <a:extLst>
                  <a:ext uri="{FF2B5EF4-FFF2-40B4-BE49-F238E27FC236}">
                    <a16:creationId xmlns:a16="http://schemas.microsoft.com/office/drawing/2014/main" xmlns="" id="{1E641B3C-3EF4-4C9C-9929-862C89487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7633" y="2766409"/>
                <a:ext cx="419044" cy="216735"/>
              </a:xfrm>
              <a:custGeom>
                <a:avLst/>
                <a:gdLst>
                  <a:gd name="T0" fmla="*/ 156 w 166"/>
                  <a:gd name="T1" fmla="*/ 44 h 86"/>
                  <a:gd name="T2" fmla="*/ 164 w 166"/>
                  <a:gd name="T3" fmla="*/ 29 h 86"/>
                  <a:gd name="T4" fmla="*/ 158 w 166"/>
                  <a:gd name="T5" fmla="*/ 23 h 86"/>
                  <a:gd name="T6" fmla="*/ 149 w 166"/>
                  <a:gd name="T7" fmla="*/ 17 h 86"/>
                  <a:gd name="T8" fmla="*/ 136 w 166"/>
                  <a:gd name="T9" fmla="*/ 10 h 86"/>
                  <a:gd name="T10" fmla="*/ 127 w 166"/>
                  <a:gd name="T11" fmla="*/ 11 h 86"/>
                  <a:gd name="T12" fmla="*/ 119 w 166"/>
                  <a:gd name="T13" fmla="*/ 15 h 86"/>
                  <a:gd name="T14" fmla="*/ 114 w 166"/>
                  <a:gd name="T15" fmla="*/ 12 h 86"/>
                  <a:gd name="T16" fmla="*/ 107 w 166"/>
                  <a:gd name="T17" fmla="*/ 10 h 86"/>
                  <a:gd name="T18" fmla="*/ 99 w 166"/>
                  <a:gd name="T19" fmla="*/ 16 h 86"/>
                  <a:gd name="T20" fmla="*/ 89 w 166"/>
                  <a:gd name="T21" fmla="*/ 16 h 86"/>
                  <a:gd name="T22" fmla="*/ 84 w 166"/>
                  <a:gd name="T23" fmla="*/ 10 h 86"/>
                  <a:gd name="T24" fmla="*/ 80 w 166"/>
                  <a:gd name="T25" fmla="*/ 3 h 86"/>
                  <a:gd name="T26" fmla="*/ 72 w 166"/>
                  <a:gd name="T27" fmla="*/ 0 h 86"/>
                  <a:gd name="T28" fmla="*/ 67 w 166"/>
                  <a:gd name="T29" fmla="*/ 8 h 86"/>
                  <a:gd name="T30" fmla="*/ 61 w 166"/>
                  <a:gd name="T31" fmla="*/ 5 h 86"/>
                  <a:gd name="T32" fmla="*/ 46 w 166"/>
                  <a:gd name="T33" fmla="*/ 13 h 86"/>
                  <a:gd name="T34" fmla="*/ 39 w 166"/>
                  <a:gd name="T35" fmla="*/ 21 h 86"/>
                  <a:gd name="T36" fmla="*/ 30 w 166"/>
                  <a:gd name="T37" fmla="*/ 30 h 86"/>
                  <a:gd name="T38" fmla="*/ 18 w 166"/>
                  <a:gd name="T39" fmla="*/ 32 h 86"/>
                  <a:gd name="T40" fmla="*/ 7 w 166"/>
                  <a:gd name="T41" fmla="*/ 36 h 86"/>
                  <a:gd name="T42" fmla="*/ 3 w 166"/>
                  <a:gd name="T43" fmla="*/ 44 h 86"/>
                  <a:gd name="T44" fmla="*/ 0 w 166"/>
                  <a:gd name="T45" fmla="*/ 53 h 86"/>
                  <a:gd name="T46" fmla="*/ 2 w 166"/>
                  <a:gd name="T47" fmla="*/ 57 h 86"/>
                  <a:gd name="T48" fmla="*/ 8 w 166"/>
                  <a:gd name="T49" fmla="*/ 63 h 86"/>
                  <a:gd name="T50" fmla="*/ 9 w 166"/>
                  <a:gd name="T51" fmla="*/ 72 h 86"/>
                  <a:gd name="T52" fmla="*/ 13 w 166"/>
                  <a:gd name="T53" fmla="*/ 76 h 86"/>
                  <a:gd name="T54" fmla="*/ 23 w 166"/>
                  <a:gd name="T55" fmla="*/ 83 h 86"/>
                  <a:gd name="T56" fmla="*/ 35 w 166"/>
                  <a:gd name="T57" fmla="*/ 86 h 86"/>
                  <a:gd name="T58" fmla="*/ 43 w 166"/>
                  <a:gd name="T59" fmla="*/ 85 h 86"/>
                  <a:gd name="T60" fmla="*/ 56 w 166"/>
                  <a:gd name="T61" fmla="*/ 82 h 86"/>
                  <a:gd name="T62" fmla="*/ 58 w 166"/>
                  <a:gd name="T63" fmla="*/ 71 h 86"/>
                  <a:gd name="T64" fmla="*/ 59 w 166"/>
                  <a:gd name="T65" fmla="*/ 64 h 86"/>
                  <a:gd name="T66" fmla="*/ 65 w 166"/>
                  <a:gd name="T67" fmla="*/ 63 h 86"/>
                  <a:gd name="T68" fmla="*/ 74 w 166"/>
                  <a:gd name="T69" fmla="*/ 63 h 86"/>
                  <a:gd name="T70" fmla="*/ 81 w 166"/>
                  <a:gd name="T71" fmla="*/ 58 h 86"/>
                  <a:gd name="T72" fmla="*/ 85 w 166"/>
                  <a:gd name="T73" fmla="*/ 55 h 86"/>
                  <a:gd name="T74" fmla="*/ 91 w 166"/>
                  <a:gd name="T75" fmla="*/ 57 h 86"/>
                  <a:gd name="T76" fmla="*/ 102 w 166"/>
                  <a:gd name="T77" fmla="*/ 54 h 86"/>
                  <a:gd name="T78" fmla="*/ 108 w 166"/>
                  <a:gd name="T79" fmla="*/ 47 h 86"/>
                  <a:gd name="T80" fmla="*/ 117 w 166"/>
                  <a:gd name="T81" fmla="*/ 44 h 86"/>
                  <a:gd name="T82" fmla="*/ 126 w 166"/>
                  <a:gd name="T83" fmla="*/ 43 h 86"/>
                  <a:gd name="T84" fmla="*/ 135 w 166"/>
                  <a:gd name="T85" fmla="*/ 43 h 86"/>
                  <a:gd name="T86" fmla="*/ 142 w 166"/>
                  <a:gd name="T87" fmla="*/ 49 h 86"/>
                  <a:gd name="T88" fmla="*/ 155 w 166"/>
                  <a:gd name="T89" fmla="*/ 5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6" h="86">
                    <a:moveTo>
                      <a:pt x="155" y="50"/>
                    </a:moveTo>
                    <a:cubicBezTo>
                      <a:pt x="155" y="49"/>
                      <a:pt x="155" y="48"/>
                      <a:pt x="155" y="47"/>
                    </a:cubicBezTo>
                    <a:cubicBezTo>
                      <a:pt x="155" y="46"/>
                      <a:pt x="156" y="45"/>
                      <a:pt x="156" y="44"/>
                    </a:cubicBezTo>
                    <a:cubicBezTo>
                      <a:pt x="157" y="43"/>
                      <a:pt x="157" y="42"/>
                      <a:pt x="157" y="42"/>
                    </a:cubicBezTo>
                    <a:cubicBezTo>
                      <a:pt x="158" y="39"/>
                      <a:pt x="159" y="38"/>
                      <a:pt x="160" y="36"/>
                    </a:cubicBezTo>
                    <a:cubicBezTo>
                      <a:pt x="161" y="33"/>
                      <a:pt x="162" y="32"/>
                      <a:pt x="164" y="29"/>
                    </a:cubicBezTo>
                    <a:cubicBezTo>
                      <a:pt x="165" y="27"/>
                      <a:pt x="165" y="26"/>
                      <a:pt x="166" y="25"/>
                    </a:cubicBezTo>
                    <a:cubicBezTo>
                      <a:pt x="165" y="24"/>
                      <a:pt x="163" y="24"/>
                      <a:pt x="162" y="24"/>
                    </a:cubicBezTo>
                    <a:cubicBezTo>
                      <a:pt x="161" y="24"/>
                      <a:pt x="160" y="24"/>
                      <a:pt x="158" y="23"/>
                    </a:cubicBezTo>
                    <a:cubicBezTo>
                      <a:pt x="156" y="22"/>
                      <a:pt x="155" y="21"/>
                      <a:pt x="153" y="20"/>
                    </a:cubicBezTo>
                    <a:cubicBezTo>
                      <a:pt x="153" y="20"/>
                      <a:pt x="152" y="20"/>
                      <a:pt x="152" y="19"/>
                    </a:cubicBezTo>
                    <a:cubicBezTo>
                      <a:pt x="151" y="18"/>
                      <a:pt x="150" y="18"/>
                      <a:pt x="149" y="17"/>
                    </a:cubicBezTo>
                    <a:cubicBezTo>
                      <a:pt x="149" y="16"/>
                      <a:pt x="148" y="16"/>
                      <a:pt x="148" y="15"/>
                    </a:cubicBezTo>
                    <a:cubicBezTo>
                      <a:pt x="145" y="14"/>
                      <a:pt x="144" y="13"/>
                      <a:pt x="141" y="12"/>
                    </a:cubicBezTo>
                    <a:cubicBezTo>
                      <a:pt x="139" y="11"/>
                      <a:pt x="138" y="10"/>
                      <a:pt x="136" y="10"/>
                    </a:cubicBezTo>
                    <a:cubicBezTo>
                      <a:pt x="135" y="10"/>
                      <a:pt x="134" y="9"/>
                      <a:pt x="132" y="9"/>
                    </a:cubicBezTo>
                    <a:cubicBezTo>
                      <a:pt x="131" y="9"/>
                      <a:pt x="130" y="10"/>
                      <a:pt x="128" y="10"/>
                    </a:cubicBezTo>
                    <a:cubicBezTo>
                      <a:pt x="127" y="11"/>
                      <a:pt x="127" y="11"/>
                      <a:pt x="127" y="11"/>
                    </a:cubicBezTo>
                    <a:cubicBezTo>
                      <a:pt x="126" y="11"/>
                      <a:pt x="125" y="12"/>
                      <a:pt x="125" y="12"/>
                    </a:cubicBezTo>
                    <a:cubicBezTo>
                      <a:pt x="124" y="12"/>
                      <a:pt x="123" y="13"/>
                      <a:pt x="122" y="13"/>
                    </a:cubicBezTo>
                    <a:cubicBezTo>
                      <a:pt x="121" y="14"/>
                      <a:pt x="120" y="14"/>
                      <a:pt x="119" y="15"/>
                    </a:cubicBezTo>
                    <a:cubicBezTo>
                      <a:pt x="119" y="15"/>
                      <a:pt x="118" y="16"/>
                      <a:pt x="118" y="16"/>
                    </a:cubicBezTo>
                    <a:cubicBezTo>
                      <a:pt x="117" y="16"/>
                      <a:pt x="116" y="15"/>
                      <a:pt x="115" y="14"/>
                    </a:cubicBezTo>
                    <a:cubicBezTo>
                      <a:pt x="115" y="13"/>
                      <a:pt x="114" y="13"/>
                      <a:pt x="114" y="12"/>
                    </a:cubicBezTo>
                    <a:cubicBezTo>
                      <a:pt x="113" y="11"/>
                      <a:pt x="112" y="10"/>
                      <a:pt x="111" y="10"/>
                    </a:cubicBezTo>
                    <a:cubicBezTo>
                      <a:pt x="110" y="10"/>
                      <a:pt x="110" y="9"/>
                      <a:pt x="109" y="9"/>
                    </a:cubicBezTo>
                    <a:cubicBezTo>
                      <a:pt x="108" y="9"/>
                      <a:pt x="108" y="9"/>
                      <a:pt x="107" y="10"/>
                    </a:cubicBezTo>
                    <a:cubicBezTo>
                      <a:pt x="106" y="11"/>
                      <a:pt x="105" y="11"/>
                      <a:pt x="104" y="12"/>
                    </a:cubicBezTo>
                    <a:cubicBezTo>
                      <a:pt x="103" y="13"/>
                      <a:pt x="102" y="14"/>
                      <a:pt x="101" y="15"/>
                    </a:cubicBezTo>
                    <a:cubicBezTo>
                      <a:pt x="101" y="16"/>
                      <a:pt x="100" y="16"/>
                      <a:pt x="99" y="16"/>
                    </a:cubicBezTo>
                    <a:cubicBezTo>
                      <a:pt x="98" y="17"/>
                      <a:pt x="98" y="18"/>
                      <a:pt x="97" y="18"/>
                    </a:cubicBezTo>
                    <a:cubicBezTo>
                      <a:pt x="96" y="18"/>
                      <a:pt x="95" y="17"/>
                      <a:pt x="94" y="17"/>
                    </a:cubicBezTo>
                    <a:cubicBezTo>
                      <a:pt x="92" y="17"/>
                      <a:pt x="91" y="16"/>
                      <a:pt x="89" y="16"/>
                    </a:cubicBezTo>
                    <a:cubicBezTo>
                      <a:pt x="88" y="16"/>
                      <a:pt x="87" y="16"/>
                      <a:pt x="87" y="15"/>
                    </a:cubicBezTo>
                    <a:cubicBezTo>
                      <a:pt x="86" y="15"/>
                      <a:pt x="86" y="14"/>
                      <a:pt x="86" y="14"/>
                    </a:cubicBezTo>
                    <a:cubicBezTo>
                      <a:pt x="85" y="12"/>
                      <a:pt x="85" y="12"/>
                      <a:pt x="84" y="10"/>
                    </a:cubicBezTo>
                    <a:cubicBezTo>
                      <a:pt x="83" y="9"/>
                      <a:pt x="83" y="9"/>
                      <a:pt x="83" y="8"/>
                    </a:cubicBezTo>
                    <a:cubicBezTo>
                      <a:pt x="82" y="7"/>
                      <a:pt x="83" y="7"/>
                      <a:pt x="82" y="6"/>
                    </a:cubicBezTo>
                    <a:cubicBezTo>
                      <a:pt x="82" y="5"/>
                      <a:pt x="81" y="4"/>
                      <a:pt x="80" y="3"/>
                    </a:cubicBezTo>
                    <a:cubicBezTo>
                      <a:pt x="80" y="2"/>
                      <a:pt x="79" y="2"/>
                      <a:pt x="79" y="2"/>
                    </a:cubicBezTo>
                    <a:cubicBezTo>
                      <a:pt x="78" y="2"/>
                      <a:pt x="77" y="2"/>
                      <a:pt x="76" y="2"/>
                    </a:cubicBezTo>
                    <a:cubicBezTo>
                      <a:pt x="75" y="1"/>
                      <a:pt x="74" y="1"/>
                      <a:pt x="72" y="0"/>
                    </a:cubicBezTo>
                    <a:cubicBezTo>
                      <a:pt x="71" y="2"/>
                      <a:pt x="71" y="3"/>
                      <a:pt x="70" y="5"/>
                    </a:cubicBezTo>
                    <a:cubicBezTo>
                      <a:pt x="69" y="5"/>
                      <a:pt x="69" y="6"/>
                      <a:pt x="69" y="6"/>
                    </a:cubicBezTo>
                    <a:cubicBezTo>
                      <a:pt x="68" y="7"/>
                      <a:pt x="68" y="8"/>
                      <a:pt x="67" y="8"/>
                    </a:cubicBezTo>
                    <a:cubicBezTo>
                      <a:pt x="67" y="8"/>
                      <a:pt x="66" y="9"/>
                      <a:pt x="66" y="9"/>
                    </a:cubicBezTo>
                    <a:cubicBezTo>
                      <a:pt x="65" y="9"/>
                      <a:pt x="64" y="8"/>
                      <a:pt x="63" y="7"/>
                    </a:cubicBezTo>
                    <a:cubicBezTo>
                      <a:pt x="62" y="6"/>
                      <a:pt x="62" y="6"/>
                      <a:pt x="61" y="5"/>
                    </a:cubicBezTo>
                    <a:cubicBezTo>
                      <a:pt x="59" y="6"/>
                      <a:pt x="58" y="7"/>
                      <a:pt x="57" y="7"/>
                    </a:cubicBezTo>
                    <a:cubicBezTo>
                      <a:pt x="54" y="8"/>
                      <a:pt x="53" y="9"/>
                      <a:pt x="51" y="10"/>
                    </a:cubicBezTo>
                    <a:cubicBezTo>
                      <a:pt x="49" y="11"/>
                      <a:pt x="48" y="11"/>
                      <a:pt x="46" y="13"/>
                    </a:cubicBezTo>
                    <a:cubicBezTo>
                      <a:pt x="45" y="14"/>
                      <a:pt x="45" y="14"/>
                      <a:pt x="44" y="15"/>
                    </a:cubicBezTo>
                    <a:cubicBezTo>
                      <a:pt x="43" y="16"/>
                      <a:pt x="42" y="17"/>
                      <a:pt x="41" y="18"/>
                    </a:cubicBezTo>
                    <a:cubicBezTo>
                      <a:pt x="40" y="19"/>
                      <a:pt x="40" y="20"/>
                      <a:pt x="39" y="21"/>
                    </a:cubicBezTo>
                    <a:cubicBezTo>
                      <a:pt x="38" y="22"/>
                      <a:pt x="37" y="23"/>
                      <a:pt x="37" y="24"/>
                    </a:cubicBezTo>
                    <a:cubicBezTo>
                      <a:pt x="36" y="25"/>
                      <a:pt x="35" y="26"/>
                      <a:pt x="34" y="28"/>
                    </a:cubicBezTo>
                    <a:cubicBezTo>
                      <a:pt x="32" y="29"/>
                      <a:pt x="32" y="30"/>
                      <a:pt x="30" y="30"/>
                    </a:cubicBezTo>
                    <a:cubicBezTo>
                      <a:pt x="28" y="31"/>
                      <a:pt x="27" y="31"/>
                      <a:pt x="25" y="31"/>
                    </a:cubicBezTo>
                    <a:cubicBezTo>
                      <a:pt x="25" y="31"/>
                      <a:pt x="25" y="31"/>
                      <a:pt x="24" y="31"/>
                    </a:cubicBezTo>
                    <a:cubicBezTo>
                      <a:pt x="22" y="32"/>
                      <a:pt x="20" y="32"/>
                      <a:pt x="18" y="32"/>
                    </a:cubicBezTo>
                    <a:cubicBezTo>
                      <a:pt x="16" y="32"/>
                      <a:pt x="15" y="33"/>
                      <a:pt x="13" y="33"/>
                    </a:cubicBezTo>
                    <a:cubicBezTo>
                      <a:pt x="12" y="33"/>
                      <a:pt x="11" y="33"/>
                      <a:pt x="10" y="33"/>
                    </a:cubicBezTo>
                    <a:cubicBezTo>
                      <a:pt x="8" y="33"/>
                      <a:pt x="8" y="35"/>
                      <a:pt x="7" y="36"/>
                    </a:cubicBezTo>
                    <a:cubicBezTo>
                      <a:pt x="6" y="38"/>
                      <a:pt x="5" y="39"/>
                      <a:pt x="4" y="40"/>
                    </a:cubicBezTo>
                    <a:cubicBezTo>
                      <a:pt x="4" y="41"/>
                      <a:pt x="4" y="42"/>
                      <a:pt x="4" y="43"/>
                    </a:cubicBezTo>
                    <a:cubicBezTo>
                      <a:pt x="4" y="43"/>
                      <a:pt x="4" y="44"/>
                      <a:pt x="3" y="44"/>
                    </a:cubicBezTo>
                    <a:cubicBezTo>
                      <a:pt x="3" y="45"/>
                      <a:pt x="3" y="46"/>
                      <a:pt x="2" y="47"/>
                    </a:cubicBezTo>
                    <a:cubicBezTo>
                      <a:pt x="2" y="48"/>
                      <a:pt x="2" y="49"/>
                      <a:pt x="1" y="50"/>
                    </a:cubicBezTo>
                    <a:cubicBezTo>
                      <a:pt x="1" y="51"/>
                      <a:pt x="0" y="51"/>
                      <a:pt x="0" y="53"/>
                    </a:cubicBezTo>
                    <a:cubicBezTo>
                      <a:pt x="0" y="53"/>
                      <a:pt x="0" y="54"/>
                      <a:pt x="1" y="54"/>
                    </a:cubicBezTo>
                    <a:cubicBezTo>
                      <a:pt x="1" y="55"/>
                      <a:pt x="1" y="55"/>
                      <a:pt x="1" y="56"/>
                    </a:cubicBezTo>
                    <a:cubicBezTo>
                      <a:pt x="1" y="56"/>
                      <a:pt x="2" y="57"/>
                      <a:pt x="2" y="57"/>
                    </a:cubicBezTo>
                    <a:cubicBezTo>
                      <a:pt x="3" y="58"/>
                      <a:pt x="3" y="59"/>
                      <a:pt x="3" y="60"/>
                    </a:cubicBezTo>
                    <a:cubicBezTo>
                      <a:pt x="4" y="60"/>
                      <a:pt x="4" y="60"/>
                      <a:pt x="5" y="61"/>
                    </a:cubicBezTo>
                    <a:cubicBezTo>
                      <a:pt x="6" y="61"/>
                      <a:pt x="7" y="62"/>
                      <a:pt x="8" y="63"/>
                    </a:cubicBezTo>
                    <a:cubicBezTo>
                      <a:pt x="8" y="63"/>
                      <a:pt x="8" y="64"/>
                      <a:pt x="8" y="65"/>
                    </a:cubicBezTo>
                    <a:cubicBezTo>
                      <a:pt x="9" y="66"/>
                      <a:pt x="9" y="67"/>
                      <a:pt x="9" y="69"/>
                    </a:cubicBezTo>
                    <a:cubicBezTo>
                      <a:pt x="9" y="70"/>
                      <a:pt x="9" y="70"/>
                      <a:pt x="9" y="72"/>
                    </a:cubicBezTo>
                    <a:cubicBezTo>
                      <a:pt x="10" y="72"/>
                      <a:pt x="10" y="73"/>
                      <a:pt x="11" y="73"/>
                    </a:cubicBezTo>
                    <a:cubicBezTo>
                      <a:pt x="11" y="74"/>
                      <a:pt x="12" y="75"/>
                      <a:pt x="12" y="75"/>
                    </a:cubicBezTo>
                    <a:cubicBezTo>
                      <a:pt x="12" y="76"/>
                      <a:pt x="12" y="76"/>
                      <a:pt x="13" y="76"/>
                    </a:cubicBezTo>
                    <a:cubicBezTo>
                      <a:pt x="14" y="77"/>
                      <a:pt x="15" y="78"/>
                      <a:pt x="17" y="79"/>
                    </a:cubicBezTo>
                    <a:cubicBezTo>
                      <a:pt x="18" y="80"/>
                      <a:pt x="19" y="81"/>
                      <a:pt x="21" y="82"/>
                    </a:cubicBezTo>
                    <a:cubicBezTo>
                      <a:pt x="22" y="82"/>
                      <a:pt x="22" y="82"/>
                      <a:pt x="23" y="83"/>
                    </a:cubicBezTo>
                    <a:cubicBezTo>
                      <a:pt x="25" y="83"/>
                      <a:pt x="26" y="83"/>
                      <a:pt x="28" y="84"/>
                    </a:cubicBezTo>
                    <a:cubicBezTo>
                      <a:pt x="31" y="85"/>
                      <a:pt x="32" y="85"/>
                      <a:pt x="34" y="85"/>
                    </a:cubicBezTo>
                    <a:cubicBezTo>
                      <a:pt x="34" y="85"/>
                      <a:pt x="35" y="86"/>
                      <a:pt x="35" y="86"/>
                    </a:cubicBezTo>
                    <a:cubicBezTo>
                      <a:pt x="36" y="86"/>
                      <a:pt x="37" y="86"/>
                      <a:pt x="39" y="86"/>
                    </a:cubicBezTo>
                    <a:cubicBezTo>
                      <a:pt x="40" y="86"/>
                      <a:pt x="41" y="85"/>
                      <a:pt x="42" y="85"/>
                    </a:cubicBezTo>
                    <a:cubicBezTo>
                      <a:pt x="42" y="85"/>
                      <a:pt x="43" y="85"/>
                      <a:pt x="43" y="85"/>
                    </a:cubicBezTo>
                    <a:cubicBezTo>
                      <a:pt x="46" y="84"/>
                      <a:pt x="47" y="84"/>
                      <a:pt x="49" y="84"/>
                    </a:cubicBezTo>
                    <a:cubicBezTo>
                      <a:pt x="51" y="83"/>
                      <a:pt x="52" y="83"/>
                      <a:pt x="54" y="83"/>
                    </a:cubicBezTo>
                    <a:cubicBezTo>
                      <a:pt x="55" y="82"/>
                      <a:pt x="55" y="82"/>
                      <a:pt x="56" y="82"/>
                    </a:cubicBezTo>
                    <a:cubicBezTo>
                      <a:pt x="57" y="81"/>
                      <a:pt x="58" y="81"/>
                      <a:pt x="58" y="80"/>
                    </a:cubicBezTo>
                    <a:cubicBezTo>
                      <a:pt x="58" y="80"/>
                      <a:pt x="58" y="80"/>
                      <a:pt x="58" y="79"/>
                    </a:cubicBezTo>
                    <a:cubicBezTo>
                      <a:pt x="58" y="76"/>
                      <a:pt x="58" y="74"/>
                      <a:pt x="58" y="71"/>
                    </a:cubicBezTo>
                    <a:cubicBezTo>
                      <a:pt x="58" y="70"/>
                      <a:pt x="58" y="70"/>
                      <a:pt x="58" y="70"/>
                    </a:cubicBezTo>
                    <a:cubicBezTo>
                      <a:pt x="58" y="68"/>
                      <a:pt x="58" y="67"/>
                      <a:pt x="59" y="66"/>
                    </a:cubicBezTo>
                    <a:cubicBezTo>
                      <a:pt x="59" y="65"/>
                      <a:pt x="59" y="65"/>
                      <a:pt x="59" y="64"/>
                    </a:cubicBezTo>
                    <a:cubicBezTo>
                      <a:pt x="59" y="63"/>
                      <a:pt x="59" y="62"/>
                      <a:pt x="60" y="62"/>
                    </a:cubicBezTo>
                    <a:cubicBezTo>
                      <a:pt x="61" y="62"/>
                      <a:pt x="61" y="63"/>
                      <a:pt x="62" y="63"/>
                    </a:cubicBezTo>
                    <a:cubicBezTo>
                      <a:pt x="63" y="63"/>
                      <a:pt x="64" y="63"/>
                      <a:pt x="65" y="63"/>
                    </a:cubicBezTo>
                    <a:cubicBezTo>
                      <a:pt x="66" y="63"/>
                      <a:pt x="66" y="63"/>
                      <a:pt x="67" y="63"/>
                    </a:cubicBezTo>
                    <a:cubicBezTo>
                      <a:pt x="69" y="63"/>
                      <a:pt x="69" y="63"/>
                      <a:pt x="71" y="63"/>
                    </a:cubicBezTo>
                    <a:cubicBezTo>
                      <a:pt x="72" y="63"/>
                      <a:pt x="73" y="63"/>
                      <a:pt x="74" y="63"/>
                    </a:cubicBezTo>
                    <a:cubicBezTo>
                      <a:pt x="75" y="62"/>
                      <a:pt x="76" y="62"/>
                      <a:pt x="76" y="62"/>
                    </a:cubicBezTo>
                    <a:cubicBezTo>
                      <a:pt x="78" y="61"/>
                      <a:pt x="78" y="61"/>
                      <a:pt x="79" y="60"/>
                    </a:cubicBezTo>
                    <a:cubicBezTo>
                      <a:pt x="80" y="59"/>
                      <a:pt x="80" y="59"/>
                      <a:pt x="81" y="58"/>
                    </a:cubicBezTo>
                    <a:cubicBezTo>
                      <a:pt x="81" y="57"/>
                      <a:pt x="82" y="57"/>
                      <a:pt x="83" y="56"/>
                    </a:cubicBezTo>
                    <a:cubicBezTo>
                      <a:pt x="83" y="55"/>
                      <a:pt x="83" y="55"/>
                      <a:pt x="84" y="55"/>
                    </a:cubicBezTo>
                    <a:cubicBezTo>
                      <a:pt x="85" y="55"/>
                      <a:pt x="85" y="55"/>
                      <a:pt x="85" y="55"/>
                    </a:cubicBezTo>
                    <a:cubicBezTo>
                      <a:pt x="86" y="56"/>
                      <a:pt x="87" y="56"/>
                      <a:pt x="88" y="56"/>
                    </a:cubicBezTo>
                    <a:cubicBezTo>
                      <a:pt x="88" y="56"/>
                      <a:pt x="89" y="56"/>
                      <a:pt x="89" y="57"/>
                    </a:cubicBezTo>
                    <a:cubicBezTo>
                      <a:pt x="90" y="57"/>
                      <a:pt x="90" y="57"/>
                      <a:pt x="91" y="57"/>
                    </a:cubicBezTo>
                    <a:cubicBezTo>
                      <a:pt x="92" y="57"/>
                      <a:pt x="93" y="57"/>
                      <a:pt x="94" y="57"/>
                    </a:cubicBezTo>
                    <a:cubicBezTo>
                      <a:pt x="96" y="57"/>
                      <a:pt x="98" y="57"/>
                      <a:pt x="100" y="56"/>
                    </a:cubicBezTo>
                    <a:cubicBezTo>
                      <a:pt x="101" y="55"/>
                      <a:pt x="101" y="55"/>
                      <a:pt x="102" y="54"/>
                    </a:cubicBezTo>
                    <a:cubicBezTo>
                      <a:pt x="103" y="54"/>
                      <a:pt x="103" y="54"/>
                      <a:pt x="103" y="53"/>
                    </a:cubicBezTo>
                    <a:cubicBezTo>
                      <a:pt x="104" y="52"/>
                      <a:pt x="105" y="51"/>
                      <a:pt x="106" y="49"/>
                    </a:cubicBezTo>
                    <a:cubicBezTo>
                      <a:pt x="107" y="48"/>
                      <a:pt x="107" y="48"/>
                      <a:pt x="108" y="47"/>
                    </a:cubicBezTo>
                    <a:cubicBezTo>
                      <a:pt x="108" y="46"/>
                      <a:pt x="108" y="46"/>
                      <a:pt x="108" y="46"/>
                    </a:cubicBezTo>
                    <a:cubicBezTo>
                      <a:pt x="110" y="45"/>
                      <a:pt x="111" y="45"/>
                      <a:pt x="113" y="45"/>
                    </a:cubicBezTo>
                    <a:cubicBezTo>
                      <a:pt x="115" y="45"/>
                      <a:pt x="116" y="45"/>
                      <a:pt x="117" y="44"/>
                    </a:cubicBezTo>
                    <a:cubicBezTo>
                      <a:pt x="118" y="44"/>
                      <a:pt x="118" y="44"/>
                      <a:pt x="119" y="44"/>
                    </a:cubicBezTo>
                    <a:cubicBezTo>
                      <a:pt x="120" y="43"/>
                      <a:pt x="121" y="43"/>
                      <a:pt x="122" y="43"/>
                    </a:cubicBezTo>
                    <a:cubicBezTo>
                      <a:pt x="123" y="43"/>
                      <a:pt x="124" y="43"/>
                      <a:pt x="126" y="43"/>
                    </a:cubicBezTo>
                    <a:cubicBezTo>
                      <a:pt x="127" y="43"/>
                      <a:pt x="127" y="43"/>
                      <a:pt x="128" y="43"/>
                    </a:cubicBezTo>
                    <a:cubicBezTo>
                      <a:pt x="130" y="43"/>
                      <a:pt x="131" y="43"/>
                      <a:pt x="132" y="43"/>
                    </a:cubicBezTo>
                    <a:cubicBezTo>
                      <a:pt x="133" y="43"/>
                      <a:pt x="134" y="43"/>
                      <a:pt x="135" y="43"/>
                    </a:cubicBezTo>
                    <a:cubicBezTo>
                      <a:pt x="136" y="43"/>
                      <a:pt x="137" y="43"/>
                      <a:pt x="137" y="44"/>
                    </a:cubicBezTo>
                    <a:cubicBezTo>
                      <a:pt x="139" y="44"/>
                      <a:pt x="139" y="45"/>
                      <a:pt x="140" y="46"/>
                    </a:cubicBezTo>
                    <a:cubicBezTo>
                      <a:pt x="141" y="47"/>
                      <a:pt x="141" y="48"/>
                      <a:pt x="142" y="49"/>
                    </a:cubicBezTo>
                    <a:cubicBezTo>
                      <a:pt x="144" y="50"/>
                      <a:pt x="144" y="52"/>
                      <a:pt x="147" y="52"/>
                    </a:cubicBezTo>
                    <a:cubicBezTo>
                      <a:pt x="147" y="52"/>
                      <a:pt x="148" y="52"/>
                      <a:pt x="148" y="52"/>
                    </a:cubicBezTo>
                    <a:cubicBezTo>
                      <a:pt x="151" y="52"/>
                      <a:pt x="152" y="51"/>
                      <a:pt x="155" y="5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2" name="Freeform 120">
                <a:extLst>
                  <a:ext uri="{FF2B5EF4-FFF2-40B4-BE49-F238E27FC236}">
                    <a16:creationId xmlns:a16="http://schemas.microsoft.com/office/drawing/2014/main" xmlns="" id="{0611A3A8-2449-4F8F-9074-18EBEF7EC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924" y="2874177"/>
                <a:ext cx="492078" cy="320909"/>
              </a:xfrm>
              <a:custGeom>
                <a:avLst/>
                <a:gdLst>
                  <a:gd name="T0" fmla="*/ 126 w 195"/>
                  <a:gd name="T1" fmla="*/ 109 h 127"/>
                  <a:gd name="T2" fmla="*/ 136 w 195"/>
                  <a:gd name="T3" fmla="*/ 103 h 127"/>
                  <a:gd name="T4" fmla="*/ 142 w 195"/>
                  <a:gd name="T5" fmla="*/ 96 h 127"/>
                  <a:gd name="T6" fmla="*/ 147 w 195"/>
                  <a:gd name="T7" fmla="*/ 85 h 127"/>
                  <a:gd name="T8" fmla="*/ 154 w 195"/>
                  <a:gd name="T9" fmla="*/ 75 h 127"/>
                  <a:gd name="T10" fmla="*/ 160 w 195"/>
                  <a:gd name="T11" fmla="*/ 69 h 127"/>
                  <a:gd name="T12" fmla="*/ 164 w 195"/>
                  <a:gd name="T13" fmla="*/ 65 h 127"/>
                  <a:gd name="T14" fmla="*/ 167 w 195"/>
                  <a:gd name="T15" fmla="*/ 56 h 127"/>
                  <a:gd name="T16" fmla="*/ 165 w 195"/>
                  <a:gd name="T17" fmla="*/ 50 h 127"/>
                  <a:gd name="T18" fmla="*/ 175 w 195"/>
                  <a:gd name="T19" fmla="*/ 41 h 127"/>
                  <a:gd name="T20" fmla="*/ 178 w 195"/>
                  <a:gd name="T21" fmla="*/ 34 h 127"/>
                  <a:gd name="T22" fmla="*/ 188 w 195"/>
                  <a:gd name="T23" fmla="*/ 33 h 127"/>
                  <a:gd name="T24" fmla="*/ 191 w 195"/>
                  <a:gd name="T25" fmla="*/ 22 h 127"/>
                  <a:gd name="T26" fmla="*/ 182 w 195"/>
                  <a:gd name="T27" fmla="*/ 17 h 127"/>
                  <a:gd name="T28" fmla="*/ 174 w 195"/>
                  <a:gd name="T29" fmla="*/ 8 h 127"/>
                  <a:gd name="T30" fmla="*/ 163 w 195"/>
                  <a:gd name="T31" fmla="*/ 9 h 127"/>
                  <a:gd name="T32" fmla="*/ 153 w 195"/>
                  <a:gd name="T33" fmla="*/ 1 h 127"/>
                  <a:gd name="T34" fmla="*/ 144 w 195"/>
                  <a:gd name="T35" fmla="*/ 0 h 127"/>
                  <a:gd name="T36" fmla="*/ 135 w 195"/>
                  <a:gd name="T37" fmla="*/ 1 h 127"/>
                  <a:gd name="T38" fmla="*/ 124 w 195"/>
                  <a:gd name="T39" fmla="*/ 3 h 127"/>
                  <a:gd name="T40" fmla="*/ 119 w 195"/>
                  <a:gd name="T41" fmla="*/ 10 h 127"/>
                  <a:gd name="T42" fmla="*/ 110 w 195"/>
                  <a:gd name="T43" fmla="*/ 14 h 127"/>
                  <a:gd name="T44" fmla="*/ 104 w 195"/>
                  <a:gd name="T45" fmla="*/ 13 h 127"/>
                  <a:gd name="T46" fmla="*/ 99 w 195"/>
                  <a:gd name="T47" fmla="*/ 13 h 127"/>
                  <a:gd name="T48" fmla="*/ 92 w 195"/>
                  <a:gd name="T49" fmla="*/ 19 h 127"/>
                  <a:gd name="T50" fmla="*/ 83 w 195"/>
                  <a:gd name="T51" fmla="*/ 20 h 127"/>
                  <a:gd name="T52" fmla="*/ 76 w 195"/>
                  <a:gd name="T53" fmla="*/ 19 h 127"/>
                  <a:gd name="T54" fmla="*/ 74 w 195"/>
                  <a:gd name="T55" fmla="*/ 27 h 127"/>
                  <a:gd name="T56" fmla="*/ 74 w 195"/>
                  <a:gd name="T57" fmla="*/ 37 h 127"/>
                  <a:gd name="T58" fmla="*/ 65 w 195"/>
                  <a:gd name="T59" fmla="*/ 41 h 127"/>
                  <a:gd name="T60" fmla="*/ 55 w 195"/>
                  <a:gd name="T61" fmla="*/ 43 h 127"/>
                  <a:gd name="T62" fmla="*/ 44 w 195"/>
                  <a:gd name="T63" fmla="*/ 41 h 127"/>
                  <a:gd name="T64" fmla="*/ 33 w 195"/>
                  <a:gd name="T65" fmla="*/ 36 h 127"/>
                  <a:gd name="T66" fmla="*/ 27 w 195"/>
                  <a:gd name="T67" fmla="*/ 30 h 127"/>
                  <a:gd name="T68" fmla="*/ 24 w 195"/>
                  <a:gd name="T69" fmla="*/ 36 h 127"/>
                  <a:gd name="T70" fmla="*/ 17 w 195"/>
                  <a:gd name="T71" fmla="*/ 40 h 127"/>
                  <a:gd name="T72" fmla="*/ 11 w 195"/>
                  <a:gd name="T73" fmla="*/ 42 h 127"/>
                  <a:gd name="T74" fmla="*/ 9 w 195"/>
                  <a:gd name="T75" fmla="*/ 51 h 127"/>
                  <a:gd name="T76" fmla="*/ 6 w 195"/>
                  <a:gd name="T77" fmla="*/ 57 h 127"/>
                  <a:gd name="T78" fmla="*/ 3 w 195"/>
                  <a:gd name="T79" fmla="*/ 64 h 127"/>
                  <a:gd name="T80" fmla="*/ 1 w 195"/>
                  <a:gd name="T81" fmla="*/ 74 h 127"/>
                  <a:gd name="T82" fmla="*/ 0 w 195"/>
                  <a:gd name="T83" fmla="*/ 88 h 127"/>
                  <a:gd name="T84" fmla="*/ 8 w 195"/>
                  <a:gd name="T85" fmla="*/ 97 h 127"/>
                  <a:gd name="T86" fmla="*/ 13 w 195"/>
                  <a:gd name="T87" fmla="*/ 102 h 127"/>
                  <a:gd name="T88" fmla="*/ 17 w 195"/>
                  <a:gd name="T89" fmla="*/ 106 h 127"/>
                  <a:gd name="T90" fmla="*/ 23 w 195"/>
                  <a:gd name="T91" fmla="*/ 111 h 127"/>
                  <a:gd name="T92" fmla="*/ 30 w 195"/>
                  <a:gd name="T93" fmla="*/ 120 h 127"/>
                  <a:gd name="T94" fmla="*/ 41 w 195"/>
                  <a:gd name="T95" fmla="*/ 124 h 127"/>
                  <a:gd name="T96" fmla="*/ 54 w 195"/>
                  <a:gd name="T97" fmla="*/ 127 h 127"/>
                  <a:gd name="T98" fmla="*/ 64 w 195"/>
                  <a:gd name="T99" fmla="*/ 126 h 127"/>
                  <a:gd name="T100" fmla="*/ 72 w 195"/>
                  <a:gd name="T101" fmla="*/ 122 h 127"/>
                  <a:gd name="T102" fmla="*/ 86 w 195"/>
                  <a:gd name="T103" fmla="*/ 116 h 127"/>
                  <a:gd name="T104" fmla="*/ 94 w 195"/>
                  <a:gd name="T105" fmla="*/ 107 h 127"/>
                  <a:gd name="T106" fmla="*/ 105 w 195"/>
                  <a:gd name="T107" fmla="*/ 108 h 127"/>
                  <a:gd name="T108" fmla="*/ 124 w 195"/>
                  <a:gd name="T109" fmla="*/ 11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5" h="127">
                    <a:moveTo>
                      <a:pt x="124" y="110"/>
                    </a:moveTo>
                    <a:cubicBezTo>
                      <a:pt x="124" y="110"/>
                      <a:pt x="124" y="110"/>
                      <a:pt x="124" y="110"/>
                    </a:cubicBezTo>
                    <a:cubicBezTo>
                      <a:pt x="125" y="109"/>
                      <a:pt x="125" y="109"/>
                      <a:pt x="126" y="109"/>
                    </a:cubicBezTo>
                    <a:cubicBezTo>
                      <a:pt x="128" y="108"/>
                      <a:pt x="128" y="107"/>
                      <a:pt x="129" y="107"/>
                    </a:cubicBezTo>
                    <a:cubicBezTo>
                      <a:pt x="130" y="107"/>
                      <a:pt x="130" y="107"/>
                      <a:pt x="131" y="106"/>
                    </a:cubicBezTo>
                    <a:cubicBezTo>
                      <a:pt x="133" y="105"/>
                      <a:pt x="134" y="104"/>
                      <a:pt x="136" y="103"/>
                    </a:cubicBezTo>
                    <a:cubicBezTo>
                      <a:pt x="137" y="103"/>
                      <a:pt x="137" y="102"/>
                      <a:pt x="138" y="101"/>
                    </a:cubicBezTo>
                    <a:cubicBezTo>
                      <a:pt x="139" y="101"/>
                      <a:pt x="139" y="100"/>
                      <a:pt x="140" y="99"/>
                    </a:cubicBezTo>
                    <a:cubicBezTo>
                      <a:pt x="141" y="98"/>
                      <a:pt x="141" y="97"/>
                      <a:pt x="142" y="96"/>
                    </a:cubicBezTo>
                    <a:cubicBezTo>
                      <a:pt x="142" y="95"/>
                      <a:pt x="142" y="95"/>
                      <a:pt x="143" y="94"/>
                    </a:cubicBezTo>
                    <a:cubicBezTo>
                      <a:pt x="143" y="93"/>
                      <a:pt x="144" y="93"/>
                      <a:pt x="144" y="92"/>
                    </a:cubicBezTo>
                    <a:cubicBezTo>
                      <a:pt x="145" y="89"/>
                      <a:pt x="145" y="87"/>
                      <a:pt x="147" y="85"/>
                    </a:cubicBezTo>
                    <a:cubicBezTo>
                      <a:pt x="147" y="84"/>
                      <a:pt x="148" y="83"/>
                      <a:pt x="149" y="82"/>
                    </a:cubicBezTo>
                    <a:cubicBezTo>
                      <a:pt x="149" y="81"/>
                      <a:pt x="149" y="80"/>
                      <a:pt x="150" y="79"/>
                    </a:cubicBezTo>
                    <a:cubicBezTo>
                      <a:pt x="151" y="77"/>
                      <a:pt x="152" y="77"/>
                      <a:pt x="154" y="75"/>
                    </a:cubicBezTo>
                    <a:cubicBezTo>
                      <a:pt x="155" y="74"/>
                      <a:pt x="155" y="73"/>
                      <a:pt x="156" y="73"/>
                    </a:cubicBezTo>
                    <a:cubicBezTo>
                      <a:pt x="157" y="72"/>
                      <a:pt x="158" y="71"/>
                      <a:pt x="158" y="71"/>
                    </a:cubicBezTo>
                    <a:cubicBezTo>
                      <a:pt x="159" y="70"/>
                      <a:pt x="159" y="69"/>
                      <a:pt x="160" y="69"/>
                    </a:cubicBezTo>
                    <a:cubicBezTo>
                      <a:pt x="160" y="69"/>
                      <a:pt x="161" y="68"/>
                      <a:pt x="161" y="68"/>
                    </a:cubicBezTo>
                    <a:cubicBezTo>
                      <a:pt x="162" y="67"/>
                      <a:pt x="162" y="67"/>
                      <a:pt x="163" y="66"/>
                    </a:cubicBezTo>
                    <a:cubicBezTo>
                      <a:pt x="163" y="65"/>
                      <a:pt x="164" y="65"/>
                      <a:pt x="164" y="65"/>
                    </a:cubicBezTo>
                    <a:cubicBezTo>
                      <a:pt x="164" y="64"/>
                      <a:pt x="164" y="64"/>
                      <a:pt x="164" y="63"/>
                    </a:cubicBezTo>
                    <a:cubicBezTo>
                      <a:pt x="165" y="61"/>
                      <a:pt x="165" y="60"/>
                      <a:pt x="166" y="59"/>
                    </a:cubicBezTo>
                    <a:cubicBezTo>
                      <a:pt x="166" y="58"/>
                      <a:pt x="167" y="57"/>
                      <a:pt x="167" y="56"/>
                    </a:cubicBezTo>
                    <a:cubicBezTo>
                      <a:pt x="167" y="54"/>
                      <a:pt x="167" y="53"/>
                      <a:pt x="166" y="52"/>
                    </a:cubicBezTo>
                    <a:cubicBezTo>
                      <a:pt x="166" y="52"/>
                      <a:pt x="165" y="51"/>
                      <a:pt x="165" y="51"/>
                    </a:cubicBezTo>
                    <a:cubicBezTo>
                      <a:pt x="165" y="51"/>
                      <a:pt x="165" y="50"/>
                      <a:pt x="165" y="50"/>
                    </a:cubicBezTo>
                    <a:cubicBezTo>
                      <a:pt x="167" y="50"/>
                      <a:pt x="168" y="50"/>
                      <a:pt x="170" y="50"/>
                    </a:cubicBezTo>
                    <a:cubicBezTo>
                      <a:pt x="172" y="50"/>
                      <a:pt x="173" y="49"/>
                      <a:pt x="173" y="47"/>
                    </a:cubicBezTo>
                    <a:cubicBezTo>
                      <a:pt x="174" y="45"/>
                      <a:pt x="175" y="44"/>
                      <a:pt x="175" y="41"/>
                    </a:cubicBezTo>
                    <a:cubicBezTo>
                      <a:pt x="175" y="39"/>
                      <a:pt x="175" y="38"/>
                      <a:pt x="176" y="37"/>
                    </a:cubicBezTo>
                    <a:cubicBezTo>
                      <a:pt x="177" y="36"/>
                      <a:pt x="177" y="36"/>
                      <a:pt x="177" y="35"/>
                    </a:cubicBezTo>
                    <a:cubicBezTo>
                      <a:pt x="177" y="35"/>
                      <a:pt x="177" y="34"/>
                      <a:pt x="178" y="34"/>
                    </a:cubicBezTo>
                    <a:cubicBezTo>
                      <a:pt x="178" y="34"/>
                      <a:pt x="178" y="34"/>
                      <a:pt x="179" y="34"/>
                    </a:cubicBezTo>
                    <a:cubicBezTo>
                      <a:pt x="179" y="34"/>
                      <a:pt x="180" y="33"/>
                      <a:pt x="180" y="33"/>
                    </a:cubicBezTo>
                    <a:cubicBezTo>
                      <a:pt x="183" y="33"/>
                      <a:pt x="185" y="33"/>
                      <a:pt x="188" y="33"/>
                    </a:cubicBezTo>
                    <a:cubicBezTo>
                      <a:pt x="190" y="33"/>
                      <a:pt x="191" y="32"/>
                      <a:pt x="192" y="31"/>
                    </a:cubicBezTo>
                    <a:cubicBezTo>
                      <a:pt x="193" y="29"/>
                      <a:pt x="194" y="28"/>
                      <a:pt x="195" y="27"/>
                    </a:cubicBezTo>
                    <a:cubicBezTo>
                      <a:pt x="194" y="25"/>
                      <a:pt x="193" y="24"/>
                      <a:pt x="191" y="22"/>
                    </a:cubicBezTo>
                    <a:cubicBezTo>
                      <a:pt x="190" y="22"/>
                      <a:pt x="190" y="21"/>
                      <a:pt x="189" y="21"/>
                    </a:cubicBezTo>
                    <a:cubicBezTo>
                      <a:pt x="188" y="20"/>
                      <a:pt x="187" y="19"/>
                      <a:pt x="185" y="19"/>
                    </a:cubicBezTo>
                    <a:cubicBezTo>
                      <a:pt x="184" y="18"/>
                      <a:pt x="183" y="17"/>
                      <a:pt x="182" y="17"/>
                    </a:cubicBezTo>
                    <a:cubicBezTo>
                      <a:pt x="180" y="16"/>
                      <a:pt x="180" y="16"/>
                      <a:pt x="179" y="15"/>
                    </a:cubicBezTo>
                    <a:cubicBezTo>
                      <a:pt x="177" y="14"/>
                      <a:pt x="176" y="13"/>
                      <a:pt x="176" y="11"/>
                    </a:cubicBezTo>
                    <a:cubicBezTo>
                      <a:pt x="175" y="10"/>
                      <a:pt x="175" y="9"/>
                      <a:pt x="174" y="8"/>
                    </a:cubicBezTo>
                    <a:cubicBezTo>
                      <a:pt x="173" y="8"/>
                      <a:pt x="172" y="8"/>
                      <a:pt x="171" y="7"/>
                    </a:cubicBezTo>
                    <a:cubicBezTo>
                      <a:pt x="168" y="8"/>
                      <a:pt x="167" y="9"/>
                      <a:pt x="164" y="9"/>
                    </a:cubicBezTo>
                    <a:cubicBezTo>
                      <a:pt x="164" y="9"/>
                      <a:pt x="163" y="9"/>
                      <a:pt x="163" y="9"/>
                    </a:cubicBezTo>
                    <a:cubicBezTo>
                      <a:pt x="160" y="9"/>
                      <a:pt x="160" y="7"/>
                      <a:pt x="158" y="6"/>
                    </a:cubicBezTo>
                    <a:cubicBezTo>
                      <a:pt x="157" y="5"/>
                      <a:pt x="157" y="4"/>
                      <a:pt x="156" y="3"/>
                    </a:cubicBezTo>
                    <a:cubicBezTo>
                      <a:pt x="155" y="2"/>
                      <a:pt x="155" y="1"/>
                      <a:pt x="153" y="1"/>
                    </a:cubicBezTo>
                    <a:cubicBezTo>
                      <a:pt x="153" y="0"/>
                      <a:pt x="152" y="0"/>
                      <a:pt x="151" y="0"/>
                    </a:cubicBezTo>
                    <a:cubicBezTo>
                      <a:pt x="150" y="0"/>
                      <a:pt x="149" y="0"/>
                      <a:pt x="148" y="0"/>
                    </a:cubicBezTo>
                    <a:cubicBezTo>
                      <a:pt x="147" y="0"/>
                      <a:pt x="146" y="0"/>
                      <a:pt x="144" y="0"/>
                    </a:cubicBezTo>
                    <a:cubicBezTo>
                      <a:pt x="143" y="0"/>
                      <a:pt x="143" y="0"/>
                      <a:pt x="142" y="0"/>
                    </a:cubicBezTo>
                    <a:cubicBezTo>
                      <a:pt x="140" y="0"/>
                      <a:pt x="139" y="0"/>
                      <a:pt x="138" y="0"/>
                    </a:cubicBezTo>
                    <a:cubicBezTo>
                      <a:pt x="137" y="0"/>
                      <a:pt x="136" y="0"/>
                      <a:pt x="135" y="1"/>
                    </a:cubicBezTo>
                    <a:cubicBezTo>
                      <a:pt x="134" y="1"/>
                      <a:pt x="134" y="1"/>
                      <a:pt x="133" y="1"/>
                    </a:cubicBezTo>
                    <a:cubicBezTo>
                      <a:pt x="132" y="2"/>
                      <a:pt x="131" y="2"/>
                      <a:pt x="129" y="2"/>
                    </a:cubicBezTo>
                    <a:cubicBezTo>
                      <a:pt x="127" y="2"/>
                      <a:pt x="126" y="2"/>
                      <a:pt x="124" y="3"/>
                    </a:cubicBezTo>
                    <a:cubicBezTo>
                      <a:pt x="124" y="3"/>
                      <a:pt x="124" y="3"/>
                      <a:pt x="124" y="4"/>
                    </a:cubicBezTo>
                    <a:cubicBezTo>
                      <a:pt x="123" y="5"/>
                      <a:pt x="123" y="5"/>
                      <a:pt x="122" y="6"/>
                    </a:cubicBezTo>
                    <a:cubicBezTo>
                      <a:pt x="121" y="8"/>
                      <a:pt x="120" y="9"/>
                      <a:pt x="119" y="10"/>
                    </a:cubicBezTo>
                    <a:cubicBezTo>
                      <a:pt x="119" y="11"/>
                      <a:pt x="119" y="11"/>
                      <a:pt x="118" y="11"/>
                    </a:cubicBezTo>
                    <a:cubicBezTo>
                      <a:pt x="117" y="12"/>
                      <a:pt x="117" y="12"/>
                      <a:pt x="116" y="13"/>
                    </a:cubicBezTo>
                    <a:cubicBezTo>
                      <a:pt x="114" y="14"/>
                      <a:pt x="112" y="14"/>
                      <a:pt x="110" y="14"/>
                    </a:cubicBezTo>
                    <a:cubicBezTo>
                      <a:pt x="109" y="14"/>
                      <a:pt x="108" y="14"/>
                      <a:pt x="107" y="14"/>
                    </a:cubicBezTo>
                    <a:cubicBezTo>
                      <a:pt x="106" y="14"/>
                      <a:pt x="106" y="14"/>
                      <a:pt x="105" y="14"/>
                    </a:cubicBezTo>
                    <a:cubicBezTo>
                      <a:pt x="105" y="13"/>
                      <a:pt x="104" y="13"/>
                      <a:pt x="104" y="13"/>
                    </a:cubicBezTo>
                    <a:cubicBezTo>
                      <a:pt x="103" y="13"/>
                      <a:pt x="102" y="13"/>
                      <a:pt x="101" y="12"/>
                    </a:cubicBezTo>
                    <a:cubicBezTo>
                      <a:pt x="101" y="12"/>
                      <a:pt x="101" y="12"/>
                      <a:pt x="100" y="12"/>
                    </a:cubicBezTo>
                    <a:cubicBezTo>
                      <a:pt x="99" y="12"/>
                      <a:pt x="99" y="12"/>
                      <a:pt x="99" y="13"/>
                    </a:cubicBezTo>
                    <a:cubicBezTo>
                      <a:pt x="98" y="14"/>
                      <a:pt x="97" y="14"/>
                      <a:pt x="97" y="15"/>
                    </a:cubicBezTo>
                    <a:cubicBezTo>
                      <a:pt x="96" y="16"/>
                      <a:pt x="96" y="16"/>
                      <a:pt x="95" y="17"/>
                    </a:cubicBezTo>
                    <a:cubicBezTo>
                      <a:pt x="94" y="18"/>
                      <a:pt x="94" y="18"/>
                      <a:pt x="92" y="19"/>
                    </a:cubicBezTo>
                    <a:cubicBezTo>
                      <a:pt x="92" y="19"/>
                      <a:pt x="91" y="19"/>
                      <a:pt x="90" y="20"/>
                    </a:cubicBezTo>
                    <a:cubicBezTo>
                      <a:pt x="89" y="20"/>
                      <a:pt x="88" y="20"/>
                      <a:pt x="87" y="20"/>
                    </a:cubicBezTo>
                    <a:cubicBezTo>
                      <a:pt x="85" y="20"/>
                      <a:pt x="85" y="20"/>
                      <a:pt x="83" y="20"/>
                    </a:cubicBezTo>
                    <a:cubicBezTo>
                      <a:pt x="82" y="20"/>
                      <a:pt x="82" y="20"/>
                      <a:pt x="81" y="20"/>
                    </a:cubicBezTo>
                    <a:cubicBezTo>
                      <a:pt x="80" y="20"/>
                      <a:pt x="79" y="20"/>
                      <a:pt x="78" y="20"/>
                    </a:cubicBezTo>
                    <a:cubicBezTo>
                      <a:pt x="77" y="20"/>
                      <a:pt x="77" y="19"/>
                      <a:pt x="76" y="19"/>
                    </a:cubicBezTo>
                    <a:cubicBezTo>
                      <a:pt x="75" y="19"/>
                      <a:pt x="75" y="20"/>
                      <a:pt x="75" y="21"/>
                    </a:cubicBezTo>
                    <a:cubicBezTo>
                      <a:pt x="75" y="22"/>
                      <a:pt x="75" y="22"/>
                      <a:pt x="75" y="23"/>
                    </a:cubicBezTo>
                    <a:cubicBezTo>
                      <a:pt x="74" y="24"/>
                      <a:pt x="74" y="25"/>
                      <a:pt x="74" y="27"/>
                    </a:cubicBezTo>
                    <a:cubicBezTo>
                      <a:pt x="74" y="27"/>
                      <a:pt x="74" y="27"/>
                      <a:pt x="74" y="28"/>
                    </a:cubicBezTo>
                    <a:cubicBezTo>
                      <a:pt x="74" y="31"/>
                      <a:pt x="74" y="33"/>
                      <a:pt x="74" y="36"/>
                    </a:cubicBezTo>
                    <a:cubicBezTo>
                      <a:pt x="74" y="37"/>
                      <a:pt x="74" y="37"/>
                      <a:pt x="74" y="37"/>
                    </a:cubicBezTo>
                    <a:cubicBezTo>
                      <a:pt x="74" y="38"/>
                      <a:pt x="73" y="38"/>
                      <a:pt x="72" y="39"/>
                    </a:cubicBezTo>
                    <a:cubicBezTo>
                      <a:pt x="71" y="39"/>
                      <a:pt x="71" y="39"/>
                      <a:pt x="70" y="40"/>
                    </a:cubicBezTo>
                    <a:cubicBezTo>
                      <a:pt x="68" y="40"/>
                      <a:pt x="67" y="40"/>
                      <a:pt x="65" y="41"/>
                    </a:cubicBezTo>
                    <a:cubicBezTo>
                      <a:pt x="63" y="41"/>
                      <a:pt x="62" y="41"/>
                      <a:pt x="59" y="42"/>
                    </a:cubicBezTo>
                    <a:cubicBezTo>
                      <a:pt x="59" y="42"/>
                      <a:pt x="58" y="42"/>
                      <a:pt x="58" y="42"/>
                    </a:cubicBezTo>
                    <a:cubicBezTo>
                      <a:pt x="57" y="42"/>
                      <a:pt x="56" y="43"/>
                      <a:pt x="55" y="43"/>
                    </a:cubicBezTo>
                    <a:cubicBezTo>
                      <a:pt x="53" y="43"/>
                      <a:pt x="52" y="43"/>
                      <a:pt x="51" y="43"/>
                    </a:cubicBezTo>
                    <a:cubicBezTo>
                      <a:pt x="51" y="43"/>
                      <a:pt x="50" y="42"/>
                      <a:pt x="50" y="42"/>
                    </a:cubicBezTo>
                    <a:cubicBezTo>
                      <a:pt x="48" y="42"/>
                      <a:pt x="47" y="42"/>
                      <a:pt x="44" y="41"/>
                    </a:cubicBezTo>
                    <a:cubicBezTo>
                      <a:pt x="42" y="40"/>
                      <a:pt x="41" y="40"/>
                      <a:pt x="39" y="40"/>
                    </a:cubicBezTo>
                    <a:cubicBezTo>
                      <a:pt x="38" y="39"/>
                      <a:pt x="38" y="39"/>
                      <a:pt x="37" y="39"/>
                    </a:cubicBezTo>
                    <a:cubicBezTo>
                      <a:pt x="35" y="38"/>
                      <a:pt x="34" y="37"/>
                      <a:pt x="33" y="36"/>
                    </a:cubicBezTo>
                    <a:cubicBezTo>
                      <a:pt x="31" y="35"/>
                      <a:pt x="30" y="34"/>
                      <a:pt x="29" y="33"/>
                    </a:cubicBezTo>
                    <a:cubicBezTo>
                      <a:pt x="28" y="33"/>
                      <a:pt x="28" y="33"/>
                      <a:pt x="28" y="32"/>
                    </a:cubicBezTo>
                    <a:cubicBezTo>
                      <a:pt x="28" y="32"/>
                      <a:pt x="27" y="31"/>
                      <a:pt x="27" y="30"/>
                    </a:cubicBezTo>
                    <a:cubicBezTo>
                      <a:pt x="26" y="30"/>
                      <a:pt x="26" y="29"/>
                      <a:pt x="25" y="28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4" y="35"/>
                      <a:pt x="24" y="36"/>
                    </a:cubicBezTo>
                    <a:cubicBezTo>
                      <a:pt x="24" y="36"/>
                      <a:pt x="24" y="36"/>
                      <a:pt x="23" y="36"/>
                    </a:cubicBezTo>
                    <a:cubicBezTo>
                      <a:pt x="23" y="37"/>
                      <a:pt x="22" y="38"/>
                      <a:pt x="21" y="38"/>
                    </a:cubicBezTo>
                    <a:cubicBezTo>
                      <a:pt x="19" y="39"/>
                      <a:pt x="18" y="39"/>
                      <a:pt x="17" y="40"/>
                    </a:cubicBezTo>
                    <a:cubicBezTo>
                      <a:pt x="16" y="40"/>
                      <a:pt x="16" y="41"/>
                      <a:pt x="15" y="41"/>
                    </a:cubicBezTo>
                    <a:cubicBezTo>
                      <a:pt x="14" y="41"/>
                      <a:pt x="13" y="42"/>
                      <a:pt x="12" y="42"/>
                    </a:cubicBezTo>
                    <a:cubicBezTo>
                      <a:pt x="12" y="42"/>
                      <a:pt x="11" y="42"/>
                      <a:pt x="11" y="42"/>
                    </a:cubicBezTo>
                    <a:cubicBezTo>
                      <a:pt x="10" y="42"/>
                      <a:pt x="10" y="43"/>
                      <a:pt x="10" y="44"/>
                    </a:cubicBezTo>
                    <a:cubicBezTo>
                      <a:pt x="10" y="45"/>
                      <a:pt x="10" y="45"/>
                      <a:pt x="10" y="46"/>
                    </a:cubicBezTo>
                    <a:cubicBezTo>
                      <a:pt x="10" y="48"/>
                      <a:pt x="9" y="49"/>
                      <a:pt x="9" y="51"/>
                    </a:cubicBezTo>
                    <a:cubicBezTo>
                      <a:pt x="8" y="52"/>
                      <a:pt x="8" y="53"/>
                      <a:pt x="7" y="54"/>
                    </a:cubicBezTo>
                    <a:cubicBezTo>
                      <a:pt x="6" y="54"/>
                      <a:pt x="6" y="55"/>
                      <a:pt x="6" y="55"/>
                    </a:cubicBezTo>
                    <a:cubicBezTo>
                      <a:pt x="5" y="56"/>
                      <a:pt x="6" y="56"/>
                      <a:pt x="6" y="57"/>
                    </a:cubicBezTo>
                    <a:cubicBezTo>
                      <a:pt x="6" y="57"/>
                      <a:pt x="5" y="57"/>
                      <a:pt x="5" y="58"/>
                    </a:cubicBezTo>
                    <a:cubicBezTo>
                      <a:pt x="5" y="59"/>
                      <a:pt x="5" y="59"/>
                      <a:pt x="4" y="61"/>
                    </a:cubicBezTo>
                    <a:cubicBezTo>
                      <a:pt x="4" y="62"/>
                      <a:pt x="4" y="62"/>
                      <a:pt x="3" y="64"/>
                    </a:cubicBezTo>
                    <a:cubicBezTo>
                      <a:pt x="3" y="65"/>
                      <a:pt x="2" y="65"/>
                      <a:pt x="2" y="66"/>
                    </a:cubicBezTo>
                    <a:cubicBezTo>
                      <a:pt x="2" y="67"/>
                      <a:pt x="2" y="68"/>
                      <a:pt x="2" y="70"/>
                    </a:cubicBezTo>
                    <a:cubicBezTo>
                      <a:pt x="2" y="71"/>
                      <a:pt x="2" y="72"/>
                      <a:pt x="1" y="74"/>
                    </a:cubicBezTo>
                    <a:cubicBezTo>
                      <a:pt x="0" y="75"/>
                      <a:pt x="0" y="76"/>
                      <a:pt x="0" y="78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2" y="90"/>
                      <a:pt x="4" y="90"/>
                      <a:pt x="5" y="92"/>
                    </a:cubicBezTo>
                    <a:cubicBezTo>
                      <a:pt x="5" y="93"/>
                      <a:pt x="5" y="94"/>
                      <a:pt x="5" y="95"/>
                    </a:cubicBezTo>
                    <a:cubicBezTo>
                      <a:pt x="6" y="96"/>
                      <a:pt x="7" y="96"/>
                      <a:pt x="8" y="97"/>
                    </a:cubicBezTo>
                    <a:cubicBezTo>
                      <a:pt x="9" y="97"/>
                      <a:pt x="10" y="98"/>
                      <a:pt x="11" y="99"/>
                    </a:cubicBezTo>
                    <a:cubicBezTo>
                      <a:pt x="12" y="99"/>
                      <a:pt x="12" y="100"/>
                      <a:pt x="13" y="101"/>
                    </a:cubicBezTo>
                    <a:cubicBezTo>
                      <a:pt x="13" y="102"/>
                      <a:pt x="13" y="102"/>
                      <a:pt x="13" y="102"/>
                    </a:cubicBezTo>
                    <a:cubicBezTo>
                      <a:pt x="14" y="103"/>
                      <a:pt x="14" y="103"/>
                      <a:pt x="14" y="103"/>
                    </a:cubicBezTo>
                    <a:cubicBezTo>
                      <a:pt x="15" y="103"/>
                      <a:pt x="15" y="104"/>
                      <a:pt x="16" y="104"/>
                    </a:cubicBezTo>
                    <a:cubicBezTo>
                      <a:pt x="17" y="105"/>
                      <a:pt x="17" y="105"/>
                      <a:pt x="17" y="106"/>
                    </a:cubicBezTo>
                    <a:cubicBezTo>
                      <a:pt x="18" y="107"/>
                      <a:pt x="18" y="107"/>
                      <a:pt x="19" y="108"/>
                    </a:cubicBezTo>
                    <a:cubicBezTo>
                      <a:pt x="19" y="109"/>
                      <a:pt x="20" y="109"/>
                      <a:pt x="21" y="110"/>
                    </a:cubicBezTo>
                    <a:cubicBezTo>
                      <a:pt x="22" y="110"/>
                      <a:pt x="22" y="110"/>
                      <a:pt x="23" y="111"/>
                    </a:cubicBezTo>
                    <a:cubicBezTo>
                      <a:pt x="25" y="112"/>
                      <a:pt x="25" y="113"/>
                      <a:pt x="26" y="114"/>
                    </a:cubicBezTo>
                    <a:cubicBezTo>
                      <a:pt x="27" y="116"/>
                      <a:pt x="28" y="117"/>
                      <a:pt x="29" y="118"/>
                    </a:cubicBezTo>
                    <a:cubicBezTo>
                      <a:pt x="29" y="119"/>
                      <a:pt x="29" y="119"/>
                      <a:pt x="30" y="120"/>
                    </a:cubicBezTo>
                    <a:cubicBezTo>
                      <a:pt x="32" y="121"/>
                      <a:pt x="33" y="121"/>
                      <a:pt x="36" y="121"/>
                    </a:cubicBezTo>
                    <a:cubicBezTo>
                      <a:pt x="36" y="122"/>
                      <a:pt x="37" y="122"/>
                      <a:pt x="37" y="122"/>
                    </a:cubicBezTo>
                    <a:cubicBezTo>
                      <a:pt x="39" y="122"/>
                      <a:pt x="39" y="123"/>
                      <a:pt x="41" y="124"/>
                    </a:cubicBezTo>
                    <a:cubicBezTo>
                      <a:pt x="41" y="124"/>
                      <a:pt x="42" y="124"/>
                      <a:pt x="42" y="125"/>
                    </a:cubicBezTo>
                    <a:cubicBezTo>
                      <a:pt x="43" y="126"/>
                      <a:pt x="44" y="127"/>
                      <a:pt x="46" y="127"/>
                    </a:cubicBezTo>
                    <a:cubicBezTo>
                      <a:pt x="49" y="127"/>
                      <a:pt x="50" y="127"/>
                      <a:pt x="54" y="127"/>
                    </a:cubicBezTo>
                    <a:cubicBezTo>
                      <a:pt x="55" y="127"/>
                      <a:pt x="55" y="127"/>
                      <a:pt x="56" y="127"/>
                    </a:cubicBezTo>
                    <a:cubicBezTo>
                      <a:pt x="57" y="127"/>
                      <a:pt x="58" y="127"/>
                      <a:pt x="59" y="126"/>
                    </a:cubicBezTo>
                    <a:cubicBezTo>
                      <a:pt x="61" y="126"/>
                      <a:pt x="62" y="126"/>
                      <a:pt x="64" y="126"/>
                    </a:cubicBezTo>
                    <a:cubicBezTo>
                      <a:pt x="66" y="125"/>
                      <a:pt x="67" y="124"/>
                      <a:pt x="69" y="124"/>
                    </a:cubicBezTo>
                    <a:cubicBezTo>
                      <a:pt x="69" y="123"/>
                      <a:pt x="70" y="123"/>
                      <a:pt x="71" y="123"/>
                    </a:cubicBezTo>
                    <a:cubicBezTo>
                      <a:pt x="71" y="123"/>
                      <a:pt x="71" y="123"/>
                      <a:pt x="72" y="122"/>
                    </a:cubicBezTo>
                    <a:cubicBezTo>
                      <a:pt x="74" y="121"/>
                      <a:pt x="75" y="119"/>
                      <a:pt x="78" y="118"/>
                    </a:cubicBezTo>
                    <a:cubicBezTo>
                      <a:pt x="80" y="117"/>
                      <a:pt x="82" y="118"/>
                      <a:pt x="84" y="117"/>
                    </a:cubicBezTo>
                    <a:cubicBezTo>
                      <a:pt x="85" y="116"/>
                      <a:pt x="85" y="116"/>
                      <a:pt x="86" y="116"/>
                    </a:cubicBezTo>
                    <a:cubicBezTo>
                      <a:pt x="88" y="115"/>
                      <a:pt x="89" y="113"/>
                      <a:pt x="90" y="111"/>
                    </a:cubicBezTo>
                    <a:cubicBezTo>
                      <a:pt x="91" y="110"/>
                      <a:pt x="91" y="110"/>
                      <a:pt x="92" y="109"/>
                    </a:cubicBezTo>
                    <a:cubicBezTo>
                      <a:pt x="93" y="108"/>
                      <a:pt x="93" y="107"/>
                      <a:pt x="94" y="107"/>
                    </a:cubicBezTo>
                    <a:cubicBezTo>
                      <a:pt x="95" y="107"/>
                      <a:pt x="96" y="107"/>
                      <a:pt x="97" y="107"/>
                    </a:cubicBezTo>
                    <a:cubicBezTo>
                      <a:pt x="98" y="107"/>
                      <a:pt x="99" y="107"/>
                      <a:pt x="100" y="107"/>
                    </a:cubicBezTo>
                    <a:cubicBezTo>
                      <a:pt x="102" y="107"/>
                      <a:pt x="103" y="107"/>
                      <a:pt x="105" y="108"/>
                    </a:cubicBezTo>
                    <a:cubicBezTo>
                      <a:pt x="109" y="108"/>
                      <a:pt x="110" y="110"/>
                      <a:pt x="113" y="110"/>
                    </a:cubicBezTo>
                    <a:cubicBezTo>
                      <a:pt x="114" y="110"/>
                      <a:pt x="115" y="110"/>
                      <a:pt x="116" y="110"/>
                    </a:cubicBezTo>
                    <a:lnTo>
                      <a:pt x="124" y="110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3" name="Freeform 121">
                <a:extLst>
                  <a:ext uri="{FF2B5EF4-FFF2-40B4-BE49-F238E27FC236}">
                    <a16:creationId xmlns:a16="http://schemas.microsoft.com/office/drawing/2014/main" xmlns="" id="{506B1278-17B8-4AD5-8B78-76E4DC43D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6627" y="3071752"/>
                <a:ext cx="220298" cy="156862"/>
              </a:xfrm>
              <a:custGeom>
                <a:avLst/>
                <a:gdLst>
                  <a:gd name="T0" fmla="*/ 87 w 87"/>
                  <a:gd name="T1" fmla="*/ 5 h 62"/>
                  <a:gd name="T2" fmla="*/ 84 w 87"/>
                  <a:gd name="T3" fmla="*/ 18 h 62"/>
                  <a:gd name="T4" fmla="*/ 74 w 87"/>
                  <a:gd name="T5" fmla="*/ 25 h 62"/>
                  <a:gd name="T6" fmla="*/ 63 w 87"/>
                  <a:gd name="T7" fmla="*/ 27 h 62"/>
                  <a:gd name="T8" fmla="*/ 62 w 87"/>
                  <a:gd name="T9" fmla="*/ 35 h 62"/>
                  <a:gd name="T10" fmla="*/ 65 w 87"/>
                  <a:gd name="T11" fmla="*/ 43 h 62"/>
                  <a:gd name="T12" fmla="*/ 61 w 87"/>
                  <a:gd name="T13" fmla="*/ 47 h 62"/>
                  <a:gd name="T14" fmla="*/ 50 w 87"/>
                  <a:gd name="T15" fmla="*/ 62 h 62"/>
                  <a:gd name="T16" fmla="*/ 35 w 87"/>
                  <a:gd name="T17" fmla="*/ 57 h 62"/>
                  <a:gd name="T18" fmla="*/ 31 w 87"/>
                  <a:gd name="T19" fmla="*/ 53 h 62"/>
                  <a:gd name="T20" fmla="*/ 27 w 87"/>
                  <a:gd name="T21" fmla="*/ 53 h 62"/>
                  <a:gd name="T22" fmla="*/ 22 w 87"/>
                  <a:gd name="T23" fmla="*/ 59 h 62"/>
                  <a:gd name="T24" fmla="*/ 7 w 87"/>
                  <a:gd name="T25" fmla="*/ 59 h 62"/>
                  <a:gd name="T26" fmla="*/ 2 w 87"/>
                  <a:gd name="T27" fmla="*/ 56 h 62"/>
                  <a:gd name="T28" fmla="*/ 5 w 87"/>
                  <a:gd name="T29" fmla="*/ 55 h 62"/>
                  <a:gd name="T30" fmla="*/ 10 w 87"/>
                  <a:gd name="T31" fmla="*/ 53 h 62"/>
                  <a:gd name="T32" fmla="*/ 12 w 87"/>
                  <a:gd name="T33" fmla="*/ 50 h 62"/>
                  <a:gd name="T34" fmla="*/ 7 w 87"/>
                  <a:gd name="T35" fmla="*/ 40 h 62"/>
                  <a:gd name="T36" fmla="*/ 3 w 87"/>
                  <a:gd name="T37" fmla="*/ 35 h 62"/>
                  <a:gd name="T38" fmla="*/ 3 w 87"/>
                  <a:gd name="T39" fmla="*/ 28 h 62"/>
                  <a:gd name="T40" fmla="*/ 2 w 87"/>
                  <a:gd name="T41" fmla="*/ 22 h 62"/>
                  <a:gd name="T42" fmla="*/ 1 w 87"/>
                  <a:gd name="T43" fmla="*/ 20 h 62"/>
                  <a:gd name="T44" fmla="*/ 5 w 87"/>
                  <a:gd name="T45" fmla="*/ 17 h 62"/>
                  <a:gd name="T46" fmla="*/ 15 w 87"/>
                  <a:gd name="T47" fmla="*/ 15 h 62"/>
                  <a:gd name="T48" fmla="*/ 34 w 87"/>
                  <a:gd name="T49" fmla="*/ 16 h 62"/>
                  <a:gd name="T50" fmla="*/ 38 w 87"/>
                  <a:gd name="T51" fmla="*/ 14 h 62"/>
                  <a:gd name="T52" fmla="*/ 45 w 87"/>
                  <a:gd name="T53" fmla="*/ 9 h 62"/>
                  <a:gd name="T54" fmla="*/ 54 w 87"/>
                  <a:gd name="T55" fmla="*/ 8 h 62"/>
                  <a:gd name="T56" fmla="*/ 58 w 87"/>
                  <a:gd name="T57" fmla="*/ 7 h 62"/>
                  <a:gd name="T58" fmla="*/ 69 w 87"/>
                  <a:gd name="T59" fmla="*/ 5 h 62"/>
                  <a:gd name="T60" fmla="*/ 72 w 87"/>
                  <a:gd name="T61" fmla="*/ 5 h 62"/>
                  <a:gd name="T62" fmla="*/ 76 w 87"/>
                  <a:gd name="T63" fmla="*/ 3 h 62"/>
                  <a:gd name="T64" fmla="*/ 82 w 87"/>
                  <a:gd name="T65" fmla="*/ 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7" h="62">
                    <a:moveTo>
                      <a:pt x="87" y="0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6" y="13"/>
                      <a:pt x="86" y="15"/>
                      <a:pt x="84" y="18"/>
                    </a:cubicBezTo>
                    <a:cubicBezTo>
                      <a:pt x="83" y="21"/>
                      <a:pt x="81" y="22"/>
                      <a:pt x="78" y="23"/>
                    </a:cubicBezTo>
                    <a:cubicBezTo>
                      <a:pt x="76" y="24"/>
                      <a:pt x="75" y="25"/>
                      <a:pt x="74" y="25"/>
                    </a:cubicBezTo>
                    <a:cubicBezTo>
                      <a:pt x="72" y="26"/>
                      <a:pt x="71" y="26"/>
                      <a:pt x="70" y="26"/>
                    </a:cubicBezTo>
                    <a:cubicBezTo>
                      <a:pt x="67" y="27"/>
                      <a:pt x="65" y="27"/>
                      <a:pt x="63" y="27"/>
                    </a:cubicBezTo>
                    <a:cubicBezTo>
                      <a:pt x="62" y="29"/>
                      <a:pt x="62" y="30"/>
                      <a:pt x="62" y="31"/>
                    </a:cubicBezTo>
                    <a:cubicBezTo>
                      <a:pt x="62" y="33"/>
                      <a:pt x="62" y="33"/>
                      <a:pt x="62" y="35"/>
                    </a:cubicBezTo>
                    <a:cubicBezTo>
                      <a:pt x="62" y="37"/>
                      <a:pt x="62" y="38"/>
                      <a:pt x="64" y="40"/>
                    </a:cubicBezTo>
                    <a:cubicBezTo>
                      <a:pt x="64" y="41"/>
                      <a:pt x="65" y="41"/>
                      <a:pt x="65" y="43"/>
                    </a:cubicBezTo>
                    <a:cubicBezTo>
                      <a:pt x="65" y="44"/>
                      <a:pt x="65" y="44"/>
                      <a:pt x="64" y="45"/>
                    </a:cubicBezTo>
                    <a:cubicBezTo>
                      <a:pt x="63" y="46"/>
                      <a:pt x="62" y="47"/>
                      <a:pt x="61" y="47"/>
                    </a:cubicBezTo>
                    <a:cubicBezTo>
                      <a:pt x="59" y="49"/>
                      <a:pt x="57" y="49"/>
                      <a:pt x="55" y="50"/>
                    </a:cubicBezTo>
                    <a:cubicBezTo>
                      <a:pt x="51" y="52"/>
                      <a:pt x="51" y="57"/>
                      <a:pt x="50" y="62"/>
                    </a:cubicBezTo>
                    <a:cubicBezTo>
                      <a:pt x="46" y="61"/>
                      <a:pt x="44" y="60"/>
                      <a:pt x="40" y="59"/>
                    </a:cubicBezTo>
                    <a:cubicBezTo>
                      <a:pt x="38" y="58"/>
                      <a:pt x="37" y="58"/>
                      <a:pt x="35" y="57"/>
                    </a:cubicBezTo>
                    <a:cubicBezTo>
                      <a:pt x="34" y="56"/>
                      <a:pt x="33" y="55"/>
                      <a:pt x="32" y="54"/>
                    </a:cubicBezTo>
                    <a:cubicBezTo>
                      <a:pt x="32" y="53"/>
                      <a:pt x="31" y="53"/>
                      <a:pt x="31" y="53"/>
                    </a:cubicBezTo>
                    <a:cubicBezTo>
                      <a:pt x="30" y="53"/>
                      <a:pt x="29" y="53"/>
                      <a:pt x="29" y="53"/>
                    </a:cubicBezTo>
                    <a:cubicBezTo>
                      <a:pt x="28" y="53"/>
                      <a:pt x="27" y="53"/>
                      <a:pt x="27" y="53"/>
                    </a:cubicBezTo>
                    <a:cubicBezTo>
                      <a:pt x="25" y="54"/>
                      <a:pt x="26" y="56"/>
                      <a:pt x="25" y="57"/>
                    </a:cubicBezTo>
                    <a:cubicBezTo>
                      <a:pt x="25" y="58"/>
                      <a:pt x="23" y="59"/>
                      <a:pt x="22" y="59"/>
                    </a:cubicBezTo>
                    <a:cubicBezTo>
                      <a:pt x="20" y="60"/>
                      <a:pt x="18" y="60"/>
                      <a:pt x="16" y="60"/>
                    </a:cubicBezTo>
                    <a:cubicBezTo>
                      <a:pt x="13" y="60"/>
                      <a:pt x="11" y="59"/>
                      <a:pt x="7" y="59"/>
                    </a:cubicBezTo>
                    <a:cubicBezTo>
                      <a:pt x="5" y="58"/>
                      <a:pt x="3" y="58"/>
                      <a:pt x="0" y="57"/>
                    </a:cubicBezTo>
                    <a:cubicBezTo>
                      <a:pt x="1" y="56"/>
                      <a:pt x="1" y="56"/>
                      <a:pt x="2" y="56"/>
                    </a:cubicBezTo>
                    <a:cubicBezTo>
                      <a:pt x="2" y="56"/>
                      <a:pt x="3" y="56"/>
                      <a:pt x="4" y="56"/>
                    </a:cubicBezTo>
                    <a:cubicBezTo>
                      <a:pt x="4" y="56"/>
                      <a:pt x="5" y="56"/>
                      <a:pt x="5" y="55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7" y="53"/>
                      <a:pt x="8" y="53"/>
                      <a:pt x="10" y="53"/>
                    </a:cubicBezTo>
                    <a:cubicBezTo>
                      <a:pt x="11" y="52"/>
                      <a:pt x="12" y="52"/>
                      <a:pt x="12" y="52"/>
                    </a:cubicBezTo>
                    <a:cubicBezTo>
                      <a:pt x="12" y="51"/>
                      <a:pt x="12" y="51"/>
                      <a:pt x="12" y="50"/>
                    </a:cubicBezTo>
                    <a:cubicBezTo>
                      <a:pt x="12" y="47"/>
                      <a:pt x="10" y="46"/>
                      <a:pt x="9" y="43"/>
                    </a:cubicBezTo>
                    <a:cubicBezTo>
                      <a:pt x="8" y="42"/>
                      <a:pt x="7" y="41"/>
                      <a:pt x="7" y="40"/>
                    </a:cubicBezTo>
                    <a:cubicBezTo>
                      <a:pt x="6" y="38"/>
                      <a:pt x="5" y="37"/>
                      <a:pt x="4" y="35"/>
                    </a:cubicBezTo>
                    <a:cubicBezTo>
                      <a:pt x="4" y="35"/>
                      <a:pt x="3" y="35"/>
                      <a:pt x="3" y="35"/>
                    </a:cubicBezTo>
                    <a:cubicBezTo>
                      <a:pt x="3" y="34"/>
                      <a:pt x="3" y="34"/>
                      <a:pt x="3" y="33"/>
                    </a:cubicBezTo>
                    <a:cubicBezTo>
                      <a:pt x="2" y="31"/>
                      <a:pt x="3" y="30"/>
                      <a:pt x="3" y="28"/>
                    </a:cubicBezTo>
                    <a:cubicBezTo>
                      <a:pt x="2" y="27"/>
                      <a:pt x="3" y="26"/>
                      <a:pt x="2" y="24"/>
                    </a:cubicBezTo>
                    <a:cubicBezTo>
                      <a:pt x="2" y="24"/>
                      <a:pt x="2" y="23"/>
                      <a:pt x="2" y="22"/>
                    </a:cubicBezTo>
                    <a:cubicBezTo>
                      <a:pt x="1" y="22"/>
                      <a:pt x="1" y="21"/>
                      <a:pt x="1" y="21"/>
                    </a:cubicBezTo>
                    <a:cubicBezTo>
                      <a:pt x="1" y="21"/>
                      <a:pt x="1" y="21"/>
                      <a:pt x="1" y="20"/>
                    </a:cubicBezTo>
                    <a:cubicBezTo>
                      <a:pt x="1" y="20"/>
                      <a:pt x="2" y="19"/>
                      <a:pt x="2" y="19"/>
                    </a:cubicBezTo>
                    <a:cubicBezTo>
                      <a:pt x="3" y="18"/>
                      <a:pt x="4" y="18"/>
                      <a:pt x="5" y="17"/>
                    </a:cubicBezTo>
                    <a:cubicBezTo>
                      <a:pt x="7" y="17"/>
                      <a:pt x="8" y="16"/>
                      <a:pt x="10" y="15"/>
                    </a:cubicBezTo>
                    <a:cubicBezTo>
                      <a:pt x="12" y="15"/>
                      <a:pt x="13" y="15"/>
                      <a:pt x="15" y="15"/>
                    </a:cubicBezTo>
                    <a:cubicBezTo>
                      <a:pt x="21" y="15"/>
                      <a:pt x="25" y="16"/>
                      <a:pt x="31" y="16"/>
                    </a:cubicBezTo>
                    <a:cubicBezTo>
                      <a:pt x="32" y="16"/>
                      <a:pt x="33" y="16"/>
                      <a:pt x="34" y="16"/>
                    </a:cubicBezTo>
                    <a:cubicBezTo>
                      <a:pt x="34" y="16"/>
                      <a:pt x="34" y="16"/>
                      <a:pt x="35" y="16"/>
                    </a:cubicBezTo>
                    <a:cubicBezTo>
                      <a:pt x="36" y="15"/>
                      <a:pt x="37" y="15"/>
                      <a:pt x="38" y="14"/>
                    </a:cubicBezTo>
                    <a:cubicBezTo>
                      <a:pt x="39" y="13"/>
                      <a:pt x="40" y="12"/>
                      <a:pt x="42" y="11"/>
                    </a:cubicBezTo>
                    <a:cubicBezTo>
                      <a:pt x="43" y="10"/>
                      <a:pt x="44" y="9"/>
                      <a:pt x="45" y="9"/>
                    </a:cubicBezTo>
                    <a:cubicBezTo>
                      <a:pt x="47" y="8"/>
                      <a:pt x="48" y="7"/>
                      <a:pt x="50" y="7"/>
                    </a:cubicBezTo>
                    <a:cubicBezTo>
                      <a:pt x="52" y="7"/>
                      <a:pt x="53" y="8"/>
                      <a:pt x="54" y="8"/>
                    </a:cubicBezTo>
                    <a:cubicBezTo>
                      <a:pt x="55" y="8"/>
                      <a:pt x="55" y="8"/>
                      <a:pt x="56" y="7"/>
                    </a:cubicBezTo>
                    <a:cubicBezTo>
                      <a:pt x="57" y="7"/>
                      <a:pt x="57" y="7"/>
                      <a:pt x="58" y="7"/>
                    </a:cubicBezTo>
                    <a:cubicBezTo>
                      <a:pt x="59" y="7"/>
                      <a:pt x="60" y="6"/>
                      <a:pt x="62" y="6"/>
                    </a:cubicBezTo>
                    <a:cubicBezTo>
                      <a:pt x="65" y="5"/>
                      <a:pt x="66" y="5"/>
                      <a:pt x="69" y="5"/>
                    </a:cubicBezTo>
                    <a:cubicBezTo>
                      <a:pt x="70" y="5"/>
                      <a:pt x="70" y="5"/>
                      <a:pt x="71" y="5"/>
                    </a:cubicBezTo>
                    <a:cubicBezTo>
                      <a:pt x="71" y="5"/>
                      <a:pt x="72" y="5"/>
                      <a:pt x="72" y="5"/>
                    </a:cubicBezTo>
                    <a:cubicBezTo>
                      <a:pt x="73" y="5"/>
                      <a:pt x="74" y="5"/>
                      <a:pt x="75" y="5"/>
                    </a:cubicBezTo>
                    <a:cubicBezTo>
                      <a:pt x="75" y="4"/>
                      <a:pt x="75" y="4"/>
                      <a:pt x="76" y="3"/>
                    </a:cubicBezTo>
                    <a:cubicBezTo>
                      <a:pt x="77" y="3"/>
                      <a:pt x="78" y="2"/>
                      <a:pt x="79" y="2"/>
                    </a:cubicBezTo>
                    <a:cubicBezTo>
                      <a:pt x="80" y="1"/>
                      <a:pt x="81" y="1"/>
                      <a:pt x="82" y="1"/>
                    </a:cubicBezTo>
                    <a:cubicBezTo>
                      <a:pt x="84" y="0"/>
                      <a:pt x="85" y="0"/>
                      <a:pt x="8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4" name="Freeform 122">
                <a:extLst>
                  <a:ext uri="{FF2B5EF4-FFF2-40B4-BE49-F238E27FC236}">
                    <a16:creationId xmlns:a16="http://schemas.microsoft.com/office/drawing/2014/main" xmlns="" id="{5DDB6ED6-FCF3-42E2-A1DF-C4A168C5B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909" y="3144794"/>
                <a:ext cx="335235" cy="434664"/>
              </a:xfrm>
              <a:custGeom>
                <a:avLst/>
                <a:gdLst>
                  <a:gd name="T0" fmla="*/ 106 w 133"/>
                  <a:gd name="T1" fmla="*/ 168 h 172"/>
                  <a:gd name="T2" fmla="*/ 92 w 133"/>
                  <a:gd name="T3" fmla="*/ 168 h 172"/>
                  <a:gd name="T4" fmla="*/ 84 w 133"/>
                  <a:gd name="T5" fmla="*/ 172 h 172"/>
                  <a:gd name="T6" fmla="*/ 83 w 133"/>
                  <a:gd name="T7" fmla="*/ 163 h 172"/>
                  <a:gd name="T8" fmla="*/ 82 w 133"/>
                  <a:gd name="T9" fmla="*/ 156 h 172"/>
                  <a:gd name="T10" fmla="*/ 81 w 133"/>
                  <a:gd name="T11" fmla="*/ 152 h 172"/>
                  <a:gd name="T12" fmla="*/ 69 w 133"/>
                  <a:gd name="T13" fmla="*/ 143 h 172"/>
                  <a:gd name="T14" fmla="*/ 59 w 133"/>
                  <a:gd name="T15" fmla="*/ 138 h 172"/>
                  <a:gd name="T16" fmla="*/ 51 w 133"/>
                  <a:gd name="T17" fmla="*/ 141 h 172"/>
                  <a:gd name="T18" fmla="*/ 46 w 133"/>
                  <a:gd name="T19" fmla="*/ 146 h 172"/>
                  <a:gd name="T20" fmla="*/ 44 w 133"/>
                  <a:gd name="T21" fmla="*/ 144 h 172"/>
                  <a:gd name="T22" fmla="*/ 39 w 133"/>
                  <a:gd name="T23" fmla="*/ 137 h 172"/>
                  <a:gd name="T24" fmla="*/ 31 w 133"/>
                  <a:gd name="T25" fmla="*/ 131 h 172"/>
                  <a:gd name="T26" fmla="*/ 21 w 133"/>
                  <a:gd name="T27" fmla="*/ 120 h 172"/>
                  <a:gd name="T28" fmla="*/ 20 w 133"/>
                  <a:gd name="T29" fmla="*/ 112 h 172"/>
                  <a:gd name="T30" fmla="*/ 18 w 133"/>
                  <a:gd name="T31" fmla="*/ 104 h 172"/>
                  <a:gd name="T32" fmla="*/ 24 w 133"/>
                  <a:gd name="T33" fmla="*/ 96 h 172"/>
                  <a:gd name="T34" fmla="*/ 11 w 133"/>
                  <a:gd name="T35" fmla="*/ 82 h 172"/>
                  <a:gd name="T36" fmla="*/ 15 w 133"/>
                  <a:gd name="T37" fmla="*/ 71 h 172"/>
                  <a:gd name="T38" fmla="*/ 15 w 133"/>
                  <a:gd name="T39" fmla="*/ 54 h 172"/>
                  <a:gd name="T40" fmla="*/ 15 w 133"/>
                  <a:gd name="T41" fmla="*/ 44 h 172"/>
                  <a:gd name="T42" fmla="*/ 10 w 133"/>
                  <a:gd name="T43" fmla="*/ 37 h 172"/>
                  <a:gd name="T44" fmla="*/ 4 w 133"/>
                  <a:gd name="T45" fmla="*/ 28 h 172"/>
                  <a:gd name="T46" fmla="*/ 0 w 133"/>
                  <a:gd name="T47" fmla="*/ 15 h 172"/>
                  <a:gd name="T48" fmla="*/ 14 w 133"/>
                  <a:gd name="T49" fmla="*/ 9 h 172"/>
                  <a:gd name="T50" fmla="*/ 22 w 133"/>
                  <a:gd name="T51" fmla="*/ 0 h 172"/>
                  <a:gd name="T52" fmla="*/ 33 w 133"/>
                  <a:gd name="T53" fmla="*/ 1 h 172"/>
                  <a:gd name="T54" fmla="*/ 52 w 133"/>
                  <a:gd name="T55" fmla="*/ 3 h 172"/>
                  <a:gd name="T56" fmla="*/ 55 w 133"/>
                  <a:gd name="T57" fmla="*/ 14 h 172"/>
                  <a:gd name="T58" fmla="*/ 58 w 133"/>
                  <a:gd name="T59" fmla="*/ 24 h 172"/>
                  <a:gd name="T60" fmla="*/ 61 w 133"/>
                  <a:gd name="T61" fmla="*/ 35 h 172"/>
                  <a:gd name="T62" fmla="*/ 70 w 133"/>
                  <a:gd name="T63" fmla="*/ 44 h 172"/>
                  <a:gd name="T64" fmla="*/ 77 w 133"/>
                  <a:gd name="T65" fmla="*/ 50 h 172"/>
                  <a:gd name="T66" fmla="*/ 78 w 133"/>
                  <a:gd name="T67" fmla="*/ 61 h 172"/>
                  <a:gd name="T68" fmla="*/ 84 w 133"/>
                  <a:gd name="T69" fmla="*/ 64 h 172"/>
                  <a:gd name="T70" fmla="*/ 99 w 133"/>
                  <a:gd name="T71" fmla="*/ 71 h 172"/>
                  <a:gd name="T72" fmla="*/ 115 w 133"/>
                  <a:gd name="T73" fmla="*/ 67 h 172"/>
                  <a:gd name="T74" fmla="*/ 120 w 133"/>
                  <a:gd name="T75" fmla="*/ 71 h 172"/>
                  <a:gd name="T76" fmla="*/ 113 w 133"/>
                  <a:gd name="T77" fmla="*/ 83 h 172"/>
                  <a:gd name="T78" fmla="*/ 120 w 133"/>
                  <a:gd name="T79" fmla="*/ 86 h 172"/>
                  <a:gd name="T80" fmla="*/ 113 w 133"/>
                  <a:gd name="T81" fmla="*/ 100 h 172"/>
                  <a:gd name="T82" fmla="*/ 113 w 133"/>
                  <a:gd name="T83" fmla="*/ 110 h 172"/>
                  <a:gd name="T84" fmla="*/ 118 w 133"/>
                  <a:gd name="T85" fmla="*/ 120 h 172"/>
                  <a:gd name="T86" fmla="*/ 130 w 133"/>
                  <a:gd name="T87" fmla="*/ 130 h 172"/>
                  <a:gd name="T88" fmla="*/ 131 w 133"/>
                  <a:gd name="T89" fmla="*/ 133 h 172"/>
                  <a:gd name="T90" fmla="*/ 123 w 133"/>
                  <a:gd name="T91" fmla="*/ 139 h 172"/>
                  <a:gd name="T92" fmla="*/ 115 w 133"/>
                  <a:gd name="T93" fmla="*/ 143 h 172"/>
                  <a:gd name="T94" fmla="*/ 115 w 133"/>
                  <a:gd name="T95" fmla="*/ 153 h 172"/>
                  <a:gd name="T96" fmla="*/ 114 w 133"/>
                  <a:gd name="T97" fmla="*/ 165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3" h="172">
                    <a:moveTo>
                      <a:pt x="115" y="171"/>
                    </a:moveTo>
                    <a:cubicBezTo>
                      <a:pt x="113" y="171"/>
                      <a:pt x="113" y="170"/>
                      <a:pt x="111" y="169"/>
                    </a:cubicBezTo>
                    <a:cubicBezTo>
                      <a:pt x="110" y="168"/>
                      <a:pt x="108" y="168"/>
                      <a:pt x="106" y="168"/>
                    </a:cubicBezTo>
                    <a:cubicBezTo>
                      <a:pt x="102" y="168"/>
                      <a:pt x="100" y="168"/>
                      <a:pt x="96" y="168"/>
                    </a:cubicBezTo>
                    <a:cubicBezTo>
                      <a:pt x="95" y="168"/>
                      <a:pt x="95" y="168"/>
                      <a:pt x="95" y="168"/>
                    </a:cubicBezTo>
                    <a:cubicBezTo>
                      <a:pt x="94" y="168"/>
                      <a:pt x="93" y="168"/>
                      <a:pt x="92" y="168"/>
                    </a:cubicBezTo>
                    <a:cubicBezTo>
                      <a:pt x="90" y="168"/>
                      <a:pt x="90" y="169"/>
                      <a:pt x="89" y="169"/>
                    </a:cubicBezTo>
                    <a:cubicBezTo>
                      <a:pt x="88" y="170"/>
                      <a:pt x="87" y="170"/>
                      <a:pt x="85" y="171"/>
                    </a:cubicBezTo>
                    <a:cubicBezTo>
                      <a:pt x="85" y="171"/>
                      <a:pt x="85" y="171"/>
                      <a:pt x="84" y="172"/>
                    </a:cubicBezTo>
                    <a:cubicBezTo>
                      <a:pt x="84" y="170"/>
                      <a:pt x="84" y="168"/>
                      <a:pt x="84" y="166"/>
                    </a:cubicBezTo>
                    <a:cubicBezTo>
                      <a:pt x="84" y="166"/>
                      <a:pt x="83" y="166"/>
                      <a:pt x="83" y="165"/>
                    </a:cubicBezTo>
                    <a:cubicBezTo>
                      <a:pt x="83" y="164"/>
                      <a:pt x="83" y="164"/>
                      <a:pt x="83" y="163"/>
                    </a:cubicBezTo>
                    <a:cubicBezTo>
                      <a:pt x="83" y="162"/>
                      <a:pt x="83" y="161"/>
                      <a:pt x="83" y="160"/>
                    </a:cubicBezTo>
                    <a:cubicBezTo>
                      <a:pt x="83" y="159"/>
                      <a:pt x="83" y="159"/>
                      <a:pt x="83" y="158"/>
                    </a:cubicBezTo>
                    <a:cubicBezTo>
                      <a:pt x="82" y="157"/>
                      <a:pt x="82" y="157"/>
                      <a:pt x="82" y="156"/>
                    </a:cubicBezTo>
                    <a:cubicBezTo>
                      <a:pt x="82" y="155"/>
                      <a:pt x="83" y="154"/>
                      <a:pt x="83" y="153"/>
                    </a:cubicBezTo>
                    <a:cubicBezTo>
                      <a:pt x="83" y="153"/>
                      <a:pt x="82" y="153"/>
                      <a:pt x="81" y="152"/>
                    </a:cubicBezTo>
                    <a:cubicBezTo>
                      <a:pt x="81" y="152"/>
                      <a:pt x="81" y="152"/>
                      <a:pt x="81" y="152"/>
                    </a:cubicBezTo>
                    <a:cubicBezTo>
                      <a:pt x="79" y="150"/>
                      <a:pt x="77" y="149"/>
                      <a:pt x="75" y="149"/>
                    </a:cubicBezTo>
                    <a:cubicBezTo>
                      <a:pt x="74" y="148"/>
                      <a:pt x="73" y="148"/>
                      <a:pt x="72" y="147"/>
                    </a:cubicBezTo>
                    <a:cubicBezTo>
                      <a:pt x="71" y="145"/>
                      <a:pt x="70" y="144"/>
                      <a:pt x="69" y="143"/>
                    </a:cubicBezTo>
                    <a:cubicBezTo>
                      <a:pt x="66" y="142"/>
                      <a:pt x="65" y="142"/>
                      <a:pt x="63" y="141"/>
                    </a:cubicBezTo>
                    <a:cubicBezTo>
                      <a:pt x="62" y="141"/>
                      <a:pt x="61" y="140"/>
                      <a:pt x="61" y="140"/>
                    </a:cubicBezTo>
                    <a:cubicBezTo>
                      <a:pt x="60" y="139"/>
                      <a:pt x="59" y="139"/>
                      <a:pt x="59" y="138"/>
                    </a:cubicBezTo>
                    <a:cubicBezTo>
                      <a:pt x="58" y="137"/>
                      <a:pt x="57" y="136"/>
                      <a:pt x="56" y="136"/>
                    </a:cubicBezTo>
                    <a:cubicBezTo>
                      <a:pt x="55" y="136"/>
                      <a:pt x="55" y="137"/>
                      <a:pt x="54" y="137"/>
                    </a:cubicBezTo>
                    <a:cubicBezTo>
                      <a:pt x="52" y="138"/>
                      <a:pt x="52" y="140"/>
                      <a:pt x="51" y="141"/>
                    </a:cubicBezTo>
                    <a:cubicBezTo>
                      <a:pt x="50" y="143"/>
                      <a:pt x="49" y="144"/>
                      <a:pt x="48" y="145"/>
                    </a:cubicBezTo>
                    <a:cubicBezTo>
                      <a:pt x="48" y="145"/>
                      <a:pt x="47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5" y="146"/>
                      <a:pt x="44" y="146"/>
                      <a:pt x="42" y="147"/>
                    </a:cubicBezTo>
                    <a:cubicBezTo>
                      <a:pt x="42" y="146"/>
                      <a:pt x="43" y="146"/>
                      <a:pt x="43" y="145"/>
                    </a:cubicBezTo>
                    <a:cubicBezTo>
                      <a:pt x="43" y="145"/>
                      <a:pt x="44" y="144"/>
                      <a:pt x="44" y="144"/>
                    </a:cubicBezTo>
                    <a:cubicBezTo>
                      <a:pt x="44" y="143"/>
                      <a:pt x="44" y="142"/>
                      <a:pt x="43" y="142"/>
                    </a:cubicBezTo>
                    <a:cubicBezTo>
                      <a:pt x="43" y="141"/>
                      <a:pt x="42" y="141"/>
                      <a:pt x="42" y="140"/>
                    </a:cubicBezTo>
                    <a:cubicBezTo>
                      <a:pt x="41" y="139"/>
                      <a:pt x="40" y="138"/>
                      <a:pt x="39" y="137"/>
                    </a:cubicBezTo>
                    <a:cubicBezTo>
                      <a:pt x="38" y="136"/>
                      <a:pt x="37" y="136"/>
                      <a:pt x="36" y="135"/>
                    </a:cubicBezTo>
                    <a:cubicBezTo>
                      <a:pt x="35" y="134"/>
                      <a:pt x="35" y="133"/>
                      <a:pt x="34" y="132"/>
                    </a:cubicBezTo>
                    <a:cubicBezTo>
                      <a:pt x="33" y="131"/>
                      <a:pt x="32" y="131"/>
                      <a:pt x="31" y="131"/>
                    </a:cubicBezTo>
                    <a:cubicBezTo>
                      <a:pt x="29" y="129"/>
                      <a:pt x="28" y="128"/>
                      <a:pt x="25" y="126"/>
                    </a:cubicBezTo>
                    <a:cubicBezTo>
                      <a:pt x="24" y="124"/>
                      <a:pt x="23" y="123"/>
                      <a:pt x="22" y="121"/>
                    </a:cubicBezTo>
                    <a:cubicBezTo>
                      <a:pt x="22" y="121"/>
                      <a:pt x="22" y="120"/>
                      <a:pt x="21" y="120"/>
                    </a:cubicBezTo>
                    <a:cubicBezTo>
                      <a:pt x="20" y="119"/>
                      <a:pt x="20" y="119"/>
                      <a:pt x="19" y="118"/>
                    </a:cubicBezTo>
                    <a:cubicBezTo>
                      <a:pt x="17" y="117"/>
                      <a:pt x="16" y="116"/>
                      <a:pt x="15" y="115"/>
                    </a:cubicBezTo>
                    <a:cubicBezTo>
                      <a:pt x="17" y="114"/>
                      <a:pt x="18" y="114"/>
                      <a:pt x="20" y="112"/>
                    </a:cubicBezTo>
                    <a:cubicBezTo>
                      <a:pt x="20" y="112"/>
                      <a:pt x="20" y="112"/>
                      <a:pt x="21" y="111"/>
                    </a:cubicBezTo>
                    <a:cubicBezTo>
                      <a:pt x="21" y="111"/>
                      <a:pt x="21" y="110"/>
                      <a:pt x="21" y="109"/>
                    </a:cubicBezTo>
                    <a:cubicBezTo>
                      <a:pt x="21" y="107"/>
                      <a:pt x="20" y="106"/>
                      <a:pt x="18" y="104"/>
                    </a:cubicBezTo>
                    <a:cubicBezTo>
                      <a:pt x="17" y="103"/>
                      <a:pt x="16" y="102"/>
                      <a:pt x="15" y="101"/>
                    </a:cubicBezTo>
                    <a:cubicBezTo>
                      <a:pt x="15" y="101"/>
                      <a:pt x="15" y="100"/>
                      <a:pt x="15" y="100"/>
                    </a:cubicBezTo>
                    <a:cubicBezTo>
                      <a:pt x="18" y="98"/>
                      <a:pt x="21" y="98"/>
                      <a:pt x="24" y="96"/>
                    </a:cubicBezTo>
                    <a:cubicBezTo>
                      <a:pt x="22" y="93"/>
                      <a:pt x="21" y="91"/>
                      <a:pt x="18" y="88"/>
                    </a:cubicBezTo>
                    <a:cubicBezTo>
                      <a:pt x="17" y="87"/>
                      <a:pt x="16" y="86"/>
                      <a:pt x="14" y="84"/>
                    </a:cubicBezTo>
                    <a:cubicBezTo>
                      <a:pt x="13" y="84"/>
                      <a:pt x="12" y="83"/>
                      <a:pt x="11" y="82"/>
                    </a:cubicBezTo>
                    <a:cubicBezTo>
                      <a:pt x="11" y="82"/>
                      <a:pt x="11" y="82"/>
                      <a:pt x="11" y="81"/>
                    </a:cubicBezTo>
                    <a:cubicBezTo>
                      <a:pt x="11" y="80"/>
                      <a:pt x="11" y="80"/>
                      <a:pt x="12" y="79"/>
                    </a:cubicBezTo>
                    <a:cubicBezTo>
                      <a:pt x="13" y="76"/>
                      <a:pt x="14" y="74"/>
                      <a:pt x="15" y="71"/>
                    </a:cubicBezTo>
                    <a:cubicBezTo>
                      <a:pt x="16" y="67"/>
                      <a:pt x="16" y="65"/>
                      <a:pt x="16" y="61"/>
                    </a:cubicBezTo>
                    <a:cubicBezTo>
                      <a:pt x="16" y="60"/>
                      <a:pt x="16" y="59"/>
                      <a:pt x="16" y="58"/>
                    </a:cubicBezTo>
                    <a:cubicBezTo>
                      <a:pt x="16" y="56"/>
                      <a:pt x="16" y="55"/>
                      <a:pt x="15" y="54"/>
                    </a:cubicBezTo>
                    <a:cubicBezTo>
                      <a:pt x="15" y="53"/>
                      <a:pt x="14" y="52"/>
                      <a:pt x="14" y="50"/>
                    </a:cubicBezTo>
                    <a:cubicBezTo>
                      <a:pt x="14" y="49"/>
                      <a:pt x="14" y="49"/>
                      <a:pt x="14" y="48"/>
                    </a:cubicBezTo>
                    <a:cubicBezTo>
                      <a:pt x="14" y="46"/>
                      <a:pt x="15" y="45"/>
                      <a:pt x="15" y="44"/>
                    </a:cubicBezTo>
                    <a:cubicBezTo>
                      <a:pt x="15" y="42"/>
                      <a:pt x="14" y="42"/>
                      <a:pt x="12" y="41"/>
                    </a:cubicBezTo>
                    <a:cubicBezTo>
                      <a:pt x="12" y="40"/>
                      <a:pt x="12" y="40"/>
                      <a:pt x="11" y="39"/>
                    </a:cubicBezTo>
                    <a:cubicBezTo>
                      <a:pt x="11" y="39"/>
                      <a:pt x="11" y="38"/>
                      <a:pt x="10" y="37"/>
                    </a:cubicBezTo>
                    <a:cubicBezTo>
                      <a:pt x="9" y="36"/>
                      <a:pt x="9" y="35"/>
                      <a:pt x="8" y="33"/>
                    </a:cubicBezTo>
                    <a:cubicBezTo>
                      <a:pt x="7" y="32"/>
                      <a:pt x="6" y="31"/>
                      <a:pt x="5" y="30"/>
                    </a:cubicBezTo>
                    <a:cubicBezTo>
                      <a:pt x="4" y="29"/>
                      <a:pt x="4" y="29"/>
                      <a:pt x="4" y="28"/>
                    </a:cubicBezTo>
                    <a:cubicBezTo>
                      <a:pt x="3" y="27"/>
                      <a:pt x="2" y="27"/>
                      <a:pt x="1" y="26"/>
                    </a:cubicBezTo>
                    <a:cubicBezTo>
                      <a:pt x="1" y="25"/>
                      <a:pt x="1" y="24"/>
                      <a:pt x="1" y="23"/>
                    </a:cubicBezTo>
                    <a:cubicBezTo>
                      <a:pt x="1" y="20"/>
                      <a:pt x="1" y="18"/>
                      <a:pt x="0" y="15"/>
                    </a:cubicBezTo>
                    <a:cubicBezTo>
                      <a:pt x="2" y="14"/>
                      <a:pt x="3" y="12"/>
                      <a:pt x="6" y="11"/>
                    </a:cubicBezTo>
                    <a:cubicBezTo>
                      <a:pt x="8" y="10"/>
                      <a:pt x="10" y="11"/>
                      <a:pt x="12" y="10"/>
                    </a:cubicBezTo>
                    <a:cubicBezTo>
                      <a:pt x="13" y="9"/>
                      <a:pt x="13" y="9"/>
                      <a:pt x="14" y="9"/>
                    </a:cubicBezTo>
                    <a:cubicBezTo>
                      <a:pt x="16" y="8"/>
                      <a:pt x="17" y="6"/>
                      <a:pt x="18" y="4"/>
                    </a:cubicBezTo>
                    <a:cubicBezTo>
                      <a:pt x="19" y="3"/>
                      <a:pt x="19" y="3"/>
                      <a:pt x="20" y="2"/>
                    </a:cubicBezTo>
                    <a:cubicBezTo>
                      <a:pt x="21" y="1"/>
                      <a:pt x="21" y="0"/>
                      <a:pt x="22" y="0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6" y="0"/>
                      <a:pt x="27" y="0"/>
                      <a:pt x="28" y="0"/>
                    </a:cubicBezTo>
                    <a:cubicBezTo>
                      <a:pt x="30" y="0"/>
                      <a:pt x="31" y="0"/>
                      <a:pt x="33" y="1"/>
                    </a:cubicBezTo>
                    <a:cubicBezTo>
                      <a:pt x="37" y="1"/>
                      <a:pt x="38" y="3"/>
                      <a:pt x="41" y="3"/>
                    </a:cubicBezTo>
                    <a:cubicBezTo>
                      <a:pt x="42" y="3"/>
                      <a:pt x="43" y="3"/>
                      <a:pt x="44" y="3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5"/>
                      <a:pt x="52" y="6"/>
                      <a:pt x="53" y="7"/>
                    </a:cubicBezTo>
                    <a:cubicBezTo>
                      <a:pt x="53" y="8"/>
                      <a:pt x="53" y="9"/>
                      <a:pt x="53" y="10"/>
                    </a:cubicBezTo>
                    <a:cubicBezTo>
                      <a:pt x="54" y="12"/>
                      <a:pt x="54" y="13"/>
                      <a:pt x="55" y="14"/>
                    </a:cubicBezTo>
                    <a:cubicBezTo>
                      <a:pt x="55" y="16"/>
                      <a:pt x="56" y="16"/>
                      <a:pt x="56" y="18"/>
                    </a:cubicBezTo>
                    <a:cubicBezTo>
                      <a:pt x="57" y="19"/>
                      <a:pt x="57" y="20"/>
                      <a:pt x="57" y="21"/>
                    </a:cubicBezTo>
                    <a:cubicBezTo>
                      <a:pt x="58" y="22"/>
                      <a:pt x="58" y="23"/>
                      <a:pt x="58" y="24"/>
                    </a:cubicBezTo>
                    <a:cubicBezTo>
                      <a:pt x="59" y="26"/>
                      <a:pt x="59" y="27"/>
                      <a:pt x="59" y="30"/>
                    </a:cubicBezTo>
                    <a:cubicBezTo>
                      <a:pt x="60" y="31"/>
                      <a:pt x="60" y="32"/>
                      <a:pt x="60" y="34"/>
                    </a:cubicBezTo>
                    <a:cubicBezTo>
                      <a:pt x="61" y="34"/>
                      <a:pt x="61" y="35"/>
                      <a:pt x="61" y="35"/>
                    </a:cubicBezTo>
                    <a:cubicBezTo>
                      <a:pt x="63" y="37"/>
                      <a:pt x="64" y="38"/>
                      <a:pt x="66" y="39"/>
                    </a:cubicBezTo>
                    <a:cubicBezTo>
                      <a:pt x="67" y="40"/>
                      <a:pt x="67" y="41"/>
                      <a:pt x="68" y="42"/>
                    </a:cubicBezTo>
                    <a:cubicBezTo>
                      <a:pt x="69" y="42"/>
                      <a:pt x="69" y="43"/>
                      <a:pt x="70" y="44"/>
                    </a:cubicBezTo>
                    <a:cubicBezTo>
                      <a:pt x="70" y="44"/>
                      <a:pt x="70" y="44"/>
                      <a:pt x="71" y="45"/>
                    </a:cubicBezTo>
                    <a:cubicBezTo>
                      <a:pt x="72" y="46"/>
                      <a:pt x="73" y="46"/>
                      <a:pt x="74" y="47"/>
                    </a:cubicBezTo>
                    <a:cubicBezTo>
                      <a:pt x="75" y="49"/>
                      <a:pt x="76" y="49"/>
                      <a:pt x="77" y="50"/>
                    </a:cubicBezTo>
                    <a:cubicBezTo>
                      <a:pt x="78" y="51"/>
                      <a:pt x="78" y="52"/>
                      <a:pt x="78" y="53"/>
                    </a:cubicBezTo>
                    <a:cubicBezTo>
                      <a:pt x="78" y="56"/>
                      <a:pt x="78" y="58"/>
                      <a:pt x="78" y="61"/>
                    </a:cubicBezTo>
                    <a:cubicBezTo>
                      <a:pt x="78" y="61"/>
                      <a:pt x="78" y="61"/>
                      <a:pt x="78" y="61"/>
                    </a:cubicBezTo>
                    <a:cubicBezTo>
                      <a:pt x="78" y="62"/>
                      <a:pt x="79" y="62"/>
                      <a:pt x="79" y="62"/>
                    </a:cubicBezTo>
                    <a:cubicBezTo>
                      <a:pt x="80" y="62"/>
                      <a:pt x="80" y="63"/>
                      <a:pt x="81" y="63"/>
                    </a:cubicBezTo>
                    <a:cubicBezTo>
                      <a:pt x="82" y="63"/>
                      <a:pt x="83" y="63"/>
                      <a:pt x="84" y="64"/>
                    </a:cubicBezTo>
                    <a:cubicBezTo>
                      <a:pt x="87" y="66"/>
                      <a:pt x="89" y="67"/>
                      <a:pt x="92" y="67"/>
                    </a:cubicBezTo>
                    <a:cubicBezTo>
                      <a:pt x="93" y="67"/>
                      <a:pt x="94" y="67"/>
                      <a:pt x="95" y="68"/>
                    </a:cubicBezTo>
                    <a:cubicBezTo>
                      <a:pt x="97" y="69"/>
                      <a:pt x="98" y="70"/>
                      <a:pt x="99" y="71"/>
                    </a:cubicBezTo>
                    <a:cubicBezTo>
                      <a:pt x="101" y="73"/>
                      <a:pt x="103" y="74"/>
                      <a:pt x="106" y="76"/>
                    </a:cubicBezTo>
                    <a:cubicBezTo>
                      <a:pt x="107" y="72"/>
                      <a:pt x="107" y="69"/>
                      <a:pt x="109" y="65"/>
                    </a:cubicBezTo>
                    <a:cubicBezTo>
                      <a:pt x="111" y="67"/>
                      <a:pt x="113" y="66"/>
                      <a:pt x="115" y="67"/>
                    </a:cubicBezTo>
                    <a:cubicBezTo>
                      <a:pt x="116" y="67"/>
                      <a:pt x="117" y="68"/>
                      <a:pt x="118" y="68"/>
                    </a:cubicBezTo>
                    <a:cubicBezTo>
                      <a:pt x="119" y="69"/>
                      <a:pt x="120" y="69"/>
                      <a:pt x="120" y="70"/>
                    </a:cubicBezTo>
                    <a:cubicBezTo>
                      <a:pt x="120" y="70"/>
                      <a:pt x="120" y="71"/>
                      <a:pt x="120" y="71"/>
                    </a:cubicBezTo>
                    <a:cubicBezTo>
                      <a:pt x="119" y="72"/>
                      <a:pt x="119" y="73"/>
                      <a:pt x="118" y="74"/>
                    </a:cubicBezTo>
                    <a:cubicBezTo>
                      <a:pt x="117" y="75"/>
                      <a:pt x="117" y="77"/>
                      <a:pt x="116" y="78"/>
                    </a:cubicBezTo>
                    <a:cubicBezTo>
                      <a:pt x="115" y="80"/>
                      <a:pt x="114" y="81"/>
                      <a:pt x="113" y="83"/>
                    </a:cubicBezTo>
                    <a:cubicBezTo>
                      <a:pt x="114" y="83"/>
                      <a:pt x="115" y="83"/>
                      <a:pt x="117" y="84"/>
                    </a:cubicBezTo>
                    <a:cubicBezTo>
                      <a:pt x="118" y="84"/>
                      <a:pt x="119" y="84"/>
                      <a:pt x="120" y="85"/>
                    </a:cubicBezTo>
                    <a:cubicBezTo>
                      <a:pt x="120" y="85"/>
                      <a:pt x="120" y="85"/>
                      <a:pt x="120" y="86"/>
                    </a:cubicBezTo>
                    <a:cubicBezTo>
                      <a:pt x="121" y="86"/>
                      <a:pt x="122" y="86"/>
                      <a:pt x="122" y="87"/>
                    </a:cubicBezTo>
                    <a:cubicBezTo>
                      <a:pt x="121" y="90"/>
                      <a:pt x="120" y="92"/>
                      <a:pt x="117" y="95"/>
                    </a:cubicBezTo>
                    <a:cubicBezTo>
                      <a:pt x="116" y="97"/>
                      <a:pt x="114" y="98"/>
                      <a:pt x="113" y="100"/>
                    </a:cubicBezTo>
                    <a:cubicBezTo>
                      <a:pt x="112" y="101"/>
                      <a:pt x="111" y="102"/>
                      <a:pt x="111" y="103"/>
                    </a:cubicBezTo>
                    <a:cubicBezTo>
                      <a:pt x="111" y="105"/>
                      <a:pt x="112" y="107"/>
                      <a:pt x="113" y="109"/>
                    </a:cubicBezTo>
                    <a:cubicBezTo>
                      <a:pt x="113" y="109"/>
                      <a:pt x="113" y="110"/>
                      <a:pt x="113" y="110"/>
                    </a:cubicBezTo>
                    <a:cubicBezTo>
                      <a:pt x="113" y="110"/>
                      <a:pt x="114" y="110"/>
                      <a:pt x="114" y="111"/>
                    </a:cubicBezTo>
                    <a:cubicBezTo>
                      <a:pt x="114" y="112"/>
                      <a:pt x="115" y="113"/>
                      <a:pt x="115" y="115"/>
                    </a:cubicBezTo>
                    <a:cubicBezTo>
                      <a:pt x="117" y="116"/>
                      <a:pt x="117" y="118"/>
                      <a:pt x="118" y="120"/>
                    </a:cubicBezTo>
                    <a:cubicBezTo>
                      <a:pt x="119" y="122"/>
                      <a:pt x="120" y="123"/>
                      <a:pt x="122" y="125"/>
                    </a:cubicBezTo>
                    <a:cubicBezTo>
                      <a:pt x="124" y="126"/>
                      <a:pt x="125" y="127"/>
                      <a:pt x="127" y="129"/>
                    </a:cubicBezTo>
                    <a:cubicBezTo>
                      <a:pt x="128" y="129"/>
                      <a:pt x="129" y="130"/>
                      <a:pt x="130" y="130"/>
                    </a:cubicBezTo>
                    <a:cubicBezTo>
                      <a:pt x="130" y="130"/>
                      <a:pt x="131" y="131"/>
                      <a:pt x="132" y="131"/>
                    </a:cubicBezTo>
                    <a:cubicBezTo>
                      <a:pt x="132" y="131"/>
                      <a:pt x="133" y="131"/>
                      <a:pt x="133" y="132"/>
                    </a:cubicBezTo>
                    <a:cubicBezTo>
                      <a:pt x="133" y="132"/>
                      <a:pt x="132" y="133"/>
                      <a:pt x="131" y="133"/>
                    </a:cubicBezTo>
                    <a:cubicBezTo>
                      <a:pt x="130" y="134"/>
                      <a:pt x="129" y="134"/>
                      <a:pt x="128" y="135"/>
                    </a:cubicBezTo>
                    <a:cubicBezTo>
                      <a:pt x="127" y="136"/>
                      <a:pt x="126" y="137"/>
                      <a:pt x="125" y="138"/>
                    </a:cubicBezTo>
                    <a:cubicBezTo>
                      <a:pt x="124" y="138"/>
                      <a:pt x="124" y="139"/>
                      <a:pt x="123" y="139"/>
                    </a:cubicBezTo>
                    <a:cubicBezTo>
                      <a:pt x="121" y="140"/>
                      <a:pt x="119" y="140"/>
                      <a:pt x="117" y="142"/>
                    </a:cubicBezTo>
                    <a:cubicBezTo>
                      <a:pt x="117" y="142"/>
                      <a:pt x="116" y="143"/>
                      <a:pt x="116" y="143"/>
                    </a:cubicBezTo>
                    <a:cubicBezTo>
                      <a:pt x="116" y="143"/>
                      <a:pt x="115" y="143"/>
                      <a:pt x="115" y="143"/>
                    </a:cubicBezTo>
                    <a:cubicBezTo>
                      <a:pt x="115" y="144"/>
                      <a:pt x="115" y="144"/>
                      <a:pt x="115" y="145"/>
                    </a:cubicBezTo>
                    <a:cubicBezTo>
                      <a:pt x="115" y="147"/>
                      <a:pt x="115" y="148"/>
                      <a:pt x="115" y="150"/>
                    </a:cubicBezTo>
                    <a:cubicBezTo>
                      <a:pt x="115" y="151"/>
                      <a:pt x="115" y="152"/>
                      <a:pt x="115" y="153"/>
                    </a:cubicBezTo>
                    <a:cubicBezTo>
                      <a:pt x="115" y="154"/>
                      <a:pt x="114" y="155"/>
                      <a:pt x="114" y="156"/>
                    </a:cubicBezTo>
                    <a:cubicBezTo>
                      <a:pt x="114" y="159"/>
                      <a:pt x="114" y="160"/>
                      <a:pt x="114" y="163"/>
                    </a:cubicBezTo>
                    <a:cubicBezTo>
                      <a:pt x="114" y="164"/>
                      <a:pt x="114" y="164"/>
                      <a:pt x="114" y="165"/>
                    </a:cubicBezTo>
                    <a:cubicBezTo>
                      <a:pt x="114" y="167"/>
                      <a:pt x="114" y="169"/>
                      <a:pt x="115" y="171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5" name="Freeform 123">
                <a:extLst>
                  <a:ext uri="{FF2B5EF4-FFF2-40B4-BE49-F238E27FC236}">
                    <a16:creationId xmlns:a16="http://schemas.microsoft.com/office/drawing/2014/main" xmlns="" id="{19F2A401-50D5-4A1F-8394-3CF267A64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9901" y="3488454"/>
                <a:ext cx="120924" cy="123334"/>
              </a:xfrm>
              <a:custGeom>
                <a:avLst/>
                <a:gdLst>
                  <a:gd name="T0" fmla="*/ 23 w 48"/>
                  <a:gd name="T1" fmla="*/ 49 h 49"/>
                  <a:gd name="T2" fmla="*/ 23 w 48"/>
                  <a:gd name="T3" fmla="*/ 48 h 49"/>
                  <a:gd name="T4" fmla="*/ 22 w 48"/>
                  <a:gd name="T5" fmla="*/ 41 h 49"/>
                  <a:gd name="T6" fmla="*/ 19 w 48"/>
                  <a:gd name="T7" fmla="*/ 38 h 49"/>
                  <a:gd name="T8" fmla="*/ 17 w 48"/>
                  <a:gd name="T9" fmla="*/ 35 h 49"/>
                  <a:gd name="T10" fmla="*/ 15 w 48"/>
                  <a:gd name="T11" fmla="*/ 33 h 49"/>
                  <a:gd name="T12" fmla="*/ 13 w 48"/>
                  <a:gd name="T13" fmla="*/ 32 h 49"/>
                  <a:gd name="T14" fmla="*/ 12 w 48"/>
                  <a:gd name="T15" fmla="*/ 30 h 49"/>
                  <a:gd name="T16" fmla="*/ 8 w 48"/>
                  <a:gd name="T17" fmla="*/ 25 h 49"/>
                  <a:gd name="T18" fmla="*/ 4 w 48"/>
                  <a:gd name="T19" fmla="*/ 22 h 49"/>
                  <a:gd name="T20" fmla="*/ 2 w 48"/>
                  <a:gd name="T21" fmla="*/ 21 h 49"/>
                  <a:gd name="T22" fmla="*/ 0 w 48"/>
                  <a:gd name="T23" fmla="*/ 20 h 49"/>
                  <a:gd name="T24" fmla="*/ 1 w 48"/>
                  <a:gd name="T25" fmla="*/ 16 h 49"/>
                  <a:gd name="T26" fmla="*/ 2 w 48"/>
                  <a:gd name="T27" fmla="*/ 15 h 49"/>
                  <a:gd name="T28" fmla="*/ 1 w 48"/>
                  <a:gd name="T29" fmla="*/ 15 h 49"/>
                  <a:gd name="T30" fmla="*/ 4 w 48"/>
                  <a:gd name="T31" fmla="*/ 14 h 49"/>
                  <a:gd name="T32" fmla="*/ 6 w 48"/>
                  <a:gd name="T33" fmla="*/ 11 h 49"/>
                  <a:gd name="T34" fmla="*/ 10 w 48"/>
                  <a:gd name="T35" fmla="*/ 10 h 49"/>
                  <a:gd name="T36" fmla="*/ 10 w 48"/>
                  <a:gd name="T37" fmla="*/ 10 h 49"/>
                  <a:gd name="T38" fmla="*/ 12 w 48"/>
                  <a:gd name="T39" fmla="*/ 9 h 49"/>
                  <a:gd name="T40" fmla="*/ 15 w 48"/>
                  <a:gd name="T41" fmla="*/ 5 h 49"/>
                  <a:gd name="T42" fmla="*/ 18 w 48"/>
                  <a:gd name="T43" fmla="*/ 1 h 49"/>
                  <a:gd name="T44" fmla="*/ 20 w 48"/>
                  <a:gd name="T45" fmla="*/ 0 h 49"/>
                  <a:gd name="T46" fmla="*/ 23 w 48"/>
                  <a:gd name="T47" fmla="*/ 2 h 49"/>
                  <a:gd name="T48" fmla="*/ 25 w 48"/>
                  <a:gd name="T49" fmla="*/ 4 h 49"/>
                  <a:gd name="T50" fmla="*/ 27 w 48"/>
                  <a:gd name="T51" fmla="*/ 5 h 49"/>
                  <a:gd name="T52" fmla="*/ 33 w 48"/>
                  <a:gd name="T53" fmla="*/ 7 h 49"/>
                  <a:gd name="T54" fmla="*/ 36 w 48"/>
                  <a:gd name="T55" fmla="*/ 11 h 49"/>
                  <a:gd name="T56" fmla="*/ 39 w 48"/>
                  <a:gd name="T57" fmla="*/ 13 h 49"/>
                  <a:gd name="T58" fmla="*/ 45 w 48"/>
                  <a:gd name="T59" fmla="*/ 16 h 49"/>
                  <a:gd name="T60" fmla="*/ 45 w 48"/>
                  <a:gd name="T61" fmla="*/ 16 h 49"/>
                  <a:gd name="T62" fmla="*/ 47 w 48"/>
                  <a:gd name="T63" fmla="*/ 17 h 49"/>
                  <a:gd name="T64" fmla="*/ 46 w 48"/>
                  <a:gd name="T65" fmla="*/ 20 h 49"/>
                  <a:gd name="T66" fmla="*/ 47 w 48"/>
                  <a:gd name="T67" fmla="*/ 22 h 49"/>
                  <a:gd name="T68" fmla="*/ 47 w 48"/>
                  <a:gd name="T69" fmla="*/ 24 h 49"/>
                  <a:gd name="T70" fmla="*/ 47 w 48"/>
                  <a:gd name="T71" fmla="*/ 27 h 49"/>
                  <a:gd name="T72" fmla="*/ 47 w 48"/>
                  <a:gd name="T73" fmla="*/ 29 h 49"/>
                  <a:gd name="T74" fmla="*/ 48 w 48"/>
                  <a:gd name="T75" fmla="*/ 30 h 49"/>
                  <a:gd name="T76" fmla="*/ 48 w 48"/>
                  <a:gd name="T77" fmla="*/ 36 h 49"/>
                  <a:gd name="T78" fmla="*/ 44 w 48"/>
                  <a:gd name="T79" fmla="*/ 38 h 49"/>
                  <a:gd name="T80" fmla="*/ 43 w 48"/>
                  <a:gd name="T81" fmla="*/ 39 h 49"/>
                  <a:gd name="T82" fmla="*/ 38 w 48"/>
                  <a:gd name="T83" fmla="*/ 40 h 49"/>
                  <a:gd name="T84" fmla="*/ 35 w 48"/>
                  <a:gd name="T85" fmla="*/ 41 h 49"/>
                  <a:gd name="T86" fmla="*/ 31 w 48"/>
                  <a:gd name="T87" fmla="*/ 41 h 49"/>
                  <a:gd name="T88" fmla="*/ 28 w 48"/>
                  <a:gd name="T89" fmla="*/ 43 h 49"/>
                  <a:gd name="T90" fmla="*/ 27 w 48"/>
                  <a:gd name="T91" fmla="*/ 45 h 49"/>
                  <a:gd name="T92" fmla="*/ 26 w 48"/>
                  <a:gd name="T93" fmla="*/ 46 h 49"/>
                  <a:gd name="T94" fmla="*/ 23 w 48"/>
                  <a:gd name="T9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49">
                    <a:moveTo>
                      <a:pt x="23" y="49"/>
                    </a:moveTo>
                    <a:cubicBezTo>
                      <a:pt x="23" y="49"/>
                      <a:pt x="23" y="48"/>
                      <a:pt x="23" y="48"/>
                    </a:cubicBezTo>
                    <a:cubicBezTo>
                      <a:pt x="22" y="45"/>
                      <a:pt x="23" y="44"/>
                      <a:pt x="22" y="41"/>
                    </a:cubicBezTo>
                    <a:cubicBezTo>
                      <a:pt x="21" y="40"/>
                      <a:pt x="20" y="39"/>
                      <a:pt x="19" y="38"/>
                    </a:cubicBezTo>
                    <a:cubicBezTo>
                      <a:pt x="18" y="36"/>
                      <a:pt x="18" y="36"/>
                      <a:pt x="17" y="35"/>
                    </a:cubicBezTo>
                    <a:cubicBezTo>
                      <a:pt x="16" y="34"/>
                      <a:pt x="16" y="34"/>
                      <a:pt x="15" y="33"/>
                    </a:cubicBezTo>
                    <a:cubicBezTo>
                      <a:pt x="14" y="32"/>
                      <a:pt x="14" y="32"/>
                      <a:pt x="13" y="32"/>
                    </a:cubicBezTo>
                    <a:cubicBezTo>
                      <a:pt x="13" y="31"/>
                      <a:pt x="12" y="30"/>
                      <a:pt x="12" y="30"/>
                    </a:cubicBezTo>
                    <a:cubicBezTo>
                      <a:pt x="10" y="28"/>
                      <a:pt x="9" y="27"/>
                      <a:pt x="8" y="25"/>
                    </a:cubicBezTo>
                    <a:cubicBezTo>
                      <a:pt x="7" y="24"/>
                      <a:pt x="6" y="23"/>
                      <a:pt x="4" y="22"/>
                    </a:cubicBezTo>
                    <a:cubicBezTo>
                      <a:pt x="3" y="22"/>
                      <a:pt x="3" y="22"/>
                      <a:pt x="2" y="21"/>
                    </a:cubicBezTo>
                    <a:cubicBezTo>
                      <a:pt x="1" y="21"/>
                      <a:pt x="1" y="20"/>
                      <a:pt x="0" y="20"/>
                    </a:cubicBezTo>
                    <a:cubicBezTo>
                      <a:pt x="0" y="18"/>
                      <a:pt x="0" y="17"/>
                      <a:pt x="1" y="16"/>
                    </a:cubicBezTo>
                    <a:cubicBezTo>
                      <a:pt x="1" y="16"/>
                      <a:pt x="2" y="16"/>
                      <a:pt x="2" y="15"/>
                    </a:cubicBezTo>
                    <a:cubicBezTo>
                      <a:pt x="2" y="15"/>
                      <a:pt x="1" y="15"/>
                      <a:pt x="1" y="15"/>
                    </a:cubicBezTo>
                    <a:cubicBezTo>
                      <a:pt x="1" y="14"/>
                      <a:pt x="3" y="14"/>
                      <a:pt x="4" y="14"/>
                    </a:cubicBezTo>
                    <a:cubicBezTo>
                      <a:pt x="5" y="13"/>
                      <a:pt x="6" y="12"/>
                      <a:pt x="6" y="11"/>
                    </a:cubicBezTo>
                    <a:cubicBezTo>
                      <a:pt x="8" y="10"/>
                      <a:pt x="9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0"/>
                      <a:pt x="12" y="9"/>
                      <a:pt x="12" y="9"/>
                    </a:cubicBezTo>
                    <a:cubicBezTo>
                      <a:pt x="13" y="8"/>
                      <a:pt x="14" y="7"/>
                      <a:pt x="15" y="5"/>
                    </a:cubicBezTo>
                    <a:cubicBezTo>
                      <a:pt x="16" y="4"/>
                      <a:pt x="16" y="2"/>
                      <a:pt x="18" y="1"/>
                    </a:cubicBezTo>
                    <a:cubicBezTo>
                      <a:pt x="19" y="1"/>
                      <a:pt x="19" y="0"/>
                      <a:pt x="20" y="0"/>
                    </a:cubicBezTo>
                    <a:cubicBezTo>
                      <a:pt x="21" y="0"/>
                      <a:pt x="22" y="1"/>
                      <a:pt x="23" y="2"/>
                    </a:cubicBezTo>
                    <a:cubicBezTo>
                      <a:pt x="23" y="3"/>
                      <a:pt x="24" y="3"/>
                      <a:pt x="25" y="4"/>
                    </a:cubicBezTo>
                    <a:cubicBezTo>
                      <a:pt x="25" y="4"/>
                      <a:pt x="26" y="5"/>
                      <a:pt x="27" y="5"/>
                    </a:cubicBezTo>
                    <a:cubicBezTo>
                      <a:pt x="29" y="6"/>
                      <a:pt x="30" y="6"/>
                      <a:pt x="33" y="7"/>
                    </a:cubicBezTo>
                    <a:cubicBezTo>
                      <a:pt x="34" y="8"/>
                      <a:pt x="35" y="9"/>
                      <a:pt x="36" y="11"/>
                    </a:cubicBezTo>
                    <a:cubicBezTo>
                      <a:pt x="37" y="12"/>
                      <a:pt x="38" y="12"/>
                      <a:pt x="39" y="13"/>
                    </a:cubicBezTo>
                    <a:cubicBezTo>
                      <a:pt x="41" y="13"/>
                      <a:pt x="43" y="14"/>
                      <a:pt x="45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6" y="17"/>
                      <a:pt x="47" y="17"/>
                      <a:pt x="47" y="17"/>
                    </a:cubicBezTo>
                    <a:cubicBezTo>
                      <a:pt x="47" y="18"/>
                      <a:pt x="46" y="19"/>
                      <a:pt x="46" y="20"/>
                    </a:cubicBezTo>
                    <a:cubicBezTo>
                      <a:pt x="46" y="21"/>
                      <a:pt x="46" y="21"/>
                      <a:pt x="47" y="22"/>
                    </a:cubicBezTo>
                    <a:cubicBezTo>
                      <a:pt x="47" y="23"/>
                      <a:pt x="47" y="23"/>
                      <a:pt x="47" y="24"/>
                    </a:cubicBezTo>
                    <a:cubicBezTo>
                      <a:pt x="47" y="25"/>
                      <a:pt x="47" y="26"/>
                      <a:pt x="47" y="27"/>
                    </a:cubicBezTo>
                    <a:cubicBezTo>
                      <a:pt x="47" y="28"/>
                      <a:pt x="47" y="28"/>
                      <a:pt x="47" y="29"/>
                    </a:cubicBezTo>
                    <a:cubicBezTo>
                      <a:pt x="47" y="30"/>
                      <a:pt x="48" y="30"/>
                      <a:pt x="48" y="30"/>
                    </a:cubicBezTo>
                    <a:cubicBezTo>
                      <a:pt x="48" y="32"/>
                      <a:pt x="48" y="34"/>
                      <a:pt x="48" y="36"/>
                    </a:cubicBezTo>
                    <a:cubicBezTo>
                      <a:pt x="46" y="36"/>
                      <a:pt x="45" y="37"/>
                      <a:pt x="44" y="38"/>
                    </a:cubicBezTo>
                    <a:cubicBezTo>
                      <a:pt x="43" y="38"/>
                      <a:pt x="43" y="38"/>
                      <a:pt x="43" y="39"/>
                    </a:cubicBezTo>
                    <a:cubicBezTo>
                      <a:pt x="41" y="39"/>
                      <a:pt x="40" y="40"/>
                      <a:pt x="38" y="40"/>
                    </a:cubicBezTo>
                    <a:cubicBezTo>
                      <a:pt x="37" y="40"/>
                      <a:pt x="36" y="40"/>
                      <a:pt x="35" y="41"/>
                    </a:cubicBezTo>
                    <a:cubicBezTo>
                      <a:pt x="33" y="41"/>
                      <a:pt x="32" y="41"/>
                      <a:pt x="31" y="41"/>
                    </a:cubicBezTo>
                    <a:cubicBezTo>
                      <a:pt x="30" y="42"/>
                      <a:pt x="29" y="42"/>
                      <a:pt x="28" y="43"/>
                    </a:cubicBezTo>
                    <a:cubicBezTo>
                      <a:pt x="28" y="44"/>
                      <a:pt x="27" y="44"/>
                      <a:pt x="27" y="45"/>
                    </a:cubicBezTo>
                    <a:cubicBezTo>
                      <a:pt x="26" y="45"/>
                      <a:pt x="26" y="46"/>
                      <a:pt x="26" y="46"/>
                    </a:cubicBezTo>
                    <a:cubicBezTo>
                      <a:pt x="25" y="48"/>
                      <a:pt x="24" y="48"/>
                      <a:pt x="23" y="49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6" name="Freeform 124">
                <a:extLst>
                  <a:ext uri="{FF2B5EF4-FFF2-40B4-BE49-F238E27FC236}">
                    <a16:creationId xmlns:a16="http://schemas.microsoft.com/office/drawing/2014/main" xmlns="" id="{BE7D9776-D16A-485F-82DD-9CEB9FA05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5808" y="3435768"/>
                <a:ext cx="154448" cy="189193"/>
              </a:xfrm>
              <a:custGeom>
                <a:avLst/>
                <a:gdLst>
                  <a:gd name="T0" fmla="*/ 0 w 61"/>
                  <a:gd name="T1" fmla="*/ 47 h 75"/>
                  <a:gd name="T2" fmla="*/ 1 w 61"/>
                  <a:gd name="T3" fmla="*/ 48 h 75"/>
                  <a:gd name="T4" fmla="*/ 3 w 61"/>
                  <a:gd name="T5" fmla="*/ 49 h 75"/>
                  <a:gd name="T6" fmla="*/ 8 w 61"/>
                  <a:gd name="T7" fmla="*/ 52 h 75"/>
                  <a:gd name="T8" fmla="*/ 12 w 61"/>
                  <a:gd name="T9" fmla="*/ 49 h 75"/>
                  <a:gd name="T10" fmla="*/ 14 w 61"/>
                  <a:gd name="T11" fmla="*/ 53 h 75"/>
                  <a:gd name="T12" fmla="*/ 15 w 61"/>
                  <a:gd name="T13" fmla="*/ 55 h 75"/>
                  <a:gd name="T14" fmla="*/ 11 w 61"/>
                  <a:gd name="T15" fmla="*/ 56 h 75"/>
                  <a:gd name="T16" fmla="*/ 19 w 61"/>
                  <a:gd name="T17" fmla="*/ 62 h 75"/>
                  <a:gd name="T18" fmla="*/ 23 w 61"/>
                  <a:gd name="T19" fmla="*/ 67 h 75"/>
                  <a:gd name="T20" fmla="*/ 28 w 61"/>
                  <a:gd name="T21" fmla="*/ 73 h 75"/>
                  <a:gd name="T22" fmla="*/ 33 w 61"/>
                  <a:gd name="T23" fmla="*/ 71 h 75"/>
                  <a:gd name="T24" fmla="*/ 34 w 61"/>
                  <a:gd name="T25" fmla="*/ 62 h 75"/>
                  <a:gd name="T26" fmla="*/ 35 w 61"/>
                  <a:gd name="T27" fmla="*/ 54 h 75"/>
                  <a:gd name="T28" fmla="*/ 37 w 61"/>
                  <a:gd name="T29" fmla="*/ 50 h 75"/>
                  <a:gd name="T30" fmla="*/ 41 w 61"/>
                  <a:gd name="T31" fmla="*/ 43 h 75"/>
                  <a:gd name="T32" fmla="*/ 46 w 61"/>
                  <a:gd name="T33" fmla="*/ 42 h 75"/>
                  <a:gd name="T34" fmla="*/ 51 w 61"/>
                  <a:gd name="T35" fmla="*/ 41 h 75"/>
                  <a:gd name="T36" fmla="*/ 53 w 61"/>
                  <a:gd name="T37" fmla="*/ 41 h 75"/>
                  <a:gd name="T38" fmla="*/ 55 w 61"/>
                  <a:gd name="T39" fmla="*/ 36 h 75"/>
                  <a:gd name="T40" fmla="*/ 57 w 61"/>
                  <a:gd name="T41" fmla="*/ 35 h 75"/>
                  <a:gd name="T42" fmla="*/ 60 w 61"/>
                  <a:gd name="T43" fmla="*/ 30 h 75"/>
                  <a:gd name="T44" fmla="*/ 60 w 61"/>
                  <a:gd name="T45" fmla="*/ 27 h 75"/>
                  <a:gd name="T46" fmla="*/ 56 w 61"/>
                  <a:gd name="T47" fmla="*/ 22 h 75"/>
                  <a:gd name="T48" fmla="*/ 51 w 61"/>
                  <a:gd name="T49" fmla="*/ 17 h 75"/>
                  <a:gd name="T50" fmla="*/ 42 w 61"/>
                  <a:gd name="T51" fmla="*/ 11 h 75"/>
                  <a:gd name="T52" fmla="*/ 38 w 61"/>
                  <a:gd name="T53" fmla="*/ 5 h 75"/>
                  <a:gd name="T54" fmla="*/ 32 w 61"/>
                  <a:gd name="T55" fmla="*/ 0 h 75"/>
                  <a:gd name="T56" fmla="*/ 25 w 61"/>
                  <a:gd name="T57" fmla="*/ 0 h 75"/>
                  <a:gd name="T58" fmla="*/ 21 w 61"/>
                  <a:gd name="T59" fmla="*/ 0 h 75"/>
                  <a:gd name="T60" fmla="*/ 21 w 61"/>
                  <a:gd name="T61" fmla="*/ 2 h 75"/>
                  <a:gd name="T62" fmla="*/ 22 w 61"/>
                  <a:gd name="T63" fmla="*/ 12 h 75"/>
                  <a:gd name="T64" fmla="*/ 14 w 61"/>
                  <a:gd name="T65" fmla="*/ 13 h 75"/>
                  <a:gd name="T66" fmla="*/ 13 w 61"/>
                  <a:gd name="T67" fmla="*/ 16 h 75"/>
                  <a:gd name="T68" fmla="*/ 10 w 61"/>
                  <a:gd name="T69" fmla="*/ 20 h 75"/>
                  <a:gd name="T70" fmla="*/ 6 w 61"/>
                  <a:gd name="T71" fmla="*/ 27 h 75"/>
                  <a:gd name="T72" fmla="*/ 6 w 61"/>
                  <a:gd name="T73" fmla="*/ 32 h 75"/>
                  <a:gd name="T74" fmla="*/ 5 w 61"/>
                  <a:gd name="T75" fmla="*/ 40 h 75"/>
                  <a:gd name="T76" fmla="*/ 2 w 61"/>
                  <a:gd name="T77" fmla="*/ 4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1" h="75">
                    <a:moveTo>
                      <a:pt x="1" y="4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1" y="48"/>
                      <a:pt x="1" y="48"/>
                    </a:cubicBezTo>
                    <a:cubicBezTo>
                      <a:pt x="1" y="48"/>
                      <a:pt x="0" y="48"/>
                      <a:pt x="0" y="48"/>
                    </a:cubicBezTo>
                    <a:cubicBezTo>
                      <a:pt x="1" y="48"/>
                      <a:pt x="2" y="49"/>
                      <a:pt x="3" y="49"/>
                    </a:cubicBezTo>
                    <a:cubicBezTo>
                      <a:pt x="4" y="50"/>
                      <a:pt x="5" y="52"/>
                      <a:pt x="7" y="52"/>
                    </a:cubicBezTo>
                    <a:cubicBezTo>
                      <a:pt x="7" y="52"/>
                      <a:pt x="8" y="52"/>
                      <a:pt x="8" y="52"/>
                    </a:cubicBezTo>
                    <a:cubicBezTo>
                      <a:pt x="9" y="51"/>
                      <a:pt x="10" y="52"/>
                      <a:pt x="11" y="51"/>
                    </a:cubicBezTo>
                    <a:cubicBezTo>
                      <a:pt x="11" y="50"/>
                      <a:pt x="11" y="49"/>
                      <a:pt x="12" y="49"/>
                    </a:cubicBezTo>
                    <a:cubicBezTo>
                      <a:pt x="14" y="49"/>
                      <a:pt x="14" y="49"/>
                      <a:pt x="15" y="50"/>
                    </a:cubicBezTo>
                    <a:cubicBezTo>
                      <a:pt x="15" y="51"/>
                      <a:pt x="14" y="52"/>
                      <a:pt x="14" y="53"/>
                    </a:cubicBezTo>
                    <a:cubicBezTo>
                      <a:pt x="14" y="53"/>
                      <a:pt x="15" y="54"/>
                      <a:pt x="15" y="54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3" y="56"/>
                      <a:pt x="12" y="55"/>
                      <a:pt x="11" y="55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2" y="57"/>
                      <a:pt x="13" y="59"/>
                      <a:pt x="15" y="60"/>
                    </a:cubicBezTo>
                    <a:cubicBezTo>
                      <a:pt x="17" y="60"/>
                      <a:pt x="19" y="60"/>
                      <a:pt x="19" y="62"/>
                    </a:cubicBezTo>
                    <a:cubicBezTo>
                      <a:pt x="19" y="62"/>
                      <a:pt x="19" y="63"/>
                      <a:pt x="19" y="63"/>
                    </a:cubicBezTo>
                    <a:cubicBezTo>
                      <a:pt x="19" y="65"/>
                      <a:pt x="21" y="66"/>
                      <a:pt x="23" y="67"/>
                    </a:cubicBezTo>
                    <a:cubicBezTo>
                      <a:pt x="24" y="68"/>
                      <a:pt x="25" y="69"/>
                      <a:pt x="25" y="71"/>
                    </a:cubicBezTo>
                    <a:cubicBezTo>
                      <a:pt x="26" y="72"/>
                      <a:pt x="27" y="73"/>
                      <a:pt x="28" y="73"/>
                    </a:cubicBezTo>
                    <a:cubicBezTo>
                      <a:pt x="30" y="73"/>
                      <a:pt x="31" y="74"/>
                      <a:pt x="33" y="75"/>
                    </a:cubicBezTo>
                    <a:cubicBezTo>
                      <a:pt x="33" y="71"/>
                      <a:pt x="33" y="71"/>
                      <a:pt x="33" y="71"/>
                    </a:cubicBezTo>
                    <a:cubicBezTo>
                      <a:pt x="33" y="70"/>
                      <a:pt x="33" y="69"/>
                      <a:pt x="33" y="68"/>
                    </a:cubicBezTo>
                    <a:cubicBezTo>
                      <a:pt x="33" y="66"/>
                      <a:pt x="33" y="64"/>
                      <a:pt x="34" y="62"/>
                    </a:cubicBezTo>
                    <a:cubicBezTo>
                      <a:pt x="34" y="61"/>
                      <a:pt x="35" y="60"/>
                      <a:pt x="35" y="59"/>
                    </a:cubicBezTo>
                    <a:cubicBezTo>
                      <a:pt x="35" y="57"/>
                      <a:pt x="35" y="56"/>
                      <a:pt x="35" y="54"/>
                    </a:cubicBezTo>
                    <a:cubicBezTo>
                      <a:pt x="36" y="53"/>
                      <a:pt x="36" y="53"/>
                      <a:pt x="36" y="52"/>
                    </a:cubicBezTo>
                    <a:cubicBezTo>
                      <a:pt x="36" y="51"/>
                      <a:pt x="36" y="51"/>
                      <a:pt x="37" y="50"/>
                    </a:cubicBezTo>
                    <a:cubicBezTo>
                      <a:pt x="37" y="47"/>
                      <a:pt x="38" y="46"/>
                      <a:pt x="40" y="44"/>
                    </a:cubicBezTo>
                    <a:cubicBezTo>
                      <a:pt x="40" y="43"/>
                      <a:pt x="40" y="43"/>
                      <a:pt x="41" y="43"/>
                    </a:cubicBezTo>
                    <a:cubicBezTo>
                      <a:pt x="41" y="42"/>
                      <a:pt x="41" y="41"/>
                      <a:pt x="42" y="40"/>
                    </a:cubicBezTo>
                    <a:cubicBezTo>
                      <a:pt x="43" y="41"/>
                      <a:pt x="44" y="41"/>
                      <a:pt x="46" y="42"/>
                    </a:cubicBezTo>
                    <a:cubicBezTo>
                      <a:pt x="47" y="42"/>
                      <a:pt x="47" y="43"/>
                      <a:pt x="48" y="43"/>
                    </a:cubicBezTo>
                    <a:cubicBezTo>
                      <a:pt x="49" y="43"/>
                      <a:pt x="50" y="42"/>
                      <a:pt x="51" y="41"/>
                    </a:cubicBezTo>
                    <a:cubicBezTo>
                      <a:pt x="51" y="41"/>
                      <a:pt x="52" y="40"/>
                      <a:pt x="52" y="40"/>
                    </a:cubicBezTo>
                    <a:cubicBezTo>
                      <a:pt x="52" y="40"/>
                      <a:pt x="52" y="41"/>
                      <a:pt x="53" y="41"/>
                    </a:cubicBezTo>
                    <a:cubicBezTo>
                      <a:pt x="53" y="39"/>
                      <a:pt x="53" y="38"/>
                      <a:pt x="54" y="37"/>
                    </a:cubicBezTo>
                    <a:cubicBezTo>
                      <a:pt x="54" y="37"/>
                      <a:pt x="55" y="37"/>
                      <a:pt x="55" y="36"/>
                    </a:cubicBezTo>
                    <a:cubicBezTo>
                      <a:pt x="55" y="36"/>
                      <a:pt x="54" y="36"/>
                      <a:pt x="54" y="36"/>
                    </a:cubicBezTo>
                    <a:cubicBezTo>
                      <a:pt x="54" y="35"/>
                      <a:pt x="56" y="35"/>
                      <a:pt x="57" y="35"/>
                    </a:cubicBezTo>
                    <a:cubicBezTo>
                      <a:pt x="58" y="34"/>
                      <a:pt x="59" y="33"/>
                      <a:pt x="59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60" y="30"/>
                      <a:pt x="61" y="29"/>
                      <a:pt x="61" y="29"/>
                    </a:cubicBezTo>
                    <a:cubicBezTo>
                      <a:pt x="61" y="28"/>
                      <a:pt x="61" y="27"/>
                      <a:pt x="60" y="27"/>
                    </a:cubicBezTo>
                    <a:cubicBezTo>
                      <a:pt x="60" y="26"/>
                      <a:pt x="59" y="26"/>
                      <a:pt x="59" y="25"/>
                    </a:cubicBezTo>
                    <a:cubicBezTo>
                      <a:pt x="58" y="24"/>
                      <a:pt x="57" y="23"/>
                      <a:pt x="56" y="22"/>
                    </a:cubicBezTo>
                    <a:cubicBezTo>
                      <a:pt x="55" y="21"/>
                      <a:pt x="54" y="21"/>
                      <a:pt x="53" y="20"/>
                    </a:cubicBezTo>
                    <a:cubicBezTo>
                      <a:pt x="52" y="19"/>
                      <a:pt x="52" y="18"/>
                      <a:pt x="51" y="17"/>
                    </a:cubicBezTo>
                    <a:cubicBezTo>
                      <a:pt x="50" y="16"/>
                      <a:pt x="49" y="16"/>
                      <a:pt x="48" y="16"/>
                    </a:cubicBezTo>
                    <a:cubicBezTo>
                      <a:pt x="46" y="14"/>
                      <a:pt x="45" y="13"/>
                      <a:pt x="42" y="11"/>
                    </a:cubicBezTo>
                    <a:cubicBezTo>
                      <a:pt x="41" y="9"/>
                      <a:pt x="40" y="8"/>
                      <a:pt x="39" y="6"/>
                    </a:cubicBezTo>
                    <a:cubicBezTo>
                      <a:pt x="39" y="6"/>
                      <a:pt x="39" y="5"/>
                      <a:pt x="38" y="5"/>
                    </a:cubicBezTo>
                    <a:cubicBezTo>
                      <a:pt x="37" y="4"/>
                      <a:pt x="37" y="4"/>
                      <a:pt x="36" y="3"/>
                    </a:cubicBezTo>
                    <a:cubicBezTo>
                      <a:pt x="34" y="2"/>
                      <a:pt x="33" y="1"/>
                      <a:pt x="32" y="0"/>
                    </a:cubicBezTo>
                    <a:cubicBezTo>
                      <a:pt x="30" y="1"/>
                      <a:pt x="29" y="0"/>
                      <a:pt x="27" y="0"/>
                    </a:cubicBezTo>
                    <a:cubicBezTo>
                      <a:pt x="26" y="0"/>
                      <a:pt x="26" y="0"/>
                      <a:pt x="25" y="0"/>
                    </a:cubicBezTo>
                    <a:cubicBezTo>
                      <a:pt x="24" y="0"/>
                      <a:pt x="24" y="0"/>
                      <a:pt x="23" y="0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3"/>
                      <a:pt x="21" y="3"/>
                      <a:pt x="22" y="4"/>
                    </a:cubicBezTo>
                    <a:cubicBezTo>
                      <a:pt x="22" y="7"/>
                      <a:pt x="22" y="8"/>
                      <a:pt x="22" y="12"/>
                    </a:cubicBezTo>
                    <a:cubicBezTo>
                      <a:pt x="20" y="12"/>
                      <a:pt x="18" y="12"/>
                      <a:pt x="16" y="12"/>
                    </a:cubicBezTo>
                    <a:cubicBezTo>
                      <a:pt x="15" y="12"/>
                      <a:pt x="15" y="13"/>
                      <a:pt x="14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2" y="14"/>
                      <a:pt x="13" y="15"/>
                      <a:pt x="13" y="16"/>
                    </a:cubicBezTo>
                    <a:cubicBezTo>
                      <a:pt x="13" y="17"/>
                      <a:pt x="12" y="18"/>
                      <a:pt x="11" y="20"/>
                    </a:cubicBezTo>
                    <a:cubicBezTo>
                      <a:pt x="11" y="20"/>
                      <a:pt x="10" y="20"/>
                      <a:pt x="10" y="20"/>
                    </a:cubicBezTo>
                    <a:cubicBezTo>
                      <a:pt x="9" y="21"/>
                      <a:pt x="9" y="22"/>
                      <a:pt x="8" y="23"/>
                    </a:cubicBezTo>
                    <a:cubicBezTo>
                      <a:pt x="7" y="25"/>
                      <a:pt x="6" y="26"/>
                      <a:pt x="6" y="27"/>
                    </a:cubicBezTo>
                    <a:cubicBezTo>
                      <a:pt x="6" y="29"/>
                      <a:pt x="6" y="30"/>
                      <a:pt x="6" y="31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3"/>
                      <a:pt x="6" y="34"/>
                      <a:pt x="5" y="35"/>
                    </a:cubicBezTo>
                    <a:cubicBezTo>
                      <a:pt x="5" y="37"/>
                      <a:pt x="5" y="38"/>
                      <a:pt x="5" y="40"/>
                    </a:cubicBezTo>
                    <a:cubicBezTo>
                      <a:pt x="4" y="41"/>
                      <a:pt x="4" y="42"/>
                      <a:pt x="3" y="43"/>
                    </a:cubicBezTo>
                    <a:cubicBezTo>
                      <a:pt x="3" y="44"/>
                      <a:pt x="2" y="44"/>
                      <a:pt x="2" y="44"/>
                    </a:cubicBezTo>
                    <a:cubicBezTo>
                      <a:pt x="1" y="45"/>
                      <a:pt x="1" y="45"/>
                      <a:pt x="1" y="45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7" name="Freeform 125">
                <a:extLst>
                  <a:ext uri="{FF2B5EF4-FFF2-40B4-BE49-F238E27FC236}">
                    <a16:creationId xmlns:a16="http://schemas.microsoft.com/office/drawing/2014/main" xmlns="" id="{701353E2-E95B-4D28-94E6-E406469EB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7792" y="3568681"/>
                <a:ext cx="198747" cy="177218"/>
              </a:xfrm>
              <a:custGeom>
                <a:avLst/>
                <a:gdLst>
                  <a:gd name="T0" fmla="*/ 76 w 79"/>
                  <a:gd name="T1" fmla="*/ 39 h 70"/>
                  <a:gd name="T2" fmla="*/ 78 w 79"/>
                  <a:gd name="T3" fmla="*/ 35 h 70"/>
                  <a:gd name="T4" fmla="*/ 79 w 79"/>
                  <a:gd name="T5" fmla="*/ 33 h 70"/>
                  <a:gd name="T6" fmla="*/ 79 w 79"/>
                  <a:gd name="T7" fmla="*/ 27 h 70"/>
                  <a:gd name="T8" fmla="*/ 77 w 79"/>
                  <a:gd name="T9" fmla="*/ 22 h 70"/>
                  <a:gd name="T10" fmla="*/ 76 w 79"/>
                  <a:gd name="T11" fmla="*/ 15 h 70"/>
                  <a:gd name="T12" fmla="*/ 77 w 79"/>
                  <a:gd name="T13" fmla="*/ 13 h 70"/>
                  <a:gd name="T14" fmla="*/ 72 w 79"/>
                  <a:gd name="T15" fmla="*/ 12 h 70"/>
                  <a:gd name="T16" fmla="*/ 64 w 79"/>
                  <a:gd name="T17" fmla="*/ 8 h 70"/>
                  <a:gd name="T18" fmla="*/ 56 w 79"/>
                  <a:gd name="T19" fmla="*/ 1 h 70"/>
                  <a:gd name="T20" fmla="*/ 41 w 79"/>
                  <a:gd name="T21" fmla="*/ 0 h 70"/>
                  <a:gd name="T22" fmla="*/ 37 w 79"/>
                  <a:gd name="T23" fmla="*/ 0 h 70"/>
                  <a:gd name="T24" fmla="*/ 30 w 79"/>
                  <a:gd name="T25" fmla="*/ 3 h 70"/>
                  <a:gd name="T26" fmla="*/ 25 w 79"/>
                  <a:gd name="T27" fmla="*/ 6 h 70"/>
                  <a:gd name="T28" fmla="*/ 19 w 79"/>
                  <a:gd name="T29" fmla="*/ 8 h 70"/>
                  <a:gd name="T30" fmla="*/ 12 w 79"/>
                  <a:gd name="T31" fmla="*/ 9 h 70"/>
                  <a:gd name="T32" fmla="*/ 8 w 79"/>
                  <a:gd name="T33" fmla="*/ 13 h 70"/>
                  <a:gd name="T34" fmla="*/ 4 w 79"/>
                  <a:gd name="T35" fmla="*/ 17 h 70"/>
                  <a:gd name="T36" fmla="*/ 2 w 79"/>
                  <a:gd name="T37" fmla="*/ 25 h 70"/>
                  <a:gd name="T38" fmla="*/ 1 w 79"/>
                  <a:gd name="T39" fmla="*/ 30 h 70"/>
                  <a:gd name="T40" fmla="*/ 1 w 79"/>
                  <a:gd name="T41" fmla="*/ 35 h 70"/>
                  <a:gd name="T42" fmla="*/ 1 w 79"/>
                  <a:gd name="T43" fmla="*/ 44 h 70"/>
                  <a:gd name="T44" fmla="*/ 2 w 79"/>
                  <a:gd name="T45" fmla="*/ 51 h 70"/>
                  <a:gd name="T46" fmla="*/ 3 w 79"/>
                  <a:gd name="T47" fmla="*/ 59 h 70"/>
                  <a:gd name="T48" fmla="*/ 7 w 79"/>
                  <a:gd name="T49" fmla="*/ 65 h 70"/>
                  <a:gd name="T50" fmla="*/ 11 w 79"/>
                  <a:gd name="T51" fmla="*/ 68 h 70"/>
                  <a:gd name="T52" fmla="*/ 19 w 79"/>
                  <a:gd name="T53" fmla="*/ 70 h 70"/>
                  <a:gd name="T54" fmla="*/ 42 w 79"/>
                  <a:gd name="T55" fmla="*/ 60 h 70"/>
                  <a:gd name="T56" fmla="*/ 50 w 79"/>
                  <a:gd name="T57" fmla="*/ 54 h 70"/>
                  <a:gd name="T58" fmla="*/ 60 w 79"/>
                  <a:gd name="T59" fmla="*/ 55 h 70"/>
                  <a:gd name="T60" fmla="*/ 69 w 79"/>
                  <a:gd name="T61" fmla="*/ 50 h 70"/>
                  <a:gd name="T62" fmla="*/ 74 w 79"/>
                  <a:gd name="T63" fmla="*/ 4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9" h="70">
                    <a:moveTo>
                      <a:pt x="76" y="41"/>
                    </a:moveTo>
                    <a:cubicBezTo>
                      <a:pt x="76" y="40"/>
                      <a:pt x="76" y="40"/>
                      <a:pt x="76" y="39"/>
                    </a:cubicBezTo>
                    <a:cubicBezTo>
                      <a:pt x="76" y="38"/>
                      <a:pt x="77" y="38"/>
                      <a:pt x="77" y="37"/>
                    </a:cubicBezTo>
                    <a:cubicBezTo>
                      <a:pt x="78" y="36"/>
                      <a:pt x="78" y="36"/>
                      <a:pt x="78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8" y="34"/>
                      <a:pt x="78" y="34"/>
                      <a:pt x="79" y="33"/>
                    </a:cubicBezTo>
                    <a:cubicBezTo>
                      <a:pt x="79" y="32"/>
                      <a:pt x="79" y="31"/>
                      <a:pt x="79" y="29"/>
                    </a:cubicBezTo>
                    <a:cubicBezTo>
                      <a:pt x="79" y="28"/>
                      <a:pt x="79" y="28"/>
                      <a:pt x="79" y="27"/>
                    </a:cubicBezTo>
                    <a:cubicBezTo>
                      <a:pt x="79" y="26"/>
                      <a:pt x="79" y="26"/>
                      <a:pt x="78" y="25"/>
                    </a:cubicBezTo>
                    <a:cubicBezTo>
                      <a:pt x="78" y="24"/>
                      <a:pt x="78" y="23"/>
                      <a:pt x="77" y="22"/>
                    </a:cubicBezTo>
                    <a:cubicBezTo>
                      <a:pt x="76" y="20"/>
                      <a:pt x="76" y="19"/>
                      <a:pt x="76" y="18"/>
                    </a:cubicBezTo>
                    <a:cubicBezTo>
                      <a:pt x="76" y="17"/>
                      <a:pt x="76" y="16"/>
                      <a:pt x="76" y="15"/>
                    </a:cubicBezTo>
                    <a:cubicBezTo>
                      <a:pt x="76" y="15"/>
                      <a:pt x="76" y="14"/>
                      <a:pt x="76" y="14"/>
                    </a:cubicBezTo>
                    <a:cubicBezTo>
                      <a:pt x="76" y="14"/>
                      <a:pt x="77" y="14"/>
                      <a:pt x="77" y="13"/>
                    </a:cubicBezTo>
                    <a:cubicBezTo>
                      <a:pt x="77" y="13"/>
                      <a:pt x="76" y="13"/>
                      <a:pt x="76" y="13"/>
                    </a:cubicBezTo>
                    <a:cubicBezTo>
                      <a:pt x="75" y="13"/>
                      <a:pt x="74" y="12"/>
                      <a:pt x="72" y="12"/>
                    </a:cubicBezTo>
                    <a:cubicBezTo>
                      <a:pt x="69" y="11"/>
                      <a:pt x="67" y="11"/>
                      <a:pt x="64" y="9"/>
                    </a:cubicBezTo>
                    <a:cubicBezTo>
                      <a:pt x="64" y="9"/>
                      <a:pt x="64" y="8"/>
                      <a:pt x="64" y="8"/>
                    </a:cubicBezTo>
                    <a:cubicBezTo>
                      <a:pt x="62" y="6"/>
                      <a:pt x="61" y="5"/>
                      <a:pt x="60" y="3"/>
                    </a:cubicBezTo>
                    <a:cubicBezTo>
                      <a:pt x="58" y="3"/>
                      <a:pt x="58" y="2"/>
                      <a:pt x="56" y="1"/>
                    </a:cubicBezTo>
                    <a:cubicBezTo>
                      <a:pt x="55" y="0"/>
                      <a:pt x="53" y="0"/>
                      <a:pt x="51" y="0"/>
                    </a:cubicBezTo>
                    <a:cubicBezTo>
                      <a:pt x="47" y="0"/>
                      <a:pt x="45" y="0"/>
                      <a:pt x="41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9" y="0"/>
                      <a:pt x="38" y="0"/>
                      <a:pt x="37" y="0"/>
                    </a:cubicBezTo>
                    <a:cubicBezTo>
                      <a:pt x="35" y="0"/>
                      <a:pt x="35" y="1"/>
                      <a:pt x="34" y="1"/>
                    </a:cubicBezTo>
                    <a:cubicBezTo>
                      <a:pt x="33" y="2"/>
                      <a:pt x="32" y="2"/>
                      <a:pt x="30" y="3"/>
                    </a:cubicBezTo>
                    <a:cubicBezTo>
                      <a:pt x="30" y="3"/>
                      <a:pt x="30" y="3"/>
                      <a:pt x="29" y="4"/>
                    </a:cubicBezTo>
                    <a:cubicBezTo>
                      <a:pt x="27" y="4"/>
                      <a:pt x="26" y="5"/>
                      <a:pt x="25" y="6"/>
                    </a:cubicBezTo>
                    <a:cubicBezTo>
                      <a:pt x="24" y="6"/>
                      <a:pt x="24" y="6"/>
                      <a:pt x="24" y="7"/>
                    </a:cubicBezTo>
                    <a:cubicBezTo>
                      <a:pt x="22" y="7"/>
                      <a:pt x="21" y="8"/>
                      <a:pt x="19" y="8"/>
                    </a:cubicBezTo>
                    <a:cubicBezTo>
                      <a:pt x="18" y="8"/>
                      <a:pt x="17" y="8"/>
                      <a:pt x="16" y="9"/>
                    </a:cubicBezTo>
                    <a:cubicBezTo>
                      <a:pt x="14" y="9"/>
                      <a:pt x="13" y="9"/>
                      <a:pt x="12" y="9"/>
                    </a:cubicBezTo>
                    <a:cubicBezTo>
                      <a:pt x="11" y="10"/>
                      <a:pt x="10" y="10"/>
                      <a:pt x="9" y="11"/>
                    </a:cubicBezTo>
                    <a:cubicBezTo>
                      <a:pt x="9" y="12"/>
                      <a:pt x="8" y="12"/>
                      <a:pt x="8" y="13"/>
                    </a:cubicBezTo>
                    <a:cubicBezTo>
                      <a:pt x="7" y="13"/>
                      <a:pt x="7" y="14"/>
                      <a:pt x="7" y="14"/>
                    </a:cubicBezTo>
                    <a:cubicBezTo>
                      <a:pt x="6" y="16"/>
                      <a:pt x="5" y="16"/>
                      <a:pt x="4" y="17"/>
                    </a:cubicBezTo>
                    <a:cubicBezTo>
                      <a:pt x="4" y="18"/>
                      <a:pt x="4" y="18"/>
                      <a:pt x="3" y="19"/>
                    </a:cubicBezTo>
                    <a:cubicBezTo>
                      <a:pt x="2" y="22"/>
                      <a:pt x="2" y="23"/>
                      <a:pt x="2" y="25"/>
                    </a:cubicBezTo>
                    <a:cubicBezTo>
                      <a:pt x="2" y="27"/>
                      <a:pt x="2" y="27"/>
                      <a:pt x="2" y="28"/>
                    </a:cubicBezTo>
                    <a:cubicBezTo>
                      <a:pt x="2" y="29"/>
                      <a:pt x="1" y="30"/>
                      <a:pt x="1" y="30"/>
                    </a:cubicBezTo>
                    <a:cubicBezTo>
                      <a:pt x="1" y="31"/>
                      <a:pt x="1" y="32"/>
                      <a:pt x="1" y="33"/>
                    </a:cubicBezTo>
                    <a:cubicBezTo>
                      <a:pt x="1" y="34"/>
                      <a:pt x="1" y="34"/>
                      <a:pt x="1" y="35"/>
                    </a:cubicBezTo>
                    <a:cubicBezTo>
                      <a:pt x="1" y="37"/>
                      <a:pt x="0" y="39"/>
                      <a:pt x="0" y="41"/>
                    </a:cubicBezTo>
                    <a:cubicBezTo>
                      <a:pt x="0" y="42"/>
                      <a:pt x="0" y="43"/>
                      <a:pt x="1" y="44"/>
                    </a:cubicBezTo>
                    <a:cubicBezTo>
                      <a:pt x="1" y="46"/>
                      <a:pt x="1" y="47"/>
                      <a:pt x="1" y="48"/>
                    </a:cubicBezTo>
                    <a:cubicBezTo>
                      <a:pt x="1" y="49"/>
                      <a:pt x="2" y="49"/>
                      <a:pt x="2" y="51"/>
                    </a:cubicBezTo>
                    <a:cubicBezTo>
                      <a:pt x="2" y="53"/>
                      <a:pt x="2" y="54"/>
                      <a:pt x="3" y="56"/>
                    </a:cubicBezTo>
                    <a:cubicBezTo>
                      <a:pt x="3" y="57"/>
                      <a:pt x="3" y="58"/>
                      <a:pt x="3" y="59"/>
                    </a:cubicBezTo>
                    <a:cubicBezTo>
                      <a:pt x="3" y="60"/>
                      <a:pt x="4" y="61"/>
                      <a:pt x="4" y="62"/>
                    </a:cubicBezTo>
                    <a:cubicBezTo>
                      <a:pt x="5" y="63"/>
                      <a:pt x="6" y="64"/>
                      <a:pt x="7" y="65"/>
                    </a:cubicBezTo>
                    <a:cubicBezTo>
                      <a:pt x="7" y="65"/>
                      <a:pt x="8" y="65"/>
                      <a:pt x="8" y="66"/>
                    </a:cubicBezTo>
                    <a:cubicBezTo>
                      <a:pt x="9" y="67"/>
                      <a:pt x="10" y="67"/>
                      <a:pt x="11" y="68"/>
                    </a:cubicBezTo>
                    <a:cubicBezTo>
                      <a:pt x="12" y="69"/>
                      <a:pt x="13" y="70"/>
                      <a:pt x="14" y="70"/>
                    </a:cubicBezTo>
                    <a:cubicBezTo>
                      <a:pt x="16" y="70"/>
                      <a:pt x="17" y="70"/>
                      <a:pt x="19" y="70"/>
                    </a:cubicBezTo>
                    <a:cubicBezTo>
                      <a:pt x="24" y="66"/>
                      <a:pt x="28" y="65"/>
                      <a:pt x="34" y="63"/>
                    </a:cubicBezTo>
                    <a:cubicBezTo>
                      <a:pt x="37" y="62"/>
                      <a:pt x="39" y="61"/>
                      <a:pt x="42" y="60"/>
                    </a:cubicBezTo>
                    <a:cubicBezTo>
                      <a:pt x="45" y="58"/>
                      <a:pt x="45" y="55"/>
                      <a:pt x="48" y="54"/>
                    </a:cubicBezTo>
                    <a:cubicBezTo>
                      <a:pt x="50" y="54"/>
                      <a:pt x="50" y="54"/>
                      <a:pt x="50" y="54"/>
                    </a:cubicBezTo>
                    <a:cubicBezTo>
                      <a:pt x="52" y="54"/>
                      <a:pt x="54" y="54"/>
                      <a:pt x="56" y="54"/>
                    </a:cubicBezTo>
                    <a:cubicBezTo>
                      <a:pt x="57" y="54"/>
                      <a:pt x="58" y="55"/>
                      <a:pt x="60" y="55"/>
                    </a:cubicBezTo>
                    <a:cubicBezTo>
                      <a:pt x="63" y="55"/>
                      <a:pt x="66" y="55"/>
                      <a:pt x="68" y="52"/>
                    </a:cubicBezTo>
                    <a:cubicBezTo>
                      <a:pt x="68" y="52"/>
                      <a:pt x="69" y="51"/>
                      <a:pt x="69" y="50"/>
                    </a:cubicBezTo>
                    <a:cubicBezTo>
                      <a:pt x="70" y="49"/>
                      <a:pt x="71" y="49"/>
                      <a:pt x="72" y="47"/>
                    </a:cubicBezTo>
                    <a:cubicBezTo>
                      <a:pt x="73" y="46"/>
                      <a:pt x="73" y="45"/>
                      <a:pt x="74" y="43"/>
                    </a:cubicBezTo>
                    <a:cubicBezTo>
                      <a:pt x="74" y="42"/>
                      <a:pt x="75" y="42"/>
                      <a:pt x="76" y="41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8" name="Freeform 126">
                <a:extLst>
                  <a:ext uri="{FF2B5EF4-FFF2-40B4-BE49-F238E27FC236}">
                    <a16:creationId xmlns:a16="http://schemas.microsoft.com/office/drawing/2014/main" xmlns="" id="{FC4C0575-C56A-4049-B8D9-C536A35E7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1236" y="3536352"/>
                <a:ext cx="154448" cy="323304"/>
              </a:xfrm>
              <a:custGeom>
                <a:avLst/>
                <a:gdLst>
                  <a:gd name="T0" fmla="*/ 45 w 61"/>
                  <a:gd name="T1" fmla="*/ 32 h 128"/>
                  <a:gd name="T2" fmla="*/ 44 w 61"/>
                  <a:gd name="T3" fmla="*/ 41 h 128"/>
                  <a:gd name="T4" fmla="*/ 43 w 61"/>
                  <a:gd name="T5" fmla="*/ 46 h 128"/>
                  <a:gd name="T6" fmla="*/ 42 w 61"/>
                  <a:gd name="T7" fmla="*/ 54 h 128"/>
                  <a:gd name="T8" fmla="*/ 43 w 61"/>
                  <a:gd name="T9" fmla="*/ 61 h 128"/>
                  <a:gd name="T10" fmla="*/ 45 w 61"/>
                  <a:gd name="T11" fmla="*/ 69 h 128"/>
                  <a:gd name="T12" fmla="*/ 46 w 61"/>
                  <a:gd name="T13" fmla="*/ 75 h 128"/>
                  <a:gd name="T14" fmla="*/ 50 w 61"/>
                  <a:gd name="T15" fmla="*/ 79 h 128"/>
                  <a:gd name="T16" fmla="*/ 56 w 61"/>
                  <a:gd name="T17" fmla="*/ 83 h 128"/>
                  <a:gd name="T18" fmla="*/ 61 w 61"/>
                  <a:gd name="T19" fmla="*/ 85 h 128"/>
                  <a:gd name="T20" fmla="*/ 61 w 61"/>
                  <a:gd name="T21" fmla="*/ 92 h 128"/>
                  <a:gd name="T22" fmla="*/ 60 w 61"/>
                  <a:gd name="T23" fmla="*/ 96 h 128"/>
                  <a:gd name="T24" fmla="*/ 55 w 61"/>
                  <a:gd name="T25" fmla="*/ 102 h 128"/>
                  <a:gd name="T26" fmla="*/ 52 w 61"/>
                  <a:gd name="T27" fmla="*/ 107 h 128"/>
                  <a:gd name="T28" fmla="*/ 48 w 61"/>
                  <a:gd name="T29" fmla="*/ 112 h 128"/>
                  <a:gd name="T30" fmla="*/ 43 w 61"/>
                  <a:gd name="T31" fmla="*/ 114 h 128"/>
                  <a:gd name="T32" fmla="*/ 37 w 61"/>
                  <a:gd name="T33" fmla="*/ 116 h 128"/>
                  <a:gd name="T34" fmla="*/ 39 w 61"/>
                  <a:gd name="T35" fmla="*/ 120 h 128"/>
                  <a:gd name="T36" fmla="*/ 37 w 61"/>
                  <a:gd name="T37" fmla="*/ 125 h 128"/>
                  <a:gd name="T38" fmla="*/ 32 w 61"/>
                  <a:gd name="T39" fmla="*/ 127 h 128"/>
                  <a:gd name="T40" fmla="*/ 25 w 61"/>
                  <a:gd name="T41" fmla="*/ 128 h 128"/>
                  <a:gd name="T42" fmla="*/ 25 w 61"/>
                  <a:gd name="T43" fmla="*/ 125 h 128"/>
                  <a:gd name="T44" fmla="*/ 22 w 61"/>
                  <a:gd name="T45" fmla="*/ 121 h 128"/>
                  <a:gd name="T46" fmla="*/ 17 w 61"/>
                  <a:gd name="T47" fmla="*/ 116 h 128"/>
                  <a:gd name="T48" fmla="*/ 8 w 61"/>
                  <a:gd name="T49" fmla="*/ 111 h 128"/>
                  <a:gd name="T50" fmla="*/ 1 w 61"/>
                  <a:gd name="T51" fmla="*/ 101 h 128"/>
                  <a:gd name="T52" fmla="*/ 6 w 61"/>
                  <a:gd name="T53" fmla="*/ 104 h 128"/>
                  <a:gd name="T54" fmla="*/ 6 w 61"/>
                  <a:gd name="T55" fmla="*/ 100 h 128"/>
                  <a:gd name="T56" fmla="*/ 0 w 61"/>
                  <a:gd name="T57" fmla="*/ 94 h 128"/>
                  <a:gd name="T58" fmla="*/ 1 w 61"/>
                  <a:gd name="T59" fmla="*/ 87 h 128"/>
                  <a:gd name="T60" fmla="*/ 8 w 61"/>
                  <a:gd name="T61" fmla="*/ 81 h 128"/>
                  <a:gd name="T62" fmla="*/ 8 w 61"/>
                  <a:gd name="T63" fmla="*/ 77 h 128"/>
                  <a:gd name="T64" fmla="*/ 5 w 61"/>
                  <a:gd name="T65" fmla="*/ 72 h 128"/>
                  <a:gd name="T66" fmla="*/ 9 w 61"/>
                  <a:gd name="T67" fmla="*/ 65 h 128"/>
                  <a:gd name="T68" fmla="*/ 6 w 61"/>
                  <a:gd name="T69" fmla="*/ 61 h 128"/>
                  <a:gd name="T70" fmla="*/ 9 w 61"/>
                  <a:gd name="T71" fmla="*/ 54 h 128"/>
                  <a:gd name="T72" fmla="*/ 7 w 61"/>
                  <a:gd name="T73" fmla="*/ 51 h 128"/>
                  <a:gd name="T74" fmla="*/ 12 w 61"/>
                  <a:gd name="T75" fmla="*/ 47 h 128"/>
                  <a:gd name="T76" fmla="*/ 8 w 61"/>
                  <a:gd name="T77" fmla="*/ 36 h 128"/>
                  <a:gd name="T78" fmla="*/ 3 w 61"/>
                  <a:gd name="T79" fmla="*/ 35 h 128"/>
                  <a:gd name="T80" fmla="*/ 3 w 61"/>
                  <a:gd name="T81" fmla="*/ 31 h 128"/>
                  <a:gd name="T82" fmla="*/ 4 w 61"/>
                  <a:gd name="T83" fmla="*/ 22 h 128"/>
                  <a:gd name="T84" fmla="*/ 5 w 61"/>
                  <a:gd name="T85" fmla="*/ 14 h 128"/>
                  <a:gd name="T86" fmla="*/ 7 w 61"/>
                  <a:gd name="T87" fmla="*/ 10 h 128"/>
                  <a:gd name="T88" fmla="*/ 11 w 61"/>
                  <a:gd name="T89" fmla="*/ 3 h 128"/>
                  <a:gd name="T90" fmla="*/ 16 w 61"/>
                  <a:gd name="T91" fmla="*/ 2 h 128"/>
                  <a:gd name="T92" fmla="*/ 21 w 61"/>
                  <a:gd name="T93" fmla="*/ 1 h 128"/>
                  <a:gd name="T94" fmla="*/ 23 w 61"/>
                  <a:gd name="T95" fmla="*/ 1 h 128"/>
                  <a:gd name="T96" fmla="*/ 27 w 61"/>
                  <a:gd name="T97" fmla="*/ 3 h 128"/>
                  <a:gd name="T98" fmla="*/ 35 w 61"/>
                  <a:gd name="T99" fmla="*/ 11 h 128"/>
                  <a:gd name="T100" fmla="*/ 38 w 61"/>
                  <a:gd name="T101" fmla="*/ 14 h 128"/>
                  <a:gd name="T102" fmla="*/ 42 w 61"/>
                  <a:gd name="T103" fmla="*/ 19 h 128"/>
                  <a:gd name="T104" fmla="*/ 46 w 61"/>
                  <a:gd name="T105" fmla="*/ 29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1" h="128">
                    <a:moveTo>
                      <a:pt x="46" y="30"/>
                    </a:moveTo>
                    <a:cubicBezTo>
                      <a:pt x="46" y="31"/>
                      <a:pt x="46" y="31"/>
                      <a:pt x="45" y="32"/>
                    </a:cubicBezTo>
                    <a:cubicBezTo>
                      <a:pt x="44" y="35"/>
                      <a:pt x="44" y="36"/>
                      <a:pt x="44" y="38"/>
                    </a:cubicBezTo>
                    <a:cubicBezTo>
                      <a:pt x="44" y="40"/>
                      <a:pt x="44" y="40"/>
                      <a:pt x="44" y="41"/>
                    </a:cubicBezTo>
                    <a:cubicBezTo>
                      <a:pt x="44" y="42"/>
                      <a:pt x="43" y="43"/>
                      <a:pt x="43" y="43"/>
                    </a:cubicBezTo>
                    <a:cubicBezTo>
                      <a:pt x="43" y="44"/>
                      <a:pt x="43" y="45"/>
                      <a:pt x="43" y="46"/>
                    </a:cubicBezTo>
                    <a:cubicBezTo>
                      <a:pt x="43" y="47"/>
                      <a:pt x="43" y="47"/>
                      <a:pt x="43" y="48"/>
                    </a:cubicBezTo>
                    <a:cubicBezTo>
                      <a:pt x="43" y="50"/>
                      <a:pt x="42" y="52"/>
                      <a:pt x="42" y="54"/>
                    </a:cubicBezTo>
                    <a:cubicBezTo>
                      <a:pt x="42" y="55"/>
                      <a:pt x="42" y="56"/>
                      <a:pt x="43" y="57"/>
                    </a:cubicBezTo>
                    <a:cubicBezTo>
                      <a:pt x="43" y="59"/>
                      <a:pt x="43" y="60"/>
                      <a:pt x="43" y="61"/>
                    </a:cubicBezTo>
                    <a:cubicBezTo>
                      <a:pt x="43" y="62"/>
                      <a:pt x="44" y="62"/>
                      <a:pt x="44" y="64"/>
                    </a:cubicBezTo>
                    <a:cubicBezTo>
                      <a:pt x="44" y="66"/>
                      <a:pt x="44" y="67"/>
                      <a:pt x="45" y="69"/>
                    </a:cubicBezTo>
                    <a:cubicBezTo>
                      <a:pt x="45" y="70"/>
                      <a:pt x="45" y="71"/>
                      <a:pt x="45" y="72"/>
                    </a:cubicBezTo>
                    <a:cubicBezTo>
                      <a:pt x="45" y="73"/>
                      <a:pt x="46" y="74"/>
                      <a:pt x="46" y="75"/>
                    </a:cubicBezTo>
                    <a:cubicBezTo>
                      <a:pt x="47" y="76"/>
                      <a:pt x="48" y="77"/>
                      <a:pt x="49" y="78"/>
                    </a:cubicBezTo>
                    <a:cubicBezTo>
                      <a:pt x="49" y="78"/>
                      <a:pt x="50" y="78"/>
                      <a:pt x="50" y="79"/>
                    </a:cubicBezTo>
                    <a:cubicBezTo>
                      <a:pt x="51" y="80"/>
                      <a:pt x="52" y="80"/>
                      <a:pt x="53" y="81"/>
                    </a:cubicBezTo>
                    <a:cubicBezTo>
                      <a:pt x="54" y="82"/>
                      <a:pt x="55" y="83"/>
                      <a:pt x="56" y="83"/>
                    </a:cubicBezTo>
                    <a:cubicBezTo>
                      <a:pt x="58" y="83"/>
                      <a:pt x="59" y="83"/>
                      <a:pt x="61" y="83"/>
                    </a:cubicBezTo>
                    <a:cubicBezTo>
                      <a:pt x="61" y="84"/>
                      <a:pt x="61" y="84"/>
                      <a:pt x="61" y="85"/>
                    </a:cubicBezTo>
                    <a:cubicBezTo>
                      <a:pt x="61" y="86"/>
                      <a:pt x="61" y="87"/>
                      <a:pt x="61" y="88"/>
                    </a:cubicBezTo>
                    <a:cubicBezTo>
                      <a:pt x="61" y="89"/>
                      <a:pt x="61" y="90"/>
                      <a:pt x="61" y="92"/>
                    </a:cubicBezTo>
                    <a:cubicBezTo>
                      <a:pt x="61" y="93"/>
                      <a:pt x="60" y="93"/>
                      <a:pt x="60" y="94"/>
                    </a:cubicBezTo>
                    <a:cubicBezTo>
                      <a:pt x="60" y="95"/>
                      <a:pt x="60" y="95"/>
                      <a:pt x="60" y="96"/>
                    </a:cubicBezTo>
                    <a:cubicBezTo>
                      <a:pt x="60" y="98"/>
                      <a:pt x="59" y="99"/>
                      <a:pt x="58" y="100"/>
                    </a:cubicBezTo>
                    <a:cubicBezTo>
                      <a:pt x="56" y="100"/>
                      <a:pt x="56" y="101"/>
                      <a:pt x="55" y="102"/>
                    </a:cubicBezTo>
                    <a:cubicBezTo>
                      <a:pt x="54" y="102"/>
                      <a:pt x="54" y="102"/>
                      <a:pt x="53" y="103"/>
                    </a:cubicBezTo>
                    <a:cubicBezTo>
                      <a:pt x="52" y="104"/>
                      <a:pt x="52" y="105"/>
                      <a:pt x="52" y="107"/>
                    </a:cubicBezTo>
                    <a:cubicBezTo>
                      <a:pt x="51" y="108"/>
                      <a:pt x="50" y="109"/>
                      <a:pt x="50" y="110"/>
                    </a:cubicBezTo>
                    <a:cubicBezTo>
                      <a:pt x="49" y="111"/>
                      <a:pt x="49" y="112"/>
                      <a:pt x="48" y="112"/>
                    </a:cubicBezTo>
                    <a:cubicBezTo>
                      <a:pt x="48" y="113"/>
                      <a:pt x="47" y="113"/>
                      <a:pt x="46" y="114"/>
                    </a:cubicBezTo>
                    <a:cubicBezTo>
                      <a:pt x="45" y="114"/>
                      <a:pt x="44" y="114"/>
                      <a:pt x="43" y="114"/>
                    </a:cubicBezTo>
                    <a:cubicBezTo>
                      <a:pt x="42" y="114"/>
                      <a:pt x="41" y="115"/>
                      <a:pt x="40" y="115"/>
                    </a:cubicBezTo>
                    <a:cubicBezTo>
                      <a:pt x="39" y="115"/>
                      <a:pt x="38" y="115"/>
                      <a:pt x="37" y="116"/>
                    </a:cubicBezTo>
                    <a:cubicBezTo>
                      <a:pt x="38" y="116"/>
                      <a:pt x="38" y="116"/>
                      <a:pt x="38" y="117"/>
                    </a:cubicBezTo>
                    <a:cubicBezTo>
                      <a:pt x="39" y="118"/>
                      <a:pt x="39" y="119"/>
                      <a:pt x="39" y="120"/>
                    </a:cubicBezTo>
                    <a:cubicBezTo>
                      <a:pt x="39" y="121"/>
                      <a:pt x="39" y="122"/>
                      <a:pt x="38" y="122"/>
                    </a:cubicBezTo>
                    <a:cubicBezTo>
                      <a:pt x="38" y="123"/>
                      <a:pt x="37" y="124"/>
                      <a:pt x="37" y="125"/>
                    </a:cubicBezTo>
                    <a:cubicBezTo>
                      <a:pt x="36" y="126"/>
                      <a:pt x="36" y="128"/>
                      <a:pt x="35" y="128"/>
                    </a:cubicBezTo>
                    <a:cubicBezTo>
                      <a:pt x="33" y="128"/>
                      <a:pt x="33" y="128"/>
                      <a:pt x="32" y="127"/>
                    </a:cubicBezTo>
                    <a:cubicBezTo>
                      <a:pt x="31" y="127"/>
                      <a:pt x="30" y="127"/>
                      <a:pt x="29" y="127"/>
                    </a:cubicBezTo>
                    <a:cubicBezTo>
                      <a:pt x="28" y="127"/>
                      <a:pt x="26" y="127"/>
                      <a:pt x="25" y="128"/>
                    </a:cubicBezTo>
                    <a:cubicBezTo>
                      <a:pt x="24" y="127"/>
                      <a:pt x="24" y="127"/>
                      <a:pt x="24" y="127"/>
                    </a:cubicBezTo>
                    <a:cubicBezTo>
                      <a:pt x="24" y="126"/>
                      <a:pt x="25" y="126"/>
                      <a:pt x="25" y="125"/>
                    </a:cubicBezTo>
                    <a:cubicBezTo>
                      <a:pt x="25" y="123"/>
                      <a:pt x="25" y="123"/>
                      <a:pt x="25" y="121"/>
                    </a:cubicBezTo>
                    <a:cubicBezTo>
                      <a:pt x="24" y="121"/>
                      <a:pt x="23" y="121"/>
                      <a:pt x="22" y="121"/>
                    </a:cubicBezTo>
                    <a:cubicBezTo>
                      <a:pt x="21" y="121"/>
                      <a:pt x="21" y="120"/>
                      <a:pt x="20" y="119"/>
                    </a:cubicBezTo>
                    <a:cubicBezTo>
                      <a:pt x="19" y="118"/>
                      <a:pt x="19" y="117"/>
                      <a:pt x="17" y="116"/>
                    </a:cubicBezTo>
                    <a:cubicBezTo>
                      <a:pt x="16" y="115"/>
                      <a:pt x="15" y="115"/>
                      <a:pt x="13" y="114"/>
                    </a:cubicBezTo>
                    <a:cubicBezTo>
                      <a:pt x="11" y="113"/>
                      <a:pt x="10" y="112"/>
                      <a:pt x="8" y="111"/>
                    </a:cubicBezTo>
                    <a:cubicBezTo>
                      <a:pt x="4" y="108"/>
                      <a:pt x="4" y="104"/>
                      <a:pt x="0" y="102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2" y="102"/>
                      <a:pt x="3" y="103"/>
                      <a:pt x="5" y="103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6" y="104"/>
                      <a:pt x="6" y="104"/>
                      <a:pt x="7" y="104"/>
                    </a:cubicBezTo>
                    <a:cubicBezTo>
                      <a:pt x="6" y="103"/>
                      <a:pt x="6" y="102"/>
                      <a:pt x="6" y="100"/>
                    </a:cubicBezTo>
                    <a:cubicBezTo>
                      <a:pt x="5" y="99"/>
                      <a:pt x="5" y="98"/>
                      <a:pt x="4" y="98"/>
                    </a:cubicBezTo>
                    <a:cubicBezTo>
                      <a:pt x="2" y="97"/>
                      <a:pt x="0" y="96"/>
                      <a:pt x="0" y="94"/>
                    </a:cubicBezTo>
                    <a:cubicBezTo>
                      <a:pt x="0" y="92"/>
                      <a:pt x="2" y="91"/>
                      <a:pt x="2" y="89"/>
                    </a:cubicBezTo>
                    <a:cubicBezTo>
                      <a:pt x="2" y="88"/>
                      <a:pt x="1" y="88"/>
                      <a:pt x="1" y="87"/>
                    </a:cubicBezTo>
                    <a:cubicBezTo>
                      <a:pt x="1" y="85"/>
                      <a:pt x="5" y="86"/>
                      <a:pt x="6" y="84"/>
                    </a:cubicBezTo>
                    <a:cubicBezTo>
                      <a:pt x="6" y="83"/>
                      <a:pt x="7" y="82"/>
                      <a:pt x="8" y="81"/>
                    </a:cubicBezTo>
                    <a:cubicBezTo>
                      <a:pt x="8" y="80"/>
                      <a:pt x="9" y="80"/>
                      <a:pt x="9" y="79"/>
                    </a:cubicBezTo>
                    <a:cubicBezTo>
                      <a:pt x="9" y="78"/>
                      <a:pt x="8" y="78"/>
                      <a:pt x="8" y="77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8" y="73"/>
                      <a:pt x="5" y="74"/>
                      <a:pt x="5" y="72"/>
                    </a:cubicBezTo>
                    <a:cubicBezTo>
                      <a:pt x="5" y="70"/>
                      <a:pt x="6" y="68"/>
                      <a:pt x="7" y="67"/>
                    </a:cubicBezTo>
                    <a:cubicBezTo>
                      <a:pt x="8" y="66"/>
                      <a:pt x="9" y="66"/>
                      <a:pt x="9" y="65"/>
                    </a:cubicBezTo>
                    <a:cubicBezTo>
                      <a:pt x="9" y="64"/>
                      <a:pt x="8" y="63"/>
                      <a:pt x="7" y="63"/>
                    </a:cubicBezTo>
                    <a:cubicBezTo>
                      <a:pt x="7" y="62"/>
                      <a:pt x="6" y="62"/>
                      <a:pt x="6" y="61"/>
                    </a:cubicBezTo>
                    <a:cubicBezTo>
                      <a:pt x="6" y="59"/>
                      <a:pt x="7" y="57"/>
                      <a:pt x="8" y="56"/>
                    </a:cubicBezTo>
                    <a:cubicBezTo>
                      <a:pt x="8" y="55"/>
                      <a:pt x="9" y="55"/>
                      <a:pt x="9" y="54"/>
                    </a:cubicBezTo>
                    <a:cubicBezTo>
                      <a:pt x="9" y="54"/>
                      <a:pt x="10" y="54"/>
                      <a:pt x="10" y="54"/>
                    </a:cubicBezTo>
                    <a:cubicBezTo>
                      <a:pt x="10" y="52"/>
                      <a:pt x="7" y="52"/>
                      <a:pt x="7" y="51"/>
                    </a:cubicBezTo>
                    <a:cubicBezTo>
                      <a:pt x="7" y="49"/>
                      <a:pt x="10" y="50"/>
                      <a:pt x="12" y="48"/>
                    </a:cubicBezTo>
                    <a:cubicBezTo>
                      <a:pt x="12" y="48"/>
                      <a:pt x="12" y="48"/>
                      <a:pt x="12" y="47"/>
                    </a:cubicBezTo>
                    <a:cubicBezTo>
                      <a:pt x="12" y="44"/>
                      <a:pt x="11" y="42"/>
                      <a:pt x="11" y="40"/>
                    </a:cubicBezTo>
                    <a:cubicBezTo>
                      <a:pt x="10" y="38"/>
                      <a:pt x="10" y="37"/>
                      <a:pt x="8" y="36"/>
                    </a:cubicBezTo>
                    <a:cubicBezTo>
                      <a:pt x="7" y="36"/>
                      <a:pt x="7" y="37"/>
                      <a:pt x="6" y="36"/>
                    </a:cubicBezTo>
                    <a:cubicBezTo>
                      <a:pt x="5" y="35"/>
                      <a:pt x="4" y="35"/>
                      <a:pt x="3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0"/>
                      <a:pt x="3" y="29"/>
                      <a:pt x="3" y="28"/>
                    </a:cubicBezTo>
                    <a:cubicBezTo>
                      <a:pt x="3" y="26"/>
                      <a:pt x="3" y="24"/>
                      <a:pt x="4" y="22"/>
                    </a:cubicBezTo>
                    <a:cubicBezTo>
                      <a:pt x="4" y="21"/>
                      <a:pt x="5" y="20"/>
                      <a:pt x="5" y="19"/>
                    </a:cubicBezTo>
                    <a:cubicBezTo>
                      <a:pt x="5" y="17"/>
                      <a:pt x="5" y="16"/>
                      <a:pt x="5" y="14"/>
                    </a:cubicBezTo>
                    <a:cubicBezTo>
                      <a:pt x="6" y="13"/>
                      <a:pt x="6" y="13"/>
                      <a:pt x="6" y="12"/>
                    </a:cubicBezTo>
                    <a:cubicBezTo>
                      <a:pt x="6" y="11"/>
                      <a:pt x="6" y="11"/>
                      <a:pt x="7" y="10"/>
                    </a:cubicBezTo>
                    <a:cubicBezTo>
                      <a:pt x="7" y="7"/>
                      <a:pt x="8" y="6"/>
                      <a:pt x="10" y="4"/>
                    </a:cubicBezTo>
                    <a:cubicBezTo>
                      <a:pt x="10" y="3"/>
                      <a:pt x="10" y="3"/>
                      <a:pt x="11" y="3"/>
                    </a:cubicBezTo>
                    <a:cubicBezTo>
                      <a:pt x="11" y="2"/>
                      <a:pt x="11" y="1"/>
                      <a:pt x="12" y="0"/>
                    </a:cubicBezTo>
                    <a:cubicBezTo>
                      <a:pt x="13" y="1"/>
                      <a:pt x="14" y="1"/>
                      <a:pt x="16" y="2"/>
                    </a:cubicBezTo>
                    <a:cubicBezTo>
                      <a:pt x="17" y="2"/>
                      <a:pt x="17" y="3"/>
                      <a:pt x="18" y="3"/>
                    </a:cubicBezTo>
                    <a:cubicBezTo>
                      <a:pt x="19" y="3"/>
                      <a:pt x="20" y="2"/>
                      <a:pt x="21" y="1"/>
                    </a:cubicBezTo>
                    <a:cubicBezTo>
                      <a:pt x="21" y="1"/>
                      <a:pt x="22" y="0"/>
                      <a:pt x="22" y="0"/>
                    </a:cubicBezTo>
                    <a:cubicBezTo>
                      <a:pt x="22" y="0"/>
                      <a:pt x="22" y="1"/>
                      <a:pt x="23" y="1"/>
                    </a:cubicBezTo>
                    <a:cubicBezTo>
                      <a:pt x="24" y="1"/>
                      <a:pt x="24" y="2"/>
                      <a:pt x="25" y="2"/>
                    </a:cubicBezTo>
                    <a:cubicBezTo>
                      <a:pt x="26" y="3"/>
                      <a:pt x="26" y="3"/>
                      <a:pt x="27" y="3"/>
                    </a:cubicBezTo>
                    <a:cubicBezTo>
                      <a:pt x="29" y="4"/>
                      <a:pt x="30" y="5"/>
                      <a:pt x="31" y="6"/>
                    </a:cubicBezTo>
                    <a:cubicBezTo>
                      <a:pt x="32" y="8"/>
                      <a:pt x="33" y="9"/>
                      <a:pt x="35" y="11"/>
                    </a:cubicBezTo>
                    <a:cubicBezTo>
                      <a:pt x="35" y="11"/>
                      <a:pt x="36" y="12"/>
                      <a:pt x="36" y="13"/>
                    </a:cubicBezTo>
                    <a:cubicBezTo>
                      <a:pt x="37" y="13"/>
                      <a:pt x="37" y="13"/>
                      <a:pt x="38" y="14"/>
                    </a:cubicBezTo>
                    <a:cubicBezTo>
                      <a:pt x="39" y="15"/>
                      <a:pt x="39" y="15"/>
                      <a:pt x="40" y="16"/>
                    </a:cubicBezTo>
                    <a:cubicBezTo>
                      <a:pt x="41" y="17"/>
                      <a:pt x="41" y="17"/>
                      <a:pt x="42" y="19"/>
                    </a:cubicBezTo>
                    <a:cubicBezTo>
                      <a:pt x="43" y="20"/>
                      <a:pt x="44" y="21"/>
                      <a:pt x="45" y="22"/>
                    </a:cubicBezTo>
                    <a:cubicBezTo>
                      <a:pt x="46" y="25"/>
                      <a:pt x="45" y="26"/>
                      <a:pt x="46" y="29"/>
                    </a:cubicBezTo>
                    <a:cubicBezTo>
                      <a:pt x="46" y="29"/>
                      <a:pt x="46" y="29"/>
                      <a:pt x="46" y="30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99" name="Freeform 127">
                <a:extLst>
                  <a:ext uri="{FF2B5EF4-FFF2-40B4-BE49-F238E27FC236}">
                    <a16:creationId xmlns:a16="http://schemas.microsoft.com/office/drawing/2014/main" xmlns="" id="{ADB42FE6-E55F-4CAE-A786-79F9E06195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864" y="3251366"/>
                <a:ext cx="302909" cy="298159"/>
              </a:xfrm>
              <a:custGeom>
                <a:avLst/>
                <a:gdLst>
                  <a:gd name="T0" fmla="*/ 73 w 120"/>
                  <a:gd name="T1" fmla="*/ 115 h 118"/>
                  <a:gd name="T2" fmla="*/ 63 w 120"/>
                  <a:gd name="T3" fmla="*/ 99 h 118"/>
                  <a:gd name="T4" fmla="*/ 56 w 120"/>
                  <a:gd name="T5" fmla="*/ 91 h 118"/>
                  <a:gd name="T6" fmla="*/ 50 w 120"/>
                  <a:gd name="T7" fmla="*/ 86 h 118"/>
                  <a:gd name="T8" fmla="*/ 42 w 120"/>
                  <a:gd name="T9" fmla="*/ 78 h 118"/>
                  <a:gd name="T10" fmla="*/ 36 w 120"/>
                  <a:gd name="T11" fmla="*/ 70 h 118"/>
                  <a:gd name="T12" fmla="*/ 30 w 120"/>
                  <a:gd name="T13" fmla="*/ 65 h 118"/>
                  <a:gd name="T14" fmla="*/ 20 w 120"/>
                  <a:gd name="T15" fmla="*/ 58 h 118"/>
                  <a:gd name="T16" fmla="*/ 10 w 120"/>
                  <a:gd name="T17" fmla="*/ 41 h 118"/>
                  <a:gd name="T18" fmla="*/ 10 w 120"/>
                  <a:gd name="T19" fmla="*/ 27 h 118"/>
                  <a:gd name="T20" fmla="*/ 0 w 120"/>
                  <a:gd name="T21" fmla="*/ 18 h 118"/>
                  <a:gd name="T22" fmla="*/ 5 w 120"/>
                  <a:gd name="T23" fmla="*/ 0 h 118"/>
                  <a:gd name="T24" fmla="*/ 18 w 120"/>
                  <a:gd name="T25" fmla="*/ 9 h 118"/>
                  <a:gd name="T26" fmla="*/ 26 w 120"/>
                  <a:gd name="T27" fmla="*/ 8 h 118"/>
                  <a:gd name="T28" fmla="*/ 38 w 120"/>
                  <a:gd name="T29" fmla="*/ 1 h 118"/>
                  <a:gd name="T30" fmla="*/ 42 w 120"/>
                  <a:gd name="T31" fmla="*/ 2 h 118"/>
                  <a:gd name="T32" fmla="*/ 56 w 120"/>
                  <a:gd name="T33" fmla="*/ 4 h 118"/>
                  <a:gd name="T34" fmla="*/ 65 w 120"/>
                  <a:gd name="T35" fmla="*/ 5 h 118"/>
                  <a:gd name="T36" fmla="*/ 75 w 120"/>
                  <a:gd name="T37" fmla="*/ 6 h 118"/>
                  <a:gd name="T38" fmla="*/ 87 w 120"/>
                  <a:gd name="T39" fmla="*/ 6 h 118"/>
                  <a:gd name="T40" fmla="*/ 98 w 120"/>
                  <a:gd name="T41" fmla="*/ 13 h 118"/>
                  <a:gd name="T42" fmla="*/ 101 w 120"/>
                  <a:gd name="T43" fmla="*/ 17 h 118"/>
                  <a:gd name="T44" fmla="*/ 112 w 120"/>
                  <a:gd name="T45" fmla="*/ 16 h 118"/>
                  <a:gd name="T46" fmla="*/ 111 w 120"/>
                  <a:gd name="T47" fmla="*/ 29 h 118"/>
                  <a:gd name="T48" fmla="*/ 107 w 120"/>
                  <a:gd name="T49" fmla="*/ 39 h 118"/>
                  <a:gd name="T50" fmla="*/ 110 w 120"/>
                  <a:gd name="T51" fmla="*/ 42 h 118"/>
                  <a:gd name="T52" fmla="*/ 120 w 120"/>
                  <a:gd name="T53" fmla="*/ 54 h 118"/>
                  <a:gd name="T54" fmla="*/ 111 w 120"/>
                  <a:gd name="T55" fmla="*/ 59 h 118"/>
                  <a:gd name="T56" fmla="*/ 117 w 120"/>
                  <a:gd name="T57" fmla="*/ 67 h 118"/>
                  <a:gd name="T58" fmla="*/ 116 w 120"/>
                  <a:gd name="T59" fmla="*/ 70 h 118"/>
                  <a:gd name="T60" fmla="*/ 106 w 120"/>
                  <a:gd name="T61" fmla="*/ 73 h 118"/>
                  <a:gd name="T62" fmla="*/ 102 w 120"/>
                  <a:gd name="T63" fmla="*/ 73 h 118"/>
                  <a:gd name="T64" fmla="*/ 100 w 120"/>
                  <a:gd name="T65" fmla="*/ 74 h 118"/>
                  <a:gd name="T66" fmla="*/ 101 w 120"/>
                  <a:gd name="T67" fmla="*/ 77 h 118"/>
                  <a:gd name="T68" fmla="*/ 95 w 120"/>
                  <a:gd name="T69" fmla="*/ 85 h 118"/>
                  <a:gd name="T70" fmla="*/ 92 w 120"/>
                  <a:gd name="T71" fmla="*/ 86 h 118"/>
                  <a:gd name="T72" fmla="*/ 90 w 120"/>
                  <a:gd name="T73" fmla="*/ 93 h 118"/>
                  <a:gd name="T74" fmla="*/ 87 w 120"/>
                  <a:gd name="T75" fmla="*/ 96 h 118"/>
                  <a:gd name="T76" fmla="*/ 85 w 120"/>
                  <a:gd name="T77" fmla="*/ 104 h 118"/>
                  <a:gd name="T78" fmla="*/ 84 w 120"/>
                  <a:gd name="T79" fmla="*/ 108 h 118"/>
                  <a:gd name="T80" fmla="*/ 82 w 120"/>
                  <a:gd name="T81" fmla="*/ 116 h 118"/>
                  <a:gd name="T82" fmla="*/ 80 w 120"/>
                  <a:gd name="T83" fmla="*/ 118 h 118"/>
                  <a:gd name="T84" fmla="*/ 79 w 120"/>
                  <a:gd name="T85" fmla="*/ 118 h 118"/>
                  <a:gd name="T86" fmla="*/ 78 w 120"/>
                  <a:gd name="T87" fmla="*/ 117 h 118"/>
                  <a:gd name="T88" fmla="*/ 78 w 120"/>
                  <a:gd name="T89" fmla="*/ 117 h 118"/>
                  <a:gd name="T90" fmla="*/ 76 w 120"/>
                  <a:gd name="T91" fmla="*/ 116 h 118"/>
                  <a:gd name="T92" fmla="*/ 76 w 120"/>
                  <a:gd name="T93" fmla="*/ 116 h 118"/>
                  <a:gd name="T94" fmla="*/ 74 w 120"/>
                  <a:gd name="T95" fmla="*/ 115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0" h="118">
                    <a:moveTo>
                      <a:pt x="74" y="115"/>
                    </a:moveTo>
                    <a:cubicBezTo>
                      <a:pt x="74" y="115"/>
                      <a:pt x="74" y="115"/>
                      <a:pt x="73" y="115"/>
                    </a:cubicBezTo>
                    <a:cubicBezTo>
                      <a:pt x="73" y="115"/>
                      <a:pt x="73" y="114"/>
                      <a:pt x="73" y="114"/>
                    </a:cubicBezTo>
                    <a:cubicBezTo>
                      <a:pt x="72" y="107"/>
                      <a:pt x="69" y="103"/>
                      <a:pt x="63" y="99"/>
                    </a:cubicBezTo>
                    <a:cubicBezTo>
                      <a:pt x="61" y="97"/>
                      <a:pt x="60" y="96"/>
                      <a:pt x="58" y="94"/>
                    </a:cubicBezTo>
                    <a:cubicBezTo>
                      <a:pt x="57" y="93"/>
                      <a:pt x="57" y="92"/>
                      <a:pt x="56" y="91"/>
                    </a:cubicBezTo>
                    <a:cubicBezTo>
                      <a:pt x="55" y="91"/>
                      <a:pt x="54" y="91"/>
                      <a:pt x="53" y="90"/>
                    </a:cubicBezTo>
                    <a:cubicBezTo>
                      <a:pt x="52" y="89"/>
                      <a:pt x="52" y="88"/>
                      <a:pt x="50" y="86"/>
                    </a:cubicBezTo>
                    <a:cubicBezTo>
                      <a:pt x="49" y="85"/>
                      <a:pt x="47" y="84"/>
                      <a:pt x="46" y="82"/>
                    </a:cubicBezTo>
                    <a:cubicBezTo>
                      <a:pt x="45" y="80"/>
                      <a:pt x="44" y="79"/>
                      <a:pt x="42" y="78"/>
                    </a:cubicBezTo>
                    <a:cubicBezTo>
                      <a:pt x="41" y="77"/>
                      <a:pt x="41" y="76"/>
                      <a:pt x="40" y="75"/>
                    </a:cubicBezTo>
                    <a:cubicBezTo>
                      <a:pt x="38" y="73"/>
                      <a:pt x="37" y="72"/>
                      <a:pt x="36" y="70"/>
                    </a:cubicBezTo>
                    <a:cubicBezTo>
                      <a:pt x="34" y="69"/>
                      <a:pt x="33" y="69"/>
                      <a:pt x="32" y="67"/>
                    </a:cubicBezTo>
                    <a:cubicBezTo>
                      <a:pt x="31" y="67"/>
                      <a:pt x="31" y="66"/>
                      <a:pt x="30" y="65"/>
                    </a:cubicBezTo>
                    <a:cubicBezTo>
                      <a:pt x="29" y="65"/>
                      <a:pt x="28" y="64"/>
                      <a:pt x="27" y="63"/>
                    </a:cubicBezTo>
                    <a:cubicBezTo>
                      <a:pt x="24" y="61"/>
                      <a:pt x="23" y="60"/>
                      <a:pt x="20" y="58"/>
                    </a:cubicBezTo>
                    <a:cubicBezTo>
                      <a:pt x="17" y="54"/>
                      <a:pt x="15" y="52"/>
                      <a:pt x="13" y="48"/>
                    </a:cubicBezTo>
                    <a:cubicBezTo>
                      <a:pt x="11" y="46"/>
                      <a:pt x="11" y="44"/>
                      <a:pt x="10" y="41"/>
                    </a:cubicBezTo>
                    <a:cubicBezTo>
                      <a:pt x="9" y="39"/>
                      <a:pt x="8" y="38"/>
                      <a:pt x="8" y="36"/>
                    </a:cubicBezTo>
                    <a:cubicBezTo>
                      <a:pt x="8" y="33"/>
                      <a:pt x="10" y="31"/>
                      <a:pt x="10" y="27"/>
                    </a:cubicBezTo>
                    <a:cubicBezTo>
                      <a:pt x="10" y="25"/>
                      <a:pt x="8" y="23"/>
                      <a:pt x="6" y="21"/>
                    </a:cubicBezTo>
                    <a:cubicBezTo>
                      <a:pt x="3" y="20"/>
                      <a:pt x="2" y="19"/>
                      <a:pt x="0" y="18"/>
                    </a:cubicBezTo>
                    <a:cubicBezTo>
                      <a:pt x="0" y="15"/>
                      <a:pt x="1" y="12"/>
                      <a:pt x="2" y="9"/>
                    </a:cubicBezTo>
                    <a:cubicBezTo>
                      <a:pt x="3" y="5"/>
                      <a:pt x="4" y="4"/>
                      <a:pt x="5" y="0"/>
                    </a:cubicBezTo>
                    <a:cubicBezTo>
                      <a:pt x="9" y="1"/>
                      <a:pt x="10" y="3"/>
                      <a:pt x="13" y="5"/>
                    </a:cubicBezTo>
                    <a:cubicBezTo>
                      <a:pt x="15" y="6"/>
                      <a:pt x="16" y="7"/>
                      <a:pt x="18" y="9"/>
                    </a:cubicBezTo>
                    <a:cubicBezTo>
                      <a:pt x="19" y="10"/>
                      <a:pt x="20" y="11"/>
                      <a:pt x="22" y="11"/>
                    </a:cubicBezTo>
                    <a:cubicBezTo>
                      <a:pt x="24" y="11"/>
                      <a:pt x="24" y="9"/>
                      <a:pt x="26" y="8"/>
                    </a:cubicBezTo>
                    <a:cubicBezTo>
                      <a:pt x="27" y="7"/>
                      <a:pt x="28" y="6"/>
                      <a:pt x="29" y="5"/>
                    </a:cubicBezTo>
                    <a:cubicBezTo>
                      <a:pt x="32" y="3"/>
                      <a:pt x="34" y="1"/>
                      <a:pt x="38" y="1"/>
                    </a:cubicBezTo>
                    <a:cubicBezTo>
                      <a:pt x="39" y="1"/>
                      <a:pt x="40" y="1"/>
                      <a:pt x="41" y="2"/>
                    </a:cubicBezTo>
                    <a:cubicBezTo>
                      <a:pt x="41" y="2"/>
                      <a:pt x="42" y="2"/>
                      <a:pt x="42" y="2"/>
                    </a:cubicBezTo>
                    <a:cubicBezTo>
                      <a:pt x="44" y="2"/>
                      <a:pt x="46" y="2"/>
                      <a:pt x="48" y="2"/>
                    </a:cubicBezTo>
                    <a:cubicBezTo>
                      <a:pt x="51" y="2"/>
                      <a:pt x="53" y="4"/>
                      <a:pt x="56" y="4"/>
                    </a:cubicBezTo>
                    <a:cubicBezTo>
                      <a:pt x="58" y="4"/>
                      <a:pt x="59" y="3"/>
                      <a:pt x="60" y="3"/>
                    </a:cubicBezTo>
                    <a:cubicBezTo>
                      <a:pt x="62" y="3"/>
                      <a:pt x="63" y="5"/>
                      <a:pt x="65" y="5"/>
                    </a:cubicBezTo>
                    <a:cubicBezTo>
                      <a:pt x="67" y="6"/>
                      <a:pt x="69" y="7"/>
                      <a:pt x="71" y="7"/>
                    </a:cubicBezTo>
                    <a:cubicBezTo>
                      <a:pt x="73" y="7"/>
                      <a:pt x="74" y="6"/>
                      <a:pt x="75" y="6"/>
                    </a:cubicBezTo>
                    <a:cubicBezTo>
                      <a:pt x="77" y="6"/>
                      <a:pt x="78" y="7"/>
                      <a:pt x="80" y="7"/>
                    </a:cubicBezTo>
                    <a:cubicBezTo>
                      <a:pt x="83" y="7"/>
                      <a:pt x="85" y="6"/>
                      <a:pt x="87" y="6"/>
                    </a:cubicBezTo>
                    <a:cubicBezTo>
                      <a:pt x="90" y="6"/>
                      <a:pt x="92" y="7"/>
                      <a:pt x="94" y="6"/>
                    </a:cubicBezTo>
                    <a:cubicBezTo>
                      <a:pt x="96" y="8"/>
                      <a:pt x="97" y="10"/>
                      <a:pt x="98" y="13"/>
                    </a:cubicBezTo>
                    <a:cubicBezTo>
                      <a:pt x="98" y="14"/>
                      <a:pt x="98" y="15"/>
                      <a:pt x="99" y="17"/>
                    </a:cubicBezTo>
                    <a:cubicBezTo>
                      <a:pt x="99" y="18"/>
                      <a:pt x="100" y="17"/>
                      <a:pt x="101" y="17"/>
                    </a:cubicBezTo>
                    <a:cubicBezTo>
                      <a:pt x="103" y="17"/>
                      <a:pt x="103" y="17"/>
                      <a:pt x="105" y="17"/>
                    </a:cubicBezTo>
                    <a:cubicBezTo>
                      <a:pt x="108" y="16"/>
                      <a:pt x="109" y="17"/>
                      <a:pt x="112" y="16"/>
                    </a:cubicBezTo>
                    <a:cubicBezTo>
                      <a:pt x="112" y="17"/>
                      <a:pt x="112" y="18"/>
                      <a:pt x="112" y="19"/>
                    </a:cubicBezTo>
                    <a:cubicBezTo>
                      <a:pt x="112" y="23"/>
                      <a:pt x="112" y="25"/>
                      <a:pt x="111" y="29"/>
                    </a:cubicBezTo>
                    <a:cubicBezTo>
                      <a:pt x="110" y="32"/>
                      <a:pt x="109" y="34"/>
                      <a:pt x="108" y="37"/>
                    </a:cubicBezTo>
                    <a:cubicBezTo>
                      <a:pt x="107" y="38"/>
                      <a:pt x="107" y="38"/>
                      <a:pt x="107" y="39"/>
                    </a:cubicBezTo>
                    <a:cubicBezTo>
                      <a:pt x="107" y="40"/>
                      <a:pt x="107" y="40"/>
                      <a:pt x="107" y="40"/>
                    </a:cubicBezTo>
                    <a:cubicBezTo>
                      <a:pt x="108" y="41"/>
                      <a:pt x="109" y="42"/>
                      <a:pt x="110" y="42"/>
                    </a:cubicBezTo>
                    <a:cubicBezTo>
                      <a:pt x="112" y="44"/>
                      <a:pt x="113" y="45"/>
                      <a:pt x="114" y="46"/>
                    </a:cubicBezTo>
                    <a:cubicBezTo>
                      <a:pt x="117" y="49"/>
                      <a:pt x="118" y="51"/>
                      <a:pt x="120" y="54"/>
                    </a:cubicBezTo>
                    <a:cubicBezTo>
                      <a:pt x="117" y="56"/>
                      <a:pt x="114" y="56"/>
                      <a:pt x="111" y="58"/>
                    </a:cubicBezTo>
                    <a:cubicBezTo>
                      <a:pt x="111" y="58"/>
                      <a:pt x="111" y="59"/>
                      <a:pt x="111" y="59"/>
                    </a:cubicBezTo>
                    <a:cubicBezTo>
                      <a:pt x="112" y="60"/>
                      <a:pt x="113" y="61"/>
                      <a:pt x="114" y="62"/>
                    </a:cubicBezTo>
                    <a:cubicBezTo>
                      <a:pt x="116" y="64"/>
                      <a:pt x="117" y="65"/>
                      <a:pt x="117" y="67"/>
                    </a:cubicBezTo>
                    <a:cubicBezTo>
                      <a:pt x="117" y="68"/>
                      <a:pt x="117" y="69"/>
                      <a:pt x="117" y="69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4" y="72"/>
                      <a:pt x="113" y="72"/>
                      <a:pt x="111" y="73"/>
                    </a:cubicBezTo>
                    <a:cubicBezTo>
                      <a:pt x="109" y="74"/>
                      <a:pt x="108" y="73"/>
                      <a:pt x="106" y="73"/>
                    </a:cubicBezTo>
                    <a:cubicBezTo>
                      <a:pt x="105" y="73"/>
                      <a:pt x="105" y="73"/>
                      <a:pt x="104" y="73"/>
                    </a:cubicBezTo>
                    <a:cubicBezTo>
                      <a:pt x="103" y="73"/>
                      <a:pt x="103" y="73"/>
                      <a:pt x="102" y="73"/>
                    </a:cubicBezTo>
                    <a:cubicBezTo>
                      <a:pt x="101" y="73"/>
                      <a:pt x="101" y="73"/>
                      <a:pt x="100" y="73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5"/>
                      <a:pt x="100" y="75"/>
                      <a:pt x="100" y="75"/>
                    </a:cubicBezTo>
                    <a:cubicBezTo>
                      <a:pt x="100" y="76"/>
                      <a:pt x="100" y="76"/>
                      <a:pt x="101" y="77"/>
                    </a:cubicBezTo>
                    <a:cubicBezTo>
                      <a:pt x="101" y="80"/>
                      <a:pt x="101" y="81"/>
                      <a:pt x="101" y="85"/>
                    </a:cubicBezTo>
                    <a:cubicBezTo>
                      <a:pt x="99" y="85"/>
                      <a:pt x="97" y="85"/>
                      <a:pt x="95" y="85"/>
                    </a:cubicBezTo>
                    <a:cubicBezTo>
                      <a:pt x="94" y="85"/>
                      <a:pt x="94" y="86"/>
                      <a:pt x="93" y="86"/>
                    </a:cubicBezTo>
                    <a:cubicBezTo>
                      <a:pt x="92" y="86"/>
                      <a:pt x="92" y="86"/>
                      <a:pt x="92" y="86"/>
                    </a:cubicBezTo>
                    <a:cubicBezTo>
                      <a:pt x="91" y="87"/>
                      <a:pt x="92" y="88"/>
                      <a:pt x="92" y="89"/>
                    </a:cubicBezTo>
                    <a:cubicBezTo>
                      <a:pt x="92" y="90"/>
                      <a:pt x="91" y="91"/>
                      <a:pt x="90" y="93"/>
                    </a:cubicBezTo>
                    <a:cubicBezTo>
                      <a:pt x="90" y="93"/>
                      <a:pt x="89" y="93"/>
                      <a:pt x="89" y="93"/>
                    </a:cubicBezTo>
                    <a:cubicBezTo>
                      <a:pt x="88" y="94"/>
                      <a:pt x="88" y="95"/>
                      <a:pt x="87" y="96"/>
                    </a:cubicBezTo>
                    <a:cubicBezTo>
                      <a:pt x="86" y="98"/>
                      <a:pt x="85" y="99"/>
                      <a:pt x="85" y="100"/>
                    </a:cubicBezTo>
                    <a:cubicBezTo>
                      <a:pt x="85" y="102"/>
                      <a:pt x="85" y="103"/>
                      <a:pt x="85" y="104"/>
                    </a:cubicBezTo>
                    <a:cubicBezTo>
                      <a:pt x="85" y="105"/>
                      <a:pt x="85" y="105"/>
                      <a:pt x="85" y="105"/>
                    </a:cubicBezTo>
                    <a:cubicBezTo>
                      <a:pt x="85" y="106"/>
                      <a:pt x="85" y="107"/>
                      <a:pt x="84" y="108"/>
                    </a:cubicBezTo>
                    <a:cubicBezTo>
                      <a:pt x="84" y="110"/>
                      <a:pt x="84" y="111"/>
                      <a:pt x="84" y="113"/>
                    </a:cubicBezTo>
                    <a:cubicBezTo>
                      <a:pt x="83" y="114"/>
                      <a:pt x="83" y="115"/>
                      <a:pt x="82" y="116"/>
                    </a:cubicBezTo>
                    <a:cubicBezTo>
                      <a:pt x="82" y="117"/>
                      <a:pt x="81" y="117"/>
                      <a:pt x="81" y="117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8"/>
                      <a:pt x="80" y="118"/>
                      <a:pt x="79" y="118"/>
                    </a:cubicBezTo>
                    <a:cubicBezTo>
                      <a:pt x="79" y="118"/>
                      <a:pt x="79" y="118"/>
                      <a:pt x="79" y="118"/>
                    </a:cubicBezTo>
                    <a:cubicBezTo>
                      <a:pt x="79" y="118"/>
                      <a:pt x="79" y="118"/>
                      <a:pt x="78" y="117"/>
                    </a:cubicBezTo>
                    <a:cubicBezTo>
                      <a:pt x="78" y="117"/>
                      <a:pt x="78" y="117"/>
                      <a:pt x="78" y="117"/>
                    </a:cubicBezTo>
                    <a:cubicBezTo>
                      <a:pt x="78" y="117"/>
                      <a:pt x="78" y="117"/>
                      <a:pt x="78" y="117"/>
                    </a:cubicBezTo>
                    <a:cubicBezTo>
                      <a:pt x="78" y="117"/>
                      <a:pt x="78" y="117"/>
                      <a:pt x="78" y="117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77" y="116"/>
                      <a:pt x="77" y="116"/>
                      <a:pt x="76" y="116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6"/>
                      <a:pt x="75" y="115"/>
                      <a:pt x="75" y="115"/>
                    </a:cubicBezTo>
                    <a:cubicBezTo>
                      <a:pt x="75" y="115"/>
                      <a:pt x="74" y="115"/>
                      <a:pt x="74" y="115"/>
                    </a:cubicBezTo>
                    <a:cubicBezTo>
                      <a:pt x="74" y="115"/>
                      <a:pt x="74" y="115"/>
                      <a:pt x="74" y="115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0" name="Freeform 128">
                <a:extLst>
                  <a:ext uri="{FF2B5EF4-FFF2-40B4-BE49-F238E27FC236}">
                    <a16:creationId xmlns:a16="http://schemas.microsoft.com/office/drawing/2014/main" xmlns="" id="{5FBB4776-01F0-4FDE-8D62-DD8007998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4728" y="2871783"/>
                <a:ext cx="245440" cy="318515"/>
              </a:xfrm>
              <a:custGeom>
                <a:avLst/>
                <a:gdLst>
                  <a:gd name="T0" fmla="*/ 2 w 97"/>
                  <a:gd name="T1" fmla="*/ 7 h 126"/>
                  <a:gd name="T2" fmla="*/ 7 w 97"/>
                  <a:gd name="T3" fmla="*/ 3 h 126"/>
                  <a:gd name="T4" fmla="*/ 18 w 97"/>
                  <a:gd name="T5" fmla="*/ 2 h 126"/>
                  <a:gd name="T6" fmla="*/ 33 w 97"/>
                  <a:gd name="T7" fmla="*/ 8 h 126"/>
                  <a:gd name="T8" fmla="*/ 41 w 97"/>
                  <a:gd name="T9" fmla="*/ 12 h 126"/>
                  <a:gd name="T10" fmla="*/ 49 w 97"/>
                  <a:gd name="T11" fmla="*/ 11 h 126"/>
                  <a:gd name="T12" fmla="*/ 55 w 97"/>
                  <a:gd name="T13" fmla="*/ 15 h 126"/>
                  <a:gd name="T14" fmla="*/ 64 w 97"/>
                  <a:gd name="T15" fmla="*/ 29 h 126"/>
                  <a:gd name="T16" fmla="*/ 66 w 97"/>
                  <a:gd name="T17" fmla="*/ 36 h 126"/>
                  <a:gd name="T18" fmla="*/ 79 w 97"/>
                  <a:gd name="T19" fmla="*/ 44 h 126"/>
                  <a:gd name="T20" fmla="*/ 86 w 97"/>
                  <a:gd name="T21" fmla="*/ 56 h 126"/>
                  <a:gd name="T22" fmla="*/ 94 w 97"/>
                  <a:gd name="T23" fmla="*/ 69 h 126"/>
                  <a:gd name="T24" fmla="*/ 95 w 97"/>
                  <a:gd name="T25" fmla="*/ 73 h 126"/>
                  <a:gd name="T26" fmla="*/ 96 w 97"/>
                  <a:gd name="T27" fmla="*/ 79 h 126"/>
                  <a:gd name="T28" fmla="*/ 84 w 97"/>
                  <a:gd name="T29" fmla="*/ 79 h 126"/>
                  <a:gd name="T30" fmla="*/ 77 w 97"/>
                  <a:gd name="T31" fmla="*/ 80 h 126"/>
                  <a:gd name="T32" fmla="*/ 68 w 97"/>
                  <a:gd name="T33" fmla="*/ 80 h 126"/>
                  <a:gd name="T34" fmla="*/ 65 w 97"/>
                  <a:gd name="T35" fmla="*/ 81 h 126"/>
                  <a:gd name="T36" fmla="*/ 68 w 97"/>
                  <a:gd name="T37" fmla="*/ 90 h 126"/>
                  <a:gd name="T38" fmla="*/ 62 w 97"/>
                  <a:gd name="T39" fmla="*/ 99 h 126"/>
                  <a:gd name="T40" fmla="*/ 56 w 97"/>
                  <a:gd name="T41" fmla="*/ 113 h 126"/>
                  <a:gd name="T42" fmla="*/ 51 w 97"/>
                  <a:gd name="T43" fmla="*/ 120 h 126"/>
                  <a:gd name="T44" fmla="*/ 43 w 97"/>
                  <a:gd name="T45" fmla="*/ 116 h 126"/>
                  <a:gd name="T46" fmla="*/ 41 w 97"/>
                  <a:gd name="T47" fmla="*/ 100 h 126"/>
                  <a:gd name="T48" fmla="*/ 42 w 97"/>
                  <a:gd name="T49" fmla="*/ 87 h 126"/>
                  <a:gd name="T50" fmla="*/ 43 w 97"/>
                  <a:gd name="T51" fmla="*/ 80 h 126"/>
                  <a:gd name="T52" fmla="*/ 39 w 97"/>
                  <a:gd name="T53" fmla="*/ 69 h 126"/>
                  <a:gd name="T54" fmla="*/ 32 w 97"/>
                  <a:gd name="T55" fmla="*/ 57 h 126"/>
                  <a:gd name="T56" fmla="*/ 25 w 97"/>
                  <a:gd name="T57" fmla="*/ 54 h 126"/>
                  <a:gd name="T58" fmla="*/ 23 w 97"/>
                  <a:gd name="T59" fmla="*/ 50 h 126"/>
                  <a:gd name="T60" fmla="*/ 14 w 97"/>
                  <a:gd name="T61" fmla="*/ 36 h 126"/>
                  <a:gd name="T62" fmla="*/ 11 w 97"/>
                  <a:gd name="T63" fmla="*/ 29 h 126"/>
                  <a:gd name="T64" fmla="*/ 6 w 97"/>
                  <a:gd name="T65" fmla="*/ 24 h 126"/>
                  <a:gd name="T66" fmla="*/ 2 w 97"/>
                  <a:gd name="T67" fmla="*/ 17 h 126"/>
                  <a:gd name="T68" fmla="*/ 3 w 97"/>
                  <a:gd name="T69" fmla="*/ 1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7" h="126">
                    <a:moveTo>
                      <a:pt x="0" y="13"/>
                    </a:moveTo>
                    <a:cubicBezTo>
                      <a:pt x="1" y="11"/>
                      <a:pt x="2" y="10"/>
                      <a:pt x="2" y="7"/>
                    </a:cubicBezTo>
                    <a:cubicBezTo>
                      <a:pt x="3" y="5"/>
                      <a:pt x="2" y="3"/>
                      <a:pt x="4" y="3"/>
                    </a:cubicBezTo>
                    <a:cubicBezTo>
                      <a:pt x="5" y="2"/>
                      <a:pt x="6" y="3"/>
                      <a:pt x="7" y="3"/>
                    </a:cubicBezTo>
                    <a:cubicBezTo>
                      <a:pt x="10" y="1"/>
                      <a:pt x="12" y="0"/>
                      <a:pt x="15" y="0"/>
                    </a:cubicBezTo>
                    <a:cubicBezTo>
                      <a:pt x="16" y="0"/>
                      <a:pt x="17" y="2"/>
                      <a:pt x="18" y="2"/>
                    </a:cubicBezTo>
                    <a:cubicBezTo>
                      <a:pt x="21" y="3"/>
                      <a:pt x="22" y="4"/>
                      <a:pt x="24" y="6"/>
                    </a:cubicBezTo>
                    <a:cubicBezTo>
                      <a:pt x="27" y="7"/>
                      <a:pt x="30" y="8"/>
                      <a:pt x="33" y="8"/>
                    </a:cubicBezTo>
                    <a:cubicBezTo>
                      <a:pt x="35" y="8"/>
                      <a:pt x="36" y="7"/>
                      <a:pt x="38" y="7"/>
                    </a:cubicBezTo>
                    <a:cubicBezTo>
                      <a:pt x="38" y="9"/>
                      <a:pt x="39" y="12"/>
                      <a:pt x="41" y="12"/>
                    </a:cubicBezTo>
                    <a:cubicBezTo>
                      <a:pt x="43" y="12"/>
                      <a:pt x="45" y="12"/>
                      <a:pt x="47" y="12"/>
                    </a:cubicBezTo>
                    <a:cubicBezTo>
                      <a:pt x="48" y="12"/>
                      <a:pt x="48" y="11"/>
                      <a:pt x="49" y="11"/>
                    </a:cubicBezTo>
                    <a:cubicBezTo>
                      <a:pt x="50" y="12"/>
                      <a:pt x="50" y="12"/>
                      <a:pt x="51" y="13"/>
                    </a:cubicBezTo>
                    <a:cubicBezTo>
                      <a:pt x="52" y="14"/>
                      <a:pt x="53" y="14"/>
                      <a:pt x="55" y="15"/>
                    </a:cubicBezTo>
                    <a:cubicBezTo>
                      <a:pt x="58" y="16"/>
                      <a:pt x="61" y="17"/>
                      <a:pt x="64" y="17"/>
                    </a:cubicBezTo>
                    <a:cubicBezTo>
                      <a:pt x="64" y="21"/>
                      <a:pt x="64" y="24"/>
                      <a:pt x="64" y="29"/>
                    </a:cubicBezTo>
                    <a:cubicBezTo>
                      <a:pt x="64" y="30"/>
                      <a:pt x="65" y="31"/>
                      <a:pt x="65" y="33"/>
                    </a:cubicBezTo>
                    <a:cubicBezTo>
                      <a:pt x="66" y="34"/>
                      <a:pt x="66" y="35"/>
                      <a:pt x="66" y="36"/>
                    </a:cubicBezTo>
                    <a:cubicBezTo>
                      <a:pt x="68" y="38"/>
                      <a:pt x="71" y="38"/>
                      <a:pt x="74" y="39"/>
                    </a:cubicBezTo>
                    <a:cubicBezTo>
                      <a:pt x="77" y="39"/>
                      <a:pt x="78" y="41"/>
                      <a:pt x="79" y="44"/>
                    </a:cubicBezTo>
                    <a:cubicBezTo>
                      <a:pt x="81" y="46"/>
                      <a:pt x="81" y="48"/>
                      <a:pt x="82" y="50"/>
                    </a:cubicBezTo>
                    <a:cubicBezTo>
                      <a:pt x="83" y="53"/>
                      <a:pt x="84" y="54"/>
                      <a:pt x="86" y="56"/>
                    </a:cubicBezTo>
                    <a:cubicBezTo>
                      <a:pt x="88" y="59"/>
                      <a:pt x="89" y="61"/>
                      <a:pt x="91" y="63"/>
                    </a:cubicBezTo>
                    <a:cubicBezTo>
                      <a:pt x="92" y="66"/>
                      <a:pt x="93" y="67"/>
                      <a:pt x="94" y="69"/>
                    </a:cubicBezTo>
                    <a:cubicBezTo>
                      <a:pt x="94" y="71"/>
                      <a:pt x="93" y="72"/>
                      <a:pt x="94" y="73"/>
                    </a:cubicBezTo>
                    <a:cubicBezTo>
                      <a:pt x="95" y="74"/>
                      <a:pt x="95" y="73"/>
                      <a:pt x="95" y="73"/>
                    </a:cubicBezTo>
                    <a:cubicBezTo>
                      <a:pt x="96" y="74"/>
                      <a:pt x="97" y="74"/>
                      <a:pt x="97" y="74"/>
                    </a:cubicBezTo>
                    <a:cubicBezTo>
                      <a:pt x="97" y="76"/>
                      <a:pt x="96" y="77"/>
                      <a:pt x="96" y="79"/>
                    </a:cubicBezTo>
                    <a:cubicBezTo>
                      <a:pt x="93" y="79"/>
                      <a:pt x="92" y="78"/>
                      <a:pt x="89" y="78"/>
                    </a:cubicBezTo>
                    <a:cubicBezTo>
                      <a:pt x="87" y="78"/>
                      <a:pt x="86" y="78"/>
                      <a:pt x="84" y="79"/>
                    </a:cubicBezTo>
                    <a:cubicBezTo>
                      <a:pt x="83" y="80"/>
                      <a:pt x="82" y="81"/>
                      <a:pt x="81" y="81"/>
                    </a:cubicBezTo>
                    <a:cubicBezTo>
                      <a:pt x="79" y="81"/>
                      <a:pt x="79" y="80"/>
                      <a:pt x="77" y="80"/>
                    </a:cubicBezTo>
                    <a:cubicBezTo>
                      <a:pt x="75" y="80"/>
                      <a:pt x="75" y="82"/>
                      <a:pt x="73" y="82"/>
                    </a:cubicBezTo>
                    <a:cubicBezTo>
                      <a:pt x="71" y="82"/>
                      <a:pt x="70" y="80"/>
                      <a:pt x="68" y="80"/>
                    </a:cubicBezTo>
                    <a:cubicBezTo>
                      <a:pt x="67" y="80"/>
                      <a:pt x="66" y="80"/>
                      <a:pt x="65" y="80"/>
                    </a:cubicBezTo>
                    <a:cubicBezTo>
                      <a:pt x="65" y="81"/>
                      <a:pt x="65" y="81"/>
                      <a:pt x="65" y="81"/>
                    </a:cubicBezTo>
                    <a:cubicBezTo>
                      <a:pt x="65" y="83"/>
                      <a:pt x="66" y="83"/>
                      <a:pt x="67" y="84"/>
                    </a:cubicBezTo>
                    <a:cubicBezTo>
                      <a:pt x="68" y="86"/>
                      <a:pt x="68" y="88"/>
                      <a:pt x="68" y="90"/>
                    </a:cubicBezTo>
                    <a:cubicBezTo>
                      <a:pt x="68" y="92"/>
                      <a:pt x="67" y="93"/>
                      <a:pt x="66" y="95"/>
                    </a:cubicBezTo>
                    <a:cubicBezTo>
                      <a:pt x="65" y="97"/>
                      <a:pt x="63" y="98"/>
                      <a:pt x="62" y="99"/>
                    </a:cubicBezTo>
                    <a:cubicBezTo>
                      <a:pt x="59" y="102"/>
                      <a:pt x="60" y="105"/>
                      <a:pt x="59" y="108"/>
                    </a:cubicBezTo>
                    <a:cubicBezTo>
                      <a:pt x="58" y="110"/>
                      <a:pt x="57" y="111"/>
                      <a:pt x="56" y="113"/>
                    </a:cubicBezTo>
                    <a:cubicBezTo>
                      <a:pt x="56" y="115"/>
                      <a:pt x="55" y="117"/>
                      <a:pt x="54" y="118"/>
                    </a:cubicBezTo>
                    <a:cubicBezTo>
                      <a:pt x="53" y="119"/>
                      <a:pt x="52" y="119"/>
                      <a:pt x="51" y="120"/>
                    </a:cubicBezTo>
                    <a:cubicBezTo>
                      <a:pt x="49" y="122"/>
                      <a:pt x="48" y="123"/>
                      <a:pt x="46" y="126"/>
                    </a:cubicBezTo>
                    <a:cubicBezTo>
                      <a:pt x="43" y="123"/>
                      <a:pt x="43" y="120"/>
                      <a:pt x="43" y="116"/>
                    </a:cubicBezTo>
                    <a:cubicBezTo>
                      <a:pt x="42" y="111"/>
                      <a:pt x="41" y="109"/>
                      <a:pt x="41" y="105"/>
                    </a:cubicBezTo>
                    <a:cubicBezTo>
                      <a:pt x="41" y="103"/>
                      <a:pt x="41" y="102"/>
                      <a:pt x="41" y="100"/>
                    </a:cubicBezTo>
                    <a:cubicBezTo>
                      <a:pt x="41" y="97"/>
                      <a:pt x="40" y="96"/>
                      <a:pt x="40" y="93"/>
                    </a:cubicBezTo>
                    <a:cubicBezTo>
                      <a:pt x="40" y="90"/>
                      <a:pt x="41" y="89"/>
                      <a:pt x="42" y="87"/>
                    </a:cubicBezTo>
                    <a:cubicBezTo>
                      <a:pt x="43" y="87"/>
                      <a:pt x="43" y="86"/>
                      <a:pt x="43" y="85"/>
                    </a:cubicBezTo>
                    <a:cubicBezTo>
                      <a:pt x="43" y="83"/>
                      <a:pt x="43" y="82"/>
                      <a:pt x="43" y="80"/>
                    </a:cubicBezTo>
                    <a:cubicBezTo>
                      <a:pt x="43" y="77"/>
                      <a:pt x="43" y="75"/>
                      <a:pt x="41" y="72"/>
                    </a:cubicBezTo>
                    <a:cubicBezTo>
                      <a:pt x="40" y="71"/>
                      <a:pt x="39" y="70"/>
                      <a:pt x="39" y="69"/>
                    </a:cubicBezTo>
                    <a:cubicBezTo>
                      <a:pt x="38" y="67"/>
                      <a:pt x="38" y="65"/>
                      <a:pt x="38" y="63"/>
                    </a:cubicBezTo>
                    <a:cubicBezTo>
                      <a:pt x="36" y="60"/>
                      <a:pt x="35" y="58"/>
                      <a:pt x="32" y="57"/>
                    </a:cubicBezTo>
                    <a:cubicBezTo>
                      <a:pt x="31" y="56"/>
                      <a:pt x="31" y="55"/>
                      <a:pt x="29" y="55"/>
                    </a:cubicBezTo>
                    <a:cubicBezTo>
                      <a:pt x="28" y="55"/>
                      <a:pt x="26" y="55"/>
                      <a:pt x="25" y="54"/>
                    </a:cubicBezTo>
                    <a:cubicBezTo>
                      <a:pt x="25" y="53"/>
                      <a:pt x="25" y="53"/>
                      <a:pt x="25" y="52"/>
                    </a:cubicBezTo>
                    <a:cubicBezTo>
                      <a:pt x="24" y="51"/>
                      <a:pt x="24" y="51"/>
                      <a:pt x="23" y="50"/>
                    </a:cubicBezTo>
                    <a:cubicBezTo>
                      <a:pt x="21" y="47"/>
                      <a:pt x="20" y="45"/>
                      <a:pt x="18" y="42"/>
                    </a:cubicBezTo>
                    <a:cubicBezTo>
                      <a:pt x="17" y="40"/>
                      <a:pt x="16" y="38"/>
                      <a:pt x="14" y="36"/>
                    </a:cubicBezTo>
                    <a:cubicBezTo>
                      <a:pt x="13" y="35"/>
                      <a:pt x="11" y="35"/>
                      <a:pt x="11" y="34"/>
                    </a:cubicBezTo>
                    <a:cubicBezTo>
                      <a:pt x="10" y="32"/>
                      <a:pt x="11" y="31"/>
                      <a:pt x="11" y="29"/>
                    </a:cubicBezTo>
                    <a:cubicBezTo>
                      <a:pt x="10" y="27"/>
                      <a:pt x="10" y="26"/>
                      <a:pt x="8" y="25"/>
                    </a:cubicBezTo>
                    <a:cubicBezTo>
                      <a:pt x="7" y="25"/>
                      <a:pt x="7" y="25"/>
                      <a:pt x="6" y="24"/>
                    </a:cubicBezTo>
                    <a:cubicBezTo>
                      <a:pt x="5" y="22"/>
                      <a:pt x="5" y="20"/>
                      <a:pt x="5" y="17"/>
                    </a:cubicBezTo>
                    <a:cubicBezTo>
                      <a:pt x="4" y="17"/>
                      <a:pt x="3" y="18"/>
                      <a:pt x="2" y="17"/>
                    </a:cubicBezTo>
                    <a:cubicBezTo>
                      <a:pt x="2" y="17"/>
                      <a:pt x="3" y="17"/>
                      <a:pt x="3" y="17"/>
                    </a:cubicBezTo>
                    <a:cubicBezTo>
                      <a:pt x="3" y="17"/>
                      <a:pt x="3" y="16"/>
                      <a:pt x="3" y="15"/>
                    </a:cubicBezTo>
                    <a:cubicBezTo>
                      <a:pt x="3" y="14"/>
                      <a:pt x="2" y="14"/>
                      <a:pt x="0" y="13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1" name="Freeform 129">
                <a:extLst>
                  <a:ext uri="{FF2B5EF4-FFF2-40B4-BE49-F238E27FC236}">
                    <a16:creationId xmlns:a16="http://schemas.microsoft.com/office/drawing/2014/main" xmlns="" id="{212C2B1F-4A66-4124-AC35-805D3937C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8395" y="2197635"/>
                <a:ext cx="681247" cy="631041"/>
              </a:xfrm>
              <a:custGeom>
                <a:avLst/>
                <a:gdLst>
                  <a:gd name="T0" fmla="*/ 251 w 270"/>
                  <a:gd name="T1" fmla="*/ 54 h 250"/>
                  <a:gd name="T2" fmla="*/ 257 w 270"/>
                  <a:gd name="T3" fmla="*/ 69 h 250"/>
                  <a:gd name="T4" fmla="*/ 251 w 270"/>
                  <a:gd name="T5" fmla="*/ 95 h 250"/>
                  <a:gd name="T6" fmla="*/ 242 w 270"/>
                  <a:gd name="T7" fmla="*/ 109 h 250"/>
                  <a:gd name="T8" fmla="*/ 250 w 270"/>
                  <a:gd name="T9" fmla="*/ 115 h 250"/>
                  <a:gd name="T10" fmla="*/ 251 w 270"/>
                  <a:gd name="T11" fmla="*/ 128 h 250"/>
                  <a:gd name="T12" fmla="*/ 254 w 270"/>
                  <a:gd name="T13" fmla="*/ 143 h 250"/>
                  <a:gd name="T14" fmla="*/ 260 w 270"/>
                  <a:gd name="T15" fmla="*/ 161 h 250"/>
                  <a:gd name="T16" fmla="*/ 266 w 270"/>
                  <a:gd name="T17" fmla="*/ 173 h 250"/>
                  <a:gd name="T18" fmla="*/ 260 w 270"/>
                  <a:gd name="T19" fmla="*/ 192 h 250"/>
                  <a:gd name="T20" fmla="*/ 246 w 270"/>
                  <a:gd name="T21" fmla="*/ 211 h 250"/>
                  <a:gd name="T22" fmla="*/ 234 w 270"/>
                  <a:gd name="T23" fmla="*/ 225 h 250"/>
                  <a:gd name="T24" fmla="*/ 235 w 270"/>
                  <a:gd name="T25" fmla="*/ 250 h 250"/>
                  <a:gd name="T26" fmla="*/ 221 w 270"/>
                  <a:gd name="T27" fmla="*/ 248 h 250"/>
                  <a:gd name="T28" fmla="*/ 211 w 270"/>
                  <a:gd name="T29" fmla="*/ 240 h 250"/>
                  <a:gd name="T30" fmla="*/ 191 w 270"/>
                  <a:gd name="T31" fmla="*/ 235 h 250"/>
                  <a:gd name="T32" fmla="*/ 182 w 270"/>
                  <a:gd name="T33" fmla="*/ 240 h 250"/>
                  <a:gd name="T34" fmla="*/ 174 w 270"/>
                  <a:gd name="T35" fmla="*/ 235 h 250"/>
                  <a:gd name="T36" fmla="*/ 164 w 270"/>
                  <a:gd name="T37" fmla="*/ 240 h 250"/>
                  <a:gd name="T38" fmla="*/ 152 w 270"/>
                  <a:gd name="T39" fmla="*/ 241 h 250"/>
                  <a:gd name="T40" fmla="*/ 146 w 270"/>
                  <a:gd name="T41" fmla="*/ 233 h 250"/>
                  <a:gd name="T42" fmla="*/ 139 w 270"/>
                  <a:gd name="T43" fmla="*/ 227 h 250"/>
                  <a:gd name="T44" fmla="*/ 130 w 270"/>
                  <a:gd name="T45" fmla="*/ 233 h 250"/>
                  <a:gd name="T46" fmla="*/ 120 w 270"/>
                  <a:gd name="T47" fmla="*/ 221 h 250"/>
                  <a:gd name="T48" fmla="*/ 106 w 270"/>
                  <a:gd name="T49" fmla="*/ 209 h 250"/>
                  <a:gd name="T50" fmla="*/ 94 w 270"/>
                  <a:gd name="T51" fmla="*/ 203 h 250"/>
                  <a:gd name="T52" fmla="*/ 91 w 270"/>
                  <a:gd name="T53" fmla="*/ 196 h 250"/>
                  <a:gd name="T54" fmla="*/ 76 w 270"/>
                  <a:gd name="T55" fmla="*/ 194 h 250"/>
                  <a:gd name="T56" fmla="*/ 66 w 270"/>
                  <a:gd name="T57" fmla="*/ 205 h 250"/>
                  <a:gd name="T58" fmla="*/ 53 w 270"/>
                  <a:gd name="T59" fmla="*/ 181 h 250"/>
                  <a:gd name="T60" fmla="*/ 41 w 270"/>
                  <a:gd name="T61" fmla="*/ 177 h 250"/>
                  <a:gd name="T62" fmla="*/ 27 w 270"/>
                  <a:gd name="T63" fmla="*/ 166 h 250"/>
                  <a:gd name="T64" fmla="*/ 15 w 270"/>
                  <a:gd name="T65" fmla="*/ 169 h 250"/>
                  <a:gd name="T66" fmla="*/ 21 w 270"/>
                  <a:gd name="T67" fmla="*/ 149 h 250"/>
                  <a:gd name="T68" fmla="*/ 17 w 270"/>
                  <a:gd name="T69" fmla="*/ 132 h 250"/>
                  <a:gd name="T70" fmla="*/ 13 w 270"/>
                  <a:gd name="T71" fmla="*/ 112 h 250"/>
                  <a:gd name="T72" fmla="*/ 11 w 270"/>
                  <a:gd name="T73" fmla="*/ 100 h 250"/>
                  <a:gd name="T74" fmla="*/ 15 w 270"/>
                  <a:gd name="T75" fmla="*/ 95 h 250"/>
                  <a:gd name="T76" fmla="*/ 8 w 270"/>
                  <a:gd name="T77" fmla="*/ 87 h 250"/>
                  <a:gd name="T78" fmla="*/ 2 w 270"/>
                  <a:gd name="T79" fmla="*/ 84 h 250"/>
                  <a:gd name="T80" fmla="*/ 4 w 270"/>
                  <a:gd name="T81" fmla="*/ 75 h 250"/>
                  <a:gd name="T82" fmla="*/ 9 w 270"/>
                  <a:gd name="T83" fmla="*/ 60 h 250"/>
                  <a:gd name="T84" fmla="*/ 8 w 270"/>
                  <a:gd name="T85" fmla="*/ 45 h 250"/>
                  <a:gd name="T86" fmla="*/ 13 w 270"/>
                  <a:gd name="T87" fmla="*/ 48 h 250"/>
                  <a:gd name="T88" fmla="*/ 19 w 270"/>
                  <a:gd name="T89" fmla="*/ 61 h 250"/>
                  <a:gd name="T90" fmla="*/ 19 w 270"/>
                  <a:gd name="T91" fmla="*/ 41 h 250"/>
                  <a:gd name="T92" fmla="*/ 15 w 270"/>
                  <a:gd name="T93" fmla="*/ 40 h 250"/>
                  <a:gd name="T94" fmla="*/ 16 w 270"/>
                  <a:gd name="T95" fmla="*/ 32 h 250"/>
                  <a:gd name="T96" fmla="*/ 49 w 270"/>
                  <a:gd name="T97" fmla="*/ 25 h 250"/>
                  <a:gd name="T98" fmla="*/ 68 w 270"/>
                  <a:gd name="T99" fmla="*/ 12 h 250"/>
                  <a:gd name="T100" fmla="*/ 79 w 270"/>
                  <a:gd name="T101" fmla="*/ 6 h 250"/>
                  <a:gd name="T102" fmla="*/ 97 w 270"/>
                  <a:gd name="T103" fmla="*/ 2 h 250"/>
                  <a:gd name="T104" fmla="*/ 114 w 270"/>
                  <a:gd name="T105" fmla="*/ 0 h 250"/>
                  <a:gd name="T106" fmla="*/ 113 w 270"/>
                  <a:gd name="T107" fmla="*/ 3 h 250"/>
                  <a:gd name="T108" fmla="*/ 123 w 270"/>
                  <a:gd name="T109" fmla="*/ 21 h 250"/>
                  <a:gd name="T110" fmla="*/ 141 w 270"/>
                  <a:gd name="T111" fmla="*/ 19 h 250"/>
                  <a:gd name="T112" fmla="*/ 160 w 270"/>
                  <a:gd name="T113" fmla="*/ 16 h 250"/>
                  <a:gd name="T114" fmla="*/ 199 w 270"/>
                  <a:gd name="T115" fmla="*/ 22 h 250"/>
                  <a:gd name="T116" fmla="*/ 229 w 270"/>
                  <a:gd name="T117" fmla="*/ 21 h 250"/>
                  <a:gd name="T118" fmla="*/ 246 w 270"/>
                  <a:gd name="T119" fmla="*/ 31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0" h="250">
                    <a:moveTo>
                      <a:pt x="247" y="34"/>
                    </a:moveTo>
                    <a:cubicBezTo>
                      <a:pt x="246" y="36"/>
                      <a:pt x="246" y="37"/>
                      <a:pt x="246" y="39"/>
                    </a:cubicBezTo>
                    <a:cubicBezTo>
                      <a:pt x="246" y="41"/>
                      <a:pt x="246" y="43"/>
                      <a:pt x="247" y="45"/>
                    </a:cubicBezTo>
                    <a:cubicBezTo>
                      <a:pt x="248" y="49"/>
                      <a:pt x="250" y="50"/>
                      <a:pt x="251" y="54"/>
                    </a:cubicBezTo>
                    <a:cubicBezTo>
                      <a:pt x="252" y="55"/>
                      <a:pt x="252" y="56"/>
                      <a:pt x="252" y="57"/>
                    </a:cubicBezTo>
                    <a:cubicBezTo>
                      <a:pt x="253" y="58"/>
                      <a:pt x="253" y="59"/>
                      <a:pt x="254" y="60"/>
                    </a:cubicBezTo>
                    <a:cubicBezTo>
                      <a:pt x="255" y="62"/>
                      <a:pt x="255" y="64"/>
                      <a:pt x="256" y="66"/>
                    </a:cubicBezTo>
                    <a:cubicBezTo>
                      <a:pt x="256" y="67"/>
                      <a:pt x="257" y="68"/>
                      <a:pt x="257" y="69"/>
                    </a:cubicBezTo>
                    <a:cubicBezTo>
                      <a:pt x="258" y="74"/>
                      <a:pt x="258" y="77"/>
                      <a:pt x="258" y="81"/>
                    </a:cubicBezTo>
                    <a:cubicBezTo>
                      <a:pt x="258" y="84"/>
                      <a:pt x="259" y="86"/>
                      <a:pt x="258" y="88"/>
                    </a:cubicBezTo>
                    <a:cubicBezTo>
                      <a:pt x="257" y="90"/>
                      <a:pt x="256" y="90"/>
                      <a:pt x="255" y="91"/>
                    </a:cubicBezTo>
                    <a:cubicBezTo>
                      <a:pt x="254" y="92"/>
                      <a:pt x="253" y="93"/>
                      <a:pt x="251" y="95"/>
                    </a:cubicBezTo>
                    <a:cubicBezTo>
                      <a:pt x="250" y="96"/>
                      <a:pt x="250" y="97"/>
                      <a:pt x="248" y="99"/>
                    </a:cubicBezTo>
                    <a:cubicBezTo>
                      <a:pt x="247" y="100"/>
                      <a:pt x="246" y="101"/>
                      <a:pt x="245" y="103"/>
                    </a:cubicBezTo>
                    <a:cubicBezTo>
                      <a:pt x="245" y="103"/>
                      <a:pt x="245" y="103"/>
                      <a:pt x="245" y="104"/>
                    </a:cubicBezTo>
                    <a:cubicBezTo>
                      <a:pt x="244" y="106"/>
                      <a:pt x="242" y="106"/>
                      <a:pt x="242" y="109"/>
                    </a:cubicBezTo>
                    <a:cubicBezTo>
                      <a:pt x="242" y="110"/>
                      <a:pt x="243" y="109"/>
                      <a:pt x="244" y="110"/>
                    </a:cubicBezTo>
                    <a:cubicBezTo>
                      <a:pt x="244" y="110"/>
                      <a:pt x="244" y="111"/>
                      <a:pt x="244" y="111"/>
                    </a:cubicBezTo>
                    <a:cubicBezTo>
                      <a:pt x="246" y="112"/>
                      <a:pt x="247" y="112"/>
                      <a:pt x="248" y="113"/>
                    </a:cubicBezTo>
                    <a:cubicBezTo>
                      <a:pt x="249" y="114"/>
                      <a:pt x="250" y="114"/>
                      <a:pt x="250" y="115"/>
                    </a:cubicBezTo>
                    <a:cubicBezTo>
                      <a:pt x="251" y="116"/>
                      <a:pt x="250" y="117"/>
                      <a:pt x="250" y="118"/>
                    </a:cubicBezTo>
                    <a:cubicBezTo>
                      <a:pt x="250" y="120"/>
                      <a:pt x="251" y="121"/>
                      <a:pt x="252" y="123"/>
                    </a:cubicBezTo>
                    <a:cubicBezTo>
                      <a:pt x="252" y="123"/>
                      <a:pt x="251" y="123"/>
                      <a:pt x="251" y="124"/>
                    </a:cubicBezTo>
                    <a:cubicBezTo>
                      <a:pt x="251" y="126"/>
                      <a:pt x="251" y="127"/>
                      <a:pt x="251" y="128"/>
                    </a:cubicBezTo>
                    <a:cubicBezTo>
                      <a:pt x="251" y="131"/>
                      <a:pt x="252" y="132"/>
                      <a:pt x="252" y="135"/>
                    </a:cubicBezTo>
                    <a:cubicBezTo>
                      <a:pt x="252" y="136"/>
                      <a:pt x="253" y="137"/>
                      <a:pt x="253" y="138"/>
                    </a:cubicBezTo>
                    <a:cubicBezTo>
                      <a:pt x="253" y="139"/>
                      <a:pt x="252" y="139"/>
                      <a:pt x="252" y="140"/>
                    </a:cubicBezTo>
                    <a:cubicBezTo>
                      <a:pt x="252" y="141"/>
                      <a:pt x="253" y="142"/>
                      <a:pt x="254" y="143"/>
                    </a:cubicBezTo>
                    <a:cubicBezTo>
                      <a:pt x="255" y="145"/>
                      <a:pt x="256" y="147"/>
                      <a:pt x="256" y="149"/>
                    </a:cubicBezTo>
                    <a:cubicBezTo>
                      <a:pt x="257" y="151"/>
                      <a:pt x="256" y="152"/>
                      <a:pt x="257" y="154"/>
                    </a:cubicBezTo>
                    <a:cubicBezTo>
                      <a:pt x="257" y="155"/>
                      <a:pt x="258" y="156"/>
                      <a:pt x="258" y="157"/>
                    </a:cubicBezTo>
                    <a:cubicBezTo>
                      <a:pt x="259" y="158"/>
                      <a:pt x="260" y="159"/>
                      <a:pt x="260" y="161"/>
                    </a:cubicBezTo>
                    <a:cubicBezTo>
                      <a:pt x="261" y="163"/>
                      <a:pt x="262" y="163"/>
                      <a:pt x="263" y="165"/>
                    </a:cubicBezTo>
                    <a:cubicBezTo>
                      <a:pt x="263" y="166"/>
                      <a:pt x="263" y="166"/>
                      <a:pt x="263" y="167"/>
                    </a:cubicBezTo>
                    <a:cubicBezTo>
                      <a:pt x="264" y="169"/>
                      <a:pt x="268" y="169"/>
                      <a:pt x="268" y="171"/>
                    </a:cubicBezTo>
                    <a:cubicBezTo>
                      <a:pt x="268" y="172"/>
                      <a:pt x="267" y="173"/>
                      <a:pt x="266" y="173"/>
                    </a:cubicBezTo>
                    <a:cubicBezTo>
                      <a:pt x="265" y="173"/>
                      <a:pt x="264" y="174"/>
                      <a:pt x="264" y="175"/>
                    </a:cubicBezTo>
                    <a:cubicBezTo>
                      <a:pt x="270" y="183"/>
                      <a:pt x="270" y="183"/>
                      <a:pt x="270" y="183"/>
                    </a:cubicBezTo>
                    <a:cubicBezTo>
                      <a:pt x="268" y="185"/>
                      <a:pt x="267" y="186"/>
                      <a:pt x="266" y="189"/>
                    </a:cubicBezTo>
                    <a:cubicBezTo>
                      <a:pt x="264" y="191"/>
                      <a:pt x="261" y="190"/>
                      <a:pt x="260" y="192"/>
                    </a:cubicBezTo>
                    <a:cubicBezTo>
                      <a:pt x="259" y="192"/>
                      <a:pt x="259" y="193"/>
                      <a:pt x="258" y="194"/>
                    </a:cubicBezTo>
                    <a:cubicBezTo>
                      <a:pt x="258" y="194"/>
                      <a:pt x="257" y="195"/>
                      <a:pt x="256" y="195"/>
                    </a:cubicBezTo>
                    <a:cubicBezTo>
                      <a:pt x="254" y="198"/>
                      <a:pt x="253" y="200"/>
                      <a:pt x="251" y="204"/>
                    </a:cubicBezTo>
                    <a:cubicBezTo>
                      <a:pt x="249" y="206"/>
                      <a:pt x="248" y="208"/>
                      <a:pt x="246" y="211"/>
                    </a:cubicBezTo>
                    <a:cubicBezTo>
                      <a:pt x="245" y="213"/>
                      <a:pt x="243" y="214"/>
                      <a:pt x="242" y="216"/>
                    </a:cubicBezTo>
                    <a:cubicBezTo>
                      <a:pt x="241" y="217"/>
                      <a:pt x="240" y="218"/>
                      <a:pt x="239" y="220"/>
                    </a:cubicBezTo>
                    <a:cubicBezTo>
                      <a:pt x="238" y="221"/>
                      <a:pt x="238" y="222"/>
                      <a:pt x="236" y="223"/>
                    </a:cubicBezTo>
                    <a:cubicBezTo>
                      <a:pt x="235" y="223"/>
                      <a:pt x="234" y="224"/>
                      <a:pt x="234" y="225"/>
                    </a:cubicBezTo>
                    <a:cubicBezTo>
                      <a:pt x="235" y="230"/>
                      <a:pt x="235" y="230"/>
                      <a:pt x="235" y="230"/>
                    </a:cubicBezTo>
                    <a:cubicBezTo>
                      <a:pt x="235" y="237"/>
                      <a:pt x="235" y="237"/>
                      <a:pt x="235" y="237"/>
                    </a:cubicBezTo>
                    <a:cubicBezTo>
                      <a:pt x="237" y="248"/>
                      <a:pt x="237" y="248"/>
                      <a:pt x="237" y="248"/>
                    </a:cubicBezTo>
                    <a:cubicBezTo>
                      <a:pt x="237" y="249"/>
                      <a:pt x="236" y="250"/>
                      <a:pt x="235" y="250"/>
                    </a:cubicBezTo>
                    <a:cubicBezTo>
                      <a:pt x="234" y="250"/>
                      <a:pt x="234" y="249"/>
                      <a:pt x="233" y="249"/>
                    </a:cubicBezTo>
                    <a:cubicBezTo>
                      <a:pt x="231" y="249"/>
                      <a:pt x="230" y="249"/>
                      <a:pt x="229" y="250"/>
                    </a:cubicBezTo>
                    <a:cubicBezTo>
                      <a:pt x="227" y="249"/>
                      <a:pt x="226" y="249"/>
                      <a:pt x="225" y="249"/>
                    </a:cubicBezTo>
                    <a:cubicBezTo>
                      <a:pt x="224" y="249"/>
                      <a:pt x="223" y="249"/>
                      <a:pt x="221" y="248"/>
                    </a:cubicBezTo>
                    <a:cubicBezTo>
                      <a:pt x="219" y="247"/>
                      <a:pt x="218" y="246"/>
                      <a:pt x="216" y="245"/>
                    </a:cubicBezTo>
                    <a:cubicBezTo>
                      <a:pt x="216" y="245"/>
                      <a:pt x="215" y="245"/>
                      <a:pt x="215" y="244"/>
                    </a:cubicBezTo>
                    <a:cubicBezTo>
                      <a:pt x="214" y="243"/>
                      <a:pt x="213" y="243"/>
                      <a:pt x="212" y="242"/>
                    </a:cubicBezTo>
                    <a:cubicBezTo>
                      <a:pt x="212" y="241"/>
                      <a:pt x="211" y="241"/>
                      <a:pt x="211" y="240"/>
                    </a:cubicBezTo>
                    <a:cubicBezTo>
                      <a:pt x="208" y="239"/>
                      <a:pt x="207" y="238"/>
                      <a:pt x="204" y="237"/>
                    </a:cubicBezTo>
                    <a:cubicBezTo>
                      <a:pt x="202" y="236"/>
                      <a:pt x="201" y="235"/>
                      <a:pt x="199" y="235"/>
                    </a:cubicBezTo>
                    <a:cubicBezTo>
                      <a:pt x="198" y="235"/>
                      <a:pt x="197" y="234"/>
                      <a:pt x="195" y="234"/>
                    </a:cubicBezTo>
                    <a:cubicBezTo>
                      <a:pt x="194" y="234"/>
                      <a:pt x="193" y="235"/>
                      <a:pt x="191" y="235"/>
                    </a:cubicBezTo>
                    <a:cubicBezTo>
                      <a:pt x="190" y="236"/>
                      <a:pt x="190" y="236"/>
                      <a:pt x="190" y="236"/>
                    </a:cubicBezTo>
                    <a:cubicBezTo>
                      <a:pt x="189" y="236"/>
                      <a:pt x="188" y="237"/>
                      <a:pt x="188" y="237"/>
                    </a:cubicBezTo>
                    <a:cubicBezTo>
                      <a:pt x="187" y="237"/>
                      <a:pt x="186" y="238"/>
                      <a:pt x="185" y="238"/>
                    </a:cubicBezTo>
                    <a:cubicBezTo>
                      <a:pt x="184" y="239"/>
                      <a:pt x="183" y="239"/>
                      <a:pt x="182" y="240"/>
                    </a:cubicBezTo>
                    <a:cubicBezTo>
                      <a:pt x="182" y="240"/>
                      <a:pt x="181" y="241"/>
                      <a:pt x="181" y="241"/>
                    </a:cubicBezTo>
                    <a:cubicBezTo>
                      <a:pt x="180" y="241"/>
                      <a:pt x="179" y="240"/>
                      <a:pt x="178" y="239"/>
                    </a:cubicBezTo>
                    <a:cubicBezTo>
                      <a:pt x="178" y="238"/>
                      <a:pt x="177" y="238"/>
                      <a:pt x="177" y="237"/>
                    </a:cubicBezTo>
                    <a:cubicBezTo>
                      <a:pt x="176" y="236"/>
                      <a:pt x="175" y="235"/>
                      <a:pt x="174" y="235"/>
                    </a:cubicBezTo>
                    <a:cubicBezTo>
                      <a:pt x="173" y="235"/>
                      <a:pt x="173" y="234"/>
                      <a:pt x="172" y="234"/>
                    </a:cubicBezTo>
                    <a:cubicBezTo>
                      <a:pt x="171" y="234"/>
                      <a:pt x="171" y="234"/>
                      <a:pt x="170" y="235"/>
                    </a:cubicBezTo>
                    <a:cubicBezTo>
                      <a:pt x="169" y="236"/>
                      <a:pt x="168" y="236"/>
                      <a:pt x="167" y="237"/>
                    </a:cubicBezTo>
                    <a:cubicBezTo>
                      <a:pt x="166" y="238"/>
                      <a:pt x="165" y="239"/>
                      <a:pt x="164" y="240"/>
                    </a:cubicBezTo>
                    <a:cubicBezTo>
                      <a:pt x="164" y="241"/>
                      <a:pt x="163" y="241"/>
                      <a:pt x="162" y="241"/>
                    </a:cubicBezTo>
                    <a:cubicBezTo>
                      <a:pt x="161" y="242"/>
                      <a:pt x="161" y="243"/>
                      <a:pt x="160" y="243"/>
                    </a:cubicBezTo>
                    <a:cubicBezTo>
                      <a:pt x="159" y="243"/>
                      <a:pt x="158" y="242"/>
                      <a:pt x="157" y="242"/>
                    </a:cubicBezTo>
                    <a:cubicBezTo>
                      <a:pt x="155" y="242"/>
                      <a:pt x="154" y="241"/>
                      <a:pt x="152" y="241"/>
                    </a:cubicBezTo>
                    <a:cubicBezTo>
                      <a:pt x="151" y="241"/>
                      <a:pt x="150" y="241"/>
                      <a:pt x="150" y="240"/>
                    </a:cubicBezTo>
                    <a:cubicBezTo>
                      <a:pt x="149" y="240"/>
                      <a:pt x="149" y="239"/>
                      <a:pt x="149" y="239"/>
                    </a:cubicBezTo>
                    <a:cubicBezTo>
                      <a:pt x="148" y="237"/>
                      <a:pt x="148" y="237"/>
                      <a:pt x="147" y="235"/>
                    </a:cubicBezTo>
                    <a:cubicBezTo>
                      <a:pt x="146" y="234"/>
                      <a:pt x="146" y="234"/>
                      <a:pt x="146" y="233"/>
                    </a:cubicBezTo>
                    <a:cubicBezTo>
                      <a:pt x="145" y="232"/>
                      <a:pt x="146" y="232"/>
                      <a:pt x="145" y="231"/>
                    </a:cubicBezTo>
                    <a:cubicBezTo>
                      <a:pt x="145" y="230"/>
                      <a:pt x="144" y="229"/>
                      <a:pt x="143" y="228"/>
                    </a:cubicBezTo>
                    <a:cubicBezTo>
                      <a:pt x="143" y="227"/>
                      <a:pt x="142" y="227"/>
                      <a:pt x="142" y="227"/>
                    </a:cubicBezTo>
                    <a:cubicBezTo>
                      <a:pt x="141" y="227"/>
                      <a:pt x="140" y="227"/>
                      <a:pt x="139" y="227"/>
                    </a:cubicBezTo>
                    <a:cubicBezTo>
                      <a:pt x="138" y="226"/>
                      <a:pt x="137" y="226"/>
                      <a:pt x="135" y="225"/>
                    </a:cubicBezTo>
                    <a:cubicBezTo>
                      <a:pt x="134" y="227"/>
                      <a:pt x="134" y="228"/>
                      <a:pt x="133" y="230"/>
                    </a:cubicBezTo>
                    <a:cubicBezTo>
                      <a:pt x="132" y="230"/>
                      <a:pt x="132" y="231"/>
                      <a:pt x="132" y="231"/>
                    </a:cubicBezTo>
                    <a:cubicBezTo>
                      <a:pt x="131" y="232"/>
                      <a:pt x="131" y="233"/>
                      <a:pt x="130" y="233"/>
                    </a:cubicBezTo>
                    <a:cubicBezTo>
                      <a:pt x="130" y="233"/>
                      <a:pt x="129" y="234"/>
                      <a:pt x="129" y="234"/>
                    </a:cubicBezTo>
                    <a:cubicBezTo>
                      <a:pt x="128" y="234"/>
                      <a:pt x="127" y="233"/>
                      <a:pt x="126" y="232"/>
                    </a:cubicBezTo>
                    <a:cubicBezTo>
                      <a:pt x="125" y="231"/>
                      <a:pt x="125" y="231"/>
                      <a:pt x="124" y="230"/>
                    </a:cubicBezTo>
                    <a:cubicBezTo>
                      <a:pt x="122" y="227"/>
                      <a:pt x="122" y="225"/>
                      <a:pt x="120" y="221"/>
                    </a:cubicBezTo>
                    <a:cubicBezTo>
                      <a:pt x="119" y="217"/>
                      <a:pt x="117" y="215"/>
                      <a:pt x="117" y="211"/>
                    </a:cubicBezTo>
                    <a:cubicBezTo>
                      <a:pt x="115" y="211"/>
                      <a:pt x="113" y="211"/>
                      <a:pt x="111" y="211"/>
                    </a:cubicBezTo>
                    <a:cubicBezTo>
                      <a:pt x="110" y="211"/>
                      <a:pt x="110" y="211"/>
                      <a:pt x="109" y="211"/>
                    </a:cubicBezTo>
                    <a:cubicBezTo>
                      <a:pt x="108" y="211"/>
                      <a:pt x="107" y="210"/>
                      <a:pt x="106" y="209"/>
                    </a:cubicBezTo>
                    <a:cubicBezTo>
                      <a:pt x="104" y="208"/>
                      <a:pt x="103" y="206"/>
                      <a:pt x="101" y="204"/>
                    </a:cubicBezTo>
                    <a:cubicBezTo>
                      <a:pt x="100" y="205"/>
                      <a:pt x="100" y="207"/>
                      <a:pt x="98" y="207"/>
                    </a:cubicBezTo>
                    <a:cubicBezTo>
                      <a:pt x="97" y="207"/>
                      <a:pt x="96" y="206"/>
                      <a:pt x="96" y="205"/>
                    </a:cubicBezTo>
                    <a:cubicBezTo>
                      <a:pt x="95" y="204"/>
                      <a:pt x="95" y="204"/>
                      <a:pt x="94" y="203"/>
                    </a:cubicBezTo>
                    <a:cubicBezTo>
                      <a:pt x="94" y="203"/>
                      <a:pt x="94" y="203"/>
                      <a:pt x="93" y="203"/>
                    </a:cubicBezTo>
                    <a:cubicBezTo>
                      <a:pt x="93" y="203"/>
                      <a:pt x="92" y="203"/>
                      <a:pt x="92" y="202"/>
                    </a:cubicBezTo>
                    <a:cubicBezTo>
                      <a:pt x="92" y="200"/>
                      <a:pt x="94" y="199"/>
                      <a:pt x="95" y="197"/>
                    </a:cubicBezTo>
                    <a:cubicBezTo>
                      <a:pt x="94" y="196"/>
                      <a:pt x="92" y="196"/>
                      <a:pt x="91" y="196"/>
                    </a:cubicBezTo>
                    <a:cubicBezTo>
                      <a:pt x="89" y="196"/>
                      <a:pt x="89" y="196"/>
                      <a:pt x="87" y="196"/>
                    </a:cubicBezTo>
                    <a:cubicBezTo>
                      <a:pt x="86" y="196"/>
                      <a:pt x="86" y="197"/>
                      <a:pt x="85" y="197"/>
                    </a:cubicBezTo>
                    <a:cubicBezTo>
                      <a:pt x="83" y="197"/>
                      <a:pt x="83" y="196"/>
                      <a:pt x="81" y="195"/>
                    </a:cubicBezTo>
                    <a:cubicBezTo>
                      <a:pt x="79" y="194"/>
                      <a:pt x="78" y="195"/>
                      <a:pt x="76" y="194"/>
                    </a:cubicBezTo>
                    <a:cubicBezTo>
                      <a:pt x="73" y="192"/>
                      <a:pt x="71" y="191"/>
                      <a:pt x="68" y="190"/>
                    </a:cubicBezTo>
                    <a:cubicBezTo>
                      <a:pt x="69" y="192"/>
                      <a:pt x="70" y="194"/>
                      <a:pt x="70" y="196"/>
                    </a:cubicBezTo>
                    <a:cubicBezTo>
                      <a:pt x="70" y="198"/>
                      <a:pt x="68" y="199"/>
                      <a:pt x="67" y="200"/>
                    </a:cubicBezTo>
                    <a:cubicBezTo>
                      <a:pt x="66" y="201"/>
                      <a:pt x="66" y="203"/>
                      <a:pt x="66" y="205"/>
                    </a:cubicBezTo>
                    <a:cubicBezTo>
                      <a:pt x="50" y="190"/>
                      <a:pt x="50" y="190"/>
                      <a:pt x="50" y="190"/>
                    </a:cubicBezTo>
                    <a:cubicBezTo>
                      <a:pt x="52" y="188"/>
                      <a:pt x="53" y="187"/>
                      <a:pt x="56" y="186"/>
                    </a:cubicBezTo>
                    <a:cubicBezTo>
                      <a:pt x="55" y="185"/>
                      <a:pt x="55" y="184"/>
                      <a:pt x="54" y="183"/>
                    </a:cubicBezTo>
                    <a:cubicBezTo>
                      <a:pt x="54" y="182"/>
                      <a:pt x="54" y="181"/>
                      <a:pt x="53" y="181"/>
                    </a:cubicBezTo>
                    <a:cubicBezTo>
                      <a:pt x="52" y="181"/>
                      <a:pt x="51" y="181"/>
                      <a:pt x="51" y="181"/>
                    </a:cubicBezTo>
                    <a:cubicBezTo>
                      <a:pt x="50" y="180"/>
                      <a:pt x="49" y="180"/>
                      <a:pt x="48" y="179"/>
                    </a:cubicBezTo>
                    <a:cubicBezTo>
                      <a:pt x="45" y="179"/>
                      <a:pt x="44" y="179"/>
                      <a:pt x="42" y="178"/>
                    </a:cubicBezTo>
                    <a:cubicBezTo>
                      <a:pt x="41" y="178"/>
                      <a:pt x="41" y="177"/>
                      <a:pt x="41" y="177"/>
                    </a:cubicBezTo>
                    <a:cubicBezTo>
                      <a:pt x="39" y="176"/>
                      <a:pt x="38" y="176"/>
                      <a:pt x="37" y="175"/>
                    </a:cubicBezTo>
                    <a:cubicBezTo>
                      <a:pt x="35" y="174"/>
                      <a:pt x="34" y="173"/>
                      <a:pt x="33" y="172"/>
                    </a:cubicBezTo>
                    <a:cubicBezTo>
                      <a:pt x="31" y="171"/>
                      <a:pt x="30" y="170"/>
                      <a:pt x="29" y="169"/>
                    </a:cubicBezTo>
                    <a:cubicBezTo>
                      <a:pt x="28" y="168"/>
                      <a:pt x="28" y="167"/>
                      <a:pt x="27" y="166"/>
                    </a:cubicBezTo>
                    <a:cubicBezTo>
                      <a:pt x="27" y="165"/>
                      <a:pt x="27" y="164"/>
                      <a:pt x="26" y="164"/>
                    </a:cubicBezTo>
                    <a:cubicBezTo>
                      <a:pt x="24" y="164"/>
                      <a:pt x="23" y="166"/>
                      <a:pt x="21" y="167"/>
                    </a:cubicBezTo>
                    <a:cubicBezTo>
                      <a:pt x="20" y="167"/>
                      <a:pt x="19" y="167"/>
                      <a:pt x="17" y="167"/>
                    </a:cubicBezTo>
                    <a:cubicBezTo>
                      <a:pt x="16" y="168"/>
                      <a:pt x="16" y="169"/>
                      <a:pt x="15" y="169"/>
                    </a:cubicBezTo>
                    <a:cubicBezTo>
                      <a:pt x="13" y="169"/>
                      <a:pt x="12" y="167"/>
                      <a:pt x="11" y="166"/>
                    </a:cubicBezTo>
                    <a:cubicBezTo>
                      <a:pt x="12" y="163"/>
                      <a:pt x="13" y="162"/>
                      <a:pt x="15" y="159"/>
                    </a:cubicBezTo>
                    <a:cubicBezTo>
                      <a:pt x="17" y="157"/>
                      <a:pt x="18" y="156"/>
                      <a:pt x="20" y="153"/>
                    </a:cubicBezTo>
                    <a:cubicBezTo>
                      <a:pt x="20" y="152"/>
                      <a:pt x="20" y="150"/>
                      <a:pt x="21" y="149"/>
                    </a:cubicBezTo>
                    <a:cubicBezTo>
                      <a:pt x="21" y="147"/>
                      <a:pt x="22" y="145"/>
                      <a:pt x="22" y="143"/>
                    </a:cubicBezTo>
                    <a:cubicBezTo>
                      <a:pt x="22" y="140"/>
                      <a:pt x="21" y="139"/>
                      <a:pt x="19" y="136"/>
                    </a:cubicBezTo>
                    <a:cubicBezTo>
                      <a:pt x="18" y="135"/>
                      <a:pt x="17" y="135"/>
                      <a:pt x="17" y="133"/>
                    </a:cubicBezTo>
                    <a:cubicBezTo>
                      <a:pt x="17" y="133"/>
                      <a:pt x="17" y="133"/>
                      <a:pt x="17" y="132"/>
                    </a:cubicBezTo>
                    <a:cubicBezTo>
                      <a:pt x="16" y="130"/>
                      <a:pt x="16" y="129"/>
                      <a:pt x="16" y="127"/>
                    </a:cubicBezTo>
                    <a:cubicBezTo>
                      <a:pt x="16" y="124"/>
                      <a:pt x="17" y="123"/>
                      <a:pt x="17" y="120"/>
                    </a:cubicBezTo>
                    <a:cubicBezTo>
                      <a:pt x="17" y="116"/>
                      <a:pt x="14" y="115"/>
                      <a:pt x="13" y="112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3" y="111"/>
                      <a:pt x="13" y="110"/>
                      <a:pt x="12" y="109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13" y="104"/>
                      <a:pt x="13" y="103"/>
                      <a:pt x="12" y="102"/>
                    </a:cubicBezTo>
                    <a:cubicBezTo>
                      <a:pt x="12" y="101"/>
                      <a:pt x="11" y="101"/>
                      <a:pt x="11" y="100"/>
                    </a:cubicBezTo>
                    <a:cubicBezTo>
                      <a:pt x="11" y="99"/>
                      <a:pt x="12" y="98"/>
                      <a:pt x="12" y="98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4" y="97"/>
                      <a:pt x="14" y="97"/>
                      <a:pt x="15" y="96"/>
                    </a:cubicBezTo>
                    <a:cubicBezTo>
                      <a:pt x="15" y="96"/>
                      <a:pt x="15" y="95"/>
                      <a:pt x="15" y="95"/>
                    </a:cubicBezTo>
                    <a:cubicBezTo>
                      <a:pt x="15" y="93"/>
                      <a:pt x="14" y="92"/>
                      <a:pt x="13" y="90"/>
                    </a:cubicBezTo>
                    <a:cubicBezTo>
                      <a:pt x="12" y="90"/>
                      <a:pt x="12" y="90"/>
                      <a:pt x="11" y="89"/>
                    </a:cubicBezTo>
                    <a:cubicBezTo>
                      <a:pt x="10" y="89"/>
                      <a:pt x="10" y="88"/>
                      <a:pt x="9" y="88"/>
                    </a:cubicBezTo>
                    <a:cubicBezTo>
                      <a:pt x="9" y="88"/>
                      <a:pt x="8" y="88"/>
                      <a:pt x="8" y="87"/>
                    </a:cubicBezTo>
                    <a:cubicBezTo>
                      <a:pt x="7" y="87"/>
                      <a:pt x="7" y="86"/>
                      <a:pt x="6" y="85"/>
                    </a:cubicBezTo>
                    <a:cubicBezTo>
                      <a:pt x="5" y="85"/>
                      <a:pt x="5" y="85"/>
                      <a:pt x="4" y="85"/>
                    </a:cubicBezTo>
                    <a:cubicBezTo>
                      <a:pt x="4" y="84"/>
                      <a:pt x="3" y="84"/>
                      <a:pt x="3" y="84"/>
                    </a:cubicBezTo>
                    <a:cubicBezTo>
                      <a:pt x="3" y="84"/>
                      <a:pt x="2" y="84"/>
                      <a:pt x="2" y="84"/>
                    </a:cubicBezTo>
                    <a:cubicBezTo>
                      <a:pt x="1" y="83"/>
                      <a:pt x="1" y="82"/>
                      <a:pt x="1" y="81"/>
                    </a:cubicBezTo>
                    <a:cubicBezTo>
                      <a:pt x="1" y="81"/>
                      <a:pt x="0" y="81"/>
                      <a:pt x="0" y="81"/>
                    </a:cubicBezTo>
                    <a:cubicBezTo>
                      <a:pt x="0" y="80"/>
                      <a:pt x="1" y="79"/>
                      <a:pt x="2" y="78"/>
                    </a:cubicBezTo>
                    <a:cubicBezTo>
                      <a:pt x="3" y="77"/>
                      <a:pt x="3" y="76"/>
                      <a:pt x="4" y="75"/>
                    </a:cubicBezTo>
                    <a:cubicBezTo>
                      <a:pt x="5" y="75"/>
                      <a:pt x="6" y="75"/>
                      <a:pt x="6" y="74"/>
                    </a:cubicBezTo>
                    <a:cubicBezTo>
                      <a:pt x="7" y="72"/>
                      <a:pt x="7" y="71"/>
                      <a:pt x="8" y="69"/>
                    </a:cubicBezTo>
                    <a:cubicBezTo>
                      <a:pt x="8" y="68"/>
                      <a:pt x="9" y="67"/>
                      <a:pt x="9" y="65"/>
                    </a:cubicBezTo>
                    <a:cubicBezTo>
                      <a:pt x="9" y="63"/>
                      <a:pt x="9" y="62"/>
                      <a:pt x="9" y="60"/>
                    </a:cubicBezTo>
                    <a:cubicBezTo>
                      <a:pt x="9" y="58"/>
                      <a:pt x="8" y="58"/>
                      <a:pt x="8" y="56"/>
                    </a:cubicBezTo>
                    <a:cubicBezTo>
                      <a:pt x="8" y="55"/>
                      <a:pt x="7" y="55"/>
                      <a:pt x="7" y="54"/>
                    </a:cubicBezTo>
                    <a:cubicBezTo>
                      <a:pt x="7" y="52"/>
                      <a:pt x="7" y="51"/>
                      <a:pt x="7" y="49"/>
                    </a:cubicBezTo>
                    <a:cubicBezTo>
                      <a:pt x="7" y="47"/>
                      <a:pt x="7" y="46"/>
                      <a:pt x="8" y="45"/>
                    </a:cubicBezTo>
                    <a:cubicBezTo>
                      <a:pt x="8" y="45"/>
                      <a:pt x="8" y="46"/>
                      <a:pt x="8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0" y="47"/>
                      <a:pt x="10" y="46"/>
                      <a:pt x="11" y="46"/>
                    </a:cubicBezTo>
                    <a:cubicBezTo>
                      <a:pt x="12" y="46"/>
                      <a:pt x="13" y="47"/>
                      <a:pt x="13" y="48"/>
                    </a:cubicBezTo>
                    <a:cubicBezTo>
                      <a:pt x="15" y="49"/>
                      <a:pt x="16" y="50"/>
                      <a:pt x="16" y="52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7" y="62"/>
                      <a:pt x="17" y="62"/>
                      <a:pt x="18" y="62"/>
                    </a:cubicBezTo>
                    <a:cubicBezTo>
                      <a:pt x="19" y="62"/>
                      <a:pt x="19" y="61"/>
                      <a:pt x="19" y="61"/>
                    </a:cubicBezTo>
                    <a:cubicBezTo>
                      <a:pt x="19" y="57"/>
                      <a:pt x="18" y="55"/>
                      <a:pt x="18" y="51"/>
                    </a:cubicBezTo>
                    <a:cubicBezTo>
                      <a:pt x="18" y="49"/>
                      <a:pt x="18" y="49"/>
                      <a:pt x="18" y="49"/>
                    </a:cubicBezTo>
                    <a:cubicBezTo>
                      <a:pt x="17" y="48"/>
                      <a:pt x="16" y="48"/>
                      <a:pt x="16" y="47"/>
                    </a:cubicBezTo>
                    <a:cubicBezTo>
                      <a:pt x="16" y="44"/>
                      <a:pt x="18" y="43"/>
                      <a:pt x="19" y="41"/>
                    </a:cubicBezTo>
                    <a:cubicBezTo>
                      <a:pt x="19" y="40"/>
                      <a:pt x="19" y="40"/>
                      <a:pt x="20" y="39"/>
                    </a:cubicBezTo>
                    <a:cubicBezTo>
                      <a:pt x="21" y="37"/>
                      <a:pt x="22" y="37"/>
                      <a:pt x="22" y="35"/>
                    </a:cubicBezTo>
                    <a:cubicBezTo>
                      <a:pt x="22" y="35"/>
                      <a:pt x="21" y="34"/>
                      <a:pt x="21" y="34"/>
                    </a:cubicBezTo>
                    <a:cubicBezTo>
                      <a:pt x="19" y="36"/>
                      <a:pt x="18" y="38"/>
                      <a:pt x="15" y="40"/>
                    </a:cubicBezTo>
                    <a:cubicBezTo>
                      <a:pt x="14" y="39"/>
                      <a:pt x="14" y="38"/>
                      <a:pt x="13" y="37"/>
                    </a:cubicBezTo>
                    <a:cubicBezTo>
                      <a:pt x="13" y="36"/>
                      <a:pt x="12" y="36"/>
                      <a:pt x="12" y="35"/>
                    </a:cubicBezTo>
                    <a:cubicBezTo>
                      <a:pt x="12" y="34"/>
                      <a:pt x="13" y="34"/>
                      <a:pt x="14" y="34"/>
                    </a:cubicBezTo>
                    <a:cubicBezTo>
                      <a:pt x="15" y="33"/>
                      <a:pt x="15" y="33"/>
                      <a:pt x="16" y="32"/>
                    </a:cubicBezTo>
                    <a:cubicBezTo>
                      <a:pt x="18" y="31"/>
                      <a:pt x="19" y="30"/>
                      <a:pt x="21" y="30"/>
                    </a:cubicBezTo>
                    <a:cubicBezTo>
                      <a:pt x="25" y="29"/>
                      <a:pt x="27" y="29"/>
                      <a:pt x="32" y="28"/>
                    </a:cubicBezTo>
                    <a:cubicBezTo>
                      <a:pt x="35" y="28"/>
                      <a:pt x="38" y="27"/>
                      <a:pt x="41" y="26"/>
                    </a:cubicBezTo>
                    <a:cubicBezTo>
                      <a:pt x="44" y="26"/>
                      <a:pt x="46" y="26"/>
                      <a:pt x="49" y="25"/>
                    </a:cubicBezTo>
                    <a:cubicBezTo>
                      <a:pt x="51" y="25"/>
                      <a:pt x="52" y="24"/>
                      <a:pt x="53" y="24"/>
                    </a:cubicBezTo>
                    <a:cubicBezTo>
                      <a:pt x="55" y="24"/>
                      <a:pt x="56" y="22"/>
                      <a:pt x="57" y="21"/>
                    </a:cubicBezTo>
                    <a:cubicBezTo>
                      <a:pt x="60" y="20"/>
                      <a:pt x="61" y="17"/>
                      <a:pt x="63" y="15"/>
                    </a:cubicBezTo>
                    <a:cubicBezTo>
                      <a:pt x="64" y="13"/>
                      <a:pt x="66" y="12"/>
                      <a:pt x="68" y="12"/>
                    </a:cubicBezTo>
                    <a:cubicBezTo>
                      <a:pt x="69" y="11"/>
                      <a:pt x="70" y="10"/>
                      <a:pt x="72" y="10"/>
                    </a:cubicBezTo>
                    <a:cubicBezTo>
                      <a:pt x="74" y="10"/>
                      <a:pt x="75" y="9"/>
                      <a:pt x="76" y="9"/>
                    </a:cubicBezTo>
                    <a:cubicBezTo>
                      <a:pt x="77" y="8"/>
                      <a:pt x="78" y="8"/>
                      <a:pt x="78" y="8"/>
                    </a:cubicBezTo>
                    <a:cubicBezTo>
                      <a:pt x="79" y="7"/>
                      <a:pt x="79" y="6"/>
                      <a:pt x="79" y="6"/>
                    </a:cubicBezTo>
                    <a:cubicBezTo>
                      <a:pt x="81" y="5"/>
                      <a:pt x="82" y="5"/>
                      <a:pt x="84" y="4"/>
                    </a:cubicBezTo>
                    <a:cubicBezTo>
                      <a:pt x="87" y="3"/>
                      <a:pt x="89" y="2"/>
                      <a:pt x="92" y="2"/>
                    </a:cubicBezTo>
                    <a:cubicBezTo>
                      <a:pt x="93" y="2"/>
                      <a:pt x="94" y="2"/>
                      <a:pt x="95" y="2"/>
                    </a:cubicBezTo>
                    <a:cubicBezTo>
                      <a:pt x="96" y="2"/>
                      <a:pt x="96" y="2"/>
                      <a:pt x="97" y="2"/>
                    </a:cubicBezTo>
                    <a:cubicBezTo>
                      <a:pt x="98" y="2"/>
                      <a:pt x="99" y="2"/>
                      <a:pt x="100" y="2"/>
                    </a:cubicBezTo>
                    <a:cubicBezTo>
                      <a:pt x="101" y="2"/>
                      <a:pt x="102" y="2"/>
                      <a:pt x="102" y="2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10" y="2"/>
                      <a:pt x="112" y="2"/>
                      <a:pt x="114" y="0"/>
                    </a:cubicBezTo>
                    <a:cubicBezTo>
                      <a:pt x="115" y="1"/>
                      <a:pt x="115" y="1"/>
                      <a:pt x="116" y="2"/>
                    </a:cubicBezTo>
                    <a:cubicBezTo>
                      <a:pt x="115" y="3"/>
                      <a:pt x="115" y="3"/>
                      <a:pt x="114" y="3"/>
                    </a:cubicBezTo>
                    <a:cubicBezTo>
                      <a:pt x="114" y="3"/>
                      <a:pt x="114" y="2"/>
                      <a:pt x="113" y="2"/>
                    </a:cubicBezTo>
                    <a:cubicBezTo>
                      <a:pt x="113" y="2"/>
                      <a:pt x="113" y="3"/>
                      <a:pt x="113" y="3"/>
                    </a:cubicBezTo>
                    <a:cubicBezTo>
                      <a:pt x="113" y="4"/>
                      <a:pt x="113" y="5"/>
                      <a:pt x="113" y="6"/>
                    </a:cubicBezTo>
                    <a:cubicBezTo>
                      <a:pt x="114" y="7"/>
                      <a:pt x="114" y="7"/>
                      <a:pt x="115" y="8"/>
                    </a:cubicBezTo>
                    <a:cubicBezTo>
                      <a:pt x="117" y="10"/>
                      <a:pt x="118" y="12"/>
                      <a:pt x="119" y="15"/>
                    </a:cubicBezTo>
                    <a:cubicBezTo>
                      <a:pt x="120" y="18"/>
                      <a:pt x="120" y="20"/>
                      <a:pt x="123" y="21"/>
                    </a:cubicBezTo>
                    <a:cubicBezTo>
                      <a:pt x="124" y="23"/>
                      <a:pt x="126" y="22"/>
                      <a:pt x="128" y="22"/>
                    </a:cubicBezTo>
                    <a:cubicBezTo>
                      <a:pt x="131" y="22"/>
                      <a:pt x="132" y="22"/>
                      <a:pt x="134" y="22"/>
                    </a:cubicBezTo>
                    <a:cubicBezTo>
                      <a:pt x="136" y="22"/>
                      <a:pt x="137" y="22"/>
                      <a:pt x="138" y="21"/>
                    </a:cubicBezTo>
                    <a:cubicBezTo>
                      <a:pt x="139" y="20"/>
                      <a:pt x="140" y="20"/>
                      <a:pt x="141" y="19"/>
                    </a:cubicBezTo>
                    <a:cubicBezTo>
                      <a:pt x="143" y="18"/>
                      <a:pt x="144" y="18"/>
                      <a:pt x="145" y="16"/>
                    </a:cubicBezTo>
                    <a:cubicBezTo>
                      <a:pt x="146" y="15"/>
                      <a:pt x="146" y="14"/>
                      <a:pt x="147" y="13"/>
                    </a:cubicBezTo>
                    <a:cubicBezTo>
                      <a:pt x="150" y="14"/>
                      <a:pt x="152" y="13"/>
                      <a:pt x="156" y="14"/>
                    </a:cubicBezTo>
                    <a:cubicBezTo>
                      <a:pt x="157" y="15"/>
                      <a:pt x="158" y="15"/>
                      <a:pt x="160" y="16"/>
                    </a:cubicBezTo>
                    <a:cubicBezTo>
                      <a:pt x="165" y="17"/>
                      <a:pt x="167" y="19"/>
                      <a:pt x="173" y="19"/>
                    </a:cubicBezTo>
                    <a:cubicBezTo>
                      <a:pt x="174" y="19"/>
                      <a:pt x="175" y="20"/>
                      <a:pt x="176" y="20"/>
                    </a:cubicBezTo>
                    <a:cubicBezTo>
                      <a:pt x="182" y="20"/>
                      <a:pt x="185" y="21"/>
                      <a:pt x="191" y="21"/>
                    </a:cubicBezTo>
                    <a:cubicBezTo>
                      <a:pt x="194" y="21"/>
                      <a:pt x="196" y="22"/>
                      <a:pt x="199" y="22"/>
                    </a:cubicBezTo>
                    <a:cubicBezTo>
                      <a:pt x="203" y="22"/>
                      <a:pt x="205" y="22"/>
                      <a:pt x="209" y="22"/>
                    </a:cubicBezTo>
                    <a:cubicBezTo>
                      <a:pt x="211" y="22"/>
                      <a:pt x="213" y="21"/>
                      <a:pt x="216" y="21"/>
                    </a:cubicBezTo>
                    <a:cubicBezTo>
                      <a:pt x="218" y="21"/>
                      <a:pt x="220" y="21"/>
                      <a:pt x="222" y="21"/>
                    </a:cubicBezTo>
                    <a:cubicBezTo>
                      <a:pt x="224" y="21"/>
                      <a:pt x="226" y="21"/>
                      <a:pt x="229" y="21"/>
                    </a:cubicBezTo>
                    <a:cubicBezTo>
                      <a:pt x="229" y="21"/>
                      <a:pt x="230" y="21"/>
                      <a:pt x="231" y="21"/>
                    </a:cubicBezTo>
                    <a:cubicBezTo>
                      <a:pt x="233" y="22"/>
                      <a:pt x="234" y="22"/>
                      <a:pt x="236" y="23"/>
                    </a:cubicBezTo>
                    <a:cubicBezTo>
                      <a:pt x="238" y="24"/>
                      <a:pt x="239" y="24"/>
                      <a:pt x="242" y="25"/>
                    </a:cubicBezTo>
                    <a:cubicBezTo>
                      <a:pt x="244" y="26"/>
                      <a:pt x="245" y="28"/>
                      <a:pt x="246" y="31"/>
                    </a:cubicBezTo>
                    <a:cubicBezTo>
                      <a:pt x="246" y="32"/>
                      <a:pt x="247" y="33"/>
                      <a:pt x="247" y="3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2" name="Freeform 130">
                <a:extLst>
                  <a:ext uri="{FF2B5EF4-FFF2-40B4-BE49-F238E27FC236}">
                    <a16:creationId xmlns:a16="http://schemas.microsoft.com/office/drawing/2014/main" xmlns="" id="{6EC8C05F-BE9D-4BB0-B3B2-22B11DE5D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2158" y="2010837"/>
                <a:ext cx="343616" cy="273012"/>
              </a:xfrm>
              <a:custGeom>
                <a:avLst/>
                <a:gdLst>
                  <a:gd name="T0" fmla="*/ 68 w 136"/>
                  <a:gd name="T1" fmla="*/ 108 h 108"/>
                  <a:gd name="T2" fmla="*/ 77 w 136"/>
                  <a:gd name="T3" fmla="*/ 107 h 108"/>
                  <a:gd name="T4" fmla="*/ 84 w 136"/>
                  <a:gd name="T5" fmla="*/ 106 h 108"/>
                  <a:gd name="T6" fmla="*/ 92 w 136"/>
                  <a:gd name="T7" fmla="*/ 104 h 108"/>
                  <a:gd name="T8" fmla="*/ 96 w 136"/>
                  <a:gd name="T9" fmla="*/ 102 h 108"/>
                  <a:gd name="T10" fmla="*/ 95 w 136"/>
                  <a:gd name="T11" fmla="*/ 97 h 108"/>
                  <a:gd name="T12" fmla="*/ 98 w 136"/>
                  <a:gd name="T13" fmla="*/ 94 h 108"/>
                  <a:gd name="T14" fmla="*/ 100 w 136"/>
                  <a:gd name="T15" fmla="*/ 94 h 108"/>
                  <a:gd name="T16" fmla="*/ 110 w 136"/>
                  <a:gd name="T17" fmla="*/ 93 h 108"/>
                  <a:gd name="T18" fmla="*/ 118 w 136"/>
                  <a:gd name="T19" fmla="*/ 95 h 108"/>
                  <a:gd name="T20" fmla="*/ 117 w 136"/>
                  <a:gd name="T21" fmla="*/ 79 h 108"/>
                  <a:gd name="T22" fmla="*/ 118 w 136"/>
                  <a:gd name="T23" fmla="*/ 72 h 108"/>
                  <a:gd name="T24" fmla="*/ 122 w 136"/>
                  <a:gd name="T25" fmla="*/ 63 h 108"/>
                  <a:gd name="T26" fmla="*/ 129 w 136"/>
                  <a:gd name="T27" fmla="*/ 60 h 108"/>
                  <a:gd name="T28" fmla="*/ 132 w 136"/>
                  <a:gd name="T29" fmla="*/ 51 h 108"/>
                  <a:gd name="T30" fmla="*/ 131 w 136"/>
                  <a:gd name="T31" fmla="*/ 45 h 108"/>
                  <a:gd name="T32" fmla="*/ 131 w 136"/>
                  <a:gd name="T33" fmla="*/ 37 h 108"/>
                  <a:gd name="T34" fmla="*/ 132 w 136"/>
                  <a:gd name="T35" fmla="*/ 27 h 108"/>
                  <a:gd name="T36" fmla="*/ 116 w 136"/>
                  <a:gd name="T37" fmla="*/ 18 h 108"/>
                  <a:gd name="T38" fmla="*/ 105 w 136"/>
                  <a:gd name="T39" fmla="*/ 9 h 108"/>
                  <a:gd name="T40" fmla="*/ 96 w 136"/>
                  <a:gd name="T41" fmla="*/ 5 h 108"/>
                  <a:gd name="T42" fmla="*/ 91 w 136"/>
                  <a:gd name="T43" fmla="*/ 0 h 108"/>
                  <a:gd name="T44" fmla="*/ 79 w 136"/>
                  <a:gd name="T45" fmla="*/ 4 h 108"/>
                  <a:gd name="T46" fmla="*/ 70 w 136"/>
                  <a:gd name="T47" fmla="*/ 4 h 108"/>
                  <a:gd name="T48" fmla="*/ 52 w 136"/>
                  <a:gd name="T49" fmla="*/ 4 h 108"/>
                  <a:gd name="T50" fmla="*/ 45 w 136"/>
                  <a:gd name="T51" fmla="*/ 5 h 108"/>
                  <a:gd name="T52" fmla="*/ 34 w 136"/>
                  <a:gd name="T53" fmla="*/ 6 h 108"/>
                  <a:gd name="T54" fmla="*/ 19 w 136"/>
                  <a:gd name="T55" fmla="*/ 6 h 108"/>
                  <a:gd name="T56" fmla="*/ 13 w 136"/>
                  <a:gd name="T57" fmla="*/ 11 h 108"/>
                  <a:gd name="T58" fmla="*/ 8 w 136"/>
                  <a:gd name="T59" fmla="*/ 18 h 108"/>
                  <a:gd name="T60" fmla="*/ 2 w 136"/>
                  <a:gd name="T61" fmla="*/ 18 h 108"/>
                  <a:gd name="T62" fmla="*/ 1 w 136"/>
                  <a:gd name="T63" fmla="*/ 23 h 108"/>
                  <a:gd name="T64" fmla="*/ 2 w 136"/>
                  <a:gd name="T65" fmla="*/ 32 h 108"/>
                  <a:gd name="T66" fmla="*/ 4 w 136"/>
                  <a:gd name="T67" fmla="*/ 42 h 108"/>
                  <a:gd name="T68" fmla="*/ 4 w 136"/>
                  <a:gd name="T69" fmla="*/ 49 h 108"/>
                  <a:gd name="T70" fmla="*/ 5 w 136"/>
                  <a:gd name="T71" fmla="*/ 54 h 108"/>
                  <a:gd name="T72" fmla="*/ 16 w 136"/>
                  <a:gd name="T73" fmla="*/ 60 h 108"/>
                  <a:gd name="T74" fmla="*/ 21 w 136"/>
                  <a:gd name="T75" fmla="*/ 61 h 108"/>
                  <a:gd name="T76" fmla="*/ 27 w 136"/>
                  <a:gd name="T77" fmla="*/ 64 h 108"/>
                  <a:gd name="T78" fmla="*/ 35 w 136"/>
                  <a:gd name="T79" fmla="*/ 63 h 108"/>
                  <a:gd name="T80" fmla="*/ 42 w 136"/>
                  <a:gd name="T81" fmla="*/ 66 h 108"/>
                  <a:gd name="T82" fmla="*/ 42 w 136"/>
                  <a:gd name="T83" fmla="*/ 93 h 108"/>
                  <a:gd name="T84" fmla="*/ 49 w 136"/>
                  <a:gd name="T85" fmla="*/ 95 h 108"/>
                  <a:gd name="T86" fmla="*/ 56 w 136"/>
                  <a:gd name="T87" fmla="*/ 97 h 108"/>
                  <a:gd name="T88" fmla="*/ 66 w 136"/>
                  <a:gd name="T89" fmla="*/ 10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" h="108">
                    <a:moveTo>
                      <a:pt x="67" y="108"/>
                    </a:moveTo>
                    <a:cubicBezTo>
                      <a:pt x="67" y="108"/>
                      <a:pt x="67" y="108"/>
                      <a:pt x="68" y="108"/>
                    </a:cubicBezTo>
                    <a:cubicBezTo>
                      <a:pt x="70" y="108"/>
                      <a:pt x="71" y="105"/>
                      <a:pt x="73" y="105"/>
                    </a:cubicBezTo>
                    <a:cubicBezTo>
                      <a:pt x="75" y="105"/>
                      <a:pt x="75" y="107"/>
                      <a:pt x="77" y="107"/>
                    </a:cubicBezTo>
                    <a:cubicBezTo>
                      <a:pt x="78" y="108"/>
                      <a:pt x="79" y="108"/>
                      <a:pt x="81" y="108"/>
                    </a:cubicBezTo>
                    <a:cubicBezTo>
                      <a:pt x="82" y="108"/>
                      <a:pt x="83" y="107"/>
                      <a:pt x="84" y="106"/>
                    </a:cubicBezTo>
                    <a:cubicBezTo>
                      <a:pt x="86" y="105"/>
                      <a:pt x="87" y="104"/>
                      <a:pt x="89" y="104"/>
                    </a:cubicBezTo>
                    <a:cubicBezTo>
                      <a:pt x="90" y="104"/>
                      <a:pt x="91" y="104"/>
                      <a:pt x="92" y="104"/>
                    </a:cubicBezTo>
                    <a:cubicBezTo>
                      <a:pt x="94" y="104"/>
                      <a:pt x="95" y="103"/>
                      <a:pt x="96" y="103"/>
                    </a:cubicBezTo>
                    <a:cubicBezTo>
                      <a:pt x="96" y="103"/>
                      <a:pt x="96" y="102"/>
                      <a:pt x="96" y="102"/>
                    </a:cubicBezTo>
                    <a:cubicBezTo>
                      <a:pt x="95" y="100"/>
                      <a:pt x="93" y="100"/>
                      <a:pt x="93" y="98"/>
                    </a:cubicBezTo>
                    <a:cubicBezTo>
                      <a:pt x="93" y="97"/>
                      <a:pt x="94" y="97"/>
                      <a:pt x="95" y="97"/>
                    </a:cubicBezTo>
                    <a:cubicBezTo>
                      <a:pt x="96" y="96"/>
                      <a:pt x="96" y="95"/>
                      <a:pt x="97" y="94"/>
                    </a:cubicBezTo>
                    <a:cubicBezTo>
                      <a:pt x="97" y="94"/>
                      <a:pt x="97" y="94"/>
                      <a:pt x="98" y="94"/>
                    </a:cubicBezTo>
                    <a:cubicBezTo>
                      <a:pt x="98" y="94"/>
                      <a:pt x="98" y="95"/>
                      <a:pt x="98" y="95"/>
                    </a:cubicBezTo>
                    <a:cubicBezTo>
                      <a:pt x="99" y="95"/>
                      <a:pt x="100" y="94"/>
                      <a:pt x="100" y="94"/>
                    </a:cubicBezTo>
                    <a:cubicBezTo>
                      <a:pt x="102" y="93"/>
                      <a:pt x="103" y="93"/>
                      <a:pt x="104" y="93"/>
                    </a:cubicBezTo>
                    <a:cubicBezTo>
                      <a:pt x="107" y="93"/>
                      <a:pt x="108" y="93"/>
                      <a:pt x="110" y="93"/>
                    </a:cubicBezTo>
                    <a:cubicBezTo>
                      <a:pt x="118" y="96"/>
                      <a:pt x="118" y="96"/>
                      <a:pt x="118" y="96"/>
                    </a:cubicBezTo>
                    <a:cubicBezTo>
                      <a:pt x="118" y="95"/>
                      <a:pt x="118" y="95"/>
                      <a:pt x="118" y="95"/>
                    </a:cubicBezTo>
                    <a:cubicBezTo>
                      <a:pt x="116" y="84"/>
                      <a:pt x="116" y="84"/>
                      <a:pt x="116" y="84"/>
                    </a:cubicBezTo>
                    <a:cubicBezTo>
                      <a:pt x="116" y="82"/>
                      <a:pt x="117" y="81"/>
                      <a:pt x="117" y="79"/>
                    </a:cubicBezTo>
                    <a:cubicBezTo>
                      <a:pt x="118" y="78"/>
                      <a:pt x="118" y="78"/>
                      <a:pt x="118" y="77"/>
                    </a:cubicBezTo>
                    <a:cubicBezTo>
                      <a:pt x="118" y="75"/>
                      <a:pt x="118" y="74"/>
                      <a:pt x="118" y="72"/>
                    </a:cubicBezTo>
                    <a:cubicBezTo>
                      <a:pt x="118" y="70"/>
                      <a:pt x="119" y="68"/>
                      <a:pt x="120" y="66"/>
                    </a:cubicBezTo>
                    <a:cubicBezTo>
                      <a:pt x="120" y="65"/>
                      <a:pt x="120" y="63"/>
                      <a:pt x="122" y="63"/>
                    </a:cubicBezTo>
                    <a:cubicBezTo>
                      <a:pt x="123" y="63"/>
                      <a:pt x="123" y="64"/>
                      <a:pt x="124" y="64"/>
                    </a:cubicBezTo>
                    <a:cubicBezTo>
                      <a:pt x="127" y="64"/>
                      <a:pt x="129" y="63"/>
                      <a:pt x="129" y="60"/>
                    </a:cubicBezTo>
                    <a:cubicBezTo>
                      <a:pt x="129" y="58"/>
                      <a:pt x="129" y="57"/>
                      <a:pt x="129" y="55"/>
                    </a:cubicBezTo>
                    <a:cubicBezTo>
                      <a:pt x="129" y="53"/>
                      <a:pt x="131" y="52"/>
                      <a:pt x="132" y="51"/>
                    </a:cubicBezTo>
                    <a:cubicBezTo>
                      <a:pt x="134" y="50"/>
                      <a:pt x="135" y="49"/>
                      <a:pt x="136" y="47"/>
                    </a:cubicBezTo>
                    <a:cubicBezTo>
                      <a:pt x="134" y="45"/>
                      <a:pt x="132" y="46"/>
                      <a:pt x="131" y="45"/>
                    </a:cubicBezTo>
                    <a:cubicBezTo>
                      <a:pt x="130" y="44"/>
                      <a:pt x="129" y="43"/>
                      <a:pt x="129" y="42"/>
                    </a:cubicBezTo>
                    <a:cubicBezTo>
                      <a:pt x="129" y="40"/>
                      <a:pt x="130" y="39"/>
                      <a:pt x="131" y="37"/>
                    </a:cubicBezTo>
                    <a:cubicBezTo>
                      <a:pt x="131" y="36"/>
                      <a:pt x="131" y="35"/>
                      <a:pt x="131" y="33"/>
                    </a:cubicBezTo>
                    <a:cubicBezTo>
                      <a:pt x="132" y="31"/>
                      <a:pt x="132" y="30"/>
                      <a:pt x="132" y="27"/>
                    </a:cubicBezTo>
                    <a:cubicBezTo>
                      <a:pt x="129" y="26"/>
                      <a:pt x="127" y="25"/>
                      <a:pt x="124" y="24"/>
                    </a:cubicBezTo>
                    <a:cubicBezTo>
                      <a:pt x="120" y="22"/>
                      <a:pt x="119" y="20"/>
                      <a:pt x="116" y="18"/>
                    </a:cubicBezTo>
                    <a:cubicBezTo>
                      <a:pt x="114" y="16"/>
                      <a:pt x="113" y="15"/>
                      <a:pt x="111" y="13"/>
                    </a:cubicBezTo>
                    <a:cubicBezTo>
                      <a:pt x="109" y="11"/>
                      <a:pt x="108" y="10"/>
                      <a:pt x="105" y="9"/>
                    </a:cubicBezTo>
                    <a:cubicBezTo>
                      <a:pt x="104" y="8"/>
                      <a:pt x="103" y="9"/>
                      <a:pt x="101" y="8"/>
                    </a:cubicBezTo>
                    <a:cubicBezTo>
                      <a:pt x="99" y="7"/>
                      <a:pt x="98" y="6"/>
                      <a:pt x="96" y="5"/>
                    </a:cubicBezTo>
                    <a:cubicBezTo>
                      <a:pt x="95" y="4"/>
                      <a:pt x="94" y="4"/>
                      <a:pt x="93" y="2"/>
                    </a:cubicBezTo>
                    <a:cubicBezTo>
                      <a:pt x="93" y="1"/>
                      <a:pt x="92" y="0"/>
                      <a:pt x="91" y="0"/>
                    </a:cubicBezTo>
                    <a:cubicBezTo>
                      <a:pt x="88" y="0"/>
                      <a:pt x="86" y="2"/>
                      <a:pt x="83" y="3"/>
                    </a:cubicBezTo>
                    <a:cubicBezTo>
                      <a:pt x="81" y="3"/>
                      <a:pt x="81" y="3"/>
                      <a:pt x="79" y="4"/>
                    </a:cubicBezTo>
                    <a:cubicBezTo>
                      <a:pt x="78" y="4"/>
                      <a:pt x="78" y="5"/>
                      <a:pt x="77" y="5"/>
                    </a:cubicBezTo>
                    <a:cubicBezTo>
                      <a:pt x="74" y="5"/>
                      <a:pt x="73" y="4"/>
                      <a:pt x="70" y="4"/>
                    </a:cubicBezTo>
                    <a:cubicBezTo>
                      <a:pt x="66" y="4"/>
                      <a:pt x="63" y="5"/>
                      <a:pt x="59" y="5"/>
                    </a:cubicBezTo>
                    <a:cubicBezTo>
                      <a:pt x="56" y="5"/>
                      <a:pt x="55" y="4"/>
                      <a:pt x="52" y="4"/>
                    </a:cubicBezTo>
                    <a:cubicBezTo>
                      <a:pt x="50" y="4"/>
                      <a:pt x="49" y="5"/>
                      <a:pt x="48" y="5"/>
                    </a:cubicBezTo>
                    <a:cubicBezTo>
                      <a:pt x="47" y="5"/>
                      <a:pt x="46" y="5"/>
                      <a:pt x="45" y="5"/>
                    </a:cubicBezTo>
                    <a:cubicBezTo>
                      <a:pt x="43" y="5"/>
                      <a:pt x="42" y="5"/>
                      <a:pt x="40" y="5"/>
                    </a:cubicBezTo>
                    <a:cubicBezTo>
                      <a:pt x="38" y="5"/>
                      <a:pt x="36" y="6"/>
                      <a:pt x="34" y="6"/>
                    </a:cubicBezTo>
                    <a:cubicBezTo>
                      <a:pt x="32" y="6"/>
                      <a:pt x="30" y="6"/>
                      <a:pt x="28" y="6"/>
                    </a:cubicBezTo>
                    <a:cubicBezTo>
                      <a:pt x="24" y="6"/>
                      <a:pt x="22" y="6"/>
                      <a:pt x="19" y="6"/>
                    </a:cubicBezTo>
                    <a:cubicBezTo>
                      <a:pt x="18" y="6"/>
                      <a:pt x="17" y="7"/>
                      <a:pt x="17" y="7"/>
                    </a:cubicBezTo>
                    <a:cubicBezTo>
                      <a:pt x="15" y="8"/>
                      <a:pt x="14" y="9"/>
                      <a:pt x="13" y="11"/>
                    </a:cubicBezTo>
                    <a:cubicBezTo>
                      <a:pt x="12" y="13"/>
                      <a:pt x="10" y="15"/>
                      <a:pt x="8" y="17"/>
                    </a:cubicBezTo>
                    <a:cubicBezTo>
                      <a:pt x="8" y="17"/>
                      <a:pt x="8" y="18"/>
                      <a:pt x="8" y="18"/>
                    </a:cubicBezTo>
                    <a:cubicBezTo>
                      <a:pt x="7" y="18"/>
                      <a:pt x="7" y="19"/>
                      <a:pt x="6" y="19"/>
                    </a:cubicBezTo>
                    <a:cubicBezTo>
                      <a:pt x="4" y="19"/>
                      <a:pt x="3" y="18"/>
                      <a:pt x="2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1" y="21"/>
                      <a:pt x="1" y="2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" y="29"/>
                      <a:pt x="1" y="30"/>
                      <a:pt x="2" y="32"/>
                    </a:cubicBezTo>
                    <a:cubicBezTo>
                      <a:pt x="2" y="34"/>
                      <a:pt x="2" y="36"/>
                      <a:pt x="3" y="38"/>
                    </a:cubicBezTo>
                    <a:cubicBezTo>
                      <a:pt x="3" y="39"/>
                      <a:pt x="4" y="40"/>
                      <a:pt x="4" y="42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1"/>
                      <a:pt x="6" y="50"/>
                      <a:pt x="6" y="51"/>
                    </a:cubicBezTo>
                    <a:cubicBezTo>
                      <a:pt x="6" y="53"/>
                      <a:pt x="5" y="53"/>
                      <a:pt x="5" y="54"/>
                    </a:cubicBezTo>
                    <a:cubicBezTo>
                      <a:pt x="7" y="54"/>
                      <a:pt x="8" y="55"/>
                      <a:pt x="10" y="56"/>
                    </a:cubicBezTo>
                    <a:cubicBezTo>
                      <a:pt x="12" y="57"/>
                      <a:pt x="13" y="59"/>
                      <a:pt x="16" y="60"/>
                    </a:cubicBezTo>
                    <a:cubicBezTo>
                      <a:pt x="17" y="60"/>
                      <a:pt x="17" y="60"/>
                      <a:pt x="19" y="60"/>
                    </a:cubicBezTo>
                    <a:cubicBezTo>
                      <a:pt x="19" y="61"/>
                      <a:pt x="20" y="61"/>
                      <a:pt x="21" y="61"/>
                    </a:cubicBezTo>
                    <a:cubicBezTo>
                      <a:pt x="21" y="61"/>
                      <a:pt x="21" y="62"/>
                      <a:pt x="21" y="62"/>
                    </a:cubicBezTo>
                    <a:cubicBezTo>
                      <a:pt x="23" y="63"/>
                      <a:pt x="25" y="64"/>
                      <a:pt x="27" y="64"/>
                    </a:cubicBezTo>
                    <a:cubicBezTo>
                      <a:pt x="29" y="64"/>
                      <a:pt x="30" y="64"/>
                      <a:pt x="32" y="64"/>
                    </a:cubicBezTo>
                    <a:cubicBezTo>
                      <a:pt x="33" y="64"/>
                      <a:pt x="34" y="63"/>
                      <a:pt x="35" y="63"/>
                    </a:cubicBezTo>
                    <a:cubicBezTo>
                      <a:pt x="37" y="62"/>
                      <a:pt x="39" y="62"/>
                      <a:pt x="41" y="62"/>
                    </a:cubicBezTo>
                    <a:cubicBezTo>
                      <a:pt x="41" y="64"/>
                      <a:pt x="41" y="65"/>
                      <a:pt x="42" y="66"/>
                    </a:cubicBezTo>
                    <a:cubicBezTo>
                      <a:pt x="43" y="69"/>
                      <a:pt x="44" y="71"/>
                      <a:pt x="44" y="74"/>
                    </a:cubicBezTo>
                    <a:cubicBezTo>
                      <a:pt x="44" y="82"/>
                      <a:pt x="42" y="86"/>
                      <a:pt x="42" y="93"/>
                    </a:cubicBezTo>
                    <a:cubicBezTo>
                      <a:pt x="42" y="94"/>
                      <a:pt x="42" y="95"/>
                      <a:pt x="42" y="95"/>
                    </a:cubicBezTo>
                    <a:cubicBezTo>
                      <a:pt x="44" y="95"/>
                      <a:pt x="46" y="95"/>
                      <a:pt x="49" y="95"/>
                    </a:cubicBezTo>
                    <a:cubicBezTo>
                      <a:pt x="49" y="95"/>
                      <a:pt x="50" y="95"/>
                      <a:pt x="51" y="95"/>
                    </a:cubicBezTo>
                    <a:cubicBezTo>
                      <a:pt x="53" y="96"/>
                      <a:pt x="54" y="96"/>
                      <a:pt x="56" y="97"/>
                    </a:cubicBezTo>
                    <a:cubicBezTo>
                      <a:pt x="58" y="98"/>
                      <a:pt x="59" y="98"/>
                      <a:pt x="62" y="99"/>
                    </a:cubicBezTo>
                    <a:cubicBezTo>
                      <a:pt x="64" y="100"/>
                      <a:pt x="65" y="102"/>
                      <a:pt x="66" y="105"/>
                    </a:cubicBezTo>
                    <a:cubicBezTo>
                      <a:pt x="66" y="106"/>
                      <a:pt x="67" y="107"/>
                      <a:pt x="67" y="108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3" name="Freeform 131">
                <a:extLst>
                  <a:ext uri="{FF2B5EF4-FFF2-40B4-BE49-F238E27FC236}">
                    <a16:creationId xmlns:a16="http://schemas.microsoft.com/office/drawing/2014/main" xmlns="" id="{2EA225EC-4025-4BDB-B12E-4A0B8CD69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2581" y="1833619"/>
                <a:ext cx="441793" cy="245471"/>
              </a:xfrm>
              <a:custGeom>
                <a:avLst/>
                <a:gdLst>
                  <a:gd name="T0" fmla="*/ 173 w 175"/>
                  <a:gd name="T1" fmla="*/ 65 h 97"/>
                  <a:gd name="T2" fmla="*/ 168 w 175"/>
                  <a:gd name="T3" fmla="*/ 55 h 97"/>
                  <a:gd name="T4" fmla="*/ 164 w 175"/>
                  <a:gd name="T5" fmla="*/ 49 h 97"/>
                  <a:gd name="T6" fmla="*/ 160 w 175"/>
                  <a:gd name="T7" fmla="*/ 44 h 97"/>
                  <a:gd name="T8" fmla="*/ 157 w 175"/>
                  <a:gd name="T9" fmla="*/ 34 h 97"/>
                  <a:gd name="T10" fmla="*/ 155 w 175"/>
                  <a:gd name="T11" fmla="*/ 21 h 97"/>
                  <a:gd name="T12" fmla="*/ 145 w 175"/>
                  <a:gd name="T13" fmla="*/ 16 h 97"/>
                  <a:gd name="T14" fmla="*/ 121 w 175"/>
                  <a:gd name="T15" fmla="*/ 15 h 97"/>
                  <a:gd name="T16" fmla="*/ 109 w 175"/>
                  <a:gd name="T17" fmla="*/ 6 h 97"/>
                  <a:gd name="T18" fmla="*/ 102 w 175"/>
                  <a:gd name="T19" fmla="*/ 0 h 97"/>
                  <a:gd name="T20" fmla="*/ 79 w 175"/>
                  <a:gd name="T21" fmla="*/ 7 h 97"/>
                  <a:gd name="T22" fmla="*/ 80 w 175"/>
                  <a:gd name="T23" fmla="*/ 15 h 97"/>
                  <a:gd name="T24" fmla="*/ 80 w 175"/>
                  <a:gd name="T25" fmla="*/ 22 h 97"/>
                  <a:gd name="T26" fmla="*/ 78 w 175"/>
                  <a:gd name="T27" fmla="*/ 38 h 97"/>
                  <a:gd name="T28" fmla="*/ 74 w 175"/>
                  <a:gd name="T29" fmla="*/ 42 h 97"/>
                  <a:gd name="T30" fmla="*/ 69 w 175"/>
                  <a:gd name="T31" fmla="*/ 45 h 97"/>
                  <a:gd name="T32" fmla="*/ 63 w 175"/>
                  <a:gd name="T33" fmla="*/ 46 h 97"/>
                  <a:gd name="T34" fmla="*/ 59 w 175"/>
                  <a:gd name="T35" fmla="*/ 42 h 97"/>
                  <a:gd name="T36" fmla="*/ 52 w 175"/>
                  <a:gd name="T37" fmla="*/ 33 h 97"/>
                  <a:gd name="T38" fmla="*/ 49 w 175"/>
                  <a:gd name="T39" fmla="*/ 29 h 97"/>
                  <a:gd name="T40" fmla="*/ 37 w 175"/>
                  <a:gd name="T41" fmla="*/ 20 h 97"/>
                  <a:gd name="T42" fmla="*/ 38 w 175"/>
                  <a:gd name="T43" fmla="*/ 14 h 97"/>
                  <a:gd name="T44" fmla="*/ 29 w 175"/>
                  <a:gd name="T45" fmla="*/ 15 h 97"/>
                  <a:gd name="T46" fmla="*/ 21 w 175"/>
                  <a:gd name="T47" fmla="*/ 17 h 97"/>
                  <a:gd name="T48" fmla="*/ 17 w 175"/>
                  <a:gd name="T49" fmla="*/ 23 h 97"/>
                  <a:gd name="T50" fmla="*/ 11 w 175"/>
                  <a:gd name="T51" fmla="*/ 33 h 97"/>
                  <a:gd name="T52" fmla="*/ 11 w 175"/>
                  <a:gd name="T53" fmla="*/ 43 h 97"/>
                  <a:gd name="T54" fmla="*/ 3 w 175"/>
                  <a:gd name="T55" fmla="*/ 54 h 97"/>
                  <a:gd name="T56" fmla="*/ 0 w 175"/>
                  <a:gd name="T57" fmla="*/ 66 h 97"/>
                  <a:gd name="T58" fmla="*/ 2 w 175"/>
                  <a:gd name="T59" fmla="*/ 80 h 97"/>
                  <a:gd name="T60" fmla="*/ 6 w 175"/>
                  <a:gd name="T61" fmla="*/ 88 h 97"/>
                  <a:gd name="T62" fmla="*/ 12 w 175"/>
                  <a:gd name="T63" fmla="*/ 88 h 97"/>
                  <a:gd name="T64" fmla="*/ 17 w 175"/>
                  <a:gd name="T65" fmla="*/ 81 h 97"/>
                  <a:gd name="T66" fmla="*/ 23 w 175"/>
                  <a:gd name="T67" fmla="*/ 76 h 97"/>
                  <a:gd name="T68" fmla="*/ 38 w 175"/>
                  <a:gd name="T69" fmla="*/ 76 h 97"/>
                  <a:gd name="T70" fmla="*/ 49 w 175"/>
                  <a:gd name="T71" fmla="*/ 75 h 97"/>
                  <a:gd name="T72" fmla="*/ 56 w 175"/>
                  <a:gd name="T73" fmla="*/ 74 h 97"/>
                  <a:gd name="T74" fmla="*/ 74 w 175"/>
                  <a:gd name="T75" fmla="*/ 74 h 97"/>
                  <a:gd name="T76" fmla="*/ 83 w 175"/>
                  <a:gd name="T77" fmla="*/ 74 h 97"/>
                  <a:gd name="T78" fmla="*/ 95 w 175"/>
                  <a:gd name="T79" fmla="*/ 70 h 97"/>
                  <a:gd name="T80" fmla="*/ 100 w 175"/>
                  <a:gd name="T81" fmla="*/ 75 h 97"/>
                  <a:gd name="T82" fmla="*/ 109 w 175"/>
                  <a:gd name="T83" fmla="*/ 79 h 97"/>
                  <a:gd name="T84" fmla="*/ 120 w 175"/>
                  <a:gd name="T85" fmla="*/ 88 h 97"/>
                  <a:gd name="T86" fmla="*/ 136 w 175"/>
                  <a:gd name="T87" fmla="*/ 97 h 97"/>
                  <a:gd name="T88" fmla="*/ 145 w 175"/>
                  <a:gd name="T89" fmla="*/ 93 h 97"/>
                  <a:gd name="T90" fmla="*/ 152 w 175"/>
                  <a:gd name="T91" fmla="*/ 88 h 97"/>
                  <a:gd name="T92" fmla="*/ 159 w 175"/>
                  <a:gd name="T93" fmla="*/ 92 h 97"/>
                  <a:gd name="T94" fmla="*/ 163 w 175"/>
                  <a:gd name="T95" fmla="*/ 85 h 97"/>
                  <a:gd name="T96" fmla="*/ 165 w 175"/>
                  <a:gd name="T97" fmla="*/ 82 h 97"/>
                  <a:gd name="T98" fmla="*/ 171 w 175"/>
                  <a:gd name="T99" fmla="*/ 7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5" h="97">
                    <a:moveTo>
                      <a:pt x="175" y="75"/>
                    </a:moveTo>
                    <a:cubicBezTo>
                      <a:pt x="174" y="71"/>
                      <a:pt x="173" y="69"/>
                      <a:pt x="173" y="65"/>
                    </a:cubicBezTo>
                    <a:cubicBezTo>
                      <a:pt x="173" y="63"/>
                      <a:pt x="173" y="62"/>
                      <a:pt x="173" y="59"/>
                    </a:cubicBezTo>
                    <a:cubicBezTo>
                      <a:pt x="172" y="57"/>
                      <a:pt x="170" y="57"/>
                      <a:pt x="168" y="55"/>
                    </a:cubicBezTo>
                    <a:cubicBezTo>
                      <a:pt x="168" y="54"/>
                      <a:pt x="168" y="54"/>
                      <a:pt x="168" y="53"/>
                    </a:cubicBezTo>
                    <a:cubicBezTo>
                      <a:pt x="167" y="52"/>
                      <a:pt x="165" y="51"/>
                      <a:pt x="164" y="49"/>
                    </a:cubicBezTo>
                    <a:cubicBezTo>
                      <a:pt x="163" y="48"/>
                      <a:pt x="163" y="46"/>
                      <a:pt x="161" y="44"/>
                    </a:cubicBezTo>
                    <a:cubicBezTo>
                      <a:pt x="161" y="44"/>
                      <a:pt x="160" y="44"/>
                      <a:pt x="160" y="44"/>
                    </a:cubicBezTo>
                    <a:cubicBezTo>
                      <a:pt x="159" y="43"/>
                      <a:pt x="159" y="42"/>
                      <a:pt x="158" y="40"/>
                    </a:cubicBezTo>
                    <a:cubicBezTo>
                      <a:pt x="157" y="38"/>
                      <a:pt x="157" y="36"/>
                      <a:pt x="157" y="34"/>
                    </a:cubicBezTo>
                    <a:cubicBezTo>
                      <a:pt x="157" y="29"/>
                      <a:pt x="157" y="27"/>
                      <a:pt x="156" y="23"/>
                    </a:cubicBezTo>
                    <a:cubicBezTo>
                      <a:pt x="155" y="22"/>
                      <a:pt x="155" y="21"/>
                      <a:pt x="155" y="21"/>
                    </a:cubicBezTo>
                    <a:cubicBezTo>
                      <a:pt x="154" y="20"/>
                      <a:pt x="153" y="20"/>
                      <a:pt x="153" y="20"/>
                    </a:cubicBezTo>
                    <a:cubicBezTo>
                      <a:pt x="150" y="18"/>
                      <a:pt x="148" y="18"/>
                      <a:pt x="145" y="16"/>
                    </a:cubicBezTo>
                    <a:cubicBezTo>
                      <a:pt x="128" y="18"/>
                      <a:pt x="128" y="18"/>
                      <a:pt x="128" y="18"/>
                    </a:cubicBezTo>
                    <a:cubicBezTo>
                      <a:pt x="125" y="18"/>
                      <a:pt x="123" y="17"/>
                      <a:pt x="121" y="15"/>
                    </a:cubicBezTo>
                    <a:cubicBezTo>
                      <a:pt x="118" y="13"/>
                      <a:pt x="116" y="13"/>
                      <a:pt x="113" y="12"/>
                    </a:cubicBezTo>
                    <a:cubicBezTo>
                      <a:pt x="111" y="11"/>
                      <a:pt x="110" y="8"/>
                      <a:pt x="109" y="6"/>
                    </a:cubicBezTo>
                    <a:cubicBezTo>
                      <a:pt x="108" y="4"/>
                      <a:pt x="107" y="4"/>
                      <a:pt x="105" y="2"/>
                    </a:cubicBezTo>
                    <a:cubicBezTo>
                      <a:pt x="104" y="1"/>
                      <a:pt x="103" y="0"/>
                      <a:pt x="102" y="0"/>
                    </a:cubicBezTo>
                    <a:cubicBezTo>
                      <a:pt x="79" y="6"/>
                      <a:pt x="79" y="6"/>
                      <a:pt x="79" y="6"/>
                    </a:cubicBezTo>
                    <a:cubicBezTo>
                      <a:pt x="79" y="6"/>
                      <a:pt x="79" y="7"/>
                      <a:pt x="79" y="7"/>
                    </a:cubicBezTo>
                    <a:cubicBezTo>
                      <a:pt x="79" y="10"/>
                      <a:pt x="81" y="11"/>
                      <a:pt x="81" y="13"/>
                    </a:cubicBezTo>
                    <a:cubicBezTo>
                      <a:pt x="81" y="14"/>
                      <a:pt x="80" y="15"/>
                      <a:pt x="80" y="15"/>
                    </a:cubicBezTo>
                    <a:cubicBezTo>
                      <a:pt x="80" y="19"/>
                      <a:pt x="80" y="19"/>
                      <a:pt x="80" y="19"/>
                    </a:cubicBezTo>
                    <a:cubicBezTo>
                      <a:pt x="80" y="20"/>
                      <a:pt x="80" y="21"/>
                      <a:pt x="80" y="22"/>
                    </a:cubicBezTo>
                    <a:cubicBezTo>
                      <a:pt x="80" y="27"/>
                      <a:pt x="79" y="30"/>
                      <a:pt x="79" y="35"/>
                    </a:cubicBezTo>
                    <a:cubicBezTo>
                      <a:pt x="79" y="36"/>
                      <a:pt x="79" y="38"/>
                      <a:pt x="78" y="38"/>
                    </a:cubicBezTo>
                    <a:cubicBezTo>
                      <a:pt x="77" y="39"/>
                      <a:pt x="76" y="39"/>
                      <a:pt x="75" y="40"/>
                    </a:cubicBezTo>
                    <a:cubicBezTo>
                      <a:pt x="74" y="41"/>
                      <a:pt x="75" y="42"/>
                      <a:pt x="74" y="42"/>
                    </a:cubicBezTo>
                    <a:cubicBezTo>
                      <a:pt x="73" y="43"/>
                      <a:pt x="73" y="43"/>
                      <a:pt x="72" y="43"/>
                    </a:cubicBezTo>
                    <a:cubicBezTo>
                      <a:pt x="71" y="44"/>
                      <a:pt x="71" y="45"/>
                      <a:pt x="69" y="45"/>
                    </a:cubicBezTo>
                    <a:cubicBezTo>
                      <a:pt x="68" y="46"/>
                      <a:pt x="67" y="46"/>
                      <a:pt x="66" y="46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2" y="45"/>
                      <a:pt x="62" y="44"/>
                      <a:pt x="61" y="43"/>
                    </a:cubicBezTo>
                    <a:cubicBezTo>
                      <a:pt x="61" y="42"/>
                      <a:pt x="60" y="42"/>
                      <a:pt x="59" y="42"/>
                    </a:cubicBezTo>
                    <a:cubicBezTo>
                      <a:pt x="58" y="42"/>
                      <a:pt x="57" y="42"/>
                      <a:pt x="56" y="41"/>
                    </a:cubicBezTo>
                    <a:cubicBezTo>
                      <a:pt x="53" y="39"/>
                      <a:pt x="53" y="36"/>
                      <a:pt x="52" y="33"/>
                    </a:cubicBezTo>
                    <a:cubicBezTo>
                      <a:pt x="52" y="32"/>
                      <a:pt x="52" y="31"/>
                      <a:pt x="52" y="30"/>
                    </a:cubicBezTo>
                    <a:cubicBezTo>
                      <a:pt x="51" y="29"/>
                      <a:pt x="50" y="30"/>
                      <a:pt x="49" y="29"/>
                    </a:cubicBezTo>
                    <a:cubicBezTo>
                      <a:pt x="47" y="29"/>
                      <a:pt x="47" y="27"/>
                      <a:pt x="46" y="26"/>
                    </a:cubicBezTo>
                    <a:cubicBezTo>
                      <a:pt x="42" y="24"/>
                      <a:pt x="41" y="21"/>
                      <a:pt x="37" y="20"/>
                    </a:cubicBezTo>
                    <a:cubicBezTo>
                      <a:pt x="38" y="19"/>
                      <a:pt x="38" y="18"/>
                      <a:pt x="38" y="17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38" y="13"/>
                      <a:pt x="38" y="12"/>
                      <a:pt x="38" y="12"/>
                    </a:cubicBezTo>
                    <a:cubicBezTo>
                      <a:pt x="35" y="14"/>
                      <a:pt x="33" y="15"/>
                      <a:pt x="29" y="15"/>
                    </a:cubicBezTo>
                    <a:cubicBezTo>
                      <a:pt x="27" y="15"/>
                      <a:pt x="26" y="17"/>
                      <a:pt x="24" y="17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1"/>
                      <a:pt x="18" y="21"/>
                      <a:pt x="17" y="23"/>
                    </a:cubicBezTo>
                    <a:cubicBezTo>
                      <a:pt x="16" y="26"/>
                      <a:pt x="14" y="26"/>
                      <a:pt x="13" y="29"/>
                    </a:cubicBezTo>
                    <a:cubicBezTo>
                      <a:pt x="12" y="30"/>
                      <a:pt x="12" y="31"/>
                      <a:pt x="11" y="33"/>
                    </a:cubicBezTo>
                    <a:cubicBezTo>
                      <a:pt x="11" y="36"/>
                      <a:pt x="11" y="37"/>
                      <a:pt x="11" y="40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6"/>
                      <a:pt x="9" y="48"/>
                      <a:pt x="8" y="50"/>
                    </a:cubicBezTo>
                    <a:cubicBezTo>
                      <a:pt x="6" y="52"/>
                      <a:pt x="5" y="53"/>
                      <a:pt x="3" y="54"/>
                    </a:cubicBezTo>
                    <a:cubicBezTo>
                      <a:pt x="2" y="55"/>
                      <a:pt x="2" y="56"/>
                      <a:pt x="1" y="58"/>
                    </a:cubicBezTo>
                    <a:cubicBezTo>
                      <a:pt x="1" y="61"/>
                      <a:pt x="0" y="63"/>
                      <a:pt x="0" y="66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5"/>
                      <a:pt x="2" y="77"/>
                      <a:pt x="2" y="80"/>
                    </a:cubicBezTo>
                    <a:cubicBezTo>
                      <a:pt x="2" y="83"/>
                      <a:pt x="3" y="85"/>
                      <a:pt x="4" y="88"/>
                    </a:cubicBezTo>
                    <a:cubicBezTo>
                      <a:pt x="6" y="88"/>
                      <a:pt x="6" y="88"/>
                      <a:pt x="6" y="88"/>
                    </a:cubicBezTo>
                    <a:cubicBezTo>
                      <a:pt x="7" y="88"/>
                      <a:pt x="8" y="89"/>
                      <a:pt x="10" y="89"/>
                    </a:cubicBezTo>
                    <a:cubicBezTo>
                      <a:pt x="11" y="89"/>
                      <a:pt x="11" y="88"/>
                      <a:pt x="12" y="88"/>
                    </a:cubicBezTo>
                    <a:cubicBezTo>
                      <a:pt x="12" y="88"/>
                      <a:pt x="12" y="87"/>
                      <a:pt x="12" y="87"/>
                    </a:cubicBezTo>
                    <a:cubicBezTo>
                      <a:pt x="14" y="85"/>
                      <a:pt x="16" y="83"/>
                      <a:pt x="17" y="81"/>
                    </a:cubicBezTo>
                    <a:cubicBezTo>
                      <a:pt x="18" y="79"/>
                      <a:pt x="19" y="78"/>
                      <a:pt x="21" y="77"/>
                    </a:cubicBezTo>
                    <a:cubicBezTo>
                      <a:pt x="21" y="77"/>
                      <a:pt x="22" y="76"/>
                      <a:pt x="23" y="76"/>
                    </a:cubicBezTo>
                    <a:cubicBezTo>
                      <a:pt x="26" y="76"/>
                      <a:pt x="28" y="76"/>
                      <a:pt x="32" y="76"/>
                    </a:cubicBezTo>
                    <a:cubicBezTo>
                      <a:pt x="34" y="76"/>
                      <a:pt x="36" y="76"/>
                      <a:pt x="38" y="76"/>
                    </a:cubicBezTo>
                    <a:cubicBezTo>
                      <a:pt x="40" y="76"/>
                      <a:pt x="42" y="75"/>
                      <a:pt x="44" y="75"/>
                    </a:cubicBezTo>
                    <a:cubicBezTo>
                      <a:pt x="46" y="75"/>
                      <a:pt x="47" y="75"/>
                      <a:pt x="49" y="75"/>
                    </a:cubicBezTo>
                    <a:cubicBezTo>
                      <a:pt x="50" y="75"/>
                      <a:pt x="51" y="75"/>
                      <a:pt x="52" y="75"/>
                    </a:cubicBezTo>
                    <a:cubicBezTo>
                      <a:pt x="53" y="75"/>
                      <a:pt x="54" y="74"/>
                      <a:pt x="56" y="74"/>
                    </a:cubicBezTo>
                    <a:cubicBezTo>
                      <a:pt x="59" y="74"/>
                      <a:pt x="60" y="75"/>
                      <a:pt x="63" y="75"/>
                    </a:cubicBezTo>
                    <a:cubicBezTo>
                      <a:pt x="67" y="75"/>
                      <a:pt x="70" y="74"/>
                      <a:pt x="74" y="74"/>
                    </a:cubicBezTo>
                    <a:cubicBezTo>
                      <a:pt x="77" y="74"/>
                      <a:pt x="78" y="75"/>
                      <a:pt x="81" y="75"/>
                    </a:cubicBezTo>
                    <a:cubicBezTo>
                      <a:pt x="82" y="75"/>
                      <a:pt x="82" y="74"/>
                      <a:pt x="83" y="74"/>
                    </a:cubicBezTo>
                    <a:cubicBezTo>
                      <a:pt x="85" y="73"/>
                      <a:pt x="85" y="73"/>
                      <a:pt x="87" y="73"/>
                    </a:cubicBezTo>
                    <a:cubicBezTo>
                      <a:pt x="90" y="72"/>
                      <a:pt x="92" y="70"/>
                      <a:pt x="95" y="70"/>
                    </a:cubicBezTo>
                    <a:cubicBezTo>
                      <a:pt x="96" y="70"/>
                      <a:pt x="97" y="71"/>
                      <a:pt x="97" y="72"/>
                    </a:cubicBezTo>
                    <a:cubicBezTo>
                      <a:pt x="98" y="74"/>
                      <a:pt x="99" y="74"/>
                      <a:pt x="100" y="75"/>
                    </a:cubicBezTo>
                    <a:cubicBezTo>
                      <a:pt x="102" y="76"/>
                      <a:pt x="103" y="77"/>
                      <a:pt x="105" y="78"/>
                    </a:cubicBezTo>
                    <a:cubicBezTo>
                      <a:pt x="107" y="79"/>
                      <a:pt x="108" y="78"/>
                      <a:pt x="109" y="79"/>
                    </a:cubicBezTo>
                    <a:cubicBezTo>
                      <a:pt x="112" y="80"/>
                      <a:pt x="113" y="81"/>
                      <a:pt x="115" y="83"/>
                    </a:cubicBezTo>
                    <a:cubicBezTo>
                      <a:pt x="117" y="85"/>
                      <a:pt x="118" y="86"/>
                      <a:pt x="120" y="88"/>
                    </a:cubicBezTo>
                    <a:cubicBezTo>
                      <a:pt x="123" y="90"/>
                      <a:pt x="124" y="92"/>
                      <a:pt x="128" y="94"/>
                    </a:cubicBezTo>
                    <a:cubicBezTo>
                      <a:pt x="131" y="95"/>
                      <a:pt x="133" y="96"/>
                      <a:pt x="136" y="97"/>
                    </a:cubicBezTo>
                    <a:cubicBezTo>
                      <a:pt x="137" y="97"/>
                      <a:pt x="138" y="96"/>
                      <a:pt x="139" y="96"/>
                    </a:cubicBezTo>
                    <a:cubicBezTo>
                      <a:pt x="141" y="95"/>
                      <a:pt x="143" y="95"/>
                      <a:pt x="145" y="93"/>
                    </a:cubicBezTo>
                    <a:cubicBezTo>
                      <a:pt x="147" y="92"/>
                      <a:pt x="148" y="92"/>
                      <a:pt x="150" y="90"/>
                    </a:cubicBezTo>
                    <a:cubicBezTo>
                      <a:pt x="150" y="89"/>
                      <a:pt x="151" y="88"/>
                      <a:pt x="152" y="88"/>
                    </a:cubicBezTo>
                    <a:cubicBezTo>
                      <a:pt x="153" y="88"/>
                      <a:pt x="153" y="88"/>
                      <a:pt x="153" y="89"/>
                    </a:cubicBezTo>
                    <a:cubicBezTo>
                      <a:pt x="155" y="90"/>
                      <a:pt x="156" y="92"/>
                      <a:pt x="159" y="92"/>
                    </a:cubicBezTo>
                    <a:cubicBezTo>
                      <a:pt x="161" y="92"/>
                      <a:pt x="162" y="89"/>
                      <a:pt x="162" y="87"/>
                    </a:cubicBezTo>
                    <a:cubicBezTo>
                      <a:pt x="163" y="86"/>
                      <a:pt x="163" y="86"/>
                      <a:pt x="163" y="85"/>
                    </a:cubicBezTo>
                    <a:cubicBezTo>
                      <a:pt x="164" y="85"/>
                      <a:pt x="164" y="85"/>
                      <a:pt x="164" y="84"/>
                    </a:cubicBezTo>
                    <a:cubicBezTo>
                      <a:pt x="165" y="84"/>
                      <a:pt x="165" y="83"/>
                      <a:pt x="165" y="82"/>
                    </a:cubicBezTo>
                    <a:cubicBezTo>
                      <a:pt x="165" y="81"/>
                      <a:pt x="166" y="81"/>
                      <a:pt x="167" y="80"/>
                    </a:cubicBezTo>
                    <a:cubicBezTo>
                      <a:pt x="168" y="79"/>
                      <a:pt x="169" y="79"/>
                      <a:pt x="171" y="78"/>
                    </a:cubicBezTo>
                    <a:cubicBezTo>
                      <a:pt x="173" y="77"/>
                      <a:pt x="173" y="76"/>
                      <a:pt x="175" y="75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4" name="Freeform 132">
                <a:extLst>
                  <a:ext uri="{FF2B5EF4-FFF2-40B4-BE49-F238E27FC236}">
                    <a16:creationId xmlns:a16="http://schemas.microsoft.com/office/drawing/2014/main" xmlns="" id="{646B4620-BF7C-408D-99C0-BBD4BD058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9003" y="2022811"/>
                <a:ext cx="601029" cy="523273"/>
              </a:xfrm>
              <a:custGeom>
                <a:avLst/>
                <a:gdLst>
                  <a:gd name="T0" fmla="*/ 120 w 238"/>
                  <a:gd name="T1" fmla="*/ 2 h 207"/>
                  <a:gd name="T2" fmla="*/ 125 w 238"/>
                  <a:gd name="T3" fmla="*/ 6 h 207"/>
                  <a:gd name="T4" fmla="*/ 139 w 238"/>
                  <a:gd name="T5" fmla="*/ 6 h 207"/>
                  <a:gd name="T6" fmla="*/ 141 w 238"/>
                  <a:gd name="T7" fmla="*/ 16 h 207"/>
                  <a:gd name="T8" fmla="*/ 148 w 238"/>
                  <a:gd name="T9" fmla="*/ 10 h 207"/>
                  <a:gd name="T10" fmla="*/ 156 w 238"/>
                  <a:gd name="T11" fmla="*/ 6 h 207"/>
                  <a:gd name="T12" fmla="*/ 166 w 238"/>
                  <a:gd name="T13" fmla="*/ 6 h 207"/>
                  <a:gd name="T14" fmla="*/ 176 w 238"/>
                  <a:gd name="T15" fmla="*/ 10 h 207"/>
                  <a:gd name="T16" fmla="*/ 183 w 238"/>
                  <a:gd name="T17" fmla="*/ 29 h 207"/>
                  <a:gd name="T18" fmla="*/ 183 w 238"/>
                  <a:gd name="T19" fmla="*/ 46 h 207"/>
                  <a:gd name="T20" fmla="*/ 188 w 238"/>
                  <a:gd name="T21" fmla="*/ 55 h 207"/>
                  <a:gd name="T22" fmla="*/ 206 w 238"/>
                  <a:gd name="T23" fmla="*/ 74 h 207"/>
                  <a:gd name="T24" fmla="*/ 214 w 238"/>
                  <a:gd name="T25" fmla="*/ 83 h 207"/>
                  <a:gd name="T26" fmla="*/ 225 w 238"/>
                  <a:gd name="T27" fmla="*/ 89 h 207"/>
                  <a:gd name="T28" fmla="*/ 230 w 238"/>
                  <a:gd name="T29" fmla="*/ 98 h 207"/>
                  <a:gd name="T30" fmla="*/ 235 w 238"/>
                  <a:gd name="T31" fmla="*/ 112 h 207"/>
                  <a:gd name="T32" fmla="*/ 220 w 238"/>
                  <a:gd name="T33" fmla="*/ 118 h 207"/>
                  <a:gd name="T34" fmla="*/ 208 w 238"/>
                  <a:gd name="T35" fmla="*/ 124 h 207"/>
                  <a:gd name="T36" fmla="*/ 216 w 238"/>
                  <a:gd name="T37" fmla="*/ 134 h 207"/>
                  <a:gd name="T38" fmla="*/ 224 w 238"/>
                  <a:gd name="T39" fmla="*/ 160 h 207"/>
                  <a:gd name="T40" fmla="*/ 207 w 238"/>
                  <a:gd name="T41" fmla="*/ 171 h 207"/>
                  <a:gd name="T42" fmla="*/ 200 w 238"/>
                  <a:gd name="T43" fmla="*/ 177 h 207"/>
                  <a:gd name="T44" fmla="*/ 196 w 238"/>
                  <a:gd name="T45" fmla="*/ 189 h 207"/>
                  <a:gd name="T46" fmla="*/ 198 w 238"/>
                  <a:gd name="T47" fmla="*/ 199 h 207"/>
                  <a:gd name="T48" fmla="*/ 189 w 238"/>
                  <a:gd name="T49" fmla="*/ 197 h 207"/>
                  <a:gd name="T50" fmla="*/ 178 w 238"/>
                  <a:gd name="T51" fmla="*/ 196 h 207"/>
                  <a:gd name="T52" fmla="*/ 163 w 238"/>
                  <a:gd name="T53" fmla="*/ 198 h 207"/>
                  <a:gd name="T54" fmla="*/ 150 w 238"/>
                  <a:gd name="T55" fmla="*/ 200 h 207"/>
                  <a:gd name="T56" fmla="*/ 143 w 238"/>
                  <a:gd name="T57" fmla="*/ 197 h 207"/>
                  <a:gd name="T58" fmla="*/ 121 w 238"/>
                  <a:gd name="T59" fmla="*/ 198 h 207"/>
                  <a:gd name="T60" fmla="*/ 115 w 238"/>
                  <a:gd name="T61" fmla="*/ 205 h 207"/>
                  <a:gd name="T62" fmla="*/ 97 w 238"/>
                  <a:gd name="T63" fmla="*/ 197 h 207"/>
                  <a:gd name="T64" fmla="*/ 66 w 238"/>
                  <a:gd name="T65" fmla="*/ 193 h 207"/>
                  <a:gd name="T66" fmla="*/ 38 w 238"/>
                  <a:gd name="T67" fmla="*/ 196 h 207"/>
                  <a:gd name="T68" fmla="*/ 33 w 238"/>
                  <a:gd name="T69" fmla="*/ 202 h 207"/>
                  <a:gd name="T70" fmla="*/ 25 w 238"/>
                  <a:gd name="T71" fmla="*/ 205 h 207"/>
                  <a:gd name="T72" fmla="*/ 18 w 238"/>
                  <a:gd name="T73" fmla="*/ 202 h 207"/>
                  <a:gd name="T74" fmla="*/ 10 w 238"/>
                  <a:gd name="T75" fmla="*/ 204 h 207"/>
                  <a:gd name="T76" fmla="*/ 10 w 238"/>
                  <a:gd name="T77" fmla="*/ 192 h 207"/>
                  <a:gd name="T78" fmla="*/ 6 w 238"/>
                  <a:gd name="T79" fmla="*/ 182 h 207"/>
                  <a:gd name="T80" fmla="*/ 0 w 238"/>
                  <a:gd name="T81" fmla="*/ 178 h 207"/>
                  <a:gd name="T82" fmla="*/ 6 w 238"/>
                  <a:gd name="T83" fmla="*/ 168 h 207"/>
                  <a:gd name="T84" fmla="*/ 16 w 238"/>
                  <a:gd name="T85" fmla="*/ 157 h 207"/>
                  <a:gd name="T86" fmla="*/ 14 w 238"/>
                  <a:gd name="T87" fmla="*/ 135 h 207"/>
                  <a:gd name="T88" fmla="*/ 9 w 238"/>
                  <a:gd name="T89" fmla="*/ 123 h 207"/>
                  <a:gd name="T90" fmla="*/ 5 w 238"/>
                  <a:gd name="T91" fmla="*/ 103 h 207"/>
                  <a:gd name="T92" fmla="*/ 15 w 238"/>
                  <a:gd name="T93" fmla="*/ 102 h 207"/>
                  <a:gd name="T94" fmla="*/ 27 w 238"/>
                  <a:gd name="T95" fmla="*/ 99 h 207"/>
                  <a:gd name="T96" fmla="*/ 34 w 238"/>
                  <a:gd name="T97" fmla="*/ 97 h 207"/>
                  <a:gd name="T98" fmla="*/ 35 w 238"/>
                  <a:gd name="T99" fmla="*/ 89 h 207"/>
                  <a:gd name="T100" fmla="*/ 38 w 238"/>
                  <a:gd name="T101" fmla="*/ 89 h 207"/>
                  <a:gd name="T102" fmla="*/ 56 w 238"/>
                  <a:gd name="T103" fmla="*/ 91 h 207"/>
                  <a:gd name="T104" fmla="*/ 55 w 238"/>
                  <a:gd name="T105" fmla="*/ 74 h 207"/>
                  <a:gd name="T106" fmla="*/ 58 w 238"/>
                  <a:gd name="T107" fmla="*/ 61 h 207"/>
                  <a:gd name="T108" fmla="*/ 67 w 238"/>
                  <a:gd name="T109" fmla="*/ 55 h 207"/>
                  <a:gd name="T110" fmla="*/ 74 w 238"/>
                  <a:gd name="T111" fmla="*/ 42 h 207"/>
                  <a:gd name="T112" fmla="*/ 69 w 238"/>
                  <a:gd name="T113" fmla="*/ 32 h 207"/>
                  <a:gd name="T114" fmla="*/ 73 w 238"/>
                  <a:gd name="T115" fmla="*/ 21 h 207"/>
                  <a:gd name="T116" fmla="*/ 86 w 238"/>
                  <a:gd name="T117" fmla="*/ 13 h 207"/>
                  <a:gd name="T118" fmla="*/ 96 w 238"/>
                  <a:gd name="T119" fmla="*/ 12 h 207"/>
                  <a:gd name="T120" fmla="*/ 99 w 238"/>
                  <a:gd name="T121" fmla="*/ 7 h 207"/>
                  <a:gd name="T122" fmla="*/ 109 w 238"/>
                  <a:gd name="T123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8" h="207">
                    <a:moveTo>
                      <a:pt x="109" y="0"/>
                    </a:moveTo>
                    <a:cubicBezTo>
                      <a:pt x="110" y="2"/>
                      <a:pt x="112" y="3"/>
                      <a:pt x="114" y="3"/>
                    </a:cubicBezTo>
                    <a:cubicBezTo>
                      <a:pt x="117" y="3"/>
                      <a:pt x="118" y="2"/>
                      <a:pt x="120" y="2"/>
                    </a:cubicBezTo>
                    <a:cubicBezTo>
                      <a:pt x="121" y="2"/>
                      <a:pt x="121" y="1"/>
                      <a:pt x="121" y="1"/>
                    </a:cubicBezTo>
                    <a:cubicBezTo>
                      <a:pt x="122" y="1"/>
                      <a:pt x="122" y="3"/>
                      <a:pt x="123" y="3"/>
                    </a:cubicBezTo>
                    <a:cubicBezTo>
                      <a:pt x="123" y="5"/>
                      <a:pt x="124" y="5"/>
                      <a:pt x="125" y="6"/>
                    </a:cubicBezTo>
                    <a:cubicBezTo>
                      <a:pt x="126" y="5"/>
                      <a:pt x="128" y="4"/>
                      <a:pt x="130" y="4"/>
                    </a:cubicBezTo>
                    <a:cubicBezTo>
                      <a:pt x="132" y="4"/>
                      <a:pt x="132" y="4"/>
                      <a:pt x="134" y="4"/>
                    </a:cubicBezTo>
                    <a:cubicBezTo>
                      <a:pt x="136" y="5"/>
                      <a:pt x="137" y="5"/>
                      <a:pt x="139" y="6"/>
                    </a:cubicBezTo>
                    <a:cubicBezTo>
                      <a:pt x="139" y="7"/>
                      <a:pt x="139" y="7"/>
                      <a:pt x="139" y="8"/>
                    </a:cubicBezTo>
                    <a:cubicBezTo>
                      <a:pt x="139" y="11"/>
                      <a:pt x="139" y="13"/>
                      <a:pt x="140" y="16"/>
                    </a:cubicBezTo>
                    <a:cubicBezTo>
                      <a:pt x="141" y="16"/>
                      <a:pt x="141" y="16"/>
                      <a:pt x="141" y="16"/>
                    </a:cubicBezTo>
                    <a:cubicBezTo>
                      <a:pt x="142" y="16"/>
                      <a:pt x="141" y="15"/>
                      <a:pt x="142" y="15"/>
                    </a:cubicBezTo>
                    <a:cubicBezTo>
                      <a:pt x="144" y="14"/>
                      <a:pt x="145" y="13"/>
                      <a:pt x="147" y="11"/>
                    </a:cubicBezTo>
                    <a:cubicBezTo>
                      <a:pt x="147" y="11"/>
                      <a:pt x="147" y="11"/>
                      <a:pt x="148" y="10"/>
                    </a:cubicBezTo>
                    <a:cubicBezTo>
                      <a:pt x="148" y="10"/>
                      <a:pt x="149" y="10"/>
                      <a:pt x="150" y="10"/>
                    </a:cubicBezTo>
                    <a:cubicBezTo>
                      <a:pt x="151" y="10"/>
                      <a:pt x="151" y="8"/>
                      <a:pt x="152" y="7"/>
                    </a:cubicBezTo>
                    <a:cubicBezTo>
                      <a:pt x="154" y="7"/>
                      <a:pt x="155" y="6"/>
                      <a:pt x="156" y="6"/>
                    </a:cubicBezTo>
                    <a:cubicBezTo>
                      <a:pt x="158" y="6"/>
                      <a:pt x="158" y="7"/>
                      <a:pt x="159" y="7"/>
                    </a:cubicBezTo>
                    <a:cubicBezTo>
                      <a:pt x="161" y="7"/>
                      <a:pt x="162" y="6"/>
                      <a:pt x="163" y="6"/>
                    </a:cubicBezTo>
                    <a:cubicBezTo>
                      <a:pt x="165" y="6"/>
                      <a:pt x="165" y="6"/>
                      <a:pt x="166" y="6"/>
                    </a:cubicBezTo>
                    <a:cubicBezTo>
                      <a:pt x="167" y="7"/>
                      <a:pt x="167" y="8"/>
                      <a:pt x="168" y="8"/>
                    </a:cubicBezTo>
                    <a:cubicBezTo>
                      <a:pt x="168" y="9"/>
                      <a:pt x="169" y="9"/>
                      <a:pt x="170" y="9"/>
                    </a:cubicBezTo>
                    <a:cubicBezTo>
                      <a:pt x="172" y="10"/>
                      <a:pt x="174" y="9"/>
                      <a:pt x="176" y="10"/>
                    </a:cubicBezTo>
                    <a:cubicBezTo>
                      <a:pt x="179" y="12"/>
                      <a:pt x="180" y="13"/>
                      <a:pt x="181" y="16"/>
                    </a:cubicBezTo>
                    <a:cubicBezTo>
                      <a:pt x="182" y="18"/>
                      <a:pt x="183" y="19"/>
                      <a:pt x="183" y="22"/>
                    </a:cubicBezTo>
                    <a:cubicBezTo>
                      <a:pt x="183" y="24"/>
                      <a:pt x="183" y="26"/>
                      <a:pt x="183" y="29"/>
                    </a:cubicBezTo>
                    <a:cubicBezTo>
                      <a:pt x="183" y="32"/>
                      <a:pt x="184" y="33"/>
                      <a:pt x="184" y="36"/>
                    </a:cubicBezTo>
                    <a:cubicBezTo>
                      <a:pt x="184" y="38"/>
                      <a:pt x="184" y="39"/>
                      <a:pt x="183" y="42"/>
                    </a:cubicBezTo>
                    <a:cubicBezTo>
                      <a:pt x="183" y="43"/>
                      <a:pt x="184" y="44"/>
                      <a:pt x="183" y="46"/>
                    </a:cubicBezTo>
                    <a:cubicBezTo>
                      <a:pt x="183" y="47"/>
                      <a:pt x="182" y="48"/>
                      <a:pt x="182" y="50"/>
                    </a:cubicBezTo>
                    <a:cubicBezTo>
                      <a:pt x="182" y="51"/>
                      <a:pt x="182" y="52"/>
                      <a:pt x="182" y="53"/>
                    </a:cubicBezTo>
                    <a:cubicBezTo>
                      <a:pt x="184" y="53"/>
                      <a:pt x="186" y="54"/>
                      <a:pt x="188" y="55"/>
                    </a:cubicBezTo>
                    <a:cubicBezTo>
                      <a:pt x="190" y="56"/>
                      <a:pt x="192" y="57"/>
                      <a:pt x="194" y="59"/>
                    </a:cubicBezTo>
                    <a:cubicBezTo>
                      <a:pt x="196" y="61"/>
                      <a:pt x="197" y="63"/>
                      <a:pt x="199" y="66"/>
                    </a:cubicBezTo>
                    <a:cubicBezTo>
                      <a:pt x="201" y="69"/>
                      <a:pt x="202" y="72"/>
                      <a:pt x="206" y="74"/>
                    </a:cubicBezTo>
                    <a:cubicBezTo>
                      <a:pt x="207" y="74"/>
                      <a:pt x="209" y="74"/>
                      <a:pt x="211" y="75"/>
                    </a:cubicBezTo>
                    <a:cubicBezTo>
                      <a:pt x="212" y="75"/>
                      <a:pt x="214" y="76"/>
                      <a:pt x="214" y="78"/>
                    </a:cubicBezTo>
                    <a:cubicBezTo>
                      <a:pt x="214" y="80"/>
                      <a:pt x="214" y="81"/>
                      <a:pt x="214" y="83"/>
                    </a:cubicBezTo>
                    <a:cubicBezTo>
                      <a:pt x="215" y="88"/>
                      <a:pt x="215" y="88"/>
                      <a:pt x="215" y="88"/>
                    </a:cubicBezTo>
                    <a:cubicBezTo>
                      <a:pt x="218" y="88"/>
                      <a:pt x="219" y="87"/>
                      <a:pt x="222" y="87"/>
                    </a:cubicBezTo>
                    <a:cubicBezTo>
                      <a:pt x="223" y="87"/>
                      <a:pt x="224" y="88"/>
                      <a:pt x="225" y="89"/>
                    </a:cubicBezTo>
                    <a:cubicBezTo>
                      <a:pt x="226" y="89"/>
                      <a:pt x="227" y="89"/>
                      <a:pt x="228" y="89"/>
                    </a:cubicBezTo>
                    <a:cubicBezTo>
                      <a:pt x="230" y="90"/>
                      <a:pt x="232" y="91"/>
                      <a:pt x="232" y="93"/>
                    </a:cubicBezTo>
                    <a:cubicBezTo>
                      <a:pt x="232" y="95"/>
                      <a:pt x="230" y="96"/>
                      <a:pt x="230" y="98"/>
                    </a:cubicBezTo>
                    <a:cubicBezTo>
                      <a:pt x="230" y="100"/>
                      <a:pt x="232" y="100"/>
                      <a:pt x="233" y="100"/>
                    </a:cubicBezTo>
                    <a:cubicBezTo>
                      <a:pt x="236" y="101"/>
                      <a:pt x="238" y="103"/>
                      <a:pt x="238" y="106"/>
                    </a:cubicBezTo>
                    <a:cubicBezTo>
                      <a:pt x="238" y="109"/>
                      <a:pt x="237" y="110"/>
                      <a:pt x="235" y="112"/>
                    </a:cubicBezTo>
                    <a:cubicBezTo>
                      <a:pt x="233" y="113"/>
                      <a:pt x="232" y="114"/>
                      <a:pt x="231" y="115"/>
                    </a:cubicBezTo>
                    <a:cubicBezTo>
                      <a:pt x="227" y="117"/>
                      <a:pt x="225" y="119"/>
                      <a:pt x="221" y="119"/>
                    </a:cubicBezTo>
                    <a:cubicBezTo>
                      <a:pt x="221" y="119"/>
                      <a:pt x="220" y="119"/>
                      <a:pt x="220" y="118"/>
                    </a:cubicBezTo>
                    <a:cubicBezTo>
                      <a:pt x="218" y="118"/>
                      <a:pt x="217" y="118"/>
                      <a:pt x="215" y="118"/>
                    </a:cubicBezTo>
                    <a:cubicBezTo>
                      <a:pt x="212" y="118"/>
                      <a:pt x="211" y="118"/>
                      <a:pt x="209" y="118"/>
                    </a:cubicBezTo>
                    <a:cubicBezTo>
                      <a:pt x="209" y="120"/>
                      <a:pt x="208" y="122"/>
                      <a:pt x="208" y="124"/>
                    </a:cubicBezTo>
                    <a:cubicBezTo>
                      <a:pt x="208" y="125"/>
                      <a:pt x="207" y="125"/>
                      <a:pt x="207" y="126"/>
                    </a:cubicBezTo>
                    <a:cubicBezTo>
                      <a:pt x="207" y="128"/>
                      <a:pt x="209" y="128"/>
                      <a:pt x="210" y="129"/>
                    </a:cubicBezTo>
                    <a:cubicBezTo>
                      <a:pt x="213" y="131"/>
                      <a:pt x="214" y="132"/>
                      <a:pt x="216" y="134"/>
                    </a:cubicBezTo>
                    <a:cubicBezTo>
                      <a:pt x="218" y="137"/>
                      <a:pt x="219" y="140"/>
                      <a:pt x="220" y="144"/>
                    </a:cubicBezTo>
                    <a:cubicBezTo>
                      <a:pt x="221" y="148"/>
                      <a:pt x="222" y="150"/>
                      <a:pt x="222" y="153"/>
                    </a:cubicBezTo>
                    <a:cubicBezTo>
                      <a:pt x="223" y="156"/>
                      <a:pt x="223" y="158"/>
                      <a:pt x="224" y="160"/>
                    </a:cubicBezTo>
                    <a:cubicBezTo>
                      <a:pt x="224" y="162"/>
                      <a:pt x="224" y="163"/>
                      <a:pt x="225" y="165"/>
                    </a:cubicBezTo>
                    <a:cubicBezTo>
                      <a:pt x="221" y="166"/>
                      <a:pt x="219" y="166"/>
                      <a:pt x="215" y="167"/>
                    </a:cubicBezTo>
                    <a:cubicBezTo>
                      <a:pt x="212" y="168"/>
                      <a:pt x="210" y="170"/>
                      <a:pt x="207" y="171"/>
                    </a:cubicBezTo>
                    <a:cubicBezTo>
                      <a:pt x="206" y="171"/>
                      <a:pt x="205" y="171"/>
                      <a:pt x="204" y="171"/>
                    </a:cubicBezTo>
                    <a:cubicBezTo>
                      <a:pt x="204" y="171"/>
                      <a:pt x="203" y="171"/>
                      <a:pt x="203" y="172"/>
                    </a:cubicBezTo>
                    <a:cubicBezTo>
                      <a:pt x="201" y="173"/>
                      <a:pt x="200" y="174"/>
                      <a:pt x="200" y="177"/>
                    </a:cubicBezTo>
                    <a:cubicBezTo>
                      <a:pt x="199" y="179"/>
                      <a:pt x="199" y="180"/>
                      <a:pt x="198" y="182"/>
                    </a:cubicBezTo>
                    <a:cubicBezTo>
                      <a:pt x="197" y="184"/>
                      <a:pt x="195" y="184"/>
                      <a:pt x="195" y="186"/>
                    </a:cubicBezTo>
                    <a:cubicBezTo>
                      <a:pt x="195" y="187"/>
                      <a:pt x="196" y="188"/>
                      <a:pt x="196" y="189"/>
                    </a:cubicBezTo>
                    <a:cubicBezTo>
                      <a:pt x="196" y="190"/>
                      <a:pt x="196" y="190"/>
                      <a:pt x="196" y="191"/>
                    </a:cubicBezTo>
                    <a:cubicBezTo>
                      <a:pt x="197" y="193"/>
                      <a:pt x="198" y="194"/>
                      <a:pt x="198" y="197"/>
                    </a:cubicBezTo>
                    <a:cubicBezTo>
                      <a:pt x="198" y="198"/>
                      <a:pt x="198" y="198"/>
                      <a:pt x="198" y="199"/>
                    </a:cubicBezTo>
                    <a:cubicBezTo>
                      <a:pt x="197" y="199"/>
                      <a:pt x="198" y="199"/>
                      <a:pt x="198" y="199"/>
                    </a:cubicBezTo>
                    <a:cubicBezTo>
                      <a:pt x="196" y="199"/>
                      <a:pt x="195" y="200"/>
                      <a:pt x="193" y="200"/>
                    </a:cubicBezTo>
                    <a:cubicBezTo>
                      <a:pt x="191" y="200"/>
                      <a:pt x="190" y="198"/>
                      <a:pt x="189" y="197"/>
                    </a:cubicBezTo>
                    <a:cubicBezTo>
                      <a:pt x="187" y="197"/>
                      <a:pt x="187" y="197"/>
                      <a:pt x="186" y="197"/>
                    </a:cubicBezTo>
                    <a:cubicBezTo>
                      <a:pt x="185" y="196"/>
                      <a:pt x="184" y="196"/>
                      <a:pt x="184" y="196"/>
                    </a:cubicBezTo>
                    <a:cubicBezTo>
                      <a:pt x="181" y="196"/>
                      <a:pt x="180" y="196"/>
                      <a:pt x="178" y="196"/>
                    </a:cubicBezTo>
                    <a:cubicBezTo>
                      <a:pt x="176" y="196"/>
                      <a:pt x="174" y="196"/>
                      <a:pt x="172" y="197"/>
                    </a:cubicBezTo>
                    <a:cubicBezTo>
                      <a:pt x="170" y="198"/>
                      <a:pt x="169" y="200"/>
                      <a:pt x="166" y="200"/>
                    </a:cubicBezTo>
                    <a:cubicBezTo>
                      <a:pt x="164" y="200"/>
                      <a:pt x="164" y="199"/>
                      <a:pt x="163" y="198"/>
                    </a:cubicBezTo>
                    <a:cubicBezTo>
                      <a:pt x="161" y="197"/>
                      <a:pt x="160" y="197"/>
                      <a:pt x="158" y="197"/>
                    </a:cubicBezTo>
                    <a:cubicBezTo>
                      <a:pt x="156" y="196"/>
                      <a:pt x="155" y="196"/>
                      <a:pt x="154" y="196"/>
                    </a:cubicBezTo>
                    <a:cubicBezTo>
                      <a:pt x="151" y="196"/>
                      <a:pt x="151" y="198"/>
                      <a:pt x="150" y="200"/>
                    </a:cubicBezTo>
                    <a:cubicBezTo>
                      <a:pt x="149" y="200"/>
                      <a:pt x="149" y="200"/>
                      <a:pt x="148" y="199"/>
                    </a:cubicBezTo>
                    <a:cubicBezTo>
                      <a:pt x="147" y="198"/>
                      <a:pt x="147" y="197"/>
                      <a:pt x="145" y="197"/>
                    </a:cubicBezTo>
                    <a:cubicBezTo>
                      <a:pt x="144" y="197"/>
                      <a:pt x="144" y="197"/>
                      <a:pt x="143" y="197"/>
                    </a:cubicBezTo>
                    <a:cubicBezTo>
                      <a:pt x="139" y="198"/>
                      <a:pt x="136" y="197"/>
                      <a:pt x="132" y="198"/>
                    </a:cubicBezTo>
                    <a:cubicBezTo>
                      <a:pt x="130" y="199"/>
                      <a:pt x="129" y="200"/>
                      <a:pt x="127" y="200"/>
                    </a:cubicBezTo>
                    <a:cubicBezTo>
                      <a:pt x="124" y="200"/>
                      <a:pt x="123" y="199"/>
                      <a:pt x="121" y="198"/>
                    </a:cubicBezTo>
                    <a:cubicBezTo>
                      <a:pt x="120" y="199"/>
                      <a:pt x="120" y="200"/>
                      <a:pt x="119" y="201"/>
                    </a:cubicBezTo>
                    <a:cubicBezTo>
                      <a:pt x="119" y="202"/>
                      <a:pt x="119" y="202"/>
                      <a:pt x="119" y="203"/>
                    </a:cubicBezTo>
                    <a:cubicBezTo>
                      <a:pt x="118" y="204"/>
                      <a:pt x="117" y="205"/>
                      <a:pt x="115" y="205"/>
                    </a:cubicBezTo>
                    <a:cubicBezTo>
                      <a:pt x="112" y="205"/>
                      <a:pt x="112" y="201"/>
                      <a:pt x="109" y="200"/>
                    </a:cubicBezTo>
                    <a:cubicBezTo>
                      <a:pt x="106" y="199"/>
                      <a:pt x="105" y="199"/>
                      <a:pt x="102" y="198"/>
                    </a:cubicBezTo>
                    <a:cubicBezTo>
                      <a:pt x="100" y="198"/>
                      <a:pt x="99" y="198"/>
                      <a:pt x="97" y="197"/>
                    </a:cubicBezTo>
                    <a:cubicBezTo>
                      <a:pt x="93" y="197"/>
                      <a:pt x="91" y="196"/>
                      <a:pt x="87" y="196"/>
                    </a:cubicBezTo>
                    <a:cubicBezTo>
                      <a:pt x="84" y="195"/>
                      <a:pt x="82" y="195"/>
                      <a:pt x="80" y="195"/>
                    </a:cubicBezTo>
                    <a:cubicBezTo>
                      <a:pt x="75" y="194"/>
                      <a:pt x="72" y="194"/>
                      <a:pt x="66" y="193"/>
                    </a:cubicBezTo>
                    <a:cubicBezTo>
                      <a:pt x="62" y="192"/>
                      <a:pt x="60" y="192"/>
                      <a:pt x="56" y="192"/>
                    </a:cubicBezTo>
                    <a:cubicBezTo>
                      <a:pt x="52" y="192"/>
                      <a:pt x="50" y="193"/>
                      <a:pt x="46" y="194"/>
                    </a:cubicBezTo>
                    <a:cubicBezTo>
                      <a:pt x="43" y="195"/>
                      <a:pt x="41" y="195"/>
                      <a:pt x="38" y="196"/>
                    </a:cubicBezTo>
                    <a:cubicBezTo>
                      <a:pt x="36" y="196"/>
                      <a:pt x="35" y="196"/>
                      <a:pt x="34" y="197"/>
                    </a:cubicBezTo>
                    <a:cubicBezTo>
                      <a:pt x="33" y="197"/>
                      <a:pt x="33" y="197"/>
                      <a:pt x="33" y="198"/>
                    </a:cubicBezTo>
                    <a:cubicBezTo>
                      <a:pt x="32" y="199"/>
                      <a:pt x="33" y="200"/>
                      <a:pt x="33" y="202"/>
                    </a:cubicBezTo>
                    <a:cubicBezTo>
                      <a:pt x="32" y="203"/>
                      <a:pt x="31" y="203"/>
                      <a:pt x="30" y="203"/>
                    </a:cubicBezTo>
                    <a:cubicBezTo>
                      <a:pt x="29" y="203"/>
                      <a:pt x="28" y="204"/>
                      <a:pt x="28" y="204"/>
                    </a:cubicBezTo>
                    <a:cubicBezTo>
                      <a:pt x="27" y="204"/>
                      <a:pt x="26" y="205"/>
                      <a:pt x="25" y="205"/>
                    </a:cubicBezTo>
                    <a:cubicBezTo>
                      <a:pt x="24" y="206"/>
                      <a:pt x="24" y="207"/>
                      <a:pt x="22" y="207"/>
                    </a:cubicBezTo>
                    <a:cubicBezTo>
                      <a:pt x="21" y="207"/>
                      <a:pt x="21" y="206"/>
                      <a:pt x="20" y="205"/>
                    </a:cubicBezTo>
                    <a:cubicBezTo>
                      <a:pt x="19" y="204"/>
                      <a:pt x="19" y="203"/>
                      <a:pt x="18" y="202"/>
                    </a:cubicBezTo>
                    <a:cubicBezTo>
                      <a:pt x="17" y="201"/>
                      <a:pt x="17" y="201"/>
                      <a:pt x="16" y="201"/>
                    </a:cubicBezTo>
                    <a:cubicBezTo>
                      <a:pt x="15" y="201"/>
                      <a:pt x="15" y="201"/>
                      <a:pt x="14" y="202"/>
                    </a:cubicBezTo>
                    <a:cubicBezTo>
                      <a:pt x="12" y="202"/>
                      <a:pt x="12" y="203"/>
                      <a:pt x="10" y="204"/>
                    </a:cubicBezTo>
                    <a:cubicBezTo>
                      <a:pt x="10" y="201"/>
                      <a:pt x="9" y="200"/>
                      <a:pt x="9" y="197"/>
                    </a:cubicBezTo>
                    <a:cubicBezTo>
                      <a:pt x="9" y="196"/>
                      <a:pt x="9" y="195"/>
                      <a:pt x="9" y="193"/>
                    </a:cubicBezTo>
                    <a:cubicBezTo>
                      <a:pt x="9" y="192"/>
                      <a:pt x="10" y="192"/>
                      <a:pt x="10" y="192"/>
                    </a:cubicBezTo>
                    <a:cubicBezTo>
                      <a:pt x="9" y="190"/>
                      <a:pt x="8" y="189"/>
                      <a:pt x="8" y="187"/>
                    </a:cubicBezTo>
                    <a:cubicBezTo>
                      <a:pt x="8" y="186"/>
                      <a:pt x="9" y="185"/>
                      <a:pt x="8" y="184"/>
                    </a:cubicBezTo>
                    <a:cubicBezTo>
                      <a:pt x="8" y="183"/>
                      <a:pt x="7" y="183"/>
                      <a:pt x="6" y="182"/>
                    </a:cubicBezTo>
                    <a:cubicBezTo>
                      <a:pt x="5" y="181"/>
                      <a:pt x="4" y="181"/>
                      <a:pt x="2" y="180"/>
                    </a:cubicBezTo>
                    <a:cubicBezTo>
                      <a:pt x="2" y="180"/>
                      <a:pt x="2" y="179"/>
                      <a:pt x="2" y="179"/>
                    </a:cubicBezTo>
                    <a:cubicBezTo>
                      <a:pt x="1" y="178"/>
                      <a:pt x="0" y="179"/>
                      <a:pt x="0" y="178"/>
                    </a:cubicBezTo>
                    <a:cubicBezTo>
                      <a:pt x="0" y="175"/>
                      <a:pt x="2" y="175"/>
                      <a:pt x="3" y="173"/>
                    </a:cubicBezTo>
                    <a:cubicBezTo>
                      <a:pt x="3" y="172"/>
                      <a:pt x="3" y="172"/>
                      <a:pt x="3" y="172"/>
                    </a:cubicBezTo>
                    <a:cubicBezTo>
                      <a:pt x="4" y="170"/>
                      <a:pt x="5" y="169"/>
                      <a:pt x="6" y="168"/>
                    </a:cubicBezTo>
                    <a:cubicBezTo>
                      <a:pt x="8" y="166"/>
                      <a:pt x="8" y="165"/>
                      <a:pt x="9" y="164"/>
                    </a:cubicBezTo>
                    <a:cubicBezTo>
                      <a:pt x="11" y="162"/>
                      <a:pt x="12" y="161"/>
                      <a:pt x="13" y="160"/>
                    </a:cubicBezTo>
                    <a:cubicBezTo>
                      <a:pt x="14" y="159"/>
                      <a:pt x="15" y="159"/>
                      <a:pt x="16" y="157"/>
                    </a:cubicBezTo>
                    <a:cubicBezTo>
                      <a:pt x="17" y="155"/>
                      <a:pt x="16" y="153"/>
                      <a:pt x="16" y="150"/>
                    </a:cubicBezTo>
                    <a:cubicBezTo>
                      <a:pt x="16" y="146"/>
                      <a:pt x="16" y="143"/>
                      <a:pt x="15" y="138"/>
                    </a:cubicBezTo>
                    <a:cubicBezTo>
                      <a:pt x="15" y="137"/>
                      <a:pt x="14" y="136"/>
                      <a:pt x="14" y="135"/>
                    </a:cubicBezTo>
                    <a:cubicBezTo>
                      <a:pt x="13" y="133"/>
                      <a:pt x="13" y="131"/>
                      <a:pt x="12" y="129"/>
                    </a:cubicBezTo>
                    <a:cubicBezTo>
                      <a:pt x="11" y="128"/>
                      <a:pt x="11" y="127"/>
                      <a:pt x="10" y="126"/>
                    </a:cubicBezTo>
                    <a:cubicBezTo>
                      <a:pt x="10" y="125"/>
                      <a:pt x="10" y="124"/>
                      <a:pt x="9" y="123"/>
                    </a:cubicBezTo>
                    <a:cubicBezTo>
                      <a:pt x="8" y="119"/>
                      <a:pt x="6" y="118"/>
                      <a:pt x="5" y="114"/>
                    </a:cubicBezTo>
                    <a:cubicBezTo>
                      <a:pt x="4" y="112"/>
                      <a:pt x="4" y="110"/>
                      <a:pt x="4" y="108"/>
                    </a:cubicBezTo>
                    <a:cubicBezTo>
                      <a:pt x="4" y="106"/>
                      <a:pt x="4" y="105"/>
                      <a:pt x="5" y="103"/>
                    </a:cubicBezTo>
                    <a:cubicBezTo>
                      <a:pt x="5" y="103"/>
                      <a:pt x="5" y="103"/>
                      <a:pt x="6" y="103"/>
                    </a:cubicBezTo>
                    <a:cubicBezTo>
                      <a:pt x="8" y="103"/>
                      <a:pt x="9" y="100"/>
                      <a:pt x="11" y="100"/>
                    </a:cubicBezTo>
                    <a:cubicBezTo>
                      <a:pt x="13" y="100"/>
                      <a:pt x="13" y="102"/>
                      <a:pt x="15" y="102"/>
                    </a:cubicBezTo>
                    <a:cubicBezTo>
                      <a:pt x="16" y="103"/>
                      <a:pt x="17" y="103"/>
                      <a:pt x="19" y="103"/>
                    </a:cubicBezTo>
                    <a:cubicBezTo>
                      <a:pt x="20" y="103"/>
                      <a:pt x="21" y="102"/>
                      <a:pt x="22" y="101"/>
                    </a:cubicBezTo>
                    <a:cubicBezTo>
                      <a:pt x="24" y="100"/>
                      <a:pt x="25" y="99"/>
                      <a:pt x="27" y="99"/>
                    </a:cubicBezTo>
                    <a:cubicBezTo>
                      <a:pt x="28" y="99"/>
                      <a:pt x="29" y="99"/>
                      <a:pt x="30" y="99"/>
                    </a:cubicBezTo>
                    <a:cubicBezTo>
                      <a:pt x="32" y="99"/>
                      <a:pt x="33" y="98"/>
                      <a:pt x="34" y="98"/>
                    </a:cubicBezTo>
                    <a:cubicBezTo>
                      <a:pt x="34" y="98"/>
                      <a:pt x="34" y="97"/>
                      <a:pt x="34" y="97"/>
                    </a:cubicBezTo>
                    <a:cubicBezTo>
                      <a:pt x="33" y="95"/>
                      <a:pt x="31" y="95"/>
                      <a:pt x="31" y="93"/>
                    </a:cubicBezTo>
                    <a:cubicBezTo>
                      <a:pt x="31" y="92"/>
                      <a:pt x="32" y="92"/>
                      <a:pt x="33" y="92"/>
                    </a:cubicBezTo>
                    <a:cubicBezTo>
                      <a:pt x="34" y="91"/>
                      <a:pt x="34" y="90"/>
                      <a:pt x="35" y="89"/>
                    </a:cubicBezTo>
                    <a:cubicBezTo>
                      <a:pt x="35" y="89"/>
                      <a:pt x="35" y="89"/>
                      <a:pt x="36" y="89"/>
                    </a:cubicBezTo>
                    <a:cubicBezTo>
                      <a:pt x="36" y="89"/>
                      <a:pt x="36" y="90"/>
                      <a:pt x="36" y="90"/>
                    </a:cubicBezTo>
                    <a:cubicBezTo>
                      <a:pt x="37" y="90"/>
                      <a:pt x="38" y="89"/>
                      <a:pt x="38" y="89"/>
                    </a:cubicBezTo>
                    <a:cubicBezTo>
                      <a:pt x="40" y="88"/>
                      <a:pt x="41" y="88"/>
                      <a:pt x="42" y="88"/>
                    </a:cubicBezTo>
                    <a:cubicBezTo>
                      <a:pt x="45" y="88"/>
                      <a:pt x="46" y="88"/>
                      <a:pt x="48" y="88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6" y="90"/>
                      <a:pt x="56" y="90"/>
                      <a:pt x="56" y="90"/>
                    </a:cubicBezTo>
                    <a:cubicBezTo>
                      <a:pt x="54" y="79"/>
                      <a:pt x="54" y="79"/>
                      <a:pt x="54" y="79"/>
                    </a:cubicBezTo>
                    <a:cubicBezTo>
                      <a:pt x="54" y="77"/>
                      <a:pt x="55" y="76"/>
                      <a:pt x="55" y="74"/>
                    </a:cubicBezTo>
                    <a:cubicBezTo>
                      <a:pt x="56" y="73"/>
                      <a:pt x="56" y="73"/>
                      <a:pt x="56" y="72"/>
                    </a:cubicBezTo>
                    <a:cubicBezTo>
                      <a:pt x="56" y="70"/>
                      <a:pt x="56" y="69"/>
                      <a:pt x="56" y="67"/>
                    </a:cubicBezTo>
                    <a:cubicBezTo>
                      <a:pt x="56" y="65"/>
                      <a:pt x="57" y="63"/>
                      <a:pt x="58" y="61"/>
                    </a:cubicBezTo>
                    <a:cubicBezTo>
                      <a:pt x="58" y="60"/>
                      <a:pt x="58" y="58"/>
                      <a:pt x="60" y="58"/>
                    </a:cubicBezTo>
                    <a:cubicBezTo>
                      <a:pt x="61" y="58"/>
                      <a:pt x="61" y="59"/>
                      <a:pt x="62" y="59"/>
                    </a:cubicBezTo>
                    <a:cubicBezTo>
                      <a:pt x="65" y="59"/>
                      <a:pt x="67" y="58"/>
                      <a:pt x="67" y="55"/>
                    </a:cubicBezTo>
                    <a:cubicBezTo>
                      <a:pt x="67" y="53"/>
                      <a:pt x="67" y="52"/>
                      <a:pt x="67" y="50"/>
                    </a:cubicBezTo>
                    <a:cubicBezTo>
                      <a:pt x="67" y="48"/>
                      <a:pt x="69" y="47"/>
                      <a:pt x="70" y="46"/>
                    </a:cubicBezTo>
                    <a:cubicBezTo>
                      <a:pt x="72" y="45"/>
                      <a:pt x="73" y="44"/>
                      <a:pt x="74" y="42"/>
                    </a:cubicBezTo>
                    <a:cubicBezTo>
                      <a:pt x="72" y="40"/>
                      <a:pt x="70" y="41"/>
                      <a:pt x="69" y="40"/>
                    </a:cubicBezTo>
                    <a:cubicBezTo>
                      <a:pt x="68" y="39"/>
                      <a:pt x="67" y="38"/>
                      <a:pt x="67" y="37"/>
                    </a:cubicBezTo>
                    <a:cubicBezTo>
                      <a:pt x="67" y="35"/>
                      <a:pt x="68" y="34"/>
                      <a:pt x="69" y="32"/>
                    </a:cubicBezTo>
                    <a:cubicBezTo>
                      <a:pt x="69" y="31"/>
                      <a:pt x="69" y="30"/>
                      <a:pt x="69" y="28"/>
                    </a:cubicBezTo>
                    <a:cubicBezTo>
                      <a:pt x="70" y="26"/>
                      <a:pt x="70" y="25"/>
                      <a:pt x="70" y="22"/>
                    </a:cubicBezTo>
                    <a:cubicBezTo>
                      <a:pt x="71" y="22"/>
                      <a:pt x="72" y="21"/>
                      <a:pt x="73" y="21"/>
                    </a:cubicBezTo>
                    <a:cubicBezTo>
                      <a:pt x="75" y="20"/>
                      <a:pt x="77" y="20"/>
                      <a:pt x="79" y="18"/>
                    </a:cubicBezTo>
                    <a:cubicBezTo>
                      <a:pt x="81" y="17"/>
                      <a:pt x="82" y="17"/>
                      <a:pt x="84" y="15"/>
                    </a:cubicBezTo>
                    <a:cubicBezTo>
                      <a:pt x="84" y="14"/>
                      <a:pt x="85" y="13"/>
                      <a:pt x="86" y="13"/>
                    </a:cubicBezTo>
                    <a:cubicBezTo>
                      <a:pt x="87" y="13"/>
                      <a:pt x="87" y="13"/>
                      <a:pt x="87" y="14"/>
                    </a:cubicBezTo>
                    <a:cubicBezTo>
                      <a:pt x="89" y="15"/>
                      <a:pt x="90" y="17"/>
                      <a:pt x="93" y="17"/>
                    </a:cubicBezTo>
                    <a:cubicBezTo>
                      <a:pt x="95" y="17"/>
                      <a:pt x="96" y="14"/>
                      <a:pt x="96" y="12"/>
                    </a:cubicBezTo>
                    <a:cubicBezTo>
                      <a:pt x="97" y="11"/>
                      <a:pt x="97" y="11"/>
                      <a:pt x="97" y="10"/>
                    </a:cubicBezTo>
                    <a:cubicBezTo>
                      <a:pt x="98" y="10"/>
                      <a:pt x="98" y="10"/>
                      <a:pt x="98" y="9"/>
                    </a:cubicBezTo>
                    <a:cubicBezTo>
                      <a:pt x="99" y="9"/>
                      <a:pt x="99" y="8"/>
                      <a:pt x="99" y="7"/>
                    </a:cubicBezTo>
                    <a:cubicBezTo>
                      <a:pt x="99" y="6"/>
                      <a:pt x="100" y="6"/>
                      <a:pt x="101" y="5"/>
                    </a:cubicBezTo>
                    <a:cubicBezTo>
                      <a:pt x="102" y="4"/>
                      <a:pt x="103" y="4"/>
                      <a:pt x="105" y="3"/>
                    </a:cubicBezTo>
                    <a:cubicBezTo>
                      <a:pt x="107" y="2"/>
                      <a:pt x="107" y="1"/>
                      <a:pt x="109" y="0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5" name="Freeform 133">
                <a:extLst>
                  <a:ext uri="{FF2B5EF4-FFF2-40B4-BE49-F238E27FC236}">
                    <a16:creationId xmlns:a16="http://schemas.microsoft.com/office/drawing/2014/main" xmlns="" id="{FA110336-5B64-45F0-A4AE-A6370971F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9139" y="2391617"/>
                <a:ext cx="1290656" cy="853761"/>
              </a:xfrm>
              <a:custGeom>
                <a:avLst/>
                <a:gdLst>
                  <a:gd name="T0" fmla="*/ 208 w 511"/>
                  <a:gd name="T1" fmla="*/ 320 h 338"/>
                  <a:gd name="T2" fmla="*/ 236 w 511"/>
                  <a:gd name="T3" fmla="*/ 309 h 338"/>
                  <a:gd name="T4" fmla="*/ 245 w 511"/>
                  <a:gd name="T5" fmla="*/ 275 h 338"/>
                  <a:gd name="T6" fmla="*/ 253 w 511"/>
                  <a:gd name="T7" fmla="*/ 270 h 338"/>
                  <a:gd name="T8" fmla="*/ 276 w 511"/>
                  <a:gd name="T9" fmla="*/ 253 h 338"/>
                  <a:gd name="T10" fmla="*/ 287 w 511"/>
                  <a:gd name="T11" fmla="*/ 246 h 338"/>
                  <a:gd name="T12" fmla="*/ 299 w 511"/>
                  <a:gd name="T13" fmla="*/ 250 h 338"/>
                  <a:gd name="T14" fmla="*/ 288 w 511"/>
                  <a:gd name="T15" fmla="*/ 254 h 338"/>
                  <a:gd name="T16" fmla="*/ 294 w 511"/>
                  <a:gd name="T17" fmla="*/ 260 h 338"/>
                  <a:gd name="T18" fmla="*/ 281 w 511"/>
                  <a:gd name="T19" fmla="*/ 263 h 338"/>
                  <a:gd name="T20" fmla="*/ 327 w 511"/>
                  <a:gd name="T21" fmla="*/ 271 h 338"/>
                  <a:gd name="T22" fmla="*/ 333 w 511"/>
                  <a:gd name="T23" fmla="*/ 260 h 338"/>
                  <a:gd name="T24" fmla="*/ 345 w 511"/>
                  <a:gd name="T25" fmla="*/ 273 h 338"/>
                  <a:gd name="T26" fmla="*/ 316 w 511"/>
                  <a:gd name="T27" fmla="*/ 301 h 338"/>
                  <a:gd name="T28" fmla="*/ 351 w 511"/>
                  <a:gd name="T29" fmla="*/ 305 h 338"/>
                  <a:gd name="T30" fmla="*/ 364 w 511"/>
                  <a:gd name="T31" fmla="*/ 338 h 338"/>
                  <a:gd name="T32" fmla="*/ 401 w 511"/>
                  <a:gd name="T33" fmla="*/ 306 h 338"/>
                  <a:gd name="T34" fmla="*/ 421 w 511"/>
                  <a:gd name="T35" fmla="*/ 294 h 338"/>
                  <a:gd name="T36" fmla="*/ 436 w 511"/>
                  <a:gd name="T37" fmla="*/ 282 h 338"/>
                  <a:gd name="T38" fmla="*/ 427 w 511"/>
                  <a:gd name="T39" fmla="*/ 275 h 338"/>
                  <a:gd name="T40" fmla="*/ 401 w 511"/>
                  <a:gd name="T41" fmla="*/ 280 h 338"/>
                  <a:gd name="T42" fmla="*/ 385 w 511"/>
                  <a:gd name="T43" fmla="*/ 263 h 338"/>
                  <a:gd name="T44" fmla="*/ 395 w 511"/>
                  <a:gd name="T45" fmla="*/ 289 h 338"/>
                  <a:gd name="T46" fmla="*/ 374 w 511"/>
                  <a:gd name="T47" fmla="*/ 271 h 338"/>
                  <a:gd name="T48" fmla="*/ 363 w 511"/>
                  <a:gd name="T49" fmla="*/ 261 h 338"/>
                  <a:gd name="T50" fmla="*/ 348 w 511"/>
                  <a:gd name="T51" fmla="*/ 254 h 338"/>
                  <a:gd name="T52" fmla="*/ 361 w 511"/>
                  <a:gd name="T53" fmla="*/ 251 h 338"/>
                  <a:gd name="T54" fmla="*/ 369 w 511"/>
                  <a:gd name="T55" fmla="*/ 255 h 338"/>
                  <a:gd name="T56" fmla="*/ 388 w 511"/>
                  <a:gd name="T57" fmla="*/ 240 h 338"/>
                  <a:gd name="T58" fmla="*/ 418 w 511"/>
                  <a:gd name="T59" fmla="*/ 228 h 338"/>
                  <a:gd name="T60" fmla="*/ 443 w 511"/>
                  <a:gd name="T61" fmla="*/ 209 h 338"/>
                  <a:gd name="T62" fmla="*/ 469 w 511"/>
                  <a:gd name="T63" fmla="*/ 193 h 338"/>
                  <a:gd name="T64" fmla="*/ 481 w 511"/>
                  <a:gd name="T65" fmla="*/ 162 h 338"/>
                  <a:gd name="T66" fmla="*/ 510 w 511"/>
                  <a:gd name="T67" fmla="*/ 141 h 338"/>
                  <a:gd name="T68" fmla="*/ 497 w 511"/>
                  <a:gd name="T69" fmla="*/ 107 h 338"/>
                  <a:gd name="T70" fmla="*/ 502 w 511"/>
                  <a:gd name="T71" fmla="*/ 81 h 338"/>
                  <a:gd name="T72" fmla="*/ 478 w 511"/>
                  <a:gd name="T73" fmla="*/ 74 h 338"/>
                  <a:gd name="T74" fmla="*/ 443 w 511"/>
                  <a:gd name="T75" fmla="*/ 65 h 338"/>
                  <a:gd name="T76" fmla="*/ 399 w 511"/>
                  <a:gd name="T77" fmla="*/ 67 h 338"/>
                  <a:gd name="T78" fmla="*/ 359 w 511"/>
                  <a:gd name="T79" fmla="*/ 48 h 338"/>
                  <a:gd name="T80" fmla="*/ 324 w 511"/>
                  <a:gd name="T81" fmla="*/ 38 h 338"/>
                  <a:gd name="T82" fmla="*/ 309 w 511"/>
                  <a:gd name="T83" fmla="*/ 4 h 338"/>
                  <a:gd name="T84" fmla="*/ 260 w 511"/>
                  <a:gd name="T85" fmla="*/ 20 h 338"/>
                  <a:gd name="T86" fmla="*/ 219 w 511"/>
                  <a:gd name="T87" fmla="*/ 40 h 338"/>
                  <a:gd name="T88" fmla="*/ 208 w 511"/>
                  <a:gd name="T89" fmla="*/ 50 h 338"/>
                  <a:gd name="T90" fmla="*/ 169 w 511"/>
                  <a:gd name="T91" fmla="*/ 51 h 338"/>
                  <a:gd name="T92" fmla="*/ 126 w 511"/>
                  <a:gd name="T93" fmla="*/ 52 h 338"/>
                  <a:gd name="T94" fmla="*/ 57 w 511"/>
                  <a:gd name="T95" fmla="*/ 52 h 338"/>
                  <a:gd name="T96" fmla="*/ 38 w 511"/>
                  <a:gd name="T97" fmla="*/ 56 h 338"/>
                  <a:gd name="T98" fmla="*/ 45 w 511"/>
                  <a:gd name="T99" fmla="*/ 88 h 338"/>
                  <a:gd name="T100" fmla="*/ 38 w 511"/>
                  <a:gd name="T101" fmla="*/ 118 h 338"/>
                  <a:gd name="T102" fmla="*/ 19 w 511"/>
                  <a:gd name="T103" fmla="*/ 171 h 338"/>
                  <a:gd name="T104" fmla="*/ 0 w 511"/>
                  <a:gd name="T105" fmla="*/ 198 h 338"/>
                  <a:gd name="T106" fmla="*/ 27 w 511"/>
                  <a:gd name="T107" fmla="*/ 217 h 338"/>
                  <a:gd name="T108" fmla="*/ 54 w 511"/>
                  <a:gd name="T109" fmla="*/ 218 h 338"/>
                  <a:gd name="T110" fmla="*/ 81 w 511"/>
                  <a:gd name="T111" fmla="*/ 226 h 338"/>
                  <a:gd name="T112" fmla="*/ 113 w 511"/>
                  <a:gd name="T113" fmla="*/ 210 h 338"/>
                  <a:gd name="T114" fmla="*/ 143 w 511"/>
                  <a:gd name="T115" fmla="*/ 197 h 338"/>
                  <a:gd name="T116" fmla="*/ 188 w 511"/>
                  <a:gd name="T117" fmla="*/ 202 h 338"/>
                  <a:gd name="T118" fmla="*/ 220 w 511"/>
                  <a:gd name="T119" fmla="*/ 234 h 338"/>
                  <a:gd name="T120" fmla="*/ 230 w 511"/>
                  <a:gd name="T121" fmla="*/ 268 h 338"/>
                  <a:gd name="T122" fmla="*/ 209 w 511"/>
                  <a:gd name="T123" fmla="*/ 28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1" h="338">
                    <a:moveTo>
                      <a:pt x="187" y="316"/>
                    </a:moveTo>
                    <a:cubicBezTo>
                      <a:pt x="188" y="316"/>
                      <a:pt x="188" y="317"/>
                      <a:pt x="188" y="317"/>
                    </a:cubicBezTo>
                    <a:cubicBezTo>
                      <a:pt x="189" y="317"/>
                      <a:pt x="190" y="317"/>
                      <a:pt x="190" y="317"/>
                    </a:cubicBezTo>
                    <a:cubicBezTo>
                      <a:pt x="191" y="317"/>
                      <a:pt x="191" y="318"/>
                      <a:pt x="191" y="318"/>
                    </a:cubicBezTo>
                    <a:cubicBezTo>
                      <a:pt x="192" y="319"/>
                      <a:pt x="193" y="320"/>
                      <a:pt x="194" y="320"/>
                    </a:cubicBezTo>
                    <a:cubicBezTo>
                      <a:pt x="196" y="322"/>
                      <a:pt x="197" y="325"/>
                      <a:pt x="201" y="325"/>
                    </a:cubicBezTo>
                    <a:cubicBezTo>
                      <a:pt x="201" y="325"/>
                      <a:pt x="202" y="324"/>
                      <a:pt x="202" y="324"/>
                    </a:cubicBezTo>
                    <a:cubicBezTo>
                      <a:pt x="202" y="322"/>
                      <a:pt x="202" y="322"/>
                      <a:pt x="203" y="321"/>
                    </a:cubicBezTo>
                    <a:cubicBezTo>
                      <a:pt x="205" y="320"/>
                      <a:pt x="207" y="321"/>
                      <a:pt x="208" y="320"/>
                    </a:cubicBezTo>
                    <a:cubicBezTo>
                      <a:pt x="209" y="319"/>
                      <a:pt x="209" y="319"/>
                      <a:pt x="210" y="318"/>
                    </a:cubicBezTo>
                    <a:cubicBezTo>
                      <a:pt x="211" y="316"/>
                      <a:pt x="212" y="315"/>
                      <a:pt x="214" y="314"/>
                    </a:cubicBezTo>
                    <a:cubicBezTo>
                      <a:pt x="214" y="313"/>
                      <a:pt x="215" y="312"/>
                      <a:pt x="217" y="312"/>
                    </a:cubicBezTo>
                    <a:cubicBezTo>
                      <a:pt x="218" y="312"/>
                      <a:pt x="218" y="314"/>
                      <a:pt x="220" y="314"/>
                    </a:cubicBezTo>
                    <a:cubicBezTo>
                      <a:pt x="220" y="314"/>
                      <a:pt x="220" y="314"/>
                      <a:pt x="221" y="314"/>
                    </a:cubicBezTo>
                    <a:cubicBezTo>
                      <a:pt x="222" y="313"/>
                      <a:pt x="223" y="312"/>
                      <a:pt x="225" y="312"/>
                    </a:cubicBezTo>
                    <a:cubicBezTo>
                      <a:pt x="229" y="312"/>
                      <a:pt x="231" y="314"/>
                      <a:pt x="235" y="316"/>
                    </a:cubicBezTo>
                    <a:cubicBezTo>
                      <a:pt x="237" y="316"/>
                      <a:pt x="237" y="312"/>
                      <a:pt x="237" y="310"/>
                    </a:cubicBezTo>
                    <a:cubicBezTo>
                      <a:pt x="237" y="309"/>
                      <a:pt x="236" y="309"/>
                      <a:pt x="236" y="309"/>
                    </a:cubicBezTo>
                    <a:cubicBezTo>
                      <a:pt x="235" y="308"/>
                      <a:pt x="235" y="308"/>
                      <a:pt x="235" y="307"/>
                    </a:cubicBezTo>
                    <a:cubicBezTo>
                      <a:pt x="235" y="304"/>
                      <a:pt x="235" y="304"/>
                      <a:pt x="235" y="304"/>
                    </a:cubicBezTo>
                    <a:cubicBezTo>
                      <a:pt x="235" y="303"/>
                      <a:pt x="236" y="303"/>
                      <a:pt x="236" y="302"/>
                    </a:cubicBezTo>
                    <a:cubicBezTo>
                      <a:pt x="237" y="301"/>
                      <a:pt x="237" y="300"/>
                      <a:pt x="238" y="299"/>
                    </a:cubicBezTo>
                    <a:cubicBezTo>
                      <a:pt x="240" y="296"/>
                      <a:pt x="240" y="294"/>
                      <a:pt x="242" y="292"/>
                    </a:cubicBezTo>
                    <a:cubicBezTo>
                      <a:pt x="244" y="291"/>
                      <a:pt x="245" y="290"/>
                      <a:pt x="246" y="288"/>
                    </a:cubicBezTo>
                    <a:cubicBezTo>
                      <a:pt x="247" y="286"/>
                      <a:pt x="248" y="285"/>
                      <a:pt x="248" y="283"/>
                    </a:cubicBezTo>
                    <a:cubicBezTo>
                      <a:pt x="249" y="282"/>
                      <a:pt x="249" y="282"/>
                      <a:pt x="249" y="282"/>
                    </a:cubicBezTo>
                    <a:cubicBezTo>
                      <a:pt x="249" y="279"/>
                      <a:pt x="247" y="277"/>
                      <a:pt x="245" y="275"/>
                    </a:cubicBezTo>
                    <a:cubicBezTo>
                      <a:pt x="244" y="274"/>
                      <a:pt x="243" y="274"/>
                      <a:pt x="241" y="274"/>
                    </a:cubicBezTo>
                    <a:cubicBezTo>
                      <a:pt x="240" y="273"/>
                      <a:pt x="240" y="272"/>
                      <a:pt x="240" y="271"/>
                    </a:cubicBezTo>
                    <a:cubicBezTo>
                      <a:pt x="240" y="268"/>
                      <a:pt x="240" y="266"/>
                      <a:pt x="243" y="266"/>
                    </a:cubicBezTo>
                    <a:cubicBezTo>
                      <a:pt x="244" y="266"/>
                      <a:pt x="244" y="266"/>
                      <a:pt x="244" y="266"/>
                    </a:cubicBezTo>
                    <a:cubicBezTo>
                      <a:pt x="244" y="267"/>
                      <a:pt x="245" y="269"/>
                      <a:pt x="246" y="269"/>
                    </a:cubicBezTo>
                    <a:cubicBezTo>
                      <a:pt x="247" y="269"/>
                      <a:pt x="247" y="268"/>
                      <a:pt x="248" y="268"/>
                    </a:cubicBezTo>
                    <a:cubicBezTo>
                      <a:pt x="249" y="268"/>
                      <a:pt x="249" y="270"/>
                      <a:pt x="249" y="271"/>
                    </a:cubicBezTo>
                    <a:cubicBezTo>
                      <a:pt x="250" y="272"/>
                      <a:pt x="251" y="272"/>
                      <a:pt x="252" y="273"/>
                    </a:cubicBezTo>
                    <a:cubicBezTo>
                      <a:pt x="252" y="272"/>
                      <a:pt x="252" y="271"/>
                      <a:pt x="253" y="270"/>
                    </a:cubicBezTo>
                    <a:cubicBezTo>
                      <a:pt x="255" y="268"/>
                      <a:pt x="257" y="267"/>
                      <a:pt x="257" y="264"/>
                    </a:cubicBezTo>
                    <a:cubicBezTo>
                      <a:pt x="257" y="263"/>
                      <a:pt x="257" y="263"/>
                      <a:pt x="256" y="262"/>
                    </a:cubicBezTo>
                    <a:cubicBezTo>
                      <a:pt x="256" y="262"/>
                      <a:pt x="255" y="262"/>
                      <a:pt x="255" y="262"/>
                    </a:cubicBezTo>
                    <a:cubicBezTo>
                      <a:pt x="254" y="261"/>
                      <a:pt x="255" y="261"/>
                      <a:pt x="255" y="260"/>
                    </a:cubicBezTo>
                    <a:cubicBezTo>
                      <a:pt x="255" y="259"/>
                      <a:pt x="255" y="257"/>
                      <a:pt x="256" y="257"/>
                    </a:cubicBezTo>
                    <a:cubicBezTo>
                      <a:pt x="258" y="257"/>
                      <a:pt x="259" y="258"/>
                      <a:pt x="261" y="258"/>
                    </a:cubicBezTo>
                    <a:cubicBezTo>
                      <a:pt x="262" y="258"/>
                      <a:pt x="263" y="257"/>
                      <a:pt x="265" y="256"/>
                    </a:cubicBezTo>
                    <a:cubicBezTo>
                      <a:pt x="267" y="255"/>
                      <a:pt x="268" y="255"/>
                      <a:pt x="270" y="255"/>
                    </a:cubicBezTo>
                    <a:cubicBezTo>
                      <a:pt x="272" y="254"/>
                      <a:pt x="273" y="254"/>
                      <a:pt x="276" y="253"/>
                    </a:cubicBezTo>
                    <a:cubicBezTo>
                      <a:pt x="277" y="253"/>
                      <a:pt x="279" y="253"/>
                      <a:pt x="279" y="251"/>
                    </a:cubicBezTo>
                    <a:cubicBezTo>
                      <a:pt x="279" y="249"/>
                      <a:pt x="279" y="249"/>
                      <a:pt x="279" y="249"/>
                    </a:cubicBezTo>
                    <a:cubicBezTo>
                      <a:pt x="279" y="248"/>
                      <a:pt x="280" y="247"/>
                      <a:pt x="280" y="246"/>
                    </a:cubicBezTo>
                    <a:cubicBezTo>
                      <a:pt x="281" y="245"/>
                      <a:pt x="282" y="244"/>
                      <a:pt x="282" y="242"/>
                    </a:cubicBezTo>
                    <a:cubicBezTo>
                      <a:pt x="282" y="246"/>
                      <a:pt x="282" y="246"/>
                      <a:pt x="282" y="246"/>
                    </a:cubicBezTo>
                    <a:cubicBezTo>
                      <a:pt x="282" y="247"/>
                      <a:pt x="282" y="247"/>
                      <a:pt x="282" y="248"/>
                    </a:cubicBezTo>
                    <a:cubicBezTo>
                      <a:pt x="282" y="249"/>
                      <a:pt x="283" y="249"/>
                      <a:pt x="283" y="249"/>
                    </a:cubicBezTo>
                    <a:cubicBezTo>
                      <a:pt x="288" y="249"/>
                      <a:pt x="288" y="249"/>
                      <a:pt x="288" y="249"/>
                    </a:cubicBezTo>
                    <a:cubicBezTo>
                      <a:pt x="288" y="248"/>
                      <a:pt x="287" y="247"/>
                      <a:pt x="287" y="246"/>
                    </a:cubicBezTo>
                    <a:cubicBezTo>
                      <a:pt x="287" y="239"/>
                      <a:pt x="287" y="239"/>
                      <a:pt x="287" y="239"/>
                    </a:cubicBezTo>
                    <a:cubicBezTo>
                      <a:pt x="286" y="236"/>
                      <a:pt x="286" y="236"/>
                      <a:pt x="286" y="236"/>
                    </a:cubicBezTo>
                    <a:cubicBezTo>
                      <a:pt x="286" y="231"/>
                      <a:pt x="286" y="231"/>
                      <a:pt x="286" y="231"/>
                    </a:cubicBezTo>
                    <a:cubicBezTo>
                      <a:pt x="287" y="233"/>
                      <a:pt x="289" y="234"/>
                      <a:pt x="289" y="236"/>
                    </a:cubicBezTo>
                    <a:cubicBezTo>
                      <a:pt x="290" y="239"/>
                      <a:pt x="290" y="241"/>
                      <a:pt x="292" y="244"/>
                    </a:cubicBezTo>
                    <a:cubicBezTo>
                      <a:pt x="292" y="244"/>
                      <a:pt x="292" y="245"/>
                      <a:pt x="292" y="246"/>
                    </a:cubicBezTo>
                    <a:cubicBezTo>
                      <a:pt x="292" y="247"/>
                      <a:pt x="293" y="247"/>
                      <a:pt x="294" y="247"/>
                    </a:cubicBezTo>
                    <a:cubicBezTo>
                      <a:pt x="295" y="248"/>
                      <a:pt x="296" y="249"/>
                      <a:pt x="297" y="250"/>
                    </a:cubicBezTo>
                    <a:cubicBezTo>
                      <a:pt x="298" y="251"/>
                      <a:pt x="298" y="250"/>
                      <a:pt x="299" y="250"/>
                    </a:cubicBezTo>
                    <a:cubicBezTo>
                      <a:pt x="300" y="250"/>
                      <a:pt x="300" y="251"/>
                      <a:pt x="301" y="251"/>
                    </a:cubicBezTo>
                    <a:cubicBezTo>
                      <a:pt x="303" y="251"/>
                      <a:pt x="303" y="251"/>
                      <a:pt x="303" y="251"/>
                    </a:cubicBezTo>
                    <a:cubicBezTo>
                      <a:pt x="304" y="251"/>
                      <a:pt x="304" y="251"/>
                      <a:pt x="304" y="252"/>
                    </a:cubicBezTo>
                    <a:cubicBezTo>
                      <a:pt x="304" y="253"/>
                      <a:pt x="304" y="254"/>
                      <a:pt x="304" y="255"/>
                    </a:cubicBezTo>
                    <a:cubicBezTo>
                      <a:pt x="302" y="255"/>
                      <a:pt x="301" y="254"/>
                      <a:pt x="300" y="253"/>
                    </a:cubicBezTo>
                    <a:cubicBezTo>
                      <a:pt x="298" y="253"/>
                      <a:pt x="297" y="253"/>
                      <a:pt x="296" y="253"/>
                    </a:cubicBezTo>
                    <a:cubicBezTo>
                      <a:pt x="295" y="253"/>
                      <a:pt x="294" y="253"/>
                      <a:pt x="293" y="253"/>
                    </a:cubicBezTo>
                    <a:cubicBezTo>
                      <a:pt x="292" y="253"/>
                      <a:pt x="292" y="254"/>
                      <a:pt x="291" y="254"/>
                    </a:cubicBezTo>
                    <a:cubicBezTo>
                      <a:pt x="288" y="254"/>
                      <a:pt x="288" y="254"/>
                      <a:pt x="288" y="254"/>
                    </a:cubicBezTo>
                    <a:cubicBezTo>
                      <a:pt x="286" y="254"/>
                      <a:pt x="285" y="254"/>
                      <a:pt x="284" y="254"/>
                    </a:cubicBezTo>
                    <a:cubicBezTo>
                      <a:pt x="281" y="254"/>
                      <a:pt x="281" y="254"/>
                      <a:pt x="281" y="254"/>
                    </a:cubicBezTo>
                    <a:cubicBezTo>
                      <a:pt x="281" y="254"/>
                      <a:pt x="281" y="254"/>
                      <a:pt x="281" y="255"/>
                    </a:cubicBezTo>
                    <a:cubicBezTo>
                      <a:pt x="281" y="256"/>
                      <a:pt x="283" y="256"/>
                      <a:pt x="284" y="257"/>
                    </a:cubicBezTo>
                    <a:cubicBezTo>
                      <a:pt x="287" y="257"/>
                      <a:pt x="289" y="257"/>
                      <a:pt x="292" y="257"/>
                    </a:cubicBezTo>
                    <a:cubicBezTo>
                      <a:pt x="293" y="257"/>
                      <a:pt x="294" y="257"/>
                      <a:pt x="296" y="257"/>
                    </a:cubicBezTo>
                    <a:cubicBezTo>
                      <a:pt x="298" y="257"/>
                      <a:pt x="298" y="257"/>
                      <a:pt x="298" y="257"/>
                    </a:cubicBezTo>
                    <a:cubicBezTo>
                      <a:pt x="298" y="258"/>
                      <a:pt x="298" y="258"/>
                      <a:pt x="298" y="258"/>
                    </a:cubicBezTo>
                    <a:cubicBezTo>
                      <a:pt x="298" y="259"/>
                      <a:pt x="296" y="259"/>
                      <a:pt x="294" y="260"/>
                    </a:cubicBezTo>
                    <a:cubicBezTo>
                      <a:pt x="293" y="261"/>
                      <a:pt x="292" y="262"/>
                      <a:pt x="292" y="263"/>
                    </a:cubicBezTo>
                    <a:cubicBezTo>
                      <a:pt x="297" y="263"/>
                      <a:pt x="297" y="263"/>
                      <a:pt x="297" y="263"/>
                    </a:cubicBezTo>
                    <a:cubicBezTo>
                      <a:pt x="299" y="263"/>
                      <a:pt x="300" y="264"/>
                      <a:pt x="302" y="265"/>
                    </a:cubicBezTo>
                    <a:cubicBezTo>
                      <a:pt x="304" y="265"/>
                      <a:pt x="306" y="265"/>
                      <a:pt x="306" y="267"/>
                    </a:cubicBezTo>
                    <a:cubicBezTo>
                      <a:pt x="306" y="267"/>
                      <a:pt x="305" y="268"/>
                      <a:pt x="304" y="268"/>
                    </a:cubicBezTo>
                    <a:cubicBezTo>
                      <a:pt x="303" y="268"/>
                      <a:pt x="303" y="268"/>
                      <a:pt x="301" y="268"/>
                    </a:cubicBezTo>
                    <a:cubicBezTo>
                      <a:pt x="300" y="268"/>
                      <a:pt x="299" y="267"/>
                      <a:pt x="298" y="267"/>
                    </a:cubicBezTo>
                    <a:cubicBezTo>
                      <a:pt x="294" y="266"/>
                      <a:pt x="292" y="266"/>
                      <a:pt x="288" y="265"/>
                    </a:cubicBezTo>
                    <a:cubicBezTo>
                      <a:pt x="285" y="264"/>
                      <a:pt x="284" y="263"/>
                      <a:pt x="281" y="263"/>
                    </a:cubicBezTo>
                    <a:cubicBezTo>
                      <a:pt x="280" y="263"/>
                      <a:pt x="280" y="263"/>
                      <a:pt x="280" y="263"/>
                    </a:cubicBezTo>
                    <a:cubicBezTo>
                      <a:pt x="280" y="263"/>
                      <a:pt x="280" y="263"/>
                      <a:pt x="280" y="263"/>
                    </a:cubicBezTo>
                    <a:cubicBezTo>
                      <a:pt x="281" y="265"/>
                      <a:pt x="283" y="265"/>
                      <a:pt x="285" y="266"/>
                    </a:cubicBezTo>
                    <a:cubicBezTo>
                      <a:pt x="287" y="267"/>
                      <a:pt x="289" y="267"/>
                      <a:pt x="291" y="268"/>
                    </a:cubicBezTo>
                    <a:cubicBezTo>
                      <a:pt x="294" y="270"/>
                      <a:pt x="297" y="270"/>
                      <a:pt x="301" y="271"/>
                    </a:cubicBezTo>
                    <a:cubicBezTo>
                      <a:pt x="303" y="271"/>
                      <a:pt x="305" y="271"/>
                      <a:pt x="308" y="272"/>
                    </a:cubicBezTo>
                    <a:cubicBezTo>
                      <a:pt x="313" y="272"/>
                      <a:pt x="316" y="273"/>
                      <a:pt x="322" y="273"/>
                    </a:cubicBez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6" y="273"/>
                      <a:pt x="327" y="273"/>
                      <a:pt x="327" y="271"/>
                    </a:cubicBezTo>
                    <a:cubicBezTo>
                      <a:pt x="327" y="271"/>
                      <a:pt x="327" y="271"/>
                      <a:pt x="327" y="271"/>
                    </a:cubicBezTo>
                    <a:cubicBezTo>
                      <a:pt x="324" y="272"/>
                      <a:pt x="324" y="272"/>
                      <a:pt x="324" y="272"/>
                    </a:cubicBezTo>
                    <a:cubicBezTo>
                      <a:pt x="321" y="272"/>
                      <a:pt x="321" y="272"/>
                      <a:pt x="321" y="272"/>
                    </a:cubicBezTo>
                    <a:cubicBezTo>
                      <a:pt x="319" y="272"/>
                      <a:pt x="318" y="271"/>
                      <a:pt x="317" y="271"/>
                    </a:cubicBezTo>
                    <a:cubicBezTo>
                      <a:pt x="315" y="270"/>
                      <a:pt x="314" y="270"/>
                      <a:pt x="314" y="269"/>
                    </a:cubicBezTo>
                    <a:cubicBezTo>
                      <a:pt x="318" y="267"/>
                      <a:pt x="321" y="266"/>
                      <a:pt x="326" y="266"/>
                    </a:cubicBezTo>
                    <a:cubicBezTo>
                      <a:pt x="326" y="265"/>
                      <a:pt x="326" y="264"/>
                      <a:pt x="326" y="263"/>
                    </a:cubicBezTo>
                    <a:cubicBezTo>
                      <a:pt x="326" y="262"/>
                      <a:pt x="328" y="262"/>
                      <a:pt x="329" y="261"/>
                    </a:cubicBezTo>
                    <a:cubicBezTo>
                      <a:pt x="330" y="261"/>
                      <a:pt x="331" y="260"/>
                      <a:pt x="333" y="260"/>
                    </a:cubicBezTo>
                    <a:cubicBezTo>
                      <a:pt x="336" y="260"/>
                      <a:pt x="336" y="260"/>
                      <a:pt x="336" y="260"/>
                    </a:cubicBezTo>
                    <a:cubicBezTo>
                      <a:pt x="338" y="260"/>
                      <a:pt x="337" y="265"/>
                      <a:pt x="339" y="265"/>
                    </a:cubicBezTo>
                    <a:cubicBezTo>
                      <a:pt x="342" y="265"/>
                      <a:pt x="341" y="260"/>
                      <a:pt x="343" y="260"/>
                    </a:cubicBezTo>
                    <a:cubicBezTo>
                      <a:pt x="344" y="260"/>
                      <a:pt x="346" y="261"/>
                      <a:pt x="346" y="262"/>
                    </a:cubicBezTo>
                    <a:cubicBezTo>
                      <a:pt x="346" y="263"/>
                      <a:pt x="345" y="264"/>
                      <a:pt x="345" y="264"/>
                    </a:cubicBezTo>
                    <a:cubicBezTo>
                      <a:pt x="345" y="267"/>
                      <a:pt x="348" y="267"/>
                      <a:pt x="348" y="270"/>
                    </a:cubicBezTo>
                    <a:cubicBezTo>
                      <a:pt x="348" y="271"/>
                      <a:pt x="347" y="272"/>
                      <a:pt x="347" y="274"/>
                    </a:cubicBezTo>
                    <a:cubicBezTo>
                      <a:pt x="346" y="274"/>
                      <a:pt x="346" y="274"/>
                      <a:pt x="346" y="274"/>
                    </a:cubicBezTo>
                    <a:cubicBezTo>
                      <a:pt x="346" y="274"/>
                      <a:pt x="346" y="273"/>
                      <a:pt x="345" y="273"/>
                    </a:cubicBezTo>
                    <a:cubicBezTo>
                      <a:pt x="344" y="273"/>
                      <a:pt x="344" y="274"/>
                      <a:pt x="343" y="275"/>
                    </a:cubicBezTo>
                    <a:cubicBezTo>
                      <a:pt x="341" y="276"/>
                      <a:pt x="340" y="277"/>
                      <a:pt x="338" y="278"/>
                    </a:cubicBezTo>
                    <a:cubicBezTo>
                      <a:pt x="336" y="278"/>
                      <a:pt x="335" y="278"/>
                      <a:pt x="334" y="279"/>
                    </a:cubicBezTo>
                    <a:cubicBezTo>
                      <a:pt x="333" y="279"/>
                      <a:pt x="333" y="280"/>
                      <a:pt x="333" y="281"/>
                    </a:cubicBezTo>
                    <a:cubicBezTo>
                      <a:pt x="333" y="282"/>
                      <a:pt x="332" y="282"/>
                      <a:pt x="332" y="283"/>
                    </a:cubicBezTo>
                    <a:cubicBezTo>
                      <a:pt x="330" y="284"/>
                      <a:pt x="329" y="285"/>
                      <a:pt x="327" y="287"/>
                    </a:cubicBezTo>
                    <a:cubicBezTo>
                      <a:pt x="325" y="289"/>
                      <a:pt x="324" y="290"/>
                      <a:pt x="321" y="292"/>
                    </a:cubicBezTo>
                    <a:cubicBezTo>
                      <a:pt x="320" y="295"/>
                      <a:pt x="319" y="296"/>
                      <a:pt x="318" y="298"/>
                    </a:cubicBezTo>
                    <a:cubicBezTo>
                      <a:pt x="317" y="300"/>
                      <a:pt x="316" y="300"/>
                      <a:pt x="316" y="301"/>
                    </a:cubicBezTo>
                    <a:cubicBezTo>
                      <a:pt x="316" y="304"/>
                      <a:pt x="319" y="304"/>
                      <a:pt x="321" y="304"/>
                    </a:cubicBezTo>
                    <a:cubicBezTo>
                      <a:pt x="323" y="304"/>
                      <a:pt x="325" y="303"/>
                      <a:pt x="326" y="301"/>
                    </a:cubicBezTo>
                    <a:cubicBezTo>
                      <a:pt x="327" y="301"/>
                      <a:pt x="327" y="300"/>
                      <a:pt x="328" y="300"/>
                    </a:cubicBezTo>
                    <a:cubicBezTo>
                      <a:pt x="330" y="300"/>
                      <a:pt x="332" y="300"/>
                      <a:pt x="334" y="301"/>
                    </a:cubicBezTo>
                    <a:cubicBezTo>
                      <a:pt x="334" y="301"/>
                      <a:pt x="334" y="302"/>
                      <a:pt x="335" y="302"/>
                    </a:cubicBezTo>
                    <a:cubicBezTo>
                      <a:pt x="337" y="303"/>
                      <a:pt x="338" y="303"/>
                      <a:pt x="339" y="303"/>
                    </a:cubicBezTo>
                    <a:cubicBezTo>
                      <a:pt x="341" y="303"/>
                      <a:pt x="341" y="304"/>
                      <a:pt x="342" y="304"/>
                    </a:cubicBezTo>
                    <a:cubicBezTo>
                      <a:pt x="345" y="304"/>
                      <a:pt x="346" y="302"/>
                      <a:pt x="348" y="302"/>
                    </a:cubicBezTo>
                    <a:cubicBezTo>
                      <a:pt x="350" y="302"/>
                      <a:pt x="351" y="304"/>
                      <a:pt x="351" y="305"/>
                    </a:cubicBezTo>
                    <a:cubicBezTo>
                      <a:pt x="352" y="307"/>
                      <a:pt x="353" y="308"/>
                      <a:pt x="355" y="309"/>
                    </a:cubicBezTo>
                    <a:cubicBezTo>
                      <a:pt x="356" y="310"/>
                      <a:pt x="356" y="312"/>
                      <a:pt x="356" y="313"/>
                    </a:cubicBezTo>
                    <a:cubicBezTo>
                      <a:pt x="356" y="315"/>
                      <a:pt x="357" y="316"/>
                      <a:pt x="357" y="317"/>
                    </a:cubicBezTo>
                    <a:cubicBezTo>
                      <a:pt x="357" y="318"/>
                      <a:pt x="356" y="318"/>
                      <a:pt x="356" y="319"/>
                    </a:cubicBezTo>
                    <a:cubicBezTo>
                      <a:pt x="356" y="321"/>
                      <a:pt x="356" y="322"/>
                      <a:pt x="356" y="324"/>
                    </a:cubicBezTo>
                    <a:cubicBezTo>
                      <a:pt x="356" y="327"/>
                      <a:pt x="351" y="328"/>
                      <a:pt x="351" y="332"/>
                    </a:cubicBezTo>
                    <a:cubicBezTo>
                      <a:pt x="351" y="333"/>
                      <a:pt x="353" y="333"/>
                      <a:pt x="355" y="333"/>
                    </a:cubicBezTo>
                    <a:cubicBezTo>
                      <a:pt x="356" y="333"/>
                      <a:pt x="357" y="334"/>
                      <a:pt x="358" y="335"/>
                    </a:cubicBezTo>
                    <a:cubicBezTo>
                      <a:pt x="359" y="337"/>
                      <a:pt x="362" y="338"/>
                      <a:pt x="364" y="338"/>
                    </a:cubicBezTo>
                    <a:cubicBezTo>
                      <a:pt x="367" y="338"/>
                      <a:pt x="367" y="337"/>
                      <a:pt x="369" y="336"/>
                    </a:cubicBezTo>
                    <a:cubicBezTo>
                      <a:pt x="371" y="336"/>
                      <a:pt x="373" y="336"/>
                      <a:pt x="374" y="335"/>
                    </a:cubicBezTo>
                    <a:cubicBezTo>
                      <a:pt x="375" y="333"/>
                      <a:pt x="375" y="332"/>
                      <a:pt x="375" y="331"/>
                    </a:cubicBezTo>
                    <a:cubicBezTo>
                      <a:pt x="376" y="329"/>
                      <a:pt x="377" y="328"/>
                      <a:pt x="379" y="325"/>
                    </a:cubicBezTo>
                    <a:cubicBezTo>
                      <a:pt x="383" y="318"/>
                      <a:pt x="386" y="313"/>
                      <a:pt x="393" y="309"/>
                    </a:cubicBezTo>
                    <a:cubicBezTo>
                      <a:pt x="395" y="309"/>
                      <a:pt x="395" y="308"/>
                      <a:pt x="397" y="308"/>
                    </a:cubicBezTo>
                    <a:cubicBezTo>
                      <a:pt x="398" y="308"/>
                      <a:pt x="399" y="308"/>
                      <a:pt x="400" y="309"/>
                    </a:cubicBezTo>
                    <a:cubicBezTo>
                      <a:pt x="401" y="308"/>
                      <a:pt x="401" y="308"/>
                      <a:pt x="401" y="308"/>
                    </a:cubicBezTo>
                    <a:cubicBezTo>
                      <a:pt x="401" y="308"/>
                      <a:pt x="401" y="307"/>
                      <a:pt x="401" y="306"/>
                    </a:cubicBezTo>
                    <a:cubicBezTo>
                      <a:pt x="401" y="303"/>
                      <a:pt x="406" y="303"/>
                      <a:pt x="406" y="300"/>
                    </a:cubicBezTo>
                    <a:cubicBezTo>
                      <a:pt x="406" y="299"/>
                      <a:pt x="406" y="299"/>
                      <a:pt x="406" y="299"/>
                    </a:cubicBezTo>
                    <a:cubicBezTo>
                      <a:pt x="405" y="299"/>
                      <a:pt x="404" y="298"/>
                      <a:pt x="404" y="297"/>
                    </a:cubicBezTo>
                    <a:cubicBezTo>
                      <a:pt x="404" y="295"/>
                      <a:pt x="406" y="294"/>
                      <a:pt x="408" y="293"/>
                    </a:cubicBezTo>
                    <a:cubicBezTo>
                      <a:pt x="409" y="293"/>
                      <a:pt x="409" y="293"/>
                      <a:pt x="409" y="292"/>
                    </a:cubicBezTo>
                    <a:cubicBezTo>
                      <a:pt x="411" y="291"/>
                      <a:pt x="412" y="291"/>
                      <a:pt x="414" y="291"/>
                    </a:cubicBezTo>
                    <a:cubicBezTo>
                      <a:pt x="415" y="291"/>
                      <a:pt x="416" y="291"/>
                      <a:pt x="417" y="292"/>
                    </a:cubicBezTo>
                    <a:cubicBezTo>
                      <a:pt x="417" y="292"/>
                      <a:pt x="418" y="293"/>
                      <a:pt x="418" y="293"/>
                    </a:cubicBezTo>
                    <a:cubicBezTo>
                      <a:pt x="419" y="294"/>
                      <a:pt x="420" y="294"/>
                      <a:pt x="421" y="294"/>
                    </a:cubicBezTo>
                    <a:cubicBezTo>
                      <a:pt x="422" y="295"/>
                      <a:pt x="422" y="296"/>
                      <a:pt x="422" y="297"/>
                    </a:cubicBezTo>
                    <a:cubicBezTo>
                      <a:pt x="422" y="297"/>
                      <a:pt x="422" y="297"/>
                      <a:pt x="422" y="297"/>
                    </a:cubicBezTo>
                    <a:cubicBezTo>
                      <a:pt x="423" y="297"/>
                      <a:pt x="423" y="296"/>
                      <a:pt x="424" y="296"/>
                    </a:cubicBezTo>
                    <a:cubicBezTo>
                      <a:pt x="425" y="295"/>
                      <a:pt x="426" y="293"/>
                      <a:pt x="428" y="293"/>
                    </a:cubicBezTo>
                    <a:cubicBezTo>
                      <a:pt x="431" y="293"/>
                      <a:pt x="431" y="293"/>
                      <a:pt x="431" y="293"/>
                    </a:cubicBezTo>
                    <a:cubicBezTo>
                      <a:pt x="433" y="293"/>
                      <a:pt x="433" y="291"/>
                      <a:pt x="435" y="291"/>
                    </a:cubicBezTo>
                    <a:cubicBezTo>
                      <a:pt x="437" y="289"/>
                      <a:pt x="439" y="290"/>
                      <a:pt x="441" y="289"/>
                    </a:cubicBezTo>
                    <a:cubicBezTo>
                      <a:pt x="441" y="287"/>
                      <a:pt x="438" y="288"/>
                      <a:pt x="437" y="286"/>
                    </a:cubicBezTo>
                    <a:cubicBezTo>
                      <a:pt x="436" y="285"/>
                      <a:pt x="436" y="284"/>
                      <a:pt x="436" y="282"/>
                    </a:cubicBezTo>
                    <a:cubicBezTo>
                      <a:pt x="436" y="281"/>
                      <a:pt x="436" y="281"/>
                      <a:pt x="436" y="280"/>
                    </a:cubicBezTo>
                    <a:cubicBezTo>
                      <a:pt x="436" y="279"/>
                      <a:pt x="436" y="279"/>
                      <a:pt x="436" y="279"/>
                    </a:cubicBezTo>
                    <a:cubicBezTo>
                      <a:pt x="438" y="279"/>
                      <a:pt x="438" y="279"/>
                      <a:pt x="438" y="279"/>
                    </a:cubicBezTo>
                    <a:cubicBezTo>
                      <a:pt x="438" y="279"/>
                      <a:pt x="438" y="279"/>
                      <a:pt x="439" y="279"/>
                    </a:cubicBezTo>
                    <a:cubicBezTo>
                      <a:pt x="440" y="279"/>
                      <a:pt x="441" y="277"/>
                      <a:pt x="441" y="276"/>
                    </a:cubicBezTo>
                    <a:cubicBezTo>
                      <a:pt x="441" y="275"/>
                      <a:pt x="441" y="275"/>
                      <a:pt x="441" y="274"/>
                    </a:cubicBezTo>
                    <a:cubicBezTo>
                      <a:pt x="441" y="274"/>
                      <a:pt x="440" y="274"/>
                      <a:pt x="440" y="274"/>
                    </a:cubicBezTo>
                    <a:cubicBezTo>
                      <a:pt x="440" y="274"/>
                      <a:pt x="440" y="275"/>
                      <a:pt x="439" y="275"/>
                    </a:cubicBezTo>
                    <a:cubicBezTo>
                      <a:pt x="427" y="275"/>
                      <a:pt x="427" y="275"/>
                      <a:pt x="427" y="275"/>
                    </a:cubicBezTo>
                    <a:cubicBezTo>
                      <a:pt x="425" y="275"/>
                      <a:pt x="425" y="276"/>
                      <a:pt x="425" y="277"/>
                    </a:cubicBezTo>
                    <a:cubicBezTo>
                      <a:pt x="425" y="279"/>
                      <a:pt x="424" y="280"/>
                      <a:pt x="423" y="280"/>
                    </a:cubicBezTo>
                    <a:cubicBezTo>
                      <a:pt x="420" y="280"/>
                      <a:pt x="420" y="280"/>
                      <a:pt x="420" y="280"/>
                    </a:cubicBezTo>
                    <a:cubicBezTo>
                      <a:pt x="418" y="280"/>
                      <a:pt x="417" y="279"/>
                      <a:pt x="416" y="277"/>
                    </a:cubicBezTo>
                    <a:cubicBezTo>
                      <a:pt x="415" y="278"/>
                      <a:pt x="414" y="279"/>
                      <a:pt x="413" y="281"/>
                    </a:cubicBezTo>
                    <a:cubicBezTo>
                      <a:pt x="413" y="282"/>
                      <a:pt x="413" y="283"/>
                      <a:pt x="413" y="284"/>
                    </a:cubicBezTo>
                    <a:cubicBezTo>
                      <a:pt x="411" y="285"/>
                      <a:pt x="410" y="285"/>
                      <a:pt x="408" y="285"/>
                    </a:cubicBezTo>
                    <a:cubicBezTo>
                      <a:pt x="407" y="284"/>
                      <a:pt x="407" y="283"/>
                      <a:pt x="406" y="283"/>
                    </a:cubicBezTo>
                    <a:cubicBezTo>
                      <a:pt x="404" y="281"/>
                      <a:pt x="403" y="281"/>
                      <a:pt x="401" y="280"/>
                    </a:cubicBezTo>
                    <a:cubicBezTo>
                      <a:pt x="400" y="279"/>
                      <a:pt x="399" y="277"/>
                      <a:pt x="398" y="276"/>
                    </a:cubicBezTo>
                    <a:cubicBezTo>
                      <a:pt x="396" y="274"/>
                      <a:pt x="394" y="273"/>
                      <a:pt x="392" y="270"/>
                    </a:cubicBezTo>
                    <a:cubicBezTo>
                      <a:pt x="390" y="267"/>
                      <a:pt x="389" y="265"/>
                      <a:pt x="386" y="262"/>
                    </a:cubicBezTo>
                    <a:cubicBezTo>
                      <a:pt x="384" y="259"/>
                      <a:pt x="384" y="257"/>
                      <a:pt x="382" y="256"/>
                    </a:cubicBezTo>
                    <a:cubicBezTo>
                      <a:pt x="381" y="255"/>
                      <a:pt x="381" y="254"/>
                      <a:pt x="380" y="254"/>
                    </a:cubicBezTo>
                    <a:cubicBezTo>
                      <a:pt x="379" y="254"/>
                      <a:pt x="379" y="254"/>
                      <a:pt x="379" y="255"/>
                    </a:cubicBezTo>
                    <a:cubicBezTo>
                      <a:pt x="379" y="257"/>
                      <a:pt x="381" y="257"/>
                      <a:pt x="382" y="259"/>
                    </a:cubicBezTo>
                    <a:cubicBezTo>
                      <a:pt x="383" y="261"/>
                      <a:pt x="382" y="263"/>
                      <a:pt x="384" y="264"/>
                    </a:cubicBezTo>
                    <a:cubicBezTo>
                      <a:pt x="385" y="263"/>
                      <a:pt x="385" y="263"/>
                      <a:pt x="385" y="263"/>
                    </a:cubicBezTo>
                    <a:cubicBezTo>
                      <a:pt x="386" y="264"/>
                      <a:pt x="386" y="265"/>
                      <a:pt x="387" y="266"/>
                    </a:cubicBezTo>
                    <a:cubicBezTo>
                      <a:pt x="388" y="267"/>
                      <a:pt x="388" y="267"/>
                      <a:pt x="389" y="268"/>
                    </a:cubicBezTo>
                    <a:cubicBezTo>
                      <a:pt x="390" y="269"/>
                      <a:pt x="391" y="271"/>
                      <a:pt x="392" y="272"/>
                    </a:cubicBezTo>
                    <a:cubicBezTo>
                      <a:pt x="394" y="274"/>
                      <a:pt x="395" y="274"/>
                      <a:pt x="396" y="276"/>
                    </a:cubicBezTo>
                    <a:cubicBezTo>
                      <a:pt x="398" y="278"/>
                      <a:pt x="399" y="280"/>
                      <a:pt x="401" y="282"/>
                    </a:cubicBezTo>
                    <a:cubicBezTo>
                      <a:pt x="403" y="284"/>
                      <a:pt x="405" y="285"/>
                      <a:pt x="406" y="287"/>
                    </a:cubicBezTo>
                    <a:cubicBezTo>
                      <a:pt x="406" y="288"/>
                      <a:pt x="406" y="288"/>
                      <a:pt x="406" y="288"/>
                    </a:cubicBezTo>
                    <a:cubicBezTo>
                      <a:pt x="400" y="288"/>
                      <a:pt x="400" y="288"/>
                      <a:pt x="400" y="288"/>
                    </a:cubicBezTo>
                    <a:cubicBezTo>
                      <a:pt x="398" y="288"/>
                      <a:pt x="397" y="289"/>
                      <a:pt x="395" y="289"/>
                    </a:cubicBezTo>
                    <a:cubicBezTo>
                      <a:pt x="391" y="289"/>
                      <a:pt x="391" y="289"/>
                      <a:pt x="391" y="289"/>
                    </a:cubicBezTo>
                    <a:cubicBezTo>
                      <a:pt x="391" y="289"/>
                      <a:pt x="391" y="288"/>
                      <a:pt x="391" y="288"/>
                    </a:cubicBezTo>
                    <a:cubicBezTo>
                      <a:pt x="391" y="287"/>
                      <a:pt x="392" y="286"/>
                      <a:pt x="393" y="285"/>
                    </a:cubicBezTo>
                    <a:cubicBezTo>
                      <a:pt x="394" y="284"/>
                      <a:pt x="394" y="282"/>
                      <a:pt x="394" y="280"/>
                    </a:cubicBezTo>
                    <a:cubicBezTo>
                      <a:pt x="394" y="279"/>
                      <a:pt x="393" y="279"/>
                      <a:pt x="393" y="278"/>
                    </a:cubicBezTo>
                    <a:cubicBezTo>
                      <a:pt x="391" y="276"/>
                      <a:pt x="388" y="276"/>
                      <a:pt x="386" y="275"/>
                    </a:cubicBezTo>
                    <a:cubicBezTo>
                      <a:pt x="383" y="274"/>
                      <a:pt x="381" y="275"/>
                      <a:pt x="379" y="273"/>
                    </a:cubicBezTo>
                    <a:cubicBezTo>
                      <a:pt x="378" y="272"/>
                      <a:pt x="378" y="271"/>
                      <a:pt x="376" y="271"/>
                    </a:cubicBezTo>
                    <a:cubicBezTo>
                      <a:pt x="375" y="271"/>
                      <a:pt x="375" y="271"/>
                      <a:pt x="374" y="271"/>
                    </a:cubicBezTo>
                    <a:cubicBezTo>
                      <a:pt x="373" y="271"/>
                      <a:pt x="371" y="271"/>
                      <a:pt x="371" y="270"/>
                    </a:cubicBezTo>
                    <a:cubicBezTo>
                      <a:pt x="371" y="268"/>
                      <a:pt x="373" y="267"/>
                      <a:pt x="373" y="266"/>
                    </a:cubicBezTo>
                    <a:cubicBezTo>
                      <a:pt x="373" y="263"/>
                      <a:pt x="373" y="263"/>
                      <a:pt x="373" y="263"/>
                    </a:cubicBezTo>
                    <a:cubicBezTo>
                      <a:pt x="373" y="262"/>
                      <a:pt x="373" y="262"/>
                      <a:pt x="373" y="262"/>
                    </a:cubicBezTo>
                    <a:cubicBezTo>
                      <a:pt x="371" y="263"/>
                      <a:pt x="372" y="266"/>
                      <a:pt x="370" y="266"/>
                    </a:cubicBezTo>
                    <a:cubicBezTo>
                      <a:pt x="369" y="266"/>
                      <a:pt x="368" y="266"/>
                      <a:pt x="368" y="265"/>
                    </a:cubicBezTo>
                    <a:cubicBezTo>
                      <a:pt x="367" y="264"/>
                      <a:pt x="368" y="263"/>
                      <a:pt x="367" y="262"/>
                    </a:cubicBezTo>
                    <a:cubicBezTo>
                      <a:pt x="367" y="261"/>
                      <a:pt x="366" y="261"/>
                      <a:pt x="365" y="261"/>
                    </a:cubicBezTo>
                    <a:cubicBezTo>
                      <a:pt x="364" y="261"/>
                      <a:pt x="364" y="261"/>
                      <a:pt x="363" y="261"/>
                    </a:cubicBezTo>
                    <a:cubicBezTo>
                      <a:pt x="362" y="261"/>
                      <a:pt x="362" y="261"/>
                      <a:pt x="362" y="261"/>
                    </a:cubicBezTo>
                    <a:cubicBezTo>
                      <a:pt x="361" y="262"/>
                      <a:pt x="361" y="262"/>
                      <a:pt x="360" y="262"/>
                    </a:cubicBezTo>
                    <a:cubicBezTo>
                      <a:pt x="358" y="262"/>
                      <a:pt x="358" y="261"/>
                      <a:pt x="357" y="261"/>
                    </a:cubicBezTo>
                    <a:cubicBezTo>
                      <a:pt x="356" y="262"/>
                      <a:pt x="355" y="262"/>
                      <a:pt x="354" y="262"/>
                    </a:cubicBezTo>
                    <a:cubicBezTo>
                      <a:pt x="353" y="262"/>
                      <a:pt x="352" y="261"/>
                      <a:pt x="352" y="260"/>
                    </a:cubicBezTo>
                    <a:cubicBezTo>
                      <a:pt x="352" y="260"/>
                      <a:pt x="352" y="260"/>
                      <a:pt x="352" y="259"/>
                    </a:cubicBezTo>
                    <a:cubicBezTo>
                      <a:pt x="352" y="258"/>
                      <a:pt x="351" y="257"/>
                      <a:pt x="349" y="257"/>
                    </a:cubicBezTo>
                    <a:cubicBezTo>
                      <a:pt x="349" y="256"/>
                      <a:pt x="348" y="256"/>
                      <a:pt x="348" y="256"/>
                    </a:cubicBezTo>
                    <a:cubicBezTo>
                      <a:pt x="348" y="255"/>
                      <a:pt x="348" y="255"/>
                      <a:pt x="348" y="254"/>
                    </a:cubicBezTo>
                    <a:cubicBezTo>
                      <a:pt x="348" y="253"/>
                      <a:pt x="348" y="252"/>
                      <a:pt x="347" y="252"/>
                    </a:cubicBezTo>
                    <a:cubicBezTo>
                      <a:pt x="346" y="252"/>
                      <a:pt x="347" y="254"/>
                      <a:pt x="345" y="254"/>
                    </a:cubicBezTo>
                    <a:cubicBezTo>
                      <a:pt x="345" y="254"/>
                      <a:pt x="344" y="253"/>
                      <a:pt x="344" y="253"/>
                    </a:cubicBezTo>
                    <a:cubicBezTo>
                      <a:pt x="343" y="252"/>
                      <a:pt x="342" y="252"/>
                      <a:pt x="342" y="251"/>
                    </a:cubicBezTo>
                    <a:cubicBezTo>
                      <a:pt x="342" y="250"/>
                      <a:pt x="343" y="250"/>
                      <a:pt x="344" y="250"/>
                    </a:cubicBezTo>
                    <a:cubicBezTo>
                      <a:pt x="345" y="249"/>
                      <a:pt x="346" y="249"/>
                      <a:pt x="347" y="249"/>
                    </a:cubicBezTo>
                    <a:cubicBezTo>
                      <a:pt x="350" y="249"/>
                      <a:pt x="352" y="249"/>
                      <a:pt x="355" y="250"/>
                    </a:cubicBezTo>
                    <a:cubicBezTo>
                      <a:pt x="356" y="251"/>
                      <a:pt x="357" y="252"/>
                      <a:pt x="359" y="252"/>
                    </a:cubicBezTo>
                    <a:cubicBezTo>
                      <a:pt x="360" y="252"/>
                      <a:pt x="360" y="251"/>
                      <a:pt x="361" y="251"/>
                    </a:cubicBezTo>
                    <a:cubicBezTo>
                      <a:pt x="360" y="250"/>
                      <a:pt x="359" y="249"/>
                      <a:pt x="359" y="248"/>
                    </a:cubicBezTo>
                    <a:cubicBezTo>
                      <a:pt x="359" y="247"/>
                      <a:pt x="360" y="247"/>
                      <a:pt x="360" y="247"/>
                    </a:cubicBezTo>
                    <a:cubicBezTo>
                      <a:pt x="362" y="247"/>
                      <a:pt x="362" y="248"/>
                      <a:pt x="363" y="248"/>
                    </a:cubicBezTo>
                    <a:cubicBezTo>
                      <a:pt x="364" y="246"/>
                      <a:pt x="365" y="245"/>
                      <a:pt x="367" y="245"/>
                    </a:cubicBezTo>
                    <a:cubicBezTo>
                      <a:pt x="368" y="245"/>
                      <a:pt x="369" y="246"/>
                      <a:pt x="370" y="247"/>
                    </a:cubicBezTo>
                    <a:cubicBezTo>
                      <a:pt x="371" y="248"/>
                      <a:pt x="372" y="248"/>
                      <a:pt x="374" y="249"/>
                    </a:cubicBezTo>
                    <a:cubicBezTo>
                      <a:pt x="374" y="252"/>
                      <a:pt x="374" y="252"/>
                      <a:pt x="374" y="252"/>
                    </a:cubicBezTo>
                    <a:cubicBezTo>
                      <a:pt x="374" y="253"/>
                      <a:pt x="372" y="252"/>
                      <a:pt x="370" y="253"/>
                    </a:cubicBezTo>
                    <a:cubicBezTo>
                      <a:pt x="369" y="253"/>
                      <a:pt x="369" y="254"/>
                      <a:pt x="369" y="255"/>
                    </a:cubicBezTo>
                    <a:cubicBezTo>
                      <a:pt x="369" y="257"/>
                      <a:pt x="370" y="258"/>
                      <a:pt x="372" y="258"/>
                    </a:cubicBezTo>
                    <a:cubicBezTo>
                      <a:pt x="373" y="258"/>
                      <a:pt x="373" y="258"/>
                      <a:pt x="374" y="257"/>
                    </a:cubicBezTo>
                    <a:cubicBezTo>
                      <a:pt x="375" y="255"/>
                      <a:pt x="375" y="254"/>
                      <a:pt x="375" y="252"/>
                    </a:cubicBezTo>
                    <a:cubicBezTo>
                      <a:pt x="375" y="251"/>
                      <a:pt x="376" y="250"/>
                      <a:pt x="377" y="250"/>
                    </a:cubicBezTo>
                    <a:cubicBezTo>
                      <a:pt x="378" y="249"/>
                      <a:pt x="379" y="250"/>
                      <a:pt x="380" y="249"/>
                    </a:cubicBezTo>
                    <a:cubicBezTo>
                      <a:pt x="381" y="247"/>
                      <a:pt x="381" y="247"/>
                      <a:pt x="382" y="245"/>
                    </a:cubicBezTo>
                    <a:cubicBezTo>
                      <a:pt x="383" y="244"/>
                      <a:pt x="384" y="244"/>
                      <a:pt x="384" y="243"/>
                    </a:cubicBezTo>
                    <a:cubicBezTo>
                      <a:pt x="385" y="241"/>
                      <a:pt x="385" y="239"/>
                      <a:pt x="387" y="238"/>
                    </a:cubicBezTo>
                    <a:cubicBezTo>
                      <a:pt x="388" y="239"/>
                      <a:pt x="388" y="239"/>
                      <a:pt x="388" y="240"/>
                    </a:cubicBezTo>
                    <a:cubicBezTo>
                      <a:pt x="389" y="238"/>
                      <a:pt x="388" y="236"/>
                      <a:pt x="390" y="236"/>
                    </a:cubicBezTo>
                    <a:cubicBezTo>
                      <a:pt x="392" y="236"/>
                      <a:pt x="392" y="240"/>
                      <a:pt x="393" y="240"/>
                    </a:cubicBezTo>
                    <a:cubicBezTo>
                      <a:pt x="394" y="240"/>
                      <a:pt x="395" y="239"/>
                      <a:pt x="395" y="239"/>
                    </a:cubicBezTo>
                    <a:cubicBezTo>
                      <a:pt x="400" y="237"/>
                      <a:pt x="402" y="234"/>
                      <a:pt x="404" y="230"/>
                    </a:cubicBezTo>
                    <a:cubicBezTo>
                      <a:pt x="405" y="229"/>
                      <a:pt x="406" y="227"/>
                      <a:pt x="408" y="227"/>
                    </a:cubicBezTo>
                    <a:cubicBezTo>
                      <a:pt x="409" y="226"/>
                      <a:pt x="409" y="227"/>
                      <a:pt x="410" y="226"/>
                    </a:cubicBezTo>
                    <a:cubicBezTo>
                      <a:pt x="412" y="225"/>
                      <a:pt x="414" y="225"/>
                      <a:pt x="417" y="225"/>
                    </a:cubicBezTo>
                    <a:cubicBezTo>
                      <a:pt x="418" y="225"/>
                      <a:pt x="420" y="224"/>
                      <a:pt x="420" y="225"/>
                    </a:cubicBezTo>
                    <a:cubicBezTo>
                      <a:pt x="420" y="226"/>
                      <a:pt x="418" y="227"/>
                      <a:pt x="418" y="228"/>
                    </a:cubicBezTo>
                    <a:cubicBezTo>
                      <a:pt x="418" y="229"/>
                      <a:pt x="418" y="229"/>
                      <a:pt x="418" y="229"/>
                    </a:cubicBezTo>
                    <a:cubicBezTo>
                      <a:pt x="418" y="229"/>
                      <a:pt x="419" y="229"/>
                      <a:pt x="419" y="229"/>
                    </a:cubicBezTo>
                    <a:cubicBezTo>
                      <a:pt x="421" y="226"/>
                      <a:pt x="422" y="224"/>
                      <a:pt x="425" y="223"/>
                    </a:cubicBezTo>
                    <a:cubicBezTo>
                      <a:pt x="426" y="222"/>
                      <a:pt x="427" y="222"/>
                      <a:pt x="428" y="221"/>
                    </a:cubicBezTo>
                    <a:cubicBezTo>
                      <a:pt x="429" y="220"/>
                      <a:pt x="429" y="219"/>
                      <a:pt x="430" y="219"/>
                    </a:cubicBezTo>
                    <a:cubicBezTo>
                      <a:pt x="432" y="219"/>
                      <a:pt x="432" y="220"/>
                      <a:pt x="433" y="220"/>
                    </a:cubicBezTo>
                    <a:cubicBezTo>
                      <a:pt x="434" y="220"/>
                      <a:pt x="435" y="219"/>
                      <a:pt x="435" y="219"/>
                    </a:cubicBezTo>
                    <a:cubicBezTo>
                      <a:pt x="436" y="215"/>
                      <a:pt x="438" y="214"/>
                      <a:pt x="440" y="211"/>
                    </a:cubicBezTo>
                    <a:cubicBezTo>
                      <a:pt x="441" y="210"/>
                      <a:pt x="442" y="210"/>
                      <a:pt x="443" y="209"/>
                    </a:cubicBezTo>
                    <a:cubicBezTo>
                      <a:pt x="444" y="207"/>
                      <a:pt x="444" y="205"/>
                      <a:pt x="445" y="205"/>
                    </a:cubicBezTo>
                    <a:cubicBezTo>
                      <a:pt x="447" y="205"/>
                      <a:pt x="447" y="207"/>
                      <a:pt x="448" y="207"/>
                    </a:cubicBezTo>
                    <a:cubicBezTo>
                      <a:pt x="449" y="207"/>
                      <a:pt x="449" y="207"/>
                      <a:pt x="449" y="207"/>
                    </a:cubicBezTo>
                    <a:cubicBezTo>
                      <a:pt x="449" y="204"/>
                      <a:pt x="449" y="203"/>
                      <a:pt x="450" y="200"/>
                    </a:cubicBezTo>
                    <a:cubicBezTo>
                      <a:pt x="451" y="198"/>
                      <a:pt x="451" y="197"/>
                      <a:pt x="452" y="196"/>
                    </a:cubicBezTo>
                    <a:cubicBezTo>
                      <a:pt x="454" y="196"/>
                      <a:pt x="455" y="196"/>
                      <a:pt x="456" y="195"/>
                    </a:cubicBezTo>
                    <a:cubicBezTo>
                      <a:pt x="459" y="194"/>
                      <a:pt x="461" y="193"/>
                      <a:pt x="464" y="193"/>
                    </a:cubicBezTo>
                    <a:cubicBezTo>
                      <a:pt x="466" y="193"/>
                      <a:pt x="466" y="195"/>
                      <a:pt x="468" y="195"/>
                    </a:cubicBezTo>
                    <a:cubicBezTo>
                      <a:pt x="469" y="195"/>
                      <a:pt x="469" y="194"/>
                      <a:pt x="469" y="193"/>
                    </a:cubicBezTo>
                    <a:cubicBezTo>
                      <a:pt x="469" y="193"/>
                      <a:pt x="470" y="192"/>
                      <a:pt x="470" y="192"/>
                    </a:cubicBezTo>
                    <a:cubicBezTo>
                      <a:pt x="470" y="191"/>
                      <a:pt x="470" y="192"/>
                      <a:pt x="470" y="191"/>
                    </a:cubicBezTo>
                    <a:cubicBezTo>
                      <a:pt x="470" y="187"/>
                      <a:pt x="472" y="186"/>
                      <a:pt x="472" y="182"/>
                    </a:cubicBezTo>
                    <a:cubicBezTo>
                      <a:pt x="472" y="180"/>
                      <a:pt x="471" y="179"/>
                      <a:pt x="471" y="178"/>
                    </a:cubicBezTo>
                    <a:cubicBezTo>
                      <a:pt x="471" y="176"/>
                      <a:pt x="472" y="175"/>
                      <a:pt x="472" y="173"/>
                    </a:cubicBezTo>
                    <a:cubicBezTo>
                      <a:pt x="473" y="171"/>
                      <a:pt x="472" y="170"/>
                      <a:pt x="473" y="169"/>
                    </a:cubicBezTo>
                    <a:cubicBezTo>
                      <a:pt x="475" y="167"/>
                      <a:pt x="477" y="167"/>
                      <a:pt x="479" y="166"/>
                    </a:cubicBezTo>
                    <a:cubicBezTo>
                      <a:pt x="480" y="165"/>
                      <a:pt x="480" y="165"/>
                      <a:pt x="480" y="165"/>
                    </a:cubicBezTo>
                    <a:cubicBezTo>
                      <a:pt x="480" y="164"/>
                      <a:pt x="481" y="163"/>
                      <a:pt x="481" y="162"/>
                    </a:cubicBezTo>
                    <a:cubicBezTo>
                      <a:pt x="482" y="161"/>
                      <a:pt x="482" y="159"/>
                      <a:pt x="483" y="157"/>
                    </a:cubicBezTo>
                    <a:cubicBezTo>
                      <a:pt x="483" y="156"/>
                      <a:pt x="484" y="155"/>
                      <a:pt x="486" y="155"/>
                    </a:cubicBezTo>
                    <a:cubicBezTo>
                      <a:pt x="487" y="154"/>
                      <a:pt x="488" y="154"/>
                      <a:pt x="490" y="154"/>
                    </a:cubicBezTo>
                    <a:cubicBezTo>
                      <a:pt x="492" y="153"/>
                      <a:pt x="493" y="153"/>
                      <a:pt x="494" y="153"/>
                    </a:cubicBezTo>
                    <a:cubicBezTo>
                      <a:pt x="498" y="153"/>
                      <a:pt x="500" y="152"/>
                      <a:pt x="504" y="153"/>
                    </a:cubicBezTo>
                    <a:cubicBezTo>
                      <a:pt x="505" y="153"/>
                      <a:pt x="505" y="153"/>
                      <a:pt x="506" y="153"/>
                    </a:cubicBezTo>
                    <a:cubicBezTo>
                      <a:pt x="508" y="153"/>
                      <a:pt x="508" y="151"/>
                      <a:pt x="509" y="149"/>
                    </a:cubicBezTo>
                    <a:cubicBezTo>
                      <a:pt x="509" y="148"/>
                      <a:pt x="509" y="147"/>
                      <a:pt x="510" y="146"/>
                    </a:cubicBezTo>
                    <a:cubicBezTo>
                      <a:pt x="510" y="144"/>
                      <a:pt x="510" y="143"/>
                      <a:pt x="510" y="141"/>
                    </a:cubicBezTo>
                    <a:cubicBezTo>
                      <a:pt x="511" y="140"/>
                      <a:pt x="511" y="139"/>
                      <a:pt x="511" y="137"/>
                    </a:cubicBezTo>
                    <a:cubicBezTo>
                      <a:pt x="511" y="135"/>
                      <a:pt x="511" y="133"/>
                      <a:pt x="510" y="131"/>
                    </a:cubicBezTo>
                    <a:cubicBezTo>
                      <a:pt x="510" y="128"/>
                      <a:pt x="510" y="126"/>
                      <a:pt x="509" y="123"/>
                    </a:cubicBezTo>
                    <a:cubicBezTo>
                      <a:pt x="507" y="120"/>
                      <a:pt x="504" y="119"/>
                      <a:pt x="501" y="118"/>
                    </a:cubicBezTo>
                    <a:cubicBezTo>
                      <a:pt x="500" y="118"/>
                      <a:pt x="499" y="117"/>
                      <a:pt x="498" y="117"/>
                    </a:cubicBezTo>
                    <a:cubicBezTo>
                      <a:pt x="497" y="117"/>
                      <a:pt x="496" y="118"/>
                      <a:pt x="495" y="118"/>
                    </a:cubicBezTo>
                    <a:cubicBezTo>
                      <a:pt x="494" y="118"/>
                      <a:pt x="493" y="118"/>
                      <a:pt x="492" y="118"/>
                    </a:cubicBezTo>
                    <a:cubicBezTo>
                      <a:pt x="492" y="116"/>
                      <a:pt x="492" y="115"/>
                      <a:pt x="492" y="113"/>
                    </a:cubicBezTo>
                    <a:cubicBezTo>
                      <a:pt x="492" y="110"/>
                      <a:pt x="495" y="109"/>
                      <a:pt x="497" y="107"/>
                    </a:cubicBezTo>
                    <a:cubicBezTo>
                      <a:pt x="499" y="106"/>
                      <a:pt x="500" y="105"/>
                      <a:pt x="501" y="104"/>
                    </a:cubicBezTo>
                    <a:cubicBezTo>
                      <a:pt x="503" y="104"/>
                      <a:pt x="504" y="104"/>
                      <a:pt x="504" y="102"/>
                    </a:cubicBezTo>
                    <a:cubicBezTo>
                      <a:pt x="504" y="102"/>
                      <a:pt x="504" y="102"/>
                      <a:pt x="504" y="101"/>
                    </a:cubicBezTo>
                    <a:cubicBezTo>
                      <a:pt x="501" y="101"/>
                      <a:pt x="500" y="101"/>
                      <a:pt x="498" y="101"/>
                    </a:cubicBezTo>
                    <a:cubicBezTo>
                      <a:pt x="496" y="101"/>
                      <a:pt x="495" y="101"/>
                      <a:pt x="495" y="100"/>
                    </a:cubicBezTo>
                    <a:cubicBezTo>
                      <a:pt x="495" y="98"/>
                      <a:pt x="497" y="97"/>
                      <a:pt x="498" y="95"/>
                    </a:cubicBezTo>
                    <a:cubicBezTo>
                      <a:pt x="499" y="94"/>
                      <a:pt x="499" y="93"/>
                      <a:pt x="500" y="92"/>
                    </a:cubicBezTo>
                    <a:cubicBezTo>
                      <a:pt x="502" y="91"/>
                      <a:pt x="504" y="89"/>
                      <a:pt x="504" y="87"/>
                    </a:cubicBezTo>
                    <a:cubicBezTo>
                      <a:pt x="504" y="85"/>
                      <a:pt x="503" y="83"/>
                      <a:pt x="502" y="81"/>
                    </a:cubicBezTo>
                    <a:cubicBezTo>
                      <a:pt x="502" y="80"/>
                      <a:pt x="501" y="80"/>
                      <a:pt x="501" y="78"/>
                    </a:cubicBezTo>
                    <a:cubicBezTo>
                      <a:pt x="501" y="78"/>
                      <a:pt x="501" y="78"/>
                      <a:pt x="501" y="77"/>
                    </a:cubicBezTo>
                    <a:cubicBezTo>
                      <a:pt x="502" y="76"/>
                      <a:pt x="502" y="75"/>
                      <a:pt x="503" y="74"/>
                    </a:cubicBezTo>
                    <a:cubicBezTo>
                      <a:pt x="502" y="74"/>
                      <a:pt x="502" y="74"/>
                      <a:pt x="501" y="74"/>
                    </a:cubicBezTo>
                    <a:cubicBezTo>
                      <a:pt x="500" y="74"/>
                      <a:pt x="499" y="73"/>
                      <a:pt x="498" y="73"/>
                    </a:cubicBezTo>
                    <a:cubicBezTo>
                      <a:pt x="496" y="73"/>
                      <a:pt x="496" y="75"/>
                      <a:pt x="494" y="76"/>
                    </a:cubicBezTo>
                    <a:cubicBezTo>
                      <a:pt x="491" y="76"/>
                      <a:pt x="490" y="76"/>
                      <a:pt x="487" y="75"/>
                    </a:cubicBezTo>
                    <a:cubicBezTo>
                      <a:pt x="485" y="74"/>
                      <a:pt x="484" y="73"/>
                      <a:pt x="483" y="73"/>
                    </a:cubicBezTo>
                    <a:cubicBezTo>
                      <a:pt x="481" y="73"/>
                      <a:pt x="480" y="74"/>
                      <a:pt x="478" y="74"/>
                    </a:cubicBezTo>
                    <a:cubicBezTo>
                      <a:pt x="475" y="74"/>
                      <a:pt x="475" y="69"/>
                      <a:pt x="473" y="68"/>
                    </a:cubicBezTo>
                    <a:cubicBezTo>
                      <a:pt x="472" y="68"/>
                      <a:pt x="472" y="67"/>
                      <a:pt x="472" y="67"/>
                    </a:cubicBezTo>
                    <a:cubicBezTo>
                      <a:pt x="471" y="67"/>
                      <a:pt x="470" y="68"/>
                      <a:pt x="470" y="69"/>
                    </a:cubicBezTo>
                    <a:cubicBezTo>
                      <a:pt x="469" y="70"/>
                      <a:pt x="468" y="71"/>
                      <a:pt x="466" y="71"/>
                    </a:cubicBezTo>
                    <a:cubicBezTo>
                      <a:pt x="465" y="71"/>
                      <a:pt x="464" y="71"/>
                      <a:pt x="463" y="71"/>
                    </a:cubicBezTo>
                    <a:cubicBezTo>
                      <a:pt x="461" y="70"/>
                      <a:pt x="459" y="69"/>
                      <a:pt x="457" y="68"/>
                    </a:cubicBezTo>
                    <a:cubicBezTo>
                      <a:pt x="455" y="67"/>
                      <a:pt x="454" y="66"/>
                      <a:pt x="452" y="64"/>
                    </a:cubicBezTo>
                    <a:cubicBezTo>
                      <a:pt x="451" y="63"/>
                      <a:pt x="450" y="61"/>
                      <a:pt x="448" y="61"/>
                    </a:cubicBezTo>
                    <a:cubicBezTo>
                      <a:pt x="445" y="61"/>
                      <a:pt x="444" y="63"/>
                      <a:pt x="443" y="65"/>
                    </a:cubicBezTo>
                    <a:cubicBezTo>
                      <a:pt x="443" y="66"/>
                      <a:pt x="443" y="68"/>
                      <a:pt x="441" y="68"/>
                    </a:cubicBezTo>
                    <a:cubicBezTo>
                      <a:pt x="439" y="68"/>
                      <a:pt x="438" y="66"/>
                      <a:pt x="436" y="66"/>
                    </a:cubicBezTo>
                    <a:cubicBezTo>
                      <a:pt x="436" y="65"/>
                      <a:pt x="436" y="66"/>
                      <a:pt x="435" y="66"/>
                    </a:cubicBezTo>
                    <a:cubicBezTo>
                      <a:pt x="432" y="65"/>
                      <a:pt x="431" y="63"/>
                      <a:pt x="428" y="62"/>
                    </a:cubicBezTo>
                    <a:cubicBezTo>
                      <a:pt x="423" y="59"/>
                      <a:pt x="422" y="55"/>
                      <a:pt x="420" y="50"/>
                    </a:cubicBezTo>
                    <a:cubicBezTo>
                      <a:pt x="419" y="51"/>
                      <a:pt x="419" y="53"/>
                      <a:pt x="417" y="54"/>
                    </a:cubicBezTo>
                    <a:cubicBezTo>
                      <a:pt x="415" y="57"/>
                      <a:pt x="413" y="58"/>
                      <a:pt x="410" y="60"/>
                    </a:cubicBezTo>
                    <a:cubicBezTo>
                      <a:pt x="409" y="61"/>
                      <a:pt x="408" y="62"/>
                      <a:pt x="406" y="63"/>
                    </a:cubicBezTo>
                    <a:cubicBezTo>
                      <a:pt x="404" y="65"/>
                      <a:pt x="402" y="67"/>
                      <a:pt x="399" y="67"/>
                    </a:cubicBezTo>
                    <a:cubicBezTo>
                      <a:pt x="394" y="67"/>
                      <a:pt x="391" y="64"/>
                      <a:pt x="386" y="64"/>
                    </a:cubicBezTo>
                    <a:cubicBezTo>
                      <a:pt x="384" y="64"/>
                      <a:pt x="382" y="65"/>
                      <a:pt x="380" y="66"/>
                    </a:cubicBezTo>
                    <a:cubicBezTo>
                      <a:pt x="377" y="67"/>
                      <a:pt x="377" y="70"/>
                      <a:pt x="374" y="70"/>
                    </a:cubicBezTo>
                    <a:cubicBezTo>
                      <a:pt x="373" y="70"/>
                      <a:pt x="373" y="69"/>
                      <a:pt x="373" y="69"/>
                    </a:cubicBezTo>
                    <a:cubicBezTo>
                      <a:pt x="371" y="68"/>
                      <a:pt x="371" y="67"/>
                      <a:pt x="369" y="66"/>
                    </a:cubicBezTo>
                    <a:cubicBezTo>
                      <a:pt x="367" y="65"/>
                      <a:pt x="365" y="64"/>
                      <a:pt x="364" y="62"/>
                    </a:cubicBezTo>
                    <a:cubicBezTo>
                      <a:pt x="363" y="61"/>
                      <a:pt x="363" y="60"/>
                      <a:pt x="363" y="58"/>
                    </a:cubicBezTo>
                    <a:cubicBezTo>
                      <a:pt x="363" y="56"/>
                      <a:pt x="362" y="54"/>
                      <a:pt x="361" y="52"/>
                    </a:cubicBezTo>
                    <a:cubicBezTo>
                      <a:pt x="360" y="50"/>
                      <a:pt x="359" y="49"/>
                      <a:pt x="359" y="48"/>
                    </a:cubicBezTo>
                    <a:cubicBezTo>
                      <a:pt x="359" y="47"/>
                      <a:pt x="359" y="46"/>
                      <a:pt x="359" y="45"/>
                    </a:cubicBezTo>
                    <a:cubicBezTo>
                      <a:pt x="358" y="44"/>
                      <a:pt x="357" y="43"/>
                      <a:pt x="356" y="42"/>
                    </a:cubicBezTo>
                    <a:cubicBezTo>
                      <a:pt x="354" y="41"/>
                      <a:pt x="353" y="40"/>
                      <a:pt x="351" y="39"/>
                    </a:cubicBezTo>
                    <a:cubicBezTo>
                      <a:pt x="350" y="38"/>
                      <a:pt x="349" y="37"/>
                      <a:pt x="348" y="36"/>
                    </a:cubicBezTo>
                    <a:cubicBezTo>
                      <a:pt x="347" y="35"/>
                      <a:pt x="347" y="34"/>
                      <a:pt x="346" y="34"/>
                    </a:cubicBezTo>
                    <a:cubicBezTo>
                      <a:pt x="342" y="34"/>
                      <a:pt x="341" y="38"/>
                      <a:pt x="338" y="38"/>
                    </a:cubicBezTo>
                    <a:cubicBezTo>
                      <a:pt x="335" y="38"/>
                      <a:pt x="333" y="37"/>
                      <a:pt x="330" y="37"/>
                    </a:cubicBezTo>
                    <a:cubicBezTo>
                      <a:pt x="328" y="37"/>
                      <a:pt x="327" y="37"/>
                      <a:pt x="325" y="38"/>
                    </a:cubicBezTo>
                    <a:cubicBezTo>
                      <a:pt x="324" y="38"/>
                      <a:pt x="324" y="38"/>
                      <a:pt x="324" y="38"/>
                    </a:cubicBezTo>
                    <a:cubicBezTo>
                      <a:pt x="323" y="38"/>
                      <a:pt x="322" y="37"/>
                      <a:pt x="322" y="36"/>
                    </a:cubicBezTo>
                    <a:cubicBezTo>
                      <a:pt x="322" y="34"/>
                      <a:pt x="322" y="33"/>
                      <a:pt x="321" y="32"/>
                    </a:cubicBezTo>
                    <a:cubicBezTo>
                      <a:pt x="321" y="30"/>
                      <a:pt x="321" y="29"/>
                      <a:pt x="319" y="27"/>
                    </a:cubicBezTo>
                    <a:cubicBezTo>
                      <a:pt x="319" y="26"/>
                      <a:pt x="317" y="26"/>
                      <a:pt x="317" y="25"/>
                    </a:cubicBezTo>
                    <a:cubicBezTo>
                      <a:pt x="317" y="24"/>
                      <a:pt x="318" y="23"/>
                      <a:pt x="319" y="23"/>
                    </a:cubicBezTo>
                    <a:cubicBezTo>
                      <a:pt x="320" y="21"/>
                      <a:pt x="321" y="20"/>
                      <a:pt x="321" y="19"/>
                    </a:cubicBezTo>
                    <a:cubicBezTo>
                      <a:pt x="321" y="15"/>
                      <a:pt x="318" y="12"/>
                      <a:pt x="315" y="10"/>
                    </a:cubicBezTo>
                    <a:cubicBezTo>
                      <a:pt x="313" y="10"/>
                      <a:pt x="313" y="9"/>
                      <a:pt x="312" y="8"/>
                    </a:cubicBezTo>
                    <a:cubicBezTo>
                      <a:pt x="311" y="6"/>
                      <a:pt x="309" y="6"/>
                      <a:pt x="309" y="4"/>
                    </a:cubicBezTo>
                    <a:cubicBezTo>
                      <a:pt x="308" y="3"/>
                      <a:pt x="308" y="2"/>
                      <a:pt x="308" y="1"/>
                    </a:cubicBezTo>
                    <a:cubicBezTo>
                      <a:pt x="304" y="1"/>
                      <a:pt x="302" y="0"/>
                      <a:pt x="298" y="0"/>
                    </a:cubicBezTo>
                    <a:cubicBezTo>
                      <a:pt x="295" y="0"/>
                      <a:pt x="293" y="1"/>
                      <a:pt x="290" y="2"/>
                    </a:cubicBezTo>
                    <a:cubicBezTo>
                      <a:pt x="285" y="4"/>
                      <a:pt x="282" y="4"/>
                      <a:pt x="277" y="4"/>
                    </a:cubicBezTo>
                    <a:cubicBezTo>
                      <a:pt x="275" y="4"/>
                      <a:pt x="273" y="4"/>
                      <a:pt x="271" y="4"/>
                    </a:cubicBezTo>
                    <a:cubicBezTo>
                      <a:pt x="269" y="4"/>
                      <a:pt x="269" y="6"/>
                      <a:pt x="268" y="8"/>
                    </a:cubicBezTo>
                    <a:cubicBezTo>
                      <a:pt x="268" y="9"/>
                      <a:pt x="267" y="10"/>
                      <a:pt x="266" y="12"/>
                    </a:cubicBezTo>
                    <a:cubicBezTo>
                      <a:pt x="265" y="14"/>
                      <a:pt x="265" y="16"/>
                      <a:pt x="263" y="19"/>
                    </a:cubicBezTo>
                    <a:cubicBezTo>
                      <a:pt x="263" y="20"/>
                      <a:pt x="262" y="20"/>
                      <a:pt x="260" y="20"/>
                    </a:cubicBezTo>
                    <a:cubicBezTo>
                      <a:pt x="259" y="20"/>
                      <a:pt x="258" y="19"/>
                      <a:pt x="257" y="19"/>
                    </a:cubicBezTo>
                    <a:cubicBezTo>
                      <a:pt x="254" y="19"/>
                      <a:pt x="252" y="19"/>
                      <a:pt x="249" y="19"/>
                    </a:cubicBezTo>
                    <a:cubicBezTo>
                      <a:pt x="245" y="20"/>
                      <a:pt x="243" y="20"/>
                      <a:pt x="239" y="21"/>
                    </a:cubicBezTo>
                    <a:cubicBezTo>
                      <a:pt x="236" y="22"/>
                      <a:pt x="234" y="24"/>
                      <a:pt x="231" y="25"/>
                    </a:cubicBezTo>
                    <a:cubicBezTo>
                      <a:pt x="230" y="25"/>
                      <a:pt x="229" y="25"/>
                      <a:pt x="228" y="25"/>
                    </a:cubicBezTo>
                    <a:cubicBezTo>
                      <a:pt x="228" y="25"/>
                      <a:pt x="227" y="25"/>
                      <a:pt x="227" y="26"/>
                    </a:cubicBezTo>
                    <a:cubicBezTo>
                      <a:pt x="225" y="27"/>
                      <a:pt x="224" y="28"/>
                      <a:pt x="224" y="31"/>
                    </a:cubicBezTo>
                    <a:cubicBezTo>
                      <a:pt x="223" y="33"/>
                      <a:pt x="223" y="34"/>
                      <a:pt x="222" y="36"/>
                    </a:cubicBezTo>
                    <a:cubicBezTo>
                      <a:pt x="221" y="38"/>
                      <a:pt x="219" y="38"/>
                      <a:pt x="219" y="40"/>
                    </a:cubicBezTo>
                    <a:cubicBezTo>
                      <a:pt x="219" y="41"/>
                      <a:pt x="220" y="42"/>
                      <a:pt x="220" y="43"/>
                    </a:cubicBezTo>
                    <a:cubicBezTo>
                      <a:pt x="220" y="44"/>
                      <a:pt x="220" y="44"/>
                      <a:pt x="220" y="45"/>
                    </a:cubicBezTo>
                    <a:cubicBezTo>
                      <a:pt x="221" y="47"/>
                      <a:pt x="222" y="48"/>
                      <a:pt x="222" y="51"/>
                    </a:cubicBezTo>
                    <a:cubicBezTo>
                      <a:pt x="222" y="52"/>
                      <a:pt x="222" y="52"/>
                      <a:pt x="222" y="53"/>
                    </a:cubicBezTo>
                    <a:cubicBezTo>
                      <a:pt x="221" y="53"/>
                      <a:pt x="222" y="53"/>
                      <a:pt x="222" y="53"/>
                    </a:cubicBezTo>
                    <a:cubicBezTo>
                      <a:pt x="220" y="53"/>
                      <a:pt x="219" y="54"/>
                      <a:pt x="217" y="54"/>
                    </a:cubicBezTo>
                    <a:cubicBezTo>
                      <a:pt x="215" y="54"/>
                      <a:pt x="214" y="52"/>
                      <a:pt x="213" y="51"/>
                    </a:cubicBezTo>
                    <a:cubicBezTo>
                      <a:pt x="211" y="51"/>
                      <a:pt x="211" y="51"/>
                      <a:pt x="210" y="51"/>
                    </a:cubicBezTo>
                    <a:cubicBezTo>
                      <a:pt x="209" y="50"/>
                      <a:pt x="208" y="50"/>
                      <a:pt x="208" y="50"/>
                    </a:cubicBezTo>
                    <a:cubicBezTo>
                      <a:pt x="205" y="50"/>
                      <a:pt x="204" y="50"/>
                      <a:pt x="202" y="50"/>
                    </a:cubicBezTo>
                    <a:cubicBezTo>
                      <a:pt x="200" y="50"/>
                      <a:pt x="198" y="50"/>
                      <a:pt x="196" y="51"/>
                    </a:cubicBezTo>
                    <a:cubicBezTo>
                      <a:pt x="194" y="52"/>
                      <a:pt x="193" y="54"/>
                      <a:pt x="190" y="54"/>
                    </a:cubicBezTo>
                    <a:cubicBezTo>
                      <a:pt x="188" y="54"/>
                      <a:pt x="188" y="53"/>
                      <a:pt x="187" y="52"/>
                    </a:cubicBezTo>
                    <a:cubicBezTo>
                      <a:pt x="185" y="51"/>
                      <a:pt x="184" y="51"/>
                      <a:pt x="182" y="51"/>
                    </a:cubicBezTo>
                    <a:cubicBezTo>
                      <a:pt x="180" y="50"/>
                      <a:pt x="179" y="50"/>
                      <a:pt x="178" y="50"/>
                    </a:cubicBezTo>
                    <a:cubicBezTo>
                      <a:pt x="175" y="50"/>
                      <a:pt x="175" y="52"/>
                      <a:pt x="174" y="54"/>
                    </a:cubicBezTo>
                    <a:cubicBezTo>
                      <a:pt x="173" y="54"/>
                      <a:pt x="173" y="54"/>
                      <a:pt x="172" y="53"/>
                    </a:cubicBezTo>
                    <a:cubicBezTo>
                      <a:pt x="171" y="52"/>
                      <a:pt x="171" y="51"/>
                      <a:pt x="169" y="51"/>
                    </a:cubicBezTo>
                    <a:cubicBezTo>
                      <a:pt x="168" y="51"/>
                      <a:pt x="168" y="51"/>
                      <a:pt x="167" y="51"/>
                    </a:cubicBezTo>
                    <a:cubicBezTo>
                      <a:pt x="163" y="52"/>
                      <a:pt x="160" y="51"/>
                      <a:pt x="156" y="52"/>
                    </a:cubicBezTo>
                    <a:cubicBezTo>
                      <a:pt x="154" y="53"/>
                      <a:pt x="153" y="54"/>
                      <a:pt x="151" y="54"/>
                    </a:cubicBezTo>
                    <a:cubicBezTo>
                      <a:pt x="148" y="54"/>
                      <a:pt x="147" y="53"/>
                      <a:pt x="145" y="52"/>
                    </a:cubicBezTo>
                    <a:cubicBezTo>
                      <a:pt x="144" y="53"/>
                      <a:pt x="144" y="54"/>
                      <a:pt x="143" y="55"/>
                    </a:cubicBezTo>
                    <a:cubicBezTo>
                      <a:pt x="143" y="56"/>
                      <a:pt x="143" y="56"/>
                      <a:pt x="143" y="57"/>
                    </a:cubicBezTo>
                    <a:cubicBezTo>
                      <a:pt x="142" y="58"/>
                      <a:pt x="141" y="59"/>
                      <a:pt x="139" y="59"/>
                    </a:cubicBezTo>
                    <a:cubicBezTo>
                      <a:pt x="136" y="59"/>
                      <a:pt x="136" y="55"/>
                      <a:pt x="133" y="54"/>
                    </a:cubicBezTo>
                    <a:cubicBezTo>
                      <a:pt x="130" y="53"/>
                      <a:pt x="129" y="53"/>
                      <a:pt x="126" y="52"/>
                    </a:cubicBezTo>
                    <a:cubicBezTo>
                      <a:pt x="124" y="52"/>
                      <a:pt x="123" y="52"/>
                      <a:pt x="121" y="51"/>
                    </a:cubicBezTo>
                    <a:cubicBezTo>
                      <a:pt x="117" y="51"/>
                      <a:pt x="115" y="50"/>
                      <a:pt x="111" y="50"/>
                    </a:cubicBezTo>
                    <a:cubicBezTo>
                      <a:pt x="108" y="49"/>
                      <a:pt x="106" y="49"/>
                      <a:pt x="104" y="49"/>
                    </a:cubicBezTo>
                    <a:cubicBezTo>
                      <a:pt x="99" y="48"/>
                      <a:pt x="96" y="48"/>
                      <a:pt x="90" y="47"/>
                    </a:cubicBezTo>
                    <a:cubicBezTo>
                      <a:pt x="86" y="46"/>
                      <a:pt x="84" y="46"/>
                      <a:pt x="80" y="46"/>
                    </a:cubicBezTo>
                    <a:cubicBezTo>
                      <a:pt x="76" y="46"/>
                      <a:pt x="74" y="47"/>
                      <a:pt x="70" y="48"/>
                    </a:cubicBezTo>
                    <a:cubicBezTo>
                      <a:pt x="67" y="49"/>
                      <a:pt x="65" y="49"/>
                      <a:pt x="62" y="50"/>
                    </a:cubicBezTo>
                    <a:cubicBezTo>
                      <a:pt x="60" y="50"/>
                      <a:pt x="59" y="50"/>
                      <a:pt x="58" y="51"/>
                    </a:cubicBezTo>
                    <a:cubicBezTo>
                      <a:pt x="57" y="51"/>
                      <a:pt x="57" y="51"/>
                      <a:pt x="57" y="52"/>
                    </a:cubicBezTo>
                    <a:cubicBezTo>
                      <a:pt x="56" y="53"/>
                      <a:pt x="57" y="54"/>
                      <a:pt x="57" y="56"/>
                    </a:cubicBezTo>
                    <a:cubicBezTo>
                      <a:pt x="56" y="57"/>
                      <a:pt x="55" y="57"/>
                      <a:pt x="54" y="57"/>
                    </a:cubicBezTo>
                    <a:cubicBezTo>
                      <a:pt x="53" y="57"/>
                      <a:pt x="52" y="58"/>
                      <a:pt x="52" y="58"/>
                    </a:cubicBezTo>
                    <a:cubicBezTo>
                      <a:pt x="51" y="58"/>
                      <a:pt x="50" y="59"/>
                      <a:pt x="49" y="59"/>
                    </a:cubicBezTo>
                    <a:cubicBezTo>
                      <a:pt x="48" y="60"/>
                      <a:pt x="48" y="61"/>
                      <a:pt x="46" y="61"/>
                    </a:cubicBezTo>
                    <a:cubicBezTo>
                      <a:pt x="45" y="61"/>
                      <a:pt x="45" y="60"/>
                      <a:pt x="44" y="59"/>
                    </a:cubicBezTo>
                    <a:cubicBezTo>
                      <a:pt x="43" y="58"/>
                      <a:pt x="43" y="57"/>
                      <a:pt x="42" y="56"/>
                    </a:cubicBezTo>
                    <a:cubicBezTo>
                      <a:pt x="41" y="55"/>
                      <a:pt x="41" y="55"/>
                      <a:pt x="40" y="55"/>
                    </a:cubicBezTo>
                    <a:cubicBezTo>
                      <a:pt x="39" y="55"/>
                      <a:pt x="39" y="55"/>
                      <a:pt x="38" y="56"/>
                    </a:cubicBezTo>
                    <a:cubicBezTo>
                      <a:pt x="36" y="56"/>
                      <a:pt x="36" y="57"/>
                      <a:pt x="34" y="58"/>
                    </a:cubicBezTo>
                    <a:cubicBezTo>
                      <a:pt x="34" y="59"/>
                      <a:pt x="35" y="60"/>
                      <a:pt x="35" y="61"/>
                    </a:cubicBezTo>
                    <a:cubicBezTo>
                      <a:pt x="35" y="62"/>
                      <a:pt x="34" y="62"/>
                      <a:pt x="34" y="63"/>
                    </a:cubicBezTo>
                    <a:cubicBezTo>
                      <a:pt x="34" y="64"/>
                      <a:pt x="35" y="65"/>
                      <a:pt x="36" y="66"/>
                    </a:cubicBezTo>
                    <a:cubicBezTo>
                      <a:pt x="37" y="68"/>
                      <a:pt x="38" y="70"/>
                      <a:pt x="38" y="72"/>
                    </a:cubicBezTo>
                    <a:cubicBezTo>
                      <a:pt x="39" y="74"/>
                      <a:pt x="38" y="75"/>
                      <a:pt x="39" y="77"/>
                    </a:cubicBezTo>
                    <a:cubicBezTo>
                      <a:pt x="39" y="78"/>
                      <a:pt x="40" y="79"/>
                      <a:pt x="40" y="80"/>
                    </a:cubicBezTo>
                    <a:cubicBezTo>
                      <a:pt x="41" y="81"/>
                      <a:pt x="42" y="82"/>
                      <a:pt x="42" y="84"/>
                    </a:cubicBezTo>
                    <a:cubicBezTo>
                      <a:pt x="43" y="86"/>
                      <a:pt x="44" y="86"/>
                      <a:pt x="45" y="88"/>
                    </a:cubicBezTo>
                    <a:cubicBezTo>
                      <a:pt x="45" y="89"/>
                      <a:pt x="45" y="89"/>
                      <a:pt x="45" y="90"/>
                    </a:cubicBezTo>
                    <a:cubicBezTo>
                      <a:pt x="46" y="92"/>
                      <a:pt x="50" y="92"/>
                      <a:pt x="50" y="94"/>
                    </a:cubicBezTo>
                    <a:cubicBezTo>
                      <a:pt x="50" y="95"/>
                      <a:pt x="49" y="96"/>
                      <a:pt x="48" y="96"/>
                    </a:cubicBezTo>
                    <a:cubicBezTo>
                      <a:pt x="47" y="96"/>
                      <a:pt x="46" y="97"/>
                      <a:pt x="46" y="98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0" y="108"/>
                      <a:pt x="49" y="109"/>
                      <a:pt x="48" y="112"/>
                    </a:cubicBezTo>
                    <a:cubicBezTo>
                      <a:pt x="46" y="114"/>
                      <a:pt x="43" y="113"/>
                      <a:pt x="42" y="115"/>
                    </a:cubicBezTo>
                    <a:cubicBezTo>
                      <a:pt x="41" y="115"/>
                      <a:pt x="41" y="116"/>
                      <a:pt x="40" y="117"/>
                    </a:cubicBezTo>
                    <a:cubicBezTo>
                      <a:pt x="40" y="117"/>
                      <a:pt x="39" y="118"/>
                      <a:pt x="38" y="118"/>
                    </a:cubicBezTo>
                    <a:cubicBezTo>
                      <a:pt x="36" y="121"/>
                      <a:pt x="35" y="123"/>
                      <a:pt x="33" y="127"/>
                    </a:cubicBezTo>
                    <a:cubicBezTo>
                      <a:pt x="31" y="129"/>
                      <a:pt x="30" y="131"/>
                      <a:pt x="28" y="134"/>
                    </a:cubicBezTo>
                    <a:cubicBezTo>
                      <a:pt x="27" y="136"/>
                      <a:pt x="25" y="137"/>
                      <a:pt x="24" y="139"/>
                    </a:cubicBezTo>
                    <a:cubicBezTo>
                      <a:pt x="23" y="140"/>
                      <a:pt x="22" y="141"/>
                      <a:pt x="21" y="143"/>
                    </a:cubicBezTo>
                    <a:cubicBezTo>
                      <a:pt x="20" y="144"/>
                      <a:pt x="20" y="145"/>
                      <a:pt x="18" y="146"/>
                    </a:cubicBezTo>
                    <a:cubicBezTo>
                      <a:pt x="17" y="146"/>
                      <a:pt x="16" y="147"/>
                      <a:pt x="16" y="148"/>
                    </a:cubicBezTo>
                    <a:cubicBezTo>
                      <a:pt x="17" y="153"/>
                      <a:pt x="17" y="153"/>
                      <a:pt x="17" y="153"/>
                    </a:cubicBezTo>
                    <a:cubicBezTo>
                      <a:pt x="17" y="160"/>
                      <a:pt x="17" y="160"/>
                      <a:pt x="17" y="160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72"/>
                      <a:pt x="18" y="173"/>
                      <a:pt x="17" y="173"/>
                    </a:cubicBezTo>
                    <a:cubicBezTo>
                      <a:pt x="16" y="173"/>
                      <a:pt x="16" y="172"/>
                      <a:pt x="15" y="172"/>
                    </a:cubicBezTo>
                    <a:cubicBezTo>
                      <a:pt x="13" y="172"/>
                      <a:pt x="12" y="172"/>
                      <a:pt x="11" y="173"/>
                    </a:cubicBezTo>
                    <a:cubicBezTo>
                      <a:pt x="10" y="174"/>
                      <a:pt x="10" y="175"/>
                      <a:pt x="9" y="177"/>
                    </a:cubicBezTo>
                    <a:cubicBezTo>
                      <a:pt x="7" y="180"/>
                      <a:pt x="6" y="181"/>
                      <a:pt x="5" y="184"/>
                    </a:cubicBezTo>
                    <a:cubicBezTo>
                      <a:pt x="4" y="186"/>
                      <a:pt x="3" y="187"/>
                      <a:pt x="2" y="190"/>
                    </a:cubicBezTo>
                    <a:cubicBezTo>
                      <a:pt x="2" y="190"/>
                      <a:pt x="2" y="191"/>
                      <a:pt x="1" y="192"/>
                    </a:cubicBezTo>
                    <a:cubicBezTo>
                      <a:pt x="1" y="193"/>
                      <a:pt x="0" y="194"/>
                      <a:pt x="0" y="195"/>
                    </a:cubicBezTo>
                    <a:cubicBezTo>
                      <a:pt x="0" y="196"/>
                      <a:pt x="0" y="197"/>
                      <a:pt x="0" y="198"/>
                    </a:cubicBezTo>
                    <a:cubicBezTo>
                      <a:pt x="1" y="199"/>
                      <a:pt x="2" y="199"/>
                      <a:pt x="3" y="199"/>
                    </a:cubicBezTo>
                    <a:cubicBezTo>
                      <a:pt x="4" y="200"/>
                      <a:pt x="4" y="201"/>
                      <a:pt x="5" y="202"/>
                    </a:cubicBezTo>
                    <a:cubicBezTo>
                      <a:pt x="5" y="204"/>
                      <a:pt x="6" y="205"/>
                      <a:pt x="8" y="206"/>
                    </a:cubicBezTo>
                    <a:cubicBezTo>
                      <a:pt x="9" y="207"/>
                      <a:pt x="9" y="207"/>
                      <a:pt x="11" y="208"/>
                    </a:cubicBezTo>
                    <a:cubicBezTo>
                      <a:pt x="12" y="208"/>
                      <a:pt x="13" y="209"/>
                      <a:pt x="14" y="210"/>
                    </a:cubicBezTo>
                    <a:cubicBezTo>
                      <a:pt x="16" y="210"/>
                      <a:pt x="17" y="211"/>
                      <a:pt x="18" y="212"/>
                    </a:cubicBezTo>
                    <a:cubicBezTo>
                      <a:pt x="19" y="212"/>
                      <a:pt x="19" y="213"/>
                      <a:pt x="20" y="213"/>
                    </a:cubicBezTo>
                    <a:cubicBezTo>
                      <a:pt x="22" y="215"/>
                      <a:pt x="22" y="216"/>
                      <a:pt x="23" y="218"/>
                    </a:cubicBezTo>
                    <a:cubicBezTo>
                      <a:pt x="25" y="217"/>
                      <a:pt x="25" y="217"/>
                      <a:pt x="27" y="217"/>
                    </a:cubicBezTo>
                    <a:cubicBezTo>
                      <a:pt x="27" y="217"/>
                      <a:pt x="28" y="217"/>
                      <a:pt x="28" y="217"/>
                    </a:cubicBezTo>
                    <a:cubicBezTo>
                      <a:pt x="29" y="217"/>
                      <a:pt x="29" y="217"/>
                      <a:pt x="29" y="217"/>
                    </a:cubicBezTo>
                    <a:cubicBezTo>
                      <a:pt x="30" y="217"/>
                      <a:pt x="30" y="217"/>
                      <a:pt x="30" y="217"/>
                    </a:cubicBezTo>
                    <a:cubicBezTo>
                      <a:pt x="31" y="217"/>
                      <a:pt x="32" y="217"/>
                      <a:pt x="33" y="217"/>
                    </a:cubicBezTo>
                    <a:cubicBezTo>
                      <a:pt x="34" y="217"/>
                      <a:pt x="35" y="217"/>
                      <a:pt x="37" y="217"/>
                    </a:cubicBezTo>
                    <a:cubicBezTo>
                      <a:pt x="38" y="217"/>
                      <a:pt x="39" y="217"/>
                      <a:pt x="39" y="218"/>
                    </a:cubicBezTo>
                    <a:cubicBezTo>
                      <a:pt x="40" y="218"/>
                      <a:pt x="40" y="219"/>
                      <a:pt x="41" y="219"/>
                    </a:cubicBezTo>
                    <a:cubicBezTo>
                      <a:pt x="41" y="219"/>
                      <a:pt x="42" y="220"/>
                      <a:pt x="43" y="220"/>
                    </a:cubicBezTo>
                    <a:cubicBezTo>
                      <a:pt x="47" y="220"/>
                      <a:pt x="50" y="218"/>
                      <a:pt x="54" y="218"/>
                    </a:cubicBezTo>
                    <a:cubicBezTo>
                      <a:pt x="56" y="218"/>
                      <a:pt x="58" y="219"/>
                      <a:pt x="60" y="219"/>
                    </a:cubicBezTo>
                    <a:cubicBezTo>
                      <a:pt x="61" y="219"/>
                      <a:pt x="61" y="219"/>
                      <a:pt x="62" y="219"/>
                    </a:cubicBezTo>
                    <a:cubicBezTo>
                      <a:pt x="63" y="219"/>
                      <a:pt x="63" y="219"/>
                      <a:pt x="64" y="219"/>
                    </a:cubicBezTo>
                    <a:cubicBezTo>
                      <a:pt x="66" y="219"/>
                      <a:pt x="67" y="219"/>
                      <a:pt x="68" y="218"/>
                    </a:cubicBezTo>
                    <a:cubicBezTo>
                      <a:pt x="69" y="218"/>
                      <a:pt x="69" y="218"/>
                      <a:pt x="70" y="218"/>
                    </a:cubicBezTo>
                    <a:cubicBezTo>
                      <a:pt x="70" y="217"/>
                      <a:pt x="70" y="217"/>
                      <a:pt x="71" y="217"/>
                    </a:cubicBezTo>
                    <a:cubicBezTo>
                      <a:pt x="72" y="217"/>
                      <a:pt x="72" y="218"/>
                      <a:pt x="73" y="219"/>
                    </a:cubicBezTo>
                    <a:cubicBezTo>
                      <a:pt x="74" y="220"/>
                      <a:pt x="74" y="221"/>
                      <a:pt x="75" y="222"/>
                    </a:cubicBezTo>
                    <a:cubicBezTo>
                      <a:pt x="77" y="224"/>
                      <a:pt x="78" y="226"/>
                      <a:pt x="81" y="226"/>
                    </a:cubicBezTo>
                    <a:cubicBezTo>
                      <a:pt x="82" y="226"/>
                      <a:pt x="83" y="226"/>
                      <a:pt x="84" y="226"/>
                    </a:cubicBezTo>
                    <a:cubicBezTo>
                      <a:pt x="84" y="226"/>
                      <a:pt x="84" y="226"/>
                      <a:pt x="85" y="226"/>
                    </a:cubicBezTo>
                    <a:cubicBezTo>
                      <a:pt x="86" y="225"/>
                      <a:pt x="86" y="225"/>
                      <a:pt x="87" y="224"/>
                    </a:cubicBezTo>
                    <a:cubicBezTo>
                      <a:pt x="88" y="224"/>
                      <a:pt x="89" y="223"/>
                      <a:pt x="90" y="222"/>
                    </a:cubicBezTo>
                    <a:cubicBezTo>
                      <a:pt x="91" y="222"/>
                      <a:pt x="92" y="222"/>
                      <a:pt x="92" y="221"/>
                    </a:cubicBezTo>
                    <a:cubicBezTo>
                      <a:pt x="94" y="221"/>
                      <a:pt x="94" y="220"/>
                      <a:pt x="96" y="219"/>
                    </a:cubicBezTo>
                    <a:cubicBezTo>
                      <a:pt x="98" y="218"/>
                      <a:pt x="100" y="218"/>
                      <a:pt x="103" y="217"/>
                    </a:cubicBezTo>
                    <a:cubicBezTo>
                      <a:pt x="105" y="217"/>
                      <a:pt x="106" y="216"/>
                      <a:pt x="108" y="216"/>
                    </a:cubicBezTo>
                    <a:cubicBezTo>
                      <a:pt x="110" y="215"/>
                      <a:pt x="111" y="213"/>
                      <a:pt x="113" y="210"/>
                    </a:cubicBezTo>
                    <a:cubicBezTo>
                      <a:pt x="113" y="209"/>
                      <a:pt x="114" y="209"/>
                      <a:pt x="115" y="208"/>
                    </a:cubicBezTo>
                    <a:cubicBezTo>
                      <a:pt x="115" y="206"/>
                      <a:pt x="115" y="205"/>
                      <a:pt x="117" y="205"/>
                    </a:cubicBezTo>
                    <a:cubicBezTo>
                      <a:pt x="119" y="205"/>
                      <a:pt x="121" y="207"/>
                      <a:pt x="123" y="207"/>
                    </a:cubicBezTo>
                    <a:cubicBezTo>
                      <a:pt x="124" y="207"/>
                      <a:pt x="125" y="206"/>
                      <a:pt x="126" y="206"/>
                    </a:cubicBezTo>
                    <a:cubicBezTo>
                      <a:pt x="127" y="206"/>
                      <a:pt x="128" y="206"/>
                      <a:pt x="129" y="206"/>
                    </a:cubicBezTo>
                    <a:cubicBezTo>
                      <a:pt x="129" y="206"/>
                      <a:pt x="129" y="205"/>
                      <a:pt x="129" y="205"/>
                    </a:cubicBezTo>
                    <a:cubicBezTo>
                      <a:pt x="131" y="204"/>
                      <a:pt x="132" y="203"/>
                      <a:pt x="134" y="203"/>
                    </a:cubicBezTo>
                    <a:cubicBezTo>
                      <a:pt x="137" y="203"/>
                      <a:pt x="138" y="203"/>
                      <a:pt x="141" y="203"/>
                    </a:cubicBezTo>
                    <a:cubicBezTo>
                      <a:pt x="142" y="201"/>
                      <a:pt x="143" y="200"/>
                      <a:pt x="143" y="197"/>
                    </a:cubicBezTo>
                    <a:cubicBezTo>
                      <a:pt x="144" y="195"/>
                      <a:pt x="143" y="193"/>
                      <a:pt x="145" y="193"/>
                    </a:cubicBezTo>
                    <a:cubicBezTo>
                      <a:pt x="146" y="192"/>
                      <a:pt x="147" y="193"/>
                      <a:pt x="148" y="193"/>
                    </a:cubicBezTo>
                    <a:cubicBezTo>
                      <a:pt x="151" y="191"/>
                      <a:pt x="153" y="190"/>
                      <a:pt x="156" y="190"/>
                    </a:cubicBezTo>
                    <a:cubicBezTo>
                      <a:pt x="157" y="190"/>
                      <a:pt x="158" y="192"/>
                      <a:pt x="159" y="192"/>
                    </a:cubicBezTo>
                    <a:cubicBezTo>
                      <a:pt x="162" y="193"/>
                      <a:pt x="163" y="194"/>
                      <a:pt x="165" y="196"/>
                    </a:cubicBezTo>
                    <a:cubicBezTo>
                      <a:pt x="168" y="197"/>
                      <a:pt x="171" y="198"/>
                      <a:pt x="174" y="198"/>
                    </a:cubicBezTo>
                    <a:cubicBezTo>
                      <a:pt x="176" y="198"/>
                      <a:pt x="177" y="197"/>
                      <a:pt x="179" y="197"/>
                    </a:cubicBezTo>
                    <a:cubicBezTo>
                      <a:pt x="179" y="199"/>
                      <a:pt x="180" y="202"/>
                      <a:pt x="182" y="202"/>
                    </a:cubicBezTo>
                    <a:cubicBezTo>
                      <a:pt x="184" y="202"/>
                      <a:pt x="186" y="202"/>
                      <a:pt x="188" y="202"/>
                    </a:cubicBezTo>
                    <a:cubicBezTo>
                      <a:pt x="189" y="202"/>
                      <a:pt x="189" y="201"/>
                      <a:pt x="190" y="201"/>
                    </a:cubicBezTo>
                    <a:cubicBezTo>
                      <a:pt x="191" y="202"/>
                      <a:pt x="191" y="202"/>
                      <a:pt x="192" y="203"/>
                    </a:cubicBezTo>
                    <a:cubicBezTo>
                      <a:pt x="193" y="204"/>
                      <a:pt x="194" y="204"/>
                      <a:pt x="196" y="205"/>
                    </a:cubicBezTo>
                    <a:cubicBezTo>
                      <a:pt x="199" y="206"/>
                      <a:pt x="202" y="207"/>
                      <a:pt x="205" y="207"/>
                    </a:cubicBezTo>
                    <a:cubicBezTo>
                      <a:pt x="205" y="211"/>
                      <a:pt x="205" y="214"/>
                      <a:pt x="205" y="219"/>
                    </a:cubicBezTo>
                    <a:cubicBezTo>
                      <a:pt x="205" y="220"/>
                      <a:pt x="206" y="221"/>
                      <a:pt x="206" y="223"/>
                    </a:cubicBezTo>
                    <a:cubicBezTo>
                      <a:pt x="207" y="224"/>
                      <a:pt x="207" y="225"/>
                      <a:pt x="207" y="226"/>
                    </a:cubicBezTo>
                    <a:cubicBezTo>
                      <a:pt x="209" y="228"/>
                      <a:pt x="212" y="228"/>
                      <a:pt x="215" y="229"/>
                    </a:cubicBezTo>
                    <a:cubicBezTo>
                      <a:pt x="218" y="229"/>
                      <a:pt x="219" y="231"/>
                      <a:pt x="220" y="234"/>
                    </a:cubicBezTo>
                    <a:cubicBezTo>
                      <a:pt x="222" y="236"/>
                      <a:pt x="222" y="238"/>
                      <a:pt x="223" y="240"/>
                    </a:cubicBezTo>
                    <a:cubicBezTo>
                      <a:pt x="224" y="243"/>
                      <a:pt x="225" y="244"/>
                      <a:pt x="227" y="246"/>
                    </a:cubicBezTo>
                    <a:cubicBezTo>
                      <a:pt x="229" y="249"/>
                      <a:pt x="230" y="251"/>
                      <a:pt x="232" y="253"/>
                    </a:cubicBezTo>
                    <a:cubicBezTo>
                      <a:pt x="233" y="256"/>
                      <a:pt x="234" y="257"/>
                      <a:pt x="235" y="259"/>
                    </a:cubicBezTo>
                    <a:cubicBezTo>
                      <a:pt x="235" y="261"/>
                      <a:pt x="234" y="262"/>
                      <a:pt x="235" y="263"/>
                    </a:cubicBezTo>
                    <a:cubicBezTo>
                      <a:pt x="236" y="264"/>
                      <a:pt x="236" y="263"/>
                      <a:pt x="236" y="263"/>
                    </a:cubicBezTo>
                    <a:cubicBezTo>
                      <a:pt x="237" y="264"/>
                      <a:pt x="238" y="264"/>
                      <a:pt x="238" y="264"/>
                    </a:cubicBezTo>
                    <a:cubicBezTo>
                      <a:pt x="238" y="266"/>
                      <a:pt x="237" y="267"/>
                      <a:pt x="237" y="269"/>
                    </a:cubicBezTo>
                    <a:cubicBezTo>
                      <a:pt x="234" y="269"/>
                      <a:pt x="233" y="268"/>
                      <a:pt x="230" y="268"/>
                    </a:cubicBezTo>
                    <a:cubicBezTo>
                      <a:pt x="228" y="268"/>
                      <a:pt x="227" y="268"/>
                      <a:pt x="225" y="269"/>
                    </a:cubicBezTo>
                    <a:cubicBezTo>
                      <a:pt x="224" y="270"/>
                      <a:pt x="223" y="271"/>
                      <a:pt x="222" y="271"/>
                    </a:cubicBezTo>
                    <a:cubicBezTo>
                      <a:pt x="220" y="271"/>
                      <a:pt x="220" y="270"/>
                      <a:pt x="218" y="270"/>
                    </a:cubicBezTo>
                    <a:cubicBezTo>
                      <a:pt x="216" y="270"/>
                      <a:pt x="216" y="272"/>
                      <a:pt x="214" y="272"/>
                    </a:cubicBezTo>
                    <a:cubicBezTo>
                      <a:pt x="212" y="272"/>
                      <a:pt x="211" y="270"/>
                      <a:pt x="209" y="270"/>
                    </a:cubicBezTo>
                    <a:cubicBezTo>
                      <a:pt x="208" y="270"/>
                      <a:pt x="207" y="270"/>
                      <a:pt x="206" y="270"/>
                    </a:cubicBezTo>
                    <a:cubicBezTo>
                      <a:pt x="206" y="271"/>
                      <a:pt x="206" y="271"/>
                      <a:pt x="206" y="271"/>
                    </a:cubicBezTo>
                    <a:cubicBezTo>
                      <a:pt x="206" y="273"/>
                      <a:pt x="207" y="273"/>
                      <a:pt x="208" y="274"/>
                    </a:cubicBezTo>
                    <a:cubicBezTo>
                      <a:pt x="209" y="276"/>
                      <a:pt x="209" y="278"/>
                      <a:pt x="209" y="280"/>
                    </a:cubicBezTo>
                    <a:cubicBezTo>
                      <a:pt x="209" y="282"/>
                      <a:pt x="208" y="283"/>
                      <a:pt x="207" y="285"/>
                    </a:cubicBezTo>
                    <a:cubicBezTo>
                      <a:pt x="206" y="287"/>
                      <a:pt x="204" y="288"/>
                      <a:pt x="203" y="289"/>
                    </a:cubicBezTo>
                    <a:cubicBezTo>
                      <a:pt x="200" y="292"/>
                      <a:pt x="201" y="295"/>
                      <a:pt x="200" y="298"/>
                    </a:cubicBezTo>
                    <a:cubicBezTo>
                      <a:pt x="199" y="300"/>
                      <a:pt x="198" y="301"/>
                      <a:pt x="197" y="303"/>
                    </a:cubicBezTo>
                    <a:cubicBezTo>
                      <a:pt x="197" y="305"/>
                      <a:pt x="196" y="307"/>
                      <a:pt x="195" y="308"/>
                    </a:cubicBezTo>
                    <a:cubicBezTo>
                      <a:pt x="194" y="309"/>
                      <a:pt x="193" y="309"/>
                      <a:pt x="192" y="310"/>
                    </a:cubicBezTo>
                    <a:cubicBezTo>
                      <a:pt x="190" y="312"/>
                      <a:pt x="189" y="313"/>
                      <a:pt x="187" y="316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6" name="Freeform 134">
                <a:extLst>
                  <a:ext uri="{FF2B5EF4-FFF2-40B4-BE49-F238E27FC236}">
                    <a16:creationId xmlns:a16="http://schemas.microsoft.com/office/drawing/2014/main" xmlns="" id="{4BDF6DA6-85A0-44A5-9A4F-67D3F2180A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9413" y="2905311"/>
                <a:ext cx="712376" cy="507706"/>
              </a:xfrm>
              <a:custGeom>
                <a:avLst/>
                <a:gdLst>
                  <a:gd name="T0" fmla="*/ 56 w 282"/>
                  <a:gd name="T1" fmla="*/ 21 h 201"/>
                  <a:gd name="T2" fmla="*/ 52 w 282"/>
                  <a:gd name="T3" fmla="*/ 25 h 201"/>
                  <a:gd name="T4" fmla="*/ 41 w 282"/>
                  <a:gd name="T5" fmla="*/ 38 h 201"/>
                  <a:gd name="T6" fmla="*/ 42 w 282"/>
                  <a:gd name="T7" fmla="*/ 47 h 201"/>
                  <a:gd name="T8" fmla="*/ 37 w 282"/>
                  <a:gd name="T9" fmla="*/ 56 h 201"/>
                  <a:gd name="T10" fmla="*/ 30 w 282"/>
                  <a:gd name="T11" fmla="*/ 63 h 201"/>
                  <a:gd name="T12" fmla="*/ 20 w 282"/>
                  <a:gd name="T13" fmla="*/ 80 h 201"/>
                  <a:gd name="T14" fmla="*/ 14 w 282"/>
                  <a:gd name="T15" fmla="*/ 89 h 201"/>
                  <a:gd name="T16" fmla="*/ 2 w 282"/>
                  <a:gd name="T17" fmla="*/ 97 h 201"/>
                  <a:gd name="T18" fmla="*/ 1 w 282"/>
                  <a:gd name="T19" fmla="*/ 105 h 201"/>
                  <a:gd name="T20" fmla="*/ 6 w 282"/>
                  <a:gd name="T21" fmla="*/ 119 h 201"/>
                  <a:gd name="T22" fmla="*/ 14 w 282"/>
                  <a:gd name="T23" fmla="*/ 134 h 201"/>
                  <a:gd name="T24" fmla="*/ 22 w 282"/>
                  <a:gd name="T25" fmla="*/ 142 h 201"/>
                  <a:gd name="T26" fmla="*/ 26 w 282"/>
                  <a:gd name="T27" fmla="*/ 156 h 201"/>
                  <a:gd name="T28" fmla="*/ 40 w 282"/>
                  <a:gd name="T29" fmla="*/ 162 h 201"/>
                  <a:gd name="T30" fmla="*/ 57 w 282"/>
                  <a:gd name="T31" fmla="*/ 160 h 201"/>
                  <a:gd name="T32" fmla="*/ 68 w 282"/>
                  <a:gd name="T33" fmla="*/ 166 h 201"/>
                  <a:gd name="T34" fmla="*/ 65 w 282"/>
                  <a:gd name="T35" fmla="*/ 179 h 201"/>
                  <a:gd name="T36" fmla="*/ 78 w 282"/>
                  <a:gd name="T37" fmla="*/ 184 h 201"/>
                  <a:gd name="T38" fmla="*/ 76 w 282"/>
                  <a:gd name="T39" fmla="*/ 193 h 201"/>
                  <a:gd name="T40" fmla="*/ 80 w 282"/>
                  <a:gd name="T41" fmla="*/ 196 h 201"/>
                  <a:gd name="T42" fmla="*/ 108 w 282"/>
                  <a:gd name="T43" fmla="*/ 196 h 201"/>
                  <a:gd name="T44" fmla="*/ 135 w 282"/>
                  <a:gd name="T45" fmla="*/ 198 h 201"/>
                  <a:gd name="T46" fmla="*/ 162 w 282"/>
                  <a:gd name="T47" fmla="*/ 199 h 201"/>
                  <a:gd name="T48" fmla="*/ 192 w 282"/>
                  <a:gd name="T49" fmla="*/ 177 h 201"/>
                  <a:gd name="T50" fmla="*/ 232 w 282"/>
                  <a:gd name="T51" fmla="*/ 179 h 201"/>
                  <a:gd name="T52" fmla="*/ 243 w 282"/>
                  <a:gd name="T53" fmla="*/ 184 h 201"/>
                  <a:gd name="T54" fmla="*/ 257 w 282"/>
                  <a:gd name="T55" fmla="*/ 180 h 201"/>
                  <a:gd name="T56" fmla="*/ 254 w 282"/>
                  <a:gd name="T57" fmla="*/ 157 h 201"/>
                  <a:gd name="T58" fmla="*/ 261 w 282"/>
                  <a:gd name="T59" fmla="*/ 150 h 201"/>
                  <a:gd name="T60" fmla="*/ 255 w 282"/>
                  <a:gd name="T61" fmla="*/ 147 h 201"/>
                  <a:gd name="T62" fmla="*/ 254 w 282"/>
                  <a:gd name="T63" fmla="*/ 141 h 201"/>
                  <a:gd name="T64" fmla="*/ 257 w 282"/>
                  <a:gd name="T65" fmla="*/ 130 h 201"/>
                  <a:gd name="T66" fmla="*/ 262 w 282"/>
                  <a:gd name="T67" fmla="*/ 135 h 201"/>
                  <a:gd name="T68" fmla="*/ 268 w 282"/>
                  <a:gd name="T69" fmla="*/ 139 h 201"/>
                  <a:gd name="T70" fmla="*/ 282 w 282"/>
                  <a:gd name="T71" fmla="*/ 123 h 201"/>
                  <a:gd name="T72" fmla="*/ 267 w 282"/>
                  <a:gd name="T73" fmla="*/ 111 h 201"/>
                  <a:gd name="T74" fmla="*/ 255 w 282"/>
                  <a:gd name="T75" fmla="*/ 117 h 201"/>
                  <a:gd name="T76" fmla="*/ 241 w 282"/>
                  <a:gd name="T77" fmla="*/ 117 h 201"/>
                  <a:gd name="T78" fmla="*/ 234 w 282"/>
                  <a:gd name="T79" fmla="*/ 113 h 201"/>
                  <a:gd name="T80" fmla="*/ 228 w 282"/>
                  <a:gd name="T81" fmla="*/ 80 h 201"/>
                  <a:gd name="T82" fmla="*/ 229 w 282"/>
                  <a:gd name="T83" fmla="*/ 59 h 201"/>
                  <a:gd name="T84" fmla="*/ 217 w 282"/>
                  <a:gd name="T85" fmla="*/ 42 h 201"/>
                  <a:gd name="T86" fmla="*/ 206 w 282"/>
                  <a:gd name="T87" fmla="*/ 29 h 201"/>
                  <a:gd name="T88" fmla="*/ 196 w 282"/>
                  <a:gd name="T89" fmla="*/ 12 h 201"/>
                  <a:gd name="T90" fmla="*/ 191 w 282"/>
                  <a:gd name="T91" fmla="*/ 4 h 201"/>
                  <a:gd name="T92" fmla="*/ 176 w 282"/>
                  <a:gd name="T93" fmla="*/ 2 h 201"/>
                  <a:gd name="T94" fmla="*/ 164 w 282"/>
                  <a:gd name="T95" fmla="*/ 2 h 201"/>
                  <a:gd name="T96" fmla="*/ 150 w 282"/>
                  <a:gd name="T97" fmla="*/ 14 h 201"/>
                  <a:gd name="T98" fmla="*/ 134 w 282"/>
                  <a:gd name="T99" fmla="*/ 21 h 201"/>
                  <a:gd name="T100" fmla="*/ 122 w 282"/>
                  <a:gd name="T101" fmla="*/ 19 h 201"/>
                  <a:gd name="T102" fmla="*/ 115 w 282"/>
                  <a:gd name="T103" fmla="*/ 15 h 201"/>
                  <a:gd name="T104" fmla="*/ 101 w 282"/>
                  <a:gd name="T105" fmla="*/ 15 h 201"/>
                  <a:gd name="T106" fmla="*/ 84 w 282"/>
                  <a:gd name="T107" fmla="*/ 14 h 201"/>
                  <a:gd name="T108" fmla="*/ 75 w 282"/>
                  <a:gd name="T109" fmla="*/ 14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2" h="201">
                    <a:moveTo>
                      <a:pt x="71" y="15"/>
                    </a:moveTo>
                    <a:cubicBezTo>
                      <a:pt x="70" y="16"/>
                      <a:pt x="69" y="17"/>
                      <a:pt x="68" y="19"/>
                    </a:cubicBezTo>
                    <a:cubicBezTo>
                      <a:pt x="67" y="20"/>
                      <a:pt x="66" y="21"/>
                      <a:pt x="64" y="21"/>
                    </a:cubicBezTo>
                    <a:cubicBezTo>
                      <a:pt x="61" y="21"/>
                      <a:pt x="59" y="21"/>
                      <a:pt x="56" y="21"/>
                    </a:cubicBezTo>
                    <a:cubicBezTo>
                      <a:pt x="56" y="21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3" y="23"/>
                      <a:pt x="53" y="23"/>
                    </a:cubicBezTo>
                    <a:cubicBezTo>
                      <a:pt x="53" y="24"/>
                      <a:pt x="53" y="24"/>
                      <a:pt x="52" y="25"/>
                    </a:cubicBezTo>
                    <a:cubicBezTo>
                      <a:pt x="51" y="26"/>
                      <a:pt x="51" y="27"/>
                      <a:pt x="51" y="29"/>
                    </a:cubicBezTo>
                    <a:cubicBezTo>
                      <a:pt x="51" y="32"/>
                      <a:pt x="50" y="33"/>
                      <a:pt x="49" y="35"/>
                    </a:cubicBezTo>
                    <a:cubicBezTo>
                      <a:pt x="49" y="37"/>
                      <a:pt x="48" y="38"/>
                      <a:pt x="46" y="38"/>
                    </a:cubicBezTo>
                    <a:cubicBezTo>
                      <a:pt x="44" y="38"/>
                      <a:pt x="43" y="38"/>
                      <a:pt x="41" y="38"/>
                    </a:cubicBezTo>
                    <a:cubicBezTo>
                      <a:pt x="41" y="38"/>
                      <a:pt x="41" y="39"/>
                      <a:pt x="41" y="39"/>
                    </a:cubicBezTo>
                    <a:cubicBezTo>
                      <a:pt x="41" y="39"/>
                      <a:pt x="42" y="40"/>
                      <a:pt x="42" y="40"/>
                    </a:cubicBezTo>
                    <a:cubicBezTo>
                      <a:pt x="43" y="41"/>
                      <a:pt x="43" y="42"/>
                      <a:pt x="43" y="44"/>
                    </a:cubicBezTo>
                    <a:cubicBezTo>
                      <a:pt x="43" y="45"/>
                      <a:pt x="42" y="46"/>
                      <a:pt x="42" y="47"/>
                    </a:cubicBezTo>
                    <a:cubicBezTo>
                      <a:pt x="41" y="48"/>
                      <a:pt x="41" y="49"/>
                      <a:pt x="40" y="51"/>
                    </a:cubicBezTo>
                    <a:cubicBezTo>
                      <a:pt x="40" y="52"/>
                      <a:pt x="40" y="52"/>
                      <a:pt x="40" y="53"/>
                    </a:cubicBezTo>
                    <a:cubicBezTo>
                      <a:pt x="40" y="53"/>
                      <a:pt x="39" y="53"/>
                      <a:pt x="39" y="54"/>
                    </a:cubicBezTo>
                    <a:cubicBezTo>
                      <a:pt x="38" y="55"/>
                      <a:pt x="38" y="55"/>
                      <a:pt x="37" y="56"/>
                    </a:cubicBezTo>
                    <a:cubicBezTo>
                      <a:pt x="37" y="56"/>
                      <a:pt x="36" y="57"/>
                      <a:pt x="36" y="57"/>
                    </a:cubicBezTo>
                    <a:cubicBezTo>
                      <a:pt x="35" y="57"/>
                      <a:pt x="35" y="58"/>
                      <a:pt x="34" y="59"/>
                    </a:cubicBezTo>
                    <a:cubicBezTo>
                      <a:pt x="34" y="59"/>
                      <a:pt x="33" y="60"/>
                      <a:pt x="32" y="61"/>
                    </a:cubicBezTo>
                    <a:cubicBezTo>
                      <a:pt x="31" y="61"/>
                      <a:pt x="31" y="62"/>
                      <a:pt x="30" y="63"/>
                    </a:cubicBezTo>
                    <a:cubicBezTo>
                      <a:pt x="28" y="65"/>
                      <a:pt x="27" y="65"/>
                      <a:pt x="26" y="67"/>
                    </a:cubicBezTo>
                    <a:cubicBezTo>
                      <a:pt x="25" y="68"/>
                      <a:pt x="25" y="69"/>
                      <a:pt x="25" y="70"/>
                    </a:cubicBezTo>
                    <a:cubicBezTo>
                      <a:pt x="24" y="71"/>
                      <a:pt x="23" y="72"/>
                      <a:pt x="23" y="73"/>
                    </a:cubicBezTo>
                    <a:cubicBezTo>
                      <a:pt x="21" y="75"/>
                      <a:pt x="21" y="77"/>
                      <a:pt x="20" y="80"/>
                    </a:cubicBezTo>
                    <a:cubicBezTo>
                      <a:pt x="20" y="81"/>
                      <a:pt x="19" y="81"/>
                      <a:pt x="19" y="82"/>
                    </a:cubicBezTo>
                    <a:cubicBezTo>
                      <a:pt x="18" y="83"/>
                      <a:pt x="18" y="83"/>
                      <a:pt x="18" y="84"/>
                    </a:cubicBezTo>
                    <a:cubicBezTo>
                      <a:pt x="17" y="85"/>
                      <a:pt x="17" y="86"/>
                      <a:pt x="16" y="87"/>
                    </a:cubicBezTo>
                    <a:cubicBezTo>
                      <a:pt x="15" y="88"/>
                      <a:pt x="15" y="89"/>
                      <a:pt x="14" y="89"/>
                    </a:cubicBezTo>
                    <a:cubicBezTo>
                      <a:pt x="13" y="90"/>
                      <a:pt x="13" y="91"/>
                      <a:pt x="12" y="91"/>
                    </a:cubicBezTo>
                    <a:cubicBezTo>
                      <a:pt x="10" y="92"/>
                      <a:pt x="9" y="93"/>
                      <a:pt x="7" y="94"/>
                    </a:cubicBezTo>
                    <a:cubicBezTo>
                      <a:pt x="6" y="95"/>
                      <a:pt x="6" y="95"/>
                      <a:pt x="5" y="95"/>
                    </a:cubicBezTo>
                    <a:cubicBezTo>
                      <a:pt x="4" y="95"/>
                      <a:pt x="4" y="96"/>
                      <a:pt x="2" y="97"/>
                    </a:cubicBezTo>
                    <a:cubicBezTo>
                      <a:pt x="1" y="97"/>
                      <a:pt x="1" y="97"/>
                      <a:pt x="0" y="98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0"/>
                      <a:pt x="0" y="101"/>
                      <a:pt x="1" y="102"/>
                    </a:cubicBezTo>
                    <a:cubicBezTo>
                      <a:pt x="1" y="103"/>
                      <a:pt x="1" y="104"/>
                      <a:pt x="1" y="105"/>
                    </a:cubicBezTo>
                    <a:cubicBezTo>
                      <a:pt x="2" y="107"/>
                      <a:pt x="2" y="108"/>
                      <a:pt x="3" y="109"/>
                    </a:cubicBezTo>
                    <a:cubicBezTo>
                      <a:pt x="3" y="111"/>
                      <a:pt x="4" y="111"/>
                      <a:pt x="4" y="113"/>
                    </a:cubicBezTo>
                    <a:cubicBezTo>
                      <a:pt x="5" y="114"/>
                      <a:pt x="5" y="115"/>
                      <a:pt x="5" y="116"/>
                    </a:cubicBezTo>
                    <a:cubicBezTo>
                      <a:pt x="6" y="117"/>
                      <a:pt x="6" y="118"/>
                      <a:pt x="6" y="119"/>
                    </a:cubicBezTo>
                    <a:cubicBezTo>
                      <a:pt x="7" y="121"/>
                      <a:pt x="7" y="122"/>
                      <a:pt x="7" y="125"/>
                    </a:cubicBezTo>
                    <a:cubicBezTo>
                      <a:pt x="8" y="126"/>
                      <a:pt x="8" y="127"/>
                      <a:pt x="8" y="129"/>
                    </a:cubicBezTo>
                    <a:cubicBezTo>
                      <a:pt x="9" y="129"/>
                      <a:pt x="9" y="130"/>
                      <a:pt x="9" y="130"/>
                    </a:cubicBezTo>
                    <a:cubicBezTo>
                      <a:pt x="11" y="132"/>
                      <a:pt x="12" y="133"/>
                      <a:pt x="14" y="134"/>
                    </a:cubicBezTo>
                    <a:cubicBezTo>
                      <a:pt x="15" y="135"/>
                      <a:pt x="15" y="136"/>
                      <a:pt x="16" y="137"/>
                    </a:cubicBezTo>
                    <a:cubicBezTo>
                      <a:pt x="17" y="137"/>
                      <a:pt x="17" y="138"/>
                      <a:pt x="18" y="139"/>
                    </a:cubicBezTo>
                    <a:cubicBezTo>
                      <a:pt x="18" y="139"/>
                      <a:pt x="18" y="139"/>
                      <a:pt x="19" y="140"/>
                    </a:cubicBezTo>
                    <a:cubicBezTo>
                      <a:pt x="20" y="141"/>
                      <a:pt x="21" y="141"/>
                      <a:pt x="22" y="142"/>
                    </a:cubicBezTo>
                    <a:cubicBezTo>
                      <a:pt x="23" y="144"/>
                      <a:pt x="24" y="144"/>
                      <a:pt x="25" y="145"/>
                    </a:cubicBezTo>
                    <a:cubicBezTo>
                      <a:pt x="26" y="146"/>
                      <a:pt x="26" y="147"/>
                      <a:pt x="26" y="148"/>
                    </a:cubicBezTo>
                    <a:cubicBezTo>
                      <a:pt x="26" y="151"/>
                      <a:pt x="26" y="153"/>
                      <a:pt x="26" y="156"/>
                    </a:cubicBezTo>
                    <a:cubicBezTo>
                      <a:pt x="26" y="156"/>
                      <a:pt x="26" y="156"/>
                      <a:pt x="26" y="156"/>
                    </a:cubicBezTo>
                    <a:cubicBezTo>
                      <a:pt x="26" y="157"/>
                      <a:pt x="27" y="157"/>
                      <a:pt x="27" y="157"/>
                    </a:cubicBezTo>
                    <a:cubicBezTo>
                      <a:pt x="28" y="157"/>
                      <a:pt x="28" y="158"/>
                      <a:pt x="29" y="158"/>
                    </a:cubicBezTo>
                    <a:cubicBezTo>
                      <a:pt x="30" y="158"/>
                      <a:pt x="31" y="158"/>
                      <a:pt x="32" y="159"/>
                    </a:cubicBezTo>
                    <a:cubicBezTo>
                      <a:pt x="35" y="161"/>
                      <a:pt x="37" y="162"/>
                      <a:pt x="40" y="162"/>
                    </a:cubicBezTo>
                    <a:cubicBezTo>
                      <a:pt x="41" y="162"/>
                      <a:pt x="42" y="162"/>
                      <a:pt x="43" y="163"/>
                    </a:cubicBezTo>
                    <a:cubicBezTo>
                      <a:pt x="45" y="164"/>
                      <a:pt x="46" y="165"/>
                      <a:pt x="47" y="166"/>
                    </a:cubicBezTo>
                    <a:cubicBezTo>
                      <a:pt x="49" y="168"/>
                      <a:pt x="51" y="169"/>
                      <a:pt x="54" y="171"/>
                    </a:cubicBezTo>
                    <a:cubicBezTo>
                      <a:pt x="55" y="167"/>
                      <a:pt x="55" y="164"/>
                      <a:pt x="57" y="160"/>
                    </a:cubicBezTo>
                    <a:cubicBezTo>
                      <a:pt x="59" y="162"/>
                      <a:pt x="61" y="161"/>
                      <a:pt x="63" y="162"/>
                    </a:cubicBezTo>
                    <a:cubicBezTo>
                      <a:pt x="64" y="162"/>
                      <a:pt x="65" y="163"/>
                      <a:pt x="66" y="163"/>
                    </a:cubicBezTo>
                    <a:cubicBezTo>
                      <a:pt x="67" y="164"/>
                      <a:pt x="68" y="164"/>
                      <a:pt x="68" y="165"/>
                    </a:cubicBezTo>
                    <a:cubicBezTo>
                      <a:pt x="68" y="165"/>
                      <a:pt x="68" y="166"/>
                      <a:pt x="68" y="166"/>
                    </a:cubicBezTo>
                    <a:cubicBezTo>
                      <a:pt x="67" y="167"/>
                      <a:pt x="67" y="168"/>
                      <a:pt x="66" y="169"/>
                    </a:cubicBezTo>
                    <a:cubicBezTo>
                      <a:pt x="65" y="170"/>
                      <a:pt x="65" y="172"/>
                      <a:pt x="64" y="173"/>
                    </a:cubicBezTo>
                    <a:cubicBezTo>
                      <a:pt x="63" y="175"/>
                      <a:pt x="62" y="176"/>
                      <a:pt x="61" y="178"/>
                    </a:cubicBezTo>
                    <a:cubicBezTo>
                      <a:pt x="62" y="178"/>
                      <a:pt x="63" y="178"/>
                      <a:pt x="65" y="179"/>
                    </a:cubicBezTo>
                    <a:cubicBezTo>
                      <a:pt x="66" y="179"/>
                      <a:pt x="67" y="179"/>
                      <a:pt x="68" y="180"/>
                    </a:cubicBezTo>
                    <a:cubicBezTo>
                      <a:pt x="68" y="180"/>
                      <a:pt x="68" y="180"/>
                      <a:pt x="68" y="181"/>
                    </a:cubicBezTo>
                    <a:cubicBezTo>
                      <a:pt x="69" y="181"/>
                      <a:pt x="70" y="181"/>
                      <a:pt x="70" y="182"/>
                    </a:cubicBezTo>
                    <a:cubicBezTo>
                      <a:pt x="73" y="183"/>
                      <a:pt x="75" y="184"/>
                      <a:pt x="78" y="184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7" y="187"/>
                      <a:pt x="77" y="188"/>
                      <a:pt x="76" y="189"/>
                    </a:cubicBezTo>
                    <a:cubicBezTo>
                      <a:pt x="75" y="190"/>
                      <a:pt x="74" y="190"/>
                      <a:pt x="74" y="191"/>
                    </a:cubicBezTo>
                    <a:cubicBezTo>
                      <a:pt x="74" y="192"/>
                      <a:pt x="75" y="192"/>
                      <a:pt x="76" y="193"/>
                    </a:cubicBezTo>
                    <a:cubicBezTo>
                      <a:pt x="76" y="193"/>
                      <a:pt x="76" y="194"/>
                      <a:pt x="76" y="194"/>
                    </a:cubicBezTo>
                    <a:cubicBezTo>
                      <a:pt x="77" y="194"/>
                      <a:pt x="77" y="194"/>
                      <a:pt x="77" y="194"/>
                    </a:cubicBezTo>
                    <a:cubicBezTo>
                      <a:pt x="78" y="194"/>
                      <a:pt x="78" y="195"/>
                      <a:pt x="78" y="195"/>
                    </a:cubicBezTo>
                    <a:cubicBezTo>
                      <a:pt x="79" y="195"/>
                      <a:pt x="79" y="196"/>
                      <a:pt x="80" y="196"/>
                    </a:cubicBezTo>
                    <a:cubicBezTo>
                      <a:pt x="90" y="193"/>
                      <a:pt x="90" y="193"/>
                      <a:pt x="90" y="193"/>
                    </a:cubicBezTo>
                    <a:cubicBezTo>
                      <a:pt x="93" y="194"/>
                      <a:pt x="94" y="194"/>
                      <a:pt x="97" y="195"/>
                    </a:cubicBezTo>
                    <a:cubicBezTo>
                      <a:pt x="100" y="196"/>
                      <a:pt x="101" y="197"/>
                      <a:pt x="104" y="197"/>
                    </a:cubicBezTo>
                    <a:cubicBezTo>
                      <a:pt x="106" y="197"/>
                      <a:pt x="106" y="197"/>
                      <a:pt x="108" y="196"/>
                    </a:cubicBezTo>
                    <a:cubicBezTo>
                      <a:pt x="110" y="196"/>
                      <a:pt x="111" y="196"/>
                      <a:pt x="113" y="196"/>
                    </a:cubicBezTo>
                    <a:cubicBezTo>
                      <a:pt x="115" y="196"/>
                      <a:pt x="117" y="196"/>
                      <a:pt x="119" y="196"/>
                    </a:cubicBezTo>
                    <a:cubicBezTo>
                      <a:pt x="124" y="197"/>
                      <a:pt x="127" y="196"/>
                      <a:pt x="132" y="197"/>
                    </a:cubicBezTo>
                    <a:cubicBezTo>
                      <a:pt x="133" y="197"/>
                      <a:pt x="134" y="197"/>
                      <a:pt x="135" y="198"/>
                    </a:cubicBezTo>
                    <a:cubicBezTo>
                      <a:pt x="137" y="198"/>
                      <a:pt x="138" y="198"/>
                      <a:pt x="140" y="198"/>
                    </a:cubicBezTo>
                    <a:cubicBezTo>
                      <a:pt x="143" y="199"/>
                      <a:pt x="145" y="199"/>
                      <a:pt x="149" y="200"/>
                    </a:cubicBezTo>
                    <a:cubicBezTo>
                      <a:pt x="153" y="201"/>
                      <a:pt x="155" y="201"/>
                      <a:pt x="160" y="201"/>
                    </a:cubicBezTo>
                    <a:cubicBezTo>
                      <a:pt x="161" y="201"/>
                      <a:pt x="162" y="200"/>
                      <a:pt x="162" y="199"/>
                    </a:cubicBezTo>
                    <a:cubicBezTo>
                      <a:pt x="165" y="196"/>
                      <a:pt x="166" y="193"/>
                      <a:pt x="169" y="190"/>
                    </a:cubicBezTo>
                    <a:cubicBezTo>
                      <a:pt x="173" y="187"/>
                      <a:pt x="174" y="185"/>
                      <a:pt x="178" y="182"/>
                    </a:cubicBezTo>
                    <a:cubicBezTo>
                      <a:pt x="179" y="181"/>
                      <a:pt x="179" y="180"/>
                      <a:pt x="181" y="179"/>
                    </a:cubicBezTo>
                    <a:cubicBezTo>
                      <a:pt x="185" y="177"/>
                      <a:pt x="187" y="177"/>
                      <a:pt x="192" y="177"/>
                    </a:cubicBezTo>
                    <a:cubicBezTo>
                      <a:pt x="197" y="176"/>
                      <a:pt x="200" y="175"/>
                      <a:pt x="205" y="175"/>
                    </a:cubicBezTo>
                    <a:cubicBezTo>
                      <a:pt x="207" y="175"/>
                      <a:pt x="209" y="175"/>
                      <a:pt x="211" y="175"/>
                    </a:cubicBezTo>
                    <a:cubicBezTo>
                      <a:pt x="216" y="175"/>
                      <a:pt x="218" y="178"/>
                      <a:pt x="222" y="178"/>
                    </a:cubicBezTo>
                    <a:cubicBezTo>
                      <a:pt x="226" y="178"/>
                      <a:pt x="228" y="178"/>
                      <a:pt x="232" y="179"/>
                    </a:cubicBezTo>
                    <a:cubicBezTo>
                      <a:pt x="232" y="179"/>
                      <a:pt x="233" y="180"/>
                      <a:pt x="234" y="180"/>
                    </a:cubicBezTo>
                    <a:cubicBezTo>
                      <a:pt x="235" y="181"/>
                      <a:pt x="236" y="182"/>
                      <a:pt x="238" y="183"/>
                    </a:cubicBezTo>
                    <a:cubicBezTo>
                      <a:pt x="238" y="183"/>
                      <a:pt x="239" y="183"/>
                      <a:pt x="240" y="183"/>
                    </a:cubicBezTo>
                    <a:cubicBezTo>
                      <a:pt x="241" y="183"/>
                      <a:pt x="242" y="184"/>
                      <a:pt x="243" y="184"/>
                    </a:cubicBezTo>
                    <a:cubicBezTo>
                      <a:pt x="245" y="184"/>
                      <a:pt x="247" y="184"/>
                      <a:pt x="249" y="183"/>
                    </a:cubicBezTo>
                    <a:cubicBezTo>
                      <a:pt x="250" y="183"/>
                      <a:pt x="251" y="182"/>
                      <a:pt x="252" y="182"/>
                    </a:cubicBezTo>
                    <a:cubicBezTo>
                      <a:pt x="254" y="182"/>
                      <a:pt x="255" y="182"/>
                      <a:pt x="257" y="182"/>
                    </a:cubicBezTo>
                    <a:cubicBezTo>
                      <a:pt x="257" y="180"/>
                      <a:pt x="257" y="180"/>
                      <a:pt x="257" y="180"/>
                    </a:cubicBezTo>
                    <a:cubicBezTo>
                      <a:pt x="257" y="178"/>
                      <a:pt x="257" y="176"/>
                      <a:pt x="256" y="173"/>
                    </a:cubicBezTo>
                    <a:cubicBezTo>
                      <a:pt x="256" y="170"/>
                      <a:pt x="256" y="168"/>
                      <a:pt x="255" y="165"/>
                    </a:cubicBezTo>
                    <a:cubicBezTo>
                      <a:pt x="255" y="163"/>
                      <a:pt x="253" y="161"/>
                      <a:pt x="253" y="159"/>
                    </a:cubicBezTo>
                    <a:cubicBezTo>
                      <a:pt x="253" y="158"/>
                      <a:pt x="253" y="158"/>
                      <a:pt x="254" y="157"/>
                    </a:cubicBezTo>
                    <a:cubicBezTo>
                      <a:pt x="254" y="156"/>
                      <a:pt x="255" y="156"/>
                      <a:pt x="257" y="156"/>
                    </a:cubicBezTo>
                    <a:cubicBezTo>
                      <a:pt x="257" y="156"/>
                      <a:pt x="257" y="156"/>
                      <a:pt x="257" y="156"/>
                    </a:cubicBezTo>
                    <a:cubicBezTo>
                      <a:pt x="258" y="156"/>
                      <a:pt x="259" y="156"/>
                      <a:pt x="260" y="156"/>
                    </a:cubicBezTo>
                    <a:cubicBezTo>
                      <a:pt x="262" y="154"/>
                      <a:pt x="261" y="152"/>
                      <a:pt x="261" y="150"/>
                    </a:cubicBezTo>
                    <a:cubicBezTo>
                      <a:pt x="261" y="149"/>
                      <a:pt x="261" y="148"/>
                      <a:pt x="260" y="147"/>
                    </a:cubicBezTo>
                    <a:cubicBezTo>
                      <a:pt x="259" y="149"/>
                      <a:pt x="258" y="151"/>
                      <a:pt x="258" y="153"/>
                    </a:cubicBezTo>
                    <a:cubicBezTo>
                      <a:pt x="257" y="153"/>
                      <a:pt x="257" y="153"/>
                      <a:pt x="257" y="153"/>
                    </a:cubicBezTo>
                    <a:cubicBezTo>
                      <a:pt x="257" y="150"/>
                      <a:pt x="256" y="149"/>
                      <a:pt x="255" y="147"/>
                    </a:cubicBezTo>
                    <a:cubicBezTo>
                      <a:pt x="257" y="146"/>
                      <a:pt x="257" y="145"/>
                      <a:pt x="259" y="144"/>
                    </a:cubicBezTo>
                    <a:cubicBezTo>
                      <a:pt x="259" y="143"/>
                      <a:pt x="259" y="143"/>
                      <a:pt x="259" y="143"/>
                    </a:cubicBezTo>
                    <a:cubicBezTo>
                      <a:pt x="257" y="143"/>
                      <a:pt x="256" y="142"/>
                      <a:pt x="254" y="142"/>
                    </a:cubicBezTo>
                    <a:cubicBezTo>
                      <a:pt x="254" y="141"/>
                      <a:pt x="254" y="141"/>
                      <a:pt x="254" y="141"/>
                    </a:cubicBezTo>
                    <a:cubicBezTo>
                      <a:pt x="256" y="140"/>
                      <a:pt x="256" y="139"/>
                      <a:pt x="256" y="138"/>
                    </a:cubicBezTo>
                    <a:cubicBezTo>
                      <a:pt x="256" y="136"/>
                      <a:pt x="256" y="135"/>
                      <a:pt x="256" y="134"/>
                    </a:cubicBezTo>
                    <a:cubicBezTo>
                      <a:pt x="256" y="133"/>
                      <a:pt x="256" y="132"/>
                      <a:pt x="256" y="130"/>
                    </a:cubicBezTo>
                    <a:cubicBezTo>
                      <a:pt x="256" y="130"/>
                      <a:pt x="257" y="130"/>
                      <a:pt x="257" y="130"/>
                    </a:cubicBezTo>
                    <a:cubicBezTo>
                      <a:pt x="257" y="130"/>
                      <a:pt x="257" y="131"/>
                      <a:pt x="258" y="131"/>
                    </a:cubicBezTo>
                    <a:cubicBezTo>
                      <a:pt x="264" y="131"/>
                      <a:pt x="264" y="131"/>
                      <a:pt x="264" y="131"/>
                    </a:cubicBezTo>
                    <a:cubicBezTo>
                      <a:pt x="264" y="132"/>
                      <a:pt x="264" y="132"/>
                      <a:pt x="264" y="132"/>
                    </a:cubicBezTo>
                    <a:cubicBezTo>
                      <a:pt x="264" y="134"/>
                      <a:pt x="262" y="134"/>
                      <a:pt x="262" y="135"/>
                    </a:cubicBezTo>
                    <a:cubicBezTo>
                      <a:pt x="262" y="136"/>
                      <a:pt x="263" y="136"/>
                      <a:pt x="263" y="136"/>
                    </a:cubicBezTo>
                    <a:cubicBezTo>
                      <a:pt x="264" y="136"/>
                      <a:pt x="264" y="136"/>
                      <a:pt x="264" y="136"/>
                    </a:cubicBezTo>
                    <a:cubicBezTo>
                      <a:pt x="266" y="136"/>
                      <a:pt x="264" y="140"/>
                      <a:pt x="266" y="140"/>
                    </a:cubicBezTo>
                    <a:cubicBezTo>
                      <a:pt x="267" y="140"/>
                      <a:pt x="267" y="139"/>
                      <a:pt x="268" y="139"/>
                    </a:cubicBezTo>
                    <a:cubicBezTo>
                      <a:pt x="271" y="139"/>
                      <a:pt x="272" y="137"/>
                      <a:pt x="275" y="137"/>
                    </a:cubicBezTo>
                    <a:cubicBezTo>
                      <a:pt x="278" y="136"/>
                      <a:pt x="282" y="135"/>
                      <a:pt x="282" y="131"/>
                    </a:cubicBezTo>
                    <a:cubicBezTo>
                      <a:pt x="282" y="129"/>
                      <a:pt x="281" y="128"/>
                      <a:pt x="281" y="126"/>
                    </a:cubicBezTo>
                    <a:cubicBezTo>
                      <a:pt x="281" y="124"/>
                      <a:pt x="282" y="124"/>
                      <a:pt x="282" y="123"/>
                    </a:cubicBezTo>
                    <a:cubicBezTo>
                      <a:pt x="282" y="113"/>
                      <a:pt x="282" y="113"/>
                      <a:pt x="282" y="113"/>
                    </a:cubicBezTo>
                    <a:cubicBezTo>
                      <a:pt x="278" y="111"/>
                      <a:pt x="276" y="109"/>
                      <a:pt x="272" y="109"/>
                    </a:cubicBezTo>
                    <a:cubicBezTo>
                      <a:pt x="270" y="109"/>
                      <a:pt x="269" y="110"/>
                      <a:pt x="268" y="111"/>
                    </a:cubicBezTo>
                    <a:cubicBezTo>
                      <a:pt x="267" y="111"/>
                      <a:pt x="267" y="111"/>
                      <a:pt x="267" y="111"/>
                    </a:cubicBezTo>
                    <a:cubicBezTo>
                      <a:pt x="265" y="111"/>
                      <a:pt x="265" y="109"/>
                      <a:pt x="264" y="109"/>
                    </a:cubicBezTo>
                    <a:cubicBezTo>
                      <a:pt x="262" y="109"/>
                      <a:pt x="261" y="110"/>
                      <a:pt x="261" y="111"/>
                    </a:cubicBezTo>
                    <a:cubicBezTo>
                      <a:pt x="259" y="112"/>
                      <a:pt x="258" y="113"/>
                      <a:pt x="257" y="115"/>
                    </a:cubicBezTo>
                    <a:cubicBezTo>
                      <a:pt x="256" y="116"/>
                      <a:pt x="256" y="116"/>
                      <a:pt x="255" y="117"/>
                    </a:cubicBezTo>
                    <a:cubicBezTo>
                      <a:pt x="254" y="118"/>
                      <a:pt x="252" y="117"/>
                      <a:pt x="250" y="118"/>
                    </a:cubicBezTo>
                    <a:cubicBezTo>
                      <a:pt x="249" y="119"/>
                      <a:pt x="249" y="119"/>
                      <a:pt x="249" y="121"/>
                    </a:cubicBezTo>
                    <a:cubicBezTo>
                      <a:pt x="249" y="121"/>
                      <a:pt x="248" y="122"/>
                      <a:pt x="248" y="122"/>
                    </a:cubicBezTo>
                    <a:cubicBezTo>
                      <a:pt x="244" y="122"/>
                      <a:pt x="243" y="119"/>
                      <a:pt x="241" y="117"/>
                    </a:cubicBezTo>
                    <a:cubicBezTo>
                      <a:pt x="240" y="117"/>
                      <a:pt x="239" y="116"/>
                      <a:pt x="238" y="115"/>
                    </a:cubicBezTo>
                    <a:cubicBezTo>
                      <a:pt x="238" y="115"/>
                      <a:pt x="238" y="114"/>
                      <a:pt x="237" y="114"/>
                    </a:cubicBezTo>
                    <a:cubicBezTo>
                      <a:pt x="237" y="114"/>
                      <a:pt x="236" y="114"/>
                      <a:pt x="235" y="114"/>
                    </a:cubicBezTo>
                    <a:cubicBezTo>
                      <a:pt x="235" y="114"/>
                      <a:pt x="235" y="113"/>
                      <a:pt x="234" y="113"/>
                    </a:cubicBezTo>
                    <a:cubicBezTo>
                      <a:pt x="231" y="110"/>
                      <a:pt x="231" y="107"/>
                      <a:pt x="231" y="103"/>
                    </a:cubicBezTo>
                    <a:cubicBezTo>
                      <a:pt x="230" y="98"/>
                      <a:pt x="229" y="96"/>
                      <a:pt x="229" y="92"/>
                    </a:cubicBezTo>
                    <a:cubicBezTo>
                      <a:pt x="229" y="90"/>
                      <a:pt x="229" y="89"/>
                      <a:pt x="229" y="87"/>
                    </a:cubicBezTo>
                    <a:cubicBezTo>
                      <a:pt x="229" y="84"/>
                      <a:pt x="228" y="83"/>
                      <a:pt x="228" y="80"/>
                    </a:cubicBezTo>
                    <a:cubicBezTo>
                      <a:pt x="228" y="77"/>
                      <a:pt x="229" y="76"/>
                      <a:pt x="230" y="74"/>
                    </a:cubicBezTo>
                    <a:cubicBezTo>
                      <a:pt x="231" y="74"/>
                      <a:pt x="231" y="73"/>
                      <a:pt x="231" y="72"/>
                    </a:cubicBezTo>
                    <a:cubicBezTo>
                      <a:pt x="231" y="70"/>
                      <a:pt x="231" y="69"/>
                      <a:pt x="231" y="67"/>
                    </a:cubicBezTo>
                    <a:cubicBezTo>
                      <a:pt x="231" y="64"/>
                      <a:pt x="231" y="62"/>
                      <a:pt x="229" y="59"/>
                    </a:cubicBezTo>
                    <a:cubicBezTo>
                      <a:pt x="228" y="58"/>
                      <a:pt x="227" y="57"/>
                      <a:pt x="227" y="56"/>
                    </a:cubicBezTo>
                    <a:cubicBezTo>
                      <a:pt x="226" y="54"/>
                      <a:pt x="226" y="52"/>
                      <a:pt x="226" y="50"/>
                    </a:cubicBezTo>
                    <a:cubicBezTo>
                      <a:pt x="224" y="47"/>
                      <a:pt x="223" y="45"/>
                      <a:pt x="220" y="44"/>
                    </a:cubicBezTo>
                    <a:cubicBezTo>
                      <a:pt x="219" y="43"/>
                      <a:pt x="219" y="42"/>
                      <a:pt x="217" y="42"/>
                    </a:cubicBezTo>
                    <a:cubicBezTo>
                      <a:pt x="216" y="42"/>
                      <a:pt x="214" y="42"/>
                      <a:pt x="213" y="41"/>
                    </a:cubicBezTo>
                    <a:cubicBezTo>
                      <a:pt x="213" y="40"/>
                      <a:pt x="213" y="40"/>
                      <a:pt x="213" y="39"/>
                    </a:cubicBezTo>
                    <a:cubicBezTo>
                      <a:pt x="212" y="38"/>
                      <a:pt x="212" y="38"/>
                      <a:pt x="211" y="37"/>
                    </a:cubicBezTo>
                    <a:cubicBezTo>
                      <a:pt x="209" y="34"/>
                      <a:pt x="208" y="32"/>
                      <a:pt x="206" y="29"/>
                    </a:cubicBezTo>
                    <a:cubicBezTo>
                      <a:pt x="205" y="27"/>
                      <a:pt x="204" y="25"/>
                      <a:pt x="202" y="23"/>
                    </a:cubicBezTo>
                    <a:cubicBezTo>
                      <a:pt x="201" y="22"/>
                      <a:pt x="199" y="22"/>
                      <a:pt x="199" y="21"/>
                    </a:cubicBezTo>
                    <a:cubicBezTo>
                      <a:pt x="198" y="19"/>
                      <a:pt x="199" y="18"/>
                      <a:pt x="199" y="16"/>
                    </a:cubicBezTo>
                    <a:cubicBezTo>
                      <a:pt x="198" y="14"/>
                      <a:pt x="198" y="13"/>
                      <a:pt x="196" y="12"/>
                    </a:cubicBezTo>
                    <a:cubicBezTo>
                      <a:pt x="195" y="12"/>
                      <a:pt x="195" y="12"/>
                      <a:pt x="194" y="11"/>
                    </a:cubicBezTo>
                    <a:cubicBezTo>
                      <a:pt x="193" y="9"/>
                      <a:pt x="193" y="7"/>
                      <a:pt x="193" y="4"/>
                    </a:cubicBezTo>
                    <a:cubicBezTo>
                      <a:pt x="192" y="4"/>
                      <a:pt x="191" y="5"/>
                      <a:pt x="190" y="4"/>
                    </a:cubicBezTo>
                    <a:cubicBezTo>
                      <a:pt x="190" y="4"/>
                      <a:pt x="191" y="4"/>
                      <a:pt x="191" y="4"/>
                    </a:cubicBezTo>
                    <a:cubicBezTo>
                      <a:pt x="191" y="4"/>
                      <a:pt x="191" y="3"/>
                      <a:pt x="191" y="2"/>
                    </a:cubicBezTo>
                    <a:cubicBezTo>
                      <a:pt x="191" y="1"/>
                      <a:pt x="190" y="1"/>
                      <a:pt x="188" y="0"/>
                    </a:cubicBezTo>
                    <a:cubicBezTo>
                      <a:pt x="185" y="0"/>
                      <a:pt x="184" y="0"/>
                      <a:pt x="181" y="0"/>
                    </a:cubicBezTo>
                    <a:cubicBezTo>
                      <a:pt x="179" y="0"/>
                      <a:pt x="178" y="1"/>
                      <a:pt x="176" y="2"/>
                    </a:cubicBezTo>
                    <a:cubicBezTo>
                      <a:pt x="176" y="2"/>
                      <a:pt x="176" y="3"/>
                      <a:pt x="176" y="3"/>
                    </a:cubicBezTo>
                    <a:cubicBezTo>
                      <a:pt x="175" y="3"/>
                      <a:pt x="174" y="3"/>
                      <a:pt x="173" y="3"/>
                    </a:cubicBezTo>
                    <a:cubicBezTo>
                      <a:pt x="172" y="3"/>
                      <a:pt x="171" y="4"/>
                      <a:pt x="170" y="4"/>
                    </a:cubicBezTo>
                    <a:cubicBezTo>
                      <a:pt x="168" y="4"/>
                      <a:pt x="166" y="2"/>
                      <a:pt x="164" y="2"/>
                    </a:cubicBezTo>
                    <a:cubicBezTo>
                      <a:pt x="162" y="2"/>
                      <a:pt x="162" y="3"/>
                      <a:pt x="162" y="5"/>
                    </a:cubicBezTo>
                    <a:cubicBezTo>
                      <a:pt x="161" y="6"/>
                      <a:pt x="160" y="6"/>
                      <a:pt x="160" y="7"/>
                    </a:cubicBezTo>
                    <a:cubicBezTo>
                      <a:pt x="158" y="10"/>
                      <a:pt x="157" y="12"/>
                      <a:pt x="155" y="13"/>
                    </a:cubicBezTo>
                    <a:cubicBezTo>
                      <a:pt x="153" y="13"/>
                      <a:pt x="152" y="14"/>
                      <a:pt x="150" y="14"/>
                    </a:cubicBezTo>
                    <a:cubicBezTo>
                      <a:pt x="147" y="15"/>
                      <a:pt x="145" y="15"/>
                      <a:pt x="143" y="16"/>
                    </a:cubicBezTo>
                    <a:cubicBezTo>
                      <a:pt x="141" y="17"/>
                      <a:pt x="141" y="18"/>
                      <a:pt x="139" y="18"/>
                    </a:cubicBezTo>
                    <a:cubicBezTo>
                      <a:pt x="139" y="19"/>
                      <a:pt x="138" y="19"/>
                      <a:pt x="137" y="19"/>
                    </a:cubicBezTo>
                    <a:cubicBezTo>
                      <a:pt x="136" y="20"/>
                      <a:pt x="135" y="21"/>
                      <a:pt x="134" y="21"/>
                    </a:cubicBezTo>
                    <a:cubicBezTo>
                      <a:pt x="133" y="22"/>
                      <a:pt x="133" y="22"/>
                      <a:pt x="132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0" y="23"/>
                      <a:pt x="129" y="23"/>
                      <a:pt x="128" y="23"/>
                    </a:cubicBezTo>
                    <a:cubicBezTo>
                      <a:pt x="125" y="23"/>
                      <a:pt x="124" y="21"/>
                      <a:pt x="122" y="19"/>
                    </a:cubicBezTo>
                    <a:cubicBezTo>
                      <a:pt x="121" y="18"/>
                      <a:pt x="121" y="17"/>
                      <a:pt x="120" y="16"/>
                    </a:cubicBezTo>
                    <a:cubicBezTo>
                      <a:pt x="119" y="15"/>
                      <a:pt x="119" y="14"/>
                      <a:pt x="118" y="14"/>
                    </a:cubicBezTo>
                    <a:cubicBezTo>
                      <a:pt x="117" y="14"/>
                      <a:pt x="117" y="14"/>
                      <a:pt x="117" y="15"/>
                    </a:cubicBezTo>
                    <a:cubicBezTo>
                      <a:pt x="116" y="15"/>
                      <a:pt x="116" y="15"/>
                      <a:pt x="115" y="15"/>
                    </a:cubicBezTo>
                    <a:cubicBezTo>
                      <a:pt x="114" y="16"/>
                      <a:pt x="113" y="16"/>
                      <a:pt x="111" y="16"/>
                    </a:cubicBezTo>
                    <a:cubicBezTo>
                      <a:pt x="110" y="16"/>
                      <a:pt x="110" y="16"/>
                      <a:pt x="109" y="16"/>
                    </a:cubicBezTo>
                    <a:cubicBezTo>
                      <a:pt x="108" y="16"/>
                      <a:pt x="108" y="16"/>
                      <a:pt x="107" y="16"/>
                    </a:cubicBezTo>
                    <a:cubicBezTo>
                      <a:pt x="105" y="16"/>
                      <a:pt x="103" y="15"/>
                      <a:pt x="101" y="15"/>
                    </a:cubicBezTo>
                    <a:cubicBezTo>
                      <a:pt x="97" y="15"/>
                      <a:pt x="94" y="17"/>
                      <a:pt x="90" y="17"/>
                    </a:cubicBezTo>
                    <a:cubicBezTo>
                      <a:pt x="89" y="17"/>
                      <a:pt x="88" y="16"/>
                      <a:pt x="88" y="16"/>
                    </a:cubicBezTo>
                    <a:cubicBezTo>
                      <a:pt x="87" y="16"/>
                      <a:pt x="87" y="15"/>
                      <a:pt x="86" y="15"/>
                    </a:cubicBezTo>
                    <a:cubicBezTo>
                      <a:pt x="86" y="14"/>
                      <a:pt x="85" y="14"/>
                      <a:pt x="84" y="14"/>
                    </a:cubicBezTo>
                    <a:cubicBezTo>
                      <a:pt x="82" y="14"/>
                      <a:pt x="81" y="14"/>
                      <a:pt x="80" y="14"/>
                    </a:cubicBezTo>
                    <a:cubicBezTo>
                      <a:pt x="79" y="14"/>
                      <a:pt x="78" y="14"/>
                      <a:pt x="77" y="14"/>
                    </a:cubicBezTo>
                    <a:cubicBezTo>
                      <a:pt x="77" y="14"/>
                      <a:pt x="77" y="14"/>
                      <a:pt x="76" y="14"/>
                    </a:cubicBezTo>
                    <a:cubicBezTo>
                      <a:pt x="76" y="14"/>
                      <a:pt x="76" y="14"/>
                      <a:pt x="75" y="14"/>
                    </a:cubicBezTo>
                    <a:cubicBezTo>
                      <a:pt x="75" y="14"/>
                      <a:pt x="74" y="14"/>
                      <a:pt x="74" y="14"/>
                    </a:cubicBezTo>
                    <a:cubicBezTo>
                      <a:pt x="72" y="14"/>
                      <a:pt x="72" y="14"/>
                      <a:pt x="71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7" name="Freeform 135">
                <a:extLst>
                  <a:ext uri="{FF2B5EF4-FFF2-40B4-BE49-F238E27FC236}">
                    <a16:creationId xmlns:a16="http://schemas.microsoft.com/office/drawing/2014/main" xmlns="" id="{506CD103-95F7-4015-9A19-F325739C8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9070" y="3347159"/>
                <a:ext cx="510036" cy="328093"/>
              </a:xfrm>
              <a:custGeom>
                <a:avLst/>
                <a:gdLst>
                  <a:gd name="T0" fmla="*/ 146 w 202"/>
                  <a:gd name="T1" fmla="*/ 94 h 130"/>
                  <a:gd name="T2" fmla="*/ 155 w 202"/>
                  <a:gd name="T3" fmla="*/ 84 h 130"/>
                  <a:gd name="T4" fmla="*/ 164 w 202"/>
                  <a:gd name="T5" fmla="*/ 94 h 130"/>
                  <a:gd name="T6" fmla="*/ 174 w 202"/>
                  <a:gd name="T7" fmla="*/ 96 h 130"/>
                  <a:gd name="T8" fmla="*/ 186 w 202"/>
                  <a:gd name="T9" fmla="*/ 88 h 130"/>
                  <a:gd name="T10" fmla="*/ 173 w 202"/>
                  <a:gd name="T11" fmla="*/ 72 h 130"/>
                  <a:gd name="T12" fmla="*/ 163 w 202"/>
                  <a:gd name="T13" fmla="*/ 73 h 130"/>
                  <a:gd name="T14" fmla="*/ 174 w 202"/>
                  <a:gd name="T15" fmla="*/ 59 h 130"/>
                  <a:gd name="T16" fmla="*/ 175 w 202"/>
                  <a:gd name="T17" fmla="*/ 40 h 130"/>
                  <a:gd name="T18" fmla="*/ 180 w 202"/>
                  <a:gd name="T19" fmla="*/ 35 h 130"/>
                  <a:gd name="T20" fmla="*/ 188 w 202"/>
                  <a:gd name="T21" fmla="*/ 31 h 130"/>
                  <a:gd name="T22" fmla="*/ 198 w 202"/>
                  <a:gd name="T23" fmla="*/ 28 h 130"/>
                  <a:gd name="T24" fmla="*/ 201 w 202"/>
                  <a:gd name="T25" fmla="*/ 22 h 130"/>
                  <a:gd name="T26" fmla="*/ 198 w 202"/>
                  <a:gd name="T27" fmla="*/ 7 h 130"/>
                  <a:gd name="T28" fmla="*/ 184 w 202"/>
                  <a:gd name="T29" fmla="*/ 9 h 130"/>
                  <a:gd name="T30" fmla="*/ 175 w 202"/>
                  <a:gd name="T31" fmla="*/ 5 h 130"/>
                  <a:gd name="T32" fmla="*/ 152 w 202"/>
                  <a:gd name="T33" fmla="*/ 0 h 130"/>
                  <a:gd name="T34" fmla="*/ 122 w 202"/>
                  <a:gd name="T35" fmla="*/ 4 h 130"/>
                  <a:gd name="T36" fmla="*/ 103 w 202"/>
                  <a:gd name="T37" fmla="*/ 24 h 130"/>
                  <a:gd name="T38" fmla="*/ 81 w 202"/>
                  <a:gd name="T39" fmla="*/ 23 h 130"/>
                  <a:gd name="T40" fmla="*/ 60 w 202"/>
                  <a:gd name="T41" fmla="*/ 21 h 130"/>
                  <a:gd name="T42" fmla="*/ 45 w 202"/>
                  <a:gd name="T43" fmla="*/ 22 h 130"/>
                  <a:gd name="T44" fmla="*/ 21 w 202"/>
                  <a:gd name="T45" fmla="*/ 21 h 130"/>
                  <a:gd name="T46" fmla="*/ 17 w 202"/>
                  <a:gd name="T47" fmla="*/ 19 h 130"/>
                  <a:gd name="T48" fmla="*/ 17 w 202"/>
                  <a:gd name="T49" fmla="*/ 14 h 130"/>
                  <a:gd name="T50" fmla="*/ 11 w 202"/>
                  <a:gd name="T51" fmla="*/ 7 h 130"/>
                  <a:gd name="T52" fmla="*/ 0 w 202"/>
                  <a:gd name="T53" fmla="*/ 23 h 130"/>
                  <a:gd name="T54" fmla="*/ 3 w 202"/>
                  <a:gd name="T55" fmla="*/ 31 h 130"/>
                  <a:gd name="T56" fmla="*/ 11 w 202"/>
                  <a:gd name="T57" fmla="*/ 45 h 130"/>
                  <a:gd name="T58" fmla="*/ 21 w 202"/>
                  <a:gd name="T59" fmla="*/ 51 h 130"/>
                  <a:gd name="T60" fmla="*/ 17 w 202"/>
                  <a:gd name="T61" fmla="*/ 55 h 130"/>
                  <a:gd name="T62" fmla="*/ 6 w 202"/>
                  <a:gd name="T63" fmla="*/ 62 h 130"/>
                  <a:gd name="T64" fmla="*/ 4 w 202"/>
                  <a:gd name="T65" fmla="*/ 65 h 130"/>
                  <a:gd name="T66" fmla="*/ 3 w 202"/>
                  <a:gd name="T67" fmla="*/ 76 h 130"/>
                  <a:gd name="T68" fmla="*/ 4 w 202"/>
                  <a:gd name="T69" fmla="*/ 91 h 130"/>
                  <a:gd name="T70" fmla="*/ 16 w 202"/>
                  <a:gd name="T71" fmla="*/ 100 h 130"/>
                  <a:gd name="T72" fmla="*/ 20 w 202"/>
                  <a:gd name="T73" fmla="*/ 102 h 130"/>
                  <a:gd name="T74" fmla="*/ 21 w 202"/>
                  <a:gd name="T75" fmla="*/ 110 h 130"/>
                  <a:gd name="T76" fmla="*/ 23 w 202"/>
                  <a:gd name="T77" fmla="*/ 117 h 130"/>
                  <a:gd name="T78" fmla="*/ 22 w 202"/>
                  <a:gd name="T79" fmla="*/ 123 h 130"/>
                  <a:gd name="T80" fmla="*/ 20 w 202"/>
                  <a:gd name="T81" fmla="*/ 129 h 130"/>
                  <a:gd name="T82" fmla="*/ 27 w 202"/>
                  <a:gd name="T83" fmla="*/ 128 h 130"/>
                  <a:gd name="T84" fmla="*/ 34 w 202"/>
                  <a:gd name="T85" fmla="*/ 126 h 130"/>
                  <a:gd name="T86" fmla="*/ 41 w 202"/>
                  <a:gd name="T87" fmla="*/ 125 h 130"/>
                  <a:gd name="T88" fmla="*/ 53 w 202"/>
                  <a:gd name="T89" fmla="*/ 119 h 130"/>
                  <a:gd name="T90" fmla="*/ 56 w 202"/>
                  <a:gd name="T91" fmla="*/ 114 h 130"/>
                  <a:gd name="T92" fmla="*/ 68 w 202"/>
                  <a:gd name="T93" fmla="*/ 111 h 130"/>
                  <a:gd name="T94" fmla="*/ 71 w 202"/>
                  <a:gd name="T95" fmla="*/ 115 h 130"/>
                  <a:gd name="T96" fmla="*/ 87 w 202"/>
                  <a:gd name="T97" fmla="*/ 116 h 130"/>
                  <a:gd name="T98" fmla="*/ 93 w 202"/>
                  <a:gd name="T99" fmla="*/ 119 h 130"/>
                  <a:gd name="T100" fmla="*/ 102 w 202"/>
                  <a:gd name="T101" fmla="*/ 121 h 130"/>
                  <a:gd name="T102" fmla="*/ 107 w 202"/>
                  <a:gd name="T103" fmla="*/ 118 h 130"/>
                  <a:gd name="T104" fmla="*/ 117 w 202"/>
                  <a:gd name="T105" fmla="*/ 116 h 130"/>
                  <a:gd name="T106" fmla="*/ 119 w 202"/>
                  <a:gd name="T107" fmla="*/ 10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2" h="130">
                    <a:moveTo>
                      <a:pt x="133" y="101"/>
                    </a:moveTo>
                    <a:cubicBezTo>
                      <a:pt x="135" y="98"/>
                      <a:pt x="138" y="96"/>
                      <a:pt x="142" y="95"/>
                    </a:cubicBezTo>
                    <a:cubicBezTo>
                      <a:pt x="144" y="95"/>
                      <a:pt x="145" y="95"/>
                      <a:pt x="146" y="94"/>
                    </a:cubicBezTo>
                    <a:cubicBezTo>
                      <a:pt x="148" y="93"/>
                      <a:pt x="148" y="91"/>
                      <a:pt x="150" y="89"/>
                    </a:cubicBezTo>
                    <a:cubicBezTo>
                      <a:pt x="150" y="88"/>
                      <a:pt x="151" y="88"/>
                      <a:pt x="151" y="87"/>
                    </a:cubicBezTo>
                    <a:cubicBezTo>
                      <a:pt x="152" y="86"/>
                      <a:pt x="153" y="84"/>
                      <a:pt x="155" y="84"/>
                    </a:cubicBezTo>
                    <a:cubicBezTo>
                      <a:pt x="157" y="84"/>
                      <a:pt x="158" y="86"/>
                      <a:pt x="159" y="88"/>
                    </a:cubicBezTo>
                    <a:cubicBezTo>
                      <a:pt x="160" y="90"/>
                      <a:pt x="161" y="90"/>
                      <a:pt x="163" y="92"/>
                    </a:cubicBezTo>
                    <a:cubicBezTo>
                      <a:pt x="163" y="93"/>
                      <a:pt x="163" y="93"/>
                      <a:pt x="164" y="94"/>
                    </a:cubicBezTo>
                    <a:cubicBezTo>
                      <a:pt x="165" y="94"/>
                      <a:pt x="165" y="94"/>
                      <a:pt x="166" y="95"/>
                    </a:cubicBezTo>
                    <a:cubicBezTo>
                      <a:pt x="167" y="96"/>
                      <a:pt x="168" y="97"/>
                      <a:pt x="169" y="97"/>
                    </a:cubicBezTo>
                    <a:cubicBezTo>
                      <a:pt x="171" y="97"/>
                      <a:pt x="173" y="96"/>
                      <a:pt x="174" y="96"/>
                    </a:cubicBezTo>
                    <a:cubicBezTo>
                      <a:pt x="176" y="95"/>
                      <a:pt x="177" y="95"/>
                      <a:pt x="177" y="94"/>
                    </a:cubicBezTo>
                    <a:cubicBezTo>
                      <a:pt x="178" y="93"/>
                      <a:pt x="178" y="93"/>
                      <a:pt x="178" y="92"/>
                    </a:cubicBezTo>
                    <a:cubicBezTo>
                      <a:pt x="180" y="90"/>
                      <a:pt x="183" y="89"/>
                      <a:pt x="186" y="88"/>
                    </a:cubicBezTo>
                    <a:cubicBezTo>
                      <a:pt x="185" y="86"/>
                      <a:pt x="183" y="84"/>
                      <a:pt x="181" y="82"/>
                    </a:cubicBezTo>
                    <a:cubicBezTo>
                      <a:pt x="180" y="79"/>
                      <a:pt x="179" y="77"/>
                      <a:pt x="177" y="75"/>
                    </a:cubicBezTo>
                    <a:cubicBezTo>
                      <a:pt x="175" y="74"/>
                      <a:pt x="174" y="73"/>
                      <a:pt x="173" y="72"/>
                    </a:cubicBezTo>
                    <a:cubicBezTo>
                      <a:pt x="172" y="71"/>
                      <a:pt x="172" y="70"/>
                      <a:pt x="171" y="70"/>
                    </a:cubicBezTo>
                    <a:cubicBezTo>
                      <a:pt x="170" y="70"/>
                      <a:pt x="169" y="71"/>
                      <a:pt x="168" y="72"/>
                    </a:cubicBezTo>
                    <a:cubicBezTo>
                      <a:pt x="166" y="72"/>
                      <a:pt x="165" y="72"/>
                      <a:pt x="163" y="73"/>
                    </a:cubicBezTo>
                    <a:cubicBezTo>
                      <a:pt x="164" y="72"/>
                      <a:pt x="166" y="71"/>
                      <a:pt x="166" y="69"/>
                    </a:cubicBezTo>
                    <a:cubicBezTo>
                      <a:pt x="167" y="68"/>
                      <a:pt x="167" y="67"/>
                      <a:pt x="168" y="65"/>
                    </a:cubicBezTo>
                    <a:cubicBezTo>
                      <a:pt x="170" y="62"/>
                      <a:pt x="173" y="62"/>
                      <a:pt x="174" y="59"/>
                    </a:cubicBezTo>
                    <a:cubicBezTo>
                      <a:pt x="176" y="57"/>
                      <a:pt x="175" y="55"/>
                      <a:pt x="175" y="53"/>
                    </a:cubicBezTo>
                    <a:cubicBezTo>
                      <a:pt x="175" y="50"/>
                      <a:pt x="176" y="49"/>
                      <a:pt x="176" y="46"/>
                    </a:cubicBezTo>
                    <a:cubicBezTo>
                      <a:pt x="175" y="40"/>
                      <a:pt x="175" y="40"/>
                      <a:pt x="175" y="40"/>
                    </a:cubicBezTo>
                    <a:cubicBezTo>
                      <a:pt x="175" y="39"/>
                      <a:pt x="176" y="39"/>
                      <a:pt x="177" y="37"/>
                    </a:cubicBezTo>
                    <a:cubicBezTo>
                      <a:pt x="178" y="37"/>
                      <a:pt x="179" y="36"/>
                      <a:pt x="179" y="36"/>
                    </a:cubicBezTo>
                    <a:cubicBezTo>
                      <a:pt x="180" y="35"/>
                      <a:pt x="180" y="35"/>
                      <a:pt x="180" y="35"/>
                    </a:cubicBezTo>
                    <a:cubicBezTo>
                      <a:pt x="181" y="34"/>
                      <a:pt x="182" y="34"/>
                      <a:pt x="182" y="34"/>
                    </a:cubicBezTo>
                    <a:cubicBezTo>
                      <a:pt x="183" y="33"/>
                      <a:pt x="183" y="32"/>
                      <a:pt x="184" y="32"/>
                    </a:cubicBezTo>
                    <a:cubicBezTo>
                      <a:pt x="185" y="30"/>
                      <a:pt x="186" y="31"/>
                      <a:pt x="188" y="31"/>
                    </a:cubicBezTo>
                    <a:cubicBezTo>
                      <a:pt x="190" y="30"/>
                      <a:pt x="191" y="29"/>
                      <a:pt x="194" y="29"/>
                    </a:cubicBezTo>
                    <a:cubicBezTo>
                      <a:pt x="195" y="29"/>
                      <a:pt x="195" y="30"/>
                      <a:pt x="196" y="30"/>
                    </a:cubicBezTo>
                    <a:cubicBezTo>
                      <a:pt x="197" y="30"/>
                      <a:pt x="197" y="29"/>
                      <a:pt x="198" y="28"/>
                    </a:cubicBezTo>
                    <a:cubicBezTo>
                      <a:pt x="198" y="27"/>
                      <a:pt x="199" y="27"/>
                      <a:pt x="200" y="26"/>
                    </a:cubicBezTo>
                    <a:cubicBezTo>
                      <a:pt x="201" y="26"/>
                      <a:pt x="202" y="25"/>
                      <a:pt x="202" y="24"/>
                    </a:cubicBezTo>
                    <a:cubicBezTo>
                      <a:pt x="202" y="23"/>
                      <a:pt x="201" y="23"/>
                      <a:pt x="201" y="22"/>
                    </a:cubicBezTo>
                    <a:cubicBezTo>
                      <a:pt x="200" y="21"/>
                      <a:pt x="200" y="20"/>
                      <a:pt x="199" y="19"/>
                    </a:cubicBezTo>
                    <a:cubicBezTo>
                      <a:pt x="198" y="16"/>
                      <a:pt x="198" y="14"/>
                      <a:pt x="198" y="11"/>
                    </a:cubicBezTo>
                    <a:cubicBezTo>
                      <a:pt x="198" y="7"/>
                      <a:pt x="198" y="7"/>
                      <a:pt x="198" y="7"/>
                    </a:cubicBezTo>
                    <a:cubicBezTo>
                      <a:pt x="196" y="7"/>
                      <a:pt x="195" y="7"/>
                      <a:pt x="193" y="7"/>
                    </a:cubicBezTo>
                    <a:cubicBezTo>
                      <a:pt x="192" y="7"/>
                      <a:pt x="191" y="8"/>
                      <a:pt x="190" y="8"/>
                    </a:cubicBezTo>
                    <a:cubicBezTo>
                      <a:pt x="188" y="9"/>
                      <a:pt x="186" y="9"/>
                      <a:pt x="184" y="9"/>
                    </a:cubicBezTo>
                    <a:cubicBezTo>
                      <a:pt x="183" y="9"/>
                      <a:pt x="182" y="8"/>
                      <a:pt x="181" y="8"/>
                    </a:cubicBezTo>
                    <a:cubicBezTo>
                      <a:pt x="180" y="8"/>
                      <a:pt x="179" y="8"/>
                      <a:pt x="179" y="8"/>
                    </a:cubicBezTo>
                    <a:cubicBezTo>
                      <a:pt x="177" y="7"/>
                      <a:pt x="176" y="6"/>
                      <a:pt x="175" y="5"/>
                    </a:cubicBezTo>
                    <a:cubicBezTo>
                      <a:pt x="174" y="5"/>
                      <a:pt x="173" y="4"/>
                      <a:pt x="173" y="4"/>
                    </a:cubicBezTo>
                    <a:cubicBezTo>
                      <a:pt x="169" y="3"/>
                      <a:pt x="167" y="3"/>
                      <a:pt x="163" y="3"/>
                    </a:cubicBezTo>
                    <a:cubicBezTo>
                      <a:pt x="159" y="3"/>
                      <a:pt x="157" y="0"/>
                      <a:pt x="152" y="0"/>
                    </a:cubicBezTo>
                    <a:cubicBezTo>
                      <a:pt x="150" y="0"/>
                      <a:pt x="148" y="0"/>
                      <a:pt x="146" y="0"/>
                    </a:cubicBezTo>
                    <a:cubicBezTo>
                      <a:pt x="141" y="0"/>
                      <a:pt x="138" y="1"/>
                      <a:pt x="133" y="2"/>
                    </a:cubicBezTo>
                    <a:cubicBezTo>
                      <a:pt x="128" y="2"/>
                      <a:pt x="126" y="2"/>
                      <a:pt x="122" y="4"/>
                    </a:cubicBezTo>
                    <a:cubicBezTo>
                      <a:pt x="120" y="5"/>
                      <a:pt x="120" y="6"/>
                      <a:pt x="119" y="7"/>
                    </a:cubicBezTo>
                    <a:cubicBezTo>
                      <a:pt x="115" y="10"/>
                      <a:pt x="114" y="12"/>
                      <a:pt x="110" y="15"/>
                    </a:cubicBezTo>
                    <a:cubicBezTo>
                      <a:pt x="107" y="18"/>
                      <a:pt x="106" y="21"/>
                      <a:pt x="103" y="24"/>
                    </a:cubicBezTo>
                    <a:cubicBezTo>
                      <a:pt x="103" y="25"/>
                      <a:pt x="102" y="26"/>
                      <a:pt x="101" y="26"/>
                    </a:cubicBezTo>
                    <a:cubicBezTo>
                      <a:pt x="96" y="26"/>
                      <a:pt x="94" y="26"/>
                      <a:pt x="90" y="25"/>
                    </a:cubicBezTo>
                    <a:cubicBezTo>
                      <a:pt x="86" y="24"/>
                      <a:pt x="84" y="24"/>
                      <a:pt x="81" y="23"/>
                    </a:cubicBezTo>
                    <a:cubicBezTo>
                      <a:pt x="79" y="23"/>
                      <a:pt x="78" y="23"/>
                      <a:pt x="76" y="23"/>
                    </a:cubicBezTo>
                    <a:cubicBezTo>
                      <a:pt x="75" y="22"/>
                      <a:pt x="74" y="22"/>
                      <a:pt x="73" y="22"/>
                    </a:cubicBezTo>
                    <a:cubicBezTo>
                      <a:pt x="68" y="21"/>
                      <a:pt x="65" y="22"/>
                      <a:pt x="60" y="21"/>
                    </a:cubicBezTo>
                    <a:cubicBezTo>
                      <a:pt x="58" y="21"/>
                      <a:pt x="56" y="21"/>
                      <a:pt x="54" y="21"/>
                    </a:cubicBezTo>
                    <a:cubicBezTo>
                      <a:pt x="52" y="21"/>
                      <a:pt x="51" y="21"/>
                      <a:pt x="49" y="21"/>
                    </a:cubicBezTo>
                    <a:cubicBezTo>
                      <a:pt x="47" y="22"/>
                      <a:pt x="47" y="22"/>
                      <a:pt x="45" y="22"/>
                    </a:cubicBezTo>
                    <a:cubicBezTo>
                      <a:pt x="42" y="22"/>
                      <a:pt x="41" y="21"/>
                      <a:pt x="38" y="20"/>
                    </a:cubicBezTo>
                    <a:cubicBezTo>
                      <a:pt x="35" y="19"/>
                      <a:pt x="34" y="19"/>
                      <a:pt x="31" y="1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0" y="21"/>
                      <a:pt x="20" y="20"/>
                      <a:pt x="19" y="20"/>
                    </a:cubicBezTo>
                    <a:cubicBezTo>
                      <a:pt x="19" y="20"/>
                      <a:pt x="19" y="19"/>
                      <a:pt x="18" y="19"/>
                    </a:cubicBezTo>
                    <a:cubicBezTo>
                      <a:pt x="18" y="19"/>
                      <a:pt x="18" y="19"/>
                      <a:pt x="17" y="19"/>
                    </a:cubicBezTo>
                    <a:cubicBezTo>
                      <a:pt x="17" y="19"/>
                      <a:pt x="17" y="18"/>
                      <a:pt x="17" y="18"/>
                    </a:cubicBezTo>
                    <a:cubicBezTo>
                      <a:pt x="16" y="17"/>
                      <a:pt x="15" y="17"/>
                      <a:pt x="15" y="16"/>
                    </a:cubicBezTo>
                    <a:cubicBezTo>
                      <a:pt x="15" y="15"/>
                      <a:pt x="16" y="15"/>
                      <a:pt x="17" y="14"/>
                    </a:cubicBezTo>
                    <a:cubicBezTo>
                      <a:pt x="18" y="13"/>
                      <a:pt x="18" y="12"/>
                      <a:pt x="20" y="1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6" y="9"/>
                      <a:pt x="14" y="8"/>
                      <a:pt x="11" y="7"/>
                    </a:cubicBezTo>
                    <a:cubicBezTo>
                      <a:pt x="10" y="10"/>
                      <a:pt x="9" y="12"/>
                      <a:pt x="6" y="15"/>
                    </a:cubicBezTo>
                    <a:cubicBezTo>
                      <a:pt x="5" y="17"/>
                      <a:pt x="3" y="18"/>
                      <a:pt x="2" y="20"/>
                    </a:cubicBezTo>
                    <a:cubicBezTo>
                      <a:pt x="1" y="21"/>
                      <a:pt x="0" y="22"/>
                      <a:pt x="0" y="23"/>
                    </a:cubicBezTo>
                    <a:cubicBezTo>
                      <a:pt x="0" y="25"/>
                      <a:pt x="1" y="27"/>
                      <a:pt x="2" y="29"/>
                    </a:cubicBezTo>
                    <a:cubicBezTo>
                      <a:pt x="2" y="29"/>
                      <a:pt x="2" y="30"/>
                      <a:pt x="2" y="30"/>
                    </a:cubicBezTo>
                    <a:cubicBezTo>
                      <a:pt x="2" y="30"/>
                      <a:pt x="3" y="30"/>
                      <a:pt x="3" y="31"/>
                    </a:cubicBezTo>
                    <a:cubicBezTo>
                      <a:pt x="3" y="32"/>
                      <a:pt x="4" y="33"/>
                      <a:pt x="4" y="35"/>
                    </a:cubicBezTo>
                    <a:cubicBezTo>
                      <a:pt x="6" y="36"/>
                      <a:pt x="6" y="38"/>
                      <a:pt x="7" y="40"/>
                    </a:cubicBezTo>
                    <a:cubicBezTo>
                      <a:pt x="8" y="42"/>
                      <a:pt x="9" y="43"/>
                      <a:pt x="11" y="45"/>
                    </a:cubicBezTo>
                    <a:cubicBezTo>
                      <a:pt x="13" y="46"/>
                      <a:pt x="14" y="47"/>
                      <a:pt x="16" y="49"/>
                    </a:cubicBezTo>
                    <a:cubicBezTo>
                      <a:pt x="17" y="49"/>
                      <a:pt x="18" y="50"/>
                      <a:pt x="19" y="50"/>
                    </a:cubicBezTo>
                    <a:cubicBezTo>
                      <a:pt x="19" y="50"/>
                      <a:pt x="20" y="51"/>
                      <a:pt x="21" y="51"/>
                    </a:cubicBezTo>
                    <a:cubicBezTo>
                      <a:pt x="21" y="51"/>
                      <a:pt x="22" y="51"/>
                      <a:pt x="22" y="52"/>
                    </a:cubicBezTo>
                    <a:cubicBezTo>
                      <a:pt x="22" y="52"/>
                      <a:pt x="21" y="53"/>
                      <a:pt x="20" y="53"/>
                    </a:cubicBezTo>
                    <a:cubicBezTo>
                      <a:pt x="19" y="54"/>
                      <a:pt x="18" y="54"/>
                      <a:pt x="17" y="55"/>
                    </a:cubicBezTo>
                    <a:cubicBezTo>
                      <a:pt x="16" y="56"/>
                      <a:pt x="15" y="57"/>
                      <a:pt x="14" y="58"/>
                    </a:cubicBezTo>
                    <a:cubicBezTo>
                      <a:pt x="13" y="58"/>
                      <a:pt x="13" y="59"/>
                      <a:pt x="12" y="59"/>
                    </a:cubicBezTo>
                    <a:cubicBezTo>
                      <a:pt x="10" y="60"/>
                      <a:pt x="8" y="60"/>
                      <a:pt x="6" y="62"/>
                    </a:cubicBezTo>
                    <a:cubicBezTo>
                      <a:pt x="6" y="62"/>
                      <a:pt x="5" y="63"/>
                      <a:pt x="5" y="63"/>
                    </a:cubicBezTo>
                    <a:cubicBezTo>
                      <a:pt x="5" y="63"/>
                      <a:pt x="4" y="63"/>
                      <a:pt x="4" y="63"/>
                    </a:cubicBezTo>
                    <a:cubicBezTo>
                      <a:pt x="4" y="64"/>
                      <a:pt x="4" y="64"/>
                      <a:pt x="4" y="65"/>
                    </a:cubicBezTo>
                    <a:cubicBezTo>
                      <a:pt x="4" y="67"/>
                      <a:pt x="4" y="68"/>
                      <a:pt x="4" y="70"/>
                    </a:cubicBezTo>
                    <a:cubicBezTo>
                      <a:pt x="4" y="71"/>
                      <a:pt x="4" y="72"/>
                      <a:pt x="4" y="73"/>
                    </a:cubicBezTo>
                    <a:cubicBezTo>
                      <a:pt x="4" y="74"/>
                      <a:pt x="3" y="75"/>
                      <a:pt x="3" y="76"/>
                    </a:cubicBezTo>
                    <a:cubicBezTo>
                      <a:pt x="3" y="79"/>
                      <a:pt x="3" y="80"/>
                      <a:pt x="3" y="83"/>
                    </a:cubicBezTo>
                    <a:cubicBezTo>
                      <a:pt x="3" y="84"/>
                      <a:pt x="3" y="84"/>
                      <a:pt x="3" y="85"/>
                    </a:cubicBezTo>
                    <a:cubicBezTo>
                      <a:pt x="3" y="87"/>
                      <a:pt x="3" y="89"/>
                      <a:pt x="4" y="91"/>
                    </a:cubicBezTo>
                    <a:cubicBezTo>
                      <a:pt x="5" y="93"/>
                      <a:pt x="6" y="94"/>
                      <a:pt x="8" y="96"/>
                    </a:cubicBezTo>
                    <a:cubicBezTo>
                      <a:pt x="8" y="96"/>
                      <a:pt x="8" y="97"/>
                      <a:pt x="8" y="97"/>
                    </a:cubicBezTo>
                    <a:cubicBezTo>
                      <a:pt x="11" y="99"/>
                      <a:pt x="13" y="99"/>
                      <a:pt x="16" y="100"/>
                    </a:cubicBezTo>
                    <a:cubicBezTo>
                      <a:pt x="18" y="100"/>
                      <a:pt x="19" y="101"/>
                      <a:pt x="20" y="101"/>
                    </a:cubicBezTo>
                    <a:cubicBezTo>
                      <a:pt x="20" y="101"/>
                      <a:pt x="21" y="101"/>
                      <a:pt x="21" y="101"/>
                    </a:cubicBezTo>
                    <a:cubicBezTo>
                      <a:pt x="21" y="102"/>
                      <a:pt x="20" y="102"/>
                      <a:pt x="20" y="102"/>
                    </a:cubicBezTo>
                    <a:cubicBezTo>
                      <a:pt x="20" y="102"/>
                      <a:pt x="20" y="103"/>
                      <a:pt x="20" y="103"/>
                    </a:cubicBezTo>
                    <a:cubicBezTo>
                      <a:pt x="20" y="104"/>
                      <a:pt x="20" y="105"/>
                      <a:pt x="20" y="106"/>
                    </a:cubicBezTo>
                    <a:cubicBezTo>
                      <a:pt x="20" y="107"/>
                      <a:pt x="20" y="108"/>
                      <a:pt x="21" y="110"/>
                    </a:cubicBezTo>
                    <a:cubicBezTo>
                      <a:pt x="22" y="111"/>
                      <a:pt x="22" y="112"/>
                      <a:pt x="22" y="113"/>
                    </a:cubicBezTo>
                    <a:cubicBezTo>
                      <a:pt x="23" y="114"/>
                      <a:pt x="23" y="114"/>
                      <a:pt x="23" y="115"/>
                    </a:cubicBezTo>
                    <a:cubicBezTo>
                      <a:pt x="23" y="116"/>
                      <a:pt x="23" y="116"/>
                      <a:pt x="23" y="117"/>
                    </a:cubicBezTo>
                    <a:cubicBezTo>
                      <a:pt x="23" y="119"/>
                      <a:pt x="23" y="120"/>
                      <a:pt x="23" y="121"/>
                    </a:cubicBezTo>
                    <a:cubicBezTo>
                      <a:pt x="22" y="122"/>
                      <a:pt x="22" y="122"/>
                      <a:pt x="22" y="123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2" y="124"/>
                      <a:pt x="22" y="124"/>
                      <a:pt x="21" y="125"/>
                    </a:cubicBezTo>
                    <a:cubicBezTo>
                      <a:pt x="21" y="126"/>
                      <a:pt x="20" y="126"/>
                      <a:pt x="20" y="127"/>
                    </a:cubicBezTo>
                    <a:cubicBezTo>
                      <a:pt x="20" y="128"/>
                      <a:pt x="20" y="128"/>
                      <a:pt x="20" y="129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23" y="129"/>
                      <a:pt x="24" y="129"/>
                      <a:pt x="26" y="129"/>
                    </a:cubicBezTo>
                    <a:cubicBezTo>
                      <a:pt x="26" y="129"/>
                      <a:pt x="27" y="129"/>
                      <a:pt x="27" y="128"/>
                    </a:cubicBezTo>
                    <a:cubicBezTo>
                      <a:pt x="28" y="128"/>
                      <a:pt x="29" y="128"/>
                      <a:pt x="30" y="127"/>
                    </a:cubicBezTo>
                    <a:cubicBezTo>
                      <a:pt x="31" y="127"/>
                      <a:pt x="32" y="126"/>
                      <a:pt x="33" y="126"/>
                    </a:cubicBezTo>
                    <a:cubicBezTo>
                      <a:pt x="34" y="126"/>
                      <a:pt x="34" y="126"/>
                      <a:pt x="34" y="126"/>
                    </a:cubicBezTo>
                    <a:cubicBezTo>
                      <a:pt x="35" y="126"/>
                      <a:pt x="35" y="126"/>
                      <a:pt x="36" y="126"/>
                    </a:cubicBezTo>
                    <a:cubicBezTo>
                      <a:pt x="37" y="126"/>
                      <a:pt x="37" y="126"/>
                      <a:pt x="38" y="126"/>
                    </a:cubicBezTo>
                    <a:cubicBezTo>
                      <a:pt x="40" y="126"/>
                      <a:pt x="40" y="126"/>
                      <a:pt x="41" y="125"/>
                    </a:cubicBezTo>
                    <a:cubicBezTo>
                      <a:pt x="43" y="124"/>
                      <a:pt x="44" y="124"/>
                      <a:pt x="45" y="123"/>
                    </a:cubicBezTo>
                    <a:cubicBezTo>
                      <a:pt x="48" y="123"/>
                      <a:pt x="50" y="122"/>
                      <a:pt x="52" y="120"/>
                    </a:cubicBezTo>
                    <a:cubicBezTo>
                      <a:pt x="52" y="120"/>
                      <a:pt x="53" y="119"/>
                      <a:pt x="53" y="119"/>
                    </a:cubicBezTo>
                    <a:cubicBezTo>
                      <a:pt x="53" y="119"/>
                      <a:pt x="54" y="119"/>
                      <a:pt x="54" y="118"/>
                    </a:cubicBezTo>
                    <a:cubicBezTo>
                      <a:pt x="54" y="117"/>
                      <a:pt x="54" y="116"/>
                      <a:pt x="55" y="115"/>
                    </a:cubicBezTo>
                    <a:cubicBezTo>
                      <a:pt x="55" y="115"/>
                      <a:pt x="55" y="114"/>
                      <a:pt x="56" y="114"/>
                    </a:cubicBezTo>
                    <a:cubicBezTo>
                      <a:pt x="57" y="113"/>
                      <a:pt x="59" y="113"/>
                      <a:pt x="60" y="113"/>
                    </a:cubicBezTo>
                    <a:cubicBezTo>
                      <a:pt x="62" y="113"/>
                      <a:pt x="64" y="112"/>
                      <a:pt x="66" y="112"/>
                    </a:cubicBezTo>
                    <a:cubicBezTo>
                      <a:pt x="67" y="112"/>
                      <a:pt x="67" y="111"/>
                      <a:pt x="68" y="111"/>
                    </a:cubicBezTo>
                    <a:cubicBezTo>
                      <a:pt x="69" y="111"/>
                      <a:pt x="69" y="112"/>
                      <a:pt x="69" y="112"/>
                    </a:cubicBezTo>
                    <a:cubicBezTo>
                      <a:pt x="69" y="113"/>
                      <a:pt x="70" y="113"/>
                      <a:pt x="70" y="113"/>
                    </a:cubicBezTo>
                    <a:cubicBezTo>
                      <a:pt x="70" y="114"/>
                      <a:pt x="70" y="115"/>
                      <a:pt x="71" y="115"/>
                    </a:cubicBezTo>
                    <a:cubicBezTo>
                      <a:pt x="72" y="117"/>
                      <a:pt x="72" y="119"/>
                      <a:pt x="74" y="119"/>
                    </a:cubicBezTo>
                    <a:cubicBezTo>
                      <a:pt x="78" y="119"/>
                      <a:pt x="79" y="116"/>
                      <a:pt x="83" y="116"/>
                    </a:cubicBezTo>
                    <a:cubicBezTo>
                      <a:pt x="85" y="116"/>
                      <a:pt x="86" y="116"/>
                      <a:pt x="87" y="116"/>
                    </a:cubicBezTo>
                    <a:cubicBezTo>
                      <a:pt x="88" y="116"/>
                      <a:pt x="88" y="116"/>
                      <a:pt x="89" y="116"/>
                    </a:cubicBezTo>
                    <a:cubicBezTo>
                      <a:pt x="89" y="117"/>
                      <a:pt x="90" y="116"/>
                      <a:pt x="91" y="117"/>
                    </a:cubicBezTo>
                    <a:cubicBezTo>
                      <a:pt x="92" y="117"/>
                      <a:pt x="92" y="118"/>
                      <a:pt x="93" y="119"/>
                    </a:cubicBezTo>
                    <a:cubicBezTo>
                      <a:pt x="94" y="120"/>
                      <a:pt x="95" y="120"/>
                      <a:pt x="96" y="121"/>
                    </a:cubicBezTo>
                    <a:cubicBezTo>
                      <a:pt x="97" y="121"/>
                      <a:pt x="97" y="122"/>
                      <a:pt x="99" y="122"/>
                    </a:cubicBezTo>
                    <a:cubicBezTo>
                      <a:pt x="100" y="122"/>
                      <a:pt x="101" y="122"/>
                      <a:pt x="102" y="121"/>
                    </a:cubicBezTo>
                    <a:cubicBezTo>
                      <a:pt x="102" y="120"/>
                      <a:pt x="102" y="119"/>
                      <a:pt x="103" y="119"/>
                    </a:cubicBezTo>
                    <a:cubicBezTo>
                      <a:pt x="103" y="119"/>
                      <a:pt x="103" y="119"/>
                      <a:pt x="104" y="119"/>
                    </a:cubicBezTo>
                    <a:cubicBezTo>
                      <a:pt x="105" y="119"/>
                      <a:pt x="106" y="118"/>
                      <a:pt x="107" y="118"/>
                    </a:cubicBezTo>
                    <a:cubicBezTo>
                      <a:pt x="109" y="118"/>
                      <a:pt x="110" y="118"/>
                      <a:pt x="111" y="118"/>
                    </a:cubicBezTo>
                    <a:cubicBezTo>
                      <a:pt x="114" y="118"/>
                      <a:pt x="115" y="117"/>
                      <a:pt x="117" y="116"/>
                    </a:cubicBezTo>
                    <a:cubicBezTo>
                      <a:pt x="117" y="116"/>
                      <a:pt x="117" y="116"/>
                      <a:pt x="117" y="116"/>
                    </a:cubicBezTo>
                    <a:cubicBezTo>
                      <a:pt x="118" y="116"/>
                      <a:pt x="118" y="117"/>
                      <a:pt x="118" y="116"/>
                    </a:cubicBezTo>
                    <a:cubicBezTo>
                      <a:pt x="119" y="115"/>
                      <a:pt x="119" y="113"/>
                      <a:pt x="119" y="111"/>
                    </a:cubicBezTo>
                    <a:cubicBezTo>
                      <a:pt x="119" y="108"/>
                      <a:pt x="119" y="106"/>
                      <a:pt x="119" y="103"/>
                    </a:cubicBezTo>
                    <a:cubicBezTo>
                      <a:pt x="123" y="103"/>
                      <a:pt x="125" y="102"/>
                      <a:pt x="128" y="102"/>
                    </a:cubicBezTo>
                    <a:cubicBezTo>
                      <a:pt x="130" y="101"/>
                      <a:pt x="131" y="102"/>
                      <a:pt x="133" y="101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8" name="Freeform 136">
                <a:extLst>
                  <a:ext uri="{FF2B5EF4-FFF2-40B4-BE49-F238E27FC236}">
                    <a16:creationId xmlns:a16="http://schemas.microsoft.com/office/drawing/2014/main" xmlns="" id="{D7785023-F3C2-4BC5-9003-819ACD0C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0492" y="1232514"/>
                <a:ext cx="10775" cy="7184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1 h 3"/>
                  <a:gd name="T4" fmla="*/ 2 w 4"/>
                  <a:gd name="T5" fmla="*/ 0 h 3"/>
                  <a:gd name="T6" fmla="*/ 0 w 4"/>
                  <a:gd name="T7" fmla="*/ 1 h 3"/>
                  <a:gd name="T8" fmla="*/ 3 w 4"/>
                  <a:gd name="T9" fmla="*/ 3 h 3"/>
                  <a:gd name="T10" fmla="*/ 4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4" y="2"/>
                      <a:pt x="4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09" name="Freeform 137">
                <a:extLst>
                  <a:ext uri="{FF2B5EF4-FFF2-40B4-BE49-F238E27FC236}">
                    <a16:creationId xmlns:a16="http://schemas.microsoft.com/office/drawing/2014/main" xmlns="" id="{6A732A2F-9FCF-4A57-BE03-774C3B823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519" y="1242093"/>
                <a:ext cx="11973" cy="4790"/>
              </a:xfrm>
              <a:custGeom>
                <a:avLst/>
                <a:gdLst>
                  <a:gd name="T0" fmla="*/ 1 w 5"/>
                  <a:gd name="T1" fmla="*/ 0 h 2"/>
                  <a:gd name="T2" fmla="*/ 0 w 5"/>
                  <a:gd name="T3" fmla="*/ 1 h 2"/>
                  <a:gd name="T4" fmla="*/ 2 w 5"/>
                  <a:gd name="T5" fmla="*/ 2 h 2"/>
                  <a:gd name="T6" fmla="*/ 5 w 5"/>
                  <a:gd name="T7" fmla="*/ 1 h 2"/>
                  <a:gd name="T8" fmla="*/ 1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1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3" y="2"/>
                      <a:pt x="5" y="2"/>
                      <a:pt x="5" y="1"/>
                    </a:cubicBezTo>
                    <a:cubicBezTo>
                      <a:pt x="5" y="0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0" name="Freeform 138">
                <a:extLst>
                  <a:ext uri="{FF2B5EF4-FFF2-40B4-BE49-F238E27FC236}">
                    <a16:creationId xmlns:a16="http://schemas.microsoft.com/office/drawing/2014/main" xmlns="" id="{60ED3CD2-FAF7-41AB-AAB1-01A768794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3127" y="602670"/>
                <a:ext cx="34721" cy="38317"/>
              </a:xfrm>
              <a:custGeom>
                <a:avLst/>
                <a:gdLst>
                  <a:gd name="T0" fmla="*/ 0 w 14"/>
                  <a:gd name="T1" fmla="*/ 12 h 15"/>
                  <a:gd name="T2" fmla="*/ 0 w 14"/>
                  <a:gd name="T3" fmla="*/ 15 h 15"/>
                  <a:gd name="T4" fmla="*/ 1 w 14"/>
                  <a:gd name="T5" fmla="*/ 15 h 15"/>
                  <a:gd name="T6" fmla="*/ 3 w 14"/>
                  <a:gd name="T7" fmla="*/ 11 h 15"/>
                  <a:gd name="T8" fmla="*/ 5 w 14"/>
                  <a:gd name="T9" fmla="*/ 12 h 15"/>
                  <a:gd name="T10" fmla="*/ 6 w 14"/>
                  <a:gd name="T11" fmla="*/ 9 h 15"/>
                  <a:gd name="T12" fmla="*/ 8 w 14"/>
                  <a:gd name="T13" fmla="*/ 6 h 15"/>
                  <a:gd name="T14" fmla="*/ 10 w 14"/>
                  <a:gd name="T15" fmla="*/ 4 h 15"/>
                  <a:gd name="T16" fmla="*/ 14 w 14"/>
                  <a:gd name="T17" fmla="*/ 3 h 15"/>
                  <a:gd name="T18" fmla="*/ 14 w 14"/>
                  <a:gd name="T19" fmla="*/ 2 h 15"/>
                  <a:gd name="T20" fmla="*/ 13 w 14"/>
                  <a:gd name="T21" fmla="*/ 0 h 15"/>
                  <a:gd name="T22" fmla="*/ 10 w 14"/>
                  <a:gd name="T23" fmla="*/ 1 h 15"/>
                  <a:gd name="T24" fmla="*/ 7 w 14"/>
                  <a:gd name="T25" fmla="*/ 1 h 15"/>
                  <a:gd name="T26" fmla="*/ 6 w 14"/>
                  <a:gd name="T27" fmla="*/ 4 h 15"/>
                  <a:gd name="T28" fmla="*/ 1 w 14"/>
                  <a:gd name="T29" fmla="*/ 9 h 15"/>
                  <a:gd name="T30" fmla="*/ 0 w 14"/>
                  <a:gd name="T31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15">
                    <a:moveTo>
                      <a:pt x="0" y="12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2" y="13"/>
                      <a:pt x="1" y="11"/>
                      <a:pt x="3" y="11"/>
                    </a:cubicBezTo>
                    <a:cubicBezTo>
                      <a:pt x="4" y="11"/>
                      <a:pt x="4" y="12"/>
                      <a:pt x="5" y="12"/>
                    </a:cubicBezTo>
                    <a:cubicBezTo>
                      <a:pt x="6" y="12"/>
                      <a:pt x="6" y="10"/>
                      <a:pt x="6" y="9"/>
                    </a:cubicBezTo>
                    <a:cubicBezTo>
                      <a:pt x="7" y="8"/>
                      <a:pt x="7" y="7"/>
                      <a:pt x="8" y="6"/>
                    </a:cubicBezTo>
                    <a:cubicBezTo>
                      <a:pt x="9" y="5"/>
                      <a:pt x="9" y="5"/>
                      <a:pt x="10" y="4"/>
                    </a:cubicBezTo>
                    <a:cubicBezTo>
                      <a:pt x="11" y="3"/>
                      <a:pt x="12" y="3"/>
                      <a:pt x="14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4" y="0"/>
                      <a:pt x="13" y="0"/>
                    </a:cubicBezTo>
                    <a:cubicBezTo>
                      <a:pt x="12" y="0"/>
                      <a:pt x="11" y="0"/>
                      <a:pt x="10" y="1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3" y="6"/>
                      <a:pt x="1" y="9"/>
                    </a:cubicBezTo>
                    <a:cubicBezTo>
                      <a:pt x="1" y="10"/>
                      <a:pt x="0" y="10"/>
                      <a:pt x="0" y="1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1" name="Freeform 139">
                <a:extLst>
                  <a:ext uri="{FF2B5EF4-FFF2-40B4-BE49-F238E27FC236}">
                    <a16:creationId xmlns:a16="http://schemas.microsoft.com/office/drawing/2014/main" xmlns="" id="{09731062-1801-4FD3-BCA2-5F922ABF0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7564" y="645777"/>
                <a:ext cx="57469" cy="58674"/>
              </a:xfrm>
              <a:custGeom>
                <a:avLst/>
                <a:gdLst>
                  <a:gd name="T0" fmla="*/ 12 w 23"/>
                  <a:gd name="T1" fmla="*/ 0 h 23"/>
                  <a:gd name="T2" fmla="*/ 9 w 23"/>
                  <a:gd name="T3" fmla="*/ 2 h 23"/>
                  <a:gd name="T4" fmla="*/ 6 w 23"/>
                  <a:gd name="T5" fmla="*/ 6 h 23"/>
                  <a:gd name="T6" fmla="*/ 8 w 23"/>
                  <a:gd name="T7" fmla="*/ 8 h 23"/>
                  <a:gd name="T8" fmla="*/ 4 w 23"/>
                  <a:gd name="T9" fmla="*/ 9 h 23"/>
                  <a:gd name="T10" fmla="*/ 4 w 23"/>
                  <a:gd name="T11" fmla="*/ 13 h 23"/>
                  <a:gd name="T12" fmla="*/ 0 w 23"/>
                  <a:gd name="T13" fmla="*/ 17 h 23"/>
                  <a:gd name="T14" fmla="*/ 1 w 23"/>
                  <a:gd name="T15" fmla="*/ 19 h 23"/>
                  <a:gd name="T16" fmla="*/ 5 w 23"/>
                  <a:gd name="T17" fmla="*/ 17 h 23"/>
                  <a:gd name="T18" fmla="*/ 5 w 23"/>
                  <a:gd name="T19" fmla="*/ 18 h 23"/>
                  <a:gd name="T20" fmla="*/ 4 w 23"/>
                  <a:gd name="T21" fmla="*/ 22 h 23"/>
                  <a:gd name="T22" fmla="*/ 4 w 23"/>
                  <a:gd name="T23" fmla="*/ 23 h 23"/>
                  <a:gd name="T24" fmla="*/ 6 w 23"/>
                  <a:gd name="T25" fmla="*/ 21 h 23"/>
                  <a:gd name="T26" fmla="*/ 7 w 23"/>
                  <a:gd name="T27" fmla="*/ 16 h 23"/>
                  <a:gd name="T28" fmla="*/ 8 w 23"/>
                  <a:gd name="T29" fmla="*/ 16 h 23"/>
                  <a:gd name="T30" fmla="*/ 12 w 23"/>
                  <a:gd name="T31" fmla="*/ 19 h 23"/>
                  <a:gd name="T32" fmla="*/ 13 w 23"/>
                  <a:gd name="T33" fmla="*/ 17 h 23"/>
                  <a:gd name="T34" fmla="*/ 12 w 23"/>
                  <a:gd name="T35" fmla="*/ 16 h 23"/>
                  <a:gd name="T36" fmla="*/ 15 w 23"/>
                  <a:gd name="T37" fmla="*/ 15 h 23"/>
                  <a:gd name="T38" fmla="*/ 17 w 23"/>
                  <a:gd name="T39" fmla="*/ 13 h 23"/>
                  <a:gd name="T40" fmla="*/ 23 w 23"/>
                  <a:gd name="T41" fmla="*/ 12 h 23"/>
                  <a:gd name="T42" fmla="*/ 23 w 23"/>
                  <a:gd name="T43" fmla="*/ 10 h 23"/>
                  <a:gd name="T44" fmla="*/ 21 w 23"/>
                  <a:gd name="T45" fmla="*/ 9 h 23"/>
                  <a:gd name="T46" fmla="*/ 21 w 23"/>
                  <a:gd name="T47" fmla="*/ 7 h 23"/>
                  <a:gd name="T48" fmla="*/ 20 w 23"/>
                  <a:gd name="T49" fmla="*/ 5 h 23"/>
                  <a:gd name="T50" fmla="*/ 18 w 23"/>
                  <a:gd name="T51" fmla="*/ 8 h 23"/>
                  <a:gd name="T52" fmla="*/ 19 w 23"/>
                  <a:gd name="T53" fmla="*/ 10 h 23"/>
                  <a:gd name="T54" fmla="*/ 19 w 23"/>
                  <a:gd name="T55" fmla="*/ 11 h 23"/>
                  <a:gd name="T56" fmla="*/ 16 w 23"/>
                  <a:gd name="T57" fmla="*/ 11 h 23"/>
                  <a:gd name="T58" fmla="*/ 11 w 23"/>
                  <a:gd name="T59" fmla="*/ 15 h 23"/>
                  <a:gd name="T60" fmla="*/ 10 w 23"/>
                  <a:gd name="T61" fmla="*/ 15 h 23"/>
                  <a:gd name="T62" fmla="*/ 10 w 23"/>
                  <a:gd name="T63" fmla="*/ 11 h 23"/>
                  <a:gd name="T64" fmla="*/ 11 w 23"/>
                  <a:gd name="T65" fmla="*/ 10 h 23"/>
                  <a:gd name="T66" fmla="*/ 12 w 23"/>
                  <a:gd name="T67" fmla="*/ 7 h 23"/>
                  <a:gd name="T68" fmla="*/ 10 w 23"/>
                  <a:gd name="T69" fmla="*/ 7 h 23"/>
                  <a:gd name="T70" fmla="*/ 10 w 23"/>
                  <a:gd name="T71" fmla="*/ 4 h 23"/>
                  <a:gd name="T72" fmla="*/ 12 w 23"/>
                  <a:gd name="T7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cubicBezTo>
                      <a:pt x="10" y="0"/>
                      <a:pt x="10" y="1"/>
                      <a:pt x="9" y="2"/>
                    </a:cubicBezTo>
                    <a:cubicBezTo>
                      <a:pt x="8" y="4"/>
                      <a:pt x="7" y="4"/>
                      <a:pt x="6" y="6"/>
                    </a:cubicBezTo>
                    <a:cubicBezTo>
                      <a:pt x="7" y="6"/>
                      <a:pt x="8" y="7"/>
                      <a:pt x="8" y="8"/>
                    </a:cubicBezTo>
                    <a:cubicBezTo>
                      <a:pt x="7" y="9"/>
                      <a:pt x="6" y="9"/>
                      <a:pt x="4" y="9"/>
                    </a:cubicBezTo>
                    <a:cubicBezTo>
                      <a:pt x="4" y="10"/>
                      <a:pt x="5" y="12"/>
                      <a:pt x="4" y="13"/>
                    </a:cubicBezTo>
                    <a:cubicBezTo>
                      <a:pt x="2" y="14"/>
                      <a:pt x="0" y="15"/>
                      <a:pt x="0" y="17"/>
                    </a:cubicBezTo>
                    <a:cubicBezTo>
                      <a:pt x="0" y="18"/>
                      <a:pt x="0" y="19"/>
                      <a:pt x="1" y="19"/>
                    </a:cubicBezTo>
                    <a:cubicBezTo>
                      <a:pt x="2" y="19"/>
                      <a:pt x="3" y="18"/>
                      <a:pt x="5" y="17"/>
                    </a:cubicBezTo>
                    <a:cubicBezTo>
                      <a:pt x="5" y="17"/>
                      <a:pt x="5" y="17"/>
                      <a:pt x="5" y="18"/>
                    </a:cubicBezTo>
                    <a:cubicBezTo>
                      <a:pt x="5" y="19"/>
                      <a:pt x="4" y="20"/>
                      <a:pt x="4" y="22"/>
                    </a:cubicBezTo>
                    <a:cubicBezTo>
                      <a:pt x="4" y="22"/>
                      <a:pt x="4" y="22"/>
                      <a:pt x="4" y="23"/>
                    </a:cubicBezTo>
                    <a:cubicBezTo>
                      <a:pt x="5" y="22"/>
                      <a:pt x="5" y="22"/>
                      <a:pt x="6" y="21"/>
                    </a:cubicBezTo>
                    <a:cubicBezTo>
                      <a:pt x="7" y="19"/>
                      <a:pt x="7" y="18"/>
                      <a:pt x="7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0" y="16"/>
                      <a:pt x="10" y="19"/>
                      <a:pt x="12" y="19"/>
                    </a:cubicBezTo>
                    <a:cubicBezTo>
                      <a:pt x="13" y="19"/>
                      <a:pt x="13" y="18"/>
                      <a:pt x="13" y="17"/>
                    </a:cubicBezTo>
                    <a:cubicBezTo>
                      <a:pt x="13" y="17"/>
                      <a:pt x="12" y="16"/>
                      <a:pt x="12" y="16"/>
                    </a:cubicBezTo>
                    <a:cubicBezTo>
                      <a:pt x="12" y="15"/>
                      <a:pt x="14" y="15"/>
                      <a:pt x="15" y="15"/>
                    </a:cubicBezTo>
                    <a:cubicBezTo>
                      <a:pt x="16" y="15"/>
                      <a:pt x="16" y="14"/>
                      <a:pt x="17" y="13"/>
                    </a:cubicBezTo>
                    <a:cubicBezTo>
                      <a:pt x="19" y="12"/>
                      <a:pt x="20" y="12"/>
                      <a:pt x="23" y="1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22" y="10"/>
                      <a:pt x="21" y="9"/>
                    </a:cubicBezTo>
                    <a:cubicBezTo>
                      <a:pt x="20" y="8"/>
                      <a:pt x="21" y="8"/>
                      <a:pt x="21" y="7"/>
                    </a:cubicBezTo>
                    <a:cubicBezTo>
                      <a:pt x="21" y="6"/>
                      <a:pt x="21" y="5"/>
                      <a:pt x="20" y="5"/>
                    </a:cubicBezTo>
                    <a:cubicBezTo>
                      <a:pt x="19" y="5"/>
                      <a:pt x="18" y="7"/>
                      <a:pt x="18" y="8"/>
                    </a:cubicBezTo>
                    <a:cubicBezTo>
                      <a:pt x="18" y="9"/>
                      <a:pt x="19" y="9"/>
                      <a:pt x="19" y="10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11"/>
                      <a:pt x="17" y="10"/>
                      <a:pt x="16" y="11"/>
                    </a:cubicBezTo>
                    <a:cubicBezTo>
                      <a:pt x="14" y="13"/>
                      <a:pt x="13" y="15"/>
                      <a:pt x="11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3"/>
                      <a:pt x="10" y="13"/>
                      <a:pt x="10" y="11"/>
                    </a:cubicBezTo>
                    <a:cubicBezTo>
                      <a:pt x="10" y="11"/>
                      <a:pt x="10" y="11"/>
                      <a:pt x="11" y="10"/>
                    </a:cubicBezTo>
                    <a:cubicBezTo>
                      <a:pt x="12" y="9"/>
                      <a:pt x="12" y="9"/>
                      <a:pt x="12" y="7"/>
                    </a:cubicBezTo>
                    <a:cubicBezTo>
                      <a:pt x="12" y="7"/>
                      <a:pt x="11" y="7"/>
                      <a:pt x="10" y="7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2" y="3"/>
                      <a:pt x="11" y="1"/>
                      <a:pt x="1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2" name="Freeform 140">
                <a:extLst>
                  <a:ext uri="{FF2B5EF4-FFF2-40B4-BE49-F238E27FC236}">
                    <a16:creationId xmlns:a16="http://schemas.microsoft.com/office/drawing/2014/main" xmlns="" id="{937BF63C-E9B0-4D4A-856C-B2A5EA3AA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855" y="802639"/>
                <a:ext cx="22748" cy="15567"/>
              </a:xfrm>
              <a:custGeom>
                <a:avLst/>
                <a:gdLst>
                  <a:gd name="T0" fmla="*/ 7 w 9"/>
                  <a:gd name="T1" fmla="*/ 0 h 6"/>
                  <a:gd name="T2" fmla="*/ 2 w 9"/>
                  <a:gd name="T3" fmla="*/ 1 h 6"/>
                  <a:gd name="T4" fmla="*/ 2 w 9"/>
                  <a:gd name="T5" fmla="*/ 3 h 6"/>
                  <a:gd name="T6" fmla="*/ 0 w 9"/>
                  <a:gd name="T7" fmla="*/ 5 h 6"/>
                  <a:gd name="T8" fmla="*/ 3 w 9"/>
                  <a:gd name="T9" fmla="*/ 6 h 6"/>
                  <a:gd name="T10" fmla="*/ 6 w 9"/>
                  <a:gd name="T11" fmla="*/ 5 h 6"/>
                  <a:gd name="T12" fmla="*/ 9 w 9"/>
                  <a:gd name="T13" fmla="*/ 3 h 6"/>
                  <a:gd name="T14" fmla="*/ 7 w 9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6">
                    <a:moveTo>
                      <a:pt x="7" y="0"/>
                    </a:moveTo>
                    <a:cubicBezTo>
                      <a:pt x="5" y="1"/>
                      <a:pt x="3" y="0"/>
                      <a:pt x="2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6"/>
                      <a:pt x="1" y="6"/>
                      <a:pt x="3" y="6"/>
                    </a:cubicBezTo>
                    <a:cubicBezTo>
                      <a:pt x="4" y="6"/>
                      <a:pt x="4" y="6"/>
                      <a:pt x="6" y="5"/>
                    </a:cubicBezTo>
                    <a:cubicBezTo>
                      <a:pt x="7" y="5"/>
                      <a:pt x="9" y="5"/>
                      <a:pt x="9" y="3"/>
                    </a:cubicBezTo>
                    <a:cubicBezTo>
                      <a:pt x="9" y="2"/>
                      <a:pt x="7" y="2"/>
                      <a:pt x="7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3" name="Freeform 141">
                <a:extLst>
                  <a:ext uri="{FF2B5EF4-FFF2-40B4-BE49-F238E27FC236}">
                    <a16:creationId xmlns:a16="http://schemas.microsoft.com/office/drawing/2014/main" xmlns="" id="{AF3356C8-CCBC-4939-9C3B-94B0AA8AC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620" y="1182222"/>
                <a:ext cx="32326" cy="22751"/>
              </a:xfrm>
              <a:custGeom>
                <a:avLst/>
                <a:gdLst>
                  <a:gd name="T0" fmla="*/ 5 w 13"/>
                  <a:gd name="T1" fmla="*/ 1 h 9"/>
                  <a:gd name="T2" fmla="*/ 5 w 13"/>
                  <a:gd name="T3" fmla="*/ 3 h 9"/>
                  <a:gd name="T4" fmla="*/ 2 w 13"/>
                  <a:gd name="T5" fmla="*/ 4 h 9"/>
                  <a:gd name="T6" fmla="*/ 0 w 13"/>
                  <a:gd name="T7" fmla="*/ 7 h 9"/>
                  <a:gd name="T8" fmla="*/ 3 w 13"/>
                  <a:gd name="T9" fmla="*/ 9 h 9"/>
                  <a:gd name="T10" fmla="*/ 7 w 13"/>
                  <a:gd name="T11" fmla="*/ 7 h 9"/>
                  <a:gd name="T12" fmla="*/ 10 w 13"/>
                  <a:gd name="T13" fmla="*/ 7 h 9"/>
                  <a:gd name="T14" fmla="*/ 11 w 13"/>
                  <a:gd name="T15" fmla="*/ 8 h 9"/>
                  <a:gd name="T16" fmla="*/ 13 w 13"/>
                  <a:gd name="T17" fmla="*/ 6 h 9"/>
                  <a:gd name="T18" fmla="*/ 13 w 13"/>
                  <a:gd name="T19" fmla="*/ 5 h 9"/>
                  <a:gd name="T20" fmla="*/ 10 w 13"/>
                  <a:gd name="T21" fmla="*/ 3 h 9"/>
                  <a:gd name="T22" fmla="*/ 11 w 13"/>
                  <a:gd name="T23" fmla="*/ 1 h 9"/>
                  <a:gd name="T24" fmla="*/ 5 w 13"/>
                  <a:gd name="T2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9">
                    <a:moveTo>
                      <a:pt x="5" y="1"/>
                    </a:moveTo>
                    <a:cubicBezTo>
                      <a:pt x="5" y="2"/>
                      <a:pt x="5" y="2"/>
                      <a:pt x="5" y="3"/>
                    </a:cubicBezTo>
                    <a:cubicBezTo>
                      <a:pt x="4" y="4"/>
                      <a:pt x="3" y="3"/>
                      <a:pt x="2" y="4"/>
                    </a:cubicBezTo>
                    <a:cubicBezTo>
                      <a:pt x="1" y="5"/>
                      <a:pt x="0" y="6"/>
                      <a:pt x="0" y="7"/>
                    </a:cubicBezTo>
                    <a:cubicBezTo>
                      <a:pt x="0" y="9"/>
                      <a:pt x="2" y="9"/>
                      <a:pt x="3" y="9"/>
                    </a:cubicBezTo>
                    <a:cubicBezTo>
                      <a:pt x="5" y="9"/>
                      <a:pt x="5" y="7"/>
                      <a:pt x="7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11" y="8"/>
                      <a:pt x="11" y="8"/>
                    </a:cubicBezTo>
                    <a:cubicBezTo>
                      <a:pt x="12" y="8"/>
                      <a:pt x="13" y="7"/>
                      <a:pt x="13" y="6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0" y="5"/>
                      <a:pt x="10" y="3"/>
                    </a:cubicBezTo>
                    <a:cubicBezTo>
                      <a:pt x="10" y="2"/>
                      <a:pt x="10" y="2"/>
                      <a:pt x="11" y="1"/>
                    </a:cubicBezTo>
                    <a:cubicBezTo>
                      <a:pt x="9" y="0"/>
                      <a:pt x="7" y="1"/>
                      <a:pt x="5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4" name="Freeform 142">
                <a:extLst>
                  <a:ext uri="{FF2B5EF4-FFF2-40B4-BE49-F238E27FC236}">
                    <a16:creationId xmlns:a16="http://schemas.microsoft.com/office/drawing/2014/main" xmlns="" id="{D9D55D9B-60B9-4EFA-A469-F89859BFD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662" y="1201380"/>
                <a:ext cx="14368" cy="15567"/>
              </a:xfrm>
              <a:custGeom>
                <a:avLst/>
                <a:gdLst>
                  <a:gd name="T0" fmla="*/ 0 w 6"/>
                  <a:gd name="T1" fmla="*/ 2 h 6"/>
                  <a:gd name="T2" fmla="*/ 0 w 6"/>
                  <a:gd name="T3" fmla="*/ 5 h 6"/>
                  <a:gd name="T4" fmla="*/ 3 w 6"/>
                  <a:gd name="T5" fmla="*/ 6 h 6"/>
                  <a:gd name="T6" fmla="*/ 6 w 6"/>
                  <a:gd name="T7" fmla="*/ 3 h 6"/>
                  <a:gd name="T8" fmla="*/ 3 w 6"/>
                  <a:gd name="T9" fmla="*/ 1 h 6"/>
                  <a:gd name="T10" fmla="*/ 0 w 6"/>
                  <a:gd name="T1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2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2" y="6"/>
                      <a:pt x="3" y="6"/>
                    </a:cubicBezTo>
                    <a:cubicBezTo>
                      <a:pt x="5" y="6"/>
                      <a:pt x="6" y="5"/>
                      <a:pt x="6" y="3"/>
                    </a:cubicBezTo>
                    <a:cubicBezTo>
                      <a:pt x="6" y="2"/>
                      <a:pt x="4" y="1"/>
                      <a:pt x="3" y="1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5" name="Freeform 143">
                <a:extLst>
                  <a:ext uri="{FF2B5EF4-FFF2-40B4-BE49-F238E27FC236}">
                    <a16:creationId xmlns:a16="http://schemas.microsoft.com/office/drawing/2014/main" xmlns="" id="{5294C870-8DBD-424D-BB61-83895D0FE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174" y="1303161"/>
                <a:ext cx="11973" cy="11974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0 h 5"/>
                  <a:gd name="T4" fmla="*/ 0 w 5"/>
                  <a:gd name="T5" fmla="*/ 1 h 5"/>
                  <a:gd name="T6" fmla="*/ 2 w 5"/>
                  <a:gd name="T7" fmla="*/ 5 h 5"/>
                  <a:gd name="T8" fmla="*/ 5 w 5"/>
                  <a:gd name="T9" fmla="*/ 2 h 5"/>
                  <a:gd name="T10" fmla="*/ 1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3"/>
                      <a:pt x="0" y="5"/>
                      <a:pt x="2" y="5"/>
                    </a:cubicBezTo>
                    <a:cubicBezTo>
                      <a:pt x="3" y="5"/>
                      <a:pt x="5" y="4"/>
                      <a:pt x="5" y="2"/>
                    </a:cubicBezTo>
                    <a:cubicBezTo>
                      <a:pt x="5" y="1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6" name="Freeform 144">
                <a:extLst>
                  <a:ext uri="{FF2B5EF4-FFF2-40B4-BE49-F238E27FC236}">
                    <a16:creationId xmlns:a16="http://schemas.microsoft.com/office/drawing/2014/main" xmlns="" id="{32DC7B9E-7FA4-48D3-9117-FBDDABF2E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0902" y="1346268"/>
                <a:ext cx="13170" cy="11974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1 h 5"/>
                  <a:gd name="T4" fmla="*/ 1 w 5"/>
                  <a:gd name="T5" fmla="*/ 3 h 5"/>
                  <a:gd name="T6" fmla="*/ 3 w 5"/>
                  <a:gd name="T7" fmla="*/ 5 h 5"/>
                  <a:gd name="T8" fmla="*/ 5 w 5"/>
                  <a:gd name="T9" fmla="*/ 3 h 5"/>
                  <a:gd name="T10" fmla="*/ 1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2" y="4"/>
                      <a:pt x="2" y="5"/>
                      <a:pt x="3" y="5"/>
                    </a:cubicBezTo>
                    <a:cubicBezTo>
                      <a:pt x="4" y="5"/>
                      <a:pt x="5" y="4"/>
                      <a:pt x="5" y="3"/>
                    </a:cubicBezTo>
                    <a:cubicBezTo>
                      <a:pt x="5" y="1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7" name="Freeform 145">
                <a:extLst>
                  <a:ext uri="{FF2B5EF4-FFF2-40B4-BE49-F238E27FC236}">
                    <a16:creationId xmlns:a16="http://schemas.microsoft.com/office/drawing/2014/main" xmlns="" id="{506B7F0F-B7E7-4717-AEC7-2AF701501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787" y="1567791"/>
                <a:ext cx="7183" cy="15567"/>
              </a:xfrm>
              <a:custGeom>
                <a:avLst/>
                <a:gdLst>
                  <a:gd name="T0" fmla="*/ 3 w 3"/>
                  <a:gd name="T1" fmla="*/ 1 h 6"/>
                  <a:gd name="T2" fmla="*/ 3 w 3"/>
                  <a:gd name="T3" fmla="*/ 0 h 6"/>
                  <a:gd name="T4" fmla="*/ 1 w 3"/>
                  <a:gd name="T5" fmla="*/ 0 h 6"/>
                  <a:gd name="T6" fmla="*/ 0 w 3"/>
                  <a:gd name="T7" fmla="*/ 1 h 6"/>
                  <a:gd name="T8" fmla="*/ 0 w 3"/>
                  <a:gd name="T9" fmla="*/ 5 h 6"/>
                  <a:gd name="T10" fmla="*/ 0 w 3"/>
                  <a:gd name="T11" fmla="*/ 6 h 6"/>
                  <a:gd name="T12" fmla="*/ 2 w 3"/>
                  <a:gd name="T13" fmla="*/ 4 h 6"/>
                  <a:gd name="T14" fmla="*/ 3 w 3"/>
                  <a:gd name="T1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3" y="1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1" y="6"/>
                      <a:pt x="1" y="5"/>
                      <a:pt x="2" y="4"/>
                    </a:cubicBezTo>
                    <a:cubicBezTo>
                      <a:pt x="2" y="3"/>
                      <a:pt x="3" y="3"/>
                      <a:pt x="3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8" name="Freeform 146">
                <a:extLst>
                  <a:ext uri="{FF2B5EF4-FFF2-40B4-BE49-F238E27FC236}">
                    <a16:creationId xmlns:a16="http://schemas.microsoft.com/office/drawing/2014/main" xmlns="" id="{43653CB3-8C95-414B-9418-B736E3E93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999" y="1624070"/>
                <a:ext cx="9578" cy="17961"/>
              </a:xfrm>
              <a:custGeom>
                <a:avLst/>
                <a:gdLst>
                  <a:gd name="T0" fmla="*/ 3 w 4"/>
                  <a:gd name="T1" fmla="*/ 0 h 7"/>
                  <a:gd name="T2" fmla="*/ 1 w 4"/>
                  <a:gd name="T3" fmla="*/ 2 h 7"/>
                  <a:gd name="T4" fmla="*/ 0 w 4"/>
                  <a:gd name="T5" fmla="*/ 5 h 7"/>
                  <a:gd name="T6" fmla="*/ 0 w 4"/>
                  <a:gd name="T7" fmla="*/ 7 h 7"/>
                  <a:gd name="T8" fmla="*/ 1 w 4"/>
                  <a:gd name="T9" fmla="*/ 7 h 7"/>
                  <a:gd name="T10" fmla="*/ 4 w 4"/>
                  <a:gd name="T11" fmla="*/ 1 h 7"/>
                  <a:gd name="T12" fmla="*/ 3 w 4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3" y="0"/>
                    </a:moveTo>
                    <a:cubicBezTo>
                      <a:pt x="2" y="0"/>
                      <a:pt x="2" y="1"/>
                      <a:pt x="1" y="2"/>
                    </a:cubicBezTo>
                    <a:cubicBezTo>
                      <a:pt x="1" y="3"/>
                      <a:pt x="0" y="4"/>
                      <a:pt x="0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3" y="6"/>
                      <a:pt x="4" y="4"/>
                      <a:pt x="4" y="1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9" name="Freeform 147">
                <a:extLst>
                  <a:ext uri="{FF2B5EF4-FFF2-40B4-BE49-F238E27FC236}">
                    <a16:creationId xmlns:a16="http://schemas.microsoft.com/office/drawing/2014/main" xmlns="" id="{6F35F7F5-86FD-481C-A42C-9A352CAD2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8153" y="1558212"/>
                <a:ext cx="10775" cy="13172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0 h 5"/>
                  <a:gd name="T4" fmla="*/ 0 w 4"/>
                  <a:gd name="T5" fmla="*/ 1 h 5"/>
                  <a:gd name="T6" fmla="*/ 0 w 4"/>
                  <a:gd name="T7" fmla="*/ 3 h 5"/>
                  <a:gd name="T8" fmla="*/ 1 w 4"/>
                  <a:gd name="T9" fmla="*/ 5 h 5"/>
                  <a:gd name="T10" fmla="*/ 4 w 4"/>
                  <a:gd name="T11" fmla="*/ 4 h 5"/>
                  <a:gd name="T12" fmla="*/ 2 w 4"/>
                  <a:gd name="T13" fmla="*/ 1 h 5"/>
                  <a:gd name="T14" fmla="*/ 1 w 4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1" y="4"/>
                      <a:pt x="0" y="5"/>
                      <a:pt x="1" y="5"/>
                    </a:cubicBezTo>
                    <a:cubicBezTo>
                      <a:pt x="3" y="5"/>
                      <a:pt x="4" y="5"/>
                      <a:pt x="4" y="4"/>
                    </a:cubicBezTo>
                    <a:cubicBezTo>
                      <a:pt x="4" y="2"/>
                      <a:pt x="3" y="2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0" name="Freeform 148">
                <a:extLst>
                  <a:ext uri="{FF2B5EF4-FFF2-40B4-BE49-F238E27FC236}">
                    <a16:creationId xmlns:a16="http://schemas.microsoft.com/office/drawing/2014/main" xmlns="" id="{C670504B-9F1C-4203-9FC8-E303D7736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720" y="1545040"/>
                <a:ext cx="10775" cy="17961"/>
              </a:xfrm>
              <a:custGeom>
                <a:avLst/>
                <a:gdLst>
                  <a:gd name="T0" fmla="*/ 4 w 4"/>
                  <a:gd name="T1" fmla="*/ 4 h 7"/>
                  <a:gd name="T2" fmla="*/ 4 w 4"/>
                  <a:gd name="T3" fmla="*/ 1 h 7"/>
                  <a:gd name="T4" fmla="*/ 3 w 4"/>
                  <a:gd name="T5" fmla="*/ 0 h 7"/>
                  <a:gd name="T6" fmla="*/ 2 w 4"/>
                  <a:gd name="T7" fmla="*/ 1 h 7"/>
                  <a:gd name="T8" fmla="*/ 0 w 4"/>
                  <a:gd name="T9" fmla="*/ 4 h 7"/>
                  <a:gd name="T10" fmla="*/ 0 w 4"/>
                  <a:gd name="T11" fmla="*/ 7 h 7"/>
                  <a:gd name="T12" fmla="*/ 1 w 4"/>
                  <a:gd name="T13" fmla="*/ 7 h 7"/>
                  <a:gd name="T14" fmla="*/ 2 w 4"/>
                  <a:gd name="T15" fmla="*/ 6 h 7"/>
                  <a:gd name="T16" fmla="*/ 4 w 4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1"/>
                      <a:pt x="2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2" y="7"/>
                      <a:pt x="2" y="7"/>
                      <a:pt x="2" y="6"/>
                    </a:cubicBezTo>
                    <a:cubicBezTo>
                      <a:pt x="3" y="5"/>
                      <a:pt x="3" y="5"/>
                      <a:pt x="4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1" name="Freeform 149">
                <a:extLst>
                  <a:ext uri="{FF2B5EF4-FFF2-40B4-BE49-F238E27FC236}">
                    <a16:creationId xmlns:a16="http://schemas.microsoft.com/office/drawing/2014/main" xmlns="" id="{7211D973-5AF5-489B-8027-367A6CA72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283" y="1487564"/>
                <a:ext cx="11973" cy="15567"/>
              </a:xfrm>
              <a:custGeom>
                <a:avLst/>
                <a:gdLst>
                  <a:gd name="T0" fmla="*/ 5 w 5"/>
                  <a:gd name="T1" fmla="*/ 0 h 6"/>
                  <a:gd name="T2" fmla="*/ 3 w 5"/>
                  <a:gd name="T3" fmla="*/ 0 h 6"/>
                  <a:gd name="T4" fmla="*/ 2 w 5"/>
                  <a:gd name="T5" fmla="*/ 1 h 6"/>
                  <a:gd name="T6" fmla="*/ 0 w 5"/>
                  <a:gd name="T7" fmla="*/ 3 h 6"/>
                  <a:gd name="T8" fmla="*/ 1 w 5"/>
                  <a:gd name="T9" fmla="*/ 5 h 6"/>
                  <a:gd name="T10" fmla="*/ 2 w 5"/>
                  <a:gd name="T11" fmla="*/ 6 h 6"/>
                  <a:gd name="T12" fmla="*/ 5 w 5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1"/>
                      <a:pt x="2" y="1"/>
                    </a:cubicBezTo>
                    <a:cubicBezTo>
                      <a:pt x="1" y="1"/>
                      <a:pt x="0" y="1"/>
                      <a:pt x="0" y="3"/>
                    </a:cubicBezTo>
                    <a:cubicBezTo>
                      <a:pt x="0" y="4"/>
                      <a:pt x="0" y="4"/>
                      <a:pt x="1" y="5"/>
                    </a:cubicBezTo>
                    <a:cubicBezTo>
                      <a:pt x="1" y="5"/>
                      <a:pt x="1" y="6"/>
                      <a:pt x="2" y="6"/>
                    </a:cubicBezTo>
                    <a:cubicBezTo>
                      <a:pt x="5" y="6"/>
                      <a:pt x="5" y="3"/>
                      <a:pt x="5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2" name="Freeform 150">
                <a:extLst>
                  <a:ext uri="{FF2B5EF4-FFF2-40B4-BE49-F238E27FC236}">
                    <a16:creationId xmlns:a16="http://schemas.microsoft.com/office/drawing/2014/main" xmlns="" id="{912E46CA-2789-43BB-893F-695A35780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325" y="1464814"/>
                <a:ext cx="20353" cy="22751"/>
              </a:xfrm>
              <a:custGeom>
                <a:avLst/>
                <a:gdLst>
                  <a:gd name="T0" fmla="*/ 1 w 8"/>
                  <a:gd name="T1" fmla="*/ 0 h 9"/>
                  <a:gd name="T2" fmla="*/ 0 w 8"/>
                  <a:gd name="T3" fmla="*/ 0 h 9"/>
                  <a:gd name="T4" fmla="*/ 0 w 8"/>
                  <a:gd name="T5" fmla="*/ 1 h 9"/>
                  <a:gd name="T6" fmla="*/ 1 w 8"/>
                  <a:gd name="T7" fmla="*/ 2 h 9"/>
                  <a:gd name="T8" fmla="*/ 3 w 8"/>
                  <a:gd name="T9" fmla="*/ 5 h 9"/>
                  <a:gd name="T10" fmla="*/ 5 w 8"/>
                  <a:gd name="T11" fmla="*/ 9 h 9"/>
                  <a:gd name="T12" fmla="*/ 8 w 8"/>
                  <a:gd name="T13" fmla="*/ 7 h 9"/>
                  <a:gd name="T14" fmla="*/ 7 w 8"/>
                  <a:gd name="T15" fmla="*/ 5 h 9"/>
                  <a:gd name="T16" fmla="*/ 5 w 8"/>
                  <a:gd name="T17" fmla="*/ 4 h 9"/>
                  <a:gd name="T18" fmla="*/ 1 w 8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9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2" y="4"/>
                      <a:pt x="2" y="4"/>
                      <a:pt x="3" y="5"/>
                    </a:cubicBezTo>
                    <a:cubicBezTo>
                      <a:pt x="4" y="7"/>
                      <a:pt x="3" y="9"/>
                      <a:pt x="5" y="9"/>
                    </a:cubicBezTo>
                    <a:cubicBezTo>
                      <a:pt x="6" y="9"/>
                      <a:pt x="8" y="8"/>
                      <a:pt x="8" y="7"/>
                    </a:cubicBezTo>
                    <a:cubicBezTo>
                      <a:pt x="8" y="6"/>
                      <a:pt x="7" y="6"/>
                      <a:pt x="7" y="5"/>
                    </a:cubicBezTo>
                    <a:cubicBezTo>
                      <a:pt x="6" y="5"/>
                      <a:pt x="6" y="4"/>
                      <a:pt x="5" y="4"/>
                    </a:cubicBezTo>
                    <a:cubicBezTo>
                      <a:pt x="3" y="3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3" name="Freeform 151">
                <a:extLst>
                  <a:ext uri="{FF2B5EF4-FFF2-40B4-BE49-F238E27FC236}">
                    <a16:creationId xmlns:a16="http://schemas.microsoft.com/office/drawing/2014/main" xmlns="" id="{08BBF5DA-E68A-41EC-B452-9F66F5EEC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6536" y="1416917"/>
                <a:ext cx="9578" cy="11974"/>
              </a:xfrm>
              <a:custGeom>
                <a:avLst/>
                <a:gdLst>
                  <a:gd name="T0" fmla="*/ 0 w 4"/>
                  <a:gd name="T1" fmla="*/ 3 h 5"/>
                  <a:gd name="T2" fmla="*/ 2 w 4"/>
                  <a:gd name="T3" fmla="*/ 5 h 5"/>
                  <a:gd name="T4" fmla="*/ 3 w 4"/>
                  <a:gd name="T5" fmla="*/ 4 h 5"/>
                  <a:gd name="T6" fmla="*/ 4 w 4"/>
                  <a:gd name="T7" fmla="*/ 1 h 5"/>
                  <a:gd name="T8" fmla="*/ 2 w 4"/>
                  <a:gd name="T9" fmla="*/ 0 h 5"/>
                  <a:gd name="T10" fmla="*/ 0 w 4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0" y="3"/>
                    </a:moveTo>
                    <a:cubicBezTo>
                      <a:pt x="0" y="4"/>
                      <a:pt x="1" y="5"/>
                      <a:pt x="2" y="5"/>
                    </a:cubicBezTo>
                    <a:cubicBezTo>
                      <a:pt x="3" y="5"/>
                      <a:pt x="3" y="4"/>
                      <a:pt x="3" y="4"/>
                    </a:cubicBezTo>
                    <a:cubicBezTo>
                      <a:pt x="4" y="3"/>
                      <a:pt x="4" y="2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4" name="Freeform 152">
                <a:extLst>
                  <a:ext uri="{FF2B5EF4-FFF2-40B4-BE49-F238E27FC236}">
                    <a16:creationId xmlns:a16="http://schemas.microsoft.com/office/drawing/2014/main" xmlns="" id="{D390AC72-85D8-446C-B432-25FB84537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1612" y="1305557"/>
                <a:ext cx="8382" cy="718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2" y="3"/>
                    </a:cubicBezTo>
                    <a:cubicBezTo>
                      <a:pt x="3" y="3"/>
                      <a:pt x="3" y="2"/>
                      <a:pt x="3" y="1"/>
                    </a:cubicBezTo>
                    <a:cubicBezTo>
                      <a:pt x="3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5" name="Freeform 153">
                <a:extLst>
                  <a:ext uri="{FF2B5EF4-FFF2-40B4-BE49-F238E27FC236}">
                    <a16:creationId xmlns:a16="http://schemas.microsoft.com/office/drawing/2014/main" xmlns="" id="{8F817163-97C1-4E5C-957D-E5A96B8CD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8452" y="1224131"/>
                <a:ext cx="7183" cy="13172"/>
              </a:xfrm>
              <a:custGeom>
                <a:avLst/>
                <a:gdLst>
                  <a:gd name="T0" fmla="*/ 3 w 3"/>
                  <a:gd name="T1" fmla="*/ 2 h 5"/>
                  <a:gd name="T2" fmla="*/ 1 w 3"/>
                  <a:gd name="T3" fmla="*/ 0 h 5"/>
                  <a:gd name="T4" fmla="*/ 0 w 3"/>
                  <a:gd name="T5" fmla="*/ 2 h 5"/>
                  <a:gd name="T6" fmla="*/ 0 w 3"/>
                  <a:gd name="T7" fmla="*/ 5 h 5"/>
                  <a:gd name="T8" fmla="*/ 1 w 3"/>
                  <a:gd name="T9" fmla="*/ 5 h 5"/>
                  <a:gd name="T10" fmla="*/ 3 w 3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3" y="2"/>
                    </a:moveTo>
                    <a:cubicBezTo>
                      <a:pt x="3" y="1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3" y="3"/>
                      <a:pt x="3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6" name="Freeform 154">
                <a:extLst>
                  <a:ext uri="{FF2B5EF4-FFF2-40B4-BE49-F238E27FC236}">
                    <a16:creationId xmlns:a16="http://schemas.microsoft.com/office/drawing/2014/main" xmlns="" id="{D234B92B-993A-4248-B307-9A5952A10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621" y="1221737"/>
                <a:ext cx="7183" cy="13172"/>
              </a:xfrm>
              <a:custGeom>
                <a:avLst/>
                <a:gdLst>
                  <a:gd name="T0" fmla="*/ 3 w 3"/>
                  <a:gd name="T1" fmla="*/ 4 h 5"/>
                  <a:gd name="T2" fmla="*/ 3 w 3"/>
                  <a:gd name="T3" fmla="*/ 2 h 5"/>
                  <a:gd name="T4" fmla="*/ 0 w 3"/>
                  <a:gd name="T5" fmla="*/ 0 h 5"/>
                  <a:gd name="T6" fmla="*/ 0 w 3"/>
                  <a:gd name="T7" fmla="*/ 0 h 5"/>
                  <a:gd name="T8" fmla="*/ 0 w 3"/>
                  <a:gd name="T9" fmla="*/ 2 h 5"/>
                  <a:gd name="T10" fmla="*/ 1 w 3"/>
                  <a:gd name="T11" fmla="*/ 5 h 5"/>
                  <a:gd name="T12" fmla="*/ 3 w 3"/>
                  <a:gd name="T13" fmla="*/ 5 h 5"/>
                  <a:gd name="T14" fmla="*/ 3 w 3"/>
                  <a:gd name="T1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3" y="4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5"/>
                      <a:pt x="1" y="5"/>
                    </a:cubicBezTo>
                    <a:cubicBezTo>
                      <a:pt x="3" y="5"/>
                      <a:pt x="3" y="5"/>
                      <a:pt x="3" y="5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7" name="Freeform 155">
                <a:extLst>
                  <a:ext uri="{FF2B5EF4-FFF2-40B4-BE49-F238E27FC236}">
                    <a16:creationId xmlns:a16="http://schemas.microsoft.com/office/drawing/2014/main" xmlns="" id="{E5EA2DF8-97C5-4258-9CD0-5A9B3BBAE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6410" y="1164261"/>
                <a:ext cx="22748" cy="9580"/>
              </a:xfrm>
              <a:custGeom>
                <a:avLst/>
                <a:gdLst>
                  <a:gd name="T0" fmla="*/ 7 w 9"/>
                  <a:gd name="T1" fmla="*/ 0 h 4"/>
                  <a:gd name="T2" fmla="*/ 0 w 9"/>
                  <a:gd name="T3" fmla="*/ 2 h 4"/>
                  <a:gd name="T4" fmla="*/ 0 w 9"/>
                  <a:gd name="T5" fmla="*/ 3 h 4"/>
                  <a:gd name="T6" fmla="*/ 5 w 9"/>
                  <a:gd name="T7" fmla="*/ 4 h 4"/>
                  <a:gd name="T8" fmla="*/ 9 w 9"/>
                  <a:gd name="T9" fmla="*/ 2 h 4"/>
                  <a:gd name="T10" fmla="*/ 7 w 9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4">
                    <a:moveTo>
                      <a:pt x="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4"/>
                      <a:pt x="3" y="4"/>
                      <a:pt x="5" y="4"/>
                    </a:cubicBezTo>
                    <a:cubicBezTo>
                      <a:pt x="7" y="4"/>
                      <a:pt x="9" y="3"/>
                      <a:pt x="9" y="2"/>
                    </a:cubicBezTo>
                    <a:cubicBezTo>
                      <a:pt x="9" y="0"/>
                      <a:pt x="8" y="0"/>
                      <a:pt x="7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8" name="Freeform 156">
                <a:extLst>
                  <a:ext uri="{FF2B5EF4-FFF2-40B4-BE49-F238E27FC236}">
                    <a16:creationId xmlns:a16="http://schemas.microsoft.com/office/drawing/2014/main" xmlns="" id="{B826CAD8-F49D-49D0-AD19-111C27BF6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478" y="1085230"/>
                <a:ext cx="10775" cy="20357"/>
              </a:xfrm>
              <a:custGeom>
                <a:avLst/>
                <a:gdLst>
                  <a:gd name="T0" fmla="*/ 3 w 4"/>
                  <a:gd name="T1" fmla="*/ 3 h 8"/>
                  <a:gd name="T2" fmla="*/ 1 w 4"/>
                  <a:gd name="T3" fmla="*/ 0 h 8"/>
                  <a:gd name="T4" fmla="*/ 0 w 4"/>
                  <a:gd name="T5" fmla="*/ 0 h 8"/>
                  <a:gd name="T6" fmla="*/ 0 w 4"/>
                  <a:gd name="T7" fmla="*/ 1 h 8"/>
                  <a:gd name="T8" fmla="*/ 1 w 4"/>
                  <a:gd name="T9" fmla="*/ 3 h 8"/>
                  <a:gd name="T10" fmla="*/ 4 w 4"/>
                  <a:gd name="T11" fmla="*/ 8 h 8"/>
                  <a:gd name="T12" fmla="*/ 4 w 4"/>
                  <a:gd name="T13" fmla="*/ 6 h 8"/>
                  <a:gd name="T14" fmla="*/ 3 w 4"/>
                  <a:gd name="T15" fmla="*/ 3 h 8"/>
                  <a:gd name="T16" fmla="*/ 3 w 4"/>
                  <a:gd name="T1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3" y="3"/>
                    </a:moveTo>
                    <a:cubicBezTo>
                      <a:pt x="3" y="2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1" y="5"/>
                      <a:pt x="2" y="7"/>
                      <a:pt x="4" y="8"/>
                    </a:cubicBezTo>
                    <a:cubicBezTo>
                      <a:pt x="4" y="7"/>
                      <a:pt x="4" y="7"/>
                      <a:pt x="4" y="6"/>
                    </a:cubicBezTo>
                    <a:cubicBezTo>
                      <a:pt x="4" y="5"/>
                      <a:pt x="3" y="4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9" name="Freeform 157">
                <a:extLst>
                  <a:ext uri="{FF2B5EF4-FFF2-40B4-BE49-F238E27FC236}">
                    <a16:creationId xmlns:a16="http://schemas.microsoft.com/office/drawing/2014/main" xmlns="" id="{19E2B91A-4EAE-4904-8755-16DCDDEBC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9662" y="1057690"/>
                <a:ext cx="26340" cy="15567"/>
              </a:xfrm>
              <a:custGeom>
                <a:avLst/>
                <a:gdLst>
                  <a:gd name="T0" fmla="*/ 7 w 10"/>
                  <a:gd name="T1" fmla="*/ 0 h 6"/>
                  <a:gd name="T2" fmla="*/ 1 w 10"/>
                  <a:gd name="T3" fmla="*/ 3 h 6"/>
                  <a:gd name="T4" fmla="*/ 0 w 10"/>
                  <a:gd name="T5" fmla="*/ 5 h 6"/>
                  <a:gd name="T6" fmla="*/ 0 w 10"/>
                  <a:gd name="T7" fmla="*/ 6 h 6"/>
                  <a:gd name="T8" fmla="*/ 0 w 10"/>
                  <a:gd name="T9" fmla="*/ 6 h 6"/>
                  <a:gd name="T10" fmla="*/ 3 w 10"/>
                  <a:gd name="T11" fmla="*/ 4 h 6"/>
                  <a:gd name="T12" fmla="*/ 6 w 10"/>
                  <a:gd name="T13" fmla="*/ 3 h 6"/>
                  <a:gd name="T14" fmla="*/ 10 w 10"/>
                  <a:gd name="T15" fmla="*/ 1 h 6"/>
                  <a:gd name="T16" fmla="*/ 7 w 10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7" y="0"/>
                    </a:moveTo>
                    <a:cubicBezTo>
                      <a:pt x="5" y="0"/>
                      <a:pt x="3" y="2"/>
                      <a:pt x="1" y="3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2" y="5"/>
                      <a:pt x="3" y="4"/>
                    </a:cubicBezTo>
                    <a:cubicBezTo>
                      <a:pt x="4" y="4"/>
                      <a:pt x="5" y="4"/>
                      <a:pt x="6" y="3"/>
                    </a:cubicBezTo>
                    <a:cubicBezTo>
                      <a:pt x="8" y="3"/>
                      <a:pt x="10" y="3"/>
                      <a:pt x="10" y="1"/>
                    </a:cubicBezTo>
                    <a:cubicBezTo>
                      <a:pt x="9" y="1"/>
                      <a:pt x="9" y="0"/>
                      <a:pt x="7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0" name="Freeform 158">
                <a:extLst>
                  <a:ext uri="{FF2B5EF4-FFF2-40B4-BE49-F238E27FC236}">
                    <a16:creationId xmlns:a16="http://schemas.microsoft.com/office/drawing/2014/main" xmlns="" id="{A02BB3A5-B0EE-400F-A33E-74D0CEA6B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8750" y="977463"/>
                <a:ext cx="7183" cy="9580"/>
              </a:xfrm>
              <a:custGeom>
                <a:avLst/>
                <a:gdLst>
                  <a:gd name="T0" fmla="*/ 0 w 3"/>
                  <a:gd name="T1" fmla="*/ 2 h 4"/>
                  <a:gd name="T2" fmla="*/ 0 w 3"/>
                  <a:gd name="T3" fmla="*/ 3 h 4"/>
                  <a:gd name="T4" fmla="*/ 1 w 3"/>
                  <a:gd name="T5" fmla="*/ 4 h 4"/>
                  <a:gd name="T6" fmla="*/ 3 w 3"/>
                  <a:gd name="T7" fmla="*/ 1 h 4"/>
                  <a:gd name="T8" fmla="*/ 3 w 3"/>
                  <a:gd name="T9" fmla="*/ 0 h 4"/>
                  <a:gd name="T10" fmla="*/ 0 w 3"/>
                  <a:gd name="T11" fmla="*/ 1 h 4"/>
                  <a:gd name="T12" fmla="*/ 0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2" y="4"/>
                      <a:pt x="3" y="2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1" name="Freeform 159">
                <a:extLst>
                  <a:ext uri="{FF2B5EF4-FFF2-40B4-BE49-F238E27FC236}">
                    <a16:creationId xmlns:a16="http://schemas.microsoft.com/office/drawing/2014/main" xmlns="" id="{01A1BF76-47CA-43E2-B5B6-427B95001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8681" y="946332"/>
                <a:ext cx="11973" cy="13172"/>
              </a:xfrm>
              <a:custGeom>
                <a:avLst/>
                <a:gdLst>
                  <a:gd name="T0" fmla="*/ 0 w 5"/>
                  <a:gd name="T1" fmla="*/ 4 h 5"/>
                  <a:gd name="T2" fmla="*/ 0 w 5"/>
                  <a:gd name="T3" fmla="*/ 5 h 5"/>
                  <a:gd name="T4" fmla="*/ 1 w 5"/>
                  <a:gd name="T5" fmla="*/ 5 h 5"/>
                  <a:gd name="T6" fmla="*/ 3 w 5"/>
                  <a:gd name="T7" fmla="*/ 4 h 5"/>
                  <a:gd name="T8" fmla="*/ 5 w 5"/>
                  <a:gd name="T9" fmla="*/ 1 h 5"/>
                  <a:gd name="T10" fmla="*/ 4 w 5"/>
                  <a:gd name="T11" fmla="*/ 0 h 5"/>
                  <a:gd name="T12" fmla="*/ 0 w 5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0" y="4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4"/>
                      <a:pt x="3" y="4"/>
                    </a:cubicBezTo>
                    <a:cubicBezTo>
                      <a:pt x="4" y="3"/>
                      <a:pt x="5" y="3"/>
                      <a:pt x="5" y="1"/>
                    </a:cubicBezTo>
                    <a:cubicBezTo>
                      <a:pt x="5" y="1"/>
                      <a:pt x="4" y="0"/>
                      <a:pt x="4" y="0"/>
                    </a:cubicBezTo>
                    <a:cubicBezTo>
                      <a:pt x="2" y="1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2" name="Freeform 160">
                <a:extLst>
                  <a:ext uri="{FF2B5EF4-FFF2-40B4-BE49-F238E27FC236}">
                    <a16:creationId xmlns:a16="http://schemas.microsoft.com/office/drawing/2014/main" xmlns="" id="{8EEF767C-93EB-4BF1-831A-7B241FCDF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6994" y="729598"/>
                <a:ext cx="11973" cy="20357"/>
              </a:xfrm>
              <a:custGeom>
                <a:avLst/>
                <a:gdLst>
                  <a:gd name="T0" fmla="*/ 4 w 5"/>
                  <a:gd name="T1" fmla="*/ 0 h 8"/>
                  <a:gd name="T2" fmla="*/ 2 w 5"/>
                  <a:gd name="T3" fmla="*/ 3 h 8"/>
                  <a:gd name="T4" fmla="*/ 0 w 5"/>
                  <a:gd name="T5" fmla="*/ 8 h 8"/>
                  <a:gd name="T6" fmla="*/ 0 w 5"/>
                  <a:gd name="T7" fmla="*/ 8 h 8"/>
                  <a:gd name="T8" fmla="*/ 3 w 5"/>
                  <a:gd name="T9" fmla="*/ 5 h 8"/>
                  <a:gd name="T10" fmla="*/ 5 w 5"/>
                  <a:gd name="T11" fmla="*/ 2 h 8"/>
                  <a:gd name="T12" fmla="*/ 4 w 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8">
                    <a:moveTo>
                      <a:pt x="4" y="0"/>
                    </a:moveTo>
                    <a:cubicBezTo>
                      <a:pt x="2" y="0"/>
                      <a:pt x="2" y="2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8"/>
                      <a:pt x="2" y="7"/>
                      <a:pt x="3" y="5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3" name="Freeform 161">
                <a:extLst>
                  <a:ext uri="{FF2B5EF4-FFF2-40B4-BE49-F238E27FC236}">
                    <a16:creationId xmlns:a16="http://schemas.microsoft.com/office/drawing/2014/main" xmlns="" id="{D8459187-F03C-40ED-AB26-C91C2D645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925" y="706846"/>
                <a:ext cx="22748" cy="22751"/>
              </a:xfrm>
              <a:custGeom>
                <a:avLst/>
                <a:gdLst>
                  <a:gd name="T0" fmla="*/ 6 w 9"/>
                  <a:gd name="T1" fmla="*/ 1 h 9"/>
                  <a:gd name="T2" fmla="*/ 5 w 9"/>
                  <a:gd name="T3" fmla="*/ 0 h 9"/>
                  <a:gd name="T4" fmla="*/ 4 w 9"/>
                  <a:gd name="T5" fmla="*/ 2 h 9"/>
                  <a:gd name="T6" fmla="*/ 0 w 9"/>
                  <a:gd name="T7" fmla="*/ 8 h 9"/>
                  <a:gd name="T8" fmla="*/ 0 w 9"/>
                  <a:gd name="T9" fmla="*/ 9 h 9"/>
                  <a:gd name="T10" fmla="*/ 1 w 9"/>
                  <a:gd name="T11" fmla="*/ 9 h 9"/>
                  <a:gd name="T12" fmla="*/ 3 w 9"/>
                  <a:gd name="T13" fmla="*/ 9 h 9"/>
                  <a:gd name="T14" fmla="*/ 4 w 9"/>
                  <a:gd name="T15" fmla="*/ 7 h 9"/>
                  <a:gd name="T16" fmla="*/ 9 w 9"/>
                  <a:gd name="T17" fmla="*/ 4 h 9"/>
                  <a:gd name="T18" fmla="*/ 9 w 9"/>
                  <a:gd name="T19" fmla="*/ 3 h 9"/>
                  <a:gd name="T20" fmla="*/ 6 w 9"/>
                  <a:gd name="T21" fmla="*/ 2 h 9"/>
                  <a:gd name="T22" fmla="*/ 6 w 9"/>
                  <a:gd name="T2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9">
                    <a:moveTo>
                      <a:pt x="6" y="1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1" y="3"/>
                      <a:pt x="0" y="5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9"/>
                      <a:pt x="1" y="9"/>
                    </a:cubicBezTo>
                    <a:cubicBezTo>
                      <a:pt x="2" y="9"/>
                      <a:pt x="2" y="9"/>
                      <a:pt x="3" y="9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6" y="6"/>
                      <a:pt x="8" y="6"/>
                      <a:pt x="9" y="4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6" y="3"/>
                      <a:pt x="6" y="2"/>
                    </a:cubicBezTo>
                    <a:cubicBezTo>
                      <a:pt x="6" y="2"/>
                      <a:pt x="6" y="1"/>
                      <a:pt x="6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4" name="Freeform 162">
                <a:extLst>
                  <a:ext uri="{FF2B5EF4-FFF2-40B4-BE49-F238E27FC236}">
                    <a16:creationId xmlns:a16="http://schemas.microsoft.com/office/drawing/2014/main" xmlns="" id="{2C46B40E-9F19-4108-8B19-C35775DE6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4042" y="696069"/>
                <a:ext cx="22748" cy="26342"/>
              </a:xfrm>
              <a:custGeom>
                <a:avLst/>
                <a:gdLst>
                  <a:gd name="T0" fmla="*/ 1 w 9"/>
                  <a:gd name="T1" fmla="*/ 4 h 10"/>
                  <a:gd name="T2" fmla="*/ 0 w 9"/>
                  <a:gd name="T3" fmla="*/ 8 h 10"/>
                  <a:gd name="T4" fmla="*/ 0 w 9"/>
                  <a:gd name="T5" fmla="*/ 10 h 10"/>
                  <a:gd name="T6" fmla="*/ 1 w 9"/>
                  <a:gd name="T7" fmla="*/ 10 h 10"/>
                  <a:gd name="T8" fmla="*/ 4 w 9"/>
                  <a:gd name="T9" fmla="*/ 7 h 10"/>
                  <a:gd name="T10" fmla="*/ 4 w 9"/>
                  <a:gd name="T11" fmla="*/ 5 h 10"/>
                  <a:gd name="T12" fmla="*/ 7 w 9"/>
                  <a:gd name="T13" fmla="*/ 4 h 10"/>
                  <a:gd name="T14" fmla="*/ 9 w 9"/>
                  <a:gd name="T15" fmla="*/ 2 h 10"/>
                  <a:gd name="T16" fmla="*/ 9 w 9"/>
                  <a:gd name="T17" fmla="*/ 1 h 10"/>
                  <a:gd name="T18" fmla="*/ 5 w 9"/>
                  <a:gd name="T19" fmla="*/ 1 h 10"/>
                  <a:gd name="T20" fmla="*/ 1 w 9"/>
                  <a:gd name="T2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0">
                    <a:moveTo>
                      <a:pt x="1" y="4"/>
                    </a:moveTo>
                    <a:cubicBezTo>
                      <a:pt x="0" y="5"/>
                      <a:pt x="0" y="6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0"/>
                      <a:pt x="4" y="9"/>
                      <a:pt x="4" y="7"/>
                    </a:cubicBezTo>
                    <a:cubicBezTo>
                      <a:pt x="4" y="7"/>
                      <a:pt x="4" y="6"/>
                      <a:pt x="4" y="5"/>
                    </a:cubicBezTo>
                    <a:cubicBezTo>
                      <a:pt x="5" y="4"/>
                      <a:pt x="6" y="5"/>
                      <a:pt x="7" y="4"/>
                    </a:cubicBezTo>
                    <a:cubicBezTo>
                      <a:pt x="8" y="4"/>
                      <a:pt x="8" y="3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"/>
                      <a:pt x="6" y="0"/>
                      <a:pt x="5" y="1"/>
                    </a:cubicBezTo>
                    <a:cubicBezTo>
                      <a:pt x="3" y="2"/>
                      <a:pt x="3" y="4"/>
                      <a:pt x="1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5" name="Freeform 163">
                <a:extLst>
                  <a:ext uri="{FF2B5EF4-FFF2-40B4-BE49-F238E27FC236}">
                    <a16:creationId xmlns:a16="http://schemas.microsoft.com/office/drawing/2014/main" xmlns="" id="{7385C945-2603-45E1-BACF-CA345FF2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422" y="638593"/>
                <a:ext cx="29932" cy="38317"/>
              </a:xfrm>
              <a:custGeom>
                <a:avLst/>
                <a:gdLst>
                  <a:gd name="T0" fmla="*/ 11 w 12"/>
                  <a:gd name="T1" fmla="*/ 0 h 15"/>
                  <a:gd name="T2" fmla="*/ 10 w 12"/>
                  <a:gd name="T3" fmla="*/ 2 h 15"/>
                  <a:gd name="T4" fmla="*/ 10 w 12"/>
                  <a:gd name="T5" fmla="*/ 5 h 15"/>
                  <a:gd name="T6" fmla="*/ 8 w 12"/>
                  <a:gd name="T7" fmla="*/ 8 h 15"/>
                  <a:gd name="T8" fmla="*/ 5 w 12"/>
                  <a:gd name="T9" fmla="*/ 8 h 15"/>
                  <a:gd name="T10" fmla="*/ 2 w 12"/>
                  <a:gd name="T11" fmla="*/ 5 h 15"/>
                  <a:gd name="T12" fmla="*/ 1 w 12"/>
                  <a:gd name="T13" fmla="*/ 8 h 15"/>
                  <a:gd name="T14" fmla="*/ 0 w 12"/>
                  <a:gd name="T15" fmla="*/ 12 h 15"/>
                  <a:gd name="T16" fmla="*/ 1 w 12"/>
                  <a:gd name="T17" fmla="*/ 13 h 15"/>
                  <a:gd name="T18" fmla="*/ 8 w 12"/>
                  <a:gd name="T19" fmla="*/ 9 h 15"/>
                  <a:gd name="T20" fmla="*/ 8 w 12"/>
                  <a:gd name="T21" fmla="*/ 10 h 15"/>
                  <a:gd name="T22" fmla="*/ 8 w 12"/>
                  <a:gd name="T23" fmla="*/ 13 h 15"/>
                  <a:gd name="T24" fmla="*/ 6 w 12"/>
                  <a:gd name="T25" fmla="*/ 15 h 15"/>
                  <a:gd name="T26" fmla="*/ 6 w 12"/>
                  <a:gd name="T27" fmla="*/ 15 h 15"/>
                  <a:gd name="T28" fmla="*/ 10 w 12"/>
                  <a:gd name="T29" fmla="*/ 11 h 15"/>
                  <a:gd name="T30" fmla="*/ 12 w 12"/>
                  <a:gd name="T31" fmla="*/ 5 h 15"/>
                  <a:gd name="T32" fmla="*/ 11 w 12"/>
                  <a:gd name="T3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5">
                    <a:moveTo>
                      <a:pt x="11" y="0"/>
                    </a:moveTo>
                    <a:cubicBezTo>
                      <a:pt x="10" y="2"/>
                      <a:pt x="10" y="2"/>
                      <a:pt x="10" y="2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6"/>
                      <a:pt x="9" y="8"/>
                      <a:pt x="8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3" y="8"/>
                      <a:pt x="4" y="5"/>
                      <a:pt x="2" y="5"/>
                    </a:cubicBezTo>
                    <a:cubicBezTo>
                      <a:pt x="1" y="5"/>
                      <a:pt x="1" y="7"/>
                      <a:pt x="1" y="8"/>
                    </a:cubicBezTo>
                    <a:cubicBezTo>
                      <a:pt x="1" y="9"/>
                      <a:pt x="0" y="10"/>
                      <a:pt x="0" y="12"/>
                    </a:cubicBezTo>
                    <a:cubicBezTo>
                      <a:pt x="0" y="12"/>
                      <a:pt x="1" y="13"/>
                      <a:pt x="1" y="13"/>
                    </a:cubicBezTo>
                    <a:cubicBezTo>
                      <a:pt x="3" y="11"/>
                      <a:pt x="5" y="9"/>
                      <a:pt x="8" y="9"/>
                    </a:cubicBezTo>
                    <a:cubicBezTo>
                      <a:pt x="8" y="9"/>
                      <a:pt x="8" y="9"/>
                      <a:pt x="8" y="10"/>
                    </a:cubicBezTo>
                    <a:cubicBezTo>
                      <a:pt x="8" y="11"/>
                      <a:pt x="9" y="12"/>
                      <a:pt x="8" y="13"/>
                    </a:cubicBezTo>
                    <a:cubicBezTo>
                      <a:pt x="7" y="14"/>
                      <a:pt x="6" y="14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9" y="15"/>
                      <a:pt x="9" y="13"/>
                      <a:pt x="10" y="11"/>
                    </a:cubicBezTo>
                    <a:cubicBezTo>
                      <a:pt x="11" y="8"/>
                      <a:pt x="12" y="7"/>
                      <a:pt x="12" y="5"/>
                    </a:cubicBezTo>
                    <a:cubicBezTo>
                      <a:pt x="12" y="3"/>
                      <a:pt x="12" y="2"/>
                      <a:pt x="11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6" name="Freeform 164">
                <a:extLst>
                  <a:ext uri="{FF2B5EF4-FFF2-40B4-BE49-F238E27FC236}">
                    <a16:creationId xmlns:a16="http://schemas.microsoft.com/office/drawing/2014/main" xmlns="" id="{6E63AA85-CACF-4DC8-AA10-A99B80E98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4691" y="3602209"/>
                <a:ext cx="548349" cy="623857"/>
              </a:xfrm>
              <a:custGeom>
                <a:avLst/>
                <a:gdLst>
                  <a:gd name="T0" fmla="*/ 14 w 217"/>
                  <a:gd name="T1" fmla="*/ 94 h 247"/>
                  <a:gd name="T2" fmla="*/ 25 w 217"/>
                  <a:gd name="T3" fmla="*/ 84 h 247"/>
                  <a:gd name="T4" fmla="*/ 36 w 217"/>
                  <a:gd name="T5" fmla="*/ 66 h 247"/>
                  <a:gd name="T6" fmla="*/ 67 w 217"/>
                  <a:gd name="T7" fmla="*/ 41 h 247"/>
                  <a:gd name="T8" fmla="*/ 93 w 217"/>
                  <a:gd name="T9" fmla="*/ 28 h 247"/>
                  <a:gd name="T10" fmla="*/ 109 w 217"/>
                  <a:gd name="T11" fmla="*/ 25 h 247"/>
                  <a:gd name="T12" fmla="*/ 128 w 217"/>
                  <a:gd name="T13" fmla="*/ 14 h 247"/>
                  <a:gd name="T14" fmla="*/ 144 w 217"/>
                  <a:gd name="T15" fmla="*/ 14 h 247"/>
                  <a:gd name="T16" fmla="*/ 169 w 217"/>
                  <a:gd name="T17" fmla="*/ 20 h 247"/>
                  <a:gd name="T18" fmla="*/ 190 w 217"/>
                  <a:gd name="T19" fmla="*/ 15 h 247"/>
                  <a:gd name="T20" fmla="*/ 214 w 217"/>
                  <a:gd name="T21" fmla="*/ 5 h 247"/>
                  <a:gd name="T22" fmla="*/ 207 w 217"/>
                  <a:gd name="T23" fmla="*/ 32 h 247"/>
                  <a:gd name="T24" fmla="*/ 190 w 217"/>
                  <a:gd name="T25" fmla="*/ 44 h 247"/>
                  <a:gd name="T26" fmla="*/ 166 w 217"/>
                  <a:gd name="T27" fmla="*/ 37 h 247"/>
                  <a:gd name="T28" fmla="*/ 149 w 217"/>
                  <a:gd name="T29" fmla="*/ 42 h 247"/>
                  <a:gd name="T30" fmla="*/ 121 w 217"/>
                  <a:gd name="T31" fmla="*/ 53 h 247"/>
                  <a:gd name="T32" fmla="*/ 131 w 217"/>
                  <a:gd name="T33" fmla="*/ 68 h 247"/>
                  <a:gd name="T34" fmla="*/ 141 w 217"/>
                  <a:gd name="T35" fmla="*/ 77 h 247"/>
                  <a:gd name="T36" fmla="*/ 130 w 217"/>
                  <a:gd name="T37" fmla="*/ 80 h 247"/>
                  <a:gd name="T38" fmla="*/ 117 w 217"/>
                  <a:gd name="T39" fmla="*/ 77 h 247"/>
                  <a:gd name="T40" fmla="*/ 122 w 217"/>
                  <a:gd name="T41" fmla="*/ 88 h 247"/>
                  <a:gd name="T42" fmla="*/ 108 w 217"/>
                  <a:gd name="T43" fmla="*/ 83 h 247"/>
                  <a:gd name="T44" fmla="*/ 96 w 217"/>
                  <a:gd name="T45" fmla="*/ 64 h 247"/>
                  <a:gd name="T46" fmla="*/ 86 w 217"/>
                  <a:gd name="T47" fmla="*/ 71 h 247"/>
                  <a:gd name="T48" fmla="*/ 95 w 217"/>
                  <a:gd name="T49" fmla="*/ 105 h 247"/>
                  <a:gd name="T50" fmla="*/ 105 w 217"/>
                  <a:gd name="T51" fmla="*/ 128 h 247"/>
                  <a:gd name="T52" fmla="*/ 98 w 217"/>
                  <a:gd name="T53" fmla="*/ 117 h 247"/>
                  <a:gd name="T54" fmla="*/ 98 w 217"/>
                  <a:gd name="T55" fmla="*/ 130 h 247"/>
                  <a:gd name="T56" fmla="*/ 94 w 217"/>
                  <a:gd name="T57" fmla="*/ 138 h 247"/>
                  <a:gd name="T58" fmla="*/ 95 w 217"/>
                  <a:gd name="T59" fmla="*/ 145 h 247"/>
                  <a:gd name="T60" fmla="*/ 112 w 217"/>
                  <a:gd name="T61" fmla="*/ 150 h 247"/>
                  <a:gd name="T62" fmla="*/ 130 w 217"/>
                  <a:gd name="T63" fmla="*/ 162 h 247"/>
                  <a:gd name="T64" fmla="*/ 138 w 217"/>
                  <a:gd name="T65" fmla="*/ 180 h 247"/>
                  <a:gd name="T66" fmla="*/ 137 w 217"/>
                  <a:gd name="T67" fmla="*/ 189 h 247"/>
                  <a:gd name="T68" fmla="*/ 124 w 217"/>
                  <a:gd name="T69" fmla="*/ 178 h 247"/>
                  <a:gd name="T70" fmla="*/ 104 w 217"/>
                  <a:gd name="T71" fmla="*/ 183 h 247"/>
                  <a:gd name="T72" fmla="*/ 115 w 217"/>
                  <a:gd name="T73" fmla="*/ 193 h 247"/>
                  <a:gd name="T74" fmla="*/ 115 w 217"/>
                  <a:gd name="T75" fmla="*/ 203 h 247"/>
                  <a:gd name="T76" fmla="*/ 103 w 217"/>
                  <a:gd name="T77" fmla="*/ 199 h 247"/>
                  <a:gd name="T78" fmla="*/ 94 w 217"/>
                  <a:gd name="T79" fmla="*/ 198 h 247"/>
                  <a:gd name="T80" fmla="*/ 103 w 217"/>
                  <a:gd name="T81" fmla="*/ 221 h 247"/>
                  <a:gd name="T82" fmla="*/ 110 w 217"/>
                  <a:gd name="T83" fmla="*/ 237 h 247"/>
                  <a:gd name="T84" fmla="*/ 98 w 217"/>
                  <a:gd name="T85" fmla="*/ 232 h 247"/>
                  <a:gd name="T86" fmla="*/ 86 w 217"/>
                  <a:gd name="T87" fmla="*/ 247 h 247"/>
                  <a:gd name="T88" fmla="*/ 82 w 217"/>
                  <a:gd name="T89" fmla="*/ 228 h 247"/>
                  <a:gd name="T90" fmla="*/ 67 w 217"/>
                  <a:gd name="T91" fmla="*/ 224 h 247"/>
                  <a:gd name="T92" fmla="*/ 60 w 217"/>
                  <a:gd name="T93" fmla="*/ 225 h 247"/>
                  <a:gd name="T94" fmla="*/ 44 w 217"/>
                  <a:gd name="T95" fmla="*/ 195 h 247"/>
                  <a:gd name="T96" fmla="*/ 45 w 217"/>
                  <a:gd name="T97" fmla="*/ 173 h 247"/>
                  <a:gd name="T98" fmla="*/ 69 w 217"/>
                  <a:gd name="T99" fmla="*/ 170 h 247"/>
                  <a:gd name="T100" fmla="*/ 96 w 217"/>
                  <a:gd name="T101" fmla="*/ 181 h 247"/>
                  <a:gd name="T102" fmla="*/ 101 w 217"/>
                  <a:gd name="T103" fmla="*/ 176 h 247"/>
                  <a:gd name="T104" fmla="*/ 100 w 217"/>
                  <a:gd name="T105" fmla="*/ 168 h 247"/>
                  <a:gd name="T106" fmla="*/ 89 w 217"/>
                  <a:gd name="T107" fmla="*/ 168 h 247"/>
                  <a:gd name="T108" fmla="*/ 79 w 217"/>
                  <a:gd name="T109" fmla="*/ 165 h 247"/>
                  <a:gd name="T110" fmla="*/ 59 w 217"/>
                  <a:gd name="T111" fmla="*/ 165 h 247"/>
                  <a:gd name="T112" fmla="*/ 45 w 217"/>
                  <a:gd name="T113" fmla="*/ 159 h 247"/>
                  <a:gd name="T114" fmla="*/ 33 w 217"/>
                  <a:gd name="T115" fmla="*/ 146 h 247"/>
                  <a:gd name="T116" fmla="*/ 34 w 217"/>
                  <a:gd name="T117" fmla="*/ 140 h 247"/>
                  <a:gd name="T118" fmla="*/ 34 w 217"/>
                  <a:gd name="T119" fmla="*/ 134 h 247"/>
                  <a:gd name="T120" fmla="*/ 21 w 217"/>
                  <a:gd name="T121" fmla="*/ 127 h 247"/>
                  <a:gd name="T122" fmla="*/ 8 w 217"/>
                  <a:gd name="T123" fmla="*/ 108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7" h="247">
                    <a:moveTo>
                      <a:pt x="0" y="102"/>
                    </a:moveTo>
                    <a:cubicBezTo>
                      <a:pt x="1" y="101"/>
                      <a:pt x="3" y="101"/>
                      <a:pt x="4" y="101"/>
                    </a:cubicBezTo>
                    <a:cubicBezTo>
                      <a:pt x="5" y="101"/>
                      <a:pt x="6" y="101"/>
                      <a:pt x="7" y="101"/>
                    </a:cubicBezTo>
                    <a:cubicBezTo>
                      <a:pt x="8" y="102"/>
                      <a:pt x="8" y="102"/>
                      <a:pt x="10" y="102"/>
                    </a:cubicBezTo>
                    <a:cubicBezTo>
                      <a:pt x="11" y="102"/>
                      <a:pt x="11" y="100"/>
                      <a:pt x="12" y="99"/>
                    </a:cubicBezTo>
                    <a:cubicBezTo>
                      <a:pt x="12" y="98"/>
                      <a:pt x="13" y="97"/>
                      <a:pt x="13" y="96"/>
                    </a:cubicBezTo>
                    <a:cubicBezTo>
                      <a:pt x="14" y="96"/>
                      <a:pt x="14" y="95"/>
                      <a:pt x="14" y="94"/>
                    </a:cubicBezTo>
                    <a:cubicBezTo>
                      <a:pt x="14" y="93"/>
                      <a:pt x="14" y="92"/>
                      <a:pt x="13" y="91"/>
                    </a:cubicBezTo>
                    <a:cubicBezTo>
                      <a:pt x="13" y="90"/>
                      <a:pt x="13" y="90"/>
                      <a:pt x="12" y="90"/>
                    </a:cubicBezTo>
                    <a:cubicBezTo>
                      <a:pt x="13" y="89"/>
                      <a:pt x="14" y="89"/>
                      <a:pt x="15" y="89"/>
                    </a:cubicBezTo>
                    <a:cubicBezTo>
                      <a:pt x="16" y="89"/>
                      <a:pt x="17" y="88"/>
                      <a:pt x="18" y="88"/>
                    </a:cubicBezTo>
                    <a:cubicBezTo>
                      <a:pt x="19" y="88"/>
                      <a:pt x="20" y="88"/>
                      <a:pt x="21" y="88"/>
                    </a:cubicBezTo>
                    <a:cubicBezTo>
                      <a:pt x="22" y="87"/>
                      <a:pt x="23" y="87"/>
                      <a:pt x="23" y="86"/>
                    </a:cubicBezTo>
                    <a:cubicBezTo>
                      <a:pt x="24" y="86"/>
                      <a:pt x="24" y="85"/>
                      <a:pt x="25" y="84"/>
                    </a:cubicBezTo>
                    <a:cubicBezTo>
                      <a:pt x="25" y="83"/>
                      <a:pt x="26" y="82"/>
                      <a:pt x="27" y="81"/>
                    </a:cubicBezTo>
                    <a:cubicBezTo>
                      <a:pt x="27" y="79"/>
                      <a:pt x="27" y="78"/>
                      <a:pt x="28" y="77"/>
                    </a:cubicBezTo>
                    <a:cubicBezTo>
                      <a:pt x="29" y="76"/>
                      <a:pt x="29" y="76"/>
                      <a:pt x="30" y="76"/>
                    </a:cubicBezTo>
                    <a:cubicBezTo>
                      <a:pt x="31" y="75"/>
                      <a:pt x="31" y="74"/>
                      <a:pt x="33" y="74"/>
                    </a:cubicBezTo>
                    <a:cubicBezTo>
                      <a:pt x="34" y="73"/>
                      <a:pt x="35" y="72"/>
                      <a:pt x="35" y="70"/>
                    </a:cubicBezTo>
                    <a:cubicBezTo>
                      <a:pt x="35" y="69"/>
                      <a:pt x="35" y="69"/>
                      <a:pt x="35" y="68"/>
                    </a:cubicBezTo>
                    <a:cubicBezTo>
                      <a:pt x="35" y="67"/>
                      <a:pt x="36" y="67"/>
                      <a:pt x="36" y="66"/>
                    </a:cubicBezTo>
                    <a:cubicBezTo>
                      <a:pt x="36" y="64"/>
                      <a:pt x="36" y="63"/>
                      <a:pt x="36" y="62"/>
                    </a:cubicBezTo>
                    <a:cubicBezTo>
                      <a:pt x="36" y="61"/>
                      <a:pt x="36" y="60"/>
                      <a:pt x="36" y="59"/>
                    </a:cubicBezTo>
                    <a:cubicBezTo>
                      <a:pt x="36" y="58"/>
                      <a:pt x="36" y="58"/>
                      <a:pt x="36" y="57"/>
                    </a:cubicBezTo>
                    <a:cubicBezTo>
                      <a:pt x="41" y="53"/>
                      <a:pt x="45" y="52"/>
                      <a:pt x="51" y="50"/>
                    </a:cubicBezTo>
                    <a:cubicBezTo>
                      <a:pt x="54" y="49"/>
                      <a:pt x="56" y="48"/>
                      <a:pt x="59" y="47"/>
                    </a:cubicBezTo>
                    <a:cubicBezTo>
                      <a:pt x="62" y="45"/>
                      <a:pt x="62" y="42"/>
                      <a:pt x="65" y="4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4" y="41"/>
                      <a:pt x="75" y="42"/>
                      <a:pt x="77" y="42"/>
                    </a:cubicBezTo>
                    <a:cubicBezTo>
                      <a:pt x="80" y="42"/>
                      <a:pt x="83" y="42"/>
                      <a:pt x="85" y="39"/>
                    </a:cubicBezTo>
                    <a:cubicBezTo>
                      <a:pt x="85" y="39"/>
                      <a:pt x="86" y="38"/>
                      <a:pt x="86" y="37"/>
                    </a:cubicBezTo>
                    <a:cubicBezTo>
                      <a:pt x="87" y="36"/>
                      <a:pt x="88" y="36"/>
                      <a:pt x="89" y="34"/>
                    </a:cubicBezTo>
                    <a:cubicBezTo>
                      <a:pt x="90" y="33"/>
                      <a:pt x="90" y="32"/>
                      <a:pt x="91" y="30"/>
                    </a:cubicBezTo>
                    <a:cubicBezTo>
                      <a:pt x="91" y="29"/>
                      <a:pt x="92" y="29"/>
                      <a:pt x="93" y="28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6" y="28"/>
                      <a:pt x="97" y="28"/>
                      <a:pt x="99" y="28"/>
                    </a:cubicBezTo>
                    <a:cubicBezTo>
                      <a:pt x="99" y="28"/>
                      <a:pt x="100" y="28"/>
                      <a:pt x="100" y="27"/>
                    </a:cubicBezTo>
                    <a:cubicBezTo>
                      <a:pt x="101" y="27"/>
                      <a:pt x="102" y="27"/>
                      <a:pt x="103" y="26"/>
                    </a:cubicBezTo>
                    <a:cubicBezTo>
                      <a:pt x="104" y="26"/>
                      <a:pt x="105" y="25"/>
                      <a:pt x="106" y="25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8" y="25"/>
                      <a:pt x="108" y="25"/>
                      <a:pt x="109" y="25"/>
                    </a:cubicBezTo>
                    <a:cubicBezTo>
                      <a:pt x="110" y="25"/>
                      <a:pt x="110" y="25"/>
                      <a:pt x="111" y="25"/>
                    </a:cubicBezTo>
                    <a:cubicBezTo>
                      <a:pt x="113" y="25"/>
                      <a:pt x="113" y="25"/>
                      <a:pt x="114" y="24"/>
                    </a:cubicBezTo>
                    <a:cubicBezTo>
                      <a:pt x="116" y="23"/>
                      <a:pt x="117" y="23"/>
                      <a:pt x="118" y="22"/>
                    </a:cubicBezTo>
                    <a:cubicBezTo>
                      <a:pt x="121" y="22"/>
                      <a:pt x="123" y="21"/>
                      <a:pt x="125" y="19"/>
                    </a:cubicBezTo>
                    <a:cubicBezTo>
                      <a:pt x="125" y="19"/>
                      <a:pt x="126" y="18"/>
                      <a:pt x="126" y="18"/>
                    </a:cubicBezTo>
                    <a:cubicBezTo>
                      <a:pt x="126" y="18"/>
                      <a:pt x="127" y="18"/>
                      <a:pt x="127" y="17"/>
                    </a:cubicBezTo>
                    <a:cubicBezTo>
                      <a:pt x="127" y="16"/>
                      <a:pt x="127" y="15"/>
                      <a:pt x="128" y="14"/>
                    </a:cubicBezTo>
                    <a:cubicBezTo>
                      <a:pt x="128" y="14"/>
                      <a:pt x="128" y="13"/>
                      <a:pt x="129" y="13"/>
                    </a:cubicBezTo>
                    <a:cubicBezTo>
                      <a:pt x="130" y="12"/>
                      <a:pt x="132" y="12"/>
                      <a:pt x="133" y="12"/>
                    </a:cubicBezTo>
                    <a:cubicBezTo>
                      <a:pt x="135" y="12"/>
                      <a:pt x="137" y="11"/>
                      <a:pt x="139" y="11"/>
                    </a:cubicBezTo>
                    <a:cubicBezTo>
                      <a:pt x="140" y="11"/>
                      <a:pt x="140" y="10"/>
                      <a:pt x="141" y="10"/>
                    </a:cubicBezTo>
                    <a:cubicBezTo>
                      <a:pt x="142" y="10"/>
                      <a:pt x="142" y="11"/>
                      <a:pt x="142" y="11"/>
                    </a:cubicBezTo>
                    <a:cubicBezTo>
                      <a:pt x="142" y="12"/>
                      <a:pt x="143" y="12"/>
                      <a:pt x="143" y="12"/>
                    </a:cubicBezTo>
                    <a:cubicBezTo>
                      <a:pt x="143" y="13"/>
                      <a:pt x="143" y="14"/>
                      <a:pt x="144" y="14"/>
                    </a:cubicBezTo>
                    <a:cubicBezTo>
                      <a:pt x="145" y="16"/>
                      <a:pt x="145" y="18"/>
                      <a:pt x="147" y="18"/>
                    </a:cubicBezTo>
                    <a:cubicBezTo>
                      <a:pt x="151" y="18"/>
                      <a:pt x="152" y="15"/>
                      <a:pt x="156" y="15"/>
                    </a:cubicBezTo>
                    <a:cubicBezTo>
                      <a:pt x="158" y="15"/>
                      <a:pt x="159" y="15"/>
                      <a:pt x="160" y="15"/>
                    </a:cubicBezTo>
                    <a:cubicBezTo>
                      <a:pt x="161" y="15"/>
                      <a:pt x="161" y="15"/>
                      <a:pt x="162" y="15"/>
                    </a:cubicBezTo>
                    <a:cubicBezTo>
                      <a:pt x="162" y="16"/>
                      <a:pt x="163" y="15"/>
                      <a:pt x="164" y="16"/>
                    </a:cubicBezTo>
                    <a:cubicBezTo>
                      <a:pt x="165" y="16"/>
                      <a:pt x="165" y="17"/>
                      <a:pt x="166" y="18"/>
                    </a:cubicBezTo>
                    <a:cubicBezTo>
                      <a:pt x="167" y="19"/>
                      <a:pt x="168" y="19"/>
                      <a:pt x="169" y="20"/>
                    </a:cubicBezTo>
                    <a:cubicBezTo>
                      <a:pt x="170" y="20"/>
                      <a:pt x="170" y="21"/>
                      <a:pt x="172" y="21"/>
                    </a:cubicBezTo>
                    <a:cubicBezTo>
                      <a:pt x="173" y="21"/>
                      <a:pt x="174" y="21"/>
                      <a:pt x="175" y="20"/>
                    </a:cubicBezTo>
                    <a:cubicBezTo>
                      <a:pt x="175" y="19"/>
                      <a:pt x="175" y="18"/>
                      <a:pt x="176" y="18"/>
                    </a:cubicBezTo>
                    <a:cubicBezTo>
                      <a:pt x="176" y="18"/>
                      <a:pt x="176" y="18"/>
                      <a:pt x="177" y="18"/>
                    </a:cubicBezTo>
                    <a:cubicBezTo>
                      <a:pt x="178" y="18"/>
                      <a:pt x="179" y="17"/>
                      <a:pt x="180" y="17"/>
                    </a:cubicBezTo>
                    <a:cubicBezTo>
                      <a:pt x="182" y="17"/>
                      <a:pt x="183" y="17"/>
                      <a:pt x="184" y="17"/>
                    </a:cubicBezTo>
                    <a:cubicBezTo>
                      <a:pt x="187" y="17"/>
                      <a:pt x="188" y="16"/>
                      <a:pt x="190" y="15"/>
                    </a:cubicBezTo>
                    <a:cubicBezTo>
                      <a:pt x="190" y="15"/>
                      <a:pt x="190" y="15"/>
                      <a:pt x="190" y="15"/>
                    </a:cubicBezTo>
                    <a:cubicBezTo>
                      <a:pt x="191" y="15"/>
                      <a:pt x="191" y="16"/>
                      <a:pt x="191" y="15"/>
                    </a:cubicBezTo>
                    <a:cubicBezTo>
                      <a:pt x="192" y="14"/>
                      <a:pt x="192" y="12"/>
                      <a:pt x="192" y="10"/>
                    </a:cubicBezTo>
                    <a:cubicBezTo>
                      <a:pt x="192" y="2"/>
                      <a:pt x="192" y="2"/>
                      <a:pt x="192" y="2"/>
                    </a:cubicBezTo>
                    <a:cubicBezTo>
                      <a:pt x="196" y="2"/>
                      <a:pt x="198" y="1"/>
                      <a:pt x="201" y="1"/>
                    </a:cubicBezTo>
                    <a:cubicBezTo>
                      <a:pt x="203" y="0"/>
                      <a:pt x="204" y="1"/>
                      <a:pt x="206" y="0"/>
                    </a:cubicBezTo>
                    <a:cubicBezTo>
                      <a:pt x="209" y="2"/>
                      <a:pt x="212" y="3"/>
                      <a:pt x="214" y="5"/>
                    </a:cubicBezTo>
                    <a:cubicBezTo>
                      <a:pt x="216" y="7"/>
                      <a:pt x="216" y="9"/>
                      <a:pt x="216" y="11"/>
                    </a:cubicBezTo>
                    <a:cubicBezTo>
                      <a:pt x="216" y="13"/>
                      <a:pt x="217" y="14"/>
                      <a:pt x="217" y="16"/>
                    </a:cubicBezTo>
                    <a:cubicBezTo>
                      <a:pt x="217" y="17"/>
                      <a:pt x="215" y="18"/>
                      <a:pt x="214" y="19"/>
                    </a:cubicBezTo>
                    <a:cubicBezTo>
                      <a:pt x="213" y="20"/>
                      <a:pt x="212" y="21"/>
                      <a:pt x="211" y="21"/>
                    </a:cubicBezTo>
                    <a:cubicBezTo>
                      <a:pt x="210" y="22"/>
                      <a:pt x="209" y="22"/>
                      <a:pt x="208" y="22"/>
                    </a:cubicBezTo>
                    <a:cubicBezTo>
                      <a:pt x="207" y="23"/>
                      <a:pt x="205" y="23"/>
                      <a:pt x="205" y="24"/>
                    </a:cubicBezTo>
                    <a:cubicBezTo>
                      <a:pt x="205" y="27"/>
                      <a:pt x="207" y="29"/>
                      <a:pt x="207" y="32"/>
                    </a:cubicBezTo>
                    <a:cubicBezTo>
                      <a:pt x="207" y="34"/>
                      <a:pt x="206" y="35"/>
                      <a:pt x="205" y="37"/>
                    </a:cubicBezTo>
                    <a:cubicBezTo>
                      <a:pt x="204" y="39"/>
                      <a:pt x="204" y="40"/>
                      <a:pt x="203" y="42"/>
                    </a:cubicBezTo>
                    <a:cubicBezTo>
                      <a:pt x="201" y="44"/>
                      <a:pt x="199" y="44"/>
                      <a:pt x="197" y="45"/>
                    </a:cubicBezTo>
                    <a:cubicBezTo>
                      <a:pt x="197" y="45"/>
                      <a:pt x="197" y="45"/>
                      <a:pt x="197" y="46"/>
                    </a:cubicBezTo>
                    <a:cubicBezTo>
                      <a:pt x="197" y="46"/>
                      <a:pt x="196" y="45"/>
                      <a:pt x="196" y="45"/>
                    </a:cubicBezTo>
                    <a:cubicBezTo>
                      <a:pt x="196" y="45"/>
                      <a:pt x="195" y="45"/>
                      <a:pt x="195" y="44"/>
                    </a:cubicBezTo>
                    <a:cubicBezTo>
                      <a:pt x="190" y="44"/>
                      <a:pt x="190" y="44"/>
                      <a:pt x="190" y="44"/>
                    </a:cubicBezTo>
                    <a:cubicBezTo>
                      <a:pt x="184" y="44"/>
                      <a:pt x="181" y="41"/>
                      <a:pt x="176" y="41"/>
                    </a:cubicBezTo>
                    <a:cubicBezTo>
                      <a:pt x="175" y="41"/>
                      <a:pt x="174" y="41"/>
                      <a:pt x="173" y="42"/>
                    </a:cubicBezTo>
                    <a:cubicBezTo>
                      <a:pt x="173" y="42"/>
                      <a:pt x="173" y="42"/>
                      <a:pt x="173" y="42"/>
                    </a:cubicBezTo>
                    <a:cubicBezTo>
                      <a:pt x="173" y="40"/>
                      <a:pt x="172" y="38"/>
                      <a:pt x="171" y="37"/>
                    </a:cubicBezTo>
                    <a:cubicBezTo>
                      <a:pt x="169" y="35"/>
                      <a:pt x="169" y="33"/>
                      <a:pt x="167" y="32"/>
                    </a:cubicBezTo>
                    <a:cubicBezTo>
                      <a:pt x="167" y="33"/>
                      <a:pt x="166" y="34"/>
                      <a:pt x="166" y="35"/>
                    </a:cubicBezTo>
                    <a:cubicBezTo>
                      <a:pt x="166" y="37"/>
                      <a:pt x="166" y="37"/>
                      <a:pt x="166" y="37"/>
                    </a:cubicBezTo>
                    <a:cubicBezTo>
                      <a:pt x="166" y="38"/>
                      <a:pt x="166" y="38"/>
                      <a:pt x="166" y="39"/>
                    </a:cubicBezTo>
                    <a:cubicBezTo>
                      <a:pt x="166" y="41"/>
                      <a:pt x="164" y="40"/>
                      <a:pt x="163" y="42"/>
                    </a:cubicBezTo>
                    <a:cubicBezTo>
                      <a:pt x="162" y="43"/>
                      <a:pt x="162" y="44"/>
                      <a:pt x="161" y="44"/>
                    </a:cubicBezTo>
                    <a:cubicBezTo>
                      <a:pt x="160" y="45"/>
                      <a:pt x="160" y="45"/>
                      <a:pt x="159" y="45"/>
                    </a:cubicBezTo>
                    <a:cubicBezTo>
                      <a:pt x="157" y="46"/>
                      <a:pt x="156" y="48"/>
                      <a:pt x="153" y="48"/>
                    </a:cubicBezTo>
                    <a:cubicBezTo>
                      <a:pt x="152" y="48"/>
                      <a:pt x="151" y="47"/>
                      <a:pt x="150" y="45"/>
                    </a:cubicBezTo>
                    <a:cubicBezTo>
                      <a:pt x="150" y="44"/>
                      <a:pt x="149" y="43"/>
                      <a:pt x="149" y="42"/>
                    </a:cubicBezTo>
                    <a:cubicBezTo>
                      <a:pt x="147" y="43"/>
                      <a:pt x="146" y="44"/>
                      <a:pt x="144" y="45"/>
                    </a:cubicBezTo>
                    <a:cubicBezTo>
                      <a:pt x="143" y="45"/>
                      <a:pt x="142" y="45"/>
                      <a:pt x="141" y="45"/>
                    </a:cubicBezTo>
                    <a:cubicBezTo>
                      <a:pt x="141" y="48"/>
                      <a:pt x="140" y="51"/>
                      <a:pt x="137" y="51"/>
                    </a:cubicBezTo>
                    <a:cubicBezTo>
                      <a:pt x="135" y="51"/>
                      <a:pt x="133" y="51"/>
                      <a:pt x="131" y="50"/>
                    </a:cubicBezTo>
                    <a:cubicBezTo>
                      <a:pt x="129" y="50"/>
                      <a:pt x="129" y="49"/>
                      <a:pt x="127" y="49"/>
                    </a:cubicBezTo>
                    <a:cubicBezTo>
                      <a:pt x="125" y="49"/>
                      <a:pt x="124" y="53"/>
                      <a:pt x="122" y="53"/>
                    </a:cubicBezTo>
                    <a:cubicBezTo>
                      <a:pt x="121" y="53"/>
                      <a:pt x="121" y="53"/>
                      <a:pt x="121" y="53"/>
                    </a:cubicBezTo>
                    <a:cubicBezTo>
                      <a:pt x="121" y="53"/>
                      <a:pt x="121" y="54"/>
                      <a:pt x="121" y="54"/>
                    </a:cubicBezTo>
                    <a:cubicBezTo>
                      <a:pt x="121" y="55"/>
                      <a:pt x="122" y="56"/>
                      <a:pt x="123" y="57"/>
                    </a:cubicBezTo>
                    <a:cubicBezTo>
                      <a:pt x="124" y="58"/>
                      <a:pt x="125" y="57"/>
                      <a:pt x="126" y="58"/>
                    </a:cubicBezTo>
                    <a:cubicBezTo>
                      <a:pt x="128" y="58"/>
                      <a:pt x="128" y="59"/>
                      <a:pt x="129" y="61"/>
                    </a:cubicBezTo>
                    <a:cubicBezTo>
                      <a:pt x="129" y="61"/>
                      <a:pt x="130" y="62"/>
                      <a:pt x="130" y="63"/>
                    </a:cubicBezTo>
                    <a:cubicBezTo>
                      <a:pt x="130" y="64"/>
                      <a:pt x="129" y="65"/>
                      <a:pt x="128" y="65"/>
                    </a:cubicBezTo>
                    <a:cubicBezTo>
                      <a:pt x="130" y="66"/>
                      <a:pt x="130" y="68"/>
                      <a:pt x="131" y="68"/>
                    </a:cubicBezTo>
                    <a:cubicBezTo>
                      <a:pt x="133" y="69"/>
                      <a:pt x="134" y="68"/>
                      <a:pt x="135" y="69"/>
                    </a:cubicBezTo>
                    <a:cubicBezTo>
                      <a:pt x="136" y="69"/>
                      <a:pt x="136" y="70"/>
                      <a:pt x="137" y="71"/>
                    </a:cubicBezTo>
                    <a:cubicBezTo>
                      <a:pt x="139" y="72"/>
                      <a:pt x="140" y="72"/>
                      <a:pt x="141" y="73"/>
                    </a:cubicBezTo>
                    <a:cubicBezTo>
                      <a:pt x="143" y="74"/>
                      <a:pt x="143" y="74"/>
                      <a:pt x="144" y="76"/>
                    </a:cubicBezTo>
                    <a:cubicBezTo>
                      <a:pt x="145" y="77"/>
                      <a:pt x="146" y="77"/>
                      <a:pt x="146" y="79"/>
                    </a:cubicBezTo>
                    <a:cubicBezTo>
                      <a:pt x="146" y="81"/>
                      <a:pt x="146" y="81"/>
                      <a:pt x="146" y="81"/>
                    </a:cubicBezTo>
                    <a:cubicBezTo>
                      <a:pt x="144" y="80"/>
                      <a:pt x="143" y="79"/>
                      <a:pt x="141" y="77"/>
                    </a:cubicBezTo>
                    <a:cubicBezTo>
                      <a:pt x="140" y="76"/>
                      <a:pt x="140" y="75"/>
                      <a:pt x="138" y="74"/>
                    </a:cubicBezTo>
                    <a:cubicBezTo>
                      <a:pt x="136" y="74"/>
                      <a:pt x="135" y="74"/>
                      <a:pt x="133" y="73"/>
                    </a:cubicBezTo>
                    <a:cubicBezTo>
                      <a:pt x="131" y="73"/>
                      <a:pt x="131" y="71"/>
                      <a:pt x="129" y="71"/>
                    </a:cubicBezTo>
                    <a:cubicBezTo>
                      <a:pt x="127" y="71"/>
                      <a:pt x="126" y="72"/>
                      <a:pt x="124" y="73"/>
                    </a:cubicBezTo>
                    <a:cubicBezTo>
                      <a:pt x="124" y="74"/>
                      <a:pt x="123" y="73"/>
                      <a:pt x="123" y="74"/>
                    </a:cubicBezTo>
                    <a:cubicBezTo>
                      <a:pt x="123" y="76"/>
                      <a:pt x="125" y="77"/>
                      <a:pt x="126" y="78"/>
                    </a:cubicBezTo>
                    <a:cubicBezTo>
                      <a:pt x="128" y="79"/>
                      <a:pt x="129" y="79"/>
                      <a:pt x="130" y="80"/>
                    </a:cubicBezTo>
                    <a:cubicBezTo>
                      <a:pt x="133" y="81"/>
                      <a:pt x="133" y="85"/>
                      <a:pt x="133" y="88"/>
                    </a:cubicBezTo>
                    <a:cubicBezTo>
                      <a:pt x="133" y="89"/>
                      <a:pt x="133" y="89"/>
                      <a:pt x="133" y="90"/>
                    </a:cubicBezTo>
                    <a:cubicBezTo>
                      <a:pt x="132" y="89"/>
                      <a:pt x="132" y="89"/>
                      <a:pt x="131" y="87"/>
                    </a:cubicBezTo>
                    <a:cubicBezTo>
                      <a:pt x="130" y="85"/>
                      <a:pt x="127" y="86"/>
                      <a:pt x="126" y="84"/>
                    </a:cubicBezTo>
                    <a:cubicBezTo>
                      <a:pt x="125" y="82"/>
                      <a:pt x="124" y="81"/>
                      <a:pt x="123" y="80"/>
                    </a:cubicBezTo>
                    <a:cubicBezTo>
                      <a:pt x="123" y="79"/>
                      <a:pt x="123" y="79"/>
                      <a:pt x="123" y="78"/>
                    </a:cubicBezTo>
                    <a:cubicBezTo>
                      <a:pt x="121" y="77"/>
                      <a:pt x="119" y="77"/>
                      <a:pt x="117" y="77"/>
                    </a:cubicBezTo>
                    <a:cubicBezTo>
                      <a:pt x="116" y="76"/>
                      <a:pt x="115" y="75"/>
                      <a:pt x="113" y="75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10" y="78"/>
                      <a:pt x="110" y="78"/>
                      <a:pt x="110" y="78"/>
                    </a:cubicBezTo>
                    <a:cubicBezTo>
                      <a:pt x="110" y="79"/>
                      <a:pt x="110" y="80"/>
                      <a:pt x="111" y="81"/>
                    </a:cubicBezTo>
                    <a:cubicBezTo>
                      <a:pt x="112" y="82"/>
                      <a:pt x="113" y="82"/>
                      <a:pt x="115" y="83"/>
                    </a:cubicBezTo>
                    <a:cubicBezTo>
                      <a:pt x="116" y="83"/>
                      <a:pt x="116" y="84"/>
                      <a:pt x="117" y="85"/>
                    </a:cubicBezTo>
                    <a:cubicBezTo>
                      <a:pt x="119" y="86"/>
                      <a:pt x="121" y="86"/>
                      <a:pt x="122" y="88"/>
                    </a:cubicBezTo>
                    <a:cubicBezTo>
                      <a:pt x="124" y="90"/>
                      <a:pt x="124" y="91"/>
                      <a:pt x="127" y="92"/>
                    </a:cubicBezTo>
                    <a:cubicBezTo>
                      <a:pt x="126" y="93"/>
                      <a:pt x="126" y="93"/>
                      <a:pt x="126" y="93"/>
                    </a:cubicBezTo>
                    <a:cubicBezTo>
                      <a:pt x="123" y="93"/>
                      <a:pt x="122" y="92"/>
                      <a:pt x="119" y="91"/>
                    </a:cubicBezTo>
                    <a:cubicBezTo>
                      <a:pt x="117" y="90"/>
                      <a:pt x="116" y="90"/>
                      <a:pt x="114" y="90"/>
                    </a:cubicBezTo>
                    <a:cubicBezTo>
                      <a:pt x="113" y="89"/>
                      <a:pt x="112" y="90"/>
                      <a:pt x="111" y="89"/>
                    </a:cubicBezTo>
                    <a:cubicBezTo>
                      <a:pt x="110" y="89"/>
                      <a:pt x="111" y="88"/>
                      <a:pt x="110" y="87"/>
                    </a:cubicBezTo>
                    <a:cubicBezTo>
                      <a:pt x="109" y="86"/>
                      <a:pt x="109" y="85"/>
                      <a:pt x="108" y="83"/>
                    </a:cubicBezTo>
                    <a:cubicBezTo>
                      <a:pt x="107" y="82"/>
                      <a:pt x="107" y="80"/>
                      <a:pt x="107" y="78"/>
                    </a:cubicBezTo>
                    <a:cubicBezTo>
                      <a:pt x="106" y="76"/>
                      <a:pt x="104" y="76"/>
                      <a:pt x="102" y="75"/>
                    </a:cubicBezTo>
                    <a:cubicBezTo>
                      <a:pt x="100" y="74"/>
                      <a:pt x="99" y="74"/>
                      <a:pt x="97" y="73"/>
                    </a:cubicBezTo>
                    <a:cubicBezTo>
                      <a:pt x="96" y="73"/>
                      <a:pt x="96" y="73"/>
                      <a:pt x="95" y="72"/>
                    </a:cubicBezTo>
                    <a:cubicBezTo>
                      <a:pt x="94" y="72"/>
                      <a:pt x="94" y="71"/>
                      <a:pt x="94" y="70"/>
                    </a:cubicBezTo>
                    <a:cubicBezTo>
                      <a:pt x="94" y="69"/>
                      <a:pt x="93" y="69"/>
                      <a:pt x="93" y="68"/>
                    </a:cubicBezTo>
                    <a:cubicBezTo>
                      <a:pt x="93" y="66"/>
                      <a:pt x="96" y="66"/>
                      <a:pt x="96" y="64"/>
                    </a:cubicBezTo>
                    <a:cubicBezTo>
                      <a:pt x="96" y="63"/>
                      <a:pt x="96" y="61"/>
                      <a:pt x="94" y="61"/>
                    </a:cubicBezTo>
                    <a:cubicBezTo>
                      <a:pt x="92" y="61"/>
                      <a:pt x="91" y="62"/>
                      <a:pt x="90" y="63"/>
                    </a:cubicBezTo>
                    <a:cubicBezTo>
                      <a:pt x="89" y="64"/>
                      <a:pt x="88" y="65"/>
                      <a:pt x="87" y="65"/>
                    </a:cubicBezTo>
                    <a:cubicBezTo>
                      <a:pt x="87" y="66"/>
                      <a:pt x="86" y="65"/>
                      <a:pt x="86" y="66"/>
                    </a:cubicBezTo>
                    <a:cubicBezTo>
                      <a:pt x="86" y="66"/>
                      <a:pt x="86" y="67"/>
                      <a:pt x="86" y="67"/>
                    </a:cubicBezTo>
                    <a:cubicBezTo>
                      <a:pt x="86" y="70"/>
                      <a:pt x="86" y="70"/>
                      <a:pt x="86" y="70"/>
                    </a:cubicBezTo>
                    <a:cubicBezTo>
                      <a:pt x="86" y="71"/>
                      <a:pt x="86" y="71"/>
                      <a:pt x="86" y="71"/>
                    </a:cubicBezTo>
                    <a:cubicBezTo>
                      <a:pt x="86" y="71"/>
                      <a:pt x="87" y="71"/>
                      <a:pt x="87" y="72"/>
                    </a:cubicBezTo>
                    <a:cubicBezTo>
                      <a:pt x="87" y="74"/>
                      <a:pt x="85" y="75"/>
                      <a:pt x="85" y="77"/>
                    </a:cubicBezTo>
                    <a:cubicBezTo>
                      <a:pt x="84" y="80"/>
                      <a:pt x="85" y="82"/>
                      <a:pt x="83" y="85"/>
                    </a:cubicBezTo>
                    <a:cubicBezTo>
                      <a:pt x="84" y="88"/>
                      <a:pt x="86" y="90"/>
                      <a:pt x="88" y="93"/>
                    </a:cubicBezTo>
                    <a:cubicBezTo>
                      <a:pt x="89" y="94"/>
                      <a:pt x="89" y="94"/>
                      <a:pt x="89" y="95"/>
                    </a:cubicBezTo>
                    <a:cubicBezTo>
                      <a:pt x="91" y="97"/>
                      <a:pt x="92" y="98"/>
                      <a:pt x="94" y="99"/>
                    </a:cubicBezTo>
                    <a:cubicBezTo>
                      <a:pt x="95" y="101"/>
                      <a:pt x="94" y="103"/>
                      <a:pt x="95" y="105"/>
                    </a:cubicBezTo>
                    <a:cubicBezTo>
                      <a:pt x="97" y="108"/>
                      <a:pt x="98" y="108"/>
                      <a:pt x="101" y="109"/>
                    </a:cubicBezTo>
                    <a:cubicBezTo>
                      <a:pt x="103" y="111"/>
                      <a:pt x="103" y="112"/>
                      <a:pt x="105" y="114"/>
                    </a:cubicBezTo>
                    <a:cubicBezTo>
                      <a:pt x="106" y="114"/>
                      <a:pt x="107" y="114"/>
                      <a:pt x="108" y="115"/>
                    </a:cubicBezTo>
                    <a:cubicBezTo>
                      <a:pt x="109" y="117"/>
                      <a:pt x="109" y="118"/>
                      <a:pt x="109" y="119"/>
                    </a:cubicBezTo>
                    <a:cubicBezTo>
                      <a:pt x="110" y="121"/>
                      <a:pt x="112" y="122"/>
                      <a:pt x="112" y="124"/>
                    </a:cubicBezTo>
                    <a:cubicBezTo>
                      <a:pt x="112" y="125"/>
                      <a:pt x="111" y="126"/>
                      <a:pt x="110" y="126"/>
                    </a:cubicBezTo>
                    <a:cubicBezTo>
                      <a:pt x="108" y="127"/>
                      <a:pt x="107" y="128"/>
                      <a:pt x="105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26"/>
                      <a:pt x="105" y="126"/>
                      <a:pt x="105" y="126"/>
                    </a:cubicBezTo>
                    <a:cubicBezTo>
                      <a:pt x="106" y="126"/>
                      <a:pt x="106" y="126"/>
                      <a:pt x="107" y="126"/>
                    </a:cubicBezTo>
                    <a:cubicBezTo>
                      <a:pt x="107" y="126"/>
                      <a:pt x="108" y="126"/>
                      <a:pt x="108" y="125"/>
                    </a:cubicBezTo>
                    <a:cubicBezTo>
                      <a:pt x="108" y="123"/>
                      <a:pt x="107" y="123"/>
                      <a:pt x="106" y="122"/>
                    </a:cubicBezTo>
                    <a:cubicBezTo>
                      <a:pt x="104" y="119"/>
                      <a:pt x="102" y="119"/>
                      <a:pt x="99" y="117"/>
                    </a:cubicBezTo>
                    <a:cubicBezTo>
                      <a:pt x="98" y="117"/>
                      <a:pt x="98" y="117"/>
                      <a:pt x="98" y="117"/>
                    </a:cubicBezTo>
                    <a:cubicBezTo>
                      <a:pt x="98" y="118"/>
                      <a:pt x="98" y="119"/>
                      <a:pt x="98" y="119"/>
                    </a:cubicBezTo>
                    <a:cubicBezTo>
                      <a:pt x="98" y="120"/>
                      <a:pt x="97" y="120"/>
                      <a:pt x="96" y="120"/>
                    </a:cubicBezTo>
                    <a:cubicBezTo>
                      <a:pt x="94" y="121"/>
                      <a:pt x="93" y="121"/>
                      <a:pt x="91" y="122"/>
                    </a:cubicBezTo>
                    <a:cubicBezTo>
                      <a:pt x="91" y="123"/>
                      <a:pt x="92" y="123"/>
                      <a:pt x="92" y="125"/>
                    </a:cubicBezTo>
                    <a:cubicBezTo>
                      <a:pt x="92" y="127"/>
                      <a:pt x="92" y="127"/>
                      <a:pt x="92" y="127"/>
                    </a:cubicBezTo>
                    <a:cubicBezTo>
                      <a:pt x="97" y="127"/>
                      <a:pt x="97" y="127"/>
                      <a:pt x="97" y="127"/>
                    </a:cubicBezTo>
                    <a:cubicBezTo>
                      <a:pt x="98" y="128"/>
                      <a:pt x="98" y="129"/>
                      <a:pt x="98" y="130"/>
                    </a:cubicBezTo>
                    <a:cubicBezTo>
                      <a:pt x="98" y="131"/>
                      <a:pt x="98" y="132"/>
                      <a:pt x="97" y="133"/>
                    </a:cubicBezTo>
                    <a:cubicBezTo>
                      <a:pt x="98" y="133"/>
                      <a:pt x="98" y="133"/>
                      <a:pt x="99" y="133"/>
                    </a:cubicBezTo>
                    <a:cubicBezTo>
                      <a:pt x="100" y="133"/>
                      <a:pt x="100" y="133"/>
                      <a:pt x="101" y="133"/>
                    </a:cubicBezTo>
                    <a:cubicBezTo>
                      <a:pt x="101" y="133"/>
                      <a:pt x="101" y="133"/>
                      <a:pt x="102" y="133"/>
                    </a:cubicBezTo>
                    <a:cubicBezTo>
                      <a:pt x="101" y="135"/>
                      <a:pt x="101" y="135"/>
                      <a:pt x="100" y="137"/>
                    </a:cubicBezTo>
                    <a:cubicBezTo>
                      <a:pt x="99" y="138"/>
                      <a:pt x="98" y="137"/>
                      <a:pt x="97" y="137"/>
                    </a:cubicBezTo>
                    <a:cubicBezTo>
                      <a:pt x="96" y="138"/>
                      <a:pt x="95" y="138"/>
                      <a:pt x="94" y="138"/>
                    </a:cubicBezTo>
                    <a:cubicBezTo>
                      <a:pt x="93" y="138"/>
                      <a:pt x="92" y="139"/>
                      <a:pt x="91" y="139"/>
                    </a:cubicBezTo>
                    <a:cubicBezTo>
                      <a:pt x="90" y="139"/>
                      <a:pt x="90" y="139"/>
                      <a:pt x="89" y="139"/>
                    </a:cubicBezTo>
                    <a:cubicBezTo>
                      <a:pt x="88" y="139"/>
                      <a:pt x="88" y="139"/>
                      <a:pt x="88" y="139"/>
                    </a:cubicBezTo>
                    <a:cubicBezTo>
                      <a:pt x="88" y="140"/>
                      <a:pt x="87" y="140"/>
                      <a:pt x="87" y="141"/>
                    </a:cubicBezTo>
                    <a:cubicBezTo>
                      <a:pt x="87" y="142"/>
                      <a:pt x="88" y="143"/>
                      <a:pt x="89" y="143"/>
                    </a:cubicBezTo>
                    <a:cubicBezTo>
                      <a:pt x="90" y="143"/>
                      <a:pt x="91" y="143"/>
                      <a:pt x="92" y="143"/>
                    </a:cubicBezTo>
                    <a:cubicBezTo>
                      <a:pt x="93" y="143"/>
                      <a:pt x="94" y="144"/>
                      <a:pt x="95" y="145"/>
                    </a:cubicBezTo>
                    <a:cubicBezTo>
                      <a:pt x="96" y="145"/>
                      <a:pt x="97" y="145"/>
                      <a:pt x="99" y="146"/>
                    </a:cubicBezTo>
                    <a:cubicBezTo>
                      <a:pt x="101" y="146"/>
                      <a:pt x="102" y="146"/>
                      <a:pt x="103" y="148"/>
                    </a:cubicBezTo>
                    <a:cubicBezTo>
                      <a:pt x="104" y="149"/>
                      <a:pt x="103" y="150"/>
                      <a:pt x="104" y="151"/>
                    </a:cubicBezTo>
                    <a:cubicBezTo>
                      <a:pt x="104" y="151"/>
                      <a:pt x="105" y="151"/>
                      <a:pt x="106" y="151"/>
                    </a:cubicBezTo>
                    <a:cubicBezTo>
                      <a:pt x="107" y="151"/>
                      <a:pt x="108" y="151"/>
                      <a:pt x="109" y="150"/>
                    </a:cubicBezTo>
                    <a:cubicBezTo>
                      <a:pt x="109" y="150"/>
                      <a:pt x="109" y="149"/>
                      <a:pt x="110" y="149"/>
                    </a:cubicBezTo>
                    <a:cubicBezTo>
                      <a:pt x="111" y="149"/>
                      <a:pt x="111" y="150"/>
                      <a:pt x="112" y="150"/>
                    </a:cubicBezTo>
                    <a:cubicBezTo>
                      <a:pt x="113" y="150"/>
                      <a:pt x="114" y="150"/>
                      <a:pt x="114" y="151"/>
                    </a:cubicBezTo>
                    <a:cubicBezTo>
                      <a:pt x="115" y="153"/>
                      <a:pt x="114" y="154"/>
                      <a:pt x="114" y="156"/>
                    </a:cubicBezTo>
                    <a:cubicBezTo>
                      <a:pt x="116" y="157"/>
                      <a:pt x="117" y="157"/>
                      <a:pt x="118" y="157"/>
                    </a:cubicBezTo>
                    <a:cubicBezTo>
                      <a:pt x="120" y="157"/>
                      <a:pt x="121" y="156"/>
                      <a:pt x="122" y="156"/>
                    </a:cubicBezTo>
                    <a:cubicBezTo>
                      <a:pt x="123" y="156"/>
                      <a:pt x="123" y="157"/>
                      <a:pt x="123" y="158"/>
                    </a:cubicBezTo>
                    <a:cubicBezTo>
                      <a:pt x="123" y="159"/>
                      <a:pt x="124" y="159"/>
                      <a:pt x="125" y="160"/>
                    </a:cubicBezTo>
                    <a:cubicBezTo>
                      <a:pt x="127" y="161"/>
                      <a:pt x="128" y="161"/>
                      <a:pt x="130" y="162"/>
                    </a:cubicBezTo>
                    <a:cubicBezTo>
                      <a:pt x="132" y="163"/>
                      <a:pt x="133" y="163"/>
                      <a:pt x="135" y="164"/>
                    </a:cubicBezTo>
                    <a:cubicBezTo>
                      <a:pt x="136" y="165"/>
                      <a:pt x="136" y="165"/>
                      <a:pt x="137" y="166"/>
                    </a:cubicBezTo>
                    <a:cubicBezTo>
                      <a:pt x="138" y="166"/>
                      <a:pt x="139" y="166"/>
                      <a:pt x="139" y="168"/>
                    </a:cubicBezTo>
                    <a:cubicBezTo>
                      <a:pt x="139" y="169"/>
                      <a:pt x="139" y="169"/>
                      <a:pt x="138" y="170"/>
                    </a:cubicBezTo>
                    <a:cubicBezTo>
                      <a:pt x="138" y="171"/>
                      <a:pt x="137" y="170"/>
                      <a:pt x="137" y="171"/>
                    </a:cubicBezTo>
                    <a:cubicBezTo>
                      <a:pt x="136" y="172"/>
                      <a:pt x="137" y="173"/>
                      <a:pt x="137" y="174"/>
                    </a:cubicBezTo>
                    <a:cubicBezTo>
                      <a:pt x="137" y="177"/>
                      <a:pt x="136" y="179"/>
                      <a:pt x="138" y="180"/>
                    </a:cubicBezTo>
                    <a:cubicBezTo>
                      <a:pt x="139" y="181"/>
                      <a:pt x="139" y="181"/>
                      <a:pt x="140" y="182"/>
                    </a:cubicBezTo>
                    <a:cubicBezTo>
                      <a:pt x="141" y="184"/>
                      <a:pt x="141" y="185"/>
                      <a:pt x="141" y="187"/>
                    </a:cubicBezTo>
                    <a:cubicBezTo>
                      <a:pt x="141" y="188"/>
                      <a:pt x="141" y="189"/>
                      <a:pt x="141" y="190"/>
                    </a:cubicBezTo>
                    <a:cubicBezTo>
                      <a:pt x="141" y="190"/>
                      <a:pt x="142" y="190"/>
                      <a:pt x="142" y="191"/>
                    </a:cubicBezTo>
                    <a:cubicBezTo>
                      <a:pt x="142" y="192"/>
                      <a:pt x="142" y="192"/>
                      <a:pt x="142" y="192"/>
                    </a:cubicBezTo>
                    <a:cubicBezTo>
                      <a:pt x="138" y="192"/>
                      <a:pt x="138" y="192"/>
                      <a:pt x="138" y="192"/>
                    </a:cubicBezTo>
                    <a:cubicBezTo>
                      <a:pt x="137" y="192"/>
                      <a:pt x="137" y="190"/>
                      <a:pt x="137" y="189"/>
                    </a:cubicBezTo>
                    <a:cubicBezTo>
                      <a:pt x="137" y="188"/>
                      <a:pt x="136" y="188"/>
                      <a:pt x="136" y="187"/>
                    </a:cubicBezTo>
                    <a:cubicBezTo>
                      <a:pt x="136" y="186"/>
                      <a:pt x="136" y="186"/>
                      <a:pt x="137" y="185"/>
                    </a:cubicBezTo>
                    <a:cubicBezTo>
                      <a:pt x="135" y="185"/>
                      <a:pt x="134" y="185"/>
                      <a:pt x="133" y="184"/>
                    </a:cubicBezTo>
                    <a:cubicBezTo>
                      <a:pt x="133" y="183"/>
                      <a:pt x="132" y="183"/>
                      <a:pt x="132" y="183"/>
                    </a:cubicBezTo>
                    <a:cubicBezTo>
                      <a:pt x="131" y="181"/>
                      <a:pt x="131" y="180"/>
                      <a:pt x="130" y="179"/>
                    </a:cubicBezTo>
                    <a:cubicBezTo>
                      <a:pt x="128" y="178"/>
                      <a:pt x="127" y="179"/>
                      <a:pt x="124" y="178"/>
                    </a:cubicBezTo>
                    <a:cubicBezTo>
                      <a:pt x="124" y="178"/>
                      <a:pt x="124" y="178"/>
                      <a:pt x="124" y="178"/>
                    </a:cubicBezTo>
                    <a:cubicBezTo>
                      <a:pt x="125" y="177"/>
                      <a:pt x="125" y="176"/>
                      <a:pt x="126" y="175"/>
                    </a:cubicBezTo>
                    <a:cubicBezTo>
                      <a:pt x="124" y="175"/>
                      <a:pt x="122" y="174"/>
                      <a:pt x="120" y="175"/>
                    </a:cubicBezTo>
                    <a:cubicBezTo>
                      <a:pt x="118" y="176"/>
                      <a:pt x="118" y="179"/>
                      <a:pt x="116" y="179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10" y="180"/>
                      <a:pt x="110" y="181"/>
                      <a:pt x="109" y="182"/>
                    </a:cubicBezTo>
                    <a:cubicBezTo>
                      <a:pt x="108" y="182"/>
                      <a:pt x="107" y="182"/>
                      <a:pt x="106" y="182"/>
                    </a:cubicBezTo>
                    <a:cubicBezTo>
                      <a:pt x="105" y="182"/>
                      <a:pt x="105" y="183"/>
                      <a:pt x="104" y="183"/>
                    </a:cubicBezTo>
                    <a:cubicBezTo>
                      <a:pt x="104" y="186"/>
                      <a:pt x="107" y="185"/>
                      <a:pt x="110" y="186"/>
                    </a:cubicBezTo>
                    <a:cubicBezTo>
                      <a:pt x="110" y="187"/>
                      <a:pt x="110" y="188"/>
                      <a:pt x="110" y="189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90"/>
                      <a:pt x="109" y="191"/>
                      <a:pt x="110" y="193"/>
                    </a:cubicBezTo>
                    <a:cubicBezTo>
                      <a:pt x="110" y="193"/>
                      <a:pt x="111" y="193"/>
                      <a:pt x="111" y="194"/>
                    </a:cubicBezTo>
                    <a:cubicBezTo>
                      <a:pt x="111" y="195"/>
                      <a:pt x="111" y="197"/>
                      <a:pt x="113" y="197"/>
                    </a:cubicBezTo>
                    <a:cubicBezTo>
                      <a:pt x="115" y="197"/>
                      <a:pt x="115" y="195"/>
                      <a:pt x="115" y="193"/>
                    </a:cubicBezTo>
                    <a:cubicBezTo>
                      <a:pt x="116" y="193"/>
                      <a:pt x="116" y="194"/>
                      <a:pt x="117" y="193"/>
                    </a:cubicBezTo>
                    <a:cubicBezTo>
                      <a:pt x="117" y="196"/>
                      <a:pt x="117" y="198"/>
                      <a:pt x="117" y="200"/>
                    </a:cubicBezTo>
                    <a:cubicBezTo>
                      <a:pt x="119" y="200"/>
                      <a:pt x="122" y="200"/>
                      <a:pt x="122" y="203"/>
                    </a:cubicBezTo>
                    <a:cubicBezTo>
                      <a:pt x="122" y="203"/>
                      <a:pt x="122" y="203"/>
                      <a:pt x="122" y="204"/>
                    </a:cubicBezTo>
                    <a:cubicBezTo>
                      <a:pt x="121" y="204"/>
                      <a:pt x="121" y="204"/>
                      <a:pt x="120" y="204"/>
                    </a:cubicBezTo>
                    <a:cubicBezTo>
                      <a:pt x="118" y="204"/>
                      <a:pt x="117" y="204"/>
                      <a:pt x="117" y="202"/>
                    </a:cubicBezTo>
                    <a:cubicBezTo>
                      <a:pt x="116" y="203"/>
                      <a:pt x="116" y="203"/>
                      <a:pt x="115" y="203"/>
                    </a:cubicBezTo>
                    <a:cubicBezTo>
                      <a:pt x="115" y="204"/>
                      <a:pt x="116" y="205"/>
                      <a:pt x="115" y="206"/>
                    </a:cubicBezTo>
                    <a:cubicBezTo>
                      <a:pt x="115" y="207"/>
                      <a:pt x="114" y="206"/>
                      <a:pt x="113" y="207"/>
                    </a:cubicBezTo>
                    <a:cubicBezTo>
                      <a:pt x="113" y="208"/>
                      <a:pt x="113" y="209"/>
                      <a:pt x="112" y="209"/>
                    </a:cubicBezTo>
                    <a:cubicBezTo>
                      <a:pt x="110" y="209"/>
                      <a:pt x="108" y="209"/>
                      <a:pt x="108" y="207"/>
                    </a:cubicBezTo>
                    <a:cubicBezTo>
                      <a:pt x="108" y="205"/>
                      <a:pt x="110" y="205"/>
                      <a:pt x="110" y="203"/>
                    </a:cubicBezTo>
                    <a:cubicBezTo>
                      <a:pt x="110" y="201"/>
                      <a:pt x="108" y="201"/>
                      <a:pt x="106" y="200"/>
                    </a:cubicBezTo>
                    <a:cubicBezTo>
                      <a:pt x="105" y="200"/>
                      <a:pt x="104" y="200"/>
                      <a:pt x="103" y="199"/>
                    </a:cubicBezTo>
                    <a:cubicBezTo>
                      <a:pt x="103" y="198"/>
                      <a:pt x="103" y="198"/>
                      <a:pt x="102" y="198"/>
                    </a:cubicBezTo>
                    <a:cubicBezTo>
                      <a:pt x="101" y="198"/>
                      <a:pt x="101" y="199"/>
                      <a:pt x="100" y="199"/>
                    </a:cubicBezTo>
                    <a:cubicBezTo>
                      <a:pt x="99" y="199"/>
                      <a:pt x="99" y="198"/>
                      <a:pt x="98" y="197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96" y="196"/>
                      <a:pt x="96" y="196"/>
                      <a:pt x="95" y="195"/>
                    </a:cubicBezTo>
                    <a:cubicBezTo>
                      <a:pt x="94" y="195"/>
                      <a:pt x="94" y="195"/>
                      <a:pt x="94" y="195"/>
                    </a:cubicBezTo>
                    <a:cubicBezTo>
                      <a:pt x="94" y="198"/>
                      <a:pt x="94" y="198"/>
                      <a:pt x="94" y="198"/>
                    </a:cubicBezTo>
                    <a:cubicBezTo>
                      <a:pt x="94" y="199"/>
                      <a:pt x="93" y="199"/>
                      <a:pt x="93" y="200"/>
                    </a:cubicBezTo>
                    <a:cubicBezTo>
                      <a:pt x="93" y="202"/>
                      <a:pt x="94" y="203"/>
                      <a:pt x="95" y="204"/>
                    </a:cubicBezTo>
                    <a:cubicBezTo>
                      <a:pt x="95" y="205"/>
                      <a:pt x="96" y="206"/>
                      <a:pt x="96" y="207"/>
                    </a:cubicBezTo>
                    <a:cubicBezTo>
                      <a:pt x="97" y="209"/>
                      <a:pt x="98" y="209"/>
                      <a:pt x="99" y="211"/>
                    </a:cubicBezTo>
                    <a:cubicBezTo>
                      <a:pt x="99" y="213"/>
                      <a:pt x="98" y="214"/>
                      <a:pt x="99" y="215"/>
                    </a:cubicBezTo>
                    <a:cubicBezTo>
                      <a:pt x="99" y="216"/>
                      <a:pt x="101" y="216"/>
                      <a:pt x="101" y="217"/>
                    </a:cubicBezTo>
                    <a:cubicBezTo>
                      <a:pt x="102" y="219"/>
                      <a:pt x="103" y="220"/>
                      <a:pt x="103" y="221"/>
                    </a:cubicBezTo>
                    <a:cubicBezTo>
                      <a:pt x="103" y="222"/>
                      <a:pt x="103" y="223"/>
                      <a:pt x="104" y="224"/>
                    </a:cubicBezTo>
                    <a:cubicBezTo>
                      <a:pt x="105" y="227"/>
                      <a:pt x="108" y="228"/>
                      <a:pt x="108" y="231"/>
                    </a:cubicBezTo>
                    <a:cubicBezTo>
                      <a:pt x="108" y="231"/>
                      <a:pt x="108" y="232"/>
                      <a:pt x="108" y="232"/>
                    </a:cubicBezTo>
                    <a:cubicBezTo>
                      <a:pt x="105" y="232"/>
                      <a:pt x="105" y="232"/>
                      <a:pt x="105" y="232"/>
                    </a:cubicBezTo>
                    <a:cubicBezTo>
                      <a:pt x="105" y="234"/>
                      <a:pt x="105" y="234"/>
                      <a:pt x="105" y="234"/>
                    </a:cubicBezTo>
                    <a:cubicBezTo>
                      <a:pt x="105" y="235"/>
                      <a:pt x="106" y="235"/>
                      <a:pt x="107" y="235"/>
                    </a:cubicBezTo>
                    <a:cubicBezTo>
                      <a:pt x="108" y="235"/>
                      <a:pt x="110" y="235"/>
                      <a:pt x="110" y="237"/>
                    </a:cubicBezTo>
                    <a:cubicBezTo>
                      <a:pt x="111" y="238"/>
                      <a:pt x="110" y="238"/>
                      <a:pt x="110" y="239"/>
                    </a:cubicBezTo>
                    <a:cubicBezTo>
                      <a:pt x="111" y="240"/>
                      <a:pt x="111" y="241"/>
                      <a:pt x="111" y="242"/>
                    </a:cubicBezTo>
                    <a:cubicBezTo>
                      <a:pt x="111" y="242"/>
                      <a:pt x="111" y="242"/>
                      <a:pt x="111" y="242"/>
                    </a:cubicBezTo>
                    <a:cubicBezTo>
                      <a:pt x="109" y="242"/>
                      <a:pt x="109" y="240"/>
                      <a:pt x="108" y="239"/>
                    </a:cubicBezTo>
                    <a:cubicBezTo>
                      <a:pt x="106" y="238"/>
                      <a:pt x="104" y="238"/>
                      <a:pt x="102" y="237"/>
                    </a:cubicBezTo>
                    <a:cubicBezTo>
                      <a:pt x="100" y="237"/>
                      <a:pt x="100" y="235"/>
                      <a:pt x="99" y="234"/>
                    </a:cubicBezTo>
                    <a:cubicBezTo>
                      <a:pt x="98" y="234"/>
                      <a:pt x="98" y="233"/>
                      <a:pt x="98" y="232"/>
                    </a:cubicBezTo>
                    <a:cubicBezTo>
                      <a:pt x="97" y="232"/>
                      <a:pt x="97" y="232"/>
                      <a:pt x="97" y="231"/>
                    </a:cubicBezTo>
                    <a:cubicBezTo>
                      <a:pt x="97" y="230"/>
                      <a:pt x="97" y="229"/>
                      <a:pt x="96" y="229"/>
                    </a:cubicBezTo>
                    <a:cubicBezTo>
                      <a:pt x="94" y="229"/>
                      <a:pt x="92" y="231"/>
                      <a:pt x="90" y="231"/>
                    </a:cubicBezTo>
                    <a:cubicBezTo>
                      <a:pt x="89" y="235"/>
                      <a:pt x="88" y="236"/>
                      <a:pt x="87" y="239"/>
                    </a:cubicBezTo>
                    <a:cubicBezTo>
                      <a:pt x="87" y="240"/>
                      <a:pt x="87" y="240"/>
                      <a:pt x="87" y="241"/>
                    </a:cubicBezTo>
                    <a:cubicBezTo>
                      <a:pt x="87" y="242"/>
                      <a:pt x="87" y="243"/>
                      <a:pt x="87" y="244"/>
                    </a:cubicBezTo>
                    <a:cubicBezTo>
                      <a:pt x="87" y="245"/>
                      <a:pt x="88" y="247"/>
                      <a:pt x="86" y="247"/>
                    </a:cubicBezTo>
                    <a:cubicBezTo>
                      <a:pt x="86" y="247"/>
                      <a:pt x="85" y="246"/>
                      <a:pt x="85" y="246"/>
                    </a:cubicBezTo>
                    <a:cubicBezTo>
                      <a:pt x="84" y="246"/>
                      <a:pt x="83" y="245"/>
                      <a:pt x="82" y="244"/>
                    </a:cubicBezTo>
                    <a:cubicBezTo>
                      <a:pt x="81" y="243"/>
                      <a:pt x="80" y="243"/>
                      <a:pt x="80" y="243"/>
                    </a:cubicBezTo>
                    <a:cubicBezTo>
                      <a:pt x="80" y="241"/>
                      <a:pt x="82" y="241"/>
                      <a:pt x="83" y="240"/>
                    </a:cubicBezTo>
                    <a:cubicBezTo>
                      <a:pt x="83" y="240"/>
                      <a:pt x="83" y="239"/>
                      <a:pt x="83" y="238"/>
                    </a:cubicBezTo>
                    <a:cubicBezTo>
                      <a:pt x="83" y="237"/>
                      <a:pt x="83" y="236"/>
                      <a:pt x="83" y="235"/>
                    </a:cubicBezTo>
                    <a:cubicBezTo>
                      <a:pt x="83" y="232"/>
                      <a:pt x="83" y="230"/>
                      <a:pt x="82" y="228"/>
                    </a:cubicBezTo>
                    <a:cubicBezTo>
                      <a:pt x="81" y="227"/>
                      <a:pt x="81" y="226"/>
                      <a:pt x="80" y="226"/>
                    </a:cubicBezTo>
                    <a:cubicBezTo>
                      <a:pt x="79" y="226"/>
                      <a:pt x="78" y="226"/>
                      <a:pt x="78" y="226"/>
                    </a:cubicBezTo>
                    <a:cubicBezTo>
                      <a:pt x="77" y="226"/>
                      <a:pt x="77" y="225"/>
                      <a:pt x="77" y="224"/>
                    </a:cubicBezTo>
                    <a:cubicBezTo>
                      <a:pt x="77" y="221"/>
                      <a:pt x="77" y="221"/>
                      <a:pt x="77" y="221"/>
                    </a:cubicBezTo>
                    <a:cubicBezTo>
                      <a:pt x="76" y="220"/>
                      <a:pt x="75" y="219"/>
                      <a:pt x="74" y="219"/>
                    </a:cubicBezTo>
                    <a:cubicBezTo>
                      <a:pt x="72" y="219"/>
                      <a:pt x="71" y="221"/>
                      <a:pt x="70" y="221"/>
                    </a:cubicBezTo>
                    <a:cubicBezTo>
                      <a:pt x="68" y="222"/>
                      <a:pt x="67" y="223"/>
                      <a:pt x="67" y="224"/>
                    </a:cubicBezTo>
                    <a:cubicBezTo>
                      <a:pt x="67" y="226"/>
                      <a:pt x="67" y="227"/>
                      <a:pt x="67" y="229"/>
                    </a:cubicBezTo>
                    <a:cubicBezTo>
                      <a:pt x="67" y="232"/>
                      <a:pt x="67" y="232"/>
                      <a:pt x="67" y="232"/>
                    </a:cubicBezTo>
                    <a:cubicBezTo>
                      <a:pt x="66" y="232"/>
                      <a:pt x="66" y="232"/>
                      <a:pt x="66" y="232"/>
                    </a:cubicBezTo>
                    <a:cubicBezTo>
                      <a:pt x="66" y="232"/>
                      <a:pt x="65" y="231"/>
                      <a:pt x="64" y="231"/>
                    </a:cubicBezTo>
                    <a:cubicBezTo>
                      <a:pt x="63" y="231"/>
                      <a:pt x="62" y="231"/>
                      <a:pt x="61" y="231"/>
                    </a:cubicBezTo>
                    <a:cubicBezTo>
                      <a:pt x="60" y="230"/>
                      <a:pt x="60" y="229"/>
                      <a:pt x="60" y="227"/>
                    </a:cubicBezTo>
                    <a:cubicBezTo>
                      <a:pt x="60" y="227"/>
                      <a:pt x="60" y="226"/>
                      <a:pt x="60" y="225"/>
                    </a:cubicBezTo>
                    <a:cubicBezTo>
                      <a:pt x="61" y="225"/>
                      <a:pt x="62" y="225"/>
                      <a:pt x="62" y="224"/>
                    </a:cubicBezTo>
                    <a:cubicBezTo>
                      <a:pt x="62" y="223"/>
                      <a:pt x="60" y="223"/>
                      <a:pt x="60" y="222"/>
                    </a:cubicBezTo>
                    <a:cubicBezTo>
                      <a:pt x="58" y="221"/>
                      <a:pt x="55" y="220"/>
                      <a:pt x="55" y="218"/>
                    </a:cubicBezTo>
                    <a:cubicBezTo>
                      <a:pt x="55" y="215"/>
                      <a:pt x="59" y="213"/>
                      <a:pt x="59" y="210"/>
                    </a:cubicBezTo>
                    <a:cubicBezTo>
                      <a:pt x="59" y="205"/>
                      <a:pt x="58" y="202"/>
                      <a:pt x="54" y="199"/>
                    </a:cubicBezTo>
                    <a:cubicBezTo>
                      <a:pt x="52" y="198"/>
                      <a:pt x="51" y="196"/>
                      <a:pt x="49" y="196"/>
                    </a:cubicBezTo>
                    <a:cubicBezTo>
                      <a:pt x="47" y="195"/>
                      <a:pt x="46" y="196"/>
                      <a:pt x="44" y="195"/>
                    </a:cubicBezTo>
                    <a:cubicBezTo>
                      <a:pt x="44" y="195"/>
                      <a:pt x="44" y="194"/>
                      <a:pt x="44" y="193"/>
                    </a:cubicBezTo>
                    <a:cubicBezTo>
                      <a:pt x="43" y="192"/>
                      <a:pt x="43" y="191"/>
                      <a:pt x="43" y="190"/>
                    </a:cubicBezTo>
                    <a:cubicBezTo>
                      <a:pt x="43" y="188"/>
                      <a:pt x="41" y="187"/>
                      <a:pt x="39" y="186"/>
                    </a:cubicBezTo>
                    <a:cubicBezTo>
                      <a:pt x="38" y="185"/>
                      <a:pt x="37" y="185"/>
                      <a:pt x="37" y="184"/>
                    </a:cubicBezTo>
                    <a:cubicBezTo>
                      <a:pt x="37" y="181"/>
                      <a:pt x="40" y="181"/>
                      <a:pt x="42" y="179"/>
                    </a:cubicBezTo>
                    <a:cubicBezTo>
                      <a:pt x="43" y="178"/>
                      <a:pt x="44" y="176"/>
                      <a:pt x="44" y="175"/>
                    </a:cubicBezTo>
                    <a:cubicBezTo>
                      <a:pt x="44" y="174"/>
                      <a:pt x="45" y="173"/>
                      <a:pt x="45" y="173"/>
                    </a:cubicBezTo>
                    <a:cubicBezTo>
                      <a:pt x="45" y="172"/>
                      <a:pt x="45" y="172"/>
                      <a:pt x="45" y="171"/>
                    </a:cubicBezTo>
                    <a:cubicBezTo>
                      <a:pt x="46" y="172"/>
                      <a:pt x="47" y="171"/>
                      <a:pt x="49" y="172"/>
                    </a:cubicBezTo>
                    <a:cubicBezTo>
                      <a:pt x="51" y="173"/>
                      <a:pt x="52" y="174"/>
                      <a:pt x="54" y="174"/>
                    </a:cubicBezTo>
                    <a:cubicBezTo>
                      <a:pt x="56" y="174"/>
                      <a:pt x="57" y="173"/>
                      <a:pt x="59" y="171"/>
                    </a:cubicBezTo>
                    <a:cubicBezTo>
                      <a:pt x="60" y="171"/>
                      <a:pt x="60" y="171"/>
                      <a:pt x="61" y="170"/>
                    </a:cubicBezTo>
                    <a:cubicBezTo>
                      <a:pt x="62" y="169"/>
                      <a:pt x="63" y="168"/>
                      <a:pt x="64" y="168"/>
                    </a:cubicBezTo>
                    <a:cubicBezTo>
                      <a:pt x="66" y="168"/>
                      <a:pt x="67" y="170"/>
                      <a:pt x="69" y="170"/>
                    </a:cubicBezTo>
                    <a:cubicBezTo>
                      <a:pt x="70" y="170"/>
                      <a:pt x="71" y="170"/>
                      <a:pt x="72" y="171"/>
                    </a:cubicBezTo>
                    <a:cubicBezTo>
                      <a:pt x="74" y="171"/>
                      <a:pt x="74" y="172"/>
                      <a:pt x="75" y="173"/>
                    </a:cubicBezTo>
                    <a:cubicBezTo>
                      <a:pt x="77" y="173"/>
                      <a:pt x="79" y="173"/>
                      <a:pt x="81" y="174"/>
                    </a:cubicBezTo>
                    <a:cubicBezTo>
                      <a:pt x="83" y="175"/>
                      <a:pt x="85" y="176"/>
                      <a:pt x="87" y="176"/>
                    </a:cubicBezTo>
                    <a:cubicBezTo>
                      <a:pt x="90" y="176"/>
                      <a:pt x="90" y="176"/>
                      <a:pt x="90" y="176"/>
                    </a:cubicBezTo>
                    <a:cubicBezTo>
                      <a:pt x="92" y="176"/>
                      <a:pt x="92" y="178"/>
                      <a:pt x="93" y="179"/>
                    </a:cubicBezTo>
                    <a:cubicBezTo>
                      <a:pt x="94" y="180"/>
                      <a:pt x="95" y="180"/>
                      <a:pt x="96" y="181"/>
                    </a:cubicBezTo>
                    <a:cubicBezTo>
                      <a:pt x="97" y="182"/>
                      <a:pt x="98" y="183"/>
                      <a:pt x="100" y="183"/>
                    </a:cubicBezTo>
                    <a:cubicBezTo>
                      <a:pt x="101" y="183"/>
                      <a:pt x="103" y="183"/>
                      <a:pt x="103" y="181"/>
                    </a:cubicBezTo>
                    <a:cubicBezTo>
                      <a:pt x="103" y="178"/>
                      <a:pt x="103" y="178"/>
                      <a:pt x="103" y="178"/>
                    </a:cubicBezTo>
                    <a:cubicBezTo>
                      <a:pt x="102" y="178"/>
                      <a:pt x="102" y="178"/>
                      <a:pt x="101" y="178"/>
                    </a:cubicBezTo>
                    <a:cubicBezTo>
                      <a:pt x="100" y="178"/>
                      <a:pt x="100" y="178"/>
                      <a:pt x="98" y="178"/>
                    </a:cubicBezTo>
                    <a:cubicBezTo>
                      <a:pt x="98" y="178"/>
                      <a:pt x="97" y="178"/>
                      <a:pt x="97" y="178"/>
                    </a:cubicBezTo>
                    <a:cubicBezTo>
                      <a:pt x="97" y="176"/>
                      <a:pt x="99" y="177"/>
                      <a:pt x="101" y="176"/>
                    </a:cubicBezTo>
                    <a:cubicBezTo>
                      <a:pt x="103" y="176"/>
                      <a:pt x="104" y="174"/>
                      <a:pt x="105" y="174"/>
                    </a:cubicBezTo>
                    <a:cubicBezTo>
                      <a:pt x="106" y="174"/>
                      <a:pt x="107" y="174"/>
                      <a:pt x="108" y="173"/>
                    </a:cubicBezTo>
                    <a:cubicBezTo>
                      <a:pt x="108" y="173"/>
                      <a:pt x="109" y="173"/>
                      <a:pt x="109" y="172"/>
                    </a:cubicBezTo>
                    <a:cubicBezTo>
                      <a:pt x="109" y="171"/>
                      <a:pt x="108" y="171"/>
                      <a:pt x="107" y="170"/>
                    </a:cubicBezTo>
                    <a:cubicBezTo>
                      <a:pt x="106" y="169"/>
                      <a:pt x="105" y="169"/>
                      <a:pt x="104" y="168"/>
                    </a:cubicBezTo>
                    <a:cubicBezTo>
                      <a:pt x="104" y="167"/>
                      <a:pt x="104" y="167"/>
                      <a:pt x="103" y="167"/>
                    </a:cubicBezTo>
                    <a:cubicBezTo>
                      <a:pt x="102" y="167"/>
                      <a:pt x="101" y="168"/>
                      <a:pt x="100" y="168"/>
                    </a:cubicBezTo>
                    <a:cubicBezTo>
                      <a:pt x="99" y="168"/>
                      <a:pt x="98" y="168"/>
                      <a:pt x="97" y="167"/>
                    </a:cubicBezTo>
                    <a:cubicBezTo>
                      <a:pt x="96" y="167"/>
                      <a:pt x="95" y="167"/>
                      <a:pt x="95" y="166"/>
                    </a:cubicBezTo>
                    <a:cubicBezTo>
                      <a:pt x="95" y="164"/>
                      <a:pt x="95" y="162"/>
                      <a:pt x="94" y="161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90" y="162"/>
                      <a:pt x="89" y="163"/>
                      <a:pt x="88" y="164"/>
                    </a:cubicBezTo>
                    <a:cubicBezTo>
                      <a:pt x="89" y="165"/>
                      <a:pt x="89" y="165"/>
                      <a:pt x="89" y="166"/>
                    </a:cubicBezTo>
                    <a:cubicBezTo>
                      <a:pt x="89" y="167"/>
                      <a:pt x="89" y="167"/>
                      <a:pt x="89" y="168"/>
                    </a:cubicBezTo>
                    <a:cubicBezTo>
                      <a:pt x="88" y="167"/>
                      <a:pt x="86" y="167"/>
                      <a:pt x="86" y="165"/>
                    </a:cubicBezTo>
                    <a:cubicBezTo>
                      <a:pt x="86" y="163"/>
                      <a:pt x="85" y="161"/>
                      <a:pt x="84" y="160"/>
                    </a:cubicBezTo>
                    <a:cubicBezTo>
                      <a:pt x="83" y="159"/>
                      <a:pt x="82" y="159"/>
                      <a:pt x="82" y="159"/>
                    </a:cubicBezTo>
                    <a:cubicBezTo>
                      <a:pt x="82" y="159"/>
                      <a:pt x="82" y="158"/>
                      <a:pt x="81" y="158"/>
                    </a:cubicBezTo>
                    <a:cubicBezTo>
                      <a:pt x="80" y="158"/>
                      <a:pt x="80" y="160"/>
                      <a:pt x="80" y="161"/>
                    </a:cubicBezTo>
                    <a:cubicBezTo>
                      <a:pt x="80" y="162"/>
                      <a:pt x="79" y="162"/>
                      <a:pt x="79" y="162"/>
                    </a:cubicBezTo>
                    <a:cubicBezTo>
                      <a:pt x="79" y="163"/>
                      <a:pt x="79" y="164"/>
                      <a:pt x="79" y="165"/>
                    </a:cubicBezTo>
                    <a:cubicBezTo>
                      <a:pt x="77" y="164"/>
                      <a:pt x="76" y="163"/>
                      <a:pt x="74" y="163"/>
                    </a:cubicBezTo>
                    <a:cubicBezTo>
                      <a:pt x="71" y="163"/>
                      <a:pt x="71" y="163"/>
                      <a:pt x="71" y="163"/>
                    </a:cubicBezTo>
                    <a:cubicBezTo>
                      <a:pt x="68" y="164"/>
                      <a:pt x="68" y="164"/>
                      <a:pt x="68" y="164"/>
                    </a:cubicBezTo>
                    <a:cubicBezTo>
                      <a:pt x="65" y="164"/>
                      <a:pt x="65" y="164"/>
                      <a:pt x="65" y="164"/>
                    </a:cubicBezTo>
                    <a:cubicBezTo>
                      <a:pt x="65" y="164"/>
                      <a:pt x="64" y="163"/>
                      <a:pt x="63" y="163"/>
                    </a:cubicBezTo>
                    <a:cubicBezTo>
                      <a:pt x="63" y="163"/>
                      <a:pt x="62" y="164"/>
                      <a:pt x="61" y="165"/>
                    </a:cubicBezTo>
                    <a:cubicBezTo>
                      <a:pt x="60" y="165"/>
                      <a:pt x="60" y="165"/>
                      <a:pt x="59" y="165"/>
                    </a:cubicBezTo>
                    <a:cubicBezTo>
                      <a:pt x="55" y="165"/>
                      <a:pt x="55" y="165"/>
                      <a:pt x="55" y="165"/>
                    </a:cubicBezTo>
                    <a:cubicBezTo>
                      <a:pt x="53" y="165"/>
                      <a:pt x="52" y="166"/>
                      <a:pt x="50" y="166"/>
                    </a:cubicBezTo>
                    <a:cubicBezTo>
                      <a:pt x="49" y="166"/>
                      <a:pt x="48" y="166"/>
                      <a:pt x="47" y="166"/>
                    </a:cubicBezTo>
                    <a:cubicBezTo>
                      <a:pt x="48" y="164"/>
                      <a:pt x="49" y="164"/>
                      <a:pt x="49" y="162"/>
                    </a:cubicBezTo>
                    <a:cubicBezTo>
                      <a:pt x="49" y="161"/>
                      <a:pt x="48" y="161"/>
                      <a:pt x="47" y="160"/>
                    </a:cubicBezTo>
                    <a:cubicBezTo>
                      <a:pt x="46" y="160"/>
                      <a:pt x="46" y="160"/>
                      <a:pt x="45" y="159"/>
                    </a:cubicBezTo>
                    <a:cubicBezTo>
                      <a:pt x="45" y="159"/>
                      <a:pt x="45" y="159"/>
                      <a:pt x="45" y="159"/>
                    </a:cubicBezTo>
                    <a:cubicBezTo>
                      <a:pt x="42" y="159"/>
                      <a:pt x="43" y="164"/>
                      <a:pt x="40" y="164"/>
                    </a:cubicBezTo>
                    <a:cubicBezTo>
                      <a:pt x="39" y="164"/>
                      <a:pt x="39" y="163"/>
                      <a:pt x="39" y="162"/>
                    </a:cubicBezTo>
                    <a:cubicBezTo>
                      <a:pt x="38" y="161"/>
                      <a:pt x="38" y="161"/>
                      <a:pt x="38" y="160"/>
                    </a:cubicBezTo>
                    <a:cubicBezTo>
                      <a:pt x="38" y="157"/>
                      <a:pt x="38" y="157"/>
                      <a:pt x="38" y="157"/>
                    </a:cubicBezTo>
                    <a:cubicBezTo>
                      <a:pt x="38" y="156"/>
                      <a:pt x="37" y="156"/>
                      <a:pt x="37" y="155"/>
                    </a:cubicBezTo>
                    <a:cubicBezTo>
                      <a:pt x="35" y="154"/>
                      <a:pt x="36" y="152"/>
                      <a:pt x="35" y="150"/>
                    </a:cubicBezTo>
                    <a:cubicBezTo>
                      <a:pt x="34" y="149"/>
                      <a:pt x="33" y="148"/>
                      <a:pt x="33" y="146"/>
                    </a:cubicBezTo>
                    <a:cubicBezTo>
                      <a:pt x="33" y="145"/>
                      <a:pt x="33" y="144"/>
                      <a:pt x="33" y="143"/>
                    </a:cubicBezTo>
                    <a:cubicBezTo>
                      <a:pt x="31" y="144"/>
                      <a:pt x="31" y="145"/>
                      <a:pt x="29" y="145"/>
                    </a:cubicBezTo>
                    <a:cubicBezTo>
                      <a:pt x="28" y="145"/>
                      <a:pt x="28" y="145"/>
                      <a:pt x="28" y="145"/>
                    </a:cubicBezTo>
                    <a:cubicBezTo>
                      <a:pt x="28" y="145"/>
                      <a:pt x="28" y="145"/>
                      <a:pt x="28" y="144"/>
                    </a:cubicBezTo>
                    <a:cubicBezTo>
                      <a:pt x="28" y="142"/>
                      <a:pt x="28" y="141"/>
                      <a:pt x="28" y="139"/>
                    </a:cubicBezTo>
                    <a:cubicBezTo>
                      <a:pt x="29" y="139"/>
                      <a:pt x="29" y="139"/>
                      <a:pt x="29" y="139"/>
                    </a:cubicBezTo>
                    <a:cubicBezTo>
                      <a:pt x="31" y="139"/>
                      <a:pt x="32" y="140"/>
                      <a:pt x="34" y="140"/>
                    </a:cubicBezTo>
                    <a:cubicBezTo>
                      <a:pt x="36" y="140"/>
                      <a:pt x="36" y="140"/>
                      <a:pt x="36" y="140"/>
                    </a:cubicBezTo>
                    <a:cubicBezTo>
                      <a:pt x="38" y="140"/>
                      <a:pt x="38" y="143"/>
                      <a:pt x="39" y="143"/>
                    </a:cubicBezTo>
                    <a:cubicBezTo>
                      <a:pt x="41" y="143"/>
                      <a:pt x="41" y="142"/>
                      <a:pt x="41" y="140"/>
                    </a:cubicBezTo>
                    <a:cubicBezTo>
                      <a:pt x="41" y="140"/>
                      <a:pt x="40" y="140"/>
                      <a:pt x="40" y="139"/>
                    </a:cubicBezTo>
                    <a:cubicBezTo>
                      <a:pt x="40" y="138"/>
                      <a:pt x="40" y="137"/>
                      <a:pt x="39" y="136"/>
                    </a:cubicBezTo>
                    <a:cubicBezTo>
                      <a:pt x="39" y="135"/>
                      <a:pt x="38" y="134"/>
                      <a:pt x="37" y="134"/>
                    </a:cubicBezTo>
                    <a:cubicBezTo>
                      <a:pt x="36" y="134"/>
                      <a:pt x="35" y="134"/>
                      <a:pt x="34" y="134"/>
                    </a:cubicBezTo>
                    <a:cubicBezTo>
                      <a:pt x="33" y="134"/>
                      <a:pt x="32" y="135"/>
                      <a:pt x="31" y="134"/>
                    </a:cubicBezTo>
                    <a:cubicBezTo>
                      <a:pt x="31" y="134"/>
                      <a:pt x="31" y="134"/>
                      <a:pt x="31" y="133"/>
                    </a:cubicBezTo>
                    <a:cubicBezTo>
                      <a:pt x="30" y="132"/>
                      <a:pt x="29" y="133"/>
                      <a:pt x="28" y="133"/>
                    </a:cubicBezTo>
                    <a:cubicBezTo>
                      <a:pt x="27" y="133"/>
                      <a:pt x="27" y="133"/>
                      <a:pt x="26" y="134"/>
                    </a:cubicBezTo>
                    <a:cubicBezTo>
                      <a:pt x="26" y="134"/>
                      <a:pt x="26" y="134"/>
                      <a:pt x="26" y="134"/>
                    </a:cubicBezTo>
                    <a:cubicBezTo>
                      <a:pt x="26" y="132"/>
                      <a:pt x="24" y="131"/>
                      <a:pt x="23" y="130"/>
                    </a:cubicBezTo>
                    <a:cubicBezTo>
                      <a:pt x="23" y="128"/>
                      <a:pt x="22" y="128"/>
                      <a:pt x="21" y="127"/>
                    </a:cubicBezTo>
                    <a:cubicBezTo>
                      <a:pt x="19" y="125"/>
                      <a:pt x="19" y="123"/>
                      <a:pt x="18" y="121"/>
                    </a:cubicBezTo>
                    <a:cubicBezTo>
                      <a:pt x="17" y="120"/>
                      <a:pt x="16" y="120"/>
                      <a:pt x="15" y="120"/>
                    </a:cubicBezTo>
                    <a:cubicBezTo>
                      <a:pt x="14" y="119"/>
                      <a:pt x="14" y="118"/>
                      <a:pt x="12" y="117"/>
                    </a:cubicBezTo>
                    <a:cubicBezTo>
                      <a:pt x="11" y="117"/>
                      <a:pt x="10" y="116"/>
                      <a:pt x="10" y="115"/>
                    </a:cubicBezTo>
                    <a:cubicBezTo>
                      <a:pt x="10" y="114"/>
                      <a:pt x="10" y="114"/>
                      <a:pt x="10" y="113"/>
                    </a:cubicBezTo>
                    <a:cubicBezTo>
                      <a:pt x="10" y="112"/>
                      <a:pt x="9" y="112"/>
                      <a:pt x="8" y="112"/>
                    </a:cubicBezTo>
                    <a:cubicBezTo>
                      <a:pt x="7" y="110"/>
                      <a:pt x="8" y="109"/>
                      <a:pt x="8" y="108"/>
                    </a:cubicBezTo>
                    <a:cubicBezTo>
                      <a:pt x="6" y="108"/>
                      <a:pt x="5" y="108"/>
                      <a:pt x="4" y="107"/>
                    </a:cubicBezTo>
                    <a:cubicBezTo>
                      <a:pt x="4" y="106"/>
                      <a:pt x="4" y="105"/>
                      <a:pt x="3" y="104"/>
                    </a:cubicBezTo>
                    <a:cubicBezTo>
                      <a:pt x="2" y="103"/>
                      <a:pt x="1" y="103"/>
                      <a:pt x="0" y="1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7" name="Freeform 165">
                <a:extLst>
                  <a:ext uri="{FF2B5EF4-FFF2-40B4-BE49-F238E27FC236}">
                    <a16:creationId xmlns:a16="http://schemas.microsoft.com/office/drawing/2014/main" xmlns="" id="{DB4200BF-18BA-40FB-B210-F01580D96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3543" y="4180563"/>
                <a:ext cx="49088" cy="68254"/>
              </a:xfrm>
              <a:custGeom>
                <a:avLst/>
                <a:gdLst>
                  <a:gd name="T0" fmla="*/ 0 w 19"/>
                  <a:gd name="T1" fmla="*/ 13 h 27"/>
                  <a:gd name="T2" fmla="*/ 2 w 19"/>
                  <a:gd name="T3" fmla="*/ 15 h 27"/>
                  <a:gd name="T4" fmla="*/ 4 w 19"/>
                  <a:gd name="T5" fmla="*/ 18 h 27"/>
                  <a:gd name="T6" fmla="*/ 4 w 19"/>
                  <a:gd name="T7" fmla="*/ 20 h 27"/>
                  <a:gd name="T8" fmla="*/ 3 w 19"/>
                  <a:gd name="T9" fmla="*/ 25 h 27"/>
                  <a:gd name="T10" fmla="*/ 6 w 19"/>
                  <a:gd name="T11" fmla="*/ 27 h 27"/>
                  <a:gd name="T12" fmla="*/ 7 w 19"/>
                  <a:gd name="T13" fmla="*/ 26 h 27"/>
                  <a:gd name="T14" fmla="*/ 9 w 19"/>
                  <a:gd name="T15" fmla="*/ 26 h 27"/>
                  <a:gd name="T16" fmla="*/ 10 w 19"/>
                  <a:gd name="T17" fmla="*/ 22 h 27"/>
                  <a:gd name="T18" fmla="*/ 13 w 19"/>
                  <a:gd name="T19" fmla="*/ 17 h 27"/>
                  <a:gd name="T20" fmla="*/ 16 w 19"/>
                  <a:gd name="T21" fmla="*/ 16 h 27"/>
                  <a:gd name="T22" fmla="*/ 15 w 19"/>
                  <a:gd name="T23" fmla="*/ 13 h 27"/>
                  <a:gd name="T24" fmla="*/ 16 w 19"/>
                  <a:gd name="T25" fmla="*/ 11 h 27"/>
                  <a:gd name="T26" fmla="*/ 18 w 19"/>
                  <a:gd name="T27" fmla="*/ 4 h 27"/>
                  <a:gd name="T28" fmla="*/ 18 w 19"/>
                  <a:gd name="T29" fmla="*/ 0 h 27"/>
                  <a:gd name="T30" fmla="*/ 16 w 19"/>
                  <a:gd name="T31" fmla="*/ 1 h 27"/>
                  <a:gd name="T32" fmla="*/ 10 w 19"/>
                  <a:gd name="T33" fmla="*/ 4 h 27"/>
                  <a:gd name="T34" fmla="*/ 5 w 19"/>
                  <a:gd name="T35" fmla="*/ 9 h 27"/>
                  <a:gd name="T36" fmla="*/ 3 w 19"/>
                  <a:gd name="T37" fmla="*/ 12 h 27"/>
                  <a:gd name="T38" fmla="*/ 0 w 19"/>
                  <a:gd name="T39" fmla="*/ 1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" h="27">
                    <a:moveTo>
                      <a:pt x="0" y="13"/>
                    </a:moveTo>
                    <a:cubicBezTo>
                      <a:pt x="0" y="14"/>
                      <a:pt x="2" y="14"/>
                      <a:pt x="2" y="15"/>
                    </a:cubicBezTo>
                    <a:cubicBezTo>
                      <a:pt x="3" y="16"/>
                      <a:pt x="4" y="17"/>
                      <a:pt x="4" y="18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2"/>
                      <a:pt x="3" y="23"/>
                      <a:pt x="3" y="25"/>
                    </a:cubicBezTo>
                    <a:cubicBezTo>
                      <a:pt x="3" y="26"/>
                      <a:pt x="4" y="27"/>
                      <a:pt x="6" y="27"/>
                    </a:cubicBezTo>
                    <a:cubicBezTo>
                      <a:pt x="6" y="27"/>
                      <a:pt x="7" y="26"/>
                      <a:pt x="7" y="26"/>
                    </a:cubicBezTo>
                    <a:cubicBezTo>
                      <a:pt x="8" y="26"/>
                      <a:pt x="9" y="26"/>
                      <a:pt x="9" y="26"/>
                    </a:cubicBezTo>
                    <a:cubicBezTo>
                      <a:pt x="10" y="25"/>
                      <a:pt x="10" y="23"/>
                      <a:pt x="10" y="22"/>
                    </a:cubicBezTo>
                    <a:cubicBezTo>
                      <a:pt x="11" y="20"/>
                      <a:pt x="13" y="19"/>
                      <a:pt x="13" y="17"/>
                    </a:cubicBezTo>
                    <a:cubicBezTo>
                      <a:pt x="14" y="16"/>
                      <a:pt x="16" y="17"/>
                      <a:pt x="16" y="16"/>
                    </a:cubicBezTo>
                    <a:cubicBezTo>
                      <a:pt x="16" y="14"/>
                      <a:pt x="15" y="14"/>
                      <a:pt x="15" y="13"/>
                    </a:cubicBezTo>
                    <a:cubicBezTo>
                      <a:pt x="15" y="12"/>
                      <a:pt x="16" y="12"/>
                      <a:pt x="16" y="11"/>
                    </a:cubicBezTo>
                    <a:cubicBezTo>
                      <a:pt x="17" y="8"/>
                      <a:pt x="18" y="7"/>
                      <a:pt x="18" y="4"/>
                    </a:cubicBezTo>
                    <a:cubicBezTo>
                      <a:pt x="18" y="2"/>
                      <a:pt x="19" y="0"/>
                      <a:pt x="18" y="0"/>
                    </a:cubicBezTo>
                    <a:cubicBezTo>
                      <a:pt x="17" y="0"/>
                      <a:pt x="16" y="1"/>
                      <a:pt x="16" y="1"/>
                    </a:cubicBezTo>
                    <a:cubicBezTo>
                      <a:pt x="13" y="2"/>
                      <a:pt x="12" y="3"/>
                      <a:pt x="10" y="4"/>
                    </a:cubicBezTo>
                    <a:cubicBezTo>
                      <a:pt x="8" y="6"/>
                      <a:pt x="7" y="8"/>
                      <a:pt x="5" y="9"/>
                    </a:cubicBezTo>
                    <a:cubicBezTo>
                      <a:pt x="4" y="10"/>
                      <a:pt x="4" y="11"/>
                      <a:pt x="3" y="12"/>
                    </a:cubicBezTo>
                    <a:cubicBezTo>
                      <a:pt x="2" y="12"/>
                      <a:pt x="0" y="12"/>
                      <a:pt x="0" y="1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8" name="Freeform 166">
                <a:extLst>
                  <a:ext uri="{FF2B5EF4-FFF2-40B4-BE49-F238E27FC236}">
                    <a16:creationId xmlns:a16="http://schemas.microsoft.com/office/drawing/2014/main" xmlns="" id="{D95AEACA-C80B-444C-A013-94D61646B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9766" y="4064414"/>
                <a:ext cx="28735" cy="27541"/>
              </a:xfrm>
              <a:custGeom>
                <a:avLst/>
                <a:gdLst>
                  <a:gd name="T0" fmla="*/ 4 w 11"/>
                  <a:gd name="T1" fmla="*/ 1 h 11"/>
                  <a:gd name="T2" fmla="*/ 2 w 11"/>
                  <a:gd name="T3" fmla="*/ 0 h 11"/>
                  <a:gd name="T4" fmla="*/ 1 w 11"/>
                  <a:gd name="T5" fmla="*/ 0 h 11"/>
                  <a:gd name="T6" fmla="*/ 0 w 11"/>
                  <a:gd name="T7" fmla="*/ 4 h 11"/>
                  <a:gd name="T8" fmla="*/ 1 w 11"/>
                  <a:gd name="T9" fmla="*/ 6 h 11"/>
                  <a:gd name="T10" fmla="*/ 3 w 11"/>
                  <a:gd name="T11" fmla="*/ 7 h 11"/>
                  <a:gd name="T12" fmla="*/ 7 w 11"/>
                  <a:gd name="T13" fmla="*/ 11 h 11"/>
                  <a:gd name="T14" fmla="*/ 7 w 11"/>
                  <a:gd name="T15" fmla="*/ 9 h 11"/>
                  <a:gd name="T16" fmla="*/ 10 w 11"/>
                  <a:gd name="T17" fmla="*/ 9 h 11"/>
                  <a:gd name="T18" fmla="*/ 11 w 11"/>
                  <a:gd name="T19" fmla="*/ 7 h 11"/>
                  <a:gd name="T20" fmla="*/ 9 w 11"/>
                  <a:gd name="T21" fmla="*/ 5 h 11"/>
                  <a:gd name="T22" fmla="*/ 8 w 11"/>
                  <a:gd name="T23" fmla="*/ 2 h 11"/>
                  <a:gd name="T24" fmla="*/ 5 w 11"/>
                  <a:gd name="T25" fmla="*/ 2 h 11"/>
                  <a:gd name="T26" fmla="*/ 4 w 11"/>
                  <a:gd name="T2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4" y="1"/>
                    </a:moveTo>
                    <a:cubicBezTo>
                      <a:pt x="3" y="1"/>
                      <a:pt x="3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1" y="6"/>
                      <a:pt x="2" y="6"/>
                      <a:pt x="3" y="7"/>
                    </a:cubicBezTo>
                    <a:cubicBezTo>
                      <a:pt x="5" y="8"/>
                      <a:pt x="5" y="9"/>
                      <a:pt x="7" y="11"/>
                    </a:cubicBezTo>
                    <a:cubicBezTo>
                      <a:pt x="7" y="10"/>
                      <a:pt x="7" y="10"/>
                      <a:pt x="7" y="9"/>
                    </a:cubicBezTo>
                    <a:cubicBezTo>
                      <a:pt x="8" y="9"/>
                      <a:pt x="9" y="9"/>
                      <a:pt x="10" y="9"/>
                    </a:cubicBezTo>
                    <a:cubicBezTo>
                      <a:pt x="11" y="9"/>
                      <a:pt x="11" y="8"/>
                      <a:pt x="11" y="7"/>
                    </a:cubicBezTo>
                    <a:cubicBezTo>
                      <a:pt x="11" y="6"/>
                      <a:pt x="10" y="5"/>
                      <a:pt x="9" y="5"/>
                    </a:cubicBezTo>
                    <a:cubicBezTo>
                      <a:pt x="8" y="4"/>
                      <a:pt x="8" y="3"/>
                      <a:pt x="8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9" name="Freeform 167">
                <a:extLst>
                  <a:ext uri="{FF2B5EF4-FFF2-40B4-BE49-F238E27FC236}">
                    <a16:creationId xmlns:a16="http://schemas.microsoft.com/office/drawing/2014/main" xmlns="" id="{CCF745E5-4AF4-47E1-9764-06178A816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2159" y="4003345"/>
                <a:ext cx="13170" cy="20357"/>
              </a:xfrm>
              <a:custGeom>
                <a:avLst/>
                <a:gdLst>
                  <a:gd name="T0" fmla="*/ 3 w 5"/>
                  <a:gd name="T1" fmla="*/ 1 h 8"/>
                  <a:gd name="T2" fmla="*/ 3 w 5"/>
                  <a:gd name="T3" fmla="*/ 0 h 8"/>
                  <a:gd name="T4" fmla="*/ 0 w 5"/>
                  <a:gd name="T5" fmla="*/ 0 h 8"/>
                  <a:gd name="T6" fmla="*/ 0 w 5"/>
                  <a:gd name="T7" fmla="*/ 2 h 8"/>
                  <a:gd name="T8" fmla="*/ 1 w 5"/>
                  <a:gd name="T9" fmla="*/ 3 h 8"/>
                  <a:gd name="T10" fmla="*/ 5 w 5"/>
                  <a:gd name="T11" fmla="*/ 8 h 8"/>
                  <a:gd name="T12" fmla="*/ 5 w 5"/>
                  <a:gd name="T13" fmla="*/ 6 h 8"/>
                  <a:gd name="T14" fmla="*/ 3 w 5"/>
                  <a:gd name="T1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3" y="1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2" y="5"/>
                      <a:pt x="2" y="8"/>
                      <a:pt x="5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5" y="4"/>
                      <a:pt x="3" y="3"/>
                      <a:pt x="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0" name="Freeform 168">
                <a:extLst>
                  <a:ext uri="{FF2B5EF4-FFF2-40B4-BE49-F238E27FC236}">
                    <a16:creationId xmlns:a16="http://schemas.microsoft.com/office/drawing/2014/main" xmlns="" id="{585E2A09-6B5A-409C-BFA1-57363B69B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9414" y="4006938"/>
                <a:ext cx="31129" cy="39515"/>
              </a:xfrm>
              <a:custGeom>
                <a:avLst/>
                <a:gdLst>
                  <a:gd name="T0" fmla="*/ 4 w 12"/>
                  <a:gd name="T1" fmla="*/ 2 h 16"/>
                  <a:gd name="T2" fmla="*/ 4 w 12"/>
                  <a:gd name="T3" fmla="*/ 4 h 16"/>
                  <a:gd name="T4" fmla="*/ 3 w 12"/>
                  <a:gd name="T5" fmla="*/ 6 h 16"/>
                  <a:gd name="T6" fmla="*/ 0 w 12"/>
                  <a:gd name="T7" fmla="*/ 7 h 16"/>
                  <a:gd name="T8" fmla="*/ 1 w 12"/>
                  <a:gd name="T9" fmla="*/ 11 h 16"/>
                  <a:gd name="T10" fmla="*/ 1 w 12"/>
                  <a:gd name="T11" fmla="*/ 13 h 16"/>
                  <a:gd name="T12" fmla="*/ 2 w 12"/>
                  <a:gd name="T13" fmla="*/ 12 h 16"/>
                  <a:gd name="T14" fmla="*/ 2 w 12"/>
                  <a:gd name="T15" fmla="*/ 10 h 16"/>
                  <a:gd name="T16" fmla="*/ 3 w 12"/>
                  <a:gd name="T17" fmla="*/ 9 h 16"/>
                  <a:gd name="T18" fmla="*/ 3 w 12"/>
                  <a:gd name="T19" fmla="*/ 10 h 16"/>
                  <a:gd name="T20" fmla="*/ 5 w 12"/>
                  <a:gd name="T21" fmla="*/ 12 h 16"/>
                  <a:gd name="T22" fmla="*/ 5 w 12"/>
                  <a:gd name="T23" fmla="*/ 15 h 16"/>
                  <a:gd name="T24" fmla="*/ 8 w 12"/>
                  <a:gd name="T25" fmla="*/ 14 h 16"/>
                  <a:gd name="T26" fmla="*/ 12 w 12"/>
                  <a:gd name="T27" fmla="*/ 16 h 16"/>
                  <a:gd name="T28" fmla="*/ 12 w 12"/>
                  <a:gd name="T29" fmla="*/ 14 h 16"/>
                  <a:gd name="T30" fmla="*/ 11 w 12"/>
                  <a:gd name="T31" fmla="*/ 11 h 16"/>
                  <a:gd name="T32" fmla="*/ 10 w 12"/>
                  <a:gd name="T33" fmla="*/ 10 h 16"/>
                  <a:gd name="T34" fmla="*/ 8 w 12"/>
                  <a:gd name="T35" fmla="*/ 9 h 16"/>
                  <a:gd name="T36" fmla="*/ 8 w 12"/>
                  <a:gd name="T37" fmla="*/ 5 h 16"/>
                  <a:gd name="T38" fmla="*/ 7 w 12"/>
                  <a:gd name="T39" fmla="*/ 3 h 16"/>
                  <a:gd name="T40" fmla="*/ 6 w 12"/>
                  <a:gd name="T41" fmla="*/ 0 h 16"/>
                  <a:gd name="T42" fmla="*/ 4 w 12"/>
                  <a:gd name="T4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16">
                    <a:moveTo>
                      <a:pt x="4" y="2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4" y="5"/>
                      <a:pt x="3" y="6"/>
                    </a:cubicBezTo>
                    <a:cubicBezTo>
                      <a:pt x="2" y="6"/>
                      <a:pt x="0" y="6"/>
                      <a:pt x="0" y="7"/>
                    </a:cubicBezTo>
                    <a:cubicBezTo>
                      <a:pt x="0" y="8"/>
                      <a:pt x="0" y="9"/>
                      <a:pt x="1" y="11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1" y="13"/>
                      <a:pt x="2" y="13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9"/>
                      <a:pt x="3" y="9"/>
                    </a:cubicBezTo>
                    <a:cubicBezTo>
                      <a:pt x="3" y="9"/>
                      <a:pt x="3" y="10"/>
                      <a:pt x="3" y="10"/>
                    </a:cubicBezTo>
                    <a:cubicBezTo>
                      <a:pt x="4" y="10"/>
                      <a:pt x="5" y="11"/>
                      <a:pt x="5" y="12"/>
                    </a:cubicBezTo>
                    <a:cubicBezTo>
                      <a:pt x="5" y="13"/>
                      <a:pt x="5" y="14"/>
                      <a:pt x="5" y="15"/>
                    </a:cubicBezTo>
                    <a:cubicBezTo>
                      <a:pt x="6" y="14"/>
                      <a:pt x="7" y="14"/>
                      <a:pt x="8" y="14"/>
                    </a:cubicBezTo>
                    <a:cubicBezTo>
                      <a:pt x="9" y="14"/>
                      <a:pt x="10" y="16"/>
                      <a:pt x="12" y="16"/>
                    </a:cubicBezTo>
                    <a:cubicBezTo>
                      <a:pt x="12" y="16"/>
                      <a:pt x="12" y="15"/>
                      <a:pt x="12" y="14"/>
                    </a:cubicBezTo>
                    <a:cubicBezTo>
                      <a:pt x="12" y="13"/>
                      <a:pt x="11" y="12"/>
                      <a:pt x="11" y="11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9"/>
                      <a:pt x="8" y="9"/>
                      <a:pt x="8" y="9"/>
                    </a:cubicBezTo>
                    <a:cubicBezTo>
                      <a:pt x="7" y="8"/>
                      <a:pt x="8" y="6"/>
                      <a:pt x="8" y="5"/>
                    </a:cubicBezTo>
                    <a:cubicBezTo>
                      <a:pt x="8" y="4"/>
                      <a:pt x="7" y="4"/>
                      <a:pt x="7" y="3"/>
                    </a:cubicBezTo>
                    <a:cubicBezTo>
                      <a:pt x="6" y="2"/>
                      <a:pt x="7" y="1"/>
                      <a:pt x="6" y="0"/>
                    </a:cubicBezTo>
                    <a:cubicBezTo>
                      <a:pt x="5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1" name="Freeform 169">
                <a:extLst>
                  <a:ext uri="{FF2B5EF4-FFF2-40B4-BE49-F238E27FC236}">
                    <a16:creationId xmlns:a16="http://schemas.microsoft.com/office/drawing/2014/main" xmlns="" id="{C87DBCEA-2A4F-4AAB-8975-8C295A454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7793" y="3963830"/>
                <a:ext cx="20353" cy="25146"/>
              </a:xfrm>
              <a:custGeom>
                <a:avLst/>
                <a:gdLst>
                  <a:gd name="T0" fmla="*/ 6 w 8"/>
                  <a:gd name="T1" fmla="*/ 0 h 10"/>
                  <a:gd name="T2" fmla="*/ 2 w 8"/>
                  <a:gd name="T3" fmla="*/ 7 h 10"/>
                  <a:gd name="T4" fmla="*/ 0 w 8"/>
                  <a:gd name="T5" fmla="*/ 10 h 10"/>
                  <a:gd name="T6" fmla="*/ 2 w 8"/>
                  <a:gd name="T7" fmla="*/ 9 h 10"/>
                  <a:gd name="T8" fmla="*/ 5 w 8"/>
                  <a:gd name="T9" fmla="*/ 9 h 10"/>
                  <a:gd name="T10" fmla="*/ 7 w 8"/>
                  <a:gd name="T11" fmla="*/ 6 h 10"/>
                  <a:gd name="T12" fmla="*/ 8 w 8"/>
                  <a:gd name="T13" fmla="*/ 2 h 10"/>
                  <a:gd name="T14" fmla="*/ 6 w 8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6" y="0"/>
                    </a:moveTo>
                    <a:cubicBezTo>
                      <a:pt x="4" y="2"/>
                      <a:pt x="3" y="4"/>
                      <a:pt x="2" y="7"/>
                    </a:cubicBezTo>
                    <a:cubicBezTo>
                      <a:pt x="1" y="8"/>
                      <a:pt x="0" y="9"/>
                      <a:pt x="0" y="10"/>
                    </a:cubicBezTo>
                    <a:cubicBezTo>
                      <a:pt x="1" y="10"/>
                      <a:pt x="1" y="9"/>
                      <a:pt x="2" y="9"/>
                    </a:cubicBezTo>
                    <a:cubicBezTo>
                      <a:pt x="3" y="9"/>
                      <a:pt x="4" y="9"/>
                      <a:pt x="5" y="9"/>
                    </a:cubicBezTo>
                    <a:cubicBezTo>
                      <a:pt x="7" y="9"/>
                      <a:pt x="6" y="7"/>
                      <a:pt x="7" y="6"/>
                    </a:cubicBezTo>
                    <a:cubicBezTo>
                      <a:pt x="7" y="4"/>
                      <a:pt x="8" y="4"/>
                      <a:pt x="8" y="2"/>
                    </a:cubicBezTo>
                    <a:cubicBezTo>
                      <a:pt x="8" y="1"/>
                      <a:pt x="7" y="0"/>
                      <a:pt x="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2" name="Freeform 170">
                <a:extLst>
                  <a:ext uri="{FF2B5EF4-FFF2-40B4-BE49-F238E27FC236}">
                    <a16:creationId xmlns:a16="http://schemas.microsoft.com/office/drawing/2014/main" xmlns="" id="{CE29711E-F208-4E4D-835A-EC5CBE24B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8774" y="3854865"/>
                <a:ext cx="43101" cy="45502"/>
              </a:xfrm>
              <a:custGeom>
                <a:avLst/>
                <a:gdLst>
                  <a:gd name="T0" fmla="*/ 0 w 17"/>
                  <a:gd name="T1" fmla="*/ 3 h 18"/>
                  <a:gd name="T2" fmla="*/ 0 w 17"/>
                  <a:gd name="T3" fmla="*/ 4 h 18"/>
                  <a:gd name="T4" fmla="*/ 7 w 17"/>
                  <a:gd name="T5" fmla="*/ 13 h 18"/>
                  <a:gd name="T6" fmla="*/ 9 w 17"/>
                  <a:gd name="T7" fmla="*/ 15 h 18"/>
                  <a:gd name="T8" fmla="*/ 10 w 17"/>
                  <a:gd name="T9" fmla="*/ 16 h 18"/>
                  <a:gd name="T10" fmla="*/ 12 w 17"/>
                  <a:gd name="T11" fmla="*/ 16 h 18"/>
                  <a:gd name="T12" fmla="*/ 13 w 17"/>
                  <a:gd name="T13" fmla="*/ 16 h 18"/>
                  <a:gd name="T14" fmla="*/ 17 w 17"/>
                  <a:gd name="T15" fmla="*/ 18 h 18"/>
                  <a:gd name="T16" fmla="*/ 17 w 17"/>
                  <a:gd name="T17" fmla="*/ 16 h 18"/>
                  <a:gd name="T18" fmla="*/ 12 w 17"/>
                  <a:gd name="T19" fmla="*/ 13 h 18"/>
                  <a:gd name="T20" fmla="*/ 10 w 17"/>
                  <a:gd name="T21" fmla="*/ 9 h 18"/>
                  <a:gd name="T22" fmla="*/ 10 w 17"/>
                  <a:gd name="T23" fmla="*/ 7 h 18"/>
                  <a:gd name="T24" fmla="*/ 10 w 17"/>
                  <a:gd name="T25" fmla="*/ 6 h 18"/>
                  <a:gd name="T26" fmla="*/ 6 w 17"/>
                  <a:gd name="T27" fmla="*/ 5 h 18"/>
                  <a:gd name="T28" fmla="*/ 6 w 17"/>
                  <a:gd name="T29" fmla="*/ 4 h 18"/>
                  <a:gd name="T30" fmla="*/ 8 w 17"/>
                  <a:gd name="T31" fmla="*/ 2 h 18"/>
                  <a:gd name="T32" fmla="*/ 6 w 17"/>
                  <a:gd name="T33" fmla="*/ 1 h 18"/>
                  <a:gd name="T34" fmla="*/ 2 w 17"/>
                  <a:gd name="T35" fmla="*/ 2 h 18"/>
                  <a:gd name="T36" fmla="*/ 0 w 17"/>
                  <a:gd name="T37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18">
                    <a:moveTo>
                      <a:pt x="0" y="3"/>
                    </a:moveTo>
                    <a:cubicBezTo>
                      <a:pt x="0" y="3"/>
                      <a:pt x="0" y="4"/>
                      <a:pt x="0" y="4"/>
                    </a:cubicBezTo>
                    <a:cubicBezTo>
                      <a:pt x="4" y="4"/>
                      <a:pt x="5" y="9"/>
                      <a:pt x="7" y="13"/>
                    </a:cubicBezTo>
                    <a:cubicBezTo>
                      <a:pt x="8" y="14"/>
                      <a:pt x="8" y="14"/>
                      <a:pt x="9" y="15"/>
                    </a:cubicBezTo>
                    <a:cubicBezTo>
                      <a:pt x="9" y="15"/>
                      <a:pt x="9" y="16"/>
                      <a:pt x="10" y="16"/>
                    </a:cubicBezTo>
                    <a:cubicBezTo>
                      <a:pt x="11" y="16"/>
                      <a:pt x="11" y="16"/>
                      <a:pt x="12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5" y="17"/>
                      <a:pt x="16" y="18"/>
                      <a:pt x="17" y="18"/>
                    </a:cubicBezTo>
                    <a:cubicBezTo>
                      <a:pt x="17" y="17"/>
                      <a:pt x="17" y="17"/>
                      <a:pt x="17" y="16"/>
                    </a:cubicBezTo>
                    <a:cubicBezTo>
                      <a:pt x="17" y="14"/>
                      <a:pt x="14" y="14"/>
                      <a:pt x="12" y="13"/>
                    </a:cubicBezTo>
                    <a:cubicBezTo>
                      <a:pt x="10" y="12"/>
                      <a:pt x="10" y="10"/>
                      <a:pt x="10" y="9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5"/>
                      <a:pt x="8" y="5"/>
                      <a:pt x="6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3"/>
                      <a:pt x="8" y="3"/>
                      <a:pt x="8" y="2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0"/>
                      <a:pt x="4" y="1"/>
                      <a:pt x="2" y="2"/>
                    </a:cubicBezTo>
                    <a:cubicBezTo>
                      <a:pt x="1" y="2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3" name="Freeform 171">
                <a:extLst>
                  <a:ext uri="{FF2B5EF4-FFF2-40B4-BE49-F238E27FC236}">
                    <a16:creationId xmlns:a16="http://schemas.microsoft.com/office/drawing/2014/main" xmlns="" id="{24E9FD27-7AB9-4491-986E-FD9F99F612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2755" y="3963830"/>
                <a:ext cx="29932" cy="55081"/>
              </a:xfrm>
              <a:custGeom>
                <a:avLst/>
                <a:gdLst>
                  <a:gd name="T0" fmla="*/ 10 w 12"/>
                  <a:gd name="T1" fmla="*/ 4 h 22"/>
                  <a:gd name="T2" fmla="*/ 7 w 12"/>
                  <a:gd name="T3" fmla="*/ 2 h 22"/>
                  <a:gd name="T4" fmla="*/ 4 w 12"/>
                  <a:gd name="T5" fmla="*/ 0 h 22"/>
                  <a:gd name="T6" fmla="*/ 2 w 12"/>
                  <a:gd name="T7" fmla="*/ 0 h 22"/>
                  <a:gd name="T8" fmla="*/ 0 w 12"/>
                  <a:gd name="T9" fmla="*/ 2 h 22"/>
                  <a:gd name="T10" fmla="*/ 0 w 12"/>
                  <a:gd name="T11" fmla="*/ 6 h 22"/>
                  <a:gd name="T12" fmla="*/ 4 w 12"/>
                  <a:gd name="T13" fmla="*/ 6 h 22"/>
                  <a:gd name="T14" fmla="*/ 4 w 12"/>
                  <a:gd name="T15" fmla="*/ 10 h 22"/>
                  <a:gd name="T16" fmla="*/ 3 w 12"/>
                  <a:gd name="T17" fmla="*/ 19 h 22"/>
                  <a:gd name="T18" fmla="*/ 5 w 12"/>
                  <a:gd name="T19" fmla="*/ 20 h 22"/>
                  <a:gd name="T20" fmla="*/ 7 w 12"/>
                  <a:gd name="T21" fmla="*/ 22 h 22"/>
                  <a:gd name="T22" fmla="*/ 10 w 12"/>
                  <a:gd name="T23" fmla="*/ 20 h 22"/>
                  <a:gd name="T24" fmla="*/ 11 w 12"/>
                  <a:gd name="T25" fmla="*/ 18 h 22"/>
                  <a:gd name="T26" fmla="*/ 12 w 12"/>
                  <a:gd name="T27" fmla="*/ 15 h 22"/>
                  <a:gd name="T28" fmla="*/ 12 w 12"/>
                  <a:gd name="T29" fmla="*/ 10 h 22"/>
                  <a:gd name="T30" fmla="*/ 10 w 12"/>
                  <a:gd name="T31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22">
                    <a:moveTo>
                      <a:pt x="10" y="4"/>
                    </a:move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6" y="0"/>
                      <a:pt x="4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2" y="5"/>
                      <a:pt x="4" y="6"/>
                    </a:cubicBezTo>
                    <a:cubicBezTo>
                      <a:pt x="5" y="7"/>
                      <a:pt x="4" y="9"/>
                      <a:pt x="4" y="10"/>
                    </a:cubicBezTo>
                    <a:cubicBezTo>
                      <a:pt x="4" y="14"/>
                      <a:pt x="3" y="15"/>
                      <a:pt x="3" y="19"/>
                    </a:cubicBezTo>
                    <a:cubicBezTo>
                      <a:pt x="3" y="20"/>
                      <a:pt x="4" y="20"/>
                      <a:pt x="5" y="20"/>
                    </a:cubicBezTo>
                    <a:cubicBezTo>
                      <a:pt x="6" y="21"/>
                      <a:pt x="6" y="22"/>
                      <a:pt x="7" y="22"/>
                    </a:cubicBezTo>
                    <a:cubicBezTo>
                      <a:pt x="8" y="22"/>
                      <a:pt x="9" y="21"/>
                      <a:pt x="10" y="20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2" y="17"/>
                      <a:pt x="11" y="16"/>
                      <a:pt x="12" y="15"/>
                    </a:cubicBezTo>
                    <a:cubicBezTo>
                      <a:pt x="12" y="13"/>
                      <a:pt x="12" y="12"/>
                      <a:pt x="12" y="10"/>
                    </a:cubicBezTo>
                    <a:cubicBezTo>
                      <a:pt x="12" y="8"/>
                      <a:pt x="12" y="6"/>
                      <a:pt x="1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4" name="Freeform 172">
                <a:extLst>
                  <a:ext uri="{FF2B5EF4-FFF2-40B4-BE49-F238E27FC236}">
                    <a16:creationId xmlns:a16="http://schemas.microsoft.com/office/drawing/2014/main" xmlns="" id="{866AF443-0B9D-4732-8E01-64709073D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3327" y="4123087"/>
                <a:ext cx="11973" cy="16764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1 h 7"/>
                  <a:gd name="T4" fmla="*/ 1 w 5"/>
                  <a:gd name="T5" fmla="*/ 3 h 7"/>
                  <a:gd name="T6" fmla="*/ 0 w 5"/>
                  <a:gd name="T7" fmla="*/ 5 h 7"/>
                  <a:gd name="T8" fmla="*/ 3 w 5"/>
                  <a:gd name="T9" fmla="*/ 7 h 7"/>
                  <a:gd name="T10" fmla="*/ 5 w 5"/>
                  <a:gd name="T11" fmla="*/ 4 h 7"/>
                  <a:gd name="T12" fmla="*/ 3 w 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6"/>
                      <a:pt x="2" y="7"/>
                      <a:pt x="3" y="7"/>
                    </a:cubicBezTo>
                    <a:cubicBezTo>
                      <a:pt x="4" y="7"/>
                      <a:pt x="5" y="5"/>
                      <a:pt x="5" y="4"/>
                    </a:cubicBezTo>
                    <a:cubicBezTo>
                      <a:pt x="5" y="2"/>
                      <a:pt x="4" y="1"/>
                      <a:pt x="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5" name="Freeform 173">
                <a:extLst>
                  <a:ext uri="{FF2B5EF4-FFF2-40B4-BE49-F238E27FC236}">
                    <a16:creationId xmlns:a16="http://schemas.microsoft.com/office/drawing/2014/main" xmlns="" id="{8FCA4D87-DD44-4ACF-98D0-316EB0598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8184" y="4041663"/>
                <a:ext cx="34721" cy="20357"/>
              </a:xfrm>
              <a:custGeom>
                <a:avLst/>
                <a:gdLst>
                  <a:gd name="T0" fmla="*/ 10 w 14"/>
                  <a:gd name="T1" fmla="*/ 2 h 8"/>
                  <a:gd name="T2" fmla="*/ 7 w 14"/>
                  <a:gd name="T3" fmla="*/ 1 h 8"/>
                  <a:gd name="T4" fmla="*/ 3 w 14"/>
                  <a:gd name="T5" fmla="*/ 3 h 8"/>
                  <a:gd name="T6" fmla="*/ 0 w 14"/>
                  <a:gd name="T7" fmla="*/ 6 h 8"/>
                  <a:gd name="T8" fmla="*/ 0 w 14"/>
                  <a:gd name="T9" fmla="*/ 7 h 8"/>
                  <a:gd name="T10" fmla="*/ 1 w 14"/>
                  <a:gd name="T11" fmla="*/ 7 h 8"/>
                  <a:gd name="T12" fmla="*/ 4 w 14"/>
                  <a:gd name="T13" fmla="*/ 6 h 8"/>
                  <a:gd name="T14" fmla="*/ 8 w 14"/>
                  <a:gd name="T15" fmla="*/ 8 h 8"/>
                  <a:gd name="T16" fmla="*/ 11 w 14"/>
                  <a:gd name="T17" fmla="*/ 6 h 8"/>
                  <a:gd name="T18" fmla="*/ 14 w 14"/>
                  <a:gd name="T19" fmla="*/ 3 h 8"/>
                  <a:gd name="T20" fmla="*/ 14 w 14"/>
                  <a:gd name="T21" fmla="*/ 1 h 8"/>
                  <a:gd name="T22" fmla="*/ 13 w 14"/>
                  <a:gd name="T23" fmla="*/ 0 h 8"/>
                  <a:gd name="T24" fmla="*/ 10 w 14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8">
                    <a:moveTo>
                      <a:pt x="10" y="2"/>
                    </a:moveTo>
                    <a:cubicBezTo>
                      <a:pt x="8" y="2"/>
                      <a:pt x="8" y="1"/>
                      <a:pt x="7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1" y="4"/>
                      <a:pt x="0" y="4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3" y="6"/>
                      <a:pt x="4" y="6"/>
                    </a:cubicBezTo>
                    <a:cubicBezTo>
                      <a:pt x="5" y="6"/>
                      <a:pt x="6" y="8"/>
                      <a:pt x="8" y="8"/>
                    </a:cubicBezTo>
                    <a:cubicBezTo>
                      <a:pt x="9" y="8"/>
                      <a:pt x="9" y="7"/>
                      <a:pt x="11" y="6"/>
                    </a:cubicBezTo>
                    <a:cubicBezTo>
                      <a:pt x="12" y="5"/>
                      <a:pt x="14" y="5"/>
                      <a:pt x="14" y="3"/>
                    </a:cubicBezTo>
                    <a:cubicBezTo>
                      <a:pt x="14" y="2"/>
                      <a:pt x="14" y="1"/>
                      <a:pt x="14" y="1"/>
                    </a:cubicBezTo>
                    <a:cubicBezTo>
                      <a:pt x="14" y="1"/>
                      <a:pt x="13" y="0"/>
                      <a:pt x="13" y="0"/>
                    </a:cubicBezTo>
                    <a:cubicBezTo>
                      <a:pt x="12" y="0"/>
                      <a:pt x="11" y="2"/>
                      <a:pt x="1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6" name="Freeform 174">
                <a:extLst>
                  <a:ext uri="{FF2B5EF4-FFF2-40B4-BE49-F238E27FC236}">
                    <a16:creationId xmlns:a16="http://schemas.microsoft.com/office/drawing/2014/main" xmlns="" id="{021A6AA9-A311-4BA2-AD87-C5777D982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2401" y="3781822"/>
                <a:ext cx="20353" cy="11974"/>
              </a:xfrm>
              <a:custGeom>
                <a:avLst/>
                <a:gdLst>
                  <a:gd name="T0" fmla="*/ 6 w 8"/>
                  <a:gd name="T1" fmla="*/ 0 h 5"/>
                  <a:gd name="T2" fmla="*/ 2 w 8"/>
                  <a:gd name="T3" fmla="*/ 2 h 5"/>
                  <a:gd name="T4" fmla="*/ 0 w 8"/>
                  <a:gd name="T5" fmla="*/ 3 h 5"/>
                  <a:gd name="T6" fmla="*/ 3 w 8"/>
                  <a:gd name="T7" fmla="*/ 5 h 5"/>
                  <a:gd name="T8" fmla="*/ 6 w 8"/>
                  <a:gd name="T9" fmla="*/ 4 h 5"/>
                  <a:gd name="T10" fmla="*/ 8 w 8"/>
                  <a:gd name="T11" fmla="*/ 3 h 5"/>
                  <a:gd name="T12" fmla="*/ 5 w 8"/>
                  <a:gd name="T13" fmla="*/ 0 h 5"/>
                  <a:gd name="T14" fmla="*/ 6 w 8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6" y="0"/>
                    </a:moveTo>
                    <a:cubicBezTo>
                      <a:pt x="4" y="0"/>
                      <a:pt x="4" y="1"/>
                      <a:pt x="2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5"/>
                      <a:pt x="1" y="5"/>
                      <a:pt x="3" y="5"/>
                    </a:cubicBezTo>
                    <a:cubicBezTo>
                      <a:pt x="4" y="5"/>
                      <a:pt x="5" y="5"/>
                      <a:pt x="6" y="4"/>
                    </a:cubicBezTo>
                    <a:cubicBezTo>
                      <a:pt x="7" y="4"/>
                      <a:pt x="8" y="4"/>
                      <a:pt x="8" y="3"/>
                    </a:cubicBezTo>
                    <a:cubicBezTo>
                      <a:pt x="8" y="1"/>
                      <a:pt x="7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7" name="Freeform 175">
                <a:extLst>
                  <a:ext uri="{FF2B5EF4-FFF2-40B4-BE49-F238E27FC236}">
                    <a16:creationId xmlns:a16="http://schemas.microsoft.com/office/drawing/2014/main" xmlns="" id="{2E67F438-5771-4B1F-A4AC-6903F5C13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6131" y="3814153"/>
                <a:ext cx="31129" cy="27541"/>
              </a:xfrm>
              <a:custGeom>
                <a:avLst/>
                <a:gdLst>
                  <a:gd name="T0" fmla="*/ 8 w 12"/>
                  <a:gd name="T1" fmla="*/ 3 h 11"/>
                  <a:gd name="T2" fmla="*/ 5 w 12"/>
                  <a:gd name="T3" fmla="*/ 1 h 11"/>
                  <a:gd name="T4" fmla="*/ 3 w 12"/>
                  <a:gd name="T5" fmla="*/ 2 h 11"/>
                  <a:gd name="T6" fmla="*/ 0 w 12"/>
                  <a:gd name="T7" fmla="*/ 3 h 11"/>
                  <a:gd name="T8" fmla="*/ 1 w 12"/>
                  <a:gd name="T9" fmla="*/ 4 h 11"/>
                  <a:gd name="T10" fmla="*/ 3 w 12"/>
                  <a:gd name="T11" fmla="*/ 7 h 11"/>
                  <a:gd name="T12" fmla="*/ 4 w 12"/>
                  <a:gd name="T13" fmla="*/ 9 h 11"/>
                  <a:gd name="T14" fmla="*/ 5 w 12"/>
                  <a:gd name="T15" fmla="*/ 11 h 11"/>
                  <a:gd name="T16" fmla="*/ 6 w 12"/>
                  <a:gd name="T17" fmla="*/ 9 h 11"/>
                  <a:gd name="T18" fmla="*/ 6 w 12"/>
                  <a:gd name="T19" fmla="*/ 7 h 11"/>
                  <a:gd name="T20" fmla="*/ 8 w 12"/>
                  <a:gd name="T21" fmla="*/ 5 h 11"/>
                  <a:gd name="T22" fmla="*/ 11 w 12"/>
                  <a:gd name="T23" fmla="*/ 9 h 11"/>
                  <a:gd name="T24" fmla="*/ 11 w 12"/>
                  <a:gd name="T25" fmla="*/ 5 h 11"/>
                  <a:gd name="T26" fmla="*/ 12 w 12"/>
                  <a:gd name="T27" fmla="*/ 1 h 11"/>
                  <a:gd name="T28" fmla="*/ 12 w 12"/>
                  <a:gd name="T29" fmla="*/ 0 h 11"/>
                  <a:gd name="T30" fmla="*/ 10 w 12"/>
                  <a:gd name="T31" fmla="*/ 2 h 11"/>
                  <a:gd name="T32" fmla="*/ 8 w 12"/>
                  <a:gd name="T3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8" y="3"/>
                    </a:moveTo>
                    <a:cubicBezTo>
                      <a:pt x="6" y="3"/>
                      <a:pt x="6" y="1"/>
                      <a:pt x="5" y="1"/>
                    </a:cubicBezTo>
                    <a:cubicBezTo>
                      <a:pt x="4" y="1"/>
                      <a:pt x="4" y="2"/>
                      <a:pt x="3" y="2"/>
                    </a:cubicBezTo>
                    <a:cubicBezTo>
                      <a:pt x="2" y="2"/>
                      <a:pt x="0" y="2"/>
                      <a:pt x="0" y="3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5"/>
                      <a:pt x="2" y="6"/>
                      <a:pt x="3" y="7"/>
                    </a:cubicBezTo>
                    <a:cubicBezTo>
                      <a:pt x="3" y="8"/>
                      <a:pt x="3" y="8"/>
                      <a:pt x="4" y="9"/>
                    </a:cubicBezTo>
                    <a:cubicBezTo>
                      <a:pt x="4" y="10"/>
                      <a:pt x="4" y="11"/>
                      <a:pt x="5" y="11"/>
                    </a:cubicBezTo>
                    <a:cubicBezTo>
                      <a:pt x="6" y="11"/>
                      <a:pt x="6" y="10"/>
                      <a:pt x="6" y="9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6"/>
                      <a:pt x="7" y="5"/>
                      <a:pt x="8" y="5"/>
                    </a:cubicBezTo>
                    <a:cubicBezTo>
                      <a:pt x="9" y="7"/>
                      <a:pt x="10" y="8"/>
                      <a:pt x="11" y="9"/>
                    </a:cubicBezTo>
                    <a:cubicBezTo>
                      <a:pt x="12" y="8"/>
                      <a:pt x="11" y="6"/>
                      <a:pt x="11" y="5"/>
                    </a:cubicBezTo>
                    <a:cubicBezTo>
                      <a:pt x="11" y="3"/>
                      <a:pt x="12" y="3"/>
                      <a:pt x="12" y="1"/>
                    </a:cubicBezTo>
                    <a:cubicBezTo>
                      <a:pt x="12" y="1"/>
                      <a:pt x="12" y="0"/>
                      <a:pt x="12" y="0"/>
                    </a:cubicBezTo>
                    <a:cubicBezTo>
                      <a:pt x="11" y="0"/>
                      <a:pt x="10" y="1"/>
                      <a:pt x="10" y="2"/>
                    </a:cubicBezTo>
                    <a:cubicBezTo>
                      <a:pt x="9" y="3"/>
                      <a:pt x="8" y="3"/>
                      <a:pt x="8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8" name="Freeform 176">
                <a:extLst>
                  <a:ext uri="{FF2B5EF4-FFF2-40B4-BE49-F238E27FC236}">
                    <a16:creationId xmlns:a16="http://schemas.microsoft.com/office/drawing/2014/main" xmlns="" id="{62DE4DE8-8144-4CF0-ACC3-EDB8697A3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6837" y="3759072"/>
                <a:ext cx="13170" cy="7184"/>
              </a:xfrm>
              <a:custGeom>
                <a:avLst/>
                <a:gdLst>
                  <a:gd name="T0" fmla="*/ 0 w 5"/>
                  <a:gd name="T1" fmla="*/ 2 h 3"/>
                  <a:gd name="T2" fmla="*/ 0 w 5"/>
                  <a:gd name="T3" fmla="*/ 3 h 3"/>
                  <a:gd name="T4" fmla="*/ 2 w 5"/>
                  <a:gd name="T5" fmla="*/ 3 h 3"/>
                  <a:gd name="T6" fmla="*/ 5 w 5"/>
                  <a:gd name="T7" fmla="*/ 1 h 3"/>
                  <a:gd name="T8" fmla="*/ 4 w 5"/>
                  <a:gd name="T9" fmla="*/ 1 h 3"/>
                  <a:gd name="T10" fmla="*/ 2 w 5"/>
                  <a:gd name="T11" fmla="*/ 0 h 3"/>
                  <a:gd name="T12" fmla="*/ 0 w 5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3" y="3"/>
                      <a:pt x="5" y="3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9" name="Freeform 177">
                <a:extLst>
                  <a:ext uri="{FF2B5EF4-FFF2-40B4-BE49-F238E27FC236}">
                    <a16:creationId xmlns:a16="http://schemas.microsoft.com/office/drawing/2014/main" xmlns="" id="{81FAA217-4B10-4F38-A61F-5788A7F0C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0634" y="3731531"/>
                <a:ext cx="20353" cy="25146"/>
              </a:xfrm>
              <a:custGeom>
                <a:avLst/>
                <a:gdLst>
                  <a:gd name="T0" fmla="*/ 0 w 8"/>
                  <a:gd name="T1" fmla="*/ 7 h 10"/>
                  <a:gd name="T2" fmla="*/ 2 w 8"/>
                  <a:gd name="T3" fmla="*/ 8 h 10"/>
                  <a:gd name="T4" fmla="*/ 5 w 8"/>
                  <a:gd name="T5" fmla="*/ 10 h 10"/>
                  <a:gd name="T6" fmla="*/ 8 w 8"/>
                  <a:gd name="T7" fmla="*/ 9 h 10"/>
                  <a:gd name="T8" fmla="*/ 8 w 8"/>
                  <a:gd name="T9" fmla="*/ 7 h 10"/>
                  <a:gd name="T10" fmla="*/ 5 w 8"/>
                  <a:gd name="T11" fmla="*/ 1 h 10"/>
                  <a:gd name="T12" fmla="*/ 4 w 8"/>
                  <a:gd name="T13" fmla="*/ 0 h 10"/>
                  <a:gd name="T14" fmla="*/ 1 w 8"/>
                  <a:gd name="T15" fmla="*/ 3 h 10"/>
                  <a:gd name="T16" fmla="*/ 0 w 8"/>
                  <a:gd name="T1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0" y="7"/>
                    </a:moveTo>
                    <a:cubicBezTo>
                      <a:pt x="1" y="8"/>
                      <a:pt x="1" y="7"/>
                      <a:pt x="2" y="8"/>
                    </a:cubicBezTo>
                    <a:cubicBezTo>
                      <a:pt x="3" y="8"/>
                      <a:pt x="4" y="10"/>
                      <a:pt x="5" y="10"/>
                    </a:cubicBezTo>
                    <a:cubicBezTo>
                      <a:pt x="6" y="10"/>
                      <a:pt x="7" y="9"/>
                      <a:pt x="8" y="9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7" y="5"/>
                      <a:pt x="7" y="3"/>
                      <a:pt x="5" y="1"/>
                    </a:cubicBezTo>
                    <a:cubicBezTo>
                      <a:pt x="5" y="1"/>
                      <a:pt x="5" y="0"/>
                      <a:pt x="4" y="0"/>
                    </a:cubicBezTo>
                    <a:cubicBezTo>
                      <a:pt x="3" y="1"/>
                      <a:pt x="2" y="2"/>
                      <a:pt x="1" y="3"/>
                    </a:cubicBezTo>
                    <a:cubicBezTo>
                      <a:pt x="0" y="5"/>
                      <a:pt x="0" y="6"/>
                      <a:pt x="0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0" name="Freeform 178">
                <a:extLst>
                  <a:ext uri="{FF2B5EF4-FFF2-40B4-BE49-F238E27FC236}">
                    <a16:creationId xmlns:a16="http://schemas.microsoft.com/office/drawing/2014/main" xmlns="" id="{2EE68982-2406-4C6D-B2FA-D4420EC0B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171" y="4044058"/>
                <a:ext cx="22748" cy="20357"/>
              </a:xfrm>
              <a:custGeom>
                <a:avLst/>
                <a:gdLst>
                  <a:gd name="T0" fmla="*/ 3 w 9"/>
                  <a:gd name="T1" fmla="*/ 0 h 8"/>
                  <a:gd name="T2" fmla="*/ 0 w 9"/>
                  <a:gd name="T3" fmla="*/ 2 h 8"/>
                  <a:gd name="T4" fmla="*/ 3 w 9"/>
                  <a:gd name="T5" fmla="*/ 5 h 8"/>
                  <a:gd name="T6" fmla="*/ 7 w 9"/>
                  <a:gd name="T7" fmla="*/ 8 h 8"/>
                  <a:gd name="T8" fmla="*/ 9 w 9"/>
                  <a:gd name="T9" fmla="*/ 8 h 8"/>
                  <a:gd name="T10" fmla="*/ 9 w 9"/>
                  <a:gd name="T11" fmla="*/ 6 h 8"/>
                  <a:gd name="T12" fmla="*/ 6 w 9"/>
                  <a:gd name="T13" fmla="*/ 3 h 8"/>
                  <a:gd name="T14" fmla="*/ 3 w 9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3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2" y="4"/>
                      <a:pt x="3" y="5"/>
                    </a:cubicBezTo>
                    <a:cubicBezTo>
                      <a:pt x="5" y="6"/>
                      <a:pt x="5" y="8"/>
                      <a:pt x="7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5"/>
                      <a:pt x="8" y="4"/>
                      <a:pt x="6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1" name="Freeform 179">
                <a:extLst>
                  <a:ext uri="{FF2B5EF4-FFF2-40B4-BE49-F238E27FC236}">
                    <a16:creationId xmlns:a16="http://schemas.microsoft.com/office/drawing/2014/main" xmlns="" id="{CA205E20-A7B3-4CFB-B6F9-E779A5EEA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1695" y="4071597"/>
                <a:ext cx="17959" cy="15567"/>
              </a:xfrm>
              <a:custGeom>
                <a:avLst/>
                <a:gdLst>
                  <a:gd name="T0" fmla="*/ 4 w 7"/>
                  <a:gd name="T1" fmla="*/ 0 h 6"/>
                  <a:gd name="T2" fmla="*/ 2 w 7"/>
                  <a:gd name="T3" fmla="*/ 0 h 6"/>
                  <a:gd name="T4" fmla="*/ 0 w 7"/>
                  <a:gd name="T5" fmla="*/ 1 h 6"/>
                  <a:gd name="T6" fmla="*/ 0 w 7"/>
                  <a:gd name="T7" fmla="*/ 3 h 6"/>
                  <a:gd name="T8" fmla="*/ 2 w 7"/>
                  <a:gd name="T9" fmla="*/ 3 h 6"/>
                  <a:gd name="T10" fmla="*/ 5 w 7"/>
                  <a:gd name="T11" fmla="*/ 6 h 6"/>
                  <a:gd name="T12" fmla="*/ 7 w 7"/>
                  <a:gd name="T13" fmla="*/ 3 h 6"/>
                  <a:gd name="T14" fmla="*/ 4 w 7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4" y="0"/>
                    </a:moveTo>
                    <a:cubicBezTo>
                      <a:pt x="3" y="0"/>
                      <a:pt x="3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3" y="6"/>
                      <a:pt x="5" y="6"/>
                    </a:cubicBezTo>
                    <a:cubicBezTo>
                      <a:pt x="6" y="6"/>
                      <a:pt x="7" y="4"/>
                      <a:pt x="7" y="3"/>
                    </a:cubicBezTo>
                    <a:cubicBezTo>
                      <a:pt x="7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2" name="Freeform 180">
                <a:extLst>
                  <a:ext uri="{FF2B5EF4-FFF2-40B4-BE49-F238E27FC236}">
                    <a16:creationId xmlns:a16="http://schemas.microsoft.com/office/drawing/2014/main" xmlns="" id="{4E32BED2-5D84-4535-B10C-0B94E03F71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9232" y="4089560"/>
                <a:ext cx="15564" cy="13172"/>
              </a:xfrm>
              <a:custGeom>
                <a:avLst/>
                <a:gdLst>
                  <a:gd name="T0" fmla="*/ 0 w 6"/>
                  <a:gd name="T1" fmla="*/ 1 h 5"/>
                  <a:gd name="T2" fmla="*/ 0 w 6"/>
                  <a:gd name="T3" fmla="*/ 5 h 5"/>
                  <a:gd name="T4" fmla="*/ 0 w 6"/>
                  <a:gd name="T5" fmla="*/ 5 h 5"/>
                  <a:gd name="T6" fmla="*/ 3 w 6"/>
                  <a:gd name="T7" fmla="*/ 4 h 5"/>
                  <a:gd name="T8" fmla="*/ 6 w 6"/>
                  <a:gd name="T9" fmla="*/ 2 h 5"/>
                  <a:gd name="T10" fmla="*/ 4 w 6"/>
                  <a:gd name="T11" fmla="*/ 1 h 5"/>
                  <a:gd name="T12" fmla="*/ 0 w 6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">
                    <a:moveTo>
                      <a:pt x="0" y="1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2" y="4"/>
                      <a:pt x="3" y="4"/>
                    </a:cubicBezTo>
                    <a:cubicBezTo>
                      <a:pt x="4" y="3"/>
                      <a:pt x="6" y="3"/>
                      <a:pt x="6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1" y="0"/>
                      <a:pt x="0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3" name="Freeform 181">
                <a:extLst>
                  <a:ext uri="{FF2B5EF4-FFF2-40B4-BE49-F238E27FC236}">
                    <a16:creationId xmlns:a16="http://schemas.microsoft.com/office/drawing/2014/main" xmlns="" id="{642487CB-08DA-467B-BF69-513B7BA45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1912" y="4066808"/>
                <a:ext cx="28735" cy="13172"/>
              </a:xfrm>
              <a:custGeom>
                <a:avLst/>
                <a:gdLst>
                  <a:gd name="T0" fmla="*/ 6 w 11"/>
                  <a:gd name="T1" fmla="*/ 2 h 5"/>
                  <a:gd name="T2" fmla="*/ 4 w 11"/>
                  <a:gd name="T3" fmla="*/ 1 h 5"/>
                  <a:gd name="T4" fmla="*/ 0 w 11"/>
                  <a:gd name="T5" fmla="*/ 5 h 5"/>
                  <a:gd name="T6" fmla="*/ 3 w 11"/>
                  <a:gd name="T7" fmla="*/ 5 h 5"/>
                  <a:gd name="T8" fmla="*/ 6 w 11"/>
                  <a:gd name="T9" fmla="*/ 5 h 5"/>
                  <a:gd name="T10" fmla="*/ 8 w 11"/>
                  <a:gd name="T11" fmla="*/ 3 h 5"/>
                  <a:gd name="T12" fmla="*/ 11 w 11"/>
                  <a:gd name="T13" fmla="*/ 1 h 5"/>
                  <a:gd name="T14" fmla="*/ 11 w 11"/>
                  <a:gd name="T15" fmla="*/ 0 h 5"/>
                  <a:gd name="T16" fmla="*/ 9 w 11"/>
                  <a:gd name="T17" fmla="*/ 0 h 5"/>
                  <a:gd name="T18" fmla="*/ 8 w 11"/>
                  <a:gd name="T19" fmla="*/ 1 h 5"/>
                  <a:gd name="T20" fmla="*/ 6 w 11"/>
                  <a:gd name="T2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5">
                    <a:moveTo>
                      <a:pt x="6" y="2"/>
                    </a:moveTo>
                    <a:cubicBezTo>
                      <a:pt x="5" y="2"/>
                      <a:pt x="5" y="1"/>
                      <a:pt x="4" y="1"/>
                    </a:cubicBezTo>
                    <a:cubicBezTo>
                      <a:pt x="2" y="1"/>
                      <a:pt x="1" y="3"/>
                      <a:pt x="0" y="5"/>
                    </a:cubicBezTo>
                    <a:cubicBezTo>
                      <a:pt x="1" y="5"/>
                      <a:pt x="2" y="5"/>
                      <a:pt x="3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8" y="4"/>
                      <a:pt x="8" y="3"/>
                    </a:cubicBezTo>
                    <a:cubicBezTo>
                      <a:pt x="10" y="3"/>
                      <a:pt x="11" y="2"/>
                      <a:pt x="11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0"/>
                      <a:pt x="9" y="0"/>
                    </a:cubicBezTo>
                    <a:cubicBezTo>
                      <a:pt x="9" y="0"/>
                      <a:pt x="9" y="1"/>
                      <a:pt x="8" y="1"/>
                    </a:cubicBezTo>
                    <a:cubicBezTo>
                      <a:pt x="7" y="1"/>
                      <a:pt x="7" y="2"/>
                      <a:pt x="6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4" name="Freeform 182">
                <a:extLst>
                  <a:ext uri="{FF2B5EF4-FFF2-40B4-BE49-F238E27FC236}">
                    <a16:creationId xmlns:a16="http://schemas.microsoft.com/office/drawing/2014/main" xmlns="" id="{42DA0820-F3E0-4200-881F-369B69A94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0008" y="4123087"/>
                <a:ext cx="14368" cy="25146"/>
              </a:xfrm>
              <a:custGeom>
                <a:avLst/>
                <a:gdLst>
                  <a:gd name="T0" fmla="*/ 0 w 6"/>
                  <a:gd name="T1" fmla="*/ 6 h 10"/>
                  <a:gd name="T2" fmla="*/ 5 w 6"/>
                  <a:gd name="T3" fmla="*/ 10 h 10"/>
                  <a:gd name="T4" fmla="*/ 6 w 6"/>
                  <a:gd name="T5" fmla="*/ 7 h 10"/>
                  <a:gd name="T6" fmla="*/ 6 w 6"/>
                  <a:gd name="T7" fmla="*/ 4 h 10"/>
                  <a:gd name="T8" fmla="*/ 5 w 6"/>
                  <a:gd name="T9" fmla="*/ 1 h 10"/>
                  <a:gd name="T10" fmla="*/ 3 w 6"/>
                  <a:gd name="T11" fmla="*/ 1 h 10"/>
                  <a:gd name="T12" fmla="*/ 2 w 6"/>
                  <a:gd name="T13" fmla="*/ 4 h 10"/>
                  <a:gd name="T14" fmla="*/ 0 w 6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0" y="6"/>
                    </a:moveTo>
                    <a:cubicBezTo>
                      <a:pt x="0" y="8"/>
                      <a:pt x="2" y="10"/>
                      <a:pt x="5" y="10"/>
                    </a:cubicBezTo>
                    <a:cubicBezTo>
                      <a:pt x="6" y="10"/>
                      <a:pt x="6" y="8"/>
                      <a:pt x="6" y="7"/>
                    </a:cubicBezTo>
                    <a:cubicBezTo>
                      <a:pt x="6" y="6"/>
                      <a:pt x="6" y="5"/>
                      <a:pt x="6" y="4"/>
                    </a:cubicBezTo>
                    <a:cubicBezTo>
                      <a:pt x="6" y="2"/>
                      <a:pt x="6" y="2"/>
                      <a:pt x="5" y="1"/>
                    </a:cubicBezTo>
                    <a:cubicBezTo>
                      <a:pt x="5" y="0"/>
                      <a:pt x="4" y="1"/>
                      <a:pt x="3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1" y="4"/>
                      <a:pt x="0" y="5"/>
                      <a:pt x="0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5" name="Freeform 183">
                <a:extLst>
                  <a:ext uri="{FF2B5EF4-FFF2-40B4-BE49-F238E27FC236}">
                    <a16:creationId xmlns:a16="http://schemas.microsoft.com/office/drawing/2014/main" xmlns="" id="{7550456F-AC63-4297-8C1F-96C41F91D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1410" y="4180563"/>
                <a:ext cx="14368" cy="10777"/>
              </a:xfrm>
              <a:custGeom>
                <a:avLst/>
                <a:gdLst>
                  <a:gd name="T0" fmla="*/ 2 w 6"/>
                  <a:gd name="T1" fmla="*/ 3 h 4"/>
                  <a:gd name="T2" fmla="*/ 0 w 6"/>
                  <a:gd name="T3" fmla="*/ 2 h 4"/>
                  <a:gd name="T4" fmla="*/ 0 w 6"/>
                  <a:gd name="T5" fmla="*/ 2 h 4"/>
                  <a:gd name="T6" fmla="*/ 2 w 6"/>
                  <a:gd name="T7" fmla="*/ 4 h 4"/>
                  <a:gd name="T8" fmla="*/ 5 w 6"/>
                  <a:gd name="T9" fmla="*/ 4 h 4"/>
                  <a:gd name="T10" fmla="*/ 6 w 6"/>
                  <a:gd name="T11" fmla="*/ 1 h 4"/>
                  <a:gd name="T12" fmla="*/ 4 w 6"/>
                  <a:gd name="T13" fmla="*/ 0 h 4"/>
                  <a:gd name="T14" fmla="*/ 2 w 6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2" y="3"/>
                    </a:moveTo>
                    <a:cubicBezTo>
                      <a:pt x="1" y="3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0"/>
                      <a:pt x="4" y="0"/>
                      <a:pt x="4" y="0"/>
                    </a:cubicBezTo>
                    <a:cubicBezTo>
                      <a:pt x="3" y="1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6" name="Freeform 184">
                <a:extLst>
                  <a:ext uri="{FF2B5EF4-FFF2-40B4-BE49-F238E27FC236}">
                    <a16:creationId xmlns:a16="http://schemas.microsoft.com/office/drawing/2014/main" xmlns="" id="{69E3F9FF-2E3F-40DF-9CF1-42E5913B8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4374" y="3880010"/>
                <a:ext cx="68244" cy="40713"/>
              </a:xfrm>
              <a:custGeom>
                <a:avLst/>
                <a:gdLst>
                  <a:gd name="T0" fmla="*/ 14 w 27"/>
                  <a:gd name="T1" fmla="*/ 1 h 16"/>
                  <a:gd name="T2" fmla="*/ 12 w 27"/>
                  <a:gd name="T3" fmla="*/ 0 h 16"/>
                  <a:gd name="T4" fmla="*/ 10 w 27"/>
                  <a:gd name="T5" fmla="*/ 2 h 16"/>
                  <a:gd name="T6" fmla="*/ 7 w 27"/>
                  <a:gd name="T7" fmla="*/ 3 h 16"/>
                  <a:gd name="T8" fmla="*/ 4 w 27"/>
                  <a:gd name="T9" fmla="*/ 4 h 16"/>
                  <a:gd name="T10" fmla="*/ 1 w 27"/>
                  <a:gd name="T11" fmla="*/ 4 h 16"/>
                  <a:gd name="T12" fmla="*/ 0 w 27"/>
                  <a:gd name="T13" fmla="*/ 5 h 16"/>
                  <a:gd name="T14" fmla="*/ 4 w 27"/>
                  <a:gd name="T15" fmla="*/ 11 h 16"/>
                  <a:gd name="T16" fmla="*/ 5 w 27"/>
                  <a:gd name="T17" fmla="*/ 10 h 16"/>
                  <a:gd name="T18" fmla="*/ 7 w 27"/>
                  <a:gd name="T19" fmla="*/ 9 h 16"/>
                  <a:gd name="T20" fmla="*/ 13 w 27"/>
                  <a:gd name="T21" fmla="*/ 6 h 16"/>
                  <a:gd name="T22" fmla="*/ 13 w 27"/>
                  <a:gd name="T23" fmla="*/ 7 h 16"/>
                  <a:gd name="T24" fmla="*/ 10 w 27"/>
                  <a:gd name="T25" fmla="*/ 12 h 16"/>
                  <a:gd name="T26" fmla="*/ 10 w 27"/>
                  <a:gd name="T27" fmla="*/ 13 h 16"/>
                  <a:gd name="T28" fmla="*/ 12 w 27"/>
                  <a:gd name="T29" fmla="*/ 14 h 16"/>
                  <a:gd name="T30" fmla="*/ 15 w 27"/>
                  <a:gd name="T31" fmla="*/ 14 h 16"/>
                  <a:gd name="T32" fmla="*/ 16 w 27"/>
                  <a:gd name="T33" fmla="*/ 15 h 16"/>
                  <a:gd name="T34" fmla="*/ 21 w 27"/>
                  <a:gd name="T35" fmla="*/ 16 h 16"/>
                  <a:gd name="T36" fmla="*/ 21 w 27"/>
                  <a:gd name="T37" fmla="*/ 16 h 16"/>
                  <a:gd name="T38" fmla="*/ 20 w 27"/>
                  <a:gd name="T39" fmla="*/ 11 h 16"/>
                  <a:gd name="T40" fmla="*/ 20 w 27"/>
                  <a:gd name="T41" fmla="*/ 10 h 16"/>
                  <a:gd name="T42" fmla="*/ 25 w 27"/>
                  <a:gd name="T43" fmla="*/ 13 h 16"/>
                  <a:gd name="T44" fmla="*/ 27 w 27"/>
                  <a:gd name="T45" fmla="*/ 11 h 16"/>
                  <a:gd name="T46" fmla="*/ 25 w 27"/>
                  <a:gd name="T47" fmla="*/ 8 h 16"/>
                  <a:gd name="T48" fmla="*/ 20 w 27"/>
                  <a:gd name="T49" fmla="*/ 7 h 16"/>
                  <a:gd name="T50" fmla="*/ 19 w 27"/>
                  <a:gd name="T51" fmla="*/ 2 h 16"/>
                  <a:gd name="T52" fmla="*/ 16 w 27"/>
                  <a:gd name="T53" fmla="*/ 1 h 16"/>
                  <a:gd name="T54" fmla="*/ 14 w 27"/>
                  <a:gd name="T55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" h="16">
                    <a:moveTo>
                      <a:pt x="14" y="1"/>
                    </a:moveTo>
                    <a:cubicBezTo>
                      <a:pt x="14" y="1"/>
                      <a:pt x="13" y="0"/>
                      <a:pt x="12" y="0"/>
                    </a:cubicBezTo>
                    <a:cubicBezTo>
                      <a:pt x="11" y="0"/>
                      <a:pt x="11" y="1"/>
                      <a:pt x="10" y="2"/>
                    </a:cubicBezTo>
                    <a:cubicBezTo>
                      <a:pt x="9" y="3"/>
                      <a:pt x="8" y="3"/>
                      <a:pt x="7" y="3"/>
                    </a:cubicBezTo>
                    <a:cubicBezTo>
                      <a:pt x="6" y="3"/>
                      <a:pt x="5" y="4"/>
                      <a:pt x="4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0" y="8"/>
                      <a:pt x="1" y="11"/>
                      <a:pt x="4" y="11"/>
                    </a:cubicBezTo>
                    <a:cubicBezTo>
                      <a:pt x="4" y="11"/>
                      <a:pt x="5" y="10"/>
                      <a:pt x="5" y="10"/>
                    </a:cubicBezTo>
                    <a:cubicBezTo>
                      <a:pt x="6" y="10"/>
                      <a:pt x="7" y="9"/>
                      <a:pt x="7" y="9"/>
                    </a:cubicBezTo>
                    <a:cubicBezTo>
                      <a:pt x="10" y="8"/>
                      <a:pt x="11" y="7"/>
                      <a:pt x="13" y="6"/>
                    </a:cubicBezTo>
                    <a:cubicBezTo>
                      <a:pt x="13" y="6"/>
                      <a:pt x="13" y="6"/>
                      <a:pt x="13" y="7"/>
                    </a:cubicBezTo>
                    <a:cubicBezTo>
                      <a:pt x="13" y="9"/>
                      <a:pt x="10" y="10"/>
                      <a:pt x="10" y="1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1" y="13"/>
                      <a:pt x="11" y="14"/>
                      <a:pt x="12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5"/>
                    </a:cubicBezTo>
                    <a:cubicBezTo>
                      <a:pt x="18" y="16"/>
                      <a:pt x="19" y="16"/>
                      <a:pt x="21" y="16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4"/>
                      <a:pt x="20" y="13"/>
                      <a:pt x="20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3" y="10"/>
                      <a:pt x="23" y="13"/>
                      <a:pt x="25" y="13"/>
                    </a:cubicBezTo>
                    <a:cubicBezTo>
                      <a:pt x="26" y="13"/>
                      <a:pt x="27" y="12"/>
                      <a:pt x="27" y="11"/>
                    </a:cubicBezTo>
                    <a:cubicBezTo>
                      <a:pt x="27" y="10"/>
                      <a:pt x="26" y="9"/>
                      <a:pt x="25" y="8"/>
                    </a:cubicBezTo>
                    <a:cubicBezTo>
                      <a:pt x="23" y="7"/>
                      <a:pt x="22" y="7"/>
                      <a:pt x="20" y="7"/>
                    </a:cubicBezTo>
                    <a:cubicBezTo>
                      <a:pt x="18" y="6"/>
                      <a:pt x="20" y="3"/>
                      <a:pt x="19" y="2"/>
                    </a:cubicBezTo>
                    <a:cubicBezTo>
                      <a:pt x="19" y="1"/>
                      <a:pt x="17" y="1"/>
                      <a:pt x="16" y="1"/>
                    </a:cubicBezTo>
                    <a:cubicBezTo>
                      <a:pt x="15" y="1"/>
                      <a:pt x="15" y="1"/>
                      <a:pt x="1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7" name="Freeform 185">
                <a:extLst>
                  <a:ext uri="{FF2B5EF4-FFF2-40B4-BE49-F238E27FC236}">
                    <a16:creationId xmlns:a16="http://schemas.microsoft.com/office/drawing/2014/main" xmlns="" id="{20514F92-CCC3-42D9-8A49-5DBA5BF47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5423" y="3938685"/>
                <a:ext cx="26340" cy="22751"/>
              </a:xfrm>
              <a:custGeom>
                <a:avLst/>
                <a:gdLst>
                  <a:gd name="T0" fmla="*/ 6 w 10"/>
                  <a:gd name="T1" fmla="*/ 1 h 9"/>
                  <a:gd name="T2" fmla="*/ 3 w 10"/>
                  <a:gd name="T3" fmla="*/ 0 h 9"/>
                  <a:gd name="T4" fmla="*/ 1 w 10"/>
                  <a:gd name="T5" fmla="*/ 0 h 9"/>
                  <a:gd name="T6" fmla="*/ 0 w 10"/>
                  <a:gd name="T7" fmla="*/ 2 h 9"/>
                  <a:gd name="T8" fmla="*/ 0 w 10"/>
                  <a:gd name="T9" fmla="*/ 5 h 9"/>
                  <a:gd name="T10" fmla="*/ 4 w 10"/>
                  <a:gd name="T11" fmla="*/ 5 h 9"/>
                  <a:gd name="T12" fmla="*/ 6 w 10"/>
                  <a:gd name="T13" fmla="*/ 8 h 9"/>
                  <a:gd name="T14" fmla="*/ 8 w 10"/>
                  <a:gd name="T15" fmla="*/ 9 h 9"/>
                  <a:gd name="T16" fmla="*/ 10 w 10"/>
                  <a:gd name="T17" fmla="*/ 9 h 9"/>
                  <a:gd name="T18" fmla="*/ 10 w 10"/>
                  <a:gd name="T19" fmla="*/ 7 h 9"/>
                  <a:gd name="T20" fmla="*/ 7 w 10"/>
                  <a:gd name="T21" fmla="*/ 4 h 9"/>
                  <a:gd name="T22" fmla="*/ 6 w 10"/>
                  <a:gd name="T2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9">
                    <a:moveTo>
                      <a:pt x="6" y="1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2" y="5"/>
                      <a:pt x="3" y="5"/>
                      <a:pt x="4" y="5"/>
                    </a:cubicBezTo>
                    <a:cubicBezTo>
                      <a:pt x="5" y="6"/>
                      <a:pt x="5" y="7"/>
                      <a:pt x="6" y="8"/>
                    </a:cubicBezTo>
                    <a:cubicBezTo>
                      <a:pt x="6" y="9"/>
                      <a:pt x="7" y="9"/>
                      <a:pt x="8" y="9"/>
                    </a:cubicBezTo>
                    <a:cubicBezTo>
                      <a:pt x="9" y="9"/>
                      <a:pt x="9" y="9"/>
                      <a:pt x="10" y="9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6"/>
                      <a:pt x="8" y="5"/>
                      <a:pt x="7" y="4"/>
                    </a:cubicBezTo>
                    <a:cubicBezTo>
                      <a:pt x="7" y="3"/>
                      <a:pt x="6" y="2"/>
                      <a:pt x="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8" name="Freeform 186">
                <a:extLst>
                  <a:ext uri="{FF2B5EF4-FFF2-40B4-BE49-F238E27FC236}">
                    <a16:creationId xmlns:a16="http://schemas.microsoft.com/office/drawing/2014/main" xmlns="" id="{ED42EFBC-3024-4B6D-A28F-6297759AF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4921" y="3932697"/>
                <a:ext cx="143672" cy="116150"/>
              </a:xfrm>
              <a:custGeom>
                <a:avLst/>
                <a:gdLst>
                  <a:gd name="T0" fmla="*/ 0 w 57"/>
                  <a:gd name="T1" fmla="*/ 10 h 46"/>
                  <a:gd name="T2" fmla="*/ 0 w 57"/>
                  <a:gd name="T3" fmla="*/ 11 h 46"/>
                  <a:gd name="T4" fmla="*/ 3 w 57"/>
                  <a:gd name="T5" fmla="*/ 10 h 46"/>
                  <a:gd name="T6" fmla="*/ 6 w 57"/>
                  <a:gd name="T7" fmla="*/ 9 h 46"/>
                  <a:gd name="T8" fmla="*/ 11 w 57"/>
                  <a:gd name="T9" fmla="*/ 12 h 46"/>
                  <a:gd name="T10" fmla="*/ 13 w 57"/>
                  <a:gd name="T11" fmla="*/ 13 h 46"/>
                  <a:gd name="T12" fmla="*/ 21 w 57"/>
                  <a:gd name="T13" fmla="*/ 18 h 46"/>
                  <a:gd name="T14" fmla="*/ 25 w 57"/>
                  <a:gd name="T15" fmla="*/ 19 h 46"/>
                  <a:gd name="T16" fmla="*/ 26 w 57"/>
                  <a:gd name="T17" fmla="*/ 23 h 46"/>
                  <a:gd name="T18" fmla="*/ 32 w 57"/>
                  <a:gd name="T19" fmla="*/ 27 h 46"/>
                  <a:gd name="T20" fmla="*/ 38 w 57"/>
                  <a:gd name="T21" fmla="*/ 27 h 46"/>
                  <a:gd name="T22" fmla="*/ 38 w 57"/>
                  <a:gd name="T23" fmla="*/ 29 h 46"/>
                  <a:gd name="T24" fmla="*/ 40 w 57"/>
                  <a:gd name="T25" fmla="*/ 30 h 46"/>
                  <a:gd name="T26" fmla="*/ 42 w 57"/>
                  <a:gd name="T27" fmla="*/ 32 h 46"/>
                  <a:gd name="T28" fmla="*/ 46 w 57"/>
                  <a:gd name="T29" fmla="*/ 37 h 46"/>
                  <a:gd name="T30" fmla="*/ 48 w 57"/>
                  <a:gd name="T31" fmla="*/ 42 h 46"/>
                  <a:gd name="T32" fmla="*/ 51 w 57"/>
                  <a:gd name="T33" fmla="*/ 46 h 46"/>
                  <a:gd name="T34" fmla="*/ 51 w 57"/>
                  <a:gd name="T35" fmla="*/ 44 h 46"/>
                  <a:gd name="T36" fmla="*/ 53 w 57"/>
                  <a:gd name="T37" fmla="*/ 43 h 46"/>
                  <a:gd name="T38" fmla="*/ 55 w 57"/>
                  <a:gd name="T39" fmla="*/ 44 h 46"/>
                  <a:gd name="T40" fmla="*/ 57 w 57"/>
                  <a:gd name="T41" fmla="*/ 41 h 46"/>
                  <a:gd name="T42" fmla="*/ 57 w 57"/>
                  <a:gd name="T43" fmla="*/ 36 h 46"/>
                  <a:gd name="T44" fmla="*/ 57 w 57"/>
                  <a:gd name="T45" fmla="*/ 35 h 46"/>
                  <a:gd name="T46" fmla="*/ 55 w 57"/>
                  <a:gd name="T47" fmla="*/ 36 h 46"/>
                  <a:gd name="T48" fmla="*/ 53 w 57"/>
                  <a:gd name="T49" fmla="*/ 36 h 46"/>
                  <a:gd name="T50" fmla="*/ 49 w 57"/>
                  <a:gd name="T51" fmla="*/ 35 h 46"/>
                  <a:gd name="T52" fmla="*/ 46 w 57"/>
                  <a:gd name="T53" fmla="*/ 30 h 46"/>
                  <a:gd name="T54" fmla="*/ 44 w 57"/>
                  <a:gd name="T55" fmla="*/ 25 h 46"/>
                  <a:gd name="T56" fmla="*/ 44 w 57"/>
                  <a:gd name="T57" fmla="*/ 23 h 46"/>
                  <a:gd name="T58" fmla="*/ 41 w 57"/>
                  <a:gd name="T59" fmla="*/ 22 h 46"/>
                  <a:gd name="T60" fmla="*/ 39 w 57"/>
                  <a:gd name="T61" fmla="*/ 18 h 46"/>
                  <a:gd name="T62" fmla="*/ 31 w 57"/>
                  <a:gd name="T63" fmla="*/ 18 h 46"/>
                  <a:gd name="T64" fmla="*/ 27 w 57"/>
                  <a:gd name="T65" fmla="*/ 14 h 46"/>
                  <a:gd name="T66" fmla="*/ 22 w 57"/>
                  <a:gd name="T67" fmla="*/ 12 h 46"/>
                  <a:gd name="T68" fmla="*/ 18 w 57"/>
                  <a:gd name="T69" fmla="*/ 10 h 46"/>
                  <a:gd name="T70" fmla="*/ 18 w 57"/>
                  <a:gd name="T71" fmla="*/ 7 h 46"/>
                  <a:gd name="T72" fmla="*/ 17 w 57"/>
                  <a:gd name="T73" fmla="*/ 4 h 46"/>
                  <a:gd name="T74" fmla="*/ 14 w 57"/>
                  <a:gd name="T75" fmla="*/ 0 h 46"/>
                  <a:gd name="T76" fmla="*/ 12 w 57"/>
                  <a:gd name="T77" fmla="*/ 1 h 46"/>
                  <a:gd name="T78" fmla="*/ 8 w 57"/>
                  <a:gd name="T79" fmla="*/ 3 h 46"/>
                  <a:gd name="T80" fmla="*/ 5 w 57"/>
                  <a:gd name="T81" fmla="*/ 7 h 46"/>
                  <a:gd name="T82" fmla="*/ 0 w 57"/>
                  <a:gd name="T83" fmla="*/ 1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" h="46">
                    <a:moveTo>
                      <a:pt x="0" y="1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1" y="11"/>
                      <a:pt x="2" y="10"/>
                      <a:pt x="3" y="10"/>
                    </a:cubicBezTo>
                    <a:cubicBezTo>
                      <a:pt x="4" y="10"/>
                      <a:pt x="5" y="9"/>
                      <a:pt x="6" y="9"/>
                    </a:cubicBezTo>
                    <a:cubicBezTo>
                      <a:pt x="8" y="9"/>
                      <a:pt x="9" y="11"/>
                      <a:pt x="11" y="12"/>
                    </a:cubicBezTo>
                    <a:cubicBezTo>
                      <a:pt x="12" y="13"/>
                      <a:pt x="12" y="13"/>
                      <a:pt x="13" y="13"/>
                    </a:cubicBezTo>
                    <a:cubicBezTo>
                      <a:pt x="17" y="15"/>
                      <a:pt x="18" y="16"/>
                      <a:pt x="21" y="18"/>
                    </a:cubicBezTo>
                    <a:cubicBezTo>
                      <a:pt x="23" y="19"/>
                      <a:pt x="24" y="19"/>
                      <a:pt x="25" y="19"/>
                    </a:cubicBezTo>
                    <a:cubicBezTo>
                      <a:pt x="26" y="20"/>
                      <a:pt x="26" y="21"/>
                      <a:pt x="26" y="23"/>
                    </a:cubicBezTo>
                    <a:cubicBezTo>
                      <a:pt x="26" y="25"/>
                      <a:pt x="29" y="27"/>
                      <a:pt x="32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9" y="28"/>
                      <a:pt x="38" y="28"/>
                      <a:pt x="38" y="29"/>
                    </a:cubicBezTo>
                    <a:cubicBezTo>
                      <a:pt x="38" y="30"/>
                      <a:pt x="40" y="30"/>
                      <a:pt x="40" y="30"/>
                    </a:cubicBezTo>
                    <a:cubicBezTo>
                      <a:pt x="41" y="31"/>
                      <a:pt x="41" y="32"/>
                      <a:pt x="42" y="32"/>
                    </a:cubicBezTo>
                    <a:cubicBezTo>
                      <a:pt x="44" y="34"/>
                      <a:pt x="46" y="35"/>
                      <a:pt x="46" y="37"/>
                    </a:cubicBezTo>
                    <a:cubicBezTo>
                      <a:pt x="47" y="39"/>
                      <a:pt x="47" y="40"/>
                      <a:pt x="48" y="42"/>
                    </a:cubicBezTo>
                    <a:cubicBezTo>
                      <a:pt x="49" y="43"/>
                      <a:pt x="49" y="45"/>
                      <a:pt x="51" y="46"/>
                    </a:cubicBezTo>
                    <a:cubicBezTo>
                      <a:pt x="51" y="46"/>
                      <a:pt x="51" y="45"/>
                      <a:pt x="51" y="44"/>
                    </a:cubicBezTo>
                    <a:cubicBezTo>
                      <a:pt x="51" y="44"/>
                      <a:pt x="52" y="43"/>
                      <a:pt x="53" y="43"/>
                    </a:cubicBezTo>
                    <a:cubicBezTo>
                      <a:pt x="54" y="43"/>
                      <a:pt x="54" y="44"/>
                      <a:pt x="55" y="44"/>
                    </a:cubicBezTo>
                    <a:cubicBezTo>
                      <a:pt x="57" y="44"/>
                      <a:pt x="57" y="42"/>
                      <a:pt x="57" y="41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36"/>
                      <a:pt x="57" y="35"/>
                      <a:pt x="57" y="35"/>
                    </a:cubicBezTo>
                    <a:cubicBezTo>
                      <a:pt x="56" y="35"/>
                      <a:pt x="56" y="36"/>
                      <a:pt x="55" y="36"/>
                    </a:cubicBezTo>
                    <a:cubicBezTo>
                      <a:pt x="54" y="37"/>
                      <a:pt x="54" y="36"/>
                      <a:pt x="53" y="36"/>
                    </a:cubicBezTo>
                    <a:cubicBezTo>
                      <a:pt x="52" y="36"/>
                      <a:pt x="50" y="36"/>
                      <a:pt x="49" y="35"/>
                    </a:cubicBezTo>
                    <a:cubicBezTo>
                      <a:pt x="47" y="34"/>
                      <a:pt x="47" y="32"/>
                      <a:pt x="46" y="30"/>
                    </a:cubicBezTo>
                    <a:cubicBezTo>
                      <a:pt x="45" y="28"/>
                      <a:pt x="44" y="27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3" y="23"/>
                      <a:pt x="42" y="23"/>
                      <a:pt x="41" y="22"/>
                    </a:cubicBezTo>
                    <a:cubicBezTo>
                      <a:pt x="40" y="21"/>
                      <a:pt x="41" y="18"/>
                      <a:pt x="39" y="1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29" y="18"/>
                      <a:pt x="29" y="15"/>
                      <a:pt x="27" y="14"/>
                    </a:cubicBezTo>
                    <a:cubicBezTo>
                      <a:pt x="25" y="13"/>
                      <a:pt x="24" y="13"/>
                      <a:pt x="22" y="12"/>
                    </a:cubicBezTo>
                    <a:cubicBezTo>
                      <a:pt x="20" y="11"/>
                      <a:pt x="19" y="11"/>
                      <a:pt x="18" y="10"/>
                    </a:cubicBezTo>
                    <a:cubicBezTo>
                      <a:pt x="17" y="9"/>
                      <a:pt x="18" y="8"/>
                      <a:pt x="18" y="7"/>
                    </a:cubicBezTo>
                    <a:cubicBezTo>
                      <a:pt x="18" y="6"/>
                      <a:pt x="17" y="5"/>
                      <a:pt x="17" y="4"/>
                    </a:cubicBezTo>
                    <a:cubicBezTo>
                      <a:pt x="17" y="2"/>
                      <a:pt x="16" y="1"/>
                      <a:pt x="14" y="0"/>
                    </a:cubicBezTo>
                    <a:cubicBezTo>
                      <a:pt x="13" y="0"/>
                      <a:pt x="13" y="1"/>
                      <a:pt x="12" y="1"/>
                    </a:cubicBezTo>
                    <a:cubicBezTo>
                      <a:pt x="11" y="2"/>
                      <a:pt x="10" y="2"/>
                      <a:pt x="8" y="3"/>
                    </a:cubicBezTo>
                    <a:cubicBezTo>
                      <a:pt x="6" y="4"/>
                      <a:pt x="6" y="6"/>
                      <a:pt x="5" y="7"/>
                    </a:cubicBezTo>
                    <a:cubicBezTo>
                      <a:pt x="3" y="8"/>
                      <a:pt x="1" y="8"/>
                      <a:pt x="0" y="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59" name="Freeform 187">
                <a:extLst>
                  <a:ext uri="{FF2B5EF4-FFF2-40B4-BE49-F238E27FC236}">
                    <a16:creationId xmlns:a16="http://schemas.microsoft.com/office/drawing/2014/main" xmlns="" id="{3F6A27A9-87BC-4719-967A-FA144D70F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5437" y="4173379"/>
                <a:ext cx="9578" cy="11974"/>
              </a:xfrm>
              <a:custGeom>
                <a:avLst/>
                <a:gdLst>
                  <a:gd name="T0" fmla="*/ 3 w 4"/>
                  <a:gd name="T1" fmla="*/ 1 h 5"/>
                  <a:gd name="T2" fmla="*/ 1 w 4"/>
                  <a:gd name="T3" fmla="*/ 0 h 5"/>
                  <a:gd name="T4" fmla="*/ 0 w 4"/>
                  <a:gd name="T5" fmla="*/ 2 h 5"/>
                  <a:gd name="T6" fmla="*/ 3 w 4"/>
                  <a:gd name="T7" fmla="*/ 5 h 5"/>
                  <a:gd name="T8" fmla="*/ 4 w 4"/>
                  <a:gd name="T9" fmla="*/ 3 h 5"/>
                  <a:gd name="T10" fmla="*/ 3 w 4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3" y="1"/>
                    </a:moveTo>
                    <a:cubicBezTo>
                      <a:pt x="2" y="1"/>
                      <a:pt x="2" y="1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4"/>
                      <a:pt x="2" y="4"/>
                      <a:pt x="3" y="5"/>
                    </a:cubicBezTo>
                    <a:cubicBezTo>
                      <a:pt x="4" y="4"/>
                      <a:pt x="4" y="4"/>
                      <a:pt x="4" y="3"/>
                    </a:cubicBezTo>
                    <a:cubicBezTo>
                      <a:pt x="4" y="2"/>
                      <a:pt x="4" y="2"/>
                      <a:pt x="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0" name="Freeform 188">
                <a:extLst>
                  <a:ext uri="{FF2B5EF4-FFF2-40B4-BE49-F238E27FC236}">
                    <a16:creationId xmlns:a16="http://schemas.microsoft.com/office/drawing/2014/main" xmlns="" id="{0B7BC29B-996D-486B-A601-F4C787E869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2334" y="4148233"/>
                <a:ext cx="27537" cy="22751"/>
              </a:xfrm>
              <a:custGeom>
                <a:avLst/>
                <a:gdLst>
                  <a:gd name="T0" fmla="*/ 0 w 11"/>
                  <a:gd name="T1" fmla="*/ 9 h 9"/>
                  <a:gd name="T2" fmla="*/ 2 w 11"/>
                  <a:gd name="T3" fmla="*/ 9 h 9"/>
                  <a:gd name="T4" fmla="*/ 7 w 11"/>
                  <a:gd name="T5" fmla="*/ 6 h 9"/>
                  <a:gd name="T6" fmla="*/ 11 w 11"/>
                  <a:gd name="T7" fmla="*/ 2 h 9"/>
                  <a:gd name="T8" fmla="*/ 8 w 11"/>
                  <a:gd name="T9" fmla="*/ 0 h 9"/>
                  <a:gd name="T10" fmla="*/ 5 w 11"/>
                  <a:gd name="T11" fmla="*/ 3 h 9"/>
                  <a:gd name="T12" fmla="*/ 0 w 11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9">
                    <a:moveTo>
                      <a:pt x="0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4" y="9"/>
                      <a:pt x="5" y="7"/>
                      <a:pt x="7" y="6"/>
                    </a:cubicBezTo>
                    <a:cubicBezTo>
                      <a:pt x="9" y="5"/>
                      <a:pt x="11" y="4"/>
                      <a:pt x="11" y="2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7" y="0"/>
                      <a:pt x="6" y="2"/>
                      <a:pt x="5" y="3"/>
                    </a:cubicBezTo>
                    <a:cubicBezTo>
                      <a:pt x="4" y="6"/>
                      <a:pt x="0" y="6"/>
                      <a:pt x="0" y="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1" name="Freeform 189">
                <a:extLst>
                  <a:ext uri="{FF2B5EF4-FFF2-40B4-BE49-F238E27FC236}">
                    <a16:creationId xmlns:a16="http://schemas.microsoft.com/office/drawing/2014/main" xmlns="" id="{B0771161-A77A-4E4F-865E-7C48E7CE8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2105" y="4223671"/>
                <a:ext cx="20353" cy="27541"/>
              </a:xfrm>
              <a:custGeom>
                <a:avLst/>
                <a:gdLst>
                  <a:gd name="T0" fmla="*/ 3 w 8"/>
                  <a:gd name="T1" fmla="*/ 0 h 11"/>
                  <a:gd name="T2" fmla="*/ 2 w 8"/>
                  <a:gd name="T3" fmla="*/ 3 h 11"/>
                  <a:gd name="T4" fmla="*/ 0 w 8"/>
                  <a:gd name="T5" fmla="*/ 6 h 11"/>
                  <a:gd name="T6" fmla="*/ 2 w 8"/>
                  <a:gd name="T7" fmla="*/ 8 h 11"/>
                  <a:gd name="T8" fmla="*/ 4 w 8"/>
                  <a:gd name="T9" fmla="*/ 11 h 11"/>
                  <a:gd name="T10" fmla="*/ 5 w 8"/>
                  <a:gd name="T11" fmla="*/ 9 h 11"/>
                  <a:gd name="T12" fmla="*/ 8 w 8"/>
                  <a:gd name="T13" fmla="*/ 6 h 11"/>
                  <a:gd name="T14" fmla="*/ 6 w 8"/>
                  <a:gd name="T15" fmla="*/ 4 h 11"/>
                  <a:gd name="T16" fmla="*/ 3 w 8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3" y="0"/>
                    </a:moveTo>
                    <a:cubicBezTo>
                      <a:pt x="2" y="1"/>
                      <a:pt x="2" y="2"/>
                      <a:pt x="2" y="3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7"/>
                      <a:pt x="1" y="7"/>
                      <a:pt x="2" y="8"/>
                    </a:cubicBezTo>
                    <a:cubicBezTo>
                      <a:pt x="3" y="9"/>
                      <a:pt x="3" y="11"/>
                      <a:pt x="4" y="11"/>
                    </a:cubicBezTo>
                    <a:cubicBezTo>
                      <a:pt x="5" y="11"/>
                      <a:pt x="5" y="9"/>
                      <a:pt x="5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8" y="5"/>
                      <a:pt x="7" y="5"/>
                      <a:pt x="6" y="4"/>
                    </a:cubicBezTo>
                    <a:cubicBezTo>
                      <a:pt x="5" y="2"/>
                      <a:pt x="4" y="2"/>
                      <a:pt x="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2" name="Freeform 190">
                <a:extLst>
                  <a:ext uri="{FF2B5EF4-FFF2-40B4-BE49-F238E27FC236}">
                    <a16:creationId xmlns:a16="http://schemas.microsoft.com/office/drawing/2014/main" xmlns="" id="{33E1FDCE-3FCF-4779-81FE-233E1C176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8376" y="4284739"/>
                <a:ext cx="251427" cy="85016"/>
              </a:xfrm>
              <a:custGeom>
                <a:avLst/>
                <a:gdLst>
                  <a:gd name="T0" fmla="*/ 11 w 100"/>
                  <a:gd name="T1" fmla="*/ 0 h 34"/>
                  <a:gd name="T2" fmla="*/ 9 w 100"/>
                  <a:gd name="T3" fmla="*/ 7 h 34"/>
                  <a:gd name="T4" fmla="*/ 6 w 100"/>
                  <a:gd name="T5" fmla="*/ 10 h 34"/>
                  <a:gd name="T6" fmla="*/ 3 w 100"/>
                  <a:gd name="T7" fmla="*/ 9 h 34"/>
                  <a:gd name="T8" fmla="*/ 0 w 100"/>
                  <a:gd name="T9" fmla="*/ 19 h 34"/>
                  <a:gd name="T10" fmla="*/ 4 w 100"/>
                  <a:gd name="T11" fmla="*/ 21 h 34"/>
                  <a:gd name="T12" fmla="*/ 14 w 100"/>
                  <a:gd name="T13" fmla="*/ 22 h 34"/>
                  <a:gd name="T14" fmla="*/ 19 w 100"/>
                  <a:gd name="T15" fmla="*/ 23 h 34"/>
                  <a:gd name="T16" fmla="*/ 32 w 100"/>
                  <a:gd name="T17" fmla="*/ 25 h 34"/>
                  <a:gd name="T18" fmla="*/ 42 w 100"/>
                  <a:gd name="T19" fmla="*/ 26 h 34"/>
                  <a:gd name="T20" fmla="*/ 44 w 100"/>
                  <a:gd name="T21" fmla="*/ 34 h 34"/>
                  <a:gd name="T22" fmla="*/ 52 w 100"/>
                  <a:gd name="T23" fmla="*/ 32 h 34"/>
                  <a:gd name="T24" fmla="*/ 56 w 100"/>
                  <a:gd name="T25" fmla="*/ 33 h 34"/>
                  <a:gd name="T26" fmla="*/ 66 w 100"/>
                  <a:gd name="T27" fmla="*/ 28 h 34"/>
                  <a:gd name="T28" fmla="*/ 71 w 100"/>
                  <a:gd name="T29" fmla="*/ 28 h 34"/>
                  <a:gd name="T30" fmla="*/ 79 w 100"/>
                  <a:gd name="T31" fmla="*/ 28 h 34"/>
                  <a:gd name="T32" fmla="*/ 92 w 100"/>
                  <a:gd name="T33" fmla="*/ 25 h 34"/>
                  <a:gd name="T34" fmla="*/ 97 w 100"/>
                  <a:gd name="T35" fmla="*/ 23 h 34"/>
                  <a:gd name="T36" fmla="*/ 100 w 100"/>
                  <a:gd name="T37" fmla="*/ 19 h 34"/>
                  <a:gd name="T38" fmla="*/ 100 w 100"/>
                  <a:gd name="T39" fmla="*/ 15 h 34"/>
                  <a:gd name="T40" fmla="*/ 99 w 100"/>
                  <a:gd name="T41" fmla="*/ 12 h 34"/>
                  <a:gd name="T42" fmla="*/ 94 w 100"/>
                  <a:gd name="T43" fmla="*/ 17 h 34"/>
                  <a:gd name="T44" fmla="*/ 90 w 100"/>
                  <a:gd name="T45" fmla="*/ 15 h 34"/>
                  <a:gd name="T46" fmla="*/ 87 w 100"/>
                  <a:gd name="T47" fmla="*/ 17 h 34"/>
                  <a:gd name="T48" fmla="*/ 83 w 100"/>
                  <a:gd name="T49" fmla="*/ 20 h 34"/>
                  <a:gd name="T50" fmla="*/ 77 w 100"/>
                  <a:gd name="T51" fmla="*/ 21 h 34"/>
                  <a:gd name="T52" fmla="*/ 78 w 100"/>
                  <a:gd name="T53" fmla="*/ 17 h 34"/>
                  <a:gd name="T54" fmla="*/ 78 w 100"/>
                  <a:gd name="T55" fmla="*/ 12 h 34"/>
                  <a:gd name="T56" fmla="*/ 62 w 100"/>
                  <a:gd name="T57" fmla="*/ 13 h 34"/>
                  <a:gd name="T58" fmla="*/ 58 w 100"/>
                  <a:gd name="T59" fmla="*/ 13 h 34"/>
                  <a:gd name="T60" fmla="*/ 45 w 100"/>
                  <a:gd name="T61" fmla="*/ 11 h 34"/>
                  <a:gd name="T62" fmla="*/ 40 w 100"/>
                  <a:gd name="T63" fmla="*/ 13 h 34"/>
                  <a:gd name="T64" fmla="*/ 36 w 100"/>
                  <a:gd name="T65" fmla="*/ 15 h 34"/>
                  <a:gd name="T66" fmla="*/ 29 w 100"/>
                  <a:gd name="T67" fmla="*/ 16 h 34"/>
                  <a:gd name="T68" fmla="*/ 28 w 100"/>
                  <a:gd name="T69" fmla="*/ 13 h 34"/>
                  <a:gd name="T70" fmla="*/ 22 w 100"/>
                  <a:gd name="T71" fmla="*/ 12 h 34"/>
                  <a:gd name="T72" fmla="*/ 26 w 100"/>
                  <a:gd name="T73" fmla="*/ 9 h 34"/>
                  <a:gd name="T74" fmla="*/ 26 w 100"/>
                  <a:gd name="T75" fmla="*/ 5 h 34"/>
                  <a:gd name="T76" fmla="*/ 21 w 100"/>
                  <a:gd name="T77" fmla="*/ 8 h 34"/>
                  <a:gd name="T78" fmla="*/ 15 w 100"/>
                  <a:gd name="T79" fmla="*/ 8 h 34"/>
                  <a:gd name="T80" fmla="*/ 13 w 100"/>
                  <a:gd name="T8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0" h="34">
                    <a:moveTo>
                      <a:pt x="13" y="0"/>
                    </a:moveTo>
                    <a:cubicBezTo>
                      <a:pt x="12" y="0"/>
                      <a:pt x="12" y="0"/>
                      <a:pt x="11" y="0"/>
                    </a:cubicBezTo>
                    <a:cubicBezTo>
                      <a:pt x="9" y="0"/>
                      <a:pt x="9" y="3"/>
                      <a:pt x="9" y="5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9"/>
                      <a:pt x="9" y="11"/>
                      <a:pt x="7" y="12"/>
                    </a:cubicBezTo>
                    <a:cubicBezTo>
                      <a:pt x="6" y="11"/>
                      <a:pt x="6" y="11"/>
                      <a:pt x="6" y="10"/>
                    </a:cubicBezTo>
                    <a:cubicBezTo>
                      <a:pt x="5" y="10"/>
                      <a:pt x="5" y="9"/>
                      <a:pt x="4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2" y="11"/>
                      <a:pt x="0" y="13"/>
                      <a:pt x="0" y="15"/>
                    </a:cubicBezTo>
                    <a:cubicBezTo>
                      <a:pt x="0" y="17"/>
                      <a:pt x="0" y="18"/>
                      <a:pt x="0" y="19"/>
                    </a:cubicBezTo>
                    <a:cubicBezTo>
                      <a:pt x="1" y="20"/>
                      <a:pt x="1" y="20"/>
                      <a:pt x="1" y="21"/>
                    </a:cubicBezTo>
                    <a:cubicBezTo>
                      <a:pt x="2" y="21"/>
                      <a:pt x="3" y="21"/>
                      <a:pt x="4" y="21"/>
                    </a:cubicBezTo>
                    <a:cubicBezTo>
                      <a:pt x="7" y="22"/>
                      <a:pt x="8" y="22"/>
                      <a:pt x="11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3" y="23"/>
                      <a:pt x="24" y="24"/>
                      <a:pt x="28" y="25"/>
                    </a:cubicBezTo>
                    <a:cubicBezTo>
                      <a:pt x="29" y="25"/>
                      <a:pt x="30" y="25"/>
                      <a:pt x="32" y="25"/>
                    </a:cubicBezTo>
                    <a:cubicBezTo>
                      <a:pt x="34" y="25"/>
                      <a:pt x="36" y="24"/>
                      <a:pt x="39" y="24"/>
                    </a:cubicBezTo>
                    <a:cubicBezTo>
                      <a:pt x="40" y="24"/>
                      <a:pt x="42" y="25"/>
                      <a:pt x="42" y="26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2" y="31"/>
                      <a:pt x="42" y="33"/>
                      <a:pt x="44" y="34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3" y="32"/>
                      <a:pt x="53" y="33"/>
                      <a:pt x="54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8" y="33"/>
                      <a:pt x="58" y="32"/>
                      <a:pt x="59" y="31"/>
                    </a:cubicBezTo>
                    <a:cubicBezTo>
                      <a:pt x="61" y="29"/>
                      <a:pt x="63" y="28"/>
                      <a:pt x="66" y="28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70" y="28"/>
                      <a:pt x="70" y="28"/>
                      <a:pt x="71" y="28"/>
                    </a:cubicBezTo>
                    <a:cubicBezTo>
                      <a:pt x="72" y="28"/>
                      <a:pt x="73" y="28"/>
                      <a:pt x="74" y="28"/>
                    </a:cubicBezTo>
                    <a:cubicBezTo>
                      <a:pt x="76" y="28"/>
                      <a:pt x="77" y="28"/>
                      <a:pt x="79" y="28"/>
                    </a:cubicBezTo>
                    <a:cubicBezTo>
                      <a:pt x="82" y="28"/>
                      <a:pt x="84" y="24"/>
                      <a:pt x="88" y="24"/>
                    </a:cubicBezTo>
                    <a:cubicBezTo>
                      <a:pt x="89" y="24"/>
                      <a:pt x="90" y="24"/>
                      <a:pt x="92" y="25"/>
                    </a:cubicBezTo>
                    <a:cubicBezTo>
                      <a:pt x="95" y="25"/>
                      <a:pt x="95" y="25"/>
                      <a:pt x="95" y="25"/>
                    </a:cubicBezTo>
                    <a:cubicBezTo>
                      <a:pt x="96" y="25"/>
                      <a:pt x="97" y="24"/>
                      <a:pt x="97" y="23"/>
                    </a:cubicBezTo>
                    <a:cubicBezTo>
                      <a:pt x="97" y="22"/>
                      <a:pt x="97" y="22"/>
                      <a:pt x="98" y="21"/>
                    </a:cubicBezTo>
                    <a:cubicBezTo>
                      <a:pt x="98" y="20"/>
                      <a:pt x="100" y="20"/>
                      <a:pt x="100" y="19"/>
                    </a:cubicBezTo>
                    <a:cubicBezTo>
                      <a:pt x="100" y="18"/>
                      <a:pt x="99" y="18"/>
                      <a:pt x="99" y="17"/>
                    </a:cubicBezTo>
                    <a:cubicBezTo>
                      <a:pt x="99" y="16"/>
                      <a:pt x="100" y="16"/>
                      <a:pt x="100" y="15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100" y="12"/>
                      <a:pt x="99" y="12"/>
                      <a:pt x="99" y="12"/>
                    </a:cubicBezTo>
                    <a:cubicBezTo>
                      <a:pt x="98" y="14"/>
                      <a:pt x="98" y="17"/>
                      <a:pt x="95" y="17"/>
                    </a:cubicBezTo>
                    <a:cubicBezTo>
                      <a:pt x="95" y="17"/>
                      <a:pt x="94" y="18"/>
                      <a:pt x="94" y="17"/>
                    </a:cubicBezTo>
                    <a:cubicBezTo>
                      <a:pt x="93" y="16"/>
                      <a:pt x="93" y="14"/>
                      <a:pt x="92" y="14"/>
                    </a:cubicBezTo>
                    <a:cubicBezTo>
                      <a:pt x="91" y="14"/>
                      <a:pt x="90" y="14"/>
                      <a:pt x="90" y="15"/>
                    </a:cubicBezTo>
                    <a:cubicBezTo>
                      <a:pt x="89" y="15"/>
                      <a:pt x="90" y="16"/>
                      <a:pt x="89" y="16"/>
                    </a:cubicBezTo>
                    <a:cubicBezTo>
                      <a:pt x="88" y="17"/>
                      <a:pt x="88" y="17"/>
                      <a:pt x="87" y="17"/>
                    </a:cubicBezTo>
                    <a:cubicBezTo>
                      <a:pt x="86" y="17"/>
                      <a:pt x="85" y="17"/>
                      <a:pt x="84" y="18"/>
                    </a:cubicBezTo>
                    <a:cubicBezTo>
                      <a:pt x="83" y="19"/>
                      <a:pt x="83" y="19"/>
                      <a:pt x="83" y="20"/>
                    </a:cubicBezTo>
                    <a:cubicBezTo>
                      <a:pt x="81" y="20"/>
                      <a:pt x="80" y="21"/>
                      <a:pt x="78" y="21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77" y="21"/>
                      <a:pt x="76" y="20"/>
                      <a:pt x="76" y="20"/>
                    </a:cubicBezTo>
                    <a:cubicBezTo>
                      <a:pt x="76" y="19"/>
                      <a:pt x="78" y="18"/>
                      <a:pt x="78" y="17"/>
                    </a:cubicBezTo>
                    <a:cubicBezTo>
                      <a:pt x="79" y="16"/>
                      <a:pt x="78" y="15"/>
                      <a:pt x="78" y="14"/>
                    </a:cubicBezTo>
                    <a:cubicBezTo>
                      <a:pt x="78" y="13"/>
                      <a:pt x="78" y="13"/>
                      <a:pt x="78" y="12"/>
                    </a:cubicBezTo>
                    <a:cubicBezTo>
                      <a:pt x="76" y="13"/>
                      <a:pt x="74" y="15"/>
                      <a:pt x="72" y="15"/>
                    </a:cubicBezTo>
                    <a:cubicBezTo>
                      <a:pt x="68" y="15"/>
                      <a:pt x="66" y="13"/>
                      <a:pt x="62" y="13"/>
                    </a:cubicBezTo>
                    <a:cubicBezTo>
                      <a:pt x="62" y="13"/>
                      <a:pt x="61" y="13"/>
                      <a:pt x="60" y="13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54" y="13"/>
                      <a:pt x="53" y="10"/>
                      <a:pt x="49" y="10"/>
                    </a:cubicBezTo>
                    <a:cubicBezTo>
                      <a:pt x="48" y="10"/>
                      <a:pt x="47" y="11"/>
                      <a:pt x="45" y="11"/>
                    </a:cubicBezTo>
                    <a:cubicBezTo>
                      <a:pt x="43" y="11"/>
                      <a:pt x="42" y="11"/>
                      <a:pt x="41" y="11"/>
                    </a:cubicBezTo>
                    <a:cubicBezTo>
                      <a:pt x="40" y="12"/>
                      <a:pt x="40" y="12"/>
                      <a:pt x="40" y="13"/>
                    </a:cubicBezTo>
                    <a:cubicBezTo>
                      <a:pt x="40" y="13"/>
                      <a:pt x="39" y="13"/>
                      <a:pt x="39" y="14"/>
                    </a:cubicBezTo>
                    <a:cubicBezTo>
                      <a:pt x="38" y="15"/>
                      <a:pt x="37" y="15"/>
                      <a:pt x="36" y="15"/>
                    </a:cubicBezTo>
                    <a:cubicBezTo>
                      <a:pt x="34" y="16"/>
                      <a:pt x="32" y="17"/>
                      <a:pt x="30" y="17"/>
                    </a:cubicBezTo>
                    <a:cubicBezTo>
                      <a:pt x="30" y="17"/>
                      <a:pt x="29" y="17"/>
                      <a:pt x="29" y="16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4"/>
                      <a:pt x="28" y="13"/>
                      <a:pt x="28" y="13"/>
                    </a:cubicBezTo>
                    <a:cubicBezTo>
                      <a:pt x="27" y="13"/>
                      <a:pt x="27" y="14"/>
                      <a:pt x="26" y="14"/>
                    </a:cubicBezTo>
                    <a:cubicBezTo>
                      <a:pt x="24" y="14"/>
                      <a:pt x="22" y="14"/>
                      <a:pt x="22" y="12"/>
                    </a:cubicBezTo>
                    <a:cubicBezTo>
                      <a:pt x="22" y="11"/>
                      <a:pt x="23" y="11"/>
                      <a:pt x="24" y="11"/>
                    </a:cubicBezTo>
                    <a:cubicBezTo>
                      <a:pt x="25" y="11"/>
                      <a:pt x="25" y="10"/>
                      <a:pt x="26" y="9"/>
                    </a:cubicBezTo>
                    <a:cubicBezTo>
                      <a:pt x="26" y="8"/>
                      <a:pt x="27" y="7"/>
                      <a:pt x="27" y="6"/>
                    </a:cubicBezTo>
                    <a:cubicBezTo>
                      <a:pt x="27" y="5"/>
                      <a:pt x="27" y="5"/>
                      <a:pt x="26" y="5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4" y="6"/>
                      <a:pt x="23" y="7"/>
                      <a:pt x="21" y="8"/>
                    </a:cubicBezTo>
                    <a:cubicBezTo>
                      <a:pt x="20" y="8"/>
                      <a:pt x="19" y="9"/>
                      <a:pt x="18" y="9"/>
                    </a:cubicBezTo>
                    <a:cubicBezTo>
                      <a:pt x="17" y="9"/>
                      <a:pt x="15" y="9"/>
                      <a:pt x="15" y="8"/>
                    </a:cubicBezTo>
                    <a:cubicBezTo>
                      <a:pt x="13" y="7"/>
                      <a:pt x="14" y="5"/>
                      <a:pt x="13" y="3"/>
                    </a:cubicBezTo>
                    <a:cubicBezTo>
                      <a:pt x="13" y="2"/>
                      <a:pt x="13" y="1"/>
                      <a:pt x="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3" name="Freeform 191">
                <a:extLst>
                  <a:ext uri="{FF2B5EF4-FFF2-40B4-BE49-F238E27FC236}">
                    <a16:creationId xmlns:a16="http://schemas.microsoft.com/office/drawing/2014/main" xmlns="" id="{E62CC2DB-C2FD-4E19-A98A-4911AE677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3258" y="4261988"/>
                <a:ext cx="15564" cy="39515"/>
              </a:xfrm>
              <a:custGeom>
                <a:avLst/>
                <a:gdLst>
                  <a:gd name="T0" fmla="*/ 4 w 6"/>
                  <a:gd name="T1" fmla="*/ 0 h 16"/>
                  <a:gd name="T2" fmla="*/ 0 w 6"/>
                  <a:gd name="T3" fmla="*/ 6 h 16"/>
                  <a:gd name="T4" fmla="*/ 3 w 6"/>
                  <a:gd name="T5" fmla="*/ 11 h 16"/>
                  <a:gd name="T6" fmla="*/ 5 w 6"/>
                  <a:gd name="T7" fmla="*/ 16 h 16"/>
                  <a:gd name="T8" fmla="*/ 6 w 6"/>
                  <a:gd name="T9" fmla="*/ 14 h 16"/>
                  <a:gd name="T10" fmla="*/ 4 w 6"/>
                  <a:gd name="T11" fmla="*/ 7 h 16"/>
                  <a:gd name="T12" fmla="*/ 5 w 6"/>
                  <a:gd name="T13" fmla="*/ 4 h 16"/>
                  <a:gd name="T14" fmla="*/ 4 w 6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6">
                    <a:moveTo>
                      <a:pt x="4" y="0"/>
                    </a:moveTo>
                    <a:cubicBezTo>
                      <a:pt x="3" y="3"/>
                      <a:pt x="0" y="3"/>
                      <a:pt x="0" y="6"/>
                    </a:cubicBezTo>
                    <a:cubicBezTo>
                      <a:pt x="0" y="9"/>
                      <a:pt x="2" y="9"/>
                      <a:pt x="3" y="11"/>
                    </a:cubicBezTo>
                    <a:cubicBezTo>
                      <a:pt x="3" y="13"/>
                      <a:pt x="3" y="15"/>
                      <a:pt x="5" y="16"/>
                    </a:cubicBezTo>
                    <a:cubicBezTo>
                      <a:pt x="5" y="15"/>
                      <a:pt x="6" y="15"/>
                      <a:pt x="6" y="14"/>
                    </a:cubicBezTo>
                    <a:cubicBezTo>
                      <a:pt x="6" y="11"/>
                      <a:pt x="4" y="10"/>
                      <a:pt x="4" y="7"/>
                    </a:cubicBezTo>
                    <a:cubicBezTo>
                      <a:pt x="4" y="6"/>
                      <a:pt x="5" y="6"/>
                      <a:pt x="5" y="4"/>
                    </a:cubicBezTo>
                    <a:cubicBezTo>
                      <a:pt x="5" y="3"/>
                      <a:pt x="5" y="1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4" name="Freeform 192">
                <a:extLst>
                  <a:ext uri="{FF2B5EF4-FFF2-40B4-BE49-F238E27FC236}">
                    <a16:creationId xmlns:a16="http://schemas.microsoft.com/office/drawing/2014/main" xmlns="" id="{1885A43D-718B-4AD9-9E50-373595B43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8116" y="4145837"/>
                <a:ext cx="33524" cy="25146"/>
              </a:xfrm>
              <a:custGeom>
                <a:avLst/>
                <a:gdLst>
                  <a:gd name="T0" fmla="*/ 11 w 13"/>
                  <a:gd name="T1" fmla="*/ 1 h 10"/>
                  <a:gd name="T2" fmla="*/ 8 w 13"/>
                  <a:gd name="T3" fmla="*/ 2 h 10"/>
                  <a:gd name="T4" fmla="*/ 6 w 13"/>
                  <a:gd name="T5" fmla="*/ 4 h 10"/>
                  <a:gd name="T6" fmla="*/ 5 w 13"/>
                  <a:gd name="T7" fmla="*/ 5 h 10"/>
                  <a:gd name="T8" fmla="*/ 3 w 13"/>
                  <a:gd name="T9" fmla="*/ 6 h 10"/>
                  <a:gd name="T10" fmla="*/ 0 w 13"/>
                  <a:gd name="T11" fmla="*/ 9 h 10"/>
                  <a:gd name="T12" fmla="*/ 1 w 13"/>
                  <a:gd name="T13" fmla="*/ 10 h 10"/>
                  <a:gd name="T14" fmla="*/ 4 w 13"/>
                  <a:gd name="T15" fmla="*/ 8 h 10"/>
                  <a:gd name="T16" fmla="*/ 8 w 13"/>
                  <a:gd name="T17" fmla="*/ 6 h 10"/>
                  <a:gd name="T18" fmla="*/ 9 w 13"/>
                  <a:gd name="T19" fmla="*/ 4 h 10"/>
                  <a:gd name="T20" fmla="*/ 13 w 13"/>
                  <a:gd name="T21" fmla="*/ 1 h 10"/>
                  <a:gd name="T22" fmla="*/ 12 w 13"/>
                  <a:gd name="T23" fmla="*/ 0 h 10"/>
                  <a:gd name="T24" fmla="*/ 11 w 13"/>
                  <a:gd name="T2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0">
                    <a:moveTo>
                      <a:pt x="11" y="1"/>
                    </a:moveTo>
                    <a:cubicBezTo>
                      <a:pt x="10" y="1"/>
                      <a:pt x="9" y="1"/>
                      <a:pt x="8" y="2"/>
                    </a:cubicBezTo>
                    <a:cubicBezTo>
                      <a:pt x="7" y="3"/>
                      <a:pt x="6" y="3"/>
                      <a:pt x="6" y="4"/>
                    </a:cubicBezTo>
                    <a:cubicBezTo>
                      <a:pt x="6" y="4"/>
                      <a:pt x="6" y="5"/>
                      <a:pt x="5" y="5"/>
                    </a:cubicBezTo>
                    <a:cubicBezTo>
                      <a:pt x="4" y="6"/>
                      <a:pt x="4" y="6"/>
                      <a:pt x="3" y="6"/>
                    </a:cubicBezTo>
                    <a:cubicBezTo>
                      <a:pt x="1" y="6"/>
                      <a:pt x="0" y="7"/>
                      <a:pt x="0" y="9"/>
                    </a:cubicBezTo>
                    <a:cubicBezTo>
                      <a:pt x="0" y="10"/>
                      <a:pt x="0" y="10"/>
                      <a:pt x="1" y="10"/>
                    </a:cubicBezTo>
                    <a:cubicBezTo>
                      <a:pt x="2" y="10"/>
                      <a:pt x="3" y="8"/>
                      <a:pt x="4" y="8"/>
                    </a:cubicBezTo>
                    <a:cubicBezTo>
                      <a:pt x="6" y="7"/>
                      <a:pt x="6" y="7"/>
                      <a:pt x="8" y="6"/>
                    </a:cubicBezTo>
                    <a:cubicBezTo>
                      <a:pt x="8" y="5"/>
                      <a:pt x="9" y="5"/>
                      <a:pt x="9" y="4"/>
                    </a:cubicBezTo>
                    <a:cubicBezTo>
                      <a:pt x="11" y="3"/>
                      <a:pt x="13" y="3"/>
                      <a:pt x="13" y="1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5" name="Freeform 193">
                <a:extLst>
                  <a:ext uri="{FF2B5EF4-FFF2-40B4-BE49-F238E27FC236}">
                    <a16:creationId xmlns:a16="http://schemas.microsoft.com/office/drawing/2014/main" xmlns="" id="{5AF6047D-898C-4EA8-B67D-CBF55F50F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165" y="3559102"/>
                <a:ext cx="256215" cy="237089"/>
              </a:xfrm>
              <a:custGeom>
                <a:avLst/>
                <a:gdLst>
                  <a:gd name="T0" fmla="*/ 18 w 101"/>
                  <a:gd name="T1" fmla="*/ 22 h 94"/>
                  <a:gd name="T2" fmla="*/ 21 w 101"/>
                  <a:gd name="T3" fmla="*/ 33 h 94"/>
                  <a:gd name="T4" fmla="*/ 15 w 101"/>
                  <a:gd name="T5" fmla="*/ 38 h 94"/>
                  <a:gd name="T6" fmla="*/ 9 w 101"/>
                  <a:gd name="T7" fmla="*/ 41 h 94"/>
                  <a:gd name="T8" fmla="*/ 9 w 101"/>
                  <a:gd name="T9" fmla="*/ 54 h 94"/>
                  <a:gd name="T10" fmla="*/ 1 w 101"/>
                  <a:gd name="T11" fmla="*/ 62 h 94"/>
                  <a:gd name="T12" fmla="*/ 1 w 101"/>
                  <a:gd name="T13" fmla="*/ 65 h 94"/>
                  <a:gd name="T14" fmla="*/ 7 w 101"/>
                  <a:gd name="T15" fmla="*/ 71 h 94"/>
                  <a:gd name="T16" fmla="*/ 27 w 101"/>
                  <a:gd name="T17" fmla="*/ 68 h 94"/>
                  <a:gd name="T18" fmla="*/ 26 w 101"/>
                  <a:gd name="T19" fmla="*/ 71 h 94"/>
                  <a:gd name="T20" fmla="*/ 18 w 101"/>
                  <a:gd name="T21" fmla="*/ 77 h 94"/>
                  <a:gd name="T22" fmla="*/ 12 w 101"/>
                  <a:gd name="T23" fmla="*/ 80 h 94"/>
                  <a:gd name="T24" fmla="*/ 11 w 101"/>
                  <a:gd name="T25" fmla="*/ 88 h 94"/>
                  <a:gd name="T26" fmla="*/ 9 w 101"/>
                  <a:gd name="T27" fmla="*/ 94 h 94"/>
                  <a:gd name="T28" fmla="*/ 17 w 101"/>
                  <a:gd name="T29" fmla="*/ 87 h 94"/>
                  <a:gd name="T30" fmla="*/ 25 w 101"/>
                  <a:gd name="T31" fmla="*/ 78 h 94"/>
                  <a:gd name="T32" fmla="*/ 30 w 101"/>
                  <a:gd name="T33" fmla="*/ 73 h 94"/>
                  <a:gd name="T34" fmla="*/ 37 w 101"/>
                  <a:gd name="T35" fmla="*/ 69 h 94"/>
                  <a:gd name="T36" fmla="*/ 45 w 101"/>
                  <a:gd name="T37" fmla="*/ 59 h 94"/>
                  <a:gd name="T38" fmla="*/ 48 w 101"/>
                  <a:gd name="T39" fmla="*/ 52 h 94"/>
                  <a:gd name="T40" fmla="*/ 61 w 101"/>
                  <a:gd name="T41" fmla="*/ 48 h 94"/>
                  <a:gd name="T42" fmla="*/ 73 w 101"/>
                  <a:gd name="T43" fmla="*/ 43 h 94"/>
                  <a:gd name="T44" fmla="*/ 84 w 101"/>
                  <a:gd name="T45" fmla="*/ 44 h 94"/>
                  <a:gd name="T46" fmla="*/ 97 w 101"/>
                  <a:gd name="T47" fmla="*/ 43 h 94"/>
                  <a:gd name="T48" fmla="*/ 99 w 101"/>
                  <a:gd name="T49" fmla="*/ 35 h 94"/>
                  <a:gd name="T50" fmla="*/ 101 w 101"/>
                  <a:gd name="T51" fmla="*/ 28 h 94"/>
                  <a:gd name="T52" fmla="*/ 92 w 101"/>
                  <a:gd name="T53" fmla="*/ 30 h 94"/>
                  <a:gd name="T54" fmla="*/ 82 w 101"/>
                  <a:gd name="T55" fmla="*/ 28 h 94"/>
                  <a:gd name="T56" fmla="*/ 66 w 101"/>
                  <a:gd name="T57" fmla="*/ 21 h 94"/>
                  <a:gd name="T58" fmla="*/ 62 w 101"/>
                  <a:gd name="T59" fmla="*/ 12 h 94"/>
                  <a:gd name="T60" fmla="*/ 66 w 101"/>
                  <a:gd name="T61" fmla="*/ 11 h 94"/>
                  <a:gd name="T62" fmla="*/ 63 w 101"/>
                  <a:gd name="T63" fmla="*/ 4 h 94"/>
                  <a:gd name="T64" fmla="*/ 54 w 101"/>
                  <a:gd name="T65" fmla="*/ 10 h 94"/>
                  <a:gd name="T66" fmla="*/ 46 w 101"/>
                  <a:gd name="T67" fmla="*/ 13 h 94"/>
                  <a:gd name="T68" fmla="*/ 41 w 101"/>
                  <a:gd name="T69" fmla="*/ 10 h 94"/>
                  <a:gd name="T70" fmla="*/ 36 w 101"/>
                  <a:gd name="T71" fmla="*/ 4 h 94"/>
                  <a:gd name="T72" fmla="*/ 28 w 101"/>
                  <a:gd name="T73" fmla="*/ 3 h 94"/>
                  <a:gd name="T74" fmla="*/ 23 w 101"/>
                  <a:gd name="T75" fmla="*/ 10 h 94"/>
                  <a:gd name="T76" fmla="*/ 10 w 101"/>
                  <a:gd name="T77" fmla="*/ 1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1" h="94">
                    <a:moveTo>
                      <a:pt x="10" y="17"/>
                    </a:moveTo>
                    <a:cubicBezTo>
                      <a:pt x="13" y="19"/>
                      <a:pt x="16" y="20"/>
                      <a:pt x="18" y="22"/>
                    </a:cubicBezTo>
                    <a:cubicBezTo>
                      <a:pt x="20" y="24"/>
                      <a:pt x="20" y="26"/>
                      <a:pt x="20" y="28"/>
                    </a:cubicBezTo>
                    <a:cubicBezTo>
                      <a:pt x="20" y="30"/>
                      <a:pt x="21" y="31"/>
                      <a:pt x="21" y="33"/>
                    </a:cubicBezTo>
                    <a:cubicBezTo>
                      <a:pt x="21" y="34"/>
                      <a:pt x="19" y="35"/>
                      <a:pt x="18" y="36"/>
                    </a:cubicBezTo>
                    <a:cubicBezTo>
                      <a:pt x="17" y="37"/>
                      <a:pt x="16" y="38"/>
                      <a:pt x="15" y="38"/>
                    </a:cubicBezTo>
                    <a:cubicBezTo>
                      <a:pt x="14" y="39"/>
                      <a:pt x="13" y="39"/>
                      <a:pt x="12" y="39"/>
                    </a:cubicBezTo>
                    <a:cubicBezTo>
                      <a:pt x="11" y="40"/>
                      <a:pt x="9" y="40"/>
                      <a:pt x="9" y="41"/>
                    </a:cubicBezTo>
                    <a:cubicBezTo>
                      <a:pt x="9" y="44"/>
                      <a:pt x="11" y="46"/>
                      <a:pt x="11" y="49"/>
                    </a:cubicBezTo>
                    <a:cubicBezTo>
                      <a:pt x="11" y="51"/>
                      <a:pt x="10" y="52"/>
                      <a:pt x="9" y="54"/>
                    </a:cubicBezTo>
                    <a:cubicBezTo>
                      <a:pt x="8" y="56"/>
                      <a:pt x="8" y="57"/>
                      <a:pt x="7" y="59"/>
                    </a:cubicBezTo>
                    <a:cubicBezTo>
                      <a:pt x="5" y="61"/>
                      <a:pt x="3" y="61"/>
                      <a:pt x="1" y="62"/>
                    </a:cubicBezTo>
                    <a:cubicBezTo>
                      <a:pt x="1" y="62"/>
                      <a:pt x="1" y="62"/>
                      <a:pt x="1" y="63"/>
                    </a:cubicBezTo>
                    <a:cubicBezTo>
                      <a:pt x="1" y="63"/>
                      <a:pt x="0" y="64"/>
                      <a:pt x="1" y="65"/>
                    </a:cubicBezTo>
                    <a:cubicBezTo>
                      <a:pt x="1" y="66"/>
                      <a:pt x="2" y="66"/>
                      <a:pt x="3" y="66"/>
                    </a:cubicBezTo>
                    <a:cubicBezTo>
                      <a:pt x="5" y="66"/>
                      <a:pt x="4" y="71"/>
                      <a:pt x="7" y="71"/>
                    </a:cubicBezTo>
                    <a:cubicBezTo>
                      <a:pt x="11" y="71"/>
                      <a:pt x="13" y="69"/>
                      <a:pt x="17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70"/>
                      <a:pt x="27" y="70"/>
                      <a:pt x="26" y="71"/>
                    </a:cubicBezTo>
                    <a:cubicBezTo>
                      <a:pt x="25" y="72"/>
                      <a:pt x="24" y="72"/>
                      <a:pt x="23" y="73"/>
                    </a:cubicBezTo>
                    <a:cubicBezTo>
                      <a:pt x="20" y="73"/>
                      <a:pt x="19" y="75"/>
                      <a:pt x="18" y="77"/>
                    </a:cubicBezTo>
                    <a:cubicBezTo>
                      <a:pt x="17" y="78"/>
                      <a:pt x="15" y="78"/>
                      <a:pt x="13" y="79"/>
                    </a:cubicBezTo>
                    <a:cubicBezTo>
                      <a:pt x="13" y="79"/>
                      <a:pt x="12" y="79"/>
                      <a:pt x="12" y="80"/>
                    </a:cubicBezTo>
                    <a:cubicBezTo>
                      <a:pt x="10" y="80"/>
                      <a:pt x="9" y="80"/>
                      <a:pt x="9" y="82"/>
                    </a:cubicBezTo>
                    <a:cubicBezTo>
                      <a:pt x="9" y="84"/>
                      <a:pt x="11" y="85"/>
                      <a:pt x="11" y="88"/>
                    </a:cubicBezTo>
                    <a:cubicBezTo>
                      <a:pt x="11" y="88"/>
                      <a:pt x="10" y="88"/>
                      <a:pt x="10" y="89"/>
                    </a:cubicBezTo>
                    <a:cubicBezTo>
                      <a:pt x="10" y="91"/>
                      <a:pt x="10" y="92"/>
                      <a:pt x="9" y="94"/>
                    </a:cubicBezTo>
                    <a:cubicBezTo>
                      <a:pt x="11" y="94"/>
                      <a:pt x="12" y="92"/>
                      <a:pt x="13" y="90"/>
                    </a:cubicBezTo>
                    <a:cubicBezTo>
                      <a:pt x="14" y="89"/>
                      <a:pt x="16" y="88"/>
                      <a:pt x="17" y="87"/>
                    </a:cubicBezTo>
                    <a:cubicBezTo>
                      <a:pt x="18" y="85"/>
                      <a:pt x="18" y="83"/>
                      <a:pt x="20" y="82"/>
                    </a:cubicBezTo>
                    <a:cubicBezTo>
                      <a:pt x="22" y="81"/>
                      <a:pt x="23" y="80"/>
                      <a:pt x="25" y="78"/>
                    </a:cubicBezTo>
                    <a:cubicBezTo>
                      <a:pt x="25" y="77"/>
                      <a:pt x="26" y="77"/>
                      <a:pt x="27" y="76"/>
                    </a:cubicBezTo>
                    <a:cubicBezTo>
                      <a:pt x="28" y="75"/>
                      <a:pt x="29" y="74"/>
                      <a:pt x="30" y="73"/>
                    </a:cubicBezTo>
                    <a:cubicBezTo>
                      <a:pt x="30" y="72"/>
                      <a:pt x="30" y="72"/>
                      <a:pt x="31" y="72"/>
                    </a:cubicBezTo>
                    <a:cubicBezTo>
                      <a:pt x="33" y="71"/>
                      <a:pt x="34" y="70"/>
                      <a:pt x="37" y="69"/>
                    </a:cubicBezTo>
                    <a:cubicBezTo>
                      <a:pt x="40" y="68"/>
                      <a:pt x="43" y="68"/>
                      <a:pt x="44" y="65"/>
                    </a:cubicBezTo>
                    <a:cubicBezTo>
                      <a:pt x="45" y="63"/>
                      <a:pt x="44" y="61"/>
                      <a:pt x="45" y="59"/>
                    </a:cubicBezTo>
                    <a:cubicBezTo>
                      <a:pt x="45" y="58"/>
                      <a:pt x="46" y="57"/>
                      <a:pt x="46" y="56"/>
                    </a:cubicBezTo>
                    <a:cubicBezTo>
                      <a:pt x="47" y="54"/>
                      <a:pt x="47" y="53"/>
                      <a:pt x="48" y="52"/>
                    </a:cubicBezTo>
                    <a:cubicBezTo>
                      <a:pt x="50" y="48"/>
                      <a:pt x="53" y="48"/>
                      <a:pt x="57" y="48"/>
                    </a:cubicBezTo>
                    <a:cubicBezTo>
                      <a:pt x="58" y="48"/>
                      <a:pt x="59" y="48"/>
                      <a:pt x="61" y="48"/>
                    </a:cubicBezTo>
                    <a:cubicBezTo>
                      <a:pt x="63" y="48"/>
                      <a:pt x="64" y="46"/>
                      <a:pt x="66" y="45"/>
                    </a:cubicBezTo>
                    <a:cubicBezTo>
                      <a:pt x="68" y="43"/>
                      <a:pt x="70" y="43"/>
                      <a:pt x="73" y="43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79" y="43"/>
                      <a:pt x="81" y="43"/>
                      <a:pt x="84" y="44"/>
                    </a:cubicBezTo>
                    <a:cubicBezTo>
                      <a:pt x="86" y="45"/>
                      <a:pt x="87" y="46"/>
                      <a:pt x="89" y="46"/>
                    </a:cubicBezTo>
                    <a:cubicBezTo>
                      <a:pt x="92" y="46"/>
                      <a:pt x="94" y="43"/>
                      <a:pt x="97" y="43"/>
                    </a:cubicBezTo>
                    <a:cubicBezTo>
                      <a:pt x="97" y="43"/>
                      <a:pt x="97" y="42"/>
                      <a:pt x="97" y="41"/>
                    </a:cubicBezTo>
                    <a:cubicBezTo>
                      <a:pt x="98" y="39"/>
                      <a:pt x="98" y="37"/>
                      <a:pt x="99" y="35"/>
                    </a:cubicBezTo>
                    <a:cubicBezTo>
                      <a:pt x="99" y="33"/>
                      <a:pt x="101" y="32"/>
                      <a:pt x="101" y="30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0" y="28"/>
                      <a:pt x="100" y="28"/>
                      <a:pt x="100" y="28"/>
                    </a:cubicBezTo>
                    <a:cubicBezTo>
                      <a:pt x="97" y="30"/>
                      <a:pt x="95" y="30"/>
                      <a:pt x="92" y="30"/>
                    </a:cubicBezTo>
                    <a:cubicBezTo>
                      <a:pt x="90" y="30"/>
                      <a:pt x="89" y="30"/>
                      <a:pt x="86" y="30"/>
                    </a:cubicBezTo>
                    <a:cubicBezTo>
                      <a:pt x="84" y="30"/>
                      <a:pt x="84" y="29"/>
                      <a:pt x="82" y="28"/>
                    </a:cubicBezTo>
                    <a:cubicBezTo>
                      <a:pt x="78" y="27"/>
                      <a:pt x="75" y="26"/>
                      <a:pt x="71" y="25"/>
                    </a:cubicBezTo>
                    <a:cubicBezTo>
                      <a:pt x="68" y="24"/>
                      <a:pt x="67" y="23"/>
                      <a:pt x="66" y="21"/>
                    </a:cubicBezTo>
                    <a:cubicBezTo>
                      <a:pt x="64" y="18"/>
                      <a:pt x="62" y="16"/>
                      <a:pt x="62" y="13"/>
                    </a:cubicBezTo>
                    <a:cubicBezTo>
                      <a:pt x="62" y="12"/>
                      <a:pt x="62" y="12"/>
                      <a:pt x="62" y="12"/>
                    </a:cubicBezTo>
                    <a:cubicBezTo>
                      <a:pt x="64" y="13"/>
                      <a:pt x="64" y="12"/>
                      <a:pt x="65" y="12"/>
                    </a:cubicBezTo>
                    <a:cubicBezTo>
                      <a:pt x="65" y="12"/>
                      <a:pt x="66" y="12"/>
                      <a:pt x="66" y="11"/>
                    </a:cubicBezTo>
                    <a:cubicBezTo>
                      <a:pt x="66" y="9"/>
                      <a:pt x="64" y="8"/>
                      <a:pt x="63" y="6"/>
                    </a:cubicBezTo>
                    <a:cubicBezTo>
                      <a:pt x="63" y="5"/>
                      <a:pt x="63" y="5"/>
                      <a:pt x="63" y="4"/>
                    </a:cubicBezTo>
                    <a:cubicBezTo>
                      <a:pt x="60" y="5"/>
                      <a:pt x="57" y="6"/>
                      <a:pt x="55" y="8"/>
                    </a:cubicBezTo>
                    <a:cubicBezTo>
                      <a:pt x="55" y="9"/>
                      <a:pt x="55" y="9"/>
                      <a:pt x="54" y="10"/>
                    </a:cubicBezTo>
                    <a:cubicBezTo>
                      <a:pt x="54" y="11"/>
                      <a:pt x="53" y="11"/>
                      <a:pt x="51" y="12"/>
                    </a:cubicBezTo>
                    <a:cubicBezTo>
                      <a:pt x="50" y="12"/>
                      <a:pt x="48" y="13"/>
                      <a:pt x="46" y="13"/>
                    </a:cubicBezTo>
                    <a:cubicBezTo>
                      <a:pt x="45" y="13"/>
                      <a:pt x="44" y="12"/>
                      <a:pt x="43" y="11"/>
                    </a:cubicBezTo>
                    <a:cubicBezTo>
                      <a:pt x="42" y="10"/>
                      <a:pt x="42" y="10"/>
                      <a:pt x="41" y="10"/>
                    </a:cubicBezTo>
                    <a:cubicBezTo>
                      <a:pt x="40" y="9"/>
                      <a:pt x="40" y="9"/>
                      <a:pt x="40" y="8"/>
                    </a:cubicBezTo>
                    <a:cubicBezTo>
                      <a:pt x="38" y="6"/>
                      <a:pt x="37" y="6"/>
                      <a:pt x="36" y="4"/>
                    </a:cubicBezTo>
                    <a:cubicBezTo>
                      <a:pt x="35" y="2"/>
                      <a:pt x="34" y="0"/>
                      <a:pt x="32" y="0"/>
                    </a:cubicBezTo>
                    <a:cubicBezTo>
                      <a:pt x="30" y="0"/>
                      <a:pt x="29" y="2"/>
                      <a:pt x="28" y="3"/>
                    </a:cubicBezTo>
                    <a:cubicBezTo>
                      <a:pt x="28" y="4"/>
                      <a:pt x="27" y="4"/>
                      <a:pt x="27" y="5"/>
                    </a:cubicBezTo>
                    <a:cubicBezTo>
                      <a:pt x="25" y="7"/>
                      <a:pt x="25" y="9"/>
                      <a:pt x="23" y="10"/>
                    </a:cubicBezTo>
                    <a:cubicBezTo>
                      <a:pt x="22" y="11"/>
                      <a:pt x="21" y="11"/>
                      <a:pt x="19" y="11"/>
                    </a:cubicBezTo>
                    <a:cubicBezTo>
                      <a:pt x="15" y="12"/>
                      <a:pt x="13" y="14"/>
                      <a:pt x="10" y="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6" name="Freeform 194">
                <a:extLst>
                  <a:ext uri="{FF2B5EF4-FFF2-40B4-BE49-F238E27FC236}">
                    <a16:creationId xmlns:a16="http://schemas.microsoft.com/office/drawing/2014/main" xmlns="" id="{A70D47B2-A74D-404F-A641-DF6CD3B3B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9550" y="2147344"/>
                <a:ext cx="193957" cy="105372"/>
              </a:xfrm>
              <a:custGeom>
                <a:avLst/>
                <a:gdLst>
                  <a:gd name="T0" fmla="*/ 75 w 77"/>
                  <a:gd name="T1" fmla="*/ 41 h 42"/>
                  <a:gd name="T2" fmla="*/ 69 w 77"/>
                  <a:gd name="T3" fmla="*/ 41 h 42"/>
                  <a:gd name="T4" fmla="*/ 62 w 77"/>
                  <a:gd name="T5" fmla="*/ 42 h 42"/>
                  <a:gd name="T6" fmla="*/ 52 w 77"/>
                  <a:gd name="T7" fmla="*/ 42 h 42"/>
                  <a:gd name="T8" fmla="*/ 44 w 77"/>
                  <a:gd name="T9" fmla="*/ 41 h 42"/>
                  <a:gd name="T10" fmla="*/ 29 w 77"/>
                  <a:gd name="T11" fmla="*/ 40 h 42"/>
                  <a:gd name="T12" fmla="*/ 26 w 77"/>
                  <a:gd name="T13" fmla="*/ 39 h 42"/>
                  <a:gd name="T14" fmla="*/ 13 w 77"/>
                  <a:gd name="T15" fmla="*/ 36 h 42"/>
                  <a:gd name="T16" fmla="*/ 9 w 77"/>
                  <a:gd name="T17" fmla="*/ 34 h 42"/>
                  <a:gd name="T18" fmla="*/ 0 w 77"/>
                  <a:gd name="T19" fmla="*/ 33 h 42"/>
                  <a:gd name="T20" fmla="*/ 0 w 77"/>
                  <a:gd name="T21" fmla="*/ 32 h 42"/>
                  <a:gd name="T22" fmla="*/ 6 w 77"/>
                  <a:gd name="T23" fmla="*/ 19 h 42"/>
                  <a:gd name="T24" fmla="*/ 11 w 77"/>
                  <a:gd name="T25" fmla="*/ 15 h 42"/>
                  <a:gd name="T26" fmla="*/ 15 w 77"/>
                  <a:gd name="T27" fmla="*/ 14 h 42"/>
                  <a:gd name="T28" fmla="*/ 19 w 77"/>
                  <a:gd name="T29" fmla="*/ 12 h 42"/>
                  <a:gd name="T30" fmla="*/ 20 w 77"/>
                  <a:gd name="T31" fmla="*/ 15 h 42"/>
                  <a:gd name="T32" fmla="*/ 23 w 77"/>
                  <a:gd name="T33" fmla="*/ 16 h 42"/>
                  <a:gd name="T34" fmla="*/ 26 w 77"/>
                  <a:gd name="T35" fmla="*/ 16 h 42"/>
                  <a:gd name="T36" fmla="*/ 33 w 77"/>
                  <a:gd name="T37" fmla="*/ 17 h 42"/>
                  <a:gd name="T38" fmla="*/ 35 w 77"/>
                  <a:gd name="T39" fmla="*/ 16 h 42"/>
                  <a:gd name="T40" fmla="*/ 37 w 77"/>
                  <a:gd name="T41" fmla="*/ 15 h 42"/>
                  <a:gd name="T42" fmla="*/ 36 w 77"/>
                  <a:gd name="T43" fmla="*/ 14 h 42"/>
                  <a:gd name="T44" fmla="*/ 36 w 77"/>
                  <a:gd name="T45" fmla="*/ 7 h 42"/>
                  <a:gd name="T46" fmla="*/ 35 w 77"/>
                  <a:gd name="T47" fmla="*/ 4 h 42"/>
                  <a:gd name="T48" fmla="*/ 38 w 77"/>
                  <a:gd name="T49" fmla="*/ 2 h 42"/>
                  <a:gd name="T50" fmla="*/ 38 w 77"/>
                  <a:gd name="T51" fmla="*/ 0 h 42"/>
                  <a:gd name="T52" fmla="*/ 43 w 77"/>
                  <a:gd name="T53" fmla="*/ 2 h 42"/>
                  <a:gd name="T54" fmla="*/ 49 w 77"/>
                  <a:gd name="T55" fmla="*/ 6 h 42"/>
                  <a:gd name="T56" fmla="*/ 52 w 77"/>
                  <a:gd name="T57" fmla="*/ 6 h 42"/>
                  <a:gd name="T58" fmla="*/ 54 w 77"/>
                  <a:gd name="T59" fmla="*/ 7 h 42"/>
                  <a:gd name="T60" fmla="*/ 54 w 77"/>
                  <a:gd name="T61" fmla="*/ 8 h 42"/>
                  <a:gd name="T62" fmla="*/ 60 w 77"/>
                  <a:gd name="T63" fmla="*/ 10 h 42"/>
                  <a:gd name="T64" fmla="*/ 65 w 77"/>
                  <a:gd name="T65" fmla="*/ 10 h 42"/>
                  <a:gd name="T66" fmla="*/ 68 w 77"/>
                  <a:gd name="T67" fmla="*/ 9 h 42"/>
                  <a:gd name="T68" fmla="*/ 74 w 77"/>
                  <a:gd name="T69" fmla="*/ 8 h 42"/>
                  <a:gd name="T70" fmla="*/ 75 w 77"/>
                  <a:gd name="T71" fmla="*/ 12 h 42"/>
                  <a:gd name="T72" fmla="*/ 77 w 77"/>
                  <a:gd name="T73" fmla="*/ 20 h 42"/>
                  <a:gd name="T74" fmla="*/ 75 w 77"/>
                  <a:gd name="T75" fmla="*/ 39 h 42"/>
                  <a:gd name="T76" fmla="*/ 75 w 77"/>
                  <a:gd name="T77" fmla="*/ 4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7" h="42">
                    <a:moveTo>
                      <a:pt x="75" y="41"/>
                    </a:moveTo>
                    <a:cubicBezTo>
                      <a:pt x="73" y="41"/>
                      <a:pt x="71" y="41"/>
                      <a:pt x="69" y="41"/>
                    </a:cubicBezTo>
                    <a:cubicBezTo>
                      <a:pt x="66" y="41"/>
                      <a:pt x="64" y="42"/>
                      <a:pt x="62" y="42"/>
                    </a:cubicBezTo>
                    <a:cubicBezTo>
                      <a:pt x="58" y="42"/>
                      <a:pt x="56" y="42"/>
                      <a:pt x="52" y="42"/>
                    </a:cubicBezTo>
                    <a:cubicBezTo>
                      <a:pt x="49" y="42"/>
                      <a:pt x="47" y="41"/>
                      <a:pt x="44" y="41"/>
                    </a:cubicBezTo>
                    <a:cubicBezTo>
                      <a:pt x="38" y="41"/>
                      <a:pt x="35" y="40"/>
                      <a:pt x="29" y="40"/>
                    </a:cubicBezTo>
                    <a:cubicBezTo>
                      <a:pt x="28" y="40"/>
                      <a:pt x="27" y="39"/>
                      <a:pt x="26" y="39"/>
                    </a:cubicBezTo>
                    <a:cubicBezTo>
                      <a:pt x="20" y="39"/>
                      <a:pt x="18" y="37"/>
                      <a:pt x="13" y="36"/>
                    </a:cubicBezTo>
                    <a:cubicBezTo>
                      <a:pt x="11" y="35"/>
                      <a:pt x="10" y="35"/>
                      <a:pt x="9" y="34"/>
                    </a:cubicBezTo>
                    <a:cubicBezTo>
                      <a:pt x="5" y="33"/>
                      <a:pt x="3" y="34"/>
                      <a:pt x="0" y="3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" y="27"/>
                      <a:pt x="6" y="24"/>
                      <a:pt x="6" y="19"/>
                    </a:cubicBezTo>
                    <a:cubicBezTo>
                      <a:pt x="8" y="17"/>
                      <a:pt x="9" y="15"/>
                      <a:pt x="11" y="15"/>
                    </a:cubicBezTo>
                    <a:cubicBezTo>
                      <a:pt x="13" y="14"/>
                      <a:pt x="14" y="15"/>
                      <a:pt x="15" y="14"/>
                    </a:cubicBezTo>
                    <a:cubicBezTo>
                      <a:pt x="17" y="14"/>
                      <a:pt x="18" y="13"/>
                      <a:pt x="19" y="12"/>
                    </a:cubicBezTo>
                    <a:cubicBezTo>
                      <a:pt x="19" y="13"/>
                      <a:pt x="19" y="15"/>
                      <a:pt x="20" y="15"/>
                    </a:cubicBezTo>
                    <a:cubicBezTo>
                      <a:pt x="21" y="16"/>
                      <a:pt x="22" y="16"/>
                      <a:pt x="23" y="16"/>
                    </a:cubicBezTo>
                    <a:cubicBezTo>
                      <a:pt x="25" y="16"/>
                      <a:pt x="25" y="16"/>
                      <a:pt x="26" y="16"/>
                    </a:cubicBezTo>
                    <a:cubicBezTo>
                      <a:pt x="29" y="16"/>
                      <a:pt x="31" y="17"/>
                      <a:pt x="33" y="17"/>
                    </a:cubicBezTo>
                    <a:cubicBezTo>
                      <a:pt x="34" y="17"/>
                      <a:pt x="35" y="16"/>
                      <a:pt x="35" y="16"/>
                    </a:cubicBezTo>
                    <a:cubicBezTo>
                      <a:pt x="36" y="16"/>
                      <a:pt x="37" y="16"/>
                      <a:pt x="37" y="15"/>
                    </a:cubicBezTo>
                    <a:cubicBezTo>
                      <a:pt x="37" y="14"/>
                      <a:pt x="36" y="14"/>
                      <a:pt x="36" y="14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6"/>
                      <a:pt x="35" y="5"/>
                      <a:pt x="35" y="4"/>
                    </a:cubicBezTo>
                    <a:cubicBezTo>
                      <a:pt x="35" y="3"/>
                      <a:pt x="37" y="3"/>
                      <a:pt x="38" y="2"/>
                    </a:cubicBezTo>
                    <a:cubicBezTo>
                      <a:pt x="38" y="1"/>
                      <a:pt x="38" y="1"/>
                      <a:pt x="38" y="0"/>
                    </a:cubicBezTo>
                    <a:cubicBezTo>
                      <a:pt x="40" y="0"/>
                      <a:pt x="41" y="1"/>
                      <a:pt x="43" y="2"/>
                    </a:cubicBezTo>
                    <a:cubicBezTo>
                      <a:pt x="45" y="3"/>
                      <a:pt x="46" y="5"/>
                      <a:pt x="49" y="6"/>
                    </a:cubicBezTo>
                    <a:cubicBezTo>
                      <a:pt x="50" y="6"/>
                      <a:pt x="50" y="6"/>
                      <a:pt x="52" y="6"/>
                    </a:cubicBezTo>
                    <a:cubicBezTo>
                      <a:pt x="52" y="7"/>
                      <a:pt x="53" y="7"/>
                      <a:pt x="54" y="7"/>
                    </a:cubicBezTo>
                    <a:cubicBezTo>
                      <a:pt x="54" y="7"/>
                      <a:pt x="54" y="8"/>
                      <a:pt x="54" y="8"/>
                    </a:cubicBezTo>
                    <a:cubicBezTo>
                      <a:pt x="56" y="9"/>
                      <a:pt x="58" y="10"/>
                      <a:pt x="60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6" y="10"/>
                      <a:pt x="67" y="9"/>
                      <a:pt x="68" y="9"/>
                    </a:cubicBezTo>
                    <a:cubicBezTo>
                      <a:pt x="70" y="8"/>
                      <a:pt x="72" y="8"/>
                      <a:pt x="74" y="8"/>
                    </a:cubicBezTo>
                    <a:cubicBezTo>
                      <a:pt x="74" y="10"/>
                      <a:pt x="74" y="11"/>
                      <a:pt x="75" y="12"/>
                    </a:cubicBezTo>
                    <a:cubicBezTo>
                      <a:pt x="76" y="15"/>
                      <a:pt x="77" y="17"/>
                      <a:pt x="77" y="20"/>
                    </a:cubicBezTo>
                    <a:cubicBezTo>
                      <a:pt x="77" y="28"/>
                      <a:pt x="75" y="32"/>
                      <a:pt x="75" y="39"/>
                    </a:cubicBezTo>
                    <a:cubicBezTo>
                      <a:pt x="75" y="40"/>
                      <a:pt x="75" y="41"/>
                      <a:pt x="75" y="4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7" name="Line 195">
                <a:extLst>
                  <a:ext uri="{FF2B5EF4-FFF2-40B4-BE49-F238E27FC236}">
                    <a16:creationId xmlns:a16="http://schemas.microsoft.com/office/drawing/2014/main" xmlns="" id="{63D2D026-D9A2-484D-B856-E709303663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47782" y="2354497"/>
                <a:ext cx="0" cy="0"/>
              </a:xfrm>
              <a:prstGeom prst="line">
                <a:avLst/>
              </a:prstGeom>
              <a:solidFill>
                <a:srgbClr val="D9D9D9"/>
              </a:solidFill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8" name="Freeform 196">
                <a:extLst>
                  <a:ext uri="{FF2B5EF4-FFF2-40B4-BE49-F238E27FC236}">
                    <a16:creationId xmlns:a16="http://schemas.microsoft.com/office/drawing/2014/main" xmlns="" id="{E0663B44-E0C4-4C91-8037-1910A7949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9802" y="881669"/>
                <a:ext cx="31129" cy="7184"/>
              </a:xfrm>
              <a:custGeom>
                <a:avLst/>
                <a:gdLst>
                  <a:gd name="T0" fmla="*/ 0 w 12"/>
                  <a:gd name="T1" fmla="*/ 3 h 3"/>
                  <a:gd name="T2" fmla="*/ 4 w 12"/>
                  <a:gd name="T3" fmla="*/ 2 h 3"/>
                  <a:gd name="T4" fmla="*/ 7 w 12"/>
                  <a:gd name="T5" fmla="*/ 2 h 3"/>
                  <a:gd name="T6" fmla="*/ 10 w 12"/>
                  <a:gd name="T7" fmla="*/ 2 h 3"/>
                  <a:gd name="T8" fmla="*/ 11 w 12"/>
                  <a:gd name="T9" fmla="*/ 1 h 3"/>
                  <a:gd name="T10" fmla="*/ 12 w 12"/>
                  <a:gd name="T11" fmla="*/ 1 h 3"/>
                  <a:gd name="T12" fmla="*/ 10 w 12"/>
                  <a:gd name="T13" fmla="*/ 0 h 3"/>
                  <a:gd name="T14" fmla="*/ 7 w 12"/>
                  <a:gd name="T15" fmla="*/ 0 h 3"/>
                  <a:gd name="T16" fmla="*/ 0 w 12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">
                    <a:moveTo>
                      <a:pt x="0" y="3"/>
                    </a:moveTo>
                    <a:cubicBezTo>
                      <a:pt x="2" y="2"/>
                      <a:pt x="2" y="2"/>
                      <a:pt x="4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0" y="2"/>
                      <a:pt x="11" y="1"/>
                      <a:pt x="11" y="1"/>
                    </a:cubicBezTo>
                    <a:cubicBezTo>
                      <a:pt x="11" y="1"/>
                      <a:pt x="12" y="1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0"/>
                      <a:pt x="8" y="0"/>
                      <a:pt x="7" y="0"/>
                    </a:cubicBezTo>
                    <a:cubicBezTo>
                      <a:pt x="4" y="1"/>
                      <a:pt x="2" y="1"/>
                      <a:pt x="0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9" name="Freeform 197">
                <a:extLst>
                  <a:ext uri="{FF2B5EF4-FFF2-40B4-BE49-F238E27FC236}">
                    <a16:creationId xmlns:a16="http://schemas.microsoft.com/office/drawing/2014/main" xmlns="" id="{0CD79BF8-F378-4A23-9142-67AA07B21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824" y="918789"/>
                <a:ext cx="219100" cy="192785"/>
              </a:xfrm>
              <a:custGeom>
                <a:avLst/>
                <a:gdLst>
                  <a:gd name="T0" fmla="*/ 8 w 87"/>
                  <a:gd name="T1" fmla="*/ 15 h 76"/>
                  <a:gd name="T2" fmla="*/ 4 w 87"/>
                  <a:gd name="T3" fmla="*/ 19 h 76"/>
                  <a:gd name="T4" fmla="*/ 5 w 87"/>
                  <a:gd name="T5" fmla="*/ 24 h 76"/>
                  <a:gd name="T6" fmla="*/ 10 w 87"/>
                  <a:gd name="T7" fmla="*/ 31 h 76"/>
                  <a:gd name="T8" fmla="*/ 12 w 87"/>
                  <a:gd name="T9" fmla="*/ 33 h 76"/>
                  <a:gd name="T10" fmla="*/ 13 w 87"/>
                  <a:gd name="T11" fmla="*/ 39 h 76"/>
                  <a:gd name="T12" fmla="*/ 16 w 87"/>
                  <a:gd name="T13" fmla="*/ 43 h 76"/>
                  <a:gd name="T14" fmla="*/ 13 w 87"/>
                  <a:gd name="T15" fmla="*/ 47 h 76"/>
                  <a:gd name="T16" fmla="*/ 17 w 87"/>
                  <a:gd name="T17" fmla="*/ 49 h 76"/>
                  <a:gd name="T18" fmla="*/ 17 w 87"/>
                  <a:gd name="T19" fmla="*/ 55 h 76"/>
                  <a:gd name="T20" fmla="*/ 21 w 87"/>
                  <a:gd name="T21" fmla="*/ 57 h 76"/>
                  <a:gd name="T22" fmla="*/ 25 w 87"/>
                  <a:gd name="T23" fmla="*/ 60 h 76"/>
                  <a:gd name="T24" fmla="*/ 27 w 87"/>
                  <a:gd name="T25" fmla="*/ 58 h 76"/>
                  <a:gd name="T26" fmla="*/ 30 w 87"/>
                  <a:gd name="T27" fmla="*/ 56 h 76"/>
                  <a:gd name="T28" fmla="*/ 34 w 87"/>
                  <a:gd name="T29" fmla="*/ 57 h 76"/>
                  <a:gd name="T30" fmla="*/ 37 w 87"/>
                  <a:gd name="T31" fmla="*/ 60 h 76"/>
                  <a:gd name="T32" fmla="*/ 41 w 87"/>
                  <a:gd name="T33" fmla="*/ 63 h 76"/>
                  <a:gd name="T34" fmla="*/ 48 w 87"/>
                  <a:gd name="T35" fmla="*/ 63 h 76"/>
                  <a:gd name="T36" fmla="*/ 48 w 87"/>
                  <a:gd name="T37" fmla="*/ 67 h 76"/>
                  <a:gd name="T38" fmla="*/ 54 w 87"/>
                  <a:gd name="T39" fmla="*/ 74 h 76"/>
                  <a:gd name="T40" fmla="*/ 62 w 87"/>
                  <a:gd name="T41" fmla="*/ 72 h 76"/>
                  <a:gd name="T42" fmla="*/ 67 w 87"/>
                  <a:gd name="T43" fmla="*/ 72 h 76"/>
                  <a:gd name="T44" fmla="*/ 69 w 87"/>
                  <a:gd name="T45" fmla="*/ 76 h 76"/>
                  <a:gd name="T46" fmla="*/ 75 w 87"/>
                  <a:gd name="T47" fmla="*/ 74 h 76"/>
                  <a:gd name="T48" fmla="*/ 75 w 87"/>
                  <a:gd name="T49" fmla="*/ 69 h 76"/>
                  <a:gd name="T50" fmla="*/ 75 w 87"/>
                  <a:gd name="T51" fmla="*/ 68 h 76"/>
                  <a:gd name="T52" fmla="*/ 79 w 87"/>
                  <a:gd name="T53" fmla="*/ 69 h 76"/>
                  <a:gd name="T54" fmla="*/ 82 w 87"/>
                  <a:gd name="T55" fmla="*/ 67 h 76"/>
                  <a:gd name="T56" fmla="*/ 87 w 87"/>
                  <a:gd name="T57" fmla="*/ 67 h 76"/>
                  <a:gd name="T58" fmla="*/ 83 w 87"/>
                  <a:gd name="T59" fmla="*/ 62 h 76"/>
                  <a:gd name="T60" fmla="*/ 78 w 87"/>
                  <a:gd name="T61" fmla="*/ 55 h 76"/>
                  <a:gd name="T62" fmla="*/ 75 w 87"/>
                  <a:gd name="T63" fmla="*/ 51 h 76"/>
                  <a:gd name="T64" fmla="*/ 74 w 87"/>
                  <a:gd name="T65" fmla="*/ 50 h 76"/>
                  <a:gd name="T66" fmla="*/ 71 w 87"/>
                  <a:gd name="T67" fmla="*/ 48 h 76"/>
                  <a:gd name="T68" fmla="*/ 68 w 87"/>
                  <a:gd name="T69" fmla="*/ 52 h 76"/>
                  <a:gd name="T70" fmla="*/ 64 w 87"/>
                  <a:gd name="T71" fmla="*/ 54 h 76"/>
                  <a:gd name="T72" fmla="*/ 57 w 87"/>
                  <a:gd name="T73" fmla="*/ 49 h 76"/>
                  <a:gd name="T74" fmla="*/ 51 w 87"/>
                  <a:gd name="T75" fmla="*/ 44 h 76"/>
                  <a:gd name="T76" fmla="*/ 48 w 87"/>
                  <a:gd name="T77" fmla="*/ 40 h 76"/>
                  <a:gd name="T78" fmla="*/ 44 w 87"/>
                  <a:gd name="T79" fmla="*/ 35 h 76"/>
                  <a:gd name="T80" fmla="*/ 47 w 87"/>
                  <a:gd name="T81" fmla="*/ 33 h 76"/>
                  <a:gd name="T82" fmla="*/ 49 w 87"/>
                  <a:gd name="T83" fmla="*/ 31 h 76"/>
                  <a:gd name="T84" fmla="*/ 3 w 87"/>
                  <a:gd name="T8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7" h="76">
                    <a:moveTo>
                      <a:pt x="2" y="0"/>
                    </a:moveTo>
                    <a:cubicBezTo>
                      <a:pt x="3" y="6"/>
                      <a:pt x="8" y="9"/>
                      <a:pt x="8" y="15"/>
                    </a:cubicBezTo>
                    <a:cubicBezTo>
                      <a:pt x="8" y="16"/>
                      <a:pt x="8" y="18"/>
                      <a:pt x="8" y="18"/>
                    </a:cubicBezTo>
                    <a:cubicBezTo>
                      <a:pt x="6" y="19"/>
                      <a:pt x="5" y="18"/>
                      <a:pt x="4" y="19"/>
                    </a:cubicBezTo>
                    <a:cubicBezTo>
                      <a:pt x="2" y="19"/>
                      <a:pt x="2" y="21"/>
                      <a:pt x="0" y="21"/>
                    </a:cubicBezTo>
                    <a:cubicBezTo>
                      <a:pt x="1" y="23"/>
                      <a:pt x="3" y="23"/>
                      <a:pt x="5" y="24"/>
                    </a:cubicBezTo>
                    <a:cubicBezTo>
                      <a:pt x="6" y="25"/>
                      <a:pt x="7" y="25"/>
                      <a:pt x="7" y="26"/>
                    </a:cubicBezTo>
                    <a:cubicBezTo>
                      <a:pt x="9" y="28"/>
                      <a:pt x="10" y="29"/>
                      <a:pt x="10" y="31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2" y="35"/>
                      <a:pt x="10" y="35"/>
                      <a:pt x="10" y="37"/>
                    </a:cubicBezTo>
                    <a:cubicBezTo>
                      <a:pt x="10" y="38"/>
                      <a:pt x="12" y="38"/>
                      <a:pt x="13" y="39"/>
                    </a:cubicBezTo>
                    <a:cubicBezTo>
                      <a:pt x="15" y="39"/>
                      <a:pt x="16" y="40"/>
                      <a:pt x="16" y="41"/>
                    </a:cubicBezTo>
                    <a:cubicBezTo>
                      <a:pt x="16" y="42"/>
                      <a:pt x="16" y="43"/>
                      <a:pt x="16" y="43"/>
                    </a:cubicBezTo>
                    <a:cubicBezTo>
                      <a:pt x="15" y="44"/>
                      <a:pt x="13" y="44"/>
                      <a:pt x="13" y="45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4" y="47"/>
                      <a:pt x="15" y="47"/>
                      <a:pt x="16" y="47"/>
                    </a:cubicBezTo>
                    <a:cubicBezTo>
                      <a:pt x="17" y="47"/>
                      <a:pt x="17" y="48"/>
                      <a:pt x="17" y="49"/>
                    </a:cubicBezTo>
                    <a:cubicBezTo>
                      <a:pt x="18" y="50"/>
                      <a:pt x="20" y="50"/>
                      <a:pt x="20" y="51"/>
                    </a:cubicBezTo>
                    <a:cubicBezTo>
                      <a:pt x="20" y="53"/>
                      <a:pt x="17" y="53"/>
                      <a:pt x="17" y="55"/>
                    </a:cubicBezTo>
                    <a:cubicBezTo>
                      <a:pt x="17" y="56"/>
                      <a:pt x="18" y="56"/>
                      <a:pt x="19" y="56"/>
                    </a:cubicBezTo>
                    <a:cubicBezTo>
                      <a:pt x="20" y="56"/>
                      <a:pt x="21" y="57"/>
                      <a:pt x="21" y="57"/>
                    </a:cubicBezTo>
                    <a:cubicBezTo>
                      <a:pt x="24" y="57"/>
                      <a:pt x="24" y="57"/>
                      <a:pt x="24" y="57"/>
                    </a:cubicBezTo>
                    <a:cubicBezTo>
                      <a:pt x="24" y="58"/>
                      <a:pt x="24" y="60"/>
                      <a:pt x="25" y="60"/>
                    </a:cubicBezTo>
                    <a:cubicBezTo>
                      <a:pt x="26" y="60"/>
                      <a:pt x="26" y="59"/>
                      <a:pt x="26" y="58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8" y="58"/>
                      <a:pt x="28" y="59"/>
                      <a:pt x="29" y="59"/>
                    </a:cubicBezTo>
                    <a:cubicBezTo>
                      <a:pt x="30" y="59"/>
                      <a:pt x="30" y="57"/>
                      <a:pt x="30" y="56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2" y="56"/>
                      <a:pt x="33" y="57"/>
                      <a:pt x="34" y="57"/>
                    </a:cubicBezTo>
                    <a:cubicBezTo>
                      <a:pt x="35" y="57"/>
                      <a:pt x="35" y="57"/>
                      <a:pt x="36" y="57"/>
                    </a:cubicBezTo>
                    <a:cubicBezTo>
                      <a:pt x="37" y="57"/>
                      <a:pt x="37" y="59"/>
                      <a:pt x="37" y="60"/>
                    </a:cubicBezTo>
                    <a:cubicBezTo>
                      <a:pt x="37" y="61"/>
                      <a:pt x="38" y="61"/>
                      <a:pt x="39" y="62"/>
                    </a:cubicBezTo>
                    <a:cubicBezTo>
                      <a:pt x="40" y="62"/>
                      <a:pt x="40" y="63"/>
                      <a:pt x="41" y="63"/>
                    </a:cubicBezTo>
                    <a:cubicBezTo>
                      <a:pt x="42" y="63"/>
                      <a:pt x="42" y="62"/>
                      <a:pt x="43" y="62"/>
                    </a:cubicBezTo>
                    <a:cubicBezTo>
                      <a:pt x="45" y="62"/>
                      <a:pt x="48" y="61"/>
                      <a:pt x="48" y="63"/>
                    </a:cubicBezTo>
                    <a:cubicBezTo>
                      <a:pt x="48" y="64"/>
                      <a:pt x="48" y="64"/>
                      <a:pt x="47" y="65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8" y="70"/>
                      <a:pt x="48" y="70"/>
                      <a:pt x="48" y="70"/>
                    </a:cubicBezTo>
                    <a:cubicBezTo>
                      <a:pt x="48" y="73"/>
                      <a:pt x="51" y="74"/>
                      <a:pt x="54" y="74"/>
                    </a:cubicBezTo>
                    <a:cubicBezTo>
                      <a:pt x="56" y="74"/>
                      <a:pt x="57" y="72"/>
                      <a:pt x="59" y="72"/>
                    </a:cubicBezTo>
                    <a:cubicBezTo>
                      <a:pt x="60" y="72"/>
                      <a:pt x="61" y="72"/>
                      <a:pt x="62" y="72"/>
                    </a:cubicBezTo>
                    <a:cubicBezTo>
                      <a:pt x="63" y="72"/>
                      <a:pt x="64" y="71"/>
                      <a:pt x="66" y="71"/>
                    </a:cubicBezTo>
                    <a:cubicBezTo>
                      <a:pt x="66" y="71"/>
                      <a:pt x="67" y="71"/>
                      <a:pt x="67" y="72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8" y="76"/>
                      <a:pt x="68" y="76"/>
                      <a:pt x="69" y="76"/>
                    </a:cubicBezTo>
                    <a:cubicBezTo>
                      <a:pt x="70" y="76"/>
                      <a:pt x="71" y="76"/>
                      <a:pt x="72" y="75"/>
                    </a:cubicBezTo>
                    <a:cubicBezTo>
                      <a:pt x="73" y="75"/>
                      <a:pt x="75" y="76"/>
                      <a:pt x="75" y="74"/>
                    </a:cubicBezTo>
                    <a:cubicBezTo>
                      <a:pt x="75" y="72"/>
                      <a:pt x="75" y="72"/>
                      <a:pt x="75" y="72"/>
                    </a:cubicBezTo>
                    <a:cubicBezTo>
                      <a:pt x="75" y="71"/>
                      <a:pt x="75" y="70"/>
                      <a:pt x="75" y="69"/>
                    </a:cubicBezTo>
                    <a:cubicBezTo>
                      <a:pt x="75" y="69"/>
                      <a:pt x="74" y="69"/>
                      <a:pt x="74" y="69"/>
                    </a:cubicBezTo>
                    <a:cubicBezTo>
                      <a:pt x="74" y="69"/>
                      <a:pt x="75" y="68"/>
                      <a:pt x="75" y="68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7" y="68"/>
                      <a:pt x="78" y="69"/>
                      <a:pt x="79" y="69"/>
                    </a:cubicBezTo>
                    <a:cubicBezTo>
                      <a:pt x="79" y="69"/>
                      <a:pt x="80" y="69"/>
                      <a:pt x="80" y="69"/>
                    </a:cubicBezTo>
                    <a:cubicBezTo>
                      <a:pt x="81" y="69"/>
                      <a:pt x="81" y="67"/>
                      <a:pt x="82" y="67"/>
                    </a:cubicBezTo>
                    <a:cubicBezTo>
                      <a:pt x="83" y="67"/>
                      <a:pt x="83" y="67"/>
                      <a:pt x="84" y="67"/>
                    </a:cubicBezTo>
                    <a:cubicBezTo>
                      <a:pt x="85" y="67"/>
                      <a:pt x="86" y="67"/>
                      <a:pt x="87" y="67"/>
                    </a:cubicBezTo>
                    <a:cubicBezTo>
                      <a:pt x="87" y="66"/>
                      <a:pt x="85" y="66"/>
                      <a:pt x="84" y="65"/>
                    </a:cubicBezTo>
                    <a:cubicBezTo>
                      <a:pt x="83" y="64"/>
                      <a:pt x="84" y="63"/>
                      <a:pt x="83" y="62"/>
                    </a:cubicBezTo>
                    <a:cubicBezTo>
                      <a:pt x="83" y="61"/>
                      <a:pt x="82" y="60"/>
                      <a:pt x="81" y="60"/>
                    </a:cubicBezTo>
                    <a:cubicBezTo>
                      <a:pt x="79" y="60"/>
                      <a:pt x="78" y="57"/>
                      <a:pt x="78" y="55"/>
                    </a:cubicBezTo>
                    <a:cubicBezTo>
                      <a:pt x="78" y="55"/>
                      <a:pt x="78" y="54"/>
                      <a:pt x="78" y="54"/>
                    </a:cubicBezTo>
                    <a:cubicBezTo>
                      <a:pt x="77" y="53"/>
                      <a:pt x="76" y="52"/>
                      <a:pt x="75" y="51"/>
                    </a:cubicBezTo>
                    <a:cubicBezTo>
                      <a:pt x="75" y="51"/>
                      <a:pt x="74" y="51"/>
                      <a:pt x="74" y="51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3" y="49"/>
                      <a:pt x="72" y="48"/>
                      <a:pt x="71" y="48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0" y="49"/>
                      <a:pt x="70" y="50"/>
                      <a:pt x="70" y="52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52"/>
                      <a:pt x="68" y="52"/>
                      <a:pt x="67" y="52"/>
                    </a:cubicBezTo>
                    <a:cubicBezTo>
                      <a:pt x="66" y="52"/>
                      <a:pt x="65" y="54"/>
                      <a:pt x="64" y="54"/>
                    </a:cubicBezTo>
                    <a:cubicBezTo>
                      <a:pt x="62" y="54"/>
                      <a:pt x="62" y="53"/>
                      <a:pt x="61" y="52"/>
                    </a:cubicBezTo>
                    <a:cubicBezTo>
                      <a:pt x="60" y="50"/>
                      <a:pt x="59" y="50"/>
                      <a:pt x="57" y="49"/>
                    </a:cubicBezTo>
                    <a:cubicBezTo>
                      <a:pt x="56" y="47"/>
                      <a:pt x="55" y="46"/>
                      <a:pt x="53" y="45"/>
                    </a:cubicBezTo>
                    <a:cubicBezTo>
                      <a:pt x="52" y="44"/>
                      <a:pt x="52" y="44"/>
                      <a:pt x="51" y="44"/>
                    </a:cubicBezTo>
                    <a:cubicBezTo>
                      <a:pt x="51" y="43"/>
                      <a:pt x="51" y="43"/>
                      <a:pt x="51" y="42"/>
                    </a:cubicBezTo>
                    <a:cubicBezTo>
                      <a:pt x="50" y="41"/>
                      <a:pt x="49" y="41"/>
                      <a:pt x="48" y="40"/>
                    </a:cubicBezTo>
                    <a:cubicBezTo>
                      <a:pt x="47" y="39"/>
                      <a:pt x="47" y="38"/>
                      <a:pt x="46" y="37"/>
                    </a:cubicBezTo>
                    <a:cubicBezTo>
                      <a:pt x="45" y="36"/>
                      <a:pt x="44" y="36"/>
                      <a:pt x="44" y="35"/>
                    </a:cubicBezTo>
                    <a:cubicBezTo>
                      <a:pt x="44" y="34"/>
                      <a:pt x="44" y="32"/>
                      <a:pt x="45" y="32"/>
                    </a:cubicBezTo>
                    <a:cubicBezTo>
                      <a:pt x="46" y="32"/>
                      <a:pt x="47" y="33"/>
                      <a:pt x="47" y="33"/>
                    </a:cubicBezTo>
                    <a:cubicBezTo>
                      <a:pt x="48" y="33"/>
                      <a:pt x="48" y="32"/>
                      <a:pt x="49" y="31"/>
                    </a:cubicBezTo>
                    <a:cubicBezTo>
                      <a:pt x="49" y="31"/>
                      <a:pt x="49" y="31"/>
                      <a:pt x="49" y="31"/>
                    </a:cubicBezTo>
                    <a:cubicBezTo>
                      <a:pt x="35" y="21"/>
                      <a:pt x="20" y="11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0" name="Freeform 198">
                <a:extLst>
                  <a:ext uri="{FF2B5EF4-FFF2-40B4-BE49-F238E27FC236}">
                    <a16:creationId xmlns:a16="http://schemas.microsoft.com/office/drawing/2014/main" xmlns="" id="{CA4EAF60-7788-438D-B5AE-86EABD010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050" y="640987"/>
                <a:ext cx="671668" cy="1483605"/>
              </a:xfrm>
              <a:custGeom>
                <a:avLst/>
                <a:gdLst>
                  <a:gd name="T0" fmla="*/ 256 w 266"/>
                  <a:gd name="T1" fmla="*/ 73 h 587"/>
                  <a:gd name="T2" fmla="*/ 254 w 266"/>
                  <a:gd name="T3" fmla="*/ 40 h 587"/>
                  <a:gd name="T4" fmla="*/ 234 w 266"/>
                  <a:gd name="T5" fmla="*/ 23 h 587"/>
                  <a:gd name="T6" fmla="*/ 217 w 266"/>
                  <a:gd name="T7" fmla="*/ 9 h 587"/>
                  <a:gd name="T8" fmla="*/ 199 w 266"/>
                  <a:gd name="T9" fmla="*/ 29 h 587"/>
                  <a:gd name="T10" fmla="*/ 171 w 266"/>
                  <a:gd name="T11" fmla="*/ 22 h 587"/>
                  <a:gd name="T12" fmla="*/ 165 w 266"/>
                  <a:gd name="T13" fmla="*/ 39 h 587"/>
                  <a:gd name="T14" fmla="*/ 132 w 266"/>
                  <a:gd name="T15" fmla="*/ 61 h 587"/>
                  <a:gd name="T16" fmla="*/ 112 w 266"/>
                  <a:gd name="T17" fmla="*/ 111 h 587"/>
                  <a:gd name="T18" fmla="*/ 92 w 266"/>
                  <a:gd name="T19" fmla="*/ 157 h 587"/>
                  <a:gd name="T20" fmla="*/ 76 w 266"/>
                  <a:gd name="T21" fmla="*/ 211 h 587"/>
                  <a:gd name="T22" fmla="*/ 42 w 266"/>
                  <a:gd name="T23" fmla="*/ 235 h 587"/>
                  <a:gd name="T24" fmla="*/ 38 w 266"/>
                  <a:gd name="T25" fmla="*/ 300 h 587"/>
                  <a:gd name="T26" fmla="*/ 34 w 266"/>
                  <a:gd name="T27" fmla="*/ 342 h 587"/>
                  <a:gd name="T28" fmla="*/ 21 w 266"/>
                  <a:gd name="T29" fmla="*/ 388 h 587"/>
                  <a:gd name="T30" fmla="*/ 3 w 266"/>
                  <a:gd name="T31" fmla="*/ 423 h 587"/>
                  <a:gd name="T32" fmla="*/ 2 w 266"/>
                  <a:gd name="T33" fmla="*/ 449 h 587"/>
                  <a:gd name="T34" fmla="*/ 11 w 266"/>
                  <a:gd name="T35" fmla="*/ 447 h 587"/>
                  <a:gd name="T36" fmla="*/ 12 w 266"/>
                  <a:gd name="T37" fmla="*/ 463 h 587"/>
                  <a:gd name="T38" fmla="*/ 9 w 266"/>
                  <a:gd name="T39" fmla="*/ 489 h 587"/>
                  <a:gd name="T40" fmla="*/ 17 w 266"/>
                  <a:gd name="T41" fmla="*/ 514 h 587"/>
                  <a:gd name="T42" fmla="*/ 25 w 266"/>
                  <a:gd name="T43" fmla="*/ 541 h 587"/>
                  <a:gd name="T44" fmla="*/ 27 w 266"/>
                  <a:gd name="T45" fmla="*/ 573 h 587"/>
                  <a:gd name="T46" fmla="*/ 47 w 266"/>
                  <a:gd name="T47" fmla="*/ 584 h 587"/>
                  <a:gd name="T48" fmla="*/ 70 w 266"/>
                  <a:gd name="T49" fmla="*/ 558 h 587"/>
                  <a:gd name="T50" fmla="*/ 86 w 266"/>
                  <a:gd name="T51" fmla="*/ 554 h 587"/>
                  <a:gd name="T52" fmla="*/ 106 w 266"/>
                  <a:gd name="T53" fmla="*/ 536 h 587"/>
                  <a:gd name="T54" fmla="*/ 118 w 266"/>
                  <a:gd name="T55" fmla="*/ 500 h 587"/>
                  <a:gd name="T56" fmla="*/ 116 w 266"/>
                  <a:gd name="T57" fmla="*/ 477 h 587"/>
                  <a:gd name="T58" fmla="*/ 123 w 266"/>
                  <a:gd name="T59" fmla="*/ 462 h 587"/>
                  <a:gd name="T60" fmla="*/ 128 w 266"/>
                  <a:gd name="T61" fmla="*/ 458 h 587"/>
                  <a:gd name="T62" fmla="*/ 134 w 266"/>
                  <a:gd name="T63" fmla="*/ 442 h 587"/>
                  <a:gd name="T64" fmla="*/ 146 w 266"/>
                  <a:gd name="T65" fmla="*/ 438 h 587"/>
                  <a:gd name="T66" fmla="*/ 157 w 266"/>
                  <a:gd name="T67" fmla="*/ 422 h 587"/>
                  <a:gd name="T68" fmla="*/ 157 w 266"/>
                  <a:gd name="T69" fmla="*/ 418 h 587"/>
                  <a:gd name="T70" fmla="*/ 128 w 266"/>
                  <a:gd name="T71" fmla="*/ 415 h 587"/>
                  <a:gd name="T72" fmla="*/ 121 w 266"/>
                  <a:gd name="T73" fmla="*/ 408 h 587"/>
                  <a:gd name="T74" fmla="*/ 139 w 266"/>
                  <a:gd name="T75" fmla="*/ 405 h 587"/>
                  <a:gd name="T76" fmla="*/ 157 w 266"/>
                  <a:gd name="T77" fmla="*/ 413 h 587"/>
                  <a:gd name="T78" fmla="*/ 166 w 266"/>
                  <a:gd name="T79" fmla="*/ 401 h 587"/>
                  <a:gd name="T80" fmla="*/ 165 w 266"/>
                  <a:gd name="T81" fmla="*/ 383 h 587"/>
                  <a:gd name="T82" fmla="*/ 156 w 266"/>
                  <a:gd name="T83" fmla="*/ 373 h 587"/>
                  <a:gd name="T84" fmla="*/ 144 w 266"/>
                  <a:gd name="T85" fmla="*/ 368 h 587"/>
                  <a:gd name="T86" fmla="*/ 127 w 266"/>
                  <a:gd name="T87" fmla="*/ 379 h 587"/>
                  <a:gd name="T88" fmla="*/ 136 w 266"/>
                  <a:gd name="T89" fmla="*/ 358 h 587"/>
                  <a:gd name="T90" fmla="*/ 138 w 266"/>
                  <a:gd name="T91" fmla="*/ 337 h 587"/>
                  <a:gd name="T92" fmla="*/ 137 w 266"/>
                  <a:gd name="T93" fmla="*/ 317 h 587"/>
                  <a:gd name="T94" fmla="*/ 145 w 266"/>
                  <a:gd name="T95" fmla="*/ 314 h 587"/>
                  <a:gd name="T96" fmla="*/ 143 w 266"/>
                  <a:gd name="T97" fmla="*/ 291 h 587"/>
                  <a:gd name="T98" fmla="*/ 151 w 266"/>
                  <a:gd name="T99" fmla="*/ 285 h 587"/>
                  <a:gd name="T100" fmla="*/ 151 w 266"/>
                  <a:gd name="T101" fmla="*/ 260 h 587"/>
                  <a:gd name="T102" fmla="*/ 170 w 266"/>
                  <a:gd name="T103" fmla="*/ 261 h 587"/>
                  <a:gd name="T104" fmla="*/ 180 w 266"/>
                  <a:gd name="T105" fmla="*/ 252 h 587"/>
                  <a:gd name="T106" fmla="*/ 189 w 266"/>
                  <a:gd name="T107" fmla="*/ 239 h 587"/>
                  <a:gd name="T108" fmla="*/ 204 w 266"/>
                  <a:gd name="T109" fmla="*/ 226 h 587"/>
                  <a:gd name="T110" fmla="*/ 214 w 266"/>
                  <a:gd name="T111" fmla="*/ 210 h 587"/>
                  <a:gd name="T112" fmla="*/ 215 w 266"/>
                  <a:gd name="T113" fmla="*/ 186 h 587"/>
                  <a:gd name="T114" fmla="*/ 216 w 266"/>
                  <a:gd name="T115" fmla="*/ 178 h 587"/>
                  <a:gd name="T116" fmla="*/ 221 w 266"/>
                  <a:gd name="T117" fmla="*/ 153 h 587"/>
                  <a:gd name="T118" fmla="*/ 233 w 266"/>
                  <a:gd name="T119" fmla="*/ 144 h 587"/>
                  <a:gd name="T120" fmla="*/ 237 w 266"/>
                  <a:gd name="T121" fmla="*/ 136 h 587"/>
                  <a:gd name="T122" fmla="*/ 243 w 266"/>
                  <a:gd name="T123" fmla="*/ 127 h 587"/>
                  <a:gd name="T124" fmla="*/ 264 w 266"/>
                  <a:gd name="T125" fmla="*/ 122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6" h="587">
                    <a:moveTo>
                      <a:pt x="262" y="113"/>
                    </a:moveTo>
                    <a:cubicBezTo>
                      <a:pt x="261" y="112"/>
                      <a:pt x="261" y="110"/>
                      <a:pt x="261" y="108"/>
                    </a:cubicBezTo>
                    <a:cubicBezTo>
                      <a:pt x="261" y="108"/>
                      <a:pt x="260" y="108"/>
                      <a:pt x="260" y="108"/>
                    </a:cubicBezTo>
                    <a:cubicBezTo>
                      <a:pt x="260" y="102"/>
                      <a:pt x="260" y="102"/>
                      <a:pt x="260" y="102"/>
                    </a:cubicBezTo>
                    <a:cubicBezTo>
                      <a:pt x="260" y="101"/>
                      <a:pt x="261" y="100"/>
                      <a:pt x="261" y="98"/>
                    </a:cubicBezTo>
                    <a:cubicBezTo>
                      <a:pt x="262" y="96"/>
                      <a:pt x="262" y="95"/>
                      <a:pt x="262" y="92"/>
                    </a:cubicBezTo>
                    <a:cubicBezTo>
                      <a:pt x="262" y="89"/>
                      <a:pt x="261" y="87"/>
                      <a:pt x="260" y="84"/>
                    </a:cubicBezTo>
                    <a:cubicBezTo>
                      <a:pt x="258" y="81"/>
                      <a:pt x="255" y="80"/>
                      <a:pt x="255" y="76"/>
                    </a:cubicBezTo>
                    <a:cubicBezTo>
                      <a:pt x="255" y="75"/>
                      <a:pt x="255" y="74"/>
                      <a:pt x="256" y="73"/>
                    </a:cubicBezTo>
                    <a:cubicBezTo>
                      <a:pt x="257" y="72"/>
                      <a:pt x="257" y="71"/>
                      <a:pt x="257" y="70"/>
                    </a:cubicBezTo>
                    <a:cubicBezTo>
                      <a:pt x="258" y="69"/>
                      <a:pt x="259" y="69"/>
                      <a:pt x="259" y="67"/>
                    </a:cubicBezTo>
                    <a:cubicBezTo>
                      <a:pt x="259" y="64"/>
                      <a:pt x="258" y="63"/>
                      <a:pt x="256" y="60"/>
                    </a:cubicBezTo>
                    <a:cubicBezTo>
                      <a:pt x="256" y="60"/>
                      <a:pt x="256" y="59"/>
                      <a:pt x="256" y="58"/>
                    </a:cubicBezTo>
                    <a:cubicBezTo>
                      <a:pt x="256" y="57"/>
                      <a:pt x="255" y="56"/>
                      <a:pt x="255" y="55"/>
                    </a:cubicBezTo>
                    <a:cubicBezTo>
                      <a:pt x="255" y="49"/>
                      <a:pt x="255" y="49"/>
                      <a:pt x="255" y="49"/>
                    </a:cubicBezTo>
                    <a:cubicBezTo>
                      <a:pt x="255" y="49"/>
                      <a:pt x="255" y="48"/>
                      <a:pt x="255" y="48"/>
                    </a:cubicBezTo>
                    <a:cubicBezTo>
                      <a:pt x="255" y="46"/>
                      <a:pt x="255" y="45"/>
                      <a:pt x="255" y="43"/>
                    </a:cubicBezTo>
                    <a:cubicBezTo>
                      <a:pt x="255" y="42"/>
                      <a:pt x="255" y="41"/>
                      <a:pt x="254" y="40"/>
                    </a:cubicBezTo>
                    <a:cubicBezTo>
                      <a:pt x="254" y="39"/>
                      <a:pt x="254" y="38"/>
                      <a:pt x="253" y="37"/>
                    </a:cubicBezTo>
                    <a:cubicBezTo>
                      <a:pt x="253" y="37"/>
                      <a:pt x="253" y="36"/>
                      <a:pt x="253" y="36"/>
                    </a:cubicBezTo>
                    <a:cubicBezTo>
                      <a:pt x="253" y="35"/>
                      <a:pt x="252" y="35"/>
                      <a:pt x="251" y="35"/>
                    </a:cubicBezTo>
                    <a:cubicBezTo>
                      <a:pt x="250" y="35"/>
                      <a:pt x="250" y="35"/>
                      <a:pt x="249" y="35"/>
                    </a:cubicBezTo>
                    <a:cubicBezTo>
                      <a:pt x="247" y="35"/>
                      <a:pt x="246" y="35"/>
                      <a:pt x="245" y="34"/>
                    </a:cubicBezTo>
                    <a:cubicBezTo>
                      <a:pt x="243" y="34"/>
                      <a:pt x="243" y="33"/>
                      <a:pt x="241" y="32"/>
                    </a:cubicBezTo>
                    <a:cubicBezTo>
                      <a:pt x="240" y="31"/>
                      <a:pt x="240" y="30"/>
                      <a:pt x="239" y="30"/>
                    </a:cubicBezTo>
                    <a:cubicBezTo>
                      <a:pt x="238" y="29"/>
                      <a:pt x="238" y="29"/>
                      <a:pt x="238" y="28"/>
                    </a:cubicBezTo>
                    <a:cubicBezTo>
                      <a:pt x="236" y="26"/>
                      <a:pt x="235" y="25"/>
                      <a:pt x="234" y="23"/>
                    </a:cubicBezTo>
                    <a:cubicBezTo>
                      <a:pt x="234" y="22"/>
                      <a:pt x="233" y="22"/>
                      <a:pt x="233" y="21"/>
                    </a:cubicBezTo>
                    <a:cubicBezTo>
                      <a:pt x="233" y="20"/>
                      <a:pt x="233" y="20"/>
                      <a:pt x="232" y="19"/>
                    </a:cubicBezTo>
                    <a:cubicBezTo>
                      <a:pt x="231" y="18"/>
                      <a:pt x="230" y="18"/>
                      <a:pt x="228" y="18"/>
                    </a:cubicBezTo>
                    <a:cubicBezTo>
                      <a:pt x="227" y="18"/>
                      <a:pt x="226" y="17"/>
                      <a:pt x="224" y="17"/>
                    </a:cubicBezTo>
                    <a:cubicBezTo>
                      <a:pt x="224" y="16"/>
                      <a:pt x="223" y="16"/>
                      <a:pt x="222" y="16"/>
                    </a:cubicBezTo>
                    <a:cubicBezTo>
                      <a:pt x="222" y="16"/>
                      <a:pt x="221" y="15"/>
                      <a:pt x="221" y="15"/>
                    </a:cubicBezTo>
                    <a:cubicBezTo>
                      <a:pt x="221" y="15"/>
                      <a:pt x="221" y="14"/>
                      <a:pt x="220" y="14"/>
                    </a:cubicBezTo>
                    <a:cubicBezTo>
                      <a:pt x="220" y="12"/>
                      <a:pt x="219" y="12"/>
                      <a:pt x="218" y="11"/>
                    </a:cubicBezTo>
                    <a:cubicBezTo>
                      <a:pt x="217" y="10"/>
                      <a:pt x="217" y="10"/>
                      <a:pt x="217" y="9"/>
                    </a:cubicBezTo>
                    <a:cubicBezTo>
                      <a:pt x="216" y="7"/>
                      <a:pt x="215" y="6"/>
                      <a:pt x="214" y="4"/>
                    </a:cubicBezTo>
                    <a:cubicBezTo>
                      <a:pt x="214" y="4"/>
                      <a:pt x="214" y="3"/>
                      <a:pt x="214" y="2"/>
                    </a:cubicBezTo>
                    <a:cubicBezTo>
                      <a:pt x="210" y="2"/>
                      <a:pt x="207" y="1"/>
                      <a:pt x="204" y="0"/>
                    </a:cubicBezTo>
                    <a:cubicBezTo>
                      <a:pt x="204" y="15"/>
                      <a:pt x="204" y="15"/>
                      <a:pt x="204" y="15"/>
                    </a:cubicBezTo>
                    <a:cubicBezTo>
                      <a:pt x="204" y="15"/>
                      <a:pt x="203" y="16"/>
                      <a:pt x="203" y="16"/>
                    </a:cubicBezTo>
                    <a:cubicBezTo>
                      <a:pt x="203" y="19"/>
                      <a:pt x="203" y="20"/>
                      <a:pt x="203" y="22"/>
                    </a:cubicBezTo>
                    <a:cubicBezTo>
                      <a:pt x="202" y="23"/>
                      <a:pt x="202" y="24"/>
                      <a:pt x="202" y="26"/>
                    </a:cubicBezTo>
                    <a:cubicBezTo>
                      <a:pt x="202" y="27"/>
                      <a:pt x="201" y="27"/>
                      <a:pt x="201" y="28"/>
                    </a:cubicBezTo>
                    <a:cubicBezTo>
                      <a:pt x="200" y="29"/>
                      <a:pt x="200" y="29"/>
                      <a:pt x="199" y="29"/>
                    </a:cubicBezTo>
                    <a:cubicBezTo>
                      <a:pt x="199" y="29"/>
                      <a:pt x="198" y="29"/>
                      <a:pt x="198" y="29"/>
                    </a:cubicBezTo>
                    <a:cubicBezTo>
                      <a:pt x="197" y="28"/>
                      <a:pt x="197" y="28"/>
                      <a:pt x="196" y="27"/>
                    </a:cubicBezTo>
                    <a:cubicBezTo>
                      <a:pt x="194" y="26"/>
                      <a:pt x="193" y="25"/>
                      <a:pt x="191" y="24"/>
                    </a:cubicBezTo>
                    <a:cubicBezTo>
                      <a:pt x="191" y="24"/>
                      <a:pt x="190" y="24"/>
                      <a:pt x="189" y="23"/>
                    </a:cubicBezTo>
                    <a:cubicBezTo>
                      <a:pt x="189" y="23"/>
                      <a:pt x="188" y="23"/>
                      <a:pt x="187" y="23"/>
                    </a:cubicBezTo>
                    <a:cubicBezTo>
                      <a:pt x="187" y="23"/>
                      <a:pt x="186" y="23"/>
                      <a:pt x="185" y="23"/>
                    </a:cubicBezTo>
                    <a:cubicBezTo>
                      <a:pt x="184" y="23"/>
                      <a:pt x="184" y="23"/>
                      <a:pt x="183" y="23"/>
                    </a:cubicBezTo>
                    <a:cubicBezTo>
                      <a:pt x="180" y="23"/>
                      <a:pt x="178" y="23"/>
                      <a:pt x="175" y="23"/>
                    </a:cubicBezTo>
                    <a:cubicBezTo>
                      <a:pt x="173" y="23"/>
                      <a:pt x="172" y="22"/>
                      <a:pt x="171" y="22"/>
                    </a:cubicBezTo>
                    <a:cubicBezTo>
                      <a:pt x="170" y="22"/>
                      <a:pt x="170" y="22"/>
                      <a:pt x="170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69" y="24"/>
                      <a:pt x="169" y="25"/>
                      <a:pt x="169" y="25"/>
                    </a:cubicBezTo>
                    <a:cubicBezTo>
                      <a:pt x="169" y="26"/>
                      <a:pt x="168" y="26"/>
                      <a:pt x="168" y="27"/>
                    </a:cubicBezTo>
                    <a:cubicBezTo>
                      <a:pt x="167" y="29"/>
                      <a:pt x="166" y="30"/>
                      <a:pt x="166" y="32"/>
                    </a:cubicBezTo>
                    <a:cubicBezTo>
                      <a:pt x="166" y="34"/>
                      <a:pt x="166" y="34"/>
                      <a:pt x="166" y="36"/>
                    </a:cubicBezTo>
                    <a:cubicBezTo>
                      <a:pt x="165" y="36"/>
                      <a:pt x="165" y="36"/>
                      <a:pt x="165" y="36"/>
                    </a:cubicBezTo>
                    <a:cubicBezTo>
                      <a:pt x="165" y="37"/>
                      <a:pt x="165" y="38"/>
                      <a:pt x="165" y="39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64" y="41"/>
                      <a:pt x="164" y="42"/>
                      <a:pt x="162" y="43"/>
                    </a:cubicBezTo>
                    <a:cubicBezTo>
                      <a:pt x="162" y="43"/>
                      <a:pt x="161" y="43"/>
                      <a:pt x="160" y="44"/>
                    </a:cubicBezTo>
                    <a:cubicBezTo>
                      <a:pt x="159" y="41"/>
                      <a:pt x="157" y="40"/>
                      <a:pt x="154" y="40"/>
                    </a:cubicBezTo>
                    <a:cubicBezTo>
                      <a:pt x="153" y="40"/>
                      <a:pt x="152" y="40"/>
                      <a:pt x="150" y="41"/>
                    </a:cubicBezTo>
                    <a:cubicBezTo>
                      <a:pt x="149" y="41"/>
                      <a:pt x="148" y="41"/>
                      <a:pt x="147" y="42"/>
                    </a:cubicBezTo>
                    <a:cubicBezTo>
                      <a:pt x="146" y="43"/>
                      <a:pt x="146" y="44"/>
                      <a:pt x="145" y="45"/>
                    </a:cubicBezTo>
                    <a:cubicBezTo>
                      <a:pt x="144" y="47"/>
                      <a:pt x="143" y="48"/>
                      <a:pt x="141" y="50"/>
                    </a:cubicBezTo>
                    <a:cubicBezTo>
                      <a:pt x="139" y="53"/>
                      <a:pt x="138" y="55"/>
                      <a:pt x="135" y="58"/>
                    </a:cubicBezTo>
                    <a:cubicBezTo>
                      <a:pt x="134" y="59"/>
                      <a:pt x="133" y="60"/>
                      <a:pt x="132" y="61"/>
                    </a:cubicBezTo>
                    <a:cubicBezTo>
                      <a:pt x="131" y="62"/>
                      <a:pt x="130" y="62"/>
                      <a:pt x="130" y="63"/>
                    </a:cubicBezTo>
                    <a:cubicBezTo>
                      <a:pt x="130" y="67"/>
                      <a:pt x="131" y="69"/>
                      <a:pt x="131" y="73"/>
                    </a:cubicBezTo>
                    <a:cubicBezTo>
                      <a:pt x="131" y="77"/>
                      <a:pt x="129" y="80"/>
                      <a:pt x="127" y="83"/>
                    </a:cubicBezTo>
                    <a:cubicBezTo>
                      <a:pt x="126" y="85"/>
                      <a:pt x="126" y="87"/>
                      <a:pt x="125" y="89"/>
                    </a:cubicBezTo>
                    <a:cubicBezTo>
                      <a:pt x="124" y="93"/>
                      <a:pt x="122" y="94"/>
                      <a:pt x="120" y="96"/>
                    </a:cubicBezTo>
                    <a:cubicBezTo>
                      <a:pt x="120" y="97"/>
                      <a:pt x="120" y="97"/>
                      <a:pt x="119" y="97"/>
                    </a:cubicBezTo>
                    <a:cubicBezTo>
                      <a:pt x="118" y="98"/>
                      <a:pt x="116" y="98"/>
                      <a:pt x="115" y="99"/>
                    </a:cubicBezTo>
                    <a:cubicBezTo>
                      <a:pt x="114" y="100"/>
                      <a:pt x="115" y="101"/>
                      <a:pt x="114" y="102"/>
                    </a:cubicBezTo>
                    <a:cubicBezTo>
                      <a:pt x="114" y="106"/>
                      <a:pt x="114" y="108"/>
                      <a:pt x="112" y="111"/>
                    </a:cubicBezTo>
                    <a:cubicBezTo>
                      <a:pt x="111" y="113"/>
                      <a:pt x="109" y="114"/>
                      <a:pt x="106" y="114"/>
                    </a:cubicBezTo>
                    <a:cubicBezTo>
                      <a:pt x="105" y="114"/>
                      <a:pt x="104" y="115"/>
                      <a:pt x="103" y="115"/>
                    </a:cubicBezTo>
                    <a:cubicBezTo>
                      <a:pt x="102" y="115"/>
                      <a:pt x="101" y="115"/>
                      <a:pt x="100" y="115"/>
                    </a:cubicBezTo>
                    <a:cubicBezTo>
                      <a:pt x="100" y="116"/>
                      <a:pt x="100" y="117"/>
                      <a:pt x="100" y="117"/>
                    </a:cubicBezTo>
                    <a:cubicBezTo>
                      <a:pt x="99" y="120"/>
                      <a:pt x="98" y="122"/>
                      <a:pt x="97" y="125"/>
                    </a:cubicBezTo>
                    <a:cubicBezTo>
                      <a:pt x="96" y="130"/>
                      <a:pt x="96" y="132"/>
                      <a:pt x="95" y="137"/>
                    </a:cubicBezTo>
                    <a:cubicBezTo>
                      <a:pt x="94" y="140"/>
                      <a:pt x="94" y="142"/>
                      <a:pt x="93" y="145"/>
                    </a:cubicBezTo>
                    <a:cubicBezTo>
                      <a:pt x="93" y="146"/>
                      <a:pt x="92" y="147"/>
                      <a:pt x="92" y="149"/>
                    </a:cubicBezTo>
                    <a:cubicBezTo>
                      <a:pt x="92" y="152"/>
                      <a:pt x="93" y="154"/>
                      <a:pt x="92" y="157"/>
                    </a:cubicBezTo>
                    <a:cubicBezTo>
                      <a:pt x="92" y="159"/>
                      <a:pt x="91" y="160"/>
                      <a:pt x="91" y="161"/>
                    </a:cubicBezTo>
                    <a:cubicBezTo>
                      <a:pt x="89" y="166"/>
                      <a:pt x="88" y="168"/>
                      <a:pt x="86" y="172"/>
                    </a:cubicBezTo>
                    <a:cubicBezTo>
                      <a:pt x="85" y="175"/>
                      <a:pt x="84" y="176"/>
                      <a:pt x="83" y="179"/>
                    </a:cubicBezTo>
                    <a:cubicBezTo>
                      <a:pt x="81" y="182"/>
                      <a:pt x="78" y="184"/>
                      <a:pt x="78" y="188"/>
                    </a:cubicBezTo>
                    <a:cubicBezTo>
                      <a:pt x="78" y="188"/>
                      <a:pt x="79" y="189"/>
                      <a:pt x="80" y="190"/>
                    </a:cubicBezTo>
                    <a:cubicBezTo>
                      <a:pt x="80" y="192"/>
                      <a:pt x="80" y="193"/>
                      <a:pt x="81" y="195"/>
                    </a:cubicBezTo>
                    <a:cubicBezTo>
                      <a:pt x="82" y="198"/>
                      <a:pt x="83" y="201"/>
                      <a:pt x="83" y="204"/>
                    </a:cubicBezTo>
                    <a:cubicBezTo>
                      <a:pt x="83" y="208"/>
                      <a:pt x="82" y="211"/>
                      <a:pt x="78" y="211"/>
                    </a:cubicBezTo>
                    <a:cubicBezTo>
                      <a:pt x="77" y="211"/>
                      <a:pt x="77" y="211"/>
                      <a:pt x="76" y="211"/>
                    </a:cubicBezTo>
                    <a:cubicBezTo>
                      <a:pt x="72" y="210"/>
                      <a:pt x="70" y="210"/>
                      <a:pt x="66" y="209"/>
                    </a:cubicBezTo>
                    <a:cubicBezTo>
                      <a:pt x="65" y="209"/>
                      <a:pt x="64" y="208"/>
                      <a:pt x="62" y="208"/>
                    </a:cubicBezTo>
                    <a:cubicBezTo>
                      <a:pt x="61" y="208"/>
                      <a:pt x="61" y="209"/>
                      <a:pt x="60" y="209"/>
                    </a:cubicBezTo>
                    <a:cubicBezTo>
                      <a:pt x="59" y="210"/>
                      <a:pt x="59" y="210"/>
                      <a:pt x="57" y="211"/>
                    </a:cubicBezTo>
                    <a:cubicBezTo>
                      <a:pt x="56" y="211"/>
                      <a:pt x="54" y="212"/>
                      <a:pt x="53" y="213"/>
                    </a:cubicBezTo>
                    <a:cubicBezTo>
                      <a:pt x="52" y="214"/>
                      <a:pt x="52" y="215"/>
                      <a:pt x="51" y="217"/>
                    </a:cubicBezTo>
                    <a:cubicBezTo>
                      <a:pt x="49" y="218"/>
                      <a:pt x="48" y="219"/>
                      <a:pt x="47" y="221"/>
                    </a:cubicBezTo>
                    <a:cubicBezTo>
                      <a:pt x="46" y="223"/>
                      <a:pt x="45" y="224"/>
                      <a:pt x="44" y="226"/>
                    </a:cubicBezTo>
                    <a:cubicBezTo>
                      <a:pt x="43" y="229"/>
                      <a:pt x="43" y="231"/>
                      <a:pt x="42" y="235"/>
                    </a:cubicBezTo>
                    <a:cubicBezTo>
                      <a:pt x="42" y="238"/>
                      <a:pt x="42" y="239"/>
                      <a:pt x="42" y="242"/>
                    </a:cubicBezTo>
                    <a:cubicBezTo>
                      <a:pt x="41" y="244"/>
                      <a:pt x="40" y="245"/>
                      <a:pt x="40" y="247"/>
                    </a:cubicBezTo>
                    <a:cubicBezTo>
                      <a:pt x="40" y="258"/>
                      <a:pt x="40" y="258"/>
                      <a:pt x="40" y="258"/>
                    </a:cubicBezTo>
                    <a:cubicBezTo>
                      <a:pt x="40" y="262"/>
                      <a:pt x="39" y="263"/>
                      <a:pt x="39" y="267"/>
                    </a:cubicBezTo>
                    <a:cubicBezTo>
                      <a:pt x="39" y="272"/>
                      <a:pt x="39" y="272"/>
                      <a:pt x="39" y="272"/>
                    </a:cubicBezTo>
                    <a:cubicBezTo>
                      <a:pt x="39" y="272"/>
                      <a:pt x="39" y="273"/>
                      <a:pt x="39" y="274"/>
                    </a:cubicBezTo>
                    <a:cubicBezTo>
                      <a:pt x="40" y="277"/>
                      <a:pt x="40" y="278"/>
                      <a:pt x="40" y="282"/>
                    </a:cubicBezTo>
                    <a:cubicBezTo>
                      <a:pt x="40" y="286"/>
                      <a:pt x="40" y="289"/>
                      <a:pt x="39" y="294"/>
                    </a:cubicBezTo>
                    <a:cubicBezTo>
                      <a:pt x="39" y="296"/>
                      <a:pt x="38" y="297"/>
                      <a:pt x="38" y="300"/>
                    </a:cubicBezTo>
                    <a:cubicBezTo>
                      <a:pt x="38" y="302"/>
                      <a:pt x="37" y="303"/>
                      <a:pt x="37" y="305"/>
                    </a:cubicBezTo>
                    <a:cubicBezTo>
                      <a:pt x="37" y="307"/>
                      <a:pt x="38" y="308"/>
                      <a:pt x="39" y="309"/>
                    </a:cubicBezTo>
                    <a:cubicBezTo>
                      <a:pt x="40" y="311"/>
                      <a:pt x="41" y="312"/>
                      <a:pt x="42" y="314"/>
                    </a:cubicBezTo>
                    <a:cubicBezTo>
                      <a:pt x="43" y="317"/>
                      <a:pt x="45" y="318"/>
                      <a:pt x="45" y="321"/>
                    </a:cubicBezTo>
                    <a:cubicBezTo>
                      <a:pt x="45" y="323"/>
                      <a:pt x="45" y="324"/>
                      <a:pt x="44" y="325"/>
                    </a:cubicBezTo>
                    <a:cubicBezTo>
                      <a:pt x="44" y="326"/>
                      <a:pt x="44" y="328"/>
                      <a:pt x="43" y="329"/>
                    </a:cubicBezTo>
                    <a:cubicBezTo>
                      <a:pt x="41" y="331"/>
                      <a:pt x="38" y="331"/>
                      <a:pt x="37" y="333"/>
                    </a:cubicBezTo>
                    <a:cubicBezTo>
                      <a:pt x="36" y="334"/>
                      <a:pt x="36" y="335"/>
                      <a:pt x="36" y="336"/>
                    </a:cubicBezTo>
                    <a:cubicBezTo>
                      <a:pt x="35" y="339"/>
                      <a:pt x="35" y="340"/>
                      <a:pt x="34" y="342"/>
                    </a:cubicBezTo>
                    <a:cubicBezTo>
                      <a:pt x="33" y="344"/>
                      <a:pt x="33" y="345"/>
                      <a:pt x="33" y="347"/>
                    </a:cubicBezTo>
                    <a:cubicBezTo>
                      <a:pt x="33" y="348"/>
                      <a:pt x="33" y="348"/>
                      <a:pt x="34" y="349"/>
                    </a:cubicBezTo>
                    <a:cubicBezTo>
                      <a:pt x="35" y="350"/>
                      <a:pt x="36" y="351"/>
                      <a:pt x="37" y="352"/>
                    </a:cubicBezTo>
                    <a:cubicBezTo>
                      <a:pt x="38" y="354"/>
                      <a:pt x="39" y="356"/>
                      <a:pt x="39" y="358"/>
                    </a:cubicBezTo>
                    <a:cubicBezTo>
                      <a:pt x="39" y="361"/>
                      <a:pt x="37" y="363"/>
                      <a:pt x="36" y="366"/>
                    </a:cubicBezTo>
                    <a:cubicBezTo>
                      <a:pt x="36" y="369"/>
                      <a:pt x="35" y="371"/>
                      <a:pt x="33" y="373"/>
                    </a:cubicBezTo>
                    <a:cubicBezTo>
                      <a:pt x="32" y="376"/>
                      <a:pt x="31" y="378"/>
                      <a:pt x="29" y="380"/>
                    </a:cubicBezTo>
                    <a:cubicBezTo>
                      <a:pt x="27" y="383"/>
                      <a:pt x="26" y="385"/>
                      <a:pt x="23" y="386"/>
                    </a:cubicBezTo>
                    <a:cubicBezTo>
                      <a:pt x="22" y="387"/>
                      <a:pt x="22" y="387"/>
                      <a:pt x="21" y="388"/>
                    </a:cubicBezTo>
                    <a:cubicBezTo>
                      <a:pt x="20" y="389"/>
                      <a:pt x="21" y="391"/>
                      <a:pt x="20" y="393"/>
                    </a:cubicBezTo>
                    <a:cubicBezTo>
                      <a:pt x="19" y="395"/>
                      <a:pt x="18" y="396"/>
                      <a:pt x="17" y="399"/>
                    </a:cubicBezTo>
                    <a:cubicBezTo>
                      <a:pt x="15" y="404"/>
                      <a:pt x="15" y="407"/>
                      <a:pt x="13" y="413"/>
                    </a:cubicBezTo>
                    <a:cubicBezTo>
                      <a:pt x="13" y="414"/>
                      <a:pt x="13" y="415"/>
                      <a:pt x="13" y="417"/>
                    </a:cubicBezTo>
                    <a:cubicBezTo>
                      <a:pt x="12" y="419"/>
                      <a:pt x="12" y="420"/>
                      <a:pt x="10" y="421"/>
                    </a:cubicBezTo>
                    <a:cubicBezTo>
                      <a:pt x="10" y="422"/>
                      <a:pt x="9" y="421"/>
                      <a:pt x="8" y="421"/>
                    </a:cubicBezTo>
                    <a:cubicBezTo>
                      <a:pt x="8" y="421"/>
                      <a:pt x="8" y="421"/>
                      <a:pt x="8" y="421"/>
                    </a:cubicBezTo>
                    <a:cubicBezTo>
                      <a:pt x="8" y="421"/>
                      <a:pt x="7" y="421"/>
                      <a:pt x="7" y="421"/>
                    </a:cubicBezTo>
                    <a:cubicBezTo>
                      <a:pt x="5" y="421"/>
                      <a:pt x="3" y="422"/>
                      <a:pt x="3" y="423"/>
                    </a:cubicBezTo>
                    <a:cubicBezTo>
                      <a:pt x="3" y="428"/>
                      <a:pt x="3" y="428"/>
                      <a:pt x="3" y="428"/>
                    </a:cubicBezTo>
                    <a:cubicBezTo>
                      <a:pt x="3" y="430"/>
                      <a:pt x="2" y="431"/>
                      <a:pt x="2" y="433"/>
                    </a:cubicBezTo>
                    <a:cubicBezTo>
                      <a:pt x="2" y="436"/>
                      <a:pt x="2" y="436"/>
                      <a:pt x="2" y="436"/>
                    </a:cubicBezTo>
                    <a:cubicBezTo>
                      <a:pt x="2" y="438"/>
                      <a:pt x="1" y="439"/>
                      <a:pt x="1" y="440"/>
                    </a:cubicBezTo>
                    <a:cubicBezTo>
                      <a:pt x="1" y="442"/>
                      <a:pt x="2" y="443"/>
                      <a:pt x="2" y="444"/>
                    </a:cubicBezTo>
                    <a:cubicBezTo>
                      <a:pt x="2" y="445"/>
                      <a:pt x="1" y="445"/>
                      <a:pt x="0" y="445"/>
                    </a:cubicBezTo>
                    <a:cubicBezTo>
                      <a:pt x="0" y="446"/>
                      <a:pt x="0" y="447"/>
                      <a:pt x="0" y="448"/>
                    </a:cubicBezTo>
                    <a:cubicBezTo>
                      <a:pt x="0" y="448"/>
                      <a:pt x="0" y="449"/>
                      <a:pt x="0" y="449"/>
                    </a:cubicBezTo>
                    <a:cubicBezTo>
                      <a:pt x="0" y="449"/>
                      <a:pt x="1" y="449"/>
                      <a:pt x="2" y="449"/>
                    </a:cubicBezTo>
                    <a:cubicBezTo>
                      <a:pt x="3" y="449"/>
                      <a:pt x="3" y="447"/>
                      <a:pt x="4" y="446"/>
                    </a:cubicBezTo>
                    <a:cubicBezTo>
                      <a:pt x="4" y="446"/>
                      <a:pt x="5" y="446"/>
                      <a:pt x="6" y="446"/>
                    </a:cubicBezTo>
                    <a:cubicBezTo>
                      <a:pt x="6" y="447"/>
                      <a:pt x="5" y="448"/>
                      <a:pt x="5" y="449"/>
                    </a:cubicBezTo>
                    <a:cubicBezTo>
                      <a:pt x="5" y="450"/>
                      <a:pt x="5" y="451"/>
                      <a:pt x="4" y="452"/>
                    </a:cubicBezTo>
                    <a:cubicBezTo>
                      <a:pt x="5" y="452"/>
                      <a:pt x="5" y="452"/>
                      <a:pt x="5" y="452"/>
                    </a:cubicBezTo>
                    <a:cubicBezTo>
                      <a:pt x="6" y="451"/>
                      <a:pt x="7" y="450"/>
                      <a:pt x="8" y="449"/>
                    </a:cubicBezTo>
                    <a:cubicBezTo>
                      <a:pt x="8" y="448"/>
                      <a:pt x="8" y="448"/>
                      <a:pt x="9" y="447"/>
                    </a:cubicBezTo>
                    <a:cubicBezTo>
                      <a:pt x="9" y="447"/>
                      <a:pt x="9" y="446"/>
                      <a:pt x="10" y="446"/>
                    </a:cubicBezTo>
                    <a:cubicBezTo>
                      <a:pt x="10" y="446"/>
                      <a:pt x="11" y="446"/>
                      <a:pt x="11" y="447"/>
                    </a:cubicBezTo>
                    <a:cubicBezTo>
                      <a:pt x="11" y="449"/>
                      <a:pt x="9" y="449"/>
                      <a:pt x="9" y="451"/>
                    </a:cubicBezTo>
                    <a:cubicBezTo>
                      <a:pt x="9" y="452"/>
                      <a:pt x="10" y="452"/>
                      <a:pt x="11" y="452"/>
                    </a:cubicBezTo>
                    <a:cubicBezTo>
                      <a:pt x="11" y="452"/>
                      <a:pt x="11" y="451"/>
                      <a:pt x="11" y="451"/>
                    </a:cubicBezTo>
                    <a:cubicBezTo>
                      <a:pt x="11" y="450"/>
                      <a:pt x="11" y="450"/>
                      <a:pt x="12" y="449"/>
                    </a:cubicBezTo>
                    <a:cubicBezTo>
                      <a:pt x="12" y="449"/>
                      <a:pt x="12" y="449"/>
                      <a:pt x="12" y="449"/>
                    </a:cubicBezTo>
                    <a:cubicBezTo>
                      <a:pt x="13" y="450"/>
                      <a:pt x="14" y="450"/>
                      <a:pt x="16" y="450"/>
                    </a:cubicBezTo>
                    <a:cubicBezTo>
                      <a:pt x="17" y="450"/>
                      <a:pt x="18" y="450"/>
                      <a:pt x="18" y="451"/>
                    </a:cubicBezTo>
                    <a:cubicBezTo>
                      <a:pt x="18" y="453"/>
                      <a:pt x="16" y="453"/>
                      <a:pt x="15" y="453"/>
                    </a:cubicBezTo>
                    <a:cubicBezTo>
                      <a:pt x="14" y="457"/>
                      <a:pt x="13" y="459"/>
                      <a:pt x="12" y="463"/>
                    </a:cubicBezTo>
                    <a:cubicBezTo>
                      <a:pt x="12" y="465"/>
                      <a:pt x="12" y="466"/>
                      <a:pt x="11" y="468"/>
                    </a:cubicBezTo>
                    <a:cubicBezTo>
                      <a:pt x="11" y="469"/>
                      <a:pt x="10" y="470"/>
                      <a:pt x="10" y="471"/>
                    </a:cubicBezTo>
                    <a:cubicBezTo>
                      <a:pt x="10" y="471"/>
                      <a:pt x="9" y="471"/>
                      <a:pt x="9" y="472"/>
                    </a:cubicBezTo>
                    <a:cubicBezTo>
                      <a:pt x="9" y="473"/>
                      <a:pt x="9" y="473"/>
                      <a:pt x="9" y="473"/>
                    </a:cubicBezTo>
                    <a:cubicBezTo>
                      <a:pt x="10" y="473"/>
                      <a:pt x="11" y="473"/>
                      <a:pt x="12" y="473"/>
                    </a:cubicBezTo>
                    <a:cubicBezTo>
                      <a:pt x="12" y="473"/>
                      <a:pt x="12" y="473"/>
                      <a:pt x="12" y="473"/>
                    </a:cubicBezTo>
                    <a:cubicBezTo>
                      <a:pt x="12" y="476"/>
                      <a:pt x="10" y="477"/>
                      <a:pt x="10" y="480"/>
                    </a:cubicBezTo>
                    <a:cubicBezTo>
                      <a:pt x="9" y="482"/>
                      <a:pt x="10" y="483"/>
                      <a:pt x="10" y="485"/>
                    </a:cubicBezTo>
                    <a:cubicBezTo>
                      <a:pt x="9" y="486"/>
                      <a:pt x="9" y="488"/>
                      <a:pt x="9" y="489"/>
                    </a:cubicBezTo>
                    <a:cubicBezTo>
                      <a:pt x="9" y="496"/>
                      <a:pt x="9" y="496"/>
                      <a:pt x="9" y="496"/>
                    </a:cubicBezTo>
                    <a:cubicBezTo>
                      <a:pt x="10" y="493"/>
                      <a:pt x="12" y="492"/>
                      <a:pt x="14" y="489"/>
                    </a:cubicBezTo>
                    <a:cubicBezTo>
                      <a:pt x="14" y="489"/>
                      <a:pt x="14" y="489"/>
                      <a:pt x="14" y="489"/>
                    </a:cubicBezTo>
                    <a:cubicBezTo>
                      <a:pt x="14" y="491"/>
                      <a:pt x="14" y="493"/>
                      <a:pt x="14" y="495"/>
                    </a:cubicBezTo>
                    <a:cubicBezTo>
                      <a:pt x="13" y="497"/>
                      <a:pt x="13" y="497"/>
                      <a:pt x="13" y="499"/>
                    </a:cubicBezTo>
                    <a:cubicBezTo>
                      <a:pt x="13" y="505"/>
                      <a:pt x="13" y="505"/>
                      <a:pt x="13" y="505"/>
                    </a:cubicBezTo>
                    <a:cubicBezTo>
                      <a:pt x="13" y="506"/>
                      <a:pt x="13" y="507"/>
                      <a:pt x="14" y="508"/>
                    </a:cubicBezTo>
                    <a:cubicBezTo>
                      <a:pt x="14" y="509"/>
                      <a:pt x="15" y="509"/>
                      <a:pt x="16" y="510"/>
                    </a:cubicBezTo>
                    <a:cubicBezTo>
                      <a:pt x="17" y="511"/>
                      <a:pt x="16" y="513"/>
                      <a:pt x="17" y="514"/>
                    </a:cubicBezTo>
                    <a:cubicBezTo>
                      <a:pt x="18" y="515"/>
                      <a:pt x="19" y="515"/>
                      <a:pt x="20" y="516"/>
                    </a:cubicBezTo>
                    <a:cubicBezTo>
                      <a:pt x="21" y="517"/>
                      <a:pt x="21" y="518"/>
                      <a:pt x="21" y="519"/>
                    </a:cubicBezTo>
                    <a:cubicBezTo>
                      <a:pt x="21" y="521"/>
                      <a:pt x="22" y="522"/>
                      <a:pt x="22" y="523"/>
                    </a:cubicBezTo>
                    <a:cubicBezTo>
                      <a:pt x="23" y="526"/>
                      <a:pt x="26" y="525"/>
                      <a:pt x="27" y="527"/>
                    </a:cubicBezTo>
                    <a:cubicBezTo>
                      <a:pt x="27" y="528"/>
                      <a:pt x="28" y="529"/>
                      <a:pt x="28" y="530"/>
                    </a:cubicBezTo>
                    <a:cubicBezTo>
                      <a:pt x="28" y="531"/>
                      <a:pt x="27" y="533"/>
                      <a:pt x="26" y="533"/>
                    </a:cubicBezTo>
                    <a:cubicBezTo>
                      <a:pt x="24" y="534"/>
                      <a:pt x="22" y="534"/>
                      <a:pt x="22" y="536"/>
                    </a:cubicBezTo>
                    <a:cubicBezTo>
                      <a:pt x="22" y="537"/>
                      <a:pt x="23" y="537"/>
                      <a:pt x="24" y="538"/>
                    </a:cubicBezTo>
                    <a:cubicBezTo>
                      <a:pt x="25" y="538"/>
                      <a:pt x="25" y="540"/>
                      <a:pt x="25" y="541"/>
                    </a:cubicBezTo>
                    <a:cubicBezTo>
                      <a:pt x="25" y="544"/>
                      <a:pt x="25" y="544"/>
                      <a:pt x="25" y="544"/>
                    </a:cubicBezTo>
                    <a:cubicBezTo>
                      <a:pt x="25" y="545"/>
                      <a:pt x="25" y="546"/>
                      <a:pt x="23" y="546"/>
                    </a:cubicBezTo>
                    <a:cubicBezTo>
                      <a:pt x="22" y="546"/>
                      <a:pt x="22" y="545"/>
                      <a:pt x="21" y="544"/>
                    </a:cubicBezTo>
                    <a:cubicBezTo>
                      <a:pt x="19" y="543"/>
                      <a:pt x="18" y="542"/>
                      <a:pt x="16" y="542"/>
                    </a:cubicBezTo>
                    <a:cubicBezTo>
                      <a:pt x="17" y="544"/>
                      <a:pt x="18" y="545"/>
                      <a:pt x="19" y="547"/>
                    </a:cubicBezTo>
                    <a:cubicBezTo>
                      <a:pt x="20" y="550"/>
                      <a:pt x="19" y="552"/>
                      <a:pt x="20" y="554"/>
                    </a:cubicBezTo>
                    <a:cubicBezTo>
                      <a:pt x="20" y="559"/>
                      <a:pt x="23" y="561"/>
                      <a:pt x="23" y="566"/>
                    </a:cubicBezTo>
                    <a:cubicBezTo>
                      <a:pt x="23" y="569"/>
                      <a:pt x="23" y="569"/>
                      <a:pt x="23" y="569"/>
                    </a:cubicBezTo>
                    <a:cubicBezTo>
                      <a:pt x="25" y="570"/>
                      <a:pt x="27" y="571"/>
                      <a:pt x="27" y="573"/>
                    </a:cubicBezTo>
                    <a:cubicBezTo>
                      <a:pt x="27" y="574"/>
                      <a:pt x="25" y="574"/>
                      <a:pt x="25" y="575"/>
                    </a:cubicBezTo>
                    <a:cubicBezTo>
                      <a:pt x="24" y="576"/>
                      <a:pt x="24" y="576"/>
                      <a:pt x="24" y="577"/>
                    </a:cubicBezTo>
                    <a:cubicBezTo>
                      <a:pt x="24" y="579"/>
                      <a:pt x="24" y="580"/>
                      <a:pt x="24" y="582"/>
                    </a:cubicBezTo>
                    <a:cubicBezTo>
                      <a:pt x="24" y="584"/>
                      <a:pt x="25" y="584"/>
                      <a:pt x="26" y="585"/>
                    </a:cubicBezTo>
                    <a:cubicBezTo>
                      <a:pt x="28" y="586"/>
                      <a:pt x="29" y="587"/>
                      <a:pt x="32" y="587"/>
                    </a:cubicBezTo>
                    <a:cubicBezTo>
                      <a:pt x="33" y="587"/>
                      <a:pt x="34" y="587"/>
                      <a:pt x="36" y="586"/>
                    </a:cubicBezTo>
                    <a:cubicBezTo>
                      <a:pt x="38" y="586"/>
                      <a:pt x="38" y="586"/>
                      <a:pt x="40" y="586"/>
                    </a:cubicBezTo>
                    <a:cubicBezTo>
                      <a:pt x="42" y="585"/>
                      <a:pt x="43" y="583"/>
                      <a:pt x="45" y="583"/>
                    </a:cubicBezTo>
                    <a:cubicBezTo>
                      <a:pt x="46" y="583"/>
                      <a:pt x="46" y="584"/>
                      <a:pt x="47" y="584"/>
                    </a:cubicBezTo>
                    <a:cubicBezTo>
                      <a:pt x="50" y="584"/>
                      <a:pt x="50" y="584"/>
                      <a:pt x="50" y="584"/>
                    </a:cubicBezTo>
                    <a:cubicBezTo>
                      <a:pt x="53" y="584"/>
                      <a:pt x="54" y="587"/>
                      <a:pt x="58" y="587"/>
                    </a:cubicBezTo>
                    <a:cubicBezTo>
                      <a:pt x="59" y="587"/>
                      <a:pt x="59" y="586"/>
                      <a:pt x="59" y="585"/>
                    </a:cubicBezTo>
                    <a:cubicBezTo>
                      <a:pt x="60" y="583"/>
                      <a:pt x="61" y="582"/>
                      <a:pt x="61" y="580"/>
                    </a:cubicBezTo>
                    <a:cubicBezTo>
                      <a:pt x="61" y="578"/>
                      <a:pt x="60" y="578"/>
                      <a:pt x="60" y="577"/>
                    </a:cubicBezTo>
                    <a:cubicBezTo>
                      <a:pt x="58" y="574"/>
                      <a:pt x="58" y="572"/>
                      <a:pt x="58" y="569"/>
                    </a:cubicBezTo>
                    <a:cubicBezTo>
                      <a:pt x="58" y="566"/>
                      <a:pt x="59" y="565"/>
                      <a:pt x="60" y="562"/>
                    </a:cubicBezTo>
                    <a:cubicBezTo>
                      <a:pt x="62" y="559"/>
                      <a:pt x="64" y="556"/>
                      <a:pt x="67" y="556"/>
                    </a:cubicBezTo>
                    <a:cubicBezTo>
                      <a:pt x="69" y="556"/>
                      <a:pt x="69" y="558"/>
                      <a:pt x="70" y="558"/>
                    </a:cubicBezTo>
                    <a:cubicBezTo>
                      <a:pt x="71" y="558"/>
                      <a:pt x="71" y="558"/>
                      <a:pt x="71" y="558"/>
                    </a:cubicBezTo>
                    <a:cubicBezTo>
                      <a:pt x="71" y="557"/>
                      <a:pt x="71" y="557"/>
                      <a:pt x="71" y="557"/>
                    </a:cubicBezTo>
                    <a:cubicBezTo>
                      <a:pt x="70" y="556"/>
                      <a:pt x="69" y="555"/>
                      <a:pt x="69" y="553"/>
                    </a:cubicBezTo>
                    <a:cubicBezTo>
                      <a:pt x="69" y="551"/>
                      <a:pt x="69" y="551"/>
                      <a:pt x="69" y="551"/>
                    </a:cubicBezTo>
                    <a:cubicBezTo>
                      <a:pt x="73" y="551"/>
                      <a:pt x="77" y="550"/>
                      <a:pt x="79" y="553"/>
                    </a:cubicBezTo>
                    <a:cubicBezTo>
                      <a:pt x="82" y="553"/>
                      <a:pt x="82" y="553"/>
                      <a:pt x="82" y="553"/>
                    </a:cubicBezTo>
                    <a:cubicBezTo>
                      <a:pt x="83" y="553"/>
                      <a:pt x="83" y="555"/>
                      <a:pt x="84" y="555"/>
                    </a:cubicBezTo>
                    <a:cubicBezTo>
                      <a:pt x="84" y="555"/>
                      <a:pt x="84" y="555"/>
                      <a:pt x="85" y="555"/>
                    </a:cubicBezTo>
                    <a:cubicBezTo>
                      <a:pt x="85" y="554"/>
                      <a:pt x="86" y="554"/>
                      <a:pt x="86" y="554"/>
                    </a:cubicBezTo>
                    <a:cubicBezTo>
                      <a:pt x="88" y="554"/>
                      <a:pt x="88" y="555"/>
                      <a:pt x="90" y="556"/>
                    </a:cubicBezTo>
                    <a:cubicBezTo>
                      <a:pt x="92" y="557"/>
                      <a:pt x="93" y="558"/>
                      <a:pt x="95" y="558"/>
                    </a:cubicBezTo>
                    <a:cubicBezTo>
                      <a:pt x="96" y="558"/>
                      <a:pt x="96" y="559"/>
                      <a:pt x="97" y="559"/>
                    </a:cubicBezTo>
                    <a:cubicBezTo>
                      <a:pt x="98" y="559"/>
                      <a:pt x="98" y="558"/>
                      <a:pt x="98" y="558"/>
                    </a:cubicBezTo>
                    <a:cubicBezTo>
                      <a:pt x="99" y="557"/>
                      <a:pt x="99" y="556"/>
                      <a:pt x="99" y="555"/>
                    </a:cubicBezTo>
                    <a:cubicBezTo>
                      <a:pt x="100" y="554"/>
                      <a:pt x="101" y="553"/>
                      <a:pt x="102" y="552"/>
                    </a:cubicBezTo>
                    <a:cubicBezTo>
                      <a:pt x="103" y="549"/>
                      <a:pt x="103" y="547"/>
                      <a:pt x="104" y="544"/>
                    </a:cubicBezTo>
                    <a:cubicBezTo>
                      <a:pt x="104" y="542"/>
                      <a:pt x="105" y="541"/>
                      <a:pt x="106" y="539"/>
                    </a:cubicBezTo>
                    <a:cubicBezTo>
                      <a:pt x="106" y="538"/>
                      <a:pt x="106" y="537"/>
                      <a:pt x="106" y="536"/>
                    </a:cubicBezTo>
                    <a:cubicBezTo>
                      <a:pt x="108" y="533"/>
                      <a:pt x="109" y="531"/>
                      <a:pt x="111" y="528"/>
                    </a:cubicBezTo>
                    <a:cubicBezTo>
                      <a:pt x="111" y="525"/>
                      <a:pt x="111" y="525"/>
                      <a:pt x="111" y="525"/>
                    </a:cubicBezTo>
                    <a:cubicBezTo>
                      <a:pt x="111" y="522"/>
                      <a:pt x="113" y="520"/>
                      <a:pt x="113" y="517"/>
                    </a:cubicBezTo>
                    <a:cubicBezTo>
                      <a:pt x="113" y="516"/>
                      <a:pt x="113" y="515"/>
                      <a:pt x="113" y="514"/>
                    </a:cubicBezTo>
                    <a:cubicBezTo>
                      <a:pt x="113" y="513"/>
                      <a:pt x="114" y="512"/>
                      <a:pt x="115" y="510"/>
                    </a:cubicBezTo>
                    <a:cubicBezTo>
                      <a:pt x="115" y="510"/>
                      <a:pt x="115" y="511"/>
                      <a:pt x="116" y="511"/>
                    </a:cubicBezTo>
                    <a:cubicBezTo>
                      <a:pt x="116" y="511"/>
                      <a:pt x="116" y="510"/>
                      <a:pt x="117" y="509"/>
                    </a:cubicBezTo>
                    <a:cubicBezTo>
                      <a:pt x="118" y="508"/>
                      <a:pt x="118" y="507"/>
                      <a:pt x="118" y="505"/>
                    </a:cubicBezTo>
                    <a:cubicBezTo>
                      <a:pt x="118" y="500"/>
                      <a:pt x="118" y="500"/>
                      <a:pt x="118" y="500"/>
                    </a:cubicBezTo>
                    <a:cubicBezTo>
                      <a:pt x="118" y="498"/>
                      <a:pt x="119" y="497"/>
                      <a:pt x="119" y="495"/>
                    </a:cubicBezTo>
                    <a:cubicBezTo>
                      <a:pt x="119" y="493"/>
                      <a:pt x="117" y="493"/>
                      <a:pt x="117" y="491"/>
                    </a:cubicBezTo>
                    <a:cubicBezTo>
                      <a:pt x="117" y="490"/>
                      <a:pt x="119" y="491"/>
                      <a:pt x="119" y="490"/>
                    </a:cubicBezTo>
                    <a:cubicBezTo>
                      <a:pt x="120" y="489"/>
                      <a:pt x="120" y="488"/>
                      <a:pt x="120" y="488"/>
                    </a:cubicBezTo>
                    <a:cubicBezTo>
                      <a:pt x="120" y="486"/>
                      <a:pt x="120" y="486"/>
                      <a:pt x="120" y="485"/>
                    </a:cubicBezTo>
                    <a:cubicBezTo>
                      <a:pt x="120" y="483"/>
                      <a:pt x="120" y="483"/>
                      <a:pt x="120" y="483"/>
                    </a:cubicBezTo>
                    <a:cubicBezTo>
                      <a:pt x="118" y="483"/>
                      <a:pt x="115" y="481"/>
                      <a:pt x="115" y="478"/>
                    </a:cubicBezTo>
                    <a:cubicBezTo>
                      <a:pt x="115" y="477"/>
                      <a:pt x="115" y="477"/>
                      <a:pt x="115" y="477"/>
                    </a:cubicBezTo>
                    <a:cubicBezTo>
                      <a:pt x="116" y="477"/>
                      <a:pt x="116" y="477"/>
                      <a:pt x="116" y="477"/>
                    </a:cubicBezTo>
                    <a:cubicBezTo>
                      <a:pt x="117" y="477"/>
                      <a:pt x="117" y="476"/>
                      <a:pt x="118" y="476"/>
                    </a:cubicBezTo>
                    <a:cubicBezTo>
                      <a:pt x="119" y="476"/>
                      <a:pt x="120" y="476"/>
                      <a:pt x="121" y="477"/>
                    </a:cubicBezTo>
                    <a:cubicBezTo>
                      <a:pt x="122" y="477"/>
                      <a:pt x="122" y="477"/>
                      <a:pt x="123" y="477"/>
                    </a:cubicBezTo>
                    <a:cubicBezTo>
                      <a:pt x="123" y="478"/>
                      <a:pt x="124" y="478"/>
                      <a:pt x="124" y="478"/>
                    </a:cubicBezTo>
                    <a:cubicBezTo>
                      <a:pt x="125" y="477"/>
                      <a:pt x="125" y="476"/>
                      <a:pt x="125" y="475"/>
                    </a:cubicBezTo>
                    <a:cubicBezTo>
                      <a:pt x="125" y="472"/>
                      <a:pt x="123" y="470"/>
                      <a:pt x="121" y="467"/>
                    </a:cubicBezTo>
                    <a:cubicBezTo>
                      <a:pt x="122" y="467"/>
                      <a:pt x="123" y="467"/>
                      <a:pt x="124" y="467"/>
                    </a:cubicBezTo>
                    <a:cubicBezTo>
                      <a:pt x="125" y="467"/>
                      <a:pt x="126" y="467"/>
                      <a:pt x="126" y="466"/>
                    </a:cubicBezTo>
                    <a:cubicBezTo>
                      <a:pt x="126" y="464"/>
                      <a:pt x="125" y="463"/>
                      <a:pt x="123" y="462"/>
                    </a:cubicBezTo>
                    <a:cubicBezTo>
                      <a:pt x="123" y="461"/>
                      <a:pt x="123" y="461"/>
                      <a:pt x="122" y="460"/>
                    </a:cubicBezTo>
                    <a:cubicBezTo>
                      <a:pt x="120" y="459"/>
                      <a:pt x="118" y="458"/>
                      <a:pt x="118" y="456"/>
                    </a:cubicBezTo>
                    <a:cubicBezTo>
                      <a:pt x="118" y="456"/>
                      <a:pt x="119" y="456"/>
                      <a:pt x="119" y="456"/>
                    </a:cubicBezTo>
                    <a:cubicBezTo>
                      <a:pt x="119" y="455"/>
                      <a:pt x="119" y="455"/>
                      <a:pt x="119" y="454"/>
                    </a:cubicBezTo>
                    <a:cubicBezTo>
                      <a:pt x="120" y="454"/>
                      <a:pt x="120" y="454"/>
                      <a:pt x="120" y="454"/>
                    </a:cubicBezTo>
                    <a:cubicBezTo>
                      <a:pt x="121" y="454"/>
                      <a:pt x="121" y="455"/>
                      <a:pt x="122" y="456"/>
                    </a:cubicBezTo>
                    <a:cubicBezTo>
                      <a:pt x="123" y="456"/>
                      <a:pt x="123" y="456"/>
                      <a:pt x="124" y="456"/>
                    </a:cubicBezTo>
                    <a:cubicBezTo>
                      <a:pt x="125" y="457"/>
                      <a:pt x="126" y="458"/>
                      <a:pt x="127" y="458"/>
                    </a:cubicBezTo>
                    <a:cubicBezTo>
                      <a:pt x="128" y="458"/>
                      <a:pt x="128" y="458"/>
                      <a:pt x="128" y="458"/>
                    </a:cubicBezTo>
                    <a:cubicBezTo>
                      <a:pt x="128" y="457"/>
                      <a:pt x="128" y="457"/>
                      <a:pt x="128" y="456"/>
                    </a:cubicBezTo>
                    <a:cubicBezTo>
                      <a:pt x="128" y="455"/>
                      <a:pt x="127" y="455"/>
                      <a:pt x="126" y="454"/>
                    </a:cubicBezTo>
                    <a:cubicBezTo>
                      <a:pt x="125" y="452"/>
                      <a:pt x="124" y="452"/>
                      <a:pt x="122" y="451"/>
                    </a:cubicBezTo>
                    <a:cubicBezTo>
                      <a:pt x="120" y="451"/>
                      <a:pt x="119" y="450"/>
                      <a:pt x="118" y="450"/>
                    </a:cubicBezTo>
                    <a:cubicBezTo>
                      <a:pt x="117" y="450"/>
                      <a:pt x="115" y="450"/>
                      <a:pt x="115" y="449"/>
                    </a:cubicBezTo>
                    <a:cubicBezTo>
                      <a:pt x="115" y="447"/>
                      <a:pt x="118" y="447"/>
                      <a:pt x="120" y="447"/>
                    </a:cubicBezTo>
                    <a:cubicBezTo>
                      <a:pt x="122" y="447"/>
                      <a:pt x="124" y="447"/>
                      <a:pt x="126" y="447"/>
                    </a:cubicBezTo>
                    <a:cubicBezTo>
                      <a:pt x="129" y="447"/>
                      <a:pt x="128" y="443"/>
                      <a:pt x="130" y="442"/>
                    </a:cubicBezTo>
                    <a:cubicBezTo>
                      <a:pt x="131" y="442"/>
                      <a:pt x="132" y="442"/>
                      <a:pt x="134" y="442"/>
                    </a:cubicBezTo>
                    <a:cubicBezTo>
                      <a:pt x="135" y="442"/>
                      <a:pt x="135" y="441"/>
                      <a:pt x="136" y="440"/>
                    </a:cubicBezTo>
                    <a:cubicBezTo>
                      <a:pt x="138" y="439"/>
                      <a:pt x="138" y="438"/>
                      <a:pt x="139" y="437"/>
                    </a:cubicBezTo>
                    <a:cubicBezTo>
                      <a:pt x="140" y="436"/>
                      <a:pt x="141" y="436"/>
                      <a:pt x="141" y="435"/>
                    </a:cubicBezTo>
                    <a:cubicBezTo>
                      <a:pt x="141" y="433"/>
                      <a:pt x="141" y="431"/>
                      <a:pt x="141" y="428"/>
                    </a:cubicBezTo>
                    <a:cubicBezTo>
                      <a:pt x="142" y="429"/>
                      <a:pt x="143" y="428"/>
                      <a:pt x="144" y="428"/>
                    </a:cubicBezTo>
                    <a:cubicBezTo>
                      <a:pt x="146" y="428"/>
                      <a:pt x="146" y="428"/>
                      <a:pt x="146" y="428"/>
                    </a:cubicBezTo>
                    <a:cubicBezTo>
                      <a:pt x="146" y="430"/>
                      <a:pt x="146" y="430"/>
                      <a:pt x="146" y="430"/>
                    </a:cubicBezTo>
                    <a:cubicBezTo>
                      <a:pt x="145" y="436"/>
                      <a:pt x="145" y="436"/>
                      <a:pt x="145" y="436"/>
                    </a:cubicBezTo>
                    <a:cubicBezTo>
                      <a:pt x="145" y="437"/>
                      <a:pt x="146" y="437"/>
                      <a:pt x="146" y="438"/>
                    </a:cubicBezTo>
                    <a:cubicBezTo>
                      <a:pt x="146" y="439"/>
                      <a:pt x="146" y="440"/>
                      <a:pt x="147" y="440"/>
                    </a:cubicBezTo>
                    <a:cubicBezTo>
                      <a:pt x="148" y="440"/>
                      <a:pt x="148" y="440"/>
                      <a:pt x="149" y="439"/>
                    </a:cubicBezTo>
                    <a:cubicBezTo>
                      <a:pt x="149" y="439"/>
                      <a:pt x="150" y="440"/>
                      <a:pt x="150" y="439"/>
                    </a:cubicBezTo>
                    <a:cubicBezTo>
                      <a:pt x="151" y="439"/>
                      <a:pt x="151" y="438"/>
                      <a:pt x="151" y="437"/>
                    </a:cubicBezTo>
                    <a:cubicBezTo>
                      <a:pt x="151" y="437"/>
                      <a:pt x="150" y="436"/>
                      <a:pt x="150" y="436"/>
                    </a:cubicBezTo>
                    <a:cubicBezTo>
                      <a:pt x="150" y="434"/>
                      <a:pt x="152" y="433"/>
                      <a:pt x="154" y="433"/>
                    </a:cubicBezTo>
                    <a:cubicBezTo>
                      <a:pt x="155" y="432"/>
                      <a:pt x="155" y="429"/>
                      <a:pt x="156" y="428"/>
                    </a:cubicBezTo>
                    <a:cubicBezTo>
                      <a:pt x="158" y="428"/>
                      <a:pt x="160" y="427"/>
                      <a:pt x="160" y="426"/>
                    </a:cubicBezTo>
                    <a:cubicBezTo>
                      <a:pt x="160" y="424"/>
                      <a:pt x="157" y="424"/>
                      <a:pt x="157" y="422"/>
                    </a:cubicBezTo>
                    <a:cubicBezTo>
                      <a:pt x="157" y="422"/>
                      <a:pt x="157" y="421"/>
                      <a:pt x="157" y="421"/>
                    </a:cubicBezTo>
                    <a:cubicBezTo>
                      <a:pt x="158" y="421"/>
                      <a:pt x="158" y="420"/>
                      <a:pt x="159" y="420"/>
                    </a:cubicBezTo>
                    <a:cubicBezTo>
                      <a:pt x="160" y="421"/>
                      <a:pt x="161" y="422"/>
                      <a:pt x="162" y="422"/>
                    </a:cubicBezTo>
                    <a:cubicBezTo>
                      <a:pt x="163" y="422"/>
                      <a:pt x="163" y="422"/>
                      <a:pt x="163" y="422"/>
                    </a:cubicBezTo>
                    <a:cubicBezTo>
                      <a:pt x="165" y="422"/>
                      <a:pt x="165" y="421"/>
                      <a:pt x="167" y="421"/>
                    </a:cubicBezTo>
                    <a:cubicBezTo>
                      <a:pt x="168" y="421"/>
                      <a:pt x="169" y="421"/>
                      <a:pt x="169" y="420"/>
                    </a:cubicBezTo>
                    <a:cubicBezTo>
                      <a:pt x="169" y="419"/>
                      <a:pt x="169" y="418"/>
                      <a:pt x="168" y="418"/>
                    </a:cubicBezTo>
                    <a:cubicBezTo>
                      <a:pt x="166" y="416"/>
                      <a:pt x="165" y="417"/>
                      <a:pt x="162" y="417"/>
                    </a:cubicBezTo>
                    <a:cubicBezTo>
                      <a:pt x="160" y="417"/>
                      <a:pt x="159" y="417"/>
                      <a:pt x="157" y="418"/>
                    </a:cubicBezTo>
                    <a:cubicBezTo>
                      <a:pt x="155" y="419"/>
                      <a:pt x="153" y="418"/>
                      <a:pt x="150" y="419"/>
                    </a:cubicBezTo>
                    <a:cubicBezTo>
                      <a:pt x="149" y="419"/>
                      <a:pt x="149" y="420"/>
                      <a:pt x="148" y="420"/>
                    </a:cubicBezTo>
                    <a:cubicBezTo>
                      <a:pt x="146" y="421"/>
                      <a:pt x="145" y="421"/>
                      <a:pt x="143" y="421"/>
                    </a:cubicBezTo>
                    <a:cubicBezTo>
                      <a:pt x="141" y="421"/>
                      <a:pt x="141" y="421"/>
                      <a:pt x="141" y="421"/>
                    </a:cubicBezTo>
                    <a:cubicBezTo>
                      <a:pt x="140" y="421"/>
                      <a:pt x="139" y="421"/>
                      <a:pt x="138" y="421"/>
                    </a:cubicBezTo>
                    <a:cubicBezTo>
                      <a:pt x="137" y="421"/>
                      <a:pt x="137" y="421"/>
                      <a:pt x="136" y="421"/>
                    </a:cubicBezTo>
                    <a:cubicBezTo>
                      <a:pt x="132" y="421"/>
                      <a:pt x="132" y="421"/>
                      <a:pt x="132" y="421"/>
                    </a:cubicBezTo>
                    <a:cubicBezTo>
                      <a:pt x="133" y="420"/>
                      <a:pt x="134" y="419"/>
                      <a:pt x="134" y="418"/>
                    </a:cubicBezTo>
                    <a:cubicBezTo>
                      <a:pt x="134" y="415"/>
                      <a:pt x="130" y="416"/>
                      <a:pt x="128" y="415"/>
                    </a:cubicBezTo>
                    <a:cubicBezTo>
                      <a:pt x="126" y="414"/>
                      <a:pt x="125" y="412"/>
                      <a:pt x="123" y="412"/>
                    </a:cubicBezTo>
                    <a:cubicBezTo>
                      <a:pt x="122" y="412"/>
                      <a:pt x="121" y="412"/>
                      <a:pt x="120" y="412"/>
                    </a:cubicBezTo>
                    <a:cubicBezTo>
                      <a:pt x="118" y="412"/>
                      <a:pt x="118" y="412"/>
                      <a:pt x="116" y="412"/>
                    </a:cubicBezTo>
                    <a:cubicBezTo>
                      <a:pt x="114" y="412"/>
                      <a:pt x="113" y="412"/>
                      <a:pt x="110" y="413"/>
                    </a:cubicBezTo>
                    <a:cubicBezTo>
                      <a:pt x="110" y="412"/>
                      <a:pt x="110" y="411"/>
                      <a:pt x="110" y="410"/>
                    </a:cubicBezTo>
                    <a:cubicBezTo>
                      <a:pt x="111" y="410"/>
                      <a:pt x="112" y="410"/>
                      <a:pt x="113" y="410"/>
                    </a:cubicBezTo>
                    <a:cubicBezTo>
                      <a:pt x="115" y="409"/>
                      <a:pt x="115" y="408"/>
                      <a:pt x="116" y="408"/>
                    </a:cubicBezTo>
                    <a:cubicBezTo>
                      <a:pt x="117" y="408"/>
                      <a:pt x="117" y="409"/>
                      <a:pt x="118" y="409"/>
                    </a:cubicBezTo>
                    <a:cubicBezTo>
                      <a:pt x="119" y="409"/>
                      <a:pt x="119" y="408"/>
                      <a:pt x="121" y="408"/>
                    </a:cubicBezTo>
                    <a:cubicBezTo>
                      <a:pt x="122" y="408"/>
                      <a:pt x="122" y="409"/>
                      <a:pt x="123" y="409"/>
                    </a:cubicBezTo>
                    <a:cubicBezTo>
                      <a:pt x="124" y="409"/>
                      <a:pt x="124" y="408"/>
                      <a:pt x="126" y="408"/>
                    </a:cubicBezTo>
                    <a:cubicBezTo>
                      <a:pt x="126" y="408"/>
                      <a:pt x="127" y="409"/>
                      <a:pt x="128" y="409"/>
                    </a:cubicBezTo>
                    <a:cubicBezTo>
                      <a:pt x="129" y="409"/>
                      <a:pt x="129" y="408"/>
                      <a:pt x="130" y="408"/>
                    </a:cubicBezTo>
                    <a:cubicBezTo>
                      <a:pt x="133" y="408"/>
                      <a:pt x="134" y="409"/>
                      <a:pt x="136" y="409"/>
                    </a:cubicBezTo>
                    <a:cubicBezTo>
                      <a:pt x="138" y="409"/>
                      <a:pt x="139" y="409"/>
                      <a:pt x="141" y="410"/>
                    </a:cubicBezTo>
                    <a:cubicBezTo>
                      <a:pt x="141" y="409"/>
                      <a:pt x="142" y="409"/>
                      <a:pt x="142" y="409"/>
                    </a:cubicBezTo>
                    <a:cubicBezTo>
                      <a:pt x="142" y="408"/>
                      <a:pt x="140" y="408"/>
                      <a:pt x="140" y="407"/>
                    </a:cubicBezTo>
                    <a:cubicBezTo>
                      <a:pt x="139" y="406"/>
                      <a:pt x="139" y="406"/>
                      <a:pt x="139" y="405"/>
                    </a:cubicBezTo>
                    <a:cubicBezTo>
                      <a:pt x="139" y="404"/>
                      <a:pt x="139" y="404"/>
                      <a:pt x="139" y="404"/>
                    </a:cubicBezTo>
                    <a:cubicBezTo>
                      <a:pt x="139" y="404"/>
                      <a:pt x="140" y="403"/>
                      <a:pt x="140" y="403"/>
                    </a:cubicBezTo>
                    <a:cubicBezTo>
                      <a:pt x="141" y="403"/>
                      <a:pt x="141" y="404"/>
                      <a:pt x="143" y="404"/>
                    </a:cubicBezTo>
                    <a:cubicBezTo>
                      <a:pt x="143" y="405"/>
                      <a:pt x="144" y="405"/>
                      <a:pt x="145" y="405"/>
                    </a:cubicBezTo>
                    <a:cubicBezTo>
                      <a:pt x="146" y="407"/>
                      <a:pt x="146" y="408"/>
                      <a:pt x="147" y="410"/>
                    </a:cubicBezTo>
                    <a:cubicBezTo>
                      <a:pt x="147" y="412"/>
                      <a:pt x="149" y="411"/>
                      <a:pt x="151" y="412"/>
                    </a:cubicBezTo>
                    <a:cubicBezTo>
                      <a:pt x="151" y="412"/>
                      <a:pt x="151" y="413"/>
                      <a:pt x="152" y="413"/>
                    </a:cubicBezTo>
                    <a:cubicBezTo>
                      <a:pt x="152" y="413"/>
                      <a:pt x="153" y="413"/>
                      <a:pt x="154" y="413"/>
                    </a:cubicBezTo>
                    <a:cubicBezTo>
                      <a:pt x="157" y="413"/>
                      <a:pt x="157" y="413"/>
                      <a:pt x="157" y="413"/>
                    </a:cubicBezTo>
                    <a:cubicBezTo>
                      <a:pt x="158" y="413"/>
                      <a:pt x="159" y="413"/>
                      <a:pt x="160" y="412"/>
                    </a:cubicBezTo>
                    <a:cubicBezTo>
                      <a:pt x="163" y="411"/>
                      <a:pt x="166" y="411"/>
                      <a:pt x="168" y="409"/>
                    </a:cubicBezTo>
                    <a:cubicBezTo>
                      <a:pt x="169" y="408"/>
                      <a:pt x="169" y="408"/>
                      <a:pt x="169" y="407"/>
                    </a:cubicBezTo>
                    <a:cubicBezTo>
                      <a:pt x="170" y="406"/>
                      <a:pt x="171" y="406"/>
                      <a:pt x="173" y="405"/>
                    </a:cubicBezTo>
                    <a:cubicBezTo>
                      <a:pt x="173" y="405"/>
                      <a:pt x="173" y="404"/>
                      <a:pt x="174" y="404"/>
                    </a:cubicBezTo>
                    <a:cubicBezTo>
                      <a:pt x="175" y="404"/>
                      <a:pt x="177" y="404"/>
                      <a:pt x="178" y="402"/>
                    </a:cubicBezTo>
                    <a:cubicBezTo>
                      <a:pt x="177" y="402"/>
                      <a:pt x="176" y="402"/>
                      <a:pt x="175" y="402"/>
                    </a:cubicBezTo>
                    <a:cubicBezTo>
                      <a:pt x="174" y="402"/>
                      <a:pt x="173" y="403"/>
                      <a:pt x="171" y="403"/>
                    </a:cubicBezTo>
                    <a:cubicBezTo>
                      <a:pt x="169" y="403"/>
                      <a:pt x="168" y="402"/>
                      <a:pt x="166" y="401"/>
                    </a:cubicBezTo>
                    <a:cubicBezTo>
                      <a:pt x="166" y="400"/>
                      <a:pt x="166" y="400"/>
                      <a:pt x="166" y="400"/>
                    </a:cubicBezTo>
                    <a:cubicBezTo>
                      <a:pt x="168" y="399"/>
                      <a:pt x="169" y="400"/>
                      <a:pt x="171" y="399"/>
                    </a:cubicBezTo>
                    <a:cubicBezTo>
                      <a:pt x="173" y="398"/>
                      <a:pt x="175" y="397"/>
                      <a:pt x="175" y="394"/>
                    </a:cubicBezTo>
                    <a:cubicBezTo>
                      <a:pt x="175" y="390"/>
                      <a:pt x="175" y="390"/>
                      <a:pt x="175" y="390"/>
                    </a:cubicBezTo>
                    <a:cubicBezTo>
                      <a:pt x="175" y="389"/>
                      <a:pt x="173" y="388"/>
                      <a:pt x="173" y="387"/>
                    </a:cubicBezTo>
                    <a:cubicBezTo>
                      <a:pt x="172" y="387"/>
                      <a:pt x="172" y="388"/>
                      <a:pt x="172" y="389"/>
                    </a:cubicBezTo>
                    <a:cubicBezTo>
                      <a:pt x="171" y="390"/>
                      <a:pt x="171" y="391"/>
                      <a:pt x="169" y="391"/>
                    </a:cubicBezTo>
                    <a:cubicBezTo>
                      <a:pt x="164" y="383"/>
                      <a:pt x="164" y="383"/>
                      <a:pt x="164" y="383"/>
                    </a:cubicBezTo>
                    <a:cubicBezTo>
                      <a:pt x="165" y="383"/>
                      <a:pt x="165" y="383"/>
                      <a:pt x="165" y="383"/>
                    </a:cubicBezTo>
                    <a:cubicBezTo>
                      <a:pt x="167" y="383"/>
                      <a:pt x="168" y="385"/>
                      <a:pt x="170" y="385"/>
                    </a:cubicBezTo>
                    <a:cubicBezTo>
                      <a:pt x="171" y="385"/>
                      <a:pt x="173" y="385"/>
                      <a:pt x="173" y="383"/>
                    </a:cubicBezTo>
                    <a:cubicBezTo>
                      <a:pt x="173" y="382"/>
                      <a:pt x="171" y="382"/>
                      <a:pt x="170" y="381"/>
                    </a:cubicBezTo>
                    <a:cubicBezTo>
                      <a:pt x="168" y="380"/>
                      <a:pt x="166" y="380"/>
                      <a:pt x="165" y="378"/>
                    </a:cubicBezTo>
                    <a:cubicBezTo>
                      <a:pt x="164" y="377"/>
                      <a:pt x="163" y="377"/>
                      <a:pt x="163" y="376"/>
                    </a:cubicBezTo>
                    <a:cubicBezTo>
                      <a:pt x="162" y="375"/>
                      <a:pt x="163" y="374"/>
                      <a:pt x="162" y="373"/>
                    </a:cubicBezTo>
                    <a:cubicBezTo>
                      <a:pt x="162" y="372"/>
                      <a:pt x="161" y="370"/>
                      <a:pt x="159" y="370"/>
                    </a:cubicBezTo>
                    <a:cubicBezTo>
                      <a:pt x="158" y="370"/>
                      <a:pt x="157" y="370"/>
                      <a:pt x="156" y="371"/>
                    </a:cubicBezTo>
                    <a:cubicBezTo>
                      <a:pt x="156" y="371"/>
                      <a:pt x="156" y="372"/>
                      <a:pt x="156" y="373"/>
                    </a:cubicBezTo>
                    <a:cubicBezTo>
                      <a:pt x="155" y="374"/>
                      <a:pt x="155" y="375"/>
                      <a:pt x="155" y="376"/>
                    </a:cubicBezTo>
                    <a:cubicBezTo>
                      <a:pt x="153" y="376"/>
                      <a:pt x="153" y="376"/>
                      <a:pt x="153" y="376"/>
                    </a:cubicBezTo>
                    <a:cubicBezTo>
                      <a:pt x="153" y="375"/>
                      <a:pt x="153" y="375"/>
                      <a:pt x="153" y="374"/>
                    </a:cubicBezTo>
                    <a:cubicBezTo>
                      <a:pt x="153" y="372"/>
                      <a:pt x="150" y="371"/>
                      <a:pt x="150" y="369"/>
                    </a:cubicBezTo>
                    <a:cubicBezTo>
                      <a:pt x="150" y="366"/>
                      <a:pt x="150" y="366"/>
                      <a:pt x="150" y="366"/>
                    </a:cubicBezTo>
                    <a:cubicBezTo>
                      <a:pt x="150" y="365"/>
                      <a:pt x="150" y="364"/>
                      <a:pt x="149" y="364"/>
                    </a:cubicBezTo>
                    <a:cubicBezTo>
                      <a:pt x="148" y="364"/>
                      <a:pt x="148" y="365"/>
                      <a:pt x="148" y="365"/>
                    </a:cubicBezTo>
                    <a:cubicBezTo>
                      <a:pt x="146" y="365"/>
                      <a:pt x="145" y="365"/>
                      <a:pt x="144" y="365"/>
                    </a:cubicBezTo>
                    <a:cubicBezTo>
                      <a:pt x="144" y="366"/>
                      <a:pt x="144" y="367"/>
                      <a:pt x="144" y="368"/>
                    </a:cubicBezTo>
                    <a:cubicBezTo>
                      <a:pt x="144" y="368"/>
                      <a:pt x="144" y="369"/>
                      <a:pt x="144" y="369"/>
                    </a:cubicBezTo>
                    <a:cubicBezTo>
                      <a:pt x="144" y="370"/>
                      <a:pt x="143" y="370"/>
                      <a:pt x="142" y="371"/>
                    </a:cubicBezTo>
                    <a:cubicBezTo>
                      <a:pt x="141" y="373"/>
                      <a:pt x="140" y="375"/>
                      <a:pt x="138" y="377"/>
                    </a:cubicBezTo>
                    <a:cubicBezTo>
                      <a:pt x="136" y="378"/>
                      <a:pt x="136" y="380"/>
                      <a:pt x="134" y="380"/>
                    </a:cubicBezTo>
                    <a:cubicBezTo>
                      <a:pt x="132" y="380"/>
                      <a:pt x="130" y="380"/>
                      <a:pt x="130" y="382"/>
                    </a:cubicBezTo>
                    <a:cubicBezTo>
                      <a:pt x="130" y="383"/>
                      <a:pt x="131" y="383"/>
                      <a:pt x="131" y="384"/>
                    </a:cubicBezTo>
                    <a:cubicBezTo>
                      <a:pt x="131" y="385"/>
                      <a:pt x="130" y="385"/>
                      <a:pt x="128" y="385"/>
                    </a:cubicBezTo>
                    <a:cubicBezTo>
                      <a:pt x="127" y="385"/>
                      <a:pt x="126" y="384"/>
                      <a:pt x="124" y="383"/>
                    </a:cubicBezTo>
                    <a:cubicBezTo>
                      <a:pt x="125" y="381"/>
                      <a:pt x="127" y="381"/>
                      <a:pt x="127" y="379"/>
                    </a:cubicBezTo>
                    <a:cubicBezTo>
                      <a:pt x="129" y="379"/>
                      <a:pt x="131" y="377"/>
                      <a:pt x="132" y="376"/>
                    </a:cubicBezTo>
                    <a:cubicBezTo>
                      <a:pt x="134" y="374"/>
                      <a:pt x="136" y="374"/>
                      <a:pt x="138" y="372"/>
                    </a:cubicBezTo>
                    <a:cubicBezTo>
                      <a:pt x="138" y="372"/>
                      <a:pt x="139" y="372"/>
                      <a:pt x="139" y="371"/>
                    </a:cubicBezTo>
                    <a:cubicBezTo>
                      <a:pt x="140" y="370"/>
                      <a:pt x="140" y="369"/>
                      <a:pt x="140" y="367"/>
                    </a:cubicBezTo>
                    <a:cubicBezTo>
                      <a:pt x="141" y="366"/>
                      <a:pt x="142" y="365"/>
                      <a:pt x="142" y="364"/>
                    </a:cubicBezTo>
                    <a:cubicBezTo>
                      <a:pt x="142" y="362"/>
                      <a:pt x="142" y="362"/>
                      <a:pt x="141" y="361"/>
                    </a:cubicBezTo>
                    <a:cubicBezTo>
                      <a:pt x="140" y="361"/>
                      <a:pt x="140" y="361"/>
                      <a:pt x="139" y="361"/>
                    </a:cubicBezTo>
                    <a:cubicBezTo>
                      <a:pt x="138" y="361"/>
                      <a:pt x="138" y="360"/>
                      <a:pt x="137" y="359"/>
                    </a:cubicBezTo>
                    <a:cubicBezTo>
                      <a:pt x="137" y="359"/>
                      <a:pt x="136" y="359"/>
                      <a:pt x="136" y="358"/>
                    </a:cubicBezTo>
                    <a:cubicBezTo>
                      <a:pt x="136" y="357"/>
                      <a:pt x="136" y="357"/>
                      <a:pt x="136" y="357"/>
                    </a:cubicBezTo>
                    <a:cubicBezTo>
                      <a:pt x="138" y="357"/>
                      <a:pt x="138" y="357"/>
                      <a:pt x="138" y="357"/>
                    </a:cubicBezTo>
                    <a:cubicBezTo>
                      <a:pt x="138" y="357"/>
                      <a:pt x="138" y="356"/>
                      <a:pt x="138" y="356"/>
                    </a:cubicBezTo>
                    <a:cubicBezTo>
                      <a:pt x="138" y="352"/>
                      <a:pt x="135" y="351"/>
                      <a:pt x="135" y="347"/>
                    </a:cubicBezTo>
                    <a:cubicBezTo>
                      <a:pt x="135" y="345"/>
                      <a:pt x="136" y="344"/>
                      <a:pt x="136" y="342"/>
                    </a:cubicBezTo>
                    <a:cubicBezTo>
                      <a:pt x="136" y="341"/>
                      <a:pt x="135" y="341"/>
                      <a:pt x="135" y="340"/>
                    </a:cubicBezTo>
                    <a:cubicBezTo>
                      <a:pt x="135" y="339"/>
                      <a:pt x="136" y="339"/>
                      <a:pt x="136" y="338"/>
                    </a:cubicBezTo>
                    <a:cubicBezTo>
                      <a:pt x="138" y="338"/>
                      <a:pt x="138" y="338"/>
                      <a:pt x="138" y="338"/>
                    </a:cubicBezTo>
                    <a:cubicBezTo>
                      <a:pt x="138" y="338"/>
                      <a:pt x="138" y="337"/>
                      <a:pt x="138" y="337"/>
                    </a:cubicBezTo>
                    <a:cubicBezTo>
                      <a:pt x="138" y="335"/>
                      <a:pt x="136" y="334"/>
                      <a:pt x="136" y="332"/>
                    </a:cubicBezTo>
                    <a:cubicBezTo>
                      <a:pt x="136" y="332"/>
                      <a:pt x="136" y="332"/>
                      <a:pt x="136" y="332"/>
                    </a:cubicBezTo>
                    <a:cubicBezTo>
                      <a:pt x="137" y="330"/>
                      <a:pt x="136" y="329"/>
                      <a:pt x="137" y="328"/>
                    </a:cubicBezTo>
                    <a:cubicBezTo>
                      <a:pt x="137" y="327"/>
                      <a:pt x="137" y="327"/>
                      <a:pt x="137" y="327"/>
                    </a:cubicBezTo>
                    <a:cubicBezTo>
                      <a:pt x="136" y="327"/>
                      <a:pt x="135" y="327"/>
                      <a:pt x="134" y="326"/>
                    </a:cubicBezTo>
                    <a:cubicBezTo>
                      <a:pt x="135" y="325"/>
                      <a:pt x="136" y="326"/>
                      <a:pt x="137" y="326"/>
                    </a:cubicBezTo>
                    <a:cubicBezTo>
                      <a:pt x="139" y="325"/>
                      <a:pt x="139" y="323"/>
                      <a:pt x="139" y="321"/>
                    </a:cubicBezTo>
                    <a:cubicBezTo>
                      <a:pt x="139" y="319"/>
                      <a:pt x="139" y="319"/>
                      <a:pt x="139" y="319"/>
                    </a:cubicBezTo>
                    <a:cubicBezTo>
                      <a:pt x="139" y="318"/>
                      <a:pt x="138" y="318"/>
                      <a:pt x="137" y="317"/>
                    </a:cubicBezTo>
                    <a:cubicBezTo>
                      <a:pt x="136" y="316"/>
                      <a:pt x="136" y="315"/>
                      <a:pt x="136" y="313"/>
                    </a:cubicBezTo>
                    <a:cubicBezTo>
                      <a:pt x="136" y="312"/>
                      <a:pt x="136" y="312"/>
                      <a:pt x="136" y="312"/>
                    </a:cubicBezTo>
                    <a:cubicBezTo>
                      <a:pt x="137" y="312"/>
                      <a:pt x="137" y="312"/>
                      <a:pt x="137" y="312"/>
                    </a:cubicBezTo>
                    <a:cubicBezTo>
                      <a:pt x="138" y="312"/>
                      <a:pt x="138" y="313"/>
                      <a:pt x="139" y="314"/>
                    </a:cubicBezTo>
                    <a:cubicBezTo>
                      <a:pt x="140" y="314"/>
                      <a:pt x="141" y="315"/>
                      <a:pt x="142" y="315"/>
                    </a:cubicBezTo>
                    <a:cubicBezTo>
                      <a:pt x="143" y="316"/>
                      <a:pt x="143" y="317"/>
                      <a:pt x="144" y="317"/>
                    </a:cubicBezTo>
                    <a:cubicBezTo>
                      <a:pt x="144" y="318"/>
                      <a:pt x="145" y="318"/>
                      <a:pt x="146" y="318"/>
                    </a:cubicBezTo>
                    <a:cubicBezTo>
                      <a:pt x="146" y="317"/>
                      <a:pt x="146" y="317"/>
                      <a:pt x="146" y="315"/>
                    </a:cubicBezTo>
                    <a:cubicBezTo>
                      <a:pt x="146" y="314"/>
                      <a:pt x="145" y="315"/>
                      <a:pt x="145" y="314"/>
                    </a:cubicBezTo>
                    <a:cubicBezTo>
                      <a:pt x="144" y="314"/>
                      <a:pt x="144" y="313"/>
                      <a:pt x="144" y="312"/>
                    </a:cubicBezTo>
                    <a:cubicBezTo>
                      <a:pt x="143" y="311"/>
                      <a:pt x="142" y="311"/>
                      <a:pt x="142" y="310"/>
                    </a:cubicBezTo>
                    <a:cubicBezTo>
                      <a:pt x="142" y="308"/>
                      <a:pt x="144" y="307"/>
                      <a:pt x="145" y="306"/>
                    </a:cubicBezTo>
                    <a:cubicBezTo>
                      <a:pt x="146" y="304"/>
                      <a:pt x="146" y="302"/>
                      <a:pt x="146" y="300"/>
                    </a:cubicBezTo>
                    <a:cubicBezTo>
                      <a:pt x="146" y="299"/>
                      <a:pt x="145" y="298"/>
                      <a:pt x="145" y="297"/>
                    </a:cubicBezTo>
                    <a:cubicBezTo>
                      <a:pt x="147" y="297"/>
                      <a:pt x="147" y="297"/>
                      <a:pt x="148" y="297"/>
                    </a:cubicBezTo>
                    <a:cubicBezTo>
                      <a:pt x="149" y="297"/>
                      <a:pt x="149" y="297"/>
                      <a:pt x="149" y="296"/>
                    </a:cubicBezTo>
                    <a:cubicBezTo>
                      <a:pt x="149" y="295"/>
                      <a:pt x="148" y="295"/>
                      <a:pt x="147" y="294"/>
                    </a:cubicBezTo>
                    <a:cubicBezTo>
                      <a:pt x="145" y="293"/>
                      <a:pt x="144" y="292"/>
                      <a:pt x="143" y="291"/>
                    </a:cubicBezTo>
                    <a:cubicBezTo>
                      <a:pt x="142" y="291"/>
                      <a:pt x="142" y="290"/>
                      <a:pt x="142" y="290"/>
                    </a:cubicBezTo>
                    <a:cubicBezTo>
                      <a:pt x="141" y="289"/>
                      <a:pt x="141" y="288"/>
                      <a:pt x="141" y="287"/>
                    </a:cubicBezTo>
                    <a:cubicBezTo>
                      <a:pt x="141" y="286"/>
                      <a:pt x="141" y="285"/>
                      <a:pt x="141" y="284"/>
                    </a:cubicBezTo>
                    <a:cubicBezTo>
                      <a:pt x="141" y="284"/>
                      <a:pt x="141" y="283"/>
                      <a:pt x="140" y="283"/>
                    </a:cubicBezTo>
                    <a:cubicBezTo>
                      <a:pt x="141" y="283"/>
                      <a:pt x="141" y="283"/>
                      <a:pt x="142" y="282"/>
                    </a:cubicBezTo>
                    <a:cubicBezTo>
                      <a:pt x="142" y="282"/>
                      <a:pt x="143" y="281"/>
                      <a:pt x="143" y="281"/>
                    </a:cubicBezTo>
                    <a:cubicBezTo>
                      <a:pt x="144" y="282"/>
                      <a:pt x="145" y="283"/>
                      <a:pt x="147" y="283"/>
                    </a:cubicBezTo>
                    <a:cubicBezTo>
                      <a:pt x="148" y="283"/>
                      <a:pt x="148" y="284"/>
                      <a:pt x="148" y="285"/>
                    </a:cubicBezTo>
                    <a:cubicBezTo>
                      <a:pt x="149" y="285"/>
                      <a:pt x="150" y="285"/>
                      <a:pt x="151" y="285"/>
                    </a:cubicBezTo>
                    <a:cubicBezTo>
                      <a:pt x="152" y="282"/>
                      <a:pt x="155" y="282"/>
                      <a:pt x="155" y="279"/>
                    </a:cubicBezTo>
                    <a:cubicBezTo>
                      <a:pt x="155" y="278"/>
                      <a:pt x="153" y="278"/>
                      <a:pt x="153" y="277"/>
                    </a:cubicBezTo>
                    <a:cubicBezTo>
                      <a:pt x="153" y="276"/>
                      <a:pt x="153" y="275"/>
                      <a:pt x="154" y="275"/>
                    </a:cubicBezTo>
                    <a:cubicBezTo>
                      <a:pt x="154" y="275"/>
                      <a:pt x="154" y="275"/>
                      <a:pt x="155" y="275"/>
                    </a:cubicBezTo>
                    <a:cubicBezTo>
                      <a:pt x="155" y="275"/>
                      <a:pt x="155" y="275"/>
                      <a:pt x="155" y="274"/>
                    </a:cubicBezTo>
                    <a:cubicBezTo>
                      <a:pt x="155" y="273"/>
                      <a:pt x="154" y="272"/>
                      <a:pt x="154" y="271"/>
                    </a:cubicBezTo>
                    <a:cubicBezTo>
                      <a:pt x="153" y="269"/>
                      <a:pt x="153" y="268"/>
                      <a:pt x="152" y="266"/>
                    </a:cubicBezTo>
                    <a:cubicBezTo>
                      <a:pt x="152" y="265"/>
                      <a:pt x="152" y="265"/>
                      <a:pt x="152" y="265"/>
                    </a:cubicBezTo>
                    <a:cubicBezTo>
                      <a:pt x="151" y="263"/>
                      <a:pt x="151" y="262"/>
                      <a:pt x="151" y="260"/>
                    </a:cubicBezTo>
                    <a:cubicBezTo>
                      <a:pt x="151" y="259"/>
                      <a:pt x="151" y="259"/>
                      <a:pt x="151" y="258"/>
                    </a:cubicBezTo>
                    <a:cubicBezTo>
                      <a:pt x="153" y="259"/>
                      <a:pt x="154" y="260"/>
                      <a:pt x="155" y="262"/>
                    </a:cubicBezTo>
                    <a:cubicBezTo>
                      <a:pt x="155" y="263"/>
                      <a:pt x="154" y="265"/>
                      <a:pt x="156" y="266"/>
                    </a:cubicBezTo>
                    <a:cubicBezTo>
                      <a:pt x="159" y="265"/>
                      <a:pt x="159" y="265"/>
                      <a:pt x="159" y="265"/>
                    </a:cubicBezTo>
                    <a:cubicBezTo>
                      <a:pt x="160" y="266"/>
                      <a:pt x="161" y="266"/>
                      <a:pt x="161" y="267"/>
                    </a:cubicBezTo>
                    <a:cubicBezTo>
                      <a:pt x="161" y="269"/>
                      <a:pt x="161" y="269"/>
                      <a:pt x="161" y="269"/>
                    </a:cubicBezTo>
                    <a:cubicBezTo>
                      <a:pt x="162" y="269"/>
                      <a:pt x="162" y="269"/>
                      <a:pt x="162" y="269"/>
                    </a:cubicBezTo>
                    <a:cubicBezTo>
                      <a:pt x="164" y="269"/>
                      <a:pt x="164" y="268"/>
                      <a:pt x="165" y="266"/>
                    </a:cubicBezTo>
                    <a:cubicBezTo>
                      <a:pt x="167" y="264"/>
                      <a:pt x="168" y="263"/>
                      <a:pt x="170" y="261"/>
                    </a:cubicBezTo>
                    <a:cubicBezTo>
                      <a:pt x="168" y="261"/>
                      <a:pt x="166" y="261"/>
                      <a:pt x="164" y="259"/>
                    </a:cubicBezTo>
                    <a:cubicBezTo>
                      <a:pt x="164" y="258"/>
                      <a:pt x="164" y="258"/>
                      <a:pt x="164" y="258"/>
                    </a:cubicBezTo>
                    <a:cubicBezTo>
                      <a:pt x="165" y="258"/>
                      <a:pt x="166" y="259"/>
                      <a:pt x="167" y="258"/>
                    </a:cubicBezTo>
                    <a:cubicBezTo>
                      <a:pt x="168" y="257"/>
                      <a:pt x="168" y="255"/>
                      <a:pt x="169" y="255"/>
                    </a:cubicBezTo>
                    <a:cubicBezTo>
                      <a:pt x="171" y="255"/>
                      <a:pt x="170" y="258"/>
                      <a:pt x="172" y="258"/>
                    </a:cubicBezTo>
                    <a:cubicBezTo>
                      <a:pt x="173" y="258"/>
                      <a:pt x="174" y="257"/>
                      <a:pt x="174" y="256"/>
                    </a:cubicBezTo>
                    <a:cubicBezTo>
                      <a:pt x="174" y="255"/>
                      <a:pt x="174" y="255"/>
                      <a:pt x="174" y="254"/>
                    </a:cubicBezTo>
                    <a:cubicBezTo>
                      <a:pt x="175" y="252"/>
                      <a:pt x="176" y="252"/>
                      <a:pt x="178" y="251"/>
                    </a:cubicBezTo>
                    <a:cubicBezTo>
                      <a:pt x="178" y="252"/>
                      <a:pt x="179" y="252"/>
                      <a:pt x="180" y="252"/>
                    </a:cubicBezTo>
                    <a:cubicBezTo>
                      <a:pt x="181" y="252"/>
                      <a:pt x="181" y="252"/>
                      <a:pt x="181" y="251"/>
                    </a:cubicBezTo>
                    <a:cubicBezTo>
                      <a:pt x="181" y="250"/>
                      <a:pt x="180" y="250"/>
                      <a:pt x="180" y="249"/>
                    </a:cubicBezTo>
                    <a:cubicBezTo>
                      <a:pt x="180" y="246"/>
                      <a:pt x="180" y="246"/>
                      <a:pt x="180" y="246"/>
                    </a:cubicBezTo>
                    <a:cubicBezTo>
                      <a:pt x="180" y="246"/>
                      <a:pt x="180" y="245"/>
                      <a:pt x="180" y="245"/>
                    </a:cubicBezTo>
                    <a:cubicBezTo>
                      <a:pt x="180" y="244"/>
                      <a:pt x="182" y="244"/>
                      <a:pt x="183" y="244"/>
                    </a:cubicBezTo>
                    <a:cubicBezTo>
                      <a:pt x="184" y="244"/>
                      <a:pt x="185" y="243"/>
                      <a:pt x="185" y="242"/>
                    </a:cubicBezTo>
                    <a:cubicBezTo>
                      <a:pt x="185" y="241"/>
                      <a:pt x="184" y="240"/>
                      <a:pt x="184" y="238"/>
                    </a:cubicBezTo>
                    <a:cubicBezTo>
                      <a:pt x="185" y="238"/>
                      <a:pt x="185" y="238"/>
                      <a:pt x="185" y="238"/>
                    </a:cubicBezTo>
                    <a:cubicBezTo>
                      <a:pt x="186" y="239"/>
                      <a:pt x="187" y="239"/>
                      <a:pt x="189" y="239"/>
                    </a:cubicBezTo>
                    <a:cubicBezTo>
                      <a:pt x="189" y="240"/>
                      <a:pt x="189" y="241"/>
                      <a:pt x="190" y="242"/>
                    </a:cubicBezTo>
                    <a:cubicBezTo>
                      <a:pt x="190" y="240"/>
                      <a:pt x="190" y="239"/>
                      <a:pt x="191" y="237"/>
                    </a:cubicBezTo>
                    <a:cubicBezTo>
                      <a:pt x="191" y="237"/>
                      <a:pt x="192" y="237"/>
                      <a:pt x="192" y="237"/>
                    </a:cubicBezTo>
                    <a:cubicBezTo>
                      <a:pt x="193" y="236"/>
                      <a:pt x="194" y="236"/>
                      <a:pt x="195" y="235"/>
                    </a:cubicBezTo>
                    <a:cubicBezTo>
                      <a:pt x="196" y="234"/>
                      <a:pt x="197" y="234"/>
                      <a:pt x="198" y="233"/>
                    </a:cubicBezTo>
                    <a:cubicBezTo>
                      <a:pt x="199" y="233"/>
                      <a:pt x="199" y="232"/>
                      <a:pt x="199" y="232"/>
                    </a:cubicBezTo>
                    <a:cubicBezTo>
                      <a:pt x="201" y="231"/>
                      <a:pt x="203" y="232"/>
                      <a:pt x="203" y="231"/>
                    </a:cubicBezTo>
                    <a:cubicBezTo>
                      <a:pt x="203" y="228"/>
                      <a:pt x="203" y="228"/>
                      <a:pt x="203" y="228"/>
                    </a:cubicBezTo>
                    <a:cubicBezTo>
                      <a:pt x="203" y="227"/>
                      <a:pt x="203" y="227"/>
                      <a:pt x="204" y="226"/>
                    </a:cubicBezTo>
                    <a:cubicBezTo>
                      <a:pt x="204" y="225"/>
                      <a:pt x="204" y="224"/>
                      <a:pt x="204" y="223"/>
                    </a:cubicBezTo>
                    <a:cubicBezTo>
                      <a:pt x="205" y="224"/>
                      <a:pt x="206" y="224"/>
                      <a:pt x="207" y="225"/>
                    </a:cubicBezTo>
                    <a:cubicBezTo>
                      <a:pt x="208" y="225"/>
                      <a:pt x="208" y="226"/>
                      <a:pt x="209" y="226"/>
                    </a:cubicBezTo>
                    <a:cubicBezTo>
                      <a:pt x="209" y="225"/>
                      <a:pt x="211" y="224"/>
                      <a:pt x="211" y="223"/>
                    </a:cubicBezTo>
                    <a:cubicBezTo>
                      <a:pt x="212" y="222"/>
                      <a:pt x="211" y="222"/>
                      <a:pt x="212" y="221"/>
                    </a:cubicBezTo>
                    <a:cubicBezTo>
                      <a:pt x="212" y="220"/>
                      <a:pt x="213" y="220"/>
                      <a:pt x="213" y="219"/>
                    </a:cubicBezTo>
                    <a:cubicBezTo>
                      <a:pt x="213" y="219"/>
                      <a:pt x="213" y="218"/>
                      <a:pt x="213" y="217"/>
                    </a:cubicBezTo>
                    <a:cubicBezTo>
                      <a:pt x="213" y="215"/>
                      <a:pt x="214" y="214"/>
                      <a:pt x="214" y="213"/>
                    </a:cubicBezTo>
                    <a:cubicBezTo>
                      <a:pt x="214" y="210"/>
                      <a:pt x="214" y="210"/>
                      <a:pt x="214" y="210"/>
                    </a:cubicBezTo>
                    <a:cubicBezTo>
                      <a:pt x="214" y="209"/>
                      <a:pt x="215" y="209"/>
                      <a:pt x="215" y="209"/>
                    </a:cubicBezTo>
                    <a:cubicBezTo>
                      <a:pt x="216" y="208"/>
                      <a:pt x="216" y="208"/>
                      <a:pt x="216" y="208"/>
                    </a:cubicBezTo>
                    <a:cubicBezTo>
                      <a:pt x="217" y="208"/>
                      <a:pt x="218" y="208"/>
                      <a:pt x="219" y="208"/>
                    </a:cubicBezTo>
                    <a:cubicBezTo>
                      <a:pt x="220" y="207"/>
                      <a:pt x="220" y="206"/>
                      <a:pt x="221" y="205"/>
                    </a:cubicBezTo>
                    <a:cubicBezTo>
                      <a:pt x="223" y="202"/>
                      <a:pt x="226" y="201"/>
                      <a:pt x="226" y="198"/>
                    </a:cubicBezTo>
                    <a:cubicBezTo>
                      <a:pt x="225" y="198"/>
                      <a:pt x="225" y="198"/>
                      <a:pt x="224" y="198"/>
                    </a:cubicBezTo>
                    <a:cubicBezTo>
                      <a:pt x="223" y="197"/>
                      <a:pt x="223" y="195"/>
                      <a:pt x="222" y="194"/>
                    </a:cubicBezTo>
                    <a:cubicBezTo>
                      <a:pt x="222" y="192"/>
                      <a:pt x="220" y="192"/>
                      <a:pt x="219" y="191"/>
                    </a:cubicBezTo>
                    <a:cubicBezTo>
                      <a:pt x="217" y="190"/>
                      <a:pt x="216" y="189"/>
                      <a:pt x="215" y="186"/>
                    </a:cubicBezTo>
                    <a:cubicBezTo>
                      <a:pt x="215" y="185"/>
                      <a:pt x="214" y="185"/>
                      <a:pt x="214" y="184"/>
                    </a:cubicBezTo>
                    <a:cubicBezTo>
                      <a:pt x="214" y="184"/>
                      <a:pt x="214" y="184"/>
                      <a:pt x="214" y="184"/>
                    </a:cubicBezTo>
                    <a:cubicBezTo>
                      <a:pt x="216" y="184"/>
                      <a:pt x="217" y="184"/>
                      <a:pt x="218" y="186"/>
                    </a:cubicBezTo>
                    <a:cubicBezTo>
                      <a:pt x="218" y="186"/>
                      <a:pt x="219" y="186"/>
                      <a:pt x="219" y="185"/>
                    </a:cubicBezTo>
                    <a:cubicBezTo>
                      <a:pt x="219" y="185"/>
                      <a:pt x="219" y="184"/>
                      <a:pt x="219" y="183"/>
                    </a:cubicBezTo>
                    <a:cubicBezTo>
                      <a:pt x="219" y="183"/>
                      <a:pt x="219" y="183"/>
                      <a:pt x="219" y="182"/>
                    </a:cubicBezTo>
                    <a:cubicBezTo>
                      <a:pt x="219" y="182"/>
                      <a:pt x="219" y="182"/>
                      <a:pt x="219" y="182"/>
                    </a:cubicBezTo>
                    <a:cubicBezTo>
                      <a:pt x="219" y="181"/>
                      <a:pt x="218" y="181"/>
                      <a:pt x="217" y="181"/>
                    </a:cubicBezTo>
                    <a:cubicBezTo>
                      <a:pt x="217" y="180"/>
                      <a:pt x="216" y="179"/>
                      <a:pt x="216" y="178"/>
                    </a:cubicBezTo>
                    <a:cubicBezTo>
                      <a:pt x="216" y="178"/>
                      <a:pt x="217" y="178"/>
                      <a:pt x="218" y="177"/>
                    </a:cubicBezTo>
                    <a:cubicBezTo>
                      <a:pt x="219" y="175"/>
                      <a:pt x="219" y="173"/>
                      <a:pt x="221" y="171"/>
                    </a:cubicBezTo>
                    <a:cubicBezTo>
                      <a:pt x="223" y="169"/>
                      <a:pt x="225" y="169"/>
                      <a:pt x="226" y="166"/>
                    </a:cubicBezTo>
                    <a:cubicBezTo>
                      <a:pt x="226" y="166"/>
                      <a:pt x="226" y="166"/>
                      <a:pt x="226" y="165"/>
                    </a:cubicBezTo>
                    <a:cubicBezTo>
                      <a:pt x="226" y="165"/>
                      <a:pt x="225" y="164"/>
                      <a:pt x="225" y="163"/>
                    </a:cubicBezTo>
                    <a:cubicBezTo>
                      <a:pt x="224" y="162"/>
                      <a:pt x="224" y="161"/>
                      <a:pt x="223" y="159"/>
                    </a:cubicBezTo>
                    <a:cubicBezTo>
                      <a:pt x="222" y="158"/>
                      <a:pt x="220" y="158"/>
                      <a:pt x="220" y="157"/>
                    </a:cubicBezTo>
                    <a:cubicBezTo>
                      <a:pt x="220" y="156"/>
                      <a:pt x="221" y="156"/>
                      <a:pt x="221" y="155"/>
                    </a:cubicBezTo>
                    <a:cubicBezTo>
                      <a:pt x="221" y="154"/>
                      <a:pt x="221" y="154"/>
                      <a:pt x="221" y="153"/>
                    </a:cubicBezTo>
                    <a:cubicBezTo>
                      <a:pt x="222" y="153"/>
                      <a:pt x="222" y="154"/>
                      <a:pt x="223" y="154"/>
                    </a:cubicBezTo>
                    <a:cubicBezTo>
                      <a:pt x="223" y="154"/>
                      <a:pt x="224" y="153"/>
                      <a:pt x="224" y="153"/>
                    </a:cubicBezTo>
                    <a:cubicBezTo>
                      <a:pt x="225" y="152"/>
                      <a:pt x="226" y="152"/>
                      <a:pt x="227" y="152"/>
                    </a:cubicBezTo>
                    <a:cubicBezTo>
                      <a:pt x="228" y="151"/>
                      <a:pt x="229" y="151"/>
                      <a:pt x="230" y="151"/>
                    </a:cubicBezTo>
                    <a:cubicBezTo>
                      <a:pt x="231" y="151"/>
                      <a:pt x="232" y="151"/>
                      <a:pt x="232" y="150"/>
                    </a:cubicBezTo>
                    <a:cubicBezTo>
                      <a:pt x="232" y="149"/>
                      <a:pt x="231" y="149"/>
                      <a:pt x="231" y="149"/>
                    </a:cubicBezTo>
                    <a:cubicBezTo>
                      <a:pt x="230" y="148"/>
                      <a:pt x="230" y="147"/>
                      <a:pt x="229" y="146"/>
                    </a:cubicBezTo>
                    <a:cubicBezTo>
                      <a:pt x="230" y="145"/>
                      <a:pt x="231" y="145"/>
                      <a:pt x="232" y="144"/>
                    </a:cubicBezTo>
                    <a:cubicBezTo>
                      <a:pt x="232" y="144"/>
                      <a:pt x="233" y="144"/>
                      <a:pt x="233" y="144"/>
                    </a:cubicBezTo>
                    <a:cubicBezTo>
                      <a:pt x="233" y="142"/>
                      <a:pt x="231" y="142"/>
                      <a:pt x="229" y="141"/>
                    </a:cubicBezTo>
                    <a:cubicBezTo>
                      <a:pt x="228" y="140"/>
                      <a:pt x="228" y="139"/>
                      <a:pt x="227" y="139"/>
                    </a:cubicBezTo>
                    <a:cubicBezTo>
                      <a:pt x="224" y="137"/>
                      <a:pt x="224" y="135"/>
                      <a:pt x="221" y="133"/>
                    </a:cubicBezTo>
                    <a:cubicBezTo>
                      <a:pt x="222" y="133"/>
                      <a:pt x="222" y="133"/>
                      <a:pt x="222" y="133"/>
                    </a:cubicBezTo>
                    <a:cubicBezTo>
                      <a:pt x="224" y="134"/>
                      <a:pt x="225" y="134"/>
                      <a:pt x="227" y="134"/>
                    </a:cubicBezTo>
                    <a:cubicBezTo>
                      <a:pt x="228" y="135"/>
                      <a:pt x="228" y="136"/>
                      <a:pt x="229" y="136"/>
                    </a:cubicBezTo>
                    <a:cubicBezTo>
                      <a:pt x="230" y="137"/>
                      <a:pt x="231" y="137"/>
                      <a:pt x="232" y="137"/>
                    </a:cubicBezTo>
                    <a:cubicBezTo>
                      <a:pt x="234" y="138"/>
                      <a:pt x="235" y="140"/>
                      <a:pt x="237" y="140"/>
                    </a:cubicBezTo>
                    <a:cubicBezTo>
                      <a:pt x="237" y="136"/>
                      <a:pt x="237" y="136"/>
                      <a:pt x="237" y="136"/>
                    </a:cubicBezTo>
                    <a:cubicBezTo>
                      <a:pt x="237" y="135"/>
                      <a:pt x="237" y="135"/>
                      <a:pt x="236" y="135"/>
                    </a:cubicBezTo>
                    <a:cubicBezTo>
                      <a:pt x="235" y="135"/>
                      <a:pt x="235" y="135"/>
                      <a:pt x="234" y="135"/>
                    </a:cubicBezTo>
                    <a:cubicBezTo>
                      <a:pt x="232" y="135"/>
                      <a:pt x="232" y="135"/>
                      <a:pt x="232" y="135"/>
                    </a:cubicBezTo>
                    <a:cubicBezTo>
                      <a:pt x="232" y="134"/>
                      <a:pt x="232" y="134"/>
                      <a:pt x="232" y="134"/>
                    </a:cubicBezTo>
                    <a:cubicBezTo>
                      <a:pt x="232" y="133"/>
                      <a:pt x="233" y="132"/>
                      <a:pt x="233" y="131"/>
                    </a:cubicBezTo>
                    <a:cubicBezTo>
                      <a:pt x="234" y="130"/>
                      <a:pt x="234" y="128"/>
                      <a:pt x="235" y="128"/>
                    </a:cubicBezTo>
                    <a:cubicBezTo>
                      <a:pt x="238" y="128"/>
                      <a:pt x="238" y="132"/>
                      <a:pt x="241" y="133"/>
                    </a:cubicBezTo>
                    <a:cubicBezTo>
                      <a:pt x="241" y="131"/>
                      <a:pt x="241" y="130"/>
                      <a:pt x="242" y="127"/>
                    </a:cubicBezTo>
                    <a:cubicBezTo>
                      <a:pt x="243" y="127"/>
                      <a:pt x="243" y="127"/>
                      <a:pt x="243" y="127"/>
                    </a:cubicBezTo>
                    <a:cubicBezTo>
                      <a:pt x="243" y="129"/>
                      <a:pt x="244" y="130"/>
                      <a:pt x="246" y="132"/>
                    </a:cubicBezTo>
                    <a:cubicBezTo>
                      <a:pt x="246" y="133"/>
                      <a:pt x="247" y="134"/>
                      <a:pt x="248" y="134"/>
                    </a:cubicBezTo>
                    <a:cubicBezTo>
                      <a:pt x="249" y="133"/>
                      <a:pt x="249" y="133"/>
                      <a:pt x="249" y="132"/>
                    </a:cubicBezTo>
                    <a:cubicBezTo>
                      <a:pt x="251" y="132"/>
                      <a:pt x="252" y="132"/>
                      <a:pt x="254" y="131"/>
                    </a:cubicBezTo>
                    <a:cubicBezTo>
                      <a:pt x="254" y="131"/>
                      <a:pt x="255" y="130"/>
                      <a:pt x="255" y="130"/>
                    </a:cubicBezTo>
                    <a:cubicBezTo>
                      <a:pt x="258" y="130"/>
                      <a:pt x="259" y="131"/>
                      <a:pt x="262" y="131"/>
                    </a:cubicBezTo>
                    <a:cubicBezTo>
                      <a:pt x="264" y="131"/>
                      <a:pt x="266" y="131"/>
                      <a:pt x="266" y="129"/>
                    </a:cubicBezTo>
                    <a:cubicBezTo>
                      <a:pt x="266" y="129"/>
                      <a:pt x="266" y="129"/>
                      <a:pt x="266" y="129"/>
                    </a:cubicBezTo>
                    <a:cubicBezTo>
                      <a:pt x="265" y="127"/>
                      <a:pt x="265" y="125"/>
                      <a:pt x="264" y="122"/>
                    </a:cubicBezTo>
                    <a:cubicBezTo>
                      <a:pt x="264" y="121"/>
                      <a:pt x="263" y="120"/>
                      <a:pt x="262" y="118"/>
                    </a:cubicBezTo>
                    <a:cubicBezTo>
                      <a:pt x="262" y="117"/>
                      <a:pt x="262" y="115"/>
                      <a:pt x="262" y="11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1" name="Freeform 199">
                <a:extLst>
                  <a:ext uri="{FF2B5EF4-FFF2-40B4-BE49-F238E27FC236}">
                    <a16:creationId xmlns:a16="http://schemas.microsoft.com/office/drawing/2014/main" xmlns="" id="{7B8B7C37-9DA7-4BA4-BA55-E89908466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019" y="645777"/>
                <a:ext cx="532785" cy="1005834"/>
              </a:xfrm>
              <a:custGeom>
                <a:avLst/>
                <a:gdLst>
                  <a:gd name="T0" fmla="*/ 171 w 211"/>
                  <a:gd name="T1" fmla="*/ 312 h 398"/>
                  <a:gd name="T2" fmla="*/ 190 w 211"/>
                  <a:gd name="T3" fmla="*/ 287 h 398"/>
                  <a:gd name="T4" fmla="*/ 205 w 211"/>
                  <a:gd name="T5" fmla="*/ 259 h 398"/>
                  <a:gd name="T6" fmla="*/ 203 w 211"/>
                  <a:gd name="T7" fmla="*/ 230 h 398"/>
                  <a:gd name="T8" fmla="*/ 186 w 211"/>
                  <a:gd name="T9" fmla="*/ 217 h 398"/>
                  <a:gd name="T10" fmla="*/ 178 w 211"/>
                  <a:gd name="T11" fmla="*/ 187 h 398"/>
                  <a:gd name="T12" fmla="*/ 168 w 211"/>
                  <a:gd name="T13" fmla="*/ 161 h 398"/>
                  <a:gd name="T14" fmla="*/ 159 w 211"/>
                  <a:gd name="T15" fmla="*/ 139 h 398"/>
                  <a:gd name="T16" fmla="*/ 147 w 211"/>
                  <a:gd name="T17" fmla="*/ 98 h 398"/>
                  <a:gd name="T18" fmla="*/ 141 w 211"/>
                  <a:gd name="T19" fmla="*/ 61 h 398"/>
                  <a:gd name="T20" fmla="*/ 25 w 211"/>
                  <a:gd name="T21" fmla="*/ 10 h 398"/>
                  <a:gd name="T22" fmla="*/ 3 w 211"/>
                  <a:gd name="T23" fmla="*/ 7 h 398"/>
                  <a:gd name="T24" fmla="*/ 10 w 211"/>
                  <a:gd name="T25" fmla="*/ 15 h 398"/>
                  <a:gd name="T26" fmla="*/ 24 w 211"/>
                  <a:gd name="T27" fmla="*/ 26 h 398"/>
                  <a:gd name="T28" fmla="*/ 37 w 211"/>
                  <a:gd name="T29" fmla="*/ 33 h 398"/>
                  <a:gd name="T30" fmla="*/ 41 w 211"/>
                  <a:gd name="T31" fmla="*/ 46 h 398"/>
                  <a:gd name="T32" fmla="*/ 45 w 211"/>
                  <a:gd name="T33" fmla="*/ 65 h 398"/>
                  <a:gd name="T34" fmla="*/ 48 w 211"/>
                  <a:gd name="T35" fmla="*/ 90 h 398"/>
                  <a:gd name="T36" fmla="*/ 48 w 211"/>
                  <a:gd name="T37" fmla="*/ 111 h 398"/>
                  <a:gd name="T38" fmla="*/ 55 w 211"/>
                  <a:gd name="T39" fmla="*/ 128 h 398"/>
                  <a:gd name="T40" fmla="*/ 65 w 211"/>
                  <a:gd name="T41" fmla="*/ 135 h 398"/>
                  <a:gd name="T42" fmla="*/ 72 w 211"/>
                  <a:gd name="T43" fmla="*/ 140 h 398"/>
                  <a:gd name="T44" fmla="*/ 78 w 211"/>
                  <a:gd name="T45" fmla="*/ 153 h 398"/>
                  <a:gd name="T46" fmla="*/ 83 w 211"/>
                  <a:gd name="T47" fmla="*/ 167 h 398"/>
                  <a:gd name="T48" fmla="*/ 67 w 211"/>
                  <a:gd name="T49" fmla="*/ 176 h 398"/>
                  <a:gd name="T50" fmla="*/ 61 w 211"/>
                  <a:gd name="T51" fmla="*/ 192 h 398"/>
                  <a:gd name="T52" fmla="*/ 52 w 211"/>
                  <a:gd name="T53" fmla="*/ 202 h 398"/>
                  <a:gd name="T54" fmla="*/ 43 w 211"/>
                  <a:gd name="T55" fmla="*/ 213 h 398"/>
                  <a:gd name="T56" fmla="*/ 36 w 211"/>
                  <a:gd name="T57" fmla="*/ 219 h 398"/>
                  <a:gd name="T58" fmla="*/ 29 w 211"/>
                  <a:gd name="T59" fmla="*/ 233 h 398"/>
                  <a:gd name="T60" fmla="*/ 25 w 211"/>
                  <a:gd name="T61" fmla="*/ 249 h 398"/>
                  <a:gd name="T62" fmla="*/ 16 w 211"/>
                  <a:gd name="T63" fmla="*/ 246 h 398"/>
                  <a:gd name="T64" fmla="*/ 11 w 211"/>
                  <a:gd name="T65" fmla="*/ 260 h 398"/>
                  <a:gd name="T66" fmla="*/ 5 w 211"/>
                  <a:gd name="T67" fmla="*/ 276 h 398"/>
                  <a:gd name="T68" fmla="*/ 9 w 211"/>
                  <a:gd name="T69" fmla="*/ 286 h 398"/>
                  <a:gd name="T70" fmla="*/ 6 w 211"/>
                  <a:gd name="T71" fmla="*/ 304 h 398"/>
                  <a:gd name="T72" fmla="*/ 14 w 211"/>
                  <a:gd name="T73" fmla="*/ 319 h 398"/>
                  <a:gd name="T74" fmla="*/ 9 w 211"/>
                  <a:gd name="T75" fmla="*/ 326 h 398"/>
                  <a:gd name="T76" fmla="*/ 10 w 211"/>
                  <a:gd name="T77" fmla="*/ 338 h 398"/>
                  <a:gd name="T78" fmla="*/ 10 w 211"/>
                  <a:gd name="T79" fmla="*/ 351 h 398"/>
                  <a:gd name="T80" fmla="*/ 23 w 211"/>
                  <a:gd name="T81" fmla="*/ 358 h 398"/>
                  <a:gd name="T82" fmla="*/ 25 w 211"/>
                  <a:gd name="T83" fmla="*/ 365 h 398"/>
                  <a:gd name="T84" fmla="*/ 38 w 211"/>
                  <a:gd name="T85" fmla="*/ 368 h 398"/>
                  <a:gd name="T86" fmla="*/ 35 w 211"/>
                  <a:gd name="T87" fmla="*/ 374 h 398"/>
                  <a:gd name="T88" fmla="*/ 39 w 211"/>
                  <a:gd name="T89" fmla="*/ 377 h 398"/>
                  <a:gd name="T90" fmla="*/ 41 w 211"/>
                  <a:gd name="T91" fmla="*/ 387 h 398"/>
                  <a:gd name="T92" fmla="*/ 53 w 211"/>
                  <a:gd name="T93" fmla="*/ 374 h 398"/>
                  <a:gd name="T94" fmla="*/ 54 w 211"/>
                  <a:gd name="T95" fmla="*/ 377 h 398"/>
                  <a:gd name="T96" fmla="*/ 54 w 211"/>
                  <a:gd name="T97" fmla="*/ 390 h 398"/>
                  <a:gd name="T98" fmla="*/ 58 w 211"/>
                  <a:gd name="T99" fmla="*/ 389 h 398"/>
                  <a:gd name="T100" fmla="*/ 63 w 211"/>
                  <a:gd name="T101" fmla="*/ 394 h 398"/>
                  <a:gd name="T102" fmla="*/ 74 w 211"/>
                  <a:gd name="T103" fmla="*/ 387 h 398"/>
                  <a:gd name="T104" fmla="*/ 85 w 211"/>
                  <a:gd name="T105" fmla="*/ 382 h 398"/>
                  <a:gd name="T106" fmla="*/ 100 w 211"/>
                  <a:gd name="T107" fmla="*/ 375 h 398"/>
                  <a:gd name="T108" fmla="*/ 108 w 211"/>
                  <a:gd name="T109" fmla="*/ 372 h 398"/>
                  <a:gd name="T110" fmla="*/ 113 w 211"/>
                  <a:gd name="T111" fmla="*/ 361 h 398"/>
                  <a:gd name="T112" fmla="*/ 129 w 211"/>
                  <a:gd name="T113" fmla="*/ 364 h 398"/>
                  <a:gd name="T114" fmla="*/ 147 w 211"/>
                  <a:gd name="T115" fmla="*/ 356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11" h="398">
                    <a:moveTo>
                      <a:pt x="153" y="340"/>
                    </a:moveTo>
                    <a:cubicBezTo>
                      <a:pt x="156" y="335"/>
                      <a:pt x="157" y="333"/>
                      <a:pt x="159" y="329"/>
                    </a:cubicBezTo>
                    <a:cubicBezTo>
                      <a:pt x="160" y="327"/>
                      <a:pt x="161" y="327"/>
                      <a:pt x="162" y="326"/>
                    </a:cubicBezTo>
                    <a:cubicBezTo>
                      <a:pt x="163" y="324"/>
                      <a:pt x="164" y="322"/>
                      <a:pt x="165" y="321"/>
                    </a:cubicBezTo>
                    <a:cubicBezTo>
                      <a:pt x="167" y="317"/>
                      <a:pt x="169" y="316"/>
                      <a:pt x="171" y="312"/>
                    </a:cubicBezTo>
                    <a:cubicBezTo>
                      <a:pt x="172" y="311"/>
                      <a:pt x="172" y="310"/>
                      <a:pt x="173" y="309"/>
                    </a:cubicBezTo>
                    <a:cubicBezTo>
                      <a:pt x="177" y="304"/>
                      <a:pt x="180" y="303"/>
                      <a:pt x="183" y="298"/>
                    </a:cubicBezTo>
                    <a:cubicBezTo>
                      <a:pt x="185" y="296"/>
                      <a:pt x="185" y="295"/>
                      <a:pt x="186" y="292"/>
                    </a:cubicBezTo>
                    <a:cubicBezTo>
                      <a:pt x="187" y="292"/>
                      <a:pt x="188" y="291"/>
                      <a:pt x="188" y="290"/>
                    </a:cubicBezTo>
                    <a:cubicBezTo>
                      <a:pt x="189" y="289"/>
                      <a:pt x="189" y="289"/>
                      <a:pt x="190" y="287"/>
                    </a:cubicBezTo>
                    <a:cubicBezTo>
                      <a:pt x="192" y="285"/>
                      <a:pt x="193" y="285"/>
                      <a:pt x="194" y="283"/>
                    </a:cubicBezTo>
                    <a:cubicBezTo>
                      <a:pt x="195" y="282"/>
                      <a:pt x="195" y="281"/>
                      <a:pt x="195" y="281"/>
                    </a:cubicBezTo>
                    <a:cubicBezTo>
                      <a:pt x="196" y="279"/>
                      <a:pt x="197" y="278"/>
                      <a:pt x="198" y="277"/>
                    </a:cubicBezTo>
                    <a:cubicBezTo>
                      <a:pt x="199" y="274"/>
                      <a:pt x="199" y="273"/>
                      <a:pt x="200" y="271"/>
                    </a:cubicBezTo>
                    <a:cubicBezTo>
                      <a:pt x="202" y="267"/>
                      <a:pt x="203" y="264"/>
                      <a:pt x="205" y="259"/>
                    </a:cubicBezTo>
                    <a:cubicBezTo>
                      <a:pt x="206" y="257"/>
                      <a:pt x="208" y="256"/>
                      <a:pt x="209" y="253"/>
                    </a:cubicBezTo>
                    <a:cubicBezTo>
                      <a:pt x="209" y="253"/>
                      <a:pt x="209" y="253"/>
                      <a:pt x="209" y="252"/>
                    </a:cubicBezTo>
                    <a:cubicBezTo>
                      <a:pt x="210" y="249"/>
                      <a:pt x="211" y="246"/>
                      <a:pt x="211" y="242"/>
                    </a:cubicBezTo>
                    <a:cubicBezTo>
                      <a:pt x="211" y="240"/>
                      <a:pt x="209" y="239"/>
                      <a:pt x="208" y="237"/>
                    </a:cubicBezTo>
                    <a:cubicBezTo>
                      <a:pt x="207" y="234"/>
                      <a:pt x="206" y="233"/>
                      <a:pt x="203" y="230"/>
                    </a:cubicBezTo>
                    <a:cubicBezTo>
                      <a:pt x="202" y="228"/>
                      <a:pt x="200" y="228"/>
                      <a:pt x="198" y="226"/>
                    </a:cubicBezTo>
                    <a:cubicBezTo>
                      <a:pt x="196" y="223"/>
                      <a:pt x="195" y="221"/>
                      <a:pt x="192" y="220"/>
                    </a:cubicBezTo>
                    <a:cubicBezTo>
                      <a:pt x="191" y="219"/>
                      <a:pt x="190" y="219"/>
                      <a:pt x="189" y="219"/>
                    </a:cubicBezTo>
                    <a:cubicBezTo>
                      <a:pt x="189" y="218"/>
                      <a:pt x="188" y="219"/>
                      <a:pt x="187" y="218"/>
                    </a:cubicBezTo>
                    <a:cubicBezTo>
                      <a:pt x="187" y="218"/>
                      <a:pt x="187" y="218"/>
                      <a:pt x="186" y="217"/>
                    </a:cubicBezTo>
                    <a:cubicBezTo>
                      <a:pt x="185" y="216"/>
                      <a:pt x="185" y="214"/>
                      <a:pt x="183" y="212"/>
                    </a:cubicBezTo>
                    <a:cubicBezTo>
                      <a:pt x="183" y="210"/>
                      <a:pt x="182" y="209"/>
                      <a:pt x="180" y="208"/>
                    </a:cubicBezTo>
                    <a:cubicBezTo>
                      <a:pt x="179" y="207"/>
                      <a:pt x="178" y="206"/>
                      <a:pt x="177" y="205"/>
                    </a:cubicBezTo>
                    <a:cubicBezTo>
                      <a:pt x="176" y="204"/>
                      <a:pt x="176" y="202"/>
                      <a:pt x="175" y="200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4"/>
                      <a:pt x="178" y="181"/>
                      <a:pt x="176" y="178"/>
                    </a:cubicBezTo>
                    <a:cubicBezTo>
                      <a:pt x="175" y="176"/>
                      <a:pt x="173" y="176"/>
                      <a:pt x="172" y="174"/>
                    </a:cubicBezTo>
                    <a:cubicBezTo>
                      <a:pt x="171" y="172"/>
                      <a:pt x="170" y="171"/>
                      <a:pt x="170" y="169"/>
                    </a:cubicBezTo>
                    <a:cubicBezTo>
                      <a:pt x="170" y="164"/>
                      <a:pt x="170" y="164"/>
                      <a:pt x="170" y="164"/>
                    </a:cubicBezTo>
                    <a:cubicBezTo>
                      <a:pt x="170" y="163"/>
                      <a:pt x="169" y="162"/>
                      <a:pt x="168" y="161"/>
                    </a:cubicBezTo>
                    <a:cubicBezTo>
                      <a:pt x="166" y="160"/>
                      <a:pt x="164" y="160"/>
                      <a:pt x="163" y="158"/>
                    </a:cubicBezTo>
                    <a:cubicBezTo>
                      <a:pt x="161" y="156"/>
                      <a:pt x="160" y="154"/>
                      <a:pt x="160" y="150"/>
                    </a:cubicBezTo>
                    <a:cubicBezTo>
                      <a:pt x="160" y="147"/>
                      <a:pt x="160" y="146"/>
                      <a:pt x="160" y="142"/>
                    </a:cubicBezTo>
                    <a:cubicBezTo>
                      <a:pt x="160" y="141"/>
                      <a:pt x="160" y="141"/>
                      <a:pt x="160" y="139"/>
                    </a:cubicBezTo>
                    <a:cubicBezTo>
                      <a:pt x="160" y="139"/>
                      <a:pt x="159" y="139"/>
                      <a:pt x="159" y="139"/>
                    </a:cubicBezTo>
                    <a:cubicBezTo>
                      <a:pt x="158" y="137"/>
                      <a:pt x="156" y="137"/>
                      <a:pt x="156" y="135"/>
                    </a:cubicBezTo>
                    <a:cubicBezTo>
                      <a:pt x="156" y="129"/>
                      <a:pt x="159" y="126"/>
                      <a:pt x="159" y="119"/>
                    </a:cubicBezTo>
                    <a:cubicBezTo>
                      <a:pt x="159" y="115"/>
                      <a:pt x="158" y="113"/>
                      <a:pt x="156" y="109"/>
                    </a:cubicBezTo>
                    <a:cubicBezTo>
                      <a:pt x="154" y="106"/>
                      <a:pt x="152" y="104"/>
                      <a:pt x="150" y="102"/>
                    </a:cubicBezTo>
                    <a:cubicBezTo>
                      <a:pt x="148" y="100"/>
                      <a:pt x="148" y="99"/>
                      <a:pt x="147" y="98"/>
                    </a:cubicBezTo>
                    <a:cubicBezTo>
                      <a:pt x="144" y="94"/>
                      <a:pt x="142" y="92"/>
                      <a:pt x="141" y="89"/>
                    </a:cubicBezTo>
                    <a:cubicBezTo>
                      <a:pt x="141" y="88"/>
                      <a:pt x="140" y="87"/>
                      <a:pt x="140" y="87"/>
                    </a:cubicBezTo>
                    <a:cubicBezTo>
                      <a:pt x="139" y="82"/>
                      <a:pt x="138" y="79"/>
                      <a:pt x="135" y="76"/>
                    </a:cubicBezTo>
                    <a:cubicBezTo>
                      <a:pt x="136" y="73"/>
                      <a:pt x="136" y="71"/>
                      <a:pt x="138" y="69"/>
                    </a:cubicBezTo>
                    <a:cubicBezTo>
                      <a:pt x="139" y="66"/>
                      <a:pt x="140" y="64"/>
                      <a:pt x="141" y="61"/>
                    </a:cubicBezTo>
                    <a:cubicBezTo>
                      <a:pt x="142" y="58"/>
                      <a:pt x="142" y="55"/>
                      <a:pt x="143" y="52"/>
                    </a:cubicBezTo>
                    <a:cubicBezTo>
                      <a:pt x="107" y="35"/>
                      <a:pt x="70" y="21"/>
                      <a:pt x="32" y="10"/>
                    </a:cubicBezTo>
                    <a:cubicBezTo>
                      <a:pt x="31" y="10"/>
                      <a:pt x="31" y="10"/>
                      <a:pt x="30" y="10"/>
                    </a:cubicBezTo>
                    <a:cubicBezTo>
                      <a:pt x="29" y="10"/>
                      <a:pt x="28" y="10"/>
                      <a:pt x="27" y="10"/>
                    </a:cubicBezTo>
                    <a:cubicBezTo>
                      <a:pt x="26" y="10"/>
                      <a:pt x="26" y="10"/>
                      <a:pt x="25" y="10"/>
                    </a:cubicBezTo>
                    <a:cubicBezTo>
                      <a:pt x="24" y="9"/>
                      <a:pt x="23" y="8"/>
                      <a:pt x="23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15" y="5"/>
                      <a:pt x="7" y="2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4"/>
                      <a:pt x="2" y="5"/>
                      <a:pt x="3" y="7"/>
                    </a:cubicBezTo>
                    <a:cubicBezTo>
                      <a:pt x="3" y="8"/>
                      <a:pt x="3" y="8"/>
                      <a:pt x="4" y="9"/>
                    </a:cubicBezTo>
                    <a:cubicBezTo>
                      <a:pt x="5" y="10"/>
                      <a:pt x="6" y="10"/>
                      <a:pt x="6" y="12"/>
                    </a:cubicBezTo>
                    <a:cubicBezTo>
                      <a:pt x="7" y="12"/>
                      <a:pt x="7" y="13"/>
                      <a:pt x="7" y="13"/>
                    </a:cubicBezTo>
                    <a:cubicBezTo>
                      <a:pt x="7" y="13"/>
                      <a:pt x="8" y="14"/>
                      <a:pt x="8" y="14"/>
                    </a:cubicBezTo>
                    <a:cubicBezTo>
                      <a:pt x="9" y="14"/>
                      <a:pt x="10" y="14"/>
                      <a:pt x="10" y="15"/>
                    </a:cubicBezTo>
                    <a:cubicBezTo>
                      <a:pt x="12" y="15"/>
                      <a:pt x="13" y="16"/>
                      <a:pt x="14" y="16"/>
                    </a:cubicBezTo>
                    <a:cubicBezTo>
                      <a:pt x="16" y="16"/>
                      <a:pt x="17" y="16"/>
                      <a:pt x="18" y="17"/>
                    </a:cubicBezTo>
                    <a:cubicBezTo>
                      <a:pt x="19" y="18"/>
                      <a:pt x="19" y="18"/>
                      <a:pt x="19" y="19"/>
                    </a:cubicBezTo>
                    <a:cubicBezTo>
                      <a:pt x="19" y="20"/>
                      <a:pt x="20" y="20"/>
                      <a:pt x="20" y="21"/>
                    </a:cubicBezTo>
                    <a:cubicBezTo>
                      <a:pt x="21" y="23"/>
                      <a:pt x="22" y="24"/>
                      <a:pt x="24" y="26"/>
                    </a:cubicBezTo>
                    <a:cubicBezTo>
                      <a:pt x="24" y="27"/>
                      <a:pt x="24" y="27"/>
                      <a:pt x="25" y="28"/>
                    </a:cubicBezTo>
                    <a:cubicBezTo>
                      <a:pt x="26" y="28"/>
                      <a:pt x="26" y="29"/>
                      <a:pt x="27" y="30"/>
                    </a:cubicBezTo>
                    <a:cubicBezTo>
                      <a:pt x="29" y="31"/>
                      <a:pt x="29" y="32"/>
                      <a:pt x="31" y="32"/>
                    </a:cubicBezTo>
                    <a:cubicBezTo>
                      <a:pt x="32" y="33"/>
                      <a:pt x="33" y="33"/>
                      <a:pt x="35" y="33"/>
                    </a:cubicBezTo>
                    <a:cubicBezTo>
                      <a:pt x="36" y="33"/>
                      <a:pt x="36" y="33"/>
                      <a:pt x="37" y="33"/>
                    </a:cubicBezTo>
                    <a:cubicBezTo>
                      <a:pt x="38" y="33"/>
                      <a:pt x="39" y="33"/>
                      <a:pt x="39" y="34"/>
                    </a:cubicBezTo>
                    <a:cubicBezTo>
                      <a:pt x="39" y="34"/>
                      <a:pt x="39" y="35"/>
                      <a:pt x="39" y="35"/>
                    </a:cubicBezTo>
                    <a:cubicBezTo>
                      <a:pt x="40" y="36"/>
                      <a:pt x="40" y="37"/>
                      <a:pt x="40" y="38"/>
                    </a:cubicBezTo>
                    <a:cubicBezTo>
                      <a:pt x="41" y="39"/>
                      <a:pt x="41" y="40"/>
                      <a:pt x="41" y="41"/>
                    </a:cubicBezTo>
                    <a:cubicBezTo>
                      <a:pt x="41" y="43"/>
                      <a:pt x="41" y="44"/>
                      <a:pt x="41" y="46"/>
                    </a:cubicBezTo>
                    <a:cubicBezTo>
                      <a:pt x="41" y="46"/>
                      <a:pt x="41" y="47"/>
                      <a:pt x="41" y="47"/>
                    </a:cubicBezTo>
                    <a:cubicBezTo>
                      <a:pt x="41" y="53"/>
                      <a:pt x="41" y="53"/>
                      <a:pt x="41" y="53"/>
                    </a:cubicBezTo>
                    <a:cubicBezTo>
                      <a:pt x="41" y="54"/>
                      <a:pt x="42" y="55"/>
                      <a:pt x="42" y="56"/>
                    </a:cubicBezTo>
                    <a:cubicBezTo>
                      <a:pt x="42" y="57"/>
                      <a:pt x="42" y="58"/>
                      <a:pt x="42" y="58"/>
                    </a:cubicBezTo>
                    <a:cubicBezTo>
                      <a:pt x="44" y="61"/>
                      <a:pt x="45" y="62"/>
                      <a:pt x="45" y="65"/>
                    </a:cubicBezTo>
                    <a:cubicBezTo>
                      <a:pt x="45" y="67"/>
                      <a:pt x="44" y="67"/>
                      <a:pt x="43" y="68"/>
                    </a:cubicBezTo>
                    <a:cubicBezTo>
                      <a:pt x="43" y="69"/>
                      <a:pt x="43" y="70"/>
                      <a:pt x="42" y="71"/>
                    </a:cubicBezTo>
                    <a:cubicBezTo>
                      <a:pt x="41" y="72"/>
                      <a:pt x="41" y="73"/>
                      <a:pt x="41" y="74"/>
                    </a:cubicBezTo>
                    <a:cubicBezTo>
                      <a:pt x="41" y="78"/>
                      <a:pt x="44" y="79"/>
                      <a:pt x="46" y="82"/>
                    </a:cubicBezTo>
                    <a:cubicBezTo>
                      <a:pt x="47" y="85"/>
                      <a:pt x="48" y="87"/>
                      <a:pt x="48" y="90"/>
                    </a:cubicBezTo>
                    <a:cubicBezTo>
                      <a:pt x="48" y="93"/>
                      <a:pt x="48" y="94"/>
                      <a:pt x="47" y="96"/>
                    </a:cubicBezTo>
                    <a:cubicBezTo>
                      <a:pt x="47" y="98"/>
                      <a:pt x="46" y="99"/>
                      <a:pt x="46" y="100"/>
                    </a:cubicBezTo>
                    <a:cubicBezTo>
                      <a:pt x="46" y="106"/>
                      <a:pt x="46" y="106"/>
                      <a:pt x="46" y="106"/>
                    </a:cubicBezTo>
                    <a:cubicBezTo>
                      <a:pt x="46" y="106"/>
                      <a:pt x="47" y="106"/>
                      <a:pt x="47" y="106"/>
                    </a:cubicBezTo>
                    <a:cubicBezTo>
                      <a:pt x="47" y="108"/>
                      <a:pt x="47" y="110"/>
                      <a:pt x="48" y="111"/>
                    </a:cubicBezTo>
                    <a:cubicBezTo>
                      <a:pt x="48" y="113"/>
                      <a:pt x="48" y="115"/>
                      <a:pt x="48" y="116"/>
                    </a:cubicBezTo>
                    <a:cubicBezTo>
                      <a:pt x="49" y="118"/>
                      <a:pt x="50" y="119"/>
                      <a:pt x="50" y="120"/>
                    </a:cubicBezTo>
                    <a:cubicBezTo>
                      <a:pt x="51" y="123"/>
                      <a:pt x="51" y="125"/>
                      <a:pt x="52" y="12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55" y="128"/>
                      <a:pt x="55" y="128"/>
                      <a:pt x="55" y="128"/>
                    </a:cubicBezTo>
                    <a:cubicBezTo>
                      <a:pt x="54" y="129"/>
                      <a:pt x="54" y="129"/>
                      <a:pt x="54" y="129"/>
                    </a:cubicBezTo>
                    <a:cubicBezTo>
                      <a:pt x="55" y="130"/>
                      <a:pt x="55" y="130"/>
                      <a:pt x="55" y="131"/>
                    </a:cubicBezTo>
                    <a:cubicBezTo>
                      <a:pt x="56" y="131"/>
                      <a:pt x="57" y="131"/>
                      <a:pt x="58" y="131"/>
                    </a:cubicBezTo>
                    <a:cubicBezTo>
                      <a:pt x="59" y="131"/>
                      <a:pt x="59" y="133"/>
                      <a:pt x="61" y="134"/>
                    </a:cubicBezTo>
                    <a:cubicBezTo>
                      <a:pt x="62" y="134"/>
                      <a:pt x="63" y="134"/>
                      <a:pt x="65" y="135"/>
                    </a:cubicBezTo>
                    <a:cubicBezTo>
                      <a:pt x="65" y="135"/>
                      <a:pt x="65" y="136"/>
                      <a:pt x="66" y="137"/>
                    </a:cubicBezTo>
                    <a:cubicBezTo>
                      <a:pt x="66" y="137"/>
                      <a:pt x="67" y="137"/>
                      <a:pt x="67" y="137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9" y="138"/>
                      <a:pt x="70" y="139"/>
                      <a:pt x="71" y="139"/>
                    </a:cubicBezTo>
                    <a:cubicBezTo>
                      <a:pt x="72" y="139"/>
                      <a:pt x="72" y="140"/>
                      <a:pt x="72" y="140"/>
                    </a:cubicBezTo>
                    <a:cubicBezTo>
                      <a:pt x="73" y="141"/>
                      <a:pt x="74" y="140"/>
                      <a:pt x="75" y="141"/>
                    </a:cubicBezTo>
                    <a:cubicBezTo>
                      <a:pt x="76" y="143"/>
                      <a:pt x="76" y="144"/>
                      <a:pt x="77" y="145"/>
                    </a:cubicBezTo>
                    <a:cubicBezTo>
                      <a:pt x="78" y="147"/>
                      <a:pt x="80" y="148"/>
                      <a:pt x="80" y="150"/>
                    </a:cubicBezTo>
                    <a:cubicBezTo>
                      <a:pt x="80" y="151"/>
                      <a:pt x="78" y="150"/>
                      <a:pt x="78" y="151"/>
                    </a:cubicBezTo>
                    <a:cubicBezTo>
                      <a:pt x="77" y="152"/>
                      <a:pt x="78" y="152"/>
                      <a:pt x="78" y="153"/>
                    </a:cubicBezTo>
                    <a:cubicBezTo>
                      <a:pt x="77" y="155"/>
                      <a:pt x="77" y="155"/>
                      <a:pt x="77" y="157"/>
                    </a:cubicBezTo>
                    <a:cubicBezTo>
                      <a:pt x="77" y="158"/>
                      <a:pt x="77" y="159"/>
                      <a:pt x="77" y="160"/>
                    </a:cubicBezTo>
                    <a:cubicBezTo>
                      <a:pt x="78" y="160"/>
                      <a:pt x="79" y="160"/>
                      <a:pt x="80" y="160"/>
                    </a:cubicBezTo>
                    <a:cubicBezTo>
                      <a:pt x="82" y="161"/>
                      <a:pt x="84" y="163"/>
                      <a:pt x="84" y="165"/>
                    </a:cubicBezTo>
                    <a:cubicBezTo>
                      <a:pt x="84" y="166"/>
                      <a:pt x="83" y="166"/>
                      <a:pt x="83" y="167"/>
                    </a:cubicBezTo>
                    <a:cubicBezTo>
                      <a:pt x="81" y="167"/>
                      <a:pt x="82" y="172"/>
                      <a:pt x="79" y="172"/>
                    </a:cubicBezTo>
                    <a:cubicBezTo>
                      <a:pt x="78" y="172"/>
                      <a:pt x="78" y="171"/>
                      <a:pt x="77" y="171"/>
                    </a:cubicBezTo>
                    <a:cubicBezTo>
                      <a:pt x="76" y="171"/>
                      <a:pt x="75" y="172"/>
                      <a:pt x="74" y="173"/>
                    </a:cubicBezTo>
                    <a:cubicBezTo>
                      <a:pt x="73" y="173"/>
                      <a:pt x="71" y="174"/>
                      <a:pt x="70" y="174"/>
                    </a:cubicBezTo>
                    <a:cubicBezTo>
                      <a:pt x="69" y="175"/>
                      <a:pt x="69" y="176"/>
                      <a:pt x="67" y="176"/>
                    </a:cubicBezTo>
                    <a:cubicBezTo>
                      <a:pt x="66" y="176"/>
                      <a:pt x="65" y="176"/>
                      <a:pt x="63" y="177"/>
                    </a:cubicBezTo>
                    <a:cubicBezTo>
                      <a:pt x="64" y="178"/>
                      <a:pt x="64" y="178"/>
                      <a:pt x="64" y="179"/>
                    </a:cubicBezTo>
                    <a:cubicBezTo>
                      <a:pt x="64" y="183"/>
                      <a:pt x="62" y="185"/>
                      <a:pt x="62" y="188"/>
                    </a:cubicBezTo>
                    <a:cubicBezTo>
                      <a:pt x="62" y="190"/>
                      <a:pt x="61" y="191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2"/>
                      <a:pt x="59" y="192"/>
                    </a:cubicBezTo>
                    <a:cubicBezTo>
                      <a:pt x="58" y="192"/>
                      <a:pt x="57" y="193"/>
                      <a:pt x="57" y="194"/>
                    </a:cubicBezTo>
                    <a:cubicBezTo>
                      <a:pt x="56" y="196"/>
                      <a:pt x="55" y="196"/>
                      <a:pt x="55" y="198"/>
                    </a:cubicBezTo>
                    <a:cubicBezTo>
                      <a:pt x="55" y="199"/>
                      <a:pt x="55" y="200"/>
                      <a:pt x="55" y="200"/>
                    </a:cubicBezTo>
                    <a:cubicBezTo>
                      <a:pt x="54" y="201"/>
                      <a:pt x="53" y="201"/>
                      <a:pt x="52" y="202"/>
                    </a:cubicBezTo>
                    <a:cubicBezTo>
                      <a:pt x="51" y="204"/>
                      <a:pt x="51" y="206"/>
                      <a:pt x="49" y="208"/>
                    </a:cubicBezTo>
                    <a:cubicBezTo>
                      <a:pt x="48" y="207"/>
                      <a:pt x="48" y="207"/>
                      <a:pt x="47" y="207"/>
                    </a:cubicBezTo>
                    <a:cubicBezTo>
                      <a:pt x="46" y="207"/>
                      <a:pt x="46" y="209"/>
                      <a:pt x="45" y="210"/>
                    </a:cubicBezTo>
                    <a:cubicBezTo>
                      <a:pt x="44" y="211"/>
                      <a:pt x="43" y="211"/>
                      <a:pt x="42" y="212"/>
                    </a:cubicBezTo>
                    <a:cubicBezTo>
                      <a:pt x="42" y="212"/>
                      <a:pt x="43" y="213"/>
                      <a:pt x="43" y="213"/>
                    </a:cubicBezTo>
                    <a:cubicBezTo>
                      <a:pt x="43" y="216"/>
                      <a:pt x="43" y="216"/>
                      <a:pt x="43" y="216"/>
                    </a:cubicBezTo>
                    <a:cubicBezTo>
                      <a:pt x="42" y="216"/>
                      <a:pt x="41" y="216"/>
                      <a:pt x="40" y="216"/>
                    </a:cubicBezTo>
                    <a:cubicBezTo>
                      <a:pt x="40" y="217"/>
                      <a:pt x="40" y="218"/>
                      <a:pt x="39" y="219"/>
                    </a:cubicBezTo>
                    <a:cubicBezTo>
                      <a:pt x="39" y="219"/>
                      <a:pt x="39" y="220"/>
                      <a:pt x="38" y="220"/>
                    </a:cubicBezTo>
                    <a:cubicBezTo>
                      <a:pt x="37" y="220"/>
                      <a:pt x="37" y="219"/>
                      <a:pt x="36" y="219"/>
                    </a:cubicBezTo>
                    <a:cubicBezTo>
                      <a:pt x="36" y="219"/>
                      <a:pt x="36" y="219"/>
                      <a:pt x="36" y="219"/>
                    </a:cubicBezTo>
                    <a:cubicBezTo>
                      <a:pt x="36" y="220"/>
                      <a:pt x="36" y="221"/>
                      <a:pt x="35" y="222"/>
                    </a:cubicBezTo>
                    <a:cubicBezTo>
                      <a:pt x="35" y="224"/>
                      <a:pt x="33" y="224"/>
                      <a:pt x="31" y="224"/>
                    </a:cubicBezTo>
                    <a:cubicBezTo>
                      <a:pt x="31" y="226"/>
                      <a:pt x="31" y="227"/>
                      <a:pt x="31" y="229"/>
                    </a:cubicBezTo>
                    <a:cubicBezTo>
                      <a:pt x="30" y="231"/>
                      <a:pt x="30" y="232"/>
                      <a:pt x="29" y="233"/>
                    </a:cubicBezTo>
                    <a:cubicBezTo>
                      <a:pt x="28" y="234"/>
                      <a:pt x="27" y="235"/>
                      <a:pt x="26" y="236"/>
                    </a:cubicBezTo>
                    <a:cubicBezTo>
                      <a:pt x="25" y="237"/>
                      <a:pt x="23" y="237"/>
                      <a:pt x="23" y="238"/>
                    </a:cubicBezTo>
                    <a:cubicBezTo>
                      <a:pt x="23" y="239"/>
                      <a:pt x="23" y="239"/>
                      <a:pt x="24" y="240"/>
                    </a:cubicBezTo>
                    <a:cubicBezTo>
                      <a:pt x="25" y="240"/>
                      <a:pt x="25" y="241"/>
                      <a:pt x="25" y="242"/>
                    </a:cubicBezTo>
                    <a:cubicBezTo>
                      <a:pt x="25" y="245"/>
                      <a:pt x="26" y="246"/>
                      <a:pt x="25" y="249"/>
                    </a:cubicBezTo>
                    <a:cubicBezTo>
                      <a:pt x="25" y="249"/>
                      <a:pt x="25" y="249"/>
                      <a:pt x="25" y="249"/>
                    </a:cubicBezTo>
                    <a:cubicBezTo>
                      <a:pt x="24" y="249"/>
                      <a:pt x="24" y="248"/>
                      <a:pt x="23" y="248"/>
                    </a:cubicBezTo>
                    <a:cubicBezTo>
                      <a:pt x="22" y="248"/>
                      <a:pt x="21" y="249"/>
                      <a:pt x="19" y="249"/>
                    </a:cubicBezTo>
                    <a:cubicBezTo>
                      <a:pt x="19" y="247"/>
                      <a:pt x="20" y="245"/>
                      <a:pt x="18" y="245"/>
                    </a:cubicBezTo>
                    <a:cubicBezTo>
                      <a:pt x="17" y="245"/>
                      <a:pt x="17" y="245"/>
                      <a:pt x="16" y="246"/>
                    </a:cubicBezTo>
                    <a:cubicBezTo>
                      <a:pt x="15" y="247"/>
                      <a:pt x="14" y="247"/>
                      <a:pt x="12" y="248"/>
                    </a:cubicBezTo>
                    <a:cubicBezTo>
                      <a:pt x="12" y="248"/>
                      <a:pt x="11" y="247"/>
                      <a:pt x="10" y="248"/>
                    </a:cubicBezTo>
                    <a:cubicBezTo>
                      <a:pt x="9" y="248"/>
                      <a:pt x="10" y="249"/>
                      <a:pt x="10" y="250"/>
                    </a:cubicBezTo>
                    <a:cubicBezTo>
                      <a:pt x="10" y="257"/>
                      <a:pt x="10" y="257"/>
                      <a:pt x="10" y="257"/>
                    </a:cubicBezTo>
                    <a:cubicBezTo>
                      <a:pt x="10" y="258"/>
                      <a:pt x="11" y="259"/>
                      <a:pt x="11" y="260"/>
                    </a:cubicBezTo>
                    <a:cubicBezTo>
                      <a:pt x="11" y="261"/>
                      <a:pt x="9" y="262"/>
                      <a:pt x="8" y="262"/>
                    </a:cubicBezTo>
                    <a:cubicBezTo>
                      <a:pt x="8" y="266"/>
                      <a:pt x="3" y="267"/>
                      <a:pt x="3" y="271"/>
                    </a:cubicBezTo>
                    <a:cubicBezTo>
                      <a:pt x="3" y="272"/>
                      <a:pt x="3" y="272"/>
                      <a:pt x="3" y="272"/>
                    </a:cubicBezTo>
                    <a:cubicBezTo>
                      <a:pt x="4" y="272"/>
                      <a:pt x="5" y="272"/>
                      <a:pt x="6" y="272"/>
                    </a:cubicBezTo>
                    <a:cubicBezTo>
                      <a:pt x="6" y="274"/>
                      <a:pt x="6" y="275"/>
                      <a:pt x="5" y="276"/>
                    </a:cubicBezTo>
                    <a:cubicBezTo>
                      <a:pt x="5" y="278"/>
                      <a:pt x="5" y="279"/>
                      <a:pt x="5" y="280"/>
                    </a:cubicBezTo>
                    <a:cubicBezTo>
                      <a:pt x="5" y="281"/>
                      <a:pt x="5" y="282"/>
                      <a:pt x="5" y="283"/>
                    </a:cubicBezTo>
                    <a:cubicBezTo>
                      <a:pt x="5" y="288"/>
                      <a:pt x="5" y="288"/>
                      <a:pt x="5" y="288"/>
                    </a:cubicBezTo>
                    <a:cubicBezTo>
                      <a:pt x="6" y="287"/>
                      <a:pt x="6" y="285"/>
                      <a:pt x="8" y="285"/>
                    </a:cubicBezTo>
                    <a:cubicBezTo>
                      <a:pt x="9" y="285"/>
                      <a:pt x="9" y="286"/>
                      <a:pt x="9" y="286"/>
                    </a:cubicBezTo>
                    <a:cubicBezTo>
                      <a:pt x="9" y="288"/>
                      <a:pt x="9" y="289"/>
                      <a:pt x="8" y="291"/>
                    </a:cubicBezTo>
                    <a:cubicBezTo>
                      <a:pt x="6" y="291"/>
                      <a:pt x="6" y="293"/>
                      <a:pt x="6" y="295"/>
                    </a:cubicBezTo>
                    <a:cubicBezTo>
                      <a:pt x="6" y="297"/>
                      <a:pt x="7" y="298"/>
                      <a:pt x="7" y="300"/>
                    </a:cubicBezTo>
                    <a:cubicBezTo>
                      <a:pt x="7" y="300"/>
                      <a:pt x="6" y="301"/>
                      <a:pt x="6" y="302"/>
                    </a:cubicBezTo>
                    <a:cubicBezTo>
                      <a:pt x="6" y="304"/>
                      <a:pt x="6" y="304"/>
                      <a:pt x="6" y="304"/>
                    </a:cubicBezTo>
                    <a:cubicBezTo>
                      <a:pt x="7" y="305"/>
                      <a:pt x="8" y="305"/>
                      <a:pt x="10" y="305"/>
                    </a:cubicBezTo>
                    <a:cubicBezTo>
                      <a:pt x="10" y="309"/>
                      <a:pt x="10" y="309"/>
                      <a:pt x="10" y="309"/>
                    </a:cubicBezTo>
                    <a:cubicBezTo>
                      <a:pt x="11" y="311"/>
                      <a:pt x="12" y="312"/>
                      <a:pt x="13" y="314"/>
                    </a:cubicBezTo>
                    <a:cubicBezTo>
                      <a:pt x="13" y="315"/>
                      <a:pt x="13" y="315"/>
                      <a:pt x="13" y="316"/>
                    </a:cubicBezTo>
                    <a:cubicBezTo>
                      <a:pt x="13" y="317"/>
                      <a:pt x="14" y="318"/>
                      <a:pt x="14" y="319"/>
                    </a:cubicBezTo>
                    <a:cubicBezTo>
                      <a:pt x="13" y="318"/>
                      <a:pt x="13" y="318"/>
                      <a:pt x="11" y="318"/>
                    </a:cubicBezTo>
                    <a:cubicBezTo>
                      <a:pt x="9" y="318"/>
                      <a:pt x="9" y="318"/>
                      <a:pt x="9" y="318"/>
                    </a:cubicBezTo>
                    <a:cubicBezTo>
                      <a:pt x="9" y="320"/>
                      <a:pt x="9" y="320"/>
                      <a:pt x="9" y="320"/>
                    </a:cubicBezTo>
                    <a:cubicBezTo>
                      <a:pt x="9" y="320"/>
                      <a:pt x="10" y="321"/>
                      <a:pt x="10" y="321"/>
                    </a:cubicBezTo>
                    <a:cubicBezTo>
                      <a:pt x="9" y="326"/>
                      <a:pt x="9" y="326"/>
                      <a:pt x="9" y="326"/>
                    </a:cubicBezTo>
                    <a:cubicBezTo>
                      <a:pt x="9" y="328"/>
                      <a:pt x="11" y="328"/>
                      <a:pt x="11" y="330"/>
                    </a:cubicBezTo>
                    <a:cubicBezTo>
                      <a:pt x="11" y="332"/>
                      <a:pt x="11" y="332"/>
                      <a:pt x="11" y="332"/>
                    </a:cubicBezTo>
                    <a:cubicBezTo>
                      <a:pt x="9" y="332"/>
                      <a:pt x="9" y="332"/>
                      <a:pt x="8" y="331"/>
                    </a:cubicBezTo>
                    <a:cubicBezTo>
                      <a:pt x="8" y="332"/>
                      <a:pt x="9" y="333"/>
                      <a:pt x="9" y="335"/>
                    </a:cubicBezTo>
                    <a:cubicBezTo>
                      <a:pt x="9" y="336"/>
                      <a:pt x="9" y="337"/>
                      <a:pt x="10" y="338"/>
                    </a:cubicBezTo>
                    <a:cubicBezTo>
                      <a:pt x="11" y="340"/>
                      <a:pt x="12" y="341"/>
                      <a:pt x="12" y="343"/>
                    </a:cubicBezTo>
                    <a:cubicBezTo>
                      <a:pt x="12" y="344"/>
                      <a:pt x="12" y="344"/>
                      <a:pt x="12" y="345"/>
                    </a:cubicBezTo>
                    <a:cubicBezTo>
                      <a:pt x="12" y="346"/>
                      <a:pt x="13" y="346"/>
                      <a:pt x="13" y="348"/>
                    </a:cubicBezTo>
                    <a:cubicBezTo>
                      <a:pt x="13" y="349"/>
                      <a:pt x="13" y="349"/>
                      <a:pt x="12" y="350"/>
                    </a:cubicBezTo>
                    <a:cubicBezTo>
                      <a:pt x="12" y="350"/>
                      <a:pt x="11" y="350"/>
                      <a:pt x="10" y="351"/>
                    </a:cubicBezTo>
                    <a:cubicBezTo>
                      <a:pt x="12" y="352"/>
                      <a:pt x="13" y="353"/>
                      <a:pt x="13" y="355"/>
                    </a:cubicBezTo>
                    <a:cubicBezTo>
                      <a:pt x="14" y="356"/>
                      <a:pt x="13" y="357"/>
                      <a:pt x="14" y="358"/>
                    </a:cubicBezTo>
                    <a:cubicBezTo>
                      <a:pt x="14" y="359"/>
                      <a:pt x="15" y="359"/>
                      <a:pt x="15" y="359"/>
                    </a:cubicBezTo>
                    <a:cubicBezTo>
                      <a:pt x="16" y="360"/>
                      <a:pt x="16" y="362"/>
                      <a:pt x="17" y="362"/>
                    </a:cubicBezTo>
                    <a:cubicBezTo>
                      <a:pt x="20" y="362"/>
                      <a:pt x="21" y="360"/>
                      <a:pt x="23" y="358"/>
                    </a:cubicBezTo>
                    <a:cubicBezTo>
                      <a:pt x="24" y="358"/>
                      <a:pt x="24" y="358"/>
                      <a:pt x="24" y="358"/>
                    </a:cubicBezTo>
                    <a:cubicBezTo>
                      <a:pt x="24" y="360"/>
                      <a:pt x="24" y="360"/>
                      <a:pt x="24" y="360"/>
                    </a:cubicBezTo>
                    <a:cubicBezTo>
                      <a:pt x="24" y="362"/>
                      <a:pt x="23" y="363"/>
                      <a:pt x="23" y="366"/>
                    </a:cubicBezTo>
                    <a:cubicBezTo>
                      <a:pt x="23" y="367"/>
                      <a:pt x="23" y="367"/>
                      <a:pt x="23" y="367"/>
                    </a:cubicBezTo>
                    <a:cubicBezTo>
                      <a:pt x="24" y="367"/>
                      <a:pt x="24" y="366"/>
                      <a:pt x="25" y="365"/>
                    </a:cubicBezTo>
                    <a:cubicBezTo>
                      <a:pt x="25" y="364"/>
                      <a:pt x="26" y="364"/>
                      <a:pt x="27" y="364"/>
                    </a:cubicBezTo>
                    <a:cubicBezTo>
                      <a:pt x="27" y="366"/>
                      <a:pt x="29" y="366"/>
                      <a:pt x="30" y="366"/>
                    </a:cubicBezTo>
                    <a:cubicBezTo>
                      <a:pt x="30" y="367"/>
                      <a:pt x="30" y="367"/>
                      <a:pt x="30" y="368"/>
                    </a:cubicBezTo>
                    <a:cubicBezTo>
                      <a:pt x="32" y="369"/>
                      <a:pt x="33" y="369"/>
                      <a:pt x="35" y="369"/>
                    </a:cubicBezTo>
                    <a:cubicBezTo>
                      <a:pt x="36" y="369"/>
                      <a:pt x="37" y="368"/>
                      <a:pt x="38" y="368"/>
                    </a:cubicBezTo>
                    <a:cubicBezTo>
                      <a:pt x="40" y="368"/>
                      <a:pt x="41" y="368"/>
                      <a:pt x="43" y="368"/>
                    </a:cubicBezTo>
                    <a:cubicBezTo>
                      <a:pt x="43" y="368"/>
                      <a:pt x="43" y="368"/>
                      <a:pt x="43" y="368"/>
                    </a:cubicBezTo>
                    <a:cubicBezTo>
                      <a:pt x="43" y="370"/>
                      <a:pt x="41" y="370"/>
                      <a:pt x="39" y="370"/>
                    </a:cubicBezTo>
                    <a:cubicBezTo>
                      <a:pt x="38" y="370"/>
                      <a:pt x="38" y="371"/>
                      <a:pt x="37" y="372"/>
                    </a:cubicBezTo>
                    <a:cubicBezTo>
                      <a:pt x="36" y="372"/>
                      <a:pt x="35" y="373"/>
                      <a:pt x="35" y="374"/>
                    </a:cubicBezTo>
                    <a:cubicBezTo>
                      <a:pt x="35" y="374"/>
                      <a:pt x="36" y="374"/>
                      <a:pt x="36" y="374"/>
                    </a:cubicBezTo>
                    <a:cubicBezTo>
                      <a:pt x="37" y="374"/>
                      <a:pt x="38" y="373"/>
                      <a:pt x="39" y="373"/>
                    </a:cubicBezTo>
                    <a:cubicBezTo>
                      <a:pt x="42" y="373"/>
                      <a:pt x="42" y="373"/>
                      <a:pt x="42" y="373"/>
                    </a:cubicBezTo>
                    <a:cubicBezTo>
                      <a:pt x="42" y="374"/>
                      <a:pt x="42" y="374"/>
                      <a:pt x="42" y="374"/>
                    </a:cubicBezTo>
                    <a:cubicBezTo>
                      <a:pt x="41" y="375"/>
                      <a:pt x="40" y="376"/>
                      <a:pt x="39" y="377"/>
                    </a:cubicBezTo>
                    <a:cubicBezTo>
                      <a:pt x="39" y="378"/>
                      <a:pt x="39" y="379"/>
                      <a:pt x="39" y="380"/>
                    </a:cubicBezTo>
                    <a:cubicBezTo>
                      <a:pt x="39" y="382"/>
                      <a:pt x="37" y="382"/>
                      <a:pt x="37" y="384"/>
                    </a:cubicBezTo>
                    <a:cubicBezTo>
                      <a:pt x="36" y="385"/>
                      <a:pt x="36" y="386"/>
                      <a:pt x="36" y="387"/>
                    </a:cubicBezTo>
                    <a:cubicBezTo>
                      <a:pt x="36" y="388"/>
                      <a:pt x="36" y="389"/>
                      <a:pt x="37" y="389"/>
                    </a:cubicBezTo>
                    <a:cubicBezTo>
                      <a:pt x="38" y="388"/>
                      <a:pt x="39" y="387"/>
                      <a:pt x="41" y="387"/>
                    </a:cubicBezTo>
                    <a:cubicBezTo>
                      <a:pt x="42" y="387"/>
                      <a:pt x="42" y="388"/>
                      <a:pt x="43" y="388"/>
                    </a:cubicBezTo>
                    <a:cubicBezTo>
                      <a:pt x="45" y="388"/>
                      <a:pt x="46" y="386"/>
                      <a:pt x="47" y="385"/>
                    </a:cubicBezTo>
                    <a:cubicBezTo>
                      <a:pt x="48" y="382"/>
                      <a:pt x="50" y="381"/>
                      <a:pt x="50" y="379"/>
                    </a:cubicBezTo>
                    <a:cubicBezTo>
                      <a:pt x="51" y="378"/>
                      <a:pt x="51" y="377"/>
                      <a:pt x="51" y="376"/>
                    </a:cubicBezTo>
                    <a:cubicBezTo>
                      <a:pt x="52" y="376"/>
                      <a:pt x="53" y="375"/>
                      <a:pt x="53" y="374"/>
                    </a:cubicBezTo>
                    <a:cubicBezTo>
                      <a:pt x="54" y="373"/>
                      <a:pt x="53" y="372"/>
                      <a:pt x="54" y="371"/>
                    </a:cubicBezTo>
                    <a:cubicBezTo>
                      <a:pt x="54" y="370"/>
                      <a:pt x="55" y="370"/>
                      <a:pt x="56" y="370"/>
                    </a:cubicBezTo>
                    <a:cubicBezTo>
                      <a:pt x="57" y="369"/>
                      <a:pt x="58" y="369"/>
                      <a:pt x="60" y="368"/>
                    </a:cubicBezTo>
                    <a:cubicBezTo>
                      <a:pt x="58" y="370"/>
                      <a:pt x="58" y="371"/>
                      <a:pt x="56" y="374"/>
                    </a:cubicBezTo>
                    <a:cubicBezTo>
                      <a:pt x="55" y="375"/>
                      <a:pt x="55" y="376"/>
                      <a:pt x="54" y="377"/>
                    </a:cubicBezTo>
                    <a:cubicBezTo>
                      <a:pt x="54" y="378"/>
                      <a:pt x="53" y="378"/>
                      <a:pt x="53" y="379"/>
                    </a:cubicBezTo>
                    <a:cubicBezTo>
                      <a:pt x="53" y="383"/>
                      <a:pt x="59" y="383"/>
                      <a:pt x="59" y="386"/>
                    </a:cubicBezTo>
                    <a:cubicBezTo>
                      <a:pt x="59" y="388"/>
                      <a:pt x="57" y="388"/>
                      <a:pt x="56" y="388"/>
                    </a:cubicBezTo>
                    <a:cubicBezTo>
                      <a:pt x="55" y="389"/>
                      <a:pt x="55" y="389"/>
                      <a:pt x="55" y="390"/>
                    </a:cubicBezTo>
                    <a:cubicBezTo>
                      <a:pt x="55" y="390"/>
                      <a:pt x="54" y="390"/>
                      <a:pt x="54" y="390"/>
                    </a:cubicBezTo>
                    <a:cubicBezTo>
                      <a:pt x="53" y="391"/>
                      <a:pt x="52" y="391"/>
                      <a:pt x="51" y="392"/>
                    </a:cubicBezTo>
                    <a:cubicBezTo>
                      <a:pt x="51" y="393"/>
                      <a:pt x="51" y="393"/>
                      <a:pt x="51" y="393"/>
                    </a:cubicBezTo>
                    <a:cubicBezTo>
                      <a:pt x="52" y="393"/>
                      <a:pt x="52" y="393"/>
                      <a:pt x="53" y="393"/>
                    </a:cubicBezTo>
                    <a:cubicBezTo>
                      <a:pt x="54" y="393"/>
                      <a:pt x="55" y="392"/>
                      <a:pt x="57" y="391"/>
                    </a:cubicBezTo>
                    <a:cubicBezTo>
                      <a:pt x="57" y="390"/>
                      <a:pt x="57" y="389"/>
                      <a:pt x="58" y="389"/>
                    </a:cubicBezTo>
                    <a:cubicBezTo>
                      <a:pt x="59" y="389"/>
                      <a:pt x="59" y="390"/>
                      <a:pt x="59" y="391"/>
                    </a:cubicBezTo>
                    <a:cubicBezTo>
                      <a:pt x="60" y="391"/>
                      <a:pt x="61" y="392"/>
                      <a:pt x="61" y="392"/>
                    </a:cubicBezTo>
                    <a:cubicBezTo>
                      <a:pt x="61" y="395"/>
                      <a:pt x="56" y="395"/>
                      <a:pt x="56" y="397"/>
                    </a:cubicBezTo>
                    <a:cubicBezTo>
                      <a:pt x="56" y="398"/>
                      <a:pt x="57" y="398"/>
                      <a:pt x="57" y="398"/>
                    </a:cubicBezTo>
                    <a:cubicBezTo>
                      <a:pt x="60" y="398"/>
                      <a:pt x="62" y="396"/>
                      <a:pt x="63" y="394"/>
                    </a:cubicBezTo>
                    <a:cubicBezTo>
                      <a:pt x="64" y="392"/>
                      <a:pt x="64" y="390"/>
                      <a:pt x="66" y="390"/>
                    </a:cubicBezTo>
                    <a:cubicBezTo>
                      <a:pt x="67" y="390"/>
                      <a:pt x="68" y="390"/>
                      <a:pt x="69" y="390"/>
                    </a:cubicBezTo>
                    <a:cubicBezTo>
                      <a:pt x="70" y="390"/>
                      <a:pt x="71" y="391"/>
                      <a:pt x="72" y="390"/>
                    </a:cubicBezTo>
                    <a:cubicBezTo>
                      <a:pt x="72" y="389"/>
                      <a:pt x="72" y="387"/>
                      <a:pt x="73" y="387"/>
                    </a:cubicBezTo>
                    <a:cubicBezTo>
                      <a:pt x="74" y="387"/>
                      <a:pt x="74" y="387"/>
                      <a:pt x="74" y="387"/>
                    </a:cubicBezTo>
                    <a:cubicBezTo>
                      <a:pt x="75" y="386"/>
                      <a:pt x="76" y="385"/>
                      <a:pt x="78" y="385"/>
                    </a:cubicBezTo>
                    <a:cubicBezTo>
                      <a:pt x="79" y="385"/>
                      <a:pt x="80" y="387"/>
                      <a:pt x="82" y="387"/>
                    </a:cubicBezTo>
                    <a:cubicBezTo>
                      <a:pt x="84" y="387"/>
                      <a:pt x="85" y="385"/>
                      <a:pt x="86" y="384"/>
                    </a:cubicBezTo>
                    <a:cubicBezTo>
                      <a:pt x="85" y="383"/>
                      <a:pt x="85" y="383"/>
                      <a:pt x="85" y="383"/>
                    </a:cubicBezTo>
                    <a:cubicBezTo>
                      <a:pt x="85" y="382"/>
                      <a:pt x="85" y="382"/>
                      <a:pt x="85" y="382"/>
                    </a:cubicBezTo>
                    <a:cubicBezTo>
                      <a:pt x="86" y="381"/>
                      <a:pt x="87" y="382"/>
                      <a:pt x="88" y="381"/>
                    </a:cubicBezTo>
                    <a:cubicBezTo>
                      <a:pt x="89" y="381"/>
                      <a:pt x="89" y="379"/>
                      <a:pt x="90" y="378"/>
                    </a:cubicBezTo>
                    <a:cubicBezTo>
                      <a:pt x="90" y="378"/>
                      <a:pt x="91" y="378"/>
                      <a:pt x="92" y="378"/>
                    </a:cubicBezTo>
                    <a:cubicBezTo>
                      <a:pt x="97" y="378"/>
                      <a:pt x="97" y="378"/>
                      <a:pt x="97" y="378"/>
                    </a:cubicBezTo>
                    <a:cubicBezTo>
                      <a:pt x="98" y="377"/>
                      <a:pt x="99" y="375"/>
                      <a:pt x="100" y="375"/>
                    </a:cubicBezTo>
                    <a:cubicBezTo>
                      <a:pt x="101" y="375"/>
                      <a:pt x="102" y="376"/>
                      <a:pt x="103" y="376"/>
                    </a:cubicBezTo>
                    <a:cubicBezTo>
                      <a:pt x="103" y="374"/>
                      <a:pt x="104" y="372"/>
                      <a:pt x="106" y="372"/>
                    </a:cubicBezTo>
                    <a:cubicBezTo>
                      <a:pt x="106" y="372"/>
                      <a:pt x="106" y="372"/>
                      <a:pt x="107" y="372"/>
                    </a:cubicBezTo>
                    <a:cubicBezTo>
                      <a:pt x="107" y="372"/>
                      <a:pt x="107" y="372"/>
                      <a:pt x="108" y="371"/>
                    </a:cubicBezTo>
                    <a:cubicBezTo>
                      <a:pt x="108" y="371"/>
                      <a:pt x="108" y="372"/>
                      <a:pt x="108" y="372"/>
                    </a:cubicBezTo>
                    <a:cubicBezTo>
                      <a:pt x="110" y="372"/>
                      <a:pt x="111" y="370"/>
                      <a:pt x="111" y="369"/>
                    </a:cubicBezTo>
                    <a:cubicBezTo>
                      <a:pt x="111" y="369"/>
                      <a:pt x="111" y="369"/>
                      <a:pt x="112" y="369"/>
                    </a:cubicBezTo>
                    <a:cubicBezTo>
                      <a:pt x="113" y="369"/>
                      <a:pt x="113" y="369"/>
                      <a:pt x="114" y="369"/>
                    </a:cubicBezTo>
                    <a:cubicBezTo>
                      <a:pt x="115" y="369"/>
                      <a:pt x="115" y="368"/>
                      <a:pt x="115" y="366"/>
                    </a:cubicBezTo>
                    <a:cubicBezTo>
                      <a:pt x="115" y="364"/>
                      <a:pt x="114" y="363"/>
                      <a:pt x="113" y="361"/>
                    </a:cubicBezTo>
                    <a:cubicBezTo>
                      <a:pt x="114" y="361"/>
                      <a:pt x="114" y="361"/>
                      <a:pt x="114" y="361"/>
                    </a:cubicBezTo>
                    <a:cubicBezTo>
                      <a:pt x="115" y="362"/>
                      <a:pt x="115" y="363"/>
                      <a:pt x="116" y="363"/>
                    </a:cubicBezTo>
                    <a:cubicBezTo>
                      <a:pt x="117" y="364"/>
                      <a:pt x="117" y="365"/>
                      <a:pt x="118" y="365"/>
                    </a:cubicBezTo>
                    <a:cubicBezTo>
                      <a:pt x="120" y="366"/>
                      <a:pt x="121" y="366"/>
                      <a:pt x="124" y="366"/>
                    </a:cubicBezTo>
                    <a:cubicBezTo>
                      <a:pt x="126" y="366"/>
                      <a:pt x="127" y="365"/>
                      <a:pt x="129" y="364"/>
                    </a:cubicBezTo>
                    <a:cubicBezTo>
                      <a:pt x="131" y="363"/>
                      <a:pt x="133" y="363"/>
                      <a:pt x="136" y="362"/>
                    </a:cubicBezTo>
                    <a:cubicBezTo>
                      <a:pt x="137" y="362"/>
                      <a:pt x="138" y="361"/>
                      <a:pt x="139" y="361"/>
                    </a:cubicBezTo>
                    <a:cubicBezTo>
                      <a:pt x="141" y="360"/>
                      <a:pt x="142" y="361"/>
                      <a:pt x="143" y="360"/>
                    </a:cubicBezTo>
                    <a:cubicBezTo>
                      <a:pt x="145" y="360"/>
                      <a:pt x="148" y="359"/>
                      <a:pt x="148" y="358"/>
                    </a:cubicBezTo>
                    <a:cubicBezTo>
                      <a:pt x="148" y="357"/>
                      <a:pt x="147" y="356"/>
                      <a:pt x="147" y="356"/>
                    </a:cubicBezTo>
                    <a:cubicBezTo>
                      <a:pt x="148" y="356"/>
                      <a:pt x="148" y="356"/>
                      <a:pt x="148" y="356"/>
                    </a:cubicBezTo>
                    <a:cubicBezTo>
                      <a:pt x="147" y="355"/>
                      <a:pt x="147" y="354"/>
                      <a:pt x="147" y="352"/>
                    </a:cubicBezTo>
                    <a:cubicBezTo>
                      <a:pt x="147" y="350"/>
                      <a:pt x="148" y="348"/>
                      <a:pt x="149" y="346"/>
                    </a:cubicBezTo>
                    <a:cubicBezTo>
                      <a:pt x="151" y="343"/>
                      <a:pt x="151" y="342"/>
                      <a:pt x="153" y="34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2" name="Freeform 200">
                <a:extLst>
                  <a:ext uri="{FF2B5EF4-FFF2-40B4-BE49-F238E27FC236}">
                    <a16:creationId xmlns:a16="http://schemas.microsoft.com/office/drawing/2014/main" xmlns="" id="{CD2A9122-9863-4206-B29F-5AAFD4545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579" y="620631"/>
                <a:ext cx="833299" cy="1162695"/>
              </a:xfrm>
              <a:custGeom>
                <a:avLst/>
                <a:gdLst>
                  <a:gd name="T0" fmla="*/ 278 w 330"/>
                  <a:gd name="T1" fmla="*/ 23 h 460"/>
                  <a:gd name="T2" fmla="*/ 283 w 330"/>
                  <a:gd name="T3" fmla="*/ 30 h 460"/>
                  <a:gd name="T4" fmla="*/ 263 w 330"/>
                  <a:gd name="T5" fmla="*/ 37 h 460"/>
                  <a:gd name="T6" fmla="*/ 258 w 330"/>
                  <a:gd name="T7" fmla="*/ 44 h 460"/>
                  <a:gd name="T8" fmla="*/ 242 w 330"/>
                  <a:gd name="T9" fmla="*/ 52 h 460"/>
                  <a:gd name="T10" fmla="*/ 246 w 330"/>
                  <a:gd name="T11" fmla="*/ 66 h 460"/>
                  <a:gd name="T12" fmla="*/ 234 w 330"/>
                  <a:gd name="T13" fmla="*/ 70 h 460"/>
                  <a:gd name="T14" fmla="*/ 239 w 330"/>
                  <a:gd name="T15" fmla="*/ 85 h 460"/>
                  <a:gd name="T16" fmla="*/ 222 w 330"/>
                  <a:gd name="T17" fmla="*/ 87 h 460"/>
                  <a:gd name="T18" fmla="*/ 212 w 330"/>
                  <a:gd name="T19" fmla="*/ 106 h 460"/>
                  <a:gd name="T20" fmla="*/ 208 w 330"/>
                  <a:gd name="T21" fmla="*/ 117 h 460"/>
                  <a:gd name="T22" fmla="*/ 209 w 330"/>
                  <a:gd name="T23" fmla="*/ 123 h 460"/>
                  <a:gd name="T24" fmla="*/ 193 w 330"/>
                  <a:gd name="T25" fmla="*/ 139 h 460"/>
                  <a:gd name="T26" fmla="*/ 186 w 330"/>
                  <a:gd name="T27" fmla="*/ 157 h 460"/>
                  <a:gd name="T28" fmla="*/ 181 w 330"/>
                  <a:gd name="T29" fmla="*/ 163 h 460"/>
                  <a:gd name="T30" fmla="*/ 165 w 330"/>
                  <a:gd name="T31" fmla="*/ 185 h 460"/>
                  <a:gd name="T32" fmla="*/ 153 w 330"/>
                  <a:gd name="T33" fmla="*/ 192 h 460"/>
                  <a:gd name="T34" fmla="*/ 134 w 330"/>
                  <a:gd name="T35" fmla="*/ 213 h 460"/>
                  <a:gd name="T36" fmla="*/ 131 w 330"/>
                  <a:gd name="T37" fmla="*/ 227 h 460"/>
                  <a:gd name="T38" fmla="*/ 149 w 330"/>
                  <a:gd name="T39" fmla="*/ 216 h 460"/>
                  <a:gd name="T40" fmla="*/ 145 w 330"/>
                  <a:gd name="T41" fmla="*/ 231 h 460"/>
                  <a:gd name="T42" fmla="*/ 133 w 330"/>
                  <a:gd name="T43" fmla="*/ 245 h 460"/>
                  <a:gd name="T44" fmla="*/ 118 w 330"/>
                  <a:gd name="T45" fmla="*/ 238 h 460"/>
                  <a:gd name="T46" fmla="*/ 102 w 330"/>
                  <a:gd name="T47" fmla="*/ 242 h 460"/>
                  <a:gd name="T48" fmla="*/ 96 w 330"/>
                  <a:gd name="T49" fmla="*/ 264 h 460"/>
                  <a:gd name="T50" fmla="*/ 65 w 330"/>
                  <a:gd name="T51" fmla="*/ 255 h 460"/>
                  <a:gd name="T52" fmla="*/ 78 w 330"/>
                  <a:gd name="T53" fmla="*/ 270 h 460"/>
                  <a:gd name="T54" fmla="*/ 44 w 330"/>
                  <a:gd name="T55" fmla="*/ 267 h 460"/>
                  <a:gd name="T56" fmla="*/ 61 w 330"/>
                  <a:gd name="T57" fmla="*/ 286 h 460"/>
                  <a:gd name="T58" fmla="*/ 41 w 330"/>
                  <a:gd name="T59" fmla="*/ 280 h 460"/>
                  <a:gd name="T60" fmla="*/ 27 w 330"/>
                  <a:gd name="T61" fmla="*/ 283 h 460"/>
                  <a:gd name="T62" fmla="*/ 36 w 330"/>
                  <a:gd name="T63" fmla="*/ 292 h 460"/>
                  <a:gd name="T64" fmla="*/ 24 w 330"/>
                  <a:gd name="T65" fmla="*/ 290 h 460"/>
                  <a:gd name="T66" fmla="*/ 16 w 330"/>
                  <a:gd name="T67" fmla="*/ 306 h 460"/>
                  <a:gd name="T68" fmla="*/ 36 w 330"/>
                  <a:gd name="T69" fmla="*/ 324 h 460"/>
                  <a:gd name="T70" fmla="*/ 58 w 330"/>
                  <a:gd name="T71" fmla="*/ 326 h 460"/>
                  <a:gd name="T72" fmla="*/ 63 w 330"/>
                  <a:gd name="T73" fmla="*/ 330 h 460"/>
                  <a:gd name="T74" fmla="*/ 42 w 330"/>
                  <a:gd name="T75" fmla="*/ 326 h 460"/>
                  <a:gd name="T76" fmla="*/ 22 w 330"/>
                  <a:gd name="T77" fmla="*/ 333 h 460"/>
                  <a:gd name="T78" fmla="*/ 9 w 330"/>
                  <a:gd name="T79" fmla="*/ 351 h 460"/>
                  <a:gd name="T80" fmla="*/ 22 w 330"/>
                  <a:gd name="T81" fmla="*/ 361 h 460"/>
                  <a:gd name="T82" fmla="*/ 50 w 330"/>
                  <a:gd name="T83" fmla="*/ 354 h 460"/>
                  <a:gd name="T84" fmla="*/ 29 w 330"/>
                  <a:gd name="T85" fmla="*/ 367 h 460"/>
                  <a:gd name="T86" fmla="*/ 10 w 330"/>
                  <a:gd name="T87" fmla="*/ 384 h 460"/>
                  <a:gd name="T88" fmla="*/ 12 w 330"/>
                  <a:gd name="T89" fmla="*/ 397 h 460"/>
                  <a:gd name="T90" fmla="*/ 17 w 330"/>
                  <a:gd name="T91" fmla="*/ 401 h 460"/>
                  <a:gd name="T92" fmla="*/ 24 w 330"/>
                  <a:gd name="T93" fmla="*/ 413 h 460"/>
                  <a:gd name="T94" fmla="*/ 13 w 330"/>
                  <a:gd name="T95" fmla="*/ 440 h 460"/>
                  <a:gd name="T96" fmla="*/ 29 w 330"/>
                  <a:gd name="T97" fmla="*/ 459 h 460"/>
                  <a:gd name="T98" fmla="*/ 60 w 330"/>
                  <a:gd name="T99" fmla="*/ 452 h 460"/>
                  <a:gd name="T100" fmla="*/ 86 w 330"/>
                  <a:gd name="T101" fmla="*/ 432 h 460"/>
                  <a:gd name="T102" fmla="*/ 107 w 330"/>
                  <a:gd name="T103" fmla="*/ 427 h 460"/>
                  <a:gd name="T104" fmla="*/ 118 w 330"/>
                  <a:gd name="T105" fmla="*/ 393 h 460"/>
                  <a:gd name="T106" fmla="*/ 129 w 330"/>
                  <a:gd name="T107" fmla="*/ 423 h 460"/>
                  <a:gd name="T108" fmla="*/ 165 w 330"/>
                  <a:gd name="T109" fmla="*/ 366 h 460"/>
                  <a:gd name="T110" fmla="*/ 165 w 330"/>
                  <a:gd name="T111" fmla="*/ 282 h 460"/>
                  <a:gd name="T112" fmla="*/ 204 w 330"/>
                  <a:gd name="T113" fmla="*/ 219 h 460"/>
                  <a:gd name="T114" fmla="*/ 232 w 330"/>
                  <a:gd name="T115" fmla="*/ 122 h 460"/>
                  <a:gd name="T116" fmla="*/ 280 w 330"/>
                  <a:gd name="T117" fmla="*/ 48 h 460"/>
                  <a:gd name="T118" fmla="*/ 313 w 330"/>
                  <a:gd name="T119" fmla="*/ 31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0" h="460">
                    <a:moveTo>
                      <a:pt x="294" y="3"/>
                    </a:moveTo>
                    <a:cubicBezTo>
                      <a:pt x="293" y="3"/>
                      <a:pt x="293" y="4"/>
                      <a:pt x="292" y="4"/>
                    </a:cubicBezTo>
                    <a:cubicBezTo>
                      <a:pt x="291" y="4"/>
                      <a:pt x="291" y="3"/>
                      <a:pt x="291" y="3"/>
                    </a:cubicBezTo>
                    <a:cubicBezTo>
                      <a:pt x="288" y="3"/>
                      <a:pt x="288" y="3"/>
                      <a:pt x="288" y="3"/>
                    </a:cubicBezTo>
                    <a:cubicBezTo>
                      <a:pt x="286" y="3"/>
                      <a:pt x="285" y="4"/>
                      <a:pt x="284" y="5"/>
                    </a:cubicBezTo>
                    <a:cubicBezTo>
                      <a:pt x="284" y="7"/>
                      <a:pt x="284" y="8"/>
                      <a:pt x="283" y="10"/>
                    </a:cubicBezTo>
                    <a:cubicBezTo>
                      <a:pt x="285" y="11"/>
                      <a:pt x="287" y="10"/>
                      <a:pt x="287" y="11"/>
                    </a:cubicBezTo>
                    <a:cubicBezTo>
                      <a:pt x="287" y="12"/>
                      <a:pt x="286" y="13"/>
                      <a:pt x="285" y="13"/>
                    </a:cubicBezTo>
                    <a:cubicBezTo>
                      <a:pt x="285" y="14"/>
                      <a:pt x="285" y="14"/>
                      <a:pt x="285" y="14"/>
                    </a:cubicBezTo>
                    <a:cubicBezTo>
                      <a:pt x="285" y="15"/>
                      <a:pt x="286" y="15"/>
                      <a:pt x="286" y="16"/>
                    </a:cubicBezTo>
                    <a:cubicBezTo>
                      <a:pt x="286" y="17"/>
                      <a:pt x="285" y="18"/>
                      <a:pt x="285" y="19"/>
                    </a:cubicBezTo>
                    <a:cubicBezTo>
                      <a:pt x="285" y="20"/>
                      <a:pt x="285" y="20"/>
                      <a:pt x="286" y="20"/>
                    </a:cubicBezTo>
                    <a:cubicBezTo>
                      <a:pt x="285" y="20"/>
                      <a:pt x="285" y="20"/>
                      <a:pt x="285" y="20"/>
                    </a:cubicBezTo>
                    <a:cubicBezTo>
                      <a:pt x="284" y="20"/>
                      <a:pt x="284" y="20"/>
                      <a:pt x="283" y="20"/>
                    </a:cubicBezTo>
                    <a:cubicBezTo>
                      <a:pt x="282" y="21"/>
                      <a:pt x="281" y="21"/>
                      <a:pt x="279" y="22"/>
                    </a:cubicBezTo>
                    <a:cubicBezTo>
                      <a:pt x="279" y="22"/>
                      <a:pt x="279" y="23"/>
                      <a:pt x="278" y="23"/>
                    </a:cubicBezTo>
                    <a:cubicBezTo>
                      <a:pt x="277" y="23"/>
                      <a:pt x="277" y="22"/>
                      <a:pt x="276" y="22"/>
                    </a:cubicBezTo>
                    <a:cubicBezTo>
                      <a:pt x="275" y="22"/>
                      <a:pt x="275" y="23"/>
                      <a:pt x="274" y="23"/>
                    </a:cubicBezTo>
                    <a:cubicBezTo>
                      <a:pt x="272" y="24"/>
                      <a:pt x="271" y="25"/>
                      <a:pt x="269" y="26"/>
                    </a:cubicBezTo>
                    <a:cubicBezTo>
                      <a:pt x="267" y="28"/>
                      <a:pt x="266" y="27"/>
                      <a:pt x="264" y="28"/>
                    </a:cubicBezTo>
                    <a:cubicBezTo>
                      <a:pt x="263" y="29"/>
                      <a:pt x="262" y="29"/>
                      <a:pt x="262" y="30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3" y="32"/>
                      <a:pt x="263" y="32"/>
                      <a:pt x="263" y="32"/>
                    </a:cubicBezTo>
                    <a:cubicBezTo>
                      <a:pt x="264" y="32"/>
                      <a:pt x="264" y="31"/>
                      <a:pt x="265" y="31"/>
                    </a:cubicBezTo>
                    <a:cubicBezTo>
                      <a:pt x="266" y="30"/>
                      <a:pt x="267" y="30"/>
                      <a:pt x="268" y="30"/>
                    </a:cubicBezTo>
                    <a:cubicBezTo>
                      <a:pt x="269" y="30"/>
                      <a:pt x="269" y="31"/>
                      <a:pt x="270" y="31"/>
                    </a:cubicBezTo>
                    <a:cubicBezTo>
                      <a:pt x="271" y="31"/>
                      <a:pt x="272" y="30"/>
                      <a:pt x="273" y="29"/>
                    </a:cubicBezTo>
                    <a:cubicBezTo>
                      <a:pt x="274" y="28"/>
                      <a:pt x="275" y="28"/>
                      <a:pt x="276" y="28"/>
                    </a:cubicBezTo>
                    <a:cubicBezTo>
                      <a:pt x="277" y="28"/>
                      <a:pt x="277" y="29"/>
                      <a:pt x="278" y="30"/>
                    </a:cubicBezTo>
                    <a:cubicBezTo>
                      <a:pt x="279" y="28"/>
                      <a:pt x="280" y="28"/>
                      <a:pt x="282" y="28"/>
                    </a:cubicBezTo>
                    <a:cubicBezTo>
                      <a:pt x="285" y="28"/>
                      <a:pt x="285" y="28"/>
                      <a:pt x="285" y="28"/>
                    </a:cubicBezTo>
                    <a:cubicBezTo>
                      <a:pt x="284" y="29"/>
                      <a:pt x="284" y="29"/>
                      <a:pt x="283" y="30"/>
                    </a:cubicBezTo>
                    <a:cubicBezTo>
                      <a:pt x="284" y="31"/>
                      <a:pt x="287" y="31"/>
                      <a:pt x="287" y="32"/>
                    </a:cubicBezTo>
                    <a:cubicBezTo>
                      <a:pt x="287" y="34"/>
                      <a:pt x="285" y="34"/>
                      <a:pt x="284" y="34"/>
                    </a:cubicBezTo>
                    <a:cubicBezTo>
                      <a:pt x="283" y="34"/>
                      <a:pt x="282" y="35"/>
                      <a:pt x="281" y="35"/>
                    </a:cubicBezTo>
                    <a:cubicBezTo>
                      <a:pt x="280" y="35"/>
                      <a:pt x="279" y="35"/>
                      <a:pt x="279" y="36"/>
                    </a:cubicBezTo>
                    <a:cubicBezTo>
                      <a:pt x="279" y="36"/>
                      <a:pt x="279" y="36"/>
                      <a:pt x="280" y="37"/>
                    </a:cubicBezTo>
                    <a:cubicBezTo>
                      <a:pt x="280" y="38"/>
                      <a:pt x="280" y="39"/>
                      <a:pt x="280" y="40"/>
                    </a:cubicBezTo>
                    <a:cubicBezTo>
                      <a:pt x="279" y="40"/>
                      <a:pt x="278" y="40"/>
                      <a:pt x="277" y="40"/>
                    </a:cubicBezTo>
                    <a:cubicBezTo>
                      <a:pt x="276" y="39"/>
                      <a:pt x="276" y="38"/>
                      <a:pt x="276" y="37"/>
                    </a:cubicBezTo>
                    <a:cubicBezTo>
                      <a:pt x="276" y="36"/>
                      <a:pt x="276" y="36"/>
                      <a:pt x="275" y="36"/>
                    </a:cubicBezTo>
                    <a:cubicBezTo>
                      <a:pt x="274" y="36"/>
                      <a:pt x="273" y="38"/>
                      <a:pt x="272" y="38"/>
                    </a:cubicBezTo>
                    <a:cubicBezTo>
                      <a:pt x="270" y="38"/>
                      <a:pt x="270" y="38"/>
                      <a:pt x="270" y="38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1" y="35"/>
                      <a:pt x="271" y="35"/>
                      <a:pt x="271" y="35"/>
                    </a:cubicBezTo>
                    <a:cubicBezTo>
                      <a:pt x="270" y="35"/>
                      <a:pt x="270" y="35"/>
                      <a:pt x="270" y="35"/>
                    </a:cubicBezTo>
                    <a:cubicBezTo>
                      <a:pt x="267" y="35"/>
                      <a:pt x="266" y="36"/>
                      <a:pt x="263" y="36"/>
                    </a:cubicBezTo>
                    <a:cubicBezTo>
                      <a:pt x="263" y="36"/>
                      <a:pt x="263" y="36"/>
                      <a:pt x="263" y="37"/>
                    </a:cubicBezTo>
                    <a:cubicBezTo>
                      <a:pt x="263" y="37"/>
                      <a:pt x="264" y="37"/>
                      <a:pt x="264" y="38"/>
                    </a:cubicBezTo>
                    <a:cubicBezTo>
                      <a:pt x="265" y="38"/>
                      <a:pt x="266" y="39"/>
                      <a:pt x="266" y="40"/>
                    </a:cubicBezTo>
                    <a:cubicBezTo>
                      <a:pt x="266" y="40"/>
                      <a:pt x="266" y="41"/>
                      <a:pt x="266" y="41"/>
                    </a:cubicBezTo>
                    <a:cubicBezTo>
                      <a:pt x="266" y="42"/>
                      <a:pt x="266" y="42"/>
                      <a:pt x="266" y="43"/>
                    </a:cubicBezTo>
                    <a:cubicBezTo>
                      <a:pt x="266" y="43"/>
                      <a:pt x="265" y="43"/>
                      <a:pt x="265" y="44"/>
                    </a:cubicBezTo>
                    <a:cubicBezTo>
                      <a:pt x="264" y="44"/>
                      <a:pt x="264" y="44"/>
                      <a:pt x="263" y="45"/>
                    </a:cubicBezTo>
                    <a:cubicBezTo>
                      <a:pt x="264" y="46"/>
                      <a:pt x="265" y="45"/>
                      <a:pt x="266" y="45"/>
                    </a:cubicBezTo>
                    <a:cubicBezTo>
                      <a:pt x="266" y="47"/>
                      <a:pt x="266" y="47"/>
                      <a:pt x="266" y="47"/>
                    </a:cubicBezTo>
                    <a:cubicBezTo>
                      <a:pt x="266" y="47"/>
                      <a:pt x="265" y="47"/>
                      <a:pt x="265" y="47"/>
                    </a:cubicBezTo>
                    <a:cubicBezTo>
                      <a:pt x="264" y="48"/>
                      <a:pt x="263" y="49"/>
                      <a:pt x="263" y="50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4" y="51"/>
                      <a:pt x="265" y="52"/>
                      <a:pt x="265" y="53"/>
                    </a:cubicBezTo>
                    <a:cubicBezTo>
                      <a:pt x="265" y="54"/>
                      <a:pt x="265" y="54"/>
                      <a:pt x="264" y="54"/>
                    </a:cubicBezTo>
                    <a:cubicBezTo>
                      <a:pt x="262" y="54"/>
                      <a:pt x="261" y="53"/>
                      <a:pt x="259" y="51"/>
                    </a:cubicBezTo>
                    <a:cubicBezTo>
                      <a:pt x="259" y="47"/>
                      <a:pt x="259" y="47"/>
                      <a:pt x="259" y="47"/>
                    </a:cubicBezTo>
                    <a:cubicBezTo>
                      <a:pt x="259" y="46"/>
                      <a:pt x="258" y="45"/>
                      <a:pt x="258" y="44"/>
                    </a:cubicBezTo>
                    <a:cubicBezTo>
                      <a:pt x="257" y="43"/>
                      <a:pt x="258" y="42"/>
                      <a:pt x="257" y="41"/>
                    </a:cubicBezTo>
                    <a:cubicBezTo>
                      <a:pt x="257" y="40"/>
                      <a:pt x="257" y="39"/>
                      <a:pt x="256" y="38"/>
                    </a:cubicBezTo>
                    <a:cubicBezTo>
                      <a:pt x="256" y="38"/>
                      <a:pt x="256" y="38"/>
                      <a:pt x="256" y="38"/>
                    </a:cubicBezTo>
                    <a:cubicBezTo>
                      <a:pt x="256" y="40"/>
                      <a:pt x="255" y="40"/>
                      <a:pt x="254" y="41"/>
                    </a:cubicBezTo>
                    <a:cubicBezTo>
                      <a:pt x="253" y="42"/>
                      <a:pt x="253" y="43"/>
                      <a:pt x="252" y="43"/>
                    </a:cubicBezTo>
                    <a:cubicBezTo>
                      <a:pt x="247" y="43"/>
                      <a:pt x="247" y="43"/>
                      <a:pt x="247" y="43"/>
                    </a:cubicBezTo>
                    <a:cubicBezTo>
                      <a:pt x="247" y="44"/>
                      <a:pt x="246" y="45"/>
                      <a:pt x="246" y="46"/>
                    </a:cubicBezTo>
                    <a:cubicBezTo>
                      <a:pt x="246" y="46"/>
                      <a:pt x="246" y="46"/>
                      <a:pt x="247" y="46"/>
                    </a:cubicBezTo>
                    <a:cubicBezTo>
                      <a:pt x="248" y="46"/>
                      <a:pt x="248" y="46"/>
                      <a:pt x="249" y="46"/>
                    </a:cubicBezTo>
                    <a:cubicBezTo>
                      <a:pt x="251" y="46"/>
                      <a:pt x="251" y="47"/>
                      <a:pt x="252" y="47"/>
                    </a:cubicBezTo>
                    <a:cubicBezTo>
                      <a:pt x="253" y="48"/>
                      <a:pt x="254" y="48"/>
                      <a:pt x="254" y="49"/>
                    </a:cubicBezTo>
                    <a:cubicBezTo>
                      <a:pt x="254" y="51"/>
                      <a:pt x="253" y="51"/>
                      <a:pt x="253" y="53"/>
                    </a:cubicBezTo>
                    <a:cubicBezTo>
                      <a:pt x="251" y="51"/>
                      <a:pt x="250" y="51"/>
                      <a:pt x="249" y="51"/>
                    </a:cubicBezTo>
                    <a:cubicBezTo>
                      <a:pt x="247" y="51"/>
                      <a:pt x="246" y="51"/>
                      <a:pt x="245" y="52"/>
                    </a:cubicBezTo>
                    <a:cubicBezTo>
                      <a:pt x="245" y="52"/>
                      <a:pt x="245" y="53"/>
                      <a:pt x="244" y="53"/>
                    </a:cubicBezTo>
                    <a:cubicBezTo>
                      <a:pt x="243" y="53"/>
                      <a:pt x="243" y="52"/>
                      <a:pt x="242" y="52"/>
                    </a:cubicBezTo>
                    <a:cubicBezTo>
                      <a:pt x="242" y="52"/>
                      <a:pt x="241" y="53"/>
                      <a:pt x="241" y="53"/>
                    </a:cubicBezTo>
                    <a:cubicBezTo>
                      <a:pt x="240" y="55"/>
                      <a:pt x="240" y="56"/>
                      <a:pt x="240" y="58"/>
                    </a:cubicBezTo>
                    <a:cubicBezTo>
                      <a:pt x="240" y="58"/>
                      <a:pt x="240" y="59"/>
                      <a:pt x="240" y="59"/>
                    </a:cubicBezTo>
                    <a:cubicBezTo>
                      <a:pt x="241" y="59"/>
                      <a:pt x="241" y="57"/>
                      <a:pt x="242" y="57"/>
                    </a:cubicBezTo>
                    <a:cubicBezTo>
                      <a:pt x="244" y="55"/>
                      <a:pt x="245" y="54"/>
                      <a:pt x="247" y="53"/>
                    </a:cubicBezTo>
                    <a:cubicBezTo>
                      <a:pt x="248" y="53"/>
                      <a:pt x="248" y="53"/>
                      <a:pt x="248" y="53"/>
                    </a:cubicBezTo>
                    <a:cubicBezTo>
                      <a:pt x="248" y="54"/>
                      <a:pt x="248" y="54"/>
                      <a:pt x="248" y="55"/>
                    </a:cubicBezTo>
                    <a:cubicBezTo>
                      <a:pt x="250" y="56"/>
                      <a:pt x="252" y="57"/>
                      <a:pt x="253" y="59"/>
                    </a:cubicBezTo>
                    <a:cubicBezTo>
                      <a:pt x="252" y="59"/>
                      <a:pt x="251" y="59"/>
                      <a:pt x="249" y="60"/>
                    </a:cubicBezTo>
                    <a:cubicBezTo>
                      <a:pt x="249" y="60"/>
                      <a:pt x="249" y="61"/>
                      <a:pt x="248" y="61"/>
                    </a:cubicBezTo>
                    <a:cubicBezTo>
                      <a:pt x="247" y="61"/>
                      <a:pt x="247" y="60"/>
                      <a:pt x="246" y="60"/>
                    </a:cubicBezTo>
                    <a:cubicBezTo>
                      <a:pt x="245" y="60"/>
                      <a:pt x="245" y="60"/>
                      <a:pt x="245" y="60"/>
                    </a:cubicBezTo>
                    <a:cubicBezTo>
                      <a:pt x="245" y="62"/>
                      <a:pt x="247" y="61"/>
                      <a:pt x="247" y="63"/>
                    </a:cubicBezTo>
                    <a:cubicBezTo>
                      <a:pt x="247" y="64"/>
                      <a:pt x="247" y="64"/>
                      <a:pt x="247" y="64"/>
                    </a:cubicBezTo>
                    <a:cubicBezTo>
                      <a:pt x="246" y="64"/>
                      <a:pt x="246" y="64"/>
                      <a:pt x="245" y="64"/>
                    </a:cubicBezTo>
                    <a:cubicBezTo>
                      <a:pt x="245" y="65"/>
                      <a:pt x="246" y="66"/>
                      <a:pt x="246" y="66"/>
                    </a:cubicBezTo>
                    <a:cubicBezTo>
                      <a:pt x="248" y="66"/>
                      <a:pt x="249" y="64"/>
                      <a:pt x="250" y="64"/>
                    </a:cubicBezTo>
                    <a:cubicBezTo>
                      <a:pt x="251" y="64"/>
                      <a:pt x="252" y="65"/>
                      <a:pt x="253" y="65"/>
                    </a:cubicBezTo>
                    <a:cubicBezTo>
                      <a:pt x="252" y="66"/>
                      <a:pt x="251" y="67"/>
                      <a:pt x="250" y="67"/>
                    </a:cubicBezTo>
                    <a:cubicBezTo>
                      <a:pt x="250" y="67"/>
                      <a:pt x="248" y="68"/>
                      <a:pt x="248" y="68"/>
                    </a:cubicBezTo>
                    <a:cubicBezTo>
                      <a:pt x="248" y="69"/>
                      <a:pt x="249" y="69"/>
                      <a:pt x="249" y="69"/>
                    </a:cubicBezTo>
                    <a:cubicBezTo>
                      <a:pt x="250" y="71"/>
                      <a:pt x="250" y="72"/>
                      <a:pt x="251" y="74"/>
                    </a:cubicBezTo>
                    <a:cubicBezTo>
                      <a:pt x="245" y="74"/>
                      <a:pt x="245" y="74"/>
                      <a:pt x="245" y="74"/>
                    </a:cubicBezTo>
                    <a:cubicBezTo>
                      <a:pt x="245" y="72"/>
                      <a:pt x="245" y="71"/>
                      <a:pt x="245" y="69"/>
                    </a:cubicBezTo>
                    <a:cubicBezTo>
                      <a:pt x="244" y="69"/>
                      <a:pt x="244" y="69"/>
                      <a:pt x="244" y="69"/>
                    </a:cubicBezTo>
                    <a:cubicBezTo>
                      <a:pt x="244" y="69"/>
                      <a:pt x="243" y="70"/>
                      <a:pt x="243" y="70"/>
                    </a:cubicBezTo>
                    <a:cubicBezTo>
                      <a:pt x="242" y="70"/>
                      <a:pt x="241" y="68"/>
                      <a:pt x="240" y="68"/>
                    </a:cubicBezTo>
                    <a:cubicBezTo>
                      <a:pt x="240" y="68"/>
                      <a:pt x="239" y="68"/>
                      <a:pt x="239" y="67"/>
                    </a:cubicBezTo>
                    <a:cubicBezTo>
                      <a:pt x="238" y="67"/>
                      <a:pt x="238" y="66"/>
                      <a:pt x="237" y="66"/>
                    </a:cubicBezTo>
                    <a:cubicBezTo>
                      <a:pt x="236" y="66"/>
                      <a:pt x="236" y="67"/>
                      <a:pt x="235" y="68"/>
                    </a:cubicBezTo>
                    <a:cubicBezTo>
                      <a:pt x="235" y="69"/>
                      <a:pt x="235" y="69"/>
                      <a:pt x="234" y="69"/>
                    </a:cubicBezTo>
                    <a:cubicBezTo>
                      <a:pt x="234" y="70"/>
                      <a:pt x="234" y="70"/>
                      <a:pt x="234" y="70"/>
                    </a:cubicBezTo>
                    <a:cubicBezTo>
                      <a:pt x="235" y="70"/>
                      <a:pt x="236" y="70"/>
                      <a:pt x="237" y="70"/>
                    </a:cubicBezTo>
                    <a:cubicBezTo>
                      <a:pt x="237" y="70"/>
                      <a:pt x="238" y="70"/>
                      <a:pt x="238" y="71"/>
                    </a:cubicBezTo>
                    <a:cubicBezTo>
                      <a:pt x="238" y="72"/>
                      <a:pt x="238" y="72"/>
                      <a:pt x="237" y="73"/>
                    </a:cubicBezTo>
                    <a:cubicBezTo>
                      <a:pt x="238" y="74"/>
                      <a:pt x="238" y="74"/>
                      <a:pt x="238" y="74"/>
                    </a:cubicBezTo>
                    <a:cubicBezTo>
                      <a:pt x="239" y="74"/>
                      <a:pt x="240" y="74"/>
                      <a:pt x="241" y="74"/>
                    </a:cubicBezTo>
                    <a:cubicBezTo>
                      <a:pt x="242" y="75"/>
                      <a:pt x="242" y="74"/>
                      <a:pt x="243" y="75"/>
                    </a:cubicBezTo>
                    <a:cubicBezTo>
                      <a:pt x="243" y="75"/>
                      <a:pt x="243" y="76"/>
                      <a:pt x="244" y="76"/>
                    </a:cubicBezTo>
                    <a:cubicBezTo>
                      <a:pt x="244" y="77"/>
                      <a:pt x="245" y="78"/>
                      <a:pt x="247" y="79"/>
                    </a:cubicBezTo>
                    <a:cubicBezTo>
                      <a:pt x="248" y="79"/>
                      <a:pt x="249" y="79"/>
                      <a:pt x="249" y="80"/>
                    </a:cubicBezTo>
                    <a:cubicBezTo>
                      <a:pt x="249" y="81"/>
                      <a:pt x="248" y="82"/>
                      <a:pt x="248" y="82"/>
                    </a:cubicBezTo>
                    <a:cubicBezTo>
                      <a:pt x="247" y="84"/>
                      <a:pt x="247" y="85"/>
                      <a:pt x="246" y="85"/>
                    </a:cubicBezTo>
                    <a:cubicBezTo>
                      <a:pt x="245" y="85"/>
                      <a:pt x="245" y="85"/>
                      <a:pt x="245" y="85"/>
                    </a:cubicBezTo>
                    <a:cubicBezTo>
                      <a:pt x="245" y="85"/>
                      <a:pt x="245" y="84"/>
                      <a:pt x="245" y="84"/>
                    </a:cubicBezTo>
                    <a:cubicBezTo>
                      <a:pt x="245" y="83"/>
                      <a:pt x="245" y="82"/>
                      <a:pt x="244" y="82"/>
                    </a:cubicBezTo>
                    <a:cubicBezTo>
                      <a:pt x="242" y="82"/>
                      <a:pt x="241" y="83"/>
                      <a:pt x="239" y="84"/>
                    </a:cubicBezTo>
                    <a:cubicBezTo>
                      <a:pt x="239" y="85"/>
                      <a:pt x="239" y="85"/>
                      <a:pt x="239" y="85"/>
                    </a:cubicBezTo>
                    <a:cubicBezTo>
                      <a:pt x="239" y="86"/>
                      <a:pt x="238" y="87"/>
                      <a:pt x="237" y="87"/>
                    </a:cubicBezTo>
                    <a:cubicBezTo>
                      <a:pt x="236" y="87"/>
                      <a:pt x="236" y="85"/>
                      <a:pt x="236" y="84"/>
                    </a:cubicBezTo>
                    <a:cubicBezTo>
                      <a:pt x="236" y="84"/>
                      <a:pt x="236" y="83"/>
                      <a:pt x="236" y="82"/>
                    </a:cubicBezTo>
                    <a:cubicBezTo>
                      <a:pt x="236" y="82"/>
                      <a:pt x="236" y="82"/>
                      <a:pt x="235" y="82"/>
                    </a:cubicBezTo>
                    <a:cubicBezTo>
                      <a:pt x="233" y="82"/>
                      <a:pt x="234" y="85"/>
                      <a:pt x="232" y="85"/>
                    </a:cubicBezTo>
                    <a:cubicBezTo>
                      <a:pt x="231" y="85"/>
                      <a:pt x="231" y="84"/>
                      <a:pt x="230" y="84"/>
                    </a:cubicBezTo>
                    <a:cubicBezTo>
                      <a:pt x="229" y="84"/>
                      <a:pt x="229" y="85"/>
                      <a:pt x="228" y="85"/>
                    </a:cubicBezTo>
                    <a:cubicBezTo>
                      <a:pt x="228" y="86"/>
                      <a:pt x="228" y="86"/>
                      <a:pt x="228" y="86"/>
                    </a:cubicBezTo>
                    <a:cubicBezTo>
                      <a:pt x="229" y="86"/>
                      <a:pt x="229" y="87"/>
                      <a:pt x="231" y="87"/>
                    </a:cubicBezTo>
                    <a:cubicBezTo>
                      <a:pt x="231" y="88"/>
                      <a:pt x="231" y="88"/>
                      <a:pt x="231" y="88"/>
                    </a:cubicBezTo>
                    <a:cubicBezTo>
                      <a:pt x="231" y="89"/>
                      <a:pt x="229" y="89"/>
                      <a:pt x="228" y="90"/>
                    </a:cubicBezTo>
                    <a:cubicBezTo>
                      <a:pt x="227" y="90"/>
                      <a:pt x="227" y="91"/>
                      <a:pt x="226" y="91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24" y="90"/>
                      <a:pt x="224" y="90"/>
                      <a:pt x="224" y="90"/>
                    </a:cubicBezTo>
                    <a:cubicBezTo>
                      <a:pt x="224" y="90"/>
                      <a:pt x="224" y="89"/>
                      <a:pt x="224" y="89"/>
                    </a:cubicBezTo>
                    <a:cubicBezTo>
                      <a:pt x="224" y="88"/>
                      <a:pt x="223" y="88"/>
                      <a:pt x="222" y="87"/>
                    </a:cubicBezTo>
                    <a:cubicBezTo>
                      <a:pt x="222" y="89"/>
                      <a:pt x="222" y="91"/>
                      <a:pt x="220" y="91"/>
                    </a:cubicBezTo>
                    <a:cubicBezTo>
                      <a:pt x="219" y="91"/>
                      <a:pt x="219" y="90"/>
                      <a:pt x="219" y="90"/>
                    </a:cubicBezTo>
                    <a:cubicBezTo>
                      <a:pt x="218" y="90"/>
                      <a:pt x="219" y="90"/>
                      <a:pt x="218" y="90"/>
                    </a:cubicBezTo>
                    <a:cubicBezTo>
                      <a:pt x="218" y="91"/>
                      <a:pt x="217" y="90"/>
                      <a:pt x="217" y="91"/>
                    </a:cubicBezTo>
                    <a:cubicBezTo>
                      <a:pt x="215" y="91"/>
                      <a:pt x="214" y="92"/>
                      <a:pt x="213" y="92"/>
                    </a:cubicBezTo>
                    <a:cubicBezTo>
                      <a:pt x="213" y="93"/>
                      <a:pt x="215" y="93"/>
                      <a:pt x="216" y="95"/>
                    </a:cubicBezTo>
                    <a:cubicBezTo>
                      <a:pt x="217" y="96"/>
                      <a:pt x="217" y="97"/>
                      <a:pt x="218" y="98"/>
                    </a:cubicBezTo>
                    <a:cubicBezTo>
                      <a:pt x="216" y="99"/>
                      <a:pt x="216" y="99"/>
                      <a:pt x="214" y="99"/>
                    </a:cubicBezTo>
                    <a:cubicBezTo>
                      <a:pt x="213" y="99"/>
                      <a:pt x="213" y="99"/>
                      <a:pt x="212" y="98"/>
                    </a:cubicBezTo>
                    <a:cubicBezTo>
                      <a:pt x="212" y="99"/>
                      <a:pt x="212" y="99"/>
                      <a:pt x="212" y="99"/>
                    </a:cubicBezTo>
                    <a:cubicBezTo>
                      <a:pt x="213" y="100"/>
                      <a:pt x="215" y="100"/>
                      <a:pt x="215" y="102"/>
                    </a:cubicBezTo>
                    <a:cubicBezTo>
                      <a:pt x="215" y="104"/>
                      <a:pt x="212" y="104"/>
                      <a:pt x="211" y="104"/>
                    </a:cubicBezTo>
                    <a:cubicBezTo>
                      <a:pt x="210" y="104"/>
                      <a:pt x="210" y="104"/>
                      <a:pt x="209" y="104"/>
                    </a:cubicBezTo>
                    <a:cubicBezTo>
                      <a:pt x="209" y="104"/>
                      <a:pt x="209" y="104"/>
                      <a:pt x="209" y="105"/>
                    </a:cubicBezTo>
                    <a:cubicBezTo>
                      <a:pt x="209" y="105"/>
                      <a:pt x="210" y="105"/>
                      <a:pt x="210" y="105"/>
                    </a:cubicBezTo>
                    <a:cubicBezTo>
                      <a:pt x="211" y="106"/>
                      <a:pt x="211" y="106"/>
                      <a:pt x="212" y="106"/>
                    </a:cubicBezTo>
                    <a:cubicBezTo>
                      <a:pt x="212" y="106"/>
                      <a:pt x="213" y="106"/>
                      <a:pt x="213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5" y="106"/>
                      <a:pt x="215" y="106"/>
                      <a:pt x="215" y="107"/>
                    </a:cubicBezTo>
                    <a:cubicBezTo>
                      <a:pt x="215" y="107"/>
                      <a:pt x="214" y="107"/>
                      <a:pt x="214" y="108"/>
                    </a:cubicBezTo>
                    <a:cubicBezTo>
                      <a:pt x="214" y="109"/>
                      <a:pt x="215" y="109"/>
                      <a:pt x="214" y="110"/>
                    </a:cubicBezTo>
                    <a:cubicBezTo>
                      <a:pt x="214" y="111"/>
                      <a:pt x="213" y="111"/>
                      <a:pt x="212" y="111"/>
                    </a:cubicBezTo>
                    <a:cubicBezTo>
                      <a:pt x="212" y="111"/>
                      <a:pt x="211" y="111"/>
                      <a:pt x="210" y="111"/>
                    </a:cubicBezTo>
                    <a:cubicBezTo>
                      <a:pt x="207" y="110"/>
                      <a:pt x="207" y="110"/>
                      <a:pt x="207" y="110"/>
                    </a:cubicBezTo>
                    <a:cubicBezTo>
                      <a:pt x="207" y="111"/>
                      <a:pt x="206" y="111"/>
                      <a:pt x="206" y="111"/>
                    </a:cubicBezTo>
                    <a:cubicBezTo>
                      <a:pt x="205" y="111"/>
                      <a:pt x="205" y="110"/>
                      <a:pt x="205" y="110"/>
                    </a:cubicBezTo>
                    <a:cubicBezTo>
                      <a:pt x="204" y="110"/>
                      <a:pt x="204" y="111"/>
                      <a:pt x="204" y="111"/>
                    </a:cubicBezTo>
                    <a:cubicBezTo>
                      <a:pt x="204" y="112"/>
                      <a:pt x="205" y="112"/>
                      <a:pt x="205" y="112"/>
                    </a:cubicBezTo>
                    <a:cubicBezTo>
                      <a:pt x="206" y="113"/>
                      <a:pt x="206" y="114"/>
                      <a:pt x="206" y="115"/>
                    </a:cubicBezTo>
                    <a:cubicBezTo>
                      <a:pt x="206" y="115"/>
                      <a:pt x="206" y="115"/>
                      <a:pt x="206" y="116"/>
                    </a:cubicBezTo>
                    <a:cubicBezTo>
                      <a:pt x="206" y="117"/>
                      <a:pt x="206" y="117"/>
                      <a:pt x="206" y="117"/>
                    </a:cubicBezTo>
                    <a:cubicBezTo>
                      <a:pt x="208" y="117"/>
                      <a:pt x="208" y="117"/>
                      <a:pt x="208" y="117"/>
                    </a:cubicBezTo>
                    <a:cubicBezTo>
                      <a:pt x="209" y="117"/>
                      <a:pt x="209" y="117"/>
                      <a:pt x="209" y="117"/>
                    </a:cubicBezTo>
                    <a:cubicBezTo>
                      <a:pt x="208" y="118"/>
                      <a:pt x="207" y="119"/>
                      <a:pt x="207" y="120"/>
                    </a:cubicBezTo>
                    <a:cubicBezTo>
                      <a:pt x="207" y="120"/>
                      <a:pt x="207" y="120"/>
                      <a:pt x="207" y="120"/>
                    </a:cubicBezTo>
                    <a:cubicBezTo>
                      <a:pt x="208" y="120"/>
                      <a:pt x="209" y="120"/>
                      <a:pt x="209" y="120"/>
                    </a:cubicBezTo>
                    <a:cubicBezTo>
                      <a:pt x="210" y="120"/>
                      <a:pt x="210" y="120"/>
                      <a:pt x="211" y="120"/>
                    </a:cubicBezTo>
                    <a:cubicBezTo>
                      <a:pt x="212" y="120"/>
                      <a:pt x="212" y="120"/>
                      <a:pt x="213" y="119"/>
                    </a:cubicBezTo>
                    <a:cubicBezTo>
                      <a:pt x="214" y="119"/>
                      <a:pt x="214" y="119"/>
                      <a:pt x="216" y="119"/>
                    </a:cubicBezTo>
                    <a:cubicBezTo>
                      <a:pt x="217" y="120"/>
                      <a:pt x="217" y="120"/>
                      <a:pt x="218" y="120"/>
                    </a:cubicBezTo>
                    <a:cubicBezTo>
                      <a:pt x="219" y="120"/>
                      <a:pt x="220" y="120"/>
                      <a:pt x="221" y="120"/>
                    </a:cubicBezTo>
                    <a:cubicBezTo>
                      <a:pt x="221" y="122"/>
                      <a:pt x="219" y="122"/>
                      <a:pt x="218" y="122"/>
                    </a:cubicBezTo>
                    <a:cubicBezTo>
                      <a:pt x="216" y="123"/>
                      <a:pt x="216" y="124"/>
                      <a:pt x="214" y="124"/>
                    </a:cubicBezTo>
                    <a:cubicBezTo>
                      <a:pt x="214" y="124"/>
                      <a:pt x="214" y="122"/>
                      <a:pt x="213" y="122"/>
                    </a:cubicBezTo>
                    <a:cubicBezTo>
                      <a:pt x="213" y="122"/>
                      <a:pt x="212" y="122"/>
                      <a:pt x="212" y="122"/>
                    </a:cubicBezTo>
                    <a:cubicBezTo>
                      <a:pt x="212" y="125"/>
                      <a:pt x="212" y="125"/>
                      <a:pt x="212" y="125"/>
                    </a:cubicBezTo>
                    <a:cubicBezTo>
                      <a:pt x="212" y="125"/>
                      <a:pt x="211" y="125"/>
                      <a:pt x="211" y="126"/>
                    </a:cubicBezTo>
                    <a:cubicBezTo>
                      <a:pt x="210" y="125"/>
                      <a:pt x="209" y="124"/>
                      <a:pt x="209" y="123"/>
                    </a:cubicBezTo>
                    <a:cubicBezTo>
                      <a:pt x="209" y="123"/>
                      <a:pt x="209" y="122"/>
                      <a:pt x="208" y="122"/>
                    </a:cubicBezTo>
                    <a:cubicBezTo>
                      <a:pt x="206" y="122"/>
                      <a:pt x="204" y="124"/>
                      <a:pt x="202" y="124"/>
                    </a:cubicBezTo>
                    <a:cubicBezTo>
                      <a:pt x="199" y="124"/>
                      <a:pt x="197" y="124"/>
                      <a:pt x="196" y="126"/>
                    </a:cubicBezTo>
                    <a:cubicBezTo>
                      <a:pt x="197" y="126"/>
                      <a:pt x="198" y="126"/>
                      <a:pt x="198" y="126"/>
                    </a:cubicBezTo>
                    <a:cubicBezTo>
                      <a:pt x="200" y="126"/>
                      <a:pt x="201" y="127"/>
                      <a:pt x="203" y="128"/>
                    </a:cubicBezTo>
                    <a:cubicBezTo>
                      <a:pt x="201" y="129"/>
                      <a:pt x="201" y="130"/>
                      <a:pt x="200" y="131"/>
                    </a:cubicBezTo>
                    <a:cubicBezTo>
                      <a:pt x="199" y="131"/>
                      <a:pt x="198" y="131"/>
                      <a:pt x="198" y="132"/>
                    </a:cubicBezTo>
                    <a:cubicBezTo>
                      <a:pt x="198" y="133"/>
                      <a:pt x="199" y="133"/>
                      <a:pt x="199" y="134"/>
                    </a:cubicBezTo>
                    <a:cubicBezTo>
                      <a:pt x="201" y="136"/>
                      <a:pt x="200" y="137"/>
                      <a:pt x="201" y="140"/>
                    </a:cubicBezTo>
                    <a:cubicBezTo>
                      <a:pt x="199" y="139"/>
                      <a:pt x="199" y="137"/>
                      <a:pt x="197" y="136"/>
                    </a:cubicBezTo>
                    <a:cubicBezTo>
                      <a:pt x="196" y="136"/>
                      <a:pt x="196" y="135"/>
                      <a:pt x="195" y="135"/>
                    </a:cubicBezTo>
                    <a:cubicBezTo>
                      <a:pt x="194" y="135"/>
                      <a:pt x="194" y="136"/>
                      <a:pt x="193" y="137"/>
                    </a:cubicBezTo>
                    <a:cubicBezTo>
                      <a:pt x="192" y="138"/>
                      <a:pt x="191" y="138"/>
                      <a:pt x="191" y="140"/>
                    </a:cubicBezTo>
                    <a:cubicBezTo>
                      <a:pt x="191" y="140"/>
                      <a:pt x="191" y="140"/>
                      <a:pt x="192" y="140"/>
                    </a:cubicBezTo>
                    <a:cubicBezTo>
                      <a:pt x="192" y="140"/>
                      <a:pt x="193" y="139"/>
                      <a:pt x="193" y="139"/>
                    </a:cubicBezTo>
                    <a:cubicBezTo>
                      <a:pt x="193" y="139"/>
                      <a:pt x="193" y="139"/>
                      <a:pt x="193" y="139"/>
                    </a:cubicBezTo>
                    <a:cubicBezTo>
                      <a:pt x="193" y="141"/>
                      <a:pt x="193" y="142"/>
                      <a:pt x="193" y="143"/>
                    </a:cubicBezTo>
                    <a:cubicBezTo>
                      <a:pt x="193" y="145"/>
                      <a:pt x="193" y="145"/>
                      <a:pt x="193" y="145"/>
                    </a:cubicBezTo>
                    <a:cubicBezTo>
                      <a:pt x="191" y="145"/>
                      <a:pt x="190" y="143"/>
                      <a:pt x="189" y="142"/>
                    </a:cubicBezTo>
                    <a:cubicBezTo>
                      <a:pt x="187" y="143"/>
                      <a:pt x="186" y="144"/>
                      <a:pt x="186" y="146"/>
                    </a:cubicBezTo>
                    <a:cubicBezTo>
                      <a:pt x="186" y="147"/>
                      <a:pt x="187" y="148"/>
                      <a:pt x="188" y="149"/>
                    </a:cubicBezTo>
                    <a:cubicBezTo>
                      <a:pt x="188" y="150"/>
                      <a:pt x="188" y="150"/>
                      <a:pt x="189" y="151"/>
                    </a:cubicBezTo>
                    <a:cubicBezTo>
                      <a:pt x="189" y="152"/>
                      <a:pt x="190" y="152"/>
                      <a:pt x="190" y="153"/>
                    </a:cubicBezTo>
                    <a:cubicBezTo>
                      <a:pt x="190" y="153"/>
                      <a:pt x="190" y="153"/>
                      <a:pt x="190" y="154"/>
                    </a:cubicBezTo>
                    <a:cubicBezTo>
                      <a:pt x="189" y="154"/>
                      <a:pt x="189" y="154"/>
                      <a:pt x="189" y="154"/>
                    </a:cubicBezTo>
                    <a:cubicBezTo>
                      <a:pt x="187" y="154"/>
                      <a:pt x="186" y="151"/>
                      <a:pt x="184" y="150"/>
                    </a:cubicBezTo>
                    <a:cubicBezTo>
                      <a:pt x="184" y="151"/>
                      <a:pt x="184" y="151"/>
                      <a:pt x="184" y="151"/>
                    </a:cubicBezTo>
                    <a:cubicBezTo>
                      <a:pt x="184" y="152"/>
                      <a:pt x="184" y="152"/>
                      <a:pt x="184" y="152"/>
                    </a:cubicBezTo>
                    <a:cubicBezTo>
                      <a:pt x="184" y="152"/>
                      <a:pt x="185" y="153"/>
                      <a:pt x="185" y="154"/>
                    </a:cubicBezTo>
                    <a:cubicBezTo>
                      <a:pt x="185" y="155"/>
                      <a:pt x="184" y="156"/>
                      <a:pt x="183" y="158"/>
                    </a:cubicBezTo>
                    <a:cubicBezTo>
                      <a:pt x="184" y="158"/>
                      <a:pt x="184" y="159"/>
                      <a:pt x="184" y="159"/>
                    </a:cubicBezTo>
                    <a:cubicBezTo>
                      <a:pt x="185" y="159"/>
                      <a:pt x="185" y="157"/>
                      <a:pt x="186" y="157"/>
                    </a:cubicBezTo>
                    <a:cubicBezTo>
                      <a:pt x="186" y="156"/>
                      <a:pt x="187" y="156"/>
                      <a:pt x="187" y="155"/>
                    </a:cubicBezTo>
                    <a:cubicBezTo>
                      <a:pt x="188" y="156"/>
                      <a:pt x="188" y="156"/>
                      <a:pt x="188" y="156"/>
                    </a:cubicBezTo>
                    <a:cubicBezTo>
                      <a:pt x="188" y="159"/>
                      <a:pt x="188" y="160"/>
                      <a:pt x="188" y="163"/>
                    </a:cubicBezTo>
                    <a:cubicBezTo>
                      <a:pt x="188" y="163"/>
                      <a:pt x="188" y="163"/>
                      <a:pt x="189" y="163"/>
                    </a:cubicBezTo>
                    <a:cubicBezTo>
                      <a:pt x="189" y="163"/>
                      <a:pt x="189" y="162"/>
                      <a:pt x="190" y="162"/>
                    </a:cubicBezTo>
                    <a:cubicBezTo>
                      <a:pt x="192" y="161"/>
                      <a:pt x="192" y="161"/>
                      <a:pt x="194" y="160"/>
                    </a:cubicBezTo>
                    <a:cubicBezTo>
                      <a:pt x="194" y="160"/>
                      <a:pt x="194" y="160"/>
                      <a:pt x="194" y="160"/>
                    </a:cubicBezTo>
                    <a:cubicBezTo>
                      <a:pt x="194" y="163"/>
                      <a:pt x="192" y="164"/>
                      <a:pt x="190" y="165"/>
                    </a:cubicBezTo>
                    <a:cubicBezTo>
                      <a:pt x="189" y="166"/>
                      <a:pt x="188" y="166"/>
                      <a:pt x="188" y="167"/>
                    </a:cubicBezTo>
                    <a:cubicBezTo>
                      <a:pt x="187" y="167"/>
                      <a:pt x="187" y="168"/>
                      <a:pt x="186" y="168"/>
                    </a:cubicBezTo>
                    <a:cubicBezTo>
                      <a:pt x="186" y="168"/>
                      <a:pt x="185" y="168"/>
                      <a:pt x="184" y="168"/>
                    </a:cubicBezTo>
                    <a:cubicBezTo>
                      <a:pt x="183" y="168"/>
                      <a:pt x="183" y="169"/>
                      <a:pt x="181" y="169"/>
                    </a:cubicBezTo>
                    <a:cubicBezTo>
                      <a:pt x="180" y="169"/>
                      <a:pt x="181" y="167"/>
                      <a:pt x="180" y="167"/>
                    </a:cubicBezTo>
                    <a:cubicBezTo>
                      <a:pt x="181" y="166"/>
                      <a:pt x="182" y="165"/>
                      <a:pt x="182" y="164"/>
                    </a:cubicBezTo>
                    <a:cubicBezTo>
                      <a:pt x="182" y="163"/>
                      <a:pt x="182" y="163"/>
                      <a:pt x="181" y="163"/>
                    </a:cubicBezTo>
                    <a:cubicBezTo>
                      <a:pt x="181" y="163"/>
                      <a:pt x="181" y="163"/>
                      <a:pt x="181" y="163"/>
                    </a:cubicBezTo>
                    <a:cubicBezTo>
                      <a:pt x="180" y="164"/>
                      <a:pt x="179" y="164"/>
                      <a:pt x="178" y="165"/>
                    </a:cubicBezTo>
                    <a:cubicBezTo>
                      <a:pt x="176" y="166"/>
                      <a:pt x="175" y="168"/>
                      <a:pt x="174" y="169"/>
                    </a:cubicBezTo>
                    <a:cubicBezTo>
                      <a:pt x="172" y="170"/>
                      <a:pt x="170" y="170"/>
                      <a:pt x="169" y="173"/>
                    </a:cubicBezTo>
                    <a:cubicBezTo>
                      <a:pt x="170" y="173"/>
                      <a:pt x="171" y="173"/>
                      <a:pt x="172" y="173"/>
                    </a:cubicBezTo>
                    <a:cubicBezTo>
                      <a:pt x="174" y="173"/>
                      <a:pt x="176" y="171"/>
                      <a:pt x="178" y="171"/>
                    </a:cubicBezTo>
                    <a:cubicBezTo>
                      <a:pt x="180" y="171"/>
                      <a:pt x="181" y="172"/>
                      <a:pt x="182" y="173"/>
                    </a:cubicBezTo>
                    <a:cubicBezTo>
                      <a:pt x="184" y="174"/>
                      <a:pt x="185" y="175"/>
                      <a:pt x="186" y="176"/>
                    </a:cubicBezTo>
                    <a:cubicBezTo>
                      <a:pt x="185" y="176"/>
                      <a:pt x="185" y="177"/>
                      <a:pt x="183" y="177"/>
                    </a:cubicBezTo>
                    <a:cubicBezTo>
                      <a:pt x="183" y="177"/>
                      <a:pt x="182" y="176"/>
                      <a:pt x="181" y="176"/>
                    </a:cubicBezTo>
                    <a:cubicBezTo>
                      <a:pt x="179" y="175"/>
                      <a:pt x="178" y="174"/>
                      <a:pt x="175" y="174"/>
                    </a:cubicBezTo>
                    <a:cubicBezTo>
                      <a:pt x="175" y="174"/>
                      <a:pt x="174" y="175"/>
                      <a:pt x="174" y="176"/>
                    </a:cubicBezTo>
                    <a:cubicBezTo>
                      <a:pt x="174" y="177"/>
                      <a:pt x="174" y="177"/>
                      <a:pt x="174" y="178"/>
                    </a:cubicBezTo>
                    <a:cubicBezTo>
                      <a:pt x="174" y="179"/>
                      <a:pt x="173" y="179"/>
                      <a:pt x="172" y="179"/>
                    </a:cubicBezTo>
                    <a:cubicBezTo>
                      <a:pt x="171" y="180"/>
                      <a:pt x="170" y="180"/>
                      <a:pt x="169" y="180"/>
                    </a:cubicBezTo>
                    <a:cubicBezTo>
                      <a:pt x="167" y="180"/>
                      <a:pt x="167" y="182"/>
                      <a:pt x="166" y="183"/>
                    </a:cubicBezTo>
                    <a:cubicBezTo>
                      <a:pt x="166" y="184"/>
                      <a:pt x="165" y="184"/>
                      <a:pt x="165" y="185"/>
                    </a:cubicBezTo>
                    <a:cubicBezTo>
                      <a:pt x="165" y="186"/>
                      <a:pt x="166" y="186"/>
                      <a:pt x="166" y="187"/>
                    </a:cubicBezTo>
                    <a:cubicBezTo>
                      <a:pt x="167" y="188"/>
                      <a:pt x="166" y="189"/>
                      <a:pt x="167" y="189"/>
                    </a:cubicBezTo>
                    <a:cubicBezTo>
                      <a:pt x="167" y="190"/>
                      <a:pt x="168" y="190"/>
                      <a:pt x="168" y="190"/>
                    </a:cubicBezTo>
                    <a:cubicBezTo>
                      <a:pt x="168" y="190"/>
                      <a:pt x="168" y="190"/>
                      <a:pt x="168" y="190"/>
                    </a:cubicBezTo>
                    <a:cubicBezTo>
                      <a:pt x="168" y="191"/>
                      <a:pt x="168" y="191"/>
                      <a:pt x="168" y="191"/>
                    </a:cubicBezTo>
                    <a:cubicBezTo>
                      <a:pt x="166" y="193"/>
                      <a:pt x="165" y="194"/>
                      <a:pt x="165" y="195"/>
                    </a:cubicBezTo>
                    <a:cubicBezTo>
                      <a:pt x="165" y="196"/>
                      <a:pt x="165" y="197"/>
                      <a:pt x="166" y="197"/>
                    </a:cubicBezTo>
                    <a:cubicBezTo>
                      <a:pt x="165" y="197"/>
                      <a:pt x="165" y="197"/>
                      <a:pt x="165" y="197"/>
                    </a:cubicBezTo>
                    <a:cubicBezTo>
                      <a:pt x="164" y="197"/>
                      <a:pt x="164" y="197"/>
                      <a:pt x="164" y="197"/>
                    </a:cubicBezTo>
                    <a:cubicBezTo>
                      <a:pt x="162" y="197"/>
                      <a:pt x="162" y="197"/>
                      <a:pt x="160" y="197"/>
                    </a:cubicBezTo>
                    <a:cubicBezTo>
                      <a:pt x="160" y="198"/>
                      <a:pt x="161" y="199"/>
                      <a:pt x="160" y="199"/>
                    </a:cubicBezTo>
                    <a:cubicBezTo>
                      <a:pt x="159" y="200"/>
                      <a:pt x="159" y="199"/>
                      <a:pt x="158" y="200"/>
                    </a:cubicBezTo>
                    <a:cubicBezTo>
                      <a:pt x="157" y="200"/>
                      <a:pt x="156" y="201"/>
                      <a:pt x="155" y="201"/>
                    </a:cubicBezTo>
                    <a:cubicBezTo>
                      <a:pt x="156" y="200"/>
                      <a:pt x="156" y="199"/>
                      <a:pt x="156" y="198"/>
                    </a:cubicBezTo>
                    <a:cubicBezTo>
                      <a:pt x="156" y="195"/>
                      <a:pt x="156" y="195"/>
                      <a:pt x="156" y="195"/>
                    </a:cubicBezTo>
                    <a:cubicBezTo>
                      <a:pt x="155" y="194"/>
                      <a:pt x="153" y="193"/>
                      <a:pt x="153" y="192"/>
                    </a:cubicBezTo>
                    <a:cubicBezTo>
                      <a:pt x="153" y="191"/>
                      <a:pt x="154" y="190"/>
                      <a:pt x="154" y="190"/>
                    </a:cubicBezTo>
                    <a:cubicBezTo>
                      <a:pt x="154" y="189"/>
                      <a:pt x="154" y="188"/>
                      <a:pt x="154" y="188"/>
                    </a:cubicBezTo>
                    <a:cubicBezTo>
                      <a:pt x="153" y="188"/>
                      <a:pt x="153" y="187"/>
                      <a:pt x="153" y="187"/>
                    </a:cubicBezTo>
                    <a:cubicBezTo>
                      <a:pt x="152" y="189"/>
                      <a:pt x="152" y="189"/>
                      <a:pt x="152" y="190"/>
                    </a:cubicBezTo>
                    <a:cubicBezTo>
                      <a:pt x="152" y="191"/>
                      <a:pt x="152" y="192"/>
                      <a:pt x="151" y="192"/>
                    </a:cubicBezTo>
                    <a:cubicBezTo>
                      <a:pt x="151" y="193"/>
                      <a:pt x="150" y="193"/>
                      <a:pt x="149" y="193"/>
                    </a:cubicBezTo>
                    <a:cubicBezTo>
                      <a:pt x="149" y="194"/>
                      <a:pt x="149" y="194"/>
                      <a:pt x="149" y="195"/>
                    </a:cubicBezTo>
                    <a:cubicBezTo>
                      <a:pt x="149" y="196"/>
                      <a:pt x="149" y="197"/>
                      <a:pt x="148" y="197"/>
                    </a:cubicBezTo>
                    <a:cubicBezTo>
                      <a:pt x="147" y="197"/>
                      <a:pt x="147" y="196"/>
                      <a:pt x="146" y="196"/>
                    </a:cubicBezTo>
                    <a:cubicBezTo>
                      <a:pt x="146" y="196"/>
                      <a:pt x="145" y="197"/>
                      <a:pt x="145" y="198"/>
                    </a:cubicBezTo>
                    <a:cubicBezTo>
                      <a:pt x="145" y="198"/>
                      <a:pt x="144" y="198"/>
                      <a:pt x="144" y="199"/>
                    </a:cubicBezTo>
                    <a:cubicBezTo>
                      <a:pt x="142" y="201"/>
                      <a:pt x="141" y="202"/>
                      <a:pt x="139" y="205"/>
                    </a:cubicBezTo>
                    <a:cubicBezTo>
                      <a:pt x="139" y="206"/>
                      <a:pt x="139" y="207"/>
                      <a:pt x="138" y="207"/>
                    </a:cubicBezTo>
                    <a:cubicBezTo>
                      <a:pt x="138" y="208"/>
                      <a:pt x="137" y="209"/>
                      <a:pt x="136" y="209"/>
                    </a:cubicBezTo>
                    <a:cubicBezTo>
                      <a:pt x="136" y="210"/>
                      <a:pt x="136" y="211"/>
                      <a:pt x="135" y="211"/>
                    </a:cubicBezTo>
                    <a:cubicBezTo>
                      <a:pt x="135" y="212"/>
                      <a:pt x="134" y="212"/>
                      <a:pt x="134" y="213"/>
                    </a:cubicBezTo>
                    <a:cubicBezTo>
                      <a:pt x="134" y="215"/>
                      <a:pt x="135" y="216"/>
                      <a:pt x="135" y="217"/>
                    </a:cubicBezTo>
                    <a:cubicBezTo>
                      <a:pt x="135" y="218"/>
                      <a:pt x="134" y="219"/>
                      <a:pt x="133" y="219"/>
                    </a:cubicBezTo>
                    <a:cubicBezTo>
                      <a:pt x="132" y="219"/>
                      <a:pt x="132" y="218"/>
                      <a:pt x="132" y="218"/>
                    </a:cubicBezTo>
                    <a:cubicBezTo>
                      <a:pt x="131" y="217"/>
                      <a:pt x="130" y="218"/>
                      <a:pt x="130" y="217"/>
                    </a:cubicBezTo>
                    <a:cubicBezTo>
                      <a:pt x="129" y="217"/>
                      <a:pt x="129" y="217"/>
                      <a:pt x="128" y="217"/>
                    </a:cubicBezTo>
                    <a:cubicBezTo>
                      <a:pt x="127" y="217"/>
                      <a:pt x="127" y="218"/>
                      <a:pt x="127" y="219"/>
                    </a:cubicBezTo>
                    <a:cubicBezTo>
                      <a:pt x="127" y="219"/>
                      <a:pt x="128" y="220"/>
                      <a:pt x="128" y="221"/>
                    </a:cubicBezTo>
                    <a:cubicBezTo>
                      <a:pt x="128" y="224"/>
                      <a:pt x="122" y="222"/>
                      <a:pt x="121" y="225"/>
                    </a:cubicBezTo>
                    <a:cubicBezTo>
                      <a:pt x="122" y="226"/>
                      <a:pt x="123" y="226"/>
                      <a:pt x="124" y="226"/>
                    </a:cubicBezTo>
                    <a:cubicBezTo>
                      <a:pt x="127" y="226"/>
                      <a:pt x="127" y="226"/>
                      <a:pt x="127" y="226"/>
                    </a:cubicBezTo>
                    <a:cubicBezTo>
                      <a:pt x="128" y="226"/>
                      <a:pt x="128" y="225"/>
                      <a:pt x="129" y="224"/>
                    </a:cubicBezTo>
                    <a:cubicBezTo>
                      <a:pt x="130" y="223"/>
                      <a:pt x="131" y="223"/>
                      <a:pt x="132" y="223"/>
                    </a:cubicBezTo>
                    <a:cubicBezTo>
                      <a:pt x="132" y="223"/>
                      <a:pt x="133" y="223"/>
                      <a:pt x="133" y="223"/>
                    </a:cubicBezTo>
                    <a:cubicBezTo>
                      <a:pt x="134" y="223"/>
                      <a:pt x="134" y="223"/>
                      <a:pt x="134" y="223"/>
                    </a:cubicBezTo>
                    <a:cubicBezTo>
                      <a:pt x="134" y="223"/>
                      <a:pt x="135" y="223"/>
                      <a:pt x="135" y="223"/>
                    </a:cubicBezTo>
                    <a:cubicBezTo>
                      <a:pt x="135" y="225"/>
                      <a:pt x="133" y="226"/>
                      <a:pt x="131" y="227"/>
                    </a:cubicBezTo>
                    <a:cubicBezTo>
                      <a:pt x="130" y="228"/>
                      <a:pt x="128" y="228"/>
                      <a:pt x="128" y="229"/>
                    </a:cubicBezTo>
                    <a:cubicBezTo>
                      <a:pt x="128" y="230"/>
                      <a:pt x="129" y="230"/>
                      <a:pt x="129" y="232"/>
                    </a:cubicBezTo>
                    <a:cubicBezTo>
                      <a:pt x="130" y="232"/>
                      <a:pt x="131" y="233"/>
                      <a:pt x="132" y="233"/>
                    </a:cubicBezTo>
                    <a:cubicBezTo>
                      <a:pt x="134" y="233"/>
                      <a:pt x="134" y="233"/>
                      <a:pt x="134" y="233"/>
                    </a:cubicBezTo>
                    <a:cubicBezTo>
                      <a:pt x="135" y="233"/>
                      <a:pt x="135" y="232"/>
                      <a:pt x="136" y="232"/>
                    </a:cubicBezTo>
                    <a:cubicBezTo>
                      <a:pt x="137" y="231"/>
                      <a:pt x="137" y="231"/>
                      <a:pt x="139" y="231"/>
                    </a:cubicBezTo>
                    <a:cubicBezTo>
                      <a:pt x="141" y="230"/>
                      <a:pt x="141" y="229"/>
                      <a:pt x="143" y="228"/>
                    </a:cubicBezTo>
                    <a:cubicBezTo>
                      <a:pt x="146" y="227"/>
                      <a:pt x="147" y="226"/>
                      <a:pt x="149" y="224"/>
                    </a:cubicBezTo>
                    <a:cubicBezTo>
                      <a:pt x="149" y="223"/>
                      <a:pt x="150" y="223"/>
                      <a:pt x="150" y="222"/>
                    </a:cubicBezTo>
                    <a:cubicBezTo>
                      <a:pt x="150" y="221"/>
                      <a:pt x="150" y="221"/>
                      <a:pt x="150" y="221"/>
                    </a:cubicBezTo>
                    <a:cubicBezTo>
                      <a:pt x="149" y="221"/>
                      <a:pt x="149" y="221"/>
                      <a:pt x="149" y="221"/>
                    </a:cubicBezTo>
                    <a:cubicBezTo>
                      <a:pt x="147" y="221"/>
                      <a:pt x="146" y="223"/>
                      <a:pt x="144" y="223"/>
                    </a:cubicBezTo>
                    <a:cubicBezTo>
                      <a:pt x="142" y="223"/>
                      <a:pt x="142" y="223"/>
                      <a:pt x="142" y="223"/>
                    </a:cubicBezTo>
                    <a:cubicBezTo>
                      <a:pt x="143" y="222"/>
                      <a:pt x="143" y="221"/>
                      <a:pt x="144" y="221"/>
                    </a:cubicBezTo>
                    <a:cubicBezTo>
                      <a:pt x="146" y="220"/>
                      <a:pt x="148" y="220"/>
                      <a:pt x="149" y="218"/>
                    </a:cubicBezTo>
                    <a:cubicBezTo>
                      <a:pt x="149" y="218"/>
                      <a:pt x="149" y="217"/>
                      <a:pt x="149" y="216"/>
                    </a:cubicBezTo>
                    <a:cubicBezTo>
                      <a:pt x="149" y="215"/>
                      <a:pt x="151" y="215"/>
                      <a:pt x="153" y="214"/>
                    </a:cubicBezTo>
                    <a:cubicBezTo>
                      <a:pt x="155" y="212"/>
                      <a:pt x="155" y="211"/>
                      <a:pt x="157" y="209"/>
                    </a:cubicBezTo>
                    <a:cubicBezTo>
                      <a:pt x="157" y="210"/>
                      <a:pt x="157" y="210"/>
                      <a:pt x="157" y="210"/>
                    </a:cubicBezTo>
                    <a:cubicBezTo>
                      <a:pt x="157" y="211"/>
                      <a:pt x="157" y="211"/>
                      <a:pt x="157" y="211"/>
                    </a:cubicBezTo>
                    <a:cubicBezTo>
                      <a:pt x="157" y="212"/>
                      <a:pt x="158" y="212"/>
                      <a:pt x="158" y="212"/>
                    </a:cubicBezTo>
                    <a:cubicBezTo>
                      <a:pt x="159" y="212"/>
                      <a:pt x="160" y="213"/>
                      <a:pt x="161" y="213"/>
                    </a:cubicBezTo>
                    <a:cubicBezTo>
                      <a:pt x="161" y="214"/>
                      <a:pt x="161" y="214"/>
                      <a:pt x="161" y="214"/>
                    </a:cubicBezTo>
                    <a:cubicBezTo>
                      <a:pt x="159" y="214"/>
                      <a:pt x="159" y="215"/>
                      <a:pt x="158" y="215"/>
                    </a:cubicBezTo>
                    <a:cubicBezTo>
                      <a:pt x="155" y="216"/>
                      <a:pt x="154" y="217"/>
                      <a:pt x="153" y="219"/>
                    </a:cubicBezTo>
                    <a:cubicBezTo>
                      <a:pt x="152" y="220"/>
                      <a:pt x="152" y="221"/>
                      <a:pt x="152" y="222"/>
                    </a:cubicBezTo>
                    <a:cubicBezTo>
                      <a:pt x="152" y="222"/>
                      <a:pt x="152" y="222"/>
                      <a:pt x="152" y="222"/>
                    </a:cubicBezTo>
                    <a:cubicBezTo>
                      <a:pt x="154" y="222"/>
                      <a:pt x="155" y="221"/>
                      <a:pt x="156" y="220"/>
                    </a:cubicBezTo>
                    <a:cubicBezTo>
                      <a:pt x="157" y="222"/>
                      <a:pt x="157" y="223"/>
                      <a:pt x="157" y="224"/>
                    </a:cubicBezTo>
                    <a:cubicBezTo>
                      <a:pt x="157" y="225"/>
                      <a:pt x="156" y="226"/>
                      <a:pt x="155" y="226"/>
                    </a:cubicBezTo>
                    <a:cubicBezTo>
                      <a:pt x="153" y="228"/>
                      <a:pt x="152" y="227"/>
                      <a:pt x="149" y="228"/>
                    </a:cubicBezTo>
                    <a:cubicBezTo>
                      <a:pt x="147" y="229"/>
                      <a:pt x="146" y="230"/>
                      <a:pt x="145" y="231"/>
                    </a:cubicBezTo>
                    <a:cubicBezTo>
                      <a:pt x="143" y="232"/>
                      <a:pt x="142" y="232"/>
                      <a:pt x="142" y="234"/>
                    </a:cubicBezTo>
                    <a:cubicBezTo>
                      <a:pt x="142" y="234"/>
                      <a:pt x="142" y="234"/>
                      <a:pt x="143" y="23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9" y="233"/>
                      <a:pt x="149" y="233"/>
                      <a:pt x="149" y="233"/>
                    </a:cubicBezTo>
                    <a:cubicBezTo>
                      <a:pt x="149" y="233"/>
                      <a:pt x="149" y="234"/>
                      <a:pt x="149" y="234"/>
                    </a:cubicBezTo>
                    <a:cubicBezTo>
                      <a:pt x="149" y="235"/>
                      <a:pt x="147" y="235"/>
                      <a:pt x="147" y="236"/>
                    </a:cubicBezTo>
                    <a:cubicBezTo>
                      <a:pt x="147" y="237"/>
                      <a:pt x="149" y="238"/>
                      <a:pt x="149" y="239"/>
                    </a:cubicBezTo>
                    <a:cubicBezTo>
                      <a:pt x="149" y="240"/>
                      <a:pt x="148" y="241"/>
                      <a:pt x="147" y="241"/>
                    </a:cubicBezTo>
                    <a:cubicBezTo>
                      <a:pt x="146" y="241"/>
                      <a:pt x="145" y="240"/>
                      <a:pt x="144" y="240"/>
                    </a:cubicBezTo>
                    <a:cubicBezTo>
                      <a:pt x="144" y="240"/>
                      <a:pt x="143" y="240"/>
                      <a:pt x="142" y="240"/>
                    </a:cubicBezTo>
                    <a:cubicBezTo>
                      <a:pt x="141" y="239"/>
                      <a:pt x="140" y="238"/>
                      <a:pt x="139" y="238"/>
                    </a:cubicBezTo>
                    <a:cubicBezTo>
                      <a:pt x="137" y="238"/>
                      <a:pt x="136" y="240"/>
                      <a:pt x="136" y="241"/>
                    </a:cubicBezTo>
                    <a:cubicBezTo>
                      <a:pt x="136" y="242"/>
                      <a:pt x="136" y="243"/>
                      <a:pt x="136" y="244"/>
                    </a:cubicBezTo>
                    <a:cubicBezTo>
                      <a:pt x="136" y="245"/>
                      <a:pt x="136" y="245"/>
                      <a:pt x="136" y="245"/>
                    </a:cubicBezTo>
                    <a:cubicBezTo>
                      <a:pt x="135" y="245"/>
                      <a:pt x="135" y="245"/>
                      <a:pt x="135" y="245"/>
                    </a:cubicBezTo>
                    <a:cubicBezTo>
                      <a:pt x="134" y="245"/>
                      <a:pt x="134" y="245"/>
                      <a:pt x="133" y="245"/>
                    </a:cubicBezTo>
                    <a:cubicBezTo>
                      <a:pt x="130" y="245"/>
                      <a:pt x="130" y="245"/>
                      <a:pt x="130" y="245"/>
                    </a:cubicBezTo>
                    <a:cubicBezTo>
                      <a:pt x="129" y="245"/>
                      <a:pt x="128" y="245"/>
                      <a:pt x="128" y="244"/>
                    </a:cubicBezTo>
                    <a:cubicBezTo>
                      <a:pt x="128" y="243"/>
                      <a:pt x="128" y="243"/>
                      <a:pt x="129" y="242"/>
                    </a:cubicBezTo>
                    <a:cubicBezTo>
                      <a:pt x="130" y="241"/>
                      <a:pt x="130" y="240"/>
                      <a:pt x="130" y="238"/>
                    </a:cubicBezTo>
                    <a:cubicBezTo>
                      <a:pt x="130" y="237"/>
                      <a:pt x="130" y="237"/>
                      <a:pt x="130" y="236"/>
                    </a:cubicBezTo>
                    <a:cubicBezTo>
                      <a:pt x="130" y="235"/>
                      <a:pt x="129" y="236"/>
                      <a:pt x="128" y="235"/>
                    </a:cubicBezTo>
                    <a:cubicBezTo>
                      <a:pt x="127" y="235"/>
                      <a:pt x="127" y="234"/>
                      <a:pt x="126" y="234"/>
                    </a:cubicBezTo>
                    <a:cubicBezTo>
                      <a:pt x="125" y="232"/>
                      <a:pt x="125" y="231"/>
                      <a:pt x="123" y="231"/>
                    </a:cubicBezTo>
                    <a:cubicBezTo>
                      <a:pt x="121" y="231"/>
                      <a:pt x="121" y="232"/>
                      <a:pt x="120" y="232"/>
                    </a:cubicBezTo>
                    <a:cubicBezTo>
                      <a:pt x="118" y="232"/>
                      <a:pt x="117" y="231"/>
                      <a:pt x="116" y="231"/>
                    </a:cubicBezTo>
                    <a:cubicBezTo>
                      <a:pt x="116" y="231"/>
                      <a:pt x="116" y="231"/>
                      <a:pt x="116" y="231"/>
                    </a:cubicBezTo>
                    <a:cubicBezTo>
                      <a:pt x="117" y="233"/>
                      <a:pt x="118" y="233"/>
                      <a:pt x="118" y="235"/>
                    </a:cubicBezTo>
                    <a:cubicBezTo>
                      <a:pt x="117" y="234"/>
                      <a:pt x="116" y="235"/>
                      <a:pt x="114" y="235"/>
                    </a:cubicBezTo>
                    <a:cubicBezTo>
                      <a:pt x="114" y="236"/>
                      <a:pt x="114" y="236"/>
                      <a:pt x="114" y="236"/>
                    </a:cubicBezTo>
                    <a:cubicBezTo>
                      <a:pt x="115" y="236"/>
                      <a:pt x="115" y="237"/>
                      <a:pt x="116" y="237"/>
                    </a:cubicBezTo>
                    <a:cubicBezTo>
                      <a:pt x="117" y="238"/>
                      <a:pt x="117" y="238"/>
                      <a:pt x="118" y="238"/>
                    </a:cubicBezTo>
                    <a:cubicBezTo>
                      <a:pt x="119" y="238"/>
                      <a:pt x="119" y="238"/>
                      <a:pt x="119" y="238"/>
                    </a:cubicBezTo>
                    <a:cubicBezTo>
                      <a:pt x="119" y="240"/>
                      <a:pt x="118" y="240"/>
                      <a:pt x="117" y="240"/>
                    </a:cubicBezTo>
                    <a:cubicBezTo>
                      <a:pt x="114" y="241"/>
                      <a:pt x="113" y="241"/>
                      <a:pt x="110" y="241"/>
                    </a:cubicBezTo>
                    <a:cubicBezTo>
                      <a:pt x="109" y="241"/>
                      <a:pt x="109" y="241"/>
                      <a:pt x="109" y="241"/>
                    </a:cubicBezTo>
                    <a:cubicBezTo>
                      <a:pt x="109" y="241"/>
                      <a:pt x="109" y="241"/>
                      <a:pt x="109" y="241"/>
                    </a:cubicBezTo>
                    <a:cubicBezTo>
                      <a:pt x="109" y="240"/>
                      <a:pt x="110" y="239"/>
                      <a:pt x="110" y="239"/>
                    </a:cubicBezTo>
                    <a:cubicBezTo>
                      <a:pt x="110" y="238"/>
                      <a:pt x="111" y="238"/>
                      <a:pt x="111" y="237"/>
                    </a:cubicBezTo>
                    <a:cubicBezTo>
                      <a:pt x="111" y="236"/>
                      <a:pt x="111" y="236"/>
                      <a:pt x="111" y="236"/>
                    </a:cubicBezTo>
                    <a:cubicBezTo>
                      <a:pt x="111" y="236"/>
                      <a:pt x="111" y="236"/>
                      <a:pt x="110" y="236"/>
                    </a:cubicBezTo>
                    <a:cubicBezTo>
                      <a:pt x="109" y="236"/>
                      <a:pt x="108" y="236"/>
                      <a:pt x="107" y="237"/>
                    </a:cubicBezTo>
                    <a:cubicBezTo>
                      <a:pt x="105" y="236"/>
                      <a:pt x="105" y="234"/>
                      <a:pt x="103" y="234"/>
                    </a:cubicBezTo>
                    <a:cubicBezTo>
                      <a:pt x="103" y="234"/>
                      <a:pt x="102" y="234"/>
                      <a:pt x="102" y="235"/>
                    </a:cubicBezTo>
                    <a:cubicBezTo>
                      <a:pt x="102" y="236"/>
                      <a:pt x="103" y="236"/>
                      <a:pt x="103" y="236"/>
                    </a:cubicBezTo>
                    <a:cubicBezTo>
                      <a:pt x="103" y="237"/>
                      <a:pt x="103" y="237"/>
                      <a:pt x="103" y="238"/>
                    </a:cubicBezTo>
                    <a:cubicBezTo>
                      <a:pt x="102" y="238"/>
                      <a:pt x="102" y="238"/>
                      <a:pt x="102" y="239"/>
                    </a:cubicBezTo>
                    <a:cubicBezTo>
                      <a:pt x="102" y="242"/>
                      <a:pt x="102" y="242"/>
                      <a:pt x="102" y="242"/>
                    </a:cubicBezTo>
                    <a:cubicBezTo>
                      <a:pt x="103" y="242"/>
                      <a:pt x="106" y="242"/>
                      <a:pt x="106" y="244"/>
                    </a:cubicBezTo>
                    <a:cubicBezTo>
                      <a:pt x="106" y="245"/>
                      <a:pt x="105" y="245"/>
                      <a:pt x="104" y="245"/>
                    </a:cubicBezTo>
                    <a:cubicBezTo>
                      <a:pt x="102" y="246"/>
                      <a:pt x="101" y="245"/>
                      <a:pt x="99" y="245"/>
                    </a:cubicBezTo>
                    <a:cubicBezTo>
                      <a:pt x="98" y="246"/>
                      <a:pt x="97" y="245"/>
                      <a:pt x="97" y="246"/>
                    </a:cubicBezTo>
                    <a:cubicBezTo>
                      <a:pt x="97" y="247"/>
                      <a:pt x="97" y="247"/>
                      <a:pt x="98" y="248"/>
                    </a:cubicBezTo>
                    <a:cubicBezTo>
                      <a:pt x="99" y="250"/>
                      <a:pt x="102" y="250"/>
                      <a:pt x="102" y="253"/>
                    </a:cubicBezTo>
                    <a:cubicBezTo>
                      <a:pt x="102" y="254"/>
                      <a:pt x="101" y="256"/>
                      <a:pt x="100" y="257"/>
                    </a:cubicBezTo>
                    <a:cubicBezTo>
                      <a:pt x="98" y="255"/>
                      <a:pt x="97" y="255"/>
                      <a:pt x="95" y="253"/>
                    </a:cubicBezTo>
                    <a:cubicBezTo>
                      <a:pt x="93" y="252"/>
                      <a:pt x="94" y="251"/>
                      <a:pt x="94" y="249"/>
                    </a:cubicBezTo>
                    <a:cubicBezTo>
                      <a:pt x="92" y="249"/>
                      <a:pt x="91" y="247"/>
                      <a:pt x="89" y="247"/>
                    </a:cubicBezTo>
                    <a:cubicBezTo>
                      <a:pt x="88" y="247"/>
                      <a:pt x="88" y="247"/>
                      <a:pt x="87" y="248"/>
                    </a:cubicBezTo>
                    <a:cubicBezTo>
                      <a:pt x="88" y="249"/>
                      <a:pt x="89" y="249"/>
                      <a:pt x="89" y="249"/>
                    </a:cubicBezTo>
                    <a:cubicBezTo>
                      <a:pt x="91" y="251"/>
                      <a:pt x="91" y="252"/>
                      <a:pt x="92" y="254"/>
                    </a:cubicBezTo>
                    <a:cubicBezTo>
                      <a:pt x="94" y="256"/>
                      <a:pt x="94" y="257"/>
                      <a:pt x="95" y="260"/>
                    </a:cubicBezTo>
                    <a:cubicBezTo>
                      <a:pt x="96" y="261"/>
                      <a:pt x="96" y="262"/>
                      <a:pt x="96" y="263"/>
                    </a:cubicBezTo>
                    <a:cubicBezTo>
                      <a:pt x="96" y="264"/>
                      <a:pt x="96" y="264"/>
                      <a:pt x="96" y="264"/>
                    </a:cubicBezTo>
                    <a:cubicBezTo>
                      <a:pt x="96" y="264"/>
                      <a:pt x="96" y="264"/>
                      <a:pt x="96" y="264"/>
                    </a:cubicBezTo>
                    <a:cubicBezTo>
                      <a:pt x="93" y="262"/>
                      <a:pt x="93" y="261"/>
                      <a:pt x="92" y="258"/>
                    </a:cubicBezTo>
                    <a:cubicBezTo>
                      <a:pt x="91" y="257"/>
                      <a:pt x="90" y="257"/>
                      <a:pt x="90" y="256"/>
                    </a:cubicBezTo>
                    <a:cubicBezTo>
                      <a:pt x="90" y="255"/>
                      <a:pt x="90" y="254"/>
                      <a:pt x="89" y="253"/>
                    </a:cubicBezTo>
                    <a:cubicBezTo>
                      <a:pt x="88" y="252"/>
                      <a:pt x="87" y="252"/>
                      <a:pt x="85" y="252"/>
                    </a:cubicBezTo>
                    <a:cubicBezTo>
                      <a:pt x="85" y="252"/>
                      <a:pt x="85" y="253"/>
                      <a:pt x="84" y="253"/>
                    </a:cubicBezTo>
                    <a:cubicBezTo>
                      <a:pt x="82" y="253"/>
                      <a:pt x="82" y="250"/>
                      <a:pt x="81" y="250"/>
                    </a:cubicBezTo>
                    <a:cubicBezTo>
                      <a:pt x="80" y="250"/>
                      <a:pt x="80" y="251"/>
                      <a:pt x="79" y="251"/>
                    </a:cubicBezTo>
                    <a:cubicBezTo>
                      <a:pt x="78" y="251"/>
                      <a:pt x="77" y="250"/>
                      <a:pt x="76" y="249"/>
                    </a:cubicBezTo>
                    <a:cubicBezTo>
                      <a:pt x="75" y="248"/>
                      <a:pt x="76" y="248"/>
                      <a:pt x="75" y="247"/>
                    </a:cubicBezTo>
                    <a:cubicBezTo>
                      <a:pt x="74" y="246"/>
                      <a:pt x="72" y="246"/>
                      <a:pt x="71" y="246"/>
                    </a:cubicBezTo>
                    <a:cubicBezTo>
                      <a:pt x="69" y="246"/>
                      <a:pt x="68" y="246"/>
                      <a:pt x="66" y="246"/>
                    </a:cubicBezTo>
                    <a:cubicBezTo>
                      <a:pt x="66" y="248"/>
                      <a:pt x="66" y="249"/>
                      <a:pt x="67" y="250"/>
                    </a:cubicBezTo>
                    <a:cubicBezTo>
                      <a:pt x="68" y="250"/>
                      <a:pt x="69" y="250"/>
                      <a:pt x="69" y="251"/>
                    </a:cubicBezTo>
                    <a:cubicBezTo>
                      <a:pt x="69" y="252"/>
                      <a:pt x="68" y="252"/>
                      <a:pt x="67" y="253"/>
                    </a:cubicBezTo>
                    <a:cubicBezTo>
                      <a:pt x="66" y="253"/>
                      <a:pt x="65" y="254"/>
                      <a:pt x="65" y="255"/>
                    </a:cubicBezTo>
                    <a:cubicBezTo>
                      <a:pt x="70" y="257"/>
                      <a:pt x="73" y="256"/>
                      <a:pt x="78" y="258"/>
                    </a:cubicBezTo>
                    <a:cubicBezTo>
                      <a:pt x="77" y="259"/>
                      <a:pt x="74" y="258"/>
                      <a:pt x="74" y="260"/>
                    </a:cubicBezTo>
                    <a:cubicBezTo>
                      <a:pt x="74" y="261"/>
                      <a:pt x="75" y="260"/>
                      <a:pt x="75" y="261"/>
                    </a:cubicBezTo>
                    <a:cubicBezTo>
                      <a:pt x="76" y="261"/>
                      <a:pt x="76" y="261"/>
                      <a:pt x="77" y="261"/>
                    </a:cubicBezTo>
                    <a:cubicBezTo>
                      <a:pt x="78" y="261"/>
                      <a:pt x="78" y="260"/>
                      <a:pt x="79" y="260"/>
                    </a:cubicBezTo>
                    <a:cubicBezTo>
                      <a:pt x="79" y="259"/>
                      <a:pt x="80" y="259"/>
                      <a:pt x="81" y="259"/>
                    </a:cubicBezTo>
                    <a:cubicBezTo>
                      <a:pt x="82" y="259"/>
                      <a:pt x="83" y="259"/>
                      <a:pt x="84" y="260"/>
                    </a:cubicBezTo>
                    <a:cubicBezTo>
                      <a:pt x="86" y="261"/>
                      <a:pt x="86" y="262"/>
                      <a:pt x="86" y="263"/>
                    </a:cubicBezTo>
                    <a:cubicBezTo>
                      <a:pt x="86" y="263"/>
                      <a:pt x="86" y="263"/>
                      <a:pt x="86" y="263"/>
                    </a:cubicBezTo>
                    <a:cubicBezTo>
                      <a:pt x="84" y="263"/>
                      <a:pt x="83" y="263"/>
                      <a:pt x="82" y="263"/>
                    </a:cubicBezTo>
                    <a:cubicBezTo>
                      <a:pt x="79" y="263"/>
                      <a:pt x="78" y="263"/>
                      <a:pt x="76" y="264"/>
                    </a:cubicBezTo>
                    <a:cubicBezTo>
                      <a:pt x="75" y="264"/>
                      <a:pt x="73" y="264"/>
                      <a:pt x="73" y="265"/>
                    </a:cubicBezTo>
                    <a:cubicBezTo>
                      <a:pt x="73" y="267"/>
                      <a:pt x="76" y="266"/>
                      <a:pt x="78" y="267"/>
                    </a:cubicBezTo>
                    <a:cubicBezTo>
                      <a:pt x="79" y="268"/>
                      <a:pt x="80" y="269"/>
                      <a:pt x="80" y="271"/>
                    </a:cubicBezTo>
                    <a:cubicBezTo>
                      <a:pt x="81" y="272"/>
                      <a:pt x="81" y="272"/>
                      <a:pt x="81" y="272"/>
                    </a:cubicBezTo>
                    <a:cubicBezTo>
                      <a:pt x="80" y="271"/>
                      <a:pt x="80" y="270"/>
                      <a:pt x="78" y="270"/>
                    </a:cubicBezTo>
                    <a:cubicBezTo>
                      <a:pt x="77" y="270"/>
                      <a:pt x="77" y="270"/>
                      <a:pt x="76" y="270"/>
                    </a:cubicBezTo>
                    <a:cubicBezTo>
                      <a:pt x="75" y="270"/>
                      <a:pt x="74" y="271"/>
                      <a:pt x="73" y="270"/>
                    </a:cubicBezTo>
                    <a:cubicBezTo>
                      <a:pt x="73" y="270"/>
                      <a:pt x="73" y="269"/>
                      <a:pt x="72" y="268"/>
                    </a:cubicBezTo>
                    <a:cubicBezTo>
                      <a:pt x="71" y="268"/>
                      <a:pt x="70" y="267"/>
                      <a:pt x="70" y="267"/>
                    </a:cubicBezTo>
                    <a:cubicBezTo>
                      <a:pt x="68" y="266"/>
                      <a:pt x="68" y="264"/>
                      <a:pt x="66" y="264"/>
                    </a:cubicBezTo>
                    <a:cubicBezTo>
                      <a:pt x="65" y="264"/>
                      <a:pt x="65" y="265"/>
                      <a:pt x="64" y="265"/>
                    </a:cubicBezTo>
                    <a:cubicBezTo>
                      <a:pt x="64" y="264"/>
                      <a:pt x="63" y="264"/>
                      <a:pt x="63" y="262"/>
                    </a:cubicBezTo>
                    <a:cubicBezTo>
                      <a:pt x="61" y="262"/>
                      <a:pt x="60" y="262"/>
                      <a:pt x="59" y="262"/>
                    </a:cubicBezTo>
                    <a:cubicBezTo>
                      <a:pt x="58" y="262"/>
                      <a:pt x="57" y="262"/>
                      <a:pt x="56" y="262"/>
                    </a:cubicBezTo>
                    <a:cubicBezTo>
                      <a:pt x="54" y="261"/>
                      <a:pt x="54" y="261"/>
                      <a:pt x="52" y="261"/>
                    </a:cubicBezTo>
                    <a:cubicBezTo>
                      <a:pt x="48" y="261"/>
                      <a:pt x="48" y="261"/>
                      <a:pt x="48" y="261"/>
                    </a:cubicBezTo>
                    <a:cubicBezTo>
                      <a:pt x="47" y="261"/>
                      <a:pt x="46" y="261"/>
                      <a:pt x="45" y="261"/>
                    </a:cubicBezTo>
                    <a:cubicBezTo>
                      <a:pt x="45" y="261"/>
                      <a:pt x="45" y="261"/>
                      <a:pt x="45" y="261"/>
                    </a:cubicBezTo>
                    <a:cubicBezTo>
                      <a:pt x="48" y="262"/>
                      <a:pt x="51" y="262"/>
                      <a:pt x="51" y="265"/>
                    </a:cubicBezTo>
                    <a:cubicBezTo>
                      <a:pt x="49" y="265"/>
                      <a:pt x="49" y="265"/>
                      <a:pt x="49" y="265"/>
                    </a:cubicBezTo>
                    <a:cubicBezTo>
                      <a:pt x="47" y="265"/>
                      <a:pt x="46" y="266"/>
                      <a:pt x="44" y="267"/>
                    </a:cubicBezTo>
                    <a:cubicBezTo>
                      <a:pt x="43" y="267"/>
                      <a:pt x="42" y="267"/>
                      <a:pt x="41" y="268"/>
                    </a:cubicBezTo>
                    <a:cubicBezTo>
                      <a:pt x="42" y="268"/>
                      <a:pt x="42" y="268"/>
                      <a:pt x="42" y="268"/>
                    </a:cubicBezTo>
                    <a:cubicBezTo>
                      <a:pt x="45" y="268"/>
                      <a:pt x="45" y="268"/>
                      <a:pt x="45" y="268"/>
                    </a:cubicBezTo>
                    <a:cubicBezTo>
                      <a:pt x="46" y="268"/>
                      <a:pt x="47" y="269"/>
                      <a:pt x="48" y="269"/>
                    </a:cubicBezTo>
                    <a:cubicBezTo>
                      <a:pt x="51" y="269"/>
                      <a:pt x="53" y="268"/>
                      <a:pt x="56" y="268"/>
                    </a:cubicBezTo>
                    <a:cubicBezTo>
                      <a:pt x="56" y="268"/>
                      <a:pt x="57" y="269"/>
                      <a:pt x="57" y="269"/>
                    </a:cubicBezTo>
                    <a:cubicBezTo>
                      <a:pt x="60" y="270"/>
                      <a:pt x="60" y="272"/>
                      <a:pt x="61" y="275"/>
                    </a:cubicBezTo>
                    <a:cubicBezTo>
                      <a:pt x="61" y="276"/>
                      <a:pt x="62" y="277"/>
                      <a:pt x="64" y="277"/>
                    </a:cubicBezTo>
                    <a:cubicBezTo>
                      <a:pt x="65" y="278"/>
                      <a:pt x="66" y="278"/>
                      <a:pt x="68" y="278"/>
                    </a:cubicBezTo>
                    <a:cubicBezTo>
                      <a:pt x="68" y="279"/>
                      <a:pt x="67" y="279"/>
                      <a:pt x="65" y="279"/>
                    </a:cubicBezTo>
                    <a:cubicBezTo>
                      <a:pt x="62" y="279"/>
                      <a:pt x="62" y="279"/>
                      <a:pt x="62" y="279"/>
                    </a:cubicBezTo>
                    <a:cubicBezTo>
                      <a:pt x="62" y="281"/>
                      <a:pt x="61" y="282"/>
                      <a:pt x="61" y="283"/>
                    </a:cubicBezTo>
                    <a:cubicBezTo>
                      <a:pt x="61" y="284"/>
                      <a:pt x="63" y="284"/>
                      <a:pt x="63" y="284"/>
                    </a:cubicBezTo>
                    <a:cubicBezTo>
                      <a:pt x="65" y="285"/>
                      <a:pt x="65" y="286"/>
                      <a:pt x="66" y="287"/>
                    </a:cubicBezTo>
                    <a:cubicBezTo>
                      <a:pt x="65" y="287"/>
                      <a:pt x="65" y="287"/>
                      <a:pt x="63" y="287"/>
                    </a:cubicBezTo>
                    <a:cubicBezTo>
                      <a:pt x="62" y="287"/>
                      <a:pt x="62" y="286"/>
                      <a:pt x="61" y="286"/>
                    </a:cubicBezTo>
                    <a:cubicBezTo>
                      <a:pt x="60" y="286"/>
                      <a:pt x="59" y="285"/>
                      <a:pt x="59" y="284"/>
                    </a:cubicBezTo>
                    <a:cubicBezTo>
                      <a:pt x="59" y="283"/>
                      <a:pt x="60" y="283"/>
                      <a:pt x="60" y="282"/>
                    </a:cubicBezTo>
                    <a:cubicBezTo>
                      <a:pt x="60" y="279"/>
                      <a:pt x="60" y="279"/>
                      <a:pt x="60" y="279"/>
                    </a:cubicBezTo>
                    <a:cubicBezTo>
                      <a:pt x="60" y="277"/>
                      <a:pt x="59" y="277"/>
                      <a:pt x="59" y="275"/>
                    </a:cubicBezTo>
                    <a:cubicBezTo>
                      <a:pt x="59" y="273"/>
                      <a:pt x="58" y="271"/>
                      <a:pt x="57" y="271"/>
                    </a:cubicBezTo>
                    <a:cubicBezTo>
                      <a:pt x="55" y="271"/>
                      <a:pt x="55" y="272"/>
                      <a:pt x="54" y="272"/>
                    </a:cubicBezTo>
                    <a:cubicBezTo>
                      <a:pt x="52" y="272"/>
                      <a:pt x="50" y="272"/>
                      <a:pt x="50" y="274"/>
                    </a:cubicBezTo>
                    <a:cubicBezTo>
                      <a:pt x="50" y="275"/>
                      <a:pt x="51" y="276"/>
                      <a:pt x="52" y="277"/>
                    </a:cubicBezTo>
                    <a:cubicBezTo>
                      <a:pt x="53" y="280"/>
                      <a:pt x="53" y="281"/>
                      <a:pt x="54" y="283"/>
                    </a:cubicBezTo>
                    <a:cubicBezTo>
                      <a:pt x="53" y="284"/>
                      <a:pt x="52" y="283"/>
                      <a:pt x="50" y="283"/>
                    </a:cubicBezTo>
                    <a:cubicBezTo>
                      <a:pt x="50" y="281"/>
                      <a:pt x="49" y="279"/>
                      <a:pt x="48" y="277"/>
                    </a:cubicBezTo>
                    <a:cubicBezTo>
                      <a:pt x="48" y="275"/>
                      <a:pt x="47" y="273"/>
                      <a:pt x="46" y="273"/>
                    </a:cubicBezTo>
                    <a:cubicBezTo>
                      <a:pt x="45" y="273"/>
                      <a:pt x="45" y="274"/>
                      <a:pt x="44" y="274"/>
                    </a:cubicBezTo>
                    <a:cubicBezTo>
                      <a:pt x="43" y="275"/>
                      <a:pt x="42" y="275"/>
                      <a:pt x="41" y="277"/>
                    </a:cubicBezTo>
                    <a:cubicBezTo>
                      <a:pt x="41" y="277"/>
                      <a:pt x="42" y="278"/>
                      <a:pt x="42" y="278"/>
                    </a:cubicBezTo>
                    <a:cubicBezTo>
                      <a:pt x="42" y="279"/>
                      <a:pt x="41" y="279"/>
                      <a:pt x="41" y="280"/>
                    </a:cubicBezTo>
                    <a:cubicBezTo>
                      <a:pt x="41" y="280"/>
                      <a:pt x="42" y="280"/>
                      <a:pt x="42" y="281"/>
                    </a:cubicBezTo>
                    <a:cubicBezTo>
                      <a:pt x="43" y="281"/>
                      <a:pt x="42" y="282"/>
                      <a:pt x="43" y="283"/>
                    </a:cubicBezTo>
                    <a:cubicBezTo>
                      <a:pt x="44" y="283"/>
                      <a:pt x="44" y="283"/>
                      <a:pt x="44" y="284"/>
                    </a:cubicBezTo>
                    <a:cubicBezTo>
                      <a:pt x="44" y="285"/>
                      <a:pt x="44" y="285"/>
                      <a:pt x="44" y="285"/>
                    </a:cubicBezTo>
                    <a:cubicBezTo>
                      <a:pt x="44" y="285"/>
                      <a:pt x="44" y="285"/>
                      <a:pt x="44" y="285"/>
                    </a:cubicBezTo>
                    <a:cubicBezTo>
                      <a:pt x="42" y="285"/>
                      <a:pt x="42" y="284"/>
                      <a:pt x="41" y="284"/>
                    </a:cubicBezTo>
                    <a:cubicBezTo>
                      <a:pt x="40" y="284"/>
                      <a:pt x="39" y="285"/>
                      <a:pt x="38" y="285"/>
                    </a:cubicBezTo>
                    <a:cubicBezTo>
                      <a:pt x="38" y="285"/>
                      <a:pt x="38" y="285"/>
                      <a:pt x="38" y="285"/>
                    </a:cubicBezTo>
                    <a:cubicBezTo>
                      <a:pt x="38" y="284"/>
                      <a:pt x="38" y="284"/>
                      <a:pt x="38" y="283"/>
                    </a:cubicBezTo>
                    <a:cubicBezTo>
                      <a:pt x="38" y="282"/>
                      <a:pt x="38" y="281"/>
                      <a:pt x="37" y="280"/>
                    </a:cubicBezTo>
                    <a:cubicBezTo>
                      <a:pt x="37" y="279"/>
                      <a:pt x="36" y="278"/>
                      <a:pt x="35" y="278"/>
                    </a:cubicBezTo>
                    <a:cubicBezTo>
                      <a:pt x="34" y="278"/>
                      <a:pt x="33" y="279"/>
                      <a:pt x="32" y="280"/>
                    </a:cubicBezTo>
                    <a:cubicBezTo>
                      <a:pt x="31" y="278"/>
                      <a:pt x="29" y="279"/>
                      <a:pt x="28" y="278"/>
                    </a:cubicBezTo>
                    <a:cubicBezTo>
                      <a:pt x="28" y="278"/>
                      <a:pt x="27" y="278"/>
                      <a:pt x="27" y="278"/>
                    </a:cubicBezTo>
                    <a:cubicBezTo>
                      <a:pt x="27" y="280"/>
                      <a:pt x="29" y="280"/>
                      <a:pt x="29" y="282"/>
                    </a:cubicBezTo>
                    <a:cubicBezTo>
                      <a:pt x="29" y="283"/>
                      <a:pt x="28" y="283"/>
                      <a:pt x="27" y="283"/>
                    </a:cubicBezTo>
                    <a:cubicBezTo>
                      <a:pt x="26" y="283"/>
                      <a:pt x="26" y="283"/>
                      <a:pt x="25" y="282"/>
                    </a:cubicBezTo>
                    <a:cubicBezTo>
                      <a:pt x="25" y="282"/>
                      <a:pt x="24" y="282"/>
                      <a:pt x="24" y="281"/>
                    </a:cubicBezTo>
                    <a:cubicBezTo>
                      <a:pt x="24" y="279"/>
                      <a:pt x="24" y="279"/>
                      <a:pt x="24" y="279"/>
                    </a:cubicBezTo>
                    <a:cubicBezTo>
                      <a:pt x="23" y="279"/>
                      <a:pt x="23" y="279"/>
                      <a:pt x="23" y="278"/>
                    </a:cubicBezTo>
                    <a:cubicBezTo>
                      <a:pt x="23" y="277"/>
                      <a:pt x="24" y="277"/>
                      <a:pt x="24" y="276"/>
                    </a:cubicBezTo>
                    <a:cubicBezTo>
                      <a:pt x="24" y="276"/>
                      <a:pt x="24" y="276"/>
                      <a:pt x="23" y="276"/>
                    </a:cubicBezTo>
                    <a:cubicBezTo>
                      <a:pt x="22" y="276"/>
                      <a:pt x="21" y="276"/>
                      <a:pt x="21" y="277"/>
                    </a:cubicBezTo>
                    <a:cubicBezTo>
                      <a:pt x="21" y="280"/>
                      <a:pt x="23" y="281"/>
                      <a:pt x="23" y="284"/>
                    </a:cubicBezTo>
                    <a:cubicBezTo>
                      <a:pt x="23" y="284"/>
                      <a:pt x="23" y="285"/>
                      <a:pt x="23" y="285"/>
                    </a:cubicBezTo>
                    <a:cubicBezTo>
                      <a:pt x="23" y="286"/>
                      <a:pt x="24" y="286"/>
                      <a:pt x="25" y="286"/>
                    </a:cubicBezTo>
                    <a:cubicBezTo>
                      <a:pt x="26" y="287"/>
                      <a:pt x="27" y="286"/>
                      <a:pt x="29" y="287"/>
                    </a:cubicBezTo>
                    <a:cubicBezTo>
                      <a:pt x="30" y="287"/>
                      <a:pt x="31" y="288"/>
                      <a:pt x="32" y="289"/>
                    </a:cubicBezTo>
                    <a:cubicBezTo>
                      <a:pt x="33" y="289"/>
                      <a:pt x="34" y="289"/>
                      <a:pt x="35" y="289"/>
                    </a:cubicBezTo>
                    <a:cubicBezTo>
                      <a:pt x="35" y="289"/>
                      <a:pt x="35" y="289"/>
                      <a:pt x="35" y="289"/>
                    </a:cubicBezTo>
                    <a:cubicBezTo>
                      <a:pt x="35" y="290"/>
                      <a:pt x="35" y="290"/>
                      <a:pt x="35" y="291"/>
                    </a:cubicBezTo>
                    <a:cubicBezTo>
                      <a:pt x="35" y="291"/>
                      <a:pt x="36" y="291"/>
                      <a:pt x="36" y="292"/>
                    </a:cubicBezTo>
                    <a:cubicBezTo>
                      <a:pt x="38" y="293"/>
                      <a:pt x="40" y="292"/>
                      <a:pt x="42" y="293"/>
                    </a:cubicBezTo>
                    <a:cubicBezTo>
                      <a:pt x="44" y="294"/>
                      <a:pt x="46" y="294"/>
                      <a:pt x="49" y="294"/>
                    </a:cubicBezTo>
                    <a:cubicBezTo>
                      <a:pt x="50" y="294"/>
                      <a:pt x="50" y="294"/>
                      <a:pt x="51" y="294"/>
                    </a:cubicBezTo>
                    <a:cubicBezTo>
                      <a:pt x="52" y="294"/>
                      <a:pt x="53" y="294"/>
                      <a:pt x="53" y="294"/>
                    </a:cubicBezTo>
                    <a:cubicBezTo>
                      <a:pt x="53" y="294"/>
                      <a:pt x="54" y="294"/>
                      <a:pt x="54" y="295"/>
                    </a:cubicBezTo>
                    <a:cubicBezTo>
                      <a:pt x="54" y="296"/>
                      <a:pt x="52" y="297"/>
                      <a:pt x="51" y="297"/>
                    </a:cubicBezTo>
                    <a:cubicBezTo>
                      <a:pt x="50" y="297"/>
                      <a:pt x="49" y="299"/>
                      <a:pt x="48" y="299"/>
                    </a:cubicBezTo>
                    <a:cubicBezTo>
                      <a:pt x="46" y="299"/>
                      <a:pt x="45" y="296"/>
                      <a:pt x="43" y="296"/>
                    </a:cubicBezTo>
                    <a:cubicBezTo>
                      <a:pt x="42" y="296"/>
                      <a:pt x="41" y="297"/>
                      <a:pt x="41" y="299"/>
                    </a:cubicBezTo>
                    <a:cubicBezTo>
                      <a:pt x="40" y="299"/>
                      <a:pt x="39" y="297"/>
                      <a:pt x="38" y="296"/>
                    </a:cubicBezTo>
                    <a:cubicBezTo>
                      <a:pt x="36" y="295"/>
                      <a:pt x="35" y="295"/>
                      <a:pt x="33" y="294"/>
                    </a:cubicBezTo>
                    <a:cubicBezTo>
                      <a:pt x="33" y="294"/>
                      <a:pt x="33" y="293"/>
                      <a:pt x="32" y="293"/>
                    </a:cubicBezTo>
                    <a:cubicBezTo>
                      <a:pt x="31" y="293"/>
                      <a:pt x="30" y="293"/>
                      <a:pt x="28" y="293"/>
                    </a:cubicBezTo>
                    <a:cubicBezTo>
                      <a:pt x="28" y="292"/>
                      <a:pt x="29" y="292"/>
                      <a:pt x="28" y="291"/>
                    </a:cubicBezTo>
                    <a:cubicBezTo>
                      <a:pt x="28" y="290"/>
                      <a:pt x="27" y="290"/>
                      <a:pt x="26" y="290"/>
                    </a:cubicBezTo>
                    <a:cubicBezTo>
                      <a:pt x="24" y="290"/>
                      <a:pt x="24" y="290"/>
                      <a:pt x="24" y="290"/>
                    </a:cubicBezTo>
                    <a:cubicBezTo>
                      <a:pt x="22" y="290"/>
                      <a:pt x="21" y="291"/>
                      <a:pt x="21" y="292"/>
                    </a:cubicBezTo>
                    <a:cubicBezTo>
                      <a:pt x="21" y="293"/>
                      <a:pt x="22" y="293"/>
                      <a:pt x="22" y="294"/>
                    </a:cubicBezTo>
                    <a:cubicBezTo>
                      <a:pt x="22" y="295"/>
                      <a:pt x="22" y="295"/>
                      <a:pt x="22" y="295"/>
                    </a:cubicBezTo>
                    <a:cubicBezTo>
                      <a:pt x="19" y="295"/>
                      <a:pt x="19" y="295"/>
                      <a:pt x="19" y="295"/>
                    </a:cubicBezTo>
                    <a:cubicBezTo>
                      <a:pt x="19" y="295"/>
                      <a:pt x="18" y="295"/>
                      <a:pt x="18" y="295"/>
                    </a:cubicBezTo>
                    <a:cubicBezTo>
                      <a:pt x="17" y="295"/>
                      <a:pt x="17" y="296"/>
                      <a:pt x="17" y="296"/>
                    </a:cubicBezTo>
                    <a:cubicBezTo>
                      <a:pt x="17" y="297"/>
                      <a:pt x="17" y="297"/>
                      <a:pt x="17" y="297"/>
                    </a:cubicBezTo>
                    <a:cubicBezTo>
                      <a:pt x="20" y="297"/>
                      <a:pt x="23" y="297"/>
                      <a:pt x="23" y="300"/>
                    </a:cubicBezTo>
                    <a:cubicBezTo>
                      <a:pt x="23" y="302"/>
                      <a:pt x="23" y="302"/>
                      <a:pt x="23" y="302"/>
                    </a:cubicBezTo>
                    <a:cubicBezTo>
                      <a:pt x="23" y="303"/>
                      <a:pt x="25" y="303"/>
                      <a:pt x="26" y="304"/>
                    </a:cubicBezTo>
                    <a:cubicBezTo>
                      <a:pt x="28" y="304"/>
                      <a:pt x="30" y="305"/>
                      <a:pt x="30" y="307"/>
                    </a:cubicBezTo>
                    <a:cubicBezTo>
                      <a:pt x="28" y="307"/>
                      <a:pt x="27" y="307"/>
                      <a:pt x="25" y="307"/>
                    </a:cubicBezTo>
                    <a:cubicBezTo>
                      <a:pt x="23" y="307"/>
                      <a:pt x="22" y="307"/>
                      <a:pt x="20" y="306"/>
                    </a:cubicBezTo>
                    <a:cubicBezTo>
                      <a:pt x="19" y="306"/>
                      <a:pt x="19" y="305"/>
                      <a:pt x="18" y="305"/>
                    </a:cubicBezTo>
                    <a:cubicBezTo>
                      <a:pt x="16" y="305"/>
                      <a:pt x="16" y="305"/>
                      <a:pt x="16" y="305"/>
                    </a:cubicBezTo>
                    <a:cubicBezTo>
                      <a:pt x="16" y="306"/>
                      <a:pt x="16" y="306"/>
                      <a:pt x="16" y="306"/>
                    </a:cubicBezTo>
                    <a:cubicBezTo>
                      <a:pt x="18" y="307"/>
                      <a:pt x="18" y="307"/>
                      <a:pt x="20" y="308"/>
                    </a:cubicBezTo>
                    <a:cubicBezTo>
                      <a:pt x="20" y="308"/>
                      <a:pt x="21" y="308"/>
                      <a:pt x="22" y="309"/>
                    </a:cubicBezTo>
                    <a:cubicBezTo>
                      <a:pt x="20" y="310"/>
                      <a:pt x="19" y="310"/>
                      <a:pt x="18" y="310"/>
                    </a:cubicBezTo>
                    <a:cubicBezTo>
                      <a:pt x="17" y="310"/>
                      <a:pt x="17" y="310"/>
                      <a:pt x="16" y="310"/>
                    </a:cubicBezTo>
                    <a:cubicBezTo>
                      <a:pt x="16" y="310"/>
                      <a:pt x="15" y="310"/>
                      <a:pt x="15" y="310"/>
                    </a:cubicBezTo>
                    <a:cubicBezTo>
                      <a:pt x="15" y="312"/>
                      <a:pt x="15" y="312"/>
                      <a:pt x="15" y="312"/>
                    </a:cubicBezTo>
                    <a:cubicBezTo>
                      <a:pt x="15" y="313"/>
                      <a:pt x="16" y="313"/>
                      <a:pt x="17" y="313"/>
                    </a:cubicBezTo>
                    <a:cubicBezTo>
                      <a:pt x="18" y="313"/>
                      <a:pt x="18" y="313"/>
                      <a:pt x="19" y="313"/>
                    </a:cubicBezTo>
                    <a:cubicBezTo>
                      <a:pt x="18" y="314"/>
                      <a:pt x="18" y="315"/>
                      <a:pt x="18" y="316"/>
                    </a:cubicBezTo>
                    <a:cubicBezTo>
                      <a:pt x="18" y="317"/>
                      <a:pt x="18" y="317"/>
                      <a:pt x="19" y="318"/>
                    </a:cubicBezTo>
                    <a:cubicBezTo>
                      <a:pt x="19" y="319"/>
                      <a:pt x="19" y="319"/>
                      <a:pt x="20" y="320"/>
                    </a:cubicBezTo>
                    <a:cubicBezTo>
                      <a:pt x="21" y="320"/>
                      <a:pt x="21" y="320"/>
                      <a:pt x="22" y="320"/>
                    </a:cubicBezTo>
                    <a:cubicBezTo>
                      <a:pt x="24" y="319"/>
                      <a:pt x="26" y="319"/>
                      <a:pt x="28" y="320"/>
                    </a:cubicBezTo>
                    <a:cubicBezTo>
                      <a:pt x="29" y="320"/>
                      <a:pt x="30" y="320"/>
                      <a:pt x="31" y="321"/>
                    </a:cubicBezTo>
                    <a:cubicBezTo>
                      <a:pt x="32" y="321"/>
                      <a:pt x="32" y="321"/>
                      <a:pt x="33" y="321"/>
                    </a:cubicBezTo>
                    <a:cubicBezTo>
                      <a:pt x="35" y="322"/>
                      <a:pt x="35" y="324"/>
                      <a:pt x="36" y="324"/>
                    </a:cubicBezTo>
                    <a:cubicBezTo>
                      <a:pt x="37" y="324"/>
                      <a:pt x="38" y="324"/>
                      <a:pt x="39" y="324"/>
                    </a:cubicBezTo>
                    <a:cubicBezTo>
                      <a:pt x="40" y="323"/>
                      <a:pt x="39" y="321"/>
                      <a:pt x="40" y="320"/>
                    </a:cubicBezTo>
                    <a:cubicBezTo>
                      <a:pt x="40" y="318"/>
                      <a:pt x="41" y="318"/>
                      <a:pt x="42" y="317"/>
                    </a:cubicBezTo>
                    <a:cubicBezTo>
                      <a:pt x="44" y="315"/>
                      <a:pt x="47" y="316"/>
                      <a:pt x="48" y="313"/>
                    </a:cubicBezTo>
                    <a:cubicBezTo>
                      <a:pt x="49" y="313"/>
                      <a:pt x="49" y="313"/>
                      <a:pt x="49" y="313"/>
                    </a:cubicBezTo>
                    <a:cubicBezTo>
                      <a:pt x="49" y="314"/>
                      <a:pt x="48" y="315"/>
                      <a:pt x="47" y="316"/>
                    </a:cubicBezTo>
                    <a:cubicBezTo>
                      <a:pt x="47" y="317"/>
                      <a:pt x="47" y="318"/>
                      <a:pt x="46" y="319"/>
                    </a:cubicBezTo>
                    <a:cubicBezTo>
                      <a:pt x="45" y="320"/>
                      <a:pt x="44" y="320"/>
                      <a:pt x="44" y="321"/>
                    </a:cubicBezTo>
                    <a:cubicBezTo>
                      <a:pt x="44" y="322"/>
                      <a:pt x="45" y="322"/>
                      <a:pt x="46" y="323"/>
                    </a:cubicBezTo>
                    <a:cubicBezTo>
                      <a:pt x="47" y="323"/>
                      <a:pt x="47" y="324"/>
                      <a:pt x="48" y="324"/>
                    </a:cubicBezTo>
                    <a:cubicBezTo>
                      <a:pt x="49" y="323"/>
                      <a:pt x="50" y="323"/>
                      <a:pt x="52" y="322"/>
                    </a:cubicBezTo>
                    <a:cubicBezTo>
                      <a:pt x="53" y="322"/>
                      <a:pt x="54" y="322"/>
                      <a:pt x="55" y="321"/>
                    </a:cubicBezTo>
                    <a:cubicBezTo>
                      <a:pt x="54" y="323"/>
                      <a:pt x="53" y="324"/>
                      <a:pt x="53" y="326"/>
                    </a:cubicBezTo>
                    <a:cubicBezTo>
                      <a:pt x="53" y="326"/>
                      <a:pt x="53" y="326"/>
                      <a:pt x="53" y="326"/>
                    </a:cubicBezTo>
                    <a:cubicBezTo>
                      <a:pt x="53" y="326"/>
                      <a:pt x="54" y="325"/>
                      <a:pt x="54" y="325"/>
                    </a:cubicBezTo>
                    <a:cubicBezTo>
                      <a:pt x="56" y="325"/>
                      <a:pt x="57" y="326"/>
                      <a:pt x="58" y="326"/>
                    </a:cubicBezTo>
                    <a:cubicBezTo>
                      <a:pt x="59" y="326"/>
                      <a:pt x="60" y="325"/>
                      <a:pt x="60" y="324"/>
                    </a:cubicBezTo>
                    <a:cubicBezTo>
                      <a:pt x="60" y="322"/>
                      <a:pt x="60" y="321"/>
                      <a:pt x="60" y="320"/>
                    </a:cubicBezTo>
                    <a:cubicBezTo>
                      <a:pt x="60" y="313"/>
                      <a:pt x="60" y="313"/>
                      <a:pt x="60" y="313"/>
                    </a:cubicBezTo>
                    <a:cubicBezTo>
                      <a:pt x="60" y="313"/>
                      <a:pt x="60" y="312"/>
                      <a:pt x="61" y="312"/>
                    </a:cubicBezTo>
                    <a:cubicBezTo>
                      <a:pt x="61" y="312"/>
                      <a:pt x="61" y="312"/>
                      <a:pt x="61" y="313"/>
                    </a:cubicBezTo>
                    <a:cubicBezTo>
                      <a:pt x="62" y="313"/>
                      <a:pt x="63" y="313"/>
                      <a:pt x="64" y="313"/>
                    </a:cubicBezTo>
                    <a:cubicBezTo>
                      <a:pt x="65" y="313"/>
                      <a:pt x="66" y="313"/>
                      <a:pt x="67" y="313"/>
                    </a:cubicBezTo>
                    <a:cubicBezTo>
                      <a:pt x="66" y="314"/>
                      <a:pt x="66" y="316"/>
                      <a:pt x="65" y="318"/>
                    </a:cubicBezTo>
                    <a:cubicBezTo>
                      <a:pt x="64" y="319"/>
                      <a:pt x="64" y="320"/>
                      <a:pt x="64" y="321"/>
                    </a:cubicBezTo>
                    <a:cubicBezTo>
                      <a:pt x="64" y="322"/>
                      <a:pt x="65" y="323"/>
                      <a:pt x="66" y="323"/>
                    </a:cubicBezTo>
                    <a:cubicBezTo>
                      <a:pt x="67" y="323"/>
                      <a:pt x="67" y="323"/>
                      <a:pt x="67" y="323"/>
                    </a:cubicBezTo>
                    <a:cubicBezTo>
                      <a:pt x="69" y="323"/>
                      <a:pt x="70" y="324"/>
                      <a:pt x="72" y="324"/>
                    </a:cubicBezTo>
                    <a:cubicBezTo>
                      <a:pt x="72" y="325"/>
                      <a:pt x="72" y="325"/>
                      <a:pt x="72" y="325"/>
                    </a:cubicBezTo>
                    <a:cubicBezTo>
                      <a:pt x="70" y="325"/>
                      <a:pt x="69" y="326"/>
                      <a:pt x="67" y="327"/>
                    </a:cubicBezTo>
                    <a:cubicBezTo>
                      <a:pt x="65" y="328"/>
                      <a:pt x="64" y="327"/>
                      <a:pt x="63" y="328"/>
                    </a:cubicBezTo>
                    <a:cubicBezTo>
                      <a:pt x="63" y="328"/>
                      <a:pt x="63" y="329"/>
                      <a:pt x="63" y="330"/>
                    </a:cubicBezTo>
                    <a:cubicBezTo>
                      <a:pt x="62" y="330"/>
                      <a:pt x="62" y="330"/>
                      <a:pt x="62" y="330"/>
                    </a:cubicBezTo>
                    <a:cubicBezTo>
                      <a:pt x="62" y="329"/>
                      <a:pt x="61" y="329"/>
                      <a:pt x="60" y="329"/>
                    </a:cubicBezTo>
                    <a:cubicBezTo>
                      <a:pt x="59" y="329"/>
                      <a:pt x="58" y="329"/>
                      <a:pt x="57" y="329"/>
                    </a:cubicBezTo>
                    <a:cubicBezTo>
                      <a:pt x="54" y="329"/>
                      <a:pt x="54" y="329"/>
                      <a:pt x="54" y="329"/>
                    </a:cubicBezTo>
                    <a:cubicBezTo>
                      <a:pt x="54" y="329"/>
                      <a:pt x="53" y="330"/>
                      <a:pt x="52" y="330"/>
                    </a:cubicBezTo>
                    <a:cubicBezTo>
                      <a:pt x="52" y="331"/>
                      <a:pt x="51" y="331"/>
                      <a:pt x="50" y="332"/>
                    </a:cubicBezTo>
                    <a:cubicBezTo>
                      <a:pt x="52" y="333"/>
                      <a:pt x="54" y="335"/>
                      <a:pt x="54" y="338"/>
                    </a:cubicBezTo>
                    <a:cubicBezTo>
                      <a:pt x="54" y="338"/>
                      <a:pt x="53" y="339"/>
                      <a:pt x="53" y="339"/>
                    </a:cubicBezTo>
                    <a:cubicBezTo>
                      <a:pt x="52" y="339"/>
                      <a:pt x="51" y="337"/>
                      <a:pt x="50" y="337"/>
                    </a:cubicBezTo>
                    <a:cubicBezTo>
                      <a:pt x="49" y="337"/>
                      <a:pt x="49" y="337"/>
                      <a:pt x="49" y="337"/>
                    </a:cubicBezTo>
                    <a:cubicBezTo>
                      <a:pt x="47" y="337"/>
                      <a:pt x="46" y="337"/>
                      <a:pt x="46" y="336"/>
                    </a:cubicBezTo>
                    <a:cubicBezTo>
                      <a:pt x="47" y="335"/>
                      <a:pt x="48" y="334"/>
                      <a:pt x="49" y="333"/>
                    </a:cubicBezTo>
                    <a:cubicBezTo>
                      <a:pt x="49" y="332"/>
                      <a:pt x="49" y="332"/>
                      <a:pt x="49" y="332"/>
                    </a:cubicBezTo>
                    <a:cubicBezTo>
                      <a:pt x="47" y="332"/>
                      <a:pt x="46" y="330"/>
                      <a:pt x="45" y="328"/>
                    </a:cubicBezTo>
                    <a:cubicBezTo>
                      <a:pt x="44" y="328"/>
                      <a:pt x="44" y="328"/>
                      <a:pt x="43" y="327"/>
                    </a:cubicBezTo>
                    <a:cubicBezTo>
                      <a:pt x="43" y="327"/>
                      <a:pt x="42" y="326"/>
                      <a:pt x="42" y="326"/>
                    </a:cubicBezTo>
                    <a:cubicBezTo>
                      <a:pt x="40" y="326"/>
                      <a:pt x="39" y="329"/>
                      <a:pt x="37" y="329"/>
                    </a:cubicBezTo>
                    <a:cubicBezTo>
                      <a:pt x="37" y="329"/>
                      <a:pt x="36" y="328"/>
                      <a:pt x="36" y="328"/>
                    </a:cubicBezTo>
                    <a:cubicBezTo>
                      <a:pt x="35" y="327"/>
                      <a:pt x="34" y="327"/>
                      <a:pt x="33" y="327"/>
                    </a:cubicBezTo>
                    <a:cubicBezTo>
                      <a:pt x="32" y="326"/>
                      <a:pt x="31" y="324"/>
                      <a:pt x="30" y="324"/>
                    </a:cubicBezTo>
                    <a:cubicBezTo>
                      <a:pt x="26" y="324"/>
                      <a:pt x="26" y="324"/>
                      <a:pt x="26" y="324"/>
                    </a:cubicBezTo>
                    <a:cubicBezTo>
                      <a:pt x="25" y="324"/>
                      <a:pt x="25" y="324"/>
                      <a:pt x="24" y="323"/>
                    </a:cubicBezTo>
                    <a:cubicBezTo>
                      <a:pt x="23" y="323"/>
                      <a:pt x="23" y="323"/>
                      <a:pt x="22" y="323"/>
                    </a:cubicBezTo>
                    <a:cubicBezTo>
                      <a:pt x="21" y="323"/>
                      <a:pt x="20" y="323"/>
                      <a:pt x="19" y="324"/>
                    </a:cubicBezTo>
                    <a:cubicBezTo>
                      <a:pt x="18" y="324"/>
                      <a:pt x="18" y="325"/>
                      <a:pt x="17" y="325"/>
                    </a:cubicBezTo>
                    <a:cubicBezTo>
                      <a:pt x="16" y="325"/>
                      <a:pt x="15" y="324"/>
                      <a:pt x="14" y="323"/>
                    </a:cubicBezTo>
                    <a:cubicBezTo>
                      <a:pt x="14" y="324"/>
                      <a:pt x="14" y="324"/>
                      <a:pt x="14" y="324"/>
                    </a:cubicBezTo>
                    <a:cubicBezTo>
                      <a:pt x="14" y="325"/>
                      <a:pt x="14" y="326"/>
                      <a:pt x="14" y="326"/>
                    </a:cubicBezTo>
                    <a:cubicBezTo>
                      <a:pt x="12" y="326"/>
                      <a:pt x="12" y="327"/>
                      <a:pt x="12" y="329"/>
                    </a:cubicBezTo>
                    <a:cubicBezTo>
                      <a:pt x="12" y="330"/>
                      <a:pt x="12" y="332"/>
                      <a:pt x="14" y="332"/>
                    </a:cubicBezTo>
                    <a:cubicBezTo>
                      <a:pt x="16" y="332"/>
                      <a:pt x="17" y="331"/>
                      <a:pt x="19" y="331"/>
                    </a:cubicBezTo>
                    <a:cubicBezTo>
                      <a:pt x="20" y="331"/>
                      <a:pt x="21" y="332"/>
                      <a:pt x="22" y="333"/>
                    </a:cubicBezTo>
                    <a:cubicBezTo>
                      <a:pt x="21" y="334"/>
                      <a:pt x="20" y="334"/>
                      <a:pt x="19" y="335"/>
                    </a:cubicBezTo>
                    <a:cubicBezTo>
                      <a:pt x="18" y="335"/>
                      <a:pt x="17" y="335"/>
                      <a:pt x="17" y="336"/>
                    </a:cubicBezTo>
                    <a:cubicBezTo>
                      <a:pt x="17" y="337"/>
                      <a:pt x="18" y="337"/>
                      <a:pt x="18" y="338"/>
                    </a:cubicBezTo>
                    <a:cubicBezTo>
                      <a:pt x="19" y="339"/>
                      <a:pt x="19" y="340"/>
                      <a:pt x="20" y="340"/>
                    </a:cubicBezTo>
                    <a:cubicBezTo>
                      <a:pt x="21" y="340"/>
                      <a:pt x="22" y="338"/>
                      <a:pt x="23" y="338"/>
                    </a:cubicBezTo>
                    <a:cubicBezTo>
                      <a:pt x="24" y="338"/>
                      <a:pt x="24" y="339"/>
                      <a:pt x="25" y="339"/>
                    </a:cubicBezTo>
                    <a:cubicBezTo>
                      <a:pt x="26" y="341"/>
                      <a:pt x="27" y="342"/>
                      <a:pt x="27" y="344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5" y="345"/>
                      <a:pt x="24" y="347"/>
                      <a:pt x="22" y="349"/>
                    </a:cubicBezTo>
                    <a:cubicBezTo>
                      <a:pt x="21" y="350"/>
                      <a:pt x="21" y="352"/>
                      <a:pt x="19" y="352"/>
                    </a:cubicBezTo>
                    <a:cubicBezTo>
                      <a:pt x="16" y="352"/>
                      <a:pt x="16" y="352"/>
                      <a:pt x="16" y="352"/>
                    </a:cubicBezTo>
                    <a:cubicBezTo>
                      <a:pt x="16" y="352"/>
                      <a:pt x="16" y="352"/>
                      <a:pt x="16" y="352"/>
                    </a:cubicBezTo>
                    <a:cubicBezTo>
                      <a:pt x="15" y="352"/>
                      <a:pt x="15" y="351"/>
                      <a:pt x="15" y="350"/>
                    </a:cubicBezTo>
                    <a:cubicBezTo>
                      <a:pt x="14" y="350"/>
                      <a:pt x="13" y="349"/>
                      <a:pt x="13" y="348"/>
                    </a:cubicBezTo>
                    <a:cubicBezTo>
                      <a:pt x="12" y="349"/>
                      <a:pt x="12" y="350"/>
                      <a:pt x="12" y="350"/>
                    </a:cubicBezTo>
                    <a:cubicBezTo>
                      <a:pt x="11" y="351"/>
                      <a:pt x="10" y="351"/>
                      <a:pt x="9" y="351"/>
                    </a:cubicBezTo>
                    <a:cubicBezTo>
                      <a:pt x="9" y="351"/>
                      <a:pt x="9" y="351"/>
                      <a:pt x="9" y="351"/>
                    </a:cubicBezTo>
                    <a:cubicBezTo>
                      <a:pt x="9" y="352"/>
                      <a:pt x="10" y="352"/>
                      <a:pt x="10" y="352"/>
                    </a:cubicBezTo>
                    <a:cubicBezTo>
                      <a:pt x="10" y="354"/>
                      <a:pt x="9" y="355"/>
                      <a:pt x="10" y="356"/>
                    </a:cubicBezTo>
                    <a:cubicBezTo>
                      <a:pt x="10" y="357"/>
                      <a:pt x="11" y="357"/>
                      <a:pt x="11" y="358"/>
                    </a:cubicBezTo>
                    <a:cubicBezTo>
                      <a:pt x="12" y="358"/>
                      <a:pt x="12" y="358"/>
                      <a:pt x="12" y="358"/>
                    </a:cubicBezTo>
                    <a:cubicBezTo>
                      <a:pt x="13" y="358"/>
                      <a:pt x="13" y="357"/>
                      <a:pt x="14" y="357"/>
                    </a:cubicBezTo>
                    <a:cubicBezTo>
                      <a:pt x="16" y="356"/>
                      <a:pt x="17" y="356"/>
                      <a:pt x="18" y="354"/>
                    </a:cubicBezTo>
                    <a:cubicBezTo>
                      <a:pt x="18" y="355"/>
                      <a:pt x="19" y="355"/>
                      <a:pt x="19" y="355"/>
                    </a:cubicBezTo>
                    <a:cubicBezTo>
                      <a:pt x="19" y="356"/>
                      <a:pt x="17" y="357"/>
                      <a:pt x="17" y="358"/>
                    </a:cubicBezTo>
                    <a:cubicBezTo>
                      <a:pt x="17" y="359"/>
                      <a:pt x="17" y="359"/>
                      <a:pt x="17" y="360"/>
                    </a:cubicBezTo>
                    <a:cubicBezTo>
                      <a:pt x="17" y="361"/>
                      <a:pt x="18" y="361"/>
                      <a:pt x="18" y="362"/>
                    </a:cubicBezTo>
                    <a:cubicBezTo>
                      <a:pt x="18" y="365"/>
                      <a:pt x="17" y="366"/>
                      <a:pt x="17" y="369"/>
                    </a:cubicBezTo>
                    <a:cubicBezTo>
                      <a:pt x="17" y="369"/>
                      <a:pt x="17" y="369"/>
                      <a:pt x="17" y="369"/>
                    </a:cubicBezTo>
                    <a:cubicBezTo>
                      <a:pt x="19" y="369"/>
                      <a:pt x="21" y="368"/>
                      <a:pt x="21" y="367"/>
                    </a:cubicBezTo>
                    <a:cubicBezTo>
                      <a:pt x="21" y="366"/>
                      <a:pt x="20" y="365"/>
                      <a:pt x="20" y="365"/>
                    </a:cubicBezTo>
                    <a:cubicBezTo>
                      <a:pt x="20" y="363"/>
                      <a:pt x="21" y="362"/>
                      <a:pt x="22" y="361"/>
                    </a:cubicBezTo>
                    <a:cubicBezTo>
                      <a:pt x="22" y="359"/>
                      <a:pt x="22" y="358"/>
                      <a:pt x="23" y="357"/>
                    </a:cubicBezTo>
                    <a:cubicBezTo>
                      <a:pt x="23" y="357"/>
                      <a:pt x="25" y="358"/>
                      <a:pt x="26" y="357"/>
                    </a:cubicBezTo>
                    <a:cubicBezTo>
                      <a:pt x="26" y="357"/>
                      <a:pt x="26" y="356"/>
                      <a:pt x="26" y="356"/>
                    </a:cubicBezTo>
                    <a:cubicBezTo>
                      <a:pt x="26" y="355"/>
                      <a:pt x="27" y="355"/>
                      <a:pt x="27" y="354"/>
                    </a:cubicBezTo>
                    <a:cubicBezTo>
                      <a:pt x="28" y="353"/>
                      <a:pt x="27" y="352"/>
                      <a:pt x="28" y="351"/>
                    </a:cubicBezTo>
                    <a:cubicBezTo>
                      <a:pt x="29" y="352"/>
                      <a:pt x="30" y="353"/>
                      <a:pt x="31" y="353"/>
                    </a:cubicBezTo>
                    <a:cubicBezTo>
                      <a:pt x="33" y="353"/>
                      <a:pt x="34" y="353"/>
                      <a:pt x="35" y="352"/>
                    </a:cubicBezTo>
                    <a:cubicBezTo>
                      <a:pt x="36" y="352"/>
                      <a:pt x="36" y="350"/>
                      <a:pt x="38" y="350"/>
                    </a:cubicBezTo>
                    <a:cubicBezTo>
                      <a:pt x="39" y="350"/>
                      <a:pt x="39" y="350"/>
                      <a:pt x="39" y="350"/>
                    </a:cubicBezTo>
                    <a:cubicBezTo>
                      <a:pt x="38" y="351"/>
                      <a:pt x="38" y="352"/>
                      <a:pt x="38" y="352"/>
                    </a:cubicBezTo>
                    <a:cubicBezTo>
                      <a:pt x="38" y="353"/>
                      <a:pt x="38" y="353"/>
                      <a:pt x="39" y="353"/>
                    </a:cubicBezTo>
                    <a:cubicBezTo>
                      <a:pt x="41" y="353"/>
                      <a:pt x="40" y="350"/>
                      <a:pt x="42" y="349"/>
                    </a:cubicBezTo>
                    <a:cubicBezTo>
                      <a:pt x="43" y="348"/>
                      <a:pt x="44" y="349"/>
                      <a:pt x="45" y="348"/>
                    </a:cubicBezTo>
                    <a:cubicBezTo>
                      <a:pt x="45" y="348"/>
                      <a:pt x="45" y="349"/>
                      <a:pt x="45" y="349"/>
                    </a:cubicBezTo>
                    <a:cubicBezTo>
                      <a:pt x="45" y="351"/>
                      <a:pt x="45" y="351"/>
                      <a:pt x="45" y="351"/>
                    </a:cubicBezTo>
                    <a:cubicBezTo>
                      <a:pt x="45" y="353"/>
                      <a:pt x="49" y="352"/>
                      <a:pt x="50" y="354"/>
                    </a:cubicBezTo>
                    <a:cubicBezTo>
                      <a:pt x="49" y="355"/>
                      <a:pt x="48" y="354"/>
                      <a:pt x="46" y="355"/>
                    </a:cubicBezTo>
                    <a:cubicBezTo>
                      <a:pt x="45" y="355"/>
                      <a:pt x="45" y="355"/>
                      <a:pt x="44" y="355"/>
                    </a:cubicBezTo>
                    <a:cubicBezTo>
                      <a:pt x="43" y="356"/>
                      <a:pt x="42" y="355"/>
                      <a:pt x="40" y="356"/>
                    </a:cubicBezTo>
                    <a:cubicBezTo>
                      <a:pt x="40" y="356"/>
                      <a:pt x="40" y="357"/>
                      <a:pt x="39" y="358"/>
                    </a:cubicBezTo>
                    <a:cubicBezTo>
                      <a:pt x="38" y="360"/>
                      <a:pt x="38" y="361"/>
                      <a:pt x="37" y="363"/>
                    </a:cubicBezTo>
                    <a:cubicBezTo>
                      <a:pt x="36" y="366"/>
                      <a:pt x="37" y="369"/>
                      <a:pt x="34" y="370"/>
                    </a:cubicBezTo>
                    <a:cubicBezTo>
                      <a:pt x="34" y="370"/>
                      <a:pt x="33" y="369"/>
                      <a:pt x="33" y="368"/>
                    </a:cubicBezTo>
                    <a:cubicBezTo>
                      <a:pt x="33" y="368"/>
                      <a:pt x="34" y="367"/>
                      <a:pt x="34" y="367"/>
                    </a:cubicBezTo>
                    <a:cubicBezTo>
                      <a:pt x="34" y="363"/>
                      <a:pt x="36" y="361"/>
                      <a:pt x="36" y="357"/>
                    </a:cubicBezTo>
                    <a:cubicBezTo>
                      <a:pt x="36" y="357"/>
                      <a:pt x="36" y="357"/>
                      <a:pt x="36" y="356"/>
                    </a:cubicBezTo>
                    <a:cubicBezTo>
                      <a:pt x="35" y="357"/>
                      <a:pt x="35" y="357"/>
                      <a:pt x="34" y="358"/>
                    </a:cubicBezTo>
                    <a:cubicBezTo>
                      <a:pt x="33" y="359"/>
                      <a:pt x="31" y="358"/>
                      <a:pt x="30" y="359"/>
                    </a:cubicBezTo>
                    <a:cubicBezTo>
                      <a:pt x="29" y="360"/>
                      <a:pt x="29" y="361"/>
                      <a:pt x="28" y="362"/>
                    </a:cubicBezTo>
                    <a:cubicBezTo>
                      <a:pt x="27" y="364"/>
                      <a:pt x="26" y="365"/>
                      <a:pt x="25" y="367"/>
                    </a:cubicBezTo>
                    <a:cubicBezTo>
                      <a:pt x="26" y="367"/>
                      <a:pt x="26" y="366"/>
                      <a:pt x="28" y="366"/>
                    </a:cubicBezTo>
                    <a:cubicBezTo>
                      <a:pt x="28" y="366"/>
                      <a:pt x="29" y="367"/>
                      <a:pt x="29" y="367"/>
                    </a:cubicBezTo>
                    <a:cubicBezTo>
                      <a:pt x="29" y="369"/>
                      <a:pt x="27" y="370"/>
                      <a:pt x="26" y="370"/>
                    </a:cubicBezTo>
                    <a:cubicBezTo>
                      <a:pt x="24" y="371"/>
                      <a:pt x="24" y="372"/>
                      <a:pt x="22" y="373"/>
                    </a:cubicBezTo>
                    <a:cubicBezTo>
                      <a:pt x="21" y="373"/>
                      <a:pt x="20" y="374"/>
                      <a:pt x="19" y="375"/>
                    </a:cubicBezTo>
                    <a:cubicBezTo>
                      <a:pt x="17" y="376"/>
                      <a:pt x="16" y="376"/>
                      <a:pt x="16" y="378"/>
                    </a:cubicBezTo>
                    <a:cubicBezTo>
                      <a:pt x="16" y="379"/>
                      <a:pt x="16" y="379"/>
                      <a:pt x="17" y="379"/>
                    </a:cubicBezTo>
                    <a:cubicBezTo>
                      <a:pt x="18" y="379"/>
                      <a:pt x="19" y="378"/>
                      <a:pt x="21" y="378"/>
                    </a:cubicBezTo>
                    <a:cubicBezTo>
                      <a:pt x="21" y="378"/>
                      <a:pt x="21" y="378"/>
                      <a:pt x="21" y="379"/>
                    </a:cubicBezTo>
                    <a:cubicBezTo>
                      <a:pt x="21" y="379"/>
                      <a:pt x="21" y="379"/>
                      <a:pt x="21" y="379"/>
                    </a:cubicBezTo>
                    <a:cubicBezTo>
                      <a:pt x="21" y="379"/>
                      <a:pt x="22" y="379"/>
                      <a:pt x="22" y="379"/>
                    </a:cubicBezTo>
                    <a:cubicBezTo>
                      <a:pt x="22" y="379"/>
                      <a:pt x="22" y="379"/>
                      <a:pt x="22" y="380"/>
                    </a:cubicBezTo>
                    <a:cubicBezTo>
                      <a:pt x="22" y="380"/>
                      <a:pt x="22" y="380"/>
                      <a:pt x="22" y="381"/>
                    </a:cubicBezTo>
                    <a:cubicBezTo>
                      <a:pt x="21" y="382"/>
                      <a:pt x="21" y="382"/>
                      <a:pt x="20" y="383"/>
                    </a:cubicBezTo>
                    <a:cubicBezTo>
                      <a:pt x="18" y="383"/>
                      <a:pt x="16" y="382"/>
                      <a:pt x="16" y="384"/>
                    </a:cubicBezTo>
                    <a:cubicBezTo>
                      <a:pt x="16" y="385"/>
                      <a:pt x="16" y="385"/>
                      <a:pt x="16" y="386"/>
                    </a:cubicBezTo>
                    <a:cubicBezTo>
                      <a:pt x="16" y="386"/>
                      <a:pt x="15" y="386"/>
                      <a:pt x="15" y="386"/>
                    </a:cubicBezTo>
                    <a:cubicBezTo>
                      <a:pt x="13" y="386"/>
                      <a:pt x="12" y="385"/>
                      <a:pt x="10" y="384"/>
                    </a:cubicBezTo>
                    <a:cubicBezTo>
                      <a:pt x="10" y="384"/>
                      <a:pt x="10" y="384"/>
                      <a:pt x="10" y="384"/>
                    </a:cubicBezTo>
                    <a:cubicBezTo>
                      <a:pt x="9" y="386"/>
                      <a:pt x="8" y="388"/>
                      <a:pt x="7" y="389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4" y="389"/>
                      <a:pt x="4" y="389"/>
                      <a:pt x="4" y="389"/>
                    </a:cubicBezTo>
                    <a:cubicBezTo>
                      <a:pt x="4" y="387"/>
                      <a:pt x="6" y="387"/>
                      <a:pt x="6" y="385"/>
                    </a:cubicBezTo>
                    <a:cubicBezTo>
                      <a:pt x="6" y="384"/>
                      <a:pt x="5" y="383"/>
                      <a:pt x="5" y="383"/>
                    </a:cubicBezTo>
                    <a:cubicBezTo>
                      <a:pt x="3" y="383"/>
                      <a:pt x="2" y="384"/>
                      <a:pt x="1" y="384"/>
                    </a:cubicBezTo>
                    <a:cubicBezTo>
                      <a:pt x="1" y="389"/>
                      <a:pt x="1" y="389"/>
                      <a:pt x="1" y="389"/>
                    </a:cubicBezTo>
                    <a:cubicBezTo>
                      <a:pt x="1" y="391"/>
                      <a:pt x="0" y="392"/>
                      <a:pt x="0" y="393"/>
                    </a:cubicBezTo>
                    <a:cubicBezTo>
                      <a:pt x="0" y="395"/>
                      <a:pt x="0" y="395"/>
                      <a:pt x="0" y="395"/>
                    </a:cubicBezTo>
                    <a:cubicBezTo>
                      <a:pt x="3" y="395"/>
                      <a:pt x="4" y="397"/>
                      <a:pt x="6" y="399"/>
                    </a:cubicBezTo>
                    <a:cubicBezTo>
                      <a:pt x="6" y="396"/>
                      <a:pt x="6" y="395"/>
                      <a:pt x="7" y="393"/>
                    </a:cubicBezTo>
                    <a:cubicBezTo>
                      <a:pt x="9" y="395"/>
                      <a:pt x="9" y="397"/>
                      <a:pt x="9" y="399"/>
                    </a:cubicBezTo>
                    <a:cubicBezTo>
                      <a:pt x="9" y="399"/>
                      <a:pt x="9" y="399"/>
                      <a:pt x="10" y="399"/>
                    </a:cubicBezTo>
                    <a:cubicBezTo>
                      <a:pt x="10" y="399"/>
                      <a:pt x="10" y="398"/>
                      <a:pt x="11" y="398"/>
                    </a:cubicBezTo>
                    <a:cubicBezTo>
                      <a:pt x="11" y="398"/>
                      <a:pt x="12" y="398"/>
                      <a:pt x="12" y="397"/>
                    </a:cubicBezTo>
                    <a:cubicBezTo>
                      <a:pt x="12" y="396"/>
                      <a:pt x="12" y="395"/>
                      <a:pt x="12" y="394"/>
                    </a:cubicBezTo>
                    <a:cubicBezTo>
                      <a:pt x="12" y="393"/>
                      <a:pt x="11" y="390"/>
                      <a:pt x="13" y="390"/>
                    </a:cubicBezTo>
                    <a:cubicBezTo>
                      <a:pt x="14" y="393"/>
                      <a:pt x="18" y="392"/>
                      <a:pt x="21" y="392"/>
                    </a:cubicBezTo>
                    <a:cubicBezTo>
                      <a:pt x="19" y="393"/>
                      <a:pt x="17" y="394"/>
                      <a:pt x="16" y="396"/>
                    </a:cubicBezTo>
                    <a:cubicBezTo>
                      <a:pt x="17" y="396"/>
                      <a:pt x="17" y="396"/>
                      <a:pt x="17" y="396"/>
                    </a:cubicBezTo>
                    <a:cubicBezTo>
                      <a:pt x="18" y="394"/>
                      <a:pt x="20" y="395"/>
                      <a:pt x="22" y="393"/>
                    </a:cubicBezTo>
                    <a:cubicBezTo>
                      <a:pt x="24" y="392"/>
                      <a:pt x="23" y="389"/>
                      <a:pt x="25" y="388"/>
                    </a:cubicBezTo>
                    <a:cubicBezTo>
                      <a:pt x="25" y="389"/>
                      <a:pt x="25" y="390"/>
                      <a:pt x="25" y="391"/>
                    </a:cubicBezTo>
                    <a:cubicBezTo>
                      <a:pt x="25" y="391"/>
                      <a:pt x="25" y="391"/>
                      <a:pt x="26" y="391"/>
                    </a:cubicBezTo>
                    <a:cubicBezTo>
                      <a:pt x="26" y="391"/>
                      <a:pt x="26" y="391"/>
                      <a:pt x="27" y="391"/>
                    </a:cubicBezTo>
                    <a:cubicBezTo>
                      <a:pt x="28" y="391"/>
                      <a:pt x="28" y="392"/>
                      <a:pt x="29" y="392"/>
                    </a:cubicBezTo>
                    <a:cubicBezTo>
                      <a:pt x="28" y="393"/>
                      <a:pt x="27" y="393"/>
                      <a:pt x="26" y="394"/>
                    </a:cubicBezTo>
                    <a:cubicBezTo>
                      <a:pt x="25" y="394"/>
                      <a:pt x="24" y="395"/>
                      <a:pt x="23" y="396"/>
                    </a:cubicBezTo>
                    <a:cubicBezTo>
                      <a:pt x="21" y="398"/>
                      <a:pt x="19" y="399"/>
                      <a:pt x="17" y="399"/>
                    </a:cubicBezTo>
                    <a:cubicBezTo>
                      <a:pt x="17" y="399"/>
                      <a:pt x="16" y="399"/>
                      <a:pt x="16" y="399"/>
                    </a:cubicBezTo>
                    <a:cubicBezTo>
                      <a:pt x="16" y="400"/>
                      <a:pt x="17" y="400"/>
                      <a:pt x="17" y="401"/>
                    </a:cubicBezTo>
                    <a:cubicBezTo>
                      <a:pt x="17" y="402"/>
                      <a:pt x="18" y="402"/>
                      <a:pt x="19" y="403"/>
                    </a:cubicBezTo>
                    <a:cubicBezTo>
                      <a:pt x="21" y="403"/>
                      <a:pt x="23" y="403"/>
                      <a:pt x="25" y="404"/>
                    </a:cubicBezTo>
                    <a:cubicBezTo>
                      <a:pt x="23" y="404"/>
                      <a:pt x="22" y="405"/>
                      <a:pt x="20" y="405"/>
                    </a:cubicBezTo>
                    <a:cubicBezTo>
                      <a:pt x="18" y="405"/>
                      <a:pt x="18" y="405"/>
                      <a:pt x="17" y="405"/>
                    </a:cubicBezTo>
                    <a:cubicBezTo>
                      <a:pt x="16" y="405"/>
                      <a:pt x="15" y="405"/>
                      <a:pt x="15" y="406"/>
                    </a:cubicBezTo>
                    <a:cubicBezTo>
                      <a:pt x="15" y="407"/>
                      <a:pt x="16" y="407"/>
                      <a:pt x="18" y="407"/>
                    </a:cubicBezTo>
                    <a:cubicBezTo>
                      <a:pt x="18" y="407"/>
                      <a:pt x="19" y="408"/>
                      <a:pt x="20" y="408"/>
                    </a:cubicBezTo>
                    <a:cubicBezTo>
                      <a:pt x="18" y="409"/>
                      <a:pt x="16" y="408"/>
                      <a:pt x="15" y="409"/>
                    </a:cubicBezTo>
                    <a:cubicBezTo>
                      <a:pt x="14" y="409"/>
                      <a:pt x="12" y="409"/>
                      <a:pt x="12" y="410"/>
                    </a:cubicBezTo>
                    <a:cubicBezTo>
                      <a:pt x="12" y="411"/>
                      <a:pt x="12" y="411"/>
                      <a:pt x="12" y="411"/>
                    </a:cubicBezTo>
                    <a:cubicBezTo>
                      <a:pt x="14" y="411"/>
                      <a:pt x="14" y="411"/>
                      <a:pt x="14" y="411"/>
                    </a:cubicBezTo>
                    <a:cubicBezTo>
                      <a:pt x="14" y="411"/>
                      <a:pt x="14" y="411"/>
                      <a:pt x="15" y="411"/>
                    </a:cubicBezTo>
                    <a:cubicBezTo>
                      <a:pt x="15" y="411"/>
                      <a:pt x="15" y="411"/>
                      <a:pt x="15" y="412"/>
                    </a:cubicBezTo>
                    <a:cubicBezTo>
                      <a:pt x="15" y="413"/>
                      <a:pt x="15" y="413"/>
                      <a:pt x="15" y="414"/>
                    </a:cubicBezTo>
                    <a:cubicBezTo>
                      <a:pt x="17" y="414"/>
                      <a:pt x="18" y="413"/>
                      <a:pt x="20" y="413"/>
                    </a:cubicBezTo>
                    <a:cubicBezTo>
                      <a:pt x="22" y="413"/>
                      <a:pt x="22" y="413"/>
                      <a:pt x="24" y="413"/>
                    </a:cubicBezTo>
                    <a:cubicBezTo>
                      <a:pt x="22" y="415"/>
                      <a:pt x="20" y="415"/>
                      <a:pt x="18" y="416"/>
                    </a:cubicBezTo>
                    <a:cubicBezTo>
                      <a:pt x="17" y="416"/>
                      <a:pt x="16" y="417"/>
                      <a:pt x="16" y="418"/>
                    </a:cubicBezTo>
                    <a:cubicBezTo>
                      <a:pt x="16" y="418"/>
                      <a:pt x="16" y="419"/>
                      <a:pt x="16" y="419"/>
                    </a:cubicBezTo>
                    <a:cubicBezTo>
                      <a:pt x="17" y="420"/>
                      <a:pt x="17" y="421"/>
                      <a:pt x="18" y="421"/>
                    </a:cubicBezTo>
                    <a:cubicBezTo>
                      <a:pt x="18" y="421"/>
                      <a:pt x="17" y="422"/>
                      <a:pt x="17" y="422"/>
                    </a:cubicBezTo>
                    <a:cubicBezTo>
                      <a:pt x="14" y="422"/>
                      <a:pt x="14" y="418"/>
                      <a:pt x="11" y="418"/>
                    </a:cubicBezTo>
                    <a:cubicBezTo>
                      <a:pt x="10" y="418"/>
                      <a:pt x="10" y="419"/>
                      <a:pt x="10" y="419"/>
                    </a:cubicBezTo>
                    <a:cubicBezTo>
                      <a:pt x="9" y="420"/>
                      <a:pt x="8" y="420"/>
                      <a:pt x="7" y="421"/>
                    </a:cubicBezTo>
                    <a:cubicBezTo>
                      <a:pt x="6" y="418"/>
                      <a:pt x="7" y="416"/>
                      <a:pt x="6" y="413"/>
                    </a:cubicBezTo>
                    <a:cubicBezTo>
                      <a:pt x="5" y="412"/>
                      <a:pt x="4" y="411"/>
                      <a:pt x="2" y="411"/>
                    </a:cubicBezTo>
                    <a:cubicBezTo>
                      <a:pt x="2" y="417"/>
                      <a:pt x="2" y="417"/>
                      <a:pt x="2" y="417"/>
                    </a:cubicBezTo>
                    <a:cubicBezTo>
                      <a:pt x="2" y="420"/>
                      <a:pt x="1" y="422"/>
                      <a:pt x="1" y="425"/>
                    </a:cubicBezTo>
                    <a:cubicBezTo>
                      <a:pt x="1" y="426"/>
                      <a:pt x="3" y="426"/>
                      <a:pt x="3" y="427"/>
                    </a:cubicBezTo>
                    <a:cubicBezTo>
                      <a:pt x="3" y="428"/>
                      <a:pt x="3" y="429"/>
                      <a:pt x="4" y="430"/>
                    </a:cubicBezTo>
                    <a:cubicBezTo>
                      <a:pt x="6" y="433"/>
                      <a:pt x="8" y="434"/>
                      <a:pt x="9" y="437"/>
                    </a:cubicBezTo>
                    <a:cubicBezTo>
                      <a:pt x="10" y="438"/>
                      <a:pt x="11" y="439"/>
                      <a:pt x="13" y="440"/>
                    </a:cubicBezTo>
                    <a:cubicBezTo>
                      <a:pt x="14" y="440"/>
                      <a:pt x="14" y="441"/>
                      <a:pt x="14" y="442"/>
                    </a:cubicBezTo>
                    <a:cubicBezTo>
                      <a:pt x="16" y="444"/>
                      <a:pt x="18" y="445"/>
                      <a:pt x="20" y="446"/>
                    </a:cubicBezTo>
                    <a:cubicBezTo>
                      <a:pt x="20" y="445"/>
                      <a:pt x="20" y="445"/>
                      <a:pt x="21" y="444"/>
                    </a:cubicBezTo>
                    <a:cubicBezTo>
                      <a:pt x="22" y="445"/>
                      <a:pt x="22" y="446"/>
                      <a:pt x="22" y="448"/>
                    </a:cubicBezTo>
                    <a:cubicBezTo>
                      <a:pt x="22" y="448"/>
                      <a:pt x="22" y="448"/>
                      <a:pt x="22" y="448"/>
                    </a:cubicBezTo>
                    <a:cubicBezTo>
                      <a:pt x="21" y="449"/>
                      <a:pt x="21" y="450"/>
                      <a:pt x="21" y="450"/>
                    </a:cubicBezTo>
                    <a:cubicBezTo>
                      <a:pt x="20" y="450"/>
                      <a:pt x="20" y="450"/>
                      <a:pt x="20" y="450"/>
                    </a:cubicBezTo>
                    <a:cubicBezTo>
                      <a:pt x="18" y="450"/>
                      <a:pt x="17" y="452"/>
                      <a:pt x="17" y="453"/>
                    </a:cubicBezTo>
                    <a:cubicBezTo>
                      <a:pt x="17" y="454"/>
                      <a:pt x="18" y="454"/>
                      <a:pt x="18" y="454"/>
                    </a:cubicBezTo>
                    <a:cubicBezTo>
                      <a:pt x="19" y="455"/>
                      <a:pt x="18" y="456"/>
                      <a:pt x="19" y="456"/>
                    </a:cubicBezTo>
                    <a:cubicBezTo>
                      <a:pt x="20" y="456"/>
                      <a:pt x="21" y="456"/>
                      <a:pt x="22" y="455"/>
                    </a:cubicBezTo>
                    <a:cubicBezTo>
                      <a:pt x="22" y="455"/>
                      <a:pt x="22" y="453"/>
                      <a:pt x="23" y="453"/>
                    </a:cubicBezTo>
                    <a:cubicBezTo>
                      <a:pt x="24" y="453"/>
                      <a:pt x="25" y="453"/>
                      <a:pt x="26" y="453"/>
                    </a:cubicBezTo>
                    <a:cubicBezTo>
                      <a:pt x="26" y="454"/>
                      <a:pt x="26" y="455"/>
                      <a:pt x="27" y="456"/>
                    </a:cubicBezTo>
                    <a:cubicBezTo>
                      <a:pt x="28" y="457"/>
                      <a:pt x="29" y="456"/>
                      <a:pt x="31" y="456"/>
                    </a:cubicBezTo>
                    <a:cubicBezTo>
                      <a:pt x="30" y="457"/>
                      <a:pt x="29" y="458"/>
                      <a:pt x="29" y="459"/>
                    </a:cubicBezTo>
                    <a:cubicBezTo>
                      <a:pt x="29" y="459"/>
                      <a:pt x="29" y="459"/>
                      <a:pt x="29" y="459"/>
                    </a:cubicBezTo>
                    <a:cubicBezTo>
                      <a:pt x="31" y="458"/>
                      <a:pt x="32" y="457"/>
                      <a:pt x="34" y="457"/>
                    </a:cubicBezTo>
                    <a:cubicBezTo>
                      <a:pt x="35" y="457"/>
                      <a:pt x="35" y="458"/>
                      <a:pt x="35" y="458"/>
                    </a:cubicBezTo>
                    <a:cubicBezTo>
                      <a:pt x="36" y="458"/>
                      <a:pt x="37" y="458"/>
                      <a:pt x="38" y="459"/>
                    </a:cubicBezTo>
                    <a:cubicBezTo>
                      <a:pt x="39" y="459"/>
                      <a:pt x="39" y="460"/>
                      <a:pt x="40" y="460"/>
                    </a:cubicBezTo>
                    <a:cubicBezTo>
                      <a:pt x="41" y="460"/>
                      <a:pt x="42" y="459"/>
                      <a:pt x="42" y="457"/>
                    </a:cubicBezTo>
                    <a:cubicBezTo>
                      <a:pt x="47" y="457"/>
                      <a:pt x="47" y="457"/>
                      <a:pt x="47" y="457"/>
                    </a:cubicBezTo>
                    <a:cubicBezTo>
                      <a:pt x="47" y="457"/>
                      <a:pt x="47" y="456"/>
                      <a:pt x="47" y="456"/>
                    </a:cubicBezTo>
                    <a:cubicBezTo>
                      <a:pt x="49" y="455"/>
                      <a:pt x="50" y="455"/>
                      <a:pt x="51" y="455"/>
                    </a:cubicBezTo>
                    <a:cubicBezTo>
                      <a:pt x="52" y="456"/>
                      <a:pt x="52" y="458"/>
                      <a:pt x="53" y="458"/>
                    </a:cubicBezTo>
                    <a:cubicBezTo>
                      <a:pt x="54" y="458"/>
                      <a:pt x="55" y="457"/>
                      <a:pt x="57" y="457"/>
                    </a:cubicBezTo>
                    <a:cubicBezTo>
                      <a:pt x="57" y="457"/>
                      <a:pt x="57" y="457"/>
                      <a:pt x="57" y="457"/>
                    </a:cubicBezTo>
                    <a:cubicBezTo>
                      <a:pt x="57" y="456"/>
                      <a:pt x="56" y="456"/>
                      <a:pt x="56" y="455"/>
                    </a:cubicBezTo>
                    <a:cubicBezTo>
                      <a:pt x="56" y="455"/>
                      <a:pt x="56" y="455"/>
                      <a:pt x="57" y="455"/>
                    </a:cubicBezTo>
                    <a:cubicBezTo>
                      <a:pt x="58" y="455"/>
                      <a:pt x="60" y="454"/>
                      <a:pt x="60" y="453"/>
                    </a:cubicBezTo>
                    <a:cubicBezTo>
                      <a:pt x="60" y="452"/>
                      <a:pt x="60" y="452"/>
                      <a:pt x="60" y="452"/>
                    </a:cubicBezTo>
                    <a:cubicBezTo>
                      <a:pt x="61" y="451"/>
                      <a:pt x="62" y="451"/>
                      <a:pt x="63" y="451"/>
                    </a:cubicBezTo>
                    <a:cubicBezTo>
                      <a:pt x="64" y="451"/>
                      <a:pt x="64" y="450"/>
                      <a:pt x="65" y="449"/>
                    </a:cubicBezTo>
                    <a:cubicBezTo>
                      <a:pt x="66" y="448"/>
                      <a:pt x="67" y="448"/>
                      <a:pt x="67" y="446"/>
                    </a:cubicBezTo>
                    <a:cubicBezTo>
                      <a:pt x="68" y="446"/>
                      <a:pt x="67" y="445"/>
                      <a:pt x="68" y="445"/>
                    </a:cubicBezTo>
                    <a:cubicBezTo>
                      <a:pt x="68" y="444"/>
                      <a:pt x="69" y="444"/>
                      <a:pt x="69" y="444"/>
                    </a:cubicBezTo>
                    <a:cubicBezTo>
                      <a:pt x="70" y="443"/>
                      <a:pt x="70" y="443"/>
                      <a:pt x="70" y="442"/>
                    </a:cubicBezTo>
                    <a:cubicBezTo>
                      <a:pt x="71" y="442"/>
                      <a:pt x="71" y="442"/>
                      <a:pt x="72" y="442"/>
                    </a:cubicBezTo>
                    <a:cubicBezTo>
                      <a:pt x="73" y="442"/>
                      <a:pt x="73" y="441"/>
                      <a:pt x="73" y="440"/>
                    </a:cubicBezTo>
                    <a:cubicBezTo>
                      <a:pt x="75" y="440"/>
                      <a:pt x="75" y="440"/>
                      <a:pt x="77" y="440"/>
                    </a:cubicBezTo>
                    <a:cubicBezTo>
                      <a:pt x="77" y="440"/>
                      <a:pt x="77" y="439"/>
                      <a:pt x="78" y="439"/>
                    </a:cubicBezTo>
                    <a:cubicBezTo>
                      <a:pt x="79" y="438"/>
                      <a:pt x="79" y="439"/>
                      <a:pt x="80" y="438"/>
                    </a:cubicBezTo>
                    <a:cubicBezTo>
                      <a:pt x="79" y="438"/>
                      <a:pt x="79" y="437"/>
                      <a:pt x="78" y="437"/>
                    </a:cubicBezTo>
                    <a:cubicBezTo>
                      <a:pt x="77" y="436"/>
                      <a:pt x="76" y="435"/>
                      <a:pt x="76" y="434"/>
                    </a:cubicBezTo>
                    <a:cubicBezTo>
                      <a:pt x="78" y="434"/>
                      <a:pt x="79" y="434"/>
                      <a:pt x="81" y="434"/>
                    </a:cubicBezTo>
                    <a:cubicBezTo>
                      <a:pt x="82" y="434"/>
                      <a:pt x="82" y="434"/>
                      <a:pt x="83" y="434"/>
                    </a:cubicBezTo>
                    <a:cubicBezTo>
                      <a:pt x="84" y="434"/>
                      <a:pt x="86" y="434"/>
                      <a:pt x="86" y="432"/>
                    </a:cubicBezTo>
                    <a:cubicBezTo>
                      <a:pt x="86" y="432"/>
                      <a:pt x="85" y="431"/>
                      <a:pt x="84" y="431"/>
                    </a:cubicBezTo>
                    <a:cubicBezTo>
                      <a:pt x="85" y="429"/>
                      <a:pt x="87" y="428"/>
                      <a:pt x="89" y="427"/>
                    </a:cubicBezTo>
                    <a:cubicBezTo>
                      <a:pt x="91" y="427"/>
                      <a:pt x="93" y="426"/>
                      <a:pt x="93" y="425"/>
                    </a:cubicBezTo>
                    <a:cubicBezTo>
                      <a:pt x="93" y="424"/>
                      <a:pt x="92" y="424"/>
                      <a:pt x="92" y="424"/>
                    </a:cubicBezTo>
                    <a:cubicBezTo>
                      <a:pt x="90" y="423"/>
                      <a:pt x="89" y="422"/>
                      <a:pt x="89" y="420"/>
                    </a:cubicBezTo>
                    <a:cubicBezTo>
                      <a:pt x="89" y="420"/>
                      <a:pt x="89" y="420"/>
                      <a:pt x="89" y="420"/>
                    </a:cubicBezTo>
                    <a:cubicBezTo>
                      <a:pt x="92" y="420"/>
                      <a:pt x="93" y="421"/>
                      <a:pt x="94" y="422"/>
                    </a:cubicBezTo>
                    <a:cubicBezTo>
                      <a:pt x="96" y="424"/>
                      <a:pt x="97" y="424"/>
                      <a:pt x="97" y="426"/>
                    </a:cubicBezTo>
                    <a:cubicBezTo>
                      <a:pt x="97" y="427"/>
                      <a:pt x="97" y="427"/>
                      <a:pt x="97" y="427"/>
                    </a:cubicBezTo>
                    <a:cubicBezTo>
                      <a:pt x="97" y="428"/>
                      <a:pt x="97" y="428"/>
                      <a:pt x="97" y="428"/>
                    </a:cubicBezTo>
                    <a:cubicBezTo>
                      <a:pt x="98" y="428"/>
                      <a:pt x="98" y="428"/>
                      <a:pt x="98" y="428"/>
                    </a:cubicBezTo>
                    <a:cubicBezTo>
                      <a:pt x="99" y="428"/>
                      <a:pt x="100" y="428"/>
                      <a:pt x="101" y="428"/>
                    </a:cubicBezTo>
                    <a:cubicBezTo>
                      <a:pt x="102" y="427"/>
                      <a:pt x="102" y="426"/>
                      <a:pt x="102" y="426"/>
                    </a:cubicBezTo>
                    <a:cubicBezTo>
                      <a:pt x="103" y="426"/>
                      <a:pt x="103" y="427"/>
                      <a:pt x="103" y="427"/>
                    </a:cubicBezTo>
                    <a:cubicBezTo>
                      <a:pt x="104" y="427"/>
                      <a:pt x="105" y="427"/>
                      <a:pt x="106" y="427"/>
                    </a:cubicBezTo>
                    <a:cubicBezTo>
                      <a:pt x="107" y="427"/>
                      <a:pt x="107" y="427"/>
                      <a:pt x="107" y="427"/>
                    </a:cubicBezTo>
                    <a:cubicBezTo>
                      <a:pt x="107" y="422"/>
                      <a:pt x="107" y="422"/>
                      <a:pt x="107" y="422"/>
                    </a:cubicBezTo>
                    <a:cubicBezTo>
                      <a:pt x="107" y="419"/>
                      <a:pt x="109" y="417"/>
                      <a:pt x="111" y="417"/>
                    </a:cubicBezTo>
                    <a:cubicBezTo>
                      <a:pt x="112" y="415"/>
                      <a:pt x="111" y="413"/>
                      <a:pt x="112" y="411"/>
                    </a:cubicBezTo>
                    <a:cubicBezTo>
                      <a:pt x="113" y="411"/>
                      <a:pt x="114" y="411"/>
                      <a:pt x="114" y="410"/>
                    </a:cubicBezTo>
                    <a:cubicBezTo>
                      <a:pt x="114" y="409"/>
                      <a:pt x="114" y="409"/>
                      <a:pt x="114" y="409"/>
                    </a:cubicBezTo>
                    <a:cubicBezTo>
                      <a:pt x="113" y="408"/>
                      <a:pt x="113" y="409"/>
                      <a:pt x="112" y="409"/>
                    </a:cubicBezTo>
                    <a:cubicBezTo>
                      <a:pt x="111" y="409"/>
                      <a:pt x="110" y="408"/>
                      <a:pt x="110" y="406"/>
                    </a:cubicBezTo>
                    <a:cubicBezTo>
                      <a:pt x="110" y="405"/>
                      <a:pt x="111" y="405"/>
                      <a:pt x="111" y="404"/>
                    </a:cubicBezTo>
                    <a:cubicBezTo>
                      <a:pt x="112" y="403"/>
                      <a:pt x="112" y="402"/>
                      <a:pt x="112" y="401"/>
                    </a:cubicBezTo>
                    <a:cubicBezTo>
                      <a:pt x="112" y="399"/>
                      <a:pt x="109" y="399"/>
                      <a:pt x="108" y="397"/>
                    </a:cubicBezTo>
                    <a:cubicBezTo>
                      <a:pt x="108" y="397"/>
                      <a:pt x="108" y="397"/>
                      <a:pt x="109" y="397"/>
                    </a:cubicBezTo>
                    <a:cubicBezTo>
                      <a:pt x="112" y="397"/>
                      <a:pt x="114" y="401"/>
                      <a:pt x="114" y="404"/>
                    </a:cubicBezTo>
                    <a:cubicBezTo>
                      <a:pt x="115" y="404"/>
                      <a:pt x="115" y="404"/>
                      <a:pt x="116" y="404"/>
                    </a:cubicBezTo>
                    <a:cubicBezTo>
                      <a:pt x="117" y="404"/>
                      <a:pt x="117" y="404"/>
                      <a:pt x="117" y="404"/>
                    </a:cubicBezTo>
                    <a:cubicBezTo>
                      <a:pt x="117" y="396"/>
                      <a:pt x="117" y="396"/>
                      <a:pt x="117" y="396"/>
                    </a:cubicBezTo>
                    <a:cubicBezTo>
                      <a:pt x="117" y="394"/>
                      <a:pt x="117" y="394"/>
                      <a:pt x="118" y="393"/>
                    </a:cubicBezTo>
                    <a:cubicBezTo>
                      <a:pt x="118" y="391"/>
                      <a:pt x="120" y="392"/>
                      <a:pt x="121" y="391"/>
                    </a:cubicBezTo>
                    <a:cubicBezTo>
                      <a:pt x="124" y="391"/>
                      <a:pt x="124" y="391"/>
                      <a:pt x="124" y="391"/>
                    </a:cubicBezTo>
                    <a:cubicBezTo>
                      <a:pt x="124" y="391"/>
                      <a:pt x="124" y="391"/>
                      <a:pt x="124" y="391"/>
                    </a:cubicBezTo>
                    <a:cubicBezTo>
                      <a:pt x="124" y="392"/>
                      <a:pt x="123" y="393"/>
                      <a:pt x="122" y="394"/>
                    </a:cubicBezTo>
                    <a:cubicBezTo>
                      <a:pt x="121" y="395"/>
                      <a:pt x="120" y="396"/>
                      <a:pt x="120" y="398"/>
                    </a:cubicBezTo>
                    <a:cubicBezTo>
                      <a:pt x="120" y="401"/>
                      <a:pt x="121" y="402"/>
                      <a:pt x="121" y="405"/>
                    </a:cubicBezTo>
                    <a:cubicBezTo>
                      <a:pt x="121" y="407"/>
                      <a:pt x="119" y="408"/>
                      <a:pt x="119" y="411"/>
                    </a:cubicBezTo>
                    <a:cubicBezTo>
                      <a:pt x="119" y="412"/>
                      <a:pt x="119" y="412"/>
                      <a:pt x="120" y="413"/>
                    </a:cubicBezTo>
                    <a:cubicBezTo>
                      <a:pt x="121" y="414"/>
                      <a:pt x="122" y="414"/>
                      <a:pt x="122" y="416"/>
                    </a:cubicBezTo>
                    <a:cubicBezTo>
                      <a:pt x="122" y="417"/>
                      <a:pt x="121" y="417"/>
                      <a:pt x="121" y="419"/>
                    </a:cubicBezTo>
                    <a:cubicBezTo>
                      <a:pt x="121" y="419"/>
                      <a:pt x="121" y="420"/>
                      <a:pt x="122" y="420"/>
                    </a:cubicBezTo>
                    <a:cubicBezTo>
                      <a:pt x="123" y="420"/>
                      <a:pt x="123" y="420"/>
                      <a:pt x="123" y="419"/>
                    </a:cubicBezTo>
                    <a:cubicBezTo>
                      <a:pt x="123" y="418"/>
                      <a:pt x="124" y="418"/>
                      <a:pt x="125" y="417"/>
                    </a:cubicBezTo>
                    <a:cubicBezTo>
                      <a:pt x="125" y="418"/>
                      <a:pt x="125" y="418"/>
                      <a:pt x="125" y="419"/>
                    </a:cubicBezTo>
                    <a:cubicBezTo>
                      <a:pt x="125" y="421"/>
                      <a:pt x="125" y="423"/>
                      <a:pt x="127" y="423"/>
                    </a:cubicBezTo>
                    <a:cubicBezTo>
                      <a:pt x="128" y="423"/>
                      <a:pt x="128" y="423"/>
                      <a:pt x="129" y="423"/>
                    </a:cubicBezTo>
                    <a:cubicBezTo>
                      <a:pt x="130" y="423"/>
                      <a:pt x="131" y="423"/>
                      <a:pt x="131" y="425"/>
                    </a:cubicBezTo>
                    <a:cubicBezTo>
                      <a:pt x="131" y="426"/>
                      <a:pt x="133" y="425"/>
                      <a:pt x="134" y="426"/>
                    </a:cubicBezTo>
                    <a:cubicBezTo>
                      <a:pt x="135" y="426"/>
                      <a:pt x="134" y="427"/>
                      <a:pt x="134" y="429"/>
                    </a:cubicBezTo>
                    <a:cubicBezTo>
                      <a:pt x="134" y="429"/>
                      <a:pt x="134" y="429"/>
                      <a:pt x="134" y="429"/>
                    </a:cubicBezTo>
                    <a:cubicBezTo>
                      <a:pt x="134" y="429"/>
                      <a:pt x="134" y="429"/>
                      <a:pt x="134" y="429"/>
                    </a:cubicBezTo>
                    <a:cubicBezTo>
                      <a:pt x="135" y="429"/>
                      <a:pt x="136" y="430"/>
                      <a:pt x="136" y="429"/>
                    </a:cubicBezTo>
                    <a:cubicBezTo>
                      <a:pt x="138" y="428"/>
                      <a:pt x="138" y="427"/>
                      <a:pt x="139" y="425"/>
                    </a:cubicBezTo>
                    <a:cubicBezTo>
                      <a:pt x="139" y="423"/>
                      <a:pt x="139" y="422"/>
                      <a:pt x="139" y="421"/>
                    </a:cubicBezTo>
                    <a:cubicBezTo>
                      <a:pt x="141" y="415"/>
                      <a:pt x="141" y="412"/>
                      <a:pt x="143" y="407"/>
                    </a:cubicBezTo>
                    <a:cubicBezTo>
                      <a:pt x="144" y="404"/>
                      <a:pt x="145" y="403"/>
                      <a:pt x="146" y="401"/>
                    </a:cubicBezTo>
                    <a:cubicBezTo>
                      <a:pt x="147" y="399"/>
                      <a:pt x="146" y="397"/>
                      <a:pt x="147" y="396"/>
                    </a:cubicBezTo>
                    <a:cubicBezTo>
                      <a:pt x="148" y="395"/>
                      <a:pt x="148" y="395"/>
                      <a:pt x="149" y="394"/>
                    </a:cubicBezTo>
                    <a:cubicBezTo>
                      <a:pt x="152" y="393"/>
                      <a:pt x="153" y="391"/>
                      <a:pt x="155" y="388"/>
                    </a:cubicBezTo>
                    <a:cubicBezTo>
                      <a:pt x="157" y="386"/>
                      <a:pt x="158" y="384"/>
                      <a:pt x="159" y="381"/>
                    </a:cubicBezTo>
                    <a:cubicBezTo>
                      <a:pt x="161" y="379"/>
                      <a:pt x="162" y="377"/>
                      <a:pt x="162" y="374"/>
                    </a:cubicBezTo>
                    <a:cubicBezTo>
                      <a:pt x="163" y="371"/>
                      <a:pt x="165" y="369"/>
                      <a:pt x="165" y="366"/>
                    </a:cubicBezTo>
                    <a:cubicBezTo>
                      <a:pt x="165" y="364"/>
                      <a:pt x="164" y="362"/>
                      <a:pt x="163" y="360"/>
                    </a:cubicBezTo>
                    <a:cubicBezTo>
                      <a:pt x="162" y="359"/>
                      <a:pt x="161" y="358"/>
                      <a:pt x="160" y="357"/>
                    </a:cubicBezTo>
                    <a:cubicBezTo>
                      <a:pt x="159" y="356"/>
                      <a:pt x="159" y="356"/>
                      <a:pt x="159" y="355"/>
                    </a:cubicBezTo>
                    <a:cubicBezTo>
                      <a:pt x="159" y="353"/>
                      <a:pt x="159" y="352"/>
                      <a:pt x="160" y="350"/>
                    </a:cubicBezTo>
                    <a:cubicBezTo>
                      <a:pt x="161" y="348"/>
                      <a:pt x="161" y="347"/>
                      <a:pt x="162" y="344"/>
                    </a:cubicBezTo>
                    <a:cubicBezTo>
                      <a:pt x="162" y="343"/>
                      <a:pt x="162" y="342"/>
                      <a:pt x="163" y="341"/>
                    </a:cubicBezTo>
                    <a:cubicBezTo>
                      <a:pt x="164" y="339"/>
                      <a:pt x="167" y="339"/>
                      <a:pt x="169" y="337"/>
                    </a:cubicBezTo>
                    <a:cubicBezTo>
                      <a:pt x="170" y="336"/>
                      <a:pt x="170" y="334"/>
                      <a:pt x="170" y="333"/>
                    </a:cubicBezTo>
                    <a:cubicBezTo>
                      <a:pt x="171" y="332"/>
                      <a:pt x="171" y="331"/>
                      <a:pt x="171" y="329"/>
                    </a:cubicBezTo>
                    <a:cubicBezTo>
                      <a:pt x="171" y="326"/>
                      <a:pt x="169" y="325"/>
                      <a:pt x="168" y="322"/>
                    </a:cubicBezTo>
                    <a:cubicBezTo>
                      <a:pt x="167" y="320"/>
                      <a:pt x="166" y="319"/>
                      <a:pt x="165" y="317"/>
                    </a:cubicBezTo>
                    <a:cubicBezTo>
                      <a:pt x="164" y="316"/>
                      <a:pt x="163" y="315"/>
                      <a:pt x="163" y="313"/>
                    </a:cubicBezTo>
                    <a:cubicBezTo>
                      <a:pt x="163" y="311"/>
                      <a:pt x="164" y="310"/>
                      <a:pt x="164" y="308"/>
                    </a:cubicBezTo>
                    <a:cubicBezTo>
                      <a:pt x="164" y="305"/>
                      <a:pt x="165" y="304"/>
                      <a:pt x="165" y="302"/>
                    </a:cubicBezTo>
                    <a:cubicBezTo>
                      <a:pt x="166" y="297"/>
                      <a:pt x="166" y="294"/>
                      <a:pt x="166" y="290"/>
                    </a:cubicBezTo>
                    <a:cubicBezTo>
                      <a:pt x="166" y="286"/>
                      <a:pt x="166" y="285"/>
                      <a:pt x="165" y="282"/>
                    </a:cubicBezTo>
                    <a:cubicBezTo>
                      <a:pt x="165" y="281"/>
                      <a:pt x="165" y="280"/>
                      <a:pt x="165" y="280"/>
                    </a:cubicBezTo>
                    <a:cubicBezTo>
                      <a:pt x="165" y="275"/>
                      <a:pt x="165" y="275"/>
                      <a:pt x="165" y="275"/>
                    </a:cubicBezTo>
                    <a:cubicBezTo>
                      <a:pt x="165" y="271"/>
                      <a:pt x="166" y="270"/>
                      <a:pt x="166" y="266"/>
                    </a:cubicBezTo>
                    <a:cubicBezTo>
                      <a:pt x="166" y="255"/>
                      <a:pt x="166" y="255"/>
                      <a:pt x="166" y="255"/>
                    </a:cubicBezTo>
                    <a:cubicBezTo>
                      <a:pt x="166" y="253"/>
                      <a:pt x="167" y="252"/>
                      <a:pt x="168" y="250"/>
                    </a:cubicBezTo>
                    <a:cubicBezTo>
                      <a:pt x="168" y="247"/>
                      <a:pt x="168" y="246"/>
                      <a:pt x="168" y="243"/>
                    </a:cubicBezTo>
                    <a:cubicBezTo>
                      <a:pt x="169" y="239"/>
                      <a:pt x="169" y="237"/>
                      <a:pt x="170" y="234"/>
                    </a:cubicBezTo>
                    <a:cubicBezTo>
                      <a:pt x="171" y="232"/>
                      <a:pt x="172" y="231"/>
                      <a:pt x="173" y="229"/>
                    </a:cubicBezTo>
                    <a:cubicBezTo>
                      <a:pt x="174" y="227"/>
                      <a:pt x="175" y="226"/>
                      <a:pt x="177" y="225"/>
                    </a:cubicBezTo>
                    <a:cubicBezTo>
                      <a:pt x="178" y="223"/>
                      <a:pt x="178" y="222"/>
                      <a:pt x="179" y="221"/>
                    </a:cubicBezTo>
                    <a:cubicBezTo>
                      <a:pt x="180" y="220"/>
                      <a:pt x="182" y="219"/>
                      <a:pt x="183" y="219"/>
                    </a:cubicBezTo>
                    <a:cubicBezTo>
                      <a:pt x="185" y="218"/>
                      <a:pt x="185" y="218"/>
                      <a:pt x="186" y="217"/>
                    </a:cubicBezTo>
                    <a:cubicBezTo>
                      <a:pt x="187" y="217"/>
                      <a:pt x="187" y="216"/>
                      <a:pt x="188" y="216"/>
                    </a:cubicBezTo>
                    <a:cubicBezTo>
                      <a:pt x="190" y="216"/>
                      <a:pt x="191" y="217"/>
                      <a:pt x="192" y="217"/>
                    </a:cubicBezTo>
                    <a:cubicBezTo>
                      <a:pt x="196" y="218"/>
                      <a:pt x="198" y="218"/>
                      <a:pt x="202" y="219"/>
                    </a:cubicBezTo>
                    <a:cubicBezTo>
                      <a:pt x="203" y="219"/>
                      <a:pt x="203" y="219"/>
                      <a:pt x="204" y="219"/>
                    </a:cubicBezTo>
                    <a:cubicBezTo>
                      <a:pt x="208" y="219"/>
                      <a:pt x="209" y="216"/>
                      <a:pt x="209" y="212"/>
                    </a:cubicBezTo>
                    <a:cubicBezTo>
                      <a:pt x="209" y="209"/>
                      <a:pt x="208" y="206"/>
                      <a:pt x="207" y="203"/>
                    </a:cubicBezTo>
                    <a:cubicBezTo>
                      <a:pt x="206" y="201"/>
                      <a:pt x="206" y="200"/>
                      <a:pt x="206" y="198"/>
                    </a:cubicBezTo>
                    <a:cubicBezTo>
                      <a:pt x="205" y="197"/>
                      <a:pt x="204" y="196"/>
                      <a:pt x="204" y="196"/>
                    </a:cubicBezTo>
                    <a:cubicBezTo>
                      <a:pt x="204" y="192"/>
                      <a:pt x="207" y="190"/>
                      <a:pt x="209" y="187"/>
                    </a:cubicBezTo>
                    <a:cubicBezTo>
                      <a:pt x="210" y="184"/>
                      <a:pt x="211" y="183"/>
                      <a:pt x="212" y="180"/>
                    </a:cubicBezTo>
                    <a:cubicBezTo>
                      <a:pt x="214" y="176"/>
                      <a:pt x="215" y="174"/>
                      <a:pt x="217" y="169"/>
                    </a:cubicBezTo>
                    <a:cubicBezTo>
                      <a:pt x="217" y="168"/>
                      <a:pt x="218" y="167"/>
                      <a:pt x="218" y="165"/>
                    </a:cubicBezTo>
                    <a:cubicBezTo>
                      <a:pt x="219" y="162"/>
                      <a:pt x="218" y="160"/>
                      <a:pt x="218" y="157"/>
                    </a:cubicBezTo>
                    <a:cubicBezTo>
                      <a:pt x="218" y="155"/>
                      <a:pt x="219" y="154"/>
                      <a:pt x="219" y="153"/>
                    </a:cubicBezTo>
                    <a:cubicBezTo>
                      <a:pt x="220" y="150"/>
                      <a:pt x="220" y="148"/>
                      <a:pt x="221" y="145"/>
                    </a:cubicBezTo>
                    <a:cubicBezTo>
                      <a:pt x="222" y="140"/>
                      <a:pt x="222" y="138"/>
                      <a:pt x="223" y="133"/>
                    </a:cubicBezTo>
                    <a:cubicBezTo>
                      <a:pt x="224" y="130"/>
                      <a:pt x="225" y="128"/>
                      <a:pt x="226" y="125"/>
                    </a:cubicBezTo>
                    <a:cubicBezTo>
                      <a:pt x="226" y="125"/>
                      <a:pt x="226" y="124"/>
                      <a:pt x="226" y="123"/>
                    </a:cubicBezTo>
                    <a:cubicBezTo>
                      <a:pt x="227" y="123"/>
                      <a:pt x="228" y="123"/>
                      <a:pt x="229" y="123"/>
                    </a:cubicBezTo>
                    <a:cubicBezTo>
                      <a:pt x="230" y="123"/>
                      <a:pt x="231" y="122"/>
                      <a:pt x="232" y="122"/>
                    </a:cubicBezTo>
                    <a:cubicBezTo>
                      <a:pt x="235" y="122"/>
                      <a:pt x="237" y="121"/>
                      <a:pt x="238" y="119"/>
                    </a:cubicBezTo>
                    <a:cubicBezTo>
                      <a:pt x="240" y="116"/>
                      <a:pt x="240" y="114"/>
                      <a:pt x="240" y="110"/>
                    </a:cubicBezTo>
                    <a:cubicBezTo>
                      <a:pt x="241" y="109"/>
                      <a:pt x="240" y="108"/>
                      <a:pt x="241" y="107"/>
                    </a:cubicBezTo>
                    <a:cubicBezTo>
                      <a:pt x="242" y="106"/>
                      <a:pt x="244" y="106"/>
                      <a:pt x="245" y="105"/>
                    </a:cubicBezTo>
                    <a:cubicBezTo>
                      <a:pt x="246" y="105"/>
                      <a:pt x="246" y="105"/>
                      <a:pt x="246" y="104"/>
                    </a:cubicBezTo>
                    <a:cubicBezTo>
                      <a:pt x="248" y="102"/>
                      <a:pt x="250" y="101"/>
                      <a:pt x="251" y="97"/>
                    </a:cubicBezTo>
                    <a:cubicBezTo>
                      <a:pt x="252" y="95"/>
                      <a:pt x="252" y="93"/>
                      <a:pt x="253" y="91"/>
                    </a:cubicBezTo>
                    <a:cubicBezTo>
                      <a:pt x="255" y="88"/>
                      <a:pt x="257" y="85"/>
                      <a:pt x="257" y="81"/>
                    </a:cubicBezTo>
                    <a:cubicBezTo>
                      <a:pt x="257" y="77"/>
                      <a:pt x="256" y="75"/>
                      <a:pt x="256" y="71"/>
                    </a:cubicBezTo>
                    <a:cubicBezTo>
                      <a:pt x="256" y="70"/>
                      <a:pt x="257" y="70"/>
                      <a:pt x="258" y="69"/>
                    </a:cubicBezTo>
                    <a:cubicBezTo>
                      <a:pt x="259" y="68"/>
                      <a:pt x="260" y="67"/>
                      <a:pt x="261" y="66"/>
                    </a:cubicBezTo>
                    <a:cubicBezTo>
                      <a:pt x="264" y="63"/>
                      <a:pt x="265" y="61"/>
                      <a:pt x="267" y="58"/>
                    </a:cubicBezTo>
                    <a:cubicBezTo>
                      <a:pt x="269" y="56"/>
                      <a:pt x="270" y="55"/>
                      <a:pt x="271" y="53"/>
                    </a:cubicBezTo>
                    <a:cubicBezTo>
                      <a:pt x="272" y="52"/>
                      <a:pt x="272" y="51"/>
                      <a:pt x="273" y="50"/>
                    </a:cubicBezTo>
                    <a:cubicBezTo>
                      <a:pt x="274" y="49"/>
                      <a:pt x="275" y="49"/>
                      <a:pt x="276" y="49"/>
                    </a:cubicBezTo>
                    <a:cubicBezTo>
                      <a:pt x="278" y="48"/>
                      <a:pt x="279" y="48"/>
                      <a:pt x="280" y="48"/>
                    </a:cubicBezTo>
                    <a:cubicBezTo>
                      <a:pt x="283" y="48"/>
                      <a:pt x="285" y="49"/>
                      <a:pt x="286" y="52"/>
                    </a:cubicBezTo>
                    <a:cubicBezTo>
                      <a:pt x="287" y="51"/>
                      <a:pt x="288" y="51"/>
                      <a:pt x="288" y="51"/>
                    </a:cubicBezTo>
                    <a:cubicBezTo>
                      <a:pt x="290" y="50"/>
                      <a:pt x="290" y="49"/>
                      <a:pt x="291" y="47"/>
                    </a:cubicBezTo>
                    <a:cubicBezTo>
                      <a:pt x="291" y="47"/>
                      <a:pt x="291" y="47"/>
                      <a:pt x="291" y="47"/>
                    </a:cubicBezTo>
                    <a:cubicBezTo>
                      <a:pt x="291" y="46"/>
                      <a:pt x="291" y="45"/>
                      <a:pt x="291" y="44"/>
                    </a:cubicBezTo>
                    <a:cubicBezTo>
                      <a:pt x="291" y="44"/>
                      <a:pt x="291" y="44"/>
                      <a:pt x="292" y="44"/>
                    </a:cubicBezTo>
                    <a:cubicBezTo>
                      <a:pt x="292" y="42"/>
                      <a:pt x="292" y="42"/>
                      <a:pt x="292" y="40"/>
                    </a:cubicBezTo>
                    <a:cubicBezTo>
                      <a:pt x="292" y="38"/>
                      <a:pt x="293" y="37"/>
                      <a:pt x="294" y="35"/>
                    </a:cubicBezTo>
                    <a:cubicBezTo>
                      <a:pt x="294" y="34"/>
                      <a:pt x="295" y="34"/>
                      <a:pt x="295" y="33"/>
                    </a:cubicBezTo>
                    <a:cubicBezTo>
                      <a:pt x="295" y="33"/>
                      <a:pt x="295" y="32"/>
                      <a:pt x="295" y="32"/>
                    </a:cubicBezTo>
                    <a:cubicBezTo>
                      <a:pt x="296" y="31"/>
                      <a:pt x="296" y="31"/>
                      <a:pt x="296" y="31"/>
                    </a:cubicBezTo>
                    <a:cubicBezTo>
                      <a:pt x="296" y="30"/>
                      <a:pt x="296" y="30"/>
                      <a:pt x="297" y="30"/>
                    </a:cubicBezTo>
                    <a:cubicBezTo>
                      <a:pt x="298" y="30"/>
                      <a:pt x="299" y="31"/>
                      <a:pt x="301" y="31"/>
                    </a:cubicBezTo>
                    <a:cubicBezTo>
                      <a:pt x="304" y="31"/>
                      <a:pt x="306" y="31"/>
                      <a:pt x="309" y="31"/>
                    </a:cubicBezTo>
                    <a:cubicBezTo>
                      <a:pt x="310" y="31"/>
                      <a:pt x="310" y="31"/>
                      <a:pt x="311" y="31"/>
                    </a:cubicBezTo>
                    <a:cubicBezTo>
                      <a:pt x="312" y="31"/>
                      <a:pt x="313" y="31"/>
                      <a:pt x="313" y="31"/>
                    </a:cubicBezTo>
                    <a:cubicBezTo>
                      <a:pt x="314" y="31"/>
                      <a:pt x="315" y="31"/>
                      <a:pt x="315" y="31"/>
                    </a:cubicBezTo>
                    <a:cubicBezTo>
                      <a:pt x="316" y="32"/>
                      <a:pt x="317" y="32"/>
                      <a:pt x="317" y="32"/>
                    </a:cubicBezTo>
                    <a:cubicBezTo>
                      <a:pt x="319" y="33"/>
                      <a:pt x="320" y="34"/>
                      <a:pt x="322" y="35"/>
                    </a:cubicBezTo>
                    <a:cubicBezTo>
                      <a:pt x="323" y="36"/>
                      <a:pt x="323" y="36"/>
                      <a:pt x="324" y="37"/>
                    </a:cubicBezTo>
                    <a:cubicBezTo>
                      <a:pt x="324" y="37"/>
                      <a:pt x="325" y="37"/>
                      <a:pt x="325" y="37"/>
                    </a:cubicBezTo>
                    <a:cubicBezTo>
                      <a:pt x="326" y="37"/>
                      <a:pt x="326" y="37"/>
                      <a:pt x="327" y="36"/>
                    </a:cubicBezTo>
                    <a:cubicBezTo>
                      <a:pt x="327" y="35"/>
                      <a:pt x="328" y="35"/>
                      <a:pt x="328" y="34"/>
                    </a:cubicBezTo>
                    <a:cubicBezTo>
                      <a:pt x="328" y="32"/>
                      <a:pt x="328" y="31"/>
                      <a:pt x="329" y="30"/>
                    </a:cubicBezTo>
                    <a:cubicBezTo>
                      <a:pt x="329" y="28"/>
                      <a:pt x="329" y="27"/>
                      <a:pt x="329" y="24"/>
                    </a:cubicBezTo>
                    <a:cubicBezTo>
                      <a:pt x="329" y="24"/>
                      <a:pt x="330" y="23"/>
                      <a:pt x="330" y="23"/>
                    </a:cubicBezTo>
                    <a:cubicBezTo>
                      <a:pt x="330" y="8"/>
                      <a:pt x="330" y="8"/>
                      <a:pt x="330" y="8"/>
                    </a:cubicBezTo>
                    <a:cubicBezTo>
                      <a:pt x="318" y="5"/>
                      <a:pt x="307" y="2"/>
                      <a:pt x="295" y="0"/>
                    </a:cubicBezTo>
                    <a:cubicBezTo>
                      <a:pt x="295" y="1"/>
                      <a:pt x="295" y="1"/>
                      <a:pt x="295" y="1"/>
                    </a:cubicBezTo>
                    <a:cubicBezTo>
                      <a:pt x="295" y="2"/>
                      <a:pt x="294" y="2"/>
                      <a:pt x="294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3" name="Freeform 201">
                <a:extLst>
                  <a:ext uri="{FF2B5EF4-FFF2-40B4-BE49-F238E27FC236}">
                    <a16:creationId xmlns:a16="http://schemas.microsoft.com/office/drawing/2014/main" xmlns="" id="{39FE6E6E-2840-4E66-92AF-BE640AA0C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5687" y="663738"/>
                <a:ext cx="22748" cy="7184"/>
              </a:xfrm>
              <a:custGeom>
                <a:avLst/>
                <a:gdLst>
                  <a:gd name="T0" fmla="*/ 2 w 9"/>
                  <a:gd name="T1" fmla="*/ 3 h 3"/>
                  <a:gd name="T2" fmla="*/ 4 w 9"/>
                  <a:gd name="T3" fmla="*/ 3 h 3"/>
                  <a:gd name="T4" fmla="*/ 7 w 9"/>
                  <a:gd name="T5" fmla="*/ 3 h 3"/>
                  <a:gd name="T6" fmla="*/ 9 w 9"/>
                  <a:gd name="T7" fmla="*/ 3 h 3"/>
                  <a:gd name="T8" fmla="*/ 0 w 9"/>
                  <a:gd name="T9" fmla="*/ 0 h 3"/>
                  <a:gd name="T10" fmla="*/ 0 w 9"/>
                  <a:gd name="T11" fmla="*/ 0 h 3"/>
                  <a:gd name="T12" fmla="*/ 2 w 9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3">
                    <a:moveTo>
                      <a:pt x="2" y="3"/>
                    </a:moveTo>
                    <a:cubicBezTo>
                      <a:pt x="3" y="3"/>
                      <a:pt x="3" y="3"/>
                      <a:pt x="4" y="3"/>
                    </a:cubicBezTo>
                    <a:cubicBezTo>
                      <a:pt x="5" y="3"/>
                      <a:pt x="6" y="3"/>
                      <a:pt x="7" y="3"/>
                    </a:cubicBezTo>
                    <a:cubicBezTo>
                      <a:pt x="8" y="3"/>
                      <a:pt x="8" y="3"/>
                      <a:pt x="9" y="3"/>
                    </a:cubicBezTo>
                    <a:cubicBezTo>
                      <a:pt x="6" y="2"/>
                      <a:pt x="3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2"/>
                      <a:pt x="2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4" name="Freeform 202">
                <a:extLst>
                  <a:ext uri="{FF2B5EF4-FFF2-40B4-BE49-F238E27FC236}">
                    <a16:creationId xmlns:a16="http://schemas.microsoft.com/office/drawing/2014/main" xmlns="" id="{CE5798B3-67CC-4D06-983F-9475F7C44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7403" y="1704297"/>
                <a:ext cx="4789" cy="2394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0 h 1"/>
                  <a:gd name="T4" fmla="*/ 0 w 2"/>
                  <a:gd name="T5" fmla="*/ 0 h 1"/>
                  <a:gd name="T6" fmla="*/ 0 w 2"/>
                  <a:gd name="T7" fmla="*/ 0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1"/>
                      <a:pt x="2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5" name="Freeform 203">
                <a:extLst>
                  <a:ext uri="{FF2B5EF4-FFF2-40B4-BE49-F238E27FC236}">
                    <a16:creationId xmlns:a16="http://schemas.microsoft.com/office/drawing/2014/main" xmlns="" id="{EE26D191-5FC3-4958-BA67-E59963370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7123" y="3463307"/>
                <a:ext cx="1026061" cy="744796"/>
              </a:xfrm>
              <a:custGeom>
                <a:avLst/>
                <a:gdLst>
                  <a:gd name="T0" fmla="*/ 375 w 406"/>
                  <a:gd name="T1" fmla="*/ 28 h 295"/>
                  <a:gd name="T2" fmla="*/ 358 w 406"/>
                  <a:gd name="T3" fmla="*/ 27 h 295"/>
                  <a:gd name="T4" fmla="*/ 328 w 406"/>
                  <a:gd name="T5" fmla="*/ 28 h 295"/>
                  <a:gd name="T6" fmla="*/ 313 w 406"/>
                  <a:gd name="T7" fmla="*/ 16 h 295"/>
                  <a:gd name="T8" fmla="*/ 292 w 406"/>
                  <a:gd name="T9" fmla="*/ 19 h 295"/>
                  <a:gd name="T10" fmla="*/ 287 w 406"/>
                  <a:gd name="T11" fmla="*/ 6 h 295"/>
                  <a:gd name="T12" fmla="*/ 272 w 406"/>
                  <a:gd name="T13" fmla="*/ 0 h 295"/>
                  <a:gd name="T14" fmla="*/ 249 w 406"/>
                  <a:gd name="T15" fmla="*/ 16 h 295"/>
                  <a:gd name="T16" fmla="*/ 212 w 406"/>
                  <a:gd name="T17" fmla="*/ 27 h 295"/>
                  <a:gd name="T18" fmla="*/ 172 w 406"/>
                  <a:gd name="T19" fmla="*/ 53 h 295"/>
                  <a:gd name="T20" fmla="*/ 148 w 406"/>
                  <a:gd name="T21" fmla="*/ 69 h 295"/>
                  <a:gd name="T22" fmla="*/ 125 w 406"/>
                  <a:gd name="T23" fmla="*/ 70 h 295"/>
                  <a:gd name="T24" fmla="*/ 95 w 406"/>
                  <a:gd name="T25" fmla="*/ 77 h 295"/>
                  <a:gd name="T26" fmla="*/ 117 w 406"/>
                  <a:gd name="T27" fmla="*/ 87 h 295"/>
                  <a:gd name="T28" fmla="*/ 84 w 406"/>
                  <a:gd name="T29" fmla="*/ 100 h 295"/>
                  <a:gd name="T30" fmla="*/ 96 w 406"/>
                  <a:gd name="T31" fmla="*/ 108 h 295"/>
                  <a:gd name="T32" fmla="*/ 68 w 406"/>
                  <a:gd name="T33" fmla="*/ 112 h 295"/>
                  <a:gd name="T34" fmla="*/ 49 w 406"/>
                  <a:gd name="T35" fmla="*/ 108 h 295"/>
                  <a:gd name="T36" fmla="*/ 38 w 406"/>
                  <a:gd name="T37" fmla="*/ 115 h 295"/>
                  <a:gd name="T38" fmla="*/ 19 w 406"/>
                  <a:gd name="T39" fmla="*/ 121 h 295"/>
                  <a:gd name="T40" fmla="*/ 2 w 406"/>
                  <a:gd name="T41" fmla="*/ 141 h 295"/>
                  <a:gd name="T42" fmla="*/ 12 w 406"/>
                  <a:gd name="T43" fmla="*/ 157 h 295"/>
                  <a:gd name="T44" fmla="*/ 24 w 406"/>
                  <a:gd name="T45" fmla="*/ 159 h 295"/>
                  <a:gd name="T46" fmla="*/ 21 w 406"/>
                  <a:gd name="T47" fmla="*/ 178 h 295"/>
                  <a:gd name="T48" fmla="*/ 25 w 406"/>
                  <a:gd name="T49" fmla="*/ 187 h 295"/>
                  <a:gd name="T50" fmla="*/ 26 w 406"/>
                  <a:gd name="T51" fmla="*/ 198 h 295"/>
                  <a:gd name="T52" fmla="*/ 39 w 406"/>
                  <a:gd name="T53" fmla="*/ 206 h 295"/>
                  <a:gd name="T54" fmla="*/ 27 w 406"/>
                  <a:gd name="T55" fmla="*/ 212 h 295"/>
                  <a:gd name="T56" fmla="*/ 17 w 406"/>
                  <a:gd name="T57" fmla="*/ 199 h 295"/>
                  <a:gd name="T58" fmla="*/ 14 w 406"/>
                  <a:gd name="T59" fmla="*/ 208 h 295"/>
                  <a:gd name="T60" fmla="*/ 9 w 406"/>
                  <a:gd name="T61" fmla="*/ 213 h 295"/>
                  <a:gd name="T62" fmla="*/ 21 w 406"/>
                  <a:gd name="T63" fmla="*/ 217 h 295"/>
                  <a:gd name="T64" fmla="*/ 37 w 406"/>
                  <a:gd name="T65" fmla="*/ 220 h 295"/>
                  <a:gd name="T66" fmla="*/ 44 w 406"/>
                  <a:gd name="T67" fmla="*/ 234 h 295"/>
                  <a:gd name="T68" fmla="*/ 44 w 406"/>
                  <a:gd name="T69" fmla="*/ 243 h 295"/>
                  <a:gd name="T70" fmla="*/ 48 w 406"/>
                  <a:gd name="T71" fmla="*/ 249 h 295"/>
                  <a:gd name="T72" fmla="*/ 54 w 406"/>
                  <a:gd name="T73" fmla="*/ 252 h 295"/>
                  <a:gd name="T74" fmla="*/ 62 w 406"/>
                  <a:gd name="T75" fmla="*/ 252 h 295"/>
                  <a:gd name="T76" fmla="*/ 48 w 406"/>
                  <a:gd name="T77" fmla="*/ 258 h 295"/>
                  <a:gd name="T78" fmla="*/ 58 w 406"/>
                  <a:gd name="T79" fmla="*/ 264 h 295"/>
                  <a:gd name="T80" fmla="*/ 82 w 406"/>
                  <a:gd name="T81" fmla="*/ 261 h 295"/>
                  <a:gd name="T82" fmla="*/ 77 w 406"/>
                  <a:gd name="T83" fmla="*/ 269 h 295"/>
                  <a:gd name="T84" fmla="*/ 64 w 406"/>
                  <a:gd name="T85" fmla="*/ 271 h 295"/>
                  <a:gd name="T86" fmla="*/ 63 w 406"/>
                  <a:gd name="T87" fmla="*/ 278 h 295"/>
                  <a:gd name="T88" fmla="*/ 78 w 406"/>
                  <a:gd name="T89" fmla="*/ 276 h 295"/>
                  <a:gd name="T90" fmla="*/ 79 w 406"/>
                  <a:gd name="T91" fmla="*/ 278 h 295"/>
                  <a:gd name="T92" fmla="*/ 90 w 406"/>
                  <a:gd name="T93" fmla="*/ 270 h 295"/>
                  <a:gd name="T94" fmla="*/ 103 w 406"/>
                  <a:gd name="T95" fmla="*/ 273 h 295"/>
                  <a:gd name="T96" fmla="*/ 109 w 406"/>
                  <a:gd name="T97" fmla="*/ 278 h 295"/>
                  <a:gd name="T98" fmla="*/ 130 w 406"/>
                  <a:gd name="T99" fmla="*/ 292 h 295"/>
                  <a:gd name="T100" fmla="*/ 147 w 406"/>
                  <a:gd name="T101" fmla="*/ 289 h 295"/>
                  <a:gd name="T102" fmla="*/ 163 w 406"/>
                  <a:gd name="T103" fmla="*/ 287 h 295"/>
                  <a:gd name="T104" fmla="*/ 163 w 406"/>
                  <a:gd name="T105" fmla="*/ 262 h 295"/>
                  <a:gd name="T106" fmla="*/ 196 w 406"/>
                  <a:gd name="T107" fmla="*/ 257 h 295"/>
                  <a:gd name="T108" fmla="*/ 227 w 406"/>
                  <a:gd name="T109" fmla="*/ 274 h 295"/>
                  <a:gd name="T110" fmla="*/ 255 w 406"/>
                  <a:gd name="T111" fmla="*/ 276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6" h="295">
                    <a:moveTo>
                      <a:pt x="403" y="21"/>
                    </a:moveTo>
                    <a:cubicBezTo>
                      <a:pt x="402" y="22"/>
                      <a:pt x="402" y="24"/>
                      <a:pt x="401" y="24"/>
                    </a:cubicBezTo>
                    <a:cubicBezTo>
                      <a:pt x="400" y="25"/>
                      <a:pt x="399" y="25"/>
                      <a:pt x="398" y="25"/>
                    </a:cubicBezTo>
                    <a:cubicBezTo>
                      <a:pt x="397" y="25"/>
                      <a:pt x="397" y="25"/>
                      <a:pt x="396" y="26"/>
                    </a:cubicBezTo>
                    <a:cubicBezTo>
                      <a:pt x="393" y="28"/>
                      <a:pt x="391" y="28"/>
                      <a:pt x="388" y="28"/>
                    </a:cubicBezTo>
                    <a:cubicBezTo>
                      <a:pt x="383" y="28"/>
                      <a:pt x="380" y="28"/>
                      <a:pt x="375" y="28"/>
                    </a:cubicBezTo>
                    <a:cubicBezTo>
                      <a:pt x="372" y="28"/>
                      <a:pt x="370" y="27"/>
                      <a:pt x="369" y="24"/>
                    </a:cubicBezTo>
                    <a:cubicBezTo>
                      <a:pt x="368" y="24"/>
                      <a:pt x="367" y="25"/>
                      <a:pt x="366" y="25"/>
                    </a:cubicBezTo>
                    <a:cubicBezTo>
                      <a:pt x="365" y="25"/>
                      <a:pt x="364" y="25"/>
                      <a:pt x="363" y="24"/>
                    </a:cubicBezTo>
                    <a:cubicBezTo>
                      <a:pt x="362" y="26"/>
                      <a:pt x="362" y="26"/>
                      <a:pt x="361" y="27"/>
                    </a:cubicBezTo>
                    <a:cubicBezTo>
                      <a:pt x="361" y="28"/>
                      <a:pt x="360" y="29"/>
                      <a:pt x="360" y="29"/>
                    </a:cubicBezTo>
                    <a:cubicBezTo>
                      <a:pt x="359" y="29"/>
                      <a:pt x="359" y="28"/>
                      <a:pt x="358" y="27"/>
                    </a:cubicBezTo>
                    <a:cubicBezTo>
                      <a:pt x="356" y="26"/>
                      <a:pt x="354" y="25"/>
                      <a:pt x="352" y="25"/>
                    </a:cubicBezTo>
                    <a:cubicBezTo>
                      <a:pt x="350" y="25"/>
                      <a:pt x="349" y="26"/>
                      <a:pt x="347" y="26"/>
                    </a:cubicBezTo>
                    <a:cubicBezTo>
                      <a:pt x="343" y="26"/>
                      <a:pt x="342" y="23"/>
                      <a:pt x="338" y="23"/>
                    </a:cubicBezTo>
                    <a:cubicBezTo>
                      <a:pt x="335" y="23"/>
                      <a:pt x="334" y="23"/>
                      <a:pt x="332" y="24"/>
                    </a:cubicBezTo>
                    <a:cubicBezTo>
                      <a:pt x="331" y="25"/>
                      <a:pt x="330" y="25"/>
                      <a:pt x="330" y="25"/>
                    </a:cubicBezTo>
                    <a:cubicBezTo>
                      <a:pt x="329" y="26"/>
                      <a:pt x="329" y="27"/>
                      <a:pt x="328" y="28"/>
                    </a:cubicBezTo>
                    <a:cubicBezTo>
                      <a:pt x="327" y="29"/>
                      <a:pt x="327" y="28"/>
                      <a:pt x="326" y="29"/>
                    </a:cubicBezTo>
                    <a:cubicBezTo>
                      <a:pt x="324" y="29"/>
                      <a:pt x="324" y="29"/>
                      <a:pt x="322" y="29"/>
                    </a:cubicBezTo>
                    <a:cubicBezTo>
                      <a:pt x="321" y="28"/>
                      <a:pt x="321" y="27"/>
                      <a:pt x="320" y="26"/>
                    </a:cubicBezTo>
                    <a:cubicBezTo>
                      <a:pt x="320" y="25"/>
                      <a:pt x="319" y="25"/>
                      <a:pt x="318" y="24"/>
                    </a:cubicBezTo>
                    <a:cubicBezTo>
                      <a:pt x="317" y="24"/>
                      <a:pt x="316" y="22"/>
                      <a:pt x="316" y="21"/>
                    </a:cubicBezTo>
                    <a:cubicBezTo>
                      <a:pt x="315" y="19"/>
                      <a:pt x="314" y="18"/>
                      <a:pt x="313" y="16"/>
                    </a:cubicBezTo>
                    <a:cubicBezTo>
                      <a:pt x="313" y="15"/>
                      <a:pt x="312" y="14"/>
                      <a:pt x="311" y="13"/>
                    </a:cubicBezTo>
                    <a:cubicBezTo>
                      <a:pt x="310" y="13"/>
                      <a:pt x="310" y="12"/>
                      <a:pt x="309" y="12"/>
                    </a:cubicBezTo>
                    <a:cubicBezTo>
                      <a:pt x="308" y="12"/>
                      <a:pt x="308" y="13"/>
                      <a:pt x="308" y="14"/>
                    </a:cubicBezTo>
                    <a:cubicBezTo>
                      <a:pt x="306" y="15"/>
                      <a:pt x="305" y="15"/>
                      <a:pt x="303" y="16"/>
                    </a:cubicBezTo>
                    <a:cubicBezTo>
                      <a:pt x="300" y="18"/>
                      <a:pt x="298" y="19"/>
                      <a:pt x="295" y="19"/>
                    </a:cubicBezTo>
                    <a:cubicBezTo>
                      <a:pt x="292" y="19"/>
                      <a:pt x="292" y="19"/>
                      <a:pt x="292" y="19"/>
                    </a:cubicBezTo>
                    <a:cubicBezTo>
                      <a:pt x="290" y="19"/>
                      <a:pt x="289" y="18"/>
                      <a:pt x="287" y="17"/>
                    </a:cubicBezTo>
                    <a:cubicBezTo>
                      <a:pt x="285" y="16"/>
                      <a:pt x="284" y="16"/>
                      <a:pt x="282" y="15"/>
                    </a:cubicBezTo>
                    <a:cubicBezTo>
                      <a:pt x="282" y="14"/>
                      <a:pt x="282" y="13"/>
                      <a:pt x="282" y="12"/>
                    </a:cubicBezTo>
                    <a:cubicBezTo>
                      <a:pt x="282" y="11"/>
                      <a:pt x="282" y="10"/>
                      <a:pt x="282" y="9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4" y="8"/>
                      <a:pt x="286" y="8"/>
                      <a:pt x="287" y="6"/>
                    </a:cubicBezTo>
                    <a:cubicBezTo>
                      <a:pt x="286" y="5"/>
                      <a:pt x="286" y="4"/>
                      <a:pt x="286" y="3"/>
                    </a:cubicBezTo>
                    <a:cubicBezTo>
                      <a:pt x="286" y="3"/>
                      <a:pt x="285" y="3"/>
                      <a:pt x="285" y="3"/>
                    </a:cubicBezTo>
                    <a:cubicBezTo>
                      <a:pt x="283" y="3"/>
                      <a:pt x="282" y="4"/>
                      <a:pt x="280" y="4"/>
                    </a:cubicBezTo>
                    <a:cubicBezTo>
                      <a:pt x="279" y="4"/>
                      <a:pt x="278" y="2"/>
                      <a:pt x="277" y="1"/>
                    </a:cubicBezTo>
                    <a:cubicBezTo>
                      <a:pt x="276" y="0"/>
                      <a:pt x="274" y="0"/>
                      <a:pt x="273" y="0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71" y="4"/>
                      <a:pt x="270" y="6"/>
                      <a:pt x="268" y="10"/>
                    </a:cubicBezTo>
                    <a:cubicBezTo>
                      <a:pt x="267" y="12"/>
                      <a:pt x="266" y="14"/>
                      <a:pt x="263" y="14"/>
                    </a:cubicBezTo>
                    <a:cubicBezTo>
                      <a:pt x="262" y="14"/>
                      <a:pt x="261" y="14"/>
                      <a:pt x="259" y="14"/>
                    </a:cubicBezTo>
                    <a:cubicBezTo>
                      <a:pt x="257" y="15"/>
                      <a:pt x="256" y="17"/>
                      <a:pt x="253" y="17"/>
                    </a:cubicBezTo>
                    <a:cubicBezTo>
                      <a:pt x="253" y="17"/>
                      <a:pt x="252" y="16"/>
                      <a:pt x="252" y="16"/>
                    </a:cubicBezTo>
                    <a:cubicBezTo>
                      <a:pt x="251" y="16"/>
                      <a:pt x="250" y="16"/>
                      <a:pt x="249" y="16"/>
                    </a:cubicBezTo>
                    <a:cubicBezTo>
                      <a:pt x="248" y="16"/>
                      <a:pt x="247" y="16"/>
                      <a:pt x="245" y="17"/>
                    </a:cubicBezTo>
                    <a:cubicBezTo>
                      <a:pt x="243" y="18"/>
                      <a:pt x="241" y="19"/>
                      <a:pt x="238" y="19"/>
                    </a:cubicBezTo>
                    <a:cubicBezTo>
                      <a:pt x="234" y="19"/>
                      <a:pt x="234" y="19"/>
                      <a:pt x="234" y="19"/>
                    </a:cubicBezTo>
                    <a:cubicBezTo>
                      <a:pt x="233" y="19"/>
                      <a:pt x="232" y="18"/>
                      <a:pt x="231" y="18"/>
                    </a:cubicBezTo>
                    <a:cubicBezTo>
                      <a:pt x="226" y="18"/>
                      <a:pt x="223" y="20"/>
                      <a:pt x="218" y="23"/>
                    </a:cubicBezTo>
                    <a:cubicBezTo>
                      <a:pt x="216" y="25"/>
                      <a:pt x="214" y="25"/>
                      <a:pt x="212" y="27"/>
                    </a:cubicBezTo>
                    <a:cubicBezTo>
                      <a:pt x="210" y="29"/>
                      <a:pt x="208" y="30"/>
                      <a:pt x="206" y="31"/>
                    </a:cubicBezTo>
                    <a:cubicBezTo>
                      <a:pt x="204" y="32"/>
                      <a:pt x="202" y="32"/>
                      <a:pt x="200" y="32"/>
                    </a:cubicBezTo>
                    <a:cubicBezTo>
                      <a:pt x="197" y="33"/>
                      <a:pt x="196" y="34"/>
                      <a:pt x="194" y="35"/>
                    </a:cubicBezTo>
                    <a:cubicBezTo>
                      <a:pt x="193" y="37"/>
                      <a:pt x="192" y="37"/>
                      <a:pt x="190" y="39"/>
                    </a:cubicBezTo>
                    <a:cubicBezTo>
                      <a:pt x="186" y="43"/>
                      <a:pt x="183" y="44"/>
                      <a:pt x="179" y="48"/>
                    </a:cubicBezTo>
                    <a:cubicBezTo>
                      <a:pt x="176" y="50"/>
                      <a:pt x="175" y="51"/>
                      <a:pt x="172" y="53"/>
                    </a:cubicBezTo>
                    <a:cubicBezTo>
                      <a:pt x="168" y="55"/>
                      <a:pt x="165" y="55"/>
                      <a:pt x="163" y="58"/>
                    </a:cubicBezTo>
                    <a:cubicBezTo>
                      <a:pt x="164" y="59"/>
                      <a:pt x="165" y="60"/>
                      <a:pt x="165" y="61"/>
                    </a:cubicBezTo>
                    <a:cubicBezTo>
                      <a:pt x="165" y="62"/>
                      <a:pt x="164" y="63"/>
                      <a:pt x="164" y="64"/>
                    </a:cubicBezTo>
                    <a:cubicBezTo>
                      <a:pt x="163" y="65"/>
                      <a:pt x="162" y="67"/>
                      <a:pt x="160" y="68"/>
                    </a:cubicBezTo>
                    <a:cubicBezTo>
                      <a:pt x="159" y="68"/>
                      <a:pt x="158" y="68"/>
                      <a:pt x="157" y="68"/>
                    </a:cubicBezTo>
                    <a:cubicBezTo>
                      <a:pt x="153" y="68"/>
                      <a:pt x="152" y="69"/>
                      <a:pt x="148" y="69"/>
                    </a:cubicBezTo>
                    <a:cubicBezTo>
                      <a:pt x="146" y="69"/>
                      <a:pt x="145" y="68"/>
                      <a:pt x="143" y="68"/>
                    </a:cubicBezTo>
                    <a:cubicBezTo>
                      <a:pt x="140" y="68"/>
                      <a:pt x="138" y="68"/>
                      <a:pt x="135" y="67"/>
                    </a:cubicBezTo>
                    <a:cubicBezTo>
                      <a:pt x="134" y="66"/>
                      <a:pt x="133" y="65"/>
                      <a:pt x="131" y="65"/>
                    </a:cubicBezTo>
                    <a:cubicBezTo>
                      <a:pt x="130" y="65"/>
                      <a:pt x="129" y="65"/>
                      <a:pt x="129" y="66"/>
                    </a:cubicBezTo>
                    <a:cubicBezTo>
                      <a:pt x="128" y="67"/>
                      <a:pt x="129" y="68"/>
                      <a:pt x="128" y="69"/>
                    </a:cubicBezTo>
                    <a:cubicBezTo>
                      <a:pt x="127" y="70"/>
                      <a:pt x="126" y="70"/>
                      <a:pt x="125" y="70"/>
                    </a:cubicBezTo>
                    <a:cubicBezTo>
                      <a:pt x="123" y="70"/>
                      <a:pt x="121" y="70"/>
                      <a:pt x="119" y="69"/>
                    </a:cubicBezTo>
                    <a:cubicBezTo>
                      <a:pt x="117" y="69"/>
                      <a:pt x="115" y="69"/>
                      <a:pt x="113" y="68"/>
                    </a:cubicBezTo>
                    <a:cubicBezTo>
                      <a:pt x="110" y="68"/>
                      <a:pt x="109" y="67"/>
                      <a:pt x="106" y="67"/>
                    </a:cubicBezTo>
                    <a:cubicBezTo>
                      <a:pt x="103" y="68"/>
                      <a:pt x="101" y="67"/>
                      <a:pt x="98" y="68"/>
                    </a:cubicBezTo>
                    <a:cubicBezTo>
                      <a:pt x="95" y="69"/>
                      <a:pt x="94" y="71"/>
                      <a:pt x="94" y="74"/>
                    </a:cubicBezTo>
                    <a:cubicBezTo>
                      <a:pt x="94" y="75"/>
                      <a:pt x="95" y="76"/>
                      <a:pt x="95" y="77"/>
                    </a:cubicBezTo>
                    <a:cubicBezTo>
                      <a:pt x="96" y="79"/>
                      <a:pt x="95" y="80"/>
                      <a:pt x="96" y="82"/>
                    </a:cubicBezTo>
                    <a:cubicBezTo>
                      <a:pt x="97" y="84"/>
                      <a:pt x="99" y="84"/>
                      <a:pt x="101" y="84"/>
                    </a:cubicBezTo>
                    <a:cubicBezTo>
                      <a:pt x="102" y="85"/>
                      <a:pt x="103" y="86"/>
                      <a:pt x="104" y="86"/>
                    </a:cubicBezTo>
                    <a:cubicBezTo>
                      <a:pt x="110" y="86"/>
                      <a:pt x="110" y="86"/>
                      <a:pt x="110" y="86"/>
                    </a:cubicBezTo>
                    <a:cubicBezTo>
                      <a:pt x="113" y="86"/>
                      <a:pt x="115" y="86"/>
                      <a:pt x="117" y="86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7" y="88"/>
                      <a:pt x="116" y="88"/>
                      <a:pt x="115" y="88"/>
                    </a:cubicBezTo>
                    <a:cubicBezTo>
                      <a:pt x="112" y="89"/>
                      <a:pt x="111" y="89"/>
                      <a:pt x="108" y="91"/>
                    </a:cubicBezTo>
                    <a:cubicBezTo>
                      <a:pt x="105" y="92"/>
                      <a:pt x="103" y="92"/>
                      <a:pt x="99" y="92"/>
                    </a:cubicBezTo>
                    <a:cubicBezTo>
                      <a:pt x="96" y="93"/>
                      <a:pt x="94" y="93"/>
                      <a:pt x="90" y="95"/>
                    </a:cubicBezTo>
                    <a:cubicBezTo>
                      <a:pt x="89" y="96"/>
                      <a:pt x="88" y="97"/>
                      <a:pt x="86" y="98"/>
                    </a:cubicBezTo>
                    <a:cubicBezTo>
                      <a:pt x="85" y="99"/>
                      <a:pt x="85" y="99"/>
                      <a:pt x="84" y="100"/>
                    </a:cubicBezTo>
                    <a:cubicBezTo>
                      <a:pt x="83" y="100"/>
                      <a:pt x="82" y="100"/>
                      <a:pt x="82" y="101"/>
                    </a:cubicBezTo>
                    <a:cubicBezTo>
                      <a:pt x="82" y="102"/>
                      <a:pt x="84" y="102"/>
                      <a:pt x="85" y="103"/>
                    </a:cubicBezTo>
                    <a:cubicBezTo>
                      <a:pt x="86" y="104"/>
                      <a:pt x="85" y="105"/>
                      <a:pt x="86" y="106"/>
                    </a:cubicBezTo>
                    <a:cubicBezTo>
                      <a:pt x="87" y="106"/>
                      <a:pt x="88" y="106"/>
                      <a:pt x="89" y="106"/>
                    </a:cubicBezTo>
                    <a:cubicBezTo>
                      <a:pt x="94" y="106"/>
                      <a:pt x="94" y="106"/>
                      <a:pt x="94" y="106"/>
                    </a:cubicBezTo>
                    <a:cubicBezTo>
                      <a:pt x="95" y="106"/>
                      <a:pt x="96" y="107"/>
                      <a:pt x="96" y="108"/>
                    </a:cubicBezTo>
                    <a:cubicBezTo>
                      <a:pt x="96" y="109"/>
                      <a:pt x="95" y="109"/>
                      <a:pt x="95" y="110"/>
                    </a:cubicBezTo>
                    <a:cubicBezTo>
                      <a:pt x="94" y="110"/>
                      <a:pt x="93" y="110"/>
                      <a:pt x="92" y="111"/>
                    </a:cubicBezTo>
                    <a:cubicBezTo>
                      <a:pt x="90" y="111"/>
                      <a:pt x="89" y="110"/>
                      <a:pt x="87" y="111"/>
                    </a:cubicBezTo>
                    <a:cubicBezTo>
                      <a:pt x="83" y="112"/>
                      <a:pt x="81" y="113"/>
                      <a:pt x="77" y="113"/>
                    </a:cubicBezTo>
                    <a:cubicBezTo>
                      <a:pt x="74" y="113"/>
                      <a:pt x="74" y="113"/>
                      <a:pt x="74" y="113"/>
                    </a:cubicBezTo>
                    <a:cubicBezTo>
                      <a:pt x="72" y="113"/>
                      <a:pt x="70" y="112"/>
                      <a:pt x="68" y="112"/>
                    </a:cubicBezTo>
                    <a:cubicBezTo>
                      <a:pt x="63" y="112"/>
                      <a:pt x="61" y="114"/>
                      <a:pt x="57" y="114"/>
                    </a:cubicBezTo>
                    <a:cubicBezTo>
                      <a:pt x="55" y="114"/>
                      <a:pt x="55" y="112"/>
                      <a:pt x="55" y="111"/>
                    </a:cubicBezTo>
                    <a:cubicBezTo>
                      <a:pt x="55" y="110"/>
                      <a:pt x="56" y="110"/>
                      <a:pt x="56" y="109"/>
                    </a:cubicBezTo>
                    <a:cubicBezTo>
                      <a:pt x="56" y="109"/>
                      <a:pt x="56" y="108"/>
                      <a:pt x="56" y="108"/>
                    </a:cubicBezTo>
                    <a:cubicBezTo>
                      <a:pt x="55" y="108"/>
                      <a:pt x="55" y="108"/>
                      <a:pt x="54" y="108"/>
                    </a:cubicBezTo>
                    <a:cubicBezTo>
                      <a:pt x="52" y="108"/>
                      <a:pt x="51" y="107"/>
                      <a:pt x="49" y="108"/>
                    </a:cubicBezTo>
                    <a:cubicBezTo>
                      <a:pt x="48" y="108"/>
                      <a:pt x="48" y="109"/>
                      <a:pt x="47" y="110"/>
                    </a:cubicBezTo>
                    <a:cubicBezTo>
                      <a:pt x="48" y="111"/>
                      <a:pt x="49" y="111"/>
                      <a:pt x="49" y="112"/>
                    </a:cubicBezTo>
                    <a:cubicBezTo>
                      <a:pt x="49" y="113"/>
                      <a:pt x="48" y="113"/>
                      <a:pt x="47" y="113"/>
                    </a:cubicBezTo>
                    <a:cubicBezTo>
                      <a:pt x="46" y="115"/>
                      <a:pt x="45" y="115"/>
                      <a:pt x="43" y="116"/>
                    </a:cubicBezTo>
                    <a:cubicBezTo>
                      <a:pt x="41" y="116"/>
                      <a:pt x="41" y="117"/>
                      <a:pt x="39" y="117"/>
                    </a:cubicBezTo>
                    <a:cubicBezTo>
                      <a:pt x="38" y="117"/>
                      <a:pt x="38" y="116"/>
                      <a:pt x="38" y="115"/>
                    </a:cubicBezTo>
                    <a:cubicBezTo>
                      <a:pt x="37" y="114"/>
                      <a:pt x="36" y="114"/>
                      <a:pt x="35" y="114"/>
                    </a:cubicBezTo>
                    <a:cubicBezTo>
                      <a:pt x="32" y="114"/>
                      <a:pt x="32" y="114"/>
                      <a:pt x="32" y="114"/>
                    </a:cubicBezTo>
                    <a:cubicBezTo>
                      <a:pt x="32" y="114"/>
                      <a:pt x="32" y="114"/>
                      <a:pt x="31" y="115"/>
                    </a:cubicBezTo>
                    <a:cubicBezTo>
                      <a:pt x="31" y="116"/>
                      <a:pt x="30" y="116"/>
                      <a:pt x="29" y="116"/>
                    </a:cubicBezTo>
                    <a:cubicBezTo>
                      <a:pt x="27" y="117"/>
                      <a:pt x="26" y="117"/>
                      <a:pt x="24" y="117"/>
                    </a:cubicBezTo>
                    <a:cubicBezTo>
                      <a:pt x="21" y="117"/>
                      <a:pt x="21" y="119"/>
                      <a:pt x="19" y="121"/>
                    </a:cubicBezTo>
                    <a:cubicBezTo>
                      <a:pt x="19" y="122"/>
                      <a:pt x="17" y="122"/>
                      <a:pt x="16" y="123"/>
                    </a:cubicBezTo>
                    <a:cubicBezTo>
                      <a:pt x="13" y="125"/>
                      <a:pt x="12" y="128"/>
                      <a:pt x="10" y="132"/>
                    </a:cubicBezTo>
                    <a:cubicBezTo>
                      <a:pt x="10" y="133"/>
                      <a:pt x="9" y="133"/>
                      <a:pt x="9" y="134"/>
                    </a:cubicBezTo>
                    <a:cubicBezTo>
                      <a:pt x="9" y="135"/>
                      <a:pt x="9" y="135"/>
                      <a:pt x="8" y="135"/>
                    </a:cubicBezTo>
                    <a:cubicBezTo>
                      <a:pt x="6" y="136"/>
                      <a:pt x="4" y="136"/>
                      <a:pt x="2" y="138"/>
                    </a:cubicBezTo>
                    <a:cubicBezTo>
                      <a:pt x="2" y="139"/>
                      <a:pt x="2" y="140"/>
                      <a:pt x="2" y="141"/>
                    </a:cubicBezTo>
                    <a:cubicBezTo>
                      <a:pt x="2" y="143"/>
                      <a:pt x="2" y="143"/>
                      <a:pt x="2" y="143"/>
                    </a:cubicBezTo>
                    <a:cubicBezTo>
                      <a:pt x="2" y="146"/>
                      <a:pt x="1" y="148"/>
                      <a:pt x="1" y="151"/>
                    </a:cubicBezTo>
                    <a:cubicBezTo>
                      <a:pt x="1" y="155"/>
                      <a:pt x="1" y="155"/>
                      <a:pt x="1" y="155"/>
                    </a:cubicBezTo>
                    <a:cubicBezTo>
                      <a:pt x="1" y="157"/>
                      <a:pt x="0" y="157"/>
                      <a:pt x="0" y="159"/>
                    </a:cubicBezTo>
                    <a:cubicBezTo>
                      <a:pt x="0" y="160"/>
                      <a:pt x="0" y="161"/>
                      <a:pt x="1" y="161"/>
                    </a:cubicBezTo>
                    <a:cubicBezTo>
                      <a:pt x="6" y="161"/>
                      <a:pt x="8" y="159"/>
                      <a:pt x="12" y="157"/>
                    </a:cubicBezTo>
                    <a:cubicBezTo>
                      <a:pt x="15" y="156"/>
                      <a:pt x="17" y="156"/>
                      <a:pt x="20" y="155"/>
                    </a:cubicBezTo>
                    <a:cubicBezTo>
                      <a:pt x="22" y="154"/>
                      <a:pt x="24" y="153"/>
                      <a:pt x="27" y="153"/>
                    </a:cubicBezTo>
                    <a:cubicBezTo>
                      <a:pt x="27" y="153"/>
                      <a:pt x="27" y="153"/>
                      <a:pt x="27" y="153"/>
                    </a:cubicBezTo>
                    <a:cubicBezTo>
                      <a:pt x="27" y="154"/>
                      <a:pt x="27" y="155"/>
                      <a:pt x="27" y="156"/>
                    </a:cubicBezTo>
                    <a:cubicBezTo>
                      <a:pt x="26" y="157"/>
                      <a:pt x="27" y="157"/>
                      <a:pt x="26" y="158"/>
                    </a:cubicBezTo>
                    <a:cubicBezTo>
                      <a:pt x="26" y="159"/>
                      <a:pt x="25" y="158"/>
                      <a:pt x="24" y="159"/>
                    </a:cubicBezTo>
                    <a:cubicBezTo>
                      <a:pt x="23" y="161"/>
                      <a:pt x="22" y="162"/>
                      <a:pt x="21" y="164"/>
                    </a:cubicBezTo>
                    <a:cubicBezTo>
                      <a:pt x="19" y="166"/>
                      <a:pt x="18" y="167"/>
                      <a:pt x="18" y="169"/>
                    </a:cubicBezTo>
                    <a:cubicBezTo>
                      <a:pt x="18" y="170"/>
                      <a:pt x="19" y="170"/>
                      <a:pt x="20" y="171"/>
                    </a:cubicBezTo>
                    <a:cubicBezTo>
                      <a:pt x="21" y="172"/>
                      <a:pt x="23" y="173"/>
                      <a:pt x="23" y="176"/>
                    </a:cubicBezTo>
                    <a:cubicBezTo>
                      <a:pt x="23" y="176"/>
                      <a:pt x="22" y="176"/>
                      <a:pt x="22" y="176"/>
                    </a:cubicBezTo>
                    <a:cubicBezTo>
                      <a:pt x="21" y="177"/>
                      <a:pt x="21" y="177"/>
                      <a:pt x="21" y="178"/>
                    </a:cubicBezTo>
                    <a:cubicBezTo>
                      <a:pt x="21" y="179"/>
                      <a:pt x="22" y="179"/>
                      <a:pt x="22" y="180"/>
                    </a:cubicBezTo>
                    <a:cubicBezTo>
                      <a:pt x="23" y="181"/>
                      <a:pt x="23" y="182"/>
                      <a:pt x="24" y="182"/>
                    </a:cubicBezTo>
                    <a:cubicBezTo>
                      <a:pt x="24" y="182"/>
                      <a:pt x="24" y="181"/>
                      <a:pt x="25" y="181"/>
                    </a:cubicBezTo>
                    <a:cubicBezTo>
                      <a:pt x="25" y="180"/>
                      <a:pt x="26" y="180"/>
                      <a:pt x="27" y="180"/>
                    </a:cubicBezTo>
                    <a:cubicBezTo>
                      <a:pt x="29" y="180"/>
                      <a:pt x="29" y="181"/>
                      <a:pt x="31" y="182"/>
                    </a:cubicBezTo>
                    <a:cubicBezTo>
                      <a:pt x="29" y="184"/>
                      <a:pt x="28" y="186"/>
                      <a:pt x="25" y="187"/>
                    </a:cubicBezTo>
                    <a:cubicBezTo>
                      <a:pt x="23" y="188"/>
                      <a:pt x="21" y="189"/>
                      <a:pt x="21" y="191"/>
                    </a:cubicBezTo>
                    <a:cubicBezTo>
                      <a:pt x="21" y="191"/>
                      <a:pt x="22" y="192"/>
                      <a:pt x="22" y="192"/>
                    </a:cubicBezTo>
                    <a:cubicBezTo>
                      <a:pt x="22" y="193"/>
                      <a:pt x="22" y="194"/>
                      <a:pt x="23" y="194"/>
                    </a:cubicBezTo>
                    <a:cubicBezTo>
                      <a:pt x="24" y="194"/>
                      <a:pt x="25" y="193"/>
                      <a:pt x="25" y="192"/>
                    </a:cubicBezTo>
                    <a:cubicBezTo>
                      <a:pt x="26" y="192"/>
                      <a:pt x="26" y="192"/>
                      <a:pt x="26" y="193"/>
                    </a:cubicBezTo>
                    <a:cubicBezTo>
                      <a:pt x="26" y="198"/>
                      <a:pt x="26" y="198"/>
                      <a:pt x="26" y="198"/>
                    </a:cubicBezTo>
                    <a:cubicBezTo>
                      <a:pt x="26" y="200"/>
                      <a:pt x="28" y="200"/>
                      <a:pt x="29" y="202"/>
                    </a:cubicBezTo>
                    <a:cubicBezTo>
                      <a:pt x="29" y="203"/>
                      <a:pt x="29" y="204"/>
                      <a:pt x="30" y="204"/>
                    </a:cubicBezTo>
                    <a:cubicBezTo>
                      <a:pt x="31" y="204"/>
                      <a:pt x="32" y="203"/>
                      <a:pt x="33" y="203"/>
                    </a:cubicBezTo>
                    <a:cubicBezTo>
                      <a:pt x="35" y="203"/>
                      <a:pt x="36" y="203"/>
                      <a:pt x="38" y="204"/>
                    </a:cubicBezTo>
                    <a:cubicBezTo>
                      <a:pt x="39" y="204"/>
                      <a:pt x="40" y="204"/>
                      <a:pt x="40" y="205"/>
                    </a:cubicBezTo>
                    <a:cubicBezTo>
                      <a:pt x="40" y="206"/>
                      <a:pt x="40" y="206"/>
                      <a:pt x="39" y="206"/>
                    </a:cubicBezTo>
                    <a:cubicBezTo>
                      <a:pt x="37" y="207"/>
                      <a:pt x="36" y="207"/>
                      <a:pt x="34" y="208"/>
                    </a:cubicBezTo>
                    <a:cubicBezTo>
                      <a:pt x="33" y="208"/>
                      <a:pt x="32" y="208"/>
                      <a:pt x="31" y="208"/>
                    </a:cubicBezTo>
                    <a:cubicBezTo>
                      <a:pt x="30" y="209"/>
                      <a:pt x="29" y="209"/>
                      <a:pt x="28" y="209"/>
                    </a:cubicBezTo>
                    <a:cubicBezTo>
                      <a:pt x="27" y="209"/>
                      <a:pt x="27" y="209"/>
                      <a:pt x="26" y="209"/>
                    </a:cubicBezTo>
                    <a:cubicBezTo>
                      <a:pt x="26" y="209"/>
                      <a:pt x="26" y="209"/>
                      <a:pt x="26" y="209"/>
                    </a:cubicBezTo>
                    <a:cubicBezTo>
                      <a:pt x="26" y="210"/>
                      <a:pt x="27" y="211"/>
                      <a:pt x="27" y="212"/>
                    </a:cubicBezTo>
                    <a:cubicBezTo>
                      <a:pt x="27" y="212"/>
                      <a:pt x="27" y="213"/>
                      <a:pt x="27" y="213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4" y="213"/>
                      <a:pt x="24" y="212"/>
                      <a:pt x="23" y="210"/>
                    </a:cubicBezTo>
                    <a:cubicBezTo>
                      <a:pt x="22" y="208"/>
                      <a:pt x="21" y="207"/>
                      <a:pt x="19" y="205"/>
                    </a:cubicBezTo>
                    <a:cubicBezTo>
                      <a:pt x="20" y="204"/>
                      <a:pt x="20" y="204"/>
                      <a:pt x="20" y="203"/>
                    </a:cubicBezTo>
                    <a:cubicBezTo>
                      <a:pt x="20" y="201"/>
                      <a:pt x="19" y="200"/>
                      <a:pt x="17" y="199"/>
                    </a:cubicBezTo>
                    <a:cubicBezTo>
                      <a:pt x="15" y="197"/>
                      <a:pt x="14" y="196"/>
                      <a:pt x="11" y="195"/>
                    </a:cubicBezTo>
                    <a:cubicBezTo>
                      <a:pt x="10" y="195"/>
                      <a:pt x="10" y="195"/>
                      <a:pt x="10" y="195"/>
                    </a:cubicBezTo>
                    <a:cubicBezTo>
                      <a:pt x="11" y="196"/>
                      <a:pt x="10" y="196"/>
                      <a:pt x="10" y="197"/>
                    </a:cubicBezTo>
                    <a:cubicBezTo>
                      <a:pt x="10" y="198"/>
                      <a:pt x="11" y="199"/>
                      <a:pt x="12" y="200"/>
                    </a:cubicBezTo>
                    <a:cubicBezTo>
                      <a:pt x="12" y="202"/>
                      <a:pt x="12" y="203"/>
                      <a:pt x="13" y="205"/>
                    </a:cubicBezTo>
                    <a:cubicBezTo>
                      <a:pt x="13" y="206"/>
                      <a:pt x="13" y="207"/>
                      <a:pt x="14" y="208"/>
                    </a:cubicBezTo>
                    <a:cubicBezTo>
                      <a:pt x="15" y="208"/>
                      <a:pt x="16" y="208"/>
                      <a:pt x="16" y="208"/>
                    </a:cubicBezTo>
                    <a:cubicBezTo>
                      <a:pt x="17" y="208"/>
                      <a:pt x="18" y="209"/>
                      <a:pt x="18" y="210"/>
                    </a:cubicBezTo>
                    <a:cubicBezTo>
                      <a:pt x="18" y="212"/>
                      <a:pt x="15" y="213"/>
                      <a:pt x="14" y="213"/>
                    </a:cubicBezTo>
                    <a:cubicBezTo>
                      <a:pt x="11" y="213"/>
                      <a:pt x="11" y="210"/>
                      <a:pt x="9" y="210"/>
                    </a:cubicBezTo>
                    <a:cubicBezTo>
                      <a:pt x="8" y="210"/>
                      <a:pt x="8" y="210"/>
                      <a:pt x="8" y="210"/>
                    </a:cubicBezTo>
                    <a:cubicBezTo>
                      <a:pt x="8" y="212"/>
                      <a:pt x="8" y="212"/>
                      <a:pt x="9" y="213"/>
                    </a:cubicBezTo>
                    <a:cubicBezTo>
                      <a:pt x="9" y="214"/>
                      <a:pt x="9" y="214"/>
                      <a:pt x="10" y="214"/>
                    </a:cubicBezTo>
                    <a:cubicBezTo>
                      <a:pt x="11" y="215"/>
                      <a:pt x="12" y="214"/>
                      <a:pt x="14" y="215"/>
                    </a:cubicBezTo>
                    <a:cubicBezTo>
                      <a:pt x="14" y="216"/>
                      <a:pt x="14" y="216"/>
                      <a:pt x="15" y="217"/>
                    </a:cubicBezTo>
                    <a:cubicBezTo>
                      <a:pt x="15" y="218"/>
                      <a:pt x="16" y="218"/>
                      <a:pt x="18" y="218"/>
                    </a:cubicBezTo>
                    <a:cubicBezTo>
                      <a:pt x="19" y="218"/>
                      <a:pt x="19" y="218"/>
                      <a:pt x="20" y="218"/>
                    </a:cubicBezTo>
                    <a:cubicBezTo>
                      <a:pt x="21" y="218"/>
                      <a:pt x="21" y="217"/>
                      <a:pt x="21" y="217"/>
                    </a:cubicBezTo>
                    <a:cubicBezTo>
                      <a:pt x="22" y="216"/>
                      <a:pt x="23" y="217"/>
                      <a:pt x="24" y="217"/>
                    </a:cubicBezTo>
                    <a:cubicBezTo>
                      <a:pt x="25" y="217"/>
                      <a:pt x="25" y="218"/>
                      <a:pt x="26" y="219"/>
                    </a:cubicBezTo>
                    <a:cubicBezTo>
                      <a:pt x="27" y="220"/>
                      <a:pt x="28" y="220"/>
                      <a:pt x="28" y="221"/>
                    </a:cubicBezTo>
                    <a:cubicBezTo>
                      <a:pt x="29" y="221"/>
                      <a:pt x="29" y="221"/>
                      <a:pt x="29" y="221"/>
                    </a:cubicBezTo>
                    <a:cubicBezTo>
                      <a:pt x="29" y="220"/>
                      <a:pt x="29" y="218"/>
                      <a:pt x="31" y="218"/>
                    </a:cubicBezTo>
                    <a:cubicBezTo>
                      <a:pt x="33" y="218"/>
                      <a:pt x="35" y="219"/>
                      <a:pt x="37" y="220"/>
                    </a:cubicBezTo>
                    <a:cubicBezTo>
                      <a:pt x="38" y="220"/>
                      <a:pt x="38" y="222"/>
                      <a:pt x="39" y="222"/>
                    </a:cubicBezTo>
                    <a:cubicBezTo>
                      <a:pt x="41" y="223"/>
                      <a:pt x="43" y="223"/>
                      <a:pt x="45" y="223"/>
                    </a:cubicBezTo>
                    <a:cubicBezTo>
                      <a:pt x="46" y="223"/>
                      <a:pt x="47" y="224"/>
                      <a:pt x="47" y="224"/>
                    </a:cubicBezTo>
                    <a:cubicBezTo>
                      <a:pt x="47" y="225"/>
                      <a:pt x="46" y="226"/>
                      <a:pt x="46" y="227"/>
                    </a:cubicBezTo>
                    <a:cubicBezTo>
                      <a:pt x="46" y="232"/>
                      <a:pt x="46" y="232"/>
                      <a:pt x="46" y="232"/>
                    </a:cubicBezTo>
                    <a:cubicBezTo>
                      <a:pt x="46" y="233"/>
                      <a:pt x="45" y="233"/>
                      <a:pt x="44" y="234"/>
                    </a:cubicBezTo>
                    <a:cubicBezTo>
                      <a:pt x="42" y="234"/>
                      <a:pt x="42" y="235"/>
                      <a:pt x="40" y="236"/>
                    </a:cubicBezTo>
                    <a:cubicBezTo>
                      <a:pt x="39" y="236"/>
                      <a:pt x="37" y="236"/>
                      <a:pt x="36" y="238"/>
                    </a:cubicBezTo>
                    <a:cubicBezTo>
                      <a:pt x="37" y="238"/>
                      <a:pt x="38" y="239"/>
                      <a:pt x="40" y="239"/>
                    </a:cubicBezTo>
                    <a:cubicBezTo>
                      <a:pt x="40" y="240"/>
                      <a:pt x="41" y="239"/>
                      <a:pt x="41" y="239"/>
                    </a:cubicBezTo>
                    <a:cubicBezTo>
                      <a:pt x="42" y="240"/>
                      <a:pt x="42" y="241"/>
                      <a:pt x="42" y="242"/>
                    </a:cubicBezTo>
                    <a:cubicBezTo>
                      <a:pt x="43" y="243"/>
                      <a:pt x="44" y="243"/>
                      <a:pt x="44" y="243"/>
                    </a:cubicBezTo>
                    <a:cubicBezTo>
                      <a:pt x="44" y="244"/>
                      <a:pt x="44" y="245"/>
                      <a:pt x="44" y="245"/>
                    </a:cubicBezTo>
                    <a:cubicBezTo>
                      <a:pt x="44" y="246"/>
                      <a:pt x="44" y="247"/>
                      <a:pt x="44" y="248"/>
                    </a:cubicBezTo>
                    <a:cubicBezTo>
                      <a:pt x="44" y="248"/>
                      <a:pt x="43" y="248"/>
                      <a:pt x="43" y="249"/>
                    </a:cubicBezTo>
                    <a:cubicBezTo>
                      <a:pt x="43" y="251"/>
                      <a:pt x="43" y="251"/>
                      <a:pt x="43" y="251"/>
                    </a:cubicBezTo>
                    <a:cubicBezTo>
                      <a:pt x="45" y="250"/>
                      <a:pt x="46" y="250"/>
                      <a:pt x="47" y="250"/>
                    </a:cubicBezTo>
                    <a:cubicBezTo>
                      <a:pt x="48" y="250"/>
                      <a:pt x="48" y="249"/>
                      <a:pt x="48" y="249"/>
                    </a:cubicBezTo>
                    <a:cubicBezTo>
                      <a:pt x="49" y="248"/>
                      <a:pt x="49" y="247"/>
                      <a:pt x="50" y="247"/>
                    </a:cubicBezTo>
                    <a:cubicBezTo>
                      <a:pt x="51" y="247"/>
                      <a:pt x="51" y="247"/>
                      <a:pt x="51" y="247"/>
                    </a:cubicBezTo>
                    <a:cubicBezTo>
                      <a:pt x="51" y="248"/>
                      <a:pt x="50" y="249"/>
                      <a:pt x="50" y="249"/>
                    </a:cubicBezTo>
                    <a:cubicBezTo>
                      <a:pt x="50" y="250"/>
                      <a:pt x="51" y="251"/>
                      <a:pt x="51" y="251"/>
                    </a:cubicBezTo>
                    <a:cubicBezTo>
                      <a:pt x="52" y="251"/>
                      <a:pt x="53" y="249"/>
                      <a:pt x="54" y="249"/>
                    </a:cubicBezTo>
                    <a:cubicBezTo>
                      <a:pt x="54" y="252"/>
                      <a:pt x="54" y="252"/>
                      <a:pt x="54" y="252"/>
                    </a:cubicBezTo>
                    <a:cubicBezTo>
                      <a:pt x="55" y="252"/>
                      <a:pt x="55" y="252"/>
                      <a:pt x="55" y="252"/>
                    </a:cubicBezTo>
                    <a:cubicBezTo>
                      <a:pt x="56" y="252"/>
                      <a:pt x="57" y="252"/>
                      <a:pt x="57" y="251"/>
                    </a:cubicBezTo>
                    <a:cubicBezTo>
                      <a:pt x="58" y="252"/>
                      <a:pt x="59" y="253"/>
                      <a:pt x="60" y="253"/>
                    </a:cubicBezTo>
                    <a:cubicBezTo>
                      <a:pt x="60" y="253"/>
                      <a:pt x="60" y="252"/>
                      <a:pt x="60" y="251"/>
                    </a:cubicBezTo>
                    <a:cubicBezTo>
                      <a:pt x="60" y="251"/>
                      <a:pt x="61" y="250"/>
                      <a:pt x="61" y="250"/>
                    </a:cubicBezTo>
                    <a:cubicBezTo>
                      <a:pt x="62" y="251"/>
                      <a:pt x="62" y="251"/>
                      <a:pt x="62" y="252"/>
                    </a:cubicBezTo>
                    <a:cubicBezTo>
                      <a:pt x="62" y="253"/>
                      <a:pt x="61" y="254"/>
                      <a:pt x="61" y="255"/>
                    </a:cubicBezTo>
                    <a:cubicBezTo>
                      <a:pt x="60" y="256"/>
                      <a:pt x="60" y="257"/>
                      <a:pt x="60" y="259"/>
                    </a:cubicBezTo>
                    <a:cubicBezTo>
                      <a:pt x="60" y="259"/>
                      <a:pt x="60" y="259"/>
                      <a:pt x="60" y="259"/>
                    </a:cubicBezTo>
                    <a:cubicBezTo>
                      <a:pt x="59" y="259"/>
                      <a:pt x="58" y="258"/>
                      <a:pt x="57" y="258"/>
                    </a:cubicBezTo>
                    <a:cubicBezTo>
                      <a:pt x="54" y="257"/>
                      <a:pt x="52" y="257"/>
                      <a:pt x="49" y="257"/>
                    </a:cubicBezTo>
                    <a:cubicBezTo>
                      <a:pt x="48" y="257"/>
                      <a:pt x="48" y="258"/>
                      <a:pt x="48" y="258"/>
                    </a:cubicBezTo>
                    <a:cubicBezTo>
                      <a:pt x="47" y="259"/>
                      <a:pt x="45" y="259"/>
                      <a:pt x="45" y="260"/>
                    </a:cubicBezTo>
                    <a:cubicBezTo>
                      <a:pt x="45" y="261"/>
                      <a:pt x="46" y="261"/>
                      <a:pt x="46" y="261"/>
                    </a:cubicBezTo>
                    <a:cubicBezTo>
                      <a:pt x="47" y="263"/>
                      <a:pt x="47" y="264"/>
                      <a:pt x="49" y="264"/>
                    </a:cubicBezTo>
                    <a:cubicBezTo>
                      <a:pt x="51" y="264"/>
                      <a:pt x="51" y="262"/>
                      <a:pt x="52" y="262"/>
                    </a:cubicBezTo>
                    <a:cubicBezTo>
                      <a:pt x="54" y="262"/>
                      <a:pt x="54" y="263"/>
                      <a:pt x="55" y="264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1" y="264"/>
                      <a:pt x="63" y="262"/>
                      <a:pt x="66" y="261"/>
                    </a:cubicBezTo>
                    <a:cubicBezTo>
                      <a:pt x="69" y="260"/>
                      <a:pt x="70" y="260"/>
                      <a:pt x="73" y="260"/>
                    </a:cubicBezTo>
                    <a:cubicBezTo>
                      <a:pt x="76" y="260"/>
                      <a:pt x="77" y="259"/>
                      <a:pt x="79" y="259"/>
                    </a:cubicBezTo>
                    <a:cubicBezTo>
                      <a:pt x="80" y="259"/>
                      <a:pt x="80" y="259"/>
                      <a:pt x="81" y="259"/>
                    </a:cubicBezTo>
                    <a:cubicBezTo>
                      <a:pt x="82" y="259"/>
                      <a:pt x="83" y="259"/>
                      <a:pt x="83" y="259"/>
                    </a:cubicBezTo>
                    <a:cubicBezTo>
                      <a:pt x="83" y="260"/>
                      <a:pt x="82" y="261"/>
                      <a:pt x="82" y="261"/>
                    </a:cubicBezTo>
                    <a:cubicBezTo>
                      <a:pt x="82" y="263"/>
                      <a:pt x="81" y="264"/>
                      <a:pt x="80" y="264"/>
                    </a:cubicBezTo>
                    <a:cubicBezTo>
                      <a:pt x="80" y="264"/>
                      <a:pt x="79" y="264"/>
                      <a:pt x="79" y="264"/>
                    </a:cubicBezTo>
                    <a:cubicBezTo>
                      <a:pt x="78" y="264"/>
                      <a:pt x="77" y="265"/>
                      <a:pt x="76" y="265"/>
                    </a:cubicBezTo>
                    <a:cubicBezTo>
                      <a:pt x="76" y="265"/>
                      <a:pt x="76" y="265"/>
                      <a:pt x="76" y="266"/>
                    </a:cubicBezTo>
                    <a:cubicBezTo>
                      <a:pt x="76" y="267"/>
                      <a:pt x="76" y="267"/>
                      <a:pt x="76" y="268"/>
                    </a:cubicBezTo>
                    <a:cubicBezTo>
                      <a:pt x="76" y="268"/>
                      <a:pt x="76" y="269"/>
                      <a:pt x="77" y="269"/>
                    </a:cubicBezTo>
                    <a:cubicBezTo>
                      <a:pt x="77" y="270"/>
                      <a:pt x="77" y="270"/>
                      <a:pt x="77" y="271"/>
                    </a:cubicBezTo>
                    <a:cubicBezTo>
                      <a:pt x="77" y="271"/>
                      <a:pt x="77" y="271"/>
                      <a:pt x="76" y="272"/>
                    </a:cubicBezTo>
                    <a:cubicBezTo>
                      <a:pt x="76" y="272"/>
                      <a:pt x="75" y="272"/>
                      <a:pt x="75" y="272"/>
                    </a:cubicBezTo>
                    <a:cubicBezTo>
                      <a:pt x="72" y="272"/>
                      <a:pt x="72" y="272"/>
                      <a:pt x="72" y="272"/>
                    </a:cubicBezTo>
                    <a:cubicBezTo>
                      <a:pt x="70" y="272"/>
                      <a:pt x="68" y="271"/>
                      <a:pt x="66" y="271"/>
                    </a:cubicBezTo>
                    <a:cubicBezTo>
                      <a:pt x="64" y="271"/>
                      <a:pt x="64" y="271"/>
                      <a:pt x="64" y="271"/>
                    </a:cubicBezTo>
                    <a:cubicBezTo>
                      <a:pt x="63" y="273"/>
                      <a:pt x="62" y="273"/>
                      <a:pt x="61" y="273"/>
                    </a:cubicBezTo>
                    <a:cubicBezTo>
                      <a:pt x="60" y="274"/>
                      <a:pt x="60" y="274"/>
                      <a:pt x="59" y="274"/>
                    </a:cubicBezTo>
                    <a:cubicBezTo>
                      <a:pt x="58" y="275"/>
                      <a:pt x="55" y="275"/>
                      <a:pt x="55" y="277"/>
                    </a:cubicBezTo>
                    <a:cubicBezTo>
                      <a:pt x="55" y="277"/>
                      <a:pt x="56" y="278"/>
                      <a:pt x="56" y="278"/>
                    </a:cubicBezTo>
                    <a:cubicBezTo>
                      <a:pt x="60" y="278"/>
                      <a:pt x="60" y="278"/>
                      <a:pt x="60" y="278"/>
                    </a:cubicBezTo>
                    <a:cubicBezTo>
                      <a:pt x="61" y="278"/>
                      <a:pt x="62" y="278"/>
                      <a:pt x="63" y="278"/>
                    </a:cubicBezTo>
                    <a:cubicBezTo>
                      <a:pt x="64" y="278"/>
                      <a:pt x="65" y="276"/>
                      <a:pt x="66" y="276"/>
                    </a:cubicBezTo>
                    <a:cubicBezTo>
                      <a:pt x="67" y="275"/>
                      <a:pt x="68" y="274"/>
                      <a:pt x="70" y="274"/>
                    </a:cubicBezTo>
                    <a:cubicBezTo>
                      <a:pt x="71" y="274"/>
                      <a:pt x="72" y="275"/>
                      <a:pt x="73" y="275"/>
                    </a:cubicBezTo>
                    <a:cubicBezTo>
                      <a:pt x="75" y="275"/>
                      <a:pt x="76" y="275"/>
                      <a:pt x="77" y="275"/>
                    </a:cubicBezTo>
                    <a:cubicBezTo>
                      <a:pt x="78" y="275"/>
                      <a:pt x="78" y="275"/>
                      <a:pt x="78" y="275"/>
                    </a:cubicBezTo>
                    <a:cubicBezTo>
                      <a:pt x="78" y="275"/>
                      <a:pt x="78" y="275"/>
                      <a:pt x="78" y="276"/>
                    </a:cubicBezTo>
                    <a:cubicBezTo>
                      <a:pt x="78" y="277"/>
                      <a:pt x="77" y="277"/>
                      <a:pt x="75" y="278"/>
                    </a:cubicBezTo>
                    <a:cubicBezTo>
                      <a:pt x="76" y="279"/>
                      <a:pt x="76" y="278"/>
                      <a:pt x="77" y="279"/>
                    </a:cubicBezTo>
                    <a:cubicBezTo>
                      <a:pt x="77" y="280"/>
                      <a:pt x="77" y="281"/>
                      <a:pt x="77" y="282"/>
                    </a:cubicBezTo>
                    <a:cubicBezTo>
                      <a:pt x="77" y="282"/>
                      <a:pt x="77" y="282"/>
                      <a:pt x="78" y="282"/>
                    </a:cubicBezTo>
                    <a:cubicBezTo>
                      <a:pt x="79" y="282"/>
                      <a:pt x="79" y="281"/>
                      <a:pt x="79" y="280"/>
                    </a:cubicBezTo>
                    <a:cubicBezTo>
                      <a:pt x="79" y="280"/>
                      <a:pt x="79" y="279"/>
                      <a:pt x="79" y="278"/>
                    </a:cubicBezTo>
                    <a:cubicBezTo>
                      <a:pt x="81" y="278"/>
                      <a:pt x="82" y="279"/>
                      <a:pt x="83" y="277"/>
                    </a:cubicBezTo>
                    <a:cubicBezTo>
                      <a:pt x="83" y="277"/>
                      <a:pt x="83" y="276"/>
                      <a:pt x="83" y="275"/>
                    </a:cubicBezTo>
                    <a:cubicBezTo>
                      <a:pt x="83" y="271"/>
                      <a:pt x="83" y="271"/>
                      <a:pt x="83" y="271"/>
                    </a:cubicBezTo>
                    <a:cubicBezTo>
                      <a:pt x="86" y="271"/>
                      <a:pt x="86" y="271"/>
                      <a:pt x="86" y="271"/>
                    </a:cubicBezTo>
                    <a:cubicBezTo>
                      <a:pt x="88" y="271"/>
                      <a:pt x="87" y="267"/>
                      <a:pt x="89" y="267"/>
                    </a:cubicBezTo>
                    <a:cubicBezTo>
                      <a:pt x="90" y="267"/>
                      <a:pt x="90" y="269"/>
                      <a:pt x="90" y="270"/>
                    </a:cubicBezTo>
                    <a:cubicBezTo>
                      <a:pt x="92" y="270"/>
                      <a:pt x="95" y="270"/>
                      <a:pt x="95" y="273"/>
                    </a:cubicBezTo>
                    <a:cubicBezTo>
                      <a:pt x="95" y="273"/>
                      <a:pt x="96" y="274"/>
                      <a:pt x="96" y="274"/>
                    </a:cubicBezTo>
                    <a:cubicBezTo>
                      <a:pt x="98" y="275"/>
                      <a:pt x="99" y="274"/>
                      <a:pt x="101" y="275"/>
                    </a:cubicBezTo>
                    <a:cubicBezTo>
                      <a:pt x="102" y="276"/>
                      <a:pt x="102" y="277"/>
                      <a:pt x="103" y="277"/>
                    </a:cubicBezTo>
                    <a:cubicBezTo>
                      <a:pt x="103" y="276"/>
                      <a:pt x="103" y="276"/>
                      <a:pt x="103" y="275"/>
                    </a:cubicBezTo>
                    <a:cubicBezTo>
                      <a:pt x="103" y="273"/>
                      <a:pt x="103" y="273"/>
                      <a:pt x="103" y="273"/>
                    </a:cubicBezTo>
                    <a:cubicBezTo>
                      <a:pt x="103" y="273"/>
                      <a:pt x="104" y="272"/>
                      <a:pt x="104" y="272"/>
                    </a:cubicBezTo>
                    <a:cubicBezTo>
                      <a:pt x="105" y="272"/>
                      <a:pt x="105" y="273"/>
                      <a:pt x="106" y="273"/>
                    </a:cubicBezTo>
                    <a:cubicBezTo>
                      <a:pt x="110" y="273"/>
                      <a:pt x="110" y="273"/>
                      <a:pt x="110" y="273"/>
                    </a:cubicBezTo>
                    <a:cubicBezTo>
                      <a:pt x="111" y="273"/>
                      <a:pt x="111" y="273"/>
                      <a:pt x="111" y="274"/>
                    </a:cubicBezTo>
                    <a:cubicBezTo>
                      <a:pt x="112" y="275"/>
                      <a:pt x="112" y="275"/>
                      <a:pt x="112" y="276"/>
                    </a:cubicBezTo>
                    <a:cubicBezTo>
                      <a:pt x="112" y="277"/>
                      <a:pt x="110" y="277"/>
                      <a:pt x="109" y="278"/>
                    </a:cubicBezTo>
                    <a:cubicBezTo>
                      <a:pt x="110" y="279"/>
                      <a:pt x="112" y="279"/>
                      <a:pt x="113" y="281"/>
                    </a:cubicBezTo>
                    <a:cubicBezTo>
                      <a:pt x="114" y="282"/>
                      <a:pt x="113" y="283"/>
                      <a:pt x="113" y="284"/>
                    </a:cubicBezTo>
                    <a:cubicBezTo>
                      <a:pt x="113" y="286"/>
                      <a:pt x="113" y="287"/>
                      <a:pt x="114" y="288"/>
                    </a:cubicBezTo>
                    <a:cubicBezTo>
                      <a:pt x="116" y="289"/>
                      <a:pt x="117" y="289"/>
                      <a:pt x="120" y="289"/>
                    </a:cubicBezTo>
                    <a:cubicBezTo>
                      <a:pt x="122" y="290"/>
                      <a:pt x="124" y="292"/>
                      <a:pt x="126" y="292"/>
                    </a:cubicBezTo>
                    <a:cubicBezTo>
                      <a:pt x="130" y="292"/>
                      <a:pt x="130" y="292"/>
                      <a:pt x="130" y="292"/>
                    </a:cubicBezTo>
                    <a:cubicBezTo>
                      <a:pt x="132" y="292"/>
                      <a:pt x="134" y="295"/>
                      <a:pt x="136" y="295"/>
                    </a:cubicBezTo>
                    <a:cubicBezTo>
                      <a:pt x="137" y="295"/>
                      <a:pt x="137" y="294"/>
                      <a:pt x="138" y="294"/>
                    </a:cubicBezTo>
                    <a:cubicBezTo>
                      <a:pt x="139" y="293"/>
                      <a:pt x="140" y="294"/>
                      <a:pt x="142" y="294"/>
                    </a:cubicBezTo>
                    <a:cubicBezTo>
                      <a:pt x="143" y="293"/>
                      <a:pt x="143" y="292"/>
                      <a:pt x="143" y="291"/>
                    </a:cubicBezTo>
                    <a:cubicBezTo>
                      <a:pt x="144" y="290"/>
                      <a:pt x="146" y="290"/>
                      <a:pt x="147" y="289"/>
                    </a:cubicBezTo>
                    <a:cubicBezTo>
                      <a:pt x="147" y="289"/>
                      <a:pt x="147" y="289"/>
                      <a:pt x="147" y="289"/>
                    </a:cubicBezTo>
                    <a:cubicBezTo>
                      <a:pt x="149" y="289"/>
                      <a:pt x="150" y="289"/>
                      <a:pt x="150" y="288"/>
                    </a:cubicBezTo>
                    <a:cubicBezTo>
                      <a:pt x="151" y="287"/>
                      <a:pt x="151" y="286"/>
                      <a:pt x="151" y="285"/>
                    </a:cubicBezTo>
                    <a:cubicBezTo>
                      <a:pt x="152" y="285"/>
                      <a:pt x="153" y="285"/>
                      <a:pt x="154" y="285"/>
                    </a:cubicBezTo>
                    <a:cubicBezTo>
                      <a:pt x="156" y="285"/>
                      <a:pt x="156" y="286"/>
                      <a:pt x="158" y="286"/>
                    </a:cubicBezTo>
                    <a:cubicBezTo>
                      <a:pt x="160" y="286"/>
                      <a:pt x="160" y="286"/>
                      <a:pt x="160" y="286"/>
                    </a:cubicBezTo>
                    <a:cubicBezTo>
                      <a:pt x="161" y="286"/>
                      <a:pt x="162" y="287"/>
                      <a:pt x="163" y="287"/>
                    </a:cubicBezTo>
                    <a:cubicBezTo>
                      <a:pt x="164" y="287"/>
                      <a:pt x="164" y="286"/>
                      <a:pt x="164" y="285"/>
                    </a:cubicBezTo>
                    <a:cubicBezTo>
                      <a:pt x="164" y="284"/>
                      <a:pt x="165" y="283"/>
                      <a:pt x="165" y="281"/>
                    </a:cubicBezTo>
                    <a:cubicBezTo>
                      <a:pt x="165" y="280"/>
                      <a:pt x="164" y="280"/>
                      <a:pt x="163" y="279"/>
                    </a:cubicBezTo>
                    <a:cubicBezTo>
                      <a:pt x="163" y="277"/>
                      <a:pt x="163" y="277"/>
                      <a:pt x="163" y="277"/>
                    </a:cubicBezTo>
                    <a:cubicBezTo>
                      <a:pt x="163" y="274"/>
                      <a:pt x="164" y="273"/>
                      <a:pt x="164" y="270"/>
                    </a:cubicBezTo>
                    <a:cubicBezTo>
                      <a:pt x="164" y="267"/>
                      <a:pt x="163" y="265"/>
                      <a:pt x="163" y="262"/>
                    </a:cubicBezTo>
                    <a:cubicBezTo>
                      <a:pt x="163" y="260"/>
                      <a:pt x="162" y="258"/>
                      <a:pt x="163" y="257"/>
                    </a:cubicBezTo>
                    <a:cubicBezTo>
                      <a:pt x="164" y="256"/>
                      <a:pt x="165" y="256"/>
                      <a:pt x="166" y="256"/>
                    </a:cubicBezTo>
                    <a:cubicBezTo>
                      <a:pt x="168" y="255"/>
                      <a:pt x="169" y="254"/>
                      <a:pt x="172" y="254"/>
                    </a:cubicBezTo>
                    <a:cubicBezTo>
                      <a:pt x="176" y="254"/>
                      <a:pt x="179" y="254"/>
                      <a:pt x="183" y="254"/>
                    </a:cubicBezTo>
                    <a:cubicBezTo>
                      <a:pt x="188" y="254"/>
                      <a:pt x="189" y="257"/>
                      <a:pt x="193" y="257"/>
                    </a:cubicBezTo>
                    <a:cubicBezTo>
                      <a:pt x="196" y="257"/>
                      <a:pt x="196" y="257"/>
                      <a:pt x="196" y="257"/>
                    </a:cubicBezTo>
                    <a:cubicBezTo>
                      <a:pt x="200" y="257"/>
                      <a:pt x="202" y="258"/>
                      <a:pt x="207" y="259"/>
                    </a:cubicBezTo>
                    <a:cubicBezTo>
                      <a:pt x="210" y="259"/>
                      <a:pt x="212" y="259"/>
                      <a:pt x="215" y="260"/>
                    </a:cubicBezTo>
                    <a:cubicBezTo>
                      <a:pt x="217" y="261"/>
                      <a:pt x="217" y="262"/>
                      <a:pt x="217" y="263"/>
                    </a:cubicBezTo>
                    <a:cubicBezTo>
                      <a:pt x="218" y="264"/>
                      <a:pt x="219" y="265"/>
                      <a:pt x="220" y="266"/>
                    </a:cubicBezTo>
                    <a:cubicBezTo>
                      <a:pt x="221" y="267"/>
                      <a:pt x="222" y="267"/>
                      <a:pt x="223" y="268"/>
                    </a:cubicBezTo>
                    <a:cubicBezTo>
                      <a:pt x="225" y="270"/>
                      <a:pt x="225" y="272"/>
                      <a:pt x="227" y="274"/>
                    </a:cubicBezTo>
                    <a:cubicBezTo>
                      <a:pt x="228" y="276"/>
                      <a:pt x="229" y="276"/>
                      <a:pt x="231" y="278"/>
                    </a:cubicBezTo>
                    <a:cubicBezTo>
                      <a:pt x="233" y="279"/>
                      <a:pt x="235" y="278"/>
                      <a:pt x="237" y="279"/>
                    </a:cubicBezTo>
                    <a:cubicBezTo>
                      <a:pt x="240" y="280"/>
                      <a:pt x="241" y="281"/>
                      <a:pt x="244" y="281"/>
                    </a:cubicBezTo>
                    <a:cubicBezTo>
                      <a:pt x="246" y="281"/>
                      <a:pt x="246" y="281"/>
                      <a:pt x="246" y="281"/>
                    </a:cubicBezTo>
                    <a:cubicBezTo>
                      <a:pt x="247" y="280"/>
                      <a:pt x="247" y="279"/>
                      <a:pt x="248" y="278"/>
                    </a:cubicBezTo>
                    <a:cubicBezTo>
                      <a:pt x="251" y="276"/>
                      <a:pt x="252" y="276"/>
                      <a:pt x="255" y="276"/>
                    </a:cubicBezTo>
                    <a:cubicBezTo>
                      <a:pt x="258" y="276"/>
                      <a:pt x="258" y="276"/>
                      <a:pt x="258" y="276"/>
                    </a:cubicBezTo>
                    <a:cubicBezTo>
                      <a:pt x="259" y="275"/>
                      <a:pt x="258" y="274"/>
                      <a:pt x="259" y="273"/>
                    </a:cubicBezTo>
                    <a:cubicBezTo>
                      <a:pt x="260" y="272"/>
                      <a:pt x="261" y="272"/>
                      <a:pt x="262" y="272"/>
                    </a:cubicBezTo>
                    <a:cubicBezTo>
                      <a:pt x="323" y="197"/>
                      <a:pt x="372" y="111"/>
                      <a:pt x="406" y="18"/>
                    </a:cubicBezTo>
                    <a:cubicBezTo>
                      <a:pt x="405" y="19"/>
                      <a:pt x="404" y="20"/>
                      <a:pt x="403" y="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6" name="Freeform 204">
                <a:extLst>
                  <a:ext uri="{FF2B5EF4-FFF2-40B4-BE49-F238E27FC236}">
                    <a16:creationId xmlns:a16="http://schemas.microsoft.com/office/drawing/2014/main" xmlns="" id="{396B4415-7AFA-4534-889A-CCB8C2A1F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1141" y="3195085"/>
                <a:ext cx="68244" cy="58674"/>
              </a:xfrm>
              <a:custGeom>
                <a:avLst/>
                <a:gdLst>
                  <a:gd name="T0" fmla="*/ 13 w 27"/>
                  <a:gd name="T1" fmla="*/ 1 h 23"/>
                  <a:gd name="T2" fmla="*/ 6 w 27"/>
                  <a:gd name="T3" fmla="*/ 7 h 23"/>
                  <a:gd name="T4" fmla="*/ 0 w 27"/>
                  <a:gd name="T5" fmla="*/ 16 h 23"/>
                  <a:gd name="T6" fmla="*/ 0 w 27"/>
                  <a:gd name="T7" fmla="*/ 16 h 23"/>
                  <a:gd name="T8" fmla="*/ 0 w 27"/>
                  <a:gd name="T9" fmla="*/ 16 h 23"/>
                  <a:gd name="T10" fmla="*/ 1 w 27"/>
                  <a:gd name="T11" fmla="*/ 16 h 23"/>
                  <a:gd name="T12" fmla="*/ 6 w 27"/>
                  <a:gd name="T13" fmla="*/ 18 h 23"/>
                  <a:gd name="T14" fmla="*/ 9 w 27"/>
                  <a:gd name="T15" fmla="*/ 20 h 23"/>
                  <a:gd name="T16" fmla="*/ 12 w 27"/>
                  <a:gd name="T17" fmla="*/ 20 h 23"/>
                  <a:gd name="T18" fmla="*/ 13 w 27"/>
                  <a:gd name="T19" fmla="*/ 22 h 23"/>
                  <a:gd name="T20" fmla="*/ 16 w 27"/>
                  <a:gd name="T21" fmla="*/ 23 h 23"/>
                  <a:gd name="T22" fmla="*/ 22 w 27"/>
                  <a:gd name="T23" fmla="*/ 23 h 23"/>
                  <a:gd name="T24" fmla="*/ 27 w 27"/>
                  <a:gd name="T25" fmla="*/ 0 h 23"/>
                  <a:gd name="T26" fmla="*/ 22 w 27"/>
                  <a:gd name="T27" fmla="*/ 1 h 23"/>
                  <a:gd name="T28" fmla="*/ 13 w 27"/>
                  <a:gd name="T2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23">
                    <a:moveTo>
                      <a:pt x="13" y="1"/>
                    </a:moveTo>
                    <a:cubicBezTo>
                      <a:pt x="9" y="2"/>
                      <a:pt x="8" y="4"/>
                      <a:pt x="6" y="7"/>
                    </a:cubicBezTo>
                    <a:cubicBezTo>
                      <a:pt x="4" y="10"/>
                      <a:pt x="3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1" y="16"/>
                      <a:pt x="1" y="16"/>
                    </a:cubicBezTo>
                    <a:cubicBezTo>
                      <a:pt x="3" y="17"/>
                      <a:pt x="4" y="17"/>
                      <a:pt x="6" y="18"/>
                    </a:cubicBezTo>
                    <a:cubicBezTo>
                      <a:pt x="7" y="18"/>
                      <a:pt x="8" y="19"/>
                      <a:pt x="9" y="20"/>
                    </a:cubicBezTo>
                    <a:cubicBezTo>
                      <a:pt x="10" y="20"/>
                      <a:pt x="11" y="19"/>
                      <a:pt x="12" y="20"/>
                    </a:cubicBezTo>
                    <a:cubicBezTo>
                      <a:pt x="13" y="21"/>
                      <a:pt x="12" y="21"/>
                      <a:pt x="13" y="22"/>
                    </a:cubicBezTo>
                    <a:cubicBezTo>
                      <a:pt x="13" y="23"/>
                      <a:pt x="14" y="23"/>
                      <a:pt x="16" y="23"/>
                    </a:cubicBezTo>
                    <a:cubicBezTo>
                      <a:pt x="18" y="23"/>
                      <a:pt x="20" y="23"/>
                      <a:pt x="22" y="23"/>
                    </a:cubicBezTo>
                    <a:cubicBezTo>
                      <a:pt x="24" y="15"/>
                      <a:pt x="26" y="7"/>
                      <a:pt x="27" y="0"/>
                    </a:cubicBezTo>
                    <a:cubicBezTo>
                      <a:pt x="25" y="0"/>
                      <a:pt x="24" y="0"/>
                      <a:pt x="22" y="1"/>
                    </a:cubicBezTo>
                    <a:cubicBezTo>
                      <a:pt x="18" y="1"/>
                      <a:pt x="16" y="0"/>
                      <a:pt x="13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7" name="Freeform 205">
                <a:extLst>
                  <a:ext uri="{FF2B5EF4-FFF2-40B4-BE49-F238E27FC236}">
                    <a16:creationId xmlns:a16="http://schemas.microsoft.com/office/drawing/2014/main" xmlns="" id="{7A935311-5B35-489D-A5C4-3A7788D69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0169" y="997819"/>
                <a:ext cx="68244" cy="57476"/>
              </a:xfrm>
              <a:custGeom>
                <a:avLst/>
                <a:gdLst>
                  <a:gd name="T0" fmla="*/ 3 w 27"/>
                  <a:gd name="T1" fmla="*/ 2 h 23"/>
                  <a:gd name="T2" fmla="*/ 1 w 27"/>
                  <a:gd name="T3" fmla="*/ 1 h 23"/>
                  <a:gd name="T4" fmla="*/ 0 w 27"/>
                  <a:gd name="T5" fmla="*/ 4 h 23"/>
                  <a:gd name="T6" fmla="*/ 2 w 27"/>
                  <a:gd name="T7" fmla="*/ 6 h 23"/>
                  <a:gd name="T8" fmla="*/ 4 w 27"/>
                  <a:gd name="T9" fmla="*/ 9 h 23"/>
                  <a:gd name="T10" fmla="*/ 7 w 27"/>
                  <a:gd name="T11" fmla="*/ 11 h 23"/>
                  <a:gd name="T12" fmla="*/ 7 w 27"/>
                  <a:gd name="T13" fmla="*/ 13 h 23"/>
                  <a:gd name="T14" fmla="*/ 9 w 27"/>
                  <a:gd name="T15" fmla="*/ 14 h 23"/>
                  <a:gd name="T16" fmla="*/ 13 w 27"/>
                  <a:gd name="T17" fmla="*/ 18 h 23"/>
                  <a:gd name="T18" fmla="*/ 17 w 27"/>
                  <a:gd name="T19" fmla="*/ 21 h 23"/>
                  <a:gd name="T20" fmla="*/ 20 w 27"/>
                  <a:gd name="T21" fmla="*/ 23 h 23"/>
                  <a:gd name="T22" fmla="*/ 23 w 27"/>
                  <a:gd name="T23" fmla="*/ 21 h 23"/>
                  <a:gd name="T24" fmla="*/ 24 w 27"/>
                  <a:gd name="T25" fmla="*/ 21 h 23"/>
                  <a:gd name="T26" fmla="*/ 26 w 27"/>
                  <a:gd name="T27" fmla="*/ 21 h 23"/>
                  <a:gd name="T28" fmla="*/ 27 w 27"/>
                  <a:gd name="T29" fmla="*/ 17 h 23"/>
                  <a:gd name="T30" fmla="*/ 27 w 27"/>
                  <a:gd name="T31" fmla="*/ 17 h 23"/>
                  <a:gd name="T32" fmla="*/ 5 w 27"/>
                  <a:gd name="T33" fmla="*/ 0 h 23"/>
                  <a:gd name="T34" fmla="*/ 5 w 27"/>
                  <a:gd name="T35" fmla="*/ 0 h 23"/>
                  <a:gd name="T36" fmla="*/ 3 w 27"/>
                  <a:gd name="T37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23">
                    <a:moveTo>
                      <a:pt x="3" y="2"/>
                    </a:moveTo>
                    <a:cubicBezTo>
                      <a:pt x="3" y="2"/>
                      <a:pt x="2" y="1"/>
                      <a:pt x="1" y="1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0" y="5"/>
                      <a:pt x="1" y="5"/>
                      <a:pt x="2" y="6"/>
                    </a:cubicBezTo>
                    <a:cubicBezTo>
                      <a:pt x="3" y="7"/>
                      <a:pt x="3" y="8"/>
                      <a:pt x="4" y="9"/>
                    </a:cubicBezTo>
                    <a:cubicBezTo>
                      <a:pt x="5" y="10"/>
                      <a:pt x="6" y="10"/>
                      <a:pt x="7" y="11"/>
                    </a:cubicBezTo>
                    <a:cubicBezTo>
                      <a:pt x="7" y="12"/>
                      <a:pt x="7" y="12"/>
                      <a:pt x="7" y="13"/>
                    </a:cubicBezTo>
                    <a:cubicBezTo>
                      <a:pt x="8" y="13"/>
                      <a:pt x="8" y="13"/>
                      <a:pt x="9" y="14"/>
                    </a:cubicBezTo>
                    <a:cubicBezTo>
                      <a:pt x="11" y="15"/>
                      <a:pt x="12" y="16"/>
                      <a:pt x="13" y="18"/>
                    </a:cubicBezTo>
                    <a:cubicBezTo>
                      <a:pt x="15" y="19"/>
                      <a:pt x="16" y="19"/>
                      <a:pt x="17" y="21"/>
                    </a:cubicBezTo>
                    <a:cubicBezTo>
                      <a:pt x="18" y="22"/>
                      <a:pt x="18" y="23"/>
                      <a:pt x="20" y="23"/>
                    </a:cubicBezTo>
                    <a:cubicBezTo>
                      <a:pt x="21" y="23"/>
                      <a:pt x="22" y="21"/>
                      <a:pt x="23" y="21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6" y="19"/>
                      <a:pt x="26" y="18"/>
                      <a:pt x="27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0" y="11"/>
                      <a:pt x="12" y="6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4" y="2"/>
                      <a:pt x="3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8" name="Freeform 207">
                <a:extLst>
                  <a:ext uri="{FF2B5EF4-FFF2-40B4-BE49-F238E27FC236}">
                    <a16:creationId xmlns:a16="http://schemas.microsoft.com/office/drawing/2014/main" xmlns="" id="{E4F2E345-6964-41D7-A409-321B485B6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5597" y="1045716"/>
                <a:ext cx="2394" cy="2394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9" name="Freeform 208">
                <a:extLst>
                  <a:ext uri="{FF2B5EF4-FFF2-40B4-BE49-F238E27FC236}">
                    <a16:creationId xmlns:a16="http://schemas.microsoft.com/office/drawing/2014/main" xmlns="" id="{9CA7B1D8-EC7B-428C-BE59-AE66C9343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234" y="777493"/>
                <a:ext cx="1293051" cy="2458304"/>
              </a:xfrm>
              <a:custGeom>
                <a:avLst/>
                <a:gdLst>
                  <a:gd name="T0" fmla="*/ 21 w 512"/>
                  <a:gd name="T1" fmla="*/ 57 h 973"/>
                  <a:gd name="T2" fmla="*/ 33 w 512"/>
                  <a:gd name="T3" fmla="*/ 109 h 973"/>
                  <a:gd name="T4" fmla="*/ 45 w 512"/>
                  <a:gd name="T5" fmla="*/ 156 h 973"/>
                  <a:gd name="T6" fmla="*/ 73 w 512"/>
                  <a:gd name="T7" fmla="*/ 185 h 973"/>
                  <a:gd name="T8" fmla="*/ 59 w 512"/>
                  <a:gd name="T9" fmla="*/ 231 h 973"/>
                  <a:gd name="T10" fmla="*/ 27 w 512"/>
                  <a:gd name="T11" fmla="*/ 274 h 973"/>
                  <a:gd name="T12" fmla="*/ 19 w 512"/>
                  <a:gd name="T13" fmla="*/ 306 h 973"/>
                  <a:gd name="T14" fmla="*/ 29 w 512"/>
                  <a:gd name="T15" fmla="*/ 294 h 973"/>
                  <a:gd name="T16" fmla="*/ 36 w 512"/>
                  <a:gd name="T17" fmla="*/ 304 h 973"/>
                  <a:gd name="T18" fmla="*/ 39 w 512"/>
                  <a:gd name="T19" fmla="*/ 312 h 973"/>
                  <a:gd name="T20" fmla="*/ 53 w 512"/>
                  <a:gd name="T21" fmla="*/ 315 h 973"/>
                  <a:gd name="T22" fmla="*/ 64 w 512"/>
                  <a:gd name="T23" fmla="*/ 328 h 973"/>
                  <a:gd name="T24" fmla="*/ 44 w 512"/>
                  <a:gd name="T25" fmla="*/ 337 h 973"/>
                  <a:gd name="T26" fmla="*/ 30 w 512"/>
                  <a:gd name="T27" fmla="*/ 338 h 973"/>
                  <a:gd name="T28" fmla="*/ 24 w 512"/>
                  <a:gd name="T29" fmla="*/ 360 h 973"/>
                  <a:gd name="T30" fmla="*/ 20 w 512"/>
                  <a:gd name="T31" fmla="*/ 406 h 973"/>
                  <a:gd name="T32" fmla="*/ 26 w 512"/>
                  <a:gd name="T33" fmla="*/ 439 h 973"/>
                  <a:gd name="T34" fmla="*/ 39 w 512"/>
                  <a:gd name="T35" fmla="*/ 473 h 973"/>
                  <a:gd name="T36" fmla="*/ 62 w 512"/>
                  <a:gd name="T37" fmla="*/ 499 h 973"/>
                  <a:gd name="T38" fmla="*/ 84 w 512"/>
                  <a:gd name="T39" fmla="*/ 504 h 973"/>
                  <a:gd name="T40" fmla="*/ 105 w 512"/>
                  <a:gd name="T41" fmla="*/ 501 h 973"/>
                  <a:gd name="T42" fmla="*/ 120 w 512"/>
                  <a:gd name="T43" fmla="*/ 539 h 973"/>
                  <a:gd name="T44" fmla="*/ 151 w 512"/>
                  <a:gd name="T45" fmla="*/ 571 h 973"/>
                  <a:gd name="T46" fmla="*/ 170 w 512"/>
                  <a:gd name="T47" fmla="*/ 593 h 973"/>
                  <a:gd name="T48" fmla="*/ 145 w 512"/>
                  <a:gd name="T49" fmla="*/ 617 h 973"/>
                  <a:gd name="T50" fmla="*/ 170 w 512"/>
                  <a:gd name="T51" fmla="*/ 658 h 973"/>
                  <a:gd name="T52" fmla="*/ 211 w 512"/>
                  <a:gd name="T53" fmla="*/ 639 h 973"/>
                  <a:gd name="T54" fmla="*/ 232 w 512"/>
                  <a:gd name="T55" fmla="*/ 666 h 973"/>
                  <a:gd name="T56" fmla="*/ 261 w 512"/>
                  <a:gd name="T57" fmla="*/ 675 h 973"/>
                  <a:gd name="T58" fmla="*/ 282 w 512"/>
                  <a:gd name="T59" fmla="*/ 705 h 973"/>
                  <a:gd name="T60" fmla="*/ 330 w 512"/>
                  <a:gd name="T61" fmla="*/ 693 h 973"/>
                  <a:gd name="T62" fmla="*/ 365 w 512"/>
                  <a:gd name="T63" fmla="*/ 703 h 973"/>
                  <a:gd name="T64" fmla="*/ 396 w 512"/>
                  <a:gd name="T65" fmla="*/ 712 h 973"/>
                  <a:gd name="T66" fmla="*/ 415 w 512"/>
                  <a:gd name="T67" fmla="*/ 720 h 973"/>
                  <a:gd name="T68" fmla="*/ 414 w 512"/>
                  <a:gd name="T69" fmla="*/ 743 h 973"/>
                  <a:gd name="T70" fmla="*/ 423 w 512"/>
                  <a:gd name="T71" fmla="*/ 770 h 973"/>
                  <a:gd name="T72" fmla="*/ 403 w 512"/>
                  <a:gd name="T73" fmla="*/ 793 h 973"/>
                  <a:gd name="T74" fmla="*/ 384 w 512"/>
                  <a:gd name="T75" fmla="*/ 817 h 973"/>
                  <a:gd name="T76" fmla="*/ 395 w 512"/>
                  <a:gd name="T77" fmla="*/ 823 h 973"/>
                  <a:gd name="T78" fmla="*/ 406 w 512"/>
                  <a:gd name="T79" fmla="*/ 819 h 973"/>
                  <a:gd name="T80" fmla="*/ 410 w 512"/>
                  <a:gd name="T81" fmla="*/ 829 h 973"/>
                  <a:gd name="T82" fmla="*/ 396 w 512"/>
                  <a:gd name="T83" fmla="*/ 844 h 973"/>
                  <a:gd name="T84" fmla="*/ 388 w 512"/>
                  <a:gd name="T85" fmla="*/ 851 h 973"/>
                  <a:gd name="T86" fmla="*/ 377 w 512"/>
                  <a:gd name="T87" fmla="*/ 859 h 973"/>
                  <a:gd name="T88" fmla="*/ 404 w 512"/>
                  <a:gd name="T89" fmla="*/ 872 h 973"/>
                  <a:gd name="T90" fmla="*/ 399 w 512"/>
                  <a:gd name="T91" fmla="*/ 881 h 973"/>
                  <a:gd name="T92" fmla="*/ 389 w 512"/>
                  <a:gd name="T93" fmla="*/ 881 h 973"/>
                  <a:gd name="T94" fmla="*/ 375 w 512"/>
                  <a:gd name="T95" fmla="*/ 911 h 973"/>
                  <a:gd name="T96" fmla="*/ 360 w 512"/>
                  <a:gd name="T97" fmla="*/ 912 h 973"/>
                  <a:gd name="T98" fmla="*/ 356 w 512"/>
                  <a:gd name="T99" fmla="*/ 920 h 973"/>
                  <a:gd name="T100" fmla="*/ 376 w 512"/>
                  <a:gd name="T101" fmla="*/ 923 h 973"/>
                  <a:gd name="T102" fmla="*/ 395 w 512"/>
                  <a:gd name="T103" fmla="*/ 935 h 973"/>
                  <a:gd name="T104" fmla="*/ 434 w 512"/>
                  <a:gd name="T105" fmla="*/ 951 h 973"/>
                  <a:gd name="T106" fmla="*/ 490 w 512"/>
                  <a:gd name="T107" fmla="*/ 958 h 973"/>
                  <a:gd name="T108" fmla="*/ 194 w 512"/>
                  <a:gd name="T109" fmla="*/ 123 h 973"/>
                  <a:gd name="T110" fmla="*/ 182 w 512"/>
                  <a:gd name="T111" fmla="*/ 125 h 973"/>
                  <a:gd name="T112" fmla="*/ 169 w 512"/>
                  <a:gd name="T113" fmla="*/ 128 h 973"/>
                  <a:gd name="T114" fmla="*/ 148 w 512"/>
                  <a:gd name="T115" fmla="*/ 119 h 973"/>
                  <a:gd name="T116" fmla="*/ 134 w 512"/>
                  <a:gd name="T117" fmla="*/ 114 h 973"/>
                  <a:gd name="T118" fmla="*/ 124 w 512"/>
                  <a:gd name="T119" fmla="*/ 105 h 973"/>
                  <a:gd name="T120" fmla="*/ 119 w 512"/>
                  <a:gd name="T121" fmla="*/ 89 h 973"/>
                  <a:gd name="T122" fmla="*/ 115 w 512"/>
                  <a:gd name="T123" fmla="*/ 71 h 973"/>
                  <a:gd name="T124" fmla="*/ 80 w 512"/>
                  <a:gd name="T125" fmla="*/ 43 h 9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2" h="973">
                    <a:moveTo>
                      <a:pt x="6" y="9"/>
                    </a:moveTo>
                    <a:cubicBezTo>
                      <a:pt x="5" y="12"/>
                      <a:pt x="4" y="14"/>
                      <a:pt x="3" y="17"/>
                    </a:cubicBezTo>
                    <a:cubicBezTo>
                      <a:pt x="1" y="19"/>
                      <a:pt x="1" y="21"/>
                      <a:pt x="0" y="24"/>
                    </a:cubicBezTo>
                    <a:cubicBezTo>
                      <a:pt x="3" y="27"/>
                      <a:pt x="4" y="30"/>
                      <a:pt x="5" y="35"/>
                    </a:cubicBezTo>
                    <a:cubicBezTo>
                      <a:pt x="5" y="35"/>
                      <a:pt x="6" y="36"/>
                      <a:pt x="6" y="37"/>
                    </a:cubicBezTo>
                    <a:cubicBezTo>
                      <a:pt x="7" y="40"/>
                      <a:pt x="9" y="42"/>
                      <a:pt x="12" y="46"/>
                    </a:cubicBezTo>
                    <a:cubicBezTo>
                      <a:pt x="13" y="47"/>
                      <a:pt x="13" y="48"/>
                      <a:pt x="15" y="50"/>
                    </a:cubicBezTo>
                    <a:cubicBezTo>
                      <a:pt x="17" y="52"/>
                      <a:pt x="19" y="54"/>
                      <a:pt x="21" y="57"/>
                    </a:cubicBezTo>
                    <a:cubicBezTo>
                      <a:pt x="23" y="61"/>
                      <a:pt x="24" y="63"/>
                      <a:pt x="24" y="67"/>
                    </a:cubicBezTo>
                    <a:cubicBezTo>
                      <a:pt x="24" y="74"/>
                      <a:pt x="21" y="77"/>
                      <a:pt x="21" y="83"/>
                    </a:cubicBezTo>
                    <a:cubicBezTo>
                      <a:pt x="21" y="85"/>
                      <a:pt x="23" y="85"/>
                      <a:pt x="24" y="87"/>
                    </a:cubicBezTo>
                    <a:cubicBezTo>
                      <a:pt x="24" y="87"/>
                      <a:pt x="25" y="87"/>
                      <a:pt x="25" y="87"/>
                    </a:cubicBezTo>
                    <a:cubicBezTo>
                      <a:pt x="25" y="89"/>
                      <a:pt x="25" y="89"/>
                      <a:pt x="25" y="90"/>
                    </a:cubicBezTo>
                    <a:cubicBezTo>
                      <a:pt x="25" y="94"/>
                      <a:pt x="25" y="95"/>
                      <a:pt x="25" y="98"/>
                    </a:cubicBezTo>
                    <a:cubicBezTo>
                      <a:pt x="25" y="102"/>
                      <a:pt x="26" y="104"/>
                      <a:pt x="28" y="106"/>
                    </a:cubicBezTo>
                    <a:cubicBezTo>
                      <a:pt x="29" y="108"/>
                      <a:pt x="31" y="108"/>
                      <a:pt x="33" y="109"/>
                    </a:cubicBezTo>
                    <a:cubicBezTo>
                      <a:pt x="34" y="110"/>
                      <a:pt x="35" y="111"/>
                      <a:pt x="35" y="112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5" y="119"/>
                      <a:pt x="36" y="120"/>
                      <a:pt x="37" y="122"/>
                    </a:cubicBezTo>
                    <a:cubicBezTo>
                      <a:pt x="38" y="124"/>
                      <a:pt x="40" y="124"/>
                      <a:pt x="41" y="126"/>
                    </a:cubicBezTo>
                    <a:cubicBezTo>
                      <a:pt x="43" y="129"/>
                      <a:pt x="43" y="132"/>
                      <a:pt x="43" y="135"/>
                    </a:cubicBezTo>
                    <a:cubicBezTo>
                      <a:pt x="40" y="148"/>
                      <a:pt x="40" y="148"/>
                      <a:pt x="40" y="148"/>
                    </a:cubicBezTo>
                    <a:cubicBezTo>
                      <a:pt x="41" y="150"/>
                      <a:pt x="41" y="152"/>
                      <a:pt x="42" y="153"/>
                    </a:cubicBezTo>
                    <a:cubicBezTo>
                      <a:pt x="43" y="154"/>
                      <a:pt x="44" y="155"/>
                      <a:pt x="45" y="156"/>
                    </a:cubicBezTo>
                    <a:cubicBezTo>
                      <a:pt x="47" y="157"/>
                      <a:pt x="48" y="158"/>
                      <a:pt x="48" y="160"/>
                    </a:cubicBezTo>
                    <a:cubicBezTo>
                      <a:pt x="50" y="162"/>
                      <a:pt x="50" y="164"/>
                      <a:pt x="51" y="165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53" y="167"/>
                      <a:pt x="54" y="166"/>
                      <a:pt x="54" y="167"/>
                    </a:cubicBezTo>
                    <a:cubicBezTo>
                      <a:pt x="55" y="167"/>
                      <a:pt x="56" y="167"/>
                      <a:pt x="57" y="168"/>
                    </a:cubicBezTo>
                    <a:cubicBezTo>
                      <a:pt x="60" y="169"/>
                      <a:pt x="61" y="171"/>
                      <a:pt x="63" y="174"/>
                    </a:cubicBezTo>
                    <a:cubicBezTo>
                      <a:pt x="65" y="176"/>
                      <a:pt x="67" y="176"/>
                      <a:pt x="68" y="178"/>
                    </a:cubicBezTo>
                    <a:cubicBezTo>
                      <a:pt x="71" y="181"/>
                      <a:pt x="72" y="182"/>
                      <a:pt x="73" y="185"/>
                    </a:cubicBezTo>
                    <a:cubicBezTo>
                      <a:pt x="74" y="187"/>
                      <a:pt x="76" y="188"/>
                      <a:pt x="76" y="190"/>
                    </a:cubicBezTo>
                    <a:cubicBezTo>
                      <a:pt x="76" y="194"/>
                      <a:pt x="75" y="197"/>
                      <a:pt x="74" y="200"/>
                    </a:cubicBezTo>
                    <a:cubicBezTo>
                      <a:pt x="74" y="201"/>
                      <a:pt x="74" y="201"/>
                      <a:pt x="74" y="201"/>
                    </a:cubicBezTo>
                    <a:cubicBezTo>
                      <a:pt x="73" y="204"/>
                      <a:pt x="71" y="205"/>
                      <a:pt x="70" y="207"/>
                    </a:cubicBezTo>
                    <a:cubicBezTo>
                      <a:pt x="68" y="212"/>
                      <a:pt x="67" y="215"/>
                      <a:pt x="65" y="219"/>
                    </a:cubicBezTo>
                    <a:cubicBezTo>
                      <a:pt x="64" y="221"/>
                      <a:pt x="64" y="222"/>
                      <a:pt x="63" y="225"/>
                    </a:cubicBezTo>
                    <a:cubicBezTo>
                      <a:pt x="62" y="226"/>
                      <a:pt x="61" y="227"/>
                      <a:pt x="60" y="229"/>
                    </a:cubicBezTo>
                    <a:cubicBezTo>
                      <a:pt x="60" y="229"/>
                      <a:pt x="60" y="230"/>
                      <a:pt x="59" y="231"/>
                    </a:cubicBezTo>
                    <a:cubicBezTo>
                      <a:pt x="58" y="233"/>
                      <a:pt x="57" y="233"/>
                      <a:pt x="55" y="235"/>
                    </a:cubicBezTo>
                    <a:cubicBezTo>
                      <a:pt x="54" y="237"/>
                      <a:pt x="54" y="237"/>
                      <a:pt x="53" y="238"/>
                    </a:cubicBezTo>
                    <a:cubicBezTo>
                      <a:pt x="53" y="239"/>
                      <a:pt x="52" y="240"/>
                      <a:pt x="51" y="240"/>
                    </a:cubicBezTo>
                    <a:cubicBezTo>
                      <a:pt x="50" y="243"/>
                      <a:pt x="50" y="244"/>
                      <a:pt x="48" y="246"/>
                    </a:cubicBezTo>
                    <a:cubicBezTo>
                      <a:pt x="45" y="251"/>
                      <a:pt x="42" y="252"/>
                      <a:pt x="38" y="257"/>
                    </a:cubicBezTo>
                    <a:cubicBezTo>
                      <a:pt x="37" y="258"/>
                      <a:pt x="37" y="259"/>
                      <a:pt x="36" y="260"/>
                    </a:cubicBezTo>
                    <a:cubicBezTo>
                      <a:pt x="34" y="264"/>
                      <a:pt x="32" y="265"/>
                      <a:pt x="30" y="269"/>
                    </a:cubicBezTo>
                    <a:cubicBezTo>
                      <a:pt x="29" y="270"/>
                      <a:pt x="28" y="272"/>
                      <a:pt x="27" y="274"/>
                    </a:cubicBezTo>
                    <a:cubicBezTo>
                      <a:pt x="26" y="275"/>
                      <a:pt x="25" y="275"/>
                      <a:pt x="24" y="277"/>
                    </a:cubicBezTo>
                    <a:cubicBezTo>
                      <a:pt x="22" y="281"/>
                      <a:pt x="21" y="283"/>
                      <a:pt x="18" y="288"/>
                    </a:cubicBezTo>
                    <a:cubicBezTo>
                      <a:pt x="16" y="290"/>
                      <a:pt x="16" y="291"/>
                      <a:pt x="14" y="294"/>
                    </a:cubicBezTo>
                    <a:cubicBezTo>
                      <a:pt x="13" y="296"/>
                      <a:pt x="12" y="298"/>
                      <a:pt x="12" y="300"/>
                    </a:cubicBezTo>
                    <a:cubicBezTo>
                      <a:pt x="12" y="302"/>
                      <a:pt x="12" y="303"/>
                      <a:pt x="13" y="304"/>
                    </a:cubicBezTo>
                    <a:cubicBezTo>
                      <a:pt x="14" y="304"/>
                      <a:pt x="14" y="304"/>
                      <a:pt x="15" y="304"/>
                    </a:cubicBezTo>
                    <a:cubicBezTo>
                      <a:pt x="15" y="305"/>
                      <a:pt x="15" y="305"/>
                      <a:pt x="15" y="306"/>
                    </a:cubicBezTo>
                    <a:cubicBezTo>
                      <a:pt x="17" y="306"/>
                      <a:pt x="17" y="306"/>
                      <a:pt x="19" y="306"/>
                    </a:cubicBezTo>
                    <a:cubicBezTo>
                      <a:pt x="20" y="306"/>
                      <a:pt x="20" y="306"/>
                      <a:pt x="21" y="306"/>
                    </a:cubicBezTo>
                    <a:cubicBezTo>
                      <a:pt x="22" y="306"/>
                      <a:pt x="22" y="306"/>
                      <a:pt x="23" y="306"/>
                    </a:cubicBezTo>
                    <a:cubicBezTo>
                      <a:pt x="23" y="306"/>
                      <a:pt x="24" y="306"/>
                      <a:pt x="25" y="306"/>
                    </a:cubicBezTo>
                    <a:cubicBezTo>
                      <a:pt x="25" y="305"/>
                      <a:pt x="25" y="305"/>
                      <a:pt x="25" y="305"/>
                    </a:cubicBezTo>
                    <a:cubicBezTo>
                      <a:pt x="25" y="304"/>
                      <a:pt x="24" y="304"/>
                      <a:pt x="24" y="303"/>
                    </a:cubicBezTo>
                    <a:cubicBezTo>
                      <a:pt x="24" y="302"/>
                      <a:pt x="25" y="301"/>
                      <a:pt x="25" y="299"/>
                    </a:cubicBezTo>
                    <a:cubicBezTo>
                      <a:pt x="26" y="297"/>
                      <a:pt x="25" y="296"/>
                      <a:pt x="27" y="295"/>
                    </a:cubicBezTo>
                    <a:cubicBezTo>
                      <a:pt x="28" y="295"/>
                      <a:pt x="28" y="295"/>
                      <a:pt x="29" y="294"/>
                    </a:cubicBezTo>
                    <a:cubicBezTo>
                      <a:pt x="30" y="294"/>
                      <a:pt x="30" y="293"/>
                      <a:pt x="31" y="292"/>
                    </a:cubicBezTo>
                    <a:cubicBezTo>
                      <a:pt x="32" y="290"/>
                      <a:pt x="33" y="290"/>
                      <a:pt x="35" y="290"/>
                    </a:cubicBezTo>
                    <a:cubicBezTo>
                      <a:pt x="36" y="290"/>
                      <a:pt x="36" y="290"/>
                      <a:pt x="36" y="290"/>
                    </a:cubicBezTo>
                    <a:cubicBezTo>
                      <a:pt x="36" y="292"/>
                      <a:pt x="37" y="294"/>
                      <a:pt x="36" y="295"/>
                    </a:cubicBezTo>
                    <a:cubicBezTo>
                      <a:pt x="35" y="296"/>
                      <a:pt x="34" y="296"/>
                      <a:pt x="34" y="297"/>
                    </a:cubicBezTo>
                    <a:cubicBezTo>
                      <a:pt x="34" y="298"/>
                      <a:pt x="35" y="298"/>
                      <a:pt x="35" y="299"/>
                    </a:cubicBezTo>
                    <a:cubicBezTo>
                      <a:pt x="36" y="300"/>
                      <a:pt x="36" y="301"/>
                      <a:pt x="36" y="303"/>
                    </a:cubicBezTo>
                    <a:cubicBezTo>
                      <a:pt x="36" y="304"/>
                      <a:pt x="36" y="304"/>
                      <a:pt x="36" y="304"/>
                    </a:cubicBezTo>
                    <a:cubicBezTo>
                      <a:pt x="33" y="304"/>
                      <a:pt x="33" y="301"/>
                      <a:pt x="31" y="301"/>
                    </a:cubicBezTo>
                    <a:cubicBezTo>
                      <a:pt x="30" y="301"/>
                      <a:pt x="30" y="301"/>
                      <a:pt x="30" y="301"/>
                    </a:cubicBezTo>
                    <a:cubicBezTo>
                      <a:pt x="30" y="301"/>
                      <a:pt x="30" y="301"/>
                      <a:pt x="30" y="302"/>
                    </a:cubicBezTo>
                    <a:cubicBezTo>
                      <a:pt x="30" y="302"/>
                      <a:pt x="30" y="302"/>
                      <a:pt x="30" y="303"/>
                    </a:cubicBezTo>
                    <a:cubicBezTo>
                      <a:pt x="30" y="303"/>
                      <a:pt x="30" y="303"/>
                      <a:pt x="30" y="304"/>
                    </a:cubicBezTo>
                    <a:cubicBezTo>
                      <a:pt x="32" y="304"/>
                      <a:pt x="34" y="306"/>
                      <a:pt x="35" y="308"/>
                    </a:cubicBezTo>
                    <a:cubicBezTo>
                      <a:pt x="35" y="309"/>
                      <a:pt x="35" y="310"/>
                      <a:pt x="36" y="310"/>
                    </a:cubicBezTo>
                    <a:cubicBezTo>
                      <a:pt x="37" y="312"/>
                      <a:pt x="38" y="311"/>
                      <a:pt x="39" y="312"/>
                    </a:cubicBezTo>
                    <a:cubicBezTo>
                      <a:pt x="39" y="310"/>
                      <a:pt x="39" y="310"/>
                      <a:pt x="39" y="310"/>
                    </a:cubicBezTo>
                    <a:cubicBezTo>
                      <a:pt x="40" y="310"/>
                      <a:pt x="40" y="310"/>
                      <a:pt x="40" y="310"/>
                    </a:cubicBezTo>
                    <a:cubicBezTo>
                      <a:pt x="41" y="310"/>
                      <a:pt x="42" y="312"/>
                      <a:pt x="43" y="313"/>
                    </a:cubicBezTo>
                    <a:cubicBezTo>
                      <a:pt x="44" y="314"/>
                      <a:pt x="45" y="314"/>
                      <a:pt x="46" y="315"/>
                    </a:cubicBezTo>
                    <a:cubicBezTo>
                      <a:pt x="47" y="315"/>
                      <a:pt x="46" y="316"/>
                      <a:pt x="47" y="317"/>
                    </a:cubicBezTo>
                    <a:cubicBezTo>
                      <a:pt x="48" y="317"/>
                      <a:pt x="49" y="317"/>
                      <a:pt x="50" y="317"/>
                    </a:cubicBezTo>
                    <a:cubicBezTo>
                      <a:pt x="50" y="317"/>
                      <a:pt x="51" y="317"/>
                      <a:pt x="51" y="317"/>
                    </a:cubicBezTo>
                    <a:cubicBezTo>
                      <a:pt x="52" y="317"/>
                      <a:pt x="52" y="316"/>
                      <a:pt x="53" y="315"/>
                    </a:cubicBezTo>
                    <a:cubicBezTo>
                      <a:pt x="56" y="315"/>
                      <a:pt x="56" y="315"/>
                      <a:pt x="56" y="315"/>
                    </a:cubicBezTo>
                    <a:cubicBezTo>
                      <a:pt x="58" y="315"/>
                      <a:pt x="60" y="315"/>
                      <a:pt x="62" y="316"/>
                    </a:cubicBezTo>
                    <a:cubicBezTo>
                      <a:pt x="63" y="317"/>
                      <a:pt x="63" y="318"/>
                      <a:pt x="63" y="319"/>
                    </a:cubicBezTo>
                    <a:cubicBezTo>
                      <a:pt x="64" y="321"/>
                      <a:pt x="65" y="321"/>
                      <a:pt x="67" y="322"/>
                    </a:cubicBezTo>
                    <a:cubicBezTo>
                      <a:pt x="68" y="323"/>
                      <a:pt x="68" y="324"/>
                      <a:pt x="69" y="324"/>
                    </a:cubicBezTo>
                    <a:cubicBezTo>
                      <a:pt x="70" y="324"/>
                      <a:pt x="71" y="324"/>
                      <a:pt x="72" y="325"/>
                    </a:cubicBezTo>
                    <a:cubicBezTo>
                      <a:pt x="70" y="326"/>
                      <a:pt x="70" y="328"/>
                      <a:pt x="68" y="328"/>
                    </a:cubicBezTo>
                    <a:cubicBezTo>
                      <a:pt x="64" y="328"/>
                      <a:pt x="64" y="328"/>
                      <a:pt x="64" y="328"/>
                    </a:cubicBezTo>
                    <a:cubicBezTo>
                      <a:pt x="64" y="328"/>
                      <a:pt x="64" y="328"/>
                      <a:pt x="64" y="328"/>
                    </a:cubicBezTo>
                    <a:cubicBezTo>
                      <a:pt x="60" y="328"/>
                      <a:pt x="58" y="326"/>
                      <a:pt x="54" y="326"/>
                    </a:cubicBezTo>
                    <a:cubicBezTo>
                      <a:pt x="53" y="326"/>
                      <a:pt x="51" y="326"/>
                      <a:pt x="50" y="327"/>
                    </a:cubicBezTo>
                    <a:cubicBezTo>
                      <a:pt x="50" y="327"/>
                      <a:pt x="50" y="328"/>
                      <a:pt x="49" y="328"/>
                    </a:cubicBezTo>
                    <a:cubicBezTo>
                      <a:pt x="48" y="329"/>
                      <a:pt x="47" y="329"/>
                      <a:pt x="47" y="330"/>
                    </a:cubicBezTo>
                    <a:cubicBezTo>
                      <a:pt x="47" y="331"/>
                      <a:pt x="47" y="332"/>
                      <a:pt x="47" y="333"/>
                    </a:cubicBezTo>
                    <a:cubicBezTo>
                      <a:pt x="47" y="335"/>
                      <a:pt x="47" y="335"/>
                      <a:pt x="47" y="335"/>
                    </a:cubicBezTo>
                    <a:cubicBezTo>
                      <a:pt x="46" y="336"/>
                      <a:pt x="46" y="337"/>
                      <a:pt x="44" y="337"/>
                    </a:cubicBezTo>
                    <a:cubicBezTo>
                      <a:pt x="41" y="337"/>
                      <a:pt x="41" y="337"/>
                      <a:pt x="41" y="337"/>
                    </a:cubicBezTo>
                    <a:cubicBezTo>
                      <a:pt x="39" y="337"/>
                      <a:pt x="38" y="335"/>
                      <a:pt x="37" y="335"/>
                    </a:cubicBezTo>
                    <a:cubicBezTo>
                      <a:pt x="36" y="335"/>
                      <a:pt x="35" y="335"/>
                      <a:pt x="35" y="336"/>
                    </a:cubicBezTo>
                    <a:cubicBezTo>
                      <a:pt x="34" y="336"/>
                      <a:pt x="35" y="337"/>
                      <a:pt x="35" y="337"/>
                    </a:cubicBezTo>
                    <a:cubicBezTo>
                      <a:pt x="35" y="338"/>
                      <a:pt x="34" y="338"/>
                      <a:pt x="34" y="339"/>
                    </a:cubicBezTo>
                    <a:cubicBezTo>
                      <a:pt x="33" y="340"/>
                      <a:pt x="33" y="342"/>
                      <a:pt x="32" y="342"/>
                    </a:cubicBezTo>
                    <a:cubicBezTo>
                      <a:pt x="32" y="342"/>
                      <a:pt x="32" y="341"/>
                      <a:pt x="31" y="341"/>
                    </a:cubicBezTo>
                    <a:cubicBezTo>
                      <a:pt x="30" y="340"/>
                      <a:pt x="30" y="339"/>
                      <a:pt x="30" y="338"/>
                    </a:cubicBezTo>
                    <a:cubicBezTo>
                      <a:pt x="30" y="337"/>
                      <a:pt x="29" y="336"/>
                      <a:pt x="28" y="336"/>
                    </a:cubicBezTo>
                    <a:cubicBezTo>
                      <a:pt x="27" y="336"/>
                      <a:pt x="25" y="337"/>
                      <a:pt x="25" y="339"/>
                    </a:cubicBezTo>
                    <a:cubicBezTo>
                      <a:pt x="25" y="342"/>
                      <a:pt x="27" y="344"/>
                      <a:pt x="27" y="347"/>
                    </a:cubicBezTo>
                    <a:cubicBezTo>
                      <a:pt x="27" y="349"/>
                      <a:pt x="26" y="349"/>
                      <a:pt x="26" y="350"/>
                    </a:cubicBezTo>
                    <a:cubicBezTo>
                      <a:pt x="26" y="350"/>
                      <a:pt x="26" y="350"/>
                      <a:pt x="26" y="350"/>
                    </a:cubicBezTo>
                    <a:cubicBezTo>
                      <a:pt x="27" y="351"/>
                      <a:pt x="28" y="352"/>
                      <a:pt x="28" y="354"/>
                    </a:cubicBezTo>
                    <a:cubicBezTo>
                      <a:pt x="28" y="355"/>
                      <a:pt x="28" y="355"/>
                      <a:pt x="27" y="356"/>
                    </a:cubicBezTo>
                    <a:cubicBezTo>
                      <a:pt x="26" y="358"/>
                      <a:pt x="25" y="358"/>
                      <a:pt x="24" y="360"/>
                    </a:cubicBezTo>
                    <a:cubicBezTo>
                      <a:pt x="23" y="362"/>
                      <a:pt x="23" y="364"/>
                      <a:pt x="22" y="366"/>
                    </a:cubicBezTo>
                    <a:cubicBezTo>
                      <a:pt x="21" y="369"/>
                      <a:pt x="21" y="370"/>
                      <a:pt x="20" y="372"/>
                    </a:cubicBezTo>
                    <a:cubicBezTo>
                      <a:pt x="20" y="374"/>
                      <a:pt x="19" y="374"/>
                      <a:pt x="19" y="375"/>
                    </a:cubicBezTo>
                    <a:cubicBezTo>
                      <a:pt x="18" y="376"/>
                      <a:pt x="17" y="377"/>
                      <a:pt x="17" y="378"/>
                    </a:cubicBezTo>
                    <a:cubicBezTo>
                      <a:pt x="17" y="380"/>
                      <a:pt x="18" y="381"/>
                      <a:pt x="19" y="382"/>
                    </a:cubicBezTo>
                    <a:cubicBezTo>
                      <a:pt x="19" y="384"/>
                      <a:pt x="19" y="386"/>
                      <a:pt x="19" y="388"/>
                    </a:cubicBezTo>
                    <a:cubicBezTo>
                      <a:pt x="19" y="388"/>
                      <a:pt x="20" y="389"/>
                      <a:pt x="20" y="389"/>
                    </a:cubicBezTo>
                    <a:cubicBezTo>
                      <a:pt x="20" y="406"/>
                      <a:pt x="20" y="406"/>
                      <a:pt x="20" y="406"/>
                    </a:cubicBezTo>
                    <a:cubicBezTo>
                      <a:pt x="20" y="407"/>
                      <a:pt x="21" y="407"/>
                      <a:pt x="21" y="408"/>
                    </a:cubicBezTo>
                    <a:cubicBezTo>
                      <a:pt x="22" y="411"/>
                      <a:pt x="22" y="413"/>
                      <a:pt x="23" y="416"/>
                    </a:cubicBezTo>
                    <a:cubicBezTo>
                      <a:pt x="23" y="417"/>
                      <a:pt x="23" y="417"/>
                      <a:pt x="23" y="418"/>
                    </a:cubicBezTo>
                    <a:cubicBezTo>
                      <a:pt x="23" y="420"/>
                      <a:pt x="22" y="421"/>
                      <a:pt x="21" y="422"/>
                    </a:cubicBezTo>
                    <a:cubicBezTo>
                      <a:pt x="20" y="424"/>
                      <a:pt x="19" y="425"/>
                      <a:pt x="19" y="427"/>
                    </a:cubicBezTo>
                    <a:cubicBezTo>
                      <a:pt x="17" y="429"/>
                      <a:pt x="17" y="432"/>
                      <a:pt x="16" y="435"/>
                    </a:cubicBezTo>
                    <a:cubicBezTo>
                      <a:pt x="19" y="436"/>
                      <a:pt x="21" y="436"/>
                      <a:pt x="24" y="438"/>
                    </a:cubicBezTo>
                    <a:cubicBezTo>
                      <a:pt x="24" y="438"/>
                      <a:pt x="25" y="438"/>
                      <a:pt x="26" y="439"/>
                    </a:cubicBezTo>
                    <a:cubicBezTo>
                      <a:pt x="26" y="439"/>
                      <a:pt x="26" y="440"/>
                      <a:pt x="27" y="441"/>
                    </a:cubicBezTo>
                    <a:cubicBezTo>
                      <a:pt x="28" y="445"/>
                      <a:pt x="28" y="447"/>
                      <a:pt x="28" y="452"/>
                    </a:cubicBezTo>
                    <a:cubicBezTo>
                      <a:pt x="28" y="454"/>
                      <a:pt x="28" y="456"/>
                      <a:pt x="29" y="458"/>
                    </a:cubicBezTo>
                    <a:cubicBezTo>
                      <a:pt x="30" y="460"/>
                      <a:pt x="30" y="461"/>
                      <a:pt x="31" y="462"/>
                    </a:cubicBezTo>
                    <a:cubicBezTo>
                      <a:pt x="31" y="462"/>
                      <a:pt x="32" y="462"/>
                      <a:pt x="32" y="462"/>
                    </a:cubicBezTo>
                    <a:cubicBezTo>
                      <a:pt x="34" y="464"/>
                      <a:pt x="34" y="466"/>
                      <a:pt x="35" y="467"/>
                    </a:cubicBezTo>
                    <a:cubicBezTo>
                      <a:pt x="36" y="469"/>
                      <a:pt x="38" y="470"/>
                      <a:pt x="39" y="471"/>
                    </a:cubicBezTo>
                    <a:cubicBezTo>
                      <a:pt x="39" y="472"/>
                      <a:pt x="39" y="472"/>
                      <a:pt x="39" y="473"/>
                    </a:cubicBezTo>
                    <a:cubicBezTo>
                      <a:pt x="41" y="475"/>
                      <a:pt x="43" y="475"/>
                      <a:pt x="44" y="477"/>
                    </a:cubicBezTo>
                    <a:cubicBezTo>
                      <a:pt x="44" y="480"/>
                      <a:pt x="44" y="481"/>
                      <a:pt x="44" y="483"/>
                    </a:cubicBezTo>
                    <a:cubicBezTo>
                      <a:pt x="44" y="487"/>
                      <a:pt x="45" y="489"/>
                      <a:pt x="46" y="493"/>
                    </a:cubicBezTo>
                    <a:cubicBezTo>
                      <a:pt x="48" y="495"/>
                      <a:pt x="49" y="496"/>
                      <a:pt x="51" y="496"/>
                    </a:cubicBezTo>
                    <a:cubicBezTo>
                      <a:pt x="54" y="496"/>
                      <a:pt x="55" y="495"/>
                      <a:pt x="57" y="495"/>
                    </a:cubicBezTo>
                    <a:cubicBezTo>
                      <a:pt x="58" y="495"/>
                      <a:pt x="58" y="494"/>
                      <a:pt x="58" y="494"/>
                    </a:cubicBezTo>
                    <a:cubicBezTo>
                      <a:pt x="59" y="494"/>
                      <a:pt x="59" y="496"/>
                      <a:pt x="60" y="496"/>
                    </a:cubicBezTo>
                    <a:cubicBezTo>
                      <a:pt x="60" y="498"/>
                      <a:pt x="61" y="498"/>
                      <a:pt x="62" y="499"/>
                    </a:cubicBezTo>
                    <a:cubicBezTo>
                      <a:pt x="63" y="498"/>
                      <a:pt x="65" y="497"/>
                      <a:pt x="67" y="497"/>
                    </a:cubicBezTo>
                    <a:cubicBezTo>
                      <a:pt x="69" y="497"/>
                      <a:pt x="69" y="497"/>
                      <a:pt x="71" y="497"/>
                    </a:cubicBezTo>
                    <a:cubicBezTo>
                      <a:pt x="73" y="498"/>
                      <a:pt x="74" y="498"/>
                      <a:pt x="76" y="499"/>
                    </a:cubicBezTo>
                    <a:cubicBezTo>
                      <a:pt x="76" y="500"/>
                      <a:pt x="76" y="500"/>
                      <a:pt x="76" y="501"/>
                    </a:cubicBezTo>
                    <a:cubicBezTo>
                      <a:pt x="76" y="504"/>
                      <a:pt x="76" y="506"/>
                      <a:pt x="77" y="509"/>
                    </a:cubicBezTo>
                    <a:cubicBezTo>
                      <a:pt x="78" y="509"/>
                      <a:pt x="78" y="509"/>
                      <a:pt x="78" y="509"/>
                    </a:cubicBezTo>
                    <a:cubicBezTo>
                      <a:pt x="79" y="509"/>
                      <a:pt x="78" y="508"/>
                      <a:pt x="79" y="508"/>
                    </a:cubicBezTo>
                    <a:cubicBezTo>
                      <a:pt x="81" y="507"/>
                      <a:pt x="82" y="506"/>
                      <a:pt x="84" y="504"/>
                    </a:cubicBezTo>
                    <a:cubicBezTo>
                      <a:pt x="84" y="504"/>
                      <a:pt x="84" y="504"/>
                      <a:pt x="85" y="503"/>
                    </a:cubicBezTo>
                    <a:cubicBezTo>
                      <a:pt x="85" y="503"/>
                      <a:pt x="86" y="503"/>
                      <a:pt x="87" y="503"/>
                    </a:cubicBezTo>
                    <a:cubicBezTo>
                      <a:pt x="88" y="503"/>
                      <a:pt x="88" y="501"/>
                      <a:pt x="89" y="500"/>
                    </a:cubicBezTo>
                    <a:cubicBezTo>
                      <a:pt x="91" y="500"/>
                      <a:pt x="92" y="499"/>
                      <a:pt x="93" y="499"/>
                    </a:cubicBezTo>
                    <a:cubicBezTo>
                      <a:pt x="95" y="499"/>
                      <a:pt x="95" y="500"/>
                      <a:pt x="96" y="500"/>
                    </a:cubicBezTo>
                    <a:cubicBezTo>
                      <a:pt x="98" y="500"/>
                      <a:pt x="99" y="499"/>
                      <a:pt x="100" y="499"/>
                    </a:cubicBezTo>
                    <a:cubicBezTo>
                      <a:pt x="102" y="499"/>
                      <a:pt x="102" y="499"/>
                      <a:pt x="103" y="499"/>
                    </a:cubicBezTo>
                    <a:cubicBezTo>
                      <a:pt x="104" y="500"/>
                      <a:pt x="104" y="501"/>
                      <a:pt x="105" y="501"/>
                    </a:cubicBezTo>
                    <a:cubicBezTo>
                      <a:pt x="105" y="502"/>
                      <a:pt x="106" y="502"/>
                      <a:pt x="107" y="502"/>
                    </a:cubicBezTo>
                    <a:cubicBezTo>
                      <a:pt x="109" y="503"/>
                      <a:pt x="111" y="502"/>
                      <a:pt x="113" y="503"/>
                    </a:cubicBezTo>
                    <a:cubicBezTo>
                      <a:pt x="116" y="505"/>
                      <a:pt x="117" y="506"/>
                      <a:pt x="118" y="509"/>
                    </a:cubicBezTo>
                    <a:cubicBezTo>
                      <a:pt x="119" y="511"/>
                      <a:pt x="120" y="512"/>
                      <a:pt x="120" y="515"/>
                    </a:cubicBezTo>
                    <a:cubicBezTo>
                      <a:pt x="120" y="522"/>
                      <a:pt x="120" y="522"/>
                      <a:pt x="120" y="522"/>
                    </a:cubicBezTo>
                    <a:cubicBezTo>
                      <a:pt x="120" y="525"/>
                      <a:pt x="121" y="526"/>
                      <a:pt x="121" y="529"/>
                    </a:cubicBezTo>
                    <a:cubicBezTo>
                      <a:pt x="121" y="531"/>
                      <a:pt x="121" y="532"/>
                      <a:pt x="120" y="535"/>
                    </a:cubicBezTo>
                    <a:cubicBezTo>
                      <a:pt x="120" y="536"/>
                      <a:pt x="121" y="537"/>
                      <a:pt x="120" y="539"/>
                    </a:cubicBezTo>
                    <a:cubicBezTo>
                      <a:pt x="120" y="540"/>
                      <a:pt x="119" y="541"/>
                      <a:pt x="119" y="543"/>
                    </a:cubicBezTo>
                    <a:cubicBezTo>
                      <a:pt x="119" y="546"/>
                      <a:pt x="119" y="546"/>
                      <a:pt x="119" y="546"/>
                    </a:cubicBezTo>
                    <a:cubicBezTo>
                      <a:pt x="121" y="546"/>
                      <a:pt x="123" y="547"/>
                      <a:pt x="125" y="548"/>
                    </a:cubicBezTo>
                    <a:cubicBezTo>
                      <a:pt x="127" y="549"/>
                      <a:pt x="129" y="550"/>
                      <a:pt x="131" y="552"/>
                    </a:cubicBezTo>
                    <a:cubicBezTo>
                      <a:pt x="133" y="554"/>
                      <a:pt x="134" y="556"/>
                      <a:pt x="136" y="559"/>
                    </a:cubicBezTo>
                    <a:cubicBezTo>
                      <a:pt x="138" y="562"/>
                      <a:pt x="139" y="565"/>
                      <a:pt x="143" y="567"/>
                    </a:cubicBezTo>
                    <a:cubicBezTo>
                      <a:pt x="144" y="567"/>
                      <a:pt x="146" y="567"/>
                      <a:pt x="148" y="568"/>
                    </a:cubicBezTo>
                    <a:cubicBezTo>
                      <a:pt x="149" y="568"/>
                      <a:pt x="151" y="569"/>
                      <a:pt x="151" y="571"/>
                    </a:cubicBezTo>
                    <a:cubicBezTo>
                      <a:pt x="151" y="576"/>
                      <a:pt x="151" y="576"/>
                      <a:pt x="151" y="576"/>
                    </a:cubicBezTo>
                    <a:cubicBezTo>
                      <a:pt x="152" y="581"/>
                      <a:pt x="152" y="581"/>
                      <a:pt x="152" y="581"/>
                    </a:cubicBezTo>
                    <a:cubicBezTo>
                      <a:pt x="155" y="581"/>
                      <a:pt x="156" y="580"/>
                      <a:pt x="159" y="580"/>
                    </a:cubicBezTo>
                    <a:cubicBezTo>
                      <a:pt x="160" y="580"/>
                      <a:pt x="161" y="581"/>
                      <a:pt x="162" y="582"/>
                    </a:cubicBezTo>
                    <a:cubicBezTo>
                      <a:pt x="163" y="582"/>
                      <a:pt x="164" y="582"/>
                      <a:pt x="165" y="582"/>
                    </a:cubicBezTo>
                    <a:cubicBezTo>
                      <a:pt x="167" y="583"/>
                      <a:pt x="169" y="584"/>
                      <a:pt x="169" y="586"/>
                    </a:cubicBezTo>
                    <a:cubicBezTo>
                      <a:pt x="169" y="588"/>
                      <a:pt x="167" y="589"/>
                      <a:pt x="167" y="591"/>
                    </a:cubicBezTo>
                    <a:cubicBezTo>
                      <a:pt x="167" y="593"/>
                      <a:pt x="169" y="593"/>
                      <a:pt x="170" y="593"/>
                    </a:cubicBezTo>
                    <a:cubicBezTo>
                      <a:pt x="173" y="594"/>
                      <a:pt x="175" y="596"/>
                      <a:pt x="175" y="599"/>
                    </a:cubicBezTo>
                    <a:cubicBezTo>
                      <a:pt x="175" y="602"/>
                      <a:pt x="174" y="603"/>
                      <a:pt x="172" y="605"/>
                    </a:cubicBezTo>
                    <a:cubicBezTo>
                      <a:pt x="170" y="606"/>
                      <a:pt x="169" y="607"/>
                      <a:pt x="168" y="608"/>
                    </a:cubicBezTo>
                    <a:cubicBezTo>
                      <a:pt x="164" y="610"/>
                      <a:pt x="162" y="612"/>
                      <a:pt x="158" y="612"/>
                    </a:cubicBezTo>
                    <a:cubicBezTo>
                      <a:pt x="158" y="612"/>
                      <a:pt x="157" y="612"/>
                      <a:pt x="157" y="611"/>
                    </a:cubicBezTo>
                    <a:cubicBezTo>
                      <a:pt x="155" y="611"/>
                      <a:pt x="154" y="611"/>
                      <a:pt x="152" y="611"/>
                    </a:cubicBezTo>
                    <a:cubicBezTo>
                      <a:pt x="146" y="611"/>
                      <a:pt x="146" y="611"/>
                      <a:pt x="146" y="611"/>
                    </a:cubicBezTo>
                    <a:cubicBezTo>
                      <a:pt x="146" y="613"/>
                      <a:pt x="145" y="615"/>
                      <a:pt x="145" y="617"/>
                    </a:cubicBezTo>
                    <a:cubicBezTo>
                      <a:pt x="145" y="618"/>
                      <a:pt x="144" y="618"/>
                      <a:pt x="144" y="619"/>
                    </a:cubicBezTo>
                    <a:cubicBezTo>
                      <a:pt x="144" y="621"/>
                      <a:pt x="146" y="621"/>
                      <a:pt x="147" y="622"/>
                    </a:cubicBezTo>
                    <a:cubicBezTo>
                      <a:pt x="150" y="624"/>
                      <a:pt x="151" y="625"/>
                      <a:pt x="153" y="627"/>
                    </a:cubicBezTo>
                    <a:cubicBezTo>
                      <a:pt x="155" y="630"/>
                      <a:pt x="156" y="633"/>
                      <a:pt x="157" y="637"/>
                    </a:cubicBezTo>
                    <a:cubicBezTo>
                      <a:pt x="158" y="641"/>
                      <a:pt x="159" y="643"/>
                      <a:pt x="159" y="646"/>
                    </a:cubicBezTo>
                    <a:cubicBezTo>
                      <a:pt x="160" y="649"/>
                      <a:pt x="160" y="651"/>
                      <a:pt x="161" y="653"/>
                    </a:cubicBezTo>
                    <a:cubicBezTo>
                      <a:pt x="161" y="655"/>
                      <a:pt x="161" y="656"/>
                      <a:pt x="162" y="658"/>
                    </a:cubicBezTo>
                    <a:cubicBezTo>
                      <a:pt x="165" y="658"/>
                      <a:pt x="167" y="658"/>
                      <a:pt x="170" y="658"/>
                    </a:cubicBezTo>
                    <a:cubicBezTo>
                      <a:pt x="171" y="658"/>
                      <a:pt x="172" y="659"/>
                      <a:pt x="173" y="659"/>
                    </a:cubicBezTo>
                    <a:cubicBezTo>
                      <a:pt x="175" y="659"/>
                      <a:pt x="176" y="659"/>
                      <a:pt x="176" y="658"/>
                    </a:cubicBezTo>
                    <a:cubicBezTo>
                      <a:pt x="178" y="655"/>
                      <a:pt x="178" y="653"/>
                      <a:pt x="179" y="651"/>
                    </a:cubicBezTo>
                    <a:cubicBezTo>
                      <a:pt x="180" y="649"/>
                      <a:pt x="181" y="648"/>
                      <a:pt x="181" y="647"/>
                    </a:cubicBezTo>
                    <a:cubicBezTo>
                      <a:pt x="182" y="645"/>
                      <a:pt x="182" y="643"/>
                      <a:pt x="184" y="643"/>
                    </a:cubicBezTo>
                    <a:cubicBezTo>
                      <a:pt x="186" y="643"/>
                      <a:pt x="188" y="643"/>
                      <a:pt x="190" y="643"/>
                    </a:cubicBezTo>
                    <a:cubicBezTo>
                      <a:pt x="195" y="643"/>
                      <a:pt x="198" y="643"/>
                      <a:pt x="203" y="641"/>
                    </a:cubicBezTo>
                    <a:cubicBezTo>
                      <a:pt x="206" y="640"/>
                      <a:pt x="208" y="639"/>
                      <a:pt x="211" y="639"/>
                    </a:cubicBezTo>
                    <a:cubicBezTo>
                      <a:pt x="215" y="639"/>
                      <a:pt x="217" y="640"/>
                      <a:pt x="221" y="640"/>
                    </a:cubicBezTo>
                    <a:cubicBezTo>
                      <a:pt x="221" y="641"/>
                      <a:pt x="221" y="642"/>
                      <a:pt x="222" y="643"/>
                    </a:cubicBezTo>
                    <a:cubicBezTo>
                      <a:pt x="222" y="645"/>
                      <a:pt x="224" y="645"/>
                      <a:pt x="225" y="647"/>
                    </a:cubicBezTo>
                    <a:cubicBezTo>
                      <a:pt x="226" y="648"/>
                      <a:pt x="226" y="649"/>
                      <a:pt x="228" y="649"/>
                    </a:cubicBezTo>
                    <a:cubicBezTo>
                      <a:pt x="231" y="651"/>
                      <a:pt x="234" y="654"/>
                      <a:pt x="234" y="658"/>
                    </a:cubicBezTo>
                    <a:cubicBezTo>
                      <a:pt x="234" y="659"/>
                      <a:pt x="233" y="660"/>
                      <a:pt x="232" y="662"/>
                    </a:cubicBezTo>
                    <a:cubicBezTo>
                      <a:pt x="231" y="662"/>
                      <a:pt x="230" y="663"/>
                      <a:pt x="230" y="664"/>
                    </a:cubicBezTo>
                    <a:cubicBezTo>
                      <a:pt x="230" y="665"/>
                      <a:pt x="232" y="665"/>
                      <a:pt x="232" y="666"/>
                    </a:cubicBezTo>
                    <a:cubicBezTo>
                      <a:pt x="234" y="668"/>
                      <a:pt x="234" y="669"/>
                      <a:pt x="234" y="671"/>
                    </a:cubicBezTo>
                    <a:cubicBezTo>
                      <a:pt x="235" y="672"/>
                      <a:pt x="235" y="673"/>
                      <a:pt x="235" y="675"/>
                    </a:cubicBezTo>
                    <a:cubicBezTo>
                      <a:pt x="235" y="676"/>
                      <a:pt x="236" y="677"/>
                      <a:pt x="237" y="677"/>
                    </a:cubicBezTo>
                    <a:cubicBezTo>
                      <a:pt x="237" y="677"/>
                      <a:pt x="237" y="677"/>
                      <a:pt x="238" y="677"/>
                    </a:cubicBezTo>
                    <a:cubicBezTo>
                      <a:pt x="240" y="676"/>
                      <a:pt x="241" y="676"/>
                      <a:pt x="243" y="676"/>
                    </a:cubicBezTo>
                    <a:cubicBezTo>
                      <a:pt x="246" y="676"/>
                      <a:pt x="248" y="677"/>
                      <a:pt x="251" y="677"/>
                    </a:cubicBezTo>
                    <a:cubicBezTo>
                      <a:pt x="254" y="677"/>
                      <a:pt x="255" y="673"/>
                      <a:pt x="259" y="673"/>
                    </a:cubicBezTo>
                    <a:cubicBezTo>
                      <a:pt x="260" y="673"/>
                      <a:pt x="260" y="674"/>
                      <a:pt x="261" y="675"/>
                    </a:cubicBezTo>
                    <a:cubicBezTo>
                      <a:pt x="262" y="676"/>
                      <a:pt x="263" y="677"/>
                      <a:pt x="264" y="678"/>
                    </a:cubicBezTo>
                    <a:cubicBezTo>
                      <a:pt x="266" y="679"/>
                      <a:pt x="267" y="680"/>
                      <a:pt x="269" y="681"/>
                    </a:cubicBezTo>
                    <a:cubicBezTo>
                      <a:pt x="270" y="682"/>
                      <a:pt x="271" y="683"/>
                      <a:pt x="272" y="684"/>
                    </a:cubicBezTo>
                    <a:cubicBezTo>
                      <a:pt x="272" y="685"/>
                      <a:pt x="272" y="686"/>
                      <a:pt x="272" y="687"/>
                    </a:cubicBezTo>
                    <a:cubicBezTo>
                      <a:pt x="272" y="688"/>
                      <a:pt x="273" y="689"/>
                      <a:pt x="274" y="691"/>
                    </a:cubicBezTo>
                    <a:cubicBezTo>
                      <a:pt x="275" y="693"/>
                      <a:pt x="276" y="695"/>
                      <a:pt x="276" y="697"/>
                    </a:cubicBezTo>
                    <a:cubicBezTo>
                      <a:pt x="276" y="699"/>
                      <a:pt x="276" y="700"/>
                      <a:pt x="277" y="701"/>
                    </a:cubicBezTo>
                    <a:cubicBezTo>
                      <a:pt x="278" y="703"/>
                      <a:pt x="280" y="704"/>
                      <a:pt x="282" y="705"/>
                    </a:cubicBezTo>
                    <a:cubicBezTo>
                      <a:pt x="284" y="706"/>
                      <a:pt x="284" y="707"/>
                      <a:pt x="286" y="708"/>
                    </a:cubicBezTo>
                    <a:cubicBezTo>
                      <a:pt x="286" y="708"/>
                      <a:pt x="286" y="709"/>
                      <a:pt x="287" y="709"/>
                    </a:cubicBezTo>
                    <a:cubicBezTo>
                      <a:pt x="290" y="709"/>
                      <a:pt x="290" y="706"/>
                      <a:pt x="293" y="705"/>
                    </a:cubicBezTo>
                    <a:cubicBezTo>
                      <a:pt x="295" y="704"/>
                      <a:pt x="297" y="703"/>
                      <a:pt x="299" y="703"/>
                    </a:cubicBezTo>
                    <a:cubicBezTo>
                      <a:pt x="304" y="703"/>
                      <a:pt x="307" y="706"/>
                      <a:pt x="312" y="706"/>
                    </a:cubicBezTo>
                    <a:cubicBezTo>
                      <a:pt x="315" y="706"/>
                      <a:pt x="317" y="704"/>
                      <a:pt x="319" y="702"/>
                    </a:cubicBezTo>
                    <a:cubicBezTo>
                      <a:pt x="321" y="701"/>
                      <a:pt x="322" y="700"/>
                      <a:pt x="323" y="699"/>
                    </a:cubicBezTo>
                    <a:cubicBezTo>
                      <a:pt x="326" y="697"/>
                      <a:pt x="328" y="696"/>
                      <a:pt x="330" y="693"/>
                    </a:cubicBezTo>
                    <a:cubicBezTo>
                      <a:pt x="332" y="692"/>
                      <a:pt x="332" y="690"/>
                      <a:pt x="333" y="689"/>
                    </a:cubicBezTo>
                    <a:cubicBezTo>
                      <a:pt x="335" y="694"/>
                      <a:pt x="336" y="698"/>
                      <a:pt x="341" y="701"/>
                    </a:cubicBezTo>
                    <a:cubicBezTo>
                      <a:pt x="344" y="702"/>
                      <a:pt x="345" y="704"/>
                      <a:pt x="348" y="705"/>
                    </a:cubicBezTo>
                    <a:cubicBezTo>
                      <a:pt x="349" y="705"/>
                      <a:pt x="349" y="704"/>
                      <a:pt x="349" y="705"/>
                    </a:cubicBezTo>
                    <a:cubicBezTo>
                      <a:pt x="351" y="705"/>
                      <a:pt x="352" y="707"/>
                      <a:pt x="354" y="707"/>
                    </a:cubicBezTo>
                    <a:cubicBezTo>
                      <a:pt x="356" y="707"/>
                      <a:pt x="356" y="705"/>
                      <a:pt x="356" y="704"/>
                    </a:cubicBezTo>
                    <a:cubicBezTo>
                      <a:pt x="357" y="702"/>
                      <a:pt x="358" y="700"/>
                      <a:pt x="361" y="700"/>
                    </a:cubicBezTo>
                    <a:cubicBezTo>
                      <a:pt x="363" y="700"/>
                      <a:pt x="364" y="702"/>
                      <a:pt x="365" y="703"/>
                    </a:cubicBezTo>
                    <a:cubicBezTo>
                      <a:pt x="367" y="705"/>
                      <a:pt x="368" y="706"/>
                      <a:pt x="370" y="707"/>
                    </a:cubicBezTo>
                    <a:cubicBezTo>
                      <a:pt x="372" y="708"/>
                      <a:pt x="374" y="709"/>
                      <a:pt x="376" y="710"/>
                    </a:cubicBezTo>
                    <a:cubicBezTo>
                      <a:pt x="377" y="710"/>
                      <a:pt x="378" y="710"/>
                      <a:pt x="379" y="710"/>
                    </a:cubicBezTo>
                    <a:cubicBezTo>
                      <a:pt x="381" y="710"/>
                      <a:pt x="382" y="709"/>
                      <a:pt x="383" y="708"/>
                    </a:cubicBezTo>
                    <a:cubicBezTo>
                      <a:pt x="383" y="707"/>
                      <a:pt x="384" y="706"/>
                      <a:pt x="385" y="706"/>
                    </a:cubicBezTo>
                    <a:cubicBezTo>
                      <a:pt x="385" y="706"/>
                      <a:pt x="385" y="707"/>
                      <a:pt x="386" y="707"/>
                    </a:cubicBezTo>
                    <a:cubicBezTo>
                      <a:pt x="388" y="708"/>
                      <a:pt x="388" y="713"/>
                      <a:pt x="391" y="713"/>
                    </a:cubicBezTo>
                    <a:cubicBezTo>
                      <a:pt x="393" y="713"/>
                      <a:pt x="394" y="712"/>
                      <a:pt x="396" y="712"/>
                    </a:cubicBezTo>
                    <a:cubicBezTo>
                      <a:pt x="397" y="712"/>
                      <a:pt x="398" y="713"/>
                      <a:pt x="400" y="714"/>
                    </a:cubicBezTo>
                    <a:cubicBezTo>
                      <a:pt x="403" y="715"/>
                      <a:pt x="404" y="715"/>
                      <a:pt x="407" y="715"/>
                    </a:cubicBezTo>
                    <a:cubicBezTo>
                      <a:pt x="409" y="714"/>
                      <a:pt x="409" y="712"/>
                      <a:pt x="411" y="712"/>
                    </a:cubicBezTo>
                    <a:cubicBezTo>
                      <a:pt x="412" y="712"/>
                      <a:pt x="413" y="713"/>
                      <a:pt x="414" y="713"/>
                    </a:cubicBezTo>
                    <a:cubicBezTo>
                      <a:pt x="416" y="713"/>
                      <a:pt x="416" y="713"/>
                      <a:pt x="416" y="713"/>
                    </a:cubicBezTo>
                    <a:cubicBezTo>
                      <a:pt x="415" y="714"/>
                      <a:pt x="415" y="715"/>
                      <a:pt x="414" y="716"/>
                    </a:cubicBezTo>
                    <a:cubicBezTo>
                      <a:pt x="414" y="717"/>
                      <a:pt x="414" y="717"/>
                      <a:pt x="414" y="717"/>
                    </a:cubicBezTo>
                    <a:cubicBezTo>
                      <a:pt x="414" y="719"/>
                      <a:pt x="415" y="719"/>
                      <a:pt x="415" y="720"/>
                    </a:cubicBezTo>
                    <a:cubicBezTo>
                      <a:pt x="416" y="722"/>
                      <a:pt x="417" y="724"/>
                      <a:pt x="417" y="726"/>
                    </a:cubicBezTo>
                    <a:cubicBezTo>
                      <a:pt x="417" y="728"/>
                      <a:pt x="415" y="730"/>
                      <a:pt x="413" y="731"/>
                    </a:cubicBezTo>
                    <a:cubicBezTo>
                      <a:pt x="412" y="732"/>
                      <a:pt x="412" y="733"/>
                      <a:pt x="411" y="734"/>
                    </a:cubicBezTo>
                    <a:cubicBezTo>
                      <a:pt x="410" y="736"/>
                      <a:pt x="408" y="737"/>
                      <a:pt x="408" y="739"/>
                    </a:cubicBezTo>
                    <a:cubicBezTo>
                      <a:pt x="408" y="740"/>
                      <a:pt x="409" y="740"/>
                      <a:pt x="411" y="740"/>
                    </a:cubicBezTo>
                    <a:cubicBezTo>
                      <a:pt x="413" y="740"/>
                      <a:pt x="414" y="740"/>
                      <a:pt x="417" y="740"/>
                    </a:cubicBezTo>
                    <a:cubicBezTo>
                      <a:pt x="417" y="741"/>
                      <a:pt x="417" y="741"/>
                      <a:pt x="417" y="741"/>
                    </a:cubicBezTo>
                    <a:cubicBezTo>
                      <a:pt x="417" y="743"/>
                      <a:pt x="416" y="743"/>
                      <a:pt x="414" y="743"/>
                    </a:cubicBezTo>
                    <a:cubicBezTo>
                      <a:pt x="413" y="744"/>
                      <a:pt x="412" y="745"/>
                      <a:pt x="410" y="746"/>
                    </a:cubicBezTo>
                    <a:cubicBezTo>
                      <a:pt x="408" y="748"/>
                      <a:pt x="405" y="749"/>
                      <a:pt x="405" y="752"/>
                    </a:cubicBezTo>
                    <a:cubicBezTo>
                      <a:pt x="405" y="754"/>
                      <a:pt x="405" y="755"/>
                      <a:pt x="405" y="757"/>
                    </a:cubicBezTo>
                    <a:cubicBezTo>
                      <a:pt x="406" y="757"/>
                      <a:pt x="407" y="757"/>
                      <a:pt x="408" y="757"/>
                    </a:cubicBezTo>
                    <a:cubicBezTo>
                      <a:pt x="409" y="757"/>
                      <a:pt x="410" y="756"/>
                      <a:pt x="411" y="756"/>
                    </a:cubicBezTo>
                    <a:cubicBezTo>
                      <a:pt x="412" y="756"/>
                      <a:pt x="413" y="757"/>
                      <a:pt x="414" y="757"/>
                    </a:cubicBezTo>
                    <a:cubicBezTo>
                      <a:pt x="417" y="758"/>
                      <a:pt x="420" y="759"/>
                      <a:pt x="422" y="762"/>
                    </a:cubicBezTo>
                    <a:cubicBezTo>
                      <a:pt x="423" y="765"/>
                      <a:pt x="423" y="767"/>
                      <a:pt x="423" y="770"/>
                    </a:cubicBezTo>
                    <a:cubicBezTo>
                      <a:pt x="424" y="772"/>
                      <a:pt x="424" y="774"/>
                      <a:pt x="424" y="776"/>
                    </a:cubicBezTo>
                    <a:cubicBezTo>
                      <a:pt x="424" y="778"/>
                      <a:pt x="424" y="779"/>
                      <a:pt x="423" y="780"/>
                    </a:cubicBezTo>
                    <a:cubicBezTo>
                      <a:pt x="423" y="782"/>
                      <a:pt x="423" y="783"/>
                      <a:pt x="423" y="785"/>
                    </a:cubicBezTo>
                    <a:cubicBezTo>
                      <a:pt x="422" y="786"/>
                      <a:pt x="422" y="787"/>
                      <a:pt x="422" y="788"/>
                    </a:cubicBezTo>
                    <a:cubicBezTo>
                      <a:pt x="421" y="790"/>
                      <a:pt x="421" y="792"/>
                      <a:pt x="419" y="792"/>
                    </a:cubicBezTo>
                    <a:cubicBezTo>
                      <a:pt x="418" y="792"/>
                      <a:pt x="418" y="792"/>
                      <a:pt x="417" y="792"/>
                    </a:cubicBezTo>
                    <a:cubicBezTo>
                      <a:pt x="413" y="791"/>
                      <a:pt x="411" y="792"/>
                      <a:pt x="407" y="792"/>
                    </a:cubicBezTo>
                    <a:cubicBezTo>
                      <a:pt x="406" y="792"/>
                      <a:pt x="405" y="792"/>
                      <a:pt x="403" y="793"/>
                    </a:cubicBezTo>
                    <a:cubicBezTo>
                      <a:pt x="401" y="793"/>
                      <a:pt x="400" y="793"/>
                      <a:pt x="399" y="794"/>
                    </a:cubicBezTo>
                    <a:cubicBezTo>
                      <a:pt x="397" y="794"/>
                      <a:pt x="396" y="795"/>
                      <a:pt x="396" y="796"/>
                    </a:cubicBezTo>
                    <a:cubicBezTo>
                      <a:pt x="395" y="798"/>
                      <a:pt x="395" y="800"/>
                      <a:pt x="394" y="801"/>
                    </a:cubicBezTo>
                    <a:cubicBezTo>
                      <a:pt x="394" y="802"/>
                      <a:pt x="393" y="803"/>
                      <a:pt x="393" y="804"/>
                    </a:cubicBezTo>
                    <a:cubicBezTo>
                      <a:pt x="393" y="804"/>
                      <a:pt x="393" y="804"/>
                      <a:pt x="392" y="805"/>
                    </a:cubicBezTo>
                    <a:cubicBezTo>
                      <a:pt x="390" y="806"/>
                      <a:pt x="388" y="806"/>
                      <a:pt x="386" y="808"/>
                    </a:cubicBezTo>
                    <a:cubicBezTo>
                      <a:pt x="385" y="809"/>
                      <a:pt x="386" y="810"/>
                      <a:pt x="385" y="812"/>
                    </a:cubicBezTo>
                    <a:cubicBezTo>
                      <a:pt x="385" y="814"/>
                      <a:pt x="384" y="815"/>
                      <a:pt x="384" y="817"/>
                    </a:cubicBezTo>
                    <a:cubicBezTo>
                      <a:pt x="384" y="818"/>
                      <a:pt x="385" y="819"/>
                      <a:pt x="385" y="821"/>
                    </a:cubicBezTo>
                    <a:cubicBezTo>
                      <a:pt x="385" y="825"/>
                      <a:pt x="383" y="826"/>
                      <a:pt x="383" y="830"/>
                    </a:cubicBezTo>
                    <a:cubicBezTo>
                      <a:pt x="383" y="831"/>
                      <a:pt x="383" y="830"/>
                      <a:pt x="383" y="831"/>
                    </a:cubicBezTo>
                    <a:cubicBezTo>
                      <a:pt x="384" y="831"/>
                      <a:pt x="384" y="831"/>
                      <a:pt x="384" y="831"/>
                    </a:cubicBezTo>
                    <a:cubicBezTo>
                      <a:pt x="386" y="830"/>
                      <a:pt x="387" y="830"/>
                      <a:pt x="388" y="829"/>
                    </a:cubicBezTo>
                    <a:cubicBezTo>
                      <a:pt x="390" y="828"/>
                      <a:pt x="390" y="826"/>
                      <a:pt x="392" y="824"/>
                    </a:cubicBezTo>
                    <a:cubicBezTo>
                      <a:pt x="393" y="824"/>
                      <a:pt x="393" y="823"/>
                      <a:pt x="394" y="823"/>
                    </a:cubicBezTo>
                    <a:cubicBezTo>
                      <a:pt x="395" y="823"/>
                      <a:pt x="395" y="823"/>
                      <a:pt x="395" y="823"/>
                    </a:cubicBezTo>
                    <a:cubicBezTo>
                      <a:pt x="395" y="823"/>
                      <a:pt x="395" y="823"/>
                      <a:pt x="395" y="823"/>
                    </a:cubicBezTo>
                    <a:cubicBezTo>
                      <a:pt x="394" y="825"/>
                      <a:pt x="394" y="826"/>
                      <a:pt x="393" y="828"/>
                    </a:cubicBezTo>
                    <a:cubicBezTo>
                      <a:pt x="393" y="828"/>
                      <a:pt x="393" y="828"/>
                      <a:pt x="393" y="828"/>
                    </a:cubicBezTo>
                    <a:cubicBezTo>
                      <a:pt x="398" y="828"/>
                      <a:pt x="398" y="828"/>
                      <a:pt x="398" y="828"/>
                    </a:cubicBezTo>
                    <a:cubicBezTo>
                      <a:pt x="398" y="827"/>
                      <a:pt x="398" y="825"/>
                      <a:pt x="399" y="825"/>
                    </a:cubicBezTo>
                    <a:cubicBezTo>
                      <a:pt x="401" y="825"/>
                      <a:pt x="403" y="825"/>
                      <a:pt x="403" y="823"/>
                    </a:cubicBezTo>
                    <a:cubicBezTo>
                      <a:pt x="404" y="822"/>
                      <a:pt x="403" y="821"/>
                      <a:pt x="403" y="820"/>
                    </a:cubicBezTo>
                    <a:cubicBezTo>
                      <a:pt x="404" y="820"/>
                      <a:pt x="405" y="820"/>
                      <a:pt x="406" y="819"/>
                    </a:cubicBezTo>
                    <a:cubicBezTo>
                      <a:pt x="407" y="819"/>
                      <a:pt x="407" y="818"/>
                      <a:pt x="409" y="817"/>
                    </a:cubicBezTo>
                    <a:cubicBezTo>
                      <a:pt x="409" y="819"/>
                      <a:pt x="409" y="821"/>
                      <a:pt x="410" y="823"/>
                    </a:cubicBezTo>
                    <a:cubicBezTo>
                      <a:pt x="410" y="824"/>
                      <a:pt x="410" y="825"/>
                      <a:pt x="411" y="825"/>
                    </a:cubicBezTo>
                    <a:cubicBezTo>
                      <a:pt x="412" y="826"/>
                      <a:pt x="413" y="825"/>
                      <a:pt x="413" y="826"/>
                    </a:cubicBezTo>
                    <a:cubicBezTo>
                      <a:pt x="413" y="827"/>
                      <a:pt x="413" y="827"/>
                      <a:pt x="413" y="827"/>
                    </a:cubicBezTo>
                    <a:cubicBezTo>
                      <a:pt x="413" y="827"/>
                      <a:pt x="413" y="827"/>
                      <a:pt x="413" y="827"/>
                    </a:cubicBezTo>
                    <a:cubicBezTo>
                      <a:pt x="414" y="828"/>
                      <a:pt x="414" y="828"/>
                      <a:pt x="414" y="829"/>
                    </a:cubicBezTo>
                    <a:cubicBezTo>
                      <a:pt x="412" y="829"/>
                      <a:pt x="411" y="829"/>
                      <a:pt x="410" y="829"/>
                    </a:cubicBezTo>
                    <a:cubicBezTo>
                      <a:pt x="409" y="830"/>
                      <a:pt x="408" y="831"/>
                      <a:pt x="407" y="832"/>
                    </a:cubicBezTo>
                    <a:cubicBezTo>
                      <a:pt x="406" y="833"/>
                      <a:pt x="405" y="833"/>
                      <a:pt x="403" y="834"/>
                    </a:cubicBezTo>
                    <a:cubicBezTo>
                      <a:pt x="402" y="835"/>
                      <a:pt x="401" y="836"/>
                      <a:pt x="399" y="836"/>
                    </a:cubicBezTo>
                    <a:cubicBezTo>
                      <a:pt x="398" y="836"/>
                      <a:pt x="397" y="836"/>
                      <a:pt x="397" y="837"/>
                    </a:cubicBezTo>
                    <a:cubicBezTo>
                      <a:pt x="396" y="837"/>
                      <a:pt x="397" y="838"/>
                      <a:pt x="396" y="839"/>
                    </a:cubicBezTo>
                    <a:cubicBezTo>
                      <a:pt x="396" y="840"/>
                      <a:pt x="396" y="841"/>
                      <a:pt x="396" y="842"/>
                    </a:cubicBezTo>
                    <a:cubicBezTo>
                      <a:pt x="396" y="844"/>
                      <a:pt x="396" y="844"/>
                      <a:pt x="396" y="844"/>
                    </a:cubicBezTo>
                    <a:cubicBezTo>
                      <a:pt x="396" y="844"/>
                      <a:pt x="396" y="844"/>
                      <a:pt x="396" y="844"/>
                    </a:cubicBezTo>
                    <a:cubicBezTo>
                      <a:pt x="397" y="844"/>
                      <a:pt x="397" y="843"/>
                      <a:pt x="398" y="843"/>
                    </a:cubicBezTo>
                    <a:cubicBezTo>
                      <a:pt x="399" y="843"/>
                      <a:pt x="399" y="844"/>
                      <a:pt x="399" y="844"/>
                    </a:cubicBezTo>
                    <a:cubicBezTo>
                      <a:pt x="399" y="845"/>
                      <a:pt x="400" y="845"/>
                      <a:pt x="400" y="846"/>
                    </a:cubicBezTo>
                    <a:cubicBezTo>
                      <a:pt x="400" y="847"/>
                      <a:pt x="399" y="847"/>
                      <a:pt x="399" y="848"/>
                    </a:cubicBezTo>
                    <a:cubicBezTo>
                      <a:pt x="398" y="848"/>
                      <a:pt x="397" y="849"/>
                      <a:pt x="396" y="849"/>
                    </a:cubicBezTo>
                    <a:cubicBezTo>
                      <a:pt x="395" y="851"/>
                      <a:pt x="394" y="851"/>
                      <a:pt x="392" y="851"/>
                    </a:cubicBezTo>
                    <a:cubicBezTo>
                      <a:pt x="389" y="851"/>
                      <a:pt x="389" y="851"/>
                      <a:pt x="389" y="851"/>
                    </a:cubicBezTo>
                    <a:cubicBezTo>
                      <a:pt x="389" y="851"/>
                      <a:pt x="389" y="851"/>
                      <a:pt x="388" y="851"/>
                    </a:cubicBezTo>
                    <a:cubicBezTo>
                      <a:pt x="388" y="850"/>
                      <a:pt x="388" y="850"/>
                      <a:pt x="388" y="849"/>
                    </a:cubicBezTo>
                    <a:cubicBezTo>
                      <a:pt x="388" y="848"/>
                      <a:pt x="387" y="847"/>
                      <a:pt x="387" y="847"/>
                    </a:cubicBezTo>
                    <a:cubicBezTo>
                      <a:pt x="386" y="847"/>
                      <a:pt x="386" y="848"/>
                      <a:pt x="385" y="848"/>
                    </a:cubicBezTo>
                    <a:cubicBezTo>
                      <a:pt x="382" y="850"/>
                      <a:pt x="381" y="853"/>
                      <a:pt x="377" y="853"/>
                    </a:cubicBezTo>
                    <a:cubicBezTo>
                      <a:pt x="376" y="853"/>
                      <a:pt x="376" y="851"/>
                      <a:pt x="375" y="851"/>
                    </a:cubicBezTo>
                    <a:cubicBezTo>
                      <a:pt x="372" y="851"/>
                      <a:pt x="372" y="851"/>
                      <a:pt x="372" y="851"/>
                    </a:cubicBezTo>
                    <a:cubicBezTo>
                      <a:pt x="372" y="851"/>
                      <a:pt x="372" y="851"/>
                      <a:pt x="372" y="851"/>
                    </a:cubicBezTo>
                    <a:cubicBezTo>
                      <a:pt x="374" y="854"/>
                      <a:pt x="375" y="856"/>
                      <a:pt x="377" y="859"/>
                    </a:cubicBezTo>
                    <a:cubicBezTo>
                      <a:pt x="378" y="861"/>
                      <a:pt x="378" y="862"/>
                      <a:pt x="380" y="862"/>
                    </a:cubicBezTo>
                    <a:cubicBezTo>
                      <a:pt x="381" y="863"/>
                      <a:pt x="381" y="864"/>
                      <a:pt x="382" y="864"/>
                    </a:cubicBezTo>
                    <a:cubicBezTo>
                      <a:pt x="383" y="864"/>
                      <a:pt x="383" y="864"/>
                      <a:pt x="383" y="863"/>
                    </a:cubicBezTo>
                    <a:cubicBezTo>
                      <a:pt x="384" y="862"/>
                      <a:pt x="384" y="861"/>
                      <a:pt x="386" y="860"/>
                    </a:cubicBezTo>
                    <a:cubicBezTo>
                      <a:pt x="389" y="863"/>
                      <a:pt x="391" y="864"/>
                      <a:pt x="395" y="866"/>
                    </a:cubicBezTo>
                    <a:cubicBezTo>
                      <a:pt x="397" y="867"/>
                      <a:pt x="398" y="867"/>
                      <a:pt x="400" y="868"/>
                    </a:cubicBezTo>
                    <a:cubicBezTo>
                      <a:pt x="401" y="869"/>
                      <a:pt x="403" y="869"/>
                      <a:pt x="404" y="870"/>
                    </a:cubicBezTo>
                    <a:cubicBezTo>
                      <a:pt x="404" y="871"/>
                      <a:pt x="404" y="872"/>
                      <a:pt x="404" y="872"/>
                    </a:cubicBezTo>
                    <a:cubicBezTo>
                      <a:pt x="404" y="873"/>
                      <a:pt x="404" y="873"/>
                      <a:pt x="403" y="873"/>
                    </a:cubicBezTo>
                    <a:cubicBezTo>
                      <a:pt x="400" y="873"/>
                      <a:pt x="399" y="873"/>
                      <a:pt x="397" y="872"/>
                    </a:cubicBezTo>
                    <a:cubicBezTo>
                      <a:pt x="395" y="871"/>
                      <a:pt x="395" y="870"/>
                      <a:pt x="393" y="869"/>
                    </a:cubicBezTo>
                    <a:cubicBezTo>
                      <a:pt x="393" y="872"/>
                      <a:pt x="392" y="873"/>
                      <a:pt x="392" y="875"/>
                    </a:cubicBezTo>
                    <a:cubicBezTo>
                      <a:pt x="392" y="877"/>
                      <a:pt x="393" y="878"/>
                      <a:pt x="393" y="879"/>
                    </a:cubicBezTo>
                    <a:cubicBezTo>
                      <a:pt x="393" y="880"/>
                      <a:pt x="393" y="881"/>
                      <a:pt x="394" y="881"/>
                    </a:cubicBezTo>
                    <a:cubicBezTo>
                      <a:pt x="395" y="881"/>
                      <a:pt x="395" y="879"/>
                      <a:pt x="396" y="879"/>
                    </a:cubicBezTo>
                    <a:cubicBezTo>
                      <a:pt x="398" y="879"/>
                      <a:pt x="399" y="880"/>
                      <a:pt x="399" y="881"/>
                    </a:cubicBezTo>
                    <a:cubicBezTo>
                      <a:pt x="399" y="883"/>
                      <a:pt x="399" y="884"/>
                      <a:pt x="398" y="885"/>
                    </a:cubicBezTo>
                    <a:cubicBezTo>
                      <a:pt x="398" y="886"/>
                      <a:pt x="398" y="888"/>
                      <a:pt x="396" y="888"/>
                    </a:cubicBezTo>
                    <a:cubicBezTo>
                      <a:pt x="395" y="888"/>
                      <a:pt x="395" y="888"/>
                      <a:pt x="395" y="888"/>
                    </a:cubicBezTo>
                    <a:cubicBezTo>
                      <a:pt x="395" y="887"/>
                      <a:pt x="395" y="887"/>
                      <a:pt x="395" y="886"/>
                    </a:cubicBezTo>
                    <a:cubicBezTo>
                      <a:pt x="395" y="885"/>
                      <a:pt x="395" y="884"/>
                      <a:pt x="394" y="884"/>
                    </a:cubicBezTo>
                    <a:cubicBezTo>
                      <a:pt x="393" y="884"/>
                      <a:pt x="393" y="884"/>
                      <a:pt x="392" y="884"/>
                    </a:cubicBezTo>
                    <a:cubicBezTo>
                      <a:pt x="391" y="884"/>
                      <a:pt x="391" y="883"/>
                      <a:pt x="390" y="883"/>
                    </a:cubicBezTo>
                    <a:cubicBezTo>
                      <a:pt x="389" y="882"/>
                      <a:pt x="389" y="882"/>
                      <a:pt x="389" y="881"/>
                    </a:cubicBezTo>
                    <a:cubicBezTo>
                      <a:pt x="389" y="879"/>
                      <a:pt x="391" y="878"/>
                      <a:pt x="391" y="876"/>
                    </a:cubicBezTo>
                    <a:cubicBezTo>
                      <a:pt x="391" y="874"/>
                      <a:pt x="389" y="874"/>
                      <a:pt x="387" y="873"/>
                    </a:cubicBezTo>
                    <a:cubicBezTo>
                      <a:pt x="387" y="874"/>
                      <a:pt x="386" y="875"/>
                      <a:pt x="385" y="876"/>
                    </a:cubicBezTo>
                    <a:cubicBezTo>
                      <a:pt x="385" y="878"/>
                      <a:pt x="385" y="879"/>
                      <a:pt x="385" y="880"/>
                    </a:cubicBezTo>
                    <a:cubicBezTo>
                      <a:pt x="385" y="885"/>
                      <a:pt x="385" y="885"/>
                      <a:pt x="385" y="885"/>
                    </a:cubicBezTo>
                    <a:cubicBezTo>
                      <a:pt x="385" y="888"/>
                      <a:pt x="380" y="889"/>
                      <a:pt x="380" y="892"/>
                    </a:cubicBezTo>
                    <a:cubicBezTo>
                      <a:pt x="380" y="908"/>
                      <a:pt x="380" y="908"/>
                      <a:pt x="380" y="908"/>
                    </a:cubicBezTo>
                    <a:cubicBezTo>
                      <a:pt x="378" y="908"/>
                      <a:pt x="377" y="910"/>
                      <a:pt x="375" y="911"/>
                    </a:cubicBezTo>
                    <a:cubicBezTo>
                      <a:pt x="375" y="912"/>
                      <a:pt x="376" y="913"/>
                      <a:pt x="376" y="914"/>
                    </a:cubicBezTo>
                    <a:cubicBezTo>
                      <a:pt x="376" y="915"/>
                      <a:pt x="376" y="916"/>
                      <a:pt x="375" y="916"/>
                    </a:cubicBezTo>
                    <a:cubicBezTo>
                      <a:pt x="375" y="916"/>
                      <a:pt x="375" y="916"/>
                      <a:pt x="374" y="916"/>
                    </a:cubicBezTo>
                    <a:cubicBezTo>
                      <a:pt x="372" y="916"/>
                      <a:pt x="372" y="916"/>
                      <a:pt x="372" y="916"/>
                    </a:cubicBezTo>
                    <a:cubicBezTo>
                      <a:pt x="371" y="916"/>
                      <a:pt x="371" y="916"/>
                      <a:pt x="371" y="916"/>
                    </a:cubicBezTo>
                    <a:cubicBezTo>
                      <a:pt x="371" y="914"/>
                      <a:pt x="371" y="912"/>
                      <a:pt x="369" y="911"/>
                    </a:cubicBezTo>
                    <a:cubicBezTo>
                      <a:pt x="367" y="909"/>
                      <a:pt x="365" y="909"/>
                      <a:pt x="363" y="909"/>
                    </a:cubicBezTo>
                    <a:cubicBezTo>
                      <a:pt x="362" y="909"/>
                      <a:pt x="361" y="910"/>
                      <a:pt x="360" y="912"/>
                    </a:cubicBezTo>
                    <a:cubicBezTo>
                      <a:pt x="360" y="912"/>
                      <a:pt x="360" y="912"/>
                      <a:pt x="359" y="913"/>
                    </a:cubicBezTo>
                    <a:cubicBezTo>
                      <a:pt x="359" y="914"/>
                      <a:pt x="359" y="915"/>
                      <a:pt x="358" y="916"/>
                    </a:cubicBezTo>
                    <a:cubicBezTo>
                      <a:pt x="360" y="916"/>
                      <a:pt x="361" y="914"/>
                      <a:pt x="363" y="914"/>
                    </a:cubicBezTo>
                    <a:cubicBezTo>
                      <a:pt x="363" y="914"/>
                      <a:pt x="363" y="914"/>
                      <a:pt x="364" y="914"/>
                    </a:cubicBezTo>
                    <a:cubicBezTo>
                      <a:pt x="364" y="914"/>
                      <a:pt x="365" y="914"/>
                      <a:pt x="365" y="914"/>
                    </a:cubicBezTo>
                    <a:cubicBezTo>
                      <a:pt x="365" y="915"/>
                      <a:pt x="365" y="915"/>
                      <a:pt x="365" y="915"/>
                    </a:cubicBezTo>
                    <a:cubicBezTo>
                      <a:pt x="364" y="917"/>
                      <a:pt x="363" y="918"/>
                      <a:pt x="362" y="918"/>
                    </a:cubicBezTo>
                    <a:cubicBezTo>
                      <a:pt x="360" y="919"/>
                      <a:pt x="359" y="920"/>
                      <a:pt x="356" y="920"/>
                    </a:cubicBezTo>
                    <a:cubicBezTo>
                      <a:pt x="356" y="921"/>
                      <a:pt x="356" y="921"/>
                      <a:pt x="356" y="921"/>
                    </a:cubicBezTo>
                    <a:cubicBezTo>
                      <a:pt x="356" y="922"/>
                      <a:pt x="357" y="922"/>
                      <a:pt x="358" y="922"/>
                    </a:cubicBezTo>
                    <a:cubicBezTo>
                      <a:pt x="359" y="924"/>
                      <a:pt x="360" y="924"/>
                      <a:pt x="361" y="926"/>
                    </a:cubicBezTo>
                    <a:cubicBezTo>
                      <a:pt x="362" y="927"/>
                      <a:pt x="364" y="927"/>
                      <a:pt x="366" y="927"/>
                    </a:cubicBezTo>
                    <a:cubicBezTo>
                      <a:pt x="367" y="927"/>
                      <a:pt x="367" y="927"/>
                      <a:pt x="367" y="926"/>
                    </a:cubicBezTo>
                    <a:cubicBezTo>
                      <a:pt x="368" y="925"/>
                      <a:pt x="368" y="922"/>
                      <a:pt x="370" y="922"/>
                    </a:cubicBezTo>
                    <a:cubicBezTo>
                      <a:pt x="371" y="922"/>
                      <a:pt x="372" y="923"/>
                      <a:pt x="372" y="923"/>
                    </a:cubicBezTo>
                    <a:cubicBezTo>
                      <a:pt x="374" y="923"/>
                      <a:pt x="375" y="922"/>
                      <a:pt x="376" y="923"/>
                    </a:cubicBezTo>
                    <a:cubicBezTo>
                      <a:pt x="377" y="924"/>
                      <a:pt x="377" y="925"/>
                      <a:pt x="377" y="926"/>
                    </a:cubicBezTo>
                    <a:cubicBezTo>
                      <a:pt x="375" y="926"/>
                      <a:pt x="374" y="927"/>
                      <a:pt x="372" y="927"/>
                    </a:cubicBezTo>
                    <a:cubicBezTo>
                      <a:pt x="376" y="929"/>
                      <a:pt x="378" y="931"/>
                      <a:pt x="381" y="935"/>
                    </a:cubicBezTo>
                    <a:cubicBezTo>
                      <a:pt x="382" y="936"/>
                      <a:pt x="383" y="936"/>
                      <a:pt x="384" y="937"/>
                    </a:cubicBezTo>
                    <a:cubicBezTo>
                      <a:pt x="385" y="937"/>
                      <a:pt x="386" y="938"/>
                      <a:pt x="387" y="939"/>
                    </a:cubicBezTo>
                    <a:cubicBezTo>
                      <a:pt x="389" y="939"/>
                      <a:pt x="390" y="939"/>
                      <a:pt x="392" y="939"/>
                    </a:cubicBezTo>
                    <a:cubicBezTo>
                      <a:pt x="393" y="939"/>
                      <a:pt x="394" y="938"/>
                      <a:pt x="394" y="937"/>
                    </a:cubicBezTo>
                    <a:cubicBezTo>
                      <a:pt x="394" y="937"/>
                      <a:pt x="394" y="935"/>
                      <a:pt x="395" y="935"/>
                    </a:cubicBezTo>
                    <a:cubicBezTo>
                      <a:pt x="396" y="935"/>
                      <a:pt x="396" y="936"/>
                      <a:pt x="397" y="937"/>
                    </a:cubicBezTo>
                    <a:cubicBezTo>
                      <a:pt x="398" y="939"/>
                      <a:pt x="400" y="940"/>
                      <a:pt x="402" y="940"/>
                    </a:cubicBezTo>
                    <a:cubicBezTo>
                      <a:pt x="404" y="940"/>
                      <a:pt x="404" y="939"/>
                      <a:pt x="406" y="939"/>
                    </a:cubicBezTo>
                    <a:cubicBezTo>
                      <a:pt x="407" y="939"/>
                      <a:pt x="407" y="941"/>
                      <a:pt x="408" y="942"/>
                    </a:cubicBezTo>
                    <a:cubicBezTo>
                      <a:pt x="409" y="943"/>
                      <a:pt x="410" y="943"/>
                      <a:pt x="412" y="944"/>
                    </a:cubicBezTo>
                    <a:cubicBezTo>
                      <a:pt x="415" y="944"/>
                      <a:pt x="416" y="945"/>
                      <a:pt x="419" y="946"/>
                    </a:cubicBezTo>
                    <a:cubicBezTo>
                      <a:pt x="422" y="946"/>
                      <a:pt x="423" y="948"/>
                      <a:pt x="427" y="948"/>
                    </a:cubicBezTo>
                    <a:cubicBezTo>
                      <a:pt x="430" y="949"/>
                      <a:pt x="432" y="950"/>
                      <a:pt x="434" y="951"/>
                    </a:cubicBezTo>
                    <a:cubicBezTo>
                      <a:pt x="437" y="952"/>
                      <a:pt x="437" y="955"/>
                      <a:pt x="440" y="956"/>
                    </a:cubicBezTo>
                    <a:cubicBezTo>
                      <a:pt x="443" y="958"/>
                      <a:pt x="445" y="959"/>
                      <a:pt x="448" y="961"/>
                    </a:cubicBezTo>
                    <a:cubicBezTo>
                      <a:pt x="449" y="962"/>
                      <a:pt x="451" y="962"/>
                      <a:pt x="452" y="962"/>
                    </a:cubicBezTo>
                    <a:cubicBezTo>
                      <a:pt x="455" y="964"/>
                      <a:pt x="456" y="967"/>
                      <a:pt x="459" y="969"/>
                    </a:cubicBezTo>
                    <a:cubicBezTo>
                      <a:pt x="462" y="972"/>
                      <a:pt x="464" y="972"/>
                      <a:pt x="468" y="973"/>
                    </a:cubicBezTo>
                    <a:cubicBezTo>
                      <a:pt x="471" y="970"/>
                      <a:pt x="472" y="967"/>
                      <a:pt x="474" y="964"/>
                    </a:cubicBezTo>
                    <a:cubicBezTo>
                      <a:pt x="476" y="961"/>
                      <a:pt x="477" y="959"/>
                      <a:pt x="481" y="958"/>
                    </a:cubicBezTo>
                    <a:cubicBezTo>
                      <a:pt x="484" y="957"/>
                      <a:pt x="486" y="958"/>
                      <a:pt x="490" y="958"/>
                    </a:cubicBezTo>
                    <a:cubicBezTo>
                      <a:pt x="492" y="957"/>
                      <a:pt x="493" y="957"/>
                      <a:pt x="495" y="957"/>
                    </a:cubicBezTo>
                    <a:cubicBezTo>
                      <a:pt x="506" y="902"/>
                      <a:pt x="512" y="845"/>
                      <a:pt x="512" y="788"/>
                    </a:cubicBezTo>
                    <a:cubicBezTo>
                      <a:pt x="512" y="513"/>
                      <a:pt x="384" y="268"/>
                      <a:pt x="185" y="110"/>
                    </a:cubicBezTo>
                    <a:cubicBezTo>
                      <a:pt x="185" y="110"/>
                      <a:pt x="185" y="111"/>
                      <a:pt x="185" y="111"/>
                    </a:cubicBezTo>
                    <a:cubicBezTo>
                      <a:pt x="185" y="113"/>
                      <a:pt x="186" y="116"/>
                      <a:pt x="188" y="116"/>
                    </a:cubicBezTo>
                    <a:cubicBezTo>
                      <a:pt x="189" y="116"/>
                      <a:pt x="190" y="117"/>
                      <a:pt x="190" y="118"/>
                    </a:cubicBezTo>
                    <a:cubicBezTo>
                      <a:pt x="191" y="119"/>
                      <a:pt x="190" y="120"/>
                      <a:pt x="191" y="121"/>
                    </a:cubicBezTo>
                    <a:cubicBezTo>
                      <a:pt x="192" y="122"/>
                      <a:pt x="194" y="122"/>
                      <a:pt x="194" y="123"/>
                    </a:cubicBezTo>
                    <a:cubicBezTo>
                      <a:pt x="193" y="123"/>
                      <a:pt x="192" y="123"/>
                      <a:pt x="191" y="123"/>
                    </a:cubicBezTo>
                    <a:cubicBezTo>
                      <a:pt x="190" y="123"/>
                      <a:pt x="190" y="123"/>
                      <a:pt x="189" y="123"/>
                    </a:cubicBezTo>
                    <a:cubicBezTo>
                      <a:pt x="188" y="123"/>
                      <a:pt x="188" y="125"/>
                      <a:pt x="187" y="125"/>
                    </a:cubicBezTo>
                    <a:cubicBezTo>
                      <a:pt x="187" y="125"/>
                      <a:pt x="186" y="125"/>
                      <a:pt x="186" y="125"/>
                    </a:cubicBezTo>
                    <a:cubicBezTo>
                      <a:pt x="185" y="125"/>
                      <a:pt x="184" y="124"/>
                      <a:pt x="183" y="124"/>
                    </a:cubicBezTo>
                    <a:cubicBezTo>
                      <a:pt x="182" y="124"/>
                      <a:pt x="182" y="124"/>
                      <a:pt x="182" y="124"/>
                    </a:cubicBezTo>
                    <a:cubicBezTo>
                      <a:pt x="182" y="124"/>
                      <a:pt x="181" y="125"/>
                      <a:pt x="181" y="125"/>
                    </a:cubicBezTo>
                    <a:cubicBezTo>
                      <a:pt x="181" y="125"/>
                      <a:pt x="182" y="125"/>
                      <a:pt x="182" y="125"/>
                    </a:cubicBezTo>
                    <a:cubicBezTo>
                      <a:pt x="182" y="126"/>
                      <a:pt x="182" y="127"/>
                      <a:pt x="182" y="128"/>
                    </a:cubicBezTo>
                    <a:cubicBezTo>
                      <a:pt x="182" y="130"/>
                      <a:pt x="182" y="130"/>
                      <a:pt x="182" y="130"/>
                    </a:cubicBezTo>
                    <a:cubicBezTo>
                      <a:pt x="182" y="132"/>
                      <a:pt x="180" y="131"/>
                      <a:pt x="179" y="131"/>
                    </a:cubicBezTo>
                    <a:cubicBezTo>
                      <a:pt x="178" y="132"/>
                      <a:pt x="177" y="132"/>
                      <a:pt x="176" y="132"/>
                    </a:cubicBezTo>
                    <a:cubicBezTo>
                      <a:pt x="175" y="132"/>
                      <a:pt x="175" y="132"/>
                      <a:pt x="174" y="132"/>
                    </a:cubicBezTo>
                    <a:cubicBezTo>
                      <a:pt x="174" y="128"/>
                      <a:pt x="174" y="128"/>
                      <a:pt x="174" y="128"/>
                    </a:cubicBezTo>
                    <a:cubicBezTo>
                      <a:pt x="174" y="127"/>
                      <a:pt x="173" y="127"/>
                      <a:pt x="173" y="127"/>
                    </a:cubicBezTo>
                    <a:cubicBezTo>
                      <a:pt x="171" y="127"/>
                      <a:pt x="170" y="128"/>
                      <a:pt x="169" y="128"/>
                    </a:cubicBezTo>
                    <a:cubicBezTo>
                      <a:pt x="168" y="128"/>
                      <a:pt x="167" y="128"/>
                      <a:pt x="166" y="128"/>
                    </a:cubicBezTo>
                    <a:cubicBezTo>
                      <a:pt x="164" y="128"/>
                      <a:pt x="163" y="130"/>
                      <a:pt x="161" y="130"/>
                    </a:cubicBezTo>
                    <a:cubicBezTo>
                      <a:pt x="158" y="130"/>
                      <a:pt x="155" y="129"/>
                      <a:pt x="155" y="126"/>
                    </a:cubicBezTo>
                    <a:cubicBezTo>
                      <a:pt x="155" y="123"/>
                      <a:pt x="155" y="123"/>
                      <a:pt x="155" y="123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5" y="120"/>
                      <a:pt x="155" y="120"/>
                      <a:pt x="155" y="119"/>
                    </a:cubicBezTo>
                    <a:cubicBezTo>
                      <a:pt x="155" y="117"/>
                      <a:pt x="152" y="118"/>
                      <a:pt x="150" y="118"/>
                    </a:cubicBezTo>
                    <a:cubicBezTo>
                      <a:pt x="149" y="118"/>
                      <a:pt x="149" y="119"/>
                      <a:pt x="148" y="119"/>
                    </a:cubicBezTo>
                    <a:cubicBezTo>
                      <a:pt x="147" y="119"/>
                      <a:pt x="147" y="118"/>
                      <a:pt x="146" y="118"/>
                    </a:cubicBezTo>
                    <a:cubicBezTo>
                      <a:pt x="145" y="117"/>
                      <a:pt x="144" y="117"/>
                      <a:pt x="144" y="116"/>
                    </a:cubicBezTo>
                    <a:cubicBezTo>
                      <a:pt x="144" y="115"/>
                      <a:pt x="144" y="113"/>
                      <a:pt x="143" y="113"/>
                    </a:cubicBezTo>
                    <a:cubicBezTo>
                      <a:pt x="142" y="113"/>
                      <a:pt x="142" y="113"/>
                      <a:pt x="141" y="113"/>
                    </a:cubicBezTo>
                    <a:cubicBezTo>
                      <a:pt x="140" y="113"/>
                      <a:pt x="139" y="112"/>
                      <a:pt x="138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37" y="113"/>
                      <a:pt x="137" y="115"/>
                      <a:pt x="136" y="115"/>
                    </a:cubicBezTo>
                    <a:cubicBezTo>
                      <a:pt x="135" y="115"/>
                      <a:pt x="135" y="114"/>
                      <a:pt x="134" y="114"/>
                    </a:cubicBezTo>
                    <a:cubicBezTo>
                      <a:pt x="134" y="114"/>
                      <a:pt x="134" y="114"/>
                      <a:pt x="133" y="114"/>
                    </a:cubicBezTo>
                    <a:cubicBezTo>
                      <a:pt x="133" y="115"/>
                      <a:pt x="133" y="116"/>
                      <a:pt x="132" y="116"/>
                    </a:cubicBezTo>
                    <a:cubicBezTo>
                      <a:pt x="131" y="116"/>
                      <a:pt x="131" y="114"/>
                      <a:pt x="131" y="113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28" y="113"/>
                      <a:pt x="127" y="112"/>
                      <a:pt x="126" y="112"/>
                    </a:cubicBezTo>
                    <a:cubicBezTo>
                      <a:pt x="125" y="112"/>
                      <a:pt x="124" y="112"/>
                      <a:pt x="124" y="111"/>
                    </a:cubicBezTo>
                    <a:cubicBezTo>
                      <a:pt x="124" y="109"/>
                      <a:pt x="127" y="109"/>
                      <a:pt x="127" y="107"/>
                    </a:cubicBezTo>
                    <a:cubicBezTo>
                      <a:pt x="127" y="106"/>
                      <a:pt x="125" y="106"/>
                      <a:pt x="124" y="105"/>
                    </a:cubicBezTo>
                    <a:cubicBezTo>
                      <a:pt x="124" y="104"/>
                      <a:pt x="124" y="103"/>
                      <a:pt x="123" y="103"/>
                    </a:cubicBezTo>
                    <a:cubicBezTo>
                      <a:pt x="122" y="103"/>
                      <a:pt x="121" y="103"/>
                      <a:pt x="120" y="103"/>
                    </a:cubicBezTo>
                    <a:cubicBezTo>
                      <a:pt x="120" y="101"/>
                      <a:pt x="120" y="101"/>
                      <a:pt x="120" y="101"/>
                    </a:cubicBezTo>
                    <a:cubicBezTo>
                      <a:pt x="120" y="100"/>
                      <a:pt x="122" y="100"/>
                      <a:pt x="123" y="99"/>
                    </a:cubicBezTo>
                    <a:cubicBezTo>
                      <a:pt x="123" y="99"/>
                      <a:pt x="123" y="98"/>
                      <a:pt x="123" y="97"/>
                    </a:cubicBezTo>
                    <a:cubicBezTo>
                      <a:pt x="123" y="96"/>
                      <a:pt x="122" y="95"/>
                      <a:pt x="120" y="95"/>
                    </a:cubicBezTo>
                    <a:cubicBezTo>
                      <a:pt x="119" y="94"/>
                      <a:pt x="117" y="94"/>
                      <a:pt x="117" y="93"/>
                    </a:cubicBezTo>
                    <a:cubicBezTo>
                      <a:pt x="117" y="91"/>
                      <a:pt x="119" y="91"/>
                      <a:pt x="119" y="89"/>
                    </a:cubicBezTo>
                    <a:cubicBezTo>
                      <a:pt x="119" y="87"/>
                      <a:pt x="119" y="87"/>
                      <a:pt x="119" y="87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7" y="85"/>
                      <a:pt x="116" y="84"/>
                      <a:pt x="114" y="82"/>
                    </a:cubicBezTo>
                    <a:cubicBezTo>
                      <a:pt x="114" y="81"/>
                      <a:pt x="113" y="81"/>
                      <a:pt x="112" y="80"/>
                    </a:cubicBezTo>
                    <a:cubicBezTo>
                      <a:pt x="110" y="79"/>
                      <a:pt x="108" y="79"/>
                      <a:pt x="107" y="77"/>
                    </a:cubicBezTo>
                    <a:cubicBezTo>
                      <a:pt x="109" y="77"/>
                      <a:pt x="109" y="75"/>
                      <a:pt x="111" y="75"/>
                    </a:cubicBezTo>
                    <a:cubicBezTo>
                      <a:pt x="112" y="74"/>
                      <a:pt x="113" y="75"/>
                      <a:pt x="115" y="74"/>
                    </a:cubicBezTo>
                    <a:cubicBezTo>
                      <a:pt x="115" y="74"/>
                      <a:pt x="115" y="72"/>
                      <a:pt x="115" y="71"/>
                    </a:cubicBezTo>
                    <a:cubicBezTo>
                      <a:pt x="115" y="65"/>
                      <a:pt x="110" y="62"/>
                      <a:pt x="109" y="56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10" y="57"/>
                      <a:pt x="111" y="57"/>
                      <a:pt x="112" y="57"/>
                    </a:cubicBezTo>
                    <a:cubicBezTo>
                      <a:pt x="104" y="52"/>
                      <a:pt x="96" y="47"/>
                      <a:pt x="88" y="42"/>
                    </a:cubicBezTo>
                    <a:cubicBezTo>
                      <a:pt x="88" y="42"/>
                      <a:pt x="87" y="42"/>
                      <a:pt x="87" y="42"/>
                    </a:cubicBezTo>
                    <a:cubicBezTo>
                      <a:pt x="87" y="42"/>
                      <a:pt x="86" y="43"/>
                      <a:pt x="86" y="43"/>
                    </a:cubicBezTo>
                    <a:cubicBezTo>
                      <a:pt x="85" y="43"/>
                      <a:pt x="84" y="43"/>
                      <a:pt x="83" y="43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78" y="43"/>
                      <a:pt x="78" y="43"/>
                      <a:pt x="76" y="44"/>
                    </a:cubicBezTo>
                    <a:cubicBezTo>
                      <a:pt x="78" y="42"/>
                      <a:pt x="80" y="42"/>
                      <a:pt x="83" y="41"/>
                    </a:cubicBezTo>
                    <a:cubicBezTo>
                      <a:pt x="84" y="41"/>
                      <a:pt x="85" y="41"/>
                      <a:pt x="86" y="41"/>
                    </a:cubicBezTo>
                    <a:cubicBezTo>
                      <a:pt x="61" y="26"/>
                      <a:pt x="35" y="12"/>
                      <a:pt x="8" y="0"/>
                    </a:cubicBezTo>
                    <a:cubicBezTo>
                      <a:pt x="7" y="3"/>
                      <a:pt x="7" y="6"/>
                      <a:pt x="6" y="9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80" name="Freeform 209">
                <a:extLst>
                  <a:ext uri="{FF2B5EF4-FFF2-40B4-BE49-F238E27FC236}">
                    <a16:creationId xmlns:a16="http://schemas.microsoft.com/office/drawing/2014/main" xmlns="" id="{FAC0CAA6-8E22-45A1-ADEE-AEA7B1DDD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1246" y="3213060"/>
                <a:ext cx="14368" cy="22751"/>
              </a:xfrm>
              <a:custGeom>
                <a:avLst/>
                <a:gdLst>
                  <a:gd name="T0" fmla="*/ 6 w 6"/>
                  <a:gd name="T1" fmla="*/ 0 h 9"/>
                  <a:gd name="T2" fmla="*/ 0 w 6"/>
                  <a:gd name="T3" fmla="*/ 9 h 9"/>
                  <a:gd name="T4" fmla="*/ 0 w 6"/>
                  <a:gd name="T5" fmla="*/ 9 h 9"/>
                  <a:gd name="T6" fmla="*/ 6 w 6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9">
                    <a:moveTo>
                      <a:pt x="6" y="0"/>
                    </a:moveTo>
                    <a:cubicBezTo>
                      <a:pt x="4" y="3"/>
                      <a:pt x="3" y="6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6"/>
                      <a:pt x="4" y="3"/>
                      <a:pt x="6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048" name="Ellipse 1047">
              <a:extLst>
                <a:ext uri="{FF2B5EF4-FFF2-40B4-BE49-F238E27FC236}">
                  <a16:creationId xmlns:a16="http://schemas.microsoft.com/office/drawing/2014/main" xmlns="" id="{6FD5C148-762C-4E2B-B91D-07951C927C26}"/>
                </a:ext>
              </a:extLst>
            </p:cNvPr>
            <p:cNvSpPr/>
            <p:nvPr/>
          </p:nvSpPr>
          <p:spPr>
            <a:xfrm>
              <a:off x="5079529" y="2856425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49" name="Ellipse 1048">
              <a:extLst>
                <a:ext uri="{FF2B5EF4-FFF2-40B4-BE49-F238E27FC236}">
                  <a16:creationId xmlns:a16="http://schemas.microsoft.com/office/drawing/2014/main" xmlns="" id="{AB1A00B9-5DF5-4A9C-B259-3955F9C3D92C}"/>
                </a:ext>
              </a:extLst>
            </p:cNvPr>
            <p:cNvSpPr/>
            <p:nvPr/>
          </p:nvSpPr>
          <p:spPr>
            <a:xfrm>
              <a:off x="5366393" y="2891330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0" name="Ellipse 1049">
              <a:extLst>
                <a:ext uri="{FF2B5EF4-FFF2-40B4-BE49-F238E27FC236}">
                  <a16:creationId xmlns:a16="http://schemas.microsoft.com/office/drawing/2014/main" xmlns="" id="{C310E3E6-0A42-4017-9E41-6DFDE3AFF5D8}"/>
                </a:ext>
              </a:extLst>
            </p:cNvPr>
            <p:cNvSpPr/>
            <p:nvPr/>
          </p:nvSpPr>
          <p:spPr>
            <a:xfrm>
              <a:off x="5887524" y="2405125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1" name="Ellipse 1050">
              <a:extLst>
                <a:ext uri="{FF2B5EF4-FFF2-40B4-BE49-F238E27FC236}">
                  <a16:creationId xmlns:a16="http://schemas.microsoft.com/office/drawing/2014/main" xmlns="" id="{401263F2-160A-486E-9BF1-D993C604F906}"/>
                </a:ext>
              </a:extLst>
            </p:cNvPr>
            <p:cNvSpPr/>
            <p:nvPr/>
          </p:nvSpPr>
          <p:spPr>
            <a:xfrm>
              <a:off x="6037075" y="2521896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2" name="Ellipse 1051">
              <a:extLst>
                <a:ext uri="{FF2B5EF4-FFF2-40B4-BE49-F238E27FC236}">
                  <a16:creationId xmlns:a16="http://schemas.microsoft.com/office/drawing/2014/main" xmlns="" id="{28C766C9-269C-45C9-AE42-38CC332C7581}"/>
                </a:ext>
              </a:extLst>
            </p:cNvPr>
            <p:cNvSpPr/>
            <p:nvPr/>
          </p:nvSpPr>
          <p:spPr>
            <a:xfrm>
              <a:off x="6495232" y="2997721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3" name="Ellipse 1052">
              <a:extLst>
                <a:ext uri="{FF2B5EF4-FFF2-40B4-BE49-F238E27FC236}">
                  <a16:creationId xmlns:a16="http://schemas.microsoft.com/office/drawing/2014/main" xmlns="" id="{63950992-CB4B-4288-A06A-3AF50DBB8C09}"/>
                </a:ext>
              </a:extLst>
            </p:cNvPr>
            <p:cNvSpPr/>
            <p:nvPr/>
          </p:nvSpPr>
          <p:spPr>
            <a:xfrm>
              <a:off x="6023671" y="2283433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4" name="Ellipse 1053">
              <a:extLst>
                <a:ext uri="{FF2B5EF4-FFF2-40B4-BE49-F238E27FC236}">
                  <a16:creationId xmlns:a16="http://schemas.microsoft.com/office/drawing/2014/main" xmlns="" id="{1741B8A2-75FC-41C3-BA15-94280B4786F2}"/>
                </a:ext>
              </a:extLst>
            </p:cNvPr>
            <p:cNvSpPr/>
            <p:nvPr/>
          </p:nvSpPr>
          <p:spPr>
            <a:xfrm>
              <a:off x="6004931" y="2204011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5" name="Ellipse 1054">
              <a:extLst>
                <a:ext uri="{FF2B5EF4-FFF2-40B4-BE49-F238E27FC236}">
                  <a16:creationId xmlns:a16="http://schemas.microsoft.com/office/drawing/2014/main" xmlns="" id="{6A6DDB48-9941-48EC-9E27-8E97E51DB602}"/>
                </a:ext>
              </a:extLst>
            </p:cNvPr>
            <p:cNvSpPr/>
            <p:nvPr/>
          </p:nvSpPr>
          <p:spPr>
            <a:xfrm>
              <a:off x="6091888" y="2038340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6" name="Ellipse 1055">
              <a:extLst>
                <a:ext uri="{FF2B5EF4-FFF2-40B4-BE49-F238E27FC236}">
                  <a16:creationId xmlns:a16="http://schemas.microsoft.com/office/drawing/2014/main" xmlns="" id="{17791CD5-F826-4460-8702-CC4DE3763773}"/>
                </a:ext>
              </a:extLst>
            </p:cNvPr>
            <p:cNvSpPr/>
            <p:nvPr/>
          </p:nvSpPr>
          <p:spPr>
            <a:xfrm>
              <a:off x="6250308" y="2200976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7" name="Ellipse 1056">
              <a:extLst>
                <a:ext uri="{FF2B5EF4-FFF2-40B4-BE49-F238E27FC236}">
                  <a16:creationId xmlns:a16="http://schemas.microsoft.com/office/drawing/2014/main" xmlns="" id="{EBD1B323-FA1A-48B4-B22C-E873DE607706}"/>
                </a:ext>
              </a:extLst>
            </p:cNvPr>
            <p:cNvSpPr/>
            <p:nvPr/>
          </p:nvSpPr>
          <p:spPr>
            <a:xfrm>
              <a:off x="6474841" y="2471082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8" name="Ellipse 1057">
              <a:extLst>
                <a:ext uri="{FF2B5EF4-FFF2-40B4-BE49-F238E27FC236}">
                  <a16:creationId xmlns:a16="http://schemas.microsoft.com/office/drawing/2014/main" xmlns="" id="{EE7D2023-F3B3-4887-A784-8E80DDC872A8}"/>
                </a:ext>
              </a:extLst>
            </p:cNvPr>
            <p:cNvSpPr/>
            <p:nvPr/>
          </p:nvSpPr>
          <p:spPr>
            <a:xfrm>
              <a:off x="6538064" y="2330093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59" name="Ellipse 1058">
              <a:extLst>
                <a:ext uri="{FF2B5EF4-FFF2-40B4-BE49-F238E27FC236}">
                  <a16:creationId xmlns:a16="http://schemas.microsoft.com/office/drawing/2014/main" xmlns="" id="{4096B062-2C21-4E7D-9F76-6E2298C426E1}"/>
                </a:ext>
              </a:extLst>
            </p:cNvPr>
            <p:cNvSpPr/>
            <p:nvPr/>
          </p:nvSpPr>
          <p:spPr>
            <a:xfrm>
              <a:off x="6666141" y="2396540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0" name="Ellipse 1059">
              <a:extLst>
                <a:ext uri="{FF2B5EF4-FFF2-40B4-BE49-F238E27FC236}">
                  <a16:creationId xmlns:a16="http://schemas.microsoft.com/office/drawing/2014/main" xmlns="" id="{EFDE9930-AA81-4F93-BA04-ADFA2C2E6958}"/>
                </a:ext>
              </a:extLst>
            </p:cNvPr>
            <p:cNvSpPr/>
            <p:nvPr/>
          </p:nvSpPr>
          <p:spPr>
            <a:xfrm>
              <a:off x="6692613" y="2539126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1" name="Ellipse 1060">
              <a:extLst>
                <a:ext uri="{FF2B5EF4-FFF2-40B4-BE49-F238E27FC236}">
                  <a16:creationId xmlns:a16="http://schemas.microsoft.com/office/drawing/2014/main" xmlns="" id="{28F6E20D-D78A-436B-9BA4-0D4A05B9A809}"/>
                </a:ext>
              </a:extLst>
            </p:cNvPr>
            <p:cNvSpPr/>
            <p:nvPr/>
          </p:nvSpPr>
          <p:spPr>
            <a:xfrm>
              <a:off x="7033827" y="2641988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2" name="Ellipse 1061">
              <a:extLst>
                <a:ext uri="{FF2B5EF4-FFF2-40B4-BE49-F238E27FC236}">
                  <a16:creationId xmlns:a16="http://schemas.microsoft.com/office/drawing/2014/main" xmlns="" id="{B75E659B-0A4C-4E7F-A670-A9A495D55E4F}"/>
                </a:ext>
              </a:extLst>
            </p:cNvPr>
            <p:cNvSpPr/>
            <p:nvPr/>
          </p:nvSpPr>
          <p:spPr>
            <a:xfrm>
              <a:off x="6744233" y="2148995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3" name="Ellipse 1062">
              <a:extLst>
                <a:ext uri="{FF2B5EF4-FFF2-40B4-BE49-F238E27FC236}">
                  <a16:creationId xmlns:a16="http://schemas.microsoft.com/office/drawing/2014/main" xmlns="" id="{DCD46508-DE55-4124-B41D-D0E42EE9DE05}"/>
                </a:ext>
              </a:extLst>
            </p:cNvPr>
            <p:cNvSpPr/>
            <p:nvPr/>
          </p:nvSpPr>
          <p:spPr>
            <a:xfrm>
              <a:off x="6326221" y="1384324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4" name="Ellipse 1063">
              <a:extLst>
                <a:ext uri="{FF2B5EF4-FFF2-40B4-BE49-F238E27FC236}">
                  <a16:creationId xmlns:a16="http://schemas.microsoft.com/office/drawing/2014/main" xmlns="" id="{4E96A943-F2FC-4FA3-A5E0-C10AE1844B69}"/>
                </a:ext>
              </a:extLst>
            </p:cNvPr>
            <p:cNvSpPr/>
            <p:nvPr/>
          </p:nvSpPr>
          <p:spPr>
            <a:xfrm>
              <a:off x="7601938" y="1998335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5" name="Ellipse 1064">
              <a:extLst>
                <a:ext uri="{FF2B5EF4-FFF2-40B4-BE49-F238E27FC236}">
                  <a16:creationId xmlns:a16="http://schemas.microsoft.com/office/drawing/2014/main" xmlns="" id="{67077256-CBF6-4DDD-A385-EDCA892BF557}"/>
                </a:ext>
              </a:extLst>
            </p:cNvPr>
            <p:cNvSpPr/>
            <p:nvPr/>
          </p:nvSpPr>
          <p:spPr>
            <a:xfrm>
              <a:off x="7277809" y="2312722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066" name="Group 22">
              <a:extLst>
                <a:ext uri="{FF2B5EF4-FFF2-40B4-BE49-F238E27FC236}">
                  <a16:creationId xmlns:a16="http://schemas.microsoft.com/office/drawing/2014/main" xmlns="" id="{66264262-3C89-4531-BD7E-F5FFBD5B8DE8}"/>
                </a:ext>
              </a:extLst>
            </p:cNvPr>
            <p:cNvGrpSpPr/>
            <p:nvPr/>
          </p:nvGrpSpPr>
          <p:grpSpPr>
            <a:xfrm>
              <a:off x="5389533" y="1631273"/>
              <a:ext cx="442592" cy="523852"/>
              <a:chOff x="8265406" y="2189460"/>
              <a:chExt cx="969392" cy="1147235"/>
            </a:xfrm>
            <a:solidFill>
              <a:schemeClr val="accent1"/>
            </a:solidFill>
          </p:grpSpPr>
          <p:sp>
            <p:nvSpPr>
              <p:cNvPr id="1100" name="Freeform 26">
                <a:extLst>
                  <a:ext uri="{FF2B5EF4-FFF2-40B4-BE49-F238E27FC236}">
                    <a16:creationId xmlns:a16="http://schemas.microsoft.com/office/drawing/2014/main" xmlns="" id="{3EDD2DC5-25F2-4817-9B26-8FEB2C62E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5406" y="2552435"/>
                <a:ext cx="428573" cy="435862"/>
              </a:xfrm>
              <a:custGeom>
                <a:avLst/>
                <a:gdLst>
                  <a:gd name="T0" fmla="*/ 139 w 139"/>
                  <a:gd name="T1" fmla="*/ 9 h 142"/>
                  <a:gd name="T2" fmla="*/ 131 w 139"/>
                  <a:gd name="T3" fmla="*/ 6 h 142"/>
                  <a:gd name="T4" fmla="*/ 124 w 139"/>
                  <a:gd name="T5" fmla="*/ 9 h 142"/>
                  <a:gd name="T6" fmla="*/ 117 w 139"/>
                  <a:gd name="T7" fmla="*/ 6 h 142"/>
                  <a:gd name="T8" fmla="*/ 103 w 139"/>
                  <a:gd name="T9" fmla="*/ 6 h 142"/>
                  <a:gd name="T10" fmla="*/ 94 w 139"/>
                  <a:gd name="T11" fmla="*/ 15 h 142"/>
                  <a:gd name="T12" fmla="*/ 95 w 139"/>
                  <a:gd name="T13" fmla="*/ 23 h 142"/>
                  <a:gd name="T14" fmla="*/ 89 w 139"/>
                  <a:gd name="T15" fmla="*/ 29 h 142"/>
                  <a:gd name="T16" fmla="*/ 90 w 139"/>
                  <a:gd name="T17" fmla="*/ 38 h 142"/>
                  <a:gd name="T18" fmla="*/ 77 w 139"/>
                  <a:gd name="T19" fmla="*/ 32 h 142"/>
                  <a:gd name="T20" fmla="*/ 70 w 139"/>
                  <a:gd name="T21" fmla="*/ 29 h 142"/>
                  <a:gd name="T22" fmla="*/ 57 w 139"/>
                  <a:gd name="T23" fmla="*/ 22 h 142"/>
                  <a:gd name="T24" fmla="*/ 51 w 139"/>
                  <a:gd name="T25" fmla="*/ 21 h 142"/>
                  <a:gd name="T26" fmla="*/ 48 w 139"/>
                  <a:gd name="T27" fmla="*/ 29 h 142"/>
                  <a:gd name="T28" fmla="*/ 43 w 139"/>
                  <a:gd name="T29" fmla="*/ 34 h 142"/>
                  <a:gd name="T30" fmla="*/ 53 w 139"/>
                  <a:gd name="T31" fmla="*/ 42 h 142"/>
                  <a:gd name="T32" fmla="*/ 44 w 139"/>
                  <a:gd name="T33" fmla="*/ 48 h 142"/>
                  <a:gd name="T34" fmla="*/ 33 w 139"/>
                  <a:gd name="T35" fmla="*/ 53 h 142"/>
                  <a:gd name="T36" fmla="*/ 39 w 139"/>
                  <a:gd name="T37" fmla="*/ 62 h 142"/>
                  <a:gd name="T38" fmla="*/ 45 w 139"/>
                  <a:gd name="T39" fmla="*/ 68 h 142"/>
                  <a:gd name="T40" fmla="*/ 58 w 139"/>
                  <a:gd name="T41" fmla="*/ 76 h 142"/>
                  <a:gd name="T42" fmla="*/ 49 w 139"/>
                  <a:gd name="T43" fmla="*/ 76 h 142"/>
                  <a:gd name="T44" fmla="*/ 36 w 139"/>
                  <a:gd name="T45" fmla="*/ 87 h 142"/>
                  <a:gd name="T46" fmla="*/ 33 w 139"/>
                  <a:gd name="T47" fmla="*/ 92 h 142"/>
                  <a:gd name="T48" fmla="*/ 51 w 139"/>
                  <a:gd name="T49" fmla="*/ 96 h 142"/>
                  <a:gd name="T50" fmla="*/ 36 w 139"/>
                  <a:gd name="T51" fmla="*/ 95 h 142"/>
                  <a:gd name="T52" fmla="*/ 23 w 139"/>
                  <a:gd name="T53" fmla="*/ 104 h 142"/>
                  <a:gd name="T54" fmla="*/ 11 w 139"/>
                  <a:gd name="T55" fmla="*/ 100 h 142"/>
                  <a:gd name="T56" fmla="*/ 2 w 139"/>
                  <a:gd name="T57" fmla="*/ 102 h 142"/>
                  <a:gd name="T58" fmla="*/ 9 w 139"/>
                  <a:gd name="T59" fmla="*/ 110 h 142"/>
                  <a:gd name="T60" fmla="*/ 1 w 139"/>
                  <a:gd name="T61" fmla="*/ 116 h 142"/>
                  <a:gd name="T62" fmla="*/ 4 w 139"/>
                  <a:gd name="T63" fmla="*/ 123 h 142"/>
                  <a:gd name="T64" fmla="*/ 14 w 139"/>
                  <a:gd name="T65" fmla="*/ 122 h 142"/>
                  <a:gd name="T66" fmla="*/ 6 w 139"/>
                  <a:gd name="T67" fmla="*/ 129 h 142"/>
                  <a:gd name="T68" fmla="*/ 19 w 139"/>
                  <a:gd name="T69" fmla="*/ 129 h 142"/>
                  <a:gd name="T70" fmla="*/ 7 w 139"/>
                  <a:gd name="T71" fmla="*/ 138 h 142"/>
                  <a:gd name="T72" fmla="*/ 24 w 139"/>
                  <a:gd name="T73" fmla="*/ 142 h 142"/>
                  <a:gd name="T74" fmla="*/ 50 w 139"/>
                  <a:gd name="T75" fmla="*/ 138 h 142"/>
                  <a:gd name="T76" fmla="*/ 64 w 139"/>
                  <a:gd name="T77" fmla="*/ 135 h 142"/>
                  <a:gd name="T78" fmla="*/ 71 w 139"/>
                  <a:gd name="T79" fmla="*/ 133 h 142"/>
                  <a:gd name="T80" fmla="*/ 86 w 139"/>
                  <a:gd name="T81" fmla="*/ 136 h 142"/>
                  <a:gd name="T82" fmla="*/ 91 w 139"/>
                  <a:gd name="T83" fmla="*/ 136 h 142"/>
                  <a:gd name="T84" fmla="*/ 103 w 139"/>
                  <a:gd name="T85" fmla="*/ 140 h 142"/>
                  <a:gd name="T86" fmla="*/ 109 w 139"/>
                  <a:gd name="T87" fmla="*/ 135 h 142"/>
                  <a:gd name="T88" fmla="*/ 121 w 139"/>
                  <a:gd name="T89" fmla="*/ 118 h 142"/>
                  <a:gd name="T90" fmla="*/ 124 w 139"/>
                  <a:gd name="T91" fmla="*/ 97 h 142"/>
                  <a:gd name="T92" fmla="*/ 131 w 139"/>
                  <a:gd name="T93" fmla="*/ 87 h 142"/>
                  <a:gd name="T94" fmla="*/ 135 w 139"/>
                  <a:gd name="T95" fmla="*/ 76 h 142"/>
                  <a:gd name="T96" fmla="*/ 136 w 139"/>
                  <a:gd name="T97" fmla="*/ 65 h 142"/>
                  <a:gd name="T98" fmla="*/ 138 w 139"/>
                  <a:gd name="T99" fmla="*/ 65 h 142"/>
                  <a:gd name="T100" fmla="*/ 129 w 139"/>
                  <a:gd name="T101" fmla="*/ 48 h 142"/>
                  <a:gd name="T102" fmla="*/ 104 w 139"/>
                  <a:gd name="T103" fmla="*/ 38 h 142"/>
                  <a:gd name="T104" fmla="*/ 113 w 139"/>
                  <a:gd name="T105" fmla="*/ 28 h 142"/>
                  <a:gd name="T106" fmla="*/ 127 w 139"/>
                  <a:gd name="T107" fmla="*/ 16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9" h="142">
                    <a:moveTo>
                      <a:pt x="127" y="16"/>
                    </a:moveTo>
                    <a:cubicBezTo>
                      <a:pt x="128" y="15"/>
                      <a:pt x="128" y="15"/>
                      <a:pt x="129" y="14"/>
                    </a:cubicBezTo>
                    <a:cubicBezTo>
                      <a:pt x="130" y="13"/>
                      <a:pt x="131" y="12"/>
                      <a:pt x="132" y="12"/>
                    </a:cubicBezTo>
                    <a:cubicBezTo>
                      <a:pt x="134" y="11"/>
                      <a:pt x="134" y="11"/>
                      <a:pt x="136" y="11"/>
                    </a:cubicBezTo>
                    <a:cubicBezTo>
                      <a:pt x="137" y="10"/>
                      <a:pt x="139" y="11"/>
                      <a:pt x="139" y="9"/>
                    </a:cubicBezTo>
                    <a:cubicBezTo>
                      <a:pt x="139" y="9"/>
                      <a:pt x="138" y="8"/>
                      <a:pt x="137" y="8"/>
                    </a:cubicBezTo>
                    <a:cubicBezTo>
                      <a:pt x="136" y="6"/>
                      <a:pt x="135" y="5"/>
                      <a:pt x="135" y="3"/>
                    </a:cubicBezTo>
                    <a:cubicBezTo>
                      <a:pt x="134" y="2"/>
                      <a:pt x="133" y="0"/>
                      <a:pt x="132" y="0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3"/>
                      <a:pt x="131" y="4"/>
                      <a:pt x="131" y="6"/>
                    </a:cubicBezTo>
                    <a:cubicBezTo>
                      <a:pt x="130" y="6"/>
                      <a:pt x="129" y="6"/>
                      <a:pt x="129" y="6"/>
                    </a:cubicBezTo>
                    <a:cubicBezTo>
                      <a:pt x="128" y="7"/>
                      <a:pt x="128" y="9"/>
                      <a:pt x="127" y="10"/>
                    </a:cubicBezTo>
                    <a:cubicBezTo>
                      <a:pt x="125" y="12"/>
                      <a:pt x="124" y="15"/>
                      <a:pt x="121" y="16"/>
                    </a:cubicBezTo>
                    <a:cubicBezTo>
                      <a:pt x="121" y="16"/>
                      <a:pt x="121" y="16"/>
                      <a:pt x="121" y="15"/>
                    </a:cubicBezTo>
                    <a:cubicBezTo>
                      <a:pt x="121" y="12"/>
                      <a:pt x="124" y="12"/>
                      <a:pt x="124" y="9"/>
                    </a:cubicBezTo>
                    <a:cubicBezTo>
                      <a:pt x="124" y="8"/>
                      <a:pt x="124" y="7"/>
                      <a:pt x="124" y="6"/>
                    </a:cubicBezTo>
                    <a:cubicBezTo>
                      <a:pt x="124" y="5"/>
                      <a:pt x="124" y="5"/>
                      <a:pt x="124" y="4"/>
                    </a:cubicBezTo>
                    <a:cubicBezTo>
                      <a:pt x="124" y="3"/>
                      <a:pt x="124" y="2"/>
                      <a:pt x="123" y="2"/>
                    </a:cubicBezTo>
                    <a:cubicBezTo>
                      <a:pt x="122" y="2"/>
                      <a:pt x="121" y="2"/>
                      <a:pt x="120" y="3"/>
                    </a:cubicBezTo>
                    <a:cubicBezTo>
                      <a:pt x="119" y="4"/>
                      <a:pt x="119" y="6"/>
                      <a:pt x="117" y="6"/>
                    </a:cubicBezTo>
                    <a:cubicBezTo>
                      <a:pt x="116" y="4"/>
                      <a:pt x="116" y="2"/>
                      <a:pt x="114" y="2"/>
                    </a:cubicBezTo>
                    <a:cubicBezTo>
                      <a:pt x="113" y="2"/>
                      <a:pt x="113" y="3"/>
                      <a:pt x="111" y="3"/>
                    </a:cubicBezTo>
                    <a:cubicBezTo>
                      <a:pt x="110" y="3"/>
                      <a:pt x="110" y="3"/>
                      <a:pt x="109" y="3"/>
                    </a:cubicBezTo>
                    <a:cubicBezTo>
                      <a:pt x="107" y="3"/>
                      <a:pt x="106" y="4"/>
                      <a:pt x="105" y="5"/>
                    </a:cubicBezTo>
                    <a:cubicBezTo>
                      <a:pt x="104" y="6"/>
                      <a:pt x="103" y="6"/>
                      <a:pt x="103" y="6"/>
                    </a:cubicBezTo>
                    <a:cubicBezTo>
                      <a:pt x="101" y="7"/>
                      <a:pt x="101" y="7"/>
                      <a:pt x="100" y="8"/>
                    </a:cubicBezTo>
                    <a:cubicBezTo>
                      <a:pt x="99" y="9"/>
                      <a:pt x="99" y="10"/>
                      <a:pt x="99" y="11"/>
                    </a:cubicBezTo>
                    <a:cubicBezTo>
                      <a:pt x="99" y="12"/>
                      <a:pt x="100" y="12"/>
                      <a:pt x="100" y="13"/>
                    </a:cubicBezTo>
                    <a:cubicBezTo>
                      <a:pt x="99" y="14"/>
                      <a:pt x="98" y="13"/>
                      <a:pt x="98" y="14"/>
                    </a:cubicBezTo>
                    <a:cubicBezTo>
                      <a:pt x="96" y="14"/>
                      <a:pt x="95" y="15"/>
                      <a:pt x="94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0" y="15"/>
                      <a:pt x="89" y="16"/>
                      <a:pt x="88" y="16"/>
                    </a:cubicBezTo>
                    <a:cubicBezTo>
                      <a:pt x="88" y="16"/>
                      <a:pt x="88" y="16"/>
                      <a:pt x="88" y="17"/>
                    </a:cubicBezTo>
                    <a:cubicBezTo>
                      <a:pt x="88" y="19"/>
                      <a:pt x="90" y="19"/>
                      <a:pt x="91" y="20"/>
                    </a:cubicBezTo>
                    <a:cubicBezTo>
                      <a:pt x="93" y="21"/>
                      <a:pt x="93" y="22"/>
                      <a:pt x="95" y="23"/>
                    </a:cubicBezTo>
                    <a:cubicBezTo>
                      <a:pt x="98" y="25"/>
                      <a:pt x="101" y="24"/>
                      <a:pt x="103" y="26"/>
                    </a:cubicBezTo>
                    <a:cubicBezTo>
                      <a:pt x="102" y="27"/>
                      <a:pt x="101" y="27"/>
                      <a:pt x="100" y="27"/>
                    </a:cubicBezTo>
                    <a:cubicBezTo>
                      <a:pt x="98" y="28"/>
                      <a:pt x="97" y="29"/>
                      <a:pt x="95" y="29"/>
                    </a:cubicBezTo>
                    <a:cubicBezTo>
                      <a:pt x="94" y="29"/>
                      <a:pt x="93" y="28"/>
                      <a:pt x="92" y="28"/>
                    </a:cubicBezTo>
                    <a:cubicBezTo>
                      <a:pt x="91" y="28"/>
                      <a:pt x="90" y="28"/>
                      <a:pt x="89" y="29"/>
                    </a:cubicBezTo>
                    <a:cubicBezTo>
                      <a:pt x="87" y="29"/>
                      <a:pt x="86" y="30"/>
                      <a:pt x="85" y="31"/>
                    </a:cubicBezTo>
                    <a:cubicBezTo>
                      <a:pt x="85" y="32"/>
                      <a:pt x="86" y="32"/>
                      <a:pt x="87" y="32"/>
                    </a:cubicBezTo>
                    <a:cubicBezTo>
                      <a:pt x="88" y="33"/>
                      <a:pt x="88" y="34"/>
                      <a:pt x="88" y="34"/>
                    </a:cubicBezTo>
                    <a:cubicBezTo>
                      <a:pt x="89" y="35"/>
                      <a:pt x="90" y="36"/>
                      <a:pt x="90" y="37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8" y="37"/>
                      <a:pt x="88" y="35"/>
                      <a:pt x="86" y="35"/>
                    </a:cubicBezTo>
                    <a:cubicBezTo>
                      <a:pt x="84" y="35"/>
                      <a:pt x="85" y="38"/>
                      <a:pt x="84" y="39"/>
                    </a:cubicBezTo>
                    <a:cubicBezTo>
                      <a:pt x="83" y="37"/>
                      <a:pt x="83" y="35"/>
                      <a:pt x="81" y="33"/>
                    </a:cubicBezTo>
                    <a:cubicBezTo>
                      <a:pt x="80" y="32"/>
                      <a:pt x="79" y="32"/>
                      <a:pt x="77" y="32"/>
                    </a:cubicBezTo>
                    <a:cubicBezTo>
                      <a:pt x="76" y="31"/>
                      <a:pt x="75" y="30"/>
                      <a:pt x="74" y="30"/>
                    </a:cubicBezTo>
                    <a:cubicBezTo>
                      <a:pt x="73" y="30"/>
                      <a:pt x="73" y="31"/>
                      <a:pt x="73" y="31"/>
                    </a:cubicBezTo>
                    <a:cubicBezTo>
                      <a:pt x="72" y="32"/>
                      <a:pt x="72" y="33"/>
                      <a:pt x="70" y="34"/>
                    </a:cubicBezTo>
                    <a:cubicBezTo>
                      <a:pt x="70" y="34"/>
                      <a:pt x="70" y="34"/>
                      <a:pt x="70" y="33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0" y="29"/>
                      <a:pt x="70" y="28"/>
                    </a:cubicBezTo>
                    <a:cubicBezTo>
                      <a:pt x="70" y="25"/>
                      <a:pt x="67" y="25"/>
                      <a:pt x="65" y="24"/>
                    </a:cubicBezTo>
                    <a:cubicBezTo>
                      <a:pt x="62" y="22"/>
                      <a:pt x="61" y="21"/>
                      <a:pt x="58" y="21"/>
                    </a:cubicBezTo>
                    <a:cubicBezTo>
                      <a:pt x="57" y="21"/>
                      <a:pt x="57" y="21"/>
                      <a:pt x="57" y="21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7" y="24"/>
                      <a:pt x="58" y="24"/>
                      <a:pt x="58" y="25"/>
                    </a:cubicBezTo>
                    <a:cubicBezTo>
                      <a:pt x="57" y="25"/>
                      <a:pt x="56" y="25"/>
                      <a:pt x="55" y="25"/>
                    </a:cubicBezTo>
                    <a:cubicBezTo>
                      <a:pt x="55" y="25"/>
                      <a:pt x="54" y="25"/>
                      <a:pt x="54" y="25"/>
                    </a:cubicBezTo>
                    <a:cubicBezTo>
                      <a:pt x="54" y="25"/>
                      <a:pt x="54" y="25"/>
                      <a:pt x="53" y="25"/>
                    </a:cubicBezTo>
                    <a:cubicBezTo>
                      <a:pt x="53" y="23"/>
                      <a:pt x="53" y="21"/>
                      <a:pt x="51" y="21"/>
                    </a:cubicBezTo>
                    <a:cubicBezTo>
                      <a:pt x="50" y="23"/>
                      <a:pt x="47" y="23"/>
                      <a:pt x="45" y="25"/>
                    </a:cubicBezTo>
                    <a:cubicBezTo>
                      <a:pt x="46" y="25"/>
                      <a:pt x="46" y="26"/>
                      <a:pt x="47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6"/>
                      <a:pt x="51" y="26"/>
                      <a:pt x="51" y="27"/>
                    </a:cubicBezTo>
                    <a:cubicBezTo>
                      <a:pt x="51" y="28"/>
                      <a:pt x="49" y="29"/>
                      <a:pt x="48" y="29"/>
                    </a:cubicBezTo>
                    <a:cubicBezTo>
                      <a:pt x="47" y="29"/>
                      <a:pt x="46" y="29"/>
                      <a:pt x="45" y="29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1" y="29"/>
                      <a:pt x="41" y="29"/>
                      <a:pt x="41" y="30"/>
                    </a:cubicBezTo>
                    <a:cubicBezTo>
                      <a:pt x="41" y="31"/>
                      <a:pt x="42" y="31"/>
                      <a:pt x="43" y="32"/>
                    </a:cubicBezTo>
                    <a:cubicBezTo>
                      <a:pt x="43" y="33"/>
                      <a:pt x="43" y="34"/>
                      <a:pt x="43" y="34"/>
                    </a:cubicBezTo>
                    <a:cubicBezTo>
                      <a:pt x="45" y="35"/>
                      <a:pt x="46" y="34"/>
                      <a:pt x="47" y="35"/>
                    </a:cubicBezTo>
                    <a:cubicBezTo>
                      <a:pt x="48" y="35"/>
                      <a:pt x="48" y="36"/>
                      <a:pt x="48" y="37"/>
                    </a:cubicBezTo>
                    <a:cubicBezTo>
                      <a:pt x="49" y="38"/>
                      <a:pt x="49" y="38"/>
                      <a:pt x="50" y="38"/>
                    </a:cubicBezTo>
                    <a:cubicBezTo>
                      <a:pt x="52" y="38"/>
                      <a:pt x="54" y="38"/>
                      <a:pt x="54" y="40"/>
                    </a:cubicBezTo>
                    <a:cubicBezTo>
                      <a:pt x="54" y="41"/>
                      <a:pt x="53" y="41"/>
                      <a:pt x="53" y="42"/>
                    </a:cubicBezTo>
                    <a:cubicBezTo>
                      <a:pt x="52" y="42"/>
                      <a:pt x="52" y="43"/>
                      <a:pt x="51" y="43"/>
                    </a:cubicBezTo>
                    <a:cubicBezTo>
                      <a:pt x="50" y="43"/>
                      <a:pt x="50" y="43"/>
                      <a:pt x="49" y="43"/>
                    </a:cubicBezTo>
                    <a:cubicBezTo>
                      <a:pt x="47" y="43"/>
                      <a:pt x="46" y="43"/>
                      <a:pt x="44" y="43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4" y="49"/>
                      <a:pt x="43" y="49"/>
                    </a:cubicBezTo>
                    <a:cubicBezTo>
                      <a:pt x="42" y="49"/>
                      <a:pt x="41" y="47"/>
                      <a:pt x="39" y="47"/>
                    </a:cubicBezTo>
                    <a:cubicBezTo>
                      <a:pt x="38" y="47"/>
                      <a:pt x="37" y="47"/>
                      <a:pt x="36" y="48"/>
                    </a:cubicBezTo>
                    <a:cubicBezTo>
                      <a:pt x="35" y="48"/>
                      <a:pt x="33" y="48"/>
                      <a:pt x="33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4" y="55"/>
                      <a:pt x="36" y="55"/>
                      <a:pt x="36" y="56"/>
                    </a:cubicBezTo>
                    <a:cubicBezTo>
                      <a:pt x="36" y="57"/>
                      <a:pt x="36" y="59"/>
                      <a:pt x="38" y="59"/>
                    </a:cubicBezTo>
                    <a:cubicBezTo>
                      <a:pt x="39" y="59"/>
                      <a:pt x="39" y="58"/>
                      <a:pt x="40" y="58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40" y="60"/>
                      <a:pt x="39" y="60"/>
                      <a:pt x="39" y="62"/>
                    </a:cubicBezTo>
                    <a:cubicBezTo>
                      <a:pt x="39" y="62"/>
                      <a:pt x="39" y="63"/>
                      <a:pt x="40" y="63"/>
                    </a:cubicBezTo>
                    <a:cubicBezTo>
                      <a:pt x="42" y="63"/>
                      <a:pt x="42" y="61"/>
                      <a:pt x="44" y="61"/>
                    </a:cubicBezTo>
                    <a:cubicBezTo>
                      <a:pt x="45" y="61"/>
                      <a:pt x="45" y="62"/>
                      <a:pt x="45" y="63"/>
                    </a:cubicBezTo>
                    <a:cubicBezTo>
                      <a:pt x="45" y="64"/>
                      <a:pt x="45" y="65"/>
                      <a:pt x="45" y="66"/>
                    </a:cubicBezTo>
                    <a:cubicBezTo>
                      <a:pt x="45" y="68"/>
                      <a:pt x="45" y="68"/>
                      <a:pt x="45" y="68"/>
                    </a:cubicBezTo>
                    <a:cubicBezTo>
                      <a:pt x="47" y="68"/>
                      <a:pt x="48" y="70"/>
                      <a:pt x="51" y="70"/>
                    </a:cubicBezTo>
                    <a:cubicBezTo>
                      <a:pt x="53" y="70"/>
                      <a:pt x="53" y="71"/>
                      <a:pt x="55" y="71"/>
                    </a:cubicBezTo>
                    <a:cubicBezTo>
                      <a:pt x="56" y="71"/>
                      <a:pt x="58" y="71"/>
                      <a:pt x="58" y="72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58" y="76"/>
                      <a:pt x="58" y="76"/>
                      <a:pt x="58" y="76"/>
                    </a:cubicBezTo>
                    <a:cubicBezTo>
                      <a:pt x="58" y="76"/>
                      <a:pt x="57" y="76"/>
                      <a:pt x="57" y="76"/>
                    </a:cubicBezTo>
                    <a:cubicBezTo>
                      <a:pt x="56" y="76"/>
                      <a:pt x="56" y="77"/>
                      <a:pt x="55" y="77"/>
                    </a:cubicBezTo>
                    <a:cubicBezTo>
                      <a:pt x="54" y="77"/>
                      <a:pt x="54" y="76"/>
                      <a:pt x="54" y="76"/>
                    </a:cubicBezTo>
                    <a:cubicBezTo>
                      <a:pt x="53" y="76"/>
                      <a:pt x="52" y="75"/>
                      <a:pt x="51" y="75"/>
                    </a:cubicBezTo>
                    <a:cubicBezTo>
                      <a:pt x="50" y="75"/>
                      <a:pt x="50" y="76"/>
                      <a:pt x="49" y="76"/>
                    </a:cubicBezTo>
                    <a:cubicBezTo>
                      <a:pt x="48" y="77"/>
                      <a:pt x="47" y="77"/>
                      <a:pt x="46" y="78"/>
                    </a:cubicBezTo>
                    <a:cubicBezTo>
                      <a:pt x="45" y="79"/>
                      <a:pt x="43" y="79"/>
                      <a:pt x="43" y="80"/>
                    </a:cubicBezTo>
                    <a:cubicBezTo>
                      <a:pt x="42" y="82"/>
                      <a:pt x="41" y="82"/>
                      <a:pt x="40" y="84"/>
                    </a:cubicBezTo>
                    <a:cubicBezTo>
                      <a:pt x="39" y="84"/>
                      <a:pt x="38" y="85"/>
                      <a:pt x="38" y="86"/>
                    </a:cubicBezTo>
                    <a:cubicBezTo>
                      <a:pt x="37" y="86"/>
                      <a:pt x="37" y="87"/>
                      <a:pt x="36" y="87"/>
                    </a:cubicBezTo>
                    <a:cubicBezTo>
                      <a:pt x="33" y="87"/>
                      <a:pt x="33" y="87"/>
                      <a:pt x="33" y="87"/>
                    </a:cubicBezTo>
                    <a:cubicBezTo>
                      <a:pt x="32" y="87"/>
                      <a:pt x="31" y="87"/>
                      <a:pt x="30" y="88"/>
                    </a:cubicBezTo>
                    <a:cubicBezTo>
                      <a:pt x="28" y="88"/>
                      <a:pt x="26" y="88"/>
                      <a:pt x="24" y="90"/>
                    </a:cubicBezTo>
                    <a:cubicBezTo>
                      <a:pt x="25" y="92"/>
                      <a:pt x="27" y="91"/>
                      <a:pt x="29" y="91"/>
                    </a:cubicBezTo>
                    <a:cubicBezTo>
                      <a:pt x="31" y="91"/>
                      <a:pt x="32" y="92"/>
                      <a:pt x="33" y="92"/>
                    </a:cubicBezTo>
                    <a:cubicBezTo>
                      <a:pt x="36" y="93"/>
                      <a:pt x="38" y="94"/>
                      <a:pt x="41" y="94"/>
                    </a:cubicBezTo>
                    <a:cubicBezTo>
                      <a:pt x="44" y="94"/>
                      <a:pt x="46" y="93"/>
                      <a:pt x="48" y="91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49" y="94"/>
                      <a:pt x="52" y="94"/>
                      <a:pt x="55" y="96"/>
                    </a:cubicBezTo>
                    <a:cubicBezTo>
                      <a:pt x="54" y="96"/>
                      <a:pt x="53" y="96"/>
                      <a:pt x="51" y="96"/>
                    </a:cubicBezTo>
                    <a:cubicBezTo>
                      <a:pt x="51" y="96"/>
                      <a:pt x="50" y="96"/>
                      <a:pt x="50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6" y="96"/>
                      <a:pt x="45" y="97"/>
                      <a:pt x="44" y="97"/>
                    </a:cubicBezTo>
                    <a:cubicBezTo>
                      <a:pt x="40" y="97"/>
                      <a:pt x="40" y="97"/>
                      <a:pt x="40" y="97"/>
                    </a:cubicBezTo>
                    <a:cubicBezTo>
                      <a:pt x="38" y="97"/>
                      <a:pt x="38" y="95"/>
                      <a:pt x="36" y="95"/>
                    </a:cubicBezTo>
                    <a:cubicBezTo>
                      <a:pt x="34" y="95"/>
                      <a:pt x="32" y="95"/>
                      <a:pt x="30" y="96"/>
                    </a:cubicBezTo>
                    <a:cubicBezTo>
                      <a:pt x="29" y="96"/>
                      <a:pt x="29" y="97"/>
                      <a:pt x="28" y="97"/>
                    </a:cubicBezTo>
                    <a:cubicBezTo>
                      <a:pt x="26" y="97"/>
                      <a:pt x="24" y="96"/>
                      <a:pt x="22" y="97"/>
                    </a:cubicBezTo>
                    <a:cubicBezTo>
                      <a:pt x="23" y="100"/>
                      <a:pt x="23" y="101"/>
                      <a:pt x="23" y="103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22" y="105"/>
                      <a:pt x="22" y="105"/>
                      <a:pt x="22" y="105"/>
                    </a:cubicBezTo>
                    <a:cubicBezTo>
                      <a:pt x="19" y="105"/>
                      <a:pt x="17" y="102"/>
                      <a:pt x="17" y="99"/>
                    </a:cubicBezTo>
                    <a:cubicBezTo>
                      <a:pt x="16" y="99"/>
                      <a:pt x="16" y="99"/>
                      <a:pt x="16" y="99"/>
                    </a:cubicBezTo>
                    <a:cubicBezTo>
                      <a:pt x="15" y="100"/>
                      <a:pt x="15" y="101"/>
                      <a:pt x="14" y="101"/>
                    </a:cubicBezTo>
                    <a:cubicBezTo>
                      <a:pt x="13" y="101"/>
                      <a:pt x="12" y="100"/>
                      <a:pt x="11" y="100"/>
                    </a:cubicBezTo>
                    <a:cubicBezTo>
                      <a:pt x="11" y="100"/>
                      <a:pt x="11" y="98"/>
                      <a:pt x="11" y="98"/>
                    </a:cubicBezTo>
                    <a:cubicBezTo>
                      <a:pt x="9" y="98"/>
                      <a:pt x="8" y="99"/>
                      <a:pt x="7" y="99"/>
                    </a:cubicBezTo>
                    <a:cubicBezTo>
                      <a:pt x="4" y="99"/>
                      <a:pt x="4" y="99"/>
                      <a:pt x="4" y="99"/>
                    </a:cubicBezTo>
                    <a:cubicBezTo>
                      <a:pt x="3" y="99"/>
                      <a:pt x="2" y="100"/>
                      <a:pt x="2" y="101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6" y="102"/>
                      <a:pt x="8" y="103"/>
                      <a:pt x="11" y="104"/>
                    </a:cubicBezTo>
                    <a:cubicBezTo>
                      <a:pt x="15" y="106"/>
                      <a:pt x="18" y="106"/>
                      <a:pt x="20" y="110"/>
                    </a:cubicBezTo>
                    <a:cubicBezTo>
                      <a:pt x="20" y="110"/>
                      <a:pt x="20" y="110"/>
                      <a:pt x="19" y="110"/>
                    </a:cubicBezTo>
                    <a:cubicBezTo>
                      <a:pt x="17" y="110"/>
                      <a:pt x="16" y="109"/>
                      <a:pt x="14" y="109"/>
                    </a:cubicBezTo>
                    <a:cubicBezTo>
                      <a:pt x="12" y="109"/>
                      <a:pt x="11" y="110"/>
                      <a:pt x="9" y="110"/>
                    </a:cubicBezTo>
                    <a:cubicBezTo>
                      <a:pt x="8" y="110"/>
                      <a:pt x="7" y="109"/>
                      <a:pt x="7" y="110"/>
                    </a:cubicBezTo>
                    <a:cubicBezTo>
                      <a:pt x="6" y="111"/>
                      <a:pt x="6" y="112"/>
                      <a:pt x="6" y="113"/>
                    </a:cubicBezTo>
                    <a:cubicBezTo>
                      <a:pt x="5" y="113"/>
                      <a:pt x="4" y="113"/>
                      <a:pt x="3" y="113"/>
                    </a:cubicBezTo>
                    <a:cubicBezTo>
                      <a:pt x="2" y="113"/>
                      <a:pt x="1" y="113"/>
                      <a:pt x="1" y="114"/>
                    </a:cubicBezTo>
                    <a:cubicBezTo>
                      <a:pt x="1" y="115"/>
                      <a:pt x="1" y="115"/>
                      <a:pt x="1" y="116"/>
                    </a:cubicBezTo>
                    <a:cubicBezTo>
                      <a:pt x="2" y="116"/>
                      <a:pt x="2" y="117"/>
                      <a:pt x="3" y="117"/>
                    </a:cubicBezTo>
                    <a:cubicBezTo>
                      <a:pt x="4" y="117"/>
                      <a:pt x="6" y="117"/>
                      <a:pt x="6" y="118"/>
                    </a:cubicBezTo>
                    <a:cubicBezTo>
                      <a:pt x="6" y="120"/>
                      <a:pt x="3" y="119"/>
                      <a:pt x="2" y="120"/>
                    </a:cubicBezTo>
                    <a:cubicBezTo>
                      <a:pt x="2" y="120"/>
                      <a:pt x="2" y="120"/>
                      <a:pt x="2" y="120"/>
                    </a:cubicBezTo>
                    <a:cubicBezTo>
                      <a:pt x="2" y="121"/>
                      <a:pt x="3" y="122"/>
                      <a:pt x="4" y="123"/>
                    </a:cubicBezTo>
                    <a:cubicBezTo>
                      <a:pt x="6" y="123"/>
                      <a:pt x="6" y="123"/>
                      <a:pt x="6" y="123"/>
                    </a:cubicBezTo>
                    <a:cubicBezTo>
                      <a:pt x="7" y="123"/>
                      <a:pt x="7" y="122"/>
                      <a:pt x="7" y="122"/>
                    </a:cubicBezTo>
                    <a:cubicBezTo>
                      <a:pt x="9" y="122"/>
                      <a:pt x="9" y="122"/>
                      <a:pt x="11" y="122"/>
                    </a:cubicBezTo>
                    <a:cubicBezTo>
                      <a:pt x="13" y="122"/>
                      <a:pt x="13" y="122"/>
                      <a:pt x="13" y="122"/>
                    </a:cubicBezTo>
                    <a:cubicBezTo>
                      <a:pt x="14" y="122"/>
                      <a:pt x="14" y="122"/>
                      <a:pt x="14" y="122"/>
                    </a:cubicBezTo>
                    <a:cubicBezTo>
                      <a:pt x="13" y="125"/>
                      <a:pt x="11" y="124"/>
                      <a:pt x="8" y="125"/>
                    </a:cubicBezTo>
                    <a:cubicBezTo>
                      <a:pt x="7" y="125"/>
                      <a:pt x="6" y="126"/>
                      <a:pt x="5" y="126"/>
                    </a:cubicBezTo>
                    <a:cubicBezTo>
                      <a:pt x="3" y="127"/>
                      <a:pt x="1" y="126"/>
                      <a:pt x="0" y="128"/>
                    </a:cubicBezTo>
                    <a:cubicBezTo>
                      <a:pt x="1" y="129"/>
                      <a:pt x="2" y="128"/>
                      <a:pt x="3" y="128"/>
                    </a:cubicBezTo>
                    <a:cubicBezTo>
                      <a:pt x="5" y="128"/>
                      <a:pt x="5" y="129"/>
                      <a:pt x="6" y="129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10" y="129"/>
                      <a:pt x="10" y="128"/>
                      <a:pt x="11" y="128"/>
                    </a:cubicBezTo>
                    <a:cubicBezTo>
                      <a:pt x="12" y="128"/>
                      <a:pt x="12" y="129"/>
                      <a:pt x="13" y="129"/>
                    </a:cubicBezTo>
                    <a:cubicBezTo>
                      <a:pt x="15" y="129"/>
                      <a:pt x="15" y="127"/>
                      <a:pt x="17" y="127"/>
                    </a:cubicBezTo>
                    <a:cubicBezTo>
                      <a:pt x="18" y="127"/>
                      <a:pt x="19" y="128"/>
                      <a:pt x="19" y="129"/>
                    </a:cubicBezTo>
                    <a:cubicBezTo>
                      <a:pt x="19" y="131"/>
                      <a:pt x="17" y="131"/>
                      <a:pt x="15" y="131"/>
                    </a:cubicBezTo>
                    <a:cubicBezTo>
                      <a:pt x="9" y="131"/>
                      <a:pt x="9" y="131"/>
                      <a:pt x="9" y="131"/>
                    </a:cubicBezTo>
                    <a:cubicBezTo>
                      <a:pt x="9" y="131"/>
                      <a:pt x="8" y="132"/>
                      <a:pt x="8" y="132"/>
                    </a:cubicBezTo>
                    <a:cubicBezTo>
                      <a:pt x="10" y="134"/>
                      <a:pt x="13" y="132"/>
                      <a:pt x="14" y="135"/>
                    </a:cubicBezTo>
                    <a:cubicBezTo>
                      <a:pt x="11" y="135"/>
                      <a:pt x="8" y="135"/>
                      <a:pt x="7" y="138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8"/>
                      <a:pt x="12" y="137"/>
                      <a:pt x="15" y="137"/>
                    </a:cubicBezTo>
                    <a:cubicBezTo>
                      <a:pt x="16" y="137"/>
                      <a:pt x="16" y="137"/>
                      <a:pt x="18" y="137"/>
                    </a:cubicBezTo>
                    <a:cubicBezTo>
                      <a:pt x="18" y="137"/>
                      <a:pt x="19" y="137"/>
                      <a:pt x="20" y="137"/>
                    </a:cubicBezTo>
                    <a:cubicBezTo>
                      <a:pt x="22" y="137"/>
                      <a:pt x="22" y="142"/>
                      <a:pt x="24" y="142"/>
                    </a:cubicBezTo>
                    <a:cubicBezTo>
                      <a:pt x="26" y="142"/>
                      <a:pt x="26" y="141"/>
                      <a:pt x="28" y="141"/>
                    </a:cubicBezTo>
                    <a:cubicBezTo>
                      <a:pt x="31" y="141"/>
                      <a:pt x="32" y="142"/>
                      <a:pt x="35" y="142"/>
                    </a:cubicBezTo>
                    <a:cubicBezTo>
                      <a:pt x="37" y="142"/>
                      <a:pt x="37" y="141"/>
                      <a:pt x="39" y="141"/>
                    </a:cubicBezTo>
                    <a:cubicBezTo>
                      <a:pt x="42" y="141"/>
                      <a:pt x="43" y="142"/>
                      <a:pt x="45" y="142"/>
                    </a:cubicBezTo>
                    <a:cubicBezTo>
                      <a:pt x="48" y="142"/>
                      <a:pt x="49" y="140"/>
                      <a:pt x="50" y="138"/>
                    </a:cubicBezTo>
                    <a:cubicBezTo>
                      <a:pt x="50" y="136"/>
                      <a:pt x="50" y="135"/>
                      <a:pt x="51" y="133"/>
                    </a:cubicBezTo>
                    <a:cubicBezTo>
                      <a:pt x="52" y="135"/>
                      <a:pt x="52" y="137"/>
                      <a:pt x="53" y="139"/>
                    </a:cubicBezTo>
                    <a:cubicBezTo>
                      <a:pt x="54" y="139"/>
                      <a:pt x="55" y="139"/>
                      <a:pt x="55" y="139"/>
                    </a:cubicBezTo>
                    <a:cubicBezTo>
                      <a:pt x="57" y="139"/>
                      <a:pt x="58" y="140"/>
                      <a:pt x="59" y="140"/>
                    </a:cubicBezTo>
                    <a:cubicBezTo>
                      <a:pt x="62" y="140"/>
                      <a:pt x="61" y="135"/>
                      <a:pt x="64" y="135"/>
                    </a:cubicBezTo>
                    <a:cubicBezTo>
                      <a:pt x="65" y="135"/>
                      <a:pt x="64" y="138"/>
                      <a:pt x="66" y="138"/>
                    </a:cubicBezTo>
                    <a:cubicBezTo>
                      <a:pt x="67" y="138"/>
                      <a:pt x="67" y="137"/>
                      <a:pt x="68" y="137"/>
                    </a:cubicBezTo>
                    <a:cubicBezTo>
                      <a:pt x="69" y="136"/>
                      <a:pt x="70" y="136"/>
                      <a:pt x="72" y="136"/>
                    </a:cubicBezTo>
                    <a:cubicBezTo>
                      <a:pt x="72" y="136"/>
                      <a:pt x="72" y="136"/>
                      <a:pt x="72" y="135"/>
                    </a:cubicBezTo>
                    <a:cubicBezTo>
                      <a:pt x="72" y="134"/>
                      <a:pt x="71" y="134"/>
                      <a:pt x="71" y="133"/>
                    </a:cubicBezTo>
                    <a:cubicBezTo>
                      <a:pt x="71" y="132"/>
                      <a:pt x="72" y="132"/>
                      <a:pt x="73" y="132"/>
                    </a:cubicBezTo>
                    <a:cubicBezTo>
                      <a:pt x="74" y="132"/>
                      <a:pt x="74" y="133"/>
                      <a:pt x="74" y="133"/>
                    </a:cubicBezTo>
                    <a:cubicBezTo>
                      <a:pt x="75" y="134"/>
                      <a:pt x="75" y="134"/>
                      <a:pt x="76" y="134"/>
                    </a:cubicBezTo>
                    <a:cubicBezTo>
                      <a:pt x="78" y="134"/>
                      <a:pt x="78" y="134"/>
                      <a:pt x="78" y="134"/>
                    </a:cubicBezTo>
                    <a:cubicBezTo>
                      <a:pt x="81" y="134"/>
                      <a:pt x="83" y="134"/>
                      <a:pt x="86" y="136"/>
                    </a:cubicBezTo>
                    <a:cubicBezTo>
                      <a:pt x="87" y="136"/>
                      <a:pt x="87" y="137"/>
                      <a:pt x="88" y="137"/>
                    </a:cubicBezTo>
                    <a:cubicBezTo>
                      <a:pt x="89" y="137"/>
                      <a:pt x="89" y="137"/>
                      <a:pt x="89" y="136"/>
                    </a:cubicBezTo>
                    <a:cubicBezTo>
                      <a:pt x="90" y="135"/>
                      <a:pt x="90" y="135"/>
                      <a:pt x="90" y="133"/>
                    </a:cubicBezTo>
                    <a:cubicBezTo>
                      <a:pt x="90" y="133"/>
                      <a:pt x="91" y="133"/>
                      <a:pt x="91" y="132"/>
                    </a:cubicBezTo>
                    <a:cubicBezTo>
                      <a:pt x="91" y="134"/>
                      <a:pt x="91" y="135"/>
                      <a:pt x="91" y="136"/>
                    </a:cubicBezTo>
                    <a:cubicBezTo>
                      <a:pt x="91" y="137"/>
                      <a:pt x="91" y="138"/>
                      <a:pt x="90" y="139"/>
                    </a:cubicBezTo>
                    <a:cubicBezTo>
                      <a:pt x="91" y="139"/>
                      <a:pt x="91" y="139"/>
                      <a:pt x="91" y="139"/>
                    </a:cubicBezTo>
                    <a:cubicBezTo>
                      <a:pt x="93" y="138"/>
                      <a:pt x="94" y="136"/>
                      <a:pt x="96" y="136"/>
                    </a:cubicBezTo>
                    <a:cubicBezTo>
                      <a:pt x="97" y="136"/>
                      <a:pt x="97" y="137"/>
                      <a:pt x="97" y="138"/>
                    </a:cubicBezTo>
                    <a:cubicBezTo>
                      <a:pt x="99" y="139"/>
                      <a:pt x="101" y="139"/>
                      <a:pt x="103" y="140"/>
                    </a:cubicBezTo>
                    <a:cubicBezTo>
                      <a:pt x="104" y="141"/>
                      <a:pt x="104" y="142"/>
                      <a:pt x="105" y="142"/>
                    </a:cubicBezTo>
                    <a:cubicBezTo>
                      <a:pt x="107" y="142"/>
                      <a:pt x="107" y="141"/>
                      <a:pt x="107" y="140"/>
                    </a:cubicBezTo>
                    <a:cubicBezTo>
                      <a:pt x="107" y="139"/>
                      <a:pt x="107" y="139"/>
                      <a:pt x="106" y="138"/>
                    </a:cubicBezTo>
                    <a:cubicBezTo>
                      <a:pt x="106" y="137"/>
                      <a:pt x="106" y="136"/>
                      <a:pt x="105" y="134"/>
                    </a:cubicBezTo>
                    <a:cubicBezTo>
                      <a:pt x="107" y="134"/>
                      <a:pt x="108" y="135"/>
                      <a:pt x="109" y="135"/>
                    </a:cubicBezTo>
                    <a:cubicBezTo>
                      <a:pt x="109" y="133"/>
                      <a:pt x="110" y="132"/>
                      <a:pt x="111" y="129"/>
                    </a:cubicBezTo>
                    <a:cubicBezTo>
                      <a:pt x="112" y="129"/>
                      <a:pt x="112" y="127"/>
                      <a:pt x="114" y="127"/>
                    </a:cubicBezTo>
                    <a:cubicBezTo>
                      <a:pt x="114" y="126"/>
                      <a:pt x="115" y="126"/>
                      <a:pt x="116" y="126"/>
                    </a:cubicBezTo>
                    <a:cubicBezTo>
                      <a:pt x="117" y="125"/>
                      <a:pt x="116" y="123"/>
                      <a:pt x="117" y="122"/>
                    </a:cubicBezTo>
                    <a:cubicBezTo>
                      <a:pt x="118" y="120"/>
                      <a:pt x="120" y="120"/>
                      <a:pt x="121" y="118"/>
                    </a:cubicBezTo>
                    <a:cubicBezTo>
                      <a:pt x="122" y="116"/>
                      <a:pt x="123" y="117"/>
                      <a:pt x="125" y="116"/>
                    </a:cubicBezTo>
                    <a:cubicBezTo>
                      <a:pt x="126" y="115"/>
                      <a:pt x="126" y="114"/>
                      <a:pt x="126" y="112"/>
                    </a:cubicBezTo>
                    <a:cubicBezTo>
                      <a:pt x="127" y="109"/>
                      <a:pt x="128" y="108"/>
                      <a:pt x="128" y="105"/>
                    </a:cubicBezTo>
                    <a:cubicBezTo>
                      <a:pt x="128" y="103"/>
                      <a:pt x="126" y="103"/>
                      <a:pt x="125" y="101"/>
                    </a:cubicBezTo>
                    <a:cubicBezTo>
                      <a:pt x="125" y="100"/>
                      <a:pt x="125" y="99"/>
                      <a:pt x="124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6" y="97"/>
                      <a:pt x="127" y="98"/>
                      <a:pt x="128" y="98"/>
                    </a:cubicBezTo>
                    <a:cubicBezTo>
                      <a:pt x="129" y="98"/>
                      <a:pt x="130" y="98"/>
                      <a:pt x="130" y="97"/>
                    </a:cubicBezTo>
                    <a:cubicBezTo>
                      <a:pt x="130" y="96"/>
                      <a:pt x="130" y="96"/>
                      <a:pt x="130" y="95"/>
                    </a:cubicBezTo>
                    <a:cubicBezTo>
                      <a:pt x="130" y="92"/>
                      <a:pt x="131" y="90"/>
                      <a:pt x="131" y="87"/>
                    </a:cubicBezTo>
                    <a:cubicBezTo>
                      <a:pt x="132" y="87"/>
                      <a:pt x="132" y="87"/>
                      <a:pt x="133" y="87"/>
                    </a:cubicBezTo>
                    <a:cubicBezTo>
                      <a:pt x="133" y="87"/>
                      <a:pt x="133" y="86"/>
                      <a:pt x="133" y="86"/>
                    </a:cubicBezTo>
                    <a:cubicBezTo>
                      <a:pt x="133" y="84"/>
                      <a:pt x="133" y="83"/>
                      <a:pt x="133" y="82"/>
                    </a:cubicBezTo>
                    <a:cubicBezTo>
                      <a:pt x="133" y="81"/>
                      <a:pt x="134" y="80"/>
                      <a:pt x="134" y="79"/>
                    </a:cubicBezTo>
                    <a:cubicBezTo>
                      <a:pt x="135" y="78"/>
                      <a:pt x="135" y="77"/>
                      <a:pt x="135" y="76"/>
                    </a:cubicBezTo>
                    <a:cubicBezTo>
                      <a:pt x="135" y="75"/>
                      <a:pt x="134" y="73"/>
                      <a:pt x="133" y="73"/>
                    </a:cubicBezTo>
                    <a:cubicBezTo>
                      <a:pt x="133" y="70"/>
                      <a:pt x="133" y="70"/>
                      <a:pt x="133" y="70"/>
                    </a:cubicBezTo>
                    <a:cubicBezTo>
                      <a:pt x="133" y="68"/>
                      <a:pt x="132" y="66"/>
                      <a:pt x="133" y="65"/>
                    </a:cubicBezTo>
                    <a:cubicBezTo>
                      <a:pt x="134" y="65"/>
                      <a:pt x="134" y="64"/>
                      <a:pt x="135" y="64"/>
                    </a:cubicBezTo>
                    <a:cubicBezTo>
                      <a:pt x="135" y="64"/>
                      <a:pt x="135" y="65"/>
                      <a:pt x="136" y="65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7" y="68"/>
                      <a:pt x="138" y="67"/>
                      <a:pt x="139" y="67"/>
                    </a:cubicBezTo>
                    <a:cubicBezTo>
                      <a:pt x="139" y="67"/>
                      <a:pt x="139" y="67"/>
                      <a:pt x="139" y="67"/>
                    </a:cubicBezTo>
                    <a:cubicBezTo>
                      <a:pt x="138" y="65"/>
                      <a:pt x="138" y="65"/>
                      <a:pt x="138" y="65"/>
                    </a:cubicBezTo>
                    <a:cubicBezTo>
                      <a:pt x="138" y="63"/>
                      <a:pt x="138" y="63"/>
                      <a:pt x="138" y="63"/>
                    </a:cubicBezTo>
                    <a:cubicBezTo>
                      <a:pt x="138" y="62"/>
                      <a:pt x="139" y="62"/>
                      <a:pt x="139" y="62"/>
                    </a:cubicBezTo>
                    <a:cubicBezTo>
                      <a:pt x="138" y="60"/>
                      <a:pt x="136" y="60"/>
                      <a:pt x="135" y="58"/>
                    </a:cubicBezTo>
                    <a:cubicBezTo>
                      <a:pt x="134" y="58"/>
                      <a:pt x="133" y="57"/>
                      <a:pt x="132" y="56"/>
                    </a:cubicBezTo>
                    <a:cubicBezTo>
                      <a:pt x="130" y="54"/>
                      <a:pt x="132" y="50"/>
                      <a:pt x="129" y="48"/>
                    </a:cubicBezTo>
                    <a:cubicBezTo>
                      <a:pt x="116" y="54"/>
                      <a:pt x="116" y="54"/>
                      <a:pt x="116" y="54"/>
                    </a:cubicBezTo>
                    <a:cubicBezTo>
                      <a:pt x="113" y="53"/>
                      <a:pt x="112" y="51"/>
                      <a:pt x="110" y="49"/>
                    </a:cubicBezTo>
                    <a:cubicBezTo>
                      <a:pt x="109" y="48"/>
                      <a:pt x="109" y="48"/>
                      <a:pt x="108" y="48"/>
                    </a:cubicBezTo>
                    <a:cubicBezTo>
                      <a:pt x="106" y="46"/>
                      <a:pt x="105" y="44"/>
                      <a:pt x="105" y="41"/>
                    </a:cubicBezTo>
                    <a:cubicBezTo>
                      <a:pt x="105" y="40"/>
                      <a:pt x="104" y="39"/>
                      <a:pt x="104" y="38"/>
                    </a:cubicBezTo>
                    <a:cubicBezTo>
                      <a:pt x="104" y="36"/>
                      <a:pt x="105" y="35"/>
                      <a:pt x="105" y="34"/>
                    </a:cubicBezTo>
                    <a:cubicBezTo>
                      <a:pt x="106" y="32"/>
                      <a:pt x="106" y="31"/>
                      <a:pt x="107" y="30"/>
                    </a:cubicBezTo>
                    <a:cubicBezTo>
                      <a:pt x="107" y="30"/>
                      <a:pt x="108" y="30"/>
                      <a:pt x="108" y="30"/>
                    </a:cubicBezTo>
                    <a:cubicBezTo>
                      <a:pt x="110" y="30"/>
                      <a:pt x="111" y="29"/>
                      <a:pt x="113" y="29"/>
                    </a:cubicBezTo>
                    <a:cubicBezTo>
                      <a:pt x="113" y="28"/>
                      <a:pt x="113" y="28"/>
                      <a:pt x="113" y="28"/>
                    </a:cubicBezTo>
                    <a:cubicBezTo>
                      <a:pt x="113" y="26"/>
                      <a:pt x="111" y="26"/>
                      <a:pt x="111" y="25"/>
                    </a:cubicBezTo>
                    <a:cubicBezTo>
                      <a:pt x="111" y="23"/>
                      <a:pt x="113" y="21"/>
                      <a:pt x="115" y="21"/>
                    </a:cubicBezTo>
                    <a:cubicBezTo>
                      <a:pt x="118" y="21"/>
                      <a:pt x="118" y="21"/>
                      <a:pt x="118" y="21"/>
                    </a:cubicBezTo>
                    <a:cubicBezTo>
                      <a:pt x="120" y="21"/>
                      <a:pt x="121" y="21"/>
                      <a:pt x="123" y="19"/>
                    </a:cubicBezTo>
                    <a:cubicBezTo>
                      <a:pt x="124" y="18"/>
                      <a:pt x="125" y="16"/>
                      <a:pt x="127" y="16"/>
                    </a:cubicBezTo>
                    <a:close/>
                  </a:path>
                </a:pathLst>
              </a:custGeom>
              <a:solidFill>
                <a:srgbClr val="BCBEC0"/>
              </a:solidFill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1" name="Freeform 31">
                <a:extLst>
                  <a:ext uri="{FF2B5EF4-FFF2-40B4-BE49-F238E27FC236}">
                    <a16:creationId xmlns:a16="http://schemas.microsoft.com/office/drawing/2014/main" xmlns="" id="{F042298B-6AE2-4370-A857-A5C9D39BE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6925" y="2189460"/>
                <a:ext cx="33528" cy="39359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7 h 13"/>
                  <a:gd name="T4" fmla="*/ 2 w 11"/>
                  <a:gd name="T5" fmla="*/ 6 h 13"/>
                  <a:gd name="T6" fmla="*/ 3 w 11"/>
                  <a:gd name="T7" fmla="*/ 8 h 13"/>
                  <a:gd name="T8" fmla="*/ 5 w 11"/>
                  <a:gd name="T9" fmla="*/ 9 h 13"/>
                  <a:gd name="T10" fmla="*/ 10 w 11"/>
                  <a:gd name="T11" fmla="*/ 13 h 13"/>
                  <a:gd name="T12" fmla="*/ 11 w 11"/>
                  <a:gd name="T13" fmla="*/ 13 h 13"/>
                  <a:gd name="T14" fmla="*/ 11 w 11"/>
                  <a:gd name="T15" fmla="*/ 11 h 13"/>
                  <a:gd name="T16" fmla="*/ 9 w 11"/>
                  <a:gd name="T17" fmla="*/ 9 h 13"/>
                  <a:gd name="T18" fmla="*/ 6 w 11"/>
                  <a:gd name="T19" fmla="*/ 7 h 13"/>
                  <a:gd name="T20" fmla="*/ 6 w 11"/>
                  <a:gd name="T21" fmla="*/ 4 h 13"/>
                  <a:gd name="T22" fmla="*/ 2 w 11"/>
                  <a:gd name="T23" fmla="*/ 1 h 13"/>
                  <a:gd name="T24" fmla="*/ 0 w 11"/>
                  <a:gd name="T25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cubicBezTo>
                      <a:pt x="0" y="6"/>
                      <a:pt x="0" y="7"/>
                      <a:pt x="0" y="7"/>
                    </a:cubicBezTo>
                    <a:cubicBezTo>
                      <a:pt x="1" y="7"/>
                      <a:pt x="2" y="6"/>
                      <a:pt x="2" y="6"/>
                    </a:cubicBezTo>
                    <a:cubicBezTo>
                      <a:pt x="4" y="6"/>
                      <a:pt x="3" y="7"/>
                      <a:pt x="3" y="8"/>
                    </a:cubicBezTo>
                    <a:cubicBezTo>
                      <a:pt x="4" y="9"/>
                      <a:pt x="4" y="9"/>
                      <a:pt x="5" y="9"/>
                    </a:cubicBezTo>
                    <a:cubicBezTo>
                      <a:pt x="7" y="10"/>
                      <a:pt x="8" y="13"/>
                      <a:pt x="1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2"/>
                      <a:pt x="11" y="12"/>
                      <a:pt x="11" y="11"/>
                    </a:cubicBezTo>
                    <a:cubicBezTo>
                      <a:pt x="11" y="10"/>
                      <a:pt x="10" y="9"/>
                      <a:pt x="9" y="9"/>
                    </a:cubicBezTo>
                    <a:cubicBezTo>
                      <a:pt x="8" y="8"/>
                      <a:pt x="6" y="8"/>
                      <a:pt x="6" y="7"/>
                    </a:cubicBezTo>
                    <a:cubicBezTo>
                      <a:pt x="6" y="6"/>
                      <a:pt x="6" y="5"/>
                      <a:pt x="6" y="4"/>
                    </a:cubicBezTo>
                    <a:cubicBezTo>
                      <a:pt x="6" y="2"/>
                      <a:pt x="4" y="0"/>
                      <a:pt x="2" y="1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2" name="Freeform 32">
                <a:extLst>
                  <a:ext uri="{FF2B5EF4-FFF2-40B4-BE49-F238E27FC236}">
                    <a16:creationId xmlns:a16="http://schemas.microsoft.com/office/drawing/2014/main" xmlns="" id="{35AE1441-BC05-49A9-A402-2E8F436A1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0890" y="2220073"/>
                <a:ext cx="13120" cy="14577"/>
              </a:xfrm>
              <a:custGeom>
                <a:avLst/>
                <a:gdLst>
                  <a:gd name="T0" fmla="*/ 4 w 4"/>
                  <a:gd name="T1" fmla="*/ 1 h 5"/>
                  <a:gd name="T2" fmla="*/ 2 w 4"/>
                  <a:gd name="T3" fmla="*/ 0 h 5"/>
                  <a:gd name="T4" fmla="*/ 0 w 4"/>
                  <a:gd name="T5" fmla="*/ 1 h 5"/>
                  <a:gd name="T6" fmla="*/ 3 w 4"/>
                  <a:gd name="T7" fmla="*/ 5 h 5"/>
                  <a:gd name="T8" fmla="*/ 4 w 4"/>
                  <a:gd name="T9" fmla="*/ 5 h 5"/>
                  <a:gd name="T10" fmla="*/ 4 w 4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cubicBezTo>
                      <a:pt x="3" y="0"/>
                      <a:pt x="3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2" y="4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3"/>
                      <a:pt x="4" y="2"/>
                      <a:pt x="4" y="1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3" name="Freeform 33">
                <a:extLst>
                  <a:ext uri="{FF2B5EF4-FFF2-40B4-BE49-F238E27FC236}">
                    <a16:creationId xmlns:a16="http://schemas.microsoft.com/office/drawing/2014/main" xmlns="" id="{9A3F09B0-3331-4D02-8D31-37FB1B8F6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7682" y="2195291"/>
                <a:ext cx="103499" cy="83091"/>
              </a:xfrm>
              <a:custGeom>
                <a:avLst/>
                <a:gdLst>
                  <a:gd name="T0" fmla="*/ 17 w 34"/>
                  <a:gd name="T1" fmla="*/ 7 h 27"/>
                  <a:gd name="T2" fmla="*/ 17 w 34"/>
                  <a:gd name="T3" fmla="*/ 11 h 27"/>
                  <a:gd name="T4" fmla="*/ 13 w 34"/>
                  <a:gd name="T5" fmla="*/ 12 h 27"/>
                  <a:gd name="T6" fmla="*/ 11 w 34"/>
                  <a:gd name="T7" fmla="*/ 11 h 27"/>
                  <a:gd name="T8" fmla="*/ 12 w 34"/>
                  <a:gd name="T9" fmla="*/ 9 h 27"/>
                  <a:gd name="T10" fmla="*/ 12 w 34"/>
                  <a:gd name="T11" fmla="*/ 7 h 27"/>
                  <a:gd name="T12" fmla="*/ 10 w 34"/>
                  <a:gd name="T13" fmla="*/ 7 h 27"/>
                  <a:gd name="T14" fmla="*/ 9 w 34"/>
                  <a:gd name="T15" fmla="*/ 7 h 27"/>
                  <a:gd name="T16" fmla="*/ 7 w 34"/>
                  <a:gd name="T17" fmla="*/ 8 h 27"/>
                  <a:gd name="T18" fmla="*/ 5 w 34"/>
                  <a:gd name="T19" fmla="*/ 9 h 27"/>
                  <a:gd name="T20" fmla="*/ 8 w 34"/>
                  <a:gd name="T21" fmla="*/ 12 h 27"/>
                  <a:gd name="T22" fmla="*/ 9 w 34"/>
                  <a:gd name="T23" fmla="*/ 14 h 27"/>
                  <a:gd name="T24" fmla="*/ 5 w 34"/>
                  <a:gd name="T25" fmla="*/ 16 h 27"/>
                  <a:gd name="T26" fmla="*/ 9 w 34"/>
                  <a:gd name="T27" fmla="*/ 18 h 27"/>
                  <a:gd name="T28" fmla="*/ 8 w 34"/>
                  <a:gd name="T29" fmla="*/ 20 h 27"/>
                  <a:gd name="T30" fmla="*/ 4 w 34"/>
                  <a:gd name="T31" fmla="*/ 23 h 27"/>
                  <a:gd name="T32" fmla="*/ 1 w 34"/>
                  <a:gd name="T33" fmla="*/ 23 h 27"/>
                  <a:gd name="T34" fmla="*/ 1 w 34"/>
                  <a:gd name="T35" fmla="*/ 23 h 27"/>
                  <a:gd name="T36" fmla="*/ 0 w 34"/>
                  <a:gd name="T37" fmla="*/ 23 h 27"/>
                  <a:gd name="T38" fmla="*/ 7 w 34"/>
                  <a:gd name="T39" fmla="*/ 27 h 27"/>
                  <a:gd name="T40" fmla="*/ 10 w 34"/>
                  <a:gd name="T41" fmla="*/ 22 h 27"/>
                  <a:gd name="T42" fmla="*/ 13 w 34"/>
                  <a:gd name="T43" fmla="*/ 20 h 27"/>
                  <a:gd name="T44" fmla="*/ 14 w 34"/>
                  <a:gd name="T45" fmla="*/ 21 h 27"/>
                  <a:gd name="T46" fmla="*/ 16 w 34"/>
                  <a:gd name="T47" fmla="*/ 21 h 27"/>
                  <a:gd name="T48" fmla="*/ 18 w 34"/>
                  <a:gd name="T49" fmla="*/ 22 h 27"/>
                  <a:gd name="T50" fmla="*/ 22 w 34"/>
                  <a:gd name="T51" fmla="*/ 18 h 27"/>
                  <a:gd name="T52" fmla="*/ 18 w 34"/>
                  <a:gd name="T53" fmla="*/ 16 h 27"/>
                  <a:gd name="T54" fmla="*/ 22 w 34"/>
                  <a:gd name="T55" fmla="*/ 14 h 27"/>
                  <a:gd name="T56" fmla="*/ 26 w 34"/>
                  <a:gd name="T57" fmla="*/ 14 h 27"/>
                  <a:gd name="T58" fmla="*/ 28 w 34"/>
                  <a:gd name="T59" fmla="*/ 14 h 27"/>
                  <a:gd name="T60" fmla="*/ 25 w 34"/>
                  <a:gd name="T61" fmla="*/ 11 h 27"/>
                  <a:gd name="T62" fmla="*/ 30 w 34"/>
                  <a:gd name="T63" fmla="*/ 9 h 27"/>
                  <a:gd name="T64" fmla="*/ 32 w 34"/>
                  <a:gd name="T65" fmla="*/ 7 h 27"/>
                  <a:gd name="T66" fmla="*/ 34 w 34"/>
                  <a:gd name="T67" fmla="*/ 4 h 27"/>
                  <a:gd name="T68" fmla="*/ 33 w 34"/>
                  <a:gd name="T69" fmla="*/ 2 h 27"/>
                  <a:gd name="T70" fmla="*/ 32 w 34"/>
                  <a:gd name="T71" fmla="*/ 0 h 27"/>
                  <a:gd name="T72" fmla="*/ 27 w 34"/>
                  <a:gd name="T73" fmla="*/ 2 h 27"/>
                  <a:gd name="T74" fmla="*/ 21 w 34"/>
                  <a:gd name="T75" fmla="*/ 4 h 27"/>
                  <a:gd name="T76" fmla="*/ 17 w 34"/>
                  <a:gd name="T77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" h="27">
                    <a:moveTo>
                      <a:pt x="17" y="7"/>
                    </a:moveTo>
                    <a:cubicBezTo>
                      <a:pt x="17" y="11"/>
                      <a:pt x="17" y="11"/>
                      <a:pt x="17" y="11"/>
                    </a:cubicBezTo>
                    <a:cubicBezTo>
                      <a:pt x="15" y="11"/>
                      <a:pt x="15" y="12"/>
                      <a:pt x="13" y="12"/>
                    </a:cubicBezTo>
                    <a:cubicBezTo>
                      <a:pt x="12" y="12"/>
                      <a:pt x="12" y="11"/>
                      <a:pt x="11" y="11"/>
                    </a:cubicBezTo>
                    <a:cubicBezTo>
                      <a:pt x="11" y="10"/>
                      <a:pt x="12" y="10"/>
                      <a:pt x="12" y="9"/>
                    </a:cubicBezTo>
                    <a:cubicBezTo>
                      <a:pt x="12" y="8"/>
                      <a:pt x="12" y="8"/>
                      <a:pt x="12" y="7"/>
                    </a:cubicBezTo>
                    <a:cubicBezTo>
                      <a:pt x="11" y="7"/>
                      <a:pt x="11" y="7"/>
                      <a:pt x="10" y="7"/>
                    </a:cubicBezTo>
                    <a:cubicBezTo>
                      <a:pt x="10" y="7"/>
                      <a:pt x="10" y="7"/>
                      <a:pt x="9" y="7"/>
                    </a:cubicBezTo>
                    <a:cubicBezTo>
                      <a:pt x="8" y="7"/>
                      <a:pt x="8" y="7"/>
                      <a:pt x="7" y="8"/>
                    </a:cubicBezTo>
                    <a:cubicBezTo>
                      <a:pt x="6" y="8"/>
                      <a:pt x="5" y="8"/>
                      <a:pt x="5" y="9"/>
                    </a:cubicBezTo>
                    <a:cubicBezTo>
                      <a:pt x="5" y="11"/>
                      <a:pt x="7" y="11"/>
                      <a:pt x="8" y="12"/>
                    </a:cubicBezTo>
                    <a:cubicBezTo>
                      <a:pt x="8" y="13"/>
                      <a:pt x="8" y="14"/>
                      <a:pt x="9" y="14"/>
                    </a:cubicBezTo>
                    <a:cubicBezTo>
                      <a:pt x="7" y="15"/>
                      <a:pt x="5" y="14"/>
                      <a:pt x="5" y="16"/>
                    </a:cubicBezTo>
                    <a:cubicBezTo>
                      <a:pt x="5" y="18"/>
                      <a:pt x="9" y="16"/>
                      <a:pt x="9" y="18"/>
                    </a:cubicBezTo>
                    <a:cubicBezTo>
                      <a:pt x="9" y="19"/>
                      <a:pt x="8" y="19"/>
                      <a:pt x="8" y="20"/>
                    </a:cubicBezTo>
                    <a:cubicBezTo>
                      <a:pt x="6" y="22"/>
                      <a:pt x="6" y="23"/>
                      <a:pt x="4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25"/>
                      <a:pt x="4" y="27"/>
                      <a:pt x="7" y="27"/>
                    </a:cubicBezTo>
                    <a:cubicBezTo>
                      <a:pt x="9" y="27"/>
                      <a:pt x="9" y="24"/>
                      <a:pt x="10" y="22"/>
                    </a:cubicBezTo>
                    <a:cubicBezTo>
                      <a:pt x="10" y="21"/>
                      <a:pt x="12" y="21"/>
                      <a:pt x="13" y="20"/>
                    </a:cubicBezTo>
                    <a:cubicBezTo>
                      <a:pt x="13" y="21"/>
                      <a:pt x="14" y="21"/>
                      <a:pt x="14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7" y="21"/>
                      <a:pt x="17" y="22"/>
                      <a:pt x="18" y="22"/>
                    </a:cubicBezTo>
                    <a:cubicBezTo>
                      <a:pt x="20" y="22"/>
                      <a:pt x="21" y="20"/>
                      <a:pt x="22" y="18"/>
                    </a:cubicBezTo>
                    <a:cubicBezTo>
                      <a:pt x="20" y="17"/>
                      <a:pt x="19" y="18"/>
                      <a:pt x="18" y="16"/>
                    </a:cubicBezTo>
                    <a:cubicBezTo>
                      <a:pt x="20" y="16"/>
                      <a:pt x="21" y="15"/>
                      <a:pt x="22" y="14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7" y="13"/>
                      <a:pt x="26" y="12"/>
                      <a:pt x="25" y="11"/>
                    </a:cubicBezTo>
                    <a:cubicBezTo>
                      <a:pt x="27" y="9"/>
                      <a:pt x="28" y="10"/>
                      <a:pt x="30" y="9"/>
                    </a:cubicBezTo>
                    <a:cubicBezTo>
                      <a:pt x="31" y="9"/>
                      <a:pt x="31" y="8"/>
                      <a:pt x="32" y="7"/>
                    </a:cubicBezTo>
                    <a:cubicBezTo>
                      <a:pt x="33" y="6"/>
                      <a:pt x="34" y="6"/>
                      <a:pt x="34" y="4"/>
                    </a:cubicBezTo>
                    <a:cubicBezTo>
                      <a:pt x="34" y="3"/>
                      <a:pt x="34" y="3"/>
                      <a:pt x="33" y="2"/>
                    </a:cubicBezTo>
                    <a:cubicBezTo>
                      <a:pt x="33" y="1"/>
                      <a:pt x="33" y="0"/>
                      <a:pt x="32" y="0"/>
                    </a:cubicBezTo>
                    <a:cubicBezTo>
                      <a:pt x="30" y="0"/>
                      <a:pt x="28" y="1"/>
                      <a:pt x="27" y="2"/>
                    </a:cubicBezTo>
                    <a:cubicBezTo>
                      <a:pt x="25" y="3"/>
                      <a:pt x="23" y="4"/>
                      <a:pt x="21" y="4"/>
                    </a:cubicBezTo>
                    <a:cubicBezTo>
                      <a:pt x="19" y="5"/>
                      <a:pt x="17" y="5"/>
                      <a:pt x="17" y="7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4" name="Freeform 34">
                <a:extLst>
                  <a:ext uri="{FF2B5EF4-FFF2-40B4-BE49-F238E27FC236}">
                    <a16:creationId xmlns:a16="http://schemas.microsoft.com/office/drawing/2014/main" xmlns="" id="{E3BF5B4D-7118-4587-893D-92D8C368F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5612" y="2275466"/>
                <a:ext cx="24782" cy="17493"/>
              </a:xfrm>
              <a:custGeom>
                <a:avLst/>
                <a:gdLst>
                  <a:gd name="T0" fmla="*/ 6 w 8"/>
                  <a:gd name="T1" fmla="*/ 0 h 6"/>
                  <a:gd name="T2" fmla="*/ 4 w 8"/>
                  <a:gd name="T3" fmla="*/ 1 h 6"/>
                  <a:gd name="T4" fmla="*/ 1 w 8"/>
                  <a:gd name="T5" fmla="*/ 1 h 6"/>
                  <a:gd name="T6" fmla="*/ 1 w 8"/>
                  <a:gd name="T7" fmla="*/ 1 h 6"/>
                  <a:gd name="T8" fmla="*/ 0 w 8"/>
                  <a:gd name="T9" fmla="*/ 1 h 6"/>
                  <a:gd name="T10" fmla="*/ 1 w 8"/>
                  <a:gd name="T11" fmla="*/ 2 h 6"/>
                  <a:gd name="T12" fmla="*/ 3 w 8"/>
                  <a:gd name="T13" fmla="*/ 4 h 6"/>
                  <a:gd name="T14" fmla="*/ 4 w 8"/>
                  <a:gd name="T15" fmla="*/ 5 h 6"/>
                  <a:gd name="T16" fmla="*/ 5 w 8"/>
                  <a:gd name="T17" fmla="*/ 6 h 6"/>
                  <a:gd name="T18" fmla="*/ 8 w 8"/>
                  <a:gd name="T19" fmla="*/ 2 h 6"/>
                  <a:gd name="T20" fmla="*/ 6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6" y="0"/>
                    </a:moveTo>
                    <a:cubicBezTo>
                      <a:pt x="5" y="0"/>
                      <a:pt x="5" y="1"/>
                      <a:pt x="4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2" y="3"/>
                      <a:pt x="2" y="3"/>
                      <a:pt x="3" y="4"/>
                    </a:cubicBezTo>
                    <a:cubicBezTo>
                      <a:pt x="3" y="4"/>
                      <a:pt x="4" y="4"/>
                      <a:pt x="4" y="5"/>
                    </a:cubicBezTo>
                    <a:cubicBezTo>
                      <a:pt x="4" y="5"/>
                      <a:pt x="5" y="6"/>
                      <a:pt x="5" y="6"/>
                    </a:cubicBezTo>
                    <a:cubicBezTo>
                      <a:pt x="7" y="6"/>
                      <a:pt x="8" y="4"/>
                      <a:pt x="8" y="2"/>
                    </a:cubicBezTo>
                    <a:cubicBezTo>
                      <a:pt x="8" y="1"/>
                      <a:pt x="7" y="0"/>
                      <a:pt x="6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5" name="Freeform 35">
                <a:extLst>
                  <a:ext uri="{FF2B5EF4-FFF2-40B4-BE49-F238E27FC236}">
                    <a16:creationId xmlns:a16="http://schemas.microsoft.com/office/drawing/2014/main" xmlns="" id="{57FE0F2D-6474-4044-AFD8-F9B1E2B8D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61034" y="2317740"/>
                <a:ext cx="14577" cy="27697"/>
              </a:xfrm>
              <a:custGeom>
                <a:avLst/>
                <a:gdLst>
                  <a:gd name="T0" fmla="*/ 3 w 5"/>
                  <a:gd name="T1" fmla="*/ 0 h 9"/>
                  <a:gd name="T2" fmla="*/ 1 w 5"/>
                  <a:gd name="T3" fmla="*/ 1 h 9"/>
                  <a:gd name="T4" fmla="*/ 0 w 5"/>
                  <a:gd name="T5" fmla="*/ 3 h 9"/>
                  <a:gd name="T6" fmla="*/ 0 w 5"/>
                  <a:gd name="T7" fmla="*/ 6 h 9"/>
                  <a:gd name="T8" fmla="*/ 1 w 5"/>
                  <a:gd name="T9" fmla="*/ 9 h 9"/>
                  <a:gd name="T10" fmla="*/ 2 w 5"/>
                  <a:gd name="T11" fmla="*/ 6 h 9"/>
                  <a:gd name="T12" fmla="*/ 5 w 5"/>
                  <a:gd name="T13" fmla="*/ 2 h 9"/>
                  <a:gd name="T14" fmla="*/ 3 w 5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3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1" y="9"/>
                    </a:cubicBezTo>
                    <a:cubicBezTo>
                      <a:pt x="2" y="8"/>
                      <a:pt x="1" y="7"/>
                      <a:pt x="2" y="6"/>
                    </a:cubicBezTo>
                    <a:cubicBezTo>
                      <a:pt x="3" y="4"/>
                      <a:pt x="5" y="4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6" name="Freeform 36">
                <a:extLst>
                  <a:ext uri="{FF2B5EF4-FFF2-40B4-BE49-F238E27FC236}">
                    <a16:creationId xmlns:a16="http://schemas.microsoft.com/office/drawing/2014/main" xmlns="" id="{B9172915-A52E-47BC-9833-1EE84954D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3513" y="2300247"/>
                <a:ext cx="64140" cy="91838"/>
              </a:xfrm>
              <a:custGeom>
                <a:avLst/>
                <a:gdLst>
                  <a:gd name="T0" fmla="*/ 8 w 21"/>
                  <a:gd name="T1" fmla="*/ 0 h 30"/>
                  <a:gd name="T2" fmla="*/ 7 w 21"/>
                  <a:gd name="T3" fmla="*/ 3 h 30"/>
                  <a:gd name="T4" fmla="*/ 6 w 21"/>
                  <a:gd name="T5" fmla="*/ 5 h 30"/>
                  <a:gd name="T6" fmla="*/ 5 w 21"/>
                  <a:gd name="T7" fmla="*/ 8 h 30"/>
                  <a:gd name="T8" fmla="*/ 4 w 21"/>
                  <a:gd name="T9" fmla="*/ 4 h 30"/>
                  <a:gd name="T10" fmla="*/ 3 w 21"/>
                  <a:gd name="T11" fmla="*/ 4 h 30"/>
                  <a:gd name="T12" fmla="*/ 2 w 21"/>
                  <a:gd name="T13" fmla="*/ 6 h 30"/>
                  <a:gd name="T14" fmla="*/ 0 w 21"/>
                  <a:gd name="T15" fmla="*/ 7 h 30"/>
                  <a:gd name="T16" fmla="*/ 4 w 21"/>
                  <a:gd name="T17" fmla="*/ 12 h 30"/>
                  <a:gd name="T18" fmla="*/ 7 w 21"/>
                  <a:gd name="T19" fmla="*/ 11 h 30"/>
                  <a:gd name="T20" fmla="*/ 9 w 21"/>
                  <a:gd name="T21" fmla="*/ 12 h 30"/>
                  <a:gd name="T22" fmla="*/ 9 w 21"/>
                  <a:gd name="T23" fmla="*/ 16 h 30"/>
                  <a:gd name="T24" fmla="*/ 7 w 21"/>
                  <a:gd name="T25" fmla="*/ 16 h 30"/>
                  <a:gd name="T26" fmla="*/ 6 w 21"/>
                  <a:gd name="T27" fmla="*/ 17 h 30"/>
                  <a:gd name="T28" fmla="*/ 6 w 21"/>
                  <a:gd name="T29" fmla="*/ 19 h 30"/>
                  <a:gd name="T30" fmla="*/ 7 w 21"/>
                  <a:gd name="T31" fmla="*/ 22 h 30"/>
                  <a:gd name="T32" fmla="*/ 9 w 21"/>
                  <a:gd name="T33" fmla="*/ 23 h 30"/>
                  <a:gd name="T34" fmla="*/ 12 w 21"/>
                  <a:gd name="T35" fmla="*/ 24 h 30"/>
                  <a:gd name="T36" fmla="*/ 15 w 21"/>
                  <a:gd name="T37" fmla="*/ 26 h 30"/>
                  <a:gd name="T38" fmla="*/ 14 w 21"/>
                  <a:gd name="T39" fmla="*/ 27 h 30"/>
                  <a:gd name="T40" fmla="*/ 13 w 21"/>
                  <a:gd name="T41" fmla="*/ 29 h 30"/>
                  <a:gd name="T42" fmla="*/ 13 w 21"/>
                  <a:gd name="T43" fmla="*/ 30 h 30"/>
                  <a:gd name="T44" fmla="*/ 13 w 21"/>
                  <a:gd name="T45" fmla="*/ 30 h 30"/>
                  <a:gd name="T46" fmla="*/ 15 w 21"/>
                  <a:gd name="T47" fmla="*/ 29 h 30"/>
                  <a:gd name="T48" fmla="*/ 17 w 21"/>
                  <a:gd name="T49" fmla="*/ 26 h 30"/>
                  <a:gd name="T50" fmla="*/ 21 w 21"/>
                  <a:gd name="T51" fmla="*/ 24 h 30"/>
                  <a:gd name="T52" fmla="*/ 21 w 21"/>
                  <a:gd name="T53" fmla="*/ 23 h 30"/>
                  <a:gd name="T54" fmla="*/ 20 w 21"/>
                  <a:gd name="T55" fmla="*/ 23 h 30"/>
                  <a:gd name="T56" fmla="*/ 19 w 21"/>
                  <a:gd name="T57" fmla="*/ 23 h 30"/>
                  <a:gd name="T58" fmla="*/ 17 w 21"/>
                  <a:gd name="T59" fmla="*/ 23 h 30"/>
                  <a:gd name="T60" fmla="*/ 14 w 21"/>
                  <a:gd name="T61" fmla="*/ 20 h 30"/>
                  <a:gd name="T62" fmla="*/ 13 w 21"/>
                  <a:gd name="T63" fmla="*/ 14 h 30"/>
                  <a:gd name="T64" fmla="*/ 16 w 21"/>
                  <a:gd name="T65" fmla="*/ 10 h 30"/>
                  <a:gd name="T66" fmla="*/ 17 w 21"/>
                  <a:gd name="T67" fmla="*/ 3 h 30"/>
                  <a:gd name="T68" fmla="*/ 17 w 21"/>
                  <a:gd name="T69" fmla="*/ 0 h 30"/>
                  <a:gd name="T70" fmla="*/ 16 w 21"/>
                  <a:gd name="T71" fmla="*/ 0 h 30"/>
                  <a:gd name="T72" fmla="*/ 13 w 21"/>
                  <a:gd name="T73" fmla="*/ 3 h 30"/>
                  <a:gd name="T74" fmla="*/ 13 w 21"/>
                  <a:gd name="T75" fmla="*/ 6 h 30"/>
                  <a:gd name="T76" fmla="*/ 11 w 21"/>
                  <a:gd name="T77" fmla="*/ 7 h 30"/>
                  <a:gd name="T78" fmla="*/ 10 w 21"/>
                  <a:gd name="T79" fmla="*/ 4 h 30"/>
                  <a:gd name="T80" fmla="*/ 8 w 21"/>
                  <a:gd name="T8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1" h="30">
                    <a:moveTo>
                      <a:pt x="8" y="0"/>
                    </a:moveTo>
                    <a:cubicBezTo>
                      <a:pt x="7" y="0"/>
                      <a:pt x="7" y="2"/>
                      <a:pt x="7" y="3"/>
                    </a:cubicBezTo>
                    <a:cubicBezTo>
                      <a:pt x="7" y="4"/>
                      <a:pt x="6" y="4"/>
                      <a:pt x="6" y="5"/>
                    </a:cubicBezTo>
                    <a:cubicBezTo>
                      <a:pt x="5" y="6"/>
                      <a:pt x="6" y="7"/>
                      <a:pt x="5" y="8"/>
                    </a:cubicBezTo>
                    <a:cubicBezTo>
                      <a:pt x="4" y="7"/>
                      <a:pt x="4" y="6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5"/>
                      <a:pt x="2" y="6"/>
                    </a:cubicBezTo>
                    <a:cubicBezTo>
                      <a:pt x="1" y="6"/>
                      <a:pt x="0" y="6"/>
                      <a:pt x="0" y="7"/>
                    </a:cubicBezTo>
                    <a:cubicBezTo>
                      <a:pt x="0" y="9"/>
                      <a:pt x="2" y="12"/>
                      <a:pt x="4" y="12"/>
                    </a:cubicBezTo>
                    <a:cubicBezTo>
                      <a:pt x="5" y="12"/>
                      <a:pt x="6" y="11"/>
                      <a:pt x="7" y="11"/>
                    </a:cubicBezTo>
                    <a:cubicBezTo>
                      <a:pt x="8" y="11"/>
                      <a:pt x="9" y="11"/>
                      <a:pt x="9" y="12"/>
                    </a:cubicBezTo>
                    <a:cubicBezTo>
                      <a:pt x="9" y="14"/>
                      <a:pt x="9" y="15"/>
                      <a:pt x="9" y="16"/>
                    </a:cubicBezTo>
                    <a:cubicBezTo>
                      <a:pt x="8" y="17"/>
                      <a:pt x="8" y="16"/>
                      <a:pt x="7" y="16"/>
                    </a:cubicBezTo>
                    <a:cubicBezTo>
                      <a:pt x="6" y="16"/>
                      <a:pt x="6" y="17"/>
                      <a:pt x="6" y="17"/>
                    </a:cubicBezTo>
                    <a:cubicBezTo>
                      <a:pt x="6" y="18"/>
                      <a:pt x="6" y="18"/>
                      <a:pt x="6" y="19"/>
                    </a:cubicBezTo>
                    <a:cubicBezTo>
                      <a:pt x="7" y="20"/>
                      <a:pt x="6" y="21"/>
                      <a:pt x="7" y="22"/>
                    </a:cubicBezTo>
                    <a:cubicBezTo>
                      <a:pt x="8" y="23"/>
                      <a:pt x="9" y="23"/>
                      <a:pt x="9" y="23"/>
                    </a:cubicBezTo>
                    <a:cubicBezTo>
                      <a:pt x="10" y="23"/>
                      <a:pt x="11" y="24"/>
                      <a:pt x="12" y="24"/>
                    </a:cubicBezTo>
                    <a:cubicBezTo>
                      <a:pt x="13" y="25"/>
                      <a:pt x="15" y="25"/>
                      <a:pt x="15" y="26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8"/>
                      <a:pt x="13" y="28"/>
                      <a:pt x="13" y="29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29"/>
                      <a:pt x="15" y="29"/>
                      <a:pt x="15" y="29"/>
                    </a:cubicBezTo>
                    <a:cubicBezTo>
                      <a:pt x="16" y="28"/>
                      <a:pt x="16" y="27"/>
                      <a:pt x="17" y="26"/>
                    </a:cubicBezTo>
                    <a:cubicBezTo>
                      <a:pt x="19" y="26"/>
                      <a:pt x="20" y="26"/>
                      <a:pt x="21" y="24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5" y="23"/>
                      <a:pt x="15" y="21"/>
                      <a:pt x="14" y="20"/>
                    </a:cubicBezTo>
                    <a:cubicBezTo>
                      <a:pt x="14" y="18"/>
                      <a:pt x="13" y="17"/>
                      <a:pt x="13" y="14"/>
                    </a:cubicBezTo>
                    <a:cubicBezTo>
                      <a:pt x="13" y="12"/>
                      <a:pt x="15" y="12"/>
                      <a:pt x="16" y="10"/>
                    </a:cubicBezTo>
                    <a:cubicBezTo>
                      <a:pt x="17" y="7"/>
                      <a:pt x="17" y="6"/>
                      <a:pt x="17" y="3"/>
                    </a:cubicBezTo>
                    <a:cubicBezTo>
                      <a:pt x="17" y="2"/>
                      <a:pt x="17" y="1"/>
                      <a:pt x="17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3" y="1"/>
                      <a:pt x="13" y="3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7"/>
                      <a:pt x="12" y="7"/>
                      <a:pt x="11" y="7"/>
                    </a:cubicBezTo>
                    <a:cubicBezTo>
                      <a:pt x="10" y="7"/>
                      <a:pt x="10" y="6"/>
                      <a:pt x="10" y="4"/>
                    </a:cubicBezTo>
                    <a:cubicBezTo>
                      <a:pt x="9" y="2"/>
                      <a:pt x="9" y="1"/>
                      <a:pt x="8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7" name="Freeform 37">
                <a:extLst>
                  <a:ext uri="{FF2B5EF4-FFF2-40B4-BE49-F238E27FC236}">
                    <a16:creationId xmlns:a16="http://schemas.microsoft.com/office/drawing/2014/main" xmlns="" id="{67E9A586-C98B-4779-BB93-B5BC7066A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69781" y="2300247"/>
                <a:ext cx="18951" cy="11662"/>
              </a:xfrm>
              <a:custGeom>
                <a:avLst/>
                <a:gdLst>
                  <a:gd name="T0" fmla="*/ 3 w 6"/>
                  <a:gd name="T1" fmla="*/ 0 h 4"/>
                  <a:gd name="T2" fmla="*/ 0 w 6"/>
                  <a:gd name="T3" fmla="*/ 1 h 4"/>
                  <a:gd name="T4" fmla="*/ 2 w 6"/>
                  <a:gd name="T5" fmla="*/ 3 h 4"/>
                  <a:gd name="T6" fmla="*/ 4 w 6"/>
                  <a:gd name="T7" fmla="*/ 4 h 4"/>
                  <a:gd name="T8" fmla="*/ 6 w 6"/>
                  <a:gd name="T9" fmla="*/ 4 h 4"/>
                  <a:gd name="T10" fmla="*/ 6 w 6"/>
                  <a:gd name="T11" fmla="*/ 3 h 4"/>
                  <a:gd name="T12" fmla="*/ 3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3" y="0"/>
                    </a:moveTo>
                    <a:cubicBezTo>
                      <a:pt x="2" y="0"/>
                      <a:pt x="0" y="0"/>
                      <a:pt x="0" y="1"/>
                    </a:cubicBezTo>
                    <a:cubicBezTo>
                      <a:pt x="0" y="2"/>
                      <a:pt x="1" y="2"/>
                      <a:pt x="2" y="3"/>
                    </a:cubicBezTo>
                    <a:cubicBezTo>
                      <a:pt x="3" y="3"/>
                      <a:pt x="3" y="4"/>
                      <a:pt x="4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8" name="Freeform 38">
                <a:extLst>
                  <a:ext uri="{FF2B5EF4-FFF2-40B4-BE49-F238E27FC236}">
                    <a16:creationId xmlns:a16="http://schemas.microsoft.com/office/drawing/2014/main" xmlns="" id="{BAAE9E76-085A-4037-B997-6BD61C514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206" y="2206952"/>
                <a:ext cx="686592" cy="1129743"/>
              </a:xfrm>
              <a:custGeom>
                <a:avLst/>
                <a:gdLst>
                  <a:gd name="T0" fmla="*/ 185 w 223"/>
                  <a:gd name="T1" fmla="*/ 242 h 367"/>
                  <a:gd name="T2" fmla="*/ 181 w 223"/>
                  <a:gd name="T3" fmla="*/ 278 h 367"/>
                  <a:gd name="T4" fmla="*/ 217 w 223"/>
                  <a:gd name="T5" fmla="*/ 287 h 367"/>
                  <a:gd name="T6" fmla="*/ 209 w 223"/>
                  <a:gd name="T7" fmla="*/ 322 h 367"/>
                  <a:gd name="T8" fmla="*/ 182 w 223"/>
                  <a:gd name="T9" fmla="*/ 341 h 367"/>
                  <a:gd name="T10" fmla="*/ 197 w 223"/>
                  <a:gd name="T11" fmla="*/ 357 h 367"/>
                  <a:gd name="T12" fmla="*/ 155 w 223"/>
                  <a:gd name="T13" fmla="*/ 361 h 367"/>
                  <a:gd name="T14" fmla="*/ 127 w 223"/>
                  <a:gd name="T15" fmla="*/ 351 h 367"/>
                  <a:gd name="T16" fmla="*/ 111 w 223"/>
                  <a:gd name="T17" fmla="*/ 352 h 367"/>
                  <a:gd name="T18" fmla="*/ 100 w 223"/>
                  <a:gd name="T19" fmla="*/ 356 h 367"/>
                  <a:gd name="T20" fmla="*/ 68 w 223"/>
                  <a:gd name="T21" fmla="*/ 342 h 367"/>
                  <a:gd name="T22" fmla="*/ 52 w 223"/>
                  <a:gd name="T23" fmla="*/ 356 h 367"/>
                  <a:gd name="T24" fmla="*/ 26 w 223"/>
                  <a:gd name="T25" fmla="*/ 344 h 367"/>
                  <a:gd name="T26" fmla="*/ 12 w 223"/>
                  <a:gd name="T27" fmla="*/ 345 h 367"/>
                  <a:gd name="T28" fmla="*/ 0 w 223"/>
                  <a:gd name="T29" fmla="*/ 345 h 367"/>
                  <a:gd name="T30" fmla="*/ 31 w 223"/>
                  <a:gd name="T31" fmla="*/ 328 h 367"/>
                  <a:gd name="T32" fmla="*/ 53 w 223"/>
                  <a:gd name="T33" fmla="*/ 317 h 367"/>
                  <a:gd name="T34" fmla="*/ 85 w 223"/>
                  <a:gd name="T35" fmla="*/ 323 h 367"/>
                  <a:gd name="T36" fmla="*/ 101 w 223"/>
                  <a:gd name="T37" fmla="*/ 306 h 367"/>
                  <a:gd name="T38" fmla="*/ 77 w 223"/>
                  <a:gd name="T39" fmla="*/ 311 h 367"/>
                  <a:gd name="T40" fmla="*/ 59 w 223"/>
                  <a:gd name="T41" fmla="*/ 291 h 367"/>
                  <a:gd name="T42" fmla="*/ 43 w 223"/>
                  <a:gd name="T43" fmla="*/ 284 h 367"/>
                  <a:gd name="T44" fmla="*/ 43 w 223"/>
                  <a:gd name="T45" fmla="*/ 271 h 367"/>
                  <a:gd name="T46" fmla="*/ 78 w 223"/>
                  <a:gd name="T47" fmla="*/ 262 h 367"/>
                  <a:gd name="T48" fmla="*/ 65 w 223"/>
                  <a:gd name="T49" fmla="*/ 245 h 367"/>
                  <a:gd name="T50" fmla="*/ 78 w 223"/>
                  <a:gd name="T51" fmla="*/ 233 h 367"/>
                  <a:gd name="T52" fmla="*/ 81 w 223"/>
                  <a:gd name="T53" fmla="*/ 222 h 367"/>
                  <a:gd name="T54" fmla="*/ 94 w 223"/>
                  <a:gd name="T55" fmla="*/ 231 h 367"/>
                  <a:gd name="T56" fmla="*/ 116 w 223"/>
                  <a:gd name="T57" fmla="*/ 241 h 367"/>
                  <a:gd name="T58" fmla="*/ 122 w 223"/>
                  <a:gd name="T59" fmla="*/ 218 h 367"/>
                  <a:gd name="T60" fmla="*/ 127 w 223"/>
                  <a:gd name="T61" fmla="*/ 208 h 367"/>
                  <a:gd name="T62" fmla="*/ 123 w 223"/>
                  <a:gd name="T63" fmla="*/ 199 h 367"/>
                  <a:gd name="T64" fmla="*/ 117 w 223"/>
                  <a:gd name="T65" fmla="*/ 178 h 367"/>
                  <a:gd name="T66" fmla="*/ 111 w 223"/>
                  <a:gd name="T67" fmla="*/ 163 h 367"/>
                  <a:gd name="T68" fmla="*/ 99 w 223"/>
                  <a:gd name="T69" fmla="*/ 169 h 367"/>
                  <a:gd name="T70" fmla="*/ 83 w 223"/>
                  <a:gd name="T71" fmla="*/ 150 h 367"/>
                  <a:gd name="T72" fmla="*/ 92 w 223"/>
                  <a:gd name="T73" fmla="*/ 144 h 367"/>
                  <a:gd name="T74" fmla="*/ 115 w 223"/>
                  <a:gd name="T75" fmla="*/ 118 h 367"/>
                  <a:gd name="T76" fmla="*/ 110 w 223"/>
                  <a:gd name="T77" fmla="*/ 98 h 367"/>
                  <a:gd name="T78" fmla="*/ 82 w 223"/>
                  <a:gd name="T79" fmla="*/ 127 h 367"/>
                  <a:gd name="T80" fmla="*/ 94 w 223"/>
                  <a:gd name="T81" fmla="*/ 102 h 367"/>
                  <a:gd name="T82" fmla="*/ 112 w 223"/>
                  <a:gd name="T83" fmla="*/ 81 h 367"/>
                  <a:gd name="T84" fmla="*/ 94 w 223"/>
                  <a:gd name="T85" fmla="*/ 72 h 367"/>
                  <a:gd name="T86" fmla="*/ 104 w 223"/>
                  <a:gd name="T87" fmla="*/ 65 h 367"/>
                  <a:gd name="T88" fmla="*/ 111 w 223"/>
                  <a:gd name="T89" fmla="*/ 52 h 367"/>
                  <a:gd name="T90" fmla="*/ 110 w 223"/>
                  <a:gd name="T91" fmla="*/ 41 h 367"/>
                  <a:gd name="T92" fmla="*/ 119 w 223"/>
                  <a:gd name="T93" fmla="*/ 38 h 367"/>
                  <a:gd name="T94" fmla="*/ 128 w 223"/>
                  <a:gd name="T95" fmla="*/ 33 h 367"/>
                  <a:gd name="T96" fmla="*/ 137 w 223"/>
                  <a:gd name="T97" fmla="*/ 16 h 367"/>
                  <a:gd name="T98" fmla="*/ 154 w 223"/>
                  <a:gd name="T99" fmla="*/ 9 h 367"/>
                  <a:gd name="T100" fmla="*/ 181 w 223"/>
                  <a:gd name="T101" fmla="*/ 16 h 367"/>
                  <a:gd name="T102" fmla="*/ 166 w 223"/>
                  <a:gd name="T103" fmla="*/ 33 h 367"/>
                  <a:gd name="T104" fmla="*/ 158 w 223"/>
                  <a:gd name="T105" fmla="*/ 44 h 367"/>
                  <a:gd name="T106" fmla="*/ 148 w 223"/>
                  <a:gd name="T107" fmla="*/ 52 h 367"/>
                  <a:gd name="T108" fmla="*/ 171 w 223"/>
                  <a:gd name="T109" fmla="*/ 53 h 367"/>
                  <a:gd name="T110" fmla="*/ 192 w 223"/>
                  <a:gd name="T111" fmla="*/ 78 h 367"/>
                  <a:gd name="T112" fmla="*/ 157 w 223"/>
                  <a:gd name="T113" fmla="*/ 107 h 367"/>
                  <a:gd name="T114" fmla="*/ 163 w 223"/>
                  <a:gd name="T115" fmla="*/ 117 h 367"/>
                  <a:gd name="T116" fmla="*/ 133 w 223"/>
                  <a:gd name="T117" fmla="*/ 117 h 367"/>
                  <a:gd name="T118" fmla="*/ 173 w 223"/>
                  <a:gd name="T119" fmla="*/ 146 h 367"/>
                  <a:gd name="T120" fmla="*/ 177 w 223"/>
                  <a:gd name="T121" fmla="*/ 195 h 367"/>
                  <a:gd name="T122" fmla="*/ 191 w 223"/>
                  <a:gd name="T123" fmla="*/ 23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3" h="367">
                    <a:moveTo>
                      <a:pt x="191" y="236"/>
                    </a:moveTo>
                    <a:cubicBezTo>
                      <a:pt x="192" y="238"/>
                      <a:pt x="194" y="239"/>
                      <a:pt x="194" y="242"/>
                    </a:cubicBezTo>
                    <a:cubicBezTo>
                      <a:pt x="193" y="242"/>
                      <a:pt x="193" y="242"/>
                      <a:pt x="192" y="242"/>
                    </a:cubicBezTo>
                    <a:cubicBezTo>
                      <a:pt x="190" y="242"/>
                      <a:pt x="190" y="241"/>
                      <a:pt x="188" y="240"/>
                    </a:cubicBezTo>
                    <a:cubicBezTo>
                      <a:pt x="185" y="238"/>
                      <a:pt x="184" y="238"/>
                      <a:pt x="180" y="237"/>
                    </a:cubicBezTo>
                    <a:cubicBezTo>
                      <a:pt x="179" y="236"/>
                      <a:pt x="178" y="235"/>
                      <a:pt x="177" y="235"/>
                    </a:cubicBezTo>
                    <a:cubicBezTo>
                      <a:pt x="175" y="235"/>
                      <a:pt x="175" y="236"/>
                      <a:pt x="173" y="237"/>
                    </a:cubicBezTo>
                    <a:cubicBezTo>
                      <a:pt x="172" y="237"/>
                      <a:pt x="172" y="237"/>
                      <a:pt x="171" y="237"/>
                    </a:cubicBezTo>
                    <a:cubicBezTo>
                      <a:pt x="173" y="240"/>
                      <a:pt x="176" y="239"/>
                      <a:pt x="180" y="241"/>
                    </a:cubicBezTo>
                    <a:cubicBezTo>
                      <a:pt x="182" y="242"/>
                      <a:pt x="184" y="241"/>
                      <a:pt x="185" y="242"/>
                    </a:cubicBezTo>
                    <a:cubicBezTo>
                      <a:pt x="186" y="244"/>
                      <a:pt x="186" y="245"/>
                      <a:pt x="187" y="247"/>
                    </a:cubicBezTo>
                    <a:cubicBezTo>
                      <a:pt x="188" y="250"/>
                      <a:pt x="190" y="251"/>
                      <a:pt x="192" y="254"/>
                    </a:cubicBezTo>
                    <a:cubicBezTo>
                      <a:pt x="193" y="255"/>
                      <a:pt x="193" y="256"/>
                      <a:pt x="193" y="258"/>
                    </a:cubicBezTo>
                    <a:cubicBezTo>
                      <a:pt x="194" y="261"/>
                      <a:pt x="194" y="263"/>
                      <a:pt x="194" y="267"/>
                    </a:cubicBezTo>
                    <a:cubicBezTo>
                      <a:pt x="194" y="268"/>
                      <a:pt x="194" y="268"/>
                      <a:pt x="194" y="269"/>
                    </a:cubicBezTo>
                    <a:cubicBezTo>
                      <a:pt x="193" y="270"/>
                      <a:pt x="192" y="270"/>
                      <a:pt x="191" y="271"/>
                    </a:cubicBezTo>
                    <a:cubicBezTo>
                      <a:pt x="190" y="271"/>
                      <a:pt x="190" y="272"/>
                      <a:pt x="188" y="272"/>
                    </a:cubicBezTo>
                    <a:cubicBezTo>
                      <a:pt x="187" y="273"/>
                      <a:pt x="186" y="274"/>
                      <a:pt x="184" y="275"/>
                    </a:cubicBezTo>
                    <a:cubicBezTo>
                      <a:pt x="184" y="275"/>
                      <a:pt x="183" y="276"/>
                      <a:pt x="183" y="276"/>
                    </a:cubicBezTo>
                    <a:cubicBezTo>
                      <a:pt x="182" y="277"/>
                      <a:pt x="181" y="277"/>
                      <a:pt x="181" y="278"/>
                    </a:cubicBezTo>
                    <a:cubicBezTo>
                      <a:pt x="181" y="279"/>
                      <a:pt x="181" y="280"/>
                      <a:pt x="183" y="280"/>
                    </a:cubicBezTo>
                    <a:cubicBezTo>
                      <a:pt x="184" y="281"/>
                      <a:pt x="185" y="280"/>
                      <a:pt x="186" y="281"/>
                    </a:cubicBezTo>
                    <a:cubicBezTo>
                      <a:pt x="187" y="282"/>
                      <a:pt x="186" y="283"/>
                      <a:pt x="186" y="285"/>
                    </a:cubicBezTo>
                    <a:cubicBezTo>
                      <a:pt x="187" y="285"/>
                      <a:pt x="187" y="285"/>
                      <a:pt x="188" y="285"/>
                    </a:cubicBezTo>
                    <a:cubicBezTo>
                      <a:pt x="188" y="285"/>
                      <a:pt x="188" y="284"/>
                      <a:pt x="189" y="284"/>
                    </a:cubicBezTo>
                    <a:cubicBezTo>
                      <a:pt x="190" y="284"/>
                      <a:pt x="190" y="284"/>
                      <a:pt x="190" y="285"/>
                    </a:cubicBezTo>
                    <a:cubicBezTo>
                      <a:pt x="192" y="284"/>
                      <a:pt x="192" y="283"/>
                      <a:pt x="193" y="282"/>
                    </a:cubicBezTo>
                    <a:cubicBezTo>
                      <a:pt x="196" y="280"/>
                      <a:pt x="198" y="280"/>
                      <a:pt x="200" y="280"/>
                    </a:cubicBezTo>
                    <a:cubicBezTo>
                      <a:pt x="202" y="280"/>
                      <a:pt x="203" y="281"/>
                      <a:pt x="205" y="282"/>
                    </a:cubicBezTo>
                    <a:cubicBezTo>
                      <a:pt x="210" y="283"/>
                      <a:pt x="213" y="284"/>
                      <a:pt x="217" y="287"/>
                    </a:cubicBezTo>
                    <a:cubicBezTo>
                      <a:pt x="218" y="287"/>
                      <a:pt x="218" y="288"/>
                      <a:pt x="218" y="288"/>
                    </a:cubicBezTo>
                    <a:cubicBezTo>
                      <a:pt x="220" y="290"/>
                      <a:pt x="221" y="291"/>
                      <a:pt x="221" y="293"/>
                    </a:cubicBezTo>
                    <a:cubicBezTo>
                      <a:pt x="222" y="296"/>
                      <a:pt x="223" y="298"/>
                      <a:pt x="223" y="302"/>
                    </a:cubicBezTo>
                    <a:cubicBezTo>
                      <a:pt x="223" y="304"/>
                      <a:pt x="222" y="306"/>
                      <a:pt x="220" y="307"/>
                    </a:cubicBezTo>
                    <a:cubicBezTo>
                      <a:pt x="219" y="309"/>
                      <a:pt x="219" y="311"/>
                      <a:pt x="217" y="313"/>
                    </a:cubicBezTo>
                    <a:cubicBezTo>
                      <a:pt x="217" y="314"/>
                      <a:pt x="217" y="314"/>
                      <a:pt x="216" y="315"/>
                    </a:cubicBezTo>
                    <a:cubicBezTo>
                      <a:pt x="215" y="317"/>
                      <a:pt x="214" y="319"/>
                      <a:pt x="212" y="319"/>
                    </a:cubicBezTo>
                    <a:cubicBezTo>
                      <a:pt x="211" y="319"/>
                      <a:pt x="211" y="318"/>
                      <a:pt x="210" y="318"/>
                    </a:cubicBezTo>
                    <a:cubicBezTo>
                      <a:pt x="209" y="318"/>
                      <a:pt x="209" y="318"/>
                      <a:pt x="209" y="319"/>
                    </a:cubicBezTo>
                    <a:cubicBezTo>
                      <a:pt x="209" y="322"/>
                      <a:pt x="209" y="322"/>
                      <a:pt x="209" y="322"/>
                    </a:cubicBezTo>
                    <a:cubicBezTo>
                      <a:pt x="209" y="324"/>
                      <a:pt x="207" y="325"/>
                      <a:pt x="206" y="327"/>
                    </a:cubicBezTo>
                    <a:cubicBezTo>
                      <a:pt x="203" y="327"/>
                      <a:pt x="203" y="327"/>
                      <a:pt x="203" y="327"/>
                    </a:cubicBezTo>
                    <a:cubicBezTo>
                      <a:pt x="201" y="327"/>
                      <a:pt x="200" y="327"/>
                      <a:pt x="198" y="327"/>
                    </a:cubicBezTo>
                    <a:cubicBezTo>
                      <a:pt x="197" y="327"/>
                      <a:pt x="196" y="327"/>
                      <a:pt x="196" y="327"/>
                    </a:cubicBezTo>
                    <a:cubicBezTo>
                      <a:pt x="195" y="327"/>
                      <a:pt x="195" y="327"/>
                      <a:pt x="195" y="328"/>
                    </a:cubicBezTo>
                    <a:cubicBezTo>
                      <a:pt x="195" y="329"/>
                      <a:pt x="195" y="330"/>
                      <a:pt x="195" y="331"/>
                    </a:cubicBezTo>
                    <a:cubicBezTo>
                      <a:pt x="195" y="333"/>
                      <a:pt x="194" y="335"/>
                      <a:pt x="192" y="336"/>
                    </a:cubicBezTo>
                    <a:cubicBezTo>
                      <a:pt x="191" y="337"/>
                      <a:pt x="191" y="337"/>
                      <a:pt x="190" y="337"/>
                    </a:cubicBezTo>
                    <a:cubicBezTo>
                      <a:pt x="189" y="337"/>
                      <a:pt x="188" y="337"/>
                      <a:pt x="187" y="337"/>
                    </a:cubicBezTo>
                    <a:cubicBezTo>
                      <a:pt x="184" y="337"/>
                      <a:pt x="184" y="341"/>
                      <a:pt x="182" y="341"/>
                    </a:cubicBezTo>
                    <a:cubicBezTo>
                      <a:pt x="180" y="341"/>
                      <a:pt x="180" y="340"/>
                      <a:pt x="179" y="341"/>
                    </a:cubicBezTo>
                    <a:cubicBezTo>
                      <a:pt x="179" y="342"/>
                      <a:pt x="180" y="342"/>
                      <a:pt x="181" y="342"/>
                    </a:cubicBezTo>
                    <a:cubicBezTo>
                      <a:pt x="183" y="343"/>
                      <a:pt x="183" y="343"/>
                      <a:pt x="185" y="345"/>
                    </a:cubicBezTo>
                    <a:cubicBezTo>
                      <a:pt x="185" y="345"/>
                      <a:pt x="186" y="345"/>
                      <a:pt x="187" y="346"/>
                    </a:cubicBezTo>
                    <a:cubicBezTo>
                      <a:pt x="189" y="346"/>
                      <a:pt x="189" y="346"/>
                      <a:pt x="189" y="346"/>
                    </a:cubicBezTo>
                    <a:cubicBezTo>
                      <a:pt x="190" y="346"/>
                      <a:pt x="191" y="346"/>
                      <a:pt x="191" y="346"/>
                    </a:cubicBezTo>
                    <a:cubicBezTo>
                      <a:pt x="193" y="346"/>
                      <a:pt x="195" y="347"/>
                      <a:pt x="197" y="347"/>
                    </a:cubicBezTo>
                    <a:cubicBezTo>
                      <a:pt x="198" y="347"/>
                      <a:pt x="198" y="346"/>
                      <a:pt x="199" y="347"/>
                    </a:cubicBezTo>
                    <a:cubicBezTo>
                      <a:pt x="200" y="347"/>
                      <a:pt x="200" y="348"/>
                      <a:pt x="200" y="349"/>
                    </a:cubicBezTo>
                    <a:cubicBezTo>
                      <a:pt x="200" y="352"/>
                      <a:pt x="199" y="355"/>
                      <a:pt x="197" y="357"/>
                    </a:cubicBezTo>
                    <a:cubicBezTo>
                      <a:pt x="196" y="358"/>
                      <a:pt x="196" y="358"/>
                      <a:pt x="195" y="358"/>
                    </a:cubicBezTo>
                    <a:cubicBezTo>
                      <a:pt x="193" y="360"/>
                      <a:pt x="191" y="359"/>
                      <a:pt x="189" y="361"/>
                    </a:cubicBezTo>
                    <a:cubicBezTo>
                      <a:pt x="187" y="362"/>
                      <a:pt x="186" y="365"/>
                      <a:pt x="184" y="365"/>
                    </a:cubicBezTo>
                    <a:cubicBezTo>
                      <a:pt x="182" y="365"/>
                      <a:pt x="181" y="364"/>
                      <a:pt x="179" y="364"/>
                    </a:cubicBezTo>
                    <a:cubicBezTo>
                      <a:pt x="176" y="364"/>
                      <a:pt x="175" y="365"/>
                      <a:pt x="173" y="365"/>
                    </a:cubicBezTo>
                    <a:cubicBezTo>
                      <a:pt x="169" y="365"/>
                      <a:pt x="169" y="365"/>
                      <a:pt x="169" y="365"/>
                    </a:cubicBezTo>
                    <a:cubicBezTo>
                      <a:pt x="168" y="365"/>
                      <a:pt x="167" y="365"/>
                      <a:pt x="165" y="365"/>
                    </a:cubicBezTo>
                    <a:cubicBezTo>
                      <a:pt x="164" y="366"/>
                      <a:pt x="163" y="367"/>
                      <a:pt x="162" y="367"/>
                    </a:cubicBezTo>
                    <a:cubicBezTo>
                      <a:pt x="160" y="367"/>
                      <a:pt x="160" y="365"/>
                      <a:pt x="158" y="364"/>
                    </a:cubicBezTo>
                    <a:cubicBezTo>
                      <a:pt x="157" y="363"/>
                      <a:pt x="156" y="363"/>
                      <a:pt x="155" y="361"/>
                    </a:cubicBezTo>
                    <a:cubicBezTo>
                      <a:pt x="155" y="361"/>
                      <a:pt x="154" y="360"/>
                      <a:pt x="153" y="360"/>
                    </a:cubicBezTo>
                    <a:cubicBezTo>
                      <a:pt x="152" y="360"/>
                      <a:pt x="151" y="361"/>
                      <a:pt x="149" y="361"/>
                    </a:cubicBezTo>
                    <a:cubicBezTo>
                      <a:pt x="147" y="361"/>
                      <a:pt x="146" y="359"/>
                      <a:pt x="143" y="359"/>
                    </a:cubicBezTo>
                    <a:cubicBezTo>
                      <a:pt x="141" y="359"/>
                      <a:pt x="140" y="360"/>
                      <a:pt x="139" y="362"/>
                    </a:cubicBezTo>
                    <a:cubicBezTo>
                      <a:pt x="138" y="361"/>
                      <a:pt x="138" y="359"/>
                      <a:pt x="136" y="359"/>
                    </a:cubicBezTo>
                    <a:cubicBezTo>
                      <a:pt x="136" y="358"/>
                      <a:pt x="136" y="358"/>
                      <a:pt x="136" y="357"/>
                    </a:cubicBezTo>
                    <a:cubicBezTo>
                      <a:pt x="137" y="356"/>
                      <a:pt x="139" y="357"/>
                      <a:pt x="139" y="355"/>
                    </a:cubicBezTo>
                    <a:cubicBezTo>
                      <a:pt x="139" y="355"/>
                      <a:pt x="138" y="355"/>
                      <a:pt x="137" y="354"/>
                    </a:cubicBezTo>
                    <a:cubicBezTo>
                      <a:pt x="137" y="353"/>
                      <a:pt x="136" y="353"/>
                      <a:pt x="135" y="353"/>
                    </a:cubicBezTo>
                    <a:cubicBezTo>
                      <a:pt x="132" y="351"/>
                      <a:pt x="130" y="352"/>
                      <a:pt x="127" y="351"/>
                    </a:cubicBezTo>
                    <a:cubicBezTo>
                      <a:pt x="127" y="350"/>
                      <a:pt x="127" y="350"/>
                      <a:pt x="127" y="350"/>
                    </a:cubicBezTo>
                    <a:cubicBezTo>
                      <a:pt x="127" y="348"/>
                      <a:pt x="125" y="348"/>
                      <a:pt x="124" y="347"/>
                    </a:cubicBezTo>
                    <a:cubicBezTo>
                      <a:pt x="123" y="346"/>
                      <a:pt x="123" y="346"/>
                      <a:pt x="123" y="346"/>
                    </a:cubicBezTo>
                    <a:cubicBezTo>
                      <a:pt x="123" y="346"/>
                      <a:pt x="122" y="346"/>
                      <a:pt x="122" y="346"/>
                    </a:cubicBezTo>
                    <a:cubicBezTo>
                      <a:pt x="122" y="348"/>
                      <a:pt x="122" y="348"/>
                      <a:pt x="122" y="348"/>
                    </a:cubicBezTo>
                    <a:cubicBezTo>
                      <a:pt x="122" y="349"/>
                      <a:pt x="123" y="350"/>
                      <a:pt x="123" y="351"/>
                    </a:cubicBezTo>
                    <a:cubicBezTo>
                      <a:pt x="123" y="351"/>
                      <a:pt x="122" y="351"/>
                      <a:pt x="121" y="351"/>
                    </a:cubicBezTo>
                    <a:cubicBezTo>
                      <a:pt x="120" y="351"/>
                      <a:pt x="120" y="350"/>
                      <a:pt x="118" y="350"/>
                    </a:cubicBezTo>
                    <a:cubicBezTo>
                      <a:pt x="116" y="350"/>
                      <a:pt x="116" y="353"/>
                      <a:pt x="114" y="353"/>
                    </a:cubicBezTo>
                    <a:cubicBezTo>
                      <a:pt x="113" y="353"/>
                      <a:pt x="112" y="352"/>
                      <a:pt x="111" y="352"/>
                    </a:cubicBezTo>
                    <a:cubicBezTo>
                      <a:pt x="110" y="352"/>
                      <a:pt x="109" y="352"/>
                      <a:pt x="107" y="351"/>
                    </a:cubicBezTo>
                    <a:cubicBezTo>
                      <a:pt x="106" y="350"/>
                      <a:pt x="106" y="349"/>
                      <a:pt x="104" y="349"/>
                    </a:cubicBezTo>
                    <a:cubicBezTo>
                      <a:pt x="104" y="349"/>
                      <a:pt x="104" y="349"/>
                      <a:pt x="103" y="349"/>
                    </a:cubicBezTo>
                    <a:cubicBezTo>
                      <a:pt x="102" y="349"/>
                      <a:pt x="102" y="349"/>
                      <a:pt x="101" y="349"/>
                    </a:cubicBezTo>
                    <a:cubicBezTo>
                      <a:pt x="102" y="351"/>
                      <a:pt x="101" y="352"/>
                      <a:pt x="102" y="353"/>
                    </a:cubicBezTo>
                    <a:cubicBezTo>
                      <a:pt x="103" y="354"/>
                      <a:pt x="104" y="354"/>
                      <a:pt x="105" y="354"/>
                    </a:cubicBezTo>
                    <a:cubicBezTo>
                      <a:pt x="105" y="355"/>
                      <a:pt x="105" y="355"/>
                      <a:pt x="105" y="356"/>
                    </a:cubicBezTo>
                    <a:cubicBezTo>
                      <a:pt x="105" y="357"/>
                      <a:pt x="105" y="357"/>
                      <a:pt x="105" y="357"/>
                    </a:cubicBezTo>
                    <a:cubicBezTo>
                      <a:pt x="103" y="357"/>
                      <a:pt x="103" y="357"/>
                      <a:pt x="103" y="357"/>
                    </a:cubicBezTo>
                    <a:cubicBezTo>
                      <a:pt x="102" y="357"/>
                      <a:pt x="101" y="356"/>
                      <a:pt x="100" y="356"/>
                    </a:cubicBezTo>
                    <a:cubicBezTo>
                      <a:pt x="98" y="355"/>
                      <a:pt x="97" y="354"/>
                      <a:pt x="95" y="354"/>
                    </a:cubicBezTo>
                    <a:cubicBezTo>
                      <a:pt x="93" y="353"/>
                      <a:pt x="92" y="352"/>
                      <a:pt x="90" y="352"/>
                    </a:cubicBezTo>
                    <a:cubicBezTo>
                      <a:pt x="89" y="352"/>
                      <a:pt x="89" y="353"/>
                      <a:pt x="88" y="354"/>
                    </a:cubicBezTo>
                    <a:cubicBezTo>
                      <a:pt x="87" y="353"/>
                      <a:pt x="87" y="352"/>
                      <a:pt x="87" y="350"/>
                    </a:cubicBezTo>
                    <a:cubicBezTo>
                      <a:pt x="86" y="349"/>
                      <a:pt x="85" y="348"/>
                      <a:pt x="84" y="347"/>
                    </a:cubicBezTo>
                    <a:cubicBezTo>
                      <a:pt x="83" y="346"/>
                      <a:pt x="83" y="345"/>
                      <a:pt x="82" y="345"/>
                    </a:cubicBezTo>
                    <a:cubicBezTo>
                      <a:pt x="81" y="345"/>
                      <a:pt x="80" y="345"/>
                      <a:pt x="79" y="345"/>
                    </a:cubicBezTo>
                    <a:cubicBezTo>
                      <a:pt x="77" y="345"/>
                      <a:pt x="76" y="345"/>
                      <a:pt x="75" y="344"/>
                    </a:cubicBezTo>
                    <a:cubicBezTo>
                      <a:pt x="74" y="343"/>
                      <a:pt x="74" y="343"/>
                      <a:pt x="74" y="343"/>
                    </a:cubicBezTo>
                    <a:cubicBezTo>
                      <a:pt x="71" y="342"/>
                      <a:pt x="70" y="343"/>
                      <a:pt x="68" y="342"/>
                    </a:cubicBezTo>
                    <a:cubicBezTo>
                      <a:pt x="67" y="342"/>
                      <a:pt x="67" y="340"/>
                      <a:pt x="66" y="340"/>
                    </a:cubicBezTo>
                    <a:cubicBezTo>
                      <a:pt x="65" y="340"/>
                      <a:pt x="64" y="341"/>
                      <a:pt x="63" y="341"/>
                    </a:cubicBezTo>
                    <a:cubicBezTo>
                      <a:pt x="65" y="344"/>
                      <a:pt x="65" y="344"/>
                      <a:pt x="65" y="344"/>
                    </a:cubicBezTo>
                    <a:cubicBezTo>
                      <a:pt x="64" y="345"/>
                      <a:pt x="63" y="345"/>
                      <a:pt x="62" y="345"/>
                    </a:cubicBezTo>
                    <a:cubicBezTo>
                      <a:pt x="62" y="345"/>
                      <a:pt x="61" y="345"/>
                      <a:pt x="61" y="344"/>
                    </a:cubicBezTo>
                    <a:cubicBezTo>
                      <a:pt x="61" y="345"/>
                      <a:pt x="61" y="346"/>
                      <a:pt x="61" y="347"/>
                    </a:cubicBezTo>
                    <a:cubicBezTo>
                      <a:pt x="61" y="350"/>
                      <a:pt x="59" y="350"/>
                      <a:pt x="58" y="353"/>
                    </a:cubicBezTo>
                    <a:cubicBezTo>
                      <a:pt x="57" y="354"/>
                      <a:pt x="57" y="354"/>
                      <a:pt x="56" y="355"/>
                    </a:cubicBezTo>
                    <a:cubicBezTo>
                      <a:pt x="55" y="356"/>
                      <a:pt x="55" y="357"/>
                      <a:pt x="54" y="357"/>
                    </a:cubicBezTo>
                    <a:cubicBezTo>
                      <a:pt x="53" y="357"/>
                      <a:pt x="53" y="357"/>
                      <a:pt x="52" y="356"/>
                    </a:cubicBezTo>
                    <a:cubicBezTo>
                      <a:pt x="50" y="356"/>
                      <a:pt x="49" y="355"/>
                      <a:pt x="48" y="354"/>
                    </a:cubicBezTo>
                    <a:cubicBezTo>
                      <a:pt x="46" y="354"/>
                      <a:pt x="45" y="353"/>
                      <a:pt x="44" y="351"/>
                    </a:cubicBezTo>
                    <a:cubicBezTo>
                      <a:pt x="43" y="350"/>
                      <a:pt x="43" y="350"/>
                      <a:pt x="43" y="349"/>
                    </a:cubicBezTo>
                    <a:cubicBezTo>
                      <a:pt x="43" y="347"/>
                      <a:pt x="44" y="346"/>
                      <a:pt x="44" y="345"/>
                    </a:cubicBezTo>
                    <a:cubicBezTo>
                      <a:pt x="44" y="344"/>
                      <a:pt x="44" y="344"/>
                      <a:pt x="44" y="344"/>
                    </a:cubicBezTo>
                    <a:cubicBezTo>
                      <a:pt x="41" y="345"/>
                      <a:pt x="40" y="348"/>
                      <a:pt x="40" y="351"/>
                    </a:cubicBezTo>
                    <a:cubicBezTo>
                      <a:pt x="37" y="350"/>
                      <a:pt x="37" y="345"/>
                      <a:pt x="33" y="345"/>
                    </a:cubicBezTo>
                    <a:cubicBezTo>
                      <a:pt x="32" y="345"/>
                      <a:pt x="31" y="346"/>
                      <a:pt x="30" y="346"/>
                    </a:cubicBezTo>
                    <a:cubicBezTo>
                      <a:pt x="29" y="346"/>
                      <a:pt x="28" y="346"/>
                      <a:pt x="27" y="345"/>
                    </a:cubicBezTo>
                    <a:cubicBezTo>
                      <a:pt x="27" y="344"/>
                      <a:pt x="27" y="344"/>
                      <a:pt x="26" y="344"/>
                    </a:cubicBezTo>
                    <a:cubicBezTo>
                      <a:pt x="25" y="344"/>
                      <a:pt x="25" y="345"/>
                      <a:pt x="24" y="346"/>
                    </a:cubicBezTo>
                    <a:cubicBezTo>
                      <a:pt x="23" y="346"/>
                      <a:pt x="23" y="346"/>
                      <a:pt x="21" y="346"/>
                    </a:cubicBezTo>
                    <a:cubicBezTo>
                      <a:pt x="21" y="346"/>
                      <a:pt x="21" y="347"/>
                      <a:pt x="20" y="347"/>
                    </a:cubicBezTo>
                    <a:cubicBezTo>
                      <a:pt x="20" y="347"/>
                      <a:pt x="19" y="347"/>
                      <a:pt x="19" y="347"/>
                    </a:cubicBezTo>
                    <a:cubicBezTo>
                      <a:pt x="19" y="345"/>
                      <a:pt x="19" y="345"/>
                      <a:pt x="19" y="345"/>
                    </a:cubicBezTo>
                    <a:cubicBezTo>
                      <a:pt x="19" y="345"/>
                      <a:pt x="19" y="344"/>
                      <a:pt x="19" y="344"/>
                    </a:cubicBezTo>
                    <a:cubicBezTo>
                      <a:pt x="19" y="343"/>
                      <a:pt x="18" y="343"/>
                      <a:pt x="17" y="343"/>
                    </a:cubicBezTo>
                    <a:cubicBezTo>
                      <a:pt x="15" y="343"/>
                      <a:pt x="16" y="346"/>
                      <a:pt x="14" y="346"/>
                    </a:cubicBezTo>
                    <a:cubicBezTo>
                      <a:pt x="13" y="346"/>
                      <a:pt x="13" y="345"/>
                      <a:pt x="12" y="345"/>
                    </a:cubicBezTo>
                    <a:cubicBezTo>
                      <a:pt x="12" y="345"/>
                      <a:pt x="12" y="345"/>
                      <a:pt x="12" y="345"/>
                    </a:cubicBezTo>
                    <a:cubicBezTo>
                      <a:pt x="12" y="346"/>
                      <a:pt x="11" y="346"/>
                      <a:pt x="11" y="347"/>
                    </a:cubicBezTo>
                    <a:cubicBezTo>
                      <a:pt x="11" y="348"/>
                      <a:pt x="13" y="349"/>
                      <a:pt x="13" y="350"/>
                    </a:cubicBezTo>
                    <a:cubicBezTo>
                      <a:pt x="13" y="351"/>
                      <a:pt x="11" y="350"/>
                      <a:pt x="10" y="351"/>
                    </a:cubicBezTo>
                    <a:cubicBezTo>
                      <a:pt x="9" y="351"/>
                      <a:pt x="9" y="352"/>
                      <a:pt x="8" y="352"/>
                    </a:cubicBezTo>
                    <a:cubicBezTo>
                      <a:pt x="8" y="352"/>
                      <a:pt x="8" y="351"/>
                      <a:pt x="8" y="351"/>
                    </a:cubicBezTo>
                    <a:cubicBezTo>
                      <a:pt x="7" y="349"/>
                      <a:pt x="8" y="348"/>
                      <a:pt x="7" y="346"/>
                    </a:cubicBezTo>
                    <a:cubicBezTo>
                      <a:pt x="6" y="345"/>
                      <a:pt x="6" y="344"/>
                      <a:pt x="5" y="344"/>
                    </a:cubicBezTo>
                    <a:cubicBezTo>
                      <a:pt x="4" y="344"/>
                      <a:pt x="3" y="345"/>
                      <a:pt x="3" y="345"/>
                    </a:cubicBezTo>
                    <a:cubicBezTo>
                      <a:pt x="2" y="346"/>
                      <a:pt x="2" y="346"/>
                      <a:pt x="1" y="346"/>
                    </a:cubicBezTo>
                    <a:cubicBezTo>
                      <a:pt x="0" y="346"/>
                      <a:pt x="0" y="346"/>
                      <a:pt x="0" y="345"/>
                    </a:cubicBezTo>
                    <a:cubicBezTo>
                      <a:pt x="0" y="343"/>
                      <a:pt x="1" y="342"/>
                      <a:pt x="3" y="341"/>
                    </a:cubicBezTo>
                    <a:cubicBezTo>
                      <a:pt x="4" y="341"/>
                      <a:pt x="5" y="340"/>
                      <a:pt x="6" y="340"/>
                    </a:cubicBezTo>
                    <a:cubicBezTo>
                      <a:pt x="7" y="340"/>
                      <a:pt x="7" y="342"/>
                      <a:pt x="8" y="342"/>
                    </a:cubicBezTo>
                    <a:cubicBezTo>
                      <a:pt x="8" y="342"/>
                      <a:pt x="9" y="341"/>
                      <a:pt x="9" y="341"/>
                    </a:cubicBezTo>
                    <a:cubicBezTo>
                      <a:pt x="11" y="340"/>
                      <a:pt x="13" y="340"/>
                      <a:pt x="14" y="339"/>
                    </a:cubicBezTo>
                    <a:cubicBezTo>
                      <a:pt x="16" y="338"/>
                      <a:pt x="16" y="337"/>
                      <a:pt x="18" y="336"/>
                    </a:cubicBezTo>
                    <a:cubicBezTo>
                      <a:pt x="19" y="335"/>
                      <a:pt x="20" y="334"/>
                      <a:pt x="22" y="333"/>
                    </a:cubicBezTo>
                    <a:cubicBezTo>
                      <a:pt x="23" y="333"/>
                      <a:pt x="24" y="332"/>
                      <a:pt x="26" y="332"/>
                    </a:cubicBezTo>
                    <a:cubicBezTo>
                      <a:pt x="27" y="331"/>
                      <a:pt x="28" y="331"/>
                      <a:pt x="29" y="330"/>
                    </a:cubicBezTo>
                    <a:cubicBezTo>
                      <a:pt x="30" y="329"/>
                      <a:pt x="30" y="328"/>
                      <a:pt x="31" y="328"/>
                    </a:cubicBezTo>
                    <a:cubicBezTo>
                      <a:pt x="34" y="327"/>
                      <a:pt x="36" y="327"/>
                      <a:pt x="38" y="326"/>
                    </a:cubicBezTo>
                    <a:cubicBezTo>
                      <a:pt x="40" y="325"/>
                      <a:pt x="39" y="323"/>
                      <a:pt x="39" y="322"/>
                    </a:cubicBezTo>
                    <a:cubicBezTo>
                      <a:pt x="40" y="321"/>
                      <a:pt x="41" y="321"/>
                      <a:pt x="42" y="321"/>
                    </a:cubicBezTo>
                    <a:cubicBezTo>
                      <a:pt x="42" y="320"/>
                      <a:pt x="43" y="320"/>
                      <a:pt x="43" y="320"/>
                    </a:cubicBezTo>
                    <a:cubicBezTo>
                      <a:pt x="44" y="320"/>
                      <a:pt x="43" y="319"/>
                      <a:pt x="44" y="319"/>
                    </a:cubicBezTo>
                    <a:cubicBezTo>
                      <a:pt x="45" y="318"/>
                      <a:pt x="46" y="318"/>
                      <a:pt x="48" y="318"/>
                    </a:cubicBezTo>
                    <a:cubicBezTo>
                      <a:pt x="49" y="318"/>
                      <a:pt x="50" y="318"/>
                      <a:pt x="51" y="319"/>
                    </a:cubicBezTo>
                    <a:cubicBezTo>
                      <a:pt x="51" y="319"/>
                      <a:pt x="51" y="319"/>
                      <a:pt x="52" y="319"/>
                    </a:cubicBezTo>
                    <a:cubicBezTo>
                      <a:pt x="53" y="319"/>
                      <a:pt x="54" y="319"/>
                      <a:pt x="55" y="318"/>
                    </a:cubicBezTo>
                    <a:cubicBezTo>
                      <a:pt x="54" y="318"/>
                      <a:pt x="54" y="318"/>
                      <a:pt x="53" y="317"/>
                    </a:cubicBezTo>
                    <a:cubicBezTo>
                      <a:pt x="52" y="317"/>
                      <a:pt x="51" y="317"/>
                      <a:pt x="51" y="316"/>
                    </a:cubicBezTo>
                    <a:cubicBezTo>
                      <a:pt x="51" y="314"/>
                      <a:pt x="54" y="315"/>
                      <a:pt x="56" y="315"/>
                    </a:cubicBezTo>
                    <a:cubicBezTo>
                      <a:pt x="58" y="315"/>
                      <a:pt x="59" y="315"/>
                      <a:pt x="60" y="315"/>
                    </a:cubicBezTo>
                    <a:cubicBezTo>
                      <a:pt x="61" y="316"/>
                      <a:pt x="62" y="316"/>
                      <a:pt x="63" y="317"/>
                    </a:cubicBezTo>
                    <a:cubicBezTo>
                      <a:pt x="66" y="318"/>
                      <a:pt x="69" y="317"/>
                      <a:pt x="73" y="319"/>
                    </a:cubicBezTo>
                    <a:cubicBezTo>
                      <a:pt x="74" y="320"/>
                      <a:pt x="75" y="320"/>
                      <a:pt x="77" y="321"/>
                    </a:cubicBezTo>
                    <a:cubicBezTo>
                      <a:pt x="77" y="321"/>
                      <a:pt x="77" y="322"/>
                      <a:pt x="78" y="322"/>
                    </a:cubicBezTo>
                    <a:cubicBezTo>
                      <a:pt x="79" y="322"/>
                      <a:pt x="80" y="322"/>
                      <a:pt x="81" y="322"/>
                    </a:cubicBezTo>
                    <a:cubicBezTo>
                      <a:pt x="82" y="323"/>
                      <a:pt x="83" y="323"/>
                      <a:pt x="84" y="323"/>
                    </a:cubicBezTo>
                    <a:cubicBezTo>
                      <a:pt x="85" y="323"/>
                      <a:pt x="85" y="323"/>
                      <a:pt x="85" y="323"/>
                    </a:cubicBezTo>
                    <a:cubicBezTo>
                      <a:pt x="85" y="322"/>
                      <a:pt x="85" y="321"/>
                      <a:pt x="85" y="320"/>
                    </a:cubicBezTo>
                    <a:cubicBezTo>
                      <a:pt x="85" y="319"/>
                      <a:pt x="84" y="319"/>
                      <a:pt x="85" y="318"/>
                    </a:cubicBezTo>
                    <a:cubicBezTo>
                      <a:pt x="85" y="317"/>
                      <a:pt x="86" y="317"/>
                      <a:pt x="88" y="317"/>
                    </a:cubicBezTo>
                    <a:cubicBezTo>
                      <a:pt x="90" y="317"/>
                      <a:pt x="90" y="317"/>
                      <a:pt x="90" y="317"/>
                    </a:cubicBezTo>
                    <a:cubicBezTo>
                      <a:pt x="93" y="317"/>
                      <a:pt x="93" y="314"/>
                      <a:pt x="96" y="313"/>
                    </a:cubicBezTo>
                    <a:cubicBezTo>
                      <a:pt x="98" y="313"/>
                      <a:pt x="100" y="312"/>
                      <a:pt x="102" y="311"/>
                    </a:cubicBezTo>
                    <a:cubicBezTo>
                      <a:pt x="105" y="309"/>
                      <a:pt x="107" y="307"/>
                      <a:pt x="109" y="305"/>
                    </a:cubicBezTo>
                    <a:cubicBezTo>
                      <a:pt x="110" y="303"/>
                      <a:pt x="111" y="303"/>
                      <a:pt x="111" y="302"/>
                    </a:cubicBezTo>
                    <a:cubicBezTo>
                      <a:pt x="110" y="302"/>
                      <a:pt x="109" y="302"/>
                      <a:pt x="108" y="303"/>
                    </a:cubicBezTo>
                    <a:cubicBezTo>
                      <a:pt x="105" y="304"/>
                      <a:pt x="104" y="305"/>
                      <a:pt x="101" y="306"/>
                    </a:cubicBezTo>
                    <a:cubicBezTo>
                      <a:pt x="100" y="307"/>
                      <a:pt x="99" y="309"/>
                      <a:pt x="97" y="309"/>
                    </a:cubicBezTo>
                    <a:cubicBezTo>
                      <a:pt x="97" y="309"/>
                      <a:pt x="96" y="309"/>
                      <a:pt x="96" y="309"/>
                    </a:cubicBezTo>
                    <a:cubicBezTo>
                      <a:pt x="95" y="309"/>
                      <a:pt x="95" y="309"/>
                      <a:pt x="94" y="309"/>
                    </a:cubicBezTo>
                    <a:cubicBezTo>
                      <a:pt x="92" y="309"/>
                      <a:pt x="92" y="308"/>
                      <a:pt x="91" y="308"/>
                    </a:cubicBezTo>
                    <a:cubicBezTo>
                      <a:pt x="90" y="308"/>
                      <a:pt x="90" y="309"/>
                      <a:pt x="89" y="309"/>
                    </a:cubicBezTo>
                    <a:cubicBezTo>
                      <a:pt x="87" y="309"/>
                      <a:pt x="86" y="309"/>
                      <a:pt x="85" y="309"/>
                    </a:cubicBezTo>
                    <a:cubicBezTo>
                      <a:pt x="85" y="310"/>
                      <a:pt x="85" y="310"/>
                      <a:pt x="84" y="311"/>
                    </a:cubicBezTo>
                    <a:cubicBezTo>
                      <a:pt x="83" y="311"/>
                      <a:pt x="82" y="310"/>
                      <a:pt x="81" y="311"/>
                    </a:cubicBezTo>
                    <a:cubicBezTo>
                      <a:pt x="80" y="311"/>
                      <a:pt x="80" y="312"/>
                      <a:pt x="79" y="312"/>
                    </a:cubicBezTo>
                    <a:cubicBezTo>
                      <a:pt x="78" y="312"/>
                      <a:pt x="78" y="312"/>
                      <a:pt x="77" y="311"/>
                    </a:cubicBezTo>
                    <a:cubicBezTo>
                      <a:pt x="75" y="311"/>
                      <a:pt x="74" y="311"/>
                      <a:pt x="73" y="309"/>
                    </a:cubicBezTo>
                    <a:cubicBezTo>
                      <a:pt x="72" y="308"/>
                      <a:pt x="72" y="308"/>
                      <a:pt x="72" y="307"/>
                    </a:cubicBezTo>
                    <a:cubicBezTo>
                      <a:pt x="71" y="307"/>
                      <a:pt x="70" y="307"/>
                      <a:pt x="69" y="306"/>
                    </a:cubicBezTo>
                    <a:cubicBezTo>
                      <a:pt x="69" y="306"/>
                      <a:pt x="69" y="305"/>
                      <a:pt x="69" y="304"/>
                    </a:cubicBezTo>
                    <a:cubicBezTo>
                      <a:pt x="69" y="303"/>
                      <a:pt x="70" y="302"/>
                      <a:pt x="70" y="301"/>
                    </a:cubicBezTo>
                    <a:cubicBezTo>
                      <a:pt x="70" y="299"/>
                      <a:pt x="69" y="298"/>
                      <a:pt x="68" y="297"/>
                    </a:cubicBezTo>
                    <a:cubicBezTo>
                      <a:pt x="68" y="295"/>
                      <a:pt x="67" y="293"/>
                      <a:pt x="65" y="293"/>
                    </a:cubicBezTo>
                    <a:cubicBezTo>
                      <a:pt x="59" y="293"/>
                      <a:pt x="59" y="293"/>
                      <a:pt x="59" y="293"/>
                    </a:cubicBezTo>
                    <a:cubicBezTo>
                      <a:pt x="59" y="293"/>
                      <a:pt x="57" y="293"/>
                      <a:pt x="57" y="292"/>
                    </a:cubicBezTo>
                    <a:cubicBezTo>
                      <a:pt x="57" y="291"/>
                      <a:pt x="58" y="291"/>
                      <a:pt x="59" y="291"/>
                    </a:cubicBezTo>
                    <a:cubicBezTo>
                      <a:pt x="59" y="290"/>
                      <a:pt x="58" y="290"/>
                      <a:pt x="57" y="289"/>
                    </a:cubicBezTo>
                    <a:cubicBezTo>
                      <a:pt x="56" y="289"/>
                      <a:pt x="56" y="287"/>
                      <a:pt x="55" y="287"/>
                    </a:cubicBezTo>
                    <a:cubicBezTo>
                      <a:pt x="54" y="287"/>
                      <a:pt x="53" y="288"/>
                      <a:pt x="53" y="288"/>
                    </a:cubicBezTo>
                    <a:cubicBezTo>
                      <a:pt x="52" y="288"/>
                      <a:pt x="52" y="288"/>
                      <a:pt x="51" y="288"/>
                    </a:cubicBezTo>
                    <a:cubicBezTo>
                      <a:pt x="47" y="288"/>
                      <a:pt x="46" y="292"/>
                      <a:pt x="42" y="292"/>
                    </a:cubicBezTo>
                    <a:cubicBezTo>
                      <a:pt x="39" y="292"/>
                      <a:pt x="38" y="290"/>
                      <a:pt x="35" y="288"/>
                    </a:cubicBezTo>
                    <a:cubicBezTo>
                      <a:pt x="35" y="287"/>
                      <a:pt x="35" y="287"/>
                      <a:pt x="35" y="287"/>
                    </a:cubicBezTo>
                    <a:cubicBezTo>
                      <a:pt x="37" y="288"/>
                      <a:pt x="38" y="289"/>
                      <a:pt x="39" y="289"/>
                    </a:cubicBezTo>
                    <a:cubicBezTo>
                      <a:pt x="41" y="289"/>
                      <a:pt x="42" y="287"/>
                      <a:pt x="44" y="287"/>
                    </a:cubicBezTo>
                    <a:cubicBezTo>
                      <a:pt x="44" y="286"/>
                      <a:pt x="44" y="285"/>
                      <a:pt x="43" y="284"/>
                    </a:cubicBezTo>
                    <a:cubicBezTo>
                      <a:pt x="43" y="283"/>
                      <a:pt x="43" y="283"/>
                      <a:pt x="42" y="283"/>
                    </a:cubicBezTo>
                    <a:cubicBezTo>
                      <a:pt x="40" y="283"/>
                      <a:pt x="40" y="285"/>
                      <a:pt x="38" y="285"/>
                    </a:cubicBezTo>
                    <a:cubicBezTo>
                      <a:pt x="36" y="285"/>
                      <a:pt x="36" y="284"/>
                      <a:pt x="35" y="283"/>
                    </a:cubicBezTo>
                    <a:cubicBezTo>
                      <a:pt x="34" y="283"/>
                      <a:pt x="33" y="282"/>
                      <a:pt x="33" y="281"/>
                    </a:cubicBezTo>
                    <a:cubicBezTo>
                      <a:pt x="33" y="281"/>
                      <a:pt x="33" y="281"/>
                      <a:pt x="34" y="280"/>
                    </a:cubicBezTo>
                    <a:cubicBezTo>
                      <a:pt x="35" y="280"/>
                      <a:pt x="37" y="279"/>
                      <a:pt x="37" y="278"/>
                    </a:cubicBezTo>
                    <a:cubicBezTo>
                      <a:pt x="37" y="277"/>
                      <a:pt x="36" y="276"/>
                      <a:pt x="35" y="276"/>
                    </a:cubicBezTo>
                    <a:cubicBezTo>
                      <a:pt x="34" y="275"/>
                      <a:pt x="33" y="274"/>
                      <a:pt x="32" y="273"/>
                    </a:cubicBezTo>
                    <a:cubicBezTo>
                      <a:pt x="36" y="273"/>
                      <a:pt x="38" y="272"/>
                      <a:pt x="42" y="271"/>
                    </a:cubicBezTo>
                    <a:cubicBezTo>
                      <a:pt x="43" y="271"/>
                      <a:pt x="43" y="271"/>
                      <a:pt x="43" y="271"/>
                    </a:cubicBezTo>
                    <a:cubicBezTo>
                      <a:pt x="46" y="271"/>
                      <a:pt x="46" y="271"/>
                      <a:pt x="46" y="271"/>
                    </a:cubicBezTo>
                    <a:cubicBezTo>
                      <a:pt x="50" y="272"/>
                      <a:pt x="50" y="272"/>
                      <a:pt x="50" y="272"/>
                    </a:cubicBezTo>
                    <a:cubicBezTo>
                      <a:pt x="52" y="272"/>
                      <a:pt x="52" y="270"/>
                      <a:pt x="54" y="270"/>
                    </a:cubicBezTo>
                    <a:cubicBezTo>
                      <a:pt x="55" y="270"/>
                      <a:pt x="55" y="271"/>
                      <a:pt x="55" y="271"/>
                    </a:cubicBezTo>
                    <a:cubicBezTo>
                      <a:pt x="58" y="271"/>
                      <a:pt x="58" y="271"/>
                      <a:pt x="58" y="271"/>
                    </a:cubicBezTo>
                    <a:cubicBezTo>
                      <a:pt x="60" y="271"/>
                      <a:pt x="61" y="270"/>
                      <a:pt x="63" y="269"/>
                    </a:cubicBezTo>
                    <a:cubicBezTo>
                      <a:pt x="65" y="269"/>
                      <a:pt x="67" y="270"/>
                      <a:pt x="68" y="269"/>
                    </a:cubicBezTo>
                    <a:cubicBezTo>
                      <a:pt x="70" y="267"/>
                      <a:pt x="71" y="267"/>
                      <a:pt x="73" y="265"/>
                    </a:cubicBezTo>
                    <a:cubicBezTo>
                      <a:pt x="73" y="264"/>
                      <a:pt x="74" y="263"/>
                      <a:pt x="76" y="263"/>
                    </a:cubicBezTo>
                    <a:cubicBezTo>
                      <a:pt x="77" y="262"/>
                      <a:pt x="78" y="263"/>
                      <a:pt x="78" y="262"/>
                    </a:cubicBezTo>
                    <a:cubicBezTo>
                      <a:pt x="78" y="261"/>
                      <a:pt x="78" y="261"/>
                      <a:pt x="78" y="261"/>
                    </a:cubicBezTo>
                    <a:cubicBezTo>
                      <a:pt x="76" y="261"/>
                      <a:pt x="74" y="261"/>
                      <a:pt x="74" y="260"/>
                    </a:cubicBezTo>
                    <a:cubicBezTo>
                      <a:pt x="74" y="258"/>
                      <a:pt x="75" y="257"/>
                      <a:pt x="76" y="255"/>
                    </a:cubicBezTo>
                    <a:cubicBezTo>
                      <a:pt x="77" y="252"/>
                      <a:pt x="78" y="250"/>
                      <a:pt x="78" y="248"/>
                    </a:cubicBezTo>
                    <a:cubicBezTo>
                      <a:pt x="78" y="247"/>
                      <a:pt x="79" y="247"/>
                      <a:pt x="79" y="246"/>
                    </a:cubicBezTo>
                    <a:cubicBezTo>
                      <a:pt x="79" y="245"/>
                      <a:pt x="78" y="245"/>
                      <a:pt x="78" y="245"/>
                    </a:cubicBezTo>
                    <a:cubicBezTo>
                      <a:pt x="76" y="244"/>
                      <a:pt x="75" y="244"/>
                      <a:pt x="73" y="244"/>
                    </a:cubicBezTo>
                    <a:cubicBezTo>
                      <a:pt x="71" y="244"/>
                      <a:pt x="71" y="244"/>
                      <a:pt x="70" y="245"/>
                    </a:cubicBezTo>
                    <a:cubicBezTo>
                      <a:pt x="69" y="246"/>
                      <a:pt x="69" y="247"/>
                      <a:pt x="68" y="247"/>
                    </a:cubicBezTo>
                    <a:cubicBezTo>
                      <a:pt x="67" y="246"/>
                      <a:pt x="66" y="245"/>
                      <a:pt x="65" y="245"/>
                    </a:cubicBezTo>
                    <a:cubicBezTo>
                      <a:pt x="63" y="245"/>
                      <a:pt x="63" y="246"/>
                      <a:pt x="61" y="246"/>
                    </a:cubicBezTo>
                    <a:cubicBezTo>
                      <a:pt x="61" y="246"/>
                      <a:pt x="61" y="246"/>
                      <a:pt x="61" y="246"/>
                    </a:cubicBezTo>
                    <a:cubicBezTo>
                      <a:pt x="61" y="244"/>
                      <a:pt x="61" y="244"/>
                      <a:pt x="61" y="244"/>
                    </a:cubicBezTo>
                    <a:cubicBezTo>
                      <a:pt x="61" y="242"/>
                      <a:pt x="63" y="241"/>
                      <a:pt x="64" y="241"/>
                    </a:cubicBezTo>
                    <a:cubicBezTo>
                      <a:pt x="66" y="240"/>
                      <a:pt x="67" y="239"/>
                      <a:pt x="69" y="239"/>
                    </a:cubicBezTo>
                    <a:cubicBezTo>
                      <a:pt x="70" y="238"/>
                      <a:pt x="71" y="238"/>
                      <a:pt x="72" y="237"/>
                    </a:cubicBezTo>
                    <a:cubicBezTo>
                      <a:pt x="73" y="237"/>
                      <a:pt x="74" y="237"/>
                      <a:pt x="75" y="236"/>
                    </a:cubicBezTo>
                    <a:cubicBezTo>
                      <a:pt x="76" y="236"/>
                      <a:pt x="76" y="236"/>
                      <a:pt x="77" y="235"/>
                    </a:cubicBezTo>
                    <a:cubicBezTo>
                      <a:pt x="78" y="235"/>
                      <a:pt x="79" y="235"/>
                      <a:pt x="79" y="234"/>
                    </a:cubicBezTo>
                    <a:cubicBezTo>
                      <a:pt x="79" y="234"/>
                      <a:pt x="78" y="233"/>
                      <a:pt x="78" y="233"/>
                    </a:cubicBezTo>
                    <a:cubicBezTo>
                      <a:pt x="78" y="233"/>
                      <a:pt x="78" y="232"/>
                      <a:pt x="78" y="232"/>
                    </a:cubicBezTo>
                    <a:cubicBezTo>
                      <a:pt x="77" y="231"/>
                      <a:pt x="75" y="233"/>
                      <a:pt x="74" y="232"/>
                    </a:cubicBezTo>
                    <a:cubicBezTo>
                      <a:pt x="74" y="231"/>
                      <a:pt x="74" y="230"/>
                      <a:pt x="74" y="230"/>
                    </a:cubicBezTo>
                    <a:cubicBezTo>
                      <a:pt x="74" y="228"/>
                      <a:pt x="74" y="228"/>
                      <a:pt x="74" y="226"/>
                    </a:cubicBezTo>
                    <a:cubicBezTo>
                      <a:pt x="74" y="226"/>
                      <a:pt x="74" y="225"/>
                      <a:pt x="74" y="224"/>
                    </a:cubicBezTo>
                    <a:cubicBezTo>
                      <a:pt x="74" y="224"/>
                      <a:pt x="75" y="224"/>
                      <a:pt x="75" y="223"/>
                    </a:cubicBezTo>
                    <a:cubicBezTo>
                      <a:pt x="75" y="222"/>
                      <a:pt x="74" y="222"/>
                      <a:pt x="74" y="221"/>
                    </a:cubicBezTo>
                    <a:cubicBezTo>
                      <a:pt x="74" y="221"/>
                      <a:pt x="75" y="220"/>
                      <a:pt x="76" y="220"/>
                    </a:cubicBezTo>
                    <a:cubicBezTo>
                      <a:pt x="77" y="220"/>
                      <a:pt x="77" y="220"/>
                      <a:pt x="78" y="221"/>
                    </a:cubicBezTo>
                    <a:cubicBezTo>
                      <a:pt x="79" y="221"/>
                      <a:pt x="80" y="221"/>
                      <a:pt x="81" y="222"/>
                    </a:cubicBezTo>
                    <a:cubicBezTo>
                      <a:pt x="81" y="223"/>
                      <a:pt x="81" y="224"/>
                      <a:pt x="81" y="225"/>
                    </a:cubicBezTo>
                    <a:cubicBezTo>
                      <a:pt x="81" y="225"/>
                      <a:pt x="81" y="226"/>
                      <a:pt x="82" y="226"/>
                    </a:cubicBezTo>
                    <a:cubicBezTo>
                      <a:pt x="82" y="227"/>
                      <a:pt x="83" y="227"/>
                      <a:pt x="84" y="227"/>
                    </a:cubicBezTo>
                    <a:cubicBezTo>
                      <a:pt x="83" y="229"/>
                      <a:pt x="82" y="230"/>
                      <a:pt x="80" y="231"/>
                    </a:cubicBezTo>
                    <a:cubicBezTo>
                      <a:pt x="80" y="232"/>
                      <a:pt x="80" y="232"/>
                      <a:pt x="80" y="232"/>
                    </a:cubicBezTo>
                    <a:cubicBezTo>
                      <a:pt x="85" y="232"/>
                      <a:pt x="85" y="232"/>
                      <a:pt x="85" y="232"/>
                    </a:cubicBezTo>
                    <a:cubicBezTo>
                      <a:pt x="85" y="232"/>
                      <a:pt x="86" y="232"/>
                      <a:pt x="86" y="232"/>
                    </a:cubicBezTo>
                    <a:cubicBezTo>
                      <a:pt x="88" y="233"/>
                      <a:pt x="88" y="233"/>
                      <a:pt x="90" y="233"/>
                    </a:cubicBezTo>
                    <a:cubicBezTo>
                      <a:pt x="91" y="233"/>
                      <a:pt x="91" y="231"/>
                      <a:pt x="93" y="231"/>
                    </a:cubicBezTo>
                    <a:cubicBezTo>
                      <a:pt x="93" y="231"/>
                      <a:pt x="93" y="231"/>
                      <a:pt x="94" y="231"/>
                    </a:cubicBezTo>
                    <a:cubicBezTo>
                      <a:pt x="96" y="233"/>
                      <a:pt x="98" y="233"/>
                      <a:pt x="100" y="234"/>
                    </a:cubicBezTo>
                    <a:cubicBezTo>
                      <a:pt x="102" y="234"/>
                      <a:pt x="103" y="233"/>
                      <a:pt x="104" y="234"/>
                    </a:cubicBezTo>
                    <a:cubicBezTo>
                      <a:pt x="106" y="235"/>
                      <a:pt x="106" y="236"/>
                      <a:pt x="107" y="238"/>
                    </a:cubicBezTo>
                    <a:cubicBezTo>
                      <a:pt x="107" y="237"/>
                      <a:pt x="107" y="237"/>
                      <a:pt x="107" y="237"/>
                    </a:cubicBezTo>
                    <a:cubicBezTo>
                      <a:pt x="107" y="236"/>
                      <a:pt x="107" y="236"/>
                      <a:pt x="107" y="235"/>
                    </a:cubicBezTo>
                    <a:cubicBezTo>
                      <a:pt x="107" y="234"/>
                      <a:pt x="108" y="233"/>
                      <a:pt x="109" y="233"/>
                    </a:cubicBezTo>
                    <a:cubicBezTo>
                      <a:pt x="110" y="233"/>
                      <a:pt x="110" y="235"/>
                      <a:pt x="111" y="237"/>
                    </a:cubicBezTo>
                    <a:cubicBezTo>
                      <a:pt x="111" y="237"/>
                      <a:pt x="111" y="237"/>
                      <a:pt x="112" y="238"/>
                    </a:cubicBezTo>
                    <a:cubicBezTo>
                      <a:pt x="112" y="239"/>
                      <a:pt x="112" y="240"/>
                      <a:pt x="113" y="242"/>
                    </a:cubicBezTo>
                    <a:cubicBezTo>
                      <a:pt x="114" y="241"/>
                      <a:pt x="115" y="241"/>
                      <a:pt x="116" y="241"/>
                    </a:cubicBezTo>
                    <a:cubicBezTo>
                      <a:pt x="117" y="240"/>
                      <a:pt x="118" y="240"/>
                      <a:pt x="118" y="239"/>
                    </a:cubicBezTo>
                    <a:cubicBezTo>
                      <a:pt x="118" y="236"/>
                      <a:pt x="115" y="235"/>
                      <a:pt x="115" y="232"/>
                    </a:cubicBezTo>
                    <a:cubicBezTo>
                      <a:pt x="115" y="231"/>
                      <a:pt x="115" y="231"/>
                      <a:pt x="115" y="230"/>
                    </a:cubicBezTo>
                    <a:cubicBezTo>
                      <a:pt x="115" y="229"/>
                      <a:pt x="116" y="229"/>
                      <a:pt x="116" y="229"/>
                    </a:cubicBezTo>
                    <a:cubicBezTo>
                      <a:pt x="116" y="228"/>
                      <a:pt x="114" y="228"/>
                      <a:pt x="114" y="227"/>
                    </a:cubicBezTo>
                    <a:cubicBezTo>
                      <a:pt x="114" y="224"/>
                      <a:pt x="114" y="224"/>
                      <a:pt x="114" y="224"/>
                    </a:cubicBezTo>
                    <a:cubicBezTo>
                      <a:pt x="114" y="222"/>
                      <a:pt x="115" y="221"/>
                      <a:pt x="117" y="221"/>
                    </a:cubicBezTo>
                    <a:cubicBezTo>
                      <a:pt x="118" y="221"/>
                      <a:pt x="119" y="220"/>
                      <a:pt x="120" y="220"/>
                    </a:cubicBezTo>
                    <a:cubicBezTo>
                      <a:pt x="121" y="220"/>
                      <a:pt x="123" y="219"/>
                      <a:pt x="123" y="218"/>
                    </a:cubicBezTo>
                    <a:cubicBezTo>
                      <a:pt x="123" y="218"/>
                      <a:pt x="122" y="218"/>
                      <a:pt x="122" y="218"/>
                    </a:cubicBezTo>
                    <a:cubicBezTo>
                      <a:pt x="120" y="218"/>
                      <a:pt x="118" y="218"/>
                      <a:pt x="118" y="216"/>
                    </a:cubicBezTo>
                    <a:cubicBezTo>
                      <a:pt x="118" y="215"/>
                      <a:pt x="119" y="214"/>
                      <a:pt x="120" y="214"/>
                    </a:cubicBezTo>
                    <a:cubicBezTo>
                      <a:pt x="121" y="214"/>
                      <a:pt x="121" y="214"/>
                      <a:pt x="122" y="214"/>
                    </a:cubicBezTo>
                    <a:cubicBezTo>
                      <a:pt x="122" y="214"/>
                      <a:pt x="122" y="214"/>
                      <a:pt x="123" y="214"/>
                    </a:cubicBezTo>
                    <a:cubicBezTo>
                      <a:pt x="124" y="214"/>
                      <a:pt x="124" y="214"/>
                      <a:pt x="125" y="214"/>
                    </a:cubicBezTo>
                    <a:cubicBezTo>
                      <a:pt x="127" y="214"/>
                      <a:pt x="128" y="213"/>
                      <a:pt x="129" y="211"/>
                    </a:cubicBezTo>
                    <a:cubicBezTo>
                      <a:pt x="130" y="209"/>
                      <a:pt x="132" y="209"/>
                      <a:pt x="132" y="207"/>
                    </a:cubicBezTo>
                    <a:cubicBezTo>
                      <a:pt x="132" y="206"/>
                      <a:pt x="131" y="206"/>
                      <a:pt x="131" y="206"/>
                    </a:cubicBezTo>
                    <a:cubicBezTo>
                      <a:pt x="129" y="206"/>
                      <a:pt x="128" y="208"/>
                      <a:pt x="127" y="208"/>
                    </a:cubicBezTo>
                    <a:cubicBezTo>
                      <a:pt x="127" y="208"/>
                      <a:pt x="127" y="208"/>
                      <a:pt x="127" y="208"/>
                    </a:cubicBezTo>
                    <a:cubicBezTo>
                      <a:pt x="127" y="207"/>
                      <a:pt x="128" y="206"/>
                      <a:pt x="129" y="205"/>
                    </a:cubicBezTo>
                    <a:cubicBezTo>
                      <a:pt x="130" y="204"/>
                      <a:pt x="130" y="203"/>
                      <a:pt x="131" y="202"/>
                    </a:cubicBezTo>
                    <a:cubicBezTo>
                      <a:pt x="132" y="201"/>
                      <a:pt x="133" y="201"/>
                      <a:pt x="133" y="201"/>
                    </a:cubicBezTo>
                    <a:cubicBezTo>
                      <a:pt x="133" y="198"/>
                      <a:pt x="133" y="198"/>
                      <a:pt x="133" y="198"/>
                    </a:cubicBezTo>
                    <a:cubicBezTo>
                      <a:pt x="132" y="198"/>
                      <a:pt x="132" y="198"/>
                      <a:pt x="132" y="198"/>
                    </a:cubicBezTo>
                    <a:cubicBezTo>
                      <a:pt x="130" y="198"/>
                      <a:pt x="130" y="199"/>
                      <a:pt x="128" y="199"/>
                    </a:cubicBezTo>
                    <a:cubicBezTo>
                      <a:pt x="127" y="199"/>
                      <a:pt x="127" y="199"/>
                      <a:pt x="126" y="198"/>
                    </a:cubicBezTo>
                    <a:cubicBezTo>
                      <a:pt x="126" y="197"/>
                      <a:pt x="126" y="196"/>
                      <a:pt x="125" y="196"/>
                    </a:cubicBezTo>
                    <a:cubicBezTo>
                      <a:pt x="124" y="196"/>
                      <a:pt x="124" y="197"/>
                      <a:pt x="124" y="197"/>
                    </a:cubicBezTo>
                    <a:cubicBezTo>
                      <a:pt x="124" y="198"/>
                      <a:pt x="123" y="199"/>
                      <a:pt x="123" y="199"/>
                    </a:cubicBezTo>
                    <a:cubicBezTo>
                      <a:pt x="122" y="199"/>
                      <a:pt x="122" y="199"/>
                      <a:pt x="122" y="199"/>
                    </a:cubicBezTo>
                    <a:cubicBezTo>
                      <a:pt x="122" y="197"/>
                      <a:pt x="122" y="197"/>
                      <a:pt x="122" y="197"/>
                    </a:cubicBezTo>
                    <a:cubicBezTo>
                      <a:pt x="122" y="196"/>
                      <a:pt x="123" y="195"/>
                      <a:pt x="123" y="194"/>
                    </a:cubicBezTo>
                    <a:cubicBezTo>
                      <a:pt x="123" y="194"/>
                      <a:pt x="122" y="194"/>
                      <a:pt x="122" y="194"/>
                    </a:cubicBezTo>
                    <a:cubicBezTo>
                      <a:pt x="121" y="194"/>
                      <a:pt x="121" y="194"/>
                      <a:pt x="120" y="194"/>
                    </a:cubicBezTo>
                    <a:cubicBezTo>
                      <a:pt x="120" y="194"/>
                      <a:pt x="120" y="195"/>
                      <a:pt x="119" y="195"/>
                    </a:cubicBezTo>
                    <a:cubicBezTo>
                      <a:pt x="119" y="195"/>
                      <a:pt x="119" y="195"/>
                      <a:pt x="119" y="195"/>
                    </a:cubicBezTo>
                    <a:cubicBezTo>
                      <a:pt x="119" y="192"/>
                      <a:pt x="120" y="191"/>
                      <a:pt x="120" y="189"/>
                    </a:cubicBezTo>
                    <a:cubicBezTo>
                      <a:pt x="120" y="185"/>
                      <a:pt x="116" y="185"/>
                      <a:pt x="116" y="182"/>
                    </a:cubicBezTo>
                    <a:cubicBezTo>
                      <a:pt x="116" y="180"/>
                      <a:pt x="117" y="180"/>
                      <a:pt x="117" y="178"/>
                    </a:cubicBezTo>
                    <a:cubicBezTo>
                      <a:pt x="119" y="177"/>
                      <a:pt x="120" y="176"/>
                      <a:pt x="122" y="174"/>
                    </a:cubicBezTo>
                    <a:cubicBezTo>
                      <a:pt x="124" y="173"/>
                      <a:pt x="126" y="171"/>
                      <a:pt x="128" y="171"/>
                    </a:cubicBezTo>
                    <a:cubicBezTo>
                      <a:pt x="129" y="171"/>
                      <a:pt x="130" y="171"/>
                      <a:pt x="131" y="171"/>
                    </a:cubicBezTo>
                    <a:cubicBezTo>
                      <a:pt x="131" y="169"/>
                      <a:pt x="131" y="169"/>
                      <a:pt x="131" y="168"/>
                    </a:cubicBezTo>
                    <a:cubicBezTo>
                      <a:pt x="131" y="165"/>
                      <a:pt x="129" y="164"/>
                      <a:pt x="126" y="163"/>
                    </a:cubicBezTo>
                    <a:cubicBezTo>
                      <a:pt x="125" y="162"/>
                      <a:pt x="125" y="161"/>
                      <a:pt x="124" y="161"/>
                    </a:cubicBezTo>
                    <a:cubicBezTo>
                      <a:pt x="122" y="161"/>
                      <a:pt x="120" y="161"/>
                      <a:pt x="118" y="162"/>
                    </a:cubicBezTo>
                    <a:cubicBezTo>
                      <a:pt x="117" y="162"/>
                      <a:pt x="116" y="164"/>
                      <a:pt x="115" y="165"/>
                    </a:cubicBezTo>
                    <a:cubicBezTo>
                      <a:pt x="115" y="165"/>
                      <a:pt x="115" y="166"/>
                      <a:pt x="114" y="166"/>
                    </a:cubicBezTo>
                    <a:cubicBezTo>
                      <a:pt x="112" y="166"/>
                      <a:pt x="112" y="165"/>
                      <a:pt x="111" y="163"/>
                    </a:cubicBezTo>
                    <a:cubicBezTo>
                      <a:pt x="111" y="163"/>
                      <a:pt x="111" y="162"/>
                      <a:pt x="110" y="162"/>
                    </a:cubicBezTo>
                    <a:cubicBezTo>
                      <a:pt x="109" y="162"/>
                      <a:pt x="109" y="163"/>
                      <a:pt x="108" y="163"/>
                    </a:cubicBezTo>
                    <a:cubicBezTo>
                      <a:pt x="108" y="163"/>
                      <a:pt x="107" y="163"/>
                      <a:pt x="107" y="163"/>
                    </a:cubicBezTo>
                    <a:cubicBezTo>
                      <a:pt x="107" y="162"/>
                      <a:pt x="107" y="160"/>
                      <a:pt x="106" y="159"/>
                    </a:cubicBezTo>
                    <a:cubicBezTo>
                      <a:pt x="105" y="158"/>
                      <a:pt x="104" y="157"/>
                      <a:pt x="103" y="157"/>
                    </a:cubicBezTo>
                    <a:cubicBezTo>
                      <a:pt x="103" y="157"/>
                      <a:pt x="103" y="158"/>
                      <a:pt x="102" y="159"/>
                    </a:cubicBezTo>
                    <a:cubicBezTo>
                      <a:pt x="102" y="160"/>
                      <a:pt x="101" y="160"/>
                      <a:pt x="101" y="161"/>
                    </a:cubicBezTo>
                    <a:cubicBezTo>
                      <a:pt x="101" y="162"/>
                      <a:pt x="102" y="162"/>
                      <a:pt x="102" y="163"/>
                    </a:cubicBezTo>
                    <a:cubicBezTo>
                      <a:pt x="102" y="164"/>
                      <a:pt x="101" y="165"/>
                      <a:pt x="100" y="166"/>
                    </a:cubicBezTo>
                    <a:cubicBezTo>
                      <a:pt x="99" y="167"/>
                      <a:pt x="100" y="167"/>
                      <a:pt x="99" y="169"/>
                    </a:cubicBezTo>
                    <a:cubicBezTo>
                      <a:pt x="98" y="168"/>
                      <a:pt x="97" y="166"/>
                      <a:pt x="97" y="165"/>
                    </a:cubicBezTo>
                    <a:cubicBezTo>
                      <a:pt x="96" y="163"/>
                      <a:pt x="95" y="162"/>
                      <a:pt x="94" y="161"/>
                    </a:cubicBezTo>
                    <a:cubicBezTo>
                      <a:pt x="93" y="159"/>
                      <a:pt x="92" y="158"/>
                      <a:pt x="90" y="158"/>
                    </a:cubicBezTo>
                    <a:cubicBezTo>
                      <a:pt x="88" y="158"/>
                      <a:pt x="89" y="161"/>
                      <a:pt x="89" y="163"/>
                    </a:cubicBezTo>
                    <a:cubicBezTo>
                      <a:pt x="89" y="164"/>
                      <a:pt x="89" y="166"/>
                      <a:pt x="88" y="166"/>
                    </a:cubicBezTo>
                    <a:cubicBezTo>
                      <a:pt x="88" y="165"/>
                      <a:pt x="87" y="165"/>
                      <a:pt x="87" y="164"/>
                    </a:cubicBezTo>
                    <a:cubicBezTo>
                      <a:pt x="87" y="159"/>
                      <a:pt x="87" y="159"/>
                      <a:pt x="87" y="159"/>
                    </a:cubicBezTo>
                    <a:cubicBezTo>
                      <a:pt x="87" y="158"/>
                      <a:pt x="86" y="157"/>
                      <a:pt x="86" y="156"/>
                    </a:cubicBezTo>
                    <a:cubicBezTo>
                      <a:pt x="85" y="155"/>
                      <a:pt x="85" y="153"/>
                      <a:pt x="84" y="152"/>
                    </a:cubicBezTo>
                    <a:cubicBezTo>
                      <a:pt x="84" y="151"/>
                      <a:pt x="83" y="151"/>
                      <a:pt x="83" y="150"/>
                    </a:cubicBezTo>
                    <a:cubicBezTo>
                      <a:pt x="83" y="148"/>
                      <a:pt x="85" y="148"/>
                      <a:pt x="86" y="147"/>
                    </a:cubicBezTo>
                    <a:cubicBezTo>
                      <a:pt x="86" y="147"/>
                      <a:pt x="86" y="146"/>
                      <a:pt x="87" y="146"/>
                    </a:cubicBezTo>
                    <a:cubicBezTo>
                      <a:pt x="87" y="146"/>
                      <a:pt x="87" y="146"/>
                      <a:pt x="88" y="146"/>
                    </a:cubicBezTo>
                    <a:cubicBezTo>
                      <a:pt x="88" y="148"/>
                      <a:pt x="88" y="148"/>
                      <a:pt x="88" y="148"/>
                    </a:cubicBezTo>
                    <a:cubicBezTo>
                      <a:pt x="88" y="149"/>
                      <a:pt x="87" y="149"/>
                      <a:pt x="87" y="150"/>
                    </a:cubicBezTo>
                    <a:cubicBezTo>
                      <a:pt x="87" y="150"/>
                      <a:pt x="86" y="150"/>
                      <a:pt x="86" y="151"/>
                    </a:cubicBezTo>
                    <a:cubicBezTo>
                      <a:pt x="86" y="151"/>
                      <a:pt x="87" y="152"/>
                      <a:pt x="87" y="152"/>
                    </a:cubicBezTo>
                    <a:cubicBezTo>
                      <a:pt x="88" y="153"/>
                      <a:pt x="88" y="153"/>
                      <a:pt x="89" y="154"/>
                    </a:cubicBezTo>
                    <a:cubicBezTo>
                      <a:pt x="90" y="153"/>
                      <a:pt x="91" y="152"/>
                      <a:pt x="91" y="151"/>
                    </a:cubicBezTo>
                    <a:cubicBezTo>
                      <a:pt x="91" y="148"/>
                      <a:pt x="92" y="147"/>
                      <a:pt x="92" y="144"/>
                    </a:cubicBezTo>
                    <a:cubicBezTo>
                      <a:pt x="93" y="142"/>
                      <a:pt x="97" y="142"/>
                      <a:pt x="97" y="139"/>
                    </a:cubicBezTo>
                    <a:cubicBezTo>
                      <a:pt x="98" y="136"/>
                      <a:pt x="100" y="135"/>
                      <a:pt x="102" y="133"/>
                    </a:cubicBezTo>
                    <a:cubicBezTo>
                      <a:pt x="103" y="133"/>
                      <a:pt x="104" y="133"/>
                      <a:pt x="105" y="133"/>
                    </a:cubicBezTo>
                    <a:cubicBezTo>
                      <a:pt x="106" y="132"/>
                      <a:pt x="107" y="131"/>
                      <a:pt x="107" y="130"/>
                    </a:cubicBezTo>
                    <a:cubicBezTo>
                      <a:pt x="107" y="127"/>
                      <a:pt x="106" y="126"/>
                      <a:pt x="105" y="124"/>
                    </a:cubicBezTo>
                    <a:cubicBezTo>
                      <a:pt x="104" y="124"/>
                      <a:pt x="104" y="124"/>
                      <a:pt x="104" y="123"/>
                    </a:cubicBezTo>
                    <a:cubicBezTo>
                      <a:pt x="104" y="122"/>
                      <a:pt x="105" y="121"/>
                      <a:pt x="105" y="120"/>
                    </a:cubicBezTo>
                    <a:cubicBezTo>
                      <a:pt x="105" y="118"/>
                      <a:pt x="107" y="115"/>
                      <a:pt x="109" y="115"/>
                    </a:cubicBezTo>
                    <a:cubicBezTo>
                      <a:pt x="111" y="115"/>
                      <a:pt x="112" y="115"/>
                      <a:pt x="113" y="116"/>
                    </a:cubicBezTo>
                    <a:cubicBezTo>
                      <a:pt x="114" y="117"/>
                      <a:pt x="114" y="118"/>
                      <a:pt x="115" y="118"/>
                    </a:cubicBezTo>
                    <a:cubicBezTo>
                      <a:pt x="116" y="118"/>
                      <a:pt x="116" y="118"/>
                      <a:pt x="116" y="118"/>
                    </a:cubicBezTo>
                    <a:cubicBezTo>
                      <a:pt x="115" y="115"/>
                      <a:pt x="114" y="113"/>
                      <a:pt x="113" y="111"/>
                    </a:cubicBezTo>
                    <a:cubicBezTo>
                      <a:pt x="113" y="109"/>
                      <a:pt x="112" y="109"/>
                      <a:pt x="112" y="107"/>
                    </a:cubicBezTo>
                    <a:cubicBezTo>
                      <a:pt x="112" y="106"/>
                      <a:pt x="113" y="105"/>
                      <a:pt x="113" y="104"/>
                    </a:cubicBezTo>
                    <a:cubicBezTo>
                      <a:pt x="113" y="103"/>
                      <a:pt x="113" y="103"/>
                      <a:pt x="113" y="103"/>
                    </a:cubicBezTo>
                    <a:cubicBezTo>
                      <a:pt x="112" y="103"/>
                      <a:pt x="112" y="103"/>
                      <a:pt x="112" y="103"/>
                    </a:cubicBezTo>
                    <a:cubicBezTo>
                      <a:pt x="112" y="103"/>
                      <a:pt x="111" y="104"/>
                      <a:pt x="110" y="104"/>
                    </a:cubicBezTo>
                    <a:cubicBezTo>
                      <a:pt x="110" y="104"/>
                      <a:pt x="110" y="104"/>
                      <a:pt x="109" y="104"/>
                    </a:cubicBezTo>
                    <a:cubicBezTo>
                      <a:pt x="109" y="103"/>
                      <a:pt x="109" y="103"/>
                      <a:pt x="109" y="103"/>
                    </a:cubicBezTo>
                    <a:cubicBezTo>
                      <a:pt x="109" y="101"/>
                      <a:pt x="110" y="100"/>
                      <a:pt x="110" y="98"/>
                    </a:cubicBezTo>
                    <a:cubicBezTo>
                      <a:pt x="110" y="98"/>
                      <a:pt x="110" y="98"/>
                      <a:pt x="110" y="97"/>
                    </a:cubicBezTo>
                    <a:cubicBezTo>
                      <a:pt x="108" y="98"/>
                      <a:pt x="107" y="99"/>
                      <a:pt x="104" y="100"/>
                    </a:cubicBezTo>
                    <a:cubicBezTo>
                      <a:pt x="103" y="100"/>
                      <a:pt x="102" y="100"/>
                      <a:pt x="100" y="101"/>
                    </a:cubicBezTo>
                    <a:cubicBezTo>
                      <a:pt x="99" y="103"/>
                      <a:pt x="97" y="103"/>
                      <a:pt x="96" y="104"/>
                    </a:cubicBezTo>
                    <a:cubicBezTo>
                      <a:pt x="94" y="106"/>
                      <a:pt x="93" y="107"/>
                      <a:pt x="93" y="109"/>
                    </a:cubicBezTo>
                    <a:cubicBezTo>
                      <a:pt x="93" y="111"/>
                      <a:pt x="93" y="112"/>
                      <a:pt x="93" y="114"/>
                    </a:cubicBezTo>
                    <a:cubicBezTo>
                      <a:pt x="93" y="116"/>
                      <a:pt x="92" y="118"/>
                      <a:pt x="90" y="118"/>
                    </a:cubicBezTo>
                    <a:cubicBezTo>
                      <a:pt x="89" y="118"/>
                      <a:pt x="89" y="118"/>
                      <a:pt x="88" y="119"/>
                    </a:cubicBezTo>
                    <a:cubicBezTo>
                      <a:pt x="87" y="120"/>
                      <a:pt x="87" y="121"/>
                      <a:pt x="86" y="122"/>
                    </a:cubicBezTo>
                    <a:cubicBezTo>
                      <a:pt x="85" y="124"/>
                      <a:pt x="84" y="125"/>
                      <a:pt x="82" y="127"/>
                    </a:cubicBezTo>
                    <a:cubicBezTo>
                      <a:pt x="81" y="129"/>
                      <a:pt x="80" y="131"/>
                      <a:pt x="79" y="131"/>
                    </a:cubicBezTo>
                    <a:cubicBezTo>
                      <a:pt x="78" y="131"/>
                      <a:pt x="77" y="130"/>
                      <a:pt x="77" y="129"/>
                    </a:cubicBezTo>
                    <a:cubicBezTo>
                      <a:pt x="77" y="127"/>
                      <a:pt x="78" y="126"/>
                      <a:pt x="80" y="125"/>
                    </a:cubicBezTo>
                    <a:cubicBezTo>
                      <a:pt x="81" y="124"/>
                      <a:pt x="81" y="122"/>
                      <a:pt x="83" y="121"/>
                    </a:cubicBezTo>
                    <a:cubicBezTo>
                      <a:pt x="84" y="120"/>
                      <a:pt x="85" y="119"/>
                      <a:pt x="87" y="118"/>
                    </a:cubicBezTo>
                    <a:cubicBezTo>
                      <a:pt x="88" y="117"/>
                      <a:pt x="90" y="117"/>
                      <a:pt x="90" y="115"/>
                    </a:cubicBezTo>
                    <a:cubicBezTo>
                      <a:pt x="90" y="114"/>
                      <a:pt x="88" y="114"/>
                      <a:pt x="88" y="113"/>
                    </a:cubicBezTo>
                    <a:cubicBezTo>
                      <a:pt x="88" y="110"/>
                      <a:pt x="91" y="110"/>
                      <a:pt x="92" y="107"/>
                    </a:cubicBezTo>
                    <a:cubicBezTo>
                      <a:pt x="91" y="107"/>
                      <a:pt x="90" y="107"/>
                      <a:pt x="89" y="107"/>
                    </a:cubicBezTo>
                    <a:cubicBezTo>
                      <a:pt x="91" y="105"/>
                      <a:pt x="93" y="104"/>
                      <a:pt x="94" y="102"/>
                    </a:cubicBezTo>
                    <a:cubicBezTo>
                      <a:pt x="95" y="100"/>
                      <a:pt x="95" y="99"/>
                      <a:pt x="96" y="96"/>
                    </a:cubicBezTo>
                    <a:cubicBezTo>
                      <a:pt x="96" y="96"/>
                      <a:pt x="97" y="95"/>
                      <a:pt x="97" y="94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7" y="93"/>
                      <a:pt x="99" y="93"/>
                      <a:pt x="99" y="91"/>
                    </a:cubicBezTo>
                    <a:cubicBezTo>
                      <a:pt x="99" y="90"/>
                      <a:pt x="98" y="89"/>
                      <a:pt x="99" y="88"/>
                    </a:cubicBezTo>
                    <a:cubicBezTo>
                      <a:pt x="100" y="88"/>
                      <a:pt x="100" y="88"/>
                      <a:pt x="101" y="88"/>
                    </a:cubicBezTo>
                    <a:cubicBezTo>
                      <a:pt x="103" y="88"/>
                      <a:pt x="102" y="85"/>
                      <a:pt x="104" y="85"/>
                    </a:cubicBezTo>
                    <a:cubicBezTo>
                      <a:pt x="105" y="84"/>
                      <a:pt x="106" y="85"/>
                      <a:pt x="106" y="84"/>
                    </a:cubicBezTo>
                    <a:cubicBezTo>
                      <a:pt x="107" y="84"/>
                      <a:pt x="107" y="83"/>
                      <a:pt x="107" y="82"/>
                    </a:cubicBezTo>
                    <a:cubicBezTo>
                      <a:pt x="109" y="81"/>
                      <a:pt x="110" y="82"/>
                      <a:pt x="112" y="81"/>
                    </a:cubicBezTo>
                    <a:cubicBezTo>
                      <a:pt x="112" y="80"/>
                      <a:pt x="113" y="78"/>
                      <a:pt x="115" y="77"/>
                    </a:cubicBezTo>
                    <a:cubicBezTo>
                      <a:pt x="116" y="75"/>
                      <a:pt x="117" y="74"/>
                      <a:pt x="118" y="72"/>
                    </a:cubicBezTo>
                    <a:cubicBezTo>
                      <a:pt x="113" y="76"/>
                      <a:pt x="110" y="78"/>
                      <a:pt x="105" y="80"/>
                    </a:cubicBezTo>
                    <a:cubicBezTo>
                      <a:pt x="103" y="81"/>
                      <a:pt x="103" y="82"/>
                      <a:pt x="101" y="82"/>
                    </a:cubicBezTo>
                    <a:cubicBezTo>
                      <a:pt x="99" y="82"/>
                      <a:pt x="98" y="81"/>
                      <a:pt x="96" y="80"/>
                    </a:cubicBezTo>
                    <a:cubicBezTo>
                      <a:pt x="96" y="79"/>
                      <a:pt x="95" y="79"/>
                      <a:pt x="95" y="78"/>
                    </a:cubicBezTo>
                    <a:cubicBezTo>
                      <a:pt x="95" y="77"/>
                      <a:pt x="95" y="77"/>
                      <a:pt x="95" y="77"/>
                    </a:cubicBezTo>
                    <a:cubicBezTo>
                      <a:pt x="96" y="76"/>
                      <a:pt x="97" y="77"/>
                      <a:pt x="98" y="77"/>
                    </a:cubicBezTo>
                    <a:cubicBezTo>
                      <a:pt x="99" y="77"/>
                      <a:pt x="99" y="76"/>
                      <a:pt x="100" y="76"/>
                    </a:cubicBezTo>
                    <a:cubicBezTo>
                      <a:pt x="99" y="74"/>
                      <a:pt x="96" y="74"/>
                      <a:pt x="94" y="72"/>
                    </a:cubicBezTo>
                    <a:cubicBezTo>
                      <a:pt x="93" y="72"/>
                      <a:pt x="92" y="72"/>
                      <a:pt x="92" y="71"/>
                    </a:cubicBezTo>
                    <a:cubicBezTo>
                      <a:pt x="92" y="70"/>
                      <a:pt x="93" y="70"/>
                      <a:pt x="93" y="70"/>
                    </a:cubicBezTo>
                    <a:cubicBezTo>
                      <a:pt x="93" y="70"/>
                      <a:pt x="93" y="70"/>
                      <a:pt x="93" y="70"/>
                    </a:cubicBezTo>
                    <a:cubicBezTo>
                      <a:pt x="95" y="70"/>
                      <a:pt x="96" y="70"/>
                      <a:pt x="97" y="70"/>
                    </a:cubicBezTo>
                    <a:cubicBezTo>
                      <a:pt x="97" y="71"/>
                      <a:pt x="98" y="72"/>
                      <a:pt x="99" y="72"/>
                    </a:cubicBezTo>
                    <a:cubicBezTo>
                      <a:pt x="101" y="72"/>
                      <a:pt x="101" y="70"/>
                      <a:pt x="102" y="70"/>
                    </a:cubicBezTo>
                    <a:cubicBezTo>
                      <a:pt x="103" y="69"/>
                      <a:pt x="104" y="69"/>
                      <a:pt x="104" y="69"/>
                    </a:cubicBezTo>
                    <a:cubicBezTo>
                      <a:pt x="104" y="67"/>
                      <a:pt x="104" y="67"/>
                      <a:pt x="104" y="67"/>
                    </a:cubicBezTo>
                    <a:cubicBezTo>
                      <a:pt x="103" y="67"/>
                      <a:pt x="102" y="67"/>
                      <a:pt x="101" y="66"/>
                    </a:cubicBezTo>
                    <a:cubicBezTo>
                      <a:pt x="102" y="66"/>
                      <a:pt x="103" y="65"/>
                      <a:pt x="104" y="65"/>
                    </a:cubicBezTo>
                    <a:cubicBezTo>
                      <a:pt x="105" y="65"/>
                      <a:pt x="106" y="65"/>
                      <a:pt x="107" y="65"/>
                    </a:cubicBezTo>
                    <a:cubicBezTo>
                      <a:pt x="107" y="64"/>
                      <a:pt x="107" y="63"/>
                      <a:pt x="106" y="63"/>
                    </a:cubicBezTo>
                    <a:cubicBezTo>
                      <a:pt x="106" y="62"/>
                      <a:pt x="106" y="62"/>
                      <a:pt x="106" y="62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108" y="62"/>
                      <a:pt x="109" y="63"/>
                      <a:pt x="110" y="63"/>
                    </a:cubicBezTo>
                    <a:cubicBezTo>
                      <a:pt x="111" y="63"/>
                      <a:pt x="111" y="62"/>
                      <a:pt x="111" y="62"/>
                    </a:cubicBezTo>
                    <a:cubicBezTo>
                      <a:pt x="110" y="61"/>
                      <a:pt x="109" y="60"/>
                      <a:pt x="109" y="58"/>
                    </a:cubicBezTo>
                    <a:cubicBezTo>
                      <a:pt x="110" y="58"/>
                      <a:pt x="111" y="57"/>
                      <a:pt x="112" y="56"/>
                    </a:cubicBezTo>
                    <a:cubicBezTo>
                      <a:pt x="111" y="54"/>
                      <a:pt x="110" y="54"/>
                      <a:pt x="110" y="53"/>
                    </a:cubicBezTo>
                    <a:cubicBezTo>
                      <a:pt x="110" y="52"/>
                      <a:pt x="110" y="52"/>
                      <a:pt x="111" y="52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3" y="52"/>
                      <a:pt x="113" y="52"/>
                      <a:pt x="113" y="52"/>
                    </a:cubicBezTo>
                    <a:cubicBezTo>
                      <a:pt x="113" y="51"/>
                      <a:pt x="113" y="51"/>
                      <a:pt x="113" y="50"/>
                    </a:cubicBezTo>
                    <a:cubicBezTo>
                      <a:pt x="113" y="50"/>
                      <a:pt x="113" y="50"/>
                      <a:pt x="113" y="49"/>
                    </a:cubicBezTo>
                    <a:cubicBezTo>
                      <a:pt x="113" y="49"/>
                      <a:pt x="113" y="48"/>
                      <a:pt x="113" y="48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1" y="48"/>
                      <a:pt x="111" y="48"/>
                      <a:pt x="110" y="48"/>
                    </a:cubicBezTo>
                    <a:cubicBezTo>
                      <a:pt x="109" y="48"/>
                      <a:pt x="109" y="47"/>
                      <a:pt x="109" y="46"/>
                    </a:cubicBezTo>
                    <a:cubicBezTo>
                      <a:pt x="109" y="44"/>
                      <a:pt x="109" y="44"/>
                      <a:pt x="109" y="43"/>
                    </a:cubicBezTo>
                    <a:cubicBezTo>
                      <a:pt x="109" y="42"/>
                      <a:pt x="110" y="41"/>
                      <a:pt x="110" y="41"/>
                    </a:cubicBezTo>
                    <a:cubicBezTo>
                      <a:pt x="113" y="41"/>
                      <a:pt x="114" y="43"/>
                      <a:pt x="116" y="43"/>
                    </a:cubicBezTo>
                    <a:cubicBezTo>
                      <a:pt x="116" y="42"/>
                      <a:pt x="116" y="41"/>
                      <a:pt x="115" y="40"/>
                    </a:cubicBezTo>
                    <a:cubicBezTo>
                      <a:pt x="114" y="40"/>
                      <a:pt x="113" y="39"/>
                      <a:pt x="113" y="38"/>
                    </a:cubicBezTo>
                    <a:cubicBezTo>
                      <a:pt x="113" y="37"/>
                      <a:pt x="113" y="36"/>
                      <a:pt x="114" y="35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4" y="30"/>
                      <a:pt x="114" y="30"/>
                      <a:pt x="114" y="30"/>
                    </a:cubicBezTo>
                    <a:cubicBezTo>
                      <a:pt x="116" y="30"/>
                      <a:pt x="116" y="30"/>
                      <a:pt x="116" y="30"/>
                    </a:cubicBezTo>
                    <a:cubicBezTo>
                      <a:pt x="117" y="30"/>
                      <a:pt x="117" y="31"/>
                      <a:pt x="117" y="32"/>
                    </a:cubicBezTo>
                    <a:cubicBezTo>
                      <a:pt x="117" y="33"/>
                      <a:pt x="117" y="33"/>
                      <a:pt x="117" y="34"/>
                    </a:cubicBezTo>
                    <a:cubicBezTo>
                      <a:pt x="118" y="35"/>
                      <a:pt x="117" y="37"/>
                      <a:pt x="119" y="38"/>
                    </a:cubicBezTo>
                    <a:cubicBezTo>
                      <a:pt x="119" y="38"/>
                      <a:pt x="119" y="39"/>
                      <a:pt x="120" y="39"/>
                    </a:cubicBezTo>
                    <a:cubicBezTo>
                      <a:pt x="120" y="39"/>
                      <a:pt x="120" y="39"/>
                      <a:pt x="121" y="39"/>
                    </a:cubicBezTo>
                    <a:cubicBezTo>
                      <a:pt x="121" y="37"/>
                      <a:pt x="121" y="37"/>
                      <a:pt x="121" y="37"/>
                    </a:cubicBezTo>
                    <a:cubicBezTo>
                      <a:pt x="121" y="36"/>
                      <a:pt x="120" y="35"/>
                      <a:pt x="120" y="34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0" y="30"/>
                      <a:pt x="120" y="30"/>
                      <a:pt x="120" y="29"/>
                    </a:cubicBezTo>
                    <a:cubicBezTo>
                      <a:pt x="120" y="29"/>
                      <a:pt x="120" y="28"/>
                      <a:pt x="121" y="28"/>
                    </a:cubicBezTo>
                    <a:cubicBezTo>
                      <a:pt x="121" y="28"/>
                      <a:pt x="122" y="28"/>
                      <a:pt x="123" y="28"/>
                    </a:cubicBezTo>
                    <a:cubicBezTo>
                      <a:pt x="124" y="29"/>
                      <a:pt x="123" y="30"/>
                      <a:pt x="123" y="31"/>
                    </a:cubicBezTo>
                    <a:cubicBezTo>
                      <a:pt x="125" y="31"/>
                      <a:pt x="126" y="33"/>
                      <a:pt x="128" y="33"/>
                    </a:cubicBezTo>
                    <a:cubicBezTo>
                      <a:pt x="129" y="33"/>
                      <a:pt x="130" y="33"/>
                      <a:pt x="131" y="33"/>
                    </a:cubicBezTo>
                    <a:cubicBezTo>
                      <a:pt x="131" y="33"/>
                      <a:pt x="131" y="33"/>
                      <a:pt x="131" y="33"/>
                    </a:cubicBezTo>
                    <a:cubicBezTo>
                      <a:pt x="131" y="29"/>
                      <a:pt x="128" y="27"/>
                      <a:pt x="128" y="23"/>
                    </a:cubicBezTo>
                    <a:cubicBezTo>
                      <a:pt x="128" y="23"/>
                      <a:pt x="128" y="22"/>
                      <a:pt x="128" y="21"/>
                    </a:cubicBezTo>
                    <a:cubicBezTo>
                      <a:pt x="129" y="22"/>
                      <a:pt x="129" y="23"/>
                      <a:pt x="130" y="23"/>
                    </a:cubicBezTo>
                    <a:cubicBezTo>
                      <a:pt x="131" y="23"/>
                      <a:pt x="131" y="22"/>
                      <a:pt x="131" y="21"/>
                    </a:cubicBezTo>
                    <a:cubicBezTo>
                      <a:pt x="131" y="19"/>
                      <a:pt x="130" y="18"/>
                      <a:pt x="130" y="17"/>
                    </a:cubicBezTo>
                    <a:cubicBezTo>
                      <a:pt x="130" y="16"/>
                      <a:pt x="131" y="15"/>
                      <a:pt x="132" y="15"/>
                    </a:cubicBezTo>
                    <a:cubicBezTo>
                      <a:pt x="133" y="15"/>
                      <a:pt x="133" y="17"/>
                      <a:pt x="135" y="17"/>
                    </a:cubicBezTo>
                    <a:cubicBezTo>
                      <a:pt x="136" y="17"/>
                      <a:pt x="136" y="17"/>
                      <a:pt x="137" y="16"/>
                    </a:cubicBezTo>
                    <a:cubicBezTo>
                      <a:pt x="137" y="15"/>
                      <a:pt x="137" y="14"/>
                      <a:pt x="137" y="14"/>
                    </a:cubicBezTo>
                    <a:cubicBezTo>
                      <a:pt x="138" y="12"/>
                      <a:pt x="140" y="12"/>
                      <a:pt x="140" y="10"/>
                    </a:cubicBezTo>
                    <a:cubicBezTo>
                      <a:pt x="140" y="7"/>
                      <a:pt x="140" y="7"/>
                      <a:pt x="140" y="7"/>
                    </a:cubicBezTo>
                    <a:cubicBezTo>
                      <a:pt x="141" y="6"/>
                      <a:pt x="142" y="6"/>
                      <a:pt x="142" y="6"/>
                    </a:cubicBezTo>
                    <a:cubicBezTo>
                      <a:pt x="143" y="5"/>
                      <a:pt x="143" y="4"/>
                      <a:pt x="144" y="3"/>
                    </a:cubicBezTo>
                    <a:cubicBezTo>
                      <a:pt x="145" y="2"/>
                      <a:pt x="146" y="1"/>
                      <a:pt x="147" y="0"/>
                    </a:cubicBezTo>
                    <a:cubicBezTo>
                      <a:pt x="147" y="2"/>
                      <a:pt x="147" y="3"/>
                      <a:pt x="147" y="4"/>
                    </a:cubicBezTo>
                    <a:cubicBezTo>
                      <a:pt x="148" y="6"/>
                      <a:pt x="149" y="6"/>
                      <a:pt x="149" y="7"/>
                    </a:cubicBezTo>
                    <a:cubicBezTo>
                      <a:pt x="150" y="9"/>
                      <a:pt x="150" y="10"/>
                      <a:pt x="151" y="12"/>
                    </a:cubicBezTo>
                    <a:cubicBezTo>
                      <a:pt x="152" y="10"/>
                      <a:pt x="152" y="9"/>
                      <a:pt x="154" y="9"/>
                    </a:cubicBezTo>
                    <a:cubicBezTo>
                      <a:pt x="156" y="9"/>
                      <a:pt x="158" y="10"/>
                      <a:pt x="158" y="11"/>
                    </a:cubicBezTo>
                    <a:cubicBezTo>
                      <a:pt x="158" y="15"/>
                      <a:pt x="158" y="15"/>
                      <a:pt x="158" y="15"/>
                    </a:cubicBezTo>
                    <a:cubicBezTo>
                      <a:pt x="158" y="15"/>
                      <a:pt x="158" y="13"/>
                      <a:pt x="160" y="13"/>
                    </a:cubicBezTo>
                    <a:cubicBezTo>
                      <a:pt x="161" y="13"/>
                      <a:pt x="161" y="15"/>
                      <a:pt x="163" y="15"/>
                    </a:cubicBezTo>
                    <a:cubicBezTo>
                      <a:pt x="163" y="15"/>
                      <a:pt x="164" y="14"/>
                      <a:pt x="164" y="13"/>
                    </a:cubicBezTo>
                    <a:cubicBezTo>
                      <a:pt x="165" y="13"/>
                      <a:pt x="166" y="13"/>
                      <a:pt x="167" y="13"/>
                    </a:cubicBezTo>
                    <a:cubicBezTo>
                      <a:pt x="169" y="13"/>
                      <a:pt x="170" y="15"/>
                      <a:pt x="172" y="15"/>
                    </a:cubicBezTo>
                    <a:cubicBezTo>
                      <a:pt x="173" y="15"/>
                      <a:pt x="173" y="14"/>
                      <a:pt x="174" y="14"/>
                    </a:cubicBezTo>
                    <a:cubicBezTo>
                      <a:pt x="176" y="14"/>
                      <a:pt x="177" y="16"/>
                      <a:pt x="179" y="16"/>
                    </a:cubicBezTo>
                    <a:cubicBezTo>
                      <a:pt x="180" y="16"/>
                      <a:pt x="180" y="16"/>
                      <a:pt x="181" y="16"/>
                    </a:cubicBezTo>
                    <a:cubicBezTo>
                      <a:pt x="184" y="16"/>
                      <a:pt x="184" y="16"/>
                      <a:pt x="184" y="16"/>
                    </a:cubicBezTo>
                    <a:cubicBezTo>
                      <a:pt x="185" y="16"/>
                      <a:pt x="185" y="15"/>
                      <a:pt x="186" y="14"/>
                    </a:cubicBezTo>
                    <a:cubicBezTo>
                      <a:pt x="186" y="15"/>
                      <a:pt x="186" y="16"/>
                      <a:pt x="186" y="17"/>
                    </a:cubicBezTo>
                    <a:cubicBezTo>
                      <a:pt x="186" y="17"/>
                      <a:pt x="187" y="18"/>
                      <a:pt x="187" y="18"/>
                    </a:cubicBezTo>
                    <a:cubicBezTo>
                      <a:pt x="187" y="20"/>
                      <a:pt x="185" y="20"/>
                      <a:pt x="185" y="21"/>
                    </a:cubicBezTo>
                    <a:cubicBezTo>
                      <a:pt x="185" y="22"/>
                      <a:pt x="186" y="22"/>
                      <a:pt x="186" y="23"/>
                    </a:cubicBezTo>
                    <a:cubicBezTo>
                      <a:pt x="186" y="24"/>
                      <a:pt x="185" y="24"/>
                      <a:pt x="185" y="24"/>
                    </a:cubicBezTo>
                    <a:cubicBezTo>
                      <a:pt x="183" y="25"/>
                      <a:pt x="182" y="26"/>
                      <a:pt x="180" y="26"/>
                    </a:cubicBezTo>
                    <a:cubicBezTo>
                      <a:pt x="177" y="27"/>
                      <a:pt x="176" y="28"/>
                      <a:pt x="173" y="30"/>
                    </a:cubicBezTo>
                    <a:cubicBezTo>
                      <a:pt x="170" y="32"/>
                      <a:pt x="169" y="32"/>
                      <a:pt x="166" y="33"/>
                    </a:cubicBezTo>
                    <a:cubicBezTo>
                      <a:pt x="164" y="34"/>
                      <a:pt x="163" y="35"/>
                      <a:pt x="162" y="36"/>
                    </a:cubicBezTo>
                    <a:cubicBezTo>
                      <a:pt x="161" y="36"/>
                      <a:pt x="160" y="37"/>
                      <a:pt x="159" y="37"/>
                    </a:cubicBezTo>
                    <a:cubicBezTo>
                      <a:pt x="157" y="37"/>
                      <a:pt x="157" y="37"/>
                      <a:pt x="157" y="37"/>
                    </a:cubicBezTo>
                    <a:cubicBezTo>
                      <a:pt x="155" y="37"/>
                      <a:pt x="154" y="39"/>
                      <a:pt x="153" y="39"/>
                    </a:cubicBezTo>
                    <a:cubicBezTo>
                      <a:pt x="152" y="39"/>
                      <a:pt x="151" y="38"/>
                      <a:pt x="150" y="38"/>
                    </a:cubicBezTo>
                    <a:cubicBezTo>
                      <a:pt x="149" y="38"/>
                      <a:pt x="148" y="38"/>
                      <a:pt x="147" y="38"/>
                    </a:cubicBezTo>
                    <a:cubicBezTo>
                      <a:pt x="147" y="39"/>
                      <a:pt x="148" y="40"/>
                      <a:pt x="149" y="41"/>
                    </a:cubicBezTo>
                    <a:cubicBezTo>
                      <a:pt x="151" y="43"/>
                      <a:pt x="152" y="44"/>
                      <a:pt x="155" y="44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8" y="44"/>
                      <a:pt x="158" y="44"/>
                      <a:pt x="158" y="44"/>
                    </a:cubicBezTo>
                    <a:cubicBezTo>
                      <a:pt x="159" y="44"/>
                      <a:pt x="159" y="45"/>
                      <a:pt x="159" y="46"/>
                    </a:cubicBezTo>
                    <a:cubicBezTo>
                      <a:pt x="159" y="47"/>
                      <a:pt x="158" y="47"/>
                      <a:pt x="157" y="47"/>
                    </a:cubicBezTo>
                    <a:cubicBezTo>
                      <a:pt x="156" y="47"/>
                      <a:pt x="155" y="47"/>
                      <a:pt x="154" y="48"/>
                    </a:cubicBezTo>
                    <a:cubicBezTo>
                      <a:pt x="154" y="47"/>
                      <a:pt x="153" y="46"/>
                      <a:pt x="152" y="46"/>
                    </a:cubicBezTo>
                    <a:cubicBezTo>
                      <a:pt x="151" y="46"/>
                      <a:pt x="150" y="47"/>
                      <a:pt x="149" y="47"/>
                    </a:cubicBezTo>
                    <a:cubicBezTo>
                      <a:pt x="147" y="47"/>
                      <a:pt x="145" y="47"/>
                      <a:pt x="145" y="50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8" y="51"/>
                      <a:pt x="149" y="51"/>
                      <a:pt x="149" y="51"/>
                    </a:cubicBezTo>
                    <a:cubicBezTo>
                      <a:pt x="149" y="51"/>
                      <a:pt x="148" y="52"/>
                      <a:pt x="148" y="52"/>
                    </a:cubicBezTo>
                    <a:cubicBezTo>
                      <a:pt x="147" y="52"/>
                      <a:pt x="146" y="53"/>
                      <a:pt x="144" y="53"/>
                    </a:cubicBezTo>
                    <a:cubicBezTo>
                      <a:pt x="142" y="53"/>
                      <a:pt x="141" y="53"/>
                      <a:pt x="141" y="54"/>
                    </a:cubicBezTo>
                    <a:cubicBezTo>
                      <a:pt x="141" y="55"/>
                      <a:pt x="142" y="55"/>
                      <a:pt x="142" y="55"/>
                    </a:cubicBezTo>
                    <a:cubicBezTo>
                      <a:pt x="143" y="56"/>
                      <a:pt x="143" y="56"/>
                      <a:pt x="143" y="57"/>
                    </a:cubicBezTo>
                    <a:cubicBezTo>
                      <a:pt x="152" y="55"/>
                      <a:pt x="152" y="55"/>
                      <a:pt x="152" y="55"/>
                    </a:cubicBezTo>
                    <a:cubicBezTo>
                      <a:pt x="155" y="55"/>
                      <a:pt x="155" y="55"/>
                      <a:pt x="155" y="55"/>
                    </a:cubicBezTo>
                    <a:cubicBezTo>
                      <a:pt x="157" y="55"/>
                      <a:pt x="158" y="54"/>
                      <a:pt x="159" y="54"/>
                    </a:cubicBezTo>
                    <a:cubicBezTo>
                      <a:pt x="166" y="54"/>
                      <a:pt x="166" y="54"/>
                      <a:pt x="166" y="54"/>
                    </a:cubicBezTo>
                    <a:cubicBezTo>
                      <a:pt x="167" y="54"/>
                      <a:pt x="167" y="53"/>
                      <a:pt x="168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72" y="53"/>
                      <a:pt x="172" y="55"/>
                      <a:pt x="173" y="56"/>
                    </a:cubicBezTo>
                    <a:cubicBezTo>
                      <a:pt x="174" y="57"/>
                      <a:pt x="175" y="57"/>
                      <a:pt x="177" y="57"/>
                    </a:cubicBezTo>
                    <a:cubicBezTo>
                      <a:pt x="179" y="58"/>
                      <a:pt x="181" y="58"/>
                      <a:pt x="183" y="59"/>
                    </a:cubicBezTo>
                    <a:cubicBezTo>
                      <a:pt x="185" y="60"/>
                      <a:pt x="186" y="61"/>
                      <a:pt x="188" y="61"/>
                    </a:cubicBezTo>
                    <a:cubicBezTo>
                      <a:pt x="191" y="62"/>
                      <a:pt x="193" y="64"/>
                      <a:pt x="196" y="64"/>
                    </a:cubicBezTo>
                    <a:cubicBezTo>
                      <a:pt x="197" y="64"/>
                      <a:pt x="197" y="64"/>
                      <a:pt x="197" y="64"/>
                    </a:cubicBezTo>
                    <a:cubicBezTo>
                      <a:pt x="197" y="75"/>
                      <a:pt x="197" y="75"/>
                      <a:pt x="197" y="75"/>
                    </a:cubicBezTo>
                    <a:cubicBezTo>
                      <a:pt x="197" y="75"/>
                      <a:pt x="197" y="75"/>
                      <a:pt x="196" y="75"/>
                    </a:cubicBezTo>
                    <a:cubicBezTo>
                      <a:pt x="195" y="75"/>
                      <a:pt x="195" y="76"/>
                      <a:pt x="194" y="77"/>
                    </a:cubicBezTo>
                    <a:cubicBezTo>
                      <a:pt x="193" y="78"/>
                      <a:pt x="193" y="78"/>
                      <a:pt x="192" y="78"/>
                    </a:cubicBezTo>
                    <a:cubicBezTo>
                      <a:pt x="191" y="79"/>
                      <a:pt x="190" y="79"/>
                      <a:pt x="189" y="80"/>
                    </a:cubicBezTo>
                    <a:cubicBezTo>
                      <a:pt x="187" y="83"/>
                      <a:pt x="186" y="85"/>
                      <a:pt x="185" y="88"/>
                    </a:cubicBezTo>
                    <a:cubicBezTo>
                      <a:pt x="183" y="90"/>
                      <a:pt x="183" y="93"/>
                      <a:pt x="180" y="94"/>
                    </a:cubicBezTo>
                    <a:cubicBezTo>
                      <a:pt x="177" y="95"/>
                      <a:pt x="175" y="96"/>
                      <a:pt x="174" y="98"/>
                    </a:cubicBezTo>
                    <a:cubicBezTo>
                      <a:pt x="172" y="99"/>
                      <a:pt x="172" y="100"/>
                      <a:pt x="171" y="102"/>
                    </a:cubicBezTo>
                    <a:cubicBezTo>
                      <a:pt x="171" y="102"/>
                      <a:pt x="171" y="103"/>
                      <a:pt x="171" y="103"/>
                    </a:cubicBezTo>
                    <a:cubicBezTo>
                      <a:pt x="170" y="104"/>
                      <a:pt x="170" y="103"/>
                      <a:pt x="169" y="103"/>
                    </a:cubicBezTo>
                    <a:cubicBezTo>
                      <a:pt x="166" y="104"/>
                      <a:pt x="166" y="108"/>
                      <a:pt x="163" y="108"/>
                    </a:cubicBezTo>
                    <a:cubicBezTo>
                      <a:pt x="162" y="108"/>
                      <a:pt x="161" y="106"/>
                      <a:pt x="160" y="106"/>
                    </a:cubicBezTo>
                    <a:cubicBezTo>
                      <a:pt x="159" y="106"/>
                      <a:pt x="158" y="107"/>
                      <a:pt x="157" y="107"/>
                    </a:cubicBezTo>
                    <a:cubicBezTo>
                      <a:pt x="156" y="107"/>
                      <a:pt x="156" y="107"/>
                      <a:pt x="155" y="107"/>
                    </a:cubicBezTo>
                    <a:cubicBezTo>
                      <a:pt x="154" y="107"/>
                      <a:pt x="153" y="108"/>
                      <a:pt x="152" y="108"/>
                    </a:cubicBezTo>
                    <a:cubicBezTo>
                      <a:pt x="151" y="109"/>
                      <a:pt x="149" y="108"/>
                      <a:pt x="149" y="109"/>
                    </a:cubicBezTo>
                    <a:cubicBezTo>
                      <a:pt x="149" y="110"/>
                      <a:pt x="150" y="110"/>
                      <a:pt x="150" y="110"/>
                    </a:cubicBezTo>
                    <a:cubicBezTo>
                      <a:pt x="152" y="111"/>
                      <a:pt x="153" y="111"/>
                      <a:pt x="154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58" y="111"/>
                      <a:pt x="159" y="111"/>
                      <a:pt x="161" y="111"/>
                    </a:cubicBezTo>
                    <a:cubicBezTo>
                      <a:pt x="161" y="113"/>
                      <a:pt x="160" y="114"/>
                      <a:pt x="161" y="115"/>
                    </a:cubicBezTo>
                    <a:cubicBezTo>
                      <a:pt x="162" y="116"/>
                      <a:pt x="162" y="116"/>
                      <a:pt x="163" y="116"/>
                    </a:cubicBezTo>
                    <a:cubicBezTo>
                      <a:pt x="163" y="117"/>
                      <a:pt x="163" y="117"/>
                      <a:pt x="163" y="117"/>
                    </a:cubicBezTo>
                    <a:cubicBezTo>
                      <a:pt x="162" y="117"/>
                      <a:pt x="161" y="118"/>
                      <a:pt x="159" y="118"/>
                    </a:cubicBezTo>
                    <a:cubicBezTo>
                      <a:pt x="157" y="118"/>
                      <a:pt x="157" y="116"/>
                      <a:pt x="155" y="116"/>
                    </a:cubicBezTo>
                    <a:cubicBezTo>
                      <a:pt x="154" y="116"/>
                      <a:pt x="154" y="117"/>
                      <a:pt x="153" y="117"/>
                    </a:cubicBezTo>
                    <a:cubicBezTo>
                      <a:pt x="151" y="117"/>
                      <a:pt x="150" y="116"/>
                      <a:pt x="149" y="117"/>
                    </a:cubicBezTo>
                    <a:cubicBezTo>
                      <a:pt x="148" y="118"/>
                      <a:pt x="148" y="119"/>
                      <a:pt x="148" y="119"/>
                    </a:cubicBezTo>
                    <a:cubicBezTo>
                      <a:pt x="147" y="120"/>
                      <a:pt x="146" y="120"/>
                      <a:pt x="144" y="120"/>
                    </a:cubicBezTo>
                    <a:cubicBezTo>
                      <a:pt x="142" y="120"/>
                      <a:pt x="142" y="119"/>
                      <a:pt x="140" y="118"/>
                    </a:cubicBezTo>
                    <a:cubicBezTo>
                      <a:pt x="138" y="118"/>
                      <a:pt x="137" y="118"/>
                      <a:pt x="136" y="118"/>
                    </a:cubicBezTo>
                    <a:cubicBezTo>
                      <a:pt x="135" y="117"/>
                      <a:pt x="134" y="116"/>
                      <a:pt x="133" y="116"/>
                    </a:cubicBezTo>
                    <a:cubicBezTo>
                      <a:pt x="133" y="117"/>
                      <a:pt x="133" y="117"/>
                      <a:pt x="133" y="117"/>
                    </a:cubicBezTo>
                    <a:cubicBezTo>
                      <a:pt x="135" y="117"/>
                      <a:pt x="135" y="119"/>
                      <a:pt x="137" y="120"/>
                    </a:cubicBezTo>
                    <a:cubicBezTo>
                      <a:pt x="138" y="122"/>
                      <a:pt x="140" y="122"/>
                      <a:pt x="142" y="123"/>
                    </a:cubicBezTo>
                    <a:cubicBezTo>
                      <a:pt x="144" y="125"/>
                      <a:pt x="146" y="126"/>
                      <a:pt x="149" y="128"/>
                    </a:cubicBezTo>
                    <a:cubicBezTo>
                      <a:pt x="150" y="128"/>
                      <a:pt x="150" y="129"/>
                      <a:pt x="151" y="129"/>
                    </a:cubicBezTo>
                    <a:cubicBezTo>
                      <a:pt x="152" y="129"/>
                      <a:pt x="152" y="128"/>
                      <a:pt x="153" y="128"/>
                    </a:cubicBezTo>
                    <a:cubicBezTo>
                      <a:pt x="155" y="127"/>
                      <a:pt x="156" y="126"/>
                      <a:pt x="158" y="126"/>
                    </a:cubicBezTo>
                    <a:cubicBezTo>
                      <a:pt x="159" y="126"/>
                      <a:pt x="159" y="127"/>
                      <a:pt x="160" y="128"/>
                    </a:cubicBezTo>
                    <a:cubicBezTo>
                      <a:pt x="161" y="130"/>
                      <a:pt x="162" y="130"/>
                      <a:pt x="164" y="132"/>
                    </a:cubicBezTo>
                    <a:cubicBezTo>
                      <a:pt x="166" y="133"/>
                      <a:pt x="168" y="135"/>
                      <a:pt x="170" y="137"/>
                    </a:cubicBezTo>
                    <a:cubicBezTo>
                      <a:pt x="171" y="141"/>
                      <a:pt x="172" y="143"/>
                      <a:pt x="173" y="146"/>
                    </a:cubicBezTo>
                    <a:cubicBezTo>
                      <a:pt x="174" y="148"/>
                      <a:pt x="175" y="149"/>
                      <a:pt x="175" y="151"/>
                    </a:cubicBezTo>
                    <a:cubicBezTo>
                      <a:pt x="175" y="153"/>
                      <a:pt x="174" y="154"/>
                      <a:pt x="174" y="157"/>
                    </a:cubicBezTo>
                    <a:cubicBezTo>
                      <a:pt x="174" y="159"/>
                      <a:pt x="174" y="159"/>
                      <a:pt x="174" y="159"/>
                    </a:cubicBezTo>
                    <a:cubicBezTo>
                      <a:pt x="172" y="168"/>
                      <a:pt x="172" y="168"/>
                      <a:pt x="172" y="168"/>
                    </a:cubicBezTo>
                    <a:cubicBezTo>
                      <a:pt x="172" y="172"/>
                      <a:pt x="174" y="174"/>
                      <a:pt x="174" y="178"/>
                    </a:cubicBezTo>
                    <a:cubicBezTo>
                      <a:pt x="174" y="183"/>
                      <a:pt x="174" y="183"/>
                      <a:pt x="174" y="183"/>
                    </a:cubicBezTo>
                    <a:cubicBezTo>
                      <a:pt x="174" y="185"/>
                      <a:pt x="175" y="186"/>
                      <a:pt x="175" y="187"/>
                    </a:cubicBezTo>
                    <a:cubicBezTo>
                      <a:pt x="175" y="190"/>
                      <a:pt x="174" y="191"/>
                      <a:pt x="174" y="194"/>
                    </a:cubicBezTo>
                    <a:cubicBezTo>
                      <a:pt x="174" y="195"/>
                      <a:pt x="174" y="195"/>
                      <a:pt x="174" y="195"/>
                    </a:cubicBezTo>
                    <a:cubicBezTo>
                      <a:pt x="175" y="195"/>
                      <a:pt x="176" y="195"/>
                      <a:pt x="177" y="195"/>
                    </a:cubicBezTo>
                    <a:cubicBezTo>
                      <a:pt x="178" y="196"/>
                      <a:pt x="178" y="198"/>
                      <a:pt x="180" y="199"/>
                    </a:cubicBezTo>
                    <a:cubicBezTo>
                      <a:pt x="182" y="200"/>
                      <a:pt x="183" y="200"/>
                      <a:pt x="185" y="201"/>
                    </a:cubicBezTo>
                    <a:cubicBezTo>
                      <a:pt x="187" y="203"/>
                      <a:pt x="188" y="205"/>
                      <a:pt x="188" y="207"/>
                    </a:cubicBezTo>
                    <a:cubicBezTo>
                      <a:pt x="188" y="209"/>
                      <a:pt x="190" y="210"/>
                      <a:pt x="190" y="213"/>
                    </a:cubicBezTo>
                    <a:cubicBezTo>
                      <a:pt x="190" y="217"/>
                      <a:pt x="190" y="217"/>
                      <a:pt x="190" y="217"/>
                    </a:cubicBezTo>
                    <a:cubicBezTo>
                      <a:pt x="190" y="218"/>
                      <a:pt x="191" y="218"/>
                      <a:pt x="192" y="219"/>
                    </a:cubicBezTo>
                    <a:cubicBezTo>
                      <a:pt x="192" y="221"/>
                      <a:pt x="193" y="223"/>
                      <a:pt x="193" y="225"/>
                    </a:cubicBezTo>
                    <a:cubicBezTo>
                      <a:pt x="193" y="227"/>
                      <a:pt x="193" y="229"/>
                      <a:pt x="192" y="231"/>
                    </a:cubicBezTo>
                    <a:cubicBezTo>
                      <a:pt x="192" y="233"/>
                      <a:pt x="191" y="233"/>
                      <a:pt x="191" y="235"/>
                    </a:cubicBezTo>
                    <a:cubicBezTo>
                      <a:pt x="191" y="235"/>
                      <a:pt x="191" y="236"/>
                      <a:pt x="191" y="236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09" name="Freeform 39">
                <a:extLst>
                  <a:ext uri="{FF2B5EF4-FFF2-40B4-BE49-F238E27FC236}">
                    <a16:creationId xmlns:a16="http://schemas.microsoft.com/office/drawing/2014/main" xmlns="" id="{67A5D31D-3B0E-4BD4-973D-14830A8CB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3309" y="2760891"/>
                <a:ext cx="43732" cy="33528"/>
              </a:xfrm>
              <a:custGeom>
                <a:avLst/>
                <a:gdLst>
                  <a:gd name="T0" fmla="*/ 10 w 14"/>
                  <a:gd name="T1" fmla="*/ 0 h 11"/>
                  <a:gd name="T2" fmla="*/ 4 w 14"/>
                  <a:gd name="T3" fmla="*/ 5 h 11"/>
                  <a:gd name="T4" fmla="*/ 0 w 14"/>
                  <a:gd name="T5" fmla="*/ 11 h 11"/>
                  <a:gd name="T6" fmla="*/ 1 w 14"/>
                  <a:gd name="T7" fmla="*/ 11 h 11"/>
                  <a:gd name="T8" fmla="*/ 8 w 14"/>
                  <a:gd name="T9" fmla="*/ 11 h 11"/>
                  <a:gd name="T10" fmla="*/ 12 w 14"/>
                  <a:gd name="T11" fmla="*/ 8 h 11"/>
                  <a:gd name="T12" fmla="*/ 11 w 14"/>
                  <a:gd name="T13" fmla="*/ 5 h 11"/>
                  <a:gd name="T14" fmla="*/ 12 w 14"/>
                  <a:gd name="T15" fmla="*/ 4 h 11"/>
                  <a:gd name="T16" fmla="*/ 14 w 14"/>
                  <a:gd name="T17" fmla="*/ 2 h 11"/>
                  <a:gd name="T18" fmla="*/ 14 w 14"/>
                  <a:gd name="T19" fmla="*/ 1 h 11"/>
                  <a:gd name="T20" fmla="*/ 10 w 14"/>
                  <a:gd name="T2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1">
                    <a:moveTo>
                      <a:pt x="10" y="0"/>
                    </a:moveTo>
                    <a:cubicBezTo>
                      <a:pt x="8" y="2"/>
                      <a:pt x="6" y="3"/>
                      <a:pt x="4" y="5"/>
                    </a:cubicBezTo>
                    <a:cubicBezTo>
                      <a:pt x="2" y="7"/>
                      <a:pt x="0" y="8"/>
                      <a:pt x="0" y="11"/>
                    </a:cubicBezTo>
                    <a:cubicBezTo>
                      <a:pt x="0" y="11"/>
                      <a:pt x="0" y="11"/>
                      <a:pt x="1" y="11"/>
                    </a:cubicBezTo>
                    <a:cubicBezTo>
                      <a:pt x="4" y="11"/>
                      <a:pt x="5" y="11"/>
                      <a:pt x="8" y="11"/>
                    </a:cubicBezTo>
                    <a:cubicBezTo>
                      <a:pt x="10" y="10"/>
                      <a:pt x="12" y="10"/>
                      <a:pt x="12" y="8"/>
                    </a:cubicBezTo>
                    <a:cubicBezTo>
                      <a:pt x="12" y="6"/>
                      <a:pt x="11" y="6"/>
                      <a:pt x="11" y="5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3" y="3"/>
                      <a:pt x="14" y="3"/>
                      <a:pt x="14" y="2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1"/>
                      <a:pt x="11" y="1"/>
                      <a:pt x="10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0" name="Freeform 40">
                <a:extLst>
                  <a:ext uri="{FF2B5EF4-FFF2-40B4-BE49-F238E27FC236}">
                    <a16:creationId xmlns:a16="http://schemas.microsoft.com/office/drawing/2014/main" xmlns="" id="{4595B9FE-DCE4-495B-8011-7A6CDFCAE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5175" y="2575759"/>
                <a:ext cx="16036" cy="27697"/>
              </a:xfrm>
              <a:custGeom>
                <a:avLst/>
                <a:gdLst>
                  <a:gd name="T0" fmla="*/ 4 w 5"/>
                  <a:gd name="T1" fmla="*/ 0 h 9"/>
                  <a:gd name="T2" fmla="*/ 0 w 5"/>
                  <a:gd name="T3" fmla="*/ 2 h 9"/>
                  <a:gd name="T4" fmla="*/ 1 w 5"/>
                  <a:gd name="T5" fmla="*/ 4 h 9"/>
                  <a:gd name="T6" fmla="*/ 1 w 5"/>
                  <a:gd name="T7" fmla="*/ 8 h 9"/>
                  <a:gd name="T8" fmla="*/ 4 w 5"/>
                  <a:gd name="T9" fmla="*/ 9 h 9"/>
                  <a:gd name="T10" fmla="*/ 5 w 5"/>
                  <a:gd name="T11" fmla="*/ 7 h 9"/>
                  <a:gd name="T12" fmla="*/ 5 w 5"/>
                  <a:gd name="T13" fmla="*/ 3 h 9"/>
                  <a:gd name="T14" fmla="*/ 4 w 5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4" y="0"/>
                    </a:moveTo>
                    <a:cubicBezTo>
                      <a:pt x="2" y="0"/>
                      <a:pt x="0" y="0"/>
                      <a:pt x="0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8"/>
                    </a:cubicBezTo>
                    <a:cubicBezTo>
                      <a:pt x="2" y="8"/>
                      <a:pt x="3" y="9"/>
                      <a:pt x="4" y="9"/>
                    </a:cubicBezTo>
                    <a:cubicBezTo>
                      <a:pt x="5" y="9"/>
                      <a:pt x="5" y="7"/>
                      <a:pt x="5" y="7"/>
                    </a:cubicBezTo>
                    <a:cubicBezTo>
                      <a:pt x="5" y="5"/>
                      <a:pt x="5" y="5"/>
                      <a:pt x="5" y="3"/>
                    </a:cubicBezTo>
                    <a:cubicBezTo>
                      <a:pt x="5" y="2"/>
                      <a:pt x="5" y="1"/>
                      <a:pt x="4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1" name="Freeform 41">
                <a:extLst>
                  <a:ext uri="{FF2B5EF4-FFF2-40B4-BE49-F238E27FC236}">
                    <a16:creationId xmlns:a16="http://schemas.microsoft.com/office/drawing/2014/main" xmlns="" id="{56DBB8C7-D9F7-4CE0-8CE3-1755BAAA2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7041" y="2524738"/>
                <a:ext cx="30613" cy="33528"/>
              </a:xfrm>
              <a:custGeom>
                <a:avLst/>
                <a:gdLst>
                  <a:gd name="T0" fmla="*/ 0 w 10"/>
                  <a:gd name="T1" fmla="*/ 7 h 11"/>
                  <a:gd name="T2" fmla="*/ 1 w 10"/>
                  <a:gd name="T3" fmla="*/ 11 h 11"/>
                  <a:gd name="T4" fmla="*/ 2 w 10"/>
                  <a:gd name="T5" fmla="*/ 8 h 11"/>
                  <a:gd name="T6" fmla="*/ 5 w 10"/>
                  <a:gd name="T7" fmla="*/ 6 h 11"/>
                  <a:gd name="T8" fmla="*/ 8 w 10"/>
                  <a:gd name="T9" fmla="*/ 7 h 11"/>
                  <a:gd name="T10" fmla="*/ 9 w 10"/>
                  <a:gd name="T11" fmla="*/ 7 h 11"/>
                  <a:gd name="T12" fmla="*/ 9 w 10"/>
                  <a:gd name="T13" fmla="*/ 6 h 11"/>
                  <a:gd name="T14" fmla="*/ 8 w 10"/>
                  <a:gd name="T15" fmla="*/ 5 h 11"/>
                  <a:gd name="T16" fmla="*/ 10 w 10"/>
                  <a:gd name="T17" fmla="*/ 2 h 11"/>
                  <a:gd name="T18" fmla="*/ 9 w 10"/>
                  <a:gd name="T19" fmla="*/ 0 h 11"/>
                  <a:gd name="T20" fmla="*/ 7 w 10"/>
                  <a:gd name="T21" fmla="*/ 1 h 11"/>
                  <a:gd name="T22" fmla="*/ 5 w 10"/>
                  <a:gd name="T23" fmla="*/ 2 h 11"/>
                  <a:gd name="T24" fmla="*/ 0 w 10"/>
                  <a:gd name="T25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1">
                    <a:moveTo>
                      <a:pt x="0" y="7"/>
                    </a:moveTo>
                    <a:cubicBezTo>
                      <a:pt x="0" y="8"/>
                      <a:pt x="0" y="10"/>
                      <a:pt x="1" y="11"/>
                    </a:cubicBezTo>
                    <a:cubicBezTo>
                      <a:pt x="2" y="9"/>
                      <a:pt x="1" y="9"/>
                      <a:pt x="2" y="8"/>
                    </a:cubicBezTo>
                    <a:cubicBezTo>
                      <a:pt x="3" y="7"/>
                      <a:pt x="4" y="6"/>
                      <a:pt x="5" y="6"/>
                    </a:cubicBezTo>
                    <a:cubicBezTo>
                      <a:pt x="6" y="6"/>
                      <a:pt x="7" y="7"/>
                      <a:pt x="8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6"/>
                    </a:cubicBezTo>
                    <a:cubicBezTo>
                      <a:pt x="9" y="6"/>
                      <a:pt x="8" y="5"/>
                      <a:pt x="8" y="5"/>
                    </a:cubicBezTo>
                    <a:cubicBezTo>
                      <a:pt x="8" y="4"/>
                      <a:pt x="10" y="3"/>
                      <a:pt x="10" y="2"/>
                    </a:cubicBezTo>
                    <a:cubicBezTo>
                      <a:pt x="10" y="2"/>
                      <a:pt x="10" y="1"/>
                      <a:pt x="9" y="0"/>
                    </a:cubicBezTo>
                    <a:cubicBezTo>
                      <a:pt x="8" y="0"/>
                      <a:pt x="8" y="1"/>
                      <a:pt x="7" y="1"/>
                    </a:cubicBezTo>
                    <a:cubicBezTo>
                      <a:pt x="6" y="1"/>
                      <a:pt x="6" y="2"/>
                      <a:pt x="5" y="2"/>
                    </a:cubicBezTo>
                    <a:cubicBezTo>
                      <a:pt x="3" y="3"/>
                      <a:pt x="0" y="4"/>
                      <a:pt x="0" y="7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2" name="Freeform 42">
                <a:extLst>
                  <a:ext uri="{FF2B5EF4-FFF2-40B4-BE49-F238E27FC236}">
                    <a16:creationId xmlns:a16="http://schemas.microsoft.com/office/drawing/2014/main" xmlns="" id="{7D0CEC61-4806-4111-82AE-A27FF7E82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1647" y="2511619"/>
                <a:ext cx="27697" cy="30613"/>
              </a:xfrm>
              <a:custGeom>
                <a:avLst/>
                <a:gdLst>
                  <a:gd name="T0" fmla="*/ 0 w 9"/>
                  <a:gd name="T1" fmla="*/ 8 h 10"/>
                  <a:gd name="T2" fmla="*/ 1 w 9"/>
                  <a:gd name="T3" fmla="*/ 10 h 10"/>
                  <a:gd name="T4" fmla="*/ 6 w 9"/>
                  <a:gd name="T5" fmla="*/ 6 h 10"/>
                  <a:gd name="T6" fmla="*/ 9 w 9"/>
                  <a:gd name="T7" fmla="*/ 1 h 10"/>
                  <a:gd name="T8" fmla="*/ 9 w 9"/>
                  <a:gd name="T9" fmla="*/ 0 h 10"/>
                  <a:gd name="T10" fmla="*/ 5 w 9"/>
                  <a:gd name="T11" fmla="*/ 1 h 10"/>
                  <a:gd name="T12" fmla="*/ 5 w 9"/>
                  <a:gd name="T13" fmla="*/ 4 h 10"/>
                  <a:gd name="T14" fmla="*/ 3 w 9"/>
                  <a:gd name="T15" fmla="*/ 4 h 10"/>
                  <a:gd name="T16" fmla="*/ 0 w 9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0">
                    <a:moveTo>
                      <a:pt x="0" y="8"/>
                    </a:moveTo>
                    <a:cubicBezTo>
                      <a:pt x="0" y="9"/>
                      <a:pt x="0" y="10"/>
                      <a:pt x="1" y="10"/>
                    </a:cubicBezTo>
                    <a:cubicBezTo>
                      <a:pt x="3" y="9"/>
                      <a:pt x="4" y="8"/>
                      <a:pt x="6" y="6"/>
                    </a:cubicBezTo>
                    <a:cubicBezTo>
                      <a:pt x="8" y="4"/>
                      <a:pt x="9" y="3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1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4" y="5"/>
                      <a:pt x="3" y="4"/>
                      <a:pt x="3" y="4"/>
                    </a:cubicBezTo>
                    <a:cubicBezTo>
                      <a:pt x="1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3" name="Freeform 43">
                <a:extLst>
                  <a:ext uri="{FF2B5EF4-FFF2-40B4-BE49-F238E27FC236}">
                    <a16:creationId xmlns:a16="http://schemas.microsoft.com/office/drawing/2014/main" xmlns="" id="{C89A2B77-09D2-476E-80E5-67B503317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5000" y="2520365"/>
                <a:ext cx="34986" cy="40816"/>
              </a:xfrm>
              <a:custGeom>
                <a:avLst/>
                <a:gdLst>
                  <a:gd name="T0" fmla="*/ 5 w 11"/>
                  <a:gd name="T1" fmla="*/ 0 h 13"/>
                  <a:gd name="T2" fmla="*/ 2 w 11"/>
                  <a:gd name="T3" fmla="*/ 2 h 13"/>
                  <a:gd name="T4" fmla="*/ 0 w 11"/>
                  <a:gd name="T5" fmla="*/ 7 h 13"/>
                  <a:gd name="T6" fmla="*/ 1 w 11"/>
                  <a:gd name="T7" fmla="*/ 7 h 13"/>
                  <a:gd name="T8" fmla="*/ 5 w 11"/>
                  <a:gd name="T9" fmla="*/ 5 h 13"/>
                  <a:gd name="T10" fmla="*/ 7 w 11"/>
                  <a:gd name="T11" fmla="*/ 5 h 13"/>
                  <a:gd name="T12" fmla="*/ 7 w 11"/>
                  <a:gd name="T13" fmla="*/ 6 h 13"/>
                  <a:gd name="T14" fmla="*/ 6 w 11"/>
                  <a:gd name="T15" fmla="*/ 7 h 13"/>
                  <a:gd name="T16" fmla="*/ 6 w 11"/>
                  <a:gd name="T17" fmla="*/ 10 h 13"/>
                  <a:gd name="T18" fmla="*/ 4 w 11"/>
                  <a:gd name="T19" fmla="*/ 12 h 13"/>
                  <a:gd name="T20" fmla="*/ 4 w 11"/>
                  <a:gd name="T21" fmla="*/ 13 h 13"/>
                  <a:gd name="T22" fmla="*/ 5 w 11"/>
                  <a:gd name="T23" fmla="*/ 13 h 13"/>
                  <a:gd name="T24" fmla="*/ 7 w 11"/>
                  <a:gd name="T25" fmla="*/ 11 h 13"/>
                  <a:gd name="T26" fmla="*/ 9 w 11"/>
                  <a:gd name="T27" fmla="*/ 11 h 13"/>
                  <a:gd name="T28" fmla="*/ 11 w 11"/>
                  <a:gd name="T29" fmla="*/ 10 h 13"/>
                  <a:gd name="T30" fmla="*/ 10 w 11"/>
                  <a:gd name="T31" fmla="*/ 5 h 13"/>
                  <a:gd name="T32" fmla="*/ 9 w 11"/>
                  <a:gd name="T33" fmla="*/ 2 h 13"/>
                  <a:gd name="T34" fmla="*/ 7 w 11"/>
                  <a:gd name="T35" fmla="*/ 2 h 13"/>
                  <a:gd name="T36" fmla="*/ 6 w 11"/>
                  <a:gd name="T37" fmla="*/ 1 h 13"/>
                  <a:gd name="T38" fmla="*/ 5 w 11"/>
                  <a:gd name="T3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4" y="0"/>
                      <a:pt x="3" y="1"/>
                      <a:pt x="2" y="2"/>
                    </a:cubicBezTo>
                    <a:cubicBezTo>
                      <a:pt x="1" y="4"/>
                      <a:pt x="0" y="5"/>
                      <a:pt x="0" y="7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3" y="7"/>
                      <a:pt x="3" y="5"/>
                      <a:pt x="5" y="5"/>
                    </a:cubicBezTo>
                    <a:cubicBezTo>
                      <a:pt x="6" y="5"/>
                      <a:pt x="6" y="5"/>
                      <a:pt x="7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7"/>
                      <a:pt x="6" y="7"/>
                      <a:pt x="6" y="7"/>
                    </a:cubicBezTo>
                    <a:cubicBezTo>
                      <a:pt x="6" y="8"/>
                      <a:pt x="6" y="9"/>
                      <a:pt x="6" y="10"/>
                    </a:cubicBezTo>
                    <a:cubicBezTo>
                      <a:pt x="5" y="11"/>
                      <a:pt x="4" y="11"/>
                      <a:pt x="4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2"/>
                      <a:pt x="7" y="11"/>
                    </a:cubicBezTo>
                    <a:cubicBezTo>
                      <a:pt x="8" y="11"/>
                      <a:pt x="8" y="11"/>
                      <a:pt x="9" y="11"/>
                    </a:cubicBezTo>
                    <a:cubicBezTo>
                      <a:pt x="10" y="11"/>
                      <a:pt x="11" y="11"/>
                      <a:pt x="11" y="10"/>
                    </a:cubicBezTo>
                    <a:cubicBezTo>
                      <a:pt x="11" y="8"/>
                      <a:pt x="10" y="7"/>
                      <a:pt x="10" y="5"/>
                    </a:cubicBezTo>
                    <a:cubicBezTo>
                      <a:pt x="10" y="4"/>
                      <a:pt x="10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6" y="2"/>
                      <a:pt x="6" y="2"/>
                      <a:pt x="6" y="1"/>
                    </a:cubicBezTo>
                    <a:cubicBezTo>
                      <a:pt x="6" y="1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4" name="Freeform 44">
                <a:extLst>
                  <a:ext uri="{FF2B5EF4-FFF2-40B4-BE49-F238E27FC236}">
                    <a16:creationId xmlns:a16="http://schemas.microsoft.com/office/drawing/2014/main" xmlns="" id="{5C7E8FC7-77D5-40BB-AC1D-95A145C85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2901" y="2428528"/>
                <a:ext cx="58309" cy="55394"/>
              </a:xfrm>
              <a:custGeom>
                <a:avLst/>
                <a:gdLst>
                  <a:gd name="T0" fmla="*/ 13 w 19"/>
                  <a:gd name="T1" fmla="*/ 0 h 18"/>
                  <a:gd name="T2" fmla="*/ 7 w 19"/>
                  <a:gd name="T3" fmla="*/ 4 h 18"/>
                  <a:gd name="T4" fmla="*/ 7 w 19"/>
                  <a:gd name="T5" fmla="*/ 5 h 18"/>
                  <a:gd name="T6" fmla="*/ 12 w 19"/>
                  <a:gd name="T7" fmla="*/ 8 h 18"/>
                  <a:gd name="T8" fmla="*/ 9 w 19"/>
                  <a:gd name="T9" fmla="*/ 11 h 18"/>
                  <a:gd name="T10" fmla="*/ 10 w 19"/>
                  <a:gd name="T11" fmla="*/ 11 h 18"/>
                  <a:gd name="T12" fmla="*/ 11 w 19"/>
                  <a:gd name="T13" fmla="*/ 14 h 18"/>
                  <a:gd name="T14" fmla="*/ 10 w 19"/>
                  <a:gd name="T15" fmla="*/ 14 h 18"/>
                  <a:gd name="T16" fmla="*/ 7 w 19"/>
                  <a:gd name="T17" fmla="*/ 14 h 18"/>
                  <a:gd name="T18" fmla="*/ 3 w 19"/>
                  <a:gd name="T19" fmla="*/ 13 h 18"/>
                  <a:gd name="T20" fmla="*/ 0 w 19"/>
                  <a:gd name="T21" fmla="*/ 13 h 18"/>
                  <a:gd name="T22" fmla="*/ 6 w 19"/>
                  <a:gd name="T23" fmla="*/ 16 h 18"/>
                  <a:gd name="T24" fmla="*/ 12 w 19"/>
                  <a:gd name="T25" fmla="*/ 16 h 18"/>
                  <a:gd name="T26" fmla="*/ 15 w 19"/>
                  <a:gd name="T27" fmla="*/ 18 h 18"/>
                  <a:gd name="T28" fmla="*/ 17 w 19"/>
                  <a:gd name="T29" fmla="*/ 16 h 18"/>
                  <a:gd name="T30" fmla="*/ 19 w 19"/>
                  <a:gd name="T31" fmla="*/ 14 h 18"/>
                  <a:gd name="T32" fmla="*/ 19 w 19"/>
                  <a:gd name="T33" fmla="*/ 13 h 18"/>
                  <a:gd name="T34" fmla="*/ 16 w 19"/>
                  <a:gd name="T35" fmla="*/ 9 h 18"/>
                  <a:gd name="T36" fmla="*/ 16 w 19"/>
                  <a:gd name="T37" fmla="*/ 7 h 18"/>
                  <a:gd name="T38" fmla="*/ 14 w 19"/>
                  <a:gd name="T39" fmla="*/ 4 h 18"/>
                  <a:gd name="T40" fmla="*/ 14 w 19"/>
                  <a:gd name="T41" fmla="*/ 2 h 18"/>
                  <a:gd name="T42" fmla="*/ 13 w 19"/>
                  <a:gd name="T4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" h="18">
                    <a:moveTo>
                      <a:pt x="13" y="0"/>
                    </a:moveTo>
                    <a:cubicBezTo>
                      <a:pt x="11" y="0"/>
                      <a:pt x="7" y="1"/>
                      <a:pt x="7" y="4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6"/>
                      <a:pt x="11" y="6"/>
                      <a:pt x="12" y="8"/>
                    </a:cubicBezTo>
                    <a:cubicBezTo>
                      <a:pt x="10" y="8"/>
                      <a:pt x="9" y="9"/>
                      <a:pt x="9" y="11"/>
                    </a:cubicBezTo>
                    <a:cubicBezTo>
                      <a:pt x="9" y="11"/>
                      <a:pt x="9" y="11"/>
                      <a:pt x="10" y="11"/>
                    </a:cubicBezTo>
                    <a:cubicBezTo>
                      <a:pt x="10" y="12"/>
                      <a:pt x="11" y="13"/>
                      <a:pt x="11" y="14"/>
                    </a:cubicBezTo>
                    <a:cubicBezTo>
                      <a:pt x="11" y="14"/>
                      <a:pt x="10" y="14"/>
                      <a:pt x="10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5" y="14"/>
                      <a:pt x="5" y="13"/>
                      <a:pt x="3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3" y="16"/>
                      <a:pt x="6" y="16"/>
                    </a:cubicBezTo>
                    <a:cubicBezTo>
                      <a:pt x="8" y="16"/>
                      <a:pt x="9" y="16"/>
                      <a:pt x="12" y="16"/>
                    </a:cubicBezTo>
                    <a:cubicBezTo>
                      <a:pt x="13" y="16"/>
                      <a:pt x="14" y="18"/>
                      <a:pt x="15" y="18"/>
                    </a:cubicBezTo>
                    <a:cubicBezTo>
                      <a:pt x="16" y="18"/>
                      <a:pt x="17" y="17"/>
                      <a:pt x="17" y="16"/>
                    </a:cubicBezTo>
                    <a:cubicBezTo>
                      <a:pt x="18" y="15"/>
                      <a:pt x="19" y="15"/>
                      <a:pt x="19" y="14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7" y="12"/>
                      <a:pt x="16" y="11"/>
                      <a:pt x="16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5"/>
                      <a:pt x="14" y="5"/>
                      <a:pt x="14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4" y="1"/>
                      <a:pt x="13" y="0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5" name="Freeform 45">
                <a:extLst>
                  <a:ext uri="{FF2B5EF4-FFF2-40B4-BE49-F238E27FC236}">
                    <a16:creationId xmlns:a16="http://schemas.microsoft.com/office/drawing/2014/main" xmlns="" id="{AB082D6E-6D52-4A0E-B9BB-12B59B0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3513" y="2378965"/>
                <a:ext cx="14577" cy="13120"/>
              </a:xfrm>
              <a:custGeom>
                <a:avLst/>
                <a:gdLst>
                  <a:gd name="T0" fmla="*/ 0 w 5"/>
                  <a:gd name="T1" fmla="*/ 2 h 4"/>
                  <a:gd name="T2" fmla="*/ 2 w 5"/>
                  <a:gd name="T3" fmla="*/ 3 h 4"/>
                  <a:gd name="T4" fmla="*/ 3 w 5"/>
                  <a:gd name="T5" fmla="*/ 4 h 4"/>
                  <a:gd name="T6" fmla="*/ 5 w 5"/>
                  <a:gd name="T7" fmla="*/ 2 h 4"/>
                  <a:gd name="T8" fmla="*/ 4 w 5"/>
                  <a:gd name="T9" fmla="*/ 0 h 4"/>
                  <a:gd name="T10" fmla="*/ 0 w 5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cubicBezTo>
                      <a:pt x="0" y="3"/>
                      <a:pt x="1" y="3"/>
                      <a:pt x="2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4"/>
                      <a:pt x="5" y="3"/>
                      <a:pt x="5" y="2"/>
                    </a:cubicBezTo>
                    <a:cubicBezTo>
                      <a:pt x="5" y="1"/>
                      <a:pt x="5" y="0"/>
                      <a:pt x="4" y="0"/>
                    </a:cubicBezTo>
                    <a:cubicBezTo>
                      <a:pt x="2" y="0"/>
                      <a:pt x="0" y="0"/>
                      <a:pt x="0" y="2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6" name="Freeform 46">
                <a:extLst>
                  <a:ext uri="{FF2B5EF4-FFF2-40B4-BE49-F238E27FC236}">
                    <a16:creationId xmlns:a16="http://schemas.microsoft.com/office/drawing/2014/main" xmlns="" id="{72A22E55-DF18-4F15-90AA-16BDF8952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9373" y="2425612"/>
                <a:ext cx="14577" cy="16036"/>
              </a:xfrm>
              <a:custGeom>
                <a:avLst/>
                <a:gdLst>
                  <a:gd name="T0" fmla="*/ 0 w 5"/>
                  <a:gd name="T1" fmla="*/ 3 h 5"/>
                  <a:gd name="T2" fmla="*/ 1 w 5"/>
                  <a:gd name="T3" fmla="*/ 4 h 5"/>
                  <a:gd name="T4" fmla="*/ 1 w 5"/>
                  <a:gd name="T5" fmla="*/ 5 h 5"/>
                  <a:gd name="T6" fmla="*/ 2 w 5"/>
                  <a:gd name="T7" fmla="*/ 4 h 5"/>
                  <a:gd name="T8" fmla="*/ 5 w 5"/>
                  <a:gd name="T9" fmla="*/ 1 h 5"/>
                  <a:gd name="T10" fmla="*/ 0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0" y="3"/>
                    </a:moveTo>
                    <a:cubicBezTo>
                      <a:pt x="0" y="3"/>
                      <a:pt x="1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4" y="3"/>
                      <a:pt x="5" y="3"/>
                      <a:pt x="5" y="1"/>
                    </a:cubicBezTo>
                    <a:cubicBezTo>
                      <a:pt x="3" y="0"/>
                      <a:pt x="0" y="1"/>
                      <a:pt x="0" y="3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117" name="Freeform 50">
                <a:extLst>
                  <a:ext uri="{FF2B5EF4-FFF2-40B4-BE49-F238E27FC236}">
                    <a16:creationId xmlns:a16="http://schemas.microsoft.com/office/drawing/2014/main" xmlns="" id="{6FD05453-CA0E-4A04-A2CE-DEB971A17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6107" y="2594709"/>
                <a:ext cx="180759" cy="163266"/>
              </a:xfrm>
              <a:custGeom>
                <a:avLst/>
                <a:gdLst>
                  <a:gd name="T0" fmla="*/ 23 w 59"/>
                  <a:gd name="T1" fmla="*/ 2 h 53"/>
                  <a:gd name="T2" fmla="*/ 24 w 59"/>
                  <a:gd name="T3" fmla="*/ 2 h 53"/>
                  <a:gd name="T4" fmla="*/ 26 w 59"/>
                  <a:gd name="T5" fmla="*/ 2 h 53"/>
                  <a:gd name="T6" fmla="*/ 29 w 59"/>
                  <a:gd name="T7" fmla="*/ 2 h 53"/>
                  <a:gd name="T8" fmla="*/ 35 w 59"/>
                  <a:gd name="T9" fmla="*/ 0 h 53"/>
                  <a:gd name="T10" fmla="*/ 38 w 59"/>
                  <a:gd name="T11" fmla="*/ 1 h 53"/>
                  <a:gd name="T12" fmla="*/ 43 w 59"/>
                  <a:gd name="T13" fmla="*/ 1 h 53"/>
                  <a:gd name="T14" fmla="*/ 49 w 59"/>
                  <a:gd name="T15" fmla="*/ 2 h 53"/>
                  <a:gd name="T16" fmla="*/ 51 w 59"/>
                  <a:gd name="T17" fmla="*/ 3 h 53"/>
                  <a:gd name="T18" fmla="*/ 54 w 59"/>
                  <a:gd name="T19" fmla="*/ 5 h 53"/>
                  <a:gd name="T20" fmla="*/ 52 w 59"/>
                  <a:gd name="T21" fmla="*/ 11 h 53"/>
                  <a:gd name="T22" fmla="*/ 55 w 59"/>
                  <a:gd name="T23" fmla="*/ 15 h 53"/>
                  <a:gd name="T24" fmla="*/ 54 w 59"/>
                  <a:gd name="T25" fmla="*/ 18 h 53"/>
                  <a:gd name="T26" fmla="*/ 56 w 59"/>
                  <a:gd name="T27" fmla="*/ 19 h 53"/>
                  <a:gd name="T28" fmla="*/ 57 w 59"/>
                  <a:gd name="T29" fmla="*/ 21 h 53"/>
                  <a:gd name="T30" fmla="*/ 58 w 59"/>
                  <a:gd name="T31" fmla="*/ 24 h 53"/>
                  <a:gd name="T32" fmla="*/ 53 w 59"/>
                  <a:gd name="T33" fmla="*/ 30 h 53"/>
                  <a:gd name="T34" fmla="*/ 54 w 59"/>
                  <a:gd name="T35" fmla="*/ 30 h 53"/>
                  <a:gd name="T36" fmla="*/ 56 w 59"/>
                  <a:gd name="T37" fmla="*/ 29 h 53"/>
                  <a:gd name="T38" fmla="*/ 59 w 59"/>
                  <a:gd name="T39" fmla="*/ 35 h 53"/>
                  <a:gd name="T40" fmla="*/ 59 w 59"/>
                  <a:gd name="T41" fmla="*/ 38 h 53"/>
                  <a:gd name="T42" fmla="*/ 58 w 59"/>
                  <a:gd name="T43" fmla="*/ 42 h 53"/>
                  <a:gd name="T44" fmla="*/ 57 w 59"/>
                  <a:gd name="T45" fmla="*/ 45 h 53"/>
                  <a:gd name="T46" fmla="*/ 56 w 59"/>
                  <a:gd name="T47" fmla="*/ 43 h 53"/>
                  <a:gd name="T48" fmla="*/ 56 w 59"/>
                  <a:gd name="T49" fmla="*/ 36 h 53"/>
                  <a:gd name="T50" fmla="*/ 55 w 59"/>
                  <a:gd name="T51" fmla="*/ 34 h 53"/>
                  <a:gd name="T52" fmla="*/ 53 w 59"/>
                  <a:gd name="T53" fmla="*/ 37 h 53"/>
                  <a:gd name="T54" fmla="*/ 54 w 59"/>
                  <a:gd name="T55" fmla="*/ 39 h 53"/>
                  <a:gd name="T56" fmla="*/ 52 w 59"/>
                  <a:gd name="T57" fmla="*/ 43 h 53"/>
                  <a:gd name="T58" fmla="*/ 51 w 59"/>
                  <a:gd name="T59" fmla="*/ 44 h 53"/>
                  <a:gd name="T60" fmla="*/ 53 w 59"/>
                  <a:gd name="T61" fmla="*/ 47 h 53"/>
                  <a:gd name="T62" fmla="*/ 50 w 59"/>
                  <a:gd name="T63" fmla="*/ 49 h 53"/>
                  <a:gd name="T64" fmla="*/ 45 w 59"/>
                  <a:gd name="T65" fmla="*/ 47 h 53"/>
                  <a:gd name="T66" fmla="*/ 44 w 59"/>
                  <a:gd name="T67" fmla="*/ 51 h 53"/>
                  <a:gd name="T68" fmla="*/ 41 w 59"/>
                  <a:gd name="T69" fmla="*/ 52 h 53"/>
                  <a:gd name="T70" fmla="*/ 38 w 59"/>
                  <a:gd name="T71" fmla="*/ 53 h 53"/>
                  <a:gd name="T72" fmla="*/ 37 w 59"/>
                  <a:gd name="T73" fmla="*/ 51 h 53"/>
                  <a:gd name="T74" fmla="*/ 36 w 59"/>
                  <a:gd name="T75" fmla="*/ 49 h 53"/>
                  <a:gd name="T76" fmla="*/ 35 w 59"/>
                  <a:gd name="T77" fmla="*/ 48 h 53"/>
                  <a:gd name="T78" fmla="*/ 31 w 59"/>
                  <a:gd name="T79" fmla="*/ 44 h 53"/>
                  <a:gd name="T80" fmla="*/ 28 w 59"/>
                  <a:gd name="T81" fmla="*/ 42 h 53"/>
                  <a:gd name="T82" fmla="*/ 25 w 59"/>
                  <a:gd name="T83" fmla="*/ 34 h 53"/>
                  <a:gd name="T84" fmla="*/ 12 w 59"/>
                  <a:gd name="T85" fmla="*/ 40 h 53"/>
                  <a:gd name="T86" fmla="*/ 6 w 59"/>
                  <a:gd name="T87" fmla="*/ 35 h 53"/>
                  <a:gd name="T88" fmla="*/ 4 w 59"/>
                  <a:gd name="T89" fmla="*/ 34 h 53"/>
                  <a:gd name="T90" fmla="*/ 1 w 59"/>
                  <a:gd name="T91" fmla="*/ 27 h 53"/>
                  <a:gd name="T92" fmla="*/ 0 w 59"/>
                  <a:gd name="T93" fmla="*/ 24 h 53"/>
                  <a:gd name="T94" fmla="*/ 1 w 59"/>
                  <a:gd name="T95" fmla="*/ 20 h 53"/>
                  <a:gd name="T96" fmla="*/ 3 w 59"/>
                  <a:gd name="T97" fmla="*/ 16 h 53"/>
                  <a:gd name="T98" fmla="*/ 4 w 59"/>
                  <a:gd name="T99" fmla="*/ 16 h 53"/>
                  <a:gd name="T100" fmla="*/ 9 w 59"/>
                  <a:gd name="T101" fmla="*/ 15 h 53"/>
                  <a:gd name="T102" fmla="*/ 9 w 59"/>
                  <a:gd name="T103" fmla="*/ 14 h 53"/>
                  <a:gd name="T104" fmla="*/ 7 w 59"/>
                  <a:gd name="T105" fmla="*/ 11 h 53"/>
                  <a:gd name="T106" fmla="*/ 11 w 59"/>
                  <a:gd name="T107" fmla="*/ 7 h 53"/>
                  <a:gd name="T108" fmla="*/ 14 w 59"/>
                  <a:gd name="T109" fmla="*/ 7 h 53"/>
                  <a:gd name="T110" fmla="*/ 19 w 59"/>
                  <a:gd name="T111" fmla="*/ 5 h 53"/>
                  <a:gd name="T112" fmla="*/ 23 w 59"/>
                  <a:gd name="T113" fmla="*/ 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" h="53">
                    <a:moveTo>
                      <a:pt x="23" y="2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2"/>
                      <a:pt x="25" y="2"/>
                      <a:pt x="26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1" y="2"/>
                      <a:pt x="32" y="0"/>
                      <a:pt x="35" y="0"/>
                    </a:cubicBezTo>
                    <a:cubicBezTo>
                      <a:pt x="36" y="0"/>
                      <a:pt x="36" y="1"/>
                      <a:pt x="38" y="1"/>
                    </a:cubicBezTo>
                    <a:cubicBezTo>
                      <a:pt x="40" y="1"/>
                      <a:pt x="41" y="1"/>
                      <a:pt x="43" y="1"/>
                    </a:cubicBezTo>
                    <a:cubicBezTo>
                      <a:pt x="46" y="1"/>
                      <a:pt x="47" y="1"/>
                      <a:pt x="49" y="2"/>
                    </a:cubicBezTo>
                    <a:cubicBezTo>
                      <a:pt x="50" y="3"/>
                      <a:pt x="50" y="3"/>
                      <a:pt x="51" y="3"/>
                    </a:cubicBezTo>
                    <a:cubicBezTo>
                      <a:pt x="52" y="4"/>
                      <a:pt x="54" y="4"/>
                      <a:pt x="54" y="5"/>
                    </a:cubicBezTo>
                    <a:cubicBezTo>
                      <a:pt x="54" y="7"/>
                      <a:pt x="52" y="8"/>
                      <a:pt x="52" y="11"/>
                    </a:cubicBezTo>
                    <a:cubicBezTo>
                      <a:pt x="52" y="12"/>
                      <a:pt x="55" y="13"/>
                      <a:pt x="55" y="15"/>
                    </a:cubicBezTo>
                    <a:cubicBezTo>
                      <a:pt x="55" y="16"/>
                      <a:pt x="54" y="17"/>
                      <a:pt x="54" y="18"/>
                    </a:cubicBezTo>
                    <a:cubicBezTo>
                      <a:pt x="54" y="19"/>
                      <a:pt x="56" y="18"/>
                      <a:pt x="56" y="19"/>
                    </a:cubicBezTo>
                    <a:cubicBezTo>
                      <a:pt x="57" y="19"/>
                      <a:pt x="57" y="20"/>
                      <a:pt x="57" y="21"/>
                    </a:cubicBezTo>
                    <a:cubicBezTo>
                      <a:pt x="58" y="22"/>
                      <a:pt x="58" y="23"/>
                      <a:pt x="58" y="24"/>
                    </a:cubicBezTo>
                    <a:cubicBezTo>
                      <a:pt x="58" y="27"/>
                      <a:pt x="54" y="27"/>
                      <a:pt x="53" y="30"/>
                    </a:cubicBezTo>
                    <a:cubicBezTo>
                      <a:pt x="53" y="30"/>
                      <a:pt x="53" y="30"/>
                      <a:pt x="54" y="30"/>
                    </a:cubicBezTo>
                    <a:cubicBezTo>
                      <a:pt x="55" y="30"/>
                      <a:pt x="55" y="29"/>
                      <a:pt x="56" y="29"/>
                    </a:cubicBezTo>
                    <a:cubicBezTo>
                      <a:pt x="59" y="29"/>
                      <a:pt x="58" y="33"/>
                      <a:pt x="59" y="35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9" y="40"/>
                      <a:pt x="58" y="41"/>
                      <a:pt x="58" y="42"/>
                    </a:cubicBezTo>
                    <a:cubicBezTo>
                      <a:pt x="58" y="43"/>
                      <a:pt x="58" y="45"/>
                      <a:pt x="57" y="45"/>
                    </a:cubicBezTo>
                    <a:cubicBezTo>
                      <a:pt x="56" y="45"/>
                      <a:pt x="56" y="44"/>
                      <a:pt x="56" y="43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5"/>
                      <a:pt x="56" y="34"/>
                      <a:pt x="55" y="34"/>
                    </a:cubicBezTo>
                    <a:cubicBezTo>
                      <a:pt x="54" y="34"/>
                      <a:pt x="53" y="36"/>
                      <a:pt x="53" y="37"/>
                    </a:cubicBezTo>
                    <a:cubicBezTo>
                      <a:pt x="53" y="38"/>
                      <a:pt x="54" y="38"/>
                      <a:pt x="54" y="39"/>
                    </a:cubicBezTo>
                    <a:cubicBezTo>
                      <a:pt x="54" y="40"/>
                      <a:pt x="53" y="41"/>
                      <a:pt x="52" y="43"/>
                    </a:cubicBezTo>
                    <a:cubicBezTo>
                      <a:pt x="52" y="43"/>
                      <a:pt x="51" y="43"/>
                      <a:pt x="51" y="44"/>
                    </a:cubicBezTo>
                    <a:cubicBezTo>
                      <a:pt x="51" y="46"/>
                      <a:pt x="53" y="46"/>
                      <a:pt x="53" y="47"/>
                    </a:cubicBezTo>
                    <a:cubicBezTo>
                      <a:pt x="53" y="48"/>
                      <a:pt x="51" y="49"/>
                      <a:pt x="50" y="49"/>
                    </a:cubicBezTo>
                    <a:cubicBezTo>
                      <a:pt x="48" y="49"/>
                      <a:pt x="47" y="48"/>
                      <a:pt x="45" y="47"/>
                    </a:cubicBezTo>
                    <a:cubicBezTo>
                      <a:pt x="44" y="48"/>
                      <a:pt x="45" y="50"/>
                      <a:pt x="44" y="51"/>
                    </a:cubicBezTo>
                    <a:cubicBezTo>
                      <a:pt x="43" y="52"/>
                      <a:pt x="42" y="52"/>
                      <a:pt x="41" y="52"/>
                    </a:cubicBezTo>
                    <a:cubicBezTo>
                      <a:pt x="40" y="52"/>
                      <a:pt x="39" y="53"/>
                      <a:pt x="38" y="53"/>
                    </a:cubicBezTo>
                    <a:cubicBezTo>
                      <a:pt x="37" y="53"/>
                      <a:pt x="38" y="51"/>
                      <a:pt x="37" y="51"/>
                    </a:cubicBezTo>
                    <a:cubicBezTo>
                      <a:pt x="37" y="50"/>
                      <a:pt x="37" y="50"/>
                      <a:pt x="36" y="49"/>
                    </a:cubicBezTo>
                    <a:cubicBezTo>
                      <a:pt x="36" y="49"/>
                      <a:pt x="36" y="48"/>
                      <a:pt x="35" y="48"/>
                    </a:cubicBezTo>
                    <a:cubicBezTo>
                      <a:pt x="34" y="46"/>
                      <a:pt x="32" y="46"/>
                      <a:pt x="31" y="44"/>
                    </a:cubicBezTo>
                    <a:cubicBezTo>
                      <a:pt x="30" y="44"/>
                      <a:pt x="29" y="43"/>
                      <a:pt x="28" y="42"/>
                    </a:cubicBezTo>
                    <a:cubicBezTo>
                      <a:pt x="26" y="40"/>
                      <a:pt x="28" y="36"/>
                      <a:pt x="25" y="34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9" y="39"/>
                      <a:pt x="8" y="37"/>
                      <a:pt x="6" y="35"/>
                    </a:cubicBezTo>
                    <a:cubicBezTo>
                      <a:pt x="5" y="34"/>
                      <a:pt x="5" y="34"/>
                      <a:pt x="4" y="34"/>
                    </a:cubicBezTo>
                    <a:cubicBezTo>
                      <a:pt x="2" y="32"/>
                      <a:pt x="1" y="30"/>
                      <a:pt x="1" y="27"/>
                    </a:cubicBezTo>
                    <a:cubicBezTo>
                      <a:pt x="1" y="26"/>
                      <a:pt x="0" y="25"/>
                      <a:pt x="0" y="24"/>
                    </a:cubicBezTo>
                    <a:cubicBezTo>
                      <a:pt x="0" y="22"/>
                      <a:pt x="1" y="21"/>
                      <a:pt x="1" y="20"/>
                    </a:cubicBezTo>
                    <a:cubicBezTo>
                      <a:pt x="2" y="18"/>
                      <a:pt x="2" y="17"/>
                      <a:pt x="3" y="16"/>
                    </a:cubicBezTo>
                    <a:cubicBezTo>
                      <a:pt x="3" y="16"/>
                      <a:pt x="4" y="16"/>
                      <a:pt x="4" y="16"/>
                    </a:cubicBezTo>
                    <a:cubicBezTo>
                      <a:pt x="6" y="16"/>
                      <a:pt x="7" y="15"/>
                      <a:pt x="9" y="15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2"/>
                      <a:pt x="7" y="12"/>
                      <a:pt x="7" y="11"/>
                    </a:cubicBezTo>
                    <a:cubicBezTo>
                      <a:pt x="7" y="9"/>
                      <a:pt x="9" y="7"/>
                      <a:pt x="11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6" y="7"/>
                      <a:pt x="17" y="7"/>
                      <a:pt x="19" y="5"/>
                    </a:cubicBezTo>
                    <a:cubicBezTo>
                      <a:pt x="20" y="4"/>
                      <a:pt x="21" y="2"/>
                      <a:pt x="23" y="2"/>
                    </a:cubicBezTo>
                    <a:close/>
                  </a:path>
                </a:pathLst>
              </a:custGeom>
              <a:grpFill/>
              <a:ln w="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067" name="Ellipse 1066">
              <a:extLst>
                <a:ext uri="{FF2B5EF4-FFF2-40B4-BE49-F238E27FC236}">
                  <a16:creationId xmlns:a16="http://schemas.microsoft.com/office/drawing/2014/main" xmlns="" id="{11158354-EE11-410F-A9F3-B9EB05993BD2}"/>
                </a:ext>
              </a:extLst>
            </p:cNvPr>
            <p:cNvSpPr/>
            <p:nvPr/>
          </p:nvSpPr>
          <p:spPr>
            <a:xfrm>
              <a:off x="5724006" y="2065757"/>
              <a:ext cx="74320" cy="74320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8" name="Oval 1357">
              <a:extLst>
                <a:ext uri="{FF2B5EF4-FFF2-40B4-BE49-F238E27FC236}">
                  <a16:creationId xmlns:a16="http://schemas.microsoft.com/office/drawing/2014/main" xmlns="" id="{B1EA989C-8417-4D25-B49F-6F95489C3195}"/>
                </a:ext>
              </a:extLst>
            </p:cNvPr>
            <p:cNvSpPr/>
            <p:nvPr/>
          </p:nvSpPr>
          <p:spPr>
            <a:xfrm>
              <a:off x="5899430" y="2158853"/>
              <a:ext cx="147600" cy="147600"/>
            </a:xfrm>
            <a:prstGeom prst="ellipse">
              <a:avLst/>
            </a:prstGeom>
            <a:solidFill>
              <a:srgbClr val="552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69" name="Oval 1358">
              <a:extLst>
                <a:ext uri="{FF2B5EF4-FFF2-40B4-BE49-F238E27FC236}">
                  <a16:creationId xmlns:a16="http://schemas.microsoft.com/office/drawing/2014/main" xmlns="" id="{1A9B7E7E-7EAB-4341-8D06-B1F6E60075AA}"/>
                </a:ext>
              </a:extLst>
            </p:cNvPr>
            <p:cNvSpPr/>
            <p:nvPr/>
          </p:nvSpPr>
          <p:spPr>
            <a:xfrm>
              <a:off x="5720143" y="2397735"/>
              <a:ext cx="147600" cy="147600"/>
            </a:xfrm>
            <a:prstGeom prst="ellipse">
              <a:avLst/>
            </a:prstGeom>
            <a:solidFill>
              <a:srgbClr val="552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0" name="Oval 1359">
              <a:extLst>
                <a:ext uri="{FF2B5EF4-FFF2-40B4-BE49-F238E27FC236}">
                  <a16:creationId xmlns:a16="http://schemas.microsoft.com/office/drawing/2014/main" xmlns="" id="{A1033B07-69A7-4821-9339-999713BF68BA}"/>
                </a:ext>
              </a:extLst>
            </p:cNvPr>
            <p:cNvSpPr/>
            <p:nvPr/>
          </p:nvSpPr>
          <p:spPr>
            <a:xfrm>
              <a:off x="6340658" y="2909073"/>
              <a:ext cx="147600" cy="147600"/>
            </a:xfrm>
            <a:prstGeom prst="ellipse">
              <a:avLst/>
            </a:prstGeom>
            <a:solidFill>
              <a:srgbClr val="552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1" name="Oval 1357">
              <a:extLst>
                <a:ext uri="{FF2B5EF4-FFF2-40B4-BE49-F238E27FC236}">
                  <a16:creationId xmlns:a16="http://schemas.microsoft.com/office/drawing/2014/main" xmlns="" id="{B574B763-C07B-442A-BC41-1C224EA85E03}"/>
                </a:ext>
              </a:extLst>
            </p:cNvPr>
            <p:cNvSpPr/>
            <p:nvPr/>
          </p:nvSpPr>
          <p:spPr>
            <a:xfrm>
              <a:off x="5967944" y="2037169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2" name="Oval 1357">
              <a:extLst>
                <a:ext uri="{FF2B5EF4-FFF2-40B4-BE49-F238E27FC236}">
                  <a16:creationId xmlns:a16="http://schemas.microsoft.com/office/drawing/2014/main" xmlns="" id="{6044B0E8-00A5-46CD-A0BA-DBA0A78EC5B6}"/>
                </a:ext>
              </a:extLst>
            </p:cNvPr>
            <p:cNvSpPr/>
            <p:nvPr/>
          </p:nvSpPr>
          <p:spPr>
            <a:xfrm>
              <a:off x="5619982" y="2025095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3" name="Oval 1357">
              <a:extLst>
                <a:ext uri="{FF2B5EF4-FFF2-40B4-BE49-F238E27FC236}">
                  <a16:creationId xmlns:a16="http://schemas.microsoft.com/office/drawing/2014/main" xmlns="" id="{955E64F8-BA95-481A-BEE4-37262ACC5944}"/>
                </a:ext>
              </a:extLst>
            </p:cNvPr>
            <p:cNvSpPr/>
            <p:nvPr/>
          </p:nvSpPr>
          <p:spPr>
            <a:xfrm>
              <a:off x="6316065" y="2091871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4" name="Oval 1357">
              <a:extLst>
                <a:ext uri="{FF2B5EF4-FFF2-40B4-BE49-F238E27FC236}">
                  <a16:creationId xmlns:a16="http://schemas.microsoft.com/office/drawing/2014/main" xmlns="" id="{29CE5C79-4AF3-41E8-9D3D-7CDA3C96AD71}"/>
                </a:ext>
              </a:extLst>
            </p:cNvPr>
            <p:cNvSpPr/>
            <p:nvPr/>
          </p:nvSpPr>
          <p:spPr>
            <a:xfrm>
              <a:off x="6414422" y="2259248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5" name="Oval 1357">
              <a:extLst>
                <a:ext uri="{FF2B5EF4-FFF2-40B4-BE49-F238E27FC236}">
                  <a16:creationId xmlns:a16="http://schemas.microsoft.com/office/drawing/2014/main" xmlns="" id="{F783EABE-50AB-475F-B835-577A8C85289C}"/>
                </a:ext>
              </a:extLst>
            </p:cNvPr>
            <p:cNvSpPr/>
            <p:nvPr/>
          </p:nvSpPr>
          <p:spPr>
            <a:xfrm>
              <a:off x="6309947" y="2411859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6" name="Oval 1357">
              <a:extLst>
                <a:ext uri="{FF2B5EF4-FFF2-40B4-BE49-F238E27FC236}">
                  <a16:creationId xmlns:a16="http://schemas.microsoft.com/office/drawing/2014/main" xmlns="" id="{8F2C9A01-8709-4F64-8782-478F8D426F1E}"/>
                </a:ext>
              </a:extLst>
            </p:cNvPr>
            <p:cNvSpPr/>
            <p:nvPr/>
          </p:nvSpPr>
          <p:spPr>
            <a:xfrm>
              <a:off x="6866731" y="2569503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7" name="Oval 1357">
              <a:extLst>
                <a:ext uri="{FF2B5EF4-FFF2-40B4-BE49-F238E27FC236}">
                  <a16:creationId xmlns:a16="http://schemas.microsoft.com/office/drawing/2014/main" xmlns="" id="{3DB5AB47-A6A6-4540-A361-C55556A1FA47}"/>
                </a:ext>
              </a:extLst>
            </p:cNvPr>
            <p:cNvSpPr/>
            <p:nvPr/>
          </p:nvSpPr>
          <p:spPr>
            <a:xfrm>
              <a:off x="6604605" y="2052063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8" name="Oval 1357">
              <a:extLst>
                <a:ext uri="{FF2B5EF4-FFF2-40B4-BE49-F238E27FC236}">
                  <a16:creationId xmlns:a16="http://schemas.microsoft.com/office/drawing/2014/main" xmlns="" id="{24F13BCA-0817-4C7B-AF5C-91D4C013A4AE}"/>
                </a:ext>
              </a:extLst>
            </p:cNvPr>
            <p:cNvSpPr/>
            <p:nvPr/>
          </p:nvSpPr>
          <p:spPr>
            <a:xfrm>
              <a:off x="7446282" y="1823157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79" name="ZoneTexte 47">
              <a:extLst>
                <a:ext uri="{FF2B5EF4-FFF2-40B4-BE49-F238E27FC236}">
                  <a16:creationId xmlns:a16="http://schemas.microsoft.com/office/drawing/2014/main" xmlns="" id="{EEC41348-7D52-4B6A-B13B-8BF282752C68}"/>
                </a:ext>
              </a:extLst>
            </p:cNvPr>
            <p:cNvSpPr txBox="1"/>
            <p:nvPr/>
          </p:nvSpPr>
          <p:spPr>
            <a:xfrm>
              <a:off x="6201375" y="2675925"/>
              <a:ext cx="70532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Italy</a:t>
              </a:r>
            </a:p>
          </p:txBody>
        </p:sp>
        <p:sp>
          <p:nvSpPr>
            <p:cNvPr id="1080" name="ZoneTexte 172">
              <a:extLst>
                <a:ext uri="{FF2B5EF4-FFF2-40B4-BE49-F238E27FC236}">
                  <a16:creationId xmlns:a16="http://schemas.microsoft.com/office/drawing/2014/main" xmlns="" id="{E071764D-0DCC-4DF0-B837-96A7C2D82BEF}"/>
                </a:ext>
              </a:extLst>
            </p:cNvPr>
            <p:cNvSpPr txBox="1"/>
            <p:nvPr/>
          </p:nvSpPr>
          <p:spPr>
            <a:xfrm>
              <a:off x="5479042" y="2834264"/>
              <a:ext cx="96180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pain</a:t>
              </a:r>
            </a:p>
          </p:txBody>
        </p:sp>
        <p:sp>
          <p:nvSpPr>
            <p:cNvPr id="1081" name="ZoneTexte 109">
              <a:extLst>
                <a:ext uri="{FF2B5EF4-FFF2-40B4-BE49-F238E27FC236}">
                  <a16:creationId xmlns:a16="http://schemas.microsoft.com/office/drawing/2014/main" xmlns="" id="{8CBC9664-5258-41DC-BBA3-AF02D79C22BB}"/>
                </a:ext>
              </a:extLst>
            </p:cNvPr>
            <p:cNvSpPr txBox="1"/>
            <p:nvPr/>
          </p:nvSpPr>
          <p:spPr>
            <a:xfrm>
              <a:off x="6707678" y="2493745"/>
              <a:ext cx="142667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Hungary</a:t>
              </a:r>
            </a:p>
          </p:txBody>
        </p:sp>
        <p:sp>
          <p:nvSpPr>
            <p:cNvPr id="1082" name="ZoneTexte 165">
              <a:extLst>
                <a:ext uri="{FF2B5EF4-FFF2-40B4-BE49-F238E27FC236}">
                  <a16:creationId xmlns:a16="http://schemas.microsoft.com/office/drawing/2014/main" xmlns="" id="{84C49D4B-03F5-42DE-B00D-27ED2FBCE3B0}"/>
                </a:ext>
              </a:extLst>
            </p:cNvPr>
            <p:cNvSpPr txBox="1"/>
            <p:nvPr/>
          </p:nvSpPr>
          <p:spPr>
            <a:xfrm>
              <a:off x="6641055" y="2226153"/>
              <a:ext cx="117019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Poland</a:t>
              </a:r>
            </a:p>
          </p:txBody>
        </p:sp>
        <p:sp>
          <p:nvSpPr>
            <p:cNvPr id="1083" name="ZoneTexte 164">
              <a:extLst>
                <a:ext uri="{FF2B5EF4-FFF2-40B4-BE49-F238E27FC236}">
                  <a16:creationId xmlns:a16="http://schemas.microsoft.com/office/drawing/2014/main" xmlns="" id="{5D355F11-E2F8-4963-AE18-BFE978DBC799}"/>
                </a:ext>
              </a:extLst>
            </p:cNvPr>
            <p:cNvSpPr txBox="1"/>
            <p:nvPr/>
          </p:nvSpPr>
          <p:spPr>
            <a:xfrm>
              <a:off x="6194879" y="2306330"/>
              <a:ext cx="157094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Germany</a:t>
              </a:r>
            </a:p>
          </p:txBody>
        </p:sp>
        <p:sp>
          <p:nvSpPr>
            <p:cNvPr id="1084" name="ZoneTexte 159">
              <a:extLst>
                <a:ext uri="{FF2B5EF4-FFF2-40B4-BE49-F238E27FC236}">
                  <a16:creationId xmlns:a16="http://schemas.microsoft.com/office/drawing/2014/main" xmlns="" id="{B0F1541E-9368-4FF1-9B99-A4479702491F}"/>
                </a:ext>
              </a:extLst>
            </p:cNvPr>
            <p:cNvSpPr txBox="1"/>
            <p:nvPr/>
          </p:nvSpPr>
          <p:spPr>
            <a:xfrm>
              <a:off x="5750322" y="2605081"/>
              <a:ext cx="118622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France</a:t>
              </a:r>
            </a:p>
          </p:txBody>
        </p:sp>
        <p:sp>
          <p:nvSpPr>
            <p:cNvPr id="1085" name="ZoneTexte 109">
              <a:extLst>
                <a:ext uri="{FF2B5EF4-FFF2-40B4-BE49-F238E27FC236}">
                  <a16:creationId xmlns:a16="http://schemas.microsoft.com/office/drawing/2014/main" xmlns="" id="{3D661973-F6F5-4F8D-8EE7-15932232394B}"/>
                </a:ext>
              </a:extLst>
            </p:cNvPr>
            <p:cNvSpPr txBox="1"/>
            <p:nvPr/>
          </p:nvSpPr>
          <p:spPr>
            <a:xfrm>
              <a:off x="6426603" y="2387960"/>
              <a:ext cx="198772" cy="46166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Czech Rep.</a:t>
              </a:r>
            </a:p>
          </p:txBody>
        </p:sp>
        <p:sp>
          <p:nvSpPr>
            <p:cNvPr id="1086" name="ZoneTexte 109">
              <a:extLst>
                <a:ext uri="{FF2B5EF4-FFF2-40B4-BE49-F238E27FC236}">
                  <a16:creationId xmlns:a16="http://schemas.microsoft.com/office/drawing/2014/main" xmlns="" id="{26C1C6B8-C5FF-48F3-B526-BDAB646D5DFE}"/>
                </a:ext>
              </a:extLst>
            </p:cNvPr>
            <p:cNvSpPr txBox="1"/>
            <p:nvPr/>
          </p:nvSpPr>
          <p:spPr>
            <a:xfrm>
              <a:off x="6988353" y="2557997"/>
              <a:ext cx="150682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Romania</a:t>
              </a:r>
            </a:p>
          </p:txBody>
        </p:sp>
        <p:sp>
          <p:nvSpPr>
            <p:cNvPr id="1087" name="ZoneTexte 109">
              <a:extLst>
                <a:ext uri="{FF2B5EF4-FFF2-40B4-BE49-F238E27FC236}">
                  <a16:creationId xmlns:a16="http://schemas.microsoft.com/office/drawing/2014/main" xmlns="" id="{C8600E80-7ACF-481E-9408-C7422F054B38}"/>
                </a:ext>
              </a:extLst>
            </p:cNvPr>
            <p:cNvSpPr txBox="1"/>
            <p:nvPr/>
          </p:nvSpPr>
          <p:spPr>
            <a:xfrm>
              <a:off x="7476153" y="1715547"/>
              <a:ext cx="115416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Russia</a:t>
              </a:r>
            </a:p>
          </p:txBody>
        </p:sp>
        <p:sp>
          <p:nvSpPr>
            <p:cNvPr id="1088" name="ZoneTexte 109">
              <a:extLst>
                <a:ext uri="{FF2B5EF4-FFF2-40B4-BE49-F238E27FC236}">
                  <a16:creationId xmlns:a16="http://schemas.microsoft.com/office/drawing/2014/main" xmlns="" id="{511EEE35-15CC-4AF4-A5C2-2D11C7432178}"/>
                </a:ext>
              </a:extLst>
            </p:cNvPr>
            <p:cNvSpPr txBox="1"/>
            <p:nvPr/>
          </p:nvSpPr>
          <p:spPr>
            <a:xfrm>
              <a:off x="7404018" y="2339538"/>
              <a:ext cx="129843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Ukraine</a:t>
              </a:r>
            </a:p>
          </p:txBody>
        </p:sp>
        <p:sp>
          <p:nvSpPr>
            <p:cNvPr id="1089" name="ZoneTexte 109">
              <a:extLst>
                <a:ext uri="{FF2B5EF4-FFF2-40B4-BE49-F238E27FC236}">
                  <a16:creationId xmlns:a16="http://schemas.microsoft.com/office/drawing/2014/main" xmlns="" id="{FC902E52-006D-48BC-863B-82A6F8890584}"/>
                </a:ext>
              </a:extLst>
            </p:cNvPr>
            <p:cNvSpPr txBox="1"/>
            <p:nvPr/>
          </p:nvSpPr>
          <p:spPr>
            <a:xfrm>
              <a:off x="6375072" y="2555142"/>
              <a:ext cx="118622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Austria</a:t>
              </a:r>
            </a:p>
          </p:txBody>
        </p:sp>
        <p:sp>
          <p:nvSpPr>
            <p:cNvPr id="1090" name="ZoneTexte 109">
              <a:extLst>
                <a:ext uri="{FF2B5EF4-FFF2-40B4-BE49-F238E27FC236}">
                  <a16:creationId xmlns:a16="http://schemas.microsoft.com/office/drawing/2014/main" xmlns="" id="{0C58B7F5-38EA-49A4-AE1A-6E53109B7F06}"/>
                </a:ext>
              </a:extLst>
            </p:cNvPr>
            <p:cNvSpPr txBox="1"/>
            <p:nvPr/>
          </p:nvSpPr>
          <p:spPr>
            <a:xfrm>
              <a:off x="6788611" y="2401554"/>
              <a:ext cx="142668" cy="46166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Slovakia</a:t>
              </a:r>
            </a:p>
          </p:txBody>
        </p:sp>
        <p:sp>
          <p:nvSpPr>
            <p:cNvPr id="1091" name="ZoneTexte 109">
              <a:extLst>
                <a:ext uri="{FF2B5EF4-FFF2-40B4-BE49-F238E27FC236}">
                  <a16:creationId xmlns:a16="http://schemas.microsoft.com/office/drawing/2014/main" xmlns="" id="{971F6ADE-49F3-4FD3-BB0A-93B8C7DF6CCA}"/>
                </a:ext>
              </a:extLst>
            </p:cNvPr>
            <p:cNvSpPr txBox="1"/>
            <p:nvPr/>
          </p:nvSpPr>
          <p:spPr>
            <a:xfrm>
              <a:off x="6007448" y="2492785"/>
              <a:ext cx="195566" cy="46166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 sz="300" dirty="0"/>
                <a:t>Switzerland</a:t>
              </a:r>
            </a:p>
          </p:txBody>
        </p:sp>
        <p:sp>
          <p:nvSpPr>
            <p:cNvPr id="1092" name="ZoneTexte 164">
              <a:extLst>
                <a:ext uri="{FF2B5EF4-FFF2-40B4-BE49-F238E27FC236}">
                  <a16:creationId xmlns:a16="http://schemas.microsoft.com/office/drawing/2014/main" xmlns="" id="{BD020147-0635-436F-9F53-4591841EBE13}"/>
                </a:ext>
              </a:extLst>
            </p:cNvPr>
            <p:cNvSpPr txBox="1"/>
            <p:nvPr/>
          </p:nvSpPr>
          <p:spPr>
            <a:xfrm>
              <a:off x="5653922" y="1909754"/>
              <a:ext cx="149080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algn="l"/>
              <a:r>
                <a:rPr lang="en-US" sz="300" dirty="0">
                  <a:solidFill>
                    <a:schemeClr val="tx1"/>
                  </a:solidFill>
                </a:rPr>
                <a:t>United</a:t>
              </a:r>
              <a:br>
                <a:rPr lang="en-US" sz="300" dirty="0">
                  <a:solidFill>
                    <a:schemeClr val="tx1"/>
                  </a:solidFill>
                </a:rPr>
              </a:br>
              <a:r>
                <a:rPr lang="en-US" sz="300" dirty="0">
                  <a:solidFill>
                    <a:schemeClr val="tx1"/>
                  </a:solidFill>
                </a:rPr>
                <a:t>Kingdom</a:t>
              </a:r>
            </a:p>
          </p:txBody>
        </p:sp>
        <p:sp>
          <p:nvSpPr>
            <p:cNvPr id="1093" name="Oval 1357">
              <a:extLst>
                <a:ext uri="{FF2B5EF4-FFF2-40B4-BE49-F238E27FC236}">
                  <a16:creationId xmlns:a16="http://schemas.microsoft.com/office/drawing/2014/main" xmlns="" id="{23397103-CE46-4AD2-B9E0-B722704F3187}"/>
                </a:ext>
              </a:extLst>
            </p:cNvPr>
            <p:cNvSpPr/>
            <p:nvPr/>
          </p:nvSpPr>
          <p:spPr>
            <a:xfrm>
              <a:off x="5278905" y="2745285"/>
              <a:ext cx="147600" cy="147600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94" name="ZoneTexte 164">
              <a:extLst>
                <a:ext uri="{FF2B5EF4-FFF2-40B4-BE49-F238E27FC236}">
                  <a16:creationId xmlns:a16="http://schemas.microsoft.com/office/drawing/2014/main" xmlns="" id="{41E1B81F-3D2A-4D92-9BAA-092CB2D78059}"/>
                </a:ext>
              </a:extLst>
            </p:cNvPr>
            <p:cNvSpPr txBox="1"/>
            <p:nvPr/>
          </p:nvSpPr>
          <p:spPr>
            <a:xfrm>
              <a:off x="5844730" y="1919842"/>
              <a:ext cx="203582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algn="l"/>
              <a:r>
                <a:rPr lang="en-US" sz="300" dirty="0">
                  <a:solidFill>
                    <a:schemeClr val="tx1"/>
                  </a:solidFill>
                </a:rPr>
                <a:t>Netherlands</a:t>
              </a:r>
            </a:p>
          </p:txBody>
        </p:sp>
        <p:sp>
          <p:nvSpPr>
            <p:cNvPr id="1095" name="ZoneTexte 164">
              <a:extLst>
                <a:ext uri="{FF2B5EF4-FFF2-40B4-BE49-F238E27FC236}">
                  <a16:creationId xmlns:a16="http://schemas.microsoft.com/office/drawing/2014/main" xmlns="" id="{994C41F5-EC24-4210-8456-4C63317568E8}"/>
                </a:ext>
              </a:extLst>
            </p:cNvPr>
            <p:cNvSpPr txBox="1"/>
            <p:nvPr/>
          </p:nvSpPr>
          <p:spPr>
            <a:xfrm>
              <a:off x="5389888" y="2183631"/>
              <a:ext cx="136256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algn="l"/>
              <a:r>
                <a:rPr lang="en-US" sz="300" dirty="0">
                  <a:solidFill>
                    <a:schemeClr val="tx1"/>
                  </a:solidFill>
                </a:rPr>
                <a:t>Belgium</a:t>
              </a:r>
            </a:p>
          </p:txBody>
        </p:sp>
        <p:sp>
          <p:nvSpPr>
            <p:cNvPr id="1096" name="ZoneTexte 164">
              <a:extLst>
                <a:ext uri="{FF2B5EF4-FFF2-40B4-BE49-F238E27FC236}">
                  <a16:creationId xmlns:a16="http://schemas.microsoft.com/office/drawing/2014/main" xmlns="" id="{AB50936A-0FBC-4293-886E-76773938F635}"/>
                </a:ext>
              </a:extLst>
            </p:cNvPr>
            <p:cNvSpPr txBox="1"/>
            <p:nvPr/>
          </p:nvSpPr>
          <p:spPr>
            <a:xfrm>
              <a:off x="6131256" y="1840277"/>
              <a:ext cx="209994" cy="461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fr-FR"/>
              </a:defPPr>
              <a:lvl1pPr algn="ctr" defTabSz="914400">
                <a:defRPr sz="80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457200" defTabSz="914400">
                <a:defRPr sz="1800"/>
              </a:lvl2pPr>
              <a:lvl3pPr marL="914400" defTabSz="914400">
                <a:defRPr sz="1800"/>
              </a:lvl3pPr>
              <a:lvl4pPr marL="1371600" defTabSz="914400">
                <a:defRPr sz="1800"/>
              </a:lvl4pPr>
              <a:lvl5pPr marL="1828800" defTabSz="914400">
                <a:defRPr sz="1800"/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pPr algn="l"/>
              <a:r>
                <a:rPr lang="en-US" sz="300" dirty="0">
                  <a:solidFill>
                    <a:schemeClr val="tx1"/>
                  </a:solidFill>
                </a:rPr>
                <a:t>Luxembourg</a:t>
              </a:r>
            </a:p>
          </p:txBody>
        </p:sp>
        <p:cxnSp>
          <p:nvCxnSpPr>
            <p:cNvPr id="1097" name="Connecteur droit 1096">
              <a:extLst>
                <a:ext uri="{FF2B5EF4-FFF2-40B4-BE49-F238E27FC236}">
                  <a16:creationId xmlns:a16="http://schemas.microsoft.com/office/drawing/2014/main" xmlns="" id="{DDEEDE6A-8D38-4945-8CFD-0456565628B5}"/>
                </a:ext>
              </a:extLst>
            </p:cNvPr>
            <p:cNvCxnSpPr>
              <a:cxnSpLocks/>
              <a:stCxn id="1053" idx="7"/>
              <a:endCxn id="1127" idx="9"/>
            </p:cNvCxnSpPr>
            <p:nvPr/>
          </p:nvCxnSpPr>
          <p:spPr>
            <a:xfrm flipV="1">
              <a:off x="6087107" y="1931602"/>
              <a:ext cx="233928" cy="362715"/>
            </a:xfrm>
            <a:prstGeom prst="line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8" name="Connecteur droit 1097">
              <a:extLst>
                <a:ext uri="{FF2B5EF4-FFF2-40B4-BE49-F238E27FC236}">
                  <a16:creationId xmlns:a16="http://schemas.microsoft.com/office/drawing/2014/main" xmlns="" id="{F44096A1-6A33-4BC6-80E5-5BE2901F31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41161" y="1988030"/>
              <a:ext cx="33762" cy="70031"/>
            </a:xfrm>
            <a:prstGeom prst="line">
              <a:avLst/>
            </a:prstGeom>
            <a:ln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9" name="Connecteur droit 1098">
              <a:extLst>
                <a:ext uri="{FF2B5EF4-FFF2-40B4-BE49-F238E27FC236}">
                  <a16:creationId xmlns:a16="http://schemas.microsoft.com/office/drawing/2014/main" xmlns="" id="{6BA0F3E4-047A-42AF-9AEB-8820C5A15EF6}"/>
                </a:ext>
              </a:extLst>
            </p:cNvPr>
            <p:cNvCxnSpPr>
              <a:cxnSpLocks/>
              <a:stCxn id="1068" idx="2"/>
            </p:cNvCxnSpPr>
            <p:nvPr/>
          </p:nvCxnSpPr>
          <p:spPr>
            <a:xfrm flipH="1" flipV="1">
              <a:off x="5571034" y="2210799"/>
              <a:ext cx="328396" cy="21854"/>
            </a:xfrm>
            <a:prstGeom prst="line">
              <a:avLst/>
            </a:prstGeom>
            <a:ln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599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tangle à coins arrondis 157"/>
          <p:cNvSpPr/>
          <p:nvPr/>
        </p:nvSpPr>
        <p:spPr>
          <a:xfrm>
            <a:off x="1476150" y="5716253"/>
            <a:ext cx="7344000" cy="360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7" name="Rectangle à coins arrondis 156"/>
          <p:cNvSpPr/>
          <p:nvPr/>
        </p:nvSpPr>
        <p:spPr>
          <a:xfrm>
            <a:off x="1461361" y="3415748"/>
            <a:ext cx="7344000" cy="360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0" name="Titre 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GENDA (1/2)</a:t>
            </a:r>
            <a:endParaRPr lang="fr-FR" dirty="0"/>
          </a:p>
        </p:txBody>
      </p:sp>
      <p:sp>
        <p:nvSpPr>
          <p:cNvPr id="16" name="Espace réservé de la date 1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2</a:t>
            </a:fld>
            <a:endParaRPr lang="fr-FR" dirty="0"/>
          </a:p>
        </p:txBody>
      </p:sp>
      <p:graphicFrame>
        <p:nvGraphicFramePr>
          <p:cNvPr id="144" name="Tableau 1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673595"/>
              </p:ext>
            </p:extLst>
          </p:nvPr>
        </p:nvGraphicFramePr>
        <p:xfrm>
          <a:off x="1475656" y="1486714"/>
          <a:ext cx="7358789" cy="4588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76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01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88857">
                <a:tc>
                  <a:txBody>
                    <a:bodyPr/>
                    <a:lstStyle/>
                    <a:p>
                      <a:pPr algn="r"/>
                      <a:r>
                        <a:rPr lang="en-US" sz="1500" b="1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3207">
                <a:tc>
                  <a:txBody>
                    <a:bodyPr/>
                    <a:lstStyle/>
                    <a:p>
                      <a:pPr algn="r"/>
                      <a:r>
                        <a:rPr lang="en-US" sz="1500" b="1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  <a:p>
                      <a:pPr marL="180000" marR="0" indent="-180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Level 1</a:t>
                      </a:r>
                    </a:p>
                    <a:p>
                      <a:pPr marL="432000" marR="0" lvl="1" indent="-252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—"/>
                        <a:tabLst/>
                        <a:defRPr/>
                      </a:pPr>
                      <a:r>
                        <a:rPr lang="en-US" sz="13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Level 2</a:t>
                      </a:r>
                    </a:p>
                    <a:p>
                      <a:pPr marL="432000" marR="0" lvl="1" indent="-252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—"/>
                        <a:tabLst/>
                        <a:defRPr/>
                      </a:pPr>
                      <a:r>
                        <a:rPr lang="en-US" sz="13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Level 2</a:t>
                      </a:r>
                    </a:p>
                    <a:p>
                      <a:pPr marL="180000" marR="0" indent="-180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Level 1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8857">
                <a:tc>
                  <a:txBody>
                    <a:bodyPr/>
                    <a:lstStyle/>
                    <a:p>
                      <a:pPr algn="r"/>
                      <a:endParaRPr lang="en-US" sz="15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2238" marR="0" indent="-15875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FR" sz="1500" b="1" dirty="0">
                          <a:solidFill>
                            <a:schemeClr val="bg2"/>
                          </a:solidFill>
                        </a:rPr>
                        <a:t>BREAK</a:t>
                      </a:r>
                      <a:endParaRPr lang="en-US" sz="1500" b="1" dirty="0">
                        <a:solidFill>
                          <a:schemeClr val="bg2"/>
                        </a:solidFill>
                      </a:endParaRP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961">
                <a:tc>
                  <a:txBody>
                    <a:bodyPr/>
                    <a:lstStyle/>
                    <a:p>
                      <a:pPr algn="r"/>
                      <a:r>
                        <a:rPr lang="en-US" sz="1500" b="1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  <a:p>
                      <a:pPr marL="180000" marR="0" indent="-180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Level 1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8857">
                <a:tc>
                  <a:txBody>
                    <a:bodyPr/>
                    <a:lstStyle/>
                    <a:p>
                      <a:pPr algn="r"/>
                      <a:r>
                        <a:rPr lang="en-US" sz="1500" b="0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8857">
                <a:tc>
                  <a:txBody>
                    <a:bodyPr/>
                    <a:lstStyle/>
                    <a:p>
                      <a:pPr algn="r"/>
                      <a:r>
                        <a:rPr lang="en-US" sz="1500" b="1" noProof="0" dirty="0">
                          <a:solidFill>
                            <a:schemeClr val="bg2"/>
                          </a:solidFill>
                        </a:rPr>
                        <a:t>00:00 -</a:t>
                      </a:r>
                      <a:r>
                        <a:rPr lang="en-US" sz="1500" b="1" baseline="0" noProof="0" dirty="0">
                          <a:solidFill>
                            <a:schemeClr val="bg2"/>
                          </a:solidFill>
                        </a:rPr>
                        <a:t> 00</a:t>
                      </a:r>
                      <a:r>
                        <a:rPr lang="en-US" sz="1500" b="1" noProof="0" dirty="0">
                          <a:solidFill>
                            <a:schemeClr val="bg2"/>
                          </a:solidFill>
                        </a:rPr>
                        <a:t>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8857">
                <a:tc>
                  <a:txBody>
                    <a:bodyPr/>
                    <a:lstStyle/>
                    <a:p>
                      <a:pPr algn="r"/>
                      <a:r>
                        <a:rPr lang="en-US" sz="1500" b="0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Text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8857">
                <a:tc>
                  <a:txBody>
                    <a:bodyPr/>
                    <a:lstStyle/>
                    <a:p>
                      <a:pPr algn="r"/>
                      <a:r>
                        <a:rPr lang="en-US" sz="1500" b="0" noProof="0" dirty="0">
                          <a:solidFill>
                            <a:schemeClr val="bg2"/>
                          </a:solidFill>
                        </a:rPr>
                        <a:t>00:00</a:t>
                      </a:r>
                    </a:p>
                  </a:txBody>
                  <a:tcPr marL="110363" marR="110363" marT="82773" marB="8277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1" dirty="0">
                          <a:solidFill>
                            <a:schemeClr val="bg2"/>
                          </a:solidFill>
                        </a:rPr>
                        <a:t>END</a:t>
                      </a:r>
                    </a:p>
                  </a:txBody>
                  <a:tcPr marL="110363" marR="110363" marT="82773" marB="82773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" name="Groupe 23"/>
          <p:cNvGrpSpPr/>
          <p:nvPr/>
        </p:nvGrpSpPr>
        <p:grpSpPr>
          <a:xfrm>
            <a:off x="311989" y="1494323"/>
            <a:ext cx="1557716" cy="766294"/>
            <a:chOff x="-2017472" y="2853131"/>
            <a:chExt cx="1685277" cy="837360"/>
          </a:xfrm>
        </p:grpSpPr>
        <p:grpSp>
          <p:nvGrpSpPr>
            <p:cNvPr id="3" name="Groupe 22"/>
            <p:cNvGrpSpPr/>
            <p:nvPr/>
          </p:nvGrpSpPr>
          <p:grpSpPr>
            <a:xfrm>
              <a:off x="-2017472" y="2853131"/>
              <a:ext cx="1685277" cy="837360"/>
              <a:chOff x="-2017472" y="2853131"/>
              <a:chExt cx="1685277" cy="837360"/>
            </a:xfrm>
          </p:grpSpPr>
          <p:sp>
            <p:nvSpPr>
              <p:cNvPr id="154" name="Rectangle à coins arrondis 153"/>
              <p:cNvSpPr/>
              <p:nvPr/>
            </p:nvSpPr>
            <p:spPr>
              <a:xfrm>
                <a:off x="-2017472" y="2853131"/>
                <a:ext cx="1685277" cy="837360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4400"/>
              </a:p>
            </p:txBody>
          </p:sp>
          <p:sp>
            <p:nvSpPr>
              <p:cNvPr id="155" name="ZoneTexte 154"/>
              <p:cNvSpPr txBox="1"/>
              <p:nvPr/>
            </p:nvSpPr>
            <p:spPr>
              <a:xfrm>
                <a:off x="-1490951" y="2931288"/>
                <a:ext cx="616281" cy="235424"/>
              </a:xfrm>
              <a:prstGeom prst="rect">
                <a:avLst/>
              </a:prstGeom>
              <a:noFill/>
            </p:spPr>
            <p:txBody>
              <a:bodyPr wrap="none" lIns="36000" tIns="0" rIns="36000" bIns="0" rtlCol="0">
                <a:spAutoFit/>
              </a:bodyPr>
              <a:lstStyle/>
              <a:p>
                <a:pPr algn="ctr"/>
                <a:r>
                  <a:rPr lang="en-GB" sz="1400" dirty="0">
                    <a:solidFill>
                      <a:schemeClr val="bg1"/>
                    </a:solidFill>
                  </a:rPr>
                  <a:t>Month</a:t>
                </a:r>
              </a:p>
            </p:txBody>
          </p:sp>
          <p:sp>
            <p:nvSpPr>
              <p:cNvPr id="156" name="ZoneTexte 155"/>
              <p:cNvSpPr txBox="1"/>
              <p:nvPr/>
            </p:nvSpPr>
            <p:spPr>
              <a:xfrm>
                <a:off x="-1641800" y="3171530"/>
                <a:ext cx="917976" cy="504480"/>
              </a:xfrm>
              <a:prstGeom prst="rect">
                <a:avLst/>
              </a:prstGeom>
              <a:noFill/>
            </p:spPr>
            <p:txBody>
              <a:bodyPr wrap="none" lIns="36000" tIns="0" rIns="36000" bIns="0" rtlCol="0">
                <a:spAutoFit/>
              </a:bodyPr>
              <a:lstStyle/>
              <a:p>
                <a:pPr algn="ctr"/>
                <a:r>
                  <a:rPr lang="en-GB" sz="3000" b="1" dirty="0">
                    <a:solidFill>
                      <a:schemeClr val="bg1"/>
                    </a:solidFill>
                  </a:rPr>
                  <a:t>DAY</a:t>
                </a:r>
              </a:p>
            </p:txBody>
          </p:sp>
        </p:grpSp>
        <p:cxnSp>
          <p:nvCxnSpPr>
            <p:cNvPr id="153" name="Connecteur droit 152"/>
            <p:cNvCxnSpPr/>
            <p:nvPr/>
          </p:nvCxnSpPr>
          <p:spPr>
            <a:xfrm>
              <a:off x="-1864401" y="3185189"/>
              <a:ext cx="1363181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12807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tangle à coins arrondis 157"/>
          <p:cNvSpPr/>
          <p:nvPr/>
        </p:nvSpPr>
        <p:spPr>
          <a:xfrm>
            <a:off x="323528" y="1493931"/>
            <a:ext cx="8496300" cy="36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0" name="Titre 1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GENDA (2/2) - Table</a:t>
            </a:r>
            <a:endParaRPr lang="fr-FR" dirty="0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3</a:t>
            </a:fld>
            <a:endParaRPr lang="fr-FR" dirty="0"/>
          </a:p>
        </p:txBody>
      </p:sp>
      <p:graphicFrame>
        <p:nvGraphicFramePr>
          <p:cNvPr id="16" name="Tableau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341739"/>
              </p:ext>
            </p:extLst>
          </p:nvPr>
        </p:nvGraphicFramePr>
        <p:xfrm>
          <a:off x="395536" y="1556795"/>
          <a:ext cx="8316000" cy="4435983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4055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266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655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81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32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u="none" noProof="0" dirty="0"/>
                        <a:t>Time</a:t>
                      </a:r>
                      <a:endParaRPr lang="en-US" sz="1100" b="1" u="none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/>
                        <a:t>Content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/>
                        <a:t>Target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Responsible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333419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1261"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noProof="0" dirty="0">
                          <a:solidFill>
                            <a:schemeClr val="bg2"/>
                          </a:solidFill>
                        </a:rPr>
                        <a:t>Break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252000" marR="72000" marT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1600" dirty="0"/>
                    </a:p>
                  </a:txBody>
                  <a:tcPr marL="252000" marR="72000" marT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sz="1600" dirty="0"/>
                    </a:p>
                  </a:txBody>
                  <a:tcPr marL="25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31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00:00 - 00:00</a:t>
                      </a:r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3334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marR="0" indent="-108000" algn="l" defTabSz="914400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ingdings" panose="05000000000000000000" pitchFamily="2" charset="2"/>
                        <a:buChar char=""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ext</a:t>
                      </a:r>
                      <a:r>
                        <a:rPr lang="fr-FR" sz="11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– 16 pt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128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70F6EB4-7BA5-416B-97B6-11FA7F1CA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TABLE 1/2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EA39F37C-5308-4C47-89AB-141CA72F18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6D0DD690-27C5-42A1-B324-E9A4043176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4DEBE9A5-0F02-43D7-A405-F59C8056FF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4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C882AD7-CC08-48AA-9970-69F145985C39}"/>
              </a:ext>
            </a:extLst>
          </p:cNvPr>
          <p:cNvSpPr/>
          <p:nvPr/>
        </p:nvSpPr>
        <p:spPr>
          <a:xfrm>
            <a:off x="5400093" y="1791970"/>
            <a:ext cx="936104" cy="297829"/>
          </a:xfrm>
          <a:prstGeom prst="rect">
            <a:avLst/>
          </a:prstGeom>
          <a:solidFill>
            <a:srgbClr val="0078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E0037EB-04C2-42B8-BD98-66FAAB2EA1E9}"/>
              </a:ext>
            </a:extLst>
          </p:cNvPr>
          <p:cNvSpPr/>
          <p:nvPr/>
        </p:nvSpPr>
        <p:spPr>
          <a:xfrm>
            <a:off x="3131840" y="1791970"/>
            <a:ext cx="936104" cy="29782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AF4854E9-D917-4CAF-A5C1-A2C036244BDB}"/>
              </a:ext>
            </a:extLst>
          </p:cNvPr>
          <p:cNvSpPr/>
          <p:nvPr/>
        </p:nvSpPr>
        <p:spPr>
          <a:xfrm>
            <a:off x="5999841" y="1791970"/>
            <a:ext cx="2811516" cy="29782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DAAA0C31-2339-4F6E-8DA3-886E977CA1D8}"/>
              </a:ext>
            </a:extLst>
          </p:cNvPr>
          <p:cNvSpPr/>
          <p:nvPr/>
        </p:nvSpPr>
        <p:spPr>
          <a:xfrm>
            <a:off x="3840051" y="1791970"/>
            <a:ext cx="2028094" cy="29782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xmlns="" id="{378056CF-AC61-45C4-A43E-A379F09A6484}"/>
              </a:ext>
            </a:extLst>
          </p:cNvPr>
          <p:cNvSpPr/>
          <p:nvPr/>
        </p:nvSpPr>
        <p:spPr>
          <a:xfrm>
            <a:off x="339724" y="1791970"/>
            <a:ext cx="3368179" cy="29782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xmlns="" id="{F0EDF701-0E19-4F0E-A142-49F5EF7A1C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810017"/>
              </p:ext>
            </p:extLst>
          </p:nvPr>
        </p:nvGraphicFramePr>
        <p:xfrm>
          <a:off x="323850" y="1760220"/>
          <a:ext cx="8496298" cy="33375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8796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845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20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050" b="1" cap="all" baseline="0" dirty="0" err="1">
                          <a:solidFill>
                            <a:schemeClr val="bg1"/>
                          </a:solidFill>
                        </a:rPr>
                        <a:t>Title</a:t>
                      </a:r>
                      <a:r>
                        <a:rPr lang="fr-FR" sz="1050" b="1" cap="all" baseline="0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b="1" cap="all" baseline="0" dirty="0" err="1">
                          <a:solidFill>
                            <a:schemeClr val="bg1"/>
                          </a:solidFill>
                        </a:rPr>
                        <a:t>Title</a:t>
                      </a:r>
                      <a:r>
                        <a:rPr lang="fr-FR" sz="1050" b="1" cap="all" baseline="0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50" b="1" cap="all" baseline="0" dirty="0" err="1">
                          <a:solidFill>
                            <a:schemeClr val="bg1"/>
                          </a:solidFill>
                        </a:rPr>
                        <a:t>Title</a:t>
                      </a:r>
                      <a:r>
                        <a:rPr lang="fr-FR" sz="1050" b="1" cap="all" baseline="0" dirty="0">
                          <a:solidFill>
                            <a:schemeClr val="bg1"/>
                          </a:solidFill>
                        </a:rPr>
                        <a:t> 3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T w="12700" cmpd="sng">
                      <a:noFill/>
                    </a:lnT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T w="12700" cmpd="sng">
                      <a:noFill/>
                    </a:lnT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T w="12700" cmpd="sng">
                      <a:noFill/>
                    </a:lnT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B>
                      <a:noFill/>
                    </a:lnB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B>
                      <a:noFill/>
                    </a:lnB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B>
                      <a:noFill/>
                    </a:lnB>
                    <a:solidFill>
                      <a:schemeClr val="tx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358687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634228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0756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1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err="1">
                          <a:solidFill>
                            <a:schemeClr val="tx1"/>
                          </a:solidFill>
                        </a:rPr>
                        <a:t>Text</a:t>
                      </a:r>
                      <a:r>
                        <a:rPr lang="fr-FR" sz="900" b="0" dirty="0">
                          <a:solidFill>
                            <a:schemeClr val="tx1"/>
                          </a:solidFill>
                        </a:rPr>
                        <a:t> – 9 pts</a:t>
                      </a:r>
                    </a:p>
                  </a:txBody>
                  <a:tcPr marL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119438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90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70F6EB4-7BA5-416B-97B6-11FA7F1CA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TABLE 2/2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EA39F37C-5308-4C47-89AB-141CA72F18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6D0DD690-27C5-42A1-B324-E9A4043176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4DEBE9A5-0F02-43D7-A405-F59C8056FF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5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B7F186F-E7B3-4860-B3B5-4FA607599A07}"/>
              </a:ext>
            </a:extLst>
          </p:cNvPr>
          <p:cNvSpPr/>
          <p:nvPr/>
        </p:nvSpPr>
        <p:spPr>
          <a:xfrm>
            <a:off x="5134072" y="2352441"/>
            <a:ext cx="1704878" cy="3363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79FE279-3883-481F-ABE9-90F14CDCD539}"/>
              </a:ext>
            </a:extLst>
          </p:cNvPr>
          <p:cNvSpPr/>
          <p:nvPr/>
        </p:nvSpPr>
        <p:spPr>
          <a:xfrm>
            <a:off x="1391072" y="2352441"/>
            <a:ext cx="1672729" cy="3363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xmlns="" id="{65EF9435-5313-4FC1-BEF5-480621BDBD81}"/>
              </a:ext>
            </a:extLst>
          </p:cNvPr>
          <p:cNvGrpSpPr/>
          <p:nvPr/>
        </p:nvGrpSpPr>
        <p:grpSpPr>
          <a:xfrm rot="5400000">
            <a:off x="4913225" y="3651328"/>
            <a:ext cx="184622" cy="210273"/>
            <a:chOff x="2835338" y="2123911"/>
            <a:chExt cx="385843" cy="439453"/>
          </a:xfrm>
        </p:grpSpPr>
        <p:sp>
          <p:nvSpPr>
            <p:cNvPr id="15" name="Rectangle à coins arrondis 35">
              <a:extLst>
                <a:ext uri="{FF2B5EF4-FFF2-40B4-BE49-F238E27FC236}">
                  <a16:creationId xmlns:a16="http://schemas.microsoft.com/office/drawing/2014/main" xmlns="" id="{2EED53C7-CD44-464C-809E-C9DD052CFDAE}"/>
                </a:ext>
              </a:extLst>
            </p:cNvPr>
            <p:cNvSpPr/>
            <p:nvPr/>
          </p:nvSpPr>
          <p:spPr>
            <a:xfrm rot="18900000">
              <a:off x="2835338" y="2436399"/>
              <a:ext cx="385843" cy="126965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60000"/>
                <a:lumOff val="40000"/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  <p:sp>
          <p:nvSpPr>
            <p:cNvPr id="16" name="Rectangle à coins arrondis 36">
              <a:extLst>
                <a:ext uri="{FF2B5EF4-FFF2-40B4-BE49-F238E27FC236}">
                  <a16:creationId xmlns:a16="http://schemas.microsoft.com/office/drawing/2014/main" xmlns="" id="{01DF0C4B-DA87-4A5A-8D5C-918AF0D8B3B1}"/>
                </a:ext>
              </a:extLst>
            </p:cNvPr>
            <p:cNvSpPr/>
            <p:nvPr/>
          </p:nvSpPr>
          <p:spPr>
            <a:xfrm rot="2700000">
              <a:off x="2835336" y="2253349"/>
              <a:ext cx="385841" cy="12696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FFFDC454-E095-4224-AC91-A9BBB464DD96}"/>
              </a:ext>
            </a:extLst>
          </p:cNvPr>
          <p:cNvSpPr txBox="1"/>
          <p:nvPr/>
        </p:nvSpPr>
        <p:spPr>
          <a:xfrm>
            <a:off x="553793" y="2956410"/>
            <a:ext cx="447558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fr-FR" sz="800" b="1" cap="all" dirty="0" err="1"/>
              <a:t>Text</a:t>
            </a:r>
            <a:endParaRPr lang="fr-FR" sz="800" b="1" cap="all" dirty="0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xmlns="" id="{C0180CF6-0A1A-47C5-8D22-7B51188C31C6}"/>
              </a:ext>
            </a:extLst>
          </p:cNvPr>
          <p:cNvGrpSpPr/>
          <p:nvPr/>
        </p:nvGrpSpPr>
        <p:grpSpPr>
          <a:xfrm>
            <a:off x="1004245" y="2980472"/>
            <a:ext cx="104169" cy="118642"/>
            <a:chOff x="2835338" y="2123911"/>
            <a:chExt cx="385843" cy="439453"/>
          </a:xfrm>
        </p:grpSpPr>
        <p:sp>
          <p:nvSpPr>
            <p:cNvPr id="19" name="Rectangle à coins arrondis 35">
              <a:extLst>
                <a:ext uri="{FF2B5EF4-FFF2-40B4-BE49-F238E27FC236}">
                  <a16:creationId xmlns:a16="http://schemas.microsoft.com/office/drawing/2014/main" xmlns="" id="{B64DCF3A-9EB9-45E4-BF5F-E88D9C77D604}"/>
                </a:ext>
              </a:extLst>
            </p:cNvPr>
            <p:cNvSpPr/>
            <p:nvPr/>
          </p:nvSpPr>
          <p:spPr>
            <a:xfrm rot="18900000">
              <a:off x="2835338" y="2436399"/>
              <a:ext cx="385843" cy="12696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" name="Rectangle à coins arrondis 36">
              <a:extLst>
                <a:ext uri="{FF2B5EF4-FFF2-40B4-BE49-F238E27FC236}">
                  <a16:creationId xmlns:a16="http://schemas.microsoft.com/office/drawing/2014/main" xmlns="" id="{DC889B7F-C56F-4167-B694-639F39301361}"/>
                </a:ext>
              </a:extLst>
            </p:cNvPr>
            <p:cNvSpPr/>
            <p:nvPr/>
          </p:nvSpPr>
          <p:spPr>
            <a:xfrm rot="2700000">
              <a:off x="2835336" y="2253349"/>
              <a:ext cx="385841" cy="12696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  <p:sp>
        <p:nvSpPr>
          <p:cNvPr id="21" name="TextBox 179">
            <a:extLst>
              <a:ext uri="{FF2B5EF4-FFF2-40B4-BE49-F238E27FC236}">
                <a16:creationId xmlns:a16="http://schemas.microsoft.com/office/drawing/2014/main" xmlns="" id="{BE5E332C-EB9B-476B-889A-5E43FE68046E}"/>
              </a:ext>
            </a:extLst>
          </p:cNvPr>
          <p:cNvSpPr txBox="1">
            <a:spLocks/>
          </p:cNvSpPr>
          <p:nvPr/>
        </p:nvSpPr>
        <p:spPr>
          <a:xfrm>
            <a:off x="7029947" y="2246463"/>
            <a:ext cx="1672729" cy="22721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Title 3</a:t>
            </a:r>
          </a:p>
        </p:txBody>
      </p:sp>
      <p:sp>
        <p:nvSpPr>
          <p:cNvPr id="22" name="TextBox 180">
            <a:extLst>
              <a:ext uri="{FF2B5EF4-FFF2-40B4-BE49-F238E27FC236}">
                <a16:creationId xmlns:a16="http://schemas.microsoft.com/office/drawing/2014/main" xmlns="" id="{605943C0-B82A-4ED8-A596-E39E45089D85}"/>
              </a:ext>
            </a:extLst>
          </p:cNvPr>
          <p:cNvSpPr txBox="1">
            <a:spLocks/>
          </p:cNvSpPr>
          <p:nvPr/>
        </p:nvSpPr>
        <p:spPr>
          <a:xfrm>
            <a:off x="3266646" y="2262904"/>
            <a:ext cx="1672729" cy="22721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Title 2</a:t>
            </a:r>
          </a:p>
        </p:txBody>
      </p:sp>
      <p:sp>
        <p:nvSpPr>
          <p:cNvPr id="23" name="TextBox 181">
            <a:extLst>
              <a:ext uri="{FF2B5EF4-FFF2-40B4-BE49-F238E27FC236}">
                <a16:creationId xmlns:a16="http://schemas.microsoft.com/office/drawing/2014/main" xmlns="" id="{9FCABDD0-DFA1-426E-B726-441F30885DC0}"/>
              </a:ext>
            </a:extLst>
          </p:cNvPr>
          <p:cNvSpPr txBox="1">
            <a:spLocks/>
          </p:cNvSpPr>
          <p:nvPr/>
        </p:nvSpPr>
        <p:spPr>
          <a:xfrm>
            <a:off x="1391072" y="2246463"/>
            <a:ext cx="1672729" cy="22721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Title 1</a:t>
            </a:r>
          </a:p>
        </p:txBody>
      </p:sp>
      <p:sp>
        <p:nvSpPr>
          <p:cNvPr id="24" name="TextBox 182">
            <a:extLst>
              <a:ext uri="{FF2B5EF4-FFF2-40B4-BE49-F238E27FC236}">
                <a16:creationId xmlns:a16="http://schemas.microsoft.com/office/drawing/2014/main" xmlns="" id="{3B52B9B4-3F71-4137-804E-B3CFE152116B}"/>
              </a:ext>
            </a:extLst>
          </p:cNvPr>
          <p:cNvSpPr txBox="1">
            <a:spLocks/>
          </p:cNvSpPr>
          <p:nvPr/>
        </p:nvSpPr>
        <p:spPr>
          <a:xfrm>
            <a:off x="5142220" y="2262904"/>
            <a:ext cx="1704878" cy="22721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Title 3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xmlns="" id="{A09CF597-38C0-4391-A52C-1F647F1DB0C0}"/>
              </a:ext>
            </a:extLst>
          </p:cNvPr>
          <p:cNvSpPr txBox="1"/>
          <p:nvPr/>
        </p:nvSpPr>
        <p:spPr>
          <a:xfrm>
            <a:off x="605089" y="4442891"/>
            <a:ext cx="396262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fr-FR"/>
            </a:defPPr>
            <a:lvl1pPr algn="r">
              <a:defRPr sz="800" b="1" cap="all"/>
            </a:lvl1pPr>
          </a:lstStyle>
          <a:p>
            <a:r>
              <a:rPr lang="fr-FR" dirty="0" err="1"/>
              <a:t>Text</a:t>
            </a:r>
            <a:endParaRPr lang="fr-FR" dirty="0"/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xmlns="" id="{2007EDC4-36FF-4B9E-90D8-BE904666E7B2}"/>
              </a:ext>
            </a:extLst>
          </p:cNvPr>
          <p:cNvGrpSpPr/>
          <p:nvPr/>
        </p:nvGrpSpPr>
        <p:grpSpPr>
          <a:xfrm>
            <a:off x="1004245" y="4466953"/>
            <a:ext cx="104169" cy="118642"/>
            <a:chOff x="2835338" y="2123911"/>
            <a:chExt cx="385843" cy="439453"/>
          </a:xfrm>
        </p:grpSpPr>
        <p:sp>
          <p:nvSpPr>
            <p:cNvPr id="27" name="Rectangle à coins arrondis 35">
              <a:extLst>
                <a:ext uri="{FF2B5EF4-FFF2-40B4-BE49-F238E27FC236}">
                  <a16:creationId xmlns:a16="http://schemas.microsoft.com/office/drawing/2014/main" xmlns="" id="{A787A887-E101-4A5E-AE70-2FF1343EFC81}"/>
                </a:ext>
              </a:extLst>
            </p:cNvPr>
            <p:cNvSpPr/>
            <p:nvPr/>
          </p:nvSpPr>
          <p:spPr>
            <a:xfrm rot="18900000">
              <a:off x="2835338" y="2436399"/>
              <a:ext cx="385843" cy="12696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" name="Rectangle à coins arrondis 36">
              <a:extLst>
                <a:ext uri="{FF2B5EF4-FFF2-40B4-BE49-F238E27FC236}">
                  <a16:creationId xmlns:a16="http://schemas.microsoft.com/office/drawing/2014/main" xmlns="" id="{30029CE8-8F87-429F-8A2F-D5A70925DEE4}"/>
                </a:ext>
              </a:extLst>
            </p:cNvPr>
            <p:cNvSpPr/>
            <p:nvPr/>
          </p:nvSpPr>
          <p:spPr>
            <a:xfrm rot="2700000">
              <a:off x="2835336" y="2253349"/>
              <a:ext cx="385841" cy="12696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  <p:sp>
        <p:nvSpPr>
          <p:cNvPr id="29" name="TextBox 179">
            <a:extLst>
              <a:ext uri="{FF2B5EF4-FFF2-40B4-BE49-F238E27FC236}">
                <a16:creationId xmlns:a16="http://schemas.microsoft.com/office/drawing/2014/main" xmlns="" id="{5DFBFF03-13E7-4B90-9E6C-4DC5945CF861}"/>
              </a:ext>
            </a:extLst>
          </p:cNvPr>
          <p:cNvSpPr txBox="1">
            <a:spLocks/>
          </p:cNvSpPr>
          <p:nvPr/>
        </p:nvSpPr>
        <p:spPr>
          <a:xfrm>
            <a:off x="1403649" y="5476726"/>
            <a:ext cx="7299028" cy="25967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tIns="0" bIns="0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Lorem ipsum dolor sit </a:t>
            </a:r>
            <a:r>
              <a:rPr lang="en-US" sz="1200" b="1" dirty="0" err="1">
                <a:solidFill>
                  <a:schemeClr val="bg1"/>
                </a:solidFill>
              </a:rPr>
              <a:t>amet</a:t>
            </a:r>
            <a:r>
              <a:rPr lang="en-US" sz="1200" b="1" dirty="0">
                <a:solidFill>
                  <a:schemeClr val="bg1"/>
                </a:solidFill>
              </a:rPr>
              <a:t>, </a:t>
            </a:r>
            <a:r>
              <a:rPr lang="en-US" sz="1200" b="1" dirty="0" err="1">
                <a:solidFill>
                  <a:schemeClr val="bg1"/>
                </a:solidFill>
              </a:rPr>
              <a:t>consectetur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adipiscing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elit</a:t>
            </a:r>
            <a:r>
              <a:rPr lang="en-US" sz="1200" b="1" dirty="0">
                <a:solidFill>
                  <a:schemeClr val="bg1"/>
                </a:solidFill>
              </a:rPr>
              <a:t>, </a:t>
            </a:r>
            <a:r>
              <a:rPr lang="en-US" sz="1200" b="1" dirty="0" err="1">
                <a:solidFill>
                  <a:schemeClr val="bg1"/>
                </a:solidFill>
              </a:rPr>
              <a:t>sed</a:t>
            </a:r>
            <a:r>
              <a:rPr lang="en-US" sz="1200" b="1" dirty="0">
                <a:solidFill>
                  <a:schemeClr val="bg1"/>
                </a:solidFill>
              </a:rPr>
              <a:t> do </a:t>
            </a:r>
            <a:r>
              <a:rPr lang="en-US" sz="1200" b="1" dirty="0" err="1">
                <a:solidFill>
                  <a:schemeClr val="bg1"/>
                </a:solidFill>
              </a:rPr>
              <a:t>eiusmod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tempor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incididunt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xmlns="" id="{5C0AD4D2-5189-442C-B9E1-9C6075ACDC46}"/>
              </a:ext>
            </a:extLst>
          </p:cNvPr>
          <p:cNvCxnSpPr/>
          <p:nvPr/>
        </p:nvCxnSpPr>
        <p:spPr>
          <a:xfrm flipH="1">
            <a:off x="1381125" y="3762885"/>
            <a:ext cx="33147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xmlns="" id="{95D4E49B-98F4-4D37-88A4-17E6BBE53E15}"/>
              </a:ext>
            </a:extLst>
          </p:cNvPr>
          <p:cNvCxnSpPr>
            <a:cxnSpLocks/>
          </p:cNvCxnSpPr>
          <p:nvPr/>
        </p:nvCxnSpPr>
        <p:spPr>
          <a:xfrm flipH="1">
            <a:off x="5220073" y="3762885"/>
            <a:ext cx="345390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91E7AF5-4514-43D1-9477-2214233F7D1E}"/>
              </a:ext>
            </a:extLst>
          </p:cNvPr>
          <p:cNvSpPr/>
          <p:nvPr/>
        </p:nvSpPr>
        <p:spPr>
          <a:xfrm>
            <a:off x="1419224" y="2644762"/>
            <a:ext cx="16423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/>
              <a:t>Lorem ipsum dolor </a:t>
            </a:r>
          </a:p>
          <a:p>
            <a:r>
              <a:rPr lang="en-US" sz="1000" dirty="0"/>
              <a:t>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r>
              <a:rPr lang="en-US" sz="1000" dirty="0"/>
              <a:t>, </a:t>
            </a:r>
            <a:r>
              <a:rPr lang="en-US" sz="1000" dirty="0" err="1"/>
              <a:t>sed</a:t>
            </a:r>
            <a:r>
              <a:rPr lang="en-US" sz="1000" dirty="0"/>
              <a:t> do </a:t>
            </a:r>
            <a:r>
              <a:rPr lang="en-US" sz="1000" dirty="0" err="1"/>
              <a:t>eiusmod</a:t>
            </a:r>
            <a:r>
              <a:rPr lang="en-US" sz="1000" dirty="0"/>
              <a:t> </a:t>
            </a:r>
            <a:r>
              <a:rPr lang="en-US" sz="1000" dirty="0" err="1"/>
              <a:t>tempor</a:t>
            </a:r>
            <a:r>
              <a:rPr lang="en-US" sz="1000" dirty="0"/>
              <a:t> </a:t>
            </a:r>
            <a:r>
              <a:rPr lang="en-US" sz="1000" dirty="0" err="1"/>
              <a:t>incididunt</a:t>
            </a:r>
            <a:r>
              <a:rPr lang="en-US" sz="1000" dirty="0"/>
              <a:t> </a:t>
            </a:r>
            <a:r>
              <a:rPr lang="en-US" sz="1000" dirty="0" err="1"/>
              <a:t>ut</a:t>
            </a:r>
            <a:r>
              <a:rPr lang="en-US" sz="1000" dirty="0"/>
              <a:t> </a:t>
            </a:r>
            <a:r>
              <a:rPr lang="en-US" sz="1000" dirty="0" err="1"/>
              <a:t>labore</a:t>
            </a:r>
            <a:r>
              <a:rPr lang="en-US" sz="1000" dirty="0"/>
              <a:t> et dolore magna </a:t>
            </a:r>
            <a:r>
              <a:rPr lang="en-US" sz="1000" dirty="0" err="1"/>
              <a:t>aliqua</a:t>
            </a:r>
            <a:endParaRPr lang="en-US" sz="10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1BD3F23B-5E8E-4EF0-9783-1F582A48541D}"/>
              </a:ext>
            </a:extLst>
          </p:cNvPr>
          <p:cNvSpPr/>
          <p:nvPr/>
        </p:nvSpPr>
        <p:spPr>
          <a:xfrm>
            <a:off x="3267086" y="2644762"/>
            <a:ext cx="162466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/>
              <a:t>Ut </a:t>
            </a:r>
            <a:r>
              <a:rPr lang="en-US" sz="1000" b="1" dirty="0" err="1"/>
              <a:t>enim</a:t>
            </a:r>
            <a:r>
              <a:rPr lang="en-US" sz="1000" b="1" dirty="0"/>
              <a:t> ad minim </a:t>
            </a:r>
            <a:r>
              <a:rPr lang="en-US" sz="1000" dirty="0" err="1"/>
              <a:t>veniam</a:t>
            </a:r>
            <a:r>
              <a:rPr lang="en-US" sz="1000" dirty="0"/>
              <a:t>, </a:t>
            </a:r>
            <a:r>
              <a:rPr lang="en-US" sz="1000" dirty="0" err="1"/>
              <a:t>quis</a:t>
            </a:r>
            <a:r>
              <a:rPr lang="en-US" sz="1000" dirty="0"/>
              <a:t> </a:t>
            </a:r>
            <a:r>
              <a:rPr lang="en-US" sz="1000" dirty="0" err="1"/>
              <a:t>nostrud</a:t>
            </a:r>
            <a:r>
              <a:rPr lang="en-US" sz="1000" dirty="0"/>
              <a:t> exercitation </a:t>
            </a:r>
            <a:r>
              <a:rPr lang="en-US" sz="1000" dirty="0" err="1"/>
              <a:t>ullamco</a:t>
            </a:r>
            <a:r>
              <a:rPr lang="en-US" sz="1000" dirty="0"/>
              <a:t> </a:t>
            </a:r>
            <a:r>
              <a:rPr lang="en-US" sz="1000" dirty="0" err="1"/>
              <a:t>laboris</a:t>
            </a:r>
            <a:r>
              <a:rPr lang="en-US" sz="1000" dirty="0"/>
              <a:t> nisi </a:t>
            </a:r>
            <a:r>
              <a:rPr lang="en-US" sz="1000" dirty="0" err="1"/>
              <a:t>ut</a:t>
            </a:r>
            <a:r>
              <a:rPr lang="en-US" sz="1000" dirty="0"/>
              <a:t> </a:t>
            </a:r>
            <a:r>
              <a:rPr lang="en-US" sz="1000" dirty="0" err="1"/>
              <a:t>aliquip</a:t>
            </a:r>
            <a:r>
              <a:rPr lang="en-US" sz="1000" dirty="0"/>
              <a:t> ex </a:t>
            </a:r>
            <a:r>
              <a:rPr lang="en-US" sz="1000" dirty="0" err="1"/>
              <a:t>ea</a:t>
            </a:r>
            <a:r>
              <a:rPr lang="en-US" sz="1000" dirty="0"/>
              <a:t> </a:t>
            </a:r>
            <a:r>
              <a:rPr lang="en-US" sz="1000" dirty="0" err="1"/>
              <a:t>commodo</a:t>
            </a:r>
            <a:r>
              <a:rPr lang="en-US" sz="1000" dirty="0"/>
              <a:t> </a:t>
            </a:r>
            <a:r>
              <a:rPr lang="en-US" sz="1000" dirty="0" err="1"/>
              <a:t>consequat</a:t>
            </a:r>
            <a:endParaRPr lang="en-US" sz="1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BD846EA5-BE43-409A-A22B-85EE7E8E33E1}"/>
              </a:ext>
            </a:extLst>
          </p:cNvPr>
          <p:cNvSpPr/>
          <p:nvPr/>
        </p:nvSpPr>
        <p:spPr>
          <a:xfrm>
            <a:off x="5114084" y="2654287"/>
            <a:ext cx="1780685" cy="874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 err="1"/>
              <a:t>Excepteur</a:t>
            </a:r>
            <a:r>
              <a:rPr lang="en-US" sz="1000" b="1" dirty="0"/>
              <a:t> </a:t>
            </a:r>
            <a:r>
              <a:rPr lang="en-US" sz="1000" b="1" dirty="0" err="1"/>
              <a:t>sint</a:t>
            </a:r>
            <a:r>
              <a:rPr lang="en-US" sz="1000" b="1" dirty="0"/>
              <a:t> </a:t>
            </a:r>
            <a:r>
              <a:rPr lang="en-US" sz="1000" b="1" dirty="0" err="1"/>
              <a:t>occaecat</a:t>
            </a:r>
            <a:r>
              <a:rPr lang="en-US" sz="1000" b="1" dirty="0"/>
              <a:t> </a:t>
            </a:r>
            <a:r>
              <a:rPr lang="en-US" sz="1000" dirty="0" err="1"/>
              <a:t>cupidatat</a:t>
            </a:r>
            <a:r>
              <a:rPr lang="en-US" sz="1000" dirty="0"/>
              <a:t> non </a:t>
            </a:r>
            <a:r>
              <a:rPr lang="en-US" sz="1000" dirty="0" err="1"/>
              <a:t>proident</a:t>
            </a:r>
            <a:r>
              <a:rPr lang="en-US" sz="1000" dirty="0"/>
              <a:t>, </a:t>
            </a:r>
            <a:r>
              <a:rPr lang="en-US" sz="1000" dirty="0" err="1"/>
              <a:t>sunt</a:t>
            </a:r>
            <a:r>
              <a:rPr lang="en-US" sz="1000" dirty="0"/>
              <a:t> in culpa </a:t>
            </a:r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Qui </a:t>
            </a:r>
            <a:r>
              <a:rPr lang="en-US" sz="1000" b="1" dirty="0" err="1"/>
              <a:t>officia</a:t>
            </a:r>
            <a:r>
              <a:rPr lang="en-US" sz="1000" b="1" dirty="0"/>
              <a:t> </a:t>
            </a:r>
            <a:r>
              <a:rPr lang="en-US" sz="1000" b="1" dirty="0" err="1"/>
              <a:t>deserunt</a:t>
            </a:r>
            <a:r>
              <a:rPr lang="en-US" sz="1000" b="1" dirty="0"/>
              <a:t> </a:t>
            </a:r>
            <a:r>
              <a:rPr lang="en-US" sz="1000" dirty="0" err="1"/>
              <a:t>mollit</a:t>
            </a:r>
            <a:r>
              <a:rPr lang="en-US" sz="1000" dirty="0"/>
              <a:t> </a:t>
            </a:r>
            <a:r>
              <a:rPr lang="en-US" sz="1000" dirty="0" err="1"/>
              <a:t>anim</a:t>
            </a:r>
            <a:r>
              <a:rPr lang="en-US" sz="1000" dirty="0"/>
              <a:t> id </a:t>
            </a:r>
            <a:r>
              <a:rPr lang="en-US" sz="1000" dirty="0" err="1"/>
              <a:t>est</a:t>
            </a:r>
            <a:r>
              <a:rPr lang="en-US" sz="1000" dirty="0"/>
              <a:t> </a:t>
            </a:r>
            <a:r>
              <a:rPr lang="en-US" sz="1000" dirty="0" err="1"/>
              <a:t>laborum</a:t>
            </a:r>
            <a:endParaRPr lang="en-US" sz="1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1D07779B-C7C5-4231-9F17-D97E0308D79D}"/>
              </a:ext>
            </a:extLst>
          </p:cNvPr>
          <p:cNvSpPr/>
          <p:nvPr/>
        </p:nvSpPr>
        <p:spPr>
          <a:xfrm>
            <a:off x="1413555" y="3817098"/>
            <a:ext cx="1647989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Lorem </a:t>
            </a:r>
            <a:r>
              <a:rPr lang="en-US" sz="1000" dirty="0"/>
              <a:t>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r>
              <a:rPr lang="en-US" sz="1000" dirty="0"/>
              <a:t>, </a:t>
            </a:r>
            <a:r>
              <a:rPr lang="en-US" sz="1000" dirty="0" err="1"/>
              <a:t>sed</a:t>
            </a:r>
            <a:r>
              <a:rPr lang="en-US" sz="1000" dirty="0"/>
              <a:t> do </a:t>
            </a:r>
            <a:r>
              <a:rPr lang="en-US" sz="1000" dirty="0" err="1"/>
              <a:t>eiusmod</a:t>
            </a:r>
            <a:r>
              <a:rPr lang="en-US" sz="1000" dirty="0"/>
              <a:t> </a:t>
            </a:r>
            <a:r>
              <a:rPr lang="en-US" sz="1000" dirty="0" err="1"/>
              <a:t>tempor</a:t>
            </a:r>
            <a:endParaRPr lang="en-US" sz="1000" dirty="0"/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Incididunt</a:t>
            </a:r>
            <a:r>
              <a:rPr lang="en-US" sz="1000" dirty="0"/>
              <a:t> </a:t>
            </a:r>
            <a:r>
              <a:rPr lang="en-US" sz="1000" dirty="0" err="1"/>
              <a:t>ut</a:t>
            </a:r>
            <a:r>
              <a:rPr lang="en-US" sz="1000" dirty="0"/>
              <a:t> </a:t>
            </a:r>
            <a:r>
              <a:rPr lang="en-US" sz="1000" dirty="0" err="1"/>
              <a:t>labore</a:t>
            </a:r>
            <a:r>
              <a:rPr lang="en-US" sz="1000" dirty="0"/>
              <a:t> et dolore magna </a:t>
            </a:r>
            <a:r>
              <a:rPr lang="en-US" sz="1000" dirty="0" err="1"/>
              <a:t>aliqua</a:t>
            </a:r>
            <a:endParaRPr lang="en-US" sz="10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9F123515-C4E3-4A01-914B-8638D19DE826}"/>
              </a:ext>
            </a:extLst>
          </p:cNvPr>
          <p:cNvSpPr/>
          <p:nvPr/>
        </p:nvSpPr>
        <p:spPr>
          <a:xfrm>
            <a:off x="3208616" y="3817098"/>
            <a:ext cx="1647989" cy="1041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Excepteur</a:t>
            </a:r>
            <a:r>
              <a:rPr lang="en-US" sz="1000" dirty="0"/>
              <a:t> </a:t>
            </a:r>
            <a:r>
              <a:rPr lang="en-US" sz="1000" dirty="0" err="1"/>
              <a:t>sint</a:t>
            </a:r>
            <a:r>
              <a:rPr lang="en-US" sz="1000" dirty="0"/>
              <a:t> </a:t>
            </a:r>
            <a:r>
              <a:rPr lang="en-US" sz="1000" dirty="0" err="1"/>
              <a:t>occaecat</a:t>
            </a:r>
            <a:r>
              <a:rPr lang="en-US" sz="1000" dirty="0"/>
              <a:t> </a:t>
            </a:r>
            <a:r>
              <a:rPr lang="en-US" sz="1000" dirty="0" err="1"/>
              <a:t>cupidatat</a:t>
            </a:r>
            <a:r>
              <a:rPr lang="en-US" sz="1000" dirty="0"/>
              <a:t> non </a:t>
            </a:r>
            <a:r>
              <a:rPr lang="en-US" sz="1000" dirty="0" err="1"/>
              <a:t>proident</a:t>
            </a:r>
            <a:r>
              <a:rPr lang="en-US" sz="1000" dirty="0"/>
              <a:t>, </a:t>
            </a:r>
            <a:r>
              <a:rPr lang="en-US" sz="1000" dirty="0" err="1"/>
              <a:t>sunt</a:t>
            </a:r>
            <a:r>
              <a:rPr lang="en-US" sz="1000" dirty="0"/>
              <a:t> in culpa qui </a:t>
            </a:r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Officia</a:t>
            </a:r>
            <a:r>
              <a:rPr lang="en-US" sz="1000" dirty="0"/>
              <a:t> </a:t>
            </a:r>
            <a:r>
              <a:rPr lang="en-US" sz="1000" dirty="0" err="1"/>
              <a:t>deserunt</a:t>
            </a:r>
            <a:r>
              <a:rPr lang="en-US" sz="1000" dirty="0"/>
              <a:t> </a:t>
            </a:r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Mollit</a:t>
            </a:r>
            <a:r>
              <a:rPr lang="en-US" sz="1000" dirty="0"/>
              <a:t> </a:t>
            </a:r>
            <a:r>
              <a:rPr lang="en-US" sz="1000" dirty="0" err="1"/>
              <a:t>anim</a:t>
            </a:r>
            <a:r>
              <a:rPr lang="en-US" sz="1000" dirty="0"/>
              <a:t> id </a:t>
            </a:r>
            <a:r>
              <a:rPr lang="en-US" sz="1000" dirty="0" err="1"/>
              <a:t>est</a:t>
            </a:r>
            <a:r>
              <a:rPr lang="en-US" sz="1000" dirty="0"/>
              <a:t> </a:t>
            </a:r>
            <a:r>
              <a:rPr lang="en-US" sz="1000" dirty="0" err="1"/>
              <a:t>laborum</a:t>
            </a:r>
            <a:endParaRPr lang="en-US" sz="1000" b="1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6CE5659-B616-4295-87B5-BC21A7BADAB5}"/>
              </a:ext>
            </a:extLst>
          </p:cNvPr>
          <p:cNvSpPr/>
          <p:nvPr/>
        </p:nvSpPr>
        <p:spPr>
          <a:xfrm>
            <a:off x="5113645" y="3817098"/>
            <a:ext cx="1647989" cy="1195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b="1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endParaRPr lang="en-US" sz="1000" dirty="0"/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dirty="0" err="1"/>
              <a:t>Sed</a:t>
            </a:r>
            <a:r>
              <a:rPr lang="en-US" sz="1000" dirty="0"/>
              <a:t> do </a:t>
            </a:r>
            <a:r>
              <a:rPr lang="en-US" sz="1000" b="1" dirty="0" err="1"/>
              <a:t>eiusmod</a:t>
            </a:r>
            <a:r>
              <a:rPr lang="en-US" sz="1000" dirty="0"/>
              <a:t> </a:t>
            </a:r>
            <a:r>
              <a:rPr lang="en-US" sz="1000" dirty="0" err="1"/>
              <a:t>tempor</a:t>
            </a:r>
            <a:r>
              <a:rPr lang="en-US" sz="1000" dirty="0"/>
              <a:t> </a:t>
            </a:r>
            <a:r>
              <a:rPr lang="en-US" sz="1000" dirty="0" err="1"/>
              <a:t>incididunt</a:t>
            </a:r>
            <a:r>
              <a:rPr lang="en-US" sz="1000" dirty="0"/>
              <a:t> </a:t>
            </a:r>
            <a:r>
              <a:rPr lang="en-US" sz="1000" dirty="0" err="1"/>
              <a:t>ut</a:t>
            </a:r>
            <a:r>
              <a:rPr lang="en-US" sz="1000" dirty="0"/>
              <a:t> </a:t>
            </a:r>
            <a:r>
              <a:rPr lang="en-US" sz="1000" dirty="0" err="1"/>
              <a:t>labore</a:t>
            </a:r>
            <a:r>
              <a:rPr lang="en-US" sz="1000" dirty="0"/>
              <a:t> </a:t>
            </a:r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Dolore magna </a:t>
            </a:r>
            <a:r>
              <a:rPr lang="en-US" sz="1000" dirty="0" err="1"/>
              <a:t>aliqua</a:t>
            </a:r>
            <a:endParaRPr lang="en-US" sz="1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69C3FF0B-AA6C-4DB9-BAC2-C2A9F12D24DF}"/>
              </a:ext>
            </a:extLst>
          </p:cNvPr>
          <p:cNvSpPr/>
          <p:nvPr/>
        </p:nvSpPr>
        <p:spPr>
          <a:xfrm>
            <a:off x="7025993" y="3817098"/>
            <a:ext cx="1647989" cy="1028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r>
              <a:rPr lang="en-US" sz="1000" dirty="0"/>
              <a:t>, </a:t>
            </a:r>
            <a:r>
              <a:rPr lang="en-US" sz="1000" dirty="0" err="1"/>
              <a:t>sed</a:t>
            </a:r>
            <a:r>
              <a:rPr lang="en-US" sz="1000" dirty="0"/>
              <a:t> do </a:t>
            </a:r>
            <a:r>
              <a:rPr lang="en-US" sz="1000" dirty="0" err="1"/>
              <a:t>eiusmod</a:t>
            </a:r>
            <a:r>
              <a:rPr lang="en-US" sz="1000" dirty="0"/>
              <a:t> </a:t>
            </a:r>
            <a:r>
              <a:rPr lang="en-US" sz="1000" dirty="0" err="1"/>
              <a:t>tempor</a:t>
            </a:r>
            <a:endParaRPr lang="en-US" sz="1000" dirty="0"/>
          </a:p>
          <a:p>
            <a:pPr marL="85725" indent="-857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000" b="1" dirty="0" err="1"/>
              <a:t>Incididunt</a:t>
            </a:r>
            <a:r>
              <a:rPr lang="en-US" sz="1000" b="1" dirty="0"/>
              <a:t> </a:t>
            </a:r>
            <a:r>
              <a:rPr lang="en-US" sz="1000" dirty="0" err="1"/>
              <a:t>ut</a:t>
            </a:r>
            <a:r>
              <a:rPr lang="en-US" sz="1000" dirty="0"/>
              <a:t> </a:t>
            </a:r>
            <a:r>
              <a:rPr lang="en-US" sz="1000" dirty="0" err="1"/>
              <a:t>labore</a:t>
            </a:r>
            <a:r>
              <a:rPr lang="en-US" sz="1000" dirty="0"/>
              <a:t> et dolore magna </a:t>
            </a:r>
            <a:r>
              <a:rPr lang="en-US" sz="1000" dirty="0" err="1"/>
              <a:t>aliqu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9129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F07784B2-F361-48AA-9920-9E232F3F6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ST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BAF632D3-B239-4770-BBAF-C1AE32437B2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03D256E4-B886-4949-ABF7-AC29C3336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61F01593-EF47-463A-9975-B017CC0771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6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7" name="Rectangle : coins arrondis 28">
            <a:extLst>
              <a:ext uri="{FF2B5EF4-FFF2-40B4-BE49-F238E27FC236}">
                <a16:creationId xmlns:a16="http://schemas.microsoft.com/office/drawing/2014/main" xmlns="" id="{F10B6623-9EEA-4A1B-BDC5-623CC7FE0B04}"/>
              </a:ext>
            </a:extLst>
          </p:cNvPr>
          <p:cNvSpPr/>
          <p:nvPr/>
        </p:nvSpPr>
        <p:spPr>
          <a:xfrm>
            <a:off x="3275019" y="2328127"/>
            <a:ext cx="2593962" cy="369316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4741AB2A-045F-42E8-8BF8-3342E245991E}"/>
              </a:ext>
            </a:extLst>
          </p:cNvPr>
          <p:cNvSpPr/>
          <p:nvPr/>
        </p:nvSpPr>
        <p:spPr>
          <a:xfrm>
            <a:off x="405565" y="2359674"/>
            <a:ext cx="2593962" cy="369316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C9A874F0-7E85-412D-8DE7-A345523FD100}"/>
              </a:ext>
            </a:extLst>
          </p:cNvPr>
          <p:cNvSpPr txBox="1"/>
          <p:nvPr/>
        </p:nvSpPr>
        <p:spPr>
          <a:xfrm>
            <a:off x="1381529" y="3382869"/>
            <a:ext cx="642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2ABA931-4C2C-407A-A0C4-C1D0E355D7B3}"/>
              </a:ext>
            </a:extLst>
          </p:cNvPr>
          <p:cNvSpPr/>
          <p:nvPr/>
        </p:nvSpPr>
        <p:spPr>
          <a:xfrm>
            <a:off x="558817" y="4039618"/>
            <a:ext cx="2287459" cy="178510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xmlns="" id="{DE18155A-6F82-4F24-86D7-1E94D186AB37}"/>
              </a:ext>
            </a:extLst>
          </p:cNvPr>
          <p:cNvCxnSpPr>
            <a:cxnSpLocks/>
          </p:cNvCxnSpPr>
          <p:nvPr/>
        </p:nvCxnSpPr>
        <p:spPr>
          <a:xfrm>
            <a:off x="1523464" y="3861048"/>
            <a:ext cx="358164" cy="0"/>
          </a:xfrm>
          <a:prstGeom prst="line">
            <a:avLst/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4487D5AE-B677-4F5B-BEC9-2ABAC7C67703}"/>
              </a:ext>
            </a:extLst>
          </p:cNvPr>
          <p:cNvSpPr/>
          <p:nvPr/>
        </p:nvSpPr>
        <p:spPr>
          <a:xfrm>
            <a:off x="6144473" y="2359675"/>
            <a:ext cx="2593962" cy="36931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114331F-A418-4823-B9A0-D3548C6EB057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6" r="5466"/>
          <a:stretch/>
        </p:blipFill>
        <p:spPr>
          <a:xfrm>
            <a:off x="755076" y="2151272"/>
            <a:ext cx="1886980" cy="1059287"/>
          </a:xfrm>
          <a:prstGeom prst="roundRect">
            <a:avLst>
              <a:gd name="adj" fmla="val 16667"/>
            </a:avLst>
          </a:prstGeom>
          <a:ln w="19050">
            <a:solidFill>
              <a:schemeClr val="bg2"/>
            </a:solidFill>
          </a:ln>
          <a:effectLst/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205A1500-156D-4AC4-B358-B1F7A2A6186F}"/>
              </a:ext>
            </a:extLst>
          </p:cNvPr>
          <p:cNvSpPr txBox="1"/>
          <p:nvPr/>
        </p:nvSpPr>
        <p:spPr>
          <a:xfrm>
            <a:off x="4250983" y="3392161"/>
            <a:ext cx="642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8271D9E-01FE-4CA5-881D-2E9929F83181}"/>
              </a:ext>
            </a:extLst>
          </p:cNvPr>
          <p:cNvSpPr/>
          <p:nvPr/>
        </p:nvSpPr>
        <p:spPr>
          <a:xfrm>
            <a:off x="3428271" y="4039618"/>
            <a:ext cx="2287459" cy="178510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xmlns="" id="{52E1B938-6733-4071-9857-9B0618E63E32}"/>
              </a:ext>
            </a:extLst>
          </p:cNvPr>
          <p:cNvCxnSpPr>
            <a:cxnSpLocks/>
          </p:cNvCxnSpPr>
          <p:nvPr/>
        </p:nvCxnSpPr>
        <p:spPr>
          <a:xfrm>
            <a:off x="4392918" y="3870340"/>
            <a:ext cx="358164" cy="0"/>
          </a:xfrm>
          <a:prstGeom prst="line">
            <a:avLst/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6" descr="Businessman shouting through megaphone Free Vector">
            <a:extLst>
              <a:ext uri="{FF2B5EF4-FFF2-40B4-BE49-F238E27FC236}">
                <a16:creationId xmlns:a16="http://schemas.microsoft.com/office/drawing/2014/main" xmlns="" id="{E579A832-FA29-40C9-B926-71D8CAA79C9B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32" b="21932"/>
          <a:stretch/>
        </p:blipFill>
        <p:spPr bwMode="auto">
          <a:xfrm>
            <a:off x="3628510" y="2164078"/>
            <a:ext cx="1886980" cy="1059287"/>
          </a:xfrm>
          <a:prstGeom prst="roundRect">
            <a:avLst>
              <a:gd name="adj" fmla="val 16667"/>
            </a:avLst>
          </a:prstGeom>
          <a:ln w="19050">
            <a:solidFill>
              <a:schemeClr val="bg2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C748018D-E22A-4865-973F-1361C4540A81}"/>
              </a:ext>
            </a:extLst>
          </p:cNvPr>
          <p:cNvSpPr txBox="1"/>
          <p:nvPr/>
        </p:nvSpPr>
        <p:spPr>
          <a:xfrm>
            <a:off x="7120437" y="3392161"/>
            <a:ext cx="642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140C105-A69D-421C-9D19-09149FD1D760}"/>
              </a:ext>
            </a:extLst>
          </p:cNvPr>
          <p:cNvSpPr/>
          <p:nvPr/>
        </p:nvSpPr>
        <p:spPr>
          <a:xfrm>
            <a:off x="6297725" y="4039618"/>
            <a:ext cx="2287459" cy="178510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  <a:p>
            <a:pPr algn="ctr">
              <a:spcBef>
                <a:spcPts val="1200"/>
              </a:spcBef>
            </a:pPr>
            <a:r>
              <a:rPr lang="en-US" sz="1400" b="1" dirty="0"/>
              <a:t>Text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xmlns="" id="{F46CB562-32DE-4709-B805-5E31226F10F4}"/>
              </a:ext>
            </a:extLst>
          </p:cNvPr>
          <p:cNvCxnSpPr>
            <a:cxnSpLocks/>
          </p:cNvCxnSpPr>
          <p:nvPr/>
        </p:nvCxnSpPr>
        <p:spPr>
          <a:xfrm>
            <a:off x="7262372" y="3870340"/>
            <a:ext cx="358164" cy="0"/>
          </a:xfrm>
          <a:prstGeom prst="line">
            <a:avLst/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8" descr="Business team avatars Free Vector">
            <a:extLst>
              <a:ext uri="{FF2B5EF4-FFF2-40B4-BE49-F238E27FC236}">
                <a16:creationId xmlns:a16="http://schemas.microsoft.com/office/drawing/2014/main" xmlns="" id="{322D428A-7DBE-42DE-AAD5-6BCBA8BCB777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32" b="30832"/>
          <a:stretch/>
        </p:blipFill>
        <p:spPr bwMode="auto">
          <a:xfrm>
            <a:off x="6498759" y="2151272"/>
            <a:ext cx="1886980" cy="1059287"/>
          </a:xfrm>
          <a:prstGeom prst="roundRect">
            <a:avLst>
              <a:gd name="adj" fmla="val 16667"/>
            </a:avLst>
          </a:prstGeom>
          <a:ln w="19050">
            <a:solidFill>
              <a:schemeClr val="bg2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4680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FF0DF11-A83D-4863-BFEF-7A649247D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RAPH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4D6B6BAC-D7F4-470F-AFBF-2111D565073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612952A1-4DB9-4499-A633-EF72BEAE44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6FF5AC3-919E-4FBA-AC73-3B69C0421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7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387117AD-B8C8-43FF-AC70-9820CB9F28DB}"/>
              </a:ext>
            </a:extLst>
          </p:cNvPr>
          <p:cNvSpPr txBox="1"/>
          <p:nvPr/>
        </p:nvSpPr>
        <p:spPr>
          <a:xfrm>
            <a:off x="6618201" y="2970028"/>
            <a:ext cx="1971755" cy="24006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8550">
              <a:lnSpc>
                <a:spcPct val="80000"/>
              </a:lnSpc>
              <a:spcBef>
                <a:spcPts val="300"/>
              </a:spcBef>
              <a:buClr>
                <a:srgbClr val="E62D87"/>
              </a:buClr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Your text her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1E655163-3978-46B1-8805-4F74EDB8AAB4}"/>
              </a:ext>
            </a:extLst>
          </p:cNvPr>
          <p:cNvSpPr txBox="1"/>
          <p:nvPr/>
        </p:nvSpPr>
        <p:spPr>
          <a:xfrm>
            <a:off x="6616567" y="5027813"/>
            <a:ext cx="1971755" cy="24006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8550">
              <a:lnSpc>
                <a:spcPct val="80000"/>
              </a:lnSpc>
              <a:spcBef>
                <a:spcPts val="300"/>
              </a:spcBef>
              <a:buClr>
                <a:srgbClr val="E62D87"/>
              </a:buClr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Your text her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62D03D81-24F9-4984-B8B3-D1D19F1BC1D2}"/>
              </a:ext>
            </a:extLst>
          </p:cNvPr>
          <p:cNvSpPr txBox="1"/>
          <p:nvPr/>
        </p:nvSpPr>
        <p:spPr>
          <a:xfrm>
            <a:off x="521796" y="5027813"/>
            <a:ext cx="1971755" cy="24006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8550" algn="r">
              <a:lnSpc>
                <a:spcPct val="80000"/>
              </a:lnSpc>
              <a:spcBef>
                <a:spcPts val="300"/>
              </a:spcBef>
              <a:buClr>
                <a:srgbClr val="E62D87"/>
              </a:buClr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Your text her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188788C2-7561-452B-9E81-CE7C97DF5654}"/>
              </a:ext>
            </a:extLst>
          </p:cNvPr>
          <p:cNvSpPr txBox="1"/>
          <p:nvPr/>
        </p:nvSpPr>
        <p:spPr>
          <a:xfrm>
            <a:off x="521796" y="2933465"/>
            <a:ext cx="1971755" cy="24006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8550" algn="r">
              <a:lnSpc>
                <a:spcPct val="80000"/>
              </a:lnSpc>
              <a:spcBef>
                <a:spcPts val="300"/>
              </a:spcBef>
              <a:buClr>
                <a:srgbClr val="E62D87"/>
              </a:buClr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Your text here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xmlns="" id="{D1FB6D4E-DBAF-4734-9983-587BE10CAAAA}"/>
              </a:ext>
            </a:extLst>
          </p:cNvPr>
          <p:cNvSpPr/>
          <p:nvPr/>
        </p:nvSpPr>
        <p:spPr>
          <a:xfrm>
            <a:off x="2571885" y="2108048"/>
            <a:ext cx="1890900" cy="18909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0" rtlCol="0" anchor="ctr"/>
          <a:lstStyle/>
          <a:p>
            <a:pPr algn="ctr"/>
            <a:r>
              <a:rPr lang="en-US" sz="1600" b="1" dirty="0"/>
              <a:t>TEXT</a:t>
            </a:r>
          </a:p>
        </p:txBody>
      </p:sp>
      <p:sp>
        <p:nvSpPr>
          <p:cNvPr id="11" name="Freeform 17">
            <a:extLst>
              <a:ext uri="{FF2B5EF4-FFF2-40B4-BE49-F238E27FC236}">
                <a16:creationId xmlns:a16="http://schemas.microsoft.com/office/drawing/2014/main" xmlns="" id="{FEDCB2A6-BA1B-46CF-8229-F7AA42C8D368}"/>
              </a:ext>
            </a:extLst>
          </p:cNvPr>
          <p:cNvSpPr>
            <a:spLocks noEditPoints="1"/>
          </p:cNvSpPr>
          <p:nvPr/>
        </p:nvSpPr>
        <p:spPr bwMode="auto">
          <a:xfrm>
            <a:off x="4830853" y="2817637"/>
            <a:ext cx="474815" cy="591334"/>
          </a:xfrm>
          <a:custGeom>
            <a:avLst/>
            <a:gdLst>
              <a:gd name="T0" fmla="*/ 141 w 156"/>
              <a:gd name="T1" fmla="*/ 20 h 195"/>
              <a:gd name="T2" fmla="*/ 98 w 156"/>
              <a:gd name="T3" fmla="*/ 20 h 195"/>
              <a:gd name="T4" fmla="*/ 78 w 156"/>
              <a:gd name="T5" fmla="*/ 0 h 195"/>
              <a:gd name="T6" fmla="*/ 59 w 156"/>
              <a:gd name="T7" fmla="*/ 20 h 195"/>
              <a:gd name="T8" fmla="*/ 16 w 156"/>
              <a:gd name="T9" fmla="*/ 20 h 195"/>
              <a:gd name="T10" fmla="*/ 0 w 156"/>
              <a:gd name="T11" fmla="*/ 35 h 195"/>
              <a:gd name="T12" fmla="*/ 0 w 156"/>
              <a:gd name="T13" fmla="*/ 179 h 195"/>
              <a:gd name="T14" fmla="*/ 16 w 156"/>
              <a:gd name="T15" fmla="*/ 195 h 195"/>
              <a:gd name="T16" fmla="*/ 141 w 156"/>
              <a:gd name="T17" fmla="*/ 195 h 195"/>
              <a:gd name="T18" fmla="*/ 156 w 156"/>
              <a:gd name="T19" fmla="*/ 179 h 195"/>
              <a:gd name="T20" fmla="*/ 156 w 156"/>
              <a:gd name="T21" fmla="*/ 35 h 195"/>
              <a:gd name="T22" fmla="*/ 141 w 156"/>
              <a:gd name="T23" fmla="*/ 20 h 195"/>
              <a:gd name="T24" fmla="*/ 78 w 156"/>
              <a:gd name="T25" fmla="*/ 8 h 195"/>
              <a:gd name="T26" fmla="*/ 90 w 156"/>
              <a:gd name="T27" fmla="*/ 20 h 195"/>
              <a:gd name="T28" fmla="*/ 67 w 156"/>
              <a:gd name="T29" fmla="*/ 20 h 195"/>
              <a:gd name="T30" fmla="*/ 78 w 156"/>
              <a:gd name="T31" fmla="*/ 8 h 195"/>
              <a:gd name="T32" fmla="*/ 51 w 156"/>
              <a:gd name="T33" fmla="*/ 27 h 195"/>
              <a:gd name="T34" fmla="*/ 105 w 156"/>
              <a:gd name="T35" fmla="*/ 27 h 195"/>
              <a:gd name="T36" fmla="*/ 105 w 156"/>
              <a:gd name="T37" fmla="*/ 35 h 195"/>
              <a:gd name="T38" fmla="*/ 98 w 156"/>
              <a:gd name="T39" fmla="*/ 43 h 195"/>
              <a:gd name="T40" fmla="*/ 59 w 156"/>
              <a:gd name="T41" fmla="*/ 43 h 195"/>
              <a:gd name="T42" fmla="*/ 51 w 156"/>
              <a:gd name="T43" fmla="*/ 35 h 195"/>
              <a:gd name="T44" fmla="*/ 51 w 156"/>
              <a:gd name="T45" fmla="*/ 27 h 195"/>
              <a:gd name="T46" fmla="*/ 148 w 156"/>
              <a:gd name="T47" fmla="*/ 179 h 195"/>
              <a:gd name="T48" fmla="*/ 141 w 156"/>
              <a:gd name="T49" fmla="*/ 187 h 195"/>
              <a:gd name="T50" fmla="*/ 123 w 156"/>
              <a:gd name="T51" fmla="*/ 187 h 195"/>
              <a:gd name="T52" fmla="*/ 148 w 156"/>
              <a:gd name="T53" fmla="*/ 162 h 195"/>
              <a:gd name="T54" fmla="*/ 148 w 156"/>
              <a:gd name="T55" fmla="*/ 179 h 195"/>
              <a:gd name="T56" fmla="*/ 117 w 156"/>
              <a:gd name="T57" fmla="*/ 182 h 195"/>
              <a:gd name="T58" fmla="*/ 117 w 156"/>
              <a:gd name="T59" fmla="*/ 160 h 195"/>
              <a:gd name="T60" fmla="*/ 121 w 156"/>
              <a:gd name="T61" fmla="*/ 156 h 195"/>
              <a:gd name="T62" fmla="*/ 143 w 156"/>
              <a:gd name="T63" fmla="*/ 156 h 195"/>
              <a:gd name="T64" fmla="*/ 117 w 156"/>
              <a:gd name="T65" fmla="*/ 182 h 195"/>
              <a:gd name="T66" fmla="*/ 148 w 156"/>
              <a:gd name="T67" fmla="*/ 148 h 195"/>
              <a:gd name="T68" fmla="*/ 121 w 156"/>
              <a:gd name="T69" fmla="*/ 148 h 195"/>
              <a:gd name="T70" fmla="*/ 109 w 156"/>
              <a:gd name="T71" fmla="*/ 160 h 195"/>
              <a:gd name="T72" fmla="*/ 109 w 156"/>
              <a:gd name="T73" fmla="*/ 187 h 195"/>
              <a:gd name="T74" fmla="*/ 16 w 156"/>
              <a:gd name="T75" fmla="*/ 187 h 195"/>
              <a:gd name="T76" fmla="*/ 8 w 156"/>
              <a:gd name="T77" fmla="*/ 179 h 195"/>
              <a:gd name="T78" fmla="*/ 8 w 156"/>
              <a:gd name="T79" fmla="*/ 35 h 195"/>
              <a:gd name="T80" fmla="*/ 16 w 156"/>
              <a:gd name="T81" fmla="*/ 27 h 195"/>
              <a:gd name="T82" fmla="*/ 43 w 156"/>
              <a:gd name="T83" fmla="*/ 27 h 195"/>
              <a:gd name="T84" fmla="*/ 43 w 156"/>
              <a:gd name="T85" fmla="*/ 35 h 195"/>
              <a:gd name="T86" fmla="*/ 59 w 156"/>
              <a:gd name="T87" fmla="*/ 51 h 195"/>
              <a:gd name="T88" fmla="*/ 98 w 156"/>
              <a:gd name="T89" fmla="*/ 51 h 195"/>
              <a:gd name="T90" fmla="*/ 113 w 156"/>
              <a:gd name="T91" fmla="*/ 35 h 195"/>
              <a:gd name="T92" fmla="*/ 113 w 156"/>
              <a:gd name="T93" fmla="*/ 27 h 195"/>
              <a:gd name="T94" fmla="*/ 141 w 156"/>
              <a:gd name="T95" fmla="*/ 27 h 195"/>
              <a:gd name="T96" fmla="*/ 148 w 156"/>
              <a:gd name="T97" fmla="*/ 35 h 195"/>
              <a:gd name="T98" fmla="*/ 148 w 156"/>
              <a:gd name="T99" fmla="*/ 148 h 195"/>
              <a:gd name="T100" fmla="*/ 114 w 156"/>
              <a:gd name="T101" fmla="*/ 75 h 195"/>
              <a:gd name="T102" fmla="*/ 70 w 156"/>
              <a:gd name="T103" fmla="*/ 119 h 195"/>
              <a:gd name="T104" fmla="*/ 50 w 156"/>
              <a:gd name="T105" fmla="*/ 99 h 195"/>
              <a:gd name="T106" fmla="*/ 44 w 156"/>
              <a:gd name="T107" fmla="*/ 99 h 195"/>
              <a:gd name="T108" fmla="*/ 44 w 156"/>
              <a:gd name="T109" fmla="*/ 104 h 195"/>
              <a:gd name="T110" fmla="*/ 68 w 156"/>
              <a:gd name="T111" fmla="*/ 128 h 195"/>
              <a:gd name="T112" fmla="*/ 70 w 156"/>
              <a:gd name="T113" fmla="*/ 129 h 195"/>
              <a:gd name="T114" fmla="*/ 73 w 156"/>
              <a:gd name="T115" fmla="*/ 128 h 195"/>
              <a:gd name="T116" fmla="*/ 120 w 156"/>
              <a:gd name="T117" fmla="*/ 81 h 195"/>
              <a:gd name="T118" fmla="*/ 120 w 156"/>
              <a:gd name="T119" fmla="*/ 75 h 195"/>
              <a:gd name="T120" fmla="*/ 114 w 156"/>
              <a:gd name="T121" fmla="*/ 75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6" h="195">
                <a:moveTo>
                  <a:pt x="141" y="20"/>
                </a:moveTo>
                <a:cubicBezTo>
                  <a:pt x="98" y="20"/>
                  <a:pt x="98" y="20"/>
                  <a:pt x="98" y="20"/>
                </a:cubicBezTo>
                <a:cubicBezTo>
                  <a:pt x="98" y="9"/>
                  <a:pt x="89" y="0"/>
                  <a:pt x="78" y="0"/>
                </a:cubicBezTo>
                <a:cubicBezTo>
                  <a:pt x="67" y="0"/>
                  <a:pt x="59" y="9"/>
                  <a:pt x="59" y="20"/>
                </a:cubicBezTo>
                <a:cubicBezTo>
                  <a:pt x="16" y="20"/>
                  <a:pt x="16" y="20"/>
                  <a:pt x="16" y="20"/>
                </a:cubicBezTo>
                <a:cubicBezTo>
                  <a:pt x="7" y="20"/>
                  <a:pt x="0" y="27"/>
                  <a:pt x="0" y="35"/>
                </a:cubicBezTo>
                <a:cubicBezTo>
                  <a:pt x="0" y="179"/>
                  <a:pt x="0" y="179"/>
                  <a:pt x="0" y="179"/>
                </a:cubicBezTo>
                <a:cubicBezTo>
                  <a:pt x="0" y="188"/>
                  <a:pt x="7" y="195"/>
                  <a:pt x="16" y="195"/>
                </a:cubicBezTo>
                <a:cubicBezTo>
                  <a:pt x="141" y="195"/>
                  <a:pt x="141" y="195"/>
                  <a:pt x="141" y="195"/>
                </a:cubicBezTo>
                <a:cubicBezTo>
                  <a:pt x="149" y="195"/>
                  <a:pt x="156" y="188"/>
                  <a:pt x="156" y="179"/>
                </a:cubicBezTo>
                <a:cubicBezTo>
                  <a:pt x="156" y="35"/>
                  <a:pt x="156" y="35"/>
                  <a:pt x="156" y="35"/>
                </a:cubicBezTo>
                <a:cubicBezTo>
                  <a:pt x="156" y="27"/>
                  <a:pt x="149" y="20"/>
                  <a:pt x="141" y="20"/>
                </a:cubicBezTo>
                <a:close/>
                <a:moveTo>
                  <a:pt x="78" y="8"/>
                </a:moveTo>
                <a:cubicBezTo>
                  <a:pt x="85" y="8"/>
                  <a:pt x="90" y="13"/>
                  <a:pt x="90" y="20"/>
                </a:cubicBezTo>
                <a:cubicBezTo>
                  <a:pt x="67" y="20"/>
                  <a:pt x="67" y="20"/>
                  <a:pt x="67" y="20"/>
                </a:cubicBezTo>
                <a:cubicBezTo>
                  <a:pt x="67" y="13"/>
                  <a:pt x="72" y="8"/>
                  <a:pt x="78" y="8"/>
                </a:cubicBezTo>
                <a:close/>
                <a:moveTo>
                  <a:pt x="51" y="27"/>
                </a:moveTo>
                <a:cubicBezTo>
                  <a:pt x="105" y="27"/>
                  <a:pt x="105" y="27"/>
                  <a:pt x="105" y="27"/>
                </a:cubicBezTo>
                <a:cubicBezTo>
                  <a:pt x="105" y="35"/>
                  <a:pt x="105" y="35"/>
                  <a:pt x="105" y="35"/>
                </a:cubicBezTo>
                <a:cubicBezTo>
                  <a:pt x="105" y="40"/>
                  <a:pt x="102" y="43"/>
                  <a:pt x="98" y="43"/>
                </a:cubicBezTo>
                <a:cubicBezTo>
                  <a:pt x="59" y="43"/>
                  <a:pt x="59" y="43"/>
                  <a:pt x="59" y="43"/>
                </a:cubicBezTo>
                <a:cubicBezTo>
                  <a:pt x="54" y="43"/>
                  <a:pt x="51" y="40"/>
                  <a:pt x="51" y="35"/>
                </a:cubicBezTo>
                <a:lnTo>
                  <a:pt x="51" y="27"/>
                </a:lnTo>
                <a:close/>
                <a:moveTo>
                  <a:pt x="148" y="179"/>
                </a:moveTo>
                <a:cubicBezTo>
                  <a:pt x="148" y="184"/>
                  <a:pt x="145" y="187"/>
                  <a:pt x="141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48" y="162"/>
                  <a:pt x="148" y="162"/>
                  <a:pt x="148" y="162"/>
                </a:cubicBezTo>
                <a:lnTo>
                  <a:pt x="148" y="179"/>
                </a:lnTo>
                <a:close/>
                <a:moveTo>
                  <a:pt x="117" y="182"/>
                </a:moveTo>
                <a:cubicBezTo>
                  <a:pt x="117" y="160"/>
                  <a:pt x="117" y="160"/>
                  <a:pt x="117" y="160"/>
                </a:cubicBezTo>
                <a:cubicBezTo>
                  <a:pt x="117" y="158"/>
                  <a:pt x="119" y="156"/>
                  <a:pt x="121" y="156"/>
                </a:cubicBezTo>
                <a:cubicBezTo>
                  <a:pt x="143" y="156"/>
                  <a:pt x="143" y="156"/>
                  <a:pt x="143" y="156"/>
                </a:cubicBezTo>
                <a:lnTo>
                  <a:pt x="117" y="182"/>
                </a:lnTo>
                <a:close/>
                <a:moveTo>
                  <a:pt x="148" y="148"/>
                </a:moveTo>
                <a:cubicBezTo>
                  <a:pt x="121" y="148"/>
                  <a:pt x="121" y="148"/>
                  <a:pt x="121" y="148"/>
                </a:cubicBezTo>
                <a:cubicBezTo>
                  <a:pt x="115" y="148"/>
                  <a:pt x="109" y="153"/>
                  <a:pt x="109" y="160"/>
                </a:cubicBezTo>
                <a:cubicBezTo>
                  <a:pt x="109" y="187"/>
                  <a:pt x="109" y="187"/>
                  <a:pt x="109" y="187"/>
                </a:cubicBezTo>
                <a:cubicBezTo>
                  <a:pt x="16" y="187"/>
                  <a:pt x="16" y="187"/>
                  <a:pt x="16" y="187"/>
                </a:cubicBezTo>
                <a:cubicBezTo>
                  <a:pt x="12" y="187"/>
                  <a:pt x="8" y="184"/>
                  <a:pt x="8" y="179"/>
                </a:cubicBezTo>
                <a:cubicBezTo>
                  <a:pt x="8" y="35"/>
                  <a:pt x="8" y="35"/>
                  <a:pt x="8" y="35"/>
                </a:cubicBezTo>
                <a:cubicBezTo>
                  <a:pt x="8" y="31"/>
                  <a:pt x="12" y="27"/>
                  <a:pt x="16" y="27"/>
                </a:cubicBezTo>
                <a:cubicBezTo>
                  <a:pt x="43" y="27"/>
                  <a:pt x="43" y="27"/>
                  <a:pt x="43" y="27"/>
                </a:cubicBezTo>
                <a:cubicBezTo>
                  <a:pt x="43" y="35"/>
                  <a:pt x="43" y="35"/>
                  <a:pt x="43" y="35"/>
                </a:cubicBezTo>
                <a:cubicBezTo>
                  <a:pt x="43" y="44"/>
                  <a:pt x="50" y="51"/>
                  <a:pt x="59" y="51"/>
                </a:cubicBezTo>
                <a:cubicBezTo>
                  <a:pt x="98" y="51"/>
                  <a:pt x="98" y="51"/>
                  <a:pt x="98" y="51"/>
                </a:cubicBezTo>
                <a:cubicBezTo>
                  <a:pt x="106" y="51"/>
                  <a:pt x="113" y="44"/>
                  <a:pt x="113" y="35"/>
                </a:cubicBezTo>
                <a:cubicBezTo>
                  <a:pt x="113" y="27"/>
                  <a:pt x="113" y="27"/>
                  <a:pt x="113" y="27"/>
                </a:cubicBezTo>
                <a:cubicBezTo>
                  <a:pt x="141" y="27"/>
                  <a:pt x="141" y="27"/>
                  <a:pt x="141" y="27"/>
                </a:cubicBezTo>
                <a:cubicBezTo>
                  <a:pt x="145" y="27"/>
                  <a:pt x="148" y="31"/>
                  <a:pt x="148" y="35"/>
                </a:cubicBezTo>
                <a:lnTo>
                  <a:pt x="148" y="148"/>
                </a:lnTo>
                <a:close/>
                <a:moveTo>
                  <a:pt x="114" y="75"/>
                </a:moveTo>
                <a:cubicBezTo>
                  <a:pt x="70" y="119"/>
                  <a:pt x="70" y="119"/>
                  <a:pt x="70" y="119"/>
                </a:cubicBezTo>
                <a:cubicBezTo>
                  <a:pt x="50" y="99"/>
                  <a:pt x="50" y="99"/>
                  <a:pt x="50" y="99"/>
                </a:cubicBezTo>
                <a:cubicBezTo>
                  <a:pt x="48" y="97"/>
                  <a:pt x="46" y="97"/>
                  <a:pt x="44" y="99"/>
                </a:cubicBezTo>
                <a:cubicBezTo>
                  <a:pt x="43" y="100"/>
                  <a:pt x="43" y="103"/>
                  <a:pt x="44" y="104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8"/>
                  <a:pt x="69" y="129"/>
                  <a:pt x="70" y="129"/>
                </a:cubicBezTo>
                <a:cubicBezTo>
                  <a:pt x="71" y="129"/>
                  <a:pt x="72" y="128"/>
                  <a:pt x="73" y="128"/>
                </a:cubicBezTo>
                <a:cubicBezTo>
                  <a:pt x="120" y="81"/>
                  <a:pt x="120" y="81"/>
                  <a:pt x="120" y="81"/>
                </a:cubicBezTo>
                <a:cubicBezTo>
                  <a:pt x="121" y="79"/>
                  <a:pt x="121" y="77"/>
                  <a:pt x="120" y="75"/>
                </a:cubicBezTo>
                <a:cubicBezTo>
                  <a:pt x="118" y="74"/>
                  <a:pt x="116" y="74"/>
                  <a:pt x="114" y="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xmlns="" id="{73C2D45F-172C-4D7F-B5ED-7E5C6AB62806}"/>
              </a:ext>
            </a:extLst>
          </p:cNvPr>
          <p:cNvSpPr/>
          <p:nvPr/>
        </p:nvSpPr>
        <p:spPr>
          <a:xfrm>
            <a:off x="2571885" y="4202396"/>
            <a:ext cx="1890900" cy="1890900"/>
          </a:xfrm>
          <a:prstGeom prst="roundRect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828000" rtlCol="0" anchor="ctr"/>
          <a:lstStyle/>
          <a:p>
            <a:pPr algn="ctr"/>
            <a:r>
              <a:rPr lang="en-US" sz="1600" b="1" dirty="0"/>
              <a:t>TEXT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F71069EB-4324-4128-961A-4ABD0634AF4F}"/>
              </a:ext>
            </a:extLst>
          </p:cNvPr>
          <p:cNvSpPr/>
          <p:nvPr/>
        </p:nvSpPr>
        <p:spPr>
          <a:xfrm>
            <a:off x="4651101" y="4202396"/>
            <a:ext cx="1890900" cy="18909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0" rtlCol="0" anchor="ctr"/>
          <a:lstStyle/>
          <a:p>
            <a:pPr algn="ctr"/>
            <a:r>
              <a:rPr lang="en-US" sz="1600" b="1" dirty="0"/>
              <a:t>TEX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xmlns="" id="{B31C7678-67C7-49B1-B742-BD0A64104644}"/>
              </a:ext>
            </a:extLst>
          </p:cNvPr>
          <p:cNvSpPr/>
          <p:nvPr/>
        </p:nvSpPr>
        <p:spPr>
          <a:xfrm>
            <a:off x="4651101" y="2144611"/>
            <a:ext cx="1890900" cy="18909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0" rtlCol="0" anchor="ctr"/>
          <a:lstStyle/>
          <a:p>
            <a:pPr algn="ctr"/>
            <a:r>
              <a:rPr lang="en-US" sz="1600" b="1" dirty="0"/>
              <a:t>TEXT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xmlns="" id="{F39F1BB0-08CD-47D5-8EA9-D2DE1F0FBA73}"/>
              </a:ext>
            </a:extLst>
          </p:cNvPr>
          <p:cNvGrpSpPr/>
          <p:nvPr/>
        </p:nvGrpSpPr>
        <p:grpSpPr>
          <a:xfrm>
            <a:off x="4134471" y="3702264"/>
            <a:ext cx="833376" cy="833374"/>
            <a:chOff x="4175522" y="3215719"/>
            <a:chExt cx="916320" cy="91632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xmlns="" id="{78534BE2-C989-4865-967A-F533AA26622D}"/>
                </a:ext>
              </a:extLst>
            </p:cNvPr>
            <p:cNvSpPr/>
            <p:nvPr/>
          </p:nvSpPr>
          <p:spPr>
            <a:xfrm>
              <a:off x="4175524" y="3215721"/>
              <a:ext cx="916321" cy="91632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xmlns="" id="{F11DC004-137A-4576-8758-A2AD498AE83A}"/>
                </a:ext>
              </a:extLst>
            </p:cNvPr>
            <p:cNvGrpSpPr/>
            <p:nvPr/>
          </p:nvGrpSpPr>
          <p:grpSpPr>
            <a:xfrm>
              <a:off x="4353749" y="3393946"/>
              <a:ext cx="559871" cy="559870"/>
              <a:chOff x="4365160" y="3390904"/>
              <a:chExt cx="559871" cy="559871"/>
            </a:xfrm>
          </p:grpSpPr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xmlns="" id="{50EFF6D0-A201-4F7D-9C1B-87896F694616}"/>
                  </a:ext>
                </a:extLst>
              </p:cNvPr>
              <p:cNvSpPr/>
              <p:nvPr/>
            </p:nvSpPr>
            <p:spPr>
              <a:xfrm rot="2410510">
                <a:off x="4365160" y="3390904"/>
                <a:ext cx="559871" cy="559871"/>
              </a:xfrm>
              <a:prstGeom prst="arc">
                <a:avLst>
                  <a:gd name="adj1" fmla="val 16642357"/>
                  <a:gd name="adj2" fmla="val 4175532"/>
                </a:avLst>
              </a:prstGeom>
              <a:ln w="31750" cap="rnd">
                <a:solidFill>
                  <a:schemeClr val="accent6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xmlns="" id="{18759DF2-2D77-4C19-9E1C-29C3C392713B}"/>
                  </a:ext>
                </a:extLst>
              </p:cNvPr>
              <p:cNvSpPr/>
              <p:nvPr/>
            </p:nvSpPr>
            <p:spPr>
              <a:xfrm rot="13500000">
                <a:off x="4365160" y="3390904"/>
                <a:ext cx="559871" cy="559871"/>
              </a:xfrm>
              <a:prstGeom prst="arc">
                <a:avLst>
                  <a:gd name="adj1" fmla="val 15885450"/>
                  <a:gd name="adj2" fmla="val 4175532"/>
                </a:avLst>
              </a:prstGeom>
              <a:ln w="31750" cap="rnd">
                <a:solidFill>
                  <a:schemeClr val="accent6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30" name="ZoneTexte 29">
            <a:extLst>
              <a:ext uri="{FF2B5EF4-FFF2-40B4-BE49-F238E27FC236}">
                <a16:creationId xmlns:a16="http://schemas.microsoft.com/office/drawing/2014/main" xmlns="" id="{079C0C97-0A1B-45F3-8FB6-B2046DB1C4C8}"/>
              </a:ext>
            </a:extLst>
          </p:cNvPr>
          <p:cNvSpPr txBox="1"/>
          <p:nvPr/>
        </p:nvSpPr>
        <p:spPr>
          <a:xfrm>
            <a:off x="332708" y="1418927"/>
            <a:ext cx="8478584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50000"/>
                    <a:lumOff val="50000"/>
                  </a:schemeClr>
                </a:solidFill>
              </a:rPr>
              <a:t>Your text here</a:t>
            </a:r>
            <a:endParaRPr lang="fr-FR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xmlns="" id="{4575DEF1-4FE4-444C-97B0-DD9A0B484D97}"/>
              </a:ext>
            </a:extLst>
          </p:cNvPr>
          <p:cNvGrpSpPr/>
          <p:nvPr/>
        </p:nvGrpSpPr>
        <p:grpSpPr>
          <a:xfrm>
            <a:off x="3048530" y="2509868"/>
            <a:ext cx="937611" cy="470789"/>
            <a:chOff x="5182045" y="80187"/>
            <a:chExt cx="1001432" cy="502835"/>
          </a:xfrm>
          <a:solidFill>
            <a:schemeClr val="accent2"/>
          </a:solidFill>
        </p:grpSpPr>
        <p:sp>
          <p:nvSpPr>
            <p:cNvPr id="35" name="Freeform 159">
              <a:extLst>
                <a:ext uri="{FF2B5EF4-FFF2-40B4-BE49-F238E27FC236}">
                  <a16:creationId xmlns:a16="http://schemas.microsoft.com/office/drawing/2014/main" xmlns="" id="{073206BB-174B-463F-B78E-774109788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088" y="80187"/>
              <a:ext cx="610651" cy="412224"/>
            </a:xfrm>
            <a:custGeom>
              <a:avLst/>
              <a:gdLst>
                <a:gd name="T0" fmla="*/ 1222 w 1270"/>
                <a:gd name="T1" fmla="*/ 856 h 856"/>
                <a:gd name="T2" fmla="*/ 48 w 1270"/>
                <a:gd name="T3" fmla="*/ 856 h 856"/>
                <a:gd name="T4" fmla="*/ 0 w 1270"/>
                <a:gd name="T5" fmla="*/ 808 h 856"/>
                <a:gd name="T6" fmla="*/ 0 w 1270"/>
                <a:gd name="T7" fmla="*/ 48 h 856"/>
                <a:gd name="T8" fmla="*/ 48 w 1270"/>
                <a:gd name="T9" fmla="*/ 0 h 856"/>
                <a:gd name="T10" fmla="*/ 1222 w 1270"/>
                <a:gd name="T11" fmla="*/ 0 h 856"/>
                <a:gd name="T12" fmla="*/ 1270 w 1270"/>
                <a:gd name="T13" fmla="*/ 48 h 856"/>
                <a:gd name="T14" fmla="*/ 1270 w 1270"/>
                <a:gd name="T15" fmla="*/ 808 h 856"/>
                <a:gd name="T16" fmla="*/ 1222 w 1270"/>
                <a:gd name="T17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0" h="856">
                  <a:moveTo>
                    <a:pt x="1222" y="856"/>
                  </a:moveTo>
                  <a:cubicBezTo>
                    <a:pt x="48" y="856"/>
                    <a:pt x="48" y="856"/>
                    <a:pt x="48" y="856"/>
                  </a:cubicBezTo>
                  <a:cubicBezTo>
                    <a:pt x="22" y="856"/>
                    <a:pt x="0" y="834"/>
                    <a:pt x="0" y="80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22" y="0"/>
                    <a:pt x="1222" y="0"/>
                    <a:pt x="1222" y="0"/>
                  </a:cubicBezTo>
                  <a:cubicBezTo>
                    <a:pt x="1249" y="0"/>
                    <a:pt x="1270" y="22"/>
                    <a:pt x="1270" y="48"/>
                  </a:cubicBezTo>
                  <a:cubicBezTo>
                    <a:pt x="1270" y="808"/>
                    <a:pt x="1270" y="808"/>
                    <a:pt x="1270" y="808"/>
                  </a:cubicBezTo>
                  <a:cubicBezTo>
                    <a:pt x="1270" y="834"/>
                    <a:pt x="1249" y="856"/>
                    <a:pt x="1222" y="856"/>
                  </a:cubicBezTo>
                  <a:close/>
                </a:path>
              </a:pathLst>
            </a:cu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dirty="0"/>
            </a:p>
          </p:txBody>
        </p:sp>
        <p:sp>
          <p:nvSpPr>
            <p:cNvPr id="36" name="Line 160">
              <a:extLst>
                <a:ext uri="{FF2B5EF4-FFF2-40B4-BE49-F238E27FC236}">
                  <a16:creationId xmlns:a16="http://schemas.microsoft.com/office/drawing/2014/main" xmlns="" id="{F7F864C5-EDDA-414E-8351-C27BEA9674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64547" y="419234"/>
              <a:ext cx="609733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7" name="Line 164">
              <a:extLst>
                <a:ext uri="{FF2B5EF4-FFF2-40B4-BE49-F238E27FC236}">
                  <a16:creationId xmlns:a16="http://schemas.microsoft.com/office/drawing/2014/main" xmlns="" id="{281D6235-AEAA-4E5A-8517-7AA0D68E5D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71462" y="492411"/>
              <a:ext cx="15370" cy="59643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8" name="Line 165">
              <a:extLst>
                <a:ext uri="{FF2B5EF4-FFF2-40B4-BE49-F238E27FC236}">
                  <a16:creationId xmlns:a16="http://schemas.microsoft.com/office/drawing/2014/main" xmlns="" id="{5DB2C13C-3F66-4A93-8B0B-025631139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52225" y="492411"/>
              <a:ext cx="15370" cy="59643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9" name="Freeform 166">
              <a:extLst>
                <a:ext uri="{FF2B5EF4-FFF2-40B4-BE49-F238E27FC236}">
                  <a16:creationId xmlns:a16="http://schemas.microsoft.com/office/drawing/2014/main" xmlns="" id="{834AA3F7-5C72-41D4-89D5-6F5A4AEAF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2923" y="552054"/>
              <a:ext cx="272981" cy="30968"/>
            </a:xfrm>
            <a:custGeom>
              <a:avLst/>
              <a:gdLst>
                <a:gd name="T0" fmla="*/ 536 w 568"/>
                <a:gd name="T1" fmla="*/ 64 h 64"/>
                <a:gd name="T2" fmla="*/ 32 w 568"/>
                <a:gd name="T3" fmla="*/ 64 h 64"/>
                <a:gd name="T4" fmla="*/ 0 w 568"/>
                <a:gd name="T5" fmla="*/ 32 h 64"/>
                <a:gd name="T6" fmla="*/ 0 w 568"/>
                <a:gd name="T7" fmla="*/ 32 h 64"/>
                <a:gd name="T8" fmla="*/ 32 w 568"/>
                <a:gd name="T9" fmla="*/ 0 h 64"/>
                <a:gd name="T10" fmla="*/ 536 w 568"/>
                <a:gd name="T11" fmla="*/ 0 h 64"/>
                <a:gd name="T12" fmla="*/ 568 w 568"/>
                <a:gd name="T13" fmla="*/ 32 h 64"/>
                <a:gd name="T14" fmla="*/ 568 w 568"/>
                <a:gd name="T15" fmla="*/ 32 h 64"/>
                <a:gd name="T16" fmla="*/ 536 w 568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64">
                  <a:moveTo>
                    <a:pt x="536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36" y="0"/>
                    <a:pt x="536" y="0"/>
                    <a:pt x="536" y="0"/>
                  </a:cubicBezTo>
                  <a:cubicBezTo>
                    <a:pt x="554" y="0"/>
                    <a:pt x="568" y="14"/>
                    <a:pt x="568" y="32"/>
                  </a:cubicBezTo>
                  <a:cubicBezTo>
                    <a:pt x="568" y="32"/>
                    <a:pt x="568" y="32"/>
                    <a:pt x="568" y="32"/>
                  </a:cubicBezTo>
                  <a:cubicBezTo>
                    <a:pt x="568" y="50"/>
                    <a:pt x="554" y="64"/>
                    <a:pt x="536" y="64"/>
                  </a:cubicBezTo>
                  <a:close/>
                </a:path>
              </a:pathLst>
            </a:cu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0" name="Line 5">
              <a:extLst>
                <a:ext uri="{FF2B5EF4-FFF2-40B4-BE49-F238E27FC236}">
                  <a16:creationId xmlns:a16="http://schemas.microsoft.com/office/drawing/2014/main" xmlns="" id="{46BEA4BD-BBA7-43DD-90EB-848726C129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6654" y="263127"/>
              <a:ext cx="23731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xmlns="" id="{4210CB10-F1AD-4EDB-93A1-48A7CE2834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13563" y="237023"/>
              <a:ext cx="169914" cy="345999"/>
            </a:xfrm>
            <a:custGeom>
              <a:avLst/>
              <a:gdLst>
                <a:gd name="T0" fmla="*/ 132 w 172"/>
                <a:gd name="T1" fmla="*/ 353 h 353"/>
                <a:gd name="T2" fmla="*/ 40 w 172"/>
                <a:gd name="T3" fmla="*/ 353 h 353"/>
                <a:gd name="T4" fmla="*/ 0 w 172"/>
                <a:gd name="T5" fmla="*/ 313 h 353"/>
                <a:gd name="T6" fmla="*/ 0 w 172"/>
                <a:gd name="T7" fmla="*/ 40 h 353"/>
                <a:gd name="T8" fmla="*/ 40 w 172"/>
                <a:gd name="T9" fmla="*/ 0 h 353"/>
                <a:gd name="T10" fmla="*/ 132 w 172"/>
                <a:gd name="T11" fmla="*/ 0 h 353"/>
                <a:gd name="T12" fmla="*/ 172 w 172"/>
                <a:gd name="T13" fmla="*/ 40 h 353"/>
                <a:gd name="T14" fmla="*/ 172 w 172"/>
                <a:gd name="T15" fmla="*/ 313 h 353"/>
                <a:gd name="T16" fmla="*/ 132 w 172"/>
                <a:gd name="T17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353">
                  <a:moveTo>
                    <a:pt x="132" y="353"/>
                  </a:moveTo>
                  <a:cubicBezTo>
                    <a:pt x="40" y="353"/>
                    <a:pt x="40" y="353"/>
                    <a:pt x="40" y="353"/>
                  </a:cubicBezTo>
                  <a:cubicBezTo>
                    <a:pt x="18" y="353"/>
                    <a:pt x="0" y="335"/>
                    <a:pt x="0" y="31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54" y="0"/>
                    <a:pt x="172" y="18"/>
                    <a:pt x="172" y="40"/>
                  </a:cubicBezTo>
                  <a:cubicBezTo>
                    <a:pt x="172" y="313"/>
                    <a:pt x="172" y="313"/>
                    <a:pt x="172" y="313"/>
                  </a:cubicBezTo>
                  <a:cubicBezTo>
                    <a:pt x="172" y="335"/>
                    <a:pt x="154" y="353"/>
                    <a:pt x="132" y="353"/>
                  </a:cubicBezTo>
                  <a:close/>
                </a:path>
              </a:pathLst>
            </a:cu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2" name="Line 7">
              <a:extLst>
                <a:ext uri="{FF2B5EF4-FFF2-40B4-BE49-F238E27FC236}">
                  <a16:creationId xmlns:a16="http://schemas.microsoft.com/office/drawing/2014/main" xmlns="" id="{108099CF-5CBA-47E2-A6C2-F90EA9176D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013563" y="288757"/>
              <a:ext cx="169914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3" name="Line 8">
              <a:extLst>
                <a:ext uri="{FF2B5EF4-FFF2-40B4-BE49-F238E27FC236}">
                  <a16:creationId xmlns:a16="http://schemas.microsoft.com/office/drawing/2014/main" xmlns="" id="{A42B9C1B-081B-4847-83D9-58C5A307A7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013563" y="521321"/>
              <a:ext cx="169914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4" name="Line 5">
              <a:extLst>
                <a:ext uri="{FF2B5EF4-FFF2-40B4-BE49-F238E27FC236}">
                  <a16:creationId xmlns:a16="http://schemas.microsoft.com/office/drawing/2014/main" xmlns="" id="{7C15C693-6489-4ECD-837B-5D056C02A7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7222" y="198099"/>
              <a:ext cx="40642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FDCD756E-E9C2-4F33-BF5D-0BC22A2ADA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82045" y="166688"/>
              <a:ext cx="290996" cy="416334"/>
            </a:xfrm>
            <a:prstGeom prst="roundRect">
              <a:avLst>
                <a:gd name="adj" fmla="val 7938"/>
              </a:avLst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6" name="Line 7">
              <a:extLst>
                <a:ext uri="{FF2B5EF4-FFF2-40B4-BE49-F238E27FC236}">
                  <a16:creationId xmlns:a16="http://schemas.microsoft.com/office/drawing/2014/main" xmlns="" id="{D91AE643-C184-450F-A89F-8D32948EA1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82045" y="228938"/>
              <a:ext cx="290996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47" name="Line 8">
              <a:extLst>
                <a:ext uri="{FF2B5EF4-FFF2-40B4-BE49-F238E27FC236}">
                  <a16:creationId xmlns:a16="http://schemas.microsoft.com/office/drawing/2014/main" xmlns="" id="{D1D98C33-9D82-4429-9B1A-83C5FB5D3E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82045" y="508779"/>
              <a:ext cx="290996" cy="0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48" name="Groupe 47">
            <a:extLst>
              <a:ext uri="{FF2B5EF4-FFF2-40B4-BE49-F238E27FC236}">
                <a16:creationId xmlns:a16="http://schemas.microsoft.com/office/drawing/2014/main" xmlns="" id="{65BF55B6-4CAE-486F-8F70-274D0BF6CBF8}"/>
              </a:ext>
            </a:extLst>
          </p:cNvPr>
          <p:cNvGrpSpPr/>
          <p:nvPr/>
        </p:nvGrpSpPr>
        <p:grpSpPr>
          <a:xfrm>
            <a:off x="5323002" y="2499215"/>
            <a:ext cx="547098" cy="492094"/>
            <a:chOff x="6423634" y="1316493"/>
            <a:chExt cx="440335" cy="396066"/>
          </a:xfrm>
          <a:solidFill>
            <a:schemeClr val="accent4"/>
          </a:solidFill>
        </p:grpSpPr>
        <p:sp>
          <p:nvSpPr>
            <p:cNvPr id="49" name="Line 215">
              <a:extLst>
                <a:ext uri="{FF2B5EF4-FFF2-40B4-BE49-F238E27FC236}">
                  <a16:creationId xmlns:a16="http://schemas.microsoft.com/office/drawing/2014/main" xmlns="" id="{4B83685C-2B3E-499F-B808-C9EF186FCFBB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824676">
              <a:off x="6699593" y="1485531"/>
              <a:ext cx="30924" cy="30164"/>
            </a:xfrm>
            <a:prstGeom prst="line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DD3D5858-4780-4A72-BC7D-962E31752191}"/>
                </a:ext>
              </a:extLst>
            </p:cNvPr>
            <p:cNvSpPr/>
            <p:nvPr/>
          </p:nvSpPr>
          <p:spPr>
            <a:xfrm>
              <a:off x="6423634" y="1518219"/>
              <a:ext cx="52677" cy="194340"/>
            </a:xfrm>
            <a:prstGeom prst="rect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CF2DF3E5-C19A-4495-BBF7-F899F3331029}"/>
                </a:ext>
              </a:extLst>
            </p:cNvPr>
            <p:cNvSpPr/>
            <p:nvPr/>
          </p:nvSpPr>
          <p:spPr>
            <a:xfrm>
              <a:off x="6505192" y="1454679"/>
              <a:ext cx="52677" cy="257880"/>
            </a:xfrm>
            <a:prstGeom prst="rect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D251B9AC-9E46-4C0F-9D9D-3F1212D51C50}"/>
                </a:ext>
              </a:extLst>
            </p:cNvPr>
            <p:cNvSpPr/>
            <p:nvPr/>
          </p:nvSpPr>
          <p:spPr>
            <a:xfrm>
              <a:off x="6592373" y="1417817"/>
              <a:ext cx="52677" cy="294742"/>
            </a:xfrm>
            <a:prstGeom prst="rect">
              <a:avLst/>
            </a:prstGeom>
            <a:grpFill/>
            <a:ln w="14288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grpSp>
          <p:nvGrpSpPr>
            <p:cNvPr id="53" name="Groupe 52">
              <a:extLst>
                <a:ext uri="{FF2B5EF4-FFF2-40B4-BE49-F238E27FC236}">
                  <a16:creationId xmlns:a16="http://schemas.microsoft.com/office/drawing/2014/main" xmlns="" id="{6DD5E6BC-44C0-48B5-B2C1-95796C902F09}"/>
                </a:ext>
              </a:extLst>
            </p:cNvPr>
            <p:cNvGrpSpPr/>
            <p:nvPr/>
          </p:nvGrpSpPr>
          <p:grpSpPr>
            <a:xfrm>
              <a:off x="6503426" y="1316493"/>
              <a:ext cx="360543" cy="302936"/>
              <a:chOff x="6503426" y="1316493"/>
              <a:chExt cx="360543" cy="302936"/>
            </a:xfrm>
            <a:grpFill/>
          </p:grpSpPr>
          <p:sp>
            <p:nvSpPr>
              <p:cNvPr id="54" name="Oval 214">
                <a:extLst>
                  <a:ext uri="{FF2B5EF4-FFF2-40B4-BE49-F238E27FC236}">
                    <a16:creationId xmlns:a16="http://schemas.microsoft.com/office/drawing/2014/main" xmlns="" id="{7C8E32AE-E9C2-477A-ACD7-F0C3783B4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824676">
                <a:off x="6503426" y="1316493"/>
                <a:ext cx="215203" cy="215204"/>
              </a:xfrm>
              <a:prstGeom prst="ellipse">
                <a:avLst/>
              </a:prstGeom>
              <a:grp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55" name="Freeform 216">
                <a:extLst>
                  <a:ext uri="{FF2B5EF4-FFF2-40B4-BE49-F238E27FC236}">
                    <a16:creationId xmlns:a16="http://schemas.microsoft.com/office/drawing/2014/main" xmlns="" id="{E6E316D1-93A0-4D5F-A99F-6CB1BECF61E7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729118" y="1484578"/>
                <a:ext cx="134851" cy="134851"/>
              </a:xfrm>
              <a:custGeom>
                <a:avLst/>
                <a:gdLst>
                  <a:gd name="T0" fmla="*/ 147 w 254"/>
                  <a:gd name="T1" fmla="*/ 235 h 254"/>
                  <a:gd name="T2" fmla="*/ 18 w 254"/>
                  <a:gd name="T3" fmla="*/ 106 h 254"/>
                  <a:gd name="T4" fmla="*/ 18 w 254"/>
                  <a:gd name="T5" fmla="*/ 39 h 254"/>
                  <a:gd name="T6" fmla="*/ 39 w 254"/>
                  <a:gd name="T7" fmla="*/ 18 h 254"/>
                  <a:gd name="T8" fmla="*/ 107 w 254"/>
                  <a:gd name="T9" fmla="*/ 18 h 254"/>
                  <a:gd name="T10" fmla="*/ 235 w 254"/>
                  <a:gd name="T11" fmla="*/ 147 h 254"/>
                  <a:gd name="T12" fmla="*/ 235 w 254"/>
                  <a:gd name="T13" fmla="*/ 215 h 254"/>
                  <a:gd name="T14" fmla="*/ 215 w 254"/>
                  <a:gd name="T15" fmla="*/ 235 h 254"/>
                  <a:gd name="T16" fmla="*/ 147 w 254"/>
                  <a:gd name="T17" fmla="*/ 235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254">
                    <a:moveTo>
                      <a:pt x="147" y="235"/>
                    </a:moveTo>
                    <a:cubicBezTo>
                      <a:pt x="18" y="106"/>
                      <a:pt x="18" y="106"/>
                      <a:pt x="18" y="106"/>
                    </a:cubicBezTo>
                    <a:cubicBezTo>
                      <a:pt x="0" y="88"/>
                      <a:pt x="0" y="57"/>
                      <a:pt x="18" y="39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57" y="0"/>
                      <a:pt x="88" y="0"/>
                      <a:pt x="107" y="18"/>
                    </a:cubicBezTo>
                    <a:cubicBezTo>
                      <a:pt x="235" y="147"/>
                      <a:pt x="235" y="147"/>
                      <a:pt x="235" y="147"/>
                    </a:cubicBezTo>
                    <a:cubicBezTo>
                      <a:pt x="254" y="166"/>
                      <a:pt x="254" y="196"/>
                      <a:pt x="235" y="215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196" y="254"/>
                      <a:pt x="166" y="254"/>
                      <a:pt x="147" y="235"/>
                    </a:cubicBezTo>
                    <a:close/>
                  </a:path>
                </a:pathLst>
              </a:custGeom>
              <a:grp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56" name="Freeform 217">
                <a:extLst>
                  <a:ext uri="{FF2B5EF4-FFF2-40B4-BE49-F238E27FC236}">
                    <a16:creationId xmlns:a16="http://schemas.microsoft.com/office/drawing/2014/main" xmlns="" id="{B6409E09-C799-44A9-ABDD-93B33BF06461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616976" y="1339223"/>
                <a:ext cx="55258" cy="55512"/>
              </a:xfrm>
              <a:custGeom>
                <a:avLst/>
                <a:gdLst>
                  <a:gd name="T0" fmla="*/ 0 w 104"/>
                  <a:gd name="T1" fmla="*/ 0 h 104"/>
                  <a:gd name="T2" fmla="*/ 104 w 104"/>
                  <a:gd name="T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4" h="104">
                    <a:moveTo>
                      <a:pt x="0" y="0"/>
                    </a:moveTo>
                    <a:cubicBezTo>
                      <a:pt x="57" y="0"/>
                      <a:pt x="104" y="47"/>
                      <a:pt x="104" y="104"/>
                    </a:cubicBezTo>
                  </a:path>
                </a:pathLst>
              </a:custGeom>
              <a:grp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57" name="Groupe 56">
            <a:extLst>
              <a:ext uri="{FF2B5EF4-FFF2-40B4-BE49-F238E27FC236}">
                <a16:creationId xmlns:a16="http://schemas.microsoft.com/office/drawing/2014/main" xmlns="" id="{522876DB-CEB0-4F1C-BEC4-BD5901765D58}"/>
              </a:ext>
            </a:extLst>
          </p:cNvPr>
          <p:cNvGrpSpPr/>
          <p:nvPr/>
        </p:nvGrpSpPr>
        <p:grpSpPr>
          <a:xfrm>
            <a:off x="3129820" y="4676489"/>
            <a:ext cx="775030" cy="499434"/>
            <a:chOff x="6413327" y="2274473"/>
            <a:chExt cx="558969" cy="360203"/>
          </a:xfrm>
        </p:grpSpPr>
        <p:grpSp>
          <p:nvGrpSpPr>
            <p:cNvPr id="58" name="Group 45">
              <a:extLst>
                <a:ext uri="{FF2B5EF4-FFF2-40B4-BE49-F238E27FC236}">
                  <a16:creationId xmlns:a16="http://schemas.microsoft.com/office/drawing/2014/main" xmlns="" id="{A3DBF50F-36D2-47E5-9295-53E5B55AAE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13327" y="2351805"/>
              <a:ext cx="302175" cy="282871"/>
              <a:chOff x="2270" y="-238"/>
              <a:chExt cx="1221" cy="1143"/>
            </a:xfrm>
          </p:grpSpPr>
          <p:sp>
            <p:nvSpPr>
              <p:cNvPr id="64" name="Oval 46">
                <a:extLst>
                  <a:ext uri="{FF2B5EF4-FFF2-40B4-BE49-F238E27FC236}">
                    <a16:creationId xmlns:a16="http://schemas.microsoft.com/office/drawing/2014/main" xmlns="" id="{0773C239-A1B1-4F24-91ED-196BB6C1D9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0" y="-238"/>
                <a:ext cx="1221" cy="323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5" name="Freeform 47">
                <a:extLst>
                  <a:ext uri="{FF2B5EF4-FFF2-40B4-BE49-F238E27FC236}">
                    <a16:creationId xmlns:a16="http://schemas.microsoft.com/office/drawing/2014/main" xmlns="" id="{9BE6F69B-7F7A-4F2E-807A-0E2F3CB21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118"/>
                <a:ext cx="1221" cy="161"/>
              </a:xfrm>
              <a:custGeom>
                <a:avLst/>
                <a:gdLst>
                  <a:gd name="T0" fmla="*/ 592 w 592"/>
                  <a:gd name="T1" fmla="*/ 0 h 78"/>
                  <a:gd name="T2" fmla="*/ 296 w 592"/>
                  <a:gd name="T3" fmla="*/ 78 h 78"/>
                  <a:gd name="T4" fmla="*/ 0 w 592"/>
                  <a:gd name="T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8">
                    <a:moveTo>
                      <a:pt x="592" y="0"/>
                    </a:moveTo>
                    <a:cubicBezTo>
                      <a:pt x="592" y="43"/>
                      <a:pt x="460" y="78"/>
                      <a:pt x="296" y="78"/>
                    </a:cubicBezTo>
                    <a:cubicBezTo>
                      <a:pt x="132" y="78"/>
                      <a:pt x="0" y="43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6" name="Freeform 48">
                <a:extLst>
                  <a:ext uri="{FF2B5EF4-FFF2-40B4-BE49-F238E27FC236}">
                    <a16:creationId xmlns:a16="http://schemas.microsoft.com/office/drawing/2014/main" xmlns="" id="{002AEA52-0052-40C7-A58C-41E573404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26"/>
                <a:ext cx="1221" cy="163"/>
              </a:xfrm>
              <a:custGeom>
                <a:avLst/>
                <a:gdLst>
                  <a:gd name="T0" fmla="*/ 592 w 592"/>
                  <a:gd name="T1" fmla="*/ 0 h 79"/>
                  <a:gd name="T2" fmla="*/ 296 w 592"/>
                  <a:gd name="T3" fmla="*/ 79 h 79"/>
                  <a:gd name="T4" fmla="*/ 0 w 592"/>
                  <a:gd name="T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9">
                    <a:moveTo>
                      <a:pt x="592" y="0"/>
                    </a:moveTo>
                    <a:cubicBezTo>
                      <a:pt x="592" y="44"/>
                      <a:pt x="460" y="79"/>
                      <a:pt x="296" y="79"/>
                    </a:cubicBezTo>
                    <a:cubicBezTo>
                      <a:pt x="132" y="79"/>
                      <a:pt x="0" y="44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7" name="Freeform 49">
                <a:extLst>
                  <a:ext uri="{FF2B5EF4-FFF2-40B4-BE49-F238E27FC236}">
                    <a16:creationId xmlns:a16="http://schemas.microsoft.com/office/drawing/2014/main" xmlns="" id="{B2AC8CCE-A90F-41CA-B746-BDB4F3B0A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534"/>
                <a:ext cx="1221" cy="163"/>
              </a:xfrm>
              <a:custGeom>
                <a:avLst/>
                <a:gdLst>
                  <a:gd name="T0" fmla="*/ 592 w 592"/>
                  <a:gd name="T1" fmla="*/ 0 h 79"/>
                  <a:gd name="T2" fmla="*/ 296 w 592"/>
                  <a:gd name="T3" fmla="*/ 79 h 79"/>
                  <a:gd name="T4" fmla="*/ 0 w 592"/>
                  <a:gd name="T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9">
                    <a:moveTo>
                      <a:pt x="592" y="0"/>
                    </a:moveTo>
                    <a:cubicBezTo>
                      <a:pt x="592" y="44"/>
                      <a:pt x="460" y="79"/>
                      <a:pt x="296" y="79"/>
                    </a:cubicBezTo>
                    <a:cubicBezTo>
                      <a:pt x="132" y="79"/>
                      <a:pt x="0" y="44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8" name="Line 50">
                <a:extLst>
                  <a:ext uri="{FF2B5EF4-FFF2-40B4-BE49-F238E27FC236}">
                    <a16:creationId xmlns:a16="http://schemas.microsoft.com/office/drawing/2014/main" xmlns="" id="{C42C7188-6534-4309-B272-085CEA88BC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1" y="-78"/>
                <a:ext cx="0" cy="0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769E294-9331-443C-A79A-36CE927A2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-78"/>
                <a:ext cx="1221" cy="983"/>
              </a:xfrm>
              <a:custGeom>
                <a:avLst/>
                <a:gdLst>
                  <a:gd name="T0" fmla="*/ 592 w 592"/>
                  <a:gd name="T1" fmla="*/ 0 h 477"/>
                  <a:gd name="T2" fmla="*/ 592 w 592"/>
                  <a:gd name="T3" fmla="*/ 399 h 477"/>
                  <a:gd name="T4" fmla="*/ 296 w 592"/>
                  <a:gd name="T5" fmla="*/ 477 h 477"/>
                  <a:gd name="T6" fmla="*/ 0 w 592"/>
                  <a:gd name="T7" fmla="*/ 399 h 477"/>
                  <a:gd name="T8" fmla="*/ 0 w 592"/>
                  <a:gd name="T9" fmla="*/ 0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77">
                    <a:moveTo>
                      <a:pt x="592" y="0"/>
                    </a:moveTo>
                    <a:cubicBezTo>
                      <a:pt x="592" y="0"/>
                      <a:pt x="592" y="395"/>
                      <a:pt x="592" y="399"/>
                    </a:cubicBezTo>
                    <a:cubicBezTo>
                      <a:pt x="592" y="442"/>
                      <a:pt x="460" y="477"/>
                      <a:pt x="296" y="477"/>
                    </a:cubicBezTo>
                    <a:cubicBezTo>
                      <a:pt x="132" y="477"/>
                      <a:pt x="0" y="442"/>
                      <a:pt x="0" y="39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9" name="Groupe 58">
              <a:extLst>
                <a:ext uri="{FF2B5EF4-FFF2-40B4-BE49-F238E27FC236}">
                  <a16:creationId xmlns:a16="http://schemas.microsoft.com/office/drawing/2014/main" xmlns="" id="{E267B584-3B3B-4171-8959-6B223DF0D17D}"/>
                </a:ext>
              </a:extLst>
            </p:cNvPr>
            <p:cNvGrpSpPr/>
            <p:nvPr/>
          </p:nvGrpSpPr>
          <p:grpSpPr>
            <a:xfrm>
              <a:off x="6611753" y="2274473"/>
              <a:ext cx="360543" cy="302936"/>
              <a:chOff x="6305086" y="-1598425"/>
              <a:chExt cx="360543" cy="302936"/>
            </a:xfrm>
          </p:grpSpPr>
          <p:sp>
            <p:nvSpPr>
              <p:cNvPr id="60" name="Oval 214">
                <a:extLst>
                  <a:ext uri="{FF2B5EF4-FFF2-40B4-BE49-F238E27FC236}">
                    <a16:creationId xmlns:a16="http://schemas.microsoft.com/office/drawing/2014/main" xmlns="" id="{3A5B4DC5-03BB-4278-B2FC-CAD507C11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824676">
                <a:off x="6305086" y="-1598425"/>
                <a:ext cx="215203" cy="215204"/>
              </a:xfrm>
              <a:prstGeom prst="ellipse">
                <a:avLst/>
              </a:prstGeom>
              <a:solidFill>
                <a:srgbClr val="FFC300"/>
              </a:solidFill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1" name="Line 215">
                <a:extLst>
                  <a:ext uri="{FF2B5EF4-FFF2-40B4-BE49-F238E27FC236}">
                    <a16:creationId xmlns:a16="http://schemas.microsoft.com/office/drawing/2014/main" xmlns="" id="{161E9B31-529E-4614-A47E-57971DF108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20824676">
                <a:off x="6501253" y="-1429387"/>
                <a:ext cx="30924" cy="30164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2" name="Freeform 216">
                <a:extLst>
                  <a:ext uri="{FF2B5EF4-FFF2-40B4-BE49-F238E27FC236}">
                    <a16:creationId xmlns:a16="http://schemas.microsoft.com/office/drawing/2014/main" xmlns="" id="{B19207FB-922C-4159-BB23-8325E1F8E1FA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530778" y="-1430340"/>
                <a:ext cx="134851" cy="134851"/>
              </a:xfrm>
              <a:custGeom>
                <a:avLst/>
                <a:gdLst>
                  <a:gd name="T0" fmla="*/ 147 w 254"/>
                  <a:gd name="T1" fmla="*/ 235 h 254"/>
                  <a:gd name="T2" fmla="*/ 18 w 254"/>
                  <a:gd name="T3" fmla="*/ 106 h 254"/>
                  <a:gd name="T4" fmla="*/ 18 w 254"/>
                  <a:gd name="T5" fmla="*/ 39 h 254"/>
                  <a:gd name="T6" fmla="*/ 39 w 254"/>
                  <a:gd name="T7" fmla="*/ 18 h 254"/>
                  <a:gd name="T8" fmla="*/ 107 w 254"/>
                  <a:gd name="T9" fmla="*/ 18 h 254"/>
                  <a:gd name="T10" fmla="*/ 235 w 254"/>
                  <a:gd name="T11" fmla="*/ 147 h 254"/>
                  <a:gd name="T12" fmla="*/ 235 w 254"/>
                  <a:gd name="T13" fmla="*/ 215 h 254"/>
                  <a:gd name="T14" fmla="*/ 215 w 254"/>
                  <a:gd name="T15" fmla="*/ 235 h 254"/>
                  <a:gd name="T16" fmla="*/ 147 w 254"/>
                  <a:gd name="T17" fmla="*/ 235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254">
                    <a:moveTo>
                      <a:pt x="147" y="235"/>
                    </a:moveTo>
                    <a:cubicBezTo>
                      <a:pt x="18" y="106"/>
                      <a:pt x="18" y="106"/>
                      <a:pt x="18" y="106"/>
                    </a:cubicBezTo>
                    <a:cubicBezTo>
                      <a:pt x="0" y="88"/>
                      <a:pt x="0" y="57"/>
                      <a:pt x="18" y="39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57" y="0"/>
                      <a:pt x="88" y="0"/>
                      <a:pt x="107" y="18"/>
                    </a:cubicBezTo>
                    <a:cubicBezTo>
                      <a:pt x="235" y="147"/>
                      <a:pt x="235" y="147"/>
                      <a:pt x="235" y="147"/>
                    </a:cubicBezTo>
                    <a:cubicBezTo>
                      <a:pt x="254" y="166"/>
                      <a:pt x="254" y="196"/>
                      <a:pt x="235" y="215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196" y="254"/>
                      <a:pt x="166" y="254"/>
                      <a:pt x="147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63" name="Freeform 217">
                <a:extLst>
                  <a:ext uri="{FF2B5EF4-FFF2-40B4-BE49-F238E27FC236}">
                    <a16:creationId xmlns:a16="http://schemas.microsoft.com/office/drawing/2014/main" xmlns="" id="{D4738871-3AAF-45E9-888B-21D7645F1DB9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418636" y="-1575695"/>
                <a:ext cx="55258" cy="55512"/>
              </a:xfrm>
              <a:custGeom>
                <a:avLst/>
                <a:gdLst>
                  <a:gd name="T0" fmla="*/ 0 w 104"/>
                  <a:gd name="T1" fmla="*/ 0 h 104"/>
                  <a:gd name="T2" fmla="*/ 104 w 104"/>
                  <a:gd name="T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4" h="104">
                    <a:moveTo>
                      <a:pt x="0" y="0"/>
                    </a:moveTo>
                    <a:cubicBezTo>
                      <a:pt x="57" y="0"/>
                      <a:pt x="104" y="47"/>
                      <a:pt x="104" y="104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70" name="Groupe 69">
            <a:extLst>
              <a:ext uri="{FF2B5EF4-FFF2-40B4-BE49-F238E27FC236}">
                <a16:creationId xmlns:a16="http://schemas.microsoft.com/office/drawing/2014/main" xmlns="" id="{4B48DB59-DDCC-4479-BED8-B026E414FFBC}"/>
              </a:ext>
            </a:extLst>
          </p:cNvPr>
          <p:cNvGrpSpPr/>
          <p:nvPr/>
        </p:nvGrpSpPr>
        <p:grpSpPr>
          <a:xfrm>
            <a:off x="5217605" y="4708537"/>
            <a:ext cx="757892" cy="436320"/>
            <a:chOff x="6106195" y="3060823"/>
            <a:chExt cx="816224" cy="469900"/>
          </a:xfrm>
        </p:grpSpPr>
        <p:grpSp>
          <p:nvGrpSpPr>
            <p:cNvPr id="71" name="Group 152">
              <a:extLst>
                <a:ext uri="{FF2B5EF4-FFF2-40B4-BE49-F238E27FC236}">
                  <a16:creationId xmlns:a16="http://schemas.microsoft.com/office/drawing/2014/main" xmlns="" id="{69C2A3F5-1E26-457A-B99A-79DBC7F53F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52519" y="3060823"/>
              <a:ext cx="469900" cy="469900"/>
              <a:chOff x="887" y="621"/>
              <a:chExt cx="833" cy="833"/>
            </a:xfrm>
          </p:grpSpPr>
          <p:sp>
            <p:nvSpPr>
              <p:cNvPr id="76" name="Freeform 153">
                <a:extLst>
                  <a:ext uri="{FF2B5EF4-FFF2-40B4-BE49-F238E27FC236}">
                    <a16:creationId xmlns:a16="http://schemas.microsoft.com/office/drawing/2014/main" xmlns="" id="{D4B113AC-EDBE-40F7-9E22-7E9864EA1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" y="621"/>
                <a:ext cx="833" cy="833"/>
              </a:xfrm>
              <a:custGeom>
                <a:avLst/>
                <a:gdLst>
                  <a:gd name="T0" fmla="*/ 390 w 395"/>
                  <a:gd name="T1" fmla="*/ 235 h 395"/>
                  <a:gd name="T2" fmla="*/ 356 w 395"/>
                  <a:gd name="T3" fmla="*/ 197 h 395"/>
                  <a:gd name="T4" fmla="*/ 390 w 395"/>
                  <a:gd name="T5" fmla="*/ 160 h 395"/>
                  <a:gd name="T6" fmla="*/ 393 w 395"/>
                  <a:gd name="T7" fmla="*/ 158 h 395"/>
                  <a:gd name="T8" fmla="*/ 394 w 395"/>
                  <a:gd name="T9" fmla="*/ 154 h 395"/>
                  <a:gd name="T10" fmla="*/ 367 w 395"/>
                  <a:gd name="T11" fmla="*/ 89 h 395"/>
                  <a:gd name="T12" fmla="*/ 364 w 395"/>
                  <a:gd name="T13" fmla="*/ 87 h 395"/>
                  <a:gd name="T14" fmla="*/ 360 w 395"/>
                  <a:gd name="T15" fmla="*/ 88 h 395"/>
                  <a:gd name="T16" fmla="*/ 309 w 395"/>
                  <a:gd name="T17" fmla="*/ 85 h 395"/>
                  <a:gd name="T18" fmla="*/ 306 w 395"/>
                  <a:gd name="T19" fmla="*/ 35 h 395"/>
                  <a:gd name="T20" fmla="*/ 307 w 395"/>
                  <a:gd name="T21" fmla="*/ 31 h 395"/>
                  <a:gd name="T22" fmla="*/ 305 w 395"/>
                  <a:gd name="T23" fmla="*/ 27 h 395"/>
                  <a:gd name="T24" fmla="*/ 241 w 395"/>
                  <a:gd name="T25" fmla="*/ 1 h 395"/>
                  <a:gd name="T26" fmla="*/ 237 w 395"/>
                  <a:gd name="T27" fmla="*/ 1 h 395"/>
                  <a:gd name="T28" fmla="*/ 235 w 395"/>
                  <a:gd name="T29" fmla="*/ 5 h 395"/>
                  <a:gd name="T30" fmla="*/ 198 w 395"/>
                  <a:gd name="T31" fmla="*/ 39 h 395"/>
                  <a:gd name="T32" fmla="*/ 160 w 395"/>
                  <a:gd name="T33" fmla="*/ 5 h 395"/>
                  <a:gd name="T34" fmla="*/ 158 w 395"/>
                  <a:gd name="T35" fmla="*/ 1 h 395"/>
                  <a:gd name="T36" fmla="*/ 154 w 395"/>
                  <a:gd name="T37" fmla="*/ 1 h 395"/>
                  <a:gd name="T38" fmla="*/ 89 w 395"/>
                  <a:gd name="T39" fmla="*/ 27 h 395"/>
                  <a:gd name="T40" fmla="*/ 87 w 395"/>
                  <a:gd name="T41" fmla="*/ 31 h 395"/>
                  <a:gd name="T42" fmla="*/ 88 w 395"/>
                  <a:gd name="T43" fmla="*/ 35 h 395"/>
                  <a:gd name="T44" fmla="*/ 85 w 395"/>
                  <a:gd name="T45" fmla="*/ 85 h 395"/>
                  <a:gd name="T46" fmla="*/ 34 w 395"/>
                  <a:gd name="T47" fmla="*/ 88 h 395"/>
                  <a:gd name="T48" fmla="*/ 30 w 395"/>
                  <a:gd name="T49" fmla="*/ 87 h 395"/>
                  <a:gd name="T50" fmla="*/ 27 w 395"/>
                  <a:gd name="T51" fmla="*/ 89 h 395"/>
                  <a:gd name="T52" fmla="*/ 1 w 395"/>
                  <a:gd name="T53" fmla="*/ 153 h 395"/>
                  <a:gd name="T54" fmla="*/ 1 w 395"/>
                  <a:gd name="T55" fmla="*/ 157 h 395"/>
                  <a:gd name="T56" fmla="*/ 5 w 395"/>
                  <a:gd name="T57" fmla="*/ 159 h 395"/>
                  <a:gd name="T58" fmla="*/ 39 w 395"/>
                  <a:gd name="T59" fmla="*/ 197 h 395"/>
                  <a:gd name="T60" fmla="*/ 5 w 395"/>
                  <a:gd name="T61" fmla="*/ 235 h 395"/>
                  <a:gd name="T62" fmla="*/ 1 w 395"/>
                  <a:gd name="T63" fmla="*/ 237 h 395"/>
                  <a:gd name="T64" fmla="*/ 1 w 395"/>
                  <a:gd name="T65" fmla="*/ 241 h 395"/>
                  <a:gd name="T66" fmla="*/ 27 w 395"/>
                  <a:gd name="T67" fmla="*/ 306 h 395"/>
                  <a:gd name="T68" fmla="*/ 31 w 395"/>
                  <a:gd name="T69" fmla="*/ 308 h 395"/>
                  <a:gd name="T70" fmla="*/ 35 w 395"/>
                  <a:gd name="T71" fmla="*/ 307 h 395"/>
                  <a:gd name="T72" fmla="*/ 85 w 395"/>
                  <a:gd name="T73" fmla="*/ 310 h 395"/>
                  <a:gd name="T74" fmla="*/ 88 w 395"/>
                  <a:gd name="T75" fmla="*/ 361 h 395"/>
                  <a:gd name="T76" fmla="*/ 87 w 395"/>
                  <a:gd name="T77" fmla="*/ 365 h 395"/>
                  <a:gd name="T78" fmla="*/ 89 w 395"/>
                  <a:gd name="T79" fmla="*/ 368 h 395"/>
                  <a:gd name="T80" fmla="*/ 154 w 395"/>
                  <a:gd name="T81" fmla="*/ 395 h 395"/>
                  <a:gd name="T82" fmla="*/ 158 w 395"/>
                  <a:gd name="T83" fmla="*/ 394 h 395"/>
                  <a:gd name="T84" fmla="*/ 160 w 395"/>
                  <a:gd name="T85" fmla="*/ 391 h 395"/>
                  <a:gd name="T86" fmla="*/ 197 w 395"/>
                  <a:gd name="T87" fmla="*/ 357 h 395"/>
                  <a:gd name="T88" fmla="*/ 235 w 395"/>
                  <a:gd name="T89" fmla="*/ 391 h 395"/>
                  <a:gd name="T90" fmla="*/ 237 w 395"/>
                  <a:gd name="T91" fmla="*/ 394 h 395"/>
                  <a:gd name="T92" fmla="*/ 240 w 395"/>
                  <a:gd name="T93" fmla="*/ 395 h 395"/>
                  <a:gd name="T94" fmla="*/ 241 w 395"/>
                  <a:gd name="T95" fmla="*/ 395 h 395"/>
                  <a:gd name="T96" fmla="*/ 305 w 395"/>
                  <a:gd name="T97" fmla="*/ 368 h 395"/>
                  <a:gd name="T98" fmla="*/ 308 w 395"/>
                  <a:gd name="T99" fmla="*/ 365 h 395"/>
                  <a:gd name="T100" fmla="*/ 307 w 395"/>
                  <a:gd name="T101" fmla="*/ 361 h 395"/>
                  <a:gd name="T102" fmla="*/ 309 w 395"/>
                  <a:gd name="T103" fmla="*/ 310 h 395"/>
                  <a:gd name="T104" fmla="*/ 360 w 395"/>
                  <a:gd name="T105" fmla="*/ 307 h 395"/>
                  <a:gd name="T106" fmla="*/ 364 w 395"/>
                  <a:gd name="T107" fmla="*/ 308 h 395"/>
                  <a:gd name="T108" fmla="*/ 368 w 395"/>
                  <a:gd name="T109" fmla="*/ 306 h 395"/>
                  <a:gd name="T110" fmla="*/ 395 w 395"/>
                  <a:gd name="T111" fmla="*/ 241 h 395"/>
                  <a:gd name="T112" fmla="*/ 394 w 395"/>
                  <a:gd name="T113" fmla="*/ 237 h 395"/>
                  <a:gd name="T114" fmla="*/ 390 w 395"/>
                  <a:gd name="T115" fmla="*/ 23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5" h="395">
                    <a:moveTo>
                      <a:pt x="390" y="235"/>
                    </a:moveTo>
                    <a:cubicBezTo>
                      <a:pt x="371" y="233"/>
                      <a:pt x="356" y="217"/>
                      <a:pt x="356" y="197"/>
                    </a:cubicBezTo>
                    <a:cubicBezTo>
                      <a:pt x="356" y="178"/>
                      <a:pt x="370" y="162"/>
                      <a:pt x="390" y="160"/>
                    </a:cubicBezTo>
                    <a:cubicBezTo>
                      <a:pt x="391" y="160"/>
                      <a:pt x="393" y="159"/>
                      <a:pt x="393" y="158"/>
                    </a:cubicBezTo>
                    <a:cubicBezTo>
                      <a:pt x="394" y="157"/>
                      <a:pt x="395" y="155"/>
                      <a:pt x="394" y="154"/>
                    </a:cubicBezTo>
                    <a:cubicBezTo>
                      <a:pt x="389" y="131"/>
                      <a:pt x="380" y="109"/>
                      <a:pt x="367" y="89"/>
                    </a:cubicBezTo>
                    <a:cubicBezTo>
                      <a:pt x="367" y="88"/>
                      <a:pt x="365" y="87"/>
                      <a:pt x="364" y="87"/>
                    </a:cubicBezTo>
                    <a:cubicBezTo>
                      <a:pt x="363" y="87"/>
                      <a:pt x="361" y="87"/>
                      <a:pt x="360" y="88"/>
                    </a:cubicBezTo>
                    <a:cubicBezTo>
                      <a:pt x="345" y="100"/>
                      <a:pt x="323" y="99"/>
                      <a:pt x="309" y="85"/>
                    </a:cubicBezTo>
                    <a:cubicBezTo>
                      <a:pt x="295" y="72"/>
                      <a:pt x="294" y="50"/>
                      <a:pt x="306" y="35"/>
                    </a:cubicBezTo>
                    <a:cubicBezTo>
                      <a:pt x="307" y="33"/>
                      <a:pt x="307" y="32"/>
                      <a:pt x="307" y="31"/>
                    </a:cubicBezTo>
                    <a:cubicBezTo>
                      <a:pt x="307" y="29"/>
                      <a:pt x="306" y="28"/>
                      <a:pt x="305" y="27"/>
                    </a:cubicBezTo>
                    <a:cubicBezTo>
                      <a:pt x="286" y="15"/>
                      <a:pt x="264" y="5"/>
                      <a:pt x="241" y="1"/>
                    </a:cubicBezTo>
                    <a:cubicBezTo>
                      <a:pt x="240" y="0"/>
                      <a:pt x="239" y="1"/>
                      <a:pt x="237" y="1"/>
                    </a:cubicBezTo>
                    <a:cubicBezTo>
                      <a:pt x="236" y="2"/>
                      <a:pt x="235" y="3"/>
                      <a:pt x="235" y="5"/>
                    </a:cubicBezTo>
                    <a:cubicBezTo>
                      <a:pt x="233" y="24"/>
                      <a:pt x="217" y="39"/>
                      <a:pt x="198" y="39"/>
                    </a:cubicBezTo>
                    <a:cubicBezTo>
                      <a:pt x="179" y="39"/>
                      <a:pt x="162" y="25"/>
                      <a:pt x="160" y="5"/>
                    </a:cubicBezTo>
                    <a:cubicBezTo>
                      <a:pt x="160" y="3"/>
                      <a:pt x="159" y="2"/>
                      <a:pt x="158" y="1"/>
                    </a:cubicBezTo>
                    <a:cubicBezTo>
                      <a:pt x="157" y="1"/>
                      <a:pt x="155" y="0"/>
                      <a:pt x="154" y="1"/>
                    </a:cubicBezTo>
                    <a:cubicBezTo>
                      <a:pt x="131" y="5"/>
                      <a:pt x="109" y="15"/>
                      <a:pt x="89" y="27"/>
                    </a:cubicBezTo>
                    <a:cubicBezTo>
                      <a:pt x="88" y="28"/>
                      <a:pt x="87" y="29"/>
                      <a:pt x="87" y="31"/>
                    </a:cubicBezTo>
                    <a:cubicBezTo>
                      <a:pt x="86" y="32"/>
                      <a:pt x="87" y="33"/>
                      <a:pt x="88" y="35"/>
                    </a:cubicBezTo>
                    <a:cubicBezTo>
                      <a:pt x="100" y="50"/>
                      <a:pt x="99" y="71"/>
                      <a:pt x="85" y="85"/>
                    </a:cubicBezTo>
                    <a:cubicBezTo>
                      <a:pt x="71" y="99"/>
                      <a:pt x="49" y="100"/>
                      <a:pt x="34" y="88"/>
                    </a:cubicBezTo>
                    <a:cubicBezTo>
                      <a:pt x="33" y="87"/>
                      <a:pt x="32" y="87"/>
                      <a:pt x="30" y="87"/>
                    </a:cubicBezTo>
                    <a:cubicBezTo>
                      <a:pt x="29" y="87"/>
                      <a:pt x="27" y="88"/>
                      <a:pt x="27" y="89"/>
                    </a:cubicBezTo>
                    <a:cubicBezTo>
                      <a:pt x="15" y="109"/>
                      <a:pt x="5" y="131"/>
                      <a:pt x="1" y="153"/>
                    </a:cubicBezTo>
                    <a:cubicBezTo>
                      <a:pt x="0" y="155"/>
                      <a:pt x="1" y="156"/>
                      <a:pt x="1" y="157"/>
                    </a:cubicBezTo>
                    <a:cubicBezTo>
                      <a:pt x="2" y="159"/>
                      <a:pt x="3" y="159"/>
                      <a:pt x="5" y="159"/>
                    </a:cubicBezTo>
                    <a:cubicBezTo>
                      <a:pt x="24" y="161"/>
                      <a:pt x="39" y="178"/>
                      <a:pt x="39" y="197"/>
                    </a:cubicBezTo>
                    <a:cubicBezTo>
                      <a:pt x="39" y="216"/>
                      <a:pt x="25" y="233"/>
                      <a:pt x="5" y="235"/>
                    </a:cubicBezTo>
                    <a:cubicBezTo>
                      <a:pt x="3" y="235"/>
                      <a:pt x="2" y="235"/>
                      <a:pt x="1" y="237"/>
                    </a:cubicBezTo>
                    <a:cubicBezTo>
                      <a:pt x="1" y="238"/>
                      <a:pt x="0" y="239"/>
                      <a:pt x="1" y="241"/>
                    </a:cubicBezTo>
                    <a:cubicBezTo>
                      <a:pt x="5" y="264"/>
                      <a:pt x="15" y="286"/>
                      <a:pt x="27" y="306"/>
                    </a:cubicBezTo>
                    <a:cubicBezTo>
                      <a:pt x="28" y="307"/>
                      <a:pt x="29" y="308"/>
                      <a:pt x="31" y="308"/>
                    </a:cubicBezTo>
                    <a:cubicBezTo>
                      <a:pt x="32" y="309"/>
                      <a:pt x="33" y="308"/>
                      <a:pt x="35" y="307"/>
                    </a:cubicBezTo>
                    <a:cubicBezTo>
                      <a:pt x="50" y="295"/>
                      <a:pt x="71" y="296"/>
                      <a:pt x="85" y="310"/>
                    </a:cubicBezTo>
                    <a:cubicBezTo>
                      <a:pt x="99" y="323"/>
                      <a:pt x="100" y="345"/>
                      <a:pt x="88" y="361"/>
                    </a:cubicBezTo>
                    <a:cubicBezTo>
                      <a:pt x="87" y="362"/>
                      <a:pt x="87" y="363"/>
                      <a:pt x="87" y="365"/>
                    </a:cubicBezTo>
                    <a:cubicBezTo>
                      <a:pt x="87" y="366"/>
                      <a:pt x="88" y="367"/>
                      <a:pt x="89" y="368"/>
                    </a:cubicBezTo>
                    <a:cubicBezTo>
                      <a:pt x="109" y="381"/>
                      <a:pt x="131" y="390"/>
                      <a:pt x="154" y="395"/>
                    </a:cubicBezTo>
                    <a:cubicBezTo>
                      <a:pt x="155" y="395"/>
                      <a:pt x="157" y="395"/>
                      <a:pt x="158" y="394"/>
                    </a:cubicBezTo>
                    <a:cubicBezTo>
                      <a:pt x="159" y="393"/>
                      <a:pt x="160" y="392"/>
                      <a:pt x="160" y="391"/>
                    </a:cubicBezTo>
                    <a:cubicBezTo>
                      <a:pt x="162" y="371"/>
                      <a:pt x="178" y="357"/>
                      <a:pt x="197" y="357"/>
                    </a:cubicBezTo>
                    <a:cubicBezTo>
                      <a:pt x="217" y="357"/>
                      <a:pt x="233" y="371"/>
                      <a:pt x="235" y="391"/>
                    </a:cubicBezTo>
                    <a:cubicBezTo>
                      <a:pt x="235" y="392"/>
                      <a:pt x="236" y="393"/>
                      <a:pt x="237" y="394"/>
                    </a:cubicBezTo>
                    <a:cubicBezTo>
                      <a:pt x="238" y="395"/>
                      <a:pt x="239" y="395"/>
                      <a:pt x="240" y="395"/>
                    </a:cubicBezTo>
                    <a:cubicBezTo>
                      <a:pt x="240" y="395"/>
                      <a:pt x="241" y="395"/>
                      <a:pt x="241" y="395"/>
                    </a:cubicBezTo>
                    <a:cubicBezTo>
                      <a:pt x="264" y="390"/>
                      <a:pt x="285" y="381"/>
                      <a:pt x="305" y="368"/>
                    </a:cubicBezTo>
                    <a:cubicBezTo>
                      <a:pt x="307" y="367"/>
                      <a:pt x="307" y="366"/>
                      <a:pt x="308" y="365"/>
                    </a:cubicBezTo>
                    <a:cubicBezTo>
                      <a:pt x="308" y="363"/>
                      <a:pt x="308" y="362"/>
                      <a:pt x="307" y="361"/>
                    </a:cubicBezTo>
                    <a:cubicBezTo>
                      <a:pt x="295" y="345"/>
                      <a:pt x="296" y="324"/>
                      <a:pt x="309" y="310"/>
                    </a:cubicBezTo>
                    <a:cubicBezTo>
                      <a:pt x="323" y="296"/>
                      <a:pt x="345" y="295"/>
                      <a:pt x="360" y="307"/>
                    </a:cubicBezTo>
                    <a:cubicBezTo>
                      <a:pt x="361" y="308"/>
                      <a:pt x="363" y="308"/>
                      <a:pt x="364" y="308"/>
                    </a:cubicBezTo>
                    <a:cubicBezTo>
                      <a:pt x="366" y="308"/>
                      <a:pt x="367" y="307"/>
                      <a:pt x="368" y="306"/>
                    </a:cubicBezTo>
                    <a:cubicBezTo>
                      <a:pt x="381" y="286"/>
                      <a:pt x="389" y="264"/>
                      <a:pt x="395" y="241"/>
                    </a:cubicBezTo>
                    <a:cubicBezTo>
                      <a:pt x="395" y="240"/>
                      <a:pt x="395" y="239"/>
                      <a:pt x="394" y="237"/>
                    </a:cubicBezTo>
                    <a:cubicBezTo>
                      <a:pt x="393" y="236"/>
                      <a:pt x="391" y="235"/>
                      <a:pt x="390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" name="Freeform 154">
                <a:extLst>
                  <a:ext uri="{FF2B5EF4-FFF2-40B4-BE49-F238E27FC236}">
                    <a16:creationId xmlns:a16="http://schemas.microsoft.com/office/drawing/2014/main" xmlns="" id="{C79B89CB-467E-4C88-8F33-C2AB31708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775"/>
                <a:ext cx="525" cy="527"/>
              </a:xfrm>
              <a:custGeom>
                <a:avLst/>
                <a:gdLst>
                  <a:gd name="T0" fmla="*/ 124 w 249"/>
                  <a:gd name="T1" fmla="*/ 0 h 250"/>
                  <a:gd name="T2" fmla="*/ 0 w 249"/>
                  <a:gd name="T3" fmla="*/ 124 h 250"/>
                  <a:gd name="T4" fmla="*/ 124 w 249"/>
                  <a:gd name="T5" fmla="*/ 250 h 250"/>
                  <a:gd name="T6" fmla="*/ 249 w 249"/>
                  <a:gd name="T7" fmla="*/ 124 h 250"/>
                  <a:gd name="T8" fmla="*/ 124 w 249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50">
                    <a:moveTo>
                      <a:pt x="124" y="0"/>
                    </a:moveTo>
                    <a:cubicBezTo>
                      <a:pt x="56" y="0"/>
                      <a:pt x="0" y="56"/>
                      <a:pt x="0" y="124"/>
                    </a:cubicBezTo>
                    <a:cubicBezTo>
                      <a:pt x="0" y="193"/>
                      <a:pt x="56" y="250"/>
                      <a:pt x="124" y="250"/>
                    </a:cubicBezTo>
                    <a:cubicBezTo>
                      <a:pt x="193" y="250"/>
                      <a:pt x="249" y="194"/>
                      <a:pt x="249" y="124"/>
                    </a:cubicBezTo>
                    <a:cubicBezTo>
                      <a:pt x="249" y="55"/>
                      <a:pt x="193" y="0"/>
                      <a:pt x="12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" name="Oval 155">
                <a:extLst>
                  <a:ext uri="{FF2B5EF4-FFF2-40B4-BE49-F238E27FC236}">
                    <a16:creationId xmlns:a16="http://schemas.microsoft.com/office/drawing/2014/main" xmlns="" id="{50617403-CAE0-4EA4-BAC6-FA7E0BEC3E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962"/>
                <a:ext cx="149" cy="150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72" name="Group 152">
              <a:extLst>
                <a:ext uri="{FF2B5EF4-FFF2-40B4-BE49-F238E27FC236}">
                  <a16:creationId xmlns:a16="http://schemas.microsoft.com/office/drawing/2014/main" xmlns="" id="{B735860D-1CC6-4FC6-B1BE-0B6C46467C1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0924618">
              <a:off x="6106195" y="3100766"/>
              <a:ext cx="321358" cy="321358"/>
              <a:chOff x="887" y="621"/>
              <a:chExt cx="833" cy="833"/>
            </a:xfrm>
          </p:grpSpPr>
          <p:sp>
            <p:nvSpPr>
              <p:cNvPr id="73" name="Freeform 153">
                <a:extLst>
                  <a:ext uri="{FF2B5EF4-FFF2-40B4-BE49-F238E27FC236}">
                    <a16:creationId xmlns:a16="http://schemas.microsoft.com/office/drawing/2014/main" xmlns="" id="{366A4F47-A8E6-408B-8EEC-3E442E770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" y="621"/>
                <a:ext cx="833" cy="833"/>
              </a:xfrm>
              <a:custGeom>
                <a:avLst/>
                <a:gdLst>
                  <a:gd name="T0" fmla="*/ 390 w 395"/>
                  <a:gd name="T1" fmla="*/ 235 h 395"/>
                  <a:gd name="T2" fmla="*/ 356 w 395"/>
                  <a:gd name="T3" fmla="*/ 197 h 395"/>
                  <a:gd name="T4" fmla="*/ 390 w 395"/>
                  <a:gd name="T5" fmla="*/ 160 h 395"/>
                  <a:gd name="T6" fmla="*/ 393 w 395"/>
                  <a:gd name="T7" fmla="*/ 158 h 395"/>
                  <a:gd name="T8" fmla="*/ 394 w 395"/>
                  <a:gd name="T9" fmla="*/ 154 h 395"/>
                  <a:gd name="T10" fmla="*/ 367 w 395"/>
                  <a:gd name="T11" fmla="*/ 89 h 395"/>
                  <a:gd name="T12" fmla="*/ 364 w 395"/>
                  <a:gd name="T13" fmla="*/ 87 h 395"/>
                  <a:gd name="T14" fmla="*/ 360 w 395"/>
                  <a:gd name="T15" fmla="*/ 88 h 395"/>
                  <a:gd name="T16" fmla="*/ 309 w 395"/>
                  <a:gd name="T17" fmla="*/ 85 h 395"/>
                  <a:gd name="T18" fmla="*/ 306 w 395"/>
                  <a:gd name="T19" fmla="*/ 35 h 395"/>
                  <a:gd name="T20" fmla="*/ 307 w 395"/>
                  <a:gd name="T21" fmla="*/ 31 h 395"/>
                  <a:gd name="T22" fmla="*/ 305 w 395"/>
                  <a:gd name="T23" fmla="*/ 27 h 395"/>
                  <a:gd name="T24" fmla="*/ 241 w 395"/>
                  <a:gd name="T25" fmla="*/ 1 h 395"/>
                  <a:gd name="T26" fmla="*/ 237 w 395"/>
                  <a:gd name="T27" fmla="*/ 1 h 395"/>
                  <a:gd name="T28" fmla="*/ 235 w 395"/>
                  <a:gd name="T29" fmla="*/ 5 h 395"/>
                  <a:gd name="T30" fmla="*/ 198 w 395"/>
                  <a:gd name="T31" fmla="*/ 39 h 395"/>
                  <a:gd name="T32" fmla="*/ 160 w 395"/>
                  <a:gd name="T33" fmla="*/ 5 h 395"/>
                  <a:gd name="T34" fmla="*/ 158 w 395"/>
                  <a:gd name="T35" fmla="*/ 1 h 395"/>
                  <a:gd name="T36" fmla="*/ 154 w 395"/>
                  <a:gd name="T37" fmla="*/ 1 h 395"/>
                  <a:gd name="T38" fmla="*/ 89 w 395"/>
                  <a:gd name="T39" fmla="*/ 27 h 395"/>
                  <a:gd name="T40" fmla="*/ 87 w 395"/>
                  <a:gd name="T41" fmla="*/ 31 h 395"/>
                  <a:gd name="T42" fmla="*/ 88 w 395"/>
                  <a:gd name="T43" fmla="*/ 35 h 395"/>
                  <a:gd name="T44" fmla="*/ 85 w 395"/>
                  <a:gd name="T45" fmla="*/ 85 h 395"/>
                  <a:gd name="T46" fmla="*/ 34 w 395"/>
                  <a:gd name="T47" fmla="*/ 88 h 395"/>
                  <a:gd name="T48" fmla="*/ 30 w 395"/>
                  <a:gd name="T49" fmla="*/ 87 h 395"/>
                  <a:gd name="T50" fmla="*/ 27 w 395"/>
                  <a:gd name="T51" fmla="*/ 89 h 395"/>
                  <a:gd name="T52" fmla="*/ 1 w 395"/>
                  <a:gd name="T53" fmla="*/ 153 h 395"/>
                  <a:gd name="T54" fmla="*/ 1 w 395"/>
                  <a:gd name="T55" fmla="*/ 157 h 395"/>
                  <a:gd name="T56" fmla="*/ 5 w 395"/>
                  <a:gd name="T57" fmla="*/ 159 h 395"/>
                  <a:gd name="T58" fmla="*/ 39 w 395"/>
                  <a:gd name="T59" fmla="*/ 197 h 395"/>
                  <a:gd name="T60" fmla="*/ 5 w 395"/>
                  <a:gd name="T61" fmla="*/ 235 h 395"/>
                  <a:gd name="T62" fmla="*/ 1 w 395"/>
                  <a:gd name="T63" fmla="*/ 237 h 395"/>
                  <a:gd name="T64" fmla="*/ 1 w 395"/>
                  <a:gd name="T65" fmla="*/ 241 h 395"/>
                  <a:gd name="T66" fmla="*/ 27 w 395"/>
                  <a:gd name="T67" fmla="*/ 306 h 395"/>
                  <a:gd name="T68" fmla="*/ 31 w 395"/>
                  <a:gd name="T69" fmla="*/ 308 h 395"/>
                  <a:gd name="T70" fmla="*/ 35 w 395"/>
                  <a:gd name="T71" fmla="*/ 307 h 395"/>
                  <a:gd name="T72" fmla="*/ 85 w 395"/>
                  <a:gd name="T73" fmla="*/ 310 h 395"/>
                  <a:gd name="T74" fmla="*/ 88 w 395"/>
                  <a:gd name="T75" fmla="*/ 361 h 395"/>
                  <a:gd name="T76" fmla="*/ 87 w 395"/>
                  <a:gd name="T77" fmla="*/ 365 h 395"/>
                  <a:gd name="T78" fmla="*/ 89 w 395"/>
                  <a:gd name="T79" fmla="*/ 368 h 395"/>
                  <a:gd name="T80" fmla="*/ 154 w 395"/>
                  <a:gd name="T81" fmla="*/ 395 h 395"/>
                  <a:gd name="T82" fmla="*/ 158 w 395"/>
                  <a:gd name="T83" fmla="*/ 394 h 395"/>
                  <a:gd name="T84" fmla="*/ 160 w 395"/>
                  <a:gd name="T85" fmla="*/ 391 h 395"/>
                  <a:gd name="T86" fmla="*/ 197 w 395"/>
                  <a:gd name="T87" fmla="*/ 357 h 395"/>
                  <a:gd name="T88" fmla="*/ 235 w 395"/>
                  <a:gd name="T89" fmla="*/ 391 h 395"/>
                  <a:gd name="T90" fmla="*/ 237 w 395"/>
                  <a:gd name="T91" fmla="*/ 394 h 395"/>
                  <a:gd name="T92" fmla="*/ 240 w 395"/>
                  <a:gd name="T93" fmla="*/ 395 h 395"/>
                  <a:gd name="T94" fmla="*/ 241 w 395"/>
                  <a:gd name="T95" fmla="*/ 395 h 395"/>
                  <a:gd name="T96" fmla="*/ 305 w 395"/>
                  <a:gd name="T97" fmla="*/ 368 h 395"/>
                  <a:gd name="T98" fmla="*/ 308 w 395"/>
                  <a:gd name="T99" fmla="*/ 365 h 395"/>
                  <a:gd name="T100" fmla="*/ 307 w 395"/>
                  <a:gd name="T101" fmla="*/ 361 h 395"/>
                  <a:gd name="T102" fmla="*/ 309 w 395"/>
                  <a:gd name="T103" fmla="*/ 310 h 395"/>
                  <a:gd name="T104" fmla="*/ 360 w 395"/>
                  <a:gd name="T105" fmla="*/ 307 h 395"/>
                  <a:gd name="T106" fmla="*/ 364 w 395"/>
                  <a:gd name="T107" fmla="*/ 308 h 395"/>
                  <a:gd name="T108" fmla="*/ 368 w 395"/>
                  <a:gd name="T109" fmla="*/ 306 h 395"/>
                  <a:gd name="T110" fmla="*/ 395 w 395"/>
                  <a:gd name="T111" fmla="*/ 241 h 395"/>
                  <a:gd name="T112" fmla="*/ 394 w 395"/>
                  <a:gd name="T113" fmla="*/ 237 h 395"/>
                  <a:gd name="T114" fmla="*/ 390 w 395"/>
                  <a:gd name="T115" fmla="*/ 23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5" h="395">
                    <a:moveTo>
                      <a:pt x="390" y="235"/>
                    </a:moveTo>
                    <a:cubicBezTo>
                      <a:pt x="371" y="233"/>
                      <a:pt x="356" y="217"/>
                      <a:pt x="356" y="197"/>
                    </a:cubicBezTo>
                    <a:cubicBezTo>
                      <a:pt x="356" y="178"/>
                      <a:pt x="370" y="162"/>
                      <a:pt x="390" y="160"/>
                    </a:cubicBezTo>
                    <a:cubicBezTo>
                      <a:pt x="391" y="160"/>
                      <a:pt x="393" y="159"/>
                      <a:pt x="393" y="158"/>
                    </a:cubicBezTo>
                    <a:cubicBezTo>
                      <a:pt x="394" y="157"/>
                      <a:pt x="395" y="155"/>
                      <a:pt x="394" y="154"/>
                    </a:cubicBezTo>
                    <a:cubicBezTo>
                      <a:pt x="389" y="131"/>
                      <a:pt x="380" y="109"/>
                      <a:pt x="367" y="89"/>
                    </a:cubicBezTo>
                    <a:cubicBezTo>
                      <a:pt x="367" y="88"/>
                      <a:pt x="365" y="87"/>
                      <a:pt x="364" y="87"/>
                    </a:cubicBezTo>
                    <a:cubicBezTo>
                      <a:pt x="363" y="87"/>
                      <a:pt x="361" y="87"/>
                      <a:pt x="360" y="88"/>
                    </a:cubicBezTo>
                    <a:cubicBezTo>
                      <a:pt x="345" y="100"/>
                      <a:pt x="323" y="99"/>
                      <a:pt x="309" y="85"/>
                    </a:cubicBezTo>
                    <a:cubicBezTo>
                      <a:pt x="295" y="72"/>
                      <a:pt x="294" y="50"/>
                      <a:pt x="306" y="35"/>
                    </a:cubicBezTo>
                    <a:cubicBezTo>
                      <a:pt x="307" y="33"/>
                      <a:pt x="307" y="32"/>
                      <a:pt x="307" y="31"/>
                    </a:cubicBezTo>
                    <a:cubicBezTo>
                      <a:pt x="307" y="29"/>
                      <a:pt x="306" y="28"/>
                      <a:pt x="305" y="27"/>
                    </a:cubicBezTo>
                    <a:cubicBezTo>
                      <a:pt x="286" y="15"/>
                      <a:pt x="264" y="5"/>
                      <a:pt x="241" y="1"/>
                    </a:cubicBezTo>
                    <a:cubicBezTo>
                      <a:pt x="240" y="0"/>
                      <a:pt x="239" y="1"/>
                      <a:pt x="237" y="1"/>
                    </a:cubicBezTo>
                    <a:cubicBezTo>
                      <a:pt x="236" y="2"/>
                      <a:pt x="235" y="3"/>
                      <a:pt x="235" y="5"/>
                    </a:cubicBezTo>
                    <a:cubicBezTo>
                      <a:pt x="233" y="24"/>
                      <a:pt x="217" y="39"/>
                      <a:pt x="198" y="39"/>
                    </a:cubicBezTo>
                    <a:cubicBezTo>
                      <a:pt x="179" y="39"/>
                      <a:pt x="162" y="25"/>
                      <a:pt x="160" y="5"/>
                    </a:cubicBezTo>
                    <a:cubicBezTo>
                      <a:pt x="160" y="3"/>
                      <a:pt x="159" y="2"/>
                      <a:pt x="158" y="1"/>
                    </a:cubicBezTo>
                    <a:cubicBezTo>
                      <a:pt x="157" y="1"/>
                      <a:pt x="155" y="0"/>
                      <a:pt x="154" y="1"/>
                    </a:cubicBezTo>
                    <a:cubicBezTo>
                      <a:pt x="131" y="5"/>
                      <a:pt x="109" y="15"/>
                      <a:pt x="89" y="27"/>
                    </a:cubicBezTo>
                    <a:cubicBezTo>
                      <a:pt x="88" y="28"/>
                      <a:pt x="87" y="29"/>
                      <a:pt x="87" y="31"/>
                    </a:cubicBezTo>
                    <a:cubicBezTo>
                      <a:pt x="86" y="32"/>
                      <a:pt x="87" y="33"/>
                      <a:pt x="88" y="35"/>
                    </a:cubicBezTo>
                    <a:cubicBezTo>
                      <a:pt x="100" y="50"/>
                      <a:pt x="99" y="71"/>
                      <a:pt x="85" y="85"/>
                    </a:cubicBezTo>
                    <a:cubicBezTo>
                      <a:pt x="71" y="99"/>
                      <a:pt x="49" y="100"/>
                      <a:pt x="34" y="88"/>
                    </a:cubicBezTo>
                    <a:cubicBezTo>
                      <a:pt x="33" y="87"/>
                      <a:pt x="32" y="87"/>
                      <a:pt x="30" y="87"/>
                    </a:cubicBezTo>
                    <a:cubicBezTo>
                      <a:pt x="29" y="87"/>
                      <a:pt x="27" y="88"/>
                      <a:pt x="27" y="89"/>
                    </a:cubicBezTo>
                    <a:cubicBezTo>
                      <a:pt x="15" y="109"/>
                      <a:pt x="5" y="131"/>
                      <a:pt x="1" y="153"/>
                    </a:cubicBezTo>
                    <a:cubicBezTo>
                      <a:pt x="0" y="155"/>
                      <a:pt x="1" y="156"/>
                      <a:pt x="1" y="157"/>
                    </a:cubicBezTo>
                    <a:cubicBezTo>
                      <a:pt x="2" y="159"/>
                      <a:pt x="3" y="159"/>
                      <a:pt x="5" y="159"/>
                    </a:cubicBezTo>
                    <a:cubicBezTo>
                      <a:pt x="24" y="161"/>
                      <a:pt x="39" y="178"/>
                      <a:pt x="39" y="197"/>
                    </a:cubicBezTo>
                    <a:cubicBezTo>
                      <a:pt x="39" y="216"/>
                      <a:pt x="25" y="233"/>
                      <a:pt x="5" y="235"/>
                    </a:cubicBezTo>
                    <a:cubicBezTo>
                      <a:pt x="3" y="235"/>
                      <a:pt x="2" y="235"/>
                      <a:pt x="1" y="237"/>
                    </a:cubicBezTo>
                    <a:cubicBezTo>
                      <a:pt x="1" y="238"/>
                      <a:pt x="0" y="239"/>
                      <a:pt x="1" y="241"/>
                    </a:cubicBezTo>
                    <a:cubicBezTo>
                      <a:pt x="5" y="264"/>
                      <a:pt x="15" y="286"/>
                      <a:pt x="27" y="306"/>
                    </a:cubicBezTo>
                    <a:cubicBezTo>
                      <a:pt x="28" y="307"/>
                      <a:pt x="29" y="308"/>
                      <a:pt x="31" y="308"/>
                    </a:cubicBezTo>
                    <a:cubicBezTo>
                      <a:pt x="32" y="309"/>
                      <a:pt x="33" y="308"/>
                      <a:pt x="35" y="307"/>
                    </a:cubicBezTo>
                    <a:cubicBezTo>
                      <a:pt x="50" y="295"/>
                      <a:pt x="71" y="296"/>
                      <a:pt x="85" y="310"/>
                    </a:cubicBezTo>
                    <a:cubicBezTo>
                      <a:pt x="99" y="323"/>
                      <a:pt x="100" y="345"/>
                      <a:pt x="88" y="361"/>
                    </a:cubicBezTo>
                    <a:cubicBezTo>
                      <a:pt x="87" y="362"/>
                      <a:pt x="87" y="363"/>
                      <a:pt x="87" y="365"/>
                    </a:cubicBezTo>
                    <a:cubicBezTo>
                      <a:pt x="87" y="366"/>
                      <a:pt x="88" y="367"/>
                      <a:pt x="89" y="368"/>
                    </a:cubicBezTo>
                    <a:cubicBezTo>
                      <a:pt x="109" y="381"/>
                      <a:pt x="131" y="390"/>
                      <a:pt x="154" y="395"/>
                    </a:cubicBezTo>
                    <a:cubicBezTo>
                      <a:pt x="155" y="395"/>
                      <a:pt x="157" y="395"/>
                      <a:pt x="158" y="394"/>
                    </a:cubicBezTo>
                    <a:cubicBezTo>
                      <a:pt x="159" y="393"/>
                      <a:pt x="160" y="392"/>
                      <a:pt x="160" y="391"/>
                    </a:cubicBezTo>
                    <a:cubicBezTo>
                      <a:pt x="162" y="371"/>
                      <a:pt x="178" y="357"/>
                      <a:pt x="197" y="357"/>
                    </a:cubicBezTo>
                    <a:cubicBezTo>
                      <a:pt x="217" y="357"/>
                      <a:pt x="233" y="371"/>
                      <a:pt x="235" y="391"/>
                    </a:cubicBezTo>
                    <a:cubicBezTo>
                      <a:pt x="235" y="392"/>
                      <a:pt x="236" y="393"/>
                      <a:pt x="237" y="394"/>
                    </a:cubicBezTo>
                    <a:cubicBezTo>
                      <a:pt x="238" y="395"/>
                      <a:pt x="239" y="395"/>
                      <a:pt x="240" y="395"/>
                    </a:cubicBezTo>
                    <a:cubicBezTo>
                      <a:pt x="240" y="395"/>
                      <a:pt x="241" y="395"/>
                      <a:pt x="241" y="395"/>
                    </a:cubicBezTo>
                    <a:cubicBezTo>
                      <a:pt x="264" y="390"/>
                      <a:pt x="285" y="381"/>
                      <a:pt x="305" y="368"/>
                    </a:cubicBezTo>
                    <a:cubicBezTo>
                      <a:pt x="307" y="367"/>
                      <a:pt x="307" y="366"/>
                      <a:pt x="308" y="365"/>
                    </a:cubicBezTo>
                    <a:cubicBezTo>
                      <a:pt x="308" y="363"/>
                      <a:pt x="308" y="362"/>
                      <a:pt x="307" y="361"/>
                    </a:cubicBezTo>
                    <a:cubicBezTo>
                      <a:pt x="295" y="345"/>
                      <a:pt x="296" y="324"/>
                      <a:pt x="309" y="310"/>
                    </a:cubicBezTo>
                    <a:cubicBezTo>
                      <a:pt x="323" y="296"/>
                      <a:pt x="345" y="295"/>
                      <a:pt x="360" y="307"/>
                    </a:cubicBezTo>
                    <a:cubicBezTo>
                      <a:pt x="361" y="308"/>
                      <a:pt x="363" y="308"/>
                      <a:pt x="364" y="308"/>
                    </a:cubicBezTo>
                    <a:cubicBezTo>
                      <a:pt x="366" y="308"/>
                      <a:pt x="367" y="307"/>
                      <a:pt x="368" y="306"/>
                    </a:cubicBezTo>
                    <a:cubicBezTo>
                      <a:pt x="381" y="286"/>
                      <a:pt x="389" y="264"/>
                      <a:pt x="395" y="241"/>
                    </a:cubicBezTo>
                    <a:cubicBezTo>
                      <a:pt x="395" y="240"/>
                      <a:pt x="395" y="239"/>
                      <a:pt x="394" y="237"/>
                    </a:cubicBezTo>
                    <a:cubicBezTo>
                      <a:pt x="393" y="236"/>
                      <a:pt x="391" y="235"/>
                      <a:pt x="390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" name="Freeform 154">
                <a:extLst>
                  <a:ext uri="{FF2B5EF4-FFF2-40B4-BE49-F238E27FC236}">
                    <a16:creationId xmlns:a16="http://schemas.microsoft.com/office/drawing/2014/main" xmlns="" id="{9711B8C4-8AC5-4D53-B1EA-761F0ACEB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775"/>
                <a:ext cx="525" cy="527"/>
              </a:xfrm>
              <a:custGeom>
                <a:avLst/>
                <a:gdLst>
                  <a:gd name="T0" fmla="*/ 124 w 249"/>
                  <a:gd name="T1" fmla="*/ 0 h 250"/>
                  <a:gd name="T2" fmla="*/ 0 w 249"/>
                  <a:gd name="T3" fmla="*/ 124 h 250"/>
                  <a:gd name="T4" fmla="*/ 124 w 249"/>
                  <a:gd name="T5" fmla="*/ 250 h 250"/>
                  <a:gd name="T6" fmla="*/ 249 w 249"/>
                  <a:gd name="T7" fmla="*/ 124 h 250"/>
                  <a:gd name="T8" fmla="*/ 124 w 249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50">
                    <a:moveTo>
                      <a:pt x="124" y="0"/>
                    </a:moveTo>
                    <a:cubicBezTo>
                      <a:pt x="56" y="0"/>
                      <a:pt x="0" y="56"/>
                      <a:pt x="0" y="124"/>
                    </a:cubicBezTo>
                    <a:cubicBezTo>
                      <a:pt x="0" y="193"/>
                      <a:pt x="56" y="250"/>
                      <a:pt x="124" y="250"/>
                    </a:cubicBezTo>
                    <a:cubicBezTo>
                      <a:pt x="193" y="250"/>
                      <a:pt x="249" y="194"/>
                      <a:pt x="249" y="124"/>
                    </a:cubicBezTo>
                    <a:cubicBezTo>
                      <a:pt x="249" y="55"/>
                      <a:pt x="193" y="0"/>
                      <a:pt x="12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5" name="Oval 155">
                <a:extLst>
                  <a:ext uri="{FF2B5EF4-FFF2-40B4-BE49-F238E27FC236}">
                    <a16:creationId xmlns:a16="http://schemas.microsoft.com/office/drawing/2014/main" xmlns="" id="{4B00907E-64DB-4C63-8A4B-F50F374F18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962"/>
                <a:ext cx="149" cy="150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78753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9E184F1-CFFE-4690-B076-670299FE2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G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0AB7F8EF-4A4A-4BAA-B1F2-78DA56D58C5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ACC2EE23-B49A-4B40-8F0C-75C3EAF3D9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144BAB1-6F2C-4094-BB89-722B6DDDC3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8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3645C88-9F11-44B2-903F-E174672EF9FD}"/>
              </a:ext>
            </a:extLst>
          </p:cNvPr>
          <p:cNvSpPr/>
          <p:nvPr/>
        </p:nvSpPr>
        <p:spPr>
          <a:xfrm>
            <a:off x="4585622" y="2259118"/>
            <a:ext cx="2467343" cy="64633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accent4"/>
                </a:solidFill>
              </a:rPr>
              <a:t>LISTENER</a:t>
            </a:r>
            <a:endParaRPr lang="fr-FR" sz="3600" dirty="0">
              <a:solidFill>
                <a:schemeClr val="accent4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6B0998D-9AA6-421C-ACBA-B23CDAA7FEDE}"/>
              </a:ext>
            </a:extLst>
          </p:cNvPr>
          <p:cNvSpPr/>
          <p:nvPr/>
        </p:nvSpPr>
        <p:spPr>
          <a:xfrm>
            <a:off x="1522348" y="2814690"/>
            <a:ext cx="3635932" cy="83099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2400" b="1" dirty="0">
                <a:solidFill>
                  <a:srgbClr val="FFC300"/>
                </a:solidFill>
              </a:rPr>
              <a:t>LOREM IPSUM DOLOR </a:t>
            </a:r>
          </a:p>
          <a:p>
            <a:pPr algn="r"/>
            <a:r>
              <a:rPr lang="en-US" sz="2400" b="1" dirty="0">
                <a:solidFill>
                  <a:srgbClr val="FFC300"/>
                </a:solidFill>
              </a:rPr>
              <a:t>SIT</a:t>
            </a:r>
            <a:endParaRPr lang="fr-FR" sz="2400" dirty="0">
              <a:solidFill>
                <a:srgbClr val="FFC3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74BE12E-A94B-4C90-9094-6CFF9E2581FC}"/>
              </a:ext>
            </a:extLst>
          </p:cNvPr>
          <p:cNvSpPr/>
          <p:nvPr/>
        </p:nvSpPr>
        <p:spPr>
          <a:xfrm>
            <a:off x="2200050" y="3471339"/>
            <a:ext cx="2406428" cy="70788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WRITING</a:t>
            </a:r>
            <a:endParaRPr lang="fr-FR" sz="4000" dirty="0">
              <a:solidFill>
                <a:schemeClr val="accent5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545F718-BFA9-4364-9859-D69C6E00BFAE}"/>
              </a:ext>
            </a:extLst>
          </p:cNvPr>
          <p:cNvSpPr/>
          <p:nvPr/>
        </p:nvSpPr>
        <p:spPr>
          <a:xfrm>
            <a:off x="2988598" y="4005064"/>
            <a:ext cx="1851789" cy="64633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</a:rPr>
              <a:t>LOREM</a:t>
            </a:r>
            <a:endParaRPr lang="fr-FR" sz="2300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D7A3694E-6955-4F3B-B4FC-831D4E7261EE}"/>
              </a:ext>
            </a:extLst>
          </p:cNvPr>
          <p:cNvSpPr/>
          <p:nvPr/>
        </p:nvSpPr>
        <p:spPr>
          <a:xfrm>
            <a:off x="5404191" y="2984492"/>
            <a:ext cx="1794081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200" b="1" dirty="0">
                <a:solidFill>
                  <a:srgbClr val="69AF23"/>
                </a:solidFill>
              </a:rPr>
              <a:t>DIGITAL</a:t>
            </a:r>
            <a:endParaRPr lang="fr-FR" sz="3200" dirty="0">
              <a:solidFill>
                <a:srgbClr val="69AF23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E599A2C-7796-40F3-9A84-2FC45CD55D23}"/>
              </a:ext>
            </a:extLst>
          </p:cNvPr>
          <p:cNvSpPr/>
          <p:nvPr/>
        </p:nvSpPr>
        <p:spPr>
          <a:xfrm>
            <a:off x="3157411" y="2361515"/>
            <a:ext cx="1202573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BOLD</a:t>
            </a:r>
            <a:endParaRPr lang="fr-FR" sz="2800" dirty="0">
              <a:solidFill>
                <a:schemeClr val="accent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DEA4FA6-4346-4721-9EB2-28568911AE0D}"/>
              </a:ext>
            </a:extLst>
          </p:cNvPr>
          <p:cNvSpPr/>
          <p:nvPr/>
        </p:nvSpPr>
        <p:spPr>
          <a:xfrm>
            <a:off x="5093354" y="4475674"/>
            <a:ext cx="1715919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b="1" dirty="0">
                <a:solidFill>
                  <a:schemeClr val="accent4"/>
                </a:solidFill>
              </a:rPr>
              <a:t>INNOVATIVE</a:t>
            </a:r>
            <a:endParaRPr lang="fr-FR" sz="2000" dirty="0">
              <a:solidFill>
                <a:schemeClr val="accent4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E8F345F-09F7-4693-8E8B-A7D521780F60}"/>
              </a:ext>
            </a:extLst>
          </p:cNvPr>
          <p:cNvSpPr/>
          <p:nvPr/>
        </p:nvSpPr>
        <p:spPr>
          <a:xfrm>
            <a:off x="4769838" y="3569267"/>
            <a:ext cx="2441695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CONTENTS</a:t>
            </a:r>
            <a:endParaRPr lang="fr-FR" sz="3200" dirty="0">
              <a:solidFill>
                <a:schemeClr val="accent3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6CFC63D-1A91-4FCF-9E48-0B8401BE546F}"/>
              </a:ext>
            </a:extLst>
          </p:cNvPr>
          <p:cNvSpPr/>
          <p:nvPr/>
        </p:nvSpPr>
        <p:spPr>
          <a:xfrm>
            <a:off x="4716016" y="1556792"/>
            <a:ext cx="15313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dirty="0" err="1">
                <a:solidFill>
                  <a:schemeClr val="bg2">
                    <a:lumMod val="75000"/>
                  </a:schemeClr>
                </a:solidFill>
              </a:rPr>
              <a:t>Understanding</a:t>
            </a:r>
            <a:endParaRPr lang="fr-FR" sz="105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b="1" dirty="0" err="1">
                <a:solidFill>
                  <a:schemeClr val="accent4"/>
                </a:solidFill>
              </a:rPr>
              <a:t>Analysis</a:t>
            </a:r>
            <a:endParaRPr lang="fr-FR" sz="1050" b="1" dirty="0">
              <a:solidFill>
                <a:schemeClr val="accent4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dirty="0" err="1">
                <a:solidFill>
                  <a:schemeClr val="bg2">
                    <a:lumMod val="75000"/>
                  </a:schemeClr>
                </a:solidFill>
              </a:rPr>
              <a:t>Recommendations</a:t>
            </a:r>
            <a:endParaRPr lang="fr-FR" sz="105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dirty="0">
                <a:solidFill>
                  <a:schemeClr val="bg2">
                    <a:lumMod val="75000"/>
                  </a:schemeClr>
                </a:solidFill>
              </a:rPr>
              <a:t>Wide perspectiv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BAA29C0-E76B-4F97-B67A-B20146D36E69}"/>
              </a:ext>
            </a:extLst>
          </p:cNvPr>
          <p:cNvSpPr/>
          <p:nvPr/>
        </p:nvSpPr>
        <p:spPr>
          <a:xfrm>
            <a:off x="7111163" y="3229526"/>
            <a:ext cx="15313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b="1" dirty="0">
                <a:solidFill>
                  <a:srgbClr val="69AF23"/>
                </a:solidFill>
              </a:rPr>
              <a:t>Lorem ipsum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fr-FR" sz="1050" b="1" dirty="0">
                <a:solidFill>
                  <a:schemeClr val="bg1">
                    <a:lumMod val="50000"/>
                  </a:schemeClr>
                </a:solidFill>
              </a:rPr>
              <a:t>Business suppor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A62065-9DD4-4718-863D-0E04BE83277B}"/>
              </a:ext>
            </a:extLst>
          </p:cNvPr>
          <p:cNvSpPr/>
          <p:nvPr/>
        </p:nvSpPr>
        <p:spPr>
          <a:xfrm>
            <a:off x="7088894" y="3648310"/>
            <a:ext cx="153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3"/>
                </a:solidFill>
              </a:rPr>
              <a:t>Writ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3"/>
                </a:solidFill>
              </a:rPr>
              <a:t>Vulgarizatio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3"/>
                </a:solidFill>
              </a:rPr>
              <a:t>Simplificatio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3"/>
                </a:solidFill>
              </a:rPr>
              <a:t>Consistenc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Lorem ipsum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3"/>
                </a:solidFill>
              </a:rPr>
              <a:t>English check</a:t>
            </a:r>
            <a:endParaRPr lang="fr-FR" sz="1050" b="1" dirty="0">
              <a:solidFill>
                <a:schemeClr val="accent3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0DA84B1-442D-4218-BB2C-89C78028F2FD}"/>
              </a:ext>
            </a:extLst>
          </p:cNvPr>
          <p:cNvSpPr/>
          <p:nvPr/>
        </p:nvSpPr>
        <p:spPr>
          <a:xfrm>
            <a:off x="4694435" y="4875784"/>
            <a:ext cx="153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chemeClr val="bg2">
                    <a:lumMod val="75000"/>
                  </a:schemeClr>
                </a:solidFill>
              </a:rPr>
              <a:t>Lorem ipsum dolo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chemeClr val="bg2">
                    <a:lumMod val="75000"/>
                  </a:schemeClr>
                </a:solidFill>
              </a:rPr>
              <a:t>sit amet, consectetuer </a:t>
            </a:r>
            <a:r>
              <a:rPr lang="en-US" sz="1050" b="1" dirty="0">
                <a:solidFill>
                  <a:schemeClr val="bg2">
                    <a:lumMod val="75000"/>
                  </a:schemeClr>
                </a:solidFill>
              </a:rPr>
              <a:t>adipiscing elit. Maecenas porttitor congue massa.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05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F004565-F3BF-41FF-9A79-3E3FC6D4BAF1}"/>
              </a:ext>
            </a:extLst>
          </p:cNvPr>
          <p:cNvSpPr/>
          <p:nvPr/>
        </p:nvSpPr>
        <p:spPr>
          <a:xfrm>
            <a:off x="1678307" y="5002517"/>
            <a:ext cx="117813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2">
                    <a:lumMod val="75000"/>
                  </a:schemeClr>
                </a:solidFill>
              </a:rPr>
              <a:t>Follow-up</a:t>
            </a:r>
          </a:p>
          <a:p>
            <a:r>
              <a:rPr lang="fr-FR" sz="1050" dirty="0" err="1">
                <a:solidFill>
                  <a:schemeClr val="bg2">
                    <a:lumMod val="75000"/>
                  </a:schemeClr>
                </a:solidFill>
              </a:rPr>
              <a:t>Deliverables</a:t>
            </a:r>
            <a:endParaRPr lang="fr-FR" sz="105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chemeClr val="accent1"/>
                </a:solidFill>
              </a:rPr>
              <a:t>Budget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chemeClr val="bg2">
                    <a:lumMod val="75000"/>
                  </a:schemeClr>
                </a:solidFill>
              </a:rPr>
              <a:t>Plann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410E2D4-D502-4C27-856C-D62EB8C0F0D3}"/>
              </a:ext>
            </a:extLst>
          </p:cNvPr>
          <p:cNvSpPr/>
          <p:nvPr/>
        </p:nvSpPr>
        <p:spPr>
          <a:xfrm>
            <a:off x="325693" y="3576457"/>
            <a:ext cx="201405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050" b="1" dirty="0">
                <a:solidFill>
                  <a:schemeClr val="accent5"/>
                </a:solidFill>
              </a:rPr>
              <a:t>Give trust</a:t>
            </a:r>
          </a:p>
          <a:p>
            <a:pPr algn="r"/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Brand management</a:t>
            </a:r>
          </a:p>
          <a:p>
            <a:pPr algn="r"/>
            <a:r>
              <a:rPr lang="en-GB" sz="1050" b="1" dirty="0">
                <a:solidFill>
                  <a:schemeClr val="accent5"/>
                </a:solidFill>
              </a:rPr>
              <a:t>Media plan</a:t>
            </a:r>
          </a:p>
          <a:p>
            <a:pPr algn="r"/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Impact analysis</a:t>
            </a:r>
          </a:p>
          <a:p>
            <a:pPr algn="r"/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Public relations</a:t>
            </a:r>
            <a:endParaRPr lang="en-US" sz="105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7E96AF95-075C-4536-BEA7-5E27F4DEE2A1}"/>
              </a:ext>
            </a:extLst>
          </p:cNvPr>
          <p:cNvSpPr/>
          <p:nvPr/>
        </p:nvSpPr>
        <p:spPr>
          <a:xfrm>
            <a:off x="2699792" y="1465910"/>
            <a:ext cx="201405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chemeClr val="accent2"/>
                </a:solidFill>
              </a:rPr>
              <a:t>General management translator</a:t>
            </a:r>
            <a:endParaRPr lang="en-GB" sz="105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Formats and messag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82C7943-A4B1-4CA9-8AE2-D71D47C48066}"/>
              </a:ext>
            </a:extLst>
          </p:cNvPr>
          <p:cNvSpPr/>
          <p:nvPr/>
        </p:nvSpPr>
        <p:spPr>
          <a:xfrm>
            <a:off x="441545" y="2096706"/>
            <a:ext cx="201405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Lorem ipsum </a:t>
            </a:r>
          </a:p>
          <a:p>
            <a:pPr algn="r"/>
            <a:r>
              <a:rPr lang="en-GB" sz="1050" dirty="0" err="1">
                <a:solidFill>
                  <a:srgbClr val="FFC300"/>
                </a:solidFill>
              </a:rPr>
              <a:t>dolor</a:t>
            </a:r>
            <a:r>
              <a:rPr lang="en-GB" sz="1050" dirty="0">
                <a:solidFill>
                  <a:srgbClr val="FFC300"/>
                </a:solidFill>
              </a:rPr>
              <a:t> sit </a:t>
            </a:r>
            <a:r>
              <a:rPr lang="en-GB" sz="1050" dirty="0" err="1">
                <a:solidFill>
                  <a:srgbClr val="FFC300"/>
                </a:solidFill>
              </a:rPr>
              <a:t>amet</a:t>
            </a: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,</a:t>
            </a:r>
          </a:p>
          <a:p>
            <a:pPr algn="r"/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sz="1050" dirty="0" err="1">
                <a:solidFill>
                  <a:schemeClr val="bg2">
                    <a:lumMod val="75000"/>
                  </a:schemeClr>
                </a:solidFill>
              </a:rPr>
              <a:t>consectetuer</a:t>
            </a: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algn="r"/>
            <a:r>
              <a:rPr lang="en-GB" sz="1050" dirty="0" err="1">
                <a:solidFill>
                  <a:srgbClr val="FFC300"/>
                </a:solidFill>
              </a:rPr>
              <a:t>adipiscing</a:t>
            </a: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algn="r"/>
            <a:r>
              <a:rPr lang="en-GB" sz="1050" dirty="0" err="1">
                <a:solidFill>
                  <a:schemeClr val="bg2">
                    <a:lumMod val="75000"/>
                  </a:schemeClr>
                </a:solidFill>
              </a:rPr>
              <a:t>elit</a:t>
            </a: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5CFF2E6-7F51-414C-A0F2-5F47B0E3983E}"/>
              </a:ext>
            </a:extLst>
          </p:cNvPr>
          <p:cNvSpPr/>
          <p:nvPr/>
        </p:nvSpPr>
        <p:spPr>
          <a:xfrm>
            <a:off x="5420239" y="2754557"/>
            <a:ext cx="1018227" cy="3693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b="1" dirty="0">
                <a:solidFill>
                  <a:schemeClr val="bg2">
                    <a:lumMod val="75000"/>
                  </a:schemeClr>
                </a:solidFill>
              </a:rPr>
              <a:t>BRAND</a:t>
            </a:r>
            <a:endParaRPr lang="fr-FR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0066C24-F9D6-4F0C-89DD-0976B0AD39B1}"/>
              </a:ext>
            </a:extLst>
          </p:cNvPr>
          <p:cNvSpPr/>
          <p:nvPr/>
        </p:nvSpPr>
        <p:spPr>
          <a:xfrm rot="16200000">
            <a:off x="4778080" y="3095151"/>
            <a:ext cx="1002197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EVENTS</a:t>
            </a:r>
            <a:endParaRPr lang="fr-FR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75F6030-476F-44C2-BC41-7F48456F8694}"/>
              </a:ext>
            </a:extLst>
          </p:cNvPr>
          <p:cNvSpPr/>
          <p:nvPr/>
        </p:nvSpPr>
        <p:spPr>
          <a:xfrm rot="16200000">
            <a:off x="2493339" y="2204574"/>
            <a:ext cx="894220" cy="3693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AMET</a:t>
            </a:r>
            <a:endParaRPr lang="fr-FR" dirty="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89AC483-0232-4B2A-BEAE-64C4D2A4FAC1}"/>
              </a:ext>
            </a:extLst>
          </p:cNvPr>
          <p:cNvSpPr/>
          <p:nvPr/>
        </p:nvSpPr>
        <p:spPr>
          <a:xfrm rot="16200000">
            <a:off x="862517" y="5412141"/>
            <a:ext cx="1172116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CONTENTS</a:t>
            </a:r>
            <a:endParaRPr lang="fr-FR" sz="1400" dirty="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5F94DDA-27EB-44E2-8295-B1E3EA2B15B1}"/>
              </a:ext>
            </a:extLst>
          </p:cNvPr>
          <p:cNvSpPr/>
          <p:nvPr/>
        </p:nvSpPr>
        <p:spPr>
          <a:xfrm>
            <a:off x="2960994" y="3172140"/>
            <a:ext cx="1279517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INTERACTION</a:t>
            </a:r>
            <a:r>
              <a:rPr lang="en-US" sz="12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/>
            </a:r>
            <a:br>
              <a:rPr lang="en-US" sz="12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</a:b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TOOLS</a:t>
            </a:r>
            <a:endParaRPr lang="fr-FR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4E51897E-04CD-4F68-B83D-7FD1DCD430DA}"/>
              </a:ext>
            </a:extLst>
          </p:cNvPr>
          <p:cNvSpPr/>
          <p:nvPr/>
        </p:nvSpPr>
        <p:spPr>
          <a:xfrm>
            <a:off x="4932040" y="4098558"/>
            <a:ext cx="221073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POLITICAL ACUMEN</a:t>
            </a:r>
            <a:endParaRPr lang="fr-FR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C98C199C-9F4E-42DC-ABD4-A7BF30AFEF25}"/>
              </a:ext>
            </a:extLst>
          </p:cNvPr>
          <p:cNvSpPr/>
          <p:nvPr/>
        </p:nvSpPr>
        <p:spPr>
          <a:xfrm>
            <a:off x="2856444" y="4541390"/>
            <a:ext cx="213255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50" b="1" dirty="0">
                <a:solidFill>
                  <a:schemeClr val="bg2">
                    <a:lumMod val="75000"/>
                  </a:schemeClr>
                </a:solidFill>
              </a:rPr>
              <a:t>ENGLISH PROFICIENC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0C865F8-BEAD-435B-A884-D308D040642C}"/>
              </a:ext>
            </a:extLst>
          </p:cNvPr>
          <p:cNvSpPr/>
          <p:nvPr/>
        </p:nvSpPr>
        <p:spPr>
          <a:xfrm rot="16200000">
            <a:off x="3982589" y="1732360"/>
            <a:ext cx="103906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1" dirty="0">
                <a:solidFill>
                  <a:schemeClr val="bg2">
                    <a:lumMod val="75000"/>
                  </a:schemeClr>
                </a:solidFill>
              </a:rPr>
              <a:t>FUSC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 b="1" dirty="0">
                <a:solidFill>
                  <a:schemeClr val="bg2">
                    <a:lumMod val="75000"/>
                  </a:schemeClr>
                </a:solidFill>
              </a:rPr>
              <a:t>POUSSERE</a:t>
            </a:r>
            <a:endParaRPr lang="fr-FR" sz="12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9EAFC03E-7DF8-43E7-AA1B-8DEFE0AA205A}"/>
              </a:ext>
            </a:extLst>
          </p:cNvPr>
          <p:cNvSpPr/>
          <p:nvPr/>
        </p:nvSpPr>
        <p:spPr>
          <a:xfrm>
            <a:off x="6235301" y="4910184"/>
            <a:ext cx="1900713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AVAILABLE</a:t>
            </a:r>
            <a:endParaRPr lang="fr-FR" sz="2400" dirty="0">
              <a:solidFill>
                <a:schemeClr val="accent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FE097B6-F83A-4017-A213-4B64EE4EA0EC}"/>
              </a:ext>
            </a:extLst>
          </p:cNvPr>
          <p:cNvSpPr/>
          <p:nvPr/>
        </p:nvSpPr>
        <p:spPr>
          <a:xfrm>
            <a:off x="539552" y="4579862"/>
            <a:ext cx="2506007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b="1" dirty="0">
                <a:solidFill>
                  <a:schemeClr val="accent4"/>
                </a:solidFill>
              </a:rPr>
              <a:t>THINK STRATEGIC</a:t>
            </a:r>
            <a:endParaRPr lang="fr-FR" sz="2000" dirty="0">
              <a:solidFill>
                <a:schemeClr val="accent4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C7E4C2CE-D697-419A-9EF3-058B4B4B6D74}"/>
              </a:ext>
            </a:extLst>
          </p:cNvPr>
          <p:cNvSpPr/>
          <p:nvPr/>
        </p:nvSpPr>
        <p:spPr>
          <a:xfrm>
            <a:off x="526925" y="3107602"/>
            <a:ext cx="2075826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DIPLOMATIC</a:t>
            </a:r>
            <a:endParaRPr lang="fr-FR" sz="2400" dirty="0">
              <a:solidFill>
                <a:schemeClr val="accent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BD571A8-E8F5-4A25-A9BC-FEAC2A2BCE2F}"/>
              </a:ext>
            </a:extLst>
          </p:cNvPr>
          <p:cNvSpPr/>
          <p:nvPr/>
        </p:nvSpPr>
        <p:spPr>
          <a:xfrm>
            <a:off x="3031956" y="1959223"/>
            <a:ext cx="1107996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CARING</a:t>
            </a:r>
          </a:p>
          <a:p>
            <a:pPr algn="r"/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ORGANIZED</a:t>
            </a:r>
            <a:endParaRPr lang="fr-FR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8B72FCDF-AC8A-44D5-8D72-6DA2181498D2}"/>
              </a:ext>
            </a:extLst>
          </p:cNvPr>
          <p:cNvSpPr/>
          <p:nvPr/>
        </p:nvSpPr>
        <p:spPr>
          <a:xfrm rot="16200000">
            <a:off x="1914432" y="1995181"/>
            <a:ext cx="1390124" cy="3693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b="1" dirty="0">
                <a:solidFill>
                  <a:schemeClr val="bg2">
                    <a:lumMod val="75000"/>
                  </a:schemeClr>
                </a:solidFill>
              </a:rPr>
              <a:t>PLANNING</a:t>
            </a:r>
            <a:endParaRPr lang="fr-FR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40C176ED-745D-4084-91AF-495337E80BC0}"/>
              </a:ext>
            </a:extLst>
          </p:cNvPr>
          <p:cNvSpPr/>
          <p:nvPr/>
        </p:nvSpPr>
        <p:spPr>
          <a:xfrm>
            <a:off x="5917241" y="1836113"/>
            <a:ext cx="2831223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accent5"/>
                </a:solidFill>
              </a:rPr>
              <a:t>LEADERSHIP</a:t>
            </a:r>
            <a:endParaRPr lang="fr-FR" sz="3200" dirty="0">
              <a:solidFill>
                <a:schemeClr val="accent5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4104A204-477E-4ACF-9E09-9AABDBAD56EE}"/>
              </a:ext>
            </a:extLst>
          </p:cNvPr>
          <p:cNvSpPr/>
          <p:nvPr/>
        </p:nvSpPr>
        <p:spPr>
          <a:xfrm>
            <a:off x="7092280" y="2348880"/>
            <a:ext cx="1531352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b="1" dirty="0">
                <a:solidFill>
                  <a:schemeClr val="accent5"/>
                </a:solidFill>
              </a:rPr>
              <a:t>Lorem ipsum dolor sit amet, consectetuer adipiscing elit.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050" dirty="0">
                <a:solidFill>
                  <a:schemeClr val="bg2">
                    <a:lumMod val="75000"/>
                  </a:schemeClr>
                </a:solidFill>
              </a:rPr>
              <a:t>Team builder</a:t>
            </a:r>
            <a:endParaRPr lang="fr-FR" sz="1050" b="1" dirty="0">
              <a:solidFill>
                <a:schemeClr val="accent3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D37F64C0-454A-4AC1-81B3-68E0015C3B59}"/>
              </a:ext>
            </a:extLst>
          </p:cNvPr>
          <p:cNvSpPr/>
          <p:nvPr/>
        </p:nvSpPr>
        <p:spPr>
          <a:xfrm>
            <a:off x="2866124" y="4777988"/>
            <a:ext cx="1893467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400" b="1" dirty="0">
                <a:solidFill>
                  <a:srgbClr val="69AF23"/>
                </a:solidFill>
              </a:rPr>
              <a:t>ELOQUENT</a:t>
            </a:r>
            <a:endParaRPr lang="fr-FR" sz="2400" dirty="0">
              <a:solidFill>
                <a:srgbClr val="69AF23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A6F49E73-0858-4331-ABF2-6BFFFCB300A3}"/>
              </a:ext>
            </a:extLst>
          </p:cNvPr>
          <p:cNvSpPr/>
          <p:nvPr/>
        </p:nvSpPr>
        <p:spPr>
          <a:xfrm>
            <a:off x="2915816" y="5157192"/>
            <a:ext cx="1672253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3"/>
                </a:solidFill>
              </a:rPr>
              <a:t>JUGGLER</a:t>
            </a:r>
            <a:endParaRPr lang="fr-FR" sz="2400" dirty="0">
              <a:solidFill>
                <a:schemeClr val="accent3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ADD032BD-7C86-4322-931D-13E824E5685C}"/>
              </a:ext>
            </a:extLst>
          </p:cNvPr>
          <p:cNvSpPr/>
          <p:nvPr/>
        </p:nvSpPr>
        <p:spPr>
          <a:xfrm>
            <a:off x="6130678" y="5405154"/>
            <a:ext cx="1465658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b="1" dirty="0">
                <a:solidFill>
                  <a:schemeClr val="accent4"/>
                </a:solidFill>
              </a:rPr>
              <a:t>CREATIVE</a:t>
            </a:r>
            <a:endParaRPr lang="fr-FR" sz="2000" dirty="0">
              <a:solidFill>
                <a:schemeClr val="accent4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7D2E8287-B218-4957-95A6-29E6C2CAD10A}"/>
              </a:ext>
            </a:extLst>
          </p:cNvPr>
          <p:cNvSpPr/>
          <p:nvPr/>
        </p:nvSpPr>
        <p:spPr>
          <a:xfrm>
            <a:off x="3675473" y="5541126"/>
            <a:ext cx="968535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b="1" dirty="0">
                <a:solidFill>
                  <a:schemeClr val="accent4"/>
                </a:solidFill>
              </a:rPr>
              <a:t>AGILE</a:t>
            </a:r>
            <a:endParaRPr lang="fr-FR" sz="20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769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672B87F-47E6-479F-B36A-0EB510FA6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INING NEED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CF2C4155-66E3-4B8A-BE02-2B9300FF38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B1B1B1"/>
                </a:solidFill>
                <a:latin typeface="Arial"/>
              </a:rPr>
              <a:t>00/00/2016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5488B651-F311-410C-8809-5024AC43D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B1B1B1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2207171D-452C-4546-A659-0CCC9721E9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B1B1B1"/>
                </a:solidFill>
                <a:latin typeface="Arial"/>
              </a:rPr>
              <a:pPr/>
              <a:t>39</a:t>
            </a:fld>
            <a:endParaRPr lang="fr-FR" dirty="0">
              <a:solidFill>
                <a:srgbClr val="B1B1B1"/>
              </a:solidFill>
              <a:latin typeface="Arial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xmlns="" id="{8321A593-90D2-49AA-828A-0CA14BFDCB32}"/>
              </a:ext>
            </a:extLst>
          </p:cNvPr>
          <p:cNvSpPr/>
          <p:nvPr/>
        </p:nvSpPr>
        <p:spPr>
          <a:xfrm>
            <a:off x="334455" y="2293035"/>
            <a:ext cx="1972100" cy="1387443"/>
          </a:xfrm>
          <a:prstGeom prst="roundRect">
            <a:avLst/>
          </a:prstGeom>
          <a:solidFill>
            <a:srgbClr val="69AF23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xmlns="" id="{136096AF-6FE7-43F3-9E26-3542F627B781}"/>
              </a:ext>
            </a:extLst>
          </p:cNvPr>
          <p:cNvSpPr/>
          <p:nvPr/>
        </p:nvSpPr>
        <p:spPr>
          <a:xfrm>
            <a:off x="2503766" y="2293035"/>
            <a:ext cx="1972100" cy="1387443"/>
          </a:xfrm>
          <a:prstGeom prst="roundRect">
            <a:avLst/>
          </a:prstGeom>
          <a:solidFill>
            <a:srgbClr val="BECD00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xmlns="" id="{45B1F93A-65B9-4A70-80F9-9DC9612BEC54}"/>
              </a:ext>
            </a:extLst>
          </p:cNvPr>
          <p:cNvSpPr/>
          <p:nvPr/>
        </p:nvSpPr>
        <p:spPr>
          <a:xfrm>
            <a:off x="4673077" y="2293035"/>
            <a:ext cx="1972100" cy="1387443"/>
          </a:xfrm>
          <a:prstGeom prst="roundRect">
            <a:avLst/>
          </a:prstGeom>
          <a:solidFill>
            <a:srgbClr val="00AAFF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BE" b="1" kern="1200" cap="none" spc="0" dirty="0" err="1">
                <a:ln w="6600">
                  <a:prstDash val="solid"/>
                </a:ln>
                <a:solidFill>
                  <a:sysClr val="window" lastClr="FFFFFF"/>
                </a:solidFill>
                <a:effectLst/>
                <a:latin typeface="Arial"/>
                <a:ea typeface="+mn-ea"/>
                <a:cs typeface="+mn-cs"/>
              </a:rPr>
              <a:t>Your</a:t>
            </a:r>
            <a:r>
              <a:rPr lang="fr-BE" b="1" kern="1200" cap="none" spc="0" dirty="0">
                <a:ln w="6600">
                  <a:prstDash val="solid"/>
                </a:ln>
                <a:solidFill>
                  <a:sysClr val="window" lastClr="FFFFFF"/>
                </a:solidFill>
                <a:effectLst/>
                <a:latin typeface="Arial"/>
                <a:ea typeface="+mn-ea"/>
                <a:cs typeface="+mn-cs"/>
              </a:rPr>
              <a:t> </a:t>
            </a:r>
            <a:r>
              <a:rPr lang="fr-BE" b="1" kern="1200" cap="none" spc="0" dirty="0" err="1">
                <a:ln w="6600">
                  <a:prstDash val="solid"/>
                </a:ln>
                <a:solidFill>
                  <a:sysClr val="window" lastClr="FFFFFF"/>
                </a:solidFill>
                <a:effectLst/>
                <a:latin typeface="Arial"/>
                <a:ea typeface="+mn-ea"/>
                <a:cs typeface="+mn-cs"/>
              </a:rPr>
              <a:t>text</a:t>
            </a:r>
            <a:r>
              <a:rPr lang="fr-BE" b="1" kern="1200" cap="none" spc="0" dirty="0">
                <a:ln w="6600">
                  <a:prstDash val="solid"/>
                </a:ln>
                <a:solidFill>
                  <a:sysClr val="window" lastClr="FFFFFF"/>
                </a:solidFill>
                <a:effectLst/>
                <a:latin typeface="Arial"/>
                <a:ea typeface="+mn-ea"/>
                <a:cs typeface="+mn-cs"/>
              </a:rPr>
              <a:t> </a:t>
            </a:r>
            <a:r>
              <a:rPr lang="fr-BE" b="1" kern="1200" cap="none" spc="0" dirty="0" err="1">
                <a:ln w="6600">
                  <a:prstDash val="solid"/>
                </a:ln>
                <a:solidFill>
                  <a:sysClr val="window" lastClr="FFFFFF"/>
                </a:solidFill>
                <a:effectLst/>
                <a:latin typeface="Arial"/>
                <a:ea typeface="+mn-ea"/>
                <a:cs typeface="+mn-cs"/>
              </a:rPr>
              <a:t>here</a:t>
            </a:r>
            <a:endParaRPr lang="fr-BE" b="1" kern="1200" cap="none" spc="0" dirty="0">
              <a:ln w="6600">
                <a:prstDash val="solid"/>
              </a:ln>
              <a:solidFill>
                <a:sysClr val="window" lastClr="FFFFFF"/>
              </a:solidFill>
              <a:effectLst/>
              <a:latin typeface="Arial"/>
              <a:ea typeface="+mn-ea"/>
              <a:cs typeface="+mn-cs"/>
            </a:endParaRPr>
          </a:p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  <a:latin typeface="Arial"/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  <a:latin typeface="Arial"/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  <a:latin typeface="Arial"/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  <a:latin typeface="Arial"/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  <a:latin typeface="Arial"/>
              </a:rPr>
              <a:t>here</a:t>
            </a:r>
            <a:endParaRPr lang="it-IT" sz="1200" b="1" kern="1200" cap="none" spc="0" dirty="0">
              <a:ln w="6600">
                <a:prstDash val="solid"/>
              </a:ln>
              <a:solidFill>
                <a:sysClr val="window" lastClr="FFFFFF"/>
              </a:solidFill>
              <a:effectLst/>
              <a:latin typeface="Arial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xmlns="" id="{582E1060-2DD6-433C-A79E-AB25AA99CEF8}"/>
              </a:ext>
            </a:extLst>
          </p:cNvPr>
          <p:cNvSpPr/>
          <p:nvPr/>
        </p:nvSpPr>
        <p:spPr>
          <a:xfrm>
            <a:off x="6842388" y="2293035"/>
            <a:ext cx="1972100" cy="1387443"/>
          </a:xfrm>
          <a:prstGeom prst="roundRect">
            <a:avLst/>
          </a:prstGeom>
          <a:solidFill>
            <a:srgbClr val="FFC300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xmlns="" id="{732BCF7A-FA58-498D-8756-AC964D248DE1}"/>
              </a:ext>
            </a:extLst>
          </p:cNvPr>
          <p:cNvSpPr/>
          <p:nvPr/>
        </p:nvSpPr>
        <p:spPr>
          <a:xfrm>
            <a:off x="345331" y="3874994"/>
            <a:ext cx="1972100" cy="1387443"/>
          </a:xfrm>
          <a:prstGeom prst="roundRect">
            <a:avLst/>
          </a:prstGeom>
          <a:solidFill>
            <a:srgbClr val="005FAA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xmlns="" id="{77042DA0-4801-48E5-88B5-49D9F203E514}"/>
              </a:ext>
            </a:extLst>
          </p:cNvPr>
          <p:cNvSpPr/>
          <p:nvPr/>
        </p:nvSpPr>
        <p:spPr>
          <a:xfrm>
            <a:off x="2514642" y="3874994"/>
            <a:ext cx="1972100" cy="1387443"/>
          </a:xfrm>
          <a:prstGeom prst="roundRect">
            <a:avLst/>
          </a:prstGeom>
          <a:solidFill>
            <a:srgbClr val="E62D87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xmlns="" id="{C3A5EDD5-E3DC-4E87-92D1-251A593D853D}"/>
              </a:ext>
            </a:extLst>
          </p:cNvPr>
          <p:cNvSpPr/>
          <p:nvPr/>
        </p:nvSpPr>
        <p:spPr>
          <a:xfrm>
            <a:off x="4683953" y="3839251"/>
            <a:ext cx="1950348" cy="1458928"/>
          </a:xfrm>
          <a:prstGeom prst="roundRect">
            <a:avLst/>
          </a:prstGeom>
          <a:solidFill>
            <a:srgbClr val="008737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xmlns="" id="{731A058B-7256-4F2F-B6CF-3718E4FD854D}"/>
              </a:ext>
            </a:extLst>
          </p:cNvPr>
          <p:cNvSpPr/>
          <p:nvPr/>
        </p:nvSpPr>
        <p:spPr>
          <a:xfrm>
            <a:off x="6842388" y="3830754"/>
            <a:ext cx="1972100" cy="1458928"/>
          </a:xfrm>
          <a:prstGeom prst="roundRect">
            <a:avLst/>
          </a:prstGeom>
          <a:solidFill>
            <a:srgbClr val="E10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fr-BE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Your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text</a:t>
            </a:r>
            <a:r>
              <a:rPr lang="fr-BE" sz="1200" b="1" dirty="0">
                <a:ln w="6600">
                  <a:prstDash val="solid"/>
                </a:ln>
                <a:solidFill>
                  <a:sysClr val="window" lastClr="FFFFFF"/>
                </a:solidFill>
              </a:rPr>
              <a:t> </a:t>
            </a:r>
            <a:r>
              <a:rPr lang="fr-BE" sz="1200" b="1" dirty="0" err="1">
                <a:ln w="6600">
                  <a:prstDash val="solid"/>
                </a:ln>
                <a:solidFill>
                  <a:sysClr val="window" lastClr="FFFFFF"/>
                </a:solidFill>
              </a:rPr>
              <a:t>here</a:t>
            </a:r>
            <a:endParaRPr lang="it-IT" sz="1200" b="1" dirty="0">
              <a:ln w="6600">
                <a:prstDash val="solid"/>
              </a:ln>
              <a:solidFill>
                <a:sysClr val="window" lastClr="FFFFFF"/>
              </a:solidFill>
            </a:endParaRPr>
          </a:p>
        </p:txBody>
      </p:sp>
      <p:grpSp>
        <p:nvGrpSpPr>
          <p:cNvPr id="14" name="Group 76">
            <a:extLst>
              <a:ext uri="{FF2B5EF4-FFF2-40B4-BE49-F238E27FC236}">
                <a16:creationId xmlns:a16="http://schemas.microsoft.com/office/drawing/2014/main" xmlns="" id="{8E876531-4078-44D6-9DE0-016B08E7F9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4393" y="1575162"/>
            <a:ext cx="612224" cy="582528"/>
            <a:chOff x="2048" y="842"/>
            <a:chExt cx="1670" cy="1589"/>
          </a:xfrm>
        </p:grpSpPr>
        <p:sp>
          <p:nvSpPr>
            <p:cNvPr id="15" name="Oval 77">
              <a:extLst>
                <a:ext uri="{FF2B5EF4-FFF2-40B4-BE49-F238E27FC236}">
                  <a16:creationId xmlns:a16="http://schemas.microsoft.com/office/drawing/2014/main" xmlns="" id="{D126A7B2-16B3-44D4-BE8C-5DB5F9B76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" y="1620"/>
              <a:ext cx="402" cy="404"/>
            </a:xfrm>
            <a:prstGeom prst="ellipse">
              <a:avLst/>
            </a:pr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78">
              <a:extLst>
                <a:ext uri="{FF2B5EF4-FFF2-40B4-BE49-F238E27FC236}">
                  <a16:creationId xmlns:a16="http://schemas.microsoft.com/office/drawing/2014/main" xmlns="" id="{48C7CBEA-3628-4902-954B-B8521A17A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842"/>
              <a:ext cx="438" cy="873"/>
            </a:xfrm>
            <a:custGeom>
              <a:avLst/>
              <a:gdLst>
                <a:gd name="T0" fmla="*/ 185 w 209"/>
                <a:gd name="T1" fmla="*/ 415 h 415"/>
                <a:gd name="T2" fmla="*/ 106 w 209"/>
                <a:gd name="T3" fmla="*/ 0 h 415"/>
                <a:gd name="T4" fmla="*/ 106 w 209"/>
                <a:gd name="T5" fmla="*/ 0 h 415"/>
                <a:gd name="T6" fmla="*/ 24 w 209"/>
                <a:gd name="T7" fmla="*/ 41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9" h="415">
                  <a:moveTo>
                    <a:pt x="185" y="415"/>
                  </a:moveTo>
                  <a:cubicBezTo>
                    <a:pt x="209" y="165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0" y="164"/>
                    <a:pt x="24" y="414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9">
              <a:extLst>
                <a:ext uri="{FF2B5EF4-FFF2-40B4-BE49-F238E27FC236}">
                  <a16:creationId xmlns:a16="http://schemas.microsoft.com/office/drawing/2014/main" xmlns="" id="{077B7A95-52C3-4F76-AAF9-A2E3552E5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" y="1717"/>
              <a:ext cx="799" cy="595"/>
            </a:xfrm>
            <a:custGeom>
              <a:avLst/>
              <a:gdLst>
                <a:gd name="T0" fmla="*/ 316 w 381"/>
                <a:gd name="T1" fmla="*/ 0 h 283"/>
                <a:gd name="T2" fmla="*/ 0 w 381"/>
                <a:gd name="T3" fmla="*/ 279 h 283"/>
                <a:gd name="T4" fmla="*/ 0 w 381"/>
                <a:gd name="T5" fmla="*/ 279 h 283"/>
                <a:gd name="T6" fmla="*/ 381 w 381"/>
                <a:gd name="T7" fmla="*/ 146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283">
                  <a:moveTo>
                    <a:pt x="316" y="0"/>
                  </a:moveTo>
                  <a:cubicBezTo>
                    <a:pt x="89" y="107"/>
                    <a:pt x="0" y="279"/>
                    <a:pt x="0" y="279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79"/>
                    <a:pt x="184" y="283"/>
                    <a:pt x="381" y="146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0">
              <a:extLst>
                <a:ext uri="{FF2B5EF4-FFF2-40B4-BE49-F238E27FC236}">
                  <a16:creationId xmlns:a16="http://schemas.microsoft.com/office/drawing/2014/main" xmlns="" id="{8C91EC6F-760F-42A8-B1C8-C492E5499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" y="1712"/>
              <a:ext cx="806" cy="600"/>
            </a:xfrm>
            <a:custGeom>
              <a:avLst/>
              <a:gdLst>
                <a:gd name="T0" fmla="*/ 64 w 384"/>
                <a:gd name="T1" fmla="*/ 0 h 285"/>
                <a:gd name="T2" fmla="*/ 384 w 384"/>
                <a:gd name="T3" fmla="*/ 281 h 285"/>
                <a:gd name="T4" fmla="*/ 384 w 384"/>
                <a:gd name="T5" fmla="*/ 281 h 285"/>
                <a:gd name="T6" fmla="*/ 0 w 384"/>
                <a:gd name="T7" fmla="*/ 146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4" h="285">
                  <a:moveTo>
                    <a:pt x="64" y="0"/>
                  </a:moveTo>
                  <a:cubicBezTo>
                    <a:pt x="291" y="107"/>
                    <a:pt x="384" y="281"/>
                    <a:pt x="384" y="281"/>
                  </a:cubicBezTo>
                  <a:cubicBezTo>
                    <a:pt x="384" y="281"/>
                    <a:pt x="384" y="281"/>
                    <a:pt x="384" y="281"/>
                  </a:cubicBezTo>
                  <a:cubicBezTo>
                    <a:pt x="384" y="281"/>
                    <a:pt x="198" y="285"/>
                    <a:pt x="0" y="146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81">
              <a:extLst>
                <a:ext uri="{FF2B5EF4-FFF2-40B4-BE49-F238E27FC236}">
                  <a16:creationId xmlns:a16="http://schemas.microsoft.com/office/drawing/2014/main" xmlns="" id="{E8670049-1C6A-4740-A58E-C62BC90A9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" y="1347"/>
              <a:ext cx="279" cy="433"/>
            </a:xfrm>
            <a:custGeom>
              <a:avLst/>
              <a:gdLst>
                <a:gd name="T0" fmla="*/ 0 w 133"/>
                <a:gd name="T1" fmla="*/ 0 h 206"/>
                <a:gd name="T2" fmla="*/ 105 w 133"/>
                <a:gd name="T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3" h="206">
                  <a:moveTo>
                    <a:pt x="0" y="0"/>
                  </a:moveTo>
                  <a:cubicBezTo>
                    <a:pt x="86" y="28"/>
                    <a:pt x="133" y="120"/>
                    <a:pt x="105" y="206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82">
              <a:extLst>
                <a:ext uri="{FF2B5EF4-FFF2-40B4-BE49-F238E27FC236}">
                  <a16:creationId xmlns:a16="http://schemas.microsoft.com/office/drawing/2014/main" xmlns="" id="{0987140E-F6C0-49E0-90A8-EEB7B23E0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" y="1412"/>
              <a:ext cx="214" cy="330"/>
            </a:xfrm>
            <a:custGeom>
              <a:avLst/>
              <a:gdLst>
                <a:gd name="T0" fmla="*/ 0 w 102"/>
                <a:gd name="T1" fmla="*/ 0 h 157"/>
                <a:gd name="T2" fmla="*/ 80 w 102"/>
                <a:gd name="T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2" h="157">
                  <a:moveTo>
                    <a:pt x="0" y="0"/>
                  </a:moveTo>
                  <a:cubicBezTo>
                    <a:pt x="66" y="21"/>
                    <a:pt x="102" y="92"/>
                    <a:pt x="80" y="157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3">
              <a:extLst>
                <a:ext uri="{FF2B5EF4-FFF2-40B4-BE49-F238E27FC236}">
                  <a16:creationId xmlns:a16="http://schemas.microsoft.com/office/drawing/2014/main" xmlns="" id="{8A7D57B1-79F9-49C7-9F2D-A8B4AED58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1347"/>
              <a:ext cx="235" cy="462"/>
            </a:xfrm>
            <a:custGeom>
              <a:avLst/>
              <a:gdLst>
                <a:gd name="T0" fmla="*/ 41 w 112"/>
                <a:gd name="T1" fmla="*/ 220 h 220"/>
                <a:gd name="T2" fmla="*/ 112 w 112"/>
                <a:gd name="T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2" h="220">
                  <a:moveTo>
                    <a:pt x="41" y="220"/>
                  </a:moveTo>
                  <a:cubicBezTo>
                    <a:pt x="0" y="140"/>
                    <a:pt x="32" y="41"/>
                    <a:pt x="112" y="0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4">
              <a:extLst>
                <a:ext uri="{FF2B5EF4-FFF2-40B4-BE49-F238E27FC236}">
                  <a16:creationId xmlns:a16="http://schemas.microsoft.com/office/drawing/2014/main" xmlns="" id="{682A2C52-12A9-47C4-9BD9-00ED638A8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5" y="1427"/>
              <a:ext cx="180" cy="355"/>
            </a:xfrm>
            <a:custGeom>
              <a:avLst/>
              <a:gdLst>
                <a:gd name="T0" fmla="*/ 32 w 86"/>
                <a:gd name="T1" fmla="*/ 169 h 169"/>
                <a:gd name="T2" fmla="*/ 86 w 86"/>
                <a:gd name="T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6" h="169">
                  <a:moveTo>
                    <a:pt x="32" y="169"/>
                  </a:moveTo>
                  <a:cubicBezTo>
                    <a:pt x="0" y="107"/>
                    <a:pt x="25" y="31"/>
                    <a:pt x="86" y="0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5">
              <a:extLst>
                <a:ext uri="{FF2B5EF4-FFF2-40B4-BE49-F238E27FC236}">
                  <a16:creationId xmlns:a16="http://schemas.microsoft.com/office/drawing/2014/main" xmlns="" id="{184EA10B-C9DB-4410-B2D5-B3C349CA3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" y="2291"/>
              <a:ext cx="485" cy="140"/>
            </a:xfrm>
            <a:custGeom>
              <a:avLst/>
              <a:gdLst>
                <a:gd name="T0" fmla="*/ 231 w 231"/>
                <a:gd name="T1" fmla="*/ 4 h 67"/>
                <a:gd name="T2" fmla="*/ 0 w 231"/>
                <a:gd name="T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1" h="67">
                  <a:moveTo>
                    <a:pt x="231" y="4"/>
                  </a:moveTo>
                  <a:cubicBezTo>
                    <a:pt x="166" y="67"/>
                    <a:pt x="63" y="65"/>
                    <a:pt x="0" y="0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6">
              <a:extLst>
                <a:ext uri="{FF2B5EF4-FFF2-40B4-BE49-F238E27FC236}">
                  <a16:creationId xmlns:a16="http://schemas.microsoft.com/office/drawing/2014/main" xmlns="" id="{8EE9F07E-245B-408C-83BA-AAD71D9EB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2242"/>
              <a:ext cx="371" cy="107"/>
            </a:xfrm>
            <a:custGeom>
              <a:avLst/>
              <a:gdLst>
                <a:gd name="T0" fmla="*/ 177 w 177"/>
                <a:gd name="T1" fmla="*/ 3 h 51"/>
                <a:gd name="T2" fmla="*/ 0 w 177"/>
                <a:gd name="T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7" h="51">
                  <a:moveTo>
                    <a:pt x="177" y="3"/>
                  </a:moveTo>
                  <a:cubicBezTo>
                    <a:pt x="128" y="51"/>
                    <a:pt x="48" y="50"/>
                    <a:pt x="0" y="0"/>
                  </a:cubicBezTo>
                </a:path>
              </a:pathLst>
            </a:custGeom>
            <a:noFill/>
            <a:ln w="19050" cap="flat">
              <a:solidFill>
                <a:srgbClr val="69AF2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5" name="Group 59">
            <a:extLst>
              <a:ext uri="{FF2B5EF4-FFF2-40B4-BE49-F238E27FC236}">
                <a16:creationId xmlns:a16="http://schemas.microsoft.com/office/drawing/2014/main" xmlns="" id="{2CA6E47E-9D5F-4559-803D-1908610BB5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2100" y="1622571"/>
            <a:ext cx="715432" cy="514724"/>
            <a:chOff x="2394" y="1180"/>
            <a:chExt cx="442" cy="318"/>
          </a:xfrm>
        </p:grpSpPr>
        <p:sp>
          <p:nvSpPr>
            <p:cNvPr id="26" name="Freeform 60">
              <a:extLst>
                <a:ext uri="{FF2B5EF4-FFF2-40B4-BE49-F238E27FC236}">
                  <a16:creationId xmlns:a16="http://schemas.microsoft.com/office/drawing/2014/main" xmlns="" id="{4C4A5247-DCA1-43C8-8B37-19BAAB1E8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1180"/>
              <a:ext cx="442" cy="193"/>
            </a:xfrm>
            <a:custGeom>
              <a:avLst/>
              <a:gdLst>
                <a:gd name="T0" fmla="*/ 442 w 442"/>
                <a:gd name="T1" fmla="*/ 193 h 193"/>
                <a:gd name="T2" fmla="*/ 0 w 442"/>
                <a:gd name="T3" fmla="*/ 193 h 193"/>
                <a:gd name="T4" fmla="*/ 56 w 442"/>
                <a:gd name="T5" fmla="*/ 0 h 193"/>
                <a:gd name="T6" fmla="*/ 386 w 442"/>
                <a:gd name="T7" fmla="*/ 0 h 193"/>
                <a:gd name="T8" fmla="*/ 442 w 442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2" h="193">
                  <a:moveTo>
                    <a:pt x="442" y="193"/>
                  </a:moveTo>
                  <a:lnTo>
                    <a:pt x="0" y="193"/>
                  </a:lnTo>
                  <a:lnTo>
                    <a:pt x="56" y="0"/>
                  </a:lnTo>
                  <a:lnTo>
                    <a:pt x="386" y="0"/>
                  </a:lnTo>
                  <a:lnTo>
                    <a:pt x="442" y="193"/>
                  </a:ln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Line 61">
              <a:extLst>
                <a:ext uri="{FF2B5EF4-FFF2-40B4-BE49-F238E27FC236}">
                  <a16:creationId xmlns:a16="http://schemas.microsoft.com/office/drawing/2014/main" xmlns="" id="{04F83885-116C-444A-AD52-E27850A3E5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07" y="1182"/>
              <a:ext cx="17" cy="193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Line 62">
              <a:extLst>
                <a:ext uri="{FF2B5EF4-FFF2-40B4-BE49-F238E27FC236}">
                  <a16:creationId xmlns:a16="http://schemas.microsoft.com/office/drawing/2014/main" xmlns="" id="{F7A3E084-9BC9-4105-8B96-B2087D9632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7" y="1182"/>
              <a:ext cx="17" cy="193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Line 63">
              <a:extLst>
                <a:ext uri="{FF2B5EF4-FFF2-40B4-BE49-F238E27FC236}">
                  <a16:creationId xmlns:a16="http://schemas.microsoft.com/office/drawing/2014/main" xmlns="" id="{54FEB044-BBBB-4551-9F06-DEC371BE2F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5" y="1182"/>
              <a:ext cx="0" cy="193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Line 64">
              <a:extLst>
                <a:ext uri="{FF2B5EF4-FFF2-40B4-BE49-F238E27FC236}">
                  <a16:creationId xmlns:a16="http://schemas.microsoft.com/office/drawing/2014/main" xmlns="" id="{9153DA3E-2752-404B-9A56-464314F171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0" y="1274"/>
              <a:ext cx="388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Line 65">
              <a:extLst>
                <a:ext uri="{FF2B5EF4-FFF2-40B4-BE49-F238E27FC236}">
                  <a16:creationId xmlns:a16="http://schemas.microsoft.com/office/drawing/2014/main" xmlns="" id="{0CB6592B-AE0D-4A6A-9233-EF18D567CB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4" y="1228"/>
              <a:ext cx="360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Line 66">
              <a:extLst>
                <a:ext uri="{FF2B5EF4-FFF2-40B4-BE49-F238E27FC236}">
                  <a16:creationId xmlns:a16="http://schemas.microsoft.com/office/drawing/2014/main" xmlns="" id="{7368E43F-F261-4B88-860B-655F29D714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7" y="1324"/>
              <a:ext cx="414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67">
              <a:extLst>
                <a:ext uri="{FF2B5EF4-FFF2-40B4-BE49-F238E27FC236}">
                  <a16:creationId xmlns:a16="http://schemas.microsoft.com/office/drawing/2014/main" xmlns="" id="{1873804D-7EB1-44CF-A0C5-710D9122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7" y="1373"/>
              <a:ext cx="195" cy="98"/>
            </a:xfrm>
            <a:custGeom>
              <a:avLst/>
              <a:gdLst>
                <a:gd name="T0" fmla="*/ 374 w 374"/>
                <a:gd name="T1" fmla="*/ 0 h 187"/>
                <a:gd name="T2" fmla="*/ 187 w 374"/>
                <a:gd name="T3" fmla="*/ 187 h 187"/>
                <a:gd name="T4" fmla="*/ 0 w 374"/>
                <a:gd name="T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4" h="187">
                  <a:moveTo>
                    <a:pt x="374" y="0"/>
                  </a:moveTo>
                  <a:cubicBezTo>
                    <a:pt x="374" y="103"/>
                    <a:pt x="291" y="187"/>
                    <a:pt x="187" y="187"/>
                  </a:cubicBezTo>
                  <a:cubicBezTo>
                    <a:pt x="84" y="187"/>
                    <a:pt x="0" y="103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Line 68">
              <a:extLst>
                <a:ext uri="{FF2B5EF4-FFF2-40B4-BE49-F238E27FC236}">
                  <a16:creationId xmlns:a16="http://schemas.microsoft.com/office/drawing/2014/main" xmlns="" id="{1DED07B0-B0C2-4086-BE0A-8755430E31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2" y="1498"/>
              <a:ext cx="145" cy="0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Line 69">
              <a:extLst>
                <a:ext uri="{FF2B5EF4-FFF2-40B4-BE49-F238E27FC236}">
                  <a16:creationId xmlns:a16="http://schemas.microsoft.com/office/drawing/2014/main" xmlns="" id="{BC04B738-2463-4DEE-89E0-A730D5B6F2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4" y="1471"/>
              <a:ext cx="0" cy="27"/>
            </a:xfrm>
            <a:prstGeom prst="line">
              <a:avLst/>
            </a:pr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6" name="Group 96">
            <a:extLst>
              <a:ext uri="{FF2B5EF4-FFF2-40B4-BE49-F238E27FC236}">
                <a16:creationId xmlns:a16="http://schemas.microsoft.com/office/drawing/2014/main" xmlns="" id="{0B259DC2-B75B-4CB3-8D4E-3889645BE6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39036" y="1456726"/>
            <a:ext cx="578804" cy="705970"/>
            <a:chOff x="-2210" y="328"/>
            <a:chExt cx="2121" cy="2587"/>
          </a:xfrm>
        </p:grpSpPr>
        <p:sp>
          <p:nvSpPr>
            <p:cNvPr id="37" name="Freeform 97">
              <a:extLst>
                <a:ext uri="{FF2B5EF4-FFF2-40B4-BE49-F238E27FC236}">
                  <a16:creationId xmlns:a16="http://schemas.microsoft.com/office/drawing/2014/main" xmlns="" id="{B7645018-FA0E-43F7-9F2C-BCA1BFD0A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10" y="2256"/>
              <a:ext cx="2121" cy="659"/>
            </a:xfrm>
            <a:custGeom>
              <a:avLst/>
              <a:gdLst>
                <a:gd name="T0" fmla="*/ 333 w 2121"/>
                <a:gd name="T1" fmla="*/ 0 h 659"/>
                <a:gd name="T2" fmla="*/ 1787 w 2121"/>
                <a:gd name="T3" fmla="*/ 0 h 659"/>
                <a:gd name="T4" fmla="*/ 2121 w 2121"/>
                <a:gd name="T5" fmla="*/ 659 h 659"/>
                <a:gd name="T6" fmla="*/ 0 w 2121"/>
                <a:gd name="T7" fmla="*/ 659 h 659"/>
                <a:gd name="T8" fmla="*/ 333 w 2121"/>
                <a:gd name="T9" fmla="*/ 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1" h="659">
                  <a:moveTo>
                    <a:pt x="333" y="0"/>
                  </a:moveTo>
                  <a:lnTo>
                    <a:pt x="1787" y="0"/>
                  </a:lnTo>
                  <a:lnTo>
                    <a:pt x="2121" y="659"/>
                  </a:lnTo>
                  <a:lnTo>
                    <a:pt x="0" y="659"/>
                  </a:lnTo>
                  <a:lnTo>
                    <a:pt x="333" y="0"/>
                  </a:lnTo>
                  <a:close/>
                </a:path>
              </a:pathLst>
            </a:cu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8" name="Line 98">
              <a:extLst>
                <a:ext uri="{FF2B5EF4-FFF2-40B4-BE49-F238E27FC236}">
                  <a16:creationId xmlns:a16="http://schemas.microsoft.com/office/drawing/2014/main" xmlns="" id="{6B0C7411-D5A4-4DE1-919C-4D1E3D380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030" y="2560"/>
              <a:ext cx="1763" cy="0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9" name="Line 99">
              <a:extLst>
                <a:ext uri="{FF2B5EF4-FFF2-40B4-BE49-F238E27FC236}">
                  <a16:creationId xmlns:a16="http://schemas.microsoft.com/office/drawing/2014/main" xmlns="" id="{8C43F36F-CC23-4465-A08A-A9A0654F9D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483" y="2256"/>
              <a:ext cx="115" cy="659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0" name="Line 100">
              <a:extLst>
                <a:ext uri="{FF2B5EF4-FFF2-40B4-BE49-F238E27FC236}">
                  <a16:creationId xmlns:a16="http://schemas.microsoft.com/office/drawing/2014/main" xmlns="" id="{AA1566C5-933A-4C3A-98DA-C93330B64F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90" y="2256"/>
              <a:ext cx="128" cy="659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1" name="Oval 101">
              <a:extLst>
                <a:ext uri="{FF2B5EF4-FFF2-40B4-BE49-F238E27FC236}">
                  <a16:creationId xmlns:a16="http://schemas.microsoft.com/office/drawing/2014/main" xmlns="" id="{2074ED60-A14E-4E57-A00E-87474BA2D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84" y="688"/>
              <a:ext cx="870" cy="873"/>
            </a:xfrm>
            <a:prstGeom prst="ellips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2" name="Line 102">
              <a:extLst>
                <a:ext uri="{FF2B5EF4-FFF2-40B4-BE49-F238E27FC236}">
                  <a16:creationId xmlns:a16="http://schemas.microsoft.com/office/drawing/2014/main" xmlns="" id="{7E09BBDC-F313-4A01-88DF-E60833AC44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150" y="328"/>
              <a:ext cx="0" cy="199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3" name="Line 103">
              <a:extLst>
                <a:ext uri="{FF2B5EF4-FFF2-40B4-BE49-F238E27FC236}">
                  <a16:creationId xmlns:a16="http://schemas.microsoft.com/office/drawing/2014/main" xmlns="" id="{D6A2EAAB-3BA9-499B-8FEF-0722AC3E20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150" y="1725"/>
              <a:ext cx="0" cy="197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4" name="Line 104">
              <a:extLst>
                <a:ext uri="{FF2B5EF4-FFF2-40B4-BE49-F238E27FC236}">
                  <a16:creationId xmlns:a16="http://schemas.microsoft.com/office/drawing/2014/main" xmlns="" id="{4DBA276E-9927-4152-A4F5-CAFB171F8F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726" y="563"/>
              <a:ext cx="140" cy="138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5" name="Line 105">
              <a:extLst>
                <a:ext uri="{FF2B5EF4-FFF2-40B4-BE49-F238E27FC236}">
                  <a16:creationId xmlns:a16="http://schemas.microsoft.com/office/drawing/2014/main" xmlns="" id="{74242EAC-8C92-45A7-AA0E-27EB08BA05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12" y="1549"/>
              <a:ext cx="139" cy="140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6" name="Line 106">
              <a:extLst>
                <a:ext uri="{FF2B5EF4-FFF2-40B4-BE49-F238E27FC236}">
                  <a16:creationId xmlns:a16="http://schemas.microsoft.com/office/drawing/2014/main" xmlns="" id="{A4638309-3B59-42CA-96B4-806402259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550" y="1125"/>
              <a:ext cx="197" cy="0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7" name="Line 107">
              <a:extLst>
                <a:ext uri="{FF2B5EF4-FFF2-40B4-BE49-F238E27FC236}">
                  <a16:creationId xmlns:a16="http://schemas.microsoft.com/office/drawing/2014/main" xmlns="" id="{806DCC29-5BDB-400D-811B-EF30DB4800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944" y="1125"/>
              <a:ext cx="197" cy="0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8" name="Line 108">
              <a:extLst>
                <a:ext uri="{FF2B5EF4-FFF2-40B4-BE49-F238E27FC236}">
                  <a16:creationId xmlns:a16="http://schemas.microsoft.com/office/drawing/2014/main" xmlns="" id="{A7574CC7-0A94-41F2-8639-0AAD3A6347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726" y="1549"/>
              <a:ext cx="140" cy="140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49" name="Line 109">
              <a:extLst>
                <a:ext uri="{FF2B5EF4-FFF2-40B4-BE49-F238E27FC236}">
                  <a16:creationId xmlns:a16="http://schemas.microsoft.com/office/drawing/2014/main" xmlns="" id="{EB7BC0D9-BA5F-4707-B710-ED544592D4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12" y="563"/>
              <a:ext cx="139" cy="138"/>
            </a:xfrm>
            <a:prstGeom prst="line">
              <a:avLst/>
            </a:prstGeom>
            <a:ln w="19050" cap="rnd">
              <a:solidFill>
                <a:srgbClr val="FFC3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50" name="Group 158">
            <a:extLst>
              <a:ext uri="{FF2B5EF4-FFF2-40B4-BE49-F238E27FC236}">
                <a16:creationId xmlns:a16="http://schemas.microsoft.com/office/drawing/2014/main" xmlns="" id="{52EB3504-8A41-465C-ABBD-9E6D2E6889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2025" y="1446130"/>
            <a:ext cx="594206" cy="712788"/>
            <a:chOff x="-1937" y="505"/>
            <a:chExt cx="1859" cy="2230"/>
          </a:xfrm>
        </p:grpSpPr>
        <p:sp>
          <p:nvSpPr>
            <p:cNvPr id="51" name="Freeform 159">
              <a:extLst>
                <a:ext uri="{FF2B5EF4-FFF2-40B4-BE49-F238E27FC236}">
                  <a16:creationId xmlns:a16="http://schemas.microsoft.com/office/drawing/2014/main" xmlns="" id="{C7D2118A-1AC9-4490-825C-12E45DF263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88" y="873"/>
              <a:ext cx="1360" cy="1583"/>
            </a:xfrm>
            <a:custGeom>
              <a:avLst/>
              <a:gdLst>
                <a:gd name="T0" fmla="*/ 553 w 648"/>
                <a:gd name="T1" fmla="*/ 95 h 754"/>
                <a:gd name="T2" fmla="*/ 648 w 648"/>
                <a:gd name="T3" fmla="*/ 324 h 754"/>
                <a:gd name="T4" fmla="*/ 632 w 648"/>
                <a:gd name="T5" fmla="*/ 425 h 754"/>
                <a:gd name="T6" fmla="*/ 586 w 648"/>
                <a:gd name="T7" fmla="*/ 515 h 754"/>
                <a:gd name="T8" fmla="*/ 504 w 648"/>
                <a:gd name="T9" fmla="*/ 614 h 754"/>
                <a:gd name="T10" fmla="*/ 449 w 648"/>
                <a:gd name="T11" fmla="*/ 736 h 754"/>
                <a:gd name="T12" fmla="*/ 431 w 648"/>
                <a:gd name="T13" fmla="*/ 754 h 754"/>
                <a:gd name="T14" fmla="*/ 218 w 648"/>
                <a:gd name="T15" fmla="*/ 754 h 754"/>
                <a:gd name="T16" fmla="*/ 200 w 648"/>
                <a:gd name="T17" fmla="*/ 736 h 754"/>
                <a:gd name="T18" fmla="*/ 145 w 648"/>
                <a:gd name="T19" fmla="*/ 615 h 754"/>
                <a:gd name="T20" fmla="*/ 62 w 648"/>
                <a:gd name="T21" fmla="*/ 515 h 754"/>
                <a:gd name="T22" fmla="*/ 16 w 648"/>
                <a:gd name="T23" fmla="*/ 425 h 754"/>
                <a:gd name="T24" fmla="*/ 0 w 648"/>
                <a:gd name="T25" fmla="*/ 324 h 754"/>
                <a:gd name="T26" fmla="*/ 24 w 648"/>
                <a:gd name="T27" fmla="*/ 200 h 754"/>
                <a:gd name="T28" fmla="*/ 25 w 648"/>
                <a:gd name="T29" fmla="*/ 199 h 754"/>
                <a:gd name="T30" fmla="*/ 95 w 648"/>
                <a:gd name="T31" fmla="*/ 95 h 754"/>
                <a:gd name="T32" fmla="*/ 200 w 648"/>
                <a:gd name="T33" fmla="*/ 25 h 754"/>
                <a:gd name="T34" fmla="*/ 324 w 648"/>
                <a:gd name="T35" fmla="*/ 0 h 754"/>
                <a:gd name="T36" fmla="*/ 448 w 648"/>
                <a:gd name="T37" fmla="*/ 25 h 754"/>
                <a:gd name="T38" fmla="*/ 553 w 648"/>
                <a:gd name="T39" fmla="*/ 95 h 754"/>
                <a:gd name="T40" fmla="*/ 611 w 648"/>
                <a:gd name="T41" fmla="*/ 324 h 754"/>
                <a:gd name="T42" fmla="*/ 611 w 648"/>
                <a:gd name="T43" fmla="*/ 324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8" h="754">
                  <a:moveTo>
                    <a:pt x="553" y="95"/>
                  </a:moveTo>
                  <a:cubicBezTo>
                    <a:pt x="612" y="154"/>
                    <a:pt x="648" y="235"/>
                    <a:pt x="648" y="324"/>
                  </a:cubicBezTo>
                  <a:cubicBezTo>
                    <a:pt x="648" y="359"/>
                    <a:pt x="642" y="393"/>
                    <a:pt x="632" y="425"/>
                  </a:cubicBezTo>
                  <a:cubicBezTo>
                    <a:pt x="621" y="457"/>
                    <a:pt x="605" y="488"/>
                    <a:pt x="586" y="515"/>
                  </a:cubicBezTo>
                  <a:cubicBezTo>
                    <a:pt x="552" y="561"/>
                    <a:pt x="525" y="591"/>
                    <a:pt x="504" y="614"/>
                  </a:cubicBezTo>
                  <a:cubicBezTo>
                    <a:pt x="466" y="656"/>
                    <a:pt x="449" y="675"/>
                    <a:pt x="449" y="736"/>
                  </a:cubicBezTo>
                  <a:cubicBezTo>
                    <a:pt x="449" y="746"/>
                    <a:pt x="441" y="754"/>
                    <a:pt x="431" y="754"/>
                  </a:cubicBezTo>
                  <a:cubicBezTo>
                    <a:pt x="218" y="754"/>
                    <a:pt x="218" y="754"/>
                    <a:pt x="218" y="754"/>
                  </a:cubicBezTo>
                  <a:cubicBezTo>
                    <a:pt x="208" y="754"/>
                    <a:pt x="200" y="746"/>
                    <a:pt x="200" y="736"/>
                  </a:cubicBezTo>
                  <a:cubicBezTo>
                    <a:pt x="200" y="675"/>
                    <a:pt x="183" y="657"/>
                    <a:pt x="145" y="615"/>
                  </a:cubicBezTo>
                  <a:cubicBezTo>
                    <a:pt x="124" y="592"/>
                    <a:pt x="96" y="562"/>
                    <a:pt x="62" y="515"/>
                  </a:cubicBezTo>
                  <a:cubicBezTo>
                    <a:pt x="42" y="488"/>
                    <a:pt x="26" y="457"/>
                    <a:pt x="16" y="425"/>
                  </a:cubicBezTo>
                  <a:cubicBezTo>
                    <a:pt x="5" y="393"/>
                    <a:pt x="0" y="359"/>
                    <a:pt x="0" y="324"/>
                  </a:cubicBezTo>
                  <a:cubicBezTo>
                    <a:pt x="0" y="280"/>
                    <a:pt x="8" y="238"/>
                    <a:pt x="24" y="200"/>
                  </a:cubicBezTo>
                  <a:cubicBezTo>
                    <a:pt x="25" y="199"/>
                    <a:pt x="25" y="199"/>
                    <a:pt x="25" y="199"/>
                  </a:cubicBezTo>
                  <a:cubicBezTo>
                    <a:pt x="41" y="160"/>
                    <a:pt x="65" y="124"/>
                    <a:pt x="95" y="95"/>
                  </a:cubicBezTo>
                  <a:cubicBezTo>
                    <a:pt x="124" y="65"/>
                    <a:pt x="160" y="41"/>
                    <a:pt x="200" y="25"/>
                  </a:cubicBezTo>
                  <a:cubicBezTo>
                    <a:pt x="238" y="9"/>
                    <a:pt x="280" y="0"/>
                    <a:pt x="324" y="0"/>
                  </a:cubicBezTo>
                  <a:cubicBezTo>
                    <a:pt x="368" y="0"/>
                    <a:pt x="409" y="9"/>
                    <a:pt x="448" y="25"/>
                  </a:cubicBezTo>
                  <a:cubicBezTo>
                    <a:pt x="487" y="41"/>
                    <a:pt x="523" y="65"/>
                    <a:pt x="553" y="95"/>
                  </a:cubicBezTo>
                  <a:close/>
                  <a:moveTo>
                    <a:pt x="611" y="324"/>
                  </a:moveTo>
                  <a:cubicBezTo>
                    <a:pt x="611" y="324"/>
                    <a:pt x="611" y="324"/>
                    <a:pt x="611" y="324"/>
                  </a:cubicBezTo>
                </a:path>
              </a:pathLst>
            </a:cu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 dirty="0"/>
            </a:p>
          </p:txBody>
        </p:sp>
        <p:sp>
          <p:nvSpPr>
            <p:cNvPr id="52" name="Line 160">
              <a:extLst>
                <a:ext uri="{FF2B5EF4-FFF2-40B4-BE49-F238E27FC236}">
                  <a16:creationId xmlns:a16="http://schemas.microsoft.com/office/drawing/2014/main" xmlns="" id="{0D7455D5-C40F-4A29-B780-E6895DD29B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241" y="2552"/>
              <a:ext cx="477" cy="0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3" name="Line 161">
              <a:extLst>
                <a:ext uri="{FF2B5EF4-FFF2-40B4-BE49-F238E27FC236}">
                  <a16:creationId xmlns:a16="http://schemas.microsoft.com/office/drawing/2014/main" xmlns="" id="{8F2E0B92-4770-4C46-BA5E-F7ADB5A0BB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155" y="2636"/>
              <a:ext cx="304" cy="0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4" name="Line 162">
              <a:extLst>
                <a:ext uri="{FF2B5EF4-FFF2-40B4-BE49-F238E27FC236}">
                  <a16:creationId xmlns:a16="http://schemas.microsoft.com/office/drawing/2014/main" xmlns="" id="{C5E91003-3211-4FBA-8FFD-B354CDC89A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088" y="2735"/>
              <a:ext cx="168" cy="0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5" name="Line 163">
              <a:extLst>
                <a:ext uri="{FF2B5EF4-FFF2-40B4-BE49-F238E27FC236}">
                  <a16:creationId xmlns:a16="http://schemas.microsoft.com/office/drawing/2014/main" xmlns="" id="{F8C5A497-FC22-4F5B-ACC3-9CAE2E01D9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271" y="1028"/>
              <a:ext cx="193" cy="107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6" name="Line 164">
              <a:extLst>
                <a:ext uri="{FF2B5EF4-FFF2-40B4-BE49-F238E27FC236}">
                  <a16:creationId xmlns:a16="http://schemas.microsoft.com/office/drawing/2014/main" xmlns="" id="{37A5FB2A-5D58-402E-BF1B-F7A982748B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576" y="640"/>
              <a:ext cx="122" cy="182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7" name="Line 165">
              <a:extLst>
                <a:ext uri="{FF2B5EF4-FFF2-40B4-BE49-F238E27FC236}">
                  <a16:creationId xmlns:a16="http://schemas.microsoft.com/office/drawing/2014/main" xmlns="" id="{6B3ABB4E-DFFA-453A-B909-37DDDA520B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937" y="1028"/>
              <a:ext cx="193" cy="107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8" name="Line 166">
              <a:extLst>
                <a:ext uri="{FF2B5EF4-FFF2-40B4-BE49-F238E27FC236}">
                  <a16:creationId xmlns:a16="http://schemas.microsoft.com/office/drawing/2014/main" xmlns="" id="{B9F5A06E-7375-4C2C-9C00-CD30E6A2E8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562" y="640"/>
              <a:ext cx="122" cy="182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59" name="Line 167">
              <a:extLst>
                <a:ext uri="{FF2B5EF4-FFF2-40B4-BE49-F238E27FC236}">
                  <a16:creationId xmlns:a16="http://schemas.microsoft.com/office/drawing/2014/main" xmlns="" id="{0E359D26-B391-406C-8572-B9BD332AAAA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989" y="505"/>
              <a:ext cx="0" cy="210"/>
            </a:xfrm>
            <a:prstGeom prst="line">
              <a:avLst/>
            </a:pr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0" name="Freeform 168">
              <a:extLst>
                <a:ext uri="{FF2B5EF4-FFF2-40B4-BE49-F238E27FC236}">
                  <a16:creationId xmlns:a16="http://schemas.microsoft.com/office/drawing/2014/main" xmlns="" id="{265503E7-F0E7-43F0-8A8B-702EE703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8" y="1045"/>
              <a:ext cx="365" cy="357"/>
            </a:xfrm>
            <a:custGeom>
              <a:avLst/>
              <a:gdLst>
                <a:gd name="T0" fmla="*/ 174 w 174"/>
                <a:gd name="T1" fmla="*/ 0 h 170"/>
                <a:gd name="T2" fmla="*/ 0 w 174"/>
                <a:gd name="T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4" h="170">
                  <a:moveTo>
                    <a:pt x="174" y="0"/>
                  </a:moveTo>
                  <a:cubicBezTo>
                    <a:pt x="174" y="0"/>
                    <a:pt x="47" y="40"/>
                    <a:pt x="0" y="170"/>
                  </a:cubicBezTo>
                </a:path>
              </a:pathLst>
            </a:custGeom>
            <a:ln w="19050"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sp>
        <p:nvSpPr>
          <p:cNvPr id="61" name="Freeform 172">
            <a:extLst>
              <a:ext uri="{FF2B5EF4-FFF2-40B4-BE49-F238E27FC236}">
                <a16:creationId xmlns:a16="http://schemas.microsoft.com/office/drawing/2014/main" xmlns="" id="{5C737ED3-DF46-4BD4-A7F1-A1FBE4BA8B90}"/>
              </a:ext>
            </a:extLst>
          </p:cNvPr>
          <p:cNvSpPr>
            <a:spLocks noEditPoints="1"/>
          </p:cNvSpPr>
          <p:nvPr/>
        </p:nvSpPr>
        <p:spPr bwMode="auto">
          <a:xfrm>
            <a:off x="5351920" y="5436811"/>
            <a:ext cx="614414" cy="572688"/>
          </a:xfrm>
          <a:custGeom>
            <a:avLst/>
            <a:gdLst>
              <a:gd name="T0" fmla="*/ 106 w 1533"/>
              <a:gd name="T1" fmla="*/ 502 h 1427"/>
              <a:gd name="T2" fmla="*/ 0 w 1533"/>
              <a:gd name="T3" fmla="*/ 607 h 1427"/>
              <a:gd name="T4" fmla="*/ 80 w 1533"/>
              <a:gd name="T5" fmla="*/ 1109 h 1427"/>
              <a:gd name="T6" fmla="*/ 106 w 1533"/>
              <a:gd name="T7" fmla="*/ 1189 h 1427"/>
              <a:gd name="T8" fmla="*/ 283 w 1533"/>
              <a:gd name="T9" fmla="*/ 1321 h 1427"/>
              <a:gd name="T10" fmla="*/ 616 w 1533"/>
              <a:gd name="T11" fmla="*/ 1321 h 1427"/>
              <a:gd name="T12" fmla="*/ 1190 w 1533"/>
              <a:gd name="T13" fmla="*/ 1427 h 1427"/>
              <a:gd name="T14" fmla="*/ 1401 w 1533"/>
              <a:gd name="T15" fmla="*/ 1321 h 1427"/>
              <a:gd name="T16" fmla="*/ 1215 w 1533"/>
              <a:gd name="T17" fmla="*/ 759 h 1427"/>
              <a:gd name="T18" fmla="*/ 1031 w 1533"/>
              <a:gd name="T19" fmla="*/ 481 h 1427"/>
              <a:gd name="T20" fmla="*/ 450 w 1533"/>
              <a:gd name="T21" fmla="*/ 422 h 1427"/>
              <a:gd name="T22" fmla="*/ 317 w 1533"/>
              <a:gd name="T23" fmla="*/ 740 h 1427"/>
              <a:gd name="T24" fmla="*/ 106 w 1533"/>
              <a:gd name="T25" fmla="*/ 872 h 1427"/>
              <a:gd name="T26" fmla="*/ 80 w 1533"/>
              <a:gd name="T27" fmla="*/ 1057 h 1427"/>
              <a:gd name="T28" fmla="*/ 53 w 1533"/>
              <a:gd name="T29" fmla="*/ 607 h 1427"/>
              <a:gd name="T30" fmla="*/ 159 w 1533"/>
              <a:gd name="T31" fmla="*/ 502 h 1427"/>
              <a:gd name="T32" fmla="*/ 265 w 1533"/>
              <a:gd name="T33" fmla="*/ 237 h 1427"/>
              <a:gd name="T34" fmla="*/ 238 w 1533"/>
              <a:gd name="T35" fmla="*/ 105 h 1427"/>
              <a:gd name="T36" fmla="*/ 212 w 1533"/>
              <a:gd name="T37" fmla="*/ 26 h 1427"/>
              <a:gd name="T38" fmla="*/ 159 w 1533"/>
              <a:gd name="T39" fmla="*/ 26 h 1427"/>
              <a:gd name="T40" fmla="*/ 106 w 1533"/>
              <a:gd name="T41" fmla="*/ 105 h 1427"/>
              <a:gd name="T42" fmla="*/ 80 w 1533"/>
              <a:gd name="T43" fmla="*/ 0 h 1427"/>
              <a:gd name="T44" fmla="*/ 53 w 1533"/>
              <a:gd name="T45" fmla="*/ 105 h 1427"/>
              <a:gd name="T46" fmla="*/ 0 w 1533"/>
              <a:gd name="T47" fmla="*/ 132 h 1427"/>
              <a:gd name="T48" fmla="*/ 106 w 1533"/>
              <a:gd name="T49" fmla="*/ 367 h 1427"/>
              <a:gd name="T50" fmla="*/ 1190 w 1533"/>
              <a:gd name="T51" fmla="*/ 1109 h 1427"/>
              <a:gd name="T52" fmla="*/ 1314 w 1533"/>
              <a:gd name="T53" fmla="*/ 1286 h 1427"/>
              <a:gd name="T54" fmla="*/ 1065 w 1533"/>
              <a:gd name="T55" fmla="*/ 1286 h 1427"/>
              <a:gd name="T56" fmla="*/ 317 w 1533"/>
              <a:gd name="T57" fmla="*/ 1242 h 1427"/>
              <a:gd name="T58" fmla="*/ 582 w 1533"/>
              <a:gd name="T59" fmla="*/ 1242 h 1427"/>
              <a:gd name="T60" fmla="*/ 450 w 1533"/>
              <a:gd name="T61" fmla="*/ 1374 h 1427"/>
              <a:gd name="T62" fmla="*/ 317 w 1533"/>
              <a:gd name="T63" fmla="*/ 1242 h 1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33" h="1427">
                <a:moveTo>
                  <a:pt x="106" y="367"/>
                </a:moveTo>
                <a:cubicBezTo>
                  <a:pt x="106" y="502"/>
                  <a:pt x="106" y="502"/>
                  <a:pt x="106" y="502"/>
                </a:cubicBezTo>
                <a:cubicBezTo>
                  <a:pt x="106" y="516"/>
                  <a:pt x="94" y="528"/>
                  <a:pt x="80" y="528"/>
                </a:cubicBezTo>
                <a:cubicBezTo>
                  <a:pt x="36" y="528"/>
                  <a:pt x="0" y="564"/>
                  <a:pt x="0" y="607"/>
                </a:cubicBezTo>
                <a:cubicBezTo>
                  <a:pt x="0" y="1030"/>
                  <a:pt x="0" y="1030"/>
                  <a:pt x="0" y="1030"/>
                </a:cubicBezTo>
                <a:cubicBezTo>
                  <a:pt x="0" y="1074"/>
                  <a:pt x="36" y="1109"/>
                  <a:pt x="80" y="1109"/>
                </a:cubicBezTo>
                <a:cubicBezTo>
                  <a:pt x="106" y="1109"/>
                  <a:pt x="106" y="1109"/>
                  <a:pt x="106" y="1109"/>
                </a:cubicBezTo>
                <a:cubicBezTo>
                  <a:pt x="106" y="1189"/>
                  <a:pt x="106" y="1189"/>
                  <a:pt x="106" y="1189"/>
                </a:cubicBezTo>
                <a:cubicBezTo>
                  <a:pt x="106" y="1262"/>
                  <a:pt x="165" y="1321"/>
                  <a:pt x="238" y="1321"/>
                </a:cubicBezTo>
                <a:cubicBezTo>
                  <a:pt x="283" y="1321"/>
                  <a:pt x="283" y="1321"/>
                  <a:pt x="283" y="1321"/>
                </a:cubicBezTo>
                <a:cubicBezTo>
                  <a:pt x="314" y="1385"/>
                  <a:pt x="378" y="1427"/>
                  <a:pt x="450" y="1427"/>
                </a:cubicBezTo>
                <a:cubicBezTo>
                  <a:pt x="521" y="1427"/>
                  <a:pt x="586" y="1385"/>
                  <a:pt x="616" y="1321"/>
                </a:cubicBezTo>
                <a:cubicBezTo>
                  <a:pt x="1023" y="1321"/>
                  <a:pt x="1023" y="1321"/>
                  <a:pt x="1023" y="1321"/>
                </a:cubicBezTo>
                <a:cubicBezTo>
                  <a:pt x="1054" y="1385"/>
                  <a:pt x="1118" y="1427"/>
                  <a:pt x="1190" y="1427"/>
                </a:cubicBezTo>
                <a:cubicBezTo>
                  <a:pt x="1261" y="1427"/>
                  <a:pt x="1326" y="1385"/>
                  <a:pt x="1356" y="1321"/>
                </a:cubicBezTo>
                <a:cubicBezTo>
                  <a:pt x="1401" y="1321"/>
                  <a:pt x="1401" y="1321"/>
                  <a:pt x="1401" y="1321"/>
                </a:cubicBezTo>
                <a:cubicBezTo>
                  <a:pt x="1474" y="1321"/>
                  <a:pt x="1533" y="1262"/>
                  <a:pt x="1533" y="1189"/>
                </a:cubicBezTo>
                <a:cubicBezTo>
                  <a:pt x="1533" y="987"/>
                  <a:pt x="1399" y="815"/>
                  <a:pt x="1215" y="759"/>
                </a:cubicBezTo>
                <a:cubicBezTo>
                  <a:pt x="1214" y="756"/>
                  <a:pt x="1213" y="754"/>
                  <a:pt x="1211" y="751"/>
                </a:cubicBezTo>
                <a:cubicBezTo>
                  <a:pt x="1031" y="481"/>
                  <a:pt x="1031" y="481"/>
                  <a:pt x="1031" y="481"/>
                </a:cubicBezTo>
                <a:cubicBezTo>
                  <a:pt x="1007" y="444"/>
                  <a:pt x="966" y="422"/>
                  <a:pt x="922" y="422"/>
                </a:cubicBezTo>
                <a:cubicBezTo>
                  <a:pt x="450" y="422"/>
                  <a:pt x="450" y="422"/>
                  <a:pt x="450" y="422"/>
                </a:cubicBezTo>
                <a:cubicBezTo>
                  <a:pt x="377" y="422"/>
                  <a:pt x="317" y="482"/>
                  <a:pt x="317" y="555"/>
                </a:cubicBezTo>
                <a:cubicBezTo>
                  <a:pt x="317" y="740"/>
                  <a:pt x="317" y="740"/>
                  <a:pt x="317" y="740"/>
                </a:cubicBezTo>
                <a:cubicBezTo>
                  <a:pt x="238" y="740"/>
                  <a:pt x="238" y="740"/>
                  <a:pt x="238" y="740"/>
                </a:cubicBezTo>
                <a:cubicBezTo>
                  <a:pt x="165" y="740"/>
                  <a:pt x="106" y="799"/>
                  <a:pt x="106" y="872"/>
                </a:cubicBezTo>
                <a:cubicBezTo>
                  <a:pt x="106" y="1057"/>
                  <a:pt x="106" y="1057"/>
                  <a:pt x="106" y="1057"/>
                </a:cubicBezTo>
                <a:cubicBezTo>
                  <a:pt x="80" y="1057"/>
                  <a:pt x="80" y="1057"/>
                  <a:pt x="80" y="1057"/>
                </a:cubicBezTo>
                <a:cubicBezTo>
                  <a:pt x="65" y="1057"/>
                  <a:pt x="53" y="1045"/>
                  <a:pt x="53" y="1030"/>
                </a:cubicBezTo>
                <a:cubicBezTo>
                  <a:pt x="53" y="607"/>
                  <a:pt x="53" y="607"/>
                  <a:pt x="53" y="607"/>
                </a:cubicBezTo>
                <a:cubicBezTo>
                  <a:pt x="53" y="593"/>
                  <a:pt x="65" y="581"/>
                  <a:pt x="80" y="581"/>
                </a:cubicBezTo>
                <a:cubicBezTo>
                  <a:pt x="123" y="581"/>
                  <a:pt x="159" y="545"/>
                  <a:pt x="159" y="502"/>
                </a:cubicBezTo>
                <a:cubicBezTo>
                  <a:pt x="159" y="367"/>
                  <a:pt x="159" y="367"/>
                  <a:pt x="159" y="367"/>
                </a:cubicBezTo>
                <a:cubicBezTo>
                  <a:pt x="219" y="355"/>
                  <a:pt x="265" y="301"/>
                  <a:pt x="265" y="237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65" y="117"/>
                  <a:pt x="253" y="105"/>
                  <a:pt x="238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26"/>
                  <a:pt x="212" y="26"/>
                  <a:pt x="212" y="26"/>
                </a:cubicBezTo>
                <a:cubicBezTo>
                  <a:pt x="212" y="11"/>
                  <a:pt x="200" y="0"/>
                  <a:pt x="185" y="0"/>
                </a:cubicBezTo>
                <a:cubicBezTo>
                  <a:pt x="171" y="0"/>
                  <a:pt x="159" y="11"/>
                  <a:pt x="159" y="26"/>
                </a:cubicBezTo>
                <a:cubicBezTo>
                  <a:pt x="159" y="105"/>
                  <a:pt x="159" y="105"/>
                  <a:pt x="159" y="105"/>
                </a:cubicBezTo>
                <a:cubicBezTo>
                  <a:pt x="106" y="105"/>
                  <a:pt x="106" y="105"/>
                  <a:pt x="106" y="105"/>
                </a:cubicBezTo>
                <a:cubicBezTo>
                  <a:pt x="106" y="26"/>
                  <a:pt x="106" y="26"/>
                  <a:pt x="106" y="26"/>
                </a:cubicBezTo>
                <a:cubicBezTo>
                  <a:pt x="106" y="11"/>
                  <a:pt x="94" y="0"/>
                  <a:pt x="80" y="0"/>
                </a:cubicBezTo>
                <a:cubicBezTo>
                  <a:pt x="65" y="0"/>
                  <a:pt x="53" y="11"/>
                  <a:pt x="53" y="26"/>
                </a:cubicBezTo>
                <a:cubicBezTo>
                  <a:pt x="53" y="105"/>
                  <a:pt x="53" y="105"/>
                  <a:pt x="53" y="105"/>
                </a:cubicBezTo>
                <a:cubicBezTo>
                  <a:pt x="27" y="105"/>
                  <a:pt x="27" y="105"/>
                  <a:pt x="27" y="105"/>
                </a:cubicBezTo>
                <a:cubicBezTo>
                  <a:pt x="12" y="105"/>
                  <a:pt x="0" y="117"/>
                  <a:pt x="0" y="132"/>
                </a:cubicBezTo>
                <a:cubicBezTo>
                  <a:pt x="0" y="237"/>
                  <a:pt x="0" y="237"/>
                  <a:pt x="0" y="237"/>
                </a:cubicBezTo>
                <a:cubicBezTo>
                  <a:pt x="0" y="301"/>
                  <a:pt x="46" y="355"/>
                  <a:pt x="106" y="367"/>
                </a:cubicBezTo>
                <a:close/>
                <a:moveTo>
                  <a:pt x="1057" y="1242"/>
                </a:moveTo>
                <a:cubicBezTo>
                  <a:pt x="1057" y="1169"/>
                  <a:pt x="1117" y="1109"/>
                  <a:pt x="1190" y="1109"/>
                </a:cubicBezTo>
                <a:cubicBezTo>
                  <a:pt x="1262" y="1109"/>
                  <a:pt x="1322" y="1169"/>
                  <a:pt x="1322" y="1242"/>
                </a:cubicBezTo>
                <a:cubicBezTo>
                  <a:pt x="1322" y="1256"/>
                  <a:pt x="1319" y="1271"/>
                  <a:pt x="1314" y="1286"/>
                </a:cubicBezTo>
                <a:cubicBezTo>
                  <a:pt x="1295" y="1338"/>
                  <a:pt x="1245" y="1374"/>
                  <a:pt x="1190" y="1374"/>
                </a:cubicBezTo>
                <a:cubicBezTo>
                  <a:pt x="1134" y="1374"/>
                  <a:pt x="1084" y="1338"/>
                  <a:pt x="1065" y="1286"/>
                </a:cubicBezTo>
                <a:cubicBezTo>
                  <a:pt x="1060" y="1271"/>
                  <a:pt x="1057" y="1256"/>
                  <a:pt x="1057" y="1242"/>
                </a:cubicBezTo>
                <a:close/>
                <a:moveTo>
                  <a:pt x="317" y="1242"/>
                </a:moveTo>
                <a:cubicBezTo>
                  <a:pt x="317" y="1169"/>
                  <a:pt x="377" y="1109"/>
                  <a:pt x="450" y="1109"/>
                </a:cubicBezTo>
                <a:cubicBezTo>
                  <a:pt x="522" y="1109"/>
                  <a:pt x="582" y="1169"/>
                  <a:pt x="582" y="1242"/>
                </a:cubicBezTo>
                <a:cubicBezTo>
                  <a:pt x="582" y="1256"/>
                  <a:pt x="579" y="1271"/>
                  <a:pt x="574" y="1286"/>
                </a:cubicBezTo>
                <a:cubicBezTo>
                  <a:pt x="555" y="1338"/>
                  <a:pt x="505" y="1374"/>
                  <a:pt x="450" y="1374"/>
                </a:cubicBezTo>
                <a:cubicBezTo>
                  <a:pt x="394" y="1374"/>
                  <a:pt x="344" y="1338"/>
                  <a:pt x="325" y="1286"/>
                </a:cubicBezTo>
                <a:cubicBezTo>
                  <a:pt x="320" y="1271"/>
                  <a:pt x="317" y="1256"/>
                  <a:pt x="317" y="1242"/>
                </a:cubicBezTo>
                <a:close/>
              </a:path>
            </a:pathLst>
          </a:custGeom>
          <a:ln w="19050" cap="rnd">
            <a:solidFill>
              <a:srgbClr val="008737"/>
            </a:solidFill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b="1"/>
          </a:p>
        </p:txBody>
      </p:sp>
      <p:grpSp>
        <p:nvGrpSpPr>
          <p:cNvPr id="62" name="Group 175">
            <a:extLst>
              <a:ext uri="{FF2B5EF4-FFF2-40B4-BE49-F238E27FC236}">
                <a16:creationId xmlns:a16="http://schemas.microsoft.com/office/drawing/2014/main" xmlns="" id="{84B91DB1-030B-4AA7-B99A-7D57C26A67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49001" y="5513222"/>
            <a:ext cx="703384" cy="466962"/>
            <a:chOff x="1805" y="906"/>
            <a:chExt cx="2154" cy="1430"/>
          </a:xfrm>
        </p:grpSpPr>
        <p:sp>
          <p:nvSpPr>
            <p:cNvPr id="63" name="Oval 176">
              <a:extLst>
                <a:ext uri="{FF2B5EF4-FFF2-40B4-BE49-F238E27FC236}">
                  <a16:creationId xmlns:a16="http://schemas.microsoft.com/office/drawing/2014/main" xmlns="" id="{F38E8657-2AC7-4FD8-899B-4C2ED57D3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3" y="906"/>
              <a:ext cx="657" cy="700"/>
            </a:xfrm>
            <a:prstGeom prst="ellipse">
              <a:avLst/>
            </a:pr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4" name="Oval 177">
              <a:extLst>
                <a:ext uri="{FF2B5EF4-FFF2-40B4-BE49-F238E27FC236}">
                  <a16:creationId xmlns:a16="http://schemas.microsoft.com/office/drawing/2014/main" xmlns="" id="{F87BBEEA-D8C1-4DD7-BA74-24B9F9308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2" y="1205"/>
              <a:ext cx="482" cy="515"/>
            </a:xfrm>
            <a:prstGeom prst="ellipse">
              <a:avLst/>
            </a:pr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5" name="Oval 178">
              <a:extLst>
                <a:ext uri="{FF2B5EF4-FFF2-40B4-BE49-F238E27FC236}">
                  <a16:creationId xmlns:a16="http://schemas.microsoft.com/office/drawing/2014/main" xmlns="" id="{AD0F8EF4-D832-406F-AEE8-0E77D3F85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9" y="1205"/>
              <a:ext cx="481" cy="515"/>
            </a:xfrm>
            <a:prstGeom prst="ellipse">
              <a:avLst/>
            </a:pr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6" name="Freeform 179">
              <a:extLst>
                <a:ext uri="{FF2B5EF4-FFF2-40B4-BE49-F238E27FC236}">
                  <a16:creationId xmlns:a16="http://schemas.microsoft.com/office/drawing/2014/main" xmlns="" id="{9766D68A-10E5-4BAB-9523-3D22561C0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" y="1800"/>
              <a:ext cx="958" cy="536"/>
            </a:xfrm>
            <a:custGeom>
              <a:avLst/>
              <a:gdLst>
                <a:gd name="T0" fmla="*/ 0 w 457"/>
                <a:gd name="T1" fmla="*/ 255 h 255"/>
                <a:gd name="T2" fmla="*/ 229 w 457"/>
                <a:gd name="T3" fmla="*/ 0 h 255"/>
                <a:gd name="T4" fmla="*/ 457 w 457"/>
                <a:gd name="T5" fmla="*/ 255 h 255"/>
                <a:gd name="T6" fmla="*/ 0 w 457"/>
                <a:gd name="T7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255">
                  <a:moveTo>
                    <a:pt x="0" y="255"/>
                  </a:moveTo>
                  <a:cubicBezTo>
                    <a:pt x="0" y="114"/>
                    <a:pt x="103" y="0"/>
                    <a:pt x="229" y="0"/>
                  </a:cubicBezTo>
                  <a:cubicBezTo>
                    <a:pt x="355" y="0"/>
                    <a:pt x="457" y="114"/>
                    <a:pt x="457" y="255"/>
                  </a:cubicBezTo>
                  <a:lnTo>
                    <a:pt x="0" y="255"/>
                  </a:lnTo>
                  <a:close/>
                </a:path>
              </a:pathLst>
            </a:cu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7" name="Freeform 180">
              <a:extLst>
                <a:ext uri="{FF2B5EF4-FFF2-40B4-BE49-F238E27FC236}">
                  <a16:creationId xmlns:a16="http://schemas.microsoft.com/office/drawing/2014/main" xmlns="" id="{282BEB2F-9340-4B44-9045-F1B1DCB12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9" y="1884"/>
              <a:ext cx="690" cy="452"/>
            </a:xfrm>
            <a:custGeom>
              <a:avLst/>
              <a:gdLst>
                <a:gd name="T0" fmla="*/ 0 w 329"/>
                <a:gd name="T1" fmla="*/ 63 h 215"/>
                <a:gd name="T2" fmla="*/ 136 w 329"/>
                <a:gd name="T3" fmla="*/ 0 h 215"/>
                <a:gd name="T4" fmla="*/ 329 w 329"/>
                <a:gd name="T5" fmla="*/ 215 h 215"/>
                <a:gd name="T6" fmla="*/ 44 w 329"/>
                <a:gd name="T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215">
                  <a:moveTo>
                    <a:pt x="0" y="63"/>
                  </a:moveTo>
                  <a:cubicBezTo>
                    <a:pt x="35" y="24"/>
                    <a:pt x="83" y="0"/>
                    <a:pt x="136" y="0"/>
                  </a:cubicBezTo>
                  <a:cubicBezTo>
                    <a:pt x="243" y="0"/>
                    <a:pt x="329" y="96"/>
                    <a:pt x="329" y="215"/>
                  </a:cubicBezTo>
                  <a:cubicBezTo>
                    <a:pt x="44" y="215"/>
                    <a:pt x="44" y="215"/>
                    <a:pt x="44" y="215"/>
                  </a:cubicBezTo>
                </a:path>
              </a:pathLst>
            </a:cu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68" name="Freeform 181">
              <a:extLst>
                <a:ext uri="{FF2B5EF4-FFF2-40B4-BE49-F238E27FC236}">
                  <a16:creationId xmlns:a16="http://schemas.microsoft.com/office/drawing/2014/main" xmlns="" id="{C809E9A6-2CC1-4FD4-9C1F-9E8FDB5B7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" y="1884"/>
              <a:ext cx="690" cy="452"/>
            </a:xfrm>
            <a:custGeom>
              <a:avLst/>
              <a:gdLst>
                <a:gd name="T0" fmla="*/ 329 w 329"/>
                <a:gd name="T1" fmla="*/ 63 h 215"/>
                <a:gd name="T2" fmla="*/ 192 w 329"/>
                <a:gd name="T3" fmla="*/ 0 h 215"/>
                <a:gd name="T4" fmla="*/ 0 w 329"/>
                <a:gd name="T5" fmla="*/ 215 h 215"/>
                <a:gd name="T6" fmla="*/ 284 w 329"/>
                <a:gd name="T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215">
                  <a:moveTo>
                    <a:pt x="329" y="63"/>
                  </a:moveTo>
                  <a:cubicBezTo>
                    <a:pt x="294" y="24"/>
                    <a:pt x="246" y="0"/>
                    <a:pt x="192" y="0"/>
                  </a:cubicBezTo>
                  <a:cubicBezTo>
                    <a:pt x="86" y="0"/>
                    <a:pt x="0" y="96"/>
                    <a:pt x="0" y="215"/>
                  </a:cubicBezTo>
                  <a:cubicBezTo>
                    <a:pt x="284" y="215"/>
                    <a:pt x="284" y="215"/>
                    <a:pt x="284" y="215"/>
                  </a:cubicBezTo>
                </a:path>
              </a:pathLst>
            </a:custGeom>
            <a:ln w="19050" cap="rnd">
              <a:solidFill>
                <a:schemeClr val="accent4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72" name="Groupe 71">
            <a:extLst>
              <a:ext uri="{FF2B5EF4-FFF2-40B4-BE49-F238E27FC236}">
                <a16:creationId xmlns:a16="http://schemas.microsoft.com/office/drawing/2014/main" xmlns="" id="{EA8760BA-5818-4EAE-B491-F721411D7427}"/>
              </a:ext>
            </a:extLst>
          </p:cNvPr>
          <p:cNvGrpSpPr/>
          <p:nvPr/>
        </p:nvGrpSpPr>
        <p:grpSpPr>
          <a:xfrm>
            <a:off x="7587295" y="5407275"/>
            <a:ext cx="482286" cy="602624"/>
            <a:chOff x="1930603" y="2861755"/>
            <a:chExt cx="450648" cy="563095"/>
          </a:xfrm>
        </p:grpSpPr>
        <p:sp>
          <p:nvSpPr>
            <p:cNvPr id="73" name="Rectangle 44">
              <a:extLst>
                <a:ext uri="{FF2B5EF4-FFF2-40B4-BE49-F238E27FC236}">
                  <a16:creationId xmlns:a16="http://schemas.microsoft.com/office/drawing/2014/main" xmlns="" id="{64F5F3BA-622D-4297-8FC1-C48A3D4743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603" y="3188482"/>
              <a:ext cx="450648" cy="236368"/>
            </a:xfrm>
            <a:prstGeom prst="rect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4" name="Rectangle 45">
              <a:extLst>
                <a:ext uri="{FF2B5EF4-FFF2-40B4-BE49-F238E27FC236}">
                  <a16:creationId xmlns:a16="http://schemas.microsoft.com/office/drawing/2014/main" xmlns="" id="{FDA9A64A-C342-43D3-BEB9-268A6128D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3728" y="3328754"/>
              <a:ext cx="134535" cy="96096"/>
            </a:xfrm>
            <a:prstGeom prst="rect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5" name="Line 46">
              <a:extLst>
                <a:ext uri="{FF2B5EF4-FFF2-40B4-BE49-F238E27FC236}">
                  <a16:creationId xmlns:a16="http://schemas.microsoft.com/office/drawing/2014/main" xmlns="" id="{83036D07-33F0-45C0-A3AE-6E827FB165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6397" y="3328754"/>
              <a:ext cx="0" cy="6941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6" name="Line 47">
              <a:extLst>
                <a:ext uri="{FF2B5EF4-FFF2-40B4-BE49-F238E27FC236}">
                  <a16:creationId xmlns:a16="http://schemas.microsoft.com/office/drawing/2014/main" xmlns="" id="{24B3F19B-D9E3-466E-A426-0D0E442E58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0500" y="3328754"/>
              <a:ext cx="0" cy="6941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7" name="Line 48">
              <a:extLst>
                <a:ext uri="{FF2B5EF4-FFF2-40B4-BE49-F238E27FC236}">
                  <a16:creationId xmlns:a16="http://schemas.microsoft.com/office/drawing/2014/main" xmlns="" id="{122D3DE3-339F-4534-84D7-EBA5E6AD0C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74891" y="3328754"/>
              <a:ext cx="0" cy="6941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8" name="Line 49">
              <a:extLst>
                <a:ext uri="{FF2B5EF4-FFF2-40B4-BE49-F238E27FC236}">
                  <a16:creationId xmlns:a16="http://schemas.microsoft.com/office/drawing/2014/main" xmlns="" id="{5AA494B9-2F45-49DC-931B-C66477FA51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8994" y="3328754"/>
              <a:ext cx="0" cy="6941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79" name="Line 50">
              <a:extLst>
                <a:ext uri="{FF2B5EF4-FFF2-40B4-BE49-F238E27FC236}">
                  <a16:creationId xmlns:a16="http://schemas.microsoft.com/office/drawing/2014/main" xmlns="" id="{FAB1702A-7D4D-400C-999D-626E819C1A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3097" y="3328754"/>
              <a:ext cx="0" cy="6941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0" name="Line 51">
              <a:extLst>
                <a:ext uri="{FF2B5EF4-FFF2-40B4-BE49-F238E27FC236}">
                  <a16:creationId xmlns:a16="http://schemas.microsoft.com/office/drawing/2014/main" xmlns="" id="{9962381C-51E0-4CA0-8EB7-0AC54A8521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61010" y="3236960"/>
              <a:ext cx="387253" cy="0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1" name="Freeform 52">
              <a:extLst>
                <a:ext uri="{FF2B5EF4-FFF2-40B4-BE49-F238E27FC236}">
                  <a16:creationId xmlns:a16="http://schemas.microsoft.com/office/drawing/2014/main" xmlns="" id="{6BE4D71B-7A99-4E9D-85DA-BDF7BD0B7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444" y="3136848"/>
              <a:ext cx="66550" cy="51634"/>
            </a:xfrm>
            <a:custGeom>
              <a:avLst/>
              <a:gdLst>
                <a:gd name="T0" fmla="*/ 0 w 232"/>
                <a:gd name="T1" fmla="*/ 180 h 180"/>
                <a:gd name="T2" fmla="*/ 232 w 232"/>
                <a:gd name="T3" fmla="*/ 180 h 180"/>
                <a:gd name="T4" fmla="*/ 232 w 232"/>
                <a:gd name="T5" fmla="*/ 0 h 180"/>
                <a:gd name="T6" fmla="*/ 0 w 232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180">
                  <a:moveTo>
                    <a:pt x="0" y="180"/>
                  </a:moveTo>
                  <a:lnTo>
                    <a:pt x="232" y="180"/>
                  </a:lnTo>
                  <a:lnTo>
                    <a:pt x="232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2" name="Freeform 53">
              <a:extLst>
                <a:ext uri="{FF2B5EF4-FFF2-40B4-BE49-F238E27FC236}">
                  <a16:creationId xmlns:a16="http://schemas.microsoft.com/office/drawing/2014/main" xmlns="" id="{742A4208-766F-42E6-A579-0FC7FA9F8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584" y="3136848"/>
              <a:ext cx="66263" cy="51634"/>
            </a:xfrm>
            <a:custGeom>
              <a:avLst/>
              <a:gdLst>
                <a:gd name="T0" fmla="*/ 0 w 231"/>
                <a:gd name="T1" fmla="*/ 180 h 180"/>
                <a:gd name="T2" fmla="*/ 231 w 231"/>
                <a:gd name="T3" fmla="*/ 180 h 180"/>
                <a:gd name="T4" fmla="*/ 231 w 231"/>
                <a:gd name="T5" fmla="*/ 0 h 180"/>
                <a:gd name="T6" fmla="*/ 0 w 231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80">
                  <a:moveTo>
                    <a:pt x="0" y="180"/>
                  </a:moveTo>
                  <a:lnTo>
                    <a:pt x="231" y="180"/>
                  </a:lnTo>
                  <a:lnTo>
                    <a:pt x="231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3" name="Freeform 54">
              <a:extLst>
                <a:ext uri="{FF2B5EF4-FFF2-40B4-BE49-F238E27FC236}">
                  <a16:creationId xmlns:a16="http://schemas.microsoft.com/office/drawing/2014/main" xmlns="" id="{66EE074C-26AE-4D92-B1D2-5D4665F35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568" y="3136848"/>
              <a:ext cx="66550" cy="51634"/>
            </a:xfrm>
            <a:custGeom>
              <a:avLst/>
              <a:gdLst>
                <a:gd name="T0" fmla="*/ 0 w 232"/>
                <a:gd name="T1" fmla="*/ 180 h 180"/>
                <a:gd name="T2" fmla="*/ 232 w 232"/>
                <a:gd name="T3" fmla="*/ 180 h 180"/>
                <a:gd name="T4" fmla="*/ 232 w 232"/>
                <a:gd name="T5" fmla="*/ 0 h 180"/>
                <a:gd name="T6" fmla="*/ 0 w 232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180">
                  <a:moveTo>
                    <a:pt x="0" y="180"/>
                  </a:moveTo>
                  <a:lnTo>
                    <a:pt x="232" y="180"/>
                  </a:lnTo>
                  <a:lnTo>
                    <a:pt x="232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4" name="Freeform 55">
              <a:extLst>
                <a:ext uri="{FF2B5EF4-FFF2-40B4-BE49-F238E27FC236}">
                  <a16:creationId xmlns:a16="http://schemas.microsoft.com/office/drawing/2014/main" xmlns="" id="{63110F39-5E96-475E-8594-DF27412C3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673" y="2996289"/>
              <a:ext cx="82040" cy="192192"/>
            </a:xfrm>
            <a:custGeom>
              <a:avLst/>
              <a:gdLst>
                <a:gd name="T0" fmla="*/ 254 w 286"/>
                <a:gd name="T1" fmla="*/ 0 h 670"/>
                <a:gd name="T2" fmla="*/ 32 w 286"/>
                <a:gd name="T3" fmla="*/ 0 h 670"/>
                <a:gd name="T4" fmla="*/ 0 w 286"/>
                <a:gd name="T5" fmla="*/ 670 h 670"/>
                <a:gd name="T6" fmla="*/ 286 w 286"/>
                <a:gd name="T7" fmla="*/ 670 h 670"/>
                <a:gd name="T8" fmla="*/ 254 w 286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670">
                  <a:moveTo>
                    <a:pt x="254" y="0"/>
                  </a:moveTo>
                  <a:lnTo>
                    <a:pt x="32" y="0"/>
                  </a:lnTo>
                  <a:lnTo>
                    <a:pt x="0" y="670"/>
                  </a:lnTo>
                  <a:lnTo>
                    <a:pt x="286" y="670"/>
                  </a:lnTo>
                  <a:lnTo>
                    <a:pt x="254" y="0"/>
                  </a:lnTo>
                  <a:close/>
                </a:path>
              </a:pathLst>
            </a:cu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5" name="Freeform 56">
              <a:extLst>
                <a:ext uri="{FF2B5EF4-FFF2-40B4-BE49-F238E27FC236}">
                  <a16:creationId xmlns:a16="http://schemas.microsoft.com/office/drawing/2014/main" xmlns="" id="{7309C755-03CA-4140-88C8-BBE47EDD3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927" y="3033867"/>
              <a:ext cx="81753" cy="154615"/>
            </a:xfrm>
            <a:custGeom>
              <a:avLst/>
              <a:gdLst>
                <a:gd name="T0" fmla="*/ 254 w 285"/>
                <a:gd name="T1" fmla="*/ 0 h 539"/>
                <a:gd name="T2" fmla="*/ 32 w 285"/>
                <a:gd name="T3" fmla="*/ 0 h 539"/>
                <a:gd name="T4" fmla="*/ 0 w 285"/>
                <a:gd name="T5" fmla="*/ 539 h 539"/>
                <a:gd name="T6" fmla="*/ 285 w 285"/>
                <a:gd name="T7" fmla="*/ 539 h 539"/>
                <a:gd name="T8" fmla="*/ 254 w 285"/>
                <a:gd name="T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539">
                  <a:moveTo>
                    <a:pt x="254" y="0"/>
                  </a:moveTo>
                  <a:lnTo>
                    <a:pt x="32" y="0"/>
                  </a:lnTo>
                  <a:lnTo>
                    <a:pt x="0" y="539"/>
                  </a:lnTo>
                  <a:lnTo>
                    <a:pt x="285" y="539"/>
                  </a:lnTo>
                  <a:lnTo>
                    <a:pt x="254" y="0"/>
                  </a:lnTo>
                  <a:close/>
                </a:path>
              </a:pathLst>
            </a:cu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6" name="Line 57">
              <a:extLst>
                <a:ext uri="{FF2B5EF4-FFF2-40B4-BE49-F238E27FC236}">
                  <a16:creationId xmlns:a16="http://schemas.microsoft.com/office/drawing/2014/main" xmlns="" id="{72B708F3-44CE-44F6-B1AF-4CABAE8B52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79705" y="3018951"/>
              <a:ext cx="65976" cy="0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7" name="Line 58">
              <a:extLst>
                <a:ext uri="{FF2B5EF4-FFF2-40B4-BE49-F238E27FC236}">
                  <a16:creationId xmlns:a16="http://schemas.microsoft.com/office/drawing/2014/main" xmlns="" id="{2EF5E9B6-4C60-4FFE-A746-15E25C4983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99099" y="3062840"/>
              <a:ext cx="67411" cy="0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8" name="Line 59">
              <a:extLst>
                <a:ext uri="{FF2B5EF4-FFF2-40B4-BE49-F238E27FC236}">
                  <a16:creationId xmlns:a16="http://schemas.microsoft.com/office/drawing/2014/main" xmlns="" id="{0CC1079A-0927-42F5-8554-C37CDF3557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23194" y="2981086"/>
              <a:ext cx="0" cy="34709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89" name="Line 60">
              <a:extLst>
                <a:ext uri="{FF2B5EF4-FFF2-40B4-BE49-F238E27FC236}">
                  <a16:creationId xmlns:a16="http://schemas.microsoft.com/office/drawing/2014/main" xmlns="" id="{07DBB433-3085-499A-B663-151CCE9468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42414" y="2955843"/>
              <a:ext cx="0" cy="59953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90" name="Line 61">
              <a:extLst>
                <a:ext uri="{FF2B5EF4-FFF2-40B4-BE49-F238E27FC236}">
                  <a16:creationId xmlns:a16="http://schemas.microsoft.com/office/drawing/2014/main" xmlns="" id="{E0F25ADD-37EE-40D4-9BB3-05324C47AB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03227" y="2885850"/>
              <a:ext cx="0" cy="95236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91" name="Line 62">
              <a:extLst>
                <a:ext uri="{FF2B5EF4-FFF2-40B4-BE49-F238E27FC236}">
                  <a16:creationId xmlns:a16="http://schemas.microsoft.com/office/drawing/2014/main" xmlns="" id="{8E013F76-F1C5-4D8C-B1F2-9C387C1D03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22446" y="2861755"/>
              <a:ext cx="0" cy="119331"/>
            </a:xfrm>
            <a:prstGeom prst="line">
              <a:avLst/>
            </a:prstGeom>
            <a:noFill/>
            <a:ln w="19050" cap="rnd">
              <a:solidFill>
                <a:srgbClr val="E1001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92" name="Group 13">
            <a:extLst>
              <a:ext uri="{FF2B5EF4-FFF2-40B4-BE49-F238E27FC236}">
                <a16:creationId xmlns:a16="http://schemas.microsoft.com/office/drawing/2014/main" xmlns="" id="{F51E371F-DCD1-4310-9E0E-E67601AA2F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3955" y="5570732"/>
            <a:ext cx="714852" cy="428032"/>
            <a:chOff x="1086" y="546"/>
            <a:chExt cx="3584" cy="2146"/>
          </a:xfrm>
        </p:grpSpPr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xmlns="" id="{56DD00E9-4D04-468C-B248-E97423EF5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" y="819"/>
              <a:ext cx="730" cy="730"/>
            </a:xfrm>
            <a:custGeom>
              <a:avLst/>
              <a:gdLst>
                <a:gd name="T0" fmla="*/ 0 w 355"/>
                <a:gd name="T1" fmla="*/ 0 h 355"/>
                <a:gd name="T2" fmla="*/ 355 w 355"/>
                <a:gd name="T3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5" h="355">
                  <a:moveTo>
                    <a:pt x="0" y="0"/>
                  </a:moveTo>
                  <a:cubicBezTo>
                    <a:pt x="196" y="0"/>
                    <a:pt x="355" y="159"/>
                    <a:pt x="355" y="355"/>
                  </a:cubicBezTo>
                </a:path>
              </a:pathLst>
            </a:custGeom>
            <a:noFill/>
            <a:ln w="19050" cap="rnd">
              <a:solidFill>
                <a:srgbClr val="005F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xmlns="" id="{104761D3-73A2-400F-BD25-5DF3BC7F8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" y="546"/>
              <a:ext cx="3584" cy="2146"/>
            </a:xfrm>
            <a:custGeom>
              <a:avLst/>
              <a:gdLst>
                <a:gd name="T0" fmla="*/ 1458 w 1744"/>
                <a:gd name="T1" fmla="*/ 1044 h 1044"/>
                <a:gd name="T2" fmla="*/ 1744 w 1744"/>
                <a:gd name="T3" fmla="*/ 758 h 1044"/>
                <a:gd name="T4" fmla="*/ 1458 w 1744"/>
                <a:gd name="T5" fmla="*/ 472 h 1044"/>
                <a:gd name="T6" fmla="*/ 1423 w 1744"/>
                <a:gd name="T7" fmla="*/ 474 h 1044"/>
                <a:gd name="T8" fmla="*/ 894 w 1744"/>
                <a:gd name="T9" fmla="*/ 0 h 1044"/>
                <a:gd name="T10" fmla="*/ 382 w 1744"/>
                <a:gd name="T11" fmla="*/ 388 h 1044"/>
                <a:gd name="T12" fmla="*/ 330 w 1744"/>
                <a:gd name="T13" fmla="*/ 384 h 1044"/>
                <a:gd name="T14" fmla="*/ 0 w 1744"/>
                <a:gd name="T15" fmla="*/ 714 h 1044"/>
                <a:gd name="T16" fmla="*/ 330 w 1744"/>
                <a:gd name="T17" fmla="*/ 1044 h 1044"/>
                <a:gd name="T18" fmla="*/ 1458 w 1744"/>
                <a:gd name="T19" fmla="*/ 1044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4" h="1044">
                  <a:moveTo>
                    <a:pt x="1458" y="1044"/>
                  </a:moveTo>
                  <a:cubicBezTo>
                    <a:pt x="1616" y="1044"/>
                    <a:pt x="1744" y="916"/>
                    <a:pt x="1744" y="758"/>
                  </a:cubicBezTo>
                  <a:cubicBezTo>
                    <a:pt x="1744" y="600"/>
                    <a:pt x="1616" y="472"/>
                    <a:pt x="1458" y="472"/>
                  </a:cubicBezTo>
                  <a:cubicBezTo>
                    <a:pt x="1446" y="472"/>
                    <a:pt x="1434" y="473"/>
                    <a:pt x="1423" y="474"/>
                  </a:cubicBezTo>
                  <a:cubicBezTo>
                    <a:pt x="1394" y="208"/>
                    <a:pt x="1168" y="0"/>
                    <a:pt x="894" y="0"/>
                  </a:cubicBezTo>
                  <a:cubicBezTo>
                    <a:pt x="650" y="0"/>
                    <a:pt x="444" y="164"/>
                    <a:pt x="382" y="388"/>
                  </a:cubicBezTo>
                  <a:cubicBezTo>
                    <a:pt x="365" y="385"/>
                    <a:pt x="348" y="384"/>
                    <a:pt x="330" y="384"/>
                  </a:cubicBezTo>
                  <a:cubicBezTo>
                    <a:pt x="148" y="384"/>
                    <a:pt x="0" y="532"/>
                    <a:pt x="0" y="714"/>
                  </a:cubicBezTo>
                  <a:cubicBezTo>
                    <a:pt x="0" y="896"/>
                    <a:pt x="148" y="1044"/>
                    <a:pt x="330" y="1044"/>
                  </a:cubicBezTo>
                  <a:lnTo>
                    <a:pt x="1458" y="1044"/>
                  </a:lnTo>
                  <a:close/>
                </a:path>
              </a:pathLst>
            </a:custGeom>
            <a:noFill/>
            <a:ln w="19050" cap="rnd">
              <a:solidFill>
                <a:srgbClr val="005F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74484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Espace réservé pour une image  13">
            <a:extLst>
              <a:ext uri="{FF2B5EF4-FFF2-40B4-BE49-F238E27FC236}">
                <a16:creationId xmlns:a16="http://schemas.microsoft.com/office/drawing/2014/main" xmlns="" id="{285B8096-0674-4459-97A6-414E9E91C71F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>
          <a:xfrm>
            <a:off x="-147" y="-707630"/>
            <a:ext cx="9144000" cy="7565629"/>
          </a:xfrm>
        </p:spPr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238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38" name="Espace réservé pour une image  37" descr="5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l="7172" r="7172"/>
          <a:stretch>
            <a:fillRect/>
          </a:stretch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056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7" name="Espace réservé pour une image  26" descr="HM_2bis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l="30" r="30"/>
          <a:stretch>
            <a:fillRect/>
          </a:stretch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4357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extérieur, bâtiment, clôture&#10;&#10;Description générée avec un niveau de confiance très élevé">
            <a:extLst>
              <a:ext uri="{FF2B5EF4-FFF2-40B4-BE49-F238E27FC236}">
                <a16:creationId xmlns:a16="http://schemas.microsoft.com/office/drawing/2014/main" xmlns="" id="{21971A8E-2A0F-45CD-B881-50EFFD7E506B}"/>
              </a:ext>
            </a:extLst>
          </p:cNvPr>
          <p:cNvPicPr preferRelativeResize="0">
            <a:picLocks noGrp="1" noChangeAspect="1"/>
          </p:cNvPicPr>
          <p:nvPr>
            <p:ph type="pic" sz="quarter" idx="2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88" r="14288"/>
          <a:stretch>
            <a:fillRect/>
          </a:stretch>
        </p:blipFill>
        <p:spPr>
          <a:xfrm>
            <a:off x="5878800" y="-11614"/>
            <a:ext cx="3265200" cy="6858000"/>
          </a:xfrm>
        </p:spPr>
      </p:pic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90558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7" name="Espace réservé pour une image  26" descr="HM_2bis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l="30" r="30"/>
          <a:stretch>
            <a:fillRect/>
          </a:stretch>
        </p:blipFill>
        <p:spPr>
          <a:xfrm>
            <a:off x="5796136" y="9000"/>
            <a:ext cx="3265200" cy="6858000"/>
          </a:xfr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991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à coins arrondis 15"/>
          <p:cNvSpPr/>
          <p:nvPr/>
        </p:nvSpPr>
        <p:spPr bwMode="gray">
          <a:xfrm>
            <a:off x="327030" y="3905265"/>
            <a:ext cx="3777637" cy="2295510"/>
          </a:xfrm>
          <a:prstGeom prst="roundRect">
            <a:avLst>
              <a:gd name="adj" fmla="val 13578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Project reports</a:t>
            </a:r>
          </a:p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Summaries of Marketing requirements</a:t>
            </a:r>
            <a:endParaRPr lang="fr-FR" sz="1200" dirty="0">
              <a:solidFill>
                <a:schemeClr val="bg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JECT PLAN</a:t>
            </a:r>
            <a:endParaRPr lang="fr-FR" dirty="0"/>
          </a:p>
        </p:txBody>
      </p:sp>
      <p:sp>
        <p:nvSpPr>
          <p:cNvPr id="23" name="Espace réservé de la date 2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4" name="Espace réservé du numéro de diapositive 2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4</a:t>
            </a:fld>
            <a:endParaRPr lang="fr-FR" dirty="0"/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327025" y="1903011"/>
            <a:ext cx="3777637" cy="1525990"/>
          </a:xfrm>
          <a:prstGeom prst="roundRect">
            <a:avLst>
              <a:gd name="adj" fmla="val 13578"/>
            </a:avLst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Ensure that all the needs of Marketing management are adequately transmitted to development teams</a:t>
            </a:r>
          </a:p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Ensure consistency within the entire scope of content management on the private customers market</a:t>
            </a:r>
          </a:p>
          <a:p>
            <a:pPr algn="ctr"/>
            <a:endParaRPr lang="fr-FR" sz="1200" dirty="0">
              <a:solidFill>
                <a:schemeClr val="bg2"/>
              </a:solidFill>
            </a:endParaRPr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27025" y="1520825"/>
            <a:ext cx="3777642" cy="334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fr-FR" sz="1400" b="1" dirty="0"/>
              <a:t>Objectives</a:t>
            </a:r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3850" y="4769463"/>
            <a:ext cx="3777638" cy="1377628"/>
          </a:xfrm>
          <a:prstGeom prst="round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36000" rtlCol="0" anchor="t"/>
          <a:lstStyle/>
          <a:p>
            <a:r>
              <a:rPr lang="fr-FR" sz="1000" i="1" dirty="0" err="1">
                <a:solidFill>
                  <a:schemeClr val="bg1">
                    <a:lumMod val="65000"/>
                  </a:schemeClr>
                </a:solidFill>
              </a:rPr>
              <a:t>Your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 notes, </a:t>
            </a:r>
            <a:r>
              <a:rPr lang="fr-FR" sz="1000" i="1" dirty="0" err="1">
                <a:solidFill>
                  <a:schemeClr val="bg1">
                    <a:lumMod val="65000"/>
                  </a:schemeClr>
                </a:solidFill>
              </a:rPr>
              <a:t>pictures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,</a:t>
            </a:r>
          </a:p>
          <a:p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graphiques...</a:t>
            </a:r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115509" y="4854466"/>
            <a:ext cx="1658033" cy="122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à coins arrondis 16"/>
          <p:cNvSpPr/>
          <p:nvPr/>
        </p:nvSpPr>
        <p:spPr bwMode="gray">
          <a:xfrm>
            <a:off x="327030" y="3523079"/>
            <a:ext cx="3777642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fr-FR" sz="1400" b="1"/>
              <a:t>Deliverables</a:t>
            </a:r>
            <a:endParaRPr lang="fr-FR" sz="1400" b="1" dirty="0"/>
          </a:p>
        </p:txBody>
      </p:sp>
      <p:sp>
        <p:nvSpPr>
          <p:cNvPr id="18" name="Rectangle à coins arrondis 17"/>
          <p:cNvSpPr/>
          <p:nvPr/>
        </p:nvSpPr>
        <p:spPr bwMode="gray">
          <a:xfrm>
            <a:off x="5039333" y="1888001"/>
            <a:ext cx="3777637" cy="4312774"/>
          </a:xfrm>
          <a:prstGeom prst="roundRect">
            <a:avLst>
              <a:gd name="adj" fmla="val 7965"/>
            </a:avLst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Express the news requirements of Marketing</a:t>
            </a:r>
            <a:br>
              <a:rPr lang="en-US" sz="1200" dirty="0">
                <a:solidFill>
                  <a:schemeClr val="bg2"/>
                </a:solidFill>
              </a:rPr>
            </a:br>
            <a:r>
              <a:rPr lang="en-US" sz="1200" dirty="0">
                <a:solidFill>
                  <a:schemeClr val="bg2"/>
                </a:solidFill>
              </a:rPr>
              <a:t>to the DSI</a:t>
            </a:r>
          </a:p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Manage a consistent framework for content management</a:t>
            </a:r>
          </a:p>
          <a:p>
            <a:pPr marL="180000" indent="-180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</a:pPr>
            <a:r>
              <a:rPr lang="en-US" sz="1200" dirty="0">
                <a:solidFill>
                  <a:schemeClr val="bg2"/>
                </a:solidFill>
              </a:rPr>
              <a:t>Accelerate IT convergence</a:t>
            </a:r>
            <a:endParaRPr lang="fr-FR" sz="1200" dirty="0">
              <a:solidFill>
                <a:schemeClr val="bg2"/>
              </a:solidFill>
            </a:endParaRPr>
          </a:p>
        </p:txBody>
      </p:sp>
      <p:sp>
        <p:nvSpPr>
          <p:cNvPr id="19" name="Rectangle à coins arrondis 18"/>
          <p:cNvSpPr/>
          <p:nvPr/>
        </p:nvSpPr>
        <p:spPr bwMode="gray">
          <a:xfrm>
            <a:off x="5039333" y="1505815"/>
            <a:ext cx="3777642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fr-FR" sz="1400" b="1"/>
              <a:t>Task description</a:t>
            </a:r>
            <a:endParaRPr lang="fr-FR" sz="1400" b="1" dirty="0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JECT ORGANIZATION</a:t>
            </a:r>
            <a:endParaRPr lang="fr-FR" dirty="0"/>
          </a:p>
        </p:txBody>
      </p:sp>
      <p:sp>
        <p:nvSpPr>
          <p:cNvPr id="54" name="Espace réservé de la date 5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6" name="Espace réservé du pied de page 5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5" name="Espace réservé du numéro de diapositive 5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5</a:t>
            </a:fld>
            <a:endParaRPr lang="fr-FR" dirty="0"/>
          </a:p>
        </p:txBody>
      </p:sp>
      <p:sp>
        <p:nvSpPr>
          <p:cNvPr id="14" name="Rectangle à coins arrondis 13"/>
          <p:cNvSpPr/>
          <p:nvPr/>
        </p:nvSpPr>
        <p:spPr bwMode="gray">
          <a:xfrm>
            <a:off x="2796224" y="1374670"/>
            <a:ext cx="1779105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4906" tIns="31346" rIns="62691" bIns="31346" rtlCol="0" anchor="ctr">
            <a:normAutofit fontScale="92500" lnSpcReduction="10000"/>
          </a:bodyPr>
          <a:lstStyle/>
          <a:p>
            <a:pPr algn="ctr"/>
            <a:r>
              <a:rPr lang="fr-FR" sz="1300" b="1" dirty="0"/>
              <a:t>Participants</a:t>
            </a:r>
          </a:p>
        </p:txBody>
      </p:sp>
      <p:sp>
        <p:nvSpPr>
          <p:cNvPr id="20" name="Rectangle à coins arrondis 19"/>
          <p:cNvSpPr/>
          <p:nvPr/>
        </p:nvSpPr>
        <p:spPr bwMode="gray">
          <a:xfrm>
            <a:off x="4699011" y="1374670"/>
            <a:ext cx="1779105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6816" tIns="31346" rIns="62691" bIns="31346" rtlCol="0" anchor="ctr">
            <a:normAutofit fontScale="92500" lnSpcReduction="10000"/>
          </a:bodyPr>
          <a:lstStyle/>
          <a:p>
            <a:pPr algn="ctr"/>
            <a:r>
              <a:rPr lang="fr-FR" sz="1300" b="1" dirty="0" err="1"/>
              <a:t>Role</a:t>
            </a:r>
            <a:endParaRPr lang="fr-FR" sz="1300" b="1" dirty="0"/>
          </a:p>
        </p:txBody>
      </p:sp>
      <p:sp>
        <p:nvSpPr>
          <p:cNvPr id="21" name="Rectangle à coins arrondis 20"/>
          <p:cNvSpPr/>
          <p:nvPr/>
        </p:nvSpPr>
        <p:spPr bwMode="gray">
          <a:xfrm>
            <a:off x="6601797" y="1374670"/>
            <a:ext cx="1779105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6179" tIns="31346" rIns="74045" bIns="31346" rtlCol="0" anchor="ctr">
            <a:normAutofit fontScale="92500" lnSpcReduction="10000"/>
          </a:bodyPr>
          <a:lstStyle/>
          <a:p>
            <a:pPr algn="ctr"/>
            <a:r>
              <a:rPr lang="fr-FR" sz="1300" b="1" dirty="0" err="1"/>
              <a:t>Frequence</a:t>
            </a:r>
            <a:endParaRPr lang="fr-FR" sz="1300" b="1" dirty="0"/>
          </a:p>
        </p:txBody>
      </p:sp>
      <p:sp>
        <p:nvSpPr>
          <p:cNvPr id="22" name="Rectangle à coins arrondis 21"/>
          <p:cNvSpPr/>
          <p:nvPr/>
        </p:nvSpPr>
        <p:spPr bwMode="gray">
          <a:xfrm>
            <a:off x="889156" y="2177143"/>
            <a:ext cx="1779105" cy="562834"/>
          </a:xfrm>
          <a:prstGeom prst="roundRect">
            <a:avLst>
              <a:gd name="adj" fmla="val 454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b="1" dirty="0"/>
              <a:t>COMEX</a:t>
            </a:r>
          </a:p>
        </p:txBody>
      </p:sp>
      <p:sp>
        <p:nvSpPr>
          <p:cNvPr id="23" name="Rectangle à coins arrondis 22"/>
          <p:cNvSpPr/>
          <p:nvPr/>
        </p:nvSpPr>
        <p:spPr bwMode="gray">
          <a:xfrm>
            <a:off x="889156" y="3203527"/>
            <a:ext cx="1779105" cy="562596"/>
          </a:xfrm>
          <a:prstGeom prst="roundRect">
            <a:avLst>
              <a:gd name="adj" fmla="val 420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100" b="1" dirty="0" err="1"/>
              <a:t>Piloting</a:t>
            </a:r>
            <a:r>
              <a:rPr lang="fr-FR" sz="1100" b="1" dirty="0"/>
              <a:t/>
            </a:r>
            <a:br>
              <a:rPr lang="fr-FR" sz="1100" b="1" dirty="0"/>
            </a:br>
            <a:r>
              <a:rPr lang="fr-FR" sz="1100" b="1" dirty="0"/>
              <a:t>the transformation</a:t>
            </a:r>
          </a:p>
        </p:txBody>
      </p:sp>
      <p:grpSp>
        <p:nvGrpSpPr>
          <p:cNvPr id="6" name="Groupe 23"/>
          <p:cNvGrpSpPr/>
          <p:nvPr/>
        </p:nvGrpSpPr>
        <p:grpSpPr bwMode="gray">
          <a:xfrm>
            <a:off x="893593" y="4229673"/>
            <a:ext cx="1779104" cy="562596"/>
            <a:chOff x="1854201" y="6052990"/>
            <a:chExt cx="2594836" cy="820452"/>
          </a:xfrm>
          <a:solidFill>
            <a:schemeClr val="accent1"/>
          </a:solidFill>
        </p:grpSpPr>
        <p:sp>
          <p:nvSpPr>
            <p:cNvPr id="25" name="Rectangle 24"/>
            <p:cNvSpPr/>
            <p:nvPr/>
          </p:nvSpPr>
          <p:spPr bwMode="gray">
            <a:xfrm>
              <a:off x="1854201" y="6052990"/>
              <a:ext cx="864945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1</a:t>
              </a: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2719146" y="6052990"/>
              <a:ext cx="864945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2</a:t>
              </a: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3584092" y="6052990"/>
              <a:ext cx="864945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3</a:t>
              </a:r>
            </a:p>
          </p:txBody>
        </p:sp>
      </p:grpSp>
      <p:grpSp>
        <p:nvGrpSpPr>
          <p:cNvPr id="7" name="Groupe 27"/>
          <p:cNvGrpSpPr/>
          <p:nvPr/>
        </p:nvGrpSpPr>
        <p:grpSpPr bwMode="gray">
          <a:xfrm>
            <a:off x="851055" y="5255820"/>
            <a:ext cx="1821643" cy="562596"/>
            <a:chOff x="1792158" y="7664738"/>
            <a:chExt cx="2656879" cy="820452"/>
          </a:xfrm>
          <a:solidFill>
            <a:schemeClr val="accent1"/>
          </a:solidFill>
        </p:grpSpPr>
        <p:sp>
          <p:nvSpPr>
            <p:cNvPr id="29" name="Rectangle 28"/>
            <p:cNvSpPr/>
            <p:nvPr/>
          </p:nvSpPr>
          <p:spPr bwMode="gray">
            <a:xfrm>
              <a:off x="1792158" y="7664738"/>
              <a:ext cx="864944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1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2688125" y="7664738"/>
              <a:ext cx="864944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2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3584092" y="7664738"/>
              <a:ext cx="864945" cy="820452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>
              <a:normAutofit/>
            </a:bodyPr>
            <a:lstStyle/>
            <a:p>
              <a:pPr algn="ctr"/>
              <a:r>
                <a:rPr lang="fr-FR" sz="800" dirty="0"/>
                <a:t>Program</a:t>
              </a:r>
            </a:p>
            <a:p>
              <a:pPr algn="ctr"/>
              <a:r>
                <a:rPr lang="fr-FR" sz="800" dirty="0"/>
                <a:t>#3</a:t>
              </a:r>
            </a:p>
          </p:txBody>
        </p:sp>
      </p:grpSp>
      <p:grpSp>
        <p:nvGrpSpPr>
          <p:cNvPr id="8" name="Groupe 31"/>
          <p:cNvGrpSpPr/>
          <p:nvPr/>
        </p:nvGrpSpPr>
        <p:grpSpPr bwMode="gray">
          <a:xfrm>
            <a:off x="1185674" y="3766124"/>
            <a:ext cx="1186069" cy="463550"/>
            <a:chOff x="2286674" y="5261695"/>
            <a:chExt cx="1729890" cy="791295"/>
          </a:xfrm>
        </p:grpSpPr>
        <p:sp>
          <p:nvSpPr>
            <p:cNvPr id="33" name="Rectangle 27"/>
            <p:cNvSpPr/>
            <p:nvPr/>
          </p:nvSpPr>
          <p:spPr bwMode="gray">
            <a:xfrm>
              <a:off x="2286674" y="5653088"/>
              <a:ext cx="1729890" cy="399902"/>
            </a:xfrm>
            <a:custGeom>
              <a:avLst/>
              <a:gdLst>
                <a:gd name="connsiteX0" fmla="*/ 0 w 1841500"/>
                <a:gd name="connsiteY0" fmla="*/ 0 h 699940"/>
                <a:gd name="connsiteX1" fmla="*/ 1841500 w 1841500"/>
                <a:gd name="connsiteY1" fmla="*/ 0 h 699940"/>
                <a:gd name="connsiteX2" fmla="*/ 1841500 w 1841500"/>
                <a:gd name="connsiteY2" fmla="*/ 699940 h 699940"/>
                <a:gd name="connsiteX3" fmla="*/ 0 w 1841500"/>
                <a:gd name="connsiteY3" fmla="*/ 699940 h 699940"/>
                <a:gd name="connsiteX4" fmla="*/ 0 w 1841500"/>
                <a:gd name="connsiteY4" fmla="*/ 0 h 699940"/>
                <a:gd name="connsiteX0" fmla="*/ 0 w 1841500"/>
                <a:gd name="connsiteY0" fmla="*/ 0 h 699940"/>
                <a:gd name="connsiteX1" fmla="*/ 1841500 w 1841500"/>
                <a:gd name="connsiteY1" fmla="*/ 0 h 699940"/>
                <a:gd name="connsiteX2" fmla="*/ 1841500 w 1841500"/>
                <a:gd name="connsiteY2" fmla="*/ 699940 h 699940"/>
                <a:gd name="connsiteX3" fmla="*/ 1000125 w 1841500"/>
                <a:gd name="connsiteY3" fmla="*/ 695325 h 699940"/>
                <a:gd name="connsiteX4" fmla="*/ 0 w 1841500"/>
                <a:gd name="connsiteY4" fmla="*/ 699940 h 699940"/>
                <a:gd name="connsiteX5" fmla="*/ 0 w 1841500"/>
                <a:gd name="connsiteY5" fmla="*/ 0 h 699940"/>
                <a:gd name="connsiteX0" fmla="*/ 1000125 w 1841500"/>
                <a:gd name="connsiteY0" fmla="*/ 695325 h 786765"/>
                <a:gd name="connsiteX1" fmla="*/ 0 w 1841500"/>
                <a:gd name="connsiteY1" fmla="*/ 699940 h 786765"/>
                <a:gd name="connsiteX2" fmla="*/ 0 w 1841500"/>
                <a:gd name="connsiteY2" fmla="*/ 0 h 786765"/>
                <a:gd name="connsiteX3" fmla="*/ 1841500 w 1841500"/>
                <a:gd name="connsiteY3" fmla="*/ 0 h 786765"/>
                <a:gd name="connsiteX4" fmla="*/ 1841500 w 1841500"/>
                <a:gd name="connsiteY4" fmla="*/ 699940 h 786765"/>
                <a:gd name="connsiteX5" fmla="*/ 1091565 w 1841500"/>
                <a:gd name="connsiteY5" fmla="*/ 786765 h 786765"/>
                <a:gd name="connsiteX0" fmla="*/ 1000125 w 1841500"/>
                <a:gd name="connsiteY0" fmla="*/ 695325 h 699940"/>
                <a:gd name="connsiteX1" fmla="*/ 0 w 1841500"/>
                <a:gd name="connsiteY1" fmla="*/ 699940 h 699940"/>
                <a:gd name="connsiteX2" fmla="*/ 0 w 1841500"/>
                <a:gd name="connsiteY2" fmla="*/ 0 h 699940"/>
                <a:gd name="connsiteX3" fmla="*/ 1841500 w 1841500"/>
                <a:gd name="connsiteY3" fmla="*/ 0 h 699940"/>
                <a:gd name="connsiteX4" fmla="*/ 1841500 w 1841500"/>
                <a:gd name="connsiteY4" fmla="*/ 699940 h 699940"/>
                <a:gd name="connsiteX0" fmla="*/ 0 w 1841500"/>
                <a:gd name="connsiteY0" fmla="*/ 699940 h 699940"/>
                <a:gd name="connsiteX1" fmla="*/ 0 w 1841500"/>
                <a:gd name="connsiteY1" fmla="*/ 0 h 699940"/>
                <a:gd name="connsiteX2" fmla="*/ 1841500 w 1841500"/>
                <a:gd name="connsiteY2" fmla="*/ 0 h 699940"/>
                <a:gd name="connsiteX3" fmla="*/ 1841500 w 1841500"/>
                <a:gd name="connsiteY3" fmla="*/ 699940 h 69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1500" h="699940">
                  <a:moveTo>
                    <a:pt x="0" y="699940"/>
                  </a:moveTo>
                  <a:lnTo>
                    <a:pt x="0" y="0"/>
                  </a:lnTo>
                  <a:lnTo>
                    <a:pt x="1841500" y="0"/>
                  </a:lnTo>
                  <a:lnTo>
                    <a:pt x="1841500" y="699940"/>
                  </a:lnTo>
                </a:path>
              </a:pathLst>
            </a:custGeom>
            <a:noFill/>
            <a:ln w="1270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4" name="Connecteur droit 33"/>
            <p:cNvCxnSpPr/>
            <p:nvPr/>
          </p:nvCxnSpPr>
          <p:spPr bwMode="gray">
            <a:xfrm flipV="1">
              <a:off x="3151619" y="5261695"/>
              <a:ext cx="0" cy="791295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e 34"/>
          <p:cNvGrpSpPr/>
          <p:nvPr/>
        </p:nvGrpSpPr>
        <p:grpSpPr bwMode="gray">
          <a:xfrm>
            <a:off x="1185674" y="4792269"/>
            <a:ext cx="1186069" cy="463551"/>
            <a:chOff x="2286674" y="6873442"/>
            <a:chExt cx="1729890" cy="791296"/>
          </a:xfrm>
        </p:grpSpPr>
        <p:sp>
          <p:nvSpPr>
            <p:cNvPr id="36" name="Rectangle 27"/>
            <p:cNvSpPr/>
            <p:nvPr/>
          </p:nvSpPr>
          <p:spPr bwMode="gray">
            <a:xfrm>
              <a:off x="2286674" y="7264835"/>
              <a:ext cx="1729890" cy="399902"/>
            </a:xfrm>
            <a:custGeom>
              <a:avLst/>
              <a:gdLst>
                <a:gd name="connsiteX0" fmla="*/ 0 w 1841500"/>
                <a:gd name="connsiteY0" fmla="*/ 0 h 699940"/>
                <a:gd name="connsiteX1" fmla="*/ 1841500 w 1841500"/>
                <a:gd name="connsiteY1" fmla="*/ 0 h 699940"/>
                <a:gd name="connsiteX2" fmla="*/ 1841500 w 1841500"/>
                <a:gd name="connsiteY2" fmla="*/ 699940 h 699940"/>
                <a:gd name="connsiteX3" fmla="*/ 0 w 1841500"/>
                <a:gd name="connsiteY3" fmla="*/ 699940 h 699940"/>
                <a:gd name="connsiteX4" fmla="*/ 0 w 1841500"/>
                <a:gd name="connsiteY4" fmla="*/ 0 h 699940"/>
                <a:gd name="connsiteX0" fmla="*/ 0 w 1841500"/>
                <a:gd name="connsiteY0" fmla="*/ 0 h 699940"/>
                <a:gd name="connsiteX1" fmla="*/ 1841500 w 1841500"/>
                <a:gd name="connsiteY1" fmla="*/ 0 h 699940"/>
                <a:gd name="connsiteX2" fmla="*/ 1841500 w 1841500"/>
                <a:gd name="connsiteY2" fmla="*/ 699940 h 699940"/>
                <a:gd name="connsiteX3" fmla="*/ 1000125 w 1841500"/>
                <a:gd name="connsiteY3" fmla="*/ 695325 h 699940"/>
                <a:gd name="connsiteX4" fmla="*/ 0 w 1841500"/>
                <a:gd name="connsiteY4" fmla="*/ 699940 h 699940"/>
                <a:gd name="connsiteX5" fmla="*/ 0 w 1841500"/>
                <a:gd name="connsiteY5" fmla="*/ 0 h 699940"/>
                <a:gd name="connsiteX0" fmla="*/ 1000125 w 1841500"/>
                <a:gd name="connsiteY0" fmla="*/ 695325 h 786765"/>
                <a:gd name="connsiteX1" fmla="*/ 0 w 1841500"/>
                <a:gd name="connsiteY1" fmla="*/ 699940 h 786765"/>
                <a:gd name="connsiteX2" fmla="*/ 0 w 1841500"/>
                <a:gd name="connsiteY2" fmla="*/ 0 h 786765"/>
                <a:gd name="connsiteX3" fmla="*/ 1841500 w 1841500"/>
                <a:gd name="connsiteY3" fmla="*/ 0 h 786765"/>
                <a:gd name="connsiteX4" fmla="*/ 1841500 w 1841500"/>
                <a:gd name="connsiteY4" fmla="*/ 699940 h 786765"/>
                <a:gd name="connsiteX5" fmla="*/ 1091565 w 1841500"/>
                <a:gd name="connsiteY5" fmla="*/ 786765 h 786765"/>
                <a:gd name="connsiteX0" fmla="*/ 1000125 w 1841500"/>
                <a:gd name="connsiteY0" fmla="*/ 695325 h 699940"/>
                <a:gd name="connsiteX1" fmla="*/ 0 w 1841500"/>
                <a:gd name="connsiteY1" fmla="*/ 699940 h 699940"/>
                <a:gd name="connsiteX2" fmla="*/ 0 w 1841500"/>
                <a:gd name="connsiteY2" fmla="*/ 0 h 699940"/>
                <a:gd name="connsiteX3" fmla="*/ 1841500 w 1841500"/>
                <a:gd name="connsiteY3" fmla="*/ 0 h 699940"/>
                <a:gd name="connsiteX4" fmla="*/ 1841500 w 1841500"/>
                <a:gd name="connsiteY4" fmla="*/ 699940 h 699940"/>
                <a:gd name="connsiteX0" fmla="*/ 0 w 1841500"/>
                <a:gd name="connsiteY0" fmla="*/ 699940 h 699940"/>
                <a:gd name="connsiteX1" fmla="*/ 0 w 1841500"/>
                <a:gd name="connsiteY1" fmla="*/ 0 h 699940"/>
                <a:gd name="connsiteX2" fmla="*/ 1841500 w 1841500"/>
                <a:gd name="connsiteY2" fmla="*/ 0 h 699940"/>
                <a:gd name="connsiteX3" fmla="*/ 1841500 w 1841500"/>
                <a:gd name="connsiteY3" fmla="*/ 699940 h 69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1500" h="699940">
                  <a:moveTo>
                    <a:pt x="0" y="699940"/>
                  </a:moveTo>
                  <a:lnTo>
                    <a:pt x="0" y="0"/>
                  </a:lnTo>
                  <a:lnTo>
                    <a:pt x="1841500" y="0"/>
                  </a:lnTo>
                  <a:lnTo>
                    <a:pt x="1841500" y="699940"/>
                  </a:lnTo>
                </a:path>
              </a:pathLst>
            </a:custGeom>
            <a:noFill/>
            <a:ln w="1270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7" name="Connecteur droit 36"/>
            <p:cNvCxnSpPr/>
            <p:nvPr/>
          </p:nvCxnSpPr>
          <p:spPr bwMode="gray">
            <a:xfrm flipV="1">
              <a:off x="3151619" y="7264835"/>
              <a:ext cx="0" cy="399903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8" name="Connecteur droit 37"/>
            <p:cNvCxnSpPr/>
            <p:nvPr/>
          </p:nvCxnSpPr>
          <p:spPr bwMode="gray">
            <a:xfrm flipV="1">
              <a:off x="2286674" y="6873442"/>
              <a:ext cx="0" cy="388434"/>
            </a:xfrm>
            <a:prstGeom prst="line">
              <a:avLst/>
            </a:prstGeom>
            <a:noFill/>
            <a:ln w="1270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39" name="Connecteur droit 38"/>
          <p:cNvCxnSpPr/>
          <p:nvPr/>
        </p:nvCxnSpPr>
        <p:spPr bwMode="gray">
          <a:xfrm flipV="1">
            <a:off x="1771385" y="2780574"/>
            <a:ext cx="0" cy="382358"/>
          </a:xfrm>
          <a:prstGeom prst="line">
            <a:avLst/>
          </a:prstGeom>
          <a:noFill/>
          <a:ln w="12700" cap="sq">
            <a:solidFill>
              <a:schemeClr val="bg2"/>
            </a:solidFill>
            <a:miter lim="800000"/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39"/>
          <p:cNvSpPr/>
          <p:nvPr/>
        </p:nvSpPr>
        <p:spPr bwMode="gray">
          <a:xfrm>
            <a:off x="2796224" y="2177143"/>
            <a:ext cx="1779105" cy="562834"/>
          </a:xfrm>
          <a:prstGeom prst="roundRect">
            <a:avLst>
              <a:gd name="adj" fmla="val 33590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1" name="Rectangle à coins arrondis 40"/>
          <p:cNvSpPr/>
          <p:nvPr/>
        </p:nvSpPr>
        <p:spPr bwMode="gray">
          <a:xfrm>
            <a:off x="2796224" y="3203528"/>
            <a:ext cx="1779105" cy="562834"/>
          </a:xfrm>
          <a:prstGeom prst="roundRect">
            <a:avLst>
              <a:gd name="adj" fmla="val 28513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2" name="Rectangle à coins arrondis 41"/>
          <p:cNvSpPr/>
          <p:nvPr/>
        </p:nvSpPr>
        <p:spPr bwMode="gray">
          <a:xfrm>
            <a:off x="2796224" y="4229674"/>
            <a:ext cx="1779105" cy="562834"/>
          </a:xfrm>
          <a:prstGeom prst="roundRect">
            <a:avLst>
              <a:gd name="adj" fmla="val 30206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3" name="Rectangle à coins arrondis 42"/>
          <p:cNvSpPr/>
          <p:nvPr/>
        </p:nvSpPr>
        <p:spPr bwMode="gray">
          <a:xfrm>
            <a:off x="2796224" y="5255820"/>
            <a:ext cx="1779105" cy="562834"/>
          </a:xfrm>
          <a:prstGeom prst="roundRect">
            <a:avLst>
              <a:gd name="adj" fmla="val 35283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4" name="Rectangle à coins arrondis 43"/>
          <p:cNvSpPr/>
          <p:nvPr/>
        </p:nvSpPr>
        <p:spPr bwMode="gray">
          <a:xfrm>
            <a:off x="4699011" y="2177143"/>
            <a:ext cx="1779105" cy="562834"/>
          </a:xfrm>
          <a:prstGeom prst="roundRect">
            <a:avLst>
              <a:gd name="adj" fmla="val 31898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5" name="Rectangle à coins arrondis 44"/>
          <p:cNvSpPr/>
          <p:nvPr/>
        </p:nvSpPr>
        <p:spPr bwMode="gray">
          <a:xfrm>
            <a:off x="4699011" y="3203528"/>
            <a:ext cx="1779105" cy="562834"/>
          </a:xfrm>
          <a:prstGeom prst="roundRect">
            <a:avLst>
              <a:gd name="adj" fmla="val 33590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6" name="Rectangle à coins arrondis 45"/>
          <p:cNvSpPr/>
          <p:nvPr/>
        </p:nvSpPr>
        <p:spPr bwMode="gray">
          <a:xfrm>
            <a:off x="4699011" y="4229674"/>
            <a:ext cx="1779105" cy="562834"/>
          </a:xfrm>
          <a:prstGeom prst="roundRect">
            <a:avLst>
              <a:gd name="adj" fmla="val 38667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7" name="Rectangle à coins arrondis 46"/>
          <p:cNvSpPr/>
          <p:nvPr/>
        </p:nvSpPr>
        <p:spPr bwMode="gray">
          <a:xfrm>
            <a:off x="4699011" y="5255820"/>
            <a:ext cx="1779105" cy="562834"/>
          </a:xfrm>
          <a:prstGeom prst="roundRect">
            <a:avLst>
              <a:gd name="adj" fmla="val 31898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8" name="Rectangle à coins arrondis 47"/>
          <p:cNvSpPr/>
          <p:nvPr/>
        </p:nvSpPr>
        <p:spPr bwMode="gray">
          <a:xfrm>
            <a:off x="6601797" y="2177143"/>
            <a:ext cx="1779105" cy="562834"/>
          </a:xfrm>
          <a:prstGeom prst="roundRect">
            <a:avLst>
              <a:gd name="adj" fmla="val 30206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49" name="Rectangle à coins arrondis 48"/>
          <p:cNvSpPr/>
          <p:nvPr/>
        </p:nvSpPr>
        <p:spPr bwMode="gray">
          <a:xfrm>
            <a:off x="6601797" y="3203528"/>
            <a:ext cx="1779105" cy="562834"/>
          </a:xfrm>
          <a:prstGeom prst="roundRect">
            <a:avLst>
              <a:gd name="adj" fmla="val 36975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50" name="Rectangle à coins arrondis 49"/>
          <p:cNvSpPr/>
          <p:nvPr/>
        </p:nvSpPr>
        <p:spPr bwMode="gray">
          <a:xfrm>
            <a:off x="6601797" y="4229674"/>
            <a:ext cx="1779105" cy="562834"/>
          </a:xfrm>
          <a:prstGeom prst="roundRect">
            <a:avLst>
              <a:gd name="adj" fmla="val 33590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51" name="Rectangle à coins arrondis 50"/>
          <p:cNvSpPr/>
          <p:nvPr/>
        </p:nvSpPr>
        <p:spPr bwMode="gray">
          <a:xfrm>
            <a:off x="6601797" y="5255820"/>
            <a:ext cx="1779105" cy="562834"/>
          </a:xfrm>
          <a:prstGeom prst="roundRect">
            <a:avLst>
              <a:gd name="adj" fmla="val 35283"/>
            </a:avLst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dirty="0">
                <a:solidFill>
                  <a:schemeClr val="bg1">
                    <a:lumMod val="65000"/>
                  </a:schemeClr>
                </a:solidFill>
              </a:rPr>
              <a:t>...</a:t>
            </a:r>
          </a:p>
        </p:txBody>
      </p:sp>
      <p:sp>
        <p:nvSpPr>
          <p:cNvPr id="52" name="Rectangle 51"/>
          <p:cNvSpPr/>
          <p:nvPr/>
        </p:nvSpPr>
        <p:spPr bwMode="gray">
          <a:xfrm rot="16200000">
            <a:off x="117748" y="5285538"/>
            <a:ext cx="812530" cy="253226"/>
          </a:xfrm>
          <a:prstGeom prst="rect">
            <a:avLst/>
          </a:prstGeom>
        </p:spPr>
        <p:txBody>
          <a:bodyPr wrap="none" lIns="62691" tIns="31346" rIns="62691" bIns="31346">
            <a:spAutoFit/>
          </a:bodyPr>
          <a:lstStyle/>
          <a:p>
            <a:r>
              <a:rPr lang="fr-FR" sz="1200" dirty="0">
                <a:solidFill>
                  <a:schemeClr val="accent1"/>
                </a:solidFill>
              </a:rPr>
              <a:t>Reporting</a:t>
            </a:r>
          </a:p>
        </p:txBody>
      </p:sp>
      <p:cxnSp>
        <p:nvCxnSpPr>
          <p:cNvPr id="53" name="Connecteur droit avec flèche 52"/>
          <p:cNvCxnSpPr/>
          <p:nvPr/>
        </p:nvCxnSpPr>
        <p:spPr bwMode="gray">
          <a:xfrm flipV="1">
            <a:off x="650626" y="2177143"/>
            <a:ext cx="0" cy="3641273"/>
          </a:xfrm>
          <a:prstGeom prst="straightConnector1">
            <a:avLst/>
          </a:prstGeom>
          <a:ln w="2222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GRAM WORKSHEET</a:t>
            </a:r>
            <a:endParaRPr lang="fr-FR" dirty="0"/>
          </a:p>
        </p:txBody>
      </p:sp>
      <p:sp>
        <p:nvSpPr>
          <p:cNvPr id="40" name="Espace réservé de la date 3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42" name="Espace réservé du pied de page 4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1" name="Espace réservé du numéro de diapositive 4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6</a:t>
            </a:fld>
            <a:endParaRPr lang="fr-FR" dirty="0"/>
          </a:p>
        </p:txBody>
      </p:sp>
      <p:sp>
        <p:nvSpPr>
          <p:cNvPr id="14" name="ZoneTexte 13"/>
          <p:cNvSpPr txBox="1"/>
          <p:nvPr/>
        </p:nvSpPr>
        <p:spPr bwMode="gray">
          <a:xfrm>
            <a:off x="631820" y="1776653"/>
            <a:ext cx="2520000" cy="3122083"/>
          </a:xfrm>
          <a:prstGeom prst="roundRect">
            <a:avLst>
              <a:gd name="adj" fmla="val 8522"/>
            </a:avLst>
          </a:prstGeom>
          <a:noFill/>
          <a:ln w="25400">
            <a:solidFill>
              <a:schemeClr val="accent5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Sponsor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Pierre DURAND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Pilot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Marc DURAND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Internal resources 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None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External resources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5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Contributors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Pilot of project plan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Legal directory</a:t>
            </a:r>
          </a:p>
        </p:txBody>
      </p:sp>
      <p:sp>
        <p:nvSpPr>
          <p:cNvPr id="20" name="Rectangle à coins arrondis 19"/>
          <p:cNvSpPr/>
          <p:nvPr/>
        </p:nvSpPr>
        <p:spPr bwMode="gray">
          <a:xfrm>
            <a:off x="631820" y="1373066"/>
            <a:ext cx="2520000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/>
              <a:t>Team</a:t>
            </a:r>
          </a:p>
        </p:txBody>
      </p:sp>
      <p:sp>
        <p:nvSpPr>
          <p:cNvPr id="21" name="Rectangle à coins arrondis 20"/>
          <p:cNvSpPr/>
          <p:nvPr/>
        </p:nvSpPr>
        <p:spPr bwMode="gray">
          <a:xfrm>
            <a:off x="3289985" y="1373066"/>
            <a:ext cx="2520000" cy="325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6179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/>
              <a:t>Missions to </a:t>
            </a:r>
            <a:r>
              <a:rPr lang="fr-FR" sz="1500" b="1" dirty="0" err="1"/>
              <a:t>follow</a:t>
            </a:r>
            <a:endParaRPr lang="fr-FR" sz="1500" b="1" dirty="0"/>
          </a:p>
        </p:txBody>
      </p:sp>
      <p:sp>
        <p:nvSpPr>
          <p:cNvPr id="22" name="Rectangle à coins arrondis 21"/>
          <p:cNvSpPr/>
          <p:nvPr/>
        </p:nvSpPr>
        <p:spPr bwMode="gray">
          <a:xfrm>
            <a:off x="5948150" y="1373066"/>
            <a:ext cx="2520000" cy="325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6816" tIns="31346" rIns="49363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/>
              <a:t>Main </a:t>
            </a:r>
            <a:r>
              <a:rPr lang="fr-FR" sz="1500" b="1" dirty="0" err="1"/>
              <a:t>deliverables</a:t>
            </a:r>
            <a:endParaRPr lang="fr-FR" sz="1500" b="1" dirty="0"/>
          </a:p>
        </p:txBody>
      </p:sp>
      <p:sp>
        <p:nvSpPr>
          <p:cNvPr id="23" name="ZoneTexte 22"/>
          <p:cNvSpPr txBox="1"/>
          <p:nvPr/>
        </p:nvSpPr>
        <p:spPr bwMode="gray">
          <a:xfrm>
            <a:off x="3289985" y="1776652"/>
            <a:ext cx="2520000" cy="2998831"/>
          </a:xfrm>
          <a:prstGeom prst="roundRect">
            <a:avLst>
              <a:gd name="adj" fmla="val 10643"/>
            </a:avLst>
          </a:prstGeom>
          <a:noFill/>
          <a:ln w="25400">
            <a:solidFill>
              <a:schemeClr val="accent1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General program piloting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Program launch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Transversal coordination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Planning &amp; risk control,</a:t>
            </a:r>
            <a:br>
              <a:rPr lang="en-US" sz="1200" dirty="0">
                <a:solidFill>
                  <a:schemeClr val="bg2"/>
                </a:solidFill>
              </a:rPr>
            </a:br>
            <a:r>
              <a:rPr lang="en-US" sz="1200" dirty="0">
                <a:solidFill>
                  <a:schemeClr val="bg2"/>
                </a:solidFill>
              </a:rPr>
              <a:t>budget monitoring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Committee organization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Project communication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Set-up, follow-ups and updates to the program planning</a:t>
            </a:r>
          </a:p>
          <a:p>
            <a:pPr marL="144000">
              <a:spcBef>
                <a:spcPts val="411"/>
              </a:spcBef>
            </a:pPr>
            <a:r>
              <a:rPr lang="en-US" sz="1200" dirty="0">
                <a:solidFill>
                  <a:schemeClr val="bg2"/>
                </a:solidFill>
              </a:rPr>
              <a:t>Including an analysis</a:t>
            </a:r>
            <a:br>
              <a:rPr lang="en-US" sz="1200" dirty="0">
                <a:solidFill>
                  <a:schemeClr val="bg2"/>
                </a:solidFill>
              </a:rPr>
            </a:br>
            <a:r>
              <a:rPr lang="en-US" sz="1200" dirty="0">
                <a:solidFill>
                  <a:schemeClr val="bg2"/>
                </a:solidFill>
              </a:rPr>
              <a:t>of dispositions for soft-launch</a:t>
            </a:r>
          </a:p>
        </p:txBody>
      </p:sp>
      <p:sp>
        <p:nvSpPr>
          <p:cNvPr id="24" name="ZoneTexte 23"/>
          <p:cNvSpPr txBox="1"/>
          <p:nvPr/>
        </p:nvSpPr>
        <p:spPr bwMode="gray">
          <a:xfrm>
            <a:off x="5948150" y="1776652"/>
            <a:ext cx="2520000" cy="1071081"/>
          </a:xfrm>
          <a:prstGeom prst="roundRect">
            <a:avLst>
              <a:gd name="adj" fmla="val 21538"/>
            </a:avLst>
          </a:prstGeom>
          <a:noFill/>
          <a:ln w="25400">
            <a:solidFill>
              <a:schemeClr val="accent2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Program plan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Program reports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200" dirty="0">
                <a:solidFill>
                  <a:schemeClr val="bg2"/>
                </a:solidFill>
              </a:rPr>
              <a:t>Advisory document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631821" y="4938014"/>
            <a:ext cx="7862904" cy="325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r>
              <a:rPr lang="fr-FR" sz="1500" b="1" dirty="0">
                <a:solidFill>
                  <a:schemeClr val="bg2"/>
                </a:solidFill>
              </a:rPr>
              <a:t>Macro-planning</a:t>
            </a:r>
          </a:p>
        </p:txBody>
      </p:sp>
      <p:sp>
        <p:nvSpPr>
          <p:cNvPr id="26" name="Freeform 6"/>
          <p:cNvSpPr>
            <a:spLocks/>
          </p:cNvSpPr>
          <p:nvPr/>
        </p:nvSpPr>
        <p:spPr bwMode="gray">
          <a:xfrm>
            <a:off x="2178716" y="5634769"/>
            <a:ext cx="106447" cy="106096"/>
          </a:xfrm>
          <a:prstGeom prst="roundRect">
            <a:avLst>
              <a:gd name="adj" fmla="val 28366"/>
            </a:avLst>
          </a:prstGeom>
          <a:solidFill>
            <a:schemeClr val="bg2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chemeClr val="bg2"/>
                </a:solidFill>
              </a:rPr>
              <a:t>Program Launch</a:t>
            </a:r>
          </a:p>
        </p:txBody>
      </p:sp>
      <p:sp>
        <p:nvSpPr>
          <p:cNvPr id="27" name="Freeform 6"/>
          <p:cNvSpPr>
            <a:spLocks/>
          </p:cNvSpPr>
          <p:nvPr/>
        </p:nvSpPr>
        <p:spPr bwMode="gray">
          <a:xfrm>
            <a:off x="4537583" y="5634764"/>
            <a:ext cx="106444" cy="106085"/>
          </a:xfrm>
          <a:prstGeom prst="roundRect">
            <a:avLst>
              <a:gd name="adj" fmla="val 34399"/>
            </a:avLst>
          </a:prstGeom>
          <a:solidFill>
            <a:schemeClr val="bg2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chemeClr val="bg2"/>
                </a:solidFill>
              </a:rPr>
              <a:t>Milestone #1</a:t>
            </a:r>
          </a:p>
        </p:txBody>
      </p:sp>
      <p:sp>
        <p:nvSpPr>
          <p:cNvPr id="28" name="Freeform 6"/>
          <p:cNvSpPr>
            <a:spLocks/>
          </p:cNvSpPr>
          <p:nvPr/>
        </p:nvSpPr>
        <p:spPr bwMode="gray">
          <a:xfrm>
            <a:off x="8297932" y="5634769"/>
            <a:ext cx="106444" cy="106094"/>
          </a:xfrm>
          <a:prstGeom prst="roundRect">
            <a:avLst>
              <a:gd name="adj" fmla="val 3524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vert="horz" wrap="none" lIns="49363" tIns="24682" rIns="296179" bIns="31346" numCol="1" anchor="ctr" anchorCtr="0" compatLnSpc="1">
            <a:prstTxWarp prst="textNoShape">
              <a:avLst/>
            </a:prstTxWarp>
          </a:bodyPr>
          <a:lstStyle/>
          <a:p>
            <a:pPr algn="r"/>
            <a:r>
              <a:rPr lang="en-GB" sz="1000" dirty="0">
                <a:solidFill>
                  <a:schemeClr val="bg2"/>
                </a:solidFill>
              </a:rPr>
              <a:t>End of program</a:t>
            </a:r>
          </a:p>
        </p:txBody>
      </p:sp>
      <p:sp>
        <p:nvSpPr>
          <p:cNvPr id="29" name="Rectangle à coins arrondis 28"/>
          <p:cNvSpPr/>
          <p:nvPr/>
        </p:nvSpPr>
        <p:spPr bwMode="gray">
          <a:xfrm>
            <a:off x="2204600" y="5814772"/>
            <a:ext cx="6290125" cy="22806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000" dirty="0"/>
              <a:t>Global </a:t>
            </a:r>
            <a:r>
              <a:rPr lang="fr-FR" sz="1000" dirty="0" err="1"/>
              <a:t>project</a:t>
            </a:r>
            <a:r>
              <a:rPr lang="fr-FR" sz="1000" dirty="0"/>
              <a:t> </a:t>
            </a:r>
            <a:r>
              <a:rPr lang="fr-FR" sz="1000" dirty="0" err="1"/>
              <a:t>piloting</a:t>
            </a:r>
            <a:endParaRPr lang="fr-FR" sz="1000" dirty="0"/>
          </a:p>
        </p:txBody>
      </p:sp>
      <p:cxnSp>
        <p:nvCxnSpPr>
          <p:cNvPr id="30" name="Connecteur droit avec flèche 29"/>
          <p:cNvCxnSpPr/>
          <p:nvPr/>
        </p:nvCxnSpPr>
        <p:spPr bwMode="gray">
          <a:xfrm>
            <a:off x="631821" y="5498908"/>
            <a:ext cx="7862904" cy="0"/>
          </a:xfrm>
          <a:prstGeom prst="straightConnector1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ZoneTexte 30"/>
          <p:cNvSpPr txBox="1"/>
          <p:nvPr/>
        </p:nvSpPr>
        <p:spPr bwMode="gray">
          <a:xfrm>
            <a:off x="631821" y="5278522"/>
            <a:ext cx="908872" cy="217193"/>
          </a:xfrm>
          <a:prstGeom prst="rect">
            <a:avLst/>
          </a:prstGeom>
          <a:noFill/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r>
              <a:rPr lang="fr-FR" sz="1000" dirty="0" err="1">
                <a:solidFill>
                  <a:schemeClr val="bg2"/>
                </a:solidFill>
              </a:rPr>
              <a:t>January</a:t>
            </a:r>
            <a:r>
              <a:rPr lang="fr-FR" sz="1000" dirty="0">
                <a:solidFill>
                  <a:schemeClr val="bg2"/>
                </a:solidFill>
              </a:rPr>
              <a:t> 2016</a:t>
            </a:r>
          </a:p>
        </p:txBody>
      </p:sp>
      <p:sp>
        <p:nvSpPr>
          <p:cNvPr id="32" name="ZoneTexte 31"/>
          <p:cNvSpPr txBox="1"/>
          <p:nvPr/>
        </p:nvSpPr>
        <p:spPr bwMode="gray">
          <a:xfrm>
            <a:off x="2204402" y="5278522"/>
            <a:ext cx="955359" cy="217193"/>
          </a:xfrm>
          <a:prstGeom prst="rect">
            <a:avLst/>
          </a:prstGeom>
          <a:noFill/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r>
              <a:rPr lang="fr-FR" sz="1000" dirty="0" err="1">
                <a:solidFill>
                  <a:schemeClr val="bg2"/>
                </a:solidFill>
              </a:rPr>
              <a:t>February</a:t>
            </a:r>
            <a:r>
              <a:rPr lang="fr-FR" sz="1000" dirty="0">
                <a:solidFill>
                  <a:schemeClr val="bg2"/>
                </a:solidFill>
              </a:rPr>
              <a:t> 2016</a:t>
            </a:r>
          </a:p>
        </p:txBody>
      </p:sp>
      <p:sp>
        <p:nvSpPr>
          <p:cNvPr id="33" name="ZoneTexte 32"/>
          <p:cNvSpPr txBox="1"/>
          <p:nvPr/>
        </p:nvSpPr>
        <p:spPr bwMode="gray">
          <a:xfrm>
            <a:off x="3776983" y="5278522"/>
            <a:ext cx="799868" cy="217193"/>
          </a:xfrm>
          <a:prstGeom prst="rect">
            <a:avLst/>
          </a:prstGeom>
          <a:noFill/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r>
              <a:rPr lang="fr-FR" sz="1000" dirty="0">
                <a:solidFill>
                  <a:schemeClr val="bg2"/>
                </a:solidFill>
              </a:rPr>
              <a:t>March 2016</a:t>
            </a:r>
          </a:p>
        </p:txBody>
      </p:sp>
      <p:sp>
        <p:nvSpPr>
          <p:cNvPr id="34" name="ZoneTexte 33"/>
          <p:cNvSpPr txBox="1"/>
          <p:nvPr/>
        </p:nvSpPr>
        <p:spPr bwMode="gray">
          <a:xfrm>
            <a:off x="5349563" y="5278522"/>
            <a:ext cx="700481" cy="217193"/>
          </a:xfrm>
          <a:prstGeom prst="rect">
            <a:avLst/>
          </a:prstGeom>
          <a:noFill/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r>
              <a:rPr lang="fr-FR" sz="1000" dirty="0">
                <a:solidFill>
                  <a:schemeClr val="bg2"/>
                </a:solidFill>
              </a:rPr>
              <a:t>April 2016</a:t>
            </a:r>
          </a:p>
        </p:txBody>
      </p:sp>
      <p:sp>
        <p:nvSpPr>
          <p:cNvPr id="35" name="ZoneTexte 34"/>
          <p:cNvSpPr txBox="1"/>
          <p:nvPr/>
        </p:nvSpPr>
        <p:spPr bwMode="gray">
          <a:xfrm>
            <a:off x="6922144" y="5278522"/>
            <a:ext cx="686055" cy="217193"/>
          </a:xfrm>
          <a:prstGeom prst="rect">
            <a:avLst/>
          </a:prstGeom>
          <a:noFill/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r>
              <a:rPr lang="fr-FR" sz="1000" dirty="0">
                <a:solidFill>
                  <a:schemeClr val="bg2"/>
                </a:solidFill>
              </a:rPr>
              <a:t>May 2016</a:t>
            </a:r>
          </a:p>
        </p:txBody>
      </p:sp>
      <p:cxnSp>
        <p:nvCxnSpPr>
          <p:cNvPr id="36" name="Connecteur droit 35"/>
          <p:cNvCxnSpPr/>
          <p:nvPr/>
        </p:nvCxnSpPr>
        <p:spPr bwMode="gray">
          <a:xfrm>
            <a:off x="2204600" y="5405256"/>
            <a:ext cx="0" cy="187304"/>
          </a:xfrm>
          <a:prstGeom prst="line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Connecteur droit 36"/>
          <p:cNvCxnSpPr/>
          <p:nvPr/>
        </p:nvCxnSpPr>
        <p:spPr bwMode="gray">
          <a:xfrm>
            <a:off x="3776982" y="5405256"/>
            <a:ext cx="0" cy="187304"/>
          </a:xfrm>
          <a:prstGeom prst="line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Connecteur droit 37"/>
          <p:cNvCxnSpPr/>
          <p:nvPr/>
        </p:nvCxnSpPr>
        <p:spPr bwMode="gray">
          <a:xfrm>
            <a:off x="5349662" y="5405256"/>
            <a:ext cx="0" cy="187304"/>
          </a:xfrm>
          <a:prstGeom prst="line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Connecteur droit 38"/>
          <p:cNvCxnSpPr/>
          <p:nvPr/>
        </p:nvCxnSpPr>
        <p:spPr bwMode="gray">
          <a:xfrm>
            <a:off x="6920344" y="5405256"/>
            <a:ext cx="0" cy="187304"/>
          </a:xfrm>
          <a:prstGeom prst="line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HEDULE</a:t>
            </a:r>
            <a:endParaRPr lang="fr-FR" dirty="0"/>
          </a:p>
        </p:txBody>
      </p:sp>
      <p:sp>
        <p:nvSpPr>
          <p:cNvPr id="37" name="Espace réservé de la date 3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39" name="Espace réservé du pied de page 3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38" name="Espace réservé du numéro de diapositive 3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7</a:t>
            </a:fld>
            <a:endParaRPr lang="fr-FR" dirty="0"/>
          </a:p>
        </p:txBody>
      </p:sp>
      <p:graphicFrame>
        <p:nvGraphicFramePr>
          <p:cNvPr id="40" name="Tableau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657210"/>
              </p:ext>
            </p:extLst>
          </p:nvPr>
        </p:nvGraphicFramePr>
        <p:xfrm>
          <a:off x="2074654" y="1165814"/>
          <a:ext cx="6510675" cy="47083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0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3404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</a:tblGrid>
              <a:tr h="35705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Nov. 2015</a:t>
                      </a:r>
                    </a:p>
                  </a:txBody>
                  <a:tcPr marL="62694" marR="62694" marT="31351" marB="31351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December 2015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January 2016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>
                          <a:solidFill>
                            <a:schemeClr val="bg2"/>
                          </a:solidFill>
                        </a:rPr>
                        <a:t>February 2016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383"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18/1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25/1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2/1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9/1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16/1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23/1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30/1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6/0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13/0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20/0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27/01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3/0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10/0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17/0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24/02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45055"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08920"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77234"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2680"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1" name="ZoneTexte 40"/>
          <p:cNvSpPr txBox="1"/>
          <p:nvPr/>
        </p:nvSpPr>
        <p:spPr bwMode="gray">
          <a:xfrm>
            <a:off x="506986" y="2540506"/>
            <a:ext cx="1283975" cy="524969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accent5"/>
                </a:solidFill>
              </a:rPr>
              <a:t>WORK PACKAGE 1</a:t>
            </a:r>
          </a:p>
          <a:p>
            <a:pPr algn="r"/>
            <a:r>
              <a:rPr lang="en-US" sz="1000" dirty="0">
                <a:solidFill>
                  <a:schemeClr val="accent5"/>
                </a:solidFill>
              </a:rPr>
              <a:t>Benchmarking</a:t>
            </a:r>
            <a:br>
              <a:rPr lang="en-US" sz="1000" dirty="0">
                <a:solidFill>
                  <a:schemeClr val="accent5"/>
                </a:solidFill>
              </a:rPr>
            </a:br>
            <a:r>
              <a:rPr lang="en-US" sz="1000" dirty="0">
                <a:solidFill>
                  <a:schemeClr val="accent5"/>
                </a:solidFill>
              </a:rPr>
              <a:t>solutions</a:t>
            </a:r>
          </a:p>
        </p:txBody>
      </p:sp>
      <p:sp>
        <p:nvSpPr>
          <p:cNvPr id="42" name="ZoneTexte 41"/>
          <p:cNvSpPr txBox="1"/>
          <p:nvPr/>
        </p:nvSpPr>
        <p:spPr bwMode="gray">
          <a:xfrm>
            <a:off x="506986" y="3714323"/>
            <a:ext cx="1283975" cy="524969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accent1"/>
                </a:solidFill>
              </a:rPr>
              <a:t>WORK PACKAGE 2</a:t>
            </a:r>
          </a:p>
          <a:p>
            <a:pPr algn="r"/>
            <a:r>
              <a:rPr lang="en-US" sz="1000" dirty="0">
                <a:solidFill>
                  <a:schemeClr val="accent1"/>
                </a:solidFill>
              </a:rPr>
              <a:t>Establishing</a:t>
            </a:r>
            <a:br>
              <a:rPr lang="en-US" sz="1000" dirty="0">
                <a:solidFill>
                  <a:schemeClr val="accent1"/>
                </a:solidFill>
              </a:rPr>
            </a:br>
            <a:r>
              <a:rPr lang="en-US" sz="1000" dirty="0">
                <a:solidFill>
                  <a:schemeClr val="accent1"/>
                </a:solidFill>
              </a:rPr>
              <a:t>a study</a:t>
            </a:r>
          </a:p>
        </p:txBody>
      </p:sp>
      <p:sp>
        <p:nvSpPr>
          <p:cNvPr id="43" name="ZoneTexte 42"/>
          <p:cNvSpPr txBox="1"/>
          <p:nvPr/>
        </p:nvSpPr>
        <p:spPr bwMode="gray">
          <a:xfrm>
            <a:off x="506986" y="4509639"/>
            <a:ext cx="1283975" cy="524969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accent2"/>
                </a:solidFill>
              </a:rPr>
              <a:t>WORK PACKAGE 3</a:t>
            </a:r>
          </a:p>
          <a:p>
            <a:pPr algn="r"/>
            <a:r>
              <a:rPr lang="en-US" sz="1000" dirty="0">
                <a:solidFill>
                  <a:schemeClr val="accent2"/>
                </a:solidFill>
              </a:rPr>
              <a:t>Drafting</a:t>
            </a:r>
            <a:br>
              <a:rPr lang="en-US" sz="1000" dirty="0">
                <a:solidFill>
                  <a:schemeClr val="accent2"/>
                </a:solidFill>
              </a:rPr>
            </a:br>
            <a:r>
              <a:rPr lang="en-US" sz="1000" dirty="0">
                <a:solidFill>
                  <a:schemeClr val="accent2"/>
                </a:solidFill>
              </a:rPr>
              <a:t>specifications</a:t>
            </a:r>
          </a:p>
        </p:txBody>
      </p:sp>
      <p:sp>
        <p:nvSpPr>
          <p:cNvPr id="44" name="ZoneTexte 43"/>
          <p:cNvSpPr txBox="1"/>
          <p:nvPr/>
        </p:nvSpPr>
        <p:spPr bwMode="gray">
          <a:xfrm>
            <a:off x="910943" y="5391417"/>
            <a:ext cx="880018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accent4"/>
                </a:solidFill>
              </a:rPr>
              <a:t>OVERSIGHT</a:t>
            </a:r>
          </a:p>
        </p:txBody>
      </p:sp>
      <p:cxnSp>
        <p:nvCxnSpPr>
          <p:cNvPr id="45" name="Connecteur droit 44"/>
          <p:cNvCxnSpPr/>
          <p:nvPr/>
        </p:nvCxnSpPr>
        <p:spPr bwMode="gray">
          <a:xfrm>
            <a:off x="1906763" y="2266984"/>
            <a:ext cx="0" cy="1053558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/>
          <p:cNvCxnSpPr/>
          <p:nvPr/>
        </p:nvCxnSpPr>
        <p:spPr bwMode="gray">
          <a:xfrm>
            <a:off x="1908286" y="3722412"/>
            <a:ext cx="0" cy="490335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 bwMode="gray">
          <a:xfrm>
            <a:off x="1908286" y="4648864"/>
            <a:ext cx="0" cy="228062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 bwMode="gray">
          <a:xfrm>
            <a:off x="1908286" y="5280438"/>
            <a:ext cx="0" cy="433004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/>
          <p:cNvCxnSpPr/>
          <p:nvPr/>
        </p:nvCxnSpPr>
        <p:spPr bwMode="gray">
          <a:xfrm>
            <a:off x="2266221" y="1775416"/>
            <a:ext cx="0" cy="4078877"/>
          </a:xfrm>
          <a:prstGeom prst="line">
            <a:avLst/>
          </a:prstGeom>
          <a:ln w="28575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/>
          <p:cNvCxnSpPr/>
          <p:nvPr/>
        </p:nvCxnSpPr>
        <p:spPr bwMode="gray">
          <a:xfrm>
            <a:off x="8575534" y="1775416"/>
            <a:ext cx="0" cy="4078877"/>
          </a:xfrm>
          <a:prstGeom prst="line">
            <a:avLst/>
          </a:prstGeom>
          <a:ln w="28575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50"/>
          <p:cNvCxnSpPr/>
          <p:nvPr/>
        </p:nvCxnSpPr>
        <p:spPr bwMode="gray">
          <a:xfrm>
            <a:off x="6204287" y="1775416"/>
            <a:ext cx="0" cy="4078877"/>
          </a:xfrm>
          <a:prstGeom prst="line">
            <a:avLst/>
          </a:prstGeom>
          <a:ln w="28575">
            <a:solidFill>
              <a:schemeClr val="accent4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 6"/>
          <p:cNvSpPr>
            <a:spLocks/>
          </p:cNvSpPr>
          <p:nvPr/>
        </p:nvSpPr>
        <p:spPr bwMode="gray">
          <a:xfrm>
            <a:off x="3963369" y="5557135"/>
            <a:ext cx="139283" cy="138240"/>
          </a:xfrm>
          <a:prstGeom prst="roundRect">
            <a:avLst>
              <a:gd name="adj" fmla="val 36957"/>
            </a:avLst>
          </a:prstGeom>
          <a:solidFill>
            <a:srgbClr val="DD0B74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rgbClr val="DD0B74"/>
                </a:solidFill>
              </a:rPr>
              <a:t>COPIL</a:t>
            </a:r>
          </a:p>
        </p:txBody>
      </p:sp>
      <p:sp>
        <p:nvSpPr>
          <p:cNvPr id="53" name="Freeform 6"/>
          <p:cNvSpPr>
            <a:spLocks/>
          </p:cNvSpPr>
          <p:nvPr/>
        </p:nvSpPr>
        <p:spPr bwMode="gray">
          <a:xfrm>
            <a:off x="7445189" y="5557135"/>
            <a:ext cx="139283" cy="138240"/>
          </a:xfrm>
          <a:prstGeom prst="roundRect">
            <a:avLst>
              <a:gd name="adj" fmla="val 32899"/>
            </a:avLst>
          </a:prstGeom>
          <a:solidFill>
            <a:schemeClr val="accent4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chemeClr val="accent4"/>
                </a:solidFill>
              </a:rPr>
              <a:t>COPIL</a:t>
            </a:r>
          </a:p>
        </p:txBody>
      </p:sp>
      <p:sp>
        <p:nvSpPr>
          <p:cNvPr id="54" name="Freeform 6"/>
          <p:cNvSpPr>
            <a:spLocks/>
          </p:cNvSpPr>
          <p:nvPr/>
        </p:nvSpPr>
        <p:spPr bwMode="gray">
          <a:xfrm>
            <a:off x="2199549" y="2013414"/>
            <a:ext cx="139283" cy="138240"/>
          </a:xfrm>
          <a:prstGeom prst="roundRect">
            <a:avLst>
              <a:gd name="adj" fmla="val 28841"/>
            </a:avLst>
          </a:prstGeom>
          <a:solidFill>
            <a:schemeClr val="accent5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chemeClr val="accent5"/>
                </a:solidFill>
              </a:rPr>
              <a:t>20/11: Launch meeting</a:t>
            </a:r>
          </a:p>
        </p:txBody>
      </p:sp>
      <p:grpSp>
        <p:nvGrpSpPr>
          <p:cNvPr id="6" name="Groupe 54"/>
          <p:cNvGrpSpPr/>
          <p:nvPr/>
        </p:nvGrpSpPr>
        <p:grpSpPr bwMode="gray">
          <a:xfrm>
            <a:off x="3819652" y="3795663"/>
            <a:ext cx="3468603" cy="343833"/>
            <a:chOff x="6096000" y="5230700"/>
            <a:chExt cx="4857750" cy="734133"/>
          </a:xfrm>
          <a:solidFill>
            <a:schemeClr val="accent1"/>
          </a:solidFill>
        </p:grpSpPr>
        <p:sp>
          <p:nvSpPr>
            <p:cNvPr id="56" name="Pentagone 55"/>
            <p:cNvSpPr/>
            <p:nvPr/>
          </p:nvSpPr>
          <p:spPr bwMode="gray">
            <a:xfrm>
              <a:off x="6096000" y="5230700"/>
              <a:ext cx="2881313" cy="332589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 dirty="0"/>
                <a:t>Stage 5</a:t>
              </a:r>
            </a:p>
          </p:txBody>
        </p:sp>
        <p:sp>
          <p:nvSpPr>
            <p:cNvPr id="57" name="Pentagone 56"/>
            <p:cNvSpPr/>
            <p:nvPr/>
          </p:nvSpPr>
          <p:spPr bwMode="gray">
            <a:xfrm>
              <a:off x="8534399" y="5632244"/>
              <a:ext cx="2419351" cy="332589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800" dirty="0"/>
                <a:t>Stage 6</a:t>
              </a:r>
            </a:p>
          </p:txBody>
        </p:sp>
      </p:grpSp>
      <p:sp>
        <p:nvSpPr>
          <p:cNvPr id="58" name="Pentagone 57"/>
          <p:cNvSpPr/>
          <p:nvPr/>
        </p:nvSpPr>
        <p:spPr bwMode="gray">
          <a:xfrm>
            <a:off x="6859781" y="4685010"/>
            <a:ext cx="1537067" cy="15577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800" dirty="0"/>
              <a:t>Stage 7</a:t>
            </a:r>
          </a:p>
        </p:txBody>
      </p:sp>
      <p:sp>
        <p:nvSpPr>
          <p:cNvPr id="59" name="Pentagone 58"/>
          <p:cNvSpPr/>
          <p:nvPr/>
        </p:nvSpPr>
        <p:spPr bwMode="gray">
          <a:xfrm>
            <a:off x="2268983" y="2303129"/>
            <a:ext cx="1550670" cy="15577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800" dirty="0"/>
              <a:t>Stage 1</a:t>
            </a:r>
          </a:p>
        </p:txBody>
      </p:sp>
      <p:sp>
        <p:nvSpPr>
          <p:cNvPr id="60" name="Pentagone 59"/>
          <p:cNvSpPr/>
          <p:nvPr/>
        </p:nvSpPr>
        <p:spPr bwMode="gray">
          <a:xfrm>
            <a:off x="3193944" y="2578294"/>
            <a:ext cx="3448199" cy="15577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800" dirty="0"/>
              <a:t>Stage 2</a:t>
            </a:r>
          </a:p>
        </p:txBody>
      </p:sp>
      <p:sp>
        <p:nvSpPr>
          <p:cNvPr id="61" name="Pentagone 60"/>
          <p:cNvSpPr/>
          <p:nvPr/>
        </p:nvSpPr>
        <p:spPr bwMode="gray">
          <a:xfrm>
            <a:off x="3819653" y="2853460"/>
            <a:ext cx="2820427" cy="15577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800" dirty="0"/>
              <a:t>Stage 3</a:t>
            </a:r>
          </a:p>
        </p:txBody>
      </p:sp>
      <p:sp>
        <p:nvSpPr>
          <p:cNvPr id="62" name="Pentagone 61"/>
          <p:cNvSpPr/>
          <p:nvPr/>
        </p:nvSpPr>
        <p:spPr bwMode="gray">
          <a:xfrm>
            <a:off x="5996031" y="3128625"/>
            <a:ext cx="1292225" cy="15577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800" dirty="0"/>
              <a:t>Stage 4</a:t>
            </a:r>
          </a:p>
        </p:txBody>
      </p:sp>
      <p:grpSp>
        <p:nvGrpSpPr>
          <p:cNvPr id="7" name="Groupe 62"/>
          <p:cNvGrpSpPr/>
          <p:nvPr/>
        </p:nvGrpSpPr>
        <p:grpSpPr bwMode="gray">
          <a:xfrm>
            <a:off x="5492986" y="2680562"/>
            <a:ext cx="271805" cy="261024"/>
            <a:chOff x="8882063" y="4126706"/>
            <a:chExt cx="380660" cy="380660"/>
          </a:xfrm>
        </p:grpSpPr>
        <p:sp>
          <p:nvSpPr>
            <p:cNvPr id="64" name="Ellipse 63"/>
            <p:cNvSpPr/>
            <p:nvPr/>
          </p:nvSpPr>
          <p:spPr bwMode="gray">
            <a:xfrm>
              <a:off x="8882063" y="4126706"/>
              <a:ext cx="380660" cy="3806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8" name="Groupe 17"/>
            <p:cNvGrpSpPr/>
            <p:nvPr/>
          </p:nvGrpSpPr>
          <p:grpSpPr bwMode="gray">
            <a:xfrm>
              <a:off x="8973184" y="4203787"/>
              <a:ext cx="198418" cy="226499"/>
              <a:chOff x="4338831" y="2828495"/>
              <a:chExt cx="219499" cy="366041"/>
            </a:xfrm>
            <a:solidFill>
              <a:schemeClr val="accent5">
                <a:lumMod val="50000"/>
              </a:schemeClr>
            </a:solidFill>
          </p:grpSpPr>
          <p:sp>
            <p:nvSpPr>
              <p:cNvPr id="66" name="Flèche vers le bas 65"/>
              <p:cNvSpPr/>
              <p:nvPr/>
            </p:nvSpPr>
            <p:spPr bwMode="gray">
              <a:xfrm>
                <a:off x="4338831" y="2960587"/>
                <a:ext cx="132504" cy="233949"/>
              </a:xfrm>
              <a:prstGeom prst="downArrow">
                <a:avLst/>
              </a:prstGeom>
              <a:solidFill>
                <a:srgbClr val="42126E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45720" rIns="18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19723" indent="-119723" defTabSz="522427">
                  <a:lnSpc>
                    <a:spcPct val="95000"/>
                  </a:lnSpc>
                  <a:spcBef>
                    <a:spcPts val="411"/>
                  </a:spcBef>
                  <a:buSzPct val="80000"/>
                  <a:buBlip>
                    <a:blip r:embed="rId2"/>
                  </a:buBlip>
                </a:pPr>
                <a:endParaRPr lang="en-US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67" name="Flèche vers le bas 66"/>
              <p:cNvSpPr/>
              <p:nvPr/>
            </p:nvSpPr>
            <p:spPr bwMode="gray">
              <a:xfrm flipV="1">
                <a:off x="4425826" y="2828495"/>
                <a:ext cx="132504" cy="233949"/>
              </a:xfrm>
              <a:prstGeom prst="downArrow">
                <a:avLst/>
              </a:prstGeom>
              <a:solidFill>
                <a:srgbClr val="42126E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45720" rIns="18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19723" indent="-119723" defTabSz="522427">
                  <a:lnSpc>
                    <a:spcPct val="95000"/>
                  </a:lnSpc>
                  <a:spcBef>
                    <a:spcPts val="411"/>
                  </a:spcBef>
                  <a:buSzPct val="80000"/>
                  <a:buBlip>
                    <a:blip r:embed="rId2"/>
                  </a:buBlip>
                </a:pPr>
                <a:endParaRPr lang="en-US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</p:grpSp>
      </p:grpSp>
      <p:sp>
        <p:nvSpPr>
          <p:cNvPr id="68" name="Pentagone 67"/>
          <p:cNvSpPr/>
          <p:nvPr/>
        </p:nvSpPr>
        <p:spPr bwMode="gray">
          <a:xfrm>
            <a:off x="2268983" y="5308796"/>
            <a:ext cx="6323966" cy="171346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en-US" sz="800" dirty="0"/>
              <a:t>Weekly monitoring committees throughout the project</a:t>
            </a:r>
          </a:p>
        </p:txBody>
      </p:sp>
      <p:sp>
        <p:nvSpPr>
          <p:cNvPr id="69" name="Freeform 6"/>
          <p:cNvSpPr>
            <a:spLocks/>
          </p:cNvSpPr>
          <p:nvPr/>
        </p:nvSpPr>
        <p:spPr bwMode="gray">
          <a:xfrm>
            <a:off x="6134647" y="5557135"/>
            <a:ext cx="139283" cy="138240"/>
          </a:xfrm>
          <a:prstGeom prst="roundRect">
            <a:avLst>
              <a:gd name="adj" fmla="val 28840"/>
            </a:avLst>
          </a:prstGeom>
          <a:solidFill>
            <a:schemeClr val="accent4"/>
          </a:solidFill>
          <a:ln>
            <a:noFill/>
          </a:ln>
          <a:extLst/>
        </p:spPr>
        <p:txBody>
          <a:bodyPr vert="horz" wrap="none" lIns="320861" tIns="24682" rIns="62691" bIns="31346" numCol="1" anchor="ctr" anchorCtr="0" compatLnSpc="1">
            <a:prstTxWarp prst="textNoShape">
              <a:avLst/>
            </a:prstTxWarp>
          </a:bodyPr>
          <a:lstStyle/>
          <a:p>
            <a:r>
              <a:rPr lang="en-GB" sz="1000" dirty="0">
                <a:solidFill>
                  <a:schemeClr val="accent4"/>
                </a:solidFill>
              </a:rPr>
              <a:t>COPIL</a:t>
            </a:r>
          </a:p>
        </p:txBody>
      </p:sp>
      <p:sp>
        <p:nvSpPr>
          <p:cNvPr id="70" name="ZoneTexte 69"/>
          <p:cNvSpPr txBox="1"/>
          <p:nvPr/>
        </p:nvSpPr>
        <p:spPr bwMode="gray">
          <a:xfrm>
            <a:off x="5977434" y="5879387"/>
            <a:ext cx="480871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Today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GRESS MONITORING</a:t>
            </a:r>
            <a:endParaRPr lang="fr-FR" dirty="0"/>
          </a:p>
        </p:txBody>
      </p:sp>
      <p:sp>
        <p:nvSpPr>
          <p:cNvPr id="51" name="Espace réservé de la date 5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3" name="Espace réservé du pied de page 5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2" name="Espace réservé du numéro de diapositive 5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8</a:t>
            </a:fld>
            <a:endParaRPr lang="fr-FR" dirty="0"/>
          </a:p>
        </p:txBody>
      </p:sp>
      <p:graphicFrame>
        <p:nvGraphicFramePr>
          <p:cNvPr id="37" name="Tableau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801005"/>
              </p:ext>
            </p:extLst>
          </p:nvPr>
        </p:nvGraphicFramePr>
        <p:xfrm>
          <a:off x="595346" y="1375954"/>
          <a:ext cx="7862904" cy="443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12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57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57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35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7485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2217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2694" marR="62694" marT="3135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97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noProof="0" dirty="0"/>
                        <a:t>Program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97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Next steps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97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Alerts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97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Status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97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67246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Program</a:t>
                      </a:r>
                      <a:r>
                        <a:rPr lang="en-US" sz="1100" b="1" baseline="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62694" marR="62694" marT="3209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1080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2/01 – Task </a:t>
                      </a:r>
                      <a:r>
                        <a:rPr lang="en-US" sz="800" baseline="0" noProof="0" dirty="0">
                          <a:solidFill>
                            <a:schemeClr val="bg2"/>
                          </a:solidFill>
                        </a:rPr>
                        <a:t>A completed</a:t>
                      </a:r>
                    </a:p>
                    <a:p>
                      <a:pPr marL="72000" marR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Symbol" pitchFamily="18" charset="2"/>
                        <a:buChar char="·"/>
                        <a:tabLst/>
                        <a:defRPr/>
                      </a:pP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05/01 –</a:t>
                      </a:r>
                      <a:r>
                        <a:rPr lang="en-US" sz="800" baseline="0" noProof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Task </a:t>
                      </a:r>
                      <a:r>
                        <a:rPr lang="en-US" sz="800" baseline="0" noProof="0" dirty="0">
                          <a:solidFill>
                            <a:schemeClr val="bg2"/>
                          </a:solidFill>
                        </a:rPr>
                        <a:t>B completed</a:t>
                      </a: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  <a:p>
                      <a:pPr marL="72000" indent="-1080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98731" marR="49366" marT="74057" marB="3135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10800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By</a:t>
                      </a:r>
                      <a:r>
                        <a:rPr lang="en-US" sz="800" kern="1200" baseline="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31/01 </a:t>
                      </a:r>
                      <a:r>
                        <a:rPr lang="en-US" sz="800" kern="1200" baseline="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– Update GDF website (Mary)</a:t>
                      </a:r>
                    </a:p>
                    <a:p>
                      <a:pPr marL="72000" indent="-10800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r>
                        <a:rPr lang="en-US" sz="800" kern="1200" baseline="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By 15/02 – Write up CGV news (Tom) </a:t>
                      </a:r>
                      <a:endParaRPr lang="en-US" sz="800" kern="1200" noProof="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731" marR="49366" marT="74057" marB="3135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8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-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Wingdings" panose="05000000000000000000" pitchFamily="2" charset="2"/>
                        <a:buChar char="§"/>
                      </a:pPr>
                      <a:endParaRPr lang="en-US" sz="800" noProof="0" dirty="0"/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67246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Program</a:t>
                      </a:r>
                      <a:r>
                        <a:rPr lang="en-US" sz="1100" b="1" baseline="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62694" marR="62694" marT="3209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10800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09/01 – </a:t>
                      </a: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Task </a:t>
                      </a: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C completed</a:t>
                      </a:r>
                    </a:p>
                    <a:p>
                      <a:pPr marL="72000" marR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Symbol" pitchFamily="18" charset="2"/>
                        <a:buChar char="·"/>
                        <a:tabLst/>
                        <a:defRPr/>
                      </a:pP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2/01 – </a:t>
                      </a:r>
                      <a:r>
                        <a:rPr lang="en-US" sz="800" noProof="0" dirty="0">
                          <a:solidFill>
                            <a:schemeClr val="bg2"/>
                          </a:solidFill>
                        </a:rPr>
                        <a:t>Task </a:t>
                      </a: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 completed</a:t>
                      </a:r>
                    </a:p>
                    <a:p>
                      <a:pPr marL="72000" indent="-10800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98731" marR="49366" marT="74057" marB="3135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10800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98731" marR="49366" marT="74057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8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-</a:t>
                      </a:r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Wingdings" panose="05000000000000000000" pitchFamily="2" charset="2"/>
                        <a:buChar char="§"/>
                      </a:pPr>
                      <a:endParaRPr lang="en-US" sz="800" noProof="0" dirty="0"/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67246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Program</a:t>
                      </a:r>
                      <a:r>
                        <a:rPr lang="en-US" sz="1100" b="1" baseline="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="1" noProof="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62694" marR="62694" marT="32091" marB="31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indent="-108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Symbol" pitchFamily="18" charset="2"/>
                        <a:buChar char="·"/>
                        <a:tabLst/>
                        <a:defRPr/>
                      </a:pPr>
                      <a:r>
                        <a:rPr lang="en-US" sz="800" kern="1200" noProof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02/01 – Task F completed</a:t>
                      </a:r>
                    </a:p>
                    <a:p>
                      <a:pPr marL="72000" indent="-1080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98731" marR="49366" marT="74057" marB="3135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10800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Font typeface="Symbol" pitchFamily="18" charset="2"/>
                        <a:buChar char="·"/>
                      </a:pPr>
                      <a:endParaRPr lang="en-US" sz="800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98731" marR="49366" marT="74057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endParaRPr lang="en-US" sz="700" noProof="0" dirty="0">
                        <a:solidFill>
                          <a:schemeClr val="accent1">
                            <a:lumMod val="25000"/>
                          </a:schemeClr>
                        </a:solidFill>
                      </a:endParaRP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700" noProof="0" dirty="0">
                          <a:solidFill>
                            <a:srgbClr val="D70015"/>
                          </a:solidFill>
                        </a:rPr>
                        <a:t>Behind</a:t>
                      </a:r>
                      <a:r>
                        <a:rPr lang="en-US" sz="700" baseline="0" noProof="0" dirty="0">
                          <a:solidFill>
                            <a:srgbClr val="D70015"/>
                          </a:solidFill>
                        </a:rPr>
                        <a:t> </a:t>
                      </a:r>
                      <a:r>
                        <a:rPr lang="en-US" sz="700" noProof="0" dirty="0">
                          <a:solidFill>
                            <a:srgbClr val="D70015"/>
                          </a:solidFill>
                        </a:rPr>
                        <a:t>schedule</a:t>
                      </a:r>
                    </a:p>
                  </a:txBody>
                  <a:tcPr marL="62694" marR="62694" marT="148114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Wingdings" panose="05000000000000000000" pitchFamily="2" charset="2"/>
                        <a:buChar char="§"/>
                      </a:pPr>
                      <a:endParaRPr lang="en-US" sz="800" noProof="0" dirty="0"/>
                    </a:p>
                  </a:txBody>
                  <a:tcPr marL="62694" marR="62694" marT="31351" marB="313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6" name="Group 7"/>
          <p:cNvGrpSpPr>
            <a:grpSpLocks noChangeAspect="1"/>
          </p:cNvGrpSpPr>
          <p:nvPr/>
        </p:nvGrpSpPr>
        <p:grpSpPr bwMode="gray">
          <a:xfrm>
            <a:off x="7921288" y="4925771"/>
            <a:ext cx="364356" cy="307620"/>
            <a:chOff x="-915" y="3953"/>
            <a:chExt cx="430" cy="363"/>
          </a:xfrm>
          <a:solidFill>
            <a:srgbClr val="FFFFFF">
              <a:lumMod val="50000"/>
            </a:srgbClr>
          </a:solidFill>
        </p:grpSpPr>
        <p:sp>
          <p:nvSpPr>
            <p:cNvPr id="155" name="Freeform 8"/>
            <p:cNvSpPr>
              <a:spLocks/>
            </p:cNvSpPr>
            <p:nvPr/>
          </p:nvSpPr>
          <p:spPr bwMode="gray">
            <a:xfrm>
              <a:off x="-659" y="4262"/>
              <a:ext cx="26" cy="54"/>
            </a:xfrm>
            <a:custGeom>
              <a:avLst/>
              <a:gdLst>
                <a:gd name="T0" fmla="*/ 38 w 77"/>
                <a:gd name="T1" fmla="*/ 0 h 155"/>
                <a:gd name="T2" fmla="*/ 0 w 77"/>
                <a:gd name="T3" fmla="*/ 39 h 155"/>
                <a:gd name="T4" fmla="*/ 0 w 77"/>
                <a:gd name="T5" fmla="*/ 116 h 155"/>
                <a:gd name="T6" fmla="*/ 38 w 77"/>
                <a:gd name="T7" fmla="*/ 155 h 155"/>
                <a:gd name="T8" fmla="*/ 77 w 77"/>
                <a:gd name="T9" fmla="*/ 116 h 155"/>
                <a:gd name="T10" fmla="*/ 77 w 77"/>
                <a:gd name="T11" fmla="*/ 39 h 155"/>
                <a:gd name="T12" fmla="*/ 38 w 77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5">
                  <a:moveTo>
                    <a:pt x="38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7" y="155"/>
                    <a:pt x="38" y="155"/>
                  </a:cubicBezTo>
                  <a:cubicBezTo>
                    <a:pt x="60" y="155"/>
                    <a:pt x="77" y="138"/>
                    <a:pt x="77" y="116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18"/>
                    <a:pt x="60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9"/>
            <p:cNvSpPr>
              <a:spLocks/>
            </p:cNvSpPr>
            <p:nvPr/>
          </p:nvSpPr>
          <p:spPr bwMode="gray">
            <a:xfrm>
              <a:off x="-767" y="4262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8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0"/>
            <p:cNvSpPr>
              <a:spLocks/>
            </p:cNvSpPr>
            <p:nvPr/>
          </p:nvSpPr>
          <p:spPr bwMode="gray">
            <a:xfrm>
              <a:off x="-606" y="4235"/>
              <a:ext cx="27" cy="54"/>
            </a:xfrm>
            <a:custGeom>
              <a:avLst/>
              <a:gdLst>
                <a:gd name="T0" fmla="*/ 39 w 77"/>
                <a:gd name="T1" fmla="*/ 0 h 155"/>
                <a:gd name="T2" fmla="*/ 0 w 77"/>
                <a:gd name="T3" fmla="*/ 39 h 155"/>
                <a:gd name="T4" fmla="*/ 0 w 77"/>
                <a:gd name="T5" fmla="*/ 116 h 155"/>
                <a:gd name="T6" fmla="*/ 39 w 77"/>
                <a:gd name="T7" fmla="*/ 155 h 155"/>
                <a:gd name="T8" fmla="*/ 77 w 77"/>
                <a:gd name="T9" fmla="*/ 116 h 155"/>
                <a:gd name="T10" fmla="*/ 77 w 77"/>
                <a:gd name="T11" fmla="*/ 39 h 155"/>
                <a:gd name="T12" fmla="*/ 39 w 77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5"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7" y="155"/>
                    <a:pt x="39" y="155"/>
                  </a:cubicBezTo>
                  <a:cubicBezTo>
                    <a:pt x="60" y="155"/>
                    <a:pt x="77" y="138"/>
                    <a:pt x="77" y="116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17"/>
                    <a:pt x="60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1"/>
            <p:cNvSpPr>
              <a:spLocks/>
            </p:cNvSpPr>
            <p:nvPr/>
          </p:nvSpPr>
          <p:spPr bwMode="gray">
            <a:xfrm>
              <a:off x="-713" y="4235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7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2"/>
            <p:cNvSpPr>
              <a:spLocks/>
            </p:cNvSpPr>
            <p:nvPr/>
          </p:nvSpPr>
          <p:spPr bwMode="gray">
            <a:xfrm>
              <a:off x="-821" y="4235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7" y="155"/>
                    <a:pt x="39" y="155"/>
                  </a:cubicBezTo>
                  <a:cubicBezTo>
                    <a:pt x="60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7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3"/>
            <p:cNvSpPr>
              <a:spLocks noEditPoints="1"/>
            </p:cNvSpPr>
            <p:nvPr/>
          </p:nvSpPr>
          <p:spPr bwMode="gray">
            <a:xfrm>
              <a:off x="-915" y="3953"/>
              <a:ext cx="430" cy="269"/>
            </a:xfrm>
            <a:custGeom>
              <a:avLst/>
              <a:gdLst>
                <a:gd name="T0" fmla="*/ 1070 w 1241"/>
                <a:gd name="T1" fmla="*/ 319 h 776"/>
                <a:gd name="T2" fmla="*/ 834 w 1241"/>
                <a:gd name="T3" fmla="*/ 155 h 776"/>
                <a:gd name="T4" fmla="*/ 762 w 1241"/>
                <a:gd name="T5" fmla="*/ 166 h 776"/>
                <a:gd name="T6" fmla="*/ 465 w 1241"/>
                <a:gd name="T7" fmla="*/ 0 h 776"/>
                <a:gd name="T8" fmla="*/ 116 w 1241"/>
                <a:gd name="T9" fmla="*/ 342 h 776"/>
                <a:gd name="T10" fmla="*/ 0 w 1241"/>
                <a:gd name="T11" fmla="*/ 543 h 776"/>
                <a:gd name="T12" fmla="*/ 232 w 1241"/>
                <a:gd name="T13" fmla="*/ 776 h 776"/>
                <a:gd name="T14" fmla="*/ 1008 w 1241"/>
                <a:gd name="T15" fmla="*/ 776 h 776"/>
                <a:gd name="T16" fmla="*/ 1241 w 1241"/>
                <a:gd name="T17" fmla="*/ 543 h 776"/>
                <a:gd name="T18" fmla="*/ 1070 w 1241"/>
                <a:gd name="T19" fmla="*/ 319 h 776"/>
                <a:gd name="T20" fmla="*/ 1008 w 1241"/>
                <a:gd name="T21" fmla="*/ 698 h 776"/>
                <a:gd name="T22" fmla="*/ 232 w 1241"/>
                <a:gd name="T23" fmla="*/ 698 h 776"/>
                <a:gd name="T24" fmla="*/ 77 w 1241"/>
                <a:gd name="T25" fmla="*/ 543 h 776"/>
                <a:gd name="T26" fmla="*/ 197 w 1241"/>
                <a:gd name="T27" fmla="*/ 392 h 776"/>
                <a:gd name="T28" fmla="*/ 194 w 1241"/>
                <a:gd name="T29" fmla="*/ 349 h 776"/>
                <a:gd name="T30" fmla="*/ 465 w 1241"/>
                <a:gd name="T31" fmla="*/ 78 h 776"/>
                <a:gd name="T32" fmla="*/ 725 w 1241"/>
                <a:gd name="T33" fmla="*/ 271 h 776"/>
                <a:gd name="T34" fmla="*/ 834 w 1241"/>
                <a:gd name="T35" fmla="*/ 233 h 776"/>
                <a:gd name="T36" fmla="*/ 1007 w 1241"/>
                <a:gd name="T37" fmla="*/ 388 h 776"/>
                <a:gd name="T38" fmla="*/ 1008 w 1241"/>
                <a:gd name="T39" fmla="*/ 388 h 776"/>
                <a:gd name="T40" fmla="*/ 1163 w 1241"/>
                <a:gd name="T41" fmla="*/ 543 h 776"/>
                <a:gd name="T42" fmla="*/ 1008 w 1241"/>
                <a:gd name="T43" fmla="*/ 698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1" h="776">
                  <a:moveTo>
                    <a:pt x="1070" y="319"/>
                  </a:moveTo>
                  <a:cubicBezTo>
                    <a:pt x="1034" y="223"/>
                    <a:pt x="942" y="155"/>
                    <a:pt x="834" y="155"/>
                  </a:cubicBezTo>
                  <a:cubicBezTo>
                    <a:pt x="809" y="155"/>
                    <a:pt x="785" y="159"/>
                    <a:pt x="762" y="166"/>
                  </a:cubicBezTo>
                  <a:cubicBezTo>
                    <a:pt x="700" y="66"/>
                    <a:pt x="590" y="0"/>
                    <a:pt x="465" y="0"/>
                  </a:cubicBezTo>
                  <a:cubicBezTo>
                    <a:pt x="275" y="0"/>
                    <a:pt x="120" y="152"/>
                    <a:pt x="116" y="342"/>
                  </a:cubicBezTo>
                  <a:cubicBezTo>
                    <a:pt x="47" y="382"/>
                    <a:pt x="0" y="457"/>
                    <a:pt x="0" y="543"/>
                  </a:cubicBezTo>
                  <a:cubicBezTo>
                    <a:pt x="0" y="672"/>
                    <a:pt x="104" y="776"/>
                    <a:pt x="232" y="776"/>
                  </a:cubicBezTo>
                  <a:cubicBezTo>
                    <a:pt x="1008" y="776"/>
                    <a:pt x="1008" y="776"/>
                    <a:pt x="1008" y="776"/>
                  </a:cubicBezTo>
                  <a:cubicBezTo>
                    <a:pt x="1137" y="776"/>
                    <a:pt x="1241" y="671"/>
                    <a:pt x="1241" y="543"/>
                  </a:cubicBezTo>
                  <a:cubicBezTo>
                    <a:pt x="1241" y="436"/>
                    <a:pt x="1168" y="346"/>
                    <a:pt x="1070" y="319"/>
                  </a:cubicBezTo>
                  <a:close/>
                  <a:moveTo>
                    <a:pt x="1008" y="698"/>
                  </a:moveTo>
                  <a:cubicBezTo>
                    <a:pt x="232" y="698"/>
                    <a:pt x="232" y="698"/>
                    <a:pt x="232" y="698"/>
                  </a:cubicBezTo>
                  <a:cubicBezTo>
                    <a:pt x="147" y="698"/>
                    <a:pt x="77" y="629"/>
                    <a:pt x="77" y="543"/>
                  </a:cubicBezTo>
                  <a:cubicBezTo>
                    <a:pt x="77" y="470"/>
                    <a:pt x="128" y="408"/>
                    <a:pt x="197" y="392"/>
                  </a:cubicBezTo>
                  <a:cubicBezTo>
                    <a:pt x="195" y="378"/>
                    <a:pt x="194" y="364"/>
                    <a:pt x="194" y="349"/>
                  </a:cubicBezTo>
                  <a:cubicBezTo>
                    <a:pt x="194" y="199"/>
                    <a:pt x="315" y="78"/>
                    <a:pt x="465" y="78"/>
                  </a:cubicBezTo>
                  <a:cubicBezTo>
                    <a:pt x="588" y="78"/>
                    <a:pt x="691" y="159"/>
                    <a:pt x="725" y="271"/>
                  </a:cubicBezTo>
                  <a:cubicBezTo>
                    <a:pt x="755" y="247"/>
                    <a:pt x="793" y="233"/>
                    <a:pt x="834" y="233"/>
                  </a:cubicBezTo>
                  <a:cubicBezTo>
                    <a:pt x="923" y="233"/>
                    <a:pt x="997" y="301"/>
                    <a:pt x="1007" y="388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1094" y="388"/>
                    <a:pt x="1163" y="457"/>
                    <a:pt x="1163" y="543"/>
                  </a:cubicBezTo>
                  <a:cubicBezTo>
                    <a:pt x="1163" y="629"/>
                    <a:pt x="1094" y="698"/>
                    <a:pt x="1008" y="6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" name="Group 16"/>
          <p:cNvGrpSpPr>
            <a:grpSpLocks noChangeAspect="1"/>
          </p:cNvGrpSpPr>
          <p:nvPr/>
        </p:nvGrpSpPr>
        <p:grpSpPr bwMode="gray">
          <a:xfrm>
            <a:off x="7942921" y="3541938"/>
            <a:ext cx="321091" cy="321128"/>
            <a:chOff x="-821" y="4479"/>
            <a:chExt cx="295" cy="295"/>
          </a:xfrm>
          <a:solidFill>
            <a:srgbClr val="FFC000"/>
          </a:solidFill>
        </p:grpSpPr>
        <p:sp>
          <p:nvSpPr>
            <p:cNvPr id="162" name="Freeform 17"/>
            <p:cNvSpPr>
              <a:spLocks/>
            </p:cNvSpPr>
            <p:nvPr/>
          </p:nvSpPr>
          <p:spPr bwMode="gray">
            <a:xfrm>
              <a:off x="-784" y="4517"/>
              <a:ext cx="49" cy="49"/>
            </a:xfrm>
            <a:custGeom>
              <a:avLst/>
              <a:gdLst>
                <a:gd name="T0" fmla="*/ 70 w 140"/>
                <a:gd name="T1" fmla="*/ 124 h 140"/>
                <a:gd name="T2" fmla="*/ 125 w 140"/>
                <a:gd name="T3" fmla="*/ 125 h 140"/>
                <a:gd name="T4" fmla="*/ 125 w 140"/>
                <a:gd name="T5" fmla="*/ 70 h 140"/>
                <a:gd name="T6" fmla="*/ 71 w 140"/>
                <a:gd name="T7" fmla="*/ 15 h 140"/>
                <a:gd name="T8" fmla="*/ 16 w 140"/>
                <a:gd name="T9" fmla="*/ 15 h 140"/>
                <a:gd name="T10" fmla="*/ 16 w 140"/>
                <a:gd name="T11" fmla="*/ 70 h 140"/>
                <a:gd name="T12" fmla="*/ 70 w 140"/>
                <a:gd name="T13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24"/>
                  </a:moveTo>
                  <a:cubicBezTo>
                    <a:pt x="85" y="140"/>
                    <a:pt x="110" y="140"/>
                    <a:pt x="125" y="125"/>
                  </a:cubicBezTo>
                  <a:cubicBezTo>
                    <a:pt x="140" y="110"/>
                    <a:pt x="140" y="85"/>
                    <a:pt x="125" y="70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55" y="0"/>
                    <a:pt x="31" y="0"/>
                    <a:pt x="16" y="15"/>
                  </a:cubicBezTo>
                  <a:cubicBezTo>
                    <a:pt x="0" y="30"/>
                    <a:pt x="0" y="55"/>
                    <a:pt x="16" y="70"/>
                  </a:cubicBezTo>
                  <a:lnTo>
                    <a:pt x="70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18"/>
            <p:cNvSpPr>
              <a:spLocks/>
            </p:cNvSpPr>
            <p:nvPr/>
          </p:nvSpPr>
          <p:spPr bwMode="gray">
            <a:xfrm>
              <a:off x="-580" y="4613"/>
              <a:ext cx="54" cy="27"/>
            </a:xfrm>
            <a:custGeom>
              <a:avLst/>
              <a:gdLst>
                <a:gd name="T0" fmla="*/ 116 w 155"/>
                <a:gd name="T1" fmla="*/ 0 h 78"/>
                <a:gd name="T2" fmla="*/ 39 w 155"/>
                <a:gd name="T3" fmla="*/ 0 h 78"/>
                <a:gd name="T4" fmla="*/ 0 w 155"/>
                <a:gd name="T5" fmla="*/ 39 h 78"/>
                <a:gd name="T6" fmla="*/ 39 w 155"/>
                <a:gd name="T7" fmla="*/ 78 h 78"/>
                <a:gd name="T8" fmla="*/ 116 w 155"/>
                <a:gd name="T9" fmla="*/ 78 h 78"/>
                <a:gd name="T10" fmla="*/ 155 w 155"/>
                <a:gd name="T11" fmla="*/ 39 h 78"/>
                <a:gd name="T12" fmla="*/ 116 w 155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78">
                  <a:moveTo>
                    <a:pt x="1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38" y="78"/>
                    <a:pt x="155" y="60"/>
                    <a:pt x="155" y="39"/>
                  </a:cubicBezTo>
                  <a:cubicBezTo>
                    <a:pt x="155" y="17"/>
                    <a:pt x="138" y="0"/>
                    <a:pt x="1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19"/>
            <p:cNvSpPr>
              <a:spLocks/>
            </p:cNvSpPr>
            <p:nvPr/>
          </p:nvSpPr>
          <p:spPr bwMode="gray">
            <a:xfrm>
              <a:off x="-821" y="4613"/>
              <a:ext cx="53" cy="27"/>
            </a:xfrm>
            <a:custGeom>
              <a:avLst/>
              <a:gdLst>
                <a:gd name="T0" fmla="*/ 155 w 155"/>
                <a:gd name="T1" fmla="*/ 39 h 78"/>
                <a:gd name="T2" fmla="*/ 116 w 155"/>
                <a:gd name="T3" fmla="*/ 0 h 78"/>
                <a:gd name="T4" fmla="*/ 39 w 155"/>
                <a:gd name="T5" fmla="*/ 0 h 78"/>
                <a:gd name="T6" fmla="*/ 0 w 155"/>
                <a:gd name="T7" fmla="*/ 39 h 78"/>
                <a:gd name="T8" fmla="*/ 39 w 155"/>
                <a:gd name="T9" fmla="*/ 78 h 78"/>
                <a:gd name="T10" fmla="*/ 116 w 155"/>
                <a:gd name="T11" fmla="*/ 78 h 78"/>
                <a:gd name="T12" fmla="*/ 155 w 155"/>
                <a:gd name="T13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78">
                  <a:moveTo>
                    <a:pt x="155" y="39"/>
                  </a:moveTo>
                  <a:cubicBezTo>
                    <a:pt x="155" y="17"/>
                    <a:pt x="137" y="0"/>
                    <a:pt x="1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37" y="78"/>
                    <a:pt x="155" y="60"/>
                    <a:pt x="155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20"/>
            <p:cNvSpPr>
              <a:spLocks noEditPoints="1"/>
            </p:cNvSpPr>
            <p:nvPr/>
          </p:nvSpPr>
          <p:spPr bwMode="gray">
            <a:xfrm>
              <a:off x="-754" y="4546"/>
              <a:ext cx="161" cy="161"/>
            </a:xfrm>
            <a:custGeom>
              <a:avLst/>
              <a:gdLst>
                <a:gd name="T0" fmla="*/ 232 w 465"/>
                <a:gd name="T1" fmla="*/ 0 h 465"/>
                <a:gd name="T2" fmla="*/ 0 w 465"/>
                <a:gd name="T3" fmla="*/ 233 h 465"/>
                <a:gd name="T4" fmla="*/ 232 w 465"/>
                <a:gd name="T5" fmla="*/ 465 h 465"/>
                <a:gd name="T6" fmla="*/ 465 w 465"/>
                <a:gd name="T7" fmla="*/ 233 h 465"/>
                <a:gd name="T8" fmla="*/ 232 w 465"/>
                <a:gd name="T9" fmla="*/ 0 h 465"/>
                <a:gd name="T10" fmla="*/ 232 w 465"/>
                <a:gd name="T11" fmla="*/ 388 h 465"/>
                <a:gd name="T12" fmla="*/ 77 w 465"/>
                <a:gd name="T13" fmla="*/ 233 h 465"/>
                <a:gd name="T14" fmla="*/ 232 w 465"/>
                <a:gd name="T15" fmla="*/ 77 h 465"/>
                <a:gd name="T16" fmla="*/ 387 w 465"/>
                <a:gd name="T17" fmla="*/ 233 h 465"/>
                <a:gd name="T18" fmla="*/ 232 w 465"/>
                <a:gd name="T19" fmla="*/ 388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5" h="465">
                  <a:moveTo>
                    <a:pt x="232" y="0"/>
                  </a:moveTo>
                  <a:cubicBezTo>
                    <a:pt x="104" y="0"/>
                    <a:pt x="0" y="104"/>
                    <a:pt x="0" y="233"/>
                  </a:cubicBezTo>
                  <a:cubicBezTo>
                    <a:pt x="0" y="361"/>
                    <a:pt x="104" y="465"/>
                    <a:pt x="232" y="465"/>
                  </a:cubicBezTo>
                  <a:cubicBezTo>
                    <a:pt x="361" y="465"/>
                    <a:pt x="465" y="361"/>
                    <a:pt x="465" y="233"/>
                  </a:cubicBezTo>
                  <a:cubicBezTo>
                    <a:pt x="465" y="104"/>
                    <a:pt x="361" y="0"/>
                    <a:pt x="232" y="0"/>
                  </a:cubicBezTo>
                  <a:close/>
                  <a:moveTo>
                    <a:pt x="232" y="388"/>
                  </a:moveTo>
                  <a:cubicBezTo>
                    <a:pt x="147" y="388"/>
                    <a:pt x="77" y="318"/>
                    <a:pt x="77" y="233"/>
                  </a:cubicBezTo>
                  <a:cubicBezTo>
                    <a:pt x="77" y="147"/>
                    <a:pt x="147" y="77"/>
                    <a:pt x="232" y="77"/>
                  </a:cubicBezTo>
                  <a:cubicBezTo>
                    <a:pt x="318" y="77"/>
                    <a:pt x="387" y="147"/>
                    <a:pt x="387" y="233"/>
                  </a:cubicBezTo>
                  <a:cubicBezTo>
                    <a:pt x="387" y="318"/>
                    <a:pt x="318" y="388"/>
                    <a:pt x="232" y="3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21"/>
            <p:cNvSpPr>
              <a:spLocks/>
            </p:cNvSpPr>
            <p:nvPr/>
          </p:nvSpPr>
          <p:spPr bwMode="gray">
            <a:xfrm>
              <a:off x="-784" y="4688"/>
              <a:ext cx="49" cy="49"/>
            </a:xfrm>
            <a:custGeom>
              <a:avLst/>
              <a:gdLst>
                <a:gd name="T0" fmla="*/ 70 w 140"/>
                <a:gd name="T1" fmla="*/ 15 h 140"/>
                <a:gd name="T2" fmla="*/ 16 w 140"/>
                <a:gd name="T3" fmla="*/ 69 h 140"/>
                <a:gd name="T4" fmla="*/ 16 w 140"/>
                <a:gd name="T5" fmla="*/ 124 h 140"/>
                <a:gd name="T6" fmla="*/ 71 w 140"/>
                <a:gd name="T7" fmla="*/ 124 h 140"/>
                <a:gd name="T8" fmla="*/ 125 w 140"/>
                <a:gd name="T9" fmla="*/ 70 h 140"/>
                <a:gd name="T10" fmla="*/ 125 w 140"/>
                <a:gd name="T11" fmla="*/ 15 h 140"/>
                <a:gd name="T12" fmla="*/ 70 w 140"/>
                <a:gd name="T13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5"/>
                  </a:moveTo>
                  <a:cubicBezTo>
                    <a:pt x="16" y="69"/>
                    <a:pt x="16" y="69"/>
                    <a:pt x="16" y="69"/>
                  </a:cubicBezTo>
                  <a:cubicBezTo>
                    <a:pt x="0" y="85"/>
                    <a:pt x="0" y="109"/>
                    <a:pt x="16" y="124"/>
                  </a:cubicBezTo>
                  <a:cubicBezTo>
                    <a:pt x="31" y="140"/>
                    <a:pt x="55" y="140"/>
                    <a:pt x="71" y="124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55"/>
                    <a:pt x="140" y="30"/>
                    <a:pt x="125" y="15"/>
                  </a:cubicBezTo>
                  <a:cubicBezTo>
                    <a:pt x="110" y="0"/>
                    <a:pt x="86" y="0"/>
                    <a:pt x="7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22"/>
            <p:cNvSpPr>
              <a:spLocks/>
            </p:cNvSpPr>
            <p:nvPr/>
          </p:nvSpPr>
          <p:spPr bwMode="gray">
            <a:xfrm>
              <a:off x="-613" y="4517"/>
              <a:ext cx="49" cy="49"/>
            </a:xfrm>
            <a:custGeom>
              <a:avLst/>
              <a:gdLst>
                <a:gd name="T0" fmla="*/ 70 w 140"/>
                <a:gd name="T1" fmla="*/ 124 h 140"/>
                <a:gd name="T2" fmla="*/ 125 w 140"/>
                <a:gd name="T3" fmla="*/ 70 h 140"/>
                <a:gd name="T4" fmla="*/ 125 w 140"/>
                <a:gd name="T5" fmla="*/ 15 h 140"/>
                <a:gd name="T6" fmla="*/ 70 w 140"/>
                <a:gd name="T7" fmla="*/ 15 h 140"/>
                <a:gd name="T8" fmla="*/ 16 w 140"/>
                <a:gd name="T9" fmla="*/ 70 h 140"/>
                <a:gd name="T10" fmla="*/ 15 w 140"/>
                <a:gd name="T11" fmla="*/ 125 h 140"/>
                <a:gd name="T12" fmla="*/ 70 w 140"/>
                <a:gd name="T13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24"/>
                  </a:moveTo>
                  <a:cubicBezTo>
                    <a:pt x="125" y="70"/>
                    <a:pt x="125" y="70"/>
                    <a:pt x="125" y="70"/>
                  </a:cubicBezTo>
                  <a:cubicBezTo>
                    <a:pt x="140" y="55"/>
                    <a:pt x="140" y="30"/>
                    <a:pt x="125" y="15"/>
                  </a:cubicBezTo>
                  <a:cubicBezTo>
                    <a:pt x="110" y="0"/>
                    <a:pt x="85" y="0"/>
                    <a:pt x="70" y="15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0" y="85"/>
                    <a:pt x="0" y="109"/>
                    <a:pt x="15" y="125"/>
                  </a:cubicBezTo>
                  <a:cubicBezTo>
                    <a:pt x="31" y="140"/>
                    <a:pt x="55" y="140"/>
                    <a:pt x="7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23"/>
            <p:cNvSpPr>
              <a:spLocks/>
            </p:cNvSpPr>
            <p:nvPr/>
          </p:nvSpPr>
          <p:spPr bwMode="gray">
            <a:xfrm>
              <a:off x="-687" y="4721"/>
              <a:ext cx="27" cy="53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40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40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18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24"/>
            <p:cNvSpPr>
              <a:spLocks/>
            </p:cNvSpPr>
            <p:nvPr/>
          </p:nvSpPr>
          <p:spPr bwMode="gray">
            <a:xfrm>
              <a:off x="-613" y="4688"/>
              <a:ext cx="49" cy="49"/>
            </a:xfrm>
            <a:custGeom>
              <a:avLst/>
              <a:gdLst>
                <a:gd name="T0" fmla="*/ 70 w 140"/>
                <a:gd name="T1" fmla="*/ 15 h 140"/>
                <a:gd name="T2" fmla="*/ 15 w 140"/>
                <a:gd name="T3" fmla="*/ 15 h 140"/>
                <a:gd name="T4" fmla="*/ 16 w 140"/>
                <a:gd name="T5" fmla="*/ 70 h 140"/>
                <a:gd name="T6" fmla="*/ 70 w 140"/>
                <a:gd name="T7" fmla="*/ 124 h 140"/>
                <a:gd name="T8" fmla="*/ 125 w 140"/>
                <a:gd name="T9" fmla="*/ 124 h 140"/>
                <a:gd name="T10" fmla="*/ 125 w 140"/>
                <a:gd name="T11" fmla="*/ 69 h 140"/>
                <a:gd name="T12" fmla="*/ 70 w 140"/>
                <a:gd name="T13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5"/>
                  </a:moveTo>
                  <a:cubicBezTo>
                    <a:pt x="55" y="0"/>
                    <a:pt x="31" y="0"/>
                    <a:pt x="15" y="15"/>
                  </a:cubicBezTo>
                  <a:cubicBezTo>
                    <a:pt x="0" y="30"/>
                    <a:pt x="0" y="54"/>
                    <a:pt x="16" y="70"/>
                  </a:cubicBezTo>
                  <a:cubicBezTo>
                    <a:pt x="70" y="124"/>
                    <a:pt x="70" y="124"/>
                    <a:pt x="70" y="124"/>
                  </a:cubicBezTo>
                  <a:cubicBezTo>
                    <a:pt x="85" y="140"/>
                    <a:pt x="110" y="140"/>
                    <a:pt x="125" y="124"/>
                  </a:cubicBezTo>
                  <a:cubicBezTo>
                    <a:pt x="140" y="109"/>
                    <a:pt x="140" y="85"/>
                    <a:pt x="125" y="69"/>
                  </a:cubicBezTo>
                  <a:lnTo>
                    <a:pt x="7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25"/>
            <p:cNvSpPr>
              <a:spLocks/>
            </p:cNvSpPr>
            <p:nvPr/>
          </p:nvSpPr>
          <p:spPr bwMode="gray">
            <a:xfrm>
              <a:off x="-687" y="4479"/>
              <a:ext cx="27" cy="54"/>
            </a:xfrm>
            <a:custGeom>
              <a:avLst/>
              <a:gdLst>
                <a:gd name="T0" fmla="*/ 39 w 78"/>
                <a:gd name="T1" fmla="*/ 155 h 155"/>
                <a:gd name="T2" fmla="*/ 78 w 78"/>
                <a:gd name="T3" fmla="*/ 116 h 155"/>
                <a:gd name="T4" fmla="*/ 78 w 78"/>
                <a:gd name="T5" fmla="*/ 39 h 155"/>
                <a:gd name="T6" fmla="*/ 39 w 78"/>
                <a:gd name="T7" fmla="*/ 0 h 155"/>
                <a:gd name="T8" fmla="*/ 0 w 78"/>
                <a:gd name="T9" fmla="*/ 39 h 155"/>
                <a:gd name="T10" fmla="*/ 0 w 78"/>
                <a:gd name="T11" fmla="*/ 116 h 155"/>
                <a:gd name="T12" fmla="*/ 39 w 78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155"/>
                  </a:move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8"/>
                    <a:pt x="61" y="0"/>
                    <a:pt x="39" y="0"/>
                  </a:cubicBez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1" name="Freeform 29"/>
          <p:cNvSpPr>
            <a:spLocks noEditPoints="1"/>
          </p:cNvSpPr>
          <p:nvPr/>
        </p:nvSpPr>
        <p:spPr bwMode="gray">
          <a:xfrm>
            <a:off x="7921712" y="2251274"/>
            <a:ext cx="363509" cy="227960"/>
          </a:xfrm>
          <a:custGeom>
            <a:avLst/>
            <a:gdLst>
              <a:gd name="T0" fmla="*/ 1070 w 1241"/>
              <a:gd name="T1" fmla="*/ 318 h 776"/>
              <a:gd name="T2" fmla="*/ 834 w 1241"/>
              <a:gd name="T3" fmla="*/ 155 h 776"/>
              <a:gd name="T4" fmla="*/ 762 w 1241"/>
              <a:gd name="T5" fmla="*/ 165 h 776"/>
              <a:gd name="T6" fmla="*/ 465 w 1241"/>
              <a:gd name="T7" fmla="*/ 0 h 776"/>
              <a:gd name="T8" fmla="*/ 116 w 1241"/>
              <a:gd name="T9" fmla="*/ 341 h 776"/>
              <a:gd name="T10" fmla="*/ 0 w 1241"/>
              <a:gd name="T11" fmla="*/ 543 h 776"/>
              <a:gd name="T12" fmla="*/ 232 w 1241"/>
              <a:gd name="T13" fmla="*/ 776 h 776"/>
              <a:gd name="T14" fmla="*/ 1008 w 1241"/>
              <a:gd name="T15" fmla="*/ 776 h 776"/>
              <a:gd name="T16" fmla="*/ 1241 w 1241"/>
              <a:gd name="T17" fmla="*/ 543 h 776"/>
              <a:gd name="T18" fmla="*/ 1070 w 1241"/>
              <a:gd name="T19" fmla="*/ 318 h 776"/>
              <a:gd name="T20" fmla="*/ 1008 w 1241"/>
              <a:gd name="T21" fmla="*/ 698 h 776"/>
              <a:gd name="T22" fmla="*/ 232 w 1241"/>
              <a:gd name="T23" fmla="*/ 698 h 776"/>
              <a:gd name="T24" fmla="*/ 77 w 1241"/>
              <a:gd name="T25" fmla="*/ 543 h 776"/>
              <a:gd name="T26" fmla="*/ 197 w 1241"/>
              <a:gd name="T27" fmla="*/ 392 h 776"/>
              <a:gd name="T28" fmla="*/ 194 w 1241"/>
              <a:gd name="T29" fmla="*/ 349 h 776"/>
              <a:gd name="T30" fmla="*/ 465 w 1241"/>
              <a:gd name="T31" fmla="*/ 77 h 776"/>
              <a:gd name="T32" fmla="*/ 725 w 1241"/>
              <a:gd name="T33" fmla="*/ 270 h 776"/>
              <a:gd name="T34" fmla="*/ 834 w 1241"/>
              <a:gd name="T35" fmla="*/ 233 h 776"/>
              <a:gd name="T36" fmla="*/ 1007 w 1241"/>
              <a:gd name="T37" fmla="*/ 388 h 776"/>
              <a:gd name="T38" fmla="*/ 1008 w 1241"/>
              <a:gd name="T39" fmla="*/ 388 h 776"/>
              <a:gd name="T40" fmla="*/ 1163 w 1241"/>
              <a:gd name="T41" fmla="*/ 543 h 776"/>
              <a:gd name="T42" fmla="*/ 1008 w 1241"/>
              <a:gd name="T43" fmla="*/ 698 h 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41" h="776">
                <a:moveTo>
                  <a:pt x="1070" y="318"/>
                </a:moveTo>
                <a:cubicBezTo>
                  <a:pt x="1034" y="223"/>
                  <a:pt x="942" y="155"/>
                  <a:pt x="834" y="155"/>
                </a:cubicBezTo>
                <a:cubicBezTo>
                  <a:pt x="809" y="155"/>
                  <a:pt x="785" y="159"/>
                  <a:pt x="762" y="165"/>
                </a:cubicBezTo>
                <a:cubicBezTo>
                  <a:pt x="700" y="66"/>
                  <a:pt x="590" y="0"/>
                  <a:pt x="465" y="0"/>
                </a:cubicBezTo>
                <a:cubicBezTo>
                  <a:pt x="275" y="0"/>
                  <a:pt x="120" y="152"/>
                  <a:pt x="116" y="341"/>
                </a:cubicBezTo>
                <a:cubicBezTo>
                  <a:pt x="47" y="382"/>
                  <a:pt x="0" y="457"/>
                  <a:pt x="0" y="543"/>
                </a:cubicBezTo>
                <a:cubicBezTo>
                  <a:pt x="0" y="671"/>
                  <a:pt x="104" y="776"/>
                  <a:pt x="232" y="776"/>
                </a:cubicBezTo>
                <a:cubicBezTo>
                  <a:pt x="1008" y="776"/>
                  <a:pt x="1008" y="776"/>
                  <a:pt x="1008" y="776"/>
                </a:cubicBezTo>
                <a:cubicBezTo>
                  <a:pt x="1137" y="776"/>
                  <a:pt x="1241" y="671"/>
                  <a:pt x="1241" y="543"/>
                </a:cubicBezTo>
                <a:cubicBezTo>
                  <a:pt x="1241" y="436"/>
                  <a:pt x="1168" y="345"/>
                  <a:pt x="1070" y="318"/>
                </a:cubicBezTo>
                <a:close/>
                <a:moveTo>
                  <a:pt x="1008" y="698"/>
                </a:moveTo>
                <a:cubicBezTo>
                  <a:pt x="232" y="698"/>
                  <a:pt x="232" y="698"/>
                  <a:pt x="232" y="698"/>
                </a:cubicBezTo>
                <a:cubicBezTo>
                  <a:pt x="147" y="698"/>
                  <a:pt x="77" y="629"/>
                  <a:pt x="77" y="543"/>
                </a:cubicBezTo>
                <a:cubicBezTo>
                  <a:pt x="77" y="469"/>
                  <a:pt x="128" y="408"/>
                  <a:pt x="197" y="392"/>
                </a:cubicBezTo>
                <a:cubicBezTo>
                  <a:pt x="195" y="378"/>
                  <a:pt x="194" y="364"/>
                  <a:pt x="194" y="349"/>
                </a:cubicBezTo>
                <a:cubicBezTo>
                  <a:pt x="194" y="199"/>
                  <a:pt x="315" y="77"/>
                  <a:pt x="465" y="77"/>
                </a:cubicBezTo>
                <a:cubicBezTo>
                  <a:pt x="588" y="77"/>
                  <a:pt x="691" y="159"/>
                  <a:pt x="725" y="270"/>
                </a:cubicBezTo>
                <a:cubicBezTo>
                  <a:pt x="755" y="247"/>
                  <a:pt x="793" y="233"/>
                  <a:pt x="834" y="233"/>
                </a:cubicBezTo>
                <a:cubicBezTo>
                  <a:pt x="923" y="233"/>
                  <a:pt x="997" y="300"/>
                  <a:pt x="1007" y="388"/>
                </a:cubicBezTo>
                <a:cubicBezTo>
                  <a:pt x="1008" y="388"/>
                  <a:pt x="1008" y="388"/>
                  <a:pt x="1008" y="388"/>
                </a:cubicBezTo>
                <a:cubicBezTo>
                  <a:pt x="1094" y="388"/>
                  <a:pt x="1163" y="457"/>
                  <a:pt x="1163" y="543"/>
                </a:cubicBezTo>
                <a:cubicBezTo>
                  <a:pt x="1163" y="628"/>
                  <a:pt x="1094" y="698"/>
                  <a:pt x="1008" y="698"/>
                </a:cubicBezTo>
                <a:close/>
              </a:path>
            </a:pathLst>
          </a:custGeom>
          <a:solidFill>
            <a:srgbClr val="0086CD"/>
          </a:solidFill>
          <a:ln>
            <a:noFill/>
          </a:ln>
        </p:spPr>
        <p:txBody>
          <a:bodyPr vert="horz" wrap="square" lIns="62691" tIns="31346" rIns="62691" bIns="3134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8" name="Group 33"/>
          <p:cNvGrpSpPr>
            <a:grpSpLocks noChangeAspect="1"/>
          </p:cNvGrpSpPr>
          <p:nvPr/>
        </p:nvGrpSpPr>
        <p:grpSpPr bwMode="gray">
          <a:xfrm>
            <a:off x="7023350" y="4835094"/>
            <a:ext cx="244032" cy="243810"/>
            <a:chOff x="3227" y="2181"/>
            <a:chExt cx="1944" cy="1942"/>
          </a:xfrm>
          <a:solidFill>
            <a:srgbClr val="E10019"/>
          </a:solidFill>
        </p:grpSpPr>
        <p:sp>
          <p:nvSpPr>
            <p:cNvPr id="173" name="Freeform 34"/>
            <p:cNvSpPr>
              <a:spLocks/>
            </p:cNvSpPr>
            <p:nvPr/>
          </p:nvSpPr>
          <p:spPr bwMode="gray">
            <a:xfrm>
              <a:off x="4098" y="2541"/>
              <a:ext cx="199" cy="916"/>
            </a:xfrm>
            <a:custGeom>
              <a:avLst/>
              <a:gdLst>
                <a:gd name="T0" fmla="*/ 42 w 84"/>
                <a:gd name="T1" fmla="*/ 388 h 388"/>
                <a:gd name="T2" fmla="*/ 84 w 84"/>
                <a:gd name="T3" fmla="*/ 346 h 388"/>
                <a:gd name="T4" fmla="*/ 84 w 84"/>
                <a:gd name="T5" fmla="*/ 42 h 388"/>
                <a:gd name="T6" fmla="*/ 42 w 84"/>
                <a:gd name="T7" fmla="*/ 0 h 388"/>
                <a:gd name="T8" fmla="*/ 0 w 84"/>
                <a:gd name="T9" fmla="*/ 42 h 388"/>
                <a:gd name="T10" fmla="*/ 0 w 84"/>
                <a:gd name="T11" fmla="*/ 346 h 388"/>
                <a:gd name="T12" fmla="*/ 42 w 84"/>
                <a:gd name="T13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388">
                  <a:moveTo>
                    <a:pt x="42" y="388"/>
                  </a:moveTo>
                  <a:cubicBezTo>
                    <a:pt x="66" y="388"/>
                    <a:pt x="84" y="369"/>
                    <a:pt x="84" y="346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19"/>
                    <a:pt x="66" y="0"/>
                    <a:pt x="42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69"/>
                    <a:pt x="19" y="388"/>
                    <a:pt x="42" y="3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D70015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Oval 35"/>
            <p:cNvSpPr>
              <a:spLocks noChangeArrowheads="1"/>
            </p:cNvSpPr>
            <p:nvPr/>
          </p:nvSpPr>
          <p:spPr bwMode="gray">
            <a:xfrm>
              <a:off x="4098" y="3545"/>
              <a:ext cx="201" cy="20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D70015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36"/>
            <p:cNvSpPr>
              <a:spLocks noEditPoints="1"/>
            </p:cNvSpPr>
            <p:nvPr/>
          </p:nvSpPr>
          <p:spPr bwMode="gray">
            <a:xfrm>
              <a:off x="3227" y="2181"/>
              <a:ext cx="1944" cy="1942"/>
            </a:xfrm>
            <a:custGeom>
              <a:avLst/>
              <a:gdLst>
                <a:gd name="T0" fmla="*/ 411 w 823"/>
                <a:gd name="T1" fmla="*/ 0 h 822"/>
                <a:gd name="T2" fmla="*/ 0 w 823"/>
                <a:gd name="T3" fmla="*/ 411 h 822"/>
                <a:gd name="T4" fmla="*/ 411 w 823"/>
                <a:gd name="T5" fmla="*/ 822 h 822"/>
                <a:gd name="T6" fmla="*/ 823 w 823"/>
                <a:gd name="T7" fmla="*/ 411 h 822"/>
                <a:gd name="T8" fmla="*/ 411 w 823"/>
                <a:gd name="T9" fmla="*/ 0 h 822"/>
                <a:gd name="T10" fmla="*/ 411 w 823"/>
                <a:gd name="T11" fmla="*/ 742 h 822"/>
                <a:gd name="T12" fmla="*/ 80 w 823"/>
                <a:gd name="T13" fmla="*/ 411 h 822"/>
                <a:gd name="T14" fmla="*/ 411 w 823"/>
                <a:gd name="T15" fmla="*/ 80 h 822"/>
                <a:gd name="T16" fmla="*/ 743 w 823"/>
                <a:gd name="T17" fmla="*/ 411 h 822"/>
                <a:gd name="T18" fmla="*/ 411 w 823"/>
                <a:gd name="T19" fmla="*/ 742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3" h="822">
                  <a:moveTo>
                    <a:pt x="411" y="0"/>
                  </a:moveTo>
                  <a:cubicBezTo>
                    <a:pt x="185" y="0"/>
                    <a:pt x="0" y="184"/>
                    <a:pt x="0" y="411"/>
                  </a:cubicBezTo>
                  <a:cubicBezTo>
                    <a:pt x="0" y="638"/>
                    <a:pt x="185" y="822"/>
                    <a:pt x="411" y="822"/>
                  </a:cubicBezTo>
                  <a:cubicBezTo>
                    <a:pt x="638" y="822"/>
                    <a:pt x="823" y="638"/>
                    <a:pt x="823" y="411"/>
                  </a:cubicBezTo>
                  <a:cubicBezTo>
                    <a:pt x="823" y="184"/>
                    <a:pt x="638" y="0"/>
                    <a:pt x="411" y="0"/>
                  </a:cubicBezTo>
                  <a:close/>
                  <a:moveTo>
                    <a:pt x="411" y="742"/>
                  </a:moveTo>
                  <a:cubicBezTo>
                    <a:pt x="229" y="742"/>
                    <a:pt x="80" y="594"/>
                    <a:pt x="80" y="411"/>
                  </a:cubicBezTo>
                  <a:cubicBezTo>
                    <a:pt x="80" y="229"/>
                    <a:pt x="229" y="80"/>
                    <a:pt x="411" y="80"/>
                  </a:cubicBezTo>
                  <a:cubicBezTo>
                    <a:pt x="594" y="80"/>
                    <a:pt x="743" y="229"/>
                    <a:pt x="743" y="411"/>
                  </a:cubicBezTo>
                  <a:cubicBezTo>
                    <a:pt x="743" y="594"/>
                    <a:pt x="594" y="742"/>
                    <a:pt x="411" y="7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D70015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6" name="ZoneTexte 175"/>
          <p:cNvSpPr txBox="1"/>
          <p:nvPr/>
        </p:nvSpPr>
        <p:spPr bwMode="gray">
          <a:xfrm>
            <a:off x="621850" y="6022084"/>
            <a:ext cx="646316" cy="158285"/>
          </a:xfrm>
          <a:prstGeom prst="rect">
            <a:avLst/>
          </a:prstGeom>
          <a:noFill/>
        </p:spPr>
        <p:txBody>
          <a:bodyPr wrap="square" lIns="0" tIns="31346" rIns="62691" bIns="31346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Status legend:</a:t>
            </a:r>
          </a:p>
        </p:txBody>
      </p:sp>
      <p:grpSp>
        <p:nvGrpSpPr>
          <p:cNvPr id="9" name="Group 40"/>
          <p:cNvGrpSpPr>
            <a:grpSpLocks noChangeAspect="1"/>
          </p:cNvGrpSpPr>
          <p:nvPr/>
        </p:nvGrpSpPr>
        <p:grpSpPr bwMode="gray">
          <a:xfrm>
            <a:off x="2738834" y="6013958"/>
            <a:ext cx="275205" cy="214730"/>
            <a:chOff x="2735" y="2005"/>
            <a:chExt cx="2934" cy="2289"/>
          </a:xfrm>
          <a:solidFill>
            <a:srgbClr val="5F5F5F"/>
          </a:solidFill>
        </p:grpSpPr>
        <p:sp>
          <p:nvSpPr>
            <p:cNvPr id="178" name="Freeform 41"/>
            <p:cNvSpPr>
              <a:spLocks/>
            </p:cNvSpPr>
            <p:nvPr/>
          </p:nvSpPr>
          <p:spPr bwMode="gray">
            <a:xfrm>
              <a:off x="2735" y="2005"/>
              <a:ext cx="2934" cy="1831"/>
            </a:xfrm>
            <a:custGeom>
              <a:avLst/>
              <a:gdLst>
                <a:gd name="T0" fmla="*/ 1070 w 1242"/>
                <a:gd name="T1" fmla="*/ 318 h 775"/>
                <a:gd name="T2" fmla="*/ 834 w 1242"/>
                <a:gd name="T3" fmla="*/ 155 h 775"/>
                <a:gd name="T4" fmla="*/ 763 w 1242"/>
                <a:gd name="T5" fmla="*/ 165 h 775"/>
                <a:gd name="T6" fmla="*/ 466 w 1242"/>
                <a:gd name="T7" fmla="*/ 0 h 775"/>
                <a:gd name="T8" fmla="*/ 117 w 1242"/>
                <a:gd name="T9" fmla="*/ 341 h 775"/>
                <a:gd name="T10" fmla="*/ 0 w 1242"/>
                <a:gd name="T11" fmla="*/ 543 h 775"/>
                <a:gd name="T12" fmla="*/ 233 w 1242"/>
                <a:gd name="T13" fmla="*/ 775 h 775"/>
                <a:gd name="T14" fmla="*/ 378 w 1242"/>
                <a:gd name="T15" fmla="*/ 775 h 775"/>
                <a:gd name="T16" fmla="*/ 505 w 1242"/>
                <a:gd name="T17" fmla="*/ 426 h 775"/>
                <a:gd name="T18" fmla="*/ 854 w 1242"/>
                <a:gd name="T19" fmla="*/ 426 h 775"/>
                <a:gd name="T20" fmla="*/ 737 w 1242"/>
                <a:gd name="T21" fmla="*/ 659 h 775"/>
                <a:gd name="T22" fmla="*/ 931 w 1242"/>
                <a:gd name="T23" fmla="*/ 659 h 775"/>
                <a:gd name="T24" fmla="*/ 815 w 1242"/>
                <a:gd name="T25" fmla="*/ 775 h 775"/>
                <a:gd name="T26" fmla="*/ 1009 w 1242"/>
                <a:gd name="T27" fmla="*/ 775 h 775"/>
                <a:gd name="T28" fmla="*/ 1242 w 1242"/>
                <a:gd name="T29" fmla="*/ 543 h 775"/>
                <a:gd name="T30" fmla="*/ 1070 w 1242"/>
                <a:gd name="T31" fmla="*/ 318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2" h="775">
                  <a:moveTo>
                    <a:pt x="1070" y="318"/>
                  </a:moveTo>
                  <a:cubicBezTo>
                    <a:pt x="1034" y="223"/>
                    <a:pt x="942" y="155"/>
                    <a:pt x="834" y="155"/>
                  </a:cubicBezTo>
                  <a:cubicBezTo>
                    <a:pt x="809" y="155"/>
                    <a:pt x="785" y="158"/>
                    <a:pt x="763" y="165"/>
                  </a:cubicBezTo>
                  <a:cubicBezTo>
                    <a:pt x="701" y="66"/>
                    <a:pt x="591" y="0"/>
                    <a:pt x="466" y="0"/>
                  </a:cubicBezTo>
                  <a:cubicBezTo>
                    <a:pt x="276" y="0"/>
                    <a:pt x="121" y="152"/>
                    <a:pt x="117" y="341"/>
                  </a:cubicBezTo>
                  <a:cubicBezTo>
                    <a:pt x="47" y="381"/>
                    <a:pt x="0" y="457"/>
                    <a:pt x="0" y="543"/>
                  </a:cubicBezTo>
                  <a:cubicBezTo>
                    <a:pt x="0" y="671"/>
                    <a:pt x="105" y="775"/>
                    <a:pt x="233" y="775"/>
                  </a:cubicBezTo>
                  <a:cubicBezTo>
                    <a:pt x="378" y="775"/>
                    <a:pt x="378" y="775"/>
                    <a:pt x="378" y="775"/>
                  </a:cubicBezTo>
                  <a:cubicBezTo>
                    <a:pt x="505" y="426"/>
                    <a:pt x="505" y="426"/>
                    <a:pt x="505" y="426"/>
                  </a:cubicBezTo>
                  <a:cubicBezTo>
                    <a:pt x="854" y="426"/>
                    <a:pt x="854" y="426"/>
                    <a:pt x="854" y="426"/>
                  </a:cubicBezTo>
                  <a:cubicBezTo>
                    <a:pt x="737" y="659"/>
                    <a:pt x="737" y="659"/>
                    <a:pt x="737" y="659"/>
                  </a:cubicBezTo>
                  <a:cubicBezTo>
                    <a:pt x="931" y="659"/>
                    <a:pt x="931" y="659"/>
                    <a:pt x="931" y="659"/>
                  </a:cubicBezTo>
                  <a:cubicBezTo>
                    <a:pt x="815" y="775"/>
                    <a:pt x="815" y="775"/>
                    <a:pt x="815" y="775"/>
                  </a:cubicBezTo>
                  <a:cubicBezTo>
                    <a:pt x="1009" y="775"/>
                    <a:pt x="1009" y="775"/>
                    <a:pt x="1009" y="775"/>
                  </a:cubicBezTo>
                  <a:cubicBezTo>
                    <a:pt x="1137" y="775"/>
                    <a:pt x="1242" y="671"/>
                    <a:pt x="1242" y="543"/>
                  </a:cubicBezTo>
                  <a:cubicBezTo>
                    <a:pt x="1242" y="435"/>
                    <a:pt x="1169" y="345"/>
                    <a:pt x="1070" y="318"/>
                  </a:cubicBezTo>
                  <a:close/>
                </a:path>
              </a:pathLst>
            </a:custGeom>
            <a:solidFill>
              <a:srgbClr val="403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42"/>
            <p:cNvSpPr>
              <a:spLocks/>
            </p:cNvSpPr>
            <p:nvPr/>
          </p:nvSpPr>
          <p:spPr bwMode="gray">
            <a:xfrm>
              <a:off x="3836" y="3196"/>
              <a:ext cx="732" cy="1098"/>
            </a:xfrm>
            <a:custGeom>
              <a:avLst/>
              <a:gdLst>
                <a:gd name="T0" fmla="*/ 640 w 732"/>
                <a:gd name="T1" fmla="*/ 0 h 1098"/>
                <a:gd name="T2" fmla="*/ 248 w 732"/>
                <a:gd name="T3" fmla="*/ 0 h 1098"/>
                <a:gd name="T4" fmla="*/ 0 w 732"/>
                <a:gd name="T5" fmla="*/ 640 h 1098"/>
                <a:gd name="T6" fmla="*/ 222 w 732"/>
                <a:gd name="T7" fmla="*/ 640 h 1098"/>
                <a:gd name="T8" fmla="*/ 92 w 732"/>
                <a:gd name="T9" fmla="*/ 1098 h 1098"/>
                <a:gd name="T10" fmla="*/ 732 w 732"/>
                <a:gd name="T11" fmla="*/ 458 h 1098"/>
                <a:gd name="T12" fmla="*/ 416 w 732"/>
                <a:gd name="T13" fmla="*/ 458 h 1098"/>
                <a:gd name="T14" fmla="*/ 640 w 732"/>
                <a:gd name="T15" fmla="*/ 0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2" h="1098">
                  <a:moveTo>
                    <a:pt x="640" y="0"/>
                  </a:moveTo>
                  <a:lnTo>
                    <a:pt x="248" y="0"/>
                  </a:lnTo>
                  <a:lnTo>
                    <a:pt x="0" y="640"/>
                  </a:lnTo>
                  <a:lnTo>
                    <a:pt x="222" y="640"/>
                  </a:lnTo>
                  <a:lnTo>
                    <a:pt x="92" y="1098"/>
                  </a:lnTo>
                  <a:lnTo>
                    <a:pt x="732" y="458"/>
                  </a:lnTo>
                  <a:lnTo>
                    <a:pt x="416" y="458"/>
                  </a:lnTo>
                  <a:lnTo>
                    <a:pt x="640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7"/>
          <p:cNvGrpSpPr>
            <a:grpSpLocks noChangeAspect="1"/>
          </p:cNvGrpSpPr>
          <p:nvPr/>
        </p:nvGrpSpPr>
        <p:grpSpPr bwMode="gray">
          <a:xfrm>
            <a:off x="2217880" y="6014459"/>
            <a:ext cx="276358" cy="233324"/>
            <a:chOff x="-915" y="3953"/>
            <a:chExt cx="430" cy="363"/>
          </a:xfrm>
          <a:solidFill>
            <a:srgbClr val="FFFFFF">
              <a:lumMod val="50000"/>
            </a:srgbClr>
          </a:solidFill>
        </p:grpSpPr>
        <p:sp>
          <p:nvSpPr>
            <p:cNvPr id="181" name="Freeform 8"/>
            <p:cNvSpPr>
              <a:spLocks/>
            </p:cNvSpPr>
            <p:nvPr/>
          </p:nvSpPr>
          <p:spPr bwMode="gray">
            <a:xfrm>
              <a:off x="-659" y="4262"/>
              <a:ext cx="26" cy="54"/>
            </a:xfrm>
            <a:custGeom>
              <a:avLst/>
              <a:gdLst>
                <a:gd name="T0" fmla="*/ 38 w 77"/>
                <a:gd name="T1" fmla="*/ 0 h 155"/>
                <a:gd name="T2" fmla="*/ 0 w 77"/>
                <a:gd name="T3" fmla="*/ 39 h 155"/>
                <a:gd name="T4" fmla="*/ 0 w 77"/>
                <a:gd name="T5" fmla="*/ 116 h 155"/>
                <a:gd name="T6" fmla="*/ 38 w 77"/>
                <a:gd name="T7" fmla="*/ 155 h 155"/>
                <a:gd name="T8" fmla="*/ 77 w 77"/>
                <a:gd name="T9" fmla="*/ 116 h 155"/>
                <a:gd name="T10" fmla="*/ 77 w 77"/>
                <a:gd name="T11" fmla="*/ 39 h 155"/>
                <a:gd name="T12" fmla="*/ 38 w 77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5">
                  <a:moveTo>
                    <a:pt x="38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7" y="155"/>
                    <a:pt x="38" y="155"/>
                  </a:cubicBezTo>
                  <a:cubicBezTo>
                    <a:pt x="60" y="155"/>
                    <a:pt x="77" y="138"/>
                    <a:pt x="77" y="116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18"/>
                    <a:pt x="60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9"/>
            <p:cNvSpPr>
              <a:spLocks/>
            </p:cNvSpPr>
            <p:nvPr/>
          </p:nvSpPr>
          <p:spPr bwMode="gray">
            <a:xfrm>
              <a:off x="-767" y="4262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8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0"/>
            <p:cNvSpPr>
              <a:spLocks/>
            </p:cNvSpPr>
            <p:nvPr/>
          </p:nvSpPr>
          <p:spPr bwMode="gray">
            <a:xfrm>
              <a:off x="-606" y="4235"/>
              <a:ext cx="27" cy="54"/>
            </a:xfrm>
            <a:custGeom>
              <a:avLst/>
              <a:gdLst>
                <a:gd name="T0" fmla="*/ 39 w 77"/>
                <a:gd name="T1" fmla="*/ 0 h 155"/>
                <a:gd name="T2" fmla="*/ 0 w 77"/>
                <a:gd name="T3" fmla="*/ 39 h 155"/>
                <a:gd name="T4" fmla="*/ 0 w 77"/>
                <a:gd name="T5" fmla="*/ 116 h 155"/>
                <a:gd name="T6" fmla="*/ 39 w 77"/>
                <a:gd name="T7" fmla="*/ 155 h 155"/>
                <a:gd name="T8" fmla="*/ 77 w 77"/>
                <a:gd name="T9" fmla="*/ 116 h 155"/>
                <a:gd name="T10" fmla="*/ 77 w 77"/>
                <a:gd name="T11" fmla="*/ 39 h 155"/>
                <a:gd name="T12" fmla="*/ 39 w 77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5"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7" y="155"/>
                    <a:pt x="39" y="155"/>
                  </a:cubicBezTo>
                  <a:cubicBezTo>
                    <a:pt x="60" y="155"/>
                    <a:pt x="77" y="138"/>
                    <a:pt x="77" y="116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17"/>
                    <a:pt x="60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1"/>
            <p:cNvSpPr>
              <a:spLocks/>
            </p:cNvSpPr>
            <p:nvPr/>
          </p:nvSpPr>
          <p:spPr bwMode="gray">
            <a:xfrm>
              <a:off x="-713" y="4235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7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2"/>
            <p:cNvSpPr>
              <a:spLocks/>
            </p:cNvSpPr>
            <p:nvPr/>
          </p:nvSpPr>
          <p:spPr bwMode="gray">
            <a:xfrm>
              <a:off x="-821" y="4235"/>
              <a:ext cx="27" cy="54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39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39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17" y="155"/>
                    <a:pt x="39" y="155"/>
                  </a:cubicBezTo>
                  <a:cubicBezTo>
                    <a:pt x="60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7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3"/>
            <p:cNvSpPr>
              <a:spLocks noEditPoints="1"/>
            </p:cNvSpPr>
            <p:nvPr/>
          </p:nvSpPr>
          <p:spPr bwMode="gray">
            <a:xfrm>
              <a:off x="-915" y="3953"/>
              <a:ext cx="430" cy="269"/>
            </a:xfrm>
            <a:custGeom>
              <a:avLst/>
              <a:gdLst>
                <a:gd name="T0" fmla="*/ 1070 w 1241"/>
                <a:gd name="T1" fmla="*/ 319 h 776"/>
                <a:gd name="T2" fmla="*/ 834 w 1241"/>
                <a:gd name="T3" fmla="*/ 155 h 776"/>
                <a:gd name="T4" fmla="*/ 762 w 1241"/>
                <a:gd name="T5" fmla="*/ 166 h 776"/>
                <a:gd name="T6" fmla="*/ 465 w 1241"/>
                <a:gd name="T7" fmla="*/ 0 h 776"/>
                <a:gd name="T8" fmla="*/ 116 w 1241"/>
                <a:gd name="T9" fmla="*/ 342 h 776"/>
                <a:gd name="T10" fmla="*/ 0 w 1241"/>
                <a:gd name="T11" fmla="*/ 543 h 776"/>
                <a:gd name="T12" fmla="*/ 232 w 1241"/>
                <a:gd name="T13" fmla="*/ 776 h 776"/>
                <a:gd name="T14" fmla="*/ 1008 w 1241"/>
                <a:gd name="T15" fmla="*/ 776 h 776"/>
                <a:gd name="T16" fmla="*/ 1241 w 1241"/>
                <a:gd name="T17" fmla="*/ 543 h 776"/>
                <a:gd name="T18" fmla="*/ 1070 w 1241"/>
                <a:gd name="T19" fmla="*/ 319 h 776"/>
                <a:gd name="T20" fmla="*/ 1008 w 1241"/>
                <a:gd name="T21" fmla="*/ 698 h 776"/>
                <a:gd name="T22" fmla="*/ 232 w 1241"/>
                <a:gd name="T23" fmla="*/ 698 h 776"/>
                <a:gd name="T24" fmla="*/ 77 w 1241"/>
                <a:gd name="T25" fmla="*/ 543 h 776"/>
                <a:gd name="T26" fmla="*/ 197 w 1241"/>
                <a:gd name="T27" fmla="*/ 392 h 776"/>
                <a:gd name="T28" fmla="*/ 194 w 1241"/>
                <a:gd name="T29" fmla="*/ 349 h 776"/>
                <a:gd name="T30" fmla="*/ 465 w 1241"/>
                <a:gd name="T31" fmla="*/ 78 h 776"/>
                <a:gd name="T32" fmla="*/ 725 w 1241"/>
                <a:gd name="T33" fmla="*/ 271 h 776"/>
                <a:gd name="T34" fmla="*/ 834 w 1241"/>
                <a:gd name="T35" fmla="*/ 233 h 776"/>
                <a:gd name="T36" fmla="*/ 1007 w 1241"/>
                <a:gd name="T37" fmla="*/ 388 h 776"/>
                <a:gd name="T38" fmla="*/ 1008 w 1241"/>
                <a:gd name="T39" fmla="*/ 388 h 776"/>
                <a:gd name="T40" fmla="*/ 1163 w 1241"/>
                <a:gd name="T41" fmla="*/ 543 h 776"/>
                <a:gd name="T42" fmla="*/ 1008 w 1241"/>
                <a:gd name="T43" fmla="*/ 698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1" h="776">
                  <a:moveTo>
                    <a:pt x="1070" y="319"/>
                  </a:moveTo>
                  <a:cubicBezTo>
                    <a:pt x="1034" y="223"/>
                    <a:pt x="942" y="155"/>
                    <a:pt x="834" y="155"/>
                  </a:cubicBezTo>
                  <a:cubicBezTo>
                    <a:pt x="809" y="155"/>
                    <a:pt x="785" y="159"/>
                    <a:pt x="762" y="166"/>
                  </a:cubicBezTo>
                  <a:cubicBezTo>
                    <a:pt x="700" y="66"/>
                    <a:pt x="590" y="0"/>
                    <a:pt x="465" y="0"/>
                  </a:cubicBezTo>
                  <a:cubicBezTo>
                    <a:pt x="275" y="0"/>
                    <a:pt x="120" y="152"/>
                    <a:pt x="116" y="342"/>
                  </a:cubicBezTo>
                  <a:cubicBezTo>
                    <a:pt x="47" y="382"/>
                    <a:pt x="0" y="457"/>
                    <a:pt x="0" y="543"/>
                  </a:cubicBezTo>
                  <a:cubicBezTo>
                    <a:pt x="0" y="672"/>
                    <a:pt x="104" y="776"/>
                    <a:pt x="232" y="776"/>
                  </a:cubicBezTo>
                  <a:cubicBezTo>
                    <a:pt x="1008" y="776"/>
                    <a:pt x="1008" y="776"/>
                    <a:pt x="1008" y="776"/>
                  </a:cubicBezTo>
                  <a:cubicBezTo>
                    <a:pt x="1137" y="776"/>
                    <a:pt x="1241" y="671"/>
                    <a:pt x="1241" y="543"/>
                  </a:cubicBezTo>
                  <a:cubicBezTo>
                    <a:pt x="1241" y="436"/>
                    <a:pt x="1168" y="346"/>
                    <a:pt x="1070" y="319"/>
                  </a:cubicBezTo>
                  <a:close/>
                  <a:moveTo>
                    <a:pt x="1008" y="698"/>
                  </a:moveTo>
                  <a:cubicBezTo>
                    <a:pt x="232" y="698"/>
                    <a:pt x="232" y="698"/>
                    <a:pt x="232" y="698"/>
                  </a:cubicBezTo>
                  <a:cubicBezTo>
                    <a:pt x="147" y="698"/>
                    <a:pt x="77" y="629"/>
                    <a:pt x="77" y="543"/>
                  </a:cubicBezTo>
                  <a:cubicBezTo>
                    <a:pt x="77" y="470"/>
                    <a:pt x="128" y="408"/>
                    <a:pt x="197" y="392"/>
                  </a:cubicBezTo>
                  <a:cubicBezTo>
                    <a:pt x="195" y="378"/>
                    <a:pt x="194" y="364"/>
                    <a:pt x="194" y="349"/>
                  </a:cubicBezTo>
                  <a:cubicBezTo>
                    <a:pt x="194" y="199"/>
                    <a:pt x="315" y="78"/>
                    <a:pt x="465" y="78"/>
                  </a:cubicBezTo>
                  <a:cubicBezTo>
                    <a:pt x="588" y="78"/>
                    <a:pt x="691" y="159"/>
                    <a:pt x="725" y="271"/>
                  </a:cubicBezTo>
                  <a:cubicBezTo>
                    <a:pt x="755" y="247"/>
                    <a:pt x="793" y="233"/>
                    <a:pt x="834" y="233"/>
                  </a:cubicBezTo>
                  <a:cubicBezTo>
                    <a:pt x="923" y="233"/>
                    <a:pt x="997" y="301"/>
                    <a:pt x="1007" y="388"/>
                  </a:cubicBezTo>
                  <a:cubicBezTo>
                    <a:pt x="1008" y="388"/>
                    <a:pt x="1008" y="388"/>
                    <a:pt x="1008" y="388"/>
                  </a:cubicBezTo>
                  <a:cubicBezTo>
                    <a:pt x="1094" y="388"/>
                    <a:pt x="1163" y="457"/>
                    <a:pt x="1163" y="543"/>
                  </a:cubicBezTo>
                  <a:cubicBezTo>
                    <a:pt x="1163" y="629"/>
                    <a:pt x="1094" y="698"/>
                    <a:pt x="1008" y="6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87" name="Freeform 29"/>
          <p:cNvSpPr>
            <a:spLocks noEditPoints="1"/>
          </p:cNvSpPr>
          <p:nvPr/>
        </p:nvSpPr>
        <p:spPr bwMode="gray">
          <a:xfrm>
            <a:off x="1697488" y="6012008"/>
            <a:ext cx="275716" cy="172904"/>
          </a:xfrm>
          <a:custGeom>
            <a:avLst/>
            <a:gdLst>
              <a:gd name="T0" fmla="*/ 1070 w 1241"/>
              <a:gd name="T1" fmla="*/ 318 h 776"/>
              <a:gd name="T2" fmla="*/ 834 w 1241"/>
              <a:gd name="T3" fmla="*/ 155 h 776"/>
              <a:gd name="T4" fmla="*/ 762 w 1241"/>
              <a:gd name="T5" fmla="*/ 165 h 776"/>
              <a:gd name="T6" fmla="*/ 465 w 1241"/>
              <a:gd name="T7" fmla="*/ 0 h 776"/>
              <a:gd name="T8" fmla="*/ 116 w 1241"/>
              <a:gd name="T9" fmla="*/ 341 h 776"/>
              <a:gd name="T10" fmla="*/ 0 w 1241"/>
              <a:gd name="T11" fmla="*/ 543 h 776"/>
              <a:gd name="T12" fmla="*/ 232 w 1241"/>
              <a:gd name="T13" fmla="*/ 776 h 776"/>
              <a:gd name="T14" fmla="*/ 1008 w 1241"/>
              <a:gd name="T15" fmla="*/ 776 h 776"/>
              <a:gd name="T16" fmla="*/ 1241 w 1241"/>
              <a:gd name="T17" fmla="*/ 543 h 776"/>
              <a:gd name="T18" fmla="*/ 1070 w 1241"/>
              <a:gd name="T19" fmla="*/ 318 h 776"/>
              <a:gd name="T20" fmla="*/ 1008 w 1241"/>
              <a:gd name="T21" fmla="*/ 698 h 776"/>
              <a:gd name="T22" fmla="*/ 232 w 1241"/>
              <a:gd name="T23" fmla="*/ 698 h 776"/>
              <a:gd name="T24" fmla="*/ 77 w 1241"/>
              <a:gd name="T25" fmla="*/ 543 h 776"/>
              <a:gd name="T26" fmla="*/ 197 w 1241"/>
              <a:gd name="T27" fmla="*/ 392 h 776"/>
              <a:gd name="T28" fmla="*/ 194 w 1241"/>
              <a:gd name="T29" fmla="*/ 349 h 776"/>
              <a:gd name="T30" fmla="*/ 465 w 1241"/>
              <a:gd name="T31" fmla="*/ 77 h 776"/>
              <a:gd name="T32" fmla="*/ 725 w 1241"/>
              <a:gd name="T33" fmla="*/ 270 h 776"/>
              <a:gd name="T34" fmla="*/ 834 w 1241"/>
              <a:gd name="T35" fmla="*/ 233 h 776"/>
              <a:gd name="T36" fmla="*/ 1007 w 1241"/>
              <a:gd name="T37" fmla="*/ 388 h 776"/>
              <a:gd name="T38" fmla="*/ 1008 w 1241"/>
              <a:gd name="T39" fmla="*/ 388 h 776"/>
              <a:gd name="T40" fmla="*/ 1163 w 1241"/>
              <a:gd name="T41" fmla="*/ 543 h 776"/>
              <a:gd name="T42" fmla="*/ 1008 w 1241"/>
              <a:gd name="T43" fmla="*/ 698 h 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41" h="776">
                <a:moveTo>
                  <a:pt x="1070" y="318"/>
                </a:moveTo>
                <a:cubicBezTo>
                  <a:pt x="1034" y="223"/>
                  <a:pt x="942" y="155"/>
                  <a:pt x="834" y="155"/>
                </a:cubicBezTo>
                <a:cubicBezTo>
                  <a:pt x="809" y="155"/>
                  <a:pt x="785" y="159"/>
                  <a:pt x="762" y="165"/>
                </a:cubicBezTo>
                <a:cubicBezTo>
                  <a:pt x="700" y="66"/>
                  <a:pt x="590" y="0"/>
                  <a:pt x="465" y="0"/>
                </a:cubicBezTo>
                <a:cubicBezTo>
                  <a:pt x="275" y="0"/>
                  <a:pt x="120" y="152"/>
                  <a:pt x="116" y="341"/>
                </a:cubicBezTo>
                <a:cubicBezTo>
                  <a:pt x="47" y="382"/>
                  <a:pt x="0" y="457"/>
                  <a:pt x="0" y="543"/>
                </a:cubicBezTo>
                <a:cubicBezTo>
                  <a:pt x="0" y="671"/>
                  <a:pt x="104" y="776"/>
                  <a:pt x="232" y="776"/>
                </a:cubicBezTo>
                <a:cubicBezTo>
                  <a:pt x="1008" y="776"/>
                  <a:pt x="1008" y="776"/>
                  <a:pt x="1008" y="776"/>
                </a:cubicBezTo>
                <a:cubicBezTo>
                  <a:pt x="1137" y="776"/>
                  <a:pt x="1241" y="671"/>
                  <a:pt x="1241" y="543"/>
                </a:cubicBezTo>
                <a:cubicBezTo>
                  <a:pt x="1241" y="436"/>
                  <a:pt x="1168" y="345"/>
                  <a:pt x="1070" y="318"/>
                </a:cubicBezTo>
                <a:close/>
                <a:moveTo>
                  <a:pt x="1008" y="698"/>
                </a:moveTo>
                <a:cubicBezTo>
                  <a:pt x="232" y="698"/>
                  <a:pt x="232" y="698"/>
                  <a:pt x="232" y="698"/>
                </a:cubicBezTo>
                <a:cubicBezTo>
                  <a:pt x="147" y="698"/>
                  <a:pt x="77" y="629"/>
                  <a:pt x="77" y="543"/>
                </a:cubicBezTo>
                <a:cubicBezTo>
                  <a:pt x="77" y="469"/>
                  <a:pt x="128" y="408"/>
                  <a:pt x="197" y="392"/>
                </a:cubicBezTo>
                <a:cubicBezTo>
                  <a:pt x="195" y="378"/>
                  <a:pt x="194" y="364"/>
                  <a:pt x="194" y="349"/>
                </a:cubicBezTo>
                <a:cubicBezTo>
                  <a:pt x="194" y="199"/>
                  <a:pt x="315" y="77"/>
                  <a:pt x="465" y="77"/>
                </a:cubicBezTo>
                <a:cubicBezTo>
                  <a:pt x="588" y="77"/>
                  <a:pt x="691" y="159"/>
                  <a:pt x="725" y="270"/>
                </a:cubicBezTo>
                <a:cubicBezTo>
                  <a:pt x="755" y="247"/>
                  <a:pt x="793" y="233"/>
                  <a:pt x="834" y="233"/>
                </a:cubicBezTo>
                <a:cubicBezTo>
                  <a:pt x="923" y="233"/>
                  <a:pt x="997" y="300"/>
                  <a:pt x="1007" y="388"/>
                </a:cubicBezTo>
                <a:cubicBezTo>
                  <a:pt x="1008" y="388"/>
                  <a:pt x="1008" y="388"/>
                  <a:pt x="1008" y="388"/>
                </a:cubicBezTo>
                <a:cubicBezTo>
                  <a:pt x="1094" y="388"/>
                  <a:pt x="1163" y="457"/>
                  <a:pt x="1163" y="543"/>
                </a:cubicBezTo>
                <a:cubicBezTo>
                  <a:pt x="1163" y="628"/>
                  <a:pt x="1094" y="698"/>
                  <a:pt x="1008" y="698"/>
                </a:cubicBezTo>
                <a:close/>
              </a:path>
            </a:pathLst>
          </a:custGeom>
          <a:solidFill>
            <a:srgbClr val="0086CD"/>
          </a:solidFill>
          <a:ln>
            <a:noFill/>
          </a:ln>
        </p:spPr>
        <p:txBody>
          <a:bodyPr vert="horz" wrap="square" lIns="62691" tIns="31346" rIns="62691" bIns="3134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1" name="Group 16"/>
          <p:cNvGrpSpPr>
            <a:grpSpLocks noChangeAspect="1"/>
          </p:cNvGrpSpPr>
          <p:nvPr/>
        </p:nvGrpSpPr>
        <p:grpSpPr bwMode="gray">
          <a:xfrm>
            <a:off x="1268166" y="6006360"/>
            <a:ext cx="197241" cy="197264"/>
            <a:chOff x="-821" y="4479"/>
            <a:chExt cx="295" cy="295"/>
          </a:xfrm>
          <a:solidFill>
            <a:srgbClr val="FFC000"/>
          </a:solidFill>
        </p:grpSpPr>
        <p:sp>
          <p:nvSpPr>
            <p:cNvPr id="189" name="Freeform 17"/>
            <p:cNvSpPr>
              <a:spLocks/>
            </p:cNvSpPr>
            <p:nvPr/>
          </p:nvSpPr>
          <p:spPr bwMode="gray">
            <a:xfrm>
              <a:off x="-784" y="4517"/>
              <a:ext cx="49" cy="49"/>
            </a:xfrm>
            <a:custGeom>
              <a:avLst/>
              <a:gdLst>
                <a:gd name="T0" fmla="*/ 70 w 140"/>
                <a:gd name="T1" fmla="*/ 124 h 140"/>
                <a:gd name="T2" fmla="*/ 125 w 140"/>
                <a:gd name="T3" fmla="*/ 125 h 140"/>
                <a:gd name="T4" fmla="*/ 125 w 140"/>
                <a:gd name="T5" fmla="*/ 70 h 140"/>
                <a:gd name="T6" fmla="*/ 71 w 140"/>
                <a:gd name="T7" fmla="*/ 15 h 140"/>
                <a:gd name="T8" fmla="*/ 16 w 140"/>
                <a:gd name="T9" fmla="*/ 15 h 140"/>
                <a:gd name="T10" fmla="*/ 16 w 140"/>
                <a:gd name="T11" fmla="*/ 70 h 140"/>
                <a:gd name="T12" fmla="*/ 70 w 140"/>
                <a:gd name="T13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24"/>
                  </a:moveTo>
                  <a:cubicBezTo>
                    <a:pt x="85" y="140"/>
                    <a:pt x="110" y="140"/>
                    <a:pt x="125" y="125"/>
                  </a:cubicBezTo>
                  <a:cubicBezTo>
                    <a:pt x="140" y="110"/>
                    <a:pt x="140" y="85"/>
                    <a:pt x="125" y="70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55" y="0"/>
                    <a:pt x="31" y="0"/>
                    <a:pt x="16" y="15"/>
                  </a:cubicBezTo>
                  <a:cubicBezTo>
                    <a:pt x="0" y="30"/>
                    <a:pt x="0" y="55"/>
                    <a:pt x="16" y="70"/>
                  </a:cubicBezTo>
                  <a:lnTo>
                    <a:pt x="70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18"/>
            <p:cNvSpPr>
              <a:spLocks/>
            </p:cNvSpPr>
            <p:nvPr/>
          </p:nvSpPr>
          <p:spPr bwMode="gray">
            <a:xfrm>
              <a:off x="-580" y="4613"/>
              <a:ext cx="54" cy="27"/>
            </a:xfrm>
            <a:custGeom>
              <a:avLst/>
              <a:gdLst>
                <a:gd name="T0" fmla="*/ 116 w 155"/>
                <a:gd name="T1" fmla="*/ 0 h 78"/>
                <a:gd name="T2" fmla="*/ 39 w 155"/>
                <a:gd name="T3" fmla="*/ 0 h 78"/>
                <a:gd name="T4" fmla="*/ 0 w 155"/>
                <a:gd name="T5" fmla="*/ 39 h 78"/>
                <a:gd name="T6" fmla="*/ 39 w 155"/>
                <a:gd name="T7" fmla="*/ 78 h 78"/>
                <a:gd name="T8" fmla="*/ 116 w 155"/>
                <a:gd name="T9" fmla="*/ 78 h 78"/>
                <a:gd name="T10" fmla="*/ 155 w 155"/>
                <a:gd name="T11" fmla="*/ 39 h 78"/>
                <a:gd name="T12" fmla="*/ 116 w 155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78">
                  <a:moveTo>
                    <a:pt x="1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38" y="78"/>
                    <a:pt x="155" y="60"/>
                    <a:pt x="155" y="39"/>
                  </a:cubicBezTo>
                  <a:cubicBezTo>
                    <a:pt x="155" y="17"/>
                    <a:pt x="138" y="0"/>
                    <a:pt x="1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9"/>
            <p:cNvSpPr>
              <a:spLocks/>
            </p:cNvSpPr>
            <p:nvPr/>
          </p:nvSpPr>
          <p:spPr bwMode="gray">
            <a:xfrm>
              <a:off x="-821" y="4613"/>
              <a:ext cx="53" cy="27"/>
            </a:xfrm>
            <a:custGeom>
              <a:avLst/>
              <a:gdLst>
                <a:gd name="T0" fmla="*/ 155 w 155"/>
                <a:gd name="T1" fmla="*/ 39 h 78"/>
                <a:gd name="T2" fmla="*/ 116 w 155"/>
                <a:gd name="T3" fmla="*/ 0 h 78"/>
                <a:gd name="T4" fmla="*/ 39 w 155"/>
                <a:gd name="T5" fmla="*/ 0 h 78"/>
                <a:gd name="T6" fmla="*/ 0 w 155"/>
                <a:gd name="T7" fmla="*/ 39 h 78"/>
                <a:gd name="T8" fmla="*/ 39 w 155"/>
                <a:gd name="T9" fmla="*/ 78 h 78"/>
                <a:gd name="T10" fmla="*/ 116 w 155"/>
                <a:gd name="T11" fmla="*/ 78 h 78"/>
                <a:gd name="T12" fmla="*/ 155 w 155"/>
                <a:gd name="T13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78">
                  <a:moveTo>
                    <a:pt x="155" y="39"/>
                  </a:moveTo>
                  <a:cubicBezTo>
                    <a:pt x="155" y="17"/>
                    <a:pt x="137" y="0"/>
                    <a:pt x="1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37" y="78"/>
                    <a:pt x="155" y="60"/>
                    <a:pt x="155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20"/>
            <p:cNvSpPr>
              <a:spLocks noEditPoints="1"/>
            </p:cNvSpPr>
            <p:nvPr/>
          </p:nvSpPr>
          <p:spPr bwMode="gray">
            <a:xfrm>
              <a:off x="-754" y="4546"/>
              <a:ext cx="161" cy="161"/>
            </a:xfrm>
            <a:custGeom>
              <a:avLst/>
              <a:gdLst>
                <a:gd name="T0" fmla="*/ 232 w 465"/>
                <a:gd name="T1" fmla="*/ 0 h 465"/>
                <a:gd name="T2" fmla="*/ 0 w 465"/>
                <a:gd name="T3" fmla="*/ 233 h 465"/>
                <a:gd name="T4" fmla="*/ 232 w 465"/>
                <a:gd name="T5" fmla="*/ 465 h 465"/>
                <a:gd name="T6" fmla="*/ 465 w 465"/>
                <a:gd name="T7" fmla="*/ 233 h 465"/>
                <a:gd name="T8" fmla="*/ 232 w 465"/>
                <a:gd name="T9" fmla="*/ 0 h 465"/>
                <a:gd name="T10" fmla="*/ 232 w 465"/>
                <a:gd name="T11" fmla="*/ 388 h 465"/>
                <a:gd name="T12" fmla="*/ 77 w 465"/>
                <a:gd name="T13" fmla="*/ 233 h 465"/>
                <a:gd name="T14" fmla="*/ 232 w 465"/>
                <a:gd name="T15" fmla="*/ 77 h 465"/>
                <a:gd name="T16" fmla="*/ 387 w 465"/>
                <a:gd name="T17" fmla="*/ 233 h 465"/>
                <a:gd name="T18" fmla="*/ 232 w 465"/>
                <a:gd name="T19" fmla="*/ 388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5" h="465">
                  <a:moveTo>
                    <a:pt x="232" y="0"/>
                  </a:moveTo>
                  <a:cubicBezTo>
                    <a:pt x="104" y="0"/>
                    <a:pt x="0" y="104"/>
                    <a:pt x="0" y="233"/>
                  </a:cubicBezTo>
                  <a:cubicBezTo>
                    <a:pt x="0" y="361"/>
                    <a:pt x="104" y="465"/>
                    <a:pt x="232" y="465"/>
                  </a:cubicBezTo>
                  <a:cubicBezTo>
                    <a:pt x="361" y="465"/>
                    <a:pt x="465" y="361"/>
                    <a:pt x="465" y="233"/>
                  </a:cubicBezTo>
                  <a:cubicBezTo>
                    <a:pt x="465" y="104"/>
                    <a:pt x="361" y="0"/>
                    <a:pt x="232" y="0"/>
                  </a:cubicBezTo>
                  <a:close/>
                  <a:moveTo>
                    <a:pt x="232" y="388"/>
                  </a:moveTo>
                  <a:cubicBezTo>
                    <a:pt x="147" y="388"/>
                    <a:pt x="77" y="318"/>
                    <a:pt x="77" y="233"/>
                  </a:cubicBezTo>
                  <a:cubicBezTo>
                    <a:pt x="77" y="147"/>
                    <a:pt x="147" y="77"/>
                    <a:pt x="232" y="77"/>
                  </a:cubicBezTo>
                  <a:cubicBezTo>
                    <a:pt x="318" y="77"/>
                    <a:pt x="387" y="147"/>
                    <a:pt x="387" y="233"/>
                  </a:cubicBezTo>
                  <a:cubicBezTo>
                    <a:pt x="387" y="318"/>
                    <a:pt x="318" y="388"/>
                    <a:pt x="232" y="3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21"/>
            <p:cNvSpPr>
              <a:spLocks/>
            </p:cNvSpPr>
            <p:nvPr/>
          </p:nvSpPr>
          <p:spPr bwMode="gray">
            <a:xfrm>
              <a:off x="-784" y="4688"/>
              <a:ext cx="49" cy="49"/>
            </a:xfrm>
            <a:custGeom>
              <a:avLst/>
              <a:gdLst>
                <a:gd name="T0" fmla="*/ 70 w 140"/>
                <a:gd name="T1" fmla="*/ 15 h 140"/>
                <a:gd name="T2" fmla="*/ 16 w 140"/>
                <a:gd name="T3" fmla="*/ 69 h 140"/>
                <a:gd name="T4" fmla="*/ 16 w 140"/>
                <a:gd name="T5" fmla="*/ 124 h 140"/>
                <a:gd name="T6" fmla="*/ 71 w 140"/>
                <a:gd name="T7" fmla="*/ 124 h 140"/>
                <a:gd name="T8" fmla="*/ 125 w 140"/>
                <a:gd name="T9" fmla="*/ 70 h 140"/>
                <a:gd name="T10" fmla="*/ 125 w 140"/>
                <a:gd name="T11" fmla="*/ 15 h 140"/>
                <a:gd name="T12" fmla="*/ 70 w 140"/>
                <a:gd name="T13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5"/>
                  </a:moveTo>
                  <a:cubicBezTo>
                    <a:pt x="16" y="69"/>
                    <a:pt x="16" y="69"/>
                    <a:pt x="16" y="69"/>
                  </a:cubicBezTo>
                  <a:cubicBezTo>
                    <a:pt x="0" y="85"/>
                    <a:pt x="0" y="109"/>
                    <a:pt x="16" y="124"/>
                  </a:cubicBezTo>
                  <a:cubicBezTo>
                    <a:pt x="31" y="140"/>
                    <a:pt x="55" y="140"/>
                    <a:pt x="71" y="124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40" y="55"/>
                    <a:pt x="140" y="30"/>
                    <a:pt x="125" y="15"/>
                  </a:cubicBezTo>
                  <a:cubicBezTo>
                    <a:pt x="110" y="0"/>
                    <a:pt x="86" y="0"/>
                    <a:pt x="7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Freeform 22"/>
            <p:cNvSpPr>
              <a:spLocks/>
            </p:cNvSpPr>
            <p:nvPr/>
          </p:nvSpPr>
          <p:spPr bwMode="gray">
            <a:xfrm>
              <a:off x="-613" y="4517"/>
              <a:ext cx="49" cy="49"/>
            </a:xfrm>
            <a:custGeom>
              <a:avLst/>
              <a:gdLst>
                <a:gd name="T0" fmla="*/ 70 w 140"/>
                <a:gd name="T1" fmla="*/ 124 h 140"/>
                <a:gd name="T2" fmla="*/ 125 w 140"/>
                <a:gd name="T3" fmla="*/ 70 h 140"/>
                <a:gd name="T4" fmla="*/ 125 w 140"/>
                <a:gd name="T5" fmla="*/ 15 h 140"/>
                <a:gd name="T6" fmla="*/ 70 w 140"/>
                <a:gd name="T7" fmla="*/ 15 h 140"/>
                <a:gd name="T8" fmla="*/ 16 w 140"/>
                <a:gd name="T9" fmla="*/ 70 h 140"/>
                <a:gd name="T10" fmla="*/ 15 w 140"/>
                <a:gd name="T11" fmla="*/ 125 h 140"/>
                <a:gd name="T12" fmla="*/ 70 w 140"/>
                <a:gd name="T13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24"/>
                  </a:moveTo>
                  <a:cubicBezTo>
                    <a:pt x="125" y="70"/>
                    <a:pt x="125" y="70"/>
                    <a:pt x="125" y="70"/>
                  </a:cubicBezTo>
                  <a:cubicBezTo>
                    <a:pt x="140" y="55"/>
                    <a:pt x="140" y="30"/>
                    <a:pt x="125" y="15"/>
                  </a:cubicBezTo>
                  <a:cubicBezTo>
                    <a:pt x="110" y="0"/>
                    <a:pt x="85" y="0"/>
                    <a:pt x="70" y="15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0" y="85"/>
                    <a:pt x="0" y="109"/>
                    <a:pt x="15" y="125"/>
                  </a:cubicBezTo>
                  <a:cubicBezTo>
                    <a:pt x="31" y="140"/>
                    <a:pt x="55" y="140"/>
                    <a:pt x="7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23"/>
            <p:cNvSpPr>
              <a:spLocks/>
            </p:cNvSpPr>
            <p:nvPr/>
          </p:nvSpPr>
          <p:spPr bwMode="gray">
            <a:xfrm>
              <a:off x="-687" y="4721"/>
              <a:ext cx="27" cy="53"/>
            </a:xfrm>
            <a:custGeom>
              <a:avLst/>
              <a:gdLst>
                <a:gd name="T0" fmla="*/ 39 w 78"/>
                <a:gd name="T1" fmla="*/ 0 h 155"/>
                <a:gd name="T2" fmla="*/ 0 w 78"/>
                <a:gd name="T3" fmla="*/ 40 h 155"/>
                <a:gd name="T4" fmla="*/ 0 w 78"/>
                <a:gd name="T5" fmla="*/ 116 h 155"/>
                <a:gd name="T6" fmla="*/ 39 w 78"/>
                <a:gd name="T7" fmla="*/ 155 h 155"/>
                <a:gd name="T8" fmla="*/ 78 w 78"/>
                <a:gd name="T9" fmla="*/ 116 h 155"/>
                <a:gd name="T10" fmla="*/ 78 w 78"/>
                <a:gd name="T11" fmla="*/ 40 h 155"/>
                <a:gd name="T12" fmla="*/ 39 w 78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ubicBezTo>
                    <a:pt x="61" y="155"/>
                    <a:pt x="78" y="138"/>
                    <a:pt x="78" y="116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18"/>
                    <a:pt x="61" y="0"/>
                    <a:pt x="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24"/>
            <p:cNvSpPr>
              <a:spLocks/>
            </p:cNvSpPr>
            <p:nvPr/>
          </p:nvSpPr>
          <p:spPr bwMode="gray">
            <a:xfrm>
              <a:off x="-613" y="4688"/>
              <a:ext cx="49" cy="49"/>
            </a:xfrm>
            <a:custGeom>
              <a:avLst/>
              <a:gdLst>
                <a:gd name="T0" fmla="*/ 70 w 140"/>
                <a:gd name="T1" fmla="*/ 15 h 140"/>
                <a:gd name="T2" fmla="*/ 15 w 140"/>
                <a:gd name="T3" fmla="*/ 15 h 140"/>
                <a:gd name="T4" fmla="*/ 16 w 140"/>
                <a:gd name="T5" fmla="*/ 70 h 140"/>
                <a:gd name="T6" fmla="*/ 70 w 140"/>
                <a:gd name="T7" fmla="*/ 124 h 140"/>
                <a:gd name="T8" fmla="*/ 125 w 140"/>
                <a:gd name="T9" fmla="*/ 124 h 140"/>
                <a:gd name="T10" fmla="*/ 125 w 140"/>
                <a:gd name="T11" fmla="*/ 69 h 140"/>
                <a:gd name="T12" fmla="*/ 70 w 140"/>
                <a:gd name="T13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40">
                  <a:moveTo>
                    <a:pt x="70" y="15"/>
                  </a:moveTo>
                  <a:cubicBezTo>
                    <a:pt x="55" y="0"/>
                    <a:pt x="31" y="0"/>
                    <a:pt x="15" y="15"/>
                  </a:cubicBezTo>
                  <a:cubicBezTo>
                    <a:pt x="0" y="30"/>
                    <a:pt x="0" y="54"/>
                    <a:pt x="16" y="70"/>
                  </a:cubicBezTo>
                  <a:cubicBezTo>
                    <a:pt x="70" y="124"/>
                    <a:pt x="70" y="124"/>
                    <a:pt x="70" y="124"/>
                  </a:cubicBezTo>
                  <a:cubicBezTo>
                    <a:pt x="85" y="140"/>
                    <a:pt x="110" y="140"/>
                    <a:pt x="125" y="124"/>
                  </a:cubicBezTo>
                  <a:cubicBezTo>
                    <a:pt x="140" y="109"/>
                    <a:pt x="140" y="85"/>
                    <a:pt x="125" y="69"/>
                  </a:cubicBezTo>
                  <a:lnTo>
                    <a:pt x="7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25"/>
            <p:cNvSpPr>
              <a:spLocks/>
            </p:cNvSpPr>
            <p:nvPr/>
          </p:nvSpPr>
          <p:spPr bwMode="gray">
            <a:xfrm>
              <a:off x="-687" y="4479"/>
              <a:ext cx="27" cy="54"/>
            </a:xfrm>
            <a:custGeom>
              <a:avLst/>
              <a:gdLst>
                <a:gd name="T0" fmla="*/ 39 w 78"/>
                <a:gd name="T1" fmla="*/ 155 h 155"/>
                <a:gd name="T2" fmla="*/ 78 w 78"/>
                <a:gd name="T3" fmla="*/ 116 h 155"/>
                <a:gd name="T4" fmla="*/ 78 w 78"/>
                <a:gd name="T5" fmla="*/ 39 h 155"/>
                <a:gd name="T6" fmla="*/ 39 w 78"/>
                <a:gd name="T7" fmla="*/ 0 h 155"/>
                <a:gd name="T8" fmla="*/ 0 w 78"/>
                <a:gd name="T9" fmla="*/ 39 h 155"/>
                <a:gd name="T10" fmla="*/ 0 w 78"/>
                <a:gd name="T11" fmla="*/ 116 h 155"/>
                <a:gd name="T12" fmla="*/ 39 w 78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5">
                  <a:moveTo>
                    <a:pt x="39" y="155"/>
                  </a:moveTo>
                  <a:cubicBezTo>
                    <a:pt x="61" y="155"/>
                    <a:pt x="78" y="138"/>
                    <a:pt x="78" y="116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18"/>
                    <a:pt x="61" y="0"/>
                    <a:pt x="39" y="0"/>
                  </a:cubicBezTo>
                  <a:cubicBezTo>
                    <a:pt x="18" y="0"/>
                    <a:pt x="0" y="17"/>
                    <a:pt x="0" y="3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8"/>
                    <a:pt x="18" y="155"/>
                    <a:pt x="39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ESENTING PEOPLE</a:t>
            </a:r>
          </a:p>
        </p:txBody>
      </p:sp>
      <p:sp>
        <p:nvSpPr>
          <p:cNvPr id="51" name="Espace réservé de la date 5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3" name="Espace réservé du pied de page 5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2" name="Espace réservé du numéro de diapositive 5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9</a:t>
            </a:fld>
            <a:endParaRPr lang="fr-FR" dirty="0"/>
          </a:p>
        </p:txBody>
      </p:sp>
      <p:grpSp>
        <p:nvGrpSpPr>
          <p:cNvPr id="54" name="Groupe 53">
            <a:extLst>
              <a:ext uri="{FF2B5EF4-FFF2-40B4-BE49-F238E27FC236}">
                <a16:creationId xmlns:a16="http://schemas.microsoft.com/office/drawing/2014/main" xmlns="" id="{CFBA6FFB-BE07-4F63-B7C9-74F0E1E2A613}"/>
              </a:ext>
            </a:extLst>
          </p:cNvPr>
          <p:cNvGrpSpPr/>
          <p:nvPr/>
        </p:nvGrpSpPr>
        <p:grpSpPr>
          <a:xfrm>
            <a:off x="2123728" y="2204864"/>
            <a:ext cx="1889475" cy="2703753"/>
            <a:chOff x="3527932" y="1078807"/>
            <a:chExt cx="2092415" cy="2994152"/>
          </a:xfrm>
        </p:grpSpPr>
        <p:grpSp>
          <p:nvGrpSpPr>
            <p:cNvPr id="55" name="Groupe 54">
              <a:extLst>
                <a:ext uri="{FF2B5EF4-FFF2-40B4-BE49-F238E27FC236}">
                  <a16:creationId xmlns:a16="http://schemas.microsoft.com/office/drawing/2014/main" xmlns="" id="{E5D81C8A-870A-49F5-819A-A32529C33AB1}"/>
                </a:ext>
              </a:extLst>
            </p:cNvPr>
            <p:cNvGrpSpPr/>
            <p:nvPr/>
          </p:nvGrpSpPr>
          <p:grpSpPr>
            <a:xfrm>
              <a:off x="3527932" y="1078807"/>
              <a:ext cx="2092415" cy="2462100"/>
              <a:chOff x="3529123" y="1078807"/>
              <a:chExt cx="2092415" cy="2462100"/>
            </a:xfrm>
          </p:grpSpPr>
          <p:sp>
            <p:nvSpPr>
              <p:cNvPr id="57" name="Rectangle : avec coins supérieurs arrondis 56">
                <a:extLst>
                  <a:ext uri="{FF2B5EF4-FFF2-40B4-BE49-F238E27FC236}">
                    <a16:creationId xmlns:a16="http://schemas.microsoft.com/office/drawing/2014/main" xmlns="" id="{4F04CF01-FD04-41C1-83F4-ABFFD58CCB3C}"/>
                  </a:ext>
                </a:extLst>
              </p:cNvPr>
              <p:cNvSpPr/>
              <p:nvPr/>
            </p:nvSpPr>
            <p:spPr>
              <a:xfrm>
                <a:off x="3529123" y="1078807"/>
                <a:ext cx="2089455" cy="2321618"/>
              </a:xfrm>
              <a:prstGeom prst="round2SameRect">
                <a:avLst>
                  <a:gd name="adj1" fmla="val 28079"/>
                  <a:gd name="adj2" fmla="val 0"/>
                </a:avLst>
              </a:prstGeom>
              <a:blipFill dpi="0" rotWithShape="1">
                <a:blip r:embed="rId2"/>
                <a:srcRect/>
                <a:stretch>
                  <a:fillRect l="-3809" r="-3745" b="-6080"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xmlns="" id="{2801255B-1887-4DE5-BC48-2FFEDFF8670B}"/>
                  </a:ext>
                </a:extLst>
              </p:cNvPr>
              <p:cNvSpPr/>
              <p:nvPr/>
            </p:nvSpPr>
            <p:spPr>
              <a:xfrm>
                <a:off x="3530391" y="3400983"/>
                <a:ext cx="2091147" cy="1399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56" name="ZoneTexte 55">
              <a:extLst>
                <a:ext uri="{FF2B5EF4-FFF2-40B4-BE49-F238E27FC236}">
                  <a16:creationId xmlns:a16="http://schemas.microsoft.com/office/drawing/2014/main" xmlns="" id="{A373C067-BAF2-4115-BFB3-CF16362A21A4}"/>
                </a:ext>
              </a:extLst>
            </p:cNvPr>
            <p:cNvSpPr txBox="1"/>
            <p:nvPr/>
          </p:nvSpPr>
          <p:spPr>
            <a:xfrm>
              <a:off x="3822104" y="3689537"/>
              <a:ext cx="1499798" cy="38342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</p:spPr>
          <p:txBody>
            <a:bodyPr wrap="none" tIns="0" bIns="0" rtlCol="0" anchor="ctr" anchorCtr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</a:rPr>
                <a:t>Person n°1</a:t>
              </a:r>
            </a:p>
          </p:txBody>
        </p:sp>
      </p:grpSp>
      <p:grpSp>
        <p:nvGrpSpPr>
          <p:cNvPr id="59" name="Groupe 58">
            <a:extLst>
              <a:ext uri="{FF2B5EF4-FFF2-40B4-BE49-F238E27FC236}">
                <a16:creationId xmlns:a16="http://schemas.microsoft.com/office/drawing/2014/main" xmlns="" id="{9E2D4431-5916-46CD-B91A-86783E800B83}"/>
              </a:ext>
            </a:extLst>
          </p:cNvPr>
          <p:cNvGrpSpPr/>
          <p:nvPr/>
        </p:nvGrpSpPr>
        <p:grpSpPr>
          <a:xfrm>
            <a:off x="5132391" y="2204864"/>
            <a:ext cx="1888039" cy="2703753"/>
            <a:chOff x="3526562" y="1078807"/>
            <a:chExt cx="2090825" cy="2994152"/>
          </a:xfrm>
        </p:grpSpPr>
        <p:grpSp>
          <p:nvGrpSpPr>
            <p:cNvPr id="60" name="Groupe 59">
              <a:extLst>
                <a:ext uri="{FF2B5EF4-FFF2-40B4-BE49-F238E27FC236}">
                  <a16:creationId xmlns:a16="http://schemas.microsoft.com/office/drawing/2014/main" xmlns="" id="{47C2DB91-756D-47E3-B988-90199FBEF779}"/>
                </a:ext>
              </a:extLst>
            </p:cNvPr>
            <p:cNvGrpSpPr/>
            <p:nvPr/>
          </p:nvGrpSpPr>
          <p:grpSpPr>
            <a:xfrm>
              <a:off x="3526562" y="1078807"/>
              <a:ext cx="2090825" cy="2462100"/>
              <a:chOff x="3527753" y="1078807"/>
              <a:chExt cx="2090825" cy="2462100"/>
            </a:xfrm>
          </p:grpSpPr>
          <p:sp>
            <p:nvSpPr>
              <p:cNvPr id="62" name="Rectangle : avec coins supérieurs arrondis 61">
                <a:extLst>
                  <a:ext uri="{FF2B5EF4-FFF2-40B4-BE49-F238E27FC236}">
                    <a16:creationId xmlns:a16="http://schemas.microsoft.com/office/drawing/2014/main" xmlns="" id="{AF153C1E-4504-4723-8782-CAFF2F7C0783}"/>
                  </a:ext>
                </a:extLst>
              </p:cNvPr>
              <p:cNvSpPr/>
              <p:nvPr/>
            </p:nvSpPr>
            <p:spPr>
              <a:xfrm>
                <a:off x="3529123" y="1078807"/>
                <a:ext cx="2089455" cy="2321618"/>
              </a:xfrm>
              <a:prstGeom prst="round2SameRect">
                <a:avLst>
                  <a:gd name="adj1" fmla="val 28079"/>
                  <a:gd name="adj2" fmla="val 0"/>
                </a:avLst>
              </a:prstGeom>
              <a:blipFill dpi="0" rotWithShape="1">
                <a:blip r:embed="rId2"/>
                <a:srcRect/>
                <a:stretch>
                  <a:fillRect l="-2849" r="-4583" b="-5960"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xmlns="" id="{299A8790-659B-4CFC-952B-2C7F426AEEB8}"/>
                  </a:ext>
                </a:extLst>
              </p:cNvPr>
              <p:cNvSpPr/>
              <p:nvPr/>
            </p:nvSpPr>
            <p:spPr>
              <a:xfrm>
                <a:off x="3527753" y="3400983"/>
                <a:ext cx="2088511" cy="13992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xmlns="" id="{4CCB8702-1A79-491A-93CB-7E2EF9E749CC}"/>
                </a:ext>
              </a:extLst>
            </p:cNvPr>
            <p:cNvSpPr txBox="1"/>
            <p:nvPr/>
          </p:nvSpPr>
          <p:spPr>
            <a:xfrm>
              <a:off x="3822104" y="3689537"/>
              <a:ext cx="1499798" cy="38342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tIns="0" bIns="0" rtlCol="0" anchor="ctr" anchorCtr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</a:rPr>
                <a:t>Person n°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750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ce réservé pour une image  14" descr="5.jpg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/>
          <a:srcRect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42DD375-B384-4AF8-8970-9B9DCB0D0C1E}"/>
              </a:ext>
            </a:extLst>
          </p:cNvPr>
          <p:cNvSpPr/>
          <p:nvPr/>
        </p:nvSpPr>
        <p:spPr>
          <a:xfrm>
            <a:off x="1835696" y="1988840"/>
            <a:ext cx="5472608" cy="34563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/>
              <a:t>CONTENT HE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ESENTATION ON COMPUTER</a:t>
            </a:r>
          </a:p>
        </p:txBody>
      </p:sp>
      <p:sp>
        <p:nvSpPr>
          <p:cNvPr id="51" name="Espace réservé de la date 5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3" name="Espace réservé du pied de page 5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2" name="Espace réservé du numéro de diapositive 5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0</a:t>
            </a:fld>
            <a:endParaRPr lang="fr-FR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83B04A05-8E97-4ACD-B121-69CBE23466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98" y="1628800"/>
            <a:ext cx="7518402" cy="440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709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8" name="Espace réservé pour une image  27" descr="5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l="123" r="123"/>
          <a:stretch>
            <a:fillRect/>
          </a:stretch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47227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8" name="Espace réservé pour une image  27" descr="5.jpg"/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2" cstate="screen"/>
          <a:srcRect l="128" r="128"/>
          <a:stretch/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344033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portable, intérieur, ordinateur, assis&#10;&#10;Description générée avec un niveau de confiance élevé">
            <a:extLst>
              <a:ext uri="{FF2B5EF4-FFF2-40B4-BE49-F238E27FC236}">
                <a16:creationId xmlns:a16="http://schemas.microsoft.com/office/drawing/2014/main" xmlns="" id="{A328839C-C0DF-43DA-B2C7-D2250915F034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5" r="7675"/>
          <a:stretch>
            <a:fillRect/>
          </a:stretch>
        </p:blipFill>
        <p:spPr/>
      </p:pic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42457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ENARIOS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6" name="Espace réservé du pied de page 2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5" name="Espace réservé du numéro de diapositive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4</a:t>
            </a:fld>
            <a:endParaRPr lang="fr-FR" dirty="0"/>
          </a:p>
        </p:txBody>
      </p:sp>
      <p:graphicFrame>
        <p:nvGraphicFramePr>
          <p:cNvPr id="51" name="Tableau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279235"/>
              </p:ext>
            </p:extLst>
          </p:nvPr>
        </p:nvGraphicFramePr>
        <p:xfrm>
          <a:off x="2295087" y="1351665"/>
          <a:ext cx="6144261" cy="4194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68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291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291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291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048711"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48711"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2"/>
                          </a:solidFill>
                        </a:rPr>
                        <a:t>IRREALISTE</a:t>
                      </a: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48711"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chemeClr val="bg2"/>
                          </a:solidFill>
                        </a:rPr>
                        <a:t>NO RELEVANT</a:t>
                      </a: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8711"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31351" marB="31351" anchor="ctr">
                    <a:lnL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2" name="Rectangle 7"/>
          <p:cNvSpPr/>
          <p:nvPr/>
        </p:nvSpPr>
        <p:spPr bwMode="gray">
          <a:xfrm>
            <a:off x="2184065" y="1355507"/>
            <a:ext cx="6252010" cy="4275909"/>
          </a:xfrm>
          <a:custGeom>
            <a:avLst/>
            <a:gdLst>
              <a:gd name="connsiteX0" fmla="*/ 0 w 9118600"/>
              <a:gd name="connsiteY0" fmla="*/ 0 h 6908800"/>
              <a:gd name="connsiteX1" fmla="*/ 9118600 w 9118600"/>
              <a:gd name="connsiteY1" fmla="*/ 0 h 6908800"/>
              <a:gd name="connsiteX2" fmla="*/ 9118600 w 9118600"/>
              <a:gd name="connsiteY2" fmla="*/ 6908800 h 6908800"/>
              <a:gd name="connsiteX3" fmla="*/ 0 w 9118600"/>
              <a:gd name="connsiteY3" fmla="*/ 6908800 h 6908800"/>
              <a:gd name="connsiteX4" fmla="*/ 0 w 9118600"/>
              <a:gd name="connsiteY4" fmla="*/ 0 h 6908800"/>
              <a:gd name="connsiteX0" fmla="*/ 9118600 w 9210040"/>
              <a:gd name="connsiteY0" fmla="*/ 0 h 6908800"/>
              <a:gd name="connsiteX1" fmla="*/ 9118600 w 9210040"/>
              <a:gd name="connsiteY1" fmla="*/ 6908800 h 6908800"/>
              <a:gd name="connsiteX2" fmla="*/ 0 w 9210040"/>
              <a:gd name="connsiteY2" fmla="*/ 6908800 h 6908800"/>
              <a:gd name="connsiteX3" fmla="*/ 0 w 9210040"/>
              <a:gd name="connsiteY3" fmla="*/ 0 h 6908800"/>
              <a:gd name="connsiteX4" fmla="*/ 9210040 w 9210040"/>
              <a:gd name="connsiteY4" fmla="*/ 91440 h 6908800"/>
              <a:gd name="connsiteX0" fmla="*/ 9118600 w 9118600"/>
              <a:gd name="connsiteY0" fmla="*/ 0 h 6908800"/>
              <a:gd name="connsiteX1" fmla="*/ 9118600 w 9118600"/>
              <a:gd name="connsiteY1" fmla="*/ 6908800 h 6908800"/>
              <a:gd name="connsiteX2" fmla="*/ 0 w 9118600"/>
              <a:gd name="connsiteY2" fmla="*/ 6908800 h 6908800"/>
              <a:gd name="connsiteX3" fmla="*/ 0 w 9118600"/>
              <a:gd name="connsiteY3" fmla="*/ 0 h 6908800"/>
              <a:gd name="connsiteX0" fmla="*/ 9118600 w 9118600"/>
              <a:gd name="connsiteY0" fmla="*/ 6908800 h 6908800"/>
              <a:gd name="connsiteX1" fmla="*/ 0 w 9118600"/>
              <a:gd name="connsiteY1" fmla="*/ 6908800 h 6908800"/>
              <a:gd name="connsiteX2" fmla="*/ 0 w 9118600"/>
              <a:gd name="connsiteY2" fmla="*/ 0 h 690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18600" h="6908800">
                <a:moveTo>
                  <a:pt x="9118600" y="6908800"/>
                </a:moveTo>
                <a:lnTo>
                  <a:pt x="0" y="690880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2"/>
            </a:solidFill>
            <a:headEnd type="triangl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endParaRPr lang="fr-FR"/>
          </a:p>
        </p:txBody>
      </p:sp>
      <p:sp>
        <p:nvSpPr>
          <p:cNvPr id="53" name="ZoneTexte 52"/>
          <p:cNvSpPr txBox="1"/>
          <p:nvPr/>
        </p:nvSpPr>
        <p:spPr bwMode="gray">
          <a:xfrm>
            <a:off x="7555193" y="5171400"/>
            <a:ext cx="880882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bg2"/>
                </a:solidFill>
              </a:rPr>
              <a:t>Adaptation</a:t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of a structure</a:t>
            </a:r>
          </a:p>
        </p:txBody>
      </p:sp>
      <p:sp>
        <p:nvSpPr>
          <p:cNvPr id="54" name="ZoneTexte 53"/>
          <p:cNvSpPr txBox="1"/>
          <p:nvPr/>
        </p:nvSpPr>
        <p:spPr bwMode="gray">
          <a:xfrm>
            <a:off x="2275495" y="1361321"/>
            <a:ext cx="1218252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mbitions</a:t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of market coverage</a:t>
            </a:r>
          </a:p>
        </p:txBody>
      </p:sp>
      <p:sp>
        <p:nvSpPr>
          <p:cNvPr id="55" name="ZoneTexte 54"/>
          <p:cNvSpPr txBox="1"/>
          <p:nvPr/>
        </p:nvSpPr>
        <p:spPr bwMode="gray">
          <a:xfrm>
            <a:off x="590377" y="1694358"/>
            <a:ext cx="1545264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bg2"/>
                </a:solidFill>
              </a:rPr>
              <a:t>Development on markets</a:t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identified as growing</a:t>
            </a:r>
          </a:p>
        </p:txBody>
      </p:sp>
      <p:sp>
        <p:nvSpPr>
          <p:cNvPr id="56" name="ZoneTexte 55"/>
          <p:cNvSpPr txBox="1"/>
          <p:nvPr/>
        </p:nvSpPr>
        <p:spPr bwMode="gray">
          <a:xfrm>
            <a:off x="1108147" y="2746158"/>
            <a:ext cx="1027494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bg2"/>
                </a:solidFill>
              </a:rPr>
              <a:t>Development</a:t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on new markets</a:t>
            </a:r>
          </a:p>
        </p:txBody>
      </p:sp>
      <p:sp>
        <p:nvSpPr>
          <p:cNvPr id="57" name="ZoneTexte 56"/>
          <p:cNvSpPr txBox="1"/>
          <p:nvPr/>
        </p:nvSpPr>
        <p:spPr bwMode="gray">
          <a:xfrm>
            <a:off x="816400" y="3792599"/>
            <a:ext cx="1319241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bg2"/>
                </a:solidFill>
              </a:rPr>
              <a:t>Exclusively profitable</a:t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current markets </a:t>
            </a:r>
          </a:p>
        </p:txBody>
      </p:sp>
      <p:sp>
        <p:nvSpPr>
          <p:cNvPr id="58" name="ZoneTexte 57"/>
          <p:cNvSpPr txBox="1"/>
          <p:nvPr/>
        </p:nvSpPr>
        <p:spPr bwMode="gray">
          <a:xfrm>
            <a:off x="1008761" y="4842180"/>
            <a:ext cx="1126880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dirty="0">
                <a:solidFill>
                  <a:schemeClr val="bg2"/>
                </a:solidFill>
              </a:rPr>
              <a:t>Reduced markets</a:t>
            </a:r>
          </a:p>
        </p:txBody>
      </p:sp>
      <p:sp>
        <p:nvSpPr>
          <p:cNvPr id="59" name="ZoneTexte 58"/>
          <p:cNvSpPr txBox="1"/>
          <p:nvPr/>
        </p:nvSpPr>
        <p:spPr bwMode="gray">
          <a:xfrm>
            <a:off x="2419115" y="5730454"/>
            <a:ext cx="1227870" cy="371081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NONE</a:t>
            </a:r>
            <a:r>
              <a:rPr lang="en-US" sz="1000" dirty="0">
                <a:solidFill>
                  <a:schemeClr val="bg2"/>
                </a:solidFill>
              </a:rPr>
              <a:t/>
            </a:r>
            <a:br>
              <a:rPr lang="en-US" sz="1000" dirty="0">
                <a:solidFill>
                  <a:schemeClr val="bg2"/>
                </a:solidFill>
              </a:rPr>
            </a:br>
            <a:r>
              <a:rPr lang="en-US" sz="1000" dirty="0">
                <a:solidFill>
                  <a:schemeClr val="bg2"/>
                </a:solidFill>
              </a:rPr>
              <a:t>(Current Structure )</a:t>
            </a:r>
          </a:p>
        </p:txBody>
      </p:sp>
      <p:sp>
        <p:nvSpPr>
          <p:cNvPr id="60" name="ZoneTexte 59"/>
          <p:cNvSpPr txBox="1"/>
          <p:nvPr/>
        </p:nvSpPr>
        <p:spPr bwMode="gray">
          <a:xfrm>
            <a:off x="4318558" y="5730454"/>
            <a:ext cx="519343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WEAK</a:t>
            </a:r>
          </a:p>
        </p:txBody>
      </p:sp>
      <p:sp>
        <p:nvSpPr>
          <p:cNvPr id="61" name="ZoneTexte 60"/>
          <p:cNvSpPr txBox="1"/>
          <p:nvPr/>
        </p:nvSpPr>
        <p:spPr bwMode="gray">
          <a:xfrm>
            <a:off x="5746291" y="5730454"/>
            <a:ext cx="759793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AVERAGE</a:t>
            </a:r>
          </a:p>
        </p:txBody>
      </p:sp>
      <p:sp>
        <p:nvSpPr>
          <p:cNvPr id="62" name="ZoneTexte 61"/>
          <p:cNvSpPr txBox="1"/>
          <p:nvPr/>
        </p:nvSpPr>
        <p:spPr bwMode="gray">
          <a:xfrm>
            <a:off x="7334359" y="5730454"/>
            <a:ext cx="674834" cy="217193"/>
          </a:xfrm>
          <a:prstGeom prst="rect">
            <a:avLst/>
          </a:prstGeom>
          <a:solidFill>
            <a:srgbClr val="1397FE"/>
          </a:solidFill>
          <a:ln>
            <a:noFill/>
          </a:ln>
        </p:spPr>
        <p:txBody>
          <a:bodyPr wrap="none" lIns="62691" tIns="31346" rIns="62691" bIns="31346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ONG</a:t>
            </a:r>
          </a:p>
        </p:txBody>
      </p:sp>
      <p:sp>
        <p:nvSpPr>
          <p:cNvPr id="63" name="ZoneTexte 62"/>
          <p:cNvSpPr txBox="1"/>
          <p:nvPr/>
        </p:nvSpPr>
        <p:spPr bwMode="gray">
          <a:xfrm>
            <a:off x="8133021" y="1079564"/>
            <a:ext cx="468497" cy="217193"/>
          </a:xfrm>
          <a:prstGeom prst="rect">
            <a:avLst/>
          </a:prstGeom>
          <a:noFill/>
        </p:spPr>
        <p:txBody>
          <a:bodyPr wrap="none" lIns="62691" tIns="31346" rIns="62691" bIns="31346" rtlCol="0">
            <a:spAutoFit/>
          </a:bodyPr>
          <a:lstStyle/>
          <a:p>
            <a:pPr algn="r"/>
            <a:r>
              <a:rPr lang="en-US" sz="1000" b="1" dirty="0">
                <a:solidFill>
                  <a:schemeClr val="accent1"/>
                </a:solidFill>
              </a:rPr>
              <a:t>Effort</a:t>
            </a:r>
          </a:p>
        </p:txBody>
      </p:sp>
      <p:cxnSp>
        <p:nvCxnSpPr>
          <p:cNvPr id="64" name="Connecteur droit avec flèche 63"/>
          <p:cNvCxnSpPr>
            <a:stCxn id="52" idx="1"/>
          </p:cNvCxnSpPr>
          <p:nvPr/>
        </p:nvCxnSpPr>
        <p:spPr bwMode="gray">
          <a:xfrm flipV="1">
            <a:off x="2184066" y="1285839"/>
            <a:ext cx="6356500" cy="4345577"/>
          </a:xfrm>
          <a:prstGeom prst="straightConnector1">
            <a:avLst/>
          </a:prstGeom>
          <a:noFill/>
          <a:ln w="25400" cap="rnd">
            <a:solidFill>
              <a:schemeClr val="bg2"/>
            </a:solidFill>
            <a:prstDash val="solid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Rectangle 64"/>
          <p:cNvSpPr/>
          <p:nvPr/>
        </p:nvSpPr>
        <p:spPr bwMode="gray">
          <a:xfrm>
            <a:off x="2419169" y="4565211"/>
            <a:ext cx="1330402" cy="912717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algn="ctr"/>
            <a:r>
              <a:rPr lang="fr-FR" sz="1300" b="1" dirty="0">
                <a:solidFill>
                  <a:schemeClr val="accent5"/>
                </a:solidFill>
              </a:rPr>
              <a:t>SCENARIO 1</a:t>
            </a:r>
          </a:p>
          <a:p>
            <a:pPr algn="ctr"/>
            <a:r>
              <a:rPr lang="fr-FR" sz="1100" dirty="0">
                <a:solidFill>
                  <a:schemeClr val="accent5"/>
                </a:solidFill>
              </a:rPr>
              <a:t>“</a:t>
            </a:r>
            <a:r>
              <a:rPr lang="fr-FR" sz="1100" dirty="0" err="1">
                <a:solidFill>
                  <a:schemeClr val="accent5"/>
                </a:solidFill>
              </a:rPr>
              <a:t>Downturn</a:t>
            </a:r>
            <a:r>
              <a:rPr lang="fr-FR" sz="1100" dirty="0">
                <a:solidFill>
                  <a:schemeClr val="accent5"/>
                </a:solidFill>
              </a:rPr>
              <a:t>” </a:t>
            </a:r>
          </a:p>
        </p:txBody>
      </p:sp>
      <p:sp>
        <p:nvSpPr>
          <p:cNvPr id="66" name="Rectangle 65"/>
          <p:cNvSpPr/>
          <p:nvPr/>
        </p:nvSpPr>
        <p:spPr bwMode="gray">
          <a:xfrm>
            <a:off x="3957900" y="3515303"/>
            <a:ext cx="1330402" cy="913371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lvl="0" algn="ctr"/>
            <a:r>
              <a:rPr lang="fr-FR" sz="1300" b="1" dirty="0">
                <a:solidFill>
                  <a:schemeClr val="accent4"/>
                </a:solidFill>
              </a:rPr>
              <a:t>SCENARIO 2</a:t>
            </a:r>
          </a:p>
          <a:p>
            <a:pPr lvl="0" algn="ctr"/>
            <a:r>
              <a:rPr lang="fr-FR" sz="1100" dirty="0">
                <a:solidFill>
                  <a:schemeClr val="accent4"/>
                </a:solidFill>
              </a:rPr>
              <a:t>“</a:t>
            </a:r>
            <a:r>
              <a:rPr lang="fr-FR" sz="1100" dirty="0" err="1">
                <a:solidFill>
                  <a:schemeClr val="accent4"/>
                </a:solidFill>
              </a:rPr>
              <a:t>Rationalization</a:t>
            </a:r>
            <a:r>
              <a:rPr lang="fr-FR" sz="1100" dirty="0">
                <a:solidFill>
                  <a:schemeClr val="accent4"/>
                </a:solidFill>
              </a:rPr>
              <a:t/>
            </a:r>
            <a:br>
              <a:rPr lang="fr-FR" sz="1100" dirty="0">
                <a:solidFill>
                  <a:schemeClr val="accent4"/>
                </a:solidFill>
              </a:rPr>
            </a:br>
            <a:r>
              <a:rPr lang="fr-FR" sz="1100" dirty="0">
                <a:solidFill>
                  <a:schemeClr val="accent4"/>
                </a:solidFill>
              </a:rPr>
              <a:t>&amp; </a:t>
            </a:r>
            <a:r>
              <a:rPr lang="fr-FR" sz="1100" dirty="0" err="1">
                <a:solidFill>
                  <a:schemeClr val="accent4"/>
                </a:solidFill>
              </a:rPr>
              <a:t>Optimization</a:t>
            </a:r>
            <a:r>
              <a:rPr lang="fr-FR" sz="1100" dirty="0">
                <a:solidFill>
                  <a:schemeClr val="accent4"/>
                </a:solidFill>
              </a:rPr>
              <a:t>”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5486184" y="2468862"/>
            <a:ext cx="1330402" cy="913371"/>
          </a:xfrm>
          <a:prstGeom prst="rect">
            <a:avLst/>
          </a:prstGeom>
          <a:solidFill>
            <a:schemeClr val="bg1"/>
          </a:solidFill>
          <a:ln>
            <a:solidFill>
              <a:srgbClr val="0087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lvl="0" algn="ctr"/>
            <a:r>
              <a:rPr lang="fr-FR" sz="1300" b="1" dirty="0">
                <a:solidFill>
                  <a:srgbClr val="008737"/>
                </a:solidFill>
              </a:rPr>
              <a:t>SCENARIO 3</a:t>
            </a:r>
          </a:p>
          <a:p>
            <a:pPr lvl="0" algn="ctr"/>
            <a:r>
              <a:rPr lang="fr-FR" sz="1100" dirty="0">
                <a:solidFill>
                  <a:srgbClr val="008737"/>
                </a:solidFill>
              </a:rPr>
              <a:t>“</a:t>
            </a:r>
            <a:r>
              <a:rPr lang="fr-FR" sz="1100" dirty="0" err="1">
                <a:solidFill>
                  <a:srgbClr val="008737"/>
                </a:solidFill>
              </a:rPr>
              <a:t>Development</a:t>
            </a:r>
            <a:r>
              <a:rPr lang="fr-FR" sz="1100" dirty="0">
                <a:solidFill>
                  <a:srgbClr val="008737"/>
                </a:solidFill>
              </a:rPr>
              <a:t>”</a:t>
            </a:r>
          </a:p>
        </p:txBody>
      </p:sp>
      <p:sp>
        <p:nvSpPr>
          <p:cNvPr id="68" name="Rectangle 67"/>
          <p:cNvSpPr/>
          <p:nvPr/>
        </p:nvSpPr>
        <p:spPr bwMode="gray">
          <a:xfrm>
            <a:off x="7016748" y="1417062"/>
            <a:ext cx="1329344" cy="91337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/>
          </a:bodyPr>
          <a:lstStyle/>
          <a:p>
            <a:pPr lvl="0" algn="ctr"/>
            <a:r>
              <a:rPr lang="fr-FR" sz="1300" b="1" dirty="0">
                <a:solidFill>
                  <a:schemeClr val="accent1"/>
                </a:solidFill>
              </a:rPr>
              <a:t>SCENARIO 4</a:t>
            </a:r>
          </a:p>
          <a:p>
            <a:pPr lvl="0" algn="ctr"/>
            <a:r>
              <a:rPr lang="fr-FR" sz="1100" dirty="0">
                <a:solidFill>
                  <a:schemeClr val="accent1"/>
                </a:solidFill>
              </a:rPr>
              <a:t>“Vision”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KEY SUCCESS FACTORS</a:t>
            </a:r>
            <a:endParaRPr lang="fr-FR" dirty="0"/>
          </a:p>
        </p:txBody>
      </p:sp>
      <p:sp>
        <p:nvSpPr>
          <p:cNvPr id="27" name="Espace réservé de la date 2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9" name="Espace réservé du pied de page 2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8" name="Espace réservé du numéro de diapositive 2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5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5588959" y="1541800"/>
            <a:ext cx="2880000" cy="36984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Key success factor</a:t>
            </a:r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644217" y="1551027"/>
            <a:ext cx="2880000" cy="36549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Key success factor</a:t>
            </a:r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648518" y="4149269"/>
            <a:ext cx="2880000" cy="3698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Key success factor</a:t>
            </a:r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5588959" y="4150901"/>
            <a:ext cx="2880000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Key success factor</a:t>
            </a:r>
          </a:p>
        </p:txBody>
      </p:sp>
      <p:grpSp>
        <p:nvGrpSpPr>
          <p:cNvPr id="10" name="Groupe 50"/>
          <p:cNvGrpSpPr/>
          <p:nvPr/>
        </p:nvGrpSpPr>
        <p:grpSpPr bwMode="gray">
          <a:xfrm>
            <a:off x="3721004" y="2801792"/>
            <a:ext cx="1677733" cy="1698055"/>
            <a:chOff x="3997966" y="1808100"/>
            <a:chExt cx="1406312" cy="1402920"/>
          </a:xfrm>
        </p:grpSpPr>
        <p:sp>
          <p:nvSpPr>
            <p:cNvPr id="11" name="Ellipse 10"/>
            <p:cNvSpPr/>
            <p:nvPr/>
          </p:nvSpPr>
          <p:spPr bwMode="gray">
            <a:xfrm>
              <a:off x="4156127" y="1936319"/>
              <a:ext cx="1145811" cy="1145811"/>
            </a:xfrm>
            <a:prstGeom prst="ellipse">
              <a:avLst/>
            </a:prstGeom>
            <a:solidFill>
              <a:schemeClr val="bg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bg2"/>
                  </a:solidFill>
                </a:rPr>
                <a:t>SUCCESS</a:t>
              </a:r>
            </a:p>
          </p:txBody>
        </p:sp>
        <p:cxnSp>
          <p:nvCxnSpPr>
            <p:cNvPr id="12" name="Connecteur droit 11"/>
            <p:cNvCxnSpPr/>
            <p:nvPr/>
          </p:nvCxnSpPr>
          <p:spPr bwMode="gray">
            <a:xfrm rot="13500000" flipV="1">
              <a:off x="5239608" y="1801358"/>
              <a:ext cx="0" cy="329340"/>
            </a:xfrm>
            <a:prstGeom prst="line">
              <a:avLst/>
            </a:prstGeom>
            <a:noFill/>
            <a:ln w="28575" cap="flat" cmpd="sng">
              <a:solidFill>
                <a:schemeClr val="accent1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13" name="Connecteur droit 12"/>
            <p:cNvCxnSpPr/>
            <p:nvPr/>
          </p:nvCxnSpPr>
          <p:spPr bwMode="gray">
            <a:xfrm rot="2700000" flipV="1">
              <a:off x="4162636" y="2878330"/>
              <a:ext cx="0" cy="329340"/>
            </a:xfrm>
            <a:prstGeom prst="line">
              <a:avLst/>
            </a:prstGeom>
            <a:noFill/>
            <a:ln w="28575" cap="flat" cmpd="sng">
              <a:solidFill>
                <a:schemeClr val="accent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14" name="Connecteur droit 13"/>
            <p:cNvCxnSpPr/>
            <p:nvPr/>
          </p:nvCxnSpPr>
          <p:spPr bwMode="gray">
            <a:xfrm rot="18900000" flipV="1">
              <a:off x="5244576" y="2881680"/>
              <a:ext cx="0" cy="329340"/>
            </a:xfrm>
            <a:prstGeom prst="line">
              <a:avLst/>
            </a:prstGeom>
            <a:noFill/>
            <a:ln w="28575" cap="flat" cmpd="sng">
              <a:solidFill>
                <a:schemeClr val="bg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15" name="Connecteur droit 14"/>
            <p:cNvCxnSpPr/>
            <p:nvPr/>
          </p:nvCxnSpPr>
          <p:spPr bwMode="gray">
            <a:xfrm rot="8100000" flipH="1" flipV="1">
              <a:off x="4170997" y="1808100"/>
              <a:ext cx="0" cy="329340"/>
            </a:xfrm>
            <a:prstGeom prst="line">
              <a:avLst/>
            </a:prstGeom>
            <a:noFill/>
            <a:ln w="28575" cap="flat" cmpd="sng">
              <a:solidFill>
                <a:schemeClr val="accent5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sp>
          <p:nvSpPr>
            <p:cNvPr id="16" name="Arc plein 15"/>
            <p:cNvSpPr/>
            <p:nvPr/>
          </p:nvSpPr>
          <p:spPr bwMode="gray">
            <a:xfrm rot="2700000">
              <a:off x="4097397" y="1902772"/>
              <a:ext cx="1205485" cy="1201518"/>
            </a:xfrm>
            <a:prstGeom prst="blockArc">
              <a:avLst>
                <a:gd name="adj1" fmla="val 14029693"/>
                <a:gd name="adj2" fmla="val 18480725"/>
                <a:gd name="adj3" fmla="val 580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Arc plein 16"/>
            <p:cNvSpPr/>
            <p:nvPr/>
          </p:nvSpPr>
          <p:spPr bwMode="gray">
            <a:xfrm rot="8100000">
              <a:off x="4111009" y="1902948"/>
              <a:ext cx="1205485" cy="1201518"/>
            </a:xfrm>
            <a:prstGeom prst="blockArc">
              <a:avLst>
                <a:gd name="adj1" fmla="val 14029693"/>
                <a:gd name="adj2" fmla="val 18480725"/>
                <a:gd name="adj3" fmla="val 5803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chemeClr val="tx1"/>
                </a:solidFill>
              </a:endParaRPr>
            </a:p>
          </p:txBody>
        </p:sp>
        <p:sp>
          <p:nvSpPr>
            <p:cNvPr id="18" name="Arc plein 17"/>
            <p:cNvSpPr/>
            <p:nvPr/>
          </p:nvSpPr>
          <p:spPr bwMode="gray">
            <a:xfrm rot="13500000">
              <a:off x="4094533" y="1899910"/>
              <a:ext cx="1205485" cy="1201518"/>
            </a:xfrm>
            <a:prstGeom prst="blockArc">
              <a:avLst>
                <a:gd name="adj1" fmla="val 14029693"/>
                <a:gd name="adj2" fmla="val 18480725"/>
                <a:gd name="adj3" fmla="val 580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Arc plein 18"/>
            <p:cNvSpPr/>
            <p:nvPr/>
          </p:nvSpPr>
          <p:spPr bwMode="gray">
            <a:xfrm rot="18900000">
              <a:off x="4104114" y="1896053"/>
              <a:ext cx="1205485" cy="1201518"/>
            </a:xfrm>
            <a:prstGeom prst="blockArc">
              <a:avLst>
                <a:gd name="adj1" fmla="val 14029693"/>
                <a:gd name="adj2" fmla="val 18480725"/>
                <a:gd name="adj3" fmla="val 5803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Rectangle à coins arrondis 19"/>
          <p:cNvSpPr/>
          <p:nvPr/>
        </p:nvSpPr>
        <p:spPr bwMode="gray">
          <a:xfrm>
            <a:off x="678953" y="1988840"/>
            <a:ext cx="2880000" cy="144016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lnSpc>
                <a:spcPct val="85000"/>
              </a:lnSpc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</a:t>
            </a:r>
          </a:p>
          <a:p>
            <a:pPr algn="ctr"/>
            <a:endParaRPr lang="fr-FR" dirty="0">
              <a:solidFill>
                <a:schemeClr val="bg2"/>
              </a:solidFill>
            </a:endParaRPr>
          </a:p>
        </p:txBody>
      </p:sp>
      <p:sp>
        <p:nvSpPr>
          <p:cNvPr id="24" name="Rectangle à coins arrondis 23"/>
          <p:cNvSpPr/>
          <p:nvPr/>
        </p:nvSpPr>
        <p:spPr bwMode="gray">
          <a:xfrm>
            <a:off x="5588959" y="1988840"/>
            <a:ext cx="2880000" cy="144016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lnSpc>
                <a:spcPct val="85000"/>
              </a:lnSpc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</a:t>
            </a:r>
          </a:p>
          <a:p>
            <a:pPr algn="ctr"/>
            <a:endParaRPr lang="fr-FR" dirty="0">
              <a:solidFill>
                <a:schemeClr val="bg2"/>
              </a:solidFill>
            </a:endParaRPr>
          </a:p>
        </p:txBody>
      </p:sp>
      <p:sp>
        <p:nvSpPr>
          <p:cNvPr id="25" name="Rectangle à coins arrondis 24"/>
          <p:cNvSpPr/>
          <p:nvPr/>
        </p:nvSpPr>
        <p:spPr bwMode="gray">
          <a:xfrm>
            <a:off x="678953" y="4601865"/>
            <a:ext cx="2880000" cy="144016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lnSpc>
                <a:spcPct val="85000"/>
              </a:lnSpc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</a:t>
            </a:r>
          </a:p>
          <a:p>
            <a:pPr algn="ctr"/>
            <a:endParaRPr lang="fr-FR" dirty="0">
              <a:solidFill>
                <a:schemeClr val="bg2"/>
              </a:solidFill>
            </a:endParaRPr>
          </a:p>
        </p:txBody>
      </p:sp>
      <p:sp>
        <p:nvSpPr>
          <p:cNvPr id="26" name="Rectangle à coins arrondis 25"/>
          <p:cNvSpPr/>
          <p:nvPr/>
        </p:nvSpPr>
        <p:spPr bwMode="gray">
          <a:xfrm>
            <a:off x="5588959" y="4601865"/>
            <a:ext cx="2880000" cy="144016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lnSpc>
                <a:spcPct val="85000"/>
              </a:lnSpc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</a:t>
            </a:r>
          </a:p>
          <a:p>
            <a:pPr algn="ctr"/>
            <a:endParaRPr lang="fr-FR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WOT</a:t>
            </a:r>
            <a:endParaRPr lang="fr-FR" dirty="0"/>
          </a:p>
        </p:txBody>
      </p:sp>
      <p:sp>
        <p:nvSpPr>
          <p:cNvPr id="18" name="Espace réservé de la date 1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8" name="Espace réservé du pied de page 2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6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5164895" y="1541800"/>
            <a:ext cx="3600000" cy="36984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Weaknesses</a:t>
            </a:r>
            <a:endParaRPr lang="en-US" sz="1200" b="1" cap="all" dirty="0"/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939877" y="1551027"/>
            <a:ext cx="3600000" cy="36549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Strengths</a:t>
            </a:r>
            <a:endParaRPr lang="en-US" sz="1200" b="1" cap="all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939877" y="3857725"/>
            <a:ext cx="3600000" cy="3698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Opportunities</a:t>
            </a:r>
            <a:endParaRPr lang="en-US" sz="1200" b="1" cap="all" dirty="0"/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5164895" y="3859357"/>
            <a:ext cx="3600000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hreats</a:t>
            </a:r>
            <a:endParaRPr lang="en-US" sz="1200" b="1" cap="all" dirty="0"/>
          </a:p>
        </p:txBody>
      </p:sp>
      <p:sp>
        <p:nvSpPr>
          <p:cNvPr id="20" name="Rectangle à coins arrondis 19"/>
          <p:cNvSpPr/>
          <p:nvPr/>
        </p:nvSpPr>
        <p:spPr bwMode="gray">
          <a:xfrm>
            <a:off x="939877" y="1988840"/>
            <a:ext cx="3600000" cy="162000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Superior products </a:t>
            </a:r>
            <a:r>
              <a:rPr lang="en-US" sz="1100" dirty="0" err="1">
                <a:solidFill>
                  <a:schemeClr val="bg2"/>
                </a:solidFill>
              </a:rPr>
              <a:t>vs</a:t>
            </a:r>
            <a:r>
              <a:rPr lang="en-US" sz="1100" dirty="0">
                <a:solidFill>
                  <a:schemeClr val="bg2"/>
                </a:solidFill>
              </a:rPr>
              <a:t> performance</a:t>
            </a:r>
            <a:br>
              <a:rPr lang="en-US" sz="1100" dirty="0">
                <a:solidFill>
                  <a:schemeClr val="bg2"/>
                </a:solidFill>
              </a:rPr>
            </a:br>
            <a:r>
              <a:rPr lang="en-US" sz="1100" dirty="0">
                <a:solidFill>
                  <a:schemeClr val="bg2"/>
                </a:solidFill>
              </a:rPr>
              <a:t>by competitors</a:t>
            </a:r>
          </a:p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Product lifespan</a:t>
            </a:r>
          </a:p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irect delivery capacity</a:t>
            </a:r>
          </a:p>
        </p:txBody>
      </p:sp>
      <p:sp>
        <p:nvSpPr>
          <p:cNvPr id="21" name="Rectangle à coins arrondis 20"/>
          <p:cNvSpPr/>
          <p:nvPr/>
        </p:nvSpPr>
        <p:spPr bwMode="gray">
          <a:xfrm>
            <a:off x="5164895" y="1988840"/>
            <a:ext cx="3600000" cy="162000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Limited budget</a:t>
            </a:r>
          </a:p>
        </p:txBody>
      </p:sp>
      <p:sp>
        <p:nvSpPr>
          <p:cNvPr id="22" name="Rectangle à coins arrondis 21"/>
          <p:cNvSpPr/>
          <p:nvPr/>
        </p:nvSpPr>
        <p:spPr bwMode="gray">
          <a:xfrm>
            <a:off x="939877" y="4310321"/>
            <a:ext cx="3600000" cy="162000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Local competitors offer low-quality products</a:t>
            </a:r>
          </a:p>
        </p:txBody>
      </p:sp>
      <p:sp>
        <p:nvSpPr>
          <p:cNvPr id="23" name="Rectangle à coins arrondis 22"/>
          <p:cNvSpPr/>
          <p:nvPr/>
        </p:nvSpPr>
        <p:spPr bwMode="gray">
          <a:xfrm>
            <a:off x="5164895" y="4310321"/>
            <a:ext cx="3600000" cy="1620000"/>
          </a:xfrm>
          <a:prstGeom prst="roundRect">
            <a:avLst>
              <a:gd name="adj" fmla="val 1681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44000" indent="-144000">
              <a:spcBef>
                <a:spcPts val="3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High likelihood of unfavorable legislative developments</a:t>
            </a:r>
          </a:p>
        </p:txBody>
      </p:sp>
      <p:sp>
        <p:nvSpPr>
          <p:cNvPr id="24" name="Rectangle à coins arrondis 23"/>
          <p:cNvSpPr/>
          <p:nvPr/>
        </p:nvSpPr>
        <p:spPr bwMode="gray">
          <a:xfrm rot="16200000">
            <a:off x="-316875" y="2631175"/>
            <a:ext cx="1620000" cy="325640"/>
          </a:xfrm>
          <a:prstGeom prst="roundRect">
            <a:avLst>
              <a:gd name="adj" fmla="val 4591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400" b="1" dirty="0" err="1"/>
              <a:t>Internal</a:t>
            </a:r>
            <a:r>
              <a:rPr lang="fr-FR" sz="1400" b="1" dirty="0"/>
              <a:t> </a:t>
            </a:r>
            <a:r>
              <a:rPr lang="fr-FR" sz="1400" b="1" dirty="0" err="1"/>
              <a:t>origin</a:t>
            </a:r>
            <a:endParaRPr lang="fr-FR" sz="1400" b="1" dirty="0"/>
          </a:p>
        </p:txBody>
      </p:sp>
      <p:sp>
        <p:nvSpPr>
          <p:cNvPr id="25" name="Rectangle à coins arrondis 24"/>
          <p:cNvSpPr/>
          <p:nvPr/>
        </p:nvSpPr>
        <p:spPr bwMode="gray">
          <a:xfrm rot="16200000">
            <a:off x="-309584" y="4914772"/>
            <a:ext cx="1620000" cy="34022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400" b="1" dirty="0" err="1"/>
              <a:t>External</a:t>
            </a:r>
            <a:r>
              <a:rPr lang="fr-FR" sz="1400" b="1" dirty="0"/>
              <a:t> </a:t>
            </a:r>
            <a:r>
              <a:rPr lang="fr-FR" sz="1400" b="1" dirty="0" err="1"/>
              <a:t>origin</a:t>
            </a:r>
            <a:r>
              <a:rPr lang="fr-FR" sz="1400" b="1" dirty="0"/>
              <a:t> </a:t>
            </a:r>
          </a:p>
        </p:txBody>
      </p:sp>
      <p:sp>
        <p:nvSpPr>
          <p:cNvPr id="26" name="Rectangle à coins arrondis 25"/>
          <p:cNvSpPr>
            <a:spLocks noChangeAspect="1"/>
          </p:cNvSpPr>
          <p:nvPr/>
        </p:nvSpPr>
        <p:spPr bwMode="gray">
          <a:xfrm>
            <a:off x="2544174" y="1069615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2200" b="1" dirty="0"/>
              <a:t>+</a:t>
            </a:r>
          </a:p>
        </p:txBody>
      </p:sp>
      <p:sp>
        <p:nvSpPr>
          <p:cNvPr id="27" name="Rectangle à coins arrondis 26"/>
          <p:cNvSpPr>
            <a:spLocks noChangeAspect="1"/>
          </p:cNvSpPr>
          <p:nvPr/>
        </p:nvSpPr>
        <p:spPr bwMode="gray">
          <a:xfrm>
            <a:off x="6769191" y="1069615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72000" rtlCol="0" anchor="ctr"/>
          <a:lstStyle/>
          <a:p>
            <a:pPr algn="ctr"/>
            <a:r>
              <a:rPr lang="en-GB" sz="2200" b="1"/>
              <a:t>–</a:t>
            </a:r>
            <a:endParaRPr lang="fr-FR" sz="2200" b="1" dirty="0"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PPORTUNITIES/THREATS</a:t>
            </a:r>
            <a:endParaRPr lang="fr-FR" dirty="0"/>
          </a:p>
        </p:txBody>
      </p:sp>
      <p:sp>
        <p:nvSpPr>
          <p:cNvPr id="12" name="Espace réservé de la date 1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7</a:t>
            </a:fld>
            <a:endParaRPr lang="fr-FR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43940" y="1997897"/>
            <a:ext cx="3888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cap="all"/>
              <a:t>Opportunities</a:t>
            </a:r>
            <a:endParaRPr lang="en-US" sz="1400" b="1" cap="all" dirty="0"/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4913107" y="1990825"/>
            <a:ext cx="3888000" cy="36984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cap="all"/>
              <a:t>Threats</a:t>
            </a:r>
            <a:endParaRPr lang="en-US" sz="1400" b="1" cap="all" dirty="0"/>
          </a:p>
        </p:txBody>
      </p:sp>
      <p:sp>
        <p:nvSpPr>
          <p:cNvPr id="22" name="Rectangle à coins arrondis 21"/>
          <p:cNvSpPr/>
          <p:nvPr/>
        </p:nvSpPr>
        <p:spPr bwMode="gray">
          <a:xfrm>
            <a:off x="343940" y="2450493"/>
            <a:ext cx="3888000" cy="3591532"/>
          </a:xfrm>
          <a:prstGeom prst="roundRect">
            <a:avLst>
              <a:gd name="adj" fmla="val 1090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80000" indent="-180000">
              <a:lnSpc>
                <a:spcPct val="105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"/>
            </a:pPr>
            <a:r>
              <a:rPr lang="en-US" sz="1400" dirty="0">
                <a:solidFill>
                  <a:schemeClr val="bg2"/>
                </a:solidFill>
              </a:rPr>
              <a:t>Level 1</a:t>
            </a:r>
          </a:p>
          <a:p>
            <a:pPr marL="432000" lvl="1" indent="-252000">
              <a:lnSpc>
                <a:spcPct val="105000"/>
              </a:lnSpc>
              <a:spcBef>
                <a:spcPts val="300"/>
              </a:spcBef>
              <a:buFont typeface="Arial" panose="020B0604020202020204" pitchFamily="34" charset="0"/>
              <a:buChar char="—"/>
            </a:pPr>
            <a:r>
              <a:rPr lang="en-US" sz="1200" dirty="0">
                <a:solidFill>
                  <a:schemeClr val="bg2"/>
                </a:solidFill>
              </a:rPr>
              <a:t>Level 2</a:t>
            </a:r>
          </a:p>
          <a:p>
            <a:pPr marL="576000" lvl="2" indent="-144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2"/>
                </a:solidFill>
              </a:rPr>
              <a:t>Level 3</a:t>
            </a:r>
          </a:p>
        </p:txBody>
      </p:sp>
      <p:sp>
        <p:nvSpPr>
          <p:cNvPr id="23" name="Rectangle à coins arrondis 22"/>
          <p:cNvSpPr/>
          <p:nvPr/>
        </p:nvSpPr>
        <p:spPr bwMode="gray">
          <a:xfrm>
            <a:off x="4913107" y="2441789"/>
            <a:ext cx="3888000" cy="3600236"/>
          </a:xfrm>
          <a:prstGeom prst="roundRect">
            <a:avLst>
              <a:gd name="adj" fmla="val 10553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80000" indent="-180000">
              <a:lnSpc>
                <a:spcPct val="105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"/>
            </a:pPr>
            <a:r>
              <a:rPr lang="en-US" sz="1400" dirty="0">
                <a:solidFill>
                  <a:schemeClr val="bg2"/>
                </a:solidFill>
              </a:rPr>
              <a:t>Level 1</a:t>
            </a:r>
          </a:p>
          <a:p>
            <a:pPr marL="432000" lvl="1" indent="-252000">
              <a:lnSpc>
                <a:spcPct val="105000"/>
              </a:lnSpc>
              <a:spcBef>
                <a:spcPts val="300"/>
              </a:spcBef>
              <a:buFont typeface="Arial" panose="020B0604020202020204" pitchFamily="34" charset="0"/>
              <a:buChar char="—"/>
            </a:pPr>
            <a:r>
              <a:rPr lang="en-US" sz="1200" dirty="0">
                <a:solidFill>
                  <a:schemeClr val="bg2"/>
                </a:solidFill>
              </a:rPr>
              <a:t>Level 2</a:t>
            </a:r>
          </a:p>
          <a:p>
            <a:pPr marL="576000" lvl="2" indent="-144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2"/>
                </a:solidFill>
              </a:rPr>
              <a:t>Level 3</a:t>
            </a:r>
          </a:p>
        </p:txBody>
      </p:sp>
      <p:sp>
        <p:nvSpPr>
          <p:cNvPr id="26" name="Rectangle à coins arrondis 25"/>
          <p:cNvSpPr>
            <a:spLocks noChangeAspect="1"/>
          </p:cNvSpPr>
          <p:nvPr/>
        </p:nvSpPr>
        <p:spPr bwMode="gray">
          <a:xfrm>
            <a:off x="2092237" y="1546687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2200" b="1" dirty="0"/>
              <a:t>+</a:t>
            </a:r>
          </a:p>
        </p:txBody>
      </p:sp>
      <p:sp>
        <p:nvSpPr>
          <p:cNvPr id="27" name="Rectangle à coins arrondis 26"/>
          <p:cNvSpPr>
            <a:spLocks noChangeAspect="1"/>
          </p:cNvSpPr>
          <p:nvPr/>
        </p:nvSpPr>
        <p:spPr bwMode="gray">
          <a:xfrm>
            <a:off x="6661404" y="1546687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72000" rtlCol="0" anchor="ctr"/>
          <a:lstStyle/>
          <a:p>
            <a:pPr algn="ctr"/>
            <a:r>
              <a:rPr lang="en-GB" sz="2200" b="1" dirty="0"/>
              <a:t>–</a:t>
            </a:r>
            <a:endParaRPr lang="fr-FR" sz="2200" b="1" dirty="0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S &amp; CONS (1/2)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8" name="Espace réservé du pied de page 2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8</a:t>
            </a:fld>
            <a:endParaRPr lang="fr-FR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30306" y="5341018"/>
            <a:ext cx="8486669" cy="6491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72000" bIns="0" rtlCol="0" anchor="ctr" anchorCtr="0">
            <a:spAutoFit/>
          </a:bodyPr>
          <a:lstStyle/>
          <a:p>
            <a:r>
              <a:rPr lang="en-US" sz="1500" b="1" dirty="0"/>
              <a:t>RECOMMENDATION</a:t>
            </a:r>
            <a:r>
              <a:rPr lang="en-US" sz="1500" dirty="0"/>
              <a:t>: considering the </a:t>
            </a:r>
            <a:r>
              <a:rPr lang="en-US" sz="1500" b="1" dirty="0"/>
              <a:t>Pros &amp; Cons </a:t>
            </a:r>
            <a:r>
              <a:rPr lang="en-US" sz="1500" dirty="0"/>
              <a:t>of the above scenarios,</a:t>
            </a:r>
            <a:br>
              <a:rPr lang="en-US" sz="1500" dirty="0"/>
            </a:br>
            <a:r>
              <a:rPr lang="en-US" sz="1500" dirty="0"/>
              <a:t>we recommend </a:t>
            </a:r>
            <a:r>
              <a:rPr lang="en-US" sz="1500" b="1" dirty="0"/>
              <a:t>SCENARIO 1</a:t>
            </a:r>
            <a:r>
              <a:rPr lang="en-US" sz="1500" dirty="0"/>
              <a:t> on account of its </a:t>
            </a:r>
            <a:r>
              <a:rPr lang="en-US" sz="1500" b="1" dirty="0"/>
              <a:t>superior ROI</a:t>
            </a:r>
          </a:p>
        </p:txBody>
      </p:sp>
      <p:sp>
        <p:nvSpPr>
          <p:cNvPr id="9" name="ZoneTexte 8"/>
          <p:cNvSpPr txBox="1"/>
          <p:nvPr/>
        </p:nvSpPr>
        <p:spPr bwMode="gray">
          <a:xfrm>
            <a:off x="823243" y="1937534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</p:txBody>
      </p:sp>
      <p:sp>
        <p:nvSpPr>
          <p:cNvPr id="10" name="Rectangle à coins arrondis 9"/>
          <p:cNvSpPr/>
          <p:nvPr/>
        </p:nvSpPr>
        <p:spPr bwMode="gray">
          <a:xfrm>
            <a:off x="823286" y="1447099"/>
            <a:ext cx="2340000" cy="32567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500" b="1"/>
              <a:t>Scenario #1</a:t>
            </a:r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475218" y="1447099"/>
            <a:ext cx="2340000" cy="32567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500" b="1"/>
              <a:t>Scenario #2</a:t>
            </a:r>
            <a:endParaRPr lang="fr-FR" sz="1500" b="1" dirty="0"/>
          </a:p>
        </p:txBody>
      </p:sp>
      <p:sp>
        <p:nvSpPr>
          <p:cNvPr id="14" name="ZoneTexte 13"/>
          <p:cNvSpPr txBox="1"/>
          <p:nvPr/>
        </p:nvSpPr>
        <p:spPr bwMode="gray">
          <a:xfrm>
            <a:off x="3475217" y="1937534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</p:txBody>
      </p:sp>
      <p:sp>
        <p:nvSpPr>
          <p:cNvPr id="15" name="Rectangle à coins arrondis 14"/>
          <p:cNvSpPr/>
          <p:nvPr/>
        </p:nvSpPr>
        <p:spPr bwMode="gray">
          <a:xfrm>
            <a:off x="6127149" y="1447099"/>
            <a:ext cx="2340000" cy="32567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/>
          <a:lstStyle/>
          <a:p>
            <a:pPr algn="ctr"/>
            <a:r>
              <a:rPr lang="fr-FR" sz="1500" b="1"/>
              <a:t>Scenario #3</a:t>
            </a:r>
            <a:endParaRPr lang="fr-FR" sz="1500" b="1" dirty="0"/>
          </a:p>
        </p:txBody>
      </p:sp>
      <p:sp>
        <p:nvSpPr>
          <p:cNvPr id="17" name="ZoneTexte 16"/>
          <p:cNvSpPr txBox="1"/>
          <p:nvPr/>
        </p:nvSpPr>
        <p:spPr bwMode="gray">
          <a:xfrm>
            <a:off x="6127148" y="1937534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</p:txBody>
      </p:sp>
      <p:sp>
        <p:nvSpPr>
          <p:cNvPr id="18" name="ZoneTexte 17"/>
          <p:cNvSpPr txBox="1"/>
          <p:nvPr/>
        </p:nvSpPr>
        <p:spPr bwMode="gray">
          <a:xfrm>
            <a:off x="823243" y="3568041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1</a:t>
            </a:r>
          </a:p>
        </p:txBody>
      </p:sp>
      <p:sp>
        <p:nvSpPr>
          <p:cNvPr id="19" name="ZoneTexte 18"/>
          <p:cNvSpPr txBox="1"/>
          <p:nvPr/>
        </p:nvSpPr>
        <p:spPr bwMode="gray">
          <a:xfrm>
            <a:off x="3475217" y="3568041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2</a:t>
            </a:r>
          </a:p>
        </p:txBody>
      </p:sp>
      <p:sp>
        <p:nvSpPr>
          <p:cNvPr id="20" name="ZoneTexte 19"/>
          <p:cNvSpPr txBox="1"/>
          <p:nvPr/>
        </p:nvSpPr>
        <p:spPr bwMode="gray">
          <a:xfrm>
            <a:off x="6127148" y="3568041"/>
            <a:ext cx="2340000" cy="1423975"/>
          </a:xfrm>
          <a:prstGeom prst="roundRect">
            <a:avLst/>
          </a:prstGeom>
          <a:solidFill>
            <a:schemeClr val="bg1">
              <a:lumMod val="95000"/>
              <a:alpha val="70000"/>
            </a:schemeClr>
          </a:solidFill>
          <a:ln w="12700" cap="sq">
            <a:noFill/>
            <a:miter lim="800000"/>
          </a:ln>
        </p:spPr>
        <p:txBody>
          <a:bodyPr wrap="square" lIns="123408" tIns="74045" rIns="62691" bIns="74045" rtlCol="0" anchor="ctr">
            <a:normAutofit/>
          </a:bodyPr>
          <a:lstStyle/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  <a:p>
            <a:pPr marL="144000" indent="-144000">
              <a:lnSpc>
                <a:spcPct val="112000"/>
              </a:lnSpc>
              <a:spcBef>
                <a:spcPts val="600"/>
              </a:spcBef>
              <a:buFont typeface="Symbol" pitchFamily="18" charset="2"/>
              <a:buChar char="·"/>
            </a:pPr>
            <a:r>
              <a:rPr lang="en-US" sz="1100" dirty="0">
                <a:solidFill>
                  <a:schemeClr val="bg2"/>
                </a:solidFill>
              </a:rPr>
              <a:t>Description of scenario #3</a:t>
            </a:r>
          </a:p>
        </p:txBody>
      </p:sp>
      <p:grpSp>
        <p:nvGrpSpPr>
          <p:cNvPr id="2" name="Groupe 20"/>
          <p:cNvGrpSpPr/>
          <p:nvPr/>
        </p:nvGrpSpPr>
        <p:grpSpPr bwMode="gray">
          <a:xfrm>
            <a:off x="330306" y="1937536"/>
            <a:ext cx="325641" cy="1423974"/>
            <a:chOff x="1312863" y="2825571"/>
            <a:chExt cx="474950" cy="2076628"/>
          </a:xfrm>
          <a:solidFill>
            <a:srgbClr val="1397FE"/>
          </a:solidFill>
        </p:grpSpPr>
        <p:sp>
          <p:nvSpPr>
            <p:cNvPr id="22" name="Rectangle à coins arrondis 21"/>
            <p:cNvSpPr/>
            <p:nvPr/>
          </p:nvSpPr>
          <p:spPr bwMode="gray">
            <a:xfrm rot="16200000">
              <a:off x="747062" y="3861450"/>
              <a:ext cx="1606550" cy="47494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fr-FR" sz="1500" b="1" dirty="0"/>
                <a:t>Pros</a:t>
              </a:r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gray">
            <a:xfrm>
              <a:off x="1312863" y="2825571"/>
              <a:ext cx="474950" cy="577500"/>
            </a:xfrm>
            <a:prstGeom prst="roundRect">
              <a:avLst>
                <a:gd name="adj" fmla="val 39566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1500" b="1" dirty="0"/>
                <a:t>+</a:t>
              </a:r>
            </a:p>
          </p:txBody>
        </p:sp>
      </p:grpSp>
      <p:grpSp>
        <p:nvGrpSpPr>
          <p:cNvPr id="3" name="Groupe 23"/>
          <p:cNvGrpSpPr/>
          <p:nvPr/>
        </p:nvGrpSpPr>
        <p:grpSpPr bwMode="gray">
          <a:xfrm>
            <a:off x="331658" y="3568042"/>
            <a:ext cx="338870" cy="1423975"/>
            <a:chOff x="1314835" y="5203394"/>
            <a:chExt cx="494244" cy="2076630"/>
          </a:xfrm>
          <a:solidFill>
            <a:srgbClr val="42126E"/>
          </a:solidFill>
        </p:grpSpPr>
        <p:sp>
          <p:nvSpPr>
            <p:cNvPr id="25" name="Rectangle à coins arrondis 24"/>
            <p:cNvSpPr/>
            <p:nvPr/>
          </p:nvSpPr>
          <p:spPr bwMode="gray">
            <a:xfrm rot="16200000">
              <a:off x="750870" y="6221815"/>
              <a:ext cx="1622174" cy="494244"/>
            </a:xfrm>
            <a:prstGeom prst="roundRect">
              <a:avLst>
                <a:gd name="adj" fmla="val 4707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fr-FR" sz="1500" b="1" dirty="0"/>
                <a:t>Cons</a:t>
              </a:r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gray">
            <a:xfrm>
              <a:off x="1314835" y="5203394"/>
              <a:ext cx="494243" cy="577500"/>
            </a:xfrm>
            <a:prstGeom prst="roundRect">
              <a:avLst>
                <a:gd name="adj" fmla="val 38598"/>
              </a:avLst>
            </a:prstGeom>
            <a:solidFill>
              <a:schemeClr val="accent5"/>
            </a:solidFill>
            <a:ln>
              <a:solidFill>
                <a:schemeClr val="bg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1500" b="1"/>
                <a:t>–</a:t>
              </a:r>
              <a:endParaRPr lang="en-GB" sz="1500" b="1" dirty="0"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ROS &amp; CONS (2/2)</a:t>
            </a:r>
            <a:endParaRPr lang="fr-FR" dirty="0"/>
          </a:p>
        </p:txBody>
      </p:sp>
      <p:sp>
        <p:nvSpPr>
          <p:cNvPr id="12" name="Espace réservé de la date 1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9</a:t>
            </a:fld>
            <a:endParaRPr lang="fr-FR" dirty="0"/>
          </a:p>
        </p:txBody>
      </p:sp>
      <p:sp>
        <p:nvSpPr>
          <p:cNvPr id="24" name="Rectangle à coins arrondis 23"/>
          <p:cNvSpPr/>
          <p:nvPr/>
        </p:nvSpPr>
        <p:spPr bwMode="gray">
          <a:xfrm>
            <a:off x="661988" y="1997897"/>
            <a:ext cx="3888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cap="all"/>
              <a:t>PROS</a:t>
            </a:r>
            <a:endParaRPr lang="en-US" sz="1400" b="1" cap="all" dirty="0"/>
          </a:p>
        </p:txBody>
      </p:sp>
      <p:sp>
        <p:nvSpPr>
          <p:cNvPr id="27" name="Rectangle à coins arrondis 26"/>
          <p:cNvSpPr/>
          <p:nvPr/>
        </p:nvSpPr>
        <p:spPr bwMode="gray">
          <a:xfrm>
            <a:off x="4913107" y="1990825"/>
            <a:ext cx="3888000" cy="36984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400" b="1" cap="all"/>
              <a:t>CONS</a:t>
            </a:r>
            <a:endParaRPr lang="en-US" sz="1400" b="1" cap="all" dirty="0"/>
          </a:p>
        </p:txBody>
      </p:sp>
      <p:sp>
        <p:nvSpPr>
          <p:cNvPr id="28" name="Rectangle à coins arrondis 27"/>
          <p:cNvSpPr/>
          <p:nvPr/>
        </p:nvSpPr>
        <p:spPr bwMode="gray">
          <a:xfrm>
            <a:off x="661988" y="2450493"/>
            <a:ext cx="3888000" cy="3591532"/>
          </a:xfrm>
          <a:prstGeom prst="roundRect">
            <a:avLst>
              <a:gd name="adj" fmla="val 1090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80000" indent="-180000">
              <a:lnSpc>
                <a:spcPct val="105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"/>
            </a:pPr>
            <a:r>
              <a:rPr lang="en-US" sz="1400" dirty="0">
                <a:solidFill>
                  <a:schemeClr val="bg2"/>
                </a:solidFill>
              </a:rPr>
              <a:t>Level 1</a:t>
            </a:r>
          </a:p>
          <a:p>
            <a:pPr marL="432000" lvl="1" indent="-252000">
              <a:lnSpc>
                <a:spcPct val="105000"/>
              </a:lnSpc>
              <a:spcBef>
                <a:spcPts val="300"/>
              </a:spcBef>
              <a:buFont typeface="Arial" panose="020B0604020202020204" pitchFamily="34" charset="0"/>
              <a:buChar char="—"/>
            </a:pPr>
            <a:r>
              <a:rPr lang="en-US" sz="1200" dirty="0">
                <a:solidFill>
                  <a:schemeClr val="bg2"/>
                </a:solidFill>
              </a:rPr>
              <a:t>Level 2</a:t>
            </a:r>
          </a:p>
          <a:p>
            <a:pPr marL="576000" lvl="2" indent="-144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2"/>
                </a:solidFill>
              </a:rPr>
              <a:t>Level 3</a:t>
            </a:r>
          </a:p>
        </p:txBody>
      </p:sp>
      <p:sp>
        <p:nvSpPr>
          <p:cNvPr id="29" name="Rectangle à coins arrondis 28"/>
          <p:cNvSpPr/>
          <p:nvPr/>
        </p:nvSpPr>
        <p:spPr bwMode="gray">
          <a:xfrm>
            <a:off x="4913107" y="2441789"/>
            <a:ext cx="3888000" cy="3600236"/>
          </a:xfrm>
          <a:prstGeom prst="roundRect">
            <a:avLst>
              <a:gd name="adj" fmla="val 10553"/>
            </a:avLst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72000" bIns="72000" rtlCol="0" anchor="t" anchorCtr="0"/>
          <a:lstStyle/>
          <a:p>
            <a:pPr marL="180000" indent="-180000">
              <a:lnSpc>
                <a:spcPct val="105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"/>
            </a:pPr>
            <a:r>
              <a:rPr lang="en-US" sz="1400" dirty="0">
                <a:solidFill>
                  <a:schemeClr val="bg2"/>
                </a:solidFill>
              </a:rPr>
              <a:t>Level 1</a:t>
            </a:r>
          </a:p>
          <a:p>
            <a:pPr marL="432000" lvl="1" indent="-252000">
              <a:lnSpc>
                <a:spcPct val="105000"/>
              </a:lnSpc>
              <a:spcBef>
                <a:spcPts val="300"/>
              </a:spcBef>
              <a:buFont typeface="Arial" panose="020B0604020202020204" pitchFamily="34" charset="0"/>
              <a:buChar char="—"/>
            </a:pPr>
            <a:r>
              <a:rPr lang="en-US" sz="1200" dirty="0">
                <a:solidFill>
                  <a:schemeClr val="bg2"/>
                </a:solidFill>
              </a:rPr>
              <a:t>Level 2</a:t>
            </a:r>
          </a:p>
          <a:p>
            <a:pPr marL="576000" lvl="2" indent="-1440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2"/>
                </a:solidFill>
              </a:rPr>
              <a:t>Level 3</a:t>
            </a:r>
          </a:p>
        </p:txBody>
      </p:sp>
      <p:sp>
        <p:nvSpPr>
          <p:cNvPr id="30" name="Rectangle à coins arrondis 29"/>
          <p:cNvSpPr>
            <a:spLocks noChangeAspect="1"/>
          </p:cNvSpPr>
          <p:nvPr/>
        </p:nvSpPr>
        <p:spPr bwMode="gray">
          <a:xfrm>
            <a:off x="2410285" y="1546687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fr-FR" sz="2200" b="1" dirty="0"/>
              <a:t>+</a:t>
            </a:r>
          </a:p>
        </p:txBody>
      </p:sp>
      <p:sp>
        <p:nvSpPr>
          <p:cNvPr id="31" name="Rectangle à coins arrondis 30"/>
          <p:cNvSpPr>
            <a:spLocks noChangeAspect="1"/>
          </p:cNvSpPr>
          <p:nvPr/>
        </p:nvSpPr>
        <p:spPr bwMode="gray">
          <a:xfrm>
            <a:off x="6661404" y="1546687"/>
            <a:ext cx="360000" cy="36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72000" rtlCol="0" anchor="ctr"/>
          <a:lstStyle/>
          <a:p>
            <a:pPr algn="ctr"/>
            <a:r>
              <a:rPr lang="en-GB" sz="2200" b="1" dirty="0"/>
              <a:t>–</a:t>
            </a:r>
            <a:endParaRPr lang="fr-FR" sz="2200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personne, homme&#10;&#10;Description générée avec un niveau de confiance élevé">
            <a:extLst>
              <a:ext uri="{FF2B5EF4-FFF2-40B4-BE49-F238E27FC236}">
                <a16:creationId xmlns:a16="http://schemas.microsoft.com/office/drawing/2014/main" xmlns="" id="{B913F18B-AED8-4EEE-AA3A-68B2C6735BC9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8" r="5628"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352649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/>
          <p:cNvCxnSpPr/>
          <p:nvPr/>
        </p:nvCxnSpPr>
        <p:spPr bwMode="gray">
          <a:xfrm>
            <a:off x="2888974" y="2218508"/>
            <a:ext cx="0" cy="2420983"/>
          </a:xfrm>
          <a:prstGeom prst="line">
            <a:avLst/>
          </a:prstGeom>
          <a:noFill/>
          <a:ln w="28575" cap="flat" cmpd="sng" algn="ctr">
            <a:solidFill>
              <a:srgbClr val="91C896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GRAPH EXAMPLES (1/2)</a:t>
            </a:r>
            <a:endParaRPr lang="fr-FR" dirty="0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0</a:t>
            </a:fld>
            <a:endParaRPr lang="fr-FR" dirty="0"/>
          </a:p>
        </p:txBody>
      </p:sp>
      <p:graphicFrame>
        <p:nvGraphicFramePr>
          <p:cNvPr id="6" name="Espace réservé du graphique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264020"/>
              </p:ext>
            </p:extLst>
          </p:nvPr>
        </p:nvGraphicFramePr>
        <p:xfrm>
          <a:off x="5144978" y="1445780"/>
          <a:ext cx="3160167" cy="3560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Espace réservé du 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216183"/>
              </p:ext>
            </p:extLst>
          </p:nvPr>
        </p:nvGraphicFramePr>
        <p:xfrm>
          <a:off x="552485" y="1445780"/>
          <a:ext cx="4000023" cy="3521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à coins arrondis 7"/>
          <p:cNvSpPr/>
          <p:nvPr/>
        </p:nvSpPr>
        <p:spPr bwMode="gray">
          <a:xfrm>
            <a:off x="327026" y="5357638"/>
            <a:ext cx="8489950" cy="6491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72000" bIns="0" rtlCol="0" anchor="ctr">
            <a:spAutoFit/>
          </a:bodyPr>
          <a:lstStyle/>
          <a:p>
            <a:r>
              <a:rPr lang="en-US" sz="1500" b="1" dirty="0"/>
              <a:t>CONCLUSION</a:t>
            </a:r>
            <a:br>
              <a:rPr lang="en-US" sz="1500" b="1" dirty="0"/>
            </a:br>
            <a:r>
              <a:rPr lang="en-US" sz="1500" dirty="0"/>
              <a:t>Company growth will require an increase in engineer hiring 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3" name="Espace réservé pour une image  22" descr="4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t="114" b="114"/>
          <a:stretch>
            <a:fillRect/>
          </a:stretch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15700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pic>
        <p:nvPicPr>
          <p:cNvPr id="22" name="Espace réservé pour une image  21" descr="6.jpg"/>
          <p:cNvPicPr>
            <a:picLocks noGrp="1" noChangeAspect="1"/>
          </p:cNvPicPr>
          <p:nvPr>
            <p:ph type="pic" sz="quarter" idx="29"/>
          </p:nvPr>
        </p:nvPicPr>
        <p:blipFill>
          <a:blip r:embed="rId2" cstate="screen"/>
          <a:srcRect l="26" r="26"/>
          <a:stretch>
            <a:fillRect/>
          </a:stretch>
        </p:blipFill>
        <p:spPr/>
      </p:pic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294804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/>
              <a:t>Chapter title</a:t>
            </a:r>
          </a:p>
          <a:p>
            <a:r>
              <a:rPr lang="fr-FR"/>
              <a:t>chapter title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xmlns="" id="{2E8B1902-1697-4FE4-AED7-C1D422D9A552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7" r="34157"/>
          <a:stretch>
            <a:fillRect/>
          </a:stretch>
        </p:blipFill>
        <p:spPr>
          <a:xfrm>
            <a:off x="5876275" y="0"/>
            <a:ext cx="3265200" cy="6858000"/>
          </a:xfrm>
        </p:spPr>
      </p:pic>
      <p:sp>
        <p:nvSpPr>
          <p:cNvPr id="17" name="Espace réservé du texte 1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90547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4568826" y="1520825"/>
            <a:ext cx="4248149" cy="3708375"/>
          </a:xfrm>
        </p:spPr>
        <p:txBody>
          <a:bodyPr/>
          <a:lstStyle/>
          <a:p>
            <a:r>
              <a:rPr lang="fr-FR" dirty="0" err="1"/>
              <a:t>Why</a:t>
            </a:r>
            <a:r>
              <a:rPr lang="fr-FR" dirty="0"/>
              <a:t> has net </a:t>
            </a:r>
            <a:r>
              <a:rPr lang="fr-FR" dirty="0" err="1"/>
              <a:t>result</a:t>
            </a:r>
            <a:r>
              <a:rPr lang="fr-FR" dirty="0"/>
              <a:t> </a:t>
            </a:r>
            <a:r>
              <a:rPr lang="fr-FR" dirty="0" err="1"/>
              <a:t>increased</a:t>
            </a:r>
            <a:r>
              <a:rPr lang="fr-FR" dirty="0"/>
              <a:t>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much</a:t>
            </a:r>
            <a:r>
              <a:rPr lang="fr-FR" dirty="0"/>
              <a:t> </a:t>
            </a:r>
            <a:r>
              <a:rPr lang="fr-FR" dirty="0" err="1"/>
              <a:t>since</a:t>
            </a:r>
            <a:r>
              <a:rPr lang="fr-FR" dirty="0"/>
              <a:t> 2013?</a:t>
            </a:r>
          </a:p>
          <a:p>
            <a:pPr lvl="1"/>
            <a:r>
              <a:rPr lang="fr-FR" dirty="0" err="1"/>
              <a:t>Quare</a:t>
            </a:r>
            <a:r>
              <a:rPr lang="fr-FR" dirty="0"/>
              <a:t> hoc </a:t>
            </a:r>
            <a:r>
              <a:rPr lang="fr-FR" dirty="0" err="1"/>
              <a:t>quidem</a:t>
            </a:r>
            <a:r>
              <a:rPr lang="fr-FR" dirty="0"/>
              <a:t> </a:t>
            </a:r>
            <a:r>
              <a:rPr lang="fr-FR" dirty="0" err="1"/>
              <a:t>praeceptum</a:t>
            </a:r>
            <a:r>
              <a:rPr lang="fr-FR" dirty="0"/>
              <a:t>, </a:t>
            </a:r>
            <a:r>
              <a:rPr lang="fr-FR" dirty="0" err="1"/>
              <a:t>cuiuscumque</a:t>
            </a:r>
            <a:r>
              <a:rPr lang="fr-FR" dirty="0"/>
              <a:t> est, ad</a:t>
            </a:r>
          </a:p>
          <a:p>
            <a:pPr lvl="1"/>
            <a:r>
              <a:rPr lang="fr-FR" dirty="0" err="1"/>
              <a:t>Accedebant</a:t>
            </a:r>
            <a:r>
              <a:rPr lang="fr-FR" dirty="0"/>
              <a:t> </a:t>
            </a:r>
            <a:r>
              <a:rPr lang="fr-FR" dirty="0" err="1"/>
              <a:t>enim</a:t>
            </a:r>
            <a:r>
              <a:rPr lang="fr-FR" dirty="0"/>
              <a:t> </a:t>
            </a:r>
            <a:r>
              <a:rPr lang="fr-FR" dirty="0" err="1"/>
              <a:t>eius</a:t>
            </a:r>
            <a:r>
              <a:rPr lang="fr-FR" dirty="0"/>
              <a:t> </a:t>
            </a:r>
            <a:r>
              <a:rPr lang="fr-FR" dirty="0" err="1"/>
              <a:t>asperitati</a:t>
            </a:r>
            <a:r>
              <a:rPr lang="fr-FR" dirty="0"/>
              <a:t>, </a:t>
            </a:r>
            <a:r>
              <a:rPr lang="fr-FR" dirty="0" err="1"/>
              <a:t>ubi</a:t>
            </a:r>
            <a:r>
              <a:rPr lang="fr-FR" dirty="0"/>
              <a:t> </a:t>
            </a:r>
            <a:r>
              <a:rPr lang="fr-FR" dirty="0" err="1"/>
              <a:t>inminuta</a:t>
            </a:r>
            <a:r>
              <a:rPr lang="fr-FR" dirty="0"/>
              <a:t> </a:t>
            </a:r>
            <a:r>
              <a:rPr lang="fr-FR" dirty="0" err="1"/>
              <a:t>vel</a:t>
            </a:r>
            <a:endParaRPr lang="fr-FR" dirty="0"/>
          </a:p>
          <a:p>
            <a:pPr lvl="1"/>
            <a:r>
              <a:rPr lang="fr-FR" dirty="0"/>
              <a:t>Post hoc impie </a:t>
            </a:r>
            <a:r>
              <a:rPr lang="fr-FR" dirty="0" err="1"/>
              <a:t>perpetratum</a:t>
            </a:r>
            <a:r>
              <a:rPr lang="fr-FR" dirty="0"/>
              <a:t> quod in </a:t>
            </a:r>
            <a:r>
              <a:rPr lang="fr-FR" dirty="0" err="1"/>
              <a:t>aliis</a:t>
            </a:r>
            <a:r>
              <a:rPr lang="fr-FR" dirty="0"/>
              <a:t> </a:t>
            </a:r>
            <a:r>
              <a:rPr lang="fr-FR" dirty="0" err="1"/>
              <a:t>quoque</a:t>
            </a:r>
            <a:endParaRPr lang="fr-FR" dirty="0"/>
          </a:p>
          <a:p>
            <a:pPr lvl="1"/>
            <a:r>
              <a:rPr lang="fr-FR" dirty="0" err="1"/>
              <a:t>Saepissime</a:t>
            </a:r>
            <a:r>
              <a:rPr lang="fr-FR" dirty="0"/>
              <a:t> </a:t>
            </a:r>
            <a:r>
              <a:rPr lang="fr-FR" dirty="0" err="1"/>
              <a:t>igitur</a:t>
            </a:r>
            <a:r>
              <a:rPr lang="fr-FR" dirty="0"/>
              <a:t> </a:t>
            </a:r>
            <a:r>
              <a:rPr lang="fr-FR" dirty="0" err="1"/>
              <a:t>mihi</a:t>
            </a:r>
            <a:r>
              <a:rPr lang="fr-FR" dirty="0"/>
              <a:t> de </a:t>
            </a:r>
            <a:r>
              <a:rPr lang="fr-FR" dirty="0" err="1"/>
              <a:t>amicitia</a:t>
            </a:r>
            <a:r>
              <a:rPr lang="fr-FR" dirty="0"/>
              <a:t> </a:t>
            </a:r>
            <a:r>
              <a:rPr lang="fr-FR" dirty="0" err="1"/>
              <a:t>cogitanti</a:t>
            </a:r>
            <a:endParaRPr lang="fr-FR" dirty="0"/>
          </a:p>
          <a:p>
            <a:pPr lvl="1"/>
            <a:r>
              <a:rPr lang="fr-FR" dirty="0" err="1"/>
              <a:t>Eminuit</a:t>
            </a:r>
            <a:r>
              <a:rPr lang="fr-FR" dirty="0"/>
              <a:t> </a:t>
            </a:r>
            <a:r>
              <a:rPr lang="fr-FR" dirty="0" err="1"/>
              <a:t>autem</a:t>
            </a:r>
            <a:r>
              <a:rPr lang="fr-FR" dirty="0"/>
              <a:t> inter humilia </a:t>
            </a:r>
            <a:r>
              <a:rPr lang="fr-FR" dirty="0" err="1"/>
              <a:t>supergressa</a:t>
            </a:r>
            <a:r>
              <a:rPr lang="fr-FR" dirty="0"/>
              <a:t> </a:t>
            </a:r>
            <a:r>
              <a:rPr lang="fr-FR" dirty="0" err="1"/>
              <a:t>iam</a:t>
            </a:r>
            <a:endParaRPr lang="fr-FR" dirty="0"/>
          </a:p>
          <a:p>
            <a:pPr lvl="1"/>
            <a:r>
              <a:rPr lang="fr-FR" dirty="0" err="1"/>
              <a:t>Illud</a:t>
            </a:r>
            <a:r>
              <a:rPr lang="fr-FR" dirty="0"/>
              <a:t> </a:t>
            </a:r>
            <a:r>
              <a:rPr lang="fr-FR" dirty="0" err="1"/>
              <a:t>tamen</a:t>
            </a:r>
            <a:r>
              <a:rPr lang="fr-FR" dirty="0"/>
              <a:t> </a:t>
            </a:r>
            <a:r>
              <a:rPr lang="fr-FR" dirty="0" err="1"/>
              <a:t>clausos</a:t>
            </a:r>
            <a:r>
              <a:rPr lang="fr-FR" dirty="0"/>
              <a:t> </a:t>
            </a:r>
            <a:r>
              <a:rPr lang="fr-FR" dirty="0" err="1"/>
              <a:t>vehementer</a:t>
            </a:r>
            <a:r>
              <a:rPr lang="fr-FR" dirty="0"/>
              <a:t> </a:t>
            </a:r>
            <a:r>
              <a:rPr lang="fr-FR" dirty="0" err="1"/>
              <a:t>angebat</a:t>
            </a:r>
            <a:r>
              <a:rPr lang="fr-FR" dirty="0"/>
              <a:t> quod </a:t>
            </a:r>
            <a:r>
              <a:rPr lang="fr-FR" dirty="0" err="1"/>
              <a:t>captis</a:t>
            </a:r>
            <a:endParaRPr lang="fr-FR" dirty="0"/>
          </a:p>
          <a:p>
            <a:pPr lvl="1"/>
            <a:r>
              <a:rPr lang="fr-FR" dirty="0" err="1"/>
              <a:t>Advenit</a:t>
            </a:r>
            <a:r>
              <a:rPr lang="fr-FR" dirty="0"/>
              <a:t> post </a:t>
            </a:r>
            <a:r>
              <a:rPr lang="fr-FR" dirty="0" err="1"/>
              <a:t>multos</a:t>
            </a:r>
            <a:r>
              <a:rPr lang="fr-FR" dirty="0"/>
              <a:t> </a:t>
            </a:r>
            <a:r>
              <a:rPr lang="fr-FR" dirty="0" err="1"/>
              <a:t>Scudilo</a:t>
            </a:r>
            <a:r>
              <a:rPr lang="fr-FR" dirty="0"/>
              <a:t> </a:t>
            </a:r>
            <a:r>
              <a:rPr lang="fr-FR" dirty="0" err="1"/>
              <a:t>Scutariorum</a:t>
            </a:r>
            <a:r>
              <a:rPr lang="fr-FR" dirty="0"/>
              <a:t> </a:t>
            </a:r>
            <a:r>
              <a:rPr lang="fr-FR" dirty="0" err="1"/>
              <a:t>tribunus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GRAPH EXAMPLES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4</a:t>
            </a:fld>
            <a:endParaRPr lang="fr-FR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27026" y="5357638"/>
            <a:ext cx="8489950" cy="64918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72000" bIns="0" rtlCol="0" anchor="ctr">
            <a:spAutoFit/>
          </a:bodyPr>
          <a:lstStyle/>
          <a:p>
            <a:r>
              <a:rPr lang="en-US" sz="1500" b="1" dirty="0"/>
              <a:t>CONCLUSION</a:t>
            </a:r>
            <a:br>
              <a:rPr lang="en-US" sz="1500" b="1" dirty="0"/>
            </a:br>
            <a:r>
              <a:rPr lang="en-US" sz="1500" dirty="0"/>
              <a:t>We recommend staying on our current course </a:t>
            </a:r>
          </a:p>
        </p:txBody>
      </p:sp>
      <p:graphicFrame>
        <p:nvGraphicFramePr>
          <p:cNvPr id="17" name="Espace réservé du graphique 10"/>
          <p:cNvGraphicFramePr>
            <a:graphicFrameLocks noGrp="1"/>
          </p:cNvGraphicFramePr>
          <p:nvPr>
            <p:ph type="chart" sz="quarter" idx="29"/>
            <p:extLst>
              <p:ext uri="{D42A27DB-BD31-4B8C-83A1-F6EECF244321}">
                <p14:modId xmlns:p14="http://schemas.microsoft.com/office/powerpoint/2010/main" val="3427697412"/>
              </p:ext>
            </p:extLst>
          </p:nvPr>
        </p:nvGraphicFramePr>
        <p:xfrm>
          <a:off x="295276" y="1520825"/>
          <a:ext cx="3832971" cy="3636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NSEQUENCES (1/3)</a:t>
            </a:r>
            <a:endParaRPr lang="fr-FR" dirty="0"/>
          </a:p>
        </p:txBody>
      </p:sp>
      <p:sp>
        <p:nvSpPr>
          <p:cNvPr id="18" name="Espace réservé de la date 1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5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327025" y="1520825"/>
            <a:ext cx="4500000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7" name="ZoneTexte 6"/>
          <p:cNvSpPr txBox="1"/>
          <p:nvPr/>
        </p:nvSpPr>
        <p:spPr bwMode="gray">
          <a:xfrm>
            <a:off x="327025" y="1914833"/>
            <a:ext cx="4500000" cy="287725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27025" y="2758751"/>
            <a:ext cx="4500000" cy="325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9" name="ZoneTexte 8"/>
          <p:cNvSpPr txBox="1"/>
          <p:nvPr/>
        </p:nvSpPr>
        <p:spPr bwMode="gray">
          <a:xfrm>
            <a:off x="327025" y="3152759"/>
            <a:ext cx="4500000" cy="287725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</p:txBody>
      </p:sp>
      <p:sp>
        <p:nvSpPr>
          <p:cNvPr id="10" name="Rectangle à coins arrondis 9"/>
          <p:cNvSpPr/>
          <p:nvPr/>
        </p:nvSpPr>
        <p:spPr bwMode="gray">
          <a:xfrm>
            <a:off x="327025" y="3996677"/>
            <a:ext cx="4500000" cy="325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1" name="ZoneTexte 10"/>
          <p:cNvSpPr txBox="1"/>
          <p:nvPr/>
        </p:nvSpPr>
        <p:spPr bwMode="gray">
          <a:xfrm>
            <a:off x="327025" y="4390686"/>
            <a:ext cx="4500000" cy="287725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5234604"/>
            <a:ext cx="4500000" cy="32567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3" name="ZoneTexte 12"/>
          <p:cNvSpPr txBox="1"/>
          <p:nvPr/>
        </p:nvSpPr>
        <p:spPr bwMode="gray">
          <a:xfrm>
            <a:off x="327025" y="5628612"/>
            <a:ext cx="4500000" cy="287725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</p:txBody>
      </p:sp>
      <p:grpSp>
        <p:nvGrpSpPr>
          <p:cNvPr id="14" name="Groupe 13"/>
          <p:cNvGrpSpPr/>
          <p:nvPr/>
        </p:nvGrpSpPr>
        <p:grpSpPr bwMode="gray">
          <a:xfrm>
            <a:off x="5513433" y="1520825"/>
            <a:ext cx="457767" cy="4521200"/>
            <a:chOff x="8229600" y="2216721"/>
            <a:chExt cx="667657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à coins arrondis 16"/>
          <p:cNvSpPr/>
          <p:nvPr/>
        </p:nvSpPr>
        <p:spPr bwMode="gray">
          <a:xfrm>
            <a:off x="6308509" y="2876428"/>
            <a:ext cx="2508466" cy="1789536"/>
          </a:xfrm>
          <a:prstGeom prst="roundRect">
            <a:avLst>
              <a:gd name="adj" fmla="val 21110"/>
            </a:avLst>
          </a:prstGeom>
          <a:noFill/>
          <a:ln w="38100" cap="sq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>
                <a:solidFill>
                  <a:schemeClr val="bg2"/>
                </a:solidFill>
              </a:rPr>
              <a:t>Text – 15 pts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/>
              <a:t>Text level 1</a:t>
            </a:r>
          </a:p>
          <a:p>
            <a:pPr lvl="1"/>
            <a:r>
              <a:rPr lang="fr-FR"/>
              <a:t>Text level 2</a:t>
            </a:r>
          </a:p>
          <a:p>
            <a:pPr lvl="2"/>
            <a:r>
              <a:rPr lang="fr-FR"/>
              <a:t>Text level 3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CONSEQUENCES (2/3)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6</a:t>
            </a:fld>
            <a:endParaRPr lang="fr-FR" dirty="0"/>
          </a:p>
        </p:txBody>
      </p:sp>
      <p:grpSp>
        <p:nvGrpSpPr>
          <p:cNvPr id="6" name="Groupe 13"/>
          <p:cNvGrpSpPr/>
          <p:nvPr/>
        </p:nvGrpSpPr>
        <p:grpSpPr bwMode="gray">
          <a:xfrm>
            <a:off x="5778473" y="1520825"/>
            <a:ext cx="457767" cy="4521200"/>
            <a:chOff x="8229600" y="2216721"/>
            <a:chExt cx="667657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à coins arrondis 16"/>
          <p:cNvSpPr/>
          <p:nvPr/>
        </p:nvSpPr>
        <p:spPr bwMode="gray">
          <a:xfrm>
            <a:off x="6573549" y="2876428"/>
            <a:ext cx="2243426" cy="1789536"/>
          </a:xfrm>
          <a:prstGeom prst="roundRect">
            <a:avLst>
              <a:gd name="adj" fmla="val 21110"/>
            </a:avLst>
          </a:prstGeom>
          <a:noFill/>
          <a:ln w="381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>
                <a:solidFill>
                  <a:schemeClr val="bg2"/>
                </a:solidFill>
              </a:rPr>
              <a:t>Text – 15 pts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>
          <a:xfrm>
            <a:off x="5224463" y="1520824"/>
            <a:ext cx="3595686" cy="4500563"/>
          </a:xfrm>
          <a:prstGeom prst="roundRect">
            <a:avLst>
              <a:gd name="adj" fmla="val 9974"/>
            </a:avLst>
          </a:prstGeom>
          <a:solidFill>
            <a:schemeClr val="bg1">
              <a:lumMod val="95000"/>
            </a:schemeClr>
          </a:solidFill>
        </p:spPr>
        <p:txBody>
          <a:bodyPr lIns="108000" tIns="108000" rIns="72000" bIns="108000"/>
          <a:lstStyle/>
          <a:p>
            <a:r>
              <a:rPr lang="fr-FR">
                <a:solidFill>
                  <a:schemeClr val="bg1">
                    <a:lumMod val="50000"/>
                  </a:schemeClr>
                </a:solidFill>
              </a:rPr>
              <a:t>Text level 1</a:t>
            </a:r>
          </a:p>
          <a:p>
            <a:pPr lvl="1"/>
            <a:r>
              <a:rPr lang="fr-FR">
                <a:solidFill>
                  <a:schemeClr val="bg1">
                    <a:lumMod val="50000"/>
                  </a:schemeClr>
                </a:solidFill>
              </a:rPr>
              <a:t>Text level 2</a:t>
            </a:r>
          </a:p>
          <a:p>
            <a:pPr lvl="2"/>
            <a:r>
              <a:rPr lang="fr-FR">
                <a:solidFill>
                  <a:schemeClr val="bg1">
                    <a:lumMod val="50000"/>
                  </a:schemeClr>
                </a:solidFill>
              </a:rPr>
              <a:t>Text level 3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Espace réservé du texte 2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CONSEQUENCES (3/3)</a:t>
            </a:r>
          </a:p>
        </p:txBody>
      </p:sp>
      <p:sp>
        <p:nvSpPr>
          <p:cNvPr id="22" name="Espace réservé de la date 2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4" name="Espace réservé du pied de page 23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3" name="Espace réservé du numéro de diapositive 2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7</a:t>
            </a:fld>
            <a:endParaRPr lang="fr-FR" dirty="0"/>
          </a:p>
        </p:txBody>
      </p:sp>
      <p:grpSp>
        <p:nvGrpSpPr>
          <p:cNvPr id="6" name="Groupe 13"/>
          <p:cNvGrpSpPr/>
          <p:nvPr/>
        </p:nvGrpSpPr>
        <p:grpSpPr bwMode="gray">
          <a:xfrm>
            <a:off x="4572541" y="1520824"/>
            <a:ext cx="457767" cy="4509646"/>
            <a:chOff x="8229600" y="2216721"/>
            <a:chExt cx="667657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à coins arrondis 10"/>
          <p:cNvSpPr/>
          <p:nvPr/>
        </p:nvSpPr>
        <p:spPr bwMode="gray">
          <a:xfrm>
            <a:off x="327025" y="1520825"/>
            <a:ext cx="3804104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2" name="ZoneTexte 11"/>
          <p:cNvSpPr txBox="1"/>
          <p:nvPr/>
        </p:nvSpPr>
        <p:spPr bwMode="gray">
          <a:xfrm>
            <a:off x="327025" y="1914832"/>
            <a:ext cx="3804104" cy="481880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327025" y="2758751"/>
            <a:ext cx="3804104" cy="325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4" name="ZoneTexte 13"/>
          <p:cNvSpPr txBox="1"/>
          <p:nvPr/>
        </p:nvSpPr>
        <p:spPr bwMode="gray">
          <a:xfrm>
            <a:off x="327025" y="3152759"/>
            <a:ext cx="3804104" cy="481880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</p:txBody>
      </p:sp>
      <p:sp>
        <p:nvSpPr>
          <p:cNvPr id="18" name="Rectangle à coins arrondis 17"/>
          <p:cNvSpPr/>
          <p:nvPr/>
        </p:nvSpPr>
        <p:spPr bwMode="gray">
          <a:xfrm>
            <a:off x="327025" y="3996677"/>
            <a:ext cx="3804104" cy="325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9" name="ZoneTexte 18"/>
          <p:cNvSpPr txBox="1"/>
          <p:nvPr/>
        </p:nvSpPr>
        <p:spPr bwMode="gray">
          <a:xfrm>
            <a:off x="327025" y="4390686"/>
            <a:ext cx="3804104" cy="481880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</p:txBody>
      </p:sp>
      <p:sp>
        <p:nvSpPr>
          <p:cNvPr id="20" name="Rectangle à coins arrondis 19"/>
          <p:cNvSpPr/>
          <p:nvPr/>
        </p:nvSpPr>
        <p:spPr bwMode="gray">
          <a:xfrm>
            <a:off x="327025" y="5234604"/>
            <a:ext cx="3804104" cy="32567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21" name="ZoneTexte 20"/>
          <p:cNvSpPr txBox="1"/>
          <p:nvPr/>
        </p:nvSpPr>
        <p:spPr bwMode="gray">
          <a:xfrm>
            <a:off x="327025" y="5628612"/>
            <a:ext cx="3804104" cy="481880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TWO FACTORS (1/2)</a:t>
            </a:r>
            <a:endParaRPr lang="fr-FR" dirty="0"/>
          </a:p>
        </p:txBody>
      </p:sp>
      <p:sp>
        <p:nvSpPr>
          <p:cNvPr id="18" name="Espace réservé de la date 1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8</a:t>
            </a:fld>
            <a:endParaRPr lang="fr-FR" dirty="0"/>
          </a:p>
        </p:txBody>
      </p:sp>
      <p:grpSp>
        <p:nvGrpSpPr>
          <p:cNvPr id="6" name="Groupe 13"/>
          <p:cNvGrpSpPr/>
          <p:nvPr/>
        </p:nvGrpSpPr>
        <p:grpSpPr bwMode="gray">
          <a:xfrm>
            <a:off x="2995554" y="2570922"/>
            <a:ext cx="216000" cy="2409450"/>
            <a:chOff x="8229600" y="2216721"/>
            <a:chExt cx="667657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à coins arrondis 10"/>
          <p:cNvSpPr/>
          <p:nvPr/>
        </p:nvSpPr>
        <p:spPr bwMode="gray">
          <a:xfrm>
            <a:off x="327025" y="1520825"/>
            <a:ext cx="2700000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2" name="ZoneTexte 11"/>
          <p:cNvSpPr txBox="1"/>
          <p:nvPr/>
        </p:nvSpPr>
        <p:spPr bwMode="gray">
          <a:xfrm>
            <a:off x="327025" y="1914831"/>
            <a:ext cx="2444775" cy="4127194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3217391" y="1520825"/>
            <a:ext cx="2700000" cy="3256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22" name="Rectangle à coins arrondis 21"/>
          <p:cNvSpPr/>
          <p:nvPr/>
        </p:nvSpPr>
        <p:spPr bwMode="gray">
          <a:xfrm>
            <a:off x="6120150" y="1520824"/>
            <a:ext cx="2700000" cy="325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23" name="ZoneTexte 22"/>
          <p:cNvSpPr txBox="1"/>
          <p:nvPr/>
        </p:nvSpPr>
        <p:spPr bwMode="gray">
          <a:xfrm>
            <a:off x="6120150" y="1914830"/>
            <a:ext cx="2700000" cy="4127194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sp>
        <p:nvSpPr>
          <p:cNvPr id="24" name="ZoneTexte 23"/>
          <p:cNvSpPr txBox="1"/>
          <p:nvPr/>
        </p:nvSpPr>
        <p:spPr bwMode="gray">
          <a:xfrm>
            <a:off x="3222000" y="1914832"/>
            <a:ext cx="2700000" cy="4127193"/>
          </a:xfrm>
          <a:prstGeom prst="roundRect">
            <a:avLst>
              <a:gd name="adj" fmla="val 8957"/>
            </a:avLst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no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grpSp>
        <p:nvGrpSpPr>
          <p:cNvPr id="7" name="Groupe 13"/>
          <p:cNvGrpSpPr/>
          <p:nvPr/>
        </p:nvGrpSpPr>
        <p:grpSpPr bwMode="gray">
          <a:xfrm flipH="1">
            <a:off x="5922000" y="2570922"/>
            <a:ext cx="216000" cy="2409450"/>
            <a:chOff x="8229600" y="2216721"/>
            <a:chExt cx="667657" cy="5325466"/>
          </a:xfrm>
        </p:grpSpPr>
        <p:cxnSp>
          <p:nvCxnSpPr>
            <p:cNvPr id="26" name="Connecteur droit 25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avec flèche 27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TWO FACTORS (2/2)</a:t>
            </a:r>
            <a:endParaRPr lang="fr-FR" dirty="0"/>
          </a:p>
        </p:txBody>
      </p:sp>
      <p:sp>
        <p:nvSpPr>
          <p:cNvPr id="17" name="Espace réservé de la date 1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1" name="Espace réservé du pied de page 2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0" name="Espace réservé du numéro de diapositive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9</a:t>
            </a:fld>
            <a:endParaRPr lang="fr-FR" dirty="0"/>
          </a:p>
        </p:txBody>
      </p:sp>
      <p:grpSp>
        <p:nvGrpSpPr>
          <p:cNvPr id="6" name="Groupe 13"/>
          <p:cNvGrpSpPr/>
          <p:nvPr/>
        </p:nvGrpSpPr>
        <p:grpSpPr bwMode="gray">
          <a:xfrm>
            <a:off x="3141326" y="2570922"/>
            <a:ext cx="216000" cy="2409450"/>
            <a:chOff x="8229600" y="2216721"/>
            <a:chExt cx="667657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à coins arrondis 10"/>
          <p:cNvSpPr/>
          <p:nvPr/>
        </p:nvSpPr>
        <p:spPr bwMode="gray">
          <a:xfrm>
            <a:off x="327025" y="1520825"/>
            <a:ext cx="2700000" cy="3256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6079823" y="1520825"/>
            <a:ext cx="2700000" cy="3256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691" tIns="31346" rIns="62691" bIns="31346" rtlCol="0" anchor="ctr">
            <a:normAutofit fontScale="85000" lnSpcReduction="20000"/>
          </a:bodyPr>
          <a:lstStyle/>
          <a:p>
            <a:pPr algn="ctr"/>
            <a:r>
              <a:rPr lang="fr-FR" sz="1500" b="1" dirty="0" err="1"/>
              <a:t>Text</a:t>
            </a:r>
            <a:r>
              <a:rPr lang="fr-FR" sz="1500" b="1" dirty="0"/>
              <a:t> </a:t>
            </a:r>
            <a:r>
              <a:rPr lang="fr-FR" sz="1500" b="1" dirty="0" err="1"/>
              <a:t>level</a:t>
            </a:r>
            <a:r>
              <a:rPr lang="fr-FR" sz="1500" b="1" dirty="0"/>
              <a:t> 0 </a:t>
            </a:r>
            <a:r>
              <a:rPr lang="fr-FR" sz="1500" b="1"/>
              <a:t>– 13 </a:t>
            </a:r>
            <a:r>
              <a:rPr lang="fr-FR" sz="1500" b="1" dirty="0"/>
              <a:t>pts</a:t>
            </a:r>
          </a:p>
        </p:txBody>
      </p:sp>
      <p:sp>
        <p:nvSpPr>
          <p:cNvPr id="24" name="ZoneTexte 23"/>
          <p:cNvSpPr txBox="1"/>
          <p:nvPr/>
        </p:nvSpPr>
        <p:spPr bwMode="gray">
          <a:xfrm>
            <a:off x="6084432" y="1914832"/>
            <a:ext cx="2700000" cy="4127193"/>
          </a:xfrm>
          <a:prstGeom prst="roundRect">
            <a:avLst>
              <a:gd name="adj" fmla="val 8957"/>
            </a:avLst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no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grpSp>
        <p:nvGrpSpPr>
          <p:cNvPr id="7" name="Groupe 13"/>
          <p:cNvGrpSpPr/>
          <p:nvPr/>
        </p:nvGrpSpPr>
        <p:grpSpPr bwMode="gray">
          <a:xfrm flipH="1">
            <a:off x="5762976" y="2570922"/>
            <a:ext cx="216000" cy="2409450"/>
            <a:chOff x="8229600" y="2216721"/>
            <a:chExt cx="667657" cy="5325466"/>
          </a:xfrm>
        </p:grpSpPr>
        <p:cxnSp>
          <p:nvCxnSpPr>
            <p:cNvPr id="26" name="Connecteur droit 25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avec flèche 27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à coins arrondis 17"/>
          <p:cNvSpPr/>
          <p:nvPr/>
        </p:nvSpPr>
        <p:spPr bwMode="gray">
          <a:xfrm>
            <a:off x="3446077" y="2876428"/>
            <a:ext cx="2243426" cy="1789536"/>
          </a:xfrm>
          <a:prstGeom prst="roundRect">
            <a:avLst>
              <a:gd name="adj" fmla="val 21110"/>
            </a:avLst>
          </a:prstGeom>
          <a:noFill/>
          <a:ln w="381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>
                <a:solidFill>
                  <a:schemeClr val="bg2"/>
                </a:solidFill>
              </a:rPr>
              <a:t>Text – 15 pts</a:t>
            </a:r>
          </a:p>
        </p:txBody>
      </p:sp>
      <p:sp>
        <p:nvSpPr>
          <p:cNvPr id="19" name="ZoneTexte 18"/>
          <p:cNvSpPr txBox="1"/>
          <p:nvPr/>
        </p:nvSpPr>
        <p:spPr bwMode="gray">
          <a:xfrm>
            <a:off x="323850" y="1914832"/>
            <a:ext cx="2700000" cy="4127193"/>
          </a:xfrm>
          <a:prstGeom prst="roundRect">
            <a:avLst>
              <a:gd name="adj" fmla="val 8957"/>
            </a:avLst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no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pour une image  3" descr="Une image contenant ciel, extérieur, bâtiment&#10;&#10;Description générée avec un niveau de confiance très élevé">
            <a:extLst>
              <a:ext uri="{FF2B5EF4-FFF2-40B4-BE49-F238E27FC236}">
                <a16:creationId xmlns:a16="http://schemas.microsoft.com/office/drawing/2014/main" xmlns="" id="{939529FD-A9A2-47BC-B823-18F430DB2D8E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2280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FOUR FACTORS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6" name="Espace réservé du pied de page 2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5" name="Espace réservé du numéro de diapositive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0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5728006" y="1541800"/>
            <a:ext cx="3060000" cy="36984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312917" y="1551027"/>
            <a:ext cx="3060000" cy="36549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17218" y="4149269"/>
            <a:ext cx="3060000" cy="3698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5717675" y="4150901"/>
            <a:ext cx="3060000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27" name="ZoneTexte 26"/>
          <p:cNvSpPr txBox="1"/>
          <p:nvPr/>
        </p:nvSpPr>
        <p:spPr bwMode="gray">
          <a:xfrm>
            <a:off x="330688" y="1943022"/>
            <a:ext cx="3060000" cy="7271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sp>
        <p:nvSpPr>
          <p:cNvPr id="28" name="ZoneTexte 27"/>
          <p:cNvSpPr txBox="1"/>
          <p:nvPr/>
        </p:nvSpPr>
        <p:spPr bwMode="gray">
          <a:xfrm>
            <a:off x="5728006" y="1943022"/>
            <a:ext cx="3060000" cy="7271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sp>
        <p:nvSpPr>
          <p:cNvPr id="29" name="ZoneTexte 28"/>
          <p:cNvSpPr txBox="1"/>
          <p:nvPr/>
        </p:nvSpPr>
        <p:spPr bwMode="gray">
          <a:xfrm>
            <a:off x="310026" y="4547252"/>
            <a:ext cx="3060000" cy="7271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sp>
        <p:nvSpPr>
          <p:cNvPr id="30" name="ZoneTexte 29"/>
          <p:cNvSpPr txBox="1"/>
          <p:nvPr/>
        </p:nvSpPr>
        <p:spPr bwMode="gray">
          <a:xfrm>
            <a:off x="5717675" y="4547252"/>
            <a:ext cx="3060000" cy="7271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</a:p>
          <a:p>
            <a:pPr marL="432000" lvl="1" indent="-252000">
              <a:lnSpc>
                <a:spcPct val="105000"/>
              </a:lnSpc>
              <a:buFont typeface="Arial" panose="020B0604020202020204" pitchFamily="34" charset="0"/>
              <a:buChar char="—"/>
            </a:pPr>
            <a:r>
              <a:rPr lang="fr-FR" sz="1200" dirty="0" err="1">
                <a:solidFill>
                  <a:schemeClr val="bg2"/>
                </a:solidFill>
              </a:rPr>
              <a:t>Level</a:t>
            </a:r>
            <a:r>
              <a:rPr lang="fr-FR" sz="1200" dirty="0">
                <a:solidFill>
                  <a:schemeClr val="bg2"/>
                </a:solidFill>
              </a:rPr>
              <a:t> 2</a:t>
            </a:r>
          </a:p>
          <a:p>
            <a:pPr marL="576000" lvl="2" indent="-144000">
              <a:lnSpc>
                <a:spcPct val="105000"/>
              </a:lnSpc>
              <a:buSzPct val="100000"/>
              <a:buFont typeface="Arial" panose="020B0604020202020204" pitchFamily="34" charset="0"/>
              <a:buChar char="•"/>
            </a:pPr>
            <a:r>
              <a:rPr lang="fr-FR" sz="1000" dirty="0" err="1">
                <a:solidFill>
                  <a:schemeClr val="bg2"/>
                </a:solidFill>
              </a:rPr>
              <a:t>Level</a:t>
            </a:r>
            <a:r>
              <a:rPr lang="fr-FR" sz="1000" dirty="0">
                <a:solidFill>
                  <a:schemeClr val="bg2"/>
                </a:solidFill>
              </a:rPr>
              <a:t> 3</a:t>
            </a:r>
          </a:p>
        </p:txBody>
      </p:sp>
      <p:grpSp>
        <p:nvGrpSpPr>
          <p:cNvPr id="10" name="Groupe 30"/>
          <p:cNvGrpSpPr/>
          <p:nvPr/>
        </p:nvGrpSpPr>
        <p:grpSpPr bwMode="gray">
          <a:xfrm>
            <a:off x="3527096" y="2213149"/>
            <a:ext cx="2089807" cy="1753609"/>
            <a:chOff x="3803510" y="3389016"/>
            <a:chExt cx="2089807" cy="2557343"/>
          </a:xfrm>
        </p:grpSpPr>
        <p:sp>
          <p:nvSpPr>
            <p:cNvPr id="32" name="Arc plein 31"/>
            <p:cNvSpPr/>
            <p:nvPr/>
          </p:nvSpPr>
          <p:spPr bwMode="gray">
            <a:xfrm>
              <a:off x="4067795" y="3621521"/>
              <a:ext cx="1557523" cy="2271653"/>
            </a:xfrm>
            <a:prstGeom prst="blockArc">
              <a:avLst>
                <a:gd name="adj1" fmla="val 10845253"/>
                <a:gd name="adj2" fmla="val 16237153"/>
                <a:gd name="adj3" fmla="val 24697"/>
              </a:avLst>
            </a:prstGeom>
            <a:solidFill>
              <a:schemeClr val="accent4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b="1" dirty="0">
                <a:solidFill>
                  <a:schemeClr val="bg2"/>
                </a:solidFill>
              </a:endParaRPr>
            </a:p>
          </p:txBody>
        </p:sp>
        <p:sp>
          <p:nvSpPr>
            <p:cNvPr id="33" name="Arc plein 32"/>
            <p:cNvSpPr/>
            <p:nvPr/>
          </p:nvSpPr>
          <p:spPr bwMode="gray">
            <a:xfrm rot="5400000">
              <a:off x="3710728" y="3978587"/>
              <a:ext cx="2271656" cy="1557521"/>
            </a:xfrm>
            <a:prstGeom prst="blockArc">
              <a:avLst>
                <a:gd name="adj1" fmla="val 10845253"/>
                <a:gd name="adj2" fmla="val 16237153"/>
                <a:gd name="adj3" fmla="val 24697"/>
              </a:avLst>
            </a:prstGeom>
            <a:solidFill>
              <a:schemeClr val="accent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b="1" dirty="0">
                <a:solidFill>
                  <a:schemeClr val="bg2"/>
                </a:solidFill>
              </a:endParaRPr>
            </a:p>
          </p:txBody>
        </p:sp>
        <p:sp>
          <p:nvSpPr>
            <p:cNvPr id="34" name="Arc plein 33"/>
            <p:cNvSpPr/>
            <p:nvPr/>
          </p:nvSpPr>
          <p:spPr bwMode="gray">
            <a:xfrm rot="10800000">
              <a:off x="4067796" y="3621521"/>
              <a:ext cx="1557523" cy="2271653"/>
            </a:xfrm>
            <a:prstGeom prst="blockArc">
              <a:avLst>
                <a:gd name="adj1" fmla="val 10845253"/>
                <a:gd name="adj2" fmla="val 16237153"/>
                <a:gd name="adj3" fmla="val 24697"/>
              </a:avLst>
            </a:prstGeom>
            <a:solidFill>
              <a:schemeClr val="bg2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b="1" dirty="0">
                <a:solidFill>
                  <a:schemeClr val="bg2"/>
                </a:solidFill>
              </a:endParaRPr>
            </a:p>
          </p:txBody>
        </p:sp>
        <p:sp>
          <p:nvSpPr>
            <p:cNvPr id="35" name="Arc plein 34"/>
            <p:cNvSpPr/>
            <p:nvPr/>
          </p:nvSpPr>
          <p:spPr bwMode="gray">
            <a:xfrm rot="16200000">
              <a:off x="3710728" y="3978587"/>
              <a:ext cx="2271656" cy="1557521"/>
            </a:xfrm>
            <a:prstGeom prst="blockArc">
              <a:avLst>
                <a:gd name="adj1" fmla="val 10845253"/>
                <a:gd name="adj2" fmla="val 16237153"/>
                <a:gd name="adj3" fmla="val 24697"/>
              </a:avLst>
            </a:prstGeom>
            <a:solidFill>
              <a:schemeClr val="accent2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b="1" dirty="0">
                <a:solidFill>
                  <a:schemeClr val="bg2"/>
                </a:solidFill>
              </a:endParaRPr>
            </a:p>
          </p:txBody>
        </p:sp>
        <p:sp>
          <p:nvSpPr>
            <p:cNvPr id="36" name="Ellipse 35"/>
            <p:cNvSpPr/>
            <p:nvPr/>
          </p:nvSpPr>
          <p:spPr bwMode="gray">
            <a:xfrm>
              <a:off x="4155439" y="3749349"/>
              <a:ext cx="1382235" cy="2015997"/>
            </a:xfrm>
            <a:prstGeom prst="ellipse">
              <a:avLst/>
            </a:prstGeom>
            <a:solidFill>
              <a:schemeClr val="bg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bg2"/>
                  </a:solidFill>
                </a:rPr>
                <a:t>Text</a:t>
              </a:r>
              <a:br>
                <a:rPr lang="en-US" sz="1500" b="1" dirty="0">
                  <a:solidFill>
                    <a:schemeClr val="bg2"/>
                  </a:solidFill>
                </a:rPr>
              </a:br>
              <a:r>
                <a:rPr lang="en-US" sz="1500" b="1" dirty="0">
                  <a:solidFill>
                    <a:schemeClr val="bg2"/>
                  </a:solidFill>
                </a:rPr>
                <a:t>15 pts</a:t>
              </a:r>
            </a:p>
          </p:txBody>
        </p:sp>
        <p:cxnSp>
          <p:nvCxnSpPr>
            <p:cNvPr id="37" name="Connecteur droit 36"/>
            <p:cNvCxnSpPr/>
            <p:nvPr/>
          </p:nvCxnSpPr>
          <p:spPr bwMode="gray">
            <a:xfrm rot="8100000" flipH="1" flipV="1">
              <a:off x="4143014" y="3389016"/>
              <a:ext cx="0" cy="679008"/>
            </a:xfrm>
            <a:prstGeom prst="line">
              <a:avLst/>
            </a:prstGeom>
            <a:noFill/>
            <a:ln w="38100" cap="flat" cmpd="sng">
              <a:solidFill>
                <a:schemeClr val="accent4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38" name="Connecteur droit 37"/>
            <p:cNvCxnSpPr/>
            <p:nvPr/>
          </p:nvCxnSpPr>
          <p:spPr bwMode="gray">
            <a:xfrm rot="13500000" flipV="1">
              <a:off x="5553813" y="3382392"/>
              <a:ext cx="0" cy="679008"/>
            </a:xfrm>
            <a:prstGeom prst="line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39" name="Connecteur droit 38"/>
            <p:cNvCxnSpPr/>
            <p:nvPr/>
          </p:nvCxnSpPr>
          <p:spPr bwMode="gray">
            <a:xfrm rot="2700000" flipV="1">
              <a:off x="4143014" y="5444550"/>
              <a:ext cx="0" cy="679008"/>
            </a:xfrm>
            <a:prstGeom prst="line">
              <a:avLst/>
            </a:prstGeom>
            <a:noFill/>
            <a:ln w="38100" cap="flat" cmpd="sng">
              <a:solidFill>
                <a:schemeClr val="accent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40" name="Connecteur droit 39"/>
            <p:cNvCxnSpPr/>
            <p:nvPr/>
          </p:nvCxnSpPr>
          <p:spPr bwMode="gray">
            <a:xfrm rot="18900000" flipV="1">
              <a:off x="5549442" y="5481959"/>
              <a:ext cx="0" cy="464400"/>
            </a:xfrm>
            <a:prstGeom prst="line">
              <a:avLst/>
            </a:prstGeom>
            <a:noFill/>
            <a:ln w="38100" cap="flat" cmpd="sng">
              <a:solidFill>
                <a:schemeClr val="bg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1445559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FIVE FACTORS</a:t>
            </a:r>
            <a:endParaRPr lang="fr-FR" dirty="0"/>
          </a:p>
        </p:txBody>
      </p:sp>
      <p:sp>
        <p:nvSpPr>
          <p:cNvPr id="31" name="Espace réservé de la date 3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45" name="Espace réservé du pied de page 4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4" name="Espace réservé du numéro de diapositive 4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1</a:t>
            </a:fld>
            <a:endParaRPr lang="fr-FR" dirty="0"/>
          </a:p>
        </p:txBody>
      </p:sp>
      <p:grpSp>
        <p:nvGrpSpPr>
          <p:cNvPr id="10" name="Groupe 23"/>
          <p:cNvGrpSpPr/>
          <p:nvPr/>
        </p:nvGrpSpPr>
        <p:grpSpPr bwMode="gray">
          <a:xfrm>
            <a:off x="3287049" y="2393946"/>
            <a:ext cx="2509252" cy="2483156"/>
            <a:chOff x="3635122" y="1718249"/>
            <a:chExt cx="2161832" cy="2139094"/>
          </a:xfrm>
        </p:grpSpPr>
        <p:grpSp>
          <p:nvGrpSpPr>
            <p:cNvPr id="11" name="Groupe 41"/>
            <p:cNvGrpSpPr/>
            <p:nvPr/>
          </p:nvGrpSpPr>
          <p:grpSpPr bwMode="gray">
            <a:xfrm>
              <a:off x="3635122" y="1718249"/>
              <a:ext cx="2161832" cy="2139094"/>
              <a:chOff x="3263373" y="1131590"/>
              <a:chExt cx="2903695" cy="2873156"/>
            </a:xfrm>
          </p:grpSpPr>
          <p:grpSp>
            <p:nvGrpSpPr>
              <p:cNvPr id="12" name="Groupe 43"/>
              <p:cNvGrpSpPr/>
              <p:nvPr/>
            </p:nvGrpSpPr>
            <p:grpSpPr bwMode="gray">
              <a:xfrm>
                <a:off x="3465875" y="1340681"/>
                <a:ext cx="2637679" cy="2664065"/>
                <a:chOff x="3465875" y="1340681"/>
                <a:chExt cx="2637679" cy="2664065"/>
              </a:xfrm>
            </p:grpSpPr>
            <p:sp>
              <p:nvSpPr>
                <p:cNvPr id="37" name="Freeform 7"/>
                <p:cNvSpPr>
                  <a:spLocks/>
                </p:cNvSpPr>
                <p:nvPr/>
              </p:nvSpPr>
              <p:spPr bwMode="gray">
                <a:xfrm rot="2121833">
                  <a:off x="3596808" y="1722888"/>
                  <a:ext cx="455613" cy="1244600"/>
                </a:xfrm>
                <a:custGeom>
                  <a:avLst/>
                  <a:gdLst>
                    <a:gd name="T0" fmla="*/ 248 w 248"/>
                    <a:gd name="T1" fmla="*/ 677 h 677"/>
                    <a:gd name="T2" fmla="*/ 0 w 248"/>
                    <a:gd name="T3" fmla="*/ 187 h 677"/>
                    <a:gd name="T4" fmla="*/ 29 w 248"/>
                    <a:gd name="T5" fmla="*/ 0 h 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8" h="677">
                      <a:moveTo>
                        <a:pt x="248" y="677"/>
                      </a:moveTo>
                      <a:cubicBezTo>
                        <a:pt x="98" y="567"/>
                        <a:pt x="0" y="388"/>
                        <a:pt x="0" y="187"/>
                      </a:cubicBezTo>
                      <a:cubicBezTo>
                        <a:pt x="0" y="122"/>
                        <a:pt x="10" y="59"/>
                        <a:pt x="29" y="0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8" name="Freeform 8"/>
                <p:cNvSpPr>
                  <a:spLocks/>
                </p:cNvSpPr>
                <p:nvPr/>
              </p:nvSpPr>
              <p:spPr bwMode="gray">
                <a:xfrm rot="2121833">
                  <a:off x="3465875" y="3345291"/>
                  <a:ext cx="1316038" cy="217488"/>
                </a:xfrm>
                <a:custGeom>
                  <a:avLst/>
                  <a:gdLst>
                    <a:gd name="T0" fmla="*/ 716 w 716"/>
                    <a:gd name="T1" fmla="*/ 5 h 119"/>
                    <a:gd name="T2" fmla="*/ 361 w 716"/>
                    <a:gd name="T3" fmla="*/ 119 h 119"/>
                    <a:gd name="T4" fmla="*/ 0 w 716"/>
                    <a:gd name="T5" fmla="*/ 0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16" h="119">
                      <a:moveTo>
                        <a:pt x="716" y="5"/>
                      </a:moveTo>
                      <a:cubicBezTo>
                        <a:pt x="616" y="76"/>
                        <a:pt x="493" y="119"/>
                        <a:pt x="361" y="119"/>
                      </a:cubicBezTo>
                      <a:cubicBezTo>
                        <a:pt x="226" y="119"/>
                        <a:pt x="101" y="75"/>
                        <a:pt x="0" y="0"/>
                      </a:cubicBezTo>
                    </a:path>
                  </a:pathLst>
                </a:custGeom>
                <a:noFill/>
                <a:ln w="133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9" name="Freeform 9"/>
                <p:cNvSpPr>
                  <a:spLocks/>
                </p:cNvSpPr>
                <p:nvPr/>
              </p:nvSpPr>
              <p:spPr bwMode="gray">
                <a:xfrm rot="2121833">
                  <a:off x="5042847" y="2736333"/>
                  <a:ext cx="466725" cy="1268413"/>
                </a:xfrm>
                <a:custGeom>
                  <a:avLst/>
                  <a:gdLst>
                    <a:gd name="T0" fmla="*/ 222 w 254"/>
                    <a:gd name="T1" fmla="*/ 0 h 690"/>
                    <a:gd name="T2" fmla="*/ 254 w 254"/>
                    <a:gd name="T3" fmla="*/ 195 h 690"/>
                    <a:gd name="T4" fmla="*/ 0 w 254"/>
                    <a:gd name="T5" fmla="*/ 690 h 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54" h="690">
                      <a:moveTo>
                        <a:pt x="222" y="0"/>
                      </a:moveTo>
                      <a:cubicBezTo>
                        <a:pt x="242" y="61"/>
                        <a:pt x="254" y="127"/>
                        <a:pt x="254" y="195"/>
                      </a:cubicBezTo>
                      <a:cubicBezTo>
                        <a:pt x="254" y="399"/>
                        <a:pt x="153" y="579"/>
                        <a:pt x="0" y="690"/>
                      </a:cubicBezTo>
                    </a:path>
                  </a:pathLst>
                </a:custGeom>
                <a:noFill/>
                <a:ln w="133350" cap="flat">
                  <a:solidFill>
                    <a:schemeClr val="accent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0" name="Freeform 10"/>
                <p:cNvSpPr>
                  <a:spLocks/>
                </p:cNvSpPr>
                <p:nvPr/>
              </p:nvSpPr>
              <p:spPr bwMode="gray">
                <a:xfrm rot="2121833">
                  <a:off x="5043104" y="1957276"/>
                  <a:ext cx="1060450" cy="760413"/>
                </a:xfrm>
                <a:custGeom>
                  <a:avLst/>
                  <a:gdLst>
                    <a:gd name="T0" fmla="*/ 0 w 577"/>
                    <a:gd name="T1" fmla="*/ 0 h 414"/>
                    <a:gd name="T2" fmla="*/ 577 w 577"/>
                    <a:gd name="T3" fmla="*/ 414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577" h="414">
                      <a:moveTo>
                        <a:pt x="0" y="0"/>
                      </a:moveTo>
                      <a:cubicBezTo>
                        <a:pt x="268" y="0"/>
                        <a:pt x="496" y="173"/>
                        <a:pt x="577" y="414"/>
                      </a:cubicBezTo>
                    </a:path>
                  </a:pathLst>
                </a:custGeom>
                <a:noFill/>
                <a:ln w="133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1" name="Freeform 11"/>
                <p:cNvSpPr>
                  <a:spLocks/>
                </p:cNvSpPr>
                <p:nvPr/>
              </p:nvSpPr>
              <p:spPr bwMode="gray">
                <a:xfrm rot="2121833">
                  <a:off x="4169398" y="1340681"/>
                  <a:ext cx="1065213" cy="776288"/>
                </a:xfrm>
                <a:custGeom>
                  <a:avLst/>
                  <a:gdLst>
                    <a:gd name="T0" fmla="*/ 0 w 580"/>
                    <a:gd name="T1" fmla="*/ 422 h 422"/>
                    <a:gd name="T2" fmla="*/ 580 w 580"/>
                    <a:gd name="T3" fmla="*/ 0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580" h="422">
                      <a:moveTo>
                        <a:pt x="0" y="422"/>
                      </a:moveTo>
                      <a:cubicBezTo>
                        <a:pt x="79" y="177"/>
                        <a:pt x="309" y="0"/>
                        <a:pt x="580" y="0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</p:grpSp>
          <p:cxnSp>
            <p:nvCxnSpPr>
              <p:cNvPr id="32" name="Connecteur droit 31"/>
              <p:cNvCxnSpPr/>
              <p:nvPr/>
            </p:nvCxnSpPr>
            <p:spPr bwMode="gray">
              <a:xfrm>
                <a:off x="4702004" y="1131590"/>
                <a:ext cx="0" cy="360040"/>
              </a:xfrm>
              <a:prstGeom prst="line">
                <a:avLst/>
              </a:prstGeom>
              <a:noFill/>
              <a:ln w="38100" cap="flat" cmpd="sng">
                <a:solidFill>
                  <a:schemeClr val="accent5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33" name="Connecteur droit 32"/>
              <p:cNvCxnSpPr/>
              <p:nvPr/>
            </p:nvCxnSpPr>
            <p:spPr bwMode="gray">
              <a:xfrm rot="4320000">
                <a:off x="5987048" y="2050172"/>
                <a:ext cx="0" cy="360040"/>
              </a:xfrm>
              <a:prstGeom prst="line">
                <a:avLst/>
              </a:prstGeom>
              <a:noFill/>
              <a:ln w="38100" cap="flat" cmpd="sng">
                <a:solidFill>
                  <a:schemeClr val="accent2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34" name="Connecteur droit 33"/>
              <p:cNvCxnSpPr/>
              <p:nvPr/>
            </p:nvCxnSpPr>
            <p:spPr bwMode="gray">
              <a:xfrm rot="8640000">
                <a:off x="5536051" y="3501954"/>
                <a:ext cx="0" cy="360040"/>
              </a:xfrm>
              <a:prstGeom prst="line">
                <a:avLst/>
              </a:prstGeom>
              <a:noFill/>
              <a:ln w="38100" cap="flat" cmpd="sng">
                <a:solidFill>
                  <a:schemeClr val="accent4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35" name="Connecteur droit 34"/>
              <p:cNvCxnSpPr/>
              <p:nvPr/>
            </p:nvCxnSpPr>
            <p:spPr bwMode="gray">
              <a:xfrm rot="12960000">
                <a:off x="3900964" y="3507381"/>
                <a:ext cx="0" cy="360040"/>
              </a:xfrm>
              <a:prstGeom prst="line">
                <a:avLst/>
              </a:prstGeom>
              <a:noFill/>
              <a:ln w="38100" cap="flat" cmpd="sng">
                <a:solidFill>
                  <a:schemeClr val="bg2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36" name="Connecteur droit 35"/>
              <p:cNvCxnSpPr/>
              <p:nvPr/>
            </p:nvCxnSpPr>
            <p:spPr bwMode="gray">
              <a:xfrm rot="17280000">
                <a:off x="3443393" y="2040933"/>
                <a:ext cx="0" cy="360040"/>
              </a:xfrm>
              <a:prstGeom prst="line">
                <a:avLst/>
              </a:prstGeom>
              <a:noFill/>
              <a:ln w="38100" cap="flat" cmpd="sng">
                <a:solidFill>
                  <a:schemeClr val="accent1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</p:grpSp>
        <p:sp>
          <p:nvSpPr>
            <p:cNvPr id="26" name="ZoneTexte 25"/>
            <p:cNvSpPr txBox="1"/>
            <p:nvPr/>
          </p:nvSpPr>
          <p:spPr bwMode="gray">
            <a:xfrm>
              <a:off x="3887129" y="2612503"/>
              <a:ext cx="1656184" cy="47723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 algn="ctr"/>
              <a:r>
                <a:rPr lang="en-US" sz="1500" b="1" dirty="0">
                  <a:solidFill>
                    <a:schemeClr val="bg2"/>
                  </a:solidFill>
                </a:rPr>
                <a:t>Text</a:t>
              </a:r>
              <a:br>
                <a:rPr lang="en-US" sz="1500" b="1" dirty="0">
                  <a:solidFill>
                    <a:schemeClr val="bg2"/>
                  </a:solidFill>
                </a:rPr>
              </a:br>
              <a:r>
                <a:rPr lang="en-US" sz="1500" b="1" dirty="0">
                  <a:solidFill>
                    <a:schemeClr val="bg2"/>
                  </a:solidFill>
                </a:rPr>
                <a:t>15 pts</a:t>
              </a:r>
            </a:p>
          </p:txBody>
        </p:sp>
      </p:grpSp>
      <p:sp>
        <p:nvSpPr>
          <p:cNvPr id="46" name="Rectangle à coins arrondis 45"/>
          <p:cNvSpPr/>
          <p:nvPr/>
        </p:nvSpPr>
        <p:spPr bwMode="gray">
          <a:xfrm>
            <a:off x="6271338" y="4751055"/>
            <a:ext cx="2520000" cy="36984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7" name="Rectangle à coins arrondis 46"/>
          <p:cNvSpPr/>
          <p:nvPr/>
        </p:nvSpPr>
        <p:spPr bwMode="gray">
          <a:xfrm>
            <a:off x="326169" y="4755410"/>
            <a:ext cx="2520000" cy="36549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8" name="ZoneTexte 47"/>
          <p:cNvSpPr txBox="1"/>
          <p:nvPr/>
        </p:nvSpPr>
        <p:spPr bwMode="gray">
          <a:xfrm>
            <a:off x="343940" y="5147405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9" name="ZoneTexte 48"/>
          <p:cNvSpPr txBox="1"/>
          <p:nvPr/>
        </p:nvSpPr>
        <p:spPr bwMode="gray">
          <a:xfrm>
            <a:off x="6271338" y="5147405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0" name="Rectangle à coins arrondis 49"/>
          <p:cNvSpPr/>
          <p:nvPr/>
        </p:nvSpPr>
        <p:spPr bwMode="gray">
          <a:xfrm>
            <a:off x="350350" y="2806838"/>
            <a:ext cx="2925506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51" name="Rectangle à coins arrondis 50"/>
          <p:cNvSpPr/>
          <p:nvPr/>
        </p:nvSpPr>
        <p:spPr bwMode="gray">
          <a:xfrm>
            <a:off x="5940151" y="2806838"/>
            <a:ext cx="2896383" cy="3698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52" name="ZoneTexte 51"/>
          <p:cNvSpPr txBox="1"/>
          <p:nvPr/>
        </p:nvSpPr>
        <p:spPr bwMode="gray">
          <a:xfrm>
            <a:off x="343158" y="320318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3" name="ZoneTexte 52"/>
          <p:cNvSpPr txBox="1"/>
          <p:nvPr/>
        </p:nvSpPr>
        <p:spPr bwMode="gray">
          <a:xfrm>
            <a:off x="6012159" y="3203189"/>
            <a:ext cx="2824375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4" name="Rectangle à coins arrondis 53"/>
          <p:cNvSpPr/>
          <p:nvPr/>
        </p:nvSpPr>
        <p:spPr bwMode="gray">
          <a:xfrm>
            <a:off x="3304785" y="1651231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55" name="ZoneTexte 54"/>
          <p:cNvSpPr txBox="1"/>
          <p:nvPr/>
        </p:nvSpPr>
        <p:spPr bwMode="gray">
          <a:xfrm>
            <a:off x="3304785" y="2047582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1862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SIX FACTORS</a:t>
            </a:r>
            <a:endParaRPr lang="fr-FR" dirty="0"/>
          </a:p>
        </p:txBody>
      </p:sp>
      <p:sp>
        <p:nvSpPr>
          <p:cNvPr id="34" name="Espace réservé de la date 3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36" name="Espace réservé du pied de page 3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35" name="Espace réservé du numéro de diapositive 3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2</a:t>
            </a:fld>
            <a:endParaRPr lang="fr-FR" dirty="0"/>
          </a:p>
        </p:txBody>
      </p:sp>
      <p:grpSp>
        <p:nvGrpSpPr>
          <p:cNvPr id="10" name="Groupe 46"/>
          <p:cNvGrpSpPr/>
          <p:nvPr/>
        </p:nvGrpSpPr>
        <p:grpSpPr bwMode="gray">
          <a:xfrm>
            <a:off x="3362903" y="2332037"/>
            <a:ext cx="2403468" cy="2130655"/>
            <a:chOff x="5215179" y="3560465"/>
            <a:chExt cx="3505475" cy="3107205"/>
          </a:xfrm>
        </p:grpSpPr>
        <p:cxnSp>
          <p:nvCxnSpPr>
            <p:cNvPr id="48" name="Connecteur droit 47"/>
            <p:cNvCxnSpPr/>
            <p:nvPr/>
          </p:nvCxnSpPr>
          <p:spPr bwMode="gray">
            <a:xfrm>
              <a:off x="6020222" y="3560465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49" name="Connecteur droit 48"/>
            <p:cNvCxnSpPr/>
            <p:nvPr/>
          </p:nvCxnSpPr>
          <p:spPr bwMode="gray">
            <a:xfrm flipH="1">
              <a:off x="7532390" y="3560465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accent6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0" name="Connecteur droit 49"/>
            <p:cNvCxnSpPr/>
            <p:nvPr/>
          </p:nvCxnSpPr>
          <p:spPr bwMode="gray">
            <a:xfrm rot="18060000">
              <a:off x="5324949" y="4862678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accent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1" name="Connecteur droit 50"/>
            <p:cNvCxnSpPr/>
            <p:nvPr/>
          </p:nvCxnSpPr>
          <p:spPr bwMode="gray">
            <a:xfrm rot="3540000" flipH="1">
              <a:off x="8273091" y="4862678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accent4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2" name="Connecteur droit 51"/>
            <p:cNvCxnSpPr/>
            <p:nvPr/>
          </p:nvCxnSpPr>
          <p:spPr bwMode="gray">
            <a:xfrm flipV="1">
              <a:off x="6020222" y="6110337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accent5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3" name="Connecteur droit 52"/>
            <p:cNvCxnSpPr/>
            <p:nvPr/>
          </p:nvCxnSpPr>
          <p:spPr bwMode="gray">
            <a:xfrm flipH="1" flipV="1">
              <a:off x="7532390" y="6110337"/>
              <a:ext cx="337793" cy="557333"/>
            </a:xfrm>
            <a:prstGeom prst="line">
              <a:avLst/>
            </a:prstGeom>
            <a:noFill/>
            <a:ln w="38100" cap="flat" cmpd="sng">
              <a:solidFill>
                <a:schemeClr val="bg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grpSp>
          <p:nvGrpSpPr>
            <p:cNvPr id="11" name="Groupe 123"/>
            <p:cNvGrpSpPr/>
            <p:nvPr/>
          </p:nvGrpSpPr>
          <p:grpSpPr bwMode="gray">
            <a:xfrm>
              <a:off x="5546256" y="3776490"/>
              <a:ext cx="2850980" cy="2729022"/>
              <a:chOff x="5691019" y="3915059"/>
              <a:chExt cx="2561453" cy="2451883"/>
            </a:xfrm>
          </p:grpSpPr>
          <p:grpSp>
            <p:nvGrpSpPr>
              <p:cNvPr id="12" name="Group 6"/>
              <p:cNvGrpSpPr>
                <a:grpSpLocks noChangeAspect="1"/>
              </p:cNvGrpSpPr>
              <p:nvPr/>
            </p:nvGrpSpPr>
            <p:grpSpPr bwMode="gray">
              <a:xfrm>
                <a:off x="5691019" y="3915059"/>
                <a:ext cx="2561453" cy="2451883"/>
                <a:chOff x="2340" y="1374"/>
                <a:chExt cx="3717" cy="3558"/>
              </a:xfrm>
            </p:grpSpPr>
            <p:sp>
              <p:nvSpPr>
                <p:cNvPr id="57" name="Freeform 7"/>
                <p:cNvSpPr>
                  <a:spLocks/>
                </p:cNvSpPr>
                <p:nvPr/>
              </p:nvSpPr>
              <p:spPr bwMode="gray">
                <a:xfrm>
                  <a:off x="4198" y="1374"/>
                  <a:ext cx="1541" cy="1334"/>
                </a:xfrm>
                <a:custGeom>
                  <a:avLst/>
                  <a:gdLst>
                    <a:gd name="T0" fmla="*/ 4108 w 4108"/>
                    <a:gd name="T1" fmla="*/ 2372 h 3558"/>
                    <a:gd name="T2" fmla="*/ 0 w 4108"/>
                    <a:gd name="T3" fmla="*/ 0 h 3558"/>
                    <a:gd name="T4" fmla="*/ 0 w 4108"/>
                    <a:gd name="T5" fmla="*/ 2372 h 3558"/>
                    <a:gd name="T6" fmla="*/ 2054 w 4108"/>
                    <a:gd name="T7" fmla="*/ 3558 h 3558"/>
                    <a:gd name="T8" fmla="*/ 4108 w 4108"/>
                    <a:gd name="T9" fmla="*/ 237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08" h="3558">
                      <a:moveTo>
                        <a:pt x="4108" y="2372"/>
                      </a:moveTo>
                      <a:cubicBezTo>
                        <a:pt x="3261" y="904"/>
                        <a:pt x="1695" y="0"/>
                        <a:pt x="0" y="0"/>
                      </a:cubicBezTo>
                      <a:lnTo>
                        <a:pt x="0" y="2372"/>
                      </a:lnTo>
                      <a:cubicBezTo>
                        <a:pt x="847" y="2372"/>
                        <a:pt x="1630" y="2824"/>
                        <a:pt x="2054" y="3558"/>
                      </a:cubicBezTo>
                      <a:lnTo>
                        <a:pt x="4108" y="2372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58" name="Freeform 8"/>
                <p:cNvSpPr>
                  <a:spLocks/>
                </p:cNvSpPr>
                <p:nvPr/>
              </p:nvSpPr>
              <p:spPr bwMode="gray">
                <a:xfrm>
                  <a:off x="4969" y="2264"/>
                  <a:ext cx="1088" cy="1779"/>
                </a:xfrm>
                <a:custGeom>
                  <a:avLst/>
                  <a:gdLst>
                    <a:gd name="T0" fmla="*/ 2054 w 2902"/>
                    <a:gd name="T1" fmla="*/ 4744 h 4744"/>
                    <a:gd name="T2" fmla="*/ 2054 w 2902"/>
                    <a:gd name="T3" fmla="*/ 0 h 4744"/>
                    <a:gd name="T4" fmla="*/ 0 w 2902"/>
                    <a:gd name="T5" fmla="*/ 1186 h 4744"/>
                    <a:gd name="T6" fmla="*/ 0 w 2902"/>
                    <a:gd name="T7" fmla="*/ 3558 h 4744"/>
                    <a:gd name="T8" fmla="*/ 2054 w 2902"/>
                    <a:gd name="T9" fmla="*/ 4744 h 4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02" h="4744">
                      <a:moveTo>
                        <a:pt x="2054" y="4744"/>
                      </a:moveTo>
                      <a:cubicBezTo>
                        <a:pt x="2902" y="3276"/>
                        <a:pt x="2902" y="1468"/>
                        <a:pt x="2054" y="0"/>
                      </a:cubicBezTo>
                      <a:lnTo>
                        <a:pt x="0" y="1186"/>
                      </a:lnTo>
                      <a:cubicBezTo>
                        <a:pt x="424" y="1920"/>
                        <a:pt x="424" y="2824"/>
                        <a:pt x="0" y="3558"/>
                      </a:cubicBezTo>
                      <a:lnTo>
                        <a:pt x="2054" y="4744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59" name="Freeform 9"/>
                <p:cNvSpPr>
                  <a:spLocks/>
                </p:cNvSpPr>
                <p:nvPr/>
              </p:nvSpPr>
              <p:spPr bwMode="gray">
                <a:xfrm>
                  <a:off x="4198" y="3598"/>
                  <a:ext cx="1541" cy="1334"/>
                </a:xfrm>
                <a:custGeom>
                  <a:avLst/>
                  <a:gdLst>
                    <a:gd name="T0" fmla="*/ 0 w 4108"/>
                    <a:gd name="T1" fmla="*/ 3558 h 3558"/>
                    <a:gd name="T2" fmla="*/ 4108 w 4108"/>
                    <a:gd name="T3" fmla="*/ 1186 h 3558"/>
                    <a:gd name="T4" fmla="*/ 2054 w 4108"/>
                    <a:gd name="T5" fmla="*/ 0 h 3558"/>
                    <a:gd name="T6" fmla="*/ 0 w 4108"/>
                    <a:gd name="T7" fmla="*/ 1186 h 3558"/>
                    <a:gd name="T8" fmla="*/ 0 w 4108"/>
                    <a:gd name="T9" fmla="*/ 3558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08" h="3558">
                      <a:moveTo>
                        <a:pt x="0" y="3558"/>
                      </a:moveTo>
                      <a:cubicBezTo>
                        <a:pt x="1695" y="3558"/>
                        <a:pt x="3261" y="2653"/>
                        <a:pt x="4108" y="1186"/>
                      </a:cubicBezTo>
                      <a:lnTo>
                        <a:pt x="2054" y="0"/>
                      </a:lnTo>
                      <a:cubicBezTo>
                        <a:pt x="1630" y="734"/>
                        <a:pt x="847" y="1186"/>
                        <a:pt x="0" y="1186"/>
                      </a:cubicBezTo>
                      <a:lnTo>
                        <a:pt x="0" y="355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0" name="Freeform 10"/>
                <p:cNvSpPr>
                  <a:spLocks/>
                </p:cNvSpPr>
                <p:nvPr/>
              </p:nvSpPr>
              <p:spPr bwMode="gray">
                <a:xfrm>
                  <a:off x="2658" y="3598"/>
                  <a:ext cx="1540" cy="1334"/>
                </a:xfrm>
                <a:custGeom>
                  <a:avLst/>
                  <a:gdLst>
                    <a:gd name="T0" fmla="*/ 0 w 4108"/>
                    <a:gd name="T1" fmla="*/ 1186 h 3558"/>
                    <a:gd name="T2" fmla="*/ 4108 w 4108"/>
                    <a:gd name="T3" fmla="*/ 3558 h 3558"/>
                    <a:gd name="T4" fmla="*/ 4108 w 4108"/>
                    <a:gd name="T5" fmla="*/ 1186 h 3558"/>
                    <a:gd name="T6" fmla="*/ 2054 w 4108"/>
                    <a:gd name="T7" fmla="*/ 0 h 3558"/>
                    <a:gd name="T8" fmla="*/ 0 w 4108"/>
                    <a:gd name="T9" fmla="*/ 1186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08" h="3558">
                      <a:moveTo>
                        <a:pt x="0" y="1186"/>
                      </a:moveTo>
                      <a:cubicBezTo>
                        <a:pt x="847" y="2653"/>
                        <a:pt x="2413" y="3558"/>
                        <a:pt x="4108" y="3558"/>
                      </a:cubicBezTo>
                      <a:lnTo>
                        <a:pt x="4108" y="1186"/>
                      </a:lnTo>
                      <a:cubicBezTo>
                        <a:pt x="3261" y="1186"/>
                        <a:pt x="2478" y="734"/>
                        <a:pt x="2054" y="0"/>
                      </a:cubicBezTo>
                      <a:lnTo>
                        <a:pt x="0" y="118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1" name="Freeform 11"/>
                <p:cNvSpPr>
                  <a:spLocks/>
                </p:cNvSpPr>
                <p:nvPr/>
              </p:nvSpPr>
              <p:spPr bwMode="gray">
                <a:xfrm>
                  <a:off x="2340" y="2264"/>
                  <a:ext cx="1088" cy="1779"/>
                </a:xfrm>
                <a:custGeom>
                  <a:avLst/>
                  <a:gdLst>
                    <a:gd name="T0" fmla="*/ 848 w 2902"/>
                    <a:gd name="T1" fmla="*/ 0 h 4744"/>
                    <a:gd name="T2" fmla="*/ 848 w 2902"/>
                    <a:gd name="T3" fmla="*/ 4744 h 4744"/>
                    <a:gd name="T4" fmla="*/ 2902 w 2902"/>
                    <a:gd name="T5" fmla="*/ 3558 h 4744"/>
                    <a:gd name="T6" fmla="*/ 2902 w 2902"/>
                    <a:gd name="T7" fmla="*/ 1186 h 4744"/>
                    <a:gd name="T8" fmla="*/ 848 w 2902"/>
                    <a:gd name="T9" fmla="*/ 0 h 4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02" h="4744">
                      <a:moveTo>
                        <a:pt x="848" y="0"/>
                      </a:moveTo>
                      <a:cubicBezTo>
                        <a:pt x="0" y="1468"/>
                        <a:pt x="0" y="3276"/>
                        <a:pt x="848" y="4744"/>
                      </a:cubicBezTo>
                      <a:lnTo>
                        <a:pt x="2902" y="3558"/>
                      </a:lnTo>
                      <a:cubicBezTo>
                        <a:pt x="2478" y="2824"/>
                        <a:pt x="2478" y="1920"/>
                        <a:pt x="2902" y="1186"/>
                      </a:cubicBezTo>
                      <a:lnTo>
                        <a:pt x="848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2" name="Freeform 12"/>
                <p:cNvSpPr>
                  <a:spLocks/>
                </p:cNvSpPr>
                <p:nvPr/>
              </p:nvSpPr>
              <p:spPr bwMode="gray">
                <a:xfrm>
                  <a:off x="2658" y="1374"/>
                  <a:ext cx="1540" cy="1334"/>
                </a:xfrm>
                <a:custGeom>
                  <a:avLst/>
                  <a:gdLst>
                    <a:gd name="T0" fmla="*/ 4108 w 4108"/>
                    <a:gd name="T1" fmla="*/ 0 h 3558"/>
                    <a:gd name="T2" fmla="*/ 0 w 4108"/>
                    <a:gd name="T3" fmla="*/ 2372 h 3558"/>
                    <a:gd name="T4" fmla="*/ 2054 w 4108"/>
                    <a:gd name="T5" fmla="*/ 3558 h 3558"/>
                    <a:gd name="T6" fmla="*/ 4108 w 4108"/>
                    <a:gd name="T7" fmla="*/ 2372 h 3558"/>
                    <a:gd name="T8" fmla="*/ 4108 w 4108"/>
                    <a:gd name="T9" fmla="*/ 0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08" h="3558">
                      <a:moveTo>
                        <a:pt x="4108" y="0"/>
                      </a:moveTo>
                      <a:cubicBezTo>
                        <a:pt x="2413" y="0"/>
                        <a:pt x="847" y="904"/>
                        <a:pt x="0" y="2372"/>
                      </a:cubicBezTo>
                      <a:lnTo>
                        <a:pt x="2054" y="3558"/>
                      </a:lnTo>
                      <a:cubicBezTo>
                        <a:pt x="2478" y="2824"/>
                        <a:pt x="3261" y="2372"/>
                        <a:pt x="4108" y="2372"/>
                      </a:cubicBezTo>
                      <a:lnTo>
                        <a:pt x="410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56" name="Ellipse 55"/>
              <p:cNvSpPr/>
              <p:nvPr/>
            </p:nvSpPr>
            <p:spPr bwMode="gray">
              <a:xfrm>
                <a:off x="5889544" y="4058800"/>
                <a:ext cx="2164403" cy="2164401"/>
              </a:xfrm>
              <a:prstGeom prst="ellipse">
                <a:avLst/>
              </a:prstGeom>
              <a:solidFill>
                <a:schemeClr val="bg1"/>
              </a:solidFill>
              <a:ln w="762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bg2"/>
                    </a:solidFill>
                  </a:rPr>
                  <a:t>Text</a:t>
                </a:r>
                <a:br>
                  <a:rPr lang="en-US" sz="1500" b="1" dirty="0">
                    <a:solidFill>
                      <a:schemeClr val="bg2"/>
                    </a:solidFill>
                  </a:rPr>
                </a:br>
                <a:r>
                  <a:rPr lang="en-US" sz="1500" b="1" dirty="0">
                    <a:solidFill>
                      <a:schemeClr val="bg2"/>
                    </a:solidFill>
                  </a:rPr>
                  <a:t>15 pts</a:t>
                </a:r>
              </a:p>
            </p:txBody>
          </p:sp>
        </p:grpSp>
      </p:grpSp>
      <p:sp>
        <p:nvSpPr>
          <p:cNvPr id="37" name="Rectangle à coins arrondis 36"/>
          <p:cNvSpPr/>
          <p:nvPr/>
        </p:nvSpPr>
        <p:spPr bwMode="gray">
          <a:xfrm>
            <a:off x="6271338" y="3238887"/>
            <a:ext cx="2520000" cy="36984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38" name="Rectangle à coins arrondis 37"/>
          <p:cNvSpPr/>
          <p:nvPr/>
        </p:nvSpPr>
        <p:spPr bwMode="gray">
          <a:xfrm>
            <a:off x="326169" y="3243242"/>
            <a:ext cx="2520000" cy="36549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39" name="Rectangle à coins arrondis 38"/>
          <p:cNvSpPr/>
          <p:nvPr/>
        </p:nvSpPr>
        <p:spPr bwMode="gray">
          <a:xfrm>
            <a:off x="330470" y="4607038"/>
            <a:ext cx="3017394" cy="3698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0" name="Rectangle à coins arrondis 39"/>
          <p:cNvSpPr/>
          <p:nvPr/>
        </p:nvSpPr>
        <p:spPr bwMode="gray">
          <a:xfrm>
            <a:off x="5940151" y="4607038"/>
            <a:ext cx="2876503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</a:t>
            </a:r>
            <a:r>
              <a:rPr lang="en-US" sz="1200" b="1" cap="all" dirty="0" err="1"/>
              <a:t>pts</a:t>
            </a:r>
            <a:endParaRPr lang="en-US" sz="1200" b="1" cap="all" dirty="0"/>
          </a:p>
        </p:txBody>
      </p:sp>
      <p:sp>
        <p:nvSpPr>
          <p:cNvPr id="41" name="ZoneTexte 40"/>
          <p:cNvSpPr txBox="1"/>
          <p:nvPr/>
        </p:nvSpPr>
        <p:spPr bwMode="gray">
          <a:xfrm>
            <a:off x="343940" y="3635237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2" name="ZoneTexte 41"/>
          <p:cNvSpPr txBox="1"/>
          <p:nvPr/>
        </p:nvSpPr>
        <p:spPr bwMode="gray">
          <a:xfrm>
            <a:off x="6271338" y="3635237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3" name="ZoneTexte 42"/>
          <p:cNvSpPr txBox="1"/>
          <p:nvPr/>
        </p:nvSpPr>
        <p:spPr bwMode="gray">
          <a:xfrm>
            <a:off x="323278" y="500338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 bwMode="gray">
          <a:xfrm>
            <a:off x="6012160" y="500338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4" name="Rectangle à coins arrondis 53"/>
          <p:cNvSpPr/>
          <p:nvPr/>
        </p:nvSpPr>
        <p:spPr bwMode="gray">
          <a:xfrm>
            <a:off x="350350" y="1700808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</a:t>
            </a:r>
            <a:r>
              <a:rPr lang="en-US" sz="1200" b="1" cap="all" dirty="0" err="1"/>
              <a:t>pts</a:t>
            </a:r>
            <a:endParaRPr lang="en-US" sz="1200" b="1" cap="all" dirty="0"/>
          </a:p>
        </p:txBody>
      </p:sp>
      <p:sp>
        <p:nvSpPr>
          <p:cNvPr id="55" name="Rectangle à coins arrondis 54"/>
          <p:cNvSpPr/>
          <p:nvPr/>
        </p:nvSpPr>
        <p:spPr bwMode="gray">
          <a:xfrm>
            <a:off x="5596535" y="1700808"/>
            <a:ext cx="3240000" cy="369847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63" name="ZoneTexte 62"/>
          <p:cNvSpPr txBox="1"/>
          <p:nvPr/>
        </p:nvSpPr>
        <p:spPr bwMode="gray">
          <a:xfrm>
            <a:off x="343158" y="209715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64" name="ZoneTexte 63"/>
          <p:cNvSpPr txBox="1"/>
          <p:nvPr/>
        </p:nvSpPr>
        <p:spPr bwMode="gray">
          <a:xfrm>
            <a:off x="5596535" y="209715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15826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SEVEN FACTORS</a:t>
            </a:r>
            <a:endParaRPr lang="fr-FR" dirty="0"/>
          </a:p>
        </p:txBody>
      </p:sp>
      <p:sp>
        <p:nvSpPr>
          <p:cNvPr id="38" name="Espace réservé de la date 3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49" name="Espace réservé du pied de page 4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8" name="Espace réservé du numéro de diapositive 4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3</a:t>
            </a:fld>
            <a:endParaRPr lang="fr-FR" dirty="0"/>
          </a:p>
        </p:txBody>
      </p:sp>
      <p:grpSp>
        <p:nvGrpSpPr>
          <p:cNvPr id="10" name="Groupe 33"/>
          <p:cNvGrpSpPr/>
          <p:nvPr/>
        </p:nvGrpSpPr>
        <p:grpSpPr bwMode="gray">
          <a:xfrm>
            <a:off x="3247968" y="1962958"/>
            <a:ext cx="2646925" cy="2608500"/>
            <a:chOff x="5065763" y="3403771"/>
            <a:chExt cx="3860558" cy="3804062"/>
          </a:xfrm>
        </p:grpSpPr>
        <p:sp>
          <p:nvSpPr>
            <p:cNvPr id="35" name="Ellipse 34"/>
            <p:cNvSpPr/>
            <p:nvPr/>
          </p:nvSpPr>
          <p:spPr bwMode="gray">
            <a:xfrm>
              <a:off x="5615443" y="3823603"/>
              <a:ext cx="2761198" cy="2761198"/>
            </a:xfrm>
            <a:prstGeom prst="ellipse">
              <a:avLst/>
            </a:prstGeom>
            <a:solidFill>
              <a:schemeClr val="bg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bg2"/>
                  </a:solidFill>
                </a:rPr>
                <a:t>Text</a:t>
              </a:r>
              <a:br>
                <a:rPr lang="en-US" sz="1500" b="1" dirty="0">
                  <a:solidFill>
                    <a:schemeClr val="bg2"/>
                  </a:solidFill>
                </a:rPr>
              </a:br>
              <a:r>
                <a:rPr lang="en-US" sz="1500" b="1" dirty="0">
                  <a:solidFill>
                    <a:schemeClr val="bg2"/>
                  </a:solidFill>
                </a:rPr>
                <a:t>15 pts</a:t>
              </a:r>
            </a:p>
          </p:txBody>
        </p:sp>
        <p:grpSp>
          <p:nvGrpSpPr>
            <p:cNvPr id="11" name="Groupe 13"/>
            <p:cNvGrpSpPr/>
            <p:nvPr/>
          </p:nvGrpSpPr>
          <p:grpSpPr bwMode="gray">
            <a:xfrm>
              <a:off x="5065763" y="3403771"/>
              <a:ext cx="3860558" cy="3804062"/>
              <a:chOff x="5784169" y="4196349"/>
              <a:chExt cx="2423746" cy="2388277"/>
            </a:xfrm>
          </p:grpSpPr>
          <p:cxnSp>
            <p:nvCxnSpPr>
              <p:cNvPr id="37" name="Connecteur droit 36"/>
              <p:cNvCxnSpPr/>
              <p:nvPr/>
            </p:nvCxnSpPr>
            <p:spPr bwMode="gray">
              <a:xfrm flipV="1">
                <a:off x="7015647" y="6238710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3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grpSp>
            <p:nvGrpSpPr>
              <p:cNvPr id="12" name="Group 17"/>
              <p:cNvGrpSpPr>
                <a:grpSpLocks noChangeAspect="1"/>
              </p:cNvGrpSpPr>
              <p:nvPr/>
            </p:nvGrpSpPr>
            <p:grpSpPr bwMode="gray">
              <a:xfrm>
                <a:off x="6114368" y="4453894"/>
                <a:ext cx="1762836" cy="1762836"/>
                <a:chOff x="2261" y="1001"/>
                <a:chExt cx="1238" cy="1238"/>
              </a:xfrm>
            </p:grpSpPr>
            <p:sp>
              <p:nvSpPr>
                <p:cNvPr id="54" name="Freeform 18"/>
                <p:cNvSpPr>
                  <a:spLocks/>
                </p:cNvSpPr>
                <p:nvPr/>
              </p:nvSpPr>
              <p:spPr bwMode="gray">
                <a:xfrm>
                  <a:off x="2261" y="1234"/>
                  <a:ext cx="135" cy="524"/>
                </a:xfrm>
                <a:custGeom>
                  <a:avLst/>
                  <a:gdLst>
                    <a:gd name="T0" fmla="*/ 22 w 192"/>
                    <a:gd name="T1" fmla="*/ 745 h 745"/>
                    <a:gd name="T2" fmla="*/ 0 w 192"/>
                    <a:gd name="T3" fmla="*/ 549 h 745"/>
                    <a:gd name="T4" fmla="*/ 192 w 192"/>
                    <a:gd name="T5" fmla="*/ 0 h 7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2" h="745">
                      <a:moveTo>
                        <a:pt x="22" y="745"/>
                      </a:moveTo>
                      <a:cubicBezTo>
                        <a:pt x="7" y="682"/>
                        <a:pt x="0" y="616"/>
                        <a:pt x="0" y="549"/>
                      </a:cubicBezTo>
                      <a:cubicBezTo>
                        <a:pt x="0" y="341"/>
                        <a:pt x="72" y="150"/>
                        <a:pt x="192" y="0"/>
                      </a:cubicBezTo>
                    </a:path>
                  </a:pathLst>
                </a:custGeom>
                <a:noFill/>
                <a:ln w="133350" cap="flat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55" name="Freeform 19"/>
                <p:cNvSpPr>
                  <a:spLocks/>
                </p:cNvSpPr>
                <p:nvPr/>
              </p:nvSpPr>
              <p:spPr bwMode="gray">
                <a:xfrm>
                  <a:off x="2276" y="1758"/>
                  <a:ext cx="336" cy="420"/>
                </a:xfrm>
                <a:custGeom>
                  <a:avLst/>
                  <a:gdLst>
                    <a:gd name="T0" fmla="*/ 477 w 477"/>
                    <a:gd name="T1" fmla="*/ 597 h 597"/>
                    <a:gd name="T2" fmla="*/ 0 w 477"/>
                    <a:gd name="T3" fmla="*/ 0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77" h="597">
                      <a:moveTo>
                        <a:pt x="477" y="597"/>
                      </a:moveTo>
                      <a:cubicBezTo>
                        <a:pt x="239" y="483"/>
                        <a:pt x="60" y="264"/>
                        <a:pt x="0" y="0"/>
                      </a:cubicBezTo>
                    </a:path>
                  </a:pathLst>
                </a:custGeom>
                <a:noFill/>
                <a:ln w="133350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3" name="Freeform 20"/>
                <p:cNvSpPr>
                  <a:spLocks/>
                </p:cNvSpPr>
                <p:nvPr/>
              </p:nvSpPr>
              <p:spPr bwMode="gray">
                <a:xfrm>
                  <a:off x="2612" y="2178"/>
                  <a:ext cx="537" cy="61"/>
                </a:xfrm>
                <a:custGeom>
                  <a:avLst/>
                  <a:gdLst>
                    <a:gd name="T0" fmla="*/ 764 w 764"/>
                    <a:gd name="T1" fmla="*/ 0 h 87"/>
                    <a:gd name="T2" fmla="*/ 381 w 764"/>
                    <a:gd name="T3" fmla="*/ 87 h 87"/>
                    <a:gd name="T4" fmla="*/ 0 w 764"/>
                    <a:gd name="T5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64" h="87">
                      <a:moveTo>
                        <a:pt x="764" y="0"/>
                      </a:moveTo>
                      <a:cubicBezTo>
                        <a:pt x="648" y="56"/>
                        <a:pt x="518" y="87"/>
                        <a:pt x="381" y="87"/>
                      </a:cubicBezTo>
                      <a:cubicBezTo>
                        <a:pt x="244" y="87"/>
                        <a:pt x="115" y="56"/>
                        <a:pt x="0" y="0"/>
                      </a:cubicBezTo>
                    </a:path>
                  </a:pathLst>
                </a:custGeom>
                <a:noFill/>
                <a:ln w="1333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4" name="Freeform 21"/>
                <p:cNvSpPr>
                  <a:spLocks/>
                </p:cNvSpPr>
                <p:nvPr/>
              </p:nvSpPr>
              <p:spPr bwMode="gray">
                <a:xfrm>
                  <a:off x="3149" y="1758"/>
                  <a:ext cx="335" cy="420"/>
                </a:xfrm>
                <a:custGeom>
                  <a:avLst/>
                  <a:gdLst>
                    <a:gd name="T0" fmla="*/ 475 w 475"/>
                    <a:gd name="T1" fmla="*/ 0 h 597"/>
                    <a:gd name="T2" fmla="*/ 0 w 475"/>
                    <a:gd name="T3" fmla="*/ 597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475" h="597">
                      <a:moveTo>
                        <a:pt x="475" y="0"/>
                      </a:moveTo>
                      <a:cubicBezTo>
                        <a:pt x="416" y="263"/>
                        <a:pt x="237" y="482"/>
                        <a:pt x="0" y="597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5" name="Freeform 22"/>
                <p:cNvSpPr>
                  <a:spLocks/>
                </p:cNvSpPr>
                <p:nvPr/>
              </p:nvSpPr>
              <p:spPr bwMode="gray">
                <a:xfrm>
                  <a:off x="3365" y="1235"/>
                  <a:ext cx="134" cy="523"/>
                </a:xfrm>
                <a:custGeom>
                  <a:avLst/>
                  <a:gdLst>
                    <a:gd name="T0" fmla="*/ 0 w 191"/>
                    <a:gd name="T1" fmla="*/ 0 h 744"/>
                    <a:gd name="T2" fmla="*/ 191 w 191"/>
                    <a:gd name="T3" fmla="*/ 548 h 744"/>
                    <a:gd name="T4" fmla="*/ 169 w 191"/>
                    <a:gd name="T5" fmla="*/ 744 h 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1" h="744">
                      <a:moveTo>
                        <a:pt x="0" y="0"/>
                      </a:moveTo>
                      <a:cubicBezTo>
                        <a:pt x="120" y="150"/>
                        <a:pt x="191" y="341"/>
                        <a:pt x="191" y="548"/>
                      </a:cubicBezTo>
                      <a:cubicBezTo>
                        <a:pt x="191" y="615"/>
                        <a:pt x="184" y="681"/>
                        <a:pt x="169" y="744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accent4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6" name="Freeform 23"/>
                <p:cNvSpPr>
                  <a:spLocks/>
                </p:cNvSpPr>
                <p:nvPr/>
              </p:nvSpPr>
              <p:spPr bwMode="gray">
                <a:xfrm>
                  <a:off x="2880" y="1001"/>
                  <a:ext cx="485" cy="234"/>
                </a:xfrm>
                <a:custGeom>
                  <a:avLst/>
                  <a:gdLst>
                    <a:gd name="T0" fmla="*/ 0 w 689"/>
                    <a:gd name="T1" fmla="*/ 0 h 332"/>
                    <a:gd name="T2" fmla="*/ 689 w 689"/>
                    <a:gd name="T3" fmla="*/ 332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89" h="332">
                      <a:moveTo>
                        <a:pt x="0" y="0"/>
                      </a:moveTo>
                      <a:cubicBezTo>
                        <a:pt x="279" y="0"/>
                        <a:pt x="528" y="129"/>
                        <a:pt x="689" y="332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accent6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67" name="Freeform 24"/>
                <p:cNvSpPr>
                  <a:spLocks/>
                </p:cNvSpPr>
                <p:nvPr/>
              </p:nvSpPr>
              <p:spPr bwMode="gray">
                <a:xfrm>
                  <a:off x="2396" y="1001"/>
                  <a:ext cx="484" cy="233"/>
                </a:xfrm>
                <a:custGeom>
                  <a:avLst/>
                  <a:gdLst>
                    <a:gd name="T0" fmla="*/ 0 w 688"/>
                    <a:gd name="T1" fmla="*/ 331 h 331"/>
                    <a:gd name="T2" fmla="*/ 688 w 688"/>
                    <a:gd name="T3" fmla="*/ 0 h 3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88" h="331">
                      <a:moveTo>
                        <a:pt x="0" y="331"/>
                      </a:moveTo>
                      <a:cubicBezTo>
                        <a:pt x="161" y="129"/>
                        <a:pt x="410" y="0"/>
                        <a:pt x="688" y="0"/>
                      </a:cubicBezTo>
                    </a:path>
                  </a:pathLst>
                </a:custGeom>
                <a:solidFill>
                  <a:srgbClr val="FFFFFF"/>
                </a:solidFill>
                <a:ln w="1333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</p:grpSp>
          <p:cxnSp>
            <p:nvCxnSpPr>
              <p:cNvPr id="39" name="Connecteur droit 38"/>
              <p:cNvCxnSpPr/>
              <p:nvPr/>
            </p:nvCxnSpPr>
            <p:spPr bwMode="gray">
              <a:xfrm rot="3060000" flipV="1">
                <a:off x="6167316" y="5848065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5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40" name="Connecteur droit 39"/>
              <p:cNvCxnSpPr/>
              <p:nvPr/>
            </p:nvCxnSpPr>
            <p:spPr bwMode="gray">
              <a:xfrm rot="6120000" flipV="1">
                <a:off x="5957127" y="4927963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2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41" name="Connecteur droit 40"/>
              <p:cNvCxnSpPr/>
              <p:nvPr/>
            </p:nvCxnSpPr>
            <p:spPr bwMode="gray">
              <a:xfrm rot="9180000" flipV="1">
                <a:off x="6479589" y="4219991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1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42" name="Connecteur droit 41"/>
              <p:cNvCxnSpPr/>
              <p:nvPr/>
            </p:nvCxnSpPr>
            <p:spPr bwMode="gray">
              <a:xfrm rot="12300000" flipV="1">
                <a:off x="7468000" y="4196349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6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43" name="Connecteur droit 42"/>
              <p:cNvCxnSpPr/>
              <p:nvPr/>
            </p:nvCxnSpPr>
            <p:spPr bwMode="gray">
              <a:xfrm rot="15420000" flipV="1">
                <a:off x="8034957" y="4919441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accent4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  <p:cxnSp>
            <p:nvCxnSpPr>
              <p:cNvPr id="47" name="Connecteur droit 46"/>
              <p:cNvCxnSpPr/>
              <p:nvPr/>
            </p:nvCxnSpPr>
            <p:spPr bwMode="gray">
              <a:xfrm rot="18540000" flipV="1">
                <a:off x="7822935" y="5848065"/>
                <a:ext cx="0" cy="345916"/>
              </a:xfrm>
              <a:prstGeom prst="line">
                <a:avLst/>
              </a:prstGeom>
              <a:noFill/>
              <a:ln w="38100" cap="flat" cmpd="sng">
                <a:solidFill>
                  <a:schemeClr val="bg2"/>
                </a:solidFill>
                <a:prstDash val="solid"/>
                <a:round/>
                <a:headEnd type="triangle" w="lg" len="lg"/>
                <a:tailEnd type="none" w="med" len="med"/>
              </a:ln>
              <a:effectLst/>
            </p:spPr>
          </p:cxnSp>
        </p:grpSp>
      </p:grpSp>
      <p:sp>
        <p:nvSpPr>
          <p:cNvPr id="50" name="Rectangle à coins arrondis 49"/>
          <p:cNvSpPr/>
          <p:nvPr/>
        </p:nvSpPr>
        <p:spPr bwMode="gray">
          <a:xfrm>
            <a:off x="6271338" y="2906527"/>
            <a:ext cx="2520000" cy="36984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51" name="Rectangle à coins arrondis 50"/>
          <p:cNvSpPr/>
          <p:nvPr/>
        </p:nvSpPr>
        <p:spPr bwMode="gray">
          <a:xfrm>
            <a:off x="326169" y="2910882"/>
            <a:ext cx="2520000" cy="36549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52" name="Rectangle à coins arrondis 51"/>
          <p:cNvSpPr/>
          <p:nvPr/>
        </p:nvSpPr>
        <p:spPr bwMode="gray">
          <a:xfrm>
            <a:off x="330470" y="4132548"/>
            <a:ext cx="3017394" cy="3698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53" name="Rectangle à coins arrondis 52"/>
          <p:cNvSpPr/>
          <p:nvPr/>
        </p:nvSpPr>
        <p:spPr bwMode="gray">
          <a:xfrm>
            <a:off x="5940151" y="4132548"/>
            <a:ext cx="2876503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</a:t>
            </a:r>
            <a:r>
              <a:rPr lang="en-US" sz="1200" b="1" cap="all" dirty="0" err="1"/>
              <a:t>pts</a:t>
            </a:r>
            <a:endParaRPr lang="en-US" sz="1200" b="1" cap="all" dirty="0"/>
          </a:p>
        </p:txBody>
      </p:sp>
      <p:sp>
        <p:nvSpPr>
          <p:cNvPr id="56" name="ZoneTexte 55"/>
          <p:cNvSpPr txBox="1"/>
          <p:nvPr/>
        </p:nvSpPr>
        <p:spPr bwMode="gray">
          <a:xfrm>
            <a:off x="343940" y="3302877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7" name="ZoneTexte 56"/>
          <p:cNvSpPr txBox="1"/>
          <p:nvPr/>
        </p:nvSpPr>
        <p:spPr bwMode="gray">
          <a:xfrm>
            <a:off x="6271338" y="3302877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 bwMode="gray">
          <a:xfrm>
            <a:off x="323278" y="452889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59" name="ZoneTexte 58"/>
          <p:cNvSpPr txBox="1"/>
          <p:nvPr/>
        </p:nvSpPr>
        <p:spPr bwMode="gray">
          <a:xfrm>
            <a:off x="6012160" y="452889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60" name="Rectangle à coins arrondis 59"/>
          <p:cNvSpPr/>
          <p:nvPr/>
        </p:nvSpPr>
        <p:spPr bwMode="gray">
          <a:xfrm>
            <a:off x="350350" y="1700808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</a:t>
            </a:r>
            <a:r>
              <a:rPr lang="en-US" sz="1200" b="1" cap="all" dirty="0" err="1"/>
              <a:t>pts</a:t>
            </a:r>
            <a:endParaRPr lang="en-US" sz="1200" b="1" cap="all" dirty="0"/>
          </a:p>
        </p:txBody>
      </p:sp>
      <p:sp>
        <p:nvSpPr>
          <p:cNvPr id="61" name="Rectangle à coins arrondis 60"/>
          <p:cNvSpPr/>
          <p:nvPr/>
        </p:nvSpPr>
        <p:spPr bwMode="gray">
          <a:xfrm>
            <a:off x="5596535" y="1700808"/>
            <a:ext cx="3240000" cy="369847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62" name="ZoneTexte 61"/>
          <p:cNvSpPr txBox="1"/>
          <p:nvPr/>
        </p:nvSpPr>
        <p:spPr bwMode="gray">
          <a:xfrm>
            <a:off x="343158" y="209715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70" name="ZoneTexte 69"/>
          <p:cNvSpPr txBox="1"/>
          <p:nvPr/>
        </p:nvSpPr>
        <p:spPr bwMode="gray">
          <a:xfrm>
            <a:off x="5596535" y="2097159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71" name="Rectangle à coins arrondis 70"/>
          <p:cNvSpPr/>
          <p:nvPr/>
        </p:nvSpPr>
        <p:spPr bwMode="gray">
          <a:xfrm>
            <a:off x="3311409" y="4902815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72" name="ZoneTexte 71"/>
          <p:cNvSpPr txBox="1"/>
          <p:nvPr/>
        </p:nvSpPr>
        <p:spPr bwMode="gray">
          <a:xfrm>
            <a:off x="3311409" y="5299166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98373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EIGHT FACTORS</a:t>
            </a:r>
            <a:endParaRPr lang="fr-FR" dirty="0"/>
          </a:p>
        </p:txBody>
      </p:sp>
      <p:sp>
        <p:nvSpPr>
          <p:cNvPr id="43" name="Espace réservé de la date 4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4" name="Espace réservé du pied de page 5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7" name="Espace réservé du numéro de diapositive 4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4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6271338" y="3256180"/>
            <a:ext cx="2520000" cy="369846"/>
          </a:xfrm>
          <a:prstGeom prst="roundRect">
            <a:avLst>
              <a:gd name="adj" fmla="val 50000"/>
            </a:avLst>
          </a:prstGeom>
          <a:solidFill>
            <a:srgbClr val="E10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326169" y="3260535"/>
            <a:ext cx="2520000" cy="36549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30470" y="4482201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5576655" y="4482201"/>
            <a:ext cx="3240000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27" name="ZoneTexte 26"/>
          <p:cNvSpPr txBox="1"/>
          <p:nvPr/>
        </p:nvSpPr>
        <p:spPr bwMode="gray">
          <a:xfrm>
            <a:off x="343940" y="3652530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28" name="ZoneTexte 27"/>
          <p:cNvSpPr txBox="1"/>
          <p:nvPr/>
        </p:nvSpPr>
        <p:spPr bwMode="gray">
          <a:xfrm>
            <a:off x="6271338" y="3652530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29" name="ZoneTexte 28"/>
          <p:cNvSpPr txBox="1"/>
          <p:nvPr/>
        </p:nvSpPr>
        <p:spPr bwMode="gray">
          <a:xfrm>
            <a:off x="323278" y="487855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30" name="ZoneTexte 29"/>
          <p:cNvSpPr txBox="1"/>
          <p:nvPr/>
        </p:nvSpPr>
        <p:spPr bwMode="gray">
          <a:xfrm>
            <a:off x="5576655" y="487855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31" name="Rectangle à coins arrondis 30"/>
          <p:cNvSpPr/>
          <p:nvPr/>
        </p:nvSpPr>
        <p:spPr bwMode="gray">
          <a:xfrm>
            <a:off x="350350" y="2050461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4" name="Rectangle à coins arrondis 43"/>
          <p:cNvSpPr/>
          <p:nvPr/>
        </p:nvSpPr>
        <p:spPr bwMode="gray">
          <a:xfrm>
            <a:off x="5596535" y="2050461"/>
            <a:ext cx="3240000" cy="369847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5" name="ZoneTexte 44"/>
          <p:cNvSpPr txBox="1"/>
          <p:nvPr/>
        </p:nvSpPr>
        <p:spPr bwMode="gray">
          <a:xfrm>
            <a:off x="343158" y="244681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 bwMode="gray">
          <a:xfrm>
            <a:off x="5596535" y="244681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68" name="Rectangle à coins arrondis 67"/>
          <p:cNvSpPr/>
          <p:nvPr/>
        </p:nvSpPr>
        <p:spPr bwMode="gray">
          <a:xfrm>
            <a:off x="3311409" y="5252468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69" name="ZoneTexte 68"/>
          <p:cNvSpPr txBox="1"/>
          <p:nvPr/>
        </p:nvSpPr>
        <p:spPr bwMode="gray">
          <a:xfrm>
            <a:off x="3311409" y="5648819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grpSp>
        <p:nvGrpSpPr>
          <p:cNvPr id="10" name="Groupe 37"/>
          <p:cNvGrpSpPr/>
          <p:nvPr/>
        </p:nvGrpSpPr>
        <p:grpSpPr bwMode="gray">
          <a:xfrm>
            <a:off x="3202603" y="2170866"/>
            <a:ext cx="2728500" cy="2730968"/>
            <a:chOff x="5044324" y="3241149"/>
            <a:chExt cx="3979537" cy="3982662"/>
          </a:xfrm>
        </p:grpSpPr>
        <p:sp>
          <p:nvSpPr>
            <p:cNvPr id="48" name="Ellipse 47"/>
            <p:cNvSpPr/>
            <p:nvPr/>
          </p:nvSpPr>
          <p:spPr bwMode="gray">
            <a:xfrm>
              <a:off x="5907044" y="4076299"/>
              <a:ext cx="2129402" cy="2129402"/>
            </a:xfrm>
            <a:prstGeom prst="ellipse">
              <a:avLst/>
            </a:prstGeom>
            <a:solidFill>
              <a:schemeClr val="bg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bg2"/>
                  </a:solidFill>
                </a:rPr>
                <a:t>Text</a:t>
              </a:r>
              <a:br>
                <a:rPr lang="en-US" sz="1500" b="1" dirty="0">
                  <a:solidFill>
                    <a:schemeClr val="bg2"/>
                  </a:solidFill>
                </a:rPr>
              </a:br>
              <a:r>
                <a:rPr lang="en-US" sz="1500" b="1" dirty="0">
                  <a:solidFill>
                    <a:schemeClr val="bg2"/>
                  </a:solidFill>
                </a:rPr>
                <a:t>22 pts</a:t>
              </a:r>
            </a:p>
          </p:txBody>
        </p:sp>
        <p:cxnSp>
          <p:nvCxnSpPr>
            <p:cNvPr id="49" name="Connecteur droit 48"/>
            <p:cNvCxnSpPr/>
            <p:nvPr/>
          </p:nvCxnSpPr>
          <p:spPr bwMode="gray">
            <a:xfrm rot="10800000" flipV="1">
              <a:off x="7036157" y="3241149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3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0" name="Connecteur droit 49"/>
            <p:cNvCxnSpPr/>
            <p:nvPr/>
          </p:nvCxnSpPr>
          <p:spPr bwMode="gray">
            <a:xfrm rot="13440000" flipV="1">
              <a:off x="8227817" y="3714806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6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1" name="Connecteur droit 50"/>
            <p:cNvCxnSpPr/>
            <p:nvPr/>
          </p:nvCxnSpPr>
          <p:spPr bwMode="gray">
            <a:xfrm rot="8160000" flipH="1" flipV="1">
              <a:off x="5813615" y="3704658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2" name="Connecteur droit 51"/>
            <p:cNvCxnSpPr/>
            <p:nvPr/>
          </p:nvCxnSpPr>
          <p:spPr bwMode="gray">
            <a:xfrm rot="10800000">
              <a:off x="7036158" y="6672834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4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3" name="Connecteur droit 52"/>
            <p:cNvCxnSpPr/>
            <p:nvPr/>
          </p:nvCxnSpPr>
          <p:spPr bwMode="gray">
            <a:xfrm rot="8160000">
              <a:off x="8227816" y="6199176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bg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6" name="Connecteur droit 55"/>
            <p:cNvCxnSpPr/>
            <p:nvPr/>
          </p:nvCxnSpPr>
          <p:spPr bwMode="gray">
            <a:xfrm rot="13440000" flipH="1">
              <a:off x="5801194" y="614644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5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7" name="Connecteur droit 56"/>
            <p:cNvCxnSpPr/>
            <p:nvPr/>
          </p:nvCxnSpPr>
          <p:spPr bwMode="gray">
            <a:xfrm rot="16200000" flipH="1">
              <a:off x="5319813" y="494700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8" name="Connecteur droit 57"/>
            <p:cNvCxnSpPr/>
            <p:nvPr/>
          </p:nvCxnSpPr>
          <p:spPr bwMode="gray">
            <a:xfrm rot="5400000" flipH="1">
              <a:off x="8748373" y="494700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rgbClr val="E10019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grpSp>
          <p:nvGrpSpPr>
            <p:cNvPr id="11" name="Groupe 2051"/>
            <p:cNvGrpSpPr/>
            <p:nvPr/>
          </p:nvGrpSpPr>
          <p:grpSpPr bwMode="gray">
            <a:xfrm>
              <a:off x="5563209" y="3749545"/>
              <a:ext cx="2945897" cy="2945897"/>
              <a:chOff x="5563209" y="3749545"/>
              <a:chExt cx="2945897" cy="2945897"/>
            </a:xfrm>
          </p:grpSpPr>
          <p:grpSp>
            <p:nvGrpSpPr>
              <p:cNvPr id="12" name="Group 5"/>
              <p:cNvGrpSpPr>
                <a:grpSpLocks noChangeAspect="1"/>
              </p:cNvGrpSpPr>
              <p:nvPr/>
            </p:nvGrpSpPr>
            <p:grpSpPr bwMode="gray">
              <a:xfrm rot="20280000">
                <a:off x="5563209" y="3749545"/>
                <a:ext cx="2945897" cy="2945897"/>
                <a:chOff x="2422" y="1374"/>
                <a:chExt cx="3558" cy="3558"/>
              </a:xfrm>
            </p:grpSpPr>
            <p:sp>
              <p:nvSpPr>
                <p:cNvPr id="62" name="Freeform 6"/>
                <p:cNvSpPr>
                  <a:spLocks/>
                </p:cNvSpPr>
                <p:nvPr/>
              </p:nvSpPr>
              <p:spPr bwMode="gray">
                <a:xfrm>
                  <a:off x="4201" y="1374"/>
                  <a:ext cx="1258" cy="1150"/>
                </a:xfrm>
                <a:custGeom>
                  <a:avLst/>
                  <a:gdLst>
                    <a:gd name="T0" fmla="*/ 3354 w 3354"/>
                    <a:gd name="T1" fmla="*/ 1390 h 3067"/>
                    <a:gd name="T2" fmla="*/ 0 w 3354"/>
                    <a:gd name="T3" fmla="*/ 0 h 3067"/>
                    <a:gd name="T4" fmla="*/ 0 w 3354"/>
                    <a:gd name="T5" fmla="*/ 2372 h 3067"/>
                    <a:gd name="T6" fmla="*/ 1677 w 3354"/>
                    <a:gd name="T7" fmla="*/ 3067 h 3067"/>
                    <a:gd name="T8" fmla="*/ 3354 w 3354"/>
                    <a:gd name="T9" fmla="*/ 1390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3354" y="1390"/>
                      </a:moveTo>
                      <a:cubicBezTo>
                        <a:pt x="2465" y="500"/>
                        <a:pt x="1258" y="0"/>
                        <a:pt x="0" y="0"/>
                      </a:cubicBezTo>
                      <a:lnTo>
                        <a:pt x="0" y="2372"/>
                      </a:lnTo>
                      <a:cubicBezTo>
                        <a:pt x="629" y="2372"/>
                        <a:pt x="1232" y="2622"/>
                        <a:pt x="1677" y="3067"/>
                      </a:cubicBezTo>
                      <a:lnTo>
                        <a:pt x="3354" y="139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0" name="Freeform 7"/>
                <p:cNvSpPr>
                  <a:spLocks/>
                </p:cNvSpPr>
                <p:nvPr/>
              </p:nvSpPr>
              <p:spPr bwMode="gray">
                <a:xfrm>
                  <a:off x="4830" y="1895"/>
                  <a:ext cx="1150" cy="1258"/>
                </a:xfrm>
                <a:custGeom>
                  <a:avLst/>
                  <a:gdLst>
                    <a:gd name="T0" fmla="*/ 3067 w 3067"/>
                    <a:gd name="T1" fmla="*/ 3354 h 3354"/>
                    <a:gd name="T2" fmla="*/ 1677 w 3067"/>
                    <a:gd name="T3" fmla="*/ 0 h 3354"/>
                    <a:gd name="T4" fmla="*/ 0 w 3067"/>
                    <a:gd name="T5" fmla="*/ 1677 h 3354"/>
                    <a:gd name="T6" fmla="*/ 695 w 3067"/>
                    <a:gd name="T7" fmla="*/ 3354 h 3354"/>
                    <a:gd name="T8" fmla="*/ 3067 w 3067"/>
                    <a:gd name="T9" fmla="*/ 3354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3067" y="3354"/>
                      </a:moveTo>
                      <a:cubicBezTo>
                        <a:pt x="3067" y="2096"/>
                        <a:pt x="2567" y="889"/>
                        <a:pt x="1677" y="0"/>
                      </a:cubicBezTo>
                      <a:lnTo>
                        <a:pt x="0" y="1677"/>
                      </a:lnTo>
                      <a:cubicBezTo>
                        <a:pt x="445" y="2121"/>
                        <a:pt x="695" y="2725"/>
                        <a:pt x="695" y="3354"/>
                      </a:cubicBezTo>
                      <a:lnTo>
                        <a:pt x="3067" y="3354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1" name="Freeform 8"/>
                <p:cNvSpPr>
                  <a:spLocks/>
                </p:cNvSpPr>
                <p:nvPr/>
              </p:nvSpPr>
              <p:spPr bwMode="gray">
                <a:xfrm>
                  <a:off x="4830" y="3153"/>
                  <a:ext cx="1150" cy="1258"/>
                </a:xfrm>
                <a:custGeom>
                  <a:avLst/>
                  <a:gdLst>
                    <a:gd name="T0" fmla="*/ 1677 w 3067"/>
                    <a:gd name="T1" fmla="*/ 3354 h 3354"/>
                    <a:gd name="T2" fmla="*/ 3067 w 3067"/>
                    <a:gd name="T3" fmla="*/ 0 h 3354"/>
                    <a:gd name="T4" fmla="*/ 695 w 3067"/>
                    <a:gd name="T5" fmla="*/ 0 h 3354"/>
                    <a:gd name="T6" fmla="*/ 0 w 3067"/>
                    <a:gd name="T7" fmla="*/ 1677 h 3354"/>
                    <a:gd name="T8" fmla="*/ 1677 w 3067"/>
                    <a:gd name="T9" fmla="*/ 3354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1677" y="3354"/>
                      </a:moveTo>
                      <a:cubicBezTo>
                        <a:pt x="2567" y="2465"/>
                        <a:pt x="3067" y="1258"/>
                        <a:pt x="3067" y="0"/>
                      </a:cubicBezTo>
                      <a:lnTo>
                        <a:pt x="695" y="0"/>
                      </a:lnTo>
                      <a:cubicBezTo>
                        <a:pt x="695" y="629"/>
                        <a:pt x="445" y="1232"/>
                        <a:pt x="0" y="1677"/>
                      </a:cubicBezTo>
                      <a:lnTo>
                        <a:pt x="1677" y="3354"/>
                      </a:lnTo>
                      <a:close/>
                    </a:path>
                  </a:pathLst>
                </a:custGeom>
                <a:solidFill>
                  <a:srgbClr val="E1001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2" name="Freeform 9"/>
                <p:cNvSpPr>
                  <a:spLocks/>
                </p:cNvSpPr>
                <p:nvPr/>
              </p:nvSpPr>
              <p:spPr bwMode="gray">
                <a:xfrm>
                  <a:off x="4201" y="3782"/>
                  <a:ext cx="1258" cy="1150"/>
                </a:xfrm>
                <a:custGeom>
                  <a:avLst/>
                  <a:gdLst>
                    <a:gd name="T0" fmla="*/ 0 w 3354"/>
                    <a:gd name="T1" fmla="*/ 3067 h 3067"/>
                    <a:gd name="T2" fmla="*/ 3354 w 3354"/>
                    <a:gd name="T3" fmla="*/ 1677 h 3067"/>
                    <a:gd name="T4" fmla="*/ 1677 w 3354"/>
                    <a:gd name="T5" fmla="*/ 0 h 3067"/>
                    <a:gd name="T6" fmla="*/ 0 w 3354"/>
                    <a:gd name="T7" fmla="*/ 695 h 3067"/>
                    <a:gd name="T8" fmla="*/ 0 w 3354"/>
                    <a:gd name="T9" fmla="*/ 3067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0" y="3067"/>
                      </a:moveTo>
                      <a:cubicBezTo>
                        <a:pt x="1258" y="3067"/>
                        <a:pt x="2465" y="2567"/>
                        <a:pt x="3354" y="1677"/>
                      </a:cubicBezTo>
                      <a:lnTo>
                        <a:pt x="1677" y="0"/>
                      </a:lnTo>
                      <a:cubicBezTo>
                        <a:pt x="1232" y="445"/>
                        <a:pt x="629" y="695"/>
                        <a:pt x="0" y="695"/>
                      </a:cubicBezTo>
                      <a:lnTo>
                        <a:pt x="0" y="3067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3" name="Freeform 10"/>
                <p:cNvSpPr>
                  <a:spLocks/>
                </p:cNvSpPr>
                <p:nvPr/>
              </p:nvSpPr>
              <p:spPr bwMode="gray">
                <a:xfrm>
                  <a:off x="2944" y="3782"/>
                  <a:ext cx="1257" cy="1150"/>
                </a:xfrm>
                <a:custGeom>
                  <a:avLst/>
                  <a:gdLst>
                    <a:gd name="T0" fmla="*/ 0 w 3354"/>
                    <a:gd name="T1" fmla="*/ 1677 h 3067"/>
                    <a:gd name="T2" fmla="*/ 3354 w 3354"/>
                    <a:gd name="T3" fmla="*/ 3067 h 3067"/>
                    <a:gd name="T4" fmla="*/ 3354 w 3354"/>
                    <a:gd name="T5" fmla="*/ 695 h 3067"/>
                    <a:gd name="T6" fmla="*/ 1677 w 3354"/>
                    <a:gd name="T7" fmla="*/ 0 h 3067"/>
                    <a:gd name="T8" fmla="*/ 0 w 3354"/>
                    <a:gd name="T9" fmla="*/ 1677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0" y="1677"/>
                      </a:moveTo>
                      <a:cubicBezTo>
                        <a:pt x="889" y="2567"/>
                        <a:pt x="2096" y="3067"/>
                        <a:pt x="3354" y="3067"/>
                      </a:cubicBezTo>
                      <a:lnTo>
                        <a:pt x="3354" y="695"/>
                      </a:lnTo>
                      <a:cubicBezTo>
                        <a:pt x="2725" y="695"/>
                        <a:pt x="2122" y="445"/>
                        <a:pt x="1677" y="0"/>
                      </a:cubicBezTo>
                      <a:lnTo>
                        <a:pt x="0" y="1677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4" name="Freeform 11"/>
                <p:cNvSpPr>
                  <a:spLocks/>
                </p:cNvSpPr>
                <p:nvPr/>
              </p:nvSpPr>
              <p:spPr bwMode="gray">
                <a:xfrm>
                  <a:off x="2422" y="3153"/>
                  <a:ext cx="1151" cy="1258"/>
                </a:xfrm>
                <a:custGeom>
                  <a:avLst/>
                  <a:gdLst>
                    <a:gd name="T0" fmla="*/ 0 w 3067"/>
                    <a:gd name="T1" fmla="*/ 0 h 3354"/>
                    <a:gd name="T2" fmla="*/ 1390 w 3067"/>
                    <a:gd name="T3" fmla="*/ 3354 h 3354"/>
                    <a:gd name="T4" fmla="*/ 3067 w 3067"/>
                    <a:gd name="T5" fmla="*/ 1677 h 3354"/>
                    <a:gd name="T6" fmla="*/ 2372 w 3067"/>
                    <a:gd name="T7" fmla="*/ 0 h 3354"/>
                    <a:gd name="T8" fmla="*/ 0 w 3067"/>
                    <a:gd name="T9" fmla="*/ 0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0" y="0"/>
                      </a:moveTo>
                      <a:cubicBezTo>
                        <a:pt x="0" y="1258"/>
                        <a:pt x="500" y="2465"/>
                        <a:pt x="1390" y="3354"/>
                      </a:cubicBezTo>
                      <a:lnTo>
                        <a:pt x="3067" y="1677"/>
                      </a:lnTo>
                      <a:cubicBezTo>
                        <a:pt x="2622" y="1232"/>
                        <a:pt x="2372" y="629"/>
                        <a:pt x="237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5" name="Freeform 12"/>
                <p:cNvSpPr>
                  <a:spLocks/>
                </p:cNvSpPr>
                <p:nvPr/>
              </p:nvSpPr>
              <p:spPr bwMode="gray">
                <a:xfrm>
                  <a:off x="2422" y="1895"/>
                  <a:ext cx="1151" cy="1258"/>
                </a:xfrm>
                <a:custGeom>
                  <a:avLst/>
                  <a:gdLst>
                    <a:gd name="T0" fmla="*/ 1390 w 3067"/>
                    <a:gd name="T1" fmla="*/ 0 h 3354"/>
                    <a:gd name="T2" fmla="*/ 0 w 3067"/>
                    <a:gd name="T3" fmla="*/ 3354 h 3354"/>
                    <a:gd name="T4" fmla="*/ 2372 w 3067"/>
                    <a:gd name="T5" fmla="*/ 3354 h 3354"/>
                    <a:gd name="T6" fmla="*/ 3067 w 3067"/>
                    <a:gd name="T7" fmla="*/ 1677 h 3354"/>
                    <a:gd name="T8" fmla="*/ 1390 w 3067"/>
                    <a:gd name="T9" fmla="*/ 0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1390" y="0"/>
                      </a:moveTo>
                      <a:cubicBezTo>
                        <a:pt x="500" y="889"/>
                        <a:pt x="0" y="2096"/>
                        <a:pt x="0" y="3354"/>
                      </a:cubicBezTo>
                      <a:lnTo>
                        <a:pt x="2372" y="3354"/>
                      </a:lnTo>
                      <a:cubicBezTo>
                        <a:pt x="2372" y="2725"/>
                        <a:pt x="2622" y="2121"/>
                        <a:pt x="3067" y="1677"/>
                      </a:cubicBezTo>
                      <a:lnTo>
                        <a:pt x="139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6" name="Freeform 13"/>
                <p:cNvSpPr>
                  <a:spLocks/>
                </p:cNvSpPr>
                <p:nvPr/>
              </p:nvSpPr>
              <p:spPr bwMode="gray">
                <a:xfrm>
                  <a:off x="2944" y="1374"/>
                  <a:ext cx="1257" cy="1150"/>
                </a:xfrm>
                <a:custGeom>
                  <a:avLst/>
                  <a:gdLst>
                    <a:gd name="T0" fmla="*/ 3354 w 3354"/>
                    <a:gd name="T1" fmla="*/ 0 h 3067"/>
                    <a:gd name="T2" fmla="*/ 0 w 3354"/>
                    <a:gd name="T3" fmla="*/ 1390 h 3067"/>
                    <a:gd name="T4" fmla="*/ 1677 w 3354"/>
                    <a:gd name="T5" fmla="*/ 3067 h 3067"/>
                    <a:gd name="T6" fmla="*/ 3354 w 3354"/>
                    <a:gd name="T7" fmla="*/ 2372 h 3067"/>
                    <a:gd name="T8" fmla="*/ 3354 w 3354"/>
                    <a:gd name="T9" fmla="*/ 0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3354" y="0"/>
                      </a:moveTo>
                      <a:cubicBezTo>
                        <a:pt x="2096" y="0"/>
                        <a:pt x="889" y="500"/>
                        <a:pt x="0" y="1390"/>
                      </a:cubicBezTo>
                      <a:lnTo>
                        <a:pt x="1677" y="3067"/>
                      </a:lnTo>
                      <a:cubicBezTo>
                        <a:pt x="2122" y="2622"/>
                        <a:pt x="2725" y="2372"/>
                        <a:pt x="3354" y="2372"/>
                      </a:cubicBezTo>
                      <a:lnTo>
                        <a:pt x="3354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61" name="Ellipse 60"/>
              <p:cNvSpPr/>
              <p:nvPr/>
            </p:nvSpPr>
            <p:spPr bwMode="gray">
              <a:xfrm>
                <a:off x="5709736" y="3896072"/>
                <a:ext cx="2652842" cy="2652842"/>
              </a:xfrm>
              <a:prstGeom prst="ellipse">
                <a:avLst/>
              </a:prstGeom>
              <a:solidFill>
                <a:schemeClr val="bg1"/>
              </a:solidFill>
              <a:ln w="762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bg2"/>
                    </a:solidFill>
                  </a:rPr>
                  <a:t>Text</a:t>
                </a:r>
                <a:br>
                  <a:rPr lang="en-US" sz="1500" b="1" dirty="0">
                    <a:solidFill>
                      <a:schemeClr val="bg2"/>
                    </a:solidFill>
                  </a:rPr>
                </a:br>
                <a:r>
                  <a:rPr lang="en-US" sz="1500" b="1" dirty="0">
                    <a:solidFill>
                      <a:schemeClr val="bg2"/>
                    </a:solidFill>
                  </a:rPr>
                  <a:t>15 pts</a:t>
                </a:r>
              </a:p>
            </p:txBody>
          </p:sp>
        </p:grpSp>
      </p:grpSp>
      <p:sp>
        <p:nvSpPr>
          <p:cNvPr id="77" name="Rectangle à coins arrondis 76"/>
          <p:cNvSpPr/>
          <p:nvPr/>
        </p:nvSpPr>
        <p:spPr bwMode="gray">
          <a:xfrm>
            <a:off x="3304785" y="1164468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78" name="ZoneTexte 77"/>
          <p:cNvSpPr txBox="1"/>
          <p:nvPr/>
        </p:nvSpPr>
        <p:spPr bwMode="gray">
          <a:xfrm>
            <a:off x="3304785" y="1560819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9255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MPACT – EIGHT FACTORS</a:t>
            </a:r>
            <a:endParaRPr lang="fr-FR" dirty="0"/>
          </a:p>
        </p:txBody>
      </p:sp>
      <p:sp>
        <p:nvSpPr>
          <p:cNvPr id="43" name="Espace réservé de la date 4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54" name="Espace réservé du pied de page 5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7" name="Espace réservé du numéro de diapositive 4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5</a:t>
            </a:fld>
            <a:endParaRPr lang="fr-FR" dirty="0"/>
          </a:p>
        </p:txBody>
      </p:sp>
      <p:sp>
        <p:nvSpPr>
          <p:cNvPr id="6" name="Rectangle à coins arrondis 5"/>
          <p:cNvSpPr/>
          <p:nvPr/>
        </p:nvSpPr>
        <p:spPr bwMode="gray">
          <a:xfrm>
            <a:off x="6271338" y="3256180"/>
            <a:ext cx="2520000" cy="36984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7" name="Rectangle à coins arrondis 6"/>
          <p:cNvSpPr/>
          <p:nvPr/>
        </p:nvSpPr>
        <p:spPr bwMode="gray">
          <a:xfrm>
            <a:off x="326169" y="3260535"/>
            <a:ext cx="2520000" cy="36549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330470" y="4482201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9" name="Rectangle à coins arrondis 8"/>
          <p:cNvSpPr/>
          <p:nvPr/>
        </p:nvSpPr>
        <p:spPr bwMode="gray">
          <a:xfrm>
            <a:off x="5576655" y="4482201"/>
            <a:ext cx="3240000" cy="369847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27" name="ZoneTexte 26"/>
          <p:cNvSpPr txBox="1"/>
          <p:nvPr/>
        </p:nvSpPr>
        <p:spPr bwMode="gray">
          <a:xfrm>
            <a:off x="343940" y="3652530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28" name="ZoneTexte 27"/>
          <p:cNvSpPr txBox="1"/>
          <p:nvPr/>
        </p:nvSpPr>
        <p:spPr bwMode="gray">
          <a:xfrm>
            <a:off x="6271338" y="3652530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29" name="ZoneTexte 28"/>
          <p:cNvSpPr txBox="1"/>
          <p:nvPr/>
        </p:nvSpPr>
        <p:spPr bwMode="gray">
          <a:xfrm>
            <a:off x="323278" y="487855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30" name="ZoneTexte 29"/>
          <p:cNvSpPr txBox="1"/>
          <p:nvPr/>
        </p:nvSpPr>
        <p:spPr bwMode="gray">
          <a:xfrm>
            <a:off x="5576655" y="487855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31" name="Rectangle à coins arrondis 30"/>
          <p:cNvSpPr/>
          <p:nvPr/>
        </p:nvSpPr>
        <p:spPr bwMode="gray">
          <a:xfrm>
            <a:off x="350350" y="2050461"/>
            <a:ext cx="3240000" cy="3698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4" name="Rectangle à coins arrondis 43"/>
          <p:cNvSpPr/>
          <p:nvPr/>
        </p:nvSpPr>
        <p:spPr bwMode="gray">
          <a:xfrm>
            <a:off x="5596535" y="2050461"/>
            <a:ext cx="3240000" cy="369847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45" name="ZoneTexte 44"/>
          <p:cNvSpPr txBox="1"/>
          <p:nvPr/>
        </p:nvSpPr>
        <p:spPr bwMode="gray">
          <a:xfrm>
            <a:off x="343158" y="244681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 bwMode="gray">
          <a:xfrm>
            <a:off x="5596535" y="2446812"/>
            <a:ext cx="324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68" name="Rectangle à coins arrondis 67"/>
          <p:cNvSpPr/>
          <p:nvPr/>
        </p:nvSpPr>
        <p:spPr bwMode="gray">
          <a:xfrm>
            <a:off x="3311409" y="5252468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/>
              <a:t>Text level 0 – 12 pts</a:t>
            </a:r>
            <a:endParaRPr lang="en-US" sz="1200" b="1" cap="all" dirty="0"/>
          </a:p>
        </p:txBody>
      </p:sp>
      <p:sp>
        <p:nvSpPr>
          <p:cNvPr id="69" name="ZoneTexte 68"/>
          <p:cNvSpPr txBox="1"/>
          <p:nvPr/>
        </p:nvSpPr>
        <p:spPr bwMode="gray">
          <a:xfrm>
            <a:off x="3311409" y="5648819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  <p:grpSp>
        <p:nvGrpSpPr>
          <p:cNvPr id="3" name="Groupe 37"/>
          <p:cNvGrpSpPr/>
          <p:nvPr/>
        </p:nvGrpSpPr>
        <p:grpSpPr bwMode="gray">
          <a:xfrm>
            <a:off x="3202603" y="2170866"/>
            <a:ext cx="2728500" cy="2730968"/>
            <a:chOff x="5044324" y="3241149"/>
            <a:chExt cx="3979537" cy="3982662"/>
          </a:xfrm>
        </p:grpSpPr>
        <p:sp>
          <p:nvSpPr>
            <p:cNvPr id="48" name="Ellipse 47"/>
            <p:cNvSpPr/>
            <p:nvPr/>
          </p:nvSpPr>
          <p:spPr bwMode="gray">
            <a:xfrm>
              <a:off x="5907044" y="4076299"/>
              <a:ext cx="2129402" cy="2129402"/>
            </a:xfrm>
            <a:prstGeom prst="ellipse">
              <a:avLst/>
            </a:prstGeom>
            <a:solidFill>
              <a:schemeClr val="bg1"/>
            </a:solidFill>
            <a:ln w="762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bg2"/>
                  </a:solidFill>
                </a:rPr>
                <a:t>Text</a:t>
              </a:r>
              <a:br>
                <a:rPr lang="en-US" sz="1500" b="1" dirty="0">
                  <a:solidFill>
                    <a:schemeClr val="bg2"/>
                  </a:solidFill>
                </a:rPr>
              </a:br>
              <a:r>
                <a:rPr lang="en-US" sz="1500" b="1" dirty="0">
                  <a:solidFill>
                    <a:schemeClr val="bg2"/>
                  </a:solidFill>
                </a:rPr>
                <a:t>22 pts</a:t>
              </a:r>
            </a:p>
          </p:txBody>
        </p:sp>
        <p:cxnSp>
          <p:nvCxnSpPr>
            <p:cNvPr id="49" name="Connecteur droit 48"/>
            <p:cNvCxnSpPr/>
            <p:nvPr/>
          </p:nvCxnSpPr>
          <p:spPr bwMode="gray">
            <a:xfrm rot="10800000" flipV="1">
              <a:off x="7036157" y="3241149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bg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0" name="Connecteur droit 49"/>
            <p:cNvCxnSpPr/>
            <p:nvPr/>
          </p:nvCxnSpPr>
          <p:spPr bwMode="gray">
            <a:xfrm rot="13440000" flipV="1">
              <a:off x="8227817" y="3714806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6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1" name="Connecteur droit 50"/>
            <p:cNvCxnSpPr/>
            <p:nvPr/>
          </p:nvCxnSpPr>
          <p:spPr bwMode="gray">
            <a:xfrm rot="8160000" flipH="1" flipV="1">
              <a:off x="5813615" y="3704658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2" name="Connecteur droit 51"/>
            <p:cNvCxnSpPr/>
            <p:nvPr/>
          </p:nvCxnSpPr>
          <p:spPr bwMode="gray">
            <a:xfrm rot="10800000">
              <a:off x="7036158" y="6672834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4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3" name="Connecteur droit 52"/>
            <p:cNvCxnSpPr/>
            <p:nvPr/>
          </p:nvCxnSpPr>
          <p:spPr bwMode="gray">
            <a:xfrm rot="8160000">
              <a:off x="8227816" y="6199176"/>
              <a:ext cx="0" cy="550977"/>
            </a:xfrm>
            <a:prstGeom prst="line">
              <a:avLst/>
            </a:prstGeom>
            <a:noFill/>
            <a:ln w="38100" cap="flat" cmpd="sng">
              <a:solidFill>
                <a:srgbClr val="0070C0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6" name="Connecteur droit 55"/>
            <p:cNvCxnSpPr/>
            <p:nvPr/>
          </p:nvCxnSpPr>
          <p:spPr bwMode="gray">
            <a:xfrm rot="13440000" flipH="1">
              <a:off x="5801194" y="614644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5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7" name="Connecteur droit 56"/>
            <p:cNvCxnSpPr/>
            <p:nvPr/>
          </p:nvCxnSpPr>
          <p:spPr bwMode="gray">
            <a:xfrm rot="16200000" flipH="1">
              <a:off x="5319813" y="494700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2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cxnSp>
          <p:nvCxnSpPr>
            <p:cNvPr id="58" name="Connecteur droit 57"/>
            <p:cNvCxnSpPr/>
            <p:nvPr/>
          </p:nvCxnSpPr>
          <p:spPr bwMode="gray">
            <a:xfrm rot="5400000" flipH="1">
              <a:off x="8748373" y="4947005"/>
              <a:ext cx="0" cy="550977"/>
            </a:xfrm>
            <a:prstGeom prst="line">
              <a:avLst/>
            </a:prstGeom>
            <a:noFill/>
            <a:ln w="38100" cap="flat" cmpd="sng">
              <a:solidFill>
                <a:schemeClr val="accent3"/>
              </a:solidFill>
              <a:prstDash val="solid"/>
              <a:round/>
              <a:headEnd type="triangle" w="lg" len="lg"/>
              <a:tailEnd type="none" w="med" len="med"/>
            </a:ln>
            <a:effectLst/>
          </p:spPr>
        </p:cxnSp>
        <p:grpSp>
          <p:nvGrpSpPr>
            <p:cNvPr id="4" name="Groupe 2051"/>
            <p:cNvGrpSpPr/>
            <p:nvPr/>
          </p:nvGrpSpPr>
          <p:grpSpPr bwMode="gray">
            <a:xfrm>
              <a:off x="5563209" y="3749545"/>
              <a:ext cx="2945897" cy="2945897"/>
              <a:chOff x="5563209" y="3749545"/>
              <a:chExt cx="2945897" cy="2945897"/>
            </a:xfrm>
          </p:grpSpPr>
          <p:grpSp>
            <p:nvGrpSpPr>
              <p:cNvPr id="5" name="Group 5"/>
              <p:cNvGrpSpPr>
                <a:grpSpLocks noChangeAspect="1"/>
              </p:cNvGrpSpPr>
              <p:nvPr/>
            </p:nvGrpSpPr>
            <p:grpSpPr bwMode="gray">
              <a:xfrm rot="20280000">
                <a:off x="5563209" y="3749545"/>
                <a:ext cx="2945897" cy="2945897"/>
                <a:chOff x="2422" y="1374"/>
                <a:chExt cx="3558" cy="3558"/>
              </a:xfrm>
            </p:grpSpPr>
            <p:sp>
              <p:nvSpPr>
                <p:cNvPr id="62" name="Freeform 6"/>
                <p:cNvSpPr>
                  <a:spLocks/>
                </p:cNvSpPr>
                <p:nvPr/>
              </p:nvSpPr>
              <p:spPr bwMode="gray">
                <a:xfrm>
                  <a:off x="4201" y="1374"/>
                  <a:ext cx="1258" cy="1150"/>
                </a:xfrm>
                <a:custGeom>
                  <a:avLst/>
                  <a:gdLst>
                    <a:gd name="T0" fmla="*/ 3354 w 3354"/>
                    <a:gd name="T1" fmla="*/ 1390 h 3067"/>
                    <a:gd name="T2" fmla="*/ 0 w 3354"/>
                    <a:gd name="T3" fmla="*/ 0 h 3067"/>
                    <a:gd name="T4" fmla="*/ 0 w 3354"/>
                    <a:gd name="T5" fmla="*/ 2372 h 3067"/>
                    <a:gd name="T6" fmla="*/ 1677 w 3354"/>
                    <a:gd name="T7" fmla="*/ 3067 h 3067"/>
                    <a:gd name="T8" fmla="*/ 3354 w 3354"/>
                    <a:gd name="T9" fmla="*/ 1390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3354" y="1390"/>
                      </a:moveTo>
                      <a:cubicBezTo>
                        <a:pt x="2465" y="500"/>
                        <a:pt x="1258" y="0"/>
                        <a:pt x="0" y="0"/>
                      </a:cubicBezTo>
                      <a:lnTo>
                        <a:pt x="0" y="2372"/>
                      </a:lnTo>
                      <a:cubicBezTo>
                        <a:pt x="629" y="2372"/>
                        <a:pt x="1232" y="2622"/>
                        <a:pt x="1677" y="3067"/>
                      </a:cubicBezTo>
                      <a:lnTo>
                        <a:pt x="3354" y="139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0" name="Freeform 7"/>
                <p:cNvSpPr>
                  <a:spLocks/>
                </p:cNvSpPr>
                <p:nvPr/>
              </p:nvSpPr>
              <p:spPr bwMode="gray">
                <a:xfrm>
                  <a:off x="4830" y="1895"/>
                  <a:ext cx="1150" cy="1258"/>
                </a:xfrm>
                <a:custGeom>
                  <a:avLst/>
                  <a:gdLst>
                    <a:gd name="T0" fmla="*/ 3067 w 3067"/>
                    <a:gd name="T1" fmla="*/ 3354 h 3354"/>
                    <a:gd name="T2" fmla="*/ 1677 w 3067"/>
                    <a:gd name="T3" fmla="*/ 0 h 3354"/>
                    <a:gd name="T4" fmla="*/ 0 w 3067"/>
                    <a:gd name="T5" fmla="*/ 1677 h 3354"/>
                    <a:gd name="T6" fmla="*/ 695 w 3067"/>
                    <a:gd name="T7" fmla="*/ 3354 h 3354"/>
                    <a:gd name="T8" fmla="*/ 3067 w 3067"/>
                    <a:gd name="T9" fmla="*/ 3354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3067" y="3354"/>
                      </a:moveTo>
                      <a:cubicBezTo>
                        <a:pt x="3067" y="2096"/>
                        <a:pt x="2567" y="889"/>
                        <a:pt x="1677" y="0"/>
                      </a:cubicBezTo>
                      <a:lnTo>
                        <a:pt x="0" y="1677"/>
                      </a:lnTo>
                      <a:cubicBezTo>
                        <a:pt x="445" y="2121"/>
                        <a:pt x="695" y="2725"/>
                        <a:pt x="695" y="3354"/>
                      </a:cubicBezTo>
                      <a:lnTo>
                        <a:pt x="3067" y="3354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1" name="Freeform 8"/>
                <p:cNvSpPr>
                  <a:spLocks/>
                </p:cNvSpPr>
                <p:nvPr/>
              </p:nvSpPr>
              <p:spPr bwMode="gray">
                <a:xfrm>
                  <a:off x="4830" y="3153"/>
                  <a:ext cx="1150" cy="1258"/>
                </a:xfrm>
                <a:custGeom>
                  <a:avLst/>
                  <a:gdLst>
                    <a:gd name="T0" fmla="*/ 1677 w 3067"/>
                    <a:gd name="T1" fmla="*/ 3354 h 3354"/>
                    <a:gd name="T2" fmla="*/ 3067 w 3067"/>
                    <a:gd name="T3" fmla="*/ 0 h 3354"/>
                    <a:gd name="T4" fmla="*/ 695 w 3067"/>
                    <a:gd name="T5" fmla="*/ 0 h 3354"/>
                    <a:gd name="T6" fmla="*/ 0 w 3067"/>
                    <a:gd name="T7" fmla="*/ 1677 h 3354"/>
                    <a:gd name="T8" fmla="*/ 1677 w 3067"/>
                    <a:gd name="T9" fmla="*/ 3354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1677" y="3354"/>
                      </a:moveTo>
                      <a:cubicBezTo>
                        <a:pt x="2567" y="2465"/>
                        <a:pt x="3067" y="1258"/>
                        <a:pt x="3067" y="0"/>
                      </a:cubicBezTo>
                      <a:lnTo>
                        <a:pt x="695" y="0"/>
                      </a:lnTo>
                      <a:cubicBezTo>
                        <a:pt x="695" y="629"/>
                        <a:pt x="445" y="1232"/>
                        <a:pt x="0" y="1677"/>
                      </a:cubicBezTo>
                      <a:lnTo>
                        <a:pt x="1677" y="335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2" name="Freeform 9"/>
                <p:cNvSpPr>
                  <a:spLocks/>
                </p:cNvSpPr>
                <p:nvPr/>
              </p:nvSpPr>
              <p:spPr bwMode="gray">
                <a:xfrm>
                  <a:off x="4201" y="3782"/>
                  <a:ext cx="1258" cy="1150"/>
                </a:xfrm>
                <a:custGeom>
                  <a:avLst/>
                  <a:gdLst>
                    <a:gd name="T0" fmla="*/ 0 w 3354"/>
                    <a:gd name="T1" fmla="*/ 3067 h 3067"/>
                    <a:gd name="T2" fmla="*/ 3354 w 3354"/>
                    <a:gd name="T3" fmla="*/ 1677 h 3067"/>
                    <a:gd name="T4" fmla="*/ 1677 w 3354"/>
                    <a:gd name="T5" fmla="*/ 0 h 3067"/>
                    <a:gd name="T6" fmla="*/ 0 w 3354"/>
                    <a:gd name="T7" fmla="*/ 695 h 3067"/>
                    <a:gd name="T8" fmla="*/ 0 w 3354"/>
                    <a:gd name="T9" fmla="*/ 3067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0" y="3067"/>
                      </a:moveTo>
                      <a:cubicBezTo>
                        <a:pt x="1258" y="3067"/>
                        <a:pt x="2465" y="2567"/>
                        <a:pt x="3354" y="1677"/>
                      </a:cubicBezTo>
                      <a:lnTo>
                        <a:pt x="1677" y="0"/>
                      </a:lnTo>
                      <a:cubicBezTo>
                        <a:pt x="1232" y="445"/>
                        <a:pt x="629" y="695"/>
                        <a:pt x="0" y="695"/>
                      </a:cubicBezTo>
                      <a:lnTo>
                        <a:pt x="0" y="3067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3" name="Freeform 10"/>
                <p:cNvSpPr>
                  <a:spLocks/>
                </p:cNvSpPr>
                <p:nvPr/>
              </p:nvSpPr>
              <p:spPr bwMode="gray">
                <a:xfrm>
                  <a:off x="2944" y="3782"/>
                  <a:ext cx="1257" cy="1150"/>
                </a:xfrm>
                <a:custGeom>
                  <a:avLst/>
                  <a:gdLst>
                    <a:gd name="T0" fmla="*/ 0 w 3354"/>
                    <a:gd name="T1" fmla="*/ 1677 h 3067"/>
                    <a:gd name="T2" fmla="*/ 3354 w 3354"/>
                    <a:gd name="T3" fmla="*/ 3067 h 3067"/>
                    <a:gd name="T4" fmla="*/ 3354 w 3354"/>
                    <a:gd name="T5" fmla="*/ 695 h 3067"/>
                    <a:gd name="T6" fmla="*/ 1677 w 3354"/>
                    <a:gd name="T7" fmla="*/ 0 h 3067"/>
                    <a:gd name="T8" fmla="*/ 0 w 3354"/>
                    <a:gd name="T9" fmla="*/ 1677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0" y="1677"/>
                      </a:moveTo>
                      <a:cubicBezTo>
                        <a:pt x="889" y="2567"/>
                        <a:pt x="2096" y="3067"/>
                        <a:pt x="3354" y="3067"/>
                      </a:cubicBezTo>
                      <a:lnTo>
                        <a:pt x="3354" y="695"/>
                      </a:lnTo>
                      <a:cubicBezTo>
                        <a:pt x="2725" y="695"/>
                        <a:pt x="2122" y="445"/>
                        <a:pt x="1677" y="0"/>
                      </a:cubicBezTo>
                      <a:lnTo>
                        <a:pt x="0" y="1677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4" name="Freeform 11"/>
                <p:cNvSpPr>
                  <a:spLocks/>
                </p:cNvSpPr>
                <p:nvPr/>
              </p:nvSpPr>
              <p:spPr bwMode="gray">
                <a:xfrm>
                  <a:off x="2422" y="3153"/>
                  <a:ext cx="1151" cy="1258"/>
                </a:xfrm>
                <a:custGeom>
                  <a:avLst/>
                  <a:gdLst>
                    <a:gd name="T0" fmla="*/ 0 w 3067"/>
                    <a:gd name="T1" fmla="*/ 0 h 3354"/>
                    <a:gd name="T2" fmla="*/ 1390 w 3067"/>
                    <a:gd name="T3" fmla="*/ 3354 h 3354"/>
                    <a:gd name="T4" fmla="*/ 3067 w 3067"/>
                    <a:gd name="T5" fmla="*/ 1677 h 3354"/>
                    <a:gd name="T6" fmla="*/ 2372 w 3067"/>
                    <a:gd name="T7" fmla="*/ 0 h 3354"/>
                    <a:gd name="T8" fmla="*/ 0 w 3067"/>
                    <a:gd name="T9" fmla="*/ 0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0" y="0"/>
                      </a:moveTo>
                      <a:cubicBezTo>
                        <a:pt x="0" y="1258"/>
                        <a:pt x="500" y="2465"/>
                        <a:pt x="1390" y="3354"/>
                      </a:cubicBezTo>
                      <a:lnTo>
                        <a:pt x="3067" y="1677"/>
                      </a:lnTo>
                      <a:cubicBezTo>
                        <a:pt x="2622" y="1232"/>
                        <a:pt x="2372" y="629"/>
                        <a:pt x="237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5" name="Freeform 12"/>
                <p:cNvSpPr>
                  <a:spLocks/>
                </p:cNvSpPr>
                <p:nvPr/>
              </p:nvSpPr>
              <p:spPr bwMode="gray">
                <a:xfrm>
                  <a:off x="2422" y="1895"/>
                  <a:ext cx="1151" cy="1258"/>
                </a:xfrm>
                <a:custGeom>
                  <a:avLst/>
                  <a:gdLst>
                    <a:gd name="T0" fmla="*/ 1390 w 3067"/>
                    <a:gd name="T1" fmla="*/ 0 h 3354"/>
                    <a:gd name="T2" fmla="*/ 0 w 3067"/>
                    <a:gd name="T3" fmla="*/ 3354 h 3354"/>
                    <a:gd name="T4" fmla="*/ 2372 w 3067"/>
                    <a:gd name="T5" fmla="*/ 3354 h 3354"/>
                    <a:gd name="T6" fmla="*/ 3067 w 3067"/>
                    <a:gd name="T7" fmla="*/ 1677 h 3354"/>
                    <a:gd name="T8" fmla="*/ 1390 w 3067"/>
                    <a:gd name="T9" fmla="*/ 0 h 3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67" h="3354">
                      <a:moveTo>
                        <a:pt x="1390" y="0"/>
                      </a:moveTo>
                      <a:cubicBezTo>
                        <a:pt x="500" y="889"/>
                        <a:pt x="0" y="2096"/>
                        <a:pt x="0" y="3354"/>
                      </a:cubicBezTo>
                      <a:lnTo>
                        <a:pt x="2372" y="3354"/>
                      </a:lnTo>
                      <a:cubicBezTo>
                        <a:pt x="2372" y="2725"/>
                        <a:pt x="2622" y="2121"/>
                        <a:pt x="3067" y="1677"/>
                      </a:cubicBezTo>
                      <a:lnTo>
                        <a:pt x="139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6" name="Freeform 13"/>
                <p:cNvSpPr>
                  <a:spLocks/>
                </p:cNvSpPr>
                <p:nvPr/>
              </p:nvSpPr>
              <p:spPr bwMode="gray">
                <a:xfrm>
                  <a:off x="2944" y="1374"/>
                  <a:ext cx="1257" cy="1150"/>
                </a:xfrm>
                <a:custGeom>
                  <a:avLst/>
                  <a:gdLst>
                    <a:gd name="T0" fmla="*/ 3354 w 3354"/>
                    <a:gd name="T1" fmla="*/ 0 h 3067"/>
                    <a:gd name="T2" fmla="*/ 0 w 3354"/>
                    <a:gd name="T3" fmla="*/ 1390 h 3067"/>
                    <a:gd name="T4" fmla="*/ 1677 w 3354"/>
                    <a:gd name="T5" fmla="*/ 3067 h 3067"/>
                    <a:gd name="T6" fmla="*/ 3354 w 3354"/>
                    <a:gd name="T7" fmla="*/ 2372 h 3067"/>
                    <a:gd name="T8" fmla="*/ 3354 w 3354"/>
                    <a:gd name="T9" fmla="*/ 0 h 3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54" h="3067">
                      <a:moveTo>
                        <a:pt x="3354" y="0"/>
                      </a:moveTo>
                      <a:cubicBezTo>
                        <a:pt x="2096" y="0"/>
                        <a:pt x="889" y="500"/>
                        <a:pt x="0" y="1390"/>
                      </a:cubicBezTo>
                      <a:lnTo>
                        <a:pt x="1677" y="3067"/>
                      </a:lnTo>
                      <a:cubicBezTo>
                        <a:pt x="2122" y="2622"/>
                        <a:pt x="2725" y="2372"/>
                        <a:pt x="3354" y="2372"/>
                      </a:cubicBezTo>
                      <a:lnTo>
                        <a:pt x="3354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61" name="Ellipse 60"/>
              <p:cNvSpPr/>
              <p:nvPr/>
            </p:nvSpPr>
            <p:spPr bwMode="gray">
              <a:xfrm>
                <a:off x="5709736" y="3896072"/>
                <a:ext cx="2652842" cy="2652842"/>
              </a:xfrm>
              <a:prstGeom prst="ellipse">
                <a:avLst/>
              </a:prstGeom>
              <a:solidFill>
                <a:schemeClr val="bg1"/>
              </a:solidFill>
              <a:ln w="762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bg2"/>
                    </a:solidFill>
                  </a:rPr>
                  <a:t>Text</a:t>
                </a:r>
                <a:br>
                  <a:rPr lang="en-US" sz="1500" b="1" dirty="0">
                    <a:solidFill>
                      <a:schemeClr val="bg2"/>
                    </a:solidFill>
                  </a:rPr>
                </a:br>
                <a:r>
                  <a:rPr lang="en-US" sz="1500" b="1" dirty="0">
                    <a:solidFill>
                      <a:schemeClr val="bg2"/>
                    </a:solidFill>
                  </a:rPr>
                  <a:t>15 pts</a:t>
                </a:r>
              </a:p>
            </p:txBody>
          </p:sp>
        </p:grpSp>
      </p:grpSp>
      <p:sp>
        <p:nvSpPr>
          <p:cNvPr id="77" name="Rectangle à coins arrondis 76"/>
          <p:cNvSpPr/>
          <p:nvPr/>
        </p:nvSpPr>
        <p:spPr bwMode="gray">
          <a:xfrm>
            <a:off x="3304785" y="1164468"/>
            <a:ext cx="2520000" cy="36984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2691" tIns="31346" rIns="62691" bIns="31346" rtlCol="0" anchor="ctr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cap="all" dirty="0"/>
              <a:t>Text level 0 – 12 pts</a:t>
            </a:r>
          </a:p>
        </p:txBody>
      </p:sp>
      <p:sp>
        <p:nvSpPr>
          <p:cNvPr id="78" name="ZoneTexte 77"/>
          <p:cNvSpPr txBox="1"/>
          <p:nvPr/>
        </p:nvSpPr>
        <p:spPr bwMode="gray">
          <a:xfrm>
            <a:off x="3304785" y="1560819"/>
            <a:ext cx="2520000" cy="36982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180000" indent="-180000">
              <a:lnSpc>
                <a:spcPct val="105000"/>
              </a:lnSpc>
              <a:buSzPct val="80000"/>
              <a:buFont typeface="Wingdings" panose="05000000000000000000" pitchFamily="2" charset="2"/>
              <a:buChar char=""/>
            </a:pPr>
            <a:r>
              <a:rPr lang="fr-FR" sz="1400" dirty="0" err="1">
                <a:solidFill>
                  <a:schemeClr val="bg2"/>
                </a:solidFill>
              </a:rPr>
              <a:t>Level</a:t>
            </a:r>
            <a:r>
              <a:rPr lang="fr-FR" sz="1400" dirty="0">
                <a:solidFill>
                  <a:schemeClr val="bg2"/>
                </a:solidFill>
              </a:rPr>
              <a:t> 1</a:t>
            </a:r>
            <a:endParaRPr lang="fr-FR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9255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539552" y="2060848"/>
            <a:ext cx="3420000" cy="396054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1"/>
          </p:nvPr>
        </p:nvSpPr>
        <p:spPr>
          <a:xfrm>
            <a:off x="5220072" y="2060847"/>
            <a:ext cx="3420000" cy="396054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39" name="Espace réservé du texte 3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LIST, 2 ITEM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6" name="Espace réservé du pied de page 2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5" name="Espace réservé du numéro de diapositive 2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6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5026081" y="150581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</p:spTree>
    <p:extLst>
      <p:ext uri="{BB962C8B-B14F-4D97-AF65-F5344CB8AC3E}">
        <p14:creationId xmlns:p14="http://schemas.microsoft.com/office/powerpoint/2010/main" val="239983532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contenu 17"/>
          <p:cNvSpPr>
            <a:spLocks noGrp="1"/>
          </p:cNvSpPr>
          <p:nvPr>
            <p:ph idx="1"/>
          </p:nvPr>
        </p:nvSpPr>
        <p:spPr>
          <a:xfrm>
            <a:off x="479263" y="2024188"/>
            <a:ext cx="2340000" cy="399720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0" name="Espace réservé du contenu 19"/>
          <p:cNvSpPr>
            <a:spLocks noGrp="1"/>
          </p:cNvSpPr>
          <p:nvPr>
            <p:ph idx="11"/>
          </p:nvPr>
        </p:nvSpPr>
        <p:spPr>
          <a:xfrm>
            <a:off x="3431429" y="2024187"/>
            <a:ext cx="2340000" cy="399720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2" name="Espace réservé du contenu 21"/>
          <p:cNvSpPr>
            <a:spLocks noGrp="1"/>
          </p:cNvSpPr>
          <p:nvPr>
            <p:ph idx="13"/>
          </p:nvPr>
        </p:nvSpPr>
        <p:spPr>
          <a:xfrm>
            <a:off x="6372522" y="2024187"/>
            <a:ext cx="2340000" cy="399720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34" name="Espace réservé du texte 3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LIST, 3 ITEMS</a:t>
            </a:r>
          </a:p>
        </p:txBody>
      </p:sp>
      <p:sp>
        <p:nvSpPr>
          <p:cNvPr id="14" name="Espace réservé de la date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7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/>
              <a:t>Text level 0 – 14 </a:t>
            </a:r>
            <a:r>
              <a:rPr lang="en-US" sz="1400" b="1" dirty="0" err="1"/>
              <a:t>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6217076" y="1505815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24" name="Rectangle à coins arrondis 23"/>
          <p:cNvSpPr/>
          <p:nvPr/>
        </p:nvSpPr>
        <p:spPr bwMode="gray">
          <a:xfrm>
            <a:off x="3275983" y="1532319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</p:spTree>
    <p:extLst>
      <p:ext uri="{BB962C8B-B14F-4D97-AF65-F5344CB8AC3E}">
        <p14:creationId xmlns:p14="http://schemas.microsoft.com/office/powerpoint/2010/main" val="12845206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"/>
          <p:cNvSpPr>
            <a:spLocks noGrp="1"/>
          </p:cNvSpPr>
          <p:nvPr>
            <p:ph idx="1"/>
          </p:nvPr>
        </p:nvSpPr>
        <p:spPr>
          <a:xfrm>
            <a:off x="467544" y="1952180"/>
            <a:ext cx="3420000" cy="1642837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1"/>
          </p:nvPr>
        </p:nvSpPr>
        <p:spPr>
          <a:xfrm>
            <a:off x="5220072" y="1952179"/>
            <a:ext cx="3420000" cy="1642837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3"/>
          </p:nvPr>
        </p:nvSpPr>
        <p:spPr>
          <a:xfrm>
            <a:off x="467788" y="4418892"/>
            <a:ext cx="3420000" cy="1642837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34" name="Espace réservé du texte 3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LIST, 4 ITEMS</a:t>
            </a:r>
          </a:p>
        </p:txBody>
      </p:sp>
      <p:sp>
        <p:nvSpPr>
          <p:cNvPr id="30" name="Espace réservé de la date 29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8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5026081" y="150581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6" name="Rectangle à coins arrondis 15"/>
          <p:cNvSpPr/>
          <p:nvPr/>
        </p:nvSpPr>
        <p:spPr bwMode="gray">
          <a:xfrm>
            <a:off x="341094" y="3958258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7" name="Rectangle à coins arrondis 16"/>
          <p:cNvSpPr/>
          <p:nvPr/>
        </p:nvSpPr>
        <p:spPr bwMode="gray">
          <a:xfrm>
            <a:off x="5040150" y="3943248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8" name="Espace réservé du contenu 1"/>
          <p:cNvSpPr txBox="1">
            <a:spLocks/>
          </p:cNvSpPr>
          <p:nvPr/>
        </p:nvSpPr>
        <p:spPr bwMode="gray">
          <a:xfrm>
            <a:off x="5076056" y="4391953"/>
            <a:ext cx="3740919" cy="1629435"/>
          </a:xfrm>
          <a:prstGeom prst="roundRect">
            <a:avLst>
              <a:gd name="adj" fmla="val 8414"/>
            </a:avLst>
          </a:prstGeom>
          <a:solidFill>
            <a:srgbClr val="005FAA">
              <a:alpha val="60000"/>
            </a:srgbClr>
          </a:solidFill>
        </p:spPr>
        <p:txBody>
          <a:bodyPr vert="horz" lIns="108000" tIns="0" rIns="0" bIns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—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2000" indent="-144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fr-FR" dirty="0" err="1">
                <a:solidFill>
                  <a:schemeClr val="bg1"/>
                </a:solidFill>
              </a:rPr>
              <a:t>Level</a:t>
            </a:r>
            <a:r>
              <a:rPr lang="fr-FR" dirty="0">
                <a:solidFill>
                  <a:schemeClr val="bg1"/>
                </a:solidFill>
              </a:rPr>
              <a:t> 1</a:t>
            </a:r>
          </a:p>
          <a:p>
            <a:pPr lvl="1">
              <a:buClrTx/>
            </a:pPr>
            <a:r>
              <a:rPr lang="fr-FR" dirty="0" err="1">
                <a:solidFill>
                  <a:schemeClr val="bg1"/>
                </a:solidFill>
              </a:rPr>
              <a:t>Level</a:t>
            </a:r>
            <a:r>
              <a:rPr lang="fr-FR" dirty="0">
                <a:solidFill>
                  <a:schemeClr val="bg1"/>
                </a:solidFill>
              </a:rPr>
              <a:t> 2</a:t>
            </a:r>
          </a:p>
          <a:p>
            <a:pPr lvl="2">
              <a:buClrTx/>
            </a:pPr>
            <a:r>
              <a:rPr lang="fr-FR" dirty="0" err="1">
                <a:solidFill>
                  <a:schemeClr val="bg1"/>
                </a:solidFill>
              </a:rPr>
              <a:t>Level</a:t>
            </a:r>
            <a:r>
              <a:rPr lang="fr-FR" dirty="0">
                <a:solidFill>
                  <a:schemeClr val="bg1"/>
                </a:solidFill>
              </a:rPr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13154527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19"/>
          <p:cNvSpPr>
            <a:spLocks noGrp="1"/>
          </p:cNvSpPr>
          <p:nvPr>
            <p:ph idx="1"/>
          </p:nvPr>
        </p:nvSpPr>
        <p:spPr>
          <a:xfrm>
            <a:off x="467544" y="1952180"/>
            <a:ext cx="3420000" cy="2268908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1"/>
          </p:nvPr>
        </p:nvSpPr>
        <p:spPr>
          <a:xfrm>
            <a:off x="5220072" y="1952179"/>
            <a:ext cx="3420000" cy="2268908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36" name="Espace réservé du texte 3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LISTS AND CONCLUSIONS, 2 ITEMS</a:t>
            </a:r>
            <a:endParaRPr lang="fr-FR"/>
          </a:p>
        </p:txBody>
      </p:sp>
      <p:sp>
        <p:nvSpPr>
          <p:cNvPr id="18" name="Espace réservé de la date 17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1" name="Espace réservé du pied de page 2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9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5031313" y="1505815"/>
            <a:ext cx="3780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38" name="Rectangle à coins arrondis 37"/>
          <p:cNvSpPr/>
          <p:nvPr/>
        </p:nvSpPr>
        <p:spPr bwMode="gray">
          <a:xfrm>
            <a:off x="327025" y="4917942"/>
            <a:ext cx="37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sp>
        <p:nvSpPr>
          <p:cNvPr id="39" name="Rectangle à coins arrondis 38"/>
          <p:cNvSpPr/>
          <p:nvPr/>
        </p:nvSpPr>
        <p:spPr bwMode="gray">
          <a:xfrm>
            <a:off x="5031313" y="4917943"/>
            <a:ext cx="37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grpSp>
        <p:nvGrpSpPr>
          <p:cNvPr id="2" name="Groupe 39"/>
          <p:cNvGrpSpPr/>
          <p:nvPr/>
        </p:nvGrpSpPr>
        <p:grpSpPr bwMode="gray">
          <a:xfrm rot="5400000">
            <a:off x="2094607" y="3583214"/>
            <a:ext cx="244836" cy="2061071"/>
            <a:chOff x="8229600" y="2216721"/>
            <a:chExt cx="667657" cy="5325466"/>
          </a:xfrm>
        </p:grpSpPr>
        <p:cxnSp>
          <p:nvCxnSpPr>
            <p:cNvPr id="41" name="Connecteur droit 40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cteur droit avec flèche 41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e 42"/>
          <p:cNvGrpSpPr/>
          <p:nvPr/>
        </p:nvGrpSpPr>
        <p:grpSpPr bwMode="gray">
          <a:xfrm rot="5400000">
            <a:off x="6798895" y="3583215"/>
            <a:ext cx="244836" cy="2061071"/>
            <a:chOff x="8229600" y="2216721"/>
            <a:chExt cx="667657" cy="5325466"/>
          </a:xfrm>
        </p:grpSpPr>
        <p:cxnSp>
          <p:nvCxnSpPr>
            <p:cNvPr id="44" name="Connecteur droit 43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avec flèche 44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9186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Espace réservé pour une image  12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11542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19"/>
          <p:cNvSpPr>
            <a:spLocks noGrp="1"/>
          </p:cNvSpPr>
          <p:nvPr>
            <p:ph idx="1"/>
          </p:nvPr>
        </p:nvSpPr>
        <p:spPr>
          <a:xfrm>
            <a:off x="431760" y="1914179"/>
            <a:ext cx="1980000" cy="2376264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1"/>
          </p:nvPr>
        </p:nvSpPr>
        <p:spPr>
          <a:xfrm>
            <a:off x="2627784" y="1914179"/>
            <a:ext cx="1980000" cy="2376264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7" name="Espace réservé du contenu 26"/>
          <p:cNvSpPr>
            <a:spLocks noGrp="1"/>
          </p:cNvSpPr>
          <p:nvPr>
            <p:ph idx="13"/>
          </p:nvPr>
        </p:nvSpPr>
        <p:spPr>
          <a:xfrm>
            <a:off x="4824248" y="1914179"/>
            <a:ext cx="1980000" cy="2376264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60" name="Espace réservé du texte 5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LISTS AND CONCLUSIONS, 4 ITEMS</a:t>
            </a:r>
            <a:endParaRPr lang="fr-FR"/>
          </a:p>
        </p:txBody>
      </p:sp>
      <p:sp>
        <p:nvSpPr>
          <p:cNvPr id="36" name="Espace réservé de la date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39" name="Espace réservé du pied de page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38" name="Espace réservé du numéro de diapositive 3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0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4679016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/>
              <a:t>Text level 0 – 14 </a:t>
            </a:r>
            <a:r>
              <a:rPr lang="en-US" sz="1400" b="1" dirty="0" err="1"/>
              <a:t>pts</a:t>
            </a:r>
            <a:endParaRPr lang="fr-FR" sz="1400" b="1" dirty="0"/>
          </a:p>
        </p:txBody>
      </p:sp>
      <p:sp>
        <p:nvSpPr>
          <p:cNvPr id="29" name="Espace réservé du contenu 26"/>
          <p:cNvSpPr txBox="1">
            <a:spLocks/>
          </p:cNvSpPr>
          <p:nvPr/>
        </p:nvSpPr>
        <p:spPr bwMode="gray">
          <a:xfrm>
            <a:off x="6845678" y="1914179"/>
            <a:ext cx="1980000" cy="2378917"/>
          </a:xfrm>
          <a:prstGeom prst="rect">
            <a:avLst/>
          </a:prstGeom>
        </p:spPr>
        <p:txBody>
          <a:bodyPr vert="horz" lIns="108000" tIns="0" rIns="72000" bIns="0" rtlCol="0" anchor="t" anchorCtr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  <a:tabLst/>
              <a:defRPr/>
            </a:pP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</a:t>
            </a:r>
          </a:p>
          <a:p>
            <a:pPr marL="432000" marR="0" lvl="1" indent="-252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Tx/>
              <a:buFont typeface="Arial" panose="020B0604020202020204" pitchFamily="34" charset="0"/>
              <a:buChar char="—"/>
              <a:tabLst/>
              <a:defRPr/>
            </a:pP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</a:t>
            </a:r>
          </a:p>
          <a:p>
            <a:pPr marL="576000" marR="0" lvl="2" indent="-144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</a:t>
            </a:r>
          </a:p>
        </p:txBody>
      </p:sp>
      <p:sp>
        <p:nvSpPr>
          <p:cNvPr id="30" name="Rectangle à coins arrondis 29"/>
          <p:cNvSpPr/>
          <p:nvPr/>
        </p:nvSpPr>
        <p:spPr bwMode="gray">
          <a:xfrm>
            <a:off x="2516796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31" name="Rectangle à coins arrondis 30"/>
          <p:cNvSpPr/>
          <p:nvPr/>
        </p:nvSpPr>
        <p:spPr bwMode="gray">
          <a:xfrm>
            <a:off x="6845678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32" name="Rectangle à coins arrondis 31"/>
          <p:cNvSpPr/>
          <p:nvPr/>
        </p:nvSpPr>
        <p:spPr bwMode="gray">
          <a:xfrm>
            <a:off x="327025" y="4931195"/>
            <a:ext cx="19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sp>
        <p:nvSpPr>
          <p:cNvPr id="33" name="Rectangle à coins arrondis 32"/>
          <p:cNvSpPr/>
          <p:nvPr/>
        </p:nvSpPr>
        <p:spPr bwMode="gray">
          <a:xfrm>
            <a:off x="2516796" y="4931195"/>
            <a:ext cx="19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sp>
        <p:nvSpPr>
          <p:cNvPr id="34" name="Rectangle à coins arrondis 33"/>
          <p:cNvSpPr/>
          <p:nvPr/>
        </p:nvSpPr>
        <p:spPr bwMode="gray">
          <a:xfrm>
            <a:off x="4679016" y="4931195"/>
            <a:ext cx="19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sp>
        <p:nvSpPr>
          <p:cNvPr id="35" name="Rectangle à coins arrondis 34"/>
          <p:cNvSpPr/>
          <p:nvPr/>
        </p:nvSpPr>
        <p:spPr bwMode="gray">
          <a:xfrm>
            <a:off x="6845678" y="4931195"/>
            <a:ext cx="1980000" cy="864402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fr-FR" sz="1500" b="1" dirty="0" err="1">
                <a:solidFill>
                  <a:schemeClr val="bg2"/>
                </a:solidFill>
              </a:rPr>
              <a:t>Text</a:t>
            </a:r>
            <a:r>
              <a:rPr lang="fr-FR" sz="1500" b="1" dirty="0">
                <a:solidFill>
                  <a:schemeClr val="bg2"/>
                </a:solidFill>
              </a:rPr>
              <a:t> – 15 pts</a:t>
            </a:r>
          </a:p>
        </p:txBody>
      </p:sp>
      <p:grpSp>
        <p:nvGrpSpPr>
          <p:cNvPr id="2" name="Groupe 35"/>
          <p:cNvGrpSpPr/>
          <p:nvPr/>
        </p:nvGrpSpPr>
        <p:grpSpPr bwMode="gray">
          <a:xfrm rot="5400000">
            <a:off x="1194607" y="3729125"/>
            <a:ext cx="244836" cy="1795760"/>
            <a:chOff x="8229600" y="2216721"/>
            <a:chExt cx="667657" cy="5325466"/>
          </a:xfrm>
        </p:grpSpPr>
        <p:cxnSp>
          <p:nvCxnSpPr>
            <p:cNvPr id="37" name="Connecteur droit 36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avec flèche 39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e 42"/>
          <p:cNvGrpSpPr/>
          <p:nvPr/>
        </p:nvGrpSpPr>
        <p:grpSpPr bwMode="gray">
          <a:xfrm rot="5400000">
            <a:off x="3384378" y="3729125"/>
            <a:ext cx="244836" cy="1795760"/>
            <a:chOff x="8229600" y="2216721"/>
            <a:chExt cx="667657" cy="5325466"/>
          </a:xfrm>
        </p:grpSpPr>
        <p:cxnSp>
          <p:nvCxnSpPr>
            <p:cNvPr id="46" name="Connecteur droit 45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avec flèche 46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47"/>
          <p:cNvGrpSpPr/>
          <p:nvPr/>
        </p:nvGrpSpPr>
        <p:grpSpPr bwMode="gray">
          <a:xfrm rot="5400000">
            <a:off x="5546598" y="3729126"/>
            <a:ext cx="244836" cy="1795760"/>
            <a:chOff x="8229600" y="2216721"/>
            <a:chExt cx="667657" cy="5325466"/>
          </a:xfrm>
        </p:grpSpPr>
        <p:cxnSp>
          <p:nvCxnSpPr>
            <p:cNvPr id="49" name="Connecteur droit 48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avec flèche 49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e 50"/>
          <p:cNvGrpSpPr/>
          <p:nvPr/>
        </p:nvGrpSpPr>
        <p:grpSpPr bwMode="gray">
          <a:xfrm rot="5400000">
            <a:off x="7713260" y="3729127"/>
            <a:ext cx="244836" cy="1795760"/>
            <a:chOff x="8229600" y="2216721"/>
            <a:chExt cx="667657" cy="5325466"/>
          </a:xfrm>
        </p:grpSpPr>
        <p:cxnSp>
          <p:nvCxnSpPr>
            <p:cNvPr id="52" name="Connecteur droit 51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eur droit avec flèche 52"/>
            <p:cNvCxnSpPr/>
            <p:nvPr/>
          </p:nvCxnSpPr>
          <p:spPr bwMode="gray">
            <a:xfrm>
              <a:off x="8229600" y="4879454"/>
              <a:ext cx="667657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866386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89"/>
          <p:cNvGrpSpPr/>
          <p:nvPr/>
        </p:nvGrpSpPr>
        <p:grpSpPr>
          <a:xfrm>
            <a:off x="383313" y="3219727"/>
            <a:ext cx="97939" cy="2347900"/>
            <a:chOff x="383313" y="3219727"/>
            <a:chExt cx="97939" cy="2347900"/>
          </a:xfrm>
        </p:grpSpPr>
        <p:sp>
          <p:nvSpPr>
            <p:cNvPr id="57" name="Line 69"/>
            <p:cNvSpPr>
              <a:spLocks noChangeShapeType="1"/>
            </p:cNvSpPr>
            <p:nvPr>
              <p:custDataLst>
                <p:tags r:id="rId79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58" name="Line 70"/>
            <p:cNvSpPr>
              <a:spLocks noChangeShapeType="1"/>
            </p:cNvSpPr>
            <p:nvPr>
              <p:custDataLst>
                <p:tags r:id="rId80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59" name="Line 71"/>
            <p:cNvSpPr>
              <a:spLocks noChangeShapeType="1"/>
            </p:cNvSpPr>
            <p:nvPr>
              <p:custDataLst>
                <p:tags r:id="rId81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60" name="Line 72"/>
            <p:cNvSpPr>
              <a:spLocks noChangeShapeType="1"/>
            </p:cNvSpPr>
            <p:nvPr>
              <p:custDataLst>
                <p:tags r:id="rId82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61" name="Line 73"/>
            <p:cNvSpPr>
              <a:spLocks noChangeShapeType="1"/>
            </p:cNvSpPr>
            <p:nvPr>
              <p:custDataLst>
                <p:tags r:id="rId83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67" name="Line 81"/>
            <p:cNvSpPr>
              <a:spLocks noChangeShapeType="1"/>
            </p:cNvSpPr>
            <p:nvPr>
              <p:custDataLst>
                <p:tags r:id="rId84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13" name="Groupe 90"/>
          <p:cNvGrpSpPr/>
          <p:nvPr/>
        </p:nvGrpSpPr>
        <p:grpSpPr>
          <a:xfrm>
            <a:off x="1819434" y="3219727"/>
            <a:ext cx="97939" cy="2347900"/>
            <a:chOff x="383313" y="3219727"/>
            <a:chExt cx="97939" cy="2347900"/>
          </a:xfrm>
        </p:grpSpPr>
        <p:sp>
          <p:nvSpPr>
            <p:cNvPr id="92" name="Line 69"/>
            <p:cNvSpPr>
              <a:spLocks noChangeShapeType="1"/>
            </p:cNvSpPr>
            <p:nvPr>
              <p:custDataLst>
                <p:tags r:id="rId73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93" name="Line 70"/>
            <p:cNvSpPr>
              <a:spLocks noChangeShapeType="1"/>
            </p:cNvSpPr>
            <p:nvPr>
              <p:custDataLst>
                <p:tags r:id="rId74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94" name="Line 71"/>
            <p:cNvSpPr>
              <a:spLocks noChangeShapeType="1"/>
            </p:cNvSpPr>
            <p:nvPr>
              <p:custDataLst>
                <p:tags r:id="rId75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95" name="Line 72"/>
            <p:cNvSpPr>
              <a:spLocks noChangeShapeType="1"/>
            </p:cNvSpPr>
            <p:nvPr>
              <p:custDataLst>
                <p:tags r:id="rId76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96" name="Line 73"/>
            <p:cNvSpPr>
              <a:spLocks noChangeShapeType="1"/>
            </p:cNvSpPr>
            <p:nvPr>
              <p:custDataLst>
                <p:tags r:id="rId77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97" name="Line 81"/>
            <p:cNvSpPr>
              <a:spLocks noChangeShapeType="1"/>
            </p:cNvSpPr>
            <p:nvPr>
              <p:custDataLst>
                <p:tags r:id="rId78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14" name="Groupe 97"/>
          <p:cNvGrpSpPr/>
          <p:nvPr/>
        </p:nvGrpSpPr>
        <p:grpSpPr>
          <a:xfrm>
            <a:off x="3261364" y="3219727"/>
            <a:ext cx="97939" cy="2347900"/>
            <a:chOff x="383313" y="3219727"/>
            <a:chExt cx="97939" cy="2347900"/>
          </a:xfrm>
        </p:grpSpPr>
        <p:sp>
          <p:nvSpPr>
            <p:cNvPr id="99" name="Line 69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0" name="Line 70"/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1" name="Line 71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2" name="Line 72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3" name="Line 73"/>
            <p:cNvSpPr>
              <a:spLocks noChangeShapeType="1"/>
            </p:cNvSpPr>
            <p:nvPr>
              <p:custDataLst>
                <p:tags r:id="rId71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4" name="Line 81"/>
            <p:cNvSpPr>
              <a:spLocks noChangeShapeType="1"/>
            </p:cNvSpPr>
            <p:nvPr>
              <p:custDataLst>
                <p:tags r:id="rId72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Groupe 104"/>
          <p:cNvGrpSpPr/>
          <p:nvPr/>
        </p:nvGrpSpPr>
        <p:grpSpPr>
          <a:xfrm>
            <a:off x="4681966" y="3219727"/>
            <a:ext cx="97939" cy="2347900"/>
            <a:chOff x="383313" y="3219727"/>
            <a:chExt cx="97939" cy="2347900"/>
          </a:xfrm>
        </p:grpSpPr>
        <p:sp>
          <p:nvSpPr>
            <p:cNvPr id="106" name="Line 69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7" name="Line 70"/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8" name="Line 71"/>
            <p:cNvSpPr>
              <a:spLocks noChangeShapeType="1"/>
            </p:cNvSpPr>
            <p:nvPr>
              <p:custDataLst>
                <p:tags r:id="rId63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09" name="Line 72"/>
            <p:cNvSpPr>
              <a:spLocks noChangeShapeType="1"/>
            </p:cNvSpPr>
            <p:nvPr>
              <p:custDataLst>
                <p:tags r:id="rId64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0" name="Line 73"/>
            <p:cNvSpPr>
              <a:spLocks noChangeShapeType="1"/>
            </p:cNvSpPr>
            <p:nvPr>
              <p:custDataLst>
                <p:tags r:id="rId65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1" name="Line 81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16" name="Groupe 111"/>
          <p:cNvGrpSpPr/>
          <p:nvPr/>
        </p:nvGrpSpPr>
        <p:grpSpPr>
          <a:xfrm>
            <a:off x="6110644" y="3219727"/>
            <a:ext cx="97939" cy="2347900"/>
            <a:chOff x="383313" y="3219727"/>
            <a:chExt cx="97939" cy="2347900"/>
          </a:xfrm>
        </p:grpSpPr>
        <p:sp>
          <p:nvSpPr>
            <p:cNvPr id="113" name="Line 69"/>
            <p:cNvSpPr>
              <a:spLocks noChangeShapeType="1"/>
            </p:cNvSpPr>
            <p:nvPr>
              <p:custDataLst>
                <p:tags r:id="rId55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4" name="Line 70"/>
            <p:cNvSpPr>
              <a:spLocks noChangeShapeType="1"/>
            </p:cNvSpPr>
            <p:nvPr>
              <p:custDataLst>
                <p:tags r:id="rId56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5" name="Line 71"/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6" name="Line 72"/>
            <p:cNvSpPr>
              <a:spLocks noChangeShapeType="1"/>
            </p:cNvSpPr>
            <p:nvPr>
              <p:custDataLst>
                <p:tags r:id="rId58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7" name="Line 73"/>
            <p:cNvSpPr>
              <a:spLocks noChangeShapeType="1"/>
            </p:cNvSpPr>
            <p:nvPr>
              <p:custDataLst>
                <p:tags r:id="rId59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18" name="Line 81"/>
            <p:cNvSpPr>
              <a:spLocks noChangeShapeType="1"/>
            </p:cNvSpPr>
            <p:nvPr>
              <p:custDataLst>
                <p:tags r:id="rId60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19" name="Groupe 118"/>
          <p:cNvGrpSpPr/>
          <p:nvPr/>
        </p:nvGrpSpPr>
        <p:grpSpPr>
          <a:xfrm>
            <a:off x="7517994" y="3219727"/>
            <a:ext cx="97939" cy="2347900"/>
            <a:chOff x="383313" y="3219727"/>
            <a:chExt cx="97939" cy="2347900"/>
          </a:xfrm>
        </p:grpSpPr>
        <p:sp>
          <p:nvSpPr>
            <p:cNvPr id="120" name="Line 69"/>
            <p:cNvSpPr>
              <a:spLocks noChangeShapeType="1"/>
            </p:cNvSpPr>
            <p:nvPr>
              <p:custDataLst>
                <p:tags r:id="rId49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21" name="Line 70"/>
            <p:cNvSpPr>
              <a:spLocks noChangeShapeType="1"/>
            </p:cNvSpPr>
            <p:nvPr>
              <p:custDataLst>
                <p:tags r:id="rId50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22" name="Line 71"/>
            <p:cNvSpPr>
              <a:spLocks noChangeShapeType="1"/>
            </p:cNvSpPr>
            <p:nvPr>
              <p:custDataLst>
                <p:tags r:id="rId51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23" name="Line 72"/>
            <p:cNvSpPr>
              <a:spLocks noChangeShapeType="1"/>
            </p:cNvSpPr>
            <p:nvPr>
              <p:custDataLst>
                <p:tags r:id="rId52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24" name="Line 73"/>
            <p:cNvSpPr>
              <a:spLocks noChangeShapeType="1"/>
            </p:cNvSpPr>
            <p:nvPr>
              <p:custDataLst>
                <p:tags r:id="rId53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chemeClr val="bg2"/>
                </a:solidFill>
                <a:cs typeface="Arial" pitchFamily="34" charset="0"/>
              </a:endParaRPr>
            </a:p>
          </p:txBody>
        </p:sp>
        <p:sp>
          <p:nvSpPr>
            <p:cNvPr id="125" name="Line 81"/>
            <p:cNvSpPr>
              <a:spLocks noChangeShapeType="1"/>
            </p:cNvSpPr>
            <p:nvPr>
              <p:custDataLst>
                <p:tags r:id="rId54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RGANIZATIONAL CHART</a:t>
            </a:r>
            <a:endParaRPr lang="fr-FR" dirty="0"/>
          </a:p>
        </p:txBody>
      </p:sp>
      <p:sp>
        <p:nvSpPr>
          <p:cNvPr id="98" name="Espace réservé de la date 9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12" name="Espace réservé du pied de page 11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05" name="Espace réservé du numéro de diapositive 10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1</a:t>
            </a:fld>
            <a:endParaRPr lang="fr-FR" dirty="0"/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655574" y="1532044"/>
            <a:ext cx="1817574" cy="55134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2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2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rot="10800000" flipV="1">
            <a:off x="4564361" y="2072037"/>
            <a:ext cx="0" cy="72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cs typeface="Arial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71070" y="2190042"/>
            <a:ext cx="1440000" cy="43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9" name="Line 6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H="1">
            <a:off x="4432607" y="2387595"/>
            <a:ext cx="25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cs typeface="Arial" pitchFamily="34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02886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18" name="Rectangle 2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45350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5" name="Rectangle 3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0422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32" name="Rectangle 4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7958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39" name="Rectangle 5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32358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40" name="Rectangle 5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32358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41" name="Rectangle 5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32358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42" name="Rectangle 5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32358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43" name="Rectangle 5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32358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44" name="Rectangle 5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5494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51" name="Rectangle 6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89894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52" name="Rectangle 6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89894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53" name="Rectangle 6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89894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54" name="Rectangle 6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89894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55" name="Rectangle 6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89894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56" name="Rectangle 6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30306" y="2900222"/>
            <a:ext cx="1368000" cy="432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cs typeface="Arial" pitchFamily="34" charset="0"/>
            </a:endParaRPr>
          </a:p>
        </p:txBody>
      </p:sp>
      <p:grpSp>
        <p:nvGrpSpPr>
          <p:cNvPr id="20" name="Groupe 125"/>
          <p:cNvGrpSpPr/>
          <p:nvPr/>
        </p:nvGrpSpPr>
        <p:grpSpPr>
          <a:xfrm>
            <a:off x="1014306" y="2783172"/>
            <a:ext cx="7128975" cy="102337"/>
            <a:chOff x="1014306" y="2783172"/>
            <a:chExt cx="7128975" cy="102337"/>
          </a:xfrm>
        </p:grpSpPr>
        <p:sp>
          <p:nvSpPr>
            <p:cNvPr id="10" name="Line 7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gray">
            <a:xfrm>
              <a:off x="1015281" y="2783172"/>
              <a:ext cx="7128000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17" name="Line 14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gray">
            <a:xfrm flipV="1">
              <a:off x="671286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24" name="Line 26"/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gray">
            <a:xfrm flipV="1">
              <a:off x="81375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31" name="Line 38"/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gray">
            <a:xfrm flipV="1">
              <a:off x="528822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38" name="Line 50"/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gray">
            <a:xfrm flipV="1">
              <a:off x="386358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50" name="Line 62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gray">
            <a:xfrm flipV="1">
              <a:off x="243894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  <p:sp>
          <p:nvSpPr>
            <p:cNvPr id="68" name="Line 82"/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gray">
            <a:xfrm flipV="1">
              <a:off x="10143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cs typeface="Arial" pitchFamily="34" charset="0"/>
              </a:endParaRPr>
            </a:p>
          </p:txBody>
        </p:sp>
      </p:grpSp>
      <p:sp>
        <p:nvSpPr>
          <p:cNvPr id="69" name="Rectangle à coins arrondis 68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7430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0" name="Rectangle à coins arrondis 69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7430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1" name="Rectangle à coins arrondis 70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7430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2" name="Rectangle à coins arrondis 71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7430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3" name="Rectangle à coins arrondis 7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7430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4" name="Rectangle à coins arrondis 7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 flipH="1">
            <a:off x="3006725" y="2194427"/>
            <a:ext cx="1440000" cy="432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cs typeface="Arial" pitchFamily="34" charset="0"/>
              </a:rPr>
              <a:t>NAME</a:t>
            </a:r>
            <a:r>
              <a:rPr lang="de-DE" sz="1000" dirty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0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cs typeface="Arial" pitchFamily="34" charset="0"/>
              </a:rPr>
              <a:t>Function</a:t>
            </a:r>
            <a:endParaRPr lang="de-DE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5" name="Rectangle 5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74822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6" name="Rectangle 5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74822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7" name="Rectangle 5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74822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8" name="Rectangle 54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74822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9" name="Rectangle 55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74822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0" name="Rectangle 5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17286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1" name="Rectangle 52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617286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2" name="Rectangle 53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617286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3" name="Rectangle 5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617286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4" name="Rectangle 55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17286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5" name="Rectangle 51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7597506" y="3406057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6" name="Rectangle 52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597506" y="389411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7" name="Rectangle 53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7597506" y="4382171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8" name="Rectangle 54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7597506" y="4870228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9" name="Rectangle 55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7597506" y="5358284"/>
            <a:ext cx="1224000" cy="396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rmAutofit/>
          </a:bodyPr>
          <a:lstStyle/>
          <a:p>
            <a:pPr algn="ctr"/>
            <a:r>
              <a:rPr lang="de-DE" sz="800" b="1" dirty="0">
                <a:solidFill>
                  <a:schemeClr val="bg2"/>
                </a:solidFill>
                <a:cs typeface="Arial" pitchFamily="34" charset="0"/>
              </a:rPr>
              <a:t>NAME</a:t>
            </a:r>
            <a:r>
              <a:rPr lang="de-DE" sz="800" dirty="0">
                <a:solidFill>
                  <a:schemeClr val="bg2"/>
                </a:solidFill>
                <a:cs typeface="Arial" pitchFamily="34" charset="0"/>
              </a:rPr>
              <a:t/>
            </a:r>
            <a:br>
              <a:rPr lang="de-DE" sz="800" dirty="0">
                <a:solidFill>
                  <a:schemeClr val="bg2"/>
                </a:solidFill>
                <a:cs typeface="Arial" pitchFamily="34" charset="0"/>
              </a:rPr>
            </a:br>
            <a:r>
              <a:rPr lang="de-DE" sz="800" dirty="0" err="1">
                <a:solidFill>
                  <a:schemeClr val="bg2"/>
                </a:solidFill>
                <a:cs typeface="Arial" pitchFamily="34" charset="0"/>
              </a:rPr>
              <a:t>Function</a:t>
            </a:r>
            <a:endParaRPr lang="de-DE" sz="800" dirty="0">
              <a:solidFill>
                <a:schemeClr val="bg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12666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e 89"/>
          <p:cNvGrpSpPr/>
          <p:nvPr/>
        </p:nvGrpSpPr>
        <p:grpSpPr>
          <a:xfrm>
            <a:off x="383313" y="3312491"/>
            <a:ext cx="97939" cy="2347900"/>
            <a:chOff x="383313" y="3219727"/>
            <a:chExt cx="97939" cy="2347900"/>
          </a:xfrm>
        </p:grpSpPr>
        <p:sp>
          <p:nvSpPr>
            <p:cNvPr id="57" name="Line 69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Line 70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Line 71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Line 72"/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Line 73"/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Line 81"/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1" name="Groupe 90"/>
          <p:cNvGrpSpPr/>
          <p:nvPr/>
        </p:nvGrpSpPr>
        <p:grpSpPr>
          <a:xfrm>
            <a:off x="1819434" y="3312491"/>
            <a:ext cx="97939" cy="2347900"/>
            <a:chOff x="383313" y="3219727"/>
            <a:chExt cx="97939" cy="2347900"/>
          </a:xfrm>
        </p:grpSpPr>
        <p:sp>
          <p:nvSpPr>
            <p:cNvPr id="92" name="Line 69"/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Line 70"/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4" name="Line 71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Line 72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6" name="Line 73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Line 81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RGANIZATIONAL CHART (including headcount)</a:t>
            </a:r>
            <a:endParaRPr lang="fr-FR" dirty="0"/>
          </a:p>
        </p:txBody>
      </p:sp>
      <p:sp>
        <p:nvSpPr>
          <p:cNvPr id="99" name="Espace réservé de la date 9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01" name="Espace réservé du pied de page 10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00" name="Espace réservé du numéro de diapositive 9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2</a:t>
            </a:fld>
            <a:endParaRPr lang="fr-FR" dirty="0"/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655574" y="1532044"/>
            <a:ext cx="1817574" cy="55134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prstClr val="white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prstClr val="white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rot="10800000" flipV="1">
            <a:off x="4564361" y="2072037"/>
            <a:ext cx="0" cy="72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solidFill>
                <a:srgbClr val="424242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H="1">
            <a:off x="4432607" y="2387595"/>
            <a:ext cx="25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solidFill>
                <a:srgbClr val="424242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12" name="Groupe 125"/>
          <p:cNvGrpSpPr/>
          <p:nvPr/>
        </p:nvGrpSpPr>
        <p:grpSpPr>
          <a:xfrm>
            <a:off x="1014306" y="2783172"/>
            <a:ext cx="7128975" cy="102337"/>
            <a:chOff x="1014306" y="2783172"/>
            <a:chExt cx="7128975" cy="102337"/>
          </a:xfrm>
        </p:grpSpPr>
        <p:sp>
          <p:nvSpPr>
            <p:cNvPr id="10" name="Line 7"/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gray">
            <a:xfrm>
              <a:off x="1015281" y="2783172"/>
              <a:ext cx="7128000" cy="0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Line 14"/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 flipV="1">
              <a:off x="671286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Line 26"/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 flipV="1">
              <a:off x="81375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Line 38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 flipV="1">
              <a:off x="528822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Line 50"/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 flipV="1">
              <a:off x="386358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Line 62"/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 flipV="1">
              <a:off x="243894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Line 82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 flipV="1">
              <a:off x="10143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98" name="Tableau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351508"/>
              </p:ext>
            </p:extLst>
          </p:nvPr>
        </p:nvGraphicFramePr>
        <p:xfrm>
          <a:off x="3006726" y="2171595"/>
          <a:ext cx="1439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979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10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7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3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05" name="Tableau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706761"/>
              </p:ext>
            </p:extLst>
          </p:nvPr>
        </p:nvGraphicFramePr>
        <p:xfrm>
          <a:off x="4716016" y="2171595"/>
          <a:ext cx="140594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78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200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7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3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2" name="Tableau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488429"/>
              </p:ext>
            </p:extLst>
          </p:nvPr>
        </p:nvGraphicFramePr>
        <p:xfrm>
          <a:off x="376858" y="2875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9" name="Tableau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65033"/>
              </p:ext>
            </p:extLst>
          </p:nvPr>
        </p:nvGraphicFramePr>
        <p:xfrm>
          <a:off x="481252" y="34855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6" name="Tableau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8922764"/>
              </p:ext>
            </p:extLst>
          </p:nvPr>
        </p:nvGraphicFramePr>
        <p:xfrm>
          <a:off x="481252" y="397693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7" name="Tableau 1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324710"/>
              </p:ext>
            </p:extLst>
          </p:nvPr>
        </p:nvGraphicFramePr>
        <p:xfrm>
          <a:off x="481252" y="446830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8" name="Tableau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7877007"/>
              </p:ext>
            </p:extLst>
          </p:nvPr>
        </p:nvGraphicFramePr>
        <p:xfrm>
          <a:off x="481252" y="495967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9" name="Tableau 1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215773"/>
              </p:ext>
            </p:extLst>
          </p:nvPr>
        </p:nvGraphicFramePr>
        <p:xfrm>
          <a:off x="481252" y="5451048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0" name="Tableau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258052"/>
              </p:ext>
            </p:extLst>
          </p:nvPr>
        </p:nvGraphicFramePr>
        <p:xfrm>
          <a:off x="1797865" y="2872257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1" name="Tableau 1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410552"/>
              </p:ext>
            </p:extLst>
          </p:nvPr>
        </p:nvGraphicFramePr>
        <p:xfrm>
          <a:off x="1902259" y="348189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2" name="Tableau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395958"/>
              </p:ext>
            </p:extLst>
          </p:nvPr>
        </p:nvGraphicFramePr>
        <p:xfrm>
          <a:off x="1902259" y="397326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3" name="Tableau 1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083915"/>
              </p:ext>
            </p:extLst>
          </p:nvPr>
        </p:nvGraphicFramePr>
        <p:xfrm>
          <a:off x="1902259" y="446463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4" name="Tableau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307351"/>
              </p:ext>
            </p:extLst>
          </p:nvPr>
        </p:nvGraphicFramePr>
        <p:xfrm>
          <a:off x="1902259" y="495600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5" name="Tableau 1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15229"/>
              </p:ext>
            </p:extLst>
          </p:nvPr>
        </p:nvGraphicFramePr>
        <p:xfrm>
          <a:off x="1902259" y="54473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13" name="Groupe 89"/>
          <p:cNvGrpSpPr/>
          <p:nvPr/>
        </p:nvGrpSpPr>
        <p:grpSpPr>
          <a:xfrm>
            <a:off x="3228824" y="3312491"/>
            <a:ext cx="97939" cy="2347900"/>
            <a:chOff x="383313" y="3219727"/>
            <a:chExt cx="97939" cy="2347900"/>
          </a:xfrm>
        </p:grpSpPr>
        <p:sp>
          <p:nvSpPr>
            <p:cNvPr id="137" name="Line 69"/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8" name="Line 70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9" name="Line 71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0" name="Line 72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1" name="Line 73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2" name="Line 81"/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4" name="Groupe 90"/>
          <p:cNvGrpSpPr/>
          <p:nvPr/>
        </p:nvGrpSpPr>
        <p:grpSpPr>
          <a:xfrm>
            <a:off x="4664945" y="3312491"/>
            <a:ext cx="97939" cy="2347900"/>
            <a:chOff x="383313" y="3219727"/>
            <a:chExt cx="97939" cy="2347900"/>
          </a:xfrm>
        </p:grpSpPr>
        <p:sp>
          <p:nvSpPr>
            <p:cNvPr id="144" name="Line 69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5" name="Line 70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6" name="Line 71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7" name="Line 72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8" name="Line 73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9" name="Line 81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50" name="Tableau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78455"/>
              </p:ext>
            </p:extLst>
          </p:nvPr>
        </p:nvGraphicFramePr>
        <p:xfrm>
          <a:off x="3222369" y="2875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1" name="Tableau 1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336785"/>
              </p:ext>
            </p:extLst>
          </p:nvPr>
        </p:nvGraphicFramePr>
        <p:xfrm>
          <a:off x="3326763" y="34855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2" name="Tableau 1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188092"/>
              </p:ext>
            </p:extLst>
          </p:nvPr>
        </p:nvGraphicFramePr>
        <p:xfrm>
          <a:off x="3326763" y="397693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3" name="Tableau 1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679839"/>
              </p:ext>
            </p:extLst>
          </p:nvPr>
        </p:nvGraphicFramePr>
        <p:xfrm>
          <a:off x="3326763" y="446830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4" name="Tableau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350310"/>
              </p:ext>
            </p:extLst>
          </p:nvPr>
        </p:nvGraphicFramePr>
        <p:xfrm>
          <a:off x="3326763" y="495967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5" name="Tableau 1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687868"/>
              </p:ext>
            </p:extLst>
          </p:nvPr>
        </p:nvGraphicFramePr>
        <p:xfrm>
          <a:off x="3326763" y="5451048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6" name="Tableau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016662"/>
              </p:ext>
            </p:extLst>
          </p:nvPr>
        </p:nvGraphicFramePr>
        <p:xfrm>
          <a:off x="4643376" y="2872257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7" name="Tableau 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643974"/>
              </p:ext>
            </p:extLst>
          </p:nvPr>
        </p:nvGraphicFramePr>
        <p:xfrm>
          <a:off x="4747770" y="348189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8" name="Tableau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238354"/>
              </p:ext>
            </p:extLst>
          </p:nvPr>
        </p:nvGraphicFramePr>
        <p:xfrm>
          <a:off x="4747770" y="397326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9" name="Tableau 1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8850917"/>
              </p:ext>
            </p:extLst>
          </p:nvPr>
        </p:nvGraphicFramePr>
        <p:xfrm>
          <a:off x="4747770" y="446463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0" name="Tableau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591254"/>
              </p:ext>
            </p:extLst>
          </p:nvPr>
        </p:nvGraphicFramePr>
        <p:xfrm>
          <a:off x="4747770" y="495600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1" name="Tableau 1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544652"/>
              </p:ext>
            </p:extLst>
          </p:nvPr>
        </p:nvGraphicFramePr>
        <p:xfrm>
          <a:off x="4747770" y="54473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15" name="Groupe 89"/>
          <p:cNvGrpSpPr/>
          <p:nvPr/>
        </p:nvGrpSpPr>
        <p:grpSpPr>
          <a:xfrm>
            <a:off x="6088664" y="3302918"/>
            <a:ext cx="97939" cy="2347900"/>
            <a:chOff x="383313" y="3219727"/>
            <a:chExt cx="97939" cy="2347900"/>
          </a:xfrm>
        </p:grpSpPr>
        <p:sp>
          <p:nvSpPr>
            <p:cNvPr id="163" name="Line 69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4" name="Line 70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7" name="Line 7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8" name="Line 81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6" name="Groupe 90"/>
          <p:cNvGrpSpPr/>
          <p:nvPr/>
        </p:nvGrpSpPr>
        <p:grpSpPr>
          <a:xfrm>
            <a:off x="7524785" y="3302918"/>
            <a:ext cx="97939" cy="2347900"/>
            <a:chOff x="383313" y="3219727"/>
            <a:chExt cx="97939" cy="2347900"/>
          </a:xfrm>
        </p:grpSpPr>
        <p:sp>
          <p:nvSpPr>
            <p:cNvPr id="170" name="Line 69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Line 70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Line 71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Line 72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4" name="Line 73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5" name="Line 81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76" name="Tableau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708868"/>
              </p:ext>
            </p:extLst>
          </p:nvPr>
        </p:nvGraphicFramePr>
        <p:xfrm>
          <a:off x="6082209" y="2866363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7" name="Tableau 1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138826"/>
              </p:ext>
            </p:extLst>
          </p:nvPr>
        </p:nvGraphicFramePr>
        <p:xfrm>
          <a:off x="6186603" y="347599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8" name="Tableau 1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881806"/>
              </p:ext>
            </p:extLst>
          </p:nvPr>
        </p:nvGraphicFramePr>
        <p:xfrm>
          <a:off x="6186603" y="396736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9" name="Tableau 1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872159"/>
              </p:ext>
            </p:extLst>
          </p:nvPr>
        </p:nvGraphicFramePr>
        <p:xfrm>
          <a:off x="6186603" y="445873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0" name="Tableau 1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986015"/>
              </p:ext>
            </p:extLst>
          </p:nvPr>
        </p:nvGraphicFramePr>
        <p:xfrm>
          <a:off x="6186603" y="495010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1" name="Tableau 1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259976"/>
              </p:ext>
            </p:extLst>
          </p:nvPr>
        </p:nvGraphicFramePr>
        <p:xfrm>
          <a:off x="6186603" y="5441475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2" name="Tableau 1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129786"/>
              </p:ext>
            </p:extLst>
          </p:nvPr>
        </p:nvGraphicFramePr>
        <p:xfrm>
          <a:off x="7524328" y="2852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3" name="Tableau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399854"/>
              </p:ext>
            </p:extLst>
          </p:nvPr>
        </p:nvGraphicFramePr>
        <p:xfrm>
          <a:off x="7607610" y="347231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4" name="Tableau 1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275679"/>
              </p:ext>
            </p:extLst>
          </p:nvPr>
        </p:nvGraphicFramePr>
        <p:xfrm>
          <a:off x="7607610" y="396368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5" name="Tableau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33347"/>
              </p:ext>
            </p:extLst>
          </p:nvPr>
        </p:nvGraphicFramePr>
        <p:xfrm>
          <a:off x="7607610" y="445505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6" name="Tableau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373478"/>
              </p:ext>
            </p:extLst>
          </p:nvPr>
        </p:nvGraphicFramePr>
        <p:xfrm>
          <a:off x="7607610" y="494642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7" name="Tableau 1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173030"/>
              </p:ext>
            </p:extLst>
          </p:nvPr>
        </p:nvGraphicFramePr>
        <p:xfrm>
          <a:off x="7607610" y="543779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061325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89"/>
          <p:cNvGrpSpPr/>
          <p:nvPr/>
        </p:nvGrpSpPr>
        <p:grpSpPr>
          <a:xfrm>
            <a:off x="383313" y="3312491"/>
            <a:ext cx="97939" cy="2347900"/>
            <a:chOff x="383313" y="3219727"/>
            <a:chExt cx="97939" cy="2347900"/>
          </a:xfrm>
        </p:grpSpPr>
        <p:sp>
          <p:nvSpPr>
            <p:cNvPr id="57" name="Line 69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Line 70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Line 71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Line 72"/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Line 73"/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Line 81"/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" name="Groupe 90"/>
          <p:cNvGrpSpPr/>
          <p:nvPr/>
        </p:nvGrpSpPr>
        <p:grpSpPr>
          <a:xfrm>
            <a:off x="1819434" y="3312491"/>
            <a:ext cx="97939" cy="2347900"/>
            <a:chOff x="383313" y="3219727"/>
            <a:chExt cx="97939" cy="2347900"/>
          </a:xfrm>
        </p:grpSpPr>
        <p:sp>
          <p:nvSpPr>
            <p:cNvPr id="92" name="Line 69"/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Line 70"/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4" name="Line 71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Line 72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6" name="Line 73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Line 81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RGANIZATIONAL CHART (including headcount)</a:t>
            </a:r>
            <a:endParaRPr lang="fr-FR" dirty="0"/>
          </a:p>
        </p:txBody>
      </p:sp>
      <p:sp>
        <p:nvSpPr>
          <p:cNvPr id="99" name="Espace réservé de la date 9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01" name="Espace réservé du pied de page 10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00" name="Espace réservé du numéro de diapositive 9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3</a:t>
            </a:fld>
            <a:endParaRPr lang="fr-FR" dirty="0"/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655574" y="1532044"/>
            <a:ext cx="1817574" cy="55134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prstClr val="white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prstClr val="white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prstClr val="white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prstClr val="white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rot="10800000" flipV="1">
            <a:off x="4564361" y="2072037"/>
            <a:ext cx="0" cy="72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solidFill>
                <a:srgbClr val="424242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H="1">
            <a:off x="4432607" y="2387595"/>
            <a:ext cx="25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t" anchorCtr="0">
            <a:normAutofit fontScale="25000" lnSpcReduction="20000"/>
          </a:bodyPr>
          <a:lstStyle/>
          <a:p>
            <a:endParaRPr lang="de-DE" sz="900">
              <a:solidFill>
                <a:srgbClr val="424242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5" name="Groupe 125"/>
          <p:cNvGrpSpPr/>
          <p:nvPr/>
        </p:nvGrpSpPr>
        <p:grpSpPr>
          <a:xfrm>
            <a:off x="1014306" y="2783172"/>
            <a:ext cx="7128975" cy="102337"/>
            <a:chOff x="1014306" y="2783172"/>
            <a:chExt cx="7128975" cy="102337"/>
          </a:xfrm>
        </p:grpSpPr>
        <p:sp>
          <p:nvSpPr>
            <p:cNvPr id="10" name="Line 7"/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gray">
            <a:xfrm>
              <a:off x="1015281" y="2783172"/>
              <a:ext cx="7128000" cy="0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Line 14"/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 flipV="1">
              <a:off x="671286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Line 26"/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 flipV="1">
              <a:off x="81375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Line 38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 flipV="1">
              <a:off x="528822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Line 50"/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 flipV="1">
              <a:off x="386358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Line 62"/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 flipV="1">
              <a:off x="243894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Line 82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 flipV="1">
              <a:off x="1014306" y="2783172"/>
              <a:ext cx="0" cy="102337"/>
            </a:xfrm>
            <a:prstGeom prst="lin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98" name="Tableau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351508"/>
              </p:ext>
            </p:extLst>
          </p:nvPr>
        </p:nvGraphicFramePr>
        <p:xfrm>
          <a:off x="3006726" y="2171595"/>
          <a:ext cx="1439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979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10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7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3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05" name="Tableau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706761"/>
              </p:ext>
            </p:extLst>
          </p:nvPr>
        </p:nvGraphicFramePr>
        <p:xfrm>
          <a:off x="4716016" y="2171595"/>
          <a:ext cx="140594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78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200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7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3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  <a:endParaRPr lang="fr-FR" sz="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2" name="Tableau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488429"/>
              </p:ext>
            </p:extLst>
          </p:nvPr>
        </p:nvGraphicFramePr>
        <p:xfrm>
          <a:off x="376858" y="2875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9" name="Tableau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65033"/>
              </p:ext>
            </p:extLst>
          </p:nvPr>
        </p:nvGraphicFramePr>
        <p:xfrm>
          <a:off x="481252" y="34855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6" name="Tableau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8922764"/>
              </p:ext>
            </p:extLst>
          </p:nvPr>
        </p:nvGraphicFramePr>
        <p:xfrm>
          <a:off x="481252" y="397693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7" name="Tableau 1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324710"/>
              </p:ext>
            </p:extLst>
          </p:nvPr>
        </p:nvGraphicFramePr>
        <p:xfrm>
          <a:off x="481252" y="446830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8" name="Tableau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7877007"/>
              </p:ext>
            </p:extLst>
          </p:nvPr>
        </p:nvGraphicFramePr>
        <p:xfrm>
          <a:off x="481252" y="495967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9" name="Tableau 1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215773"/>
              </p:ext>
            </p:extLst>
          </p:nvPr>
        </p:nvGraphicFramePr>
        <p:xfrm>
          <a:off x="481252" y="5451048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0" name="Tableau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258052"/>
              </p:ext>
            </p:extLst>
          </p:nvPr>
        </p:nvGraphicFramePr>
        <p:xfrm>
          <a:off x="1797865" y="2872257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1" name="Tableau 1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410552"/>
              </p:ext>
            </p:extLst>
          </p:nvPr>
        </p:nvGraphicFramePr>
        <p:xfrm>
          <a:off x="1902259" y="348189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2" name="Tableau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395958"/>
              </p:ext>
            </p:extLst>
          </p:nvPr>
        </p:nvGraphicFramePr>
        <p:xfrm>
          <a:off x="1902259" y="397326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3" name="Tableau 1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083915"/>
              </p:ext>
            </p:extLst>
          </p:nvPr>
        </p:nvGraphicFramePr>
        <p:xfrm>
          <a:off x="1902259" y="446463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4" name="Tableau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307351"/>
              </p:ext>
            </p:extLst>
          </p:nvPr>
        </p:nvGraphicFramePr>
        <p:xfrm>
          <a:off x="1902259" y="495600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5" name="Tableau 1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15229"/>
              </p:ext>
            </p:extLst>
          </p:nvPr>
        </p:nvGraphicFramePr>
        <p:xfrm>
          <a:off x="1902259" y="54473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8" name="Groupe 89"/>
          <p:cNvGrpSpPr/>
          <p:nvPr/>
        </p:nvGrpSpPr>
        <p:grpSpPr>
          <a:xfrm>
            <a:off x="3228824" y="3312491"/>
            <a:ext cx="97939" cy="2347900"/>
            <a:chOff x="383313" y="3219727"/>
            <a:chExt cx="97939" cy="2347900"/>
          </a:xfrm>
        </p:grpSpPr>
        <p:sp>
          <p:nvSpPr>
            <p:cNvPr id="137" name="Line 69"/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8" name="Line 70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9" name="Line 71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0" name="Line 72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1" name="Line 73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2" name="Line 81"/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1" name="Groupe 90"/>
          <p:cNvGrpSpPr/>
          <p:nvPr/>
        </p:nvGrpSpPr>
        <p:grpSpPr>
          <a:xfrm>
            <a:off x="4664945" y="3312491"/>
            <a:ext cx="97939" cy="2347900"/>
            <a:chOff x="383313" y="3219727"/>
            <a:chExt cx="97939" cy="2347900"/>
          </a:xfrm>
        </p:grpSpPr>
        <p:sp>
          <p:nvSpPr>
            <p:cNvPr id="144" name="Line 69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5" name="Line 70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6" name="Line 71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7" name="Line 72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8" name="Line 73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9" name="Line 81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50" name="Tableau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78455"/>
              </p:ext>
            </p:extLst>
          </p:nvPr>
        </p:nvGraphicFramePr>
        <p:xfrm>
          <a:off x="3222369" y="2875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1" name="Tableau 1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336785"/>
              </p:ext>
            </p:extLst>
          </p:nvPr>
        </p:nvGraphicFramePr>
        <p:xfrm>
          <a:off x="3326763" y="34855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2" name="Tableau 1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188092"/>
              </p:ext>
            </p:extLst>
          </p:nvPr>
        </p:nvGraphicFramePr>
        <p:xfrm>
          <a:off x="3326763" y="397693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3" name="Tableau 1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679839"/>
              </p:ext>
            </p:extLst>
          </p:nvPr>
        </p:nvGraphicFramePr>
        <p:xfrm>
          <a:off x="3326763" y="446830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4" name="Tableau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350310"/>
              </p:ext>
            </p:extLst>
          </p:nvPr>
        </p:nvGraphicFramePr>
        <p:xfrm>
          <a:off x="3326763" y="495967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5" name="Tableau 1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687868"/>
              </p:ext>
            </p:extLst>
          </p:nvPr>
        </p:nvGraphicFramePr>
        <p:xfrm>
          <a:off x="3326763" y="5451048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6" name="Tableau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016662"/>
              </p:ext>
            </p:extLst>
          </p:nvPr>
        </p:nvGraphicFramePr>
        <p:xfrm>
          <a:off x="4643376" y="2872257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7" name="Tableau 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643974"/>
              </p:ext>
            </p:extLst>
          </p:nvPr>
        </p:nvGraphicFramePr>
        <p:xfrm>
          <a:off x="4747770" y="348189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8" name="Tableau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238354"/>
              </p:ext>
            </p:extLst>
          </p:nvPr>
        </p:nvGraphicFramePr>
        <p:xfrm>
          <a:off x="4747770" y="397326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9" name="Tableau 1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8850917"/>
              </p:ext>
            </p:extLst>
          </p:nvPr>
        </p:nvGraphicFramePr>
        <p:xfrm>
          <a:off x="4747770" y="446463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0" name="Tableau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591254"/>
              </p:ext>
            </p:extLst>
          </p:nvPr>
        </p:nvGraphicFramePr>
        <p:xfrm>
          <a:off x="4747770" y="4956000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1" name="Tableau 1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544652"/>
              </p:ext>
            </p:extLst>
          </p:nvPr>
        </p:nvGraphicFramePr>
        <p:xfrm>
          <a:off x="4747770" y="5447369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12" name="Groupe 89"/>
          <p:cNvGrpSpPr/>
          <p:nvPr/>
        </p:nvGrpSpPr>
        <p:grpSpPr>
          <a:xfrm>
            <a:off x="6088664" y="3302918"/>
            <a:ext cx="97939" cy="2347900"/>
            <a:chOff x="383313" y="3219727"/>
            <a:chExt cx="97939" cy="2347900"/>
          </a:xfrm>
        </p:grpSpPr>
        <p:sp>
          <p:nvSpPr>
            <p:cNvPr id="163" name="Line 69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4" name="Line 70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7" name="Line 7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8" name="Line 81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e 90"/>
          <p:cNvGrpSpPr/>
          <p:nvPr/>
        </p:nvGrpSpPr>
        <p:grpSpPr>
          <a:xfrm>
            <a:off x="7524785" y="3302918"/>
            <a:ext cx="97939" cy="2347900"/>
            <a:chOff x="383313" y="3219727"/>
            <a:chExt cx="97939" cy="2347900"/>
          </a:xfrm>
        </p:grpSpPr>
        <p:sp>
          <p:nvSpPr>
            <p:cNvPr id="170" name="Line 69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gray">
            <a:xfrm flipH="1">
              <a:off x="383313" y="3574182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Line 70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gray">
            <a:xfrm flipH="1">
              <a:off x="383313" y="4071813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Line 71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gray">
            <a:xfrm flipH="1">
              <a:off x="383313" y="458415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Line 72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 flipH="1">
              <a:off x="383313" y="5080326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4" name="Line 73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 flipH="1">
              <a:off x="383313" y="5567627"/>
              <a:ext cx="97939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8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5" name="Line 81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gray">
            <a:xfrm>
              <a:off x="383314" y="3219727"/>
              <a:ext cx="0" cy="234000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0" tIns="0" rIns="0" bIns="0" anchor="t" anchorCtr="0">
              <a:normAutofit fontScale="25000" lnSpcReduction="20000"/>
            </a:bodyPr>
            <a:lstStyle/>
            <a:p>
              <a:endParaRPr lang="de-DE" sz="900">
                <a:solidFill>
                  <a:srgbClr val="424242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76" name="Tableau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708868"/>
              </p:ext>
            </p:extLst>
          </p:nvPr>
        </p:nvGraphicFramePr>
        <p:xfrm>
          <a:off x="6082209" y="2866363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7" name="Tableau 1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138826"/>
              </p:ext>
            </p:extLst>
          </p:nvPr>
        </p:nvGraphicFramePr>
        <p:xfrm>
          <a:off x="6186603" y="347599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8" name="Tableau 1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881806"/>
              </p:ext>
            </p:extLst>
          </p:nvPr>
        </p:nvGraphicFramePr>
        <p:xfrm>
          <a:off x="6186603" y="396736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9" name="Tableau 1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872159"/>
              </p:ext>
            </p:extLst>
          </p:nvPr>
        </p:nvGraphicFramePr>
        <p:xfrm>
          <a:off x="6186603" y="445873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0" name="Tableau 1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986015"/>
              </p:ext>
            </p:extLst>
          </p:nvPr>
        </p:nvGraphicFramePr>
        <p:xfrm>
          <a:off x="6186603" y="495010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1" name="Tableau 1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259976"/>
              </p:ext>
            </p:extLst>
          </p:nvPr>
        </p:nvGraphicFramePr>
        <p:xfrm>
          <a:off x="6186603" y="5441475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2" name="Tableau 1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129786"/>
              </p:ext>
            </p:extLst>
          </p:nvPr>
        </p:nvGraphicFramePr>
        <p:xfrm>
          <a:off x="7524328" y="2852936"/>
          <a:ext cx="1367999" cy="432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5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7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2708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9292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3" name="Tableau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399854"/>
              </p:ext>
            </p:extLst>
          </p:nvPr>
        </p:nvGraphicFramePr>
        <p:xfrm>
          <a:off x="7607610" y="347231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4" name="Tableau 1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275679"/>
              </p:ext>
            </p:extLst>
          </p:nvPr>
        </p:nvGraphicFramePr>
        <p:xfrm>
          <a:off x="7607610" y="396368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5" name="Tableau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33347"/>
              </p:ext>
            </p:extLst>
          </p:nvPr>
        </p:nvGraphicFramePr>
        <p:xfrm>
          <a:off x="7607610" y="445505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6" name="Tableau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373478"/>
              </p:ext>
            </p:extLst>
          </p:nvPr>
        </p:nvGraphicFramePr>
        <p:xfrm>
          <a:off x="7607610" y="4946427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87" name="Tableau 1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173030"/>
              </p:ext>
            </p:extLst>
          </p:nvPr>
        </p:nvGraphicFramePr>
        <p:xfrm>
          <a:off x="7607610" y="5437796"/>
          <a:ext cx="1223999" cy="396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32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3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815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62694" marR="62694" marT="31351" marB="3135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1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05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185">
                <a:tc>
                  <a:txBody>
                    <a:bodyPr/>
                    <a:lstStyle/>
                    <a:p>
                      <a:r>
                        <a:rPr lang="fr-FR" sz="800" dirty="0" err="1">
                          <a:solidFill>
                            <a:schemeClr val="bg2"/>
                          </a:solidFill>
                        </a:rPr>
                        <a:t>Text</a:t>
                      </a:r>
                      <a:endParaRPr lang="fr-FR" sz="800" dirty="0">
                        <a:solidFill>
                          <a:schemeClr val="bg2"/>
                        </a:solidFill>
                      </a:endParaRPr>
                    </a:p>
                  </a:txBody>
                  <a:tcPr marL="62694" marR="62694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0D0">
                        <a:alpha val="4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0E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2"/>
                          </a:solidFill>
                        </a:rPr>
                        <a:t>x</a:t>
                      </a:r>
                    </a:p>
                  </a:txBody>
                  <a:tcPr marL="62694" marR="626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E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061325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E8E2F2D-4328-4EC0-833A-04CECF20C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ZATIONAL CHART (</a:t>
            </a:r>
            <a:r>
              <a:rPr lang="fr-FR" dirty="0" err="1"/>
              <a:t>holocracy</a:t>
            </a:r>
            <a:r>
              <a:rPr lang="fr-FR" dirty="0"/>
              <a:t>)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382D88EE-B653-434C-94A8-1E805F41D6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858585"/>
                </a:solidFill>
                <a:latin typeface="Arial"/>
              </a:rPr>
              <a:t>00/00/2016</a:t>
            </a:r>
            <a:endParaRPr lang="fr-FR" dirty="0">
              <a:solidFill>
                <a:srgbClr val="858585"/>
              </a:solidFill>
              <a:latin typeface="Arial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5FE3D51A-193C-4011-A03B-C54CE6DADB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858585"/>
                </a:solidFill>
                <a:latin typeface="Arial"/>
              </a:rPr>
              <a:t>PRESENTATION TITLE ( FOOTER CAN BE PERSONALIZED AS FOLLOW: INSERT / HEADER AND FOOTER")</a:t>
            </a:r>
            <a:endParaRPr lang="fr-FR" dirty="0">
              <a:solidFill>
                <a:srgbClr val="858585"/>
              </a:solidFill>
              <a:latin typeface="Arial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1F8F49E0-4A8A-48F8-A3EE-4951DFF7B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>
                <a:solidFill>
                  <a:srgbClr val="858585"/>
                </a:solidFill>
                <a:latin typeface="Arial"/>
              </a:rPr>
              <a:pPr/>
              <a:t>84</a:t>
            </a:fld>
            <a:endParaRPr lang="fr-FR" dirty="0">
              <a:solidFill>
                <a:srgbClr val="858585"/>
              </a:solidFill>
              <a:latin typeface="Arial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xmlns="" id="{F70C8565-B237-473E-B3BC-3D47704D7F5C}"/>
              </a:ext>
            </a:extLst>
          </p:cNvPr>
          <p:cNvSpPr/>
          <p:nvPr/>
        </p:nvSpPr>
        <p:spPr>
          <a:xfrm>
            <a:off x="1938388" y="1314231"/>
            <a:ext cx="4877069" cy="4877069"/>
          </a:xfrm>
          <a:prstGeom prst="ellipse">
            <a:avLst/>
          </a:prstGeom>
          <a:noFill/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xmlns="" id="{3CD71892-2E90-4BE8-8975-0DFAC5733B3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814382" y="3038973"/>
            <a:ext cx="1319267" cy="40018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xmlns="" id="{6F387C6B-B5DF-4FA3-BC06-A0FEEE2CF0A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2539" y="3639254"/>
            <a:ext cx="1319267" cy="40018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>Rep Link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xmlns="" id="{EE9B9548-4DA2-4E18-9F54-7B4ED90665F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22540" y="2553051"/>
            <a:ext cx="1319267" cy="40018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>Lead Link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xmlns="" id="{D44D397D-EFEB-4200-A4CA-823014FABFF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181205" y="3463781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xmlns="" id="{77917426-48C6-4B5F-ADE8-D3C6A696722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573153" y="3840944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xmlns="" id="{7B9E5DB1-10A4-4AF2-9CB8-E5B4B0C97C1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99336" y="4398890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xmlns="" id="{1999642C-CE52-4DAE-8AC1-1955FCC8A03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55931" y="5445224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xmlns="" id="{6FC79D1A-15E8-4826-99B4-76A71CC086C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450043" y="5011557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xmlns="" id="{3AB1B9F2-ACC6-4FA4-80F4-A8DB7C5C7ABA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771442" y="4357971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xmlns="" id="{7D953278-B496-41E8-BE7E-BD53FE8DAC22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37417" y="2643347"/>
            <a:ext cx="1120991" cy="3400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9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9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9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48F228C7-6093-49A6-9E1A-DDED1947875D}"/>
              </a:ext>
            </a:extLst>
          </p:cNvPr>
          <p:cNvSpPr txBox="1"/>
          <p:nvPr/>
        </p:nvSpPr>
        <p:spPr>
          <a:xfrm>
            <a:off x="3524187" y="2193860"/>
            <a:ext cx="148635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350" dirty="0">
                <a:solidFill>
                  <a:schemeClr val="accent4"/>
                </a:solidFill>
              </a:rPr>
              <a:t>DEPARTMENT</a:t>
            </a:r>
          </a:p>
        </p:txBody>
      </p:sp>
    </p:spTree>
    <p:extLst>
      <p:ext uri="{BB962C8B-B14F-4D97-AF65-F5344CB8AC3E}">
        <p14:creationId xmlns:p14="http://schemas.microsoft.com/office/powerpoint/2010/main" val="278287569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E8E2F2D-4328-4EC0-833A-04CECF20C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ZATIONAL CHART (</a:t>
            </a:r>
            <a:r>
              <a:rPr lang="fr-FR" dirty="0" err="1"/>
              <a:t>holocracy</a:t>
            </a:r>
            <a:r>
              <a:rPr lang="fr-FR" dirty="0"/>
              <a:t>)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382D88EE-B653-434C-94A8-1E805F41D6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/>
              <a:t>00/00/2016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5FE3D51A-193C-4011-A03B-C54CE6DADB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1F8F49E0-4A8A-48F8-A3EE-4951DFF7B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5</a:t>
            </a:fld>
            <a:endParaRPr lang="fr-FR" dirty="0"/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xmlns="" id="{A5774596-7311-4A19-8A18-7B4D50693E5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41159" y="1558794"/>
            <a:ext cx="4261682" cy="4261682"/>
          </a:xfrm>
          <a:prstGeom prst="ellipse">
            <a:avLst/>
          </a:prstGeom>
          <a:solidFill>
            <a:schemeClr val="bg1"/>
          </a:solidFill>
          <a:ln w="19050" cap="rnd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endParaRPr lang="de-DE" dirty="0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xmlns="" id="{E762CFD5-E965-486E-B7F5-B3C7EE693112}"/>
              </a:ext>
            </a:extLst>
          </p:cNvPr>
          <p:cNvCxnSpPr>
            <a:stCxn id="7" idx="6"/>
            <a:endCxn id="17" idx="1"/>
          </p:cNvCxnSpPr>
          <p:nvPr/>
        </p:nvCxnSpPr>
        <p:spPr>
          <a:xfrm>
            <a:off x="5779784" y="3689635"/>
            <a:ext cx="41871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xmlns="" id="{D982F865-EAFD-44A6-9FD3-0B363CDA2464}"/>
              </a:ext>
            </a:extLst>
          </p:cNvPr>
          <p:cNvCxnSpPr>
            <a:cxnSpLocks/>
            <a:stCxn id="19" idx="3"/>
            <a:endCxn id="7" idx="2"/>
          </p:cNvCxnSpPr>
          <p:nvPr/>
        </p:nvCxnSpPr>
        <p:spPr>
          <a:xfrm>
            <a:off x="2945499" y="3689635"/>
            <a:ext cx="41871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xmlns="" id="{FD9D14C0-B382-4D2D-B65C-E1FA093D79DD}"/>
              </a:ext>
            </a:extLst>
          </p:cNvPr>
          <p:cNvCxnSpPr>
            <a:cxnSpLocks/>
            <a:stCxn id="7" idx="0"/>
            <a:endCxn id="6" idx="2"/>
          </p:cNvCxnSpPr>
          <p:nvPr/>
        </p:nvCxnSpPr>
        <p:spPr>
          <a:xfrm flipH="1" flipV="1">
            <a:off x="4571999" y="2078767"/>
            <a:ext cx="1" cy="40308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xmlns="" id="{C8C0819B-0DEB-4FB3-9415-246B573778A5}"/>
              </a:ext>
            </a:extLst>
          </p:cNvPr>
          <p:cNvCxnSpPr>
            <a:cxnSpLocks/>
            <a:stCxn id="15" idx="0"/>
            <a:endCxn id="7" idx="4"/>
          </p:cNvCxnSpPr>
          <p:nvPr/>
        </p:nvCxnSpPr>
        <p:spPr>
          <a:xfrm flipV="1">
            <a:off x="4571999" y="4897419"/>
            <a:ext cx="1" cy="40308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C549462A-DB8D-4A70-BED1-ED0B962965B9}"/>
              </a:ext>
            </a:extLst>
          </p:cNvPr>
          <p:cNvCxnSpPr>
            <a:cxnSpLocks/>
          </p:cNvCxnSpPr>
          <p:nvPr/>
        </p:nvCxnSpPr>
        <p:spPr>
          <a:xfrm flipV="1">
            <a:off x="3338274" y="2753418"/>
            <a:ext cx="2381273" cy="180523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9F254811-CE5B-43A3-BC38-D1695E6464CD}"/>
              </a:ext>
            </a:extLst>
          </p:cNvPr>
          <p:cNvCxnSpPr>
            <a:cxnSpLocks/>
          </p:cNvCxnSpPr>
          <p:nvPr/>
        </p:nvCxnSpPr>
        <p:spPr>
          <a:xfrm>
            <a:off x="3419917" y="2753418"/>
            <a:ext cx="2356326" cy="1807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xmlns="" id="{B1A7DCCD-C512-43D7-820C-D34BF3E149E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364216" y="2481851"/>
            <a:ext cx="2415569" cy="241556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600" b="1" dirty="0">
                <a:solidFill>
                  <a:schemeClr val="accent4"/>
                </a:solidFill>
                <a:latin typeface="Arial"/>
                <a:cs typeface="Arial" pitchFamily="34" charset="0"/>
              </a:rPr>
              <a:t>DEPARTMENT</a:t>
            </a:r>
            <a:endParaRPr lang="de-DE" sz="1600" dirty="0">
              <a:solidFill>
                <a:schemeClr val="accent4"/>
              </a:solidFill>
              <a:latin typeface="Arial"/>
              <a:cs typeface="Arial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xmlns="" id="{A34BE46C-88A3-446F-AC05-BF1C53BE5AB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90099" y="1422400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xmlns="" id="{E5B57982-3F60-45AE-B7AE-21923BD7B35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90099" y="5300503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xmlns="" id="{E1A8ABC4-207B-4D6D-862A-957101CA660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53899" y="2231436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xmlns="" id="{1C6F410D-8F1A-4AAC-95E0-5B911354823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198501" y="3361451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>Lead link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xmlns="" id="{DA05A87A-EAAD-433A-896A-12322D03C4C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26300" y="2231436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>Rep link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xmlns="" id="{0B68E6D5-8A89-41D1-9266-06877A453F8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81699" y="3361451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xmlns="" id="{31180879-9F98-46D9-8F2C-D19ACAFBE39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53899" y="4491465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xmlns="" id="{7CFCFA68-E101-4315-A0ED-F2A36301DA21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326300" y="4491465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15554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E8E2F2D-4328-4EC0-833A-04CECF20C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RGANIZATIONAL CHART (</a:t>
            </a:r>
            <a:r>
              <a:rPr lang="fr-FR" dirty="0" err="1"/>
              <a:t>holocracy</a:t>
            </a:r>
            <a:r>
              <a:rPr lang="fr-FR" dirty="0"/>
              <a:t>)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382D88EE-B653-434C-94A8-1E805F41D6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/>
              <a:t>00/00/2016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5FE3D51A-193C-4011-A03B-C54CE6DADB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1F8F49E0-4A8A-48F8-A3EE-4951DFF7B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6</a:t>
            </a:fld>
            <a:endParaRPr lang="fr-FR" dirty="0"/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xmlns="" id="{A5774596-7311-4A19-8A18-7B4D50693E5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41159" y="1558794"/>
            <a:ext cx="4261682" cy="4261682"/>
          </a:xfrm>
          <a:prstGeom prst="ellipse">
            <a:avLst/>
          </a:prstGeom>
          <a:solidFill>
            <a:schemeClr val="bg1"/>
          </a:solidFill>
          <a:ln w="19050" cap="rnd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endParaRPr lang="de-DE" dirty="0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xmlns="" id="{D982F865-EAFD-44A6-9FD3-0B363CDA2464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2945499" y="4157411"/>
            <a:ext cx="51398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xmlns="" id="{FD9D14C0-B382-4D2D-B65C-E1FA093D79DD}"/>
              </a:ext>
            </a:extLst>
          </p:cNvPr>
          <p:cNvCxnSpPr>
            <a:cxnSpLocks/>
            <a:stCxn id="7" idx="0"/>
            <a:endCxn id="6" idx="2"/>
          </p:cNvCxnSpPr>
          <p:nvPr/>
        </p:nvCxnSpPr>
        <p:spPr>
          <a:xfrm flipH="1" flipV="1">
            <a:off x="4571999" y="2078767"/>
            <a:ext cx="1" cy="40308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xmlns="" id="{C8C0819B-0DEB-4FB3-9415-246B573778A5}"/>
              </a:ext>
            </a:extLst>
          </p:cNvPr>
          <p:cNvCxnSpPr>
            <a:cxnSpLocks/>
          </p:cNvCxnSpPr>
          <p:nvPr/>
        </p:nvCxnSpPr>
        <p:spPr>
          <a:xfrm flipV="1">
            <a:off x="4063365" y="4861560"/>
            <a:ext cx="219075" cy="2819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xmlns="" id="{A34BE46C-88A3-446F-AC05-BF1C53BE5A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490099" y="1422400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xmlns="" id="{E1A8ABC4-207B-4D6D-862A-957101CA660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947951" y="2515841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>
                <a:solidFill>
                  <a:schemeClr val="bg2"/>
                </a:solidFill>
                <a:latin typeface="Arial"/>
                <a:cs typeface="Arial" pitchFamily="34" charset="0"/>
              </a:rPr>
              <a:t>Lead Link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xmlns="" id="{1C6F410D-8F1A-4AAC-95E0-5B911354823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98501" y="3829227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xmlns="" id="{DA05A87A-EAAD-433A-896A-12322D03C4C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16315" y="2515841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>Rep Link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xmlns="" id="{0B68E6D5-8A89-41D1-9266-06877A453F8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1699" y="3829227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xmlns="" id="{31180879-9F98-46D9-8F2C-D19ACAFBE39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07243" y="5103524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xmlns="" id="{7CFCFA68-E101-4315-A0ED-F2A36301DA2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072957" y="5103524"/>
            <a:ext cx="2163800" cy="65636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22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2"/>
                </a:solidFill>
                <a:latin typeface="Arial"/>
                <a:cs typeface="Arial" pitchFamily="34" charset="0"/>
              </a:rPr>
              <a:t>NAME</a:t>
            </a:r>
            <a: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  <a:t/>
            </a:r>
            <a:br>
              <a:rPr lang="de-DE" sz="1200" dirty="0">
                <a:solidFill>
                  <a:schemeClr val="bg2"/>
                </a:solidFill>
                <a:latin typeface="Arial"/>
                <a:cs typeface="Arial" pitchFamily="34" charset="0"/>
              </a:rPr>
            </a:br>
            <a:r>
              <a:rPr lang="de-DE" sz="1200" dirty="0" err="1">
                <a:solidFill>
                  <a:schemeClr val="bg2"/>
                </a:solidFill>
                <a:latin typeface="Arial"/>
                <a:cs typeface="Arial" pitchFamily="34" charset="0"/>
              </a:rPr>
              <a:t>Function</a:t>
            </a:r>
            <a:endParaRPr lang="de-DE" sz="1200" dirty="0">
              <a:solidFill>
                <a:schemeClr val="bg2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xmlns="" id="{1CF33432-9869-4722-897E-A85AE6FE8FF2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5680713" y="4157411"/>
            <a:ext cx="51778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xmlns="" id="{11884B3B-8EE2-4E0F-A5D4-8C4109FEE58A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5600700" y="2844025"/>
            <a:ext cx="347251" cy="18111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xmlns="" id="{B1A7DCCD-C512-43D7-820C-D34BF3E149E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364216" y="2481851"/>
            <a:ext cx="2415569" cy="241556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/>
            <a:r>
              <a:rPr lang="de-DE" sz="1600" b="1" dirty="0">
                <a:solidFill>
                  <a:schemeClr val="accent4"/>
                </a:solidFill>
                <a:latin typeface="Arial"/>
                <a:cs typeface="Arial" pitchFamily="34" charset="0"/>
              </a:rPr>
              <a:t>DEPARTMENT</a:t>
            </a:r>
            <a:endParaRPr lang="de-DE" sz="1600" dirty="0">
              <a:solidFill>
                <a:schemeClr val="accent4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xmlns="" id="{EECE01CB-E03D-44CA-B46F-66B39EFC05E6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3180115" y="2844025"/>
            <a:ext cx="380965" cy="16841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xmlns="" id="{9222E484-1770-487D-A9BE-D5DDF5C2F321}"/>
              </a:ext>
            </a:extLst>
          </p:cNvPr>
          <p:cNvCxnSpPr>
            <a:cxnSpLocks/>
          </p:cNvCxnSpPr>
          <p:nvPr/>
        </p:nvCxnSpPr>
        <p:spPr>
          <a:xfrm flipH="1" flipV="1">
            <a:off x="4846320" y="4876800"/>
            <a:ext cx="236220" cy="27051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66298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3"/>
          <p:cNvGrpSpPr/>
          <p:nvPr/>
        </p:nvGrpSpPr>
        <p:grpSpPr bwMode="gray">
          <a:xfrm>
            <a:off x="2981835" y="1534077"/>
            <a:ext cx="180000" cy="293655"/>
            <a:chOff x="8229590" y="2216721"/>
            <a:chExt cx="956643" cy="5325466"/>
          </a:xfrm>
        </p:grpSpPr>
        <p:cxnSp>
          <p:nvCxnSpPr>
            <p:cNvPr id="15" name="Connecteur droit 1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u contenu 17"/>
          <p:cNvSpPr>
            <a:spLocks noGrp="1"/>
          </p:cNvSpPr>
          <p:nvPr>
            <p:ph idx="1"/>
          </p:nvPr>
        </p:nvSpPr>
        <p:spPr>
          <a:xfrm>
            <a:off x="464400" y="1988840"/>
            <a:ext cx="2340000" cy="4032549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0" name="Espace réservé du contenu 19"/>
          <p:cNvSpPr>
            <a:spLocks noGrp="1"/>
          </p:cNvSpPr>
          <p:nvPr>
            <p:ph idx="11"/>
          </p:nvPr>
        </p:nvSpPr>
        <p:spPr>
          <a:xfrm>
            <a:off x="3431429" y="1988839"/>
            <a:ext cx="2340000" cy="4032549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2" name="Espace réservé du contenu 21"/>
          <p:cNvSpPr>
            <a:spLocks noGrp="1"/>
          </p:cNvSpPr>
          <p:nvPr>
            <p:ph idx="13"/>
          </p:nvPr>
        </p:nvSpPr>
        <p:spPr>
          <a:xfrm>
            <a:off x="6372522" y="1988839"/>
            <a:ext cx="2340000" cy="4032549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0" name="Espace réservé du texte 3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PROCESS/PHASES, 3 PARTS</a:t>
            </a:r>
          </a:p>
        </p:txBody>
      </p:sp>
      <p:sp>
        <p:nvSpPr>
          <p:cNvPr id="23" name="Espace réservé de la date 2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6" name="Espace réservé du pied de page 2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5" name="Espace réservé du numéro de diapositive 2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7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6217076" y="1505815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24" name="Rectangle à coins arrondis 23"/>
          <p:cNvSpPr/>
          <p:nvPr/>
        </p:nvSpPr>
        <p:spPr bwMode="gray">
          <a:xfrm>
            <a:off x="3275983" y="1532319"/>
            <a:ext cx="2592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grpSp>
        <p:nvGrpSpPr>
          <p:cNvPr id="3" name="Groupe 16"/>
          <p:cNvGrpSpPr/>
          <p:nvPr/>
        </p:nvGrpSpPr>
        <p:grpSpPr bwMode="gray">
          <a:xfrm>
            <a:off x="5944312" y="1535485"/>
            <a:ext cx="180000" cy="293655"/>
            <a:chOff x="8229590" y="2216721"/>
            <a:chExt cx="956643" cy="5325466"/>
          </a:xfrm>
        </p:grpSpPr>
        <p:cxnSp>
          <p:nvCxnSpPr>
            <p:cNvPr id="19" name="Connecteur droit 18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avec flèche 20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035600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19"/>
          <p:cNvSpPr>
            <a:spLocks noGrp="1"/>
          </p:cNvSpPr>
          <p:nvPr>
            <p:ph idx="1"/>
          </p:nvPr>
        </p:nvSpPr>
        <p:spPr>
          <a:xfrm>
            <a:off x="462661" y="1989138"/>
            <a:ext cx="1800000" cy="403225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1"/>
          </p:nvPr>
        </p:nvSpPr>
        <p:spPr>
          <a:xfrm>
            <a:off x="2673098" y="1989138"/>
            <a:ext cx="1800000" cy="403225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27" name="Espace réservé du contenu 26"/>
          <p:cNvSpPr>
            <a:spLocks noGrp="1"/>
          </p:cNvSpPr>
          <p:nvPr>
            <p:ph idx="13"/>
          </p:nvPr>
        </p:nvSpPr>
        <p:spPr>
          <a:xfrm>
            <a:off x="4833338" y="1989138"/>
            <a:ext cx="1800000" cy="4032250"/>
          </a:xfrm>
        </p:spPr>
        <p:txBody>
          <a:bodyPr/>
          <a:lstStyle/>
          <a:p>
            <a:r>
              <a:rPr lang="fr-FR"/>
              <a:t>Level 1</a:t>
            </a:r>
          </a:p>
          <a:p>
            <a:pPr lvl="1"/>
            <a:r>
              <a:rPr lang="fr-FR"/>
              <a:t>Level 2</a:t>
            </a:r>
          </a:p>
          <a:p>
            <a:pPr lvl="2"/>
            <a:r>
              <a:rPr lang="fr-FR"/>
              <a:t>Level 3</a:t>
            </a:r>
            <a:endParaRPr lang="fr-FR" dirty="0"/>
          </a:p>
        </p:txBody>
      </p:sp>
      <p:sp>
        <p:nvSpPr>
          <p:cNvPr id="49" name="Espace réservé du texte 4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PROCESS/PHASES, 4 PARTS, HORIZONTAL</a:t>
            </a:r>
          </a:p>
        </p:txBody>
      </p:sp>
      <p:sp>
        <p:nvSpPr>
          <p:cNvPr id="23" name="Espace réservé de la date 2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4" name="Espace réservé du numéro de diapositive 2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8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7025" y="152082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/>
              <a:t>Text level 0 – 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4679016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/>
              <a:t>Text level 0 – 14 pts</a:t>
            </a:r>
            <a:endParaRPr lang="fr-FR" sz="1400" b="1" dirty="0"/>
          </a:p>
        </p:txBody>
      </p:sp>
      <p:sp>
        <p:nvSpPr>
          <p:cNvPr id="29" name="Espace réservé du contenu 26"/>
          <p:cNvSpPr txBox="1">
            <a:spLocks/>
          </p:cNvSpPr>
          <p:nvPr/>
        </p:nvSpPr>
        <p:spPr bwMode="gray">
          <a:xfrm>
            <a:off x="6984488" y="1989138"/>
            <a:ext cx="1800000" cy="4032250"/>
          </a:xfrm>
          <a:prstGeom prst="rect">
            <a:avLst/>
          </a:prstGeom>
        </p:spPr>
        <p:txBody>
          <a:bodyPr vert="horz" lIns="108000" tIns="0" rIns="72000" bIns="0" rtlCol="0" anchor="t" anchorCtr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"/>
              <a:tabLst/>
              <a:defRPr/>
            </a:pP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</a:t>
            </a:r>
          </a:p>
          <a:p>
            <a:pPr marL="432000" marR="0" lvl="1" indent="-252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Tx/>
              <a:buFont typeface="Arial" panose="020B0604020202020204" pitchFamily="34" charset="0"/>
              <a:buChar char="—"/>
              <a:tabLst/>
              <a:defRPr/>
            </a:pP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</a:t>
            </a:r>
          </a:p>
          <a:p>
            <a:pPr marL="576000" marR="0" lvl="2" indent="-14400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</a:t>
            </a:r>
          </a:p>
        </p:txBody>
      </p:sp>
      <p:sp>
        <p:nvSpPr>
          <p:cNvPr id="30" name="Rectangle à coins arrondis 29"/>
          <p:cNvSpPr/>
          <p:nvPr/>
        </p:nvSpPr>
        <p:spPr bwMode="gray">
          <a:xfrm>
            <a:off x="2516796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 – 14 pts</a:t>
            </a:r>
            <a:endParaRPr lang="fr-FR" sz="1400" b="1" dirty="0"/>
          </a:p>
        </p:txBody>
      </p:sp>
      <p:sp>
        <p:nvSpPr>
          <p:cNvPr id="31" name="Rectangle à coins arrondis 30"/>
          <p:cNvSpPr/>
          <p:nvPr/>
        </p:nvSpPr>
        <p:spPr bwMode="gray">
          <a:xfrm>
            <a:off x="6845678" y="1505815"/>
            <a:ext cx="1980000" cy="33481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/>
              <a:t>Text level 0 – 14 </a:t>
            </a:r>
            <a:r>
              <a:rPr lang="en-US" sz="1400" b="1" dirty="0" err="1"/>
              <a:t>pts</a:t>
            </a:r>
            <a:endParaRPr lang="fr-FR" sz="1400" b="1" dirty="0"/>
          </a:p>
        </p:txBody>
      </p:sp>
      <p:grpSp>
        <p:nvGrpSpPr>
          <p:cNvPr id="2" name="Groupe 35"/>
          <p:cNvGrpSpPr/>
          <p:nvPr/>
        </p:nvGrpSpPr>
        <p:grpSpPr bwMode="gray">
          <a:xfrm>
            <a:off x="2345739" y="1534077"/>
            <a:ext cx="144000" cy="293655"/>
            <a:chOff x="8229590" y="2216721"/>
            <a:chExt cx="956643" cy="5325466"/>
          </a:xfrm>
        </p:grpSpPr>
        <p:cxnSp>
          <p:nvCxnSpPr>
            <p:cNvPr id="38" name="Connecteur droit 37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avec flèche 38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e 40"/>
          <p:cNvGrpSpPr/>
          <p:nvPr/>
        </p:nvGrpSpPr>
        <p:grpSpPr bwMode="gray">
          <a:xfrm>
            <a:off x="4532244" y="1519067"/>
            <a:ext cx="144000" cy="293655"/>
            <a:chOff x="8229590" y="2216721"/>
            <a:chExt cx="956643" cy="5325466"/>
          </a:xfrm>
        </p:grpSpPr>
        <p:cxnSp>
          <p:nvCxnSpPr>
            <p:cNvPr id="42" name="Connecteur droit 41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avec flèche 42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43"/>
          <p:cNvGrpSpPr/>
          <p:nvPr/>
        </p:nvGrpSpPr>
        <p:grpSpPr bwMode="gray">
          <a:xfrm>
            <a:off x="6694166" y="1534077"/>
            <a:ext cx="144000" cy="293655"/>
            <a:chOff x="8229590" y="2216721"/>
            <a:chExt cx="956643" cy="5325466"/>
          </a:xfrm>
        </p:grpSpPr>
        <p:cxnSp>
          <p:nvCxnSpPr>
            <p:cNvPr id="45" name="Connecteur droit 44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avec flèche 47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510605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19"/>
          <p:cNvSpPr>
            <a:spLocks noGrp="1"/>
          </p:cNvSpPr>
          <p:nvPr>
            <p:ph idx="1"/>
          </p:nvPr>
        </p:nvSpPr>
        <p:spPr>
          <a:xfrm>
            <a:off x="3887787" y="1467038"/>
            <a:ext cx="4929187" cy="82805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fr-FR"/>
              <a:t>Level 1</a:t>
            </a:r>
          </a:p>
          <a:p>
            <a:pPr lvl="1">
              <a:spcBef>
                <a:spcPts val="0"/>
              </a:spcBef>
            </a:pPr>
            <a:r>
              <a:rPr lang="fr-FR"/>
              <a:t>Level 2</a:t>
            </a:r>
          </a:p>
          <a:p>
            <a:pPr lvl="2">
              <a:spcBef>
                <a:spcPts val="0"/>
              </a:spcBef>
            </a:pPr>
            <a:r>
              <a:rPr lang="fr-FR"/>
              <a:t>Level 3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1"/>
          </p:nvPr>
        </p:nvSpPr>
        <p:spPr>
          <a:xfrm>
            <a:off x="3887787" y="2691261"/>
            <a:ext cx="4929187" cy="828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fr-FR"/>
              <a:t>Level 1</a:t>
            </a:r>
          </a:p>
          <a:p>
            <a:pPr lvl="1">
              <a:spcBef>
                <a:spcPts val="0"/>
              </a:spcBef>
            </a:pPr>
            <a:r>
              <a:rPr lang="fr-FR"/>
              <a:t>Level 2</a:t>
            </a:r>
          </a:p>
          <a:p>
            <a:pPr lvl="2">
              <a:spcBef>
                <a:spcPts val="0"/>
              </a:spcBef>
            </a:pPr>
            <a:r>
              <a:rPr lang="fr-FR"/>
              <a:t>Level 3</a:t>
            </a:r>
            <a:endParaRPr lang="fr-FR" dirty="0"/>
          </a:p>
        </p:txBody>
      </p:sp>
      <p:sp>
        <p:nvSpPr>
          <p:cNvPr id="27" name="Espace réservé du contenu 26"/>
          <p:cNvSpPr>
            <a:spLocks noGrp="1"/>
          </p:cNvSpPr>
          <p:nvPr>
            <p:ph idx="13"/>
          </p:nvPr>
        </p:nvSpPr>
        <p:spPr>
          <a:xfrm>
            <a:off x="3887787" y="3915430"/>
            <a:ext cx="4929187" cy="828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fr-FR"/>
              <a:t>Level 1</a:t>
            </a:r>
          </a:p>
          <a:p>
            <a:pPr lvl="1">
              <a:spcBef>
                <a:spcPts val="0"/>
              </a:spcBef>
            </a:pPr>
            <a:r>
              <a:rPr lang="fr-FR"/>
              <a:t>Level 2</a:t>
            </a:r>
          </a:p>
          <a:p>
            <a:pPr lvl="2">
              <a:spcBef>
                <a:spcPts val="0"/>
              </a:spcBef>
            </a:pPr>
            <a:r>
              <a:rPr lang="fr-FR"/>
              <a:t>Level 3</a:t>
            </a:r>
            <a:endParaRPr lang="fr-FR" dirty="0"/>
          </a:p>
        </p:txBody>
      </p:sp>
      <p:sp>
        <p:nvSpPr>
          <p:cNvPr id="49" name="Espace réservé du texte 4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PROCESS/PHASES, 4 PARTS, VERTICAL</a:t>
            </a:r>
          </a:p>
        </p:txBody>
      </p:sp>
      <p:sp>
        <p:nvSpPr>
          <p:cNvPr id="43" name="Espace réservé de la date 4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45" name="Espace réservé du pied de page 4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44" name="Espace réservé du numéro de diapositive 4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9</a:t>
            </a:fld>
            <a:endParaRPr lang="fr-FR" dirty="0"/>
          </a:p>
        </p:txBody>
      </p:sp>
      <p:sp>
        <p:nvSpPr>
          <p:cNvPr id="12" name="Rectangle à coins arrondis 11"/>
          <p:cNvSpPr/>
          <p:nvPr/>
        </p:nvSpPr>
        <p:spPr bwMode="gray">
          <a:xfrm>
            <a:off x="321175" y="1520824"/>
            <a:ext cx="3154069" cy="72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</a:t>
            </a:r>
          </a:p>
          <a:p>
            <a:pPr algn="ctr"/>
            <a:r>
              <a:rPr lang="en-US" sz="1400" b="1"/>
              <a:t>14 pts</a:t>
            </a:r>
            <a:endParaRPr lang="fr-FR" sz="1400" b="1" dirty="0"/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318000" y="3948992"/>
            <a:ext cx="3154069" cy="72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</a:t>
            </a:r>
          </a:p>
          <a:p>
            <a:pPr algn="ctr"/>
            <a:r>
              <a:rPr lang="en-US" sz="1400" b="1"/>
              <a:t>14 pts</a:t>
            </a:r>
            <a:endParaRPr lang="fr-FR" sz="1400" b="1" dirty="0"/>
          </a:p>
        </p:txBody>
      </p:sp>
      <p:sp>
        <p:nvSpPr>
          <p:cNvPr id="30" name="Rectangle à coins arrondis 29"/>
          <p:cNvSpPr/>
          <p:nvPr/>
        </p:nvSpPr>
        <p:spPr bwMode="gray">
          <a:xfrm>
            <a:off x="318000" y="2734908"/>
            <a:ext cx="3154069" cy="72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</a:t>
            </a:r>
          </a:p>
          <a:p>
            <a:pPr algn="ctr"/>
            <a:r>
              <a:rPr lang="en-US" sz="1400" b="1"/>
              <a:t>14 pts</a:t>
            </a:r>
            <a:endParaRPr lang="fr-FR" sz="1400" b="1" dirty="0"/>
          </a:p>
        </p:txBody>
      </p:sp>
      <p:sp>
        <p:nvSpPr>
          <p:cNvPr id="31" name="Rectangle à coins arrondis 30"/>
          <p:cNvSpPr/>
          <p:nvPr/>
        </p:nvSpPr>
        <p:spPr bwMode="gray">
          <a:xfrm>
            <a:off x="318000" y="5163076"/>
            <a:ext cx="3154069" cy="720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/>
              <a:t>Text level 0</a:t>
            </a:r>
          </a:p>
          <a:p>
            <a:pPr algn="ctr"/>
            <a:r>
              <a:rPr lang="en-US" sz="1400" b="1"/>
              <a:t>14 pts</a:t>
            </a:r>
            <a:endParaRPr lang="fr-FR" sz="1400" b="1" dirty="0"/>
          </a:p>
        </p:txBody>
      </p:sp>
      <p:grpSp>
        <p:nvGrpSpPr>
          <p:cNvPr id="2" name="Groupe 35"/>
          <p:cNvGrpSpPr/>
          <p:nvPr/>
        </p:nvGrpSpPr>
        <p:grpSpPr bwMode="gray">
          <a:xfrm rot="5400000">
            <a:off x="1808175" y="1169669"/>
            <a:ext cx="252000" cy="2520000"/>
            <a:chOff x="8229590" y="2216721"/>
            <a:chExt cx="956643" cy="5325466"/>
          </a:xfrm>
        </p:grpSpPr>
        <p:cxnSp>
          <p:nvCxnSpPr>
            <p:cNvPr id="38" name="Connecteur droit 37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avec flèche 38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e 35"/>
          <p:cNvGrpSpPr/>
          <p:nvPr/>
        </p:nvGrpSpPr>
        <p:grpSpPr bwMode="gray">
          <a:xfrm rot="5400000">
            <a:off x="1808175" y="2394836"/>
            <a:ext cx="252000" cy="2520000"/>
            <a:chOff x="8229590" y="2216721"/>
            <a:chExt cx="956643" cy="5325466"/>
          </a:xfrm>
        </p:grpSpPr>
        <p:cxnSp>
          <p:nvCxnSpPr>
            <p:cNvPr id="24" name="Connecteur droit 23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avec flèche 24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35"/>
          <p:cNvGrpSpPr/>
          <p:nvPr/>
        </p:nvGrpSpPr>
        <p:grpSpPr bwMode="gray">
          <a:xfrm rot="5400000">
            <a:off x="1808175" y="3597021"/>
            <a:ext cx="252000" cy="2520000"/>
            <a:chOff x="8229590" y="2216721"/>
            <a:chExt cx="956643" cy="5325466"/>
          </a:xfrm>
        </p:grpSpPr>
        <p:cxnSp>
          <p:nvCxnSpPr>
            <p:cNvPr id="28" name="Connecteur droit 27"/>
            <p:cNvCxnSpPr/>
            <p:nvPr/>
          </p:nvCxnSpPr>
          <p:spPr bwMode="gray">
            <a:xfrm>
              <a:off x="8229600" y="2216721"/>
              <a:ext cx="0" cy="5325466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avec flèche 31"/>
            <p:cNvCxnSpPr/>
            <p:nvPr/>
          </p:nvCxnSpPr>
          <p:spPr bwMode="gray">
            <a:xfrm>
              <a:off x="8229590" y="4879445"/>
              <a:ext cx="956643" cy="0"/>
            </a:xfrm>
            <a:prstGeom prst="straightConnector1">
              <a:avLst/>
            </a:prstGeom>
            <a:ln w="19050">
              <a:solidFill>
                <a:schemeClr val="bg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Espace réservé du contenu 26"/>
          <p:cNvSpPr txBox="1">
            <a:spLocks/>
          </p:cNvSpPr>
          <p:nvPr/>
        </p:nvSpPr>
        <p:spPr bwMode="gray">
          <a:xfrm>
            <a:off x="3887788" y="5139600"/>
            <a:ext cx="4929187" cy="82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Tx/>
              <a:buSzPct val="80000"/>
              <a:buFont typeface="Wingdings" panose="05000000000000000000" pitchFamily="2" charset="2"/>
              <a:buChar char=""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 1</a:t>
            </a:r>
          </a:p>
          <a:p>
            <a:pPr marL="432000" marR="0" lvl="1" indent="-25200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—"/>
              <a:tabLst/>
              <a:defRPr/>
            </a:pPr>
            <a:r>
              <a:rPr kumimoji="0" lang="fr-FR" sz="13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 2</a:t>
            </a:r>
          </a:p>
          <a:p>
            <a:pPr marL="576000" marR="0" lvl="2" indent="-14400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 3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ce réservé pour une image  14" descr="6.jpg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/>
          <a:srcRect/>
          <a:stretch>
            <a:fillRect/>
          </a:stretch>
        </p:blipFill>
        <p:spPr/>
      </p:pic>
      <p:sp>
        <p:nvSpPr>
          <p:cNvPr id="7" name="Espace réservé du texte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  <a:p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</a:t>
            </a:r>
          </a:p>
          <a:p>
            <a:pPr lvl="1"/>
            <a:r>
              <a:rPr lang="fr-FR" dirty="0"/>
              <a:t>00 mois 2018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21"/>
          </p:nvPr>
        </p:nvSpPr>
        <p:spPr>
          <a:xfrm>
            <a:off x="0" y="2420928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83639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USEFUL SHAPES</a:t>
            </a:r>
            <a:endParaRPr lang="fr-FR" dirty="0"/>
          </a:p>
        </p:txBody>
      </p:sp>
      <p:sp>
        <p:nvSpPr>
          <p:cNvPr id="19" name="Espace réservé de la date 1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21" name="Espace réservé du pied de page 2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20" name="Espace réservé du numéro de diapositive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0</a:t>
            </a:fld>
            <a:endParaRPr lang="fr-FR" dirty="0"/>
          </a:p>
        </p:txBody>
      </p:sp>
      <p:graphicFrame>
        <p:nvGraphicFramePr>
          <p:cNvPr id="6" name="Graphique 5"/>
          <p:cNvGraphicFramePr/>
          <p:nvPr>
            <p:extLst>
              <p:ext uri="{D42A27DB-BD31-4B8C-83A1-F6EECF244321}">
                <p14:modId xmlns:p14="http://schemas.microsoft.com/office/powerpoint/2010/main" val="2946264731"/>
              </p:ext>
            </p:extLst>
          </p:nvPr>
        </p:nvGraphicFramePr>
        <p:xfrm>
          <a:off x="1113184" y="1694155"/>
          <a:ext cx="2738756" cy="2680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Group 5"/>
          <p:cNvGrpSpPr>
            <a:grpSpLocks noChangeAspect="1"/>
          </p:cNvGrpSpPr>
          <p:nvPr/>
        </p:nvGrpSpPr>
        <p:grpSpPr bwMode="auto">
          <a:xfrm>
            <a:off x="5352946" y="1694155"/>
            <a:ext cx="2736000" cy="2633942"/>
            <a:chOff x="-1811" y="2005"/>
            <a:chExt cx="3127" cy="3010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-1501" y="3917"/>
              <a:ext cx="2593" cy="1098"/>
            </a:xfrm>
            <a:custGeom>
              <a:avLst/>
              <a:gdLst>
                <a:gd name="T0" fmla="*/ 1014 w 1098"/>
                <a:gd name="T1" fmla="*/ 134 h 465"/>
                <a:gd name="T2" fmla="*/ 1012 w 1098"/>
                <a:gd name="T3" fmla="*/ 132 h 465"/>
                <a:gd name="T4" fmla="*/ 1012 w 1098"/>
                <a:gd name="T5" fmla="*/ 125 h 465"/>
                <a:gd name="T6" fmla="*/ 1024 w 1098"/>
                <a:gd name="T7" fmla="*/ 0 h 465"/>
                <a:gd name="T8" fmla="*/ 1020 w 1098"/>
                <a:gd name="T9" fmla="*/ 12 h 465"/>
                <a:gd name="T10" fmla="*/ 943 w 1098"/>
                <a:gd name="T11" fmla="*/ 158 h 465"/>
                <a:gd name="T12" fmla="*/ 826 w 1098"/>
                <a:gd name="T13" fmla="*/ 274 h 465"/>
                <a:gd name="T14" fmla="*/ 679 w 1098"/>
                <a:gd name="T15" fmla="*/ 350 h 465"/>
                <a:gd name="T16" fmla="*/ 517 w 1098"/>
                <a:gd name="T17" fmla="*/ 380 h 465"/>
                <a:gd name="T18" fmla="*/ 476 w 1098"/>
                <a:gd name="T19" fmla="*/ 380 h 465"/>
                <a:gd name="T20" fmla="*/ 435 w 1098"/>
                <a:gd name="T21" fmla="*/ 376 h 465"/>
                <a:gd name="T22" fmla="*/ 354 w 1098"/>
                <a:gd name="T23" fmla="*/ 360 h 465"/>
                <a:gd name="T24" fmla="*/ 314 w 1098"/>
                <a:gd name="T25" fmla="*/ 347 h 465"/>
                <a:gd name="T26" fmla="*/ 295 w 1098"/>
                <a:gd name="T27" fmla="*/ 339 h 465"/>
                <a:gd name="T28" fmla="*/ 279 w 1098"/>
                <a:gd name="T29" fmla="*/ 332 h 465"/>
                <a:gd name="T30" fmla="*/ 259 w 1098"/>
                <a:gd name="T31" fmla="*/ 323 h 465"/>
                <a:gd name="T32" fmla="*/ 220 w 1098"/>
                <a:gd name="T33" fmla="*/ 301 h 465"/>
                <a:gd name="T34" fmla="*/ 217 w 1098"/>
                <a:gd name="T35" fmla="*/ 296 h 465"/>
                <a:gd name="T36" fmla="*/ 221 w 1098"/>
                <a:gd name="T37" fmla="*/ 291 h 465"/>
                <a:gd name="T38" fmla="*/ 265 w 1098"/>
                <a:gd name="T39" fmla="*/ 267 h 465"/>
                <a:gd name="T40" fmla="*/ 129 w 1098"/>
                <a:gd name="T41" fmla="*/ 226 h 465"/>
                <a:gd name="T42" fmla="*/ 109 w 1098"/>
                <a:gd name="T43" fmla="*/ 216 h 465"/>
                <a:gd name="T44" fmla="*/ 0 w 1098"/>
                <a:gd name="T45" fmla="*/ 142 h 465"/>
                <a:gd name="T46" fmla="*/ 60 w 1098"/>
                <a:gd name="T47" fmla="*/ 287 h 465"/>
                <a:gd name="T48" fmla="*/ 60 w 1098"/>
                <a:gd name="T49" fmla="*/ 288 h 465"/>
                <a:gd name="T50" fmla="*/ 64 w 1098"/>
                <a:gd name="T51" fmla="*/ 294 h 465"/>
                <a:gd name="T52" fmla="*/ 176 w 1098"/>
                <a:gd name="T53" fmla="*/ 435 h 465"/>
                <a:gd name="T54" fmla="*/ 167 w 1098"/>
                <a:gd name="T55" fmla="*/ 380 h 465"/>
                <a:gd name="T56" fmla="*/ 170 w 1098"/>
                <a:gd name="T57" fmla="*/ 374 h 465"/>
                <a:gd name="T58" fmla="*/ 173 w 1098"/>
                <a:gd name="T59" fmla="*/ 373 h 465"/>
                <a:gd name="T60" fmla="*/ 176 w 1098"/>
                <a:gd name="T61" fmla="*/ 374 h 465"/>
                <a:gd name="T62" fmla="*/ 221 w 1098"/>
                <a:gd name="T63" fmla="*/ 399 h 465"/>
                <a:gd name="T64" fmla="*/ 244 w 1098"/>
                <a:gd name="T65" fmla="*/ 410 h 465"/>
                <a:gd name="T66" fmla="*/ 263 w 1098"/>
                <a:gd name="T67" fmla="*/ 417 h 465"/>
                <a:gd name="T68" fmla="*/ 285 w 1098"/>
                <a:gd name="T69" fmla="*/ 426 h 465"/>
                <a:gd name="T70" fmla="*/ 330 w 1098"/>
                <a:gd name="T71" fmla="*/ 441 h 465"/>
                <a:gd name="T72" fmla="*/ 424 w 1098"/>
                <a:gd name="T73" fmla="*/ 460 h 465"/>
                <a:gd name="T74" fmla="*/ 471 w 1098"/>
                <a:gd name="T75" fmla="*/ 464 h 465"/>
                <a:gd name="T76" fmla="*/ 519 w 1098"/>
                <a:gd name="T77" fmla="*/ 465 h 465"/>
                <a:gd name="T78" fmla="*/ 706 w 1098"/>
                <a:gd name="T79" fmla="*/ 430 h 465"/>
                <a:gd name="T80" fmla="*/ 875 w 1098"/>
                <a:gd name="T81" fmla="*/ 343 h 465"/>
                <a:gd name="T82" fmla="*/ 1011 w 1098"/>
                <a:gd name="T83" fmla="*/ 209 h 465"/>
                <a:gd name="T84" fmla="*/ 1098 w 1098"/>
                <a:gd name="T85" fmla="*/ 44 h 465"/>
                <a:gd name="T86" fmla="*/ 1022 w 1098"/>
                <a:gd name="T87" fmla="*/ 132 h 465"/>
                <a:gd name="T88" fmla="*/ 1014 w 1098"/>
                <a:gd name="T89" fmla="*/ 13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98" h="465">
                  <a:moveTo>
                    <a:pt x="1014" y="134"/>
                  </a:moveTo>
                  <a:cubicBezTo>
                    <a:pt x="1013" y="133"/>
                    <a:pt x="1013" y="132"/>
                    <a:pt x="1012" y="132"/>
                  </a:cubicBezTo>
                  <a:cubicBezTo>
                    <a:pt x="1011" y="130"/>
                    <a:pt x="1010" y="128"/>
                    <a:pt x="1012" y="125"/>
                  </a:cubicBezTo>
                  <a:cubicBezTo>
                    <a:pt x="1021" y="85"/>
                    <a:pt x="1025" y="43"/>
                    <a:pt x="1024" y="0"/>
                  </a:cubicBezTo>
                  <a:cubicBezTo>
                    <a:pt x="1023" y="4"/>
                    <a:pt x="1021" y="8"/>
                    <a:pt x="1020" y="12"/>
                  </a:cubicBezTo>
                  <a:cubicBezTo>
                    <a:pt x="1001" y="66"/>
                    <a:pt x="975" y="115"/>
                    <a:pt x="943" y="158"/>
                  </a:cubicBezTo>
                  <a:cubicBezTo>
                    <a:pt x="910" y="203"/>
                    <a:pt x="871" y="241"/>
                    <a:pt x="826" y="274"/>
                  </a:cubicBezTo>
                  <a:cubicBezTo>
                    <a:pt x="781" y="306"/>
                    <a:pt x="732" y="331"/>
                    <a:pt x="679" y="350"/>
                  </a:cubicBezTo>
                  <a:cubicBezTo>
                    <a:pt x="625" y="368"/>
                    <a:pt x="570" y="379"/>
                    <a:pt x="517" y="380"/>
                  </a:cubicBezTo>
                  <a:cubicBezTo>
                    <a:pt x="504" y="381"/>
                    <a:pt x="490" y="380"/>
                    <a:pt x="476" y="380"/>
                  </a:cubicBezTo>
                  <a:cubicBezTo>
                    <a:pt x="462" y="379"/>
                    <a:pt x="448" y="378"/>
                    <a:pt x="435" y="376"/>
                  </a:cubicBezTo>
                  <a:cubicBezTo>
                    <a:pt x="407" y="373"/>
                    <a:pt x="380" y="367"/>
                    <a:pt x="354" y="360"/>
                  </a:cubicBezTo>
                  <a:cubicBezTo>
                    <a:pt x="341" y="356"/>
                    <a:pt x="327" y="352"/>
                    <a:pt x="314" y="347"/>
                  </a:cubicBezTo>
                  <a:cubicBezTo>
                    <a:pt x="308" y="344"/>
                    <a:pt x="302" y="342"/>
                    <a:pt x="295" y="339"/>
                  </a:cubicBezTo>
                  <a:cubicBezTo>
                    <a:pt x="279" y="332"/>
                    <a:pt x="279" y="332"/>
                    <a:pt x="279" y="332"/>
                  </a:cubicBezTo>
                  <a:cubicBezTo>
                    <a:pt x="272" y="329"/>
                    <a:pt x="265" y="326"/>
                    <a:pt x="259" y="323"/>
                  </a:cubicBezTo>
                  <a:cubicBezTo>
                    <a:pt x="246" y="316"/>
                    <a:pt x="233" y="309"/>
                    <a:pt x="220" y="301"/>
                  </a:cubicBezTo>
                  <a:cubicBezTo>
                    <a:pt x="218" y="300"/>
                    <a:pt x="217" y="298"/>
                    <a:pt x="217" y="296"/>
                  </a:cubicBezTo>
                  <a:cubicBezTo>
                    <a:pt x="217" y="294"/>
                    <a:pt x="219" y="292"/>
                    <a:pt x="221" y="291"/>
                  </a:cubicBezTo>
                  <a:cubicBezTo>
                    <a:pt x="236" y="284"/>
                    <a:pt x="251" y="276"/>
                    <a:pt x="265" y="267"/>
                  </a:cubicBezTo>
                  <a:cubicBezTo>
                    <a:pt x="219" y="260"/>
                    <a:pt x="173" y="246"/>
                    <a:pt x="129" y="226"/>
                  </a:cubicBezTo>
                  <a:cubicBezTo>
                    <a:pt x="123" y="223"/>
                    <a:pt x="116" y="220"/>
                    <a:pt x="109" y="216"/>
                  </a:cubicBezTo>
                  <a:cubicBezTo>
                    <a:pt x="70" y="196"/>
                    <a:pt x="34" y="171"/>
                    <a:pt x="0" y="142"/>
                  </a:cubicBezTo>
                  <a:cubicBezTo>
                    <a:pt x="13" y="192"/>
                    <a:pt x="33" y="241"/>
                    <a:pt x="60" y="287"/>
                  </a:cubicBezTo>
                  <a:cubicBezTo>
                    <a:pt x="60" y="288"/>
                    <a:pt x="60" y="288"/>
                    <a:pt x="60" y="288"/>
                  </a:cubicBezTo>
                  <a:cubicBezTo>
                    <a:pt x="61" y="290"/>
                    <a:pt x="62" y="292"/>
                    <a:pt x="64" y="294"/>
                  </a:cubicBezTo>
                  <a:cubicBezTo>
                    <a:pt x="94" y="345"/>
                    <a:pt x="132" y="393"/>
                    <a:pt x="176" y="435"/>
                  </a:cubicBezTo>
                  <a:cubicBezTo>
                    <a:pt x="172" y="416"/>
                    <a:pt x="169" y="398"/>
                    <a:pt x="167" y="380"/>
                  </a:cubicBezTo>
                  <a:cubicBezTo>
                    <a:pt x="167" y="377"/>
                    <a:pt x="168" y="375"/>
                    <a:pt x="170" y="374"/>
                  </a:cubicBezTo>
                  <a:cubicBezTo>
                    <a:pt x="171" y="373"/>
                    <a:pt x="172" y="373"/>
                    <a:pt x="173" y="373"/>
                  </a:cubicBezTo>
                  <a:cubicBezTo>
                    <a:pt x="174" y="373"/>
                    <a:pt x="175" y="373"/>
                    <a:pt x="176" y="374"/>
                  </a:cubicBezTo>
                  <a:cubicBezTo>
                    <a:pt x="191" y="383"/>
                    <a:pt x="206" y="391"/>
                    <a:pt x="221" y="399"/>
                  </a:cubicBezTo>
                  <a:cubicBezTo>
                    <a:pt x="229" y="402"/>
                    <a:pt x="236" y="406"/>
                    <a:pt x="244" y="410"/>
                  </a:cubicBezTo>
                  <a:cubicBezTo>
                    <a:pt x="263" y="417"/>
                    <a:pt x="263" y="417"/>
                    <a:pt x="263" y="417"/>
                  </a:cubicBezTo>
                  <a:cubicBezTo>
                    <a:pt x="270" y="420"/>
                    <a:pt x="278" y="423"/>
                    <a:pt x="285" y="426"/>
                  </a:cubicBezTo>
                  <a:cubicBezTo>
                    <a:pt x="300" y="432"/>
                    <a:pt x="315" y="437"/>
                    <a:pt x="330" y="441"/>
                  </a:cubicBezTo>
                  <a:cubicBezTo>
                    <a:pt x="361" y="449"/>
                    <a:pt x="392" y="456"/>
                    <a:pt x="424" y="460"/>
                  </a:cubicBezTo>
                  <a:cubicBezTo>
                    <a:pt x="439" y="462"/>
                    <a:pt x="455" y="463"/>
                    <a:pt x="471" y="464"/>
                  </a:cubicBezTo>
                  <a:cubicBezTo>
                    <a:pt x="488" y="465"/>
                    <a:pt x="503" y="465"/>
                    <a:pt x="519" y="465"/>
                  </a:cubicBezTo>
                  <a:cubicBezTo>
                    <a:pt x="581" y="463"/>
                    <a:pt x="644" y="451"/>
                    <a:pt x="706" y="430"/>
                  </a:cubicBezTo>
                  <a:cubicBezTo>
                    <a:pt x="767" y="409"/>
                    <a:pt x="824" y="380"/>
                    <a:pt x="875" y="343"/>
                  </a:cubicBezTo>
                  <a:cubicBezTo>
                    <a:pt x="927" y="305"/>
                    <a:pt x="973" y="260"/>
                    <a:pt x="1011" y="209"/>
                  </a:cubicBezTo>
                  <a:cubicBezTo>
                    <a:pt x="1047" y="159"/>
                    <a:pt x="1077" y="104"/>
                    <a:pt x="1098" y="44"/>
                  </a:cubicBezTo>
                  <a:cubicBezTo>
                    <a:pt x="1075" y="77"/>
                    <a:pt x="1049" y="106"/>
                    <a:pt x="1022" y="132"/>
                  </a:cubicBezTo>
                  <a:cubicBezTo>
                    <a:pt x="1020" y="134"/>
                    <a:pt x="1017" y="135"/>
                    <a:pt x="1014" y="1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-616" y="2005"/>
              <a:ext cx="1932" cy="2171"/>
            </a:xfrm>
            <a:custGeom>
              <a:avLst/>
              <a:gdLst>
                <a:gd name="T0" fmla="*/ 789 w 818"/>
                <a:gd name="T1" fmla="*/ 647 h 919"/>
                <a:gd name="T2" fmla="*/ 767 w 818"/>
                <a:gd name="T3" fmla="*/ 657 h 919"/>
                <a:gd name="T4" fmla="*/ 765 w 818"/>
                <a:gd name="T5" fmla="*/ 639 h 919"/>
                <a:gd name="T6" fmla="*/ 765 w 818"/>
                <a:gd name="T7" fmla="*/ 600 h 919"/>
                <a:gd name="T8" fmla="*/ 763 w 818"/>
                <a:gd name="T9" fmla="*/ 566 h 919"/>
                <a:gd name="T10" fmla="*/ 758 w 818"/>
                <a:gd name="T11" fmla="*/ 530 h 919"/>
                <a:gd name="T12" fmla="*/ 672 w 818"/>
                <a:gd name="T13" fmla="*/ 306 h 919"/>
                <a:gd name="T14" fmla="*/ 388 w 818"/>
                <a:gd name="T15" fmla="*/ 55 h 919"/>
                <a:gd name="T16" fmla="*/ 138 w 818"/>
                <a:gd name="T17" fmla="*/ 0 h 919"/>
                <a:gd name="T18" fmla="*/ 0 w 818"/>
                <a:gd name="T19" fmla="*/ 15 h 919"/>
                <a:gd name="T20" fmla="*/ 7 w 818"/>
                <a:gd name="T21" fmla="*/ 16 h 919"/>
                <a:gd name="T22" fmla="*/ 28 w 818"/>
                <a:gd name="T23" fmla="*/ 18 h 919"/>
                <a:gd name="T24" fmla="*/ 48 w 818"/>
                <a:gd name="T25" fmla="*/ 21 h 919"/>
                <a:gd name="T26" fmla="*/ 71 w 818"/>
                <a:gd name="T27" fmla="*/ 25 h 919"/>
                <a:gd name="T28" fmla="*/ 92 w 818"/>
                <a:gd name="T29" fmla="*/ 30 h 919"/>
                <a:gd name="T30" fmla="*/ 111 w 818"/>
                <a:gd name="T31" fmla="*/ 35 h 919"/>
                <a:gd name="T32" fmla="*/ 133 w 818"/>
                <a:gd name="T33" fmla="*/ 41 h 919"/>
                <a:gd name="T34" fmla="*/ 135 w 818"/>
                <a:gd name="T35" fmla="*/ 45 h 919"/>
                <a:gd name="T36" fmla="*/ 135 w 818"/>
                <a:gd name="T37" fmla="*/ 47 h 919"/>
                <a:gd name="T38" fmla="*/ 135 w 818"/>
                <a:gd name="T39" fmla="*/ 48 h 919"/>
                <a:gd name="T40" fmla="*/ 113 w 818"/>
                <a:gd name="T41" fmla="*/ 57 h 919"/>
                <a:gd name="T42" fmla="*/ 96 w 818"/>
                <a:gd name="T43" fmla="*/ 64 h 919"/>
                <a:gd name="T44" fmla="*/ 76 w 818"/>
                <a:gd name="T45" fmla="*/ 72 h 919"/>
                <a:gd name="T46" fmla="*/ 60 w 818"/>
                <a:gd name="T47" fmla="*/ 79 h 919"/>
                <a:gd name="T48" fmla="*/ 44 w 818"/>
                <a:gd name="T49" fmla="*/ 87 h 919"/>
                <a:gd name="T50" fmla="*/ 26 w 818"/>
                <a:gd name="T51" fmla="*/ 96 h 919"/>
                <a:gd name="T52" fmla="*/ 193 w 818"/>
                <a:gd name="T53" fmla="*/ 88 h 919"/>
                <a:gd name="T54" fmla="*/ 492 w 818"/>
                <a:gd name="T55" fmla="*/ 223 h 919"/>
                <a:gd name="T56" fmla="*/ 674 w 818"/>
                <a:gd name="T57" fmla="*/ 543 h 919"/>
                <a:gd name="T58" fmla="*/ 678 w 818"/>
                <a:gd name="T59" fmla="*/ 574 h 919"/>
                <a:gd name="T60" fmla="*/ 680 w 818"/>
                <a:gd name="T61" fmla="*/ 603 h 919"/>
                <a:gd name="T62" fmla="*/ 680 w 818"/>
                <a:gd name="T63" fmla="*/ 636 h 919"/>
                <a:gd name="T64" fmla="*/ 676 w 818"/>
                <a:gd name="T65" fmla="*/ 652 h 919"/>
                <a:gd name="T66" fmla="*/ 656 w 818"/>
                <a:gd name="T67" fmla="*/ 641 h 919"/>
                <a:gd name="T68" fmla="*/ 628 w 818"/>
                <a:gd name="T69" fmla="*/ 624 h 919"/>
                <a:gd name="T70" fmla="*/ 630 w 818"/>
                <a:gd name="T71" fmla="*/ 627 h 919"/>
                <a:gd name="T72" fmla="*/ 635 w 818"/>
                <a:gd name="T73" fmla="*/ 644 h 919"/>
                <a:gd name="T74" fmla="*/ 658 w 818"/>
                <a:gd name="T75" fmla="*/ 765 h 919"/>
                <a:gd name="T76" fmla="*/ 659 w 818"/>
                <a:gd name="T77" fmla="*/ 773 h 919"/>
                <a:gd name="T78" fmla="*/ 652 w 818"/>
                <a:gd name="T79" fmla="*/ 919 h 919"/>
                <a:gd name="T80" fmla="*/ 750 w 818"/>
                <a:gd name="T81" fmla="*/ 787 h 919"/>
                <a:gd name="T82" fmla="*/ 809 w 818"/>
                <a:gd name="T83" fmla="*/ 654 h 919"/>
                <a:gd name="T84" fmla="*/ 816 w 818"/>
                <a:gd name="T85" fmla="*/ 632 h 919"/>
                <a:gd name="T86" fmla="*/ 818 w 818"/>
                <a:gd name="T87" fmla="*/ 62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8" h="919">
                  <a:moveTo>
                    <a:pt x="804" y="635"/>
                  </a:moveTo>
                  <a:cubicBezTo>
                    <a:pt x="798" y="639"/>
                    <a:pt x="793" y="643"/>
                    <a:pt x="789" y="647"/>
                  </a:cubicBezTo>
                  <a:cubicBezTo>
                    <a:pt x="783" y="650"/>
                    <a:pt x="778" y="654"/>
                    <a:pt x="773" y="657"/>
                  </a:cubicBezTo>
                  <a:cubicBezTo>
                    <a:pt x="772" y="658"/>
                    <a:pt x="769" y="658"/>
                    <a:pt x="767" y="657"/>
                  </a:cubicBezTo>
                  <a:cubicBezTo>
                    <a:pt x="765" y="656"/>
                    <a:pt x="764" y="654"/>
                    <a:pt x="764" y="652"/>
                  </a:cubicBezTo>
                  <a:cubicBezTo>
                    <a:pt x="765" y="639"/>
                    <a:pt x="765" y="639"/>
                    <a:pt x="765" y="639"/>
                  </a:cubicBezTo>
                  <a:cubicBezTo>
                    <a:pt x="765" y="635"/>
                    <a:pt x="765" y="630"/>
                    <a:pt x="765" y="626"/>
                  </a:cubicBezTo>
                  <a:cubicBezTo>
                    <a:pt x="765" y="617"/>
                    <a:pt x="765" y="608"/>
                    <a:pt x="765" y="600"/>
                  </a:cubicBezTo>
                  <a:cubicBezTo>
                    <a:pt x="765" y="592"/>
                    <a:pt x="764" y="583"/>
                    <a:pt x="763" y="574"/>
                  </a:cubicBezTo>
                  <a:cubicBezTo>
                    <a:pt x="763" y="566"/>
                    <a:pt x="763" y="566"/>
                    <a:pt x="763" y="566"/>
                  </a:cubicBezTo>
                  <a:cubicBezTo>
                    <a:pt x="762" y="562"/>
                    <a:pt x="762" y="558"/>
                    <a:pt x="761" y="554"/>
                  </a:cubicBezTo>
                  <a:cubicBezTo>
                    <a:pt x="760" y="546"/>
                    <a:pt x="759" y="538"/>
                    <a:pt x="758" y="530"/>
                  </a:cubicBezTo>
                  <a:cubicBezTo>
                    <a:pt x="755" y="514"/>
                    <a:pt x="752" y="498"/>
                    <a:pt x="748" y="482"/>
                  </a:cubicBezTo>
                  <a:cubicBezTo>
                    <a:pt x="732" y="421"/>
                    <a:pt x="707" y="362"/>
                    <a:pt x="672" y="306"/>
                  </a:cubicBezTo>
                  <a:cubicBezTo>
                    <a:pt x="638" y="251"/>
                    <a:pt x="597" y="202"/>
                    <a:pt x="549" y="159"/>
                  </a:cubicBezTo>
                  <a:cubicBezTo>
                    <a:pt x="500" y="116"/>
                    <a:pt x="446" y="81"/>
                    <a:pt x="388" y="55"/>
                  </a:cubicBezTo>
                  <a:cubicBezTo>
                    <a:pt x="329" y="28"/>
                    <a:pt x="266" y="10"/>
                    <a:pt x="202" y="4"/>
                  </a:cubicBezTo>
                  <a:cubicBezTo>
                    <a:pt x="181" y="1"/>
                    <a:pt x="159" y="0"/>
                    <a:pt x="138" y="0"/>
                  </a:cubicBezTo>
                  <a:cubicBezTo>
                    <a:pt x="95" y="0"/>
                    <a:pt x="52" y="5"/>
                    <a:pt x="10" y="13"/>
                  </a:cubicBezTo>
                  <a:cubicBezTo>
                    <a:pt x="7" y="14"/>
                    <a:pt x="4" y="15"/>
                    <a:pt x="0" y="15"/>
                  </a:cubicBezTo>
                  <a:cubicBezTo>
                    <a:pt x="1" y="15"/>
                    <a:pt x="2" y="16"/>
                    <a:pt x="2" y="16"/>
                  </a:cubicBezTo>
                  <a:cubicBezTo>
                    <a:pt x="4" y="16"/>
                    <a:pt x="6" y="16"/>
                    <a:pt x="7" y="16"/>
                  </a:cubicBezTo>
                  <a:cubicBezTo>
                    <a:pt x="12" y="17"/>
                    <a:pt x="17" y="17"/>
                    <a:pt x="22" y="18"/>
                  </a:cubicBezTo>
                  <a:cubicBezTo>
                    <a:pt x="24" y="18"/>
                    <a:pt x="26" y="18"/>
                    <a:pt x="28" y="18"/>
                  </a:cubicBezTo>
                  <a:cubicBezTo>
                    <a:pt x="33" y="19"/>
                    <a:pt x="38" y="20"/>
                    <a:pt x="43" y="20"/>
                  </a:cubicBezTo>
                  <a:cubicBezTo>
                    <a:pt x="44" y="21"/>
                    <a:pt x="46" y="21"/>
                    <a:pt x="48" y="21"/>
                  </a:cubicBezTo>
                  <a:cubicBezTo>
                    <a:pt x="54" y="22"/>
                    <a:pt x="61" y="23"/>
                    <a:pt x="67" y="24"/>
                  </a:cubicBezTo>
                  <a:cubicBezTo>
                    <a:pt x="68" y="25"/>
                    <a:pt x="69" y="25"/>
                    <a:pt x="71" y="25"/>
                  </a:cubicBezTo>
                  <a:cubicBezTo>
                    <a:pt x="76" y="26"/>
                    <a:pt x="81" y="27"/>
                    <a:pt x="86" y="28"/>
                  </a:cubicBezTo>
                  <a:cubicBezTo>
                    <a:pt x="88" y="29"/>
                    <a:pt x="90" y="29"/>
                    <a:pt x="92" y="30"/>
                  </a:cubicBezTo>
                  <a:cubicBezTo>
                    <a:pt x="97" y="31"/>
                    <a:pt x="101" y="32"/>
                    <a:pt x="106" y="33"/>
                  </a:cubicBezTo>
                  <a:cubicBezTo>
                    <a:pt x="108" y="34"/>
                    <a:pt x="109" y="34"/>
                    <a:pt x="111" y="35"/>
                  </a:cubicBezTo>
                  <a:cubicBezTo>
                    <a:pt x="118" y="36"/>
                    <a:pt x="124" y="38"/>
                    <a:pt x="130" y="40"/>
                  </a:cubicBezTo>
                  <a:cubicBezTo>
                    <a:pt x="131" y="40"/>
                    <a:pt x="132" y="40"/>
                    <a:pt x="133" y="41"/>
                  </a:cubicBezTo>
                  <a:cubicBezTo>
                    <a:pt x="134" y="42"/>
                    <a:pt x="135" y="44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6"/>
                  </a:cubicBezTo>
                  <a:cubicBezTo>
                    <a:pt x="135" y="46"/>
                    <a:pt x="135" y="46"/>
                    <a:pt x="135" y="47"/>
                  </a:cubicBezTo>
                  <a:cubicBezTo>
                    <a:pt x="135" y="47"/>
                    <a:pt x="135" y="47"/>
                    <a:pt x="135" y="47"/>
                  </a:cubicBezTo>
                  <a:cubicBezTo>
                    <a:pt x="135" y="47"/>
                    <a:pt x="135" y="48"/>
                    <a:pt x="135" y="48"/>
                  </a:cubicBezTo>
                  <a:cubicBezTo>
                    <a:pt x="134" y="50"/>
                    <a:pt x="132" y="52"/>
                    <a:pt x="130" y="52"/>
                  </a:cubicBezTo>
                  <a:cubicBezTo>
                    <a:pt x="124" y="54"/>
                    <a:pt x="119" y="56"/>
                    <a:pt x="113" y="57"/>
                  </a:cubicBezTo>
                  <a:cubicBezTo>
                    <a:pt x="112" y="58"/>
                    <a:pt x="110" y="59"/>
                    <a:pt x="109" y="59"/>
                  </a:cubicBezTo>
                  <a:cubicBezTo>
                    <a:pt x="104" y="61"/>
                    <a:pt x="100" y="62"/>
                    <a:pt x="96" y="64"/>
                  </a:cubicBezTo>
                  <a:cubicBezTo>
                    <a:pt x="95" y="64"/>
                    <a:pt x="93" y="65"/>
                    <a:pt x="92" y="65"/>
                  </a:cubicBezTo>
                  <a:cubicBezTo>
                    <a:pt x="86" y="67"/>
                    <a:pt x="81" y="70"/>
                    <a:pt x="76" y="72"/>
                  </a:cubicBezTo>
                  <a:cubicBezTo>
                    <a:pt x="75" y="72"/>
                    <a:pt x="75" y="72"/>
                    <a:pt x="74" y="73"/>
                  </a:cubicBezTo>
                  <a:cubicBezTo>
                    <a:pt x="70" y="75"/>
                    <a:pt x="65" y="77"/>
                    <a:pt x="60" y="79"/>
                  </a:cubicBezTo>
                  <a:cubicBezTo>
                    <a:pt x="59" y="80"/>
                    <a:pt x="57" y="80"/>
                    <a:pt x="56" y="81"/>
                  </a:cubicBezTo>
                  <a:cubicBezTo>
                    <a:pt x="52" y="83"/>
                    <a:pt x="48" y="85"/>
                    <a:pt x="44" y="87"/>
                  </a:cubicBezTo>
                  <a:cubicBezTo>
                    <a:pt x="43" y="88"/>
                    <a:pt x="41" y="88"/>
                    <a:pt x="40" y="89"/>
                  </a:cubicBezTo>
                  <a:cubicBezTo>
                    <a:pt x="35" y="91"/>
                    <a:pt x="31" y="94"/>
                    <a:pt x="26" y="96"/>
                  </a:cubicBezTo>
                  <a:cubicBezTo>
                    <a:pt x="26" y="96"/>
                    <a:pt x="27" y="96"/>
                    <a:pt x="27" y="96"/>
                  </a:cubicBezTo>
                  <a:cubicBezTo>
                    <a:pt x="82" y="85"/>
                    <a:pt x="139" y="82"/>
                    <a:pt x="193" y="88"/>
                  </a:cubicBezTo>
                  <a:cubicBezTo>
                    <a:pt x="248" y="94"/>
                    <a:pt x="302" y="108"/>
                    <a:pt x="353" y="132"/>
                  </a:cubicBezTo>
                  <a:cubicBezTo>
                    <a:pt x="403" y="154"/>
                    <a:pt x="450" y="185"/>
                    <a:pt x="492" y="223"/>
                  </a:cubicBezTo>
                  <a:cubicBezTo>
                    <a:pt x="578" y="298"/>
                    <a:pt x="639" y="398"/>
                    <a:pt x="666" y="503"/>
                  </a:cubicBezTo>
                  <a:cubicBezTo>
                    <a:pt x="669" y="516"/>
                    <a:pt x="672" y="530"/>
                    <a:pt x="674" y="543"/>
                  </a:cubicBezTo>
                  <a:cubicBezTo>
                    <a:pt x="675" y="550"/>
                    <a:pt x="676" y="557"/>
                    <a:pt x="677" y="564"/>
                  </a:cubicBezTo>
                  <a:cubicBezTo>
                    <a:pt x="678" y="567"/>
                    <a:pt x="678" y="571"/>
                    <a:pt x="678" y="574"/>
                  </a:cubicBezTo>
                  <a:cubicBezTo>
                    <a:pt x="679" y="581"/>
                    <a:pt x="679" y="581"/>
                    <a:pt x="679" y="581"/>
                  </a:cubicBezTo>
                  <a:cubicBezTo>
                    <a:pt x="680" y="589"/>
                    <a:pt x="680" y="596"/>
                    <a:pt x="680" y="603"/>
                  </a:cubicBezTo>
                  <a:cubicBezTo>
                    <a:pt x="681" y="610"/>
                    <a:pt x="681" y="617"/>
                    <a:pt x="680" y="625"/>
                  </a:cubicBezTo>
                  <a:cubicBezTo>
                    <a:pt x="680" y="628"/>
                    <a:pt x="680" y="632"/>
                    <a:pt x="680" y="636"/>
                  </a:cubicBezTo>
                  <a:cubicBezTo>
                    <a:pt x="680" y="647"/>
                    <a:pt x="680" y="647"/>
                    <a:pt x="680" y="647"/>
                  </a:cubicBezTo>
                  <a:cubicBezTo>
                    <a:pt x="680" y="649"/>
                    <a:pt x="678" y="651"/>
                    <a:pt x="676" y="652"/>
                  </a:cubicBezTo>
                  <a:cubicBezTo>
                    <a:pt x="674" y="653"/>
                    <a:pt x="672" y="653"/>
                    <a:pt x="670" y="651"/>
                  </a:cubicBezTo>
                  <a:cubicBezTo>
                    <a:pt x="665" y="648"/>
                    <a:pt x="661" y="645"/>
                    <a:pt x="656" y="641"/>
                  </a:cubicBezTo>
                  <a:cubicBezTo>
                    <a:pt x="652" y="638"/>
                    <a:pt x="647" y="635"/>
                    <a:pt x="642" y="632"/>
                  </a:cubicBezTo>
                  <a:cubicBezTo>
                    <a:pt x="638" y="629"/>
                    <a:pt x="633" y="626"/>
                    <a:pt x="628" y="624"/>
                  </a:cubicBezTo>
                  <a:cubicBezTo>
                    <a:pt x="629" y="624"/>
                    <a:pt x="629" y="625"/>
                    <a:pt x="629" y="625"/>
                  </a:cubicBezTo>
                  <a:cubicBezTo>
                    <a:pt x="630" y="627"/>
                    <a:pt x="630" y="627"/>
                    <a:pt x="630" y="627"/>
                  </a:cubicBezTo>
                  <a:cubicBezTo>
                    <a:pt x="630" y="629"/>
                    <a:pt x="631" y="632"/>
                    <a:pt x="632" y="634"/>
                  </a:cubicBezTo>
                  <a:cubicBezTo>
                    <a:pt x="635" y="644"/>
                    <a:pt x="635" y="644"/>
                    <a:pt x="635" y="644"/>
                  </a:cubicBezTo>
                  <a:cubicBezTo>
                    <a:pt x="639" y="657"/>
                    <a:pt x="642" y="670"/>
                    <a:pt x="645" y="684"/>
                  </a:cubicBezTo>
                  <a:cubicBezTo>
                    <a:pt x="651" y="711"/>
                    <a:pt x="656" y="739"/>
                    <a:pt x="658" y="765"/>
                  </a:cubicBezTo>
                  <a:cubicBezTo>
                    <a:pt x="659" y="768"/>
                    <a:pt x="659" y="771"/>
                    <a:pt x="659" y="773"/>
                  </a:cubicBezTo>
                  <a:cubicBezTo>
                    <a:pt x="659" y="773"/>
                    <a:pt x="659" y="773"/>
                    <a:pt x="659" y="773"/>
                  </a:cubicBezTo>
                  <a:cubicBezTo>
                    <a:pt x="661" y="792"/>
                    <a:pt x="661" y="811"/>
                    <a:pt x="661" y="829"/>
                  </a:cubicBezTo>
                  <a:cubicBezTo>
                    <a:pt x="661" y="860"/>
                    <a:pt x="658" y="890"/>
                    <a:pt x="652" y="919"/>
                  </a:cubicBezTo>
                  <a:cubicBezTo>
                    <a:pt x="683" y="888"/>
                    <a:pt x="712" y="851"/>
                    <a:pt x="737" y="810"/>
                  </a:cubicBezTo>
                  <a:cubicBezTo>
                    <a:pt x="742" y="802"/>
                    <a:pt x="746" y="794"/>
                    <a:pt x="750" y="787"/>
                  </a:cubicBezTo>
                  <a:cubicBezTo>
                    <a:pt x="765" y="760"/>
                    <a:pt x="779" y="731"/>
                    <a:pt x="792" y="700"/>
                  </a:cubicBezTo>
                  <a:cubicBezTo>
                    <a:pt x="798" y="685"/>
                    <a:pt x="803" y="670"/>
                    <a:pt x="809" y="654"/>
                  </a:cubicBezTo>
                  <a:cubicBezTo>
                    <a:pt x="813" y="643"/>
                    <a:pt x="813" y="643"/>
                    <a:pt x="813" y="643"/>
                  </a:cubicBezTo>
                  <a:cubicBezTo>
                    <a:pt x="814" y="639"/>
                    <a:pt x="815" y="635"/>
                    <a:pt x="816" y="632"/>
                  </a:cubicBezTo>
                  <a:cubicBezTo>
                    <a:pt x="816" y="630"/>
                    <a:pt x="816" y="630"/>
                    <a:pt x="816" y="630"/>
                  </a:cubicBezTo>
                  <a:cubicBezTo>
                    <a:pt x="817" y="628"/>
                    <a:pt x="818" y="626"/>
                    <a:pt x="818" y="623"/>
                  </a:cubicBezTo>
                  <a:cubicBezTo>
                    <a:pt x="813" y="627"/>
                    <a:pt x="809" y="631"/>
                    <a:pt x="804" y="63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-1811" y="2067"/>
              <a:ext cx="1453" cy="2454"/>
            </a:xfrm>
            <a:custGeom>
              <a:avLst/>
              <a:gdLst>
                <a:gd name="T0" fmla="*/ 148 w 615"/>
                <a:gd name="T1" fmla="*/ 1012 h 1039"/>
                <a:gd name="T2" fmla="*/ 141 w 615"/>
                <a:gd name="T3" fmla="*/ 993 h 1039"/>
                <a:gd name="T4" fmla="*/ 133 w 615"/>
                <a:gd name="T5" fmla="*/ 971 h 1039"/>
                <a:gd name="T6" fmla="*/ 126 w 615"/>
                <a:gd name="T7" fmla="*/ 949 h 1039"/>
                <a:gd name="T8" fmla="*/ 120 w 615"/>
                <a:gd name="T9" fmla="*/ 929 h 1039"/>
                <a:gd name="T10" fmla="*/ 115 w 615"/>
                <a:gd name="T11" fmla="*/ 908 h 1039"/>
                <a:gd name="T12" fmla="*/ 120 w 615"/>
                <a:gd name="T13" fmla="*/ 901 h 1039"/>
                <a:gd name="T14" fmla="*/ 126 w 615"/>
                <a:gd name="T15" fmla="*/ 904 h 1039"/>
                <a:gd name="T16" fmla="*/ 142 w 615"/>
                <a:gd name="T17" fmla="*/ 918 h 1039"/>
                <a:gd name="T18" fmla="*/ 155 w 615"/>
                <a:gd name="T19" fmla="*/ 929 h 1039"/>
                <a:gd name="T20" fmla="*/ 169 w 615"/>
                <a:gd name="T21" fmla="*/ 940 h 1039"/>
                <a:gd name="T22" fmla="*/ 185 w 615"/>
                <a:gd name="T23" fmla="*/ 952 h 1039"/>
                <a:gd name="T24" fmla="*/ 199 w 615"/>
                <a:gd name="T25" fmla="*/ 961 h 1039"/>
                <a:gd name="T26" fmla="*/ 213 w 615"/>
                <a:gd name="T27" fmla="*/ 970 h 1039"/>
                <a:gd name="T28" fmla="*/ 89 w 615"/>
                <a:gd name="T29" fmla="*/ 675 h 1039"/>
                <a:gd name="T30" fmla="*/ 85 w 615"/>
                <a:gd name="T31" fmla="*/ 612 h 1039"/>
                <a:gd name="T32" fmla="*/ 95 w 615"/>
                <a:gd name="T33" fmla="*/ 509 h 1039"/>
                <a:gd name="T34" fmla="*/ 250 w 615"/>
                <a:gd name="T35" fmla="*/ 220 h 1039"/>
                <a:gd name="T36" fmla="*/ 297 w 615"/>
                <a:gd name="T37" fmla="*/ 178 h 1039"/>
                <a:gd name="T38" fmla="*/ 329 w 615"/>
                <a:gd name="T39" fmla="*/ 155 h 1039"/>
                <a:gd name="T40" fmla="*/ 373 w 615"/>
                <a:gd name="T41" fmla="*/ 132 h 1039"/>
                <a:gd name="T42" fmla="*/ 375 w 615"/>
                <a:gd name="T43" fmla="*/ 188 h 1039"/>
                <a:gd name="T44" fmla="*/ 492 w 615"/>
                <a:gd name="T45" fmla="*/ 81 h 1039"/>
                <a:gd name="T46" fmla="*/ 466 w 615"/>
                <a:gd name="T47" fmla="*/ 0 h 1039"/>
                <a:gd name="T48" fmla="*/ 273 w 615"/>
                <a:gd name="T49" fmla="*/ 27 h 1039"/>
                <a:gd name="T50" fmla="*/ 329 w 615"/>
                <a:gd name="T51" fmla="*/ 52 h 1039"/>
                <a:gd name="T52" fmla="*/ 282 w 615"/>
                <a:gd name="T53" fmla="*/ 85 h 1039"/>
                <a:gd name="T54" fmla="*/ 255 w 615"/>
                <a:gd name="T55" fmla="*/ 104 h 1039"/>
                <a:gd name="T56" fmla="*/ 227 w 615"/>
                <a:gd name="T57" fmla="*/ 127 h 1039"/>
                <a:gd name="T58" fmla="*/ 76 w 615"/>
                <a:gd name="T59" fmla="*/ 312 h 1039"/>
                <a:gd name="T60" fmla="*/ 1 w 615"/>
                <a:gd name="T61" fmla="*/ 588 h 1039"/>
                <a:gd name="T62" fmla="*/ 1 w 615"/>
                <a:gd name="T63" fmla="*/ 636 h 1039"/>
                <a:gd name="T64" fmla="*/ 54 w 615"/>
                <a:gd name="T65" fmla="*/ 869 h 1039"/>
                <a:gd name="T66" fmla="*/ 160 w 615"/>
                <a:gd name="T67" fmla="*/ 1039 h 1039"/>
                <a:gd name="T68" fmla="*/ 158 w 615"/>
                <a:gd name="T69" fmla="*/ 1032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5" h="1039">
                  <a:moveTo>
                    <a:pt x="151" y="1018"/>
                  </a:moveTo>
                  <a:cubicBezTo>
                    <a:pt x="150" y="1016"/>
                    <a:pt x="149" y="1014"/>
                    <a:pt x="148" y="1012"/>
                  </a:cubicBezTo>
                  <a:cubicBezTo>
                    <a:pt x="146" y="1007"/>
                    <a:pt x="145" y="1003"/>
                    <a:pt x="143" y="998"/>
                  </a:cubicBezTo>
                  <a:cubicBezTo>
                    <a:pt x="142" y="996"/>
                    <a:pt x="141" y="995"/>
                    <a:pt x="141" y="993"/>
                  </a:cubicBezTo>
                  <a:cubicBezTo>
                    <a:pt x="138" y="987"/>
                    <a:pt x="136" y="980"/>
                    <a:pt x="134" y="974"/>
                  </a:cubicBezTo>
                  <a:cubicBezTo>
                    <a:pt x="133" y="973"/>
                    <a:pt x="133" y="972"/>
                    <a:pt x="133" y="971"/>
                  </a:cubicBezTo>
                  <a:cubicBezTo>
                    <a:pt x="131" y="966"/>
                    <a:pt x="129" y="960"/>
                    <a:pt x="127" y="955"/>
                  </a:cubicBezTo>
                  <a:cubicBezTo>
                    <a:pt x="127" y="953"/>
                    <a:pt x="126" y="951"/>
                    <a:pt x="126" y="949"/>
                  </a:cubicBezTo>
                  <a:cubicBezTo>
                    <a:pt x="124" y="944"/>
                    <a:pt x="123" y="940"/>
                    <a:pt x="121" y="935"/>
                  </a:cubicBezTo>
                  <a:cubicBezTo>
                    <a:pt x="121" y="933"/>
                    <a:pt x="120" y="931"/>
                    <a:pt x="120" y="929"/>
                  </a:cubicBezTo>
                  <a:cubicBezTo>
                    <a:pt x="118" y="923"/>
                    <a:pt x="117" y="916"/>
                    <a:pt x="115" y="910"/>
                  </a:cubicBezTo>
                  <a:cubicBezTo>
                    <a:pt x="115" y="909"/>
                    <a:pt x="115" y="908"/>
                    <a:pt x="115" y="908"/>
                  </a:cubicBezTo>
                  <a:cubicBezTo>
                    <a:pt x="114" y="906"/>
                    <a:pt x="115" y="903"/>
                    <a:pt x="117" y="902"/>
                  </a:cubicBezTo>
                  <a:cubicBezTo>
                    <a:pt x="118" y="902"/>
                    <a:pt x="119" y="901"/>
                    <a:pt x="120" y="901"/>
                  </a:cubicBezTo>
                  <a:cubicBezTo>
                    <a:pt x="120" y="901"/>
                    <a:pt x="120" y="901"/>
                    <a:pt x="120" y="901"/>
                  </a:cubicBezTo>
                  <a:cubicBezTo>
                    <a:pt x="123" y="901"/>
                    <a:pt x="125" y="902"/>
                    <a:pt x="126" y="904"/>
                  </a:cubicBezTo>
                  <a:cubicBezTo>
                    <a:pt x="130" y="908"/>
                    <a:pt x="134" y="911"/>
                    <a:pt x="138" y="915"/>
                  </a:cubicBezTo>
                  <a:cubicBezTo>
                    <a:pt x="139" y="916"/>
                    <a:pt x="141" y="917"/>
                    <a:pt x="142" y="918"/>
                  </a:cubicBezTo>
                  <a:cubicBezTo>
                    <a:pt x="145" y="921"/>
                    <a:pt x="148" y="923"/>
                    <a:pt x="151" y="926"/>
                  </a:cubicBezTo>
                  <a:cubicBezTo>
                    <a:pt x="153" y="927"/>
                    <a:pt x="154" y="928"/>
                    <a:pt x="155" y="929"/>
                  </a:cubicBezTo>
                  <a:cubicBezTo>
                    <a:pt x="159" y="932"/>
                    <a:pt x="164" y="936"/>
                    <a:pt x="168" y="939"/>
                  </a:cubicBezTo>
                  <a:cubicBezTo>
                    <a:pt x="168" y="939"/>
                    <a:pt x="169" y="940"/>
                    <a:pt x="169" y="940"/>
                  </a:cubicBezTo>
                  <a:cubicBezTo>
                    <a:pt x="173" y="943"/>
                    <a:pt x="177" y="946"/>
                    <a:pt x="181" y="949"/>
                  </a:cubicBezTo>
                  <a:cubicBezTo>
                    <a:pt x="183" y="950"/>
                    <a:pt x="184" y="951"/>
                    <a:pt x="185" y="952"/>
                  </a:cubicBezTo>
                  <a:cubicBezTo>
                    <a:pt x="189" y="954"/>
                    <a:pt x="192" y="956"/>
                    <a:pt x="195" y="959"/>
                  </a:cubicBezTo>
                  <a:cubicBezTo>
                    <a:pt x="197" y="960"/>
                    <a:pt x="198" y="960"/>
                    <a:pt x="199" y="961"/>
                  </a:cubicBezTo>
                  <a:cubicBezTo>
                    <a:pt x="204" y="964"/>
                    <a:pt x="208" y="967"/>
                    <a:pt x="213" y="970"/>
                  </a:cubicBezTo>
                  <a:cubicBezTo>
                    <a:pt x="213" y="970"/>
                    <a:pt x="213" y="970"/>
                    <a:pt x="213" y="970"/>
                  </a:cubicBezTo>
                  <a:cubicBezTo>
                    <a:pt x="180" y="930"/>
                    <a:pt x="152" y="886"/>
                    <a:pt x="131" y="836"/>
                  </a:cubicBezTo>
                  <a:cubicBezTo>
                    <a:pt x="110" y="785"/>
                    <a:pt x="95" y="730"/>
                    <a:pt x="89" y="675"/>
                  </a:cubicBezTo>
                  <a:cubicBezTo>
                    <a:pt x="87" y="661"/>
                    <a:pt x="86" y="647"/>
                    <a:pt x="85" y="633"/>
                  </a:cubicBezTo>
                  <a:cubicBezTo>
                    <a:pt x="85" y="626"/>
                    <a:pt x="85" y="619"/>
                    <a:pt x="85" y="612"/>
                  </a:cubicBezTo>
                  <a:cubicBezTo>
                    <a:pt x="85" y="606"/>
                    <a:pt x="85" y="599"/>
                    <a:pt x="85" y="592"/>
                  </a:cubicBezTo>
                  <a:cubicBezTo>
                    <a:pt x="86" y="564"/>
                    <a:pt x="90" y="536"/>
                    <a:pt x="95" y="509"/>
                  </a:cubicBezTo>
                  <a:cubicBezTo>
                    <a:pt x="105" y="454"/>
                    <a:pt x="124" y="402"/>
                    <a:pt x="150" y="352"/>
                  </a:cubicBezTo>
                  <a:cubicBezTo>
                    <a:pt x="177" y="303"/>
                    <a:pt x="210" y="259"/>
                    <a:pt x="250" y="220"/>
                  </a:cubicBezTo>
                  <a:cubicBezTo>
                    <a:pt x="260" y="210"/>
                    <a:pt x="270" y="201"/>
                    <a:pt x="281" y="192"/>
                  </a:cubicBezTo>
                  <a:cubicBezTo>
                    <a:pt x="286" y="187"/>
                    <a:pt x="291" y="183"/>
                    <a:pt x="297" y="178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7" y="164"/>
                    <a:pt x="323" y="159"/>
                    <a:pt x="329" y="155"/>
                  </a:cubicBezTo>
                  <a:cubicBezTo>
                    <a:pt x="341" y="147"/>
                    <a:pt x="354" y="139"/>
                    <a:pt x="367" y="132"/>
                  </a:cubicBezTo>
                  <a:cubicBezTo>
                    <a:pt x="369" y="131"/>
                    <a:pt x="372" y="131"/>
                    <a:pt x="373" y="132"/>
                  </a:cubicBezTo>
                  <a:cubicBezTo>
                    <a:pt x="375" y="133"/>
                    <a:pt x="376" y="135"/>
                    <a:pt x="376" y="138"/>
                  </a:cubicBezTo>
                  <a:cubicBezTo>
                    <a:pt x="375" y="154"/>
                    <a:pt x="375" y="171"/>
                    <a:pt x="375" y="188"/>
                  </a:cubicBezTo>
                  <a:cubicBezTo>
                    <a:pt x="404" y="151"/>
                    <a:pt x="438" y="118"/>
                    <a:pt x="478" y="90"/>
                  </a:cubicBezTo>
                  <a:cubicBezTo>
                    <a:pt x="483" y="87"/>
                    <a:pt x="487" y="84"/>
                    <a:pt x="492" y="81"/>
                  </a:cubicBezTo>
                  <a:cubicBezTo>
                    <a:pt x="530" y="56"/>
                    <a:pt x="571" y="36"/>
                    <a:pt x="615" y="20"/>
                  </a:cubicBezTo>
                  <a:cubicBezTo>
                    <a:pt x="567" y="7"/>
                    <a:pt x="517" y="0"/>
                    <a:pt x="466" y="0"/>
                  </a:cubicBezTo>
                  <a:cubicBezTo>
                    <a:pt x="461" y="0"/>
                    <a:pt x="456" y="0"/>
                    <a:pt x="451" y="0"/>
                  </a:cubicBezTo>
                  <a:cubicBezTo>
                    <a:pt x="392" y="0"/>
                    <a:pt x="332" y="10"/>
                    <a:pt x="273" y="27"/>
                  </a:cubicBezTo>
                  <a:cubicBezTo>
                    <a:pt x="291" y="33"/>
                    <a:pt x="309" y="40"/>
                    <a:pt x="326" y="47"/>
                  </a:cubicBezTo>
                  <a:cubicBezTo>
                    <a:pt x="328" y="48"/>
                    <a:pt x="329" y="50"/>
                    <a:pt x="329" y="52"/>
                  </a:cubicBezTo>
                  <a:cubicBezTo>
                    <a:pt x="329" y="55"/>
                    <a:pt x="328" y="57"/>
                    <a:pt x="326" y="58"/>
                  </a:cubicBezTo>
                  <a:cubicBezTo>
                    <a:pt x="311" y="67"/>
                    <a:pt x="296" y="76"/>
                    <a:pt x="282" y="85"/>
                  </a:cubicBezTo>
                  <a:cubicBezTo>
                    <a:pt x="275" y="90"/>
                    <a:pt x="268" y="95"/>
                    <a:pt x="261" y="100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45" y="112"/>
                    <a:pt x="245" y="112"/>
                    <a:pt x="245" y="112"/>
                  </a:cubicBezTo>
                  <a:cubicBezTo>
                    <a:pt x="238" y="117"/>
                    <a:pt x="232" y="122"/>
                    <a:pt x="227" y="127"/>
                  </a:cubicBezTo>
                  <a:cubicBezTo>
                    <a:pt x="215" y="137"/>
                    <a:pt x="203" y="148"/>
                    <a:pt x="191" y="159"/>
                  </a:cubicBezTo>
                  <a:cubicBezTo>
                    <a:pt x="145" y="204"/>
                    <a:pt x="106" y="256"/>
                    <a:pt x="76" y="312"/>
                  </a:cubicBezTo>
                  <a:cubicBezTo>
                    <a:pt x="45" y="369"/>
                    <a:pt x="24" y="430"/>
                    <a:pt x="12" y="493"/>
                  </a:cubicBezTo>
                  <a:cubicBezTo>
                    <a:pt x="6" y="524"/>
                    <a:pt x="2" y="556"/>
                    <a:pt x="1" y="588"/>
                  </a:cubicBezTo>
                  <a:cubicBezTo>
                    <a:pt x="0" y="597"/>
                    <a:pt x="0" y="605"/>
                    <a:pt x="0" y="612"/>
                  </a:cubicBezTo>
                  <a:cubicBezTo>
                    <a:pt x="0" y="620"/>
                    <a:pt x="0" y="628"/>
                    <a:pt x="1" y="636"/>
                  </a:cubicBezTo>
                  <a:cubicBezTo>
                    <a:pt x="1" y="652"/>
                    <a:pt x="3" y="668"/>
                    <a:pt x="5" y="684"/>
                  </a:cubicBezTo>
                  <a:cubicBezTo>
                    <a:pt x="12" y="748"/>
                    <a:pt x="29" y="810"/>
                    <a:pt x="54" y="869"/>
                  </a:cubicBezTo>
                  <a:cubicBezTo>
                    <a:pt x="79" y="930"/>
                    <a:pt x="113" y="984"/>
                    <a:pt x="155" y="1032"/>
                  </a:cubicBezTo>
                  <a:cubicBezTo>
                    <a:pt x="157" y="1034"/>
                    <a:pt x="159" y="1036"/>
                    <a:pt x="160" y="1039"/>
                  </a:cubicBezTo>
                  <a:cubicBezTo>
                    <a:pt x="160" y="1038"/>
                    <a:pt x="160" y="1037"/>
                    <a:pt x="160" y="1037"/>
                  </a:cubicBezTo>
                  <a:cubicBezTo>
                    <a:pt x="159" y="1035"/>
                    <a:pt x="158" y="1034"/>
                    <a:pt x="158" y="1032"/>
                  </a:cubicBezTo>
                  <a:cubicBezTo>
                    <a:pt x="155" y="1028"/>
                    <a:pt x="153" y="1023"/>
                    <a:pt x="151" y="10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6136903" y="2941983"/>
            <a:ext cx="1016238" cy="173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99308" indent="-299308" algn="ctr">
              <a:lnSpc>
                <a:spcPct val="95000"/>
              </a:lnSpc>
              <a:spcBef>
                <a:spcPct val="20000"/>
              </a:spcBef>
              <a:buSzPct val="80000"/>
            </a:pPr>
            <a:r>
              <a:rPr lang="fr-FR" sz="1600" b="1" dirty="0" err="1">
                <a:solidFill>
                  <a:schemeClr val="bg2"/>
                </a:solidFill>
              </a:rPr>
              <a:t>Text</a:t>
            </a:r>
            <a:endParaRPr lang="fr-FR" sz="1600" b="1" dirty="0">
              <a:solidFill>
                <a:schemeClr val="bg2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 bwMode="gray">
          <a:xfrm>
            <a:off x="4751118" y="2091061"/>
            <a:ext cx="701814" cy="251817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lvl="0" algn="ctr">
              <a:lnSpc>
                <a:spcPct val="85000"/>
              </a:lnSpc>
              <a:spcBef>
                <a:spcPct val="20000"/>
              </a:spcBef>
              <a:buSzPct val="80000"/>
            </a:pPr>
            <a:r>
              <a:rPr lang="fr-FR" sz="1400" b="1" dirty="0">
                <a:solidFill>
                  <a:schemeClr val="accent5"/>
                </a:solidFill>
              </a:rPr>
              <a:t>Text</a:t>
            </a:r>
          </a:p>
        </p:txBody>
      </p:sp>
      <p:sp>
        <p:nvSpPr>
          <p:cNvPr id="13" name="ZoneTexte 12"/>
          <p:cNvSpPr txBox="1"/>
          <p:nvPr/>
        </p:nvSpPr>
        <p:spPr bwMode="gray">
          <a:xfrm>
            <a:off x="5941239" y="4374922"/>
            <a:ext cx="914567" cy="251817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lvl="0" algn="ctr">
              <a:lnSpc>
                <a:spcPct val="85000"/>
              </a:lnSpc>
              <a:spcBef>
                <a:spcPct val="20000"/>
              </a:spcBef>
              <a:buSzPct val="80000"/>
            </a:pPr>
            <a:r>
              <a:rPr lang="fr-FR" sz="1400" b="1" dirty="0">
                <a:solidFill>
                  <a:schemeClr val="accent6"/>
                </a:solidFill>
              </a:rPr>
              <a:t>Text</a:t>
            </a:r>
          </a:p>
        </p:txBody>
      </p:sp>
      <p:sp>
        <p:nvSpPr>
          <p:cNvPr id="14" name="ZoneTexte 13"/>
          <p:cNvSpPr txBox="1"/>
          <p:nvPr/>
        </p:nvSpPr>
        <p:spPr bwMode="gray">
          <a:xfrm>
            <a:off x="7643013" y="1785427"/>
            <a:ext cx="722027" cy="251817"/>
          </a:xfrm>
          <a:prstGeom prst="rect">
            <a:avLst/>
          </a:prstGeom>
          <a:noFill/>
        </p:spPr>
        <p:txBody>
          <a:bodyPr wrap="square" lIns="62691" tIns="31346" rIns="62691" bIns="31346" rtlCol="0">
            <a:spAutoFit/>
          </a:bodyPr>
          <a:lstStyle/>
          <a:p>
            <a:pPr lvl="0" algn="ctr">
              <a:lnSpc>
                <a:spcPct val="85000"/>
              </a:lnSpc>
              <a:spcBef>
                <a:spcPct val="20000"/>
              </a:spcBef>
              <a:buSzPct val="80000"/>
            </a:pPr>
            <a:r>
              <a:rPr lang="fr-FR" sz="1400" b="1" dirty="0">
                <a:solidFill>
                  <a:schemeClr val="accent4"/>
                </a:solidFill>
              </a:rPr>
              <a:t>Text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SEFUL SYMBOLS (1/5)</a:t>
            </a:r>
          </a:p>
        </p:txBody>
      </p:sp>
      <p:sp>
        <p:nvSpPr>
          <p:cNvPr id="61" name="Espace réservé de la date 6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63" name="Espace réservé du pied de page 6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62" name="Espace réservé du numéro de diapositive 6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1</a:t>
            </a:fld>
            <a:endParaRPr lang="fr-FR" dirty="0"/>
          </a:p>
        </p:txBody>
      </p:sp>
      <p:grpSp>
        <p:nvGrpSpPr>
          <p:cNvPr id="6" name="Groupe 163"/>
          <p:cNvGrpSpPr/>
          <p:nvPr/>
        </p:nvGrpSpPr>
        <p:grpSpPr>
          <a:xfrm>
            <a:off x="7283701" y="2010967"/>
            <a:ext cx="749560" cy="749650"/>
            <a:chOff x="6053080" y="7314160"/>
            <a:chExt cx="772352" cy="772352"/>
          </a:xfrm>
          <a:solidFill>
            <a:sysClr val="window" lastClr="FFFFFF"/>
          </a:solidFill>
        </p:grpSpPr>
        <p:sp>
          <p:nvSpPr>
            <p:cNvPr id="118" name="Ellipse 117"/>
            <p:cNvSpPr/>
            <p:nvPr/>
          </p:nvSpPr>
          <p:spPr bwMode="gray">
            <a:xfrm>
              <a:off x="6053080" y="7314160"/>
              <a:ext cx="772352" cy="772352"/>
            </a:xfrm>
            <a:prstGeom prst="ellipse">
              <a:avLst/>
            </a:prstGeom>
            <a:solidFill>
              <a:srgbClr val="008737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9" name="Freeform 24"/>
            <p:cNvSpPr>
              <a:spLocks/>
            </p:cNvSpPr>
            <p:nvPr/>
          </p:nvSpPr>
          <p:spPr bwMode="auto">
            <a:xfrm>
              <a:off x="6202449" y="7540783"/>
              <a:ext cx="473616" cy="319108"/>
            </a:xfrm>
            <a:custGeom>
              <a:avLst/>
              <a:gdLst>
                <a:gd name="T0" fmla="*/ 354 w 457"/>
                <a:gd name="T1" fmla="*/ 101 h 308"/>
                <a:gd name="T2" fmla="*/ 330 w 457"/>
                <a:gd name="T3" fmla="*/ 101 h 308"/>
                <a:gd name="T4" fmla="*/ 229 w 457"/>
                <a:gd name="T5" fmla="*/ 0 h 308"/>
                <a:gd name="T6" fmla="*/ 128 w 457"/>
                <a:gd name="T7" fmla="*/ 101 h 308"/>
                <a:gd name="T8" fmla="*/ 104 w 457"/>
                <a:gd name="T9" fmla="*/ 101 h 308"/>
                <a:gd name="T10" fmla="*/ 0 w 457"/>
                <a:gd name="T11" fmla="*/ 205 h 308"/>
                <a:gd name="T12" fmla="*/ 104 w 457"/>
                <a:gd name="T13" fmla="*/ 308 h 308"/>
                <a:gd name="T14" fmla="*/ 354 w 457"/>
                <a:gd name="T15" fmla="*/ 308 h 308"/>
                <a:gd name="T16" fmla="*/ 457 w 457"/>
                <a:gd name="T17" fmla="*/ 205 h 308"/>
                <a:gd name="T18" fmla="*/ 354 w 457"/>
                <a:gd name="T19" fmla="*/ 101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7" h="308">
                  <a:moveTo>
                    <a:pt x="354" y="101"/>
                  </a:moveTo>
                  <a:cubicBezTo>
                    <a:pt x="330" y="101"/>
                    <a:pt x="330" y="101"/>
                    <a:pt x="330" y="101"/>
                  </a:cubicBezTo>
                  <a:cubicBezTo>
                    <a:pt x="330" y="46"/>
                    <a:pt x="285" y="0"/>
                    <a:pt x="229" y="0"/>
                  </a:cubicBezTo>
                  <a:cubicBezTo>
                    <a:pt x="173" y="0"/>
                    <a:pt x="128" y="46"/>
                    <a:pt x="128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47" y="101"/>
                    <a:pt x="0" y="148"/>
                    <a:pt x="0" y="205"/>
                  </a:cubicBezTo>
                  <a:cubicBezTo>
                    <a:pt x="0" y="262"/>
                    <a:pt x="47" y="308"/>
                    <a:pt x="104" y="308"/>
                  </a:cubicBezTo>
                  <a:cubicBezTo>
                    <a:pt x="354" y="308"/>
                    <a:pt x="354" y="308"/>
                    <a:pt x="354" y="308"/>
                  </a:cubicBezTo>
                  <a:cubicBezTo>
                    <a:pt x="411" y="308"/>
                    <a:pt x="457" y="262"/>
                    <a:pt x="457" y="205"/>
                  </a:cubicBezTo>
                  <a:cubicBezTo>
                    <a:pt x="457" y="148"/>
                    <a:pt x="411" y="101"/>
                    <a:pt x="354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" name="Groupe 166"/>
          <p:cNvGrpSpPr/>
          <p:nvPr/>
        </p:nvGrpSpPr>
        <p:grpSpPr>
          <a:xfrm>
            <a:off x="1124140" y="3543676"/>
            <a:ext cx="749560" cy="749650"/>
            <a:chOff x="7244352" y="7314160"/>
            <a:chExt cx="772352" cy="772352"/>
          </a:xfrm>
        </p:grpSpPr>
        <p:sp>
          <p:nvSpPr>
            <p:cNvPr id="121" name="Ellipse 120"/>
            <p:cNvSpPr/>
            <p:nvPr/>
          </p:nvSpPr>
          <p:spPr bwMode="gray">
            <a:xfrm>
              <a:off x="7244352" y="7314160"/>
              <a:ext cx="772352" cy="772352"/>
            </a:xfrm>
            <a:prstGeom prst="ellipse">
              <a:avLst/>
            </a:prstGeom>
            <a:solidFill>
              <a:srgbClr val="BEB9A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2" name="Freeform 28"/>
            <p:cNvSpPr>
              <a:spLocks/>
            </p:cNvSpPr>
            <p:nvPr/>
          </p:nvSpPr>
          <p:spPr bwMode="auto">
            <a:xfrm>
              <a:off x="7385597" y="7499850"/>
              <a:ext cx="406842" cy="400974"/>
            </a:xfrm>
            <a:custGeom>
              <a:avLst/>
              <a:gdLst>
                <a:gd name="T0" fmla="*/ 246 w 352"/>
                <a:gd name="T1" fmla="*/ 48 h 347"/>
                <a:gd name="T2" fmla="*/ 311 w 352"/>
                <a:gd name="T3" fmla="*/ 69 h 347"/>
                <a:gd name="T4" fmla="*/ 345 w 352"/>
                <a:gd name="T5" fmla="*/ 63 h 347"/>
                <a:gd name="T6" fmla="*/ 339 w 352"/>
                <a:gd name="T7" fmla="*/ 30 h 347"/>
                <a:gd name="T8" fmla="*/ 246 w 352"/>
                <a:gd name="T9" fmla="*/ 0 h 347"/>
                <a:gd name="T10" fmla="*/ 88 w 352"/>
                <a:gd name="T11" fmla="*/ 117 h 347"/>
                <a:gd name="T12" fmla="*/ 24 w 352"/>
                <a:gd name="T13" fmla="*/ 117 h 347"/>
                <a:gd name="T14" fmla="*/ 0 w 352"/>
                <a:gd name="T15" fmla="*/ 141 h 347"/>
                <a:gd name="T16" fmla="*/ 24 w 352"/>
                <a:gd name="T17" fmla="*/ 165 h 347"/>
                <a:gd name="T18" fmla="*/ 79 w 352"/>
                <a:gd name="T19" fmla="*/ 165 h 347"/>
                <a:gd name="T20" fmla="*/ 78 w 352"/>
                <a:gd name="T21" fmla="*/ 174 h 347"/>
                <a:gd name="T22" fmla="*/ 79 w 352"/>
                <a:gd name="T23" fmla="*/ 181 h 347"/>
                <a:gd name="T24" fmla="*/ 24 w 352"/>
                <a:gd name="T25" fmla="*/ 181 h 347"/>
                <a:gd name="T26" fmla="*/ 0 w 352"/>
                <a:gd name="T27" fmla="*/ 205 h 347"/>
                <a:gd name="T28" fmla="*/ 24 w 352"/>
                <a:gd name="T29" fmla="*/ 229 h 347"/>
                <a:gd name="T30" fmla="*/ 87 w 352"/>
                <a:gd name="T31" fmla="*/ 229 h 347"/>
                <a:gd name="T32" fmla="*/ 246 w 352"/>
                <a:gd name="T33" fmla="*/ 347 h 347"/>
                <a:gd name="T34" fmla="*/ 330 w 352"/>
                <a:gd name="T35" fmla="*/ 323 h 347"/>
                <a:gd name="T36" fmla="*/ 338 w 352"/>
                <a:gd name="T37" fmla="*/ 290 h 347"/>
                <a:gd name="T38" fmla="*/ 305 w 352"/>
                <a:gd name="T39" fmla="*/ 282 h 347"/>
                <a:gd name="T40" fmla="*/ 246 w 352"/>
                <a:gd name="T41" fmla="*/ 299 h 347"/>
                <a:gd name="T42" fmla="*/ 139 w 352"/>
                <a:gd name="T43" fmla="*/ 229 h 347"/>
                <a:gd name="T44" fmla="*/ 286 w 352"/>
                <a:gd name="T45" fmla="*/ 229 h 347"/>
                <a:gd name="T46" fmla="*/ 310 w 352"/>
                <a:gd name="T47" fmla="*/ 205 h 347"/>
                <a:gd name="T48" fmla="*/ 286 w 352"/>
                <a:gd name="T49" fmla="*/ 181 h 347"/>
                <a:gd name="T50" fmla="*/ 127 w 352"/>
                <a:gd name="T51" fmla="*/ 181 h 347"/>
                <a:gd name="T52" fmla="*/ 126 w 352"/>
                <a:gd name="T53" fmla="*/ 174 h 347"/>
                <a:gd name="T54" fmla="*/ 127 w 352"/>
                <a:gd name="T55" fmla="*/ 165 h 347"/>
                <a:gd name="T56" fmla="*/ 286 w 352"/>
                <a:gd name="T57" fmla="*/ 165 h 347"/>
                <a:gd name="T58" fmla="*/ 310 w 352"/>
                <a:gd name="T59" fmla="*/ 141 h 347"/>
                <a:gd name="T60" fmla="*/ 286 w 352"/>
                <a:gd name="T61" fmla="*/ 117 h 347"/>
                <a:gd name="T62" fmla="*/ 139 w 352"/>
                <a:gd name="T63" fmla="*/ 117 h 347"/>
                <a:gd name="T64" fmla="*/ 246 w 352"/>
                <a:gd name="T65" fmla="*/ 4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2" h="347">
                  <a:moveTo>
                    <a:pt x="246" y="48"/>
                  </a:moveTo>
                  <a:cubicBezTo>
                    <a:pt x="269" y="48"/>
                    <a:pt x="292" y="56"/>
                    <a:pt x="311" y="69"/>
                  </a:cubicBezTo>
                  <a:cubicBezTo>
                    <a:pt x="322" y="77"/>
                    <a:pt x="337" y="74"/>
                    <a:pt x="345" y="63"/>
                  </a:cubicBezTo>
                  <a:cubicBezTo>
                    <a:pt x="352" y="52"/>
                    <a:pt x="350" y="37"/>
                    <a:pt x="339" y="30"/>
                  </a:cubicBezTo>
                  <a:cubicBezTo>
                    <a:pt x="311" y="11"/>
                    <a:pt x="279" y="0"/>
                    <a:pt x="246" y="0"/>
                  </a:cubicBezTo>
                  <a:cubicBezTo>
                    <a:pt x="173" y="0"/>
                    <a:pt x="110" y="49"/>
                    <a:pt x="88" y="117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" y="117"/>
                    <a:pt x="0" y="128"/>
                    <a:pt x="0" y="141"/>
                  </a:cubicBezTo>
                  <a:cubicBezTo>
                    <a:pt x="0" y="154"/>
                    <a:pt x="10" y="165"/>
                    <a:pt x="24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8"/>
                    <a:pt x="78" y="171"/>
                    <a:pt x="78" y="174"/>
                  </a:cubicBezTo>
                  <a:cubicBezTo>
                    <a:pt x="78" y="176"/>
                    <a:pt x="79" y="179"/>
                    <a:pt x="79" y="181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10" y="181"/>
                    <a:pt x="0" y="192"/>
                    <a:pt x="0" y="205"/>
                  </a:cubicBezTo>
                  <a:cubicBezTo>
                    <a:pt x="0" y="219"/>
                    <a:pt x="10" y="229"/>
                    <a:pt x="24" y="229"/>
                  </a:cubicBezTo>
                  <a:cubicBezTo>
                    <a:pt x="87" y="229"/>
                    <a:pt x="87" y="229"/>
                    <a:pt x="87" y="229"/>
                  </a:cubicBezTo>
                  <a:cubicBezTo>
                    <a:pt x="110" y="298"/>
                    <a:pt x="172" y="347"/>
                    <a:pt x="246" y="347"/>
                  </a:cubicBezTo>
                  <a:cubicBezTo>
                    <a:pt x="275" y="347"/>
                    <a:pt x="305" y="339"/>
                    <a:pt x="330" y="323"/>
                  </a:cubicBezTo>
                  <a:cubicBezTo>
                    <a:pt x="342" y="316"/>
                    <a:pt x="345" y="301"/>
                    <a:pt x="338" y="290"/>
                  </a:cubicBezTo>
                  <a:cubicBezTo>
                    <a:pt x="331" y="279"/>
                    <a:pt x="317" y="275"/>
                    <a:pt x="305" y="282"/>
                  </a:cubicBezTo>
                  <a:cubicBezTo>
                    <a:pt x="287" y="293"/>
                    <a:pt x="267" y="299"/>
                    <a:pt x="246" y="299"/>
                  </a:cubicBezTo>
                  <a:cubicBezTo>
                    <a:pt x="199" y="299"/>
                    <a:pt x="158" y="271"/>
                    <a:pt x="139" y="229"/>
                  </a:cubicBezTo>
                  <a:cubicBezTo>
                    <a:pt x="286" y="229"/>
                    <a:pt x="286" y="229"/>
                    <a:pt x="286" y="229"/>
                  </a:cubicBezTo>
                  <a:cubicBezTo>
                    <a:pt x="300" y="229"/>
                    <a:pt x="310" y="219"/>
                    <a:pt x="310" y="205"/>
                  </a:cubicBezTo>
                  <a:cubicBezTo>
                    <a:pt x="310" y="192"/>
                    <a:pt x="300" y="181"/>
                    <a:pt x="286" y="181"/>
                  </a:cubicBezTo>
                  <a:cubicBezTo>
                    <a:pt x="127" y="181"/>
                    <a:pt x="127" y="181"/>
                    <a:pt x="127" y="181"/>
                  </a:cubicBezTo>
                  <a:cubicBezTo>
                    <a:pt x="127" y="179"/>
                    <a:pt x="126" y="176"/>
                    <a:pt x="126" y="174"/>
                  </a:cubicBezTo>
                  <a:cubicBezTo>
                    <a:pt x="126" y="171"/>
                    <a:pt x="127" y="168"/>
                    <a:pt x="127" y="165"/>
                  </a:cubicBezTo>
                  <a:cubicBezTo>
                    <a:pt x="286" y="165"/>
                    <a:pt x="286" y="165"/>
                    <a:pt x="286" y="165"/>
                  </a:cubicBezTo>
                  <a:cubicBezTo>
                    <a:pt x="300" y="165"/>
                    <a:pt x="310" y="154"/>
                    <a:pt x="310" y="141"/>
                  </a:cubicBezTo>
                  <a:cubicBezTo>
                    <a:pt x="310" y="128"/>
                    <a:pt x="300" y="117"/>
                    <a:pt x="286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59" y="76"/>
                    <a:pt x="199" y="48"/>
                    <a:pt x="246" y="48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oupe 169"/>
          <p:cNvGrpSpPr/>
          <p:nvPr/>
        </p:nvGrpSpPr>
        <p:grpSpPr>
          <a:xfrm>
            <a:off x="5728481" y="2010967"/>
            <a:ext cx="749560" cy="749650"/>
            <a:chOff x="4861808" y="7314160"/>
            <a:chExt cx="772352" cy="772352"/>
          </a:xfrm>
        </p:grpSpPr>
        <p:sp>
          <p:nvSpPr>
            <p:cNvPr id="124" name="Ellipse 123"/>
            <p:cNvSpPr/>
            <p:nvPr/>
          </p:nvSpPr>
          <p:spPr bwMode="gray">
            <a:xfrm>
              <a:off x="4861808" y="7314160"/>
              <a:ext cx="772352" cy="77235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9" name="Group 31"/>
            <p:cNvGrpSpPr>
              <a:grpSpLocks noChangeAspect="1"/>
            </p:cNvGrpSpPr>
            <p:nvPr/>
          </p:nvGrpSpPr>
          <p:grpSpPr bwMode="auto">
            <a:xfrm>
              <a:off x="4990968" y="7468775"/>
              <a:ext cx="514032" cy="463122"/>
              <a:chOff x="4909" y="2513"/>
              <a:chExt cx="1040" cy="937"/>
            </a:xfrm>
            <a:solidFill>
              <a:srgbClr val="E10019"/>
            </a:solidFill>
          </p:grpSpPr>
          <p:sp>
            <p:nvSpPr>
              <p:cNvPr id="126" name="Freeform 32"/>
              <p:cNvSpPr>
                <a:spLocks noEditPoints="1"/>
              </p:cNvSpPr>
              <p:nvPr/>
            </p:nvSpPr>
            <p:spPr bwMode="auto">
              <a:xfrm>
                <a:off x="5649" y="3198"/>
                <a:ext cx="253" cy="252"/>
              </a:xfrm>
              <a:custGeom>
                <a:avLst/>
                <a:gdLst>
                  <a:gd name="T0" fmla="*/ 54 w 107"/>
                  <a:gd name="T1" fmla="*/ 0 h 107"/>
                  <a:gd name="T2" fmla="*/ 0 w 107"/>
                  <a:gd name="T3" fmla="*/ 54 h 107"/>
                  <a:gd name="T4" fmla="*/ 54 w 107"/>
                  <a:gd name="T5" fmla="*/ 107 h 107"/>
                  <a:gd name="T6" fmla="*/ 107 w 107"/>
                  <a:gd name="T7" fmla="*/ 54 h 107"/>
                  <a:gd name="T8" fmla="*/ 54 w 107"/>
                  <a:gd name="T9" fmla="*/ 0 h 107"/>
                  <a:gd name="T10" fmla="*/ 53 w 107"/>
                  <a:gd name="T11" fmla="*/ 78 h 107"/>
                  <a:gd name="T12" fmla="*/ 28 w 107"/>
                  <a:gd name="T13" fmla="*/ 52 h 107"/>
                  <a:gd name="T14" fmla="*/ 53 w 107"/>
                  <a:gd name="T15" fmla="*/ 27 h 107"/>
                  <a:gd name="T16" fmla="*/ 79 w 107"/>
                  <a:gd name="T17" fmla="*/ 52 h 107"/>
                  <a:gd name="T18" fmla="*/ 53 w 107"/>
                  <a:gd name="T19" fmla="*/ 7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7">
                    <a:moveTo>
                      <a:pt x="54" y="0"/>
                    </a:moveTo>
                    <a:cubicBezTo>
                      <a:pt x="24" y="0"/>
                      <a:pt x="0" y="24"/>
                      <a:pt x="0" y="54"/>
                    </a:cubicBezTo>
                    <a:cubicBezTo>
                      <a:pt x="0" y="83"/>
                      <a:pt x="24" y="107"/>
                      <a:pt x="54" y="107"/>
                    </a:cubicBezTo>
                    <a:cubicBezTo>
                      <a:pt x="83" y="107"/>
                      <a:pt x="107" y="83"/>
                      <a:pt x="107" y="54"/>
                    </a:cubicBezTo>
                    <a:cubicBezTo>
                      <a:pt x="107" y="24"/>
                      <a:pt x="83" y="0"/>
                      <a:pt x="54" y="0"/>
                    </a:cubicBezTo>
                    <a:close/>
                    <a:moveTo>
                      <a:pt x="53" y="78"/>
                    </a:moveTo>
                    <a:cubicBezTo>
                      <a:pt x="39" y="78"/>
                      <a:pt x="28" y="67"/>
                      <a:pt x="28" y="52"/>
                    </a:cubicBezTo>
                    <a:cubicBezTo>
                      <a:pt x="28" y="38"/>
                      <a:pt x="39" y="27"/>
                      <a:pt x="53" y="27"/>
                    </a:cubicBezTo>
                    <a:cubicBezTo>
                      <a:pt x="68" y="27"/>
                      <a:pt x="79" y="38"/>
                      <a:pt x="79" y="52"/>
                    </a:cubicBezTo>
                    <a:cubicBezTo>
                      <a:pt x="79" y="67"/>
                      <a:pt x="68" y="78"/>
                      <a:pt x="53" y="7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33"/>
              <p:cNvSpPr>
                <a:spLocks noEditPoints="1"/>
              </p:cNvSpPr>
              <p:nvPr/>
            </p:nvSpPr>
            <p:spPr bwMode="auto">
              <a:xfrm>
                <a:off x="4954" y="3198"/>
                <a:ext cx="253" cy="252"/>
              </a:xfrm>
              <a:custGeom>
                <a:avLst/>
                <a:gdLst>
                  <a:gd name="T0" fmla="*/ 54 w 107"/>
                  <a:gd name="T1" fmla="*/ 0 h 107"/>
                  <a:gd name="T2" fmla="*/ 0 w 107"/>
                  <a:gd name="T3" fmla="*/ 54 h 107"/>
                  <a:gd name="T4" fmla="*/ 54 w 107"/>
                  <a:gd name="T5" fmla="*/ 107 h 107"/>
                  <a:gd name="T6" fmla="*/ 107 w 107"/>
                  <a:gd name="T7" fmla="*/ 54 h 107"/>
                  <a:gd name="T8" fmla="*/ 54 w 107"/>
                  <a:gd name="T9" fmla="*/ 0 h 107"/>
                  <a:gd name="T10" fmla="*/ 54 w 107"/>
                  <a:gd name="T11" fmla="*/ 78 h 107"/>
                  <a:gd name="T12" fmla="*/ 28 w 107"/>
                  <a:gd name="T13" fmla="*/ 52 h 107"/>
                  <a:gd name="T14" fmla="*/ 54 w 107"/>
                  <a:gd name="T15" fmla="*/ 27 h 107"/>
                  <a:gd name="T16" fmla="*/ 79 w 107"/>
                  <a:gd name="T17" fmla="*/ 52 h 107"/>
                  <a:gd name="T18" fmla="*/ 54 w 107"/>
                  <a:gd name="T19" fmla="*/ 7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7">
                    <a:moveTo>
                      <a:pt x="54" y="0"/>
                    </a:moveTo>
                    <a:cubicBezTo>
                      <a:pt x="24" y="0"/>
                      <a:pt x="0" y="24"/>
                      <a:pt x="0" y="54"/>
                    </a:cubicBezTo>
                    <a:cubicBezTo>
                      <a:pt x="0" y="83"/>
                      <a:pt x="24" y="107"/>
                      <a:pt x="54" y="107"/>
                    </a:cubicBezTo>
                    <a:cubicBezTo>
                      <a:pt x="83" y="107"/>
                      <a:pt x="107" y="83"/>
                      <a:pt x="107" y="54"/>
                    </a:cubicBezTo>
                    <a:cubicBezTo>
                      <a:pt x="107" y="24"/>
                      <a:pt x="83" y="0"/>
                      <a:pt x="54" y="0"/>
                    </a:cubicBezTo>
                    <a:close/>
                    <a:moveTo>
                      <a:pt x="54" y="78"/>
                    </a:moveTo>
                    <a:cubicBezTo>
                      <a:pt x="40" y="78"/>
                      <a:pt x="28" y="67"/>
                      <a:pt x="28" y="52"/>
                    </a:cubicBezTo>
                    <a:cubicBezTo>
                      <a:pt x="28" y="38"/>
                      <a:pt x="40" y="27"/>
                      <a:pt x="54" y="27"/>
                    </a:cubicBezTo>
                    <a:cubicBezTo>
                      <a:pt x="68" y="27"/>
                      <a:pt x="79" y="38"/>
                      <a:pt x="79" y="52"/>
                    </a:cubicBezTo>
                    <a:cubicBezTo>
                      <a:pt x="79" y="67"/>
                      <a:pt x="68" y="78"/>
                      <a:pt x="54" y="7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 34"/>
              <p:cNvSpPr>
                <a:spLocks noEditPoints="1"/>
              </p:cNvSpPr>
              <p:nvPr/>
            </p:nvSpPr>
            <p:spPr bwMode="auto">
              <a:xfrm>
                <a:off x="4909" y="2513"/>
                <a:ext cx="1040" cy="807"/>
              </a:xfrm>
              <a:custGeom>
                <a:avLst/>
                <a:gdLst>
                  <a:gd name="T0" fmla="*/ 430 w 440"/>
                  <a:gd name="T1" fmla="*/ 143 h 342"/>
                  <a:gd name="T2" fmla="*/ 334 w 440"/>
                  <a:gd name="T3" fmla="*/ 143 h 342"/>
                  <a:gd name="T4" fmla="*/ 320 w 440"/>
                  <a:gd name="T5" fmla="*/ 96 h 342"/>
                  <a:gd name="T6" fmla="*/ 306 w 440"/>
                  <a:gd name="T7" fmla="*/ 143 h 342"/>
                  <a:gd name="T8" fmla="*/ 293 w 440"/>
                  <a:gd name="T9" fmla="*/ 122 h 342"/>
                  <a:gd name="T10" fmla="*/ 293 w 440"/>
                  <a:gd name="T11" fmla="*/ 74 h 342"/>
                  <a:gd name="T12" fmla="*/ 243 w 440"/>
                  <a:gd name="T13" fmla="*/ 65 h 342"/>
                  <a:gd name="T14" fmla="*/ 247 w 440"/>
                  <a:gd name="T15" fmla="*/ 26 h 342"/>
                  <a:gd name="T16" fmla="*/ 196 w 440"/>
                  <a:gd name="T17" fmla="*/ 26 h 342"/>
                  <a:gd name="T18" fmla="*/ 195 w 440"/>
                  <a:gd name="T19" fmla="*/ 65 h 342"/>
                  <a:gd name="T20" fmla="*/ 146 w 440"/>
                  <a:gd name="T21" fmla="*/ 74 h 342"/>
                  <a:gd name="T22" fmla="*/ 146 w 440"/>
                  <a:gd name="T23" fmla="*/ 122 h 342"/>
                  <a:gd name="T24" fmla="*/ 145 w 440"/>
                  <a:gd name="T25" fmla="*/ 143 h 342"/>
                  <a:gd name="T26" fmla="*/ 146 w 440"/>
                  <a:gd name="T27" fmla="*/ 122 h 342"/>
                  <a:gd name="T28" fmla="*/ 94 w 440"/>
                  <a:gd name="T29" fmla="*/ 122 h 342"/>
                  <a:gd name="T30" fmla="*/ 36 w 440"/>
                  <a:gd name="T31" fmla="*/ 143 h 342"/>
                  <a:gd name="T32" fmla="*/ 2 w 440"/>
                  <a:gd name="T33" fmla="*/ 147 h 342"/>
                  <a:gd name="T34" fmla="*/ 48 w 440"/>
                  <a:gd name="T35" fmla="*/ 279 h 342"/>
                  <a:gd name="T36" fmla="*/ 140 w 440"/>
                  <a:gd name="T37" fmla="*/ 342 h 342"/>
                  <a:gd name="T38" fmla="*/ 203 w 440"/>
                  <a:gd name="T39" fmla="*/ 342 h 342"/>
                  <a:gd name="T40" fmla="*/ 300 w 440"/>
                  <a:gd name="T41" fmla="*/ 342 h 342"/>
                  <a:gd name="T42" fmla="*/ 368 w 440"/>
                  <a:gd name="T43" fmla="*/ 274 h 342"/>
                  <a:gd name="T44" fmla="*/ 438 w 440"/>
                  <a:gd name="T45" fmla="*/ 156 h 342"/>
                  <a:gd name="T46" fmla="*/ 243 w 440"/>
                  <a:gd name="T47" fmla="*/ 130 h 342"/>
                  <a:gd name="T48" fmla="*/ 233 w 440"/>
                  <a:gd name="T49" fmla="*/ 143 h 342"/>
                  <a:gd name="T50" fmla="*/ 243 w 440"/>
                  <a:gd name="T51" fmla="*/ 82 h 342"/>
                  <a:gd name="T52" fmla="*/ 243 w 440"/>
                  <a:gd name="T53" fmla="*/ 113 h 342"/>
                  <a:gd name="T54" fmla="*/ 243 w 440"/>
                  <a:gd name="T55" fmla="*/ 82 h 342"/>
                  <a:gd name="T56" fmla="*/ 210 w 440"/>
                  <a:gd name="T57" fmla="*/ 98 h 342"/>
                  <a:gd name="T58" fmla="*/ 180 w 440"/>
                  <a:gd name="T59" fmla="*/ 98 h 342"/>
                  <a:gd name="T60" fmla="*/ 185 w 440"/>
                  <a:gd name="T61" fmla="*/ 143 h 342"/>
                  <a:gd name="T62" fmla="*/ 205 w 440"/>
                  <a:gd name="T63" fmla="*/ 143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40" h="342">
                    <a:moveTo>
                      <a:pt x="437" y="147"/>
                    </a:moveTo>
                    <a:cubicBezTo>
                      <a:pt x="436" y="145"/>
                      <a:pt x="433" y="143"/>
                      <a:pt x="430" y="143"/>
                    </a:cubicBezTo>
                    <a:cubicBezTo>
                      <a:pt x="404" y="143"/>
                      <a:pt x="404" y="143"/>
                      <a:pt x="404" y="143"/>
                    </a:cubicBezTo>
                    <a:cubicBezTo>
                      <a:pt x="334" y="143"/>
                      <a:pt x="334" y="143"/>
                      <a:pt x="334" y="143"/>
                    </a:cubicBezTo>
                    <a:cubicBezTo>
                      <a:pt x="341" y="139"/>
                      <a:pt x="346" y="131"/>
                      <a:pt x="346" y="122"/>
                    </a:cubicBezTo>
                    <a:cubicBezTo>
                      <a:pt x="346" y="107"/>
                      <a:pt x="334" y="96"/>
                      <a:pt x="320" y="96"/>
                    </a:cubicBezTo>
                    <a:cubicBezTo>
                      <a:pt x="306" y="96"/>
                      <a:pt x="294" y="107"/>
                      <a:pt x="294" y="122"/>
                    </a:cubicBezTo>
                    <a:cubicBezTo>
                      <a:pt x="294" y="131"/>
                      <a:pt x="299" y="139"/>
                      <a:pt x="306" y="143"/>
                    </a:cubicBezTo>
                    <a:cubicBezTo>
                      <a:pt x="281" y="143"/>
                      <a:pt x="281" y="143"/>
                      <a:pt x="281" y="143"/>
                    </a:cubicBezTo>
                    <a:cubicBezTo>
                      <a:pt x="288" y="139"/>
                      <a:pt x="293" y="131"/>
                      <a:pt x="293" y="122"/>
                    </a:cubicBezTo>
                    <a:cubicBezTo>
                      <a:pt x="293" y="111"/>
                      <a:pt x="286" y="101"/>
                      <a:pt x="276" y="98"/>
                    </a:cubicBezTo>
                    <a:cubicBezTo>
                      <a:pt x="286" y="94"/>
                      <a:pt x="293" y="85"/>
                      <a:pt x="293" y="74"/>
                    </a:cubicBezTo>
                    <a:cubicBezTo>
                      <a:pt x="293" y="59"/>
                      <a:pt x="281" y="48"/>
                      <a:pt x="267" y="48"/>
                    </a:cubicBezTo>
                    <a:cubicBezTo>
                      <a:pt x="256" y="48"/>
                      <a:pt x="247" y="55"/>
                      <a:pt x="243" y="65"/>
                    </a:cubicBezTo>
                    <a:cubicBezTo>
                      <a:pt x="241" y="58"/>
                      <a:pt x="235" y="53"/>
                      <a:pt x="229" y="50"/>
                    </a:cubicBezTo>
                    <a:cubicBezTo>
                      <a:pt x="239" y="47"/>
                      <a:pt x="247" y="37"/>
                      <a:pt x="247" y="26"/>
                    </a:cubicBezTo>
                    <a:cubicBezTo>
                      <a:pt x="247" y="11"/>
                      <a:pt x="235" y="0"/>
                      <a:pt x="221" y="0"/>
                    </a:cubicBezTo>
                    <a:cubicBezTo>
                      <a:pt x="207" y="0"/>
                      <a:pt x="196" y="11"/>
                      <a:pt x="196" y="26"/>
                    </a:cubicBezTo>
                    <a:cubicBezTo>
                      <a:pt x="196" y="36"/>
                      <a:pt x="202" y="45"/>
                      <a:pt x="211" y="49"/>
                    </a:cubicBezTo>
                    <a:cubicBezTo>
                      <a:pt x="204" y="52"/>
                      <a:pt x="198" y="57"/>
                      <a:pt x="195" y="65"/>
                    </a:cubicBezTo>
                    <a:cubicBezTo>
                      <a:pt x="192" y="55"/>
                      <a:pt x="182" y="48"/>
                      <a:pt x="171" y="48"/>
                    </a:cubicBezTo>
                    <a:cubicBezTo>
                      <a:pt x="157" y="48"/>
                      <a:pt x="146" y="59"/>
                      <a:pt x="146" y="74"/>
                    </a:cubicBezTo>
                    <a:cubicBezTo>
                      <a:pt x="146" y="85"/>
                      <a:pt x="153" y="94"/>
                      <a:pt x="162" y="98"/>
                    </a:cubicBezTo>
                    <a:cubicBezTo>
                      <a:pt x="153" y="101"/>
                      <a:pt x="146" y="111"/>
                      <a:pt x="146" y="122"/>
                    </a:cubicBezTo>
                    <a:cubicBezTo>
                      <a:pt x="146" y="131"/>
                      <a:pt x="150" y="139"/>
                      <a:pt x="157" y="143"/>
                    </a:cubicBezTo>
                    <a:cubicBezTo>
                      <a:pt x="145" y="143"/>
                      <a:pt x="145" y="143"/>
                      <a:pt x="145" y="143"/>
                    </a:cubicBezTo>
                    <a:cubicBezTo>
                      <a:pt x="134" y="143"/>
                      <a:pt x="134" y="143"/>
                      <a:pt x="134" y="143"/>
                    </a:cubicBezTo>
                    <a:cubicBezTo>
                      <a:pt x="141" y="139"/>
                      <a:pt x="146" y="131"/>
                      <a:pt x="146" y="122"/>
                    </a:cubicBezTo>
                    <a:cubicBezTo>
                      <a:pt x="146" y="107"/>
                      <a:pt x="134" y="96"/>
                      <a:pt x="120" y="96"/>
                    </a:cubicBezTo>
                    <a:cubicBezTo>
                      <a:pt x="106" y="96"/>
                      <a:pt x="94" y="107"/>
                      <a:pt x="94" y="122"/>
                    </a:cubicBezTo>
                    <a:cubicBezTo>
                      <a:pt x="94" y="131"/>
                      <a:pt x="99" y="139"/>
                      <a:pt x="106" y="143"/>
                    </a:cubicBezTo>
                    <a:cubicBezTo>
                      <a:pt x="36" y="143"/>
                      <a:pt x="36" y="143"/>
                      <a:pt x="36" y="143"/>
                    </a:cubicBezTo>
                    <a:cubicBezTo>
                      <a:pt x="10" y="143"/>
                      <a:pt x="10" y="143"/>
                      <a:pt x="10" y="143"/>
                    </a:cubicBezTo>
                    <a:cubicBezTo>
                      <a:pt x="7" y="143"/>
                      <a:pt x="4" y="145"/>
                      <a:pt x="2" y="147"/>
                    </a:cubicBezTo>
                    <a:cubicBezTo>
                      <a:pt x="1" y="150"/>
                      <a:pt x="0" y="153"/>
                      <a:pt x="1" y="156"/>
                    </a:cubicBezTo>
                    <a:cubicBezTo>
                      <a:pt x="48" y="279"/>
                      <a:pt x="48" y="279"/>
                      <a:pt x="48" y="279"/>
                    </a:cubicBezTo>
                    <a:cubicBezTo>
                      <a:pt x="55" y="276"/>
                      <a:pt x="64" y="274"/>
                      <a:pt x="72" y="274"/>
                    </a:cubicBezTo>
                    <a:cubicBezTo>
                      <a:pt x="110" y="274"/>
                      <a:pt x="140" y="305"/>
                      <a:pt x="140" y="342"/>
                    </a:cubicBezTo>
                    <a:cubicBezTo>
                      <a:pt x="140" y="342"/>
                      <a:pt x="140" y="342"/>
                      <a:pt x="140" y="342"/>
                    </a:cubicBezTo>
                    <a:cubicBezTo>
                      <a:pt x="203" y="342"/>
                      <a:pt x="203" y="342"/>
                      <a:pt x="203" y="342"/>
                    </a:cubicBezTo>
                    <a:cubicBezTo>
                      <a:pt x="265" y="342"/>
                      <a:pt x="265" y="342"/>
                      <a:pt x="265" y="342"/>
                    </a:cubicBezTo>
                    <a:cubicBezTo>
                      <a:pt x="300" y="342"/>
                      <a:pt x="300" y="342"/>
                      <a:pt x="300" y="342"/>
                    </a:cubicBezTo>
                    <a:cubicBezTo>
                      <a:pt x="300" y="342"/>
                      <a:pt x="300" y="342"/>
                      <a:pt x="300" y="342"/>
                    </a:cubicBezTo>
                    <a:cubicBezTo>
                      <a:pt x="300" y="305"/>
                      <a:pt x="330" y="274"/>
                      <a:pt x="368" y="274"/>
                    </a:cubicBezTo>
                    <a:cubicBezTo>
                      <a:pt x="376" y="274"/>
                      <a:pt x="384" y="276"/>
                      <a:pt x="392" y="279"/>
                    </a:cubicBezTo>
                    <a:cubicBezTo>
                      <a:pt x="438" y="156"/>
                      <a:pt x="438" y="156"/>
                      <a:pt x="438" y="156"/>
                    </a:cubicBezTo>
                    <a:cubicBezTo>
                      <a:pt x="440" y="153"/>
                      <a:pt x="439" y="150"/>
                      <a:pt x="437" y="147"/>
                    </a:cubicBezTo>
                    <a:close/>
                    <a:moveTo>
                      <a:pt x="243" y="130"/>
                    </a:moveTo>
                    <a:cubicBezTo>
                      <a:pt x="245" y="136"/>
                      <a:pt x="249" y="140"/>
                      <a:pt x="253" y="143"/>
                    </a:cubicBezTo>
                    <a:cubicBezTo>
                      <a:pt x="233" y="143"/>
                      <a:pt x="233" y="143"/>
                      <a:pt x="233" y="143"/>
                    </a:cubicBezTo>
                    <a:cubicBezTo>
                      <a:pt x="238" y="140"/>
                      <a:pt x="241" y="136"/>
                      <a:pt x="243" y="130"/>
                    </a:cubicBezTo>
                    <a:close/>
                    <a:moveTo>
                      <a:pt x="243" y="82"/>
                    </a:moveTo>
                    <a:cubicBezTo>
                      <a:pt x="246" y="89"/>
                      <a:pt x="251" y="95"/>
                      <a:pt x="258" y="98"/>
                    </a:cubicBezTo>
                    <a:cubicBezTo>
                      <a:pt x="251" y="100"/>
                      <a:pt x="246" y="106"/>
                      <a:pt x="243" y="113"/>
                    </a:cubicBezTo>
                    <a:cubicBezTo>
                      <a:pt x="241" y="106"/>
                      <a:pt x="235" y="100"/>
                      <a:pt x="228" y="98"/>
                    </a:cubicBezTo>
                    <a:cubicBezTo>
                      <a:pt x="235" y="95"/>
                      <a:pt x="241" y="89"/>
                      <a:pt x="243" y="82"/>
                    </a:cubicBezTo>
                    <a:close/>
                    <a:moveTo>
                      <a:pt x="195" y="82"/>
                    </a:moveTo>
                    <a:cubicBezTo>
                      <a:pt x="198" y="89"/>
                      <a:pt x="203" y="95"/>
                      <a:pt x="210" y="98"/>
                    </a:cubicBezTo>
                    <a:cubicBezTo>
                      <a:pt x="203" y="100"/>
                      <a:pt x="198" y="106"/>
                      <a:pt x="195" y="113"/>
                    </a:cubicBezTo>
                    <a:cubicBezTo>
                      <a:pt x="193" y="106"/>
                      <a:pt x="187" y="100"/>
                      <a:pt x="180" y="98"/>
                    </a:cubicBezTo>
                    <a:cubicBezTo>
                      <a:pt x="187" y="95"/>
                      <a:pt x="193" y="89"/>
                      <a:pt x="195" y="82"/>
                    </a:cubicBezTo>
                    <a:close/>
                    <a:moveTo>
                      <a:pt x="185" y="143"/>
                    </a:moveTo>
                    <a:cubicBezTo>
                      <a:pt x="190" y="140"/>
                      <a:pt x="193" y="136"/>
                      <a:pt x="195" y="130"/>
                    </a:cubicBezTo>
                    <a:cubicBezTo>
                      <a:pt x="197" y="136"/>
                      <a:pt x="201" y="140"/>
                      <a:pt x="205" y="143"/>
                    </a:cubicBezTo>
                    <a:lnTo>
                      <a:pt x="185" y="143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0" name="Groupe 175"/>
          <p:cNvGrpSpPr/>
          <p:nvPr/>
        </p:nvGrpSpPr>
        <p:grpSpPr>
          <a:xfrm>
            <a:off x="4195682" y="2010967"/>
            <a:ext cx="749560" cy="749650"/>
            <a:chOff x="3670536" y="7314160"/>
            <a:chExt cx="772352" cy="772352"/>
          </a:xfrm>
        </p:grpSpPr>
        <p:sp>
          <p:nvSpPr>
            <p:cNvPr id="130" name="Ellipse 129"/>
            <p:cNvSpPr/>
            <p:nvPr/>
          </p:nvSpPr>
          <p:spPr bwMode="gray">
            <a:xfrm>
              <a:off x="3670536" y="7314160"/>
              <a:ext cx="772352" cy="772352"/>
            </a:xfrm>
            <a:prstGeom prst="ellipse">
              <a:avLst/>
            </a:prstGeom>
            <a:solidFill>
              <a:srgbClr val="55233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1" name="Freeform 38"/>
            <p:cNvSpPr>
              <a:spLocks/>
            </p:cNvSpPr>
            <p:nvPr/>
          </p:nvSpPr>
          <p:spPr bwMode="auto">
            <a:xfrm>
              <a:off x="3911470" y="7515502"/>
              <a:ext cx="290485" cy="369669"/>
            </a:xfrm>
            <a:custGeom>
              <a:avLst/>
              <a:gdLst>
                <a:gd name="T0" fmla="*/ 274 w 286"/>
                <a:gd name="T1" fmla="*/ 183 h 364"/>
                <a:gd name="T2" fmla="*/ 286 w 286"/>
                <a:gd name="T3" fmla="*/ 171 h 364"/>
                <a:gd name="T4" fmla="*/ 274 w 286"/>
                <a:gd name="T5" fmla="*/ 159 h 364"/>
                <a:gd name="T6" fmla="*/ 262 w 286"/>
                <a:gd name="T7" fmla="*/ 159 h 364"/>
                <a:gd name="T8" fmla="*/ 262 w 286"/>
                <a:gd name="T9" fmla="*/ 24 h 364"/>
                <a:gd name="T10" fmla="*/ 274 w 286"/>
                <a:gd name="T11" fmla="*/ 24 h 364"/>
                <a:gd name="T12" fmla="*/ 286 w 286"/>
                <a:gd name="T13" fmla="*/ 12 h 364"/>
                <a:gd name="T14" fmla="*/ 274 w 286"/>
                <a:gd name="T15" fmla="*/ 0 h 364"/>
                <a:gd name="T16" fmla="*/ 12 w 286"/>
                <a:gd name="T17" fmla="*/ 0 h 364"/>
                <a:gd name="T18" fmla="*/ 0 w 286"/>
                <a:gd name="T19" fmla="*/ 12 h 364"/>
                <a:gd name="T20" fmla="*/ 12 w 286"/>
                <a:gd name="T21" fmla="*/ 24 h 364"/>
                <a:gd name="T22" fmla="*/ 24 w 286"/>
                <a:gd name="T23" fmla="*/ 24 h 364"/>
                <a:gd name="T24" fmla="*/ 24 w 286"/>
                <a:gd name="T25" fmla="*/ 159 h 364"/>
                <a:gd name="T26" fmla="*/ 12 w 286"/>
                <a:gd name="T27" fmla="*/ 159 h 364"/>
                <a:gd name="T28" fmla="*/ 0 w 286"/>
                <a:gd name="T29" fmla="*/ 171 h 364"/>
                <a:gd name="T30" fmla="*/ 12 w 286"/>
                <a:gd name="T31" fmla="*/ 183 h 364"/>
                <a:gd name="T32" fmla="*/ 24 w 286"/>
                <a:gd name="T33" fmla="*/ 183 h 364"/>
                <a:gd name="T34" fmla="*/ 24 w 286"/>
                <a:gd name="T35" fmla="*/ 340 h 364"/>
                <a:gd name="T36" fmla="*/ 12 w 286"/>
                <a:gd name="T37" fmla="*/ 340 h 364"/>
                <a:gd name="T38" fmla="*/ 0 w 286"/>
                <a:gd name="T39" fmla="*/ 352 h 364"/>
                <a:gd name="T40" fmla="*/ 12 w 286"/>
                <a:gd name="T41" fmla="*/ 364 h 364"/>
                <a:gd name="T42" fmla="*/ 274 w 286"/>
                <a:gd name="T43" fmla="*/ 364 h 364"/>
                <a:gd name="T44" fmla="*/ 286 w 286"/>
                <a:gd name="T45" fmla="*/ 352 h 364"/>
                <a:gd name="T46" fmla="*/ 274 w 286"/>
                <a:gd name="T47" fmla="*/ 340 h 364"/>
                <a:gd name="T48" fmla="*/ 262 w 286"/>
                <a:gd name="T49" fmla="*/ 340 h 364"/>
                <a:gd name="T50" fmla="*/ 262 w 286"/>
                <a:gd name="T51" fmla="*/ 183 h 364"/>
                <a:gd name="T52" fmla="*/ 274 w 286"/>
                <a:gd name="T53" fmla="*/ 183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6" h="364">
                  <a:moveTo>
                    <a:pt x="274" y="183"/>
                  </a:moveTo>
                  <a:cubicBezTo>
                    <a:pt x="280" y="183"/>
                    <a:pt x="286" y="177"/>
                    <a:pt x="286" y="171"/>
                  </a:cubicBezTo>
                  <a:cubicBezTo>
                    <a:pt x="286" y="164"/>
                    <a:pt x="280" y="159"/>
                    <a:pt x="274" y="159"/>
                  </a:cubicBezTo>
                  <a:cubicBezTo>
                    <a:pt x="262" y="159"/>
                    <a:pt x="262" y="159"/>
                    <a:pt x="262" y="159"/>
                  </a:cubicBezTo>
                  <a:cubicBezTo>
                    <a:pt x="262" y="24"/>
                    <a:pt x="262" y="24"/>
                    <a:pt x="262" y="24"/>
                  </a:cubicBezTo>
                  <a:cubicBezTo>
                    <a:pt x="274" y="24"/>
                    <a:pt x="274" y="24"/>
                    <a:pt x="274" y="24"/>
                  </a:cubicBezTo>
                  <a:cubicBezTo>
                    <a:pt x="280" y="24"/>
                    <a:pt x="286" y="19"/>
                    <a:pt x="286" y="12"/>
                  </a:cubicBezTo>
                  <a:cubicBezTo>
                    <a:pt x="286" y="5"/>
                    <a:pt x="280" y="0"/>
                    <a:pt x="27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12" y="159"/>
                    <a:pt x="12" y="159"/>
                    <a:pt x="12" y="159"/>
                  </a:cubicBezTo>
                  <a:cubicBezTo>
                    <a:pt x="5" y="159"/>
                    <a:pt x="0" y="164"/>
                    <a:pt x="0" y="171"/>
                  </a:cubicBezTo>
                  <a:cubicBezTo>
                    <a:pt x="0" y="177"/>
                    <a:pt x="5" y="183"/>
                    <a:pt x="12" y="183"/>
                  </a:cubicBezTo>
                  <a:cubicBezTo>
                    <a:pt x="24" y="183"/>
                    <a:pt x="24" y="183"/>
                    <a:pt x="24" y="183"/>
                  </a:cubicBezTo>
                  <a:cubicBezTo>
                    <a:pt x="24" y="340"/>
                    <a:pt x="24" y="340"/>
                    <a:pt x="24" y="340"/>
                  </a:cubicBezTo>
                  <a:cubicBezTo>
                    <a:pt x="12" y="340"/>
                    <a:pt x="12" y="340"/>
                    <a:pt x="12" y="340"/>
                  </a:cubicBezTo>
                  <a:cubicBezTo>
                    <a:pt x="5" y="340"/>
                    <a:pt x="0" y="345"/>
                    <a:pt x="0" y="352"/>
                  </a:cubicBezTo>
                  <a:cubicBezTo>
                    <a:pt x="0" y="359"/>
                    <a:pt x="5" y="364"/>
                    <a:pt x="12" y="364"/>
                  </a:cubicBezTo>
                  <a:cubicBezTo>
                    <a:pt x="274" y="364"/>
                    <a:pt x="274" y="364"/>
                    <a:pt x="274" y="364"/>
                  </a:cubicBezTo>
                  <a:cubicBezTo>
                    <a:pt x="280" y="364"/>
                    <a:pt x="286" y="359"/>
                    <a:pt x="286" y="352"/>
                  </a:cubicBezTo>
                  <a:cubicBezTo>
                    <a:pt x="286" y="345"/>
                    <a:pt x="280" y="340"/>
                    <a:pt x="274" y="340"/>
                  </a:cubicBezTo>
                  <a:cubicBezTo>
                    <a:pt x="262" y="340"/>
                    <a:pt x="262" y="340"/>
                    <a:pt x="262" y="340"/>
                  </a:cubicBezTo>
                  <a:cubicBezTo>
                    <a:pt x="262" y="183"/>
                    <a:pt x="262" y="183"/>
                    <a:pt x="262" y="183"/>
                  </a:cubicBezTo>
                  <a:lnTo>
                    <a:pt x="274" y="18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" name="Groupe 178"/>
          <p:cNvGrpSpPr/>
          <p:nvPr/>
        </p:nvGrpSpPr>
        <p:grpSpPr>
          <a:xfrm>
            <a:off x="2659911" y="2010967"/>
            <a:ext cx="749560" cy="749650"/>
            <a:chOff x="2479264" y="7314160"/>
            <a:chExt cx="772352" cy="772352"/>
          </a:xfrm>
        </p:grpSpPr>
        <p:sp>
          <p:nvSpPr>
            <p:cNvPr id="133" name="Ellipse 132"/>
            <p:cNvSpPr/>
            <p:nvPr/>
          </p:nvSpPr>
          <p:spPr bwMode="gray">
            <a:xfrm>
              <a:off x="2479264" y="7314160"/>
              <a:ext cx="772352" cy="772352"/>
            </a:xfrm>
            <a:prstGeom prst="ellips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4" name="Freeform 42"/>
            <p:cNvSpPr>
              <a:spLocks/>
            </p:cNvSpPr>
            <p:nvPr/>
          </p:nvSpPr>
          <p:spPr bwMode="auto">
            <a:xfrm>
              <a:off x="2681466" y="7450734"/>
              <a:ext cx="367948" cy="499204"/>
            </a:xfrm>
            <a:custGeom>
              <a:avLst/>
              <a:gdLst>
                <a:gd name="T0" fmla="*/ 361 w 362"/>
                <a:gd name="T1" fmla="*/ 169 h 491"/>
                <a:gd name="T2" fmla="*/ 358 w 362"/>
                <a:gd name="T3" fmla="*/ 167 h 491"/>
                <a:gd name="T4" fmla="*/ 210 w 362"/>
                <a:gd name="T5" fmla="*/ 166 h 491"/>
                <a:gd name="T6" fmla="*/ 255 w 362"/>
                <a:gd name="T7" fmla="*/ 91 h 491"/>
                <a:gd name="T8" fmla="*/ 255 w 362"/>
                <a:gd name="T9" fmla="*/ 91 h 491"/>
                <a:gd name="T10" fmla="*/ 262 w 362"/>
                <a:gd name="T11" fmla="*/ 61 h 491"/>
                <a:gd name="T12" fmla="*/ 201 w 362"/>
                <a:gd name="T13" fmla="*/ 0 h 491"/>
                <a:gd name="T14" fmla="*/ 150 w 362"/>
                <a:gd name="T15" fmla="*/ 28 h 491"/>
                <a:gd name="T16" fmla="*/ 149 w 362"/>
                <a:gd name="T17" fmla="*/ 29 h 491"/>
                <a:gd name="T18" fmla="*/ 148 w 362"/>
                <a:gd name="T19" fmla="*/ 31 h 491"/>
                <a:gd name="T20" fmla="*/ 147 w 362"/>
                <a:gd name="T21" fmla="*/ 33 h 491"/>
                <a:gd name="T22" fmla="*/ 1 w 362"/>
                <a:gd name="T23" fmla="*/ 284 h 491"/>
                <a:gd name="T24" fmla="*/ 1 w 362"/>
                <a:gd name="T25" fmla="*/ 288 h 491"/>
                <a:gd name="T26" fmla="*/ 4 w 362"/>
                <a:gd name="T27" fmla="*/ 290 h 491"/>
                <a:gd name="T28" fmla="*/ 117 w 362"/>
                <a:gd name="T29" fmla="*/ 290 h 491"/>
                <a:gd name="T30" fmla="*/ 10 w 362"/>
                <a:gd name="T31" fmla="*/ 485 h 491"/>
                <a:gd name="T32" fmla="*/ 11 w 362"/>
                <a:gd name="T33" fmla="*/ 490 h 491"/>
                <a:gd name="T34" fmla="*/ 13 w 362"/>
                <a:gd name="T35" fmla="*/ 491 h 491"/>
                <a:gd name="T36" fmla="*/ 16 w 362"/>
                <a:gd name="T37" fmla="*/ 490 h 491"/>
                <a:gd name="T38" fmla="*/ 360 w 362"/>
                <a:gd name="T39" fmla="*/ 173 h 491"/>
                <a:gd name="T40" fmla="*/ 361 w 362"/>
                <a:gd name="T41" fmla="*/ 169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2" h="491">
                  <a:moveTo>
                    <a:pt x="361" y="169"/>
                  </a:moveTo>
                  <a:cubicBezTo>
                    <a:pt x="361" y="168"/>
                    <a:pt x="359" y="167"/>
                    <a:pt x="358" y="167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55" y="91"/>
                    <a:pt x="255" y="91"/>
                    <a:pt x="255" y="91"/>
                  </a:cubicBezTo>
                  <a:cubicBezTo>
                    <a:pt x="255" y="91"/>
                    <a:pt x="255" y="91"/>
                    <a:pt x="255" y="91"/>
                  </a:cubicBezTo>
                  <a:cubicBezTo>
                    <a:pt x="260" y="82"/>
                    <a:pt x="262" y="72"/>
                    <a:pt x="262" y="61"/>
                  </a:cubicBezTo>
                  <a:cubicBezTo>
                    <a:pt x="262" y="28"/>
                    <a:pt x="235" y="0"/>
                    <a:pt x="201" y="0"/>
                  </a:cubicBezTo>
                  <a:cubicBezTo>
                    <a:pt x="180" y="0"/>
                    <a:pt x="161" y="11"/>
                    <a:pt x="150" y="28"/>
                  </a:cubicBezTo>
                  <a:cubicBezTo>
                    <a:pt x="149" y="28"/>
                    <a:pt x="149" y="28"/>
                    <a:pt x="149" y="29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7" y="32"/>
                    <a:pt x="147" y="33"/>
                  </a:cubicBezTo>
                  <a:cubicBezTo>
                    <a:pt x="1" y="284"/>
                    <a:pt x="1" y="284"/>
                    <a:pt x="1" y="284"/>
                  </a:cubicBezTo>
                  <a:cubicBezTo>
                    <a:pt x="0" y="285"/>
                    <a:pt x="0" y="287"/>
                    <a:pt x="1" y="288"/>
                  </a:cubicBezTo>
                  <a:cubicBezTo>
                    <a:pt x="1" y="289"/>
                    <a:pt x="3" y="290"/>
                    <a:pt x="4" y="290"/>
                  </a:cubicBezTo>
                  <a:cubicBezTo>
                    <a:pt x="117" y="290"/>
                    <a:pt x="117" y="290"/>
                    <a:pt x="117" y="290"/>
                  </a:cubicBezTo>
                  <a:cubicBezTo>
                    <a:pt x="10" y="485"/>
                    <a:pt x="10" y="485"/>
                    <a:pt x="10" y="485"/>
                  </a:cubicBezTo>
                  <a:cubicBezTo>
                    <a:pt x="9" y="487"/>
                    <a:pt x="9" y="489"/>
                    <a:pt x="11" y="490"/>
                  </a:cubicBezTo>
                  <a:cubicBezTo>
                    <a:pt x="12" y="491"/>
                    <a:pt x="12" y="491"/>
                    <a:pt x="13" y="491"/>
                  </a:cubicBezTo>
                  <a:cubicBezTo>
                    <a:pt x="14" y="491"/>
                    <a:pt x="15" y="491"/>
                    <a:pt x="16" y="490"/>
                  </a:cubicBezTo>
                  <a:cubicBezTo>
                    <a:pt x="360" y="173"/>
                    <a:pt x="360" y="173"/>
                    <a:pt x="360" y="173"/>
                  </a:cubicBezTo>
                  <a:cubicBezTo>
                    <a:pt x="361" y="172"/>
                    <a:pt x="362" y="171"/>
                    <a:pt x="361" y="16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Groupe 181"/>
          <p:cNvGrpSpPr/>
          <p:nvPr/>
        </p:nvGrpSpPr>
        <p:grpSpPr>
          <a:xfrm>
            <a:off x="1124140" y="2010967"/>
            <a:ext cx="749560" cy="749650"/>
            <a:chOff x="1287992" y="7314160"/>
            <a:chExt cx="772352" cy="772352"/>
          </a:xfrm>
        </p:grpSpPr>
        <p:sp>
          <p:nvSpPr>
            <p:cNvPr id="136" name="Ellipse 135"/>
            <p:cNvSpPr/>
            <p:nvPr/>
          </p:nvSpPr>
          <p:spPr bwMode="gray">
            <a:xfrm>
              <a:off x="1287992" y="7314160"/>
              <a:ext cx="772352" cy="772352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7" name="Freeform 46"/>
            <p:cNvSpPr>
              <a:spLocks noEditPoints="1"/>
            </p:cNvSpPr>
            <p:nvPr/>
          </p:nvSpPr>
          <p:spPr bwMode="auto">
            <a:xfrm>
              <a:off x="1535811" y="7450734"/>
              <a:ext cx="276714" cy="499204"/>
            </a:xfrm>
            <a:custGeom>
              <a:avLst/>
              <a:gdLst>
                <a:gd name="T0" fmla="*/ 267 w 272"/>
                <a:gd name="T1" fmla="*/ 320 h 491"/>
                <a:gd name="T2" fmla="*/ 267 w 272"/>
                <a:gd name="T3" fmla="*/ 320 h 491"/>
                <a:gd name="T4" fmla="*/ 267 w 272"/>
                <a:gd name="T5" fmla="*/ 320 h 491"/>
                <a:gd name="T6" fmla="*/ 141 w 272"/>
                <a:gd name="T7" fmla="*/ 4 h 491"/>
                <a:gd name="T8" fmla="*/ 142 w 272"/>
                <a:gd name="T9" fmla="*/ 4 h 491"/>
                <a:gd name="T10" fmla="*/ 136 w 272"/>
                <a:gd name="T11" fmla="*/ 0 h 491"/>
                <a:gd name="T12" fmla="*/ 136 w 272"/>
                <a:gd name="T13" fmla="*/ 0 h 491"/>
                <a:gd name="T14" fmla="*/ 136 w 272"/>
                <a:gd name="T15" fmla="*/ 0 h 491"/>
                <a:gd name="T16" fmla="*/ 130 w 272"/>
                <a:gd name="T17" fmla="*/ 4 h 491"/>
                <a:gd name="T18" fmla="*/ 131 w 272"/>
                <a:gd name="T19" fmla="*/ 4 h 491"/>
                <a:gd name="T20" fmla="*/ 5 w 272"/>
                <a:gd name="T21" fmla="*/ 320 h 491"/>
                <a:gd name="T22" fmla="*/ 5 w 272"/>
                <a:gd name="T23" fmla="*/ 320 h 491"/>
                <a:gd name="T24" fmla="*/ 5 w 272"/>
                <a:gd name="T25" fmla="*/ 320 h 491"/>
                <a:gd name="T26" fmla="*/ 0 w 272"/>
                <a:gd name="T27" fmla="*/ 355 h 491"/>
                <a:gd name="T28" fmla="*/ 136 w 272"/>
                <a:gd name="T29" fmla="*/ 491 h 491"/>
                <a:gd name="T30" fmla="*/ 137 w 272"/>
                <a:gd name="T31" fmla="*/ 491 h 491"/>
                <a:gd name="T32" fmla="*/ 272 w 272"/>
                <a:gd name="T33" fmla="*/ 355 h 491"/>
                <a:gd name="T34" fmla="*/ 267 w 272"/>
                <a:gd name="T35" fmla="*/ 320 h 491"/>
                <a:gd name="T36" fmla="*/ 136 w 272"/>
                <a:gd name="T37" fmla="*/ 439 h 491"/>
                <a:gd name="T38" fmla="*/ 60 w 272"/>
                <a:gd name="T39" fmla="*/ 363 h 491"/>
                <a:gd name="T40" fmla="*/ 136 w 272"/>
                <a:gd name="T41" fmla="*/ 287 h 491"/>
                <a:gd name="T42" fmla="*/ 212 w 272"/>
                <a:gd name="T43" fmla="*/ 363 h 491"/>
                <a:gd name="T44" fmla="*/ 136 w 272"/>
                <a:gd name="T45" fmla="*/ 439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2" h="491">
                  <a:moveTo>
                    <a:pt x="267" y="320"/>
                  </a:move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141" y="4"/>
                    <a:pt x="141" y="4"/>
                    <a:pt x="141" y="4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1" y="2"/>
                    <a:pt x="139" y="0"/>
                    <a:pt x="1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4" y="0"/>
                    <a:pt x="131" y="2"/>
                    <a:pt x="130" y="4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5" y="320"/>
                    <a:pt x="5" y="320"/>
                    <a:pt x="5" y="320"/>
                  </a:cubicBezTo>
                  <a:cubicBezTo>
                    <a:pt x="5" y="320"/>
                    <a:pt x="5" y="320"/>
                    <a:pt x="5" y="320"/>
                  </a:cubicBezTo>
                  <a:cubicBezTo>
                    <a:pt x="5" y="320"/>
                    <a:pt x="5" y="320"/>
                    <a:pt x="5" y="320"/>
                  </a:cubicBezTo>
                  <a:cubicBezTo>
                    <a:pt x="2" y="331"/>
                    <a:pt x="0" y="343"/>
                    <a:pt x="0" y="355"/>
                  </a:cubicBezTo>
                  <a:cubicBezTo>
                    <a:pt x="0" y="430"/>
                    <a:pt x="61" y="491"/>
                    <a:pt x="136" y="491"/>
                  </a:cubicBezTo>
                  <a:cubicBezTo>
                    <a:pt x="137" y="491"/>
                    <a:pt x="137" y="491"/>
                    <a:pt x="137" y="491"/>
                  </a:cubicBezTo>
                  <a:cubicBezTo>
                    <a:pt x="211" y="491"/>
                    <a:pt x="272" y="430"/>
                    <a:pt x="272" y="355"/>
                  </a:cubicBezTo>
                  <a:cubicBezTo>
                    <a:pt x="272" y="343"/>
                    <a:pt x="270" y="331"/>
                    <a:pt x="267" y="320"/>
                  </a:cubicBezTo>
                  <a:close/>
                  <a:moveTo>
                    <a:pt x="136" y="439"/>
                  </a:moveTo>
                  <a:cubicBezTo>
                    <a:pt x="94" y="439"/>
                    <a:pt x="60" y="405"/>
                    <a:pt x="60" y="363"/>
                  </a:cubicBezTo>
                  <a:cubicBezTo>
                    <a:pt x="60" y="321"/>
                    <a:pt x="94" y="287"/>
                    <a:pt x="136" y="287"/>
                  </a:cubicBezTo>
                  <a:cubicBezTo>
                    <a:pt x="178" y="287"/>
                    <a:pt x="212" y="321"/>
                    <a:pt x="212" y="363"/>
                  </a:cubicBezTo>
                  <a:cubicBezTo>
                    <a:pt x="212" y="405"/>
                    <a:pt x="178" y="439"/>
                    <a:pt x="136" y="43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" name="Groupe 184"/>
          <p:cNvGrpSpPr/>
          <p:nvPr/>
        </p:nvGrpSpPr>
        <p:grpSpPr>
          <a:xfrm>
            <a:off x="2659911" y="3543676"/>
            <a:ext cx="749560" cy="749650"/>
            <a:chOff x="8435624" y="7314160"/>
            <a:chExt cx="772352" cy="772352"/>
          </a:xfrm>
        </p:grpSpPr>
        <p:sp>
          <p:nvSpPr>
            <p:cNvPr id="139" name="Ellipse 138"/>
            <p:cNvSpPr/>
            <p:nvPr/>
          </p:nvSpPr>
          <p:spPr bwMode="gray">
            <a:xfrm>
              <a:off x="8435624" y="7314160"/>
              <a:ext cx="772352" cy="772352"/>
            </a:xfrm>
            <a:prstGeom prst="ellipse">
              <a:avLst/>
            </a:prstGeom>
            <a:solidFill>
              <a:srgbClr val="BEB9A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0" name="Freeform 50"/>
            <p:cNvSpPr>
              <a:spLocks/>
            </p:cNvSpPr>
            <p:nvPr/>
          </p:nvSpPr>
          <p:spPr bwMode="auto">
            <a:xfrm>
              <a:off x="8626196" y="7514674"/>
              <a:ext cx="391208" cy="371324"/>
            </a:xfrm>
            <a:custGeom>
              <a:avLst/>
              <a:gdLst>
                <a:gd name="T0" fmla="*/ 329 w 333"/>
                <a:gd name="T1" fmla="*/ 316 h 316"/>
                <a:gd name="T2" fmla="*/ 333 w 333"/>
                <a:gd name="T3" fmla="*/ 312 h 316"/>
                <a:gd name="T4" fmla="*/ 333 w 333"/>
                <a:gd name="T5" fmla="*/ 106 h 316"/>
                <a:gd name="T6" fmla="*/ 331 w 333"/>
                <a:gd name="T7" fmla="*/ 103 h 316"/>
                <a:gd name="T8" fmla="*/ 327 w 333"/>
                <a:gd name="T9" fmla="*/ 102 h 316"/>
                <a:gd name="T10" fmla="*/ 196 w 333"/>
                <a:gd name="T11" fmla="*/ 173 h 316"/>
                <a:gd name="T12" fmla="*/ 196 w 333"/>
                <a:gd name="T13" fmla="*/ 106 h 316"/>
                <a:gd name="T14" fmla="*/ 194 w 333"/>
                <a:gd name="T15" fmla="*/ 103 h 316"/>
                <a:gd name="T16" fmla="*/ 190 w 333"/>
                <a:gd name="T17" fmla="*/ 102 h 316"/>
                <a:gd name="T18" fmla="*/ 48 w 333"/>
                <a:gd name="T19" fmla="*/ 173 h 316"/>
                <a:gd name="T20" fmla="*/ 48 w 333"/>
                <a:gd name="T21" fmla="*/ 24 h 316"/>
                <a:gd name="T22" fmla="*/ 24 w 333"/>
                <a:gd name="T23" fmla="*/ 0 h 316"/>
                <a:gd name="T24" fmla="*/ 0 w 333"/>
                <a:gd name="T25" fmla="*/ 24 h 316"/>
                <a:gd name="T26" fmla="*/ 0 w 333"/>
                <a:gd name="T27" fmla="*/ 291 h 316"/>
                <a:gd name="T28" fmla="*/ 24 w 333"/>
                <a:gd name="T29" fmla="*/ 315 h 316"/>
                <a:gd name="T30" fmla="*/ 329 w 333"/>
                <a:gd name="T31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316">
                  <a:moveTo>
                    <a:pt x="329" y="316"/>
                  </a:moveTo>
                  <a:cubicBezTo>
                    <a:pt x="331" y="316"/>
                    <a:pt x="333" y="314"/>
                    <a:pt x="333" y="312"/>
                  </a:cubicBezTo>
                  <a:cubicBezTo>
                    <a:pt x="333" y="106"/>
                    <a:pt x="333" y="106"/>
                    <a:pt x="333" y="106"/>
                  </a:cubicBezTo>
                  <a:cubicBezTo>
                    <a:pt x="333" y="105"/>
                    <a:pt x="332" y="103"/>
                    <a:pt x="331" y="103"/>
                  </a:cubicBezTo>
                  <a:cubicBezTo>
                    <a:pt x="329" y="102"/>
                    <a:pt x="328" y="102"/>
                    <a:pt x="327" y="102"/>
                  </a:cubicBezTo>
                  <a:cubicBezTo>
                    <a:pt x="196" y="173"/>
                    <a:pt x="196" y="173"/>
                    <a:pt x="196" y="173"/>
                  </a:cubicBezTo>
                  <a:cubicBezTo>
                    <a:pt x="196" y="106"/>
                    <a:pt x="196" y="106"/>
                    <a:pt x="196" y="106"/>
                  </a:cubicBezTo>
                  <a:cubicBezTo>
                    <a:pt x="196" y="105"/>
                    <a:pt x="195" y="103"/>
                    <a:pt x="194" y="103"/>
                  </a:cubicBezTo>
                  <a:cubicBezTo>
                    <a:pt x="193" y="102"/>
                    <a:pt x="191" y="102"/>
                    <a:pt x="190" y="102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1"/>
                    <a:pt x="37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0" y="305"/>
                    <a:pt x="11" y="315"/>
                    <a:pt x="24" y="315"/>
                  </a:cubicBezTo>
                  <a:lnTo>
                    <a:pt x="329" y="3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" name="Groupe 187"/>
          <p:cNvGrpSpPr/>
          <p:nvPr/>
        </p:nvGrpSpPr>
        <p:grpSpPr>
          <a:xfrm>
            <a:off x="4195682" y="3543676"/>
            <a:ext cx="749560" cy="749650"/>
            <a:chOff x="9626896" y="7314160"/>
            <a:chExt cx="772352" cy="772352"/>
          </a:xfrm>
        </p:grpSpPr>
        <p:sp>
          <p:nvSpPr>
            <p:cNvPr id="142" name="Ellipse 141"/>
            <p:cNvSpPr/>
            <p:nvPr/>
          </p:nvSpPr>
          <p:spPr bwMode="gray">
            <a:xfrm>
              <a:off x="9626896" y="7314160"/>
              <a:ext cx="772352" cy="772352"/>
            </a:xfrm>
            <a:prstGeom prst="ellipse">
              <a:avLst/>
            </a:prstGeom>
            <a:solidFill>
              <a:srgbClr val="BEB9A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3" name="Freeform 54"/>
            <p:cNvSpPr>
              <a:spLocks noEditPoints="1"/>
            </p:cNvSpPr>
            <p:nvPr/>
          </p:nvSpPr>
          <p:spPr bwMode="auto">
            <a:xfrm>
              <a:off x="9813542" y="7499849"/>
              <a:ext cx="399062" cy="400974"/>
            </a:xfrm>
            <a:custGeom>
              <a:avLst/>
              <a:gdLst>
                <a:gd name="T0" fmla="*/ 313 w 353"/>
                <a:gd name="T1" fmla="*/ 275 h 355"/>
                <a:gd name="T2" fmla="*/ 290 w 353"/>
                <a:gd name="T3" fmla="*/ 282 h 355"/>
                <a:gd name="T4" fmla="*/ 240 w 353"/>
                <a:gd name="T5" fmla="*/ 229 h 355"/>
                <a:gd name="T6" fmla="*/ 257 w 353"/>
                <a:gd name="T7" fmla="*/ 178 h 355"/>
                <a:gd name="T8" fmla="*/ 241 w 353"/>
                <a:gd name="T9" fmla="*/ 129 h 355"/>
                <a:gd name="T10" fmla="*/ 293 w 353"/>
                <a:gd name="T11" fmla="*/ 75 h 355"/>
                <a:gd name="T12" fmla="*/ 313 w 353"/>
                <a:gd name="T13" fmla="*/ 80 h 355"/>
                <a:gd name="T14" fmla="*/ 353 w 353"/>
                <a:gd name="T15" fmla="*/ 40 h 355"/>
                <a:gd name="T16" fmla="*/ 313 w 353"/>
                <a:gd name="T17" fmla="*/ 0 h 355"/>
                <a:gd name="T18" fmla="*/ 273 w 353"/>
                <a:gd name="T19" fmla="*/ 40 h 355"/>
                <a:gd name="T20" fmla="*/ 277 w 353"/>
                <a:gd name="T21" fmla="*/ 58 h 355"/>
                <a:gd name="T22" fmla="*/ 224 w 353"/>
                <a:gd name="T23" fmla="*/ 112 h 355"/>
                <a:gd name="T24" fmla="*/ 175 w 353"/>
                <a:gd name="T25" fmla="*/ 96 h 355"/>
                <a:gd name="T26" fmla="*/ 127 w 353"/>
                <a:gd name="T27" fmla="*/ 112 h 355"/>
                <a:gd name="T28" fmla="*/ 76 w 353"/>
                <a:gd name="T29" fmla="*/ 58 h 355"/>
                <a:gd name="T30" fmla="*/ 80 w 353"/>
                <a:gd name="T31" fmla="*/ 40 h 355"/>
                <a:gd name="T32" fmla="*/ 40 w 353"/>
                <a:gd name="T33" fmla="*/ 0 h 355"/>
                <a:gd name="T34" fmla="*/ 0 w 353"/>
                <a:gd name="T35" fmla="*/ 40 h 355"/>
                <a:gd name="T36" fmla="*/ 40 w 353"/>
                <a:gd name="T37" fmla="*/ 80 h 355"/>
                <a:gd name="T38" fmla="*/ 59 w 353"/>
                <a:gd name="T39" fmla="*/ 75 h 355"/>
                <a:gd name="T40" fmla="*/ 110 w 353"/>
                <a:gd name="T41" fmla="*/ 128 h 355"/>
                <a:gd name="T42" fmla="*/ 93 w 353"/>
                <a:gd name="T43" fmla="*/ 178 h 355"/>
                <a:gd name="T44" fmla="*/ 111 w 353"/>
                <a:gd name="T45" fmla="*/ 230 h 355"/>
                <a:gd name="T46" fmla="*/ 62 w 353"/>
                <a:gd name="T47" fmla="*/ 281 h 355"/>
                <a:gd name="T48" fmla="*/ 40 w 353"/>
                <a:gd name="T49" fmla="*/ 275 h 355"/>
                <a:gd name="T50" fmla="*/ 0 w 353"/>
                <a:gd name="T51" fmla="*/ 315 h 355"/>
                <a:gd name="T52" fmla="*/ 40 w 353"/>
                <a:gd name="T53" fmla="*/ 355 h 355"/>
                <a:gd name="T54" fmla="*/ 80 w 353"/>
                <a:gd name="T55" fmla="*/ 315 h 355"/>
                <a:gd name="T56" fmla="*/ 77 w 353"/>
                <a:gd name="T57" fmla="*/ 300 h 355"/>
                <a:gd name="T58" fmla="*/ 129 w 353"/>
                <a:gd name="T59" fmla="*/ 247 h 355"/>
                <a:gd name="T60" fmla="*/ 175 w 353"/>
                <a:gd name="T61" fmla="*/ 261 h 355"/>
                <a:gd name="T62" fmla="*/ 222 w 353"/>
                <a:gd name="T63" fmla="*/ 246 h 355"/>
                <a:gd name="T64" fmla="*/ 275 w 353"/>
                <a:gd name="T65" fmla="*/ 301 h 355"/>
                <a:gd name="T66" fmla="*/ 273 w 353"/>
                <a:gd name="T67" fmla="*/ 315 h 355"/>
                <a:gd name="T68" fmla="*/ 313 w 353"/>
                <a:gd name="T69" fmla="*/ 355 h 355"/>
                <a:gd name="T70" fmla="*/ 353 w 353"/>
                <a:gd name="T71" fmla="*/ 315 h 355"/>
                <a:gd name="T72" fmla="*/ 313 w 353"/>
                <a:gd name="T73" fmla="*/ 275 h 355"/>
                <a:gd name="T74" fmla="*/ 175 w 353"/>
                <a:gd name="T75" fmla="*/ 213 h 355"/>
                <a:gd name="T76" fmla="*/ 163 w 353"/>
                <a:gd name="T77" fmla="*/ 211 h 355"/>
                <a:gd name="T78" fmla="*/ 145 w 353"/>
                <a:gd name="T79" fmla="*/ 195 h 355"/>
                <a:gd name="T80" fmla="*/ 141 w 353"/>
                <a:gd name="T81" fmla="*/ 178 h 355"/>
                <a:gd name="T82" fmla="*/ 144 w 353"/>
                <a:gd name="T83" fmla="*/ 164 h 355"/>
                <a:gd name="T84" fmla="*/ 161 w 353"/>
                <a:gd name="T85" fmla="*/ 147 h 355"/>
                <a:gd name="T86" fmla="*/ 175 w 353"/>
                <a:gd name="T87" fmla="*/ 144 h 355"/>
                <a:gd name="T88" fmla="*/ 191 w 353"/>
                <a:gd name="T89" fmla="*/ 148 h 355"/>
                <a:gd name="T90" fmla="*/ 207 w 353"/>
                <a:gd name="T91" fmla="*/ 165 h 355"/>
                <a:gd name="T92" fmla="*/ 209 w 353"/>
                <a:gd name="T93" fmla="*/ 178 h 355"/>
                <a:gd name="T94" fmla="*/ 206 w 353"/>
                <a:gd name="T95" fmla="*/ 194 h 355"/>
                <a:gd name="T96" fmla="*/ 188 w 353"/>
                <a:gd name="T97" fmla="*/ 210 h 355"/>
                <a:gd name="T98" fmla="*/ 175 w 353"/>
                <a:gd name="T99" fmla="*/ 21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3" h="355">
                  <a:moveTo>
                    <a:pt x="313" y="275"/>
                  </a:moveTo>
                  <a:cubicBezTo>
                    <a:pt x="305" y="275"/>
                    <a:pt x="297" y="277"/>
                    <a:pt x="290" y="282"/>
                  </a:cubicBezTo>
                  <a:cubicBezTo>
                    <a:pt x="240" y="229"/>
                    <a:pt x="240" y="229"/>
                    <a:pt x="240" y="229"/>
                  </a:cubicBezTo>
                  <a:cubicBezTo>
                    <a:pt x="251" y="215"/>
                    <a:pt x="257" y="197"/>
                    <a:pt x="257" y="178"/>
                  </a:cubicBezTo>
                  <a:cubicBezTo>
                    <a:pt x="257" y="160"/>
                    <a:pt x="251" y="143"/>
                    <a:pt x="241" y="129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99" y="78"/>
                    <a:pt x="306" y="80"/>
                    <a:pt x="313" y="80"/>
                  </a:cubicBezTo>
                  <a:cubicBezTo>
                    <a:pt x="335" y="80"/>
                    <a:pt x="353" y="62"/>
                    <a:pt x="353" y="40"/>
                  </a:cubicBezTo>
                  <a:cubicBezTo>
                    <a:pt x="353" y="18"/>
                    <a:pt x="335" y="0"/>
                    <a:pt x="313" y="0"/>
                  </a:cubicBezTo>
                  <a:cubicBezTo>
                    <a:pt x="291" y="0"/>
                    <a:pt x="273" y="18"/>
                    <a:pt x="273" y="40"/>
                  </a:cubicBezTo>
                  <a:cubicBezTo>
                    <a:pt x="273" y="46"/>
                    <a:pt x="274" y="52"/>
                    <a:pt x="277" y="58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11" y="102"/>
                    <a:pt x="194" y="96"/>
                    <a:pt x="175" y="96"/>
                  </a:cubicBezTo>
                  <a:cubicBezTo>
                    <a:pt x="157" y="96"/>
                    <a:pt x="140" y="102"/>
                    <a:pt x="127" y="11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8" y="53"/>
                    <a:pt x="80" y="47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47" y="80"/>
                    <a:pt x="53" y="78"/>
                    <a:pt x="59" y="75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99" y="142"/>
                    <a:pt x="93" y="159"/>
                    <a:pt x="93" y="178"/>
                  </a:cubicBezTo>
                  <a:cubicBezTo>
                    <a:pt x="93" y="198"/>
                    <a:pt x="99" y="216"/>
                    <a:pt x="111" y="230"/>
                  </a:cubicBezTo>
                  <a:cubicBezTo>
                    <a:pt x="62" y="281"/>
                    <a:pt x="62" y="281"/>
                    <a:pt x="62" y="281"/>
                  </a:cubicBezTo>
                  <a:cubicBezTo>
                    <a:pt x="56" y="277"/>
                    <a:pt x="48" y="275"/>
                    <a:pt x="40" y="275"/>
                  </a:cubicBezTo>
                  <a:cubicBezTo>
                    <a:pt x="18" y="275"/>
                    <a:pt x="0" y="293"/>
                    <a:pt x="0" y="315"/>
                  </a:cubicBezTo>
                  <a:cubicBezTo>
                    <a:pt x="0" y="337"/>
                    <a:pt x="18" y="355"/>
                    <a:pt x="40" y="355"/>
                  </a:cubicBezTo>
                  <a:cubicBezTo>
                    <a:pt x="62" y="355"/>
                    <a:pt x="80" y="337"/>
                    <a:pt x="80" y="315"/>
                  </a:cubicBezTo>
                  <a:cubicBezTo>
                    <a:pt x="80" y="310"/>
                    <a:pt x="79" y="305"/>
                    <a:pt x="77" y="300"/>
                  </a:cubicBezTo>
                  <a:cubicBezTo>
                    <a:pt x="129" y="247"/>
                    <a:pt x="129" y="247"/>
                    <a:pt x="129" y="247"/>
                  </a:cubicBezTo>
                  <a:cubicBezTo>
                    <a:pt x="142" y="256"/>
                    <a:pt x="158" y="261"/>
                    <a:pt x="175" y="261"/>
                  </a:cubicBezTo>
                  <a:cubicBezTo>
                    <a:pt x="193" y="261"/>
                    <a:pt x="209" y="255"/>
                    <a:pt x="222" y="246"/>
                  </a:cubicBezTo>
                  <a:cubicBezTo>
                    <a:pt x="275" y="301"/>
                    <a:pt x="275" y="301"/>
                    <a:pt x="275" y="301"/>
                  </a:cubicBezTo>
                  <a:cubicBezTo>
                    <a:pt x="274" y="305"/>
                    <a:pt x="273" y="310"/>
                    <a:pt x="273" y="315"/>
                  </a:cubicBezTo>
                  <a:cubicBezTo>
                    <a:pt x="273" y="337"/>
                    <a:pt x="291" y="355"/>
                    <a:pt x="313" y="355"/>
                  </a:cubicBezTo>
                  <a:cubicBezTo>
                    <a:pt x="335" y="355"/>
                    <a:pt x="353" y="337"/>
                    <a:pt x="353" y="315"/>
                  </a:cubicBezTo>
                  <a:cubicBezTo>
                    <a:pt x="353" y="293"/>
                    <a:pt x="335" y="275"/>
                    <a:pt x="313" y="275"/>
                  </a:cubicBezTo>
                  <a:close/>
                  <a:moveTo>
                    <a:pt x="175" y="213"/>
                  </a:moveTo>
                  <a:cubicBezTo>
                    <a:pt x="171" y="213"/>
                    <a:pt x="167" y="212"/>
                    <a:pt x="163" y="211"/>
                  </a:cubicBezTo>
                  <a:cubicBezTo>
                    <a:pt x="155" y="208"/>
                    <a:pt x="149" y="202"/>
                    <a:pt x="145" y="195"/>
                  </a:cubicBezTo>
                  <a:cubicBezTo>
                    <a:pt x="142" y="190"/>
                    <a:pt x="141" y="184"/>
                    <a:pt x="141" y="178"/>
                  </a:cubicBezTo>
                  <a:cubicBezTo>
                    <a:pt x="141" y="173"/>
                    <a:pt x="142" y="168"/>
                    <a:pt x="144" y="164"/>
                  </a:cubicBezTo>
                  <a:cubicBezTo>
                    <a:pt x="147" y="156"/>
                    <a:pt x="153" y="150"/>
                    <a:pt x="161" y="147"/>
                  </a:cubicBezTo>
                  <a:cubicBezTo>
                    <a:pt x="165" y="145"/>
                    <a:pt x="170" y="144"/>
                    <a:pt x="175" y="144"/>
                  </a:cubicBezTo>
                  <a:cubicBezTo>
                    <a:pt x="181" y="144"/>
                    <a:pt x="186" y="145"/>
                    <a:pt x="191" y="148"/>
                  </a:cubicBezTo>
                  <a:cubicBezTo>
                    <a:pt x="198" y="151"/>
                    <a:pt x="204" y="158"/>
                    <a:pt x="207" y="165"/>
                  </a:cubicBezTo>
                  <a:cubicBezTo>
                    <a:pt x="209" y="169"/>
                    <a:pt x="209" y="174"/>
                    <a:pt x="209" y="178"/>
                  </a:cubicBezTo>
                  <a:cubicBezTo>
                    <a:pt x="209" y="184"/>
                    <a:pt x="208" y="189"/>
                    <a:pt x="206" y="194"/>
                  </a:cubicBezTo>
                  <a:cubicBezTo>
                    <a:pt x="202" y="201"/>
                    <a:pt x="196" y="207"/>
                    <a:pt x="188" y="210"/>
                  </a:cubicBezTo>
                  <a:cubicBezTo>
                    <a:pt x="184" y="212"/>
                    <a:pt x="180" y="213"/>
                    <a:pt x="175" y="213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" name="Groupe 190"/>
          <p:cNvGrpSpPr/>
          <p:nvPr/>
        </p:nvGrpSpPr>
        <p:grpSpPr>
          <a:xfrm>
            <a:off x="7283701" y="3543676"/>
            <a:ext cx="749560" cy="749650"/>
            <a:chOff x="12009441" y="7314160"/>
            <a:chExt cx="772352" cy="772352"/>
          </a:xfrm>
        </p:grpSpPr>
        <p:sp>
          <p:nvSpPr>
            <p:cNvPr id="145" name="Ellipse 144"/>
            <p:cNvSpPr/>
            <p:nvPr/>
          </p:nvSpPr>
          <p:spPr bwMode="gray">
            <a:xfrm>
              <a:off x="12009441" y="7314160"/>
              <a:ext cx="772352" cy="772352"/>
            </a:xfrm>
            <a:prstGeom prst="ellipse">
              <a:avLst/>
            </a:prstGeom>
            <a:solidFill>
              <a:srgbClr val="BEB9A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6" name="Group 15"/>
            <p:cNvGrpSpPr>
              <a:grpSpLocks noChangeAspect="1"/>
            </p:cNvGrpSpPr>
            <p:nvPr/>
          </p:nvGrpSpPr>
          <p:grpSpPr bwMode="auto">
            <a:xfrm>
              <a:off x="12173685" y="7474300"/>
              <a:ext cx="443864" cy="382888"/>
              <a:chOff x="4983" y="3737"/>
              <a:chExt cx="939" cy="810"/>
            </a:xfrm>
            <a:solidFill>
              <a:srgbClr val="E10019"/>
            </a:solidFill>
          </p:grpSpPr>
          <p:sp>
            <p:nvSpPr>
              <p:cNvPr id="147" name="Freeform 16"/>
              <p:cNvSpPr>
                <a:spLocks/>
              </p:cNvSpPr>
              <p:nvPr/>
            </p:nvSpPr>
            <p:spPr bwMode="auto">
              <a:xfrm>
                <a:off x="5725" y="3737"/>
                <a:ext cx="142" cy="694"/>
              </a:xfrm>
              <a:custGeom>
                <a:avLst/>
                <a:gdLst>
                  <a:gd name="T0" fmla="*/ 30 w 60"/>
                  <a:gd name="T1" fmla="*/ 294 h 294"/>
                  <a:gd name="T2" fmla="*/ 0 w 60"/>
                  <a:gd name="T3" fmla="*/ 264 h 294"/>
                  <a:gd name="T4" fmla="*/ 0 w 60"/>
                  <a:gd name="T5" fmla="*/ 30 h 294"/>
                  <a:gd name="T6" fmla="*/ 30 w 60"/>
                  <a:gd name="T7" fmla="*/ 0 h 294"/>
                  <a:gd name="T8" fmla="*/ 60 w 60"/>
                  <a:gd name="T9" fmla="*/ 30 h 294"/>
                  <a:gd name="T10" fmla="*/ 60 w 60"/>
                  <a:gd name="T11" fmla="*/ 264 h 294"/>
                  <a:gd name="T12" fmla="*/ 30 w 60"/>
                  <a:gd name="T13" fmla="*/ 29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294">
                    <a:moveTo>
                      <a:pt x="30" y="294"/>
                    </a:moveTo>
                    <a:cubicBezTo>
                      <a:pt x="13" y="294"/>
                      <a:pt x="0" y="281"/>
                      <a:pt x="0" y="26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7" y="0"/>
                      <a:pt x="60" y="13"/>
                      <a:pt x="60" y="30"/>
                    </a:cubicBezTo>
                    <a:cubicBezTo>
                      <a:pt x="60" y="264"/>
                      <a:pt x="60" y="264"/>
                      <a:pt x="60" y="264"/>
                    </a:cubicBezTo>
                    <a:cubicBezTo>
                      <a:pt x="60" y="281"/>
                      <a:pt x="47" y="294"/>
                      <a:pt x="30" y="29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7"/>
              <p:cNvSpPr>
                <a:spLocks/>
              </p:cNvSpPr>
              <p:nvPr/>
            </p:nvSpPr>
            <p:spPr bwMode="auto">
              <a:xfrm>
                <a:off x="5496" y="3824"/>
                <a:ext cx="142" cy="607"/>
              </a:xfrm>
              <a:custGeom>
                <a:avLst/>
                <a:gdLst>
                  <a:gd name="T0" fmla="*/ 30 w 60"/>
                  <a:gd name="T1" fmla="*/ 257 h 257"/>
                  <a:gd name="T2" fmla="*/ 0 w 60"/>
                  <a:gd name="T3" fmla="*/ 227 h 257"/>
                  <a:gd name="T4" fmla="*/ 0 w 60"/>
                  <a:gd name="T5" fmla="*/ 30 h 257"/>
                  <a:gd name="T6" fmla="*/ 30 w 60"/>
                  <a:gd name="T7" fmla="*/ 0 h 257"/>
                  <a:gd name="T8" fmla="*/ 60 w 60"/>
                  <a:gd name="T9" fmla="*/ 30 h 257"/>
                  <a:gd name="T10" fmla="*/ 60 w 60"/>
                  <a:gd name="T11" fmla="*/ 227 h 257"/>
                  <a:gd name="T12" fmla="*/ 30 w 60"/>
                  <a:gd name="T13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257">
                    <a:moveTo>
                      <a:pt x="30" y="257"/>
                    </a:moveTo>
                    <a:cubicBezTo>
                      <a:pt x="13" y="257"/>
                      <a:pt x="0" y="244"/>
                      <a:pt x="0" y="22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227"/>
                      <a:pt x="60" y="227"/>
                      <a:pt x="60" y="227"/>
                    </a:cubicBezTo>
                    <a:cubicBezTo>
                      <a:pt x="60" y="244"/>
                      <a:pt x="46" y="257"/>
                      <a:pt x="30" y="257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8"/>
              <p:cNvSpPr>
                <a:spLocks/>
              </p:cNvSpPr>
              <p:nvPr/>
            </p:nvSpPr>
            <p:spPr bwMode="auto">
              <a:xfrm>
                <a:off x="5265" y="3985"/>
                <a:ext cx="141" cy="446"/>
              </a:xfrm>
              <a:custGeom>
                <a:avLst/>
                <a:gdLst>
                  <a:gd name="T0" fmla="*/ 30 w 60"/>
                  <a:gd name="T1" fmla="*/ 189 h 189"/>
                  <a:gd name="T2" fmla="*/ 0 w 60"/>
                  <a:gd name="T3" fmla="*/ 159 h 189"/>
                  <a:gd name="T4" fmla="*/ 0 w 60"/>
                  <a:gd name="T5" fmla="*/ 30 h 189"/>
                  <a:gd name="T6" fmla="*/ 30 w 60"/>
                  <a:gd name="T7" fmla="*/ 0 h 189"/>
                  <a:gd name="T8" fmla="*/ 60 w 60"/>
                  <a:gd name="T9" fmla="*/ 30 h 189"/>
                  <a:gd name="T10" fmla="*/ 60 w 60"/>
                  <a:gd name="T11" fmla="*/ 159 h 189"/>
                  <a:gd name="T12" fmla="*/ 30 w 60"/>
                  <a:gd name="T13" fmla="*/ 18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89">
                    <a:moveTo>
                      <a:pt x="30" y="189"/>
                    </a:moveTo>
                    <a:cubicBezTo>
                      <a:pt x="14" y="189"/>
                      <a:pt x="0" y="176"/>
                      <a:pt x="0" y="15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4" y="0"/>
                      <a:pt x="30" y="0"/>
                    </a:cubicBezTo>
                    <a:cubicBezTo>
                      <a:pt x="47" y="0"/>
                      <a:pt x="60" y="13"/>
                      <a:pt x="60" y="30"/>
                    </a:cubicBezTo>
                    <a:cubicBezTo>
                      <a:pt x="60" y="159"/>
                      <a:pt x="60" y="159"/>
                      <a:pt x="60" y="159"/>
                    </a:cubicBezTo>
                    <a:cubicBezTo>
                      <a:pt x="60" y="176"/>
                      <a:pt x="47" y="189"/>
                      <a:pt x="30" y="18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9"/>
              <p:cNvSpPr>
                <a:spLocks/>
              </p:cNvSpPr>
              <p:nvPr/>
            </p:nvSpPr>
            <p:spPr bwMode="auto">
              <a:xfrm>
                <a:off x="5035" y="4138"/>
                <a:ext cx="142" cy="293"/>
              </a:xfrm>
              <a:custGeom>
                <a:avLst/>
                <a:gdLst>
                  <a:gd name="T0" fmla="*/ 30 w 60"/>
                  <a:gd name="T1" fmla="*/ 124 h 124"/>
                  <a:gd name="T2" fmla="*/ 0 w 60"/>
                  <a:gd name="T3" fmla="*/ 94 h 124"/>
                  <a:gd name="T4" fmla="*/ 0 w 60"/>
                  <a:gd name="T5" fmla="*/ 30 h 124"/>
                  <a:gd name="T6" fmla="*/ 30 w 60"/>
                  <a:gd name="T7" fmla="*/ 0 h 124"/>
                  <a:gd name="T8" fmla="*/ 60 w 60"/>
                  <a:gd name="T9" fmla="*/ 30 h 124"/>
                  <a:gd name="T10" fmla="*/ 60 w 60"/>
                  <a:gd name="T11" fmla="*/ 94 h 124"/>
                  <a:gd name="T12" fmla="*/ 30 w 60"/>
                  <a:gd name="T1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4">
                    <a:moveTo>
                      <a:pt x="30" y="124"/>
                    </a:moveTo>
                    <a:cubicBezTo>
                      <a:pt x="13" y="124"/>
                      <a:pt x="0" y="111"/>
                      <a:pt x="0" y="9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7" y="0"/>
                      <a:pt x="60" y="13"/>
                      <a:pt x="60" y="30"/>
                    </a:cubicBezTo>
                    <a:cubicBezTo>
                      <a:pt x="60" y="94"/>
                      <a:pt x="60" y="94"/>
                      <a:pt x="60" y="94"/>
                    </a:cubicBezTo>
                    <a:cubicBezTo>
                      <a:pt x="60" y="111"/>
                      <a:pt x="47" y="124"/>
                      <a:pt x="30" y="12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20"/>
              <p:cNvSpPr>
                <a:spLocks/>
              </p:cNvSpPr>
              <p:nvPr/>
            </p:nvSpPr>
            <p:spPr bwMode="auto">
              <a:xfrm>
                <a:off x="4983" y="4490"/>
                <a:ext cx="939" cy="57"/>
              </a:xfrm>
              <a:custGeom>
                <a:avLst/>
                <a:gdLst>
                  <a:gd name="T0" fmla="*/ 385 w 397"/>
                  <a:gd name="T1" fmla="*/ 24 h 24"/>
                  <a:gd name="T2" fmla="*/ 12 w 397"/>
                  <a:gd name="T3" fmla="*/ 24 h 24"/>
                  <a:gd name="T4" fmla="*/ 0 w 397"/>
                  <a:gd name="T5" fmla="*/ 12 h 24"/>
                  <a:gd name="T6" fmla="*/ 12 w 397"/>
                  <a:gd name="T7" fmla="*/ 0 h 24"/>
                  <a:gd name="T8" fmla="*/ 385 w 397"/>
                  <a:gd name="T9" fmla="*/ 0 h 24"/>
                  <a:gd name="T10" fmla="*/ 397 w 397"/>
                  <a:gd name="T11" fmla="*/ 12 h 24"/>
                  <a:gd name="T12" fmla="*/ 385 w 397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7" h="24">
                    <a:moveTo>
                      <a:pt x="385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385" y="0"/>
                      <a:pt x="385" y="0"/>
                      <a:pt x="385" y="0"/>
                    </a:cubicBezTo>
                    <a:cubicBezTo>
                      <a:pt x="392" y="0"/>
                      <a:pt x="397" y="5"/>
                      <a:pt x="397" y="12"/>
                    </a:cubicBezTo>
                    <a:cubicBezTo>
                      <a:pt x="397" y="19"/>
                      <a:pt x="392" y="24"/>
                      <a:pt x="385" y="2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7" name="Groupe 198"/>
          <p:cNvGrpSpPr/>
          <p:nvPr/>
        </p:nvGrpSpPr>
        <p:grpSpPr>
          <a:xfrm>
            <a:off x="5728481" y="3543676"/>
            <a:ext cx="749560" cy="749650"/>
            <a:chOff x="10818168" y="7314160"/>
            <a:chExt cx="772352" cy="772352"/>
          </a:xfrm>
        </p:grpSpPr>
        <p:sp>
          <p:nvSpPr>
            <p:cNvPr id="153" name="Ellipse 152"/>
            <p:cNvSpPr/>
            <p:nvPr/>
          </p:nvSpPr>
          <p:spPr bwMode="gray">
            <a:xfrm>
              <a:off x="10818168" y="7314160"/>
              <a:ext cx="772352" cy="772352"/>
            </a:xfrm>
            <a:prstGeom prst="ellipse">
              <a:avLst/>
            </a:prstGeom>
            <a:solidFill>
              <a:srgbClr val="BEB9A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8" name="Group 57"/>
            <p:cNvGrpSpPr>
              <a:grpSpLocks noChangeAspect="1"/>
            </p:cNvGrpSpPr>
            <p:nvPr/>
          </p:nvGrpSpPr>
          <p:grpSpPr bwMode="auto">
            <a:xfrm>
              <a:off x="10948232" y="7555455"/>
              <a:ext cx="489306" cy="292637"/>
              <a:chOff x="3396" y="3917"/>
              <a:chExt cx="1137" cy="680"/>
            </a:xfrm>
            <a:solidFill>
              <a:srgbClr val="E10019"/>
            </a:solidFill>
          </p:grpSpPr>
          <p:sp>
            <p:nvSpPr>
              <p:cNvPr id="155" name="Freeform 58"/>
              <p:cNvSpPr>
                <a:spLocks/>
              </p:cNvSpPr>
              <p:nvPr/>
            </p:nvSpPr>
            <p:spPr bwMode="auto">
              <a:xfrm>
                <a:off x="3432" y="4541"/>
                <a:ext cx="1096" cy="56"/>
              </a:xfrm>
              <a:custGeom>
                <a:avLst/>
                <a:gdLst>
                  <a:gd name="T0" fmla="*/ 452 w 464"/>
                  <a:gd name="T1" fmla="*/ 24 h 24"/>
                  <a:gd name="T2" fmla="*/ 12 w 464"/>
                  <a:gd name="T3" fmla="*/ 24 h 24"/>
                  <a:gd name="T4" fmla="*/ 0 w 464"/>
                  <a:gd name="T5" fmla="*/ 12 h 24"/>
                  <a:gd name="T6" fmla="*/ 12 w 464"/>
                  <a:gd name="T7" fmla="*/ 0 h 24"/>
                  <a:gd name="T8" fmla="*/ 452 w 464"/>
                  <a:gd name="T9" fmla="*/ 0 h 24"/>
                  <a:gd name="T10" fmla="*/ 464 w 464"/>
                  <a:gd name="T11" fmla="*/ 12 h 24"/>
                  <a:gd name="T12" fmla="*/ 452 w 46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4" h="24">
                    <a:moveTo>
                      <a:pt x="45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24"/>
                      <a:pt x="0" y="19"/>
                      <a:pt x="0" y="12"/>
                    </a:cubicBezTo>
                    <a:cubicBezTo>
                      <a:pt x="0" y="6"/>
                      <a:pt x="6" y="0"/>
                      <a:pt x="12" y="0"/>
                    </a:cubicBezTo>
                    <a:cubicBezTo>
                      <a:pt x="452" y="0"/>
                      <a:pt x="452" y="0"/>
                      <a:pt x="452" y="0"/>
                    </a:cubicBezTo>
                    <a:cubicBezTo>
                      <a:pt x="459" y="0"/>
                      <a:pt x="464" y="6"/>
                      <a:pt x="464" y="12"/>
                    </a:cubicBezTo>
                    <a:cubicBezTo>
                      <a:pt x="464" y="19"/>
                      <a:pt x="459" y="24"/>
                      <a:pt x="452" y="2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59"/>
              <p:cNvSpPr>
                <a:spLocks/>
              </p:cNvSpPr>
              <p:nvPr/>
            </p:nvSpPr>
            <p:spPr bwMode="auto">
              <a:xfrm>
                <a:off x="3432" y="3917"/>
                <a:ext cx="1096" cy="57"/>
              </a:xfrm>
              <a:custGeom>
                <a:avLst/>
                <a:gdLst>
                  <a:gd name="T0" fmla="*/ 452 w 464"/>
                  <a:gd name="T1" fmla="*/ 24 h 24"/>
                  <a:gd name="T2" fmla="*/ 12 w 464"/>
                  <a:gd name="T3" fmla="*/ 24 h 24"/>
                  <a:gd name="T4" fmla="*/ 0 w 464"/>
                  <a:gd name="T5" fmla="*/ 12 h 24"/>
                  <a:gd name="T6" fmla="*/ 12 w 464"/>
                  <a:gd name="T7" fmla="*/ 0 h 24"/>
                  <a:gd name="T8" fmla="*/ 452 w 464"/>
                  <a:gd name="T9" fmla="*/ 0 h 24"/>
                  <a:gd name="T10" fmla="*/ 464 w 464"/>
                  <a:gd name="T11" fmla="*/ 12 h 24"/>
                  <a:gd name="T12" fmla="*/ 452 w 46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4" h="24">
                    <a:moveTo>
                      <a:pt x="45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24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452" y="0"/>
                      <a:pt x="452" y="0"/>
                      <a:pt x="452" y="0"/>
                    </a:cubicBezTo>
                    <a:cubicBezTo>
                      <a:pt x="459" y="0"/>
                      <a:pt x="464" y="5"/>
                      <a:pt x="464" y="12"/>
                    </a:cubicBezTo>
                    <a:cubicBezTo>
                      <a:pt x="464" y="18"/>
                      <a:pt x="459" y="24"/>
                      <a:pt x="452" y="2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60"/>
              <p:cNvSpPr>
                <a:spLocks/>
              </p:cNvSpPr>
              <p:nvPr/>
            </p:nvSpPr>
            <p:spPr bwMode="auto">
              <a:xfrm>
                <a:off x="3396" y="4042"/>
                <a:ext cx="1137" cy="421"/>
              </a:xfrm>
              <a:custGeom>
                <a:avLst/>
                <a:gdLst>
                  <a:gd name="T0" fmla="*/ 318 w 481"/>
                  <a:gd name="T1" fmla="*/ 178 h 178"/>
                  <a:gd name="T2" fmla="*/ 301 w 481"/>
                  <a:gd name="T3" fmla="*/ 171 h 178"/>
                  <a:gd name="T4" fmla="*/ 191 w 481"/>
                  <a:gd name="T5" fmla="*/ 59 h 178"/>
                  <a:gd name="T6" fmla="*/ 160 w 481"/>
                  <a:gd name="T7" fmla="*/ 86 h 178"/>
                  <a:gd name="T8" fmla="*/ 128 w 481"/>
                  <a:gd name="T9" fmla="*/ 85 h 178"/>
                  <a:gd name="T10" fmla="*/ 105 w 481"/>
                  <a:gd name="T11" fmla="*/ 63 h 178"/>
                  <a:gd name="T12" fmla="*/ 47 w 481"/>
                  <a:gd name="T13" fmla="*/ 146 h 178"/>
                  <a:gd name="T14" fmla="*/ 14 w 481"/>
                  <a:gd name="T15" fmla="*/ 152 h 178"/>
                  <a:gd name="T16" fmla="*/ 8 w 481"/>
                  <a:gd name="T17" fmla="*/ 119 h 178"/>
                  <a:gd name="T18" fmla="*/ 82 w 481"/>
                  <a:gd name="T19" fmla="*/ 12 h 178"/>
                  <a:gd name="T20" fmla="*/ 100 w 481"/>
                  <a:gd name="T21" fmla="*/ 2 h 178"/>
                  <a:gd name="T22" fmla="*/ 119 w 481"/>
                  <a:gd name="T23" fmla="*/ 9 h 178"/>
                  <a:gd name="T24" fmla="*/ 146 w 481"/>
                  <a:gd name="T25" fmla="*/ 35 h 178"/>
                  <a:gd name="T26" fmla="*/ 177 w 481"/>
                  <a:gd name="T27" fmla="*/ 8 h 178"/>
                  <a:gd name="T28" fmla="*/ 210 w 481"/>
                  <a:gd name="T29" fmla="*/ 9 h 178"/>
                  <a:gd name="T30" fmla="*/ 319 w 481"/>
                  <a:gd name="T31" fmla="*/ 120 h 178"/>
                  <a:gd name="T32" fmla="*/ 392 w 481"/>
                  <a:gd name="T33" fmla="*/ 50 h 178"/>
                  <a:gd name="T34" fmla="*/ 425 w 481"/>
                  <a:gd name="T35" fmla="*/ 50 h 178"/>
                  <a:gd name="T36" fmla="*/ 471 w 481"/>
                  <a:gd name="T37" fmla="*/ 93 h 178"/>
                  <a:gd name="T38" fmla="*/ 471 w 481"/>
                  <a:gd name="T39" fmla="*/ 127 h 178"/>
                  <a:gd name="T40" fmla="*/ 437 w 481"/>
                  <a:gd name="T41" fmla="*/ 128 h 178"/>
                  <a:gd name="T42" fmla="*/ 409 w 481"/>
                  <a:gd name="T43" fmla="*/ 101 h 178"/>
                  <a:gd name="T44" fmla="*/ 335 w 481"/>
                  <a:gd name="T45" fmla="*/ 171 h 178"/>
                  <a:gd name="T46" fmla="*/ 318 w 481"/>
                  <a:gd name="T4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1" h="178">
                    <a:moveTo>
                      <a:pt x="318" y="178"/>
                    </a:moveTo>
                    <a:cubicBezTo>
                      <a:pt x="312" y="178"/>
                      <a:pt x="306" y="176"/>
                      <a:pt x="301" y="171"/>
                    </a:cubicBezTo>
                    <a:cubicBezTo>
                      <a:pt x="191" y="59"/>
                      <a:pt x="191" y="59"/>
                      <a:pt x="191" y="59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51" y="94"/>
                      <a:pt x="137" y="94"/>
                      <a:pt x="128" y="85"/>
                    </a:cubicBezTo>
                    <a:cubicBezTo>
                      <a:pt x="105" y="63"/>
                      <a:pt x="105" y="63"/>
                      <a:pt x="105" y="63"/>
                    </a:cubicBezTo>
                    <a:cubicBezTo>
                      <a:pt x="47" y="146"/>
                      <a:pt x="47" y="146"/>
                      <a:pt x="47" y="146"/>
                    </a:cubicBezTo>
                    <a:cubicBezTo>
                      <a:pt x="39" y="157"/>
                      <a:pt x="24" y="160"/>
                      <a:pt x="14" y="152"/>
                    </a:cubicBezTo>
                    <a:cubicBezTo>
                      <a:pt x="3" y="145"/>
                      <a:pt x="0" y="130"/>
                      <a:pt x="8" y="119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6" y="6"/>
                      <a:pt x="93" y="3"/>
                      <a:pt x="100" y="2"/>
                    </a:cubicBezTo>
                    <a:cubicBezTo>
                      <a:pt x="107" y="1"/>
                      <a:pt x="114" y="4"/>
                      <a:pt x="119" y="9"/>
                    </a:cubicBezTo>
                    <a:cubicBezTo>
                      <a:pt x="146" y="35"/>
                      <a:pt x="146" y="35"/>
                      <a:pt x="146" y="35"/>
                    </a:cubicBezTo>
                    <a:cubicBezTo>
                      <a:pt x="177" y="8"/>
                      <a:pt x="177" y="8"/>
                      <a:pt x="177" y="8"/>
                    </a:cubicBezTo>
                    <a:cubicBezTo>
                      <a:pt x="187" y="0"/>
                      <a:pt x="201" y="0"/>
                      <a:pt x="210" y="9"/>
                    </a:cubicBezTo>
                    <a:cubicBezTo>
                      <a:pt x="319" y="120"/>
                      <a:pt x="319" y="120"/>
                      <a:pt x="319" y="120"/>
                    </a:cubicBezTo>
                    <a:cubicBezTo>
                      <a:pt x="392" y="50"/>
                      <a:pt x="392" y="50"/>
                      <a:pt x="392" y="50"/>
                    </a:cubicBezTo>
                    <a:cubicBezTo>
                      <a:pt x="401" y="42"/>
                      <a:pt x="416" y="42"/>
                      <a:pt x="425" y="50"/>
                    </a:cubicBezTo>
                    <a:cubicBezTo>
                      <a:pt x="471" y="93"/>
                      <a:pt x="471" y="93"/>
                      <a:pt x="471" y="93"/>
                    </a:cubicBezTo>
                    <a:cubicBezTo>
                      <a:pt x="480" y="102"/>
                      <a:pt x="481" y="118"/>
                      <a:pt x="471" y="127"/>
                    </a:cubicBezTo>
                    <a:cubicBezTo>
                      <a:pt x="462" y="137"/>
                      <a:pt x="447" y="137"/>
                      <a:pt x="437" y="128"/>
                    </a:cubicBezTo>
                    <a:cubicBezTo>
                      <a:pt x="409" y="101"/>
                      <a:pt x="409" y="101"/>
                      <a:pt x="409" y="101"/>
                    </a:cubicBezTo>
                    <a:cubicBezTo>
                      <a:pt x="335" y="171"/>
                      <a:pt x="335" y="171"/>
                      <a:pt x="335" y="171"/>
                    </a:cubicBezTo>
                    <a:cubicBezTo>
                      <a:pt x="330" y="176"/>
                      <a:pt x="324" y="178"/>
                      <a:pt x="318" y="17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58" name="ZoneTexte 157"/>
          <p:cNvSpPr txBox="1"/>
          <p:nvPr/>
        </p:nvSpPr>
        <p:spPr>
          <a:xfrm>
            <a:off x="4448821" y="2858544"/>
            <a:ext cx="243285" cy="18994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  <a:ea typeface="Tahoma" pitchFamily="34" charset="0"/>
                <a:cs typeface="Tahoma" pitchFamily="34" charset="0"/>
              </a:rPr>
              <a:t>Oil</a:t>
            </a:r>
          </a:p>
        </p:txBody>
      </p:sp>
      <p:sp>
        <p:nvSpPr>
          <p:cNvPr id="159" name="ZoneTexte 158"/>
          <p:cNvSpPr txBox="1"/>
          <p:nvPr/>
        </p:nvSpPr>
        <p:spPr>
          <a:xfrm>
            <a:off x="2785556" y="2858544"/>
            <a:ext cx="498268" cy="18994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  <a:ea typeface="Tahoma" pitchFamily="34" charset="0"/>
                <a:cs typeface="Tahoma" pitchFamily="34" charset="0"/>
              </a:rPr>
              <a:t>Power</a:t>
            </a:r>
          </a:p>
        </p:txBody>
      </p:sp>
      <p:sp>
        <p:nvSpPr>
          <p:cNvPr id="160" name="ZoneTexte 159"/>
          <p:cNvSpPr txBox="1"/>
          <p:nvPr/>
        </p:nvSpPr>
        <p:spPr>
          <a:xfrm>
            <a:off x="1332932" y="2858544"/>
            <a:ext cx="331975" cy="184666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  <a:ea typeface="Tahoma" pitchFamily="34" charset="0"/>
                <a:cs typeface="Tahoma" pitchFamily="34" charset="0"/>
              </a:rPr>
              <a:t>Gas</a:t>
            </a:r>
          </a:p>
        </p:txBody>
      </p:sp>
      <p:sp>
        <p:nvSpPr>
          <p:cNvPr id="161" name="ZoneTexte 160"/>
          <p:cNvSpPr txBox="1"/>
          <p:nvPr/>
        </p:nvSpPr>
        <p:spPr>
          <a:xfrm>
            <a:off x="1388236" y="4428941"/>
            <a:ext cx="221367" cy="184666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>
            <a:defPPr>
              <a:defRPr lang="fr-FR"/>
            </a:defPPr>
            <a:lvl1pPr algn="ctr">
              <a:defRPr sz="1800" b="1">
                <a:solidFill>
                  <a:schemeClr val="accent1"/>
                </a:solidFill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Fx</a:t>
            </a:r>
          </a:p>
        </p:txBody>
      </p:sp>
      <p:sp>
        <p:nvSpPr>
          <p:cNvPr id="162" name="ZoneTexte 161"/>
          <p:cNvSpPr txBox="1"/>
          <p:nvPr/>
        </p:nvSpPr>
        <p:spPr>
          <a:xfrm>
            <a:off x="7127983" y="2858544"/>
            <a:ext cx="1060993" cy="18994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  <a:ea typeface="Tahoma" pitchFamily="34" charset="0"/>
                <a:cs typeface="Tahoma" pitchFamily="34" charset="0"/>
              </a:rPr>
              <a:t>Environmental</a:t>
            </a:r>
          </a:p>
        </p:txBody>
      </p:sp>
      <p:sp>
        <p:nvSpPr>
          <p:cNvPr id="163" name="ZoneTexte 162"/>
          <p:cNvSpPr txBox="1"/>
          <p:nvPr/>
        </p:nvSpPr>
        <p:spPr>
          <a:xfrm>
            <a:off x="5915674" y="2858544"/>
            <a:ext cx="375173" cy="18994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  <a:ea typeface="Tahoma" pitchFamily="34" charset="0"/>
                <a:cs typeface="Tahoma" pitchFamily="34" charset="0"/>
              </a:rPr>
              <a:t>Coal</a:t>
            </a:r>
          </a:p>
        </p:txBody>
      </p:sp>
      <p:sp>
        <p:nvSpPr>
          <p:cNvPr id="164" name="ZoneTexte 163"/>
          <p:cNvSpPr txBox="1"/>
          <p:nvPr/>
        </p:nvSpPr>
        <p:spPr>
          <a:xfrm>
            <a:off x="3990900" y="4428940"/>
            <a:ext cx="1159124" cy="36933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>
            <a:defPPr>
              <a:defRPr lang="fr-FR"/>
            </a:defPPr>
            <a:lvl1pPr algn="ctr">
              <a:defRPr sz="1800" b="1">
                <a:solidFill>
                  <a:schemeClr val="accent1"/>
                </a:solidFill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Physical Acces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Market</a:t>
            </a:r>
          </a:p>
        </p:txBody>
      </p:sp>
      <p:sp>
        <p:nvSpPr>
          <p:cNvPr id="165" name="ZoneTexte 164"/>
          <p:cNvSpPr txBox="1"/>
          <p:nvPr/>
        </p:nvSpPr>
        <p:spPr>
          <a:xfrm>
            <a:off x="5631100" y="4428940"/>
            <a:ext cx="944322" cy="36933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>
            <a:defPPr>
              <a:defRPr lang="fr-FR"/>
            </a:defPPr>
            <a:lvl1pPr algn="ctr">
              <a:defRPr sz="1800" b="1">
                <a:solidFill>
                  <a:schemeClr val="accent1"/>
                </a:solidFill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Risk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Management</a:t>
            </a:r>
          </a:p>
        </p:txBody>
      </p:sp>
      <p:sp>
        <p:nvSpPr>
          <p:cNvPr id="166" name="ZoneTexte 165"/>
          <p:cNvSpPr txBox="1"/>
          <p:nvPr/>
        </p:nvSpPr>
        <p:spPr>
          <a:xfrm>
            <a:off x="2583368" y="4428940"/>
            <a:ext cx="902644" cy="36933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>
            <a:defPPr>
              <a:defRPr lang="fr-FR"/>
            </a:defPPr>
            <a:lvl1pPr algn="ctr">
              <a:defRPr sz="1800" b="1">
                <a:solidFill>
                  <a:schemeClr val="accent1"/>
                </a:solidFill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Asse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Optimisation</a:t>
            </a:r>
          </a:p>
        </p:txBody>
      </p:sp>
      <p:sp>
        <p:nvSpPr>
          <p:cNvPr id="167" name="ZoneTexte 166"/>
          <p:cNvSpPr txBox="1"/>
          <p:nvPr/>
        </p:nvSpPr>
        <p:spPr>
          <a:xfrm>
            <a:off x="7296927" y="4428940"/>
            <a:ext cx="723107" cy="369332"/>
          </a:xfrm>
          <a:prstGeom prst="rect">
            <a:avLst/>
          </a:prstGeom>
          <a:noFill/>
        </p:spPr>
        <p:txBody>
          <a:bodyPr wrap="none" lIns="24682" tIns="0" rIns="24682" bIns="0" rtlCol="0">
            <a:spAutoFit/>
          </a:bodyPr>
          <a:lstStyle>
            <a:defPPr>
              <a:defRPr lang="fr-FR"/>
            </a:defPPr>
            <a:lvl1pPr algn="ctr">
              <a:defRPr sz="1800" b="1">
                <a:solidFill>
                  <a:schemeClr val="accent1"/>
                </a:solidFill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Econom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Tahoma" pitchFamily="34" charset="0"/>
                <a:cs typeface="Tahoma" pitchFamily="34" charset="0"/>
              </a:rPr>
              <a:t>Research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SEFUL SYMBOLS (2/5)</a:t>
            </a:r>
          </a:p>
        </p:txBody>
      </p:sp>
      <p:sp>
        <p:nvSpPr>
          <p:cNvPr id="163" name="Espace réservé de la date 16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65" name="Espace réservé du pied de page 1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64" name="Espace réservé du numéro de diapositive 1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2</a:t>
            </a:fld>
            <a:endParaRPr lang="fr-FR" dirty="0"/>
          </a:p>
        </p:txBody>
      </p:sp>
      <p:grpSp>
        <p:nvGrpSpPr>
          <p:cNvPr id="6" name="Groupe 247"/>
          <p:cNvGrpSpPr/>
          <p:nvPr/>
        </p:nvGrpSpPr>
        <p:grpSpPr bwMode="gray">
          <a:xfrm>
            <a:off x="657805" y="1696938"/>
            <a:ext cx="529550" cy="529613"/>
            <a:chOff x="1215422" y="2146162"/>
            <a:chExt cx="772352" cy="772352"/>
          </a:xfrm>
        </p:grpSpPr>
        <p:sp>
          <p:nvSpPr>
            <p:cNvPr id="249" name="Ellipse 248"/>
            <p:cNvSpPr/>
            <p:nvPr/>
          </p:nvSpPr>
          <p:spPr bwMode="gray">
            <a:xfrm>
              <a:off x="1215422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" name="Group 36"/>
            <p:cNvGrpSpPr>
              <a:grpSpLocks noChangeAspect="1"/>
            </p:cNvGrpSpPr>
            <p:nvPr/>
          </p:nvGrpSpPr>
          <p:grpSpPr bwMode="gray">
            <a:xfrm>
              <a:off x="1421521" y="2281223"/>
              <a:ext cx="360154" cy="415146"/>
              <a:chOff x="841" y="1386"/>
              <a:chExt cx="334" cy="385"/>
            </a:xfrm>
          </p:grpSpPr>
          <p:sp>
            <p:nvSpPr>
              <p:cNvPr id="251" name="Freeform 37"/>
              <p:cNvSpPr>
                <a:spLocks/>
              </p:cNvSpPr>
              <p:nvPr/>
            </p:nvSpPr>
            <p:spPr bwMode="gray">
              <a:xfrm>
                <a:off x="857" y="1386"/>
                <a:ext cx="304" cy="304"/>
              </a:xfrm>
              <a:custGeom>
                <a:avLst/>
                <a:gdLst>
                  <a:gd name="T0" fmla="*/ 92 w 191"/>
                  <a:gd name="T1" fmla="*/ 189 h 191"/>
                  <a:gd name="T2" fmla="*/ 98 w 191"/>
                  <a:gd name="T3" fmla="*/ 189 h 191"/>
                  <a:gd name="T4" fmla="*/ 189 w 191"/>
                  <a:gd name="T5" fmla="*/ 99 h 191"/>
                  <a:gd name="T6" fmla="*/ 189 w 191"/>
                  <a:gd name="T7" fmla="*/ 92 h 191"/>
                  <a:gd name="T8" fmla="*/ 98 w 191"/>
                  <a:gd name="T9" fmla="*/ 2 h 191"/>
                  <a:gd name="T10" fmla="*/ 92 w 191"/>
                  <a:gd name="T11" fmla="*/ 2 h 191"/>
                  <a:gd name="T12" fmla="*/ 1 w 191"/>
                  <a:gd name="T13" fmla="*/ 92 h 191"/>
                  <a:gd name="T14" fmla="*/ 1 w 191"/>
                  <a:gd name="T15" fmla="*/ 99 h 191"/>
                  <a:gd name="T16" fmla="*/ 92 w 191"/>
                  <a:gd name="T17" fmla="*/ 189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1">
                    <a:moveTo>
                      <a:pt x="92" y="189"/>
                    </a:moveTo>
                    <a:cubicBezTo>
                      <a:pt x="94" y="191"/>
                      <a:pt x="97" y="191"/>
                      <a:pt x="98" y="189"/>
                    </a:cubicBezTo>
                    <a:cubicBezTo>
                      <a:pt x="189" y="99"/>
                      <a:pt x="189" y="99"/>
                      <a:pt x="189" y="99"/>
                    </a:cubicBezTo>
                    <a:cubicBezTo>
                      <a:pt x="191" y="97"/>
                      <a:pt x="191" y="94"/>
                      <a:pt x="189" y="9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7" y="0"/>
                      <a:pt x="94" y="0"/>
                      <a:pt x="92" y="2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4"/>
                      <a:pt x="0" y="97"/>
                      <a:pt x="1" y="99"/>
                    </a:cubicBezTo>
                    <a:lnTo>
                      <a:pt x="92" y="189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Freeform 38"/>
              <p:cNvSpPr>
                <a:spLocks/>
              </p:cNvSpPr>
              <p:nvPr/>
            </p:nvSpPr>
            <p:spPr bwMode="gray">
              <a:xfrm>
                <a:off x="841" y="1556"/>
                <a:ext cx="334" cy="215"/>
              </a:xfrm>
              <a:custGeom>
                <a:avLst/>
                <a:gdLst>
                  <a:gd name="T0" fmla="*/ 109 w 210"/>
                  <a:gd name="T1" fmla="*/ 101 h 135"/>
                  <a:gd name="T2" fmla="*/ 101 w 210"/>
                  <a:gd name="T3" fmla="*/ 101 h 135"/>
                  <a:gd name="T4" fmla="*/ 0 w 210"/>
                  <a:gd name="T5" fmla="*/ 0 h 135"/>
                  <a:gd name="T6" fmla="*/ 0 w 210"/>
                  <a:gd name="T7" fmla="*/ 131 h 135"/>
                  <a:gd name="T8" fmla="*/ 4 w 210"/>
                  <a:gd name="T9" fmla="*/ 135 h 135"/>
                  <a:gd name="T10" fmla="*/ 206 w 210"/>
                  <a:gd name="T11" fmla="*/ 135 h 135"/>
                  <a:gd name="T12" fmla="*/ 210 w 210"/>
                  <a:gd name="T13" fmla="*/ 131 h 135"/>
                  <a:gd name="T14" fmla="*/ 210 w 210"/>
                  <a:gd name="T15" fmla="*/ 0 h 135"/>
                  <a:gd name="T16" fmla="*/ 109 w 210"/>
                  <a:gd name="T17" fmla="*/ 10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0" h="135">
                    <a:moveTo>
                      <a:pt x="109" y="101"/>
                    </a:moveTo>
                    <a:cubicBezTo>
                      <a:pt x="107" y="103"/>
                      <a:pt x="103" y="103"/>
                      <a:pt x="101" y="10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4"/>
                      <a:pt x="2" y="135"/>
                      <a:pt x="4" y="135"/>
                    </a:cubicBezTo>
                    <a:cubicBezTo>
                      <a:pt x="206" y="135"/>
                      <a:pt x="206" y="135"/>
                      <a:pt x="206" y="135"/>
                    </a:cubicBezTo>
                    <a:cubicBezTo>
                      <a:pt x="208" y="135"/>
                      <a:pt x="210" y="134"/>
                      <a:pt x="210" y="131"/>
                    </a:cubicBezTo>
                    <a:cubicBezTo>
                      <a:pt x="210" y="0"/>
                      <a:pt x="210" y="0"/>
                      <a:pt x="210" y="0"/>
                    </a:cubicBezTo>
                    <a:lnTo>
                      <a:pt x="109" y="101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" name="Groupe 252"/>
          <p:cNvGrpSpPr/>
          <p:nvPr/>
        </p:nvGrpSpPr>
        <p:grpSpPr bwMode="gray">
          <a:xfrm>
            <a:off x="1708081" y="1696938"/>
            <a:ext cx="529550" cy="529613"/>
            <a:chOff x="2765918" y="2146162"/>
            <a:chExt cx="772352" cy="772352"/>
          </a:xfrm>
        </p:grpSpPr>
        <p:sp>
          <p:nvSpPr>
            <p:cNvPr id="254" name="Ellipse 253"/>
            <p:cNvSpPr/>
            <p:nvPr/>
          </p:nvSpPr>
          <p:spPr bwMode="gray">
            <a:xfrm>
              <a:off x="2765918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Freeform 42"/>
            <p:cNvSpPr>
              <a:spLocks/>
            </p:cNvSpPr>
            <p:nvPr/>
          </p:nvSpPr>
          <p:spPr bwMode="gray">
            <a:xfrm>
              <a:off x="2987265" y="2272522"/>
              <a:ext cx="329658" cy="519632"/>
            </a:xfrm>
            <a:custGeom>
              <a:avLst/>
              <a:gdLst>
                <a:gd name="T0" fmla="*/ 58 w 148"/>
                <a:gd name="T1" fmla="*/ 0 h 234"/>
                <a:gd name="T2" fmla="*/ 56 w 148"/>
                <a:gd name="T3" fmla="*/ 1 h 234"/>
                <a:gd name="T4" fmla="*/ 18 w 148"/>
                <a:gd name="T5" fmla="*/ 107 h 234"/>
                <a:gd name="T6" fmla="*/ 41 w 148"/>
                <a:gd name="T7" fmla="*/ 166 h 234"/>
                <a:gd name="T8" fmla="*/ 143 w 148"/>
                <a:gd name="T9" fmla="*/ 216 h 234"/>
                <a:gd name="T10" fmla="*/ 145 w 148"/>
                <a:gd name="T11" fmla="*/ 215 h 234"/>
                <a:gd name="T12" fmla="*/ 147 w 148"/>
                <a:gd name="T13" fmla="*/ 210 h 234"/>
                <a:gd name="T14" fmla="*/ 126 w 148"/>
                <a:gd name="T15" fmla="*/ 157 h 234"/>
                <a:gd name="T16" fmla="*/ 120 w 148"/>
                <a:gd name="T17" fmla="*/ 155 h 234"/>
                <a:gd name="T18" fmla="*/ 98 w 148"/>
                <a:gd name="T19" fmla="*/ 164 h 234"/>
                <a:gd name="T20" fmla="*/ 88 w 148"/>
                <a:gd name="T21" fmla="*/ 159 h 234"/>
                <a:gd name="T22" fmla="*/ 56 w 148"/>
                <a:gd name="T23" fmla="*/ 80 h 234"/>
                <a:gd name="T24" fmla="*/ 61 w 148"/>
                <a:gd name="T25" fmla="*/ 70 h 234"/>
                <a:gd name="T26" fmla="*/ 83 w 148"/>
                <a:gd name="T27" fmla="*/ 61 h 234"/>
                <a:gd name="T28" fmla="*/ 85 w 148"/>
                <a:gd name="T29" fmla="*/ 56 h 234"/>
                <a:gd name="T30" fmla="*/ 64 w 148"/>
                <a:gd name="T31" fmla="*/ 3 h 234"/>
                <a:gd name="T32" fmla="*/ 58 w 148"/>
                <a:gd name="T33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234">
                  <a:moveTo>
                    <a:pt x="58" y="0"/>
                  </a:moveTo>
                  <a:cubicBezTo>
                    <a:pt x="56" y="1"/>
                    <a:pt x="56" y="1"/>
                    <a:pt x="56" y="1"/>
                  </a:cubicBezTo>
                  <a:cubicBezTo>
                    <a:pt x="13" y="19"/>
                    <a:pt x="0" y="64"/>
                    <a:pt x="18" y="107"/>
                  </a:cubicBezTo>
                  <a:cubicBezTo>
                    <a:pt x="41" y="166"/>
                    <a:pt x="41" y="166"/>
                    <a:pt x="41" y="166"/>
                  </a:cubicBezTo>
                  <a:cubicBezTo>
                    <a:pt x="59" y="209"/>
                    <a:pt x="99" y="234"/>
                    <a:pt x="143" y="216"/>
                  </a:cubicBezTo>
                  <a:cubicBezTo>
                    <a:pt x="145" y="215"/>
                    <a:pt x="145" y="215"/>
                    <a:pt x="145" y="215"/>
                  </a:cubicBezTo>
                  <a:cubicBezTo>
                    <a:pt x="147" y="214"/>
                    <a:pt x="148" y="212"/>
                    <a:pt x="147" y="210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5" y="155"/>
                    <a:pt x="123" y="154"/>
                    <a:pt x="120" y="155"/>
                  </a:cubicBezTo>
                  <a:cubicBezTo>
                    <a:pt x="98" y="164"/>
                    <a:pt x="98" y="164"/>
                    <a:pt x="98" y="164"/>
                  </a:cubicBezTo>
                  <a:cubicBezTo>
                    <a:pt x="94" y="165"/>
                    <a:pt x="90" y="163"/>
                    <a:pt x="88" y="159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5" y="76"/>
                    <a:pt x="57" y="72"/>
                    <a:pt x="61" y="70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5" y="60"/>
                    <a:pt x="86" y="58"/>
                    <a:pt x="85" y="56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3" y="1"/>
                    <a:pt x="61" y="0"/>
                    <a:pt x="58" y="0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Groupe 255"/>
          <p:cNvGrpSpPr/>
          <p:nvPr/>
        </p:nvGrpSpPr>
        <p:grpSpPr bwMode="gray">
          <a:xfrm>
            <a:off x="2758357" y="1696938"/>
            <a:ext cx="529550" cy="529613"/>
            <a:chOff x="4316414" y="2146162"/>
            <a:chExt cx="772352" cy="772352"/>
          </a:xfrm>
        </p:grpSpPr>
        <p:sp>
          <p:nvSpPr>
            <p:cNvPr id="257" name="Ellipse 256"/>
            <p:cNvSpPr/>
            <p:nvPr/>
          </p:nvSpPr>
          <p:spPr bwMode="gray">
            <a:xfrm>
              <a:off x="4316414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0" name="Group 45"/>
            <p:cNvGrpSpPr>
              <a:grpSpLocks noChangeAspect="1"/>
            </p:cNvGrpSpPr>
            <p:nvPr/>
          </p:nvGrpSpPr>
          <p:grpSpPr bwMode="gray">
            <a:xfrm>
              <a:off x="4523791" y="2352841"/>
              <a:ext cx="357598" cy="358994"/>
              <a:chOff x="2826" y="1450"/>
              <a:chExt cx="256" cy="257"/>
            </a:xfrm>
          </p:grpSpPr>
          <p:sp>
            <p:nvSpPr>
              <p:cNvPr id="259" name="Freeform 46"/>
              <p:cNvSpPr>
                <a:spLocks/>
              </p:cNvSpPr>
              <p:nvPr/>
            </p:nvSpPr>
            <p:spPr bwMode="gray">
              <a:xfrm>
                <a:off x="2853" y="1489"/>
                <a:ext cx="191" cy="191"/>
              </a:xfrm>
              <a:custGeom>
                <a:avLst/>
                <a:gdLst>
                  <a:gd name="T0" fmla="*/ 96 w 120"/>
                  <a:gd name="T1" fmla="*/ 2 h 120"/>
                  <a:gd name="T2" fmla="*/ 90 w 120"/>
                  <a:gd name="T3" fmla="*/ 2 h 120"/>
                  <a:gd name="T4" fmla="*/ 2 w 120"/>
                  <a:gd name="T5" fmla="*/ 89 h 120"/>
                  <a:gd name="T6" fmla="*/ 2 w 120"/>
                  <a:gd name="T7" fmla="*/ 95 h 120"/>
                  <a:gd name="T8" fmla="*/ 25 w 120"/>
                  <a:gd name="T9" fmla="*/ 118 h 120"/>
                  <a:gd name="T10" fmla="*/ 31 w 120"/>
                  <a:gd name="T11" fmla="*/ 118 h 120"/>
                  <a:gd name="T12" fmla="*/ 119 w 120"/>
                  <a:gd name="T13" fmla="*/ 30 h 120"/>
                  <a:gd name="T14" fmla="*/ 119 w 120"/>
                  <a:gd name="T15" fmla="*/ 24 h 120"/>
                  <a:gd name="T16" fmla="*/ 96 w 120"/>
                  <a:gd name="T17" fmla="*/ 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120">
                    <a:moveTo>
                      <a:pt x="96" y="2"/>
                    </a:moveTo>
                    <a:cubicBezTo>
                      <a:pt x="94" y="0"/>
                      <a:pt x="91" y="0"/>
                      <a:pt x="90" y="2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0" y="91"/>
                      <a:pt x="0" y="94"/>
                      <a:pt x="2" y="95"/>
                    </a:cubicBezTo>
                    <a:cubicBezTo>
                      <a:pt x="25" y="118"/>
                      <a:pt x="25" y="118"/>
                      <a:pt x="25" y="118"/>
                    </a:cubicBezTo>
                    <a:cubicBezTo>
                      <a:pt x="26" y="120"/>
                      <a:pt x="29" y="120"/>
                      <a:pt x="31" y="118"/>
                    </a:cubicBezTo>
                    <a:cubicBezTo>
                      <a:pt x="119" y="30"/>
                      <a:pt x="119" y="30"/>
                      <a:pt x="119" y="30"/>
                    </a:cubicBezTo>
                    <a:cubicBezTo>
                      <a:pt x="120" y="29"/>
                      <a:pt x="120" y="26"/>
                      <a:pt x="119" y="24"/>
                    </a:cubicBezTo>
                    <a:lnTo>
                      <a:pt x="96" y="2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Freeform 47"/>
              <p:cNvSpPr>
                <a:spLocks/>
              </p:cNvSpPr>
              <p:nvPr/>
            </p:nvSpPr>
            <p:spPr bwMode="gray">
              <a:xfrm>
                <a:off x="3012" y="1450"/>
                <a:ext cx="70" cy="70"/>
              </a:xfrm>
              <a:custGeom>
                <a:avLst/>
                <a:gdLst>
                  <a:gd name="T0" fmla="*/ 39 w 44"/>
                  <a:gd name="T1" fmla="*/ 16 h 44"/>
                  <a:gd name="T2" fmla="*/ 28 w 44"/>
                  <a:gd name="T3" fmla="*/ 5 h 44"/>
                  <a:gd name="T4" fmla="*/ 10 w 44"/>
                  <a:gd name="T5" fmla="*/ 5 h 44"/>
                  <a:gd name="T6" fmla="*/ 2 w 44"/>
                  <a:gd name="T7" fmla="*/ 13 h 44"/>
                  <a:gd name="T8" fmla="*/ 2 w 44"/>
                  <a:gd name="T9" fmla="*/ 19 h 44"/>
                  <a:gd name="T10" fmla="*/ 25 w 44"/>
                  <a:gd name="T11" fmla="*/ 42 h 44"/>
                  <a:gd name="T12" fmla="*/ 31 w 44"/>
                  <a:gd name="T13" fmla="*/ 42 h 44"/>
                  <a:gd name="T14" fmla="*/ 39 w 44"/>
                  <a:gd name="T15" fmla="*/ 34 h 44"/>
                  <a:gd name="T16" fmla="*/ 39 w 44"/>
                  <a:gd name="T17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39" y="16"/>
                    </a:moveTo>
                    <a:cubicBezTo>
                      <a:pt x="28" y="5"/>
                      <a:pt x="28" y="5"/>
                      <a:pt x="28" y="5"/>
                    </a:cubicBezTo>
                    <a:cubicBezTo>
                      <a:pt x="23" y="0"/>
                      <a:pt x="15" y="0"/>
                      <a:pt x="10" y="5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15"/>
                      <a:pt x="0" y="18"/>
                      <a:pt x="2" y="19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6" y="44"/>
                      <a:pt x="29" y="44"/>
                      <a:pt x="31" y="42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44" y="29"/>
                      <a:pt x="44" y="21"/>
                      <a:pt x="39" y="16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Freeform 48"/>
              <p:cNvSpPr>
                <a:spLocks/>
              </p:cNvSpPr>
              <p:nvPr/>
            </p:nvSpPr>
            <p:spPr bwMode="gray">
              <a:xfrm>
                <a:off x="2826" y="1662"/>
                <a:ext cx="45" cy="45"/>
              </a:xfrm>
              <a:custGeom>
                <a:avLst/>
                <a:gdLst>
                  <a:gd name="T0" fmla="*/ 12 w 28"/>
                  <a:gd name="T1" fmla="*/ 2 h 28"/>
                  <a:gd name="T2" fmla="*/ 6 w 28"/>
                  <a:gd name="T3" fmla="*/ 4 h 28"/>
                  <a:gd name="T4" fmla="*/ 1 w 28"/>
                  <a:gd name="T5" fmla="*/ 23 h 28"/>
                  <a:gd name="T6" fmla="*/ 6 w 28"/>
                  <a:gd name="T7" fmla="*/ 27 h 28"/>
                  <a:gd name="T8" fmla="*/ 24 w 28"/>
                  <a:gd name="T9" fmla="*/ 22 h 28"/>
                  <a:gd name="T10" fmla="*/ 26 w 28"/>
                  <a:gd name="T11" fmla="*/ 16 h 28"/>
                  <a:gd name="T12" fmla="*/ 12 w 28"/>
                  <a:gd name="T13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28">
                    <a:moveTo>
                      <a:pt x="12" y="2"/>
                    </a:moveTo>
                    <a:cubicBezTo>
                      <a:pt x="10" y="0"/>
                      <a:pt x="7" y="0"/>
                      <a:pt x="6" y="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6"/>
                      <a:pt x="2" y="28"/>
                      <a:pt x="6" y="27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8" y="21"/>
                      <a:pt x="28" y="18"/>
                      <a:pt x="26" y="16"/>
                    </a:cubicBezTo>
                    <a:lnTo>
                      <a:pt x="12" y="2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" name="Groupe 261"/>
          <p:cNvGrpSpPr/>
          <p:nvPr/>
        </p:nvGrpSpPr>
        <p:grpSpPr bwMode="gray">
          <a:xfrm>
            <a:off x="3808633" y="1696938"/>
            <a:ext cx="529550" cy="529613"/>
            <a:chOff x="5866910" y="2146162"/>
            <a:chExt cx="772352" cy="772352"/>
          </a:xfrm>
        </p:grpSpPr>
        <p:sp>
          <p:nvSpPr>
            <p:cNvPr id="263" name="Ellipse 262"/>
            <p:cNvSpPr/>
            <p:nvPr/>
          </p:nvSpPr>
          <p:spPr bwMode="gray">
            <a:xfrm>
              <a:off x="5866910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2" name="Group 51"/>
            <p:cNvGrpSpPr>
              <a:grpSpLocks noChangeAspect="1"/>
            </p:cNvGrpSpPr>
            <p:nvPr/>
          </p:nvGrpSpPr>
          <p:grpSpPr bwMode="gray">
            <a:xfrm>
              <a:off x="6002899" y="2339457"/>
              <a:ext cx="500374" cy="385762"/>
              <a:chOff x="3650" y="1439"/>
              <a:chExt cx="358" cy="276"/>
            </a:xfrm>
          </p:grpSpPr>
          <p:sp>
            <p:nvSpPr>
              <p:cNvPr id="265" name="Freeform 52"/>
              <p:cNvSpPr>
                <a:spLocks/>
              </p:cNvSpPr>
              <p:nvPr/>
            </p:nvSpPr>
            <p:spPr bwMode="gray">
              <a:xfrm>
                <a:off x="3650" y="1557"/>
                <a:ext cx="21" cy="76"/>
              </a:xfrm>
              <a:custGeom>
                <a:avLst/>
                <a:gdLst>
                  <a:gd name="T0" fmla="*/ 9 w 13"/>
                  <a:gd name="T1" fmla="*/ 0 h 48"/>
                  <a:gd name="T2" fmla="*/ 4 w 13"/>
                  <a:gd name="T3" fmla="*/ 0 h 48"/>
                  <a:gd name="T4" fmla="*/ 0 w 13"/>
                  <a:gd name="T5" fmla="*/ 4 h 48"/>
                  <a:gd name="T6" fmla="*/ 0 w 13"/>
                  <a:gd name="T7" fmla="*/ 44 h 48"/>
                  <a:gd name="T8" fmla="*/ 4 w 13"/>
                  <a:gd name="T9" fmla="*/ 48 h 48"/>
                  <a:gd name="T10" fmla="*/ 9 w 13"/>
                  <a:gd name="T11" fmla="*/ 48 h 48"/>
                  <a:gd name="T12" fmla="*/ 13 w 13"/>
                  <a:gd name="T13" fmla="*/ 44 h 48"/>
                  <a:gd name="T14" fmla="*/ 13 w 13"/>
                  <a:gd name="T15" fmla="*/ 4 h 48"/>
                  <a:gd name="T16" fmla="*/ 9 w 13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48">
                    <a:moveTo>
                      <a:pt x="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1" y="48"/>
                      <a:pt x="13" y="47"/>
                      <a:pt x="13" y="4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2"/>
                      <a:pt x="11" y="0"/>
                      <a:pt x="9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Freeform 53"/>
              <p:cNvSpPr>
                <a:spLocks/>
              </p:cNvSpPr>
              <p:nvPr/>
            </p:nvSpPr>
            <p:spPr bwMode="gray">
              <a:xfrm>
                <a:off x="3688" y="1546"/>
                <a:ext cx="320" cy="169"/>
              </a:xfrm>
              <a:custGeom>
                <a:avLst/>
                <a:gdLst>
                  <a:gd name="T0" fmla="*/ 197 w 201"/>
                  <a:gd name="T1" fmla="*/ 2 h 107"/>
                  <a:gd name="T2" fmla="*/ 167 w 201"/>
                  <a:gd name="T3" fmla="*/ 23 h 107"/>
                  <a:gd name="T4" fmla="*/ 158 w 201"/>
                  <a:gd name="T5" fmla="*/ 23 h 107"/>
                  <a:gd name="T6" fmla="*/ 158 w 201"/>
                  <a:gd name="T7" fmla="*/ 8 h 107"/>
                  <a:gd name="T8" fmla="*/ 154 w 201"/>
                  <a:gd name="T9" fmla="*/ 4 h 107"/>
                  <a:gd name="T10" fmla="*/ 4 w 201"/>
                  <a:gd name="T11" fmla="*/ 4 h 107"/>
                  <a:gd name="T12" fmla="*/ 0 w 201"/>
                  <a:gd name="T13" fmla="*/ 8 h 107"/>
                  <a:gd name="T14" fmla="*/ 0 w 201"/>
                  <a:gd name="T15" fmla="*/ 103 h 107"/>
                  <a:gd name="T16" fmla="*/ 4 w 201"/>
                  <a:gd name="T17" fmla="*/ 107 h 107"/>
                  <a:gd name="T18" fmla="*/ 154 w 201"/>
                  <a:gd name="T19" fmla="*/ 107 h 107"/>
                  <a:gd name="T20" fmla="*/ 158 w 201"/>
                  <a:gd name="T21" fmla="*/ 103 h 107"/>
                  <a:gd name="T22" fmla="*/ 158 w 201"/>
                  <a:gd name="T23" fmla="*/ 78 h 107"/>
                  <a:gd name="T24" fmla="*/ 168 w 201"/>
                  <a:gd name="T25" fmla="*/ 78 h 107"/>
                  <a:gd name="T26" fmla="*/ 197 w 201"/>
                  <a:gd name="T27" fmla="*/ 99 h 107"/>
                  <a:gd name="T28" fmla="*/ 201 w 201"/>
                  <a:gd name="T29" fmla="*/ 96 h 107"/>
                  <a:gd name="T30" fmla="*/ 201 w 201"/>
                  <a:gd name="T31" fmla="*/ 5 h 107"/>
                  <a:gd name="T32" fmla="*/ 197 w 201"/>
                  <a:gd name="T33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1" h="107">
                    <a:moveTo>
                      <a:pt x="197" y="2"/>
                    </a:moveTo>
                    <a:cubicBezTo>
                      <a:pt x="167" y="23"/>
                      <a:pt x="167" y="23"/>
                      <a:pt x="167" y="23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8" y="8"/>
                      <a:pt x="158" y="8"/>
                      <a:pt x="158" y="8"/>
                    </a:cubicBezTo>
                    <a:cubicBezTo>
                      <a:pt x="158" y="6"/>
                      <a:pt x="157" y="4"/>
                      <a:pt x="15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4"/>
                      <a:pt x="0" y="6"/>
                      <a:pt x="0" y="8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105"/>
                      <a:pt x="2" y="107"/>
                      <a:pt x="4" y="107"/>
                    </a:cubicBezTo>
                    <a:cubicBezTo>
                      <a:pt x="154" y="107"/>
                      <a:pt x="154" y="107"/>
                      <a:pt x="154" y="107"/>
                    </a:cubicBezTo>
                    <a:cubicBezTo>
                      <a:pt x="157" y="107"/>
                      <a:pt x="158" y="105"/>
                      <a:pt x="158" y="103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8" y="78"/>
                      <a:pt x="168" y="78"/>
                      <a:pt x="168" y="78"/>
                    </a:cubicBezTo>
                    <a:cubicBezTo>
                      <a:pt x="197" y="99"/>
                      <a:pt x="197" y="99"/>
                      <a:pt x="197" y="99"/>
                    </a:cubicBezTo>
                    <a:cubicBezTo>
                      <a:pt x="199" y="100"/>
                      <a:pt x="201" y="99"/>
                      <a:pt x="201" y="96"/>
                    </a:cubicBezTo>
                    <a:cubicBezTo>
                      <a:pt x="201" y="5"/>
                      <a:pt x="201" y="5"/>
                      <a:pt x="201" y="5"/>
                    </a:cubicBezTo>
                    <a:cubicBezTo>
                      <a:pt x="201" y="1"/>
                      <a:pt x="199" y="0"/>
                      <a:pt x="197" y="2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7" name="Oval 54"/>
              <p:cNvSpPr>
                <a:spLocks noChangeArrowheads="1"/>
              </p:cNvSpPr>
              <p:nvPr/>
            </p:nvSpPr>
            <p:spPr bwMode="gray">
              <a:xfrm>
                <a:off x="3704" y="1439"/>
                <a:ext cx="102" cy="102"/>
              </a:xfrm>
              <a:prstGeom prst="ellipse">
                <a:avLst/>
              </a:pr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Oval 55"/>
              <p:cNvSpPr>
                <a:spLocks noChangeArrowheads="1"/>
              </p:cNvSpPr>
              <p:nvPr/>
            </p:nvSpPr>
            <p:spPr bwMode="gray">
              <a:xfrm>
                <a:off x="3817" y="1439"/>
                <a:ext cx="103" cy="102"/>
              </a:xfrm>
              <a:prstGeom prst="ellipse">
                <a:avLst/>
              </a:pr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3" name="Groupe 11"/>
          <p:cNvGrpSpPr/>
          <p:nvPr/>
        </p:nvGrpSpPr>
        <p:grpSpPr bwMode="gray">
          <a:xfrm>
            <a:off x="4858910" y="1696938"/>
            <a:ext cx="529550" cy="529613"/>
            <a:chOff x="7407098" y="2146162"/>
            <a:chExt cx="772352" cy="772352"/>
          </a:xfrm>
        </p:grpSpPr>
        <p:sp>
          <p:nvSpPr>
            <p:cNvPr id="270" name="Ellipse 269"/>
            <p:cNvSpPr/>
            <p:nvPr/>
          </p:nvSpPr>
          <p:spPr bwMode="gray">
            <a:xfrm>
              <a:off x="7407098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4" name="Group 58"/>
            <p:cNvGrpSpPr>
              <a:grpSpLocks noChangeAspect="1"/>
            </p:cNvGrpSpPr>
            <p:nvPr/>
          </p:nvGrpSpPr>
          <p:grpSpPr bwMode="gray">
            <a:xfrm>
              <a:off x="7599809" y="2338873"/>
              <a:ext cx="386930" cy="386930"/>
              <a:chOff x="4663" y="1440"/>
              <a:chExt cx="277" cy="277"/>
            </a:xfrm>
          </p:grpSpPr>
          <p:sp>
            <p:nvSpPr>
              <p:cNvPr id="272" name="Freeform 59"/>
              <p:cNvSpPr>
                <a:spLocks noEditPoints="1"/>
              </p:cNvSpPr>
              <p:nvPr/>
            </p:nvSpPr>
            <p:spPr bwMode="gray">
              <a:xfrm>
                <a:off x="4663" y="1440"/>
                <a:ext cx="277" cy="277"/>
              </a:xfrm>
              <a:custGeom>
                <a:avLst/>
                <a:gdLst>
                  <a:gd name="T0" fmla="*/ 87 w 175"/>
                  <a:gd name="T1" fmla="*/ 0 h 175"/>
                  <a:gd name="T2" fmla="*/ 0 w 175"/>
                  <a:gd name="T3" fmla="*/ 87 h 175"/>
                  <a:gd name="T4" fmla="*/ 87 w 175"/>
                  <a:gd name="T5" fmla="*/ 175 h 175"/>
                  <a:gd name="T6" fmla="*/ 175 w 175"/>
                  <a:gd name="T7" fmla="*/ 87 h 175"/>
                  <a:gd name="T8" fmla="*/ 87 w 175"/>
                  <a:gd name="T9" fmla="*/ 0 h 175"/>
                  <a:gd name="T10" fmla="*/ 87 w 175"/>
                  <a:gd name="T11" fmla="*/ 159 h 175"/>
                  <a:gd name="T12" fmla="*/ 16 w 175"/>
                  <a:gd name="T13" fmla="*/ 87 h 175"/>
                  <a:gd name="T14" fmla="*/ 87 w 175"/>
                  <a:gd name="T15" fmla="*/ 16 h 175"/>
                  <a:gd name="T16" fmla="*/ 159 w 175"/>
                  <a:gd name="T17" fmla="*/ 87 h 175"/>
                  <a:gd name="T18" fmla="*/ 87 w 175"/>
                  <a:gd name="T19" fmla="*/ 159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5" h="175">
                    <a:moveTo>
                      <a:pt x="87" y="0"/>
                    </a:moveTo>
                    <a:cubicBezTo>
                      <a:pt x="39" y="0"/>
                      <a:pt x="0" y="39"/>
                      <a:pt x="0" y="87"/>
                    </a:cubicBezTo>
                    <a:cubicBezTo>
                      <a:pt x="0" y="136"/>
                      <a:pt x="39" y="175"/>
                      <a:pt x="87" y="175"/>
                    </a:cubicBezTo>
                    <a:cubicBezTo>
                      <a:pt x="136" y="175"/>
                      <a:pt x="175" y="136"/>
                      <a:pt x="175" y="87"/>
                    </a:cubicBezTo>
                    <a:cubicBezTo>
                      <a:pt x="175" y="39"/>
                      <a:pt x="136" y="0"/>
                      <a:pt x="87" y="0"/>
                    </a:cubicBezTo>
                    <a:close/>
                    <a:moveTo>
                      <a:pt x="87" y="159"/>
                    </a:moveTo>
                    <a:cubicBezTo>
                      <a:pt x="48" y="159"/>
                      <a:pt x="16" y="127"/>
                      <a:pt x="16" y="87"/>
                    </a:cubicBezTo>
                    <a:cubicBezTo>
                      <a:pt x="16" y="48"/>
                      <a:pt x="48" y="16"/>
                      <a:pt x="87" y="16"/>
                    </a:cubicBezTo>
                    <a:cubicBezTo>
                      <a:pt x="127" y="16"/>
                      <a:pt x="159" y="48"/>
                      <a:pt x="159" y="87"/>
                    </a:cubicBezTo>
                    <a:cubicBezTo>
                      <a:pt x="159" y="127"/>
                      <a:pt x="127" y="159"/>
                      <a:pt x="87" y="159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3" name="Freeform 60"/>
              <p:cNvSpPr>
                <a:spLocks/>
              </p:cNvSpPr>
              <p:nvPr/>
            </p:nvSpPr>
            <p:spPr bwMode="gray">
              <a:xfrm>
                <a:off x="4785" y="1511"/>
                <a:ext cx="90" cy="89"/>
              </a:xfrm>
              <a:custGeom>
                <a:avLst/>
                <a:gdLst>
                  <a:gd name="T0" fmla="*/ 51 w 57"/>
                  <a:gd name="T1" fmla="*/ 44 h 56"/>
                  <a:gd name="T2" fmla="*/ 12 w 57"/>
                  <a:gd name="T3" fmla="*/ 44 h 56"/>
                  <a:gd name="T4" fmla="*/ 12 w 57"/>
                  <a:gd name="T5" fmla="*/ 6 h 56"/>
                  <a:gd name="T6" fmla="*/ 6 w 57"/>
                  <a:gd name="T7" fmla="*/ 0 h 56"/>
                  <a:gd name="T8" fmla="*/ 0 w 57"/>
                  <a:gd name="T9" fmla="*/ 6 h 56"/>
                  <a:gd name="T10" fmla="*/ 0 w 57"/>
                  <a:gd name="T11" fmla="*/ 50 h 56"/>
                  <a:gd name="T12" fmla="*/ 6 w 57"/>
                  <a:gd name="T13" fmla="*/ 56 h 56"/>
                  <a:gd name="T14" fmla="*/ 51 w 57"/>
                  <a:gd name="T15" fmla="*/ 56 h 56"/>
                  <a:gd name="T16" fmla="*/ 57 w 57"/>
                  <a:gd name="T17" fmla="*/ 50 h 56"/>
                  <a:gd name="T18" fmla="*/ 51 w 57"/>
                  <a:gd name="T1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56">
                    <a:moveTo>
                      <a:pt x="51" y="44"/>
                    </a:move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10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4"/>
                      <a:pt x="3" y="56"/>
                      <a:pt x="6" y="56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54" y="56"/>
                      <a:pt x="57" y="54"/>
                      <a:pt x="57" y="50"/>
                    </a:cubicBezTo>
                    <a:cubicBezTo>
                      <a:pt x="57" y="47"/>
                      <a:pt x="54" y="44"/>
                      <a:pt x="51" y="4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5" name="Groupe 273"/>
          <p:cNvGrpSpPr/>
          <p:nvPr/>
        </p:nvGrpSpPr>
        <p:grpSpPr bwMode="gray">
          <a:xfrm>
            <a:off x="5909186" y="1696938"/>
            <a:ext cx="529550" cy="529613"/>
            <a:chOff x="8967902" y="2146162"/>
            <a:chExt cx="772352" cy="772352"/>
          </a:xfrm>
        </p:grpSpPr>
        <p:sp>
          <p:nvSpPr>
            <p:cNvPr id="275" name="Ellipse 274"/>
            <p:cNvSpPr/>
            <p:nvPr/>
          </p:nvSpPr>
          <p:spPr bwMode="gray">
            <a:xfrm>
              <a:off x="8967902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6" name="Freeform 64"/>
            <p:cNvSpPr>
              <a:spLocks/>
            </p:cNvSpPr>
            <p:nvPr/>
          </p:nvSpPr>
          <p:spPr bwMode="gray">
            <a:xfrm>
              <a:off x="9146738" y="2323821"/>
              <a:ext cx="414680" cy="417034"/>
            </a:xfrm>
            <a:custGeom>
              <a:avLst/>
              <a:gdLst>
                <a:gd name="T0" fmla="*/ 122 w 222"/>
                <a:gd name="T1" fmla="*/ 198 h 223"/>
                <a:gd name="T2" fmla="*/ 134 w 222"/>
                <a:gd name="T3" fmla="*/ 136 h 223"/>
                <a:gd name="T4" fmla="*/ 184 w 222"/>
                <a:gd name="T5" fmla="*/ 90 h 223"/>
                <a:gd name="T6" fmla="*/ 222 w 222"/>
                <a:gd name="T7" fmla="*/ 76 h 223"/>
                <a:gd name="T8" fmla="*/ 146 w 222"/>
                <a:gd name="T9" fmla="*/ 0 h 223"/>
                <a:gd name="T10" fmla="*/ 132 w 222"/>
                <a:gd name="T11" fmla="*/ 38 h 223"/>
                <a:gd name="T12" fmla="*/ 86 w 222"/>
                <a:gd name="T13" fmla="*/ 88 h 223"/>
                <a:gd name="T14" fmla="*/ 24 w 222"/>
                <a:gd name="T15" fmla="*/ 100 h 223"/>
                <a:gd name="T16" fmla="*/ 64 w 222"/>
                <a:gd name="T17" fmla="*/ 140 h 223"/>
                <a:gd name="T18" fmla="*/ 2 w 222"/>
                <a:gd name="T19" fmla="*/ 215 h 223"/>
                <a:gd name="T20" fmla="*/ 1 w 222"/>
                <a:gd name="T21" fmla="*/ 221 h 223"/>
                <a:gd name="T22" fmla="*/ 7 w 222"/>
                <a:gd name="T23" fmla="*/ 220 h 223"/>
                <a:gd name="T24" fmla="*/ 82 w 222"/>
                <a:gd name="T25" fmla="*/ 159 h 223"/>
                <a:gd name="T26" fmla="*/ 122 w 222"/>
                <a:gd name="T27" fmla="*/ 198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2" h="223">
                  <a:moveTo>
                    <a:pt x="122" y="198"/>
                  </a:moveTo>
                  <a:cubicBezTo>
                    <a:pt x="140" y="180"/>
                    <a:pt x="144" y="155"/>
                    <a:pt x="134" y="136"/>
                  </a:cubicBezTo>
                  <a:cubicBezTo>
                    <a:pt x="184" y="90"/>
                    <a:pt x="184" y="90"/>
                    <a:pt x="184" y="90"/>
                  </a:cubicBezTo>
                  <a:cubicBezTo>
                    <a:pt x="198" y="91"/>
                    <a:pt x="211" y="87"/>
                    <a:pt x="222" y="76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36" y="11"/>
                    <a:pt x="131" y="25"/>
                    <a:pt x="132" y="38"/>
                  </a:cubicBezTo>
                  <a:cubicBezTo>
                    <a:pt x="86" y="88"/>
                    <a:pt x="86" y="88"/>
                    <a:pt x="86" y="88"/>
                  </a:cubicBezTo>
                  <a:cubicBezTo>
                    <a:pt x="67" y="79"/>
                    <a:pt x="42" y="83"/>
                    <a:pt x="24" y="100"/>
                  </a:cubicBezTo>
                  <a:cubicBezTo>
                    <a:pt x="64" y="140"/>
                    <a:pt x="64" y="140"/>
                    <a:pt x="64" y="140"/>
                  </a:cubicBezTo>
                  <a:cubicBezTo>
                    <a:pt x="2" y="215"/>
                    <a:pt x="2" y="215"/>
                    <a:pt x="2" y="215"/>
                  </a:cubicBezTo>
                  <a:cubicBezTo>
                    <a:pt x="0" y="217"/>
                    <a:pt x="0" y="220"/>
                    <a:pt x="1" y="221"/>
                  </a:cubicBezTo>
                  <a:cubicBezTo>
                    <a:pt x="2" y="223"/>
                    <a:pt x="5" y="222"/>
                    <a:pt x="7" y="220"/>
                  </a:cubicBezTo>
                  <a:cubicBezTo>
                    <a:pt x="82" y="159"/>
                    <a:pt x="82" y="159"/>
                    <a:pt x="82" y="159"/>
                  </a:cubicBezTo>
                  <a:lnTo>
                    <a:pt x="122" y="198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" name="Groupe 276"/>
          <p:cNvGrpSpPr/>
          <p:nvPr/>
        </p:nvGrpSpPr>
        <p:grpSpPr bwMode="gray">
          <a:xfrm>
            <a:off x="6959462" y="1696938"/>
            <a:ext cx="529550" cy="529613"/>
            <a:chOff x="10518398" y="2146162"/>
            <a:chExt cx="772352" cy="772352"/>
          </a:xfrm>
        </p:grpSpPr>
        <p:sp>
          <p:nvSpPr>
            <p:cNvPr id="278" name="Ellipse 277"/>
            <p:cNvSpPr/>
            <p:nvPr/>
          </p:nvSpPr>
          <p:spPr bwMode="gray">
            <a:xfrm>
              <a:off x="10518398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9" name="Freeform 68"/>
            <p:cNvSpPr>
              <a:spLocks noEditPoints="1"/>
            </p:cNvSpPr>
            <p:nvPr/>
          </p:nvSpPr>
          <p:spPr bwMode="gray">
            <a:xfrm>
              <a:off x="10748366" y="2333749"/>
              <a:ext cx="312416" cy="397178"/>
            </a:xfrm>
            <a:custGeom>
              <a:avLst/>
              <a:gdLst>
                <a:gd name="T0" fmla="*/ 30 w 162"/>
                <a:gd name="T1" fmla="*/ 171 h 207"/>
                <a:gd name="T2" fmla="*/ 155 w 162"/>
                <a:gd name="T3" fmla="*/ 171 h 207"/>
                <a:gd name="T4" fmla="*/ 162 w 162"/>
                <a:gd name="T5" fmla="*/ 165 h 207"/>
                <a:gd name="T6" fmla="*/ 162 w 162"/>
                <a:gd name="T7" fmla="*/ 7 h 207"/>
                <a:gd name="T8" fmla="*/ 155 w 162"/>
                <a:gd name="T9" fmla="*/ 0 h 207"/>
                <a:gd name="T10" fmla="*/ 22 w 162"/>
                <a:gd name="T11" fmla="*/ 0 h 207"/>
                <a:gd name="T12" fmla="*/ 1 w 162"/>
                <a:gd name="T13" fmla="*/ 14 h 207"/>
                <a:gd name="T14" fmla="*/ 0 w 162"/>
                <a:gd name="T15" fmla="*/ 21 h 207"/>
                <a:gd name="T16" fmla="*/ 0 w 162"/>
                <a:gd name="T17" fmla="*/ 175 h 207"/>
                <a:gd name="T18" fmla="*/ 31 w 162"/>
                <a:gd name="T19" fmla="*/ 207 h 207"/>
                <a:gd name="T20" fmla="*/ 154 w 162"/>
                <a:gd name="T21" fmla="*/ 207 h 207"/>
                <a:gd name="T22" fmla="*/ 162 w 162"/>
                <a:gd name="T23" fmla="*/ 199 h 207"/>
                <a:gd name="T24" fmla="*/ 162 w 162"/>
                <a:gd name="T25" fmla="*/ 199 h 207"/>
                <a:gd name="T26" fmla="*/ 162 w 162"/>
                <a:gd name="T27" fmla="*/ 199 h 207"/>
                <a:gd name="T28" fmla="*/ 162 w 162"/>
                <a:gd name="T29" fmla="*/ 186 h 207"/>
                <a:gd name="T30" fmla="*/ 154 w 162"/>
                <a:gd name="T31" fmla="*/ 179 h 207"/>
                <a:gd name="T32" fmla="*/ 147 w 162"/>
                <a:gd name="T33" fmla="*/ 186 h 207"/>
                <a:gd name="T34" fmla="*/ 147 w 162"/>
                <a:gd name="T35" fmla="*/ 192 h 207"/>
                <a:gd name="T36" fmla="*/ 31 w 162"/>
                <a:gd name="T37" fmla="*/ 192 h 207"/>
                <a:gd name="T38" fmla="*/ 28 w 162"/>
                <a:gd name="T39" fmla="*/ 192 h 207"/>
                <a:gd name="T40" fmla="*/ 20 w 162"/>
                <a:gd name="T41" fmla="*/ 182 h 207"/>
                <a:gd name="T42" fmla="*/ 30 w 162"/>
                <a:gd name="T43" fmla="*/ 171 h 207"/>
                <a:gd name="T44" fmla="*/ 19 w 162"/>
                <a:gd name="T45" fmla="*/ 150 h 207"/>
                <a:gd name="T46" fmla="*/ 19 w 162"/>
                <a:gd name="T47" fmla="*/ 23 h 207"/>
                <a:gd name="T48" fmla="*/ 25 w 162"/>
                <a:gd name="T49" fmla="*/ 18 h 207"/>
                <a:gd name="T50" fmla="*/ 30 w 162"/>
                <a:gd name="T51" fmla="*/ 23 h 207"/>
                <a:gd name="T52" fmla="*/ 30 w 162"/>
                <a:gd name="T53" fmla="*/ 150 h 207"/>
                <a:gd name="T54" fmla="*/ 25 w 162"/>
                <a:gd name="T55" fmla="*/ 155 h 207"/>
                <a:gd name="T56" fmla="*/ 19 w 162"/>
                <a:gd name="T57" fmla="*/ 15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2" h="207">
                  <a:moveTo>
                    <a:pt x="30" y="171"/>
                  </a:moveTo>
                  <a:cubicBezTo>
                    <a:pt x="155" y="171"/>
                    <a:pt x="155" y="171"/>
                    <a:pt x="155" y="171"/>
                  </a:cubicBezTo>
                  <a:cubicBezTo>
                    <a:pt x="159" y="171"/>
                    <a:pt x="162" y="168"/>
                    <a:pt x="162" y="165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162" y="3"/>
                    <a:pt x="159" y="0"/>
                    <a:pt x="15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5" y="6"/>
                    <a:pt x="1" y="14"/>
                  </a:cubicBezTo>
                  <a:cubicBezTo>
                    <a:pt x="0" y="17"/>
                    <a:pt x="0" y="19"/>
                    <a:pt x="0" y="21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92"/>
                    <a:pt x="14" y="207"/>
                    <a:pt x="31" y="207"/>
                  </a:cubicBezTo>
                  <a:cubicBezTo>
                    <a:pt x="154" y="207"/>
                    <a:pt x="154" y="207"/>
                    <a:pt x="154" y="207"/>
                  </a:cubicBezTo>
                  <a:cubicBezTo>
                    <a:pt x="158" y="207"/>
                    <a:pt x="162" y="203"/>
                    <a:pt x="162" y="199"/>
                  </a:cubicBezTo>
                  <a:cubicBezTo>
                    <a:pt x="162" y="199"/>
                    <a:pt x="162" y="199"/>
                    <a:pt x="162" y="199"/>
                  </a:cubicBezTo>
                  <a:cubicBezTo>
                    <a:pt x="162" y="199"/>
                    <a:pt x="162" y="199"/>
                    <a:pt x="162" y="199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62" y="182"/>
                    <a:pt x="158" y="179"/>
                    <a:pt x="154" y="179"/>
                  </a:cubicBezTo>
                  <a:cubicBezTo>
                    <a:pt x="150" y="179"/>
                    <a:pt x="147" y="182"/>
                    <a:pt x="147" y="186"/>
                  </a:cubicBezTo>
                  <a:cubicBezTo>
                    <a:pt x="147" y="192"/>
                    <a:pt x="147" y="192"/>
                    <a:pt x="147" y="192"/>
                  </a:cubicBezTo>
                  <a:cubicBezTo>
                    <a:pt x="31" y="192"/>
                    <a:pt x="31" y="192"/>
                    <a:pt x="31" y="192"/>
                  </a:cubicBezTo>
                  <a:cubicBezTo>
                    <a:pt x="30" y="192"/>
                    <a:pt x="29" y="192"/>
                    <a:pt x="28" y="192"/>
                  </a:cubicBezTo>
                  <a:cubicBezTo>
                    <a:pt x="23" y="191"/>
                    <a:pt x="20" y="187"/>
                    <a:pt x="20" y="182"/>
                  </a:cubicBezTo>
                  <a:cubicBezTo>
                    <a:pt x="20" y="176"/>
                    <a:pt x="25" y="171"/>
                    <a:pt x="30" y="171"/>
                  </a:cubicBezTo>
                  <a:close/>
                  <a:moveTo>
                    <a:pt x="19" y="150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19" y="20"/>
                    <a:pt x="22" y="18"/>
                    <a:pt x="25" y="18"/>
                  </a:cubicBezTo>
                  <a:cubicBezTo>
                    <a:pt x="28" y="18"/>
                    <a:pt x="30" y="20"/>
                    <a:pt x="30" y="23"/>
                  </a:cubicBezTo>
                  <a:cubicBezTo>
                    <a:pt x="30" y="150"/>
                    <a:pt x="30" y="150"/>
                    <a:pt x="30" y="150"/>
                  </a:cubicBezTo>
                  <a:cubicBezTo>
                    <a:pt x="30" y="153"/>
                    <a:pt x="28" y="155"/>
                    <a:pt x="25" y="155"/>
                  </a:cubicBezTo>
                  <a:cubicBezTo>
                    <a:pt x="22" y="155"/>
                    <a:pt x="19" y="153"/>
                    <a:pt x="19" y="150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oupe 279"/>
          <p:cNvGrpSpPr/>
          <p:nvPr/>
        </p:nvGrpSpPr>
        <p:grpSpPr bwMode="gray">
          <a:xfrm>
            <a:off x="8009738" y="1696938"/>
            <a:ext cx="529550" cy="529613"/>
            <a:chOff x="12068894" y="2146162"/>
            <a:chExt cx="772352" cy="772352"/>
          </a:xfrm>
        </p:grpSpPr>
        <p:sp>
          <p:nvSpPr>
            <p:cNvPr id="281" name="Ellipse 280"/>
            <p:cNvSpPr/>
            <p:nvPr/>
          </p:nvSpPr>
          <p:spPr bwMode="gray">
            <a:xfrm>
              <a:off x="12068894" y="214616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oup 71"/>
            <p:cNvGrpSpPr>
              <a:grpSpLocks noChangeAspect="1"/>
            </p:cNvGrpSpPr>
            <p:nvPr/>
          </p:nvGrpSpPr>
          <p:grpSpPr bwMode="gray">
            <a:xfrm>
              <a:off x="12418203" y="2311144"/>
              <a:ext cx="73734" cy="442388"/>
              <a:chOff x="7838" y="1496"/>
              <a:chExt cx="27" cy="162"/>
            </a:xfrm>
          </p:grpSpPr>
          <p:sp>
            <p:nvSpPr>
              <p:cNvPr id="283" name="Freeform 72"/>
              <p:cNvSpPr>
                <a:spLocks/>
              </p:cNvSpPr>
              <p:nvPr/>
            </p:nvSpPr>
            <p:spPr bwMode="gray">
              <a:xfrm>
                <a:off x="7838" y="1496"/>
                <a:ext cx="27" cy="123"/>
              </a:xfrm>
              <a:custGeom>
                <a:avLst/>
                <a:gdLst>
                  <a:gd name="T0" fmla="*/ 8 w 17"/>
                  <a:gd name="T1" fmla="*/ 78 h 78"/>
                  <a:gd name="T2" fmla="*/ 17 w 17"/>
                  <a:gd name="T3" fmla="*/ 69 h 78"/>
                  <a:gd name="T4" fmla="*/ 17 w 17"/>
                  <a:gd name="T5" fmla="*/ 9 h 78"/>
                  <a:gd name="T6" fmla="*/ 8 w 17"/>
                  <a:gd name="T7" fmla="*/ 0 h 78"/>
                  <a:gd name="T8" fmla="*/ 0 w 17"/>
                  <a:gd name="T9" fmla="*/ 9 h 78"/>
                  <a:gd name="T10" fmla="*/ 0 w 17"/>
                  <a:gd name="T11" fmla="*/ 69 h 78"/>
                  <a:gd name="T12" fmla="*/ 8 w 17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78">
                    <a:moveTo>
                      <a:pt x="8" y="78"/>
                    </a:moveTo>
                    <a:cubicBezTo>
                      <a:pt x="13" y="78"/>
                      <a:pt x="17" y="74"/>
                      <a:pt x="17" y="6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4"/>
                      <a:pt x="4" y="78"/>
                      <a:pt x="8" y="78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4" name="Oval 73"/>
              <p:cNvSpPr>
                <a:spLocks noChangeArrowheads="1"/>
              </p:cNvSpPr>
              <p:nvPr/>
            </p:nvSpPr>
            <p:spPr bwMode="gray">
              <a:xfrm>
                <a:off x="7838" y="1631"/>
                <a:ext cx="27" cy="27"/>
              </a:xfrm>
              <a:prstGeom prst="ellipse">
                <a:avLst/>
              </a:pr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9" name="Groupe 284"/>
          <p:cNvGrpSpPr/>
          <p:nvPr/>
        </p:nvGrpSpPr>
        <p:grpSpPr bwMode="gray">
          <a:xfrm>
            <a:off x="657805" y="2826697"/>
            <a:ext cx="529550" cy="529613"/>
            <a:chOff x="1215422" y="3793727"/>
            <a:chExt cx="772352" cy="772352"/>
          </a:xfrm>
        </p:grpSpPr>
        <p:sp>
          <p:nvSpPr>
            <p:cNvPr id="286" name="Ellipse 285"/>
            <p:cNvSpPr/>
            <p:nvPr/>
          </p:nvSpPr>
          <p:spPr bwMode="gray">
            <a:xfrm>
              <a:off x="1215422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0" name="Group 77"/>
            <p:cNvGrpSpPr>
              <a:grpSpLocks noChangeAspect="1"/>
            </p:cNvGrpSpPr>
            <p:nvPr/>
          </p:nvGrpSpPr>
          <p:grpSpPr bwMode="gray">
            <a:xfrm>
              <a:off x="1351562" y="3980851"/>
              <a:ext cx="500072" cy="398104"/>
              <a:chOff x="829" y="2356"/>
              <a:chExt cx="358" cy="285"/>
            </a:xfrm>
          </p:grpSpPr>
          <p:sp>
            <p:nvSpPr>
              <p:cNvPr id="288" name="Freeform 78"/>
              <p:cNvSpPr>
                <a:spLocks noEditPoints="1"/>
              </p:cNvSpPr>
              <p:nvPr/>
            </p:nvSpPr>
            <p:spPr bwMode="gray">
              <a:xfrm>
                <a:off x="829" y="2356"/>
                <a:ext cx="358" cy="285"/>
              </a:xfrm>
              <a:custGeom>
                <a:avLst/>
                <a:gdLst>
                  <a:gd name="T0" fmla="*/ 214 w 226"/>
                  <a:gd name="T1" fmla="*/ 0 h 179"/>
                  <a:gd name="T2" fmla="*/ 12 w 226"/>
                  <a:gd name="T3" fmla="*/ 0 h 179"/>
                  <a:gd name="T4" fmla="*/ 0 w 226"/>
                  <a:gd name="T5" fmla="*/ 12 h 179"/>
                  <a:gd name="T6" fmla="*/ 0 w 226"/>
                  <a:gd name="T7" fmla="*/ 167 h 179"/>
                  <a:gd name="T8" fmla="*/ 12 w 226"/>
                  <a:gd name="T9" fmla="*/ 179 h 179"/>
                  <a:gd name="T10" fmla="*/ 214 w 226"/>
                  <a:gd name="T11" fmla="*/ 179 h 179"/>
                  <a:gd name="T12" fmla="*/ 226 w 226"/>
                  <a:gd name="T13" fmla="*/ 167 h 179"/>
                  <a:gd name="T14" fmla="*/ 226 w 226"/>
                  <a:gd name="T15" fmla="*/ 12 h 179"/>
                  <a:gd name="T16" fmla="*/ 214 w 226"/>
                  <a:gd name="T17" fmla="*/ 0 h 179"/>
                  <a:gd name="T18" fmla="*/ 202 w 226"/>
                  <a:gd name="T19" fmla="*/ 157 h 179"/>
                  <a:gd name="T20" fmla="*/ 25 w 226"/>
                  <a:gd name="T21" fmla="*/ 157 h 179"/>
                  <a:gd name="T22" fmla="*/ 25 w 226"/>
                  <a:gd name="T23" fmla="*/ 51 h 179"/>
                  <a:gd name="T24" fmla="*/ 202 w 226"/>
                  <a:gd name="T25" fmla="*/ 51 h 179"/>
                  <a:gd name="T26" fmla="*/ 202 w 226"/>
                  <a:gd name="T27" fmla="*/ 157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9">
                    <a:moveTo>
                      <a:pt x="214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6"/>
                      <a:pt x="0" y="12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74"/>
                      <a:pt x="6" y="179"/>
                      <a:pt x="12" y="179"/>
                    </a:cubicBezTo>
                    <a:cubicBezTo>
                      <a:pt x="214" y="179"/>
                      <a:pt x="214" y="179"/>
                      <a:pt x="214" y="179"/>
                    </a:cubicBezTo>
                    <a:cubicBezTo>
                      <a:pt x="221" y="179"/>
                      <a:pt x="226" y="174"/>
                      <a:pt x="226" y="167"/>
                    </a:cubicBezTo>
                    <a:cubicBezTo>
                      <a:pt x="226" y="12"/>
                      <a:pt x="226" y="12"/>
                      <a:pt x="226" y="12"/>
                    </a:cubicBezTo>
                    <a:cubicBezTo>
                      <a:pt x="226" y="6"/>
                      <a:pt x="221" y="0"/>
                      <a:pt x="214" y="0"/>
                    </a:cubicBezTo>
                    <a:close/>
                    <a:moveTo>
                      <a:pt x="202" y="157"/>
                    </a:moveTo>
                    <a:cubicBezTo>
                      <a:pt x="25" y="157"/>
                      <a:pt x="25" y="157"/>
                      <a:pt x="25" y="157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02" y="51"/>
                      <a:pt x="202" y="51"/>
                      <a:pt x="202" y="51"/>
                    </a:cubicBezTo>
                    <a:lnTo>
                      <a:pt x="202" y="157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9" name="Freeform 79"/>
              <p:cNvSpPr>
                <a:spLocks/>
              </p:cNvSpPr>
              <p:nvPr/>
            </p:nvSpPr>
            <p:spPr bwMode="gray">
              <a:xfrm>
                <a:off x="921" y="2464"/>
                <a:ext cx="57" cy="124"/>
              </a:xfrm>
              <a:custGeom>
                <a:avLst/>
                <a:gdLst>
                  <a:gd name="T0" fmla="*/ 28 w 57"/>
                  <a:gd name="T1" fmla="*/ 26 h 124"/>
                  <a:gd name="T2" fmla="*/ 28 w 57"/>
                  <a:gd name="T3" fmla="*/ 26 h 124"/>
                  <a:gd name="T4" fmla="*/ 28 w 57"/>
                  <a:gd name="T5" fmla="*/ 124 h 124"/>
                  <a:gd name="T6" fmla="*/ 57 w 57"/>
                  <a:gd name="T7" fmla="*/ 124 h 124"/>
                  <a:gd name="T8" fmla="*/ 57 w 57"/>
                  <a:gd name="T9" fmla="*/ 0 h 124"/>
                  <a:gd name="T10" fmla="*/ 31 w 57"/>
                  <a:gd name="T11" fmla="*/ 0 h 124"/>
                  <a:gd name="T12" fmla="*/ 0 w 57"/>
                  <a:gd name="T13" fmla="*/ 15 h 124"/>
                  <a:gd name="T14" fmla="*/ 4 w 57"/>
                  <a:gd name="T15" fmla="*/ 37 h 124"/>
                  <a:gd name="T16" fmla="*/ 28 w 57"/>
                  <a:gd name="T17" fmla="*/ 2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24">
                    <a:moveTo>
                      <a:pt x="28" y="26"/>
                    </a:moveTo>
                    <a:lnTo>
                      <a:pt x="28" y="26"/>
                    </a:lnTo>
                    <a:lnTo>
                      <a:pt x="28" y="124"/>
                    </a:lnTo>
                    <a:lnTo>
                      <a:pt x="57" y="124"/>
                    </a:lnTo>
                    <a:lnTo>
                      <a:pt x="57" y="0"/>
                    </a:lnTo>
                    <a:lnTo>
                      <a:pt x="31" y="0"/>
                    </a:lnTo>
                    <a:lnTo>
                      <a:pt x="0" y="15"/>
                    </a:lnTo>
                    <a:lnTo>
                      <a:pt x="4" y="37"/>
                    </a:lnTo>
                    <a:lnTo>
                      <a:pt x="28" y="26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0" name="Freeform 80"/>
              <p:cNvSpPr>
                <a:spLocks noEditPoints="1"/>
              </p:cNvSpPr>
              <p:nvPr/>
            </p:nvSpPr>
            <p:spPr bwMode="gray">
              <a:xfrm>
                <a:off x="1005" y="2461"/>
                <a:ext cx="92" cy="129"/>
              </a:xfrm>
              <a:custGeom>
                <a:avLst/>
                <a:gdLst>
                  <a:gd name="T0" fmla="*/ 24 w 58"/>
                  <a:gd name="T1" fmla="*/ 53 h 81"/>
                  <a:gd name="T2" fmla="*/ 39 w 58"/>
                  <a:gd name="T3" fmla="*/ 47 h 81"/>
                  <a:gd name="T4" fmla="*/ 40 w 58"/>
                  <a:gd name="T5" fmla="*/ 47 h 81"/>
                  <a:gd name="T6" fmla="*/ 30 w 58"/>
                  <a:gd name="T7" fmla="*/ 62 h 81"/>
                  <a:gd name="T8" fmla="*/ 15 w 58"/>
                  <a:gd name="T9" fmla="*/ 66 h 81"/>
                  <a:gd name="T10" fmla="*/ 7 w 58"/>
                  <a:gd name="T11" fmla="*/ 66 h 81"/>
                  <a:gd name="T12" fmla="*/ 7 w 58"/>
                  <a:gd name="T13" fmla="*/ 81 h 81"/>
                  <a:gd name="T14" fmla="*/ 15 w 58"/>
                  <a:gd name="T15" fmla="*/ 81 h 81"/>
                  <a:gd name="T16" fmla="*/ 45 w 58"/>
                  <a:gd name="T17" fmla="*/ 70 h 81"/>
                  <a:gd name="T18" fmla="*/ 58 w 58"/>
                  <a:gd name="T19" fmla="*/ 34 h 81"/>
                  <a:gd name="T20" fmla="*/ 29 w 58"/>
                  <a:gd name="T21" fmla="*/ 0 h 81"/>
                  <a:gd name="T22" fmla="*/ 0 w 58"/>
                  <a:gd name="T23" fmla="*/ 28 h 81"/>
                  <a:gd name="T24" fmla="*/ 24 w 58"/>
                  <a:gd name="T25" fmla="*/ 53 h 81"/>
                  <a:gd name="T26" fmla="*/ 28 w 58"/>
                  <a:gd name="T27" fmla="*/ 14 h 81"/>
                  <a:gd name="T28" fmla="*/ 40 w 58"/>
                  <a:gd name="T29" fmla="*/ 30 h 81"/>
                  <a:gd name="T30" fmla="*/ 39 w 58"/>
                  <a:gd name="T31" fmla="*/ 35 h 81"/>
                  <a:gd name="T32" fmla="*/ 29 w 58"/>
                  <a:gd name="T33" fmla="*/ 40 h 81"/>
                  <a:gd name="T34" fmla="*/ 18 w 58"/>
                  <a:gd name="T35" fmla="*/ 27 h 81"/>
                  <a:gd name="T36" fmla="*/ 28 w 58"/>
                  <a:gd name="T37" fmla="*/ 1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8" h="81">
                    <a:moveTo>
                      <a:pt x="24" y="53"/>
                    </a:moveTo>
                    <a:cubicBezTo>
                      <a:pt x="31" y="53"/>
                      <a:pt x="36" y="51"/>
                      <a:pt x="3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38" y="53"/>
                      <a:pt x="35" y="58"/>
                      <a:pt x="30" y="62"/>
                    </a:cubicBezTo>
                    <a:cubicBezTo>
                      <a:pt x="26" y="64"/>
                      <a:pt x="20" y="66"/>
                      <a:pt x="15" y="66"/>
                    </a:cubicBezTo>
                    <a:cubicBezTo>
                      <a:pt x="11" y="67"/>
                      <a:pt x="9" y="67"/>
                      <a:pt x="7" y="66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9" y="81"/>
                      <a:pt x="12" y="81"/>
                      <a:pt x="15" y="81"/>
                    </a:cubicBezTo>
                    <a:cubicBezTo>
                      <a:pt x="27" y="80"/>
                      <a:pt x="37" y="76"/>
                      <a:pt x="45" y="70"/>
                    </a:cubicBezTo>
                    <a:cubicBezTo>
                      <a:pt x="53" y="62"/>
                      <a:pt x="58" y="50"/>
                      <a:pt x="58" y="34"/>
                    </a:cubicBezTo>
                    <a:cubicBezTo>
                      <a:pt x="58" y="16"/>
                      <a:pt x="49" y="0"/>
                      <a:pt x="29" y="0"/>
                    </a:cubicBezTo>
                    <a:cubicBezTo>
                      <a:pt x="12" y="0"/>
                      <a:pt x="0" y="13"/>
                      <a:pt x="0" y="28"/>
                    </a:cubicBezTo>
                    <a:cubicBezTo>
                      <a:pt x="0" y="43"/>
                      <a:pt x="11" y="53"/>
                      <a:pt x="24" y="53"/>
                    </a:cubicBezTo>
                    <a:close/>
                    <a:moveTo>
                      <a:pt x="28" y="14"/>
                    </a:moveTo>
                    <a:cubicBezTo>
                      <a:pt x="37" y="14"/>
                      <a:pt x="40" y="22"/>
                      <a:pt x="40" y="30"/>
                    </a:cubicBezTo>
                    <a:cubicBezTo>
                      <a:pt x="40" y="32"/>
                      <a:pt x="39" y="34"/>
                      <a:pt x="39" y="35"/>
                    </a:cubicBezTo>
                    <a:cubicBezTo>
                      <a:pt x="37" y="37"/>
                      <a:pt x="34" y="40"/>
                      <a:pt x="29" y="40"/>
                    </a:cubicBezTo>
                    <a:cubicBezTo>
                      <a:pt x="21" y="40"/>
                      <a:pt x="18" y="34"/>
                      <a:pt x="18" y="27"/>
                    </a:cubicBezTo>
                    <a:cubicBezTo>
                      <a:pt x="18" y="19"/>
                      <a:pt x="22" y="14"/>
                      <a:pt x="28" y="1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Groupe 17"/>
          <p:cNvGrpSpPr/>
          <p:nvPr/>
        </p:nvGrpSpPr>
        <p:grpSpPr bwMode="gray">
          <a:xfrm>
            <a:off x="1708081" y="2826697"/>
            <a:ext cx="529550" cy="529613"/>
            <a:chOff x="2765918" y="3793727"/>
            <a:chExt cx="772352" cy="772352"/>
          </a:xfrm>
        </p:grpSpPr>
        <p:sp>
          <p:nvSpPr>
            <p:cNvPr id="292" name="Ellipse 291"/>
            <p:cNvSpPr/>
            <p:nvPr/>
          </p:nvSpPr>
          <p:spPr bwMode="gray">
            <a:xfrm>
              <a:off x="2765918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3" name="Freeform 84"/>
            <p:cNvSpPr>
              <a:spLocks/>
            </p:cNvSpPr>
            <p:nvPr/>
          </p:nvSpPr>
          <p:spPr bwMode="gray">
            <a:xfrm>
              <a:off x="2927201" y="3964788"/>
              <a:ext cx="449786" cy="430230"/>
            </a:xfrm>
            <a:custGeom>
              <a:avLst/>
              <a:gdLst>
                <a:gd name="T0" fmla="*/ 162 w 322"/>
                <a:gd name="T1" fmla="*/ 0 h 308"/>
                <a:gd name="T2" fmla="*/ 211 w 322"/>
                <a:gd name="T3" fmla="*/ 100 h 308"/>
                <a:gd name="T4" fmla="*/ 322 w 322"/>
                <a:gd name="T5" fmla="*/ 118 h 308"/>
                <a:gd name="T6" fmla="*/ 243 w 322"/>
                <a:gd name="T7" fmla="*/ 196 h 308"/>
                <a:gd name="T8" fmla="*/ 262 w 322"/>
                <a:gd name="T9" fmla="*/ 308 h 308"/>
                <a:gd name="T10" fmla="*/ 162 w 322"/>
                <a:gd name="T11" fmla="*/ 255 h 308"/>
                <a:gd name="T12" fmla="*/ 62 w 322"/>
                <a:gd name="T13" fmla="*/ 308 h 308"/>
                <a:gd name="T14" fmla="*/ 81 w 322"/>
                <a:gd name="T15" fmla="*/ 196 h 308"/>
                <a:gd name="T16" fmla="*/ 0 w 322"/>
                <a:gd name="T17" fmla="*/ 118 h 308"/>
                <a:gd name="T18" fmla="*/ 111 w 322"/>
                <a:gd name="T19" fmla="*/ 100 h 308"/>
                <a:gd name="T20" fmla="*/ 162 w 322"/>
                <a:gd name="T2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08">
                  <a:moveTo>
                    <a:pt x="162" y="0"/>
                  </a:moveTo>
                  <a:lnTo>
                    <a:pt x="211" y="100"/>
                  </a:lnTo>
                  <a:lnTo>
                    <a:pt x="322" y="118"/>
                  </a:lnTo>
                  <a:lnTo>
                    <a:pt x="243" y="196"/>
                  </a:lnTo>
                  <a:lnTo>
                    <a:pt x="262" y="308"/>
                  </a:lnTo>
                  <a:lnTo>
                    <a:pt x="162" y="255"/>
                  </a:lnTo>
                  <a:lnTo>
                    <a:pt x="62" y="308"/>
                  </a:lnTo>
                  <a:lnTo>
                    <a:pt x="81" y="196"/>
                  </a:lnTo>
                  <a:lnTo>
                    <a:pt x="0" y="118"/>
                  </a:lnTo>
                  <a:lnTo>
                    <a:pt x="111" y="100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" name="Groupe 293"/>
          <p:cNvGrpSpPr/>
          <p:nvPr/>
        </p:nvGrpSpPr>
        <p:grpSpPr bwMode="gray">
          <a:xfrm>
            <a:off x="2758357" y="2826697"/>
            <a:ext cx="529550" cy="529613"/>
            <a:chOff x="4316414" y="3793727"/>
            <a:chExt cx="772352" cy="772352"/>
          </a:xfrm>
        </p:grpSpPr>
        <p:sp>
          <p:nvSpPr>
            <p:cNvPr id="295" name="Ellipse 294"/>
            <p:cNvSpPr/>
            <p:nvPr/>
          </p:nvSpPr>
          <p:spPr bwMode="gray">
            <a:xfrm>
              <a:off x="4316414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" name="Group 87"/>
            <p:cNvGrpSpPr>
              <a:grpSpLocks noChangeAspect="1"/>
            </p:cNvGrpSpPr>
            <p:nvPr/>
          </p:nvGrpSpPr>
          <p:grpSpPr bwMode="gray">
            <a:xfrm>
              <a:off x="4434392" y="3968279"/>
              <a:ext cx="536396" cy="423248"/>
              <a:chOff x="2762" y="2336"/>
              <a:chExt cx="384" cy="303"/>
            </a:xfrm>
          </p:grpSpPr>
          <p:sp>
            <p:nvSpPr>
              <p:cNvPr id="297" name="Freeform 88"/>
              <p:cNvSpPr>
                <a:spLocks/>
              </p:cNvSpPr>
              <p:nvPr/>
            </p:nvSpPr>
            <p:spPr bwMode="gray">
              <a:xfrm>
                <a:off x="2762" y="2336"/>
                <a:ext cx="384" cy="134"/>
              </a:xfrm>
              <a:custGeom>
                <a:avLst/>
                <a:gdLst>
                  <a:gd name="T0" fmla="*/ 236 w 241"/>
                  <a:gd name="T1" fmla="*/ 64 h 85"/>
                  <a:gd name="T2" fmla="*/ 5 w 241"/>
                  <a:gd name="T3" fmla="*/ 63 h 85"/>
                  <a:gd name="T4" fmla="*/ 5 w 241"/>
                  <a:gd name="T5" fmla="*/ 80 h 85"/>
                  <a:gd name="T6" fmla="*/ 22 w 241"/>
                  <a:gd name="T7" fmla="*/ 80 h 85"/>
                  <a:gd name="T8" fmla="*/ 219 w 241"/>
                  <a:gd name="T9" fmla="*/ 81 h 85"/>
                  <a:gd name="T10" fmla="*/ 227 w 241"/>
                  <a:gd name="T11" fmla="*/ 84 h 85"/>
                  <a:gd name="T12" fmla="*/ 236 w 241"/>
                  <a:gd name="T13" fmla="*/ 81 h 85"/>
                  <a:gd name="T14" fmla="*/ 236 w 241"/>
                  <a:gd name="T15" fmla="*/ 6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1" h="85">
                    <a:moveTo>
                      <a:pt x="236" y="64"/>
                    </a:moveTo>
                    <a:cubicBezTo>
                      <a:pt x="171" y="1"/>
                      <a:pt x="70" y="0"/>
                      <a:pt x="5" y="63"/>
                    </a:cubicBezTo>
                    <a:cubicBezTo>
                      <a:pt x="0" y="67"/>
                      <a:pt x="0" y="75"/>
                      <a:pt x="5" y="80"/>
                    </a:cubicBezTo>
                    <a:cubicBezTo>
                      <a:pt x="9" y="85"/>
                      <a:pt x="17" y="85"/>
                      <a:pt x="22" y="80"/>
                    </a:cubicBezTo>
                    <a:cubicBezTo>
                      <a:pt x="77" y="27"/>
                      <a:pt x="164" y="27"/>
                      <a:pt x="219" y="81"/>
                    </a:cubicBezTo>
                    <a:cubicBezTo>
                      <a:pt x="221" y="83"/>
                      <a:pt x="224" y="84"/>
                      <a:pt x="227" y="84"/>
                    </a:cubicBezTo>
                    <a:cubicBezTo>
                      <a:pt x="230" y="84"/>
                      <a:pt x="234" y="83"/>
                      <a:pt x="236" y="81"/>
                    </a:cubicBezTo>
                    <a:cubicBezTo>
                      <a:pt x="241" y="76"/>
                      <a:pt x="240" y="68"/>
                      <a:pt x="236" y="6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8" name="Freeform 89"/>
              <p:cNvSpPr>
                <a:spLocks/>
              </p:cNvSpPr>
              <p:nvPr/>
            </p:nvSpPr>
            <p:spPr bwMode="gray">
              <a:xfrm>
                <a:off x="2824" y="2415"/>
                <a:ext cx="260" cy="100"/>
              </a:xfrm>
              <a:custGeom>
                <a:avLst/>
                <a:gdLst>
                  <a:gd name="T0" fmla="*/ 5 w 163"/>
                  <a:gd name="T1" fmla="*/ 41 h 63"/>
                  <a:gd name="T2" fmla="*/ 4 w 163"/>
                  <a:gd name="T3" fmla="*/ 58 h 63"/>
                  <a:gd name="T4" fmla="*/ 21 w 163"/>
                  <a:gd name="T5" fmla="*/ 58 h 63"/>
                  <a:gd name="T6" fmla="*/ 141 w 163"/>
                  <a:gd name="T7" fmla="*/ 59 h 63"/>
                  <a:gd name="T8" fmla="*/ 149 w 163"/>
                  <a:gd name="T9" fmla="*/ 62 h 63"/>
                  <a:gd name="T10" fmla="*/ 158 w 163"/>
                  <a:gd name="T11" fmla="*/ 59 h 63"/>
                  <a:gd name="T12" fmla="*/ 158 w 163"/>
                  <a:gd name="T13" fmla="*/ 42 h 63"/>
                  <a:gd name="T14" fmla="*/ 5 w 163"/>
                  <a:gd name="T15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" h="63">
                    <a:moveTo>
                      <a:pt x="5" y="41"/>
                    </a:moveTo>
                    <a:cubicBezTo>
                      <a:pt x="0" y="45"/>
                      <a:pt x="0" y="53"/>
                      <a:pt x="4" y="58"/>
                    </a:cubicBezTo>
                    <a:cubicBezTo>
                      <a:pt x="9" y="63"/>
                      <a:pt x="17" y="63"/>
                      <a:pt x="21" y="58"/>
                    </a:cubicBezTo>
                    <a:cubicBezTo>
                      <a:pt x="55" y="27"/>
                      <a:pt x="108" y="27"/>
                      <a:pt x="141" y="59"/>
                    </a:cubicBezTo>
                    <a:cubicBezTo>
                      <a:pt x="143" y="61"/>
                      <a:pt x="146" y="62"/>
                      <a:pt x="149" y="62"/>
                    </a:cubicBezTo>
                    <a:cubicBezTo>
                      <a:pt x="153" y="62"/>
                      <a:pt x="156" y="61"/>
                      <a:pt x="158" y="59"/>
                    </a:cubicBezTo>
                    <a:cubicBezTo>
                      <a:pt x="163" y="54"/>
                      <a:pt x="163" y="46"/>
                      <a:pt x="158" y="42"/>
                    </a:cubicBezTo>
                    <a:cubicBezTo>
                      <a:pt x="115" y="1"/>
                      <a:pt x="48" y="0"/>
                      <a:pt x="5" y="41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9" name="Freeform 90"/>
              <p:cNvSpPr>
                <a:spLocks/>
              </p:cNvSpPr>
              <p:nvPr/>
            </p:nvSpPr>
            <p:spPr bwMode="gray">
              <a:xfrm>
                <a:off x="2885" y="2496"/>
                <a:ext cx="138" cy="66"/>
              </a:xfrm>
              <a:custGeom>
                <a:avLst/>
                <a:gdLst>
                  <a:gd name="T0" fmla="*/ 5 w 87"/>
                  <a:gd name="T1" fmla="*/ 20 h 42"/>
                  <a:gd name="T2" fmla="*/ 4 w 87"/>
                  <a:gd name="T3" fmla="*/ 37 h 42"/>
                  <a:gd name="T4" fmla="*/ 21 w 87"/>
                  <a:gd name="T5" fmla="*/ 38 h 42"/>
                  <a:gd name="T6" fmla="*/ 65 w 87"/>
                  <a:gd name="T7" fmla="*/ 38 h 42"/>
                  <a:gd name="T8" fmla="*/ 74 w 87"/>
                  <a:gd name="T9" fmla="*/ 41 h 42"/>
                  <a:gd name="T10" fmla="*/ 82 w 87"/>
                  <a:gd name="T11" fmla="*/ 37 h 42"/>
                  <a:gd name="T12" fmla="*/ 82 w 87"/>
                  <a:gd name="T13" fmla="*/ 20 h 42"/>
                  <a:gd name="T14" fmla="*/ 5 w 87"/>
                  <a:gd name="T15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42">
                    <a:moveTo>
                      <a:pt x="5" y="20"/>
                    </a:moveTo>
                    <a:cubicBezTo>
                      <a:pt x="0" y="24"/>
                      <a:pt x="0" y="32"/>
                      <a:pt x="4" y="37"/>
                    </a:cubicBezTo>
                    <a:cubicBezTo>
                      <a:pt x="8" y="41"/>
                      <a:pt x="16" y="42"/>
                      <a:pt x="21" y="38"/>
                    </a:cubicBezTo>
                    <a:cubicBezTo>
                      <a:pt x="34" y="26"/>
                      <a:pt x="53" y="27"/>
                      <a:pt x="65" y="38"/>
                    </a:cubicBezTo>
                    <a:cubicBezTo>
                      <a:pt x="68" y="40"/>
                      <a:pt x="71" y="41"/>
                      <a:pt x="74" y="41"/>
                    </a:cubicBezTo>
                    <a:cubicBezTo>
                      <a:pt x="77" y="41"/>
                      <a:pt x="80" y="40"/>
                      <a:pt x="82" y="37"/>
                    </a:cubicBezTo>
                    <a:cubicBezTo>
                      <a:pt x="87" y="33"/>
                      <a:pt x="87" y="25"/>
                      <a:pt x="82" y="20"/>
                    </a:cubicBezTo>
                    <a:cubicBezTo>
                      <a:pt x="60" y="1"/>
                      <a:pt x="27" y="0"/>
                      <a:pt x="5" y="2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0" name="Oval 91"/>
              <p:cNvSpPr>
                <a:spLocks noChangeArrowheads="1"/>
              </p:cNvSpPr>
              <p:nvPr/>
            </p:nvSpPr>
            <p:spPr bwMode="gray">
              <a:xfrm>
                <a:off x="2923" y="2575"/>
                <a:ext cx="62" cy="64"/>
              </a:xfrm>
              <a:prstGeom prst="ellipse">
                <a:avLst/>
              </a:pr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" name="Groupe 300"/>
          <p:cNvGrpSpPr/>
          <p:nvPr/>
        </p:nvGrpSpPr>
        <p:grpSpPr bwMode="gray">
          <a:xfrm>
            <a:off x="3808633" y="2826697"/>
            <a:ext cx="529550" cy="529613"/>
            <a:chOff x="5866910" y="3793727"/>
            <a:chExt cx="772352" cy="772352"/>
          </a:xfrm>
        </p:grpSpPr>
        <p:sp>
          <p:nvSpPr>
            <p:cNvPr id="302" name="Ellipse 301"/>
            <p:cNvSpPr/>
            <p:nvPr/>
          </p:nvSpPr>
          <p:spPr bwMode="gray">
            <a:xfrm>
              <a:off x="5866910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3" name="Freeform 95"/>
            <p:cNvSpPr>
              <a:spLocks noEditPoints="1"/>
            </p:cNvSpPr>
            <p:nvPr/>
          </p:nvSpPr>
          <p:spPr bwMode="gray">
            <a:xfrm>
              <a:off x="6026097" y="3957105"/>
              <a:ext cx="453978" cy="445596"/>
            </a:xfrm>
            <a:custGeom>
              <a:avLst/>
              <a:gdLst>
                <a:gd name="T0" fmla="*/ 129 w 204"/>
                <a:gd name="T1" fmla="*/ 0 h 201"/>
                <a:gd name="T2" fmla="*/ 53 w 204"/>
                <a:gd name="T3" fmla="*/ 76 h 201"/>
                <a:gd name="T4" fmla="*/ 62 w 204"/>
                <a:gd name="T5" fmla="*/ 111 h 201"/>
                <a:gd name="T6" fmla="*/ 7 w 204"/>
                <a:gd name="T7" fmla="*/ 166 h 201"/>
                <a:gd name="T8" fmla="*/ 7 w 204"/>
                <a:gd name="T9" fmla="*/ 193 h 201"/>
                <a:gd name="T10" fmla="*/ 35 w 204"/>
                <a:gd name="T11" fmla="*/ 193 h 201"/>
                <a:gd name="T12" fmla="*/ 88 w 204"/>
                <a:gd name="T13" fmla="*/ 140 h 201"/>
                <a:gd name="T14" fmla="*/ 129 w 204"/>
                <a:gd name="T15" fmla="*/ 151 h 201"/>
                <a:gd name="T16" fmla="*/ 204 w 204"/>
                <a:gd name="T17" fmla="*/ 76 h 201"/>
                <a:gd name="T18" fmla="*/ 129 w 204"/>
                <a:gd name="T19" fmla="*/ 0 h 201"/>
                <a:gd name="T20" fmla="*/ 129 w 204"/>
                <a:gd name="T21" fmla="*/ 127 h 201"/>
                <a:gd name="T22" fmla="*/ 77 w 204"/>
                <a:gd name="T23" fmla="*/ 76 h 201"/>
                <a:gd name="T24" fmla="*/ 129 w 204"/>
                <a:gd name="T25" fmla="*/ 24 h 201"/>
                <a:gd name="T26" fmla="*/ 180 w 204"/>
                <a:gd name="T27" fmla="*/ 76 h 201"/>
                <a:gd name="T28" fmla="*/ 129 w 204"/>
                <a:gd name="T29" fmla="*/ 12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" h="201">
                  <a:moveTo>
                    <a:pt x="129" y="0"/>
                  </a:moveTo>
                  <a:cubicBezTo>
                    <a:pt x="87" y="0"/>
                    <a:pt x="53" y="34"/>
                    <a:pt x="53" y="76"/>
                  </a:cubicBezTo>
                  <a:cubicBezTo>
                    <a:pt x="53" y="89"/>
                    <a:pt x="56" y="101"/>
                    <a:pt x="62" y="111"/>
                  </a:cubicBezTo>
                  <a:cubicBezTo>
                    <a:pt x="7" y="166"/>
                    <a:pt x="7" y="166"/>
                    <a:pt x="7" y="166"/>
                  </a:cubicBezTo>
                  <a:cubicBezTo>
                    <a:pt x="0" y="173"/>
                    <a:pt x="0" y="186"/>
                    <a:pt x="7" y="193"/>
                  </a:cubicBezTo>
                  <a:cubicBezTo>
                    <a:pt x="15" y="201"/>
                    <a:pt x="27" y="201"/>
                    <a:pt x="35" y="193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100" y="147"/>
                    <a:pt x="114" y="151"/>
                    <a:pt x="129" y="151"/>
                  </a:cubicBezTo>
                  <a:cubicBezTo>
                    <a:pt x="170" y="151"/>
                    <a:pt x="204" y="118"/>
                    <a:pt x="204" y="76"/>
                  </a:cubicBezTo>
                  <a:cubicBezTo>
                    <a:pt x="204" y="34"/>
                    <a:pt x="170" y="0"/>
                    <a:pt x="129" y="0"/>
                  </a:cubicBezTo>
                  <a:close/>
                  <a:moveTo>
                    <a:pt x="129" y="127"/>
                  </a:moveTo>
                  <a:cubicBezTo>
                    <a:pt x="100" y="127"/>
                    <a:pt x="77" y="104"/>
                    <a:pt x="77" y="76"/>
                  </a:cubicBezTo>
                  <a:cubicBezTo>
                    <a:pt x="77" y="47"/>
                    <a:pt x="100" y="24"/>
                    <a:pt x="129" y="24"/>
                  </a:cubicBezTo>
                  <a:cubicBezTo>
                    <a:pt x="157" y="24"/>
                    <a:pt x="180" y="47"/>
                    <a:pt x="180" y="76"/>
                  </a:cubicBezTo>
                  <a:cubicBezTo>
                    <a:pt x="180" y="104"/>
                    <a:pt x="157" y="127"/>
                    <a:pt x="129" y="127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5" name="Groupe 303"/>
          <p:cNvGrpSpPr/>
          <p:nvPr/>
        </p:nvGrpSpPr>
        <p:grpSpPr bwMode="gray">
          <a:xfrm>
            <a:off x="4858910" y="2826697"/>
            <a:ext cx="529550" cy="529613"/>
            <a:chOff x="7407098" y="3793727"/>
            <a:chExt cx="772352" cy="772352"/>
          </a:xfrm>
        </p:grpSpPr>
        <p:sp>
          <p:nvSpPr>
            <p:cNvPr id="305" name="Ellipse 304"/>
            <p:cNvSpPr/>
            <p:nvPr/>
          </p:nvSpPr>
          <p:spPr bwMode="gray">
            <a:xfrm>
              <a:off x="7407098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Freeform 99"/>
            <p:cNvSpPr>
              <a:spLocks/>
            </p:cNvSpPr>
            <p:nvPr/>
          </p:nvSpPr>
          <p:spPr bwMode="gray">
            <a:xfrm>
              <a:off x="7557309" y="3962141"/>
              <a:ext cx="471930" cy="435524"/>
            </a:xfrm>
            <a:custGeom>
              <a:avLst/>
              <a:gdLst>
                <a:gd name="T0" fmla="*/ 229 w 229"/>
                <a:gd name="T1" fmla="*/ 112 h 211"/>
                <a:gd name="T2" fmla="*/ 121 w 229"/>
                <a:gd name="T3" fmla="*/ 3 h 211"/>
                <a:gd name="T4" fmla="*/ 108 w 229"/>
                <a:gd name="T5" fmla="*/ 3 h 211"/>
                <a:gd name="T6" fmla="*/ 0 w 229"/>
                <a:gd name="T7" fmla="*/ 112 h 211"/>
                <a:gd name="T8" fmla="*/ 21 w 229"/>
                <a:gd name="T9" fmla="*/ 112 h 211"/>
                <a:gd name="T10" fmla="*/ 21 w 229"/>
                <a:gd name="T11" fmla="*/ 203 h 211"/>
                <a:gd name="T12" fmla="*/ 29 w 229"/>
                <a:gd name="T13" fmla="*/ 211 h 211"/>
                <a:gd name="T14" fmla="*/ 88 w 229"/>
                <a:gd name="T15" fmla="*/ 211 h 211"/>
                <a:gd name="T16" fmla="*/ 88 w 229"/>
                <a:gd name="T17" fmla="*/ 155 h 211"/>
                <a:gd name="T18" fmla="*/ 96 w 229"/>
                <a:gd name="T19" fmla="*/ 147 h 211"/>
                <a:gd name="T20" fmla="*/ 133 w 229"/>
                <a:gd name="T21" fmla="*/ 147 h 211"/>
                <a:gd name="T22" fmla="*/ 141 w 229"/>
                <a:gd name="T23" fmla="*/ 155 h 211"/>
                <a:gd name="T24" fmla="*/ 141 w 229"/>
                <a:gd name="T25" fmla="*/ 211 h 211"/>
                <a:gd name="T26" fmla="*/ 200 w 229"/>
                <a:gd name="T27" fmla="*/ 211 h 211"/>
                <a:gd name="T28" fmla="*/ 208 w 229"/>
                <a:gd name="T29" fmla="*/ 203 h 211"/>
                <a:gd name="T30" fmla="*/ 208 w 229"/>
                <a:gd name="T31" fmla="*/ 112 h 211"/>
                <a:gd name="T32" fmla="*/ 229 w 229"/>
                <a:gd name="T33" fmla="*/ 11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9" h="211">
                  <a:moveTo>
                    <a:pt x="229" y="112"/>
                  </a:moveTo>
                  <a:cubicBezTo>
                    <a:pt x="121" y="3"/>
                    <a:pt x="121" y="3"/>
                    <a:pt x="121" y="3"/>
                  </a:cubicBezTo>
                  <a:cubicBezTo>
                    <a:pt x="117" y="0"/>
                    <a:pt x="112" y="0"/>
                    <a:pt x="108" y="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203"/>
                    <a:pt x="21" y="203"/>
                    <a:pt x="21" y="203"/>
                  </a:cubicBezTo>
                  <a:cubicBezTo>
                    <a:pt x="21" y="208"/>
                    <a:pt x="25" y="211"/>
                    <a:pt x="29" y="211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88" y="151"/>
                    <a:pt x="92" y="147"/>
                    <a:pt x="96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7" y="147"/>
                    <a:pt x="141" y="151"/>
                    <a:pt x="141" y="155"/>
                  </a:cubicBezTo>
                  <a:cubicBezTo>
                    <a:pt x="141" y="211"/>
                    <a:pt x="141" y="211"/>
                    <a:pt x="141" y="211"/>
                  </a:cubicBezTo>
                  <a:cubicBezTo>
                    <a:pt x="200" y="211"/>
                    <a:pt x="200" y="211"/>
                    <a:pt x="200" y="211"/>
                  </a:cubicBezTo>
                  <a:cubicBezTo>
                    <a:pt x="204" y="211"/>
                    <a:pt x="208" y="208"/>
                    <a:pt x="208" y="203"/>
                  </a:cubicBezTo>
                  <a:cubicBezTo>
                    <a:pt x="208" y="112"/>
                    <a:pt x="208" y="112"/>
                    <a:pt x="208" y="112"/>
                  </a:cubicBezTo>
                  <a:lnTo>
                    <a:pt x="229" y="112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6" name="Groupe 306"/>
          <p:cNvGrpSpPr/>
          <p:nvPr/>
        </p:nvGrpSpPr>
        <p:grpSpPr bwMode="gray">
          <a:xfrm>
            <a:off x="5909186" y="2826697"/>
            <a:ext cx="529550" cy="529613"/>
            <a:chOff x="8967902" y="3793727"/>
            <a:chExt cx="772352" cy="772352"/>
          </a:xfrm>
        </p:grpSpPr>
        <p:sp>
          <p:nvSpPr>
            <p:cNvPr id="308" name="Ellipse 307"/>
            <p:cNvSpPr/>
            <p:nvPr/>
          </p:nvSpPr>
          <p:spPr bwMode="gray">
            <a:xfrm>
              <a:off x="8967902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9" name="Freeform 103"/>
            <p:cNvSpPr>
              <a:spLocks noEditPoints="1"/>
            </p:cNvSpPr>
            <p:nvPr/>
          </p:nvSpPr>
          <p:spPr bwMode="gray">
            <a:xfrm>
              <a:off x="9076380" y="3955658"/>
              <a:ext cx="555396" cy="448490"/>
            </a:xfrm>
            <a:custGeom>
              <a:avLst/>
              <a:gdLst>
                <a:gd name="T0" fmla="*/ 248 w 268"/>
                <a:gd name="T1" fmla="*/ 129 h 217"/>
                <a:gd name="T2" fmla="*/ 215 w 268"/>
                <a:gd name="T3" fmla="*/ 129 h 217"/>
                <a:gd name="T4" fmla="*/ 215 w 268"/>
                <a:gd name="T5" fmla="*/ 104 h 217"/>
                <a:gd name="T6" fmla="*/ 142 w 268"/>
                <a:gd name="T7" fmla="*/ 104 h 217"/>
                <a:gd name="T8" fmla="*/ 142 w 268"/>
                <a:gd name="T9" fmla="*/ 88 h 217"/>
                <a:gd name="T10" fmla="*/ 176 w 268"/>
                <a:gd name="T11" fmla="*/ 88 h 217"/>
                <a:gd name="T12" fmla="*/ 196 w 268"/>
                <a:gd name="T13" fmla="*/ 68 h 217"/>
                <a:gd name="T14" fmla="*/ 196 w 268"/>
                <a:gd name="T15" fmla="*/ 20 h 217"/>
                <a:gd name="T16" fmla="*/ 176 w 268"/>
                <a:gd name="T17" fmla="*/ 0 h 217"/>
                <a:gd name="T18" fmla="*/ 93 w 268"/>
                <a:gd name="T19" fmla="*/ 0 h 217"/>
                <a:gd name="T20" fmla="*/ 73 w 268"/>
                <a:gd name="T21" fmla="*/ 20 h 217"/>
                <a:gd name="T22" fmla="*/ 73 w 268"/>
                <a:gd name="T23" fmla="*/ 68 h 217"/>
                <a:gd name="T24" fmla="*/ 93 w 268"/>
                <a:gd name="T25" fmla="*/ 88 h 217"/>
                <a:gd name="T26" fmla="*/ 126 w 268"/>
                <a:gd name="T27" fmla="*/ 88 h 217"/>
                <a:gd name="T28" fmla="*/ 126 w 268"/>
                <a:gd name="T29" fmla="*/ 104 h 217"/>
                <a:gd name="T30" fmla="*/ 54 w 268"/>
                <a:gd name="T31" fmla="*/ 104 h 217"/>
                <a:gd name="T32" fmla="*/ 54 w 268"/>
                <a:gd name="T33" fmla="*/ 129 h 217"/>
                <a:gd name="T34" fmla="*/ 20 w 268"/>
                <a:gd name="T35" fmla="*/ 129 h 217"/>
                <a:gd name="T36" fmla="*/ 0 w 268"/>
                <a:gd name="T37" fmla="*/ 149 h 217"/>
                <a:gd name="T38" fmla="*/ 0 w 268"/>
                <a:gd name="T39" fmla="*/ 197 h 217"/>
                <a:gd name="T40" fmla="*/ 20 w 268"/>
                <a:gd name="T41" fmla="*/ 217 h 217"/>
                <a:gd name="T42" fmla="*/ 103 w 268"/>
                <a:gd name="T43" fmla="*/ 217 h 217"/>
                <a:gd name="T44" fmla="*/ 123 w 268"/>
                <a:gd name="T45" fmla="*/ 197 h 217"/>
                <a:gd name="T46" fmla="*/ 123 w 268"/>
                <a:gd name="T47" fmla="*/ 149 h 217"/>
                <a:gd name="T48" fmla="*/ 103 w 268"/>
                <a:gd name="T49" fmla="*/ 129 h 217"/>
                <a:gd name="T50" fmla="*/ 70 w 268"/>
                <a:gd name="T51" fmla="*/ 129 h 217"/>
                <a:gd name="T52" fmla="*/ 70 w 268"/>
                <a:gd name="T53" fmla="*/ 120 h 217"/>
                <a:gd name="T54" fmla="*/ 199 w 268"/>
                <a:gd name="T55" fmla="*/ 120 h 217"/>
                <a:gd name="T56" fmla="*/ 199 w 268"/>
                <a:gd name="T57" fmla="*/ 129 h 217"/>
                <a:gd name="T58" fmla="*/ 165 w 268"/>
                <a:gd name="T59" fmla="*/ 129 h 217"/>
                <a:gd name="T60" fmla="*/ 145 w 268"/>
                <a:gd name="T61" fmla="*/ 149 h 217"/>
                <a:gd name="T62" fmla="*/ 145 w 268"/>
                <a:gd name="T63" fmla="*/ 197 h 217"/>
                <a:gd name="T64" fmla="*/ 165 w 268"/>
                <a:gd name="T65" fmla="*/ 217 h 217"/>
                <a:gd name="T66" fmla="*/ 248 w 268"/>
                <a:gd name="T67" fmla="*/ 217 h 217"/>
                <a:gd name="T68" fmla="*/ 268 w 268"/>
                <a:gd name="T69" fmla="*/ 197 h 217"/>
                <a:gd name="T70" fmla="*/ 268 w 268"/>
                <a:gd name="T71" fmla="*/ 149 h 217"/>
                <a:gd name="T72" fmla="*/ 248 w 268"/>
                <a:gd name="T73" fmla="*/ 129 h 217"/>
                <a:gd name="T74" fmla="*/ 97 w 268"/>
                <a:gd name="T75" fmla="*/ 24 h 217"/>
                <a:gd name="T76" fmla="*/ 172 w 268"/>
                <a:gd name="T77" fmla="*/ 24 h 217"/>
                <a:gd name="T78" fmla="*/ 172 w 268"/>
                <a:gd name="T79" fmla="*/ 64 h 217"/>
                <a:gd name="T80" fmla="*/ 97 w 268"/>
                <a:gd name="T81" fmla="*/ 64 h 217"/>
                <a:gd name="T82" fmla="*/ 97 w 268"/>
                <a:gd name="T83" fmla="*/ 24 h 217"/>
                <a:gd name="T84" fmla="*/ 99 w 268"/>
                <a:gd name="T85" fmla="*/ 193 h 217"/>
                <a:gd name="T86" fmla="*/ 24 w 268"/>
                <a:gd name="T87" fmla="*/ 193 h 217"/>
                <a:gd name="T88" fmla="*/ 24 w 268"/>
                <a:gd name="T89" fmla="*/ 153 h 217"/>
                <a:gd name="T90" fmla="*/ 99 w 268"/>
                <a:gd name="T91" fmla="*/ 153 h 217"/>
                <a:gd name="T92" fmla="*/ 99 w 268"/>
                <a:gd name="T93" fmla="*/ 193 h 217"/>
                <a:gd name="T94" fmla="*/ 244 w 268"/>
                <a:gd name="T95" fmla="*/ 193 h 217"/>
                <a:gd name="T96" fmla="*/ 169 w 268"/>
                <a:gd name="T97" fmla="*/ 193 h 217"/>
                <a:gd name="T98" fmla="*/ 169 w 268"/>
                <a:gd name="T99" fmla="*/ 153 h 217"/>
                <a:gd name="T100" fmla="*/ 244 w 268"/>
                <a:gd name="T101" fmla="*/ 153 h 217"/>
                <a:gd name="T102" fmla="*/ 244 w 268"/>
                <a:gd name="T103" fmla="*/ 193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8" h="217">
                  <a:moveTo>
                    <a:pt x="248" y="129"/>
                  </a:moveTo>
                  <a:cubicBezTo>
                    <a:pt x="215" y="129"/>
                    <a:pt x="215" y="129"/>
                    <a:pt x="215" y="129"/>
                  </a:cubicBezTo>
                  <a:cubicBezTo>
                    <a:pt x="215" y="104"/>
                    <a:pt x="215" y="104"/>
                    <a:pt x="215" y="104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87" y="88"/>
                    <a:pt x="196" y="79"/>
                    <a:pt x="196" y="68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9"/>
                    <a:pt x="187" y="0"/>
                    <a:pt x="176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2" y="0"/>
                    <a:pt x="73" y="9"/>
                    <a:pt x="73" y="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79"/>
                    <a:pt x="82" y="88"/>
                    <a:pt x="93" y="88"/>
                  </a:cubicBezTo>
                  <a:cubicBezTo>
                    <a:pt x="126" y="88"/>
                    <a:pt x="126" y="88"/>
                    <a:pt x="126" y="88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9" y="129"/>
                    <a:pt x="0" y="138"/>
                    <a:pt x="0" y="149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8"/>
                    <a:pt x="9" y="217"/>
                    <a:pt x="20" y="217"/>
                  </a:cubicBezTo>
                  <a:cubicBezTo>
                    <a:pt x="103" y="217"/>
                    <a:pt x="103" y="217"/>
                    <a:pt x="103" y="217"/>
                  </a:cubicBezTo>
                  <a:cubicBezTo>
                    <a:pt x="114" y="217"/>
                    <a:pt x="123" y="208"/>
                    <a:pt x="123" y="197"/>
                  </a:cubicBezTo>
                  <a:cubicBezTo>
                    <a:pt x="123" y="149"/>
                    <a:pt x="123" y="149"/>
                    <a:pt x="123" y="149"/>
                  </a:cubicBezTo>
                  <a:cubicBezTo>
                    <a:pt x="123" y="138"/>
                    <a:pt x="114" y="129"/>
                    <a:pt x="103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199" y="120"/>
                    <a:pt x="199" y="120"/>
                    <a:pt x="199" y="120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165" y="129"/>
                    <a:pt x="165" y="129"/>
                    <a:pt x="165" y="129"/>
                  </a:cubicBezTo>
                  <a:cubicBezTo>
                    <a:pt x="154" y="129"/>
                    <a:pt x="145" y="138"/>
                    <a:pt x="145" y="149"/>
                  </a:cubicBezTo>
                  <a:cubicBezTo>
                    <a:pt x="145" y="197"/>
                    <a:pt x="145" y="197"/>
                    <a:pt x="145" y="197"/>
                  </a:cubicBezTo>
                  <a:cubicBezTo>
                    <a:pt x="145" y="208"/>
                    <a:pt x="154" y="217"/>
                    <a:pt x="165" y="217"/>
                  </a:cubicBezTo>
                  <a:cubicBezTo>
                    <a:pt x="248" y="217"/>
                    <a:pt x="248" y="217"/>
                    <a:pt x="248" y="217"/>
                  </a:cubicBezTo>
                  <a:cubicBezTo>
                    <a:pt x="259" y="217"/>
                    <a:pt x="268" y="208"/>
                    <a:pt x="268" y="197"/>
                  </a:cubicBezTo>
                  <a:cubicBezTo>
                    <a:pt x="268" y="149"/>
                    <a:pt x="268" y="149"/>
                    <a:pt x="268" y="149"/>
                  </a:cubicBezTo>
                  <a:cubicBezTo>
                    <a:pt x="268" y="138"/>
                    <a:pt x="259" y="129"/>
                    <a:pt x="248" y="129"/>
                  </a:cubicBezTo>
                  <a:close/>
                  <a:moveTo>
                    <a:pt x="97" y="24"/>
                  </a:moveTo>
                  <a:cubicBezTo>
                    <a:pt x="172" y="24"/>
                    <a:pt x="172" y="24"/>
                    <a:pt x="172" y="24"/>
                  </a:cubicBezTo>
                  <a:cubicBezTo>
                    <a:pt x="172" y="64"/>
                    <a:pt x="172" y="64"/>
                    <a:pt x="172" y="64"/>
                  </a:cubicBezTo>
                  <a:cubicBezTo>
                    <a:pt x="97" y="64"/>
                    <a:pt x="97" y="64"/>
                    <a:pt x="97" y="64"/>
                  </a:cubicBezTo>
                  <a:lnTo>
                    <a:pt x="97" y="24"/>
                  </a:lnTo>
                  <a:close/>
                  <a:moveTo>
                    <a:pt x="99" y="193"/>
                  </a:moveTo>
                  <a:cubicBezTo>
                    <a:pt x="24" y="193"/>
                    <a:pt x="24" y="193"/>
                    <a:pt x="24" y="193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99" y="153"/>
                    <a:pt x="99" y="153"/>
                    <a:pt x="99" y="153"/>
                  </a:cubicBezTo>
                  <a:lnTo>
                    <a:pt x="99" y="193"/>
                  </a:lnTo>
                  <a:close/>
                  <a:moveTo>
                    <a:pt x="244" y="193"/>
                  </a:moveTo>
                  <a:cubicBezTo>
                    <a:pt x="169" y="193"/>
                    <a:pt x="169" y="193"/>
                    <a:pt x="169" y="193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244" y="153"/>
                    <a:pt x="244" y="153"/>
                    <a:pt x="244" y="153"/>
                  </a:cubicBezTo>
                  <a:lnTo>
                    <a:pt x="244" y="193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7" name="Groupe 309"/>
          <p:cNvGrpSpPr/>
          <p:nvPr/>
        </p:nvGrpSpPr>
        <p:grpSpPr bwMode="gray">
          <a:xfrm>
            <a:off x="6959462" y="2826697"/>
            <a:ext cx="529550" cy="529613"/>
            <a:chOff x="10518398" y="3793727"/>
            <a:chExt cx="772352" cy="772352"/>
          </a:xfrm>
        </p:grpSpPr>
        <p:sp>
          <p:nvSpPr>
            <p:cNvPr id="311" name="Ellipse 310"/>
            <p:cNvSpPr/>
            <p:nvPr/>
          </p:nvSpPr>
          <p:spPr bwMode="gray">
            <a:xfrm>
              <a:off x="10518398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" name="Group 106"/>
            <p:cNvGrpSpPr>
              <a:grpSpLocks noChangeAspect="1"/>
            </p:cNvGrpSpPr>
            <p:nvPr/>
          </p:nvGrpSpPr>
          <p:grpSpPr bwMode="gray">
            <a:xfrm>
              <a:off x="10630092" y="3964788"/>
              <a:ext cx="548964" cy="430230"/>
              <a:chOff x="6637" y="2346"/>
              <a:chExt cx="393" cy="308"/>
            </a:xfrm>
          </p:grpSpPr>
          <p:sp>
            <p:nvSpPr>
              <p:cNvPr id="313" name="Freeform 107"/>
              <p:cNvSpPr>
                <a:spLocks/>
              </p:cNvSpPr>
              <p:nvPr/>
            </p:nvSpPr>
            <p:spPr bwMode="gray">
              <a:xfrm>
                <a:off x="6637" y="2346"/>
                <a:ext cx="393" cy="247"/>
              </a:xfrm>
              <a:custGeom>
                <a:avLst/>
                <a:gdLst>
                  <a:gd name="T0" fmla="*/ 213 w 247"/>
                  <a:gd name="T1" fmla="*/ 64 h 155"/>
                  <a:gd name="T2" fmla="*/ 166 w 247"/>
                  <a:gd name="T3" fmla="*/ 31 h 155"/>
                  <a:gd name="T4" fmla="*/ 152 w 247"/>
                  <a:gd name="T5" fmla="*/ 33 h 155"/>
                  <a:gd name="T6" fmla="*/ 93 w 247"/>
                  <a:gd name="T7" fmla="*/ 0 h 155"/>
                  <a:gd name="T8" fmla="*/ 23 w 247"/>
                  <a:gd name="T9" fmla="*/ 68 h 155"/>
                  <a:gd name="T10" fmla="*/ 0 w 247"/>
                  <a:gd name="T11" fmla="*/ 108 h 155"/>
                  <a:gd name="T12" fmla="*/ 46 w 247"/>
                  <a:gd name="T13" fmla="*/ 155 h 155"/>
                  <a:gd name="T14" fmla="*/ 75 w 247"/>
                  <a:gd name="T15" fmla="*/ 155 h 155"/>
                  <a:gd name="T16" fmla="*/ 100 w 247"/>
                  <a:gd name="T17" fmla="*/ 85 h 155"/>
                  <a:gd name="T18" fmla="*/ 170 w 247"/>
                  <a:gd name="T19" fmla="*/ 85 h 155"/>
                  <a:gd name="T20" fmla="*/ 147 w 247"/>
                  <a:gd name="T21" fmla="*/ 131 h 155"/>
                  <a:gd name="T22" fmla="*/ 185 w 247"/>
                  <a:gd name="T23" fmla="*/ 131 h 155"/>
                  <a:gd name="T24" fmla="*/ 162 w 247"/>
                  <a:gd name="T25" fmla="*/ 155 h 155"/>
                  <a:gd name="T26" fmla="*/ 201 w 247"/>
                  <a:gd name="T27" fmla="*/ 155 h 155"/>
                  <a:gd name="T28" fmla="*/ 247 w 247"/>
                  <a:gd name="T29" fmla="*/ 108 h 155"/>
                  <a:gd name="T30" fmla="*/ 213 w 247"/>
                  <a:gd name="T31" fmla="*/ 64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7" h="155">
                    <a:moveTo>
                      <a:pt x="213" y="64"/>
                    </a:moveTo>
                    <a:cubicBezTo>
                      <a:pt x="206" y="45"/>
                      <a:pt x="188" y="31"/>
                      <a:pt x="166" y="31"/>
                    </a:cubicBezTo>
                    <a:cubicBezTo>
                      <a:pt x="161" y="31"/>
                      <a:pt x="156" y="32"/>
                      <a:pt x="152" y="33"/>
                    </a:cubicBezTo>
                    <a:cubicBezTo>
                      <a:pt x="140" y="13"/>
                      <a:pt x="118" y="0"/>
                      <a:pt x="93" y="0"/>
                    </a:cubicBezTo>
                    <a:cubicBezTo>
                      <a:pt x="55" y="0"/>
                      <a:pt x="24" y="30"/>
                      <a:pt x="23" y="68"/>
                    </a:cubicBezTo>
                    <a:cubicBezTo>
                      <a:pt x="9" y="76"/>
                      <a:pt x="0" y="91"/>
                      <a:pt x="0" y="108"/>
                    </a:cubicBezTo>
                    <a:cubicBezTo>
                      <a:pt x="0" y="134"/>
                      <a:pt x="21" y="155"/>
                      <a:pt x="46" y="155"/>
                    </a:cubicBezTo>
                    <a:cubicBezTo>
                      <a:pt x="75" y="155"/>
                      <a:pt x="75" y="155"/>
                      <a:pt x="75" y="155"/>
                    </a:cubicBezTo>
                    <a:cubicBezTo>
                      <a:pt x="100" y="85"/>
                      <a:pt x="100" y="85"/>
                      <a:pt x="100" y="85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47" y="131"/>
                      <a:pt x="147" y="131"/>
                      <a:pt x="147" y="131"/>
                    </a:cubicBezTo>
                    <a:cubicBezTo>
                      <a:pt x="185" y="131"/>
                      <a:pt x="185" y="131"/>
                      <a:pt x="185" y="131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201" y="155"/>
                      <a:pt x="201" y="155"/>
                      <a:pt x="201" y="155"/>
                    </a:cubicBezTo>
                    <a:cubicBezTo>
                      <a:pt x="226" y="155"/>
                      <a:pt x="247" y="134"/>
                      <a:pt x="247" y="108"/>
                    </a:cubicBezTo>
                    <a:cubicBezTo>
                      <a:pt x="247" y="87"/>
                      <a:pt x="233" y="69"/>
                      <a:pt x="213" y="6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4" name="Freeform 108"/>
              <p:cNvSpPr>
                <a:spLocks/>
              </p:cNvSpPr>
              <p:nvPr/>
            </p:nvSpPr>
            <p:spPr bwMode="gray">
              <a:xfrm>
                <a:off x="6785" y="2507"/>
                <a:ext cx="98" cy="147"/>
              </a:xfrm>
              <a:custGeom>
                <a:avLst/>
                <a:gdLst>
                  <a:gd name="T0" fmla="*/ 86 w 98"/>
                  <a:gd name="T1" fmla="*/ 0 h 147"/>
                  <a:gd name="T2" fmla="*/ 33 w 98"/>
                  <a:gd name="T3" fmla="*/ 0 h 147"/>
                  <a:gd name="T4" fmla="*/ 0 w 98"/>
                  <a:gd name="T5" fmla="*/ 86 h 147"/>
                  <a:gd name="T6" fmla="*/ 30 w 98"/>
                  <a:gd name="T7" fmla="*/ 86 h 147"/>
                  <a:gd name="T8" fmla="*/ 11 w 98"/>
                  <a:gd name="T9" fmla="*/ 147 h 147"/>
                  <a:gd name="T10" fmla="*/ 98 w 98"/>
                  <a:gd name="T11" fmla="*/ 61 h 147"/>
                  <a:gd name="T12" fmla="*/ 55 w 98"/>
                  <a:gd name="T13" fmla="*/ 61 h 147"/>
                  <a:gd name="T14" fmla="*/ 86 w 98"/>
                  <a:gd name="T15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" h="147">
                    <a:moveTo>
                      <a:pt x="86" y="0"/>
                    </a:moveTo>
                    <a:lnTo>
                      <a:pt x="33" y="0"/>
                    </a:lnTo>
                    <a:lnTo>
                      <a:pt x="0" y="86"/>
                    </a:lnTo>
                    <a:lnTo>
                      <a:pt x="30" y="86"/>
                    </a:lnTo>
                    <a:lnTo>
                      <a:pt x="11" y="147"/>
                    </a:lnTo>
                    <a:lnTo>
                      <a:pt x="98" y="61"/>
                    </a:lnTo>
                    <a:lnTo>
                      <a:pt x="55" y="61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9" name="Groupe 314"/>
          <p:cNvGrpSpPr/>
          <p:nvPr/>
        </p:nvGrpSpPr>
        <p:grpSpPr bwMode="gray">
          <a:xfrm>
            <a:off x="8009738" y="2826697"/>
            <a:ext cx="529550" cy="529613"/>
            <a:chOff x="12068894" y="3793727"/>
            <a:chExt cx="772352" cy="772352"/>
          </a:xfrm>
        </p:grpSpPr>
        <p:sp>
          <p:nvSpPr>
            <p:cNvPr id="316" name="Ellipse 315"/>
            <p:cNvSpPr/>
            <p:nvPr/>
          </p:nvSpPr>
          <p:spPr bwMode="gray">
            <a:xfrm>
              <a:off x="12068894" y="379372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Freeform 112"/>
            <p:cNvSpPr>
              <a:spLocks noEditPoints="1"/>
            </p:cNvSpPr>
            <p:nvPr/>
          </p:nvSpPr>
          <p:spPr bwMode="gray">
            <a:xfrm>
              <a:off x="12180589" y="4009487"/>
              <a:ext cx="548962" cy="340832"/>
            </a:xfrm>
            <a:custGeom>
              <a:avLst/>
              <a:gdLst>
                <a:gd name="T0" fmla="*/ 213 w 247"/>
                <a:gd name="T1" fmla="*/ 63 h 154"/>
                <a:gd name="T2" fmla="*/ 166 w 247"/>
                <a:gd name="T3" fmla="*/ 31 h 154"/>
                <a:gd name="T4" fmla="*/ 151 w 247"/>
                <a:gd name="T5" fmla="*/ 33 h 154"/>
                <a:gd name="T6" fmla="*/ 92 w 247"/>
                <a:gd name="T7" fmla="*/ 0 h 154"/>
                <a:gd name="T8" fmla="*/ 23 w 247"/>
                <a:gd name="T9" fmla="*/ 68 h 154"/>
                <a:gd name="T10" fmla="*/ 0 w 247"/>
                <a:gd name="T11" fmla="*/ 108 h 154"/>
                <a:gd name="T12" fmla="*/ 46 w 247"/>
                <a:gd name="T13" fmla="*/ 154 h 154"/>
                <a:gd name="T14" fmla="*/ 200 w 247"/>
                <a:gd name="T15" fmla="*/ 154 h 154"/>
                <a:gd name="T16" fmla="*/ 247 w 247"/>
                <a:gd name="T17" fmla="*/ 108 h 154"/>
                <a:gd name="T18" fmla="*/ 213 w 247"/>
                <a:gd name="T19" fmla="*/ 63 h 154"/>
                <a:gd name="T20" fmla="*/ 200 w 247"/>
                <a:gd name="T21" fmla="*/ 139 h 154"/>
                <a:gd name="T22" fmla="*/ 46 w 247"/>
                <a:gd name="T23" fmla="*/ 139 h 154"/>
                <a:gd name="T24" fmla="*/ 15 w 247"/>
                <a:gd name="T25" fmla="*/ 108 h 154"/>
                <a:gd name="T26" fmla="*/ 39 w 247"/>
                <a:gd name="T27" fmla="*/ 78 h 154"/>
                <a:gd name="T28" fmla="*/ 38 w 247"/>
                <a:gd name="T29" fmla="*/ 69 h 154"/>
                <a:gd name="T30" fmla="*/ 92 w 247"/>
                <a:gd name="T31" fmla="*/ 15 h 154"/>
                <a:gd name="T32" fmla="*/ 144 w 247"/>
                <a:gd name="T33" fmla="*/ 54 h 154"/>
                <a:gd name="T34" fmla="*/ 166 w 247"/>
                <a:gd name="T35" fmla="*/ 46 h 154"/>
                <a:gd name="T36" fmla="*/ 200 w 247"/>
                <a:gd name="T37" fmla="*/ 77 h 154"/>
                <a:gd name="T38" fmla="*/ 200 w 247"/>
                <a:gd name="T39" fmla="*/ 77 h 154"/>
                <a:gd name="T40" fmla="*/ 231 w 247"/>
                <a:gd name="T41" fmla="*/ 108 h 154"/>
                <a:gd name="T42" fmla="*/ 200 w 247"/>
                <a:gd name="T43" fmla="*/ 13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7" h="154">
                  <a:moveTo>
                    <a:pt x="213" y="63"/>
                  </a:moveTo>
                  <a:cubicBezTo>
                    <a:pt x="206" y="44"/>
                    <a:pt x="187" y="31"/>
                    <a:pt x="166" y="31"/>
                  </a:cubicBezTo>
                  <a:cubicBezTo>
                    <a:pt x="161" y="31"/>
                    <a:pt x="156" y="32"/>
                    <a:pt x="151" y="33"/>
                  </a:cubicBezTo>
                  <a:cubicBezTo>
                    <a:pt x="139" y="13"/>
                    <a:pt x="117" y="0"/>
                    <a:pt x="92" y="0"/>
                  </a:cubicBezTo>
                  <a:cubicBezTo>
                    <a:pt x="54" y="0"/>
                    <a:pt x="24" y="30"/>
                    <a:pt x="23" y="68"/>
                  </a:cubicBezTo>
                  <a:cubicBezTo>
                    <a:pt x="9" y="76"/>
                    <a:pt x="0" y="91"/>
                    <a:pt x="0" y="108"/>
                  </a:cubicBezTo>
                  <a:cubicBezTo>
                    <a:pt x="0" y="134"/>
                    <a:pt x="20" y="154"/>
                    <a:pt x="46" y="154"/>
                  </a:cubicBezTo>
                  <a:cubicBezTo>
                    <a:pt x="200" y="154"/>
                    <a:pt x="200" y="154"/>
                    <a:pt x="200" y="154"/>
                  </a:cubicBezTo>
                  <a:cubicBezTo>
                    <a:pt x="226" y="154"/>
                    <a:pt x="247" y="134"/>
                    <a:pt x="247" y="108"/>
                  </a:cubicBezTo>
                  <a:cubicBezTo>
                    <a:pt x="247" y="87"/>
                    <a:pt x="232" y="69"/>
                    <a:pt x="213" y="63"/>
                  </a:cubicBezTo>
                  <a:close/>
                  <a:moveTo>
                    <a:pt x="200" y="139"/>
                  </a:moveTo>
                  <a:cubicBezTo>
                    <a:pt x="46" y="139"/>
                    <a:pt x="46" y="139"/>
                    <a:pt x="46" y="139"/>
                  </a:cubicBezTo>
                  <a:cubicBezTo>
                    <a:pt x="29" y="139"/>
                    <a:pt x="15" y="125"/>
                    <a:pt x="15" y="108"/>
                  </a:cubicBezTo>
                  <a:cubicBezTo>
                    <a:pt x="15" y="93"/>
                    <a:pt x="25" y="81"/>
                    <a:pt x="39" y="78"/>
                  </a:cubicBezTo>
                  <a:cubicBezTo>
                    <a:pt x="39" y="75"/>
                    <a:pt x="38" y="72"/>
                    <a:pt x="38" y="69"/>
                  </a:cubicBezTo>
                  <a:cubicBezTo>
                    <a:pt x="38" y="40"/>
                    <a:pt x="62" y="15"/>
                    <a:pt x="92" y="15"/>
                  </a:cubicBezTo>
                  <a:cubicBezTo>
                    <a:pt x="117" y="15"/>
                    <a:pt x="137" y="32"/>
                    <a:pt x="144" y="54"/>
                  </a:cubicBezTo>
                  <a:cubicBezTo>
                    <a:pt x="150" y="49"/>
                    <a:pt x="158" y="46"/>
                    <a:pt x="166" y="46"/>
                  </a:cubicBezTo>
                  <a:cubicBezTo>
                    <a:pt x="184" y="46"/>
                    <a:pt x="198" y="60"/>
                    <a:pt x="200" y="77"/>
                  </a:cubicBezTo>
                  <a:cubicBezTo>
                    <a:pt x="200" y="77"/>
                    <a:pt x="200" y="77"/>
                    <a:pt x="200" y="77"/>
                  </a:cubicBezTo>
                  <a:cubicBezTo>
                    <a:pt x="217" y="77"/>
                    <a:pt x="231" y="91"/>
                    <a:pt x="231" y="108"/>
                  </a:cubicBezTo>
                  <a:cubicBezTo>
                    <a:pt x="231" y="125"/>
                    <a:pt x="218" y="139"/>
                    <a:pt x="200" y="139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Groupe 24"/>
          <p:cNvGrpSpPr/>
          <p:nvPr/>
        </p:nvGrpSpPr>
        <p:grpSpPr bwMode="gray">
          <a:xfrm>
            <a:off x="657805" y="3956456"/>
            <a:ext cx="529550" cy="529613"/>
            <a:chOff x="1215422" y="5441292"/>
            <a:chExt cx="772352" cy="772352"/>
          </a:xfrm>
        </p:grpSpPr>
        <p:sp>
          <p:nvSpPr>
            <p:cNvPr id="319" name="Ellipse 318"/>
            <p:cNvSpPr/>
            <p:nvPr/>
          </p:nvSpPr>
          <p:spPr bwMode="gray">
            <a:xfrm>
              <a:off x="1215422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0" name="Freeform 116"/>
            <p:cNvSpPr>
              <a:spLocks/>
            </p:cNvSpPr>
            <p:nvPr/>
          </p:nvSpPr>
          <p:spPr bwMode="gray">
            <a:xfrm>
              <a:off x="1403244" y="5630510"/>
              <a:ext cx="396708" cy="393916"/>
            </a:xfrm>
            <a:custGeom>
              <a:avLst/>
              <a:gdLst>
                <a:gd name="T0" fmla="*/ 171 w 179"/>
                <a:gd name="T1" fmla="*/ 72 h 178"/>
                <a:gd name="T2" fmla="*/ 106 w 179"/>
                <a:gd name="T3" fmla="*/ 72 h 178"/>
                <a:gd name="T4" fmla="*/ 106 w 179"/>
                <a:gd name="T5" fmla="*/ 8 h 178"/>
                <a:gd name="T6" fmla="*/ 98 w 179"/>
                <a:gd name="T7" fmla="*/ 0 h 178"/>
                <a:gd name="T8" fmla="*/ 80 w 179"/>
                <a:gd name="T9" fmla="*/ 0 h 178"/>
                <a:gd name="T10" fmla="*/ 72 w 179"/>
                <a:gd name="T11" fmla="*/ 8 h 178"/>
                <a:gd name="T12" fmla="*/ 72 w 179"/>
                <a:gd name="T13" fmla="*/ 72 h 178"/>
                <a:gd name="T14" fmla="*/ 8 w 179"/>
                <a:gd name="T15" fmla="*/ 72 h 178"/>
                <a:gd name="T16" fmla="*/ 0 w 179"/>
                <a:gd name="T17" fmla="*/ 80 h 178"/>
                <a:gd name="T18" fmla="*/ 0 w 179"/>
                <a:gd name="T19" fmla="*/ 98 h 178"/>
                <a:gd name="T20" fmla="*/ 8 w 179"/>
                <a:gd name="T21" fmla="*/ 106 h 178"/>
                <a:gd name="T22" fmla="*/ 72 w 179"/>
                <a:gd name="T23" fmla="*/ 106 h 178"/>
                <a:gd name="T24" fmla="*/ 72 w 179"/>
                <a:gd name="T25" fmla="*/ 170 h 178"/>
                <a:gd name="T26" fmla="*/ 80 w 179"/>
                <a:gd name="T27" fmla="*/ 178 h 178"/>
                <a:gd name="T28" fmla="*/ 98 w 179"/>
                <a:gd name="T29" fmla="*/ 178 h 178"/>
                <a:gd name="T30" fmla="*/ 106 w 179"/>
                <a:gd name="T31" fmla="*/ 170 h 178"/>
                <a:gd name="T32" fmla="*/ 106 w 179"/>
                <a:gd name="T33" fmla="*/ 106 h 178"/>
                <a:gd name="T34" fmla="*/ 171 w 179"/>
                <a:gd name="T35" fmla="*/ 106 h 178"/>
                <a:gd name="T36" fmla="*/ 179 w 179"/>
                <a:gd name="T37" fmla="*/ 98 h 178"/>
                <a:gd name="T38" fmla="*/ 179 w 179"/>
                <a:gd name="T39" fmla="*/ 80 h 178"/>
                <a:gd name="T40" fmla="*/ 171 w 179"/>
                <a:gd name="T41" fmla="*/ 7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78">
                  <a:moveTo>
                    <a:pt x="171" y="72"/>
                  </a:moveTo>
                  <a:cubicBezTo>
                    <a:pt x="106" y="72"/>
                    <a:pt x="106" y="72"/>
                    <a:pt x="106" y="72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06" y="3"/>
                    <a:pt x="103" y="0"/>
                    <a:pt x="98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6" y="0"/>
                    <a:pt x="72" y="3"/>
                    <a:pt x="72" y="8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3" y="72"/>
                    <a:pt x="0" y="76"/>
                    <a:pt x="0" y="8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3"/>
                    <a:pt x="3" y="106"/>
                    <a:pt x="8" y="106"/>
                  </a:cubicBezTo>
                  <a:cubicBezTo>
                    <a:pt x="72" y="106"/>
                    <a:pt x="72" y="106"/>
                    <a:pt x="72" y="106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75"/>
                    <a:pt x="76" y="178"/>
                    <a:pt x="80" y="178"/>
                  </a:cubicBezTo>
                  <a:cubicBezTo>
                    <a:pt x="98" y="178"/>
                    <a:pt x="98" y="178"/>
                    <a:pt x="98" y="178"/>
                  </a:cubicBezTo>
                  <a:cubicBezTo>
                    <a:pt x="103" y="178"/>
                    <a:pt x="106" y="175"/>
                    <a:pt x="106" y="170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71" y="106"/>
                    <a:pt x="171" y="106"/>
                    <a:pt x="171" y="106"/>
                  </a:cubicBezTo>
                  <a:cubicBezTo>
                    <a:pt x="175" y="106"/>
                    <a:pt x="179" y="103"/>
                    <a:pt x="179" y="98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79" y="76"/>
                    <a:pt x="175" y="72"/>
                    <a:pt x="171" y="72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1" name="Groupe 320"/>
          <p:cNvGrpSpPr/>
          <p:nvPr/>
        </p:nvGrpSpPr>
        <p:grpSpPr bwMode="gray">
          <a:xfrm>
            <a:off x="1708081" y="3956456"/>
            <a:ext cx="529550" cy="529613"/>
            <a:chOff x="2765918" y="5441292"/>
            <a:chExt cx="772352" cy="772352"/>
          </a:xfrm>
        </p:grpSpPr>
        <p:sp>
          <p:nvSpPr>
            <p:cNvPr id="322" name="Ellipse 321"/>
            <p:cNvSpPr/>
            <p:nvPr/>
          </p:nvSpPr>
          <p:spPr bwMode="gray">
            <a:xfrm>
              <a:off x="2765918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4" name="Group 119"/>
            <p:cNvGrpSpPr>
              <a:grpSpLocks noChangeAspect="1"/>
            </p:cNvGrpSpPr>
            <p:nvPr/>
          </p:nvGrpSpPr>
          <p:grpSpPr bwMode="gray">
            <a:xfrm>
              <a:off x="3011013" y="5621434"/>
              <a:ext cx="282162" cy="412068"/>
              <a:chOff x="1882" y="3581"/>
              <a:chExt cx="202" cy="295"/>
            </a:xfrm>
          </p:grpSpPr>
          <p:sp>
            <p:nvSpPr>
              <p:cNvPr id="324" name="Freeform 120"/>
              <p:cNvSpPr>
                <a:spLocks/>
              </p:cNvSpPr>
              <p:nvPr/>
            </p:nvSpPr>
            <p:spPr bwMode="gray">
              <a:xfrm>
                <a:off x="1882" y="3581"/>
                <a:ext cx="202" cy="211"/>
              </a:xfrm>
              <a:custGeom>
                <a:avLst/>
                <a:gdLst>
                  <a:gd name="T0" fmla="*/ 63 w 127"/>
                  <a:gd name="T1" fmla="*/ 0 h 133"/>
                  <a:gd name="T2" fmla="*/ 0 w 127"/>
                  <a:gd name="T3" fmla="*/ 64 h 133"/>
                  <a:gd name="T4" fmla="*/ 38 w 127"/>
                  <a:gd name="T5" fmla="*/ 64 h 133"/>
                  <a:gd name="T6" fmla="*/ 65 w 127"/>
                  <a:gd name="T7" fmla="*/ 30 h 133"/>
                  <a:gd name="T8" fmla="*/ 87 w 127"/>
                  <a:gd name="T9" fmla="*/ 54 h 133"/>
                  <a:gd name="T10" fmla="*/ 68 w 127"/>
                  <a:gd name="T11" fmla="*/ 81 h 133"/>
                  <a:gd name="T12" fmla="*/ 45 w 127"/>
                  <a:gd name="T13" fmla="*/ 122 h 133"/>
                  <a:gd name="T14" fmla="*/ 45 w 127"/>
                  <a:gd name="T15" fmla="*/ 133 h 133"/>
                  <a:gd name="T16" fmla="*/ 80 w 127"/>
                  <a:gd name="T17" fmla="*/ 133 h 133"/>
                  <a:gd name="T18" fmla="*/ 80 w 127"/>
                  <a:gd name="T19" fmla="*/ 124 h 133"/>
                  <a:gd name="T20" fmla="*/ 106 w 127"/>
                  <a:gd name="T21" fmla="*/ 93 h 133"/>
                  <a:gd name="T22" fmla="*/ 127 w 127"/>
                  <a:gd name="T23" fmla="*/ 50 h 133"/>
                  <a:gd name="T24" fmla="*/ 63 w 127"/>
                  <a:gd name="T2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" h="133">
                    <a:moveTo>
                      <a:pt x="63" y="0"/>
                    </a:moveTo>
                    <a:cubicBezTo>
                      <a:pt x="25" y="0"/>
                      <a:pt x="1" y="27"/>
                      <a:pt x="0" y="64"/>
                    </a:cubicBezTo>
                    <a:cubicBezTo>
                      <a:pt x="38" y="64"/>
                      <a:pt x="38" y="64"/>
                      <a:pt x="38" y="64"/>
                    </a:cubicBezTo>
                    <a:cubicBezTo>
                      <a:pt x="39" y="46"/>
                      <a:pt x="46" y="30"/>
                      <a:pt x="65" y="30"/>
                    </a:cubicBezTo>
                    <a:cubicBezTo>
                      <a:pt x="78" y="30"/>
                      <a:pt x="87" y="38"/>
                      <a:pt x="87" y="54"/>
                    </a:cubicBezTo>
                    <a:cubicBezTo>
                      <a:pt x="87" y="67"/>
                      <a:pt x="78" y="73"/>
                      <a:pt x="68" y="81"/>
                    </a:cubicBezTo>
                    <a:cubicBezTo>
                      <a:pt x="58" y="89"/>
                      <a:pt x="47" y="99"/>
                      <a:pt x="45" y="122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80" y="133"/>
                      <a:pt x="80" y="133"/>
                      <a:pt x="80" y="133"/>
                    </a:cubicBezTo>
                    <a:cubicBezTo>
                      <a:pt x="80" y="124"/>
                      <a:pt x="80" y="124"/>
                      <a:pt x="80" y="124"/>
                    </a:cubicBezTo>
                    <a:cubicBezTo>
                      <a:pt x="83" y="108"/>
                      <a:pt x="94" y="102"/>
                      <a:pt x="106" y="93"/>
                    </a:cubicBezTo>
                    <a:cubicBezTo>
                      <a:pt x="117" y="85"/>
                      <a:pt x="127" y="75"/>
                      <a:pt x="127" y="50"/>
                    </a:cubicBezTo>
                    <a:cubicBezTo>
                      <a:pt x="127" y="30"/>
                      <a:pt x="112" y="0"/>
                      <a:pt x="63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5" name="Freeform 121"/>
              <p:cNvSpPr>
                <a:spLocks/>
              </p:cNvSpPr>
              <p:nvPr/>
            </p:nvSpPr>
            <p:spPr bwMode="gray">
              <a:xfrm>
                <a:off x="1954" y="3819"/>
                <a:ext cx="57" cy="57"/>
              </a:xfrm>
              <a:custGeom>
                <a:avLst/>
                <a:gdLst>
                  <a:gd name="T0" fmla="*/ 29 w 36"/>
                  <a:gd name="T1" fmla="*/ 0 h 36"/>
                  <a:gd name="T2" fmla="*/ 7 w 36"/>
                  <a:gd name="T3" fmla="*/ 0 h 36"/>
                  <a:gd name="T4" fmla="*/ 0 w 36"/>
                  <a:gd name="T5" fmla="*/ 7 h 36"/>
                  <a:gd name="T6" fmla="*/ 0 w 36"/>
                  <a:gd name="T7" fmla="*/ 29 h 36"/>
                  <a:gd name="T8" fmla="*/ 7 w 36"/>
                  <a:gd name="T9" fmla="*/ 36 h 36"/>
                  <a:gd name="T10" fmla="*/ 29 w 36"/>
                  <a:gd name="T11" fmla="*/ 36 h 36"/>
                  <a:gd name="T12" fmla="*/ 36 w 36"/>
                  <a:gd name="T13" fmla="*/ 29 h 36"/>
                  <a:gd name="T14" fmla="*/ 36 w 36"/>
                  <a:gd name="T15" fmla="*/ 7 h 36"/>
                  <a:gd name="T16" fmla="*/ 29 w 36"/>
                  <a:gd name="T1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36">
                    <a:moveTo>
                      <a:pt x="2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4"/>
                      <a:pt x="0" y="7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3"/>
                      <a:pt x="3" y="36"/>
                      <a:pt x="7" y="36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33" y="36"/>
                      <a:pt x="36" y="33"/>
                      <a:pt x="36" y="29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4"/>
                      <a:pt x="33" y="0"/>
                      <a:pt x="29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5" name="Groupe 325"/>
          <p:cNvGrpSpPr/>
          <p:nvPr/>
        </p:nvGrpSpPr>
        <p:grpSpPr bwMode="gray">
          <a:xfrm>
            <a:off x="2758357" y="3956456"/>
            <a:ext cx="529550" cy="529613"/>
            <a:chOff x="4316414" y="5441292"/>
            <a:chExt cx="772352" cy="772352"/>
          </a:xfrm>
        </p:grpSpPr>
        <p:sp>
          <p:nvSpPr>
            <p:cNvPr id="327" name="Ellipse 326"/>
            <p:cNvSpPr/>
            <p:nvPr/>
          </p:nvSpPr>
          <p:spPr bwMode="gray">
            <a:xfrm>
              <a:off x="4316414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6" name="Group 124"/>
            <p:cNvGrpSpPr>
              <a:grpSpLocks noChangeAspect="1"/>
            </p:cNvGrpSpPr>
            <p:nvPr/>
          </p:nvGrpSpPr>
          <p:grpSpPr bwMode="gray">
            <a:xfrm>
              <a:off x="4626462" y="5622833"/>
              <a:ext cx="152256" cy="409270"/>
              <a:chOff x="2900" y="3583"/>
              <a:chExt cx="109" cy="293"/>
            </a:xfrm>
          </p:grpSpPr>
          <p:sp>
            <p:nvSpPr>
              <p:cNvPr id="329" name="Freeform 125"/>
              <p:cNvSpPr>
                <a:spLocks/>
              </p:cNvSpPr>
              <p:nvPr/>
            </p:nvSpPr>
            <p:spPr bwMode="gray">
              <a:xfrm>
                <a:off x="2900" y="3672"/>
                <a:ext cx="109" cy="204"/>
              </a:xfrm>
              <a:custGeom>
                <a:avLst/>
                <a:gdLst>
                  <a:gd name="T0" fmla="*/ 82 w 109"/>
                  <a:gd name="T1" fmla="*/ 0 h 204"/>
                  <a:gd name="T2" fmla="*/ 82 w 109"/>
                  <a:gd name="T3" fmla="*/ 177 h 204"/>
                  <a:gd name="T4" fmla="*/ 109 w 109"/>
                  <a:gd name="T5" fmla="*/ 177 h 204"/>
                  <a:gd name="T6" fmla="*/ 109 w 109"/>
                  <a:gd name="T7" fmla="*/ 204 h 204"/>
                  <a:gd name="T8" fmla="*/ 0 w 109"/>
                  <a:gd name="T9" fmla="*/ 204 h 204"/>
                  <a:gd name="T10" fmla="*/ 0 w 109"/>
                  <a:gd name="T11" fmla="*/ 177 h 204"/>
                  <a:gd name="T12" fmla="*/ 26 w 109"/>
                  <a:gd name="T13" fmla="*/ 177 h 204"/>
                  <a:gd name="T14" fmla="*/ 26 w 109"/>
                  <a:gd name="T15" fmla="*/ 27 h 204"/>
                  <a:gd name="T16" fmla="*/ 0 w 109"/>
                  <a:gd name="T17" fmla="*/ 27 h 204"/>
                  <a:gd name="T18" fmla="*/ 0 w 109"/>
                  <a:gd name="T19" fmla="*/ 0 h 204"/>
                  <a:gd name="T20" fmla="*/ 82 w 109"/>
                  <a:gd name="T2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204">
                    <a:moveTo>
                      <a:pt x="82" y="0"/>
                    </a:moveTo>
                    <a:lnTo>
                      <a:pt x="82" y="177"/>
                    </a:lnTo>
                    <a:lnTo>
                      <a:pt x="109" y="177"/>
                    </a:lnTo>
                    <a:lnTo>
                      <a:pt x="109" y="204"/>
                    </a:lnTo>
                    <a:lnTo>
                      <a:pt x="0" y="204"/>
                    </a:lnTo>
                    <a:lnTo>
                      <a:pt x="0" y="177"/>
                    </a:lnTo>
                    <a:lnTo>
                      <a:pt x="26" y="177"/>
                    </a:lnTo>
                    <a:lnTo>
                      <a:pt x="26" y="27"/>
                    </a:lnTo>
                    <a:lnTo>
                      <a:pt x="0" y="27"/>
                    </a:lnTo>
                    <a:lnTo>
                      <a:pt x="0" y="0"/>
                    </a:lnTo>
                    <a:lnTo>
                      <a:pt x="82" y="0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0" name="Freeform 126"/>
              <p:cNvSpPr>
                <a:spLocks/>
              </p:cNvSpPr>
              <p:nvPr/>
            </p:nvSpPr>
            <p:spPr bwMode="gray">
              <a:xfrm>
                <a:off x="2926" y="3583"/>
                <a:ext cx="56" cy="54"/>
              </a:xfrm>
              <a:custGeom>
                <a:avLst/>
                <a:gdLst>
                  <a:gd name="T0" fmla="*/ 35 w 35"/>
                  <a:gd name="T1" fmla="*/ 24 h 34"/>
                  <a:gd name="T2" fmla="*/ 24 w 35"/>
                  <a:gd name="T3" fmla="*/ 34 h 34"/>
                  <a:gd name="T4" fmla="*/ 10 w 35"/>
                  <a:gd name="T5" fmla="*/ 34 h 34"/>
                  <a:gd name="T6" fmla="*/ 0 w 35"/>
                  <a:gd name="T7" fmla="*/ 24 h 34"/>
                  <a:gd name="T8" fmla="*/ 0 w 35"/>
                  <a:gd name="T9" fmla="*/ 10 h 34"/>
                  <a:gd name="T10" fmla="*/ 10 w 35"/>
                  <a:gd name="T11" fmla="*/ 0 h 34"/>
                  <a:gd name="T12" fmla="*/ 24 w 35"/>
                  <a:gd name="T13" fmla="*/ 0 h 34"/>
                  <a:gd name="T14" fmla="*/ 35 w 35"/>
                  <a:gd name="T15" fmla="*/ 10 h 34"/>
                  <a:gd name="T16" fmla="*/ 35 w 35"/>
                  <a:gd name="T1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4">
                    <a:moveTo>
                      <a:pt x="35" y="24"/>
                    </a:moveTo>
                    <a:cubicBezTo>
                      <a:pt x="35" y="30"/>
                      <a:pt x="30" y="34"/>
                      <a:pt x="24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4"/>
                      <a:pt x="0" y="30"/>
                      <a:pt x="0" y="2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30" y="0"/>
                      <a:pt x="35" y="4"/>
                      <a:pt x="35" y="10"/>
                    </a:cubicBezTo>
                    <a:lnTo>
                      <a:pt x="35" y="24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7" name="Groupe 330"/>
          <p:cNvGrpSpPr/>
          <p:nvPr/>
        </p:nvGrpSpPr>
        <p:grpSpPr bwMode="gray">
          <a:xfrm>
            <a:off x="3808633" y="3956456"/>
            <a:ext cx="529550" cy="529613"/>
            <a:chOff x="5866910" y="5441292"/>
            <a:chExt cx="772352" cy="772352"/>
          </a:xfrm>
        </p:grpSpPr>
        <p:sp>
          <p:nvSpPr>
            <p:cNvPr id="332" name="Ellipse 331"/>
            <p:cNvSpPr/>
            <p:nvPr/>
          </p:nvSpPr>
          <p:spPr bwMode="gray">
            <a:xfrm>
              <a:off x="5866910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8" name="Group 129"/>
            <p:cNvGrpSpPr>
              <a:grpSpLocks noChangeAspect="1"/>
            </p:cNvGrpSpPr>
            <p:nvPr/>
          </p:nvGrpSpPr>
          <p:grpSpPr bwMode="gray">
            <a:xfrm>
              <a:off x="6091051" y="5592798"/>
              <a:ext cx="324070" cy="469340"/>
              <a:chOff x="3714" y="3564"/>
              <a:chExt cx="232" cy="336"/>
            </a:xfrm>
          </p:grpSpPr>
          <p:sp>
            <p:nvSpPr>
              <p:cNvPr id="334" name="Freeform 130"/>
              <p:cNvSpPr>
                <a:spLocks/>
              </p:cNvSpPr>
              <p:nvPr/>
            </p:nvSpPr>
            <p:spPr bwMode="gray">
              <a:xfrm>
                <a:off x="3714" y="3564"/>
                <a:ext cx="232" cy="273"/>
              </a:xfrm>
              <a:custGeom>
                <a:avLst/>
                <a:gdLst>
                  <a:gd name="T0" fmla="*/ 73 w 146"/>
                  <a:gd name="T1" fmla="*/ 0 h 172"/>
                  <a:gd name="T2" fmla="*/ 0 w 146"/>
                  <a:gd name="T3" fmla="*/ 73 h 172"/>
                  <a:gd name="T4" fmla="*/ 28 w 146"/>
                  <a:gd name="T5" fmla="*/ 130 h 172"/>
                  <a:gd name="T6" fmla="*/ 28 w 146"/>
                  <a:gd name="T7" fmla="*/ 130 h 172"/>
                  <a:gd name="T8" fmla="*/ 40 w 146"/>
                  <a:gd name="T9" fmla="*/ 155 h 172"/>
                  <a:gd name="T10" fmla="*/ 40 w 146"/>
                  <a:gd name="T11" fmla="*/ 160 h 172"/>
                  <a:gd name="T12" fmla="*/ 52 w 146"/>
                  <a:gd name="T13" fmla="*/ 172 h 172"/>
                  <a:gd name="T14" fmla="*/ 94 w 146"/>
                  <a:gd name="T15" fmla="*/ 166 h 172"/>
                  <a:gd name="T16" fmla="*/ 106 w 146"/>
                  <a:gd name="T17" fmla="*/ 154 h 172"/>
                  <a:gd name="T18" fmla="*/ 118 w 146"/>
                  <a:gd name="T19" fmla="*/ 130 h 172"/>
                  <a:gd name="T20" fmla="*/ 118 w 146"/>
                  <a:gd name="T21" fmla="*/ 130 h 172"/>
                  <a:gd name="T22" fmla="*/ 146 w 146"/>
                  <a:gd name="T23" fmla="*/ 73 h 172"/>
                  <a:gd name="T24" fmla="*/ 73 w 146"/>
                  <a:gd name="T25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" h="172">
                    <a:moveTo>
                      <a:pt x="73" y="0"/>
                    </a:moveTo>
                    <a:cubicBezTo>
                      <a:pt x="33" y="0"/>
                      <a:pt x="0" y="33"/>
                      <a:pt x="0" y="73"/>
                    </a:cubicBezTo>
                    <a:cubicBezTo>
                      <a:pt x="0" y="96"/>
                      <a:pt x="11" y="117"/>
                      <a:pt x="28" y="130"/>
                    </a:cubicBezTo>
                    <a:cubicBezTo>
                      <a:pt x="28" y="130"/>
                      <a:pt x="28" y="130"/>
                      <a:pt x="28" y="130"/>
                    </a:cubicBezTo>
                    <a:cubicBezTo>
                      <a:pt x="36" y="136"/>
                      <a:pt x="40" y="145"/>
                      <a:pt x="40" y="155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40" y="167"/>
                      <a:pt x="46" y="172"/>
                      <a:pt x="52" y="172"/>
                    </a:cubicBezTo>
                    <a:cubicBezTo>
                      <a:pt x="94" y="166"/>
                      <a:pt x="94" y="166"/>
                      <a:pt x="94" y="166"/>
                    </a:cubicBezTo>
                    <a:cubicBezTo>
                      <a:pt x="101" y="165"/>
                      <a:pt x="106" y="161"/>
                      <a:pt x="106" y="154"/>
                    </a:cubicBezTo>
                    <a:cubicBezTo>
                      <a:pt x="106" y="145"/>
                      <a:pt x="110" y="136"/>
                      <a:pt x="118" y="130"/>
                    </a:cubicBezTo>
                    <a:cubicBezTo>
                      <a:pt x="118" y="130"/>
                      <a:pt x="118" y="130"/>
                      <a:pt x="118" y="130"/>
                    </a:cubicBezTo>
                    <a:cubicBezTo>
                      <a:pt x="135" y="117"/>
                      <a:pt x="146" y="96"/>
                      <a:pt x="146" y="73"/>
                    </a:cubicBezTo>
                    <a:cubicBezTo>
                      <a:pt x="146" y="33"/>
                      <a:pt x="113" y="0"/>
                      <a:pt x="73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5" name="Freeform 131"/>
              <p:cNvSpPr>
                <a:spLocks/>
              </p:cNvSpPr>
              <p:nvPr/>
            </p:nvSpPr>
            <p:spPr bwMode="gray">
              <a:xfrm>
                <a:off x="3782" y="3835"/>
                <a:ext cx="94" cy="36"/>
              </a:xfrm>
              <a:custGeom>
                <a:avLst/>
                <a:gdLst>
                  <a:gd name="T0" fmla="*/ 50 w 59"/>
                  <a:gd name="T1" fmla="*/ 1 h 23"/>
                  <a:gd name="T2" fmla="*/ 8 w 59"/>
                  <a:gd name="T3" fmla="*/ 7 h 23"/>
                  <a:gd name="T4" fmla="*/ 1 w 59"/>
                  <a:gd name="T5" fmla="*/ 16 h 23"/>
                  <a:gd name="T6" fmla="*/ 9 w 59"/>
                  <a:gd name="T7" fmla="*/ 23 h 23"/>
                  <a:gd name="T8" fmla="*/ 10 w 59"/>
                  <a:gd name="T9" fmla="*/ 23 h 23"/>
                  <a:gd name="T10" fmla="*/ 52 w 59"/>
                  <a:gd name="T11" fmla="*/ 16 h 23"/>
                  <a:gd name="T12" fmla="*/ 59 w 59"/>
                  <a:gd name="T13" fmla="*/ 7 h 23"/>
                  <a:gd name="T14" fmla="*/ 50 w 59"/>
                  <a:gd name="T15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23">
                    <a:moveTo>
                      <a:pt x="50" y="1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3" y="8"/>
                      <a:pt x="0" y="12"/>
                      <a:pt x="1" y="16"/>
                    </a:cubicBezTo>
                    <a:cubicBezTo>
                      <a:pt x="2" y="20"/>
                      <a:pt x="5" y="23"/>
                      <a:pt x="9" y="23"/>
                    </a:cubicBezTo>
                    <a:cubicBezTo>
                      <a:pt x="9" y="23"/>
                      <a:pt x="10" y="23"/>
                      <a:pt x="10" y="23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6" y="16"/>
                      <a:pt x="59" y="12"/>
                      <a:pt x="59" y="7"/>
                    </a:cubicBezTo>
                    <a:cubicBezTo>
                      <a:pt x="58" y="3"/>
                      <a:pt x="54" y="0"/>
                      <a:pt x="50" y="1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" name="Freeform 132"/>
              <p:cNvSpPr>
                <a:spLocks/>
              </p:cNvSpPr>
              <p:nvPr/>
            </p:nvSpPr>
            <p:spPr bwMode="gray">
              <a:xfrm>
                <a:off x="3806" y="3873"/>
                <a:ext cx="48" cy="27"/>
              </a:xfrm>
              <a:custGeom>
                <a:avLst/>
                <a:gdLst>
                  <a:gd name="T0" fmla="*/ 29 w 30"/>
                  <a:gd name="T1" fmla="*/ 0 h 17"/>
                  <a:gd name="T2" fmla="*/ 1 w 30"/>
                  <a:gd name="T3" fmla="*/ 4 h 17"/>
                  <a:gd name="T4" fmla="*/ 0 w 30"/>
                  <a:gd name="T5" fmla="*/ 4 h 17"/>
                  <a:gd name="T6" fmla="*/ 0 w 30"/>
                  <a:gd name="T7" fmla="*/ 5 h 17"/>
                  <a:gd name="T8" fmla="*/ 12 w 30"/>
                  <a:gd name="T9" fmla="*/ 17 h 17"/>
                  <a:gd name="T10" fmla="*/ 18 w 30"/>
                  <a:gd name="T11" fmla="*/ 17 h 17"/>
                  <a:gd name="T12" fmla="*/ 30 w 30"/>
                  <a:gd name="T13" fmla="*/ 5 h 17"/>
                  <a:gd name="T14" fmla="*/ 30 w 30"/>
                  <a:gd name="T15" fmla="*/ 1 h 17"/>
                  <a:gd name="T16" fmla="*/ 29 w 30"/>
                  <a:gd name="T17" fmla="*/ 0 h 17"/>
                  <a:gd name="T18" fmla="*/ 29 w 30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17">
                    <a:moveTo>
                      <a:pt x="29" y="0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12"/>
                      <a:pt x="5" y="17"/>
                      <a:pt x="12" y="17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4" y="17"/>
                      <a:pt x="30" y="12"/>
                      <a:pt x="30" y="5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1"/>
                      <a:pt x="30" y="1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9" name="Groupe 336"/>
          <p:cNvGrpSpPr/>
          <p:nvPr/>
        </p:nvGrpSpPr>
        <p:grpSpPr bwMode="gray">
          <a:xfrm>
            <a:off x="4858910" y="3956456"/>
            <a:ext cx="529550" cy="529613"/>
            <a:chOff x="7407098" y="5441292"/>
            <a:chExt cx="772352" cy="772352"/>
          </a:xfrm>
        </p:grpSpPr>
        <p:sp>
          <p:nvSpPr>
            <p:cNvPr id="338" name="Ellipse 337"/>
            <p:cNvSpPr/>
            <p:nvPr/>
          </p:nvSpPr>
          <p:spPr bwMode="gray">
            <a:xfrm>
              <a:off x="7407098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9" name="Freeform 136"/>
            <p:cNvSpPr>
              <a:spLocks noEditPoints="1"/>
            </p:cNvSpPr>
            <p:nvPr/>
          </p:nvSpPr>
          <p:spPr bwMode="gray">
            <a:xfrm>
              <a:off x="7599808" y="5585812"/>
              <a:ext cx="386932" cy="483312"/>
            </a:xfrm>
            <a:custGeom>
              <a:avLst/>
              <a:gdLst>
                <a:gd name="T0" fmla="*/ 167 w 175"/>
                <a:gd name="T1" fmla="*/ 98 h 218"/>
                <a:gd name="T2" fmla="*/ 154 w 175"/>
                <a:gd name="T3" fmla="*/ 98 h 218"/>
                <a:gd name="T4" fmla="*/ 154 w 175"/>
                <a:gd name="T5" fmla="*/ 68 h 218"/>
                <a:gd name="T6" fmla="*/ 87 w 175"/>
                <a:gd name="T7" fmla="*/ 0 h 218"/>
                <a:gd name="T8" fmla="*/ 19 w 175"/>
                <a:gd name="T9" fmla="*/ 68 h 218"/>
                <a:gd name="T10" fmla="*/ 19 w 175"/>
                <a:gd name="T11" fmla="*/ 98 h 218"/>
                <a:gd name="T12" fmla="*/ 8 w 175"/>
                <a:gd name="T13" fmla="*/ 98 h 218"/>
                <a:gd name="T14" fmla="*/ 0 w 175"/>
                <a:gd name="T15" fmla="*/ 106 h 218"/>
                <a:gd name="T16" fmla="*/ 0 w 175"/>
                <a:gd name="T17" fmla="*/ 210 h 218"/>
                <a:gd name="T18" fmla="*/ 8 w 175"/>
                <a:gd name="T19" fmla="*/ 218 h 218"/>
                <a:gd name="T20" fmla="*/ 167 w 175"/>
                <a:gd name="T21" fmla="*/ 218 h 218"/>
                <a:gd name="T22" fmla="*/ 175 w 175"/>
                <a:gd name="T23" fmla="*/ 210 h 218"/>
                <a:gd name="T24" fmla="*/ 175 w 175"/>
                <a:gd name="T25" fmla="*/ 106 h 218"/>
                <a:gd name="T26" fmla="*/ 167 w 175"/>
                <a:gd name="T27" fmla="*/ 98 h 218"/>
                <a:gd name="T28" fmla="*/ 47 w 175"/>
                <a:gd name="T29" fmla="*/ 68 h 218"/>
                <a:gd name="T30" fmla="*/ 87 w 175"/>
                <a:gd name="T31" fmla="*/ 28 h 218"/>
                <a:gd name="T32" fmla="*/ 126 w 175"/>
                <a:gd name="T33" fmla="*/ 68 h 218"/>
                <a:gd name="T34" fmla="*/ 126 w 175"/>
                <a:gd name="T35" fmla="*/ 98 h 218"/>
                <a:gd name="T36" fmla="*/ 47 w 175"/>
                <a:gd name="T37" fmla="*/ 98 h 218"/>
                <a:gd name="T38" fmla="*/ 47 w 175"/>
                <a:gd name="T39" fmla="*/ 6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5" h="218">
                  <a:moveTo>
                    <a:pt x="167" y="98"/>
                  </a:moveTo>
                  <a:cubicBezTo>
                    <a:pt x="154" y="98"/>
                    <a:pt x="154" y="98"/>
                    <a:pt x="154" y="98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154" y="30"/>
                    <a:pt x="124" y="0"/>
                    <a:pt x="87" y="0"/>
                  </a:cubicBezTo>
                  <a:cubicBezTo>
                    <a:pt x="49" y="0"/>
                    <a:pt x="19" y="30"/>
                    <a:pt x="19" y="6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3" y="98"/>
                    <a:pt x="0" y="102"/>
                    <a:pt x="0" y="106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5"/>
                    <a:pt x="3" y="218"/>
                    <a:pt x="8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72" y="218"/>
                    <a:pt x="175" y="215"/>
                    <a:pt x="175" y="210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2"/>
                    <a:pt x="172" y="98"/>
                    <a:pt x="167" y="98"/>
                  </a:cubicBezTo>
                  <a:close/>
                  <a:moveTo>
                    <a:pt x="47" y="68"/>
                  </a:moveTo>
                  <a:cubicBezTo>
                    <a:pt x="47" y="46"/>
                    <a:pt x="65" y="28"/>
                    <a:pt x="87" y="28"/>
                  </a:cubicBezTo>
                  <a:cubicBezTo>
                    <a:pt x="109" y="28"/>
                    <a:pt x="126" y="46"/>
                    <a:pt x="126" y="6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47" y="98"/>
                    <a:pt x="47" y="98"/>
                    <a:pt x="47" y="98"/>
                  </a:cubicBezTo>
                  <a:lnTo>
                    <a:pt x="47" y="68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0" name="Groupe 339"/>
          <p:cNvGrpSpPr/>
          <p:nvPr/>
        </p:nvGrpSpPr>
        <p:grpSpPr bwMode="gray">
          <a:xfrm>
            <a:off x="5909186" y="3956456"/>
            <a:ext cx="529550" cy="529613"/>
            <a:chOff x="8967902" y="5441292"/>
            <a:chExt cx="772352" cy="772352"/>
          </a:xfrm>
        </p:grpSpPr>
        <p:sp>
          <p:nvSpPr>
            <p:cNvPr id="341" name="Ellipse 340"/>
            <p:cNvSpPr/>
            <p:nvPr/>
          </p:nvSpPr>
          <p:spPr bwMode="gray">
            <a:xfrm>
              <a:off x="8967902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1" name="Group 139"/>
            <p:cNvGrpSpPr>
              <a:grpSpLocks noChangeAspect="1"/>
            </p:cNvGrpSpPr>
            <p:nvPr/>
          </p:nvGrpSpPr>
          <p:grpSpPr bwMode="gray">
            <a:xfrm>
              <a:off x="9079596" y="5672417"/>
              <a:ext cx="548964" cy="310102"/>
              <a:chOff x="5603" y="3619"/>
              <a:chExt cx="393" cy="222"/>
            </a:xfrm>
          </p:grpSpPr>
          <p:sp>
            <p:nvSpPr>
              <p:cNvPr id="343" name="Freeform 140"/>
              <p:cNvSpPr>
                <a:spLocks/>
              </p:cNvSpPr>
              <p:nvPr/>
            </p:nvSpPr>
            <p:spPr bwMode="gray">
              <a:xfrm>
                <a:off x="5603" y="3619"/>
                <a:ext cx="97" cy="67"/>
              </a:xfrm>
              <a:custGeom>
                <a:avLst/>
                <a:gdLst>
                  <a:gd name="T0" fmla="*/ 54 w 61"/>
                  <a:gd name="T1" fmla="*/ 1 h 42"/>
                  <a:gd name="T2" fmla="*/ 48 w 61"/>
                  <a:gd name="T3" fmla="*/ 1 h 42"/>
                  <a:gd name="T4" fmla="*/ 28 w 61"/>
                  <a:gd name="T5" fmla="*/ 22 h 42"/>
                  <a:gd name="T6" fmla="*/ 13 w 61"/>
                  <a:gd name="T7" fmla="*/ 7 h 42"/>
                  <a:gd name="T8" fmla="*/ 7 w 61"/>
                  <a:gd name="T9" fmla="*/ 7 h 42"/>
                  <a:gd name="T10" fmla="*/ 2 w 61"/>
                  <a:gd name="T11" fmla="*/ 12 h 42"/>
                  <a:gd name="T12" fmla="*/ 2 w 61"/>
                  <a:gd name="T13" fmla="*/ 18 h 42"/>
                  <a:gd name="T14" fmla="*/ 25 w 61"/>
                  <a:gd name="T15" fmla="*/ 41 h 42"/>
                  <a:gd name="T16" fmla="*/ 31 w 61"/>
                  <a:gd name="T17" fmla="*/ 41 h 42"/>
                  <a:gd name="T18" fmla="*/ 59 w 61"/>
                  <a:gd name="T19" fmla="*/ 12 h 42"/>
                  <a:gd name="T20" fmla="*/ 59 w 61"/>
                  <a:gd name="T21" fmla="*/ 6 h 42"/>
                  <a:gd name="T22" fmla="*/ 54 w 61"/>
                  <a:gd name="T23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42">
                    <a:moveTo>
                      <a:pt x="54" y="1"/>
                    </a:moveTo>
                    <a:cubicBezTo>
                      <a:pt x="52" y="0"/>
                      <a:pt x="50" y="0"/>
                      <a:pt x="48" y="1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1" y="5"/>
                      <a:pt x="8" y="5"/>
                      <a:pt x="7" y="7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0" y="13"/>
                      <a:pt x="0" y="16"/>
                      <a:pt x="2" y="18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2"/>
                      <a:pt x="29" y="42"/>
                      <a:pt x="31" y="41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61" y="11"/>
                      <a:pt x="61" y="8"/>
                      <a:pt x="59" y="6"/>
                    </a:cubicBezTo>
                    <a:lnTo>
                      <a:pt x="54" y="1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" name="Freeform 141"/>
              <p:cNvSpPr>
                <a:spLocks/>
              </p:cNvSpPr>
              <p:nvPr/>
            </p:nvSpPr>
            <p:spPr bwMode="gray">
              <a:xfrm>
                <a:off x="5704" y="3648"/>
                <a:ext cx="254" cy="38"/>
              </a:xfrm>
              <a:custGeom>
                <a:avLst/>
                <a:gdLst>
                  <a:gd name="T0" fmla="*/ 12 w 160"/>
                  <a:gd name="T1" fmla="*/ 24 h 24"/>
                  <a:gd name="T2" fmla="*/ 148 w 160"/>
                  <a:gd name="T3" fmla="*/ 24 h 24"/>
                  <a:gd name="T4" fmla="*/ 160 w 160"/>
                  <a:gd name="T5" fmla="*/ 12 h 24"/>
                  <a:gd name="T6" fmla="*/ 148 w 160"/>
                  <a:gd name="T7" fmla="*/ 0 h 24"/>
                  <a:gd name="T8" fmla="*/ 12 w 160"/>
                  <a:gd name="T9" fmla="*/ 0 h 24"/>
                  <a:gd name="T10" fmla="*/ 0 w 160"/>
                  <a:gd name="T11" fmla="*/ 12 h 24"/>
                  <a:gd name="T12" fmla="*/ 12 w 160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0" h="24">
                    <a:moveTo>
                      <a:pt x="12" y="24"/>
                    </a:moveTo>
                    <a:cubicBezTo>
                      <a:pt x="148" y="24"/>
                      <a:pt x="148" y="24"/>
                      <a:pt x="148" y="24"/>
                    </a:cubicBezTo>
                    <a:cubicBezTo>
                      <a:pt x="154" y="24"/>
                      <a:pt x="160" y="18"/>
                      <a:pt x="160" y="12"/>
                    </a:cubicBezTo>
                    <a:cubicBezTo>
                      <a:pt x="160" y="5"/>
                      <a:pt x="154" y="0"/>
                      <a:pt x="14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0" y="18"/>
                      <a:pt x="6" y="24"/>
                      <a:pt x="12" y="2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5" name="Freeform 142"/>
              <p:cNvSpPr>
                <a:spLocks/>
              </p:cNvSpPr>
              <p:nvPr/>
            </p:nvSpPr>
            <p:spPr bwMode="gray">
              <a:xfrm>
                <a:off x="5603" y="3694"/>
                <a:ext cx="97" cy="68"/>
              </a:xfrm>
              <a:custGeom>
                <a:avLst/>
                <a:gdLst>
                  <a:gd name="T0" fmla="*/ 54 w 61"/>
                  <a:gd name="T1" fmla="*/ 2 h 43"/>
                  <a:gd name="T2" fmla="*/ 48 w 61"/>
                  <a:gd name="T3" fmla="*/ 2 h 43"/>
                  <a:gd name="T4" fmla="*/ 28 w 61"/>
                  <a:gd name="T5" fmla="*/ 23 h 43"/>
                  <a:gd name="T6" fmla="*/ 13 w 61"/>
                  <a:gd name="T7" fmla="*/ 8 h 43"/>
                  <a:gd name="T8" fmla="*/ 7 w 61"/>
                  <a:gd name="T9" fmla="*/ 8 h 43"/>
                  <a:gd name="T10" fmla="*/ 2 w 61"/>
                  <a:gd name="T11" fmla="*/ 13 h 43"/>
                  <a:gd name="T12" fmla="*/ 2 w 61"/>
                  <a:gd name="T13" fmla="*/ 18 h 43"/>
                  <a:gd name="T14" fmla="*/ 25 w 61"/>
                  <a:gd name="T15" fmla="*/ 42 h 43"/>
                  <a:gd name="T16" fmla="*/ 31 w 61"/>
                  <a:gd name="T17" fmla="*/ 42 h 43"/>
                  <a:gd name="T18" fmla="*/ 59 w 61"/>
                  <a:gd name="T19" fmla="*/ 13 h 43"/>
                  <a:gd name="T20" fmla="*/ 59 w 61"/>
                  <a:gd name="T21" fmla="*/ 7 h 43"/>
                  <a:gd name="T22" fmla="*/ 54 w 61"/>
                  <a:gd name="T23" fmla="*/ 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43">
                    <a:moveTo>
                      <a:pt x="54" y="2"/>
                    </a:moveTo>
                    <a:cubicBezTo>
                      <a:pt x="52" y="0"/>
                      <a:pt x="50" y="0"/>
                      <a:pt x="48" y="2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1" y="6"/>
                      <a:pt x="8" y="6"/>
                      <a:pt x="7" y="8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14"/>
                      <a:pt x="0" y="17"/>
                      <a:pt x="2" y="18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6" y="43"/>
                      <a:pt x="29" y="43"/>
                      <a:pt x="31" y="42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61" y="11"/>
                      <a:pt x="61" y="9"/>
                      <a:pt x="59" y="7"/>
                    </a:cubicBezTo>
                    <a:lnTo>
                      <a:pt x="54" y="2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6" name="Freeform 143"/>
              <p:cNvSpPr>
                <a:spLocks/>
              </p:cNvSpPr>
              <p:nvPr/>
            </p:nvSpPr>
            <p:spPr bwMode="gray">
              <a:xfrm>
                <a:off x="5704" y="3724"/>
                <a:ext cx="292" cy="38"/>
              </a:xfrm>
              <a:custGeom>
                <a:avLst/>
                <a:gdLst>
                  <a:gd name="T0" fmla="*/ 172 w 184"/>
                  <a:gd name="T1" fmla="*/ 0 h 24"/>
                  <a:gd name="T2" fmla="*/ 12 w 184"/>
                  <a:gd name="T3" fmla="*/ 0 h 24"/>
                  <a:gd name="T4" fmla="*/ 0 w 184"/>
                  <a:gd name="T5" fmla="*/ 12 h 24"/>
                  <a:gd name="T6" fmla="*/ 12 w 184"/>
                  <a:gd name="T7" fmla="*/ 24 h 24"/>
                  <a:gd name="T8" fmla="*/ 172 w 184"/>
                  <a:gd name="T9" fmla="*/ 24 h 24"/>
                  <a:gd name="T10" fmla="*/ 184 w 184"/>
                  <a:gd name="T11" fmla="*/ 12 h 24"/>
                  <a:gd name="T12" fmla="*/ 172 w 184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" h="24">
                    <a:moveTo>
                      <a:pt x="17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0" y="18"/>
                      <a:pt x="6" y="24"/>
                      <a:pt x="12" y="24"/>
                    </a:cubicBezTo>
                    <a:cubicBezTo>
                      <a:pt x="172" y="24"/>
                      <a:pt x="172" y="24"/>
                      <a:pt x="172" y="24"/>
                    </a:cubicBezTo>
                    <a:cubicBezTo>
                      <a:pt x="178" y="24"/>
                      <a:pt x="184" y="18"/>
                      <a:pt x="184" y="12"/>
                    </a:cubicBezTo>
                    <a:cubicBezTo>
                      <a:pt x="184" y="5"/>
                      <a:pt x="178" y="0"/>
                      <a:pt x="172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7" name="Freeform 144"/>
              <p:cNvSpPr>
                <a:spLocks/>
              </p:cNvSpPr>
              <p:nvPr/>
            </p:nvSpPr>
            <p:spPr bwMode="gray">
              <a:xfrm>
                <a:off x="5603" y="3775"/>
                <a:ext cx="97" cy="66"/>
              </a:xfrm>
              <a:custGeom>
                <a:avLst/>
                <a:gdLst>
                  <a:gd name="T0" fmla="*/ 54 w 61"/>
                  <a:gd name="T1" fmla="*/ 1 h 42"/>
                  <a:gd name="T2" fmla="*/ 48 w 61"/>
                  <a:gd name="T3" fmla="*/ 1 h 42"/>
                  <a:gd name="T4" fmla="*/ 28 w 61"/>
                  <a:gd name="T5" fmla="*/ 22 h 42"/>
                  <a:gd name="T6" fmla="*/ 13 w 61"/>
                  <a:gd name="T7" fmla="*/ 7 h 42"/>
                  <a:gd name="T8" fmla="*/ 7 w 61"/>
                  <a:gd name="T9" fmla="*/ 7 h 42"/>
                  <a:gd name="T10" fmla="*/ 2 w 61"/>
                  <a:gd name="T11" fmla="*/ 12 h 42"/>
                  <a:gd name="T12" fmla="*/ 2 w 61"/>
                  <a:gd name="T13" fmla="*/ 18 h 42"/>
                  <a:gd name="T14" fmla="*/ 25 w 61"/>
                  <a:gd name="T15" fmla="*/ 41 h 42"/>
                  <a:gd name="T16" fmla="*/ 31 w 61"/>
                  <a:gd name="T17" fmla="*/ 41 h 42"/>
                  <a:gd name="T18" fmla="*/ 59 w 61"/>
                  <a:gd name="T19" fmla="*/ 12 h 42"/>
                  <a:gd name="T20" fmla="*/ 59 w 61"/>
                  <a:gd name="T21" fmla="*/ 6 h 42"/>
                  <a:gd name="T22" fmla="*/ 54 w 61"/>
                  <a:gd name="T23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42">
                    <a:moveTo>
                      <a:pt x="54" y="1"/>
                    </a:moveTo>
                    <a:cubicBezTo>
                      <a:pt x="52" y="0"/>
                      <a:pt x="50" y="0"/>
                      <a:pt x="48" y="1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1" y="5"/>
                      <a:pt x="8" y="5"/>
                      <a:pt x="7" y="7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0" y="13"/>
                      <a:pt x="0" y="16"/>
                      <a:pt x="2" y="18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2"/>
                      <a:pt x="29" y="42"/>
                      <a:pt x="31" y="41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61" y="11"/>
                      <a:pt x="61" y="8"/>
                      <a:pt x="59" y="6"/>
                    </a:cubicBezTo>
                    <a:lnTo>
                      <a:pt x="54" y="1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8" name="Freeform 145"/>
              <p:cNvSpPr>
                <a:spLocks/>
              </p:cNvSpPr>
              <p:nvPr/>
            </p:nvSpPr>
            <p:spPr bwMode="gray">
              <a:xfrm>
                <a:off x="5704" y="3803"/>
                <a:ext cx="221" cy="38"/>
              </a:xfrm>
              <a:custGeom>
                <a:avLst/>
                <a:gdLst>
                  <a:gd name="T0" fmla="*/ 127 w 139"/>
                  <a:gd name="T1" fmla="*/ 0 h 24"/>
                  <a:gd name="T2" fmla="*/ 12 w 139"/>
                  <a:gd name="T3" fmla="*/ 0 h 24"/>
                  <a:gd name="T4" fmla="*/ 0 w 139"/>
                  <a:gd name="T5" fmla="*/ 12 h 24"/>
                  <a:gd name="T6" fmla="*/ 12 w 139"/>
                  <a:gd name="T7" fmla="*/ 24 h 24"/>
                  <a:gd name="T8" fmla="*/ 127 w 139"/>
                  <a:gd name="T9" fmla="*/ 24 h 24"/>
                  <a:gd name="T10" fmla="*/ 139 w 139"/>
                  <a:gd name="T11" fmla="*/ 12 h 24"/>
                  <a:gd name="T12" fmla="*/ 127 w 139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24">
                    <a:moveTo>
                      <a:pt x="127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0" y="18"/>
                      <a:pt x="6" y="24"/>
                      <a:pt x="12" y="24"/>
                    </a:cubicBezTo>
                    <a:cubicBezTo>
                      <a:pt x="127" y="24"/>
                      <a:pt x="127" y="24"/>
                      <a:pt x="127" y="24"/>
                    </a:cubicBezTo>
                    <a:cubicBezTo>
                      <a:pt x="134" y="24"/>
                      <a:pt x="139" y="18"/>
                      <a:pt x="139" y="12"/>
                    </a:cubicBezTo>
                    <a:cubicBezTo>
                      <a:pt x="139" y="5"/>
                      <a:pt x="134" y="0"/>
                      <a:pt x="127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32" name="Groupe 348"/>
          <p:cNvGrpSpPr/>
          <p:nvPr/>
        </p:nvGrpSpPr>
        <p:grpSpPr bwMode="gray">
          <a:xfrm>
            <a:off x="6959462" y="3956456"/>
            <a:ext cx="529550" cy="529613"/>
            <a:chOff x="10518398" y="5441292"/>
            <a:chExt cx="772352" cy="772352"/>
          </a:xfrm>
        </p:grpSpPr>
        <p:sp>
          <p:nvSpPr>
            <p:cNvPr id="350" name="Ellipse 349"/>
            <p:cNvSpPr/>
            <p:nvPr/>
          </p:nvSpPr>
          <p:spPr bwMode="gray">
            <a:xfrm>
              <a:off x="10518398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3" name="Group 148"/>
            <p:cNvGrpSpPr>
              <a:grpSpLocks noChangeAspect="1"/>
            </p:cNvGrpSpPr>
            <p:nvPr/>
          </p:nvGrpSpPr>
          <p:grpSpPr bwMode="gray">
            <a:xfrm>
              <a:off x="10630093" y="5595591"/>
              <a:ext cx="548962" cy="463754"/>
              <a:chOff x="6637" y="3565"/>
              <a:chExt cx="393" cy="332"/>
            </a:xfrm>
          </p:grpSpPr>
          <p:sp>
            <p:nvSpPr>
              <p:cNvPr id="352" name="Freeform 149"/>
              <p:cNvSpPr>
                <a:spLocks/>
              </p:cNvSpPr>
              <p:nvPr/>
            </p:nvSpPr>
            <p:spPr bwMode="gray">
              <a:xfrm>
                <a:off x="6871" y="3847"/>
                <a:ext cx="23" cy="50"/>
              </a:xfrm>
              <a:custGeom>
                <a:avLst/>
                <a:gdLst>
                  <a:gd name="T0" fmla="*/ 8 w 15"/>
                  <a:gd name="T1" fmla="*/ 0 h 31"/>
                  <a:gd name="T2" fmla="*/ 0 w 15"/>
                  <a:gd name="T3" fmla="*/ 8 h 31"/>
                  <a:gd name="T4" fmla="*/ 0 w 15"/>
                  <a:gd name="T5" fmla="*/ 23 h 31"/>
                  <a:gd name="T6" fmla="*/ 8 w 15"/>
                  <a:gd name="T7" fmla="*/ 31 h 31"/>
                  <a:gd name="T8" fmla="*/ 15 w 15"/>
                  <a:gd name="T9" fmla="*/ 23 h 31"/>
                  <a:gd name="T10" fmla="*/ 15 w 15"/>
                  <a:gd name="T11" fmla="*/ 8 h 31"/>
                  <a:gd name="T12" fmla="*/ 8 w 15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8" y="0"/>
                    </a:moveTo>
                    <a:cubicBezTo>
                      <a:pt x="3" y="0"/>
                      <a:pt x="0" y="3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7"/>
                      <a:pt x="3" y="31"/>
                      <a:pt x="8" y="31"/>
                    </a:cubicBezTo>
                    <a:cubicBezTo>
                      <a:pt x="12" y="31"/>
                      <a:pt x="15" y="27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3" name="Freeform 150"/>
              <p:cNvSpPr>
                <a:spLocks/>
              </p:cNvSpPr>
              <p:nvPr/>
            </p:nvSpPr>
            <p:spPr bwMode="gray">
              <a:xfrm>
                <a:off x="6772" y="3847"/>
                <a:ext cx="24" cy="50"/>
              </a:xfrm>
              <a:custGeom>
                <a:avLst/>
                <a:gdLst>
                  <a:gd name="T0" fmla="*/ 8 w 15"/>
                  <a:gd name="T1" fmla="*/ 0 h 31"/>
                  <a:gd name="T2" fmla="*/ 0 w 15"/>
                  <a:gd name="T3" fmla="*/ 8 h 31"/>
                  <a:gd name="T4" fmla="*/ 0 w 15"/>
                  <a:gd name="T5" fmla="*/ 23 h 31"/>
                  <a:gd name="T6" fmla="*/ 8 w 15"/>
                  <a:gd name="T7" fmla="*/ 31 h 31"/>
                  <a:gd name="T8" fmla="*/ 15 w 15"/>
                  <a:gd name="T9" fmla="*/ 23 h 31"/>
                  <a:gd name="T10" fmla="*/ 15 w 15"/>
                  <a:gd name="T11" fmla="*/ 8 h 31"/>
                  <a:gd name="T12" fmla="*/ 8 w 15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8" y="0"/>
                    </a:moveTo>
                    <a:cubicBezTo>
                      <a:pt x="3" y="0"/>
                      <a:pt x="0" y="3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7"/>
                      <a:pt x="3" y="31"/>
                      <a:pt x="8" y="31"/>
                    </a:cubicBezTo>
                    <a:cubicBezTo>
                      <a:pt x="12" y="31"/>
                      <a:pt x="15" y="27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4" name="Freeform 151"/>
              <p:cNvSpPr>
                <a:spLocks/>
              </p:cNvSpPr>
              <p:nvPr/>
            </p:nvSpPr>
            <p:spPr bwMode="gray">
              <a:xfrm>
                <a:off x="6920" y="3822"/>
                <a:ext cx="24" cy="49"/>
              </a:xfrm>
              <a:custGeom>
                <a:avLst/>
                <a:gdLst>
                  <a:gd name="T0" fmla="*/ 7 w 15"/>
                  <a:gd name="T1" fmla="*/ 0 h 31"/>
                  <a:gd name="T2" fmla="*/ 0 w 15"/>
                  <a:gd name="T3" fmla="*/ 8 h 31"/>
                  <a:gd name="T4" fmla="*/ 0 w 15"/>
                  <a:gd name="T5" fmla="*/ 23 h 31"/>
                  <a:gd name="T6" fmla="*/ 7 w 15"/>
                  <a:gd name="T7" fmla="*/ 31 h 31"/>
                  <a:gd name="T8" fmla="*/ 15 w 15"/>
                  <a:gd name="T9" fmla="*/ 23 h 31"/>
                  <a:gd name="T10" fmla="*/ 15 w 15"/>
                  <a:gd name="T11" fmla="*/ 8 h 31"/>
                  <a:gd name="T12" fmla="*/ 7 w 15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7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3" y="31"/>
                      <a:pt x="7" y="31"/>
                    </a:cubicBezTo>
                    <a:cubicBezTo>
                      <a:pt x="12" y="31"/>
                      <a:pt x="15" y="28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4"/>
                      <a:pt x="12" y="0"/>
                      <a:pt x="7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Freeform 152"/>
              <p:cNvSpPr>
                <a:spLocks/>
              </p:cNvSpPr>
              <p:nvPr/>
            </p:nvSpPr>
            <p:spPr bwMode="gray">
              <a:xfrm>
                <a:off x="6821" y="3822"/>
                <a:ext cx="24" cy="49"/>
              </a:xfrm>
              <a:custGeom>
                <a:avLst/>
                <a:gdLst>
                  <a:gd name="T0" fmla="*/ 8 w 15"/>
                  <a:gd name="T1" fmla="*/ 0 h 31"/>
                  <a:gd name="T2" fmla="*/ 0 w 15"/>
                  <a:gd name="T3" fmla="*/ 8 h 31"/>
                  <a:gd name="T4" fmla="*/ 0 w 15"/>
                  <a:gd name="T5" fmla="*/ 23 h 31"/>
                  <a:gd name="T6" fmla="*/ 8 w 15"/>
                  <a:gd name="T7" fmla="*/ 31 h 31"/>
                  <a:gd name="T8" fmla="*/ 15 w 15"/>
                  <a:gd name="T9" fmla="*/ 23 h 31"/>
                  <a:gd name="T10" fmla="*/ 15 w 15"/>
                  <a:gd name="T11" fmla="*/ 8 h 31"/>
                  <a:gd name="T12" fmla="*/ 8 w 15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3" y="31"/>
                      <a:pt x="8" y="31"/>
                    </a:cubicBezTo>
                    <a:cubicBezTo>
                      <a:pt x="12" y="31"/>
                      <a:pt x="15" y="28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6" name="Freeform 153"/>
              <p:cNvSpPr>
                <a:spLocks/>
              </p:cNvSpPr>
              <p:nvPr/>
            </p:nvSpPr>
            <p:spPr bwMode="gray">
              <a:xfrm>
                <a:off x="6723" y="3822"/>
                <a:ext cx="25" cy="49"/>
              </a:xfrm>
              <a:custGeom>
                <a:avLst/>
                <a:gdLst>
                  <a:gd name="T0" fmla="*/ 8 w 16"/>
                  <a:gd name="T1" fmla="*/ 0 h 31"/>
                  <a:gd name="T2" fmla="*/ 0 w 16"/>
                  <a:gd name="T3" fmla="*/ 8 h 31"/>
                  <a:gd name="T4" fmla="*/ 0 w 16"/>
                  <a:gd name="T5" fmla="*/ 23 h 31"/>
                  <a:gd name="T6" fmla="*/ 8 w 16"/>
                  <a:gd name="T7" fmla="*/ 31 h 31"/>
                  <a:gd name="T8" fmla="*/ 16 w 16"/>
                  <a:gd name="T9" fmla="*/ 23 h 31"/>
                  <a:gd name="T10" fmla="*/ 16 w 16"/>
                  <a:gd name="T11" fmla="*/ 8 h 31"/>
                  <a:gd name="T12" fmla="*/ 8 w 16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1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4" y="31"/>
                      <a:pt x="8" y="31"/>
                    </a:cubicBezTo>
                    <a:cubicBezTo>
                      <a:pt x="12" y="31"/>
                      <a:pt x="16" y="28"/>
                      <a:pt x="16" y="23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7" name="Freeform 154"/>
              <p:cNvSpPr>
                <a:spLocks noEditPoints="1"/>
              </p:cNvSpPr>
              <p:nvPr/>
            </p:nvSpPr>
            <p:spPr bwMode="gray">
              <a:xfrm>
                <a:off x="6637" y="3565"/>
                <a:ext cx="393" cy="246"/>
              </a:xfrm>
              <a:custGeom>
                <a:avLst/>
                <a:gdLst>
                  <a:gd name="T0" fmla="*/ 213 w 247"/>
                  <a:gd name="T1" fmla="*/ 64 h 155"/>
                  <a:gd name="T2" fmla="*/ 166 w 247"/>
                  <a:gd name="T3" fmla="*/ 31 h 155"/>
                  <a:gd name="T4" fmla="*/ 152 w 247"/>
                  <a:gd name="T5" fmla="*/ 33 h 155"/>
                  <a:gd name="T6" fmla="*/ 93 w 247"/>
                  <a:gd name="T7" fmla="*/ 0 h 155"/>
                  <a:gd name="T8" fmla="*/ 23 w 247"/>
                  <a:gd name="T9" fmla="*/ 68 h 155"/>
                  <a:gd name="T10" fmla="*/ 0 w 247"/>
                  <a:gd name="T11" fmla="*/ 108 h 155"/>
                  <a:gd name="T12" fmla="*/ 46 w 247"/>
                  <a:gd name="T13" fmla="*/ 155 h 155"/>
                  <a:gd name="T14" fmla="*/ 201 w 247"/>
                  <a:gd name="T15" fmla="*/ 155 h 155"/>
                  <a:gd name="T16" fmla="*/ 247 w 247"/>
                  <a:gd name="T17" fmla="*/ 108 h 155"/>
                  <a:gd name="T18" fmla="*/ 213 w 247"/>
                  <a:gd name="T19" fmla="*/ 64 h 155"/>
                  <a:gd name="T20" fmla="*/ 201 w 247"/>
                  <a:gd name="T21" fmla="*/ 139 h 155"/>
                  <a:gd name="T22" fmla="*/ 46 w 247"/>
                  <a:gd name="T23" fmla="*/ 139 h 155"/>
                  <a:gd name="T24" fmla="*/ 16 w 247"/>
                  <a:gd name="T25" fmla="*/ 108 h 155"/>
                  <a:gd name="T26" fmla="*/ 39 w 247"/>
                  <a:gd name="T27" fmla="*/ 78 h 155"/>
                  <a:gd name="T28" fmla="*/ 39 w 247"/>
                  <a:gd name="T29" fmla="*/ 70 h 155"/>
                  <a:gd name="T30" fmla="*/ 93 w 247"/>
                  <a:gd name="T31" fmla="*/ 16 h 155"/>
                  <a:gd name="T32" fmla="*/ 145 w 247"/>
                  <a:gd name="T33" fmla="*/ 54 h 155"/>
                  <a:gd name="T34" fmla="*/ 166 w 247"/>
                  <a:gd name="T35" fmla="*/ 46 h 155"/>
                  <a:gd name="T36" fmla="*/ 201 w 247"/>
                  <a:gd name="T37" fmla="*/ 77 h 155"/>
                  <a:gd name="T38" fmla="*/ 201 w 247"/>
                  <a:gd name="T39" fmla="*/ 77 h 155"/>
                  <a:gd name="T40" fmla="*/ 232 w 247"/>
                  <a:gd name="T41" fmla="*/ 108 h 155"/>
                  <a:gd name="T42" fmla="*/ 201 w 247"/>
                  <a:gd name="T43" fmla="*/ 13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7" h="155">
                    <a:moveTo>
                      <a:pt x="213" y="64"/>
                    </a:moveTo>
                    <a:cubicBezTo>
                      <a:pt x="206" y="45"/>
                      <a:pt x="188" y="31"/>
                      <a:pt x="166" y="31"/>
                    </a:cubicBezTo>
                    <a:cubicBezTo>
                      <a:pt x="161" y="31"/>
                      <a:pt x="156" y="32"/>
                      <a:pt x="152" y="33"/>
                    </a:cubicBezTo>
                    <a:cubicBezTo>
                      <a:pt x="140" y="13"/>
                      <a:pt x="118" y="0"/>
                      <a:pt x="93" y="0"/>
                    </a:cubicBezTo>
                    <a:cubicBezTo>
                      <a:pt x="55" y="0"/>
                      <a:pt x="24" y="30"/>
                      <a:pt x="23" y="68"/>
                    </a:cubicBezTo>
                    <a:cubicBezTo>
                      <a:pt x="9" y="76"/>
                      <a:pt x="0" y="91"/>
                      <a:pt x="0" y="108"/>
                    </a:cubicBezTo>
                    <a:cubicBezTo>
                      <a:pt x="0" y="134"/>
                      <a:pt x="21" y="155"/>
                      <a:pt x="46" y="155"/>
                    </a:cubicBezTo>
                    <a:cubicBezTo>
                      <a:pt x="201" y="155"/>
                      <a:pt x="201" y="155"/>
                      <a:pt x="201" y="155"/>
                    </a:cubicBezTo>
                    <a:cubicBezTo>
                      <a:pt x="226" y="155"/>
                      <a:pt x="247" y="134"/>
                      <a:pt x="247" y="108"/>
                    </a:cubicBezTo>
                    <a:cubicBezTo>
                      <a:pt x="247" y="87"/>
                      <a:pt x="233" y="69"/>
                      <a:pt x="213" y="64"/>
                    </a:cubicBezTo>
                    <a:close/>
                    <a:moveTo>
                      <a:pt x="201" y="139"/>
                    </a:moveTo>
                    <a:cubicBezTo>
                      <a:pt x="46" y="139"/>
                      <a:pt x="46" y="139"/>
                      <a:pt x="46" y="139"/>
                    </a:cubicBezTo>
                    <a:cubicBezTo>
                      <a:pt x="29" y="139"/>
                      <a:pt x="16" y="125"/>
                      <a:pt x="16" y="108"/>
                    </a:cubicBezTo>
                    <a:cubicBezTo>
                      <a:pt x="16" y="94"/>
                      <a:pt x="26" y="81"/>
                      <a:pt x="39" y="78"/>
                    </a:cubicBezTo>
                    <a:cubicBezTo>
                      <a:pt x="39" y="75"/>
                      <a:pt x="39" y="73"/>
                      <a:pt x="39" y="70"/>
                    </a:cubicBezTo>
                    <a:cubicBezTo>
                      <a:pt x="39" y="40"/>
                      <a:pt x="63" y="16"/>
                      <a:pt x="93" y="16"/>
                    </a:cubicBezTo>
                    <a:cubicBezTo>
                      <a:pt x="117" y="16"/>
                      <a:pt x="138" y="32"/>
                      <a:pt x="145" y="54"/>
                    </a:cubicBezTo>
                    <a:cubicBezTo>
                      <a:pt x="150" y="49"/>
                      <a:pt x="158" y="46"/>
                      <a:pt x="166" y="46"/>
                    </a:cubicBezTo>
                    <a:cubicBezTo>
                      <a:pt x="184" y="46"/>
                      <a:pt x="199" y="60"/>
                      <a:pt x="201" y="77"/>
                    </a:cubicBezTo>
                    <a:cubicBezTo>
                      <a:pt x="201" y="77"/>
                      <a:pt x="201" y="77"/>
                      <a:pt x="201" y="77"/>
                    </a:cubicBezTo>
                    <a:cubicBezTo>
                      <a:pt x="218" y="77"/>
                      <a:pt x="232" y="91"/>
                      <a:pt x="232" y="108"/>
                    </a:cubicBezTo>
                    <a:cubicBezTo>
                      <a:pt x="232" y="125"/>
                      <a:pt x="218" y="139"/>
                      <a:pt x="201" y="139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34" name="Groupe 357"/>
          <p:cNvGrpSpPr/>
          <p:nvPr/>
        </p:nvGrpSpPr>
        <p:grpSpPr bwMode="gray">
          <a:xfrm>
            <a:off x="8009738" y="3956456"/>
            <a:ext cx="529550" cy="529613"/>
            <a:chOff x="12068894" y="5441292"/>
            <a:chExt cx="772352" cy="772352"/>
          </a:xfrm>
        </p:grpSpPr>
        <p:sp>
          <p:nvSpPr>
            <p:cNvPr id="359" name="Ellipse 358"/>
            <p:cNvSpPr/>
            <p:nvPr/>
          </p:nvSpPr>
          <p:spPr bwMode="gray">
            <a:xfrm>
              <a:off x="12068894" y="5441292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5" name="Group 157"/>
            <p:cNvGrpSpPr>
              <a:grpSpLocks noChangeAspect="1"/>
            </p:cNvGrpSpPr>
            <p:nvPr/>
          </p:nvGrpSpPr>
          <p:grpSpPr bwMode="gray">
            <a:xfrm>
              <a:off x="12269987" y="5613751"/>
              <a:ext cx="370166" cy="427434"/>
              <a:chOff x="7719" y="3580"/>
              <a:chExt cx="265" cy="306"/>
            </a:xfrm>
          </p:grpSpPr>
          <p:sp>
            <p:nvSpPr>
              <p:cNvPr id="361" name="Freeform 158"/>
              <p:cNvSpPr>
                <a:spLocks/>
              </p:cNvSpPr>
              <p:nvPr/>
            </p:nvSpPr>
            <p:spPr bwMode="gray">
              <a:xfrm>
                <a:off x="7719" y="3580"/>
                <a:ext cx="265" cy="306"/>
              </a:xfrm>
              <a:custGeom>
                <a:avLst/>
                <a:gdLst>
                  <a:gd name="T0" fmla="*/ 265 w 265"/>
                  <a:gd name="T1" fmla="*/ 0 h 306"/>
                  <a:gd name="T2" fmla="*/ 0 w 265"/>
                  <a:gd name="T3" fmla="*/ 0 h 306"/>
                  <a:gd name="T4" fmla="*/ 0 w 265"/>
                  <a:gd name="T5" fmla="*/ 264 h 306"/>
                  <a:gd name="T6" fmla="*/ 90 w 265"/>
                  <a:gd name="T7" fmla="*/ 264 h 306"/>
                  <a:gd name="T8" fmla="*/ 133 w 265"/>
                  <a:gd name="T9" fmla="*/ 306 h 306"/>
                  <a:gd name="T10" fmla="*/ 176 w 265"/>
                  <a:gd name="T11" fmla="*/ 264 h 306"/>
                  <a:gd name="T12" fmla="*/ 265 w 265"/>
                  <a:gd name="T13" fmla="*/ 264 h 306"/>
                  <a:gd name="T14" fmla="*/ 265 w 265"/>
                  <a:gd name="T15" fmla="*/ 0 h 306"/>
                  <a:gd name="T16" fmla="*/ 265 w 265"/>
                  <a:gd name="T17" fmla="*/ 0 h 306"/>
                  <a:gd name="T18" fmla="*/ 265 w 265"/>
                  <a:gd name="T1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5" h="306">
                    <a:moveTo>
                      <a:pt x="265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90" y="264"/>
                    </a:lnTo>
                    <a:lnTo>
                      <a:pt x="133" y="306"/>
                    </a:lnTo>
                    <a:lnTo>
                      <a:pt x="176" y="264"/>
                    </a:lnTo>
                    <a:lnTo>
                      <a:pt x="265" y="264"/>
                    </a:lnTo>
                    <a:lnTo>
                      <a:pt x="265" y="0"/>
                    </a:lnTo>
                    <a:lnTo>
                      <a:pt x="265" y="0"/>
                    </a:lnTo>
                    <a:lnTo>
                      <a:pt x="265" y="0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2" name="Oval 159"/>
              <p:cNvSpPr>
                <a:spLocks noChangeArrowheads="1"/>
              </p:cNvSpPr>
              <p:nvPr/>
            </p:nvSpPr>
            <p:spPr bwMode="gray">
              <a:xfrm>
                <a:off x="7793" y="3650"/>
                <a:ext cx="115" cy="1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36" name="Groupe 362"/>
          <p:cNvGrpSpPr/>
          <p:nvPr/>
        </p:nvGrpSpPr>
        <p:grpSpPr bwMode="gray">
          <a:xfrm>
            <a:off x="657805" y="5086214"/>
            <a:ext cx="529550" cy="529613"/>
            <a:chOff x="1215422" y="7088857"/>
            <a:chExt cx="772352" cy="772352"/>
          </a:xfrm>
        </p:grpSpPr>
        <p:sp>
          <p:nvSpPr>
            <p:cNvPr id="364" name="Ellipse 363"/>
            <p:cNvSpPr/>
            <p:nvPr/>
          </p:nvSpPr>
          <p:spPr bwMode="gray">
            <a:xfrm>
              <a:off x="1215422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5" name="Freeform 163"/>
            <p:cNvSpPr>
              <a:spLocks/>
            </p:cNvSpPr>
            <p:nvPr/>
          </p:nvSpPr>
          <p:spPr bwMode="gray">
            <a:xfrm>
              <a:off x="1380196" y="7271093"/>
              <a:ext cx="442804" cy="407880"/>
            </a:xfrm>
            <a:custGeom>
              <a:avLst/>
              <a:gdLst>
                <a:gd name="T0" fmla="*/ 192 w 199"/>
                <a:gd name="T1" fmla="*/ 74 h 184"/>
                <a:gd name="T2" fmla="*/ 71 w 199"/>
                <a:gd name="T3" fmla="*/ 74 h 184"/>
                <a:gd name="T4" fmla="*/ 115 w 199"/>
                <a:gd name="T5" fmla="*/ 30 h 184"/>
                <a:gd name="T6" fmla="*/ 115 w 199"/>
                <a:gd name="T7" fmla="*/ 21 h 184"/>
                <a:gd name="T8" fmla="*/ 97 w 199"/>
                <a:gd name="T9" fmla="*/ 3 h 184"/>
                <a:gd name="T10" fmla="*/ 87 w 199"/>
                <a:gd name="T11" fmla="*/ 3 h 184"/>
                <a:gd name="T12" fmla="*/ 3 w 199"/>
                <a:gd name="T13" fmla="*/ 87 h 184"/>
                <a:gd name="T14" fmla="*/ 3 w 199"/>
                <a:gd name="T15" fmla="*/ 97 h 184"/>
                <a:gd name="T16" fmla="*/ 87 w 199"/>
                <a:gd name="T17" fmla="*/ 181 h 184"/>
                <a:gd name="T18" fmla="*/ 97 w 199"/>
                <a:gd name="T19" fmla="*/ 181 h 184"/>
                <a:gd name="T20" fmla="*/ 115 w 199"/>
                <a:gd name="T21" fmla="*/ 163 h 184"/>
                <a:gd name="T22" fmla="*/ 115 w 199"/>
                <a:gd name="T23" fmla="*/ 154 h 184"/>
                <a:gd name="T24" fmla="*/ 74 w 199"/>
                <a:gd name="T25" fmla="*/ 113 h 184"/>
                <a:gd name="T26" fmla="*/ 192 w 199"/>
                <a:gd name="T27" fmla="*/ 113 h 184"/>
                <a:gd name="T28" fmla="*/ 199 w 199"/>
                <a:gd name="T29" fmla="*/ 106 h 184"/>
                <a:gd name="T30" fmla="*/ 199 w 199"/>
                <a:gd name="T31" fmla="*/ 81 h 184"/>
                <a:gd name="T32" fmla="*/ 192 w 199"/>
                <a:gd name="T33" fmla="*/ 7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9" h="184">
                  <a:moveTo>
                    <a:pt x="192" y="74"/>
                  </a:moveTo>
                  <a:cubicBezTo>
                    <a:pt x="71" y="74"/>
                    <a:pt x="71" y="74"/>
                    <a:pt x="71" y="74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7" y="28"/>
                    <a:pt x="117" y="23"/>
                    <a:pt x="115" y="21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94" y="0"/>
                    <a:pt x="90" y="0"/>
                    <a:pt x="87" y="3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0" y="90"/>
                    <a:pt x="0" y="94"/>
                    <a:pt x="3" y="97"/>
                  </a:cubicBezTo>
                  <a:cubicBezTo>
                    <a:pt x="87" y="181"/>
                    <a:pt x="87" y="181"/>
                    <a:pt x="87" y="181"/>
                  </a:cubicBezTo>
                  <a:cubicBezTo>
                    <a:pt x="90" y="184"/>
                    <a:pt x="94" y="184"/>
                    <a:pt x="97" y="181"/>
                  </a:cubicBezTo>
                  <a:cubicBezTo>
                    <a:pt x="115" y="163"/>
                    <a:pt x="115" y="163"/>
                    <a:pt x="115" y="163"/>
                  </a:cubicBezTo>
                  <a:cubicBezTo>
                    <a:pt x="117" y="161"/>
                    <a:pt x="117" y="156"/>
                    <a:pt x="115" y="154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192" y="113"/>
                    <a:pt x="192" y="113"/>
                    <a:pt x="192" y="113"/>
                  </a:cubicBezTo>
                  <a:cubicBezTo>
                    <a:pt x="196" y="113"/>
                    <a:pt x="199" y="110"/>
                    <a:pt x="199" y="106"/>
                  </a:cubicBezTo>
                  <a:cubicBezTo>
                    <a:pt x="199" y="81"/>
                    <a:pt x="199" y="81"/>
                    <a:pt x="199" y="81"/>
                  </a:cubicBezTo>
                  <a:cubicBezTo>
                    <a:pt x="199" y="77"/>
                    <a:pt x="196" y="74"/>
                    <a:pt x="192" y="74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7" name="Groupe 365"/>
          <p:cNvGrpSpPr/>
          <p:nvPr/>
        </p:nvGrpSpPr>
        <p:grpSpPr bwMode="gray">
          <a:xfrm>
            <a:off x="1708081" y="5086214"/>
            <a:ext cx="529550" cy="529613"/>
            <a:chOff x="2765918" y="7088857"/>
            <a:chExt cx="772352" cy="772352"/>
          </a:xfrm>
        </p:grpSpPr>
        <p:sp>
          <p:nvSpPr>
            <p:cNvPr id="367" name="Ellipse 366"/>
            <p:cNvSpPr/>
            <p:nvPr/>
          </p:nvSpPr>
          <p:spPr bwMode="gray">
            <a:xfrm>
              <a:off x="2765918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8" name="Freeform 167"/>
            <p:cNvSpPr>
              <a:spLocks/>
            </p:cNvSpPr>
            <p:nvPr/>
          </p:nvSpPr>
          <p:spPr bwMode="gray">
            <a:xfrm>
              <a:off x="2931391" y="7271091"/>
              <a:ext cx="441406" cy="407884"/>
            </a:xfrm>
            <a:custGeom>
              <a:avLst/>
              <a:gdLst>
                <a:gd name="T0" fmla="*/ 6 w 199"/>
                <a:gd name="T1" fmla="*/ 74 h 184"/>
                <a:gd name="T2" fmla="*/ 128 w 199"/>
                <a:gd name="T3" fmla="*/ 74 h 184"/>
                <a:gd name="T4" fmla="*/ 84 w 199"/>
                <a:gd name="T5" fmla="*/ 30 h 184"/>
                <a:gd name="T6" fmla="*/ 84 w 199"/>
                <a:gd name="T7" fmla="*/ 21 h 184"/>
                <a:gd name="T8" fmla="*/ 102 w 199"/>
                <a:gd name="T9" fmla="*/ 3 h 184"/>
                <a:gd name="T10" fmla="*/ 112 w 199"/>
                <a:gd name="T11" fmla="*/ 3 h 184"/>
                <a:gd name="T12" fmla="*/ 196 w 199"/>
                <a:gd name="T13" fmla="*/ 87 h 184"/>
                <a:gd name="T14" fmla="*/ 196 w 199"/>
                <a:gd name="T15" fmla="*/ 97 h 184"/>
                <a:gd name="T16" fmla="*/ 112 w 199"/>
                <a:gd name="T17" fmla="*/ 181 h 184"/>
                <a:gd name="T18" fmla="*/ 102 w 199"/>
                <a:gd name="T19" fmla="*/ 181 h 184"/>
                <a:gd name="T20" fmla="*/ 84 w 199"/>
                <a:gd name="T21" fmla="*/ 163 h 184"/>
                <a:gd name="T22" fmla="*/ 84 w 199"/>
                <a:gd name="T23" fmla="*/ 154 h 184"/>
                <a:gd name="T24" fmla="*/ 125 w 199"/>
                <a:gd name="T25" fmla="*/ 113 h 184"/>
                <a:gd name="T26" fmla="*/ 6 w 199"/>
                <a:gd name="T27" fmla="*/ 113 h 184"/>
                <a:gd name="T28" fmla="*/ 0 w 199"/>
                <a:gd name="T29" fmla="*/ 106 h 184"/>
                <a:gd name="T30" fmla="*/ 0 w 199"/>
                <a:gd name="T31" fmla="*/ 81 h 184"/>
                <a:gd name="T32" fmla="*/ 6 w 199"/>
                <a:gd name="T33" fmla="*/ 7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9" h="184">
                  <a:moveTo>
                    <a:pt x="6" y="74"/>
                  </a:moveTo>
                  <a:cubicBezTo>
                    <a:pt x="128" y="74"/>
                    <a:pt x="128" y="74"/>
                    <a:pt x="128" y="74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2" y="28"/>
                    <a:pt x="82" y="23"/>
                    <a:pt x="84" y="21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5" y="0"/>
                    <a:pt x="109" y="0"/>
                    <a:pt x="112" y="3"/>
                  </a:cubicBezTo>
                  <a:cubicBezTo>
                    <a:pt x="196" y="87"/>
                    <a:pt x="196" y="87"/>
                    <a:pt x="196" y="87"/>
                  </a:cubicBezTo>
                  <a:cubicBezTo>
                    <a:pt x="199" y="90"/>
                    <a:pt x="199" y="94"/>
                    <a:pt x="196" y="97"/>
                  </a:cubicBezTo>
                  <a:cubicBezTo>
                    <a:pt x="112" y="181"/>
                    <a:pt x="112" y="181"/>
                    <a:pt x="112" y="181"/>
                  </a:cubicBezTo>
                  <a:cubicBezTo>
                    <a:pt x="109" y="184"/>
                    <a:pt x="105" y="184"/>
                    <a:pt x="102" y="181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2" y="161"/>
                    <a:pt x="82" y="156"/>
                    <a:pt x="84" y="154"/>
                  </a:cubicBezTo>
                  <a:cubicBezTo>
                    <a:pt x="125" y="113"/>
                    <a:pt x="125" y="113"/>
                    <a:pt x="125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77"/>
                    <a:pt x="3" y="74"/>
                    <a:pt x="6" y="74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8" name="Groupe 368"/>
          <p:cNvGrpSpPr/>
          <p:nvPr/>
        </p:nvGrpSpPr>
        <p:grpSpPr bwMode="gray">
          <a:xfrm>
            <a:off x="2758357" y="5086214"/>
            <a:ext cx="529550" cy="529613"/>
            <a:chOff x="4316414" y="7088857"/>
            <a:chExt cx="772352" cy="772352"/>
          </a:xfrm>
        </p:grpSpPr>
        <p:sp>
          <p:nvSpPr>
            <p:cNvPr id="370" name="Ellipse 369"/>
            <p:cNvSpPr/>
            <p:nvPr/>
          </p:nvSpPr>
          <p:spPr bwMode="gray">
            <a:xfrm>
              <a:off x="4316414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1" name="Freeform 171"/>
            <p:cNvSpPr>
              <a:spLocks/>
            </p:cNvSpPr>
            <p:nvPr/>
          </p:nvSpPr>
          <p:spPr bwMode="gray">
            <a:xfrm>
              <a:off x="4483284" y="7255728"/>
              <a:ext cx="438612" cy="438610"/>
            </a:xfrm>
            <a:custGeom>
              <a:avLst/>
              <a:gdLst>
                <a:gd name="T0" fmla="*/ 62 w 198"/>
                <a:gd name="T1" fmla="*/ 0 h 198"/>
                <a:gd name="T2" fmla="*/ 47 w 198"/>
                <a:gd name="T3" fmla="*/ 4 h 198"/>
                <a:gd name="T4" fmla="*/ 44 w 198"/>
                <a:gd name="T5" fmla="*/ 9 h 198"/>
                <a:gd name="T6" fmla="*/ 44 w 198"/>
                <a:gd name="T7" fmla="*/ 12 h 198"/>
                <a:gd name="T8" fmla="*/ 46 w 198"/>
                <a:gd name="T9" fmla="*/ 18 h 198"/>
                <a:gd name="T10" fmla="*/ 67 w 198"/>
                <a:gd name="T11" fmla="*/ 38 h 198"/>
                <a:gd name="T12" fmla="*/ 69 w 198"/>
                <a:gd name="T13" fmla="*/ 44 h 198"/>
                <a:gd name="T14" fmla="*/ 64 w 198"/>
                <a:gd name="T15" fmla="*/ 60 h 198"/>
                <a:gd name="T16" fmla="*/ 60 w 198"/>
                <a:gd name="T17" fmla="*/ 64 h 198"/>
                <a:gd name="T18" fmla="*/ 44 w 198"/>
                <a:gd name="T19" fmla="*/ 68 h 198"/>
                <a:gd name="T20" fmla="*/ 39 w 198"/>
                <a:gd name="T21" fmla="*/ 67 h 198"/>
                <a:gd name="T22" fmla="*/ 18 w 198"/>
                <a:gd name="T23" fmla="*/ 46 h 198"/>
                <a:gd name="T24" fmla="*/ 12 w 198"/>
                <a:gd name="T25" fmla="*/ 43 h 198"/>
                <a:gd name="T26" fmla="*/ 9 w 198"/>
                <a:gd name="T27" fmla="*/ 43 h 198"/>
                <a:gd name="T28" fmla="*/ 5 w 198"/>
                <a:gd name="T29" fmla="*/ 47 h 198"/>
                <a:gd name="T30" fmla="*/ 1 w 198"/>
                <a:gd name="T31" fmla="*/ 61 h 198"/>
                <a:gd name="T32" fmla="*/ 2 w 198"/>
                <a:gd name="T33" fmla="*/ 67 h 198"/>
                <a:gd name="T34" fmla="*/ 31 w 198"/>
                <a:gd name="T35" fmla="*/ 96 h 198"/>
                <a:gd name="T36" fmla="*/ 37 w 198"/>
                <a:gd name="T37" fmla="*/ 97 h 198"/>
                <a:gd name="T38" fmla="*/ 60 w 198"/>
                <a:gd name="T39" fmla="*/ 91 h 198"/>
                <a:gd name="T40" fmla="*/ 71 w 198"/>
                <a:gd name="T41" fmla="*/ 94 h 198"/>
                <a:gd name="T42" fmla="*/ 111 w 198"/>
                <a:gd name="T43" fmla="*/ 135 h 198"/>
                <a:gd name="T44" fmla="*/ 111 w 198"/>
                <a:gd name="T45" fmla="*/ 135 h 198"/>
                <a:gd name="T46" fmla="*/ 112 w 198"/>
                <a:gd name="T47" fmla="*/ 135 h 198"/>
                <a:gd name="T48" fmla="*/ 115 w 198"/>
                <a:gd name="T49" fmla="*/ 147 h 198"/>
                <a:gd name="T50" fmla="*/ 110 w 198"/>
                <a:gd name="T51" fmla="*/ 164 h 198"/>
                <a:gd name="T52" fmla="*/ 111 w 198"/>
                <a:gd name="T53" fmla="*/ 170 h 198"/>
                <a:gd name="T54" fmla="*/ 137 w 198"/>
                <a:gd name="T55" fmla="*/ 196 h 198"/>
                <a:gd name="T56" fmla="*/ 143 w 198"/>
                <a:gd name="T57" fmla="*/ 197 h 198"/>
                <a:gd name="T58" fmla="*/ 155 w 198"/>
                <a:gd name="T59" fmla="*/ 194 h 198"/>
                <a:gd name="T60" fmla="*/ 159 w 198"/>
                <a:gd name="T61" fmla="*/ 190 h 198"/>
                <a:gd name="T62" fmla="*/ 159 w 198"/>
                <a:gd name="T63" fmla="*/ 187 h 198"/>
                <a:gd name="T64" fmla="*/ 156 w 198"/>
                <a:gd name="T65" fmla="*/ 181 h 198"/>
                <a:gd name="T66" fmla="*/ 138 w 198"/>
                <a:gd name="T67" fmla="*/ 163 h 198"/>
                <a:gd name="T68" fmla="*/ 136 w 198"/>
                <a:gd name="T69" fmla="*/ 157 h 198"/>
                <a:gd name="T70" fmla="*/ 140 w 198"/>
                <a:gd name="T71" fmla="*/ 144 h 198"/>
                <a:gd name="T72" fmla="*/ 144 w 198"/>
                <a:gd name="T73" fmla="*/ 140 h 198"/>
                <a:gd name="T74" fmla="*/ 158 w 198"/>
                <a:gd name="T75" fmla="*/ 136 h 198"/>
                <a:gd name="T76" fmla="*/ 164 w 198"/>
                <a:gd name="T77" fmla="*/ 137 h 198"/>
                <a:gd name="T78" fmla="*/ 182 w 198"/>
                <a:gd name="T79" fmla="*/ 156 h 198"/>
                <a:gd name="T80" fmla="*/ 188 w 198"/>
                <a:gd name="T81" fmla="*/ 158 h 198"/>
                <a:gd name="T82" fmla="*/ 190 w 198"/>
                <a:gd name="T83" fmla="*/ 158 h 198"/>
                <a:gd name="T84" fmla="*/ 194 w 198"/>
                <a:gd name="T85" fmla="*/ 155 h 198"/>
                <a:gd name="T86" fmla="*/ 198 w 198"/>
                <a:gd name="T87" fmla="*/ 142 h 198"/>
                <a:gd name="T88" fmla="*/ 196 w 198"/>
                <a:gd name="T89" fmla="*/ 136 h 198"/>
                <a:gd name="T90" fmla="*/ 171 w 198"/>
                <a:gd name="T91" fmla="*/ 111 h 198"/>
                <a:gd name="T92" fmla="*/ 165 w 198"/>
                <a:gd name="T93" fmla="*/ 109 h 198"/>
                <a:gd name="T94" fmla="*/ 146 w 198"/>
                <a:gd name="T95" fmla="*/ 114 h 198"/>
                <a:gd name="T96" fmla="*/ 136 w 198"/>
                <a:gd name="T97" fmla="*/ 111 h 198"/>
                <a:gd name="T98" fmla="*/ 135 w 198"/>
                <a:gd name="T99" fmla="*/ 111 h 198"/>
                <a:gd name="T100" fmla="*/ 135 w 198"/>
                <a:gd name="T101" fmla="*/ 111 h 198"/>
                <a:gd name="T102" fmla="*/ 95 w 198"/>
                <a:gd name="T103" fmla="*/ 70 h 198"/>
                <a:gd name="T104" fmla="*/ 91 w 198"/>
                <a:gd name="T105" fmla="*/ 60 h 198"/>
                <a:gd name="T106" fmla="*/ 98 w 198"/>
                <a:gd name="T107" fmla="*/ 36 h 198"/>
                <a:gd name="T108" fmla="*/ 96 w 198"/>
                <a:gd name="T109" fmla="*/ 31 h 198"/>
                <a:gd name="T110" fmla="*/ 68 w 198"/>
                <a:gd name="T111" fmla="*/ 2 h 198"/>
                <a:gd name="T112" fmla="*/ 62 w 198"/>
                <a:gd name="T11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8" h="198">
                  <a:moveTo>
                    <a:pt x="62" y="0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45" y="5"/>
                    <a:pt x="44" y="7"/>
                    <a:pt x="44" y="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4"/>
                    <a:pt x="45" y="16"/>
                    <a:pt x="46" y="1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40"/>
                    <a:pt x="69" y="42"/>
                    <a:pt x="69" y="44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2"/>
                    <a:pt x="62" y="63"/>
                    <a:pt x="60" y="64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3" y="69"/>
                    <a:pt x="40" y="68"/>
                    <a:pt x="39" y="6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5"/>
                    <a:pt x="14" y="43"/>
                    <a:pt x="12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7" y="43"/>
                    <a:pt x="5" y="45"/>
                    <a:pt x="5" y="47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63"/>
                    <a:pt x="1" y="66"/>
                    <a:pt x="2" y="67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2" y="97"/>
                    <a:pt x="35" y="98"/>
                    <a:pt x="37" y="97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4" y="90"/>
                    <a:pt x="68" y="91"/>
                    <a:pt x="71" y="94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2" y="135"/>
                    <a:pt x="112" y="135"/>
                  </a:cubicBezTo>
                  <a:cubicBezTo>
                    <a:pt x="115" y="138"/>
                    <a:pt x="116" y="143"/>
                    <a:pt x="115" y="147"/>
                  </a:cubicBezTo>
                  <a:cubicBezTo>
                    <a:pt x="110" y="164"/>
                    <a:pt x="110" y="164"/>
                    <a:pt x="110" y="164"/>
                  </a:cubicBezTo>
                  <a:cubicBezTo>
                    <a:pt x="109" y="166"/>
                    <a:pt x="110" y="169"/>
                    <a:pt x="111" y="170"/>
                  </a:cubicBezTo>
                  <a:cubicBezTo>
                    <a:pt x="137" y="196"/>
                    <a:pt x="137" y="196"/>
                    <a:pt x="137" y="196"/>
                  </a:cubicBezTo>
                  <a:cubicBezTo>
                    <a:pt x="138" y="197"/>
                    <a:pt x="141" y="198"/>
                    <a:pt x="143" y="197"/>
                  </a:cubicBezTo>
                  <a:cubicBezTo>
                    <a:pt x="155" y="194"/>
                    <a:pt x="155" y="194"/>
                    <a:pt x="155" y="194"/>
                  </a:cubicBezTo>
                  <a:cubicBezTo>
                    <a:pt x="157" y="193"/>
                    <a:pt x="159" y="191"/>
                    <a:pt x="159" y="190"/>
                  </a:cubicBezTo>
                  <a:cubicBezTo>
                    <a:pt x="159" y="187"/>
                    <a:pt x="159" y="187"/>
                    <a:pt x="159" y="187"/>
                  </a:cubicBezTo>
                  <a:cubicBezTo>
                    <a:pt x="159" y="185"/>
                    <a:pt x="158" y="183"/>
                    <a:pt x="156" y="181"/>
                  </a:cubicBezTo>
                  <a:cubicBezTo>
                    <a:pt x="138" y="163"/>
                    <a:pt x="138" y="163"/>
                    <a:pt x="138" y="163"/>
                  </a:cubicBezTo>
                  <a:cubicBezTo>
                    <a:pt x="137" y="162"/>
                    <a:pt x="136" y="159"/>
                    <a:pt x="136" y="157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141" y="142"/>
                    <a:pt x="142" y="140"/>
                    <a:pt x="144" y="140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60" y="135"/>
                    <a:pt x="162" y="136"/>
                    <a:pt x="164" y="137"/>
                  </a:cubicBezTo>
                  <a:cubicBezTo>
                    <a:pt x="182" y="156"/>
                    <a:pt x="182" y="156"/>
                    <a:pt x="182" y="156"/>
                  </a:cubicBezTo>
                  <a:cubicBezTo>
                    <a:pt x="183" y="157"/>
                    <a:pt x="186" y="158"/>
                    <a:pt x="188" y="158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92" y="158"/>
                    <a:pt x="194" y="157"/>
                    <a:pt x="194" y="155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98" y="140"/>
                    <a:pt x="198" y="138"/>
                    <a:pt x="196" y="13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69" y="110"/>
                    <a:pt x="167" y="109"/>
                    <a:pt x="165" y="109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3" y="115"/>
                    <a:pt x="138" y="114"/>
                    <a:pt x="136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2" y="67"/>
                    <a:pt x="91" y="63"/>
                    <a:pt x="91" y="60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4"/>
                    <a:pt x="98" y="32"/>
                    <a:pt x="96" y="31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6" y="1"/>
                    <a:pt x="64" y="0"/>
                    <a:pt x="62" y="0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9" name="Groupe 35"/>
          <p:cNvGrpSpPr/>
          <p:nvPr/>
        </p:nvGrpSpPr>
        <p:grpSpPr bwMode="gray">
          <a:xfrm>
            <a:off x="3808633" y="5086214"/>
            <a:ext cx="529550" cy="529613"/>
            <a:chOff x="5866910" y="7088857"/>
            <a:chExt cx="772352" cy="772352"/>
          </a:xfrm>
        </p:grpSpPr>
        <p:sp>
          <p:nvSpPr>
            <p:cNvPr id="373" name="Ellipse 372"/>
            <p:cNvSpPr/>
            <p:nvPr/>
          </p:nvSpPr>
          <p:spPr bwMode="gray">
            <a:xfrm>
              <a:off x="5866910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4" name="Freeform 175"/>
            <p:cNvSpPr>
              <a:spLocks/>
            </p:cNvSpPr>
            <p:nvPr/>
          </p:nvSpPr>
          <p:spPr bwMode="gray">
            <a:xfrm>
              <a:off x="6104321" y="7266901"/>
              <a:ext cx="297530" cy="416264"/>
            </a:xfrm>
            <a:custGeom>
              <a:avLst/>
              <a:gdLst>
                <a:gd name="T0" fmla="*/ 17 w 134"/>
                <a:gd name="T1" fmla="*/ 182 h 188"/>
                <a:gd name="T2" fmla="*/ 4 w 134"/>
                <a:gd name="T3" fmla="*/ 171 h 188"/>
                <a:gd name="T4" fmla="*/ 59 w 134"/>
                <a:gd name="T5" fmla="*/ 12 h 188"/>
                <a:gd name="T6" fmla="*/ 74 w 134"/>
                <a:gd name="T7" fmla="*/ 12 h 188"/>
                <a:gd name="T8" fmla="*/ 130 w 134"/>
                <a:gd name="T9" fmla="*/ 171 h 188"/>
                <a:gd name="T10" fmla="*/ 117 w 134"/>
                <a:gd name="T11" fmla="*/ 181 h 188"/>
                <a:gd name="T12" fmla="*/ 89 w 134"/>
                <a:gd name="T13" fmla="*/ 165 h 188"/>
                <a:gd name="T14" fmla="*/ 50 w 134"/>
                <a:gd name="T15" fmla="*/ 164 h 188"/>
                <a:gd name="T16" fmla="*/ 17 w 134"/>
                <a:gd name="T17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188">
                  <a:moveTo>
                    <a:pt x="17" y="182"/>
                  </a:moveTo>
                  <a:cubicBezTo>
                    <a:pt x="6" y="188"/>
                    <a:pt x="0" y="183"/>
                    <a:pt x="4" y="171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64" y="0"/>
                    <a:pt x="70" y="0"/>
                    <a:pt x="74" y="12"/>
                  </a:cubicBezTo>
                  <a:cubicBezTo>
                    <a:pt x="130" y="171"/>
                    <a:pt x="130" y="171"/>
                    <a:pt x="130" y="171"/>
                  </a:cubicBezTo>
                  <a:cubicBezTo>
                    <a:pt x="134" y="183"/>
                    <a:pt x="128" y="188"/>
                    <a:pt x="117" y="181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78" y="158"/>
                    <a:pt x="61" y="158"/>
                    <a:pt x="50" y="164"/>
                  </a:cubicBezTo>
                  <a:lnTo>
                    <a:pt x="17" y="182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0" name="Groupe 374"/>
          <p:cNvGrpSpPr/>
          <p:nvPr/>
        </p:nvGrpSpPr>
        <p:grpSpPr bwMode="gray">
          <a:xfrm>
            <a:off x="4858910" y="5086214"/>
            <a:ext cx="529550" cy="529613"/>
            <a:chOff x="7407098" y="7088857"/>
            <a:chExt cx="772352" cy="772352"/>
          </a:xfrm>
        </p:grpSpPr>
        <p:sp>
          <p:nvSpPr>
            <p:cNvPr id="376" name="Ellipse 375"/>
            <p:cNvSpPr/>
            <p:nvPr/>
          </p:nvSpPr>
          <p:spPr bwMode="gray">
            <a:xfrm>
              <a:off x="7407098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1" name="Group 178"/>
            <p:cNvGrpSpPr>
              <a:grpSpLocks noChangeAspect="1"/>
            </p:cNvGrpSpPr>
            <p:nvPr/>
          </p:nvGrpSpPr>
          <p:grpSpPr bwMode="gray">
            <a:xfrm>
              <a:off x="7567682" y="7250141"/>
              <a:ext cx="451184" cy="449784"/>
              <a:chOff x="4640" y="4571"/>
              <a:chExt cx="323" cy="322"/>
            </a:xfrm>
          </p:grpSpPr>
          <p:sp>
            <p:nvSpPr>
              <p:cNvPr id="378" name="Freeform 179"/>
              <p:cNvSpPr>
                <a:spLocks noEditPoints="1"/>
              </p:cNvSpPr>
              <p:nvPr/>
            </p:nvSpPr>
            <p:spPr bwMode="gray">
              <a:xfrm>
                <a:off x="4640" y="4571"/>
                <a:ext cx="323" cy="322"/>
              </a:xfrm>
              <a:custGeom>
                <a:avLst/>
                <a:gdLst>
                  <a:gd name="T0" fmla="*/ 156 w 203"/>
                  <a:gd name="T1" fmla="*/ 23 h 202"/>
                  <a:gd name="T2" fmla="*/ 101 w 203"/>
                  <a:gd name="T3" fmla="*/ 0 h 202"/>
                  <a:gd name="T4" fmla="*/ 55 w 203"/>
                  <a:gd name="T5" fmla="*/ 23 h 202"/>
                  <a:gd name="T6" fmla="*/ 0 w 203"/>
                  <a:gd name="T7" fmla="*/ 0 h 202"/>
                  <a:gd name="T8" fmla="*/ 0 w 203"/>
                  <a:gd name="T9" fmla="*/ 179 h 202"/>
                  <a:gd name="T10" fmla="*/ 55 w 203"/>
                  <a:gd name="T11" fmla="*/ 202 h 202"/>
                  <a:gd name="T12" fmla="*/ 101 w 203"/>
                  <a:gd name="T13" fmla="*/ 179 h 202"/>
                  <a:gd name="T14" fmla="*/ 156 w 203"/>
                  <a:gd name="T15" fmla="*/ 202 h 202"/>
                  <a:gd name="T16" fmla="*/ 203 w 203"/>
                  <a:gd name="T17" fmla="*/ 179 h 202"/>
                  <a:gd name="T18" fmla="*/ 203 w 203"/>
                  <a:gd name="T19" fmla="*/ 0 h 202"/>
                  <a:gd name="T20" fmla="*/ 156 w 203"/>
                  <a:gd name="T21" fmla="*/ 23 h 202"/>
                  <a:gd name="T22" fmla="*/ 187 w 203"/>
                  <a:gd name="T23" fmla="*/ 169 h 202"/>
                  <a:gd name="T24" fmla="*/ 155 w 203"/>
                  <a:gd name="T25" fmla="*/ 185 h 202"/>
                  <a:gd name="T26" fmla="*/ 108 w 203"/>
                  <a:gd name="T27" fmla="*/ 165 h 202"/>
                  <a:gd name="T28" fmla="*/ 101 w 203"/>
                  <a:gd name="T29" fmla="*/ 163 h 202"/>
                  <a:gd name="T30" fmla="*/ 95 w 203"/>
                  <a:gd name="T31" fmla="*/ 165 h 202"/>
                  <a:gd name="T32" fmla="*/ 54 w 203"/>
                  <a:gd name="T33" fmla="*/ 185 h 202"/>
                  <a:gd name="T34" fmla="*/ 16 w 203"/>
                  <a:gd name="T35" fmla="*/ 169 h 202"/>
                  <a:gd name="T36" fmla="*/ 16 w 203"/>
                  <a:gd name="T37" fmla="*/ 24 h 202"/>
                  <a:gd name="T38" fmla="*/ 49 w 203"/>
                  <a:gd name="T39" fmla="*/ 38 h 202"/>
                  <a:gd name="T40" fmla="*/ 55 w 203"/>
                  <a:gd name="T41" fmla="*/ 39 h 202"/>
                  <a:gd name="T42" fmla="*/ 62 w 203"/>
                  <a:gd name="T43" fmla="*/ 37 h 202"/>
                  <a:gd name="T44" fmla="*/ 102 w 203"/>
                  <a:gd name="T45" fmla="*/ 17 h 202"/>
                  <a:gd name="T46" fmla="*/ 150 w 203"/>
                  <a:gd name="T47" fmla="*/ 38 h 202"/>
                  <a:gd name="T48" fmla="*/ 156 w 203"/>
                  <a:gd name="T49" fmla="*/ 39 h 202"/>
                  <a:gd name="T50" fmla="*/ 163 w 203"/>
                  <a:gd name="T51" fmla="*/ 37 h 202"/>
                  <a:gd name="T52" fmla="*/ 187 w 203"/>
                  <a:gd name="T53" fmla="*/ 25 h 202"/>
                  <a:gd name="T54" fmla="*/ 187 w 203"/>
                  <a:gd name="T55" fmla="*/ 169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3" h="202">
                    <a:moveTo>
                      <a:pt x="156" y="23"/>
                    </a:moveTo>
                    <a:cubicBezTo>
                      <a:pt x="101" y="0"/>
                      <a:pt x="101" y="0"/>
                      <a:pt x="101" y="0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9"/>
                      <a:pt x="0" y="179"/>
                      <a:pt x="0" y="179"/>
                    </a:cubicBezTo>
                    <a:cubicBezTo>
                      <a:pt x="55" y="202"/>
                      <a:pt x="55" y="202"/>
                      <a:pt x="55" y="202"/>
                    </a:cubicBezTo>
                    <a:cubicBezTo>
                      <a:pt x="101" y="179"/>
                      <a:pt x="101" y="179"/>
                      <a:pt x="101" y="179"/>
                    </a:cubicBezTo>
                    <a:cubicBezTo>
                      <a:pt x="156" y="202"/>
                      <a:pt x="156" y="202"/>
                      <a:pt x="156" y="202"/>
                    </a:cubicBezTo>
                    <a:cubicBezTo>
                      <a:pt x="203" y="179"/>
                      <a:pt x="203" y="179"/>
                      <a:pt x="203" y="179"/>
                    </a:cubicBezTo>
                    <a:cubicBezTo>
                      <a:pt x="203" y="0"/>
                      <a:pt x="203" y="0"/>
                      <a:pt x="203" y="0"/>
                    </a:cubicBezTo>
                    <a:lnTo>
                      <a:pt x="156" y="23"/>
                    </a:lnTo>
                    <a:close/>
                    <a:moveTo>
                      <a:pt x="187" y="169"/>
                    </a:moveTo>
                    <a:cubicBezTo>
                      <a:pt x="155" y="185"/>
                      <a:pt x="155" y="185"/>
                      <a:pt x="155" y="185"/>
                    </a:cubicBezTo>
                    <a:cubicBezTo>
                      <a:pt x="108" y="165"/>
                      <a:pt x="108" y="165"/>
                      <a:pt x="108" y="165"/>
                    </a:cubicBezTo>
                    <a:cubicBezTo>
                      <a:pt x="106" y="164"/>
                      <a:pt x="104" y="163"/>
                      <a:pt x="101" y="163"/>
                    </a:cubicBezTo>
                    <a:cubicBezTo>
                      <a:pt x="99" y="163"/>
                      <a:pt x="97" y="164"/>
                      <a:pt x="95" y="165"/>
                    </a:cubicBezTo>
                    <a:cubicBezTo>
                      <a:pt x="54" y="185"/>
                      <a:pt x="54" y="185"/>
                      <a:pt x="54" y="185"/>
                    </a:cubicBezTo>
                    <a:cubicBezTo>
                      <a:pt x="16" y="169"/>
                      <a:pt x="16" y="169"/>
                      <a:pt x="16" y="169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49" y="38"/>
                      <a:pt x="49" y="38"/>
                      <a:pt x="49" y="38"/>
                    </a:cubicBezTo>
                    <a:cubicBezTo>
                      <a:pt x="51" y="39"/>
                      <a:pt x="53" y="39"/>
                      <a:pt x="55" y="39"/>
                    </a:cubicBezTo>
                    <a:cubicBezTo>
                      <a:pt x="57" y="39"/>
                      <a:pt x="60" y="38"/>
                      <a:pt x="62" y="37"/>
                    </a:cubicBezTo>
                    <a:cubicBezTo>
                      <a:pt x="102" y="17"/>
                      <a:pt x="102" y="17"/>
                      <a:pt x="102" y="17"/>
                    </a:cubicBezTo>
                    <a:cubicBezTo>
                      <a:pt x="150" y="38"/>
                      <a:pt x="150" y="38"/>
                      <a:pt x="150" y="38"/>
                    </a:cubicBezTo>
                    <a:cubicBezTo>
                      <a:pt x="152" y="39"/>
                      <a:pt x="154" y="39"/>
                      <a:pt x="156" y="39"/>
                    </a:cubicBezTo>
                    <a:cubicBezTo>
                      <a:pt x="158" y="39"/>
                      <a:pt x="161" y="38"/>
                      <a:pt x="163" y="37"/>
                    </a:cubicBezTo>
                    <a:cubicBezTo>
                      <a:pt x="187" y="25"/>
                      <a:pt x="187" y="25"/>
                      <a:pt x="187" y="25"/>
                    </a:cubicBezTo>
                    <a:lnTo>
                      <a:pt x="187" y="169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9" name="Freeform 180"/>
              <p:cNvSpPr>
                <a:spLocks/>
              </p:cNvSpPr>
              <p:nvPr/>
            </p:nvSpPr>
            <p:spPr bwMode="gray">
              <a:xfrm>
                <a:off x="4672" y="4638"/>
                <a:ext cx="106" cy="208"/>
              </a:xfrm>
              <a:custGeom>
                <a:avLst/>
                <a:gdLst>
                  <a:gd name="T0" fmla="*/ 53 w 67"/>
                  <a:gd name="T1" fmla="*/ 64 h 131"/>
                  <a:gd name="T2" fmla="*/ 43 w 67"/>
                  <a:gd name="T3" fmla="*/ 62 h 131"/>
                  <a:gd name="T4" fmla="*/ 38 w 67"/>
                  <a:gd name="T5" fmla="*/ 60 h 131"/>
                  <a:gd name="T6" fmla="*/ 34 w 67"/>
                  <a:gd name="T7" fmla="*/ 58 h 131"/>
                  <a:gd name="T8" fmla="*/ 30 w 67"/>
                  <a:gd name="T9" fmla="*/ 48 h 131"/>
                  <a:gd name="T10" fmla="*/ 31 w 67"/>
                  <a:gd name="T11" fmla="*/ 41 h 131"/>
                  <a:gd name="T12" fmla="*/ 38 w 67"/>
                  <a:gd name="T13" fmla="*/ 44 h 131"/>
                  <a:gd name="T14" fmla="*/ 40 w 67"/>
                  <a:gd name="T15" fmla="*/ 53 h 131"/>
                  <a:gd name="T16" fmla="*/ 53 w 67"/>
                  <a:gd name="T17" fmla="*/ 39 h 131"/>
                  <a:gd name="T18" fmla="*/ 52 w 67"/>
                  <a:gd name="T19" fmla="*/ 38 h 131"/>
                  <a:gd name="T20" fmla="*/ 52 w 67"/>
                  <a:gd name="T21" fmla="*/ 29 h 131"/>
                  <a:gd name="T22" fmla="*/ 50 w 67"/>
                  <a:gd name="T23" fmla="*/ 23 h 131"/>
                  <a:gd name="T24" fmla="*/ 52 w 67"/>
                  <a:gd name="T25" fmla="*/ 7 h 131"/>
                  <a:gd name="T26" fmla="*/ 50 w 67"/>
                  <a:gd name="T27" fmla="*/ 4 h 131"/>
                  <a:gd name="T28" fmla="*/ 35 w 67"/>
                  <a:gd name="T29" fmla="*/ 11 h 131"/>
                  <a:gd name="T30" fmla="*/ 7 w 67"/>
                  <a:gd name="T31" fmla="*/ 7 h 131"/>
                  <a:gd name="T32" fmla="*/ 1 w 67"/>
                  <a:gd name="T33" fmla="*/ 15 h 131"/>
                  <a:gd name="T34" fmla="*/ 6 w 67"/>
                  <a:gd name="T35" fmla="*/ 17 h 131"/>
                  <a:gd name="T36" fmla="*/ 15 w 67"/>
                  <a:gd name="T37" fmla="*/ 16 h 131"/>
                  <a:gd name="T38" fmla="*/ 14 w 67"/>
                  <a:gd name="T39" fmla="*/ 24 h 131"/>
                  <a:gd name="T40" fmla="*/ 8 w 67"/>
                  <a:gd name="T41" fmla="*/ 33 h 131"/>
                  <a:gd name="T42" fmla="*/ 9 w 67"/>
                  <a:gd name="T43" fmla="*/ 43 h 131"/>
                  <a:gd name="T44" fmla="*/ 18 w 67"/>
                  <a:gd name="T45" fmla="*/ 48 h 131"/>
                  <a:gd name="T46" fmla="*/ 23 w 67"/>
                  <a:gd name="T47" fmla="*/ 57 h 131"/>
                  <a:gd name="T48" fmla="*/ 30 w 67"/>
                  <a:gd name="T49" fmla="*/ 58 h 131"/>
                  <a:gd name="T50" fmla="*/ 33 w 67"/>
                  <a:gd name="T51" fmla="*/ 59 h 131"/>
                  <a:gd name="T52" fmla="*/ 35 w 67"/>
                  <a:gd name="T53" fmla="*/ 65 h 131"/>
                  <a:gd name="T54" fmla="*/ 31 w 67"/>
                  <a:gd name="T55" fmla="*/ 70 h 131"/>
                  <a:gd name="T56" fmla="*/ 21 w 67"/>
                  <a:gd name="T57" fmla="*/ 81 h 131"/>
                  <a:gd name="T58" fmla="*/ 27 w 67"/>
                  <a:gd name="T59" fmla="*/ 86 h 131"/>
                  <a:gd name="T60" fmla="*/ 26 w 67"/>
                  <a:gd name="T61" fmla="*/ 93 h 131"/>
                  <a:gd name="T62" fmla="*/ 36 w 67"/>
                  <a:gd name="T63" fmla="*/ 107 h 131"/>
                  <a:gd name="T64" fmla="*/ 46 w 67"/>
                  <a:gd name="T65" fmla="*/ 131 h 131"/>
                  <a:gd name="T66" fmla="*/ 47 w 67"/>
                  <a:gd name="T67" fmla="*/ 125 h 131"/>
                  <a:gd name="T68" fmla="*/ 53 w 67"/>
                  <a:gd name="T69" fmla="*/ 104 h 131"/>
                  <a:gd name="T70" fmla="*/ 55 w 67"/>
                  <a:gd name="T71" fmla="*/ 96 h 131"/>
                  <a:gd name="T72" fmla="*/ 56 w 67"/>
                  <a:gd name="T73" fmla="*/ 89 h 131"/>
                  <a:gd name="T74" fmla="*/ 63 w 67"/>
                  <a:gd name="T75" fmla="*/ 89 h 131"/>
                  <a:gd name="T76" fmla="*/ 66 w 67"/>
                  <a:gd name="T77" fmla="*/ 82 h 131"/>
                  <a:gd name="T78" fmla="*/ 62 w 67"/>
                  <a:gd name="T79" fmla="*/ 70 h 131"/>
                  <a:gd name="T80" fmla="*/ 53 w 67"/>
                  <a:gd name="T81" fmla="*/ 6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7" h="131">
                    <a:moveTo>
                      <a:pt x="53" y="64"/>
                    </a:moveTo>
                    <a:cubicBezTo>
                      <a:pt x="50" y="63"/>
                      <a:pt x="46" y="64"/>
                      <a:pt x="43" y="62"/>
                    </a:cubicBezTo>
                    <a:cubicBezTo>
                      <a:pt x="41" y="61"/>
                      <a:pt x="40" y="60"/>
                      <a:pt x="38" y="60"/>
                    </a:cubicBezTo>
                    <a:cubicBezTo>
                      <a:pt x="37" y="59"/>
                      <a:pt x="36" y="59"/>
                      <a:pt x="34" y="58"/>
                    </a:cubicBezTo>
                    <a:cubicBezTo>
                      <a:pt x="33" y="55"/>
                      <a:pt x="32" y="52"/>
                      <a:pt x="30" y="48"/>
                    </a:cubicBezTo>
                    <a:cubicBezTo>
                      <a:pt x="29" y="47"/>
                      <a:pt x="26" y="41"/>
                      <a:pt x="31" y="41"/>
                    </a:cubicBezTo>
                    <a:cubicBezTo>
                      <a:pt x="32" y="41"/>
                      <a:pt x="37" y="43"/>
                      <a:pt x="38" y="44"/>
                    </a:cubicBezTo>
                    <a:cubicBezTo>
                      <a:pt x="40" y="46"/>
                      <a:pt x="36" y="52"/>
                      <a:pt x="40" y="53"/>
                    </a:cubicBezTo>
                    <a:cubicBezTo>
                      <a:pt x="46" y="54"/>
                      <a:pt x="53" y="44"/>
                      <a:pt x="53" y="39"/>
                    </a:cubicBezTo>
                    <a:cubicBezTo>
                      <a:pt x="53" y="39"/>
                      <a:pt x="52" y="38"/>
                      <a:pt x="52" y="38"/>
                    </a:cubicBezTo>
                    <a:cubicBezTo>
                      <a:pt x="51" y="34"/>
                      <a:pt x="53" y="32"/>
                      <a:pt x="52" y="29"/>
                    </a:cubicBezTo>
                    <a:cubicBezTo>
                      <a:pt x="51" y="27"/>
                      <a:pt x="50" y="25"/>
                      <a:pt x="50" y="23"/>
                    </a:cubicBezTo>
                    <a:cubicBezTo>
                      <a:pt x="50" y="18"/>
                      <a:pt x="52" y="12"/>
                      <a:pt x="52" y="7"/>
                    </a:cubicBezTo>
                    <a:cubicBezTo>
                      <a:pt x="52" y="5"/>
                      <a:pt x="51" y="4"/>
                      <a:pt x="50" y="4"/>
                    </a:cubicBezTo>
                    <a:cubicBezTo>
                      <a:pt x="46" y="2"/>
                      <a:pt x="35" y="11"/>
                      <a:pt x="35" y="11"/>
                    </a:cubicBezTo>
                    <a:cubicBezTo>
                      <a:pt x="28" y="4"/>
                      <a:pt x="15" y="0"/>
                      <a:pt x="7" y="7"/>
                    </a:cubicBezTo>
                    <a:cubicBezTo>
                      <a:pt x="5" y="9"/>
                      <a:pt x="0" y="12"/>
                      <a:pt x="1" y="15"/>
                    </a:cubicBezTo>
                    <a:cubicBezTo>
                      <a:pt x="2" y="19"/>
                      <a:pt x="3" y="19"/>
                      <a:pt x="6" y="17"/>
                    </a:cubicBezTo>
                    <a:cubicBezTo>
                      <a:pt x="9" y="16"/>
                      <a:pt x="12" y="15"/>
                      <a:pt x="15" y="16"/>
                    </a:cubicBezTo>
                    <a:cubicBezTo>
                      <a:pt x="18" y="19"/>
                      <a:pt x="16" y="22"/>
                      <a:pt x="14" y="24"/>
                    </a:cubicBezTo>
                    <a:cubicBezTo>
                      <a:pt x="11" y="27"/>
                      <a:pt x="10" y="30"/>
                      <a:pt x="8" y="33"/>
                    </a:cubicBezTo>
                    <a:cubicBezTo>
                      <a:pt x="7" y="37"/>
                      <a:pt x="7" y="40"/>
                      <a:pt x="9" y="43"/>
                    </a:cubicBezTo>
                    <a:cubicBezTo>
                      <a:pt x="11" y="46"/>
                      <a:pt x="16" y="46"/>
                      <a:pt x="18" y="48"/>
                    </a:cubicBezTo>
                    <a:cubicBezTo>
                      <a:pt x="19" y="51"/>
                      <a:pt x="20" y="55"/>
                      <a:pt x="23" y="57"/>
                    </a:cubicBezTo>
                    <a:cubicBezTo>
                      <a:pt x="25" y="58"/>
                      <a:pt x="28" y="56"/>
                      <a:pt x="30" y="58"/>
                    </a:cubicBezTo>
                    <a:cubicBezTo>
                      <a:pt x="31" y="58"/>
                      <a:pt x="32" y="58"/>
                      <a:pt x="33" y="59"/>
                    </a:cubicBezTo>
                    <a:cubicBezTo>
                      <a:pt x="34" y="61"/>
                      <a:pt x="35" y="63"/>
                      <a:pt x="35" y="65"/>
                    </a:cubicBezTo>
                    <a:cubicBezTo>
                      <a:pt x="35" y="68"/>
                      <a:pt x="33" y="69"/>
                      <a:pt x="31" y="70"/>
                    </a:cubicBezTo>
                    <a:cubicBezTo>
                      <a:pt x="27" y="72"/>
                      <a:pt x="20" y="76"/>
                      <a:pt x="21" y="81"/>
                    </a:cubicBezTo>
                    <a:cubicBezTo>
                      <a:pt x="22" y="85"/>
                      <a:pt x="26" y="83"/>
                      <a:pt x="27" y="86"/>
                    </a:cubicBezTo>
                    <a:cubicBezTo>
                      <a:pt x="28" y="88"/>
                      <a:pt x="26" y="91"/>
                      <a:pt x="26" y="93"/>
                    </a:cubicBezTo>
                    <a:cubicBezTo>
                      <a:pt x="32" y="95"/>
                      <a:pt x="36" y="100"/>
                      <a:pt x="36" y="107"/>
                    </a:cubicBezTo>
                    <a:cubicBezTo>
                      <a:pt x="36" y="116"/>
                      <a:pt x="39" y="125"/>
                      <a:pt x="46" y="131"/>
                    </a:cubicBezTo>
                    <a:cubicBezTo>
                      <a:pt x="47" y="129"/>
                      <a:pt x="47" y="127"/>
                      <a:pt x="47" y="125"/>
                    </a:cubicBezTo>
                    <a:cubicBezTo>
                      <a:pt x="48" y="117"/>
                      <a:pt x="47" y="110"/>
                      <a:pt x="53" y="104"/>
                    </a:cubicBezTo>
                    <a:cubicBezTo>
                      <a:pt x="55" y="101"/>
                      <a:pt x="55" y="100"/>
                      <a:pt x="55" y="96"/>
                    </a:cubicBezTo>
                    <a:cubicBezTo>
                      <a:pt x="54" y="95"/>
                      <a:pt x="55" y="90"/>
                      <a:pt x="56" y="89"/>
                    </a:cubicBezTo>
                    <a:cubicBezTo>
                      <a:pt x="58" y="90"/>
                      <a:pt x="62" y="91"/>
                      <a:pt x="63" y="89"/>
                    </a:cubicBezTo>
                    <a:cubicBezTo>
                      <a:pt x="64" y="88"/>
                      <a:pt x="66" y="83"/>
                      <a:pt x="66" y="82"/>
                    </a:cubicBezTo>
                    <a:cubicBezTo>
                      <a:pt x="67" y="77"/>
                      <a:pt x="65" y="73"/>
                      <a:pt x="62" y="70"/>
                    </a:cubicBezTo>
                    <a:cubicBezTo>
                      <a:pt x="60" y="67"/>
                      <a:pt x="57" y="65"/>
                      <a:pt x="53" y="6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0" name="Freeform 181"/>
              <p:cNvSpPr>
                <a:spLocks/>
              </p:cNvSpPr>
              <p:nvPr/>
            </p:nvSpPr>
            <p:spPr bwMode="gray">
              <a:xfrm>
                <a:off x="4758" y="4625"/>
                <a:ext cx="24" cy="46"/>
              </a:xfrm>
              <a:custGeom>
                <a:avLst/>
                <a:gdLst>
                  <a:gd name="T0" fmla="*/ 14 w 15"/>
                  <a:gd name="T1" fmla="*/ 2 h 29"/>
                  <a:gd name="T2" fmla="*/ 2 w 15"/>
                  <a:gd name="T3" fmla="*/ 16 h 29"/>
                  <a:gd name="T4" fmla="*/ 14 w 15"/>
                  <a:gd name="T5" fmla="*/ 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9">
                    <a:moveTo>
                      <a:pt x="14" y="2"/>
                    </a:moveTo>
                    <a:cubicBezTo>
                      <a:pt x="6" y="0"/>
                      <a:pt x="0" y="7"/>
                      <a:pt x="2" y="16"/>
                    </a:cubicBezTo>
                    <a:cubicBezTo>
                      <a:pt x="6" y="29"/>
                      <a:pt x="15" y="8"/>
                      <a:pt x="14" y="2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1" name="Freeform 182"/>
              <p:cNvSpPr>
                <a:spLocks/>
              </p:cNvSpPr>
              <p:nvPr/>
            </p:nvSpPr>
            <p:spPr bwMode="gray">
              <a:xfrm>
                <a:off x="4775" y="4636"/>
                <a:ext cx="159" cy="194"/>
              </a:xfrm>
              <a:custGeom>
                <a:avLst/>
                <a:gdLst>
                  <a:gd name="T0" fmla="*/ 64 w 100"/>
                  <a:gd name="T1" fmla="*/ 24 h 122"/>
                  <a:gd name="T2" fmla="*/ 61 w 100"/>
                  <a:gd name="T3" fmla="*/ 16 h 122"/>
                  <a:gd name="T4" fmla="*/ 55 w 100"/>
                  <a:gd name="T5" fmla="*/ 12 h 122"/>
                  <a:gd name="T6" fmla="*/ 55 w 100"/>
                  <a:gd name="T7" fmla="*/ 9 h 122"/>
                  <a:gd name="T8" fmla="*/ 52 w 100"/>
                  <a:gd name="T9" fmla="*/ 9 h 122"/>
                  <a:gd name="T10" fmla="*/ 59 w 100"/>
                  <a:gd name="T11" fmla="*/ 2 h 122"/>
                  <a:gd name="T12" fmla="*/ 52 w 100"/>
                  <a:gd name="T13" fmla="*/ 3 h 122"/>
                  <a:gd name="T14" fmla="*/ 47 w 100"/>
                  <a:gd name="T15" fmla="*/ 9 h 122"/>
                  <a:gd name="T16" fmla="*/ 26 w 100"/>
                  <a:gd name="T17" fmla="*/ 2 h 122"/>
                  <a:gd name="T18" fmla="*/ 11 w 100"/>
                  <a:gd name="T19" fmla="*/ 10 h 122"/>
                  <a:gd name="T20" fmla="*/ 5 w 100"/>
                  <a:gd name="T21" fmla="*/ 11 h 122"/>
                  <a:gd name="T22" fmla="*/ 10 w 100"/>
                  <a:gd name="T23" fmla="*/ 14 h 122"/>
                  <a:gd name="T24" fmla="*/ 10 w 100"/>
                  <a:gd name="T25" fmla="*/ 16 h 122"/>
                  <a:gd name="T26" fmla="*/ 3 w 100"/>
                  <a:gd name="T27" fmla="*/ 20 h 122"/>
                  <a:gd name="T28" fmla="*/ 0 w 100"/>
                  <a:gd name="T29" fmla="*/ 26 h 122"/>
                  <a:gd name="T30" fmla="*/ 0 w 100"/>
                  <a:gd name="T31" fmla="*/ 31 h 122"/>
                  <a:gd name="T32" fmla="*/ 5 w 100"/>
                  <a:gd name="T33" fmla="*/ 39 h 122"/>
                  <a:gd name="T34" fmla="*/ 11 w 100"/>
                  <a:gd name="T35" fmla="*/ 36 h 122"/>
                  <a:gd name="T36" fmla="*/ 14 w 100"/>
                  <a:gd name="T37" fmla="*/ 25 h 122"/>
                  <a:gd name="T38" fmla="*/ 19 w 100"/>
                  <a:gd name="T39" fmla="*/ 34 h 122"/>
                  <a:gd name="T40" fmla="*/ 20 w 100"/>
                  <a:gd name="T41" fmla="*/ 34 h 122"/>
                  <a:gd name="T42" fmla="*/ 21 w 100"/>
                  <a:gd name="T43" fmla="*/ 26 h 122"/>
                  <a:gd name="T44" fmla="*/ 30 w 100"/>
                  <a:gd name="T45" fmla="*/ 35 h 122"/>
                  <a:gd name="T46" fmla="*/ 28 w 100"/>
                  <a:gd name="T47" fmla="*/ 40 h 122"/>
                  <a:gd name="T48" fmla="*/ 21 w 100"/>
                  <a:gd name="T49" fmla="*/ 38 h 122"/>
                  <a:gd name="T50" fmla="*/ 13 w 100"/>
                  <a:gd name="T51" fmla="*/ 44 h 122"/>
                  <a:gd name="T52" fmla="*/ 6 w 100"/>
                  <a:gd name="T53" fmla="*/ 73 h 122"/>
                  <a:gd name="T54" fmla="*/ 22 w 100"/>
                  <a:gd name="T55" fmla="*/ 71 h 122"/>
                  <a:gd name="T56" fmla="*/ 26 w 100"/>
                  <a:gd name="T57" fmla="*/ 82 h 122"/>
                  <a:gd name="T58" fmla="*/ 27 w 100"/>
                  <a:gd name="T59" fmla="*/ 111 h 122"/>
                  <a:gd name="T60" fmla="*/ 30 w 100"/>
                  <a:gd name="T61" fmla="*/ 122 h 122"/>
                  <a:gd name="T62" fmla="*/ 36 w 100"/>
                  <a:gd name="T63" fmla="*/ 111 h 122"/>
                  <a:gd name="T64" fmla="*/ 44 w 100"/>
                  <a:gd name="T65" fmla="*/ 85 h 122"/>
                  <a:gd name="T66" fmla="*/ 48 w 100"/>
                  <a:gd name="T67" fmla="*/ 75 h 122"/>
                  <a:gd name="T68" fmla="*/ 39 w 100"/>
                  <a:gd name="T69" fmla="*/ 65 h 122"/>
                  <a:gd name="T70" fmla="*/ 49 w 100"/>
                  <a:gd name="T71" fmla="*/ 74 h 122"/>
                  <a:gd name="T72" fmla="*/ 52 w 100"/>
                  <a:gd name="T73" fmla="*/ 60 h 122"/>
                  <a:gd name="T74" fmla="*/ 59 w 100"/>
                  <a:gd name="T75" fmla="*/ 70 h 122"/>
                  <a:gd name="T76" fmla="*/ 59 w 100"/>
                  <a:gd name="T77" fmla="*/ 88 h 122"/>
                  <a:gd name="T78" fmla="*/ 63 w 100"/>
                  <a:gd name="T79" fmla="*/ 99 h 122"/>
                  <a:gd name="T80" fmla="*/ 65 w 100"/>
                  <a:gd name="T81" fmla="*/ 87 h 122"/>
                  <a:gd name="T82" fmla="*/ 70 w 100"/>
                  <a:gd name="T83" fmla="*/ 73 h 122"/>
                  <a:gd name="T84" fmla="*/ 84 w 100"/>
                  <a:gd name="T85" fmla="*/ 81 h 122"/>
                  <a:gd name="T86" fmla="*/ 88 w 100"/>
                  <a:gd name="T87" fmla="*/ 70 h 122"/>
                  <a:gd name="T88" fmla="*/ 97 w 100"/>
                  <a:gd name="T89" fmla="*/ 62 h 122"/>
                  <a:gd name="T90" fmla="*/ 98 w 100"/>
                  <a:gd name="T91" fmla="*/ 49 h 122"/>
                  <a:gd name="T92" fmla="*/ 85 w 100"/>
                  <a:gd name="T93" fmla="*/ 44 h 122"/>
                  <a:gd name="T94" fmla="*/ 88 w 100"/>
                  <a:gd name="T95" fmla="*/ 36 h 122"/>
                  <a:gd name="T96" fmla="*/ 85 w 100"/>
                  <a:gd name="T97" fmla="*/ 32 h 122"/>
                  <a:gd name="T98" fmla="*/ 88 w 100"/>
                  <a:gd name="T99" fmla="*/ 27 h 122"/>
                  <a:gd name="T100" fmla="*/ 100 w 100"/>
                  <a:gd name="T101" fmla="*/ 25 h 122"/>
                  <a:gd name="T102" fmla="*/ 96 w 100"/>
                  <a:gd name="T103" fmla="*/ 19 h 122"/>
                  <a:gd name="T104" fmla="*/ 90 w 100"/>
                  <a:gd name="T105" fmla="*/ 6 h 122"/>
                  <a:gd name="T106" fmla="*/ 84 w 100"/>
                  <a:gd name="T107" fmla="*/ 9 h 122"/>
                  <a:gd name="T108" fmla="*/ 74 w 100"/>
                  <a:gd name="T109" fmla="*/ 17 h 122"/>
                  <a:gd name="T110" fmla="*/ 64 w 100"/>
                  <a:gd name="T111" fmla="*/ 2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122">
                    <a:moveTo>
                      <a:pt x="64" y="24"/>
                    </a:moveTo>
                    <a:cubicBezTo>
                      <a:pt x="62" y="23"/>
                      <a:pt x="62" y="18"/>
                      <a:pt x="61" y="16"/>
                    </a:cubicBezTo>
                    <a:cubicBezTo>
                      <a:pt x="59" y="13"/>
                      <a:pt x="58" y="12"/>
                      <a:pt x="55" y="12"/>
                    </a:cubicBezTo>
                    <a:cubicBezTo>
                      <a:pt x="55" y="11"/>
                      <a:pt x="55" y="10"/>
                      <a:pt x="55" y="9"/>
                    </a:cubicBezTo>
                    <a:cubicBezTo>
                      <a:pt x="54" y="9"/>
                      <a:pt x="53" y="9"/>
                      <a:pt x="52" y="9"/>
                    </a:cubicBezTo>
                    <a:cubicBezTo>
                      <a:pt x="51" y="5"/>
                      <a:pt x="58" y="5"/>
                      <a:pt x="59" y="2"/>
                    </a:cubicBezTo>
                    <a:cubicBezTo>
                      <a:pt x="57" y="2"/>
                      <a:pt x="54" y="2"/>
                      <a:pt x="52" y="3"/>
                    </a:cubicBezTo>
                    <a:cubicBezTo>
                      <a:pt x="50" y="5"/>
                      <a:pt x="49" y="8"/>
                      <a:pt x="47" y="9"/>
                    </a:cubicBezTo>
                    <a:cubicBezTo>
                      <a:pt x="42" y="11"/>
                      <a:pt x="31" y="3"/>
                      <a:pt x="26" y="2"/>
                    </a:cubicBezTo>
                    <a:cubicBezTo>
                      <a:pt x="18" y="0"/>
                      <a:pt x="14" y="3"/>
                      <a:pt x="11" y="10"/>
                    </a:cubicBezTo>
                    <a:cubicBezTo>
                      <a:pt x="9" y="10"/>
                      <a:pt x="7" y="9"/>
                      <a:pt x="5" y="11"/>
                    </a:cubicBezTo>
                    <a:cubicBezTo>
                      <a:pt x="6" y="12"/>
                      <a:pt x="8" y="13"/>
                      <a:pt x="10" y="14"/>
                    </a:cubicBezTo>
                    <a:cubicBezTo>
                      <a:pt x="10" y="14"/>
                      <a:pt x="10" y="15"/>
                      <a:pt x="10" y="16"/>
                    </a:cubicBezTo>
                    <a:cubicBezTo>
                      <a:pt x="9" y="16"/>
                      <a:pt x="4" y="19"/>
                      <a:pt x="3" y="20"/>
                    </a:cubicBezTo>
                    <a:cubicBezTo>
                      <a:pt x="1" y="22"/>
                      <a:pt x="1" y="23"/>
                      <a:pt x="0" y="26"/>
                    </a:cubicBezTo>
                    <a:cubicBezTo>
                      <a:pt x="0" y="27"/>
                      <a:pt x="0" y="29"/>
                      <a:pt x="0" y="31"/>
                    </a:cubicBezTo>
                    <a:cubicBezTo>
                      <a:pt x="0" y="35"/>
                      <a:pt x="1" y="38"/>
                      <a:pt x="5" y="39"/>
                    </a:cubicBezTo>
                    <a:cubicBezTo>
                      <a:pt x="7" y="40"/>
                      <a:pt x="10" y="39"/>
                      <a:pt x="11" y="36"/>
                    </a:cubicBezTo>
                    <a:cubicBezTo>
                      <a:pt x="13" y="33"/>
                      <a:pt x="8" y="24"/>
                      <a:pt x="14" y="25"/>
                    </a:cubicBezTo>
                    <a:cubicBezTo>
                      <a:pt x="18" y="25"/>
                      <a:pt x="18" y="31"/>
                      <a:pt x="19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1" y="31"/>
                      <a:pt x="21" y="28"/>
                      <a:pt x="21" y="26"/>
                    </a:cubicBezTo>
                    <a:cubicBezTo>
                      <a:pt x="26" y="24"/>
                      <a:pt x="29" y="32"/>
                      <a:pt x="30" y="35"/>
                    </a:cubicBezTo>
                    <a:cubicBezTo>
                      <a:pt x="31" y="38"/>
                      <a:pt x="33" y="39"/>
                      <a:pt x="28" y="40"/>
                    </a:cubicBezTo>
                    <a:cubicBezTo>
                      <a:pt x="25" y="41"/>
                      <a:pt x="23" y="40"/>
                      <a:pt x="21" y="38"/>
                    </a:cubicBezTo>
                    <a:cubicBezTo>
                      <a:pt x="18" y="40"/>
                      <a:pt x="17" y="43"/>
                      <a:pt x="13" y="44"/>
                    </a:cubicBezTo>
                    <a:cubicBezTo>
                      <a:pt x="4" y="49"/>
                      <a:pt x="2" y="63"/>
                      <a:pt x="6" y="73"/>
                    </a:cubicBezTo>
                    <a:cubicBezTo>
                      <a:pt x="10" y="79"/>
                      <a:pt x="18" y="73"/>
                      <a:pt x="22" y="71"/>
                    </a:cubicBezTo>
                    <a:cubicBezTo>
                      <a:pt x="22" y="75"/>
                      <a:pt x="25" y="79"/>
                      <a:pt x="26" y="82"/>
                    </a:cubicBezTo>
                    <a:cubicBezTo>
                      <a:pt x="29" y="92"/>
                      <a:pt x="27" y="101"/>
                      <a:pt x="27" y="111"/>
                    </a:cubicBezTo>
                    <a:cubicBezTo>
                      <a:pt x="27" y="113"/>
                      <a:pt x="27" y="121"/>
                      <a:pt x="30" y="122"/>
                    </a:cubicBezTo>
                    <a:cubicBezTo>
                      <a:pt x="33" y="122"/>
                      <a:pt x="35" y="113"/>
                      <a:pt x="36" y="111"/>
                    </a:cubicBezTo>
                    <a:cubicBezTo>
                      <a:pt x="39" y="102"/>
                      <a:pt x="39" y="93"/>
                      <a:pt x="44" y="85"/>
                    </a:cubicBezTo>
                    <a:cubicBezTo>
                      <a:pt x="46" y="81"/>
                      <a:pt x="49" y="79"/>
                      <a:pt x="48" y="75"/>
                    </a:cubicBezTo>
                    <a:cubicBezTo>
                      <a:pt x="46" y="71"/>
                      <a:pt x="38" y="70"/>
                      <a:pt x="39" y="65"/>
                    </a:cubicBezTo>
                    <a:cubicBezTo>
                      <a:pt x="39" y="66"/>
                      <a:pt x="47" y="74"/>
                      <a:pt x="49" y="74"/>
                    </a:cubicBezTo>
                    <a:cubicBezTo>
                      <a:pt x="57" y="75"/>
                      <a:pt x="49" y="63"/>
                      <a:pt x="52" y="60"/>
                    </a:cubicBezTo>
                    <a:cubicBezTo>
                      <a:pt x="56" y="56"/>
                      <a:pt x="59" y="67"/>
                      <a:pt x="59" y="70"/>
                    </a:cubicBezTo>
                    <a:cubicBezTo>
                      <a:pt x="60" y="76"/>
                      <a:pt x="59" y="82"/>
                      <a:pt x="59" y="88"/>
                    </a:cubicBezTo>
                    <a:cubicBezTo>
                      <a:pt x="59" y="90"/>
                      <a:pt x="58" y="100"/>
                      <a:pt x="63" y="99"/>
                    </a:cubicBezTo>
                    <a:cubicBezTo>
                      <a:pt x="66" y="98"/>
                      <a:pt x="64" y="90"/>
                      <a:pt x="65" y="87"/>
                    </a:cubicBezTo>
                    <a:cubicBezTo>
                      <a:pt x="65" y="84"/>
                      <a:pt x="68" y="74"/>
                      <a:pt x="70" y="73"/>
                    </a:cubicBezTo>
                    <a:cubicBezTo>
                      <a:pt x="75" y="71"/>
                      <a:pt x="78" y="82"/>
                      <a:pt x="84" y="81"/>
                    </a:cubicBezTo>
                    <a:cubicBezTo>
                      <a:pt x="85" y="76"/>
                      <a:pt x="84" y="74"/>
                      <a:pt x="88" y="70"/>
                    </a:cubicBezTo>
                    <a:cubicBezTo>
                      <a:pt x="91" y="67"/>
                      <a:pt x="95" y="66"/>
                      <a:pt x="97" y="62"/>
                    </a:cubicBezTo>
                    <a:cubicBezTo>
                      <a:pt x="98" y="59"/>
                      <a:pt x="99" y="52"/>
                      <a:pt x="98" y="49"/>
                    </a:cubicBezTo>
                    <a:cubicBezTo>
                      <a:pt x="96" y="43"/>
                      <a:pt x="90" y="45"/>
                      <a:pt x="85" y="44"/>
                    </a:cubicBezTo>
                    <a:cubicBezTo>
                      <a:pt x="84" y="40"/>
                      <a:pt x="88" y="39"/>
                      <a:pt x="88" y="36"/>
                    </a:cubicBezTo>
                    <a:cubicBezTo>
                      <a:pt x="88" y="34"/>
                      <a:pt x="85" y="34"/>
                      <a:pt x="85" y="32"/>
                    </a:cubicBezTo>
                    <a:cubicBezTo>
                      <a:pt x="86" y="31"/>
                      <a:pt x="88" y="28"/>
                      <a:pt x="88" y="27"/>
                    </a:cubicBezTo>
                    <a:cubicBezTo>
                      <a:pt x="91" y="24"/>
                      <a:pt x="95" y="21"/>
                      <a:pt x="100" y="25"/>
                    </a:cubicBezTo>
                    <a:cubicBezTo>
                      <a:pt x="100" y="23"/>
                      <a:pt x="100" y="19"/>
                      <a:pt x="96" y="19"/>
                    </a:cubicBezTo>
                    <a:cubicBezTo>
                      <a:pt x="96" y="16"/>
                      <a:pt x="94" y="8"/>
                      <a:pt x="90" y="6"/>
                    </a:cubicBezTo>
                    <a:cubicBezTo>
                      <a:pt x="87" y="4"/>
                      <a:pt x="87" y="7"/>
                      <a:pt x="84" y="9"/>
                    </a:cubicBezTo>
                    <a:cubicBezTo>
                      <a:pt x="81" y="12"/>
                      <a:pt x="77" y="14"/>
                      <a:pt x="74" y="17"/>
                    </a:cubicBezTo>
                    <a:cubicBezTo>
                      <a:pt x="72" y="20"/>
                      <a:pt x="67" y="26"/>
                      <a:pt x="64" y="24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2" name="Freeform 183"/>
              <p:cNvSpPr>
                <a:spLocks/>
              </p:cNvSpPr>
              <p:nvPr/>
            </p:nvSpPr>
            <p:spPr bwMode="gray">
              <a:xfrm>
                <a:off x="4893" y="4783"/>
                <a:ext cx="36" cy="49"/>
              </a:xfrm>
              <a:custGeom>
                <a:avLst/>
                <a:gdLst>
                  <a:gd name="T0" fmla="*/ 21 w 23"/>
                  <a:gd name="T1" fmla="*/ 0 h 31"/>
                  <a:gd name="T2" fmla="*/ 15 w 23"/>
                  <a:gd name="T3" fmla="*/ 6 h 31"/>
                  <a:gd name="T4" fmla="*/ 14 w 23"/>
                  <a:gd name="T5" fmla="*/ 0 h 31"/>
                  <a:gd name="T6" fmla="*/ 3 w 23"/>
                  <a:gd name="T7" fmla="*/ 10 h 31"/>
                  <a:gd name="T8" fmla="*/ 3 w 23"/>
                  <a:gd name="T9" fmla="*/ 9 h 31"/>
                  <a:gd name="T10" fmla="*/ 3 w 23"/>
                  <a:gd name="T11" fmla="*/ 11 h 31"/>
                  <a:gd name="T12" fmla="*/ 0 w 23"/>
                  <a:gd name="T13" fmla="*/ 23 h 31"/>
                  <a:gd name="T14" fmla="*/ 0 w 23"/>
                  <a:gd name="T15" fmla="*/ 23 h 31"/>
                  <a:gd name="T16" fmla="*/ 2 w 23"/>
                  <a:gd name="T17" fmla="*/ 29 h 31"/>
                  <a:gd name="T18" fmla="*/ 17 w 23"/>
                  <a:gd name="T19" fmla="*/ 22 h 31"/>
                  <a:gd name="T20" fmla="*/ 22 w 23"/>
                  <a:gd name="T21" fmla="*/ 23 h 31"/>
                  <a:gd name="T22" fmla="*/ 21 w 23"/>
                  <a:gd name="T23" fmla="*/ 15 h 31"/>
                  <a:gd name="T24" fmla="*/ 21 w 23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31">
                    <a:moveTo>
                      <a:pt x="21" y="0"/>
                    </a:moveTo>
                    <a:cubicBezTo>
                      <a:pt x="20" y="1"/>
                      <a:pt x="16" y="6"/>
                      <a:pt x="15" y="6"/>
                    </a:cubicBezTo>
                    <a:cubicBezTo>
                      <a:pt x="10" y="8"/>
                      <a:pt x="13" y="2"/>
                      <a:pt x="14" y="0"/>
                    </a:cubicBezTo>
                    <a:cubicBezTo>
                      <a:pt x="10" y="2"/>
                      <a:pt x="6" y="6"/>
                      <a:pt x="3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1"/>
                    </a:cubicBezTo>
                    <a:cubicBezTo>
                      <a:pt x="1" y="15"/>
                      <a:pt x="0" y="19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6"/>
                      <a:pt x="0" y="29"/>
                      <a:pt x="2" y="29"/>
                    </a:cubicBezTo>
                    <a:cubicBezTo>
                      <a:pt x="9" y="31"/>
                      <a:pt x="11" y="21"/>
                      <a:pt x="17" y="22"/>
                    </a:cubicBezTo>
                    <a:cubicBezTo>
                      <a:pt x="18" y="25"/>
                      <a:pt x="20" y="26"/>
                      <a:pt x="22" y="23"/>
                    </a:cubicBezTo>
                    <a:cubicBezTo>
                      <a:pt x="23" y="22"/>
                      <a:pt x="22" y="17"/>
                      <a:pt x="21" y="15"/>
                    </a:cubicBezTo>
                    <a:cubicBezTo>
                      <a:pt x="20" y="10"/>
                      <a:pt x="19" y="6"/>
                      <a:pt x="21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2" name="Groupe 382"/>
          <p:cNvGrpSpPr/>
          <p:nvPr/>
        </p:nvGrpSpPr>
        <p:grpSpPr bwMode="gray">
          <a:xfrm>
            <a:off x="5909186" y="5086214"/>
            <a:ext cx="529550" cy="529613"/>
            <a:chOff x="8967902" y="7088857"/>
            <a:chExt cx="772352" cy="772352"/>
          </a:xfrm>
        </p:grpSpPr>
        <p:sp>
          <p:nvSpPr>
            <p:cNvPr id="384" name="Ellipse 383"/>
            <p:cNvSpPr/>
            <p:nvPr/>
          </p:nvSpPr>
          <p:spPr bwMode="gray">
            <a:xfrm>
              <a:off x="8967902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5" name="Freeform 187"/>
            <p:cNvSpPr>
              <a:spLocks noEditPoints="1"/>
            </p:cNvSpPr>
            <p:nvPr/>
          </p:nvSpPr>
          <p:spPr bwMode="gray">
            <a:xfrm>
              <a:off x="9140359" y="7276680"/>
              <a:ext cx="427438" cy="396706"/>
            </a:xfrm>
            <a:custGeom>
              <a:avLst/>
              <a:gdLst>
                <a:gd name="T0" fmla="*/ 174 w 193"/>
                <a:gd name="T1" fmla="*/ 5 h 179"/>
                <a:gd name="T2" fmla="*/ 153 w 193"/>
                <a:gd name="T3" fmla="*/ 5 h 179"/>
                <a:gd name="T4" fmla="*/ 67 w 193"/>
                <a:gd name="T5" fmla="*/ 91 h 179"/>
                <a:gd name="T6" fmla="*/ 17 w 193"/>
                <a:gd name="T7" fmla="*/ 100 h 179"/>
                <a:gd name="T8" fmla="*/ 17 w 193"/>
                <a:gd name="T9" fmla="*/ 162 h 179"/>
                <a:gd name="T10" fmla="*/ 79 w 193"/>
                <a:gd name="T11" fmla="*/ 162 h 179"/>
                <a:gd name="T12" fmla="*/ 88 w 193"/>
                <a:gd name="T13" fmla="*/ 112 h 179"/>
                <a:gd name="T14" fmla="*/ 141 w 193"/>
                <a:gd name="T15" fmla="*/ 59 h 179"/>
                <a:gd name="T16" fmla="*/ 154 w 193"/>
                <a:gd name="T17" fmla="*/ 73 h 179"/>
                <a:gd name="T18" fmla="*/ 169 w 193"/>
                <a:gd name="T19" fmla="*/ 58 h 179"/>
                <a:gd name="T20" fmla="*/ 175 w 193"/>
                <a:gd name="T21" fmla="*/ 64 h 179"/>
                <a:gd name="T22" fmla="*/ 193 w 193"/>
                <a:gd name="T23" fmla="*/ 45 h 179"/>
                <a:gd name="T24" fmla="*/ 174 w 193"/>
                <a:gd name="T25" fmla="*/ 26 h 179"/>
                <a:gd name="T26" fmla="*/ 174 w 193"/>
                <a:gd name="T27" fmla="*/ 5 h 179"/>
                <a:gd name="T28" fmla="*/ 68 w 193"/>
                <a:gd name="T29" fmla="*/ 151 h 179"/>
                <a:gd name="T30" fmla="*/ 29 w 193"/>
                <a:gd name="T31" fmla="*/ 151 h 179"/>
                <a:gd name="T32" fmla="*/ 29 w 193"/>
                <a:gd name="T33" fmla="*/ 111 h 179"/>
                <a:gd name="T34" fmla="*/ 68 w 193"/>
                <a:gd name="T35" fmla="*/ 111 h 179"/>
                <a:gd name="T36" fmla="*/ 68 w 193"/>
                <a:gd name="T37" fmla="*/ 15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3" h="179">
                  <a:moveTo>
                    <a:pt x="174" y="5"/>
                  </a:moveTo>
                  <a:cubicBezTo>
                    <a:pt x="168" y="0"/>
                    <a:pt x="159" y="0"/>
                    <a:pt x="153" y="5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1" y="84"/>
                    <a:pt x="31" y="87"/>
                    <a:pt x="17" y="100"/>
                  </a:cubicBezTo>
                  <a:cubicBezTo>
                    <a:pt x="0" y="117"/>
                    <a:pt x="0" y="145"/>
                    <a:pt x="17" y="162"/>
                  </a:cubicBezTo>
                  <a:cubicBezTo>
                    <a:pt x="34" y="179"/>
                    <a:pt x="62" y="179"/>
                    <a:pt x="79" y="162"/>
                  </a:cubicBezTo>
                  <a:cubicBezTo>
                    <a:pt x="93" y="148"/>
                    <a:pt x="95" y="128"/>
                    <a:pt x="88" y="112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54" y="73"/>
                    <a:pt x="154" y="73"/>
                    <a:pt x="154" y="73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93" y="45"/>
                    <a:pt x="193" y="45"/>
                    <a:pt x="193" y="45"/>
                  </a:cubicBezTo>
                  <a:cubicBezTo>
                    <a:pt x="174" y="26"/>
                    <a:pt x="174" y="26"/>
                    <a:pt x="174" y="26"/>
                  </a:cubicBezTo>
                  <a:cubicBezTo>
                    <a:pt x="180" y="20"/>
                    <a:pt x="179" y="11"/>
                    <a:pt x="174" y="5"/>
                  </a:cubicBezTo>
                  <a:close/>
                  <a:moveTo>
                    <a:pt x="68" y="151"/>
                  </a:moveTo>
                  <a:cubicBezTo>
                    <a:pt x="57" y="162"/>
                    <a:pt x="39" y="162"/>
                    <a:pt x="29" y="151"/>
                  </a:cubicBezTo>
                  <a:cubicBezTo>
                    <a:pt x="18" y="140"/>
                    <a:pt x="18" y="122"/>
                    <a:pt x="29" y="111"/>
                  </a:cubicBezTo>
                  <a:cubicBezTo>
                    <a:pt x="39" y="100"/>
                    <a:pt x="57" y="100"/>
                    <a:pt x="68" y="111"/>
                  </a:cubicBezTo>
                  <a:cubicBezTo>
                    <a:pt x="79" y="122"/>
                    <a:pt x="79" y="140"/>
                    <a:pt x="68" y="151"/>
                  </a:cubicBez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3" name="Groupe 385"/>
          <p:cNvGrpSpPr/>
          <p:nvPr/>
        </p:nvGrpSpPr>
        <p:grpSpPr bwMode="gray">
          <a:xfrm>
            <a:off x="6959462" y="5086214"/>
            <a:ext cx="529550" cy="529613"/>
            <a:chOff x="10518398" y="7088857"/>
            <a:chExt cx="772352" cy="772352"/>
          </a:xfrm>
        </p:grpSpPr>
        <p:sp>
          <p:nvSpPr>
            <p:cNvPr id="387" name="Ellipse 386"/>
            <p:cNvSpPr/>
            <p:nvPr/>
          </p:nvSpPr>
          <p:spPr bwMode="gray">
            <a:xfrm>
              <a:off x="10518398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4" name="Group 190"/>
            <p:cNvGrpSpPr>
              <a:grpSpLocks noChangeAspect="1"/>
            </p:cNvGrpSpPr>
            <p:nvPr/>
          </p:nvGrpSpPr>
          <p:grpSpPr bwMode="gray">
            <a:xfrm>
              <a:off x="10661437" y="7231897"/>
              <a:ext cx="486274" cy="486272"/>
              <a:chOff x="6696" y="4597"/>
              <a:chExt cx="270" cy="270"/>
            </a:xfrm>
          </p:grpSpPr>
          <p:sp>
            <p:nvSpPr>
              <p:cNvPr id="389" name="Freeform 191"/>
              <p:cNvSpPr>
                <a:spLocks/>
              </p:cNvSpPr>
              <p:nvPr/>
            </p:nvSpPr>
            <p:spPr bwMode="gray">
              <a:xfrm>
                <a:off x="6731" y="4632"/>
                <a:ext cx="43" cy="44"/>
              </a:xfrm>
              <a:custGeom>
                <a:avLst/>
                <a:gdLst>
                  <a:gd name="T0" fmla="*/ 13 w 27"/>
                  <a:gd name="T1" fmla="*/ 25 h 28"/>
                  <a:gd name="T2" fmla="*/ 24 w 27"/>
                  <a:gd name="T3" fmla="*/ 25 h 28"/>
                  <a:gd name="T4" fmla="*/ 24 w 27"/>
                  <a:gd name="T5" fmla="*/ 14 h 28"/>
                  <a:gd name="T6" fmla="*/ 14 w 27"/>
                  <a:gd name="T7" fmla="*/ 3 h 28"/>
                  <a:gd name="T8" fmla="*/ 3 w 27"/>
                  <a:gd name="T9" fmla="*/ 3 h 28"/>
                  <a:gd name="T10" fmla="*/ 3 w 27"/>
                  <a:gd name="T11" fmla="*/ 14 h 28"/>
                  <a:gd name="T12" fmla="*/ 13 w 27"/>
                  <a:gd name="T13" fmla="*/ 2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8">
                    <a:moveTo>
                      <a:pt x="13" y="25"/>
                    </a:moveTo>
                    <a:cubicBezTo>
                      <a:pt x="16" y="28"/>
                      <a:pt x="21" y="28"/>
                      <a:pt x="24" y="25"/>
                    </a:cubicBezTo>
                    <a:cubicBezTo>
                      <a:pt x="27" y="22"/>
                      <a:pt x="27" y="17"/>
                      <a:pt x="24" y="1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0" y="0"/>
                      <a:pt x="6" y="0"/>
                      <a:pt x="3" y="3"/>
                    </a:cubicBezTo>
                    <a:cubicBezTo>
                      <a:pt x="0" y="6"/>
                      <a:pt x="0" y="11"/>
                      <a:pt x="3" y="14"/>
                    </a:cubicBezTo>
                    <a:lnTo>
                      <a:pt x="13" y="25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0" name="Freeform 192"/>
              <p:cNvSpPr>
                <a:spLocks/>
              </p:cNvSpPr>
              <p:nvPr/>
            </p:nvSpPr>
            <p:spPr bwMode="gray">
              <a:xfrm>
                <a:off x="6917" y="4721"/>
                <a:ext cx="49" cy="24"/>
              </a:xfrm>
              <a:custGeom>
                <a:avLst/>
                <a:gdLst>
                  <a:gd name="T0" fmla="*/ 23 w 31"/>
                  <a:gd name="T1" fmla="*/ 0 h 15"/>
                  <a:gd name="T2" fmla="*/ 8 w 31"/>
                  <a:gd name="T3" fmla="*/ 0 h 15"/>
                  <a:gd name="T4" fmla="*/ 0 w 31"/>
                  <a:gd name="T5" fmla="*/ 7 h 15"/>
                  <a:gd name="T6" fmla="*/ 8 w 31"/>
                  <a:gd name="T7" fmla="*/ 15 h 15"/>
                  <a:gd name="T8" fmla="*/ 23 w 31"/>
                  <a:gd name="T9" fmla="*/ 15 h 15"/>
                  <a:gd name="T10" fmla="*/ 31 w 31"/>
                  <a:gd name="T11" fmla="*/ 7 h 15"/>
                  <a:gd name="T12" fmla="*/ 23 w 31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5">
                    <a:moveTo>
                      <a:pt x="23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2"/>
                      <a:pt x="3" y="15"/>
                      <a:pt x="8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7" y="15"/>
                      <a:pt x="31" y="12"/>
                      <a:pt x="31" y="7"/>
                    </a:cubicBezTo>
                    <a:cubicBezTo>
                      <a:pt x="31" y="3"/>
                      <a:pt x="27" y="0"/>
                      <a:pt x="23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1" name="Freeform 193"/>
              <p:cNvSpPr>
                <a:spLocks/>
              </p:cNvSpPr>
              <p:nvPr/>
            </p:nvSpPr>
            <p:spPr bwMode="gray">
              <a:xfrm>
                <a:off x="6696" y="4721"/>
                <a:ext cx="49" cy="24"/>
              </a:xfrm>
              <a:custGeom>
                <a:avLst/>
                <a:gdLst>
                  <a:gd name="T0" fmla="*/ 31 w 31"/>
                  <a:gd name="T1" fmla="*/ 7 h 15"/>
                  <a:gd name="T2" fmla="*/ 23 w 31"/>
                  <a:gd name="T3" fmla="*/ 0 h 15"/>
                  <a:gd name="T4" fmla="*/ 7 w 31"/>
                  <a:gd name="T5" fmla="*/ 0 h 15"/>
                  <a:gd name="T6" fmla="*/ 0 w 31"/>
                  <a:gd name="T7" fmla="*/ 7 h 15"/>
                  <a:gd name="T8" fmla="*/ 7 w 31"/>
                  <a:gd name="T9" fmla="*/ 15 h 15"/>
                  <a:gd name="T10" fmla="*/ 23 w 31"/>
                  <a:gd name="T11" fmla="*/ 15 h 15"/>
                  <a:gd name="T12" fmla="*/ 31 w 31"/>
                  <a:gd name="T1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5">
                    <a:moveTo>
                      <a:pt x="31" y="7"/>
                    </a:moveTo>
                    <a:cubicBezTo>
                      <a:pt x="31" y="3"/>
                      <a:pt x="27" y="0"/>
                      <a:pt x="2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2"/>
                      <a:pt x="3" y="15"/>
                      <a:pt x="7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7" y="15"/>
                      <a:pt x="31" y="12"/>
                      <a:pt x="31" y="7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2" name="Freeform 194"/>
              <p:cNvSpPr>
                <a:spLocks noEditPoints="1"/>
              </p:cNvSpPr>
              <p:nvPr/>
            </p:nvSpPr>
            <p:spPr bwMode="gray">
              <a:xfrm>
                <a:off x="6756" y="4659"/>
                <a:ext cx="148" cy="148"/>
              </a:xfrm>
              <a:custGeom>
                <a:avLst/>
                <a:gdLst>
                  <a:gd name="T0" fmla="*/ 47 w 93"/>
                  <a:gd name="T1" fmla="*/ 0 h 93"/>
                  <a:gd name="T2" fmla="*/ 0 w 93"/>
                  <a:gd name="T3" fmla="*/ 46 h 93"/>
                  <a:gd name="T4" fmla="*/ 47 w 93"/>
                  <a:gd name="T5" fmla="*/ 93 h 93"/>
                  <a:gd name="T6" fmla="*/ 93 w 93"/>
                  <a:gd name="T7" fmla="*/ 46 h 93"/>
                  <a:gd name="T8" fmla="*/ 47 w 93"/>
                  <a:gd name="T9" fmla="*/ 0 h 93"/>
                  <a:gd name="T10" fmla="*/ 47 w 93"/>
                  <a:gd name="T11" fmla="*/ 77 h 93"/>
                  <a:gd name="T12" fmla="*/ 16 w 93"/>
                  <a:gd name="T13" fmla="*/ 46 h 93"/>
                  <a:gd name="T14" fmla="*/ 47 w 93"/>
                  <a:gd name="T15" fmla="*/ 15 h 93"/>
                  <a:gd name="T16" fmla="*/ 78 w 93"/>
                  <a:gd name="T17" fmla="*/ 46 h 93"/>
                  <a:gd name="T18" fmla="*/ 47 w 93"/>
                  <a:gd name="T19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3">
                    <a:moveTo>
                      <a:pt x="47" y="0"/>
                    </a:moveTo>
                    <a:cubicBezTo>
                      <a:pt x="21" y="0"/>
                      <a:pt x="0" y="21"/>
                      <a:pt x="0" y="46"/>
                    </a:cubicBezTo>
                    <a:cubicBezTo>
                      <a:pt x="0" y="72"/>
                      <a:pt x="21" y="93"/>
                      <a:pt x="47" y="93"/>
                    </a:cubicBezTo>
                    <a:cubicBezTo>
                      <a:pt x="72" y="93"/>
                      <a:pt x="93" y="72"/>
                      <a:pt x="93" y="46"/>
                    </a:cubicBezTo>
                    <a:cubicBezTo>
                      <a:pt x="93" y="21"/>
                      <a:pt x="72" y="0"/>
                      <a:pt x="47" y="0"/>
                    </a:cubicBezTo>
                    <a:close/>
                    <a:moveTo>
                      <a:pt x="47" y="77"/>
                    </a:moveTo>
                    <a:cubicBezTo>
                      <a:pt x="30" y="77"/>
                      <a:pt x="16" y="63"/>
                      <a:pt x="16" y="46"/>
                    </a:cubicBezTo>
                    <a:cubicBezTo>
                      <a:pt x="16" y="29"/>
                      <a:pt x="30" y="15"/>
                      <a:pt x="47" y="15"/>
                    </a:cubicBezTo>
                    <a:cubicBezTo>
                      <a:pt x="64" y="15"/>
                      <a:pt x="78" y="29"/>
                      <a:pt x="78" y="46"/>
                    </a:cubicBezTo>
                    <a:cubicBezTo>
                      <a:pt x="78" y="63"/>
                      <a:pt x="64" y="77"/>
                      <a:pt x="47" y="77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3" name="Freeform 195"/>
              <p:cNvSpPr>
                <a:spLocks/>
              </p:cNvSpPr>
              <p:nvPr/>
            </p:nvSpPr>
            <p:spPr bwMode="gray">
              <a:xfrm>
                <a:off x="6731" y="4789"/>
                <a:ext cx="43" cy="43"/>
              </a:xfrm>
              <a:custGeom>
                <a:avLst/>
                <a:gdLst>
                  <a:gd name="T0" fmla="*/ 13 w 27"/>
                  <a:gd name="T1" fmla="*/ 3 h 27"/>
                  <a:gd name="T2" fmla="*/ 3 w 27"/>
                  <a:gd name="T3" fmla="*/ 13 h 27"/>
                  <a:gd name="T4" fmla="*/ 3 w 27"/>
                  <a:gd name="T5" fmla="*/ 24 h 27"/>
                  <a:gd name="T6" fmla="*/ 14 w 27"/>
                  <a:gd name="T7" fmla="*/ 24 h 27"/>
                  <a:gd name="T8" fmla="*/ 24 w 27"/>
                  <a:gd name="T9" fmla="*/ 14 h 27"/>
                  <a:gd name="T10" fmla="*/ 24 w 27"/>
                  <a:gd name="T11" fmla="*/ 3 h 27"/>
                  <a:gd name="T12" fmla="*/ 13 w 27"/>
                  <a:gd name="T13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7">
                    <a:moveTo>
                      <a:pt x="13" y="3"/>
                    </a:moveTo>
                    <a:cubicBezTo>
                      <a:pt x="3" y="13"/>
                      <a:pt x="3" y="13"/>
                      <a:pt x="3" y="13"/>
                    </a:cubicBezTo>
                    <a:cubicBezTo>
                      <a:pt x="0" y="16"/>
                      <a:pt x="0" y="21"/>
                      <a:pt x="3" y="24"/>
                    </a:cubicBezTo>
                    <a:cubicBezTo>
                      <a:pt x="6" y="27"/>
                      <a:pt x="10" y="27"/>
                      <a:pt x="14" y="2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7" y="10"/>
                      <a:pt x="27" y="6"/>
                      <a:pt x="24" y="3"/>
                    </a:cubicBezTo>
                    <a:cubicBezTo>
                      <a:pt x="21" y="0"/>
                      <a:pt x="17" y="0"/>
                      <a:pt x="13" y="3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4" name="Freeform 196"/>
              <p:cNvSpPr>
                <a:spLocks/>
              </p:cNvSpPr>
              <p:nvPr/>
            </p:nvSpPr>
            <p:spPr bwMode="gray">
              <a:xfrm>
                <a:off x="6887" y="4632"/>
                <a:ext cx="44" cy="44"/>
              </a:xfrm>
              <a:custGeom>
                <a:avLst/>
                <a:gdLst>
                  <a:gd name="T0" fmla="*/ 14 w 28"/>
                  <a:gd name="T1" fmla="*/ 25 h 28"/>
                  <a:gd name="T2" fmla="*/ 25 w 28"/>
                  <a:gd name="T3" fmla="*/ 14 h 28"/>
                  <a:gd name="T4" fmla="*/ 25 w 28"/>
                  <a:gd name="T5" fmla="*/ 3 h 28"/>
                  <a:gd name="T6" fmla="*/ 14 w 28"/>
                  <a:gd name="T7" fmla="*/ 3 h 28"/>
                  <a:gd name="T8" fmla="*/ 3 w 28"/>
                  <a:gd name="T9" fmla="*/ 14 h 28"/>
                  <a:gd name="T10" fmla="*/ 3 w 28"/>
                  <a:gd name="T11" fmla="*/ 25 h 28"/>
                  <a:gd name="T12" fmla="*/ 14 w 28"/>
                  <a:gd name="T13" fmla="*/ 2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28">
                    <a:moveTo>
                      <a:pt x="14" y="25"/>
                    </a:moveTo>
                    <a:cubicBezTo>
                      <a:pt x="25" y="14"/>
                      <a:pt x="25" y="14"/>
                      <a:pt x="25" y="14"/>
                    </a:cubicBezTo>
                    <a:cubicBezTo>
                      <a:pt x="28" y="11"/>
                      <a:pt x="28" y="6"/>
                      <a:pt x="25" y="3"/>
                    </a:cubicBezTo>
                    <a:cubicBezTo>
                      <a:pt x="22" y="0"/>
                      <a:pt x="17" y="0"/>
                      <a:pt x="14" y="3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7"/>
                      <a:pt x="0" y="22"/>
                      <a:pt x="3" y="25"/>
                    </a:cubicBezTo>
                    <a:cubicBezTo>
                      <a:pt x="6" y="28"/>
                      <a:pt x="11" y="28"/>
                      <a:pt x="14" y="25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5" name="Freeform 197"/>
              <p:cNvSpPr>
                <a:spLocks/>
              </p:cNvSpPr>
              <p:nvPr/>
            </p:nvSpPr>
            <p:spPr bwMode="gray">
              <a:xfrm>
                <a:off x="6818" y="4818"/>
                <a:ext cx="24" cy="49"/>
              </a:xfrm>
              <a:custGeom>
                <a:avLst/>
                <a:gdLst>
                  <a:gd name="T0" fmla="*/ 8 w 15"/>
                  <a:gd name="T1" fmla="*/ 0 h 31"/>
                  <a:gd name="T2" fmla="*/ 0 w 15"/>
                  <a:gd name="T3" fmla="*/ 8 h 31"/>
                  <a:gd name="T4" fmla="*/ 0 w 15"/>
                  <a:gd name="T5" fmla="*/ 23 h 31"/>
                  <a:gd name="T6" fmla="*/ 8 w 15"/>
                  <a:gd name="T7" fmla="*/ 31 h 31"/>
                  <a:gd name="T8" fmla="*/ 15 w 15"/>
                  <a:gd name="T9" fmla="*/ 23 h 31"/>
                  <a:gd name="T10" fmla="*/ 15 w 15"/>
                  <a:gd name="T11" fmla="*/ 8 h 31"/>
                  <a:gd name="T12" fmla="*/ 8 w 15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8" y="0"/>
                    </a:moveTo>
                    <a:cubicBezTo>
                      <a:pt x="3" y="0"/>
                      <a:pt x="0" y="4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3" y="31"/>
                      <a:pt x="8" y="31"/>
                    </a:cubicBezTo>
                    <a:cubicBezTo>
                      <a:pt x="12" y="31"/>
                      <a:pt x="15" y="28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6" name="Freeform 198"/>
              <p:cNvSpPr>
                <a:spLocks/>
              </p:cNvSpPr>
              <p:nvPr/>
            </p:nvSpPr>
            <p:spPr bwMode="gray">
              <a:xfrm>
                <a:off x="6887" y="4789"/>
                <a:ext cx="44" cy="43"/>
              </a:xfrm>
              <a:custGeom>
                <a:avLst/>
                <a:gdLst>
                  <a:gd name="T0" fmla="*/ 14 w 28"/>
                  <a:gd name="T1" fmla="*/ 3 h 27"/>
                  <a:gd name="T2" fmla="*/ 3 w 28"/>
                  <a:gd name="T3" fmla="*/ 3 h 27"/>
                  <a:gd name="T4" fmla="*/ 3 w 28"/>
                  <a:gd name="T5" fmla="*/ 14 h 27"/>
                  <a:gd name="T6" fmla="*/ 14 w 28"/>
                  <a:gd name="T7" fmla="*/ 24 h 27"/>
                  <a:gd name="T8" fmla="*/ 25 w 28"/>
                  <a:gd name="T9" fmla="*/ 24 h 27"/>
                  <a:gd name="T10" fmla="*/ 25 w 28"/>
                  <a:gd name="T11" fmla="*/ 13 h 27"/>
                  <a:gd name="T12" fmla="*/ 14 w 28"/>
                  <a:gd name="T13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27">
                    <a:moveTo>
                      <a:pt x="14" y="3"/>
                    </a:moveTo>
                    <a:cubicBezTo>
                      <a:pt x="11" y="0"/>
                      <a:pt x="6" y="0"/>
                      <a:pt x="3" y="3"/>
                    </a:cubicBezTo>
                    <a:cubicBezTo>
                      <a:pt x="0" y="6"/>
                      <a:pt x="0" y="10"/>
                      <a:pt x="3" y="1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7" y="27"/>
                      <a:pt x="22" y="27"/>
                      <a:pt x="25" y="24"/>
                    </a:cubicBezTo>
                    <a:cubicBezTo>
                      <a:pt x="28" y="21"/>
                      <a:pt x="28" y="17"/>
                      <a:pt x="25" y="13"/>
                    </a:cubicBez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7" name="Freeform 199"/>
              <p:cNvSpPr>
                <a:spLocks/>
              </p:cNvSpPr>
              <p:nvPr/>
            </p:nvSpPr>
            <p:spPr bwMode="gray">
              <a:xfrm>
                <a:off x="6818" y="4597"/>
                <a:ext cx="24" cy="49"/>
              </a:xfrm>
              <a:custGeom>
                <a:avLst/>
                <a:gdLst>
                  <a:gd name="T0" fmla="*/ 8 w 15"/>
                  <a:gd name="T1" fmla="*/ 31 h 31"/>
                  <a:gd name="T2" fmla="*/ 15 w 15"/>
                  <a:gd name="T3" fmla="*/ 23 h 31"/>
                  <a:gd name="T4" fmla="*/ 15 w 15"/>
                  <a:gd name="T5" fmla="*/ 8 h 31"/>
                  <a:gd name="T6" fmla="*/ 8 w 15"/>
                  <a:gd name="T7" fmla="*/ 0 h 31"/>
                  <a:gd name="T8" fmla="*/ 0 w 15"/>
                  <a:gd name="T9" fmla="*/ 8 h 31"/>
                  <a:gd name="T10" fmla="*/ 0 w 15"/>
                  <a:gd name="T11" fmla="*/ 23 h 31"/>
                  <a:gd name="T12" fmla="*/ 8 w 15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1">
                    <a:moveTo>
                      <a:pt x="8" y="31"/>
                    </a:moveTo>
                    <a:cubicBezTo>
                      <a:pt x="12" y="31"/>
                      <a:pt x="15" y="28"/>
                      <a:pt x="15" y="2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3" y="31"/>
                      <a:pt x="8" y="31"/>
                    </a:cubicBezTo>
                    <a:close/>
                  </a:path>
                </a:pathLst>
              </a:custGeom>
              <a:solidFill>
                <a:srgbClr val="0086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5" name="Groupe 397"/>
          <p:cNvGrpSpPr/>
          <p:nvPr/>
        </p:nvGrpSpPr>
        <p:grpSpPr bwMode="gray">
          <a:xfrm>
            <a:off x="8009738" y="5086214"/>
            <a:ext cx="529550" cy="529613"/>
            <a:chOff x="12068894" y="7088857"/>
            <a:chExt cx="772352" cy="772352"/>
          </a:xfrm>
        </p:grpSpPr>
        <p:sp>
          <p:nvSpPr>
            <p:cNvPr id="399" name="Ellipse 398"/>
            <p:cNvSpPr/>
            <p:nvPr/>
          </p:nvSpPr>
          <p:spPr bwMode="gray">
            <a:xfrm>
              <a:off x="12068894" y="7088857"/>
              <a:ext cx="772352" cy="77235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86C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0" name="Freeform 203"/>
            <p:cNvSpPr>
              <a:spLocks/>
            </p:cNvSpPr>
            <p:nvPr/>
          </p:nvSpPr>
          <p:spPr bwMode="gray">
            <a:xfrm>
              <a:off x="12269987" y="7262712"/>
              <a:ext cx="370166" cy="424642"/>
            </a:xfrm>
            <a:custGeom>
              <a:avLst/>
              <a:gdLst>
                <a:gd name="T0" fmla="*/ 265 w 265"/>
                <a:gd name="T1" fmla="*/ 0 h 304"/>
                <a:gd name="T2" fmla="*/ 0 w 265"/>
                <a:gd name="T3" fmla="*/ 0 h 304"/>
                <a:gd name="T4" fmla="*/ 0 w 265"/>
                <a:gd name="T5" fmla="*/ 263 h 304"/>
                <a:gd name="T6" fmla="*/ 90 w 265"/>
                <a:gd name="T7" fmla="*/ 263 h 304"/>
                <a:gd name="T8" fmla="*/ 133 w 265"/>
                <a:gd name="T9" fmla="*/ 304 h 304"/>
                <a:gd name="T10" fmla="*/ 176 w 265"/>
                <a:gd name="T11" fmla="*/ 263 h 304"/>
                <a:gd name="T12" fmla="*/ 265 w 265"/>
                <a:gd name="T13" fmla="*/ 263 h 304"/>
                <a:gd name="T14" fmla="*/ 265 w 265"/>
                <a:gd name="T15" fmla="*/ 0 h 304"/>
                <a:gd name="T16" fmla="*/ 265 w 265"/>
                <a:gd name="T17" fmla="*/ 0 h 304"/>
                <a:gd name="T18" fmla="*/ 265 w 265"/>
                <a:gd name="T1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5" h="304">
                  <a:moveTo>
                    <a:pt x="265" y="0"/>
                  </a:moveTo>
                  <a:lnTo>
                    <a:pt x="0" y="0"/>
                  </a:lnTo>
                  <a:lnTo>
                    <a:pt x="0" y="263"/>
                  </a:lnTo>
                  <a:lnTo>
                    <a:pt x="90" y="263"/>
                  </a:lnTo>
                  <a:lnTo>
                    <a:pt x="133" y="304"/>
                  </a:lnTo>
                  <a:lnTo>
                    <a:pt x="176" y="263"/>
                  </a:lnTo>
                  <a:lnTo>
                    <a:pt x="265" y="263"/>
                  </a:lnTo>
                  <a:lnTo>
                    <a:pt x="265" y="0"/>
                  </a:lnTo>
                  <a:lnTo>
                    <a:pt x="265" y="0"/>
                  </a:lnTo>
                  <a:lnTo>
                    <a:pt x="265" y="0"/>
                  </a:lnTo>
                  <a:close/>
                </a:path>
              </a:pathLst>
            </a:custGeom>
            <a:solidFill>
              <a:srgbClr val="008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8" name="Groupe 247">
            <a:extLst>
              <a:ext uri="{FF2B5EF4-FFF2-40B4-BE49-F238E27FC236}">
                <a16:creationId xmlns:a16="http://schemas.microsoft.com/office/drawing/2014/main" xmlns="" id="{AF7418C6-48BE-452F-A889-15E8B0BCACD0}"/>
              </a:ext>
            </a:extLst>
          </p:cNvPr>
          <p:cNvGrpSpPr/>
          <p:nvPr/>
        </p:nvGrpSpPr>
        <p:grpSpPr>
          <a:xfrm>
            <a:off x="8009738" y="1696938"/>
            <a:ext cx="529550" cy="529613"/>
            <a:chOff x="8009738" y="1696938"/>
            <a:chExt cx="529550" cy="529613"/>
          </a:xfrm>
        </p:grpSpPr>
        <p:sp>
          <p:nvSpPr>
            <p:cNvPr id="281" name="Ellipse 280"/>
            <p:cNvSpPr/>
            <p:nvPr/>
          </p:nvSpPr>
          <p:spPr bwMode="gray">
            <a:xfrm>
              <a:off x="8009738" y="1696938"/>
              <a:ext cx="529550" cy="529613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8">
              <a:extLst>
                <a:ext uri="{FF2B5EF4-FFF2-40B4-BE49-F238E27FC236}">
                  <a16:creationId xmlns:a16="http://schemas.microsoft.com/office/drawing/2014/main" xmlns="" id="{348CB49A-551D-4DBD-BDE2-4CF8C04E7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700" y="1800867"/>
              <a:ext cx="311627" cy="321755"/>
            </a:xfrm>
            <a:custGeom>
              <a:avLst/>
              <a:gdLst>
                <a:gd name="T0" fmla="*/ 121 w 387"/>
                <a:gd name="T1" fmla="*/ 400 h 400"/>
                <a:gd name="T2" fmla="*/ 128 w 387"/>
                <a:gd name="T3" fmla="*/ 394 h 400"/>
                <a:gd name="T4" fmla="*/ 128 w 387"/>
                <a:gd name="T5" fmla="*/ 393 h 400"/>
                <a:gd name="T6" fmla="*/ 171 w 387"/>
                <a:gd name="T7" fmla="*/ 278 h 400"/>
                <a:gd name="T8" fmla="*/ 185 w 387"/>
                <a:gd name="T9" fmla="*/ 278 h 400"/>
                <a:gd name="T10" fmla="*/ 228 w 387"/>
                <a:gd name="T11" fmla="*/ 393 h 400"/>
                <a:gd name="T12" fmla="*/ 233 w 387"/>
                <a:gd name="T13" fmla="*/ 400 h 400"/>
                <a:gd name="T14" fmla="*/ 234 w 387"/>
                <a:gd name="T15" fmla="*/ 400 h 400"/>
                <a:gd name="T16" fmla="*/ 335 w 387"/>
                <a:gd name="T17" fmla="*/ 189 h 400"/>
                <a:gd name="T18" fmla="*/ 322 w 387"/>
                <a:gd name="T19" fmla="*/ 170 h 400"/>
                <a:gd name="T20" fmla="*/ 311 w 387"/>
                <a:gd name="T21" fmla="*/ 186 h 400"/>
                <a:gd name="T22" fmla="*/ 255 w 387"/>
                <a:gd name="T23" fmla="*/ 234 h 400"/>
                <a:gd name="T24" fmla="*/ 139 w 387"/>
                <a:gd name="T25" fmla="*/ 7 h 400"/>
                <a:gd name="T26" fmla="*/ 118 w 387"/>
                <a:gd name="T27" fmla="*/ 6 h 400"/>
                <a:gd name="T28" fmla="*/ 119 w 387"/>
                <a:gd name="T29" fmla="*/ 20 h 400"/>
                <a:gd name="T30" fmla="*/ 34 w 387"/>
                <a:gd name="T31" fmla="*/ 200 h 400"/>
                <a:gd name="T32" fmla="*/ 3 w 387"/>
                <a:gd name="T33" fmla="*/ 300 h 400"/>
                <a:gd name="T34" fmla="*/ 121 w 387"/>
                <a:gd name="T35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7" h="400">
                  <a:moveTo>
                    <a:pt x="121" y="400"/>
                  </a:moveTo>
                  <a:cubicBezTo>
                    <a:pt x="125" y="400"/>
                    <a:pt x="128" y="398"/>
                    <a:pt x="128" y="394"/>
                  </a:cubicBezTo>
                  <a:cubicBezTo>
                    <a:pt x="128" y="394"/>
                    <a:pt x="128" y="393"/>
                    <a:pt x="128" y="393"/>
                  </a:cubicBezTo>
                  <a:cubicBezTo>
                    <a:pt x="123" y="350"/>
                    <a:pt x="139" y="307"/>
                    <a:pt x="171" y="278"/>
                  </a:cubicBezTo>
                  <a:cubicBezTo>
                    <a:pt x="175" y="274"/>
                    <a:pt x="181" y="274"/>
                    <a:pt x="185" y="278"/>
                  </a:cubicBezTo>
                  <a:cubicBezTo>
                    <a:pt x="217" y="307"/>
                    <a:pt x="233" y="350"/>
                    <a:pt x="228" y="393"/>
                  </a:cubicBezTo>
                  <a:cubicBezTo>
                    <a:pt x="227" y="397"/>
                    <a:pt x="230" y="400"/>
                    <a:pt x="233" y="400"/>
                  </a:cubicBezTo>
                  <a:cubicBezTo>
                    <a:pt x="234" y="400"/>
                    <a:pt x="234" y="400"/>
                    <a:pt x="234" y="400"/>
                  </a:cubicBezTo>
                  <a:cubicBezTo>
                    <a:pt x="387" y="376"/>
                    <a:pt x="357" y="247"/>
                    <a:pt x="335" y="189"/>
                  </a:cubicBezTo>
                  <a:cubicBezTo>
                    <a:pt x="333" y="184"/>
                    <a:pt x="328" y="170"/>
                    <a:pt x="322" y="170"/>
                  </a:cubicBezTo>
                  <a:cubicBezTo>
                    <a:pt x="318" y="170"/>
                    <a:pt x="314" y="183"/>
                    <a:pt x="311" y="186"/>
                  </a:cubicBezTo>
                  <a:cubicBezTo>
                    <a:pt x="297" y="207"/>
                    <a:pt x="277" y="223"/>
                    <a:pt x="255" y="234"/>
                  </a:cubicBezTo>
                  <a:cubicBezTo>
                    <a:pt x="271" y="90"/>
                    <a:pt x="182" y="31"/>
                    <a:pt x="139" y="7"/>
                  </a:cubicBezTo>
                  <a:cubicBezTo>
                    <a:pt x="132" y="3"/>
                    <a:pt x="121" y="0"/>
                    <a:pt x="118" y="6"/>
                  </a:cubicBezTo>
                  <a:cubicBezTo>
                    <a:pt x="116" y="9"/>
                    <a:pt x="119" y="17"/>
                    <a:pt x="119" y="20"/>
                  </a:cubicBezTo>
                  <a:cubicBezTo>
                    <a:pt x="123" y="80"/>
                    <a:pt x="67" y="159"/>
                    <a:pt x="34" y="200"/>
                  </a:cubicBezTo>
                  <a:cubicBezTo>
                    <a:pt x="11" y="228"/>
                    <a:pt x="0" y="263"/>
                    <a:pt x="3" y="300"/>
                  </a:cubicBezTo>
                  <a:cubicBezTo>
                    <a:pt x="12" y="384"/>
                    <a:pt x="94" y="398"/>
                    <a:pt x="121" y="4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299" cy="863377"/>
          </a:xfrm>
        </p:spPr>
        <p:txBody>
          <a:bodyPr/>
          <a:lstStyle/>
          <a:p>
            <a:r>
              <a:rPr lang="fr-FR" dirty="0"/>
              <a:t>USEFUL SYMBOLS (3/5)</a:t>
            </a:r>
          </a:p>
        </p:txBody>
      </p:sp>
      <p:sp>
        <p:nvSpPr>
          <p:cNvPr id="163" name="Espace réservé de la date 16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65" name="Espace réservé du pied de page 1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64" name="Espace réservé du numéro de diapositive 1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3</a:t>
            </a:fld>
            <a:endParaRPr lang="fr-FR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5E4D51D3-B57F-4F0F-B136-A850F892FD98}"/>
              </a:ext>
            </a:extLst>
          </p:cNvPr>
          <p:cNvGrpSpPr/>
          <p:nvPr/>
        </p:nvGrpSpPr>
        <p:grpSpPr>
          <a:xfrm>
            <a:off x="645660" y="1683864"/>
            <a:ext cx="555759" cy="555759"/>
            <a:chOff x="683568" y="1700808"/>
            <a:chExt cx="430299" cy="430299"/>
          </a:xfrm>
        </p:grpSpPr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xmlns="" id="{A13CE1BF-D6C0-4A10-A8FD-B4318C28BF93}"/>
                </a:ext>
              </a:extLst>
            </p:cNvPr>
            <p:cNvSpPr/>
            <p:nvPr/>
          </p:nvSpPr>
          <p:spPr>
            <a:xfrm rot="10800000">
              <a:off x="683568" y="1700808"/>
              <a:ext cx="430299" cy="43029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FFBEA437-A666-4DF8-93B0-920CFF93BE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116" y="1760986"/>
              <a:ext cx="233203" cy="309942"/>
            </a:xfrm>
            <a:custGeom>
              <a:avLst/>
              <a:gdLst>
                <a:gd name="T0" fmla="*/ 65 w 492"/>
                <a:gd name="T1" fmla="*/ 655 h 655"/>
                <a:gd name="T2" fmla="*/ 0 w 492"/>
                <a:gd name="T3" fmla="*/ 66 h 655"/>
                <a:gd name="T4" fmla="*/ 426 w 492"/>
                <a:gd name="T5" fmla="*/ 0 h 655"/>
                <a:gd name="T6" fmla="*/ 492 w 492"/>
                <a:gd name="T7" fmla="*/ 589 h 655"/>
                <a:gd name="T8" fmla="*/ 57 w 492"/>
                <a:gd name="T9" fmla="*/ 171 h 655"/>
                <a:gd name="T10" fmla="*/ 435 w 492"/>
                <a:gd name="T11" fmla="*/ 55 h 655"/>
                <a:gd name="T12" fmla="*/ 57 w 492"/>
                <a:gd name="T13" fmla="*/ 171 h 655"/>
                <a:gd name="T14" fmla="*/ 425 w 492"/>
                <a:gd name="T15" fmla="*/ 316 h 655"/>
                <a:gd name="T16" fmla="*/ 271 w 492"/>
                <a:gd name="T17" fmla="*/ 316 h 655"/>
                <a:gd name="T18" fmla="*/ 296 w 492"/>
                <a:gd name="T19" fmla="*/ 329 h 655"/>
                <a:gd name="T20" fmla="*/ 399 w 492"/>
                <a:gd name="T21" fmla="*/ 303 h 655"/>
                <a:gd name="T22" fmla="*/ 296 w 492"/>
                <a:gd name="T23" fmla="*/ 329 h 655"/>
                <a:gd name="T24" fmla="*/ 425 w 492"/>
                <a:gd name="T25" fmla="*/ 522 h 655"/>
                <a:gd name="T26" fmla="*/ 271 w 492"/>
                <a:gd name="T27" fmla="*/ 522 h 655"/>
                <a:gd name="T28" fmla="*/ 296 w 492"/>
                <a:gd name="T29" fmla="*/ 535 h 655"/>
                <a:gd name="T30" fmla="*/ 399 w 492"/>
                <a:gd name="T31" fmla="*/ 509 h 655"/>
                <a:gd name="T32" fmla="*/ 296 w 492"/>
                <a:gd name="T33" fmla="*/ 535 h 655"/>
                <a:gd name="T34" fmla="*/ 363 w 492"/>
                <a:gd name="T35" fmla="*/ 493 h 655"/>
                <a:gd name="T36" fmla="*/ 356 w 492"/>
                <a:gd name="T37" fmla="*/ 469 h 655"/>
                <a:gd name="T38" fmla="*/ 332 w 492"/>
                <a:gd name="T39" fmla="*/ 476 h 655"/>
                <a:gd name="T40" fmla="*/ 339 w 492"/>
                <a:gd name="T41" fmla="*/ 500 h 655"/>
                <a:gd name="T42" fmla="*/ 356 w 492"/>
                <a:gd name="T43" fmla="*/ 575 h 655"/>
                <a:gd name="T44" fmla="*/ 363 w 492"/>
                <a:gd name="T45" fmla="*/ 551 h 655"/>
                <a:gd name="T46" fmla="*/ 339 w 492"/>
                <a:gd name="T47" fmla="*/ 544 h 655"/>
                <a:gd name="T48" fmla="*/ 332 w 492"/>
                <a:gd name="T49" fmla="*/ 568 h 655"/>
                <a:gd name="T50" fmla="*/ 356 w 492"/>
                <a:gd name="T51" fmla="*/ 575 h 655"/>
                <a:gd name="T52" fmla="*/ 221 w 492"/>
                <a:gd name="T53" fmla="*/ 522 h 655"/>
                <a:gd name="T54" fmla="*/ 67 w 492"/>
                <a:gd name="T55" fmla="*/ 522 h 655"/>
                <a:gd name="T56" fmla="*/ 117 w 492"/>
                <a:gd name="T57" fmla="*/ 567 h 655"/>
                <a:gd name="T58" fmla="*/ 171 w 492"/>
                <a:gd name="T59" fmla="*/ 567 h 655"/>
                <a:gd name="T60" fmla="*/ 162 w 492"/>
                <a:gd name="T61" fmla="*/ 522 h 655"/>
                <a:gd name="T62" fmla="*/ 171 w 492"/>
                <a:gd name="T63" fmla="*/ 476 h 655"/>
                <a:gd name="T64" fmla="*/ 117 w 492"/>
                <a:gd name="T65" fmla="*/ 476 h 655"/>
                <a:gd name="T66" fmla="*/ 125 w 492"/>
                <a:gd name="T67" fmla="*/ 522 h 655"/>
                <a:gd name="T68" fmla="*/ 117 w 492"/>
                <a:gd name="T69" fmla="*/ 567 h 655"/>
                <a:gd name="T70" fmla="*/ 221 w 492"/>
                <a:gd name="T71" fmla="*/ 316 h 655"/>
                <a:gd name="T72" fmla="*/ 67 w 492"/>
                <a:gd name="T73" fmla="*/ 316 h 655"/>
                <a:gd name="T74" fmla="*/ 131 w 492"/>
                <a:gd name="T75" fmla="*/ 368 h 655"/>
                <a:gd name="T76" fmla="*/ 157 w 492"/>
                <a:gd name="T77" fmla="*/ 329 h 655"/>
                <a:gd name="T78" fmla="*/ 195 w 492"/>
                <a:gd name="T79" fmla="*/ 303 h 655"/>
                <a:gd name="T80" fmla="*/ 157 w 492"/>
                <a:gd name="T81" fmla="*/ 265 h 655"/>
                <a:gd name="T82" fmla="*/ 131 w 492"/>
                <a:gd name="T83" fmla="*/ 303 h 655"/>
                <a:gd name="T84" fmla="*/ 92 w 492"/>
                <a:gd name="T85" fmla="*/ 329 h 655"/>
                <a:gd name="T86" fmla="*/ 131 w 492"/>
                <a:gd name="T87" fmla="*/ 368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2" h="655">
                  <a:moveTo>
                    <a:pt x="426" y="655"/>
                  </a:moveTo>
                  <a:cubicBezTo>
                    <a:pt x="65" y="655"/>
                    <a:pt x="65" y="655"/>
                    <a:pt x="65" y="655"/>
                  </a:cubicBezTo>
                  <a:cubicBezTo>
                    <a:pt x="29" y="655"/>
                    <a:pt x="0" y="625"/>
                    <a:pt x="0" y="58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29" y="0"/>
                    <a:pt x="65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62" y="0"/>
                    <a:pt x="492" y="30"/>
                    <a:pt x="492" y="66"/>
                  </a:cubicBezTo>
                  <a:cubicBezTo>
                    <a:pt x="492" y="589"/>
                    <a:pt x="492" y="589"/>
                    <a:pt x="492" y="589"/>
                  </a:cubicBezTo>
                  <a:cubicBezTo>
                    <a:pt x="492" y="625"/>
                    <a:pt x="462" y="655"/>
                    <a:pt x="426" y="655"/>
                  </a:cubicBezTo>
                  <a:close/>
                  <a:moveTo>
                    <a:pt x="57" y="171"/>
                  </a:moveTo>
                  <a:cubicBezTo>
                    <a:pt x="435" y="171"/>
                    <a:pt x="435" y="171"/>
                    <a:pt x="435" y="171"/>
                  </a:cubicBezTo>
                  <a:cubicBezTo>
                    <a:pt x="435" y="55"/>
                    <a:pt x="435" y="55"/>
                    <a:pt x="435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71"/>
                    <a:pt x="57" y="171"/>
                    <a:pt x="57" y="171"/>
                  </a:cubicBezTo>
                  <a:close/>
                  <a:moveTo>
                    <a:pt x="348" y="393"/>
                  </a:moveTo>
                  <a:cubicBezTo>
                    <a:pt x="390" y="393"/>
                    <a:pt x="425" y="359"/>
                    <a:pt x="425" y="316"/>
                  </a:cubicBezTo>
                  <a:cubicBezTo>
                    <a:pt x="425" y="274"/>
                    <a:pt x="390" y="239"/>
                    <a:pt x="348" y="239"/>
                  </a:cubicBezTo>
                  <a:cubicBezTo>
                    <a:pt x="305" y="239"/>
                    <a:pt x="271" y="274"/>
                    <a:pt x="271" y="316"/>
                  </a:cubicBezTo>
                  <a:cubicBezTo>
                    <a:pt x="271" y="359"/>
                    <a:pt x="305" y="393"/>
                    <a:pt x="348" y="393"/>
                  </a:cubicBezTo>
                  <a:close/>
                  <a:moveTo>
                    <a:pt x="296" y="329"/>
                  </a:moveTo>
                  <a:cubicBezTo>
                    <a:pt x="363" y="329"/>
                    <a:pt x="333" y="329"/>
                    <a:pt x="399" y="329"/>
                  </a:cubicBezTo>
                  <a:cubicBezTo>
                    <a:pt x="399" y="303"/>
                    <a:pt x="399" y="303"/>
                    <a:pt x="399" y="303"/>
                  </a:cubicBezTo>
                  <a:cubicBezTo>
                    <a:pt x="333" y="303"/>
                    <a:pt x="363" y="303"/>
                    <a:pt x="296" y="303"/>
                  </a:cubicBezTo>
                  <a:cubicBezTo>
                    <a:pt x="296" y="329"/>
                    <a:pt x="296" y="329"/>
                    <a:pt x="296" y="329"/>
                  </a:cubicBezTo>
                  <a:close/>
                  <a:moveTo>
                    <a:pt x="348" y="599"/>
                  </a:moveTo>
                  <a:cubicBezTo>
                    <a:pt x="390" y="599"/>
                    <a:pt x="425" y="564"/>
                    <a:pt x="425" y="522"/>
                  </a:cubicBezTo>
                  <a:cubicBezTo>
                    <a:pt x="425" y="479"/>
                    <a:pt x="390" y="445"/>
                    <a:pt x="348" y="445"/>
                  </a:cubicBezTo>
                  <a:cubicBezTo>
                    <a:pt x="305" y="445"/>
                    <a:pt x="271" y="479"/>
                    <a:pt x="271" y="522"/>
                  </a:cubicBezTo>
                  <a:cubicBezTo>
                    <a:pt x="271" y="564"/>
                    <a:pt x="305" y="599"/>
                    <a:pt x="348" y="599"/>
                  </a:cubicBezTo>
                  <a:close/>
                  <a:moveTo>
                    <a:pt x="296" y="535"/>
                  </a:moveTo>
                  <a:cubicBezTo>
                    <a:pt x="363" y="535"/>
                    <a:pt x="333" y="535"/>
                    <a:pt x="399" y="535"/>
                  </a:cubicBezTo>
                  <a:cubicBezTo>
                    <a:pt x="399" y="509"/>
                    <a:pt x="399" y="509"/>
                    <a:pt x="399" y="509"/>
                  </a:cubicBezTo>
                  <a:cubicBezTo>
                    <a:pt x="333" y="509"/>
                    <a:pt x="363" y="509"/>
                    <a:pt x="296" y="509"/>
                  </a:cubicBezTo>
                  <a:cubicBezTo>
                    <a:pt x="296" y="535"/>
                    <a:pt x="296" y="535"/>
                    <a:pt x="296" y="535"/>
                  </a:cubicBezTo>
                  <a:close/>
                  <a:moveTo>
                    <a:pt x="356" y="500"/>
                  </a:moveTo>
                  <a:cubicBezTo>
                    <a:pt x="360" y="500"/>
                    <a:pt x="363" y="497"/>
                    <a:pt x="363" y="493"/>
                  </a:cubicBezTo>
                  <a:cubicBezTo>
                    <a:pt x="363" y="476"/>
                    <a:pt x="363" y="476"/>
                    <a:pt x="363" y="476"/>
                  </a:cubicBezTo>
                  <a:cubicBezTo>
                    <a:pt x="363" y="472"/>
                    <a:pt x="360" y="469"/>
                    <a:pt x="356" y="469"/>
                  </a:cubicBezTo>
                  <a:cubicBezTo>
                    <a:pt x="339" y="469"/>
                    <a:pt x="339" y="469"/>
                    <a:pt x="339" y="469"/>
                  </a:cubicBezTo>
                  <a:cubicBezTo>
                    <a:pt x="335" y="469"/>
                    <a:pt x="332" y="472"/>
                    <a:pt x="332" y="476"/>
                  </a:cubicBezTo>
                  <a:cubicBezTo>
                    <a:pt x="332" y="493"/>
                    <a:pt x="332" y="493"/>
                    <a:pt x="332" y="493"/>
                  </a:cubicBezTo>
                  <a:cubicBezTo>
                    <a:pt x="332" y="497"/>
                    <a:pt x="335" y="500"/>
                    <a:pt x="339" y="500"/>
                  </a:cubicBezTo>
                  <a:cubicBezTo>
                    <a:pt x="356" y="500"/>
                    <a:pt x="356" y="500"/>
                    <a:pt x="356" y="500"/>
                  </a:cubicBezTo>
                  <a:close/>
                  <a:moveTo>
                    <a:pt x="356" y="575"/>
                  </a:moveTo>
                  <a:cubicBezTo>
                    <a:pt x="360" y="575"/>
                    <a:pt x="363" y="572"/>
                    <a:pt x="363" y="568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47"/>
                    <a:pt x="360" y="544"/>
                    <a:pt x="356" y="544"/>
                  </a:cubicBezTo>
                  <a:cubicBezTo>
                    <a:pt x="339" y="544"/>
                    <a:pt x="339" y="544"/>
                    <a:pt x="339" y="544"/>
                  </a:cubicBezTo>
                  <a:cubicBezTo>
                    <a:pt x="335" y="544"/>
                    <a:pt x="332" y="547"/>
                    <a:pt x="332" y="551"/>
                  </a:cubicBezTo>
                  <a:cubicBezTo>
                    <a:pt x="332" y="568"/>
                    <a:pt x="332" y="568"/>
                    <a:pt x="332" y="568"/>
                  </a:cubicBezTo>
                  <a:cubicBezTo>
                    <a:pt x="332" y="572"/>
                    <a:pt x="335" y="575"/>
                    <a:pt x="339" y="575"/>
                  </a:cubicBezTo>
                  <a:cubicBezTo>
                    <a:pt x="356" y="575"/>
                    <a:pt x="356" y="575"/>
                    <a:pt x="356" y="575"/>
                  </a:cubicBezTo>
                  <a:close/>
                  <a:moveTo>
                    <a:pt x="144" y="599"/>
                  </a:moveTo>
                  <a:cubicBezTo>
                    <a:pt x="186" y="599"/>
                    <a:pt x="221" y="564"/>
                    <a:pt x="221" y="522"/>
                  </a:cubicBezTo>
                  <a:cubicBezTo>
                    <a:pt x="221" y="479"/>
                    <a:pt x="186" y="445"/>
                    <a:pt x="144" y="445"/>
                  </a:cubicBezTo>
                  <a:cubicBezTo>
                    <a:pt x="101" y="445"/>
                    <a:pt x="67" y="479"/>
                    <a:pt x="67" y="522"/>
                  </a:cubicBezTo>
                  <a:cubicBezTo>
                    <a:pt x="67" y="564"/>
                    <a:pt x="101" y="599"/>
                    <a:pt x="144" y="599"/>
                  </a:cubicBezTo>
                  <a:close/>
                  <a:moveTo>
                    <a:pt x="117" y="567"/>
                  </a:moveTo>
                  <a:cubicBezTo>
                    <a:pt x="144" y="540"/>
                    <a:pt x="144" y="540"/>
                    <a:pt x="144" y="540"/>
                  </a:cubicBezTo>
                  <a:cubicBezTo>
                    <a:pt x="171" y="567"/>
                    <a:pt x="171" y="567"/>
                    <a:pt x="171" y="567"/>
                  </a:cubicBezTo>
                  <a:cubicBezTo>
                    <a:pt x="189" y="549"/>
                    <a:pt x="189" y="549"/>
                    <a:pt x="189" y="549"/>
                  </a:cubicBezTo>
                  <a:cubicBezTo>
                    <a:pt x="162" y="522"/>
                    <a:pt x="162" y="522"/>
                    <a:pt x="162" y="522"/>
                  </a:cubicBezTo>
                  <a:cubicBezTo>
                    <a:pt x="189" y="495"/>
                    <a:pt x="189" y="495"/>
                    <a:pt x="189" y="495"/>
                  </a:cubicBezTo>
                  <a:cubicBezTo>
                    <a:pt x="171" y="476"/>
                    <a:pt x="171" y="476"/>
                    <a:pt x="171" y="476"/>
                  </a:cubicBezTo>
                  <a:cubicBezTo>
                    <a:pt x="144" y="503"/>
                    <a:pt x="144" y="503"/>
                    <a:pt x="144" y="503"/>
                  </a:cubicBezTo>
                  <a:cubicBezTo>
                    <a:pt x="117" y="476"/>
                    <a:pt x="117" y="476"/>
                    <a:pt x="117" y="476"/>
                  </a:cubicBezTo>
                  <a:cubicBezTo>
                    <a:pt x="98" y="495"/>
                    <a:pt x="98" y="495"/>
                    <a:pt x="98" y="495"/>
                  </a:cubicBezTo>
                  <a:cubicBezTo>
                    <a:pt x="125" y="522"/>
                    <a:pt x="125" y="522"/>
                    <a:pt x="125" y="522"/>
                  </a:cubicBezTo>
                  <a:cubicBezTo>
                    <a:pt x="98" y="549"/>
                    <a:pt x="98" y="549"/>
                    <a:pt x="98" y="549"/>
                  </a:cubicBezTo>
                  <a:cubicBezTo>
                    <a:pt x="117" y="567"/>
                    <a:pt x="117" y="567"/>
                    <a:pt x="117" y="567"/>
                  </a:cubicBezTo>
                  <a:close/>
                  <a:moveTo>
                    <a:pt x="144" y="393"/>
                  </a:moveTo>
                  <a:cubicBezTo>
                    <a:pt x="186" y="393"/>
                    <a:pt x="221" y="359"/>
                    <a:pt x="221" y="316"/>
                  </a:cubicBezTo>
                  <a:cubicBezTo>
                    <a:pt x="221" y="274"/>
                    <a:pt x="186" y="239"/>
                    <a:pt x="144" y="239"/>
                  </a:cubicBezTo>
                  <a:cubicBezTo>
                    <a:pt x="101" y="239"/>
                    <a:pt x="67" y="274"/>
                    <a:pt x="67" y="316"/>
                  </a:cubicBezTo>
                  <a:cubicBezTo>
                    <a:pt x="67" y="359"/>
                    <a:pt x="101" y="393"/>
                    <a:pt x="144" y="393"/>
                  </a:cubicBezTo>
                  <a:close/>
                  <a:moveTo>
                    <a:pt x="131" y="368"/>
                  </a:moveTo>
                  <a:cubicBezTo>
                    <a:pt x="157" y="368"/>
                    <a:pt x="157" y="368"/>
                    <a:pt x="157" y="368"/>
                  </a:cubicBezTo>
                  <a:cubicBezTo>
                    <a:pt x="157" y="329"/>
                    <a:pt x="157" y="329"/>
                    <a:pt x="157" y="329"/>
                  </a:cubicBezTo>
                  <a:cubicBezTo>
                    <a:pt x="195" y="329"/>
                    <a:pt x="195" y="329"/>
                    <a:pt x="195" y="329"/>
                  </a:cubicBezTo>
                  <a:cubicBezTo>
                    <a:pt x="195" y="303"/>
                    <a:pt x="195" y="303"/>
                    <a:pt x="195" y="303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7" y="265"/>
                    <a:pt x="157" y="265"/>
                    <a:pt x="157" y="265"/>
                  </a:cubicBezTo>
                  <a:cubicBezTo>
                    <a:pt x="131" y="265"/>
                    <a:pt x="131" y="265"/>
                    <a:pt x="131" y="265"/>
                  </a:cubicBezTo>
                  <a:cubicBezTo>
                    <a:pt x="131" y="303"/>
                    <a:pt x="131" y="303"/>
                    <a:pt x="131" y="303"/>
                  </a:cubicBezTo>
                  <a:cubicBezTo>
                    <a:pt x="92" y="303"/>
                    <a:pt x="92" y="303"/>
                    <a:pt x="92" y="303"/>
                  </a:cubicBezTo>
                  <a:cubicBezTo>
                    <a:pt x="92" y="329"/>
                    <a:pt x="92" y="329"/>
                    <a:pt x="92" y="329"/>
                  </a:cubicBezTo>
                  <a:cubicBezTo>
                    <a:pt x="131" y="329"/>
                    <a:pt x="131" y="329"/>
                    <a:pt x="131" y="329"/>
                  </a:cubicBezTo>
                  <a:lnTo>
                    <a:pt x="131" y="3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xmlns="" id="{995FF9C4-118D-4CF4-B21F-8CB32BAD90FC}"/>
              </a:ext>
            </a:extLst>
          </p:cNvPr>
          <p:cNvGrpSpPr/>
          <p:nvPr/>
        </p:nvGrpSpPr>
        <p:grpSpPr>
          <a:xfrm>
            <a:off x="1695009" y="1683864"/>
            <a:ext cx="555759" cy="555759"/>
            <a:chOff x="325276" y="1686843"/>
            <a:chExt cx="430299" cy="430299"/>
          </a:xfrm>
        </p:grpSpPr>
        <p:sp>
          <p:nvSpPr>
            <p:cNvPr id="162" name="Ellipse 161">
              <a:extLst>
                <a:ext uri="{FF2B5EF4-FFF2-40B4-BE49-F238E27FC236}">
                  <a16:creationId xmlns:a16="http://schemas.microsoft.com/office/drawing/2014/main" xmlns="" id="{DB5453A4-4816-470D-8C52-9D3E3B838C07}"/>
                </a:ext>
              </a:extLst>
            </p:cNvPr>
            <p:cNvSpPr/>
            <p:nvPr/>
          </p:nvSpPr>
          <p:spPr>
            <a:xfrm rot="10800000">
              <a:off x="325276" y="1686843"/>
              <a:ext cx="430299" cy="43029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166" name="Group 14">
              <a:extLst>
                <a:ext uri="{FF2B5EF4-FFF2-40B4-BE49-F238E27FC236}">
                  <a16:creationId xmlns:a16="http://schemas.microsoft.com/office/drawing/2014/main" xmlns="" id="{66603CC8-EA3D-4331-907C-BFB5D8B0D84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7508" y="1753160"/>
              <a:ext cx="259519" cy="299033"/>
              <a:chOff x="793" y="-623"/>
              <a:chExt cx="532" cy="613"/>
            </a:xfrm>
            <a:solidFill>
              <a:schemeClr val="bg1"/>
            </a:solidFill>
          </p:grpSpPr>
          <p:sp>
            <p:nvSpPr>
              <p:cNvPr id="167" name="Freeform 15">
                <a:extLst>
                  <a:ext uri="{FF2B5EF4-FFF2-40B4-BE49-F238E27FC236}">
                    <a16:creationId xmlns:a16="http://schemas.microsoft.com/office/drawing/2014/main" xmlns="" id="{5EEF8C24-542C-4097-8A2B-97C70038E7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" y="-623"/>
                <a:ext cx="150" cy="613"/>
              </a:xfrm>
              <a:custGeom>
                <a:avLst/>
                <a:gdLst>
                  <a:gd name="T0" fmla="*/ 48 w 72"/>
                  <a:gd name="T1" fmla="*/ 174 h 296"/>
                  <a:gd name="T2" fmla="*/ 48 w 72"/>
                  <a:gd name="T3" fmla="*/ 12 h 296"/>
                  <a:gd name="T4" fmla="*/ 36 w 72"/>
                  <a:gd name="T5" fmla="*/ 0 h 296"/>
                  <a:gd name="T6" fmla="*/ 36 w 72"/>
                  <a:gd name="T7" fmla="*/ 0 h 296"/>
                  <a:gd name="T8" fmla="*/ 36 w 72"/>
                  <a:gd name="T9" fmla="*/ 0 h 296"/>
                  <a:gd name="T10" fmla="*/ 24 w 72"/>
                  <a:gd name="T11" fmla="*/ 12 h 296"/>
                  <a:gd name="T12" fmla="*/ 24 w 72"/>
                  <a:gd name="T13" fmla="*/ 12 h 296"/>
                  <a:gd name="T14" fmla="*/ 24 w 72"/>
                  <a:gd name="T15" fmla="*/ 174 h 296"/>
                  <a:gd name="T16" fmla="*/ 0 w 72"/>
                  <a:gd name="T17" fmla="*/ 208 h 296"/>
                  <a:gd name="T18" fmla="*/ 24 w 72"/>
                  <a:gd name="T19" fmla="*/ 242 h 296"/>
                  <a:gd name="T20" fmla="*/ 24 w 72"/>
                  <a:gd name="T21" fmla="*/ 284 h 296"/>
                  <a:gd name="T22" fmla="*/ 36 w 72"/>
                  <a:gd name="T23" fmla="*/ 296 h 296"/>
                  <a:gd name="T24" fmla="*/ 48 w 72"/>
                  <a:gd name="T25" fmla="*/ 284 h 296"/>
                  <a:gd name="T26" fmla="*/ 48 w 72"/>
                  <a:gd name="T27" fmla="*/ 284 h 296"/>
                  <a:gd name="T28" fmla="*/ 48 w 72"/>
                  <a:gd name="T29" fmla="*/ 242 h 296"/>
                  <a:gd name="T30" fmla="*/ 72 w 72"/>
                  <a:gd name="T31" fmla="*/ 208 h 296"/>
                  <a:gd name="T32" fmla="*/ 48 w 72"/>
                  <a:gd name="T33" fmla="*/ 174 h 296"/>
                  <a:gd name="T34" fmla="*/ 36 w 72"/>
                  <a:gd name="T35" fmla="*/ 220 h 296"/>
                  <a:gd name="T36" fmla="*/ 24 w 72"/>
                  <a:gd name="T37" fmla="*/ 208 h 296"/>
                  <a:gd name="T38" fmla="*/ 36 w 72"/>
                  <a:gd name="T39" fmla="*/ 196 h 296"/>
                  <a:gd name="T40" fmla="*/ 48 w 72"/>
                  <a:gd name="T41" fmla="*/ 208 h 296"/>
                  <a:gd name="T42" fmla="*/ 36 w 72"/>
                  <a:gd name="T43" fmla="*/ 22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296">
                    <a:moveTo>
                      <a:pt x="48" y="174"/>
                    </a:move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5"/>
                      <a:pt x="43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9" y="0"/>
                      <a:pt x="24" y="5"/>
                      <a:pt x="24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74"/>
                      <a:pt x="24" y="174"/>
                      <a:pt x="24" y="174"/>
                    </a:cubicBezTo>
                    <a:cubicBezTo>
                      <a:pt x="10" y="179"/>
                      <a:pt x="0" y="192"/>
                      <a:pt x="0" y="208"/>
                    </a:cubicBezTo>
                    <a:cubicBezTo>
                      <a:pt x="0" y="224"/>
                      <a:pt x="10" y="237"/>
                      <a:pt x="24" y="242"/>
                    </a:cubicBezTo>
                    <a:cubicBezTo>
                      <a:pt x="24" y="284"/>
                      <a:pt x="24" y="284"/>
                      <a:pt x="24" y="284"/>
                    </a:cubicBezTo>
                    <a:cubicBezTo>
                      <a:pt x="24" y="291"/>
                      <a:pt x="29" y="296"/>
                      <a:pt x="36" y="296"/>
                    </a:cubicBezTo>
                    <a:cubicBezTo>
                      <a:pt x="42" y="296"/>
                      <a:pt x="48" y="291"/>
                      <a:pt x="48" y="284"/>
                    </a:cubicBezTo>
                    <a:cubicBezTo>
                      <a:pt x="48" y="284"/>
                      <a:pt x="48" y="284"/>
                      <a:pt x="48" y="284"/>
                    </a:cubicBezTo>
                    <a:cubicBezTo>
                      <a:pt x="48" y="242"/>
                      <a:pt x="48" y="242"/>
                      <a:pt x="48" y="242"/>
                    </a:cubicBezTo>
                    <a:cubicBezTo>
                      <a:pt x="62" y="237"/>
                      <a:pt x="72" y="224"/>
                      <a:pt x="72" y="208"/>
                    </a:cubicBezTo>
                    <a:cubicBezTo>
                      <a:pt x="72" y="192"/>
                      <a:pt x="62" y="179"/>
                      <a:pt x="48" y="174"/>
                    </a:cubicBezTo>
                    <a:close/>
                    <a:moveTo>
                      <a:pt x="36" y="220"/>
                    </a:moveTo>
                    <a:cubicBezTo>
                      <a:pt x="29" y="220"/>
                      <a:pt x="24" y="215"/>
                      <a:pt x="24" y="208"/>
                    </a:cubicBezTo>
                    <a:cubicBezTo>
                      <a:pt x="24" y="201"/>
                      <a:pt x="29" y="196"/>
                      <a:pt x="36" y="196"/>
                    </a:cubicBezTo>
                    <a:cubicBezTo>
                      <a:pt x="43" y="196"/>
                      <a:pt x="48" y="201"/>
                      <a:pt x="48" y="208"/>
                    </a:cubicBezTo>
                    <a:cubicBezTo>
                      <a:pt x="48" y="215"/>
                      <a:pt x="43" y="220"/>
                      <a:pt x="36" y="2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8" name="Freeform 16">
                <a:extLst>
                  <a:ext uri="{FF2B5EF4-FFF2-40B4-BE49-F238E27FC236}">
                    <a16:creationId xmlns:a16="http://schemas.microsoft.com/office/drawing/2014/main" xmlns="" id="{DD028122-0C52-413E-8472-3CBE2CE37C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4" y="-623"/>
                <a:ext cx="150" cy="613"/>
              </a:xfrm>
              <a:custGeom>
                <a:avLst/>
                <a:gdLst>
                  <a:gd name="T0" fmla="*/ 48 w 72"/>
                  <a:gd name="T1" fmla="*/ 122 h 296"/>
                  <a:gd name="T2" fmla="*/ 48 w 72"/>
                  <a:gd name="T3" fmla="*/ 12 h 296"/>
                  <a:gd name="T4" fmla="*/ 36 w 72"/>
                  <a:gd name="T5" fmla="*/ 0 h 296"/>
                  <a:gd name="T6" fmla="*/ 36 w 72"/>
                  <a:gd name="T7" fmla="*/ 0 h 296"/>
                  <a:gd name="T8" fmla="*/ 36 w 72"/>
                  <a:gd name="T9" fmla="*/ 0 h 296"/>
                  <a:gd name="T10" fmla="*/ 24 w 72"/>
                  <a:gd name="T11" fmla="*/ 12 h 296"/>
                  <a:gd name="T12" fmla="*/ 24 w 72"/>
                  <a:gd name="T13" fmla="*/ 12 h 296"/>
                  <a:gd name="T14" fmla="*/ 24 w 72"/>
                  <a:gd name="T15" fmla="*/ 122 h 296"/>
                  <a:gd name="T16" fmla="*/ 0 w 72"/>
                  <a:gd name="T17" fmla="*/ 156 h 296"/>
                  <a:gd name="T18" fmla="*/ 24 w 72"/>
                  <a:gd name="T19" fmla="*/ 190 h 296"/>
                  <a:gd name="T20" fmla="*/ 24 w 72"/>
                  <a:gd name="T21" fmla="*/ 284 h 296"/>
                  <a:gd name="T22" fmla="*/ 36 w 72"/>
                  <a:gd name="T23" fmla="*/ 296 h 296"/>
                  <a:gd name="T24" fmla="*/ 48 w 72"/>
                  <a:gd name="T25" fmla="*/ 284 h 296"/>
                  <a:gd name="T26" fmla="*/ 48 w 72"/>
                  <a:gd name="T27" fmla="*/ 284 h 296"/>
                  <a:gd name="T28" fmla="*/ 48 w 72"/>
                  <a:gd name="T29" fmla="*/ 190 h 296"/>
                  <a:gd name="T30" fmla="*/ 72 w 72"/>
                  <a:gd name="T31" fmla="*/ 156 h 296"/>
                  <a:gd name="T32" fmla="*/ 48 w 72"/>
                  <a:gd name="T33" fmla="*/ 122 h 296"/>
                  <a:gd name="T34" fmla="*/ 36 w 72"/>
                  <a:gd name="T35" fmla="*/ 168 h 296"/>
                  <a:gd name="T36" fmla="*/ 24 w 72"/>
                  <a:gd name="T37" fmla="*/ 156 h 296"/>
                  <a:gd name="T38" fmla="*/ 36 w 72"/>
                  <a:gd name="T39" fmla="*/ 144 h 296"/>
                  <a:gd name="T40" fmla="*/ 48 w 72"/>
                  <a:gd name="T41" fmla="*/ 156 h 296"/>
                  <a:gd name="T42" fmla="*/ 36 w 72"/>
                  <a:gd name="T43" fmla="*/ 168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296">
                    <a:moveTo>
                      <a:pt x="48" y="122"/>
                    </a:move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5"/>
                      <a:pt x="43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9" y="0"/>
                      <a:pt x="24" y="5"/>
                      <a:pt x="24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22"/>
                      <a:pt x="24" y="122"/>
                      <a:pt x="24" y="122"/>
                    </a:cubicBezTo>
                    <a:cubicBezTo>
                      <a:pt x="10" y="127"/>
                      <a:pt x="0" y="140"/>
                      <a:pt x="0" y="156"/>
                    </a:cubicBezTo>
                    <a:cubicBezTo>
                      <a:pt x="0" y="172"/>
                      <a:pt x="10" y="185"/>
                      <a:pt x="24" y="190"/>
                    </a:cubicBezTo>
                    <a:cubicBezTo>
                      <a:pt x="24" y="284"/>
                      <a:pt x="24" y="284"/>
                      <a:pt x="24" y="284"/>
                    </a:cubicBezTo>
                    <a:cubicBezTo>
                      <a:pt x="24" y="291"/>
                      <a:pt x="29" y="296"/>
                      <a:pt x="36" y="296"/>
                    </a:cubicBezTo>
                    <a:cubicBezTo>
                      <a:pt x="42" y="296"/>
                      <a:pt x="48" y="291"/>
                      <a:pt x="48" y="284"/>
                    </a:cubicBezTo>
                    <a:cubicBezTo>
                      <a:pt x="48" y="284"/>
                      <a:pt x="48" y="284"/>
                      <a:pt x="48" y="284"/>
                    </a:cubicBezTo>
                    <a:cubicBezTo>
                      <a:pt x="48" y="190"/>
                      <a:pt x="48" y="190"/>
                      <a:pt x="48" y="190"/>
                    </a:cubicBezTo>
                    <a:cubicBezTo>
                      <a:pt x="62" y="185"/>
                      <a:pt x="72" y="172"/>
                      <a:pt x="72" y="156"/>
                    </a:cubicBezTo>
                    <a:cubicBezTo>
                      <a:pt x="72" y="140"/>
                      <a:pt x="62" y="127"/>
                      <a:pt x="48" y="122"/>
                    </a:cubicBezTo>
                    <a:close/>
                    <a:moveTo>
                      <a:pt x="36" y="168"/>
                    </a:moveTo>
                    <a:cubicBezTo>
                      <a:pt x="29" y="168"/>
                      <a:pt x="24" y="163"/>
                      <a:pt x="24" y="156"/>
                    </a:cubicBezTo>
                    <a:cubicBezTo>
                      <a:pt x="24" y="149"/>
                      <a:pt x="29" y="144"/>
                      <a:pt x="36" y="144"/>
                    </a:cubicBezTo>
                    <a:cubicBezTo>
                      <a:pt x="43" y="144"/>
                      <a:pt x="48" y="149"/>
                      <a:pt x="48" y="156"/>
                    </a:cubicBezTo>
                    <a:cubicBezTo>
                      <a:pt x="48" y="163"/>
                      <a:pt x="43" y="168"/>
                      <a:pt x="36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9" name="Freeform 17">
                <a:extLst>
                  <a:ext uri="{FF2B5EF4-FFF2-40B4-BE49-F238E27FC236}">
                    <a16:creationId xmlns:a16="http://schemas.microsoft.com/office/drawing/2014/main" xmlns="" id="{98D08879-3BF7-4C86-B0A4-288241913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6" y="-623"/>
                <a:ext cx="149" cy="613"/>
              </a:xfrm>
              <a:custGeom>
                <a:avLst/>
                <a:gdLst>
                  <a:gd name="T0" fmla="*/ 48 w 72"/>
                  <a:gd name="T1" fmla="*/ 174 h 296"/>
                  <a:gd name="T2" fmla="*/ 48 w 72"/>
                  <a:gd name="T3" fmla="*/ 12 h 296"/>
                  <a:gd name="T4" fmla="*/ 36 w 72"/>
                  <a:gd name="T5" fmla="*/ 0 h 296"/>
                  <a:gd name="T6" fmla="*/ 36 w 72"/>
                  <a:gd name="T7" fmla="*/ 0 h 296"/>
                  <a:gd name="T8" fmla="*/ 36 w 72"/>
                  <a:gd name="T9" fmla="*/ 0 h 296"/>
                  <a:gd name="T10" fmla="*/ 24 w 72"/>
                  <a:gd name="T11" fmla="*/ 12 h 296"/>
                  <a:gd name="T12" fmla="*/ 24 w 72"/>
                  <a:gd name="T13" fmla="*/ 12 h 296"/>
                  <a:gd name="T14" fmla="*/ 24 w 72"/>
                  <a:gd name="T15" fmla="*/ 174 h 296"/>
                  <a:gd name="T16" fmla="*/ 0 w 72"/>
                  <a:gd name="T17" fmla="*/ 208 h 296"/>
                  <a:gd name="T18" fmla="*/ 24 w 72"/>
                  <a:gd name="T19" fmla="*/ 242 h 296"/>
                  <a:gd name="T20" fmla="*/ 24 w 72"/>
                  <a:gd name="T21" fmla="*/ 284 h 296"/>
                  <a:gd name="T22" fmla="*/ 36 w 72"/>
                  <a:gd name="T23" fmla="*/ 296 h 296"/>
                  <a:gd name="T24" fmla="*/ 48 w 72"/>
                  <a:gd name="T25" fmla="*/ 284 h 296"/>
                  <a:gd name="T26" fmla="*/ 48 w 72"/>
                  <a:gd name="T27" fmla="*/ 284 h 296"/>
                  <a:gd name="T28" fmla="*/ 48 w 72"/>
                  <a:gd name="T29" fmla="*/ 242 h 296"/>
                  <a:gd name="T30" fmla="*/ 72 w 72"/>
                  <a:gd name="T31" fmla="*/ 208 h 296"/>
                  <a:gd name="T32" fmla="*/ 48 w 72"/>
                  <a:gd name="T33" fmla="*/ 174 h 296"/>
                  <a:gd name="T34" fmla="*/ 36 w 72"/>
                  <a:gd name="T35" fmla="*/ 220 h 296"/>
                  <a:gd name="T36" fmla="*/ 24 w 72"/>
                  <a:gd name="T37" fmla="*/ 208 h 296"/>
                  <a:gd name="T38" fmla="*/ 36 w 72"/>
                  <a:gd name="T39" fmla="*/ 196 h 296"/>
                  <a:gd name="T40" fmla="*/ 48 w 72"/>
                  <a:gd name="T41" fmla="*/ 208 h 296"/>
                  <a:gd name="T42" fmla="*/ 36 w 72"/>
                  <a:gd name="T43" fmla="*/ 22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296">
                    <a:moveTo>
                      <a:pt x="48" y="174"/>
                    </a:move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5"/>
                      <a:pt x="43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9" y="0"/>
                      <a:pt x="24" y="5"/>
                      <a:pt x="24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74"/>
                      <a:pt x="24" y="174"/>
                      <a:pt x="24" y="174"/>
                    </a:cubicBezTo>
                    <a:cubicBezTo>
                      <a:pt x="10" y="179"/>
                      <a:pt x="0" y="192"/>
                      <a:pt x="0" y="208"/>
                    </a:cubicBezTo>
                    <a:cubicBezTo>
                      <a:pt x="0" y="224"/>
                      <a:pt x="10" y="237"/>
                      <a:pt x="24" y="242"/>
                    </a:cubicBezTo>
                    <a:cubicBezTo>
                      <a:pt x="24" y="284"/>
                      <a:pt x="24" y="284"/>
                      <a:pt x="24" y="284"/>
                    </a:cubicBezTo>
                    <a:cubicBezTo>
                      <a:pt x="24" y="291"/>
                      <a:pt x="29" y="296"/>
                      <a:pt x="36" y="296"/>
                    </a:cubicBezTo>
                    <a:cubicBezTo>
                      <a:pt x="42" y="296"/>
                      <a:pt x="48" y="291"/>
                      <a:pt x="48" y="284"/>
                    </a:cubicBezTo>
                    <a:cubicBezTo>
                      <a:pt x="48" y="284"/>
                      <a:pt x="48" y="284"/>
                      <a:pt x="48" y="284"/>
                    </a:cubicBezTo>
                    <a:cubicBezTo>
                      <a:pt x="48" y="242"/>
                      <a:pt x="48" y="242"/>
                      <a:pt x="48" y="242"/>
                    </a:cubicBezTo>
                    <a:cubicBezTo>
                      <a:pt x="62" y="237"/>
                      <a:pt x="72" y="224"/>
                      <a:pt x="72" y="208"/>
                    </a:cubicBezTo>
                    <a:cubicBezTo>
                      <a:pt x="72" y="192"/>
                      <a:pt x="62" y="179"/>
                      <a:pt x="48" y="174"/>
                    </a:cubicBezTo>
                    <a:close/>
                    <a:moveTo>
                      <a:pt x="36" y="220"/>
                    </a:moveTo>
                    <a:cubicBezTo>
                      <a:pt x="29" y="220"/>
                      <a:pt x="24" y="215"/>
                      <a:pt x="24" y="208"/>
                    </a:cubicBezTo>
                    <a:cubicBezTo>
                      <a:pt x="24" y="201"/>
                      <a:pt x="29" y="196"/>
                      <a:pt x="36" y="196"/>
                    </a:cubicBezTo>
                    <a:cubicBezTo>
                      <a:pt x="43" y="196"/>
                      <a:pt x="48" y="201"/>
                      <a:pt x="48" y="208"/>
                    </a:cubicBezTo>
                    <a:cubicBezTo>
                      <a:pt x="48" y="215"/>
                      <a:pt x="43" y="220"/>
                      <a:pt x="36" y="2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A2BA2720-ED6F-4733-AAF1-B2776B5A6A0D}"/>
              </a:ext>
            </a:extLst>
          </p:cNvPr>
          <p:cNvGrpSpPr/>
          <p:nvPr/>
        </p:nvGrpSpPr>
        <p:grpSpPr>
          <a:xfrm>
            <a:off x="2744357" y="1681940"/>
            <a:ext cx="555759" cy="555759"/>
            <a:chOff x="325276" y="2237527"/>
            <a:chExt cx="430299" cy="430299"/>
          </a:xfrm>
        </p:grpSpPr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xmlns="" id="{D67D819C-8874-46E0-9B62-C213B9C59FDB}"/>
                </a:ext>
              </a:extLst>
            </p:cNvPr>
            <p:cNvSpPr/>
            <p:nvPr/>
          </p:nvSpPr>
          <p:spPr>
            <a:xfrm rot="10800000">
              <a:off x="325276" y="2237527"/>
              <a:ext cx="430299" cy="43029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1" name="Freeform 21">
              <a:extLst>
                <a:ext uri="{FF2B5EF4-FFF2-40B4-BE49-F238E27FC236}">
                  <a16:creationId xmlns:a16="http://schemas.microsoft.com/office/drawing/2014/main" xmlns="" id="{5B5B027D-A662-4990-BCC0-466E8A5194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323" y="2333105"/>
              <a:ext cx="340203" cy="270483"/>
            </a:xfrm>
            <a:custGeom>
              <a:avLst/>
              <a:gdLst>
                <a:gd name="T0" fmla="*/ 168 w 392"/>
                <a:gd name="T1" fmla="*/ 18 h 311"/>
                <a:gd name="T2" fmla="*/ 342 w 392"/>
                <a:gd name="T3" fmla="*/ 50 h 311"/>
                <a:gd name="T4" fmla="*/ 382 w 392"/>
                <a:gd name="T5" fmla="*/ 54 h 311"/>
                <a:gd name="T6" fmla="*/ 392 w 392"/>
                <a:gd name="T7" fmla="*/ 64 h 311"/>
                <a:gd name="T8" fmla="*/ 382 w 392"/>
                <a:gd name="T9" fmla="*/ 207 h 311"/>
                <a:gd name="T10" fmla="*/ 359 w 392"/>
                <a:gd name="T11" fmla="*/ 207 h 311"/>
                <a:gd name="T12" fmla="*/ 344 w 392"/>
                <a:gd name="T13" fmla="*/ 214 h 311"/>
                <a:gd name="T14" fmla="*/ 212 w 392"/>
                <a:gd name="T15" fmla="*/ 60 h 311"/>
                <a:gd name="T16" fmla="*/ 141 w 392"/>
                <a:gd name="T17" fmla="*/ 90 h 311"/>
                <a:gd name="T18" fmla="*/ 96 w 392"/>
                <a:gd name="T19" fmla="*/ 75 h 311"/>
                <a:gd name="T20" fmla="*/ 10 w 392"/>
                <a:gd name="T21" fmla="*/ 207 h 311"/>
                <a:gd name="T22" fmla="*/ 45 w 392"/>
                <a:gd name="T23" fmla="*/ 189 h 311"/>
                <a:gd name="T24" fmla="*/ 108 w 392"/>
                <a:gd name="T25" fmla="*/ 202 h 311"/>
                <a:gd name="T26" fmla="*/ 155 w 392"/>
                <a:gd name="T27" fmla="*/ 244 h 311"/>
                <a:gd name="T28" fmla="*/ 180 w 392"/>
                <a:gd name="T29" fmla="*/ 300 h 311"/>
                <a:gd name="T30" fmla="*/ 178 w 392"/>
                <a:gd name="T31" fmla="*/ 304 h 311"/>
                <a:gd name="T32" fmla="*/ 211 w 392"/>
                <a:gd name="T33" fmla="*/ 283 h 311"/>
                <a:gd name="T34" fmla="*/ 212 w 392"/>
                <a:gd name="T35" fmla="*/ 282 h 311"/>
                <a:gd name="T36" fmla="*/ 240 w 392"/>
                <a:gd name="T37" fmla="*/ 287 h 311"/>
                <a:gd name="T38" fmla="*/ 249 w 392"/>
                <a:gd name="T39" fmla="*/ 265 h 311"/>
                <a:gd name="T40" fmla="*/ 251 w 392"/>
                <a:gd name="T41" fmla="*/ 267 h 311"/>
                <a:gd name="T42" fmla="*/ 287 w 392"/>
                <a:gd name="T43" fmla="*/ 248 h 311"/>
                <a:gd name="T44" fmla="*/ 288 w 392"/>
                <a:gd name="T45" fmla="*/ 248 h 311"/>
                <a:gd name="T46" fmla="*/ 315 w 392"/>
                <a:gd name="T47" fmla="*/ 253 h 311"/>
                <a:gd name="T48" fmla="*/ 320 w 392"/>
                <a:gd name="T49" fmla="*/ 221 h 311"/>
                <a:gd name="T50" fmla="*/ 204 w 392"/>
                <a:gd name="T51" fmla="*/ 79 h 311"/>
                <a:gd name="T52" fmla="*/ 150 w 392"/>
                <a:gd name="T53" fmla="*/ 106 h 311"/>
                <a:gd name="T54" fmla="*/ 78 w 392"/>
                <a:gd name="T55" fmla="*/ 90 h 311"/>
                <a:gd name="T56" fmla="*/ 80 w 392"/>
                <a:gd name="T57" fmla="*/ 55 h 311"/>
                <a:gd name="T58" fmla="*/ 10 w 392"/>
                <a:gd name="T59" fmla="*/ 55 h 311"/>
                <a:gd name="T60" fmla="*/ 0 w 392"/>
                <a:gd name="T61" fmla="*/ 64 h 311"/>
                <a:gd name="T62" fmla="*/ 10 w 392"/>
                <a:gd name="T63" fmla="*/ 207 h 311"/>
                <a:gd name="T64" fmla="*/ 59 w 392"/>
                <a:gd name="T65" fmla="*/ 202 h 311"/>
                <a:gd name="T66" fmla="*/ 47 w 392"/>
                <a:gd name="T67" fmla="*/ 243 h 311"/>
                <a:gd name="T68" fmla="*/ 50 w 392"/>
                <a:gd name="T69" fmla="*/ 245 h 311"/>
                <a:gd name="T70" fmla="*/ 71 w 392"/>
                <a:gd name="T71" fmla="*/ 247 h 311"/>
                <a:gd name="T72" fmla="*/ 77 w 392"/>
                <a:gd name="T73" fmla="*/ 265 h 311"/>
                <a:gd name="T74" fmla="*/ 98 w 392"/>
                <a:gd name="T75" fmla="*/ 268 h 311"/>
                <a:gd name="T76" fmla="*/ 99 w 392"/>
                <a:gd name="T77" fmla="*/ 269 h 311"/>
                <a:gd name="T78" fmla="*/ 107 w 392"/>
                <a:gd name="T79" fmla="*/ 286 h 311"/>
                <a:gd name="T80" fmla="*/ 128 w 392"/>
                <a:gd name="T81" fmla="*/ 288 h 311"/>
                <a:gd name="T82" fmla="*/ 134 w 392"/>
                <a:gd name="T83" fmla="*/ 300 h 311"/>
                <a:gd name="T84" fmla="*/ 160 w 392"/>
                <a:gd name="T85" fmla="*/ 297 h 311"/>
                <a:gd name="T86" fmla="*/ 164 w 392"/>
                <a:gd name="T87" fmla="*/ 290 h 311"/>
                <a:gd name="T88" fmla="*/ 142 w 392"/>
                <a:gd name="T89" fmla="*/ 265 h 311"/>
                <a:gd name="T90" fmla="*/ 141 w 392"/>
                <a:gd name="T91" fmla="*/ 264 h 311"/>
                <a:gd name="T92" fmla="*/ 117 w 392"/>
                <a:gd name="T93" fmla="*/ 247 h 311"/>
                <a:gd name="T94" fmla="*/ 105 w 392"/>
                <a:gd name="T95" fmla="*/ 222 h 311"/>
                <a:gd name="T96" fmla="*/ 88 w 392"/>
                <a:gd name="T97" fmla="*/ 22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2" h="311">
                  <a:moveTo>
                    <a:pt x="99" y="70"/>
                  </a:moveTo>
                  <a:cubicBezTo>
                    <a:pt x="168" y="18"/>
                    <a:pt x="168" y="18"/>
                    <a:pt x="168" y="18"/>
                  </a:cubicBezTo>
                  <a:cubicBezTo>
                    <a:pt x="186" y="4"/>
                    <a:pt x="211" y="0"/>
                    <a:pt x="233" y="9"/>
                  </a:cubicBezTo>
                  <a:cubicBezTo>
                    <a:pt x="342" y="50"/>
                    <a:pt x="342" y="50"/>
                    <a:pt x="342" y="50"/>
                  </a:cubicBezTo>
                  <a:cubicBezTo>
                    <a:pt x="349" y="53"/>
                    <a:pt x="357" y="54"/>
                    <a:pt x="364" y="54"/>
                  </a:cubicBezTo>
                  <a:cubicBezTo>
                    <a:pt x="382" y="54"/>
                    <a:pt x="382" y="54"/>
                    <a:pt x="382" y="54"/>
                  </a:cubicBezTo>
                  <a:cubicBezTo>
                    <a:pt x="387" y="54"/>
                    <a:pt x="392" y="59"/>
                    <a:pt x="392" y="64"/>
                  </a:cubicBezTo>
                  <a:cubicBezTo>
                    <a:pt x="392" y="64"/>
                    <a:pt x="392" y="64"/>
                    <a:pt x="392" y="64"/>
                  </a:cubicBezTo>
                  <a:cubicBezTo>
                    <a:pt x="392" y="197"/>
                    <a:pt x="392" y="197"/>
                    <a:pt x="392" y="197"/>
                  </a:cubicBezTo>
                  <a:cubicBezTo>
                    <a:pt x="392" y="202"/>
                    <a:pt x="387" y="207"/>
                    <a:pt x="382" y="207"/>
                  </a:cubicBezTo>
                  <a:cubicBezTo>
                    <a:pt x="382" y="207"/>
                    <a:pt x="382" y="207"/>
                    <a:pt x="382" y="207"/>
                  </a:cubicBezTo>
                  <a:cubicBezTo>
                    <a:pt x="359" y="207"/>
                    <a:pt x="359" y="207"/>
                    <a:pt x="359" y="207"/>
                  </a:cubicBezTo>
                  <a:cubicBezTo>
                    <a:pt x="355" y="207"/>
                    <a:pt x="352" y="208"/>
                    <a:pt x="349" y="210"/>
                  </a:cubicBezTo>
                  <a:cubicBezTo>
                    <a:pt x="344" y="214"/>
                    <a:pt x="344" y="214"/>
                    <a:pt x="344" y="214"/>
                  </a:cubicBezTo>
                  <a:cubicBezTo>
                    <a:pt x="342" y="215"/>
                    <a:pt x="340" y="215"/>
                    <a:pt x="339" y="214"/>
                  </a:cubicBezTo>
                  <a:cubicBezTo>
                    <a:pt x="212" y="60"/>
                    <a:pt x="212" y="60"/>
                    <a:pt x="212" y="60"/>
                  </a:cubicBezTo>
                  <a:cubicBezTo>
                    <a:pt x="209" y="56"/>
                    <a:pt x="204" y="55"/>
                    <a:pt x="199" y="57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29" y="96"/>
                    <a:pt x="115" y="97"/>
                    <a:pt x="103" y="92"/>
                  </a:cubicBezTo>
                  <a:cubicBezTo>
                    <a:pt x="96" y="89"/>
                    <a:pt x="93" y="81"/>
                    <a:pt x="96" y="75"/>
                  </a:cubicBezTo>
                  <a:cubicBezTo>
                    <a:pt x="97" y="73"/>
                    <a:pt x="98" y="71"/>
                    <a:pt x="99" y="70"/>
                  </a:cubicBezTo>
                  <a:close/>
                  <a:moveTo>
                    <a:pt x="10" y="207"/>
                  </a:moveTo>
                  <a:cubicBezTo>
                    <a:pt x="30" y="207"/>
                    <a:pt x="30" y="207"/>
                    <a:pt x="30" y="207"/>
                  </a:cubicBezTo>
                  <a:cubicBezTo>
                    <a:pt x="45" y="189"/>
                    <a:pt x="45" y="189"/>
                    <a:pt x="45" y="189"/>
                  </a:cubicBezTo>
                  <a:cubicBezTo>
                    <a:pt x="57" y="174"/>
                    <a:pt x="80" y="171"/>
                    <a:pt x="96" y="184"/>
                  </a:cubicBezTo>
                  <a:cubicBezTo>
                    <a:pt x="102" y="189"/>
                    <a:pt x="106" y="195"/>
                    <a:pt x="108" y="202"/>
                  </a:cubicBezTo>
                  <a:cubicBezTo>
                    <a:pt x="120" y="206"/>
                    <a:pt x="130" y="215"/>
                    <a:pt x="133" y="228"/>
                  </a:cubicBezTo>
                  <a:cubicBezTo>
                    <a:pt x="142" y="230"/>
                    <a:pt x="150" y="236"/>
                    <a:pt x="155" y="244"/>
                  </a:cubicBezTo>
                  <a:cubicBezTo>
                    <a:pt x="162" y="246"/>
                    <a:pt x="170" y="249"/>
                    <a:pt x="175" y="255"/>
                  </a:cubicBezTo>
                  <a:cubicBezTo>
                    <a:pt x="187" y="267"/>
                    <a:pt x="189" y="286"/>
                    <a:pt x="180" y="300"/>
                  </a:cubicBezTo>
                  <a:cubicBezTo>
                    <a:pt x="178" y="304"/>
                    <a:pt x="178" y="304"/>
                    <a:pt x="178" y="304"/>
                  </a:cubicBezTo>
                  <a:cubicBezTo>
                    <a:pt x="178" y="304"/>
                    <a:pt x="178" y="304"/>
                    <a:pt x="178" y="304"/>
                  </a:cubicBezTo>
                  <a:cubicBezTo>
                    <a:pt x="188" y="311"/>
                    <a:pt x="201" y="308"/>
                    <a:pt x="208" y="299"/>
                  </a:cubicBezTo>
                  <a:cubicBezTo>
                    <a:pt x="211" y="294"/>
                    <a:pt x="212" y="288"/>
                    <a:pt x="211" y="283"/>
                  </a:cubicBezTo>
                  <a:cubicBezTo>
                    <a:pt x="211" y="283"/>
                    <a:pt x="211" y="282"/>
                    <a:pt x="211" y="282"/>
                  </a:cubicBezTo>
                  <a:cubicBezTo>
                    <a:pt x="211" y="282"/>
                    <a:pt x="212" y="282"/>
                    <a:pt x="212" y="282"/>
                  </a:cubicBezTo>
                  <a:cubicBezTo>
                    <a:pt x="213" y="284"/>
                    <a:pt x="213" y="284"/>
                    <a:pt x="213" y="284"/>
                  </a:cubicBezTo>
                  <a:cubicBezTo>
                    <a:pt x="220" y="291"/>
                    <a:pt x="232" y="292"/>
                    <a:pt x="240" y="287"/>
                  </a:cubicBezTo>
                  <a:cubicBezTo>
                    <a:pt x="247" y="282"/>
                    <a:pt x="251" y="274"/>
                    <a:pt x="249" y="265"/>
                  </a:cubicBezTo>
                  <a:cubicBezTo>
                    <a:pt x="249" y="265"/>
                    <a:pt x="249" y="265"/>
                    <a:pt x="249" y="265"/>
                  </a:cubicBezTo>
                  <a:cubicBezTo>
                    <a:pt x="249" y="265"/>
                    <a:pt x="250" y="265"/>
                    <a:pt x="250" y="265"/>
                  </a:cubicBezTo>
                  <a:cubicBezTo>
                    <a:pt x="251" y="267"/>
                    <a:pt x="251" y="267"/>
                    <a:pt x="251" y="267"/>
                  </a:cubicBezTo>
                  <a:cubicBezTo>
                    <a:pt x="259" y="274"/>
                    <a:pt x="270" y="275"/>
                    <a:pt x="278" y="269"/>
                  </a:cubicBezTo>
                  <a:cubicBezTo>
                    <a:pt x="285" y="265"/>
                    <a:pt x="289" y="256"/>
                    <a:pt x="287" y="248"/>
                  </a:cubicBezTo>
                  <a:cubicBezTo>
                    <a:pt x="287" y="248"/>
                    <a:pt x="287" y="248"/>
                    <a:pt x="287" y="247"/>
                  </a:cubicBezTo>
                  <a:cubicBezTo>
                    <a:pt x="288" y="247"/>
                    <a:pt x="288" y="247"/>
                    <a:pt x="288" y="248"/>
                  </a:cubicBezTo>
                  <a:cubicBezTo>
                    <a:pt x="290" y="249"/>
                    <a:pt x="290" y="249"/>
                    <a:pt x="290" y="249"/>
                  </a:cubicBezTo>
                  <a:cubicBezTo>
                    <a:pt x="296" y="256"/>
                    <a:pt x="307" y="257"/>
                    <a:pt x="315" y="253"/>
                  </a:cubicBezTo>
                  <a:cubicBezTo>
                    <a:pt x="325" y="247"/>
                    <a:pt x="329" y="234"/>
                    <a:pt x="323" y="224"/>
                  </a:cubicBezTo>
                  <a:cubicBezTo>
                    <a:pt x="322" y="223"/>
                    <a:pt x="321" y="222"/>
                    <a:pt x="320" y="221"/>
                  </a:cubicBezTo>
                  <a:cubicBezTo>
                    <a:pt x="307" y="205"/>
                    <a:pt x="307" y="205"/>
                    <a:pt x="307" y="205"/>
                  </a:cubicBezTo>
                  <a:cubicBezTo>
                    <a:pt x="204" y="79"/>
                    <a:pt x="204" y="79"/>
                    <a:pt x="204" y="79"/>
                  </a:cubicBezTo>
                  <a:cubicBezTo>
                    <a:pt x="203" y="78"/>
                    <a:pt x="201" y="78"/>
                    <a:pt x="200" y="78"/>
                  </a:cubicBezTo>
                  <a:cubicBezTo>
                    <a:pt x="150" y="106"/>
                    <a:pt x="150" y="106"/>
                    <a:pt x="150" y="106"/>
                  </a:cubicBezTo>
                  <a:cubicBezTo>
                    <a:pt x="134" y="115"/>
                    <a:pt x="115" y="116"/>
                    <a:pt x="98" y="110"/>
                  </a:cubicBezTo>
                  <a:cubicBezTo>
                    <a:pt x="89" y="107"/>
                    <a:pt x="81" y="99"/>
                    <a:pt x="78" y="90"/>
                  </a:cubicBezTo>
                  <a:cubicBezTo>
                    <a:pt x="75" y="81"/>
                    <a:pt x="77" y="70"/>
                    <a:pt x="81" y="62"/>
                  </a:cubicBezTo>
                  <a:cubicBezTo>
                    <a:pt x="83" y="59"/>
                    <a:pt x="82" y="56"/>
                    <a:pt x="80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5" y="55"/>
                    <a:pt x="0" y="5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2"/>
                    <a:pt x="5" y="207"/>
                    <a:pt x="10" y="207"/>
                  </a:cubicBezTo>
                  <a:close/>
                  <a:moveTo>
                    <a:pt x="82" y="197"/>
                  </a:moveTo>
                  <a:cubicBezTo>
                    <a:pt x="74" y="193"/>
                    <a:pt x="64" y="195"/>
                    <a:pt x="59" y="202"/>
                  </a:cubicBezTo>
                  <a:cubicBezTo>
                    <a:pt x="45" y="219"/>
                    <a:pt x="45" y="219"/>
                    <a:pt x="45" y="219"/>
                  </a:cubicBezTo>
                  <a:cubicBezTo>
                    <a:pt x="39" y="226"/>
                    <a:pt x="40" y="237"/>
                    <a:pt x="47" y="243"/>
                  </a:cubicBezTo>
                  <a:cubicBezTo>
                    <a:pt x="47" y="244"/>
                    <a:pt x="48" y="244"/>
                    <a:pt x="48" y="244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55" y="250"/>
                    <a:pt x="63" y="250"/>
                    <a:pt x="69" y="247"/>
                  </a:cubicBezTo>
                  <a:cubicBezTo>
                    <a:pt x="70" y="246"/>
                    <a:pt x="70" y="247"/>
                    <a:pt x="71" y="247"/>
                  </a:cubicBezTo>
                  <a:cubicBezTo>
                    <a:pt x="71" y="247"/>
                    <a:pt x="71" y="247"/>
                    <a:pt x="71" y="248"/>
                  </a:cubicBezTo>
                  <a:cubicBezTo>
                    <a:pt x="69" y="254"/>
                    <a:pt x="72" y="261"/>
                    <a:pt x="77" y="265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84" y="271"/>
                    <a:pt x="92" y="271"/>
                    <a:pt x="98" y="268"/>
                  </a:cubicBezTo>
                  <a:cubicBezTo>
                    <a:pt x="98" y="268"/>
                    <a:pt x="99" y="268"/>
                    <a:pt x="99" y="269"/>
                  </a:cubicBezTo>
                  <a:cubicBezTo>
                    <a:pt x="99" y="269"/>
                    <a:pt x="99" y="269"/>
                    <a:pt x="99" y="269"/>
                  </a:cubicBezTo>
                  <a:cubicBezTo>
                    <a:pt x="98" y="275"/>
                    <a:pt x="101" y="281"/>
                    <a:pt x="106" y="285"/>
                  </a:cubicBezTo>
                  <a:cubicBezTo>
                    <a:pt x="107" y="286"/>
                    <a:pt x="107" y="286"/>
                    <a:pt x="107" y="286"/>
                  </a:cubicBezTo>
                  <a:cubicBezTo>
                    <a:pt x="112" y="290"/>
                    <a:pt x="120" y="291"/>
                    <a:pt x="126" y="288"/>
                  </a:cubicBezTo>
                  <a:cubicBezTo>
                    <a:pt x="127" y="287"/>
                    <a:pt x="127" y="288"/>
                    <a:pt x="128" y="288"/>
                  </a:cubicBezTo>
                  <a:cubicBezTo>
                    <a:pt x="128" y="288"/>
                    <a:pt x="128" y="288"/>
                    <a:pt x="128" y="289"/>
                  </a:cubicBezTo>
                  <a:cubicBezTo>
                    <a:pt x="128" y="293"/>
                    <a:pt x="131" y="297"/>
                    <a:pt x="134" y="300"/>
                  </a:cubicBezTo>
                  <a:cubicBezTo>
                    <a:pt x="135" y="300"/>
                    <a:pt x="135" y="300"/>
                    <a:pt x="135" y="300"/>
                  </a:cubicBezTo>
                  <a:cubicBezTo>
                    <a:pt x="143" y="306"/>
                    <a:pt x="154" y="305"/>
                    <a:pt x="160" y="297"/>
                  </a:cubicBezTo>
                  <a:cubicBezTo>
                    <a:pt x="161" y="297"/>
                    <a:pt x="161" y="296"/>
                    <a:pt x="162" y="295"/>
                  </a:cubicBezTo>
                  <a:cubicBezTo>
                    <a:pt x="164" y="290"/>
                    <a:pt x="164" y="290"/>
                    <a:pt x="164" y="290"/>
                  </a:cubicBezTo>
                  <a:cubicBezTo>
                    <a:pt x="169" y="283"/>
                    <a:pt x="168" y="274"/>
                    <a:pt x="161" y="268"/>
                  </a:cubicBezTo>
                  <a:cubicBezTo>
                    <a:pt x="156" y="263"/>
                    <a:pt x="148" y="262"/>
                    <a:pt x="142" y="265"/>
                  </a:cubicBezTo>
                  <a:cubicBezTo>
                    <a:pt x="142" y="265"/>
                    <a:pt x="141" y="265"/>
                    <a:pt x="141" y="264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2" y="254"/>
                    <a:pt x="134" y="246"/>
                    <a:pt x="124" y="245"/>
                  </a:cubicBezTo>
                  <a:cubicBezTo>
                    <a:pt x="122" y="245"/>
                    <a:pt x="119" y="246"/>
                    <a:pt x="117" y="247"/>
                  </a:cubicBezTo>
                  <a:cubicBezTo>
                    <a:pt x="114" y="247"/>
                    <a:pt x="115" y="245"/>
                    <a:pt x="115" y="245"/>
                  </a:cubicBezTo>
                  <a:cubicBezTo>
                    <a:pt x="119" y="236"/>
                    <a:pt x="114" y="225"/>
                    <a:pt x="105" y="222"/>
                  </a:cubicBezTo>
                  <a:cubicBezTo>
                    <a:pt x="100" y="220"/>
                    <a:pt x="95" y="220"/>
                    <a:pt x="90" y="222"/>
                  </a:cubicBezTo>
                  <a:cubicBezTo>
                    <a:pt x="88" y="223"/>
                    <a:pt x="88" y="221"/>
                    <a:pt x="88" y="221"/>
                  </a:cubicBezTo>
                  <a:cubicBezTo>
                    <a:pt x="93" y="213"/>
                    <a:pt x="90" y="202"/>
                    <a:pt x="82" y="1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46" name="Groupe 245">
            <a:extLst>
              <a:ext uri="{FF2B5EF4-FFF2-40B4-BE49-F238E27FC236}">
                <a16:creationId xmlns:a16="http://schemas.microsoft.com/office/drawing/2014/main" xmlns="" id="{3D0D5D61-EE18-4D9F-B532-02E6BA767762}"/>
              </a:ext>
            </a:extLst>
          </p:cNvPr>
          <p:cNvGrpSpPr/>
          <p:nvPr/>
        </p:nvGrpSpPr>
        <p:grpSpPr>
          <a:xfrm>
            <a:off x="3793705" y="1681940"/>
            <a:ext cx="560840" cy="560840"/>
            <a:chOff x="3644302" y="1681940"/>
            <a:chExt cx="430299" cy="430299"/>
          </a:xfrm>
        </p:grpSpPr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xmlns="" id="{ADBB4D75-8B31-4C0B-917A-1719A3C4046A}"/>
                </a:ext>
              </a:extLst>
            </p:cNvPr>
            <p:cNvSpPr/>
            <p:nvPr/>
          </p:nvSpPr>
          <p:spPr>
            <a:xfrm rot="10800000">
              <a:off x="3644302" y="1681940"/>
              <a:ext cx="430299" cy="43029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3" name="Freeform 25">
              <a:extLst>
                <a:ext uri="{FF2B5EF4-FFF2-40B4-BE49-F238E27FC236}">
                  <a16:creationId xmlns:a16="http://schemas.microsoft.com/office/drawing/2014/main" xmlns="" id="{1C290E19-539F-4ACF-B9C8-8C8C907913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7181" y="1744820"/>
              <a:ext cx="304538" cy="304538"/>
            </a:xfrm>
            <a:custGeom>
              <a:avLst/>
              <a:gdLst>
                <a:gd name="T0" fmla="*/ 369 w 369"/>
                <a:gd name="T1" fmla="*/ 165 h 369"/>
                <a:gd name="T2" fmla="*/ 349 w 369"/>
                <a:gd name="T3" fmla="*/ 165 h 369"/>
                <a:gd name="T4" fmla="*/ 203 w 369"/>
                <a:gd name="T5" fmla="*/ 20 h 369"/>
                <a:gd name="T6" fmla="*/ 203 w 369"/>
                <a:gd name="T7" fmla="*/ 0 h 369"/>
                <a:gd name="T8" fmla="*/ 166 w 369"/>
                <a:gd name="T9" fmla="*/ 0 h 369"/>
                <a:gd name="T10" fmla="*/ 166 w 369"/>
                <a:gd name="T11" fmla="*/ 20 h 369"/>
                <a:gd name="T12" fmla="*/ 20 w 369"/>
                <a:gd name="T13" fmla="*/ 165 h 369"/>
                <a:gd name="T14" fmla="*/ 0 w 369"/>
                <a:gd name="T15" fmla="*/ 165 h 369"/>
                <a:gd name="T16" fmla="*/ 0 w 369"/>
                <a:gd name="T17" fmla="*/ 203 h 369"/>
                <a:gd name="T18" fmla="*/ 20 w 369"/>
                <a:gd name="T19" fmla="*/ 203 h 369"/>
                <a:gd name="T20" fmla="*/ 166 w 369"/>
                <a:gd name="T21" fmla="*/ 349 h 369"/>
                <a:gd name="T22" fmla="*/ 166 w 369"/>
                <a:gd name="T23" fmla="*/ 369 h 369"/>
                <a:gd name="T24" fmla="*/ 203 w 369"/>
                <a:gd name="T25" fmla="*/ 369 h 369"/>
                <a:gd name="T26" fmla="*/ 203 w 369"/>
                <a:gd name="T27" fmla="*/ 349 h 369"/>
                <a:gd name="T28" fmla="*/ 349 w 369"/>
                <a:gd name="T29" fmla="*/ 203 h 369"/>
                <a:gd name="T30" fmla="*/ 369 w 369"/>
                <a:gd name="T31" fmla="*/ 203 h 369"/>
                <a:gd name="T32" fmla="*/ 369 w 369"/>
                <a:gd name="T33" fmla="*/ 165 h 369"/>
                <a:gd name="T34" fmla="*/ 312 w 369"/>
                <a:gd name="T35" fmla="*/ 165 h 369"/>
                <a:gd name="T36" fmla="*/ 235 w 369"/>
                <a:gd name="T37" fmla="*/ 165 h 369"/>
                <a:gd name="T38" fmla="*/ 201 w 369"/>
                <a:gd name="T39" fmla="*/ 132 h 369"/>
                <a:gd name="T40" fmla="*/ 201 w 369"/>
                <a:gd name="T41" fmla="*/ 55 h 369"/>
                <a:gd name="T42" fmla="*/ 312 w 369"/>
                <a:gd name="T43" fmla="*/ 165 h 369"/>
                <a:gd name="T44" fmla="*/ 166 w 369"/>
                <a:gd name="T45" fmla="*/ 183 h 369"/>
                <a:gd name="T46" fmla="*/ 184 w 369"/>
                <a:gd name="T47" fmla="*/ 165 h 369"/>
                <a:gd name="T48" fmla="*/ 201 w 369"/>
                <a:gd name="T49" fmla="*/ 183 h 369"/>
                <a:gd name="T50" fmla="*/ 184 w 369"/>
                <a:gd name="T51" fmla="*/ 201 h 369"/>
                <a:gd name="T52" fmla="*/ 166 w 369"/>
                <a:gd name="T53" fmla="*/ 183 h 369"/>
                <a:gd name="T54" fmla="*/ 166 w 369"/>
                <a:gd name="T55" fmla="*/ 55 h 369"/>
                <a:gd name="T56" fmla="*/ 166 w 369"/>
                <a:gd name="T57" fmla="*/ 132 h 369"/>
                <a:gd name="T58" fmla="*/ 132 w 369"/>
                <a:gd name="T59" fmla="*/ 165 h 369"/>
                <a:gd name="T60" fmla="*/ 56 w 369"/>
                <a:gd name="T61" fmla="*/ 165 h 369"/>
                <a:gd name="T62" fmla="*/ 166 w 369"/>
                <a:gd name="T63" fmla="*/ 55 h 369"/>
                <a:gd name="T64" fmla="*/ 56 w 369"/>
                <a:gd name="T65" fmla="*/ 201 h 369"/>
                <a:gd name="T66" fmla="*/ 132 w 369"/>
                <a:gd name="T67" fmla="*/ 201 h 369"/>
                <a:gd name="T68" fmla="*/ 166 w 369"/>
                <a:gd name="T69" fmla="*/ 234 h 369"/>
                <a:gd name="T70" fmla="*/ 166 w 369"/>
                <a:gd name="T71" fmla="*/ 311 h 369"/>
                <a:gd name="T72" fmla="*/ 56 w 369"/>
                <a:gd name="T73" fmla="*/ 201 h 369"/>
                <a:gd name="T74" fmla="*/ 201 w 369"/>
                <a:gd name="T75" fmla="*/ 309 h 369"/>
                <a:gd name="T76" fmla="*/ 201 w 369"/>
                <a:gd name="T77" fmla="*/ 232 h 369"/>
                <a:gd name="T78" fmla="*/ 235 w 369"/>
                <a:gd name="T79" fmla="*/ 199 h 369"/>
                <a:gd name="T80" fmla="*/ 312 w 369"/>
                <a:gd name="T81" fmla="*/ 199 h 369"/>
                <a:gd name="T82" fmla="*/ 201 w 369"/>
                <a:gd name="T83" fmla="*/ 30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9" h="369">
                  <a:moveTo>
                    <a:pt x="369" y="165"/>
                  </a:moveTo>
                  <a:cubicBezTo>
                    <a:pt x="349" y="165"/>
                    <a:pt x="349" y="165"/>
                    <a:pt x="349" y="165"/>
                  </a:cubicBezTo>
                  <a:cubicBezTo>
                    <a:pt x="341" y="89"/>
                    <a:pt x="280" y="27"/>
                    <a:pt x="203" y="2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89" y="27"/>
                    <a:pt x="28" y="89"/>
                    <a:pt x="20" y="165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20" y="203"/>
                    <a:pt x="20" y="203"/>
                    <a:pt x="20" y="203"/>
                  </a:cubicBezTo>
                  <a:cubicBezTo>
                    <a:pt x="28" y="280"/>
                    <a:pt x="89" y="341"/>
                    <a:pt x="166" y="349"/>
                  </a:cubicBezTo>
                  <a:cubicBezTo>
                    <a:pt x="166" y="369"/>
                    <a:pt x="166" y="369"/>
                    <a:pt x="166" y="369"/>
                  </a:cubicBezTo>
                  <a:cubicBezTo>
                    <a:pt x="203" y="369"/>
                    <a:pt x="203" y="369"/>
                    <a:pt x="203" y="369"/>
                  </a:cubicBezTo>
                  <a:cubicBezTo>
                    <a:pt x="203" y="349"/>
                    <a:pt x="203" y="349"/>
                    <a:pt x="203" y="349"/>
                  </a:cubicBezTo>
                  <a:cubicBezTo>
                    <a:pt x="280" y="341"/>
                    <a:pt x="341" y="280"/>
                    <a:pt x="349" y="203"/>
                  </a:cubicBezTo>
                  <a:cubicBezTo>
                    <a:pt x="369" y="203"/>
                    <a:pt x="369" y="203"/>
                    <a:pt x="369" y="203"/>
                  </a:cubicBezTo>
                  <a:lnTo>
                    <a:pt x="369" y="165"/>
                  </a:lnTo>
                  <a:close/>
                  <a:moveTo>
                    <a:pt x="312" y="165"/>
                  </a:moveTo>
                  <a:cubicBezTo>
                    <a:pt x="235" y="165"/>
                    <a:pt x="235" y="165"/>
                    <a:pt x="235" y="165"/>
                  </a:cubicBezTo>
                  <a:cubicBezTo>
                    <a:pt x="229" y="150"/>
                    <a:pt x="217" y="138"/>
                    <a:pt x="201" y="132"/>
                  </a:cubicBezTo>
                  <a:cubicBezTo>
                    <a:pt x="201" y="55"/>
                    <a:pt x="201" y="55"/>
                    <a:pt x="201" y="55"/>
                  </a:cubicBezTo>
                  <a:cubicBezTo>
                    <a:pt x="259" y="63"/>
                    <a:pt x="304" y="108"/>
                    <a:pt x="312" y="165"/>
                  </a:cubicBezTo>
                  <a:close/>
                  <a:moveTo>
                    <a:pt x="166" y="183"/>
                  </a:moveTo>
                  <a:cubicBezTo>
                    <a:pt x="166" y="173"/>
                    <a:pt x="174" y="165"/>
                    <a:pt x="184" y="165"/>
                  </a:cubicBezTo>
                  <a:cubicBezTo>
                    <a:pt x="194" y="165"/>
                    <a:pt x="201" y="173"/>
                    <a:pt x="201" y="183"/>
                  </a:cubicBezTo>
                  <a:cubicBezTo>
                    <a:pt x="201" y="193"/>
                    <a:pt x="194" y="201"/>
                    <a:pt x="184" y="201"/>
                  </a:cubicBezTo>
                  <a:cubicBezTo>
                    <a:pt x="174" y="201"/>
                    <a:pt x="166" y="193"/>
                    <a:pt x="166" y="183"/>
                  </a:cubicBezTo>
                  <a:close/>
                  <a:moveTo>
                    <a:pt x="166" y="55"/>
                  </a:moveTo>
                  <a:cubicBezTo>
                    <a:pt x="166" y="132"/>
                    <a:pt x="166" y="132"/>
                    <a:pt x="166" y="132"/>
                  </a:cubicBezTo>
                  <a:cubicBezTo>
                    <a:pt x="150" y="138"/>
                    <a:pt x="138" y="150"/>
                    <a:pt x="132" y="165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63" y="108"/>
                    <a:pt x="109" y="63"/>
                    <a:pt x="166" y="55"/>
                  </a:cubicBezTo>
                  <a:close/>
                  <a:moveTo>
                    <a:pt x="56" y="201"/>
                  </a:moveTo>
                  <a:cubicBezTo>
                    <a:pt x="132" y="201"/>
                    <a:pt x="132" y="201"/>
                    <a:pt x="132" y="201"/>
                  </a:cubicBezTo>
                  <a:cubicBezTo>
                    <a:pt x="138" y="217"/>
                    <a:pt x="150" y="229"/>
                    <a:pt x="166" y="234"/>
                  </a:cubicBezTo>
                  <a:cubicBezTo>
                    <a:pt x="166" y="311"/>
                    <a:pt x="166" y="311"/>
                    <a:pt x="166" y="311"/>
                  </a:cubicBezTo>
                  <a:cubicBezTo>
                    <a:pt x="109" y="301"/>
                    <a:pt x="65" y="258"/>
                    <a:pt x="56" y="201"/>
                  </a:cubicBezTo>
                  <a:close/>
                  <a:moveTo>
                    <a:pt x="201" y="309"/>
                  </a:moveTo>
                  <a:cubicBezTo>
                    <a:pt x="201" y="232"/>
                    <a:pt x="201" y="232"/>
                    <a:pt x="201" y="232"/>
                  </a:cubicBezTo>
                  <a:cubicBezTo>
                    <a:pt x="217" y="227"/>
                    <a:pt x="229" y="215"/>
                    <a:pt x="235" y="199"/>
                  </a:cubicBezTo>
                  <a:cubicBezTo>
                    <a:pt x="312" y="199"/>
                    <a:pt x="312" y="199"/>
                    <a:pt x="312" y="199"/>
                  </a:cubicBezTo>
                  <a:cubicBezTo>
                    <a:pt x="302" y="258"/>
                    <a:pt x="259" y="301"/>
                    <a:pt x="201" y="30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47" name="Groupe 246">
            <a:extLst>
              <a:ext uri="{FF2B5EF4-FFF2-40B4-BE49-F238E27FC236}">
                <a16:creationId xmlns:a16="http://schemas.microsoft.com/office/drawing/2014/main" xmlns="" id="{CF467B46-4050-4F2E-ADCA-9379E34F2B71}"/>
              </a:ext>
            </a:extLst>
          </p:cNvPr>
          <p:cNvGrpSpPr/>
          <p:nvPr/>
        </p:nvGrpSpPr>
        <p:grpSpPr>
          <a:xfrm>
            <a:off x="4847349" y="1687269"/>
            <a:ext cx="550430" cy="550430"/>
            <a:chOff x="325276" y="3939277"/>
            <a:chExt cx="430299" cy="430299"/>
          </a:xfrm>
        </p:grpSpPr>
        <p:sp>
          <p:nvSpPr>
            <p:cNvPr id="174" name="Ellipse 173">
              <a:extLst>
                <a:ext uri="{FF2B5EF4-FFF2-40B4-BE49-F238E27FC236}">
                  <a16:creationId xmlns:a16="http://schemas.microsoft.com/office/drawing/2014/main" xmlns="" id="{BD4FC46F-4393-4867-A4AD-8B6FD14F85EF}"/>
                </a:ext>
              </a:extLst>
            </p:cNvPr>
            <p:cNvSpPr/>
            <p:nvPr/>
          </p:nvSpPr>
          <p:spPr>
            <a:xfrm rot="10800000">
              <a:off x="325276" y="3939277"/>
              <a:ext cx="430299" cy="43029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5" name="Freeform 29">
              <a:extLst>
                <a:ext uri="{FF2B5EF4-FFF2-40B4-BE49-F238E27FC236}">
                  <a16:creationId xmlns:a16="http://schemas.microsoft.com/office/drawing/2014/main" xmlns="" id="{F311526F-3DF5-4594-8DE6-42E0B971BF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660" y="4000619"/>
              <a:ext cx="263083" cy="257335"/>
            </a:xfrm>
            <a:custGeom>
              <a:avLst/>
              <a:gdLst>
                <a:gd name="T0" fmla="*/ 745 w 778"/>
                <a:gd name="T1" fmla="*/ 360 h 761"/>
                <a:gd name="T2" fmla="*/ 695 w 778"/>
                <a:gd name="T3" fmla="*/ 0 h 761"/>
                <a:gd name="T4" fmla="*/ 555 w 778"/>
                <a:gd name="T5" fmla="*/ 0 h 761"/>
                <a:gd name="T6" fmla="*/ 515 w 778"/>
                <a:gd name="T7" fmla="*/ 290 h 761"/>
                <a:gd name="T8" fmla="*/ 515 w 778"/>
                <a:gd name="T9" fmla="*/ 263 h 761"/>
                <a:gd name="T10" fmla="*/ 350 w 778"/>
                <a:gd name="T11" fmla="*/ 343 h 761"/>
                <a:gd name="T12" fmla="*/ 350 w 778"/>
                <a:gd name="T13" fmla="*/ 259 h 761"/>
                <a:gd name="T14" fmla="*/ 199 w 778"/>
                <a:gd name="T15" fmla="*/ 343 h 761"/>
                <a:gd name="T16" fmla="*/ 199 w 778"/>
                <a:gd name="T17" fmla="*/ 259 h 761"/>
                <a:gd name="T18" fmla="*/ 0 w 778"/>
                <a:gd name="T19" fmla="*/ 370 h 761"/>
                <a:gd name="T20" fmla="*/ 0 w 778"/>
                <a:gd name="T21" fmla="*/ 761 h 761"/>
                <a:gd name="T22" fmla="*/ 778 w 778"/>
                <a:gd name="T23" fmla="*/ 761 h 761"/>
                <a:gd name="T24" fmla="*/ 778 w 778"/>
                <a:gd name="T25" fmla="*/ 360 h 761"/>
                <a:gd name="T26" fmla="*/ 745 w 778"/>
                <a:gd name="T27" fmla="*/ 360 h 761"/>
                <a:gd name="T28" fmla="*/ 207 w 778"/>
                <a:gd name="T29" fmla="*/ 703 h 761"/>
                <a:gd name="T30" fmla="*/ 75 w 778"/>
                <a:gd name="T31" fmla="*/ 703 h 761"/>
                <a:gd name="T32" fmla="*/ 75 w 778"/>
                <a:gd name="T33" fmla="*/ 637 h 761"/>
                <a:gd name="T34" fmla="*/ 207 w 778"/>
                <a:gd name="T35" fmla="*/ 637 h 761"/>
                <a:gd name="T36" fmla="*/ 207 w 778"/>
                <a:gd name="T37" fmla="*/ 703 h 761"/>
                <a:gd name="T38" fmla="*/ 207 w 778"/>
                <a:gd name="T39" fmla="*/ 579 h 761"/>
                <a:gd name="T40" fmla="*/ 75 w 778"/>
                <a:gd name="T41" fmla="*/ 579 h 761"/>
                <a:gd name="T42" fmla="*/ 75 w 778"/>
                <a:gd name="T43" fmla="*/ 513 h 761"/>
                <a:gd name="T44" fmla="*/ 207 w 778"/>
                <a:gd name="T45" fmla="*/ 513 h 761"/>
                <a:gd name="T46" fmla="*/ 207 w 778"/>
                <a:gd name="T47" fmla="*/ 579 h 761"/>
                <a:gd name="T48" fmla="*/ 439 w 778"/>
                <a:gd name="T49" fmla="*/ 703 h 761"/>
                <a:gd name="T50" fmla="*/ 306 w 778"/>
                <a:gd name="T51" fmla="*/ 703 h 761"/>
                <a:gd name="T52" fmla="*/ 306 w 778"/>
                <a:gd name="T53" fmla="*/ 637 h 761"/>
                <a:gd name="T54" fmla="*/ 439 w 778"/>
                <a:gd name="T55" fmla="*/ 637 h 761"/>
                <a:gd name="T56" fmla="*/ 439 w 778"/>
                <a:gd name="T57" fmla="*/ 703 h 761"/>
                <a:gd name="T58" fmla="*/ 439 w 778"/>
                <a:gd name="T59" fmla="*/ 579 h 761"/>
                <a:gd name="T60" fmla="*/ 306 w 778"/>
                <a:gd name="T61" fmla="*/ 579 h 761"/>
                <a:gd name="T62" fmla="*/ 306 w 778"/>
                <a:gd name="T63" fmla="*/ 513 h 761"/>
                <a:gd name="T64" fmla="*/ 439 w 778"/>
                <a:gd name="T65" fmla="*/ 513 h 761"/>
                <a:gd name="T66" fmla="*/ 439 w 778"/>
                <a:gd name="T67" fmla="*/ 579 h 761"/>
                <a:gd name="T68" fmla="*/ 671 w 778"/>
                <a:gd name="T69" fmla="*/ 703 h 761"/>
                <a:gd name="T70" fmla="*/ 538 w 778"/>
                <a:gd name="T71" fmla="*/ 703 h 761"/>
                <a:gd name="T72" fmla="*/ 538 w 778"/>
                <a:gd name="T73" fmla="*/ 637 h 761"/>
                <a:gd name="T74" fmla="*/ 671 w 778"/>
                <a:gd name="T75" fmla="*/ 637 h 761"/>
                <a:gd name="T76" fmla="*/ 671 w 778"/>
                <a:gd name="T77" fmla="*/ 703 h 761"/>
                <a:gd name="T78" fmla="*/ 671 w 778"/>
                <a:gd name="T79" fmla="*/ 579 h 761"/>
                <a:gd name="T80" fmla="*/ 538 w 778"/>
                <a:gd name="T81" fmla="*/ 579 h 761"/>
                <a:gd name="T82" fmla="*/ 538 w 778"/>
                <a:gd name="T83" fmla="*/ 513 h 761"/>
                <a:gd name="T84" fmla="*/ 671 w 778"/>
                <a:gd name="T85" fmla="*/ 513 h 761"/>
                <a:gd name="T86" fmla="*/ 671 w 778"/>
                <a:gd name="T87" fmla="*/ 579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8" h="761">
                  <a:moveTo>
                    <a:pt x="745" y="360"/>
                  </a:moveTo>
                  <a:lnTo>
                    <a:pt x="695" y="0"/>
                  </a:lnTo>
                  <a:lnTo>
                    <a:pt x="555" y="0"/>
                  </a:lnTo>
                  <a:lnTo>
                    <a:pt x="515" y="290"/>
                  </a:lnTo>
                  <a:lnTo>
                    <a:pt x="515" y="263"/>
                  </a:lnTo>
                  <a:lnTo>
                    <a:pt x="350" y="343"/>
                  </a:lnTo>
                  <a:lnTo>
                    <a:pt x="350" y="259"/>
                  </a:lnTo>
                  <a:lnTo>
                    <a:pt x="199" y="343"/>
                  </a:lnTo>
                  <a:lnTo>
                    <a:pt x="199" y="259"/>
                  </a:lnTo>
                  <a:lnTo>
                    <a:pt x="0" y="370"/>
                  </a:lnTo>
                  <a:lnTo>
                    <a:pt x="0" y="761"/>
                  </a:lnTo>
                  <a:lnTo>
                    <a:pt x="778" y="761"/>
                  </a:lnTo>
                  <a:lnTo>
                    <a:pt x="778" y="360"/>
                  </a:lnTo>
                  <a:lnTo>
                    <a:pt x="745" y="360"/>
                  </a:lnTo>
                  <a:close/>
                  <a:moveTo>
                    <a:pt x="207" y="703"/>
                  </a:moveTo>
                  <a:lnTo>
                    <a:pt x="75" y="703"/>
                  </a:lnTo>
                  <a:lnTo>
                    <a:pt x="75" y="637"/>
                  </a:lnTo>
                  <a:lnTo>
                    <a:pt x="207" y="637"/>
                  </a:lnTo>
                  <a:lnTo>
                    <a:pt x="207" y="703"/>
                  </a:lnTo>
                  <a:close/>
                  <a:moveTo>
                    <a:pt x="207" y="579"/>
                  </a:moveTo>
                  <a:lnTo>
                    <a:pt x="75" y="579"/>
                  </a:lnTo>
                  <a:lnTo>
                    <a:pt x="75" y="513"/>
                  </a:lnTo>
                  <a:lnTo>
                    <a:pt x="207" y="513"/>
                  </a:lnTo>
                  <a:lnTo>
                    <a:pt x="207" y="579"/>
                  </a:lnTo>
                  <a:close/>
                  <a:moveTo>
                    <a:pt x="439" y="703"/>
                  </a:moveTo>
                  <a:lnTo>
                    <a:pt x="306" y="703"/>
                  </a:lnTo>
                  <a:lnTo>
                    <a:pt x="306" y="637"/>
                  </a:lnTo>
                  <a:lnTo>
                    <a:pt x="439" y="637"/>
                  </a:lnTo>
                  <a:lnTo>
                    <a:pt x="439" y="703"/>
                  </a:lnTo>
                  <a:close/>
                  <a:moveTo>
                    <a:pt x="439" y="579"/>
                  </a:moveTo>
                  <a:lnTo>
                    <a:pt x="306" y="579"/>
                  </a:lnTo>
                  <a:lnTo>
                    <a:pt x="306" y="513"/>
                  </a:lnTo>
                  <a:lnTo>
                    <a:pt x="439" y="513"/>
                  </a:lnTo>
                  <a:lnTo>
                    <a:pt x="439" y="579"/>
                  </a:lnTo>
                  <a:close/>
                  <a:moveTo>
                    <a:pt x="671" y="703"/>
                  </a:moveTo>
                  <a:lnTo>
                    <a:pt x="538" y="703"/>
                  </a:lnTo>
                  <a:lnTo>
                    <a:pt x="538" y="637"/>
                  </a:lnTo>
                  <a:lnTo>
                    <a:pt x="671" y="637"/>
                  </a:lnTo>
                  <a:lnTo>
                    <a:pt x="671" y="703"/>
                  </a:lnTo>
                  <a:close/>
                  <a:moveTo>
                    <a:pt x="671" y="579"/>
                  </a:moveTo>
                  <a:lnTo>
                    <a:pt x="538" y="579"/>
                  </a:lnTo>
                  <a:lnTo>
                    <a:pt x="538" y="513"/>
                  </a:lnTo>
                  <a:lnTo>
                    <a:pt x="671" y="513"/>
                  </a:lnTo>
                  <a:lnTo>
                    <a:pt x="671" y="5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77" name="Group 10">
            <a:extLst>
              <a:ext uri="{FF2B5EF4-FFF2-40B4-BE49-F238E27FC236}">
                <a16:creationId xmlns:a16="http://schemas.microsoft.com/office/drawing/2014/main" xmlns="" id="{B0FF4712-E323-4413-B8E4-84CC2DE3F07E}"/>
              </a:ext>
            </a:extLst>
          </p:cNvPr>
          <p:cNvGrpSpPr>
            <a:grpSpLocks/>
          </p:cNvGrpSpPr>
          <p:nvPr/>
        </p:nvGrpSpPr>
        <p:grpSpPr>
          <a:xfrm>
            <a:off x="5890583" y="1680546"/>
            <a:ext cx="562234" cy="562234"/>
            <a:chOff x="4788024" y="2431847"/>
            <a:chExt cx="698878" cy="698962"/>
          </a:xfrm>
        </p:grpSpPr>
        <p:sp>
          <p:nvSpPr>
            <p:cNvPr id="178" name="Ellipse 179">
              <a:extLst>
                <a:ext uri="{FF2B5EF4-FFF2-40B4-BE49-F238E27FC236}">
                  <a16:creationId xmlns:a16="http://schemas.microsoft.com/office/drawing/2014/main" xmlns="" id="{B04DE194-20F4-4045-B055-F4A1AE458C57}"/>
                </a:ext>
              </a:extLst>
            </p:cNvPr>
            <p:cNvSpPr/>
            <p:nvPr/>
          </p:nvSpPr>
          <p:spPr bwMode="gray">
            <a:xfrm>
              <a:off x="4788024" y="2431847"/>
              <a:ext cx="698878" cy="6989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sp>
          <p:nvSpPr>
            <p:cNvPr id="179" name="Freeform 5">
              <a:extLst>
                <a:ext uri="{FF2B5EF4-FFF2-40B4-BE49-F238E27FC236}">
                  <a16:creationId xmlns:a16="http://schemas.microsoft.com/office/drawing/2014/main" xmlns="" id="{4E72DAB7-E854-402E-86B7-03CF28F3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003" y="2597742"/>
              <a:ext cx="342813" cy="369367"/>
            </a:xfrm>
            <a:custGeom>
              <a:avLst/>
              <a:gdLst>
                <a:gd name="T0" fmla="*/ 1444 w 1959"/>
                <a:gd name="T1" fmla="*/ 776 h 2111"/>
                <a:gd name="T2" fmla="*/ 711 w 1959"/>
                <a:gd name="T3" fmla="*/ 1215 h 2111"/>
                <a:gd name="T4" fmla="*/ 295 w 1959"/>
                <a:gd name="T5" fmla="*/ 1392 h 2111"/>
                <a:gd name="T6" fmla="*/ 104 w 1959"/>
                <a:gd name="T7" fmla="*/ 1508 h 2111"/>
                <a:gd name="T8" fmla="*/ 37 w 1959"/>
                <a:gd name="T9" fmla="*/ 1363 h 2111"/>
                <a:gd name="T10" fmla="*/ 49 w 1959"/>
                <a:gd name="T11" fmla="*/ 906 h 2111"/>
                <a:gd name="T12" fmla="*/ 878 w 1959"/>
                <a:gd name="T13" fmla="*/ 379 h 2111"/>
                <a:gd name="T14" fmla="*/ 980 w 1959"/>
                <a:gd name="T15" fmla="*/ 357 h 2111"/>
                <a:gd name="T16" fmla="*/ 1032 w 1959"/>
                <a:gd name="T17" fmla="*/ 345 h 2111"/>
                <a:gd name="T18" fmla="*/ 1730 w 1959"/>
                <a:gd name="T19" fmla="*/ 43 h 2111"/>
                <a:gd name="T20" fmla="*/ 1774 w 1959"/>
                <a:gd name="T21" fmla="*/ 0 h 2111"/>
                <a:gd name="T22" fmla="*/ 1795 w 1959"/>
                <a:gd name="T23" fmla="*/ 57 h 2111"/>
                <a:gd name="T24" fmla="*/ 1885 w 1959"/>
                <a:gd name="T25" fmla="*/ 1067 h 2111"/>
                <a:gd name="T26" fmla="*/ 1403 w 1959"/>
                <a:gd name="T27" fmla="*/ 1777 h 2111"/>
                <a:gd name="T28" fmla="*/ 763 w 1959"/>
                <a:gd name="T29" fmla="*/ 1954 h 2111"/>
                <a:gd name="T30" fmla="*/ 284 w 1959"/>
                <a:gd name="T31" fmla="*/ 1752 h 2111"/>
                <a:gd name="T32" fmla="*/ 284 w 1959"/>
                <a:gd name="T33" fmla="*/ 1752 h 2111"/>
                <a:gd name="T34" fmla="*/ 161 w 1959"/>
                <a:gd name="T35" fmla="*/ 2111 h 2111"/>
                <a:gd name="T36" fmla="*/ 81 w 1959"/>
                <a:gd name="T37" fmla="*/ 2111 h 2111"/>
                <a:gd name="T38" fmla="*/ 229 w 1959"/>
                <a:gd name="T39" fmla="*/ 1693 h 2111"/>
                <a:gd name="T40" fmla="*/ 535 w 1959"/>
                <a:gd name="T41" fmla="*/ 1444 h 2111"/>
                <a:gd name="T42" fmla="*/ 794 w 1959"/>
                <a:gd name="T43" fmla="*/ 1310 h 2111"/>
                <a:gd name="T44" fmla="*/ 1444 w 1959"/>
                <a:gd name="T45" fmla="*/ 776 h 2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9" h="2111">
                  <a:moveTo>
                    <a:pt x="1444" y="776"/>
                  </a:moveTo>
                  <a:cubicBezTo>
                    <a:pt x="1340" y="1024"/>
                    <a:pt x="1013" y="1098"/>
                    <a:pt x="711" y="1215"/>
                  </a:cubicBezTo>
                  <a:cubicBezTo>
                    <a:pt x="578" y="1266"/>
                    <a:pt x="437" y="1320"/>
                    <a:pt x="295" y="1392"/>
                  </a:cubicBezTo>
                  <a:cubicBezTo>
                    <a:pt x="231" y="1425"/>
                    <a:pt x="166" y="1463"/>
                    <a:pt x="104" y="1508"/>
                  </a:cubicBezTo>
                  <a:cubicBezTo>
                    <a:pt x="72" y="1464"/>
                    <a:pt x="51" y="1414"/>
                    <a:pt x="37" y="1363"/>
                  </a:cubicBezTo>
                  <a:cubicBezTo>
                    <a:pt x="0" y="1230"/>
                    <a:pt x="2" y="1036"/>
                    <a:pt x="49" y="906"/>
                  </a:cubicBezTo>
                  <a:cubicBezTo>
                    <a:pt x="186" y="531"/>
                    <a:pt x="530" y="455"/>
                    <a:pt x="878" y="379"/>
                  </a:cubicBezTo>
                  <a:cubicBezTo>
                    <a:pt x="915" y="371"/>
                    <a:pt x="951" y="363"/>
                    <a:pt x="980" y="357"/>
                  </a:cubicBezTo>
                  <a:cubicBezTo>
                    <a:pt x="1032" y="345"/>
                    <a:pt x="1032" y="345"/>
                    <a:pt x="1032" y="345"/>
                  </a:cubicBezTo>
                  <a:cubicBezTo>
                    <a:pt x="1289" y="286"/>
                    <a:pt x="1537" y="230"/>
                    <a:pt x="1730" y="43"/>
                  </a:cubicBezTo>
                  <a:cubicBezTo>
                    <a:pt x="1774" y="0"/>
                    <a:pt x="1774" y="0"/>
                    <a:pt x="1774" y="0"/>
                  </a:cubicBezTo>
                  <a:cubicBezTo>
                    <a:pt x="1795" y="57"/>
                    <a:pt x="1795" y="57"/>
                    <a:pt x="1795" y="57"/>
                  </a:cubicBezTo>
                  <a:cubicBezTo>
                    <a:pt x="1915" y="375"/>
                    <a:pt x="1959" y="740"/>
                    <a:pt x="1885" y="1067"/>
                  </a:cubicBezTo>
                  <a:cubicBezTo>
                    <a:pt x="1821" y="1350"/>
                    <a:pt x="1669" y="1605"/>
                    <a:pt x="1403" y="1777"/>
                  </a:cubicBezTo>
                  <a:cubicBezTo>
                    <a:pt x="1232" y="1891"/>
                    <a:pt x="967" y="1961"/>
                    <a:pt x="763" y="1954"/>
                  </a:cubicBezTo>
                  <a:cubicBezTo>
                    <a:pt x="588" y="1947"/>
                    <a:pt x="417" y="1890"/>
                    <a:pt x="284" y="1752"/>
                  </a:cubicBezTo>
                  <a:cubicBezTo>
                    <a:pt x="284" y="1752"/>
                    <a:pt x="284" y="1752"/>
                    <a:pt x="284" y="1752"/>
                  </a:cubicBezTo>
                  <a:cubicBezTo>
                    <a:pt x="211" y="1847"/>
                    <a:pt x="161" y="1966"/>
                    <a:pt x="161" y="2111"/>
                  </a:cubicBezTo>
                  <a:cubicBezTo>
                    <a:pt x="81" y="2111"/>
                    <a:pt x="81" y="2111"/>
                    <a:pt x="81" y="2111"/>
                  </a:cubicBezTo>
                  <a:cubicBezTo>
                    <a:pt x="81" y="1941"/>
                    <a:pt x="141" y="1803"/>
                    <a:pt x="229" y="1693"/>
                  </a:cubicBezTo>
                  <a:cubicBezTo>
                    <a:pt x="315" y="1585"/>
                    <a:pt x="427" y="1504"/>
                    <a:pt x="535" y="1444"/>
                  </a:cubicBezTo>
                  <a:cubicBezTo>
                    <a:pt x="622" y="1396"/>
                    <a:pt x="709" y="1353"/>
                    <a:pt x="794" y="1310"/>
                  </a:cubicBezTo>
                  <a:cubicBezTo>
                    <a:pt x="1088" y="1163"/>
                    <a:pt x="1345" y="1035"/>
                    <a:pt x="1444" y="7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sym typeface="+mn-lt"/>
              </a:endParaRPr>
            </a:p>
          </p:txBody>
        </p:sp>
      </p:grpSp>
      <p:grpSp>
        <p:nvGrpSpPr>
          <p:cNvPr id="180" name="Group 91">
            <a:extLst>
              <a:ext uri="{FF2B5EF4-FFF2-40B4-BE49-F238E27FC236}">
                <a16:creationId xmlns:a16="http://schemas.microsoft.com/office/drawing/2014/main" xmlns="" id="{BFEA9E75-A067-4F99-81D3-5237CAA24937}"/>
              </a:ext>
            </a:extLst>
          </p:cNvPr>
          <p:cNvGrpSpPr>
            <a:grpSpLocks/>
          </p:cNvGrpSpPr>
          <p:nvPr/>
        </p:nvGrpSpPr>
        <p:grpSpPr>
          <a:xfrm>
            <a:off x="6951848" y="1683273"/>
            <a:ext cx="562234" cy="562234"/>
            <a:chOff x="472150" y="4139849"/>
            <a:chExt cx="698878" cy="698962"/>
          </a:xfrm>
        </p:grpSpPr>
        <p:sp>
          <p:nvSpPr>
            <p:cNvPr id="181" name="Ellipse 179">
              <a:extLst>
                <a:ext uri="{FF2B5EF4-FFF2-40B4-BE49-F238E27FC236}">
                  <a16:creationId xmlns:a16="http://schemas.microsoft.com/office/drawing/2014/main" xmlns="" id="{034EA414-F35D-476B-A5C1-20B4B6D9EF49}"/>
                </a:ext>
              </a:extLst>
            </p:cNvPr>
            <p:cNvSpPr/>
            <p:nvPr/>
          </p:nvSpPr>
          <p:spPr bwMode="gray">
            <a:xfrm>
              <a:off x="472150" y="4139849"/>
              <a:ext cx="698878" cy="6989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grpSp>
          <p:nvGrpSpPr>
            <p:cNvPr id="182" name="Group 280">
              <a:extLst>
                <a:ext uri="{FF2B5EF4-FFF2-40B4-BE49-F238E27FC236}">
                  <a16:creationId xmlns:a16="http://schemas.microsoft.com/office/drawing/2014/main" xmlns="" id="{6236922C-2BC8-4CBD-BD81-49E8B1F679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6221" y="4283042"/>
              <a:ext cx="530736" cy="412576"/>
              <a:chOff x="3190" y="2048"/>
              <a:chExt cx="478" cy="369"/>
            </a:xfrm>
          </p:grpSpPr>
          <p:sp>
            <p:nvSpPr>
              <p:cNvPr id="183" name="Freeform 281">
                <a:extLst>
                  <a:ext uri="{FF2B5EF4-FFF2-40B4-BE49-F238E27FC236}">
                    <a16:creationId xmlns:a16="http://schemas.microsoft.com/office/drawing/2014/main" xmlns="" id="{7FBC7F63-83F2-4B5C-AC3F-B468F4C88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4" y="2123"/>
                <a:ext cx="294" cy="294"/>
              </a:xfrm>
              <a:custGeom>
                <a:avLst/>
                <a:gdLst/>
                <a:ahLst/>
                <a:cxnLst>
                  <a:cxn ang="0">
                    <a:pos x="373" y="49"/>
                  </a:cxn>
                  <a:cxn ang="0">
                    <a:pos x="439" y="32"/>
                  </a:cxn>
                  <a:cxn ang="0">
                    <a:pos x="434" y="70"/>
                  </a:cxn>
                  <a:cxn ang="0">
                    <a:pos x="474" y="82"/>
                  </a:cxn>
                  <a:cxn ang="0">
                    <a:pos x="506" y="82"/>
                  </a:cxn>
                  <a:cxn ang="0">
                    <a:pos x="508" y="115"/>
                  </a:cxn>
                  <a:cxn ang="0">
                    <a:pos x="512" y="151"/>
                  </a:cxn>
                  <a:cxn ang="0">
                    <a:pos x="551" y="182"/>
                  </a:cxn>
                  <a:cxn ang="0">
                    <a:pos x="586" y="257"/>
                  </a:cxn>
                  <a:cxn ang="0">
                    <a:pos x="552" y="269"/>
                  </a:cxn>
                  <a:cxn ang="0">
                    <a:pos x="557" y="303"/>
                  </a:cxn>
                  <a:cxn ang="0">
                    <a:pos x="587" y="310"/>
                  </a:cxn>
                  <a:cxn ang="0">
                    <a:pos x="575" y="349"/>
                  </a:cxn>
                  <a:cxn ang="0">
                    <a:pos x="548" y="353"/>
                  </a:cxn>
                  <a:cxn ang="0">
                    <a:pos x="539" y="381"/>
                  </a:cxn>
                  <a:cxn ang="0">
                    <a:pos x="555" y="433"/>
                  </a:cxn>
                  <a:cxn ang="0">
                    <a:pos x="520" y="424"/>
                  </a:cxn>
                  <a:cxn ang="0">
                    <a:pos x="516" y="491"/>
                  </a:cxn>
                  <a:cxn ang="0">
                    <a:pos x="467" y="490"/>
                  </a:cxn>
                  <a:cxn ang="0">
                    <a:pos x="447" y="535"/>
                  </a:cxn>
                  <a:cxn ang="0">
                    <a:pos x="416" y="560"/>
                  </a:cxn>
                  <a:cxn ang="0">
                    <a:pos x="370" y="542"/>
                  </a:cxn>
                  <a:cxn ang="0">
                    <a:pos x="362" y="571"/>
                  </a:cxn>
                  <a:cxn ang="0">
                    <a:pos x="355" y="583"/>
                  </a:cxn>
                  <a:cxn ang="0">
                    <a:pos x="324" y="578"/>
                  </a:cxn>
                  <a:cxn ang="0">
                    <a:pos x="315" y="552"/>
                  </a:cxn>
                  <a:cxn ang="0">
                    <a:pos x="252" y="586"/>
                  </a:cxn>
                  <a:cxn ang="0">
                    <a:pos x="217" y="542"/>
                  </a:cxn>
                  <a:cxn ang="0">
                    <a:pos x="179" y="568"/>
                  </a:cxn>
                  <a:cxn ang="0">
                    <a:pos x="148" y="542"/>
                  </a:cxn>
                  <a:cxn ang="0">
                    <a:pos x="142" y="503"/>
                  </a:cxn>
                  <a:cxn ang="0">
                    <a:pos x="122" y="505"/>
                  </a:cxn>
                  <a:cxn ang="0">
                    <a:pos x="101" y="519"/>
                  </a:cxn>
                  <a:cxn ang="0">
                    <a:pos x="98" y="462"/>
                  </a:cxn>
                  <a:cxn ang="0">
                    <a:pos x="82" y="437"/>
                  </a:cxn>
                  <a:cxn ang="0">
                    <a:pos x="73" y="436"/>
                  </a:cxn>
                  <a:cxn ang="0">
                    <a:pos x="26" y="416"/>
                  </a:cxn>
                  <a:cxn ang="0">
                    <a:pos x="58" y="393"/>
                  </a:cxn>
                  <a:cxn ang="0">
                    <a:pos x="27" y="364"/>
                  </a:cxn>
                  <a:cxn ang="0">
                    <a:pos x="20" y="323"/>
                  </a:cxn>
                  <a:cxn ang="0">
                    <a:pos x="21" y="278"/>
                  </a:cxn>
                  <a:cxn ang="0">
                    <a:pos x="6" y="245"/>
                  </a:cxn>
                  <a:cxn ang="0">
                    <a:pos x="46" y="237"/>
                  </a:cxn>
                  <a:cxn ang="0">
                    <a:pos x="58" y="206"/>
                  </a:cxn>
                  <a:cxn ang="0">
                    <a:pos x="26" y="179"/>
                  </a:cxn>
                  <a:cxn ang="0">
                    <a:pos x="38" y="151"/>
                  </a:cxn>
                  <a:cxn ang="0">
                    <a:pos x="49" y="150"/>
                  </a:cxn>
                  <a:cxn ang="0">
                    <a:pos x="72" y="101"/>
                  </a:cxn>
                  <a:cxn ang="0">
                    <a:pos x="154" y="79"/>
                  </a:cxn>
                  <a:cxn ang="0">
                    <a:pos x="168" y="29"/>
                  </a:cxn>
                  <a:cxn ang="0">
                    <a:pos x="228" y="47"/>
                  </a:cxn>
                  <a:cxn ang="0">
                    <a:pos x="226" y="9"/>
                  </a:cxn>
                  <a:cxn ang="0">
                    <a:pos x="274" y="38"/>
                  </a:cxn>
                  <a:cxn ang="0">
                    <a:pos x="336" y="1"/>
                  </a:cxn>
                </a:cxnLst>
                <a:rect l="0" t="0" r="r" b="b"/>
                <a:pathLst>
                  <a:path w="587" h="587">
                    <a:moveTo>
                      <a:pt x="355" y="6"/>
                    </a:moveTo>
                    <a:lnTo>
                      <a:pt x="356" y="24"/>
                    </a:lnTo>
                    <a:lnTo>
                      <a:pt x="355" y="43"/>
                    </a:lnTo>
                    <a:lnTo>
                      <a:pt x="373" y="49"/>
                    </a:lnTo>
                    <a:lnTo>
                      <a:pt x="392" y="55"/>
                    </a:lnTo>
                    <a:lnTo>
                      <a:pt x="415" y="20"/>
                    </a:lnTo>
                    <a:lnTo>
                      <a:pt x="431" y="27"/>
                    </a:lnTo>
                    <a:lnTo>
                      <a:pt x="439" y="32"/>
                    </a:lnTo>
                    <a:lnTo>
                      <a:pt x="447" y="36"/>
                    </a:lnTo>
                    <a:lnTo>
                      <a:pt x="441" y="56"/>
                    </a:lnTo>
                    <a:lnTo>
                      <a:pt x="437" y="66"/>
                    </a:lnTo>
                    <a:lnTo>
                      <a:pt x="434" y="70"/>
                    </a:lnTo>
                    <a:lnTo>
                      <a:pt x="433" y="75"/>
                    </a:lnTo>
                    <a:lnTo>
                      <a:pt x="459" y="95"/>
                    </a:lnTo>
                    <a:lnTo>
                      <a:pt x="467" y="89"/>
                    </a:lnTo>
                    <a:lnTo>
                      <a:pt x="474" y="82"/>
                    </a:lnTo>
                    <a:lnTo>
                      <a:pt x="483" y="76"/>
                    </a:lnTo>
                    <a:lnTo>
                      <a:pt x="493" y="72"/>
                    </a:lnTo>
                    <a:lnTo>
                      <a:pt x="500" y="76"/>
                    </a:lnTo>
                    <a:lnTo>
                      <a:pt x="506" y="82"/>
                    </a:lnTo>
                    <a:lnTo>
                      <a:pt x="512" y="90"/>
                    </a:lnTo>
                    <a:lnTo>
                      <a:pt x="519" y="98"/>
                    </a:lnTo>
                    <a:lnTo>
                      <a:pt x="514" y="107"/>
                    </a:lnTo>
                    <a:lnTo>
                      <a:pt x="508" y="115"/>
                    </a:lnTo>
                    <a:lnTo>
                      <a:pt x="496" y="130"/>
                    </a:lnTo>
                    <a:lnTo>
                      <a:pt x="503" y="141"/>
                    </a:lnTo>
                    <a:lnTo>
                      <a:pt x="508" y="147"/>
                    </a:lnTo>
                    <a:lnTo>
                      <a:pt x="512" y="151"/>
                    </a:lnTo>
                    <a:lnTo>
                      <a:pt x="549" y="136"/>
                    </a:lnTo>
                    <a:lnTo>
                      <a:pt x="566" y="170"/>
                    </a:lnTo>
                    <a:lnTo>
                      <a:pt x="560" y="176"/>
                    </a:lnTo>
                    <a:lnTo>
                      <a:pt x="551" y="182"/>
                    </a:lnTo>
                    <a:lnTo>
                      <a:pt x="534" y="194"/>
                    </a:lnTo>
                    <a:lnTo>
                      <a:pt x="543" y="219"/>
                    </a:lnTo>
                    <a:lnTo>
                      <a:pt x="580" y="219"/>
                    </a:lnTo>
                    <a:lnTo>
                      <a:pt x="586" y="257"/>
                    </a:lnTo>
                    <a:lnTo>
                      <a:pt x="577" y="260"/>
                    </a:lnTo>
                    <a:lnTo>
                      <a:pt x="569" y="261"/>
                    </a:lnTo>
                    <a:lnTo>
                      <a:pt x="560" y="265"/>
                    </a:lnTo>
                    <a:lnTo>
                      <a:pt x="552" y="269"/>
                    </a:lnTo>
                    <a:lnTo>
                      <a:pt x="554" y="277"/>
                    </a:lnTo>
                    <a:lnTo>
                      <a:pt x="554" y="284"/>
                    </a:lnTo>
                    <a:lnTo>
                      <a:pt x="554" y="301"/>
                    </a:lnTo>
                    <a:lnTo>
                      <a:pt x="557" y="303"/>
                    </a:lnTo>
                    <a:lnTo>
                      <a:pt x="561" y="303"/>
                    </a:lnTo>
                    <a:lnTo>
                      <a:pt x="565" y="303"/>
                    </a:lnTo>
                    <a:lnTo>
                      <a:pt x="569" y="304"/>
                    </a:lnTo>
                    <a:lnTo>
                      <a:pt x="587" y="310"/>
                    </a:lnTo>
                    <a:lnTo>
                      <a:pt x="586" y="329"/>
                    </a:lnTo>
                    <a:lnTo>
                      <a:pt x="586" y="338"/>
                    </a:lnTo>
                    <a:lnTo>
                      <a:pt x="583" y="347"/>
                    </a:lnTo>
                    <a:lnTo>
                      <a:pt x="575" y="349"/>
                    </a:lnTo>
                    <a:lnTo>
                      <a:pt x="568" y="349"/>
                    </a:lnTo>
                    <a:lnTo>
                      <a:pt x="558" y="349"/>
                    </a:lnTo>
                    <a:lnTo>
                      <a:pt x="549" y="347"/>
                    </a:lnTo>
                    <a:lnTo>
                      <a:pt x="548" y="353"/>
                    </a:lnTo>
                    <a:lnTo>
                      <a:pt x="545" y="359"/>
                    </a:lnTo>
                    <a:lnTo>
                      <a:pt x="545" y="366"/>
                    </a:lnTo>
                    <a:lnTo>
                      <a:pt x="542" y="372"/>
                    </a:lnTo>
                    <a:lnTo>
                      <a:pt x="539" y="381"/>
                    </a:lnTo>
                    <a:lnTo>
                      <a:pt x="569" y="402"/>
                    </a:lnTo>
                    <a:lnTo>
                      <a:pt x="566" y="410"/>
                    </a:lnTo>
                    <a:lnTo>
                      <a:pt x="563" y="418"/>
                    </a:lnTo>
                    <a:lnTo>
                      <a:pt x="555" y="433"/>
                    </a:lnTo>
                    <a:lnTo>
                      <a:pt x="546" y="433"/>
                    </a:lnTo>
                    <a:lnTo>
                      <a:pt x="537" y="430"/>
                    </a:lnTo>
                    <a:lnTo>
                      <a:pt x="529" y="427"/>
                    </a:lnTo>
                    <a:lnTo>
                      <a:pt x="520" y="424"/>
                    </a:lnTo>
                    <a:lnTo>
                      <a:pt x="499" y="454"/>
                    </a:lnTo>
                    <a:lnTo>
                      <a:pt x="520" y="482"/>
                    </a:lnTo>
                    <a:lnTo>
                      <a:pt x="519" y="486"/>
                    </a:lnTo>
                    <a:lnTo>
                      <a:pt x="516" y="491"/>
                    </a:lnTo>
                    <a:lnTo>
                      <a:pt x="512" y="494"/>
                    </a:lnTo>
                    <a:lnTo>
                      <a:pt x="508" y="497"/>
                    </a:lnTo>
                    <a:lnTo>
                      <a:pt x="494" y="509"/>
                    </a:lnTo>
                    <a:lnTo>
                      <a:pt x="467" y="490"/>
                    </a:lnTo>
                    <a:lnTo>
                      <a:pt x="437" y="509"/>
                    </a:lnTo>
                    <a:lnTo>
                      <a:pt x="439" y="519"/>
                    </a:lnTo>
                    <a:lnTo>
                      <a:pt x="444" y="526"/>
                    </a:lnTo>
                    <a:lnTo>
                      <a:pt x="447" y="535"/>
                    </a:lnTo>
                    <a:lnTo>
                      <a:pt x="448" y="545"/>
                    </a:lnTo>
                    <a:lnTo>
                      <a:pt x="434" y="554"/>
                    </a:lnTo>
                    <a:lnTo>
                      <a:pt x="419" y="561"/>
                    </a:lnTo>
                    <a:lnTo>
                      <a:pt x="416" y="560"/>
                    </a:lnTo>
                    <a:lnTo>
                      <a:pt x="396" y="532"/>
                    </a:lnTo>
                    <a:lnTo>
                      <a:pt x="389" y="535"/>
                    </a:lnTo>
                    <a:lnTo>
                      <a:pt x="379" y="539"/>
                    </a:lnTo>
                    <a:lnTo>
                      <a:pt x="370" y="542"/>
                    </a:lnTo>
                    <a:lnTo>
                      <a:pt x="362" y="546"/>
                    </a:lnTo>
                    <a:lnTo>
                      <a:pt x="362" y="557"/>
                    </a:lnTo>
                    <a:lnTo>
                      <a:pt x="362" y="565"/>
                    </a:lnTo>
                    <a:lnTo>
                      <a:pt x="362" y="571"/>
                    </a:lnTo>
                    <a:lnTo>
                      <a:pt x="362" y="577"/>
                    </a:lnTo>
                    <a:lnTo>
                      <a:pt x="361" y="578"/>
                    </a:lnTo>
                    <a:lnTo>
                      <a:pt x="359" y="580"/>
                    </a:lnTo>
                    <a:lnTo>
                      <a:pt x="355" y="583"/>
                    </a:lnTo>
                    <a:lnTo>
                      <a:pt x="352" y="583"/>
                    </a:lnTo>
                    <a:lnTo>
                      <a:pt x="349" y="583"/>
                    </a:lnTo>
                    <a:lnTo>
                      <a:pt x="329" y="586"/>
                    </a:lnTo>
                    <a:lnTo>
                      <a:pt x="324" y="578"/>
                    </a:lnTo>
                    <a:lnTo>
                      <a:pt x="320" y="569"/>
                    </a:lnTo>
                    <a:lnTo>
                      <a:pt x="317" y="561"/>
                    </a:lnTo>
                    <a:lnTo>
                      <a:pt x="315" y="557"/>
                    </a:lnTo>
                    <a:lnTo>
                      <a:pt x="315" y="552"/>
                    </a:lnTo>
                    <a:lnTo>
                      <a:pt x="281" y="552"/>
                    </a:lnTo>
                    <a:lnTo>
                      <a:pt x="271" y="587"/>
                    </a:lnTo>
                    <a:lnTo>
                      <a:pt x="261" y="587"/>
                    </a:lnTo>
                    <a:lnTo>
                      <a:pt x="252" y="586"/>
                    </a:lnTo>
                    <a:lnTo>
                      <a:pt x="234" y="583"/>
                    </a:lnTo>
                    <a:lnTo>
                      <a:pt x="234" y="546"/>
                    </a:lnTo>
                    <a:lnTo>
                      <a:pt x="225" y="545"/>
                    </a:lnTo>
                    <a:lnTo>
                      <a:pt x="217" y="542"/>
                    </a:lnTo>
                    <a:lnTo>
                      <a:pt x="202" y="535"/>
                    </a:lnTo>
                    <a:lnTo>
                      <a:pt x="191" y="552"/>
                    </a:lnTo>
                    <a:lnTo>
                      <a:pt x="185" y="560"/>
                    </a:lnTo>
                    <a:lnTo>
                      <a:pt x="179" y="568"/>
                    </a:lnTo>
                    <a:lnTo>
                      <a:pt x="171" y="563"/>
                    </a:lnTo>
                    <a:lnTo>
                      <a:pt x="164" y="560"/>
                    </a:lnTo>
                    <a:lnTo>
                      <a:pt x="147" y="551"/>
                    </a:lnTo>
                    <a:lnTo>
                      <a:pt x="148" y="542"/>
                    </a:lnTo>
                    <a:lnTo>
                      <a:pt x="151" y="532"/>
                    </a:lnTo>
                    <a:lnTo>
                      <a:pt x="157" y="514"/>
                    </a:lnTo>
                    <a:lnTo>
                      <a:pt x="150" y="509"/>
                    </a:lnTo>
                    <a:lnTo>
                      <a:pt x="142" y="503"/>
                    </a:lnTo>
                    <a:lnTo>
                      <a:pt x="136" y="499"/>
                    </a:lnTo>
                    <a:lnTo>
                      <a:pt x="131" y="499"/>
                    </a:lnTo>
                    <a:lnTo>
                      <a:pt x="128" y="499"/>
                    </a:lnTo>
                    <a:lnTo>
                      <a:pt x="122" y="505"/>
                    </a:lnTo>
                    <a:lnTo>
                      <a:pt x="115" y="511"/>
                    </a:lnTo>
                    <a:lnTo>
                      <a:pt x="111" y="512"/>
                    </a:lnTo>
                    <a:lnTo>
                      <a:pt x="108" y="516"/>
                    </a:lnTo>
                    <a:lnTo>
                      <a:pt x="101" y="519"/>
                    </a:lnTo>
                    <a:lnTo>
                      <a:pt x="75" y="493"/>
                    </a:lnTo>
                    <a:lnTo>
                      <a:pt x="85" y="477"/>
                    </a:lnTo>
                    <a:lnTo>
                      <a:pt x="92" y="470"/>
                    </a:lnTo>
                    <a:lnTo>
                      <a:pt x="98" y="462"/>
                    </a:lnTo>
                    <a:lnTo>
                      <a:pt x="95" y="459"/>
                    </a:lnTo>
                    <a:lnTo>
                      <a:pt x="92" y="454"/>
                    </a:lnTo>
                    <a:lnTo>
                      <a:pt x="85" y="442"/>
                    </a:lnTo>
                    <a:lnTo>
                      <a:pt x="82" y="437"/>
                    </a:lnTo>
                    <a:lnTo>
                      <a:pt x="79" y="436"/>
                    </a:lnTo>
                    <a:lnTo>
                      <a:pt x="78" y="436"/>
                    </a:lnTo>
                    <a:lnTo>
                      <a:pt x="75" y="436"/>
                    </a:lnTo>
                    <a:lnTo>
                      <a:pt x="73" y="436"/>
                    </a:lnTo>
                    <a:lnTo>
                      <a:pt x="70" y="439"/>
                    </a:lnTo>
                    <a:lnTo>
                      <a:pt x="66" y="442"/>
                    </a:lnTo>
                    <a:lnTo>
                      <a:pt x="43" y="448"/>
                    </a:lnTo>
                    <a:lnTo>
                      <a:pt x="26" y="416"/>
                    </a:lnTo>
                    <a:lnTo>
                      <a:pt x="33" y="410"/>
                    </a:lnTo>
                    <a:lnTo>
                      <a:pt x="41" y="404"/>
                    </a:lnTo>
                    <a:lnTo>
                      <a:pt x="49" y="398"/>
                    </a:lnTo>
                    <a:lnTo>
                      <a:pt x="58" y="393"/>
                    </a:lnTo>
                    <a:lnTo>
                      <a:pt x="49" y="364"/>
                    </a:lnTo>
                    <a:lnTo>
                      <a:pt x="46" y="362"/>
                    </a:lnTo>
                    <a:lnTo>
                      <a:pt x="36" y="362"/>
                    </a:lnTo>
                    <a:lnTo>
                      <a:pt x="27" y="364"/>
                    </a:lnTo>
                    <a:lnTo>
                      <a:pt x="9" y="362"/>
                    </a:lnTo>
                    <a:lnTo>
                      <a:pt x="0" y="329"/>
                    </a:lnTo>
                    <a:lnTo>
                      <a:pt x="10" y="324"/>
                    </a:lnTo>
                    <a:lnTo>
                      <a:pt x="20" y="323"/>
                    </a:lnTo>
                    <a:lnTo>
                      <a:pt x="41" y="318"/>
                    </a:lnTo>
                    <a:lnTo>
                      <a:pt x="41" y="281"/>
                    </a:lnTo>
                    <a:lnTo>
                      <a:pt x="30" y="280"/>
                    </a:lnTo>
                    <a:lnTo>
                      <a:pt x="21" y="278"/>
                    </a:lnTo>
                    <a:lnTo>
                      <a:pt x="3" y="274"/>
                    </a:lnTo>
                    <a:lnTo>
                      <a:pt x="3" y="265"/>
                    </a:lnTo>
                    <a:lnTo>
                      <a:pt x="4" y="254"/>
                    </a:lnTo>
                    <a:lnTo>
                      <a:pt x="6" y="245"/>
                    </a:lnTo>
                    <a:lnTo>
                      <a:pt x="7" y="235"/>
                    </a:lnTo>
                    <a:lnTo>
                      <a:pt x="27" y="235"/>
                    </a:lnTo>
                    <a:lnTo>
                      <a:pt x="36" y="237"/>
                    </a:lnTo>
                    <a:lnTo>
                      <a:pt x="46" y="237"/>
                    </a:lnTo>
                    <a:lnTo>
                      <a:pt x="49" y="229"/>
                    </a:lnTo>
                    <a:lnTo>
                      <a:pt x="50" y="222"/>
                    </a:lnTo>
                    <a:lnTo>
                      <a:pt x="53" y="214"/>
                    </a:lnTo>
                    <a:lnTo>
                      <a:pt x="58" y="206"/>
                    </a:lnTo>
                    <a:lnTo>
                      <a:pt x="40" y="196"/>
                    </a:lnTo>
                    <a:lnTo>
                      <a:pt x="32" y="190"/>
                    </a:lnTo>
                    <a:lnTo>
                      <a:pt x="23" y="183"/>
                    </a:lnTo>
                    <a:lnTo>
                      <a:pt x="26" y="179"/>
                    </a:lnTo>
                    <a:lnTo>
                      <a:pt x="29" y="171"/>
                    </a:lnTo>
                    <a:lnTo>
                      <a:pt x="33" y="159"/>
                    </a:lnTo>
                    <a:lnTo>
                      <a:pt x="36" y="153"/>
                    </a:lnTo>
                    <a:lnTo>
                      <a:pt x="38" y="151"/>
                    </a:lnTo>
                    <a:lnTo>
                      <a:pt x="41" y="150"/>
                    </a:lnTo>
                    <a:lnTo>
                      <a:pt x="43" y="150"/>
                    </a:lnTo>
                    <a:lnTo>
                      <a:pt x="46" y="150"/>
                    </a:lnTo>
                    <a:lnTo>
                      <a:pt x="49" y="150"/>
                    </a:lnTo>
                    <a:lnTo>
                      <a:pt x="53" y="153"/>
                    </a:lnTo>
                    <a:lnTo>
                      <a:pt x="75" y="165"/>
                    </a:lnTo>
                    <a:lnTo>
                      <a:pt x="96" y="133"/>
                    </a:lnTo>
                    <a:lnTo>
                      <a:pt x="72" y="101"/>
                    </a:lnTo>
                    <a:lnTo>
                      <a:pt x="96" y="76"/>
                    </a:lnTo>
                    <a:lnTo>
                      <a:pt x="101" y="76"/>
                    </a:lnTo>
                    <a:lnTo>
                      <a:pt x="127" y="99"/>
                    </a:lnTo>
                    <a:lnTo>
                      <a:pt x="154" y="79"/>
                    </a:lnTo>
                    <a:lnTo>
                      <a:pt x="139" y="46"/>
                    </a:lnTo>
                    <a:lnTo>
                      <a:pt x="148" y="38"/>
                    </a:lnTo>
                    <a:lnTo>
                      <a:pt x="157" y="33"/>
                    </a:lnTo>
                    <a:lnTo>
                      <a:pt x="168" y="29"/>
                    </a:lnTo>
                    <a:lnTo>
                      <a:pt x="177" y="24"/>
                    </a:lnTo>
                    <a:lnTo>
                      <a:pt x="197" y="56"/>
                    </a:lnTo>
                    <a:lnTo>
                      <a:pt x="212" y="52"/>
                    </a:lnTo>
                    <a:lnTo>
                      <a:pt x="228" y="47"/>
                    </a:lnTo>
                    <a:lnTo>
                      <a:pt x="228" y="38"/>
                    </a:lnTo>
                    <a:lnTo>
                      <a:pt x="228" y="27"/>
                    </a:lnTo>
                    <a:lnTo>
                      <a:pt x="226" y="18"/>
                    </a:lnTo>
                    <a:lnTo>
                      <a:pt x="226" y="9"/>
                    </a:lnTo>
                    <a:lnTo>
                      <a:pt x="235" y="6"/>
                    </a:lnTo>
                    <a:lnTo>
                      <a:pt x="245" y="4"/>
                    </a:lnTo>
                    <a:lnTo>
                      <a:pt x="266" y="3"/>
                    </a:lnTo>
                    <a:lnTo>
                      <a:pt x="274" y="38"/>
                    </a:lnTo>
                    <a:lnTo>
                      <a:pt x="307" y="36"/>
                    </a:lnTo>
                    <a:lnTo>
                      <a:pt x="309" y="35"/>
                    </a:lnTo>
                    <a:lnTo>
                      <a:pt x="317" y="0"/>
                    </a:lnTo>
                    <a:lnTo>
                      <a:pt x="336" y="1"/>
                    </a:lnTo>
                    <a:lnTo>
                      <a:pt x="346" y="3"/>
                    </a:lnTo>
                    <a:lnTo>
                      <a:pt x="355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" name="Freeform 282">
                <a:extLst>
                  <a:ext uri="{FF2B5EF4-FFF2-40B4-BE49-F238E27FC236}">
                    <a16:creationId xmlns:a16="http://schemas.microsoft.com/office/drawing/2014/main" xmlns="" id="{806FFAC2-1C66-4607-A02F-309A37908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2048"/>
                <a:ext cx="211" cy="213"/>
              </a:xfrm>
              <a:custGeom>
                <a:avLst/>
                <a:gdLst/>
                <a:ahLst/>
                <a:cxnLst>
                  <a:cxn ang="0">
                    <a:pos x="248" y="26"/>
                  </a:cxn>
                  <a:cxn ang="0">
                    <a:pos x="251" y="52"/>
                  </a:cxn>
                  <a:cxn ang="0">
                    <a:pos x="289" y="40"/>
                  </a:cxn>
                  <a:cxn ang="0">
                    <a:pos x="318" y="30"/>
                  </a:cxn>
                  <a:cxn ang="0">
                    <a:pos x="337" y="98"/>
                  </a:cxn>
                  <a:cxn ang="0">
                    <a:pos x="355" y="85"/>
                  </a:cxn>
                  <a:cxn ang="0">
                    <a:pos x="381" y="79"/>
                  </a:cxn>
                  <a:cxn ang="0">
                    <a:pos x="395" y="102"/>
                  </a:cxn>
                  <a:cxn ang="0">
                    <a:pos x="369" y="145"/>
                  </a:cxn>
                  <a:cxn ang="0">
                    <a:pos x="386" y="157"/>
                  </a:cxn>
                  <a:cxn ang="0">
                    <a:pos x="416" y="154"/>
                  </a:cxn>
                  <a:cxn ang="0">
                    <a:pos x="422" y="191"/>
                  </a:cxn>
                  <a:cxn ang="0">
                    <a:pos x="386" y="211"/>
                  </a:cxn>
                  <a:cxn ang="0">
                    <a:pos x="384" y="232"/>
                  </a:cxn>
                  <a:cxn ang="0">
                    <a:pos x="389" y="239"/>
                  </a:cxn>
                  <a:cxn ang="0">
                    <a:pos x="399" y="242"/>
                  </a:cxn>
                  <a:cxn ang="0">
                    <a:pos x="418" y="246"/>
                  </a:cxn>
                  <a:cxn ang="0">
                    <a:pos x="421" y="254"/>
                  </a:cxn>
                  <a:cxn ang="0">
                    <a:pos x="392" y="281"/>
                  </a:cxn>
                  <a:cxn ang="0">
                    <a:pos x="366" y="292"/>
                  </a:cxn>
                  <a:cxn ang="0">
                    <a:pos x="379" y="327"/>
                  </a:cxn>
                  <a:cxn ang="0">
                    <a:pos x="381" y="343"/>
                  </a:cxn>
                  <a:cxn ang="0">
                    <a:pos x="353" y="359"/>
                  </a:cxn>
                  <a:cxn ang="0">
                    <a:pos x="327" y="341"/>
                  </a:cxn>
                  <a:cxn ang="0">
                    <a:pos x="303" y="361"/>
                  </a:cxn>
                  <a:cxn ang="0">
                    <a:pos x="312" y="389"/>
                  </a:cxn>
                  <a:cxn ang="0">
                    <a:pos x="281" y="411"/>
                  </a:cxn>
                  <a:cxn ang="0">
                    <a:pos x="229" y="385"/>
                  </a:cxn>
                  <a:cxn ang="0">
                    <a:pos x="220" y="425"/>
                  </a:cxn>
                  <a:cxn ang="0">
                    <a:pos x="182" y="404"/>
                  </a:cxn>
                  <a:cxn ang="0">
                    <a:pos x="180" y="384"/>
                  </a:cxn>
                  <a:cxn ang="0">
                    <a:pos x="164" y="379"/>
                  </a:cxn>
                  <a:cxn ang="0">
                    <a:pos x="156" y="376"/>
                  </a:cxn>
                  <a:cxn ang="0">
                    <a:pos x="150" y="376"/>
                  </a:cxn>
                  <a:cxn ang="0">
                    <a:pos x="119" y="405"/>
                  </a:cxn>
                  <a:cxn ang="0">
                    <a:pos x="98" y="387"/>
                  </a:cxn>
                  <a:cxn ang="0">
                    <a:pos x="109" y="364"/>
                  </a:cxn>
                  <a:cxn ang="0">
                    <a:pos x="66" y="340"/>
                  </a:cxn>
                  <a:cxn ang="0">
                    <a:pos x="34" y="336"/>
                  </a:cxn>
                  <a:cxn ang="0">
                    <a:pos x="34" y="314"/>
                  </a:cxn>
                  <a:cxn ang="0">
                    <a:pos x="63" y="292"/>
                  </a:cxn>
                  <a:cxn ang="0">
                    <a:pos x="49" y="261"/>
                  </a:cxn>
                  <a:cxn ang="0">
                    <a:pos x="18" y="266"/>
                  </a:cxn>
                  <a:cxn ang="0">
                    <a:pos x="3" y="249"/>
                  </a:cxn>
                  <a:cxn ang="0">
                    <a:pos x="11" y="225"/>
                  </a:cxn>
                  <a:cxn ang="0">
                    <a:pos x="46" y="214"/>
                  </a:cxn>
                  <a:cxn ang="0">
                    <a:pos x="44" y="205"/>
                  </a:cxn>
                  <a:cxn ang="0">
                    <a:pos x="46" y="191"/>
                  </a:cxn>
                  <a:cxn ang="0">
                    <a:pos x="34" y="185"/>
                  </a:cxn>
                  <a:cxn ang="0">
                    <a:pos x="9" y="156"/>
                  </a:cxn>
                  <a:cxn ang="0">
                    <a:pos x="38" y="142"/>
                  </a:cxn>
                  <a:cxn ang="0">
                    <a:pos x="66" y="136"/>
                  </a:cxn>
                  <a:cxn ang="0">
                    <a:pos x="66" y="113"/>
                  </a:cxn>
                  <a:cxn ang="0">
                    <a:pos x="46" y="90"/>
                  </a:cxn>
                  <a:cxn ang="0">
                    <a:pos x="70" y="62"/>
                  </a:cxn>
                  <a:cxn ang="0">
                    <a:pos x="116" y="78"/>
                  </a:cxn>
                  <a:cxn ang="0">
                    <a:pos x="124" y="46"/>
                  </a:cxn>
                  <a:cxn ang="0">
                    <a:pos x="156" y="21"/>
                  </a:cxn>
                  <a:cxn ang="0">
                    <a:pos x="171" y="52"/>
                  </a:cxn>
                  <a:cxn ang="0">
                    <a:pos x="196" y="49"/>
                  </a:cxn>
                  <a:cxn ang="0">
                    <a:pos x="211" y="12"/>
                  </a:cxn>
                </a:cxnLst>
                <a:rect l="0" t="0" r="r" b="b"/>
                <a:pathLst>
                  <a:path w="422" h="425">
                    <a:moveTo>
                      <a:pt x="248" y="4"/>
                    </a:moveTo>
                    <a:lnTo>
                      <a:pt x="248" y="15"/>
                    </a:lnTo>
                    <a:lnTo>
                      <a:pt x="248" y="26"/>
                    </a:lnTo>
                    <a:lnTo>
                      <a:pt x="248" y="36"/>
                    </a:lnTo>
                    <a:lnTo>
                      <a:pt x="245" y="47"/>
                    </a:lnTo>
                    <a:lnTo>
                      <a:pt x="251" y="52"/>
                    </a:lnTo>
                    <a:lnTo>
                      <a:pt x="277" y="58"/>
                    </a:lnTo>
                    <a:lnTo>
                      <a:pt x="283" y="49"/>
                    </a:lnTo>
                    <a:lnTo>
                      <a:pt x="289" y="40"/>
                    </a:lnTo>
                    <a:lnTo>
                      <a:pt x="297" y="30"/>
                    </a:lnTo>
                    <a:lnTo>
                      <a:pt x="304" y="23"/>
                    </a:lnTo>
                    <a:lnTo>
                      <a:pt x="318" y="30"/>
                    </a:lnTo>
                    <a:lnTo>
                      <a:pt x="332" y="38"/>
                    </a:lnTo>
                    <a:lnTo>
                      <a:pt x="315" y="78"/>
                    </a:lnTo>
                    <a:lnTo>
                      <a:pt x="337" y="98"/>
                    </a:lnTo>
                    <a:lnTo>
                      <a:pt x="341" y="95"/>
                    </a:lnTo>
                    <a:lnTo>
                      <a:pt x="346" y="92"/>
                    </a:lnTo>
                    <a:lnTo>
                      <a:pt x="355" y="85"/>
                    </a:lnTo>
                    <a:lnTo>
                      <a:pt x="373" y="75"/>
                    </a:lnTo>
                    <a:lnTo>
                      <a:pt x="378" y="76"/>
                    </a:lnTo>
                    <a:lnTo>
                      <a:pt x="381" y="79"/>
                    </a:lnTo>
                    <a:lnTo>
                      <a:pt x="387" y="87"/>
                    </a:lnTo>
                    <a:lnTo>
                      <a:pt x="390" y="95"/>
                    </a:lnTo>
                    <a:lnTo>
                      <a:pt x="395" y="102"/>
                    </a:lnTo>
                    <a:lnTo>
                      <a:pt x="361" y="130"/>
                    </a:lnTo>
                    <a:lnTo>
                      <a:pt x="366" y="137"/>
                    </a:lnTo>
                    <a:lnTo>
                      <a:pt x="369" y="145"/>
                    </a:lnTo>
                    <a:lnTo>
                      <a:pt x="372" y="151"/>
                    </a:lnTo>
                    <a:lnTo>
                      <a:pt x="376" y="159"/>
                    </a:lnTo>
                    <a:lnTo>
                      <a:pt x="386" y="157"/>
                    </a:lnTo>
                    <a:lnTo>
                      <a:pt x="396" y="156"/>
                    </a:lnTo>
                    <a:lnTo>
                      <a:pt x="405" y="156"/>
                    </a:lnTo>
                    <a:lnTo>
                      <a:pt x="416" y="154"/>
                    </a:lnTo>
                    <a:lnTo>
                      <a:pt x="421" y="173"/>
                    </a:lnTo>
                    <a:lnTo>
                      <a:pt x="422" y="182"/>
                    </a:lnTo>
                    <a:lnTo>
                      <a:pt x="422" y="191"/>
                    </a:lnTo>
                    <a:lnTo>
                      <a:pt x="384" y="200"/>
                    </a:lnTo>
                    <a:lnTo>
                      <a:pt x="386" y="205"/>
                    </a:lnTo>
                    <a:lnTo>
                      <a:pt x="386" y="211"/>
                    </a:lnTo>
                    <a:lnTo>
                      <a:pt x="383" y="225"/>
                    </a:lnTo>
                    <a:lnTo>
                      <a:pt x="383" y="231"/>
                    </a:lnTo>
                    <a:lnTo>
                      <a:pt x="384" y="232"/>
                    </a:lnTo>
                    <a:lnTo>
                      <a:pt x="384" y="235"/>
                    </a:lnTo>
                    <a:lnTo>
                      <a:pt x="387" y="237"/>
                    </a:lnTo>
                    <a:lnTo>
                      <a:pt x="389" y="239"/>
                    </a:lnTo>
                    <a:lnTo>
                      <a:pt x="392" y="240"/>
                    </a:lnTo>
                    <a:lnTo>
                      <a:pt x="396" y="240"/>
                    </a:lnTo>
                    <a:lnTo>
                      <a:pt x="399" y="242"/>
                    </a:lnTo>
                    <a:lnTo>
                      <a:pt x="404" y="243"/>
                    </a:lnTo>
                    <a:lnTo>
                      <a:pt x="413" y="245"/>
                    </a:lnTo>
                    <a:lnTo>
                      <a:pt x="418" y="246"/>
                    </a:lnTo>
                    <a:lnTo>
                      <a:pt x="421" y="248"/>
                    </a:lnTo>
                    <a:lnTo>
                      <a:pt x="421" y="252"/>
                    </a:lnTo>
                    <a:lnTo>
                      <a:pt x="421" y="254"/>
                    </a:lnTo>
                    <a:lnTo>
                      <a:pt x="419" y="257"/>
                    </a:lnTo>
                    <a:lnTo>
                      <a:pt x="412" y="283"/>
                    </a:lnTo>
                    <a:lnTo>
                      <a:pt x="392" y="281"/>
                    </a:lnTo>
                    <a:lnTo>
                      <a:pt x="383" y="280"/>
                    </a:lnTo>
                    <a:lnTo>
                      <a:pt x="373" y="277"/>
                    </a:lnTo>
                    <a:lnTo>
                      <a:pt x="366" y="292"/>
                    </a:lnTo>
                    <a:lnTo>
                      <a:pt x="358" y="306"/>
                    </a:lnTo>
                    <a:lnTo>
                      <a:pt x="372" y="320"/>
                    </a:lnTo>
                    <a:lnTo>
                      <a:pt x="379" y="327"/>
                    </a:lnTo>
                    <a:lnTo>
                      <a:pt x="384" y="330"/>
                    </a:lnTo>
                    <a:lnTo>
                      <a:pt x="386" y="335"/>
                    </a:lnTo>
                    <a:lnTo>
                      <a:pt x="381" y="343"/>
                    </a:lnTo>
                    <a:lnTo>
                      <a:pt x="375" y="350"/>
                    </a:lnTo>
                    <a:lnTo>
                      <a:pt x="361" y="362"/>
                    </a:lnTo>
                    <a:lnTo>
                      <a:pt x="353" y="359"/>
                    </a:lnTo>
                    <a:lnTo>
                      <a:pt x="344" y="353"/>
                    </a:lnTo>
                    <a:lnTo>
                      <a:pt x="337" y="347"/>
                    </a:lnTo>
                    <a:lnTo>
                      <a:pt x="327" y="341"/>
                    </a:lnTo>
                    <a:lnTo>
                      <a:pt x="321" y="347"/>
                    </a:lnTo>
                    <a:lnTo>
                      <a:pt x="315" y="352"/>
                    </a:lnTo>
                    <a:lnTo>
                      <a:pt x="303" y="361"/>
                    </a:lnTo>
                    <a:lnTo>
                      <a:pt x="306" y="370"/>
                    </a:lnTo>
                    <a:lnTo>
                      <a:pt x="309" y="379"/>
                    </a:lnTo>
                    <a:lnTo>
                      <a:pt x="312" y="389"/>
                    </a:lnTo>
                    <a:lnTo>
                      <a:pt x="314" y="399"/>
                    </a:lnTo>
                    <a:lnTo>
                      <a:pt x="297" y="405"/>
                    </a:lnTo>
                    <a:lnTo>
                      <a:pt x="281" y="411"/>
                    </a:lnTo>
                    <a:lnTo>
                      <a:pt x="260" y="379"/>
                    </a:lnTo>
                    <a:lnTo>
                      <a:pt x="245" y="382"/>
                    </a:lnTo>
                    <a:lnTo>
                      <a:pt x="229" y="385"/>
                    </a:lnTo>
                    <a:lnTo>
                      <a:pt x="225" y="405"/>
                    </a:lnTo>
                    <a:lnTo>
                      <a:pt x="223" y="416"/>
                    </a:lnTo>
                    <a:lnTo>
                      <a:pt x="220" y="425"/>
                    </a:lnTo>
                    <a:lnTo>
                      <a:pt x="185" y="424"/>
                    </a:lnTo>
                    <a:lnTo>
                      <a:pt x="184" y="415"/>
                    </a:lnTo>
                    <a:lnTo>
                      <a:pt x="182" y="404"/>
                    </a:lnTo>
                    <a:lnTo>
                      <a:pt x="182" y="395"/>
                    </a:lnTo>
                    <a:lnTo>
                      <a:pt x="184" y="385"/>
                    </a:lnTo>
                    <a:lnTo>
                      <a:pt x="180" y="384"/>
                    </a:lnTo>
                    <a:lnTo>
                      <a:pt x="177" y="382"/>
                    </a:lnTo>
                    <a:lnTo>
                      <a:pt x="171" y="381"/>
                    </a:lnTo>
                    <a:lnTo>
                      <a:pt x="164" y="379"/>
                    </a:lnTo>
                    <a:lnTo>
                      <a:pt x="161" y="378"/>
                    </a:lnTo>
                    <a:lnTo>
                      <a:pt x="158" y="378"/>
                    </a:lnTo>
                    <a:lnTo>
                      <a:pt x="156" y="376"/>
                    </a:lnTo>
                    <a:lnTo>
                      <a:pt x="153" y="375"/>
                    </a:lnTo>
                    <a:lnTo>
                      <a:pt x="151" y="375"/>
                    </a:lnTo>
                    <a:lnTo>
                      <a:pt x="150" y="376"/>
                    </a:lnTo>
                    <a:lnTo>
                      <a:pt x="128" y="407"/>
                    </a:lnTo>
                    <a:lnTo>
                      <a:pt x="124" y="405"/>
                    </a:lnTo>
                    <a:lnTo>
                      <a:pt x="119" y="405"/>
                    </a:lnTo>
                    <a:lnTo>
                      <a:pt x="112" y="401"/>
                    </a:lnTo>
                    <a:lnTo>
                      <a:pt x="98" y="392"/>
                    </a:lnTo>
                    <a:lnTo>
                      <a:pt x="98" y="387"/>
                    </a:lnTo>
                    <a:lnTo>
                      <a:pt x="99" y="382"/>
                    </a:lnTo>
                    <a:lnTo>
                      <a:pt x="104" y="373"/>
                    </a:lnTo>
                    <a:lnTo>
                      <a:pt x="109" y="364"/>
                    </a:lnTo>
                    <a:lnTo>
                      <a:pt x="113" y="355"/>
                    </a:lnTo>
                    <a:lnTo>
                      <a:pt x="86" y="329"/>
                    </a:lnTo>
                    <a:lnTo>
                      <a:pt x="66" y="340"/>
                    </a:lnTo>
                    <a:lnTo>
                      <a:pt x="44" y="349"/>
                    </a:lnTo>
                    <a:lnTo>
                      <a:pt x="38" y="343"/>
                    </a:lnTo>
                    <a:lnTo>
                      <a:pt x="34" y="336"/>
                    </a:lnTo>
                    <a:lnTo>
                      <a:pt x="24" y="321"/>
                    </a:lnTo>
                    <a:lnTo>
                      <a:pt x="29" y="317"/>
                    </a:lnTo>
                    <a:lnTo>
                      <a:pt x="34" y="314"/>
                    </a:lnTo>
                    <a:lnTo>
                      <a:pt x="43" y="306"/>
                    </a:lnTo>
                    <a:lnTo>
                      <a:pt x="53" y="300"/>
                    </a:lnTo>
                    <a:lnTo>
                      <a:pt x="63" y="292"/>
                    </a:lnTo>
                    <a:lnTo>
                      <a:pt x="58" y="284"/>
                    </a:lnTo>
                    <a:lnTo>
                      <a:pt x="55" y="277"/>
                    </a:lnTo>
                    <a:lnTo>
                      <a:pt x="49" y="261"/>
                    </a:lnTo>
                    <a:lnTo>
                      <a:pt x="40" y="263"/>
                    </a:lnTo>
                    <a:lnTo>
                      <a:pt x="29" y="265"/>
                    </a:lnTo>
                    <a:lnTo>
                      <a:pt x="18" y="266"/>
                    </a:lnTo>
                    <a:lnTo>
                      <a:pt x="14" y="268"/>
                    </a:lnTo>
                    <a:lnTo>
                      <a:pt x="8" y="268"/>
                    </a:lnTo>
                    <a:lnTo>
                      <a:pt x="3" y="249"/>
                    </a:lnTo>
                    <a:lnTo>
                      <a:pt x="1" y="239"/>
                    </a:lnTo>
                    <a:lnTo>
                      <a:pt x="0" y="229"/>
                    </a:lnTo>
                    <a:lnTo>
                      <a:pt x="11" y="225"/>
                    </a:lnTo>
                    <a:lnTo>
                      <a:pt x="21" y="223"/>
                    </a:lnTo>
                    <a:lnTo>
                      <a:pt x="44" y="219"/>
                    </a:lnTo>
                    <a:lnTo>
                      <a:pt x="46" y="214"/>
                    </a:lnTo>
                    <a:lnTo>
                      <a:pt x="44" y="212"/>
                    </a:lnTo>
                    <a:lnTo>
                      <a:pt x="44" y="211"/>
                    </a:lnTo>
                    <a:lnTo>
                      <a:pt x="44" y="205"/>
                    </a:lnTo>
                    <a:lnTo>
                      <a:pt x="46" y="200"/>
                    </a:lnTo>
                    <a:lnTo>
                      <a:pt x="46" y="196"/>
                    </a:lnTo>
                    <a:lnTo>
                      <a:pt x="46" y="191"/>
                    </a:lnTo>
                    <a:lnTo>
                      <a:pt x="44" y="186"/>
                    </a:lnTo>
                    <a:lnTo>
                      <a:pt x="41" y="185"/>
                    </a:lnTo>
                    <a:lnTo>
                      <a:pt x="34" y="185"/>
                    </a:lnTo>
                    <a:lnTo>
                      <a:pt x="4" y="174"/>
                    </a:lnTo>
                    <a:lnTo>
                      <a:pt x="6" y="165"/>
                    </a:lnTo>
                    <a:lnTo>
                      <a:pt x="9" y="156"/>
                    </a:lnTo>
                    <a:lnTo>
                      <a:pt x="17" y="137"/>
                    </a:lnTo>
                    <a:lnTo>
                      <a:pt x="27" y="139"/>
                    </a:lnTo>
                    <a:lnTo>
                      <a:pt x="38" y="142"/>
                    </a:lnTo>
                    <a:lnTo>
                      <a:pt x="58" y="150"/>
                    </a:lnTo>
                    <a:lnTo>
                      <a:pt x="63" y="144"/>
                    </a:lnTo>
                    <a:lnTo>
                      <a:pt x="66" y="136"/>
                    </a:lnTo>
                    <a:lnTo>
                      <a:pt x="69" y="128"/>
                    </a:lnTo>
                    <a:lnTo>
                      <a:pt x="73" y="122"/>
                    </a:lnTo>
                    <a:lnTo>
                      <a:pt x="66" y="113"/>
                    </a:lnTo>
                    <a:lnTo>
                      <a:pt x="58" y="104"/>
                    </a:lnTo>
                    <a:lnTo>
                      <a:pt x="50" y="95"/>
                    </a:lnTo>
                    <a:lnTo>
                      <a:pt x="46" y="90"/>
                    </a:lnTo>
                    <a:lnTo>
                      <a:pt x="44" y="84"/>
                    </a:lnTo>
                    <a:lnTo>
                      <a:pt x="66" y="61"/>
                    </a:lnTo>
                    <a:lnTo>
                      <a:pt x="70" y="62"/>
                    </a:lnTo>
                    <a:lnTo>
                      <a:pt x="104" y="85"/>
                    </a:lnTo>
                    <a:lnTo>
                      <a:pt x="110" y="82"/>
                    </a:lnTo>
                    <a:lnTo>
                      <a:pt x="116" y="78"/>
                    </a:lnTo>
                    <a:lnTo>
                      <a:pt x="122" y="73"/>
                    </a:lnTo>
                    <a:lnTo>
                      <a:pt x="130" y="70"/>
                    </a:lnTo>
                    <a:lnTo>
                      <a:pt x="124" y="46"/>
                    </a:lnTo>
                    <a:lnTo>
                      <a:pt x="119" y="21"/>
                    </a:lnTo>
                    <a:lnTo>
                      <a:pt x="150" y="10"/>
                    </a:lnTo>
                    <a:lnTo>
                      <a:pt x="156" y="21"/>
                    </a:lnTo>
                    <a:lnTo>
                      <a:pt x="162" y="30"/>
                    </a:lnTo>
                    <a:lnTo>
                      <a:pt x="167" y="41"/>
                    </a:lnTo>
                    <a:lnTo>
                      <a:pt x="171" y="52"/>
                    </a:lnTo>
                    <a:lnTo>
                      <a:pt x="179" y="50"/>
                    </a:lnTo>
                    <a:lnTo>
                      <a:pt x="187" y="50"/>
                    </a:lnTo>
                    <a:lnTo>
                      <a:pt x="196" y="49"/>
                    </a:lnTo>
                    <a:lnTo>
                      <a:pt x="203" y="47"/>
                    </a:lnTo>
                    <a:lnTo>
                      <a:pt x="208" y="23"/>
                    </a:lnTo>
                    <a:lnTo>
                      <a:pt x="211" y="12"/>
                    </a:lnTo>
                    <a:lnTo>
                      <a:pt x="216" y="0"/>
                    </a:lnTo>
                    <a:lnTo>
                      <a:pt x="248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85" name="Group 283">
                <a:extLst>
                  <a:ext uri="{FF2B5EF4-FFF2-40B4-BE49-F238E27FC236}">
                    <a16:creationId xmlns:a16="http://schemas.microsoft.com/office/drawing/2014/main" xmlns="" id="{2CC11E24-A687-4F55-A9C4-E89B880272E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44" y="2104"/>
                <a:ext cx="357" cy="246"/>
                <a:chOff x="2939" y="2052"/>
                <a:chExt cx="357" cy="246"/>
              </a:xfrm>
            </p:grpSpPr>
            <p:sp>
              <p:nvSpPr>
                <p:cNvPr id="186" name="Freeform 284">
                  <a:extLst>
                    <a:ext uri="{FF2B5EF4-FFF2-40B4-BE49-F238E27FC236}">
                      <a16:creationId xmlns:a16="http://schemas.microsoft.com/office/drawing/2014/main" xmlns="" id="{30F46196-0B88-4986-A634-2ACC7B2B51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7" y="2139"/>
                  <a:ext cx="159" cy="159"/>
                </a:xfrm>
                <a:custGeom>
                  <a:avLst/>
                  <a:gdLst/>
                  <a:ahLst/>
                  <a:cxnLst>
                    <a:cxn ang="0">
                      <a:pos x="1" y="144"/>
                    </a:cxn>
                    <a:cxn ang="0">
                      <a:pos x="7" y="112"/>
                    </a:cxn>
                    <a:cxn ang="0">
                      <a:pos x="19" y="84"/>
                    </a:cxn>
                    <a:cxn ang="0">
                      <a:pos x="27" y="70"/>
                    </a:cxn>
                    <a:cxn ang="0">
                      <a:pos x="36" y="58"/>
                    </a:cxn>
                    <a:cxn ang="0">
                      <a:pos x="47" y="47"/>
                    </a:cxn>
                    <a:cxn ang="0">
                      <a:pos x="70" y="28"/>
                    </a:cxn>
                    <a:cxn ang="0">
                      <a:pos x="98" y="14"/>
                    </a:cxn>
                    <a:cxn ang="0">
                      <a:pos x="127" y="3"/>
                    </a:cxn>
                    <a:cxn ang="0">
                      <a:pos x="159" y="0"/>
                    </a:cxn>
                    <a:cxn ang="0">
                      <a:pos x="191" y="3"/>
                    </a:cxn>
                    <a:cxn ang="0">
                      <a:pos x="220" y="14"/>
                    </a:cxn>
                    <a:cxn ang="0">
                      <a:pos x="241" y="23"/>
                    </a:cxn>
                    <a:cxn ang="0">
                      <a:pos x="254" y="32"/>
                    </a:cxn>
                    <a:cxn ang="0">
                      <a:pos x="266" y="41"/>
                    </a:cxn>
                    <a:cxn ang="0">
                      <a:pos x="281" y="58"/>
                    </a:cxn>
                    <a:cxn ang="0">
                      <a:pos x="298" y="84"/>
                    </a:cxn>
                    <a:cxn ang="0">
                      <a:pos x="310" y="112"/>
                    </a:cxn>
                    <a:cxn ang="0">
                      <a:pos x="316" y="144"/>
                    </a:cxn>
                    <a:cxn ang="0">
                      <a:pos x="316" y="176"/>
                    </a:cxn>
                    <a:cxn ang="0">
                      <a:pos x="310" y="207"/>
                    </a:cxn>
                    <a:cxn ang="0">
                      <a:pos x="298" y="236"/>
                    </a:cxn>
                    <a:cxn ang="0">
                      <a:pos x="290" y="248"/>
                    </a:cxn>
                    <a:cxn ang="0">
                      <a:pos x="281" y="260"/>
                    </a:cxn>
                    <a:cxn ang="0">
                      <a:pos x="270" y="271"/>
                    </a:cxn>
                    <a:cxn ang="0">
                      <a:pos x="248" y="291"/>
                    </a:cxn>
                    <a:cxn ang="0">
                      <a:pos x="220" y="306"/>
                    </a:cxn>
                    <a:cxn ang="0">
                      <a:pos x="191" y="315"/>
                    </a:cxn>
                    <a:cxn ang="0">
                      <a:pos x="159" y="318"/>
                    </a:cxn>
                    <a:cxn ang="0">
                      <a:pos x="127" y="315"/>
                    </a:cxn>
                    <a:cxn ang="0">
                      <a:pos x="98" y="306"/>
                    </a:cxn>
                    <a:cxn ang="0">
                      <a:pos x="76" y="295"/>
                    </a:cxn>
                    <a:cxn ang="0">
                      <a:pos x="64" y="286"/>
                    </a:cxn>
                    <a:cxn ang="0">
                      <a:pos x="52" y="277"/>
                    </a:cxn>
                    <a:cxn ang="0">
                      <a:pos x="36" y="260"/>
                    </a:cxn>
                    <a:cxn ang="0">
                      <a:pos x="19" y="236"/>
                    </a:cxn>
                    <a:cxn ang="0">
                      <a:pos x="7" y="207"/>
                    </a:cxn>
                    <a:cxn ang="0">
                      <a:pos x="1" y="176"/>
                    </a:cxn>
                  </a:cxnLst>
                  <a:rect l="0" t="0" r="r" b="b"/>
                  <a:pathLst>
                    <a:path w="318" h="318">
                      <a:moveTo>
                        <a:pt x="0" y="159"/>
                      </a:moveTo>
                      <a:lnTo>
                        <a:pt x="1" y="144"/>
                      </a:lnTo>
                      <a:lnTo>
                        <a:pt x="3" y="127"/>
                      </a:lnTo>
                      <a:lnTo>
                        <a:pt x="7" y="112"/>
                      </a:lnTo>
                      <a:lnTo>
                        <a:pt x="12" y="98"/>
                      </a:lnTo>
                      <a:lnTo>
                        <a:pt x="19" y="84"/>
                      </a:lnTo>
                      <a:lnTo>
                        <a:pt x="23" y="77"/>
                      </a:lnTo>
                      <a:lnTo>
                        <a:pt x="27" y="70"/>
                      </a:lnTo>
                      <a:lnTo>
                        <a:pt x="32" y="64"/>
                      </a:lnTo>
                      <a:lnTo>
                        <a:pt x="36" y="58"/>
                      </a:lnTo>
                      <a:lnTo>
                        <a:pt x="41" y="52"/>
                      </a:lnTo>
                      <a:lnTo>
                        <a:pt x="47" y="47"/>
                      </a:lnTo>
                      <a:lnTo>
                        <a:pt x="58" y="37"/>
                      </a:lnTo>
                      <a:lnTo>
                        <a:pt x="70" y="28"/>
                      </a:lnTo>
                      <a:lnTo>
                        <a:pt x="84" y="20"/>
                      </a:lnTo>
                      <a:lnTo>
                        <a:pt x="98" y="14"/>
                      </a:lnTo>
                      <a:lnTo>
                        <a:pt x="111" y="8"/>
                      </a:lnTo>
                      <a:lnTo>
                        <a:pt x="127" y="3"/>
                      </a:lnTo>
                      <a:lnTo>
                        <a:pt x="142" y="2"/>
                      </a:lnTo>
                      <a:lnTo>
                        <a:pt x="159" y="0"/>
                      </a:lnTo>
                      <a:lnTo>
                        <a:pt x="176" y="2"/>
                      </a:lnTo>
                      <a:lnTo>
                        <a:pt x="191" y="3"/>
                      </a:lnTo>
                      <a:lnTo>
                        <a:pt x="206" y="8"/>
                      </a:lnTo>
                      <a:lnTo>
                        <a:pt x="220" y="14"/>
                      </a:lnTo>
                      <a:lnTo>
                        <a:pt x="235" y="20"/>
                      </a:lnTo>
                      <a:lnTo>
                        <a:pt x="241" y="23"/>
                      </a:lnTo>
                      <a:lnTo>
                        <a:pt x="248" y="28"/>
                      </a:lnTo>
                      <a:lnTo>
                        <a:pt x="254" y="32"/>
                      </a:lnTo>
                      <a:lnTo>
                        <a:pt x="260" y="37"/>
                      </a:lnTo>
                      <a:lnTo>
                        <a:pt x="266" y="41"/>
                      </a:lnTo>
                      <a:lnTo>
                        <a:pt x="270" y="47"/>
                      </a:lnTo>
                      <a:lnTo>
                        <a:pt x="281" y="58"/>
                      </a:lnTo>
                      <a:lnTo>
                        <a:pt x="290" y="70"/>
                      </a:lnTo>
                      <a:lnTo>
                        <a:pt x="298" y="84"/>
                      </a:lnTo>
                      <a:lnTo>
                        <a:pt x="306" y="98"/>
                      </a:lnTo>
                      <a:lnTo>
                        <a:pt x="310" y="112"/>
                      </a:lnTo>
                      <a:lnTo>
                        <a:pt x="315" y="127"/>
                      </a:lnTo>
                      <a:lnTo>
                        <a:pt x="316" y="144"/>
                      </a:lnTo>
                      <a:lnTo>
                        <a:pt x="318" y="159"/>
                      </a:lnTo>
                      <a:lnTo>
                        <a:pt x="316" y="176"/>
                      </a:lnTo>
                      <a:lnTo>
                        <a:pt x="315" y="191"/>
                      </a:lnTo>
                      <a:lnTo>
                        <a:pt x="310" y="207"/>
                      </a:lnTo>
                      <a:lnTo>
                        <a:pt x="306" y="220"/>
                      </a:lnTo>
                      <a:lnTo>
                        <a:pt x="298" y="236"/>
                      </a:lnTo>
                      <a:lnTo>
                        <a:pt x="295" y="242"/>
                      </a:lnTo>
                      <a:lnTo>
                        <a:pt x="290" y="248"/>
                      </a:lnTo>
                      <a:lnTo>
                        <a:pt x="286" y="254"/>
                      </a:lnTo>
                      <a:lnTo>
                        <a:pt x="281" y="260"/>
                      </a:lnTo>
                      <a:lnTo>
                        <a:pt x="277" y="266"/>
                      </a:lnTo>
                      <a:lnTo>
                        <a:pt x="270" y="271"/>
                      </a:lnTo>
                      <a:lnTo>
                        <a:pt x="260" y="282"/>
                      </a:lnTo>
                      <a:lnTo>
                        <a:pt x="248" y="291"/>
                      </a:lnTo>
                      <a:lnTo>
                        <a:pt x="235" y="298"/>
                      </a:lnTo>
                      <a:lnTo>
                        <a:pt x="220" y="306"/>
                      </a:lnTo>
                      <a:lnTo>
                        <a:pt x="206" y="311"/>
                      </a:lnTo>
                      <a:lnTo>
                        <a:pt x="191" y="315"/>
                      </a:lnTo>
                      <a:lnTo>
                        <a:pt x="176" y="317"/>
                      </a:lnTo>
                      <a:lnTo>
                        <a:pt x="159" y="318"/>
                      </a:lnTo>
                      <a:lnTo>
                        <a:pt x="142" y="317"/>
                      </a:lnTo>
                      <a:lnTo>
                        <a:pt x="127" y="315"/>
                      </a:lnTo>
                      <a:lnTo>
                        <a:pt x="111" y="311"/>
                      </a:lnTo>
                      <a:lnTo>
                        <a:pt x="98" y="306"/>
                      </a:lnTo>
                      <a:lnTo>
                        <a:pt x="84" y="298"/>
                      </a:lnTo>
                      <a:lnTo>
                        <a:pt x="76" y="295"/>
                      </a:lnTo>
                      <a:lnTo>
                        <a:pt x="70" y="291"/>
                      </a:lnTo>
                      <a:lnTo>
                        <a:pt x="64" y="286"/>
                      </a:lnTo>
                      <a:lnTo>
                        <a:pt x="58" y="282"/>
                      </a:lnTo>
                      <a:lnTo>
                        <a:pt x="52" y="277"/>
                      </a:lnTo>
                      <a:lnTo>
                        <a:pt x="47" y="271"/>
                      </a:lnTo>
                      <a:lnTo>
                        <a:pt x="36" y="260"/>
                      </a:lnTo>
                      <a:lnTo>
                        <a:pt x="27" y="248"/>
                      </a:lnTo>
                      <a:lnTo>
                        <a:pt x="19" y="236"/>
                      </a:lnTo>
                      <a:lnTo>
                        <a:pt x="12" y="220"/>
                      </a:lnTo>
                      <a:lnTo>
                        <a:pt x="7" y="207"/>
                      </a:lnTo>
                      <a:lnTo>
                        <a:pt x="3" y="191"/>
                      </a:lnTo>
                      <a:lnTo>
                        <a:pt x="1" y="176"/>
                      </a:lnTo>
                      <a:lnTo>
                        <a:pt x="0" y="159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7" name="Freeform 285">
                  <a:extLst>
                    <a:ext uri="{FF2B5EF4-FFF2-40B4-BE49-F238E27FC236}">
                      <a16:creationId xmlns:a16="http://schemas.microsoft.com/office/drawing/2014/main" xmlns="" id="{97DDD612-3EEB-4FFB-9E63-BD17B451A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" y="2052"/>
                  <a:ext cx="104" cy="102"/>
                </a:xfrm>
                <a:custGeom>
                  <a:avLst/>
                  <a:gdLst/>
                  <a:ahLst/>
                  <a:cxnLst>
                    <a:cxn ang="0">
                      <a:pos x="1" y="91"/>
                    </a:cxn>
                    <a:cxn ang="0">
                      <a:pos x="6" y="72"/>
                    </a:cxn>
                    <a:cxn ang="0">
                      <a:pos x="13" y="53"/>
                    </a:cxn>
                    <a:cxn ang="0">
                      <a:pos x="24" y="36"/>
                    </a:cxn>
                    <a:cxn ang="0">
                      <a:pos x="38" y="23"/>
                    </a:cxn>
                    <a:cxn ang="0">
                      <a:pos x="55" y="12"/>
                    </a:cxn>
                    <a:cxn ang="0">
                      <a:pos x="73" y="4"/>
                    </a:cxn>
                    <a:cxn ang="0">
                      <a:pos x="93" y="0"/>
                    </a:cxn>
                    <a:cxn ang="0">
                      <a:pos x="114" y="0"/>
                    </a:cxn>
                    <a:cxn ang="0">
                      <a:pos x="134" y="4"/>
                    </a:cxn>
                    <a:cxn ang="0">
                      <a:pos x="153" y="12"/>
                    </a:cxn>
                    <a:cxn ang="0">
                      <a:pos x="169" y="23"/>
                    </a:cxn>
                    <a:cxn ang="0">
                      <a:pos x="183" y="36"/>
                    </a:cxn>
                    <a:cxn ang="0">
                      <a:pos x="194" y="53"/>
                    </a:cxn>
                    <a:cxn ang="0">
                      <a:pos x="202" y="72"/>
                    </a:cxn>
                    <a:cxn ang="0">
                      <a:pos x="206" y="91"/>
                    </a:cxn>
                    <a:cxn ang="0">
                      <a:pos x="206" y="113"/>
                    </a:cxn>
                    <a:cxn ang="0">
                      <a:pos x="202" y="133"/>
                    </a:cxn>
                    <a:cxn ang="0">
                      <a:pos x="194" y="151"/>
                    </a:cxn>
                    <a:cxn ang="0">
                      <a:pos x="183" y="168"/>
                    </a:cxn>
                    <a:cxn ang="0">
                      <a:pos x="169" y="182"/>
                    </a:cxn>
                    <a:cxn ang="0">
                      <a:pos x="153" y="192"/>
                    </a:cxn>
                    <a:cxn ang="0">
                      <a:pos x="134" y="200"/>
                    </a:cxn>
                    <a:cxn ang="0">
                      <a:pos x="114" y="205"/>
                    </a:cxn>
                    <a:cxn ang="0">
                      <a:pos x="93" y="205"/>
                    </a:cxn>
                    <a:cxn ang="0">
                      <a:pos x="73" y="200"/>
                    </a:cxn>
                    <a:cxn ang="0">
                      <a:pos x="55" y="192"/>
                    </a:cxn>
                    <a:cxn ang="0">
                      <a:pos x="38" y="182"/>
                    </a:cxn>
                    <a:cxn ang="0">
                      <a:pos x="24" y="168"/>
                    </a:cxn>
                    <a:cxn ang="0">
                      <a:pos x="13" y="151"/>
                    </a:cxn>
                    <a:cxn ang="0">
                      <a:pos x="6" y="133"/>
                    </a:cxn>
                    <a:cxn ang="0">
                      <a:pos x="1" y="113"/>
                    </a:cxn>
                  </a:cxnLst>
                  <a:rect l="0" t="0" r="r" b="b"/>
                  <a:pathLst>
                    <a:path w="206" h="205">
                      <a:moveTo>
                        <a:pt x="0" y="102"/>
                      </a:moveTo>
                      <a:lnTo>
                        <a:pt x="1" y="91"/>
                      </a:lnTo>
                      <a:lnTo>
                        <a:pt x="3" y="82"/>
                      </a:lnTo>
                      <a:lnTo>
                        <a:pt x="6" y="72"/>
                      </a:lnTo>
                      <a:lnTo>
                        <a:pt x="9" y="62"/>
                      </a:lnTo>
                      <a:lnTo>
                        <a:pt x="13" y="53"/>
                      </a:lnTo>
                      <a:lnTo>
                        <a:pt x="18" y="46"/>
                      </a:lnTo>
                      <a:lnTo>
                        <a:pt x="24" y="36"/>
                      </a:lnTo>
                      <a:lnTo>
                        <a:pt x="30" y="30"/>
                      </a:lnTo>
                      <a:lnTo>
                        <a:pt x="38" y="23"/>
                      </a:lnTo>
                      <a:lnTo>
                        <a:pt x="45" y="16"/>
                      </a:lnTo>
                      <a:lnTo>
                        <a:pt x="55" y="12"/>
                      </a:lnTo>
                      <a:lnTo>
                        <a:pt x="64" y="7"/>
                      </a:lnTo>
                      <a:lnTo>
                        <a:pt x="73" y="4"/>
                      </a:lnTo>
                      <a:lnTo>
                        <a:pt x="82" y="1"/>
                      </a:lnTo>
                      <a:lnTo>
                        <a:pt x="93" y="0"/>
                      </a:lnTo>
                      <a:lnTo>
                        <a:pt x="104" y="0"/>
                      </a:lnTo>
                      <a:lnTo>
                        <a:pt x="114" y="0"/>
                      </a:lnTo>
                      <a:lnTo>
                        <a:pt x="124" y="1"/>
                      </a:lnTo>
                      <a:lnTo>
                        <a:pt x="134" y="4"/>
                      </a:lnTo>
                      <a:lnTo>
                        <a:pt x="143" y="7"/>
                      </a:lnTo>
                      <a:lnTo>
                        <a:pt x="153" y="12"/>
                      </a:lnTo>
                      <a:lnTo>
                        <a:pt x="160" y="16"/>
                      </a:lnTo>
                      <a:lnTo>
                        <a:pt x="169" y="23"/>
                      </a:lnTo>
                      <a:lnTo>
                        <a:pt x="176" y="30"/>
                      </a:lnTo>
                      <a:lnTo>
                        <a:pt x="183" y="36"/>
                      </a:lnTo>
                      <a:lnTo>
                        <a:pt x="189" y="46"/>
                      </a:lnTo>
                      <a:lnTo>
                        <a:pt x="194" y="53"/>
                      </a:lnTo>
                      <a:lnTo>
                        <a:pt x="199" y="62"/>
                      </a:lnTo>
                      <a:lnTo>
                        <a:pt x="202" y="72"/>
                      </a:lnTo>
                      <a:lnTo>
                        <a:pt x="205" y="82"/>
                      </a:lnTo>
                      <a:lnTo>
                        <a:pt x="206" y="91"/>
                      </a:lnTo>
                      <a:lnTo>
                        <a:pt x="206" y="102"/>
                      </a:lnTo>
                      <a:lnTo>
                        <a:pt x="206" y="113"/>
                      </a:lnTo>
                      <a:lnTo>
                        <a:pt x="205" y="124"/>
                      </a:lnTo>
                      <a:lnTo>
                        <a:pt x="202" y="133"/>
                      </a:lnTo>
                      <a:lnTo>
                        <a:pt x="199" y="142"/>
                      </a:lnTo>
                      <a:lnTo>
                        <a:pt x="194" y="151"/>
                      </a:lnTo>
                      <a:lnTo>
                        <a:pt x="189" y="160"/>
                      </a:lnTo>
                      <a:lnTo>
                        <a:pt x="183" y="168"/>
                      </a:lnTo>
                      <a:lnTo>
                        <a:pt x="176" y="176"/>
                      </a:lnTo>
                      <a:lnTo>
                        <a:pt x="169" y="182"/>
                      </a:lnTo>
                      <a:lnTo>
                        <a:pt x="160" y="188"/>
                      </a:lnTo>
                      <a:lnTo>
                        <a:pt x="153" y="192"/>
                      </a:lnTo>
                      <a:lnTo>
                        <a:pt x="143" y="197"/>
                      </a:lnTo>
                      <a:lnTo>
                        <a:pt x="134" y="200"/>
                      </a:lnTo>
                      <a:lnTo>
                        <a:pt x="124" y="203"/>
                      </a:lnTo>
                      <a:lnTo>
                        <a:pt x="114" y="205"/>
                      </a:lnTo>
                      <a:lnTo>
                        <a:pt x="104" y="205"/>
                      </a:lnTo>
                      <a:lnTo>
                        <a:pt x="93" y="205"/>
                      </a:lnTo>
                      <a:lnTo>
                        <a:pt x="82" y="203"/>
                      </a:lnTo>
                      <a:lnTo>
                        <a:pt x="73" y="200"/>
                      </a:lnTo>
                      <a:lnTo>
                        <a:pt x="64" y="197"/>
                      </a:lnTo>
                      <a:lnTo>
                        <a:pt x="55" y="192"/>
                      </a:lnTo>
                      <a:lnTo>
                        <a:pt x="45" y="188"/>
                      </a:lnTo>
                      <a:lnTo>
                        <a:pt x="38" y="182"/>
                      </a:lnTo>
                      <a:lnTo>
                        <a:pt x="30" y="176"/>
                      </a:lnTo>
                      <a:lnTo>
                        <a:pt x="24" y="168"/>
                      </a:lnTo>
                      <a:lnTo>
                        <a:pt x="18" y="160"/>
                      </a:lnTo>
                      <a:lnTo>
                        <a:pt x="13" y="151"/>
                      </a:lnTo>
                      <a:lnTo>
                        <a:pt x="9" y="142"/>
                      </a:lnTo>
                      <a:lnTo>
                        <a:pt x="6" y="133"/>
                      </a:lnTo>
                      <a:lnTo>
                        <a:pt x="3" y="124"/>
                      </a:lnTo>
                      <a:lnTo>
                        <a:pt x="1" y="113"/>
                      </a:lnTo>
                      <a:lnTo>
                        <a:pt x="0" y="102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50" name="Groupe 249">
            <a:extLst>
              <a:ext uri="{FF2B5EF4-FFF2-40B4-BE49-F238E27FC236}">
                <a16:creationId xmlns:a16="http://schemas.microsoft.com/office/drawing/2014/main" xmlns="" id="{37168BBE-3108-4F78-8715-542E1F25270F}"/>
              </a:ext>
            </a:extLst>
          </p:cNvPr>
          <p:cNvGrpSpPr/>
          <p:nvPr/>
        </p:nvGrpSpPr>
        <p:grpSpPr>
          <a:xfrm>
            <a:off x="645660" y="2817754"/>
            <a:ext cx="555759" cy="555759"/>
            <a:chOff x="645660" y="2817754"/>
            <a:chExt cx="555759" cy="555759"/>
          </a:xfrm>
        </p:grpSpPr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xmlns="" id="{5810A219-6EFE-44EA-8F02-8F1E5F21A3B2}"/>
                </a:ext>
              </a:extLst>
            </p:cNvPr>
            <p:cNvSpPr/>
            <p:nvPr/>
          </p:nvSpPr>
          <p:spPr>
            <a:xfrm rot="10800000">
              <a:off x="645660" y="2817754"/>
              <a:ext cx="555759" cy="55575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3" name="Freeform 23">
              <a:extLst>
                <a:ext uri="{FF2B5EF4-FFF2-40B4-BE49-F238E27FC236}">
                  <a16:creationId xmlns:a16="http://schemas.microsoft.com/office/drawing/2014/main" xmlns="" id="{8F08E4A1-FD9F-465C-BA7F-AFB0609A9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81" y="2891791"/>
              <a:ext cx="272516" cy="360060"/>
            </a:xfrm>
            <a:custGeom>
              <a:avLst/>
              <a:gdLst>
                <a:gd name="T0" fmla="*/ 151 w 302"/>
                <a:gd name="T1" fmla="*/ 0 h 400"/>
                <a:gd name="T2" fmla="*/ 258 w 302"/>
                <a:gd name="T3" fmla="*/ 221 h 400"/>
                <a:gd name="T4" fmla="*/ 151 w 302"/>
                <a:gd name="T5" fmla="*/ 400 h 400"/>
                <a:gd name="T6" fmla="*/ 44 w 302"/>
                <a:gd name="T7" fmla="*/ 221 h 400"/>
                <a:gd name="T8" fmla="*/ 151 w 302"/>
                <a:gd name="T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400">
                  <a:moveTo>
                    <a:pt x="151" y="0"/>
                  </a:moveTo>
                  <a:cubicBezTo>
                    <a:pt x="177" y="95"/>
                    <a:pt x="213" y="129"/>
                    <a:pt x="258" y="221"/>
                  </a:cubicBezTo>
                  <a:cubicBezTo>
                    <a:pt x="302" y="310"/>
                    <a:pt x="237" y="400"/>
                    <a:pt x="151" y="400"/>
                  </a:cubicBezTo>
                  <a:cubicBezTo>
                    <a:pt x="65" y="400"/>
                    <a:pt x="0" y="310"/>
                    <a:pt x="44" y="221"/>
                  </a:cubicBezTo>
                  <a:cubicBezTo>
                    <a:pt x="89" y="129"/>
                    <a:pt x="125" y="95"/>
                    <a:pt x="1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58" name="Groupe 257">
            <a:extLst>
              <a:ext uri="{FF2B5EF4-FFF2-40B4-BE49-F238E27FC236}">
                <a16:creationId xmlns:a16="http://schemas.microsoft.com/office/drawing/2014/main" xmlns="" id="{BE2C6B8B-5E85-4A31-B14A-8BD84301C078}"/>
              </a:ext>
            </a:extLst>
          </p:cNvPr>
          <p:cNvGrpSpPr/>
          <p:nvPr/>
        </p:nvGrpSpPr>
        <p:grpSpPr>
          <a:xfrm>
            <a:off x="6951848" y="2817534"/>
            <a:ext cx="547160" cy="547160"/>
            <a:chOff x="1761276" y="1958707"/>
            <a:chExt cx="1084060" cy="1084060"/>
          </a:xfrm>
        </p:grpSpPr>
        <p:sp>
          <p:nvSpPr>
            <p:cNvPr id="262" name="Ellipse 261">
              <a:extLst>
                <a:ext uri="{FF2B5EF4-FFF2-40B4-BE49-F238E27FC236}">
                  <a16:creationId xmlns:a16="http://schemas.microsoft.com/office/drawing/2014/main" xmlns="" id="{854A7B2A-F2A0-41ED-B1C8-8E4E7ADA0194}"/>
                </a:ext>
              </a:extLst>
            </p:cNvPr>
            <p:cNvSpPr/>
            <p:nvPr/>
          </p:nvSpPr>
          <p:spPr>
            <a:xfrm rot="10800000">
              <a:off x="1761276" y="1958707"/>
              <a:ext cx="1084060" cy="10840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4" name="Freeform 16">
              <a:extLst>
                <a:ext uri="{FF2B5EF4-FFF2-40B4-BE49-F238E27FC236}">
                  <a16:creationId xmlns:a16="http://schemas.microsoft.com/office/drawing/2014/main" xmlns="" id="{770F25F1-685D-4EAA-98C2-637CF3127E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8747" y="2104315"/>
              <a:ext cx="549118" cy="821471"/>
            </a:xfrm>
            <a:custGeom>
              <a:avLst/>
              <a:gdLst>
                <a:gd name="T0" fmla="*/ 120 w 240"/>
                <a:gd name="T1" fmla="*/ 0 h 360"/>
                <a:gd name="T2" fmla="*/ 240 w 240"/>
                <a:gd name="T3" fmla="*/ 120 h 360"/>
                <a:gd name="T4" fmla="*/ 120 w 240"/>
                <a:gd name="T5" fmla="*/ 360 h 360"/>
                <a:gd name="T6" fmla="*/ 0 w 240"/>
                <a:gd name="T7" fmla="*/ 120 h 360"/>
                <a:gd name="T8" fmla="*/ 120 w 240"/>
                <a:gd name="T9" fmla="*/ 0 h 360"/>
                <a:gd name="T10" fmla="*/ 64 w 240"/>
                <a:gd name="T11" fmla="*/ 97 h 360"/>
                <a:gd name="T12" fmla="*/ 76 w 240"/>
                <a:gd name="T13" fmla="*/ 134 h 360"/>
                <a:gd name="T14" fmla="*/ 113 w 240"/>
                <a:gd name="T15" fmla="*/ 146 h 360"/>
                <a:gd name="T16" fmla="*/ 101 w 240"/>
                <a:gd name="T17" fmla="*/ 109 h 360"/>
                <a:gd name="T18" fmla="*/ 64 w 240"/>
                <a:gd name="T19" fmla="*/ 97 h 360"/>
                <a:gd name="T20" fmla="*/ 176 w 240"/>
                <a:gd name="T21" fmla="*/ 97 h 360"/>
                <a:gd name="T22" fmla="*/ 139 w 240"/>
                <a:gd name="T23" fmla="*/ 109 h 360"/>
                <a:gd name="T24" fmla="*/ 127 w 240"/>
                <a:gd name="T25" fmla="*/ 146 h 360"/>
                <a:gd name="T26" fmla="*/ 164 w 240"/>
                <a:gd name="T27" fmla="*/ 134 h 360"/>
                <a:gd name="T28" fmla="*/ 176 w 240"/>
                <a:gd name="T29" fmla="*/ 97 h 360"/>
                <a:gd name="T30" fmla="*/ 120 w 240"/>
                <a:gd name="T31" fmla="*/ 40 h 360"/>
                <a:gd name="T32" fmla="*/ 103 w 240"/>
                <a:gd name="T33" fmla="*/ 75 h 360"/>
                <a:gd name="T34" fmla="*/ 120 w 240"/>
                <a:gd name="T35" fmla="*/ 110 h 360"/>
                <a:gd name="T36" fmla="*/ 137 w 240"/>
                <a:gd name="T37" fmla="*/ 75 h 360"/>
                <a:gd name="T38" fmla="*/ 120 w 240"/>
                <a:gd name="T39" fmla="*/ 40 h 360"/>
                <a:gd name="T40" fmla="*/ 64 w 240"/>
                <a:gd name="T41" fmla="*/ 149 h 360"/>
                <a:gd name="T42" fmla="*/ 76 w 240"/>
                <a:gd name="T43" fmla="*/ 186 h 360"/>
                <a:gd name="T44" fmla="*/ 113 w 240"/>
                <a:gd name="T45" fmla="*/ 198 h 360"/>
                <a:gd name="T46" fmla="*/ 101 w 240"/>
                <a:gd name="T47" fmla="*/ 161 h 360"/>
                <a:gd name="T48" fmla="*/ 64 w 240"/>
                <a:gd name="T49" fmla="*/ 149 h 360"/>
                <a:gd name="T50" fmla="*/ 176 w 240"/>
                <a:gd name="T51" fmla="*/ 149 h 360"/>
                <a:gd name="T52" fmla="*/ 139 w 240"/>
                <a:gd name="T53" fmla="*/ 161 h 360"/>
                <a:gd name="T54" fmla="*/ 127 w 240"/>
                <a:gd name="T55" fmla="*/ 198 h 360"/>
                <a:gd name="T56" fmla="*/ 164 w 240"/>
                <a:gd name="T57" fmla="*/ 186 h 360"/>
                <a:gd name="T58" fmla="*/ 176 w 240"/>
                <a:gd name="T59" fmla="*/ 14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0" h="360">
                  <a:moveTo>
                    <a:pt x="120" y="0"/>
                  </a:moveTo>
                  <a:cubicBezTo>
                    <a:pt x="186" y="0"/>
                    <a:pt x="240" y="54"/>
                    <a:pt x="240" y="120"/>
                  </a:cubicBezTo>
                  <a:cubicBezTo>
                    <a:pt x="240" y="186"/>
                    <a:pt x="164" y="360"/>
                    <a:pt x="120" y="360"/>
                  </a:cubicBezTo>
                  <a:cubicBezTo>
                    <a:pt x="76" y="360"/>
                    <a:pt x="0" y="186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lose/>
                  <a:moveTo>
                    <a:pt x="64" y="97"/>
                  </a:moveTo>
                  <a:cubicBezTo>
                    <a:pt x="59" y="101"/>
                    <a:pt x="62" y="120"/>
                    <a:pt x="76" y="134"/>
                  </a:cubicBezTo>
                  <a:cubicBezTo>
                    <a:pt x="90" y="147"/>
                    <a:pt x="109" y="150"/>
                    <a:pt x="113" y="146"/>
                  </a:cubicBezTo>
                  <a:cubicBezTo>
                    <a:pt x="117" y="142"/>
                    <a:pt x="114" y="123"/>
                    <a:pt x="101" y="109"/>
                  </a:cubicBezTo>
                  <a:cubicBezTo>
                    <a:pt x="87" y="95"/>
                    <a:pt x="68" y="92"/>
                    <a:pt x="64" y="97"/>
                  </a:cubicBezTo>
                  <a:close/>
                  <a:moveTo>
                    <a:pt x="176" y="97"/>
                  </a:moveTo>
                  <a:cubicBezTo>
                    <a:pt x="172" y="92"/>
                    <a:pt x="153" y="95"/>
                    <a:pt x="139" y="109"/>
                  </a:cubicBezTo>
                  <a:cubicBezTo>
                    <a:pt x="126" y="123"/>
                    <a:pt x="123" y="142"/>
                    <a:pt x="127" y="146"/>
                  </a:cubicBezTo>
                  <a:cubicBezTo>
                    <a:pt x="131" y="150"/>
                    <a:pt x="150" y="147"/>
                    <a:pt x="164" y="134"/>
                  </a:cubicBezTo>
                  <a:cubicBezTo>
                    <a:pt x="178" y="120"/>
                    <a:pt x="181" y="101"/>
                    <a:pt x="176" y="97"/>
                  </a:cubicBezTo>
                  <a:close/>
                  <a:moveTo>
                    <a:pt x="120" y="40"/>
                  </a:moveTo>
                  <a:cubicBezTo>
                    <a:pt x="114" y="40"/>
                    <a:pt x="103" y="56"/>
                    <a:pt x="103" y="75"/>
                  </a:cubicBezTo>
                  <a:cubicBezTo>
                    <a:pt x="103" y="94"/>
                    <a:pt x="114" y="110"/>
                    <a:pt x="120" y="110"/>
                  </a:cubicBezTo>
                  <a:cubicBezTo>
                    <a:pt x="126" y="110"/>
                    <a:pt x="137" y="94"/>
                    <a:pt x="137" y="75"/>
                  </a:cubicBezTo>
                  <a:cubicBezTo>
                    <a:pt x="137" y="56"/>
                    <a:pt x="126" y="40"/>
                    <a:pt x="120" y="40"/>
                  </a:cubicBezTo>
                  <a:close/>
                  <a:moveTo>
                    <a:pt x="64" y="149"/>
                  </a:moveTo>
                  <a:cubicBezTo>
                    <a:pt x="59" y="153"/>
                    <a:pt x="62" y="172"/>
                    <a:pt x="76" y="186"/>
                  </a:cubicBezTo>
                  <a:cubicBezTo>
                    <a:pt x="90" y="199"/>
                    <a:pt x="109" y="202"/>
                    <a:pt x="113" y="198"/>
                  </a:cubicBezTo>
                  <a:cubicBezTo>
                    <a:pt x="117" y="194"/>
                    <a:pt x="114" y="175"/>
                    <a:pt x="101" y="161"/>
                  </a:cubicBezTo>
                  <a:cubicBezTo>
                    <a:pt x="87" y="148"/>
                    <a:pt x="68" y="145"/>
                    <a:pt x="64" y="149"/>
                  </a:cubicBezTo>
                  <a:close/>
                  <a:moveTo>
                    <a:pt x="176" y="149"/>
                  </a:moveTo>
                  <a:cubicBezTo>
                    <a:pt x="172" y="145"/>
                    <a:pt x="153" y="148"/>
                    <a:pt x="139" y="161"/>
                  </a:cubicBezTo>
                  <a:cubicBezTo>
                    <a:pt x="126" y="175"/>
                    <a:pt x="123" y="194"/>
                    <a:pt x="127" y="198"/>
                  </a:cubicBezTo>
                  <a:cubicBezTo>
                    <a:pt x="131" y="202"/>
                    <a:pt x="150" y="199"/>
                    <a:pt x="164" y="186"/>
                  </a:cubicBezTo>
                  <a:cubicBezTo>
                    <a:pt x="178" y="172"/>
                    <a:pt x="181" y="153"/>
                    <a:pt x="176" y="1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69" name="Groupe 268">
            <a:extLst>
              <a:ext uri="{FF2B5EF4-FFF2-40B4-BE49-F238E27FC236}">
                <a16:creationId xmlns:a16="http://schemas.microsoft.com/office/drawing/2014/main" xmlns="" id="{C24E1498-AF8F-46EE-BD68-E5AF772306A1}"/>
              </a:ext>
            </a:extLst>
          </p:cNvPr>
          <p:cNvGrpSpPr/>
          <p:nvPr/>
        </p:nvGrpSpPr>
        <p:grpSpPr>
          <a:xfrm>
            <a:off x="4848984" y="2814346"/>
            <a:ext cx="547160" cy="547160"/>
            <a:chOff x="4784084" y="1958707"/>
            <a:chExt cx="1084060" cy="1084060"/>
          </a:xfrm>
        </p:grpSpPr>
        <p:sp>
          <p:nvSpPr>
            <p:cNvPr id="271" name="Ellipse 270">
              <a:extLst>
                <a:ext uri="{FF2B5EF4-FFF2-40B4-BE49-F238E27FC236}">
                  <a16:creationId xmlns:a16="http://schemas.microsoft.com/office/drawing/2014/main" xmlns="" id="{E8023AFF-F8D8-42EF-9974-1E3DC18AB801}"/>
                </a:ext>
              </a:extLst>
            </p:cNvPr>
            <p:cNvSpPr/>
            <p:nvPr/>
          </p:nvSpPr>
          <p:spPr>
            <a:xfrm rot="10800000">
              <a:off x="4784084" y="1958707"/>
              <a:ext cx="1084060" cy="108406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4" name="Freeform 27">
              <a:extLst>
                <a:ext uri="{FF2B5EF4-FFF2-40B4-BE49-F238E27FC236}">
                  <a16:creationId xmlns:a16="http://schemas.microsoft.com/office/drawing/2014/main" xmlns="" id="{CC56F5A5-B430-4BE2-A8B6-AE522C541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1010" y="2203572"/>
              <a:ext cx="690207" cy="593694"/>
            </a:xfrm>
            <a:custGeom>
              <a:avLst/>
              <a:gdLst>
                <a:gd name="T0" fmla="*/ 131 w 236"/>
                <a:gd name="T1" fmla="*/ 157 h 203"/>
                <a:gd name="T2" fmla="*/ 116 w 236"/>
                <a:gd name="T3" fmla="*/ 121 h 203"/>
                <a:gd name="T4" fmla="*/ 99 w 236"/>
                <a:gd name="T5" fmla="*/ 163 h 203"/>
                <a:gd name="T6" fmla="*/ 36 w 236"/>
                <a:gd name="T7" fmla="*/ 133 h 203"/>
                <a:gd name="T8" fmla="*/ 38 w 236"/>
                <a:gd name="T9" fmla="*/ 167 h 203"/>
                <a:gd name="T10" fmla="*/ 118 w 236"/>
                <a:gd name="T11" fmla="*/ 203 h 203"/>
                <a:gd name="T12" fmla="*/ 209 w 236"/>
                <a:gd name="T13" fmla="*/ 159 h 203"/>
                <a:gd name="T14" fmla="*/ 209 w 236"/>
                <a:gd name="T15" fmla="*/ 116 h 203"/>
                <a:gd name="T16" fmla="*/ 131 w 236"/>
                <a:gd name="T17" fmla="*/ 157 h 203"/>
                <a:gd name="T18" fmla="*/ 236 w 236"/>
                <a:gd name="T19" fmla="*/ 25 h 203"/>
                <a:gd name="T20" fmla="*/ 143 w 236"/>
                <a:gd name="T21" fmla="*/ 0 h 203"/>
                <a:gd name="T22" fmla="*/ 118 w 236"/>
                <a:gd name="T23" fmla="*/ 21 h 203"/>
                <a:gd name="T24" fmla="*/ 93 w 236"/>
                <a:gd name="T25" fmla="*/ 2 h 203"/>
                <a:gd name="T26" fmla="*/ 0 w 236"/>
                <a:gd name="T27" fmla="*/ 40 h 203"/>
                <a:gd name="T28" fmla="*/ 31 w 236"/>
                <a:gd name="T29" fmla="*/ 66 h 203"/>
                <a:gd name="T30" fmla="*/ 4 w 236"/>
                <a:gd name="T31" fmla="*/ 110 h 203"/>
                <a:gd name="T32" fmla="*/ 95 w 236"/>
                <a:gd name="T33" fmla="*/ 150 h 203"/>
                <a:gd name="T34" fmla="*/ 116 w 236"/>
                <a:gd name="T35" fmla="*/ 99 h 203"/>
                <a:gd name="T36" fmla="*/ 135 w 236"/>
                <a:gd name="T37" fmla="*/ 144 h 203"/>
                <a:gd name="T38" fmla="*/ 232 w 236"/>
                <a:gd name="T39" fmla="*/ 95 h 203"/>
                <a:gd name="T40" fmla="*/ 204 w 236"/>
                <a:gd name="T41" fmla="*/ 55 h 203"/>
                <a:gd name="T42" fmla="*/ 236 w 236"/>
                <a:gd name="T43" fmla="*/ 25 h 203"/>
                <a:gd name="T44" fmla="*/ 116 w 236"/>
                <a:gd name="T45" fmla="*/ 93 h 203"/>
                <a:gd name="T46" fmla="*/ 40 w 236"/>
                <a:gd name="T47" fmla="*/ 61 h 203"/>
                <a:gd name="T48" fmla="*/ 118 w 236"/>
                <a:gd name="T49" fmla="*/ 28 h 203"/>
                <a:gd name="T50" fmla="*/ 198 w 236"/>
                <a:gd name="T51" fmla="*/ 55 h 203"/>
                <a:gd name="T52" fmla="*/ 116 w 236"/>
                <a:gd name="T53" fmla="*/ 9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6" h="203">
                  <a:moveTo>
                    <a:pt x="131" y="157"/>
                  </a:moveTo>
                  <a:lnTo>
                    <a:pt x="116" y="121"/>
                  </a:lnTo>
                  <a:lnTo>
                    <a:pt x="99" y="163"/>
                  </a:lnTo>
                  <a:lnTo>
                    <a:pt x="36" y="133"/>
                  </a:lnTo>
                  <a:lnTo>
                    <a:pt x="38" y="167"/>
                  </a:lnTo>
                  <a:lnTo>
                    <a:pt x="118" y="203"/>
                  </a:lnTo>
                  <a:lnTo>
                    <a:pt x="209" y="159"/>
                  </a:lnTo>
                  <a:lnTo>
                    <a:pt x="209" y="116"/>
                  </a:lnTo>
                  <a:lnTo>
                    <a:pt x="131" y="157"/>
                  </a:lnTo>
                  <a:close/>
                  <a:moveTo>
                    <a:pt x="236" y="25"/>
                  </a:moveTo>
                  <a:lnTo>
                    <a:pt x="143" y="0"/>
                  </a:lnTo>
                  <a:lnTo>
                    <a:pt x="118" y="21"/>
                  </a:lnTo>
                  <a:lnTo>
                    <a:pt x="93" y="2"/>
                  </a:lnTo>
                  <a:lnTo>
                    <a:pt x="0" y="40"/>
                  </a:lnTo>
                  <a:lnTo>
                    <a:pt x="31" y="66"/>
                  </a:lnTo>
                  <a:lnTo>
                    <a:pt x="4" y="110"/>
                  </a:lnTo>
                  <a:lnTo>
                    <a:pt x="95" y="150"/>
                  </a:lnTo>
                  <a:lnTo>
                    <a:pt x="116" y="99"/>
                  </a:lnTo>
                  <a:lnTo>
                    <a:pt x="135" y="144"/>
                  </a:lnTo>
                  <a:lnTo>
                    <a:pt x="232" y="95"/>
                  </a:lnTo>
                  <a:lnTo>
                    <a:pt x="204" y="55"/>
                  </a:lnTo>
                  <a:lnTo>
                    <a:pt x="236" y="25"/>
                  </a:lnTo>
                  <a:close/>
                  <a:moveTo>
                    <a:pt x="116" y="93"/>
                  </a:moveTo>
                  <a:lnTo>
                    <a:pt x="40" y="61"/>
                  </a:lnTo>
                  <a:lnTo>
                    <a:pt x="118" y="28"/>
                  </a:lnTo>
                  <a:lnTo>
                    <a:pt x="198" y="55"/>
                  </a:lnTo>
                  <a:lnTo>
                    <a:pt x="116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dirty="0"/>
            </a:p>
          </p:txBody>
        </p:sp>
      </p:grpSp>
      <p:grpSp>
        <p:nvGrpSpPr>
          <p:cNvPr id="277" name="Groupe 276">
            <a:extLst>
              <a:ext uri="{FF2B5EF4-FFF2-40B4-BE49-F238E27FC236}">
                <a16:creationId xmlns:a16="http://schemas.microsoft.com/office/drawing/2014/main" xmlns="" id="{A90A5A9C-BBAC-4170-A9E7-A73EBD03FD31}"/>
              </a:ext>
            </a:extLst>
          </p:cNvPr>
          <p:cNvGrpSpPr/>
          <p:nvPr/>
        </p:nvGrpSpPr>
        <p:grpSpPr>
          <a:xfrm>
            <a:off x="5905657" y="2815024"/>
            <a:ext cx="547160" cy="547160"/>
            <a:chOff x="7806893" y="1958707"/>
            <a:chExt cx="1084060" cy="1084060"/>
          </a:xfrm>
        </p:grpSpPr>
        <p:sp>
          <p:nvSpPr>
            <p:cNvPr id="280" name="Ellipse 279">
              <a:extLst>
                <a:ext uri="{FF2B5EF4-FFF2-40B4-BE49-F238E27FC236}">
                  <a16:creationId xmlns:a16="http://schemas.microsoft.com/office/drawing/2014/main" xmlns="" id="{D2118923-8E20-40F3-952C-CBB93017EEB3}"/>
                </a:ext>
              </a:extLst>
            </p:cNvPr>
            <p:cNvSpPr/>
            <p:nvPr/>
          </p:nvSpPr>
          <p:spPr>
            <a:xfrm rot="10800000">
              <a:off x="7806893" y="1958707"/>
              <a:ext cx="1084060" cy="108406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2" name="Freeform 35">
              <a:extLst>
                <a:ext uri="{FF2B5EF4-FFF2-40B4-BE49-F238E27FC236}">
                  <a16:creationId xmlns:a16="http://schemas.microsoft.com/office/drawing/2014/main" xmlns="" id="{A522480F-23D1-41C4-9FE9-C68E04E5D1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4055" y="2095765"/>
              <a:ext cx="669736" cy="809940"/>
            </a:xfrm>
            <a:custGeom>
              <a:avLst/>
              <a:gdLst>
                <a:gd name="T0" fmla="*/ 624 w 842"/>
                <a:gd name="T1" fmla="*/ 105 h 1020"/>
                <a:gd name="T2" fmla="*/ 531 w 842"/>
                <a:gd name="T3" fmla="*/ 126 h 1020"/>
                <a:gd name="T4" fmla="*/ 337 w 842"/>
                <a:gd name="T5" fmla="*/ 0 h 1020"/>
                <a:gd name="T6" fmla="*/ 126 w 842"/>
                <a:gd name="T7" fmla="*/ 203 h 1020"/>
                <a:gd name="T8" fmla="*/ 0 w 842"/>
                <a:gd name="T9" fmla="*/ 351 h 1020"/>
                <a:gd name="T10" fmla="*/ 150 w 842"/>
                <a:gd name="T11" fmla="*/ 501 h 1020"/>
                <a:gd name="T12" fmla="*/ 221 w 842"/>
                <a:gd name="T13" fmla="*/ 482 h 1020"/>
                <a:gd name="T14" fmla="*/ 335 w 842"/>
                <a:gd name="T15" fmla="*/ 589 h 1020"/>
                <a:gd name="T16" fmla="*/ 335 w 842"/>
                <a:gd name="T17" fmla="*/ 960 h 1020"/>
                <a:gd name="T18" fmla="*/ 167 w 842"/>
                <a:gd name="T19" fmla="*/ 960 h 1020"/>
                <a:gd name="T20" fmla="*/ 148 w 842"/>
                <a:gd name="T21" fmla="*/ 960 h 1020"/>
                <a:gd name="T22" fmla="*/ 119 w 842"/>
                <a:gd name="T23" fmla="*/ 990 h 1020"/>
                <a:gd name="T24" fmla="*/ 148 w 842"/>
                <a:gd name="T25" fmla="*/ 1020 h 1020"/>
                <a:gd name="T26" fmla="*/ 167 w 842"/>
                <a:gd name="T27" fmla="*/ 1020 h 1020"/>
                <a:gd name="T28" fmla="*/ 559 w 842"/>
                <a:gd name="T29" fmla="*/ 1020 h 1020"/>
                <a:gd name="T30" fmla="*/ 587 w 842"/>
                <a:gd name="T31" fmla="*/ 1020 h 1020"/>
                <a:gd name="T32" fmla="*/ 617 w 842"/>
                <a:gd name="T33" fmla="*/ 990 h 1020"/>
                <a:gd name="T34" fmla="*/ 587 w 842"/>
                <a:gd name="T35" fmla="*/ 960 h 1020"/>
                <a:gd name="T36" fmla="*/ 559 w 842"/>
                <a:gd name="T37" fmla="*/ 960 h 1020"/>
                <a:gd name="T38" fmla="*/ 395 w 842"/>
                <a:gd name="T39" fmla="*/ 960 h 1020"/>
                <a:gd name="T40" fmla="*/ 395 w 842"/>
                <a:gd name="T41" fmla="*/ 662 h 1020"/>
                <a:gd name="T42" fmla="*/ 567 w 842"/>
                <a:gd name="T43" fmla="*/ 532 h 1020"/>
                <a:gd name="T44" fmla="*/ 624 w 842"/>
                <a:gd name="T45" fmla="*/ 540 h 1020"/>
                <a:gd name="T46" fmla="*/ 842 w 842"/>
                <a:gd name="T47" fmla="*/ 323 h 1020"/>
                <a:gd name="T48" fmla="*/ 624 w 842"/>
                <a:gd name="T49" fmla="*/ 105 h 1020"/>
                <a:gd name="T50" fmla="*/ 267 w 842"/>
                <a:gd name="T51" fmla="*/ 444 h 1020"/>
                <a:gd name="T52" fmla="*/ 284 w 842"/>
                <a:gd name="T53" fmla="*/ 417 h 1020"/>
                <a:gd name="T54" fmla="*/ 336 w 842"/>
                <a:gd name="T55" fmla="*/ 423 h 1020"/>
                <a:gd name="T56" fmla="*/ 336 w 842"/>
                <a:gd name="T57" fmla="*/ 507 h 1020"/>
                <a:gd name="T58" fmla="*/ 267 w 842"/>
                <a:gd name="T59" fmla="*/ 444 h 1020"/>
                <a:gd name="T60" fmla="*/ 395 w 842"/>
                <a:gd name="T61" fmla="*/ 587 h 1020"/>
                <a:gd name="T62" fmla="*/ 395 w 842"/>
                <a:gd name="T63" fmla="*/ 415 h 1020"/>
                <a:gd name="T64" fmla="*/ 423 w 842"/>
                <a:gd name="T65" fmla="*/ 405 h 1020"/>
                <a:gd name="T66" fmla="*/ 505 w 842"/>
                <a:gd name="T67" fmla="*/ 504 h 1020"/>
                <a:gd name="T68" fmla="*/ 395 w 842"/>
                <a:gd name="T69" fmla="*/ 587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2" h="1020">
                  <a:moveTo>
                    <a:pt x="624" y="105"/>
                  </a:moveTo>
                  <a:cubicBezTo>
                    <a:pt x="592" y="105"/>
                    <a:pt x="560" y="112"/>
                    <a:pt x="531" y="126"/>
                  </a:cubicBezTo>
                  <a:cubicBezTo>
                    <a:pt x="498" y="50"/>
                    <a:pt x="423" y="0"/>
                    <a:pt x="337" y="0"/>
                  </a:cubicBezTo>
                  <a:cubicBezTo>
                    <a:pt x="224" y="0"/>
                    <a:pt x="130" y="90"/>
                    <a:pt x="126" y="203"/>
                  </a:cubicBezTo>
                  <a:cubicBezTo>
                    <a:pt x="54" y="215"/>
                    <a:pt x="0" y="276"/>
                    <a:pt x="0" y="351"/>
                  </a:cubicBezTo>
                  <a:cubicBezTo>
                    <a:pt x="0" y="434"/>
                    <a:pt x="67" y="501"/>
                    <a:pt x="150" y="501"/>
                  </a:cubicBezTo>
                  <a:cubicBezTo>
                    <a:pt x="175" y="501"/>
                    <a:pt x="199" y="494"/>
                    <a:pt x="221" y="482"/>
                  </a:cubicBezTo>
                  <a:cubicBezTo>
                    <a:pt x="335" y="589"/>
                    <a:pt x="335" y="589"/>
                    <a:pt x="335" y="589"/>
                  </a:cubicBezTo>
                  <a:cubicBezTo>
                    <a:pt x="335" y="960"/>
                    <a:pt x="335" y="960"/>
                    <a:pt x="335" y="960"/>
                  </a:cubicBezTo>
                  <a:cubicBezTo>
                    <a:pt x="167" y="960"/>
                    <a:pt x="167" y="960"/>
                    <a:pt x="167" y="960"/>
                  </a:cubicBezTo>
                  <a:cubicBezTo>
                    <a:pt x="148" y="960"/>
                    <a:pt x="148" y="960"/>
                    <a:pt x="148" y="960"/>
                  </a:cubicBezTo>
                  <a:cubicBezTo>
                    <a:pt x="132" y="960"/>
                    <a:pt x="119" y="974"/>
                    <a:pt x="119" y="990"/>
                  </a:cubicBezTo>
                  <a:cubicBezTo>
                    <a:pt x="119" y="1006"/>
                    <a:pt x="132" y="1020"/>
                    <a:pt x="148" y="1020"/>
                  </a:cubicBezTo>
                  <a:cubicBezTo>
                    <a:pt x="167" y="1020"/>
                    <a:pt x="167" y="1020"/>
                    <a:pt x="167" y="1020"/>
                  </a:cubicBezTo>
                  <a:cubicBezTo>
                    <a:pt x="559" y="1020"/>
                    <a:pt x="559" y="1020"/>
                    <a:pt x="559" y="1020"/>
                  </a:cubicBezTo>
                  <a:cubicBezTo>
                    <a:pt x="587" y="1020"/>
                    <a:pt x="587" y="1020"/>
                    <a:pt x="587" y="1020"/>
                  </a:cubicBezTo>
                  <a:cubicBezTo>
                    <a:pt x="603" y="1020"/>
                    <a:pt x="617" y="1006"/>
                    <a:pt x="617" y="990"/>
                  </a:cubicBezTo>
                  <a:cubicBezTo>
                    <a:pt x="617" y="974"/>
                    <a:pt x="603" y="960"/>
                    <a:pt x="587" y="960"/>
                  </a:cubicBezTo>
                  <a:cubicBezTo>
                    <a:pt x="559" y="960"/>
                    <a:pt x="559" y="960"/>
                    <a:pt x="559" y="960"/>
                  </a:cubicBezTo>
                  <a:cubicBezTo>
                    <a:pt x="395" y="960"/>
                    <a:pt x="395" y="960"/>
                    <a:pt x="395" y="960"/>
                  </a:cubicBezTo>
                  <a:cubicBezTo>
                    <a:pt x="395" y="662"/>
                    <a:pt x="395" y="662"/>
                    <a:pt x="395" y="662"/>
                  </a:cubicBezTo>
                  <a:cubicBezTo>
                    <a:pt x="567" y="532"/>
                    <a:pt x="567" y="532"/>
                    <a:pt x="567" y="532"/>
                  </a:cubicBezTo>
                  <a:cubicBezTo>
                    <a:pt x="586" y="537"/>
                    <a:pt x="605" y="540"/>
                    <a:pt x="624" y="540"/>
                  </a:cubicBezTo>
                  <a:cubicBezTo>
                    <a:pt x="744" y="540"/>
                    <a:pt x="842" y="443"/>
                    <a:pt x="842" y="323"/>
                  </a:cubicBezTo>
                  <a:cubicBezTo>
                    <a:pt x="842" y="203"/>
                    <a:pt x="744" y="105"/>
                    <a:pt x="624" y="105"/>
                  </a:cubicBezTo>
                  <a:close/>
                  <a:moveTo>
                    <a:pt x="267" y="444"/>
                  </a:moveTo>
                  <a:cubicBezTo>
                    <a:pt x="273" y="435"/>
                    <a:pt x="279" y="427"/>
                    <a:pt x="284" y="417"/>
                  </a:cubicBezTo>
                  <a:cubicBezTo>
                    <a:pt x="301" y="421"/>
                    <a:pt x="318" y="423"/>
                    <a:pt x="336" y="423"/>
                  </a:cubicBezTo>
                  <a:cubicBezTo>
                    <a:pt x="336" y="507"/>
                    <a:pt x="336" y="507"/>
                    <a:pt x="336" y="507"/>
                  </a:cubicBezTo>
                  <a:lnTo>
                    <a:pt x="267" y="444"/>
                  </a:lnTo>
                  <a:close/>
                  <a:moveTo>
                    <a:pt x="395" y="587"/>
                  </a:moveTo>
                  <a:cubicBezTo>
                    <a:pt x="395" y="415"/>
                    <a:pt x="395" y="415"/>
                    <a:pt x="395" y="415"/>
                  </a:cubicBezTo>
                  <a:cubicBezTo>
                    <a:pt x="405" y="413"/>
                    <a:pt x="414" y="409"/>
                    <a:pt x="423" y="405"/>
                  </a:cubicBezTo>
                  <a:cubicBezTo>
                    <a:pt x="440" y="446"/>
                    <a:pt x="469" y="481"/>
                    <a:pt x="505" y="504"/>
                  </a:cubicBezTo>
                  <a:lnTo>
                    <a:pt x="395" y="5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5" name="Ellipse 284">
            <a:extLst>
              <a:ext uri="{FF2B5EF4-FFF2-40B4-BE49-F238E27FC236}">
                <a16:creationId xmlns:a16="http://schemas.microsoft.com/office/drawing/2014/main" xmlns="" id="{1AAAE15A-2B51-4F9B-80EE-E9C927614807}"/>
              </a:ext>
            </a:extLst>
          </p:cNvPr>
          <p:cNvSpPr/>
          <p:nvPr/>
        </p:nvSpPr>
        <p:spPr>
          <a:xfrm rot="10800000">
            <a:off x="1695592" y="2818978"/>
            <a:ext cx="547160" cy="5471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7" name="Group 4">
            <a:extLst>
              <a:ext uri="{FF2B5EF4-FFF2-40B4-BE49-F238E27FC236}">
                <a16:creationId xmlns:a16="http://schemas.microsoft.com/office/drawing/2014/main" xmlns="" id="{4FC0C920-093F-41DC-88C9-A5FC645750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13523" y="2939061"/>
            <a:ext cx="311296" cy="306995"/>
            <a:chOff x="2481" y="1228"/>
            <a:chExt cx="796" cy="785"/>
          </a:xfrm>
          <a:solidFill>
            <a:schemeClr val="bg1"/>
          </a:solidFill>
        </p:grpSpPr>
        <p:sp>
          <p:nvSpPr>
            <p:cNvPr id="291" name="Freeform 5">
              <a:extLst>
                <a:ext uri="{FF2B5EF4-FFF2-40B4-BE49-F238E27FC236}">
                  <a16:creationId xmlns:a16="http://schemas.microsoft.com/office/drawing/2014/main" xmlns="" id="{379DC9BF-93D7-4A35-ACC7-33EAC68E9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1238"/>
              <a:ext cx="135" cy="228"/>
            </a:xfrm>
            <a:custGeom>
              <a:avLst/>
              <a:gdLst>
                <a:gd name="T0" fmla="*/ 26 w 65"/>
                <a:gd name="T1" fmla="*/ 108 h 110"/>
                <a:gd name="T2" fmla="*/ 61 w 65"/>
                <a:gd name="T3" fmla="*/ 71 h 110"/>
                <a:gd name="T4" fmla="*/ 46 w 65"/>
                <a:gd name="T5" fmla="*/ 0 h 110"/>
                <a:gd name="T6" fmla="*/ 4 w 65"/>
                <a:gd name="T7" fmla="*/ 62 h 110"/>
                <a:gd name="T8" fmla="*/ 26 w 65"/>
                <a:gd name="T9" fmla="*/ 10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10">
                  <a:moveTo>
                    <a:pt x="26" y="108"/>
                  </a:moveTo>
                  <a:cubicBezTo>
                    <a:pt x="42" y="110"/>
                    <a:pt x="57" y="97"/>
                    <a:pt x="61" y="71"/>
                  </a:cubicBezTo>
                  <a:cubicBezTo>
                    <a:pt x="65" y="45"/>
                    <a:pt x="47" y="0"/>
                    <a:pt x="46" y="0"/>
                  </a:cubicBezTo>
                  <a:cubicBezTo>
                    <a:pt x="45" y="0"/>
                    <a:pt x="8" y="36"/>
                    <a:pt x="4" y="62"/>
                  </a:cubicBezTo>
                  <a:cubicBezTo>
                    <a:pt x="0" y="89"/>
                    <a:pt x="11" y="106"/>
                    <a:pt x="2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4" name="Freeform 6">
              <a:extLst>
                <a:ext uri="{FF2B5EF4-FFF2-40B4-BE49-F238E27FC236}">
                  <a16:creationId xmlns:a16="http://schemas.microsoft.com/office/drawing/2014/main" xmlns="" id="{C3D4F8D4-020F-42ED-B2B5-8F38A22EB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" y="1342"/>
              <a:ext cx="130" cy="252"/>
            </a:xfrm>
            <a:custGeom>
              <a:avLst/>
              <a:gdLst>
                <a:gd name="T0" fmla="*/ 63 w 63"/>
                <a:gd name="T1" fmla="*/ 75 h 122"/>
                <a:gd name="T2" fmla="*/ 35 w 63"/>
                <a:gd name="T3" fmla="*/ 0 h 122"/>
                <a:gd name="T4" fmla="*/ 0 w 63"/>
                <a:gd name="T5" fmla="*/ 75 h 122"/>
                <a:gd name="T6" fmla="*/ 31 w 63"/>
                <a:gd name="T7" fmla="*/ 122 h 122"/>
                <a:gd name="T8" fmla="*/ 63 w 63"/>
                <a:gd name="T9" fmla="*/ 7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22">
                  <a:moveTo>
                    <a:pt x="63" y="75"/>
                  </a:moveTo>
                  <a:cubicBezTo>
                    <a:pt x="63" y="46"/>
                    <a:pt x="36" y="0"/>
                    <a:pt x="35" y="0"/>
                  </a:cubicBezTo>
                  <a:cubicBezTo>
                    <a:pt x="33" y="0"/>
                    <a:pt x="0" y="46"/>
                    <a:pt x="0" y="75"/>
                  </a:cubicBezTo>
                  <a:cubicBezTo>
                    <a:pt x="0" y="105"/>
                    <a:pt x="14" y="122"/>
                    <a:pt x="31" y="122"/>
                  </a:cubicBezTo>
                  <a:cubicBezTo>
                    <a:pt x="49" y="122"/>
                    <a:pt x="63" y="105"/>
                    <a:pt x="6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6" name="Freeform 7">
              <a:extLst>
                <a:ext uri="{FF2B5EF4-FFF2-40B4-BE49-F238E27FC236}">
                  <a16:creationId xmlns:a16="http://schemas.microsoft.com/office/drawing/2014/main" xmlns="" id="{AFF3778F-E934-4BF9-8713-4D2EEAEE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" y="1453"/>
              <a:ext cx="132" cy="252"/>
            </a:xfrm>
            <a:custGeom>
              <a:avLst/>
              <a:gdLst>
                <a:gd name="T0" fmla="*/ 36 w 64"/>
                <a:gd name="T1" fmla="*/ 0 h 122"/>
                <a:gd name="T2" fmla="*/ 0 w 64"/>
                <a:gd name="T3" fmla="*/ 75 h 122"/>
                <a:gd name="T4" fmla="*/ 32 w 64"/>
                <a:gd name="T5" fmla="*/ 122 h 122"/>
                <a:gd name="T6" fmla="*/ 64 w 64"/>
                <a:gd name="T7" fmla="*/ 75 h 122"/>
                <a:gd name="T8" fmla="*/ 36 w 64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22">
                  <a:moveTo>
                    <a:pt x="36" y="0"/>
                  </a:moveTo>
                  <a:cubicBezTo>
                    <a:pt x="34" y="0"/>
                    <a:pt x="0" y="46"/>
                    <a:pt x="0" y="75"/>
                  </a:cubicBezTo>
                  <a:cubicBezTo>
                    <a:pt x="0" y="105"/>
                    <a:pt x="15" y="122"/>
                    <a:pt x="32" y="122"/>
                  </a:cubicBezTo>
                  <a:cubicBezTo>
                    <a:pt x="50" y="122"/>
                    <a:pt x="64" y="105"/>
                    <a:pt x="64" y="75"/>
                  </a:cubicBezTo>
                  <a:cubicBezTo>
                    <a:pt x="64" y="46"/>
                    <a:pt x="37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1" name="Freeform 8">
              <a:extLst>
                <a:ext uri="{FF2B5EF4-FFF2-40B4-BE49-F238E27FC236}">
                  <a16:creationId xmlns:a16="http://schemas.microsoft.com/office/drawing/2014/main" xmlns="" id="{D0A5AAD3-686D-4E63-AF9C-13B6753F9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20"/>
              <a:ext cx="229" cy="132"/>
            </a:xfrm>
            <a:custGeom>
              <a:avLst/>
              <a:gdLst>
                <a:gd name="T0" fmla="*/ 40 w 111"/>
                <a:gd name="T1" fmla="*/ 4 h 64"/>
                <a:gd name="T2" fmla="*/ 2 w 111"/>
                <a:gd name="T3" fmla="*/ 38 h 64"/>
                <a:gd name="T4" fmla="*/ 48 w 111"/>
                <a:gd name="T5" fmla="*/ 60 h 64"/>
                <a:gd name="T6" fmla="*/ 110 w 111"/>
                <a:gd name="T7" fmla="*/ 19 h 64"/>
                <a:gd name="T8" fmla="*/ 40 w 111"/>
                <a:gd name="T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64">
                  <a:moveTo>
                    <a:pt x="40" y="4"/>
                  </a:moveTo>
                  <a:cubicBezTo>
                    <a:pt x="13" y="8"/>
                    <a:pt x="0" y="22"/>
                    <a:pt x="2" y="38"/>
                  </a:cubicBezTo>
                  <a:cubicBezTo>
                    <a:pt x="5" y="54"/>
                    <a:pt x="21" y="64"/>
                    <a:pt x="48" y="60"/>
                  </a:cubicBezTo>
                  <a:cubicBezTo>
                    <a:pt x="74" y="57"/>
                    <a:pt x="111" y="21"/>
                    <a:pt x="110" y="19"/>
                  </a:cubicBezTo>
                  <a:cubicBezTo>
                    <a:pt x="110" y="18"/>
                    <a:pt x="66" y="0"/>
                    <a:pt x="4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4" name="Freeform 9">
              <a:extLst>
                <a:ext uri="{FF2B5EF4-FFF2-40B4-BE49-F238E27FC236}">
                  <a16:creationId xmlns:a16="http://schemas.microsoft.com/office/drawing/2014/main" xmlns="" id="{F3AD7987-5534-4D50-ACAA-1814695E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5" y="1561"/>
              <a:ext cx="252" cy="130"/>
            </a:xfrm>
            <a:custGeom>
              <a:avLst/>
              <a:gdLst>
                <a:gd name="T0" fmla="*/ 47 w 122"/>
                <a:gd name="T1" fmla="*/ 63 h 63"/>
                <a:gd name="T2" fmla="*/ 122 w 122"/>
                <a:gd name="T3" fmla="*/ 28 h 63"/>
                <a:gd name="T4" fmla="*/ 47 w 122"/>
                <a:gd name="T5" fmla="*/ 0 h 63"/>
                <a:gd name="T6" fmla="*/ 0 w 122"/>
                <a:gd name="T7" fmla="*/ 31 h 63"/>
                <a:gd name="T8" fmla="*/ 47 w 12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3">
                  <a:moveTo>
                    <a:pt x="47" y="63"/>
                  </a:moveTo>
                  <a:cubicBezTo>
                    <a:pt x="76" y="63"/>
                    <a:pt x="122" y="29"/>
                    <a:pt x="122" y="28"/>
                  </a:cubicBezTo>
                  <a:cubicBezTo>
                    <a:pt x="122" y="27"/>
                    <a:pt x="76" y="0"/>
                    <a:pt x="47" y="0"/>
                  </a:cubicBezTo>
                  <a:cubicBezTo>
                    <a:pt x="17" y="0"/>
                    <a:pt x="0" y="14"/>
                    <a:pt x="0" y="31"/>
                  </a:cubicBezTo>
                  <a:cubicBezTo>
                    <a:pt x="0" y="49"/>
                    <a:pt x="17" y="63"/>
                    <a:pt x="47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7" name="Freeform 10">
              <a:extLst>
                <a:ext uri="{FF2B5EF4-FFF2-40B4-BE49-F238E27FC236}">
                  <a16:creationId xmlns:a16="http://schemas.microsoft.com/office/drawing/2014/main" xmlns="" id="{51726C13-5648-467E-A2CD-34DB4DAED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" y="1699"/>
              <a:ext cx="252" cy="130"/>
            </a:xfrm>
            <a:custGeom>
              <a:avLst/>
              <a:gdLst>
                <a:gd name="T0" fmla="*/ 122 w 122"/>
                <a:gd name="T1" fmla="*/ 28 h 63"/>
                <a:gd name="T2" fmla="*/ 46 w 122"/>
                <a:gd name="T3" fmla="*/ 0 h 63"/>
                <a:gd name="T4" fmla="*/ 0 w 122"/>
                <a:gd name="T5" fmla="*/ 32 h 63"/>
                <a:gd name="T6" fmla="*/ 46 w 122"/>
                <a:gd name="T7" fmla="*/ 63 h 63"/>
                <a:gd name="T8" fmla="*/ 122 w 122"/>
                <a:gd name="T9" fmla="*/ 2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3">
                  <a:moveTo>
                    <a:pt x="122" y="28"/>
                  </a:moveTo>
                  <a:cubicBezTo>
                    <a:pt x="122" y="27"/>
                    <a:pt x="76" y="0"/>
                    <a:pt x="46" y="0"/>
                  </a:cubicBezTo>
                  <a:cubicBezTo>
                    <a:pt x="17" y="0"/>
                    <a:pt x="0" y="14"/>
                    <a:pt x="0" y="32"/>
                  </a:cubicBezTo>
                  <a:cubicBezTo>
                    <a:pt x="0" y="49"/>
                    <a:pt x="17" y="63"/>
                    <a:pt x="46" y="63"/>
                  </a:cubicBezTo>
                  <a:cubicBezTo>
                    <a:pt x="76" y="63"/>
                    <a:pt x="122" y="29"/>
                    <a:pt x="12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0" name="Freeform 11">
              <a:extLst>
                <a:ext uri="{FF2B5EF4-FFF2-40B4-BE49-F238E27FC236}">
                  <a16:creationId xmlns:a16="http://schemas.microsoft.com/office/drawing/2014/main" xmlns="" id="{AAE53AFF-0295-4A7F-8EF2-2B4D5D455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" y="1228"/>
              <a:ext cx="182" cy="171"/>
            </a:xfrm>
            <a:custGeom>
              <a:avLst/>
              <a:gdLst>
                <a:gd name="T0" fmla="*/ 11 w 88"/>
                <a:gd name="T1" fmla="*/ 72 h 83"/>
                <a:gd name="T2" fmla="*/ 58 w 88"/>
                <a:gd name="T3" fmla="*/ 63 h 83"/>
                <a:gd name="T4" fmla="*/ 87 w 88"/>
                <a:gd name="T5" fmla="*/ 1 h 83"/>
                <a:gd name="T6" fmla="*/ 20 w 88"/>
                <a:gd name="T7" fmla="*/ 25 h 83"/>
                <a:gd name="T8" fmla="*/ 11 w 88"/>
                <a:gd name="T9" fmla="*/ 7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3">
                  <a:moveTo>
                    <a:pt x="11" y="72"/>
                  </a:moveTo>
                  <a:cubicBezTo>
                    <a:pt x="22" y="83"/>
                    <a:pt x="40" y="81"/>
                    <a:pt x="58" y="63"/>
                  </a:cubicBezTo>
                  <a:cubicBezTo>
                    <a:pt x="76" y="46"/>
                    <a:pt x="88" y="2"/>
                    <a:pt x="87" y="1"/>
                  </a:cubicBezTo>
                  <a:cubicBezTo>
                    <a:pt x="86" y="0"/>
                    <a:pt x="38" y="7"/>
                    <a:pt x="20" y="25"/>
                  </a:cubicBezTo>
                  <a:cubicBezTo>
                    <a:pt x="2" y="43"/>
                    <a:pt x="0" y="62"/>
                    <a:pt x="1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2" name="Freeform 12">
              <a:extLst>
                <a:ext uri="{FF2B5EF4-FFF2-40B4-BE49-F238E27FC236}">
                  <a16:creationId xmlns:a16="http://schemas.microsoft.com/office/drawing/2014/main" xmlns="" id="{2213BAA3-BCEA-403B-9313-A5859491F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1" y="1720"/>
              <a:ext cx="296" cy="293"/>
            </a:xfrm>
            <a:custGeom>
              <a:avLst/>
              <a:gdLst>
                <a:gd name="T0" fmla="*/ 136 w 143"/>
                <a:gd name="T1" fmla="*/ 0 h 142"/>
                <a:gd name="T2" fmla="*/ 135 w 143"/>
                <a:gd name="T3" fmla="*/ 0 h 142"/>
                <a:gd name="T4" fmla="*/ 1 w 143"/>
                <a:gd name="T5" fmla="*/ 127 h 142"/>
                <a:gd name="T6" fmla="*/ 5 w 143"/>
                <a:gd name="T7" fmla="*/ 137 h 142"/>
                <a:gd name="T8" fmla="*/ 15 w 143"/>
                <a:gd name="T9" fmla="*/ 141 h 142"/>
                <a:gd name="T10" fmla="*/ 75 w 143"/>
                <a:gd name="T11" fmla="*/ 78 h 142"/>
                <a:gd name="T12" fmla="*/ 142 w 143"/>
                <a:gd name="T13" fmla="*/ 8 h 142"/>
                <a:gd name="T14" fmla="*/ 140 w 143"/>
                <a:gd name="T15" fmla="*/ 3 h 142"/>
                <a:gd name="T16" fmla="*/ 136 w 143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142">
                  <a:moveTo>
                    <a:pt x="136" y="0"/>
                  </a:moveTo>
                  <a:cubicBezTo>
                    <a:pt x="136" y="0"/>
                    <a:pt x="135" y="0"/>
                    <a:pt x="135" y="0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0" y="128"/>
                    <a:pt x="1" y="133"/>
                    <a:pt x="5" y="137"/>
                  </a:cubicBezTo>
                  <a:cubicBezTo>
                    <a:pt x="9" y="141"/>
                    <a:pt x="14" y="142"/>
                    <a:pt x="15" y="141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3" y="7"/>
                    <a:pt x="142" y="5"/>
                    <a:pt x="140" y="3"/>
                  </a:cubicBezTo>
                  <a:cubicBezTo>
                    <a:pt x="138" y="1"/>
                    <a:pt x="137" y="1"/>
                    <a:pt x="1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40" name="Groupe 339">
            <a:extLst>
              <a:ext uri="{FF2B5EF4-FFF2-40B4-BE49-F238E27FC236}">
                <a16:creationId xmlns:a16="http://schemas.microsoft.com/office/drawing/2014/main" xmlns="" id="{F06FFD02-9A81-403E-89FD-956A644AB241}"/>
              </a:ext>
            </a:extLst>
          </p:cNvPr>
          <p:cNvGrpSpPr/>
          <p:nvPr/>
        </p:nvGrpSpPr>
        <p:grpSpPr>
          <a:xfrm>
            <a:off x="2752956" y="2818978"/>
            <a:ext cx="547160" cy="547160"/>
            <a:chOff x="3114931" y="2818978"/>
            <a:chExt cx="547160" cy="547160"/>
          </a:xfrm>
        </p:grpSpPr>
        <p:sp>
          <p:nvSpPr>
            <p:cNvPr id="315" name="Ellipse 314">
              <a:extLst>
                <a:ext uri="{FF2B5EF4-FFF2-40B4-BE49-F238E27FC236}">
                  <a16:creationId xmlns:a16="http://schemas.microsoft.com/office/drawing/2014/main" xmlns="" id="{93732A3D-62C8-4EBF-A915-44BE4311BAD4}"/>
                </a:ext>
              </a:extLst>
            </p:cNvPr>
            <p:cNvSpPr/>
            <p:nvPr/>
          </p:nvSpPr>
          <p:spPr>
            <a:xfrm rot="10800000">
              <a:off x="3114931" y="2818978"/>
              <a:ext cx="547160" cy="54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18" name="Group 19">
              <a:extLst>
                <a:ext uri="{FF2B5EF4-FFF2-40B4-BE49-F238E27FC236}">
                  <a16:creationId xmlns:a16="http://schemas.microsoft.com/office/drawing/2014/main" xmlns="" id="{C19E839C-0124-4037-B264-A54D1FAE733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5056" y="2938600"/>
              <a:ext cx="386909" cy="307915"/>
              <a:chOff x="2760" y="1523"/>
              <a:chExt cx="240" cy="191"/>
            </a:xfrm>
            <a:solidFill>
              <a:schemeClr val="bg1"/>
            </a:solidFill>
          </p:grpSpPr>
          <p:sp>
            <p:nvSpPr>
              <p:cNvPr id="321" name="Freeform 20">
                <a:extLst>
                  <a:ext uri="{FF2B5EF4-FFF2-40B4-BE49-F238E27FC236}">
                    <a16:creationId xmlns:a16="http://schemas.microsoft.com/office/drawing/2014/main" xmlns="" id="{5D59AB03-4C6B-4143-A0F6-E9CBB399EE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2" y="1629"/>
                <a:ext cx="84" cy="85"/>
              </a:xfrm>
              <a:custGeom>
                <a:avLst/>
                <a:gdLst>
                  <a:gd name="T0" fmla="*/ 0 w 40"/>
                  <a:gd name="T1" fmla="*/ 20 h 40"/>
                  <a:gd name="T2" fmla="*/ 0 w 40"/>
                  <a:gd name="T3" fmla="*/ 20 h 40"/>
                  <a:gd name="T4" fmla="*/ 20 w 40"/>
                  <a:gd name="T5" fmla="*/ 40 h 40"/>
                  <a:gd name="T6" fmla="*/ 20 w 40"/>
                  <a:gd name="T7" fmla="*/ 40 h 40"/>
                  <a:gd name="T8" fmla="*/ 40 w 40"/>
                  <a:gd name="T9" fmla="*/ 20 h 40"/>
                  <a:gd name="T10" fmla="*/ 20 w 40"/>
                  <a:gd name="T11" fmla="*/ 0 h 40"/>
                  <a:gd name="T12" fmla="*/ 0 w 40"/>
                  <a:gd name="T13" fmla="*/ 20 h 40"/>
                  <a:gd name="T14" fmla="*/ 28 w 40"/>
                  <a:gd name="T15" fmla="*/ 20 h 40"/>
                  <a:gd name="T16" fmla="*/ 28 w 40"/>
                  <a:gd name="T17" fmla="*/ 20 h 40"/>
                  <a:gd name="T18" fmla="*/ 20 w 40"/>
                  <a:gd name="T19" fmla="*/ 28 h 40"/>
                  <a:gd name="T20" fmla="*/ 20 w 40"/>
                  <a:gd name="T21" fmla="*/ 28 h 40"/>
                  <a:gd name="T22" fmla="*/ 12 w 40"/>
                  <a:gd name="T23" fmla="*/ 20 h 40"/>
                  <a:gd name="T24" fmla="*/ 20 w 40"/>
                  <a:gd name="T25" fmla="*/ 12 h 40"/>
                  <a:gd name="T26" fmla="*/ 28 w 40"/>
                  <a:gd name="T27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1"/>
                      <a:pt x="9" y="40"/>
                      <a:pt x="20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31" y="40"/>
                      <a:pt x="40" y="31"/>
                      <a:pt x="40" y="20"/>
                    </a:cubicBezTo>
                    <a:cubicBezTo>
                      <a:pt x="40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lose/>
                    <a:moveTo>
                      <a:pt x="28" y="20"/>
                    </a:move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24"/>
                      <a:pt x="25" y="28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6" y="28"/>
                      <a:pt x="12" y="24"/>
                      <a:pt x="12" y="20"/>
                    </a:cubicBezTo>
                    <a:cubicBezTo>
                      <a:pt x="12" y="16"/>
                      <a:pt x="16" y="12"/>
                      <a:pt x="20" y="12"/>
                    </a:cubicBezTo>
                    <a:cubicBezTo>
                      <a:pt x="25" y="12"/>
                      <a:pt x="28" y="16"/>
                      <a:pt x="28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3" name="Freeform 21">
                <a:extLst>
                  <a:ext uri="{FF2B5EF4-FFF2-40B4-BE49-F238E27FC236}">
                    <a16:creationId xmlns:a16="http://schemas.microsoft.com/office/drawing/2014/main" xmlns="" id="{39738D67-D239-4421-8615-5D6956A40C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43" y="1663"/>
                <a:ext cx="51" cy="51"/>
              </a:xfrm>
              <a:custGeom>
                <a:avLst/>
                <a:gdLst>
                  <a:gd name="T0" fmla="*/ 0 w 24"/>
                  <a:gd name="T1" fmla="*/ 12 h 24"/>
                  <a:gd name="T2" fmla="*/ 12 w 24"/>
                  <a:gd name="T3" fmla="*/ 24 h 24"/>
                  <a:gd name="T4" fmla="*/ 24 w 24"/>
                  <a:gd name="T5" fmla="*/ 12 h 24"/>
                  <a:gd name="T6" fmla="*/ 12 w 24"/>
                  <a:gd name="T7" fmla="*/ 0 h 24"/>
                  <a:gd name="T8" fmla="*/ 0 w 24"/>
                  <a:gd name="T9" fmla="*/ 12 h 24"/>
                  <a:gd name="T10" fmla="*/ 12 w 24"/>
                  <a:gd name="T11" fmla="*/ 8 h 24"/>
                  <a:gd name="T12" fmla="*/ 16 w 24"/>
                  <a:gd name="T13" fmla="*/ 12 h 24"/>
                  <a:gd name="T14" fmla="*/ 16 w 24"/>
                  <a:gd name="T15" fmla="*/ 12 h 24"/>
                  <a:gd name="T16" fmla="*/ 12 w 24"/>
                  <a:gd name="T17" fmla="*/ 16 h 24"/>
                  <a:gd name="T18" fmla="*/ 12 w 24"/>
                  <a:gd name="T19" fmla="*/ 16 h 24"/>
                  <a:gd name="T20" fmla="*/ 8 w 24"/>
                  <a:gd name="T21" fmla="*/ 12 h 24"/>
                  <a:gd name="T22" fmla="*/ 8 w 24"/>
                  <a:gd name="T23" fmla="*/ 12 h 24"/>
                  <a:gd name="T24" fmla="*/ 12 w 24"/>
                  <a:gd name="T25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4">
                    <a:moveTo>
                      <a:pt x="0" y="12"/>
                    </a:moveTo>
                    <a:cubicBezTo>
                      <a:pt x="0" y="19"/>
                      <a:pt x="6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ubicBezTo>
                      <a:pt x="6" y="0"/>
                      <a:pt x="0" y="5"/>
                      <a:pt x="0" y="12"/>
                    </a:cubicBezTo>
                    <a:close/>
                    <a:moveTo>
                      <a:pt x="12" y="8"/>
                    </a:moveTo>
                    <a:cubicBezTo>
                      <a:pt x="15" y="8"/>
                      <a:pt x="16" y="10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4"/>
                      <a:pt x="15" y="16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0" y="16"/>
                      <a:pt x="8" y="14"/>
                      <a:pt x="8" y="12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0"/>
                      <a:pt x="10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6" name="Freeform 22">
                <a:extLst>
                  <a:ext uri="{FF2B5EF4-FFF2-40B4-BE49-F238E27FC236}">
                    <a16:creationId xmlns:a16="http://schemas.microsoft.com/office/drawing/2014/main" xmlns="" id="{D329B5CA-A662-44CD-A6C0-33FA101FAA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0" y="1523"/>
                <a:ext cx="240" cy="165"/>
              </a:xfrm>
              <a:custGeom>
                <a:avLst/>
                <a:gdLst>
                  <a:gd name="T0" fmla="*/ 97 w 114"/>
                  <a:gd name="T1" fmla="*/ 0 h 78"/>
                  <a:gd name="T2" fmla="*/ 97 w 114"/>
                  <a:gd name="T3" fmla="*/ 0 h 78"/>
                  <a:gd name="T4" fmla="*/ 93 w 114"/>
                  <a:gd name="T5" fmla="*/ 0 h 78"/>
                  <a:gd name="T6" fmla="*/ 89 w 114"/>
                  <a:gd name="T7" fmla="*/ 4 h 78"/>
                  <a:gd name="T8" fmla="*/ 89 w 114"/>
                  <a:gd name="T9" fmla="*/ 36 h 78"/>
                  <a:gd name="T10" fmla="*/ 63 w 114"/>
                  <a:gd name="T11" fmla="*/ 36 h 78"/>
                  <a:gd name="T12" fmla="*/ 54 w 114"/>
                  <a:gd name="T13" fmla="*/ 4 h 78"/>
                  <a:gd name="T14" fmla="*/ 48 w 114"/>
                  <a:gd name="T15" fmla="*/ 0 h 78"/>
                  <a:gd name="T16" fmla="*/ 13 w 114"/>
                  <a:gd name="T17" fmla="*/ 0 h 78"/>
                  <a:gd name="T18" fmla="*/ 7 w 114"/>
                  <a:gd name="T19" fmla="*/ 6 h 78"/>
                  <a:gd name="T20" fmla="*/ 7 w 114"/>
                  <a:gd name="T21" fmla="*/ 43 h 78"/>
                  <a:gd name="T22" fmla="*/ 0 w 114"/>
                  <a:gd name="T23" fmla="*/ 49 h 78"/>
                  <a:gd name="T24" fmla="*/ 3 w 114"/>
                  <a:gd name="T25" fmla="*/ 52 h 78"/>
                  <a:gd name="T26" fmla="*/ 10 w 114"/>
                  <a:gd name="T27" fmla="*/ 46 h 78"/>
                  <a:gd name="T28" fmla="*/ 37 w 114"/>
                  <a:gd name="T29" fmla="*/ 46 h 78"/>
                  <a:gd name="T30" fmla="*/ 39 w 114"/>
                  <a:gd name="T31" fmla="*/ 47 h 78"/>
                  <a:gd name="T32" fmla="*/ 52 w 114"/>
                  <a:gd name="T33" fmla="*/ 78 h 78"/>
                  <a:gd name="T34" fmla="*/ 78 w 114"/>
                  <a:gd name="T35" fmla="*/ 78 h 78"/>
                  <a:gd name="T36" fmla="*/ 90 w 114"/>
                  <a:gd name="T37" fmla="*/ 61 h 78"/>
                  <a:gd name="T38" fmla="*/ 91 w 114"/>
                  <a:gd name="T39" fmla="*/ 60 h 78"/>
                  <a:gd name="T40" fmla="*/ 107 w 114"/>
                  <a:gd name="T41" fmla="*/ 60 h 78"/>
                  <a:gd name="T42" fmla="*/ 112 w 114"/>
                  <a:gd name="T43" fmla="*/ 64 h 78"/>
                  <a:gd name="T44" fmla="*/ 114 w 114"/>
                  <a:gd name="T45" fmla="*/ 60 h 78"/>
                  <a:gd name="T46" fmla="*/ 108 w 114"/>
                  <a:gd name="T47" fmla="*/ 56 h 78"/>
                  <a:gd name="T48" fmla="*/ 105 w 114"/>
                  <a:gd name="T49" fmla="*/ 56 h 78"/>
                  <a:gd name="T50" fmla="*/ 105 w 114"/>
                  <a:gd name="T51" fmla="*/ 42 h 78"/>
                  <a:gd name="T52" fmla="*/ 99 w 114"/>
                  <a:gd name="T53" fmla="*/ 36 h 78"/>
                  <a:gd name="T54" fmla="*/ 93 w 114"/>
                  <a:gd name="T55" fmla="*/ 36 h 78"/>
                  <a:gd name="T56" fmla="*/ 93 w 114"/>
                  <a:gd name="T57" fmla="*/ 4 h 78"/>
                  <a:gd name="T58" fmla="*/ 97 w 114"/>
                  <a:gd name="T59" fmla="*/ 4 h 78"/>
                  <a:gd name="T60" fmla="*/ 97 w 114"/>
                  <a:gd name="T61" fmla="*/ 4 h 78"/>
                  <a:gd name="T62" fmla="*/ 99 w 114"/>
                  <a:gd name="T63" fmla="*/ 2 h 78"/>
                  <a:gd name="T64" fmla="*/ 97 w 114"/>
                  <a:gd name="T65" fmla="*/ 0 h 78"/>
                  <a:gd name="T66" fmla="*/ 48 w 114"/>
                  <a:gd name="T67" fmla="*/ 4 h 78"/>
                  <a:gd name="T68" fmla="*/ 50 w 114"/>
                  <a:gd name="T69" fmla="*/ 5 h 78"/>
                  <a:gd name="T70" fmla="*/ 59 w 114"/>
                  <a:gd name="T71" fmla="*/ 36 h 78"/>
                  <a:gd name="T72" fmla="*/ 52 w 114"/>
                  <a:gd name="T73" fmla="*/ 36 h 78"/>
                  <a:gd name="T74" fmla="*/ 50 w 114"/>
                  <a:gd name="T75" fmla="*/ 35 h 78"/>
                  <a:gd name="T76" fmla="*/ 46 w 114"/>
                  <a:gd name="T77" fmla="*/ 29 h 78"/>
                  <a:gd name="T78" fmla="*/ 50 w 114"/>
                  <a:gd name="T79" fmla="*/ 26 h 78"/>
                  <a:gd name="T80" fmla="*/ 51 w 114"/>
                  <a:gd name="T81" fmla="*/ 24 h 78"/>
                  <a:gd name="T82" fmla="*/ 49 w 114"/>
                  <a:gd name="T83" fmla="*/ 22 h 78"/>
                  <a:gd name="T84" fmla="*/ 49 w 114"/>
                  <a:gd name="T85" fmla="*/ 22 h 78"/>
                  <a:gd name="T86" fmla="*/ 48 w 114"/>
                  <a:gd name="T87" fmla="*/ 22 h 78"/>
                  <a:gd name="T88" fmla="*/ 36 w 114"/>
                  <a:gd name="T89" fmla="*/ 30 h 78"/>
                  <a:gd name="T90" fmla="*/ 36 w 114"/>
                  <a:gd name="T91" fmla="*/ 30 h 78"/>
                  <a:gd name="T92" fmla="*/ 36 w 114"/>
                  <a:gd name="T93" fmla="*/ 33 h 78"/>
                  <a:gd name="T94" fmla="*/ 38 w 114"/>
                  <a:gd name="T95" fmla="*/ 34 h 78"/>
                  <a:gd name="T96" fmla="*/ 43 w 114"/>
                  <a:gd name="T97" fmla="*/ 31 h 78"/>
                  <a:gd name="T98" fmla="*/ 46 w 114"/>
                  <a:gd name="T99" fmla="*/ 37 h 78"/>
                  <a:gd name="T100" fmla="*/ 52 w 114"/>
                  <a:gd name="T101" fmla="*/ 40 h 78"/>
                  <a:gd name="T102" fmla="*/ 59 w 114"/>
                  <a:gd name="T103" fmla="*/ 40 h 78"/>
                  <a:gd name="T104" fmla="*/ 59 w 114"/>
                  <a:gd name="T105" fmla="*/ 48 h 78"/>
                  <a:gd name="T106" fmla="*/ 57 w 114"/>
                  <a:gd name="T107" fmla="*/ 50 h 78"/>
                  <a:gd name="T108" fmla="*/ 44 w 114"/>
                  <a:gd name="T109" fmla="*/ 50 h 78"/>
                  <a:gd name="T110" fmla="*/ 42 w 114"/>
                  <a:gd name="T111" fmla="*/ 46 h 78"/>
                  <a:gd name="T112" fmla="*/ 37 w 114"/>
                  <a:gd name="T113" fmla="*/ 42 h 78"/>
                  <a:gd name="T114" fmla="*/ 11 w 114"/>
                  <a:gd name="T115" fmla="*/ 42 h 78"/>
                  <a:gd name="T116" fmla="*/ 11 w 114"/>
                  <a:gd name="T117" fmla="*/ 6 h 78"/>
                  <a:gd name="T118" fmla="*/ 13 w 114"/>
                  <a:gd name="T119" fmla="*/ 4 h 78"/>
                  <a:gd name="T120" fmla="*/ 48 w 114"/>
                  <a:gd name="T121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4" h="78">
                    <a:moveTo>
                      <a:pt x="97" y="0"/>
                    </a:moveTo>
                    <a:cubicBezTo>
                      <a:pt x="97" y="0"/>
                      <a:pt x="97" y="0"/>
                      <a:pt x="97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1" y="0"/>
                      <a:pt x="89" y="2"/>
                      <a:pt x="89" y="4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3" y="2"/>
                      <a:pt x="51" y="0"/>
                      <a:pt x="48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0" y="0"/>
                      <a:pt x="7" y="3"/>
                      <a:pt x="7" y="6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37" y="46"/>
                      <a:pt x="38" y="46"/>
                      <a:pt x="39" y="47"/>
                    </a:cubicBezTo>
                    <a:cubicBezTo>
                      <a:pt x="52" y="78"/>
                      <a:pt x="52" y="78"/>
                      <a:pt x="52" y="78"/>
                    </a:cubicBezTo>
                    <a:cubicBezTo>
                      <a:pt x="78" y="78"/>
                      <a:pt x="78" y="78"/>
                      <a:pt x="78" y="7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0"/>
                      <a:pt x="91" y="60"/>
                      <a:pt x="91" y="60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4" y="60"/>
                      <a:pt x="114" y="60"/>
                      <a:pt x="114" y="60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105" y="56"/>
                      <a:pt x="105" y="56"/>
                      <a:pt x="105" y="56"/>
                    </a:cubicBezTo>
                    <a:cubicBezTo>
                      <a:pt x="105" y="42"/>
                      <a:pt x="105" y="42"/>
                      <a:pt x="105" y="42"/>
                    </a:cubicBezTo>
                    <a:cubicBezTo>
                      <a:pt x="105" y="39"/>
                      <a:pt x="103" y="36"/>
                      <a:pt x="99" y="36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8" y="4"/>
                      <a:pt x="99" y="3"/>
                      <a:pt x="99" y="2"/>
                    </a:cubicBezTo>
                    <a:cubicBezTo>
                      <a:pt x="99" y="1"/>
                      <a:pt x="99" y="0"/>
                      <a:pt x="97" y="0"/>
                    </a:cubicBezTo>
                    <a:close/>
                    <a:moveTo>
                      <a:pt x="48" y="4"/>
                    </a:moveTo>
                    <a:cubicBezTo>
                      <a:pt x="49" y="4"/>
                      <a:pt x="50" y="5"/>
                      <a:pt x="50" y="5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1" y="36"/>
                      <a:pt x="50" y="36"/>
                      <a:pt x="50" y="35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51" y="25"/>
                      <a:pt x="51" y="25"/>
                      <a:pt x="51" y="24"/>
                    </a:cubicBezTo>
                    <a:cubicBezTo>
                      <a:pt x="51" y="23"/>
                      <a:pt x="50" y="22"/>
                      <a:pt x="49" y="22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9" y="22"/>
                      <a:pt x="48" y="22"/>
                      <a:pt x="48" y="22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5" y="31"/>
                      <a:pt x="35" y="32"/>
                      <a:pt x="36" y="33"/>
                    </a:cubicBezTo>
                    <a:cubicBezTo>
                      <a:pt x="36" y="34"/>
                      <a:pt x="38" y="34"/>
                      <a:pt x="38" y="34"/>
                    </a:cubicBezTo>
                    <a:cubicBezTo>
                      <a:pt x="43" y="31"/>
                      <a:pt x="43" y="31"/>
                      <a:pt x="43" y="31"/>
                    </a:cubicBezTo>
                    <a:cubicBezTo>
                      <a:pt x="46" y="37"/>
                      <a:pt x="46" y="37"/>
                      <a:pt x="46" y="37"/>
                    </a:cubicBezTo>
                    <a:cubicBezTo>
                      <a:pt x="47" y="39"/>
                      <a:pt x="49" y="40"/>
                      <a:pt x="52" y="40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48"/>
                      <a:pt x="59" y="48"/>
                      <a:pt x="59" y="48"/>
                    </a:cubicBezTo>
                    <a:cubicBezTo>
                      <a:pt x="59" y="49"/>
                      <a:pt x="58" y="50"/>
                      <a:pt x="57" y="50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1" y="43"/>
                      <a:pt x="39" y="42"/>
                      <a:pt x="37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5"/>
                      <a:pt x="12" y="4"/>
                      <a:pt x="13" y="4"/>
                    </a:cubicBezTo>
                    <a:cubicBezTo>
                      <a:pt x="48" y="4"/>
                      <a:pt x="48" y="4"/>
                      <a:pt x="4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8" name="Freeform 23">
                <a:extLst>
                  <a:ext uri="{FF2B5EF4-FFF2-40B4-BE49-F238E27FC236}">
                    <a16:creationId xmlns:a16="http://schemas.microsoft.com/office/drawing/2014/main" xmlns="" id="{F2A19241-BC06-44CB-9799-720EE508C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" y="1565"/>
                <a:ext cx="34" cy="39"/>
              </a:xfrm>
              <a:custGeom>
                <a:avLst/>
                <a:gdLst>
                  <a:gd name="T0" fmla="*/ 2 w 16"/>
                  <a:gd name="T1" fmla="*/ 0 h 18"/>
                  <a:gd name="T2" fmla="*/ 0 w 16"/>
                  <a:gd name="T3" fmla="*/ 2 h 18"/>
                  <a:gd name="T4" fmla="*/ 0 w 16"/>
                  <a:gd name="T5" fmla="*/ 12 h 18"/>
                  <a:gd name="T6" fmla="*/ 6 w 16"/>
                  <a:gd name="T7" fmla="*/ 18 h 18"/>
                  <a:gd name="T8" fmla="*/ 14 w 16"/>
                  <a:gd name="T9" fmla="*/ 18 h 18"/>
                  <a:gd name="T10" fmla="*/ 14 w 16"/>
                  <a:gd name="T11" fmla="*/ 18 h 18"/>
                  <a:gd name="T12" fmla="*/ 16 w 16"/>
                  <a:gd name="T13" fmla="*/ 16 h 18"/>
                  <a:gd name="T14" fmla="*/ 14 w 16"/>
                  <a:gd name="T15" fmla="*/ 14 h 18"/>
                  <a:gd name="T16" fmla="*/ 6 w 16"/>
                  <a:gd name="T17" fmla="*/ 14 h 18"/>
                  <a:gd name="T18" fmla="*/ 4 w 16"/>
                  <a:gd name="T19" fmla="*/ 12 h 18"/>
                  <a:gd name="T20" fmla="*/ 4 w 16"/>
                  <a:gd name="T21" fmla="*/ 2 h 18"/>
                  <a:gd name="T22" fmla="*/ 2 w 16"/>
                  <a:gd name="T23" fmla="*/ 0 h 18"/>
                  <a:gd name="T24" fmla="*/ 2 w 16"/>
                  <a:gd name="T2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8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3" y="18"/>
                      <a:pt x="6" y="18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5" y="18"/>
                      <a:pt x="16" y="17"/>
                      <a:pt x="16" y="16"/>
                    </a:cubicBezTo>
                    <a:cubicBezTo>
                      <a:pt x="16" y="15"/>
                      <a:pt x="15" y="14"/>
                      <a:pt x="14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342" name="Groupe 341">
            <a:extLst>
              <a:ext uri="{FF2B5EF4-FFF2-40B4-BE49-F238E27FC236}">
                <a16:creationId xmlns:a16="http://schemas.microsoft.com/office/drawing/2014/main" xmlns="" id="{E84BFDC8-8830-4631-BA31-0E6654CE00DB}"/>
              </a:ext>
            </a:extLst>
          </p:cNvPr>
          <p:cNvGrpSpPr/>
          <p:nvPr/>
        </p:nvGrpSpPr>
        <p:grpSpPr>
          <a:xfrm>
            <a:off x="3805933" y="2818978"/>
            <a:ext cx="547160" cy="547160"/>
            <a:chOff x="4546357" y="2818978"/>
            <a:chExt cx="547160" cy="547160"/>
          </a:xfrm>
        </p:grpSpPr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xmlns="" id="{124AEC75-2403-4211-8E14-D5E2C909E4C9}"/>
                </a:ext>
              </a:extLst>
            </p:cNvPr>
            <p:cNvSpPr/>
            <p:nvPr/>
          </p:nvSpPr>
          <p:spPr>
            <a:xfrm rot="10800000">
              <a:off x="4546357" y="2818978"/>
              <a:ext cx="547160" cy="54716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3" name="Freeform 5">
              <a:extLst>
                <a:ext uri="{FF2B5EF4-FFF2-40B4-BE49-F238E27FC236}">
                  <a16:creationId xmlns:a16="http://schemas.microsoft.com/office/drawing/2014/main" xmlns="" id="{E8F9C3A4-EAD0-44DD-91F9-376A08588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6741" y="2946843"/>
              <a:ext cx="366394" cy="291429"/>
            </a:xfrm>
            <a:custGeom>
              <a:avLst/>
              <a:gdLst>
                <a:gd name="T0" fmla="*/ 168 w 392"/>
                <a:gd name="T1" fmla="*/ 18 h 311"/>
                <a:gd name="T2" fmla="*/ 342 w 392"/>
                <a:gd name="T3" fmla="*/ 50 h 311"/>
                <a:gd name="T4" fmla="*/ 382 w 392"/>
                <a:gd name="T5" fmla="*/ 54 h 311"/>
                <a:gd name="T6" fmla="*/ 392 w 392"/>
                <a:gd name="T7" fmla="*/ 64 h 311"/>
                <a:gd name="T8" fmla="*/ 382 w 392"/>
                <a:gd name="T9" fmla="*/ 207 h 311"/>
                <a:gd name="T10" fmla="*/ 359 w 392"/>
                <a:gd name="T11" fmla="*/ 207 h 311"/>
                <a:gd name="T12" fmla="*/ 344 w 392"/>
                <a:gd name="T13" fmla="*/ 214 h 311"/>
                <a:gd name="T14" fmla="*/ 212 w 392"/>
                <a:gd name="T15" fmla="*/ 60 h 311"/>
                <a:gd name="T16" fmla="*/ 141 w 392"/>
                <a:gd name="T17" fmla="*/ 90 h 311"/>
                <a:gd name="T18" fmla="*/ 96 w 392"/>
                <a:gd name="T19" fmla="*/ 75 h 311"/>
                <a:gd name="T20" fmla="*/ 10 w 392"/>
                <a:gd name="T21" fmla="*/ 207 h 311"/>
                <a:gd name="T22" fmla="*/ 45 w 392"/>
                <a:gd name="T23" fmla="*/ 189 h 311"/>
                <a:gd name="T24" fmla="*/ 108 w 392"/>
                <a:gd name="T25" fmla="*/ 202 h 311"/>
                <a:gd name="T26" fmla="*/ 155 w 392"/>
                <a:gd name="T27" fmla="*/ 244 h 311"/>
                <a:gd name="T28" fmla="*/ 180 w 392"/>
                <a:gd name="T29" fmla="*/ 300 h 311"/>
                <a:gd name="T30" fmla="*/ 178 w 392"/>
                <a:gd name="T31" fmla="*/ 304 h 311"/>
                <a:gd name="T32" fmla="*/ 211 w 392"/>
                <a:gd name="T33" fmla="*/ 283 h 311"/>
                <a:gd name="T34" fmla="*/ 212 w 392"/>
                <a:gd name="T35" fmla="*/ 282 h 311"/>
                <a:gd name="T36" fmla="*/ 240 w 392"/>
                <a:gd name="T37" fmla="*/ 287 h 311"/>
                <a:gd name="T38" fmla="*/ 249 w 392"/>
                <a:gd name="T39" fmla="*/ 265 h 311"/>
                <a:gd name="T40" fmla="*/ 251 w 392"/>
                <a:gd name="T41" fmla="*/ 267 h 311"/>
                <a:gd name="T42" fmla="*/ 287 w 392"/>
                <a:gd name="T43" fmla="*/ 248 h 311"/>
                <a:gd name="T44" fmla="*/ 288 w 392"/>
                <a:gd name="T45" fmla="*/ 248 h 311"/>
                <a:gd name="T46" fmla="*/ 315 w 392"/>
                <a:gd name="T47" fmla="*/ 253 h 311"/>
                <a:gd name="T48" fmla="*/ 320 w 392"/>
                <a:gd name="T49" fmla="*/ 221 h 311"/>
                <a:gd name="T50" fmla="*/ 204 w 392"/>
                <a:gd name="T51" fmla="*/ 79 h 311"/>
                <a:gd name="T52" fmla="*/ 150 w 392"/>
                <a:gd name="T53" fmla="*/ 106 h 311"/>
                <a:gd name="T54" fmla="*/ 78 w 392"/>
                <a:gd name="T55" fmla="*/ 90 h 311"/>
                <a:gd name="T56" fmla="*/ 80 w 392"/>
                <a:gd name="T57" fmla="*/ 55 h 311"/>
                <a:gd name="T58" fmla="*/ 10 w 392"/>
                <a:gd name="T59" fmla="*/ 55 h 311"/>
                <a:gd name="T60" fmla="*/ 0 w 392"/>
                <a:gd name="T61" fmla="*/ 64 h 311"/>
                <a:gd name="T62" fmla="*/ 10 w 392"/>
                <a:gd name="T63" fmla="*/ 207 h 311"/>
                <a:gd name="T64" fmla="*/ 59 w 392"/>
                <a:gd name="T65" fmla="*/ 202 h 311"/>
                <a:gd name="T66" fmla="*/ 47 w 392"/>
                <a:gd name="T67" fmla="*/ 243 h 311"/>
                <a:gd name="T68" fmla="*/ 50 w 392"/>
                <a:gd name="T69" fmla="*/ 245 h 311"/>
                <a:gd name="T70" fmla="*/ 71 w 392"/>
                <a:gd name="T71" fmla="*/ 247 h 311"/>
                <a:gd name="T72" fmla="*/ 77 w 392"/>
                <a:gd name="T73" fmla="*/ 265 h 311"/>
                <a:gd name="T74" fmla="*/ 98 w 392"/>
                <a:gd name="T75" fmla="*/ 268 h 311"/>
                <a:gd name="T76" fmla="*/ 99 w 392"/>
                <a:gd name="T77" fmla="*/ 269 h 311"/>
                <a:gd name="T78" fmla="*/ 107 w 392"/>
                <a:gd name="T79" fmla="*/ 286 h 311"/>
                <a:gd name="T80" fmla="*/ 128 w 392"/>
                <a:gd name="T81" fmla="*/ 288 h 311"/>
                <a:gd name="T82" fmla="*/ 134 w 392"/>
                <a:gd name="T83" fmla="*/ 300 h 311"/>
                <a:gd name="T84" fmla="*/ 160 w 392"/>
                <a:gd name="T85" fmla="*/ 297 h 311"/>
                <a:gd name="T86" fmla="*/ 164 w 392"/>
                <a:gd name="T87" fmla="*/ 290 h 311"/>
                <a:gd name="T88" fmla="*/ 142 w 392"/>
                <a:gd name="T89" fmla="*/ 265 h 311"/>
                <a:gd name="T90" fmla="*/ 141 w 392"/>
                <a:gd name="T91" fmla="*/ 264 h 311"/>
                <a:gd name="T92" fmla="*/ 117 w 392"/>
                <a:gd name="T93" fmla="*/ 247 h 311"/>
                <a:gd name="T94" fmla="*/ 105 w 392"/>
                <a:gd name="T95" fmla="*/ 222 h 311"/>
                <a:gd name="T96" fmla="*/ 88 w 392"/>
                <a:gd name="T97" fmla="*/ 22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2" h="311">
                  <a:moveTo>
                    <a:pt x="99" y="70"/>
                  </a:moveTo>
                  <a:cubicBezTo>
                    <a:pt x="168" y="18"/>
                    <a:pt x="168" y="18"/>
                    <a:pt x="168" y="18"/>
                  </a:cubicBezTo>
                  <a:cubicBezTo>
                    <a:pt x="186" y="4"/>
                    <a:pt x="211" y="0"/>
                    <a:pt x="233" y="9"/>
                  </a:cubicBezTo>
                  <a:cubicBezTo>
                    <a:pt x="342" y="50"/>
                    <a:pt x="342" y="50"/>
                    <a:pt x="342" y="50"/>
                  </a:cubicBezTo>
                  <a:cubicBezTo>
                    <a:pt x="349" y="53"/>
                    <a:pt x="357" y="54"/>
                    <a:pt x="364" y="54"/>
                  </a:cubicBezTo>
                  <a:cubicBezTo>
                    <a:pt x="382" y="54"/>
                    <a:pt x="382" y="54"/>
                    <a:pt x="382" y="54"/>
                  </a:cubicBezTo>
                  <a:cubicBezTo>
                    <a:pt x="387" y="54"/>
                    <a:pt x="392" y="59"/>
                    <a:pt x="392" y="64"/>
                  </a:cubicBezTo>
                  <a:cubicBezTo>
                    <a:pt x="392" y="64"/>
                    <a:pt x="392" y="64"/>
                    <a:pt x="392" y="64"/>
                  </a:cubicBezTo>
                  <a:cubicBezTo>
                    <a:pt x="392" y="197"/>
                    <a:pt x="392" y="197"/>
                    <a:pt x="392" y="197"/>
                  </a:cubicBezTo>
                  <a:cubicBezTo>
                    <a:pt x="392" y="202"/>
                    <a:pt x="387" y="207"/>
                    <a:pt x="382" y="207"/>
                  </a:cubicBezTo>
                  <a:cubicBezTo>
                    <a:pt x="382" y="207"/>
                    <a:pt x="382" y="207"/>
                    <a:pt x="382" y="207"/>
                  </a:cubicBezTo>
                  <a:cubicBezTo>
                    <a:pt x="359" y="207"/>
                    <a:pt x="359" y="207"/>
                    <a:pt x="359" y="207"/>
                  </a:cubicBezTo>
                  <a:cubicBezTo>
                    <a:pt x="355" y="207"/>
                    <a:pt x="352" y="208"/>
                    <a:pt x="349" y="210"/>
                  </a:cubicBezTo>
                  <a:cubicBezTo>
                    <a:pt x="344" y="214"/>
                    <a:pt x="344" y="214"/>
                    <a:pt x="344" y="214"/>
                  </a:cubicBezTo>
                  <a:cubicBezTo>
                    <a:pt x="342" y="215"/>
                    <a:pt x="340" y="215"/>
                    <a:pt x="339" y="214"/>
                  </a:cubicBezTo>
                  <a:cubicBezTo>
                    <a:pt x="212" y="60"/>
                    <a:pt x="212" y="60"/>
                    <a:pt x="212" y="60"/>
                  </a:cubicBezTo>
                  <a:cubicBezTo>
                    <a:pt x="209" y="56"/>
                    <a:pt x="204" y="55"/>
                    <a:pt x="199" y="57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29" y="96"/>
                    <a:pt x="115" y="97"/>
                    <a:pt x="103" y="92"/>
                  </a:cubicBezTo>
                  <a:cubicBezTo>
                    <a:pt x="96" y="89"/>
                    <a:pt x="93" y="81"/>
                    <a:pt x="96" y="75"/>
                  </a:cubicBezTo>
                  <a:cubicBezTo>
                    <a:pt x="97" y="73"/>
                    <a:pt x="98" y="71"/>
                    <a:pt x="99" y="70"/>
                  </a:cubicBezTo>
                  <a:close/>
                  <a:moveTo>
                    <a:pt x="10" y="207"/>
                  </a:moveTo>
                  <a:cubicBezTo>
                    <a:pt x="30" y="207"/>
                    <a:pt x="30" y="207"/>
                    <a:pt x="30" y="207"/>
                  </a:cubicBezTo>
                  <a:cubicBezTo>
                    <a:pt x="45" y="189"/>
                    <a:pt x="45" y="189"/>
                    <a:pt x="45" y="189"/>
                  </a:cubicBezTo>
                  <a:cubicBezTo>
                    <a:pt x="57" y="174"/>
                    <a:pt x="80" y="171"/>
                    <a:pt x="96" y="184"/>
                  </a:cubicBezTo>
                  <a:cubicBezTo>
                    <a:pt x="102" y="189"/>
                    <a:pt x="106" y="195"/>
                    <a:pt x="108" y="202"/>
                  </a:cubicBezTo>
                  <a:cubicBezTo>
                    <a:pt x="120" y="206"/>
                    <a:pt x="130" y="215"/>
                    <a:pt x="133" y="228"/>
                  </a:cubicBezTo>
                  <a:cubicBezTo>
                    <a:pt x="142" y="230"/>
                    <a:pt x="150" y="236"/>
                    <a:pt x="155" y="244"/>
                  </a:cubicBezTo>
                  <a:cubicBezTo>
                    <a:pt x="162" y="246"/>
                    <a:pt x="170" y="249"/>
                    <a:pt x="175" y="255"/>
                  </a:cubicBezTo>
                  <a:cubicBezTo>
                    <a:pt x="187" y="267"/>
                    <a:pt x="189" y="286"/>
                    <a:pt x="180" y="300"/>
                  </a:cubicBezTo>
                  <a:cubicBezTo>
                    <a:pt x="178" y="304"/>
                    <a:pt x="178" y="304"/>
                    <a:pt x="178" y="304"/>
                  </a:cubicBezTo>
                  <a:cubicBezTo>
                    <a:pt x="178" y="304"/>
                    <a:pt x="178" y="304"/>
                    <a:pt x="178" y="304"/>
                  </a:cubicBezTo>
                  <a:cubicBezTo>
                    <a:pt x="188" y="311"/>
                    <a:pt x="201" y="308"/>
                    <a:pt x="208" y="299"/>
                  </a:cubicBezTo>
                  <a:cubicBezTo>
                    <a:pt x="211" y="294"/>
                    <a:pt x="212" y="288"/>
                    <a:pt x="211" y="283"/>
                  </a:cubicBezTo>
                  <a:cubicBezTo>
                    <a:pt x="211" y="283"/>
                    <a:pt x="211" y="282"/>
                    <a:pt x="211" y="282"/>
                  </a:cubicBezTo>
                  <a:cubicBezTo>
                    <a:pt x="211" y="282"/>
                    <a:pt x="212" y="282"/>
                    <a:pt x="212" y="282"/>
                  </a:cubicBezTo>
                  <a:cubicBezTo>
                    <a:pt x="213" y="284"/>
                    <a:pt x="213" y="284"/>
                    <a:pt x="213" y="284"/>
                  </a:cubicBezTo>
                  <a:cubicBezTo>
                    <a:pt x="220" y="291"/>
                    <a:pt x="232" y="292"/>
                    <a:pt x="240" y="287"/>
                  </a:cubicBezTo>
                  <a:cubicBezTo>
                    <a:pt x="247" y="282"/>
                    <a:pt x="251" y="274"/>
                    <a:pt x="249" y="265"/>
                  </a:cubicBezTo>
                  <a:cubicBezTo>
                    <a:pt x="249" y="265"/>
                    <a:pt x="249" y="265"/>
                    <a:pt x="249" y="265"/>
                  </a:cubicBezTo>
                  <a:cubicBezTo>
                    <a:pt x="249" y="265"/>
                    <a:pt x="250" y="265"/>
                    <a:pt x="250" y="265"/>
                  </a:cubicBezTo>
                  <a:cubicBezTo>
                    <a:pt x="251" y="267"/>
                    <a:pt x="251" y="267"/>
                    <a:pt x="251" y="267"/>
                  </a:cubicBezTo>
                  <a:cubicBezTo>
                    <a:pt x="259" y="274"/>
                    <a:pt x="270" y="275"/>
                    <a:pt x="278" y="269"/>
                  </a:cubicBezTo>
                  <a:cubicBezTo>
                    <a:pt x="285" y="265"/>
                    <a:pt x="289" y="256"/>
                    <a:pt x="287" y="248"/>
                  </a:cubicBezTo>
                  <a:cubicBezTo>
                    <a:pt x="287" y="248"/>
                    <a:pt x="287" y="248"/>
                    <a:pt x="287" y="247"/>
                  </a:cubicBezTo>
                  <a:cubicBezTo>
                    <a:pt x="288" y="247"/>
                    <a:pt x="288" y="247"/>
                    <a:pt x="288" y="248"/>
                  </a:cubicBezTo>
                  <a:cubicBezTo>
                    <a:pt x="290" y="249"/>
                    <a:pt x="290" y="249"/>
                    <a:pt x="290" y="249"/>
                  </a:cubicBezTo>
                  <a:cubicBezTo>
                    <a:pt x="296" y="256"/>
                    <a:pt x="307" y="257"/>
                    <a:pt x="315" y="253"/>
                  </a:cubicBezTo>
                  <a:cubicBezTo>
                    <a:pt x="325" y="247"/>
                    <a:pt x="329" y="234"/>
                    <a:pt x="323" y="224"/>
                  </a:cubicBezTo>
                  <a:cubicBezTo>
                    <a:pt x="322" y="223"/>
                    <a:pt x="321" y="222"/>
                    <a:pt x="320" y="221"/>
                  </a:cubicBezTo>
                  <a:cubicBezTo>
                    <a:pt x="307" y="205"/>
                    <a:pt x="307" y="205"/>
                    <a:pt x="307" y="205"/>
                  </a:cubicBezTo>
                  <a:cubicBezTo>
                    <a:pt x="204" y="79"/>
                    <a:pt x="204" y="79"/>
                    <a:pt x="204" y="79"/>
                  </a:cubicBezTo>
                  <a:cubicBezTo>
                    <a:pt x="203" y="78"/>
                    <a:pt x="201" y="78"/>
                    <a:pt x="200" y="78"/>
                  </a:cubicBezTo>
                  <a:cubicBezTo>
                    <a:pt x="150" y="106"/>
                    <a:pt x="150" y="106"/>
                    <a:pt x="150" y="106"/>
                  </a:cubicBezTo>
                  <a:cubicBezTo>
                    <a:pt x="134" y="115"/>
                    <a:pt x="115" y="116"/>
                    <a:pt x="98" y="110"/>
                  </a:cubicBezTo>
                  <a:cubicBezTo>
                    <a:pt x="89" y="107"/>
                    <a:pt x="81" y="99"/>
                    <a:pt x="78" y="90"/>
                  </a:cubicBezTo>
                  <a:cubicBezTo>
                    <a:pt x="75" y="81"/>
                    <a:pt x="77" y="70"/>
                    <a:pt x="81" y="62"/>
                  </a:cubicBezTo>
                  <a:cubicBezTo>
                    <a:pt x="83" y="59"/>
                    <a:pt x="82" y="56"/>
                    <a:pt x="80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5" y="55"/>
                    <a:pt x="0" y="5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2"/>
                    <a:pt x="5" y="207"/>
                    <a:pt x="10" y="207"/>
                  </a:cubicBezTo>
                  <a:close/>
                  <a:moveTo>
                    <a:pt x="82" y="197"/>
                  </a:moveTo>
                  <a:cubicBezTo>
                    <a:pt x="74" y="193"/>
                    <a:pt x="64" y="195"/>
                    <a:pt x="59" y="202"/>
                  </a:cubicBezTo>
                  <a:cubicBezTo>
                    <a:pt x="45" y="219"/>
                    <a:pt x="45" y="219"/>
                    <a:pt x="45" y="219"/>
                  </a:cubicBezTo>
                  <a:cubicBezTo>
                    <a:pt x="39" y="226"/>
                    <a:pt x="40" y="237"/>
                    <a:pt x="47" y="243"/>
                  </a:cubicBezTo>
                  <a:cubicBezTo>
                    <a:pt x="47" y="244"/>
                    <a:pt x="48" y="244"/>
                    <a:pt x="48" y="244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55" y="250"/>
                    <a:pt x="63" y="250"/>
                    <a:pt x="69" y="247"/>
                  </a:cubicBezTo>
                  <a:cubicBezTo>
                    <a:pt x="70" y="246"/>
                    <a:pt x="70" y="247"/>
                    <a:pt x="71" y="247"/>
                  </a:cubicBezTo>
                  <a:cubicBezTo>
                    <a:pt x="71" y="247"/>
                    <a:pt x="71" y="247"/>
                    <a:pt x="71" y="248"/>
                  </a:cubicBezTo>
                  <a:cubicBezTo>
                    <a:pt x="69" y="254"/>
                    <a:pt x="72" y="261"/>
                    <a:pt x="77" y="265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84" y="271"/>
                    <a:pt x="92" y="271"/>
                    <a:pt x="98" y="268"/>
                  </a:cubicBezTo>
                  <a:cubicBezTo>
                    <a:pt x="98" y="268"/>
                    <a:pt x="99" y="268"/>
                    <a:pt x="99" y="269"/>
                  </a:cubicBezTo>
                  <a:cubicBezTo>
                    <a:pt x="99" y="269"/>
                    <a:pt x="99" y="269"/>
                    <a:pt x="99" y="269"/>
                  </a:cubicBezTo>
                  <a:cubicBezTo>
                    <a:pt x="98" y="275"/>
                    <a:pt x="101" y="281"/>
                    <a:pt x="106" y="285"/>
                  </a:cubicBezTo>
                  <a:cubicBezTo>
                    <a:pt x="107" y="286"/>
                    <a:pt x="107" y="286"/>
                    <a:pt x="107" y="286"/>
                  </a:cubicBezTo>
                  <a:cubicBezTo>
                    <a:pt x="112" y="290"/>
                    <a:pt x="120" y="291"/>
                    <a:pt x="126" y="288"/>
                  </a:cubicBezTo>
                  <a:cubicBezTo>
                    <a:pt x="127" y="287"/>
                    <a:pt x="127" y="288"/>
                    <a:pt x="128" y="288"/>
                  </a:cubicBezTo>
                  <a:cubicBezTo>
                    <a:pt x="128" y="288"/>
                    <a:pt x="128" y="288"/>
                    <a:pt x="128" y="289"/>
                  </a:cubicBezTo>
                  <a:cubicBezTo>
                    <a:pt x="128" y="293"/>
                    <a:pt x="131" y="297"/>
                    <a:pt x="134" y="300"/>
                  </a:cubicBezTo>
                  <a:cubicBezTo>
                    <a:pt x="135" y="300"/>
                    <a:pt x="135" y="300"/>
                    <a:pt x="135" y="300"/>
                  </a:cubicBezTo>
                  <a:cubicBezTo>
                    <a:pt x="143" y="306"/>
                    <a:pt x="154" y="305"/>
                    <a:pt x="160" y="297"/>
                  </a:cubicBezTo>
                  <a:cubicBezTo>
                    <a:pt x="161" y="297"/>
                    <a:pt x="161" y="296"/>
                    <a:pt x="162" y="295"/>
                  </a:cubicBezTo>
                  <a:cubicBezTo>
                    <a:pt x="164" y="290"/>
                    <a:pt x="164" y="290"/>
                    <a:pt x="164" y="290"/>
                  </a:cubicBezTo>
                  <a:cubicBezTo>
                    <a:pt x="169" y="283"/>
                    <a:pt x="168" y="274"/>
                    <a:pt x="161" y="268"/>
                  </a:cubicBezTo>
                  <a:cubicBezTo>
                    <a:pt x="156" y="263"/>
                    <a:pt x="148" y="262"/>
                    <a:pt x="142" y="265"/>
                  </a:cubicBezTo>
                  <a:cubicBezTo>
                    <a:pt x="142" y="265"/>
                    <a:pt x="141" y="265"/>
                    <a:pt x="141" y="264"/>
                  </a:cubicBezTo>
                  <a:cubicBezTo>
                    <a:pt x="141" y="264"/>
                    <a:pt x="141" y="264"/>
                    <a:pt x="141" y="264"/>
                  </a:cubicBezTo>
                  <a:cubicBezTo>
                    <a:pt x="142" y="254"/>
                    <a:pt x="134" y="246"/>
                    <a:pt x="124" y="245"/>
                  </a:cubicBezTo>
                  <a:cubicBezTo>
                    <a:pt x="122" y="245"/>
                    <a:pt x="119" y="246"/>
                    <a:pt x="117" y="247"/>
                  </a:cubicBezTo>
                  <a:cubicBezTo>
                    <a:pt x="114" y="247"/>
                    <a:pt x="115" y="245"/>
                    <a:pt x="115" y="245"/>
                  </a:cubicBezTo>
                  <a:cubicBezTo>
                    <a:pt x="119" y="236"/>
                    <a:pt x="114" y="225"/>
                    <a:pt x="105" y="222"/>
                  </a:cubicBezTo>
                  <a:cubicBezTo>
                    <a:pt x="100" y="220"/>
                    <a:pt x="95" y="220"/>
                    <a:pt x="90" y="222"/>
                  </a:cubicBezTo>
                  <a:cubicBezTo>
                    <a:pt x="88" y="223"/>
                    <a:pt x="88" y="221"/>
                    <a:pt x="88" y="221"/>
                  </a:cubicBezTo>
                  <a:cubicBezTo>
                    <a:pt x="93" y="213"/>
                    <a:pt x="90" y="202"/>
                    <a:pt x="82" y="1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30" name="Groupe 129">
            <a:extLst>
              <a:ext uri="{FF2B5EF4-FFF2-40B4-BE49-F238E27FC236}">
                <a16:creationId xmlns:a16="http://schemas.microsoft.com/office/drawing/2014/main" xmlns="" id="{703338C8-52BE-40CA-BECE-E76C189140F9}"/>
              </a:ext>
            </a:extLst>
          </p:cNvPr>
          <p:cNvGrpSpPr/>
          <p:nvPr/>
        </p:nvGrpSpPr>
        <p:grpSpPr>
          <a:xfrm>
            <a:off x="1703669" y="3956456"/>
            <a:ext cx="529550" cy="529613"/>
            <a:chOff x="1703669" y="3956456"/>
            <a:chExt cx="529550" cy="529613"/>
          </a:xfrm>
        </p:grpSpPr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xmlns="" id="{AC3D09A9-6DBF-4ED2-B7C1-3BC140176F4B}"/>
                </a:ext>
              </a:extLst>
            </p:cNvPr>
            <p:cNvSpPr/>
            <p:nvPr/>
          </p:nvSpPr>
          <p:spPr bwMode="gray">
            <a:xfrm>
              <a:off x="1703669" y="3956456"/>
              <a:ext cx="529550" cy="529613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49" name="Group 4">
              <a:extLst>
                <a:ext uri="{FF2B5EF4-FFF2-40B4-BE49-F238E27FC236}">
                  <a16:creationId xmlns:a16="http://schemas.microsoft.com/office/drawing/2014/main" xmlns="" id="{91B17220-649D-4288-AABA-EC04B7B80C1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35619" y="4028927"/>
              <a:ext cx="274377" cy="379905"/>
              <a:chOff x="2154" y="1177"/>
              <a:chExt cx="793" cy="1098"/>
            </a:xfrm>
            <a:solidFill>
              <a:schemeClr val="bg1"/>
            </a:solidFill>
          </p:grpSpPr>
          <p:sp>
            <p:nvSpPr>
              <p:cNvPr id="351" name="Freeform 5">
                <a:extLst>
                  <a:ext uri="{FF2B5EF4-FFF2-40B4-BE49-F238E27FC236}">
                    <a16:creationId xmlns:a16="http://schemas.microsoft.com/office/drawing/2014/main" xmlns="" id="{A3F0AA8D-E4AB-426C-879D-1F696355E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2" y="1177"/>
                <a:ext cx="456" cy="78"/>
              </a:xfrm>
              <a:custGeom>
                <a:avLst/>
                <a:gdLst>
                  <a:gd name="T0" fmla="*/ 46 w 46"/>
                  <a:gd name="T1" fmla="*/ 8 h 8"/>
                  <a:gd name="T2" fmla="*/ 46 w 46"/>
                  <a:gd name="T3" fmla="*/ 2 h 8"/>
                  <a:gd name="T4" fmla="*/ 44 w 46"/>
                  <a:gd name="T5" fmla="*/ 0 h 8"/>
                  <a:gd name="T6" fmla="*/ 2 w 46"/>
                  <a:gd name="T7" fmla="*/ 0 h 8"/>
                  <a:gd name="T8" fmla="*/ 0 w 46"/>
                  <a:gd name="T9" fmla="*/ 2 h 8"/>
                  <a:gd name="T10" fmla="*/ 0 w 46"/>
                  <a:gd name="T11" fmla="*/ 8 h 8"/>
                  <a:gd name="T12" fmla="*/ 46 w 46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8">
                    <a:moveTo>
                      <a:pt x="46" y="8"/>
                    </a:moveTo>
                    <a:cubicBezTo>
                      <a:pt x="46" y="2"/>
                      <a:pt x="46" y="2"/>
                      <a:pt x="46" y="2"/>
                    </a:cubicBezTo>
                    <a:cubicBezTo>
                      <a:pt x="46" y="1"/>
                      <a:pt x="45" y="0"/>
                      <a:pt x="4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4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8" name="Freeform 6">
                <a:extLst>
                  <a:ext uri="{FF2B5EF4-FFF2-40B4-BE49-F238E27FC236}">
                    <a16:creationId xmlns:a16="http://schemas.microsoft.com/office/drawing/2014/main" xmlns="" id="{2FFA2C64-4174-4861-8AE9-26F63956C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4" y="1295"/>
                <a:ext cx="357" cy="980"/>
              </a:xfrm>
              <a:custGeom>
                <a:avLst/>
                <a:gdLst>
                  <a:gd name="T0" fmla="*/ 36 w 36"/>
                  <a:gd name="T1" fmla="*/ 23 h 100"/>
                  <a:gd name="T2" fmla="*/ 19 w 36"/>
                  <a:gd name="T3" fmla="*/ 0 h 100"/>
                  <a:gd name="T4" fmla="*/ 16 w 36"/>
                  <a:gd name="T5" fmla="*/ 0 h 100"/>
                  <a:gd name="T6" fmla="*/ 1 w 36"/>
                  <a:gd name="T7" fmla="*/ 20 h 100"/>
                  <a:gd name="T8" fmla="*/ 26 w 36"/>
                  <a:gd name="T9" fmla="*/ 20 h 100"/>
                  <a:gd name="T10" fmla="*/ 28 w 36"/>
                  <a:gd name="T11" fmla="*/ 22 h 100"/>
                  <a:gd name="T12" fmla="*/ 26 w 36"/>
                  <a:gd name="T13" fmla="*/ 24 h 100"/>
                  <a:gd name="T14" fmla="*/ 0 w 36"/>
                  <a:gd name="T15" fmla="*/ 24 h 100"/>
                  <a:gd name="T16" fmla="*/ 0 w 36"/>
                  <a:gd name="T17" fmla="*/ 94 h 100"/>
                  <a:gd name="T18" fmla="*/ 2 w 36"/>
                  <a:gd name="T19" fmla="*/ 96 h 100"/>
                  <a:gd name="T20" fmla="*/ 36 w 36"/>
                  <a:gd name="T21" fmla="*/ 100 h 100"/>
                  <a:gd name="T22" fmla="*/ 36 w 36"/>
                  <a:gd name="T23" fmla="*/ 2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0">
                    <a:moveTo>
                      <a:pt x="36" y="2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7" y="20"/>
                      <a:pt x="28" y="21"/>
                      <a:pt x="28" y="22"/>
                    </a:cubicBezTo>
                    <a:cubicBezTo>
                      <a:pt x="28" y="23"/>
                      <a:pt x="27" y="24"/>
                      <a:pt x="26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95"/>
                      <a:pt x="1" y="96"/>
                      <a:pt x="2" y="96"/>
                    </a:cubicBezTo>
                    <a:cubicBezTo>
                      <a:pt x="36" y="100"/>
                      <a:pt x="36" y="100"/>
                      <a:pt x="36" y="100"/>
                    </a:cubicBezTo>
                    <a:lnTo>
                      <a:pt x="36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0" name="Freeform 7">
                <a:extLst>
                  <a:ext uri="{FF2B5EF4-FFF2-40B4-BE49-F238E27FC236}">
                    <a16:creationId xmlns:a16="http://schemas.microsoft.com/office/drawing/2014/main" xmlns="" id="{3577CDC9-1316-44B6-9526-6C4418AD00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2" y="1295"/>
                <a:ext cx="555" cy="980"/>
              </a:xfrm>
              <a:custGeom>
                <a:avLst/>
                <a:gdLst>
                  <a:gd name="T0" fmla="*/ 56 w 56"/>
                  <a:gd name="T1" fmla="*/ 21 h 100"/>
                  <a:gd name="T2" fmla="*/ 42 w 56"/>
                  <a:gd name="T3" fmla="*/ 0 h 100"/>
                  <a:gd name="T4" fmla="*/ 0 w 56"/>
                  <a:gd name="T5" fmla="*/ 0 h 100"/>
                  <a:gd name="T6" fmla="*/ 15 w 56"/>
                  <a:gd name="T7" fmla="*/ 20 h 100"/>
                  <a:gd name="T8" fmla="*/ 40 w 56"/>
                  <a:gd name="T9" fmla="*/ 20 h 100"/>
                  <a:gd name="T10" fmla="*/ 42 w 56"/>
                  <a:gd name="T11" fmla="*/ 22 h 100"/>
                  <a:gd name="T12" fmla="*/ 40 w 56"/>
                  <a:gd name="T13" fmla="*/ 24 h 100"/>
                  <a:gd name="T14" fmla="*/ 16 w 56"/>
                  <a:gd name="T15" fmla="*/ 24 h 100"/>
                  <a:gd name="T16" fmla="*/ 16 w 56"/>
                  <a:gd name="T17" fmla="*/ 100 h 100"/>
                  <a:gd name="T18" fmla="*/ 54 w 56"/>
                  <a:gd name="T19" fmla="*/ 96 h 100"/>
                  <a:gd name="T20" fmla="*/ 56 w 56"/>
                  <a:gd name="T21" fmla="*/ 94 h 100"/>
                  <a:gd name="T22" fmla="*/ 56 w 56"/>
                  <a:gd name="T23" fmla="*/ 22 h 100"/>
                  <a:gd name="T24" fmla="*/ 56 w 56"/>
                  <a:gd name="T25" fmla="*/ 21 h 100"/>
                  <a:gd name="T26" fmla="*/ 35 w 56"/>
                  <a:gd name="T27" fmla="*/ 72 h 100"/>
                  <a:gd name="T28" fmla="*/ 24 w 56"/>
                  <a:gd name="T29" fmla="*/ 60 h 100"/>
                  <a:gd name="T30" fmla="*/ 33 w 56"/>
                  <a:gd name="T31" fmla="*/ 41 h 100"/>
                  <a:gd name="T32" fmla="*/ 37 w 56"/>
                  <a:gd name="T33" fmla="*/ 41 h 100"/>
                  <a:gd name="T34" fmla="*/ 46 w 56"/>
                  <a:gd name="T35" fmla="*/ 60 h 100"/>
                  <a:gd name="T36" fmla="*/ 35 w 56"/>
                  <a:gd name="T37" fmla="*/ 7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100">
                    <a:moveTo>
                      <a:pt x="56" y="21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1" y="20"/>
                      <a:pt x="42" y="21"/>
                      <a:pt x="42" y="22"/>
                    </a:cubicBezTo>
                    <a:cubicBezTo>
                      <a:pt x="42" y="23"/>
                      <a:pt x="41" y="24"/>
                      <a:pt x="40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100"/>
                      <a:pt x="16" y="100"/>
                      <a:pt x="16" y="100"/>
                    </a:cubicBezTo>
                    <a:cubicBezTo>
                      <a:pt x="54" y="96"/>
                      <a:pt x="54" y="96"/>
                      <a:pt x="54" y="96"/>
                    </a:cubicBezTo>
                    <a:cubicBezTo>
                      <a:pt x="55" y="96"/>
                      <a:pt x="56" y="95"/>
                      <a:pt x="56" y="94"/>
                    </a:cubicBezTo>
                    <a:cubicBezTo>
                      <a:pt x="56" y="22"/>
                      <a:pt x="56" y="22"/>
                      <a:pt x="56" y="22"/>
                    </a:cubicBezTo>
                    <a:cubicBezTo>
                      <a:pt x="56" y="22"/>
                      <a:pt x="56" y="21"/>
                      <a:pt x="56" y="21"/>
                    </a:cubicBezTo>
                    <a:close/>
                    <a:moveTo>
                      <a:pt x="35" y="72"/>
                    </a:moveTo>
                    <a:cubicBezTo>
                      <a:pt x="29" y="72"/>
                      <a:pt x="24" y="67"/>
                      <a:pt x="24" y="60"/>
                    </a:cubicBezTo>
                    <a:cubicBezTo>
                      <a:pt x="24" y="54"/>
                      <a:pt x="32" y="42"/>
                      <a:pt x="33" y="41"/>
                    </a:cubicBezTo>
                    <a:cubicBezTo>
                      <a:pt x="34" y="40"/>
                      <a:pt x="36" y="40"/>
                      <a:pt x="37" y="41"/>
                    </a:cubicBezTo>
                    <a:cubicBezTo>
                      <a:pt x="38" y="42"/>
                      <a:pt x="46" y="54"/>
                      <a:pt x="46" y="60"/>
                    </a:cubicBezTo>
                    <a:cubicBezTo>
                      <a:pt x="46" y="67"/>
                      <a:pt x="41" y="72"/>
                      <a:pt x="35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3" name="Freeform 8">
                <a:extLst>
                  <a:ext uri="{FF2B5EF4-FFF2-40B4-BE49-F238E27FC236}">
                    <a16:creationId xmlns:a16="http://schemas.microsoft.com/office/drawing/2014/main" xmlns="" id="{B748D016-7144-413B-9590-87CF3A27E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1746"/>
                <a:ext cx="139" cy="215"/>
              </a:xfrm>
              <a:custGeom>
                <a:avLst/>
                <a:gdLst>
                  <a:gd name="T0" fmla="*/ 0 w 14"/>
                  <a:gd name="T1" fmla="*/ 14 h 22"/>
                  <a:gd name="T2" fmla="*/ 7 w 14"/>
                  <a:gd name="T3" fmla="*/ 22 h 22"/>
                  <a:gd name="T4" fmla="*/ 14 w 14"/>
                  <a:gd name="T5" fmla="*/ 14 h 22"/>
                  <a:gd name="T6" fmla="*/ 7 w 14"/>
                  <a:gd name="T7" fmla="*/ 0 h 22"/>
                  <a:gd name="T8" fmla="*/ 0 w 14"/>
                  <a:gd name="T9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2">
                    <a:moveTo>
                      <a:pt x="0" y="14"/>
                    </a:moveTo>
                    <a:cubicBezTo>
                      <a:pt x="0" y="18"/>
                      <a:pt x="3" y="22"/>
                      <a:pt x="7" y="22"/>
                    </a:cubicBezTo>
                    <a:cubicBezTo>
                      <a:pt x="11" y="22"/>
                      <a:pt x="14" y="18"/>
                      <a:pt x="14" y="14"/>
                    </a:cubicBezTo>
                    <a:cubicBezTo>
                      <a:pt x="14" y="11"/>
                      <a:pt x="10" y="4"/>
                      <a:pt x="7" y="0"/>
                    </a:cubicBezTo>
                    <a:cubicBezTo>
                      <a:pt x="4" y="4"/>
                      <a:pt x="0" y="11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131" name="Groupe 130">
            <a:extLst>
              <a:ext uri="{FF2B5EF4-FFF2-40B4-BE49-F238E27FC236}">
                <a16:creationId xmlns:a16="http://schemas.microsoft.com/office/drawing/2014/main" xmlns="" id="{BF78CFD8-F36B-4FCA-B95A-3D88ADC2E17E}"/>
              </a:ext>
            </a:extLst>
          </p:cNvPr>
          <p:cNvGrpSpPr/>
          <p:nvPr/>
        </p:nvGrpSpPr>
        <p:grpSpPr>
          <a:xfrm>
            <a:off x="2758357" y="3956456"/>
            <a:ext cx="529550" cy="529613"/>
            <a:chOff x="2758357" y="3956456"/>
            <a:chExt cx="529550" cy="529613"/>
          </a:xfrm>
        </p:grpSpPr>
        <p:sp>
          <p:nvSpPr>
            <p:cNvPr id="327" name="Ellipse 326"/>
            <p:cNvSpPr/>
            <p:nvPr/>
          </p:nvSpPr>
          <p:spPr bwMode="gray">
            <a:xfrm>
              <a:off x="2758357" y="3956456"/>
              <a:ext cx="529550" cy="529613"/>
            </a:xfrm>
            <a:prstGeom prst="ellipse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66" name="Groupe 365">
              <a:extLst>
                <a:ext uri="{FF2B5EF4-FFF2-40B4-BE49-F238E27FC236}">
                  <a16:creationId xmlns:a16="http://schemas.microsoft.com/office/drawing/2014/main" xmlns="" id="{4FF98225-E061-4AD5-89CE-EEBA26814F1B}"/>
                </a:ext>
              </a:extLst>
            </p:cNvPr>
            <p:cNvGrpSpPr/>
            <p:nvPr/>
          </p:nvGrpSpPr>
          <p:grpSpPr>
            <a:xfrm>
              <a:off x="2863010" y="4098428"/>
              <a:ext cx="362132" cy="257634"/>
              <a:chOff x="971551" y="1917700"/>
              <a:chExt cx="638175" cy="454025"/>
            </a:xfrm>
            <a:solidFill>
              <a:schemeClr val="bg1"/>
            </a:solidFill>
          </p:grpSpPr>
          <p:sp>
            <p:nvSpPr>
              <p:cNvPr id="369" name="Freeform 17">
                <a:extLst>
                  <a:ext uri="{FF2B5EF4-FFF2-40B4-BE49-F238E27FC236}">
                    <a16:creationId xmlns:a16="http://schemas.microsoft.com/office/drawing/2014/main" xmlns="" id="{148D29BB-E56A-40F5-B541-BED4A0578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551" y="1968500"/>
                <a:ext cx="638175" cy="403225"/>
              </a:xfrm>
              <a:custGeom>
                <a:avLst/>
                <a:gdLst>
                  <a:gd name="T0" fmla="*/ 192 w 193"/>
                  <a:gd name="T1" fmla="*/ 2 h 121"/>
                  <a:gd name="T2" fmla="*/ 186 w 193"/>
                  <a:gd name="T3" fmla="*/ 1 h 121"/>
                  <a:gd name="T4" fmla="*/ 146 w 193"/>
                  <a:gd name="T5" fmla="*/ 20 h 121"/>
                  <a:gd name="T6" fmla="*/ 145 w 193"/>
                  <a:gd name="T7" fmla="*/ 20 h 121"/>
                  <a:gd name="T8" fmla="*/ 120 w 193"/>
                  <a:gd name="T9" fmla="*/ 47 h 121"/>
                  <a:gd name="T10" fmla="*/ 120 w 193"/>
                  <a:gd name="T11" fmla="*/ 44 h 121"/>
                  <a:gd name="T12" fmla="*/ 116 w 193"/>
                  <a:gd name="T13" fmla="*/ 40 h 121"/>
                  <a:gd name="T14" fmla="*/ 4 w 193"/>
                  <a:gd name="T15" fmla="*/ 40 h 121"/>
                  <a:gd name="T16" fmla="*/ 0 w 193"/>
                  <a:gd name="T17" fmla="*/ 44 h 121"/>
                  <a:gd name="T18" fmla="*/ 0 w 193"/>
                  <a:gd name="T19" fmla="*/ 97 h 121"/>
                  <a:gd name="T20" fmla="*/ 23 w 193"/>
                  <a:gd name="T21" fmla="*/ 121 h 121"/>
                  <a:gd name="T22" fmla="*/ 97 w 193"/>
                  <a:gd name="T23" fmla="*/ 121 h 121"/>
                  <a:gd name="T24" fmla="*/ 120 w 193"/>
                  <a:gd name="T25" fmla="*/ 97 h 121"/>
                  <a:gd name="T26" fmla="*/ 120 w 193"/>
                  <a:gd name="T27" fmla="*/ 58 h 121"/>
                  <a:gd name="T28" fmla="*/ 150 w 193"/>
                  <a:gd name="T29" fmla="*/ 26 h 121"/>
                  <a:gd name="T30" fmla="*/ 190 w 193"/>
                  <a:gd name="T31" fmla="*/ 8 h 121"/>
                  <a:gd name="T32" fmla="*/ 192 w 193"/>
                  <a:gd name="T33" fmla="*/ 2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3" h="121">
                    <a:moveTo>
                      <a:pt x="192" y="2"/>
                    </a:moveTo>
                    <a:cubicBezTo>
                      <a:pt x="191" y="0"/>
                      <a:pt x="188" y="0"/>
                      <a:pt x="186" y="1"/>
                    </a:cubicBezTo>
                    <a:cubicBezTo>
                      <a:pt x="146" y="20"/>
                      <a:pt x="146" y="20"/>
                      <a:pt x="146" y="20"/>
                    </a:cubicBezTo>
                    <a:cubicBezTo>
                      <a:pt x="146" y="20"/>
                      <a:pt x="145" y="20"/>
                      <a:pt x="145" y="20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20" y="44"/>
                      <a:pt x="120" y="44"/>
                      <a:pt x="120" y="44"/>
                    </a:cubicBezTo>
                    <a:cubicBezTo>
                      <a:pt x="120" y="41"/>
                      <a:pt x="118" y="40"/>
                      <a:pt x="116" y="40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2" y="40"/>
                      <a:pt x="0" y="41"/>
                      <a:pt x="0" y="44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110"/>
                      <a:pt x="10" y="121"/>
                      <a:pt x="23" y="121"/>
                    </a:cubicBezTo>
                    <a:cubicBezTo>
                      <a:pt x="97" y="121"/>
                      <a:pt x="97" y="121"/>
                      <a:pt x="97" y="121"/>
                    </a:cubicBezTo>
                    <a:cubicBezTo>
                      <a:pt x="109" y="121"/>
                      <a:pt x="120" y="110"/>
                      <a:pt x="120" y="97"/>
                    </a:cubicBezTo>
                    <a:cubicBezTo>
                      <a:pt x="120" y="58"/>
                      <a:pt x="120" y="58"/>
                      <a:pt x="120" y="58"/>
                    </a:cubicBezTo>
                    <a:cubicBezTo>
                      <a:pt x="150" y="26"/>
                      <a:pt x="150" y="26"/>
                      <a:pt x="150" y="26"/>
                    </a:cubicBezTo>
                    <a:cubicBezTo>
                      <a:pt x="190" y="8"/>
                      <a:pt x="190" y="8"/>
                      <a:pt x="190" y="8"/>
                    </a:cubicBezTo>
                    <a:cubicBezTo>
                      <a:pt x="192" y="7"/>
                      <a:pt x="193" y="4"/>
                      <a:pt x="19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2" name="Freeform 18">
                <a:extLst>
                  <a:ext uri="{FF2B5EF4-FFF2-40B4-BE49-F238E27FC236}">
                    <a16:creationId xmlns:a16="http://schemas.microsoft.com/office/drawing/2014/main" xmlns="" id="{58535353-366E-49E5-9841-F472825C3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314" y="1954213"/>
                <a:ext cx="25400" cy="90488"/>
              </a:xfrm>
              <a:custGeom>
                <a:avLst/>
                <a:gdLst>
                  <a:gd name="T0" fmla="*/ 4 w 8"/>
                  <a:gd name="T1" fmla="*/ 27 h 27"/>
                  <a:gd name="T2" fmla="*/ 8 w 8"/>
                  <a:gd name="T3" fmla="*/ 23 h 27"/>
                  <a:gd name="T4" fmla="*/ 8 w 8"/>
                  <a:gd name="T5" fmla="*/ 4 h 27"/>
                  <a:gd name="T6" fmla="*/ 4 w 8"/>
                  <a:gd name="T7" fmla="*/ 0 h 27"/>
                  <a:gd name="T8" fmla="*/ 0 w 8"/>
                  <a:gd name="T9" fmla="*/ 4 h 27"/>
                  <a:gd name="T10" fmla="*/ 0 w 8"/>
                  <a:gd name="T11" fmla="*/ 23 h 27"/>
                  <a:gd name="T12" fmla="*/ 4 w 8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7">
                    <a:moveTo>
                      <a:pt x="4" y="27"/>
                    </a:moveTo>
                    <a:cubicBezTo>
                      <a:pt x="6" y="27"/>
                      <a:pt x="8" y="25"/>
                      <a:pt x="8" y="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1"/>
                      <a:pt x="6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5"/>
                      <a:pt x="2" y="27"/>
                      <a:pt x="4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5" name="Freeform 19">
                <a:extLst>
                  <a:ext uri="{FF2B5EF4-FFF2-40B4-BE49-F238E27FC236}">
                    <a16:creationId xmlns:a16="http://schemas.microsoft.com/office/drawing/2014/main" xmlns="" id="{80DB72AC-9540-45A1-B7A2-C36309E0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7289" y="1917700"/>
                <a:ext cx="25400" cy="127000"/>
              </a:xfrm>
              <a:custGeom>
                <a:avLst/>
                <a:gdLst>
                  <a:gd name="T0" fmla="*/ 4 w 8"/>
                  <a:gd name="T1" fmla="*/ 38 h 38"/>
                  <a:gd name="T2" fmla="*/ 8 w 8"/>
                  <a:gd name="T3" fmla="*/ 34 h 38"/>
                  <a:gd name="T4" fmla="*/ 8 w 8"/>
                  <a:gd name="T5" fmla="*/ 4 h 38"/>
                  <a:gd name="T6" fmla="*/ 4 w 8"/>
                  <a:gd name="T7" fmla="*/ 0 h 38"/>
                  <a:gd name="T8" fmla="*/ 0 w 8"/>
                  <a:gd name="T9" fmla="*/ 4 h 38"/>
                  <a:gd name="T10" fmla="*/ 0 w 8"/>
                  <a:gd name="T11" fmla="*/ 34 h 38"/>
                  <a:gd name="T12" fmla="*/ 4 w 8"/>
                  <a:gd name="T1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8">
                    <a:moveTo>
                      <a:pt x="4" y="38"/>
                    </a:moveTo>
                    <a:cubicBezTo>
                      <a:pt x="6" y="38"/>
                      <a:pt x="8" y="36"/>
                      <a:pt x="8" y="3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6"/>
                      <a:pt x="2" y="38"/>
                      <a:pt x="4" y="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7" name="Freeform 20">
                <a:extLst>
                  <a:ext uri="{FF2B5EF4-FFF2-40B4-BE49-F238E27FC236}">
                    <a16:creationId xmlns:a16="http://schemas.microsoft.com/office/drawing/2014/main" xmlns="" id="{F1571D02-7ACF-44B3-ACF8-A30850F23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264" y="1954213"/>
                <a:ext cx="26988" cy="90488"/>
              </a:xfrm>
              <a:custGeom>
                <a:avLst/>
                <a:gdLst>
                  <a:gd name="T0" fmla="*/ 4 w 8"/>
                  <a:gd name="T1" fmla="*/ 27 h 27"/>
                  <a:gd name="T2" fmla="*/ 8 w 8"/>
                  <a:gd name="T3" fmla="*/ 23 h 27"/>
                  <a:gd name="T4" fmla="*/ 8 w 8"/>
                  <a:gd name="T5" fmla="*/ 4 h 27"/>
                  <a:gd name="T6" fmla="*/ 4 w 8"/>
                  <a:gd name="T7" fmla="*/ 0 h 27"/>
                  <a:gd name="T8" fmla="*/ 0 w 8"/>
                  <a:gd name="T9" fmla="*/ 4 h 27"/>
                  <a:gd name="T10" fmla="*/ 0 w 8"/>
                  <a:gd name="T11" fmla="*/ 23 h 27"/>
                  <a:gd name="T12" fmla="*/ 4 w 8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7">
                    <a:moveTo>
                      <a:pt x="4" y="27"/>
                    </a:moveTo>
                    <a:cubicBezTo>
                      <a:pt x="6" y="27"/>
                      <a:pt x="8" y="25"/>
                      <a:pt x="8" y="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1"/>
                      <a:pt x="6" y="0"/>
                      <a:pt x="4" y="0"/>
                    </a:cubicBezTo>
                    <a:cubicBezTo>
                      <a:pt x="1" y="0"/>
                      <a:pt x="0" y="1"/>
                      <a:pt x="0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5"/>
                      <a:pt x="1" y="27"/>
                      <a:pt x="4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129" name="Groupe 128">
            <a:extLst>
              <a:ext uri="{FF2B5EF4-FFF2-40B4-BE49-F238E27FC236}">
                <a16:creationId xmlns:a16="http://schemas.microsoft.com/office/drawing/2014/main" xmlns="" id="{8E8C5D7B-740F-4BFC-B227-EE2309CB817B}"/>
              </a:ext>
            </a:extLst>
          </p:cNvPr>
          <p:cNvGrpSpPr/>
          <p:nvPr/>
        </p:nvGrpSpPr>
        <p:grpSpPr>
          <a:xfrm>
            <a:off x="657805" y="3956456"/>
            <a:ext cx="529550" cy="529613"/>
            <a:chOff x="657805" y="3956456"/>
            <a:chExt cx="529550" cy="529613"/>
          </a:xfrm>
        </p:grpSpPr>
        <p:sp>
          <p:nvSpPr>
            <p:cNvPr id="319" name="Ellipse 318"/>
            <p:cNvSpPr/>
            <p:nvPr/>
          </p:nvSpPr>
          <p:spPr bwMode="gray">
            <a:xfrm>
              <a:off x="657805" y="3956456"/>
              <a:ext cx="529550" cy="529613"/>
            </a:xfrm>
            <a:prstGeom prst="ellips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3" name="Freeform 60">
              <a:extLst>
                <a:ext uri="{FF2B5EF4-FFF2-40B4-BE49-F238E27FC236}">
                  <a16:creationId xmlns:a16="http://schemas.microsoft.com/office/drawing/2014/main" xmlns="" id="{2BA335D9-EFFE-4188-B59C-03595310487D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87281" y="4036916"/>
              <a:ext cx="257785" cy="377766"/>
            </a:xfrm>
            <a:custGeom>
              <a:avLst/>
              <a:gdLst>
                <a:gd name="T0" fmla="*/ 152 w 1113"/>
                <a:gd name="T1" fmla="*/ 0 h 1633"/>
                <a:gd name="T2" fmla="*/ 57 w 1113"/>
                <a:gd name="T3" fmla="*/ 89 h 1633"/>
                <a:gd name="T4" fmla="*/ 973 w 1113"/>
                <a:gd name="T5" fmla="*/ 89 h 1633"/>
                <a:gd name="T6" fmla="*/ 1027 w 1113"/>
                <a:gd name="T7" fmla="*/ 24 h 1633"/>
                <a:gd name="T8" fmla="*/ 964 w 1113"/>
                <a:gd name="T9" fmla="*/ 0 h 1633"/>
                <a:gd name="T10" fmla="*/ 152 w 1113"/>
                <a:gd name="T11" fmla="*/ 0 h 1633"/>
                <a:gd name="T12" fmla="*/ 839 w 1113"/>
                <a:gd name="T13" fmla="*/ 1313 h 1633"/>
                <a:gd name="T14" fmla="*/ 948 w 1113"/>
                <a:gd name="T15" fmla="*/ 246 h 1633"/>
                <a:gd name="T16" fmla="*/ 67 w 1113"/>
                <a:gd name="T17" fmla="*/ 246 h 1633"/>
                <a:gd name="T18" fmla="*/ 71 w 1113"/>
                <a:gd name="T19" fmla="*/ 309 h 1633"/>
                <a:gd name="T20" fmla="*/ 71 w 1113"/>
                <a:gd name="T21" fmla="*/ 309 h 1633"/>
                <a:gd name="T22" fmla="*/ 67 w 1113"/>
                <a:gd name="T23" fmla="*/ 246 h 1633"/>
                <a:gd name="T24" fmla="*/ 67 w 1113"/>
                <a:gd name="T25" fmla="*/ 246 h 1633"/>
                <a:gd name="T26" fmla="*/ 150 w 1113"/>
                <a:gd name="T27" fmla="*/ 1557 h 1633"/>
                <a:gd name="T28" fmla="*/ 230 w 1113"/>
                <a:gd name="T29" fmla="*/ 1633 h 1633"/>
                <a:gd name="T30" fmla="*/ 702 w 1113"/>
                <a:gd name="T31" fmla="*/ 1633 h 1633"/>
                <a:gd name="T32" fmla="*/ 629 w 1113"/>
                <a:gd name="T33" fmla="*/ 1489 h 1633"/>
                <a:gd name="T34" fmla="*/ 807 w 1113"/>
                <a:gd name="T35" fmla="*/ 1310 h 1633"/>
                <a:gd name="T36" fmla="*/ 839 w 1113"/>
                <a:gd name="T37" fmla="*/ 1313 h 1633"/>
                <a:gd name="T38" fmla="*/ 807 w 1113"/>
                <a:gd name="T39" fmla="*/ 1415 h 1633"/>
                <a:gd name="T40" fmla="*/ 880 w 1113"/>
                <a:gd name="T41" fmla="*/ 1489 h 1633"/>
                <a:gd name="T42" fmla="*/ 807 w 1113"/>
                <a:gd name="T43" fmla="*/ 1562 h 1633"/>
                <a:gd name="T44" fmla="*/ 734 w 1113"/>
                <a:gd name="T45" fmla="*/ 1489 h 1633"/>
                <a:gd name="T46" fmla="*/ 807 w 1113"/>
                <a:gd name="T47" fmla="*/ 1415 h 1633"/>
                <a:gd name="T48" fmla="*/ 951 w 1113"/>
                <a:gd name="T49" fmla="*/ 1489 h 1633"/>
                <a:gd name="T50" fmla="*/ 807 w 1113"/>
                <a:gd name="T51" fmla="*/ 1345 h 1633"/>
                <a:gd name="T52" fmla="*/ 663 w 1113"/>
                <a:gd name="T53" fmla="*/ 1489 h 1633"/>
                <a:gd name="T54" fmla="*/ 807 w 1113"/>
                <a:gd name="T55" fmla="*/ 1633 h 1633"/>
                <a:gd name="T56" fmla="*/ 951 w 1113"/>
                <a:gd name="T57" fmla="*/ 1489 h 1633"/>
                <a:gd name="T58" fmla="*/ 1059 w 1113"/>
                <a:gd name="T59" fmla="*/ 52 h 1633"/>
                <a:gd name="T60" fmla="*/ 1113 w 1113"/>
                <a:gd name="T61" fmla="*/ 106 h 1633"/>
                <a:gd name="T62" fmla="*/ 1059 w 1113"/>
                <a:gd name="T63" fmla="*/ 159 h 1633"/>
                <a:gd name="T64" fmla="*/ 1006 w 1113"/>
                <a:gd name="T65" fmla="*/ 106 h 1633"/>
                <a:gd name="T66" fmla="*/ 1059 w 1113"/>
                <a:gd name="T67" fmla="*/ 52 h 1633"/>
                <a:gd name="T68" fmla="*/ 1059 w 1113"/>
                <a:gd name="T69" fmla="*/ 87 h 1633"/>
                <a:gd name="T70" fmla="*/ 1078 w 1113"/>
                <a:gd name="T71" fmla="*/ 106 h 1633"/>
                <a:gd name="T72" fmla="*/ 1059 w 1113"/>
                <a:gd name="T73" fmla="*/ 125 h 1633"/>
                <a:gd name="T74" fmla="*/ 1040 w 1113"/>
                <a:gd name="T75" fmla="*/ 106 h 1633"/>
                <a:gd name="T76" fmla="*/ 1059 w 1113"/>
                <a:gd name="T77" fmla="*/ 87 h 1633"/>
                <a:gd name="T78" fmla="*/ 973 w 1113"/>
                <a:gd name="T79" fmla="*/ 123 h 1633"/>
                <a:gd name="T80" fmla="*/ 1027 w 1113"/>
                <a:gd name="T81" fmla="*/ 187 h 1633"/>
                <a:gd name="T82" fmla="*/ 964 w 1113"/>
                <a:gd name="T83" fmla="*/ 211 h 1633"/>
                <a:gd name="T84" fmla="*/ 20 w 1113"/>
                <a:gd name="T85" fmla="*/ 211 h 1633"/>
                <a:gd name="T86" fmla="*/ 0 w 1113"/>
                <a:gd name="T87" fmla="*/ 191 h 1633"/>
                <a:gd name="T88" fmla="*/ 0 w 1113"/>
                <a:gd name="T89" fmla="*/ 143 h 1633"/>
                <a:gd name="T90" fmla="*/ 20 w 1113"/>
                <a:gd name="T91" fmla="*/ 123 h 1633"/>
                <a:gd name="T92" fmla="*/ 973 w 1113"/>
                <a:gd name="T93" fmla="*/ 123 h 1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13" h="1633">
                  <a:moveTo>
                    <a:pt x="152" y="0"/>
                  </a:moveTo>
                  <a:cubicBezTo>
                    <a:pt x="102" y="0"/>
                    <a:pt x="61" y="40"/>
                    <a:pt x="57" y="89"/>
                  </a:cubicBezTo>
                  <a:cubicBezTo>
                    <a:pt x="973" y="89"/>
                    <a:pt x="973" y="89"/>
                    <a:pt x="973" y="89"/>
                  </a:cubicBezTo>
                  <a:cubicBezTo>
                    <a:pt x="979" y="59"/>
                    <a:pt x="1000" y="35"/>
                    <a:pt x="1027" y="24"/>
                  </a:cubicBezTo>
                  <a:cubicBezTo>
                    <a:pt x="1010" y="9"/>
                    <a:pt x="988" y="0"/>
                    <a:pt x="964" y="0"/>
                  </a:cubicBezTo>
                  <a:lnTo>
                    <a:pt x="152" y="0"/>
                  </a:lnTo>
                  <a:close/>
                  <a:moveTo>
                    <a:pt x="839" y="1313"/>
                  </a:moveTo>
                  <a:cubicBezTo>
                    <a:pt x="948" y="246"/>
                    <a:pt x="948" y="246"/>
                    <a:pt x="948" y="246"/>
                  </a:cubicBezTo>
                  <a:cubicBezTo>
                    <a:pt x="67" y="246"/>
                    <a:pt x="67" y="246"/>
                    <a:pt x="67" y="246"/>
                  </a:cubicBezTo>
                  <a:cubicBezTo>
                    <a:pt x="71" y="309"/>
                    <a:pt x="71" y="309"/>
                    <a:pt x="71" y="309"/>
                  </a:cubicBezTo>
                  <a:cubicBezTo>
                    <a:pt x="71" y="309"/>
                    <a:pt x="71" y="309"/>
                    <a:pt x="71" y="309"/>
                  </a:cubicBezTo>
                  <a:cubicBezTo>
                    <a:pt x="67" y="246"/>
                    <a:pt x="67" y="246"/>
                    <a:pt x="67" y="246"/>
                  </a:cubicBezTo>
                  <a:cubicBezTo>
                    <a:pt x="67" y="246"/>
                    <a:pt x="67" y="246"/>
                    <a:pt x="67" y="246"/>
                  </a:cubicBezTo>
                  <a:cubicBezTo>
                    <a:pt x="150" y="1557"/>
                    <a:pt x="150" y="1557"/>
                    <a:pt x="150" y="1557"/>
                  </a:cubicBezTo>
                  <a:cubicBezTo>
                    <a:pt x="153" y="1594"/>
                    <a:pt x="194" y="1633"/>
                    <a:pt x="230" y="1633"/>
                  </a:cubicBezTo>
                  <a:cubicBezTo>
                    <a:pt x="702" y="1633"/>
                    <a:pt x="702" y="1633"/>
                    <a:pt x="702" y="1633"/>
                  </a:cubicBezTo>
                  <a:cubicBezTo>
                    <a:pt x="657" y="1600"/>
                    <a:pt x="629" y="1548"/>
                    <a:pt x="629" y="1489"/>
                  </a:cubicBezTo>
                  <a:cubicBezTo>
                    <a:pt x="629" y="1390"/>
                    <a:pt x="708" y="1310"/>
                    <a:pt x="807" y="1310"/>
                  </a:cubicBezTo>
                  <a:cubicBezTo>
                    <a:pt x="818" y="1310"/>
                    <a:pt x="829" y="1311"/>
                    <a:pt x="839" y="1313"/>
                  </a:cubicBezTo>
                  <a:close/>
                  <a:moveTo>
                    <a:pt x="807" y="1415"/>
                  </a:moveTo>
                  <a:cubicBezTo>
                    <a:pt x="847" y="1415"/>
                    <a:pt x="880" y="1448"/>
                    <a:pt x="880" y="1489"/>
                  </a:cubicBezTo>
                  <a:cubicBezTo>
                    <a:pt x="880" y="1529"/>
                    <a:pt x="847" y="1562"/>
                    <a:pt x="807" y="1562"/>
                  </a:cubicBezTo>
                  <a:cubicBezTo>
                    <a:pt x="766" y="1562"/>
                    <a:pt x="734" y="1529"/>
                    <a:pt x="734" y="1489"/>
                  </a:cubicBezTo>
                  <a:cubicBezTo>
                    <a:pt x="734" y="1448"/>
                    <a:pt x="766" y="1415"/>
                    <a:pt x="807" y="1415"/>
                  </a:cubicBezTo>
                  <a:close/>
                  <a:moveTo>
                    <a:pt x="951" y="1489"/>
                  </a:moveTo>
                  <a:cubicBezTo>
                    <a:pt x="951" y="1409"/>
                    <a:pt x="886" y="1345"/>
                    <a:pt x="807" y="1345"/>
                  </a:cubicBezTo>
                  <a:cubicBezTo>
                    <a:pt x="727" y="1345"/>
                    <a:pt x="663" y="1409"/>
                    <a:pt x="663" y="1489"/>
                  </a:cubicBezTo>
                  <a:cubicBezTo>
                    <a:pt x="663" y="1568"/>
                    <a:pt x="727" y="1633"/>
                    <a:pt x="807" y="1633"/>
                  </a:cubicBezTo>
                  <a:cubicBezTo>
                    <a:pt x="886" y="1633"/>
                    <a:pt x="951" y="1568"/>
                    <a:pt x="951" y="1489"/>
                  </a:cubicBezTo>
                  <a:close/>
                  <a:moveTo>
                    <a:pt x="1059" y="52"/>
                  </a:moveTo>
                  <a:cubicBezTo>
                    <a:pt x="1089" y="52"/>
                    <a:pt x="1113" y="76"/>
                    <a:pt x="1113" y="106"/>
                  </a:cubicBezTo>
                  <a:cubicBezTo>
                    <a:pt x="1113" y="135"/>
                    <a:pt x="1089" y="159"/>
                    <a:pt x="1059" y="159"/>
                  </a:cubicBezTo>
                  <a:cubicBezTo>
                    <a:pt x="1030" y="159"/>
                    <a:pt x="1006" y="135"/>
                    <a:pt x="1006" y="106"/>
                  </a:cubicBezTo>
                  <a:cubicBezTo>
                    <a:pt x="1006" y="76"/>
                    <a:pt x="1030" y="52"/>
                    <a:pt x="1059" y="52"/>
                  </a:cubicBezTo>
                  <a:close/>
                  <a:moveTo>
                    <a:pt x="1059" y="87"/>
                  </a:moveTo>
                  <a:cubicBezTo>
                    <a:pt x="1070" y="87"/>
                    <a:pt x="1078" y="95"/>
                    <a:pt x="1078" y="106"/>
                  </a:cubicBezTo>
                  <a:cubicBezTo>
                    <a:pt x="1078" y="116"/>
                    <a:pt x="1070" y="125"/>
                    <a:pt x="1059" y="125"/>
                  </a:cubicBezTo>
                  <a:cubicBezTo>
                    <a:pt x="1049" y="125"/>
                    <a:pt x="1040" y="116"/>
                    <a:pt x="1040" y="106"/>
                  </a:cubicBezTo>
                  <a:cubicBezTo>
                    <a:pt x="1040" y="95"/>
                    <a:pt x="1049" y="87"/>
                    <a:pt x="1059" y="87"/>
                  </a:cubicBezTo>
                  <a:close/>
                  <a:moveTo>
                    <a:pt x="973" y="123"/>
                  </a:moveTo>
                  <a:cubicBezTo>
                    <a:pt x="979" y="152"/>
                    <a:pt x="1000" y="177"/>
                    <a:pt x="1027" y="187"/>
                  </a:cubicBezTo>
                  <a:cubicBezTo>
                    <a:pt x="1010" y="202"/>
                    <a:pt x="988" y="211"/>
                    <a:pt x="964" y="2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9" y="211"/>
                    <a:pt x="0" y="202"/>
                    <a:pt x="0" y="191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32"/>
                    <a:pt x="9" y="123"/>
                    <a:pt x="20" y="123"/>
                  </a:cubicBezTo>
                  <a:lnTo>
                    <a:pt x="973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28" name="Groupe 127">
            <a:extLst>
              <a:ext uri="{FF2B5EF4-FFF2-40B4-BE49-F238E27FC236}">
                <a16:creationId xmlns:a16="http://schemas.microsoft.com/office/drawing/2014/main" xmlns="" id="{75959BEB-16A9-4301-B718-93DFE3960183}"/>
              </a:ext>
            </a:extLst>
          </p:cNvPr>
          <p:cNvGrpSpPr/>
          <p:nvPr/>
        </p:nvGrpSpPr>
        <p:grpSpPr>
          <a:xfrm>
            <a:off x="8009738" y="2826697"/>
            <a:ext cx="529550" cy="529613"/>
            <a:chOff x="8009738" y="2826697"/>
            <a:chExt cx="529550" cy="529613"/>
          </a:xfrm>
        </p:grpSpPr>
        <p:sp>
          <p:nvSpPr>
            <p:cNvPr id="388" name="Ellipse 387">
              <a:extLst>
                <a:ext uri="{FF2B5EF4-FFF2-40B4-BE49-F238E27FC236}">
                  <a16:creationId xmlns:a16="http://schemas.microsoft.com/office/drawing/2014/main" xmlns="" id="{69F5CF18-4DC8-4199-BF90-C1F5A8CF5A22}"/>
                </a:ext>
              </a:extLst>
            </p:cNvPr>
            <p:cNvSpPr/>
            <p:nvPr/>
          </p:nvSpPr>
          <p:spPr bwMode="gray">
            <a:xfrm>
              <a:off x="8009738" y="2826697"/>
              <a:ext cx="529550" cy="52961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6" name="Freeform 24">
              <a:extLst>
                <a:ext uri="{FF2B5EF4-FFF2-40B4-BE49-F238E27FC236}">
                  <a16:creationId xmlns:a16="http://schemas.microsoft.com/office/drawing/2014/main" xmlns="" id="{7A451119-A6D8-4797-A3C1-973F160DB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4544" y="2945058"/>
              <a:ext cx="379938" cy="292890"/>
            </a:xfrm>
            <a:custGeom>
              <a:avLst/>
              <a:gdLst>
                <a:gd name="T0" fmla="*/ 2868 w 2984"/>
                <a:gd name="T1" fmla="*/ 824 h 2300"/>
                <a:gd name="T2" fmla="*/ 2664 w 2984"/>
                <a:gd name="T3" fmla="*/ 792 h 2300"/>
                <a:gd name="T4" fmla="*/ 2508 w 2984"/>
                <a:gd name="T5" fmla="*/ 316 h 2300"/>
                <a:gd name="T6" fmla="*/ 476 w 2984"/>
                <a:gd name="T7" fmla="*/ 316 h 2300"/>
                <a:gd name="T8" fmla="*/ 320 w 2984"/>
                <a:gd name="T9" fmla="*/ 792 h 2300"/>
                <a:gd name="T10" fmla="*/ 116 w 2984"/>
                <a:gd name="T11" fmla="*/ 824 h 2300"/>
                <a:gd name="T12" fmla="*/ 96 w 2984"/>
                <a:gd name="T13" fmla="*/ 1068 h 2300"/>
                <a:gd name="T14" fmla="*/ 224 w 2984"/>
                <a:gd name="T15" fmla="*/ 1072 h 2300"/>
                <a:gd name="T16" fmla="*/ 192 w 2984"/>
                <a:gd name="T17" fmla="*/ 1156 h 2300"/>
                <a:gd name="T18" fmla="*/ 180 w 2984"/>
                <a:gd name="T19" fmla="*/ 2212 h 2300"/>
                <a:gd name="T20" fmla="*/ 264 w 2984"/>
                <a:gd name="T21" fmla="*/ 2300 h 2300"/>
                <a:gd name="T22" fmla="*/ 652 w 2984"/>
                <a:gd name="T23" fmla="*/ 2300 h 2300"/>
                <a:gd name="T24" fmla="*/ 740 w 2984"/>
                <a:gd name="T25" fmla="*/ 2212 h 2300"/>
                <a:gd name="T26" fmla="*/ 740 w 2984"/>
                <a:gd name="T27" fmla="*/ 2004 h 2300"/>
                <a:gd name="T28" fmla="*/ 2248 w 2984"/>
                <a:gd name="T29" fmla="*/ 2004 h 2300"/>
                <a:gd name="T30" fmla="*/ 2248 w 2984"/>
                <a:gd name="T31" fmla="*/ 2212 h 2300"/>
                <a:gd name="T32" fmla="*/ 2332 w 2984"/>
                <a:gd name="T33" fmla="*/ 2300 h 2300"/>
                <a:gd name="T34" fmla="*/ 2720 w 2984"/>
                <a:gd name="T35" fmla="*/ 2300 h 2300"/>
                <a:gd name="T36" fmla="*/ 2804 w 2984"/>
                <a:gd name="T37" fmla="*/ 2212 h 2300"/>
                <a:gd name="T38" fmla="*/ 2792 w 2984"/>
                <a:gd name="T39" fmla="*/ 1156 h 2300"/>
                <a:gd name="T40" fmla="*/ 2764 w 2984"/>
                <a:gd name="T41" fmla="*/ 1072 h 2300"/>
                <a:gd name="T42" fmla="*/ 2888 w 2984"/>
                <a:gd name="T43" fmla="*/ 1068 h 2300"/>
                <a:gd name="T44" fmla="*/ 2868 w 2984"/>
                <a:gd name="T45" fmla="*/ 824 h 2300"/>
                <a:gd name="T46" fmla="*/ 404 w 2984"/>
                <a:gd name="T47" fmla="*/ 1540 h 2300"/>
                <a:gd name="T48" fmla="*/ 368 w 2984"/>
                <a:gd name="T49" fmla="*/ 1332 h 2300"/>
                <a:gd name="T50" fmla="*/ 864 w 2984"/>
                <a:gd name="T51" fmla="*/ 1444 h 2300"/>
                <a:gd name="T52" fmla="*/ 404 w 2984"/>
                <a:gd name="T53" fmla="*/ 1540 h 2300"/>
                <a:gd name="T54" fmla="*/ 484 w 2984"/>
                <a:gd name="T55" fmla="*/ 820 h 2300"/>
                <a:gd name="T56" fmla="*/ 620 w 2984"/>
                <a:gd name="T57" fmla="*/ 404 h 2300"/>
                <a:gd name="T58" fmla="*/ 2364 w 2984"/>
                <a:gd name="T59" fmla="*/ 404 h 2300"/>
                <a:gd name="T60" fmla="*/ 2500 w 2984"/>
                <a:gd name="T61" fmla="*/ 820 h 2300"/>
                <a:gd name="T62" fmla="*/ 484 w 2984"/>
                <a:gd name="T63" fmla="*/ 820 h 2300"/>
                <a:gd name="T64" fmla="*/ 2580 w 2984"/>
                <a:gd name="T65" fmla="*/ 1540 h 2300"/>
                <a:gd name="T66" fmla="*/ 2120 w 2984"/>
                <a:gd name="T67" fmla="*/ 1444 h 2300"/>
                <a:gd name="T68" fmla="*/ 2616 w 2984"/>
                <a:gd name="T69" fmla="*/ 1332 h 2300"/>
                <a:gd name="T70" fmla="*/ 2580 w 2984"/>
                <a:gd name="T71" fmla="*/ 1540 h 2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4" h="2300">
                  <a:moveTo>
                    <a:pt x="2868" y="824"/>
                  </a:moveTo>
                  <a:cubicBezTo>
                    <a:pt x="2840" y="804"/>
                    <a:pt x="2664" y="792"/>
                    <a:pt x="2664" y="792"/>
                  </a:cubicBezTo>
                  <a:cubicBezTo>
                    <a:pt x="2508" y="316"/>
                    <a:pt x="2508" y="316"/>
                    <a:pt x="2508" y="316"/>
                  </a:cubicBezTo>
                  <a:cubicBezTo>
                    <a:pt x="2404" y="0"/>
                    <a:pt x="580" y="0"/>
                    <a:pt x="476" y="316"/>
                  </a:cubicBezTo>
                  <a:cubicBezTo>
                    <a:pt x="320" y="792"/>
                    <a:pt x="320" y="792"/>
                    <a:pt x="320" y="792"/>
                  </a:cubicBezTo>
                  <a:cubicBezTo>
                    <a:pt x="240" y="780"/>
                    <a:pt x="164" y="792"/>
                    <a:pt x="116" y="824"/>
                  </a:cubicBezTo>
                  <a:cubicBezTo>
                    <a:pt x="4" y="904"/>
                    <a:pt x="0" y="1068"/>
                    <a:pt x="96" y="1068"/>
                  </a:cubicBezTo>
                  <a:cubicBezTo>
                    <a:pt x="140" y="1072"/>
                    <a:pt x="180" y="1072"/>
                    <a:pt x="224" y="1072"/>
                  </a:cubicBezTo>
                  <a:cubicBezTo>
                    <a:pt x="212" y="1108"/>
                    <a:pt x="200" y="1140"/>
                    <a:pt x="192" y="1156"/>
                  </a:cubicBezTo>
                  <a:cubicBezTo>
                    <a:pt x="160" y="1232"/>
                    <a:pt x="180" y="2016"/>
                    <a:pt x="180" y="2212"/>
                  </a:cubicBezTo>
                  <a:cubicBezTo>
                    <a:pt x="180" y="2260"/>
                    <a:pt x="220" y="2300"/>
                    <a:pt x="264" y="2300"/>
                  </a:cubicBezTo>
                  <a:cubicBezTo>
                    <a:pt x="652" y="2300"/>
                    <a:pt x="652" y="2300"/>
                    <a:pt x="652" y="2300"/>
                  </a:cubicBezTo>
                  <a:cubicBezTo>
                    <a:pt x="700" y="2300"/>
                    <a:pt x="740" y="2260"/>
                    <a:pt x="740" y="2212"/>
                  </a:cubicBezTo>
                  <a:cubicBezTo>
                    <a:pt x="740" y="2004"/>
                    <a:pt x="740" y="2004"/>
                    <a:pt x="740" y="2004"/>
                  </a:cubicBezTo>
                  <a:cubicBezTo>
                    <a:pt x="1244" y="2012"/>
                    <a:pt x="1744" y="2012"/>
                    <a:pt x="2248" y="2004"/>
                  </a:cubicBezTo>
                  <a:cubicBezTo>
                    <a:pt x="2248" y="2212"/>
                    <a:pt x="2248" y="2212"/>
                    <a:pt x="2248" y="2212"/>
                  </a:cubicBezTo>
                  <a:cubicBezTo>
                    <a:pt x="2248" y="2260"/>
                    <a:pt x="2284" y="2300"/>
                    <a:pt x="2332" y="2300"/>
                  </a:cubicBezTo>
                  <a:cubicBezTo>
                    <a:pt x="2720" y="2300"/>
                    <a:pt x="2720" y="2300"/>
                    <a:pt x="2720" y="2300"/>
                  </a:cubicBezTo>
                  <a:cubicBezTo>
                    <a:pt x="2768" y="2300"/>
                    <a:pt x="2804" y="2260"/>
                    <a:pt x="2804" y="2212"/>
                  </a:cubicBezTo>
                  <a:cubicBezTo>
                    <a:pt x="2804" y="2016"/>
                    <a:pt x="2824" y="1232"/>
                    <a:pt x="2792" y="1156"/>
                  </a:cubicBezTo>
                  <a:cubicBezTo>
                    <a:pt x="2784" y="1140"/>
                    <a:pt x="2776" y="1108"/>
                    <a:pt x="2764" y="1072"/>
                  </a:cubicBezTo>
                  <a:cubicBezTo>
                    <a:pt x="2804" y="1072"/>
                    <a:pt x="2844" y="1072"/>
                    <a:pt x="2888" y="1068"/>
                  </a:cubicBezTo>
                  <a:cubicBezTo>
                    <a:pt x="2984" y="1068"/>
                    <a:pt x="2980" y="904"/>
                    <a:pt x="2868" y="824"/>
                  </a:cubicBezTo>
                  <a:close/>
                  <a:moveTo>
                    <a:pt x="404" y="1540"/>
                  </a:moveTo>
                  <a:cubicBezTo>
                    <a:pt x="332" y="1516"/>
                    <a:pt x="360" y="1388"/>
                    <a:pt x="368" y="1332"/>
                  </a:cubicBezTo>
                  <a:cubicBezTo>
                    <a:pt x="432" y="1212"/>
                    <a:pt x="776" y="1404"/>
                    <a:pt x="864" y="1444"/>
                  </a:cubicBezTo>
                  <a:cubicBezTo>
                    <a:pt x="940" y="1640"/>
                    <a:pt x="556" y="1592"/>
                    <a:pt x="404" y="1540"/>
                  </a:cubicBezTo>
                  <a:close/>
                  <a:moveTo>
                    <a:pt x="484" y="820"/>
                  </a:moveTo>
                  <a:cubicBezTo>
                    <a:pt x="532" y="680"/>
                    <a:pt x="568" y="540"/>
                    <a:pt x="620" y="404"/>
                  </a:cubicBezTo>
                  <a:cubicBezTo>
                    <a:pt x="736" y="188"/>
                    <a:pt x="2252" y="188"/>
                    <a:pt x="2364" y="404"/>
                  </a:cubicBezTo>
                  <a:cubicBezTo>
                    <a:pt x="2416" y="540"/>
                    <a:pt x="2456" y="680"/>
                    <a:pt x="2500" y="820"/>
                  </a:cubicBezTo>
                  <a:cubicBezTo>
                    <a:pt x="1720" y="980"/>
                    <a:pt x="1264" y="980"/>
                    <a:pt x="484" y="820"/>
                  </a:cubicBezTo>
                  <a:close/>
                  <a:moveTo>
                    <a:pt x="2580" y="1540"/>
                  </a:moveTo>
                  <a:cubicBezTo>
                    <a:pt x="2428" y="1592"/>
                    <a:pt x="2044" y="1640"/>
                    <a:pt x="2120" y="1444"/>
                  </a:cubicBezTo>
                  <a:cubicBezTo>
                    <a:pt x="2208" y="1404"/>
                    <a:pt x="2552" y="1212"/>
                    <a:pt x="2616" y="1332"/>
                  </a:cubicBezTo>
                  <a:cubicBezTo>
                    <a:pt x="2624" y="1388"/>
                    <a:pt x="2652" y="1516"/>
                    <a:pt x="2580" y="15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01" name="Groupe 400">
            <a:extLst>
              <a:ext uri="{FF2B5EF4-FFF2-40B4-BE49-F238E27FC236}">
                <a16:creationId xmlns:a16="http://schemas.microsoft.com/office/drawing/2014/main" xmlns="" id="{622205A4-EFFC-4ACC-864B-10B32A068789}"/>
              </a:ext>
            </a:extLst>
          </p:cNvPr>
          <p:cNvGrpSpPr/>
          <p:nvPr/>
        </p:nvGrpSpPr>
        <p:grpSpPr>
          <a:xfrm>
            <a:off x="3798472" y="3942337"/>
            <a:ext cx="554821" cy="554821"/>
            <a:chOff x="5622810" y="3542925"/>
            <a:chExt cx="554821" cy="554821"/>
          </a:xfrm>
        </p:grpSpPr>
        <p:sp>
          <p:nvSpPr>
            <p:cNvPr id="402" name="Ellipse 179">
              <a:extLst>
                <a:ext uri="{FF2B5EF4-FFF2-40B4-BE49-F238E27FC236}">
                  <a16:creationId xmlns:a16="http://schemas.microsoft.com/office/drawing/2014/main" xmlns="" id="{841A929F-EDE9-467F-8BB6-DFAF2545036C}"/>
                </a:ext>
              </a:extLst>
            </p:cNvPr>
            <p:cNvSpPr/>
            <p:nvPr/>
          </p:nvSpPr>
          <p:spPr bwMode="gray">
            <a:xfrm>
              <a:off x="5622810" y="3542925"/>
              <a:ext cx="554821" cy="5548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sp>
          <p:nvSpPr>
            <p:cNvPr id="403" name="Freeform 5">
              <a:extLst>
                <a:ext uri="{FF2B5EF4-FFF2-40B4-BE49-F238E27FC236}">
                  <a16:creationId xmlns:a16="http://schemas.microsoft.com/office/drawing/2014/main" xmlns="" id="{0C3F6CD8-FA84-4FD8-953F-0EFB2E9EE2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0586" y="3639366"/>
              <a:ext cx="354908" cy="338080"/>
            </a:xfrm>
            <a:custGeom>
              <a:avLst/>
              <a:gdLst>
                <a:gd name="T0" fmla="*/ 168 w 336"/>
                <a:gd name="T1" fmla="*/ 0 h 320"/>
                <a:gd name="T2" fmla="*/ 96 w 336"/>
                <a:gd name="T3" fmla="*/ 71 h 320"/>
                <a:gd name="T4" fmla="*/ 102 w 336"/>
                <a:gd name="T5" fmla="*/ 102 h 320"/>
                <a:gd name="T6" fmla="*/ 168 w 336"/>
                <a:gd name="T7" fmla="*/ 240 h 320"/>
                <a:gd name="T8" fmla="*/ 234 w 336"/>
                <a:gd name="T9" fmla="*/ 102 h 320"/>
                <a:gd name="T10" fmla="*/ 240 w 336"/>
                <a:gd name="T11" fmla="*/ 71 h 320"/>
                <a:gd name="T12" fmla="*/ 168 w 336"/>
                <a:gd name="T13" fmla="*/ 0 h 320"/>
                <a:gd name="T14" fmla="*/ 168 w 336"/>
                <a:gd name="T15" fmla="*/ 36 h 320"/>
                <a:gd name="T16" fmla="*/ 204 w 336"/>
                <a:gd name="T17" fmla="*/ 72 h 320"/>
                <a:gd name="T18" fmla="*/ 168 w 336"/>
                <a:gd name="T19" fmla="*/ 108 h 320"/>
                <a:gd name="T20" fmla="*/ 132 w 336"/>
                <a:gd name="T21" fmla="*/ 72 h 320"/>
                <a:gd name="T22" fmla="*/ 168 w 336"/>
                <a:gd name="T23" fmla="*/ 36 h 320"/>
                <a:gd name="T24" fmla="*/ 34 w 336"/>
                <a:gd name="T25" fmla="*/ 160 h 320"/>
                <a:gd name="T26" fmla="*/ 96 w 336"/>
                <a:gd name="T27" fmla="*/ 238 h 320"/>
                <a:gd name="T28" fmla="*/ 134 w 336"/>
                <a:gd name="T29" fmla="*/ 206 h 320"/>
                <a:gd name="T30" fmla="*/ 112 w 336"/>
                <a:gd name="T31" fmla="*/ 160 h 320"/>
                <a:gd name="T32" fmla="*/ 34 w 336"/>
                <a:gd name="T33" fmla="*/ 160 h 320"/>
                <a:gd name="T34" fmla="*/ 224 w 336"/>
                <a:gd name="T35" fmla="*/ 160 h 320"/>
                <a:gd name="T36" fmla="*/ 206 w 336"/>
                <a:gd name="T37" fmla="*/ 200 h 320"/>
                <a:gd name="T38" fmla="*/ 318 w 336"/>
                <a:gd name="T39" fmla="*/ 200 h 320"/>
                <a:gd name="T40" fmla="*/ 312 w 336"/>
                <a:gd name="T41" fmla="*/ 160 h 320"/>
                <a:gd name="T42" fmla="*/ 224 w 336"/>
                <a:gd name="T43" fmla="*/ 160 h 320"/>
                <a:gd name="T44" fmla="*/ 22 w 336"/>
                <a:gd name="T45" fmla="*/ 171 h 320"/>
                <a:gd name="T46" fmla="*/ 0 w 336"/>
                <a:gd name="T47" fmla="*/ 320 h 320"/>
                <a:gd name="T48" fmla="*/ 141 w 336"/>
                <a:gd name="T49" fmla="*/ 320 h 320"/>
                <a:gd name="T50" fmla="*/ 22 w 336"/>
                <a:gd name="T51" fmla="*/ 171 h 320"/>
                <a:gd name="T52" fmla="*/ 320 w 336"/>
                <a:gd name="T53" fmla="*/ 213 h 320"/>
                <a:gd name="T54" fmla="*/ 320 w 336"/>
                <a:gd name="T55" fmla="*/ 216 h 320"/>
                <a:gd name="T56" fmla="*/ 219 w 336"/>
                <a:gd name="T57" fmla="*/ 216 h 320"/>
                <a:gd name="T58" fmla="*/ 251 w 336"/>
                <a:gd name="T59" fmla="*/ 256 h 320"/>
                <a:gd name="T60" fmla="*/ 326 w 336"/>
                <a:gd name="T61" fmla="*/ 256 h 320"/>
                <a:gd name="T62" fmla="*/ 320 w 336"/>
                <a:gd name="T63" fmla="*/ 213 h 320"/>
                <a:gd name="T64" fmla="*/ 198 w 336"/>
                <a:gd name="T65" fmla="*/ 215 h 320"/>
                <a:gd name="T66" fmla="*/ 182 w 336"/>
                <a:gd name="T67" fmla="*/ 247 h 320"/>
                <a:gd name="T68" fmla="*/ 168 w 336"/>
                <a:gd name="T69" fmla="*/ 256 h 320"/>
                <a:gd name="T70" fmla="*/ 154 w 336"/>
                <a:gd name="T71" fmla="*/ 247 h 320"/>
                <a:gd name="T72" fmla="*/ 141 w 336"/>
                <a:gd name="T73" fmla="*/ 220 h 320"/>
                <a:gd name="T74" fmla="*/ 106 w 336"/>
                <a:gd name="T75" fmla="*/ 250 h 320"/>
                <a:gd name="T76" fmla="*/ 162 w 336"/>
                <a:gd name="T77" fmla="*/ 320 h 320"/>
                <a:gd name="T78" fmla="*/ 281 w 336"/>
                <a:gd name="T79" fmla="*/ 320 h 320"/>
                <a:gd name="T80" fmla="*/ 198 w 336"/>
                <a:gd name="T81" fmla="*/ 215 h 320"/>
                <a:gd name="T82" fmla="*/ 328 w 336"/>
                <a:gd name="T83" fmla="*/ 267 h 320"/>
                <a:gd name="T84" fmla="*/ 328 w 336"/>
                <a:gd name="T85" fmla="*/ 272 h 320"/>
                <a:gd name="T86" fmla="*/ 263 w 336"/>
                <a:gd name="T87" fmla="*/ 272 h 320"/>
                <a:gd name="T88" fmla="*/ 302 w 336"/>
                <a:gd name="T89" fmla="*/ 320 h 320"/>
                <a:gd name="T90" fmla="*/ 336 w 336"/>
                <a:gd name="T91" fmla="*/ 320 h 320"/>
                <a:gd name="T92" fmla="*/ 328 w 336"/>
                <a:gd name="T93" fmla="*/ 26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36" h="320">
                  <a:moveTo>
                    <a:pt x="168" y="0"/>
                  </a:moveTo>
                  <a:cubicBezTo>
                    <a:pt x="128" y="0"/>
                    <a:pt x="96" y="31"/>
                    <a:pt x="96" y="71"/>
                  </a:cubicBezTo>
                  <a:cubicBezTo>
                    <a:pt x="96" y="80"/>
                    <a:pt x="99" y="94"/>
                    <a:pt x="102" y="102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234" y="102"/>
                    <a:pt x="234" y="102"/>
                    <a:pt x="234" y="102"/>
                  </a:cubicBezTo>
                  <a:cubicBezTo>
                    <a:pt x="237" y="94"/>
                    <a:pt x="240" y="80"/>
                    <a:pt x="240" y="71"/>
                  </a:cubicBezTo>
                  <a:cubicBezTo>
                    <a:pt x="240" y="31"/>
                    <a:pt x="208" y="0"/>
                    <a:pt x="168" y="0"/>
                  </a:cubicBezTo>
                  <a:close/>
                  <a:moveTo>
                    <a:pt x="168" y="36"/>
                  </a:moveTo>
                  <a:cubicBezTo>
                    <a:pt x="188" y="36"/>
                    <a:pt x="204" y="52"/>
                    <a:pt x="204" y="72"/>
                  </a:cubicBezTo>
                  <a:cubicBezTo>
                    <a:pt x="204" y="92"/>
                    <a:pt x="188" y="108"/>
                    <a:pt x="168" y="108"/>
                  </a:cubicBezTo>
                  <a:cubicBezTo>
                    <a:pt x="148" y="108"/>
                    <a:pt x="132" y="92"/>
                    <a:pt x="132" y="72"/>
                  </a:cubicBezTo>
                  <a:cubicBezTo>
                    <a:pt x="132" y="52"/>
                    <a:pt x="148" y="36"/>
                    <a:pt x="168" y="36"/>
                  </a:cubicBezTo>
                  <a:close/>
                  <a:moveTo>
                    <a:pt x="34" y="160"/>
                  </a:moveTo>
                  <a:cubicBezTo>
                    <a:pt x="96" y="238"/>
                    <a:pt x="96" y="238"/>
                    <a:pt x="96" y="238"/>
                  </a:cubicBezTo>
                  <a:cubicBezTo>
                    <a:pt x="134" y="206"/>
                    <a:pt x="134" y="206"/>
                    <a:pt x="134" y="206"/>
                  </a:cubicBezTo>
                  <a:cubicBezTo>
                    <a:pt x="112" y="160"/>
                    <a:pt x="112" y="160"/>
                    <a:pt x="112" y="160"/>
                  </a:cubicBezTo>
                  <a:lnTo>
                    <a:pt x="34" y="160"/>
                  </a:lnTo>
                  <a:close/>
                  <a:moveTo>
                    <a:pt x="224" y="160"/>
                  </a:moveTo>
                  <a:cubicBezTo>
                    <a:pt x="206" y="200"/>
                    <a:pt x="206" y="200"/>
                    <a:pt x="206" y="200"/>
                  </a:cubicBezTo>
                  <a:cubicBezTo>
                    <a:pt x="318" y="200"/>
                    <a:pt x="318" y="200"/>
                    <a:pt x="318" y="200"/>
                  </a:cubicBezTo>
                  <a:cubicBezTo>
                    <a:pt x="312" y="160"/>
                    <a:pt x="312" y="160"/>
                    <a:pt x="312" y="160"/>
                  </a:cubicBezTo>
                  <a:lnTo>
                    <a:pt x="224" y="160"/>
                  </a:lnTo>
                  <a:close/>
                  <a:moveTo>
                    <a:pt x="22" y="171"/>
                  </a:moveTo>
                  <a:cubicBezTo>
                    <a:pt x="0" y="320"/>
                    <a:pt x="0" y="320"/>
                    <a:pt x="0" y="320"/>
                  </a:cubicBezTo>
                  <a:cubicBezTo>
                    <a:pt x="141" y="320"/>
                    <a:pt x="141" y="320"/>
                    <a:pt x="141" y="320"/>
                  </a:cubicBezTo>
                  <a:cubicBezTo>
                    <a:pt x="22" y="171"/>
                    <a:pt x="22" y="171"/>
                    <a:pt x="22" y="171"/>
                  </a:cubicBezTo>
                  <a:close/>
                  <a:moveTo>
                    <a:pt x="320" y="213"/>
                  </a:moveTo>
                  <a:cubicBezTo>
                    <a:pt x="320" y="216"/>
                    <a:pt x="320" y="216"/>
                    <a:pt x="320" y="216"/>
                  </a:cubicBezTo>
                  <a:cubicBezTo>
                    <a:pt x="219" y="216"/>
                    <a:pt x="219" y="216"/>
                    <a:pt x="219" y="216"/>
                  </a:cubicBezTo>
                  <a:cubicBezTo>
                    <a:pt x="251" y="256"/>
                    <a:pt x="251" y="256"/>
                    <a:pt x="251" y="256"/>
                  </a:cubicBezTo>
                  <a:cubicBezTo>
                    <a:pt x="326" y="256"/>
                    <a:pt x="326" y="256"/>
                    <a:pt x="326" y="256"/>
                  </a:cubicBezTo>
                  <a:lnTo>
                    <a:pt x="320" y="213"/>
                  </a:lnTo>
                  <a:close/>
                  <a:moveTo>
                    <a:pt x="198" y="215"/>
                  </a:moveTo>
                  <a:cubicBezTo>
                    <a:pt x="182" y="247"/>
                    <a:pt x="182" y="247"/>
                    <a:pt x="182" y="247"/>
                  </a:cubicBezTo>
                  <a:cubicBezTo>
                    <a:pt x="180" y="252"/>
                    <a:pt x="174" y="256"/>
                    <a:pt x="168" y="256"/>
                  </a:cubicBezTo>
                  <a:cubicBezTo>
                    <a:pt x="162" y="256"/>
                    <a:pt x="156" y="252"/>
                    <a:pt x="154" y="247"/>
                  </a:cubicBezTo>
                  <a:cubicBezTo>
                    <a:pt x="141" y="220"/>
                    <a:pt x="141" y="220"/>
                    <a:pt x="141" y="22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62" y="320"/>
                    <a:pt x="162" y="320"/>
                    <a:pt x="162" y="320"/>
                  </a:cubicBezTo>
                  <a:cubicBezTo>
                    <a:pt x="281" y="320"/>
                    <a:pt x="281" y="320"/>
                    <a:pt x="281" y="320"/>
                  </a:cubicBezTo>
                  <a:cubicBezTo>
                    <a:pt x="198" y="215"/>
                    <a:pt x="198" y="215"/>
                    <a:pt x="198" y="215"/>
                  </a:cubicBezTo>
                  <a:close/>
                  <a:moveTo>
                    <a:pt x="328" y="267"/>
                  </a:moveTo>
                  <a:cubicBezTo>
                    <a:pt x="328" y="272"/>
                    <a:pt x="328" y="272"/>
                    <a:pt x="328" y="272"/>
                  </a:cubicBezTo>
                  <a:cubicBezTo>
                    <a:pt x="263" y="272"/>
                    <a:pt x="263" y="272"/>
                    <a:pt x="263" y="272"/>
                  </a:cubicBezTo>
                  <a:cubicBezTo>
                    <a:pt x="302" y="320"/>
                    <a:pt x="302" y="320"/>
                    <a:pt x="302" y="320"/>
                  </a:cubicBezTo>
                  <a:cubicBezTo>
                    <a:pt x="336" y="320"/>
                    <a:pt x="336" y="320"/>
                    <a:pt x="336" y="320"/>
                  </a:cubicBezTo>
                  <a:lnTo>
                    <a:pt x="328" y="2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19" name="Groupe 418">
            <a:extLst>
              <a:ext uri="{FF2B5EF4-FFF2-40B4-BE49-F238E27FC236}">
                <a16:creationId xmlns:a16="http://schemas.microsoft.com/office/drawing/2014/main" xmlns="" id="{109487E2-44CD-4FF1-8615-A61873D30FFA}"/>
              </a:ext>
            </a:extLst>
          </p:cNvPr>
          <p:cNvGrpSpPr/>
          <p:nvPr/>
        </p:nvGrpSpPr>
        <p:grpSpPr>
          <a:xfrm>
            <a:off x="5897476" y="3940862"/>
            <a:ext cx="563520" cy="563520"/>
            <a:chOff x="3607849" y="3937745"/>
            <a:chExt cx="648000" cy="648000"/>
          </a:xfrm>
        </p:grpSpPr>
        <p:sp>
          <p:nvSpPr>
            <p:cNvPr id="420" name="Ellipse 179">
              <a:extLst>
                <a:ext uri="{FF2B5EF4-FFF2-40B4-BE49-F238E27FC236}">
                  <a16:creationId xmlns:a16="http://schemas.microsoft.com/office/drawing/2014/main" xmlns="" id="{7C20F2E4-2478-4B62-BEC7-30BF14941A45}"/>
                </a:ext>
              </a:extLst>
            </p:cNvPr>
            <p:cNvSpPr/>
            <p:nvPr/>
          </p:nvSpPr>
          <p:spPr bwMode="gray">
            <a:xfrm>
              <a:off x="3607849" y="3937745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sp>
          <p:nvSpPr>
            <p:cNvPr id="421" name="Freeform 21">
              <a:extLst>
                <a:ext uri="{FF2B5EF4-FFF2-40B4-BE49-F238E27FC236}">
                  <a16:creationId xmlns:a16="http://schemas.microsoft.com/office/drawing/2014/main" xmlns="" id="{050A7612-BD7E-4280-8CF9-7804300574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7904" y="4096396"/>
              <a:ext cx="437122" cy="292269"/>
            </a:xfrm>
            <a:custGeom>
              <a:avLst/>
              <a:gdLst>
                <a:gd name="T0" fmla="*/ 330 w 774"/>
                <a:gd name="T1" fmla="*/ 520 h 520"/>
                <a:gd name="T2" fmla="*/ 638 w 774"/>
                <a:gd name="T3" fmla="*/ 257 h 520"/>
                <a:gd name="T4" fmla="*/ 629 w 774"/>
                <a:gd name="T5" fmla="*/ 245 h 520"/>
                <a:gd name="T6" fmla="*/ 618 w 774"/>
                <a:gd name="T7" fmla="*/ 233 h 520"/>
                <a:gd name="T8" fmla="*/ 588 w 774"/>
                <a:gd name="T9" fmla="*/ 520 h 520"/>
                <a:gd name="T10" fmla="*/ 771 w 774"/>
                <a:gd name="T11" fmla="*/ 379 h 520"/>
                <a:gd name="T12" fmla="*/ 765 w 774"/>
                <a:gd name="T13" fmla="*/ 364 h 520"/>
                <a:gd name="T14" fmla="*/ 757 w 774"/>
                <a:gd name="T15" fmla="*/ 351 h 520"/>
                <a:gd name="T16" fmla="*/ 653 w 774"/>
                <a:gd name="T17" fmla="*/ 302 h 520"/>
                <a:gd name="T18" fmla="*/ 650 w 774"/>
                <a:gd name="T19" fmla="*/ 286 h 520"/>
                <a:gd name="T20" fmla="*/ 459 w 774"/>
                <a:gd name="T21" fmla="*/ 520 h 520"/>
                <a:gd name="T22" fmla="*/ 677 w 774"/>
                <a:gd name="T23" fmla="*/ 302 h 520"/>
                <a:gd name="T24" fmla="*/ 666 w 774"/>
                <a:gd name="T25" fmla="*/ 302 h 520"/>
                <a:gd name="T26" fmla="*/ 674 w 774"/>
                <a:gd name="T27" fmla="*/ 520 h 520"/>
                <a:gd name="T28" fmla="*/ 694 w 774"/>
                <a:gd name="T29" fmla="*/ 515 h 520"/>
                <a:gd name="T30" fmla="*/ 729 w 774"/>
                <a:gd name="T31" fmla="*/ 500 h 520"/>
                <a:gd name="T32" fmla="*/ 756 w 774"/>
                <a:gd name="T33" fmla="*/ 473 h 520"/>
                <a:gd name="T34" fmla="*/ 771 w 774"/>
                <a:gd name="T35" fmla="*/ 438 h 520"/>
                <a:gd name="T36" fmla="*/ 774 w 774"/>
                <a:gd name="T37" fmla="*/ 419 h 520"/>
                <a:gd name="T38" fmla="*/ 710 w 774"/>
                <a:gd name="T39" fmla="*/ 311 h 520"/>
                <a:gd name="T40" fmla="*/ 545 w 774"/>
                <a:gd name="T41" fmla="*/ 520 h 520"/>
                <a:gd name="T42" fmla="*/ 736 w 774"/>
                <a:gd name="T43" fmla="*/ 328 h 520"/>
                <a:gd name="T44" fmla="*/ 710 w 774"/>
                <a:gd name="T45" fmla="*/ 311 h 520"/>
                <a:gd name="T46" fmla="*/ 556 w 774"/>
                <a:gd name="T47" fmla="*/ 206 h 520"/>
                <a:gd name="T48" fmla="*/ 554 w 774"/>
                <a:gd name="T49" fmla="*/ 184 h 520"/>
                <a:gd name="T50" fmla="*/ 544 w 774"/>
                <a:gd name="T51" fmla="*/ 144 h 520"/>
                <a:gd name="T52" fmla="*/ 527 w 774"/>
                <a:gd name="T53" fmla="*/ 107 h 520"/>
                <a:gd name="T54" fmla="*/ 503 w 774"/>
                <a:gd name="T55" fmla="*/ 74 h 520"/>
                <a:gd name="T56" fmla="*/ 474 w 774"/>
                <a:gd name="T57" fmla="*/ 47 h 520"/>
                <a:gd name="T58" fmla="*/ 439 w 774"/>
                <a:gd name="T59" fmla="*/ 24 h 520"/>
                <a:gd name="T60" fmla="*/ 401 w 774"/>
                <a:gd name="T61" fmla="*/ 9 h 520"/>
                <a:gd name="T62" fmla="*/ 360 w 774"/>
                <a:gd name="T63" fmla="*/ 2 h 520"/>
                <a:gd name="T64" fmla="*/ 339 w 774"/>
                <a:gd name="T65" fmla="*/ 0 h 520"/>
                <a:gd name="T66" fmla="*/ 297 w 774"/>
                <a:gd name="T67" fmla="*/ 3 h 520"/>
                <a:gd name="T68" fmla="*/ 257 w 774"/>
                <a:gd name="T69" fmla="*/ 15 h 520"/>
                <a:gd name="T70" fmla="*/ 223 w 774"/>
                <a:gd name="T71" fmla="*/ 33 h 520"/>
                <a:gd name="T72" fmla="*/ 191 w 774"/>
                <a:gd name="T73" fmla="*/ 57 h 520"/>
                <a:gd name="T74" fmla="*/ 165 w 774"/>
                <a:gd name="T75" fmla="*/ 86 h 520"/>
                <a:gd name="T76" fmla="*/ 144 w 774"/>
                <a:gd name="T77" fmla="*/ 121 h 520"/>
                <a:gd name="T78" fmla="*/ 129 w 774"/>
                <a:gd name="T79" fmla="*/ 159 h 520"/>
                <a:gd name="T80" fmla="*/ 121 w 774"/>
                <a:gd name="T81" fmla="*/ 198 h 520"/>
                <a:gd name="T82" fmla="*/ 109 w 774"/>
                <a:gd name="T83" fmla="*/ 203 h 520"/>
                <a:gd name="T84" fmla="*/ 85 w 774"/>
                <a:gd name="T85" fmla="*/ 213 h 520"/>
                <a:gd name="T86" fmla="*/ 62 w 774"/>
                <a:gd name="T87" fmla="*/ 228 h 520"/>
                <a:gd name="T88" fmla="*/ 42 w 774"/>
                <a:gd name="T89" fmla="*/ 246 h 520"/>
                <a:gd name="T90" fmla="*/ 27 w 774"/>
                <a:gd name="T91" fmla="*/ 268 h 520"/>
                <a:gd name="T92" fmla="*/ 14 w 774"/>
                <a:gd name="T93" fmla="*/ 290 h 520"/>
                <a:gd name="T94" fmla="*/ 5 w 774"/>
                <a:gd name="T95" fmla="*/ 316 h 520"/>
                <a:gd name="T96" fmla="*/ 0 w 774"/>
                <a:gd name="T97" fmla="*/ 343 h 520"/>
                <a:gd name="T98" fmla="*/ 0 w 774"/>
                <a:gd name="T99" fmla="*/ 357 h 520"/>
                <a:gd name="T100" fmla="*/ 3 w 774"/>
                <a:gd name="T101" fmla="*/ 388 h 520"/>
                <a:gd name="T102" fmla="*/ 12 w 774"/>
                <a:gd name="T103" fmla="*/ 419 h 520"/>
                <a:gd name="T104" fmla="*/ 26 w 774"/>
                <a:gd name="T105" fmla="*/ 446 h 520"/>
                <a:gd name="T106" fmla="*/ 45 w 774"/>
                <a:gd name="T107" fmla="*/ 470 h 520"/>
                <a:gd name="T108" fmla="*/ 70 w 774"/>
                <a:gd name="T109" fmla="*/ 490 h 520"/>
                <a:gd name="T110" fmla="*/ 95 w 774"/>
                <a:gd name="T111" fmla="*/ 505 h 520"/>
                <a:gd name="T112" fmla="*/ 126 w 774"/>
                <a:gd name="T113" fmla="*/ 515 h 520"/>
                <a:gd name="T114" fmla="*/ 158 w 774"/>
                <a:gd name="T115" fmla="*/ 520 h 520"/>
                <a:gd name="T116" fmla="*/ 592 w 774"/>
                <a:gd name="T117" fmla="*/ 216 h 520"/>
                <a:gd name="T118" fmla="*/ 576 w 774"/>
                <a:gd name="T119" fmla="*/ 210 h 520"/>
                <a:gd name="T120" fmla="*/ 556 w 774"/>
                <a:gd name="T121" fmla="*/ 20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4" h="520">
                  <a:moveTo>
                    <a:pt x="618" y="233"/>
                  </a:moveTo>
                  <a:lnTo>
                    <a:pt x="330" y="520"/>
                  </a:lnTo>
                  <a:lnTo>
                    <a:pt x="374" y="520"/>
                  </a:lnTo>
                  <a:lnTo>
                    <a:pt x="638" y="257"/>
                  </a:lnTo>
                  <a:lnTo>
                    <a:pt x="638" y="257"/>
                  </a:lnTo>
                  <a:lnTo>
                    <a:pt x="629" y="245"/>
                  </a:lnTo>
                  <a:lnTo>
                    <a:pt x="618" y="233"/>
                  </a:lnTo>
                  <a:lnTo>
                    <a:pt x="618" y="233"/>
                  </a:lnTo>
                  <a:close/>
                  <a:moveTo>
                    <a:pt x="757" y="351"/>
                  </a:moveTo>
                  <a:lnTo>
                    <a:pt x="588" y="520"/>
                  </a:lnTo>
                  <a:lnTo>
                    <a:pt x="630" y="520"/>
                  </a:lnTo>
                  <a:lnTo>
                    <a:pt x="771" y="379"/>
                  </a:lnTo>
                  <a:lnTo>
                    <a:pt x="771" y="379"/>
                  </a:lnTo>
                  <a:lnTo>
                    <a:pt x="765" y="364"/>
                  </a:lnTo>
                  <a:lnTo>
                    <a:pt x="757" y="351"/>
                  </a:lnTo>
                  <a:lnTo>
                    <a:pt x="757" y="351"/>
                  </a:lnTo>
                  <a:close/>
                  <a:moveTo>
                    <a:pt x="666" y="302"/>
                  </a:moveTo>
                  <a:lnTo>
                    <a:pt x="653" y="302"/>
                  </a:lnTo>
                  <a:lnTo>
                    <a:pt x="653" y="302"/>
                  </a:lnTo>
                  <a:lnTo>
                    <a:pt x="650" y="286"/>
                  </a:lnTo>
                  <a:lnTo>
                    <a:pt x="417" y="520"/>
                  </a:lnTo>
                  <a:lnTo>
                    <a:pt x="459" y="520"/>
                  </a:lnTo>
                  <a:lnTo>
                    <a:pt x="677" y="302"/>
                  </a:lnTo>
                  <a:lnTo>
                    <a:pt x="677" y="302"/>
                  </a:lnTo>
                  <a:lnTo>
                    <a:pt x="666" y="302"/>
                  </a:lnTo>
                  <a:lnTo>
                    <a:pt x="666" y="302"/>
                  </a:lnTo>
                  <a:close/>
                  <a:moveTo>
                    <a:pt x="674" y="520"/>
                  </a:moveTo>
                  <a:lnTo>
                    <a:pt x="674" y="520"/>
                  </a:lnTo>
                  <a:lnTo>
                    <a:pt x="683" y="518"/>
                  </a:lnTo>
                  <a:lnTo>
                    <a:pt x="694" y="515"/>
                  </a:lnTo>
                  <a:lnTo>
                    <a:pt x="712" y="509"/>
                  </a:lnTo>
                  <a:lnTo>
                    <a:pt x="729" y="500"/>
                  </a:lnTo>
                  <a:lnTo>
                    <a:pt x="744" y="488"/>
                  </a:lnTo>
                  <a:lnTo>
                    <a:pt x="756" y="473"/>
                  </a:lnTo>
                  <a:lnTo>
                    <a:pt x="765" y="457"/>
                  </a:lnTo>
                  <a:lnTo>
                    <a:pt x="771" y="438"/>
                  </a:lnTo>
                  <a:lnTo>
                    <a:pt x="774" y="429"/>
                  </a:lnTo>
                  <a:lnTo>
                    <a:pt x="774" y="419"/>
                  </a:lnTo>
                  <a:lnTo>
                    <a:pt x="674" y="520"/>
                  </a:lnTo>
                  <a:close/>
                  <a:moveTo>
                    <a:pt x="710" y="311"/>
                  </a:moveTo>
                  <a:lnTo>
                    <a:pt x="501" y="520"/>
                  </a:lnTo>
                  <a:lnTo>
                    <a:pt x="545" y="520"/>
                  </a:lnTo>
                  <a:lnTo>
                    <a:pt x="736" y="328"/>
                  </a:lnTo>
                  <a:lnTo>
                    <a:pt x="736" y="328"/>
                  </a:lnTo>
                  <a:lnTo>
                    <a:pt x="724" y="319"/>
                  </a:lnTo>
                  <a:lnTo>
                    <a:pt x="710" y="311"/>
                  </a:lnTo>
                  <a:lnTo>
                    <a:pt x="710" y="311"/>
                  </a:lnTo>
                  <a:close/>
                  <a:moveTo>
                    <a:pt x="556" y="206"/>
                  </a:moveTo>
                  <a:lnTo>
                    <a:pt x="556" y="206"/>
                  </a:lnTo>
                  <a:lnTo>
                    <a:pt x="554" y="184"/>
                  </a:lnTo>
                  <a:lnTo>
                    <a:pt x="550" y="165"/>
                  </a:lnTo>
                  <a:lnTo>
                    <a:pt x="544" y="144"/>
                  </a:lnTo>
                  <a:lnTo>
                    <a:pt x="536" y="125"/>
                  </a:lnTo>
                  <a:lnTo>
                    <a:pt x="527" y="107"/>
                  </a:lnTo>
                  <a:lnTo>
                    <a:pt x="517" y="91"/>
                  </a:lnTo>
                  <a:lnTo>
                    <a:pt x="503" y="74"/>
                  </a:lnTo>
                  <a:lnTo>
                    <a:pt x="489" y="60"/>
                  </a:lnTo>
                  <a:lnTo>
                    <a:pt x="474" y="47"/>
                  </a:lnTo>
                  <a:lnTo>
                    <a:pt x="457" y="35"/>
                  </a:lnTo>
                  <a:lnTo>
                    <a:pt x="439" y="24"/>
                  </a:lnTo>
                  <a:lnTo>
                    <a:pt x="421" y="15"/>
                  </a:lnTo>
                  <a:lnTo>
                    <a:pt x="401" y="9"/>
                  </a:lnTo>
                  <a:lnTo>
                    <a:pt x="382" y="5"/>
                  </a:lnTo>
                  <a:lnTo>
                    <a:pt x="360" y="2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18" y="2"/>
                  </a:lnTo>
                  <a:lnTo>
                    <a:pt x="297" y="3"/>
                  </a:lnTo>
                  <a:lnTo>
                    <a:pt x="277" y="9"/>
                  </a:lnTo>
                  <a:lnTo>
                    <a:pt x="257" y="15"/>
                  </a:lnTo>
                  <a:lnTo>
                    <a:pt x="239" y="24"/>
                  </a:lnTo>
                  <a:lnTo>
                    <a:pt x="223" y="33"/>
                  </a:lnTo>
                  <a:lnTo>
                    <a:pt x="206" y="45"/>
                  </a:lnTo>
                  <a:lnTo>
                    <a:pt x="191" y="57"/>
                  </a:lnTo>
                  <a:lnTo>
                    <a:pt x="177" y="71"/>
                  </a:lnTo>
                  <a:lnTo>
                    <a:pt x="165" y="86"/>
                  </a:lnTo>
                  <a:lnTo>
                    <a:pt x="153" y="103"/>
                  </a:lnTo>
                  <a:lnTo>
                    <a:pt x="144" y="121"/>
                  </a:lnTo>
                  <a:lnTo>
                    <a:pt x="135" y="139"/>
                  </a:lnTo>
                  <a:lnTo>
                    <a:pt x="129" y="159"/>
                  </a:lnTo>
                  <a:lnTo>
                    <a:pt x="124" y="17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09" y="203"/>
                  </a:lnTo>
                  <a:lnTo>
                    <a:pt x="95" y="207"/>
                  </a:lnTo>
                  <a:lnTo>
                    <a:pt x="85" y="213"/>
                  </a:lnTo>
                  <a:lnTo>
                    <a:pt x="73" y="221"/>
                  </a:lnTo>
                  <a:lnTo>
                    <a:pt x="62" y="228"/>
                  </a:lnTo>
                  <a:lnTo>
                    <a:pt x="51" y="237"/>
                  </a:lnTo>
                  <a:lnTo>
                    <a:pt x="42" y="246"/>
                  </a:lnTo>
                  <a:lnTo>
                    <a:pt x="35" y="255"/>
                  </a:lnTo>
                  <a:lnTo>
                    <a:pt x="27" y="268"/>
                  </a:lnTo>
                  <a:lnTo>
                    <a:pt x="20" y="278"/>
                  </a:lnTo>
                  <a:lnTo>
                    <a:pt x="14" y="290"/>
                  </a:lnTo>
                  <a:lnTo>
                    <a:pt x="9" y="302"/>
                  </a:lnTo>
                  <a:lnTo>
                    <a:pt x="5" y="316"/>
                  </a:lnTo>
                  <a:lnTo>
                    <a:pt x="2" y="330"/>
                  </a:lnTo>
                  <a:lnTo>
                    <a:pt x="0" y="343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73"/>
                  </a:lnTo>
                  <a:lnTo>
                    <a:pt x="3" y="388"/>
                  </a:lnTo>
                  <a:lnTo>
                    <a:pt x="6" y="404"/>
                  </a:lnTo>
                  <a:lnTo>
                    <a:pt x="12" y="419"/>
                  </a:lnTo>
                  <a:lnTo>
                    <a:pt x="18" y="432"/>
                  </a:lnTo>
                  <a:lnTo>
                    <a:pt x="26" y="446"/>
                  </a:lnTo>
                  <a:lnTo>
                    <a:pt x="35" y="458"/>
                  </a:lnTo>
                  <a:lnTo>
                    <a:pt x="45" y="470"/>
                  </a:lnTo>
                  <a:lnTo>
                    <a:pt x="58" y="481"/>
                  </a:lnTo>
                  <a:lnTo>
                    <a:pt x="70" y="490"/>
                  </a:lnTo>
                  <a:lnTo>
                    <a:pt x="82" y="499"/>
                  </a:lnTo>
                  <a:lnTo>
                    <a:pt x="95" y="505"/>
                  </a:lnTo>
                  <a:lnTo>
                    <a:pt x="111" y="511"/>
                  </a:lnTo>
                  <a:lnTo>
                    <a:pt x="126" y="515"/>
                  </a:lnTo>
                  <a:lnTo>
                    <a:pt x="141" y="518"/>
                  </a:lnTo>
                  <a:lnTo>
                    <a:pt x="158" y="520"/>
                  </a:lnTo>
                  <a:lnTo>
                    <a:pt x="288" y="520"/>
                  </a:lnTo>
                  <a:lnTo>
                    <a:pt x="592" y="216"/>
                  </a:lnTo>
                  <a:lnTo>
                    <a:pt x="592" y="216"/>
                  </a:lnTo>
                  <a:lnTo>
                    <a:pt x="576" y="210"/>
                  </a:lnTo>
                  <a:lnTo>
                    <a:pt x="556" y="206"/>
                  </a:lnTo>
                  <a:lnTo>
                    <a:pt x="556" y="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32" name="Groupe 131">
            <a:extLst>
              <a:ext uri="{FF2B5EF4-FFF2-40B4-BE49-F238E27FC236}">
                <a16:creationId xmlns:a16="http://schemas.microsoft.com/office/drawing/2014/main" xmlns="" id="{91FC6D52-BE57-4BB6-A145-42717D2D20F7}"/>
              </a:ext>
            </a:extLst>
          </p:cNvPr>
          <p:cNvGrpSpPr/>
          <p:nvPr/>
        </p:nvGrpSpPr>
        <p:grpSpPr>
          <a:xfrm>
            <a:off x="4844782" y="3940867"/>
            <a:ext cx="560338" cy="560338"/>
            <a:chOff x="4844782" y="3940867"/>
            <a:chExt cx="560338" cy="560338"/>
          </a:xfrm>
        </p:grpSpPr>
        <p:sp>
          <p:nvSpPr>
            <p:cNvPr id="418" name="Ellipse 179">
              <a:extLst>
                <a:ext uri="{FF2B5EF4-FFF2-40B4-BE49-F238E27FC236}">
                  <a16:creationId xmlns:a16="http://schemas.microsoft.com/office/drawing/2014/main" xmlns="" id="{17B6658C-5B99-4849-91A5-919A67D42F4D}"/>
                </a:ext>
              </a:extLst>
            </p:cNvPr>
            <p:cNvSpPr/>
            <p:nvPr/>
          </p:nvSpPr>
          <p:spPr bwMode="gray">
            <a:xfrm>
              <a:off x="4844782" y="3940867"/>
              <a:ext cx="560338" cy="5603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22" name="Group 4">
              <a:extLst>
                <a:ext uri="{FF2B5EF4-FFF2-40B4-BE49-F238E27FC236}">
                  <a16:creationId xmlns:a16="http://schemas.microsoft.com/office/drawing/2014/main" xmlns="" id="{4D110A1B-2090-4BAF-8A80-EC5B8FFB001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39617" y="4027710"/>
              <a:ext cx="417450" cy="431260"/>
              <a:chOff x="2781" y="376"/>
              <a:chExt cx="544" cy="562"/>
            </a:xfrm>
            <a:solidFill>
              <a:schemeClr val="bg1"/>
            </a:solidFill>
          </p:grpSpPr>
          <p:sp>
            <p:nvSpPr>
              <p:cNvPr id="423" name="Freeform 5">
                <a:extLst>
                  <a:ext uri="{FF2B5EF4-FFF2-40B4-BE49-F238E27FC236}">
                    <a16:creationId xmlns:a16="http://schemas.microsoft.com/office/drawing/2014/main" xmlns="" id="{B940DA36-42E6-487E-BC21-795332FE0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447"/>
                <a:ext cx="58" cy="58"/>
              </a:xfrm>
              <a:custGeom>
                <a:avLst/>
                <a:gdLst>
                  <a:gd name="T0" fmla="*/ 26 w 28"/>
                  <a:gd name="T1" fmla="*/ 0 h 28"/>
                  <a:gd name="T2" fmla="*/ 2 w 28"/>
                  <a:gd name="T3" fmla="*/ 0 h 28"/>
                  <a:gd name="T4" fmla="*/ 0 w 28"/>
                  <a:gd name="T5" fmla="*/ 2 h 28"/>
                  <a:gd name="T6" fmla="*/ 0 w 28"/>
                  <a:gd name="T7" fmla="*/ 26 h 28"/>
                  <a:gd name="T8" fmla="*/ 2 w 28"/>
                  <a:gd name="T9" fmla="*/ 28 h 28"/>
                  <a:gd name="T10" fmla="*/ 26 w 28"/>
                  <a:gd name="T11" fmla="*/ 28 h 28"/>
                  <a:gd name="T12" fmla="*/ 28 w 28"/>
                  <a:gd name="T13" fmla="*/ 26 h 28"/>
                  <a:gd name="T14" fmla="*/ 28 w 28"/>
                  <a:gd name="T15" fmla="*/ 3 h 28"/>
                  <a:gd name="T16" fmla="*/ 26 w 28"/>
                  <a:gd name="T1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8">
                    <a:moveTo>
                      <a:pt x="26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8"/>
                      <a:pt x="2" y="28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7" y="28"/>
                      <a:pt x="28" y="27"/>
                      <a:pt x="28" y="26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1"/>
                      <a:pt x="27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4" name="Freeform 6">
                <a:extLst>
                  <a:ext uri="{FF2B5EF4-FFF2-40B4-BE49-F238E27FC236}">
                    <a16:creationId xmlns:a16="http://schemas.microsoft.com/office/drawing/2014/main" xmlns="" id="{FD3FDEF5-A08C-41C1-82C0-A2D96DDF6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2" y="447"/>
                <a:ext cx="68" cy="60"/>
              </a:xfrm>
              <a:custGeom>
                <a:avLst/>
                <a:gdLst>
                  <a:gd name="T0" fmla="*/ 3 w 33"/>
                  <a:gd name="T1" fmla="*/ 29 h 29"/>
                  <a:gd name="T2" fmla="*/ 30 w 33"/>
                  <a:gd name="T3" fmla="*/ 29 h 29"/>
                  <a:gd name="T4" fmla="*/ 33 w 33"/>
                  <a:gd name="T5" fmla="*/ 26 h 29"/>
                  <a:gd name="T6" fmla="*/ 33 w 33"/>
                  <a:gd name="T7" fmla="*/ 3 h 29"/>
                  <a:gd name="T8" fmla="*/ 30 w 33"/>
                  <a:gd name="T9" fmla="*/ 0 h 29"/>
                  <a:gd name="T10" fmla="*/ 6 w 33"/>
                  <a:gd name="T11" fmla="*/ 0 h 29"/>
                  <a:gd name="T12" fmla="*/ 3 w 33"/>
                  <a:gd name="T13" fmla="*/ 2 h 29"/>
                  <a:gd name="T14" fmla="*/ 0 w 33"/>
                  <a:gd name="T15" fmla="*/ 26 h 29"/>
                  <a:gd name="T16" fmla="*/ 3 w 33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9">
                    <a:moveTo>
                      <a:pt x="3" y="29"/>
                    </a:move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9"/>
                      <a:pt x="33" y="27"/>
                      <a:pt x="33" y="26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33" y="1"/>
                      <a:pt x="31" y="0"/>
                      <a:pt x="3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3" y="1"/>
                      <a:pt x="3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9"/>
                      <a:pt x="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5" name="Freeform 7">
                <a:extLst>
                  <a:ext uri="{FF2B5EF4-FFF2-40B4-BE49-F238E27FC236}">
                    <a16:creationId xmlns:a16="http://schemas.microsoft.com/office/drawing/2014/main" xmlns="" id="{D5451E69-7A36-4D77-A76D-6C56C91AF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525"/>
                <a:ext cx="58" cy="61"/>
              </a:xfrm>
              <a:custGeom>
                <a:avLst/>
                <a:gdLst>
                  <a:gd name="T0" fmla="*/ 28 w 28"/>
                  <a:gd name="T1" fmla="*/ 27 h 29"/>
                  <a:gd name="T2" fmla="*/ 28 w 28"/>
                  <a:gd name="T3" fmla="*/ 3 h 29"/>
                  <a:gd name="T4" fmla="*/ 26 w 28"/>
                  <a:gd name="T5" fmla="*/ 0 h 29"/>
                  <a:gd name="T6" fmla="*/ 2 w 28"/>
                  <a:gd name="T7" fmla="*/ 0 h 29"/>
                  <a:gd name="T8" fmla="*/ 0 w 28"/>
                  <a:gd name="T9" fmla="*/ 3 h 29"/>
                  <a:gd name="T10" fmla="*/ 0 w 28"/>
                  <a:gd name="T11" fmla="*/ 27 h 29"/>
                  <a:gd name="T12" fmla="*/ 2 w 28"/>
                  <a:gd name="T13" fmla="*/ 29 h 29"/>
                  <a:gd name="T14" fmla="*/ 26 w 28"/>
                  <a:gd name="T15" fmla="*/ 29 h 29"/>
                  <a:gd name="T16" fmla="*/ 28 w 28"/>
                  <a:gd name="T17" fmla="*/ 2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9">
                    <a:moveTo>
                      <a:pt x="28" y="27"/>
                    </a:moveTo>
                    <a:cubicBezTo>
                      <a:pt x="28" y="3"/>
                      <a:pt x="28" y="3"/>
                      <a:pt x="28" y="3"/>
                    </a:cubicBezTo>
                    <a:cubicBezTo>
                      <a:pt x="28" y="2"/>
                      <a:pt x="27" y="0"/>
                      <a:pt x="26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7" y="29"/>
                      <a:pt x="28" y="28"/>
                      <a:pt x="28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6" name="Freeform 8">
                <a:extLst>
                  <a:ext uri="{FF2B5EF4-FFF2-40B4-BE49-F238E27FC236}">
                    <a16:creationId xmlns:a16="http://schemas.microsoft.com/office/drawing/2014/main" xmlns="" id="{579C93A2-7089-4246-AC91-9844AABCF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376"/>
                <a:ext cx="58" cy="50"/>
              </a:xfrm>
              <a:custGeom>
                <a:avLst/>
                <a:gdLst>
                  <a:gd name="T0" fmla="*/ 3 w 28"/>
                  <a:gd name="T1" fmla="*/ 24 h 24"/>
                  <a:gd name="T2" fmla="*/ 25 w 28"/>
                  <a:gd name="T3" fmla="*/ 24 h 24"/>
                  <a:gd name="T4" fmla="*/ 28 w 28"/>
                  <a:gd name="T5" fmla="*/ 21 h 24"/>
                  <a:gd name="T6" fmla="*/ 26 w 28"/>
                  <a:gd name="T7" fmla="*/ 3 h 24"/>
                  <a:gd name="T8" fmla="*/ 23 w 28"/>
                  <a:gd name="T9" fmla="*/ 0 h 24"/>
                  <a:gd name="T10" fmla="*/ 3 w 28"/>
                  <a:gd name="T11" fmla="*/ 0 h 24"/>
                  <a:gd name="T12" fmla="*/ 0 w 28"/>
                  <a:gd name="T13" fmla="*/ 3 h 24"/>
                  <a:gd name="T14" fmla="*/ 0 w 28"/>
                  <a:gd name="T15" fmla="*/ 21 h 24"/>
                  <a:gd name="T16" fmla="*/ 3 w 28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4">
                    <a:moveTo>
                      <a:pt x="3" y="24"/>
                    </a:moveTo>
                    <a:cubicBezTo>
                      <a:pt x="25" y="24"/>
                      <a:pt x="25" y="24"/>
                      <a:pt x="25" y="24"/>
                    </a:cubicBezTo>
                    <a:cubicBezTo>
                      <a:pt x="27" y="24"/>
                      <a:pt x="28" y="23"/>
                      <a:pt x="28" y="2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1"/>
                      <a:pt x="25" y="0"/>
                      <a:pt x="2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3"/>
                      <a:pt x="1" y="24"/>
                      <a:pt x="3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7" name="Freeform 9">
                <a:extLst>
                  <a:ext uri="{FF2B5EF4-FFF2-40B4-BE49-F238E27FC236}">
                    <a16:creationId xmlns:a16="http://schemas.microsoft.com/office/drawing/2014/main" xmlns="" id="{CCA126C2-81B8-4C8B-9AEF-AC373CD6D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" y="376"/>
                <a:ext cx="60" cy="50"/>
              </a:xfrm>
              <a:custGeom>
                <a:avLst/>
                <a:gdLst>
                  <a:gd name="T0" fmla="*/ 29 w 29"/>
                  <a:gd name="T1" fmla="*/ 21 h 24"/>
                  <a:gd name="T2" fmla="*/ 29 w 29"/>
                  <a:gd name="T3" fmla="*/ 3 h 24"/>
                  <a:gd name="T4" fmla="*/ 26 w 29"/>
                  <a:gd name="T5" fmla="*/ 0 h 24"/>
                  <a:gd name="T6" fmla="*/ 5 w 29"/>
                  <a:gd name="T7" fmla="*/ 0 h 24"/>
                  <a:gd name="T8" fmla="*/ 3 w 29"/>
                  <a:gd name="T9" fmla="*/ 3 h 24"/>
                  <a:gd name="T10" fmla="*/ 1 w 29"/>
                  <a:gd name="T11" fmla="*/ 21 h 24"/>
                  <a:gd name="T12" fmla="*/ 3 w 29"/>
                  <a:gd name="T13" fmla="*/ 24 h 24"/>
                  <a:gd name="T14" fmla="*/ 26 w 29"/>
                  <a:gd name="T15" fmla="*/ 24 h 24"/>
                  <a:gd name="T16" fmla="*/ 29 w 29"/>
                  <a:gd name="T17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24">
                    <a:moveTo>
                      <a:pt x="29" y="21"/>
                    </a:moveTo>
                    <a:cubicBezTo>
                      <a:pt x="29" y="3"/>
                      <a:pt x="29" y="3"/>
                      <a:pt x="29" y="3"/>
                    </a:cubicBezTo>
                    <a:cubicBezTo>
                      <a:pt x="29" y="2"/>
                      <a:pt x="28" y="0"/>
                      <a:pt x="2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1"/>
                      <a:pt x="3" y="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3"/>
                      <a:pt x="2" y="24"/>
                      <a:pt x="3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8" y="24"/>
                      <a:pt x="29" y="23"/>
                      <a:pt x="29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8" name="Freeform 10">
                <a:extLst>
                  <a:ext uri="{FF2B5EF4-FFF2-40B4-BE49-F238E27FC236}">
                    <a16:creationId xmlns:a16="http://schemas.microsoft.com/office/drawing/2014/main" xmlns="" id="{10430C79-DBF3-4DFA-9B66-96FE62336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525"/>
                <a:ext cx="77" cy="61"/>
              </a:xfrm>
              <a:custGeom>
                <a:avLst/>
                <a:gdLst>
                  <a:gd name="T0" fmla="*/ 32 w 37"/>
                  <a:gd name="T1" fmla="*/ 0 h 29"/>
                  <a:gd name="T2" fmla="*/ 3 w 37"/>
                  <a:gd name="T3" fmla="*/ 0 h 29"/>
                  <a:gd name="T4" fmla="*/ 0 w 37"/>
                  <a:gd name="T5" fmla="*/ 3 h 29"/>
                  <a:gd name="T6" fmla="*/ 0 w 37"/>
                  <a:gd name="T7" fmla="*/ 26 h 29"/>
                  <a:gd name="T8" fmla="*/ 3 w 37"/>
                  <a:gd name="T9" fmla="*/ 29 h 29"/>
                  <a:gd name="T10" fmla="*/ 35 w 37"/>
                  <a:gd name="T11" fmla="*/ 29 h 29"/>
                  <a:gd name="T12" fmla="*/ 37 w 37"/>
                  <a:gd name="T13" fmla="*/ 26 h 29"/>
                  <a:gd name="T14" fmla="*/ 34 w 37"/>
                  <a:gd name="T15" fmla="*/ 2 h 29"/>
                  <a:gd name="T16" fmla="*/ 32 w 37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29">
                    <a:moveTo>
                      <a:pt x="32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8"/>
                      <a:pt x="1" y="29"/>
                      <a:pt x="3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7" y="28"/>
                      <a:pt x="37" y="26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5" y="1"/>
                      <a:pt x="33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29" name="Freeform 11">
                <a:extLst>
                  <a:ext uri="{FF2B5EF4-FFF2-40B4-BE49-F238E27FC236}">
                    <a16:creationId xmlns:a16="http://schemas.microsoft.com/office/drawing/2014/main" xmlns="" id="{C01B062A-342D-4F36-8E1C-0BB30CA92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" y="525"/>
                <a:ext cx="79" cy="61"/>
              </a:xfrm>
              <a:custGeom>
                <a:avLst/>
                <a:gdLst>
                  <a:gd name="T0" fmla="*/ 35 w 38"/>
                  <a:gd name="T1" fmla="*/ 0 h 29"/>
                  <a:gd name="T2" fmla="*/ 6 w 38"/>
                  <a:gd name="T3" fmla="*/ 0 h 29"/>
                  <a:gd name="T4" fmla="*/ 3 w 38"/>
                  <a:gd name="T5" fmla="*/ 3 h 29"/>
                  <a:gd name="T6" fmla="*/ 1 w 38"/>
                  <a:gd name="T7" fmla="*/ 26 h 29"/>
                  <a:gd name="T8" fmla="*/ 3 w 38"/>
                  <a:gd name="T9" fmla="*/ 29 h 29"/>
                  <a:gd name="T10" fmla="*/ 35 w 38"/>
                  <a:gd name="T11" fmla="*/ 29 h 29"/>
                  <a:gd name="T12" fmla="*/ 38 w 38"/>
                  <a:gd name="T13" fmla="*/ 27 h 29"/>
                  <a:gd name="T14" fmla="*/ 38 w 38"/>
                  <a:gd name="T15" fmla="*/ 3 h 29"/>
                  <a:gd name="T16" fmla="*/ 35 w 38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29">
                    <a:moveTo>
                      <a:pt x="3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1"/>
                      <a:pt x="3" y="3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8"/>
                      <a:pt x="2" y="29"/>
                      <a:pt x="3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8" y="28"/>
                      <a:pt x="38" y="27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8" y="1"/>
                      <a:pt x="37" y="0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0" name="Freeform 12">
                <a:extLst>
                  <a:ext uri="{FF2B5EF4-FFF2-40B4-BE49-F238E27FC236}">
                    <a16:creationId xmlns:a16="http://schemas.microsoft.com/office/drawing/2014/main" xmlns="" id="{E4221C0C-09BF-494B-AC57-1CE976E2B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376"/>
                <a:ext cx="58" cy="50"/>
              </a:xfrm>
              <a:custGeom>
                <a:avLst/>
                <a:gdLst>
                  <a:gd name="T0" fmla="*/ 0 w 28"/>
                  <a:gd name="T1" fmla="*/ 3 h 24"/>
                  <a:gd name="T2" fmla="*/ 0 w 28"/>
                  <a:gd name="T3" fmla="*/ 21 h 24"/>
                  <a:gd name="T4" fmla="*/ 2 w 28"/>
                  <a:gd name="T5" fmla="*/ 24 h 24"/>
                  <a:gd name="T6" fmla="*/ 26 w 28"/>
                  <a:gd name="T7" fmla="*/ 24 h 24"/>
                  <a:gd name="T8" fmla="*/ 28 w 28"/>
                  <a:gd name="T9" fmla="*/ 21 h 24"/>
                  <a:gd name="T10" fmla="*/ 28 w 28"/>
                  <a:gd name="T11" fmla="*/ 3 h 24"/>
                  <a:gd name="T12" fmla="*/ 26 w 28"/>
                  <a:gd name="T13" fmla="*/ 0 h 24"/>
                  <a:gd name="T14" fmla="*/ 2 w 28"/>
                  <a:gd name="T15" fmla="*/ 0 h 24"/>
                  <a:gd name="T16" fmla="*/ 0 w 28"/>
                  <a:gd name="T17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4">
                    <a:moveTo>
                      <a:pt x="0" y="3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23"/>
                      <a:pt x="1" y="24"/>
                      <a:pt x="2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8" y="23"/>
                      <a:pt x="28" y="21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2"/>
                      <a:pt x="27" y="0"/>
                      <a:pt x="26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1" name="Freeform 13">
                <a:extLst>
                  <a:ext uri="{FF2B5EF4-FFF2-40B4-BE49-F238E27FC236}">
                    <a16:creationId xmlns:a16="http://schemas.microsoft.com/office/drawing/2014/main" xmlns="" id="{0FBDAD37-4EDC-4B40-9409-A6746508A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" y="447"/>
                <a:ext cx="68" cy="58"/>
              </a:xfrm>
              <a:custGeom>
                <a:avLst/>
                <a:gdLst>
                  <a:gd name="T0" fmla="*/ 27 w 33"/>
                  <a:gd name="T1" fmla="*/ 0 h 28"/>
                  <a:gd name="T2" fmla="*/ 3 w 33"/>
                  <a:gd name="T3" fmla="*/ 0 h 28"/>
                  <a:gd name="T4" fmla="*/ 0 w 33"/>
                  <a:gd name="T5" fmla="*/ 2 h 28"/>
                  <a:gd name="T6" fmla="*/ 0 w 33"/>
                  <a:gd name="T7" fmla="*/ 26 h 28"/>
                  <a:gd name="T8" fmla="*/ 3 w 33"/>
                  <a:gd name="T9" fmla="*/ 28 h 28"/>
                  <a:gd name="T10" fmla="*/ 30 w 33"/>
                  <a:gd name="T11" fmla="*/ 28 h 28"/>
                  <a:gd name="T12" fmla="*/ 33 w 33"/>
                  <a:gd name="T13" fmla="*/ 25 h 28"/>
                  <a:gd name="T14" fmla="*/ 30 w 33"/>
                  <a:gd name="T15" fmla="*/ 2 h 28"/>
                  <a:gd name="T16" fmla="*/ 27 w 33"/>
                  <a:gd name="T1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8">
                    <a:moveTo>
                      <a:pt x="27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1" y="28"/>
                      <a:pt x="3" y="2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0" y="1"/>
                      <a:pt x="29" y="0"/>
                      <a:pt x="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32" name="Freeform 14">
                <a:extLst>
                  <a:ext uri="{FF2B5EF4-FFF2-40B4-BE49-F238E27FC236}">
                    <a16:creationId xmlns:a16="http://schemas.microsoft.com/office/drawing/2014/main" xmlns="" id="{2EFB7393-EF24-4063-A4EF-C24CFC4A61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10" y="407"/>
                <a:ext cx="415" cy="531"/>
              </a:xfrm>
              <a:custGeom>
                <a:avLst/>
                <a:gdLst>
                  <a:gd name="T0" fmla="*/ 80 w 200"/>
                  <a:gd name="T1" fmla="*/ 100 h 256"/>
                  <a:gd name="T2" fmla="*/ 83 w 200"/>
                  <a:gd name="T3" fmla="*/ 56 h 256"/>
                  <a:gd name="T4" fmla="*/ 87 w 200"/>
                  <a:gd name="T5" fmla="*/ 21 h 256"/>
                  <a:gd name="T6" fmla="*/ 90 w 200"/>
                  <a:gd name="T7" fmla="*/ 9 h 256"/>
                  <a:gd name="T8" fmla="*/ 100 w 200"/>
                  <a:gd name="T9" fmla="*/ 0 h 256"/>
                  <a:gd name="T10" fmla="*/ 110 w 200"/>
                  <a:gd name="T11" fmla="*/ 9 h 256"/>
                  <a:gd name="T12" fmla="*/ 113 w 200"/>
                  <a:gd name="T13" fmla="*/ 21 h 256"/>
                  <a:gd name="T14" fmla="*/ 117 w 200"/>
                  <a:gd name="T15" fmla="*/ 56 h 256"/>
                  <a:gd name="T16" fmla="*/ 120 w 200"/>
                  <a:gd name="T17" fmla="*/ 100 h 256"/>
                  <a:gd name="T18" fmla="*/ 157 w 200"/>
                  <a:gd name="T19" fmla="*/ 125 h 256"/>
                  <a:gd name="T20" fmla="*/ 185 w 200"/>
                  <a:gd name="T21" fmla="*/ 145 h 256"/>
                  <a:gd name="T22" fmla="*/ 194 w 200"/>
                  <a:gd name="T23" fmla="*/ 154 h 256"/>
                  <a:gd name="T24" fmla="*/ 197 w 200"/>
                  <a:gd name="T25" fmla="*/ 168 h 256"/>
                  <a:gd name="T26" fmla="*/ 184 w 200"/>
                  <a:gd name="T27" fmla="*/ 172 h 256"/>
                  <a:gd name="T28" fmla="*/ 172 w 200"/>
                  <a:gd name="T29" fmla="*/ 168 h 256"/>
                  <a:gd name="T30" fmla="*/ 140 w 200"/>
                  <a:gd name="T31" fmla="*/ 154 h 256"/>
                  <a:gd name="T32" fmla="*/ 100 w 200"/>
                  <a:gd name="T33" fmla="*/ 134 h 256"/>
                  <a:gd name="T34" fmla="*/ 60 w 200"/>
                  <a:gd name="T35" fmla="*/ 154 h 256"/>
                  <a:gd name="T36" fmla="*/ 28 w 200"/>
                  <a:gd name="T37" fmla="*/ 168 h 256"/>
                  <a:gd name="T38" fmla="*/ 16 w 200"/>
                  <a:gd name="T39" fmla="*/ 172 h 256"/>
                  <a:gd name="T40" fmla="*/ 3 w 200"/>
                  <a:gd name="T41" fmla="*/ 168 h 256"/>
                  <a:gd name="T42" fmla="*/ 6 w 200"/>
                  <a:gd name="T43" fmla="*/ 154 h 256"/>
                  <a:gd name="T44" fmla="*/ 15 w 200"/>
                  <a:gd name="T45" fmla="*/ 145 h 256"/>
                  <a:gd name="T46" fmla="*/ 43 w 200"/>
                  <a:gd name="T47" fmla="*/ 125 h 256"/>
                  <a:gd name="T48" fmla="*/ 80 w 200"/>
                  <a:gd name="T49" fmla="*/ 100 h 256"/>
                  <a:gd name="T50" fmla="*/ 100 w 200"/>
                  <a:gd name="T51" fmla="*/ 124 h 256"/>
                  <a:gd name="T52" fmla="*/ 112 w 200"/>
                  <a:gd name="T53" fmla="*/ 112 h 256"/>
                  <a:gd name="T54" fmla="*/ 100 w 200"/>
                  <a:gd name="T55" fmla="*/ 100 h 256"/>
                  <a:gd name="T56" fmla="*/ 88 w 200"/>
                  <a:gd name="T57" fmla="*/ 112 h 256"/>
                  <a:gd name="T58" fmla="*/ 100 w 200"/>
                  <a:gd name="T59" fmla="*/ 124 h 256"/>
                  <a:gd name="T60" fmla="*/ 76 w 200"/>
                  <a:gd name="T61" fmla="*/ 256 h 256"/>
                  <a:gd name="T62" fmla="*/ 83 w 200"/>
                  <a:gd name="T63" fmla="*/ 156 h 256"/>
                  <a:gd name="T64" fmla="*/ 100 w 200"/>
                  <a:gd name="T65" fmla="*/ 148 h 256"/>
                  <a:gd name="T66" fmla="*/ 117 w 200"/>
                  <a:gd name="T67" fmla="*/ 156 h 256"/>
                  <a:gd name="T68" fmla="*/ 124 w 200"/>
                  <a:gd name="T69" fmla="*/ 256 h 256"/>
                  <a:gd name="T70" fmla="*/ 125 w 200"/>
                  <a:gd name="T71" fmla="*/ 256 h 256"/>
                  <a:gd name="T72" fmla="*/ 76 w 200"/>
                  <a:gd name="T73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" h="256">
                    <a:moveTo>
                      <a:pt x="80" y="100"/>
                    </a:moveTo>
                    <a:cubicBezTo>
                      <a:pt x="81" y="88"/>
                      <a:pt x="82" y="70"/>
                      <a:pt x="83" y="56"/>
                    </a:cubicBezTo>
                    <a:cubicBezTo>
                      <a:pt x="84" y="42"/>
                      <a:pt x="85" y="30"/>
                      <a:pt x="87" y="21"/>
                    </a:cubicBezTo>
                    <a:cubicBezTo>
                      <a:pt x="88" y="16"/>
                      <a:pt x="89" y="12"/>
                      <a:pt x="90" y="9"/>
                    </a:cubicBezTo>
                    <a:cubicBezTo>
                      <a:pt x="92" y="3"/>
                      <a:pt x="94" y="0"/>
                      <a:pt x="100" y="0"/>
                    </a:cubicBezTo>
                    <a:cubicBezTo>
                      <a:pt x="106" y="0"/>
                      <a:pt x="108" y="3"/>
                      <a:pt x="110" y="9"/>
                    </a:cubicBezTo>
                    <a:cubicBezTo>
                      <a:pt x="111" y="12"/>
                      <a:pt x="112" y="16"/>
                      <a:pt x="113" y="21"/>
                    </a:cubicBezTo>
                    <a:cubicBezTo>
                      <a:pt x="115" y="30"/>
                      <a:pt x="116" y="42"/>
                      <a:pt x="117" y="56"/>
                    </a:cubicBezTo>
                    <a:cubicBezTo>
                      <a:pt x="118" y="70"/>
                      <a:pt x="119" y="88"/>
                      <a:pt x="120" y="100"/>
                    </a:cubicBezTo>
                    <a:cubicBezTo>
                      <a:pt x="130" y="107"/>
                      <a:pt x="145" y="117"/>
                      <a:pt x="157" y="125"/>
                    </a:cubicBezTo>
                    <a:cubicBezTo>
                      <a:pt x="169" y="133"/>
                      <a:pt x="178" y="140"/>
                      <a:pt x="185" y="145"/>
                    </a:cubicBezTo>
                    <a:cubicBezTo>
                      <a:pt x="189" y="149"/>
                      <a:pt x="192" y="151"/>
                      <a:pt x="194" y="154"/>
                    </a:cubicBezTo>
                    <a:cubicBezTo>
                      <a:pt x="198" y="159"/>
                      <a:pt x="200" y="162"/>
                      <a:pt x="197" y="168"/>
                    </a:cubicBezTo>
                    <a:cubicBezTo>
                      <a:pt x="194" y="173"/>
                      <a:pt x="190" y="173"/>
                      <a:pt x="184" y="172"/>
                    </a:cubicBezTo>
                    <a:cubicBezTo>
                      <a:pt x="180" y="171"/>
                      <a:pt x="176" y="170"/>
                      <a:pt x="172" y="168"/>
                    </a:cubicBezTo>
                    <a:cubicBezTo>
                      <a:pt x="163" y="165"/>
                      <a:pt x="153" y="160"/>
                      <a:pt x="140" y="154"/>
                    </a:cubicBezTo>
                    <a:cubicBezTo>
                      <a:pt x="127" y="148"/>
                      <a:pt x="111" y="140"/>
                      <a:pt x="100" y="134"/>
                    </a:cubicBezTo>
                    <a:cubicBezTo>
                      <a:pt x="89" y="140"/>
                      <a:pt x="73" y="148"/>
                      <a:pt x="60" y="154"/>
                    </a:cubicBezTo>
                    <a:cubicBezTo>
                      <a:pt x="47" y="160"/>
                      <a:pt x="37" y="165"/>
                      <a:pt x="28" y="168"/>
                    </a:cubicBezTo>
                    <a:cubicBezTo>
                      <a:pt x="24" y="170"/>
                      <a:pt x="20" y="171"/>
                      <a:pt x="16" y="172"/>
                    </a:cubicBezTo>
                    <a:cubicBezTo>
                      <a:pt x="10" y="173"/>
                      <a:pt x="6" y="173"/>
                      <a:pt x="3" y="168"/>
                    </a:cubicBezTo>
                    <a:cubicBezTo>
                      <a:pt x="0" y="162"/>
                      <a:pt x="2" y="159"/>
                      <a:pt x="6" y="154"/>
                    </a:cubicBezTo>
                    <a:cubicBezTo>
                      <a:pt x="8" y="151"/>
                      <a:pt x="11" y="149"/>
                      <a:pt x="15" y="145"/>
                    </a:cubicBezTo>
                    <a:cubicBezTo>
                      <a:pt x="22" y="140"/>
                      <a:pt x="31" y="133"/>
                      <a:pt x="43" y="125"/>
                    </a:cubicBezTo>
                    <a:cubicBezTo>
                      <a:pt x="55" y="117"/>
                      <a:pt x="70" y="107"/>
                      <a:pt x="80" y="100"/>
                    </a:cubicBezTo>
                    <a:close/>
                    <a:moveTo>
                      <a:pt x="100" y="124"/>
                    </a:moveTo>
                    <a:cubicBezTo>
                      <a:pt x="107" y="124"/>
                      <a:pt x="112" y="118"/>
                      <a:pt x="112" y="112"/>
                    </a:cubicBezTo>
                    <a:cubicBezTo>
                      <a:pt x="112" y="105"/>
                      <a:pt x="107" y="100"/>
                      <a:pt x="100" y="100"/>
                    </a:cubicBezTo>
                    <a:cubicBezTo>
                      <a:pt x="93" y="100"/>
                      <a:pt x="88" y="105"/>
                      <a:pt x="88" y="112"/>
                    </a:cubicBezTo>
                    <a:cubicBezTo>
                      <a:pt x="88" y="118"/>
                      <a:pt x="93" y="124"/>
                      <a:pt x="100" y="124"/>
                    </a:cubicBezTo>
                    <a:close/>
                    <a:moveTo>
                      <a:pt x="76" y="256"/>
                    </a:moveTo>
                    <a:cubicBezTo>
                      <a:pt x="83" y="156"/>
                      <a:pt x="83" y="156"/>
                      <a:pt x="83" y="156"/>
                    </a:cubicBezTo>
                    <a:cubicBezTo>
                      <a:pt x="89" y="153"/>
                      <a:pt x="95" y="151"/>
                      <a:pt x="100" y="148"/>
                    </a:cubicBezTo>
                    <a:cubicBezTo>
                      <a:pt x="105" y="151"/>
                      <a:pt x="111" y="153"/>
                      <a:pt x="117" y="156"/>
                    </a:cubicBezTo>
                    <a:cubicBezTo>
                      <a:pt x="124" y="256"/>
                      <a:pt x="124" y="256"/>
                      <a:pt x="124" y="256"/>
                    </a:cubicBezTo>
                    <a:cubicBezTo>
                      <a:pt x="125" y="256"/>
                      <a:pt x="125" y="256"/>
                      <a:pt x="125" y="256"/>
                    </a:cubicBezTo>
                    <a:lnTo>
                      <a:pt x="76" y="2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433" name="Groupe 432">
            <a:extLst>
              <a:ext uri="{FF2B5EF4-FFF2-40B4-BE49-F238E27FC236}">
                <a16:creationId xmlns:a16="http://schemas.microsoft.com/office/drawing/2014/main" xmlns="" id="{89E96E7C-7759-43B4-A555-28D6198C7FEA}"/>
              </a:ext>
            </a:extLst>
          </p:cNvPr>
          <p:cNvGrpSpPr/>
          <p:nvPr/>
        </p:nvGrpSpPr>
        <p:grpSpPr>
          <a:xfrm>
            <a:off x="6952453" y="3952067"/>
            <a:ext cx="547159" cy="547160"/>
            <a:chOff x="827289" y="3291695"/>
            <a:chExt cx="396042" cy="396043"/>
          </a:xfrm>
        </p:grpSpPr>
        <p:sp>
          <p:nvSpPr>
            <p:cNvPr id="434" name="Ellipse 179">
              <a:extLst>
                <a:ext uri="{FF2B5EF4-FFF2-40B4-BE49-F238E27FC236}">
                  <a16:creationId xmlns:a16="http://schemas.microsoft.com/office/drawing/2014/main" xmlns="" id="{2CF3CFAC-E33C-48A3-9F3E-3D0A373B1E80}"/>
                </a:ext>
              </a:extLst>
            </p:cNvPr>
            <p:cNvSpPr/>
            <p:nvPr/>
          </p:nvSpPr>
          <p:spPr bwMode="gray">
            <a:xfrm>
              <a:off x="827289" y="3291695"/>
              <a:ext cx="396042" cy="39604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sp>
          <p:nvSpPr>
            <p:cNvPr id="435" name="Rectangle 5">
              <a:extLst>
                <a:ext uri="{FF2B5EF4-FFF2-40B4-BE49-F238E27FC236}">
                  <a16:creationId xmlns:a16="http://schemas.microsoft.com/office/drawing/2014/main" xmlns="" id="{07A9250D-3BB1-46B3-B460-18D32AB3C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580" y="3422347"/>
              <a:ext cx="256442" cy="987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6" name="Freeform 6">
              <a:extLst>
                <a:ext uri="{FF2B5EF4-FFF2-40B4-BE49-F238E27FC236}">
                  <a16:creationId xmlns:a16="http://schemas.microsoft.com/office/drawing/2014/main" xmlns="" id="{5CDB9BBC-EC90-46B8-8E1B-702A96598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907" y="3526198"/>
              <a:ext cx="249115" cy="22618"/>
            </a:xfrm>
            <a:custGeom>
              <a:avLst/>
              <a:gdLst>
                <a:gd name="T0" fmla="*/ 289 w 379"/>
                <a:gd name="T1" fmla="*/ 0 h 34"/>
                <a:gd name="T2" fmla="*/ 90 w 379"/>
                <a:gd name="T3" fmla="*/ 0 h 34"/>
                <a:gd name="T4" fmla="*/ 0 w 379"/>
                <a:gd name="T5" fmla="*/ 0 h 34"/>
                <a:gd name="T6" fmla="*/ 0 w 379"/>
                <a:gd name="T7" fmla="*/ 20 h 34"/>
                <a:gd name="T8" fmla="*/ 15 w 379"/>
                <a:gd name="T9" fmla="*/ 34 h 34"/>
                <a:gd name="T10" fmla="*/ 18 w 379"/>
                <a:gd name="T11" fmla="*/ 34 h 34"/>
                <a:gd name="T12" fmla="*/ 39 w 379"/>
                <a:gd name="T13" fmla="*/ 9 h 34"/>
                <a:gd name="T14" fmla="*/ 60 w 379"/>
                <a:gd name="T15" fmla="*/ 4 h 34"/>
                <a:gd name="T16" fmla="*/ 101 w 379"/>
                <a:gd name="T17" fmla="*/ 34 h 34"/>
                <a:gd name="T18" fmla="*/ 105 w 379"/>
                <a:gd name="T19" fmla="*/ 34 h 34"/>
                <a:gd name="T20" fmla="*/ 108 w 379"/>
                <a:gd name="T21" fmla="*/ 34 h 34"/>
                <a:gd name="T22" fmla="*/ 149 w 379"/>
                <a:gd name="T23" fmla="*/ 4 h 34"/>
                <a:gd name="T24" fmla="*/ 190 w 379"/>
                <a:gd name="T25" fmla="*/ 34 h 34"/>
                <a:gd name="T26" fmla="*/ 289 w 379"/>
                <a:gd name="T27" fmla="*/ 34 h 34"/>
                <a:gd name="T28" fmla="*/ 379 w 379"/>
                <a:gd name="T29" fmla="*/ 34 h 34"/>
                <a:gd name="T30" fmla="*/ 379 w 379"/>
                <a:gd name="T31" fmla="*/ 0 h 34"/>
                <a:gd name="T32" fmla="*/ 289 w 379"/>
                <a:gd name="T3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9" h="34">
                  <a:moveTo>
                    <a:pt x="289" y="0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7" y="34"/>
                    <a:pt x="15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21" y="23"/>
                    <a:pt x="29" y="14"/>
                    <a:pt x="39" y="9"/>
                  </a:cubicBezTo>
                  <a:cubicBezTo>
                    <a:pt x="45" y="6"/>
                    <a:pt x="52" y="4"/>
                    <a:pt x="60" y="4"/>
                  </a:cubicBezTo>
                  <a:cubicBezTo>
                    <a:pt x="79" y="4"/>
                    <a:pt x="95" y="17"/>
                    <a:pt x="101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3" y="17"/>
                    <a:pt x="129" y="4"/>
                    <a:pt x="149" y="4"/>
                  </a:cubicBezTo>
                  <a:cubicBezTo>
                    <a:pt x="168" y="4"/>
                    <a:pt x="184" y="17"/>
                    <a:pt x="190" y="34"/>
                  </a:cubicBezTo>
                  <a:cubicBezTo>
                    <a:pt x="289" y="34"/>
                    <a:pt x="289" y="34"/>
                    <a:pt x="289" y="34"/>
                  </a:cubicBezTo>
                  <a:cubicBezTo>
                    <a:pt x="379" y="34"/>
                    <a:pt x="379" y="34"/>
                    <a:pt x="379" y="34"/>
                  </a:cubicBezTo>
                  <a:cubicBezTo>
                    <a:pt x="379" y="0"/>
                    <a:pt x="379" y="0"/>
                    <a:pt x="379" y="0"/>
                  </a:cubicBezTo>
                  <a:lnTo>
                    <a:pt x="28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7" name="Freeform 7">
              <a:extLst>
                <a:ext uri="{FF2B5EF4-FFF2-40B4-BE49-F238E27FC236}">
                  <a16:creationId xmlns:a16="http://schemas.microsoft.com/office/drawing/2014/main" xmlns="" id="{3E708AF9-F419-4BD7-942A-473A57C514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047" y="3532250"/>
              <a:ext cx="50333" cy="50333"/>
            </a:xfrm>
            <a:custGeom>
              <a:avLst/>
              <a:gdLst>
                <a:gd name="T0" fmla="*/ 38 w 77"/>
                <a:gd name="T1" fmla="*/ 0 h 76"/>
                <a:gd name="T2" fmla="*/ 0 w 77"/>
                <a:gd name="T3" fmla="*/ 38 h 76"/>
                <a:gd name="T4" fmla="*/ 38 w 77"/>
                <a:gd name="T5" fmla="*/ 76 h 76"/>
                <a:gd name="T6" fmla="*/ 77 w 77"/>
                <a:gd name="T7" fmla="*/ 38 h 76"/>
                <a:gd name="T8" fmla="*/ 38 w 77"/>
                <a:gd name="T9" fmla="*/ 0 h 76"/>
                <a:gd name="T10" fmla="*/ 38 w 77"/>
                <a:gd name="T11" fmla="*/ 61 h 76"/>
                <a:gd name="T12" fmla="*/ 16 w 77"/>
                <a:gd name="T13" fmla="*/ 38 h 76"/>
                <a:gd name="T14" fmla="*/ 38 w 77"/>
                <a:gd name="T15" fmla="*/ 15 h 76"/>
                <a:gd name="T16" fmla="*/ 61 w 77"/>
                <a:gd name="T17" fmla="*/ 38 h 76"/>
                <a:gd name="T18" fmla="*/ 38 w 77"/>
                <a:gd name="T19" fmla="*/ 6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7" y="59"/>
                    <a:pt x="77" y="38"/>
                  </a:cubicBezTo>
                  <a:cubicBezTo>
                    <a:pt x="77" y="17"/>
                    <a:pt x="59" y="0"/>
                    <a:pt x="38" y="0"/>
                  </a:cubicBezTo>
                  <a:close/>
                  <a:moveTo>
                    <a:pt x="38" y="61"/>
                  </a:moveTo>
                  <a:cubicBezTo>
                    <a:pt x="26" y="61"/>
                    <a:pt x="16" y="50"/>
                    <a:pt x="16" y="38"/>
                  </a:cubicBezTo>
                  <a:cubicBezTo>
                    <a:pt x="16" y="25"/>
                    <a:pt x="26" y="15"/>
                    <a:pt x="38" y="15"/>
                  </a:cubicBezTo>
                  <a:cubicBezTo>
                    <a:pt x="51" y="15"/>
                    <a:pt x="61" y="25"/>
                    <a:pt x="61" y="38"/>
                  </a:cubicBezTo>
                  <a:cubicBezTo>
                    <a:pt x="61" y="50"/>
                    <a:pt x="51" y="61"/>
                    <a:pt x="38" y="6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8" name="Oval 8">
              <a:extLst>
                <a:ext uri="{FF2B5EF4-FFF2-40B4-BE49-F238E27FC236}">
                  <a16:creationId xmlns:a16="http://schemas.microsoft.com/office/drawing/2014/main" xmlns="" id="{C8A4E73A-65D2-4FCE-AE14-55C8A3C4F3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30" y="3549453"/>
              <a:ext cx="16565" cy="159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9" name="Freeform 9">
              <a:extLst>
                <a:ext uri="{FF2B5EF4-FFF2-40B4-BE49-F238E27FC236}">
                  <a16:creationId xmlns:a16="http://schemas.microsoft.com/office/drawing/2014/main" xmlns="" id="{718607DE-861D-48A1-AED3-85687503C7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605" y="3532250"/>
              <a:ext cx="50651" cy="50333"/>
            </a:xfrm>
            <a:custGeom>
              <a:avLst/>
              <a:gdLst>
                <a:gd name="T0" fmla="*/ 39 w 77"/>
                <a:gd name="T1" fmla="*/ 0 h 76"/>
                <a:gd name="T2" fmla="*/ 0 w 77"/>
                <a:gd name="T3" fmla="*/ 38 h 76"/>
                <a:gd name="T4" fmla="*/ 39 w 77"/>
                <a:gd name="T5" fmla="*/ 76 h 76"/>
                <a:gd name="T6" fmla="*/ 77 w 77"/>
                <a:gd name="T7" fmla="*/ 38 h 76"/>
                <a:gd name="T8" fmla="*/ 39 w 77"/>
                <a:gd name="T9" fmla="*/ 0 h 76"/>
                <a:gd name="T10" fmla="*/ 39 w 77"/>
                <a:gd name="T11" fmla="*/ 60 h 76"/>
                <a:gd name="T12" fmla="*/ 16 w 77"/>
                <a:gd name="T13" fmla="*/ 38 h 76"/>
                <a:gd name="T14" fmla="*/ 39 w 77"/>
                <a:gd name="T15" fmla="*/ 15 h 76"/>
                <a:gd name="T16" fmla="*/ 61 w 77"/>
                <a:gd name="T17" fmla="*/ 38 h 76"/>
                <a:gd name="T18" fmla="*/ 39 w 77"/>
                <a:gd name="T19" fmla="*/ 6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39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9" y="76"/>
                  </a:cubicBezTo>
                  <a:cubicBezTo>
                    <a:pt x="60" y="76"/>
                    <a:pt x="77" y="59"/>
                    <a:pt x="77" y="38"/>
                  </a:cubicBezTo>
                  <a:cubicBezTo>
                    <a:pt x="77" y="17"/>
                    <a:pt x="60" y="0"/>
                    <a:pt x="39" y="0"/>
                  </a:cubicBezTo>
                  <a:close/>
                  <a:moveTo>
                    <a:pt x="39" y="60"/>
                  </a:moveTo>
                  <a:cubicBezTo>
                    <a:pt x="26" y="60"/>
                    <a:pt x="16" y="50"/>
                    <a:pt x="16" y="38"/>
                  </a:cubicBezTo>
                  <a:cubicBezTo>
                    <a:pt x="16" y="25"/>
                    <a:pt x="26" y="15"/>
                    <a:pt x="39" y="15"/>
                  </a:cubicBezTo>
                  <a:cubicBezTo>
                    <a:pt x="51" y="15"/>
                    <a:pt x="61" y="25"/>
                    <a:pt x="61" y="38"/>
                  </a:cubicBezTo>
                  <a:cubicBezTo>
                    <a:pt x="61" y="50"/>
                    <a:pt x="51" y="60"/>
                    <a:pt x="39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0" name="Oval 10">
              <a:extLst>
                <a:ext uri="{FF2B5EF4-FFF2-40B4-BE49-F238E27FC236}">
                  <a16:creationId xmlns:a16="http://schemas.microsoft.com/office/drawing/2014/main" xmlns="" id="{6E46FA63-021B-432E-92F1-854DD39D1C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807" y="3549453"/>
              <a:ext cx="16247" cy="159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1" name="Freeform 11">
              <a:extLst>
                <a:ext uri="{FF2B5EF4-FFF2-40B4-BE49-F238E27FC236}">
                  <a16:creationId xmlns:a16="http://schemas.microsoft.com/office/drawing/2014/main" xmlns="" id="{7C0765D2-556D-4903-9ECE-4EE169D7C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7857" y="3532250"/>
              <a:ext cx="50014" cy="50333"/>
            </a:xfrm>
            <a:custGeom>
              <a:avLst/>
              <a:gdLst>
                <a:gd name="T0" fmla="*/ 38 w 76"/>
                <a:gd name="T1" fmla="*/ 0 h 76"/>
                <a:gd name="T2" fmla="*/ 0 w 76"/>
                <a:gd name="T3" fmla="*/ 38 h 76"/>
                <a:gd name="T4" fmla="*/ 38 w 76"/>
                <a:gd name="T5" fmla="*/ 76 h 76"/>
                <a:gd name="T6" fmla="*/ 76 w 76"/>
                <a:gd name="T7" fmla="*/ 38 h 76"/>
                <a:gd name="T8" fmla="*/ 38 w 76"/>
                <a:gd name="T9" fmla="*/ 0 h 76"/>
                <a:gd name="T10" fmla="*/ 38 w 76"/>
                <a:gd name="T11" fmla="*/ 60 h 76"/>
                <a:gd name="T12" fmla="*/ 15 w 76"/>
                <a:gd name="T13" fmla="*/ 38 h 76"/>
                <a:gd name="T14" fmla="*/ 38 w 76"/>
                <a:gd name="T15" fmla="*/ 15 h 76"/>
                <a:gd name="T16" fmla="*/ 60 w 76"/>
                <a:gd name="T17" fmla="*/ 38 h 76"/>
                <a:gd name="T18" fmla="*/ 38 w 76"/>
                <a:gd name="T19" fmla="*/ 6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  <a:moveTo>
                    <a:pt x="38" y="60"/>
                  </a:moveTo>
                  <a:cubicBezTo>
                    <a:pt x="25" y="60"/>
                    <a:pt x="15" y="50"/>
                    <a:pt x="15" y="38"/>
                  </a:cubicBezTo>
                  <a:cubicBezTo>
                    <a:pt x="15" y="25"/>
                    <a:pt x="25" y="15"/>
                    <a:pt x="38" y="15"/>
                  </a:cubicBezTo>
                  <a:cubicBezTo>
                    <a:pt x="50" y="15"/>
                    <a:pt x="60" y="25"/>
                    <a:pt x="60" y="38"/>
                  </a:cubicBezTo>
                  <a:cubicBezTo>
                    <a:pt x="60" y="50"/>
                    <a:pt x="50" y="60"/>
                    <a:pt x="38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2" name="Oval 12">
              <a:extLst>
                <a:ext uri="{FF2B5EF4-FFF2-40B4-BE49-F238E27FC236}">
                  <a16:creationId xmlns:a16="http://schemas.microsoft.com/office/drawing/2014/main" xmlns="" id="{A24A2D88-86E5-4FCA-AFAC-BA7356A66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104" y="3549453"/>
              <a:ext cx="16565" cy="1592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3" name="Freeform 13">
              <a:extLst>
                <a:ext uri="{FF2B5EF4-FFF2-40B4-BE49-F238E27FC236}">
                  <a16:creationId xmlns:a16="http://schemas.microsoft.com/office/drawing/2014/main" xmlns="" id="{2CD77A28-18FE-432E-89BE-A3F9806232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481" y="3424895"/>
              <a:ext cx="93976" cy="123920"/>
            </a:xfrm>
            <a:custGeom>
              <a:avLst/>
              <a:gdLst>
                <a:gd name="T0" fmla="*/ 135 w 143"/>
                <a:gd name="T1" fmla="*/ 103 h 187"/>
                <a:gd name="T2" fmla="*/ 112 w 143"/>
                <a:gd name="T3" fmla="*/ 54 h 187"/>
                <a:gd name="T4" fmla="*/ 117 w 143"/>
                <a:gd name="T5" fmla="*/ 54 h 187"/>
                <a:gd name="T6" fmla="*/ 1 w 143"/>
                <a:gd name="T7" fmla="*/ 0 h 187"/>
                <a:gd name="T8" fmla="*/ 0 w 143"/>
                <a:gd name="T9" fmla="*/ 38 h 187"/>
                <a:gd name="T10" fmla="*/ 0 w 143"/>
                <a:gd name="T11" fmla="*/ 38 h 187"/>
                <a:gd name="T12" fmla="*/ 0 w 143"/>
                <a:gd name="T13" fmla="*/ 180 h 187"/>
                <a:gd name="T14" fmla="*/ 8 w 143"/>
                <a:gd name="T15" fmla="*/ 187 h 187"/>
                <a:gd name="T16" fmla="*/ 23 w 143"/>
                <a:gd name="T17" fmla="*/ 187 h 187"/>
                <a:gd name="T18" fmla="*/ 63 w 143"/>
                <a:gd name="T19" fmla="*/ 157 h 187"/>
                <a:gd name="T20" fmla="*/ 104 w 143"/>
                <a:gd name="T21" fmla="*/ 187 h 187"/>
                <a:gd name="T22" fmla="*/ 136 w 143"/>
                <a:gd name="T23" fmla="*/ 187 h 187"/>
                <a:gd name="T24" fmla="*/ 143 w 143"/>
                <a:gd name="T25" fmla="*/ 180 h 187"/>
                <a:gd name="T26" fmla="*/ 143 w 143"/>
                <a:gd name="T27" fmla="*/ 129 h 187"/>
                <a:gd name="T28" fmla="*/ 135 w 143"/>
                <a:gd name="T29" fmla="*/ 103 h 187"/>
                <a:gd name="T30" fmla="*/ 115 w 143"/>
                <a:gd name="T31" fmla="*/ 100 h 187"/>
                <a:gd name="T32" fmla="*/ 112 w 143"/>
                <a:gd name="T33" fmla="*/ 103 h 187"/>
                <a:gd name="T34" fmla="*/ 23 w 143"/>
                <a:gd name="T35" fmla="*/ 103 h 187"/>
                <a:gd name="T36" fmla="*/ 16 w 143"/>
                <a:gd name="T37" fmla="*/ 95 h 187"/>
                <a:gd name="T38" fmla="*/ 16 w 143"/>
                <a:gd name="T39" fmla="*/ 57 h 187"/>
                <a:gd name="T40" fmla="*/ 23 w 143"/>
                <a:gd name="T41" fmla="*/ 50 h 187"/>
                <a:gd name="T42" fmla="*/ 86 w 143"/>
                <a:gd name="T43" fmla="*/ 50 h 187"/>
                <a:gd name="T44" fmla="*/ 98 w 143"/>
                <a:gd name="T45" fmla="*/ 56 h 187"/>
                <a:gd name="T46" fmla="*/ 115 w 143"/>
                <a:gd name="T47" fmla="*/ 96 h 187"/>
                <a:gd name="T48" fmla="*/ 115 w 143"/>
                <a:gd name="T49" fmla="*/ 100 h 187"/>
                <a:gd name="T50" fmla="*/ 140 w 143"/>
                <a:gd name="T51" fmla="*/ 174 h 187"/>
                <a:gd name="T52" fmla="*/ 136 w 143"/>
                <a:gd name="T53" fmla="*/ 174 h 187"/>
                <a:gd name="T54" fmla="*/ 133 w 143"/>
                <a:gd name="T55" fmla="*/ 173 h 187"/>
                <a:gd name="T56" fmla="*/ 133 w 143"/>
                <a:gd name="T57" fmla="*/ 167 h 187"/>
                <a:gd name="T58" fmla="*/ 136 w 143"/>
                <a:gd name="T59" fmla="*/ 166 h 187"/>
                <a:gd name="T60" fmla="*/ 140 w 143"/>
                <a:gd name="T61" fmla="*/ 166 h 187"/>
                <a:gd name="T62" fmla="*/ 140 w 143"/>
                <a:gd name="T63" fmla="*/ 174 h 187"/>
                <a:gd name="T64" fmla="*/ 140 w 143"/>
                <a:gd name="T65" fmla="*/ 162 h 187"/>
                <a:gd name="T66" fmla="*/ 136 w 143"/>
                <a:gd name="T67" fmla="*/ 162 h 187"/>
                <a:gd name="T68" fmla="*/ 133 w 143"/>
                <a:gd name="T69" fmla="*/ 160 h 187"/>
                <a:gd name="T70" fmla="*/ 133 w 143"/>
                <a:gd name="T71" fmla="*/ 150 h 187"/>
                <a:gd name="T72" fmla="*/ 136 w 143"/>
                <a:gd name="T73" fmla="*/ 148 h 187"/>
                <a:gd name="T74" fmla="*/ 140 w 143"/>
                <a:gd name="T75" fmla="*/ 148 h 187"/>
                <a:gd name="T76" fmla="*/ 140 w 143"/>
                <a:gd name="T77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3" h="187">
                  <a:moveTo>
                    <a:pt x="135" y="103"/>
                  </a:moveTo>
                  <a:cubicBezTo>
                    <a:pt x="112" y="54"/>
                    <a:pt x="112" y="54"/>
                    <a:pt x="112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3" y="22"/>
                    <a:pt x="62" y="0"/>
                    <a:pt x="1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4"/>
                    <a:pt x="4" y="187"/>
                    <a:pt x="8" y="187"/>
                  </a:cubicBezTo>
                  <a:cubicBezTo>
                    <a:pt x="23" y="187"/>
                    <a:pt x="23" y="187"/>
                    <a:pt x="23" y="187"/>
                  </a:cubicBezTo>
                  <a:cubicBezTo>
                    <a:pt x="28" y="170"/>
                    <a:pt x="44" y="157"/>
                    <a:pt x="63" y="157"/>
                  </a:cubicBezTo>
                  <a:cubicBezTo>
                    <a:pt x="82" y="157"/>
                    <a:pt x="99" y="170"/>
                    <a:pt x="104" y="187"/>
                  </a:cubicBezTo>
                  <a:cubicBezTo>
                    <a:pt x="136" y="187"/>
                    <a:pt x="136" y="187"/>
                    <a:pt x="136" y="187"/>
                  </a:cubicBezTo>
                  <a:cubicBezTo>
                    <a:pt x="140" y="187"/>
                    <a:pt x="143" y="184"/>
                    <a:pt x="143" y="180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0"/>
                    <a:pt x="140" y="111"/>
                    <a:pt x="135" y="103"/>
                  </a:cubicBezTo>
                  <a:close/>
                  <a:moveTo>
                    <a:pt x="115" y="100"/>
                  </a:moveTo>
                  <a:cubicBezTo>
                    <a:pt x="115" y="102"/>
                    <a:pt x="113" y="103"/>
                    <a:pt x="112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19" y="103"/>
                    <a:pt x="16" y="99"/>
                    <a:pt x="16" y="95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3"/>
                    <a:pt x="19" y="50"/>
                    <a:pt x="23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91" y="50"/>
                    <a:pt x="95" y="52"/>
                    <a:pt x="98" y="56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6" y="97"/>
                    <a:pt x="116" y="99"/>
                    <a:pt x="115" y="100"/>
                  </a:cubicBezTo>
                  <a:close/>
                  <a:moveTo>
                    <a:pt x="140" y="174"/>
                  </a:moveTo>
                  <a:cubicBezTo>
                    <a:pt x="136" y="174"/>
                    <a:pt x="136" y="174"/>
                    <a:pt x="136" y="174"/>
                  </a:cubicBezTo>
                  <a:cubicBezTo>
                    <a:pt x="134" y="174"/>
                    <a:pt x="133" y="174"/>
                    <a:pt x="133" y="173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4" y="166"/>
                    <a:pt x="136" y="166"/>
                  </a:cubicBezTo>
                  <a:cubicBezTo>
                    <a:pt x="140" y="166"/>
                    <a:pt x="140" y="166"/>
                    <a:pt x="140" y="166"/>
                  </a:cubicBezTo>
                  <a:lnTo>
                    <a:pt x="140" y="174"/>
                  </a:lnTo>
                  <a:close/>
                  <a:moveTo>
                    <a:pt x="140" y="162"/>
                  </a:moveTo>
                  <a:cubicBezTo>
                    <a:pt x="136" y="162"/>
                    <a:pt x="136" y="162"/>
                    <a:pt x="136" y="162"/>
                  </a:cubicBezTo>
                  <a:cubicBezTo>
                    <a:pt x="134" y="162"/>
                    <a:pt x="133" y="162"/>
                    <a:pt x="133" y="160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48"/>
                    <a:pt x="134" y="148"/>
                    <a:pt x="136" y="148"/>
                  </a:cubicBezTo>
                  <a:cubicBezTo>
                    <a:pt x="140" y="148"/>
                    <a:pt x="140" y="148"/>
                    <a:pt x="140" y="148"/>
                  </a:cubicBezTo>
                  <a:lnTo>
                    <a:pt x="140" y="1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44" name="Groupe 443">
            <a:extLst>
              <a:ext uri="{FF2B5EF4-FFF2-40B4-BE49-F238E27FC236}">
                <a16:creationId xmlns:a16="http://schemas.microsoft.com/office/drawing/2014/main" xmlns="" id="{73198FF5-D29D-4D62-8C07-B54AC53D757C}"/>
              </a:ext>
            </a:extLst>
          </p:cNvPr>
          <p:cNvGrpSpPr/>
          <p:nvPr/>
        </p:nvGrpSpPr>
        <p:grpSpPr>
          <a:xfrm>
            <a:off x="8005179" y="3949998"/>
            <a:ext cx="547159" cy="547160"/>
            <a:chOff x="1964646" y="3776772"/>
            <a:chExt cx="396042" cy="396043"/>
          </a:xfrm>
        </p:grpSpPr>
        <p:sp>
          <p:nvSpPr>
            <p:cNvPr id="445" name="Ellipse 179">
              <a:extLst>
                <a:ext uri="{FF2B5EF4-FFF2-40B4-BE49-F238E27FC236}">
                  <a16:creationId xmlns:a16="http://schemas.microsoft.com/office/drawing/2014/main" xmlns="" id="{97BBA640-407F-4180-8E37-A5C118DB0DA2}"/>
                </a:ext>
              </a:extLst>
            </p:cNvPr>
            <p:cNvSpPr/>
            <p:nvPr/>
          </p:nvSpPr>
          <p:spPr bwMode="gray">
            <a:xfrm>
              <a:off x="1964646" y="3776772"/>
              <a:ext cx="396042" cy="39604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2691" tIns="31346" rIns="62691" bIns="31346" rtlCol="0" anchor="ctr"/>
            <a:lstStyle/>
            <a:p>
              <a:endParaRPr lang="en-US" dirty="0"/>
            </a:p>
          </p:txBody>
        </p:sp>
        <p:sp>
          <p:nvSpPr>
            <p:cNvPr id="446" name="Freeform 5">
              <a:extLst>
                <a:ext uri="{FF2B5EF4-FFF2-40B4-BE49-F238E27FC236}">
                  <a16:creationId xmlns:a16="http://schemas.microsoft.com/office/drawing/2014/main" xmlns="" id="{FA043A4A-569C-4CA0-8811-C1116419D2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2557" y="3835006"/>
              <a:ext cx="371129" cy="279569"/>
            </a:xfrm>
            <a:custGeom>
              <a:avLst/>
              <a:gdLst>
                <a:gd name="T0" fmla="*/ 202 w 404"/>
                <a:gd name="T1" fmla="*/ 147 h 304"/>
                <a:gd name="T2" fmla="*/ 202 w 404"/>
                <a:gd name="T3" fmla="*/ 102 h 304"/>
                <a:gd name="T4" fmla="*/ 117 w 404"/>
                <a:gd name="T5" fmla="*/ 73 h 304"/>
                <a:gd name="T6" fmla="*/ 26 w 404"/>
                <a:gd name="T7" fmla="*/ 117 h 304"/>
                <a:gd name="T8" fmla="*/ 10 w 404"/>
                <a:gd name="T9" fmla="*/ 183 h 304"/>
                <a:gd name="T10" fmla="*/ 61 w 404"/>
                <a:gd name="T11" fmla="*/ 115 h 304"/>
                <a:gd name="T12" fmla="*/ 76 w 404"/>
                <a:gd name="T13" fmla="*/ 304 h 304"/>
                <a:gd name="T14" fmla="*/ 91 w 404"/>
                <a:gd name="T15" fmla="*/ 200 h 304"/>
                <a:gd name="T16" fmla="*/ 98 w 404"/>
                <a:gd name="T17" fmla="*/ 289 h 304"/>
                <a:gd name="T18" fmla="*/ 128 w 404"/>
                <a:gd name="T19" fmla="*/ 289 h 304"/>
                <a:gd name="T20" fmla="*/ 155 w 404"/>
                <a:gd name="T21" fmla="*/ 168 h 304"/>
                <a:gd name="T22" fmla="*/ 163 w 404"/>
                <a:gd name="T23" fmla="*/ 117 h 304"/>
                <a:gd name="T24" fmla="*/ 94 w 404"/>
                <a:gd name="T25" fmla="*/ 68 h 304"/>
                <a:gd name="T26" fmla="*/ 94 w 404"/>
                <a:gd name="T27" fmla="*/ 0 h 304"/>
                <a:gd name="T28" fmla="*/ 94 w 404"/>
                <a:gd name="T29" fmla="*/ 68 h 304"/>
                <a:gd name="T30" fmla="*/ 378 w 404"/>
                <a:gd name="T31" fmla="*/ 117 h 304"/>
                <a:gd name="T32" fmla="*/ 287 w 404"/>
                <a:gd name="T33" fmla="*/ 73 h 304"/>
                <a:gd name="T34" fmla="*/ 228 w 404"/>
                <a:gd name="T35" fmla="*/ 146 h 304"/>
                <a:gd name="T36" fmla="*/ 276 w 404"/>
                <a:gd name="T37" fmla="*/ 115 h 304"/>
                <a:gd name="T38" fmla="*/ 267 w 404"/>
                <a:gd name="T39" fmla="*/ 208 h 304"/>
                <a:gd name="T40" fmla="*/ 276 w 404"/>
                <a:gd name="T41" fmla="*/ 231 h 304"/>
                <a:gd name="T42" fmla="*/ 291 w 404"/>
                <a:gd name="T43" fmla="*/ 304 h 304"/>
                <a:gd name="T44" fmla="*/ 306 w 404"/>
                <a:gd name="T45" fmla="*/ 231 h 304"/>
                <a:gd name="T46" fmla="*/ 313 w 404"/>
                <a:gd name="T47" fmla="*/ 289 h 304"/>
                <a:gd name="T48" fmla="*/ 344 w 404"/>
                <a:gd name="T49" fmla="*/ 289 h 304"/>
                <a:gd name="T50" fmla="*/ 367 w 404"/>
                <a:gd name="T51" fmla="*/ 231 h 304"/>
                <a:gd name="T52" fmla="*/ 375 w 404"/>
                <a:gd name="T53" fmla="*/ 177 h 304"/>
                <a:gd name="T54" fmla="*/ 401 w 404"/>
                <a:gd name="T55" fmla="*/ 164 h 304"/>
                <a:gd name="T56" fmla="*/ 344 w 404"/>
                <a:gd name="T57" fmla="*/ 34 h 304"/>
                <a:gd name="T58" fmla="*/ 276 w 404"/>
                <a:gd name="T59" fmla="*/ 34 h 304"/>
                <a:gd name="T60" fmla="*/ 248 w 404"/>
                <a:gd name="T61" fmla="*/ 180 h 304"/>
                <a:gd name="T62" fmla="*/ 188 w 404"/>
                <a:gd name="T63" fmla="*/ 151 h 304"/>
                <a:gd name="T64" fmla="*/ 142 w 404"/>
                <a:gd name="T65" fmla="*/ 211 h 304"/>
                <a:gd name="T66" fmla="*/ 159 w 404"/>
                <a:gd name="T67" fmla="*/ 219 h 304"/>
                <a:gd name="T68" fmla="*/ 166 w 404"/>
                <a:gd name="T69" fmla="*/ 247 h 304"/>
                <a:gd name="T70" fmla="*/ 180 w 404"/>
                <a:gd name="T71" fmla="*/ 294 h 304"/>
                <a:gd name="T72" fmla="*/ 200 w 404"/>
                <a:gd name="T73" fmla="*/ 294 h 304"/>
                <a:gd name="T74" fmla="*/ 205 w 404"/>
                <a:gd name="T75" fmla="*/ 247 h 304"/>
                <a:gd name="T76" fmla="*/ 215 w 404"/>
                <a:gd name="T77" fmla="*/ 304 h 304"/>
                <a:gd name="T78" fmla="*/ 225 w 404"/>
                <a:gd name="T79" fmla="*/ 247 h 304"/>
                <a:gd name="T80" fmla="*/ 225 w 404"/>
                <a:gd name="T81" fmla="*/ 179 h 304"/>
                <a:gd name="T82" fmla="*/ 259 w 404"/>
                <a:gd name="T83" fmla="*/ 224 h 304"/>
                <a:gd name="T84" fmla="*/ 248 w 404"/>
                <a:gd name="T85" fmla="*/ 18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4" h="304">
                  <a:moveTo>
                    <a:pt x="225" y="124"/>
                  </a:moveTo>
                  <a:cubicBezTo>
                    <a:pt x="225" y="137"/>
                    <a:pt x="215" y="147"/>
                    <a:pt x="202" y="147"/>
                  </a:cubicBezTo>
                  <a:cubicBezTo>
                    <a:pt x="190" y="147"/>
                    <a:pt x="180" y="137"/>
                    <a:pt x="180" y="124"/>
                  </a:cubicBezTo>
                  <a:cubicBezTo>
                    <a:pt x="180" y="112"/>
                    <a:pt x="190" y="102"/>
                    <a:pt x="202" y="102"/>
                  </a:cubicBezTo>
                  <a:cubicBezTo>
                    <a:pt x="215" y="102"/>
                    <a:pt x="225" y="112"/>
                    <a:pt x="225" y="124"/>
                  </a:cubicBezTo>
                  <a:close/>
                  <a:moveTo>
                    <a:pt x="117" y="73"/>
                  </a:moveTo>
                  <a:cubicBezTo>
                    <a:pt x="72" y="73"/>
                    <a:pt x="72" y="73"/>
                    <a:pt x="72" y="73"/>
                  </a:cubicBezTo>
                  <a:cubicBezTo>
                    <a:pt x="47" y="73"/>
                    <a:pt x="39" y="91"/>
                    <a:pt x="26" y="117"/>
                  </a:cubicBezTo>
                  <a:cubicBezTo>
                    <a:pt x="3" y="164"/>
                    <a:pt x="3" y="164"/>
                    <a:pt x="3" y="164"/>
                  </a:cubicBezTo>
                  <a:cubicBezTo>
                    <a:pt x="0" y="171"/>
                    <a:pt x="3" y="180"/>
                    <a:pt x="10" y="183"/>
                  </a:cubicBezTo>
                  <a:cubicBezTo>
                    <a:pt x="17" y="187"/>
                    <a:pt x="25" y="184"/>
                    <a:pt x="29" y="177"/>
                  </a:cubicBezTo>
                  <a:cubicBezTo>
                    <a:pt x="61" y="115"/>
                    <a:pt x="61" y="115"/>
                    <a:pt x="61" y="115"/>
                  </a:cubicBezTo>
                  <a:cubicBezTo>
                    <a:pt x="61" y="289"/>
                    <a:pt x="61" y="289"/>
                    <a:pt x="61" y="289"/>
                  </a:cubicBezTo>
                  <a:cubicBezTo>
                    <a:pt x="61" y="297"/>
                    <a:pt x="67" y="304"/>
                    <a:pt x="76" y="304"/>
                  </a:cubicBezTo>
                  <a:cubicBezTo>
                    <a:pt x="84" y="304"/>
                    <a:pt x="91" y="297"/>
                    <a:pt x="91" y="289"/>
                  </a:cubicBezTo>
                  <a:cubicBezTo>
                    <a:pt x="91" y="200"/>
                    <a:pt x="91" y="200"/>
                    <a:pt x="91" y="200"/>
                  </a:cubicBezTo>
                  <a:cubicBezTo>
                    <a:pt x="98" y="200"/>
                    <a:pt x="98" y="200"/>
                    <a:pt x="98" y="200"/>
                  </a:cubicBezTo>
                  <a:cubicBezTo>
                    <a:pt x="98" y="289"/>
                    <a:pt x="98" y="289"/>
                    <a:pt x="98" y="289"/>
                  </a:cubicBezTo>
                  <a:cubicBezTo>
                    <a:pt x="98" y="297"/>
                    <a:pt x="105" y="304"/>
                    <a:pt x="113" y="304"/>
                  </a:cubicBezTo>
                  <a:cubicBezTo>
                    <a:pt x="122" y="304"/>
                    <a:pt x="128" y="297"/>
                    <a:pt x="128" y="28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60" y="158"/>
                    <a:pt x="166" y="149"/>
                    <a:pt x="176" y="146"/>
                  </a:cubicBezTo>
                  <a:cubicBezTo>
                    <a:pt x="163" y="117"/>
                    <a:pt x="163" y="117"/>
                    <a:pt x="163" y="117"/>
                  </a:cubicBezTo>
                  <a:cubicBezTo>
                    <a:pt x="150" y="91"/>
                    <a:pt x="142" y="73"/>
                    <a:pt x="117" y="73"/>
                  </a:cubicBezTo>
                  <a:close/>
                  <a:moveTo>
                    <a:pt x="94" y="68"/>
                  </a:moveTo>
                  <a:cubicBezTo>
                    <a:pt x="113" y="68"/>
                    <a:pt x="128" y="52"/>
                    <a:pt x="128" y="34"/>
                  </a:cubicBezTo>
                  <a:cubicBezTo>
                    <a:pt x="128" y="15"/>
                    <a:pt x="113" y="0"/>
                    <a:pt x="94" y="0"/>
                  </a:cubicBezTo>
                  <a:cubicBezTo>
                    <a:pt x="76" y="0"/>
                    <a:pt x="60" y="15"/>
                    <a:pt x="60" y="34"/>
                  </a:cubicBezTo>
                  <a:cubicBezTo>
                    <a:pt x="60" y="52"/>
                    <a:pt x="76" y="68"/>
                    <a:pt x="94" y="68"/>
                  </a:cubicBezTo>
                  <a:close/>
                  <a:moveTo>
                    <a:pt x="401" y="164"/>
                  </a:moveTo>
                  <a:cubicBezTo>
                    <a:pt x="378" y="117"/>
                    <a:pt x="378" y="117"/>
                    <a:pt x="378" y="117"/>
                  </a:cubicBezTo>
                  <a:cubicBezTo>
                    <a:pt x="365" y="91"/>
                    <a:pt x="357" y="73"/>
                    <a:pt x="332" y="73"/>
                  </a:cubicBezTo>
                  <a:cubicBezTo>
                    <a:pt x="287" y="73"/>
                    <a:pt x="287" y="73"/>
                    <a:pt x="287" y="73"/>
                  </a:cubicBezTo>
                  <a:cubicBezTo>
                    <a:pt x="262" y="73"/>
                    <a:pt x="254" y="91"/>
                    <a:pt x="241" y="117"/>
                  </a:cubicBezTo>
                  <a:cubicBezTo>
                    <a:pt x="228" y="146"/>
                    <a:pt x="228" y="146"/>
                    <a:pt x="228" y="146"/>
                  </a:cubicBezTo>
                  <a:cubicBezTo>
                    <a:pt x="237" y="149"/>
                    <a:pt x="243" y="156"/>
                    <a:pt x="249" y="166"/>
                  </a:cubicBezTo>
                  <a:cubicBezTo>
                    <a:pt x="276" y="115"/>
                    <a:pt x="276" y="115"/>
                    <a:pt x="276" y="115"/>
                  </a:cubicBezTo>
                  <a:cubicBezTo>
                    <a:pt x="260" y="194"/>
                    <a:pt x="260" y="194"/>
                    <a:pt x="260" y="194"/>
                  </a:cubicBezTo>
                  <a:cubicBezTo>
                    <a:pt x="267" y="208"/>
                    <a:pt x="267" y="208"/>
                    <a:pt x="267" y="208"/>
                  </a:cubicBezTo>
                  <a:cubicBezTo>
                    <a:pt x="271" y="216"/>
                    <a:pt x="267" y="231"/>
                    <a:pt x="251" y="231"/>
                  </a:cubicBezTo>
                  <a:cubicBezTo>
                    <a:pt x="276" y="231"/>
                    <a:pt x="276" y="231"/>
                    <a:pt x="276" y="231"/>
                  </a:cubicBezTo>
                  <a:cubicBezTo>
                    <a:pt x="276" y="289"/>
                    <a:pt x="276" y="289"/>
                    <a:pt x="276" y="289"/>
                  </a:cubicBezTo>
                  <a:cubicBezTo>
                    <a:pt x="276" y="297"/>
                    <a:pt x="282" y="304"/>
                    <a:pt x="291" y="304"/>
                  </a:cubicBezTo>
                  <a:cubicBezTo>
                    <a:pt x="299" y="304"/>
                    <a:pt x="306" y="297"/>
                    <a:pt x="306" y="289"/>
                  </a:cubicBezTo>
                  <a:cubicBezTo>
                    <a:pt x="306" y="231"/>
                    <a:pt x="306" y="231"/>
                    <a:pt x="306" y="231"/>
                  </a:cubicBezTo>
                  <a:cubicBezTo>
                    <a:pt x="313" y="231"/>
                    <a:pt x="313" y="231"/>
                    <a:pt x="313" y="231"/>
                  </a:cubicBezTo>
                  <a:cubicBezTo>
                    <a:pt x="313" y="289"/>
                    <a:pt x="313" y="289"/>
                    <a:pt x="313" y="289"/>
                  </a:cubicBezTo>
                  <a:cubicBezTo>
                    <a:pt x="313" y="297"/>
                    <a:pt x="320" y="304"/>
                    <a:pt x="328" y="304"/>
                  </a:cubicBezTo>
                  <a:cubicBezTo>
                    <a:pt x="337" y="304"/>
                    <a:pt x="344" y="297"/>
                    <a:pt x="344" y="289"/>
                  </a:cubicBezTo>
                  <a:cubicBezTo>
                    <a:pt x="344" y="231"/>
                    <a:pt x="344" y="231"/>
                    <a:pt x="344" y="231"/>
                  </a:cubicBezTo>
                  <a:cubicBezTo>
                    <a:pt x="367" y="231"/>
                    <a:pt x="367" y="231"/>
                    <a:pt x="367" y="231"/>
                  </a:cubicBezTo>
                  <a:cubicBezTo>
                    <a:pt x="344" y="115"/>
                    <a:pt x="344" y="115"/>
                    <a:pt x="344" y="115"/>
                  </a:cubicBezTo>
                  <a:cubicBezTo>
                    <a:pt x="375" y="177"/>
                    <a:pt x="375" y="177"/>
                    <a:pt x="375" y="177"/>
                  </a:cubicBezTo>
                  <a:cubicBezTo>
                    <a:pt x="379" y="184"/>
                    <a:pt x="387" y="187"/>
                    <a:pt x="394" y="183"/>
                  </a:cubicBezTo>
                  <a:cubicBezTo>
                    <a:pt x="401" y="180"/>
                    <a:pt x="404" y="171"/>
                    <a:pt x="401" y="164"/>
                  </a:cubicBezTo>
                  <a:close/>
                  <a:moveTo>
                    <a:pt x="310" y="68"/>
                  </a:moveTo>
                  <a:cubicBezTo>
                    <a:pt x="328" y="68"/>
                    <a:pt x="344" y="52"/>
                    <a:pt x="344" y="34"/>
                  </a:cubicBezTo>
                  <a:cubicBezTo>
                    <a:pt x="344" y="15"/>
                    <a:pt x="328" y="0"/>
                    <a:pt x="310" y="0"/>
                  </a:cubicBezTo>
                  <a:cubicBezTo>
                    <a:pt x="291" y="0"/>
                    <a:pt x="276" y="15"/>
                    <a:pt x="276" y="34"/>
                  </a:cubicBezTo>
                  <a:cubicBezTo>
                    <a:pt x="276" y="52"/>
                    <a:pt x="291" y="68"/>
                    <a:pt x="310" y="68"/>
                  </a:cubicBezTo>
                  <a:close/>
                  <a:moveTo>
                    <a:pt x="248" y="180"/>
                  </a:moveTo>
                  <a:cubicBezTo>
                    <a:pt x="239" y="163"/>
                    <a:pt x="234" y="151"/>
                    <a:pt x="217" y="151"/>
                  </a:cubicBezTo>
                  <a:cubicBezTo>
                    <a:pt x="188" y="151"/>
                    <a:pt x="188" y="151"/>
                    <a:pt x="188" y="151"/>
                  </a:cubicBezTo>
                  <a:cubicBezTo>
                    <a:pt x="171" y="151"/>
                    <a:pt x="165" y="163"/>
                    <a:pt x="157" y="180"/>
                  </a:cubicBezTo>
                  <a:cubicBezTo>
                    <a:pt x="142" y="211"/>
                    <a:pt x="142" y="211"/>
                    <a:pt x="142" y="211"/>
                  </a:cubicBezTo>
                  <a:cubicBezTo>
                    <a:pt x="139" y="216"/>
                    <a:pt x="141" y="222"/>
                    <a:pt x="146" y="224"/>
                  </a:cubicBezTo>
                  <a:cubicBezTo>
                    <a:pt x="151" y="226"/>
                    <a:pt x="157" y="223"/>
                    <a:pt x="159" y="219"/>
                  </a:cubicBezTo>
                  <a:cubicBezTo>
                    <a:pt x="180" y="179"/>
                    <a:pt x="180" y="179"/>
                    <a:pt x="180" y="179"/>
                  </a:cubicBezTo>
                  <a:cubicBezTo>
                    <a:pt x="166" y="247"/>
                    <a:pt x="166" y="247"/>
                    <a:pt x="166" y="247"/>
                  </a:cubicBezTo>
                  <a:cubicBezTo>
                    <a:pt x="180" y="247"/>
                    <a:pt x="180" y="247"/>
                    <a:pt x="180" y="247"/>
                  </a:cubicBezTo>
                  <a:cubicBezTo>
                    <a:pt x="180" y="294"/>
                    <a:pt x="180" y="294"/>
                    <a:pt x="180" y="294"/>
                  </a:cubicBezTo>
                  <a:cubicBezTo>
                    <a:pt x="180" y="300"/>
                    <a:pt x="184" y="304"/>
                    <a:pt x="190" y="304"/>
                  </a:cubicBezTo>
                  <a:cubicBezTo>
                    <a:pt x="196" y="304"/>
                    <a:pt x="200" y="300"/>
                    <a:pt x="200" y="294"/>
                  </a:cubicBezTo>
                  <a:cubicBezTo>
                    <a:pt x="200" y="247"/>
                    <a:pt x="200" y="247"/>
                    <a:pt x="200" y="247"/>
                  </a:cubicBezTo>
                  <a:cubicBezTo>
                    <a:pt x="205" y="247"/>
                    <a:pt x="205" y="247"/>
                    <a:pt x="205" y="247"/>
                  </a:cubicBezTo>
                  <a:cubicBezTo>
                    <a:pt x="205" y="294"/>
                    <a:pt x="205" y="294"/>
                    <a:pt x="205" y="294"/>
                  </a:cubicBezTo>
                  <a:cubicBezTo>
                    <a:pt x="205" y="300"/>
                    <a:pt x="209" y="304"/>
                    <a:pt x="215" y="304"/>
                  </a:cubicBezTo>
                  <a:cubicBezTo>
                    <a:pt x="220" y="304"/>
                    <a:pt x="225" y="300"/>
                    <a:pt x="225" y="294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39" y="247"/>
                    <a:pt x="239" y="247"/>
                    <a:pt x="239" y="247"/>
                  </a:cubicBezTo>
                  <a:cubicBezTo>
                    <a:pt x="225" y="179"/>
                    <a:pt x="225" y="179"/>
                    <a:pt x="225" y="179"/>
                  </a:cubicBezTo>
                  <a:cubicBezTo>
                    <a:pt x="246" y="219"/>
                    <a:pt x="246" y="219"/>
                    <a:pt x="246" y="219"/>
                  </a:cubicBezTo>
                  <a:cubicBezTo>
                    <a:pt x="248" y="224"/>
                    <a:pt x="253" y="226"/>
                    <a:pt x="259" y="224"/>
                  </a:cubicBezTo>
                  <a:cubicBezTo>
                    <a:pt x="263" y="221"/>
                    <a:pt x="265" y="216"/>
                    <a:pt x="263" y="211"/>
                  </a:cubicBezTo>
                  <a:lnTo>
                    <a:pt x="248" y="1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33" name="Groupe 132">
            <a:extLst>
              <a:ext uri="{FF2B5EF4-FFF2-40B4-BE49-F238E27FC236}">
                <a16:creationId xmlns:a16="http://schemas.microsoft.com/office/drawing/2014/main" xmlns="" id="{6B6BBFBF-F470-49F0-A5ED-2FDDD35C6622}"/>
              </a:ext>
            </a:extLst>
          </p:cNvPr>
          <p:cNvGrpSpPr/>
          <p:nvPr/>
        </p:nvGrpSpPr>
        <p:grpSpPr>
          <a:xfrm>
            <a:off x="657805" y="5086214"/>
            <a:ext cx="529550" cy="529613"/>
            <a:chOff x="657805" y="5086214"/>
            <a:chExt cx="529550" cy="529613"/>
          </a:xfrm>
        </p:grpSpPr>
        <p:sp>
          <p:nvSpPr>
            <p:cNvPr id="364" name="Ellipse 363"/>
            <p:cNvSpPr/>
            <p:nvPr/>
          </p:nvSpPr>
          <p:spPr bwMode="gray">
            <a:xfrm>
              <a:off x="657805" y="5086214"/>
              <a:ext cx="529550" cy="52961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7" name="Freeform 9">
              <a:extLst>
                <a:ext uri="{FF2B5EF4-FFF2-40B4-BE49-F238E27FC236}">
                  <a16:creationId xmlns:a16="http://schemas.microsoft.com/office/drawing/2014/main" xmlns="" id="{CFAB77DF-AE9F-4373-92E1-E6A0FE42D5F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4938" y="5153278"/>
              <a:ext cx="215284" cy="395484"/>
            </a:xfrm>
            <a:custGeom>
              <a:avLst/>
              <a:gdLst>
                <a:gd name="T0" fmla="*/ 185 w 194"/>
                <a:gd name="T1" fmla="*/ 100 h 360"/>
                <a:gd name="T2" fmla="*/ 157 w 194"/>
                <a:gd name="T3" fmla="*/ 100 h 360"/>
                <a:gd name="T4" fmla="*/ 157 w 194"/>
                <a:gd name="T5" fmla="*/ 14 h 360"/>
                <a:gd name="T6" fmla="*/ 144 w 194"/>
                <a:gd name="T7" fmla="*/ 0 h 360"/>
                <a:gd name="T8" fmla="*/ 130 w 194"/>
                <a:gd name="T9" fmla="*/ 14 h 360"/>
                <a:gd name="T10" fmla="*/ 130 w 194"/>
                <a:gd name="T11" fmla="*/ 100 h 360"/>
                <a:gd name="T12" fmla="*/ 64 w 194"/>
                <a:gd name="T13" fmla="*/ 100 h 360"/>
                <a:gd name="T14" fmla="*/ 64 w 194"/>
                <a:gd name="T15" fmla="*/ 14 h 360"/>
                <a:gd name="T16" fmla="*/ 50 w 194"/>
                <a:gd name="T17" fmla="*/ 0 h 360"/>
                <a:gd name="T18" fmla="*/ 37 w 194"/>
                <a:gd name="T19" fmla="*/ 14 h 360"/>
                <a:gd name="T20" fmla="*/ 37 w 194"/>
                <a:gd name="T21" fmla="*/ 100 h 360"/>
                <a:gd name="T22" fmla="*/ 9 w 194"/>
                <a:gd name="T23" fmla="*/ 100 h 360"/>
                <a:gd name="T24" fmla="*/ 0 w 194"/>
                <a:gd name="T25" fmla="*/ 109 h 360"/>
                <a:gd name="T26" fmla="*/ 9 w 194"/>
                <a:gd name="T27" fmla="*/ 117 h 360"/>
                <a:gd name="T28" fmla="*/ 15 w 194"/>
                <a:gd name="T29" fmla="*/ 117 h 360"/>
                <a:gd name="T30" fmla="*/ 15 w 194"/>
                <a:gd name="T31" fmla="*/ 217 h 360"/>
                <a:gd name="T32" fmla="*/ 75 w 194"/>
                <a:gd name="T33" fmla="*/ 269 h 360"/>
                <a:gd name="T34" fmla="*/ 86 w 194"/>
                <a:gd name="T35" fmla="*/ 279 h 360"/>
                <a:gd name="T36" fmla="*/ 86 w 194"/>
                <a:gd name="T37" fmla="*/ 360 h 360"/>
                <a:gd name="T38" fmla="*/ 108 w 194"/>
                <a:gd name="T39" fmla="*/ 360 h 360"/>
                <a:gd name="T40" fmla="*/ 108 w 194"/>
                <a:gd name="T41" fmla="*/ 279 h 360"/>
                <a:gd name="T42" fmla="*/ 119 w 194"/>
                <a:gd name="T43" fmla="*/ 269 h 360"/>
                <a:gd name="T44" fmla="*/ 179 w 194"/>
                <a:gd name="T45" fmla="*/ 217 h 360"/>
                <a:gd name="T46" fmla="*/ 179 w 194"/>
                <a:gd name="T47" fmla="*/ 117 h 360"/>
                <a:gd name="T48" fmla="*/ 185 w 194"/>
                <a:gd name="T49" fmla="*/ 117 h 360"/>
                <a:gd name="T50" fmla="*/ 194 w 194"/>
                <a:gd name="T51" fmla="*/ 109 h 360"/>
                <a:gd name="T52" fmla="*/ 185 w 194"/>
                <a:gd name="T53" fmla="*/ 10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4" h="360">
                  <a:moveTo>
                    <a:pt x="185" y="100"/>
                  </a:moveTo>
                  <a:cubicBezTo>
                    <a:pt x="157" y="100"/>
                    <a:pt x="157" y="100"/>
                    <a:pt x="157" y="100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7" y="6"/>
                    <a:pt x="151" y="0"/>
                    <a:pt x="144" y="0"/>
                  </a:cubicBezTo>
                  <a:cubicBezTo>
                    <a:pt x="136" y="0"/>
                    <a:pt x="130" y="6"/>
                    <a:pt x="130" y="14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64" y="100"/>
                    <a:pt x="64" y="100"/>
                    <a:pt x="64" y="100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6"/>
                    <a:pt x="58" y="0"/>
                    <a:pt x="50" y="0"/>
                  </a:cubicBezTo>
                  <a:cubicBezTo>
                    <a:pt x="43" y="0"/>
                    <a:pt x="37" y="6"/>
                    <a:pt x="37" y="14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4" y="100"/>
                    <a:pt x="0" y="104"/>
                    <a:pt x="0" y="109"/>
                  </a:cubicBezTo>
                  <a:cubicBezTo>
                    <a:pt x="0" y="113"/>
                    <a:pt x="4" y="117"/>
                    <a:pt x="9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217"/>
                    <a:pt x="15" y="217"/>
                    <a:pt x="15" y="217"/>
                  </a:cubicBezTo>
                  <a:cubicBezTo>
                    <a:pt x="15" y="217"/>
                    <a:pt x="18" y="260"/>
                    <a:pt x="75" y="269"/>
                  </a:cubicBezTo>
                  <a:cubicBezTo>
                    <a:pt x="76" y="275"/>
                    <a:pt x="81" y="279"/>
                    <a:pt x="86" y="279"/>
                  </a:cubicBezTo>
                  <a:cubicBezTo>
                    <a:pt x="86" y="360"/>
                    <a:pt x="86" y="360"/>
                    <a:pt x="86" y="360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279"/>
                    <a:pt x="108" y="279"/>
                    <a:pt x="108" y="279"/>
                  </a:cubicBezTo>
                  <a:cubicBezTo>
                    <a:pt x="113" y="279"/>
                    <a:pt x="118" y="275"/>
                    <a:pt x="119" y="269"/>
                  </a:cubicBezTo>
                  <a:cubicBezTo>
                    <a:pt x="176" y="260"/>
                    <a:pt x="179" y="217"/>
                    <a:pt x="179" y="217"/>
                  </a:cubicBezTo>
                  <a:cubicBezTo>
                    <a:pt x="179" y="117"/>
                    <a:pt x="179" y="117"/>
                    <a:pt x="179" y="117"/>
                  </a:cubicBezTo>
                  <a:cubicBezTo>
                    <a:pt x="185" y="117"/>
                    <a:pt x="185" y="117"/>
                    <a:pt x="185" y="117"/>
                  </a:cubicBezTo>
                  <a:cubicBezTo>
                    <a:pt x="190" y="117"/>
                    <a:pt x="194" y="113"/>
                    <a:pt x="194" y="109"/>
                  </a:cubicBezTo>
                  <a:cubicBezTo>
                    <a:pt x="194" y="104"/>
                    <a:pt x="190" y="100"/>
                    <a:pt x="185" y="1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34" name="Groupe 133">
            <a:extLst>
              <a:ext uri="{FF2B5EF4-FFF2-40B4-BE49-F238E27FC236}">
                <a16:creationId xmlns:a16="http://schemas.microsoft.com/office/drawing/2014/main" xmlns="" id="{C5EC1BF4-8FD3-4C0A-9027-8DE298EBB3AC}"/>
              </a:ext>
            </a:extLst>
          </p:cNvPr>
          <p:cNvGrpSpPr/>
          <p:nvPr/>
        </p:nvGrpSpPr>
        <p:grpSpPr>
          <a:xfrm>
            <a:off x="1708081" y="5086214"/>
            <a:ext cx="529550" cy="529613"/>
            <a:chOff x="1708081" y="5086214"/>
            <a:chExt cx="529550" cy="529613"/>
          </a:xfrm>
        </p:grpSpPr>
        <p:sp>
          <p:nvSpPr>
            <p:cNvPr id="367" name="Ellipse 366"/>
            <p:cNvSpPr/>
            <p:nvPr/>
          </p:nvSpPr>
          <p:spPr bwMode="gray">
            <a:xfrm>
              <a:off x="1708081" y="5086214"/>
              <a:ext cx="529550" cy="52961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8" name="Freeform 5">
              <a:extLst>
                <a:ext uri="{FF2B5EF4-FFF2-40B4-BE49-F238E27FC236}">
                  <a16:creationId xmlns:a16="http://schemas.microsoft.com/office/drawing/2014/main" xmlns="" id="{851DBCFF-44BA-4A35-AD44-E0BD41E87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1092" y="5202273"/>
              <a:ext cx="283528" cy="297495"/>
            </a:xfrm>
            <a:custGeom>
              <a:avLst/>
              <a:gdLst>
                <a:gd name="T0" fmla="*/ 312 w 393"/>
                <a:gd name="T1" fmla="*/ 124 h 413"/>
                <a:gd name="T2" fmla="*/ 312 w 393"/>
                <a:gd name="T3" fmla="*/ 123 h 413"/>
                <a:gd name="T4" fmla="*/ 311 w 393"/>
                <a:gd name="T5" fmla="*/ 122 h 413"/>
                <a:gd name="T6" fmla="*/ 310 w 393"/>
                <a:gd name="T7" fmla="*/ 122 h 413"/>
                <a:gd name="T8" fmla="*/ 282 w 393"/>
                <a:gd name="T9" fmla="*/ 150 h 413"/>
                <a:gd name="T10" fmla="*/ 258 w 393"/>
                <a:gd name="T11" fmla="*/ 202 h 413"/>
                <a:gd name="T12" fmla="*/ 258 w 393"/>
                <a:gd name="T13" fmla="*/ 206 h 413"/>
                <a:gd name="T14" fmla="*/ 258 w 393"/>
                <a:gd name="T15" fmla="*/ 210 h 413"/>
                <a:gd name="T16" fmla="*/ 265 w 393"/>
                <a:gd name="T17" fmla="*/ 231 h 413"/>
                <a:gd name="T18" fmla="*/ 214 w 393"/>
                <a:gd name="T19" fmla="*/ 231 h 413"/>
                <a:gd name="T20" fmla="*/ 192 w 393"/>
                <a:gd name="T21" fmla="*/ 170 h 413"/>
                <a:gd name="T22" fmla="*/ 161 w 393"/>
                <a:gd name="T23" fmla="*/ 193 h 413"/>
                <a:gd name="T24" fmla="*/ 136 w 393"/>
                <a:gd name="T25" fmla="*/ 201 h 413"/>
                <a:gd name="T26" fmla="*/ 23 w 393"/>
                <a:gd name="T27" fmla="*/ 35 h 413"/>
                <a:gd name="T28" fmla="*/ 29 w 393"/>
                <a:gd name="T29" fmla="*/ 27 h 413"/>
                <a:gd name="T30" fmla="*/ 29 w 393"/>
                <a:gd name="T31" fmla="*/ 27 h 413"/>
                <a:gd name="T32" fmla="*/ 220 w 393"/>
                <a:gd name="T33" fmla="*/ 118 h 413"/>
                <a:gd name="T34" fmla="*/ 142 w 393"/>
                <a:gd name="T35" fmla="*/ 94 h 413"/>
                <a:gd name="T36" fmla="*/ 141 w 393"/>
                <a:gd name="T37" fmla="*/ 94 h 413"/>
                <a:gd name="T38" fmla="*/ 140 w 393"/>
                <a:gd name="T39" fmla="*/ 96 h 413"/>
                <a:gd name="T40" fmla="*/ 140 w 393"/>
                <a:gd name="T41" fmla="*/ 97 h 413"/>
                <a:gd name="T42" fmla="*/ 187 w 393"/>
                <a:gd name="T43" fmla="*/ 131 h 413"/>
                <a:gd name="T44" fmla="*/ 187 w 393"/>
                <a:gd name="T45" fmla="*/ 131 h 413"/>
                <a:gd name="T46" fmla="*/ 210 w 393"/>
                <a:gd name="T47" fmla="*/ 148 h 413"/>
                <a:gd name="T48" fmla="*/ 234 w 393"/>
                <a:gd name="T49" fmla="*/ 171 h 413"/>
                <a:gd name="T50" fmla="*/ 254 w 393"/>
                <a:gd name="T51" fmla="*/ 147 h 413"/>
                <a:gd name="T52" fmla="*/ 244 w 393"/>
                <a:gd name="T53" fmla="*/ 127 h 413"/>
                <a:gd name="T54" fmla="*/ 242 w 393"/>
                <a:gd name="T55" fmla="*/ 109 h 413"/>
                <a:gd name="T56" fmla="*/ 362 w 393"/>
                <a:gd name="T57" fmla="*/ 51 h 413"/>
                <a:gd name="T58" fmla="*/ 367 w 393"/>
                <a:gd name="T59" fmla="*/ 56 h 413"/>
                <a:gd name="T60" fmla="*/ 367 w 393"/>
                <a:gd name="T61" fmla="*/ 56 h 413"/>
                <a:gd name="T62" fmla="*/ 367 w 393"/>
                <a:gd name="T63" fmla="*/ 56 h 413"/>
                <a:gd name="T64" fmla="*/ 288 w 393"/>
                <a:gd name="T65" fmla="*/ 173 h 413"/>
                <a:gd name="T66" fmla="*/ 312 w 393"/>
                <a:gd name="T67" fmla="*/ 124 h 413"/>
                <a:gd name="T68" fmla="*/ 110 w 393"/>
                <a:gd name="T69" fmla="*/ 389 h 413"/>
                <a:gd name="T70" fmla="*/ 248 w 393"/>
                <a:gd name="T71" fmla="*/ 389 h 413"/>
                <a:gd name="T72" fmla="*/ 297 w 393"/>
                <a:gd name="T73" fmla="*/ 367 h 413"/>
                <a:gd name="T74" fmla="*/ 384 w 393"/>
                <a:gd name="T75" fmla="*/ 268 h 413"/>
                <a:gd name="T76" fmla="*/ 381 w 393"/>
                <a:gd name="T77" fmla="*/ 229 h 413"/>
                <a:gd name="T78" fmla="*/ 380 w 393"/>
                <a:gd name="T79" fmla="*/ 229 h 413"/>
                <a:gd name="T80" fmla="*/ 364 w 393"/>
                <a:gd name="T81" fmla="*/ 223 h 413"/>
                <a:gd name="T82" fmla="*/ 342 w 393"/>
                <a:gd name="T83" fmla="*/ 233 h 413"/>
                <a:gd name="T84" fmla="*/ 301 w 393"/>
                <a:gd name="T85" fmla="*/ 278 h 413"/>
                <a:gd name="T86" fmla="*/ 301 w 393"/>
                <a:gd name="T87" fmla="*/ 279 h 413"/>
                <a:gd name="T88" fmla="*/ 254 w 393"/>
                <a:gd name="T89" fmla="*/ 324 h 413"/>
                <a:gd name="T90" fmla="*/ 204 w 393"/>
                <a:gd name="T91" fmla="*/ 324 h 413"/>
                <a:gd name="T92" fmla="*/ 194 w 393"/>
                <a:gd name="T93" fmla="*/ 314 h 413"/>
                <a:gd name="T94" fmla="*/ 204 w 393"/>
                <a:gd name="T95" fmla="*/ 303 h 413"/>
                <a:gd name="T96" fmla="*/ 204 w 393"/>
                <a:gd name="T97" fmla="*/ 303 h 413"/>
                <a:gd name="T98" fmla="*/ 254 w 393"/>
                <a:gd name="T99" fmla="*/ 303 h 413"/>
                <a:gd name="T100" fmla="*/ 281 w 393"/>
                <a:gd name="T101" fmla="*/ 278 h 413"/>
                <a:gd name="T102" fmla="*/ 256 w 393"/>
                <a:gd name="T103" fmla="*/ 251 h 413"/>
                <a:gd name="T104" fmla="*/ 255 w 393"/>
                <a:gd name="T105" fmla="*/ 251 h 413"/>
                <a:gd name="T106" fmla="*/ 172 w 393"/>
                <a:gd name="T107" fmla="*/ 251 h 413"/>
                <a:gd name="T108" fmla="*/ 158 w 393"/>
                <a:gd name="T109" fmla="*/ 246 h 413"/>
                <a:gd name="T110" fmla="*/ 61 w 393"/>
                <a:gd name="T111" fmla="*/ 268 h 413"/>
                <a:gd name="T112" fmla="*/ 0 w 393"/>
                <a:gd name="T113" fmla="*/ 329 h 413"/>
                <a:gd name="T114" fmla="*/ 86 w 393"/>
                <a:gd name="T115" fmla="*/ 413 h 413"/>
                <a:gd name="T116" fmla="*/ 110 w 393"/>
                <a:gd name="T117" fmla="*/ 38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3" h="413">
                  <a:moveTo>
                    <a:pt x="312" y="124"/>
                  </a:moveTo>
                  <a:cubicBezTo>
                    <a:pt x="312" y="123"/>
                    <a:pt x="312" y="123"/>
                    <a:pt x="312" y="123"/>
                  </a:cubicBezTo>
                  <a:cubicBezTo>
                    <a:pt x="312" y="123"/>
                    <a:pt x="312" y="122"/>
                    <a:pt x="311" y="122"/>
                  </a:cubicBezTo>
                  <a:cubicBezTo>
                    <a:pt x="311" y="122"/>
                    <a:pt x="310" y="122"/>
                    <a:pt x="310" y="122"/>
                  </a:cubicBezTo>
                  <a:cubicBezTo>
                    <a:pt x="282" y="150"/>
                    <a:pt x="282" y="150"/>
                    <a:pt x="282" y="150"/>
                  </a:cubicBezTo>
                  <a:cubicBezTo>
                    <a:pt x="268" y="164"/>
                    <a:pt x="260" y="183"/>
                    <a:pt x="258" y="202"/>
                  </a:cubicBezTo>
                  <a:cubicBezTo>
                    <a:pt x="258" y="204"/>
                    <a:pt x="258" y="205"/>
                    <a:pt x="258" y="206"/>
                  </a:cubicBezTo>
                  <a:cubicBezTo>
                    <a:pt x="258" y="210"/>
                    <a:pt x="258" y="210"/>
                    <a:pt x="258" y="210"/>
                  </a:cubicBezTo>
                  <a:cubicBezTo>
                    <a:pt x="261" y="217"/>
                    <a:pt x="263" y="224"/>
                    <a:pt x="265" y="231"/>
                  </a:cubicBezTo>
                  <a:cubicBezTo>
                    <a:pt x="214" y="231"/>
                    <a:pt x="214" y="231"/>
                    <a:pt x="214" y="231"/>
                  </a:cubicBezTo>
                  <a:cubicBezTo>
                    <a:pt x="212" y="209"/>
                    <a:pt x="205" y="188"/>
                    <a:pt x="192" y="170"/>
                  </a:cubicBezTo>
                  <a:cubicBezTo>
                    <a:pt x="184" y="180"/>
                    <a:pt x="173" y="187"/>
                    <a:pt x="161" y="193"/>
                  </a:cubicBezTo>
                  <a:cubicBezTo>
                    <a:pt x="153" y="197"/>
                    <a:pt x="145" y="200"/>
                    <a:pt x="136" y="201"/>
                  </a:cubicBezTo>
                  <a:cubicBezTo>
                    <a:pt x="97" y="207"/>
                    <a:pt x="47" y="181"/>
                    <a:pt x="23" y="35"/>
                  </a:cubicBezTo>
                  <a:cubicBezTo>
                    <a:pt x="22" y="31"/>
                    <a:pt x="25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19" y="0"/>
                    <a:pt x="230" y="74"/>
                    <a:pt x="220" y="118"/>
                  </a:cubicBezTo>
                  <a:cubicBezTo>
                    <a:pt x="196" y="105"/>
                    <a:pt x="169" y="96"/>
                    <a:pt x="142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0" y="94"/>
                    <a:pt x="140" y="95"/>
                    <a:pt x="140" y="96"/>
                  </a:cubicBezTo>
                  <a:cubicBezTo>
                    <a:pt x="140" y="96"/>
                    <a:pt x="140" y="96"/>
                    <a:pt x="140" y="97"/>
                  </a:cubicBezTo>
                  <a:cubicBezTo>
                    <a:pt x="187" y="131"/>
                    <a:pt x="187" y="131"/>
                    <a:pt x="187" y="131"/>
                  </a:cubicBezTo>
                  <a:cubicBezTo>
                    <a:pt x="187" y="131"/>
                    <a:pt x="187" y="131"/>
                    <a:pt x="187" y="131"/>
                  </a:cubicBezTo>
                  <a:cubicBezTo>
                    <a:pt x="210" y="148"/>
                    <a:pt x="210" y="148"/>
                    <a:pt x="210" y="148"/>
                  </a:cubicBezTo>
                  <a:cubicBezTo>
                    <a:pt x="219" y="155"/>
                    <a:pt x="227" y="163"/>
                    <a:pt x="234" y="171"/>
                  </a:cubicBezTo>
                  <a:cubicBezTo>
                    <a:pt x="240" y="162"/>
                    <a:pt x="246" y="154"/>
                    <a:pt x="254" y="147"/>
                  </a:cubicBezTo>
                  <a:cubicBezTo>
                    <a:pt x="250" y="141"/>
                    <a:pt x="247" y="134"/>
                    <a:pt x="244" y="127"/>
                  </a:cubicBezTo>
                  <a:cubicBezTo>
                    <a:pt x="242" y="121"/>
                    <a:pt x="242" y="115"/>
                    <a:pt x="242" y="109"/>
                  </a:cubicBezTo>
                  <a:cubicBezTo>
                    <a:pt x="242" y="82"/>
                    <a:pt x="264" y="52"/>
                    <a:pt x="362" y="51"/>
                  </a:cubicBezTo>
                  <a:cubicBezTo>
                    <a:pt x="365" y="51"/>
                    <a:pt x="367" y="53"/>
                    <a:pt x="367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6" y="183"/>
                    <a:pt x="316" y="183"/>
                    <a:pt x="288" y="173"/>
                  </a:cubicBezTo>
                  <a:cubicBezTo>
                    <a:pt x="299" y="158"/>
                    <a:pt x="307" y="141"/>
                    <a:pt x="312" y="124"/>
                  </a:cubicBezTo>
                  <a:close/>
                  <a:moveTo>
                    <a:pt x="110" y="389"/>
                  </a:moveTo>
                  <a:cubicBezTo>
                    <a:pt x="248" y="389"/>
                    <a:pt x="248" y="389"/>
                    <a:pt x="248" y="389"/>
                  </a:cubicBezTo>
                  <a:cubicBezTo>
                    <a:pt x="267" y="389"/>
                    <a:pt x="285" y="381"/>
                    <a:pt x="297" y="367"/>
                  </a:cubicBezTo>
                  <a:cubicBezTo>
                    <a:pt x="384" y="268"/>
                    <a:pt x="384" y="268"/>
                    <a:pt x="384" y="268"/>
                  </a:cubicBezTo>
                  <a:cubicBezTo>
                    <a:pt x="393" y="256"/>
                    <a:pt x="392" y="239"/>
                    <a:pt x="381" y="229"/>
                  </a:cubicBezTo>
                  <a:cubicBezTo>
                    <a:pt x="381" y="229"/>
                    <a:pt x="381" y="229"/>
                    <a:pt x="380" y="229"/>
                  </a:cubicBezTo>
                  <a:cubicBezTo>
                    <a:pt x="376" y="225"/>
                    <a:pt x="370" y="223"/>
                    <a:pt x="364" y="223"/>
                  </a:cubicBezTo>
                  <a:cubicBezTo>
                    <a:pt x="355" y="223"/>
                    <a:pt x="348" y="226"/>
                    <a:pt x="342" y="233"/>
                  </a:cubicBezTo>
                  <a:cubicBezTo>
                    <a:pt x="301" y="278"/>
                    <a:pt x="301" y="278"/>
                    <a:pt x="301" y="278"/>
                  </a:cubicBezTo>
                  <a:cubicBezTo>
                    <a:pt x="301" y="278"/>
                    <a:pt x="301" y="278"/>
                    <a:pt x="301" y="279"/>
                  </a:cubicBezTo>
                  <a:cubicBezTo>
                    <a:pt x="300" y="304"/>
                    <a:pt x="279" y="324"/>
                    <a:pt x="254" y="324"/>
                  </a:cubicBezTo>
                  <a:cubicBezTo>
                    <a:pt x="204" y="324"/>
                    <a:pt x="204" y="324"/>
                    <a:pt x="204" y="324"/>
                  </a:cubicBezTo>
                  <a:cubicBezTo>
                    <a:pt x="198" y="324"/>
                    <a:pt x="194" y="319"/>
                    <a:pt x="194" y="314"/>
                  </a:cubicBezTo>
                  <a:cubicBezTo>
                    <a:pt x="194" y="308"/>
                    <a:pt x="198" y="303"/>
                    <a:pt x="204" y="303"/>
                  </a:cubicBezTo>
                  <a:cubicBezTo>
                    <a:pt x="204" y="303"/>
                    <a:pt x="204" y="303"/>
                    <a:pt x="204" y="303"/>
                  </a:cubicBezTo>
                  <a:cubicBezTo>
                    <a:pt x="254" y="303"/>
                    <a:pt x="254" y="303"/>
                    <a:pt x="254" y="303"/>
                  </a:cubicBezTo>
                  <a:cubicBezTo>
                    <a:pt x="268" y="304"/>
                    <a:pt x="280" y="292"/>
                    <a:pt x="281" y="278"/>
                  </a:cubicBezTo>
                  <a:cubicBezTo>
                    <a:pt x="281" y="264"/>
                    <a:pt x="270" y="252"/>
                    <a:pt x="256" y="251"/>
                  </a:cubicBezTo>
                  <a:cubicBezTo>
                    <a:pt x="255" y="251"/>
                    <a:pt x="255" y="251"/>
                    <a:pt x="255" y="251"/>
                  </a:cubicBezTo>
                  <a:cubicBezTo>
                    <a:pt x="172" y="251"/>
                    <a:pt x="172" y="251"/>
                    <a:pt x="172" y="251"/>
                  </a:cubicBezTo>
                  <a:cubicBezTo>
                    <a:pt x="158" y="246"/>
                    <a:pt x="158" y="246"/>
                    <a:pt x="158" y="246"/>
                  </a:cubicBezTo>
                  <a:cubicBezTo>
                    <a:pt x="124" y="234"/>
                    <a:pt x="87" y="243"/>
                    <a:pt x="61" y="268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86" y="413"/>
                    <a:pt x="86" y="413"/>
                    <a:pt x="86" y="413"/>
                  </a:cubicBezTo>
                  <a:lnTo>
                    <a:pt x="110" y="3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35" name="Groupe 134">
            <a:extLst>
              <a:ext uri="{FF2B5EF4-FFF2-40B4-BE49-F238E27FC236}">
                <a16:creationId xmlns:a16="http://schemas.microsoft.com/office/drawing/2014/main" xmlns="" id="{CBE82928-46C2-4C51-9B3A-BC415D59E084}"/>
              </a:ext>
            </a:extLst>
          </p:cNvPr>
          <p:cNvGrpSpPr/>
          <p:nvPr/>
        </p:nvGrpSpPr>
        <p:grpSpPr>
          <a:xfrm>
            <a:off x="2758357" y="5086214"/>
            <a:ext cx="529550" cy="529613"/>
            <a:chOff x="2758357" y="5086214"/>
            <a:chExt cx="529550" cy="529613"/>
          </a:xfrm>
        </p:grpSpPr>
        <p:sp>
          <p:nvSpPr>
            <p:cNvPr id="370" name="Ellipse 369"/>
            <p:cNvSpPr/>
            <p:nvPr/>
          </p:nvSpPr>
          <p:spPr bwMode="gray">
            <a:xfrm>
              <a:off x="2758357" y="5086214"/>
              <a:ext cx="529550" cy="529613"/>
            </a:xfrm>
            <a:prstGeom prst="ellips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9" name="Freeform 5">
              <a:extLst>
                <a:ext uri="{FF2B5EF4-FFF2-40B4-BE49-F238E27FC236}">
                  <a16:creationId xmlns:a16="http://schemas.microsoft.com/office/drawing/2014/main" xmlns="" id="{36715E7E-715E-498F-B011-C8590CAB7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7764" y="5181743"/>
              <a:ext cx="210737" cy="338554"/>
            </a:xfrm>
            <a:custGeom>
              <a:avLst/>
              <a:gdLst>
                <a:gd name="T0" fmla="*/ 178 w 221"/>
                <a:gd name="T1" fmla="*/ 34 h 357"/>
                <a:gd name="T2" fmla="*/ 153 w 221"/>
                <a:gd name="T3" fmla="*/ 34 h 357"/>
                <a:gd name="T4" fmla="*/ 153 w 221"/>
                <a:gd name="T5" fmla="*/ 9 h 357"/>
                <a:gd name="T6" fmla="*/ 144 w 221"/>
                <a:gd name="T7" fmla="*/ 0 h 357"/>
                <a:gd name="T8" fmla="*/ 76 w 221"/>
                <a:gd name="T9" fmla="*/ 0 h 357"/>
                <a:gd name="T10" fmla="*/ 68 w 221"/>
                <a:gd name="T11" fmla="*/ 9 h 357"/>
                <a:gd name="T12" fmla="*/ 68 w 221"/>
                <a:gd name="T13" fmla="*/ 34 h 357"/>
                <a:gd name="T14" fmla="*/ 42 w 221"/>
                <a:gd name="T15" fmla="*/ 34 h 357"/>
                <a:gd name="T16" fmla="*/ 0 w 221"/>
                <a:gd name="T17" fmla="*/ 77 h 357"/>
                <a:gd name="T18" fmla="*/ 0 w 221"/>
                <a:gd name="T19" fmla="*/ 315 h 357"/>
                <a:gd name="T20" fmla="*/ 42 w 221"/>
                <a:gd name="T21" fmla="*/ 357 h 357"/>
                <a:gd name="T22" fmla="*/ 178 w 221"/>
                <a:gd name="T23" fmla="*/ 357 h 357"/>
                <a:gd name="T24" fmla="*/ 221 w 221"/>
                <a:gd name="T25" fmla="*/ 315 h 357"/>
                <a:gd name="T26" fmla="*/ 221 w 221"/>
                <a:gd name="T27" fmla="*/ 77 h 357"/>
                <a:gd name="T28" fmla="*/ 178 w 221"/>
                <a:gd name="T29" fmla="*/ 34 h 357"/>
                <a:gd name="T30" fmla="*/ 169 w 221"/>
                <a:gd name="T31" fmla="*/ 182 h 357"/>
                <a:gd name="T32" fmla="*/ 118 w 221"/>
                <a:gd name="T33" fmla="*/ 301 h 357"/>
                <a:gd name="T34" fmla="*/ 110 w 221"/>
                <a:gd name="T35" fmla="*/ 306 h 357"/>
                <a:gd name="T36" fmla="*/ 109 w 221"/>
                <a:gd name="T37" fmla="*/ 306 h 357"/>
                <a:gd name="T38" fmla="*/ 102 w 221"/>
                <a:gd name="T39" fmla="*/ 298 h 357"/>
                <a:gd name="T40" fmla="*/ 102 w 221"/>
                <a:gd name="T41" fmla="*/ 221 h 357"/>
                <a:gd name="T42" fmla="*/ 59 w 221"/>
                <a:gd name="T43" fmla="*/ 221 h 357"/>
                <a:gd name="T44" fmla="*/ 52 w 221"/>
                <a:gd name="T45" fmla="*/ 217 h 357"/>
                <a:gd name="T46" fmla="*/ 52 w 221"/>
                <a:gd name="T47" fmla="*/ 209 h 357"/>
                <a:gd name="T48" fmla="*/ 103 w 221"/>
                <a:gd name="T49" fmla="*/ 90 h 357"/>
                <a:gd name="T50" fmla="*/ 112 w 221"/>
                <a:gd name="T51" fmla="*/ 85 h 357"/>
                <a:gd name="T52" fmla="*/ 119 w 221"/>
                <a:gd name="T53" fmla="*/ 94 h 357"/>
                <a:gd name="T54" fmla="*/ 119 w 221"/>
                <a:gd name="T55" fmla="*/ 170 h 357"/>
                <a:gd name="T56" fmla="*/ 161 w 221"/>
                <a:gd name="T57" fmla="*/ 170 h 357"/>
                <a:gd name="T58" fmla="*/ 168 w 221"/>
                <a:gd name="T59" fmla="*/ 174 h 357"/>
                <a:gd name="T60" fmla="*/ 169 w 221"/>
                <a:gd name="T61" fmla="*/ 18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1" h="357">
                  <a:moveTo>
                    <a:pt x="178" y="34"/>
                  </a:moveTo>
                  <a:cubicBezTo>
                    <a:pt x="153" y="34"/>
                    <a:pt x="153" y="34"/>
                    <a:pt x="153" y="34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3" y="4"/>
                    <a:pt x="149" y="0"/>
                    <a:pt x="14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0"/>
                    <a:pt x="68" y="4"/>
                    <a:pt x="68" y="9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19" y="34"/>
                    <a:pt x="0" y="53"/>
                    <a:pt x="0" y="77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338"/>
                    <a:pt x="19" y="357"/>
                    <a:pt x="42" y="357"/>
                  </a:cubicBezTo>
                  <a:cubicBezTo>
                    <a:pt x="178" y="357"/>
                    <a:pt x="178" y="357"/>
                    <a:pt x="178" y="357"/>
                  </a:cubicBezTo>
                  <a:cubicBezTo>
                    <a:pt x="202" y="357"/>
                    <a:pt x="221" y="338"/>
                    <a:pt x="221" y="315"/>
                  </a:cubicBezTo>
                  <a:cubicBezTo>
                    <a:pt x="221" y="77"/>
                    <a:pt x="221" y="77"/>
                    <a:pt x="221" y="77"/>
                  </a:cubicBezTo>
                  <a:cubicBezTo>
                    <a:pt x="221" y="53"/>
                    <a:pt x="202" y="34"/>
                    <a:pt x="178" y="34"/>
                  </a:cubicBezTo>
                  <a:close/>
                  <a:moveTo>
                    <a:pt x="169" y="182"/>
                  </a:moveTo>
                  <a:cubicBezTo>
                    <a:pt x="118" y="301"/>
                    <a:pt x="118" y="301"/>
                    <a:pt x="118" y="301"/>
                  </a:cubicBezTo>
                  <a:cubicBezTo>
                    <a:pt x="117" y="304"/>
                    <a:pt x="114" y="306"/>
                    <a:pt x="110" y="306"/>
                  </a:cubicBezTo>
                  <a:cubicBezTo>
                    <a:pt x="110" y="306"/>
                    <a:pt x="109" y="306"/>
                    <a:pt x="109" y="306"/>
                  </a:cubicBezTo>
                  <a:cubicBezTo>
                    <a:pt x="105" y="305"/>
                    <a:pt x="102" y="302"/>
                    <a:pt x="102" y="298"/>
                  </a:cubicBezTo>
                  <a:cubicBezTo>
                    <a:pt x="102" y="221"/>
                    <a:pt x="102" y="221"/>
                    <a:pt x="102" y="221"/>
                  </a:cubicBezTo>
                  <a:cubicBezTo>
                    <a:pt x="59" y="221"/>
                    <a:pt x="59" y="221"/>
                    <a:pt x="59" y="221"/>
                  </a:cubicBezTo>
                  <a:cubicBezTo>
                    <a:pt x="57" y="221"/>
                    <a:pt x="54" y="220"/>
                    <a:pt x="52" y="217"/>
                  </a:cubicBezTo>
                  <a:cubicBezTo>
                    <a:pt x="51" y="215"/>
                    <a:pt x="51" y="212"/>
                    <a:pt x="52" y="209"/>
                  </a:cubicBezTo>
                  <a:cubicBezTo>
                    <a:pt x="103" y="90"/>
                    <a:pt x="103" y="90"/>
                    <a:pt x="103" y="90"/>
                  </a:cubicBezTo>
                  <a:cubicBezTo>
                    <a:pt x="104" y="87"/>
                    <a:pt x="108" y="85"/>
                    <a:pt x="112" y="85"/>
                  </a:cubicBezTo>
                  <a:cubicBezTo>
                    <a:pt x="116" y="86"/>
                    <a:pt x="119" y="90"/>
                    <a:pt x="119" y="94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61" y="170"/>
                    <a:pt x="161" y="170"/>
                    <a:pt x="161" y="170"/>
                  </a:cubicBezTo>
                  <a:cubicBezTo>
                    <a:pt x="164" y="170"/>
                    <a:pt x="167" y="172"/>
                    <a:pt x="168" y="174"/>
                  </a:cubicBezTo>
                  <a:cubicBezTo>
                    <a:pt x="170" y="176"/>
                    <a:pt x="170" y="179"/>
                    <a:pt x="169" y="1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83" name="Groupe 782">
            <a:extLst>
              <a:ext uri="{FF2B5EF4-FFF2-40B4-BE49-F238E27FC236}">
                <a16:creationId xmlns:a16="http://schemas.microsoft.com/office/drawing/2014/main" xmlns="" id="{6FE3BC1E-210F-4724-852A-2272B03D3379}"/>
              </a:ext>
            </a:extLst>
          </p:cNvPr>
          <p:cNvGrpSpPr/>
          <p:nvPr/>
        </p:nvGrpSpPr>
        <p:grpSpPr>
          <a:xfrm>
            <a:off x="3963195" y="5202273"/>
            <a:ext cx="241013" cy="274499"/>
            <a:chOff x="4139853" y="-338661"/>
            <a:chExt cx="104169" cy="118642"/>
          </a:xfrm>
        </p:grpSpPr>
        <p:sp>
          <p:nvSpPr>
            <p:cNvPr id="784" name="Rectangle à coins arrondis 35">
              <a:extLst>
                <a:ext uri="{FF2B5EF4-FFF2-40B4-BE49-F238E27FC236}">
                  <a16:creationId xmlns:a16="http://schemas.microsoft.com/office/drawing/2014/main" xmlns="" id="{39B240B4-0DE3-4ED0-8B9F-C39DE02AE56A}"/>
                </a:ext>
              </a:extLst>
            </p:cNvPr>
            <p:cNvSpPr/>
            <p:nvPr/>
          </p:nvSpPr>
          <p:spPr>
            <a:xfrm rot="18900000">
              <a:off x="4139853" y="-254297"/>
              <a:ext cx="104169" cy="34278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85" name="Rectangle à coins arrondis 36">
              <a:extLst>
                <a:ext uri="{FF2B5EF4-FFF2-40B4-BE49-F238E27FC236}">
                  <a16:creationId xmlns:a16="http://schemas.microsoft.com/office/drawing/2014/main" xmlns="" id="{A61A7DCA-1374-4930-8566-91FA791EDDAA}"/>
                </a:ext>
              </a:extLst>
            </p:cNvPr>
            <p:cNvSpPr/>
            <p:nvPr/>
          </p:nvSpPr>
          <p:spPr>
            <a:xfrm rot="2700000">
              <a:off x="4139853" y="-303716"/>
              <a:ext cx="104168" cy="34278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51592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299" cy="863377"/>
          </a:xfrm>
        </p:spPr>
        <p:txBody>
          <a:bodyPr/>
          <a:lstStyle/>
          <a:p>
            <a:r>
              <a:rPr lang="fr-FR" dirty="0"/>
              <a:t>USEFUL SYMBOLS (4/5)</a:t>
            </a:r>
          </a:p>
        </p:txBody>
      </p:sp>
      <p:sp>
        <p:nvSpPr>
          <p:cNvPr id="163" name="Espace réservé de la date 16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65" name="Espace réservé du pied de page 1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64" name="Espace réservé du numéro de diapositive 1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4</a:t>
            </a:fld>
            <a:endParaRPr lang="fr-FR" dirty="0"/>
          </a:p>
        </p:txBody>
      </p:sp>
      <p:grpSp>
        <p:nvGrpSpPr>
          <p:cNvPr id="287" name="Group 4">
            <a:extLst>
              <a:ext uri="{FF2B5EF4-FFF2-40B4-BE49-F238E27FC236}">
                <a16:creationId xmlns:a16="http://schemas.microsoft.com/office/drawing/2014/main" xmlns="" id="{4FC0C920-093F-41DC-88C9-A5FC645750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13523" y="2939061"/>
            <a:ext cx="311296" cy="306995"/>
            <a:chOff x="2481" y="1228"/>
            <a:chExt cx="796" cy="785"/>
          </a:xfrm>
          <a:solidFill>
            <a:schemeClr val="bg1"/>
          </a:solidFill>
        </p:grpSpPr>
        <p:sp>
          <p:nvSpPr>
            <p:cNvPr id="291" name="Freeform 5">
              <a:extLst>
                <a:ext uri="{FF2B5EF4-FFF2-40B4-BE49-F238E27FC236}">
                  <a16:creationId xmlns:a16="http://schemas.microsoft.com/office/drawing/2014/main" xmlns="" id="{379DC9BF-93D7-4A35-ACC7-33EAC68E9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1238"/>
              <a:ext cx="135" cy="228"/>
            </a:xfrm>
            <a:custGeom>
              <a:avLst/>
              <a:gdLst>
                <a:gd name="T0" fmla="*/ 26 w 65"/>
                <a:gd name="T1" fmla="*/ 108 h 110"/>
                <a:gd name="T2" fmla="*/ 61 w 65"/>
                <a:gd name="T3" fmla="*/ 71 h 110"/>
                <a:gd name="T4" fmla="*/ 46 w 65"/>
                <a:gd name="T5" fmla="*/ 0 h 110"/>
                <a:gd name="T6" fmla="*/ 4 w 65"/>
                <a:gd name="T7" fmla="*/ 62 h 110"/>
                <a:gd name="T8" fmla="*/ 26 w 65"/>
                <a:gd name="T9" fmla="*/ 10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10">
                  <a:moveTo>
                    <a:pt x="26" y="108"/>
                  </a:moveTo>
                  <a:cubicBezTo>
                    <a:pt x="42" y="110"/>
                    <a:pt x="57" y="97"/>
                    <a:pt x="61" y="71"/>
                  </a:cubicBezTo>
                  <a:cubicBezTo>
                    <a:pt x="65" y="45"/>
                    <a:pt x="47" y="0"/>
                    <a:pt x="46" y="0"/>
                  </a:cubicBezTo>
                  <a:cubicBezTo>
                    <a:pt x="45" y="0"/>
                    <a:pt x="8" y="36"/>
                    <a:pt x="4" y="62"/>
                  </a:cubicBezTo>
                  <a:cubicBezTo>
                    <a:pt x="0" y="89"/>
                    <a:pt x="11" y="106"/>
                    <a:pt x="2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4" name="Freeform 6">
              <a:extLst>
                <a:ext uri="{FF2B5EF4-FFF2-40B4-BE49-F238E27FC236}">
                  <a16:creationId xmlns:a16="http://schemas.microsoft.com/office/drawing/2014/main" xmlns="" id="{C3D4F8D4-020F-42ED-B2B5-8F38A22EB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" y="1342"/>
              <a:ext cx="130" cy="252"/>
            </a:xfrm>
            <a:custGeom>
              <a:avLst/>
              <a:gdLst>
                <a:gd name="T0" fmla="*/ 63 w 63"/>
                <a:gd name="T1" fmla="*/ 75 h 122"/>
                <a:gd name="T2" fmla="*/ 35 w 63"/>
                <a:gd name="T3" fmla="*/ 0 h 122"/>
                <a:gd name="T4" fmla="*/ 0 w 63"/>
                <a:gd name="T5" fmla="*/ 75 h 122"/>
                <a:gd name="T6" fmla="*/ 31 w 63"/>
                <a:gd name="T7" fmla="*/ 122 h 122"/>
                <a:gd name="T8" fmla="*/ 63 w 63"/>
                <a:gd name="T9" fmla="*/ 7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22">
                  <a:moveTo>
                    <a:pt x="63" y="75"/>
                  </a:moveTo>
                  <a:cubicBezTo>
                    <a:pt x="63" y="46"/>
                    <a:pt x="36" y="0"/>
                    <a:pt x="35" y="0"/>
                  </a:cubicBezTo>
                  <a:cubicBezTo>
                    <a:pt x="33" y="0"/>
                    <a:pt x="0" y="46"/>
                    <a:pt x="0" y="75"/>
                  </a:cubicBezTo>
                  <a:cubicBezTo>
                    <a:pt x="0" y="105"/>
                    <a:pt x="14" y="122"/>
                    <a:pt x="31" y="122"/>
                  </a:cubicBezTo>
                  <a:cubicBezTo>
                    <a:pt x="49" y="122"/>
                    <a:pt x="63" y="105"/>
                    <a:pt x="6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6" name="Freeform 7">
              <a:extLst>
                <a:ext uri="{FF2B5EF4-FFF2-40B4-BE49-F238E27FC236}">
                  <a16:creationId xmlns:a16="http://schemas.microsoft.com/office/drawing/2014/main" xmlns="" id="{AFF3778F-E934-4BF9-8713-4D2EEAEE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" y="1453"/>
              <a:ext cx="132" cy="252"/>
            </a:xfrm>
            <a:custGeom>
              <a:avLst/>
              <a:gdLst>
                <a:gd name="T0" fmla="*/ 36 w 64"/>
                <a:gd name="T1" fmla="*/ 0 h 122"/>
                <a:gd name="T2" fmla="*/ 0 w 64"/>
                <a:gd name="T3" fmla="*/ 75 h 122"/>
                <a:gd name="T4" fmla="*/ 32 w 64"/>
                <a:gd name="T5" fmla="*/ 122 h 122"/>
                <a:gd name="T6" fmla="*/ 64 w 64"/>
                <a:gd name="T7" fmla="*/ 75 h 122"/>
                <a:gd name="T8" fmla="*/ 36 w 64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22">
                  <a:moveTo>
                    <a:pt x="36" y="0"/>
                  </a:moveTo>
                  <a:cubicBezTo>
                    <a:pt x="34" y="0"/>
                    <a:pt x="0" y="46"/>
                    <a:pt x="0" y="75"/>
                  </a:cubicBezTo>
                  <a:cubicBezTo>
                    <a:pt x="0" y="105"/>
                    <a:pt x="15" y="122"/>
                    <a:pt x="32" y="122"/>
                  </a:cubicBezTo>
                  <a:cubicBezTo>
                    <a:pt x="50" y="122"/>
                    <a:pt x="64" y="105"/>
                    <a:pt x="64" y="75"/>
                  </a:cubicBezTo>
                  <a:cubicBezTo>
                    <a:pt x="64" y="46"/>
                    <a:pt x="37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1" name="Freeform 8">
              <a:extLst>
                <a:ext uri="{FF2B5EF4-FFF2-40B4-BE49-F238E27FC236}">
                  <a16:creationId xmlns:a16="http://schemas.microsoft.com/office/drawing/2014/main" xmlns="" id="{D0A5AAD3-686D-4E63-AF9C-13B6753F9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20"/>
              <a:ext cx="229" cy="132"/>
            </a:xfrm>
            <a:custGeom>
              <a:avLst/>
              <a:gdLst>
                <a:gd name="T0" fmla="*/ 40 w 111"/>
                <a:gd name="T1" fmla="*/ 4 h 64"/>
                <a:gd name="T2" fmla="*/ 2 w 111"/>
                <a:gd name="T3" fmla="*/ 38 h 64"/>
                <a:gd name="T4" fmla="*/ 48 w 111"/>
                <a:gd name="T5" fmla="*/ 60 h 64"/>
                <a:gd name="T6" fmla="*/ 110 w 111"/>
                <a:gd name="T7" fmla="*/ 19 h 64"/>
                <a:gd name="T8" fmla="*/ 40 w 111"/>
                <a:gd name="T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64">
                  <a:moveTo>
                    <a:pt x="40" y="4"/>
                  </a:moveTo>
                  <a:cubicBezTo>
                    <a:pt x="13" y="8"/>
                    <a:pt x="0" y="22"/>
                    <a:pt x="2" y="38"/>
                  </a:cubicBezTo>
                  <a:cubicBezTo>
                    <a:pt x="5" y="54"/>
                    <a:pt x="21" y="64"/>
                    <a:pt x="48" y="60"/>
                  </a:cubicBezTo>
                  <a:cubicBezTo>
                    <a:pt x="74" y="57"/>
                    <a:pt x="111" y="21"/>
                    <a:pt x="110" y="19"/>
                  </a:cubicBezTo>
                  <a:cubicBezTo>
                    <a:pt x="110" y="18"/>
                    <a:pt x="66" y="0"/>
                    <a:pt x="4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4" name="Freeform 9">
              <a:extLst>
                <a:ext uri="{FF2B5EF4-FFF2-40B4-BE49-F238E27FC236}">
                  <a16:creationId xmlns:a16="http://schemas.microsoft.com/office/drawing/2014/main" xmlns="" id="{F3AD7987-5534-4D50-ACAA-1814695E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5" y="1561"/>
              <a:ext cx="252" cy="130"/>
            </a:xfrm>
            <a:custGeom>
              <a:avLst/>
              <a:gdLst>
                <a:gd name="T0" fmla="*/ 47 w 122"/>
                <a:gd name="T1" fmla="*/ 63 h 63"/>
                <a:gd name="T2" fmla="*/ 122 w 122"/>
                <a:gd name="T3" fmla="*/ 28 h 63"/>
                <a:gd name="T4" fmla="*/ 47 w 122"/>
                <a:gd name="T5" fmla="*/ 0 h 63"/>
                <a:gd name="T6" fmla="*/ 0 w 122"/>
                <a:gd name="T7" fmla="*/ 31 h 63"/>
                <a:gd name="T8" fmla="*/ 47 w 12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3">
                  <a:moveTo>
                    <a:pt x="47" y="63"/>
                  </a:moveTo>
                  <a:cubicBezTo>
                    <a:pt x="76" y="63"/>
                    <a:pt x="122" y="29"/>
                    <a:pt x="122" y="28"/>
                  </a:cubicBezTo>
                  <a:cubicBezTo>
                    <a:pt x="122" y="27"/>
                    <a:pt x="76" y="0"/>
                    <a:pt x="47" y="0"/>
                  </a:cubicBezTo>
                  <a:cubicBezTo>
                    <a:pt x="17" y="0"/>
                    <a:pt x="0" y="14"/>
                    <a:pt x="0" y="31"/>
                  </a:cubicBezTo>
                  <a:cubicBezTo>
                    <a:pt x="0" y="49"/>
                    <a:pt x="17" y="63"/>
                    <a:pt x="47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7" name="Freeform 10">
              <a:extLst>
                <a:ext uri="{FF2B5EF4-FFF2-40B4-BE49-F238E27FC236}">
                  <a16:creationId xmlns:a16="http://schemas.microsoft.com/office/drawing/2014/main" xmlns="" id="{51726C13-5648-467E-A2CD-34DB4DAED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" y="1699"/>
              <a:ext cx="252" cy="130"/>
            </a:xfrm>
            <a:custGeom>
              <a:avLst/>
              <a:gdLst>
                <a:gd name="T0" fmla="*/ 122 w 122"/>
                <a:gd name="T1" fmla="*/ 28 h 63"/>
                <a:gd name="T2" fmla="*/ 46 w 122"/>
                <a:gd name="T3" fmla="*/ 0 h 63"/>
                <a:gd name="T4" fmla="*/ 0 w 122"/>
                <a:gd name="T5" fmla="*/ 32 h 63"/>
                <a:gd name="T6" fmla="*/ 46 w 122"/>
                <a:gd name="T7" fmla="*/ 63 h 63"/>
                <a:gd name="T8" fmla="*/ 122 w 122"/>
                <a:gd name="T9" fmla="*/ 2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3">
                  <a:moveTo>
                    <a:pt x="122" y="28"/>
                  </a:moveTo>
                  <a:cubicBezTo>
                    <a:pt x="122" y="27"/>
                    <a:pt x="76" y="0"/>
                    <a:pt x="46" y="0"/>
                  </a:cubicBezTo>
                  <a:cubicBezTo>
                    <a:pt x="17" y="0"/>
                    <a:pt x="0" y="14"/>
                    <a:pt x="0" y="32"/>
                  </a:cubicBezTo>
                  <a:cubicBezTo>
                    <a:pt x="0" y="49"/>
                    <a:pt x="17" y="63"/>
                    <a:pt x="46" y="63"/>
                  </a:cubicBezTo>
                  <a:cubicBezTo>
                    <a:pt x="76" y="63"/>
                    <a:pt x="122" y="29"/>
                    <a:pt x="12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0" name="Freeform 11">
              <a:extLst>
                <a:ext uri="{FF2B5EF4-FFF2-40B4-BE49-F238E27FC236}">
                  <a16:creationId xmlns:a16="http://schemas.microsoft.com/office/drawing/2014/main" xmlns="" id="{AAE53AFF-0295-4A7F-8EF2-2B4D5D455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" y="1228"/>
              <a:ext cx="182" cy="171"/>
            </a:xfrm>
            <a:custGeom>
              <a:avLst/>
              <a:gdLst>
                <a:gd name="T0" fmla="*/ 11 w 88"/>
                <a:gd name="T1" fmla="*/ 72 h 83"/>
                <a:gd name="T2" fmla="*/ 58 w 88"/>
                <a:gd name="T3" fmla="*/ 63 h 83"/>
                <a:gd name="T4" fmla="*/ 87 w 88"/>
                <a:gd name="T5" fmla="*/ 1 h 83"/>
                <a:gd name="T6" fmla="*/ 20 w 88"/>
                <a:gd name="T7" fmla="*/ 25 h 83"/>
                <a:gd name="T8" fmla="*/ 11 w 88"/>
                <a:gd name="T9" fmla="*/ 7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3">
                  <a:moveTo>
                    <a:pt x="11" y="72"/>
                  </a:moveTo>
                  <a:cubicBezTo>
                    <a:pt x="22" y="83"/>
                    <a:pt x="40" y="81"/>
                    <a:pt x="58" y="63"/>
                  </a:cubicBezTo>
                  <a:cubicBezTo>
                    <a:pt x="76" y="46"/>
                    <a:pt x="88" y="2"/>
                    <a:pt x="87" y="1"/>
                  </a:cubicBezTo>
                  <a:cubicBezTo>
                    <a:pt x="86" y="0"/>
                    <a:pt x="38" y="7"/>
                    <a:pt x="20" y="25"/>
                  </a:cubicBezTo>
                  <a:cubicBezTo>
                    <a:pt x="2" y="43"/>
                    <a:pt x="0" y="62"/>
                    <a:pt x="1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2" name="Freeform 12">
              <a:extLst>
                <a:ext uri="{FF2B5EF4-FFF2-40B4-BE49-F238E27FC236}">
                  <a16:creationId xmlns:a16="http://schemas.microsoft.com/office/drawing/2014/main" xmlns="" id="{2213BAA3-BCEA-403B-9313-A5859491F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1" y="1720"/>
              <a:ext cx="296" cy="293"/>
            </a:xfrm>
            <a:custGeom>
              <a:avLst/>
              <a:gdLst>
                <a:gd name="T0" fmla="*/ 136 w 143"/>
                <a:gd name="T1" fmla="*/ 0 h 142"/>
                <a:gd name="T2" fmla="*/ 135 w 143"/>
                <a:gd name="T3" fmla="*/ 0 h 142"/>
                <a:gd name="T4" fmla="*/ 1 w 143"/>
                <a:gd name="T5" fmla="*/ 127 h 142"/>
                <a:gd name="T6" fmla="*/ 5 w 143"/>
                <a:gd name="T7" fmla="*/ 137 h 142"/>
                <a:gd name="T8" fmla="*/ 15 w 143"/>
                <a:gd name="T9" fmla="*/ 141 h 142"/>
                <a:gd name="T10" fmla="*/ 75 w 143"/>
                <a:gd name="T11" fmla="*/ 78 h 142"/>
                <a:gd name="T12" fmla="*/ 142 w 143"/>
                <a:gd name="T13" fmla="*/ 8 h 142"/>
                <a:gd name="T14" fmla="*/ 140 w 143"/>
                <a:gd name="T15" fmla="*/ 3 h 142"/>
                <a:gd name="T16" fmla="*/ 136 w 143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142">
                  <a:moveTo>
                    <a:pt x="136" y="0"/>
                  </a:moveTo>
                  <a:cubicBezTo>
                    <a:pt x="136" y="0"/>
                    <a:pt x="135" y="0"/>
                    <a:pt x="135" y="0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0" y="128"/>
                    <a:pt x="1" y="133"/>
                    <a:pt x="5" y="137"/>
                  </a:cubicBezTo>
                  <a:cubicBezTo>
                    <a:pt x="9" y="141"/>
                    <a:pt x="14" y="142"/>
                    <a:pt x="15" y="141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3" y="7"/>
                    <a:pt x="142" y="5"/>
                    <a:pt x="140" y="3"/>
                  </a:cubicBezTo>
                  <a:cubicBezTo>
                    <a:pt x="138" y="1"/>
                    <a:pt x="137" y="1"/>
                    <a:pt x="1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50" name="Group 76">
            <a:extLst>
              <a:ext uri="{FF2B5EF4-FFF2-40B4-BE49-F238E27FC236}">
                <a16:creationId xmlns:a16="http://schemas.microsoft.com/office/drawing/2014/main" xmlns="" id="{16ABE1D5-FB15-4481-B0F3-EFD0C1808B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1885" y="1709872"/>
            <a:ext cx="480862" cy="457538"/>
            <a:chOff x="2048" y="842"/>
            <a:chExt cx="1670" cy="1589"/>
          </a:xfrm>
        </p:grpSpPr>
        <p:sp>
          <p:nvSpPr>
            <p:cNvPr id="451" name="Oval 77">
              <a:extLst>
                <a:ext uri="{FF2B5EF4-FFF2-40B4-BE49-F238E27FC236}">
                  <a16:creationId xmlns:a16="http://schemas.microsoft.com/office/drawing/2014/main" xmlns="" id="{94BA0CBA-2483-4BCE-9803-2532154799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" y="1620"/>
              <a:ext cx="402" cy="404"/>
            </a:xfrm>
            <a:prstGeom prst="ellipse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2" name="Freeform 78">
              <a:extLst>
                <a:ext uri="{FF2B5EF4-FFF2-40B4-BE49-F238E27FC236}">
                  <a16:creationId xmlns:a16="http://schemas.microsoft.com/office/drawing/2014/main" xmlns="" id="{8B233F24-791A-411C-AEF4-2C3191FCF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842"/>
              <a:ext cx="438" cy="873"/>
            </a:xfrm>
            <a:custGeom>
              <a:avLst/>
              <a:gdLst>
                <a:gd name="T0" fmla="*/ 185 w 209"/>
                <a:gd name="T1" fmla="*/ 415 h 415"/>
                <a:gd name="T2" fmla="*/ 106 w 209"/>
                <a:gd name="T3" fmla="*/ 0 h 415"/>
                <a:gd name="T4" fmla="*/ 106 w 209"/>
                <a:gd name="T5" fmla="*/ 0 h 415"/>
                <a:gd name="T6" fmla="*/ 24 w 209"/>
                <a:gd name="T7" fmla="*/ 41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9" h="415">
                  <a:moveTo>
                    <a:pt x="185" y="415"/>
                  </a:moveTo>
                  <a:cubicBezTo>
                    <a:pt x="209" y="165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0" y="164"/>
                    <a:pt x="24" y="414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3" name="Freeform 79">
              <a:extLst>
                <a:ext uri="{FF2B5EF4-FFF2-40B4-BE49-F238E27FC236}">
                  <a16:creationId xmlns:a16="http://schemas.microsoft.com/office/drawing/2014/main" xmlns="" id="{B1200BFF-F7DD-4B1F-A75A-615A923EC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" y="1717"/>
              <a:ext cx="799" cy="595"/>
            </a:xfrm>
            <a:custGeom>
              <a:avLst/>
              <a:gdLst>
                <a:gd name="T0" fmla="*/ 316 w 381"/>
                <a:gd name="T1" fmla="*/ 0 h 283"/>
                <a:gd name="T2" fmla="*/ 0 w 381"/>
                <a:gd name="T3" fmla="*/ 279 h 283"/>
                <a:gd name="T4" fmla="*/ 0 w 381"/>
                <a:gd name="T5" fmla="*/ 279 h 283"/>
                <a:gd name="T6" fmla="*/ 381 w 381"/>
                <a:gd name="T7" fmla="*/ 146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1" h="283">
                  <a:moveTo>
                    <a:pt x="316" y="0"/>
                  </a:moveTo>
                  <a:cubicBezTo>
                    <a:pt x="89" y="107"/>
                    <a:pt x="0" y="279"/>
                    <a:pt x="0" y="279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79"/>
                    <a:pt x="184" y="283"/>
                    <a:pt x="381" y="146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4" name="Freeform 80">
              <a:extLst>
                <a:ext uri="{FF2B5EF4-FFF2-40B4-BE49-F238E27FC236}">
                  <a16:creationId xmlns:a16="http://schemas.microsoft.com/office/drawing/2014/main" xmlns="" id="{36B0698F-9831-41D8-9420-B7ACB803F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" y="1712"/>
              <a:ext cx="806" cy="600"/>
            </a:xfrm>
            <a:custGeom>
              <a:avLst/>
              <a:gdLst>
                <a:gd name="T0" fmla="*/ 64 w 384"/>
                <a:gd name="T1" fmla="*/ 0 h 285"/>
                <a:gd name="T2" fmla="*/ 384 w 384"/>
                <a:gd name="T3" fmla="*/ 281 h 285"/>
                <a:gd name="T4" fmla="*/ 384 w 384"/>
                <a:gd name="T5" fmla="*/ 281 h 285"/>
                <a:gd name="T6" fmla="*/ 0 w 384"/>
                <a:gd name="T7" fmla="*/ 146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4" h="285">
                  <a:moveTo>
                    <a:pt x="64" y="0"/>
                  </a:moveTo>
                  <a:cubicBezTo>
                    <a:pt x="291" y="107"/>
                    <a:pt x="384" y="281"/>
                    <a:pt x="384" y="281"/>
                  </a:cubicBezTo>
                  <a:cubicBezTo>
                    <a:pt x="384" y="281"/>
                    <a:pt x="384" y="281"/>
                    <a:pt x="384" y="281"/>
                  </a:cubicBezTo>
                  <a:cubicBezTo>
                    <a:pt x="384" y="281"/>
                    <a:pt x="198" y="285"/>
                    <a:pt x="0" y="146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5" name="Freeform 81">
              <a:extLst>
                <a:ext uri="{FF2B5EF4-FFF2-40B4-BE49-F238E27FC236}">
                  <a16:creationId xmlns:a16="http://schemas.microsoft.com/office/drawing/2014/main" xmlns="" id="{FE10A34D-44B3-4B75-8485-B8E79E0F5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" y="1347"/>
              <a:ext cx="279" cy="433"/>
            </a:xfrm>
            <a:custGeom>
              <a:avLst/>
              <a:gdLst>
                <a:gd name="T0" fmla="*/ 0 w 133"/>
                <a:gd name="T1" fmla="*/ 0 h 206"/>
                <a:gd name="T2" fmla="*/ 105 w 133"/>
                <a:gd name="T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3" h="206">
                  <a:moveTo>
                    <a:pt x="0" y="0"/>
                  </a:moveTo>
                  <a:cubicBezTo>
                    <a:pt x="86" y="28"/>
                    <a:pt x="133" y="120"/>
                    <a:pt x="105" y="206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6" name="Freeform 82">
              <a:extLst>
                <a:ext uri="{FF2B5EF4-FFF2-40B4-BE49-F238E27FC236}">
                  <a16:creationId xmlns:a16="http://schemas.microsoft.com/office/drawing/2014/main" xmlns="" id="{3622AC2A-35C4-4EA8-8D7F-59BEEBA3A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" y="1412"/>
              <a:ext cx="214" cy="330"/>
            </a:xfrm>
            <a:custGeom>
              <a:avLst/>
              <a:gdLst>
                <a:gd name="T0" fmla="*/ 0 w 102"/>
                <a:gd name="T1" fmla="*/ 0 h 157"/>
                <a:gd name="T2" fmla="*/ 80 w 102"/>
                <a:gd name="T3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2" h="157">
                  <a:moveTo>
                    <a:pt x="0" y="0"/>
                  </a:moveTo>
                  <a:cubicBezTo>
                    <a:pt x="66" y="21"/>
                    <a:pt x="102" y="92"/>
                    <a:pt x="80" y="157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7" name="Freeform 83">
              <a:extLst>
                <a:ext uri="{FF2B5EF4-FFF2-40B4-BE49-F238E27FC236}">
                  <a16:creationId xmlns:a16="http://schemas.microsoft.com/office/drawing/2014/main" xmlns="" id="{72C9139C-097C-4639-A9E9-D8792751D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1347"/>
              <a:ext cx="235" cy="462"/>
            </a:xfrm>
            <a:custGeom>
              <a:avLst/>
              <a:gdLst>
                <a:gd name="T0" fmla="*/ 41 w 112"/>
                <a:gd name="T1" fmla="*/ 220 h 220"/>
                <a:gd name="T2" fmla="*/ 112 w 112"/>
                <a:gd name="T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2" h="220">
                  <a:moveTo>
                    <a:pt x="41" y="220"/>
                  </a:moveTo>
                  <a:cubicBezTo>
                    <a:pt x="0" y="140"/>
                    <a:pt x="32" y="41"/>
                    <a:pt x="112" y="0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8" name="Freeform 84">
              <a:extLst>
                <a:ext uri="{FF2B5EF4-FFF2-40B4-BE49-F238E27FC236}">
                  <a16:creationId xmlns:a16="http://schemas.microsoft.com/office/drawing/2014/main" xmlns="" id="{3BC2709B-FAB9-4998-AA23-DF9840284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5" y="1427"/>
              <a:ext cx="180" cy="355"/>
            </a:xfrm>
            <a:custGeom>
              <a:avLst/>
              <a:gdLst>
                <a:gd name="T0" fmla="*/ 32 w 86"/>
                <a:gd name="T1" fmla="*/ 169 h 169"/>
                <a:gd name="T2" fmla="*/ 86 w 86"/>
                <a:gd name="T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6" h="169">
                  <a:moveTo>
                    <a:pt x="32" y="169"/>
                  </a:moveTo>
                  <a:cubicBezTo>
                    <a:pt x="0" y="107"/>
                    <a:pt x="25" y="31"/>
                    <a:pt x="86" y="0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9" name="Freeform 85">
              <a:extLst>
                <a:ext uri="{FF2B5EF4-FFF2-40B4-BE49-F238E27FC236}">
                  <a16:creationId xmlns:a16="http://schemas.microsoft.com/office/drawing/2014/main" xmlns="" id="{983A1010-FD09-47F5-B022-85FCCAA45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" y="2291"/>
              <a:ext cx="485" cy="140"/>
            </a:xfrm>
            <a:custGeom>
              <a:avLst/>
              <a:gdLst>
                <a:gd name="T0" fmla="*/ 231 w 231"/>
                <a:gd name="T1" fmla="*/ 4 h 67"/>
                <a:gd name="T2" fmla="*/ 0 w 231"/>
                <a:gd name="T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1" h="67">
                  <a:moveTo>
                    <a:pt x="231" y="4"/>
                  </a:moveTo>
                  <a:cubicBezTo>
                    <a:pt x="166" y="67"/>
                    <a:pt x="63" y="6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0" name="Freeform 86">
              <a:extLst>
                <a:ext uri="{FF2B5EF4-FFF2-40B4-BE49-F238E27FC236}">
                  <a16:creationId xmlns:a16="http://schemas.microsoft.com/office/drawing/2014/main" xmlns="" id="{31AA2C10-0986-4684-AEFF-6C016A02B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2242"/>
              <a:ext cx="371" cy="107"/>
            </a:xfrm>
            <a:custGeom>
              <a:avLst/>
              <a:gdLst>
                <a:gd name="T0" fmla="*/ 177 w 177"/>
                <a:gd name="T1" fmla="*/ 3 h 51"/>
                <a:gd name="T2" fmla="*/ 0 w 177"/>
                <a:gd name="T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7" h="51">
                  <a:moveTo>
                    <a:pt x="177" y="3"/>
                  </a:moveTo>
                  <a:cubicBezTo>
                    <a:pt x="128" y="51"/>
                    <a:pt x="48" y="5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61" name="Group 59">
            <a:extLst>
              <a:ext uri="{FF2B5EF4-FFF2-40B4-BE49-F238E27FC236}">
                <a16:creationId xmlns:a16="http://schemas.microsoft.com/office/drawing/2014/main" xmlns="" id="{EA829C51-2928-4876-8B0D-E46EA6A955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76129" y="1749767"/>
            <a:ext cx="525044" cy="377748"/>
            <a:chOff x="2394" y="1180"/>
            <a:chExt cx="442" cy="318"/>
          </a:xfrm>
        </p:grpSpPr>
        <p:sp>
          <p:nvSpPr>
            <p:cNvPr id="462" name="Freeform 60">
              <a:extLst>
                <a:ext uri="{FF2B5EF4-FFF2-40B4-BE49-F238E27FC236}">
                  <a16:creationId xmlns:a16="http://schemas.microsoft.com/office/drawing/2014/main" xmlns="" id="{B2FE5281-B915-4AF4-96CE-3D790F3E7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1180"/>
              <a:ext cx="442" cy="193"/>
            </a:xfrm>
            <a:custGeom>
              <a:avLst/>
              <a:gdLst>
                <a:gd name="T0" fmla="*/ 442 w 442"/>
                <a:gd name="T1" fmla="*/ 193 h 193"/>
                <a:gd name="T2" fmla="*/ 0 w 442"/>
                <a:gd name="T3" fmla="*/ 193 h 193"/>
                <a:gd name="T4" fmla="*/ 56 w 442"/>
                <a:gd name="T5" fmla="*/ 0 h 193"/>
                <a:gd name="T6" fmla="*/ 386 w 442"/>
                <a:gd name="T7" fmla="*/ 0 h 193"/>
                <a:gd name="T8" fmla="*/ 442 w 442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2" h="193">
                  <a:moveTo>
                    <a:pt x="442" y="193"/>
                  </a:moveTo>
                  <a:lnTo>
                    <a:pt x="0" y="193"/>
                  </a:lnTo>
                  <a:lnTo>
                    <a:pt x="56" y="0"/>
                  </a:lnTo>
                  <a:lnTo>
                    <a:pt x="386" y="0"/>
                  </a:lnTo>
                  <a:lnTo>
                    <a:pt x="442" y="193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3" name="Line 61">
              <a:extLst>
                <a:ext uri="{FF2B5EF4-FFF2-40B4-BE49-F238E27FC236}">
                  <a16:creationId xmlns:a16="http://schemas.microsoft.com/office/drawing/2014/main" xmlns="" id="{4B2DF99F-2BE7-445F-96C8-0B034B273C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07" y="1182"/>
              <a:ext cx="17" cy="193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4" name="Line 62">
              <a:extLst>
                <a:ext uri="{FF2B5EF4-FFF2-40B4-BE49-F238E27FC236}">
                  <a16:creationId xmlns:a16="http://schemas.microsoft.com/office/drawing/2014/main" xmlns="" id="{CD3834A4-F962-4C87-A10B-A84F46003C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7" y="1182"/>
              <a:ext cx="17" cy="193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5" name="Line 63">
              <a:extLst>
                <a:ext uri="{FF2B5EF4-FFF2-40B4-BE49-F238E27FC236}">
                  <a16:creationId xmlns:a16="http://schemas.microsoft.com/office/drawing/2014/main" xmlns="" id="{E11EF102-6817-4E32-AD73-2329C6A964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5" y="1182"/>
              <a:ext cx="0" cy="193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6" name="Line 64">
              <a:extLst>
                <a:ext uri="{FF2B5EF4-FFF2-40B4-BE49-F238E27FC236}">
                  <a16:creationId xmlns:a16="http://schemas.microsoft.com/office/drawing/2014/main" xmlns="" id="{B59EF20D-D3DB-41EA-9EC9-869183D251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0" y="1274"/>
              <a:ext cx="3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7" name="Line 65">
              <a:extLst>
                <a:ext uri="{FF2B5EF4-FFF2-40B4-BE49-F238E27FC236}">
                  <a16:creationId xmlns:a16="http://schemas.microsoft.com/office/drawing/2014/main" xmlns="" id="{F8F42048-D122-4935-B9B2-9FC56F5EE9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4" y="1228"/>
              <a:ext cx="360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8" name="Line 66">
              <a:extLst>
                <a:ext uri="{FF2B5EF4-FFF2-40B4-BE49-F238E27FC236}">
                  <a16:creationId xmlns:a16="http://schemas.microsoft.com/office/drawing/2014/main" xmlns="" id="{51F914D2-825E-43CD-A7F1-640D2879BD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7" y="1324"/>
              <a:ext cx="414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9" name="Freeform 67">
              <a:extLst>
                <a:ext uri="{FF2B5EF4-FFF2-40B4-BE49-F238E27FC236}">
                  <a16:creationId xmlns:a16="http://schemas.microsoft.com/office/drawing/2014/main" xmlns="" id="{3F2DEAB5-EB7B-4E51-822A-D67B45801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7" y="1373"/>
              <a:ext cx="195" cy="98"/>
            </a:xfrm>
            <a:custGeom>
              <a:avLst/>
              <a:gdLst>
                <a:gd name="T0" fmla="*/ 374 w 374"/>
                <a:gd name="T1" fmla="*/ 0 h 187"/>
                <a:gd name="T2" fmla="*/ 187 w 374"/>
                <a:gd name="T3" fmla="*/ 187 h 187"/>
                <a:gd name="T4" fmla="*/ 0 w 374"/>
                <a:gd name="T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4" h="187">
                  <a:moveTo>
                    <a:pt x="374" y="0"/>
                  </a:moveTo>
                  <a:cubicBezTo>
                    <a:pt x="374" y="103"/>
                    <a:pt x="291" y="187"/>
                    <a:pt x="187" y="187"/>
                  </a:cubicBezTo>
                  <a:cubicBezTo>
                    <a:pt x="84" y="187"/>
                    <a:pt x="0" y="103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0" name="Line 68">
              <a:extLst>
                <a:ext uri="{FF2B5EF4-FFF2-40B4-BE49-F238E27FC236}">
                  <a16:creationId xmlns:a16="http://schemas.microsoft.com/office/drawing/2014/main" xmlns="" id="{199EEABE-3C72-4629-9AE4-786401264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2" y="1498"/>
              <a:ext cx="145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1" name="Line 69">
              <a:extLst>
                <a:ext uri="{FF2B5EF4-FFF2-40B4-BE49-F238E27FC236}">
                  <a16:creationId xmlns:a16="http://schemas.microsoft.com/office/drawing/2014/main" xmlns="" id="{D0123EB4-A752-45C1-AE6D-B6A2DCE08A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4" y="1471"/>
              <a:ext cx="0" cy="27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201" name="Group 96">
            <a:extLst>
              <a:ext uri="{FF2B5EF4-FFF2-40B4-BE49-F238E27FC236}">
                <a16:creationId xmlns:a16="http://schemas.microsoft.com/office/drawing/2014/main" xmlns="" id="{6AC311DE-2C28-4B09-95C6-DEF592B7C0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3232" y="1604297"/>
            <a:ext cx="548237" cy="668688"/>
            <a:chOff x="-2210" y="328"/>
            <a:chExt cx="2121" cy="2587"/>
          </a:xfrm>
        </p:grpSpPr>
        <p:sp>
          <p:nvSpPr>
            <p:cNvPr id="202" name="Freeform 97">
              <a:extLst>
                <a:ext uri="{FF2B5EF4-FFF2-40B4-BE49-F238E27FC236}">
                  <a16:creationId xmlns:a16="http://schemas.microsoft.com/office/drawing/2014/main" xmlns="" id="{4071CD2A-110C-4753-B270-CF036334C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10" y="2256"/>
              <a:ext cx="2121" cy="659"/>
            </a:xfrm>
            <a:custGeom>
              <a:avLst/>
              <a:gdLst>
                <a:gd name="T0" fmla="*/ 333 w 2121"/>
                <a:gd name="T1" fmla="*/ 0 h 659"/>
                <a:gd name="T2" fmla="*/ 1787 w 2121"/>
                <a:gd name="T3" fmla="*/ 0 h 659"/>
                <a:gd name="T4" fmla="*/ 2121 w 2121"/>
                <a:gd name="T5" fmla="*/ 659 h 659"/>
                <a:gd name="T6" fmla="*/ 0 w 2121"/>
                <a:gd name="T7" fmla="*/ 659 h 659"/>
                <a:gd name="T8" fmla="*/ 333 w 2121"/>
                <a:gd name="T9" fmla="*/ 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1" h="659">
                  <a:moveTo>
                    <a:pt x="333" y="0"/>
                  </a:moveTo>
                  <a:lnTo>
                    <a:pt x="1787" y="0"/>
                  </a:lnTo>
                  <a:lnTo>
                    <a:pt x="2121" y="659"/>
                  </a:lnTo>
                  <a:lnTo>
                    <a:pt x="0" y="659"/>
                  </a:lnTo>
                  <a:lnTo>
                    <a:pt x="333" y="0"/>
                  </a:lnTo>
                  <a:close/>
                </a:path>
              </a:pathLst>
            </a:cu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3" name="Line 98">
              <a:extLst>
                <a:ext uri="{FF2B5EF4-FFF2-40B4-BE49-F238E27FC236}">
                  <a16:creationId xmlns:a16="http://schemas.microsoft.com/office/drawing/2014/main" xmlns="" id="{8999AD71-D333-46E8-BC38-7967A7BE49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030" y="2560"/>
              <a:ext cx="1763" cy="0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4" name="Line 99">
              <a:extLst>
                <a:ext uri="{FF2B5EF4-FFF2-40B4-BE49-F238E27FC236}">
                  <a16:creationId xmlns:a16="http://schemas.microsoft.com/office/drawing/2014/main" xmlns="" id="{F73F3E36-19C0-43E1-B500-5409AA367E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483" y="2256"/>
              <a:ext cx="115" cy="659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5" name="Line 100">
              <a:extLst>
                <a:ext uri="{FF2B5EF4-FFF2-40B4-BE49-F238E27FC236}">
                  <a16:creationId xmlns:a16="http://schemas.microsoft.com/office/drawing/2014/main" xmlns="" id="{30173C97-B249-4C78-AE12-E54D2E7B5D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90" y="2256"/>
              <a:ext cx="128" cy="659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6" name="Oval 101">
              <a:extLst>
                <a:ext uri="{FF2B5EF4-FFF2-40B4-BE49-F238E27FC236}">
                  <a16:creationId xmlns:a16="http://schemas.microsoft.com/office/drawing/2014/main" xmlns="" id="{80C3B91B-80B8-4593-9476-B77BCBB020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84" y="688"/>
              <a:ext cx="870" cy="873"/>
            </a:xfrm>
            <a:prstGeom prst="ellips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7" name="Line 102">
              <a:extLst>
                <a:ext uri="{FF2B5EF4-FFF2-40B4-BE49-F238E27FC236}">
                  <a16:creationId xmlns:a16="http://schemas.microsoft.com/office/drawing/2014/main" xmlns="" id="{3A5991DC-2FCA-4159-B205-B53CFF99F5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150" y="328"/>
              <a:ext cx="0" cy="199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8" name="Line 103">
              <a:extLst>
                <a:ext uri="{FF2B5EF4-FFF2-40B4-BE49-F238E27FC236}">
                  <a16:creationId xmlns:a16="http://schemas.microsoft.com/office/drawing/2014/main" xmlns="" id="{A424300B-6B0E-41ED-8786-FAC17FC7E3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150" y="1725"/>
              <a:ext cx="0" cy="197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09" name="Line 104">
              <a:extLst>
                <a:ext uri="{FF2B5EF4-FFF2-40B4-BE49-F238E27FC236}">
                  <a16:creationId xmlns:a16="http://schemas.microsoft.com/office/drawing/2014/main" xmlns="" id="{22FDA944-E8E7-4538-A0BE-9EC73D772C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726" y="563"/>
              <a:ext cx="140" cy="138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0" name="Line 105">
              <a:extLst>
                <a:ext uri="{FF2B5EF4-FFF2-40B4-BE49-F238E27FC236}">
                  <a16:creationId xmlns:a16="http://schemas.microsoft.com/office/drawing/2014/main" xmlns="" id="{CC202E42-F4C3-4907-A537-BE91F8F4A6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12" y="1549"/>
              <a:ext cx="139" cy="140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1" name="Line 106">
              <a:extLst>
                <a:ext uri="{FF2B5EF4-FFF2-40B4-BE49-F238E27FC236}">
                  <a16:creationId xmlns:a16="http://schemas.microsoft.com/office/drawing/2014/main" xmlns="" id="{F9F0C5E5-8514-479B-92A8-C494C638E9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550" y="1125"/>
              <a:ext cx="197" cy="0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2" name="Line 107">
              <a:extLst>
                <a:ext uri="{FF2B5EF4-FFF2-40B4-BE49-F238E27FC236}">
                  <a16:creationId xmlns:a16="http://schemas.microsoft.com/office/drawing/2014/main" xmlns="" id="{8712A275-967A-4197-A460-51FDDAC893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944" y="1125"/>
              <a:ext cx="197" cy="0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3" name="Line 108">
              <a:extLst>
                <a:ext uri="{FF2B5EF4-FFF2-40B4-BE49-F238E27FC236}">
                  <a16:creationId xmlns:a16="http://schemas.microsoft.com/office/drawing/2014/main" xmlns="" id="{E9BC5E2E-71A2-4B03-A3F2-91DC283442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726" y="1549"/>
              <a:ext cx="140" cy="140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4" name="Line 109">
              <a:extLst>
                <a:ext uri="{FF2B5EF4-FFF2-40B4-BE49-F238E27FC236}">
                  <a16:creationId xmlns:a16="http://schemas.microsoft.com/office/drawing/2014/main" xmlns="" id="{CA8AAC2B-D272-4E04-9BF6-16D4BDD606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12" y="563"/>
              <a:ext cx="139" cy="138"/>
            </a:xfrm>
            <a:prstGeom prst="line">
              <a:avLst/>
            </a:prstGeom>
            <a:ln cap="rnd"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215" name="Group 158">
            <a:extLst>
              <a:ext uri="{FF2B5EF4-FFF2-40B4-BE49-F238E27FC236}">
                <a16:creationId xmlns:a16="http://schemas.microsoft.com/office/drawing/2014/main" xmlns="" id="{075A89E5-A6A4-44DB-B765-4E46CD19D0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14555" y="1719543"/>
            <a:ext cx="365295" cy="438197"/>
            <a:chOff x="-1937" y="505"/>
            <a:chExt cx="1859" cy="2230"/>
          </a:xfrm>
        </p:grpSpPr>
        <p:sp>
          <p:nvSpPr>
            <p:cNvPr id="216" name="Freeform 159">
              <a:extLst>
                <a:ext uri="{FF2B5EF4-FFF2-40B4-BE49-F238E27FC236}">
                  <a16:creationId xmlns:a16="http://schemas.microsoft.com/office/drawing/2014/main" xmlns="" id="{7875E528-4178-4850-B371-16C053F06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88" y="873"/>
              <a:ext cx="1360" cy="1583"/>
            </a:xfrm>
            <a:custGeom>
              <a:avLst/>
              <a:gdLst>
                <a:gd name="T0" fmla="*/ 553 w 648"/>
                <a:gd name="T1" fmla="*/ 95 h 754"/>
                <a:gd name="T2" fmla="*/ 648 w 648"/>
                <a:gd name="T3" fmla="*/ 324 h 754"/>
                <a:gd name="T4" fmla="*/ 632 w 648"/>
                <a:gd name="T5" fmla="*/ 425 h 754"/>
                <a:gd name="T6" fmla="*/ 586 w 648"/>
                <a:gd name="T7" fmla="*/ 515 h 754"/>
                <a:gd name="T8" fmla="*/ 504 w 648"/>
                <a:gd name="T9" fmla="*/ 614 h 754"/>
                <a:gd name="T10" fmla="*/ 449 w 648"/>
                <a:gd name="T11" fmla="*/ 736 h 754"/>
                <a:gd name="T12" fmla="*/ 431 w 648"/>
                <a:gd name="T13" fmla="*/ 754 h 754"/>
                <a:gd name="T14" fmla="*/ 218 w 648"/>
                <a:gd name="T15" fmla="*/ 754 h 754"/>
                <a:gd name="T16" fmla="*/ 200 w 648"/>
                <a:gd name="T17" fmla="*/ 736 h 754"/>
                <a:gd name="T18" fmla="*/ 145 w 648"/>
                <a:gd name="T19" fmla="*/ 615 h 754"/>
                <a:gd name="T20" fmla="*/ 62 w 648"/>
                <a:gd name="T21" fmla="*/ 515 h 754"/>
                <a:gd name="T22" fmla="*/ 16 w 648"/>
                <a:gd name="T23" fmla="*/ 425 h 754"/>
                <a:gd name="T24" fmla="*/ 0 w 648"/>
                <a:gd name="T25" fmla="*/ 324 h 754"/>
                <a:gd name="T26" fmla="*/ 24 w 648"/>
                <a:gd name="T27" fmla="*/ 200 h 754"/>
                <a:gd name="T28" fmla="*/ 25 w 648"/>
                <a:gd name="T29" fmla="*/ 199 h 754"/>
                <a:gd name="T30" fmla="*/ 95 w 648"/>
                <a:gd name="T31" fmla="*/ 95 h 754"/>
                <a:gd name="T32" fmla="*/ 200 w 648"/>
                <a:gd name="T33" fmla="*/ 25 h 754"/>
                <a:gd name="T34" fmla="*/ 324 w 648"/>
                <a:gd name="T35" fmla="*/ 0 h 754"/>
                <a:gd name="T36" fmla="*/ 448 w 648"/>
                <a:gd name="T37" fmla="*/ 25 h 754"/>
                <a:gd name="T38" fmla="*/ 553 w 648"/>
                <a:gd name="T39" fmla="*/ 95 h 754"/>
                <a:gd name="T40" fmla="*/ 611 w 648"/>
                <a:gd name="T41" fmla="*/ 324 h 754"/>
                <a:gd name="T42" fmla="*/ 611 w 648"/>
                <a:gd name="T43" fmla="*/ 324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8" h="754">
                  <a:moveTo>
                    <a:pt x="553" y="95"/>
                  </a:moveTo>
                  <a:cubicBezTo>
                    <a:pt x="612" y="154"/>
                    <a:pt x="648" y="235"/>
                    <a:pt x="648" y="324"/>
                  </a:cubicBezTo>
                  <a:cubicBezTo>
                    <a:pt x="648" y="359"/>
                    <a:pt x="642" y="393"/>
                    <a:pt x="632" y="425"/>
                  </a:cubicBezTo>
                  <a:cubicBezTo>
                    <a:pt x="621" y="457"/>
                    <a:pt x="605" y="488"/>
                    <a:pt x="586" y="515"/>
                  </a:cubicBezTo>
                  <a:cubicBezTo>
                    <a:pt x="552" y="561"/>
                    <a:pt x="525" y="591"/>
                    <a:pt x="504" y="614"/>
                  </a:cubicBezTo>
                  <a:cubicBezTo>
                    <a:pt x="466" y="656"/>
                    <a:pt x="449" y="675"/>
                    <a:pt x="449" y="736"/>
                  </a:cubicBezTo>
                  <a:cubicBezTo>
                    <a:pt x="449" y="746"/>
                    <a:pt x="441" y="754"/>
                    <a:pt x="431" y="754"/>
                  </a:cubicBezTo>
                  <a:cubicBezTo>
                    <a:pt x="218" y="754"/>
                    <a:pt x="218" y="754"/>
                    <a:pt x="218" y="754"/>
                  </a:cubicBezTo>
                  <a:cubicBezTo>
                    <a:pt x="208" y="754"/>
                    <a:pt x="200" y="746"/>
                    <a:pt x="200" y="736"/>
                  </a:cubicBezTo>
                  <a:cubicBezTo>
                    <a:pt x="200" y="675"/>
                    <a:pt x="183" y="657"/>
                    <a:pt x="145" y="615"/>
                  </a:cubicBezTo>
                  <a:cubicBezTo>
                    <a:pt x="124" y="592"/>
                    <a:pt x="96" y="562"/>
                    <a:pt x="62" y="515"/>
                  </a:cubicBezTo>
                  <a:cubicBezTo>
                    <a:pt x="42" y="488"/>
                    <a:pt x="26" y="457"/>
                    <a:pt x="16" y="425"/>
                  </a:cubicBezTo>
                  <a:cubicBezTo>
                    <a:pt x="5" y="393"/>
                    <a:pt x="0" y="359"/>
                    <a:pt x="0" y="324"/>
                  </a:cubicBezTo>
                  <a:cubicBezTo>
                    <a:pt x="0" y="280"/>
                    <a:pt x="8" y="238"/>
                    <a:pt x="24" y="200"/>
                  </a:cubicBezTo>
                  <a:cubicBezTo>
                    <a:pt x="25" y="199"/>
                    <a:pt x="25" y="199"/>
                    <a:pt x="25" y="199"/>
                  </a:cubicBezTo>
                  <a:cubicBezTo>
                    <a:pt x="41" y="160"/>
                    <a:pt x="65" y="124"/>
                    <a:pt x="95" y="95"/>
                  </a:cubicBezTo>
                  <a:cubicBezTo>
                    <a:pt x="124" y="65"/>
                    <a:pt x="160" y="41"/>
                    <a:pt x="200" y="25"/>
                  </a:cubicBezTo>
                  <a:cubicBezTo>
                    <a:pt x="238" y="9"/>
                    <a:pt x="280" y="0"/>
                    <a:pt x="324" y="0"/>
                  </a:cubicBezTo>
                  <a:cubicBezTo>
                    <a:pt x="368" y="0"/>
                    <a:pt x="409" y="9"/>
                    <a:pt x="448" y="25"/>
                  </a:cubicBezTo>
                  <a:cubicBezTo>
                    <a:pt x="487" y="41"/>
                    <a:pt x="523" y="65"/>
                    <a:pt x="553" y="95"/>
                  </a:cubicBezTo>
                  <a:close/>
                  <a:moveTo>
                    <a:pt x="611" y="324"/>
                  </a:moveTo>
                  <a:cubicBezTo>
                    <a:pt x="611" y="324"/>
                    <a:pt x="611" y="324"/>
                    <a:pt x="611" y="324"/>
                  </a:cubicBezTo>
                </a:path>
              </a:pathLst>
            </a:cu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 dirty="0"/>
            </a:p>
          </p:txBody>
        </p:sp>
        <p:sp>
          <p:nvSpPr>
            <p:cNvPr id="217" name="Line 160">
              <a:extLst>
                <a:ext uri="{FF2B5EF4-FFF2-40B4-BE49-F238E27FC236}">
                  <a16:creationId xmlns:a16="http://schemas.microsoft.com/office/drawing/2014/main" xmlns="" id="{FCD11F99-28E1-488B-B563-0B7923CC21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241" y="2552"/>
              <a:ext cx="477" cy="0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8" name="Line 161">
              <a:extLst>
                <a:ext uri="{FF2B5EF4-FFF2-40B4-BE49-F238E27FC236}">
                  <a16:creationId xmlns:a16="http://schemas.microsoft.com/office/drawing/2014/main" xmlns="" id="{2ECD1517-41A3-47ED-82E0-AB768101F6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155" y="2636"/>
              <a:ext cx="304" cy="0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19" name="Line 162">
              <a:extLst>
                <a:ext uri="{FF2B5EF4-FFF2-40B4-BE49-F238E27FC236}">
                  <a16:creationId xmlns:a16="http://schemas.microsoft.com/office/drawing/2014/main" xmlns="" id="{48B41A4E-CFC6-4C36-AA91-EB7D4C0044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088" y="2735"/>
              <a:ext cx="168" cy="0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0" name="Line 163">
              <a:extLst>
                <a:ext uri="{FF2B5EF4-FFF2-40B4-BE49-F238E27FC236}">
                  <a16:creationId xmlns:a16="http://schemas.microsoft.com/office/drawing/2014/main" xmlns="" id="{782B6391-0884-425C-9B23-306F3EFC26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271" y="1028"/>
              <a:ext cx="193" cy="107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1" name="Line 164">
              <a:extLst>
                <a:ext uri="{FF2B5EF4-FFF2-40B4-BE49-F238E27FC236}">
                  <a16:creationId xmlns:a16="http://schemas.microsoft.com/office/drawing/2014/main" xmlns="" id="{7BF76436-1B17-4E28-BCE6-7F46105AB0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576" y="640"/>
              <a:ext cx="122" cy="182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2" name="Line 165">
              <a:extLst>
                <a:ext uri="{FF2B5EF4-FFF2-40B4-BE49-F238E27FC236}">
                  <a16:creationId xmlns:a16="http://schemas.microsoft.com/office/drawing/2014/main" xmlns="" id="{F7FCEED1-0E17-4C3C-A1AD-C33FBCF1D5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937" y="1028"/>
              <a:ext cx="193" cy="107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3" name="Line 166">
              <a:extLst>
                <a:ext uri="{FF2B5EF4-FFF2-40B4-BE49-F238E27FC236}">
                  <a16:creationId xmlns:a16="http://schemas.microsoft.com/office/drawing/2014/main" xmlns="" id="{E8114C8B-B449-49F5-A466-3C1DA0EE35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562" y="640"/>
              <a:ext cx="122" cy="182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4" name="Line 167">
              <a:extLst>
                <a:ext uri="{FF2B5EF4-FFF2-40B4-BE49-F238E27FC236}">
                  <a16:creationId xmlns:a16="http://schemas.microsoft.com/office/drawing/2014/main" xmlns="" id="{0AE88ABD-1826-484A-ADD9-E4B4F80D2B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989" y="505"/>
              <a:ext cx="0" cy="210"/>
            </a:xfrm>
            <a:prstGeom prst="line">
              <a:avLst/>
            </a:pr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5" name="Freeform 168">
              <a:extLst>
                <a:ext uri="{FF2B5EF4-FFF2-40B4-BE49-F238E27FC236}">
                  <a16:creationId xmlns:a16="http://schemas.microsoft.com/office/drawing/2014/main" xmlns="" id="{071586AE-52BD-483D-84E0-8526D6698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8" y="1045"/>
              <a:ext cx="365" cy="357"/>
            </a:xfrm>
            <a:custGeom>
              <a:avLst/>
              <a:gdLst>
                <a:gd name="T0" fmla="*/ 174 w 174"/>
                <a:gd name="T1" fmla="*/ 0 h 170"/>
                <a:gd name="T2" fmla="*/ 0 w 174"/>
                <a:gd name="T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4" h="170">
                  <a:moveTo>
                    <a:pt x="174" y="0"/>
                  </a:moveTo>
                  <a:cubicBezTo>
                    <a:pt x="174" y="0"/>
                    <a:pt x="47" y="40"/>
                    <a:pt x="0" y="170"/>
                  </a:cubicBezTo>
                </a:path>
              </a:pathLst>
            </a:custGeom>
            <a:ln cap="rnd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sp>
        <p:nvSpPr>
          <p:cNvPr id="226" name="Freeform 172">
            <a:extLst>
              <a:ext uri="{FF2B5EF4-FFF2-40B4-BE49-F238E27FC236}">
                <a16:creationId xmlns:a16="http://schemas.microsoft.com/office/drawing/2014/main" xmlns="" id="{798C1B69-F5C6-4926-822C-B287BD9F6B39}"/>
              </a:ext>
            </a:extLst>
          </p:cNvPr>
          <p:cNvSpPr>
            <a:spLocks noEditPoints="1"/>
          </p:cNvSpPr>
          <p:nvPr/>
        </p:nvSpPr>
        <p:spPr bwMode="auto">
          <a:xfrm>
            <a:off x="7047490" y="1728404"/>
            <a:ext cx="451110" cy="420474"/>
          </a:xfrm>
          <a:custGeom>
            <a:avLst/>
            <a:gdLst>
              <a:gd name="T0" fmla="*/ 106 w 1533"/>
              <a:gd name="T1" fmla="*/ 502 h 1427"/>
              <a:gd name="T2" fmla="*/ 0 w 1533"/>
              <a:gd name="T3" fmla="*/ 607 h 1427"/>
              <a:gd name="T4" fmla="*/ 80 w 1533"/>
              <a:gd name="T5" fmla="*/ 1109 h 1427"/>
              <a:gd name="T6" fmla="*/ 106 w 1533"/>
              <a:gd name="T7" fmla="*/ 1189 h 1427"/>
              <a:gd name="T8" fmla="*/ 283 w 1533"/>
              <a:gd name="T9" fmla="*/ 1321 h 1427"/>
              <a:gd name="T10" fmla="*/ 616 w 1533"/>
              <a:gd name="T11" fmla="*/ 1321 h 1427"/>
              <a:gd name="T12" fmla="*/ 1190 w 1533"/>
              <a:gd name="T13" fmla="*/ 1427 h 1427"/>
              <a:gd name="T14" fmla="*/ 1401 w 1533"/>
              <a:gd name="T15" fmla="*/ 1321 h 1427"/>
              <a:gd name="T16" fmla="*/ 1215 w 1533"/>
              <a:gd name="T17" fmla="*/ 759 h 1427"/>
              <a:gd name="T18" fmla="*/ 1031 w 1533"/>
              <a:gd name="T19" fmla="*/ 481 h 1427"/>
              <a:gd name="T20" fmla="*/ 450 w 1533"/>
              <a:gd name="T21" fmla="*/ 422 h 1427"/>
              <a:gd name="T22" fmla="*/ 317 w 1533"/>
              <a:gd name="T23" fmla="*/ 740 h 1427"/>
              <a:gd name="T24" fmla="*/ 106 w 1533"/>
              <a:gd name="T25" fmla="*/ 872 h 1427"/>
              <a:gd name="T26" fmla="*/ 80 w 1533"/>
              <a:gd name="T27" fmla="*/ 1057 h 1427"/>
              <a:gd name="T28" fmla="*/ 53 w 1533"/>
              <a:gd name="T29" fmla="*/ 607 h 1427"/>
              <a:gd name="T30" fmla="*/ 159 w 1533"/>
              <a:gd name="T31" fmla="*/ 502 h 1427"/>
              <a:gd name="T32" fmla="*/ 265 w 1533"/>
              <a:gd name="T33" fmla="*/ 237 h 1427"/>
              <a:gd name="T34" fmla="*/ 238 w 1533"/>
              <a:gd name="T35" fmla="*/ 105 h 1427"/>
              <a:gd name="T36" fmla="*/ 212 w 1533"/>
              <a:gd name="T37" fmla="*/ 26 h 1427"/>
              <a:gd name="T38" fmla="*/ 159 w 1533"/>
              <a:gd name="T39" fmla="*/ 26 h 1427"/>
              <a:gd name="T40" fmla="*/ 106 w 1533"/>
              <a:gd name="T41" fmla="*/ 105 h 1427"/>
              <a:gd name="T42" fmla="*/ 80 w 1533"/>
              <a:gd name="T43" fmla="*/ 0 h 1427"/>
              <a:gd name="T44" fmla="*/ 53 w 1533"/>
              <a:gd name="T45" fmla="*/ 105 h 1427"/>
              <a:gd name="T46" fmla="*/ 0 w 1533"/>
              <a:gd name="T47" fmla="*/ 132 h 1427"/>
              <a:gd name="T48" fmla="*/ 106 w 1533"/>
              <a:gd name="T49" fmla="*/ 367 h 1427"/>
              <a:gd name="T50" fmla="*/ 1190 w 1533"/>
              <a:gd name="T51" fmla="*/ 1109 h 1427"/>
              <a:gd name="T52" fmla="*/ 1314 w 1533"/>
              <a:gd name="T53" fmla="*/ 1286 h 1427"/>
              <a:gd name="T54" fmla="*/ 1065 w 1533"/>
              <a:gd name="T55" fmla="*/ 1286 h 1427"/>
              <a:gd name="T56" fmla="*/ 317 w 1533"/>
              <a:gd name="T57" fmla="*/ 1242 h 1427"/>
              <a:gd name="T58" fmla="*/ 582 w 1533"/>
              <a:gd name="T59" fmla="*/ 1242 h 1427"/>
              <a:gd name="T60" fmla="*/ 450 w 1533"/>
              <a:gd name="T61" fmla="*/ 1374 h 1427"/>
              <a:gd name="T62" fmla="*/ 317 w 1533"/>
              <a:gd name="T63" fmla="*/ 1242 h 1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33" h="1427">
                <a:moveTo>
                  <a:pt x="106" y="367"/>
                </a:moveTo>
                <a:cubicBezTo>
                  <a:pt x="106" y="502"/>
                  <a:pt x="106" y="502"/>
                  <a:pt x="106" y="502"/>
                </a:cubicBezTo>
                <a:cubicBezTo>
                  <a:pt x="106" y="516"/>
                  <a:pt x="94" y="528"/>
                  <a:pt x="80" y="528"/>
                </a:cubicBezTo>
                <a:cubicBezTo>
                  <a:pt x="36" y="528"/>
                  <a:pt x="0" y="564"/>
                  <a:pt x="0" y="607"/>
                </a:cubicBezTo>
                <a:cubicBezTo>
                  <a:pt x="0" y="1030"/>
                  <a:pt x="0" y="1030"/>
                  <a:pt x="0" y="1030"/>
                </a:cubicBezTo>
                <a:cubicBezTo>
                  <a:pt x="0" y="1074"/>
                  <a:pt x="36" y="1109"/>
                  <a:pt x="80" y="1109"/>
                </a:cubicBezTo>
                <a:cubicBezTo>
                  <a:pt x="106" y="1109"/>
                  <a:pt x="106" y="1109"/>
                  <a:pt x="106" y="1109"/>
                </a:cubicBezTo>
                <a:cubicBezTo>
                  <a:pt x="106" y="1189"/>
                  <a:pt x="106" y="1189"/>
                  <a:pt x="106" y="1189"/>
                </a:cubicBezTo>
                <a:cubicBezTo>
                  <a:pt x="106" y="1262"/>
                  <a:pt x="165" y="1321"/>
                  <a:pt x="238" y="1321"/>
                </a:cubicBezTo>
                <a:cubicBezTo>
                  <a:pt x="283" y="1321"/>
                  <a:pt x="283" y="1321"/>
                  <a:pt x="283" y="1321"/>
                </a:cubicBezTo>
                <a:cubicBezTo>
                  <a:pt x="314" y="1385"/>
                  <a:pt x="378" y="1427"/>
                  <a:pt x="450" y="1427"/>
                </a:cubicBezTo>
                <a:cubicBezTo>
                  <a:pt x="521" y="1427"/>
                  <a:pt x="586" y="1385"/>
                  <a:pt x="616" y="1321"/>
                </a:cubicBezTo>
                <a:cubicBezTo>
                  <a:pt x="1023" y="1321"/>
                  <a:pt x="1023" y="1321"/>
                  <a:pt x="1023" y="1321"/>
                </a:cubicBezTo>
                <a:cubicBezTo>
                  <a:pt x="1054" y="1385"/>
                  <a:pt x="1118" y="1427"/>
                  <a:pt x="1190" y="1427"/>
                </a:cubicBezTo>
                <a:cubicBezTo>
                  <a:pt x="1261" y="1427"/>
                  <a:pt x="1326" y="1385"/>
                  <a:pt x="1356" y="1321"/>
                </a:cubicBezTo>
                <a:cubicBezTo>
                  <a:pt x="1401" y="1321"/>
                  <a:pt x="1401" y="1321"/>
                  <a:pt x="1401" y="1321"/>
                </a:cubicBezTo>
                <a:cubicBezTo>
                  <a:pt x="1474" y="1321"/>
                  <a:pt x="1533" y="1262"/>
                  <a:pt x="1533" y="1189"/>
                </a:cubicBezTo>
                <a:cubicBezTo>
                  <a:pt x="1533" y="987"/>
                  <a:pt x="1399" y="815"/>
                  <a:pt x="1215" y="759"/>
                </a:cubicBezTo>
                <a:cubicBezTo>
                  <a:pt x="1214" y="756"/>
                  <a:pt x="1213" y="754"/>
                  <a:pt x="1211" y="751"/>
                </a:cubicBezTo>
                <a:cubicBezTo>
                  <a:pt x="1031" y="481"/>
                  <a:pt x="1031" y="481"/>
                  <a:pt x="1031" y="481"/>
                </a:cubicBezTo>
                <a:cubicBezTo>
                  <a:pt x="1007" y="444"/>
                  <a:pt x="966" y="422"/>
                  <a:pt x="922" y="422"/>
                </a:cubicBezTo>
                <a:cubicBezTo>
                  <a:pt x="450" y="422"/>
                  <a:pt x="450" y="422"/>
                  <a:pt x="450" y="422"/>
                </a:cubicBezTo>
                <a:cubicBezTo>
                  <a:pt x="377" y="422"/>
                  <a:pt x="317" y="482"/>
                  <a:pt x="317" y="555"/>
                </a:cubicBezTo>
                <a:cubicBezTo>
                  <a:pt x="317" y="740"/>
                  <a:pt x="317" y="740"/>
                  <a:pt x="317" y="740"/>
                </a:cubicBezTo>
                <a:cubicBezTo>
                  <a:pt x="238" y="740"/>
                  <a:pt x="238" y="740"/>
                  <a:pt x="238" y="740"/>
                </a:cubicBezTo>
                <a:cubicBezTo>
                  <a:pt x="165" y="740"/>
                  <a:pt x="106" y="799"/>
                  <a:pt x="106" y="872"/>
                </a:cubicBezTo>
                <a:cubicBezTo>
                  <a:pt x="106" y="1057"/>
                  <a:pt x="106" y="1057"/>
                  <a:pt x="106" y="1057"/>
                </a:cubicBezTo>
                <a:cubicBezTo>
                  <a:pt x="80" y="1057"/>
                  <a:pt x="80" y="1057"/>
                  <a:pt x="80" y="1057"/>
                </a:cubicBezTo>
                <a:cubicBezTo>
                  <a:pt x="65" y="1057"/>
                  <a:pt x="53" y="1045"/>
                  <a:pt x="53" y="1030"/>
                </a:cubicBezTo>
                <a:cubicBezTo>
                  <a:pt x="53" y="607"/>
                  <a:pt x="53" y="607"/>
                  <a:pt x="53" y="607"/>
                </a:cubicBezTo>
                <a:cubicBezTo>
                  <a:pt x="53" y="593"/>
                  <a:pt x="65" y="581"/>
                  <a:pt x="80" y="581"/>
                </a:cubicBezTo>
                <a:cubicBezTo>
                  <a:pt x="123" y="581"/>
                  <a:pt x="159" y="545"/>
                  <a:pt x="159" y="502"/>
                </a:cubicBezTo>
                <a:cubicBezTo>
                  <a:pt x="159" y="367"/>
                  <a:pt x="159" y="367"/>
                  <a:pt x="159" y="367"/>
                </a:cubicBezTo>
                <a:cubicBezTo>
                  <a:pt x="219" y="355"/>
                  <a:pt x="265" y="301"/>
                  <a:pt x="265" y="237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65" y="117"/>
                  <a:pt x="253" y="105"/>
                  <a:pt x="238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26"/>
                  <a:pt x="212" y="26"/>
                  <a:pt x="212" y="26"/>
                </a:cubicBezTo>
                <a:cubicBezTo>
                  <a:pt x="212" y="11"/>
                  <a:pt x="200" y="0"/>
                  <a:pt x="185" y="0"/>
                </a:cubicBezTo>
                <a:cubicBezTo>
                  <a:pt x="171" y="0"/>
                  <a:pt x="159" y="11"/>
                  <a:pt x="159" y="26"/>
                </a:cubicBezTo>
                <a:cubicBezTo>
                  <a:pt x="159" y="105"/>
                  <a:pt x="159" y="105"/>
                  <a:pt x="159" y="105"/>
                </a:cubicBezTo>
                <a:cubicBezTo>
                  <a:pt x="106" y="105"/>
                  <a:pt x="106" y="105"/>
                  <a:pt x="106" y="105"/>
                </a:cubicBezTo>
                <a:cubicBezTo>
                  <a:pt x="106" y="26"/>
                  <a:pt x="106" y="26"/>
                  <a:pt x="106" y="26"/>
                </a:cubicBezTo>
                <a:cubicBezTo>
                  <a:pt x="106" y="11"/>
                  <a:pt x="94" y="0"/>
                  <a:pt x="80" y="0"/>
                </a:cubicBezTo>
                <a:cubicBezTo>
                  <a:pt x="65" y="0"/>
                  <a:pt x="53" y="11"/>
                  <a:pt x="53" y="26"/>
                </a:cubicBezTo>
                <a:cubicBezTo>
                  <a:pt x="53" y="105"/>
                  <a:pt x="53" y="105"/>
                  <a:pt x="53" y="105"/>
                </a:cubicBezTo>
                <a:cubicBezTo>
                  <a:pt x="27" y="105"/>
                  <a:pt x="27" y="105"/>
                  <a:pt x="27" y="105"/>
                </a:cubicBezTo>
                <a:cubicBezTo>
                  <a:pt x="12" y="105"/>
                  <a:pt x="0" y="117"/>
                  <a:pt x="0" y="132"/>
                </a:cubicBezTo>
                <a:cubicBezTo>
                  <a:pt x="0" y="237"/>
                  <a:pt x="0" y="237"/>
                  <a:pt x="0" y="237"/>
                </a:cubicBezTo>
                <a:cubicBezTo>
                  <a:pt x="0" y="301"/>
                  <a:pt x="46" y="355"/>
                  <a:pt x="106" y="367"/>
                </a:cubicBezTo>
                <a:close/>
                <a:moveTo>
                  <a:pt x="1057" y="1242"/>
                </a:moveTo>
                <a:cubicBezTo>
                  <a:pt x="1057" y="1169"/>
                  <a:pt x="1117" y="1109"/>
                  <a:pt x="1190" y="1109"/>
                </a:cubicBezTo>
                <a:cubicBezTo>
                  <a:pt x="1262" y="1109"/>
                  <a:pt x="1322" y="1169"/>
                  <a:pt x="1322" y="1242"/>
                </a:cubicBezTo>
                <a:cubicBezTo>
                  <a:pt x="1322" y="1256"/>
                  <a:pt x="1319" y="1271"/>
                  <a:pt x="1314" y="1286"/>
                </a:cubicBezTo>
                <a:cubicBezTo>
                  <a:pt x="1295" y="1338"/>
                  <a:pt x="1245" y="1374"/>
                  <a:pt x="1190" y="1374"/>
                </a:cubicBezTo>
                <a:cubicBezTo>
                  <a:pt x="1134" y="1374"/>
                  <a:pt x="1084" y="1338"/>
                  <a:pt x="1065" y="1286"/>
                </a:cubicBezTo>
                <a:cubicBezTo>
                  <a:pt x="1060" y="1271"/>
                  <a:pt x="1057" y="1256"/>
                  <a:pt x="1057" y="1242"/>
                </a:cubicBezTo>
                <a:close/>
                <a:moveTo>
                  <a:pt x="317" y="1242"/>
                </a:moveTo>
                <a:cubicBezTo>
                  <a:pt x="317" y="1169"/>
                  <a:pt x="377" y="1109"/>
                  <a:pt x="450" y="1109"/>
                </a:cubicBezTo>
                <a:cubicBezTo>
                  <a:pt x="522" y="1109"/>
                  <a:pt x="582" y="1169"/>
                  <a:pt x="582" y="1242"/>
                </a:cubicBezTo>
                <a:cubicBezTo>
                  <a:pt x="582" y="1256"/>
                  <a:pt x="579" y="1271"/>
                  <a:pt x="574" y="1286"/>
                </a:cubicBezTo>
                <a:cubicBezTo>
                  <a:pt x="555" y="1338"/>
                  <a:pt x="505" y="1374"/>
                  <a:pt x="450" y="1374"/>
                </a:cubicBezTo>
                <a:cubicBezTo>
                  <a:pt x="394" y="1374"/>
                  <a:pt x="344" y="1338"/>
                  <a:pt x="325" y="1286"/>
                </a:cubicBezTo>
                <a:cubicBezTo>
                  <a:pt x="320" y="1271"/>
                  <a:pt x="317" y="1256"/>
                  <a:pt x="317" y="1242"/>
                </a:cubicBezTo>
                <a:close/>
              </a:path>
            </a:pathLst>
          </a:custGeom>
          <a:ln cap="rnd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b="1"/>
          </a:p>
        </p:txBody>
      </p:sp>
      <p:grpSp>
        <p:nvGrpSpPr>
          <p:cNvPr id="227" name="Group 175">
            <a:extLst>
              <a:ext uri="{FF2B5EF4-FFF2-40B4-BE49-F238E27FC236}">
                <a16:creationId xmlns:a16="http://schemas.microsoft.com/office/drawing/2014/main" xmlns="" id="{6CE13AA5-0B8D-4EFA-8ABD-B731FBA4459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23271" y="1769073"/>
            <a:ext cx="510839" cy="339136"/>
            <a:chOff x="1805" y="906"/>
            <a:chExt cx="2154" cy="1430"/>
          </a:xfrm>
        </p:grpSpPr>
        <p:sp>
          <p:nvSpPr>
            <p:cNvPr id="228" name="Oval 176">
              <a:extLst>
                <a:ext uri="{FF2B5EF4-FFF2-40B4-BE49-F238E27FC236}">
                  <a16:creationId xmlns:a16="http://schemas.microsoft.com/office/drawing/2014/main" xmlns="" id="{0BAFD196-458C-4706-8BE3-E1DBCDE37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3" y="906"/>
              <a:ext cx="657" cy="700"/>
            </a:xfrm>
            <a:prstGeom prst="ellipse">
              <a:avLst/>
            </a:pr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29" name="Oval 177">
              <a:extLst>
                <a:ext uri="{FF2B5EF4-FFF2-40B4-BE49-F238E27FC236}">
                  <a16:creationId xmlns:a16="http://schemas.microsoft.com/office/drawing/2014/main" xmlns="" id="{4A090946-39AA-4413-B7BE-EFF761F35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2" y="1205"/>
              <a:ext cx="482" cy="515"/>
            </a:xfrm>
            <a:prstGeom prst="ellipse">
              <a:avLst/>
            </a:pr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0" name="Oval 178">
              <a:extLst>
                <a:ext uri="{FF2B5EF4-FFF2-40B4-BE49-F238E27FC236}">
                  <a16:creationId xmlns:a16="http://schemas.microsoft.com/office/drawing/2014/main" xmlns="" id="{6E67D856-2682-44CA-A69A-7F05BADC9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9" y="1205"/>
              <a:ext cx="481" cy="515"/>
            </a:xfrm>
            <a:prstGeom prst="ellipse">
              <a:avLst/>
            </a:pr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1" name="Freeform 179">
              <a:extLst>
                <a:ext uri="{FF2B5EF4-FFF2-40B4-BE49-F238E27FC236}">
                  <a16:creationId xmlns:a16="http://schemas.microsoft.com/office/drawing/2014/main" xmlns="" id="{92C0A505-5DCE-4661-B5A2-74292831B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" y="1800"/>
              <a:ext cx="958" cy="536"/>
            </a:xfrm>
            <a:custGeom>
              <a:avLst/>
              <a:gdLst>
                <a:gd name="T0" fmla="*/ 0 w 457"/>
                <a:gd name="T1" fmla="*/ 255 h 255"/>
                <a:gd name="T2" fmla="*/ 229 w 457"/>
                <a:gd name="T3" fmla="*/ 0 h 255"/>
                <a:gd name="T4" fmla="*/ 457 w 457"/>
                <a:gd name="T5" fmla="*/ 255 h 255"/>
                <a:gd name="T6" fmla="*/ 0 w 457"/>
                <a:gd name="T7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255">
                  <a:moveTo>
                    <a:pt x="0" y="255"/>
                  </a:moveTo>
                  <a:cubicBezTo>
                    <a:pt x="0" y="114"/>
                    <a:pt x="103" y="0"/>
                    <a:pt x="229" y="0"/>
                  </a:cubicBezTo>
                  <a:cubicBezTo>
                    <a:pt x="355" y="0"/>
                    <a:pt x="457" y="114"/>
                    <a:pt x="457" y="255"/>
                  </a:cubicBezTo>
                  <a:lnTo>
                    <a:pt x="0" y="255"/>
                  </a:lnTo>
                  <a:close/>
                </a:path>
              </a:pathLst>
            </a:cu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2" name="Freeform 180">
              <a:extLst>
                <a:ext uri="{FF2B5EF4-FFF2-40B4-BE49-F238E27FC236}">
                  <a16:creationId xmlns:a16="http://schemas.microsoft.com/office/drawing/2014/main" xmlns="" id="{1E752476-D3BF-4A77-9D5D-0B653BD93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9" y="1884"/>
              <a:ext cx="690" cy="452"/>
            </a:xfrm>
            <a:custGeom>
              <a:avLst/>
              <a:gdLst>
                <a:gd name="T0" fmla="*/ 0 w 329"/>
                <a:gd name="T1" fmla="*/ 63 h 215"/>
                <a:gd name="T2" fmla="*/ 136 w 329"/>
                <a:gd name="T3" fmla="*/ 0 h 215"/>
                <a:gd name="T4" fmla="*/ 329 w 329"/>
                <a:gd name="T5" fmla="*/ 215 h 215"/>
                <a:gd name="T6" fmla="*/ 44 w 329"/>
                <a:gd name="T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215">
                  <a:moveTo>
                    <a:pt x="0" y="63"/>
                  </a:moveTo>
                  <a:cubicBezTo>
                    <a:pt x="35" y="24"/>
                    <a:pt x="83" y="0"/>
                    <a:pt x="136" y="0"/>
                  </a:cubicBezTo>
                  <a:cubicBezTo>
                    <a:pt x="243" y="0"/>
                    <a:pt x="329" y="96"/>
                    <a:pt x="329" y="215"/>
                  </a:cubicBezTo>
                  <a:cubicBezTo>
                    <a:pt x="44" y="215"/>
                    <a:pt x="44" y="215"/>
                    <a:pt x="44" y="215"/>
                  </a:cubicBezTo>
                </a:path>
              </a:pathLst>
            </a:cu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3" name="Freeform 181">
              <a:extLst>
                <a:ext uri="{FF2B5EF4-FFF2-40B4-BE49-F238E27FC236}">
                  <a16:creationId xmlns:a16="http://schemas.microsoft.com/office/drawing/2014/main" xmlns="" id="{916D5162-68A7-4475-A5EC-73C855B09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" y="1884"/>
              <a:ext cx="690" cy="452"/>
            </a:xfrm>
            <a:custGeom>
              <a:avLst/>
              <a:gdLst>
                <a:gd name="T0" fmla="*/ 329 w 329"/>
                <a:gd name="T1" fmla="*/ 63 h 215"/>
                <a:gd name="T2" fmla="*/ 192 w 329"/>
                <a:gd name="T3" fmla="*/ 0 h 215"/>
                <a:gd name="T4" fmla="*/ 0 w 329"/>
                <a:gd name="T5" fmla="*/ 215 h 215"/>
                <a:gd name="T6" fmla="*/ 284 w 329"/>
                <a:gd name="T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215">
                  <a:moveTo>
                    <a:pt x="329" y="63"/>
                  </a:moveTo>
                  <a:cubicBezTo>
                    <a:pt x="294" y="24"/>
                    <a:pt x="246" y="0"/>
                    <a:pt x="192" y="0"/>
                  </a:cubicBezTo>
                  <a:cubicBezTo>
                    <a:pt x="86" y="0"/>
                    <a:pt x="0" y="96"/>
                    <a:pt x="0" y="215"/>
                  </a:cubicBezTo>
                  <a:cubicBezTo>
                    <a:pt x="284" y="215"/>
                    <a:pt x="284" y="215"/>
                    <a:pt x="284" y="215"/>
                  </a:cubicBezTo>
                </a:path>
              </a:pathLst>
            </a:custGeom>
            <a:ln cap="rnd">
              <a:solidFill>
                <a:schemeClr val="accent3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234" name="Group 184">
            <a:extLst>
              <a:ext uri="{FF2B5EF4-FFF2-40B4-BE49-F238E27FC236}">
                <a16:creationId xmlns:a16="http://schemas.microsoft.com/office/drawing/2014/main" xmlns="" id="{C8A27B3F-798E-43CC-82EA-164C00E012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54851" y="1653577"/>
            <a:ext cx="255038" cy="570128"/>
            <a:chOff x="-4083" y="7"/>
            <a:chExt cx="1444" cy="3228"/>
          </a:xfrm>
        </p:grpSpPr>
        <p:sp>
          <p:nvSpPr>
            <p:cNvPr id="235" name="Freeform 185">
              <a:extLst>
                <a:ext uri="{FF2B5EF4-FFF2-40B4-BE49-F238E27FC236}">
                  <a16:creationId xmlns:a16="http://schemas.microsoft.com/office/drawing/2014/main" xmlns="" id="{2F2296D5-AACD-4060-98BB-CE08563F3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3" y="7"/>
              <a:ext cx="1444" cy="3228"/>
            </a:xfrm>
            <a:custGeom>
              <a:avLst/>
              <a:gdLst>
                <a:gd name="T0" fmla="*/ 628 w 808"/>
                <a:gd name="T1" fmla="*/ 128 h 1808"/>
                <a:gd name="T2" fmla="*/ 612 w 808"/>
                <a:gd name="T3" fmla="*/ 128 h 1808"/>
                <a:gd name="T4" fmla="*/ 612 w 808"/>
                <a:gd name="T5" fmla="*/ 68 h 1808"/>
                <a:gd name="T6" fmla="*/ 544 w 808"/>
                <a:gd name="T7" fmla="*/ 0 h 1808"/>
                <a:gd name="T8" fmla="*/ 264 w 808"/>
                <a:gd name="T9" fmla="*/ 0 h 1808"/>
                <a:gd name="T10" fmla="*/ 196 w 808"/>
                <a:gd name="T11" fmla="*/ 68 h 1808"/>
                <a:gd name="T12" fmla="*/ 196 w 808"/>
                <a:gd name="T13" fmla="*/ 128 h 1808"/>
                <a:gd name="T14" fmla="*/ 180 w 808"/>
                <a:gd name="T15" fmla="*/ 128 h 1808"/>
                <a:gd name="T16" fmla="*/ 0 w 808"/>
                <a:gd name="T17" fmla="*/ 308 h 1808"/>
                <a:gd name="T18" fmla="*/ 0 w 808"/>
                <a:gd name="T19" fmla="*/ 1500 h 1808"/>
                <a:gd name="T20" fmla="*/ 180 w 808"/>
                <a:gd name="T21" fmla="*/ 1680 h 1808"/>
                <a:gd name="T22" fmla="*/ 196 w 808"/>
                <a:gd name="T23" fmla="*/ 1680 h 1808"/>
                <a:gd name="T24" fmla="*/ 196 w 808"/>
                <a:gd name="T25" fmla="*/ 1740 h 1808"/>
                <a:gd name="T26" fmla="*/ 264 w 808"/>
                <a:gd name="T27" fmla="*/ 1808 h 1808"/>
                <a:gd name="T28" fmla="*/ 544 w 808"/>
                <a:gd name="T29" fmla="*/ 1808 h 1808"/>
                <a:gd name="T30" fmla="*/ 612 w 808"/>
                <a:gd name="T31" fmla="*/ 1740 h 1808"/>
                <a:gd name="T32" fmla="*/ 612 w 808"/>
                <a:gd name="T33" fmla="*/ 1680 h 1808"/>
                <a:gd name="T34" fmla="*/ 628 w 808"/>
                <a:gd name="T35" fmla="*/ 1680 h 1808"/>
                <a:gd name="T36" fmla="*/ 808 w 808"/>
                <a:gd name="T37" fmla="*/ 1500 h 1808"/>
                <a:gd name="T38" fmla="*/ 808 w 808"/>
                <a:gd name="T39" fmla="*/ 308 h 1808"/>
                <a:gd name="T40" fmla="*/ 628 w 808"/>
                <a:gd name="T41" fmla="*/ 128 h 1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8" h="1808">
                  <a:moveTo>
                    <a:pt x="628" y="128"/>
                  </a:moveTo>
                  <a:cubicBezTo>
                    <a:pt x="612" y="128"/>
                    <a:pt x="612" y="128"/>
                    <a:pt x="612" y="128"/>
                  </a:cubicBezTo>
                  <a:cubicBezTo>
                    <a:pt x="612" y="68"/>
                    <a:pt x="612" y="68"/>
                    <a:pt x="612" y="68"/>
                  </a:cubicBezTo>
                  <a:cubicBezTo>
                    <a:pt x="612" y="30"/>
                    <a:pt x="581" y="0"/>
                    <a:pt x="54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27" y="0"/>
                    <a:pt x="196" y="30"/>
                    <a:pt x="196" y="68"/>
                  </a:cubicBezTo>
                  <a:cubicBezTo>
                    <a:pt x="196" y="128"/>
                    <a:pt x="196" y="128"/>
                    <a:pt x="196" y="128"/>
                  </a:cubicBezTo>
                  <a:cubicBezTo>
                    <a:pt x="180" y="128"/>
                    <a:pt x="180" y="128"/>
                    <a:pt x="180" y="128"/>
                  </a:cubicBezTo>
                  <a:cubicBezTo>
                    <a:pt x="81" y="128"/>
                    <a:pt x="0" y="209"/>
                    <a:pt x="0" y="308"/>
                  </a:cubicBezTo>
                  <a:cubicBezTo>
                    <a:pt x="0" y="1500"/>
                    <a:pt x="0" y="1500"/>
                    <a:pt x="0" y="1500"/>
                  </a:cubicBezTo>
                  <a:cubicBezTo>
                    <a:pt x="0" y="1599"/>
                    <a:pt x="81" y="1680"/>
                    <a:pt x="180" y="1680"/>
                  </a:cubicBezTo>
                  <a:cubicBezTo>
                    <a:pt x="196" y="1680"/>
                    <a:pt x="196" y="1680"/>
                    <a:pt x="196" y="1680"/>
                  </a:cubicBezTo>
                  <a:cubicBezTo>
                    <a:pt x="196" y="1740"/>
                    <a:pt x="196" y="1740"/>
                    <a:pt x="196" y="1740"/>
                  </a:cubicBezTo>
                  <a:cubicBezTo>
                    <a:pt x="196" y="1777"/>
                    <a:pt x="227" y="1808"/>
                    <a:pt x="264" y="1808"/>
                  </a:cubicBezTo>
                  <a:cubicBezTo>
                    <a:pt x="544" y="1808"/>
                    <a:pt x="544" y="1808"/>
                    <a:pt x="544" y="1808"/>
                  </a:cubicBezTo>
                  <a:cubicBezTo>
                    <a:pt x="581" y="1808"/>
                    <a:pt x="612" y="1777"/>
                    <a:pt x="612" y="1740"/>
                  </a:cubicBezTo>
                  <a:cubicBezTo>
                    <a:pt x="612" y="1680"/>
                    <a:pt x="612" y="1680"/>
                    <a:pt x="612" y="1680"/>
                  </a:cubicBezTo>
                  <a:cubicBezTo>
                    <a:pt x="628" y="1680"/>
                    <a:pt x="628" y="1680"/>
                    <a:pt x="628" y="1680"/>
                  </a:cubicBezTo>
                  <a:cubicBezTo>
                    <a:pt x="727" y="1680"/>
                    <a:pt x="808" y="1599"/>
                    <a:pt x="808" y="1500"/>
                  </a:cubicBezTo>
                  <a:cubicBezTo>
                    <a:pt x="808" y="308"/>
                    <a:pt x="808" y="308"/>
                    <a:pt x="808" y="308"/>
                  </a:cubicBezTo>
                  <a:cubicBezTo>
                    <a:pt x="808" y="209"/>
                    <a:pt x="727" y="128"/>
                    <a:pt x="628" y="128"/>
                  </a:cubicBezTo>
                  <a:close/>
                </a:path>
              </a:pathLst>
            </a:custGeom>
            <a:ln cap="rnd">
              <a:solidFill>
                <a:schemeClr val="accent5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6" name="Freeform 186">
              <a:extLst>
                <a:ext uri="{FF2B5EF4-FFF2-40B4-BE49-F238E27FC236}">
                  <a16:creationId xmlns:a16="http://schemas.microsoft.com/office/drawing/2014/main" xmlns="" id="{7C8A250F-4CB8-4CFD-922B-C119FB941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01" y="971"/>
              <a:ext cx="717" cy="1491"/>
            </a:xfrm>
            <a:custGeom>
              <a:avLst/>
              <a:gdLst>
                <a:gd name="T0" fmla="*/ 0 w 401"/>
                <a:gd name="T1" fmla="*/ 451 h 835"/>
                <a:gd name="T2" fmla="*/ 44 w 401"/>
                <a:gd name="T3" fmla="*/ 0 h 835"/>
                <a:gd name="T4" fmla="*/ 334 w 401"/>
                <a:gd name="T5" fmla="*/ 0 h 835"/>
                <a:gd name="T6" fmla="*/ 244 w 401"/>
                <a:gd name="T7" fmla="*/ 309 h 835"/>
                <a:gd name="T8" fmla="*/ 246 w 401"/>
                <a:gd name="T9" fmla="*/ 319 h 835"/>
                <a:gd name="T10" fmla="*/ 255 w 401"/>
                <a:gd name="T11" fmla="*/ 324 h 835"/>
                <a:gd name="T12" fmla="*/ 401 w 401"/>
                <a:gd name="T13" fmla="*/ 324 h 835"/>
                <a:gd name="T14" fmla="*/ 87 w 401"/>
                <a:gd name="T15" fmla="*/ 835 h 835"/>
                <a:gd name="T16" fmla="*/ 146 w 401"/>
                <a:gd name="T17" fmla="*/ 465 h 835"/>
                <a:gd name="T18" fmla="*/ 144 w 401"/>
                <a:gd name="T19" fmla="*/ 456 h 835"/>
                <a:gd name="T20" fmla="*/ 135 w 401"/>
                <a:gd name="T21" fmla="*/ 451 h 835"/>
                <a:gd name="T22" fmla="*/ 0 w 401"/>
                <a:gd name="T23" fmla="*/ 451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1" h="835">
                  <a:moveTo>
                    <a:pt x="0" y="451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44" y="309"/>
                    <a:pt x="244" y="309"/>
                    <a:pt x="244" y="309"/>
                  </a:cubicBezTo>
                  <a:cubicBezTo>
                    <a:pt x="244" y="313"/>
                    <a:pt x="244" y="316"/>
                    <a:pt x="246" y="319"/>
                  </a:cubicBezTo>
                  <a:cubicBezTo>
                    <a:pt x="248" y="323"/>
                    <a:pt x="252" y="324"/>
                    <a:pt x="255" y="324"/>
                  </a:cubicBezTo>
                  <a:cubicBezTo>
                    <a:pt x="401" y="324"/>
                    <a:pt x="401" y="324"/>
                    <a:pt x="401" y="324"/>
                  </a:cubicBezTo>
                  <a:cubicBezTo>
                    <a:pt x="87" y="835"/>
                    <a:pt x="87" y="835"/>
                    <a:pt x="87" y="835"/>
                  </a:cubicBezTo>
                  <a:cubicBezTo>
                    <a:pt x="146" y="465"/>
                    <a:pt x="146" y="465"/>
                    <a:pt x="146" y="465"/>
                  </a:cubicBezTo>
                  <a:cubicBezTo>
                    <a:pt x="147" y="462"/>
                    <a:pt x="146" y="458"/>
                    <a:pt x="144" y="456"/>
                  </a:cubicBezTo>
                  <a:cubicBezTo>
                    <a:pt x="141" y="452"/>
                    <a:pt x="138" y="451"/>
                    <a:pt x="135" y="451"/>
                  </a:cubicBezTo>
                  <a:lnTo>
                    <a:pt x="0" y="451"/>
                  </a:lnTo>
                  <a:close/>
                </a:path>
              </a:pathLst>
            </a:custGeom>
            <a:ln cap="rnd">
              <a:solidFill>
                <a:schemeClr val="accent5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237" name="Groupe 236">
            <a:extLst>
              <a:ext uri="{FF2B5EF4-FFF2-40B4-BE49-F238E27FC236}">
                <a16:creationId xmlns:a16="http://schemas.microsoft.com/office/drawing/2014/main" xmlns="" id="{4BD06ED3-159C-4A75-8715-D8CA9A3AE621}"/>
              </a:ext>
            </a:extLst>
          </p:cNvPr>
          <p:cNvGrpSpPr/>
          <p:nvPr/>
        </p:nvGrpSpPr>
        <p:grpSpPr>
          <a:xfrm>
            <a:off x="8101675" y="1734405"/>
            <a:ext cx="339069" cy="423675"/>
            <a:chOff x="1930603" y="2861755"/>
            <a:chExt cx="450648" cy="563095"/>
          </a:xfrm>
        </p:grpSpPr>
        <p:sp>
          <p:nvSpPr>
            <p:cNvPr id="238" name="Rectangle 44">
              <a:extLst>
                <a:ext uri="{FF2B5EF4-FFF2-40B4-BE49-F238E27FC236}">
                  <a16:creationId xmlns:a16="http://schemas.microsoft.com/office/drawing/2014/main" xmlns="" id="{C6FAB74B-259F-49A0-85CE-2D82F56AA3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603" y="3188482"/>
              <a:ext cx="450648" cy="236368"/>
            </a:xfrm>
            <a:prstGeom prst="rect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39" name="Rectangle 45">
              <a:extLst>
                <a:ext uri="{FF2B5EF4-FFF2-40B4-BE49-F238E27FC236}">
                  <a16:creationId xmlns:a16="http://schemas.microsoft.com/office/drawing/2014/main" xmlns="" id="{BE2915D3-19BA-4DFA-A75F-200E29842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3728" y="3328754"/>
              <a:ext cx="134535" cy="96096"/>
            </a:xfrm>
            <a:prstGeom prst="rect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40" name="Line 46">
              <a:extLst>
                <a:ext uri="{FF2B5EF4-FFF2-40B4-BE49-F238E27FC236}">
                  <a16:creationId xmlns:a16="http://schemas.microsoft.com/office/drawing/2014/main" xmlns="" id="{817B2FF9-C0FC-407F-9D1F-901FB3F1FB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6397" y="3328754"/>
              <a:ext cx="0" cy="6941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41" name="Line 47">
              <a:extLst>
                <a:ext uri="{FF2B5EF4-FFF2-40B4-BE49-F238E27FC236}">
                  <a16:creationId xmlns:a16="http://schemas.microsoft.com/office/drawing/2014/main" xmlns="" id="{D460E7E6-6EFC-40DD-A076-E3311CD3C4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0500" y="3328754"/>
              <a:ext cx="0" cy="6941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49" name="Line 48">
              <a:extLst>
                <a:ext uri="{FF2B5EF4-FFF2-40B4-BE49-F238E27FC236}">
                  <a16:creationId xmlns:a16="http://schemas.microsoft.com/office/drawing/2014/main" xmlns="" id="{73BAE423-562B-42B5-8512-A6A7536321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74891" y="3328754"/>
              <a:ext cx="0" cy="6941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1" name="Line 49">
              <a:extLst>
                <a:ext uri="{FF2B5EF4-FFF2-40B4-BE49-F238E27FC236}">
                  <a16:creationId xmlns:a16="http://schemas.microsoft.com/office/drawing/2014/main" xmlns="" id="{2BFEA73B-A18D-4445-B8C8-665F15DB38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8994" y="3328754"/>
              <a:ext cx="0" cy="6941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2" name="Line 50">
              <a:extLst>
                <a:ext uri="{FF2B5EF4-FFF2-40B4-BE49-F238E27FC236}">
                  <a16:creationId xmlns:a16="http://schemas.microsoft.com/office/drawing/2014/main" xmlns="" id="{366FBCA1-96EB-457E-AD84-811BA44AC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3097" y="3328754"/>
              <a:ext cx="0" cy="6941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3" name="Line 51">
              <a:extLst>
                <a:ext uri="{FF2B5EF4-FFF2-40B4-BE49-F238E27FC236}">
                  <a16:creationId xmlns:a16="http://schemas.microsoft.com/office/drawing/2014/main" xmlns="" id="{9C96591B-D980-4C0A-A781-5430EEAB7E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61010" y="3236960"/>
              <a:ext cx="387253" cy="0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4" name="Freeform 52">
              <a:extLst>
                <a:ext uri="{FF2B5EF4-FFF2-40B4-BE49-F238E27FC236}">
                  <a16:creationId xmlns:a16="http://schemas.microsoft.com/office/drawing/2014/main" xmlns="" id="{64A84E6D-BF85-4A12-ADED-5BDED2210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444" y="3136848"/>
              <a:ext cx="66550" cy="51634"/>
            </a:xfrm>
            <a:custGeom>
              <a:avLst/>
              <a:gdLst>
                <a:gd name="T0" fmla="*/ 0 w 232"/>
                <a:gd name="T1" fmla="*/ 180 h 180"/>
                <a:gd name="T2" fmla="*/ 232 w 232"/>
                <a:gd name="T3" fmla="*/ 180 h 180"/>
                <a:gd name="T4" fmla="*/ 232 w 232"/>
                <a:gd name="T5" fmla="*/ 0 h 180"/>
                <a:gd name="T6" fmla="*/ 0 w 232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180">
                  <a:moveTo>
                    <a:pt x="0" y="180"/>
                  </a:moveTo>
                  <a:lnTo>
                    <a:pt x="232" y="180"/>
                  </a:lnTo>
                  <a:lnTo>
                    <a:pt x="232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5" name="Freeform 53">
              <a:extLst>
                <a:ext uri="{FF2B5EF4-FFF2-40B4-BE49-F238E27FC236}">
                  <a16:creationId xmlns:a16="http://schemas.microsoft.com/office/drawing/2014/main" xmlns="" id="{E765F27A-5162-40F0-B8E0-052F58775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584" y="3136848"/>
              <a:ext cx="66263" cy="51634"/>
            </a:xfrm>
            <a:custGeom>
              <a:avLst/>
              <a:gdLst>
                <a:gd name="T0" fmla="*/ 0 w 231"/>
                <a:gd name="T1" fmla="*/ 180 h 180"/>
                <a:gd name="T2" fmla="*/ 231 w 231"/>
                <a:gd name="T3" fmla="*/ 180 h 180"/>
                <a:gd name="T4" fmla="*/ 231 w 231"/>
                <a:gd name="T5" fmla="*/ 0 h 180"/>
                <a:gd name="T6" fmla="*/ 0 w 231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80">
                  <a:moveTo>
                    <a:pt x="0" y="180"/>
                  </a:moveTo>
                  <a:lnTo>
                    <a:pt x="231" y="180"/>
                  </a:lnTo>
                  <a:lnTo>
                    <a:pt x="231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6" name="Freeform 54">
              <a:extLst>
                <a:ext uri="{FF2B5EF4-FFF2-40B4-BE49-F238E27FC236}">
                  <a16:creationId xmlns:a16="http://schemas.microsoft.com/office/drawing/2014/main" xmlns="" id="{527A073C-C13A-4B7D-81B7-1795DA615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568" y="3136848"/>
              <a:ext cx="66550" cy="51634"/>
            </a:xfrm>
            <a:custGeom>
              <a:avLst/>
              <a:gdLst>
                <a:gd name="T0" fmla="*/ 0 w 232"/>
                <a:gd name="T1" fmla="*/ 180 h 180"/>
                <a:gd name="T2" fmla="*/ 232 w 232"/>
                <a:gd name="T3" fmla="*/ 180 h 180"/>
                <a:gd name="T4" fmla="*/ 232 w 232"/>
                <a:gd name="T5" fmla="*/ 0 h 180"/>
                <a:gd name="T6" fmla="*/ 0 w 232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180">
                  <a:moveTo>
                    <a:pt x="0" y="180"/>
                  </a:moveTo>
                  <a:lnTo>
                    <a:pt x="232" y="180"/>
                  </a:lnTo>
                  <a:lnTo>
                    <a:pt x="232" y="0"/>
                  </a:lnTo>
                  <a:lnTo>
                    <a:pt x="0" y="180"/>
                  </a:lnTo>
                  <a:close/>
                </a:path>
              </a:pathLst>
            </a:cu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7" name="Freeform 55">
              <a:extLst>
                <a:ext uri="{FF2B5EF4-FFF2-40B4-BE49-F238E27FC236}">
                  <a16:creationId xmlns:a16="http://schemas.microsoft.com/office/drawing/2014/main" xmlns="" id="{213C9584-EB10-424F-9ED9-2471E4331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673" y="2996289"/>
              <a:ext cx="82040" cy="192192"/>
            </a:xfrm>
            <a:custGeom>
              <a:avLst/>
              <a:gdLst>
                <a:gd name="T0" fmla="*/ 254 w 286"/>
                <a:gd name="T1" fmla="*/ 0 h 670"/>
                <a:gd name="T2" fmla="*/ 32 w 286"/>
                <a:gd name="T3" fmla="*/ 0 h 670"/>
                <a:gd name="T4" fmla="*/ 0 w 286"/>
                <a:gd name="T5" fmla="*/ 670 h 670"/>
                <a:gd name="T6" fmla="*/ 286 w 286"/>
                <a:gd name="T7" fmla="*/ 670 h 670"/>
                <a:gd name="T8" fmla="*/ 254 w 286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670">
                  <a:moveTo>
                    <a:pt x="254" y="0"/>
                  </a:moveTo>
                  <a:lnTo>
                    <a:pt x="32" y="0"/>
                  </a:lnTo>
                  <a:lnTo>
                    <a:pt x="0" y="670"/>
                  </a:lnTo>
                  <a:lnTo>
                    <a:pt x="286" y="670"/>
                  </a:lnTo>
                  <a:lnTo>
                    <a:pt x="254" y="0"/>
                  </a:lnTo>
                  <a:close/>
                </a:path>
              </a:pathLst>
            </a:cu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59" name="Freeform 56">
              <a:extLst>
                <a:ext uri="{FF2B5EF4-FFF2-40B4-BE49-F238E27FC236}">
                  <a16:creationId xmlns:a16="http://schemas.microsoft.com/office/drawing/2014/main" xmlns="" id="{F7732014-8499-4077-922D-8B9DA43B4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927" y="3033867"/>
              <a:ext cx="81753" cy="154615"/>
            </a:xfrm>
            <a:custGeom>
              <a:avLst/>
              <a:gdLst>
                <a:gd name="T0" fmla="*/ 254 w 285"/>
                <a:gd name="T1" fmla="*/ 0 h 539"/>
                <a:gd name="T2" fmla="*/ 32 w 285"/>
                <a:gd name="T3" fmla="*/ 0 h 539"/>
                <a:gd name="T4" fmla="*/ 0 w 285"/>
                <a:gd name="T5" fmla="*/ 539 h 539"/>
                <a:gd name="T6" fmla="*/ 285 w 285"/>
                <a:gd name="T7" fmla="*/ 539 h 539"/>
                <a:gd name="T8" fmla="*/ 254 w 285"/>
                <a:gd name="T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539">
                  <a:moveTo>
                    <a:pt x="254" y="0"/>
                  </a:moveTo>
                  <a:lnTo>
                    <a:pt x="32" y="0"/>
                  </a:lnTo>
                  <a:lnTo>
                    <a:pt x="0" y="539"/>
                  </a:lnTo>
                  <a:lnTo>
                    <a:pt x="285" y="539"/>
                  </a:lnTo>
                  <a:lnTo>
                    <a:pt x="254" y="0"/>
                  </a:lnTo>
                  <a:close/>
                </a:path>
              </a:pathLst>
            </a:cu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0" name="Line 57">
              <a:extLst>
                <a:ext uri="{FF2B5EF4-FFF2-40B4-BE49-F238E27FC236}">
                  <a16:creationId xmlns:a16="http://schemas.microsoft.com/office/drawing/2014/main" xmlns="" id="{C5EBB669-617C-43D1-AE91-EBD6C939B4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79705" y="3018951"/>
              <a:ext cx="65976" cy="0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1" name="Line 58">
              <a:extLst>
                <a:ext uri="{FF2B5EF4-FFF2-40B4-BE49-F238E27FC236}">
                  <a16:creationId xmlns:a16="http://schemas.microsoft.com/office/drawing/2014/main" xmlns="" id="{8FBCD846-DB0F-4363-9E60-0FB41067AA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99099" y="3062840"/>
              <a:ext cx="67411" cy="0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3" name="Line 59">
              <a:extLst>
                <a:ext uri="{FF2B5EF4-FFF2-40B4-BE49-F238E27FC236}">
                  <a16:creationId xmlns:a16="http://schemas.microsoft.com/office/drawing/2014/main" xmlns="" id="{87A8A7DB-2917-46DC-948B-6C4F75EE74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23194" y="2981086"/>
              <a:ext cx="0" cy="34709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5" name="Line 60">
              <a:extLst>
                <a:ext uri="{FF2B5EF4-FFF2-40B4-BE49-F238E27FC236}">
                  <a16:creationId xmlns:a16="http://schemas.microsoft.com/office/drawing/2014/main" xmlns="" id="{215E08B4-BFD2-46DF-9289-3DED671F32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42414" y="2955843"/>
              <a:ext cx="0" cy="59953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6" name="Line 61">
              <a:extLst>
                <a:ext uri="{FF2B5EF4-FFF2-40B4-BE49-F238E27FC236}">
                  <a16:creationId xmlns:a16="http://schemas.microsoft.com/office/drawing/2014/main" xmlns="" id="{8CEEB374-EAB4-4316-A296-8974330FCA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03227" y="2885850"/>
              <a:ext cx="0" cy="95236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67" name="Line 62">
              <a:extLst>
                <a:ext uri="{FF2B5EF4-FFF2-40B4-BE49-F238E27FC236}">
                  <a16:creationId xmlns:a16="http://schemas.microsoft.com/office/drawing/2014/main" xmlns="" id="{51F24F56-43AE-443E-AF4C-7BB56024B2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22446" y="2861755"/>
              <a:ext cx="0" cy="119331"/>
            </a:xfrm>
            <a:prstGeom prst="line">
              <a:avLst/>
            </a:prstGeom>
            <a:noFill/>
            <a:ln w="952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268" name="Groupe 267">
            <a:extLst>
              <a:ext uri="{FF2B5EF4-FFF2-40B4-BE49-F238E27FC236}">
                <a16:creationId xmlns:a16="http://schemas.microsoft.com/office/drawing/2014/main" xmlns="" id="{AC706653-D849-46EA-BF40-BD42BCDA6DFB}"/>
              </a:ext>
            </a:extLst>
          </p:cNvPr>
          <p:cNvGrpSpPr/>
          <p:nvPr/>
        </p:nvGrpSpPr>
        <p:grpSpPr>
          <a:xfrm>
            <a:off x="1796358" y="2782995"/>
            <a:ext cx="373782" cy="466466"/>
            <a:chOff x="1356894" y="2859173"/>
            <a:chExt cx="455811" cy="568833"/>
          </a:xfrm>
        </p:grpSpPr>
        <p:sp>
          <p:nvSpPr>
            <p:cNvPr id="270" name="Rectangle 63">
              <a:extLst>
                <a:ext uri="{FF2B5EF4-FFF2-40B4-BE49-F238E27FC236}">
                  <a16:creationId xmlns:a16="http://schemas.microsoft.com/office/drawing/2014/main" xmlns="" id="{DD0CC050-9E80-4C24-A0E0-23A89DA80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894" y="3189056"/>
              <a:ext cx="455811" cy="238950"/>
            </a:xfrm>
            <a:prstGeom prst="rect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2" name="Rectangle 64">
              <a:extLst>
                <a:ext uri="{FF2B5EF4-FFF2-40B4-BE49-F238E27FC236}">
                  <a16:creationId xmlns:a16="http://schemas.microsoft.com/office/drawing/2014/main" xmlns="" id="{CE65CB29-55B4-4FC8-A1EA-5DFDCE1F8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2888" y="3331049"/>
              <a:ext cx="136256" cy="96957"/>
            </a:xfrm>
            <a:prstGeom prst="rect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3" name="Line 65">
              <a:extLst>
                <a:ext uri="{FF2B5EF4-FFF2-40B4-BE49-F238E27FC236}">
                  <a16:creationId xmlns:a16="http://schemas.microsoft.com/office/drawing/2014/main" xmlns="" id="{EF58358A-1573-4505-9348-FED3C19628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95270" y="3227781"/>
              <a:ext cx="0" cy="173547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5" name="Line 66">
              <a:extLst>
                <a:ext uri="{FF2B5EF4-FFF2-40B4-BE49-F238E27FC236}">
                  <a16:creationId xmlns:a16="http://schemas.microsoft.com/office/drawing/2014/main" xmlns="" id="{6FE0BD80-3A60-42EB-AA39-47A633EA6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8800" y="3227781"/>
              <a:ext cx="0" cy="173547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6" name="Line 67">
              <a:extLst>
                <a:ext uri="{FF2B5EF4-FFF2-40B4-BE49-F238E27FC236}">
                  <a16:creationId xmlns:a16="http://schemas.microsoft.com/office/drawing/2014/main" xmlns="" id="{1E3827C3-3FD6-401D-9246-E24EACA815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2903" y="3227781"/>
              <a:ext cx="0" cy="173547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8" name="Line 68">
              <a:extLst>
                <a:ext uri="{FF2B5EF4-FFF2-40B4-BE49-F238E27FC236}">
                  <a16:creationId xmlns:a16="http://schemas.microsoft.com/office/drawing/2014/main" xmlns="" id="{1CAB17C2-F423-40E5-A13C-E5D63A934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6433" y="3227781"/>
              <a:ext cx="0" cy="173547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79" name="Line 69">
              <a:extLst>
                <a:ext uri="{FF2B5EF4-FFF2-40B4-BE49-F238E27FC236}">
                  <a16:creationId xmlns:a16="http://schemas.microsoft.com/office/drawing/2014/main" xmlns="" id="{81763D86-1D6C-4714-82F3-A3AB48819E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10249" y="3227781"/>
              <a:ext cx="0" cy="173547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83" name="Freeform 70">
              <a:extLst>
                <a:ext uri="{FF2B5EF4-FFF2-40B4-BE49-F238E27FC236}">
                  <a16:creationId xmlns:a16="http://schemas.microsoft.com/office/drawing/2014/main" xmlns="" id="{BD67D804-B1A9-4DA6-BAA6-528D374D3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1980" y="2995142"/>
              <a:ext cx="82901" cy="193914"/>
            </a:xfrm>
            <a:custGeom>
              <a:avLst/>
              <a:gdLst>
                <a:gd name="T0" fmla="*/ 257 w 289"/>
                <a:gd name="T1" fmla="*/ 0 h 676"/>
                <a:gd name="T2" fmla="*/ 32 w 289"/>
                <a:gd name="T3" fmla="*/ 0 h 676"/>
                <a:gd name="T4" fmla="*/ 0 w 289"/>
                <a:gd name="T5" fmla="*/ 676 h 676"/>
                <a:gd name="T6" fmla="*/ 289 w 289"/>
                <a:gd name="T7" fmla="*/ 676 h 676"/>
                <a:gd name="T8" fmla="*/ 257 w 289"/>
                <a:gd name="T9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676">
                  <a:moveTo>
                    <a:pt x="257" y="0"/>
                  </a:moveTo>
                  <a:lnTo>
                    <a:pt x="32" y="0"/>
                  </a:lnTo>
                  <a:lnTo>
                    <a:pt x="0" y="676"/>
                  </a:lnTo>
                  <a:lnTo>
                    <a:pt x="289" y="676"/>
                  </a:lnTo>
                  <a:lnTo>
                    <a:pt x="257" y="0"/>
                  </a:lnTo>
                  <a:close/>
                </a:path>
              </a:pathLst>
            </a:cu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84" name="Line 71">
              <a:extLst>
                <a:ext uri="{FF2B5EF4-FFF2-40B4-BE49-F238E27FC236}">
                  <a16:creationId xmlns:a16="http://schemas.microsoft.com/office/drawing/2014/main" xmlns="" id="{B44D6C1E-4F01-4EAE-84C8-0DC470E198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0011" y="3066979"/>
              <a:ext cx="66837" cy="0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86" name="Line 72">
              <a:extLst>
                <a:ext uri="{FF2B5EF4-FFF2-40B4-BE49-F238E27FC236}">
                  <a16:creationId xmlns:a16="http://schemas.microsoft.com/office/drawing/2014/main" xmlns="" id="{2C901BF6-62E4-49D1-8A11-2FA21A054D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3534" y="2883269"/>
              <a:ext cx="0" cy="96096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88" name="Line 73">
              <a:extLst>
                <a:ext uri="{FF2B5EF4-FFF2-40B4-BE49-F238E27FC236}">
                  <a16:creationId xmlns:a16="http://schemas.microsoft.com/office/drawing/2014/main" xmlns="" id="{90C0DC49-ADCA-4D60-AFB3-ED667A4DB0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53040" y="2859173"/>
              <a:ext cx="0" cy="120192"/>
            </a:xfrm>
            <a:prstGeom prst="line">
              <a:avLst/>
            </a:prstGeom>
            <a:noFill/>
            <a:ln w="95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289" name="Group 138">
            <a:extLst>
              <a:ext uri="{FF2B5EF4-FFF2-40B4-BE49-F238E27FC236}">
                <a16:creationId xmlns:a16="http://schemas.microsoft.com/office/drawing/2014/main" xmlns="" id="{5EB39154-FC72-4C80-8036-F0E3F39DDB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821" y="2917098"/>
            <a:ext cx="496740" cy="314556"/>
            <a:chOff x="2499" y="1380"/>
            <a:chExt cx="758" cy="480"/>
          </a:xfrm>
          <a:solidFill>
            <a:schemeClr val="accent3"/>
          </a:solidFill>
        </p:grpSpPr>
        <p:sp>
          <p:nvSpPr>
            <p:cNvPr id="290" name="Freeform 139">
              <a:extLst>
                <a:ext uri="{FF2B5EF4-FFF2-40B4-BE49-F238E27FC236}">
                  <a16:creationId xmlns:a16="http://schemas.microsoft.com/office/drawing/2014/main" xmlns="" id="{597EB4A8-E334-4916-AAF0-E27E3FE72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" y="1720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2" name="Freeform 140">
              <a:extLst>
                <a:ext uri="{FF2B5EF4-FFF2-40B4-BE49-F238E27FC236}">
                  <a16:creationId xmlns:a16="http://schemas.microsoft.com/office/drawing/2014/main" xmlns="" id="{FAD3DDE0-284B-46DE-8B6C-5FE484898F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5" y="1720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3" name="Freeform 141">
              <a:extLst>
                <a:ext uri="{FF2B5EF4-FFF2-40B4-BE49-F238E27FC236}">
                  <a16:creationId xmlns:a16="http://schemas.microsoft.com/office/drawing/2014/main" xmlns="" id="{7D5D1BC9-623D-426F-9940-2E881AE85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5" y="1593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5" name="Freeform 142">
              <a:extLst>
                <a:ext uri="{FF2B5EF4-FFF2-40B4-BE49-F238E27FC236}">
                  <a16:creationId xmlns:a16="http://schemas.microsoft.com/office/drawing/2014/main" xmlns="" id="{69F719C9-D8F3-4C67-A994-F691D0E6C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" y="1593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7" name="Freeform 143">
              <a:extLst>
                <a:ext uri="{FF2B5EF4-FFF2-40B4-BE49-F238E27FC236}">
                  <a16:creationId xmlns:a16="http://schemas.microsoft.com/office/drawing/2014/main" xmlns="" id="{96AC7DC1-ED36-4268-9A4F-357F1E583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5" y="1465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3 h 55"/>
                <a:gd name="T12" fmla="*/ 13 w 55"/>
                <a:gd name="T13" fmla="*/ 43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3"/>
                  </a:moveTo>
                  <a:lnTo>
                    <a:pt x="13" y="43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3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8" name="Freeform 144">
              <a:extLst>
                <a:ext uri="{FF2B5EF4-FFF2-40B4-BE49-F238E27FC236}">
                  <a16:creationId xmlns:a16="http://schemas.microsoft.com/office/drawing/2014/main" xmlns="" id="{E2AE706D-40D9-49FD-8B8B-5BA3EA0B4B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" y="1465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3 h 55"/>
                <a:gd name="T12" fmla="*/ 13 w 55"/>
                <a:gd name="T13" fmla="*/ 43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3"/>
                  </a:moveTo>
                  <a:lnTo>
                    <a:pt x="13" y="43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3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299" name="Freeform 145">
              <a:extLst>
                <a:ext uri="{FF2B5EF4-FFF2-40B4-BE49-F238E27FC236}">
                  <a16:creationId xmlns:a16="http://schemas.microsoft.com/office/drawing/2014/main" xmlns="" id="{77AA18AB-A8FA-4818-9768-8DC54D945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9" y="1380"/>
              <a:ext cx="758" cy="480"/>
            </a:xfrm>
            <a:custGeom>
              <a:avLst/>
              <a:gdLst>
                <a:gd name="T0" fmla="*/ 385 w 758"/>
                <a:gd name="T1" fmla="*/ 128 h 480"/>
                <a:gd name="T2" fmla="*/ 385 w 758"/>
                <a:gd name="T3" fmla="*/ 13 h 480"/>
                <a:gd name="T4" fmla="*/ 421 w 758"/>
                <a:gd name="T5" fmla="*/ 13 h 480"/>
                <a:gd name="T6" fmla="*/ 421 w 758"/>
                <a:gd name="T7" fmla="*/ 0 h 480"/>
                <a:gd name="T8" fmla="*/ 385 w 758"/>
                <a:gd name="T9" fmla="*/ 0 h 480"/>
                <a:gd name="T10" fmla="*/ 36 w 758"/>
                <a:gd name="T11" fmla="*/ 0 h 480"/>
                <a:gd name="T12" fmla="*/ 0 w 758"/>
                <a:gd name="T13" fmla="*/ 0 h 480"/>
                <a:gd name="T14" fmla="*/ 0 w 758"/>
                <a:gd name="T15" fmla="*/ 13 h 480"/>
                <a:gd name="T16" fmla="*/ 36 w 758"/>
                <a:gd name="T17" fmla="*/ 13 h 480"/>
                <a:gd name="T18" fmla="*/ 36 w 758"/>
                <a:gd name="T19" fmla="*/ 480 h 480"/>
                <a:gd name="T20" fmla="*/ 373 w 758"/>
                <a:gd name="T21" fmla="*/ 480 h 480"/>
                <a:gd name="T22" fmla="*/ 385 w 758"/>
                <a:gd name="T23" fmla="*/ 480 h 480"/>
                <a:gd name="T24" fmla="*/ 722 w 758"/>
                <a:gd name="T25" fmla="*/ 480 h 480"/>
                <a:gd name="T26" fmla="*/ 722 w 758"/>
                <a:gd name="T27" fmla="*/ 140 h 480"/>
                <a:gd name="T28" fmla="*/ 758 w 758"/>
                <a:gd name="T29" fmla="*/ 140 h 480"/>
                <a:gd name="T30" fmla="*/ 758 w 758"/>
                <a:gd name="T31" fmla="*/ 128 h 480"/>
                <a:gd name="T32" fmla="*/ 722 w 758"/>
                <a:gd name="T33" fmla="*/ 128 h 480"/>
                <a:gd name="T34" fmla="*/ 385 w 758"/>
                <a:gd name="T35" fmla="*/ 128 h 480"/>
                <a:gd name="T36" fmla="*/ 373 w 758"/>
                <a:gd name="T37" fmla="*/ 128 h 480"/>
                <a:gd name="T38" fmla="*/ 373 w 758"/>
                <a:gd name="T39" fmla="*/ 467 h 480"/>
                <a:gd name="T40" fmla="*/ 48 w 758"/>
                <a:gd name="T41" fmla="*/ 467 h 480"/>
                <a:gd name="T42" fmla="*/ 48 w 758"/>
                <a:gd name="T43" fmla="*/ 13 h 480"/>
                <a:gd name="T44" fmla="*/ 373 w 758"/>
                <a:gd name="T45" fmla="*/ 13 h 480"/>
                <a:gd name="T46" fmla="*/ 373 w 758"/>
                <a:gd name="T47" fmla="*/ 128 h 480"/>
                <a:gd name="T48" fmla="*/ 709 w 758"/>
                <a:gd name="T49" fmla="*/ 467 h 480"/>
                <a:gd name="T50" fmla="*/ 385 w 758"/>
                <a:gd name="T51" fmla="*/ 467 h 480"/>
                <a:gd name="T52" fmla="*/ 385 w 758"/>
                <a:gd name="T53" fmla="*/ 140 h 480"/>
                <a:gd name="T54" fmla="*/ 709 w 758"/>
                <a:gd name="T55" fmla="*/ 140 h 480"/>
                <a:gd name="T56" fmla="*/ 709 w 758"/>
                <a:gd name="T57" fmla="*/ 467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58" h="480">
                  <a:moveTo>
                    <a:pt x="385" y="128"/>
                  </a:moveTo>
                  <a:lnTo>
                    <a:pt x="385" y="13"/>
                  </a:lnTo>
                  <a:lnTo>
                    <a:pt x="421" y="13"/>
                  </a:lnTo>
                  <a:lnTo>
                    <a:pt x="421" y="0"/>
                  </a:lnTo>
                  <a:lnTo>
                    <a:pt x="385" y="0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36" y="13"/>
                  </a:lnTo>
                  <a:lnTo>
                    <a:pt x="36" y="480"/>
                  </a:lnTo>
                  <a:lnTo>
                    <a:pt x="373" y="480"/>
                  </a:lnTo>
                  <a:lnTo>
                    <a:pt x="385" y="480"/>
                  </a:lnTo>
                  <a:lnTo>
                    <a:pt x="722" y="480"/>
                  </a:lnTo>
                  <a:lnTo>
                    <a:pt x="722" y="140"/>
                  </a:lnTo>
                  <a:lnTo>
                    <a:pt x="758" y="140"/>
                  </a:lnTo>
                  <a:lnTo>
                    <a:pt x="758" y="128"/>
                  </a:lnTo>
                  <a:lnTo>
                    <a:pt x="722" y="128"/>
                  </a:lnTo>
                  <a:lnTo>
                    <a:pt x="385" y="128"/>
                  </a:lnTo>
                  <a:close/>
                  <a:moveTo>
                    <a:pt x="373" y="128"/>
                  </a:moveTo>
                  <a:lnTo>
                    <a:pt x="373" y="467"/>
                  </a:lnTo>
                  <a:lnTo>
                    <a:pt x="48" y="467"/>
                  </a:lnTo>
                  <a:lnTo>
                    <a:pt x="48" y="13"/>
                  </a:lnTo>
                  <a:lnTo>
                    <a:pt x="373" y="13"/>
                  </a:lnTo>
                  <a:lnTo>
                    <a:pt x="373" y="128"/>
                  </a:lnTo>
                  <a:close/>
                  <a:moveTo>
                    <a:pt x="709" y="467"/>
                  </a:moveTo>
                  <a:lnTo>
                    <a:pt x="385" y="467"/>
                  </a:lnTo>
                  <a:lnTo>
                    <a:pt x="385" y="140"/>
                  </a:lnTo>
                  <a:lnTo>
                    <a:pt x="709" y="140"/>
                  </a:lnTo>
                  <a:lnTo>
                    <a:pt x="709" y="467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00" name="Freeform 146">
              <a:extLst>
                <a:ext uri="{FF2B5EF4-FFF2-40B4-BE49-F238E27FC236}">
                  <a16:creationId xmlns:a16="http://schemas.microsoft.com/office/drawing/2014/main" xmlns="" id="{0E8CF3C4-D982-4D8A-982A-7DF25270E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6" y="1720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2 w 55"/>
                <a:gd name="T13" fmla="*/ 42 h 55"/>
                <a:gd name="T14" fmla="*/ 12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02" name="Freeform 147">
              <a:extLst>
                <a:ext uri="{FF2B5EF4-FFF2-40B4-BE49-F238E27FC236}">
                  <a16:creationId xmlns:a16="http://schemas.microsoft.com/office/drawing/2014/main" xmlns="" id="{6625221E-FCFC-453F-8449-91A764D2C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2" y="1720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03" name="Freeform 148">
              <a:extLst>
                <a:ext uri="{FF2B5EF4-FFF2-40B4-BE49-F238E27FC236}">
                  <a16:creationId xmlns:a16="http://schemas.microsoft.com/office/drawing/2014/main" xmlns="" id="{4B6651E1-7EE8-4FF7-85AD-3E44AF514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2" y="1593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05" name="Freeform 149">
              <a:extLst>
                <a:ext uri="{FF2B5EF4-FFF2-40B4-BE49-F238E27FC236}">
                  <a16:creationId xmlns:a16="http://schemas.microsoft.com/office/drawing/2014/main" xmlns="" id="{D0E065B7-D720-473E-93DE-E5B72AA006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6" y="1593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2 w 55"/>
                <a:gd name="T13" fmla="*/ 42 h 55"/>
                <a:gd name="T14" fmla="*/ 12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306" name="Group 116">
            <a:extLst>
              <a:ext uri="{FF2B5EF4-FFF2-40B4-BE49-F238E27FC236}">
                <a16:creationId xmlns:a16="http://schemas.microsoft.com/office/drawing/2014/main" xmlns="" id="{E4B326E7-1809-4BDE-BE2C-EDE152DD00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45836" y="2901544"/>
            <a:ext cx="371327" cy="357629"/>
            <a:chOff x="2926" y="1686"/>
            <a:chExt cx="759" cy="731"/>
          </a:xfrm>
          <a:solidFill>
            <a:schemeClr val="accent5"/>
          </a:solidFill>
        </p:grpSpPr>
        <p:sp>
          <p:nvSpPr>
            <p:cNvPr id="308" name="Freeform 117">
              <a:extLst>
                <a:ext uri="{FF2B5EF4-FFF2-40B4-BE49-F238E27FC236}">
                  <a16:creationId xmlns:a16="http://schemas.microsoft.com/office/drawing/2014/main" xmlns="" id="{A1677F31-9B19-4120-BA34-50948C748A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2024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09" name="Freeform 118">
              <a:extLst>
                <a:ext uri="{FF2B5EF4-FFF2-40B4-BE49-F238E27FC236}">
                  <a16:creationId xmlns:a16="http://schemas.microsoft.com/office/drawing/2014/main" xmlns="" id="{21C9165C-2C76-495E-8EAB-A7D0FFE276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" y="2024"/>
              <a:ext cx="54" cy="55"/>
            </a:xfrm>
            <a:custGeom>
              <a:avLst/>
              <a:gdLst>
                <a:gd name="T0" fmla="*/ 54 w 54"/>
                <a:gd name="T1" fmla="*/ 0 h 55"/>
                <a:gd name="T2" fmla="*/ 0 w 54"/>
                <a:gd name="T3" fmla="*/ 0 h 55"/>
                <a:gd name="T4" fmla="*/ 0 w 54"/>
                <a:gd name="T5" fmla="*/ 55 h 55"/>
                <a:gd name="T6" fmla="*/ 54 w 54"/>
                <a:gd name="T7" fmla="*/ 55 h 55"/>
                <a:gd name="T8" fmla="*/ 54 w 54"/>
                <a:gd name="T9" fmla="*/ 0 h 55"/>
                <a:gd name="T10" fmla="*/ 42 w 54"/>
                <a:gd name="T11" fmla="*/ 42 h 55"/>
                <a:gd name="T12" fmla="*/ 12 w 54"/>
                <a:gd name="T13" fmla="*/ 42 h 55"/>
                <a:gd name="T14" fmla="*/ 12 w 54"/>
                <a:gd name="T15" fmla="*/ 13 h 55"/>
                <a:gd name="T16" fmla="*/ 42 w 54"/>
                <a:gd name="T17" fmla="*/ 13 h 55"/>
                <a:gd name="T18" fmla="*/ 42 w 54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5">
                  <a:moveTo>
                    <a:pt x="54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4" y="55"/>
                  </a:lnTo>
                  <a:lnTo>
                    <a:pt x="54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11" name="Freeform 119">
              <a:extLst>
                <a:ext uri="{FF2B5EF4-FFF2-40B4-BE49-F238E27FC236}">
                  <a16:creationId xmlns:a16="http://schemas.microsoft.com/office/drawing/2014/main" xmlns="" id="{36F800CB-00F9-4845-A83D-57722C9C7F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" y="1898"/>
              <a:ext cx="54" cy="54"/>
            </a:xfrm>
            <a:custGeom>
              <a:avLst/>
              <a:gdLst>
                <a:gd name="T0" fmla="*/ 54 w 54"/>
                <a:gd name="T1" fmla="*/ 0 h 54"/>
                <a:gd name="T2" fmla="*/ 0 w 54"/>
                <a:gd name="T3" fmla="*/ 0 h 54"/>
                <a:gd name="T4" fmla="*/ 0 w 54"/>
                <a:gd name="T5" fmla="*/ 54 h 54"/>
                <a:gd name="T6" fmla="*/ 54 w 54"/>
                <a:gd name="T7" fmla="*/ 54 h 54"/>
                <a:gd name="T8" fmla="*/ 54 w 54"/>
                <a:gd name="T9" fmla="*/ 0 h 54"/>
                <a:gd name="T10" fmla="*/ 42 w 54"/>
                <a:gd name="T11" fmla="*/ 42 h 54"/>
                <a:gd name="T12" fmla="*/ 12 w 54"/>
                <a:gd name="T13" fmla="*/ 42 h 54"/>
                <a:gd name="T14" fmla="*/ 12 w 54"/>
                <a:gd name="T15" fmla="*/ 12 h 54"/>
                <a:gd name="T16" fmla="*/ 42 w 54"/>
                <a:gd name="T17" fmla="*/ 12 h 54"/>
                <a:gd name="T18" fmla="*/ 42 w 54"/>
                <a:gd name="T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54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4" y="54"/>
                  </a:lnTo>
                  <a:lnTo>
                    <a:pt x="54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13" name="Freeform 120">
              <a:extLst>
                <a:ext uri="{FF2B5EF4-FFF2-40B4-BE49-F238E27FC236}">
                  <a16:creationId xmlns:a16="http://schemas.microsoft.com/office/drawing/2014/main" xmlns="" id="{F46B0776-9666-4F14-BAD4-0386FF0BF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1898"/>
              <a:ext cx="55" cy="54"/>
            </a:xfrm>
            <a:custGeom>
              <a:avLst/>
              <a:gdLst>
                <a:gd name="T0" fmla="*/ 55 w 55"/>
                <a:gd name="T1" fmla="*/ 0 h 54"/>
                <a:gd name="T2" fmla="*/ 0 w 55"/>
                <a:gd name="T3" fmla="*/ 0 h 54"/>
                <a:gd name="T4" fmla="*/ 0 w 55"/>
                <a:gd name="T5" fmla="*/ 54 h 54"/>
                <a:gd name="T6" fmla="*/ 55 w 55"/>
                <a:gd name="T7" fmla="*/ 54 h 54"/>
                <a:gd name="T8" fmla="*/ 55 w 55"/>
                <a:gd name="T9" fmla="*/ 0 h 54"/>
                <a:gd name="T10" fmla="*/ 42 w 55"/>
                <a:gd name="T11" fmla="*/ 42 h 54"/>
                <a:gd name="T12" fmla="*/ 13 w 55"/>
                <a:gd name="T13" fmla="*/ 42 h 54"/>
                <a:gd name="T14" fmla="*/ 13 w 55"/>
                <a:gd name="T15" fmla="*/ 12 h 54"/>
                <a:gd name="T16" fmla="*/ 42 w 55"/>
                <a:gd name="T17" fmla="*/ 12 h 54"/>
                <a:gd name="T18" fmla="*/ 42 w 55"/>
                <a:gd name="T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4">
                  <a:moveTo>
                    <a:pt x="55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5" y="54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14" name="Freeform 121">
              <a:extLst>
                <a:ext uri="{FF2B5EF4-FFF2-40B4-BE49-F238E27FC236}">
                  <a16:creationId xmlns:a16="http://schemas.microsoft.com/office/drawing/2014/main" xmlns="" id="{CE45BEDE-E2B4-4F6C-A1D4-A7ED1DC2C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" y="1771"/>
              <a:ext cx="54" cy="55"/>
            </a:xfrm>
            <a:custGeom>
              <a:avLst/>
              <a:gdLst>
                <a:gd name="T0" fmla="*/ 54 w 54"/>
                <a:gd name="T1" fmla="*/ 0 h 55"/>
                <a:gd name="T2" fmla="*/ 0 w 54"/>
                <a:gd name="T3" fmla="*/ 0 h 55"/>
                <a:gd name="T4" fmla="*/ 0 w 54"/>
                <a:gd name="T5" fmla="*/ 55 h 55"/>
                <a:gd name="T6" fmla="*/ 54 w 54"/>
                <a:gd name="T7" fmla="*/ 55 h 55"/>
                <a:gd name="T8" fmla="*/ 54 w 54"/>
                <a:gd name="T9" fmla="*/ 0 h 55"/>
                <a:gd name="T10" fmla="*/ 42 w 54"/>
                <a:gd name="T11" fmla="*/ 42 h 55"/>
                <a:gd name="T12" fmla="*/ 12 w 54"/>
                <a:gd name="T13" fmla="*/ 42 h 55"/>
                <a:gd name="T14" fmla="*/ 12 w 54"/>
                <a:gd name="T15" fmla="*/ 12 h 55"/>
                <a:gd name="T16" fmla="*/ 42 w 54"/>
                <a:gd name="T17" fmla="*/ 12 h 55"/>
                <a:gd name="T18" fmla="*/ 42 w 54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5">
                  <a:moveTo>
                    <a:pt x="54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4" y="55"/>
                  </a:lnTo>
                  <a:lnTo>
                    <a:pt x="54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16" name="Freeform 122">
              <a:extLst>
                <a:ext uri="{FF2B5EF4-FFF2-40B4-BE49-F238E27FC236}">
                  <a16:creationId xmlns:a16="http://schemas.microsoft.com/office/drawing/2014/main" xmlns="" id="{E0F4BE77-CF12-40BF-A28D-6C6706B786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1771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17" name="Freeform 123">
              <a:extLst>
                <a:ext uri="{FF2B5EF4-FFF2-40B4-BE49-F238E27FC236}">
                  <a16:creationId xmlns:a16="http://schemas.microsoft.com/office/drawing/2014/main" xmlns="" id="{A1AB0980-954C-4665-B3CA-F28B6FB40D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6" y="1686"/>
              <a:ext cx="759" cy="731"/>
            </a:xfrm>
            <a:custGeom>
              <a:avLst/>
              <a:gdLst>
                <a:gd name="T0" fmla="*/ 386 w 759"/>
                <a:gd name="T1" fmla="*/ 127 h 731"/>
                <a:gd name="T2" fmla="*/ 386 w 759"/>
                <a:gd name="T3" fmla="*/ 13 h 731"/>
                <a:gd name="T4" fmla="*/ 422 w 759"/>
                <a:gd name="T5" fmla="*/ 13 h 731"/>
                <a:gd name="T6" fmla="*/ 422 w 759"/>
                <a:gd name="T7" fmla="*/ 0 h 731"/>
                <a:gd name="T8" fmla="*/ 386 w 759"/>
                <a:gd name="T9" fmla="*/ 0 h 731"/>
                <a:gd name="T10" fmla="*/ 36 w 759"/>
                <a:gd name="T11" fmla="*/ 0 h 731"/>
                <a:gd name="T12" fmla="*/ 0 w 759"/>
                <a:gd name="T13" fmla="*/ 0 h 731"/>
                <a:gd name="T14" fmla="*/ 0 w 759"/>
                <a:gd name="T15" fmla="*/ 13 h 731"/>
                <a:gd name="T16" fmla="*/ 36 w 759"/>
                <a:gd name="T17" fmla="*/ 13 h 731"/>
                <a:gd name="T18" fmla="*/ 36 w 759"/>
                <a:gd name="T19" fmla="*/ 731 h 731"/>
                <a:gd name="T20" fmla="*/ 373 w 759"/>
                <a:gd name="T21" fmla="*/ 731 h 731"/>
                <a:gd name="T22" fmla="*/ 386 w 759"/>
                <a:gd name="T23" fmla="*/ 731 h 731"/>
                <a:gd name="T24" fmla="*/ 723 w 759"/>
                <a:gd name="T25" fmla="*/ 731 h 731"/>
                <a:gd name="T26" fmla="*/ 723 w 759"/>
                <a:gd name="T27" fmla="*/ 140 h 731"/>
                <a:gd name="T28" fmla="*/ 759 w 759"/>
                <a:gd name="T29" fmla="*/ 140 h 731"/>
                <a:gd name="T30" fmla="*/ 759 w 759"/>
                <a:gd name="T31" fmla="*/ 127 h 731"/>
                <a:gd name="T32" fmla="*/ 723 w 759"/>
                <a:gd name="T33" fmla="*/ 127 h 731"/>
                <a:gd name="T34" fmla="*/ 386 w 759"/>
                <a:gd name="T35" fmla="*/ 127 h 731"/>
                <a:gd name="T36" fmla="*/ 373 w 759"/>
                <a:gd name="T37" fmla="*/ 127 h 731"/>
                <a:gd name="T38" fmla="*/ 373 w 759"/>
                <a:gd name="T39" fmla="*/ 718 h 731"/>
                <a:gd name="T40" fmla="*/ 48 w 759"/>
                <a:gd name="T41" fmla="*/ 718 h 731"/>
                <a:gd name="T42" fmla="*/ 48 w 759"/>
                <a:gd name="T43" fmla="*/ 13 h 731"/>
                <a:gd name="T44" fmla="*/ 373 w 759"/>
                <a:gd name="T45" fmla="*/ 13 h 731"/>
                <a:gd name="T46" fmla="*/ 373 w 759"/>
                <a:gd name="T47" fmla="*/ 127 h 731"/>
                <a:gd name="T48" fmla="*/ 710 w 759"/>
                <a:gd name="T49" fmla="*/ 718 h 731"/>
                <a:gd name="T50" fmla="*/ 386 w 759"/>
                <a:gd name="T51" fmla="*/ 718 h 731"/>
                <a:gd name="T52" fmla="*/ 386 w 759"/>
                <a:gd name="T53" fmla="*/ 140 h 731"/>
                <a:gd name="T54" fmla="*/ 710 w 759"/>
                <a:gd name="T55" fmla="*/ 140 h 731"/>
                <a:gd name="T56" fmla="*/ 710 w 759"/>
                <a:gd name="T57" fmla="*/ 718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59" h="731">
                  <a:moveTo>
                    <a:pt x="386" y="127"/>
                  </a:moveTo>
                  <a:lnTo>
                    <a:pt x="386" y="13"/>
                  </a:lnTo>
                  <a:lnTo>
                    <a:pt x="422" y="13"/>
                  </a:lnTo>
                  <a:lnTo>
                    <a:pt x="422" y="0"/>
                  </a:lnTo>
                  <a:lnTo>
                    <a:pt x="386" y="0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36" y="13"/>
                  </a:lnTo>
                  <a:lnTo>
                    <a:pt x="36" y="731"/>
                  </a:lnTo>
                  <a:lnTo>
                    <a:pt x="373" y="731"/>
                  </a:lnTo>
                  <a:lnTo>
                    <a:pt x="386" y="731"/>
                  </a:lnTo>
                  <a:lnTo>
                    <a:pt x="723" y="731"/>
                  </a:lnTo>
                  <a:lnTo>
                    <a:pt x="723" y="140"/>
                  </a:lnTo>
                  <a:lnTo>
                    <a:pt x="759" y="140"/>
                  </a:lnTo>
                  <a:lnTo>
                    <a:pt x="759" y="127"/>
                  </a:lnTo>
                  <a:lnTo>
                    <a:pt x="723" y="127"/>
                  </a:lnTo>
                  <a:lnTo>
                    <a:pt x="386" y="127"/>
                  </a:lnTo>
                  <a:close/>
                  <a:moveTo>
                    <a:pt x="373" y="127"/>
                  </a:moveTo>
                  <a:lnTo>
                    <a:pt x="373" y="718"/>
                  </a:lnTo>
                  <a:lnTo>
                    <a:pt x="48" y="718"/>
                  </a:lnTo>
                  <a:lnTo>
                    <a:pt x="48" y="13"/>
                  </a:lnTo>
                  <a:lnTo>
                    <a:pt x="373" y="13"/>
                  </a:lnTo>
                  <a:lnTo>
                    <a:pt x="373" y="127"/>
                  </a:lnTo>
                  <a:close/>
                  <a:moveTo>
                    <a:pt x="710" y="718"/>
                  </a:moveTo>
                  <a:lnTo>
                    <a:pt x="386" y="718"/>
                  </a:lnTo>
                  <a:lnTo>
                    <a:pt x="386" y="140"/>
                  </a:lnTo>
                  <a:lnTo>
                    <a:pt x="710" y="140"/>
                  </a:lnTo>
                  <a:lnTo>
                    <a:pt x="710" y="718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20" name="Freeform 124">
              <a:extLst>
                <a:ext uri="{FF2B5EF4-FFF2-40B4-BE49-F238E27FC236}">
                  <a16:creationId xmlns:a16="http://schemas.microsoft.com/office/drawing/2014/main" xmlns="" id="{A6A67ADF-2CD8-4AA4-96CB-55080246A5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2024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3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3 w 55"/>
                <a:gd name="T17" fmla="*/ 13 h 55"/>
                <a:gd name="T18" fmla="*/ 43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3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3" y="13"/>
                  </a:lnTo>
                  <a:lnTo>
                    <a:pt x="43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22" name="Freeform 125">
              <a:extLst>
                <a:ext uri="{FF2B5EF4-FFF2-40B4-BE49-F238E27FC236}">
                  <a16:creationId xmlns:a16="http://schemas.microsoft.com/office/drawing/2014/main" xmlns="" id="{93DDF034-48A7-4ED8-859F-E4A22A684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2024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24" name="Freeform 126">
              <a:extLst>
                <a:ext uri="{FF2B5EF4-FFF2-40B4-BE49-F238E27FC236}">
                  <a16:creationId xmlns:a16="http://schemas.microsoft.com/office/drawing/2014/main" xmlns="" id="{C97BD622-C757-408B-BF79-25E4B349C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1898"/>
              <a:ext cx="55" cy="54"/>
            </a:xfrm>
            <a:custGeom>
              <a:avLst/>
              <a:gdLst>
                <a:gd name="T0" fmla="*/ 55 w 55"/>
                <a:gd name="T1" fmla="*/ 0 h 54"/>
                <a:gd name="T2" fmla="*/ 0 w 55"/>
                <a:gd name="T3" fmla="*/ 0 h 54"/>
                <a:gd name="T4" fmla="*/ 0 w 55"/>
                <a:gd name="T5" fmla="*/ 54 h 54"/>
                <a:gd name="T6" fmla="*/ 55 w 55"/>
                <a:gd name="T7" fmla="*/ 54 h 54"/>
                <a:gd name="T8" fmla="*/ 55 w 55"/>
                <a:gd name="T9" fmla="*/ 0 h 54"/>
                <a:gd name="T10" fmla="*/ 42 w 55"/>
                <a:gd name="T11" fmla="*/ 42 h 54"/>
                <a:gd name="T12" fmla="*/ 13 w 55"/>
                <a:gd name="T13" fmla="*/ 42 h 54"/>
                <a:gd name="T14" fmla="*/ 13 w 55"/>
                <a:gd name="T15" fmla="*/ 12 h 54"/>
                <a:gd name="T16" fmla="*/ 42 w 55"/>
                <a:gd name="T17" fmla="*/ 12 h 54"/>
                <a:gd name="T18" fmla="*/ 42 w 55"/>
                <a:gd name="T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4">
                  <a:moveTo>
                    <a:pt x="55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5" y="54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25" name="Freeform 127">
              <a:extLst>
                <a:ext uri="{FF2B5EF4-FFF2-40B4-BE49-F238E27FC236}">
                  <a16:creationId xmlns:a16="http://schemas.microsoft.com/office/drawing/2014/main" xmlns="" id="{E6ACB208-A438-4DF8-B26C-0C7AF509B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1898"/>
              <a:ext cx="55" cy="54"/>
            </a:xfrm>
            <a:custGeom>
              <a:avLst/>
              <a:gdLst>
                <a:gd name="T0" fmla="*/ 55 w 55"/>
                <a:gd name="T1" fmla="*/ 0 h 54"/>
                <a:gd name="T2" fmla="*/ 0 w 55"/>
                <a:gd name="T3" fmla="*/ 0 h 54"/>
                <a:gd name="T4" fmla="*/ 0 w 55"/>
                <a:gd name="T5" fmla="*/ 54 h 54"/>
                <a:gd name="T6" fmla="*/ 55 w 55"/>
                <a:gd name="T7" fmla="*/ 54 h 54"/>
                <a:gd name="T8" fmla="*/ 55 w 55"/>
                <a:gd name="T9" fmla="*/ 0 h 54"/>
                <a:gd name="T10" fmla="*/ 43 w 55"/>
                <a:gd name="T11" fmla="*/ 42 h 54"/>
                <a:gd name="T12" fmla="*/ 13 w 55"/>
                <a:gd name="T13" fmla="*/ 42 h 54"/>
                <a:gd name="T14" fmla="*/ 13 w 55"/>
                <a:gd name="T15" fmla="*/ 12 h 54"/>
                <a:gd name="T16" fmla="*/ 43 w 55"/>
                <a:gd name="T17" fmla="*/ 12 h 54"/>
                <a:gd name="T18" fmla="*/ 43 w 55"/>
                <a:gd name="T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4">
                  <a:moveTo>
                    <a:pt x="55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5" y="54"/>
                  </a:lnTo>
                  <a:lnTo>
                    <a:pt x="55" y="0"/>
                  </a:lnTo>
                  <a:close/>
                  <a:moveTo>
                    <a:pt x="43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3" y="12"/>
                  </a:lnTo>
                  <a:lnTo>
                    <a:pt x="43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29" name="Freeform 128">
              <a:extLst>
                <a:ext uri="{FF2B5EF4-FFF2-40B4-BE49-F238E27FC236}">
                  <a16:creationId xmlns:a16="http://schemas.microsoft.com/office/drawing/2014/main" xmlns="" id="{D119BADD-0EDC-496F-80F0-6FE02ACC3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2278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0" name="Freeform 129">
              <a:extLst>
                <a:ext uri="{FF2B5EF4-FFF2-40B4-BE49-F238E27FC236}">
                  <a16:creationId xmlns:a16="http://schemas.microsoft.com/office/drawing/2014/main" xmlns="" id="{E5E83EEE-0896-46B1-A7AD-8062BC87C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" y="2278"/>
              <a:ext cx="54" cy="55"/>
            </a:xfrm>
            <a:custGeom>
              <a:avLst/>
              <a:gdLst>
                <a:gd name="T0" fmla="*/ 54 w 54"/>
                <a:gd name="T1" fmla="*/ 0 h 55"/>
                <a:gd name="T2" fmla="*/ 0 w 54"/>
                <a:gd name="T3" fmla="*/ 0 h 55"/>
                <a:gd name="T4" fmla="*/ 0 w 54"/>
                <a:gd name="T5" fmla="*/ 55 h 55"/>
                <a:gd name="T6" fmla="*/ 54 w 54"/>
                <a:gd name="T7" fmla="*/ 55 h 55"/>
                <a:gd name="T8" fmla="*/ 54 w 54"/>
                <a:gd name="T9" fmla="*/ 0 h 55"/>
                <a:gd name="T10" fmla="*/ 42 w 54"/>
                <a:gd name="T11" fmla="*/ 42 h 55"/>
                <a:gd name="T12" fmla="*/ 12 w 54"/>
                <a:gd name="T13" fmla="*/ 42 h 55"/>
                <a:gd name="T14" fmla="*/ 12 w 54"/>
                <a:gd name="T15" fmla="*/ 12 h 55"/>
                <a:gd name="T16" fmla="*/ 42 w 54"/>
                <a:gd name="T17" fmla="*/ 12 h 55"/>
                <a:gd name="T18" fmla="*/ 42 w 54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5">
                  <a:moveTo>
                    <a:pt x="54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4" y="55"/>
                  </a:lnTo>
                  <a:lnTo>
                    <a:pt x="54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2" name="Freeform 130">
              <a:extLst>
                <a:ext uri="{FF2B5EF4-FFF2-40B4-BE49-F238E27FC236}">
                  <a16:creationId xmlns:a16="http://schemas.microsoft.com/office/drawing/2014/main" xmlns="" id="{BA32099E-404D-40A8-A5BC-19CBECF133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" y="2151"/>
              <a:ext cx="54" cy="55"/>
            </a:xfrm>
            <a:custGeom>
              <a:avLst/>
              <a:gdLst>
                <a:gd name="T0" fmla="*/ 54 w 54"/>
                <a:gd name="T1" fmla="*/ 0 h 55"/>
                <a:gd name="T2" fmla="*/ 0 w 54"/>
                <a:gd name="T3" fmla="*/ 0 h 55"/>
                <a:gd name="T4" fmla="*/ 0 w 54"/>
                <a:gd name="T5" fmla="*/ 55 h 55"/>
                <a:gd name="T6" fmla="*/ 54 w 54"/>
                <a:gd name="T7" fmla="*/ 55 h 55"/>
                <a:gd name="T8" fmla="*/ 54 w 54"/>
                <a:gd name="T9" fmla="*/ 0 h 55"/>
                <a:gd name="T10" fmla="*/ 42 w 54"/>
                <a:gd name="T11" fmla="*/ 42 h 55"/>
                <a:gd name="T12" fmla="*/ 12 w 54"/>
                <a:gd name="T13" fmla="*/ 42 h 55"/>
                <a:gd name="T14" fmla="*/ 12 w 54"/>
                <a:gd name="T15" fmla="*/ 13 h 55"/>
                <a:gd name="T16" fmla="*/ 42 w 54"/>
                <a:gd name="T17" fmla="*/ 13 h 55"/>
                <a:gd name="T18" fmla="*/ 42 w 54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5">
                  <a:moveTo>
                    <a:pt x="54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4" y="55"/>
                  </a:lnTo>
                  <a:lnTo>
                    <a:pt x="54" y="0"/>
                  </a:lnTo>
                  <a:close/>
                  <a:moveTo>
                    <a:pt x="42" y="42"/>
                  </a:moveTo>
                  <a:lnTo>
                    <a:pt x="12" y="42"/>
                  </a:lnTo>
                  <a:lnTo>
                    <a:pt x="12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4" name="Freeform 131">
              <a:extLst>
                <a:ext uri="{FF2B5EF4-FFF2-40B4-BE49-F238E27FC236}">
                  <a16:creationId xmlns:a16="http://schemas.microsoft.com/office/drawing/2014/main" xmlns="" id="{58E34931-3DF1-426F-8D77-C017C396A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2151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5" name="Freeform 132">
              <a:extLst>
                <a:ext uri="{FF2B5EF4-FFF2-40B4-BE49-F238E27FC236}">
                  <a16:creationId xmlns:a16="http://schemas.microsoft.com/office/drawing/2014/main" xmlns="" id="{0D59A3CF-234B-44BF-90D6-9F5C20057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2278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3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3 w 55"/>
                <a:gd name="T17" fmla="*/ 12 h 55"/>
                <a:gd name="T18" fmla="*/ 43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3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3" y="12"/>
                  </a:lnTo>
                  <a:lnTo>
                    <a:pt x="43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6" name="Freeform 133">
              <a:extLst>
                <a:ext uri="{FF2B5EF4-FFF2-40B4-BE49-F238E27FC236}">
                  <a16:creationId xmlns:a16="http://schemas.microsoft.com/office/drawing/2014/main" xmlns="" id="{6143C299-1093-4FC6-93E8-A256440A6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2278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2 h 55"/>
                <a:gd name="T16" fmla="*/ 42 w 55"/>
                <a:gd name="T17" fmla="*/ 12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2"/>
                  </a:lnTo>
                  <a:lnTo>
                    <a:pt x="42" y="12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7" name="Freeform 134">
              <a:extLst>
                <a:ext uri="{FF2B5EF4-FFF2-40B4-BE49-F238E27FC236}">
                  <a16:creationId xmlns:a16="http://schemas.microsoft.com/office/drawing/2014/main" xmlns="" id="{A57B9052-BD8E-44BC-88C2-B96665757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2151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2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2 w 55"/>
                <a:gd name="T17" fmla="*/ 13 h 55"/>
                <a:gd name="T18" fmla="*/ 42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2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2" y="13"/>
                  </a:lnTo>
                  <a:lnTo>
                    <a:pt x="42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  <p:sp>
          <p:nvSpPr>
            <p:cNvPr id="338" name="Freeform 135">
              <a:extLst>
                <a:ext uri="{FF2B5EF4-FFF2-40B4-BE49-F238E27FC236}">
                  <a16:creationId xmlns:a16="http://schemas.microsoft.com/office/drawing/2014/main" xmlns="" id="{10A26E3A-2C88-4F4B-9156-BD95B21D9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2151"/>
              <a:ext cx="55" cy="55"/>
            </a:xfrm>
            <a:custGeom>
              <a:avLst/>
              <a:gdLst>
                <a:gd name="T0" fmla="*/ 55 w 55"/>
                <a:gd name="T1" fmla="*/ 0 h 55"/>
                <a:gd name="T2" fmla="*/ 0 w 55"/>
                <a:gd name="T3" fmla="*/ 0 h 55"/>
                <a:gd name="T4" fmla="*/ 0 w 55"/>
                <a:gd name="T5" fmla="*/ 55 h 55"/>
                <a:gd name="T6" fmla="*/ 55 w 55"/>
                <a:gd name="T7" fmla="*/ 55 h 55"/>
                <a:gd name="T8" fmla="*/ 55 w 55"/>
                <a:gd name="T9" fmla="*/ 0 h 55"/>
                <a:gd name="T10" fmla="*/ 43 w 55"/>
                <a:gd name="T11" fmla="*/ 42 h 55"/>
                <a:gd name="T12" fmla="*/ 13 w 55"/>
                <a:gd name="T13" fmla="*/ 42 h 55"/>
                <a:gd name="T14" fmla="*/ 13 w 55"/>
                <a:gd name="T15" fmla="*/ 13 h 55"/>
                <a:gd name="T16" fmla="*/ 43 w 55"/>
                <a:gd name="T17" fmla="*/ 13 h 55"/>
                <a:gd name="T18" fmla="*/ 43 w 55"/>
                <a:gd name="T1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55" y="0"/>
                  </a:moveTo>
                  <a:lnTo>
                    <a:pt x="0" y="0"/>
                  </a:lnTo>
                  <a:lnTo>
                    <a:pt x="0" y="55"/>
                  </a:lnTo>
                  <a:lnTo>
                    <a:pt x="55" y="55"/>
                  </a:lnTo>
                  <a:lnTo>
                    <a:pt x="55" y="0"/>
                  </a:lnTo>
                  <a:close/>
                  <a:moveTo>
                    <a:pt x="43" y="42"/>
                  </a:moveTo>
                  <a:lnTo>
                    <a:pt x="13" y="42"/>
                  </a:lnTo>
                  <a:lnTo>
                    <a:pt x="13" y="13"/>
                  </a:lnTo>
                  <a:lnTo>
                    <a:pt x="43" y="13"/>
                  </a:lnTo>
                  <a:lnTo>
                    <a:pt x="43" y="42"/>
                  </a:lnTo>
                  <a:close/>
                </a:path>
              </a:pathLst>
            </a:custGeom>
            <a:grpFill/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b="1"/>
            </a:p>
          </p:txBody>
        </p:sp>
      </p:grpSp>
      <p:grpSp>
        <p:nvGrpSpPr>
          <p:cNvPr id="339" name="Group 152">
            <a:extLst>
              <a:ext uri="{FF2B5EF4-FFF2-40B4-BE49-F238E27FC236}">
                <a16:creationId xmlns:a16="http://schemas.microsoft.com/office/drawing/2014/main" xmlns="" id="{C78C6FFC-BD8B-4A94-A93C-97A3E395901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22981" y="2906069"/>
            <a:ext cx="321442" cy="365068"/>
            <a:chOff x="2599" y="1301"/>
            <a:chExt cx="560" cy="636"/>
          </a:xfrm>
          <a:solidFill>
            <a:schemeClr val="accent5"/>
          </a:solidFill>
        </p:grpSpPr>
        <p:sp>
          <p:nvSpPr>
            <p:cNvPr id="341" name="Freeform 153">
              <a:extLst>
                <a:ext uri="{FF2B5EF4-FFF2-40B4-BE49-F238E27FC236}">
                  <a16:creationId xmlns:a16="http://schemas.microsoft.com/office/drawing/2014/main" xmlns="" id="{C8706EC5-C8F1-43DA-8A1E-A3BF1B8B0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8" y="1432"/>
              <a:ext cx="78" cy="78"/>
            </a:xfrm>
            <a:custGeom>
              <a:avLst/>
              <a:gdLst>
                <a:gd name="T0" fmla="*/ 0 w 37"/>
                <a:gd name="T1" fmla="*/ 0 h 37"/>
                <a:gd name="T2" fmla="*/ 0 w 37"/>
                <a:gd name="T3" fmla="*/ 0 h 37"/>
                <a:gd name="T4" fmla="*/ 37 w 37"/>
                <a:gd name="T5" fmla="*/ 37 h 37"/>
                <a:gd name="T6" fmla="*/ 0 w 37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37"/>
                    <a:pt x="37" y="37"/>
                    <a:pt x="37" y="37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3" name="Freeform 154">
              <a:extLst>
                <a:ext uri="{FF2B5EF4-FFF2-40B4-BE49-F238E27FC236}">
                  <a16:creationId xmlns:a16="http://schemas.microsoft.com/office/drawing/2014/main" xmlns="" id="{56D73CD7-A15C-47E9-A18E-4A728A95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9" y="1301"/>
              <a:ext cx="560" cy="636"/>
            </a:xfrm>
            <a:custGeom>
              <a:avLst/>
              <a:gdLst>
                <a:gd name="T0" fmla="*/ 264 w 265"/>
                <a:gd name="T1" fmla="*/ 130 h 301"/>
                <a:gd name="T2" fmla="*/ 228 w 265"/>
                <a:gd name="T3" fmla="*/ 95 h 301"/>
                <a:gd name="T4" fmla="*/ 228 w 265"/>
                <a:gd name="T5" fmla="*/ 59 h 301"/>
                <a:gd name="T6" fmla="*/ 224 w 265"/>
                <a:gd name="T7" fmla="*/ 55 h 301"/>
                <a:gd name="T8" fmla="*/ 189 w 265"/>
                <a:gd name="T9" fmla="*/ 55 h 301"/>
                <a:gd name="T10" fmla="*/ 135 w 265"/>
                <a:gd name="T11" fmla="*/ 1 h 301"/>
                <a:gd name="T12" fmla="*/ 129 w 265"/>
                <a:gd name="T13" fmla="*/ 1 h 301"/>
                <a:gd name="T14" fmla="*/ 1 w 265"/>
                <a:gd name="T15" fmla="*/ 130 h 301"/>
                <a:gd name="T16" fmla="*/ 0 w 265"/>
                <a:gd name="T17" fmla="*/ 133 h 301"/>
                <a:gd name="T18" fmla="*/ 0 w 265"/>
                <a:gd name="T19" fmla="*/ 297 h 301"/>
                <a:gd name="T20" fmla="*/ 4 w 265"/>
                <a:gd name="T21" fmla="*/ 301 h 301"/>
                <a:gd name="T22" fmla="*/ 260 w 265"/>
                <a:gd name="T23" fmla="*/ 301 h 301"/>
                <a:gd name="T24" fmla="*/ 264 w 265"/>
                <a:gd name="T25" fmla="*/ 297 h 301"/>
                <a:gd name="T26" fmla="*/ 264 w 265"/>
                <a:gd name="T27" fmla="*/ 133 h 301"/>
                <a:gd name="T28" fmla="*/ 264 w 265"/>
                <a:gd name="T29" fmla="*/ 130 h 301"/>
                <a:gd name="T30" fmla="*/ 220 w 265"/>
                <a:gd name="T31" fmla="*/ 63 h 301"/>
                <a:gd name="T32" fmla="*/ 220 w 265"/>
                <a:gd name="T33" fmla="*/ 87 h 301"/>
                <a:gd name="T34" fmla="*/ 197 w 265"/>
                <a:gd name="T35" fmla="*/ 63 h 301"/>
                <a:gd name="T36" fmla="*/ 220 w 265"/>
                <a:gd name="T37" fmla="*/ 63 h 301"/>
                <a:gd name="T38" fmla="*/ 257 w 265"/>
                <a:gd name="T39" fmla="*/ 294 h 301"/>
                <a:gd name="T40" fmla="*/ 8 w 265"/>
                <a:gd name="T41" fmla="*/ 294 h 301"/>
                <a:gd name="T42" fmla="*/ 8 w 265"/>
                <a:gd name="T43" fmla="*/ 134 h 301"/>
                <a:gd name="T44" fmla="*/ 132 w 265"/>
                <a:gd name="T45" fmla="*/ 10 h 301"/>
                <a:gd name="T46" fmla="*/ 184 w 265"/>
                <a:gd name="T47" fmla="*/ 62 h 301"/>
                <a:gd name="T48" fmla="*/ 221 w 265"/>
                <a:gd name="T49" fmla="*/ 99 h 301"/>
                <a:gd name="T50" fmla="*/ 221 w 265"/>
                <a:gd name="T51" fmla="*/ 99 h 301"/>
                <a:gd name="T52" fmla="*/ 256 w 265"/>
                <a:gd name="T53" fmla="*/ 134 h 301"/>
                <a:gd name="T54" fmla="*/ 256 w 265"/>
                <a:gd name="T55" fmla="*/ 294 h 301"/>
                <a:gd name="T56" fmla="*/ 257 w 265"/>
                <a:gd name="T57" fmla="*/ 29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5" h="301">
                  <a:moveTo>
                    <a:pt x="264" y="130"/>
                  </a:moveTo>
                  <a:cubicBezTo>
                    <a:pt x="228" y="95"/>
                    <a:pt x="228" y="95"/>
                    <a:pt x="228" y="95"/>
                  </a:cubicBezTo>
                  <a:cubicBezTo>
                    <a:pt x="228" y="59"/>
                    <a:pt x="228" y="59"/>
                    <a:pt x="228" y="59"/>
                  </a:cubicBezTo>
                  <a:cubicBezTo>
                    <a:pt x="228" y="57"/>
                    <a:pt x="226" y="55"/>
                    <a:pt x="224" y="55"/>
                  </a:cubicBezTo>
                  <a:cubicBezTo>
                    <a:pt x="189" y="55"/>
                    <a:pt x="189" y="55"/>
                    <a:pt x="189" y="55"/>
                  </a:cubicBezTo>
                  <a:cubicBezTo>
                    <a:pt x="135" y="1"/>
                    <a:pt x="135" y="1"/>
                    <a:pt x="135" y="1"/>
                  </a:cubicBezTo>
                  <a:cubicBezTo>
                    <a:pt x="133" y="0"/>
                    <a:pt x="131" y="0"/>
                    <a:pt x="129" y="1"/>
                  </a:cubicBezTo>
                  <a:cubicBezTo>
                    <a:pt x="1" y="130"/>
                    <a:pt x="1" y="130"/>
                    <a:pt x="1" y="130"/>
                  </a:cubicBezTo>
                  <a:cubicBezTo>
                    <a:pt x="0" y="131"/>
                    <a:pt x="0" y="131"/>
                    <a:pt x="0" y="133"/>
                  </a:cubicBezTo>
                  <a:cubicBezTo>
                    <a:pt x="0" y="297"/>
                    <a:pt x="0" y="297"/>
                    <a:pt x="0" y="297"/>
                  </a:cubicBezTo>
                  <a:cubicBezTo>
                    <a:pt x="0" y="299"/>
                    <a:pt x="2" y="301"/>
                    <a:pt x="4" y="30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62" y="301"/>
                    <a:pt x="264" y="299"/>
                    <a:pt x="264" y="297"/>
                  </a:cubicBezTo>
                  <a:cubicBezTo>
                    <a:pt x="264" y="133"/>
                    <a:pt x="264" y="133"/>
                    <a:pt x="264" y="133"/>
                  </a:cubicBezTo>
                  <a:cubicBezTo>
                    <a:pt x="265" y="131"/>
                    <a:pt x="264" y="131"/>
                    <a:pt x="264" y="130"/>
                  </a:cubicBezTo>
                  <a:close/>
                  <a:moveTo>
                    <a:pt x="220" y="63"/>
                  </a:moveTo>
                  <a:cubicBezTo>
                    <a:pt x="220" y="87"/>
                    <a:pt x="220" y="87"/>
                    <a:pt x="220" y="87"/>
                  </a:cubicBezTo>
                  <a:cubicBezTo>
                    <a:pt x="197" y="63"/>
                    <a:pt x="197" y="63"/>
                    <a:pt x="197" y="63"/>
                  </a:cubicBezTo>
                  <a:lnTo>
                    <a:pt x="220" y="63"/>
                  </a:lnTo>
                  <a:close/>
                  <a:moveTo>
                    <a:pt x="257" y="294"/>
                  </a:moveTo>
                  <a:cubicBezTo>
                    <a:pt x="8" y="294"/>
                    <a:pt x="8" y="294"/>
                    <a:pt x="8" y="294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221" y="99"/>
                    <a:pt x="221" y="99"/>
                    <a:pt x="221" y="99"/>
                  </a:cubicBezTo>
                  <a:cubicBezTo>
                    <a:pt x="221" y="99"/>
                    <a:pt x="221" y="99"/>
                    <a:pt x="221" y="99"/>
                  </a:cubicBezTo>
                  <a:cubicBezTo>
                    <a:pt x="256" y="134"/>
                    <a:pt x="256" y="134"/>
                    <a:pt x="256" y="134"/>
                  </a:cubicBezTo>
                  <a:cubicBezTo>
                    <a:pt x="256" y="294"/>
                    <a:pt x="256" y="294"/>
                    <a:pt x="256" y="294"/>
                  </a:cubicBezTo>
                  <a:lnTo>
                    <a:pt x="257" y="294"/>
                  </a:lnTo>
                  <a:close/>
                </a:path>
              </a:pathLst>
            </a:custGeom>
            <a:grpFill/>
            <a:ln w="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4" name="Freeform 155">
              <a:extLst>
                <a:ext uri="{FF2B5EF4-FFF2-40B4-BE49-F238E27FC236}">
                  <a16:creationId xmlns:a16="http://schemas.microsoft.com/office/drawing/2014/main" xmlns="" id="{F0A51FB1-2966-45F1-B1D3-68E18F2C39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" y="1690"/>
              <a:ext cx="95" cy="133"/>
            </a:xfrm>
            <a:custGeom>
              <a:avLst/>
              <a:gdLst>
                <a:gd name="T0" fmla="*/ 41 w 45"/>
                <a:gd name="T1" fmla="*/ 0 h 63"/>
                <a:gd name="T2" fmla="*/ 4 w 45"/>
                <a:gd name="T3" fmla="*/ 0 h 63"/>
                <a:gd name="T4" fmla="*/ 0 w 45"/>
                <a:gd name="T5" fmla="*/ 4 h 63"/>
                <a:gd name="T6" fmla="*/ 0 w 45"/>
                <a:gd name="T7" fmla="*/ 59 h 63"/>
                <a:gd name="T8" fmla="*/ 4 w 45"/>
                <a:gd name="T9" fmla="*/ 63 h 63"/>
                <a:gd name="T10" fmla="*/ 41 w 45"/>
                <a:gd name="T11" fmla="*/ 63 h 63"/>
                <a:gd name="T12" fmla="*/ 45 w 45"/>
                <a:gd name="T13" fmla="*/ 59 h 63"/>
                <a:gd name="T14" fmla="*/ 45 w 45"/>
                <a:gd name="T15" fmla="*/ 4 h 63"/>
                <a:gd name="T16" fmla="*/ 41 w 45"/>
                <a:gd name="T17" fmla="*/ 0 h 63"/>
                <a:gd name="T18" fmla="*/ 37 w 45"/>
                <a:gd name="T19" fmla="*/ 55 h 63"/>
                <a:gd name="T20" fmla="*/ 8 w 45"/>
                <a:gd name="T21" fmla="*/ 55 h 63"/>
                <a:gd name="T22" fmla="*/ 8 w 45"/>
                <a:gd name="T23" fmla="*/ 8 h 63"/>
                <a:gd name="T24" fmla="*/ 37 w 45"/>
                <a:gd name="T25" fmla="*/ 8 h 63"/>
                <a:gd name="T26" fmla="*/ 37 w 45"/>
                <a:gd name="T27" fmla="*/ 5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63">
                  <a:moveTo>
                    <a:pt x="4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1"/>
                    <a:pt x="2" y="63"/>
                    <a:pt x="4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3" y="63"/>
                    <a:pt x="45" y="61"/>
                    <a:pt x="45" y="59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1"/>
                    <a:pt x="43" y="0"/>
                    <a:pt x="41" y="0"/>
                  </a:cubicBezTo>
                  <a:close/>
                  <a:moveTo>
                    <a:pt x="37" y="55"/>
                  </a:moveTo>
                  <a:cubicBezTo>
                    <a:pt x="8" y="55"/>
                    <a:pt x="8" y="55"/>
                    <a:pt x="8" y="55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7" y="55"/>
                  </a:lnTo>
                  <a:close/>
                </a:path>
              </a:pathLst>
            </a:custGeom>
            <a:grpFill/>
            <a:ln w="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5" name="Freeform 113">
            <a:extLst>
              <a:ext uri="{FF2B5EF4-FFF2-40B4-BE49-F238E27FC236}">
                <a16:creationId xmlns:a16="http://schemas.microsoft.com/office/drawing/2014/main" xmlns="" id="{4AF5ADC1-F0DA-4FB4-AFC1-565D14233CB4}"/>
              </a:ext>
            </a:extLst>
          </p:cNvPr>
          <p:cNvSpPr>
            <a:spLocks/>
          </p:cNvSpPr>
          <p:nvPr/>
        </p:nvSpPr>
        <p:spPr bwMode="auto">
          <a:xfrm>
            <a:off x="4969235" y="2935936"/>
            <a:ext cx="317140" cy="317728"/>
          </a:xfrm>
          <a:custGeom>
            <a:avLst/>
            <a:gdLst>
              <a:gd name="T0" fmla="*/ 2146 w 2146"/>
              <a:gd name="T1" fmla="*/ 691 h 2150"/>
              <a:gd name="T2" fmla="*/ 1456 w 2146"/>
              <a:gd name="T3" fmla="*/ 691 h 2150"/>
              <a:gd name="T4" fmla="*/ 1456 w 2146"/>
              <a:gd name="T5" fmla="*/ 0 h 2150"/>
              <a:gd name="T6" fmla="*/ 689 w 2146"/>
              <a:gd name="T7" fmla="*/ 0 h 2150"/>
              <a:gd name="T8" fmla="*/ 689 w 2146"/>
              <a:gd name="T9" fmla="*/ 691 h 2150"/>
              <a:gd name="T10" fmla="*/ 0 w 2146"/>
              <a:gd name="T11" fmla="*/ 691 h 2150"/>
              <a:gd name="T12" fmla="*/ 0 w 2146"/>
              <a:gd name="T13" fmla="*/ 1459 h 2150"/>
              <a:gd name="T14" fmla="*/ 689 w 2146"/>
              <a:gd name="T15" fmla="*/ 1459 h 2150"/>
              <a:gd name="T16" fmla="*/ 689 w 2146"/>
              <a:gd name="T17" fmla="*/ 2150 h 2150"/>
              <a:gd name="T18" fmla="*/ 1456 w 2146"/>
              <a:gd name="T19" fmla="*/ 2150 h 2150"/>
              <a:gd name="T20" fmla="*/ 1456 w 2146"/>
              <a:gd name="T21" fmla="*/ 1459 h 2150"/>
              <a:gd name="T22" fmla="*/ 2146 w 2146"/>
              <a:gd name="T23" fmla="*/ 1459 h 2150"/>
              <a:gd name="T24" fmla="*/ 2146 w 2146"/>
              <a:gd name="T25" fmla="*/ 691 h 2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46" h="2150">
                <a:moveTo>
                  <a:pt x="2146" y="691"/>
                </a:moveTo>
                <a:lnTo>
                  <a:pt x="1456" y="691"/>
                </a:lnTo>
                <a:lnTo>
                  <a:pt x="1456" y="0"/>
                </a:lnTo>
                <a:lnTo>
                  <a:pt x="689" y="0"/>
                </a:lnTo>
                <a:lnTo>
                  <a:pt x="689" y="691"/>
                </a:lnTo>
                <a:lnTo>
                  <a:pt x="0" y="691"/>
                </a:lnTo>
                <a:lnTo>
                  <a:pt x="0" y="1459"/>
                </a:lnTo>
                <a:lnTo>
                  <a:pt x="689" y="1459"/>
                </a:lnTo>
                <a:lnTo>
                  <a:pt x="689" y="2150"/>
                </a:lnTo>
                <a:lnTo>
                  <a:pt x="1456" y="2150"/>
                </a:lnTo>
                <a:lnTo>
                  <a:pt x="1456" y="1459"/>
                </a:lnTo>
                <a:lnTo>
                  <a:pt x="2146" y="1459"/>
                </a:lnTo>
                <a:lnTo>
                  <a:pt x="2146" y="691"/>
                </a:lnTo>
                <a:close/>
              </a:path>
            </a:pathLst>
          </a:custGeom>
          <a:ln cap="rnd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/>
          </a:p>
        </p:txBody>
      </p:sp>
      <p:grpSp>
        <p:nvGrpSpPr>
          <p:cNvPr id="357" name="Group 105">
            <a:extLst>
              <a:ext uri="{FF2B5EF4-FFF2-40B4-BE49-F238E27FC236}">
                <a16:creationId xmlns:a16="http://schemas.microsoft.com/office/drawing/2014/main" xmlns="" id="{EDAECCFC-12AE-4B7B-BC3D-C51365630C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37597" y="2951537"/>
            <a:ext cx="472728" cy="239110"/>
            <a:chOff x="1634" y="887"/>
            <a:chExt cx="2493" cy="1261"/>
          </a:xfrm>
        </p:grpSpPr>
        <p:sp>
          <p:nvSpPr>
            <p:cNvPr id="359" name="Freeform 106">
              <a:extLst>
                <a:ext uri="{FF2B5EF4-FFF2-40B4-BE49-F238E27FC236}">
                  <a16:creationId xmlns:a16="http://schemas.microsoft.com/office/drawing/2014/main" xmlns="" id="{B0A14A5C-59D3-4FD7-B60E-24CCBF4B8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1267"/>
              <a:ext cx="1932" cy="877"/>
            </a:xfrm>
            <a:custGeom>
              <a:avLst/>
              <a:gdLst>
                <a:gd name="T0" fmla="*/ 0 w 922"/>
                <a:gd name="T1" fmla="*/ 416 h 416"/>
                <a:gd name="T2" fmla="*/ 461 w 922"/>
                <a:gd name="T3" fmla="*/ 0 h 416"/>
                <a:gd name="T4" fmla="*/ 922 w 922"/>
                <a:gd name="T5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2" h="416">
                  <a:moveTo>
                    <a:pt x="0" y="416"/>
                  </a:moveTo>
                  <a:cubicBezTo>
                    <a:pt x="24" y="182"/>
                    <a:pt x="221" y="0"/>
                    <a:pt x="461" y="0"/>
                  </a:cubicBezTo>
                  <a:cubicBezTo>
                    <a:pt x="701" y="0"/>
                    <a:pt x="899" y="182"/>
                    <a:pt x="922" y="416"/>
                  </a:cubicBezTo>
                </a:path>
              </a:pathLst>
            </a:custGeom>
            <a:noFill/>
            <a:ln w="12700" cap="rnd">
              <a:solidFill>
                <a:srgbClr val="F07D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1" name="Line 107">
              <a:extLst>
                <a:ext uri="{FF2B5EF4-FFF2-40B4-BE49-F238E27FC236}">
                  <a16:creationId xmlns:a16="http://schemas.microsoft.com/office/drawing/2014/main" xmlns="" id="{A41C895B-CF6E-4010-A948-6C4DB70B76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34" y="2148"/>
              <a:ext cx="2493" cy="0"/>
            </a:xfrm>
            <a:prstGeom prst="line">
              <a:avLst/>
            </a:prstGeom>
            <a:noFill/>
            <a:ln w="12700" cap="rnd">
              <a:solidFill>
                <a:srgbClr val="F07D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2" name="Oval 108">
              <a:extLst>
                <a:ext uri="{FF2B5EF4-FFF2-40B4-BE49-F238E27FC236}">
                  <a16:creationId xmlns:a16="http://schemas.microsoft.com/office/drawing/2014/main" xmlns="" id="{610F2CFD-D474-49CE-BC24-9289422CCD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0" y="887"/>
              <a:ext cx="359" cy="359"/>
            </a:xfrm>
            <a:prstGeom prst="ellipse">
              <a:avLst/>
            </a:prstGeom>
            <a:noFill/>
            <a:ln w="12700" cap="rnd">
              <a:solidFill>
                <a:srgbClr val="F07D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5" name="Groupe 364">
            <a:extLst>
              <a:ext uri="{FF2B5EF4-FFF2-40B4-BE49-F238E27FC236}">
                <a16:creationId xmlns:a16="http://schemas.microsoft.com/office/drawing/2014/main" xmlns="" id="{BF2FE9E0-4FF4-44F3-839C-65A5A2276A29}"/>
              </a:ext>
            </a:extLst>
          </p:cNvPr>
          <p:cNvGrpSpPr/>
          <p:nvPr/>
        </p:nvGrpSpPr>
        <p:grpSpPr>
          <a:xfrm>
            <a:off x="6987018" y="2787336"/>
            <a:ext cx="431154" cy="519716"/>
            <a:chOff x="-1956285" y="1794915"/>
            <a:chExt cx="259200" cy="312441"/>
          </a:xfrm>
        </p:grpSpPr>
        <p:sp>
          <p:nvSpPr>
            <p:cNvPr id="368" name="Freeform 63">
              <a:extLst>
                <a:ext uri="{FF2B5EF4-FFF2-40B4-BE49-F238E27FC236}">
                  <a16:creationId xmlns:a16="http://schemas.microsoft.com/office/drawing/2014/main" xmlns="" id="{7D3761F8-CDEF-41C0-B51E-C670B2372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56808" y="1794915"/>
              <a:ext cx="159723" cy="256398"/>
            </a:xfrm>
            <a:custGeom>
              <a:avLst/>
              <a:gdLst>
                <a:gd name="T0" fmla="*/ 57 w 114"/>
                <a:gd name="T1" fmla="*/ 0 h 183"/>
                <a:gd name="T2" fmla="*/ 0 w 114"/>
                <a:gd name="T3" fmla="*/ 183 h 183"/>
                <a:gd name="T4" fmla="*/ 114 w 114"/>
                <a:gd name="T5" fmla="*/ 183 h 183"/>
                <a:gd name="T6" fmla="*/ 57 w 114"/>
                <a:gd name="T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83">
                  <a:moveTo>
                    <a:pt x="57" y="0"/>
                  </a:moveTo>
                  <a:lnTo>
                    <a:pt x="0" y="183"/>
                  </a:lnTo>
                  <a:lnTo>
                    <a:pt x="114" y="183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1" name="Line 64">
              <a:extLst>
                <a:ext uri="{FF2B5EF4-FFF2-40B4-BE49-F238E27FC236}">
                  <a16:creationId xmlns:a16="http://schemas.microsoft.com/office/drawing/2014/main" xmlns="" id="{C3BC0120-B23E-44D8-B69A-89C4490AA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76947" y="1986863"/>
              <a:ext cx="0" cy="120493"/>
            </a:xfrm>
            <a:prstGeom prst="line">
              <a:avLst/>
            </a:pr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3" name="Freeform 65">
              <a:extLst>
                <a:ext uri="{FF2B5EF4-FFF2-40B4-BE49-F238E27FC236}">
                  <a16:creationId xmlns:a16="http://schemas.microsoft.com/office/drawing/2014/main" xmlns="" id="{532C0BF4-D599-4E92-B7CE-47E4DF6E2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6285" y="1845354"/>
              <a:ext cx="88268" cy="159723"/>
            </a:xfrm>
            <a:custGeom>
              <a:avLst/>
              <a:gdLst>
                <a:gd name="T0" fmla="*/ 32 w 63"/>
                <a:gd name="T1" fmla="*/ 0 h 114"/>
                <a:gd name="T2" fmla="*/ 0 w 63"/>
                <a:gd name="T3" fmla="*/ 114 h 114"/>
                <a:gd name="T4" fmla="*/ 63 w 63"/>
                <a:gd name="T5" fmla="*/ 114 h 114"/>
                <a:gd name="T6" fmla="*/ 32 w 63"/>
                <a:gd name="T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14">
                  <a:moveTo>
                    <a:pt x="32" y="0"/>
                  </a:moveTo>
                  <a:lnTo>
                    <a:pt x="0" y="114"/>
                  </a:lnTo>
                  <a:lnTo>
                    <a:pt x="63" y="114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4" name="Line 66">
              <a:extLst>
                <a:ext uri="{FF2B5EF4-FFF2-40B4-BE49-F238E27FC236}">
                  <a16:creationId xmlns:a16="http://schemas.microsoft.com/office/drawing/2014/main" xmlns="" id="{5DFCF8A2-FC12-4877-AF83-376624C8AE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911451" y="1970050"/>
              <a:ext cx="0" cy="65851"/>
            </a:xfrm>
            <a:prstGeom prst="line">
              <a:avLst/>
            </a:pr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6" name="Line 67">
              <a:extLst>
                <a:ext uri="{FF2B5EF4-FFF2-40B4-BE49-F238E27FC236}">
                  <a16:creationId xmlns:a16="http://schemas.microsoft.com/office/drawing/2014/main" xmlns="" id="{E2E04D57-9FBF-4AFC-BAEA-19E8DDD5A1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76947" y="1993869"/>
              <a:ext cx="26621" cy="29423"/>
            </a:xfrm>
            <a:prstGeom prst="line">
              <a:avLst/>
            </a:pr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8" name="Line 68">
              <a:extLst>
                <a:ext uri="{FF2B5EF4-FFF2-40B4-BE49-F238E27FC236}">
                  <a16:creationId xmlns:a16="http://schemas.microsoft.com/office/drawing/2014/main" xmlns="" id="{99BBBCB0-2D83-49BF-9916-E2C66C0121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802166" y="2009281"/>
              <a:ext cx="25219" cy="22417"/>
            </a:xfrm>
            <a:prstGeom prst="line">
              <a:avLst/>
            </a:prstGeom>
            <a:noFill/>
            <a:ln w="12700" cap="rnd">
              <a:solidFill>
                <a:schemeClr val="accent2">
                  <a:alpha val="99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9" name="Group 28">
            <a:extLst>
              <a:ext uri="{FF2B5EF4-FFF2-40B4-BE49-F238E27FC236}">
                <a16:creationId xmlns:a16="http://schemas.microsoft.com/office/drawing/2014/main" xmlns="" id="{2BEC02DC-6323-4CFE-8940-8AEA1526FA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37356" y="2904498"/>
            <a:ext cx="521880" cy="317652"/>
            <a:chOff x="1265" y="637"/>
            <a:chExt cx="3230" cy="1966"/>
          </a:xfrm>
        </p:grpSpPr>
        <p:sp>
          <p:nvSpPr>
            <p:cNvPr id="380" name="Freeform 29">
              <a:extLst>
                <a:ext uri="{FF2B5EF4-FFF2-40B4-BE49-F238E27FC236}">
                  <a16:creationId xmlns:a16="http://schemas.microsoft.com/office/drawing/2014/main" xmlns="" id="{673AC2ED-299A-4208-9418-69AF3D00F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3" y="637"/>
              <a:ext cx="828" cy="714"/>
            </a:xfrm>
            <a:custGeom>
              <a:avLst/>
              <a:gdLst>
                <a:gd name="T0" fmla="*/ 370 w 403"/>
                <a:gd name="T1" fmla="*/ 0 h 347"/>
                <a:gd name="T2" fmla="*/ 266 w 403"/>
                <a:gd name="T3" fmla="*/ 244 h 347"/>
                <a:gd name="T4" fmla="*/ 3 w 403"/>
                <a:gd name="T5" fmla="*/ 347 h 347"/>
                <a:gd name="T6" fmla="*/ 3 w 403"/>
                <a:gd name="T7" fmla="*/ 347 h 347"/>
                <a:gd name="T8" fmla="*/ 191 w 403"/>
                <a:gd name="T9" fmla="*/ 141 h 347"/>
                <a:gd name="T10" fmla="*/ 191 w 403"/>
                <a:gd name="T11" fmla="*/ 141 h 347"/>
                <a:gd name="T12" fmla="*/ 22 w 403"/>
                <a:gd name="T13" fmla="*/ 244 h 347"/>
                <a:gd name="T14" fmla="*/ 172 w 403"/>
                <a:gd name="T15" fmla="*/ 38 h 347"/>
                <a:gd name="T16" fmla="*/ 370 w 403"/>
                <a:gd name="T17" fmla="*/ 0 h 347"/>
                <a:gd name="T18" fmla="*/ 370 w 403"/>
                <a:gd name="T19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3" h="347">
                  <a:moveTo>
                    <a:pt x="370" y="0"/>
                  </a:moveTo>
                  <a:cubicBezTo>
                    <a:pt x="371" y="0"/>
                    <a:pt x="403" y="195"/>
                    <a:pt x="266" y="244"/>
                  </a:cubicBezTo>
                  <a:cubicBezTo>
                    <a:pt x="127" y="294"/>
                    <a:pt x="42" y="283"/>
                    <a:pt x="3" y="347"/>
                  </a:cubicBezTo>
                  <a:cubicBezTo>
                    <a:pt x="3" y="347"/>
                    <a:pt x="3" y="347"/>
                    <a:pt x="3" y="347"/>
                  </a:cubicBezTo>
                  <a:cubicBezTo>
                    <a:pt x="0" y="347"/>
                    <a:pt x="10" y="225"/>
                    <a:pt x="191" y="141"/>
                  </a:cubicBezTo>
                  <a:cubicBezTo>
                    <a:pt x="192" y="141"/>
                    <a:pt x="191" y="141"/>
                    <a:pt x="191" y="141"/>
                  </a:cubicBezTo>
                  <a:cubicBezTo>
                    <a:pt x="183" y="141"/>
                    <a:pt x="103" y="155"/>
                    <a:pt x="22" y="244"/>
                  </a:cubicBezTo>
                  <a:cubicBezTo>
                    <a:pt x="22" y="244"/>
                    <a:pt x="1" y="79"/>
                    <a:pt x="172" y="38"/>
                  </a:cubicBezTo>
                  <a:cubicBezTo>
                    <a:pt x="295" y="8"/>
                    <a:pt x="370" y="22"/>
                    <a:pt x="370" y="0"/>
                  </a:cubicBezTo>
                  <a:cubicBezTo>
                    <a:pt x="370" y="0"/>
                    <a:pt x="370" y="0"/>
                    <a:pt x="370" y="0"/>
                  </a:cubicBezTo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1" name="Oval 30">
              <a:extLst>
                <a:ext uri="{FF2B5EF4-FFF2-40B4-BE49-F238E27FC236}">
                  <a16:creationId xmlns:a16="http://schemas.microsoft.com/office/drawing/2014/main" xmlns="" id="{1ABEF6C9-D8DF-4CD6-8DB0-E08685302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7" y="2054"/>
              <a:ext cx="286" cy="549"/>
            </a:xfrm>
            <a:prstGeom prst="ellips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2" name="Line 31">
              <a:extLst>
                <a:ext uri="{FF2B5EF4-FFF2-40B4-BE49-F238E27FC236}">
                  <a16:creationId xmlns:a16="http://schemas.microsoft.com/office/drawing/2014/main" xmlns="" id="{C8A4AE34-33B0-4232-A986-9042D08068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0" y="2054"/>
              <a:ext cx="359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4" name="Line 32">
              <a:extLst>
                <a:ext uri="{FF2B5EF4-FFF2-40B4-BE49-F238E27FC236}">
                  <a16:creationId xmlns:a16="http://schemas.microsoft.com/office/drawing/2014/main" xmlns="" id="{E4BEF4D4-584D-442E-84A3-FEDF695D8F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44" y="2603"/>
              <a:ext cx="335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5" name="Oval 33">
              <a:extLst>
                <a:ext uri="{FF2B5EF4-FFF2-40B4-BE49-F238E27FC236}">
                  <a16:creationId xmlns:a16="http://schemas.microsoft.com/office/drawing/2014/main" xmlns="" id="{CED9592B-5E50-4B6A-B6E1-8E7AF0847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9" y="2054"/>
              <a:ext cx="286" cy="549"/>
            </a:xfrm>
            <a:prstGeom prst="ellips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6" name="Line 34">
              <a:extLst>
                <a:ext uri="{FF2B5EF4-FFF2-40B4-BE49-F238E27FC236}">
                  <a16:creationId xmlns:a16="http://schemas.microsoft.com/office/drawing/2014/main" xmlns="" id="{A650715F-3B58-4785-A914-C191B0509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2" y="2054"/>
              <a:ext cx="361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7" name="Line 35">
              <a:extLst>
                <a:ext uri="{FF2B5EF4-FFF2-40B4-BE49-F238E27FC236}">
                  <a16:creationId xmlns:a16="http://schemas.microsoft.com/office/drawing/2014/main" xmlns="" id="{9D710564-F58E-494E-A95B-1288D8D274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16" y="2603"/>
              <a:ext cx="337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8" name="Oval 36">
              <a:extLst>
                <a:ext uri="{FF2B5EF4-FFF2-40B4-BE49-F238E27FC236}">
                  <a16:creationId xmlns:a16="http://schemas.microsoft.com/office/drawing/2014/main" xmlns="" id="{753F66D7-D9E8-4B83-BB57-103446190F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3" y="1505"/>
              <a:ext cx="285" cy="549"/>
            </a:xfrm>
            <a:prstGeom prst="ellips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9" name="Line 37">
              <a:extLst>
                <a:ext uri="{FF2B5EF4-FFF2-40B4-BE49-F238E27FC236}">
                  <a16:creationId xmlns:a16="http://schemas.microsoft.com/office/drawing/2014/main" xmlns="" id="{F8463BD0-3825-4133-B84A-15D41E85E0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5" y="1505"/>
              <a:ext cx="361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0" name="Line 38">
              <a:extLst>
                <a:ext uri="{FF2B5EF4-FFF2-40B4-BE49-F238E27FC236}">
                  <a16:creationId xmlns:a16="http://schemas.microsoft.com/office/drawing/2014/main" xmlns="" id="{2BF6CB80-45A6-4369-938C-64B29ED562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40" y="2054"/>
              <a:ext cx="336" cy="0"/>
            </a:xfrm>
            <a:prstGeom prst="lin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1" name="Oval 39">
              <a:extLst>
                <a:ext uri="{FF2B5EF4-FFF2-40B4-BE49-F238E27FC236}">
                  <a16:creationId xmlns:a16="http://schemas.microsoft.com/office/drawing/2014/main" xmlns="" id="{8FD3C96A-EB12-42CE-956E-17AC17B77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8" y="2054"/>
              <a:ext cx="286" cy="549"/>
            </a:xfrm>
            <a:prstGeom prst="ellips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2" name="Freeform 40">
              <a:extLst>
                <a:ext uri="{FF2B5EF4-FFF2-40B4-BE49-F238E27FC236}">
                  <a16:creationId xmlns:a16="http://schemas.microsoft.com/office/drawing/2014/main" xmlns="" id="{88A474EF-4505-488E-BB2B-0B297C6CE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054"/>
              <a:ext cx="2357" cy="549"/>
            </a:xfrm>
            <a:custGeom>
              <a:avLst/>
              <a:gdLst>
                <a:gd name="T0" fmla="*/ 1147 w 1147"/>
                <a:gd name="T1" fmla="*/ 267 h 267"/>
                <a:gd name="T2" fmla="*/ 70 w 1147"/>
                <a:gd name="T3" fmla="*/ 267 h 267"/>
                <a:gd name="T4" fmla="*/ 0 w 1147"/>
                <a:gd name="T5" fmla="*/ 133 h 267"/>
                <a:gd name="T6" fmla="*/ 70 w 1147"/>
                <a:gd name="T7" fmla="*/ 0 h 267"/>
                <a:gd name="T8" fmla="*/ 1147 w 1147"/>
                <a:gd name="T9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7" h="267">
                  <a:moveTo>
                    <a:pt x="1147" y="267"/>
                  </a:moveTo>
                  <a:cubicBezTo>
                    <a:pt x="70" y="267"/>
                    <a:pt x="70" y="267"/>
                    <a:pt x="70" y="267"/>
                  </a:cubicBezTo>
                  <a:cubicBezTo>
                    <a:pt x="31" y="267"/>
                    <a:pt x="0" y="207"/>
                    <a:pt x="0" y="133"/>
                  </a:cubicBezTo>
                  <a:cubicBezTo>
                    <a:pt x="0" y="60"/>
                    <a:pt x="31" y="0"/>
                    <a:pt x="70" y="0"/>
                  </a:cubicBezTo>
                  <a:cubicBezTo>
                    <a:pt x="1147" y="0"/>
                    <a:pt x="1147" y="0"/>
                    <a:pt x="1147" y="0"/>
                  </a:cubicBezTo>
                </a:path>
              </a:pathLst>
            </a:cu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3" name="Oval 41">
              <a:extLst>
                <a:ext uri="{FF2B5EF4-FFF2-40B4-BE49-F238E27FC236}">
                  <a16:creationId xmlns:a16="http://schemas.microsoft.com/office/drawing/2014/main" xmlns="" id="{0699EC5F-E150-4277-B80D-EAA4919FF3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7" y="1505"/>
              <a:ext cx="286" cy="549"/>
            </a:xfrm>
            <a:prstGeom prst="ellipse">
              <a:avLst/>
            </a:pr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4" name="Freeform 42">
              <a:extLst>
                <a:ext uri="{FF2B5EF4-FFF2-40B4-BE49-F238E27FC236}">
                  <a16:creationId xmlns:a16="http://schemas.microsoft.com/office/drawing/2014/main" xmlns="" id="{85D24D2C-4459-42DB-AECC-315BBAC4D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" y="1505"/>
              <a:ext cx="2357" cy="549"/>
            </a:xfrm>
            <a:custGeom>
              <a:avLst/>
              <a:gdLst>
                <a:gd name="T0" fmla="*/ 1147 w 1147"/>
                <a:gd name="T1" fmla="*/ 267 h 267"/>
                <a:gd name="T2" fmla="*/ 70 w 1147"/>
                <a:gd name="T3" fmla="*/ 267 h 267"/>
                <a:gd name="T4" fmla="*/ 0 w 1147"/>
                <a:gd name="T5" fmla="*/ 133 h 267"/>
                <a:gd name="T6" fmla="*/ 70 w 1147"/>
                <a:gd name="T7" fmla="*/ 0 h 267"/>
                <a:gd name="T8" fmla="*/ 1147 w 1147"/>
                <a:gd name="T9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7" h="267">
                  <a:moveTo>
                    <a:pt x="1147" y="267"/>
                  </a:moveTo>
                  <a:cubicBezTo>
                    <a:pt x="70" y="267"/>
                    <a:pt x="70" y="267"/>
                    <a:pt x="70" y="267"/>
                  </a:cubicBezTo>
                  <a:cubicBezTo>
                    <a:pt x="31" y="267"/>
                    <a:pt x="0" y="207"/>
                    <a:pt x="0" y="133"/>
                  </a:cubicBezTo>
                  <a:cubicBezTo>
                    <a:pt x="0" y="60"/>
                    <a:pt x="31" y="0"/>
                    <a:pt x="70" y="0"/>
                  </a:cubicBezTo>
                  <a:cubicBezTo>
                    <a:pt x="1147" y="0"/>
                    <a:pt x="1147" y="0"/>
                    <a:pt x="1147" y="0"/>
                  </a:cubicBezTo>
                </a:path>
              </a:pathLst>
            </a:custGeom>
            <a:noFill/>
            <a:ln w="14351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15" name="Group 22">
            <a:extLst>
              <a:ext uri="{FF2B5EF4-FFF2-40B4-BE49-F238E27FC236}">
                <a16:creationId xmlns:a16="http://schemas.microsoft.com/office/drawing/2014/main" xmlns="" id="{C4758D7B-AC70-4A5B-B404-DFA1568289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6492" y="3994820"/>
            <a:ext cx="280946" cy="458052"/>
            <a:chOff x="3506" y="1310"/>
            <a:chExt cx="1020" cy="1663"/>
          </a:xfrm>
        </p:grpSpPr>
        <p:sp>
          <p:nvSpPr>
            <p:cNvPr id="416" name="Freeform 23">
              <a:extLst>
                <a:ext uri="{FF2B5EF4-FFF2-40B4-BE49-F238E27FC236}">
                  <a16:creationId xmlns:a16="http://schemas.microsoft.com/office/drawing/2014/main" xmlns="" id="{4C8EAAF9-413D-4D0B-BB4C-75A222C73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6" y="1446"/>
              <a:ext cx="483" cy="745"/>
            </a:xfrm>
            <a:custGeom>
              <a:avLst/>
              <a:gdLst>
                <a:gd name="T0" fmla="*/ 234 w 234"/>
                <a:gd name="T1" fmla="*/ 245 h 362"/>
                <a:gd name="T2" fmla="*/ 117 w 234"/>
                <a:gd name="T3" fmla="*/ 362 h 362"/>
                <a:gd name="T4" fmla="*/ 0 w 234"/>
                <a:gd name="T5" fmla="*/ 245 h 362"/>
                <a:gd name="T6" fmla="*/ 117 w 234"/>
                <a:gd name="T7" fmla="*/ 0 h 362"/>
                <a:gd name="T8" fmla="*/ 234 w 234"/>
                <a:gd name="T9" fmla="*/ 245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362">
                  <a:moveTo>
                    <a:pt x="234" y="245"/>
                  </a:moveTo>
                  <a:cubicBezTo>
                    <a:pt x="234" y="310"/>
                    <a:pt x="182" y="362"/>
                    <a:pt x="117" y="362"/>
                  </a:cubicBezTo>
                  <a:cubicBezTo>
                    <a:pt x="52" y="362"/>
                    <a:pt x="0" y="310"/>
                    <a:pt x="0" y="245"/>
                  </a:cubicBezTo>
                  <a:cubicBezTo>
                    <a:pt x="0" y="180"/>
                    <a:pt x="117" y="0"/>
                    <a:pt x="117" y="0"/>
                  </a:cubicBezTo>
                  <a:cubicBezTo>
                    <a:pt x="117" y="0"/>
                    <a:pt x="234" y="180"/>
                    <a:pt x="234" y="245"/>
                  </a:cubicBezTo>
                  <a:close/>
                </a:path>
              </a:pathLst>
            </a:custGeom>
            <a:noFill/>
            <a:ln w="14351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7" name="Freeform 24">
              <a:extLst>
                <a:ext uri="{FF2B5EF4-FFF2-40B4-BE49-F238E27FC236}">
                  <a16:creationId xmlns:a16="http://schemas.microsoft.com/office/drawing/2014/main" xmlns="" id="{297B9827-7105-4E08-ADE8-C2D917114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" y="1310"/>
              <a:ext cx="272" cy="420"/>
            </a:xfrm>
            <a:custGeom>
              <a:avLst/>
              <a:gdLst>
                <a:gd name="T0" fmla="*/ 132 w 132"/>
                <a:gd name="T1" fmla="*/ 138 h 204"/>
                <a:gd name="T2" fmla="*/ 66 w 132"/>
                <a:gd name="T3" fmla="*/ 204 h 204"/>
                <a:gd name="T4" fmla="*/ 0 w 132"/>
                <a:gd name="T5" fmla="*/ 138 h 204"/>
                <a:gd name="T6" fmla="*/ 66 w 132"/>
                <a:gd name="T7" fmla="*/ 0 h 204"/>
                <a:gd name="T8" fmla="*/ 132 w 132"/>
                <a:gd name="T9" fmla="*/ 13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204">
                  <a:moveTo>
                    <a:pt x="132" y="138"/>
                  </a:moveTo>
                  <a:cubicBezTo>
                    <a:pt x="132" y="175"/>
                    <a:pt x="102" y="204"/>
                    <a:pt x="66" y="204"/>
                  </a:cubicBezTo>
                  <a:cubicBezTo>
                    <a:pt x="30" y="204"/>
                    <a:pt x="0" y="175"/>
                    <a:pt x="0" y="138"/>
                  </a:cubicBezTo>
                  <a:cubicBezTo>
                    <a:pt x="0" y="102"/>
                    <a:pt x="66" y="0"/>
                    <a:pt x="66" y="0"/>
                  </a:cubicBezTo>
                  <a:cubicBezTo>
                    <a:pt x="66" y="0"/>
                    <a:pt x="132" y="102"/>
                    <a:pt x="132" y="138"/>
                  </a:cubicBezTo>
                  <a:close/>
                </a:path>
              </a:pathLst>
            </a:custGeom>
            <a:noFill/>
            <a:ln w="14351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2" name="Freeform 25">
              <a:extLst>
                <a:ext uri="{FF2B5EF4-FFF2-40B4-BE49-F238E27FC236}">
                  <a16:creationId xmlns:a16="http://schemas.microsoft.com/office/drawing/2014/main" xmlns="" id="{4530061E-D93F-4B35-9571-48522301A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1940"/>
              <a:ext cx="671" cy="1033"/>
            </a:xfrm>
            <a:custGeom>
              <a:avLst/>
              <a:gdLst>
                <a:gd name="T0" fmla="*/ 325 w 325"/>
                <a:gd name="T1" fmla="*/ 339 h 502"/>
                <a:gd name="T2" fmla="*/ 163 w 325"/>
                <a:gd name="T3" fmla="*/ 502 h 502"/>
                <a:gd name="T4" fmla="*/ 0 w 325"/>
                <a:gd name="T5" fmla="*/ 339 h 502"/>
                <a:gd name="T6" fmla="*/ 163 w 325"/>
                <a:gd name="T7" fmla="*/ 0 h 502"/>
                <a:gd name="T8" fmla="*/ 325 w 325"/>
                <a:gd name="T9" fmla="*/ 339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502">
                  <a:moveTo>
                    <a:pt x="325" y="339"/>
                  </a:moveTo>
                  <a:cubicBezTo>
                    <a:pt x="325" y="429"/>
                    <a:pt x="253" y="502"/>
                    <a:pt x="163" y="502"/>
                  </a:cubicBezTo>
                  <a:cubicBezTo>
                    <a:pt x="73" y="502"/>
                    <a:pt x="0" y="429"/>
                    <a:pt x="0" y="339"/>
                  </a:cubicBezTo>
                  <a:cubicBezTo>
                    <a:pt x="0" y="250"/>
                    <a:pt x="163" y="0"/>
                    <a:pt x="163" y="0"/>
                  </a:cubicBezTo>
                  <a:cubicBezTo>
                    <a:pt x="163" y="0"/>
                    <a:pt x="325" y="250"/>
                    <a:pt x="325" y="339"/>
                  </a:cubicBezTo>
                  <a:close/>
                </a:path>
              </a:pathLst>
            </a:custGeom>
            <a:noFill/>
            <a:ln w="14351" cap="rnd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73" name="Group 13">
            <a:extLst>
              <a:ext uri="{FF2B5EF4-FFF2-40B4-BE49-F238E27FC236}">
                <a16:creationId xmlns:a16="http://schemas.microsoft.com/office/drawing/2014/main" xmlns="" id="{8AC1E8AF-F367-486F-A89D-6EADA2C145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98380" y="4026649"/>
            <a:ext cx="536889" cy="321474"/>
            <a:chOff x="1086" y="546"/>
            <a:chExt cx="3584" cy="2146"/>
          </a:xfrm>
        </p:grpSpPr>
        <p:sp>
          <p:nvSpPr>
            <p:cNvPr id="474" name="Freeform 14">
              <a:extLst>
                <a:ext uri="{FF2B5EF4-FFF2-40B4-BE49-F238E27FC236}">
                  <a16:creationId xmlns:a16="http://schemas.microsoft.com/office/drawing/2014/main" xmlns="" id="{307E34D0-D9AF-40BA-AE05-7AE196BC1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" y="819"/>
              <a:ext cx="730" cy="730"/>
            </a:xfrm>
            <a:custGeom>
              <a:avLst/>
              <a:gdLst>
                <a:gd name="T0" fmla="*/ 0 w 355"/>
                <a:gd name="T1" fmla="*/ 0 h 355"/>
                <a:gd name="T2" fmla="*/ 355 w 355"/>
                <a:gd name="T3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5" h="355">
                  <a:moveTo>
                    <a:pt x="0" y="0"/>
                  </a:moveTo>
                  <a:cubicBezTo>
                    <a:pt x="196" y="0"/>
                    <a:pt x="355" y="159"/>
                    <a:pt x="355" y="355"/>
                  </a:cubicBezTo>
                </a:path>
              </a:pathLst>
            </a:cu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5" name="Freeform 15">
              <a:extLst>
                <a:ext uri="{FF2B5EF4-FFF2-40B4-BE49-F238E27FC236}">
                  <a16:creationId xmlns:a16="http://schemas.microsoft.com/office/drawing/2014/main" xmlns="" id="{770285BA-889E-42BD-8EAC-04C067FAC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" y="546"/>
              <a:ext cx="3584" cy="2146"/>
            </a:xfrm>
            <a:custGeom>
              <a:avLst/>
              <a:gdLst>
                <a:gd name="T0" fmla="*/ 1458 w 1744"/>
                <a:gd name="T1" fmla="*/ 1044 h 1044"/>
                <a:gd name="T2" fmla="*/ 1744 w 1744"/>
                <a:gd name="T3" fmla="*/ 758 h 1044"/>
                <a:gd name="T4" fmla="*/ 1458 w 1744"/>
                <a:gd name="T5" fmla="*/ 472 h 1044"/>
                <a:gd name="T6" fmla="*/ 1423 w 1744"/>
                <a:gd name="T7" fmla="*/ 474 h 1044"/>
                <a:gd name="T8" fmla="*/ 894 w 1744"/>
                <a:gd name="T9" fmla="*/ 0 h 1044"/>
                <a:gd name="T10" fmla="*/ 382 w 1744"/>
                <a:gd name="T11" fmla="*/ 388 h 1044"/>
                <a:gd name="T12" fmla="*/ 330 w 1744"/>
                <a:gd name="T13" fmla="*/ 384 h 1044"/>
                <a:gd name="T14" fmla="*/ 0 w 1744"/>
                <a:gd name="T15" fmla="*/ 714 h 1044"/>
                <a:gd name="T16" fmla="*/ 330 w 1744"/>
                <a:gd name="T17" fmla="*/ 1044 h 1044"/>
                <a:gd name="T18" fmla="*/ 1458 w 1744"/>
                <a:gd name="T19" fmla="*/ 1044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4" h="1044">
                  <a:moveTo>
                    <a:pt x="1458" y="1044"/>
                  </a:moveTo>
                  <a:cubicBezTo>
                    <a:pt x="1616" y="1044"/>
                    <a:pt x="1744" y="916"/>
                    <a:pt x="1744" y="758"/>
                  </a:cubicBezTo>
                  <a:cubicBezTo>
                    <a:pt x="1744" y="600"/>
                    <a:pt x="1616" y="472"/>
                    <a:pt x="1458" y="472"/>
                  </a:cubicBezTo>
                  <a:cubicBezTo>
                    <a:pt x="1446" y="472"/>
                    <a:pt x="1434" y="473"/>
                    <a:pt x="1423" y="474"/>
                  </a:cubicBezTo>
                  <a:cubicBezTo>
                    <a:pt x="1394" y="208"/>
                    <a:pt x="1168" y="0"/>
                    <a:pt x="894" y="0"/>
                  </a:cubicBezTo>
                  <a:cubicBezTo>
                    <a:pt x="650" y="0"/>
                    <a:pt x="444" y="164"/>
                    <a:pt x="382" y="388"/>
                  </a:cubicBezTo>
                  <a:cubicBezTo>
                    <a:pt x="365" y="385"/>
                    <a:pt x="348" y="384"/>
                    <a:pt x="330" y="384"/>
                  </a:cubicBezTo>
                  <a:cubicBezTo>
                    <a:pt x="148" y="384"/>
                    <a:pt x="0" y="532"/>
                    <a:pt x="0" y="714"/>
                  </a:cubicBezTo>
                  <a:cubicBezTo>
                    <a:pt x="0" y="896"/>
                    <a:pt x="148" y="1044"/>
                    <a:pt x="330" y="1044"/>
                  </a:cubicBezTo>
                  <a:lnTo>
                    <a:pt x="1458" y="1044"/>
                  </a:lnTo>
                  <a:close/>
                </a:path>
              </a:pathLst>
            </a:cu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76" name="Group 4">
            <a:extLst>
              <a:ext uri="{FF2B5EF4-FFF2-40B4-BE49-F238E27FC236}">
                <a16:creationId xmlns:a16="http://schemas.microsoft.com/office/drawing/2014/main" xmlns="" id="{B1866957-84F2-42EF-B11A-0D6B2AFD4D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97392" y="4019699"/>
            <a:ext cx="257717" cy="397729"/>
            <a:chOff x="1280" y="1343"/>
            <a:chExt cx="543" cy="838"/>
          </a:xfrm>
        </p:grpSpPr>
        <p:sp>
          <p:nvSpPr>
            <p:cNvPr id="477" name="Freeform 5">
              <a:extLst>
                <a:ext uri="{FF2B5EF4-FFF2-40B4-BE49-F238E27FC236}">
                  <a16:creationId xmlns:a16="http://schemas.microsoft.com/office/drawing/2014/main" xmlns="" id="{B5DF8288-F866-47D7-A220-F76913E39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" y="1343"/>
              <a:ext cx="543" cy="838"/>
            </a:xfrm>
            <a:custGeom>
              <a:avLst/>
              <a:gdLst>
                <a:gd name="T0" fmla="*/ 325 w 325"/>
                <a:gd name="T1" fmla="*/ 339 h 502"/>
                <a:gd name="T2" fmla="*/ 163 w 325"/>
                <a:gd name="T3" fmla="*/ 502 h 502"/>
                <a:gd name="T4" fmla="*/ 0 w 325"/>
                <a:gd name="T5" fmla="*/ 339 h 502"/>
                <a:gd name="T6" fmla="*/ 163 w 325"/>
                <a:gd name="T7" fmla="*/ 0 h 502"/>
                <a:gd name="T8" fmla="*/ 325 w 325"/>
                <a:gd name="T9" fmla="*/ 339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502">
                  <a:moveTo>
                    <a:pt x="325" y="339"/>
                  </a:moveTo>
                  <a:cubicBezTo>
                    <a:pt x="325" y="429"/>
                    <a:pt x="253" y="502"/>
                    <a:pt x="163" y="502"/>
                  </a:cubicBezTo>
                  <a:cubicBezTo>
                    <a:pt x="73" y="502"/>
                    <a:pt x="0" y="429"/>
                    <a:pt x="0" y="339"/>
                  </a:cubicBezTo>
                  <a:cubicBezTo>
                    <a:pt x="0" y="250"/>
                    <a:pt x="163" y="0"/>
                    <a:pt x="163" y="0"/>
                  </a:cubicBezTo>
                  <a:cubicBezTo>
                    <a:pt x="163" y="0"/>
                    <a:pt x="325" y="250"/>
                    <a:pt x="325" y="339"/>
                  </a:cubicBezTo>
                  <a:close/>
                </a:path>
              </a:pathLst>
            </a:custGeom>
            <a:noFill/>
            <a:ln w="14351" cap="rnd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8" name="Oval 6">
              <a:extLst>
                <a:ext uri="{FF2B5EF4-FFF2-40B4-BE49-F238E27FC236}">
                  <a16:creationId xmlns:a16="http://schemas.microsoft.com/office/drawing/2014/main" xmlns="" id="{EC22C1DC-CE1F-4527-A6F3-BDBD16DEFD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" y="1854"/>
              <a:ext cx="221" cy="220"/>
            </a:xfrm>
            <a:prstGeom prst="ellipse">
              <a:avLst/>
            </a:prstGeom>
            <a:noFill/>
            <a:ln w="14351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79" name="Freeform 10">
            <a:extLst>
              <a:ext uri="{FF2B5EF4-FFF2-40B4-BE49-F238E27FC236}">
                <a16:creationId xmlns:a16="http://schemas.microsoft.com/office/drawing/2014/main" xmlns="" id="{7BBA2FC0-A2D8-43A4-89B2-BDCC61FA6663}"/>
              </a:ext>
            </a:extLst>
          </p:cNvPr>
          <p:cNvSpPr>
            <a:spLocks/>
          </p:cNvSpPr>
          <p:nvPr/>
        </p:nvSpPr>
        <p:spPr bwMode="auto">
          <a:xfrm>
            <a:off x="3998033" y="4018966"/>
            <a:ext cx="215738" cy="397729"/>
          </a:xfrm>
          <a:custGeom>
            <a:avLst/>
            <a:gdLst>
              <a:gd name="T0" fmla="*/ 123 w 179"/>
              <a:gd name="T1" fmla="*/ 90 h 330"/>
              <a:gd name="T2" fmla="*/ 179 w 179"/>
              <a:gd name="T3" fmla="*/ 90 h 330"/>
              <a:gd name="T4" fmla="*/ 19 w 179"/>
              <a:gd name="T5" fmla="*/ 330 h 330"/>
              <a:gd name="T6" fmla="*/ 41 w 179"/>
              <a:gd name="T7" fmla="*/ 161 h 330"/>
              <a:gd name="T8" fmla="*/ 0 w 179"/>
              <a:gd name="T9" fmla="*/ 161 h 330"/>
              <a:gd name="T10" fmla="*/ 26 w 179"/>
              <a:gd name="T11" fmla="*/ 0 h 330"/>
              <a:gd name="T12" fmla="*/ 136 w 179"/>
              <a:gd name="T13" fmla="*/ 0 h 330"/>
              <a:gd name="T14" fmla="*/ 123 w 179"/>
              <a:gd name="T15" fmla="*/ 9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9" h="330">
                <a:moveTo>
                  <a:pt x="123" y="90"/>
                </a:moveTo>
                <a:lnTo>
                  <a:pt x="179" y="90"/>
                </a:lnTo>
                <a:lnTo>
                  <a:pt x="19" y="330"/>
                </a:lnTo>
                <a:lnTo>
                  <a:pt x="41" y="161"/>
                </a:lnTo>
                <a:lnTo>
                  <a:pt x="0" y="161"/>
                </a:lnTo>
                <a:lnTo>
                  <a:pt x="26" y="0"/>
                </a:lnTo>
                <a:lnTo>
                  <a:pt x="136" y="0"/>
                </a:lnTo>
                <a:lnTo>
                  <a:pt x="123" y="90"/>
                </a:lnTo>
              </a:path>
            </a:pathLst>
          </a:custGeom>
          <a:noFill/>
          <a:ln w="14351" cap="flat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480" name="Group 143">
            <a:extLst>
              <a:ext uri="{FF2B5EF4-FFF2-40B4-BE49-F238E27FC236}">
                <a16:creationId xmlns:a16="http://schemas.microsoft.com/office/drawing/2014/main" xmlns="" id="{35B6A5A1-E648-4B6D-9275-B19EBD742A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08619" y="3928810"/>
            <a:ext cx="454889" cy="532595"/>
            <a:chOff x="538" y="1780"/>
            <a:chExt cx="521" cy="610"/>
          </a:xfrm>
        </p:grpSpPr>
        <p:sp>
          <p:nvSpPr>
            <p:cNvPr id="481" name="Oval 144">
              <a:extLst>
                <a:ext uri="{FF2B5EF4-FFF2-40B4-BE49-F238E27FC236}">
                  <a16:creationId xmlns:a16="http://schemas.microsoft.com/office/drawing/2014/main" xmlns="" id="{B3790CAA-6921-4C93-992F-30C795025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" y="1780"/>
              <a:ext cx="296" cy="295"/>
            </a:xfrm>
            <a:prstGeom prst="ellipse">
              <a:avLst/>
            </a:pr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2" name="Freeform 145">
              <a:extLst>
                <a:ext uri="{FF2B5EF4-FFF2-40B4-BE49-F238E27FC236}">
                  <a16:creationId xmlns:a16="http://schemas.microsoft.com/office/drawing/2014/main" xmlns="" id="{E7AB572A-D5AF-401C-9BEC-A87D59DE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" y="2078"/>
              <a:ext cx="521" cy="312"/>
            </a:xfrm>
            <a:custGeom>
              <a:avLst/>
              <a:gdLst>
                <a:gd name="T0" fmla="*/ 384 w 768"/>
                <a:gd name="T1" fmla="*/ 460 h 460"/>
                <a:gd name="T2" fmla="*/ 768 w 768"/>
                <a:gd name="T3" fmla="*/ 381 h 460"/>
                <a:gd name="T4" fmla="*/ 384 w 768"/>
                <a:gd name="T5" fmla="*/ 0 h 460"/>
                <a:gd name="T6" fmla="*/ 0 w 768"/>
                <a:gd name="T7" fmla="*/ 381 h 460"/>
                <a:gd name="T8" fmla="*/ 384 w 768"/>
                <a:gd name="T9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8" h="460">
                  <a:moveTo>
                    <a:pt x="384" y="460"/>
                  </a:moveTo>
                  <a:cubicBezTo>
                    <a:pt x="533" y="460"/>
                    <a:pt x="669" y="430"/>
                    <a:pt x="768" y="381"/>
                  </a:cubicBezTo>
                  <a:cubicBezTo>
                    <a:pt x="766" y="170"/>
                    <a:pt x="595" y="0"/>
                    <a:pt x="384" y="0"/>
                  </a:cubicBezTo>
                  <a:cubicBezTo>
                    <a:pt x="173" y="0"/>
                    <a:pt x="2" y="170"/>
                    <a:pt x="0" y="381"/>
                  </a:cubicBezTo>
                  <a:cubicBezTo>
                    <a:pt x="99" y="430"/>
                    <a:pt x="235" y="460"/>
                    <a:pt x="384" y="460"/>
                  </a:cubicBezTo>
                  <a:close/>
                </a:path>
              </a:pathLst>
            </a:cu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3" name="Freeform 146">
              <a:extLst>
                <a:ext uri="{FF2B5EF4-FFF2-40B4-BE49-F238E27FC236}">
                  <a16:creationId xmlns:a16="http://schemas.microsoft.com/office/drawing/2014/main" xmlns="" id="{6F7BEFF3-FD32-43AF-AC48-623FADBB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" y="2089"/>
              <a:ext cx="177" cy="81"/>
            </a:xfrm>
            <a:custGeom>
              <a:avLst/>
              <a:gdLst>
                <a:gd name="T0" fmla="*/ 0 w 171"/>
                <a:gd name="T1" fmla="*/ 9 h 81"/>
                <a:gd name="T2" fmla="*/ 41 w 171"/>
                <a:gd name="T3" fmla="*/ 81 h 81"/>
                <a:gd name="T4" fmla="*/ 86 w 171"/>
                <a:gd name="T5" fmla="*/ 0 h 81"/>
                <a:gd name="T6" fmla="*/ 131 w 171"/>
                <a:gd name="T7" fmla="*/ 81 h 81"/>
                <a:gd name="T8" fmla="*/ 171 w 171"/>
                <a:gd name="T9" fmla="*/ 13 h 81"/>
                <a:gd name="connsiteX0" fmla="*/ 0 w 10351"/>
                <a:gd name="connsiteY0" fmla="*/ 1111 h 10000"/>
                <a:gd name="connsiteX1" fmla="*/ 2398 w 10351"/>
                <a:gd name="connsiteY1" fmla="*/ 10000 h 10000"/>
                <a:gd name="connsiteX2" fmla="*/ 5029 w 10351"/>
                <a:gd name="connsiteY2" fmla="*/ 0 h 10000"/>
                <a:gd name="connsiteX3" fmla="*/ 7661 w 10351"/>
                <a:gd name="connsiteY3" fmla="*/ 10000 h 10000"/>
                <a:gd name="connsiteX4" fmla="*/ 10351 w 10351"/>
                <a:gd name="connsiteY4" fmla="*/ 49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1" h="10000">
                  <a:moveTo>
                    <a:pt x="0" y="1111"/>
                  </a:moveTo>
                  <a:lnTo>
                    <a:pt x="2398" y="10000"/>
                  </a:lnTo>
                  <a:lnTo>
                    <a:pt x="5029" y="0"/>
                  </a:lnTo>
                  <a:lnTo>
                    <a:pt x="7661" y="10000"/>
                  </a:lnTo>
                  <a:cubicBezTo>
                    <a:pt x="8441" y="7202"/>
                    <a:pt x="9571" y="3292"/>
                    <a:pt x="10351" y="494"/>
                  </a:cubicBezTo>
                </a:path>
              </a:pathLst>
            </a:cu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4" name="Freeform 147">
              <a:extLst>
                <a:ext uri="{FF2B5EF4-FFF2-40B4-BE49-F238E27FC236}">
                  <a16:creationId xmlns:a16="http://schemas.microsoft.com/office/drawing/2014/main" xmlns="" id="{5458056F-198F-47CF-B0E2-A41DBD963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" y="2143"/>
              <a:ext cx="44" cy="30"/>
            </a:xfrm>
            <a:custGeom>
              <a:avLst/>
              <a:gdLst>
                <a:gd name="T0" fmla="*/ 0 w 44"/>
                <a:gd name="T1" fmla="*/ 0 h 30"/>
                <a:gd name="T2" fmla="*/ 22 w 44"/>
                <a:gd name="T3" fmla="*/ 30 h 30"/>
                <a:gd name="T4" fmla="*/ 44 w 44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0">
                  <a:moveTo>
                    <a:pt x="0" y="0"/>
                  </a:moveTo>
                  <a:lnTo>
                    <a:pt x="22" y="30"/>
                  </a:lnTo>
                  <a:lnTo>
                    <a:pt x="44" y="0"/>
                  </a:lnTo>
                </a:path>
              </a:pathLst>
            </a:cu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5" name="Line 148">
              <a:extLst>
                <a:ext uri="{FF2B5EF4-FFF2-40B4-BE49-F238E27FC236}">
                  <a16:creationId xmlns:a16="http://schemas.microsoft.com/office/drawing/2014/main" xmlns="" id="{E83ED635-3CA7-43A5-A73C-6E441423B2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44" y="2174"/>
              <a:ext cx="49" cy="213"/>
            </a:xfrm>
            <a:prstGeom prst="line">
              <a:avLst/>
            </a:pr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6" name="Line 149">
              <a:extLst>
                <a:ext uri="{FF2B5EF4-FFF2-40B4-BE49-F238E27FC236}">
                  <a16:creationId xmlns:a16="http://schemas.microsoft.com/office/drawing/2014/main" xmlns="" id="{4E4F5FE3-9966-4EF9-B452-21379EC965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" y="2171"/>
              <a:ext cx="54" cy="216"/>
            </a:xfrm>
            <a:prstGeom prst="line">
              <a:avLst/>
            </a:prstGeom>
            <a:noFill/>
            <a:ln w="14351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87" name="Group 158">
            <a:extLst>
              <a:ext uri="{FF2B5EF4-FFF2-40B4-BE49-F238E27FC236}">
                <a16:creationId xmlns:a16="http://schemas.microsoft.com/office/drawing/2014/main" xmlns="" id="{7899FD93-3E3F-4E3D-9AEA-2613D03C2F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69075" y="3997321"/>
            <a:ext cx="610651" cy="502835"/>
            <a:chOff x="1549" y="524"/>
            <a:chExt cx="2662" cy="2192"/>
          </a:xfrm>
        </p:grpSpPr>
        <p:sp>
          <p:nvSpPr>
            <p:cNvPr id="488" name="Freeform 159">
              <a:extLst>
                <a:ext uri="{FF2B5EF4-FFF2-40B4-BE49-F238E27FC236}">
                  <a16:creationId xmlns:a16="http://schemas.microsoft.com/office/drawing/2014/main" xmlns="" id="{E0FBFE43-8729-4EA8-99D0-B1F3955DE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" y="524"/>
              <a:ext cx="2662" cy="1797"/>
            </a:xfrm>
            <a:custGeom>
              <a:avLst/>
              <a:gdLst>
                <a:gd name="T0" fmla="*/ 1222 w 1270"/>
                <a:gd name="T1" fmla="*/ 856 h 856"/>
                <a:gd name="T2" fmla="*/ 48 w 1270"/>
                <a:gd name="T3" fmla="*/ 856 h 856"/>
                <a:gd name="T4" fmla="*/ 0 w 1270"/>
                <a:gd name="T5" fmla="*/ 808 h 856"/>
                <a:gd name="T6" fmla="*/ 0 w 1270"/>
                <a:gd name="T7" fmla="*/ 48 h 856"/>
                <a:gd name="T8" fmla="*/ 48 w 1270"/>
                <a:gd name="T9" fmla="*/ 0 h 856"/>
                <a:gd name="T10" fmla="*/ 1222 w 1270"/>
                <a:gd name="T11" fmla="*/ 0 h 856"/>
                <a:gd name="T12" fmla="*/ 1270 w 1270"/>
                <a:gd name="T13" fmla="*/ 48 h 856"/>
                <a:gd name="T14" fmla="*/ 1270 w 1270"/>
                <a:gd name="T15" fmla="*/ 808 h 856"/>
                <a:gd name="T16" fmla="*/ 1222 w 1270"/>
                <a:gd name="T17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0" h="856">
                  <a:moveTo>
                    <a:pt x="1222" y="856"/>
                  </a:moveTo>
                  <a:cubicBezTo>
                    <a:pt x="48" y="856"/>
                    <a:pt x="48" y="856"/>
                    <a:pt x="48" y="856"/>
                  </a:cubicBezTo>
                  <a:cubicBezTo>
                    <a:pt x="22" y="856"/>
                    <a:pt x="0" y="834"/>
                    <a:pt x="0" y="80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22" y="0"/>
                    <a:pt x="1222" y="0"/>
                    <a:pt x="1222" y="0"/>
                  </a:cubicBezTo>
                  <a:cubicBezTo>
                    <a:pt x="1249" y="0"/>
                    <a:pt x="1270" y="22"/>
                    <a:pt x="1270" y="48"/>
                  </a:cubicBezTo>
                  <a:cubicBezTo>
                    <a:pt x="1270" y="808"/>
                    <a:pt x="1270" y="808"/>
                    <a:pt x="1270" y="808"/>
                  </a:cubicBezTo>
                  <a:cubicBezTo>
                    <a:pt x="1270" y="834"/>
                    <a:pt x="1249" y="856"/>
                    <a:pt x="1222" y="856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9" name="Line 160">
              <a:extLst>
                <a:ext uri="{FF2B5EF4-FFF2-40B4-BE49-F238E27FC236}">
                  <a16:creationId xmlns:a16="http://schemas.microsoft.com/office/drawing/2014/main" xmlns="" id="{8516B681-FBFB-44BD-957B-389F31E545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51" y="2002"/>
              <a:ext cx="2658" cy="0"/>
            </a:xfrm>
            <a:prstGeom prst="line">
              <a:avLst/>
            </a:prstGeom>
            <a:noFill/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0" name="Line 164">
              <a:extLst>
                <a:ext uri="{FF2B5EF4-FFF2-40B4-BE49-F238E27FC236}">
                  <a16:creationId xmlns:a16="http://schemas.microsoft.com/office/drawing/2014/main" xmlns="" id="{E5EBF9E5-3D37-4EB3-84F0-B3A9E4ADC0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53" y="2321"/>
              <a:ext cx="67" cy="260"/>
            </a:xfrm>
            <a:prstGeom prst="line">
              <a:avLst/>
            </a:prstGeom>
            <a:noFill/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1" name="Line 165">
              <a:extLst>
                <a:ext uri="{FF2B5EF4-FFF2-40B4-BE49-F238E27FC236}">
                  <a16:creationId xmlns:a16="http://schemas.microsoft.com/office/drawing/2014/main" xmlns="" id="{A700BC79-8BFD-4EBD-B53D-6E3280198D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2321"/>
              <a:ext cx="67" cy="260"/>
            </a:xfrm>
            <a:prstGeom prst="line">
              <a:avLst/>
            </a:prstGeom>
            <a:noFill/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2" name="Freeform 166">
              <a:extLst>
                <a:ext uri="{FF2B5EF4-FFF2-40B4-BE49-F238E27FC236}">
                  <a16:creationId xmlns:a16="http://schemas.microsoft.com/office/drawing/2014/main" xmlns="" id="{FCCDFBB2-ECF7-418C-ABFD-FBB17B377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5" y="2581"/>
              <a:ext cx="1190" cy="135"/>
            </a:xfrm>
            <a:custGeom>
              <a:avLst/>
              <a:gdLst>
                <a:gd name="T0" fmla="*/ 536 w 568"/>
                <a:gd name="T1" fmla="*/ 64 h 64"/>
                <a:gd name="T2" fmla="*/ 32 w 568"/>
                <a:gd name="T3" fmla="*/ 64 h 64"/>
                <a:gd name="T4" fmla="*/ 0 w 568"/>
                <a:gd name="T5" fmla="*/ 32 h 64"/>
                <a:gd name="T6" fmla="*/ 0 w 568"/>
                <a:gd name="T7" fmla="*/ 32 h 64"/>
                <a:gd name="T8" fmla="*/ 32 w 568"/>
                <a:gd name="T9" fmla="*/ 0 h 64"/>
                <a:gd name="T10" fmla="*/ 536 w 568"/>
                <a:gd name="T11" fmla="*/ 0 h 64"/>
                <a:gd name="T12" fmla="*/ 568 w 568"/>
                <a:gd name="T13" fmla="*/ 32 h 64"/>
                <a:gd name="T14" fmla="*/ 568 w 568"/>
                <a:gd name="T15" fmla="*/ 32 h 64"/>
                <a:gd name="T16" fmla="*/ 536 w 568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64">
                  <a:moveTo>
                    <a:pt x="536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36" y="0"/>
                    <a:pt x="536" y="0"/>
                    <a:pt x="536" y="0"/>
                  </a:cubicBezTo>
                  <a:cubicBezTo>
                    <a:pt x="554" y="0"/>
                    <a:pt x="568" y="14"/>
                    <a:pt x="568" y="32"/>
                  </a:cubicBezTo>
                  <a:cubicBezTo>
                    <a:pt x="568" y="32"/>
                    <a:pt x="568" y="32"/>
                    <a:pt x="568" y="32"/>
                  </a:cubicBezTo>
                  <a:cubicBezTo>
                    <a:pt x="568" y="50"/>
                    <a:pt x="554" y="64"/>
                    <a:pt x="536" y="64"/>
                  </a:cubicBezTo>
                  <a:close/>
                </a:path>
              </a:pathLst>
            </a:custGeom>
            <a:noFill/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93" name="Group 102">
            <a:extLst>
              <a:ext uri="{FF2B5EF4-FFF2-40B4-BE49-F238E27FC236}">
                <a16:creationId xmlns:a16="http://schemas.microsoft.com/office/drawing/2014/main" xmlns="" id="{C82A1F29-937F-4615-90B8-2870EDE3A1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30458" y="4067070"/>
            <a:ext cx="600668" cy="372904"/>
            <a:chOff x="215" y="2548"/>
            <a:chExt cx="269" cy="167"/>
          </a:xfrm>
        </p:grpSpPr>
        <p:sp>
          <p:nvSpPr>
            <p:cNvPr id="494" name="Line 103">
              <a:extLst>
                <a:ext uri="{FF2B5EF4-FFF2-40B4-BE49-F238E27FC236}">
                  <a16:creationId xmlns:a16="http://schemas.microsoft.com/office/drawing/2014/main" xmlns="" id="{CECFF26F-5D84-4F07-AAC0-40AA30C696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" y="2663"/>
              <a:ext cx="0" cy="0"/>
            </a:xfrm>
            <a:prstGeom prst="line">
              <a:avLst/>
            </a:pr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5" name="Freeform 104">
              <a:extLst>
                <a:ext uri="{FF2B5EF4-FFF2-40B4-BE49-F238E27FC236}">
                  <a16:creationId xmlns:a16="http://schemas.microsoft.com/office/drawing/2014/main" xmlns="" id="{078A4BAD-E7EB-4E6E-9902-7016C666F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" y="2609"/>
              <a:ext cx="85" cy="99"/>
            </a:xfrm>
            <a:custGeom>
              <a:avLst/>
              <a:gdLst>
                <a:gd name="T0" fmla="*/ 393 w 707"/>
                <a:gd name="T1" fmla="*/ 0 h 835"/>
                <a:gd name="T2" fmla="*/ 671 w 707"/>
                <a:gd name="T3" fmla="*/ 316 h 835"/>
                <a:gd name="T4" fmla="*/ 648 w 707"/>
                <a:gd name="T5" fmla="*/ 468 h 835"/>
                <a:gd name="T6" fmla="*/ 568 w 707"/>
                <a:gd name="T7" fmla="*/ 501 h 835"/>
                <a:gd name="T8" fmla="*/ 552 w 707"/>
                <a:gd name="T9" fmla="*/ 500 h 835"/>
                <a:gd name="T10" fmla="*/ 551 w 707"/>
                <a:gd name="T11" fmla="*/ 532 h 835"/>
                <a:gd name="T12" fmla="*/ 508 w 707"/>
                <a:gd name="T13" fmla="*/ 606 h 835"/>
                <a:gd name="T14" fmla="*/ 415 w 707"/>
                <a:gd name="T15" fmla="*/ 639 h 835"/>
                <a:gd name="T16" fmla="*/ 415 w 707"/>
                <a:gd name="T17" fmla="*/ 675 h 835"/>
                <a:gd name="T18" fmla="*/ 372 w 707"/>
                <a:gd name="T19" fmla="*/ 749 h 835"/>
                <a:gd name="T20" fmla="*/ 219 w 707"/>
                <a:gd name="T21" fmla="*/ 753 h 835"/>
                <a:gd name="T22" fmla="*/ 196 w 707"/>
                <a:gd name="T23" fmla="*/ 728 h 835"/>
                <a:gd name="T24" fmla="*/ 153 w 707"/>
                <a:gd name="T25" fmla="*/ 802 h 835"/>
                <a:gd name="T26" fmla="*/ 74 w 707"/>
                <a:gd name="T27" fmla="*/ 835 h 835"/>
                <a:gd name="T28" fmla="*/ 69 w 707"/>
                <a:gd name="T29" fmla="*/ 835 h 835"/>
                <a:gd name="T30" fmla="*/ 0 w 707"/>
                <a:gd name="T31" fmla="*/ 806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07" h="835">
                  <a:moveTo>
                    <a:pt x="393" y="0"/>
                  </a:moveTo>
                  <a:cubicBezTo>
                    <a:pt x="671" y="316"/>
                    <a:pt x="671" y="316"/>
                    <a:pt x="671" y="316"/>
                  </a:cubicBezTo>
                  <a:cubicBezTo>
                    <a:pt x="707" y="357"/>
                    <a:pt x="696" y="425"/>
                    <a:pt x="648" y="468"/>
                  </a:cubicBezTo>
                  <a:cubicBezTo>
                    <a:pt x="625" y="488"/>
                    <a:pt x="596" y="500"/>
                    <a:pt x="568" y="501"/>
                  </a:cubicBezTo>
                  <a:cubicBezTo>
                    <a:pt x="563" y="501"/>
                    <a:pt x="557" y="501"/>
                    <a:pt x="552" y="500"/>
                  </a:cubicBezTo>
                  <a:cubicBezTo>
                    <a:pt x="553" y="510"/>
                    <a:pt x="553" y="521"/>
                    <a:pt x="551" y="532"/>
                  </a:cubicBezTo>
                  <a:cubicBezTo>
                    <a:pt x="546" y="560"/>
                    <a:pt x="531" y="586"/>
                    <a:pt x="508" y="606"/>
                  </a:cubicBezTo>
                  <a:cubicBezTo>
                    <a:pt x="480" y="631"/>
                    <a:pt x="446" y="642"/>
                    <a:pt x="415" y="639"/>
                  </a:cubicBezTo>
                  <a:cubicBezTo>
                    <a:pt x="417" y="650"/>
                    <a:pt x="417" y="662"/>
                    <a:pt x="415" y="675"/>
                  </a:cubicBezTo>
                  <a:cubicBezTo>
                    <a:pt x="410" y="702"/>
                    <a:pt x="395" y="729"/>
                    <a:pt x="372" y="749"/>
                  </a:cubicBezTo>
                  <a:cubicBezTo>
                    <a:pt x="323" y="792"/>
                    <a:pt x="254" y="794"/>
                    <a:pt x="219" y="753"/>
                  </a:cubicBezTo>
                  <a:cubicBezTo>
                    <a:pt x="196" y="728"/>
                    <a:pt x="196" y="728"/>
                    <a:pt x="196" y="728"/>
                  </a:cubicBezTo>
                  <a:cubicBezTo>
                    <a:pt x="191" y="755"/>
                    <a:pt x="176" y="782"/>
                    <a:pt x="153" y="802"/>
                  </a:cubicBezTo>
                  <a:cubicBezTo>
                    <a:pt x="130" y="822"/>
                    <a:pt x="102" y="834"/>
                    <a:pt x="74" y="835"/>
                  </a:cubicBezTo>
                  <a:cubicBezTo>
                    <a:pt x="72" y="835"/>
                    <a:pt x="70" y="835"/>
                    <a:pt x="69" y="835"/>
                  </a:cubicBezTo>
                  <a:cubicBezTo>
                    <a:pt x="41" y="835"/>
                    <a:pt x="17" y="825"/>
                    <a:pt x="0" y="806"/>
                  </a:cubicBezTo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6" name="Freeform 105">
              <a:extLst>
                <a:ext uri="{FF2B5EF4-FFF2-40B4-BE49-F238E27FC236}">
                  <a16:creationId xmlns:a16="http://schemas.microsoft.com/office/drawing/2014/main" xmlns="" id="{5A367145-A500-4AC3-8DF7-7D8DD550A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" y="2627"/>
              <a:ext cx="105" cy="88"/>
            </a:xfrm>
            <a:custGeom>
              <a:avLst/>
              <a:gdLst>
                <a:gd name="T0" fmla="*/ 817 w 876"/>
                <a:gd name="T1" fmla="*/ 388 h 739"/>
                <a:gd name="T2" fmla="*/ 750 w 876"/>
                <a:gd name="T3" fmla="*/ 368 h 739"/>
                <a:gd name="T4" fmla="*/ 716 w 876"/>
                <a:gd name="T5" fmla="*/ 188 h 739"/>
                <a:gd name="T6" fmla="*/ 617 w 876"/>
                <a:gd name="T7" fmla="*/ 165 h 739"/>
                <a:gd name="T8" fmla="*/ 576 w 876"/>
                <a:gd name="T9" fmla="*/ 179 h 739"/>
                <a:gd name="T10" fmla="*/ 574 w 876"/>
                <a:gd name="T11" fmla="*/ 158 h 739"/>
                <a:gd name="T12" fmla="*/ 520 w 876"/>
                <a:gd name="T13" fmla="*/ 72 h 739"/>
                <a:gd name="T14" fmla="*/ 335 w 876"/>
                <a:gd name="T15" fmla="*/ 104 h 739"/>
                <a:gd name="T16" fmla="*/ 328 w 876"/>
                <a:gd name="T17" fmla="*/ 113 h 739"/>
                <a:gd name="T18" fmla="*/ 277 w 876"/>
                <a:gd name="T19" fmla="*/ 39 h 739"/>
                <a:gd name="T20" fmla="*/ 111 w 876"/>
                <a:gd name="T21" fmla="*/ 61 h 739"/>
                <a:gd name="T22" fmla="*/ 24 w 876"/>
                <a:gd name="T23" fmla="*/ 184 h 739"/>
                <a:gd name="T24" fmla="*/ 7 w 876"/>
                <a:gd name="T25" fmla="*/ 271 h 739"/>
                <a:gd name="T26" fmla="*/ 59 w 876"/>
                <a:gd name="T27" fmla="*/ 348 h 739"/>
                <a:gd name="T28" fmla="*/ 133 w 876"/>
                <a:gd name="T29" fmla="*/ 372 h 739"/>
                <a:gd name="T30" fmla="*/ 180 w 876"/>
                <a:gd name="T31" fmla="*/ 362 h 739"/>
                <a:gd name="T32" fmla="*/ 182 w 876"/>
                <a:gd name="T33" fmla="*/ 387 h 739"/>
                <a:gd name="T34" fmla="*/ 236 w 876"/>
                <a:gd name="T35" fmla="*/ 473 h 739"/>
                <a:gd name="T36" fmla="*/ 312 w 876"/>
                <a:gd name="T37" fmla="*/ 498 h 739"/>
                <a:gd name="T38" fmla="*/ 335 w 876"/>
                <a:gd name="T39" fmla="*/ 496 h 739"/>
                <a:gd name="T40" fmla="*/ 365 w 876"/>
                <a:gd name="T41" fmla="*/ 487 h 739"/>
                <a:gd name="T42" fmla="*/ 421 w 876"/>
                <a:gd name="T43" fmla="*/ 604 h 739"/>
                <a:gd name="T44" fmla="*/ 497 w 876"/>
                <a:gd name="T45" fmla="*/ 628 h 739"/>
                <a:gd name="T46" fmla="*/ 538 w 876"/>
                <a:gd name="T47" fmla="*/ 622 h 739"/>
                <a:gd name="T48" fmla="*/ 539 w 876"/>
                <a:gd name="T49" fmla="*/ 653 h 739"/>
                <a:gd name="T50" fmla="*/ 583 w 876"/>
                <a:gd name="T51" fmla="*/ 719 h 739"/>
                <a:gd name="T52" fmla="*/ 645 w 876"/>
                <a:gd name="T53" fmla="*/ 739 h 739"/>
                <a:gd name="T54" fmla="*/ 724 w 876"/>
                <a:gd name="T55" fmla="*/ 699 h 739"/>
                <a:gd name="T56" fmla="*/ 845 w 876"/>
                <a:gd name="T57" fmla="*/ 528 h 739"/>
                <a:gd name="T58" fmla="*/ 817 w 876"/>
                <a:gd name="T59" fmla="*/ 388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6" h="739">
                  <a:moveTo>
                    <a:pt x="817" y="388"/>
                  </a:moveTo>
                  <a:cubicBezTo>
                    <a:pt x="797" y="374"/>
                    <a:pt x="773" y="367"/>
                    <a:pt x="750" y="368"/>
                  </a:cubicBezTo>
                  <a:cubicBezTo>
                    <a:pt x="789" y="309"/>
                    <a:pt x="774" y="229"/>
                    <a:pt x="716" y="188"/>
                  </a:cubicBezTo>
                  <a:cubicBezTo>
                    <a:pt x="687" y="167"/>
                    <a:pt x="652" y="159"/>
                    <a:pt x="617" y="165"/>
                  </a:cubicBezTo>
                  <a:cubicBezTo>
                    <a:pt x="602" y="168"/>
                    <a:pt x="589" y="172"/>
                    <a:pt x="576" y="179"/>
                  </a:cubicBezTo>
                  <a:cubicBezTo>
                    <a:pt x="576" y="172"/>
                    <a:pt x="575" y="165"/>
                    <a:pt x="574" y="158"/>
                  </a:cubicBezTo>
                  <a:cubicBezTo>
                    <a:pt x="568" y="123"/>
                    <a:pt x="549" y="93"/>
                    <a:pt x="520" y="72"/>
                  </a:cubicBezTo>
                  <a:cubicBezTo>
                    <a:pt x="460" y="30"/>
                    <a:pt x="378" y="44"/>
                    <a:pt x="335" y="104"/>
                  </a:cubicBezTo>
                  <a:cubicBezTo>
                    <a:pt x="328" y="113"/>
                    <a:pt x="328" y="113"/>
                    <a:pt x="328" y="113"/>
                  </a:cubicBezTo>
                  <a:cubicBezTo>
                    <a:pt x="321" y="84"/>
                    <a:pt x="303" y="57"/>
                    <a:pt x="277" y="39"/>
                  </a:cubicBezTo>
                  <a:cubicBezTo>
                    <a:pt x="222" y="0"/>
                    <a:pt x="148" y="10"/>
                    <a:pt x="111" y="61"/>
                  </a:cubicBezTo>
                  <a:cubicBezTo>
                    <a:pt x="24" y="184"/>
                    <a:pt x="24" y="184"/>
                    <a:pt x="24" y="184"/>
                  </a:cubicBezTo>
                  <a:cubicBezTo>
                    <a:pt x="6" y="209"/>
                    <a:pt x="0" y="240"/>
                    <a:pt x="7" y="271"/>
                  </a:cubicBezTo>
                  <a:cubicBezTo>
                    <a:pt x="14" y="302"/>
                    <a:pt x="32" y="329"/>
                    <a:pt x="59" y="348"/>
                  </a:cubicBezTo>
                  <a:cubicBezTo>
                    <a:pt x="82" y="364"/>
                    <a:pt x="108" y="372"/>
                    <a:pt x="133" y="372"/>
                  </a:cubicBezTo>
                  <a:cubicBezTo>
                    <a:pt x="150" y="372"/>
                    <a:pt x="166" y="369"/>
                    <a:pt x="180" y="362"/>
                  </a:cubicBezTo>
                  <a:cubicBezTo>
                    <a:pt x="180" y="371"/>
                    <a:pt x="181" y="379"/>
                    <a:pt x="182" y="387"/>
                  </a:cubicBezTo>
                  <a:cubicBezTo>
                    <a:pt x="188" y="422"/>
                    <a:pt x="207" y="453"/>
                    <a:pt x="236" y="473"/>
                  </a:cubicBezTo>
                  <a:cubicBezTo>
                    <a:pt x="259" y="489"/>
                    <a:pt x="285" y="498"/>
                    <a:pt x="312" y="498"/>
                  </a:cubicBezTo>
                  <a:cubicBezTo>
                    <a:pt x="320" y="498"/>
                    <a:pt x="327" y="497"/>
                    <a:pt x="335" y="496"/>
                  </a:cubicBezTo>
                  <a:cubicBezTo>
                    <a:pt x="346" y="494"/>
                    <a:pt x="356" y="491"/>
                    <a:pt x="365" y="487"/>
                  </a:cubicBezTo>
                  <a:cubicBezTo>
                    <a:pt x="362" y="531"/>
                    <a:pt x="382" y="576"/>
                    <a:pt x="421" y="604"/>
                  </a:cubicBezTo>
                  <a:cubicBezTo>
                    <a:pt x="444" y="621"/>
                    <a:pt x="471" y="628"/>
                    <a:pt x="497" y="628"/>
                  </a:cubicBezTo>
                  <a:cubicBezTo>
                    <a:pt x="511" y="628"/>
                    <a:pt x="525" y="626"/>
                    <a:pt x="538" y="622"/>
                  </a:cubicBezTo>
                  <a:cubicBezTo>
                    <a:pt x="537" y="632"/>
                    <a:pt x="537" y="643"/>
                    <a:pt x="539" y="653"/>
                  </a:cubicBezTo>
                  <a:cubicBezTo>
                    <a:pt x="545" y="680"/>
                    <a:pt x="560" y="703"/>
                    <a:pt x="583" y="719"/>
                  </a:cubicBezTo>
                  <a:cubicBezTo>
                    <a:pt x="602" y="732"/>
                    <a:pt x="624" y="739"/>
                    <a:pt x="645" y="739"/>
                  </a:cubicBezTo>
                  <a:cubicBezTo>
                    <a:pt x="676" y="739"/>
                    <a:pt x="706" y="725"/>
                    <a:pt x="724" y="699"/>
                  </a:cubicBezTo>
                  <a:cubicBezTo>
                    <a:pt x="845" y="528"/>
                    <a:pt x="845" y="528"/>
                    <a:pt x="845" y="528"/>
                  </a:cubicBezTo>
                  <a:cubicBezTo>
                    <a:pt x="876" y="484"/>
                    <a:pt x="863" y="421"/>
                    <a:pt x="817" y="388"/>
                  </a:cubicBezTo>
                  <a:close/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7" name="Freeform 106">
              <a:extLst>
                <a:ext uri="{FF2B5EF4-FFF2-40B4-BE49-F238E27FC236}">
                  <a16:creationId xmlns:a16="http://schemas.microsoft.com/office/drawing/2014/main" xmlns="" id="{E930E380-5D1F-4268-A92B-964B319EE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2609"/>
              <a:ext cx="56" cy="75"/>
            </a:xfrm>
            <a:custGeom>
              <a:avLst/>
              <a:gdLst>
                <a:gd name="T0" fmla="*/ 140 w 471"/>
                <a:gd name="T1" fmla="*/ 0 h 627"/>
                <a:gd name="T2" fmla="*/ 140 w 471"/>
                <a:gd name="T3" fmla="*/ 540 h 627"/>
                <a:gd name="T4" fmla="*/ 19 w 471"/>
                <a:gd name="T5" fmla="*/ 540 h 627"/>
                <a:gd name="T6" fmla="*/ 0 w 471"/>
                <a:gd name="T7" fmla="*/ 559 h 627"/>
                <a:gd name="T8" fmla="*/ 19 w 471"/>
                <a:gd name="T9" fmla="*/ 579 h 627"/>
                <a:gd name="T10" fmla="*/ 140 w 471"/>
                <a:gd name="T11" fmla="*/ 579 h 627"/>
                <a:gd name="T12" fmla="*/ 140 w 471"/>
                <a:gd name="T13" fmla="*/ 608 h 627"/>
                <a:gd name="T14" fmla="*/ 159 w 471"/>
                <a:gd name="T15" fmla="*/ 627 h 627"/>
                <a:gd name="T16" fmla="*/ 471 w 471"/>
                <a:gd name="T17" fmla="*/ 62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1" h="627">
                  <a:moveTo>
                    <a:pt x="140" y="0"/>
                  </a:moveTo>
                  <a:cubicBezTo>
                    <a:pt x="140" y="540"/>
                    <a:pt x="140" y="540"/>
                    <a:pt x="140" y="540"/>
                  </a:cubicBezTo>
                  <a:cubicBezTo>
                    <a:pt x="19" y="540"/>
                    <a:pt x="19" y="540"/>
                    <a:pt x="19" y="540"/>
                  </a:cubicBezTo>
                  <a:cubicBezTo>
                    <a:pt x="9" y="540"/>
                    <a:pt x="0" y="549"/>
                    <a:pt x="0" y="559"/>
                  </a:cubicBezTo>
                  <a:cubicBezTo>
                    <a:pt x="0" y="570"/>
                    <a:pt x="9" y="579"/>
                    <a:pt x="19" y="579"/>
                  </a:cubicBezTo>
                  <a:cubicBezTo>
                    <a:pt x="140" y="579"/>
                    <a:pt x="140" y="579"/>
                    <a:pt x="140" y="579"/>
                  </a:cubicBezTo>
                  <a:cubicBezTo>
                    <a:pt x="140" y="608"/>
                    <a:pt x="140" y="608"/>
                    <a:pt x="140" y="608"/>
                  </a:cubicBezTo>
                  <a:cubicBezTo>
                    <a:pt x="140" y="618"/>
                    <a:pt x="148" y="627"/>
                    <a:pt x="159" y="627"/>
                  </a:cubicBezTo>
                  <a:cubicBezTo>
                    <a:pt x="471" y="627"/>
                    <a:pt x="471" y="627"/>
                    <a:pt x="471" y="627"/>
                  </a:cubicBezTo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8" name="Freeform 107">
              <a:extLst>
                <a:ext uri="{FF2B5EF4-FFF2-40B4-BE49-F238E27FC236}">
                  <a16:creationId xmlns:a16="http://schemas.microsoft.com/office/drawing/2014/main" xmlns="" id="{28D97FC2-5DA6-4B1A-ABC3-C5D94AFA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" y="2554"/>
              <a:ext cx="189" cy="63"/>
            </a:xfrm>
            <a:custGeom>
              <a:avLst/>
              <a:gdLst>
                <a:gd name="T0" fmla="*/ 1583 w 1583"/>
                <a:gd name="T1" fmla="*/ 215 h 522"/>
                <a:gd name="T2" fmla="*/ 1271 w 1583"/>
                <a:gd name="T3" fmla="*/ 215 h 522"/>
                <a:gd name="T4" fmla="*/ 1252 w 1583"/>
                <a:gd name="T5" fmla="*/ 234 h 522"/>
                <a:gd name="T6" fmla="*/ 1252 w 1583"/>
                <a:gd name="T7" fmla="*/ 272 h 522"/>
                <a:gd name="T8" fmla="*/ 1079 w 1583"/>
                <a:gd name="T9" fmla="*/ 272 h 522"/>
                <a:gd name="T10" fmla="*/ 707 w 1583"/>
                <a:gd name="T11" fmla="*/ 4 h 522"/>
                <a:gd name="T12" fmla="*/ 704 w 1583"/>
                <a:gd name="T13" fmla="*/ 4 h 522"/>
                <a:gd name="T14" fmla="*/ 700 w 1583"/>
                <a:gd name="T15" fmla="*/ 4 h 522"/>
                <a:gd name="T16" fmla="*/ 638 w 1583"/>
                <a:gd name="T17" fmla="*/ 2 h 522"/>
                <a:gd name="T18" fmla="*/ 633 w 1583"/>
                <a:gd name="T19" fmla="*/ 2 h 522"/>
                <a:gd name="T20" fmla="*/ 478 w 1583"/>
                <a:gd name="T21" fmla="*/ 3 h 522"/>
                <a:gd name="T22" fmla="*/ 346 w 1583"/>
                <a:gd name="T23" fmla="*/ 66 h 522"/>
                <a:gd name="T24" fmla="*/ 20 w 1583"/>
                <a:gd name="T25" fmla="*/ 392 h 522"/>
                <a:gd name="T26" fmla="*/ 22 w 1583"/>
                <a:gd name="T27" fmla="*/ 456 h 522"/>
                <a:gd name="T28" fmla="*/ 203 w 1583"/>
                <a:gd name="T29" fmla="*/ 522 h 522"/>
                <a:gd name="T30" fmla="*/ 329 w 1583"/>
                <a:gd name="T31" fmla="*/ 484 h 522"/>
                <a:gd name="T32" fmla="*/ 332 w 1583"/>
                <a:gd name="T33" fmla="*/ 482 h 522"/>
                <a:gd name="T34" fmla="*/ 531 w 1583"/>
                <a:gd name="T35" fmla="*/ 284 h 522"/>
                <a:gd name="T36" fmla="*/ 819 w 1583"/>
                <a:gd name="T37" fmla="*/ 407 h 522"/>
                <a:gd name="T38" fmla="*/ 831 w 1583"/>
                <a:gd name="T39" fmla="*/ 403 h 522"/>
                <a:gd name="T40" fmla="*/ 896 w 1583"/>
                <a:gd name="T41" fmla="*/ 37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3" h="522">
                  <a:moveTo>
                    <a:pt x="1583" y="215"/>
                  </a:moveTo>
                  <a:cubicBezTo>
                    <a:pt x="1271" y="215"/>
                    <a:pt x="1271" y="215"/>
                    <a:pt x="1271" y="215"/>
                  </a:cubicBezTo>
                  <a:cubicBezTo>
                    <a:pt x="1260" y="215"/>
                    <a:pt x="1252" y="223"/>
                    <a:pt x="1252" y="234"/>
                  </a:cubicBezTo>
                  <a:cubicBezTo>
                    <a:pt x="1252" y="272"/>
                    <a:pt x="1252" y="272"/>
                    <a:pt x="1252" y="272"/>
                  </a:cubicBezTo>
                  <a:cubicBezTo>
                    <a:pt x="1079" y="272"/>
                    <a:pt x="1079" y="272"/>
                    <a:pt x="1079" y="272"/>
                  </a:cubicBezTo>
                  <a:cubicBezTo>
                    <a:pt x="1061" y="172"/>
                    <a:pt x="986" y="25"/>
                    <a:pt x="707" y="4"/>
                  </a:cubicBezTo>
                  <a:cubicBezTo>
                    <a:pt x="706" y="4"/>
                    <a:pt x="705" y="4"/>
                    <a:pt x="704" y="4"/>
                  </a:cubicBezTo>
                  <a:cubicBezTo>
                    <a:pt x="703" y="4"/>
                    <a:pt x="702" y="4"/>
                    <a:pt x="700" y="4"/>
                  </a:cubicBezTo>
                  <a:cubicBezTo>
                    <a:pt x="680" y="2"/>
                    <a:pt x="660" y="2"/>
                    <a:pt x="638" y="2"/>
                  </a:cubicBezTo>
                  <a:cubicBezTo>
                    <a:pt x="636" y="2"/>
                    <a:pt x="635" y="2"/>
                    <a:pt x="633" y="2"/>
                  </a:cubicBezTo>
                  <a:cubicBezTo>
                    <a:pt x="573" y="1"/>
                    <a:pt x="494" y="0"/>
                    <a:pt x="478" y="3"/>
                  </a:cubicBezTo>
                  <a:cubicBezTo>
                    <a:pt x="403" y="14"/>
                    <a:pt x="347" y="66"/>
                    <a:pt x="346" y="66"/>
                  </a:cubicBezTo>
                  <a:cubicBezTo>
                    <a:pt x="20" y="392"/>
                    <a:pt x="20" y="392"/>
                    <a:pt x="20" y="392"/>
                  </a:cubicBezTo>
                  <a:cubicBezTo>
                    <a:pt x="6" y="405"/>
                    <a:pt x="0" y="429"/>
                    <a:pt x="22" y="456"/>
                  </a:cubicBezTo>
                  <a:cubicBezTo>
                    <a:pt x="51" y="490"/>
                    <a:pt x="126" y="522"/>
                    <a:pt x="203" y="522"/>
                  </a:cubicBezTo>
                  <a:cubicBezTo>
                    <a:pt x="248" y="522"/>
                    <a:pt x="292" y="511"/>
                    <a:pt x="329" y="484"/>
                  </a:cubicBezTo>
                  <a:cubicBezTo>
                    <a:pt x="330" y="483"/>
                    <a:pt x="331" y="483"/>
                    <a:pt x="332" y="482"/>
                  </a:cubicBezTo>
                  <a:cubicBezTo>
                    <a:pt x="531" y="284"/>
                    <a:pt x="531" y="284"/>
                    <a:pt x="531" y="284"/>
                  </a:cubicBezTo>
                  <a:cubicBezTo>
                    <a:pt x="568" y="362"/>
                    <a:pt x="659" y="454"/>
                    <a:pt x="819" y="407"/>
                  </a:cubicBezTo>
                  <a:cubicBezTo>
                    <a:pt x="823" y="406"/>
                    <a:pt x="827" y="405"/>
                    <a:pt x="831" y="403"/>
                  </a:cubicBezTo>
                  <a:cubicBezTo>
                    <a:pt x="857" y="395"/>
                    <a:pt x="878" y="385"/>
                    <a:pt x="896" y="373"/>
                  </a:cubicBezTo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9" name="Freeform 108">
              <a:extLst>
                <a:ext uri="{FF2B5EF4-FFF2-40B4-BE49-F238E27FC236}">
                  <a16:creationId xmlns:a16="http://schemas.microsoft.com/office/drawing/2014/main" xmlns="" id="{21DDA1BA-E1BA-48AE-8492-023C6B4C0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" y="2586"/>
              <a:ext cx="45" cy="74"/>
            </a:xfrm>
            <a:custGeom>
              <a:avLst/>
              <a:gdLst>
                <a:gd name="T0" fmla="*/ 0 w 382"/>
                <a:gd name="T1" fmla="*/ 622 h 622"/>
                <a:gd name="T2" fmla="*/ 312 w 382"/>
                <a:gd name="T3" fmla="*/ 622 h 622"/>
                <a:gd name="T4" fmla="*/ 331 w 382"/>
                <a:gd name="T5" fmla="*/ 603 h 622"/>
                <a:gd name="T6" fmla="*/ 331 w 382"/>
                <a:gd name="T7" fmla="*/ 535 h 622"/>
                <a:gd name="T8" fmla="*/ 363 w 382"/>
                <a:gd name="T9" fmla="*/ 535 h 622"/>
                <a:gd name="T10" fmla="*/ 382 w 382"/>
                <a:gd name="T11" fmla="*/ 515 h 622"/>
                <a:gd name="T12" fmla="*/ 363 w 382"/>
                <a:gd name="T13" fmla="*/ 496 h 622"/>
                <a:gd name="T14" fmla="*/ 332 w 382"/>
                <a:gd name="T15" fmla="*/ 496 h 622"/>
                <a:gd name="T16" fmla="*/ 331 w 382"/>
                <a:gd name="T17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622">
                  <a:moveTo>
                    <a:pt x="0" y="622"/>
                  </a:moveTo>
                  <a:cubicBezTo>
                    <a:pt x="312" y="622"/>
                    <a:pt x="312" y="622"/>
                    <a:pt x="312" y="622"/>
                  </a:cubicBezTo>
                  <a:cubicBezTo>
                    <a:pt x="322" y="622"/>
                    <a:pt x="331" y="614"/>
                    <a:pt x="331" y="603"/>
                  </a:cubicBezTo>
                  <a:cubicBezTo>
                    <a:pt x="331" y="535"/>
                    <a:pt x="331" y="535"/>
                    <a:pt x="331" y="535"/>
                  </a:cubicBezTo>
                  <a:cubicBezTo>
                    <a:pt x="363" y="535"/>
                    <a:pt x="363" y="535"/>
                    <a:pt x="363" y="535"/>
                  </a:cubicBezTo>
                  <a:cubicBezTo>
                    <a:pt x="374" y="535"/>
                    <a:pt x="382" y="526"/>
                    <a:pt x="382" y="515"/>
                  </a:cubicBezTo>
                  <a:cubicBezTo>
                    <a:pt x="382" y="505"/>
                    <a:pt x="374" y="496"/>
                    <a:pt x="363" y="496"/>
                  </a:cubicBezTo>
                  <a:cubicBezTo>
                    <a:pt x="332" y="496"/>
                    <a:pt x="332" y="496"/>
                    <a:pt x="332" y="496"/>
                  </a:cubicBezTo>
                  <a:cubicBezTo>
                    <a:pt x="331" y="0"/>
                    <a:pt x="331" y="0"/>
                    <a:pt x="331" y="0"/>
                  </a:cubicBezTo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0" name="Freeform 109">
              <a:extLst>
                <a:ext uri="{FF2B5EF4-FFF2-40B4-BE49-F238E27FC236}">
                  <a16:creationId xmlns:a16="http://schemas.microsoft.com/office/drawing/2014/main" xmlns="" id="{CF3EEC86-59E3-447A-AA0F-00A942059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" y="2548"/>
              <a:ext cx="129" cy="21"/>
            </a:xfrm>
            <a:custGeom>
              <a:avLst/>
              <a:gdLst>
                <a:gd name="T0" fmla="*/ 1085 w 1085"/>
                <a:gd name="T1" fmla="*/ 19 h 176"/>
                <a:gd name="T2" fmla="*/ 1065 w 1085"/>
                <a:gd name="T3" fmla="*/ 0 h 176"/>
                <a:gd name="T4" fmla="*/ 774 w 1085"/>
                <a:gd name="T5" fmla="*/ 0 h 176"/>
                <a:gd name="T6" fmla="*/ 484 w 1085"/>
                <a:gd name="T7" fmla="*/ 176 h 176"/>
                <a:gd name="T8" fmla="*/ 331 w 1085"/>
                <a:gd name="T9" fmla="*/ 176 h 176"/>
                <a:gd name="T10" fmla="*/ 331 w 1085"/>
                <a:gd name="T11" fmla="*/ 107 h 176"/>
                <a:gd name="T12" fmla="*/ 312 w 1085"/>
                <a:gd name="T13" fmla="*/ 88 h 176"/>
                <a:gd name="T14" fmla="*/ 0 w 1085"/>
                <a:gd name="T15" fmla="*/ 8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5" h="176">
                  <a:moveTo>
                    <a:pt x="1085" y="19"/>
                  </a:moveTo>
                  <a:cubicBezTo>
                    <a:pt x="1085" y="8"/>
                    <a:pt x="1076" y="0"/>
                    <a:pt x="1065" y="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652" y="0"/>
                    <a:pt x="540" y="69"/>
                    <a:pt x="484" y="176"/>
                  </a:cubicBezTo>
                  <a:cubicBezTo>
                    <a:pt x="331" y="176"/>
                    <a:pt x="331" y="176"/>
                    <a:pt x="331" y="176"/>
                  </a:cubicBezTo>
                  <a:cubicBezTo>
                    <a:pt x="331" y="107"/>
                    <a:pt x="331" y="107"/>
                    <a:pt x="331" y="107"/>
                  </a:cubicBezTo>
                  <a:cubicBezTo>
                    <a:pt x="331" y="96"/>
                    <a:pt x="322" y="88"/>
                    <a:pt x="312" y="88"/>
                  </a:cubicBezTo>
                  <a:cubicBezTo>
                    <a:pt x="0" y="88"/>
                    <a:pt x="0" y="88"/>
                    <a:pt x="0" y="88"/>
                  </a:cubicBezTo>
                </a:path>
              </a:pathLst>
            </a:custGeom>
            <a:noFill/>
            <a:ln w="9525" cap="flat">
              <a:solidFill>
                <a:srgbClr val="55238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01" name="Group 4">
            <a:extLst>
              <a:ext uri="{FF2B5EF4-FFF2-40B4-BE49-F238E27FC236}">
                <a16:creationId xmlns:a16="http://schemas.microsoft.com/office/drawing/2014/main" xmlns="" id="{BAFCE70A-7460-48CC-AE4B-72AA66EB90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4690" y="4952000"/>
            <a:ext cx="465680" cy="578997"/>
            <a:chOff x="-387" y="678"/>
            <a:chExt cx="863" cy="1073"/>
          </a:xfrm>
        </p:grpSpPr>
        <p:sp>
          <p:nvSpPr>
            <p:cNvPr id="502" name="Rectangle 5">
              <a:extLst>
                <a:ext uri="{FF2B5EF4-FFF2-40B4-BE49-F238E27FC236}">
                  <a16:creationId xmlns:a16="http://schemas.microsoft.com/office/drawing/2014/main" xmlns="" id="{DB16FE56-629D-4C65-AB69-0CB8D9255E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7" y="1300"/>
              <a:ext cx="863" cy="451"/>
            </a:xfrm>
            <a:prstGeom prst="rect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3" name="Rectangle 6">
              <a:extLst>
                <a:ext uri="{FF2B5EF4-FFF2-40B4-BE49-F238E27FC236}">
                  <a16:creationId xmlns:a16="http://schemas.microsoft.com/office/drawing/2014/main" xmlns="" id="{80D8BB99-7FCE-4D81-AE5B-19C6E9D82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" y="1568"/>
              <a:ext cx="258" cy="183"/>
            </a:xfrm>
            <a:prstGeom prst="rect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4" name="Line 7">
              <a:extLst>
                <a:ext uri="{FF2B5EF4-FFF2-40B4-BE49-F238E27FC236}">
                  <a16:creationId xmlns:a16="http://schemas.microsoft.com/office/drawing/2014/main" xmlns="" id="{7A810539-8081-4345-9401-AB27E6E836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" y="1568"/>
              <a:ext cx="0" cy="132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5" name="Line 8">
              <a:extLst>
                <a:ext uri="{FF2B5EF4-FFF2-40B4-BE49-F238E27FC236}">
                  <a16:creationId xmlns:a16="http://schemas.microsoft.com/office/drawing/2014/main" xmlns="" id="{9755A199-64E3-4B3D-9356-5E028751C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3" y="1568"/>
              <a:ext cx="0" cy="132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6" name="Line 9">
              <a:extLst>
                <a:ext uri="{FF2B5EF4-FFF2-40B4-BE49-F238E27FC236}">
                  <a16:creationId xmlns:a16="http://schemas.microsoft.com/office/drawing/2014/main" xmlns="" id="{2D3F034A-19F9-43E2-9A3B-842B3579C2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11" y="1568"/>
              <a:ext cx="0" cy="132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7" name="Line 10">
              <a:extLst>
                <a:ext uri="{FF2B5EF4-FFF2-40B4-BE49-F238E27FC236}">
                  <a16:creationId xmlns:a16="http://schemas.microsoft.com/office/drawing/2014/main" xmlns="" id="{7D31E478-092A-4671-8AF9-678C9C285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98" y="1568"/>
              <a:ext cx="0" cy="132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8" name="Line 11">
              <a:extLst>
                <a:ext uri="{FF2B5EF4-FFF2-40B4-BE49-F238E27FC236}">
                  <a16:creationId xmlns:a16="http://schemas.microsoft.com/office/drawing/2014/main" xmlns="" id="{1C4CA924-906F-410B-A421-92BB1037AA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86" y="1568"/>
              <a:ext cx="0" cy="132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9" name="Line 12">
              <a:extLst>
                <a:ext uri="{FF2B5EF4-FFF2-40B4-BE49-F238E27FC236}">
                  <a16:creationId xmlns:a16="http://schemas.microsoft.com/office/drawing/2014/main" xmlns="" id="{5D93AB8B-DE22-48BE-9B3E-548C0A7589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328" y="1393"/>
              <a:ext cx="740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0" name="Freeform 13">
              <a:extLst>
                <a:ext uri="{FF2B5EF4-FFF2-40B4-BE49-F238E27FC236}">
                  <a16:creationId xmlns:a16="http://schemas.microsoft.com/office/drawing/2014/main" xmlns="" id="{B9A52801-95C3-4C56-9D4B-48FF592E5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5" y="1202"/>
              <a:ext cx="127" cy="98"/>
            </a:xfrm>
            <a:custGeom>
              <a:avLst/>
              <a:gdLst>
                <a:gd name="T0" fmla="*/ 0 w 127"/>
                <a:gd name="T1" fmla="*/ 98 h 98"/>
                <a:gd name="T2" fmla="*/ 127 w 127"/>
                <a:gd name="T3" fmla="*/ 98 h 98"/>
                <a:gd name="T4" fmla="*/ 127 w 127"/>
                <a:gd name="T5" fmla="*/ 0 h 98"/>
                <a:gd name="T6" fmla="*/ 0 w 127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98">
                  <a:moveTo>
                    <a:pt x="0" y="98"/>
                  </a:moveTo>
                  <a:lnTo>
                    <a:pt x="127" y="98"/>
                  </a:lnTo>
                  <a:lnTo>
                    <a:pt x="127" y="0"/>
                  </a:lnTo>
                  <a:lnTo>
                    <a:pt x="0" y="9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1" name="Freeform 14">
              <a:extLst>
                <a:ext uri="{FF2B5EF4-FFF2-40B4-BE49-F238E27FC236}">
                  <a16:creationId xmlns:a16="http://schemas.microsoft.com/office/drawing/2014/main" xmlns="" id="{D0006E52-0E73-4BBF-9626-273F854F7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0" y="1202"/>
              <a:ext cx="128" cy="98"/>
            </a:xfrm>
            <a:custGeom>
              <a:avLst/>
              <a:gdLst>
                <a:gd name="T0" fmla="*/ 0 w 128"/>
                <a:gd name="T1" fmla="*/ 98 h 98"/>
                <a:gd name="T2" fmla="*/ 128 w 128"/>
                <a:gd name="T3" fmla="*/ 98 h 98"/>
                <a:gd name="T4" fmla="*/ 128 w 128"/>
                <a:gd name="T5" fmla="*/ 0 h 98"/>
                <a:gd name="T6" fmla="*/ 0 w 128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98">
                  <a:moveTo>
                    <a:pt x="0" y="98"/>
                  </a:moveTo>
                  <a:lnTo>
                    <a:pt x="128" y="98"/>
                  </a:lnTo>
                  <a:lnTo>
                    <a:pt x="128" y="0"/>
                  </a:lnTo>
                  <a:lnTo>
                    <a:pt x="0" y="9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2" name="Freeform 15">
              <a:extLst>
                <a:ext uri="{FF2B5EF4-FFF2-40B4-BE49-F238E27FC236}">
                  <a16:creationId xmlns:a16="http://schemas.microsoft.com/office/drawing/2014/main" xmlns="" id="{9BE421DD-E825-4307-8174-71B8ABD87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" y="1202"/>
              <a:ext cx="127" cy="98"/>
            </a:xfrm>
            <a:custGeom>
              <a:avLst/>
              <a:gdLst>
                <a:gd name="T0" fmla="*/ 0 w 127"/>
                <a:gd name="T1" fmla="*/ 98 h 98"/>
                <a:gd name="T2" fmla="*/ 127 w 127"/>
                <a:gd name="T3" fmla="*/ 98 h 98"/>
                <a:gd name="T4" fmla="*/ 127 w 127"/>
                <a:gd name="T5" fmla="*/ 0 h 98"/>
                <a:gd name="T6" fmla="*/ 0 w 127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98">
                  <a:moveTo>
                    <a:pt x="0" y="98"/>
                  </a:moveTo>
                  <a:lnTo>
                    <a:pt x="127" y="98"/>
                  </a:lnTo>
                  <a:lnTo>
                    <a:pt x="127" y="0"/>
                  </a:lnTo>
                  <a:lnTo>
                    <a:pt x="0" y="9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3" name="Freeform 16">
              <a:extLst>
                <a:ext uri="{FF2B5EF4-FFF2-40B4-BE49-F238E27FC236}">
                  <a16:creationId xmlns:a16="http://schemas.microsoft.com/office/drawing/2014/main" xmlns="" id="{31BDB640-0AEA-45BF-A87A-5449B632D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" y="934"/>
              <a:ext cx="157" cy="366"/>
            </a:xfrm>
            <a:custGeom>
              <a:avLst/>
              <a:gdLst>
                <a:gd name="T0" fmla="*/ 140 w 157"/>
                <a:gd name="T1" fmla="*/ 0 h 366"/>
                <a:gd name="T2" fmla="*/ 17 w 157"/>
                <a:gd name="T3" fmla="*/ 0 h 366"/>
                <a:gd name="T4" fmla="*/ 0 w 157"/>
                <a:gd name="T5" fmla="*/ 366 h 366"/>
                <a:gd name="T6" fmla="*/ 157 w 157"/>
                <a:gd name="T7" fmla="*/ 366 h 366"/>
                <a:gd name="T8" fmla="*/ 140 w 157"/>
                <a:gd name="T9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366">
                  <a:moveTo>
                    <a:pt x="140" y="0"/>
                  </a:moveTo>
                  <a:lnTo>
                    <a:pt x="17" y="0"/>
                  </a:lnTo>
                  <a:lnTo>
                    <a:pt x="0" y="366"/>
                  </a:lnTo>
                  <a:lnTo>
                    <a:pt x="157" y="366"/>
                  </a:lnTo>
                  <a:lnTo>
                    <a:pt x="140" y="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4" name="Freeform 17">
              <a:extLst>
                <a:ext uri="{FF2B5EF4-FFF2-40B4-BE49-F238E27FC236}">
                  <a16:creationId xmlns:a16="http://schemas.microsoft.com/office/drawing/2014/main" xmlns="" id="{CA865235-558D-4496-B647-941A393B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" y="1006"/>
              <a:ext cx="157" cy="294"/>
            </a:xfrm>
            <a:custGeom>
              <a:avLst/>
              <a:gdLst>
                <a:gd name="T0" fmla="*/ 139 w 157"/>
                <a:gd name="T1" fmla="*/ 0 h 294"/>
                <a:gd name="T2" fmla="*/ 17 w 157"/>
                <a:gd name="T3" fmla="*/ 0 h 294"/>
                <a:gd name="T4" fmla="*/ 0 w 157"/>
                <a:gd name="T5" fmla="*/ 294 h 294"/>
                <a:gd name="T6" fmla="*/ 157 w 157"/>
                <a:gd name="T7" fmla="*/ 294 h 294"/>
                <a:gd name="T8" fmla="*/ 139 w 157"/>
                <a:gd name="T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94">
                  <a:moveTo>
                    <a:pt x="139" y="0"/>
                  </a:moveTo>
                  <a:lnTo>
                    <a:pt x="17" y="0"/>
                  </a:lnTo>
                  <a:lnTo>
                    <a:pt x="0" y="294"/>
                  </a:lnTo>
                  <a:lnTo>
                    <a:pt x="157" y="294"/>
                  </a:lnTo>
                  <a:lnTo>
                    <a:pt x="139" y="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5" name="Line 18">
              <a:extLst>
                <a:ext uri="{FF2B5EF4-FFF2-40B4-BE49-F238E27FC236}">
                  <a16:creationId xmlns:a16="http://schemas.microsoft.com/office/drawing/2014/main" xmlns="" id="{3A709E44-3E74-4897-87D4-734D03414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" y="977"/>
              <a:ext cx="127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6" name="Line 19">
              <a:extLst>
                <a:ext uri="{FF2B5EF4-FFF2-40B4-BE49-F238E27FC236}">
                  <a16:creationId xmlns:a16="http://schemas.microsoft.com/office/drawing/2014/main" xmlns="" id="{6877580F-B6DF-49CB-8626-A4AC9717DA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7" y="1061"/>
              <a:ext cx="129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7" name="Line 20">
              <a:extLst>
                <a:ext uri="{FF2B5EF4-FFF2-40B4-BE49-F238E27FC236}">
                  <a16:creationId xmlns:a16="http://schemas.microsoft.com/office/drawing/2014/main" xmlns="" id="{3A80BDF6-0FD3-4215-90BE-5830E6160A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" y="905"/>
              <a:ext cx="0" cy="66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8" name="Line 21">
              <a:extLst>
                <a:ext uri="{FF2B5EF4-FFF2-40B4-BE49-F238E27FC236}">
                  <a16:creationId xmlns:a16="http://schemas.microsoft.com/office/drawing/2014/main" xmlns="" id="{1E319810-18E1-4B02-A3E5-0892C1CE24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0" y="857"/>
              <a:ext cx="0" cy="114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9" name="Line 22">
              <a:extLst>
                <a:ext uri="{FF2B5EF4-FFF2-40B4-BE49-F238E27FC236}">
                  <a16:creationId xmlns:a16="http://schemas.microsoft.com/office/drawing/2014/main" xmlns="" id="{53F87E23-7478-421B-BF81-F4F02ECEF3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6" y="724"/>
              <a:ext cx="0" cy="181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0" name="Line 23">
              <a:extLst>
                <a:ext uri="{FF2B5EF4-FFF2-40B4-BE49-F238E27FC236}">
                  <a16:creationId xmlns:a16="http://schemas.microsoft.com/office/drawing/2014/main" xmlns="" id="{55A05069-6FA2-49E4-8A3B-AC89D6E6EC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3" y="678"/>
              <a:ext cx="0" cy="227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21" name="Group 26">
            <a:extLst>
              <a:ext uri="{FF2B5EF4-FFF2-40B4-BE49-F238E27FC236}">
                <a16:creationId xmlns:a16="http://schemas.microsoft.com/office/drawing/2014/main" xmlns="" id="{7D759AB9-F969-4C0B-8B53-87741722A5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37995" y="3825094"/>
            <a:ext cx="465679" cy="579359"/>
            <a:chOff x="284292" y="-1"/>
            <a:chExt cx="465679" cy="3226"/>
          </a:xfrm>
        </p:grpSpPr>
        <p:sp>
          <p:nvSpPr>
            <p:cNvPr id="522" name="Rectangle 27">
              <a:extLst>
                <a:ext uri="{FF2B5EF4-FFF2-40B4-BE49-F238E27FC236}">
                  <a16:creationId xmlns:a16="http://schemas.microsoft.com/office/drawing/2014/main" xmlns="" id="{93FDD082-C890-4FF3-AFF2-F7E057622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292" y="1870"/>
              <a:ext cx="465679" cy="1355"/>
            </a:xfrm>
            <a:prstGeom prst="rect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3" name="Rectangle 28">
              <a:extLst>
                <a:ext uri="{FF2B5EF4-FFF2-40B4-BE49-F238E27FC236}">
                  <a16:creationId xmlns:a16="http://schemas.microsoft.com/office/drawing/2014/main" xmlns="" id="{9C7429F6-EDD6-49C4-89A1-85A978393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486" y="2675"/>
              <a:ext cx="139183" cy="550"/>
            </a:xfrm>
            <a:prstGeom prst="rect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4" name="Line 29">
              <a:extLst>
                <a:ext uri="{FF2B5EF4-FFF2-40B4-BE49-F238E27FC236}">
                  <a16:creationId xmlns:a16="http://schemas.microsoft.com/office/drawing/2014/main" xmlns="" id="{EDA1409A-2150-4876-9C4C-6188CA6EEE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817" y="2091"/>
              <a:ext cx="0" cy="983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5" name="Line 30">
              <a:extLst>
                <a:ext uri="{FF2B5EF4-FFF2-40B4-BE49-F238E27FC236}">
                  <a16:creationId xmlns:a16="http://schemas.microsoft.com/office/drawing/2014/main" xmlns="" id="{20F0B877-152A-4F34-9CE1-875BF6CFB2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0405" y="2091"/>
              <a:ext cx="0" cy="983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6" name="Line 31">
              <a:extLst>
                <a:ext uri="{FF2B5EF4-FFF2-40B4-BE49-F238E27FC236}">
                  <a16:creationId xmlns:a16="http://schemas.microsoft.com/office/drawing/2014/main" xmlns="" id="{17476C77-D66B-4E1C-A905-DF8E68C1DB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173" y="2091"/>
              <a:ext cx="0" cy="983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7" name="Line 32">
              <a:extLst>
                <a:ext uri="{FF2B5EF4-FFF2-40B4-BE49-F238E27FC236}">
                  <a16:creationId xmlns:a16="http://schemas.microsoft.com/office/drawing/2014/main" xmlns="" id="{9B040ECF-6B46-4756-82F7-171B251BB3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5761" y="2091"/>
              <a:ext cx="0" cy="983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8" name="Line 33">
              <a:extLst>
                <a:ext uri="{FF2B5EF4-FFF2-40B4-BE49-F238E27FC236}">
                  <a16:creationId xmlns:a16="http://schemas.microsoft.com/office/drawing/2014/main" xmlns="" id="{2CB76F9D-980D-4585-8EF5-80AC66C241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708" y="2091"/>
              <a:ext cx="0" cy="983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9" name="Freeform 34">
              <a:extLst>
                <a:ext uri="{FF2B5EF4-FFF2-40B4-BE49-F238E27FC236}">
                  <a16:creationId xmlns:a16="http://schemas.microsoft.com/office/drawing/2014/main" xmlns="" id="{C2A72F38-FF88-4FA8-B365-821471BF3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29" y="770"/>
              <a:ext cx="84587" cy="1100"/>
            </a:xfrm>
            <a:custGeom>
              <a:avLst/>
              <a:gdLst>
                <a:gd name="T0" fmla="*/ 418 w 471"/>
                <a:gd name="T1" fmla="*/ 0 h 1100"/>
                <a:gd name="T2" fmla="*/ 51 w 471"/>
                <a:gd name="T3" fmla="*/ 0 h 1100"/>
                <a:gd name="T4" fmla="*/ 0 w 471"/>
                <a:gd name="T5" fmla="*/ 1100 h 1100"/>
                <a:gd name="T6" fmla="*/ 471 w 471"/>
                <a:gd name="T7" fmla="*/ 1100 h 1100"/>
                <a:gd name="T8" fmla="*/ 418 w 471"/>
                <a:gd name="T9" fmla="*/ 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" h="1100">
                  <a:moveTo>
                    <a:pt x="418" y="0"/>
                  </a:moveTo>
                  <a:lnTo>
                    <a:pt x="51" y="0"/>
                  </a:lnTo>
                  <a:lnTo>
                    <a:pt x="0" y="1100"/>
                  </a:lnTo>
                  <a:lnTo>
                    <a:pt x="471" y="1100"/>
                  </a:lnTo>
                  <a:lnTo>
                    <a:pt x="418" y="0"/>
                  </a:lnTo>
                  <a:close/>
                </a:path>
              </a:pathLst>
            </a:cu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0" name="Line 35">
              <a:extLst>
                <a:ext uri="{FF2B5EF4-FFF2-40B4-BE49-F238E27FC236}">
                  <a16:creationId xmlns:a16="http://schemas.microsoft.com/office/drawing/2014/main" xmlns="" id="{3ED265E8-8D7F-43C6-A2F2-B762F8A0E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910" y="898"/>
              <a:ext cx="68245" cy="0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1" name="Line 36">
              <a:extLst>
                <a:ext uri="{FF2B5EF4-FFF2-40B4-BE49-F238E27FC236}">
                  <a16:creationId xmlns:a16="http://schemas.microsoft.com/office/drawing/2014/main" xmlns="" id="{3C7C60D2-F637-46D7-BD58-75E22B436F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8976" y="135"/>
              <a:ext cx="0" cy="546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2" name="Line 37">
              <a:extLst>
                <a:ext uri="{FF2B5EF4-FFF2-40B4-BE49-F238E27FC236}">
                  <a16:creationId xmlns:a16="http://schemas.microsoft.com/office/drawing/2014/main" xmlns="" id="{40F3146B-21E7-4190-B047-DFD405C1C8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9520" y="-1"/>
              <a:ext cx="0" cy="682"/>
            </a:xfrm>
            <a:prstGeom prst="line">
              <a:avLst/>
            </a:prstGeom>
            <a:noFill/>
            <a:ln w="9525" cap="flat">
              <a:solidFill>
                <a:srgbClr val="96BE0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33" name="Group 27">
            <a:extLst>
              <a:ext uri="{FF2B5EF4-FFF2-40B4-BE49-F238E27FC236}">
                <a16:creationId xmlns:a16="http://schemas.microsoft.com/office/drawing/2014/main" xmlns="" id="{590280C1-466B-4600-8330-06BEB4D546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35279" y="5090160"/>
            <a:ext cx="672160" cy="398378"/>
            <a:chOff x="855" y="1747"/>
            <a:chExt cx="2433" cy="1442"/>
          </a:xfrm>
        </p:grpSpPr>
        <p:sp>
          <p:nvSpPr>
            <p:cNvPr id="534" name="Freeform 28">
              <a:extLst>
                <a:ext uri="{FF2B5EF4-FFF2-40B4-BE49-F238E27FC236}">
                  <a16:creationId xmlns:a16="http://schemas.microsoft.com/office/drawing/2014/main" xmlns="" id="{4C8D5959-5A15-41D8-B4E1-215770CC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3036"/>
              <a:ext cx="2326" cy="153"/>
            </a:xfrm>
            <a:custGeom>
              <a:avLst/>
              <a:gdLst>
                <a:gd name="T0" fmla="*/ 0 w 3536"/>
                <a:gd name="T1" fmla="*/ 0 h 232"/>
                <a:gd name="T2" fmla="*/ 707 w 3536"/>
                <a:gd name="T3" fmla="*/ 232 h 232"/>
                <a:gd name="T4" fmla="*/ 1414 w 3536"/>
                <a:gd name="T5" fmla="*/ 0 h 232"/>
                <a:gd name="T6" fmla="*/ 2122 w 3536"/>
                <a:gd name="T7" fmla="*/ 232 h 232"/>
                <a:gd name="T8" fmla="*/ 2829 w 3536"/>
                <a:gd name="T9" fmla="*/ 0 h 232"/>
                <a:gd name="T10" fmla="*/ 3536 w 3536"/>
                <a:gd name="T11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36" h="232">
                  <a:moveTo>
                    <a:pt x="0" y="0"/>
                  </a:moveTo>
                  <a:cubicBezTo>
                    <a:pt x="354" y="0"/>
                    <a:pt x="354" y="232"/>
                    <a:pt x="707" y="232"/>
                  </a:cubicBezTo>
                  <a:cubicBezTo>
                    <a:pt x="1061" y="232"/>
                    <a:pt x="1061" y="0"/>
                    <a:pt x="1414" y="0"/>
                  </a:cubicBezTo>
                  <a:cubicBezTo>
                    <a:pt x="1768" y="0"/>
                    <a:pt x="1768" y="232"/>
                    <a:pt x="2122" y="232"/>
                  </a:cubicBezTo>
                  <a:cubicBezTo>
                    <a:pt x="2475" y="232"/>
                    <a:pt x="2475" y="0"/>
                    <a:pt x="2829" y="0"/>
                  </a:cubicBezTo>
                  <a:cubicBezTo>
                    <a:pt x="3182" y="0"/>
                    <a:pt x="3182" y="232"/>
                    <a:pt x="3536" y="232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xmlns="" id="{3E540D3A-7977-493F-9541-80AC0BCC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" y="2478"/>
              <a:ext cx="2233" cy="529"/>
            </a:xfrm>
            <a:custGeom>
              <a:avLst/>
              <a:gdLst>
                <a:gd name="T0" fmla="*/ 0 w 2233"/>
                <a:gd name="T1" fmla="*/ 529 h 529"/>
                <a:gd name="T2" fmla="*/ 0 w 2233"/>
                <a:gd name="T3" fmla="*/ 0 h 529"/>
                <a:gd name="T4" fmla="*/ 2233 w 2233"/>
                <a:gd name="T5" fmla="*/ 0 h 529"/>
                <a:gd name="T6" fmla="*/ 1949 w 2233"/>
                <a:gd name="T7" fmla="*/ 529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3" h="529">
                  <a:moveTo>
                    <a:pt x="0" y="529"/>
                  </a:moveTo>
                  <a:lnTo>
                    <a:pt x="0" y="0"/>
                  </a:lnTo>
                  <a:lnTo>
                    <a:pt x="2233" y="0"/>
                  </a:lnTo>
                  <a:lnTo>
                    <a:pt x="1949" y="529"/>
                  </a:ln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6" name="Rectangle 30">
              <a:extLst>
                <a:ext uri="{FF2B5EF4-FFF2-40B4-BE49-F238E27FC236}">
                  <a16:creationId xmlns:a16="http://schemas.microsoft.com/office/drawing/2014/main" xmlns="" id="{FFFBFB8B-7286-49F0-9EE2-C3439A8A8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" y="2136"/>
              <a:ext cx="343" cy="342"/>
            </a:xfrm>
            <a:prstGeom prst="rect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7" name="Line 31">
              <a:extLst>
                <a:ext uri="{FF2B5EF4-FFF2-40B4-BE49-F238E27FC236}">
                  <a16:creationId xmlns:a16="http://schemas.microsoft.com/office/drawing/2014/main" xmlns="" id="{1FD6BC22-8438-4FB6-B452-3C65ADB3CE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55" y="2630"/>
              <a:ext cx="2155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8" name="Line 32">
              <a:extLst>
                <a:ext uri="{FF2B5EF4-FFF2-40B4-BE49-F238E27FC236}">
                  <a16:creationId xmlns:a16="http://schemas.microsoft.com/office/drawing/2014/main" xmlns="" id="{C1F953D1-7D1F-4F0F-8730-A148D6CC70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07" y="1747"/>
              <a:ext cx="0" cy="26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9" name="Line 33">
              <a:extLst>
                <a:ext uri="{FF2B5EF4-FFF2-40B4-BE49-F238E27FC236}">
                  <a16:creationId xmlns:a16="http://schemas.microsoft.com/office/drawing/2014/main" xmlns="" id="{DBBF468B-DCC4-42B4-9473-C072161ACC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70" y="1747"/>
              <a:ext cx="0" cy="26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40" name="Group 36">
            <a:extLst>
              <a:ext uri="{FF2B5EF4-FFF2-40B4-BE49-F238E27FC236}">
                <a16:creationId xmlns:a16="http://schemas.microsoft.com/office/drawing/2014/main" xmlns="" id="{C798661F-E046-4724-9BC6-1A564F1AA4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74188" y="5129612"/>
            <a:ext cx="315360" cy="429178"/>
            <a:chOff x="1859" y="231"/>
            <a:chExt cx="2042" cy="2779"/>
          </a:xfrm>
        </p:grpSpPr>
        <p:sp>
          <p:nvSpPr>
            <p:cNvPr id="541" name="Freeform 37">
              <a:extLst>
                <a:ext uri="{FF2B5EF4-FFF2-40B4-BE49-F238E27FC236}">
                  <a16:creationId xmlns:a16="http://schemas.microsoft.com/office/drawing/2014/main" xmlns="" id="{439DF7DC-9185-47AA-A481-26710D34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2" y="1177"/>
              <a:ext cx="796" cy="1229"/>
            </a:xfrm>
            <a:custGeom>
              <a:avLst/>
              <a:gdLst>
                <a:gd name="T0" fmla="*/ 387 w 387"/>
                <a:gd name="T1" fmla="*/ 404 h 598"/>
                <a:gd name="T2" fmla="*/ 194 w 387"/>
                <a:gd name="T3" fmla="*/ 598 h 598"/>
                <a:gd name="T4" fmla="*/ 0 w 387"/>
                <a:gd name="T5" fmla="*/ 404 h 598"/>
                <a:gd name="T6" fmla="*/ 194 w 387"/>
                <a:gd name="T7" fmla="*/ 0 h 598"/>
                <a:gd name="T8" fmla="*/ 387 w 387"/>
                <a:gd name="T9" fmla="*/ 40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" h="598">
                  <a:moveTo>
                    <a:pt x="387" y="404"/>
                  </a:moveTo>
                  <a:cubicBezTo>
                    <a:pt x="387" y="511"/>
                    <a:pt x="301" y="598"/>
                    <a:pt x="194" y="598"/>
                  </a:cubicBezTo>
                  <a:cubicBezTo>
                    <a:pt x="87" y="598"/>
                    <a:pt x="0" y="511"/>
                    <a:pt x="0" y="404"/>
                  </a:cubicBezTo>
                  <a:cubicBezTo>
                    <a:pt x="0" y="297"/>
                    <a:pt x="194" y="0"/>
                    <a:pt x="194" y="0"/>
                  </a:cubicBezTo>
                  <a:cubicBezTo>
                    <a:pt x="194" y="0"/>
                    <a:pt x="387" y="297"/>
                    <a:pt x="387" y="404"/>
                  </a:cubicBezTo>
                  <a:close/>
                </a:path>
              </a:pathLst>
            </a:custGeom>
            <a:noFill/>
            <a:ln w="9525" cap="rnd">
              <a:solidFill>
                <a:srgbClr val="E62D8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2" name="Rectangle 38">
              <a:extLst>
                <a:ext uri="{FF2B5EF4-FFF2-40B4-BE49-F238E27FC236}">
                  <a16:creationId xmlns:a16="http://schemas.microsoft.com/office/drawing/2014/main" xmlns="" id="{E94F4F37-2332-42B0-BA3D-548750F6F2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9" y="445"/>
              <a:ext cx="2042" cy="2565"/>
            </a:xfrm>
            <a:prstGeom prst="rect">
              <a:avLst/>
            </a:prstGeom>
            <a:noFill/>
            <a:ln w="9525" cap="flat">
              <a:solidFill>
                <a:srgbClr val="E62D8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3" name="Line 39">
              <a:extLst>
                <a:ext uri="{FF2B5EF4-FFF2-40B4-BE49-F238E27FC236}">
                  <a16:creationId xmlns:a16="http://schemas.microsoft.com/office/drawing/2014/main" xmlns="" id="{8677D998-2992-472D-8B19-97964BB78D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59" y="2743"/>
              <a:ext cx="2042" cy="0"/>
            </a:xfrm>
            <a:prstGeom prst="line">
              <a:avLst/>
            </a:prstGeom>
            <a:noFill/>
            <a:ln w="9525" cap="rnd">
              <a:solidFill>
                <a:srgbClr val="E62D8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4" name="Line 40">
              <a:extLst>
                <a:ext uri="{FF2B5EF4-FFF2-40B4-BE49-F238E27FC236}">
                  <a16:creationId xmlns:a16="http://schemas.microsoft.com/office/drawing/2014/main" xmlns="" id="{6402C58C-2D0F-4468-805B-8C8FD72B7B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59" y="840"/>
              <a:ext cx="2042" cy="0"/>
            </a:xfrm>
            <a:prstGeom prst="line">
              <a:avLst/>
            </a:prstGeom>
            <a:noFill/>
            <a:ln w="9525" cap="rnd">
              <a:solidFill>
                <a:srgbClr val="E62D8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5" name="Rectangle 41">
              <a:extLst>
                <a:ext uri="{FF2B5EF4-FFF2-40B4-BE49-F238E27FC236}">
                  <a16:creationId xmlns:a16="http://schemas.microsoft.com/office/drawing/2014/main" xmlns="" id="{F9F5A58D-D913-4774-9269-AA6A7ED84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2" y="231"/>
              <a:ext cx="1496" cy="214"/>
            </a:xfrm>
            <a:prstGeom prst="rect">
              <a:avLst/>
            </a:prstGeom>
            <a:noFill/>
            <a:ln w="9525" cap="rnd">
              <a:solidFill>
                <a:srgbClr val="E62D8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46" name="Group 44">
            <a:extLst>
              <a:ext uri="{FF2B5EF4-FFF2-40B4-BE49-F238E27FC236}">
                <a16:creationId xmlns:a16="http://schemas.microsoft.com/office/drawing/2014/main" xmlns="" id="{581F13A9-D06A-40E8-A6CF-54FA8089F41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33470" y="5202273"/>
            <a:ext cx="514300" cy="311808"/>
            <a:chOff x="603" y="241"/>
            <a:chExt cx="4554" cy="2761"/>
          </a:xfrm>
        </p:grpSpPr>
        <p:sp>
          <p:nvSpPr>
            <p:cNvPr id="547" name="Rectangle 45">
              <a:extLst>
                <a:ext uri="{FF2B5EF4-FFF2-40B4-BE49-F238E27FC236}">
                  <a16:creationId xmlns:a16="http://schemas.microsoft.com/office/drawing/2014/main" xmlns="" id="{1B1C51DA-B2C1-447A-AB16-AAF72033D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2788"/>
              <a:ext cx="1495" cy="214"/>
            </a:xfrm>
            <a:prstGeom prst="rect">
              <a:avLst/>
            </a:pr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8" name="Rectangle 46">
              <a:extLst>
                <a:ext uri="{FF2B5EF4-FFF2-40B4-BE49-F238E27FC236}">
                  <a16:creationId xmlns:a16="http://schemas.microsoft.com/office/drawing/2014/main" xmlns="" id="{62CC6EA3-DAA2-4BEC-9259-2F494C65D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" y="2788"/>
              <a:ext cx="1493" cy="214"/>
            </a:xfrm>
            <a:prstGeom prst="rect">
              <a:avLst/>
            </a:pr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9" name="Freeform 47">
              <a:extLst>
                <a:ext uri="{FF2B5EF4-FFF2-40B4-BE49-F238E27FC236}">
                  <a16:creationId xmlns:a16="http://schemas.microsoft.com/office/drawing/2014/main" xmlns="" id="{847A1086-011D-45C2-BB46-B0733031E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" y="1266"/>
              <a:ext cx="4324" cy="1522"/>
            </a:xfrm>
            <a:custGeom>
              <a:avLst/>
              <a:gdLst>
                <a:gd name="T0" fmla="*/ 0 w 2106"/>
                <a:gd name="T1" fmla="*/ 740 h 740"/>
                <a:gd name="T2" fmla="*/ 0 w 2106"/>
                <a:gd name="T3" fmla="*/ 624 h 740"/>
                <a:gd name="T4" fmla="*/ 623 w 2106"/>
                <a:gd name="T5" fmla="*/ 0 h 740"/>
                <a:gd name="T6" fmla="*/ 1482 w 2106"/>
                <a:gd name="T7" fmla="*/ 0 h 740"/>
                <a:gd name="T8" fmla="*/ 2106 w 2106"/>
                <a:gd name="T9" fmla="*/ 624 h 740"/>
                <a:gd name="T10" fmla="*/ 2106 w 2106"/>
                <a:gd name="T11" fmla="*/ 74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6" h="740">
                  <a:moveTo>
                    <a:pt x="0" y="740"/>
                  </a:moveTo>
                  <a:cubicBezTo>
                    <a:pt x="0" y="624"/>
                    <a:pt x="0" y="624"/>
                    <a:pt x="0" y="624"/>
                  </a:cubicBezTo>
                  <a:cubicBezTo>
                    <a:pt x="0" y="279"/>
                    <a:pt x="279" y="0"/>
                    <a:pt x="623" y="0"/>
                  </a:cubicBezTo>
                  <a:cubicBezTo>
                    <a:pt x="1482" y="0"/>
                    <a:pt x="1482" y="0"/>
                    <a:pt x="1482" y="0"/>
                  </a:cubicBezTo>
                  <a:cubicBezTo>
                    <a:pt x="1826" y="0"/>
                    <a:pt x="2106" y="279"/>
                    <a:pt x="2106" y="624"/>
                  </a:cubicBezTo>
                  <a:cubicBezTo>
                    <a:pt x="2106" y="740"/>
                    <a:pt x="2106" y="740"/>
                    <a:pt x="2106" y="740"/>
                  </a:cubicBezTo>
                </a:path>
              </a:pathLst>
            </a:cu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0" name="Freeform 48">
              <a:extLst>
                <a:ext uri="{FF2B5EF4-FFF2-40B4-BE49-F238E27FC236}">
                  <a16:creationId xmlns:a16="http://schemas.microsoft.com/office/drawing/2014/main" xmlns="" id="{537105F7-72DF-4C60-AF77-868642F7A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2027"/>
              <a:ext cx="2160" cy="761"/>
            </a:xfrm>
            <a:custGeom>
              <a:avLst/>
              <a:gdLst>
                <a:gd name="T0" fmla="*/ 0 w 1052"/>
                <a:gd name="T1" fmla="*/ 370 h 370"/>
                <a:gd name="T2" fmla="*/ 0 w 1052"/>
                <a:gd name="T3" fmla="*/ 170 h 370"/>
                <a:gd name="T4" fmla="*/ 170 w 1052"/>
                <a:gd name="T5" fmla="*/ 0 h 370"/>
                <a:gd name="T6" fmla="*/ 882 w 1052"/>
                <a:gd name="T7" fmla="*/ 0 h 370"/>
                <a:gd name="T8" fmla="*/ 1052 w 1052"/>
                <a:gd name="T9" fmla="*/ 170 h 370"/>
                <a:gd name="T10" fmla="*/ 1052 w 1052"/>
                <a:gd name="T11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2" h="370">
                  <a:moveTo>
                    <a:pt x="0" y="37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76"/>
                    <a:pt x="76" y="0"/>
                    <a:pt x="170" y="0"/>
                  </a:cubicBezTo>
                  <a:cubicBezTo>
                    <a:pt x="882" y="0"/>
                    <a:pt x="882" y="0"/>
                    <a:pt x="882" y="0"/>
                  </a:cubicBezTo>
                  <a:cubicBezTo>
                    <a:pt x="976" y="0"/>
                    <a:pt x="1052" y="76"/>
                    <a:pt x="1052" y="170"/>
                  </a:cubicBezTo>
                  <a:cubicBezTo>
                    <a:pt x="1052" y="370"/>
                    <a:pt x="1052" y="370"/>
                    <a:pt x="1052" y="370"/>
                  </a:cubicBezTo>
                </a:path>
              </a:pathLst>
            </a:cu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1" name="Rectangle 49">
              <a:extLst>
                <a:ext uri="{FF2B5EF4-FFF2-40B4-BE49-F238E27FC236}">
                  <a16:creationId xmlns:a16="http://schemas.microsoft.com/office/drawing/2014/main" xmlns="" id="{6D3189C6-CC2D-41D1-BF15-46A3ACDD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0" y="859"/>
              <a:ext cx="780" cy="407"/>
            </a:xfrm>
            <a:prstGeom prst="rect">
              <a:avLst/>
            </a:pr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2" name="Line 50">
              <a:extLst>
                <a:ext uri="{FF2B5EF4-FFF2-40B4-BE49-F238E27FC236}">
                  <a16:creationId xmlns:a16="http://schemas.microsoft.com/office/drawing/2014/main" xmlns="" id="{A602CD5D-386A-4BA6-8A0F-1455CAEEDA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00" y="267"/>
              <a:ext cx="0" cy="592"/>
            </a:xfrm>
            <a:prstGeom prst="line">
              <a:avLst/>
            </a:pr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3" name="Line 51">
              <a:extLst>
                <a:ext uri="{FF2B5EF4-FFF2-40B4-BE49-F238E27FC236}">
                  <a16:creationId xmlns:a16="http://schemas.microsoft.com/office/drawing/2014/main" xmlns="" id="{1399F2B6-6E4A-43FE-A589-3E956E689B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4" y="241"/>
              <a:ext cx="592" cy="0"/>
            </a:xfrm>
            <a:prstGeom prst="line">
              <a:avLst/>
            </a:prstGeom>
            <a:noFill/>
            <a:ln w="9525" cap="rnd">
              <a:solidFill>
                <a:srgbClr val="0078B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54" name="Group 53">
            <a:extLst>
              <a:ext uri="{FF2B5EF4-FFF2-40B4-BE49-F238E27FC236}">
                <a16:creationId xmlns:a16="http://schemas.microsoft.com/office/drawing/2014/main" xmlns="" id="{A2750DC1-F80B-44FC-A7D5-52FE2D7026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91635" y="5013245"/>
            <a:ext cx="485594" cy="538188"/>
            <a:chOff x="1432" y="14"/>
            <a:chExt cx="2899" cy="3213"/>
          </a:xfrm>
        </p:grpSpPr>
        <p:sp>
          <p:nvSpPr>
            <p:cNvPr id="555" name="Rectangle 54">
              <a:extLst>
                <a:ext uri="{FF2B5EF4-FFF2-40B4-BE49-F238E27FC236}">
                  <a16:creationId xmlns:a16="http://schemas.microsoft.com/office/drawing/2014/main" xmlns="" id="{DDD87BD6-1FD2-48AD-BC79-4D85BB236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4" y="1431"/>
              <a:ext cx="940" cy="1796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6" name="Rectangle 55">
              <a:extLst>
                <a:ext uri="{FF2B5EF4-FFF2-40B4-BE49-F238E27FC236}">
                  <a16:creationId xmlns:a16="http://schemas.microsoft.com/office/drawing/2014/main" xmlns="" id="{00244D56-E91F-4B0B-B6C5-7F5C6549A0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" y="408"/>
              <a:ext cx="1187" cy="2819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7" name="Line 56">
              <a:extLst>
                <a:ext uri="{FF2B5EF4-FFF2-40B4-BE49-F238E27FC236}">
                  <a16:creationId xmlns:a16="http://schemas.microsoft.com/office/drawing/2014/main" xmlns="" id="{7B8A415F-52D3-41A1-8227-6B0E3B1A19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557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8" name="Line 57">
              <a:extLst>
                <a:ext uri="{FF2B5EF4-FFF2-40B4-BE49-F238E27FC236}">
                  <a16:creationId xmlns:a16="http://schemas.microsoft.com/office/drawing/2014/main" xmlns="" id="{DB4D4A17-3532-4470-8DA7-52E7D3F296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727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9" name="Line 58">
              <a:extLst>
                <a:ext uri="{FF2B5EF4-FFF2-40B4-BE49-F238E27FC236}">
                  <a16:creationId xmlns:a16="http://schemas.microsoft.com/office/drawing/2014/main" xmlns="" id="{6F7A3791-89A6-46F4-BCE8-B7C56EC842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897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0" name="Line 59">
              <a:extLst>
                <a:ext uri="{FF2B5EF4-FFF2-40B4-BE49-F238E27FC236}">
                  <a16:creationId xmlns:a16="http://schemas.microsoft.com/office/drawing/2014/main" xmlns="" id="{DCB10080-AD15-4A39-AAF3-E32A15F7D4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067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1" name="Line 60">
              <a:extLst>
                <a:ext uri="{FF2B5EF4-FFF2-40B4-BE49-F238E27FC236}">
                  <a16:creationId xmlns:a16="http://schemas.microsoft.com/office/drawing/2014/main" xmlns="" id="{75E30147-1BD7-4DAC-976A-883B572982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236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2" name="Line 61">
              <a:extLst>
                <a:ext uri="{FF2B5EF4-FFF2-40B4-BE49-F238E27FC236}">
                  <a16:creationId xmlns:a16="http://schemas.microsoft.com/office/drawing/2014/main" xmlns="" id="{C72A2E4B-F534-49AC-A736-0AD32EB01A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406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3" name="Line 62">
              <a:extLst>
                <a:ext uri="{FF2B5EF4-FFF2-40B4-BE49-F238E27FC236}">
                  <a16:creationId xmlns:a16="http://schemas.microsoft.com/office/drawing/2014/main" xmlns="" id="{7CE59B3D-E6C6-41BE-9375-88B7EA83B8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576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4" name="Line 63">
              <a:extLst>
                <a:ext uri="{FF2B5EF4-FFF2-40B4-BE49-F238E27FC236}">
                  <a16:creationId xmlns:a16="http://schemas.microsoft.com/office/drawing/2014/main" xmlns="" id="{CD1CAE8D-22B7-4FF4-94C7-FB795F2F71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74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5" name="Line 64">
              <a:extLst>
                <a:ext uri="{FF2B5EF4-FFF2-40B4-BE49-F238E27FC236}">
                  <a16:creationId xmlns:a16="http://schemas.microsoft.com/office/drawing/2014/main" xmlns="" id="{DBF2A673-4246-4014-A787-7D1CA35547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191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6" name="Line 65">
              <a:extLst>
                <a:ext uri="{FF2B5EF4-FFF2-40B4-BE49-F238E27FC236}">
                  <a16:creationId xmlns:a16="http://schemas.microsoft.com/office/drawing/2014/main" xmlns="" id="{02B5CEEC-1D36-4AF2-8AFB-0CADB874B5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08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7" name="Line 66">
              <a:extLst>
                <a:ext uri="{FF2B5EF4-FFF2-40B4-BE49-F238E27FC236}">
                  <a16:creationId xmlns:a16="http://schemas.microsoft.com/office/drawing/2014/main" xmlns="" id="{2A74634B-DF7F-449D-B85A-231D035ECB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25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8" name="Line 67">
              <a:extLst>
                <a:ext uri="{FF2B5EF4-FFF2-40B4-BE49-F238E27FC236}">
                  <a16:creationId xmlns:a16="http://schemas.microsoft.com/office/drawing/2014/main" xmlns="" id="{5042BE27-7C82-4791-A7C3-DEE81D201C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42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9" name="Line 68">
              <a:extLst>
                <a:ext uri="{FF2B5EF4-FFF2-40B4-BE49-F238E27FC236}">
                  <a16:creationId xmlns:a16="http://schemas.microsoft.com/office/drawing/2014/main" xmlns="" id="{D28F14A5-C844-4AE4-A499-3280C12A78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59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0" name="Line 69">
              <a:extLst>
                <a:ext uri="{FF2B5EF4-FFF2-40B4-BE49-F238E27FC236}">
                  <a16:creationId xmlns:a16="http://schemas.microsoft.com/office/drawing/2014/main" xmlns="" id="{362F2264-FEA7-4FB3-A498-1B19551C75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76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1" name="Line 70">
              <a:extLst>
                <a:ext uri="{FF2B5EF4-FFF2-40B4-BE49-F238E27FC236}">
                  <a16:creationId xmlns:a16="http://schemas.microsoft.com/office/drawing/2014/main" xmlns="" id="{C28E7BD0-852B-4A11-AA3C-778E6D17A2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90" y="2935"/>
              <a:ext cx="918" cy="0"/>
            </a:xfrm>
            <a:prstGeom prst="line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2" name="Rectangle 71">
              <a:extLst>
                <a:ext uri="{FF2B5EF4-FFF2-40B4-BE49-F238E27FC236}">
                  <a16:creationId xmlns:a16="http://schemas.microsoft.com/office/drawing/2014/main" xmlns="" id="{0500ABEF-FFF2-4DB9-BEAA-21415A93EE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6" y="1576"/>
              <a:ext cx="165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3" name="Rectangle 72">
              <a:extLst>
                <a:ext uri="{FF2B5EF4-FFF2-40B4-BE49-F238E27FC236}">
                  <a16:creationId xmlns:a16="http://schemas.microsoft.com/office/drawing/2014/main" xmlns="" id="{A3AF033F-76AC-4922-BB02-4E1838C50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1576"/>
              <a:ext cx="164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4" name="Rectangle 73">
              <a:extLst>
                <a:ext uri="{FF2B5EF4-FFF2-40B4-BE49-F238E27FC236}">
                  <a16:creationId xmlns:a16="http://schemas.microsoft.com/office/drawing/2014/main" xmlns="" id="{83ACF3BC-8415-4C5F-8BAF-718D72C8D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8" y="155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5" name="Rectangle 74">
              <a:extLst>
                <a:ext uri="{FF2B5EF4-FFF2-40B4-BE49-F238E27FC236}">
                  <a16:creationId xmlns:a16="http://schemas.microsoft.com/office/drawing/2014/main" xmlns="" id="{C57395CA-9F8B-48CB-B5D1-C313E777F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5" y="155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6" name="Rectangle 75">
              <a:extLst>
                <a:ext uri="{FF2B5EF4-FFF2-40B4-BE49-F238E27FC236}">
                  <a16:creationId xmlns:a16="http://schemas.microsoft.com/office/drawing/2014/main" xmlns="" id="{34F313C1-6950-47D1-93CB-460F59215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155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7" name="Rectangle 76">
              <a:extLst>
                <a:ext uri="{FF2B5EF4-FFF2-40B4-BE49-F238E27FC236}">
                  <a16:creationId xmlns:a16="http://schemas.microsoft.com/office/drawing/2014/main" xmlns="" id="{F248E8AD-54D7-4497-897E-494D34022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55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8" name="Rectangle 77">
              <a:extLst>
                <a:ext uri="{FF2B5EF4-FFF2-40B4-BE49-F238E27FC236}">
                  <a16:creationId xmlns:a16="http://schemas.microsoft.com/office/drawing/2014/main" xmlns="" id="{F5B89486-EDC1-4456-BE04-13FE2521F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8" y="601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9" name="Rectangle 78">
              <a:extLst>
                <a:ext uri="{FF2B5EF4-FFF2-40B4-BE49-F238E27FC236}">
                  <a16:creationId xmlns:a16="http://schemas.microsoft.com/office/drawing/2014/main" xmlns="" id="{8DE39208-9A4E-4388-8402-3F1ADD2A10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5" y="601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0" name="Rectangle 79">
              <a:extLst>
                <a:ext uri="{FF2B5EF4-FFF2-40B4-BE49-F238E27FC236}">
                  <a16:creationId xmlns:a16="http://schemas.microsoft.com/office/drawing/2014/main" xmlns="" id="{94BF280F-34F8-45E8-A554-5B24F1EA9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601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1" name="Rectangle 80">
              <a:extLst>
                <a:ext uri="{FF2B5EF4-FFF2-40B4-BE49-F238E27FC236}">
                  <a16:creationId xmlns:a16="http://schemas.microsoft.com/office/drawing/2014/main" xmlns="" id="{117258B1-8EFE-4CF0-AB51-E58539338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601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2" name="Rectangle 81">
              <a:extLst>
                <a:ext uri="{FF2B5EF4-FFF2-40B4-BE49-F238E27FC236}">
                  <a16:creationId xmlns:a16="http://schemas.microsoft.com/office/drawing/2014/main" xmlns="" id="{561586C1-9838-4069-8827-830D68008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8" y="1046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3" name="Rectangle 82">
              <a:extLst>
                <a:ext uri="{FF2B5EF4-FFF2-40B4-BE49-F238E27FC236}">
                  <a16:creationId xmlns:a16="http://schemas.microsoft.com/office/drawing/2014/main" xmlns="" id="{24FBB421-B7FB-4866-A28F-6841BACC7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5" y="1046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4" name="Rectangle 83">
              <a:extLst>
                <a:ext uri="{FF2B5EF4-FFF2-40B4-BE49-F238E27FC236}">
                  <a16:creationId xmlns:a16="http://schemas.microsoft.com/office/drawing/2014/main" xmlns="" id="{4868B5BB-DEA9-4A09-9260-385586046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1046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5" name="Rectangle 84">
              <a:extLst>
                <a:ext uri="{FF2B5EF4-FFF2-40B4-BE49-F238E27FC236}">
                  <a16:creationId xmlns:a16="http://schemas.microsoft.com/office/drawing/2014/main" xmlns="" id="{BBE5978E-EF8F-4E28-B449-0ABD9DC726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046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6" name="Rectangle 85">
              <a:extLst>
                <a:ext uri="{FF2B5EF4-FFF2-40B4-BE49-F238E27FC236}">
                  <a16:creationId xmlns:a16="http://schemas.microsoft.com/office/drawing/2014/main" xmlns="" id="{C950C288-5048-4E74-8809-8AD25AF6C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1491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7" name="Rectangle 86">
              <a:extLst>
                <a:ext uri="{FF2B5EF4-FFF2-40B4-BE49-F238E27FC236}">
                  <a16:creationId xmlns:a16="http://schemas.microsoft.com/office/drawing/2014/main" xmlns="" id="{0A17424F-05EF-4BAA-869A-8720A3B72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491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8" name="Rectangle 87">
              <a:extLst>
                <a:ext uri="{FF2B5EF4-FFF2-40B4-BE49-F238E27FC236}">
                  <a16:creationId xmlns:a16="http://schemas.microsoft.com/office/drawing/2014/main" xmlns="" id="{91E90068-C57C-4375-B7B8-EDA9528566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1937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9" name="Rectangle 88">
              <a:extLst>
                <a:ext uri="{FF2B5EF4-FFF2-40B4-BE49-F238E27FC236}">
                  <a16:creationId xmlns:a16="http://schemas.microsoft.com/office/drawing/2014/main" xmlns="" id="{2545D239-9175-4B12-8F2B-50F9F5D4D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937"/>
              <a:ext cx="117" cy="253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0" name="Rectangle 89">
              <a:extLst>
                <a:ext uri="{FF2B5EF4-FFF2-40B4-BE49-F238E27FC236}">
                  <a16:creationId xmlns:a16="http://schemas.microsoft.com/office/drawing/2014/main" xmlns="" id="{3B1AF004-BD04-446B-B960-101DF60C5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" y="2383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1" name="Rectangle 90">
              <a:extLst>
                <a:ext uri="{FF2B5EF4-FFF2-40B4-BE49-F238E27FC236}">
                  <a16:creationId xmlns:a16="http://schemas.microsoft.com/office/drawing/2014/main" xmlns="" id="{AE5F7D76-32C2-4A44-85AD-99920822D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2383"/>
              <a:ext cx="117" cy="252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2" name="Rectangle 91">
              <a:extLst>
                <a:ext uri="{FF2B5EF4-FFF2-40B4-BE49-F238E27FC236}">
                  <a16:creationId xmlns:a16="http://schemas.microsoft.com/office/drawing/2014/main" xmlns="" id="{6F05DC20-F1F4-4DE7-B54B-A929503AF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6" y="1889"/>
              <a:ext cx="165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3" name="Rectangle 92">
              <a:extLst>
                <a:ext uri="{FF2B5EF4-FFF2-40B4-BE49-F238E27FC236}">
                  <a16:creationId xmlns:a16="http://schemas.microsoft.com/office/drawing/2014/main" xmlns="" id="{06A8BF7B-6424-4AA3-942D-34FC231B0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1889"/>
              <a:ext cx="164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4" name="Rectangle 93">
              <a:extLst>
                <a:ext uri="{FF2B5EF4-FFF2-40B4-BE49-F238E27FC236}">
                  <a16:creationId xmlns:a16="http://schemas.microsoft.com/office/drawing/2014/main" xmlns="" id="{EBD1B808-0959-4C26-BC1A-6CBF0801A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6" y="2202"/>
              <a:ext cx="165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5" name="Rectangle 94">
              <a:extLst>
                <a:ext uri="{FF2B5EF4-FFF2-40B4-BE49-F238E27FC236}">
                  <a16:creationId xmlns:a16="http://schemas.microsoft.com/office/drawing/2014/main" xmlns="" id="{46373FEE-8EE0-47FE-BEBD-49291BC84A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2202"/>
              <a:ext cx="164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6" name="Rectangle 95">
              <a:extLst>
                <a:ext uri="{FF2B5EF4-FFF2-40B4-BE49-F238E27FC236}">
                  <a16:creationId xmlns:a16="http://schemas.microsoft.com/office/drawing/2014/main" xmlns="" id="{D7ACA2B6-60DA-44BB-AE36-25920CD747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6" y="2516"/>
              <a:ext cx="165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7" name="Rectangle 96">
              <a:extLst>
                <a:ext uri="{FF2B5EF4-FFF2-40B4-BE49-F238E27FC236}">
                  <a16:creationId xmlns:a16="http://schemas.microsoft.com/office/drawing/2014/main" xmlns="" id="{033BF12D-FFC4-4342-A6CB-416948E48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2516"/>
              <a:ext cx="164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8" name="Rectangle 97">
              <a:extLst>
                <a:ext uri="{FF2B5EF4-FFF2-40B4-BE49-F238E27FC236}">
                  <a16:creationId xmlns:a16="http://schemas.microsoft.com/office/drawing/2014/main" xmlns="" id="{BB0B609D-7436-4AA2-BB90-BB7AA2FBF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6" y="2829"/>
              <a:ext cx="165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9" name="Rectangle 98">
              <a:extLst>
                <a:ext uri="{FF2B5EF4-FFF2-40B4-BE49-F238E27FC236}">
                  <a16:creationId xmlns:a16="http://schemas.microsoft.com/office/drawing/2014/main" xmlns="" id="{A70EC0A8-7605-4801-90DD-B944D963D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2829"/>
              <a:ext cx="164" cy="164"/>
            </a:xfrm>
            <a:prstGeom prst="rect">
              <a:avLst/>
            </a:pr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0" name="Freeform 99">
              <a:extLst>
                <a:ext uri="{FF2B5EF4-FFF2-40B4-BE49-F238E27FC236}">
                  <a16:creationId xmlns:a16="http://schemas.microsoft.com/office/drawing/2014/main" xmlns="" id="{9F1D03EF-B069-4228-804E-9FF1265A6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" y="14"/>
              <a:ext cx="1243" cy="3213"/>
            </a:xfrm>
            <a:custGeom>
              <a:avLst/>
              <a:gdLst>
                <a:gd name="T0" fmla="*/ 1243 w 1243"/>
                <a:gd name="T1" fmla="*/ 1417 h 3213"/>
                <a:gd name="T2" fmla="*/ 1243 w 1243"/>
                <a:gd name="T3" fmla="*/ 0 h 3213"/>
                <a:gd name="T4" fmla="*/ 0 w 1243"/>
                <a:gd name="T5" fmla="*/ 0 h 3213"/>
                <a:gd name="T6" fmla="*/ 0 w 1243"/>
                <a:gd name="T7" fmla="*/ 3213 h 3213"/>
                <a:gd name="T8" fmla="*/ 772 w 1243"/>
                <a:gd name="T9" fmla="*/ 3213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3" h="3213">
                  <a:moveTo>
                    <a:pt x="1243" y="1417"/>
                  </a:moveTo>
                  <a:lnTo>
                    <a:pt x="1243" y="0"/>
                  </a:lnTo>
                  <a:lnTo>
                    <a:pt x="0" y="0"/>
                  </a:lnTo>
                  <a:lnTo>
                    <a:pt x="0" y="3213"/>
                  </a:lnTo>
                  <a:lnTo>
                    <a:pt x="772" y="3213"/>
                  </a:lnTo>
                </a:path>
              </a:pathLst>
            </a:custGeom>
            <a:noFill/>
            <a:ln w="9525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01" name="Group 4">
            <a:extLst>
              <a:ext uri="{FF2B5EF4-FFF2-40B4-BE49-F238E27FC236}">
                <a16:creationId xmlns:a16="http://schemas.microsoft.com/office/drawing/2014/main" xmlns="" id="{F18B7434-0295-4B7E-B7AF-14C2D8B1D7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8340" y="5112228"/>
            <a:ext cx="399706" cy="457642"/>
            <a:chOff x="1477" y="13"/>
            <a:chExt cx="2808" cy="3215"/>
          </a:xfrm>
        </p:grpSpPr>
        <p:sp>
          <p:nvSpPr>
            <p:cNvPr id="602" name="Freeform 5">
              <a:extLst>
                <a:ext uri="{FF2B5EF4-FFF2-40B4-BE49-F238E27FC236}">
                  <a16:creationId xmlns:a16="http://schemas.microsoft.com/office/drawing/2014/main" xmlns="" id="{82F13D50-BCFB-49C6-813E-44A64D68A9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7" y="1170"/>
              <a:ext cx="1185" cy="1378"/>
            </a:xfrm>
            <a:custGeom>
              <a:avLst/>
              <a:gdLst>
                <a:gd name="T0" fmla="*/ 853 w 999"/>
                <a:gd name="T1" fmla="*/ 146 h 1162"/>
                <a:gd name="T2" fmla="*/ 999 w 999"/>
                <a:gd name="T3" fmla="*/ 499 h 1162"/>
                <a:gd name="T4" fmla="*/ 974 w 999"/>
                <a:gd name="T5" fmla="*/ 654 h 1162"/>
                <a:gd name="T6" fmla="*/ 903 w 999"/>
                <a:gd name="T7" fmla="*/ 794 h 1162"/>
                <a:gd name="T8" fmla="*/ 777 w 999"/>
                <a:gd name="T9" fmla="*/ 946 h 1162"/>
                <a:gd name="T10" fmla="*/ 693 w 999"/>
                <a:gd name="T11" fmla="*/ 1134 h 1162"/>
                <a:gd name="T12" fmla="*/ 665 w 999"/>
                <a:gd name="T13" fmla="*/ 1162 h 1162"/>
                <a:gd name="T14" fmla="*/ 336 w 999"/>
                <a:gd name="T15" fmla="*/ 1162 h 1162"/>
                <a:gd name="T16" fmla="*/ 308 w 999"/>
                <a:gd name="T17" fmla="*/ 1134 h 1162"/>
                <a:gd name="T18" fmla="*/ 224 w 999"/>
                <a:gd name="T19" fmla="*/ 948 h 1162"/>
                <a:gd name="T20" fmla="*/ 96 w 999"/>
                <a:gd name="T21" fmla="*/ 794 h 1162"/>
                <a:gd name="T22" fmla="*/ 24 w 999"/>
                <a:gd name="T23" fmla="*/ 654 h 1162"/>
                <a:gd name="T24" fmla="*/ 0 w 999"/>
                <a:gd name="T25" fmla="*/ 499 h 1162"/>
                <a:gd name="T26" fmla="*/ 38 w 999"/>
                <a:gd name="T27" fmla="*/ 308 h 1162"/>
                <a:gd name="T28" fmla="*/ 38 w 999"/>
                <a:gd name="T29" fmla="*/ 307 h 1162"/>
                <a:gd name="T30" fmla="*/ 146 w 999"/>
                <a:gd name="T31" fmla="*/ 146 h 1162"/>
                <a:gd name="T32" fmla="*/ 308 w 999"/>
                <a:gd name="T33" fmla="*/ 37 h 1162"/>
                <a:gd name="T34" fmla="*/ 499 w 999"/>
                <a:gd name="T35" fmla="*/ 0 h 1162"/>
                <a:gd name="T36" fmla="*/ 691 w 999"/>
                <a:gd name="T37" fmla="*/ 37 h 1162"/>
                <a:gd name="T38" fmla="*/ 853 w 999"/>
                <a:gd name="T39" fmla="*/ 146 h 1162"/>
                <a:gd name="T40" fmla="*/ 943 w 999"/>
                <a:gd name="T41" fmla="*/ 499 h 1162"/>
                <a:gd name="T42" fmla="*/ 943 w 999"/>
                <a:gd name="T43" fmla="*/ 499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99" h="1162">
                  <a:moveTo>
                    <a:pt x="853" y="146"/>
                  </a:moveTo>
                  <a:cubicBezTo>
                    <a:pt x="943" y="236"/>
                    <a:pt x="999" y="361"/>
                    <a:pt x="999" y="499"/>
                  </a:cubicBezTo>
                  <a:cubicBezTo>
                    <a:pt x="999" y="553"/>
                    <a:pt x="990" y="605"/>
                    <a:pt x="974" y="654"/>
                  </a:cubicBezTo>
                  <a:cubicBezTo>
                    <a:pt x="958" y="704"/>
                    <a:pt x="934" y="752"/>
                    <a:pt x="903" y="794"/>
                  </a:cubicBezTo>
                  <a:cubicBezTo>
                    <a:pt x="851" y="864"/>
                    <a:pt x="810" y="910"/>
                    <a:pt x="777" y="946"/>
                  </a:cubicBezTo>
                  <a:cubicBezTo>
                    <a:pt x="719" y="1011"/>
                    <a:pt x="693" y="1039"/>
                    <a:pt x="693" y="1134"/>
                  </a:cubicBezTo>
                  <a:cubicBezTo>
                    <a:pt x="693" y="1149"/>
                    <a:pt x="680" y="1162"/>
                    <a:pt x="665" y="1162"/>
                  </a:cubicBezTo>
                  <a:cubicBezTo>
                    <a:pt x="336" y="1162"/>
                    <a:pt x="336" y="1162"/>
                    <a:pt x="336" y="1162"/>
                  </a:cubicBezTo>
                  <a:cubicBezTo>
                    <a:pt x="321" y="1162"/>
                    <a:pt x="308" y="1149"/>
                    <a:pt x="308" y="1134"/>
                  </a:cubicBezTo>
                  <a:cubicBezTo>
                    <a:pt x="308" y="1040"/>
                    <a:pt x="282" y="1012"/>
                    <a:pt x="224" y="948"/>
                  </a:cubicBezTo>
                  <a:cubicBezTo>
                    <a:pt x="191" y="912"/>
                    <a:pt x="149" y="866"/>
                    <a:pt x="96" y="794"/>
                  </a:cubicBezTo>
                  <a:cubicBezTo>
                    <a:pt x="65" y="752"/>
                    <a:pt x="41" y="704"/>
                    <a:pt x="24" y="654"/>
                  </a:cubicBezTo>
                  <a:cubicBezTo>
                    <a:pt x="8" y="605"/>
                    <a:pt x="0" y="553"/>
                    <a:pt x="0" y="499"/>
                  </a:cubicBezTo>
                  <a:cubicBezTo>
                    <a:pt x="0" y="431"/>
                    <a:pt x="13" y="367"/>
                    <a:pt x="38" y="308"/>
                  </a:cubicBezTo>
                  <a:cubicBezTo>
                    <a:pt x="38" y="307"/>
                    <a:pt x="38" y="307"/>
                    <a:pt x="38" y="307"/>
                  </a:cubicBezTo>
                  <a:cubicBezTo>
                    <a:pt x="64" y="246"/>
                    <a:pt x="101" y="191"/>
                    <a:pt x="146" y="146"/>
                  </a:cubicBezTo>
                  <a:cubicBezTo>
                    <a:pt x="192" y="100"/>
                    <a:pt x="247" y="63"/>
                    <a:pt x="308" y="37"/>
                  </a:cubicBezTo>
                  <a:cubicBezTo>
                    <a:pt x="367" y="13"/>
                    <a:pt x="432" y="0"/>
                    <a:pt x="499" y="0"/>
                  </a:cubicBezTo>
                  <a:cubicBezTo>
                    <a:pt x="567" y="0"/>
                    <a:pt x="631" y="13"/>
                    <a:pt x="691" y="37"/>
                  </a:cubicBezTo>
                  <a:cubicBezTo>
                    <a:pt x="752" y="63"/>
                    <a:pt x="807" y="100"/>
                    <a:pt x="853" y="146"/>
                  </a:cubicBezTo>
                  <a:close/>
                  <a:moveTo>
                    <a:pt x="943" y="499"/>
                  </a:moveTo>
                  <a:cubicBezTo>
                    <a:pt x="943" y="499"/>
                    <a:pt x="943" y="499"/>
                    <a:pt x="943" y="499"/>
                  </a:cubicBezTo>
                </a:path>
              </a:pathLst>
            </a:cu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3" name="Line 6">
              <a:extLst>
                <a:ext uri="{FF2B5EF4-FFF2-40B4-BE49-F238E27FC236}">
                  <a16:creationId xmlns:a16="http://schemas.microsoft.com/office/drawing/2014/main" xmlns="" id="{AEA54980-87D9-41DB-9C9E-45330D8253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6" y="2631"/>
              <a:ext cx="415" cy="0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4" name="Line 7">
              <a:extLst>
                <a:ext uri="{FF2B5EF4-FFF2-40B4-BE49-F238E27FC236}">
                  <a16:creationId xmlns:a16="http://schemas.microsoft.com/office/drawing/2014/main" xmlns="" id="{02C2B8A3-44D1-4916-804D-4B4C79772E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1" y="2704"/>
              <a:ext cx="265" cy="0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5" name="Line 8">
              <a:extLst>
                <a:ext uri="{FF2B5EF4-FFF2-40B4-BE49-F238E27FC236}">
                  <a16:creationId xmlns:a16="http://schemas.microsoft.com/office/drawing/2014/main" xmlns="" id="{48622E01-578E-4727-98C3-DDED86C8A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1" y="2790"/>
              <a:ext cx="146" cy="0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6" name="Line 9">
              <a:extLst>
                <a:ext uri="{FF2B5EF4-FFF2-40B4-BE49-F238E27FC236}">
                  <a16:creationId xmlns:a16="http://schemas.microsoft.com/office/drawing/2014/main" xmlns="" id="{A78E1526-194B-4310-B97F-9E48A1BE27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71" y="1305"/>
              <a:ext cx="169" cy="93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7" name="Line 10">
              <a:extLst>
                <a:ext uri="{FF2B5EF4-FFF2-40B4-BE49-F238E27FC236}">
                  <a16:creationId xmlns:a16="http://schemas.microsoft.com/office/drawing/2014/main" xmlns="" id="{FCE6F058-5EE4-4972-9176-8D113EF8F6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06" y="966"/>
              <a:ext cx="106" cy="159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8" name="Line 11">
              <a:extLst>
                <a:ext uri="{FF2B5EF4-FFF2-40B4-BE49-F238E27FC236}">
                  <a16:creationId xmlns:a16="http://schemas.microsoft.com/office/drawing/2014/main" xmlns="" id="{15083210-CB8C-4BE9-8D4D-9996FA34F8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120" y="1305"/>
              <a:ext cx="167" cy="93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9" name="Line 12">
              <a:extLst>
                <a:ext uri="{FF2B5EF4-FFF2-40B4-BE49-F238E27FC236}">
                  <a16:creationId xmlns:a16="http://schemas.microsoft.com/office/drawing/2014/main" xmlns="" id="{A5022C8D-7152-4A47-A015-43EE4B28CD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447" y="966"/>
              <a:ext cx="106" cy="159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0" name="Line 13">
              <a:extLst>
                <a:ext uri="{FF2B5EF4-FFF2-40B4-BE49-F238E27FC236}">
                  <a16:creationId xmlns:a16="http://schemas.microsoft.com/office/drawing/2014/main" xmlns="" id="{1D4DED5B-2CDE-42C3-B3CD-796DC89D1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46" y="849"/>
              <a:ext cx="0" cy="184"/>
            </a:xfrm>
            <a:prstGeom prst="line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1" name="Freeform 14">
              <a:extLst>
                <a:ext uri="{FF2B5EF4-FFF2-40B4-BE49-F238E27FC236}">
                  <a16:creationId xmlns:a16="http://schemas.microsoft.com/office/drawing/2014/main" xmlns="" id="{13751168-9460-4C73-A49A-3F860D4FD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" y="1318"/>
              <a:ext cx="318" cy="312"/>
            </a:xfrm>
            <a:custGeom>
              <a:avLst/>
              <a:gdLst>
                <a:gd name="T0" fmla="*/ 268 w 268"/>
                <a:gd name="T1" fmla="*/ 0 h 263"/>
                <a:gd name="T2" fmla="*/ 0 w 268"/>
                <a:gd name="T3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8" h="263">
                  <a:moveTo>
                    <a:pt x="268" y="0"/>
                  </a:moveTo>
                  <a:cubicBezTo>
                    <a:pt x="268" y="0"/>
                    <a:pt x="72" y="63"/>
                    <a:pt x="0" y="263"/>
                  </a:cubicBezTo>
                </a:path>
              </a:pathLst>
            </a:cu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2" name="Freeform 15">
              <a:extLst>
                <a:ext uri="{FF2B5EF4-FFF2-40B4-BE49-F238E27FC236}">
                  <a16:creationId xmlns:a16="http://schemas.microsoft.com/office/drawing/2014/main" xmlns="" id="{9F5D890C-FEF7-40D3-A766-2E7C2693F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483"/>
              <a:ext cx="2486" cy="2745"/>
            </a:xfrm>
            <a:custGeom>
              <a:avLst/>
              <a:gdLst>
                <a:gd name="T0" fmla="*/ 2277 w 2486"/>
                <a:gd name="T1" fmla="*/ 2745 h 2745"/>
                <a:gd name="T2" fmla="*/ 209 w 2486"/>
                <a:gd name="T3" fmla="*/ 2745 h 2745"/>
                <a:gd name="T4" fmla="*/ 0 w 2486"/>
                <a:gd name="T5" fmla="*/ 0 h 2745"/>
                <a:gd name="T6" fmla="*/ 2486 w 2486"/>
                <a:gd name="T7" fmla="*/ 0 h 2745"/>
                <a:gd name="T8" fmla="*/ 2277 w 2486"/>
                <a:gd name="T9" fmla="*/ 2745 h 2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6" h="2745">
                  <a:moveTo>
                    <a:pt x="2277" y="2745"/>
                  </a:moveTo>
                  <a:lnTo>
                    <a:pt x="209" y="2745"/>
                  </a:lnTo>
                  <a:lnTo>
                    <a:pt x="0" y="0"/>
                  </a:lnTo>
                  <a:lnTo>
                    <a:pt x="2486" y="0"/>
                  </a:lnTo>
                  <a:lnTo>
                    <a:pt x="2277" y="2745"/>
                  </a:lnTo>
                  <a:close/>
                </a:path>
              </a:pathLst>
            </a:cu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3" name="Rectangle 16">
              <a:extLst>
                <a:ext uri="{FF2B5EF4-FFF2-40B4-BE49-F238E27FC236}">
                  <a16:creationId xmlns:a16="http://schemas.microsoft.com/office/drawing/2014/main" xmlns="" id="{41945A5F-5B4D-4766-AF21-4E5D03C606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" y="177"/>
              <a:ext cx="2808" cy="168"/>
            </a:xfrm>
            <a:prstGeom prst="rect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4" name="Rectangle 17">
              <a:extLst>
                <a:ext uri="{FF2B5EF4-FFF2-40B4-BE49-F238E27FC236}">
                  <a16:creationId xmlns:a16="http://schemas.microsoft.com/office/drawing/2014/main" xmlns="" id="{189C3E19-214B-44C1-BAC4-7A3377926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" y="13"/>
              <a:ext cx="1180" cy="168"/>
            </a:xfrm>
            <a:prstGeom prst="rect">
              <a:avLst/>
            </a:prstGeom>
            <a:noFill/>
            <a:ln w="9525" cap="flat">
              <a:solidFill>
                <a:srgbClr val="910F7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15" name="Group 27">
            <a:extLst>
              <a:ext uri="{FF2B5EF4-FFF2-40B4-BE49-F238E27FC236}">
                <a16:creationId xmlns:a16="http://schemas.microsoft.com/office/drawing/2014/main" xmlns="" id="{E9A6E0F2-B10A-490A-8434-4997317C18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47780" y="5130839"/>
            <a:ext cx="457910" cy="398658"/>
            <a:chOff x="-50" y="499"/>
            <a:chExt cx="3068" cy="2671"/>
          </a:xfrm>
        </p:grpSpPr>
        <p:sp>
          <p:nvSpPr>
            <p:cNvPr id="616" name="Freeform 28">
              <a:extLst>
                <a:ext uri="{FF2B5EF4-FFF2-40B4-BE49-F238E27FC236}">
                  <a16:creationId xmlns:a16="http://schemas.microsoft.com/office/drawing/2014/main" xmlns="" id="{11A11C2E-0DF9-455F-BD9F-2A165AACB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" y="692"/>
              <a:ext cx="2748" cy="2350"/>
            </a:xfrm>
            <a:custGeom>
              <a:avLst/>
              <a:gdLst>
                <a:gd name="T0" fmla="*/ 0 w 2748"/>
                <a:gd name="T1" fmla="*/ 0 h 2350"/>
                <a:gd name="T2" fmla="*/ 0 w 2748"/>
                <a:gd name="T3" fmla="*/ 2350 h 2350"/>
                <a:gd name="T4" fmla="*/ 2748 w 2748"/>
                <a:gd name="T5" fmla="*/ 2350 h 2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48" h="2350">
                  <a:moveTo>
                    <a:pt x="0" y="0"/>
                  </a:moveTo>
                  <a:lnTo>
                    <a:pt x="0" y="2350"/>
                  </a:lnTo>
                  <a:lnTo>
                    <a:pt x="2748" y="2350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xmlns="" id="{2CCB872E-4A1D-45B3-9456-38F054B6A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" y="1208"/>
              <a:ext cx="2234" cy="1297"/>
            </a:xfrm>
            <a:custGeom>
              <a:avLst/>
              <a:gdLst>
                <a:gd name="T0" fmla="*/ 0 w 2234"/>
                <a:gd name="T1" fmla="*/ 1297 h 1297"/>
                <a:gd name="T2" fmla="*/ 656 w 2234"/>
                <a:gd name="T3" fmla="*/ 553 h 1297"/>
                <a:gd name="T4" fmla="*/ 1026 w 2234"/>
                <a:gd name="T5" fmla="*/ 835 h 1297"/>
                <a:gd name="T6" fmla="*/ 1459 w 2234"/>
                <a:gd name="T7" fmla="*/ 298 h 1297"/>
                <a:gd name="T8" fmla="*/ 1768 w 2234"/>
                <a:gd name="T9" fmla="*/ 603 h 1297"/>
                <a:gd name="T10" fmla="*/ 2234 w 2234"/>
                <a:gd name="T11" fmla="*/ 0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4" h="1297">
                  <a:moveTo>
                    <a:pt x="0" y="1297"/>
                  </a:moveTo>
                  <a:lnTo>
                    <a:pt x="656" y="553"/>
                  </a:lnTo>
                  <a:lnTo>
                    <a:pt x="1026" y="835"/>
                  </a:lnTo>
                  <a:lnTo>
                    <a:pt x="1459" y="298"/>
                  </a:lnTo>
                  <a:lnTo>
                    <a:pt x="1768" y="603"/>
                  </a:lnTo>
                  <a:lnTo>
                    <a:pt x="2234" y="0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xmlns="" id="{72D0191B-477A-433F-A0D9-46B5E3D5D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" y="499"/>
              <a:ext cx="256" cy="193"/>
            </a:xfrm>
            <a:custGeom>
              <a:avLst/>
              <a:gdLst>
                <a:gd name="T0" fmla="*/ 256 w 256"/>
                <a:gd name="T1" fmla="*/ 193 h 193"/>
                <a:gd name="T2" fmla="*/ 127 w 256"/>
                <a:gd name="T3" fmla="*/ 0 h 193"/>
                <a:gd name="T4" fmla="*/ 0 w 256"/>
                <a:gd name="T5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" h="193">
                  <a:moveTo>
                    <a:pt x="256" y="193"/>
                  </a:moveTo>
                  <a:lnTo>
                    <a:pt x="127" y="0"/>
                  </a:lnTo>
                  <a:lnTo>
                    <a:pt x="0" y="193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xmlns="" id="{476248DA-9382-4FE1-9255-252610531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" y="2913"/>
              <a:ext cx="193" cy="257"/>
            </a:xfrm>
            <a:custGeom>
              <a:avLst/>
              <a:gdLst>
                <a:gd name="T0" fmla="*/ 0 w 193"/>
                <a:gd name="T1" fmla="*/ 257 h 257"/>
                <a:gd name="T2" fmla="*/ 193 w 193"/>
                <a:gd name="T3" fmla="*/ 129 h 257"/>
                <a:gd name="T4" fmla="*/ 0 w 193"/>
                <a:gd name="T5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3" h="257">
                  <a:moveTo>
                    <a:pt x="0" y="257"/>
                  </a:moveTo>
                  <a:lnTo>
                    <a:pt x="193" y="129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20" name="Group 174">
            <a:extLst>
              <a:ext uri="{FF2B5EF4-FFF2-40B4-BE49-F238E27FC236}">
                <a16:creationId xmlns:a16="http://schemas.microsoft.com/office/drawing/2014/main" xmlns="" id="{A4EAAFCD-8EA1-4A7B-92B7-BBD2C32853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4933" y="5093087"/>
            <a:ext cx="591846" cy="404228"/>
            <a:chOff x="533" y="18"/>
            <a:chExt cx="4694" cy="3206"/>
          </a:xfrm>
        </p:grpSpPr>
        <p:sp>
          <p:nvSpPr>
            <p:cNvPr id="621" name="Line 175">
              <a:extLst>
                <a:ext uri="{FF2B5EF4-FFF2-40B4-BE49-F238E27FC236}">
                  <a16:creationId xmlns:a16="http://schemas.microsoft.com/office/drawing/2014/main" xmlns="" id="{864BA91B-9F10-409D-9D00-6FB3A992587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03" y="2857"/>
              <a:ext cx="1943" cy="0"/>
            </a:xfrm>
            <a:prstGeom prst="lin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2" name="Freeform 176">
              <a:extLst>
                <a:ext uri="{FF2B5EF4-FFF2-40B4-BE49-F238E27FC236}">
                  <a16:creationId xmlns:a16="http://schemas.microsoft.com/office/drawing/2014/main" xmlns="" id="{D8991528-00FE-490D-8789-FFCBE561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" y="1022"/>
              <a:ext cx="4694" cy="1835"/>
            </a:xfrm>
            <a:custGeom>
              <a:avLst/>
              <a:gdLst>
                <a:gd name="T0" fmla="*/ 486 w 4694"/>
                <a:gd name="T1" fmla="*/ 1835 h 1835"/>
                <a:gd name="T2" fmla="*/ 368 w 4694"/>
                <a:gd name="T3" fmla="*/ 1835 h 1835"/>
                <a:gd name="T4" fmla="*/ 0 w 4694"/>
                <a:gd name="T5" fmla="*/ 0 h 1835"/>
                <a:gd name="T6" fmla="*/ 4694 w 4694"/>
                <a:gd name="T7" fmla="*/ 0 h 1835"/>
                <a:gd name="T8" fmla="*/ 4326 w 4694"/>
                <a:gd name="T9" fmla="*/ 1835 h 1835"/>
                <a:gd name="T10" fmla="*/ 4198 w 4694"/>
                <a:gd name="T11" fmla="*/ 1835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94" h="1835">
                  <a:moveTo>
                    <a:pt x="486" y="1835"/>
                  </a:moveTo>
                  <a:lnTo>
                    <a:pt x="368" y="1835"/>
                  </a:lnTo>
                  <a:lnTo>
                    <a:pt x="0" y="0"/>
                  </a:lnTo>
                  <a:lnTo>
                    <a:pt x="4694" y="0"/>
                  </a:lnTo>
                  <a:lnTo>
                    <a:pt x="4326" y="1835"/>
                  </a:lnTo>
                  <a:lnTo>
                    <a:pt x="4198" y="1835"/>
                  </a:lnTo>
                </a:path>
              </a:pathLst>
            </a:cu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3" name="Oval 177">
              <a:extLst>
                <a:ext uri="{FF2B5EF4-FFF2-40B4-BE49-F238E27FC236}">
                  <a16:creationId xmlns:a16="http://schemas.microsoft.com/office/drawing/2014/main" xmlns="" id="{0425233B-E0B5-4352-8BCA-2F3415A4C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" y="2489"/>
              <a:ext cx="737" cy="73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4" name="Oval 178">
              <a:extLst>
                <a:ext uri="{FF2B5EF4-FFF2-40B4-BE49-F238E27FC236}">
                  <a16:creationId xmlns:a16="http://schemas.microsoft.com/office/drawing/2014/main" xmlns="" id="{F79673F0-505D-4EDF-9901-0955DBE79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" y="657"/>
              <a:ext cx="365" cy="36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5" name="Oval 179">
              <a:extLst>
                <a:ext uri="{FF2B5EF4-FFF2-40B4-BE49-F238E27FC236}">
                  <a16:creationId xmlns:a16="http://schemas.microsoft.com/office/drawing/2014/main" xmlns="" id="{6F3BC548-A080-4689-A03C-6C9D54451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3" y="657"/>
              <a:ext cx="365" cy="36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6" name="Oval 180">
              <a:extLst>
                <a:ext uri="{FF2B5EF4-FFF2-40B4-BE49-F238E27FC236}">
                  <a16:creationId xmlns:a16="http://schemas.microsoft.com/office/drawing/2014/main" xmlns="" id="{5C6EAA84-3AF5-49C0-A994-42CAE532F1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" y="657"/>
              <a:ext cx="364" cy="36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7" name="Oval 181">
              <a:extLst>
                <a:ext uri="{FF2B5EF4-FFF2-40B4-BE49-F238E27FC236}">
                  <a16:creationId xmlns:a16="http://schemas.microsoft.com/office/drawing/2014/main" xmlns="" id="{C5632963-A5EC-47CF-80D0-BF9A087FD6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" y="338"/>
              <a:ext cx="365" cy="364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8" name="Oval 182">
              <a:extLst>
                <a:ext uri="{FF2B5EF4-FFF2-40B4-BE49-F238E27FC236}">
                  <a16:creationId xmlns:a16="http://schemas.microsoft.com/office/drawing/2014/main" xmlns="" id="{39F61175-EBD3-4100-9C83-C14EEDF55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0" y="338"/>
              <a:ext cx="365" cy="364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9" name="Oval 183">
              <a:extLst>
                <a:ext uri="{FF2B5EF4-FFF2-40B4-BE49-F238E27FC236}">
                  <a16:creationId xmlns:a16="http://schemas.microsoft.com/office/drawing/2014/main" xmlns="" id="{1B8E1316-0871-4C4A-BD08-18846E0994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" y="18"/>
              <a:ext cx="364" cy="363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0" name="Oval 184">
              <a:extLst>
                <a:ext uri="{FF2B5EF4-FFF2-40B4-BE49-F238E27FC236}">
                  <a16:creationId xmlns:a16="http://schemas.microsoft.com/office/drawing/2014/main" xmlns="" id="{7C4E5777-7B52-49C0-9004-5D54F32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2" y="657"/>
              <a:ext cx="365" cy="36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1" name="Oval 185">
              <a:extLst>
                <a:ext uri="{FF2B5EF4-FFF2-40B4-BE49-F238E27FC236}">
                  <a16:creationId xmlns:a16="http://schemas.microsoft.com/office/drawing/2014/main" xmlns="" id="{E47808B1-4C82-4A97-AFBB-CA76842D2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7" y="657"/>
              <a:ext cx="363" cy="36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2" name="Oval 186">
              <a:extLst>
                <a:ext uri="{FF2B5EF4-FFF2-40B4-BE49-F238E27FC236}">
                  <a16:creationId xmlns:a16="http://schemas.microsoft.com/office/drawing/2014/main" xmlns="" id="{F87743DB-028E-4138-A3FA-812088A4B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2489"/>
              <a:ext cx="736" cy="735"/>
            </a:xfrm>
            <a:prstGeom prst="ellipse">
              <a:avLst/>
            </a:prstGeom>
            <a:noFill/>
            <a:ln w="12700" cap="rnd">
              <a:solidFill>
                <a:srgbClr val="005FA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347202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299" cy="863377"/>
          </a:xfrm>
        </p:spPr>
        <p:txBody>
          <a:bodyPr/>
          <a:lstStyle/>
          <a:p>
            <a:r>
              <a:rPr lang="fr-FR" dirty="0"/>
              <a:t>USEFUL SYMBOLS (5/5)</a:t>
            </a:r>
          </a:p>
        </p:txBody>
      </p:sp>
      <p:sp>
        <p:nvSpPr>
          <p:cNvPr id="163" name="Espace réservé de la date 16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 dirty="0"/>
              <a:t>00/00/2016</a:t>
            </a:r>
          </a:p>
        </p:txBody>
      </p:sp>
      <p:sp>
        <p:nvSpPr>
          <p:cNvPr id="165" name="Espace réservé du pied de page 1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164" name="Espace réservé du numéro de diapositive 1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5</a:t>
            </a:fld>
            <a:endParaRPr lang="fr-FR" dirty="0"/>
          </a:p>
        </p:txBody>
      </p:sp>
      <p:grpSp>
        <p:nvGrpSpPr>
          <p:cNvPr id="333" name="Groupe 332">
            <a:extLst>
              <a:ext uri="{FF2B5EF4-FFF2-40B4-BE49-F238E27FC236}">
                <a16:creationId xmlns:a16="http://schemas.microsoft.com/office/drawing/2014/main" xmlns="" id="{8900C71A-EBCB-43F4-BF8B-79059161D4BB}"/>
              </a:ext>
            </a:extLst>
          </p:cNvPr>
          <p:cNvGrpSpPr/>
          <p:nvPr/>
        </p:nvGrpSpPr>
        <p:grpSpPr>
          <a:xfrm>
            <a:off x="464427" y="1717675"/>
            <a:ext cx="937611" cy="470789"/>
            <a:chOff x="5182045" y="80187"/>
            <a:chExt cx="1001432" cy="502835"/>
          </a:xfrm>
        </p:grpSpPr>
        <p:sp>
          <p:nvSpPr>
            <p:cNvPr id="340" name="Freeform 159">
              <a:extLst>
                <a:ext uri="{FF2B5EF4-FFF2-40B4-BE49-F238E27FC236}">
                  <a16:creationId xmlns:a16="http://schemas.microsoft.com/office/drawing/2014/main" xmlns="" id="{C5981271-131D-4818-A175-29D326A0C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088" y="80187"/>
              <a:ext cx="610651" cy="412224"/>
            </a:xfrm>
            <a:custGeom>
              <a:avLst/>
              <a:gdLst>
                <a:gd name="T0" fmla="*/ 1222 w 1270"/>
                <a:gd name="T1" fmla="*/ 856 h 856"/>
                <a:gd name="T2" fmla="*/ 48 w 1270"/>
                <a:gd name="T3" fmla="*/ 856 h 856"/>
                <a:gd name="T4" fmla="*/ 0 w 1270"/>
                <a:gd name="T5" fmla="*/ 808 h 856"/>
                <a:gd name="T6" fmla="*/ 0 w 1270"/>
                <a:gd name="T7" fmla="*/ 48 h 856"/>
                <a:gd name="T8" fmla="*/ 48 w 1270"/>
                <a:gd name="T9" fmla="*/ 0 h 856"/>
                <a:gd name="T10" fmla="*/ 1222 w 1270"/>
                <a:gd name="T11" fmla="*/ 0 h 856"/>
                <a:gd name="T12" fmla="*/ 1270 w 1270"/>
                <a:gd name="T13" fmla="*/ 48 h 856"/>
                <a:gd name="T14" fmla="*/ 1270 w 1270"/>
                <a:gd name="T15" fmla="*/ 808 h 856"/>
                <a:gd name="T16" fmla="*/ 1222 w 1270"/>
                <a:gd name="T17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0" h="856">
                  <a:moveTo>
                    <a:pt x="1222" y="856"/>
                  </a:moveTo>
                  <a:cubicBezTo>
                    <a:pt x="48" y="856"/>
                    <a:pt x="48" y="856"/>
                    <a:pt x="48" y="856"/>
                  </a:cubicBezTo>
                  <a:cubicBezTo>
                    <a:pt x="22" y="856"/>
                    <a:pt x="0" y="834"/>
                    <a:pt x="0" y="80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22" y="0"/>
                    <a:pt x="1222" y="0"/>
                    <a:pt x="1222" y="0"/>
                  </a:cubicBezTo>
                  <a:cubicBezTo>
                    <a:pt x="1249" y="0"/>
                    <a:pt x="1270" y="22"/>
                    <a:pt x="1270" y="48"/>
                  </a:cubicBezTo>
                  <a:cubicBezTo>
                    <a:pt x="1270" y="808"/>
                    <a:pt x="1270" y="808"/>
                    <a:pt x="1270" y="808"/>
                  </a:cubicBezTo>
                  <a:cubicBezTo>
                    <a:pt x="1270" y="834"/>
                    <a:pt x="1249" y="856"/>
                    <a:pt x="1222" y="856"/>
                  </a:cubicBezTo>
                  <a:close/>
                </a:path>
              </a:pathLst>
            </a:cu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dirty="0"/>
            </a:p>
          </p:txBody>
        </p:sp>
        <p:sp>
          <p:nvSpPr>
            <p:cNvPr id="342" name="Line 160">
              <a:extLst>
                <a:ext uri="{FF2B5EF4-FFF2-40B4-BE49-F238E27FC236}">
                  <a16:creationId xmlns:a16="http://schemas.microsoft.com/office/drawing/2014/main" xmlns="" id="{3DE2CE97-C678-43E2-9F4C-D9083BA1E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64547" y="419234"/>
              <a:ext cx="609733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46" name="Line 164">
              <a:extLst>
                <a:ext uri="{FF2B5EF4-FFF2-40B4-BE49-F238E27FC236}">
                  <a16:creationId xmlns:a16="http://schemas.microsoft.com/office/drawing/2014/main" xmlns="" id="{BAC0876E-9282-4FCB-82D3-AB16174938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71462" y="492411"/>
              <a:ext cx="15370" cy="59643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47" name="Line 165">
              <a:extLst>
                <a:ext uri="{FF2B5EF4-FFF2-40B4-BE49-F238E27FC236}">
                  <a16:creationId xmlns:a16="http://schemas.microsoft.com/office/drawing/2014/main" xmlns="" id="{C6FB0ED4-CA21-4F65-BB52-5A278F0A00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52225" y="492411"/>
              <a:ext cx="15370" cy="59643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48" name="Freeform 166">
              <a:extLst>
                <a:ext uri="{FF2B5EF4-FFF2-40B4-BE49-F238E27FC236}">
                  <a16:creationId xmlns:a16="http://schemas.microsoft.com/office/drawing/2014/main" xmlns="" id="{63FC8C57-F37F-4324-B898-14259E55B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2923" y="552054"/>
              <a:ext cx="272981" cy="30968"/>
            </a:xfrm>
            <a:custGeom>
              <a:avLst/>
              <a:gdLst>
                <a:gd name="T0" fmla="*/ 536 w 568"/>
                <a:gd name="T1" fmla="*/ 64 h 64"/>
                <a:gd name="T2" fmla="*/ 32 w 568"/>
                <a:gd name="T3" fmla="*/ 64 h 64"/>
                <a:gd name="T4" fmla="*/ 0 w 568"/>
                <a:gd name="T5" fmla="*/ 32 h 64"/>
                <a:gd name="T6" fmla="*/ 0 w 568"/>
                <a:gd name="T7" fmla="*/ 32 h 64"/>
                <a:gd name="T8" fmla="*/ 32 w 568"/>
                <a:gd name="T9" fmla="*/ 0 h 64"/>
                <a:gd name="T10" fmla="*/ 536 w 568"/>
                <a:gd name="T11" fmla="*/ 0 h 64"/>
                <a:gd name="T12" fmla="*/ 568 w 568"/>
                <a:gd name="T13" fmla="*/ 32 h 64"/>
                <a:gd name="T14" fmla="*/ 568 w 568"/>
                <a:gd name="T15" fmla="*/ 32 h 64"/>
                <a:gd name="T16" fmla="*/ 536 w 568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64">
                  <a:moveTo>
                    <a:pt x="536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36" y="0"/>
                    <a:pt x="536" y="0"/>
                    <a:pt x="536" y="0"/>
                  </a:cubicBezTo>
                  <a:cubicBezTo>
                    <a:pt x="554" y="0"/>
                    <a:pt x="568" y="14"/>
                    <a:pt x="568" y="32"/>
                  </a:cubicBezTo>
                  <a:cubicBezTo>
                    <a:pt x="568" y="32"/>
                    <a:pt x="568" y="32"/>
                    <a:pt x="568" y="32"/>
                  </a:cubicBezTo>
                  <a:cubicBezTo>
                    <a:pt x="568" y="50"/>
                    <a:pt x="554" y="64"/>
                    <a:pt x="536" y="64"/>
                  </a:cubicBezTo>
                  <a:close/>
                </a:path>
              </a:pathLst>
            </a:cu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49" name="Line 5">
              <a:extLst>
                <a:ext uri="{FF2B5EF4-FFF2-40B4-BE49-F238E27FC236}">
                  <a16:creationId xmlns:a16="http://schemas.microsoft.com/office/drawing/2014/main" xmlns="" id="{B5DD276F-D395-46C3-A0AB-8B0A8CAA9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6654" y="263127"/>
              <a:ext cx="23731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0" name="Freeform 6">
              <a:extLst>
                <a:ext uri="{FF2B5EF4-FFF2-40B4-BE49-F238E27FC236}">
                  <a16:creationId xmlns:a16="http://schemas.microsoft.com/office/drawing/2014/main" xmlns="" id="{B4AD9400-B55E-47F3-A96C-49696D220AE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13563" y="237023"/>
              <a:ext cx="169914" cy="345999"/>
            </a:xfrm>
            <a:custGeom>
              <a:avLst/>
              <a:gdLst>
                <a:gd name="T0" fmla="*/ 132 w 172"/>
                <a:gd name="T1" fmla="*/ 353 h 353"/>
                <a:gd name="T2" fmla="*/ 40 w 172"/>
                <a:gd name="T3" fmla="*/ 353 h 353"/>
                <a:gd name="T4" fmla="*/ 0 w 172"/>
                <a:gd name="T5" fmla="*/ 313 h 353"/>
                <a:gd name="T6" fmla="*/ 0 w 172"/>
                <a:gd name="T7" fmla="*/ 40 h 353"/>
                <a:gd name="T8" fmla="*/ 40 w 172"/>
                <a:gd name="T9" fmla="*/ 0 h 353"/>
                <a:gd name="T10" fmla="*/ 132 w 172"/>
                <a:gd name="T11" fmla="*/ 0 h 353"/>
                <a:gd name="T12" fmla="*/ 172 w 172"/>
                <a:gd name="T13" fmla="*/ 40 h 353"/>
                <a:gd name="T14" fmla="*/ 172 w 172"/>
                <a:gd name="T15" fmla="*/ 313 h 353"/>
                <a:gd name="T16" fmla="*/ 132 w 172"/>
                <a:gd name="T17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353">
                  <a:moveTo>
                    <a:pt x="132" y="353"/>
                  </a:moveTo>
                  <a:cubicBezTo>
                    <a:pt x="40" y="353"/>
                    <a:pt x="40" y="353"/>
                    <a:pt x="40" y="353"/>
                  </a:cubicBezTo>
                  <a:cubicBezTo>
                    <a:pt x="18" y="353"/>
                    <a:pt x="0" y="335"/>
                    <a:pt x="0" y="31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54" y="0"/>
                    <a:pt x="172" y="18"/>
                    <a:pt x="172" y="40"/>
                  </a:cubicBezTo>
                  <a:cubicBezTo>
                    <a:pt x="172" y="313"/>
                    <a:pt x="172" y="313"/>
                    <a:pt x="172" y="313"/>
                  </a:cubicBezTo>
                  <a:cubicBezTo>
                    <a:pt x="172" y="335"/>
                    <a:pt x="154" y="353"/>
                    <a:pt x="132" y="353"/>
                  </a:cubicBezTo>
                  <a:close/>
                </a:path>
              </a:pathLst>
            </a:cu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1" name="Line 7">
              <a:extLst>
                <a:ext uri="{FF2B5EF4-FFF2-40B4-BE49-F238E27FC236}">
                  <a16:creationId xmlns:a16="http://schemas.microsoft.com/office/drawing/2014/main" xmlns="" id="{F5A1DD71-9C87-4D93-8976-737AF4D7A4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013563" y="288757"/>
              <a:ext cx="169914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2" name="Line 8">
              <a:extLst>
                <a:ext uri="{FF2B5EF4-FFF2-40B4-BE49-F238E27FC236}">
                  <a16:creationId xmlns:a16="http://schemas.microsoft.com/office/drawing/2014/main" xmlns="" id="{01C69D5D-CFB0-4267-BF96-5009D540513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013563" y="521321"/>
              <a:ext cx="169914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3" name="Line 5">
              <a:extLst>
                <a:ext uri="{FF2B5EF4-FFF2-40B4-BE49-F238E27FC236}">
                  <a16:creationId xmlns:a16="http://schemas.microsoft.com/office/drawing/2014/main" xmlns="" id="{6C5D8F38-E25A-4835-A2CC-178FA6EF5F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7222" y="198099"/>
              <a:ext cx="40642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4" name="Freeform 6">
              <a:extLst>
                <a:ext uri="{FF2B5EF4-FFF2-40B4-BE49-F238E27FC236}">
                  <a16:creationId xmlns:a16="http://schemas.microsoft.com/office/drawing/2014/main" xmlns="" id="{B7E2CB27-A99E-41C1-AF61-3120D4F5F4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82045" y="166688"/>
              <a:ext cx="290996" cy="416334"/>
            </a:xfrm>
            <a:prstGeom prst="roundRect">
              <a:avLst>
                <a:gd name="adj" fmla="val 7938"/>
              </a:avLst>
            </a:prstGeom>
            <a:solidFill>
              <a:schemeClr val="bg1"/>
            </a:solidFill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5" name="Line 7">
              <a:extLst>
                <a:ext uri="{FF2B5EF4-FFF2-40B4-BE49-F238E27FC236}">
                  <a16:creationId xmlns:a16="http://schemas.microsoft.com/office/drawing/2014/main" xmlns="" id="{50D0E8C6-9585-4F09-ACE5-F421F2176B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82045" y="228938"/>
              <a:ext cx="290996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56" name="Line 8">
              <a:extLst>
                <a:ext uri="{FF2B5EF4-FFF2-40B4-BE49-F238E27FC236}">
                  <a16:creationId xmlns:a16="http://schemas.microsoft.com/office/drawing/2014/main" xmlns="" id="{7A5DAFC2-0B89-4D38-AD12-27189A3B69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82045" y="508779"/>
              <a:ext cx="290996" cy="0"/>
            </a:xfrm>
            <a:prstGeom prst="line">
              <a:avLst/>
            </a:prstGeom>
            <a:noFill/>
            <a:ln w="14288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358" name="Groupe 357">
            <a:extLst>
              <a:ext uri="{FF2B5EF4-FFF2-40B4-BE49-F238E27FC236}">
                <a16:creationId xmlns:a16="http://schemas.microsoft.com/office/drawing/2014/main" xmlns="" id="{EB24E2D1-21A0-49B0-9633-1AF7315CC27C}"/>
              </a:ext>
            </a:extLst>
          </p:cNvPr>
          <p:cNvGrpSpPr/>
          <p:nvPr/>
        </p:nvGrpSpPr>
        <p:grpSpPr>
          <a:xfrm>
            <a:off x="1907489" y="1666906"/>
            <a:ext cx="547098" cy="492094"/>
            <a:chOff x="6423634" y="1316493"/>
            <a:chExt cx="440335" cy="396066"/>
          </a:xfrm>
        </p:grpSpPr>
        <p:sp>
          <p:nvSpPr>
            <p:cNvPr id="360" name="Line 215">
              <a:extLst>
                <a:ext uri="{FF2B5EF4-FFF2-40B4-BE49-F238E27FC236}">
                  <a16:creationId xmlns:a16="http://schemas.microsoft.com/office/drawing/2014/main" xmlns="" id="{900D543E-2218-4FFB-810D-AF38701E883D}"/>
                </a:ext>
              </a:extLst>
            </p:cNvPr>
            <p:cNvSpPr>
              <a:spLocks noChangeShapeType="1"/>
            </p:cNvSpPr>
            <p:nvPr/>
          </p:nvSpPr>
          <p:spPr bwMode="auto">
            <a:xfrm rot="20824676">
              <a:off x="6699593" y="1485531"/>
              <a:ext cx="30924" cy="30164"/>
            </a:xfrm>
            <a:prstGeom prst="line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/>
            </a:p>
          </p:txBody>
        </p:sp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xmlns="" id="{209157A2-012F-4670-9473-6F696B1E8FE1}"/>
                </a:ext>
              </a:extLst>
            </p:cNvPr>
            <p:cNvSpPr/>
            <p:nvPr/>
          </p:nvSpPr>
          <p:spPr>
            <a:xfrm>
              <a:off x="6423634" y="1518219"/>
              <a:ext cx="52677" cy="194340"/>
            </a:xfrm>
            <a:prstGeom prst="rect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364" name="Rectangle 363">
              <a:extLst>
                <a:ext uri="{FF2B5EF4-FFF2-40B4-BE49-F238E27FC236}">
                  <a16:creationId xmlns:a16="http://schemas.microsoft.com/office/drawing/2014/main" xmlns="" id="{BAAE24E2-412D-4AD6-8484-5E1008B91929}"/>
                </a:ext>
              </a:extLst>
            </p:cNvPr>
            <p:cNvSpPr/>
            <p:nvPr/>
          </p:nvSpPr>
          <p:spPr>
            <a:xfrm>
              <a:off x="6505192" y="1454679"/>
              <a:ext cx="52677" cy="257880"/>
            </a:xfrm>
            <a:prstGeom prst="rect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xmlns="" id="{2ABC552B-9037-408E-AC41-1C7AFA0780E1}"/>
                </a:ext>
              </a:extLst>
            </p:cNvPr>
            <p:cNvSpPr/>
            <p:nvPr/>
          </p:nvSpPr>
          <p:spPr>
            <a:xfrm>
              <a:off x="6592373" y="1417817"/>
              <a:ext cx="52677" cy="294742"/>
            </a:xfrm>
            <a:prstGeom prst="rect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grpSp>
          <p:nvGrpSpPr>
            <p:cNvPr id="367" name="Groupe 366">
              <a:extLst>
                <a:ext uri="{FF2B5EF4-FFF2-40B4-BE49-F238E27FC236}">
                  <a16:creationId xmlns:a16="http://schemas.microsoft.com/office/drawing/2014/main" xmlns="" id="{8BB67E96-E9AE-49E1-997A-E340F4D48B2F}"/>
                </a:ext>
              </a:extLst>
            </p:cNvPr>
            <p:cNvGrpSpPr/>
            <p:nvPr/>
          </p:nvGrpSpPr>
          <p:grpSpPr>
            <a:xfrm>
              <a:off x="6503426" y="1316493"/>
              <a:ext cx="360543" cy="302936"/>
              <a:chOff x="6503426" y="1316493"/>
              <a:chExt cx="360543" cy="302936"/>
            </a:xfrm>
          </p:grpSpPr>
          <p:sp>
            <p:nvSpPr>
              <p:cNvPr id="369" name="Oval 214">
                <a:extLst>
                  <a:ext uri="{FF2B5EF4-FFF2-40B4-BE49-F238E27FC236}">
                    <a16:creationId xmlns:a16="http://schemas.microsoft.com/office/drawing/2014/main" xmlns="" id="{8A6D47A2-46CD-49E1-A9BA-35174FFDA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824676">
                <a:off x="6503426" y="1316493"/>
                <a:ext cx="215203" cy="215204"/>
              </a:xfrm>
              <a:prstGeom prst="ellipse">
                <a:avLst/>
              </a:prstGeom>
              <a:solidFill>
                <a:schemeClr val="bg1"/>
              </a:solidFill>
              <a:ln w="14288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70" name="Freeform 216">
                <a:extLst>
                  <a:ext uri="{FF2B5EF4-FFF2-40B4-BE49-F238E27FC236}">
                    <a16:creationId xmlns:a16="http://schemas.microsoft.com/office/drawing/2014/main" xmlns="" id="{23313DFC-08FC-424F-BCFA-C9BC9160348E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729118" y="1484578"/>
                <a:ext cx="134851" cy="134851"/>
              </a:xfrm>
              <a:custGeom>
                <a:avLst/>
                <a:gdLst>
                  <a:gd name="T0" fmla="*/ 147 w 254"/>
                  <a:gd name="T1" fmla="*/ 235 h 254"/>
                  <a:gd name="T2" fmla="*/ 18 w 254"/>
                  <a:gd name="T3" fmla="*/ 106 h 254"/>
                  <a:gd name="T4" fmla="*/ 18 w 254"/>
                  <a:gd name="T5" fmla="*/ 39 h 254"/>
                  <a:gd name="T6" fmla="*/ 39 w 254"/>
                  <a:gd name="T7" fmla="*/ 18 h 254"/>
                  <a:gd name="T8" fmla="*/ 107 w 254"/>
                  <a:gd name="T9" fmla="*/ 18 h 254"/>
                  <a:gd name="T10" fmla="*/ 235 w 254"/>
                  <a:gd name="T11" fmla="*/ 147 h 254"/>
                  <a:gd name="T12" fmla="*/ 235 w 254"/>
                  <a:gd name="T13" fmla="*/ 215 h 254"/>
                  <a:gd name="T14" fmla="*/ 215 w 254"/>
                  <a:gd name="T15" fmla="*/ 235 h 254"/>
                  <a:gd name="T16" fmla="*/ 147 w 254"/>
                  <a:gd name="T17" fmla="*/ 235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254">
                    <a:moveTo>
                      <a:pt x="147" y="235"/>
                    </a:moveTo>
                    <a:cubicBezTo>
                      <a:pt x="18" y="106"/>
                      <a:pt x="18" y="106"/>
                      <a:pt x="18" y="106"/>
                    </a:cubicBezTo>
                    <a:cubicBezTo>
                      <a:pt x="0" y="88"/>
                      <a:pt x="0" y="57"/>
                      <a:pt x="18" y="39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57" y="0"/>
                      <a:pt x="88" y="0"/>
                      <a:pt x="107" y="18"/>
                    </a:cubicBezTo>
                    <a:cubicBezTo>
                      <a:pt x="235" y="147"/>
                      <a:pt x="235" y="147"/>
                      <a:pt x="235" y="147"/>
                    </a:cubicBezTo>
                    <a:cubicBezTo>
                      <a:pt x="254" y="166"/>
                      <a:pt x="254" y="196"/>
                      <a:pt x="235" y="215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196" y="254"/>
                      <a:pt x="166" y="254"/>
                      <a:pt x="147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72" name="Freeform 217">
                <a:extLst>
                  <a:ext uri="{FF2B5EF4-FFF2-40B4-BE49-F238E27FC236}">
                    <a16:creationId xmlns:a16="http://schemas.microsoft.com/office/drawing/2014/main" xmlns="" id="{055C9736-236A-4C91-9182-C745695F64D4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616976" y="1339223"/>
                <a:ext cx="55258" cy="55512"/>
              </a:xfrm>
              <a:custGeom>
                <a:avLst/>
                <a:gdLst>
                  <a:gd name="T0" fmla="*/ 0 w 104"/>
                  <a:gd name="T1" fmla="*/ 0 h 104"/>
                  <a:gd name="T2" fmla="*/ 104 w 104"/>
                  <a:gd name="T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4" h="104">
                    <a:moveTo>
                      <a:pt x="0" y="0"/>
                    </a:moveTo>
                    <a:cubicBezTo>
                      <a:pt x="57" y="0"/>
                      <a:pt x="104" y="47"/>
                      <a:pt x="104" y="104"/>
                    </a:cubicBezTo>
                  </a:path>
                </a:pathLst>
              </a:custGeom>
              <a:noFill/>
              <a:ln w="14288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375" name="Groupe 374">
            <a:extLst>
              <a:ext uri="{FF2B5EF4-FFF2-40B4-BE49-F238E27FC236}">
                <a16:creationId xmlns:a16="http://schemas.microsoft.com/office/drawing/2014/main" xmlns="" id="{F4C9895C-172F-4543-8279-76A093AC6C6E}"/>
              </a:ext>
            </a:extLst>
          </p:cNvPr>
          <p:cNvGrpSpPr/>
          <p:nvPr/>
        </p:nvGrpSpPr>
        <p:grpSpPr>
          <a:xfrm>
            <a:off x="2728189" y="1710367"/>
            <a:ext cx="775030" cy="499434"/>
            <a:chOff x="6413327" y="2274473"/>
            <a:chExt cx="558969" cy="360203"/>
          </a:xfrm>
        </p:grpSpPr>
        <p:grpSp>
          <p:nvGrpSpPr>
            <p:cNvPr id="377" name="Group 45">
              <a:extLst>
                <a:ext uri="{FF2B5EF4-FFF2-40B4-BE49-F238E27FC236}">
                  <a16:creationId xmlns:a16="http://schemas.microsoft.com/office/drawing/2014/main" xmlns="" id="{B7D37010-4F4E-46B7-8BF7-3810FA2619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13327" y="2351805"/>
              <a:ext cx="302175" cy="282871"/>
              <a:chOff x="2270" y="-238"/>
              <a:chExt cx="1221" cy="1143"/>
            </a:xfrm>
          </p:grpSpPr>
          <p:sp>
            <p:nvSpPr>
              <p:cNvPr id="388" name="Oval 46">
                <a:extLst>
                  <a:ext uri="{FF2B5EF4-FFF2-40B4-BE49-F238E27FC236}">
                    <a16:creationId xmlns:a16="http://schemas.microsoft.com/office/drawing/2014/main" xmlns="" id="{5EFD326E-1EAE-4384-BFF8-CB942DF116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0" y="-238"/>
                <a:ext cx="1221" cy="323"/>
              </a:xfrm>
              <a:prstGeom prst="ellipse">
                <a:avLst/>
              </a:pr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89" name="Freeform 47">
                <a:extLst>
                  <a:ext uri="{FF2B5EF4-FFF2-40B4-BE49-F238E27FC236}">
                    <a16:creationId xmlns:a16="http://schemas.microsoft.com/office/drawing/2014/main" xmlns="" id="{73FCB29E-E37D-44BD-86B7-792BF7E41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118"/>
                <a:ext cx="1221" cy="161"/>
              </a:xfrm>
              <a:custGeom>
                <a:avLst/>
                <a:gdLst>
                  <a:gd name="T0" fmla="*/ 592 w 592"/>
                  <a:gd name="T1" fmla="*/ 0 h 78"/>
                  <a:gd name="T2" fmla="*/ 296 w 592"/>
                  <a:gd name="T3" fmla="*/ 78 h 78"/>
                  <a:gd name="T4" fmla="*/ 0 w 592"/>
                  <a:gd name="T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8">
                    <a:moveTo>
                      <a:pt x="592" y="0"/>
                    </a:moveTo>
                    <a:cubicBezTo>
                      <a:pt x="592" y="43"/>
                      <a:pt x="460" y="78"/>
                      <a:pt x="296" y="78"/>
                    </a:cubicBezTo>
                    <a:cubicBezTo>
                      <a:pt x="132" y="78"/>
                      <a:pt x="0" y="43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90" name="Freeform 48">
                <a:extLst>
                  <a:ext uri="{FF2B5EF4-FFF2-40B4-BE49-F238E27FC236}">
                    <a16:creationId xmlns:a16="http://schemas.microsoft.com/office/drawing/2014/main" xmlns="" id="{772A6EA9-DEF2-47A3-8E86-17D84C312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26"/>
                <a:ext cx="1221" cy="163"/>
              </a:xfrm>
              <a:custGeom>
                <a:avLst/>
                <a:gdLst>
                  <a:gd name="T0" fmla="*/ 592 w 592"/>
                  <a:gd name="T1" fmla="*/ 0 h 79"/>
                  <a:gd name="T2" fmla="*/ 296 w 592"/>
                  <a:gd name="T3" fmla="*/ 79 h 79"/>
                  <a:gd name="T4" fmla="*/ 0 w 592"/>
                  <a:gd name="T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9">
                    <a:moveTo>
                      <a:pt x="592" y="0"/>
                    </a:moveTo>
                    <a:cubicBezTo>
                      <a:pt x="592" y="44"/>
                      <a:pt x="460" y="79"/>
                      <a:pt x="296" y="79"/>
                    </a:cubicBezTo>
                    <a:cubicBezTo>
                      <a:pt x="132" y="79"/>
                      <a:pt x="0" y="44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91" name="Freeform 49">
                <a:extLst>
                  <a:ext uri="{FF2B5EF4-FFF2-40B4-BE49-F238E27FC236}">
                    <a16:creationId xmlns:a16="http://schemas.microsoft.com/office/drawing/2014/main" xmlns="" id="{AE8E7814-3FC6-4BC5-BD61-2B60908D6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534"/>
                <a:ext cx="1221" cy="163"/>
              </a:xfrm>
              <a:custGeom>
                <a:avLst/>
                <a:gdLst>
                  <a:gd name="T0" fmla="*/ 592 w 592"/>
                  <a:gd name="T1" fmla="*/ 0 h 79"/>
                  <a:gd name="T2" fmla="*/ 296 w 592"/>
                  <a:gd name="T3" fmla="*/ 79 h 79"/>
                  <a:gd name="T4" fmla="*/ 0 w 592"/>
                  <a:gd name="T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2" h="79">
                    <a:moveTo>
                      <a:pt x="592" y="0"/>
                    </a:moveTo>
                    <a:cubicBezTo>
                      <a:pt x="592" y="44"/>
                      <a:pt x="460" y="79"/>
                      <a:pt x="296" y="79"/>
                    </a:cubicBezTo>
                    <a:cubicBezTo>
                      <a:pt x="132" y="79"/>
                      <a:pt x="0" y="44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92" name="Line 50">
                <a:extLst>
                  <a:ext uri="{FF2B5EF4-FFF2-40B4-BE49-F238E27FC236}">
                    <a16:creationId xmlns:a16="http://schemas.microsoft.com/office/drawing/2014/main" xmlns="" id="{E9009FD4-5829-469F-9F09-0909D2DFFE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1" y="-78"/>
                <a:ext cx="0" cy="0"/>
              </a:xfrm>
              <a:prstGeom prst="line">
                <a:avLst/>
              </a:pr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93" name="Freeform 51">
                <a:extLst>
                  <a:ext uri="{FF2B5EF4-FFF2-40B4-BE49-F238E27FC236}">
                    <a16:creationId xmlns:a16="http://schemas.microsoft.com/office/drawing/2014/main" xmlns="" id="{9224A72F-57DF-4442-A2F9-BE668FA76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-78"/>
                <a:ext cx="1221" cy="983"/>
              </a:xfrm>
              <a:custGeom>
                <a:avLst/>
                <a:gdLst>
                  <a:gd name="T0" fmla="*/ 592 w 592"/>
                  <a:gd name="T1" fmla="*/ 0 h 477"/>
                  <a:gd name="T2" fmla="*/ 592 w 592"/>
                  <a:gd name="T3" fmla="*/ 399 h 477"/>
                  <a:gd name="T4" fmla="*/ 296 w 592"/>
                  <a:gd name="T5" fmla="*/ 477 h 477"/>
                  <a:gd name="T6" fmla="*/ 0 w 592"/>
                  <a:gd name="T7" fmla="*/ 399 h 477"/>
                  <a:gd name="T8" fmla="*/ 0 w 592"/>
                  <a:gd name="T9" fmla="*/ 0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77">
                    <a:moveTo>
                      <a:pt x="592" y="0"/>
                    </a:moveTo>
                    <a:cubicBezTo>
                      <a:pt x="592" y="0"/>
                      <a:pt x="592" y="395"/>
                      <a:pt x="592" y="399"/>
                    </a:cubicBezTo>
                    <a:cubicBezTo>
                      <a:pt x="592" y="442"/>
                      <a:pt x="460" y="477"/>
                      <a:pt x="296" y="477"/>
                    </a:cubicBezTo>
                    <a:cubicBezTo>
                      <a:pt x="132" y="477"/>
                      <a:pt x="0" y="442"/>
                      <a:pt x="0" y="39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383" name="Groupe 382">
              <a:extLst>
                <a:ext uri="{FF2B5EF4-FFF2-40B4-BE49-F238E27FC236}">
                  <a16:creationId xmlns:a16="http://schemas.microsoft.com/office/drawing/2014/main" xmlns="" id="{81CD02CD-71D3-4AD9-B6A1-96A141991472}"/>
                </a:ext>
              </a:extLst>
            </p:cNvPr>
            <p:cNvGrpSpPr/>
            <p:nvPr/>
          </p:nvGrpSpPr>
          <p:grpSpPr>
            <a:xfrm>
              <a:off x="6611753" y="2274473"/>
              <a:ext cx="360543" cy="302936"/>
              <a:chOff x="6305086" y="-1598425"/>
              <a:chExt cx="360543" cy="302936"/>
            </a:xfrm>
          </p:grpSpPr>
          <p:sp>
            <p:nvSpPr>
              <p:cNvPr id="384" name="Oval 214">
                <a:extLst>
                  <a:ext uri="{FF2B5EF4-FFF2-40B4-BE49-F238E27FC236}">
                    <a16:creationId xmlns:a16="http://schemas.microsoft.com/office/drawing/2014/main" xmlns="" id="{7485E0E0-717B-4EE0-8C96-5AD8FABA69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824676">
                <a:off x="6305086" y="-1598425"/>
                <a:ext cx="215203" cy="215204"/>
              </a:xfrm>
              <a:prstGeom prst="ellipse">
                <a:avLst/>
              </a:prstGeom>
              <a:solidFill>
                <a:schemeClr val="bg1"/>
              </a:solidFill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85" name="Line 215">
                <a:extLst>
                  <a:ext uri="{FF2B5EF4-FFF2-40B4-BE49-F238E27FC236}">
                    <a16:creationId xmlns:a16="http://schemas.microsoft.com/office/drawing/2014/main" xmlns="" id="{6A6B3F58-29F6-43A1-8A33-0B6AA2D104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20824676">
                <a:off x="6501253" y="-1429387"/>
                <a:ext cx="30924" cy="30164"/>
              </a:xfrm>
              <a:prstGeom prst="line">
                <a:avLst/>
              </a:pr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86" name="Freeform 216">
                <a:extLst>
                  <a:ext uri="{FF2B5EF4-FFF2-40B4-BE49-F238E27FC236}">
                    <a16:creationId xmlns:a16="http://schemas.microsoft.com/office/drawing/2014/main" xmlns="" id="{7CD21B98-CF55-46CC-AA33-0F9CFA4F6935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530778" y="-1430340"/>
                <a:ext cx="134851" cy="134851"/>
              </a:xfrm>
              <a:custGeom>
                <a:avLst/>
                <a:gdLst>
                  <a:gd name="T0" fmla="*/ 147 w 254"/>
                  <a:gd name="T1" fmla="*/ 235 h 254"/>
                  <a:gd name="T2" fmla="*/ 18 w 254"/>
                  <a:gd name="T3" fmla="*/ 106 h 254"/>
                  <a:gd name="T4" fmla="*/ 18 w 254"/>
                  <a:gd name="T5" fmla="*/ 39 h 254"/>
                  <a:gd name="T6" fmla="*/ 39 w 254"/>
                  <a:gd name="T7" fmla="*/ 18 h 254"/>
                  <a:gd name="T8" fmla="*/ 107 w 254"/>
                  <a:gd name="T9" fmla="*/ 18 h 254"/>
                  <a:gd name="T10" fmla="*/ 235 w 254"/>
                  <a:gd name="T11" fmla="*/ 147 h 254"/>
                  <a:gd name="T12" fmla="*/ 235 w 254"/>
                  <a:gd name="T13" fmla="*/ 215 h 254"/>
                  <a:gd name="T14" fmla="*/ 215 w 254"/>
                  <a:gd name="T15" fmla="*/ 235 h 254"/>
                  <a:gd name="T16" fmla="*/ 147 w 254"/>
                  <a:gd name="T17" fmla="*/ 235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254">
                    <a:moveTo>
                      <a:pt x="147" y="235"/>
                    </a:moveTo>
                    <a:cubicBezTo>
                      <a:pt x="18" y="106"/>
                      <a:pt x="18" y="106"/>
                      <a:pt x="18" y="106"/>
                    </a:cubicBezTo>
                    <a:cubicBezTo>
                      <a:pt x="0" y="88"/>
                      <a:pt x="0" y="57"/>
                      <a:pt x="18" y="39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57" y="0"/>
                      <a:pt x="88" y="0"/>
                      <a:pt x="107" y="18"/>
                    </a:cubicBezTo>
                    <a:cubicBezTo>
                      <a:pt x="235" y="147"/>
                      <a:pt x="235" y="147"/>
                      <a:pt x="235" y="147"/>
                    </a:cubicBezTo>
                    <a:cubicBezTo>
                      <a:pt x="254" y="166"/>
                      <a:pt x="254" y="196"/>
                      <a:pt x="235" y="215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196" y="254"/>
                      <a:pt x="166" y="254"/>
                      <a:pt x="147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387" name="Freeform 217">
                <a:extLst>
                  <a:ext uri="{FF2B5EF4-FFF2-40B4-BE49-F238E27FC236}">
                    <a16:creationId xmlns:a16="http://schemas.microsoft.com/office/drawing/2014/main" xmlns="" id="{335DE451-1128-495A-9516-AEAB01D02A9C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4676">
                <a:off x="6418636" y="-1575695"/>
                <a:ext cx="55258" cy="55512"/>
              </a:xfrm>
              <a:custGeom>
                <a:avLst/>
                <a:gdLst>
                  <a:gd name="T0" fmla="*/ 0 w 104"/>
                  <a:gd name="T1" fmla="*/ 0 h 104"/>
                  <a:gd name="T2" fmla="*/ 104 w 104"/>
                  <a:gd name="T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4" h="104">
                    <a:moveTo>
                      <a:pt x="0" y="0"/>
                    </a:moveTo>
                    <a:cubicBezTo>
                      <a:pt x="57" y="0"/>
                      <a:pt x="104" y="47"/>
                      <a:pt x="104" y="104"/>
                    </a:cubicBezTo>
                  </a:path>
                </a:pathLst>
              </a:custGeom>
              <a:noFill/>
              <a:ln w="14288" cap="flat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/>
              </a:p>
            </p:txBody>
          </p:sp>
        </p:grpSp>
      </p:grpSp>
      <p:grpSp>
        <p:nvGrpSpPr>
          <p:cNvPr id="394" name="Groupe 393">
            <a:extLst>
              <a:ext uri="{FF2B5EF4-FFF2-40B4-BE49-F238E27FC236}">
                <a16:creationId xmlns:a16="http://schemas.microsoft.com/office/drawing/2014/main" xmlns="" id="{C2CD1D3F-AF87-408D-8EF9-998ABB961F94}"/>
              </a:ext>
            </a:extLst>
          </p:cNvPr>
          <p:cNvGrpSpPr/>
          <p:nvPr/>
        </p:nvGrpSpPr>
        <p:grpSpPr>
          <a:xfrm>
            <a:off x="3748122" y="1753161"/>
            <a:ext cx="757892" cy="436320"/>
            <a:chOff x="6106195" y="3060823"/>
            <a:chExt cx="816224" cy="469900"/>
          </a:xfrm>
        </p:grpSpPr>
        <p:grpSp>
          <p:nvGrpSpPr>
            <p:cNvPr id="395" name="Group 152">
              <a:extLst>
                <a:ext uri="{FF2B5EF4-FFF2-40B4-BE49-F238E27FC236}">
                  <a16:creationId xmlns:a16="http://schemas.microsoft.com/office/drawing/2014/main" xmlns="" id="{B51DE387-F113-4A96-9A5C-01F654559DC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52519" y="3060823"/>
              <a:ext cx="469900" cy="469900"/>
              <a:chOff x="887" y="621"/>
              <a:chExt cx="833" cy="833"/>
            </a:xfrm>
          </p:grpSpPr>
          <p:sp>
            <p:nvSpPr>
              <p:cNvPr id="400" name="Freeform 153">
                <a:extLst>
                  <a:ext uri="{FF2B5EF4-FFF2-40B4-BE49-F238E27FC236}">
                    <a16:creationId xmlns:a16="http://schemas.microsoft.com/office/drawing/2014/main" xmlns="" id="{44EAB6BF-BFB9-4AB9-9776-2510FDB22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" y="621"/>
                <a:ext cx="833" cy="833"/>
              </a:xfrm>
              <a:custGeom>
                <a:avLst/>
                <a:gdLst>
                  <a:gd name="T0" fmla="*/ 390 w 395"/>
                  <a:gd name="T1" fmla="*/ 235 h 395"/>
                  <a:gd name="T2" fmla="*/ 356 w 395"/>
                  <a:gd name="T3" fmla="*/ 197 h 395"/>
                  <a:gd name="T4" fmla="*/ 390 w 395"/>
                  <a:gd name="T5" fmla="*/ 160 h 395"/>
                  <a:gd name="T6" fmla="*/ 393 w 395"/>
                  <a:gd name="T7" fmla="*/ 158 h 395"/>
                  <a:gd name="T8" fmla="*/ 394 w 395"/>
                  <a:gd name="T9" fmla="*/ 154 h 395"/>
                  <a:gd name="T10" fmla="*/ 367 w 395"/>
                  <a:gd name="T11" fmla="*/ 89 h 395"/>
                  <a:gd name="T12" fmla="*/ 364 w 395"/>
                  <a:gd name="T13" fmla="*/ 87 h 395"/>
                  <a:gd name="T14" fmla="*/ 360 w 395"/>
                  <a:gd name="T15" fmla="*/ 88 h 395"/>
                  <a:gd name="T16" fmla="*/ 309 w 395"/>
                  <a:gd name="T17" fmla="*/ 85 h 395"/>
                  <a:gd name="T18" fmla="*/ 306 w 395"/>
                  <a:gd name="T19" fmla="*/ 35 h 395"/>
                  <a:gd name="T20" fmla="*/ 307 w 395"/>
                  <a:gd name="T21" fmla="*/ 31 h 395"/>
                  <a:gd name="T22" fmla="*/ 305 w 395"/>
                  <a:gd name="T23" fmla="*/ 27 h 395"/>
                  <a:gd name="T24" fmla="*/ 241 w 395"/>
                  <a:gd name="T25" fmla="*/ 1 h 395"/>
                  <a:gd name="T26" fmla="*/ 237 w 395"/>
                  <a:gd name="T27" fmla="*/ 1 h 395"/>
                  <a:gd name="T28" fmla="*/ 235 w 395"/>
                  <a:gd name="T29" fmla="*/ 5 h 395"/>
                  <a:gd name="T30" fmla="*/ 198 w 395"/>
                  <a:gd name="T31" fmla="*/ 39 h 395"/>
                  <a:gd name="T32" fmla="*/ 160 w 395"/>
                  <a:gd name="T33" fmla="*/ 5 h 395"/>
                  <a:gd name="T34" fmla="*/ 158 w 395"/>
                  <a:gd name="T35" fmla="*/ 1 h 395"/>
                  <a:gd name="T36" fmla="*/ 154 w 395"/>
                  <a:gd name="T37" fmla="*/ 1 h 395"/>
                  <a:gd name="T38" fmla="*/ 89 w 395"/>
                  <a:gd name="T39" fmla="*/ 27 h 395"/>
                  <a:gd name="T40" fmla="*/ 87 w 395"/>
                  <a:gd name="T41" fmla="*/ 31 h 395"/>
                  <a:gd name="T42" fmla="*/ 88 w 395"/>
                  <a:gd name="T43" fmla="*/ 35 h 395"/>
                  <a:gd name="T44" fmla="*/ 85 w 395"/>
                  <a:gd name="T45" fmla="*/ 85 h 395"/>
                  <a:gd name="T46" fmla="*/ 34 w 395"/>
                  <a:gd name="T47" fmla="*/ 88 h 395"/>
                  <a:gd name="T48" fmla="*/ 30 w 395"/>
                  <a:gd name="T49" fmla="*/ 87 h 395"/>
                  <a:gd name="T50" fmla="*/ 27 w 395"/>
                  <a:gd name="T51" fmla="*/ 89 h 395"/>
                  <a:gd name="T52" fmla="*/ 1 w 395"/>
                  <a:gd name="T53" fmla="*/ 153 h 395"/>
                  <a:gd name="T54" fmla="*/ 1 w 395"/>
                  <a:gd name="T55" fmla="*/ 157 h 395"/>
                  <a:gd name="T56" fmla="*/ 5 w 395"/>
                  <a:gd name="T57" fmla="*/ 159 h 395"/>
                  <a:gd name="T58" fmla="*/ 39 w 395"/>
                  <a:gd name="T59" fmla="*/ 197 h 395"/>
                  <a:gd name="T60" fmla="*/ 5 w 395"/>
                  <a:gd name="T61" fmla="*/ 235 h 395"/>
                  <a:gd name="T62" fmla="*/ 1 w 395"/>
                  <a:gd name="T63" fmla="*/ 237 h 395"/>
                  <a:gd name="T64" fmla="*/ 1 w 395"/>
                  <a:gd name="T65" fmla="*/ 241 h 395"/>
                  <a:gd name="T66" fmla="*/ 27 w 395"/>
                  <a:gd name="T67" fmla="*/ 306 h 395"/>
                  <a:gd name="T68" fmla="*/ 31 w 395"/>
                  <a:gd name="T69" fmla="*/ 308 h 395"/>
                  <a:gd name="T70" fmla="*/ 35 w 395"/>
                  <a:gd name="T71" fmla="*/ 307 h 395"/>
                  <a:gd name="T72" fmla="*/ 85 w 395"/>
                  <a:gd name="T73" fmla="*/ 310 h 395"/>
                  <a:gd name="T74" fmla="*/ 88 w 395"/>
                  <a:gd name="T75" fmla="*/ 361 h 395"/>
                  <a:gd name="T76" fmla="*/ 87 w 395"/>
                  <a:gd name="T77" fmla="*/ 365 h 395"/>
                  <a:gd name="T78" fmla="*/ 89 w 395"/>
                  <a:gd name="T79" fmla="*/ 368 h 395"/>
                  <a:gd name="T80" fmla="*/ 154 w 395"/>
                  <a:gd name="T81" fmla="*/ 395 h 395"/>
                  <a:gd name="T82" fmla="*/ 158 w 395"/>
                  <a:gd name="T83" fmla="*/ 394 h 395"/>
                  <a:gd name="T84" fmla="*/ 160 w 395"/>
                  <a:gd name="T85" fmla="*/ 391 h 395"/>
                  <a:gd name="T86" fmla="*/ 197 w 395"/>
                  <a:gd name="T87" fmla="*/ 357 h 395"/>
                  <a:gd name="T88" fmla="*/ 235 w 395"/>
                  <a:gd name="T89" fmla="*/ 391 h 395"/>
                  <a:gd name="T90" fmla="*/ 237 w 395"/>
                  <a:gd name="T91" fmla="*/ 394 h 395"/>
                  <a:gd name="T92" fmla="*/ 240 w 395"/>
                  <a:gd name="T93" fmla="*/ 395 h 395"/>
                  <a:gd name="T94" fmla="*/ 241 w 395"/>
                  <a:gd name="T95" fmla="*/ 395 h 395"/>
                  <a:gd name="T96" fmla="*/ 305 w 395"/>
                  <a:gd name="T97" fmla="*/ 368 h 395"/>
                  <a:gd name="T98" fmla="*/ 308 w 395"/>
                  <a:gd name="T99" fmla="*/ 365 h 395"/>
                  <a:gd name="T100" fmla="*/ 307 w 395"/>
                  <a:gd name="T101" fmla="*/ 361 h 395"/>
                  <a:gd name="T102" fmla="*/ 309 w 395"/>
                  <a:gd name="T103" fmla="*/ 310 h 395"/>
                  <a:gd name="T104" fmla="*/ 360 w 395"/>
                  <a:gd name="T105" fmla="*/ 307 h 395"/>
                  <a:gd name="T106" fmla="*/ 364 w 395"/>
                  <a:gd name="T107" fmla="*/ 308 h 395"/>
                  <a:gd name="T108" fmla="*/ 368 w 395"/>
                  <a:gd name="T109" fmla="*/ 306 h 395"/>
                  <a:gd name="T110" fmla="*/ 395 w 395"/>
                  <a:gd name="T111" fmla="*/ 241 h 395"/>
                  <a:gd name="T112" fmla="*/ 394 w 395"/>
                  <a:gd name="T113" fmla="*/ 237 h 395"/>
                  <a:gd name="T114" fmla="*/ 390 w 395"/>
                  <a:gd name="T115" fmla="*/ 23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5" h="395">
                    <a:moveTo>
                      <a:pt x="390" y="235"/>
                    </a:moveTo>
                    <a:cubicBezTo>
                      <a:pt x="371" y="233"/>
                      <a:pt x="356" y="217"/>
                      <a:pt x="356" y="197"/>
                    </a:cubicBezTo>
                    <a:cubicBezTo>
                      <a:pt x="356" y="178"/>
                      <a:pt x="370" y="162"/>
                      <a:pt x="390" y="160"/>
                    </a:cubicBezTo>
                    <a:cubicBezTo>
                      <a:pt x="391" y="160"/>
                      <a:pt x="393" y="159"/>
                      <a:pt x="393" y="158"/>
                    </a:cubicBezTo>
                    <a:cubicBezTo>
                      <a:pt x="394" y="157"/>
                      <a:pt x="395" y="155"/>
                      <a:pt x="394" y="154"/>
                    </a:cubicBezTo>
                    <a:cubicBezTo>
                      <a:pt x="389" y="131"/>
                      <a:pt x="380" y="109"/>
                      <a:pt x="367" y="89"/>
                    </a:cubicBezTo>
                    <a:cubicBezTo>
                      <a:pt x="367" y="88"/>
                      <a:pt x="365" y="87"/>
                      <a:pt x="364" y="87"/>
                    </a:cubicBezTo>
                    <a:cubicBezTo>
                      <a:pt x="363" y="87"/>
                      <a:pt x="361" y="87"/>
                      <a:pt x="360" y="88"/>
                    </a:cubicBezTo>
                    <a:cubicBezTo>
                      <a:pt x="345" y="100"/>
                      <a:pt x="323" y="99"/>
                      <a:pt x="309" y="85"/>
                    </a:cubicBezTo>
                    <a:cubicBezTo>
                      <a:pt x="295" y="72"/>
                      <a:pt x="294" y="50"/>
                      <a:pt x="306" y="35"/>
                    </a:cubicBezTo>
                    <a:cubicBezTo>
                      <a:pt x="307" y="33"/>
                      <a:pt x="307" y="32"/>
                      <a:pt x="307" y="31"/>
                    </a:cubicBezTo>
                    <a:cubicBezTo>
                      <a:pt x="307" y="29"/>
                      <a:pt x="306" y="28"/>
                      <a:pt x="305" y="27"/>
                    </a:cubicBezTo>
                    <a:cubicBezTo>
                      <a:pt x="286" y="15"/>
                      <a:pt x="264" y="5"/>
                      <a:pt x="241" y="1"/>
                    </a:cubicBezTo>
                    <a:cubicBezTo>
                      <a:pt x="240" y="0"/>
                      <a:pt x="239" y="1"/>
                      <a:pt x="237" y="1"/>
                    </a:cubicBezTo>
                    <a:cubicBezTo>
                      <a:pt x="236" y="2"/>
                      <a:pt x="235" y="3"/>
                      <a:pt x="235" y="5"/>
                    </a:cubicBezTo>
                    <a:cubicBezTo>
                      <a:pt x="233" y="24"/>
                      <a:pt x="217" y="39"/>
                      <a:pt x="198" y="39"/>
                    </a:cubicBezTo>
                    <a:cubicBezTo>
                      <a:pt x="179" y="39"/>
                      <a:pt x="162" y="25"/>
                      <a:pt x="160" y="5"/>
                    </a:cubicBezTo>
                    <a:cubicBezTo>
                      <a:pt x="160" y="3"/>
                      <a:pt x="159" y="2"/>
                      <a:pt x="158" y="1"/>
                    </a:cubicBezTo>
                    <a:cubicBezTo>
                      <a:pt x="157" y="1"/>
                      <a:pt x="155" y="0"/>
                      <a:pt x="154" y="1"/>
                    </a:cubicBezTo>
                    <a:cubicBezTo>
                      <a:pt x="131" y="5"/>
                      <a:pt x="109" y="15"/>
                      <a:pt x="89" y="27"/>
                    </a:cubicBezTo>
                    <a:cubicBezTo>
                      <a:pt x="88" y="28"/>
                      <a:pt x="87" y="29"/>
                      <a:pt x="87" y="31"/>
                    </a:cubicBezTo>
                    <a:cubicBezTo>
                      <a:pt x="86" y="32"/>
                      <a:pt x="87" y="33"/>
                      <a:pt x="88" y="35"/>
                    </a:cubicBezTo>
                    <a:cubicBezTo>
                      <a:pt x="100" y="50"/>
                      <a:pt x="99" y="71"/>
                      <a:pt x="85" y="85"/>
                    </a:cubicBezTo>
                    <a:cubicBezTo>
                      <a:pt x="71" y="99"/>
                      <a:pt x="49" y="100"/>
                      <a:pt x="34" y="88"/>
                    </a:cubicBezTo>
                    <a:cubicBezTo>
                      <a:pt x="33" y="87"/>
                      <a:pt x="32" y="87"/>
                      <a:pt x="30" y="87"/>
                    </a:cubicBezTo>
                    <a:cubicBezTo>
                      <a:pt x="29" y="87"/>
                      <a:pt x="27" y="88"/>
                      <a:pt x="27" y="89"/>
                    </a:cubicBezTo>
                    <a:cubicBezTo>
                      <a:pt x="15" y="109"/>
                      <a:pt x="5" y="131"/>
                      <a:pt x="1" y="153"/>
                    </a:cubicBezTo>
                    <a:cubicBezTo>
                      <a:pt x="0" y="155"/>
                      <a:pt x="1" y="156"/>
                      <a:pt x="1" y="157"/>
                    </a:cubicBezTo>
                    <a:cubicBezTo>
                      <a:pt x="2" y="159"/>
                      <a:pt x="3" y="159"/>
                      <a:pt x="5" y="159"/>
                    </a:cubicBezTo>
                    <a:cubicBezTo>
                      <a:pt x="24" y="161"/>
                      <a:pt x="39" y="178"/>
                      <a:pt x="39" y="197"/>
                    </a:cubicBezTo>
                    <a:cubicBezTo>
                      <a:pt x="39" y="216"/>
                      <a:pt x="25" y="233"/>
                      <a:pt x="5" y="235"/>
                    </a:cubicBezTo>
                    <a:cubicBezTo>
                      <a:pt x="3" y="235"/>
                      <a:pt x="2" y="235"/>
                      <a:pt x="1" y="237"/>
                    </a:cubicBezTo>
                    <a:cubicBezTo>
                      <a:pt x="1" y="238"/>
                      <a:pt x="0" y="239"/>
                      <a:pt x="1" y="241"/>
                    </a:cubicBezTo>
                    <a:cubicBezTo>
                      <a:pt x="5" y="264"/>
                      <a:pt x="15" y="286"/>
                      <a:pt x="27" y="306"/>
                    </a:cubicBezTo>
                    <a:cubicBezTo>
                      <a:pt x="28" y="307"/>
                      <a:pt x="29" y="308"/>
                      <a:pt x="31" y="308"/>
                    </a:cubicBezTo>
                    <a:cubicBezTo>
                      <a:pt x="32" y="309"/>
                      <a:pt x="33" y="308"/>
                      <a:pt x="35" y="307"/>
                    </a:cubicBezTo>
                    <a:cubicBezTo>
                      <a:pt x="50" y="295"/>
                      <a:pt x="71" y="296"/>
                      <a:pt x="85" y="310"/>
                    </a:cubicBezTo>
                    <a:cubicBezTo>
                      <a:pt x="99" y="323"/>
                      <a:pt x="100" y="345"/>
                      <a:pt x="88" y="361"/>
                    </a:cubicBezTo>
                    <a:cubicBezTo>
                      <a:pt x="87" y="362"/>
                      <a:pt x="87" y="363"/>
                      <a:pt x="87" y="365"/>
                    </a:cubicBezTo>
                    <a:cubicBezTo>
                      <a:pt x="87" y="366"/>
                      <a:pt x="88" y="367"/>
                      <a:pt x="89" y="368"/>
                    </a:cubicBezTo>
                    <a:cubicBezTo>
                      <a:pt x="109" y="381"/>
                      <a:pt x="131" y="390"/>
                      <a:pt x="154" y="395"/>
                    </a:cubicBezTo>
                    <a:cubicBezTo>
                      <a:pt x="155" y="395"/>
                      <a:pt x="157" y="395"/>
                      <a:pt x="158" y="394"/>
                    </a:cubicBezTo>
                    <a:cubicBezTo>
                      <a:pt x="159" y="393"/>
                      <a:pt x="160" y="392"/>
                      <a:pt x="160" y="391"/>
                    </a:cubicBezTo>
                    <a:cubicBezTo>
                      <a:pt x="162" y="371"/>
                      <a:pt x="178" y="357"/>
                      <a:pt x="197" y="357"/>
                    </a:cubicBezTo>
                    <a:cubicBezTo>
                      <a:pt x="217" y="357"/>
                      <a:pt x="233" y="371"/>
                      <a:pt x="235" y="391"/>
                    </a:cubicBezTo>
                    <a:cubicBezTo>
                      <a:pt x="235" y="392"/>
                      <a:pt x="236" y="393"/>
                      <a:pt x="237" y="394"/>
                    </a:cubicBezTo>
                    <a:cubicBezTo>
                      <a:pt x="238" y="395"/>
                      <a:pt x="239" y="395"/>
                      <a:pt x="240" y="395"/>
                    </a:cubicBezTo>
                    <a:cubicBezTo>
                      <a:pt x="240" y="395"/>
                      <a:pt x="241" y="395"/>
                      <a:pt x="241" y="395"/>
                    </a:cubicBezTo>
                    <a:cubicBezTo>
                      <a:pt x="264" y="390"/>
                      <a:pt x="285" y="381"/>
                      <a:pt x="305" y="368"/>
                    </a:cubicBezTo>
                    <a:cubicBezTo>
                      <a:pt x="307" y="367"/>
                      <a:pt x="307" y="366"/>
                      <a:pt x="308" y="365"/>
                    </a:cubicBezTo>
                    <a:cubicBezTo>
                      <a:pt x="308" y="363"/>
                      <a:pt x="308" y="362"/>
                      <a:pt x="307" y="361"/>
                    </a:cubicBezTo>
                    <a:cubicBezTo>
                      <a:pt x="295" y="345"/>
                      <a:pt x="296" y="324"/>
                      <a:pt x="309" y="310"/>
                    </a:cubicBezTo>
                    <a:cubicBezTo>
                      <a:pt x="323" y="296"/>
                      <a:pt x="345" y="295"/>
                      <a:pt x="360" y="307"/>
                    </a:cubicBezTo>
                    <a:cubicBezTo>
                      <a:pt x="361" y="308"/>
                      <a:pt x="363" y="308"/>
                      <a:pt x="364" y="308"/>
                    </a:cubicBezTo>
                    <a:cubicBezTo>
                      <a:pt x="366" y="308"/>
                      <a:pt x="367" y="307"/>
                      <a:pt x="368" y="306"/>
                    </a:cubicBezTo>
                    <a:cubicBezTo>
                      <a:pt x="381" y="286"/>
                      <a:pt x="389" y="264"/>
                      <a:pt x="395" y="241"/>
                    </a:cubicBezTo>
                    <a:cubicBezTo>
                      <a:pt x="395" y="240"/>
                      <a:pt x="395" y="239"/>
                      <a:pt x="394" y="237"/>
                    </a:cubicBezTo>
                    <a:cubicBezTo>
                      <a:pt x="393" y="236"/>
                      <a:pt x="391" y="235"/>
                      <a:pt x="390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1" name="Freeform 154">
                <a:extLst>
                  <a:ext uri="{FF2B5EF4-FFF2-40B4-BE49-F238E27FC236}">
                    <a16:creationId xmlns:a16="http://schemas.microsoft.com/office/drawing/2014/main" xmlns="" id="{7B4A94FA-14F2-4B07-85A1-E0BA8EA9C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775"/>
                <a:ext cx="525" cy="527"/>
              </a:xfrm>
              <a:custGeom>
                <a:avLst/>
                <a:gdLst>
                  <a:gd name="T0" fmla="*/ 124 w 249"/>
                  <a:gd name="T1" fmla="*/ 0 h 250"/>
                  <a:gd name="T2" fmla="*/ 0 w 249"/>
                  <a:gd name="T3" fmla="*/ 124 h 250"/>
                  <a:gd name="T4" fmla="*/ 124 w 249"/>
                  <a:gd name="T5" fmla="*/ 250 h 250"/>
                  <a:gd name="T6" fmla="*/ 249 w 249"/>
                  <a:gd name="T7" fmla="*/ 124 h 250"/>
                  <a:gd name="T8" fmla="*/ 124 w 249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50">
                    <a:moveTo>
                      <a:pt x="124" y="0"/>
                    </a:moveTo>
                    <a:cubicBezTo>
                      <a:pt x="56" y="0"/>
                      <a:pt x="0" y="56"/>
                      <a:pt x="0" y="124"/>
                    </a:cubicBezTo>
                    <a:cubicBezTo>
                      <a:pt x="0" y="193"/>
                      <a:pt x="56" y="250"/>
                      <a:pt x="124" y="250"/>
                    </a:cubicBezTo>
                    <a:cubicBezTo>
                      <a:pt x="193" y="250"/>
                      <a:pt x="249" y="194"/>
                      <a:pt x="249" y="124"/>
                    </a:cubicBezTo>
                    <a:cubicBezTo>
                      <a:pt x="249" y="55"/>
                      <a:pt x="193" y="0"/>
                      <a:pt x="12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2" name="Oval 155">
                <a:extLst>
                  <a:ext uri="{FF2B5EF4-FFF2-40B4-BE49-F238E27FC236}">
                    <a16:creationId xmlns:a16="http://schemas.microsoft.com/office/drawing/2014/main" xmlns="" id="{3DCBF75E-CCF9-45D1-800C-63BE3C1559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962"/>
                <a:ext cx="149" cy="150"/>
              </a:xfrm>
              <a:prstGeom prst="ellipse">
                <a:avLst/>
              </a:pr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396" name="Group 152">
              <a:extLst>
                <a:ext uri="{FF2B5EF4-FFF2-40B4-BE49-F238E27FC236}">
                  <a16:creationId xmlns:a16="http://schemas.microsoft.com/office/drawing/2014/main" xmlns="" id="{9261A866-FB52-43E8-98BD-E43E293770E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0924618">
              <a:off x="6106195" y="3100766"/>
              <a:ext cx="321358" cy="321358"/>
              <a:chOff x="887" y="621"/>
              <a:chExt cx="833" cy="833"/>
            </a:xfrm>
          </p:grpSpPr>
          <p:sp>
            <p:nvSpPr>
              <p:cNvPr id="397" name="Freeform 153">
                <a:extLst>
                  <a:ext uri="{FF2B5EF4-FFF2-40B4-BE49-F238E27FC236}">
                    <a16:creationId xmlns:a16="http://schemas.microsoft.com/office/drawing/2014/main" xmlns="" id="{487B1C57-F232-4DA4-8A1D-E5F72DC6E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" y="621"/>
                <a:ext cx="833" cy="833"/>
              </a:xfrm>
              <a:custGeom>
                <a:avLst/>
                <a:gdLst>
                  <a:gd name="T0" fmla="*/ 390 w 395"/>
                  <a:gd name="T1" fmla="*/ 235 h 395"/>
                  <a:gd name="T2" fmla="*/ 356 w 395"/>
                  <a:gd name="T3" fmla="*/ 197 h 395"/>
                  <a:gd name="T4" fmla="*/ 390 w 395"/>
                  <a:gd name="T5" fmla="*/ 160 h 395"/>
                  <a:gd name="T6" fmla="*/ 393 w 395"/>
                  <a:gd name="T7" fmla="*/ 158 h 395"/>
                  <a:gd name="T8" fmla="*/ 394 w 395"/>
                  <a:gd name="T9" fmla="*/ 154 h 395"/>
                  <a:gd name="T10" fmla="*/ 367 w 395"/>
                  <a:gd name="T11" fmla="*/ 89 h 395"/>
                  <a:gd name="T12" fmla="*/ 364 w 395"/>
                  <a:gd name="T13" fmla="*/ 87 h 395"/>
                  <a:gd name="T14" fmla="*/ 360 w 395"/>
                  <a:gd name="T15" fmla="*/ 88 h 395"/>
                  <a:gd name="T16" fmla="*/ 309 w 395"/>
                  <a:gd name="T17" fmla="*/ 85 h 395"/>
                  <a:gd name="T18" fmla="*/ 306 w 395"/>
                  <a:gd name="T19" fmla="*/ 35 h 395"/>
                  <a:gd name="T20" fmla="*/ 307 w 395"/>
                  <a:gd name="T21" fmla="*/ 31 h 395"/>
                  <a:gd name="T22" fmla="*/ 305 w 395"/>
                  <a:gd name="T23" fmla="*/ 27 h 395"/>
                  <a:gd name="T24" fmla="*/ 241 w 395"/>
                  <a:gd name="T25" fmla="*/ 1 h 395"/>
                  <a:gd name="T26" fmla="*/ 237 w 395"/>
                  <a:gd name="T27" fmla="*/ 1 h 395"/>
                  <a:gd name="T28" fmla="*/ 235 w 395"/>
                  <a:gd name="T29" fmla="*/ 5 h 395"/>
                  <a:gd name="T30" fmla="*/ 198 w 395"/>
                  <a:gd name="T31" fmla="*/ 39 h 395"/>
                  <a:gd name="T32" fmla="*/ 160 w 395"/>
                  <a:gd name="T33" fmla="*/ 5 h 395"/>
                  <a:gd name="T34" fmla="*/ 158 w 395"/>
                  <a:gd name="T35" fmla="*/ 1 h 395"/>
                  <a:gd name="T36" fmla="*/ 154 w 395"/>
                  <a:gd name="T37" fmla="*/ 1 h 395"/>
                  <a:gd name="T38" fmla="*/ 89 w 395"/>
                  <a:gd name="T39" fmla="*/ 27 h 395"/>
                  <a:gd name="T40" fmla="*/ 87 w 395"/>
                  <a:gd name="T41" fmla="*/ 31 h 395"/>
                  <a:gd name="T42" fmla="*/ 88 w 395"/>
                  <a:gd name="T43" fmla="*/ 35 h 395"/>
                  <a:gd name="T44" fmla="*/ 85 w 395"/>
                  <a:gd name="T45" fmla="*/ 85 h 395"/>
                  <a:gd name="T46" fmla="*/ 34 w 395"/>
                  <a:gd name="T47" fmla="*/ 88 h 395"/>
                  <a:gd name="T48" fmla="*/ 30 w 395"/>
                  <a:gd name="T49" fmla="*/ 87 h 395"/>
                  <a:gd name="T50" fmla="*/ 27 w 395"/>
                  <a:gd name="T51" fmla="*/ 89 h 395"/>
                  <a:gd name="T52" fmla="*/ 1 w 395"/>
                  <a:gd name="T53" fmla="*/ 153 h 395"/>
                  <a:gd name="T54" fmla="*/ 1 w 395"/>
                  <a:gd name="T55" fmla="*/ 157 h 395"/>
                  <a:gd name="T56" fmla="*/ 5 w 395"/>
                  <a:gd name="T57" fmla="*/ 159 h 395"/>
                  <a:gd name="T58" fmla="*/ 39 w 395"/>
                  <a:gd name="T59" fmla="*/ 197 h 395"/>
                  <a:gd name="T60" fmla="*/ 5 w 395"/>
                  <a:gd name="T61" fmla="*/ 235 h 395"/>
                  <a:gd name="T62" fmla="*/ 1 w 395"/>
                  <a:gd name="T63" fmla="*/ 237 h 395"/>
                  <a:gd name="T64" fmla="*/ 1 w 395"/>
                  <a:gd name="T65" fmla="*/ 241 h 395"/>
                  <a:gd name="T66" fmla="*/ 27 w 395"/>
                  <a:gd name="T67" fmla="*/ 306 h 395"/>
                  <a:gd name="T68" fmla="*/ 31 w 395"/>
                  <a:gd name="T69" fmla="*/ 308 h 395"/>
                  <a:gd name="T70" fmla="*/ 35 w 395"/>
                  <a:gd name="T71" fmla="*/ 307 h 395"/>
                  <a:gd name="T72" fmla="*/ 85 w 395"/>
                  <a:gd name="T73" fmla="*/ 310 h 395"/>
                  <a:gd name="T74" fmla="*/ 88 w 395"/>
                  <a:gd name="T75" fmla="*/ 361 h 395"/>
                  <a:gd name="T76" fmla="*/ 87 w 395"/>
                  <a:gd name="T77" fmla="*/ 365 h 395"/>
                  <a:gd name="T78" fmla="*/ 89 w 395"/>
                  <a:gd name="T79" fmla="*/ 368 h 395"/>
                  <a:gd name="T80" fmla="*/ 154 w 395"/>
                  <a:gd name="T81" fmla="*/ 395 h 395"/>
                  <a:gd name="T82" fmla="*/ 158 w 395"/>
                  <a:gd name="T83" fmla="*/ 394 h 395"/>
                  <a:gd name="T84" fmla="*/ 160 w 395"/>
                  <a:gd name="T85" fmla="*/ 391 h 395"/>
                  <a:gd name="T86" fmla="*/ 197 w 395"/>
                  <a:gd name="T87" fmla="*/ 357 h 395"/>
                  <a:gd name="T88" fmla="*/ 235 w 395"/>
                  <a:gd name="T89" fmla="*/ 391 h 395"/>
                  <a:gd name="T90" fmla="*/ 237 w 395"/>
                  <a:gd name="T91" fmla="*/ 394 h 395"/>
                  <a:gd name="T92" fmla="*/ 240 w 395"/>
                  <a:gd name="T93" fmla="*/ 395 h 395"/>
                  <a:gd name="T94" fmla="*/ 241 w 395"/>
                  <a:gd name="T95" fmla="*/ 395 h 395"/>
                  <a:gd name="T96" fmla="*/ 305 w 395"/>
                  <a:gd name="T97" fmla="*/ 368 h 395"/>
                  <a:gd name="T98" fmla="*/ 308 w 395"/>
                  <a:gd name="T99" fmla="*/ 365 h 395"/>
                  <a:gd name="T100" fmla="*/ 307 w 395"/>
                  <a:gd name="T101" fmla="*/ 361 h 395"/>
                  <a:gd name="T102" fmla="*/ 309 w 395"/>
                  <a:gd name="T103" fmla="*/ 310 h 395"/>
                  <a:gd name="T104" fmla="*/ 360 w 395"/>
                  <a:gd name="T105" fmla="*/ 307 h 395"/>
                  <a:gd name="T106" fmla="*/ 364 w 395"/>
                  <a:gd name="T107" fmla="*/ 308 h 395"/>
                  <a:gd name="T108" fmla="*/ 368 w 395"/>
                  <a:gd name="T109" fmla="*/ 306 h 395"/>
                  <a:gd name="T110" fmla="*/ 395 w 395"/>
                  <a:gd name="T111" fmla="*/ 241 h 395"/>
                  <a:gd name="T112" fmla="*/ 394 w 395"/>
                  <a:gd name="T113" fmla="*/ 237 h 395"/>
                  <a:gd name="T114" fmla="*/ 390 w 395"/>
                  <a:gd name="T115" fmla="*/ 23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5" h="395">
                    <a:moveTo>
                      <a:pt x="390" y="235"/>
                    </a:moveTo>
                    <a:cubicBezTo>
                      <a:pt x="371" y="233"/>
                      <a:pt x="356" y="217"/>
                      <a:pt x="356" y="197"/>
                    </a:cubicBezTo>
                    <a:cubicBezTo>
                      <a:pt x="356" y="178"/>
                      <a:pt x="370" y="162"/>
                      <a:pt x="390" y="160"/>
                    </a:cubicBezTo>
                    <a:cubicBezTo>
                      <a:pt x="391" y="160"/>
                      <a:pt x="393" y="159"/>
                      <a:pt x="393" y="158"/>
                    </a:cubicBezTo>
                    <a:cubicBezTo>
                      <a:pt x="394" y="157"/>
                      <a:pt x="395" y="155"/>
                      <a:pt x="394" y="154"/>
                    </a:cubicBezTo>
                    <a:cubicBezTo>
                      <a:pt x="389" y="131"/>
                      <a:pt x="380" y="109"/>
                      <a:pt x="367" y="89"/>
                    </a:cubicBezTo>
                    <a:cubicBezTo>
                      <a:pt x="367" y="88"/>
                      <a:pt x="365" y="87"/>
                      <a:pt x="364" y="87"/>
                    </a:cubicBezTo>
                    <a:cubicBezTo>
                      <a:pt x="363" y="87"/>
                      <a:pt x="361" y="87"/>
                      <a:pt x="360" y="88"/>
                    </a:cubicBezTo>
                    <a:cubicBezTo>
                      <a:pt x="345" y="100"/>
                      <a:pt x="323" y="99"/>
                      <a:pt x="309" y="85"/>
                    </a:cubicBezTo>
                    <a:cubicBezTo>
                      <a:pt x="295" y="72"/>
                      <a:pt x="294" y="50"/>
                      <a:pt x="306" y="35"/>
                    </a:cubicBezTo>
                    <a:cubicBezTo>
                      <a:pt x="307" y="33"/>
                      <a:pt x="307" y="32"/>
                      <a:pt x="307" y="31"/>
                    </a:cubicBezTo>
                    <a:cubicBezTo>
                      <a:pt x="307" y="29"/>
                      <a:pt x="306" y="28"/>
                      <a:pt x="305" y="27"/>
                    </a:cubicBezTo>
                    <a:cubicBezTo>
                      <a:pt x="286" y="15"/>
                      <a:pt x="264" y="5"/>
                      <a:pt x="241" y="1"/>
                    </a:cubicBezTo>
                    <a:cubicBezTo>
                      <a:pt x="240" y="0"/>
                      <a:pt x="239" y="1"/>
                      <a:pt x="237" y="1"/>
                    </a:cubicBezTo>
                    <a:cubicBezTo>
                      <a:pt x="236" y="2"/>
                      <a:pt x="235" y="3"/>
                      <a:pt x="235" y="5"/>
                    </a:cubicBezTo>
                    <a:cubicBezTo>
                      <a:pt x="233" y="24"/>
                      <a:pt x="217" y="39"/>
                      <a:pt x="198" y="39"/>
                    </a:cubicBezTo>
                    <a:cubicBezTo>
                      <a:pt x="179" y="39"/>
                      <a:pt x="162" y="25"/>
                      <a:pt x="160" y="5"/>
                    </a:cubicBezTo>
                    <a:cubicBezTo>
                      <a:pt x="160" y="3"/>
                      <a:pt x="159" y="2"/>
                      <a:pt x="158" y="1"/>
                    </a:cubicBezTo>
                    <a:cubicBezTo>
                      <a:pt x="157" y="1"/>
                      <a:pt x="155" y="0"/>
                      <a:pt x="154" y="1"/>
                    </a:cubicBezTo>
                    <a:cubicBezTo>
                      <a:pt x="131" y="5"/>
                      <a:pt x="109" y="15"/>
                      <a:pt x="89" y="27"/>
                    </a:cubicBezTo>
                    <a:cubicBezTo>
                      <a:pt x="88" y="28"/>
                      <a:pt x="87" y="29"/>
                      <a:pt x="87" y="31"/>
                    </a:cubicBezTo>
                    <a:cubicBezTo>
                      <a:pt x="86" y="32"/>
                      <a:pt x="87" y="33"/>
                      <a:pt x="88" y="35"/>
                    </a:cubicBezTo>
                    <a:cubicBezTo>
                      <a:pt x="100" y="50"/>
                      <a:pt x="99" y="71"/>
                      <a:pt x="85" y="85"/>
                    </a:cubicBezTo>
                    <a:cubicBezTo>
                      <a:pt x="71" y="99"/>
                      <a:pt x="49" y="100"/>
                      <a:pt x="34" y="88"/>
                    </a:cubicBezTo>
                    <a:cubicBezTo>
                      <a:pt x="33" y="87"/>
                      <a:pt x="32" y="87"/>
                      <a:pt x="30" y="87"/>
                    </a:cubicBezTo>
                    <a:cubicBezTo>
                      <a:pt x="29" y="87"/>
                      <a:pt x="27" y="88"/>
                      <a:pt x="27" y="89"/>
                    </a:cubicBezTo>
                    <a:cubicBezTo>
                      <a:pt x="15" y="109"/>
                      <a:pt x="5" y="131"/>
                      <a:pt x="1" y="153"/>
                    </a:cubicBezTo>
                    <a:cubicBezTo>
                      <a:pt x="0" y="155"/>
                      <a:pt x="1" y="156"/>
                      <a:pt x="1" y="157"/>
                    </a:cubicBezTo>
                    <a:cubicBezTo>
                      <a:pt x="2" y="159"/>
                      <a:pt x="3" y="159"/>
                      <a:pt x="5" y="159"/>
                    </a:cubicBezTo>
                    <a:cubicBezTo>
                      <a:pt x="24" y="161"/>
                      <a:pt x="39" y="178"/>
                      <a:pt x="39" y="197"/>
                    </a:cubicBezTo>
                    <a:cubicBezTo>
                      <a:pt x="39" y="216"/>
                      <a:pt x="25" y="233"/>
                      <a:pt x="5" y="235"/>
                    </a:cubicBezTo>
                    <a:cubicBezTo>
                      <a:pt x="3" y="235"/>
                      <a:pt x="2" y="235"/>
                      <a:pt x="1" y="237"/>
                    </a:cubicBezTo>
                    <a:cubicBezTo>
                      <a:pt x="1" y="238"/>
                      <a:pt x="0" y="239"/>
                      <a:pt x="1" y="241"/>
                    </a:cubicBezTo>
                    <a:cubicBezTo>
                      <a:pt x="5" y="264"/>
                      <a:pt x="15" y="286"/>
                      <a:pt x="27" y="306"/>
                    </a:cubicBezTo>
                    <a:cubicBezTo>
                      <a:pt x="28" y="307"/>
                      <a:pt x="29" y="308"/>
                      <a:pt x="31" y="308"/>
                    </a:cubicBezTo>
                    <a:cubicBezTo>
                      <a:pt x="32" y="309"/>
                      <a:pt x="33" y="308"/>
                      <a:pt x="35" y="307"/>
                    </a:cubicBezTo>
                    <a:cubicBezTo>
                      <a:pt x="50" y="295"/>
                      <a:pt x="71" y="296"/>
                      <a:pt x="85" y="310"/>
                    </a:cubicBezTo>
                    <a:cubicBezTo>
                      <a:pt x="99" y="323"/>
                      <a:pt x="100" y="345"/>
                      <a:pt x="88" y="361"/>
                    </a:cubicBezTo>
                    <a:cubicBezTo>
                      <a:pt x="87" y="362"/>
                      <a:pt x="87" y="363"/>
                      <a:pt x="87" y="365"/>
                    </a:cubicBezTo>
                    <a:cubicBezTo>
                      <a:pt x="87" y="366"/>
                      <a:pt x="88" y="367"/>
                      <a:pt x="89" y="368"/>
                    </a:cubicBezTo>
                    <a:cubicBezTo>
                      <a:pt x="109" y="381"/>
                      <a:pt x="131" y="390"/>
                      <a:pt x="154" y="395"/>
                    </a:cubicBezTo>
                    <a:cubicBezTo>
                      <a:pt x="155" y="395"/>
                      <a:pt x="157" y="395"/>
                      <a:pt x="158" y="394"/>
                    </a:cubicBezTo>
                    <a:cubicBezTo>
                      <a:pt x="159" y="393"/>
                      <a:pt x="160" y="392"/>
                      <a:pt x="160" y="391"/>
                    </a:cubicBezTo>
                    <a:cubicBezTo>
                      <a:pt x="162" y="371"/>
                      <a:pt x="178" y="357"/>
                      <a:pt x="197" y="357"/>
                    </a:cubicBezTo>
                    <a:cubicBezTo>
                      <a:pt x="217" y="357"/>
                      <a:pt x="233" y="371"/>
                      <a:pt x="235" y="391"/>
                    </a:cubicBezTo>
                    <a:cubicBezTo>
                      <a:pt x="235" y="392"/>
                      <a:pt x="236" y="393"/>
                      <a:pt x="237" y="394"/>
                    </a:cubicBezTo>
                    <a:cubicBezTo>
                      <a:pt x="238" y="395"/>
                      <a:pt x="239" y="395"/>
                      <a:pt x="240" y="395"/>
                    </a:cubicBezTo>
                    <a:cubicBezTo>
                      <a:pt x="240" y="395"/>
                      <a:pt x="241" y="395"/>
                      <a:pt x="241" y="395"/>
                    </a:cubicBezTo>
                    <a:cubicBezTo>
                      <a:pt x="264" y="390"/>
                      <a:pt x="285" y="381"/>
                      <a:pt x="305" y="368"/>
                    </a:cubicBezTo>
                    <a:cubicBezTo>
                      <a:pt x="307" y="367"/>
                      <a:pt x="307" y="366"/>
                      <a:pt x="308" y="365"/>
                    </a:cubicBezTo>
                    <a:cubicBezTo>
                      <a:pt x="308" y="363"/>
                      <a:pt x="308" y="362"/>
                      <a:pt x="307" y="361"/>
                    </a:cubicBezTo>
                    <a:cubicBezTo>
                      <a:pt x="295" y="345"/>
                      <a:pt x="296" y="324"/>
                      <a:pt x="309" y="310"/>
                    </a:cubicBezTo>
                    <a:cubicBezTo>
                      <a:pt x="323" y="296"/>
                      <a:pt x="345" y="295"/>
                      <a:pt x="360" y="307"/>
                    </a:cubicBezTo>
                    <a:cubicBezTo>
                      <a:pt x="361" y="308"/>
                      <a:pt x="363" y="308"/>
                      <a:pt x="364" y="308"/>
                    </a:cubicBezTo>
                    <a:cubicBezTo>
                      <a:pt x="366" y="308"/>
                      <a:pt x="367" y="307"/>
                      <a:pt x="368" y="306"/>
                    </a:cubicBezTo>
                    <a:cubicBezTo>
                      <a:pt x="381" y="286"/>
                      <a:pt x="389" y="264"/>
                      <a:pt x="395" y="241"/>
                    </a:cubicBezTo>
                    <a:cubicBezTo>
                      <a:pt x="395" y="240"/>
                      <a:pt x="395" y="239"/>
                      <a:pt x="394" y="237"/>
                    </a:cubicBezTo>
                    <a:cubicBezTo>
                      <a:pt x="393" y="236"/>
                      <a:pt x="391" y="235"/>
                      <a:pt x="390" y="235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8" name="Freeform 154">
                <a:extLst>
                  <a:ext uri="{FF2B5EF4-FFF2-40B4-BE49-F238E27FC236}">
                    <a16:creationId xmlns:a16="http://schemas.microsoft.com/office/drawing/2014/main" xmlns="" id="{D54DBBA0-9ED1-49E3-BCD3-502C5843B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775"/>
                <a:ext cx="525" cy="527"/>
              </a:xfrm>
              <a:custGeom>
                <a:avLst/>
                <a:gdLst>
                  <a:gd name="T0" fmla="*/ 124 w 249"/>
                  <a:gd name="T1" fmla="*/ 0 h 250"/>
                  <a:gd name="T2" fmla="*/ 0 w 249"/>
                  <a:gd name="T3" fmla="*/ 124 h 250"/>
                  <a:gd name="T4" fmla="*/ 124 w 249"/>
                  <a:gd name="T5" fmla="*/ 250 h 250"/>
                  <a:gd name="T6" fmla="*/ 249 w 249"/>
                  <a:gd name="T7" fmla="*/ 124 h 250"/>
                  <a:gd name="T8" fmla="*/ 124 w 249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50">
                    <a:moveTo>
                      <a:pt x="124" y="0"/>
                    </a:moveTo>
                    <a:cubicBezTo>
                      <a:pt x="56" y="0"/>
                      <a:pt x="0" y="56"/>
                      <a:pt x="0" y="124"/>
                    </a:cubicBezTo>
                    <a:cubicBezTo>
                      <a:pt x="0" y="193"/>
                      <a:pt x="56" y="250"/>
                      <a:pt x="124" y="250"/>
                    </a:cubicBezTo>
                    <a:cubicBezTo>
                      <a:pt x="193" y="250"/>
                      <a:pt x="249" y="194"/>
                      <a:pt x="249" y="124"/>
                    </a:cubicBezTo>
                    <a:cubicBezTo>
                      <a:pt x="249" y="55"/>
                      <a:pt x="193" y="0"/>
                      <a:pt x="12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9" name="Oval 155">
                <a:extLst>
                  <a:ext uri="{FF2B5EF4-FFF2-40B4-BE49-F238E27FC236}">
                    <a16:creationId xmlns:a16="http://schemas.microsoft.com/office/drawing/2014/main" xmlns="" id="{F4CA0E45-3E22-4F94-8F4C-C778D7456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962"/>
                <a:ext cx="149" cy="150"/>
              </a:xfrm>
              <a:prstGeom prst="ellipse">
                <a:avLst/>
              </a:pr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403" name="Groupe 402">
            <a:extLst>
              <a:ext uri="{FF2B5EF4-FFF2-40B4-BE49-F238E27FC236}">
                <a16:creationId xmlns:a16="http://schemas.microsoft.com/office/drawing/2014/main" xmlns="" id="{1BB48EF6-E138-4AB1-A399-04E016A009B4}"/>
              </a:ext>
            </a:extLst>
          </p:cNvPr>
          <p:cNvGrpSpPr/>
          <p:nvPr/>
        </p:nvGrpSpPr>
        <p:grpSpPr>
          <a:xfrm>
            <a:off x="4760249" y="1714243"/>
            <a:ext cx="834188" cy="510010"/>
            <a:chOff x="5970060" y="2730006"/>
            <a:chExt cx="1120967" cy="685342"/>
          </a:xfrm>
        </p:grpSpPr>
        <p:grpSp>
          <p:nvGrpSpPr>
            <p:cNvPr id="418" name="Groupe 417">
              <a:extLst>
                <a:ext uri="{FF2B5EF4-FFF2-40B4-BE49-F238E27FC236}">
                  <a16:creationId xmlns:a16="http://schemas.microsoft.com/office/drawing/2014/main" xmlns="" id="{2074E410-F144-4BE5-A54F-A5256617D9A7}"/>
                </a:ext>
              </a:extLst>
            </p:cNvPr>
            <p:cNvGrpSpPr/>
            <p:nvPr/>
          </p:nvGrpSpPr>
          <p:grpSpPr>
            <a:xfrm>
              <a:off x="6228184" y="2730006"/>
              <a:ext cx="576064" cy="648072"/>
              <a:chOff x="611560" y="2139702"/>
              <a:chExt cx="576064" cy="648072"/>
            </a:xfrm>
          </p:grpSpPr>
          <p:sp>
            <p:nvSpPr>
              <p:cNvPr id="420" name="Rectangle : coins arrondis 419">
                <a:extLst>
                  <a:ext uri="{FF2B5EF4-FFF2-40B4-BE49-F238E27FC236}">
                    <a16:creationId xmlns:a16="http://schemas.microsoft.com/office/drawing/2014/main" xmlns="" id="{A8A8E209-85BA-410F-891B-2409C9F62656}"/>
                  </a:ext>
                </a:extLst>
              </p:cNvPr>
              <p:cNvSpPr/>
              <p:nvPr/>
            </p:nvSpPr>
            <p:spPr>
              <a:xfrm>
                <a:off x="611560" y="2571750"/>
                <a:ext cx="576064" cy="216024"/>
              </a:xfrm>
              <a:prstGeom prst="roundRect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21" name="Rectangle : coins arrondis 420">
                <a:extLst>
                  <a:ext uri="{FF2B5EF4-FFF2-40B4-BE49-F238E27FC236}">
                    <a16:creationId xmlns:a16="http://schemas.microsoft.com/office/drawing/2014/main" xmlns="" id="{B8C8D16C-5BF0-49BB-BBF6-0E216D73E252}"/>
                  </a:ext>
                </a:extLst>
              </p:cNvPr>
              <p:cNvSpPr/>
              <p:nvPr/>
            </p:nvSpPr>
            <p:spPr>
              <a:xfrm>
                <a:off x="611560" y="2355726"/>
                <a:ext cx="576064" cy="216024"/>
              </a:xfrm>
              <a:prstGeom prst="roundRect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22" name="Rectangle : coins arrondis 421">
                <a:extLst>
                  <a:ext uri="{FF2B5EF4-FFF2-40B4-BE49-F238E27FC236}">
                    <a16:creationId xmlns:a16="http://schemas.microsoft.com/office/drawing/2014/main" xmlns="" id="{7E094EC5-17FB-4FBF-B817-1CF597BDFD59}"/>
                  </a:ext>
                </a:extLst>
              </p:cNvPr>
              <p:cNvSpPr/>
              <p:nvPr/>
            </p:nvSpPr>
            <p:spPr>
              <a:xfrm>
                <a:off x="611560" y="2139702"/>
                <a:ext cx="576064" cy="216024"/>
              </a:xfrm>
              <a:prstGeom prst="roundRect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23" name="Ellipse 422">
                <a:extLst>
                  <a:ext uri="{FF2B5EF4-FFF2-40B4-BE49-F238E27FC236}">
                    <a16:creationId xmlns:a16="http://schemas.microsoft.com/office/drawing/2014/main" xmlns="" id="{729A5509-3A2D-44F0-96B1-9612A14E6608}"/>
                  </a:ext>
                </a:extLst>
              </p:cNvPr>
              <p:cNvSpPr/>
              <p:nvPr/>
            </p:nvSpPr>
            <p:spPr>
              <a:xfrm>
                <a:off x="683568" y="2201994"/>
                <a:ext cx="108012" cy="108012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424" name="Ellipse 423">
                <a:extLst>
                  <a:ext uri="{FF2B5EF4-FFF2-40B4-BE49-F238E27FC236}">
                    <a16:creationId xmlns:a16="http://schemas.microsoft.com/office/drawing/2014/main" xmlns="" id="{E1C71BB9-8674-44E3-AB6D-D6A964CDD671}"/>
                  </a:ext>
                </a:extLst>
              </p:cNvPr>
              <p:cNvSpPr/>
              <p:nvPr/>
            </p:nvSpPr>
            <p:spPr>
              <a:xfrm>
                <a:off x="683568" y="2413542"/>
                <a:ext cx="108012" cy="108012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/>
              </a:p>
            </p:txBody>
          </p:sp>
          <p:sp>
            <p:nvSpPr>
              <p:cNvPr id="425" name="Ellipse 424">
                <a:extLst>
                  <a:ext uri="{FF2B5EF4-FFF2-40B4-BE49-F238E27FC236}">
                    <a16:creationId xmlns:a16="http://schemas.microsoft.com/office/drawing/2014/main" xmlns="" id="{753AA6F1-F0B8-4BF5-B569-FCA67D27307F}"/>
                  </a:ext>
                </a:extLst>
              </p:cNvPr>
              <p:cNvSpPr/>
              <p:nvPr/>
            </p:nvSpPr>
            <p:spPr>
              <a:xfrm>
                <a:off x="683568" y="2625756"/>
                <a:ext cx="108012" cy="108012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/>
              </a:p>
            </p:txBody>
          </p:sp>
        </p:grpSp>
        <p:sp>
          <p:nvSpPr>
            <p:cNvPr id="419" name="Rectangle 418">
              <a:extLst>
                <a:ext uri="{FF2B5EF4-FFF2-40B4-BE49-F238E27FC236}">
                  <a16:creationId xmlns:a16="http://schemas.microsoft.com/office/drawing/2014/main" xmlns="" id="{AAD7BC9C-E9B9-4677-BE0E-E0548F070418}"/>
                </a:ext>
              </a:extLst>
            </p:cNvPr>
            <p:cNvSpPr/>
            <p:nvPr/>
          </p:nvSpPr>
          <p:spPr>
            <a:xfrm>
              <a:off x="5970060" y="3369629"/>
              <a:ext cx="1120967" cy="45719"/>
            </a:xfrm>
            <a:prstGeom prst="rect">
              <a:avLst/>
            </a:prstGeom>
            <a:blipFill dpi="0" rotWithShape="1">
              <a:blip r:embed="rId2">
                <a:alphaModFix amt="28000"/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26" name="Group 4">
            <a:extLst>
              <a:ext uri="{FF2B5EF4-FFF2-40B4-BE49-F238E27FC236}">
                <a16:creationId xmlns:a16="http://schemas.microsoft.com/office/drawing/2014/main" xmlns="" id="{0B4BD95A-0A0E-4B9E-AB23-88F11B2879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3594" y="1738241"/>
            <a:ext cx="463721" cy="475225"/>
            <a:chOff x="2901" y="-146"/>
            <a:chExt cx="1290" cy="1322"/>
          </a:xfrm>
        </p:grpSpPr>
        <p:sp>
          <p:nvSpPr>
            <p:cNvPr id="427" name="Freeform 5">
              <a:extLst>
                <a:ext uri="{FF2B5EF4-FFF2-40B4-BE49-F238E27FC236}">
                  <a16:creationId xmlns:a16="http://schemas.microsoft.com/office/drawing/2014/main" xmlns="" id="{A4EF94FD-E631-411A-8A12-B00B066BF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" y="16"/>
              <a:ext cx="264" cy="149"/>
            </a:xfrm>
            <a:custGeom>
              <a:avLst/>
              <a:gdLst>
                <a:gd name="T0" fmla="*/ 105 w 128"/>
                <a:gd name="T1" fmla="*/ 0 h 72"/>
                <a:gd name="T2" fmla="*/ 128 w 128"/>
                <a:gd name="T3" fmla="*/ 72 h 72"/>
                <a:gd name="T4" fmla="*/ 0 w 128"/>
                <a:gd name="T5" fmla="*/ 72 h 72"/>
                <a:gd name="T6" fmla="*/ 23 w 128"/>
                <a:gd name="T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72">
                  <a:moveTo>
                    <a:pt x="105" y="0"/>
                  </a:moveTo>
                  <a:cubicBezTo>
                    <a:pt x="119" y="17"/>
                    <a:pt x="128" y="43"/>
                    <a:pt x="128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43"/>
                    <a:pt x="9" y="17"/>
                    <a:pt x="23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8" name="Oval 6">
              <a:extLst>
                <a:ext uri="{FF2B5EF4-FFF2-40B4-BE49-F238E27FC236}">
                  <a16:creationId xmlns:a16="http://schemas.microsoft.com/office/drawing/2014/main" xmlns="" id="{5D123E12-AE87-483F-B5AD-FAD25EDBE5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9" y="-146"/>
              <a:ext cx="155" cy="154"/>
            </a:xfrm>
            <a:prstGeom prst="ellipse">
              <a:avLst/>
            </a:pr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9" name="Freeform 7">
              <a:extLst>
                <a:ext uri="{FF2B5EF4-FFF2-40B4-BE49-F238E27FC236}">
                  <a16:creationId xmlns:a16="http://schemas.microsoft.com/office/drawing/2014/main" xmlns="" id="{AFE79177-D9F2-4068-9401-FEE3ED9AA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" y="1026"/>
              <a:ext cx="264" cy="150"/>
            </a:xfrm>
            <a:custGeom>
              <a:avLst/>
              <a:gdLst>
                <a:gd name="T0" fmla="*/ 105 w 128"/>
                <a:gd name="T1" fmla="*/ 0 h 73"/>
                <a:gd name="T2" fmla="*/ 128 w 128"/>
                <a:gd name="T3" fmla="*/ 73 h 73"/>
                <a:gd name="T4" fmla="*/ 0 w 128"/>
                <a:gd name="T5" fmla="*/ 73 h 73"/>
                <a:gd name="T6" fmla="*/ 23 w 12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73">
                  <a:moveTo>
                    <a:pt x="105" y="0"/>
                  </a:moveTo>
                  <a:cubicBezTo>
                    <a:pt x="119" y="17"/>
                    <a:pt x="128" y="43"/>
                    <a:pt x="128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44"/>
                    <a:pt x="9" y="17"/>
                    <a:pt x="23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0" name="Oval 8">
              <a:extLst>
                <a:ext uri="{FF2B5EF4-FFF2-40B4-BE49-F238E27FC236}">
                  <a16:creationId xmlns:a16="http://schemas.microsoft.com/office/drawing/2014/main" xmlns="" id="{282C62E6-38B5-499D-847F-5A2F1E4C4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9" y="863"/>
              <a:ext cx="155" cy="155"/>
            </a:xfrm>
            <a:prstGeom prst="ellipse">
              <a:avLst/>
            </a:pr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1" name="Freeform 9">
              <a:extLst>
                <a:ext uri="{FF2B5EF4-FFF2-40B4-BE49-F238E27FC236}">
                  <a16:creationId xmlns:a16="http://schemas.microsoft.com/office/drawing/2014/main" xmlns="" id="{7DBA875E-14A9-4434-84D5-2BA6D8BD7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554"/>
              <a:ext cx="264" cy="151"/>
            </a:xfrm>
            <a:custGeom>
              <a:avLst/>
              <a:gdLst>
                <a:gd name="T0" fmla="*/ 105 w 128"/>
                <a:gd name="T1" fmla="*/ 0 h 73"/>
                <a:gd name="T2" fmla="*/ 128 w 128"/>
                <a:gd name="T3" fmla="*/ 73 h 73"/>
                <a:gd name="T4" fmla="*/ 0 w 128"/>
                <a:gd name="T5" fmla="*/ 73 h 73"/>
                <a:gd name="T6" fmla="*/ 22 w 12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73">
                  <a:moveTo>
                    <a:pt x="105" y="0"/>
                  </a:moveTo>
                  <a:cubicBezTo>
                    <a:pt x="119" y="18"/>
                    <a:pt x="128" y="44"/>
                    <a:pt x="128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44"/>
                    <a:pt x="9" y="18"/>
                    <a:pt x="22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2" name="Oval 10">
              <a:extLst>
                <a:ext uri="{FF2B5EF4-FFF2-40B4-BE49-F238E27FC236}">
                  <a16:creationId xmlns:a16="http://schemas.microsoft.com/office/drawing/2014/main" xmlns="" id="{71DED3E0-0441-42DA-8884-81D1201AF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0" y="393"/>
              <a:ext cx="155" cy="155"/>
            </a:xfrm>
            <a:prstGeom prst="ellipse">
              <a:avLst/>
            </a:pr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3" name="Freeform 11">
              <a:extLst>
                <a:ext uri="{FF2B5EF4-FFF2-40B4-BE49-F238E27FC236}">
                  <a16:creationId xmlns:a16="http://schemas.microsoft.com/office/drawing/2014/main" xmlns="" id="{E8B6CA01-BAAE-4976-B25F-17CC5DBC9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554"/>
              <a:ext cx="263" cy="151"/>
            </a:xfrm>
            <a:custGeom>
              <a:avLst/>
              <a:gdLst>
                <a:gd name="T0" fmla="*/ 105 w 128"/>
                <a:gd name="T1" fmla="*/ 0 h 73"/>
                <a:gd name="T2" fmla="*/ 128 w 128"/>
                <a:gd name="T3" fmla="*/ 73 h 73"/>
                <a:gd name="T4" fmla="*/ 0 w 128"/>
                <a:gd name="T5" fmla="*/ 73 h 73"/>
                <a:gd name="T6" fmla="*/ 23 w 12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73">
                  <a:moveTo>
                    <a:pt x="105" y="0"/>
                  </a:moveTo>
                  <a:cubicBezTo>
                    <a:pt x="119" y="18"/>
                    <a:pt x="128" y="44"/>
                    <a:pt x="128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44"/>
                    <a:pt x="9" y="18"/>
                    <a:pt x="23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4" name="Oval 12">
              <a:extLst>
                <a:ext uri="{FF2B5EF4-FFF2-40B4-BE49-F238E27FC236}">
                  <a16:creationId xmlns:a16="http://schemas.microsoft.com/office/drawing/2014/main" xmlns="" id="{322B31A8-B7CB-4335-8980-96BBB0939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4" y="393"/>
              <a:ext cx="155" cy="155"/>
            </a:xfrm>
            <a:prstGeom prst="ellipse">
              <a:avLst/>
            </a:pr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5" name="Freeform 13">
              <a:extLst>
                <a:ext uri="{FF2B5EF4-FFF2-40B4-BE49-F238E27FC236}">
                  <a16:creationId xmlns:a16="http://schemas.microsoft.com/office/drawing/2014/main" xmlns="" id="{6881200F-B34C-4FAF-8609-8376865A3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" y="777"/>
              <a:ext cx="270" cy="249"/>
            </a:xfrm>
            <a:custGeom>
              <a:avLst/>
              <a:gdLst>
                <a:gd name="T0" fmla="*/ 131 w 131"/>
                <a:gd name="T1" fmla="*/ 121 h 121"/>
                <a:gd name="T2" fmla="*/ 0 w 131"/>
                <a:gd name="T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1" h="121">
                  <a:moveTo>
                    <a:pt x="131" y="121"/>
                  </a:moveTo>
                  <a:cubicBezTo>
                    <a:pt x="74" y="98"/>
                    <a:pt x="27" y="54"/>
                    <a:pt x="0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6" name="Freeform 14">
              <a:extLst>
                <a:ext uri="{FF2B5EF4-FFF2-40B4-BE49-F238E27FC236}">
                  <a16:creationId xmlns:a16="http://schemas.microsoft.com/office/drawing/2014/main" xmlns="" id="{62036839-4B00-47B9-AA7C-0932CBE4D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" y="789"/>
              <a:ext cx="264" cy="237"/>
            </a:xfrm>
            <a:custGeom>
              <a:avLst/>
              <a:gdLst>
                <a:gd name="T0" fmla="*/ 128 w 128"/>
                <a:gd name="T1" fmla="*/ 0 h 115"/>
                <a:gd name="T2" fmla="*/ 0 w 128"/>
                <a:gd name="T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8" h="115">
                  <a:moveTo>
                    <a:pt x="128" y="0"/>
                  </a:moveTo>
                  <a:cubicBezTo>
                    <a:pt x="100" y="52"/>
                    <a:pt x="55" y="93"/>
                    <a:pt x="0" y="115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7" name="Freeform 15">
              <a:extLst>
                <a:ext uri="{FF2B5EF4-FFF2-40B4-BE49-F238E27FC236}">
                  <a16:creationId xmlns:a16="http://schemas.microsoft.com/office/drawing/2014/main" xmlns="" id="{EFFF7EBE-A5B8-4DC1-9270-0DA5A5374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7" y="53"/>
              <a:ext cx="290" cy="266"/>
            </a:xfrm>
            <a:custGeom>
              <a:avLst/>
              <a:gdLst>
                <a:gd name="T0" fmla="*/ 0 w 141"/>
                <a:gd name="T1" fmla="*/ 0 h 129"/>
                <a:gd name="T2" fmla="*/ 141 w 141"/>
                <a:gd name="T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1" h="129">
                  <a:moveTo>
                    <a:pt x="0" y="0"/>
                  </a:moveTo>
                  <a:cubicBezTo>
                    <a:pt x="62" y="23"/>
                    <a:pt x="113" y="70"/>
                    <a:pt x="141" y="129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8" name="Freeform 16">
              <a:extLst>
                <a:ext uri="{FF2B5EF4-FFF2-40B4-BE49-F238E27FC236}">
                  <a16:creationId xmlns:a16="http://schemas.microsoft.com/office/drawing/2014/main" xmlns="" id="{EA6B13FD-6CE0-4E49-A412-C5B6347D3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8" y="53"/>
              <a:ext cx="288" cy="264"/>
            </a:xfrm>
            <a:custGeom>
              <a:avLst/>
              <a:gdLst>
                <a:gd name="T0" fmla="*/ 0 w 140"/>
                <a:gd name="T1" fmla="*/ 128 h 128"/>
                <a:gd name="T2" fmla="*/ 140 w 140"/>
                <a:gd name="T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0" h="128">
                  <a:moveTo>
                    <a:pt x="0" y="128"/>
                  </a:moveTo>
                  <a:cubicBezTo>
                    <a:pt x="28" y="69"/>
                    <a:pt x="79" y="23"/>
                    <a:pt x="140" y="0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39" name="Groupe 438">
            <a:extLst>
              <a:ext uri="{FF2B5EF4-FFF2-40B4-BE49-F238E27FC236}">
                <a16:creationId xmlns:a16="http://schemas.microsoft.com/office/drawing/2014/main" xmlns="" id="{DD656B1F-6193-476E-A125-6B64911CB2BF}"/>
              </a:ext>
            </a:extLst>
          </p:cNvPr>
          <p:cNvGrpSpPr/>
          <p:nvPr/>
        </p:nvGrpSpPr>
        <p:grpSpPr>
          <a:xfrm>
            <a:off x="5896286" y="1713496"/>
            <a:ext cx="597129" cy="418787"/>
            <a:chOff x="4644008" y="386470"/>
            <a:chExt cx="495170" cy="347281"/>
          </a:xfrm>
        </p:grpSpPr>
        <p:grpSp>
          <p:nvGrpSpPr>
            <p:cNvPr id="440" name="Group 4">
              <a:extLst>
                <a:ext uri="{FF2B5EF4-FFF2-40B4-BE49-F238E27FC236}">
                  <a16:creationId xmlns:a16="http://schemas.microsoft.com/office/drawing/2014/main" xmlns="" id="{2D10A0F2-43D5-46DA-A595-82F7628298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644008" y="386470"/>
              <a:ext cx="495170" cy="326659"/>
              <a:chOff x="2901" y="-146"/>
              <a:chExt cx="1290" cy="851"/>
            </a:xfrm>
          </p:grpSpPr>
          <p:sp>
            <p:nvSpPr>
              <p:cNvPr id="443" name="Freeform 5">
                <a:extLst>
                  <a:ext uri="{FF2B5EF4-FFF2-40B4-BE49-F238E27FC236}">
                    <a16:creationId xmlns:a16="http://schemas.microsoft.com/office/drawing/2014/main" xmlns="" id="{F61C357F-7551-4ACB-80CE-1245E5BA4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" y="16"/>
                <a:ext cx="264" cy="149"/>
              </a:xfrm>
              <a:custGeom>
                <a:avLst/>
                <a:gdLst>
                  <a:gd name="T0" fmla="*/ 105 w 128"/>
                  <a:gd name="T1" fmla="*/ 0 h 72"/>
                  <a:gd name="T2" fmla="*/ 128 w 128"/>
                  <a:gd name="T3" fmla="*/ 72 h 72"/>
                  <a:gd name="T4" fmla="*/ 0 w 128"/>
                  <a:gd name="T5" fmla="*/ 72 h 72"/>
                  <a:gd name="T6" fmla="*/ 23 w 128"/>
                  <a:gd name="T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8" h="72">
                    <a:moveTo>
                      <a:pt x="105" y="0"/>
                    </a:moveTo>
                    <a:cubicBezTo>
                      <a:pt x="119" y="17"/>
                      <a:pt x="128" y="43"/>
                      <a:pt x="128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43"/>
                      <a:pt x="9" y="17"/>
                      <a:pt x="23" y="0"/>
                    </a:cubicBezTo>
                  </a:path>
                </a:pathLst>
              </a:cu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4" name="Oval 6">
                <a:extLst>
                  <a:ext uri="{FF2B5EF4-FFF2-40B4-BE49-F238E27FC236}">
                    <a16:creationId xmlns:a16="http://schemas.microsoft.com/office/drawing/2014/main" xmlns="" id="{A8259BFB-50E1-42E5-8E59-5AA97F41B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9" y="-146"/>
                <a:ext cx="155" cy="154"/>
              </a:xfrm>
              <a:prstGeom prst="ellipse">
                <a:avLst/>
              </a:pr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5" name="Freeform 9">
                <a:extLst>
                  <a:ext uri="{FF2B5EF4-FFF2-40B4-BE49-F238E27FC236}">
                    <a16:creationId xmlns:a16="http://schemas.microsoft.com/office/drawing/2014/main" xmlns="" id="{178AF0DF-66B4-4D83-BC2D-9FD8F6E22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7" y="554"/>
                <a:ext cx="264" cy="151"/>
              </a:xfrm>
              <a:custGeom>
                <a:avLst/>
                <a:gdLst>
                  <a:gd name="T0" fmla="*/ 105 w 128"/>
                  <a:gd name="T1" fmla="*/ 0 h 73"/>
                  <a:gd name="T2" fmla="*/ 128 w 128"/>
                  <a:gd name="T3" fmla="*/ 73 h 73"/>
                  <a:gd name="T4" fmla="*/ 0 w 128"/>
                  <a:gd name="T5" fmla="*/ 73 h 73"/>
                  <a:gd name="T6" fmla="*/ 22 w 128"/>
                  <a:gd name="T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8" h="73">
                    <a:moveTo>
                      <a:pt x="105" y="0"/>
                    </a:moveTo>
                    <a:cubicBezTo>
                      <a:pt x="119" y="18"/>
                      <a:pt x="128" y="44"/>
                      <a:pt x="128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44"/>
                      <a:pt x="9" y="18"/>
                      <a:pt x="22" y="0"/>
                    </a:cubicBezTo>
                  </a:path>
                </a:pathLst>
              </a:cu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6" name="Oval 10">
                <a:extLst>
                  <a:ext uri="{FF2B5EF4-FFF2-40B4-BE49-F238E27FC236}">
                    <a16:creationId xmlns:a16="http://schemas.microsoft.com/office/drawing/2014/main" xmlns="" id="{06FC2543-4EBA-4755-8774-10C28B875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0" y="393"/>
                <a:ext cx="155" cy="155"/>
              </a:xfrm>
              <a:prstGeom prst="ellipse">
                <a:avLst/>
              </a:pr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7" name="Freeform 11">
                <a:extLst>
                  <a:ext uri="{FF2B5EF4-FFF2-40B4-BE49-F238E27FC236}">
                    <a16:creationId xmlns:a16="http://schemas.microsoft.com/office/drawing/2014/main" xmlns="" id="{18266DD4-81FF-4B95-B662-E889FB506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554"/>
                <a:ext cx="263" cy="151"/>
              </a:xfrm>
              <a:custGeom>
                <a:avLst/>
                <a:gdLst>
                  <a:gd name="T0" fmla="*/ 105 w 128"/>
                  <a:gd name="T1" fmla="*/ 0 h 73"/>
                  <a:gd name="T2" fmla="*/ 128 w 128"/>
                  <a:gd name="T3" fmla="*/ 73 h 73"/>
                  <a:gd name="T4" fmla="*/ 0 w 128"/>
                  <a:gd name="T5" fmla="*/ 73 h 73"/>
                  <a:gd name="T6" fmla="*/ 23 w 128"/>
                  <a:gd name="T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8" h="73">
                    <a:moveTo>
                      <a:pt x="105" y="0"/>
                    </a:moveTo>
                    <a:cubicBezTo>
                      <a:pt x="119" y="18"/>
                      <a:pt x="128" y="44"/>
                      <a:pt x="128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44"/>
                      <a:pt x="9" y="18"/>
                      <a:pt x="23" y="0"/>
                    </a:cubicBezTo>
                  </a:path>
                </a:pathLst>
              </a:cu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8" name="Oval 12">
                <a:extLst>
                  <a:ext uri="{FF2B5EF4-FFF2-40B4-BE49-F238E27FC236}">
                    <a16:creationId xmlns:a16="http://schemas.microsoft.com/office/drawing/2014/main" xmlns="" id="{4176015C-8002-435C-A1FF-7D4F772965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4" y="393"/>
                <a:ext cx="155" cy="155"/>
              </a:xfrm>
              <a:prstGeom prst="ellipse">
                <a:avLst/>
              </a:pr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49" name="Freeform 15">
                <a:extLst>
                  <a:ext uri="{FF2B5EF4-FFF2-40B4-BE49-F238E27FC236}">
                    <a16:creationId xmlns:a16="http://schemas.microsoft.com/office/drawing/2014/main" xmlns="" id="{7DC84CA4-9C7D-4F3A-849C-BFF8B6668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" y="53"/>
                <a:ext cx="290" cy="266"/>
              </a:xfrm>
              <a:custGeom>
                <a:avLst/>
                <a:gdLst>
                  <a:gd name="T0" fmla="*/ 0 w 141"/>
                  <a:gd name="T1" fmla="*/ 0 h 129"/>
                  <a:gd name="T2" fmla="*/ 141 w 141"/>
                  <a:gd name="T3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1" h="129">
                    <a:moveTo>
                      <a:pt x="0" y="0"/>
                    </a:moveTo>
                    <a:cubicBezTo>
                      <a:pt x="62" y="23"/>
                      <a:pt x="113" y="70"/>
                      <a:pt x="141" y="129"/>
                    </a:cubicBezTo>
                  </a:path>
                </a:pathLst>
              </a:cu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33" name="Freeform 16">
                <a:extLst>
                  <a:ext uri="{FF2B5EF4-FFF2-40B4-BE49-F238E27FC236}">
                    <a16:creationId xmlns:a16="http://schemas.microsoft.com/office/drawing/2014/main" xmlns="" id="{A7DC4563-E6BD-4A77-A961-94A44684A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" y="53"/>
                <a:ext cx="288" cy="264"/>
              </a:xfrm>
              <a:custGeom>
                <a:avLst/>
                <a:gdLst>
                  <a:gd name="T0" fmla="*/ 0 w 140"/>
                  <a:gd name="T1" fmla="*/ 128 h 128"/>
                  <a:gd name="T2" fmla="*/ 140 w 140"/>
                  <a:gd name="T3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0" h="128">
                    <a:moveTo>
                      <a:pt x="0" y="128"/>
                    </a:moveTo>
                    <a:cubicBezTo>
                      <a:pt x="28" y="69"/>
                      <a:pt x="79" y="23"/>
                      <a:pt x="140" y="0"/>
                    </a:cubicBezTo>
                  </a:path>
                </a:pathLst>
              </a:custGeom>
              <a:noFill/>
              <a:ln w="15875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441" name="Rectangle : coins arrondis 440">
              <a:extLst>
                <a:ext uri="{FF2B5EF4-FFF2-40B4-BE49-F238E27FC236}">
                  <a16:creationId xmlns:a16="http://schemas.microsoft.com/office/drawing/2014/main" xmlns="" id="{ECC0C042-CB6D-4A8B-9C4E-DCC4415E27A5}"/>
                </a:ext>
              </a:extLst>
            </p:cNvPr>
            <p:cNvSpPr/>
            <p:nvPr/>
          </p:nvSpPr>
          <p:spPr>
            <a:xfrm>
              <a:off x="4786185" y="578183"/>
              <a:ext cx="203998" cy="155568"/>
            </a:xfrm>
            <a:prstGeom prst="roundRect">
              <a:avLst/>
            </a:prstGeom>
            <a:noFill/>
            <a:ln w="1587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442" name="Triangle isocèle 441">
              <a:extLst>
                <a:ext uri="{FF2B5EF4-FFF2-40B4-BE49-F238E27FC236}">
                  <a16:creationId xmlns:a16="http://schemas.microsoft.com/office/drawing/2014/main" xmlns="" id="{999CCBED-5C89-438A-BBF1-727B7F74F1E0}"/>
                </a:ext>
              </a:extLst>
            </p:cNvPr>
            <p:cNvSpPr/>
            <p:nvPr/>
          </p:nvSpPr>
          <p:spPr>
            <a:xfrm rot="5400000">
              <a:off x="4853377" y="621061"/>
              <a:ext cx="83528" cy="72007"/>
            </a:xfrm>
            <a:prstGeom prst="triangle">
              <a:avLst/>
            </a:prstGeom>
            <a:noFill/>
            <a:ln w="15875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>
                <a:solidFill>
                  <a:schemeClr val="tx1"/>
                </a:solidFill>
              </a:endParaRPr>
            </a:p>
          </p:txBody>
        </p:sp>
      </p:grpSp>
      <p:grpSp>
        <p:nvGrpSpPr>
          <p:cNvPr id="634" name="Group 4">
            <a:extLst>
              <a:ext uri="{FF2B5EF4-FFF2-40B4-BE49-F238E27FC236}">
                <a16:creationId xmlns:a16="http://schemas.microsoft.com/office/drawing/2014/main" xmlns="" id="{9482CD98-6840-4866-ACF6-51B483EF79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93263" y="1762760"/>
            <a:ext cx="441702" cy="462988"/>
            <a:chOff x="4809" y="1582"/>
            <a:chExt cx="664" cy="696"/>
          </a:xfrm>
        </p:grpSpPr>
        <p:sp>
          <p:nvSpPr>
            <p:cNvPr id="635" name="Freeform 5">
              <a:extLst>
                <a:ext uri="{FF2B5EF4-FFF2-40B4-BE49-F238E27FC236}">
                  <a16:creationId xmlns:a16="http://schemas.microsoft.com/office/drawing/2014/main" xmlns="" id="{C96240C7-A4F7-4456-A1D3-6B4FFF66A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659"/>
              <a:ext cx="603" cy="563"/>
            </a:xfrm>
            <a:custGeom>
              <a:avLst/>
              <a:gdLst>
                <a:gd name="T0" fmla="*/ 191 w 358"/>
                <a:gd name="T1" fmla="*/ 0 h 334"/>
                <a:gd name="T2" fmla="*/ 358 w 358"/>
                <a:gd name="T3" fmla="*/ 167 h 334"/>
                <a:gd name="T4" fmla="*/ 191 w 358"/>
                <a:gd name="T5" fmla="*/ 334 h 334"/>
                <a:gd name="T6" fmla="*/ 0 w 358"/>
                <a:gd name="T7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" h="334">
                  <a:moveTo>
                    <a:pt x="191" y="0"/>
                  </a:moveTo>
                  <a:cubicBezTo>
                    <a:pt x="283" y="0"/>
                    <a:pt x="358" y="75"/>
                    <a:pt x="358" y="167"/>
                  </a:cubicBezTo>
                  <a:cubicBezTo>
                    <a:pt x="358" y="259"/>
                    <a:pt x="283" y="334"/>
                    <a:pt x="191" y="334"/>
                  </a:cubicBezTo>
                  <a:cubicBezTo>
                    <a:pt x="0" y="334"/>
                    <a:pt x="0" y="334"/>
                    <a:pt x="0" y="334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6" name="Freeform 6">
              <a:extLst>
                <a:ext uri="{FF2B5EF4-FFF2-40B4-BE49-F238E27FC236}">
                  <a16:creationId xmlns:a16="http://schemas.microsoft.com/office/drawing/2014/main" xmlns="" id="{9F797778-4361-4DB9-9808-4EBE1DEF7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" y="1668"/>
              <a:ext cx="212" cy="507"/>
            </a:xfrm>
            <a:custGeom>
              <a:avLst/>
              <a:gdLst>
                <a:gd name="T0" fmla="*/ 74 w 126"/>
                <a:gd name="T1" fmla="*/ 301 h 301"/>
                <a:gd name="T2" fmla="*/ 0 w 126"/>
                <a:gd name="T3" fmla="*/ 162 h 301"/>
                <a:gd name="T4" fmla="*/ 126 w 126"/>
                <a:gd name="T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301">
                  <a:moveTo>
                    <a:pt x="74" y="301"/>
                  </a:moveTo>
                  <a:cubicBezTo>
                    <a:pt x="29" y="271"/>
                    <a:pt x="0" y="220"/>
                    <a:pt x="0" y="162"/>
                  </a:cubicBezTo>
                  <a:cubicBezTo>
                    <a:pt x="0" y="84"/>
                    <a:pt x="53" y="18"/>
                    <a:pt x="126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7" name="Line 7">
              <a:extLst>
                <a:ext uri="{FF2B5EF4-FFF2-40B4-BE49-F238E27FC236}">
                  <a16:creationId xmlns:a16="http://schemas.microsoft.com/office/drawing/2014/main" xmlns="" id="{BB77D937-52B5-4D7A-B4E7-DA43C750B6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6" y="2200"/>
              <a:ext cx="167" cy="0"/>
            </a:xfrm>
            <a:prstGeom prst="line">
              <a:avLst/>
            </a:pr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8" name="Freeform 8">
              <a:extLst>
                <a:ext uri="{FF2B5EF4-FFF2-40B4-BE49-F238E27FC236}">
                  <a16:creationId xmlns:a16="http://schemas.microsoft.com/office/drawing/2014/main" xmlns="" id="{0C5B327F-447C-47B3-82B8-8CA5D9376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" y="2131"/>
              <a:ext cx="69" cy="147"/>
            </a:xfrm>
            <a:custGeom>
              <a:avLst/>
              <a:gdLst>
                <a:gd name="T0" fmla="*/ 0 w 69"/>
                <a:gd name="T1" fmla="*/ 0 h 147"/>
                <a:gd name="T2" fmla="*/ 69 w 69"/>
                <a:gd name="T3" fmla="*/ 69 h 147"/>
                <a:gd name="T4" fmla="*/ 0 w 69"/>
                <a:gd name="T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" h="147">
                  <a:moveTo>
                    <a:pt x="0" y="0"/>
                  </a:moveTo>
                  <a:lnTo>
                    <a:pt x="69" y="69"/>
                  </a:lnTo>
                  <a:lnTo>
                    <a:pt x="0" y="147"/>
                  </a:ln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9" name="Freeform 9">
              <a:extLst>
                <a:ext uri="{FF2B5EF4-FFF2-40B4-BE49-F238E27FC236}">
                  <a16:creationId xmlns:a16="http://schemas.microsoft.com/office/drawing/2014/main" xmlns="" id="{DB49BEF8-5E55-4FC3-951A-1C9B54176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1582"/>
              <a:ext cx="69" cy="146"/>
            </a:xfrm>
            <a:custGeom>
              <a:avLst/>
              <a:gdLst>
                <a:gd name="T0" fmla="*/ 69 w 69"/>
                <a:gd name="T1" fmla="*/ 146 h 146"/>
                <a:gd name="T2" fmla="*/ 0 w 69"/>
                <a:gd name="T3" fmla="*/ 77 h 146"/>
                <a:gd name="T4" fmla="*/ 69 w 69"/>
                <a:gd name="T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" h="146">
                  <a:moveTo>
                    <a:pt x="69" y="146"/>
                  </a:moveTo>
                  <a:lnTo>
                    <a:pt x="0" y="77"/>
                  </a:lnTo>
                  <a:lnTo>
                    <a:pt x="69" y="0"/>
                  </a:ln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40" name="Group 4">
            <a:extLst>
              <a:ext uri="{FF2B5EF4-FFF2-40B4-BE49-F238E27FC236}">
                <a16:creationId xmlns:a16="http://schemas.microsoft.com/office/drawing/2014/main" xmlns="" id="{D3A97D3B-2656-4FDC-B3DF-D044F9E912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5047" y="2808238"/>
            <a:ext cx="562595" cy="562596"/>
            <a:chOff x="793" y="1174"/>
            <a:chExt cx="393" cy="393"/>
          </a:xfrm>
        </p:grpSpPr>
        <p:sp>
          <p:nvSpPr>
            <p:cNvPr id="641" name="Oval 5">
              <a:extLst>
                <a:ext uri="{FF2B5EF4-FFF2-40B4-BE49-F238E27FC236}">
                  <a16:creationId xmlns:a16="http://schemas.microsoft.com/office/drawing/2014/main" xmlns="" id="{35EF87BE-101C-4E93-96D7-3A29F10B1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8" y="1249"/>
              <a:ext cx="243" cy="243"/>
            </a:xfrm>
            <a:prstGeom prst="ellips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2" name="Line 6">
              <a:extLst>
                <a:ext uri="{FF2B5EF4-FFF2-40B4-BE49-F238E27FC236}">
                  <a16:creationId xmlns:a16="http://schemas.microsoft.com/office/drawing/2014/main" xmlns="" id="{8C1C7AC0-3E5B-4A86-9DF7-8C748E9F8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9" y="1509"/>
              <a:ext cx="0" cy="58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3" name="Line 7">
              <a:extLst>
                <a:ext uri="{FF2B5EF4-FFF2-40B4-BE49-F238E27FC236}">
                  <a16:creationId xmlns:a16="http://schemas.microsoft.com/office/drawing/2014/main" xmlns="" id="{D7C017B4-826F-4594-A474-6DFC346B9C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9" y="1174"/>
              <a:ext cx="0" cy="57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4" name="Line 8">
              <a:extLst>
                <a:ext uri="{FF2B5EF4-FFF2-40B4-BE49-F238E27FC236}">
                  <a16:creationId xmlns:a16="http://schemas.microsoft.com/office/drawing/2014/main" xmlns="" id="{5612BFD1-AE57-4F3A-98F5-63F9ACB884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51" y="1469"/>
              <a:ext cx="40" cy="4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5" name="Line 9">
              <a:extLst>
                <a:ext uri="{FF2B5EF4-FFF2-40B4-BE49-F238E27FC236}">
                  <a16:creationId xmlns:a16="http://schemas.microsoft.com/office/drawing/2014/main" xmlns="" id="{DE11DDEE-DE51-40D8-848A-7DB620FF4C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88" y="1232"/>
              <a:ext cx="40" cy="4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6" name="Line 10">
              <a:extLst>
                <a:ext uri="{FF2B5EF4-FFF2-40B4-BE49-F238E27FC236}">
                  <a16:creationId xmlns:a16="http://schemas.microsoft.com/office/drawing/2014/main" xmlns="" id="{4E871BC1-D6DE-4F78-B77D-95155FA244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3" y="1370"/>
              <a:ext cx="57" cy="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7" name="Line 11">
              <a:extLst>
                <a:ext uri="{FF2B5EF4-FFF2-40B4-BE49-F238E27FC236}">
                  <a16:creationId xmlns:a16="http://schemas.microsoft.com/office/drawing/2014/main" xmlns="" id="{79B1B76C-65D4-4B6C-8724-730EE68AEA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8" y="1370"/>
              <a:ext cx="58" cy="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8" name="Line 12">
              <a:extLst>
                <a:ext uri="{FF2B5EF4-FFF2-40B4-BE49-F238E27FC236}">
                  <a16:creationId xmlns:a16="http://schemas.microsoft.com/office/drawing/2014/main" xmlns="" id="{1A433797-0263-449F-9092-FF4DC5C1AE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51" y="1232"/>
              <a:ext cx="40" cy="4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9" name="Line 13">
              <a:extLst>
                <a:ext uri="{FF2B5EF4-FFF2-40B4-BE49-F238E27FC236}">
                  <a16:creationId xmlns:a16="http://schemas.microsoft.com/office/drawing/2014/main" xmlns="" id="{027DA85E-C624-4650-BAFC-8A909E8E54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088" y="1469"/>
              <a:ext cx="40" cy="4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0" name="Line 14">
              <a:extLst>
                <a:ext uri="{FF2B5EF4-FFF2-40B4-BE49-F238E27FC236}">
                  <a16:creationId xmlns:a16="http://schemas.microsoft.com/office/drawing/2014/main" xmlns="" id="{1196CFC0-0374-4D9B-8698-AA2A5456DC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89" y="1174"/>
              <a:ext cx="0" cy="57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1" name="Line 15">
              <a:extLst>
                <a:ext uri="{FF2B5EF4-FFF2-40B4-BE49-F238E27FC236}">
                  <a16:creationId xmlns:a16="http://schemas.microsoft.com/office/drawing/2014/main" xmlns="" id="{06499F26-F966-4200-849E-6F1C75BFD7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89" y="1509"/>
              <a:ext cx="0" cy="58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2" name="Freeform 16">
              <a:extLst>
                <a:ext uri="{FF2B5EF4-FFF2-40B4-BE49-F238E27FC236}">
                  <a16:creationId xmlns:a16="http://schemas.microsoft.com/office/drawing/2014/main" xmlns="" id="{F6712A7A-E276-4775-A149-39FCDA692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" y="1291"/>
              <a:ext cx="69" cy="69"/>
            </a:xfrm>
            <a:custGeom>
              <a:avLst/>
              <a:gdLst>
                <a:gd name="T0" fmla="*/ 0 w 265"/>
                <a:gd name="T1" fmla="*/ 0 h 265"/>
                <a:gd name="T2" fmla="*/ 265 w 265"/>
                <a:gd name="T3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5" h="265">
                  <a:moveTo>
                    <a:pt x="0" y="0"/>
                  </a:moveTo>
                  <a:cubicBezTo>
                    <a:pt x="146" y="0"/>
                    <a:pt x="265" y="119"/>
                    <a:pt x="265" y="265"/>
                  </a:cubicBezTo>
                </a:path>
              </a:pathLst>
            </a:cu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53" name="Group 19">
            <a:extLst>
              <a:ext uri="{FF2B5EF4-FFF2-40B4-BE49-F238E27FC236}">
                <a16:creationId xmlns:a16="http://schemas.microsoft.com/office/drawing/2014/main" xmlns="" id="{40F3FDFA-B594-4C67-85DD-38499C075D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70101" y="2847575"/>
            <a:ext cx="493459" cy="505855"/>
            <a:chOff x="1326" y="28"/>
            <a:chExt cx="3105" cy="3183"/>
          </a:xfrm>
        </p:grpSpPr>
        <p:sp>
          <p:nvSpPr>
            <p:cNvPr id="654" name="Freeform 20">
              <a:extLst>
                <a:ext uri="{FF2B5EF4-FFF2-40B4-BE49-F238E27FC236}">
                  <a16:creationId xmlns:a16="http://schemas.microsoft.com/office/drawing/2014/main" xmlns="" id="{F69AEA9A-6433-4065-B393-43194898D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266"/>
              <a:ext cx="632" cy="632"/>
            </a:xfrm>
            <a:custGeom>
              <a:avLst/>
              <a:gdLst>
                <a:gd name="T0" fmla="*/ 0 w 355"/>
                <a:gd name="T1" fmla="*/ 0 h 355"/>
                <a:gd name="T2" fmla="*/ 355 w 355"/>
                <a:gd name="T3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5" h="355">
                  <a:moveTo>
                    <a:pt x="0" y="0"/>
                  </a:moveTo>
                  <a:cubicBezTo>
                    <a:pt x="196" y="0"/>
                    <a:pt x="355" y="159"/>
                    <a:pt x="355" y="355"/>
                  </a:cubicBezTo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5" name="Freeform 21">
              <a:extLst>
                <a:ext uri="{FF2B5EF4-FFF2-40B4-BE49-F238E27FC236}">
                  <a16:creationId xmlns:a16="http://schemas.microsoft.com/office/drawing/2014/main" xmlns="" id="{8E699F02-CF77-4655-B243-22BC46480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" y="28"/>
              <a:ext cx="3105" cy="1861"/>
            </a:xfrm>
            <a:custGeom>
              <a:avLst/>
              <a:gdLst>
                <a:gd name="T0" fmla="*/ 1458 w 1744"/>
                <a:gd name="T1" fmla="*/ 1044 h 1044"/>
                <a:gd name="T2" fmla="*/ 1744 w 1744"/>
                <a:gd name="T3" fmla="*/ 758 h 1044"/>
                <a:gd name="T4" fmla="*/ 1458 w 1744"/>
                <a:gd name="T5" fmla="*/ 472 h 1044"/>
                <a:gd name="T6" fmla="*/ 1423 w 1744"/>
                <a:gd name="T7" fmla="*/ 474 h 1044"/>
                <a:gd name="T8" fmla="*/ 894 w 1744"/>
                <a:gd name="T9" fmla="*/ 0 h 1044"/>
                <a:gd name="T10" fmla="*/ 382 w 1744"/>
                <a:gd name="T11" fmla="*/ 388 h 1044"/>
                <a:gd name="T12" fmla="*/ 330 w 1744"/>
                <a:gd name="T13" fmla="*/ 384 h 1044"/>
                <a:gd name="T14" fmla="*/ 0 w 1744"/>
                <a:gd name="T15" fmla="*/ 714 h 1044"/>
                <a:gd name="T16" fmla="*/ 330 w 1744"/>
                <a:gd name="T17" fmla="*/ 1044 h 1044"/>
                <a:gd name="T18" fmla="*/ 1458 w 1744"/>
                <a:gd name="T19" fmla="*/ 1044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4" h="1044">
                  <a:moveTo>
                    <a:pt x="1458" y="1044"/>
                  </a:moveTo>
                  <a:cubicBezTo>
                    <a:pt x="1616" y="1044"/>
                    <a:pt x="1744" y="916"/>
                    <a:pt x="1744" y="758"/>
                  </a:cubicBezTo>
                  <a:cubicBezTo>
                    <a:pt x="1744" y="600"/>
                    <a:pt x="1616" y="472"/>
                    <a:pt x="1458" y="472"/>
                  </a:cubicBezTo>
                  <a:cubicBezTo>
                    <a:pt x="1446" y="472"/>
                    <a:pt x="1434" y="473"/>
                    <a:pt x="1423" y="474"/>
                  </a:cubicBezTo>
                  <a:cubicBezTo>
                    <a:pt x="1394" y="208"/>
                    <a:pt x="1168" y="0"/>
                    <a:pt x="894" y="0"/>
                  </a:cubicBezTo>
                  <a:cubicBezTo>
                    <a:pt x="650" y="0"/>
                    <a:pt x="444" y="164"/>
                    <a:pt x="382" y="388"/>
                  </a:cubicBezTo>
                  <a:cubicBezTo>
                    <a:pt x="365" y="385"/>
                    <a:pt x="348" y="384"/>
                    <a:pt x="330" y="384"/>
                  </a:cubicBezTo>
                  <a:cubicBezTo>
                    <a:pt x="148" y="384"/>
                    <a:pt x="0" y="532"/>
                    <a:pt x="0" y="714"/>
                  </a:cubicBezTo>
                  <a:cubicBezTo>
                    <a:pt x="0" y="896"/>
                    <a:pt x="148" y="1044"/>
                    <a:pt x="330" y="1044"/>
                  </a:cubicBezTo>
                  <a:lnTo>
                    <a:pt x="1458" y="1044"/>
                  </a:ln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6" name="Freeform 22">
              <a:extLst>
                <a:ext uri="{FF2B5EF4-FFF2-40B4-BE49-F238E27FC236}">
                  <a16:creationId xmlns:a16="http://schemas.microsoft.com/office/drawing/2014/main" xmlns="" id="{84808E1F-85DF-4F2C-8E6E-59590804D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5" y="2096"/>
              <a:ext cx="335" cy="517"/>
            </a:xfrm>
            <a:custGeom>
              <a:avLst/>
              <a:gdLst>
                <a:gd name="T0" fmla="*/ 188 w 188"/>
                <a:gd name="T1" fmla="*/ 196 h 290"/>
                <a:gd name="T2" fmla="*/ 94 w 188"/>
                <a:gd name="T3" fmla="*/ 290 h 290"/>
                <a:gd name="T4" fmla="*/ 0 w 188"/>
                <a:gd name="T5" fmla="*/ 196 h 290"/>
                <a:gd name="T6" fmla="*/ 94 w 188"/>
                <a:gd name="T7" fmla="*/ 0 h 290"/>
                <a:gd name="T8" fmla="*/ 188 w 188"/>
                <a:gd name="T9" fmla="*/ 19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90">
                  <a:moveTo>
                    <a:pt x="188" y="196"/>
                  </a:moveTo>
                  <a:cubicBezTo>
                    <a:pt x="188" y="248"/>
                    <a:pt x="146" y="290"/>
                    <a:pt x="94" y="290"/>
                  </a:cubicBezTo>
                  <a:cubicBezTo>
                    <a:pt x="42" y="290"/>
                    <a:pt x="0" y="248"/>
                    <a:pt x="0" y="196"/>
                  </a:cubicBezTo>
                  <a:cubicBezTo>
                    <a:pt x="0" y="144"/>
                    <a:pt x="94" y="0"/>
                    <a:pt x="94" y="0"/>
                  </a:cubicBezTo>
                  <a:cubicBezTo>
                    <a:pt x="94" y="0"/>
                    <a:pt x="188" y="144"/>
                    <a:pt x="188" y="196"/>
                  </a:cubicBez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7" name="Freeform 23">
              <a:extLst>
                <a:ext uri="{FF2B5EF4-FFF2-40B4-BE49-F238E27FC236}">
                  <a16:creationId xmlns:a16="http://schemas.microsoft.com/office/drawing/2014/main" xmlns="" id="{8E8CDB7B-E513-49C8-9625-F048C32BA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" y="2695"/>
              <a:ext cx="335" cy="516"/>
            </a:xfrm>
            <a:custGeom>
              <a:avLst/>
              <a:gdLst>
                <a:gd name="T0" fmla="*/ 188 w 188"/>
                <a:gd name="T1" fmla="*/ 196 h 290"/>
                <a:gd name="T2" fmla="*/ 94 w 188"/>
                <a:gd name="T3" fmla="*/ 290 h 290"/>
                <a:gd name="T4" fmla="*/ 0 w 188"/>
                <a:gd name="T5" fmla="*/ 196 h 290"/>
                <a:gd name="T6" fmla="*/ 94 w 188"/>
                <a:gd name="T7" fmla="*/ 0 h 290"/>
                <a:gd name="T8" fmla="*/ 188 w 188"/>
                <a:gd name="T9" fmla="*/ 19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90">
                  <a:moveTo>
                    <a:pt x="188" y="196"/>
                  </a:moveTo>
                  <a:cubicBezTo>
                    <a:pt x="188" y="248"/>
                    <a:pt x="146" y="290"/>
                    <a:pt x="94" y="290"/>
                  </a:cubicBezTo>
                  <a:cubicBezTo>
                    <a:pt x="42" y="290"/>
                    <a:pt x="0" y="248"/>
                    <a:pt x="0" y="196"/>
                  </a:cubicBezTo>
                  <a:cubicBezTo>
                    <a:pt x="0" y="144"/>
                    <a:pt x="94" y="0"/>
                    <a:pt x="94" y="0"/>
                  </a:cubicBezTo>
                  <a:cubicBezTo>
                    <a:pt x="94" y="0"/>
                    <a:pt x="188" y="144"/>
                    <a:pt x="188" y="196"/>
                  </a:cubicBez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8" name="Freeform 24">
              <a:extLst>
                <a:ext uri="{FF2B5EF4-FFF2-40B4-BE49-F238E27FC236}">
                  <a16:creationId xmlns:a16="http://schemas.microsoft.com/office/drawing/2014/main" xmlns="" id="{FE15074B-E610-43C4-8734-1D587B570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2096"/>
              <a:ext cx="335" cy="517"/>
            </a:xfrm>
            <a:custGeom>
              <a:avLst/>
              <a:gdLst>
                <a:gd name="T0" fmla="*/ 188 w 188"/>
                <a:gd name="T1" fmla="*/ 196 h 290"/>
                <a:gd name="T2" fmla="*/ 94 w 188"/>
                <a:gd name="T3" fmla="*/ 290 h 290"/>
                <a:gd name="T4" fmla="*/ 0 w 188"/>
                <a:gd name="T5" fmla="*/ 196 h 290"/>
                <a:gd name="T6" fmla="*/ 94 w 188"/>
                <a:gd name="T7" fmla="*/ 0 h 290"/>
                <a:gd name="T8" fmla="*/ 188 w 188"/>
                <a:gd name="T9" fmla="*/ 19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90">
                  <a:moveTo>
                    <a:pt x="188" y="196"/>
                  </a:moveTo>
                  <a:cubicBezTo>
                    <a:pt x="188" y="248"/>
                    <a:pt x="146" y="290"/>
                    <a:pt x="94" y="290"/>
                  </a:cubicBezTo>
                  <a:cubicBezTo>
                    <a:pt x="42" y="290"/>
                    <a:pt x="0" y="248"/>
                    <a:pt x="0" y="196"/>
                  </a:cubicBezTo>
                  <a:cubicBezTo>
                    <a:pt x="0" y="144"/>
                    <a:pt x="94" y="0"/>
                    <a:pt x="94" y="0"/>
                  </a:cubicBezTo>
                  <a:cubicBezTo>
                    <a:pt x="94" y="0"/>
                    <a:pt x="188" y="144"/>
                    <a:pt x="188" y="196"/>
                  </a:cubicBez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9" name="Freeform 25">
              <a:extLst>
                <a:ext uri="{FF2B5EF4-FFF2-40B4-BE49-F238E27FC236}">
                  <a16:creationId xmlns:a16="http://schemas.microsoft.com/office/drawing/2014/main" xmlns="" id="{1DF9AF95-64A5-4702-9C0C-2A7B11C3E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6" y="2096"/>
              <a:ext cx="335" cy="517"/>
            </a:xfrm>
            <a:custGeom>
              <a:avLst/>
              <a:gdLst>
                <a:gd name="T0" fmla="*/ 188 w 188"/>
                <a:gd name="T1" fmla="*/ 196 h 290"/>
                <a:gd name="T2" fmla="*/ 94 w 188"/>
                <a:gd name="T3" fmla="*/ 290 h 290"/>
                <a:gd name="T4" fmla="*/ 0 w 188"/>
                <a:gd name="T5" fmla="*/ 196 h 290"/>
                <a:gd name="T6" fmla="*/ 94 w 188"/>
                <a:gd name="T7" fmla="*/ 0 h 290"/>
                <a:gd name="T8" fmla="*/ 188 w 188"/>
                <a:gd name="T9" fmla="*/ 19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90">
                  <a:moveTo>
                    <a:pt x="188" y="196"/>
                  </a:moveTo>
                  <a:cubicBezTo>
                    <a:pt x="188" y="248"/>
                    <a:pt x="146" y="290"/>
                    <a:pt x="94" y="290"/>
                  </a:cubicBezTo>
                  <a:cubicBezTo>
                    <a:pt x="42" y="290"/>
                    <a:pt x="0" y="248"/>
                    <a:pt x="0" y="196"/>
                  </a:cubicBezTo>
                  <a:cubicBezTo>
                    <a:pt x="0" y="144"/>
                    <a:pt x="94" y="0"/>
                    <a:pt x="94" y="0"/>
                  </a:cubicBezTo>
                  <a:cubicBezTo>
                    <a:pt x="94" y="0"/>
                    <a:pt x="188" y="144"/>
                    <a:pt x="188" y="196"/>
                  </a:cubicBez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0" name="Freeform 26">
              <a:extLst>
                <a:ext uri="{FF2B5EF4-FFF2-40B4-BE49-F238E27FC236}">
                  <a16:creationId xmlns:a16="http://schemas.microsoft.com/office/drawing/2014/main" xmlns="" id="{70DF4E96-E1BF-4E1D-B3A0-064E7267F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" y="2695"/>
              <a:ext cx="334" cy="516"/>
            </a:xfrm>
            <a:custGeom>
              <a:avLst/>
              <a:gdLst>
                <a:gd name="T0" fmla="*/ 188 w 188"/>
                <a:gd name="T1" fmla="*/ 196 h 290"/>
                <a:gd name="T2" fmla="*/ 94 w 188"/>
                <a:gd name="T3" fmla="*/ 290 h 290"/>
                <a:gd name="T4" fmla="*/ 0 w 188"/>
                <a:gd name="T5" fmla="*/ 196 h 290"/>
                <a:gd name="T6" fmla="*/ 94 w 188"/>
                <a:gd name="T7" fmla="*/ 0 h 290"/>
                <a:gd name="T8" fmla="*/ 188 w 188"/>
                <a:gd name="T9" fmla="*/ 19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90">
                  <a:moveTo>
                    <a:pt x="188" y="196"/>
                  </a:moveTo>
                  <a:cubicBezTo>
                    <a:pt x="188" y="248"/>
                    <a:pt x="146" y="290"/>
                    <a:pt x="94" y="290"/>
                  </a:cubicBezTo>
                  <a:cubicBezTo>
                    <a:pt x="42" y="290"/>
                    <a:pt x="0" y="248"/>
                    <a:pt x="0" y="196"/>
                  </a:cubicBezTo>
                  <a:cubicBezTo>
                    <a:pt x="0" y="144"/>
                    <a:pt x="94" y="0"/>
                    <a:pt x="94" y="0"/>
                  </a:cubicBezTo>
                  <a:cubicBezTo>
                    <a:pt x="94" y="0"/>
                    <a:pt x="188" y="144"/>
                    <a:pt x="188" y="196"/>
                  </a:cubicBezTo>
                  <a:close/>
                </a:path>
              </a:pathLst>
            </a:custGeom>
            <a:noFill/>
            <a:ln w="14351" cap="rnd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61" name="Group 29">
            <a:extLst>
              <a:ext uri="{FF2B5EF4-FFF2-40B4-BE49-F238E27FC236}">
                <a16:creationId xmlns:a16="http://schemas.microsoft.com/office/drawing/2014/main" xmlns="" id="{5B76C3C6-AFC5-4FAE-9FAD-C1B7963C5AB6}"/>
              </a:ext>
            </a:extLst>
          </p:cNvPr>
          <p:cNvGrpSpPr>
            <a:grpSpLocks noChangeAspect="1"/>
          </p:cNvGrpSpPr>
          <p:nvPr/>
        </p:nvGrpSpPr>
        <p:grpSpPr bwMode="auto">
          <a:xfrm rot="18900000">
            <a:off x="3847437" y="2838057"/>
            <a:ext cx="501090" cy="501090"/>
            <a:chOff x="1653" y="1315"/>
            <a:chExt cx="166" cy="166"/>
          </a:xfrm>
        </p:grpSpPr>
        <p:sp>
          <p:nvSpPr>
            <p:cNvPr id="662" name="Oval 30">
              <a:extLst>
                <a:ext uri="{FF2B5EF4-FFF2-40B4-BE49-F238E27FC236}">
                  <a16:creationId xmlns:a16="http://schemas.microsoft.com/office/drawing/2014/main" xmlns="" id="{B9BF8C1B-48FC-4BE5-9817-F7C4CD42E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" y="1383"/>
              <a:ext cx="31" cy="31"/>
            </a:xfrm>
            <a:prstGeom prst="ellips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3" name="Line 31">
              <a:extLst>
                <a:ext uri="{FF2B5EF4-FFF2-40B4-BE49-F238E27FC236}">
                  <a16:creationId xmlns:a16="http://schemas.microsoft.com/office/drawing/2014/main" xmlns="" id="{BBECA994-6583-4C58-ABFA-67C1D64DCC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35" y="1329"/>
              <a:ext cx="0" cy="53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xmlns="" id="{64C571E7-36AD-48FA-A1BD-B975147D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1315"/>
              <a:ext cx="27" cy="14"/>
            </a:xfrm>
            <a:custGeom>
              <a:avLst/>
              <a:gdLst>
                <a:gd name="T0" fmla="*/ 27 w 27"/>
                <a:gd name="T1" fmla="*/ 0 h 14"/>
                <a:gd name="T2" fmla="*/ 13 w 27"/>
                <a:gd name="T3" fmla="*/ 14 h 14"/>
                <a:gd name="T4" fmla="*/ 0 w 2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4">
                  <a:moveTo>
                    <a:pt x="27" y="0"/>
                  </a:moveTo>
                  <a:lnTo>
                    <a:pt x="13" y="14"/>
                  </a:lnTo>
                  <a:lnTo>
                    <a:pt x="0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5" name="Line 33">
              <a:extLst>
                <a:ext uri="{FF2B5EF4-FFF2-40B4-BE49-F238E27FC236}">
                  <a16:creationId xmlns:a16="http://schemas.microsoft.com/office/drawing/2014/main" xmlns="" id="{67383215-2C00-4939-B38F-F0EC899001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6" y="1414"/>
              <a:ext cx="0" cy="53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6" name="Freeform 34">
              <a:extLst>
                <a:ext uri="{FF2B5EF4-FFF2-40B4-BE49-F238E27FC236}">
                  <a16:creationId xmlns:a16="http://schemas.microsoft.com/office/drawing/2014/main" xmlns="" id="{D89A9D43-26F6-4B48-9EBF-7DA9B95B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1467"/>
              <a:ext cx="27" cy="14"/>
            </a:xfrm>
            <a:custGeom>
              <a:avLst/>
              <a:gdLst>
                <a:gd name="T0" fmla="*/ 0 w 27"/>
                <a:gd name="T1" fmla="*/ 14 h 14"/>
                <a:gd name="T2" fmla="*/ 14 w 27"/>
                <a:gd name="T3" fmla="*/ 0 h 14"/>
                <a:gd name="T4" fmla="*/ 27 w 2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4">
                  <a:moveTo>
                    <a:pt x="0" y="14"/>
                  </a:moveTo>
                  <a:lnTo>
                    <a:pt x="14" y="0"/>
                  </a:lnTo>
                  <a:lnTo>
                    <a:pt x="27" y="14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7" name="Line 35">
              <a:extLst>
                <a:ext uri="{FF2B5EF4-FFF2-40B4-BE49-F238E27FC236}">
                  <a16:creationId xmlns:a16="http://schemas.microsoft.com/office/drawing/2014/main" xmlns="" id="{7CFF3A12-6F1B-4C19-A868-574332F270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52" y="1397"/>
              <a:ext cx="53" cy="0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8" name="Freeform 36">
              <a:extLst>
                <a:ext uri="{FF2B5EF4-FFF2-40B4-BE49-F238E27FC236}">
                  <a16:creationId xmlns:a16="http://schemas.microsoft.com/office/drawing/2014/main" xmlns="" id="{1F9E0AA6-4D79-4DC1-899D-E351BC989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" y="1384"/>
              <a:ext cx="14" cy="27"/>
            </a:xfrm>
            <a:custGeom>
              <a:avLst/>
              <a:gdLst>
                <a:gd name="T0" fmla="*/ 14 w 14"/>
                <a:gd name="T1" fmla="*/ 27 h 27"/>
                <a:gd name="T2" fmla="*/ 0 w 14"/>
                <a:gd name="T3" fmla="*/ 13 h 27"/>
                <a:gd name="T4" fmla="*/ 14 w 14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7">
                  <a:moveTo>
                    <a:pt x="14" y="27"/>
                  </a:moveTo>
                  <a:lnTo>
                    <a:pt x="0" y="13"/>
                  </a:lnTo>
                  <a:lnTo>
                    <a:pt x="14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9" name="Line 37">
              <a:extLst>
                <a:ext uri="{FF2B5EF4-FFF2-40B4-BE49-F238E27FC236}">
                  <a16:creationId xmlns:a16="http://schemas.microsoft.com/office/drawing/2014/main" xmlns="" id="{F987CC92-6FE1-4D51-A73F-8FAB814A5C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67" y="1397"/>
              <a:ext cx="53" cy="0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0" name="Freeform 38">
              <a:extLst>
                <a:ext uri="{FF2B5EF4-FFF2-40B4-BE49-F238E27FC236}">
                  <a16:creationId xmlns:a16="http://schemas.microsoft.com/office/drawing/2014/main" xmlns="" id="{33D6F48D-567D-40DA-B98A-93F947593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3" y="1384"/>
              <a:ext cx="14" cy="27"/>
            </a:xfrm>
            <a:custGeom>
              <a:avLst/>
              <a:gdLst>
                <a:gd name="T0" fmla="*/ 0 w 14"/>
                <a:gd name="T1" fmla="*/ 0 h 27"/>
                <a:gd name="T2" fmla="*/ 14 w 14"/>
                <a:gd name="T3" fmla="*/ 13 h 27"/>
                <a:gd name="T4" fmla="*/ 0 w 14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7">
                  <a:moveTo>
                    <a:pt x="0" y="0"/>
                  </a:moveTo>
                  <a:lnTo>
                    <a:pt x="14" y="13"/>
                  </a:lnTo>
                  <a:lnTo>
                    <a:pt x="0" y="27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1" name="Line 39">
              <a:extLst>
                <a:ext uri="{FF2B5EF4-FFF2-40B4-BE49-F238E27FC236}">
                  <a16:creationId xmlns:a16="http://schemas.microsoft.com/office/drawing/2014/main" xmlns="" id="{AFA879C3-BFA3-4EB0-93F4-87548185F0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47" y="1351"/>
              <a:ext cx="37" cy="37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2" name="Freeform 40">
              <a:extLst>
                <a:ext uri="{FF2B5EF4-FFF2-40B4-BE49-F238E27FC236}">
                  <a16:creationId xmlns:a16="http://schemas.microsoft.com/office/drawing/2014/main" xmlns="" id="{8F535D09-E716-4AB0-BD8F-C204F448E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" y="1331"/>
              <a:ext cx="19" cy="19"/>
            </a:xfrm>
            <a:custGeom>
              <a:avLst/>
              <a:gdLst>
                <a:gd name="T0" fmla="*/ 19 w 19"/>
                <a:gd name="T1" fmla="*/ 19 h 19"/>
                <a:gd name="T2" fmla="*/ 0 w 19"/>
                <a:gd name="T3" fmla="*/ 19 h 19"/>
                <a:gd name="T4" fmla="*/ 0 w 1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19" y="19"/>
                  </a:move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3" name="Freeform 41">
              <a:extLst>
                <a:ext uri="{FF2B5EF4-FFF2-40B4-BE49-F238E27FC236}">
                  <a16:creationId xmlns:a16="http://schemas.microsoft.com/office/drawing/2014/main" xmlns="" id="{AF238E29-3A7A-4826-9E58-31AD895C7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" y="1348"/>
              <a:ext cx="19" cy="19"/>
            </a:xfrm>
            <a:custGeom>
              <a:avLst/>
              <a:gdLst>
                <a:gd name="T0" fmla="*/ 19 w 19"/>
                <a:gd name="T1" fmla="*/ 19 h 19"/>
                <a:gd name="T2" fmla="*/ 0 w 19"/>
                <a:gd name="T3" fmla="*/ 19 h 19"/>
                <a:gd name="T4" fmla="*/ 0 w 1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19" y="19"/>
                  </a:move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4" name="Line 42">
              <a:extLst>
                <a:ext uri="{FF2B5EF4-FFF2-40B4-BE49-F238E27FC236}">
                  <a16:creationId xmlns:a16="http://schemas.microsoft.com/office/drawing/2014/main" xmlns="" id="{F64054CD-C860-47E0-B6A7-238E7F3425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747" y="1409"/>
              <a:ext cx="37" cy="37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5" name="Freeform 43">
              <a:extLst>
                <a:ext uri="{FF2B5EF4-FFF2-40B4-BE49-F238E27FC236}">
                  <a16:creationId xmlns:a16="http://schemas.microsoft.com/office/drawing/2014/main" xmlns="" id="{B5A2BC11-4DB4-48C2-89AB-E4040A847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" y="1447"/>
              <a:ext cx="19" cy="19"/>
            </a:xfrm>
            <a:custGeom>
              <a:avLst/>
              <a:gdLst>
                <a:gd name="T0" fmla="*/ 0 w 19"/>
                <a:gd name="T1" fmla="*/ 19 h 19"/>
                <a:gd name="T2" fmla="*/ 0 w 19"/>
                <a:gd name="T3" fmla="*/ 0 h 19"/>
                <a:gd name="T4" fmla="*/ 19 w 1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0" y="19"/>
                  </a:moveTo>
                  <a:lnTo>
                    <a:pt x="0" y="0"/>
                  </a:lnTo>
                  <a:lnTo>
                    <a:pt x="19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6" name="Freeform 44">
              <a:extLst>
                <a:ext uri="{FF2B5EF4-FFF2-40B4-BE49-F238E27FC236}">
                  <a16:creationId xmlns:a16="http://schemas.microsoft.com/office/drawing/2014/main" xmlns="" id="{791377D9-CF6B-44A3-B699-619FD45EC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1430"/>
              <a:ext cx="19" cy="19"/>
            </a:xfrm>
            <a:custGeom>
              <a:avLst/>
              <a:gdLst>
                <a:gd name="T0" fmla="*/ 0 w 19"/>
                <a:gd name="T1" fmla="*/ 19 h 19"/>
                <a:gd name="T2" fmla="*/ 0 w 19"/>
                <a:gd name="T3" fmla="*/ 0 h 19"/>
                <a:gd name="T4" fmla="*/ 19 w 1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0" y="19"/>
                  </a:moveTo>
                  <a:lnTo>
                    <a:pt x="0" y="0"/>
                  </a:lnTo>
                  <a:lnTo>
                    <a:pt x="19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7" name="Line 45">
              <a:extLst>
                <a:ext uri="{FF2B5EF4-FFF2-40B4-BE49-F238E27FC236}">
                  <a16:creationId xmlns:a16="http://schemas.microsoft.com/office/drawing/2014/main" xmlns="" id="{A4B2288D-E840-4206-B4E4-3AB6E39899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86" y="1409"/>
              <a:ext cx="37" cy="37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8" name="Freeform 46">
              <a:extLst>
                <a:ext uri="{FF2B5EF4-FFF2-40B4-BE49-F238E27FC236}">
                  <a16:creationId xmlns:a16="http://schemas.microsoft.com/office/drawing/2014/main" xmlns="" id="{10990A57-B045-445A-86CC-F25B84583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1447"/>
              <a:ext cx="19" cy="19"/>
            </a:xfrm>
            <a:custGeom>
              <a:avLst/>
              <a:gdLst>
                <a:gd name="T0" fmla="*/ 0 w 19"/>
                <a:gd name="T1" fmla="*/ 0 h 19"/>
                <a:gd name="T2" fmla="*/ 19 w 19"/>
                <a:gd name="T3" fmla="*/ 0 h 19"/>
                <a:gd name="T4" fmla="*/ 19 w 19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0" y="0"/>
                  </a:moveTo>
                  <a:lnTo>
                    <a:pt x="19" y="0"/>
                  </a:lnTo>
                  <a:lnTo>
                    <a:pt x="19" y="19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9" name="Freeform 47">
              <a:extLst>
                <a:ext uri="{FF2B5EF4-FFF2-40B4-BE49-F238E27FC236}">
                  <a16:creationId xmlns:a16="http://schemas.microsoft.com/office/drawing/2014/main" xmlns="" id="{4871F195-E5AC-46B9-A7FF-A2F088C35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3" y="1430"/>
              <a:ext cx="19" cy="19"/>
            </a:xfrm>
            <a:custGeom>
              <a:avLst/>
              <a:gdLst>
                <a:gd name="T0" fmla="*/ 0 w 19"/>
                <a:gd name="T1" fmla="*/ 0 h 19"/>
                <a:gd name="T2" fmla="*/ 19 w 19"/>
                <a:gd name="T3" fmla="*/ 0 h 19"/>
                <a:gd name="T4" fmla="*/ 19 w 19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0" y="0"/>
                  </a:moveTo>
                  <a:lnTo>
                    <a:pt x="19" y="0"/>
                  </a:lnTo>
                  <a:lnTo>
                    <a:pt x="19" y="19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0" name="Line 48">
              <a:extLst>
                <a:ext uri="{FF2B5EF4-FFF2-40B4-BE49-F238E27FC236}">
                  <a16:creationId xmlns:a16="http://schemas.microsoft.com/office/drawing/2014/main" xmlns="" id="{254F247E-AA49-4F8B-BB6E-867493E399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6" y="1348"/>
              <a:ext cx="37" cy="37"/>
            </a:xfrm>
            <a:prstGeom prst="line">
              <a:avLst/>
            </a:pr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1" name="Freeform 49">
              <a:extLst>
                <a:ext uri="{FF2B5EF4-FFF2-40B4-BE49-F238E27FC236}">
                  <a16:creationId xmlns:a16="http://schemas.microsoft.com/office/drawing/2014/main" xmlns="" id="{65D8FF3E-AC28-4D97-9266-D9BE0A171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1328"/>
              <a:ext cx="19" cy="19"/>
            </a:xfrm>
            <a:custGeom>
              <a:avLst/>
              <a:gdLst>
                <a:gd name="T0" fmla="*/ 19 w 19"/>
                <a:gd name="T1" fmla="*/ 0 h 19"/>
                <a:gd name="T2" fmla="*/ 19 w 19"/>
                <a:gd name="T3" fmla="*/ 19 h 19"/>
                <a:gd name="T4" fmla="*/ 0 w 19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19" y="0"/>
                  </a:moveTo>
                  <a:lnTo>
                    <a:pt x="19" y="19"/>
                  </a:lnTo>
                  <a:lnTo>
                    <a:pt x="0" y="19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2" name="Freeform 50">
              <a:extLst>
                <a:ext uri="{FF2B5EF4-FFF2-40B4-BE49-F238E27FC236}">
                  <a16:creationId xmlns:a16="http://schemas.microsoft.com/office/drawing/2014/main" xmlns="" id="{26A88B9A-E826-4EEC-9049-639E96A8A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3" y="1345"/>
              <a:ext cx="19" cy="19"/>
            </a:xfrm>
            <a:custGeom>
              <a:avLst/>
              <a:gdLst>
                <a:gd name="T0" fmla="*/ 19 w 19"/>
                <a:gd name="T1" fmla="*/ 0 h 19"/>
                <a:gd name="T2" fmla="*/ 19 w 19"/>
                <a:gd name="T3" fmla="*/ 19 h 19"/>
                <a:gd name="T4" fmla="*/ 0 w 19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9">
                  <a:moveTo>
                    <a:pt x="19" y="0"/>
                  </a:moveTo>
                  <a:lnTo>
                    <a:pt x="19" y="19"/>
                  </a:lnTo>
                  <a:lnTo>
                    <a:pt x="0" y="19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83" name="Group 53">
            <a:extLst>
              <a:ext uri="{FF2B5EF4-FFF2-40B4-BE49-F238E27FC236}">
                <a16:creationId xmlns:a16="http://schemas.microsoft.com/office/drawing/2014/main" xmlns="" id="{CC172FBF-D48C-4663-9D37-99CC8DD855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2201" y="2868103"/>
            <a:ext cx="517390" cy="477128"/>
            <a:chOff x="2273" y="1062"/>
            <a:chExt cx="1208" cy="1114"/>
          </a:xfrm>
        </p:grpSpPr>
        <p:sp>
          <p:nvSpPr>
            <p:cNvPr id="684" name="Freeform 54">
              <a:extLst>
                <a:ext uri="{FF2B5EF4-FFF2-40B4-BE49-F238E27FC236}">
                  <a16:creationId xmlns:a16="http://schemas.microsoft.com/office/drawing/2014/main" xmlns="" id="{79B20DBE-B30B-4D4E-B7FA-4C94820C1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1199"/>
              <a:ext cx="1208" cy="419"/>
            </a:xfrm>
            <a:custGeom>
              <a:avLst/>
              <a:gdLst>
                <a:gd name="T0" fmla="*/ 376 w 575"/>
                <a:gd name="T1" fmla="*/ 99 h 199"/>
                <a:gd name="T2" fmla="*/ 476 w 575"/>
                <a:gd name="T3" fmla="*/ 0 h 199"/>
                <a:gd name="T4" fmla="*/ 575 w 575"/>
                <a:gd name="T5" fmla="*/ 99 h 199"/>
                <a:gd name="T6" fmla="*/ 476 w 575"/>
                <a:gd name="T7" fmla="*/ 199 h 199"/>
                <a:gd name="T8" fmla="*/ 0 w 57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5" h="199">
                  <a:moveTo>
                    <a:pt x="376" y="99"/>
                  </a:moveTo>
                  <a:cubicBezTo>
                    <a:pt x="376" y="44"/>
                    <a:pt x="421" y="0"/>
                    <a:pt x="476" y="0"/>
                  </a:cubicBezTo>
                  <a:cubicBezTo>
                    <a:pt x="530" y="0"/>
                    <a:pt x="575" y="44"/>
                    <a:pt x="575" y="99"/>
                  </a:cubicBezTo>
                  <a:cubicBezTo>
                    <a:pt x="575" y="154"/>
                    <a:pt x="530" y="199"/>
                    <a:pt x="476" y="199"/>
                  </a:cubicBezTo>
                  <a:cubicBezTo>
                    <a:pt x="0" y="199"/>
                    <a:pt x="0" y="199"/>
                    <a:pt x="0" y="19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5" name="Freeform 55">
              <a:extLst>
                <a:ext uri="{FF2B5EF4-FFF2-40B4-BE49-F238E27FC236}">
                  <a16:creationId xmlns:a16="http://schemas.microsoft.com/office/drawing/2014/main" xmlns="" id="{CE9F2CFA-C515-4E2D-A912-34436D68A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" y="1757"/>
              <a:ext cx="834" cy="419"/>
            </a:xfrm>
            <a:custGeom>
              <a:avLst/>
              <a:gdLst>
                <a:gd name="T0" fmla="*/ 0 w 397"/>
                <a:gd name="T1" fmla="*/ 0 h 199"/>
                <a:gd name="T2" fmla="*/ 298 w 397"/>
                <a:gd name="T3" fmla="*/ 0 h 199"/>
                <a:gd name="T4" fmla="*/ 397 w 397"/>
                <a:gd name="T5" fmla="*/ 100 h 199"/>
                <a:gd name="T6" fmla="*/ 298 w 397"/>
                <a:gd name="T7" fmla="*/ 199 h 199"/>
                <a:gd name="T8" fmla="*/ 198 w 397"/>
                <a:gd name="T9" fmla="*/ 10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7" h="199">
                  <a:moveTo>
                    <a:pt x="0" y="0"/>
                  </a:moveTo>
                  <a:cubicBezTo>
                    <a:pt x="298" y="0"/>
                    <a:pt x="298" y="0"/>
                    <a:pt x="298" y="0"/>
                  </a:cubicBezTo>
                  <a:cubicBezTo>
                    <a:pt x="352" y="0"/>
                    <a:pt x="397" y="45"/>
                    <a:pt x="397" y="100"/>
                  </a:cubicBezTo>
                  <a:cubicBezTo>
                    <a:pt x="397" y="154"/>
                    <a:pt x="352" y="199"/>
                    <a:pt x="298" y="199"/>
                  </a:cubicBezTo>
                  <a:cubicBezTo>
                    <a:pt x="243" y="199"/>
                    <a:pt x="198" y="154"/>
                    <a:pt x="198" y="10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6" name="Freeform 56">
              <a:extLst>
                <a:ext uri="{FF2B5EF4-FFF2-40B4-BE49-F238E27FC236}">
                  <a16:creationId xmlns:a16="http://schemas.microsoft.com/office/drawing/2014/main" xmlns="" id="{611DBF51-12F2-4BF1-B1CA-17FAF5227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1062"/>
              <a:ext cx="632" cy="419"/>
            </a:xfrm>
            <a:custGeom>
              <a:avLst/>
              <a:gdLst>
                <a:gd name="T0" fmla="*/ 103 w 301"/>
                <a:gd name="T1" fmla="*/ 100 h 199"/>
                <a:gd name="T2" fmla="*/ 202 w 301"/>
                <a:gd name="T3" fmla="*/ 0 h 199"/>
                <a:gd name="T4" fmla="*/ 301 w 301"/>
                <a:gd name="T5" fmla="*/ 100 h 199"/>
                <a:gd name="T6" fmla="*/ 202 w 301"/>
                <a:gd name="T7" fmla="*/ 199 h 199"/>
                <a:gd name="T8" fmla="*/ 0 w 301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99">
                  <a:moveTo>
                    <a:pt x="103" y="100"/>
                  </a:moveTo>
                  <a:cubicBezTo>
                    <a:pt x="103" y="45"/>
                    <a:pt x="147" y="0"/>
                    <a:pt x="202" y="0"/>
                  </a:cubicBezTo>
                  <a:cubicBezTo>
                    <a:pt x="257" y="0"/>
                    <a:pt x="301" y="45"/>
                    <a:pt x="301" y="100"/>
                  </a:cubicBezTo>
                  <a:cubicBezTo>
                    <a:pt x="301" y="154"/>
                    <a:pt x="257" y="199"/>
                    <a:pt x="202" y="199"/>
                  </a:cubicBezTo>
                  <a:cubicBezTo>
                    <a:pt x="0" y="199"/>
                    <a:pt x="0" y="199"/>
                    <a:pt x="0" y="199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698" name="Freeform 73">
            <a:extLst>
              <a:ext uri="{FF2B5EF4-FFF2-40B4-BE49-F238E27FC236}">
                <a16:creationId xmlns:a16="http://schemas.microsoft.com/office/drawing/2014/main" xmlns="" id="{94B6F8A5-A21D-4CEA-BF7D-9D03776E6EA5}"/>
              </a:ext>
            </a:extLst>
          </p:cNvPr>
          <p:cNvSpPr>
            <a:spLocks noEditPoints="1"/>
          </p:cNvSpPr>
          <p:nvPr/>
        </p:nvSpPr>
        <p:spPr bwMode="auto">
          <a:xfrm>
            <a:off x="8055037" y="2758088"/>
            <a:ext cx="520033" cy="536980"/>
          </a:xfrm>
          <a:custGeom>
            <a:avLst/>
            <a:gdLst>
              <a:gd name="T0" fmla="*/ 235 w 511"/>
              <a:gd name="T1" fmla="*/ 268 h 527"/>
              <a:gd name="T2" fmla="*/ 245 w 511"/>
              <a:gd name="T3" fmla="*/ 187 h 527"/>
              <a:gd name="T4" fmla="*/ 226 w 511"/>
              <a:gd name="T5" fmla="*/ 187 h 527"/>
              <a:gd name="T6" fmla="*/ 238 w 511"/>
              <a:gd name="T7" fmla="*/ 110 h 527"/>
              <a:gd name="T8" fmla="*/ 290 w 511"/>
              <a:gd name="T9" fmla="*/ 110 h 527"/>
              <a:gd name="T10" fmla="*/ 284 w 511"/>
              <a:gd name="T11" fmla="*/ 153 h 527"/>
              <a:gd name="T12" fmla="*/ 310 w 511"/>
              <a:gd name="T13" fmla="*/ 153 h 527"/>
              <a:gd name="T14" fmla="*/ 235 w 511"/>
              <a:gd name="T15" fmla="*/ 268 h 527"/>
              <a:gd name="T16" fmla="*/ 511 w 511"/>
              <a:gd name="T17" fmla="*/ 391 h 527"/>
              <a:gd name="T18" fmla="*/ 344 w 511"/>
              <a:gd name="T19" fmla="*/ 384 h 527"/>
              <a:gd name="T20" fmla="*/ 167 w 511"/>
              <a:gd name="T21" fmla="*/ 384 h 527"/>
              <a:gd name="T22" fmla="*/ 0 w 511"/>
              <a:gd name="T23" fmla="*/ 391 h 527"/>
              <a:gd name="T24" fmla="*/ 511 w 511"/>
              <a:gd name="T25" fmla="*/ 480 h 527"/>
              <a:gd name="T26" fmla="*/ 344 w 511"/>
              <a:gd name="T27" fmla="*/ 472 h 527"/>
              <a:gd name="T28" fmla="*/ 167 w 511"/>
              <a:gd name="T29" fmla="*/ 472 h 527"/>
              <a:gd name="T30" fmla="*/ 0 w 511"/>
              <a:gd name="T31" fmla="*/ 480 h 527"/>
              <a:gd name="T32" fmla="*/ 179 w 511"/>
              <a:gd name="T33" fmla="*/ 64 h 527"/>
              <a:gd name="T34" fmla="*/ 147 w 511"/>
              <a:gd name="T35" fmla="*/ 33 h 527"/>
              <a:gd name="T36" fmla="*/ 138 w 511"/>
              <a:gd name="T37" fmla="*/ 104 h 527"/>
              <a:gd name="T38" fmla="*/ 117 w 511"/>
              <a:gd name="T39" fmla="*/ 153 h 527"/>
              <a:gd name="T40" fmla="*/ 73 w 511"/>
              <a:gd name="T41" fmla="*/ 153 h 527"/>
              <a:gd name="T42" fmla="*/ 117 w 511"/>
              <a:gd name="T43" fmla="*/ 210 h 527"/>
              <a:gd name="T44" fmla="*/ 137 w 511"/>
              <a:gd name="T45" fmla="*/ 259 h 527"/>
              <a:gd name="T46" fmla="*/ 105 w 511"/>
              <a:gd name="T47" fmla="*/ 291 h 527"/>
              <a:gd name="T48" fmla="*/ 177 w 511"/>
              <a:gd name="T49" fmla="*/ 300 h 527"/>
              <a:gd name="T50" fmla="*/ 226 w 511"/>
              <a:gd name="T51" fmla="*/ 321 h 527"/>
              <a:gd name="T52" fmla="*/ 226 w 511"/>
              <a:gd name="T53" fmla="*/ 365 h 527"/>
              <a:gd name="T54" fmla="*/ 283 w 511"/>
              <a:gd name="T55" fmla="*/ 321 h 527"/>
              <a:gd name="T56" fmla="*/ 332 w 511"/>
              <a:gd name="T57" fmla="*/ 301 h 527"/>
              <a:gd name="T58" fmla="*/ 364 w 511"/>
              <a:gd name="T59" fmla="*/ 332 h 527"/>
              <a:gd name="T60" fmla="*/ 373 w 511"/>
              <a:gd name="T61" fmla="*/ 261 h 527"/>
              <a:gd name="T62" fmla="*/ 393 w 511"/>
              <a:gd name="T63" fmla="*/ 212 h 527"/>
              <a:gd name="T64" fmla="*/ 438 w 511"/>
              <a:gd name="T65" fmla="*/ 212 h 527"/>
              <a:gd name="T66" fmla="*/ 394 w 511"/>
              <a:gd name="T67" fmla="*/ 155 h 527"/>
              <a:gd name="T68" fmla="*/ 374 w 511"/>
              <a:gd name="T69" fmla="*/ 106 h 527"/>
              <a:gd name="T70" fmla="*/ 405 w 511"/>
              <a:gd name="T71" fmla="*/ 74 h 527"/>
              <a:gd name="T72" fmla="*/ 334 w 511"/>
              <a:gd name="T73" fmla="*/ 65 h 527"/>
              <a:gd name="T74" fmla="*/ 285 w 511"/>
              <a:gd name="T75" fmla="*/ 44 h 527"/>
              <a:gd name="T76" fmla="*/ 285 w 511"/>
              <a:gd name="T77" fmla="*/ 0 h 527"/>
              <a:gd name="T78" fmla="*/ 228 w 511"/>
              <a:gd name="T79" fmla="*/ 44 h 527"/>
              <a:gd name="T80" fmla="*/ 179 w 511"/>
              <a:gd name="T81" fmla="*/ 64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1" h="527">
                <a:moveTo>
                  <a:pt x="235" y="268"/>
                </a:moveTo>
                <a:cubicBezTo>
                  <a:pt x="245" y="187"/>
                  <a:pt x="245" y="187"/>
                  <a:pt x="245" y="187"/>
                </a:cubicBezTo>
                <a:cubicBezTo>
                  <a:pt x="226" y="187"/>
                  <a:pt x="226" y="187"/>
                  <a:pt x="226" y="187"/>
                </a:cubicBezTo>
                <a:cubicBezTo>
                  <a:pt x="238" y="110"/>
                  <a:pt x="238" y="110"/>
                  <a:pt x="238" y="110"/>
                </a:cubicBezTo>
                <a:cubicBezTo>
                  <a:pt x="290" y="110"/>
                  <a:pt x="290" y="110"/>
                  <a:pt x="290" y="110"/>
                </a:cubicBezTo>
                <a:cubicBezTo>
                  <a:pt x="284" y="153"/>
                  <a:pt x="284" y="153"/>
                  <a:pt x="284" y="153"/>
                </a:cubicBezTo>
                <a:cubicBezTo>
                  <a:pt x="310" y="153"/>
                  <a:pt x="310" y="153"/>
                  <a:pt x="310" y="153"/>
                </a:cubicBezTo>
                <a:lnTo>
                  <a:pt x="235" y="268"/>
                </a:lnTo>
                <a:close/>
                <a:moveTo>
                  <a:pt x="511" y="391"/>
                </a:moveTo>
                <a:cubicBezTo>
                  <a:pt x="450" y="439"/>
                  <a:pt x="402" y="428"/>
                  <a:pt x="344" y="384"/>
                </a:cubicBezTo>
                <a:cubicBezTo>
                  <a:pt x="277" y="436"/>
                  <a:pt x="234" y="435"/>
                  <a:pt x="167" y="384"/>
                </a:cubicBezTo>
                <a:cubicBezTo>
                  <a:pt x="109" y="428"/>
                  <a:pt x="61" y="439"/>
                  <a:pt x="0" y="391"/>
                </a:cubicBezTo>
                <a:moveTo>
                  <a:pt x="511" y="480"/>
                </a:moveTo>
                <a:cubicBezTo>
                  <a:pt x="450" y="527"/>
                  <a:pt x="402" y="517"/>
                  <a:pt x="344" y="472"/>
                </a:cubicBezTo>
                <a:cubicBezTo>
                  <a:pt x="277" y="524"/>
                  <a:pt x="234" y="524"/>
                  <a:pt x="167" y="472"/>
                </a:cubicBezTo>
                <a:cubicBezTo>
                  <a:pt x="109" y="517"/>
                  <a:pt x="61" y="527"/>
                  <a:pt x="0" y="480"/>
                </a:cubicBezTo>
                <a:moveTo>
                  <a:pt x="179" y="64"/>
                </a:moveTo>
                <a:cubicBezTo>
                  <a:pt x="147" y="33"/>
                  <a:pt x="147" y="33"/>
                  <a:pt x="147" y="33"/>
                </a:cubicBezTo>
                <a:cubicBezTo>
                  <a:pt x="128" y="52"/>
                  <a:pt x="125" y="81"/>
                  <a:pt x="138" y="104"/>
                </a:cubicBezTo>
                <a:cubicBezTo>
                  <a:pt x="128" y="119"/>
                  <a:pt x="121" y="135"/>
                  <a:pt x="117" y="153"/>
                </a:cubicBezTo>
                <a:cubicBezTo>
                  <a:pt x="73" y="153"/>
                  <a:pt x="73" y="153"/>
                  <a:pt x="73" y="153"/>
                </a:cubicBezTo>
                <a:cubicBezTo>
                  <a:pt x="73" y="180"/>
                  <a:pt x="92" y="203"/>
                  <a:pt x="117" y="210"/>
                </a:cubicBezTo>
                <a:cubicBezTo>
                  <a:pt x="120" y="228"/>
                  <a:pt x="127" y="245"/>
                  <a:pt x="137" y="259"/>
                </a:cubicBezTo>
                <a:cubicBezTo>
                  <a:pt x="105" y="291"/>
                  <a:pt x="105" y="291"/>
                  <a:pt x="105" y="291"/>
                </a:cubicBezTo>
                <a:cubicBezTo>
                  <a:pt x="125" y="310"/>
                  <a:pt x="154" y="313"/>
                  <a:pt x="177" y="300"/>
                </a:cubicBezTo>
                <a:cubicBezTo>
                  <a:pt x="192" y="310"/>
                  <a:pt x="208" y="317"/>
                  <a:pt x="226" y="321"/>
                </a:cubicBezTo>
                <a:cubicBezTo>
                  <a:pt x="226" y="365"/>
                  <a:pt x="226" y="365"/>
                  <a:pt x="226" y="365"/>
                </a:cubicBezTo>
                <a:cubicBezTo>
                  <a:pt x="253" y="365"/>
                  <a:pt x="276" y="346"/>
                  <a:pt x="283" y="321"/>
                </a:cubicBezTo>
                <a:cubicBezTo>
                  <a:pt x="301" y="317"/>
                  <a:pt x="317" y="310"/>
                  <a:pt x="332" y="301"/>
                </a:cubicBezTo>
                <a:cubicBezTo>
                  <a:pt x="364" y="332"/>
                  <a:pt x="364" y="332"/>
                  <a:pt x="364" y="332"/>
                </a:cubicBezTo>
                <a:cubicBezTo>
                  <a:pt x="383" y="313"/>
                  <a:pt x="386" y="283"/>
                  <a:pt x="373" y="261"/>
                </a:cubicBezTo>
                <a:cubicBezTo>
                  <a:pt x="382" y="246"/>
                  <a:pt x="390" y="230"/>
                  <a:pt x="393" y="212"/>
                </a:cubicBezTo>
                <a:cubicBezTo>
                  <a:pt x="438" y="212"/>
                  <a:pt x="438" y="212"/>
                  <a:pt x="438" y="212"/>
                </a:cubicBezTo>
                <a:cubicBezTo>
                  <a:pt x="438" y="185"/>
                  <a:pt x="419" y="161"/>
                  <a:pt x="394" y="155"/>
                </a:cubicBezTo>
                <a:cubicBezTo>
                  <a:pt x="390" y="137"/>
                  <a:pt x="383" y="120"/>
                  <a:pt x="374" y="106"/>
                </a:cubicBezTo>
                <a:cubicBezTo>
                  <a:pt x="405" y="74"/>
                  <a:pt x="405" y="74"/>
                  <a:pt x="405" y="74"/>
                </a:cubicBezTo>
                <a:cubicBezTo>
                  <a:pt x="386" y="55"/>
                  <a:pt x="356" y="52"/>
                  <a:pt x="334" y="65"/>
                </a:cubicBezTo>
                <a:cubicBezTo>
                  <a:pt x="319" y="55"/>
                  <a:pt x="303" y="48"/>
                  <a:pt x="285" y="44"/>
                </a:cubicBezTo>
                <a:cubicBezTo>
                  <a:pt x="285" y="0"/>
                  <a:pt x="285" y="0"/>
                  <a:pt x="285" y="0"/>
                </a:cubicBezTo>
                <a:cubicBezTo>
                  <a:pt x="257" y="0"/>
                  <a:pt x="234" y="19"/>
                  <a:pt x="228" y="44"/>
                </a:cubicBezTo>
                <a:cubicBezTo>
                  <a:pt x="210" y="48"/>
                  <a:pt x="193" y="54"/>
                  <a:pt x="179" y="64"/>
                </a:cubicBezTo>
                <a:close/>
              </a:path>
            </a:pathLst>
          </a:custGeom>
          <a:noFill/>
          <a:ln w="14351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711" name="Group 93">
            <a:extLst>
              <a:ext uri="{FF2B5EF4-FFF2-40B4-BE49-F238E27FC236}">
                <a16:creationId xmlns:a16="http://schemas.microsoft.com/office/drawing/2014/main" xmlns="" id="{69042743-C2B7-49E7-9203-3473CD068C5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41459" y="2823136"/>
            <a:ext cx="230851" cy="530294"/>
            <a:chOff x="2565" y="901"/>
            <a:chExt cx="626" cy="1438"/>
          </a:xfrm>
        </p:grpSpPr>
        <p:sp>
          <p:nvSpPr>
            <p:cNvPr id="712" name="Freeform 94">
              <a:extLst>
                <a:ext uri="{FF2B5EF4-FFF2-40B4-BE49-F238E27FC236}">
                  <a16:creationId xmlns:a16="http://schemas.microsoft.com/office/drawing/2014/main" xmlns="" id="{1DFB708C-2709-4034-80B5-2334C0BF0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901"/>
              <a:ext cx="626" cy="1438"/>
            </a:xfrm>
            <a:custGeom>
              <a:avLst/>
              <a:gdLst>
                <a:gd name="T0" fmla="*/ 236 w 296"/>
                <a:gd name="T1" fmla="*/ 417 h 684"/>
                <a:gd name="T2" fmla="*/ 236 w 296"/>
                <a:gd name="T3" fmla="*/ 88 h 684"/>
                <a:gd name="T4" fmla="*/ 148 w 296"/>
                <a:gd name="T5" fmla="*/ 0 h 684"/>
                <a:gd name="T6" fmla="*/ 60 w 296"/>
                <a:gd name="T7" fmla="*/ 88 h 684"/>
                <a:gd name="T8" fmla="*/ 60 w 296"/>
                <a:gd name="T9" fmla="*/ 417 h 684"/>
                <a:gd name="T10" fmla="*/ 0 w 296"/>
                <a:gd name="T11" fmla="*/ 536 h 684"/>
                <a:gd name="T12" fmla="*/ 148 w 296"/>
                <a:gd name="T13" fmla="*/ 684 h 684"/>
                <a:gd name="T14" fmla="*/ 296 w 296"/>
                <a:gd name="T15" fmla="*/ 536 h 684"/>
                <a:gd name="T16" fmla="*/ 236 w 296"/>
                <a:gd name="T17" fmla="*/ 417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6" h="684">
                  <a:moveTo>
                    <a:pt x="236" y="417"/>
                  </a:moveTo>
                  <a:cubicBezTo>
                    <a:pt x="236" y="88"/>
                    <a:pt x="236" y="88"/>
                    <a:pt x="236" y="88"/>
                  </a:cubicBezTo>
                  <a:cubicBezTo>
                    <a:pt x="236" y="40"/>
                    <a:pt x="196" y="0"/>
                    <a:pt x="148" y="0"/>
                  </a:cubicBezTo>
                  <a:cubicBezTo>
                    <a:pt x="100" y="0"/>
                    <a:pt x="60" y="40"/>
                    <a:pt x="60" y="88"/>
                  </a:cubicBezTo>
                  <a:cubicBezTo>
                    <a:pt x="60" y="417"/>
                    <a:pt x="60" y="417"/>
                    <a:pt x="60" y="417"/>
                  </a:cubicBezTo>
                  <a:cubicBezTo>
                    <a:pt x="24" y="444"/>
                    <a:pt x="0" y="487"/>
                    <a:pt x="0" y="536"/>
                  </a:cubicBezTo>
                  <a:cubicBezTo>
                    <a:pt x="0" y="618"/>
                    <a:pt x="66" y="684"/>
                    <a:pt x="148" y="684"/>
                  </a:cubicBezTo>
                  <a:cubicBezTo>
                    <a:pt x="230" y="684"/>
                    <a:pt x="296" y="618"/>
                    <a:pt x="296" y="536"/>
                  </a:cubicBezTo>
                  <a:cubicBezTo>
                    <a:pt x="296" y="487"/>
                    <a:pt x="272" y="444"/>
                    <a:pt x="236" y="417"/>
                  </a:cubicBezTo>
                  <a:close/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3" name="Freeform 95">
              <a:extLst>
                <a:ext uri="{FF2B5EF4-FFF2-40B4-BE49-F238E27FC236}">
                  <a16:creationId xmlns:a16="http://schemas.microsoft.com/office/drawing/2014/main" xmlns="" id="{88D191F8-5D83-4217-B8C1-7A7DD9B49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" y="1498"/>
              <a:ext cx="359" cy="719"/>
            </a:xfrm>
            <a:custGeom>
              <a:avLst/>
              <a:gdLst>
                <a:gd name="T0" fmla="*/ 35 w 170"/>
                <a:gd name="T1" fmla="*/ 0 h 342"/>
                <a:gd name="T2" fmla="*/ 35 w 170"/>
                <a:gd name="T3" fmla="*/ 189 h 342"/>
                <a:gd name="T4" fmla="*/ 0 w 170"/>
                <a:gd name="T5" fmla="*/ 257 h 342"/>
                <a:gd name="T6" fmla="*/ 85 w 170"/>
                <a:gd name="T7" fmla="*/ 342 h 342"/>
                <a:gd name="T8" fmla="*/ 170 w 170"/>
                <a:gd name="T9" fmla="*/ 257 h 342"/>
                <a:gd name="T10" fmla="*/ 135 w 170"/>
                <a:gd name="T11" fmla="*/ 189 h 342"/>
                <a:gd name="T12" fmla="*/ 135 w 170"/>
                <a:gd name="T13" fmla="*/ 0 h 342"/>
                <a:gd name="T14" fmla="*/ 35 w 170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342">
                  <a:moveTo>
                    <a:pt x="35" y="0"/>
                  </a:moveTo>
                  <a:cubicBezTo>
                    <a:pt x="35" y="189"/>
                    <a:pt x="35" y="189"/>
                    <a:pt x="35" y="189"/>
                  </a:cubicBezTo>
                  <a:cubicBezTo>
                    <a:pt x="14" y="204"/>
                    <a:pt x="0" y="229"/>
                    <a:pt x="0" y="257"/>
                  </a:cubicBezTo>
                  <a:cubicBezTo>
                    <a:pt x="0" y="304"/>
                    <a:pt x="38" y="342"/>
                    <a:pt x="85" y="342"/>
                  </a:cubicBezTo>
                  <a:cubicBezTo>
                    <a:pt x="132" y="342"/>
                    <a:pt x="170" y="304"/>
                    <a:pt x="170" y="257"/>
                  </a:cubicBezTo>
                  <a:cubicBezTo>
                    <a:pt x="170" y="229"/>
                    <a:pt x="156" y="204"/>
                    <a:pt x="135" y="189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35" y="0"/>
                  </a:lnTo>
                  <a:close/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4" name="Line 96">
              <a:extLst>
                <a:ext uri="{FF2B5EF4-FFF2-40B4-BE49-F238E27FC236}">
                  <a16:creationId xmlns:a16="http://schemas.microsoft.com/office/drawing/2014/main" xmlns="" id="{7B4DF249-10C1-480D-817C-940B991E8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0" y="1305"/>
              <a:ext cx="160" cy="0"/>
            </a:xfrm>
            <a:prstGeom prst="line">
              <a:avLst/>
            </a:prstGeom>
            <a:noFill/>
            <a:ln w="14288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5" name="Line 97">
              <a:extLst>
                <a:ext uri="{FF2B5EF4-FFF2-40B4-BE49-F238E27FC236}">
                  <a16:creationId xmlns:a16="http://schemas.microsoft.com/office/drawing/2014/main" xmlns="" id="{3CA79F84-1ABB-4A99-80E8-EC7941F7DE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4" y="1187"/>
              <a:ext cx="161" cy="0"/>
            </a:xfrm>
            <a:prstGeom prst="line">
              <a:avLst/>
            </a:prstGeom>
            <a:noFill/>
            <a:ln w="14288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16" name="Group 100">
            <a:extLst>
              <a:ext uri="{FF2B5EF4-FFF2-40B4-BE49-F238E27FC236}">
                <a16:creationId xmlns:a16="http://schemas.microsoft.com/office/drawing/2014/main" xmlns="" id="{6F2B8052-9B43-4D19-BB07-F5C6FA71AF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4240" y="3912887"/>
            <a:ext cx="538163" cy="523875"/>
            <a:chOff x="2790" y="1852"/>
            <a:chExt cx="339" cy="330"/>
          </a:xfrm>
        </p:grpSpPr>
        <p:sp>
          <p:nvSpPr>
            <p:cNvPr id="717" name="Freeform 101">
              <a:extLst>
                <a:ext uri="{FF2B5EF4-FFF2-40B4-BE49-F238E27FC236}">
                  <a16:creationId xmlns:a16="http://schemas.microsoft.com/office/drawing/2014/main" xmlns="" id="{751D20F7-79DC-4D76-9891-788CE3C17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1937"/>
              <a:ext cx="51" cy="245"/>
            </a:xfrm>
            <a:custGeom>
              <a:avLst/>
              <a:gdLst>
                <a:gd name="T0" fmla="*/ 100 w 148"/>
                <a:gd name="T1" fmla="*/ 716 h 716"/>
                <a:gd name="T2" fmla="*/ 48 w 148"/>
                <a:gd name="T3" fmla="*/ 716 h 716"/>
                <a:gd name="T4" fmla="*/ 0 w 148"/>
                <a:gd name="T5" fmla="*/ 668 h 716"/>
                <a:gd name="T6" fmla="*/ 0 w 148"/>
                <a:gd name="T7" fmla="*/ 48 h 716"/>
                <a:gd name="T8" fmla="*/ 48 w 148"/>
                <a:gd name="T9" fmla="*/ 0 h 716"/>
                <a:gd name="T10" fmla="*/ 100 w 148"/>
                <a:gd name="T11" fmla="*/ 0 h 716"/>
                <a:gd name="T12" fmla="*/ 148 w 148"/>
                <a:gd name="T13" fmla="*/ 48 h 716"/>
                <a:gd name="T14" fmla="*/ 148 w 148"/>
                <a:gd name="T15" fmla="*/ 668 h 716"/>
                <a:gd name="T16" fmla="*/ 100 w 148"/>
                <a:gd name="T1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716">
                  <a:moveTo>
                    <a:pt x="100" y="716"/>
                  </a:moveTo>
                  <a:cubicBezTo>
                    <a:pt x="48" y="716"/>
                    <a:pt x="48" y="716"/>
                    <a:pt x="48" y="716"/>
                  </a:cubicBezTo>
                  <a:cubicBezTo>
                    <a:pt x="22" y="716"/>
                    <a:pt x="0" y="694"/>
                    <a:pt x="0" y="6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6" y="0"/>
                    <a:pt x="148" y="22"/>
                    <a:pt x="148" y="48"/>
                  </a:cubicBezTo>
                  <a:cubicBezTo>
                    <a:pt x="148" y="668"/>
                    <a:pt x="148" y="668"/>
                    <a:pt x="148" y="668"/>
                  </a:cubicBezTo>
                  <a:cubicBezTo>
                    <a:pt x="148" y="694"/>
                    <a:pt x="126" y="716"/>
                    <a:pt x="100" y="716"/>
                  </a:cubicBezTo>
                  <a:close/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8" name="Freeform 102">
              <a:extLst>
                <a:ext uri="{FF2B5EF4-FFF2-40B4-BE49-F238E27FC236}">
                  <a16:creationId xmlns:a16="http://schemas.microsoft.com/office/drawing/2014/main" xmlns="" id="{7D3688E9-946E-44C1-9EBD-DB93867B5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1937"/>
              <a:ext cx="50" cy="245"/>
            </a:xfrm>
            <a:custGeom>
              <a:avLst/>
              <a:gdLst>
                <a:gd name="T0" fmla="*/ 100 w 148"/>
                <a:gd name="T1" fmla="*/ 716 h 716"/>
                <a:gd name="T2" fmla="*/ 48 w 148"/>
                <a:gd name="T3" fmla="*/ 716 h 716"/>
                <a:gd name="T4" fmla="*/ 0 w 148"/>
                <a:gd name="T5" fmla="*/ 668 h 716"/>
                <a:gd name="T6" fmla="*/ 0 w 148"/>
                <a:gd name="T7" fmla="*/ 48 h 716"/>
                <a:gd name="T8" fmla="*/ 48 w 148"/>
                <a:gd name="T9" fmla="*/ 0 h 716"/>
                <a:gd name="T10" fmla="*/ 100 w 148"/>
                <a:gd name="T11" fmla="*/ 0 h 716"/>
                <a:gd name="T12" fmla="*/ 148 w 148"/>
                <a:gd name="T13" fmla="*/ 48 h 716"/>
                <a:gd name="T14" fmla="*/ 148 w 148"/>
                <a:gd name="T15" fmla="*/ 668 h 716"/>
                <a:gd name="T16" fmla="*/ 100 w 148"/>
                <a:gd name="T1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716">
                  <a:moveTo>
                    <a:pt x="100" y="716"/>
                  </a:moveTo>
                  <a:cubicBezTo>
                    <a:pt x="48" y="716"/>
                    <a:pt x="48" y="716"/>
                    <a:pt x="48" y="716"/>
                  </a:cubicBezTo>
                  <a:cubicBezTo>
                    <a:pt x="22" y="716"/>
                    <a:pt x="0" y="694"/>
                    <a:pt x="0" y="6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6" y="0"/>
                    <a:pt x="148" y="22"/>
                    <a:pt x="148" y="48"/>
                  </a:cubicBezTo>
                  <a:cubicBezTo>
                    <a:pt x="148" y="668"/>
                    <a:pt x="148" y="668"/>
                    <a:pt x="148" y="668"/>
                  </a:cubicBezTo>
                  <a:cubicBezTo>
                    <a:pt x="148" y="694"/>
                    <a:pt x="126" y="716"/>
                    <a:pt x="100" y="716"/>
                  </a:cubicBezTo>
                  <a:close/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9" name="Freeform 103">
              <a:extLst>
                <a:ext uri="{FF2B5EF4-FFF2-40B4-BE49-F238E27FC236}">
                  <a16:creationId xmlns:a16="http://schemas.microsoft.com/office/drawing/2014/main" xmlns="" id="{4DECEEDC-8095-40CF-83BC-0348B1F4F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" y="1937"/>
              <a:ext cx="51" cy="245"/>
            </a:xfrm>
            <a:custGeom>
              <a:avLst/>
              <a:gdLst>
                <a:gd name="T0" fmla="*/ 100 w 148"/>
                <a:gd name="T1" fmla="*/ 716 h 716"/>
                <a:gd name="T2" fmla="*/ 48 w 148"/>
                <a:gd name="T3" fmla="*/ 716 h 716"/>
                <a:gd name="T4" fmla="*/ 0 w 148"/>
                <a:gd name="T5" fmla="*/ 668 h 716"/>
                <a:gd name="T6" fmla="*/ 0 w 148"/>
                <a:gd name="T7" fmla="*/ 48 h 716"/>
                <a:gd name="T8" fmla="*/ 48 w 148"/>
                <a:gd name="T9" fmla="*/ 0 h 716"/>
                <a:gd name="T10" fmla="*/ 100 w 148"/>
                <a:gd name="T11" fmla="*/ 0 h 716"/>
                <a:gd name="T12" fmla="*/ 148 w 148"/>
                <a:gd name="T13" fmla="*/ 48 h 716"/>
                <a:gd name="T14" fmla="*/ 148 w 148"/>
                <a:gd name="T15" fmla="*/ 668 h 716"/>
                <a:gd name="T16" fmla="*/ 100 w 148"/>
                <a:gd name="T1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716">
                  <a:moveTo>
                    <a:pt x="100" y="716"/>
                  </a:moveTo>
                  <a:cubicBezTo>
                    <a:pt x="48" y="716"/>
                    <a:pt x="48" y="716"/>
                    <a:pt x="48" y="716"/>
                  </a:cubicBezTo>
                  <a:cubicBezTo>
                    <a:pt x="22" y="716"/>
                    <a:pt x="0" y="694"/>
                    <a:pt x="0" y="6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6" y="0"/>
                    <a:pt x="148" y="22"/>
                    <a:pt x="148" y="48"/>
                  </a:cubicBezTo>
                  <a:cubicBezTo>
                    <a:pt x="148" y="668"/>
                    <a:pt x="148" y="668"/>
                    <a:pt x="148" y="668"/>
                  </a:cubicBezTo>
                  <a:cubicBezTo>
                    <a:pt x="148" y="694"/>
                    <a:pt x="126" y="716"/>
                    <a:pt x="100" y="716"/>
                  </a:cubicBezTo>
                  <a:close/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0" name="Freeform 104">
              <a:extLst>
                <a:ext uri="{FF2B5EF4-FFF2-40B4-BE49-F238E27FC236}">
                  <a16:creationId xmlns:a16="http://schemas.microsoft.com/office/drawing/2014/main" xmlns="" id="{C9397B71-4CF7-47C5-81A4-116AA2DB6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" y="1937"/>
              <a:ext cx="50" cy="245"/>
            </a:xfrm>
            <a:custGeom>
              <a:avLst/>
              <a:gdLst>
                <a:gd name="T0" fmla="*/ 100 w 148"/>
                <a:gd name="T1" fmla="*/ 716 h 716"/>
                <a:gd name="T2" fmla="*/ 48 w 148"/>
                <a:gd name="T3" fmla="*/ 716 h 716"/>
                <a:gd name="T4" fmla="*/ 0 w 148"/>
                <a:gd name="T5" fmla="*/ 668 h 716"/>
                <a:gd name="T6" fmla="*/ 0 w 148"/>
                <a:gd name="T7" fmla="*/ 48 h 716"/>
                <a:gd name="T8" fmla="*/ 48 w 148"/>
                <a:gd name="T9" fmla="*/ 0 h 716"/>
                <a:gd name="T10" fmla="*/ 100 w 148"/>
                <a:gd name="T11" fmla="*/ 0 h 716"/>
                <a:gd name="T12" fmla="*/ 148 w 148"/>
                <a:gd name="T13" fmla="*/ 48 h 716"/>
                <a:gd name="T14" fmla="*/ 148 w 148"/>
                <a:gd name="T15" fmla="*/ 668 h 716"/>
                <a:gd name="T16" fmla="*/ 100 w 148"/>
                <a:gd name="T1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716">
                  <a:moveTo>
                    <a:pt x="100" y="716"/>
                  </a:moveTo>
                  <a:cubicBezTo>
                    <a:pt x="48" y="716"/>
                    <a:pt x="48" y="716"/>
                    <a:pt x="48" y="716"/>
                  </a:cubicBezTo>
                  <a:cubicBezTo>
                    <a:pt x="22" y="716"/>
                    <a:pt x="0" y="694"/>
                    <a:pt x="0" y="6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6" y="0"/>
                    <a:pt x="148" y="22"/>
                    <a:pt x="148" y="48"/>
                  </a:cubicBezTo>
                  <a:cubicBezTo>
                    <a:pt x="148" y="668"/>
                    <a:pt x="148" y="668"/>
                    <a:pt x="148" y="668"/>
                  </a:cubicBezTo>
                  <a:cubicBezTo>
                    <a:pt x="148" y="694"/>
                    <a:pt x="126" y="716"/>
                    <a:pt x="100" y="716"/>
                  </a:cubicBezTo>
                  <a:close/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1" name="Freeform 105">
              <a:extLst>
                <a:ext uri="{FF2B5EF4-FFF2-40B4-BE49-F238E27FC236}">
                  <a16:creationId xmlns:a16="http://schemas.microsoft.com/office/drawing/2014/main" xmlns="" id="{74C1B13B-4E61-4F48-AA41-1CCDC1A9A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" y="1937"/>
              <a:ext cx="51" cy="245"/>
            </a:xfrm>
            <a:custGeom>
              <a:avLst/>
              <a:gdLst>
                <a:gd name="T0" fmla="*/ 100 w 148"/>
                <a:gd name="T1" fmla="*/ 716 h 716"/>
                <a:gd name="T2" fmla="*/ 48 w 148"/>
                <a:gd name="T3" fmla="*/ 716 h 716"/>
                <a:gd name="T4" fmla="*/ 0 w 148"/>
                <a:gd name="T5" fmla="*/ 668 h 716"/>
                <a:gd name="T6" fmla="*/ 0 w 148"/>
                <a:gd name="T7" fmla="*/ 48 h 716"/>
                <a:gd name="T8" fmla="*/ 48 w 148"/>
                <a:gd name="T9" fmla="*/ 0 h 716"/>
                <a:gd name="T10" fmla="*/ 100 w 148"/>
                <a:gd name="T11" fmla="*/ 0 h 716"/>
                <a:gd name="T12" fmla="*/ 148 w 148"/>
                <a:gd name="T13" fmla="*/ 48 h 716"/>
                <a:gd name="T14" fmla="*/ 148 w 148"/>
                <a:gd name="T15" fmla="*/ 668 h 716"/>
                <a:gd name="T16" fmla="*/ 100 w 148"/>
                <a:gd name="T1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716">
                  <a:moveTo>
                    <a:pt x="100" y="716"/>
                  </a:moveTo>
                  <a:cubicBezTo>
                    <a:pt x="48" y="716"/>
                    <a:pt x="48" y="716"/>
                    <a:pt x="48" y="716"/>
                  </a:cubicBezTo>
                  <a:cubicBezTo>
                    <a:pt x="22" y="716"/>
                    <a:pt x="0" y="694"/>
                    <a:pt x="0" y="6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6" y="0"/>
                    <a:pt x="148" y="22"/>
                    <a:pt x="148" y="48"/>
                  </a:cubicBezTo>
                  <a:cubicBezTo>
                    <a:pt x="148" y="668"/>
                    <a:pt x="148" y="668"/>
                    <a:pt x="148" y="668"/>
                  </a:cubicBezTo>
                  <a:cubicBezTo>
                    <a:pt x="148" y="694"/>
                    <a:pt x="126" y="716"/>
                    <a:pt x="100" y="716"/>
                  </a:cubicBezTo>
                  <a:close/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2" name="Line 106">
              <a:extLst>
                <a:ext uri="{FF2B5EF4-FFF2-40B4-BE49-F238E27FC236}">
                  <a16:creationId xmlns:a16="http://schemas.microsoft.com/office/drawing/2014/main" xmlns="" id="{481EECDC-0E9A-466F-80BB-C1D2660971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90" y="1988"/>
              <a:ext cx="45" cy="0"/>
            </a:xfrm>
            <a:prstGeom prst="line">
              <a:avLst/>
            </a:pr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3" name="Freeform 107">
              <a:extLst>
                <a:ext uri="{FF2B5EF4-FFF2-40B4-BE49-F238E27FC236}">
                  <a16:creationId xmlns:a16="http://schemas.microsoft.com/office/drawing/2014/main" xmlns="" id="{5B372586-B76E-4517-B0BA-55EC30674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7" y="1955"/>
              <a:ext cx="42" cy="33"/>
            </a:xfrm>
            <a:custGeom>
              <a:avLst/>
              <a:gdLst>
                <a:gd name="T0" fmla="*/ 0 w 42"/>
                <a:gd name="T1" fmla="*/ 33 h 33"/>
                <a:gd name="T2" fmla="*/ 42 w 42"/>
                <a:gd name="T3" fmla="*/ 33 h 33"/>
                <a:gd name="T4" fmla="*/ 42 w 42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3">
                  <a:moveTo>
                    <a:pt x="0" y="33"/>
                  </a:moveTo>
                  <a:lnTo>
                    <a:pt x="42" y="33"/>
                  </a:lnTo>
                  <a:lnTo>
                    <a:pt x="42" y="0"/>
                  </a:lnTo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4" name="Freeform 108">
              <a:extLst>
                <a:ext uri="{FF2B5EF4-FFF2-40B4-BE49-F238E27FC236}">
                  <a16:creationId xmlns:a16="http://schemas.microsoft.com/office/drawing/2014/main" xmlns="" id="{3D244459-079C-46D7-B4F2-A849C983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" y="1852"/>
              <a:ext cx="5" cy="53"/>
            </a:xfrm>
            <a:custGeom>
              <a:avLst/>
              <a:gdLst>
                <a:gd name="T0" fmla="*/ 16 w 16"/>
                <a:gd name="T1" fmla="*/ 0 h 156"/>
                <a:gd name="T2" fmla="*/ 0 w 16"/>
                <a:gd name="T3" fmla="*/ 52 h 156"/>
                <a:gd name="T4" fmla="*/ 16 w 16"/>
                <a:gd name="T5" fmla="*/ 104 h 156"/>
                <a:gd name="T6" fmla="*/ 0 w 16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6">
                  <a:moveTo>
                    <a:pt x="16" y="0"/>
                  </a:moveTo>
                  <a:cubicBezTo>
                    <a:pt x="16" y="26"/>
                    <a:pt x="0" y="26"/>
                    <a:pt x="0" y="52"/>
                  </a:cubicBezTo>
                  <a:cubicBezTo>
                    <a:pt x="0" y="78"/>
                    <a:pt x="16" y="78"/>
                    <a:pt x="16" y="104"/>
                  </a:cubicBezTo>
                  <a:cubicBezTo>
                    <a:pt x="16" y="130"/>
                    <a:pt x="0" y="130"/>
                    <a:pt x="0" y="156"/>
                  </a:cubicBezTo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5" name="Freeform 109">
              <a:extLst>
                <a:ext uri="{FF2B5EF4-FFF2-40B4-BE49-F238E27FC236}">
                  <a16:creationId xmlns:a16="http://schemas.microsoft.com/office/drawing/2014/main" xmlns="" id="{9C6035B6-6039-40EC-80E9-4629C7DF1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1852"/>
              <a:ext cx="5" cy="53"/>
            </a:xfrm>
            <a:custGeom>
              <a:avLst/>
              <a:gdLst>
                <a:gd name="T0" fmla="*/ 16 w 16"/>
                <a:gd name="T1" fmla="*/ 0 h 156"/>
                <a:gd name="T2" fmla="*/ 0 w 16"/>
                <a:gd name="T3" fmla="*/ 52 h 156"/>
                <a:gd name="T4" fmla="*/ 16 w 16"/>
                <a:gd name="T5" fmla="*/ 104 h 156"/>
                <a:gd name="T6" fmla="*/ 0 w 16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6">
                  <a:moveTo>
                    <a:pt x="16" y="0"/>
                  </a:moveTo>
                  <a:cubicBezTo>
                    <a:pt x="16" y="26"/>
                    <a:pt x="0" y="26"/>
                    <a:pt x="0" y="52"/>
                  </a:cubicBezTo>
                  <a:cubicBezTo>
                    <a:pt x="0" y="78"/>
                    <a:pt x="16" y="78"/>
                    <a:pt x="16" y="104"/>
                  </a:cubicBezTo>
                  <a:cubicBezTo>
                    <a:pt x="16" y="130"/>
                    <a:pt x="0" y="130"/>
                    <a:pt x="0" y="156"/>
                  </a:cubicBezTo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6" name="Freeform 110">
              <a:extLst>
                <a:ext uri="{FF2B5EF4-FFF2-40B4-BE49-F238E27FC236}">
                  <a16:creationId xmlns:a16="http://schemas.microsoft.com/office/drawing/2014/main" xmlns="" id="{46C0AE44-FE81-4CE8-B073-9D8B89F14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2" y="1852"/>
              <a:ext cx="6" cy="53"/>
            </a:xfrm>
            <a:custGeom>
              <a:avLst/>
              <a:gdLst>
                <a:gd name="T0" fmla="*/ 16 w 16"/>
                <a:gd name="T1" fmla="*/ 0 h 156"/>
                <a:gd name="T2" fmla="*/ 0 w 16"/>
                <a:gd name="T3" fmla="*/ 52 h 156"/>
                <a:gd name="T4" fmla="*/ 16 w 16"/>
                <a:gd name="T5" fmla="*/ 104 h 156"/>
                <a:gd name="T6" fmla="*/ 0 w 16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56">
                  <a:moveTo>
                    <a:pt x="16" y="0"/>
                  </a:moveTo>
                  <a:cubicBezTo>
                    <a:pt x="16" y="26"/>
                    <a:pt x="0" y="26"/>
                    <a:pt x="0" y="52"/>
                  </a:cubicBezTo>
                  <a:cubicBezTo>
                    <a:pt x="0" y="78"/>
                    <a:pt x="16" y="78"/>
                    <a:pt x="16" y="104"/>
                  </a:cubicBezTo>
                  <a:cubicBezTo>
                    <a:pt x="16" y="130"/>
                    <a:pt x="0" y="130"/>
                    <a:pt x="0" y="156"/>
                  </a:cubicBezTo>
                </a:path>
              </a:pathLst>
            </a:custGeom>
            <a:noFill/>
            <a:ln w="14351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27" name="Freeform 23">
            <a:extLst>
              <a:ext uri="{FF2B5EF4-FFF2-40B4-BE49-F238E27FC236}">
                <a16:creationId xmlns:a16="http://schemas.microsoft.com/office/drawing/2014/main" xmlns="" id="{5E05DCBF-C9EF-4342-8967-EA2A69240ADF}"/>
              </a:ext>
            </a:extLst>
          </p:cNvPr>
          <p:cNvSpPr>
            <a:spLocks noEditPoints="1"/>
          </p:cNvSpPr>
          <p:nvPr/>
        </p:nvSpPr>
        <p:spPr bwMode="auto">
          <a:xfrm>
            <a:off x="7102411" y="2781786"/>
            <a:ext cx="288032" cy="490528"/>
          </a:xfrm>
          <a:custGeom>
            <a:avLst/>
            <a:gdLst>
              <a:gd name="T0" fmla="*/ 15 w 31"/>
              <a:gd name="T1" fmla="*/ 49 h 49"/>
              <a:gd name="T2" fmla="*/ 31 w 31"/>
              <a:gd name="T3" fmla="*/ 33 h 49"/>
              <a:gd name="T4" fmla="*/ 26 w 31"/>
              <a:gd name="T5" fmla="*/ 20 h 49"/>
              <a:gd name="T6" fmla="*/ 24 w 31"/>
              <a:gd name="T7" fmla="*/ 17 h 49"/>
              <a:gd name="T8" fmla="*/ 15 w 31"/>
              <a:gd name="T9" fmla="*/ 0 h 49"/>
              <a:gd name="T10" fmla="*/ 6 w 31"/>
              <a:gd name="T11" fmla="*/ 17 h 49"/>
              <a:gd name="T12" fmla="*/ 5 w 31"/>
              <a:gd name="T13" fmla="*/ 20 h 49"/>
              <a:gd name="T14" fmla="*/ 0 w 31"/>
              <a:gd name="T15" fmla="*/ 33 h 49"/>
              <a:gd name="T16" fmla="*/ 15 w 31"/>
              <a:gd name="T17" fmla="*/ 49 h 49"/>
              <a:gd name="T18" fmla="*/ 12 w 31"/>
              <a:gd name="T19" fmla="*/ 23 h 49"/>
              <a:gd name="T20" fmla="*/ 13 w 31"/>
              <a:gd name="T21" fmla="*/ 21 h 49"/>
              <a:gd name="T22" fmla="*/ 15 w 31"/>
              <a:gd name="T23" fmla="*/ 16 h 49"/>
              <a:gd name="T24" fmla="*/ 18 w 31"/>
              <a:gd name="T25" fmla="*/ 21 h 49"/>
              <a:gd name="T26" fmla="*/ 19 w 31"/>
              <a:gd name="T27" fmla="*/ 23 h 49"/>
              <a:gd name="T28" fmla="*/ 23 w 31"/>
              <a:gd name="T29" fmla="*/ 33 h 49"/>
              <a:gd name="T30" fmla="*/ 15 w 31"/>
              <a:gd name="T31" fmla="*/ 41 h 49"/>
              <a:gd name="T32" fmla="*/ 8 w 31"/>
              <a:gd name="T33" fmla="*/ 33 h 49"/>
              <a:gd name="T34" fmla="*/ 12 w 31"/>
              <a:gd name="T35" fmla="*/ 23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49">
                <a:moveTo>
                  <a:pt x="15" y="49"/>
                </a:moveTo>
                <a:cubicBezTo>
                  <a:pt x="24" y="49"/>
                  <a:pt x="31" y="42"/>
                  <a:pt x="31" y="33"/>
                </a:cubicBezTo>
                <a:cubicBezTo>
                  <a:pt x="31" y="29"/>
                  <a:pt x="28" y="24"/>
                  <a:pt x="26" y="20"/>
                </a:cubicBezTo>
                <a:cubicBezTo>
                  <a:pt x="25" y="19"/>
                  <a:pt x="25" y="18"/>
                  <a:pt x="24" y="17"/>
                </a:cubicBezTo>
                <a:cubicBezTo>
                  <a:pt x="15" y="0"/>
                  <a:pt x="15" y="0"/>
                  <a:pt x="15" y="0"/>
                </a:cubicBezTo>
                <a:cubicBezTo>
                  <a:pt x="6" y="17"/>
                  <a:pt x="6" y="17"/>
                  <a:pt x="6" y="17"/>
                </a:cubicBezTo>
                <a:cubicBezTo>
                  <a:pt x="6" y="18"/>
                  <a:pt x="5" y="19"/>
                  <a:pt x="5" y="20"/>
                </a:cubicBezTo>
                <a:cubicBezTo>
                  <a:pt x="3" y="24"/>
                  <a:pt x="0" y="29"/>
                  <a:pt x="0" y="33"/>
                </a:cubicBezTo>
                <a:cubicBezTo>
                  <a:pt x="0" y="42"/>
                  <a:pt x="7" y="49"/>
                  <a:pt x="15" y="49"/>
                </a:cubicBezTo>
                <a:close/>
                <a:moveTo>
                  <a:pt x="12" y="23"/>
                </a:moveTo>
                <a:cubicBezTo>
                  <a:pt x="12" y="22"/>
                  <a:pt x="13" y="21"/>
                  <a:pt x="13" y="21"/>
                </a:cubicBezTo>
                <a:cubicBezTo>
                  <a:pt x="15" y="16"/>
                  <a:pt x="15" y="16"/>
                  <a:pt x="15" y="16"/>
                </a:cubicBezTo>
                <a:cubicBezTo>
                  <a:pt x="18" y="21"/>
                  <a:pt x="18" y="21"/>
                  <a:pt x="18" y="21"/>
                </a:cubicBezTo>
                <a:cubicBezTo>
                  <a:pt x="18" y="21"/>
                  <a:pt x="18" y="22"/>
                  <a:pt x="19" y="23"/>
                </a:cubicBezTo>
                <a:cubicBezTo>
                  <a:pt x="21" y="26"/>
                  <a:pt x="23" y="31"/>
                  <a:pt x="23" y="33"/>
                </a:cubicBezTo>
                <a:cubicBezTo>
                  <a:pt x="23" y="38"/>
                  <a:pt x="20" y="41"/>
                  <a:pt x="15" y="41"/>
                </a:cubicBezTo>
                <a:cubicBezTo>
                  <a:pt x="11" y="41"/>
                  <a:pt x="8" y="38"/>
                  <a:pt x="8" y="33"/>
                </a:cubicBezTo>
                <a:cubicBezTo>
                  <a:pt x="8" y="31"/>
                  <a:pt x="10" y="26"/>
                  <a:pt x="12" y="23"/>
                </a:cubicBezTo>
                <a:close/>
              </a:path>
            </a:pathLst>
          </a:custGeom>
          <a:noFill/>
          <a:ln w="14351">
            <a:solidFill>
              <a:srgbClr val="FFC300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728" name="Groupe 727">
            <a:extLst>
              <a:ext uri="{FF2B5EF4-FFF2-40B4-BE49-F238E27FC236}">
                <a16:creationId xmlns:a16="http://schemas.microsoft.com/office/drawing/2014/main" xmlns="" id="{B6CE54A5-AF48-4DD5-87D6-17697E69F792}"/>
              </a:ext>
            </a:extLst>
          </p:cNvPr>
          <p:cNvGrpSpPr/>
          <p:nvPr/>
        </p:nvGrpSpPr>
        <p:grpSpPr>
          <a:xfrm>
            <a:off x="1692556" y="4009363"/>
            <a:ext cx="662731" cy="415085"/>
            <a:chOff x="1690424" y="3529013"/>
            <a:chExt cx="1090969" cy="533400"/>
          </a:xfrm>
        </p:grpSpPr>
        <p:sp>
          <p:nvSpPr>
            <p:cNvPr id="729" name="Forme libre : forme 728">
              <a:extLst>
                <a:ext uri="{FF2B5EF4-FFF2-40B4-BE49-F238E27FC236}">
                  <a16:creationId xmlns:a16="http://schemas.microsoft.com/office/drawing/2014/main" xmlns="" id="{9AE7369F-1D07-44BD-99C4-7476B4954261}"/>
                </a:ext>
              </a:extLst>
            </p:cNvPr>
            <p:cNvSpPr/>
            <p:nvPr/>
          </p:nvSpPr>
          <p:spPr>
            <a:xfrm>
              <a:off x="1715452" y="3641495"/>
              <a:ext cx="956838" cy="338138"/>
            </a:xfrm>
            <a:custGeom>
              <a:avLst/>
              <a:gdLst>
                <a:gd name="connsiteX0" fmla="*/ 0 w 666750"/>
                <a:gd name="connsiteY0" fmla="*/ 238125 h 238125"/>
                <a:gd name="connsiteX1" fmla="*/ 238125 w 666750"/>
                <a:gd name="connsiteY1" fmla="*/ 104775 h 238125"/>
                <a:gd name="connsiteX2" fmla="*/ 323850 w 666750"/>
                <a:gd name="connsiteY2" fmla="*/ 171450 h 238125"/>
                <a:gd name="connsiteX3" fmla="*/ 476250 w 666750"/>
                <a:gd name="connsiteY3" fmla="*/ 66675 h 238125"/>
                <a:gd name="connsiteX4" fmla="*/ 542925 w 666750"/>
                <a:gd name="connsiteY4" fmla="*/ 200025 h 238125"/>
                <a:gd name="connsiteX5" fmla="*/ 666750 w 666750"/>
                <a:gd name="connsiteY5" fmla="*/ 0 h 238125"/>
                <a:gd name="connsiteX0" fmla="*/ 0 w 666750"/>
                <a:gd name="connsiteY0" fmla="*/ 238125 h 238125"/>
                <a:gd name="connsiteX1" fmla="*/ 154263 w 666750"/>
                <a:gd name="connsiteY1" fmla="*/ 80962 h 238125"/>
                <a:gd name="connsiteX2" fmla="*/ 323850 w 666750"/>
                <a:gd name="connsiteY2" fmla="*/ 171450 h 238125"/>
                <a:gd name="connsiteX3" fmla="*/ 476250 w 666750"/>
                <a:gd name="connsiteY3" fmla="*/ 66675 h 238125"/>
                <a:gd name="connsiteX4" fmla="*/ 542925 w 666750"/>
                <a:gd name="connsiteY4" fmla="*/ 200025 h 238125"/>
                <a:gd name="connsiteX5" fmla="*/ 666750 w 666750"/>
                <a:gd name="connsiteY5" fmla="*/ 0 h 238125"/>
                <a:gd name="connsiteX0" fmla="*/ 0 w 666750"/>
                <a:gd name="connsiteY0" fmla="*/ 238125 h 238125"/>
                <a:gd name="connsiteX1" fmla="*/ 154263 w 666750"/>
                <a:gd name="connsiteY1" fmla="*/ 80962 h 238125"/>
                <a:gd name="connsiteX2" fmla="*/ 300978 w 666750"/>
                <a:gd name="connsiteY2" fmla="*/ 180975 h 238125"/>
                <a:gd name="connsiteX3" fmla="*/ 476250 w 666750"/>
                <a:gd name="connsiteY3" fmla="*/ 66675 h 238125"/>
                <a:gd name="connsiteX4" fmla="*/ 542925 w 666750"/>
                <a:gd name="connsiteY4" fmla="*/ 200025 h 238125"/>
                <a:gd name="connsiteX5" fmla="*/ 666750 w 666750"/>
                <a:gd name="connsiteY5" fmla="*/ 0 h 238125"/>
                <a:gd name="connsiteX0" fmla="*/ 0 w 666750"/>
                <a:gd name="connsiteY0" fmla="*/ 238125 h 238125"/>
                <a:gd name="connsiteX1" fmla="*/ 154263 w 666750"/>
                <a:gd name="connsiteY1" fmla="*/ 80962 h 238125"/>
                <a:gd name="connsiteX2" fmla="*/ 300978 w 666750"/>
                <a:gd name="connsiteY2" fmla="*/ 180975 h 238125"/>
                <a:gd name="connsiteX3" fmla="*/ 476250 w 666750"/>
                <a:gd name="connsiteY3" fmla="*/ 66675 h 238125"/>
                <a:gd name="connsiteX4" fmla="*/ 600104 w 666750"/>
                <a:gd name="connsiteY4" fmla="*/ 204788 h 238125"/>
                <a:gd name="connsiteX5" fmla="*/ 666750 w 666750"/>
                <a:gd name="connsiteY5" fmla="*/ 0 h 238125"/>
                <a:gd name="connsiteX0" fmla="*/ 0 w 742989"/>
                <a:gd name="connsiteY0" fmla="*/ 276225 h 276225"/>
                <a:gd name="connsiteX1" fmla="*/ 154263 w 742989"/>
                <a:gd name="connsiteY1" fmla="*/ 119062 h 276225"/>
                <a:gd name="connsiteX2" fmla="*/ 300978 w 742989"/>
                <a:gd name="connsiteY2" fmla="*/ 219075 h 276225"/>
                <a:gd name="connsiteX3" fmla="*/ 476250 w 742989"/>
                <a:gd name="connsiteY3" fmla="*/ 104775 h 276225"/>
                <a:gd name="connsiteX4" fmla="*/ 600104 w 742989"/>
                <a:gd name="connsiteY4" fmla="*/ 242888 h 276225"/>
                <a:gd name="connsiteX5" fmla="*/ 742989 w 742989"/>
                <a:gd name="connsiteY5" fmla="*/ 0 h 276225"/>
                <a:gd name="connsiteX0" fmla="*/ 0 w 742989"/>
                <a:gd name="connsiteY0" fmla="*/ 276225 h 276225"/>
                <a:gd name="connsiteX1" fmla="*/ 154263 w 742989"/>
                <a:gd name="connsiteY1" fmla="*/ 119062 h 276225"/>
                <a:gd name="connsiteX2" fmla="*/ 289543 w 742989"/>
                <a:gd name="connsiteY2" fmla="*/ 252412 h 276225"/>
                <a:gd name="connsiteX3" fmla="*/ 476250 w 742989"/>
                <a:gd name="connsiteY3" fmla="*/ 104775 h 276225"/>
                <a:gd name="connsiteX4" fmla="*/ 600104 w 742989"/>
                <a:gd name="connsiteY4" fmla="*/ 242888 h 276225"/>
                <a:gd name="connsiteX5" fmla="*/ 742989 w 742989"/>
                <a:gd name="connsiteY5" fmla="*/ 0 h 276225"/>
                <a:gd name="connsiteX0" fmla="*/ 0 w 742989"/>
                <a:gd name="connsiteY0" fmla="*/ 276225 h 276225"/>
                <a:gd name="connsiteX1" fmla="*/ 154263 w 742989"/>
                <a:gd name="connsiteY1" fmla="*/ 119062 h 276225"/>
                <a:gd name="connsiteX2" fmla="*/ 289543 w 742989"/>
                <a:gd name="connsiteY2" fmla="*/ 252412 h 276225"/>
                <a:gd name="connsiteX3" fmla="*/ 464814 w 742989"/>
                <a:gd name="connsiteY3" fmla="*/ 80962 h 276225"/>
                <a:gd name="connsiteX4" fmla="*/ 600104 w 742989"/>
                <a:gd name="connsiteY4" fmla="*/ 242888 h 276225"/>
                <a:gd name="connsiteX5" fmla="*/ 742989 w 742989"/>
                <a:gd name="connsiteY5" fmla="*/ 0 h 276225"/>
                <a:gd name="connsiteX0" fmla="*/ 0 w 742989"/>
                <a:gd name="connsiteY0" fmla="*/ 276225 h 276225"/>
                <a:gd name="connsiteX1" fmla="*/ 154263 w 742989"/>
                <a:gd name="connsiteY1" fmla="*/ 119062 h 276225"/>
                <a:gd name="connsiteX2" fmla="*/ 289543 w 742989"/>
                <a:gd name="connsiteY2" fmla="*/ 252412 h 276225"/>
                <a:gd name="connsiteX3" fmla="*/ 464814 w 742989"/>
                <a:gd name="connsiteY3" fmla="*/ 80962 h 276225"/>
                <a:gd name="connsiteX4" fmla="*/ 603916 w 742989"/>
                <a:gd name="connsiteY4" fmla="*/ 176213 h 276225"/>
                <a:gd name="connsiteX5" fmla="*/ 742989 w 742989"/>
                <a:gd name="connsiteY5" fmla="*/ 0 h 276225"/>
                <a:gd name="connsiteX0" fmla="*/ 0 w 765861"/>
                <a:gd name="connsiteY0" fmla="*/ 338138 h 338138"/>
                <a:gd name="connsiteX1" fmla="*/ 177135 w 765861"/>
                <a:gd name="connsiteY1" fmla="*/ 119062 h 338138"/>
                <a:gd name="connsiteX2" fmla="*/ 312415 w 765861"/>
                <a:gd name="connsiteY2" fmla="*/ 252412 h 338138"/>
                <a:gd name="connsiteX3" fmla="*/ 487686 w 765861"/>
                <a:gd name="connsiteY3" fmla="*/ 80962 h 338138"/>
                <a:gd name="connsiteX4" fmla="*/ 626788 w 765861"/>
                <a:gd name="connsiteY4" fmla="*/ 176213 h 338138"/>
                <a:gd name="connsiteX5" fmla="*/ 765861 w 765861"/>
                <a:gd name="connsiteY5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5861" h="338138">
                  <a:moveTo>
                    <a:pt x="0" y="338138"/>
                  </a:moveTo>
                  <a:lnTo>
                    <a:pt x="177135" y="119062"/>
                  </a:lnTo>
                  <a:lnTo>
                    <a:pt x="312415" y="252412"/>
                  </a:lnTo>
                  <a:lnTo>
                    <a:pt x="487686" y="80962"/>
                  </a:lnTo>
                  <a:lnTo>
                    <a:pt x="626788" y="176213"/>
                  </a:lnTo>
                  <a:lnTo>
                    <a:pt x="765861" y="0"/>
                  </a:lnTo>
                </a:path>
              </a:pathLst>
            </a:custGeom>
            <a:noFill/>
            <a:ln w="14351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730" name="Connecteur droit 729">
              <a:extLst>
                <a:ext uri="{FF2B5EF4-FFF2-40B4-BE49-F238E27FC236}">
                  <a16:creationId xmlns:a16="http://schemas.microsoft.com/office/drawing/2014/main" xmlns="" id="{C205096A-11C7-41E0-8154-F2069B677192}"/>
                </a:ext>
              </a:extLst>
            </p:cNvPr>
            <p:cNvCxnSpPr/>
            <p:nvPr/>
          </p:nvCxnSpPr>
          <p:spPr>
            <a:xfrm>
              <a:off x="1690424" y="3686370"/>
              <a:ext cx="1090969" cy="0"/>
            </a:xfrm>
            <a:prstGeom prst="line">
              <a:avLst/>
            </a:prstGeom>
            <a:ln cap="rnd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1" name="Connecteur droit 730">
              <a:extLst>
                <a:ext uri="{FF2B5EF4-FFF2-40B4-BE49-F238E27FC236}">
                  <a16:creationId xmlns:a16="http://schemas.microsoft.com/office/drawing/2014/main" xmlns="" id="{2527A22B-67DF-4C4E-B6B9-5C868DCBAC03}"/>
                </a:ext>
              </a:extLst>
            </p:cNvPr>
            <p:cNvCxnSpPr/>
            <p:nvPr/>
          </p:nvCxnSpPr>
          <p:spPr>
            <a:xfrm>
              <a:off x="1690424" y="3917719"/>
              <a:ext cx="1090969" cy="0"/>
            </a:xfrm>
            <a:prstGeom prst="line">
              <a:avLst/>
            </a:prstGeom>
            <a:ln cap="rnd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2" name="Connecteur droit avec flèche 731">
              <a:extLst>
                <a:ext uri="{FF2B5EF4-FFF2-40B4-BE49-F238E27FC236}">
                  <a16:creationId xmlns:a16="http://schemas.microsoft.com/office/drawing/2014/main" xmlns="" id="{B64F9D2D-CEFA-4ACA-A1A1-5900D2001E0B}"/>
                </a:ext>
              </a:extLst>
            </p:cNvPr>
            <p:cNvCxnSpPr>
              <a:cxnSpLocks/>
            </p:cNvCxnSpPr>
            <p:nvPr/>
          </p:nvCxnSpPr>
          <p:spPr>
            <a:xfrm>
              <a:off x="1790551" y="3529013"/>
              <a:ext cx="0" cy="142875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3" name="Connecteur droit avec flèche 732">
              <a:extLst>
                <a:ext uri="{FF2B5EF4-FFF2-40B4-BE49-F238E27FC236}">
                  <a16:creationId xmlns:a16="http://schemas.microsoft.com/office/drawing/2014/main" xmlns="" id="{BD9F300A-2B55-44FC-98F0-8BE826EA27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46911" y="3926289"/>
              <a:ext cx="0" cy="136124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4" name="Groupe 733">
            <a:extLst>
              <a:ext uri="{FF2B5EF4-FFF2-40B4-BE49-F238E27FC236}">
                <a16:creationId xmlns:a16="http://schemas.microsoft.com/office/drawing/2014/main" xmlns="" id="{3C29FE80-07A9-4E0E-AD74-C2158BCC9450}"/>
              </a:ext>
            </a:extLst>
          </p:cNvPr>
          <p:cNvGrpSpPr/>
          <p:nvPr/>
        </p:nvGrpSpPr>
        <p:grpSpPr>
          <a:xfrm>
            <a:off x="5848356" y="2836243"/>
            <a:ext cx="582120" cy="438476"/>
            <a:chOff x="6944836" y="3579862"/>
            <a:chExt cx="808514" cy="389175"/>
          </a:xfrm>
        </p:grpSpPr>
        <p:cxnSp>
          <p:nvCxnSpPr>
            <p:cNvPr id="735" name="Connecteur droit 734">
              <a:extLst>
                <a:ext uri="{FF2B5EF4-FFF2-40B4-BE49-F238E27FC236}">
                  <a16:creationId xmlns:a16="http://schemas.microsoft.com/office/drawing/2014/main" xmlns="" id="{EC9B4F3E-4BD1-4BCA-B358-FB291957EB02}"/>
                </a:ext>
              </a:extLst>
            </p:cNvPr>
            <p:cNvCxnSpPr>
              <a:cxnSpLocks/>
            </p:cNvCxnSpPr>
            <p:nvPr/>
          </p:nvCxnSpPr>
          <p:spPr>
            <a:xfrm>
              <a:off x="6944836" y="3969036"/>
              <a:ext cx="808514" cy="0"/>
            </a:xfrm>
            <a:prstGeom prst="line">
              <a:avLst/>
            </a:prstGeom>
            <a:ln w="14351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6" name="Rectangle 735">
              <a:extLst>
                <a:ext uri="{FF2B5EF4-FFF2-40B4-BE49-F238E27FC236}">
                  <a16:creationId xmlns:a16="http://schemas.microsoft.com/office/drawing/2014/main" xmlns="" id="{4A9C0C56-B0E0-480B-94FA-E4E54BF17922}"/>
                </a:ext>
              </a:extLst>
            </p:cNvPr>
            <p:cNvSpPr/>
            <p:nvPr/>
          </p:nvSpPr>
          <p:spPr>
            <a:xfrm>
              <a:off x="7020272" y="3869328"/>
              <a:ext cx="189006" cy="99708"/>
            </a:xfrm>
            <a:prstGeom prst="rect">
              <a:avLst/>
            </a:prstGeom>
            <a:ln w="14351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37" name="Rectangle 736">
              <a:extLst>
                <a:ext uri="{FF2B5EF4-FFF2-40B4-BE49-F238E27FC236}">
                  <a16:creationId xmlns:a16="http://schemas.microsoft.com/office/drawing/2014/main" xmlns="" id="{1E3F81EB-EFC6-4712-B9A7-F63155402310}"/>
                </a:ext>
              </a:extLst>
            </p:cNvPr>
            <p:cNvSpPr/>
            <p:nvPr/>
          </p:nvSpPr>
          <p:spPr>
            <a:xfrm>
              <a:off x="7250149" y="3795919"/>
              <a:ext cx="189006" cy="173117"/>
            </a:xfrm>
            <a:prstGeom prst="rect">
              <a:avLst/>
            </a:prstGeom>
            <a:ln w="14351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38" name="Rectangle 737">
              <a:extLst>
                <a:ext uri="{FF2B5EF4-FFF2-40B4-BE49-F238E27FC236}">
                  <a16:creationId xmlns:a16="http://schemas.microsoft.com/office/drawing/2014/main" xmlns="" id="{40CB19E1-C48A-4893-B81C-387772C43DC7}"/>
                </a:ext>
              </a:extLst>
            </p:cNvPr>
            <p:cNvSpPr/>
            <p:nvPr/>
          </p:nvSpPr>
          <p:spPr>
            <a:xfrm>
              <a:off x="7493283" y="3727435"/>
              <a:ext cx="189006" cy="241602"/>
            </a:xfrm>
            <a:prstGeom prst="rect">
              <a:avLst/>
            </a:prstGeom>
            <a:ln w="14351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39" name="Connecteur droit avec flèche 738">
              <a:extLst>
                <a:ext uri="{FF2B5EF4-FFF2-40B4-BE49-F238E27FC236}">
                  <a16:creationId xmlns:a16="http://schemas.microsoft.com/office/drawing/2014/main" xmlns="" id="{6F3EC389-520E-4CC1-9E32-A4384B8FB63E}"/>
                </a:ext>
              </a:extLst>
            </p:cNvPr>
            <p:cNvCxnSpPr/>
            <p:nvPr/>
          </p:nvCxnSpPr>
          <p:spPr>
            <a:xfrm flipV="1">
              <a:off x="7020272" y="3579862"/>
              <a:ext cx="607618" cy="204406"/>
            </a:xfrm>
            <a:prstGeom prst="straightConnector1">
              <a:avLst/>
            </a:prstGeom>
            <a:ln w="14351" cap="rnd">
              <a:solidFill>
                <a:schemeClr val="accent4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043B1AB9-646B-404C-9FE4-1EA3F67AA454}"/>
              </a:ext>
            </a:extLst>
          </p:cNvPr>
          <p:cNvGrpSpPr/>
          <p:nvPr/>
        </p:nvGrpSpPr>
        <p:grpSpPr>
          <a:xfrm>
            <a:off x="645047" y="5044131"/>
            <a:ext cx="511428" cy="511837"/>
            <a:chOff x="10888708" y="6818688"/>
            <a:chExt cx="511428" cy="511837"/>
          </a:xfrm>
        </p:grpSpPr>
        <p:sp>
          <p:nvSpPr>
            <p:cNvPr id="742" name="Oval 139">
              <a:extLst>
                <a:ext uri="{FF2B5EF4-FFF2-40B4-BE49-F238E27FC236}">
                  <a16:creationId xmlns:a16="http://schemas.microsoft.com/office/drawing/2014/main" xmlns="" id="{4D9EA087-483F-4811-BCEF-F4CCBB4DDE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8708" y="6818688"/>
              <a:ext cx="511428" cy="511837"/>
            </a:xfrm>
            <a:prstGeom prst="ellipse">
              <a:avLst/>
            </a:prstGeom>
            <a:noFill/>
            <a:ln w="14351" cap="flat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3" name="Freeform 140">
              <a:extLst>
                <a:ext uri="{FF2B5EF4-FFF2-40B4-BE49-F238E27FC236}">
                  <a16:creationId xmlns:a16="http://schemas.microsoft.com/office/drawing/2014/main" xmlns="" id="{9EC38D46-580C-4C4F-A621-564428EFFE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50878" y="6884863"/>
              <a:ext cx="195666" cy="365189"/>
            </a:xfrm>
            <a:custGeom>
              <a:avLst/>
              <a:gdLst>
                <a:gd name="T0" fmla="*/ 103 w 228"/>
                <a:gd name="T1" fmla="*/ 425 h 425"/>
                <a:gd name="T2" fmla="*/ 103 w 228"/>
                <a:gd name="T3" fmla="*/ 382 h 425"/>
                <a:gd name="T4" fmla="*/ 51 w 228"/>
                <a:gd name="T5" fmla="*/ 368 h 425"/>
                <a:gd name="T6" fmla="*/ 17 w 228"/>
                <a:gd name="T7" fmla="*/ 335 h 425"/>
                <a:gd name="T8" fmla="*/ 0 w 228"/>
                <a:gd name="T9" fmla="*/ 280 h 425"/>
                <a:gd name="T10" fmla="*/ 43 w 228"/>
                <a:gd name="T11" fmla="*/ 272 h 425"/>
                <a:gd name="T12" fmla="*/ 60 w 228"/>
                <a:gd name="T13" fmla="*/ 322 h 425"/>
                <a:gd name="T14" fmla="*/ 103 w 228"/>
                <a:gd name="T15" fmla="*/ 347 h 425"/>
                <a:gd name="T16" fmla="*/ 103 w 228"/>
                <a:gd name="T17" fmla="*/ 212 h 425"/>
                <a:gd name="T18" fmla="*/ 50 w 228"/>
                <a:gd name="T19" fmla="*/ 192 h 425"/>
                <a:gd name="T20" fmla="*/ 18 w 228"/>
                <a:gd name="T21" fmla="*/ 161 h 425"/>
                <a:gd name="T22" fmla="*/ 8 w 228"/>
                <a:gd name="T23" fmla="*/ 116 h 425"/>
                <a:gd name="T24" fmla="*/ 39 w 228"/>
                <a:gd name="T25" fmla="*/ 43 h 425"/>
                <a:gd name="T26" fmla="*/ 103 w 228"/>
                <a:gd name="T27" fmla="*/ 20 h 425"/>
                <a:gd name="T28" fmla="*/ 103 w 228"/>
                <a:gd name="T29" fmla="*/ 0 h 425"/>
                <a:gd name="T30" fmla="*/ 128 w 228"/>
                <a:gd name="T31" fmla="*/ 0 h 425"/>
                <a:gd name="T32" fmla="*/ 128 w 228"/>
                <a:gd name="T33" fmla="*/ 20 h 425"/>
                <a:gd name="T34" fmla="*/ 186 w 228"/>
                <a:gd name="T35" fmla="*/ 41 h 425"/>
                <a:gd name="T36" fmla="*/ 219 w 228"/>
                <a:gd name="T37" fmla="*/ 104 h 425"/>
                <a:gd name="T38" fmla="*/ 176 w 228"/>
                <a:gd name="T39" fmla="*/ 111 h 425"/>
                <a:gd name="T40" fmla="*/ 160 w 228"/>
                <a:gd name="T41" fmla="*/ 73 h 425"/>
                <a:gd name="T42" fmla="*/ 128 w 228"/>
                <a:gd name="T43" fmla="*/ 55 h 425"/>
                <a:gd name="T44" fmla="*/ 128 w 228"/>
                <a:gd name="T45" fmla="*/ 177 h 425"/>
                <a:gd name="T46" fmla="*/ 170 w 228"/>
                <a:gd name="T47" fmla="*/ 190 h 425"/>
                <a:gd name="T48" fmla="*/ 202 w 228"/>
                <a:gd name="T49" fmla="*/ 211 h 425"/>
                <a:gd name="T50" fmla="*/ 221 w 228"/>
                <a:gd name="T51" fmla="*/ 240 h 425"/>
                <a:gd name="T52" fmla="*/ 228 w 228"/>
                <a:gd name="T53" fmla="*/ 277 h 425"/>
                <a:gd name="T54" fmla="*/ 200 w 228"/>
                <a:gd name="T55" fmla="*/ 350 h 425"/>
                <a:gd name="T56" fmla="*/ 128 w 228"/>
                <a:gd name="T57" fmla="*/ 382 h 425"/>
                <a:gd name="T58" fmla="*/ 128 w 228"/>
                <a:gd name="T59" fmla="*/ 425 h 425"/>
                <a:gd name="T60" fmla="*/ 103 w 228"/>
                <a:gd name="T61" fmla="*/ 425 h 425"/>
                <a:gd name="T62" fmla="*/ 103 w 228"/>
                <a:gd name="T63" fmla="*/ 55 h 425"/>
                <a:gd name="T64" fmla="*/ 64 w 228"/>
                <a:gd name="T65" fmla="*/ 75 h 425"/>
                <a:gd name="T66" fmla="*/ 50 w 228"/>
                <a:gd name="T67" fmla="*/ 112 h 425"/>
                <a:gd name="T68" fmla="*/ 62 w 228"/>
                <a:gd name="T69" fmla="*/ 149 h 425"/>
                <a:gd name="T70" fmla="*/ 103 w 228"/>
                <a:gd name="T71" fmla="*/ 172 h 425"/>
                <a:gd name="T72" fmla="*/ 103 w 228"/>
                <a:gd name="T73" fmla="*/ 55 h 425"/>
                <a:gd name="T74" fmla="*/ 128 w 228"/>
                <a:gd name="T75" fmla="*/ 347 h 425"/>
                <a:gd name="T76" fmla="*/ 168 w 228"/>
                <a:gd name="T77" fmla="*/ 325 h 425"/>
                <a:gd name="T78" fmla="*/ 184 w 228"/>
                <a:gd name="T79" fmla="*/ 280 h 425"/>
                <a:gd name="T80" fmla="*/ 173 w 228"/>
                <a:gd name="T81" fmla="*/ 243 h 425"/>
                <a:gd name="T82" fmla="*/ 128 w 228"/>
                <a:gd name="T83" fmla="*/ 218 h 425"/>
                <a:gd name="T84" fmla="*/ 128 w 228"/>
                <a:gd name="T85" fmla="*/ 347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8" h="425">
                  <a:moveTo>
                    <a:pt x="103" y="425"/>
                  </a:moveTo>
                  <a:cubicBezTo>
                    <a:pt x="103" y="382"/>
                    <a:pt x="103" y="382"/>
                    <a:pt x="103" y="382"/>
                  </a:cubicBezTo>
                  <a:cubicBezTo>
                    <a:pt x="82" y="380"/>
                    <a:pt x="64" y="375"/>
                    <a:pt x="51" y="368"/>
                  </a:cubicBezTo>
                  <a:cubicBezTo>
                    <a:pt x="38" y="361"/>
                    <a:pt x="27" y="350"/>
                    <a:pt x="17" y="335"/>
                  </a:cubicBezTo>
                  <a:cubicBezTo>
                    <a:pt x="7" y="320"/>
                    <a:pt x="2" y="302"/>
                    <a:pt x="0" y="280"/>
                  </a:cubicBezTo>
                  <a:cubicBezTo>
                    <a:pt x="43" y="272"/>
                    <a:pt x="43" y="272"/>
                    <a:pt x="43" y="272"/>
                  </a:cubicBezTo>
                  <a:cubicBezTo>
                    <a:pt x="46" y="294"/>
                    <a:pt x="52" y="311"/>
                    <a:pt x="60" y="322"/>
                  </a:cubicBezTo>
                  <a:cubicBezTo>
                    <a:pt x="72" y="337"/>
                    <a:pt x="86" y="345"/>
                    <a:pt x="103" y="347"/>
                  </a:cubicBezTo>
                  <a:cubicBezTo>
                    <a:pt x="103" y="212"/>
                    <a:pt x="103" y="212"/>
                    <a:pt x="103" y="212"/>
                  </a:cubicBezTo>
                  <a:cubicBezTo>
                    <a:pt x="85" y="209"/>
                    <a:pt x="68" y="202"/>
                    <a:pt x="50" y="192"/>
                  </a:cubicBezTo>
                  <a:cubicBezTo>
                    <a:pt x="36" y="185"/>
                    <a:pt x="26" y="174"/>
                    <a:pt x="18" y="161"/>
                  </a:cubicBezTo>
                  <a:cubicBezTo>
                    <a:pt x="11" y="148"/>
                    <a:pt x="8" y="133"/>
                    <a:pt x="8" y="116"/>
                  </a:cubicBezTo>
                  <a:cubicBezTo>
                    <a:pt x="8" y="86"/>
                    <a:pt x="18" y="61"/>
                    <a:pt x="39" y="43"/>
                  </a:cubicBezTo>
                  <a:cubicBezTo>
                    <a:pt x="54" y="30"/>
                    <a:pt x="75" y="23"/>
                    <a:pt x="103" y="2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52" y="22"/>
                    <a:pt x="172" y="29"/>
                    <a:pt x="186" y="41"/>
                  </a:cubicBezTo>
                  <a:cubicBezTo>
                    <a:pt x="204" y="57"/>
                    <a:pt x="216" y="78"/>
                    <a:pt x="219" y="104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3" y="94"/>
                    <a:pt x="168" y="82"/>
                    <a:pt x="160" y="73"/>
                  </a:cubicBezTo>
                  <a:cubicBezTo>
                    <a:pt x="152" y="64"/>
                    <a:pt x="141" y="58"/>
                    <a:pt x="128" y="55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49" y="182"/>
                    <a:pt x="163" y="187"/>
                    <a:pt x="170" y="190"/>
                  </a:cubicBezTo>
                  <a:cubicBezTo>
                    <a:pt x="183" y="195"/>
                    <a:pt x="194" y="202"/>
                    <a:pt x="202" y="211"/>
                  </a:cubicBezTo>
                  <a:cubicBezTo>
                    <a:pt x="210" y="219"/>
                    <a:pt x="217" y="229"/>
                    <a:pt x="221" y="240"/>
                  </a:cubicBezTo>
                  <a:cubicBezTo>
                    <a:pt x="225" y="252"/>
                    <a:pt x="228" y="264"/>
                    <a:pt x="228" y="277"/>
                  </a:cubicBezTo>
                  <a:cubicBezTo>
                    <a:pt x="228" y="307"/>
                    <a:pt x="218" y="331"/>
                    <a:pt x="200" y="350"/>
                  </a:cubicBezTo>
                  <a:cubicBezTo>
                    <a:pt x="181" y="370"/>
                    <a:pt x="157" y="380"/>
                    <a:pt x="128" y="382"/>
                  </a:cubicBezTo>
                  <a:cubicBezTo>
                    <a:pt x="128" y="425"/>
                    <a:pt x="128" y="425"/>
                    <a:pt x="128" y="425"/>
                  </a:cubicBezTo>
                  <a:lnTo>
                    <a:pt x="103" y="425"/>
                  </a:lnTo>
                  <a:close/>
                  <a:moveTo>
                    <a:pt x="103" y="55"/>
                  </a:moveTo>
                  <a:cubicBezTo>
                    <a:pt x="86" y="58"/>
                    <a:pt x="73" y="64"/>
                    <a:pt x="64" y="75"/>
                  </a:cubicBezTo>
                  <a:cubicBezTo>
                    <a:pt x="54" y="85"/>
                    <a:pt x="50" y="98"/>
                    <a:pt x="50" y="112"/>
                  </a:cubicBezTo>
                  <a:cubicBezTo>
                    <a:pt x="50" y="127"/>
                    <a:pt x="54" y="139"/>
                    <a:pt x="62" y="149"/>
                  </a:cubicBezTo>
                  <a:cubicBezTo>
                    <a:pt x="70" y="158"/>
                    <a:pt x="84" y="166"/>
                    <a:pt x="103" y="172"/>
                  </a:cubicBezTo>
                  <a:lnTo>
                    <a:pt x="103" y="55"/>
                  </a:lnTo>
                  <a:close/>
                  <a:moveTo>
                    <a:pt x="128" y="347"/>
                  </a:moveTo>
                  <a:cubicBezTo>
                    <a:pt x="144" y="345"/>
                    <a:pt x="158" y="338"/>
                    <a:pt x="168" y="325"/>
                  </a:cubicBezTo>
                  <a:cubicBezTo>
                    <a:pt x="179" y="313"/>
                    <a:pt x="184" y="298"/>
                    <a:pt x="184" y="280"/>
                  </a:cubicBezTo>
                  <a:cubicBezTo>
                    <a:pt x="184" y="265"/>
                    <a:pt x="181" y="252"/>
                    <a:pt x="173" y="243"/>
                  </a:cubicBezTo>
                  <a:cubicBezTo>
                    <a:pt x="165" y="234"/>
                    <a:pt x="150" y="226"/>
                    <a:pt x="128" y="218"/>
                  </a:cubicBezTo>
                  <a:lnTo>
                    <a:pt x="128" y="347"/>
                  </a:lnTo>
                  <a:close/>
                </a:path>
              </a:pathLst>
            </a:custGeom>
            <a:solidFill>
              <a:schemeClr val="accent5"/>
            </a:solidFill>
            <a:ln w="14351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44" name="Group 158">
            <a:extLst>
              <a:ext uri="{FF2B5EF4-FFF2-40B4-BE49-F238E27FC236}">
                <a16:creationId xmlns:a16="http://schemas.microsoft.com/office/drawing/2014/main" xmlns="" id="{5F688297-F2F7-4DB0-87D8-68333ADFB1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25914" y="3992034"/>
            <a:ext cx="610651" cy="502835"/>
            <a:chOff x="1549" y="524"/>
            <a:chExt cx="2662" cy="2192"/>
          </a:xfrm>
        </p:grpSpPr>
        <p:sp>
          <p:nvSpPr>
            <p:cNvPr id="745" name="Freeform 159">
              <a:extLst>
                <a:ext uri="{FF2B5EF4-FFF2-40B4-BE49-F238E27FC236}">
                  <a16:creationId xmlns:a16="http://schemas.microsoft.com/office/drawing/2014/main" xmlns="" id="{CDEA0923-44C0-45D0-B4C3-73157AE6A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" y="524"/>
              <a:ext cx="2662" cy="1797"/>
            </a:xfrm>
            <a:custGeom>
              <a:avLst/>
              <a:gdLst>
                <a:gd name="T0" fmla="*/ 1222 w 1270"/>
                <a:gd name="T1" fmla="*/ 856 h 856"/>
                <a:gd name="T2" fmla="*/ 48 w 1270"/>
                <a:gd name="T3" fmla="*/ 856 h 856"/>
                <a:gd name="T4" fmla="*/ 0 w 1270"/>
                <a:gd name="T5" fmla="*/ 808 h 856"/>
                <a:gd name="T6" fmla="*/ 0 w 1270"/>
                <a:gd name="T7" fmla="*/ 48 h 856"/>
                <a:gd name="T8" fmla="*/ 48 w 1270"/>
                <a:gd name="T9" fmla="*/ 0 h 856"/>
                <a:gd name="T10" fmla="*/ 1222 w 1270"/>
                <a:gd name="T11" fmla="*/ 0 h 856"/>
                <a:gd name="T12" fmla="*/ 1270 w 1270"/>
                <a:gd name="T13" fmla="*/ 48 h 856"/>
                <a:gd name="T14" fmla="*/ 1270 w 1270"/>
                <a:gd name="T15" fmla="*/ 808 h 856"/>
                <a:gd name="T16" fmla="*/ 1222 w 1270"/>
                <a:gd name="T17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0" h="856">
                  <a:moveTo>
                    <a:pt x="1222" y="856"/>
                  </a:moveTo>
                  <a:cubicBezTo>
                    <a:pt x="48" y="856"/>
                    <a:pt x="48" y="856"/>
                    <a:pt x="48" y="856"/>
                  </a:cubicBezTo>
                  <a:cubicBezTo>
                    <a:pt x="22" y="856"/>
                    <a:pt x="0" y="834"/>
                    <a:pt x="0" y="80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22" y="0"/>
                    <a:pt x="1222" y="0"/>
                    <a:pt x="1222" y="0"/>
                  </a:cubicBezTo>
                  <a:cubicBezTo>
                    <a:pt x="1249" y="0"/>
                    <a:pt x="1270" y="22"/>
                    <a:pt x="1270" y="48"/>
                  </a:cubicBezTo>
                  <a:cubicBezTo>
                    <a:pt x="1270" y="808"/>
                    <a:pt x="1270" y="808"/>
                    <a:pt x="1270" y="808"/>
                  </a:cubicBezTo>
                  <a:cubicBezTo>
                    <a:pt x="1270" y="834"/>
                    <a:pt x="1249" y="856"/>
                    <a:pt x="1222" y="856"/>
                  </a:cubicBezTo>
                  <a:close/>
                </a:path>
              </a:pathLst>
            </a:cu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6" name="Line 160">
              <a:extLst>
                <a:ext uri="{FF2B5EF4-FFF2-40B4-BE49-F238E27FC236}">
                  <a16:creationId xmlns:a16="http://schemas.microsoft.com/office/drawing/2014/main" xmlns="" id="{AEE5711B-2866-400A-80DA-65EFD6DE48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51" y="2002"/>
              <a:ext cx="2658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7" name="Freeform 161">
              <a:extLst>
                <a:ext uri="{FF2B5EF4-FFF2-40B4-BE49-F238E27FC236}">
                  <a16:creationId xmlns:a16="http://schemas.microsoft.com/office/drawing/2014/main" xmlns="" id="{B5C13A83-5E4A-4EE4-9EEF-FE2071277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" y="1160"/>
              <a:ext cx="337" cy="540"/>
            </a:xfrm>
            <a:custGeom>
              <a:avLst/>
              <a:gdLst>
                <a:gd name="T0" fmla="*/ 337 w 337"/>
                <a:gd name="T1" fmla="*/ 540 h 540"/>
                <a:gd name="T2" fmla="*/ 0 w 337"/>
                <a:gd name="T3" fmla="*/ 405 h 540"/>
                <a:gd name="T4" fmla="*/ 0 w 337"/>
                <a:gd name="T5" fmla="*/ 0 h 540"/>
                <a:gd name="T6" fmla="*/ 337 w 337"/>
                <a:gd name="T7" fmla="*/ 135 h 540"/>
                <a:gd name="T8" fmla="*/ 337 w 337"/>
                <a:gd name="T9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" h="540">
                  <a:moveTo>
                    <a:pt x="337" y="540"/>
                  </a:moveTo>
                  <a:lnTo>
                    <a:pt x="0" y="405"/>
                  </a:lnTo>
                  <a:lnTo>
                    <a:pt x="0" y="0"/>
                  </a:lnTo>
                  <a:lnTo>
                    <a:pt x="337" y="135"/>
                  </a:lnTo>
                  <a:lnTo>
                    <a:pt x="337" y="540"/>
                  </a:lnTo>
                  <a:close/>
                </a:path>
              </a:pathLst>
            </a:cu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8" name="Freeform 162">
              <a:extLst>
                <a:ext uri="{FF2B5EF4-FFF2-40B4-BE49-F238E27FC236}">
                  <a16:creationId xmlns:a16="http://schemas.microsoft.com/office/drawing/2014/main" xmlns="" id="{190F285B-A2D2-4225-AF5D-9027A078F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1" y="1156"/>
              <a:ext cx="338" cy="544"/>
            </a:xfrm>
            <a:custGeom>
              <a:avLst/>
              <a:gdLst>
                <a:gd name="T0" fmla="*/ 0 w 338"/>
                <a:gd name="T1" fmla="*/ 544 h 544"/>
                <a:gd name="T2" fmla="*/ 338 w 338"/>
                <a:gd name="T3" fmla="*/ 409 h 544"/>
                <a:gd name="T4" fmla="*/ 338 w 338"/>
                <a:gd name="T5" fmla="*/ 0 h 544"/>
                <a:gd name="T6" fmla="*/ 0 w 338"/>
                <a:gd name="T7" fmla="*/ 13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8" h="544">
                  <a:moveTo>
                    <a:pt x="0" y="544"/>
                  </a:moveTo>
                  <a:lnTo>
                    <a:pt x="338" y="409"/>
                  </a:lnTo>
                  <a:lnTo>
                    <a:pt x="338" y="0"/>
                  </a:lnTo>
                  <a:lnTo>
                    <a:pt x="0" y="137"/>
                  </a:lnTo>
                </a:path>
              </a:pathLst>
            </a:cu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9" name="Freeform 163">
              <a:extLst>
                <a:ext uri="{FF2B5EF4-FFF2-40B4-BE49-F238E27FC236}">
                  <a16:creationId xmlns:a16="http://schemas.microsoft.com/office/drawing/2014/main" xmlns="" id="{D9CE06EE-E71C-47F2-B6E8-9147939A2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" y="1045"/>
              <a:ext cx="675" cy="115"/>
            </a:xfrm>
            <a:custGeom>
              <a:avLst/>
              <a:gdLst>
                <a:gd name="T0" fmla="*/ 0 w 675"/>
                <a:gd name="T1" fmla="*/ 115 h 115"/>
                <a:gd name="T2" fmla="*/ 344 w 675"/>
                <a:gd name="T3" fmla="*/ 0 h 115"/>
                <a:gd name="T4" fmla="*/ 675 w 675"/>
                <a:gd name="T5" fmla="*/ 10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5" h="115">
                  <a:moveTo>
                    <a:pt x="0" y="115"/>
                  </a:moveTo>
                  <a:lnTo>
                    <a:pt x="344" y="0"/>
                  </a:lnTo>
                  <a:lnTo>
                    <a:pt x="675" y="109"/>
                  </a:lnTo>
                </a:path>
              </a:pathLst>
            </a:cu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0" name="Line 164">
              <a:extLst>
                <a:ext uri="{FF2B5EF4-FFF2-40B4-BE49-F238E27FC236}">
                  <a16:creationId xmlns:a16="http://schemas.microsoft.com/office/drawing/2014/main" xmlns="" id="{3EF23D70-0D01-4C80-A6E9-554EE62CCD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53" y="2321"/>
              <a:ext cx="67" cy="26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1" name="Line 165">
              <a:extLst>
                <a:ext uri="{FF2B5EF4-FFF2-40B4-BE49-F238E27FC236}">
                  <a16:creationId xmlns:a16="http://schemas.microsoft.com/office/drawing/2014/main" xmlns="" id="{40E7EBD7-949D-4A1A-9B76-5BFD3A63B1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2321"/>
              <a:ext cx="67" cy="26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2" name="Freeform 166">
              <a:extLst>
                <a:ext uri="{FF2B5EF4-FFF2-40B4-BE49-F238E27FC236}">
                  <a16:creationId xmlns:a16="http://schemas.microsoft.com/office/drawing/2014/main" xmlns="" id="{02980175-F835-4BAE-8EC5-0F5BC7D5A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5" y="2581"/>
              <a:ext cx="1190" cy="135"/>
            </a:xfrm>
            <a:custGeom>
              <a:avLst/>
              <a:gdLst>
                <a:gd name="T0" fmla="*/ 536 w 568"/>
                <a:gd name="T1" fmla="*/ 64 h 64"/>
                <a:gd name="T2" fmla="*/ 32 w 568"/>
                <a:gd name="T3" fmla="*/ 64 h 64"/>
                <a:gd name="T4" fmla="*/ 0 w 568"/>
                <a:gd name="T5" fmla="*/ 32 h 64"/>
                <a:gd name="T6" fmla="*/ 0 w 568"/>
                <a:gd name="T7" fmla="*/ 32 h 64"/>
                <a:gd name="T8" fmla="*/ 32 w 568"/>
                <a:gd name="T9" fmla="*/ 0 h 64"/>
                <a:gd name="T10" fmla="*/ 536 w 568"/>
                <a:gd name="T11" fmla="*/ 0 h 64"/>
                <a:gd name="T12" fmla="*/ 568 w 568"/>
                <a:gd name="T13" fmla="*/ 32 h 64"/>
                <a:gd name="T14" fmla="*/ 568 w 568"/>
                <a:gd name="T15" fmla="*/ 32 h 64"/>
                <a:gd name="T16" fmla="*/ 536 w 568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64">
                  <a:moveTo>
                    <a:pt x="536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15" y="64"/>
                    <a:pt x="0" y="50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36" y="0"/>
                    <a:pt x="536" y="0"/>
                    <a:pt x="536" y="0"/>
                  </a:cubicBezTo>
                  <a:cubicBezTo>
                    <a:pt x="554" y="0"/>
                    <a:pt x="568" y="14"/>
                    <a:pt x="568" y="32"/>
                  </a:cubicBezTo>
                  <a:cubicBezTo>
                    <a:pt x="568" y="32"/>
                    <a:pt x="568" y="32"/>
                    <a:pt x="568" y="32"/>
                  </a:cubicBezTo>
                  <a:cubicBezTo>
                    <a:pt x="568" y="50"/>
                    <a:pt x="554" y="64"/>
                    <a:pt x="536" y="64"/>
                  </a:cubicBezTo>
                  <a:close/>
                </a:path>
              </a:pathLst>
            </a:cu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3" name="Line 167">
              <a:extLst>
                <a:ext uri="{FF2B5EF4-FFF2-40B4-BE49-F238E27FC236}">
                  <a16:creationId xmlns:a16="http://schemas.microsoft.com/office/drawing/2014/main" xmlns="" id="{CF74E8C2-206E-4EB4-9C58-F75518823F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3" y="1280"/>
              <a:ext cx="600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4" name="Line 168">
              <a:extLst>
                <a:ext uri="{FF2B5EF4-FFF2-40B4-BE49-F238E27FC236}">
                  <a16:creationId xmlns:a16="http://schemas.microsoft.com/office/drawing/2014/main" xmlns="" id="{E6864AB6-CABF-4780-BEAD-FA404F98B8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6" y="1280"/>
              <a:ext cx="415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5" name="Line 169">
              <a:extLst>
                <a:ext uri="{FF2B5EF4-FFF2-40B4-BE49-F238E27FC236}">
                  <a16:creationId xmlns:a16="http://schemas.microsoft.com/office/drawing/2014/main" xmlns="" id="{988680EE-C314-44EB-B007-3B7B37567B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3" y="978"/>
              <a:ext cx="223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6" name="Line 170">
              <a:extLst>
                <a:ext uri="{FF2B5EF4-FFF2-40B4-BE49-F238E27FC236}">
                  <a16:creationId xmlns:a16="http://schemas.microsoft.com/office/drawing/2014/main" xmlns="" id="{1729DFA8-ECF3-4626-B077-2B219621D0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3" y="1624"/>
              <a:ext cx="365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7" name="Line 171">
              <a:extLst>
                <a:ext uri="{FF2B5EF4-FFF2-40B4-BE49-F238E27FC236}">
                  <a16:creationId xmlns:a16="http://schemas.microsoft.com/office/drawing/2014/main" xmlns="" id="{2D0BFE88-DB2E-4F6D-9FF9-2BCA6F9E8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91" y="1624"/>
              <a:ext cx="650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8" name="Oval 172">
              <a:extLst>
                <a:ext uri="{FF2B5EF4-FFF2-40B4-BE49-F238E27FC236}">
                  <a16:creationId xmlns:a16="http://schemas.microsoft.com/office/drawing/2014/main" xmlns="" id="{39E0C0BE-E875-4703-A11B-5ED7E0C47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6" y="885"/>
              <a:ext cx="192" cy="193"/>
            </a:xfrm>
            <a:prstGeom prst="ellips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9" name="Oval 173">
              <a:extLst>
                <a:ext uri="{FF2B5EF4-FFF2-40B4-BE49-F238E27FC236}">
                  <a16:creationId xmlns:a16="http://schemas.microsoft.com/office/drawing/2014/main" xmlns="" id="{7F2D2941-26B2-46B1-98FF-246509FD4A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179"/>
              <a:ext cx="193" cy="193"/>
            </a:xfrm>
            <a:prstGeom prst="ellips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0" name="Oval 174">
              <a:extLst>
                <a:ext uri="{FF2B5EF4-FFF2-40B4-BE49-F238E27FC236}">
                  <a16:creationId xmlns:a16="http://schemas.microsoft.com/office/drawing/2014/main" xmlns="" id="{A0B8E0CE-70B6-49A8-87FF-7383637E1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8" y="1523"/>
              <a:ext cx="193" cy="194"/>
            </a:xfrm>
            <a:prstGeom prst="ellips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1" name="Line 175">
              <a:extLst>
                <a:ext uri="{FF2B5EF4-FFF2-40B4-BE49-F238E27FC236}">
                  <a16:creationId xmlns:a16="http://schemas.microsoft.com/office/drawing/2014/main" xmlns="" id="{F557707A-0DB9-47FD-987B-BBBF953CC6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8" y="978"/>
              <a:ext cx="793" cy="0"/>
            </a:xfrm>
            <a:prstGeom prst="line">
              <a:avLst/>
            </a:prstGeom>
            <a:noFill/>
            <a:ln w="14288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62" name="Groupe 761">
            <a:extLst>
              <a:ext uri="{FF2B5EF4-FFF2-40B4-BE49-F238E27FC236}">
                <a16:creationId xmlns:a16="http://schemas.microsoft.com/office/drawing/2014/main" xmlns="" id="{D15E7F68-DDC4-48C3-BB87-0AE3F1B7A94E}"/>
              </a:ext>
            </a:extLst>
          </p:cNvPr>
          <p:cNvGrpSpPr/>
          <p:nvPr/>
        </p:nvGrpSpPr>
        <p:grpSpPr>
          <a:xfrm>
            <a:off x="1680825" y="5185633"/>
            <a:ext cx="573088" cy="352426"/>
            <a:chOff x="3534168" y="1748788"/>
            <a:chExt cx="573088" cy="352426"/>
          </a:xfrm>
        </p:grpSpPr>
        <p:grpSp>
          <p:nvGrpSpPr>
            <p:cNvPr id="763" name="Groupe 762">
              <a:extLst>
                <a:ext uri="{FF2B5EF4-FFF2-40B4-BE49-F238E27FC236}">
                  <a16:creationId xmlns:a16="http://schemas.microsoft.com/office/drawing/2014/main" xmlns="" id="{7AF91D40-1955-493E-9183-0ED7A010ABC9}"/>
                </a:ext>
              </a:extLst>
            </p:cNvPr>
            <p:cNvGrpSpPr/>
            <p:nvPr/>
          </p:nvGrpSpPr>
          <p:grpSpPr>
            <a:xfrm>
              <a:off x="3534168" y="1748788"/>
              <a:ext cx="484188" cy="73025"/>
              <a:chOff x="3534168" y="1748788"/>
              <a:chExt cx="484188" cy="73025"/>
            </a:xfrm>
          </p:grpSpPr>
          <p:sp>
            <p:nvSpPr>
              <p:cNvPr id="776" name="Freeform 194">
                <a:extLst>
                  <a:ext uri="{FF2B5EF4-FFF2-40B4-BE49-F238E27FC236}">
                    <a16:creationId xmlns:a16="http://schemas.microsoft.com/office/drawing/2014/main" xmlns="" id="{DFFD6AF2-2B01-49CA-AFE2-2C5F9F8006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168" y="1748788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7" name="Freeform 195">
                <a:extLst>
                  <a:ext uri="{FF2B5EF4-FFF2-40B4-BE49-F238E27FC236}">
                    <a16:creationId xmlns:a16="http://schemas.microsoft.com/office/drawing/2014/main" xmlns="" id="{B9E2781C-6F36-4283-9A14-FDA12B436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618" y="1748788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8" name="Freeform 196">
                <a:extLst>
                  <a:ext uri="{FF2B5EF4-FFF2-40B4-BE49-F238E27FC236}">
                    <a16:creationId xmlns:a16="http://schemas.microsoft.com/office/drawing/2014/main" xmlns="" id="{8C82114E-E4BF-4A86-82E7-9EA8769AA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068" y="1748788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764" name="Groupe 763">
              <a:extLst>
                <a:ext uri="{FF2B5EF4-FFF2-40B4-BE49-F238E27FC236}">
                  <a16:creationId xmlns:a16="http://schemas.microsoft.com/office/drawing/2014/main" xmlns="" id="{191E8E15-5239-4737-8ABC-3F53C3660B17}"/>
                </a:ext>
              </a:extLst>
            </p:cNvPr>
            <p:cNvGrpSpPr/>
            <p:nvPr/>
          </p:nvGrpSpPr>
          <p:grpSpPr>
            <a:xfrm>
              <a:off x="3621481" y="1840863"/>
              <a:ext cx="485775" cy="74613"/>
              <a:chOff x="3621481" y="1839276"/>
              <a:chExt cx="485775" cy="74613"/>
            </a:xfrm>
          </p:grpSpPr>
          <p:sp>
            <p:nvSpPr>
              <p:cNvPr id="773" name="Freeform 197">
                <a:extLst>
                  <a:ext uri="{FF2B5EF4-FFF2-40B4-BE49-F238E27FC236}">
                    <a16:creationId xmlns:a16="http://schemas.microsoft.com/office/drawing/2014/main" xmlns="" id="{B4BFCB35-CF75-423E-AA50-9E8DB1E6F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1481" y="1839276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4" name="Freeform 198">
                <a:extLst>
                  <a:ext uri="{FF2B5EF4-FFF2-40B4-BE49-F238E27FC236}">
                    <a16:creationId xmlns:a16="http://schemas.microsoft.com/office/drawing/2014/main" xmlns="" id="{B32911FC-A400-4CBA-B297-AA4199AC2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931" y="1839276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5" name="Freeform 199">
                <a:extLst>
                  <a:ext uri="{FF2B5EF4-FFF2-40B4-BE49-F238E27FC236}">
                    <a16:creationId xmlns:a16="http://schemas.microsoft.com/office/drawing/2014/main" xmlns="" id="{F0055498-3CA5-4F5B-A571-ABAA7C5FC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4381" y="1839276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765" name="Groupe 764">
              <a:extLst>
                <a:ext uri="{FF2B5EF4-FFF2-40B4-BE49-F238E27FC236}">
                  <a16:creationId xmlns:a16="http://schemas.microsoft.com/office/drawing/2014/main" xmlns="" id="{F03048C8-3184-44CD-87F4-DBBA42D6707F}"/>
                </a:ext>
              </a:extLst>
            </p:cNvPr>
            <p:cNvGrpSpPr/>
            <p:nvPr/>
          </p:nvGrpSpPr>
          <p:grpSpPr>
            <a:xfrm>
              <a:off x="3534168" y="1934526"/>
              <a:ext cx="484188" cy="73025"/>
              <a:chOff x="3534168" y="1936113"/>
              <a:chExt cx="484188" cy="73025"/>
            </a:xfrm>
          </p:grpSpPr>
          <p:sp>
            <p:nvSpPr>
              <p:cNvPr id="770" name="Freeform 200">
                <a:extLst>
                  <a:ext uri="{FF2B5EF4-FFF2-40B4-BE49-F238E27FC236}">
                    <a16:creationId xmlns:a16="http://schemas.microsoft.com/office/drawing/2014/main" xmlns="" id="{9A6F7A96-6894-4396-AE5D-9B3F88922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168" y="1936113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1" name="Freeform 201">
                <a:extLst>
                  <a:ext uri="{FF2B5EF4-FFF2-40B4-BE49-F238E27FC236}">
                    <a16:creationId xmlns:a16="http://schemas.microsoft.com/office/drawing/2014/main" xmlns="" id="{EAF221AD-1729-4AAA-B106-E2932C059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618" y="1936113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72" name="Freeform 202">
                <a:extLst>
                  <a:ext uri="{FF2B5EF4-FFF2-40B4-BE49-F238E27FC236}">
                    <a16:creationId xmlns:a16="http://schemas.microsoft.com/office/drawing/2014/main" xmlns="" id="{F6E60A6D-B59C-49A1-9B7D-DC1B388E3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068" y="1936113"/>
                <a:ext cx="141288" cy="73025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766" name="Groupe 765">
              <a:extLst>
                <a:ext uri="{FF2B5EF4-FFF2-40B4-BE49-F238E27FC236}">
                  <a16:creationId xmlns:a16="http://schemas.microsoft.com/office/drawing/2014/main" xmlns="" id="{B720DD03-4CFB-4CAD-8339-1480F08C66AE}"/>
                </a:ext>
              </a:extLst>
            </p:cNvPr>
            <p:cNvGrpSpPr/>
            <p:nvPr/>
          </p:nvGrpSpPr>
          <p:grpSpPr>
            <a:xfrm>
              <a:off x="3621481" y="2026601"/>
              <a:ext cx="485775" cy="74613"/>
              <a:chOff x="3621481" y="2026601"/>
              <a:chExt cx="485775" cy="74613"/>
            </a:xfrm>
          </p:grpSpPr>
          <p:sp>
            <p:nvSpPr>
              <p:cNvPr id="767" name="Freeform 203">
                <a:extLst>
                  <a:ext uri="{FF2B5EF4-FFF2-40B4-BE49-F238E27FC236}">
                    <a16:creationId xmlns:a16="http://schemas.microsoft.com/office/drawing/2014/main" xmlns="" id="{CA66F163-FCC3-4DDE-8388-C6A816428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1481" y="2026601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8" name="Freeform 204">
                <a:extLst>
                  <a:ext uri="{FF2B5EF4-FFF2-40B4-BE49-F238E27FC236}">
                    <a16:creationId xmlns:a16="http://schemas.microsoft.com/office/drawing/2014/main" xmlns="" id="{F6FAB410-D6A6-4D44-B470-923B83B6C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931" y="2026601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9" name="Freeform 205">
                <a:extLst>
                  <a:ext uri="{FF2B5EF4-FFF2-40B4-BE49-F238E27FC236}">
                    <a16:creationId xmlns:a16="http://schemas.microsoft.com/office/drawing/2014/main" xmlns="" id="{EB521B9C-A7E3-471E-A227-A603FA866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4381" y="2026601"/>
                <a:ext cx="142875" cy="74613"/>
              </a:xfrm>
              <a:custGeom>
                <a:avLst/>
                <a:gdLst>
                  <a:gd name="T0" fmla="*/ 244 w 292"/>
                  <a:gd name="T1" fmla="*/ 152 h 152"/>
                  <a:gd name="T2" fmla="*/ 48 w 292"/>
                  <a:gd name="T3" fmla="*/ 152 h 152"/>
                  <a:gd name="T4" fmla="*/ 0 w 292"/>
                  <a:gd name="T5" fmla="*/ 104 h 152"/>
                  <a:gd name="T6" fmla="*/ 0 w 292"/>
                  <a:gd name="T7" fmla="*/ 48 h 152"/>
                  <a:gd name="T8" fmla="*/ 48 w 292"/>
                  <a:gd name="T9" fmla="*/ 0 h 152"/>
                  <a:gd name="T10" fmla="*/ 244 w 292"/>
                  <a:gd name="T11" fmla="*/ 0 h 152"/>
                  <a:gd name="T12" fmla="*/ 292 w 292"/>
                  <a:gd name="T13" fmla="*/ 48 h 152"/>
                  <a:gd name="T14" fmla="*/ 292 w 292"/>
                  <a:gd name="T15" fmla="*/ 104 h 152"/>
                  <a:gd name="T16" fmla="*/ 244 w 292"/>
                  <a:gd name="T1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152">
                    <a:moveTo>
                      <a:pt x="244" y="152"/>
                    </a:moveTo>
                    <a:cubicBezTo>
                      <a:pt x="48" y="152"/>
                      <a:pt x="48" y="152"/>
                      <a:pt x="48" y="152"/>
                    </a:cubicBezTo>
                    <a:cubicBezTo>
                      <a:pt x="22" y="152"/>
                      <a:pt x="0" y="130"/>
                      <a:pt x="0" y="10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70" y="0"/>
                      <a:pt x="292" y="22"/>
                      <a:pt x="292" y="48"/>
                    </a:cubicBezTo>
                    <a:cubicBezTo>
                      <a:pt x="292" y="104"/>
                      <a:pt x="292" y="104"/>
                      <a:pt x="292" y="104"/>
                    </a:cubicBezTo>
                    <a:cubicBezTo>
                      <a:pt x="292" y="130"/>
                      <a:pt x="270" y="152"/>
                      <a:pt x="244" y="152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79" name="Group 208">
            <a:extLst>
              <a:ext uri="{FF2B5EF4-FFF2-40B4-BE49-F238E27FC236}">
                <a16:creationId xmlns:a16="http://schemas.microsoft.com/office/drawing/2014/main" xmlns="" id="{68446422-822F-4C98-99D1-714F7F13A7FE}"/>
              </a:ext>
            </a:extLst>
          </p:cNvPr>
          <p:cNvGrpSpPr>
            <a:grpSpLocks noChangeAspect="1"/>
          </p:cNvGrpSpPr>
          <p:nvPr/>
        </p:nvGrpSpPr>
        <p:grpSpPr bwMode="auto">
          <a:xfrm rot="20824676">
            <a:off x="3832436" y="3936308"/>
            <a:ext cx="584522" cy="588071"/>
            <a:chOff x="1737" y="265"/>
            <a:chExt cx="2306" cy="2320"/>
          </a:xfrm>
        </p:grpSpPr>
        <p:sp>
          <p:nvSpPr>
            <p:cNvPr id="780" name="Freeform 209">
              <a:extLst>
                <a:ext uri="{FF2B5EF4-FFF2-40B4-BE49-F238E27FC236}">
                  <a16:creationId xmlns:a16="http://schemas.microsoft.com/office/drawing/2014/main" xmlns="" id="{8D069B07-B59C-4B8E-9C59-B3DB36255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509"/>
              <a:ext cx="1510" cy="1510"/>
            </a:xfrm>
            <a:custGeom>
              <a:avLst/>
              <a:gdLst>
                <a:gd name="T0" fmla="*/ 527 w 720"/>
                <a:gd name="T1" fmla="*/ 679 h 720"/>
                <a:gd name="T2" fmla="*/ 360 w 720"/>
                <a:gd name="T3" fmla="*/ 720 h 720"/>
                <a:gd name="T4" fmla="*/ 0 w 720"/>
                <a:gd name="T5" fmla="*/ 360 h 720"/>
                <a:gd name="T6" fmla="*/ 360 w 720"/>
                <a:gd name="T7" fmla="*/ 0 h 720"/>
                <a:gd name="T8" fmla="*/ 720 w 720"/>
                <a:gd name="T9" fmla="*/ 352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0" h="720">
                  <a:moveTo>
                    <a:pt x="527" y="679"/>
                  </a:moveTo>
                  <a:cubicBezTo>
                    <a:pt x="477" y="705"/>
                    <a:pt x="420" y="720"/>
                    <a:pt x="360" y="720"/>
                  </a:cubicBezTo>
                  <a:cubicBezTo>
                    <a:pt x="161" y="720"/>
                    <a:pt x="0" y="559"/>
                    <a:pt x="0" y="360"/>
                  </a:cubicBezTo>
                  <a:cubicBezTo>
                    <a:pt x="0" y="161"/>
                    <a:pt x="161" y="0"/>
                    <a:pt x="360" y="0"/>
                  </a:cubicBezTo>
                  <a:cubicBezTo>
                    <a:pt x="556" y="0"/>
                    <a:pt x="716" y="157"/>
                    <a:pt x="720" y="352"/>
                  </a:cubicBez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1" name="Freeform 210">
              <a:extLst>
                <a:ext uri="{FF2B5EF4-FFF2-40B4-BE49-F238E27FC236}">
                  <a16:creationId xmlns:a16="http://schemas.microsoft.com/office/drawing/2014/main" xmlns="" id="{1016873E-DACC-4697-AD98-9F83F367C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439"/>
              <a:ext cx="469" cy="468"/>
            </a:xfrm>
            <a:custGeom>
              <a:avLst/>
              <a:gdLst>
                <a:gd name="T0" fmla="*/ 0 w 469"/>
                <a:gd name="T1" fmla="*/ 181 h 468"/>
                <a:gd name="T2" fmla="*/ 182 w 469"/>
                <a:gd name="T3" fmla="*/ 0 h 468"/>
                <a:gd name="T4" fmla="*/ 469 w 469"/>
                <a:gd name="T5" fmla="*/ 286 h 468"/>
                <a:gd name="T6" fmla="*/ 287 w 469"/>
                <a:gd name="T7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9" h="468">
                  <a:moveTo>
                    <a:pt x="0" y="181"/>
                  </a:moveTo>
                  <a:lnTo>
                    <a:pt x="182" y="0"/>
                  </a:lnTo>
                  <a:lnTo>
                    <a:pt x="469" y="286"/>
                  </a:lnTo>
                  <a:lnTo>
                    <a:pt x="287" y="468"/>
                  </a:ln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2" name="Freeform 211">
              <a:extLst>
                <a:ext uri="{FF2B5EF4-FFF2-40B4-BE49-F238E27FC236}">
                  <a16:creationId xmlns:a16="http://schemas.microsoft.com/office/drawing/2014/main" xmlns="" id="{9D02B576-5C3B-4E6F-A488-8F5EF7888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" y="964"/>
              <a:ext cx="417" cy="854"/>
            </a:xfrm>
            <a:custGeom>
              <a:avLst/>
              <a:gdLst>
                <a:gd name="T0" fmla="*/ 80 w 199"/>
                <a:gd name="T1" fmla="*/ 0 h 407"/>
                <a:gd name="T2" fmla="*/ 199 w 199"/>
                <a:gd name="T3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9" h="407">
                  <a:moveTo>
                    <a:pt x="80" y="0"/>
                  </a:moveTo>
                  <a:cubicBezTo>
                    <a:pt x="0" y="145"/>
                    <a:pt x="54" y="327"/>
                    <a:pt x="199" y="407"/>
                  </a:cubicBez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3" name="Freeform 212">
              <a:extLst>
                <a:ext uri="{FF2B5EF4-FFF2-40B4-BE49-F238E27FC236}">
                  <a16:creationId xmlns:a16="http://schemas.microsoft.com/office/drawing/2014/main" xmlns="" id="{4E8C29F4-1852-426A-A5C7-6BAB0F96F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" y="668"/>
              <a:ext cx="193" cy="84"/>
            </a:xfrm>
            <a:custGeom>
              <a:avLst/>
              <a:gdLst>
                <a:gd name="T0" fmla="*/ 92 w 92"/>
                <a:gd name="T1" fmla="*/ 0 h 40"/>
                <a:gd name="T2" fmla="*/ 0 w 92"/>
                <a:gd name="T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2" h="40">
                  <a:moveTo>
                    <a:pt x="92" y="0"/>
                  </a:moveTo>
                  <a:cubicBezTo>
                    <a:pt x="58" y="8"/>
                    <a:pt x="27" y="22"/>
                    <a:pt x="0" y="40"/>
                  </a:cubicBez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4" name="Freeform 213">
              <a:extLst>
                <a:ext uri="{FF2B5EF4-FFF2-40B4-BE49-F238E27FC236}">
                  <a16:creationId xmlns:a16="http://schemas.microsoft.com/office/drawing/2014/main" xmlns="" id="{C72315BB-9BEE-4051-9E22-67302A078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4" y="265"/>
              <a:ext cx="472" cy="306"/>
            </a:xfrm>
            <a:custGeom>
              <a:avLst/>
              <a:gdLst>
                <a:gd name="T0" fmla="*/ 0 w 472"/>
                <a:gd name="T1" fmla="*/ 306 h 306"/>
                <a:gd name="T2" fmla="*/ 170 w 472"/>
                <a:gd name="T3" fmla="*/ 294 h 306"/>
                <a:gd name="T4" fmla="*/ 212 w 472"/>
                <a:gd name="T5" fmla="*/ 51 h 306"/>
                <a:gd name="T6" fmla="*/ 472 w 472"/>
                <a:gd name="T7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2" h="306">
                  <a:moveTo>
                    <a:pt x="0" y="306"/>
                  </a:moveTo>
                  <a:lnTo>
                    <a:pt x="170" y="294"/>
                  </a:lnTo>
                  <a:lnTo>
                    <a:pt x="212" y="51"/>
                  </a:lnTo>
                  <a:lnTo>
                    <a:pt x="472" y="0"/>
                  </a:ln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5" name="Oval 214">
              <a:extLst>
                <a:ext uri="{FF2B5EF4-FFF2-40B4-BE49-F238E27FC236}">
                  <a16:creationId xmlns:a16="http://schemas.microsoft.com/office/drawing/2014/main" xmlns="" id="{524D9673-6780-48CC-920A-B72669097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2" y="1239"/>
              <a:ext cx="849" cy="849"/>
            </a:xfrm>
            <a:prstGeom prst="ellipse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6" name="Line 215">
              <a:extLst>
                <a:ext uri="{FF2B5EF4-FFF2-40B4-BE49-F238E27FC236}">
                  <a16:creationId xmlns:a16="http://schemas.microsoft.com/office/drawing/2014/main" xmlns="" id="{D28116C5-09C0-4F7A-8E27-7F376EFADF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8" y="1990"/>
              <a:ext cx="122" cy="119"/>
            </a:xfrm>
            <a:prstGeom prst="line">
              <a:avLst/>
            </a:pr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7" name="Freeform 216">
              <a:extLst>
                <a:ext uri="{FF2B5EF4-FFF2-40B4-BE49-F238E27FC236}">
                  <a16:creationId xmlns:a16="http://schemas.microsoft.com/office/drawing/2014/main" xmlns="" id="{FCE3D011-5014-4D19-B3A3-23D138809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" y="2053"/>
              <a:ext cx="532" cy="532"/>
            </a:xfrm>
            <a:custGeom>
              <a:avLst/>
              <a:gdLst>
                <a:gd name="T0" fmla="*/ 147 w 254"/>
                <a:gd name="T1" fmla="*/ 235 h 254"/>
                <a:gd name="T2" fmla="*/ 18 w 254"/>
                <a:gd name="T3" fmla="*/ 106 h 254"/>
                <a:gd name="T4" fmla="*/ 18 w 254"/>
                <a:gd name="T5" fmla="*/ 39 h 254"/>
                <a:gd name="T6" fmla="*/ 39 w 254"/>
                <a:gd name="T7" fmla="*/ 18 h 254"/>
                <a:gd name="T8" fmla="*/ 107 w 254"/>
                <a:gd name="T9" fmla="*/ 18 h 254"/>
                <a:gd name="T10" fmla="*/ 235 w 254"/>
                <a:gd name="T11" fmla="*/ 147 h 254"/>
                <a:gd name="T12" fmla="*/ 235 w 254"/>
                <a:gd name="T13" fmla="*/ 215 h 254"/>
                <a:gd name="T14" fmla="*/ 215 w 254"/>
                <a:gd name="T15" fmla="*/ 235 h 254"/>
                <a:gd name="T16" fmla="*/ 147 w 254"/>
                <a:gd name="T17" fmla="*/ 235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4" h="254">
                  <a:moveTo>
                    <a:pt x="147" y="235"/>
                  </a:moveTo>
                  <a:cubicBezTo>
                    <a:pt x="18" y="106"/>
                    <a:pt x="18" y="106"/>
                    <a:pt x="18" y="106"/>
                  </a:cubicBezTo>
                  <a:cubicBezTo>
                    <a:pt x="0" y="88"/>
                    <a:pt x="0" y="57"/>
                    <a:pt x="18" y="39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57" y="0"/>
                    <a:pt x="88" y="0"/>
                    <a:pt x="107" y="18"/>
                  </a:cubicBezTo>
                  <a:cubicBezTo>
                    <a:pt x="235" y="147"/>
                    <a:pt x="235" y="147"/>
                    <a:pt x="235" y="147"/>
                  </a:cubicBezTo>
                  <a:cubicBezTo>
                    <a:pt x="254" y="166"/>
                    <a:pt x="254" y="196"/>
                    <a:pt x="235" y="215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196" y="254"/>
                    <a:pt x="166" y="254"/>
                    <a:pt x="147" y="235"/>
                  </a:cubicBezTo>
                  <a:close/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8" name="Freeform 217">
              <a:extLst>
                <a:ext uri="{FF2B5EF4-FFF2-40B4-BE49-F238E27FC236}">
                  <a16:creationId xmlns:a16="http://schemas.microsoft.com/office/drawing/2014/main" xmlns="" id="{CF824E5A-BFC4-45C2-953F-B705B56CB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7" y="1364"/>
              <a:ext cx="218" cy="219"/>
            </a:xfrm>
            <a:custGeom>
              <a:avLst/>
              <a:gdLst>
                <a:gd name="T0" fmla="*/ 0 w 104"/>
                <a:gd name="T1" fmla="*/ 0 h 104"/>
                <a:gd name="T2" fmla="*/ 104 w 104"/>
                <a:gd name="T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4" h="104">
                  <a:moveTo>
                    <a:pt x="0" y="0"/>
                  </a:moveTo>
                  <a:cubicBezTo>
                    <a:pt x="57" y="0"/>
                    <a:pt x="104" y="47"/>
                    <a:pt x="104" y="104"/>
                  </a:cubicBezTo>
                </a:path>
              </a:pathLst>
            </a:custGeom>
            <a:noFill/>
            <a:ln w="142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89" name="Groupe 788">
            <a:extLst>
              <a:ext uri="{FF2B5EF4-FFF2-40B4-BE49-F238E27FC236}">
                <a16:creationId xmlns:a16="http://schemas.microsoft.com/office/drawing/2014/main" xmlns="" id="{6A63B838-AA22-444D-B0DD-3A8B6A41C7D4}"/>
              </a:ext>
            </a:extLst>
          </p:cNvPr>
          <p:cNvGrpSpPr/>
          <p:nvPr/>
        </p:nvGrpSpPr>
        <p:grpSpPr>
          <a:xfrm>
            <a:off x="4757967" y="4052460"/>
            <a:ext cx="722541" cy="316232"/>
            <a:chOff x="6141309" y="937270"/>
            <a:chExt cx="722541" cy="316232"/>
          </a:xfrm>
        </p:grpSpPr>
        <p:grpSp>
          <p:nvGrpSpPr>
            <p:cNvPr id="790" name="Group 220">
              <a:extLst>
                <a:ext uri="{FF2B5EF4-FFF2-40B4-BE49-F238E27FC236}">
                  <a16:creationId xmlns:a16="http://schemas.microsoft.com/office/drawing/2014/main" xmlns="" id="{56E9C5E4-2DA0-43FC-AC4B-EB326AE50C6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941504">
              <a:off x="6141309" y="937270"/>
              <a:ext cx="722541" cy="316232"/>
              <a:chOff x="3986" y="567"/>
              <a:chExt cx="377" cy="165"/>
            </a:xfrm>
          </p:grpSpPr>
          <p:sp>
            <p:nvSpPr>
              <p:cNvPr id="792" name="Freeform 221">
                <a:extLst>
                  <a:ext uri="{FF2B5EF4-FFF2-40B4-BE49-F238E27FC236}">
                    <a16:creationId xmlns:a16="http://schemas.microsoft.com/office/drawing/2014/main" xmlns="" id="{9AB6D554-6FAB-4F79-AC72-0525E5109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5" y="618"/>
                <a:ext cx="228" cy="114"/>
              </a:xfrm>
              <a:custGeom>
                <a:avLst/>
                <a:gdLst>
                  <a:gd name="T0" fmla="*/ 0 w 537"/>
                  <a:gd name="T1" fmla="*/ 265 h 265"/>
                  <a:gd name="T2" fmla="*/ 480 w 537"/>
                  <a:gd name="T3" fmla="*/ 265 h 265"/>
                  <a:gd name="T4" fmla="*/ 537 w 537"/>
                  <a:gd name="T5" fmla="*/ 207 h 265"/>
                  <a:gd name="T6" fmla="*/ 537 w 537"/>
                  <a:gd name="T7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7" h="265">
                    <a:moveTo>
                      <a:pt x="0" y="265"/>
                    </a:moveTo>
                    <a:cubicBezTo>
                      <a:pt x="480" y="265"/>
                      <a:pt x="480" y="265"/>
                      <a:pt x="480" y="265"/>
                    </a:cubicBezTo>
                    <a:cubicBezTo>
                      <a:pt x="511" y="265"/>
                      <a:pt x="537" y="239"/>
                      <a:pt x="537" y="207"/>
                    </a:cubicBezTo>
                    <a:cubicBezTo>
                      <a:pt x="537" y="0"/>
                      <a:pt x="537" y="0"/>
                      <a:pt x="537" y="0"/>
                    </a:cubicBezTo>
                  </a:path>
                </a:pathLst>
              </a:custGeom>
              <a:noFill/>
              <a:ln w="14288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3" name="Freeform 222">
                <a:extLst>
                  <a:ext uri="{FF2B5EF4-FFF2-40B4-BE49-F238E27FC236}">
                    <a16:creationId xmlns:a16="http://schemas.microsoft.com/office/drawing/2014/main" xmlns="" id="{36D185E7-61A6-44DE-9914-8614806F9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567"/>
                <a:ext cx="377" cy="165"/>
              </a:xfrm>
              <a:custGeom>
                <a:avLst/>
                <a:gdLst>
                  <a:gd name="T0" fmla="*/ 888 w 888"/>
                  <a:gd name="T1" fmla="*/ 79 h 384"/>
                  <a:gd name="T2" fmla="*/ 888 w 888"/>
                  <a:gd name="T3" fmla="*/ 57 h 384"/>
                  <a:gd name="T4" fmla="*/ 831 w 888"/>
                  <a:gd name="T5" fmla="*/ 0 h 384"/>
                  <a:gd name="T6" fmla="*/ 290 w 888"/>
                  <a:gd name="T7" fmla="*/ 0 h 384"/>
                  <a:gd name="T8" fmla="*/ 227 w 888"/>
                  <a:gd name="T9" fmla="*/ 17 h 384"/>
                  <a:gd name="T10" fmla="*/ 32 w 888"/>
                  <a:gd name="T11" fmla="*/ 153 h 384"/>
                  <a:gd name="T12" fmla="*/ 29 w 888"/>
                  <a:gd name="T13" fmla="*/ 236 h 384"/>
                  <a:gd name="T14" fmla="*/ 225 w 888"/>
                  <a:gd name="T15" fmla="*/ 361 h 384"/>
                  <a:gd name="T16" fmla="*/ 295 w 888"/>
                  <a:gd name="T17" fmla="*/ 384 h 384"/>
                  <a:gd name="T18" fmla="*/ 311 w 888"/>
                  <a:gd name="T1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8" h="384">
                    <a:moveTo>
                      <a:pt x="888" y="79"/>
                    </a:moveTo>
                    <a:cubicBezTo>
                      <a:pt x="888" y="57"/>
                      <a:pt x="888" y="57"/>
                      <a:pt x="888" y="57"/>
                    </a:cubicBezTo>
                    <a:cubicBezTo>
                      <a:pt x="888" y="25"/>
                      <a:pt x="862" y="0"/>
                      <a:pt x="831" y="0"/>
                    </a:cubicBezTo>
                    <a:cubicBezTo>
                      <a:pt x="290" y="0"/>
                      <a:pt x="290" y="0"/>
                      <a:pt x="290" y="0"/>
                    </a:cubicBezTo>
                    <a:cubicBezTo>
                      <a:pt x="268" y="0"/>
                      <a:pt x="246" y="6"/>
                      <a:pt x="227" y="17"/>
                    </a:cubicBezTo>
                    <a:cubicBezTo>
                      <a:pt x="32" y="153"/>
                      <a:pt x="32" y="153"/>
                      <a:pt x="32" y="153"/>
                    </a:cubicBezTo>
                    <a:cubicBezTo>
                      <a:pt x="2" y="171"/>
                      <a:pt x="0" y="215"/>
                      <a:pt x="29" y="236"/>
                    </a:cubicBezTo>
                    <a:cubicBezTo>
                      <a:pt x="225" y="361"/>
                      <a:pt x="225" y="361"/>
                      <a:pt x="225" y="361"/>
                    </a:cubicBezTo>
                    <a:cubicBezTo>
                      <a:pt x="245" y="376"/>
                      <a:pt x="269" y="384"/>
                      <a:pt x="295" y="384"/>
                    </a:cubicBezTo>
                    <a:cubicBezTo>
                      <a:pt x="311" y="384"/>
                      <a:pt x="311" y="384"/>
                      <a:pt x="311" y="384"/>
                    </a:cubicBezTo>
                  </a:path>
                </a:pathLst>
              </a:custGeom>
              <a:noFill/>
              <a:ln w="14288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4" name="Oval 223">
                <a:extLst>
                  <a:ext uri="{FF2B5EF4-FFF2-40B4-BE49-F238E27FC236}">
                    <a16:creationId xmlns:a16="http://schemas.microsoft.com/office/drawing/2014/main" xmlns="" id="{54CC9348-DF57-463D-8F59-23290DC517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8" y="635"/>
                <a:ext cx="29" cy="29"/>
              </a:xfrm>
              <a:prstGeom prst="ellipse">
                <a:avLst/>
              </a:prstGeom>
              <a:noFill/>
              <a:ln w="14288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95" name="Freeform 224">
                <a:extLst>
                  <a:ext uri="{FF2B5EF4-FFF2-40B4-BE49-F238E27FC236}">
                    <a16:creationId xmlns:a16="http://schemas.microsoft.com/office/drawing/2014/main" xmlns="" id="{F8AD0300-CDAD-46D9-8145-515118A7E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4" y="584"/>
                <a:ext cx="129" cy="130"/>
              </a:xfrm>
              <a:custGeom>
                <a:avLst/>
                <a:gdLst>
                  <a:gd name="T0" fmla="*/ 64 w 129"/>
                  <a:gd name="T1" fmla="*/ 8 h 130"/>
                  <a:gd name="T2" fmla="*/ 82 w 129"/>
                  <a:gd name="T3" fmla="*/ 0 h 130"/>
                  <a:gd name="T4" fmla="*/ 92 w 129"/>
                  <a:gd name="T5" fmla="*/ 16 h 130"/>
                  <a:gd name="T6" fmla="*/ 111 w 129"/>
                  <a:gd name="T7" fmla="*/ 17 h 130"/>
                  <a:gd name="T8" fmla="*/ 113 w 129"/>
                  <a:gd name="T9" fmla="*/ 37 h 130"/>
                  <a:gd name="T10" fmla="*/ 129 w 129"/>
                  <a:gd name="T11" fmla="*/ 48 h 130"/>
                  <a:gd name="T12" fmla="*/ 120 w 129"/>
                  <a:gd name="T13" fmla="*/ 65 h 130"/>
                  <a:gd name="T14" fmla="*/ 129 w 129"/>
                  <a:gd name="T15" fmla="*/ 82 h 130"/>
                  <a:gd name="T16" fmla="*/ 113 w 129"/>
                  <a:gd name="T17" fmla="*/ 94 h 130"/>
                  <a:gd name="T18" fmla="*/ 111 w 129"/>
                  <a:gd name="T19" fmla="*/ 113 h 130"/>
                  <a:gd name="T20" fmla="*/ 92 w 129"/>
                  <a:gd name="T21" fmla="*/ 114 h 130"/>
                  <a:gd name="T22" fmla="*/ 82 w 129"/>
                  <a:gd name="T23" fmla="*/ 130 h 130"/>
                  <a:gd name="T24" fmla="*/ 64 w 129"/>
                  <a:gd name="T25" fmla="*/ 122 h 130"/>
                  <a:gd name="T26" fmla="*/ 47 w 129"/>
                  <a:gd name="T27" fmla="*/ 130 h 130"/>
                  <a:gd name="T28" fmla="*/ 36 w 129"/>
                  <a:gd name="T29" fmla="*/ 114 h 130"/>
                  <a:gd name="T30" fmla="*/ 17 w 129"/>
                  <a:gd name="T31" fmla="*/ 113 h 130"/>
                  <a:gd name="T32" fmla="*/ 16 w 129"/>
                  <a:gd name="T33" fmla="*/ 94 h 130"/>
                  <a:gd name="T34" fmla="*/ 0 w 129"/>
                  <a:gd name="T35" fmla="*/ 82 h 130"/>
                  <a:gd name="T36" fmla="*/ 8 w 129"/>
                  <a:gd name="T37" fmla="*/ 65 h 130"/>
                  <a:gd name="T38" fmla="*/ 0 w 129"/>
                  <a:gd name="T39" fmla="*/ 48 h 130"/>
                  <a:gd name="T40" fmla="*/ 16 w 129"/>
                  <a:gd name="T41" fmla="*/ 37 h 130"/>
                  <a:gd name="T42" fmla="*/ 17 w 129"/>
                  <a:gd name="T43" fmla="*/ 17 h 130"/>
                  <a:gd name="T44" fmla="*/ 36 w 129"/>
                  <a:gd name="T45" fmla="*/ 16 h 130"/>
                  <a:gd name="T46" fmla="*/ 47 w 129"/>
                  <a:gd name="T47" fmla="*/ 0 h 130"/>
                  <a:gd name="T48" fmla="*/ 64 w 129"/>
                  <a:gd name="T49" fmla="*/ 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30">
                    <a:moveTo>
                      <a:pt x="64" y="8"/>
                    </a:moveTo>
                    <a:lnTo>
                      <a:pt x="82" y="0"/>
                    </a:lnTo>
                    <a:lnTo>
                      <a:pt x="92" y="16"/>
                    </a:lnTo>
                    <a:lnTo>
                      <a:pt x="111" y="17"/>
                    </a:lnTo>
                    <a:lnTo>
                      <a:pt x="113" y="37"/>
                    </a:lnTo>
                    <a:lnTo>
                      <a:pt x="129" y="48"/>
                    </a:lnTo>
                    <a:lnTo>
                      <a:pt x="120" y="65"/>
                    </a:lnTo>
                    <a:lnTo>
                      <a:pt x="129" y="82"/>
                    </a:lnTo>
                    <a:lnTo>
                      <a:pt x="113" y="94"/>
                    </a:lnTo>
                    <a:lnTo>
                      <a:pt x="111" y="113"/>
                    </a:lnTo>
                    <a:lnTo>
                      <a:pt x="92" y="114"/>
                    </a:lnTo>
                    <a:lnTo>
                      <a:pt x="82" y="130"/>
                    </a:lnTo>
                    <a:lnTo>
                      <a:pt x="64" y="122"/>
                    </a:lnTo>
                    <a:lnTo>
                      <a:pt x="47" y="130"/>
                    </a:lnTo>
                    <a:lnTo>
                      <a:pt x="36" y="114"/>
                    </a:lnTo>
                    <a:lnTo>
                      <a:pt x="17" y="113"/>
                    </a:lnTo>
                    <a:lnTo>
                      <a:pt x="16" y="94"/>
                    </a:lnTo>
                    <a:lnTo>
                      <a:pt x="0" y="82"/>
                    </a:lnTo>
                    <a:lnTo>
                      <a:pt x="8" y="65"/>
                    </a:lnTo>
                    <a:lnTo>
                      <a:pt x="0" y="48"/>
                    </a:lnTo>
                    <a:lnTo>
                      <a:pt x="16" y="37"/>
                    </a:lnTo>
                    <a:lnTo>
                      <a:pt x="17" y="17"/>
                    </a:lnTo>
                    <a:lnTo>
                      <a:pt x="36" y="16"/>
                    </a:lnTo>
                    <a:lnTo>
                      <a:pt x="47" y="0"/>
                    </a:lnTo>
                    <a:lnTo>
                      <a:pt x="64" y="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791" name="Freeform 140">
              <a:extLst>
                <a:ext uri="{FF2B5EF4-FFF2-40B4-BE49-F238E27FC236}">
                  <a16:creationId xmlns:a16="http://schemas.microsoft.com/office/drawing/2014/main" xmlns="" id="{C8FD8453-627F-464B-93C8-3AE44B021314}"/>
                </a:ext>
              </a:extLst>
            </p:cNvPr>
            <p:cNvSpPr>
              <a:spLocks noEditPoints="1"/>
            </p:cNvSpPr>
            <p:nvPr/>
          </p:nvSpPr>
          <p:spPr bwMode="auto">
            <a:xfrm rot="996123">
              <a:off x="6555109" y="1043423"/>
              <a:ext cx="94732" cy="176807"/>
            </a:xfrm>
            <a:custGeom>
              <a:avLst/>
              <a:gdLst>
                <a:gd name="T0" fmla="*/ 103 w 228"/>
                <a:gd name="T1" fmla="*/ 425 h 425"/>
                <a:gd name="T2" fmla="*/ 103 w 228"/>
                <a:gd name="T3" fmla="*/ 382 h 425"/>
                <a:gd name="T4" fmla="*/ 51 w 228"/>
                <a:gd name="T5" fmla="*/ 368 h 425"/>
                <a:gd name="T6" fmla="*/ 17 w 228"/>
                <a:gd name="T7" fmla="*/ 335 h 425"/>
                <a:gd name="T8" fmla="*/ 0 w 228"/>
                <a:gd name="T9" fmla="*/ 280 h 425"/>
                <a:gd name="T10" fmla="*/ 43 w 228"/>
                <a:gd name="T11" fmla="*/ 272 h 425"/>
                <a:gd name="T12" fmla="*/ 60 w 228"/>
                <a:gd name="T13" fmla="*/ 322 h 425"/>
                <a:gd name="T14" fmla="*/ 103 w 228"/>
                <a:gd name="T15" fmla="*/ 347 h 425"/>
                <a:gd name="T16" fmla="*/ 103 w 228"/>
                <a:gd name="T17" fmla="*/ 212 h 425"/>
                <a:gd name="T18" fmla="*/ 50 w 228"/>
                <a:gd name="T19" fmla="*/ 192 h 425"/>
                <a:gd name="T20" fmla="*/ 18 w 228"/>
                <a:gd name="T21" fmla="*/ 161 h 425"/>
                <a:gd name="T22" fmla="*/ 8 w 228"/>
                <a:gd name="T23" fmla="*/ 116 h 425"/>
                <a:gd name="T24" fmla="*/ 39 w 228"/>
                <a:gd name="T25" fmla="*/ 43 h 425"/>
                <a:gd name="T26" fmla="*/ 103 w 228"/>
                <a:gd name="T27" fmla="*/ 20 h 425"/>
                <a:gd name="T28" fmla="*/ 103 w 228"/>
                <a:gd name="T29" fmla="*/ 0 h 425"/>
                <a:gd name="T30" fmla="*/ 128 w 228"/>
                <a:gd name="T31" fmla="*/ 0 h 425"/>
                <a:gd name="T32" fmla="*/ 128 w 228"/>
                <a:gd name="T33" fmla="*/ 20 h 425"/>
                <a:gd name="T34" fmla="*/ 186 w 228"/>
                <a:gd name="T35" fmla="*/ 41 h 425"/>
                <a:gd name="T36" fmla="*/ 219 w 228"/>
                <a:gd name="T37" fmla="*/ 104 h 425"/>
                <a:gd name="T38" fmla="*/ 176 w 228"/>
                <a:gd name="T39" fmla="*/ 111 h 425"/>
                <a:gd name="T40" fmla="*/ 160 w 228"/>
                <a:gd name="T41" fmla="*/ 73 h 425"/>
                <a:gd name="T42" fmla="*/ 128 w 228"/>
                <a:gd name="T43" fmla="*/ 55 h 425"/>
                <a:gd name="T44" fmla="*/ 128 w 228"/>
                <a:gd name="T45" fmla="*/ 177 h 425"/>
                <a:gd name="T46" fmla="*/ 170 w 228"/>
                <a:gd name="T47" fmla="*/ 190 h 425"/>
                <a:gd name="T48" fmla="*/ 202 w 228"/>
                <a:gd name="T49" fmla="*/ 211 h 425"/>
                <a:gd name="T50" fmla="*/ 221 w 228"/>
                <a:gd name="T51" fmla="*/ 240 h 425"/>
                <a:gd name="T52" fmla="*/ 228 w 228"/>
                <a:gd name="T53" fmla="*/ 277 h 425"/>
                <a:gd name="T54" fmla="*/ 200 w 228"/>
                <a:gd name="T55" fmla="*/ 350 h 425"/>
                <a:gd name="T56" fmla="*/ 128 w 228"/>
                <a:gd name="T57" fmla="*/ 382 h 425"/>
                <a:gd name="T58" fmla="*/ 128 w 228"/>
                <a:gd name="T59" fmla="*/ 425 h 425"/>
                <a:gd name="T60" fmla="*/ 103 w 228"/>
                <a:gd name="T61" fmla="*/ 425 h 425"/>
                <a:gd name="T62" fmla="*/ 103 w 228"/>
                <a:gd name="T63" fmla="*/ 55 h 425"/>
                <a:gd name="T64" fmla="*/ 64 w 228"/>
                <a:gd name="T65" fmla="*/ 75 h 425"/>
                <a:gd name="T66" fmla="*/ 50 w 228"/>
                <a:gd name="T67" fmla="*/ 112 h 425"/>
                <a:gd name="T68" fmla="*/ 62 w 228"/>
                <a:gd name="T69" fmla="*/ 149 h 425"/>
                <a:gd name="T70" fmla="*/ 103 w 228"/>
                <a:gd name="T71" fmla="*/ 172 h 425"/>
                <a:gd name="T72" fmla="*/ 103 w 228"/>
                <a:gd name="T73" fmla="*/ 55 h 425"/>
                <a:gd name="T74" fmla="*/ 128 w 228"/>
                <a:gd name="T75" fmla="*/ 347 h 425"/>
                <a:gd name="T76" fmla="*/ 168 w 228"/>
                <a:gd name="T77" fmla="*/ 325 h 425"/>
                <a:gd name="T78" fmla="*/ 184 w 228"/>
                <a:gd name="T79" fmla="*/ 280 h 425"/>
                <a:gd name="T80" fmla="*/ 173 w 228"/>
                <a:gd name="T81" fmla="*/ 243 h 425"/>
                <a:gd name="T82" fmla="*/ 128 w 228"/>
                <a:gd name="T83" fmla="*/ 218 h 425"/>
                <a:gd name="T84" fmla="*/ 128 w 228"/>
                <a:gd name="T85" fmla="*/ 347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8" h="425">
                  <a:moveTo>
                    <a:pt x="103" y="425"/>
                  </a:moveTo>
                  <a:cubicBezTo>
                    <a:pt x="103" y="382"/>
                    <a:pt x="103" y="382"/>
                    <a:pt x="103" y="382"/>
                  </a:cubicBezTo>
                  <a:cubicBezTo>
                    <a:pt x="82" y="380"/>
                    <a:pt x="64" y="375"/>
                    <a:pt x="51" y="368"/>
                  </a:cubicBezTo>
                  <a:cubicBezTo>
                    <a:pt x="38" y="361"/>
                    <a:pt x="27" y="350"/>
                    <a:pt x="17" y="335"/>
                  </a:cubicBezTo>
                  <a:cubicBezTo>
                    <a:pt x="7" y="320"/>
                    <a:pt x="2" y="302"/>
                    <a:pt x="0" y="280"/>
                  </a:cubicBezTo>
                  <a:cubicBezTo>
                    <a:pt x="43" y="272"/>
                    <a:pt x="43" y="272"/>
                    <a:pt x="43" y="272"/>
                  </a:cubicBezTo>
                  <a:cubicBezTo>
                    <a:pt x="46" y="294"/>
                    <a:pt x="52" y="311"/>
                    <a:pt x="60" y="322"/>
                  </a:cubicBezTo>
                  <a:cubicBezTo>
                    <a:pt x="72" y="337"/>
                    <a:pt x="86" y="345"/>
                    <a:pt x="103" y="347"/>
                  </a:cubicBezTo>
                  <a:cubicBezTo>
                    <a:pt x="103" y="212"/>
                    <a:pt x="103" y="212"/>
                    <a:pt x="103" y="212"/>
                  </a:cubicBezTo>
                  <a:cubicBezTo>
                    <a:pt x="85" y="209"/>
                    <a:pt x="68" y="202"/>
                    <a:pt x="50" y="192"/>
                  </a:cubicBezTo>
                  <a:cubicBezTo>
                    <a:pt x="36" y="185"/>
                    <a:pt x="26" y="174"/>
                    <a:pt x="18" y="161"/>
                  </a:cubicBezTo>
                  <a:cubicBezTo>
                    <a:pt x="11" y="148"/>
                    <a:pt x="8" y="133"/>
                    <a:pt x="8" y="116"/>
                  </a:cubicBezTo>
                  <a:cubicBezTo>
                    <a:pt x="8" y="86"/>
                    <a:pt x="18" y="61"/>
                    <a:pt x="39" y="43"/>
                  </a:cubicBezTo>
                  <a:cubicBezTo>
                    <a:pt x="54" y="30"/>
                    <a:pt x="75" y="23"/>
                    <a:pt x="103" y="2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52" y="22"/>
                    <a:pt x="172" y="29"/>
                    <a:pt x="186" y="41"/>
                  </a:cubicBezTo>
                  <a:cubicBezTo>
                    <a:pt x="204" y="57"/>
                    <a:pt x="216" y="78"/>
                    <a:pt x="219" y="104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3" y="94"/>
                    <a:pt x="168" y="82"/>
                    <a:pt x="160" y="73"/>
                  </a:cubicBezTo>
                  <a:cubicBezTo>
                    <a:pt x="152" y="64"/>
                    <a:pt x="141" y="58"/>
                    <a:pt x="128" y="55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49" y="182"/>
                    <a:pt x="163" y="187"/>
                    <a:pt x="170" y="190"/>
                  </a:cubicBezTo>
                  <a:cubicBezTo>
                    <a:pt x="183" y="195"/>
                    <a:pt x="194" y="202"/>
                    <a:pt x="202" y="211"/>
                  </a:cubicBezTo>
                  <a:cubicBezTo>
                    <a:pt x="210" y="219"/>
                    <a:pt x="217" y="229"/>
                    <a:pt x="221" y="240"/>
                  </a:cubicBezTo>
                  <a:cubicBezTo>
                    <a:pt x="225" y="252"/>
                    <a:pt x="228" y="264"/>
                    <a:pt x="228" y="277"/>
                  </a:cubicBezTo>
                  <a:cubicBezTo>
                    <a:pt x="228" y="307"/>
                    <a:pt x="218" y="331"/>
                    <a:pt x="200" y="350"/>
                  </a:cubicBezTo>
                  <a:cubicBezTo>
                    <a:pt x="181" y="370"/>
                    <a:pt x="157" y="380"/>
                    <a:pt x="128" y="382"/>
                  </a:cubicBezTo>
                  <a:cubicBezTo>
                    <a:pt x="128" y="425"/>
                    <a:pt x="128" y="425"/>
                    <a:pt x="128" y="425"/>
                  </a:cubicBezTo>
                  <a:lnTo>
                    <a:pt x="103" y="425"/>
                  </a:lnTo>
                  <a:close/>
                  <a:moveTo>
                    <a:pt x="103" y="55"/>
                  </a:moveTo>
                  <a:cubicBezTo>
                    <a:pt x="86" y="58"/>
                    <a:pt x="73" y="64"/>
                    <a:pt x="64" y="75"/>
                  </a:cubicBezTo>
                  <a:cubicBezTo>
                    <a:pt x="54" y="85"/>
                    <a:pt x="50" y="98"/>
                    <a:pt x="50" y="112"/>
                  </a:cubicBezTo>
                  <a:cubicBezTo>
                    <a:pt x="50" y="127"/>
                    <a:pt x="54" y="139"/>
                    <a:pt x="62" y="149"/>
                  </a:cubicBezTo>
                  <a:cubicBezTo>
                    <a:pt x="70" y="158"/>
                    <a:pt x="84" y="166"/>
                    <a:pt x="103" y="172"/>
                  </a:cubicBezTo>
                  <a:lnTo>
                    <a:pt x="103" y="55"/>
                  </a:lnTo>
                  <a:close/>
                  <a:moveTo>
                    <a:pt x="128" y="347"/>
                  </a:moveTo>
                  <a:cubicBezTo>
                    <a:pt x="144" y="345"/>
                    <a:pt x="158" y="338"/>
                    <a:pt x="168" y="325"/>
                  </a:cubicBezTo>
                  <a:cubicBezTo>
                    <a:pt x="179" y="313"/>
                    <a:pt x="184" y="298"/>
                    <a:pt x="184" y="280"/>
                  </a:cubicBezTo>
                  <a:cubicBezTo>
                    <a:pt x="184" y="265"/>
                    <a:pt x="181" y="252"/>
                    <a:pt x="173" y="243"/>
                  </a:cubicBezTo>
                  <a:cubicBezTo>
                    <a:pt x="165" y="234"/>
                    <a:pt x="150" y="226"/>
                    <a:pt x="128" y="218"/>
                  </a:cubicBezTo>
                  <a:lnTo>
                    <a:pt x="128" y="347"/>
                  </a:lnTo>
                  <a:close/>
                </a:path>
              </a:pathLst>
            </a:custGeom>
            <a:solidFill>
              <a:schemeClr val="accent3"/>
            </a:solidFill>
            <a:ln w="14351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96" name="Group 227">
            <a:extLst>
              <a:ext uri="{FF2B5EF4-FFF2-40B4-BE49-F238E27FC236}">
                <a16:creationId xmlns:a16="http://schemas.microsoft.com/office/drawing/2014/main" xmlns="" id="{4EDD3A54-0046-4A66-8ED5-AE484E9748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5890" y="4029136"/>
            <a:ext cx="476129" cy="349921"/>
            <a:chOff x="748" y="685"/>
            <a:chExt cx="1211" cy="890"/>
          </a:xfrm>
        </p:grpSpPr>
        <p:sp>
          <p:nvSpPr>
            <p:cNvPr id="797" name="Freeform 228">
              <a:extLst>
                <a:ext uri="{FF2B5EF4-FFF2-40B4-BE49-F238E27FC236}">
                  <a16:creationId xmlns:a16="http://schemas.microsoft.com/office/drawing/2014/main" xmlns="" id="{C0DA0ADD-4E3C-494F-8B8F-3414910D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1490"/>
              <a:ext cx="715" cy="85"/>
            </a:xfrm>
            <a:custGeom>
              <a:avLst/>
              <a:gdLst>
                <a:gd name="T0" fmla="*/ 320 w 340"/>
                <a:gd name="T1" fmla="*/ 40 h 40"/>
                <a:gd name="T2" fmla="*/ 20 w 340"/>
                <a:gd name="T3" fmla="*/ 40 h 40"/>
                <a:gd name="T4" fmla="*/ 0 w 340"/>
                <a:gd name="T5" fmla="*/ 20 h 40"/>
                <a:gd name="T6" fmla="*/ 0 w 340"/>
                <a:gd name="T7" fmla="*/ 20 h 40"/>
                <a:gd name="T8" fmla="*/ 20 w 340"/>
                <a:gd name="T9" fmla="*/ 0 h 40"/>
                <a:gd name="T10" fmla="*/ 320 w 340"/>
                <a:gd name="T11" fmla="*/ 0 h 40"/>
                <a:gd name="T12" fmla="*/ 340 w 340"/>
                <a:gd name="T13" fmla="*/ 20 h 40"/>
                <a:gd name="T14" fmla="*/ 340 w 340"/>
                <a:gd name="T15" fmla="*/ 20 h 40"/>
                <a:gd name="T16" fmla="*/ 320 w 340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0" h="40">
                  <a:moveTo>
                    <a:pt x="32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31" y="0"/>
                    <a:pt x="340" y="9"/>
                    <a:pt x="340" y="20"/>
                  </a:cubicBezTo>
                  <a:cubicBezTo>
                    <a:pt x="340" y="20"/>
                    <a:pt x="340" y="20"/>
                    <a:pt x="340" y="20"/>
                  </a:cubicBezTo>
                  <a:cubicBezTo>
                    <a:pt x="340" y="31"/>
                    <a:pt x="331" y="40"/>
                    <a:pt x="320" y="40"/>
                  </a:cubicBezTo>
                  <a:close/>
                </a:path>
              </a:pathLst>
            </a:cu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8" name="Freeform 229">
              <a:extLst>
                <a:ext uri="{FF2B5EF4-FFF2-40B4-BE49-F238E27FC236}">
                  <a16:creationId xmlns:a16="http://schemas.microsoft.com/office/drawing/2014/main" xmlns="" id="{F5B1952D-9D3F-45BC-B96B-05EE08241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" y="989"/>
              <a:ext cx="565" cy="501"/>
            </a:xfrm>
            <a:custGeom>
              <a:avLst/>
              <a:gdLst>
                <a:gd name="T0" fmla="*/ 0 w 269"/>
                <a:gd name="T1" fmla="*/ 238 h 238"/>
                <a:gd name="T2" fmla="*/ 0 w 269"/>
                <a:gd name="T3" fmla="*/ 134 h 238"/>
                <a:gd name="T4" fmla="*/ 134 w 269"/>
                <a:gd name="T5" fmla="*/ 0 h 238"/>
                <a:gd name="T6" fmla="*/ 134 w 269"/>
                <a:gd name="T7" fmla="*/ 0 h 238"/>
                <a:gd name="T8" fmla="*/ 269 w 269"/>
                <a:gd name="T9" fmla="*/ 134 h 238"/>
                <a:gd name="T10" fmla="*/ 269 w 269"/>
                <a:gd name="T11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" h="238">
                  <a:moveTo>
                    <a:pt x="0" y="238"/>
                  </a:moveTo>
                  <a:cubicBezTo>
                    <a:pt x="0" y="134"/>
                    <a:pt x="0" y="134"/>
                    <a:pt x="0" y="134"/>
                  </a:cubicBezTo>
                  <a:cubicBezTo>
                    <a:pt x="0" y="60"/>
                    <a:pt x="60" y="0"/>
                    <a:pt x="134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cubicBezTo>
                    <a:pt x="269" y="238"/>
                    <a:pt x="269" y="238"/>
                    <a:pt x="269" y="238"/>
                  </a:cubicBezTo>
                </a:path>
              </a:pathLst>
            </a:cu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9" name="Freeform 230">
              <a:extLst>
                <a:ext uri="{FF2B5EF4-FFF2-40B4-BE49-F238E27FC236}">
                  <a16:creationId xmlns:a16="http://schemas.microsoft.com/office/drawing/2014/main" xmlns="" id="{8514A439-347C-454B-9BAB-1DA9E9E66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060"/>
              <a:ext cx="181" cy="182"/>
            </a:xfrm>
            <a:custGeom>
              <a:avLst/>
              <a:gdLst>
                <a:gd name="T0" fmla="*/ 0 w 86"/>
                <a:gd name="T1" fmla="*/ 0 h 86"/>
                <a:gd name="T2" fmla="*/ 86 w 86"/>
                <a:gd name="T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6" h="86">
                  <a:moveTo>
                    <a:pt x="0" y="0"/>
                  </a:moveTo>
                  <a:cubicBezTo>
                    <a:pt x="47" y="0"/>
                    <a:pt x="86" y="39"/>
                    <a:pt x="86" y="86"/>
                  </a:cubicBezTo>
                </a:path>
              </a:pathLst>
            </a:cu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0" name="Line 231">
              <a:extLst>
                <a:ext uri="{FF2B5EF4-FFF2-40B4-BE49-F238E27FC236}">
                  <a16:creationId xmlns:a16="http://schemas.microsoft.com/office/drawing/2014/main" xmlns="" id="{620351DC-E92D-4D7F-9837-D10A8E8C81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" y="1254"/>
              <a:ext cx="236" cy="0"/>
            </a:xfrm>
            <a:prstGeom prst="line">
              <a:avLst/>
            </a:pr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1" name="Line 232">
              <a:extLst>
                <a:ext uri="{FF2B5EF4-FFF2-40B4-BE49-F238E27FC236}">
                  <a16:creationId xmlns:a16="http://schemas.microsoft.com/office/drawing/2014/main" xmlns="" id="{D0EBCD62-8547-428C-BCB8-8E39948118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4" y="1254"/>
              <a:ext cx="235" cy="0"/>
            </a:xfrm>
            <a:prstGeom prst="line">
              <a:avLst/>
            </a:pr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2" name="Line 233">
              <a:extLst>
                <a:ext uri="{FF2B5EF4-FFF2-40B4-BE49-F238E27FC236}">
                  <a16:creationId xmlns:a16="http://schemas.microsoft.com/office/drawing/2014/main" xmlns="" id="{9504833D-F218-4248-BD89-4FFC45DCEC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23" y="850"/>
              <a:ext cx="168" cy="168"/>
            </a:xfrm>
            <a:prstGeom prst="line">
              <a:avLst/>
            </a:pr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3" name="Line 234">
              <a:extLst>
                <a:ext uri="{FF2B5EF4-FFF2-40B4-BE49-F238E27FC236}">
                  <a16:creationId xmlns:a16="http://schemas.microsoft.com/office/drawing/2014/main" xmlns="" id="{7E3493BE-6FE8-4708-B407-E08A67FFCE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8" y="850"/>
              <a:ext cx="168" cy="168"/>
            </a:xfrm>
            <a:prstGeom prst="line">
              <a:avLst/>
            </a:pr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4" name="Line 235">
              <a:extLst>
                <a:ext uri="{FF2B5EF4-FFF2-40B4-BE49-F238E27FC236}">
                  <a16:creationId xmlns:a16="http://schemas.microsoft.com/office/drawing/2014/main" xmlns="" id="{F9D28977-3C1F-479F-8E04-FF00283967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49" y="685"/>
              <a:ext cx="0" cy="236"/>
            </a:xfrm>
            <a:prstGeom prst="line">
              <a:avLst/>
            </a:prstGeom>
            <a:noFill/>
            <a:ln w="14288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BD31BEE-7E3F-4A4E-A34F-E3C0D4305C90}"/>
              </a:ext>
            </a:extLst>
          </p:cNvPr>
          <p:cNvGrpSpPr/>
          <p:nvPr/>
        </p:nvGrpSpPr>
        <p:grpSpPr>
          <a:xfrm>
            <a:off x="5928597" y="3918842"/>
            <a:ext cx="495675" cy="545059"/>
            <a:chOff x="12308551" y="6036416"/>
            <a:chExt cx="495675" cy="545059"/>
          </a:xfrm>
        </p:grpSpPr>
        <p:grpSp>
          <p:nvGrpSpPr>
            <p:cNvPr id="805" name="Group 238">
              <a:extLst>
                <a:ext uri="{FF2B5EF4-FFF2-40B4-BE49-F238E27FC236}">
                  <a16:creationId xmlns:a16="http://schemas.microsoft.com/office/drawing/2014/main" xmlns="" id="{4F57A0BD-7040-4679-B377-A34D890FEC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08551" y="6173576"/>
              <a:ext cx="495675" cy="407899"/>
              <a:chOff x="1298" y="633"/>
              <a:chExt cx="1152" cy="948"/>
            </a:xfrm>
          </p:grpSpPr>
          <p:sp>
            <p:nvSpPr>
              <p:cNvPr id="806" name="Freeform 239">
                <a:extLst>
                  <a:ext uri="{FF2B5EF4-FFF2-40B4-BE49-F238E27FC236}">
                    <a16:creationId xmlns:a16="http://schemas.microsoft.com/office/drawing/2014/main" xmlns="" id="{6CD57630-203D-4DD2-AC28-D4875CC7B4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8" y="633"/>
                <a:ext cx="1152" cy="777"/>
              </a:xfrm>
              <a:custGeom>
                <a:avLst/>
                <a:gdLst>
                  <a:gd name="T0" fmla="*/ 160 w 548"/>
                  <a:gd name="T1" fmla="*/ 0 h 369"/>
                  <a:gd name="T2" fmla="*/ 48 w 548"/>
                  <a:gd name="T3" fmla="*/ 0 h 369"/>
                  <a:gd name="T4" fmla="*/ 0 w 548"/>
                  <a:gd name="T5" fmla="*/ 48 h 369"/>
                  <a:gd name="T6" fmla="*/ 0 w 548"/>
                  <a:gd name="T7" fmla="*/ 321 h 369"/>
                  <a:gd name="T8" fmla="*/ 48 w 548"/>
                  <a:gd name="T9" fmla="*/ 369 h 369"/>
                  <a:gd name="T10" fmla="*/ 500 w 548"/>
                  <a:gd name="T11" fmla="*/ 369 h 369"/>
                  <a:gd name="T12" fmla="*/ 548 w 548"/>
                  <a:gd name="T13" fmla="*/ 321 h 369"/>
                  <a:gd name="T14" fmla="*/ 548 w 548"/>
                  <a:gd name="T15" fmla="*/ 48 h 369"/>
                  <a:gd name="T16" fmla="*/ 500 w 548"/>
                  <a:gd name="T17" fmla="*/ 0 h 369"/>
                  <a:gd name="T18" fmla="*/ 384 w 548"/>
                  <a:gd name="T19" fmla="*/ 0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8" h="369">
                    <a:moveTo>
                      <a:pt x="16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2" y="0"/>
                      <a:pt x="0" y="22"/>
                      <a:pt x="0" y="48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0" y="347"/>
                      <a:pt x="22" y="369"/>
                      <a:pt x="48" y="369"/>
                    </a:cubicBezTo>
                    <a:cubicBezTo>
                      <a:pt x="500" y="369"/>
                      <a:pt x="500" y="369"/>
                      <a:pt x="500" y="369"/>
                    </a:cubicBezTo>
                    <a:cubicBezTo>
                      <a:pt x="526" y="369"/>
                      <a:pt x="548" y="347"/>
                      <a:pt x="548" y="321"/>
                    </a:cubicBezTo>
                    <a:cubicBezTo>
                      <a:pt x="548" y="48"/>
                      <a:pt x="548" y="48"/>
                      <a:pt x="548" y="48"/>
                    </a:cubicBezTo>
                    <a:cubicBezTo>
                      <a:pt x="548" y="22"/>
                      <a:pt x="526" y="0"/>
                      <a:pt x="500" y="0"/>
                    </a:cubicBezTo>
                    <a:cubicBezTo>
                      <a:pt x="384" y="0"/>
                      <a:pt x="384" y="0"/>
                      <a:pt x="384" y="0"/>
                    </a:cubicBezTo>
                  </a:path>
                </a:pathLst>
              </a:custGeom>
              <a:noFill/>
              <a:ln w="14288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7" name="Line 240">
                <a:extLst>
                  <a:ext uri="{FF2B5EF4-FFF2-40B4-BE49-F238E27FC236}">
                    <a16:creationId xmlns:a16="http://schemas.microsoft.com/office/drawing/2014/main" xmlns="" id="{E6AA9874-9031-4BC8-BF44-8CB16D986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00" y="1271"/>
                <a:ext cx="1148" cy="0"/>
              </a:xfrm>
              <a:prstGeom prst="line">
                <a:avLst/>
              </a:prstGeom>
              <a:noFill/>
              <a:ln w="14288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8" name="Line 241">
                <a:extLst>
                  <a:ext uri="{FF2B5EF4-FFF2-40B4-BE49-F238E27FC236}">
                    <a16:creationId xmlns:a16="http://schemas.microsoft.com/office/drawing/2014/main" xmlns="" id="{361B01C2-F442-46FD-BB75-88FA3C948B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689" y="1410"/>
                <a:ext cx="30" cy="112"/>
              </a:xfrm>
              <a:prstGeom prst="line">
                <a:avLst/>
              </a:prstGeom>
              <a:noFill/>
              <a:ln w="14288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9" name="Line 242">
                <a:extLst>
                  <a:ext uri="{FF2B5EF4-FFF2-40B4-BE49-F238E27FC236}">
                    <a16:creationId xmlns:a16="http://schemas.microsoft.com/office/drawing/2014/main" xmlns="" id="{5382708A-C33B-4ED5-8AE0-DB50C1EC0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0" y="1410"/>
                <a:ext cx="29" cy="112"/>
              </a:xfrm>
              <a:prstGeom prst="line">
                <a:avLst/>
              </a:prstGeom>
              <a:noFill/>
              <a:ln w="14288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0" name="Freeform 243">
                <a:extLst>
                  <a:ext uri="{FF2B5EF4-FFF2-40B4-BE49-F238E27FC236}">
                    <a16:creationId xmlns:a16="http://schemas.microsoft.com/office/drawing/2014/main" xmlns="" id="{A7DF4D6A-CC90-4EB8-98E8-9088D1715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1522"/>
                <a:ext cx="513" cy="59"/>
              </a:xfrm>
              <a:custGeom>
                <a:avLst/>
                <a:gdLst>
                  <a:gd name="T0" fmla="*/ 231 w 244"/>
                  <a:gd name="T1" fmla="*/ 28 h 28"/>
                  <a:gd name="T2" fmla="*/ 13 w 244"/>
                  <a:gd name="T3" fmla="*/ 28 h 28"/>
                  <a:gd name="T4" fmla="*/ 0 w 244"/>
                  <a:gd name="T5" fmla="*/ 14 h 28"/>
                  <a:gd name="T6" fmla="*/ 0 w 244"/>
                  <a:gd name="T7" fmla="*/ 14 h 28"/>
                  <a:gd name="T8" fmla="*/ 13 w 244"/>
                  <a:gd name="T9" fmla="*/ 0 h 28"/>
                  <a:gd name="T10" fmla="*/ 231 w 244"/>
                  <a:gd name="T11" fmla="*/ 0 h 28"/>
                  <a:gd name="T12" fmla="*/ 244 w 244"/>
                  <a:gd name="T13" fmla="*/ 14 h 28"/>
                  <a:gd name="T14" fmla="*/ 244 w 244"/>
                  <a:gd name="T15" fmla="*/ 14 h 28"/>
                  <a:gd name="T16" fmla="*/ 231 w 244"/>
                  <a:gd name="T1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4" h="28">
                    <a:moveTo>
                      <a:pt x="231" y="28"/>
                    </a:moveTo>
                    <a:cubicBezTo>
                      <a:pt x="13" y="28"/>
                      <a:pt x="13" y="28"/>
                      <a:pt x="13" y="28"/>
                    </a:cubicBezTo>
                    <a:cubicBezTo>
                      <a:pt x="6" y="28"/>
                      <a:pt x="0" y="22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7"/>
                      <a:pt x="6" y="0"/>
                      <a:pt x="13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238" y="0"/>
                      <a:pt x="244" y="7"/>
                      <a:pt x="244" y="14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44" y="22"/>
                      <a:pt x="238" y="28"/>
                      <a:pt x="231" y="28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cxnSp>
          <p:nvCxnSpPr>
            <p:cNvPr id="811" name="Connecteur droit avec flèche 810">
              <a:extLst>
                <a:ext uri="{FF2B5EF4-FFF2-40B4-BE49-F238E27FC236}">
                  <a16:creationId xmlns:a16="http://schemas.microsoft.com/office/drawing/2014/main" xmlns="" id="{E8865EA1-D42D-4836-9136-91AB8664819A}"/>
                </a:ext>
              </a:extLst>
            </p:cNvPr>
            <p:cNvCxnSpPr/>
            <p:nvPr/>
          </p:nvCxnSpPr>
          <p:spPr>
            <a:xfrm flipV="1">
              <a:off x="12561686" y="6036416"/>
              <a:ext cx="0" cy="281940"/>
            </a:xfrm>
            <a:prstGeom prst="straightConnector1">
              <a:avLst/>
            </a:prstGeom>
            <a:ln w="14351" cap="rnd">
              <a:solidFill>
                <a:schemeClr val="accent2"/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xmlns="" id="{B58A87FE-77CA-48B7-A29E-955F06CDCD3B}"/>
              </a:ext>
            </a:extLst>
          </p:cNvPr>
          <p:cNvGrpSpPr/>
          <p:nvPr/>
        </p:nvGrpSpPr>
        <p:grpSpPr>
          <a:xfrm>
            <a:off x="6920920" y="4059639"/>
            <a:ext cx="586443" cy="373191"/>
            <a:chOff x="12392526" y="7126075"/>
            <a:chExt cx="586443" cy="373191"/>
          </a:xfrm>
        </p:grpSpPr>
        <p:sp>
          <p:nvSpPr>
            <p:cNvPr id="812" name="Oval 247">
              <a:extLst>
                <a:ext uri="{FF2B5EF4-FFF2-40B4-BE49-F238E27FC236}">
                  <a16:creationId xmlns:a16="http://schemas.microsoft.com/office/drawing/2014/main" xmlns="" id="{4D545CC2-4C47-40A0-9AA8-EA9183252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4675" y="7309709"/>
              <a:ext cx="143079" cy="143535"/>
            </a:xfrm>
            <a:prstGeom prst="ellips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3" name="Line 248">
              <a:extLst>
                <a:ext uri="{FF2B5EF4-FFF2-40B4-BE49-F238E27FC236}">
                  <a16:creationId xmlns:a16="http://schemas.microsoft.com/office/drawing/2014/main" xmlns="" id="{874FC165-D677-4338-A56A-CB616F9CCC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505304" y="7309709"/>
              <a:ext cx="0" cy="70856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4" name="Line 249">
              <a:extLst>
                <a:ext uri="{FF2B5EF4-FFF2-40B4-BE49-F238E27FC236}">
                  <a16:creationId xmlns:a16="http://schemas.microsoft.com/office/drawing/2014/main" xmlns="" id="{2451FA7A-EA15-4BAD-B39C-6F4E85E4F7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505304" y="7378742"/>
              <a:ext cx="64933" cy="34403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5" name="Line 250">
              <a:extLst>
                <a:ext uri="{FF2B5EF4-FFF2-40B4-BE49-F238E27FC236}">
                  <a16:creationId xmlns:a16="http://schemas.microsoft.com/office/drawing/2014/main" xmlns="" id="{2FA94C80-B5EA-4E21-A7CC-3EAB6FEA3C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478419" y="7378742"/>
              <a:ext cx="26884" cy="68806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6" name="Line 251">
              <a:extLst>
                <a:ext uri="{FF2B5EF4-FFF2-40B4-BE49-F238E27FC236}">
                  <a16:creationId xmlns:a16="http://schemas.microsoft.com/office/drawing/2014/main" xmlns="" id="{94634E7B-8FC7-40FF-9337-CD2B632C25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34675" y="7374869"/>
              <a:ext cx="70628" cy="3873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7" name="Freeform 252">
              <a:extLst>
                <a:ext uri="{FF2B5EF4-FFF2-40B4-BE49-F238E27FC236}">
                  <a16:creationId xmlns:a16="http://schemas.microsoft.com/office/drawing/2014/main" xmlns="" id="{2C0490E1-A36E-486C-BE8C-935817F2C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8284" y="7334770"/>
              <a:ext cx="50081" cy="108904"/>
            </a:xfrm>
            <a:custGeom>
              <a:avLst/>
              <a:gdLst>
                <a:gd name="T0" fmla="*/ 260 w 260"/>
                <a:gd name="T1" fmla="*/ 478 h 478"/>
                <a:gd name="T2" fmla="*/ 260 w 260"/>
                <a:gd name="T3" fmla="*/ 0 h 478"/>
                <a:gd name="T4" fmla="*/ 0 w 260"/>
                <a:gd name="T5" fmla="*/ 0 h 478"/>
                <a:gd name="T6" fmla="*/ 0 w 260"/>
                <a:gd name="T7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478">
                  <a:moveTo>
                    <a:pt x="260" y="478"/>
                  </a:moveTo>
                  <a:lnTo>
                    <a:pt x="260" y="0"/>
                  </a:lnTo>
                  <a:lnTo>
                    <a:pt x="0" y="0"/>
                  </a:lnTo>
                  <a:lnTo>
                    <a:pt x="0" y="478"/>
                  </a:lnTo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8" name="Freeform 253">
              <a:extLst>
                <a:ext uri="{FF2B5EF4-FFF2-40B4-BE49-F238E27FC236}">
                  <a16:creationId xmlns:a16="http://schemas.microsoft.com/office/drawing/2014/main" xmlns="" id="{962D5A53-3CA4-4FBB-AD43-986934F05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2671" y="7334770"/>
              <a:ext cx="53090" cy="108904"/>
            </a:xfrm>
            <a:custGeom>
              <a:avLst/>
              <a:gdLst>
                <a:gd name="T0" fmla="*/ 260 w 260"/>
                <a:gd name="T1" fmla="*/ 478 h 478"/>
                <a:gd name="T2" fmla="*/ 260 w 260"/>
                <a:gd name="T3" fmla="*/ 0 h 478"/>
                <a:gd name="T4" fmla="*/ 0 w 260"/>
                <a:gd name="T5" fmla="*/ 0 h 478"/>
                <a:gd name="T6" fmla="*/ 0 w 260"/>
                <a:gd name="T7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478">
                  <a:moveTo>
                    <a:pt x="260" y="478"/>
                  </a:moveTo>
                  <a:lnTo>
                    <a:pt x="260" y="0"/>
                  </a:lnTo>
                  <a:lnTo>
                    <a:pt x="0" y="0"/>
                  </a:lnTo>
                  <a:lnTo>
                    <a:pt x="0" y="478"/>
                  </a:lnTo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9" name="Freeform 254">
              <a:extLst>
                <a:ext uri="{FF2B5EF4-FFF2-40B4-BE49-F238E27FC236}">
                  <a16:creationId xmlns:a16="http://schemas.microsoft.com/office/drawing/2014/main" xmlns="" id="{7C02EB07-8495-4009-8BBA-175ECB2D0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7547" y="7299228"/>
              <a:ext cx="52256" cy="144446"/>
            </a:xfrm>
            <a:custGeom>
              <a:avLst/>
              <a:gdLst>
                <a:gd name="T0" fmla="*/ 260 w 260"/>
                <a:gd name="T1" fmla="*/ 634 h 634"/>
                <a:gd name="T2" fmla="*/ 260 w 260"/>
                <a:gd name="T3" fmla="*/ 0 h 634"/>
                <a:gd name="T4" fmla="*/ 0 w 260"/>
                <a:gd name="T5" fmla="*/ 0 h 634"/>
                <a:gd name="T6" fmla="*/ 0 w 260"/>
                <a:gd name="T7" fmla="*/ 63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634">
                  <a:moveTo>
                    <a:pt x="260" y="634"/>
                  </a:moveTo>
                  <a:lnTo>
                    <a:pt x="260" y="0"/>
                  </a:lnTo>
                  <a:lnTo>
                    <a:pt x="0" y="0"/>
                  </a:lnTo>
                  <a:lnTo>
                    <a:pt x="0" y="634"/>
                  </a:lnTo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0" name="Freeform 255">
              <a:extLst>
                <a:ext uri="{FF2B5EF4-FFF2-40B4-BE49-F238E27FC236}">
                  <a16:creationId xmlns:a16="http://schemas.microsoft.com/office/drawing/2014/main" xmlns="" id="{EC5C97D2-E0B9-4C2B-9929-49F76D56E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9645" y="7257079"/>
              <a:ext cx="53977" cy="187507"/>
            </a:xfrm>
            <a:custGeom>
              <a:avLst/>
              <a:gdLst>
                <a:gd name="T0" fmla="*/ 260 w 260"/>
                <a:gd name="T1" fmla="*/ 823 h 823"/>
                <a:gd name="T2" fmla="*/ 260 w 260"/>
                <a:gd name="T3" fmla="*/ 0 h 823"/>
                <a:gd name="T4" fmla="*/ 0 w 260"/>
                <a:gd name="T5" fmla="*/ 0 h 823"/>
                <a:gd name="T6" fmla="*/ 0 w 260"/>
                <a:gd name="T7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0" h="823">
                  <a:moveTo>
                    <a:pt x="260" y="823"/>
                  </a:moveTo>
                  <a:lnTo>
                    <a:pt x="260" y="0"/>
                  </a:lnTo>
                  <a:lnTo>
                    <a:pt x="0" y="0"/>
                  </a:lnTo>
                  <a:lnTo>
                    <a:pt x="0" y="823"/>
                  </a:lnTo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1" name="Line 256">
              <a:extLst>
                <a:ext uri="{FF2B5EF4-FFF2-40B4-BE49-F238E27FC236}">
                  <a16:creationId xmlns:a16="http://schemas.microsoft.com/office/drawing/2014/main" xmlns="" id="{856D2563-136A-4689-8CA8-8C3129A6CF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574109" y="7443675"/>
              <a:ext cx="337877" cy="0"/>
            </a:xfrm>
            <a:prstGeom prst="line">
              <a:avLst/>
            </a:pr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2" name="Freeform 257">
              <a:extLst>
                <a:ext uri="{FF2B5EF4-FFF2-40B4-BE49-F238E27FC236}">
                  <a16:creationId xmlns:a16="http://schemas.microsoft.com/office/drawing/2014/main" xmlns="" id="{D3428216-07A8-4102-A42A-12EF9705B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5401" y="7218369"/>
              <a:ext cx="330586" cy="79514"/>
            </a:xfrm>
            <a:custGeom>
              <a:avLst/>
              <a:gdLst>
                <a:gd name="T0" fmla="*/ 0 w 692"/>
                <a:gd name="T1" fmla="*/ 165 h 166"/>
                <a:gd name="T2" fmla="*/ 273 w 692"/>
                <a:gd name="T3" fmla="*/ 19 h 166"/>
                <a:gd name="T4" fmla="*/ 568 w 692"/>
                <a:gd name="T5" fmla="*/ 113 h 166"/>
                <a:gd name="T6" fmla="*/ 692 w 692"/>
                <a:gd name="T7" fmla="*/ 15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2" h="166">
                  <a:moveTo>
                    <a:pt x="0" y="165"/>
                  </a:moveTo>
                  <a:cubicBezTo>
                    <a:pt x="73" y="92"/>
                    <a:pt x="171" y="36"/>
                    <a:pt x="273" y="19"/>
                  </a:cubicBezTo>
                  <a:cubicBezTo>
                    <a:pt x="384" y="0"/>
                    <a:pt x="484" y="43"/>
                    <a:pt x="568" y="113"/>
                  </a:cubicBezTo>
                  <a:cubicBezTo>
                    <a:pt x="605" y="143"/>
                    <a:pt x="643" y="166"/>
                    <a:pt x="692" y="154"/>
                  </a:cubicBezTo>
                </a:path>
              </a:pathLst>
            </a:custGeom>
            <a:noFill/>
            <a:ln w="14288" cap="rnd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3" name="Freeform 258">
              <a:extLst>
                <a:ext uri="{FF2B5EF4-FFF2-40B4-BE49-F238E27FC236}">
                  <a16:creationId xmlns:a16="http://schemas.microsoft.com/office/drawing/2014/main" xmlns="" id="{8828E400-0689-4EAA-BBAD-0E16E5103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2526" y="7183489"/>
              <a:ext cx="586443" cy="315777"/>
            </a:xfrm>
            <a:custGeom>
              <a:avLst/>
              <a:gdLst>
                <a:gd name="T0" fmla="*/ 1176 w 1228"/>
                <a:gd name="T1" fmla="*/ 660 h 660"/>
                <a:gd name="T2" fmla="*/ 52 w 1228"/>
                <a:gd name="T3" fmla="*/ 660 h 660"/>
                <a:gd name="T4" fmla="*/ 0 w 1228"/>
                <a:gd name="T5" fmla="*/ 608 h 660"/>
                <a:gd name="T6" fmla="*/ 0 w 1228"/>
                <a:gd name="T7" fmla="*/ 0 h 660"/>
                <a:gd name="T8" fmla="*/ 1228 w 1228"/>
                <a:gd name="T9" fmla="*/ 0 h 660"/>
                <a:gd name="T10" fmla="*/ 1228 w 1228"/>
                <a:gd name="T11" fmla="*/ 608 h 660"/>
                <a:gd name="T12" fmla="*/ 1176 w 1228"/>
                <a:gd name="T13" fmla="*/ 66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8" h="660">
                  <a:moveTo>
                    <a:pt x="1176" y="660"/>
                  </a:moveTo>
                  <a:cubicBezTo>
                    <a:pt x="52" y="660"/>
                    <a:pt x="52" y="660"/>
                    <a:pt x="52" y="660"/>
                  </a:cubicBezTo>
                  <a:cubicBezTo>
                    <a:pt x="23" y="660"/>
                    <a:pt x="0" y="637"/>
                    <a:pt x="0" y="6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28" y="0"/>
                    <a:pt x="1228" y="0"/>
                    <a:pt x="1228" y="0"/>
                  </a:cubicBezTo>
                  <a:cubicBezTo>
                    <a:pt x="1228" y="608"/>
                    <a:pt x="1228" y="608"/>
                    <a:pt x="1228" y="608"/>
                  </a:cubicBezTo>
                  <a:cubicBezTo>
                    <a:pt x="1228" y="637"/>
                    <a:pt x="1205" y="660"/>
                    <a:pt x="1176" y="660"/>
                  </a:cubicBezTo>
                  <a:close/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4" name="Freeform 259">
              <a:extLst>
                <a:ext uri="{FF2B5EF4-FFF2-40B4-BE49-F238E27FC236}">
                  <a16:creationId xmlns:a16="http://schemas.microsoft.com/office/drawing/2014/main" xmlns="" id="{DF7C9FB2-F854-4BB3-A3A5-4F01E921F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2526" y="7126075"/>
              <a:ext cx="586443" cy="57414"/>
            </a:xfrm>
            <a:custGeom>
              <a:avLst/>
              <a:gdLst>
                <a:gd name="T0" fmla="*/ 1180 w 1228"/>
                <a:gd name="T1" fmla="*/ 0 h 120"/>
                <a:gd name="T2" fmla="*/ 48 w 1228"/>
                <a:gd name="T3" fmla="*/ 0 h 120"/>
                <a:gd name="T4" fmla="*/ 0 w 1228"/>
                <a:gd name="T5" fmla="*/ 48 h 120"/>
                <a:gd name="T6" fmla="*/ 0 w 1228"/>
                <a:gd name="T7" fmla="*/ 120 h 120"/>
                <a:gd name="T8" fmla="*/ 1228 w 1228"/>
                <a:gd name="T9" fmla="*/ 120 h 120"/>
                <a:gd name="T10" fmla="*/ 1228 w 1228"/>
                <a:gd name="T11" fmla="*/ 48 h 120"/>
                <a:gd name="T12" fmla="*/ 1180 w 1228"/>
                <a:gd name="T1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8" h="120">
                  <a:moveTo>
                    <a:pt x="1180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228" y="120"/>
                    <a:pt x="1228" y="120"/>
                    <a:pt x="1228" y="120"/>
                  </a:cubicBezTo>
                  <a:cubicBezTo>
                    <a:pt x="1228" y="48"/>
                    <a:pt x="1228" y="48"/>
                    <a:pt x="1228" y="48"/>
                  </a:cubicBezTo>
                  <a:cubicBezTo>
                    <a:pt x="1228" y="21"/>
                    <a:pt x="1207" y="0"/>
                    <a:pt x="1180" y="0"/>
                  </a:cubicBezTo>
                  <a:close/>
                </a:path>
              </a:pathLst>
            </a:cu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5" name="Line 260">
              <a:extLst>
                <a:ext uri="{FF2B5EF4-FFF2-40B4-BE49-F238E27FC236}">
                  <a16:creationId xmlns:a16="http://schemas.microsoft.com/office/drawing/2014/main" xmlns="" id="{450A5C87-CBBE-4303-911F-5011A7E564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40371" y="7225638"/>
              <a:ext cx="74502" cy="0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6" name="Line 262">
              <a:extLst>
                <a:ext uri="{FF2B5EF4-FFF2-40B4-BE49-F238E27FC236}">
                  <a16:creationId xmlns:a16="http://schemas.microsoft.com/office/drawing/2014/main" xmlns="" id="{253E8ABB-75C8-4289-BC2E-B8C39249F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40371" y="7281002"/>
              <a:ext cx="149003" cy="0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7" name="Line 263">
              <a:extLst>
                <a:ext uri="{FF2B5EF4-FFF2-40B4-BE49-F238E27FC236}">
                  <a16:creationId xmlns:a16="http://schemas.microsoft.com/office/drawing/2014/main" xmlns="" id="{116CE6BF-A35E-4605-B671-D695FCEC11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40371" y="7251156"/>
              <a:ext cx="149003" cy="0"/>
            </a:xfrm>
            <a:prstGeom prst="line">
              <a:avLst/>
            </a:prstGeom>
            <a:noFill/>
            <a:ln w="14288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28" name="Oval 264">
              <a:extLst>
                <a:ext uri="{FF2B5EF4-FFF2-40B4-BE49-F238E27FC236}">
                  <a16:creationId xmlns:a16="http://schemas.microsoft.com/office/drawing/2014/main" xmlns="" id="{975BA96E-55AF-467F-A12B-CD28E7A3D8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124" y="7143493"/>
              <a:ext cx="26884" cy="26657"/>
            </a:xfrm>
            <a:prstGeom prst="ellipse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9" name="Oval 265">
              <a:extLst>
                <a:ext uri="{FF2B5EF4-FFF2-40B4-BE49-F238E27FC236}">
                  <a16:creationId xmlns:a16="http://schemas.microsoft.com/office/drawing/2014/main" xmlns="" id="{0BA6B281-A5A6-4578-9951-601FE60168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83735" y="7143493"/>
              <a:ext cx="26884" cy="26657"/>
            </a:xfrm>
            <a:prstGeom prst="ellipse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0" name="Oval 266">
              <a:extLst>
                <a:ext uri="{FF2B5EF4-FFF2-40B4-BE49-F238E27FC236}">
                  <a16:creationId xmlns:a16="http://schemas.microsoft.com/office/drawing/2014/main" xmlns="" id="{3110D2A7-3B48-41A1-A556-B99F02B2C3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6573" y="7143493"/>
              <a:ext cx="26657" cy="26657"/>
            </a:xfrm>
            <a:prstGeom prst="ellipse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xmlns="" id="{E0625742-6070-4894-91ED-72CE6BED81F4}"/>
              </a:ext>
            </a:extLst>
          </p:cNvPr>
          <p:cNvGrpSpPr/>
          <p:nvPr/>
        </p:nvGrpSpPr>
        <p:grpSpPr>
          <a:xfrm>
            <a:off x="3883736" y="5122939"/>
            <a:ext cx="459664" cy="451676"/>
            <a:chOff x="3847521" y="5087353"/>
            <a:chExt cx="532094" cy="522848"/>
          </a:xfrm>
        </p:grpSpPr>
        <p:sp>
          <p:nvSpPr>
            <p:cNvPr id="831" name="Rectangle 10">
              <a:extLst>
                <a:ext uri="{FF2B5EF4-FFF2-40B4-BE49-F238E27FC236}">
                  <a16:creationId xmlns:a16="http://schemas.microsoft.com/office/drawing/2014/main" xmlns="" id="{AFCAF27C-A4F6-4F0D-AD97-19D311C8C287}"/>
                </a:ext>
              </a:extLst>
            </p:cNvPr>
            <p:cNvSpPr/>
            <p:nvPr/>
          </p:nvSpPr>
          <p:spPr>
            <a:xfrm rot="2700000">
              <a:off x="4099603" y="5043744"/>
              <a:ext cx="195258" cy="364766"/>
            </a:xfrm>
            <a:custGeom>
              <a:avLst/>
              <a:gdLst>
                <a:gd name="connsiteX0" fmla="*/ 0 w 655320"/>
                <a:gd name="connsiteY0" fmla="*/ 0 h 655320"/>
                <a:gd name="connsiteX1" fmla="*/ 655320 w 655320"/>
                <a:gd name="connsiteY1" fmla="*/ 0 h 655320"/>
                <a:gd name="connsiteX2" fmla="*/ 655320 w 655320"/>
                <a:gd name="connsiteY2" fmla="*/ 655320 h 655320"/>
                <a:gd name="connsiteX3" fmla="*/ 0 w 655320"/>
                <a:gd name="connsiteY3" fmla="*/ 655320 h 655320"/>
                <a:gd name="connsiteX4" fmla="*/ 0 w 655320"/>
                <a:gd name="connsiteY4" fmla="*/ 0 h 655320"/>
                <a:gd name="connsiteX0" fmla="*/ 655320 w 746760"/>
                <a:gd name="connsiteY0" fmla="*/ 0 h 655320"/>
                <a:gd name="connsiteX1" fmla="*/ 655320 w 746760"/>
                <a:gd name="connsiteY1" fmla="*/ 655320 h 655320"/>
                <a:gd name="connsiteX2" fmla="*/ 0 w 746760"/>
                <a:gd name="connsiteY2" fmla="*/ 655320 h 655320"/>
                <a:gd name="connsiteX3" fmla="*/ 0 w 746760"/>
                <a:gd name="connsiteY3" fmla="*/ 0 h 655320"/>
                <a:gd name="connsiteX4" fmla="*/ 746760 w 746760"/>
                <a:gd name="connsiteY4" fmla="*/ 9144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  <a:gd name="connsiteX3" fmla="*/ 0 w 655320"/>
                <a:gd name="connsiteY3" fmla="*/ 0 h 655320"/>
                <a:gd name="connsiteX0" fmla="*/ 655320 w 655320"/>
                <a:gd name="connsiteY0" fmla="*/ 0 h 655320"/>
                <a:gd name="connsiteX1" fmla="*/ 655320 w 655320"/>
                <a:gd name="connsiteY1" fmla="*/ 655320 h 655320"/>
                <a:gd name="connsiteX2" fmla="*/ 0 w 655320"/>
                <a:gd name="connsiteY2" fmla="*/ 655320 h 65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5320" h="655320">
                  <a:moveTo>
                    <a:pt x="655320" y="0"/>
                  </a:moveTo>
                  <a:lnTo>
                    <a:pt x="655320" y="655320"/>
                  </a:lnTo>
                  <a:lnTo>
                    <a:pt x="0" y="655320"/>
                  </a:lnTo>
                </a:path>
              </a:pathLst>
            </a:custGeom>
            <a:noFill/>
            <a:ln w="25400" cap="rnd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32" name="Arc 831">
              <a:extLst>
                <a:ext uri="{FF2B5EF4-FFF2-40B4-BE49-F238E27FC236}">
                  <a16:creationId xmlns:a16="http://schemas.microsoft.com/office/drawing/2014/main" xmlns="" id="{599EE50A-F06E-4DCD-ACAE-F24A80B4BE16}"/>
                </a:ext>
              </a:extLst>
            </p:cNvPr>
            <p:cNvSpPr/>
            <p:nvPr/>
          </p:nvSpPr>
          <p:spPr>
            <a:xfrm>
              <a:off x="3847521" y="5087353"/>
              <a:ext cx="522848" cy="522848"/>
            </a:xfrm>
            <a:prstGeom prst="arc">
              <a:avLst>
                <a:gd name="adj1" fmla="val 371"/>
                <a:gd name="adj2" fmla="val 18417445"/>
              </a:avLst>
            </a:prstGeom>
            <a:noFill/>
            <a:ln w="25400" cap="rnd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  <p:grpSp>
        <p:nvGrpSpPr>
          <p:cNvPr id="6" name="Groupe 5">
            <a:extLst>
              <a:ext uri="{FF2B5EF4-FFF2-40B4-BE49-F238E27FC236}">
                <a16:creationId xmlns:a16="http://schemas.microsoft.com/office/drawing/2014/main" xmlns="" id="{ACB80780-5149-48C3-B4EE-3E0B43F5651C}"/>
              </a:ext>
            </a:extLst>
          </p:cNvPr>
          <p:cNvGrpSpPr/>
          <p:nvPr/>
        </p:nvGrpSpPr>
        <p:grpSpPr>
          <a:xfrm>
            <a:off x="4908686" y="5202583"/>
            <a:ext cx="620894" cy="275932"/>
            <a:chOff x="2276466" y="7392001"/>
            <a:chExt cx="943144" cy="419142"/>
          </a:xfrm>
        </p:grpSpPr>
        <p:sp>
          <p:nvSpPr>
            <p:cNvPr id="833" name="Freeform 9">
              <a:extLst>
                <a:ext uri="{FF2B5EF4-FFF2-40B4-BE49-F238E27FC236}">
                  <a16:creationId xmlns:a16="http://schemas.microsoft.com/office/drawing/2014/main" xmlns="" id="{01D1F9DC-93CE-4A16-96E5-266F8A0C9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3262" y="7392001"/>
              <a:ext cx="289552" cy="419142"/>
            </a:xfrm>
            <a:custGeom>
              <a:avLst/>
              <a:gdLst>
                <a:gd name="T0" fmla="*/ 0 w 829"/>
                <a:gd name="T1" fmla="*/ 1201 h 1201"/>
                <a:gd name="T2" fmla="*/ 231 w 829"/>
                <a:gd name="T3" fmla="*/ 909 h 1201"/>
                <a:gd name="T4" fmla="*/ 202 w 829"/>
                <a:gd name="T5" fmla="*/ 819 h 1201"/>
                <a:gd name="T6" fmla="*/ 152 w 829"/>
                <a:gd name="T7" fmla="*/ 689 h 1201"/>
                <a:gd name="T8" fmla="*/ 108 w 829"/>
                <a:gd name="T9" fmla="*/ 633 h 1201"/>
                <a:gd name="T10" fmla="*/ 71 w 829"/>
                <a:gd name="T11" fmla="*/ 543 h 1201"/>
                <a:gd name="T12" fmla="*/ 88 w 829"/>
                <a:gd name="T13" fmla="*/ 492 h 1201"/>
                <a:gd name="T14" fmla="*/ 102 w 829"/>
                <a:gd name="T15" fmla="*/ 465 h 1201"/>
                <a:gd name="T16" fmla="*/ 88 w 829"/>
                <a:gd name="T17" fmla="*/ 374 h 1201"/>
                <a:gd name="T18" fmla="*/ 231 w 829"/>
                <a:gd name="T19" fmla="*/ 35 h 1201"/>
                <a:gd name="T20" fmla="*/ 397 w 829"/>
                <a:gd name="T21" fmla="*/ 0 h 1201"/>
                <a:gd name="T22" fmla="*/ 531 w 829"/>
                <a:gd name="T23" fmla="*/ 39 h 1201"/>
                <a:gd name="T24" fmla="*/ 546 w 829"/>
                <a:gd name="T25" fmla="*/ 50 h 1201"/>
                <a:gd name="T26" fmla="*/ 552 w 829"/>
                <a:gd name="T27" fmla="*/ 52 h 1201"/>
                <a:gd name="T28" fmla="*/ 561 w 829"/>
                <a:gd name="T29" fmla="*/ 53 h 1201"/>
                <a:gd name="T30" fmla="*/ 692 w 829"/>
                <a:gd name="T31" fmla="*/ 108 h 1201"/>
                <a:gd name="T32" fmla="*/ 726 w 829"/>
                <a:gd name="T33" fmla="*/ 465 h 1201"/>
                <a:gd name="T34" fmla="*/ 740 w 829"/>
                <a:gd name="T35" fmla="*/ 492 h 1201"/>
                <a:gd name="T36" fmla="*/ 758 w 829"/>
                <a:gd name="T37" fmla="*/ 542 h 1201"/>
                <a:gd name="T38" fmla="*/ 720 w 829"/>
                <a:gd name="T39" fmla="*/ 633 h 1201"/>
                <a:gd name="T40" fmla="*/ 676 w 829"/>
                <a:gd name="T41" fmla="*/ 689 h 1201"/>
                <a:gd name="T42" fmla="*/ 627 w 829"/>
                <a:gd name="T43" fmla="*/ 819 h 1201"/>
                <a:gd name="T44" fmla="*/ 598 w 829"/>
                <a:gd name="T45" fmla="*/ 909 h 1201"/>
                <a:gd name="T46" fmla="*/ 829 w 829"/>
                <a:gd name="T47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9" h="1201">
                  <a:moveTo>
                    <a:pt x="0" y="1201"/>
                  </a:moveTo>
                  <a:cubicBezTo>
                    <a:pt x="175" y="1129"/>
                    <a:pt x="231" y="1056"/>
                    <a:pt x="231" y="909"/>
                  </a:cubicBezTo>
                  <a:cubicBezTo>
                    <a:pt x="231" y="861"/>
                    <a:pt x="217" y="841"/>
                    <a:pt x="202" y="819"/>
                  </a:cubicBezTo>
                  <a:cubicBezTo>
                    <a:pt x="186" y="796"/>
                    <a:pt x="167" y="768"/>
                    <a:pt x="152" y="689"/>
                  </a:cubicBezTo>
                  <a:cubicBezTo>
                    <a:pt x="145" y="651"/>
                    <a:pt x="123" y="640"/>
                    <a:pt x="108" y="633"/>
                  </a:cubicBezTo>
                  <a:cubicBezTo>
                    <a:pt x="93" y="626"/>
                    <a:pt x="76" y="618"/>
                    <a:pt x="71" y="543"/>
                  </a:cubicBezTo>
                  <a:cubicBezTo>
                    <a:pt x="71" y="503"/>
                    <a:pt x="88" y="492"/>
                    <a:pt x="88" y="492"/>
                  </a:cubicBezTo>
                  <a:cubicBezTo>
                    <a:pt x="98" y="487"/>
                    <a:pt x="104" y="476"/>
                    <a:pt x="102" y="465"/>
                  </a:cubicBezTo>
                  <a:cubicBezTo>
                    <a:pt x="102" y="465"/>
                    <a:pt x="95" y="422"/>
                    <a:pt x="88" y="374"/>
                  </a:cubicBezTo>
                  <a:cubicBezTo>
                    <a:pt x="66" y="243"/>
                    <a:pt x="67" y="101"/>
                    <a:pt x="231" y="35"/>
                  </a:cubicBezTo>
                  <a:cubicBezTo>
                    <a:pt x="288" y="12"/>
                    <a:pt x="344" y="0"/>
                    <a:pt x="397" y="0"/>
                  </a:cubicBezTo>
                  <a:cubicBezTo>
                    <a:pt x="482" y="0"/>
                    <a:pt x="525" y="28"/>
                    <a:pt x="531" y="39"/>
                  </a:cubicBezTo>
                  <a:cubicBezTo>
                    <a:pt x="534" y="44"/>
                    <a:pt x="540" y="49"/>
                    <a:pt x="546" y="50"/>
                  </a:cubicBezTo>
                  <a:cubicBezTo>
                    <a:pt x="546" y="50"/>
                    <a:pt x="552" y="52"/>
                    <a:pt x="552" y="52"/>
                  </a:cubicBezTo>
                  <a:cubicBezTo>
                    <a:pt x="554" y="53"/>
                    <a:pt x="559" y="53"/>
                    <a:pt x="561" y="53"/>
                  </a:cubicBezTo>
                  <a:cubicBezTo>
                    <a:pt x="581" y="53"/>
                    <a:pt x="648" y="57"/>
                    <a:pt x="692" y="108"/>
                  </a:cubicBezTo>
                  <a:cubicBezTo>
                    <a:pt x="760" y="187"/>
                    <a:pt x="739" y="397"/>
                    <a:pt x="726" y="465"/>
                  </a:cubicBezTo>
                  <a:cubicBezTo>
                    <a:pt x="725" y="475"/>
                    <a:pt x="731" y="486"/>
                    <a:pt x="740" y="492"/>
                  </a:cubicBezTo>
                  <a:cubicBezTo>
                    <a:pt x="741" y="492"/>
                    <a:pt x="758" y="503"/>
                    <a:pt x="758" y="542"/>
                  </a:cubicBezTo>
                  <a:cubicBezTo>
                    <a:pt x="752" y="618"/>
                    <a:pt x="736" y="626"/>
                    <a:pt x="720" y="633"/>
                  </a:cubicBezTo>
                  <a:cubicBezTo>
                    <a:pt x="706" y="640"/>
                    <a:pt x="683" y="651"/>
                    <a:pt x="676" y="689"/>
                  </a:cubicBezTo>
                  <a:cubicBezTo>
                    <a:pt x="662" y="768"/>
                    <a:pt x="643" y="796"/>
                    <a:pt x="627" y="819"/>
                  </a:cubicBezTo>
                  <a:cubicBezTo>
                    <a:pt x="612" y="841"/>
                    <a:pt x="598" y="861"/>
                    <a:pt x="598" y="909"/>
                  </a:cubicBezTo>
                  <a:cubicBezTo>
                    <a:pt x="598" y="1056"/>
                    <a:pt x="653" y="1129"/>
                    <a:pt x="829" y="1201"/>
                  </a:cubicBezTo>
                </a:path>
              </a:pathLst>
            </a:custGeom>
            <a:noFill/>
            <a:ln w="15875" cap="rnd">
              <a:solidFill>
                <a:schemeClr val="accent2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>
                <a:solidFill>
                  <a:schemeClr val="lt1"/>
                </a:solidFill>
              </a:endParaRPr>
            </a:p>
          </p:txBody>
        </p:sp>
        <p:sp>
          <p:nvSpPr>
            <p:cNvPr id="834" name="Freeform 9">
              <a:extLst>
                <a:ext uri="{FF2B5EF4-FFF2-40B4-BE49-F238E27FC236}">
                  <a16:creationId xmlns:a16="http://schemas.microsoft.com/office/drawing/2014/main" xmlns="" id="{D54CEC0B-B07F-48E9-873D-1686BF35E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1104" y="7466734"/>
              <a:ext cx="198506" cy="287348"/>
            </a:xfrm>
            <a:custGeom>
              <a:avLst/>
              <a:gdLst>
                <a:gd name="T0" fmla="*/ 0 w 829"/>
                <a:gd name="T1" fmla="*/ 1201 h 1201"/>
                <a:gd name="T2" fmla="*/ 231 w 829"/>
                <a:gd name="T3" fmla="*/ 909 h 1201"/>
                <a:gd name="T4" fmla="*/ 202 w 829"/>
                <a:gd name="T5" fmla="*/ 819 h 1201"/>
                <a:gd name="T6" fmla="*/ 152 w 829"/>
                <a:gd name="T7" fmla="*/ 689 h 1201"/>
                <a:gd name="T8" fmla="*/ 108 w 829"/>
                <a:gd name="T9" fmla="*/ 633 h 1201"/>
                <a:gd name="T10" fmla="*/ 71 w 829"/>
                <a:gd name="T11" fmla="*/ 543 h 1201"/>
                <a:gd name="T12" fmla="*/ 88 w 829"/>
                <a:gd name="T13" fmla="*/ 492 h 1201"/>
                <a:gd name="T14" fmla="*/ 102 w 829"/>
                <a:gd name="T15" fmla="*/ 465 h 1201"/>
                <a:gd name="T16" fmla="*/ 88 w 829"/>
                <a:gd name="T17" fmla="*/ 374 h 1201"/>
                <a:gd name="T18" fmla="*/ 231 w 829"/>
                <a:gd name="T19" fmla="*/ 35 h 1201"/>
                <a:gd name="T20" fmla="*/ 397 w 829"/>
                <a:gd name="T21" fmla="*/ 0 h 1201"/>
                <a:gd name="T22" fmla="*/ 531 w 829"/>
                <a:gd name="T23" fmla="*/ 39 h 1201"/>
                <a:gd name="T24" fmla="*/ 546 w 829"/>
                <a:gd name="T25" fmla="*/ 50 h 1201"/>
                <a:gd name="T26" fmla="*/ 552 w 829"/>
                <a:gd name="T27" fmla="*/ 52 h 1201"/>
                <a:gd name="T28" fmla="*/ 561 w 829"/>
                <a:gd name="T29" fmla="*/ 53 h 1201"/>
                <a:gd name="T30" fmla="*/ 692 w 829"/>
                <a:gd name="T31" fmla="*/ 108 h 1201"/>
                <a:gd name="T32" fmla="*/ 726 w 829"/>
                <a:gd name="T33" fmla="*/ 465 h 1201"/>
                <a:gd name="T34" fmla="*/ 740 w 829"/>
                <a:gd name="T35" fmla="*/ 492 h 1201"/>
                <a:gd name="T36" fmla="*/ 758 w 829"/>
                <a:gd name="T37" fmla="*/ 542 h 1201"/>
                <a:gd name="T38" fmla="*/ 720 w 829"/>
                <a:gd name="T39" fmla="*/ 633 h 1201"/>
                <a:gd name="T40" fmla="*/ 676 w 829"/>
                <a:gd name="T41" fmla="*/ 689 h 1201"/>
                <a:gd name="T42" fmla="*/ 627 w 829"/>
                <a:gd name="T43" fmla="*/ 819 h 1201"/>
                <a:gd name="T44" fmla="*/ 598 w 829"/>
                <a:gd name="T45" fmla="*/ 909 h 1201"/>
                <a:gd name="T46" fmla="*/ 829 w 829"/>
                <a:gd name="T47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9" h="1201">
                  <a:moveTo>
                    <a:pt x="0" y="1201"/>
                  </a:moveTo>
                  <a:cubicBezTo>
                    <a:pt x="175" y="1129"/>
                    <a:pt x="231" y="1056"/>
                    <a:pt x="231" y="909"/>
                  </a:cubicBezTo>
                  <a:cubicBezTo>
                    <a:pt x="231" y="861"/>
                    <a:pt x="217" y="841"/>
                    <a:pt x="202" y="819"/>
                  </a:cubicBezTo>
                  <a:cubicBezTo>
                    <a:pt x="186" y="796"/>
                    <a:pt x="167" y="768"/>
                    <a:pt x="152" y="689"/>
                  </a:cubicBezTo>
                  <a:cubicBezTo>
                    <a:pt x="145" y="651"/>
                    <a:pt x="123" y="640"/>
                    <a:pt x="108" y="633"/>
                  </a:cubicBezTo>
                  <a:cubicBezTo>
                    <a:pt x="93" y="626"/>
                    <a:pt x="76" y="618"/>
                    <a:pt x="71" y="543"/>
                  </a:cubicBezTo>
                  <a:cubicBezTo>
                    <a:pt x="71" y="503"/>
                    <a:pt x="88" y="492"/>
                    <a:pt x="88" y="492"/>
                  </a:cubicBezTo>
                  <a:cubicBezTo>
                    <a:pt x="98" y="487"/>
                    <a:pt x="104" y="476"/>
                    <a:pt x="102" y="465"/>
                  </a:cubicBezTo>
                  <a:cubicBezTo>
                    <a:pt x="102" y="465"/>
                    <a:pt x="95" y="422"/>
                    <a:pt x="88" y="374"/>
                  </a:cubicBezTo>
                  <a:cubicBezTo>
                    <a:pt x="66" y="243"/>
                    <a:pt x="67" y="101"/>
                    <a:pt x="231" y="35"/>
                  </a:cubicBezTo>
                  <a:cubicBezTo>
                    <a:pt x="288" y="12"/>
                    <a:pt x="344" y="0"/>
                    <a:pt x="397" y="0"/>
                  </a:cubicBezTo>
                  <a:cubicBezTo>
                    <a:pt x="482" y="0"/>
                    <a:pt x="525" y="28"/>
                    <a:pt x="531" y="39"/>
                  </a:cubicBezTo>
                  <a:cubicBezTo>
                    <a:pt x="534" y="44"/>
                    <a:pt x="540" y="49"/>
                    <a:pt x="546" y="50"/>
                  </a:cubicBezTo>
                  <a:cubicBezTo>
                    <a:pt x="546" y="50"/>
                    <a:pt x="552" y="52"/>
                    <a:pt x="552" y="52"/>
                  </a:cubicBezTo>
                  <a:cubicBezTo>
                    <a:pt x="554" y="53"/>
                    <a:pt x="559" y="53"/>
                    <a:pt x="561" y="53"/>
                  </a:cubicBezTo>
                  <a:cubicBezTo>
                    <a:pt x="581" y="53"/>
                    <a:pt x="648" y="57"/>
                    <a:pt x="692" y="108"/>
                  </a:cubicBezTo>
                  <a:cubicBezTo>
                    <a:pt x="760" y="187"/>
                    <a:pt x="739" y="397"/>
                    <a:pt x="726" y="465"/>
                  </a:cubicBezTo>
                  <a:cubicBezTo>
                    <a:pt x="725" y="475"/>
                    <a:pt x="731" y="486"/>
                    <a:pt x="740" y="492"/>
                  </a:cubicBezTo>
                  <a:cubicBezTo>
                    <a:pt x="741" y="492"/>
                    <a:pt x="758" y="503"/>
                    <a:pt x="758" y="542"/>
                  </a:cubicBezTo>
                  <a:cubicBezTo>
                    <a:pt x="752" y="618"/>
                    <a:pt x="736" y="626"/>
                    <a:pt x="720" y="633"/>
                  </a:cubicBezTo>
                  <a:cubicBezTo>
                    <a:pt x="706" y="640"/>
                    <a:pt x="683" y="651"/>
                    <a:pt x="676" y="689"/>
                  </a:cubicBezTo>
                  <a:cubicBezTo>
                    <a:pt x="662" y="768"/>
                    <a:pt x="643" y="796"/>
                    <a:pt x="627" y="819"/>
                  </a:cubicBezTo>
                  <a:cubicBezTo>
                    <a:pt x="612" y="841"/>
                    <a:pt x="598" y="861"/>
                    <a:pt x="598" y="909"/>
                  </a:cubicBezTo>
                  <a:cubicBezTo>
                    <a:pt x="598" y="1056"/>
                    <a:pt x="653" y="1129"/>
                    <a:pt x="829" y="1201"/>
                  </a:cubicBezTo>
                </a:path>
              </a:pathLst>
            </a:custGeom>
            <a:noFill/>
            <a:ln w="15875" cap="rnd">
              <a:solidFill>
                <a:schemeClr val="accent2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>
                <a:solidFill>
                  <a:schemeClr val="lt1"/>
                </a:solidFill>
              </a:endParaRPr>
            </a:p>
          </p:txBody>
        </p:sp>
        <p:sp>
          <p:nvSpPr>
            <p:cNvPr id="835" name="Freeform 9">
              <a:extLst>
                <a:ext uri="{FF2B5EF4-FFF2-40B4-BE49-F238E27FC236}">
                  <a16:creationId xmlns:a16="http://schemas.microsoft.com/office/drawing/2014/main" xmlns="" id="{95AD2B94-B83E-4E52-AA2B-3862482F7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466" y="7466734"/>
              <a:ext cx="198506" cy="287348"/>
            </a:xfrm>
            <a:custGeom>
              <a:avLst/>
              <a:gdLst>
                <a:gd name="T0" fmla="*/ 0 w 829"/>
                <a:gd name="T1" fmla="*/ 1201 h 1201"/>
                <a:gd name="T2" fmla="*/ 231 w 829"/>
                <a:gd name="T3" fmla="*/ 909 h 1201"/>
                <a:gd name="T4" fmla="*/ 202 w 829"/>
                <a:gd name="T5" fmla="*/ 819 h 1201"/>
                <a:gd name="T6" fmla="*/ 152 w 829"/>
                <a:gd name="T7" fmla="*/ 689 h 1201"/>
                <a:gd name="T8" fmla="*/ 108 w 829"/>
                <a:gd name="T9" fmla="*/ 633 h 1201"/>
                <a:gd name="T10" fmla="*/ 71 w 829"/>
                <a:gd name="T11" fmla="*/ 543 h 1201"/>
                <a:gd name="T12" fmla="*/ 88 w 829"/>
                <a:gd name="T13" fmla="*/ 492 h 1201"/>
                <a:gd name="T14" fmla="*/ 102 w 829"/>
                <a:gd name="T15" fmla="*/ 465 h 1201"/>
                <a:gd name="T16" fmla="*/ 88 w 829"/>
                <a:gd name="T17" fmla="*/ 374 h 1201"/>
                <a:gd name="T18" fmla="*/ 231 w 829"/>
                <a:gd name="T19" fmla="*/ 35 h 1201"/>
                <a:gd name="T20" fmla="*/ 397 w 829"/>
                <a:gd name="T21" fmla="*/ 0 h 1201"/>
                <a:gd name="T22" fmla="*/ 531 w 829"/>
                <a:gd name="T23" fmla="*/ 39 h 1201"/>
                <a:gd name="T24" fmla="*/ 546 w 829"/>
                <a:gd name="T25" fmla="*/ 50 h 1201"/>
                <a:gd name="T26" fmla="*/ 552 w 829"/>
                <a:gd name="T27" fmla="*/ 52 h 1201"/>
                <a:gd name="T28" fmla="*/ 561 w 829"/>
                <a:gd name="T29" fmla="*/ 53 h 1201"/>
                <a:gd name="T30" fmla="*/ 692 w 829"/>
                <a:gd name="T31" fmla="*/ 108 h 1201"/>
                <a:gd name="T32" fmla="*/ 726 w 829"/>
                <a:gd name="T33" fmla="*/ 465 h 1201"/>
                <a:gd name="T34" fmla="*/ 740 w 829"/>
                <a:gd name="T35" fmla="*/ 492 h 1201"/>
                <a:gd name="T36" fmla="*/ 758 w 829"/>
                <a:gd name="T37" fmla="*/ 542 h 1201"/>
                <a:gd name="T38" fmla="*/ 720 w 829"/>
                <a:gd name="T39" fmla="*/ 633 h 1201"/>
                <a:gd name="T40" fmla="*/ 676 w 829"/>
                <a:gd name="T41" fmla="*/ 689 h 1201"/>
                <a:gd name="T42" fmla="*/ 627 w 829"/>
                <a:gd name="T43" fmla="*/ 819 h 1201"/>
                <a:gd name="T44" fmla="*/ 598 w 829"/>
                <a:gd name="T45" fmla="*/ 909 h 1201"/>
                <a:gd name="T46" fmla="*/ 829 w 829"/>
                <a:gd name="T47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9" h="1201">
                  <a:moveTo>
                    <a:pt x="0" y="1201"/>
                  </a:moveTo>
                  <a:cubicBezTo>
                    <a:pt x="175" y="1129"/>
                    <a:pt x="231" y="1056"/>
                    <a:pt x="231" y="909"/>
                  </a:cubicBezTo>
                  <a:cubicBezTo>
                    <a:pt x="231" y="861"/>
                    <a:pt x="217" y="841"/>
                    <a:pt x="202" y="819"/>
                  </a:cubicBezTo>
                  <a:cubicBezTo>
                    <a:pt x="186" y="796"/>
                    <a:pt x="167" y="768"/>
                    <a:pt x="152" y="689"/>
                  </a:cubicBezTo>
                  <a:cubicBezTo>
                    <a:pt x="145" y="651"/>
                    <a:pt x="123" y="640"/>
                    <a:pt x="108" y="633"/>
                  </a:cubicBezTo>
                  <a:cubicBezTo>
                    <a:pt x="93" y="626"/>
                    <a:pt x="76" y="618"/>
                    <a:pt x="71" y="543"/>
                  </a:cubicBezTo>
                  <a:cubicBezTo>
                    <a:pt x="71" y="503"/>
                    <a:pt x="88" y="492"/>
                    <a:pt x="88" y="492"/>
                  </a:cubicBezTo>
                  <a:cubicBezTo>
                    <a:pt x="98" y="487"/>
                    <a:pt x="104" y="476"/>
                    <a:pt x="102" y="465"/>
                  </a:cubicBezTo>
                  <a:cubicBezTo>
                    <a:pt x="102" y="465"/>
                    <a:pt x="95" y="422"/>
                    <a:pt x="88" y="374"/>
                  </a:cubicBezTo>
                  <a:cubicBezTo>
                    <a:pt x="66" y="243"/>
                    <a:pt x="67" y="101"/>
                    <a:pt x="231" y="35"/>
                  </a:cubicBezTo>
                  <a:cubicBezTo>
                    <a:pt x="288" y="12"/>
                    <a:pt x="344" y="0"/>
                    <a:pt x="397" y="0"/>
                  </a:cubicBezTo>
                  <a:cubicBezTo>
                    <a:pt x="482" y="0"/>
                    <a:pt x="525" y="28"/>
                    <a:pt x="531" y="39"/>
                  </a:cubicBezTo>
                  <a:cubicBezTo>
                    <a:pt x="534" y="44"/>
                    <a:pt x="540" y="49"/>
                    <a:pt x="546" y="50"/>
                  </a:cubicBezTo>
                  <a:cubicBezTo>
                    <a:pt x="546" y="50"/>
                    <a:pt x="552" y="52"/>
                    <a:pt x="552" y="52"/>
                  </a:cubicBezTo>
                  <a:cubicBezTo>
                    <a:pt x="554" y="53"/>
                    <a:pt x="559" y="53"/>
                    <a:pt x="561" y="53"/>
                  </a:cubicBezTo>
                  <a:cubicBezTo>
                    <a:pt x="581" y="53"/>
                    <a:pt x="648" y="57"/>
                    <a:pt x="692" y="108"/>
                  </a:cubicBezTo>
                  <a:cubicBezTo>
                    <a:pt x="760" y="187"/>
                    <a:pt x="739" y="397"/>
                    <a:pt x="726" y="465"/>
                  </a:cubicBezTo>
                  <a:cubicBezTo>
                    <a:pt x="725" y="475"/>
                    <a:pt x="731" y="486"/>
                    <a:pt x="740" y="492"/>
                  </a:cubicBezTo>
                  <a:cubicBezTo>
                    <a:pt x="741" y="492"/>
                    <a:pt x="758" y="503"/>
                    <a:pt x="758" y="542"/>
                  </a:cubicBezTo>
                  <a:cubicBezTo>
                    <a:pt x="752" y="618"/>
                    <a:pt x="736" y="626"/>
                    <a:pt x="720" y="633"/>
                  </a:cubicBezTo>
                  <a:cubicBezTo>
                    <a:pt x="706" y="640"/>
                    <a:pt x="683" y="651"/>
                    <a:pt x="676" y="689"/>
                  </a:cubicBezTo>
                  <a:cubicBezTo>
                    <a:pt x="662" y="768"/>
                    <a:pt x="643" y="796"/>
                    <a:pt x="627" y="819"/>
                  </a:cubicBezTo>
                  <a:cubicBezTo>
                    <a:pt x="612" y="841"/>
                    <a:pt x="598" y="861"/>
                    <a:pt x="598" y="909"/>
                  </a:cubicBezTo>
                  <a:cubicBezTo>
                    <a:pt x="598" y="1056"/>
                    <a:pt x="653" y="1129"/>
                    <a:pt x="829" y="1201"/>
                  </a:cubicBezTo>
                </a:path>
              </a:pathLst>
            </a:custGeom>
            <a:noFill/>
            <a:ln w="15875" cap="rnd">
              <a:solidFill>
                <a:schemeClr val="accent2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>
                <a:solidFill>
                  <a:schemeClr val="lt1"/>
                </a:solidFill>
              </a:endParaRPr>
            </a:p>
          </p:txBody>
        </p:sp>
      </p:grpSp>
      <p:sp>
        <p:nvSpPr>
          <p:cNvPr id="836" name="Freeform 5">
            <a:extLst>
              <a:ext uri="{FF2B5EF4-FFF2-40B4-BE49-F238E27FC236}">
                <a16:creationId xmlns:a16="http://schemas.microsoft.com/office/drawing/2014/main" xmlns="" id="{8D038680-7203-4A10-A96D-2D2B7FCF8FFD}"/>
              </a:ext>
            </a:extLst>
          </p:cNvPr>
          <p:cNvSpPr>
            <a:spLocks noEditPoints="1"/>
          </p:cNvSpPr>
          <p:nvPr/>
        </p:nvSpPr>
        <p:spPr bwMode="auto">
          <a:xfrm>
            <a:off x="2706426" y="5109199"/>
            <a:ext cx="688770" cy="518316"/>
          </a:xfrm>
          <a:custGeom>
            <a:avLst/>
            <a:gdLst>
              <a:gd name="T0" fmla="*/ 68 w 352"/>
              <a:gd name="T1" fmla="*/ 32 h 264"/>
              <a:gd name="T2" fmla="*/ 0 w 352"/>
              <a:gd name="T3" fmla="*/ 184 h 264"/>
              <a:gd name="T4" fmla="*/ 160 w 352"/>
              <a:gd name="T5" fmla="*/ 184 h 264"/>
              <a:gd name="T6" fmla="*/ 192 w 352"/>
              <a:gd name="T7" fmla="*/ 172 h 264"/>
              <a:gd name="T8" fmla="*/ 272 w 352"/>
              <a:gd name="T9" fmla="*/ 264 h 264"/>
              <a:gd name="T10" fmla="*/ 344 w 352"/>
              <a:gd name="T11" fmla="*/ 152 h 264"/>
              <a:gd name="T12" fmla="*/ 236 w 352"/>
              <a:gd name="T13" fmla="*/ 0 h 264"/>
              <a:gd name="T14" fmla="*/ 192 w 352"/>
              <a:gd name="T15" fmla="*/ 76 h 264"/>
              <a:gd name="T16" fmla="*/ 160 w 352"/>
              <a:gd name="T17" fmla="*/ 48 h 264"/>
              <a:gd name="T18" fmla="*/ 116 w 352"/>
              <a:gd name="T19" fmla="*/ 16 h 264"/>
              <a:gd name="T20" fmla="*/ 104 w 352"/>
              <a:gd name="T21" fmla="*/ 32 h 264"/>
              <a:gd name="T22" fmla="*/ 116 w 352"/>
              <a:gd name="T23" fmla="*/ 16 h 264"/>
              <a:gd name="T24" fmla="*/ 268 w 352"/>
              <a:gd name="T25" fmla="*/ 36 h 264"/>
              <a:gd name="T26" fmla="*/ 208 w 352"/>
              <a:gd name="T27" fmla="*/ 48 h 264"/>
              <a:gd name="T28" fmla="*/ 104 w 352"/>
              <a:gd name="T29" fmla="*/ 48 h 264"/>
              <a:gd name="T30" fmla="*/ 144 w 352"/>
              <a:gd name="T31" fmla="*/ 84 h 264"/>
              <a:gd name="T32" fmla="*/ 80 w 352"/>
              <a:gd name="T33" fmla="*/ 104 h 264"/>
              <a:gd name="T34" fmla="*/ 68 w 352"/>
              <a:gd name="T35" fmla="*/ 68 h 264"/>
              <a:gd name="T36" fmla="*/ 248 w 352"/>
              <a:gd name="T37" fmla="*/ 48 h 264"/>
              <a:gd name="T38" fmla="*/ 304 w 352"/>
              <a:gd name="T39" fmla="*/ 112 h 264"/>
              <a:gd name="T40" fmla="*/ 208 w 352"/>
              <a:gd name="T41" fmla="*/ 136 h 264"/>
              <a:gd name="T42" fmla="*/ 208 w 352"/>
              <a:gd name="T43" fmla="*/ 84 h 264"/>
              <a:gd name="T44" fmla="*/ 160 w 352"/>
              <a:gd name="T45" fmla="*/ 92 h 264"/>
              <a:gd name="T46" fmla="*/ 192 w 352"/>
              <a:gd name="T47" fmla="*/ 156 h 264"/>
              <a:gd name="T48" fmla="*/ 160 w 352"/>
              <a:gd name="T49" fmla="*/ 92 h 264"/>
              <a:gd name="T50" fmla="*/ 144 w 352"/>
              <a:gd name="T51" fmla="*/ 184 h 264"/>
              <a:gd name="T52" fmla="*/ 16 w 352"/>
              <a:gd name="T53" fmla="*/ 184 h 264"/>
              <a:gd name="T54" fmla="*/ 272 w 352"/>
              <a:gd name="T55" fmla="*/ 120 h 264"/>
              <a:gd name="T56" fmla="*/ 272 w 352"/>
              <a:gd name="T57" fmla="*/ 248 h 264"/>
              <a:gd name="T58" fmla="*/ 272 w 352"/>
              <a:gd name="T59" fmla="*/ 120 h 264"/>
              <a:gd name="T60" fmla="*/ 32 w 352"/>
              <a:gd name="T61" fmla="*/ 184 h 264"/>
              <a:gd name="T62" fmla="*/ 128 w 352"/>
              <a:gd name="T63" fmla="*/ 184 h 264"/>
              <a:gd name="T64" fmla="*/ 272 w 352"/>
              <a:gd name="T65" fmla="*/ 136 h 264"/>
              <a:gd name="T66" fmla="*/ 272 w 352"/>
              <a:gd name="T67" fmla="*/ 232 h 264"/>
              <a:gd name="T68" fmla="*/ 272 w 352"/>
              <a:gd name="T69" fmla="*/ 136 h 264"/>
              <a:gd name="T70" fmla="*/ 112 w 352"/>
              <a:gd name="T71" fmla="*/ 184 h 264"/>
              <a:gd name="T72" fmla="*/ 48 w 352"/>
              <a:gd name="T73" fmla="*/ 184 h 264"/>
              <a:gd name="T74" fmla="*/ 272 w 352"/>
              <a:gd name="T75" fmla="*/ 152 h 264"/>
              <a:gd name="T76" fmla="*/ 272 w 352"/>
              <a:gd name="T77" fmla="*/ 216 h 264"/>
              <a:gd name="T78" fmla="*/ 272 w 352"/>
              <a:gd name="T79" fmla="*/ 152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264">
                <a:moveTo>
                  <a:pt x="116" y="0"/>
                </a:moveTo>
                <a:cubicBezTo>
                  <a:pt x="95" y="0"/>
                  <a:pt x="76" y="16"/>
                  <a:pt x="68" y="3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62"/>
                  <a:pt x="0" y="174"/>
                  <a:pt x="0" y="184"/>
                </a:cubicBezTo>
                <a:cubicBezTo>
                  <a:pt x="0" y="228"/>
                  <a:pt x="36" y="264"/>
                  <a:pt x="80" y="264"/>
                </a:cubicBezTo>
                <a:cubicBezTo>
                  <a:pt x="124" y="264"/>
                  <a:pt x="160" y="228"/>
                  <a:pt x="160" y="184"/>
                </a:cubicBezTo>
                <a:cubicBezTo>
                  <a:pt x="160" y="172"/>
                  <a:pt x="160" y="172"/>
                  <a:pt x="160" y="172"/>
                </a:cubicBezTo>
                <a:cubicBezTo>
                  <a:pt x="192" y="172"/>
                  <a:pt x="192" y="172"/>
                  <a:pt x="192" y="172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192" y="228"/>
                  <a:pt x="228" y="264"/>
                  <a:pt x="272" y="264"/>
                </a:cubicBezTo>
                <a:cubicBezTo>
                  <a:pt x="316" y="264"/>
                  <a:pt x="352" y="228"/>
                  <a:pt x="352" y="184"/>
                </a:cubicBezTo>
                <a:cubicBezTo>
                  <a:pt x="352" y="174"/>
                  <a:pt x="349" y="162"/>
                  <a:pt x="344" y="152"/>
                </a:cubicBezTo>
                <a:cubicBezTo>
                  <a:pt x="284" y="32"/>
                  <a:pt x="284" y="32"/>
                  <a:pt x="284" y="32"/>
                </a:cubicBezTo>
                <a:cubicBezTo>
                  <a:pt x="276" y="16"/>
                  <a:pt x="257" y="0"/>
                  <a:pt x="236" y="0"/>
                </a:cubicBezTo>
                <a:cubicBezTo>
                  <a:pt x="211" y="0"/>
                  <a:pt x="192" y="19"/>
                  <a:pt x="192" y="48"/>
                </a:cubicBezTo>
                <a:cubicBezTo>
                  <a:pt x="192" y="76"/>
                  <a:pt x="192" y="76"/>
                  <a:pt x="192" y="76"/>
                </a:cubicBezTo>
                <a:cubicBezTo>
                  <a:pt x="160" y="76"/>
                  <a:pt x="160" y="76"/>
                  <a:pt x="160" y="76"/>
                </a:cubicBezTo>
                <a:cubicBezTo>
                  <a:pt x="160" y="48"/>
                  <a:pt x="160" y="48"/>
                  <a:pt x="160" y="48"/>
                </a:cubicBezTo>
                <a:cubicBezTo>
                  <a:pt x="160" y="19"/>
                  <a:pt x="141" y="0"/>
                  <a:pt x="116" y="0"/>
                </a:cubicBezTo>
                <a:close/>
                <a:moveTo>
                  <a:pt x="116" y="16"/>
                </a:moveTo>
                <a:cubicBezTo>
                  <a:pt x="134" y="16"/>
                  <a:pt x="144" y="31"/>
                  <a:pt x="144" y="48"/>
                </a:cubicBezTo>
                <a:cubicBezTo>
                  <a:pt x="134" y="38"/>
                  <a:pt x="120" y="32"/>
                  <a:pt x="104" y="32"/>
                </a:cubicBezTo>
                <a:cubicBezTo>
                  <a:pt x="98" y="32"/>
                  <a:pt x="90" y="34"/>
                  <a:pt x="84" y="36"/>
                </a:cubicBezTo>
                <a:cubicBezTo>
                  <a:pt x="91" y="24"/>
                  <a:pt x="104" y="16"/>
                  <a:pt x="116" y="16"/>
                </a:cubicBezTo>
                <a:close/>
                <a:moveTo>
                  <a:pt x="236" y="16"/>
                </a:moveTo>
                <a:cubicBezTo>
                  <a:pt x="248" y="16"/>
                  <a:pt x="261" y="24"/>
                  <a:pt x="268" y="36"/>
                </a:cubicBezTo>
                <a:cubicBezTo>
                  <a:pt x="262" y="34"/>
                  <a:pt x="254" y="32"/>
                  <a:pt x="248" y="32"/>
                </a:cubicBezTo>
                <a:cubicBezTo>
                  <a:pt x="232" y="32"/>
                  <a:pt x="218" y="38"/>
                  <a:pt x="208" y="48"/>
                </a:cubicBezTo>
                <a:cubicBezTo>
                  <a:pt x="208" y="31"/>
                  <a:pt x="218" y="16"/>
                  <a:pt x="236" y="16"/>
                </a:cubicBezTo>
                <a:close/>
                <a:moveTo>
                  <a:pt x="104" y="48"/>
                </a:moveTo>
                <a:cubicBezTo>
                  <a:pt x="125" y="48"/>
                  <a:pt x="142" y="64"/>
                  <a:pt x="144" y="84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44" y="136"/>
                  <a:pt x="144" y="136"/>
                  <a:pt x="144" y="136"/>
                </a:cubicBezTo>
                <a:cubicBezTo>
                  <a:pt x="129" y="117"/>
                  <a:pt x="106" y="104"/>
                  <a:pt x="80" y="104"/>
                </a:cubicBezTo>
                <a:cubicBezTo>
                  <a:pt x="68" y="104"/>
                  <a:pt x="58" y="107"/>
                  <a:pt x="48" y="112"/>
                </a:cubicBezTo>
                <a:cubicBezTo>
                  <a:pt x="58" y="93"/>
                  <a:pt x="60" y="83"/>
                  <a:pt x="68" y="68"/>
                </a:cubicBezTo>
                <a:cubicBezTo>
                  <a:pt x="76" y="56"/>
                  <a:pt x="91" y="48"/>
                  <a:pt x="104" y="48"/>
                </a:cubicBezTo>
                <a:close/>
                <a:moveTo>
                  <a:pt x="248" y="48"/>
                </a:moveTo>
                <a:cubicBezTo>
                  <a:pt x="261" y="48"/>
                  <a:pt x="276" y="56"/>
                  <a:pt x="284" y="68"/>
                </a:cubicBezTo>
                <a:cubicBezTo>
                  <a:pt x="292" y="83"/>
                  <a:pt x="294" y="93"/>
                  <a:pt x="304" y="112"/>
                </a:cubicBezTo>
                <a:cubicBezTo>
                  <a:pt x="294" y="107"/>
                  <a:pt x="284" y="104"/>
                  <a:pt x="272" y="104"/>
                </a:cubicBezTo>
                <a:cubicBezTo>
                  <a:pt x="246" y="104"/>
                  <a:pt x="223" y="117"/>
                  <a:pt x="208" y="136"/>
                </a:cubicBezTo>
                <a:cubicBezTo>
                  <a:pt x="208" y="84"/>
                  <a:pt x="208" y="84"/>
                  <a:pt x="208" y="84"/>
                </a:cubicBezTo>
                <a:cubicBezTo>
                  <a:pt x="208" y="84"/>
                  <a:pt x="208" y="84"/>
                  <a:pt x="208" y="84"/>
                </a:cubicBezTo>
                <a:cubicBezTo>
                  <a:pt x="210" y="64"/>
                  <a:pt x="227" y="48"/>
                  <a:pt x="248" y="48"/>
                </a:cubicBezTo>
                <a:close/>
                <a:moveTo>
                  <a:pt x="160" y="92"/>
                </a:moveTo>
                <a:cubicBezTo>
                  <a:pt x="192" y="92"/>
                  <a:pt x="192" y="92"/>
                  <a:pt x="192" y="92"/>
                </a:cubicBezTo>
                <a:cubicBezTo>
                  <a:pt x="192" y="156"/>
                  <a:pt x="192" y="156"/>
                  <a:pt x="192" y="156"/>
                </a:cubicBezTo>
                <a:cubicBezTo>
                  <a:pt x="160" y="156"/>
                  <a:pt x="160" y="156"/>
                  <a:pt x="160" y="156"/>
                </a:cubicBezTo>
                <a:lnTo>
                  <a:pt x="160" y="92"/>
                </a:lnTo>
                <a:close/>
                <a:moveTo>
                  <a:pt x="80" y="120"/>
                </a:moveTo>
                <a:cubicBezTo>
                  <a:pt x="115" y="120"/>
                  <a:pt x="144" y="149"/>
                  <a:pt x="144" y="184"/>
                </a:cubicBezTo>
                <a:cubicBezTo>
                  <a:pt x="144" y="219"/>
                  <a:pt x="115" y="248"/>
                  <a:pt x="80" y="248"/>
                </a:cubicBezTo>
                <a:cubicBezTo>
                  <a:pt x="45" y="248"/>
                  <a:pt x="16" y="219"/>
                  <a:pt x="16" y="184"/>
                </a:cubicBezTo>
                <a:cubicBezTo>
                  <a:pt x="16" y="149"/>
                  <a:pt x="45" y="120"/>
                  <a:pt x="80" y="120"/>
                </a:cubicBezTo>
                <a:close/>
                <a:moveTo>
                  <a:pt x="272" y="120"/>
                </a:moveTo>
                <a:cubicBezTo>
                  <a:pt x="307" y="120"/>
                  <a:pt x="336" y="149"/>
                  <a:pt x="336" y="184"/>
                </a:cubicBezTo>
                <a:cubicBezTo>
                  <a:pt x="336" y="219"/>
                  <a:pt x="307" y="248"/>
                  <a:pt x="272" y="248"/>
                </a:cubicBezTo>
                <a:cubicBezTo>
                  <a:pt x="237" y="248"/>
                  <a:pt x="208" y="219"/>
                  <a:pt x="208" y="184"/>
                </a:cubicBezTo>
                <a:cubicBezTo>
                  <a:pt x="208" y="149"/>
                  <a:pt x="237" y="120"/>
                  <a:pt x="272" y="120"/>
                </a:cubicBezTo>
                <a:close/>
                <a:moveTo>
                  <a:pt x="80" y="136"/>
                </a:moveTo>
                <a:cubicBezTo>
                  <a:pt x="54" y="136"/>
                  <a:pt x="32" y="158"/>
                  <a:pt x="32" y="184"/>
                </a:cubicBezTo>
                <a:cubicBezTo>
                  <a:pt x="32" y="210"/>
                  <a:pt x="54" y="232"/>
                  <a:pt x="80" y="232"/>
                </a:cubicBezTo>
                <a:cubicBezTo>
                  <a:pt x="106" y="232"/>
                  <a:pt x="128" y="210"/>
                  <a:pt x="128" y="184"/>
                </a:cubicBezTo>
                <a:cubicBezTo>
                  <a:pt x="128" y="158"/>
                  <a:pt x="106" y="136"/>
                  <a:pt x="80" y="136"/>
                </a:cubicBezTo>
                <a:close/>
                <a:moveTo>
                  <a:pt x="272" y="136"/>
                </a:moveTo>
                <a:cubicBezTo>
                  <a:pt x="246" y="136"/>
                  <a:pt x="224" y="158"/>
                  <a:pt x="224" y="184"/>
                </a:cubicBezTo>
                <a:cubicBezTo>
                  <a:pt x="224" y="210"/>
                  <a:pt x="246" y="232"/>
                  <a:pt x="272" y="232"/>
                </a:cubicBezTo>
                <a:cubicBezTo>
                  <a:pt x="298" y="232"/>
                  <a:pt x="320" y="210"/>
                  <a:pt x="320" y="184"/>
                </a:cubicBezTo>
                <a:cubicBezTo>
                  <a:pt x="320" y="158"/>
                  <a:pt x="298" y="136"/>
                  <a:pt x="272" y="136"/>
                </a:cubicBezTo>
                <a:close/>
                <a:moveTo>
                  <a:pt x="80" y="152"/>
                </a:moveTo>
                <a:cubicBezTo>
                  <a:pt x="98" y="152"/>
                  <a:pt x="112" y="166"/>
                  <a:pt x="112" y="184"/>
                </a:cubicBezTo>
                <a:cubicBezTo>
                  <a:pt x="112" y="202"/>
                  <a:pt x="98" y="216"/>
                  <a:pt x="80" y="216"/>
                </a:cubicBezTo>
                <a:cubicBezTo>
                  <a:pt x="62" y="216"/>
                  <a:pt x="48" y="202"/>
                  <a:pt x="48" y="184"/>
                </a:cubicBezTo>
                <a:cubicBezTo>
                  <a:pt x="48" y="166"/>
                  <a:pt x="62" y="152"/>
                  <a:pt x="80" y="152"/>
                </a:cubicBezTo>
                <a:close/>
                <a:moveTo>
                  <a:pt x="272" y="152"/>
                </a:moveTo>
                <a:cubicBezTo>
                  <a:pt x="290" y="152"/>
                  <a:pt x="304" y="166"/>
                  <a:pt x="304" y="184"/>
                </a:cubicBezTo>
                <a:cubicBezTo>
                  <a:pt x="304" y="202"/>
                  <a:pt x="290" y="216"/>
                  <a:pt x="272" y="216"/>
                </a:cubicBezTo>
                <a:cubicBezTo>
                  <a:pt x="254" y="216"/>
                  <a:pt x="240" y="202"/>
                  <a:pt x="240" y="184"/>
                </a:cubicBezTo>
                <a:cubicBezTo>
                  <a:pt x="240" y="166"/>
                  <a:pt x="254" y="152"/>
                  <a:pt x="272" y="152"/>
                </a:cubicBezTo>
                <a:close/>
              </a:path>
            </a:pathLst>
          </a:custGeom>
          <a:solidFill>
            <a:schemeClr val="accent3"/>
          </a:solidFill>
          <a:ln w="158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732270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16B394F-D46B-4E08-8A33-6C9D9D03E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cap="all" dirty="0" err="1"/>
              <a:t>Useful</a:t>
            </a:r>
            <a:r>
              <a:rPr lang="fr-BE" cap="all" dirty="0"/>
              <a:t> illustration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FB1540AE-7D42-4ED0-9047-07537E062D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/>
              <a:t>00/00/2016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D4AA8450-87EC-4C42-A9F8-8FBA1A81B8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4D8666F1-F19C-43B4-998E-FEF2B19E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6</a:t>
            </a:fld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3B5CD01-C132-41CC-9111-098598D2FC47}"/>
              </a:ext>
            </a:extLst>
          </p:cNvPr>
          <p:cNvSpPr/>
          <p:nvPr/>
        </p:nvSpPr>
        <p:spPr>
          <a:xfrm>
            <a:off x="324593" y="1628800"/>
            <a:ext cx="1571295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1200" b="1" kern="0" dirty="0">
                <a:solidFill>
                  <a:schemeClr val="accent6"/>
                </a:solidFill>
              </a:rPr>
              <a:t>FARM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487AD41-1F69-4349-8C4E-1D98F8FC5E04}"/>
              </a:ext>
            </a:extLst>
          </p:cNvPr>
          <p:cNvSpPr/>
          <p:nvPr/>
        </p:nvSpPr>
        <p:spPr>
          <a:xfrm>
            <a:off x="3637585" y="1628800"/>
            <a:ext cx="1571295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1200" b="1" kern="0" dirty="0">
                <a:solidFill>
                  <a:schemeClr val="accent6"/>
                </a:solidFill>
              </a:rPr>
              <a:t>MANUFACTUR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B61FA6-6F55-41BA-AECB-51EFE4F3D533}"/>
              </a:ext>
            </a:extLst>
          </p:cNvPr>
          <p:cNvSpPr/>
          <p:nvPr/>
        </p:nvSpPr>
        <p:spPr>
          <a:xfrm>
            <a:off x="6745412" y="1628800"/>
            <a:ext cx="1571295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1200" b="1" kern="0" dirty="0">
                <a:solidFill>
                  <a:schemeClr val="accent6"/>
                </a:solidFill>
              </a:rPr>
              <a:t>CONSUM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109246C-6E4D-4F86-91A5-4856B93E043B}"/>
              </a:ext>
            </a:extLst>
          </p:cNvPr>
          <p:cNvSpPr/>
          <p:nvPr/>
        </p:nvSpPr>
        <p:spPr>
          <a:xfrm>
            <a:off x="1841675" y="1628800"/>
            <a:ext cx="1571295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1200" b="1" kern="0" dirty="0">
                <a:solidFill>
                  <a:schemeClr val="accent6"/>
                </a:solidFill>
              </a:rPr>
              <a:t>TIER 1 SUPPLI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51B018B-0A8F-40B5-8E32-883E34D74D7E}"/>
              </a:ext>
            </a:extLst>
          </p:cNvPr>
          <p:cNvSpPr/>
          <p:nvPr/>
        </p:nvSpPr>
        <p:spPr>
          <a:xfrm>
            <a:off x="5317151" y="1628800"/>
            <a:ext cx="1571295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spcBef>
                <a:spcPts val="823"/>
              </a:spcBef>
              <a:buClr>
                <a:srgbClr val="00AAFF"/>
              </a:buClr>
            </a:pPr>
            <a:r>
              <a:rPr lang="en-US" sz="1200" b="1" kern="0" dirty="0">
                <a:solidFill>
                  <a:schemeClr val="accent6"/>
                </a:solidFill>
              </a:rPr>
              <a:t>DISTRIBUTING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xmlns="" id="{A3940882-63F9-4E1A-90F2-0D00F6D7E3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61836" y="2136487"/>
            <a:ext cx="1013726" cy="457723"/>
            <a:chOff x="3019" y="105"/>
            <a:chExt cx="1114" cy="503"/>
          </a:xfrm>
          <a:solidFill>
            <a:schemeClr val="accent6"/>
          </a:solidFill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xmlns="" id="{7C0AB548-8853-40B2-88BA-C426CFFBE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9" y="105"/>
              <a:ext cx="805" cy="31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xmlns="" id="{ADFBB60B-6895-4DC5-B550-2B1045076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" y="431"/>
              <a:ext cx="782" cy="71"/>
            </a:xfrm>
            <a:custGeom>
              <a:avLst/>
              <a:gdLst>
                <a:gd name="T0" fmla="*/ 289 w 379"/>
                <a:gd name="T1" fmla="*/ 0 h 34"/>
                <a:gd name="T2" fmla="*/ 90 w 379"/>
                <a:gd name="T3" fmla="*/ 0 h 34"/>
                <a:gd name="T4" fmla="*/ 0 w 379"/>
                <a:gd name="T5" fmla="*/ 0 h 34"/>
                <a:gd name="T6" fmla="*/ 0 w 379"/>
                <a:gd name="T7" fmla="*/ 20 h 34"/>
                <a:gd name="T8" fmla="*/ 15 w 379"/>
                <a:gd name="T9" fmla="*/ 34 h 34"/>
                <a:gd name="T10" fmla="*/ 18 w 379"/>
                <a:gd name="T11" fmla="*/ 34 h 34"/>
                <a:gd name="T12" fmla="*/ 39 w 379"/>
                <a:gd name="T13" fmla="*/ 9 h 34"/>
                <a:gd name="T14" fmla="*/ 60 w 379"/>
                <a:gd name="T15" fmla="*/ 4 h 34"/>
                <a:gd name="T16" fmla="*/ 101 w 379"/>
                <a:gd name="T17" fmla="*/ 34 h 34"/>
                <a:gd name="T18" fmla="*/ 105 w 379"/>
                <a:gd name="T19" fmla="*/ 34 h 34"/>
                <a:gd name="T20" fmla="*/ 108 w 379"/>
                <a:gd name="T21" fmla="*/ 34 h 34"/>
                <a:gd name="T22" fmla="*/ 149 w 379"/>
                <a:gd name="T23" fmla="*/ 4 h 34"/>
                <a:gd name="T24" fmla="*/ 190 w 379"/>
                <a:gd name="T25" fmla="*/ 34 h 34"/>
                <a:gd name="T26" fmla="*/ 289 w 379"/>
                <a:gd name="T27" fmla="*/ 34 h 34"/>
                <a:gd name="T28" fmla="*/ 379 w 379"/>
                <a:gd name="T29" fmla="*/ 34 h 34"/>
                <a:gd name="T30" fmla="*/ 379 w 379"/>
                <a:gd name="T31" fmla="*/ 0 h 34"/>
                <a:gd name="T32" fmla="*/ 289 w 379"/>
                <a:gd name="T3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9" h="34">
                  <a:moveTo>
                    <a:pt x="289" y="0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7" y="34"/>
                    <a:pt x="15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21" y="23"/>
                    <a:pt x="29" y="14"/>
                    <a:pt x="39" y="9"/>
                  </a:cubicBezTo>
                  <a:cubicBezTo>
                    <a:pt x="45" y="6"/>
                    <a:pt x="52" y="4"/>
                    <a:pt x="60" y="4"/>
                  </a:cubicBezTo>
                  <a:cubicBezTo>
                    <a:pt x="79" y="4"/>
                    <a:pt x="95" y="17"/>
                    <a:pt x="101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13" y="17"/>
                    <a:pt x="129" y="4"/>
                    <a:pt x="149" y="4"/>
                  </a:cubicBezTo>
                  <a:cubicBezTo>
                    <a:pt x="168" y="4"/>
                    <a:pt x="184" y="17"/>
                    <a:pt x="190" y="34"/>
                  </a:cubicBezTo>
                  <a:cubicBezTo>
                    <a:pt x="289" y="34"/>
                    <a:pt x="289" y="34"/>
                    <a:pt x="289" y="34"/>
                  </a:cubicBezTo>
                  <a:cubicBezTo>
                    <a:pt x="379" y="34"/>
                    <a:pt x="379" y="34"/>
                    <a:pt x="379" y="34"/>
                  </a:cubicBezTo>
                  <a:cubicBezTo>
                    <a:pt x="379" y="0"/>
                    <a:pt x="379" y="0"/>
                    <a:pt x="379" y="0"/>
                  </a:cubicBezTo>
                  <a:lnTo>
                    <a:pt x="28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16B57805-12E8-40FD-9E74-59571863F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0" y="450"/>
              <a:ext cx="158" cy="158"/>
            </a:xfrm>
            <a:custGeom>
              <a:avLst/>
              <a:gdLst>
                <a:gd name="T0" fmla="*/ 38 w 77"/>
                <a:gd name="T1" fmla="*/ 0 h 76"/>
                <a:gd name="T2" fmla="*/ 0 w 77"/>
                <a:gd name="T3" fmla="*/ 38 h 76"/>
                <a:gd name="T4" fmla="*/ 38 w 77"/>
                <a:gd name="T5" fmla="*/ 76 h 76"/>
                <a:gd name="T6" fmla="*/ 77 w 77"/>
                <a:gd name="T7" fmla="*/ 38 h 76"/>
                <a:gd name="T8" fmla="*/ 38 w 77"/>
                <a:gd name="T9" fmla="*/ 0 h 76"/>
                <a:gd name="T10" fmla="*/ 38 w 77"/>
                <a:gd name="T11" fmla="*/ 61 h 76"/>
                <a:gd name="T12" fmla="*/ 16 w 77"/>
                <a:gd name="T13" fmla="*/ 38 h 76"/>
                <a:gd name="T14" fmla="*/ 38 w 77"/>
                <a:gd name="T15" fmla="*/ 15 h 76"/>
                <a:gd name="T16" fmla="*/ 61 w 77"/>
                <a:gd name="T17" fmla="*/ 38 h 76"/>
                <a:gd name="T18" fmla="*/ 38 w 77"/>
                <a:gd name="T19" fmla="*/ 6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7" y="59"/>
                    <a:pt x="77" y="38"/>
                  </a:cubicBezTo>
                  <a:cubicBezTo>
                    <a:pt x="77" y="17"/>
                    <a:pt x="59" y="0"/>
                    <a:pt x="38" y="0"/>
                  </a:cubicBezTo>
                  <a:close/>
                  <a:moveTo>
                    <a:pt x="38" y="61"/>
                  </a:moveTo>
                  <a:cubicBezTo>
                    <a:pt x="26" y="61"/>
                    <a:pt x="16" y="50"/>
                    <a:pt x="16" y="38"/>
                  </a:cubicBezTo>
                  <a:cubicBezTo>
                    <a:pt x="16" y="25"/>
                    <a:pt x="26" y="15"/>
                    <a:pt x="38" y="15"/>
                  </a:cubicBezTo>
                  <a:cubicBezTo>
                    <a:pt x="51" y="15"/>
                    <a:pt x="61" y="25"/>
                    <a:pt x="61" y="38"/>
                  </a:cubicBezTo>
                  <a:cubicBezTo>
                    <a:pt x="61" y="50"/>
                    <a:pt x="51" y="61"/>
                    <a:pt x="3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Oval 8">
              <a:extLst>
                <a:ext uri="{FF2B5EF4-FFF2-40B4-BE49-F238E27FC236}">
                  <a16:creationId xmlns:a16="http://schemas.microsoft.com/office/drawing/2014/main" xmlns="" id="{91AD5662-81E5-4953-9413-38EEACBBBE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3" y="504"/>
              <a:ext cx="52" cy="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xmlns="" id="{762BC413-F531-4506-A067-9FBDCD83C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5" y="450"/>
              <a:ext cx="159" cy="158"/>
            </a:xfrm>
            <a:custGeom>
              <a:avLst/>
              <a:gdLst>
                <a:gd name="T0" fmla="*/ 39 w 77"/>
                <a:gd name="T1" fmla="*/ 0 h 76"/>
                <a:gd name="T2" fmla="*/ 0 w 77"/>
                <a:gd name="T3" fmla="*/ 38 h 76"/>
                <a:gd name="T4" fmla="*/ 39 w 77"/>
                <a:gd name="T5" fmla="*/ 76 h 76"/>
                <a:gd name="T6" fmla="*/ 77 w 77"/>
                <a:gd name="T7" fmla="*/ 38 h 76"/>
                <a:gd name="T8" fmla="*/ 39 w 77"/>
                <a:gd name="T9" fmla="*/ 0 h 76"/>
                <a:gd name="T10" fmla="*/ 39 w 77"/>
                <a:gd name="T11" fmla="*/ 60 h 76"/>
                <a:gd name="T12" fmla="*/ 16 w 77"/>
                <a:gd name="T13" fmla="*/ 38 h 76"/>
                <a:gd name="T14" fmla="*/ 39 w 77"/>
                <a:gd name="T15" fmla="*/ 15 h 76"/>
                <a:gd name="T16" fmla="*/ 61 w 77"/>
                <a:gd name="T17" fmla="*/ 38 h 76"/>
                <a:gd name="T18" fmla="*/ 39 w 77"/>
                <a:gd name="T19" fmla="*/ 6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39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9" y="76"/>
                  </a:cubicBezTo>
                  <a:cubicBezTo>
                    <a:pt x="60" y="76"/>
                    <a:pt x="77" y="59"/>
                    <a:pt x="77" y="38"/>
                  </a:cubicBezTo>
                  <a:cubicBezTo>
                    <a:pt x="77" y="17"/>
                    <a:pt x="60" y="0"/>
                    <a:pt x="39" y="0"/>
                  </a:cubicBezTo>
                  <a:close/>
                  <a:moveTo>
                    <a:pt x="39" y="60"/>
                  </a:moveTo>
                  <a:cubicBezTo>
                    <a:pt x="26" y="60"/>
                    <a:pt x="16" y="50"/>
                    <a:pt x="16" y="38"/>
                  </a:cubicBezTo>
                  <a:cubicBezTo>
                    <a:pt x="16" y="25"/>
                    <a:pt x="26" y="15"/>
                    <a:pt x="39" y="15"/>
                  </a:cubicBezTo>
                  <a:cubicBezTo>
                    <a:pt x="51" y="15"/>
                    <a:pt x="61" y="25"/>
                    <a:pt x="61" y="38"/>
                  </a:cubicBezTo>
                  <a:cubicBezTo>
                    <a:pt x="61" y="50"/>
                    <a:pt x="51" y="60"/>
                    <a:pt x="39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Oval 10">
              <a:extLst>
                <a:ext uri="{FF2B5EF4-FFF2-40B4-BE49-F238E27FC236}">
                  <a16:creationId xmlns:a16="http://schemas.microsoft.com/office/drawing/2014/main" xmlns="" id="{5CF1696A-1C5D-4033-8DD9-C0C2832E8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9" y="504"/>
              <a:ext cx="51" cy="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xmlns="" id="{A79841D6-1EE5-4248-9609-4AAE756B5F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1" y="450"/>
              <a:ext cx="157" cy="158"/>
            </a:xfrm>
            <a:custGeom>
              <a:avLst/>
              <a:gdLst>
                <a:gd name="T0" fmla="*/ 38 w 76"/>
                <a:gd name="T1" fmla="*/ 0 h 76"/>
                <a:gd name="T2" fmla="*/ 0 w 76"/>
                <a:gd name="T3" fmla="*/ 38 h 76"/>
                <a:gd name="T4" fmla="*/ 38 w 76"/>
                <a:gd name="T5" fmla="*/ 76 h 76"/>
                <a:gd name="T6" fmla="*/ 76 w 76"/>
                <a:gd name="T7" fmla="*/ 38 h 76"/>
                <a:gd name="T8" fmla="*/ 38 w 76"/>
                <a:gd name="T9" fmla="*/ 0 h 76"/>
                <a:gd name="T10" fmla="*/ 38 w 76"/>
                <a:gd name="T11" fmla="*/ 60 h 76"/>
                <a:gd name="T12" fmla="*/ 15 w 76"/>
                <a:gd name="T13" fmla="*/ 38 h 76"/>
                <a:gd name="T14" fmla="*/ 38 w 76"/>
                <a:gd name="T15" fmla="*/ 15 h 76"/>
                <a:gd name="T16" fmla="*/ 60 w 76"/>
                <a:gd name="T17" fmla="*/ 38 h 76"/>
                <a:gd name="T18" fmla="*/ 38 w 76"/>
                <a:gd name="T19" fmla="*/ 6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  <a:moveTo>
                    <a:pt x="38" y="60"/>
                  </a:moveTo>
                  <a:cubicBezTo>
                    <a:pt x="25" y="60"/>
                    <a:pt x="15" y="50"/>
                    <a:pt x="15" y="38"/>
                  </a:cubicBezTo>
                  <a:cubicBezTo>
                    <a:pt x="15" y="25"/>
                    <a:pt x="25" y="15"/>
                    <a:pt x="38" y="15"/>
                  </a:cubicBezTo>
                  <a:cubicBezTo>
                    <a:pt x="50" y="15"/>
                    <a:pt x="60" y="25"/>
                    <a:pt x="60" y="38"/>
                  </a:cubicBezTo>
                  <a:cubicBezTo>
                    <a:pt x="60" y="50"/>
                    <a:pt x="5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Oval 12">
              <a:extLst>
                <a:ext uri="{FF2B5EF4-FFF2-40B4-BE49-F238E27FC236}">
                  <a16:creationId xmlns:a16="http://schemas.microsoft.com/office/drawing/2014/main" xmlns="" id="{2669C2BE-993B-45C6-A6C7-56BE28A59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2" y="504"/>
              <a:ext cx="52" cy="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xmlns="" id="{9344DB83-6A82-4DB6-9D0F-19ADEC467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8" y="113"/>
              <a:ext cx="295" cy="389"/>
            </a:xfrm>
            <a:custGeom>
              <a:avLst/>
              <a:gdLst>
                <a:gd name="T0" fmla="*/ 135 w 143"/>
                <a:gd name="T1" fmla="*/ 103 h 187"/>
                <a:gd name="T2" fmla="*/ 112 w 143"/>
                <a:gd name="T3" fmla="*/ 54 h 187"/>
                <a:gd name="T4" fmla="*/ 117 w 143"/>
                <a:gd name="T5" fmla="*/ 54 h 187"/>
                <a:gd name="T6" fmla="*/ 1 w 143"/>
                <a:gd name="T7" fmla="*/ 0 h 187"/>
                <a:gd name="T8" fmla="*/ 0 w 143"/>
                <a:gd name="T9" fmla="*/ 38 h 187"/>
                <a:gd name="T10" fmla="*/ 0 w 143"/>
                <a:gd name="T11" fmla="*/ 38 h 187"/>
                <a:gd name="T12" fmla="*/ 0 w 143"/>
                <a:gd name="T13" fmla="*/ 180 h 187"/>
                <a:gd name="T14" fmla="*/ 8 w 143"/>
                <a:gd name="T15" fmla="*/ 187 h 187"/>
                <a:gd name="T16" fmla="*/ 23 w 143"/>
                <a:gd name="T17" fmla="*/ 187 h 187"/>
                <a:gd name="T18" fmla="*/ 63 w 143"/>
                <a:gd name="T19" fmla="*/ 157 h 187"/>
                <a:gd name="T20" fmla="*/ 104 w 143"/>
                <a:gd name="T21" fmla="*/ 187 h 187"/>
                <a:gd name="T22" fmla="*/ 136 w 143"/>
                <a:gd name="T23" fmla="*/ 187 h 187"/>
                <a:gd name="T24" fmla="*/ 143 w 143"/>
                <a:gd name="T25" fmla="*/ 180 h 187"/>
                <a:gd name="T26" fmla="*/ 143 w 143"/>
                <a:gd name="T27" fmla="*/ 129 h 187"/>
                <a:gd name="T28" fmla="*/ 135 w 143"/>
                <a:gd name="T29" fmla="*/ 103 h 187"/>
                <a:gd name="T30" fmla="*/ 115 w 143"/>
                <a:gd name="T31" fmla="*/ 100 h 187"/>
                <a:gd name="T32" fmla="*/ 112 w 143"/>
                <a:gd name="T33" fmla="*/ 103 h 187"/>
                <a:gd name="T34" fmla="*/ 23 w 143"/>
                <a:gd name="T35" fmla="*/ 103 h 187"/>
                <a:gd name="T36" fmla="*/ 16 w 143"/>
                <a:gd name="T37" fmla="*/ 95 h 187"/>
                <a:gd name="T38" fmla="*/ 16 w 143"/>
                <a:gd name="T39" fmla="*/ 57 h 187"/>
                <a:gd name="T40" fmla="*/ 23 w 143"/>
                <a:gd name="T41" fmla="*/ 50 h 187"/>
                <a:gd name="T42" fmla="*/ 86 w 143"/>
                <a:gd name="T43" fmla="*/ 50 h 187"/>
                <a:gd name="T44" fmla="*/ 98 w 143"/>
                <a:gd name="T45" fmla="*/ 56 h 187"/>
                <a:gd name="T46" fmla="*/ 115 w 143"/>
                <a:gd name="T47" fmla="*/ 96 h 187"/>
                <a:gd name="T48" fmla="*/ 115 w 143"/>
                <a:gd name="T49" fmla="*/ 100 h 187"/>
                <a:gd name="T50" fmla="*/ 140 w 143"/>
                <a:gd name="T51" fmla="*/ 174 h 187"/>
                <a:gd name="T52" fmla="*/ 136 w 143"/>
                <a:gd name="T53" fmla="*/ 174 h 187"/>
                <a:gd name="T54" fmla="*/ 133 w 143"/>
                <a:gd name="T55" fmla="*/ 173 h 187"/>
                <a:gd name="T56" fmla="*/ 133 w 143"/>
                <a:gd name="T57" fmla="*/ 167 h 187"/>
                <a:gd name="T58" fmla="*/ 136 w 143"/>
                <a:gd name="T59" fmla="*/ 166 h 187"/>
                <a:gd name="T60" fmla="*/ 140 w 143"/>
                <a:gd name="T61" fmla="*/ 166 h 187"/>
                <a:gd name="T62" fmla="*/ 140 w 143"/>
                <a:gd name="T63" fmla="*/ 174 h 187"/>
                <a:gd name="T64" fmla="*/ 140 w 143"/>
                <a:gd name="T65" fmla="*/ 162 h 187"/>
                <a:gd name="T66" fmla="*/ 136 w 143"/>
                <a:gd name="T67" fmla="*/ 162 h 187"/>
                <a:gd name="T68" fmla="*/ 133 w 143"/>
                <a:gd name="T69" fmla="*/ 160 h 187"/>
                <a:gd name="T70" fmla="*/ 133 w 143"/>
                <a:gd name="T71" fmla="*/ 150 h 187"/>
                <a:gd name="T72" fmla="*/ 136 w 143"/>
                <a:gd name="T73" fmla="*/ 148 h 187"/>
                <a:gd name="T74" fmla="*/ 140 w 143"/>
                <a:gd name="T75" fmla="*/ 148 h 187"/>
                <a:gd name="T76" fmla="*/ 140 w 143"/>
                <a:gd name="T77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3" h="187">
                  <a:moveTo>
                    <a:pt x="135" y="103"/>
                  </a:moveTo>
                  <a:cubicBezTo>
                    <a:pt x="112" y="54"/>
                    <a:pt x="112" y="54"/>
                    <a:pt x="112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3" y="22"/>
                    <a:pt x="62" y="0"/>
                    <a:pt x="1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4"/>
                    <a:pt x="4" y="187"/>
                    <a:pt x="8" y="187"/>
                  </a:cubicBezTo>
                  <a:cubicBezTo>
                    <a:pt x="23" y="187"/>
                    <a:pt x="23" y="187"/>
                    <a:pt x="23" y="187"/>
                  </a:cubicBezTo>
                  <a:cubicBezTo>
                    <a:pt x="28" y="170"/>
                    <a:pt x="44" y="157"/>
                    <a:pt x="63" y="157"/>
                  </a:cubicBezTo>
                  <a:cubicBezTo>
                    <a:pt x="82" y="157"/>
                    <a:pt x="99" y="170"/>
                    <a:pt x="104" y="187"/>
                  </a:cubicBezTo>
                  <a:cubicBezTo>
                    <a:pt x="136" y="187"/>
                    <a:pt x="136" y="187"/>
                    <a:pt x="136" y="187"/>
                  </a:cubicBezTo>
                  <a:cubicBezTo>
                    <a:pt x="140" y="187"/>
                    <a:pt x="143" y="184"/>
                    <a:pt x="143" y="180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0"/>
                    <a:pt x="140" y="111"/>
                    <a:pt x="135" y="103"/>
                  </a:cubicBezTo>
                  <a:close/>
                  <a:moveTo>
                    <a:pt x="115" y="100"/>
                  </a:moveTo>
                  <a:cubicBezTo>
                    <a:pt x="115" y="102"/>
                    <a:pt x="113" y="103"/>
                    <a:pt x="112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19" y="103"/>
                    <a:pt x="16" y="99"/>
                    <a:pt x="16" y="95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3"/>
                    <a:pt x="19" y="50"/>
                    <a:pt x="23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91" y="50"/>
                    <a:pt x="95" y="52"/>
                    <a:pt x="98" y="56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6" y="97"/>
                    <a:pt x="116" y="99"/>
                    <a:pt x="115" y="100"/>
                  </a:cubicBezTo>
                  <a:close/>
                  <a:moveTo>
                    <a:pt x="140" y="174"/>
                  </a:moveTo>
                  <a:cubicBezTo>
                    <a:pt x="136" y="174"/>
                    <a:pt x="136" y="174"/>
                    <a:pt x="136" y="174"/>
                  </a:cubicBezTo>
                  <a:cubicBezTo>
                    <a:pt x="134" y="174"/>
                    <a:pt x="133" y="174"/>
                    <a:pt x="133" y="173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4" y="166"/>
                    <a:pt x="136" y="166"/>
                  </a:cubicBezTo>
                  <a:cubicBezTo>
                    <a:pt x="140" y="166"/>
                    <a:pt x="140" y="166"/>
                    <a:pt x="140" y="166"/>
                  </a:cubicBezTo>
                  <a:lnTo>
                    <a:pt x="140" y="174"/>
                  </a:lnTo>
                  <a:close/>
                  <a:moveTo>
                    <a:pt x="140" y="162"/>
                  </a:moveTo>
                  <a:cubicBezTo>
                    <a:pt x="136" y="162"/>
                    <a:pt x="136" y="162"/>
                    <a:pt x="136" y="162"/>
                  </a:cubicBezTo>
                  <a:cubicBezTo>
                    <a:pt x="134" y="162"/>
                    <a:pt x="133" y="162"/>
                    <a:pt x="133" y="160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48"/>
                    <a:pt x="134" y="148"/>
                    <a:pt x="136" y="148"/>
                  </a:cubicBezTo>
                  <a:cubicBezTo>
                    <a:pt x="140" y="148"/>
                    <a:pt x="140" y="148"/>
                    <a:pt x="140" y="148"/>
                  </a:cubicBezTo>
                  <a:lnTo>
                    <a:pt x="14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Freeform 5">
            <a:extLst>
              <a:ext uri="{FF2B5EF4-FFF2-40B4-BE49-F238E27FC236}">
                <a16:creationId xmlns:a16="http://schemas.microsoft.com/office/drawing/2014/main" xmlns="" id="{D6B10D1C-C1A2-4E15-959D-D674017802F5}"/>
              </a:ext>
            </a:extLst>
          </p:cNvPr>
          <p:cNvSpPr>
            <a:spLocks noEditPoints="1"/>
          </p:cNvSpPr>
          <p:nvPr/>
        </p:nvSpPr>
        <p:spPr bwMode="auto">
          <a:xfrm>
            <a:off x="3991199" y="2045418"/>
            <a:ext cx="946820" cy="548792"/>
          </a:xfrm>
          <a:custGeom>
            <a:avLst/>
            <a:gdLst>
              <a:gd name="T0" fmla="*/ 0 w 1571"/>
              <a:gd name="T1" fmla="*/ 784 h 909"/>
              <a:gd name="T2" fmla="*/ 1530 w 1571"/>
              <a:gd name="T3" fmla="*/ 331 h 909"/>
              <a:gd name="T4" fmla="*/ 1448 w 1571"/>
              <a:gd name="T5" fmla="*/ 364 h 909"/>
              <a:gd name="T6" fmla="*/ 1409 w 1571"/>
              <a:gd name="T7" fmla="*/ 422 h 909"/>
              <a:gd name="T8" fmla="*/ 1256 w 1571"/>
              <a:gd name="T9" fmla="*/ 387 h 909"/>
              <a:gd name="T10" fmla="*/ 1190 w 1571"/>
              <a:gd name="T11" fmla="*/ 598 h 909"/>
              <a:gd name="T12" fmla="*/ 1063 w 1571"/>
              <a:gd name="T13" fmla="*/ 81 h 909"/>
              <a:gd name="T14" fmla="*/ 946 w 1571"/>
              <a:gd name="T15" fmla="*/ 0 h 909"/>
              <a:gd name="T16" fmla="*/ 824 w 1571"/>
              <a:gd name="T17" fmla="*/ 600 h 909"/>
              <a:gd name="T18" fmla="*/ 575 w 1571"/>
              <a:gd name="T19" fmla="*/ 598 h 909"/>
              <a:gd name="T20" fmla="*/ 320 w 1571"/>
              <a:gd name="T21" fmla="*/ 600 h 909"/>
              <a:gd name="T22" fmla="*/ 66 w 1571"/>
              <a:gd name="T23" fmla="*/ 333 h 909"/>
              <a:gd name="T24" fmla="*/ 186 w 1571"/>
              <a:gd name="T25" fmla="*/ 761 h 909"/>
              <a:gd name="T26" fmla="*/ 1012 w 1571"/>
              <a:gd name="T27" fmla="*/ 761 h 909"/>
              <a:gd name="T28" fmla="*/ 1571 w 1571"/>
              <a:gd name="T29" fmla="*/ 761 h 909"/>
              <a:gd name="T30" fmla="*/ 18 w 1571"/>
              <a:gd name="T31" fmla="*/ 581 h 909"/>
              <a:gd name="T32" fmla="*/ 58 w 1571"/>
              <a:gd name="T33" fmla="*/ 524 h 909"/>
              <a:gd name="T34" fmla="*/ 58 w 1571"/>
              <a:gd name="T35" fmla="*/ 524 h 909"/>
              <a:gd name="T36" fmla="*/ 58 w 1571"/>
              <a:gd name="T37" fmla="*/ 438 h 909"/>
              <a:gd name="T38" fmla="*/ 75 w 1571"/>
              <a:gd name="T39" fmla="*/ 551 h 909"/>
              <a:gd name="T40" fmla="*/ 75 w 1571"/>
              <a:gd name="T41" fmla="*/ 524 h 909"/>
              <a:gd name="T42" fmla="*/ 115 w 1571"/>
              <a:gd name="T43" fmla="*/ 468 h 909"/>
              <a:gd name="T44" fmla="*/ 115 w 1571"/>
              <a:gd name="T45" fmla="*/ 468 h 909"/>
              <a:gd name="T46" fmla="*/ 172 w 1571"/>
              <a:gd name="T47" fmla="*/ 551 h 909"/>
              <a:gd name="T48" fmla="*/ 132 w 1571"/>
              <a:gd name="T49" fmla="*/ 494 h 909"/>
              <a:gd name="T50" fmla="*/ 132 w 1571"/>
              <a:gd name="T51" fmla="*/ 468 h 909"/>
              <a:gd name="T52" fmla="*/ 228 w 1571"/>
              <a:gd name="T53" fmla="*/ 581 h 909"/>
              <a:gd name="T54" fmla="*/ 228 w 1571"/>
              <a:gd name="T55" fmla="*/ 581 h 909"/>
              <a:gd name="T56" fmla="*/ 228 w 1571"/>
              <a:gd name="T57" fmla="*/ 494 h 909"/>
              <a:gd name="T58" fmla="*/ 188 w 1571"/>
              <a:gd name="T59" fmla="*/ 438 h 909"/>
              <a:gd name="T60" fmla="*/ 245 w 1571"/>
              <a:gd name="T61" fmla="*/ 581 h 909"/>
              <a:gd name="T62" fmla="*/ 285 w 1571"/>
              <a:gd name="T63" fmla="*/ 524 h 909"/>
              <a:gd name="T64" fmla="*/ 285 w 1571"/>
              <a:gd name="T65" fmla="*/ 524 h 909"/>
              <a:gd name="T66" fmla="*/ 285 w 1571"/>
              <a:gd name="T67" fmla="*/ 438 h 909"/>
              <a:gd name="T68" fmla="*/ 396 w 1571"/>
              <a:gd name="T69" fmla="*/ 675 h 909"/>
              <a:gd name="T70" fmla="*/ 396 w 1571"/>
              <a:gd name="T71" fmla="*/ 666 h 909"/>
              <a:gd name="T72" fmla="*/ 516 w 1571"/>
              <a:gd name="T73" fmla="*/ 705 h 909"/>
              <a:gd name="T74" fmla="*/ 516 w 1571"/>
              <a:gd name="T75" fmla="*/ 705 h 909"/>
              <a:gd name="T76" fmla="*/ 516 w 1571"/>
              <a:gd name="T77" fmla="*/ 636 h 909"/>
              <a:gd name="T78" fmla="*/ 530 w 1571"/>
              <a:gd name="T79" fmla="*/ 675 h 909"/>
              <a:gd name="T80" fmla="*/ 530 w 1571"/>
              <a:gd name="T81" fmla="*/ 666 h 909"/>
              <a:gd name="T82" fmla="*/ 650 w 1571"/>
              <a:gd name="T83" fmla="*/ 705 h 909"/>
              <a:gd name="T84" fmla="*/ 650 w 1571"/>
              <a:gd name="T85" fmla="*/ 705 h 909"/>
              <a:gd name="T86" fmla="*/ 650 w 1571"/>
              <a:gd name="T87" fmla="*/ 636 h 909"/>
              <a:gd name="T88" fmla="*/ 664 w 1571"/>
              <a:gd name="T89" fmla="*/ 675 h 909"/>
              <a:gd name="T90" fmla="*/ 664 w 1571"/>
              <a:gd name="T91" fmla="*/ 666 h 909"/>
              <a:gd name="T92" fmla="*/ 1226 w 1571"/>
              <a:gd name="T93" fmla="*/ 452 h 909"/>
              <a:gd name="T94" fmla="*/ 1226 w 1571"/>
              <a:gd name="T95" fmla="*/ 452 h 909"/>
              <a:gd name="T96" fmla="*/ 1272 w 1571"/>
              <a:gd name="T97" fmla="*/ 646 h 909"/>
              <a:gd name="T98" fmla="*/ 1281 w 1571"/>
              <a:gd name="T99" fmla="*/ 646 h 909"/>
              <a:gd name="T100" fmla="*/ 1327 w 1571"/>
              <a:gd name="T101" fmla="*/ 682 h 909"/>
              <a:gd name="T102" fmla="*/ 1421 w 1571"/>
              <a:gd name="T103" fmla="*/ 521 h 909"/>
              <a:gd name="T104" fmla="*/ 1346 w 1571"/>
              <a:gd name="T105" fmla="*/ 422 h 909"/>
              <a:gd name="T106" fmla="*/ 1421 w 1571"/>
              <a:gd name="T107" fmla="*/ 521 h 909"/>
              <a:gd name="T108" fmla="*/ 1346 w 1571"/>
              <a:gd name="T109" fmla="*/ 404 h 909"/>
              <a:gd name="T110" fmla="*/ 1308 w 1571"/>
              <a:gd name="T111" fmla="*/ 293 h 909"/>
              <a:gd name="T112" fmla="*/ 1421 w 1571"/>
              <a:gd name="T113" fmla="*/ 468 h 909"/>
              <a:gd name="T114" fmla="*/ 1448 w 1571"/>
              <a:gd name="T115" fmla="*/ 486 h 909"/>
              <a:gd name="T116" fmla="*/ 1439 w 1571"/>
              <a:gd name="T117" fmla="*/ 440 h 909"/>
              <a:gd name="T118" fmla="*/ 1439 w 1571"/>
              <a:gd name="T119" fmla="*/ 422 h 9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71" h="909">
                <a:moveTo>
                  <a:pt x="0" y="909"/>
                </a:moveTo>
                <a:cubicBezTo>
                  <a:pt x="1571" y="909"/>
                  <a:pt x="1571" y="909"/>
                  <a:pt x="1571" y="909"/>
                </a:cubicBezTo>
                <a:cubicBezTo>
                  <a:pt x="1571" y="784"/>
                  <a:pt x="1571" y="784"/>
                  <a:pt x="1571" y="784"/>
                </a:cubicBezTo>
                <a:cubicBezTo>
                  <a:pt x="0" y="784"/>
                  <a:pt x="0" y="784"/>
                  <a:pt x="0" y="784"/>
                </a:cubicBezTo>
                <a:lnTo>
                  <a:pt x="0" y="909"/>
                </a:lnTo>
                <a:close/>
                <a:moveTo>
                  <a:pt x="1546" y="517"/>
                </a:moveTo>
                <a:cubicBezTo>
                  <a:pt x="1546" y="365"/>
                  <a:pt x="1546" y="365"/>
                  <a:pt x="1546" y="365"/>
                </a:cubicBezTo>
                <a:cubicBezTo>
                  <a:pt x="1546" y="352"/>
                  <a:pt x="1540" y="340"/>
                  <a:pt x="1530" y="331"/>
                </a:cubicBezTo>
                <a:cubicBezTo>
                  <a:pt x="1523" y="326"/>
                  <a:pt x="1523" y="326"/>
                  <a:pt x="1523" y="326"/>
                </a:cubicBezTo>
                <a:cubicBezTo>
                  <a:pt x="1507" y="313"/>
                  <a:pt x="1484" y="314"/>
                  <a:pt x="1468" y="328"/>
                </a:cubicBezTo>
                <a:cubicBezTo>
                  <a:pt x="1463" y="332"/>
                  <a:pt x="1463" y="332"/>
                  <a:pt x="1463" y="332"/>
                </a:cubicBezTo>
                <a:cubicBezTo>
                  <a:pt x="1454" y="340"/>
                  <a:pt x="1448" y="352"/>
                  <a:pt x="1448" y="364"/>
                </a:cubicBezTo>
                <a:cubicBezTo>
                  <a:pt x="1448" y="380"/>
                  <a:pt x="1448" y="380"/>
                  <a:pt x="1448" y="380"/>
                </a:cubicBezTo>
                <a:cubicBezTo>
                  <a:pt x="1421" y="380"/>
                  <a:pt x="1421" y="380"/>
                  <a:pt x="1421" y="380"/>
                </a:cubicBezTo>
                <a:cubicBezTo>
                  <a:pt x="1421" y="422"/>
                  <a:pt x="1421" y="422"/>
                  <a:pt x="1421" y="422"/>
                </a:cubicBezTo>
                <a:cubicBezTo>
                  <a:pt x="1409" y="422"/>
                  <a:pt x="1409" y="422"/>
                  <a:pt x="1409" y="422"/>
                </a:cubicBezTo>
                <a:cubicBezTo>
                  <a:pt x="1409" y="275"/>
                  <a:pt x="1409" y="275"/>
                  <a:pt x="1409" y="275"/>
                </a:cubicBezTo>
                <a:cubicBezTo>
                  <a:pt x="1290" y="275"/>
                  <a:pt x="1290" y="275"/>
                  <a:pt x="1290" y="275"/>
                </a:cubicBezTo>
                <a:cubicBezTo>
                  <a:pt x="1290" y="319"/>
                  <a:pt x="1290" y="319"/>
                  <a:pt x="1290" y="319"/>
                </a:cubicBezTo>
                <a:cubicBezTo>
                  <a:pt x="1269" y="335"/>
                  <a:pt x="1256" y="361"/>
                  <a:pt x="1256" y="387"/>
                </a:cubicBezTo>
                <a:cubicBezTo>
                  <a:pt x="1256" y="434"/>
                  <a:pt x="1256" y="434"/>
                  <a:pt x="1256" y="434"/>
                </a:cubicBezTo>
                <a:cubicBezTo>
                  <a:pt x="1208" y="434"/>
                  <a:pt x="1208" y="434"/>
                  <a:pt x="1208" y="434"/>
                </a:cubicBezTo>
                <a:cubicBezTo>
                  <a:pt x="1208" y="598"/>
                  <a:pt x="1208" y="598"/>
                  <a:pt x="1208" y="598"/>
                </a:cubicBezTo>
                <a:cubicBezTo>
                  <a:pt x="1190" y="598"/>
                  <a:pt x="1190" y="598"/>
                  <a:pt x="1190" y="598"/>
                </a:cubicBezTo>
                <a:cubicBezTo>
                  <a:pt x="1190" y="545"/>
                  <a:pt x="1190" y="545"/>
                  <a:pt x="1190" y="545"/>
                </a:cubicBezTo>
                <a:cubicBezTo>
                  <a:pt x="1118" y="545"/>
                  <a:pt x="1118" y="545"/>
                  <a:pt x="1118" y="545"/>
                </a:cubicBezTo>
                <a:cubicBezTo>
                  <a:pt x="1103" y="81"/>
                  <a:pt x="1103" y="81"/>
                  <a:pt x="1103" y="81"/>
                </a:cubicBezTo>
                <a:cubicBezTo>
                  <a:pt x="1063" y="81"/>
                  <a:pt x="1063" y="81"/>
                  <a:pt x="1063" y="81"/>
                </a:cubicBezTo>
                <a:cubicBezTo>
                  <a:pt x="1048" y="545"/>
                  <a:pt x="1048" y="545"/>
                  <a:pt x="1048" y="545"/>
                </a:cubicBezTo>
                <a:cubicBezTo>
                  <a:pt x="1000" y="545"/>
                  <a:pt x="1000" y="545"/>
                  <a:pt x="1000" y="545"/>
                </a:cubicBezTo>
                <a:cubicBezTo>
                  <a:pt x="982" y="0"/>
                  <a:pt x="982" y="0"/>
                  <a:pt x="982" y="0"/>
                </a:cubicBezTo>
                <a:cubicBezTo>
                  <a:pt x="946" y="0"/>
                  <a:pt x="946" y="0"/>
                  <a:pt x="946" y="0"/>
                </a:cubicBezTo>
                <a:cubicBezTo>
                  <a:pt x="927" y="542"/>
                  <a:pt x="927" y="542"/>
                  <a:pt x="927" y="542"/>
                </a:cubicBezTo>
                <a:cubicBezTo>
                  <a:pt x="858" y="542"/>
                  <a:pt x="858" y="542"/>
                  <a:pt x="858" y="542"/>
                </a:cubicBezTo>
                <a:cubicBezTo>
                  <a:pt x="858" y="600"/>
                  <a:pt x="858" y="600"/>
                  <a:pt x="858" y="600"/>
                </a:cubicBezTo>
                <a:cubicBezTo>
                  <a:pt x="824" y="600"/>
                  <a:pt x="824" y="600"/>
                  <a:pt x="824" y="600"/>
                </a:cubicBezTo>
                <a:cubicBezTo>
                  <a:pt x="786" y="516"/>
                  <a:pt x="786" y="516"/>
                  <a:pt x="786" y="516"/>
                </a:cubicBezTo>
                <a:cubicBezTo>
                  <a:pt x="694" y="602"/>
                  <a:pt x="694" y="602"/>
                  <a:pt x="694" y="602"/>
                </a:cubicBezTo>
                <a:cubicBezTo>
                  <a:pt x="667" y="517"/>
                  <a:pt x="667" y="517"/>
                  <a:pt x="667" y="517"/>
                </a:cubicBezTo>
                <a:cubicBezTo>
                  <a:pt x="575" y="598"/>
                  <a:pt x="575" y="598"/>
                  <a:pt x="575" y="598"/>
                </a:cubicBezTo>
                <a:cubicBezTo>
                  <a:pt x="540" y="516"/>
                  <a:pt x="540" y="516"/>
                  <a:pt x="540" y="516"/>
                </a:cubicBezTo>
                <a:cubicBezTo>
                  <a:pt x="446" y="601"/>
                  <a:pt x="446" y="601"/>
                  <a:pt x="446" y="601"/>
                </a:cubicBezTo>
                <a:cubicBezTo>
                  <a:pt x="412" y="514"/>
                  <a:pt x="412" y="514"/>
                  <a:pt x="412" y="514"/>
                </a:cubicBezTo>
                <a:cubicBezTo>
                  <a:pt x="320" y="600"/>
                  <a:pt x="320" y="600"/>
                  <a:pt x="320" y="600"/>
                </a:cubicBezTo>
                <a:cubicBezTo>
                  <a:pt x="320" y="388"/>
                  <a:pt x="320" y="388"/>
                  <a:pt x="320" y="388"/>
                </a:cubicBezTo>
                <a:cubicBezTo>
                  <a:pt x="252" y="388"/>
                  <a:pt x="252" y="388"/>
                  <a:pt x="252" y="388"/>
                </a:cubicBezTo>
                <a:cubicBezTo>
                  <a:pt x="252" y="333"/>
                  <a:pt x="252" y="333"/>
                  <a:pt x="252" y="333"/>
                </a:cubicBezTo>
                <a:cubicBezTo>
                  <a:pt x="66" y="333"/>
                  <a:pt x="66" y="333"/>
                  <a:pt x="66" y="333"/>
                </a:cubicBezTo>
                <a:cubicBezTo>
                  <a:pt x="66" y="389"/>
                  <a:pt x="66" y="389"/>
                  <a:pt x="66" y="389"/>
                </a:cubicBezTo>
                <a:cubicBezTo>
                  <a:pt x="0" y="389"/>
                  <a:pt x="0" y="389"/>
                  <a:pt x="0" y="389"/>
                </a:cubicBezTo>
                <a:cubicBezTo>
                  <a:pt x="0" y="761"/>
                  <a:pt x="0" y="761"/>
                  <a:pt x="0" y="761"/>
                </a:cubicBezTo>
                <a:cubicBezTo>
                  <a:pt x="186" y="761"/>
                  <a:pt x="186" y="761"/>
                  <a:pt x="186" y="761"/>
                </a:cubicBezTo>
                <a:cubicBezTo>
                  <a:pt x="186" y="670"/>
                  <a:pt x="186" y="670"/>
                  <a:pt x="186" y="670"/>
                </a:cubicBezTo>
                <a:cubicBezTo>
                  <a:pt x="236" y="670"/>
                  <a:pt x="236" y="670"/>
                  <a:pt x="236" y="670"/>
                </a:cubicBezTo>
                <a:cubicBezTo>
                  <a:pt x="236" y="761"/>
                  <a:pt x="236" y="761"/>
                  <a:pt x="236" y="761"/>
                </a:cubicBezTo>
                <a:cubicBezTo>
                  <a:pt x="1012" y="761"/>
                  <a:pt x="1012" y="761"/>
                  <a:pt x="1012" y="761"/>
                </a:cubicBezTo>
                <a:cubicBezTo>
                  <a:pt x="1012" y="670"/>
                  <a:pt x="1012" y="670"/>
                  <a:pt x="1012" y="670"/>
                </a:cubicBezTo>
                <a:cubicBezTo>
                  <a:pt x="1060" y="670"/>
                  <a:pt x="1060" y="670"/>
                  <a:pt x="1060" y="670"/>
                </a:cubicBezTo>
                <a:cubicBezTo>
                  <a:pt x="1060" y="761"/>
                  <a:pt x="1060" y="761"/>
                  <a:pt x="1060" y="761"/>
                </a:cubicBezTo>
                <a:cubicBezTo>
                  <a:pt x="1571" y="761"/>
                  <a:pt x="1571" y="761"/>
                  <a:pt x="1571" y="761"/>
                </a:cubicBezTo>
                <a:cubicBezTo>
                  <a:pt x="1571" y="517"/>
                  <a:pt x="1571" y="517"/>
                  <a:pt x="1571" y="517"/>
                </a:cubicBezTo>
                <a:lnTo>
                  <a:pt x="1546" y="517"/>
                </a:lnTo>
                <a:close/>
                <a:moveTo>
                  <a:pt x="58" y="581"/>
                </a:moveTo>
                <a:cubicBezTo>
                  <a:pt x="18" y="581"/>
                  <a:pt x="18" y="581"/>
                  <a:pt x="18" y="581"/>
                </a:cubicBezTo>
                <a:cubicBezTo>
                  <a:pt x="18" y="551"/>
                  <a:pt x="18" y="551"/>
                  <a:pt x="18" y="551"/>
                </a:cubicBezTo>
                <a:cubicBezTo>
                  <a:pt x="58" y="551"/>
                  <a:pt x="58" y="551"/>
                  <a:pt x="58" y="551"/>
                </a:cubicBezTo>
                <a:lnTo>
                  <a:pt x="58" y="581"/>
                </a:lnTo>
                <a:close/>
                <a:moveTo>
                  <a:pt x="58" y="524"/>
                </a:moveTo>
                <a:cubicBezTo>
                  <a:pt x="18" y="524"/>
                  <a:pt x="18" y="524"/>
                  <a:pt x="18" y="524"/>
                </a:cubicBezTo>
                <a:cubicBezTo>
                  <a:pt x="18" y="494"/>
                  <a:pt x="18" y="494"/>
                  <a:pt x="18" y="494"/>
                </a:cubicBezTo>
                <a:cubicBezTo>
                  <a:pt x="58" y="494"/>
                  <a:pt x="58" y="494"/>
                  <a:pt x="58" y="494"/>
                </a:cubicBezTo>
                <a:lnTo>
                  <a:pt x="58" y="524"/>
                </a:lnTo>
                <a:close/>
                <a:moveTo>
                  <a:pt x="58" y="468"/>
                </a:moveTo>
                <a:cubicBezTo>
                  <a:pt x="18" y="468"/>
                  <a:pt x="18" y="468"/>
                  <a:pt x="18" y="468"/>
                </a:cubicBezTo>
                <a:cubicBezTo>
                  <a:pt x="18" y="438"/>
                  <a:pt x="18" y="438"/>
                  <a:pt x="18" y="438"/>
                </a:cubicBezTo>
                <a:cubicBezTo>
                  <a:pt x="58" y="438"/>
                  <a:pt x="58" y="438"/>
                  <a:pt x="58" y="438"/>
                </a:cubicBezTo>
                <a:lnTo>
                  <a:pt x="58" y="468"/>
                </a:lnTo>
                <a:close/>
                <a:moveTo>
                  <a:pt x="115" y="581"/>
                </a:moveTo>
                <a:cubicBezTo>
                  <a:pt x="75" y="581"/>
                  <a:pt x="75" y="581"/>
                  <a:pt x="75" y="581"/>
                </a:cubicBezTo>
                <a:cubicBezTo>
                  <a:pt x="75" y="551"/>
                  <a:pt x="75" y="551"/>
                  <a:pt x="75" y="551"/>
                </a:cubicBezTo>
                <a:cubicBezTo>
                  <a:pt x="115" y="551"/>
                  <a:pt x="115" y="551"/>
                  <a:pt x="115" y="551"/>
                </a:cubicBezTo>
                <a:lnTo>
                  <a:pt x="115" y="581"/>
                </a:lnTo>
                <a:close/>
                <a:moveTo>
                  <a:pt x="115" y="524"/>
                </a:moveTo>
                <a:cubicBezTo>
                  <a:pt x="75" y="524"/>
                  <a:pt x="75" y="524"/>
                  <a:pt x="75" y="524"/>
                </a:cubicBezTo>
                <a:cubicBezTo>
                  <a:pt x="75" y="494"/>
                  <a:pt x="75" y="494"/>
                  <a:pt x="75" y="494"/>
                </a:cubicBezTo>
                <a:cubicBezTo>
                  <a:pt x="115" y="494"/>
                  <a:pt x="115" y="494"/>
                  <a:pt x="115" y="494"/>
                </a:cubicBezTo>
                <a:lnTo>
                  <a:pt x="115" y="524"/>
                </a:lnTo>
                <a:close/>
                <a:moveTo>
                  <a:pt x="115" y="468"/>
                </a:moveTo>
                <a:cubicBezTo>
                  <a:pt x="75" y="468"/>
                  <a:pt x="75" y="468"/>
                  <a:pt x="75" y="468"/>
                </a:cubicBezTo>
                <a:cubicBezTo>
                  <a:pt x="75" y="438"/>
                  <a:pt x="75" y="438"/>
                  <a:pt x="75" y="438"/>
                </a:cubicBezTo>
                <a:cubicBezTo>
                  <a:pt x="115" y="438"/>
                  <a:pt x="115" y="438"/>
                  <a:pt x="115" y="438"/>
                </a:cubicBezTo>
                <a:lnTo>
                  <a:pt x="115" y="468"/>
                </a:lnTo>
                <a:close/>
                <a:moveTo>
                  <a:pt x="172" y="581"/>
                </a:moveTo>
                <a:cubicBezTo>
                  <a:pt x="132" y="581"/>
                  <a:pt x="132" y="581"/>
                  <a:pt x="132" y="581"/>
                </a:cubicBezTo>
                <a:cubicBezTo>
                  <a:pt x="132" y="551"/>
                  <a:pt x="132" y="551"/>
                  <a:pt x="132" y="551"/>
                </a:cubicBezTo>
                <a:cubicBezTo>
                  <a:pt x="172" y="551"/>
                  <a:pt x="172" y="551"/>
                  <a:pt x="172" y="551"/>
                </a:cubicBezTo>
                <a:lnTo>
                  <a:pt x="172" y="581"/>
                </a:lnTo>
                <a:close/>
                <a:moveTo>
                  <a:pt x="172" y="524"/>
                </a:moveTo>
                <a:cubicBezTo>
                  <a:pt x="132" y="524"/>
                  <a:pt x="132" y="524"/>
                  <a:pt x="132" y="524"/>
                </a:cubicBezTo>
                <a:cubicBezTo>
                  <a:pt x="132" y="494"/>
                  <a:pt x="132" y="494"/>
                  <a:pt x="132" y="494"/>
                </a:cubicBezTo>
                <a:cubicBezTo>
                  <a:pt x="172" y="494"/>
                  <a:pt x="172" y="494"/>
                  <a:pt x="172" y="494"/>
                </a:cubicBezTo>
                <a:lnTo>
                  <a:pt x="172" y="524"/>
                </a:lnTo>
                <a:close/>
                <a:moveTo>
                  <a:pt x="172" y="468"/>
                </a:moveTo>
                <a:cubicBezTo>
                  <a:pt x="132" y="468"/>
                  <a:pt x="132" y="468"/>
                  <a:pt x="132" y="468"/>
                </a:cubicBezTo>
                <a:cubicBezTo>
                  <a:pt x="132" y="438"/>
                  <a:pt x="132" y="438"/>
                  <a:pt x="132" y="438"/>
                </a:cubicBezTo>
                <a:cubicBezTo>
                  <a:pt x="172" y="438"/>
                  <a:pt x="172" y="438"/>
                  <a:pt x="172" y="438"/>
                </a:cubicBezTo>
                <a:lnTo>
                  <a:pt x="172" y="468"/>
                </a:lnTo>
                <a:close/>
                <a:moveTo>
                  <a:pt x="228" y="581"/>
                </a:moveTo>
                <a:cubicBezTo>
                  <a:pt x="188" y="581"/>
                  <a:pt x="188" y="581"/>
                  <a:pt x="188" y="581"/>
                </a:cubicBezTo>
                <a:cubicBezTo>
                  <a:pt x="188" y="551"/>
                  <a:pt x="188" y="551"/>
                  <a:pt x="188" y="551"/>
                </a:cubicBezTo>
                <a:cubicBezTo>
                  <a:pt x="228" y="551"/>
                  <a:pt x="228" y="551"/>
                  <a:pt x="228" y="551"/>
                </a:cubicBezTo>
                <a:lnTo>
                  <a:pt x="228" y="581"/>
                </a:lnTo>
                <a:close/>
                <a:moveTo>
                  <a:pt x="228" y="524"/>
                </a:moveTo>
                <a:cubicBezTo>
                  <a:pt x="188" y="524"/>
                  <a:pt x="188" y="524"/>
                  <a:pt x="188" y="524"/>
                </a:cubicBezTo>
                <a:cubicBezTo>
                  <a:pt x="188" y="494"/>
                  <a:pt x="188" y="494"/>
                  <a:pt x="188" y="494"/>
                </a:cubicBezTo>
                <a:cubicBezTo>
                  <a:pt x="228" y="494"/>
                  <a:pt x="228" y="494"/>
                  <a:pt x="228" y="494"/>
                </a:cubicBezTo>
                <a:lnTo>
                  <a:pt x="228" y="524"/>
                </a:lnTo>
                <a:close/>
                <a:moveTo>
                  <a:pt x="228" y="468"/>
                </a:moveTo>
                <a:cubicBezTo>
                  <a:pt x="188" y="468"/>
                  <a:pt x="188" y="468"/>
                  <a:pt x="188" y="468"/>
                </a:cubicBezTo>
                <a:cubicBezTo>
                  <a:pt x="188" y="438"/>
                  <a:pt x="188" y="438"/>
                  <a:pt x="188" y="438"/>
                </a:cubicBezTo>
                <a:cubicBezTo>
                  <a:pt x="228" y="438"/>
                  <a:pt x="228" y="438"/>
                  <a:pt x="228" y="438"/>
                </a:cubicBezTo>
                <a:lnTo>
                  <a:pt x="228" y="468"/>
                </a:lnTo>
                <a:close/>
                <a:moveTo>
                  <a:pt x="285" y="581"/>
                </a:moveTo>
                <a:cubicBezTo>
                  <a:pt x="245" y="581"/>
                  <a:pt x="245" y="581"/>
                  <a:pt x="245" y="581"/>
                </a:cubicBezTo>
                <a:cubicBezTo>
                  <a:pt x="245" y="551"/>
                  <a:pt x="245" y="551"/>
                  <a:pt x="245" y="551"/>
                </a:cubicBezTo>
                <a:cubicBezTo>
                  <a:pt x="285" y="551"/>
                  <a:pt x="285" y="551"/>
                  <a:pt x="285" y="551"/>
                </a:cubicBezTo>
                <a:lnTo>
                  <a:pt x="285" y="581"/>
                </a:lnTo>
                <a:close/>
                <a:moveTo>
                  <a:pt x="285" y="524"/>
                </a:moveTo>
                <a:cubicBezTo>
                  <a:pt x="245" y="524"/>
                  <a:pt x="245" y="524"/>
                  <a:pt x="245" y="524"/>
                </a:cubicBezTo>
                <a:cubicBezTo>
                  <a:pt x="245" y="494"/>
                  <a:pt x="245" y="494"/>
                  <a:pt x="245" y="494"/>
                </a:cubicBezTo>
                <a:cubicBezTo>
                  <a:pt x="285" y="494"/>
                  <a:pt x="285" y="494"/>
                  <a:pt x="285" y="494"/>
                </a:cubicBezTo>
                <a:lnTo>
                  <a:pt x="285" y="524"/>
                </a:lnTo>
                <a:close/>
                <a:moveTo>
                  <a:pt x="285" y="468"/>
                </a:moveTo>
                <a:cubicBezTo>
                  <a:pt x="245" y="468"/>
                  <a:pt x="245" y="468"/>
                  <a:pt x="245" y="468"/>
                </a:cubicBezTo>
                <a:cubicBezTo>
                  <a:pt x="245" y="438"/>
                  <a:pt x="245" y="438"/>
                  <a:pt x="245" y="438"/>
                </a:cubicBezTo>
                <a:cubicBezTo>
                  <a:pt x="285" y="438"/>
                  <a:pt x="285" y="438"/>
                  <a:pt x="285" y="438"/>
                </a:cubicBezTo>
                <a:lnTo>
                  <a:pt x="285" y="468"/>
                </a:lnTo>
                <a:close/>
                <a:moveTo>
                  <a:pt x="449" y="705"/>
                </a:moveTo>
                <a:cubicBezTo>
                  <a:pt x="396" y="705"/>
                  <a:pt x="396" y="705"/>
                  <a:pt x="396" y="705"/>
                </a:cubicBezTo>
                <a:cubicBezTo>
                  <a:pt x="396" y="675"/>
                  <a:pt x="396" y="675"/>
                  <a:pt x="396" y="675"/>
                </a:cubicBezTo>
                <a:cubicBezTo>
                  <a:pt x="449" y="675"/>
                  <a:pt x="449" y="675"/>
                  <a:pt x="449" y="675"/>
                </a:cubicBezTo>
                <a:lnTo>
                  <a:pt x="449" y="705"/>
                </a:lnTo>
                <a:close/>
                <a:moveTo>
                  <a:pt x="449" y="666"/>
                </a:moveTo>
                <a:cubicBezTo>
                  <a:pt x="396" y="666"/>
                  <a:pt x="396" y="666"/>
                  <a:pt x="396" y="666"/>
                </a:cubicBezTo>
                <a:cubicBezTo>
                  <a:pt x="396" y="636"/>
                  <a:pt x="396" y="636"/>
                  <a:pt x="396" y="636"/>
                </a:cubicBezTo>
                <a:cubicBezTo>
                  <a:pt x="449" y="636"/>
                  <a:pt x="449" y="636"/>
                  <a:pt x="449" y="636"/>
                </a:cubicBezTo>
                <a:lnTo>
                  <a:pt x="449" y="666"/>
                </a:lnTo>
                <a:close/>
                <a:moveTo>
                  <a:pt x="516" y="705"/>
                </a:moveTo>
                <a:cubicBezTo>
                  <a:pt x="463" y="705"/>
                  <a:pt x="463" y="705"/>
                  <a:pt x="463" y="705"/>
                </a:cubicBezTo>
                <a:cubicBezTo>
                  <a:pt x="463" y="675"/>
                  <a:pt x="463" y="675"/>
                  <a:pt x="463" y="675"/>
                </a:cubicBezTo>
                <a:cubicBezTo>
                  <a:pt x="516" y="675"/>
                  <a:pt x="516" y="675"/>
                  <a:pt x="516" y="675"/>
                </a:cubicBezTo>
                <a:lnTo>
                  <a:pt x="516" y="705"/>
                </a:lnTo>
                <a:close/>
                <a:moveTo>
                  <a:pt x="516" y="666"/>
                </a:moveTo>
                <a:cubicBezTo>
                  <a:pt x="463" y="666"/>
                  <a:pt x="463" y="666"/>
                  <a:pt x="463" y="666"/>
                </a:cubicBezTo>
                <a:cubicBezTo>
                  <a:pt x="463" y="636"/>
                  <a:pt x="463" y="636"/>
                  <a:pt x="463" y="636"/>
                </a:cubicBezTo>
                <a:cubicBezTo>
                  <a:pt x="516" y="636"/>
                  <a:pt x="516" y="636"/>
                  <a:pt x="516" y="636"/>
                </a:cubicBezTo>
                <a:lnTo>
                  <a:pt x="516" y="666"/>
                </a:lnTo>
                <a:close/>
                <a:moveTo>
                  <a:pt x="583" y="705"/>
                </a:moveTo>
                <a:cubicBezTo>
                  <a:pt x="530" y="705"/>
                  <a:pt x="530" y="705"/>
                  <a:pt x="530" y="705"/>
                </a:cubicBezTo>
                <a:cubicBezTo>
                  <a:pt x="530" y="675"/>
                  <a:pt x="530" y="675"/>
                  <a:pt x="530" y="675"/>
                </a:cubicBezTo>
                <a:cubicBezTo>
                  <a:pt x="583" y="675"/>
                  <a:pt x="583" y="675"/>
                  <a:pt x="583" y="675"/>
                </a:cubicBezTo>
                <a:lnTo>
                  <a:pt x="583" y="705"/>
                </a:lnTo>
                <a:close/>
                <a:moveTo>
                  <a:pt x="583" y="666"/>
                </a:moveTo>
                <a:cubicBezTo>
                  <a:pt x="530" y="666"/>
                  <a:pt x="530" y="666"/>
                  <a:pt x="530" y="666"/>
                </a:cubicBezTo>
                <a:cubicBezTo>
                  <a:pt x="530" y="636"/>
                  <a:pt x="530" y="636"/>
                  <a:pt x="530" y="636"/>
                </a:cubicBezTo>
                <a:cubicBezTo>
                  <a:pt x="583" y="636"/>
                  <a:pt x="583" y="636"/>
                  <a:pt x="583" y="636"/>
                </a:cubicBezTo>
                <a:lnTo>
                  <a:pt x="583" y="666"/>
                </a:lnTo>
                <a:close/>
                <a:moveTo>
                  <a:pt x="650" y="705"/>
                </a:moveTo>
                <a:cubicBezTo>
                  <a:pt x="597" y="705"/>
                  <a:pt x="597" y="705"/>
                  <a:pt x="597" y="705"/>
                </a:cubicBezTo>
                <a:cubicBezTo>
                  <a:pt x="597" y="675"/>
                  <a:pt x="597" y="675"/>
                  <a:pt x="597" y="675"/>
                </a:cubicBezTo>
                <a:cubicBezTo>
                  <a:pt x="650" y="675"/>
                  <a:pt x="650" y="675"/>
                  <a:pt x="650" y="675"/>
                </a:cubicBezTo>
                <a:lnTo>
                  <a:pt x="650" y="705"/>
                </a:lnTo>
                <a:close/>
                <a:moveTo>
                  <a:pt x="650" y="666"/>
                </a:moveTo>
                <a:cubicBezTo>
                  <a:pt x="597" y="666"/>
                  <a:pt x="597" y="666"/>
                  <a:pt x="597" y="666"/>
                </a:cubicBezTo>
                <a:cubicBezTo>
                  <a:pt x="597" y="636"/>
                  <a:pt x="597" y="636"/>
                  <a:pt x="597" y="636"/>
                </a:cubicBezTo>
                <a:cubicBezTo>
                  <a:pt x="650" y="636"/>
                  <a:pt x="650" y="636"/>
                  <a:pt x="650" y="636"/>
                </a:cubicBezTo>
                <a:lnTo>
                  <a:pt x="650" y="666"/>
                </a:lnTo>
                <a:close/>
                <a:moveTo>
                  <a:pt x="717" y="705"/>
                </a:moveTo>
                <a:cubicBezTo>
                  <a:pt x="664" y="705"/>
                  <a:pt x="664" y="705"/>
                  <a:pt x="664" y="705"/>
                </a:cubicBezTo>
                <a:cubicBezTo>
                  <a:pt x="664" y="675"/>
                  <a:pt x="664" y="675"/>
                  <a:pt x="664" y="675"/>
                </a:cubicBezTo>
                <a:cubicBezTo>
                  <a:pt x="717" y="675"/>
                  <a:pt x="717" y="675"/>
                  <a:pt x="717" y="675"/>
                </a:cubicBezTo>
                <a:lnTo>
                  <a:pt x="717" y="705"/>
                </a:lnTo>
                <a:close/>
                <a:moveTo>
                  <a:pt x="717" y="666"/>
                </a:moveTo>
                <a:cubicBezTo>
                  <a:pt x="664" y="666"/>
                  <a:pt x="664" y="666"/>
                  <a:pt x="664" y="666"/>
                </a:cubicBezTo>
                <a:cubicBezTo>
                  <a:pt x="664" y="636"/>
                  <a:pt x="664" y="636"/>
                  <a:pt x="664" y="636"/>
                </a:cubicBezTo>
                <a:cubicBezTo>
                  <a:pt x="717" y="636"/>
                  <a:pt x="717" y="636"/>
                  <a:pt x="717" y="636"/>
                </a:cubicBezTo>
                <a:lnTo>
                  <a:pt x="717" y="666"/>
                </a:lnTo>
                <a:close/>
                <a:moveTo>
                  <a:pt x="1226" y="452"/>
                </a:moveTo>
                <a:cubicBezTo>
                  <a:pt x="1256" y="452"/>
                  <a:pt x="1256" y="452"/>
                  <a:pt x="1256" y="452"/>
                </a:cubicBezTo>
                <a:cubicBezTo>
                  <a:pt x="1256" y="598"/>
                  <a:pt x="1256" y="598"/>
                  <a:pt x="1256" y="598"/>
                </a:cubicBezTo>
                <a:cubicBezTo>
                  <a:pt x="1226" y="598"/>
                  <a:pt x="1226" y="598"/>
                  <a:pt x="1226" y="598"/>
                </a:cubicBezTo>
                <a:lnTo>
                  <a:pt x="1226" y="452"/>
                </a:lnTo>
                <a:close/>
                <a:moveTo>
                  <a:pt x="1272" y="682"/>
                </a:moveTo>
                <a:cubicBezTo>
                  <a:pt x="1235" y="682"/>
                  <a:pt x="1235" y="682"/>
                  <a:pt x="1235" y="682"/>
                </a:cubicBezTo>
                <a:cubicBezTo>
                  <a:pt x="1235" y="646"/>
                  <a:pt x="1235" y="646"/>
                  <a:pt x="1235" y="646"/>
                </a:cubicBezTo>
                <a:cubicBezTo>
                  <a:pt x="1272" y="646"/>
                  <a:pt x="1272" y="646"/>
                  <a:pt x="1272" y="646"/>
                </a:cubicBezTo>
                <a:lnTo>
                  <a:pt x="1272" y="682"/>
                </a:lnTo>
                <a:close/>
                <a:moveTo>
                  <a:pt x="1318" y="682"/>
                </a:moveTo>
                <a:cubicBezTo>
                  <a:pt x="1281" y="682"/>
                  <a:pt x="1281" y="682"/>
                  <a:pt x="1281" y="682"/>
                </a:cubicBezTo>
                <a:cubicBezTo>
                  <a:pt x="1281" y="646"/>
                  <a:pt x="1281" y="646"/>
                  <a:pt x="1281" y="646"/>
                </a:cubicBezTo>
                <a:cubicBezTo>
                  <a:pt x="1318" y="646"/>
                  <a:pt x="1318" y="646"/>
                  <a:pt x="1318" y="646"/>
                </a:cubicBezTo>
                <a:lnTo>
                  <a:pt x="1318" y="682"/>
                </a:lnTo>
                <a:close/>
                <a:moveTo>
                  <a:pt x="1364" y="682"/>
                </a:moveTo>
                <a:cubicBezTo>
                  <a:pt x="1327" y="682"/>
                  <a:pt x="1327" y="682"/>
                  <a:pt x="1327" y="682"/>
                </a:cubicBezTo>
                <a:cubicBezTo>
                  <a:pt x="1327" y="646"/>
                  <a:pt x="1327" y="646"/>
                  <a:pt x="1327" y="646"/>
                </a:cubicBezTo>
                <a:cubicBezTo>
                  <a:pt x="1364" y="646"/>
                  <a:pt x="1364" y="646"/>
                  <a:pt x="1364" y="646"/>
                </a:cubicBezTo>
                <a:lnTo>
                  <a:pt x="1364" y="682"/>
                </a:lnTo>
                <a:close/>
                <a:moveTo>
                  <a:pt x="1421" y="521"/>
                </a:moveTo>
                <a:cubicBezTo>
                  <a:pt x="1408" y="521"/>
                  <a:pt x="1408" y="521"/>
                  <a:pt x="1408" y="521"/>
                </a:cubicBezTo>
                <a:cubicBezTo>
                  <a:pt x="1408" y="605"/>
                  <a:pt x="1408" y="605"/>
                  <a:pt x="1408" y="605"/>
                </a:cubicBezTo>
                <a:cubicBezTo>
                  <a:pt x="1346" y="605"/>
                  <a:pt x="1346" y="605"/>
                  <a:pt x="1346" y="605"/>
                </a:cubicBezTo>
                <a:cubicBezTo>
                  <a:pt x="1346" y="422"/>
                  <a:pt x="1346" y="422"/>
                  <a:pt x="1346" y="422"/>
                </a:cubicBezTo>
                <a:cubicBezTo>
                  <a:pt x="1363" y="422"/>
                  <a:pt x="1363" y="422"/>
                  <a:pt x="1363" y="422"/>
                </a:cubicBezTo>
                <a:cubicBezTo>
                  <a:pt x="1363" y="486"/>
                  <a:pt x="1363" y="486"/>
                  <a:pt x="1363" y="486"/>
                </a:cubicBezTo>
                <a:cubicBezTo>
                  <a:pt x="1421" y="486"/>
                  <a:pt x="1421" y="486"/>
                  <a:pt x="1421" y="486"/>
                </a:cubicBezTo>
                <a:lnTo>
                  <a:pt x="1421" y="521"/>
                </a:lnTo>
                <a:close/>
                <a:moveTo>
                  <a:pt x="1421" y="468"/>
                </a:moveTo>
                <a:cubicBezTo>
                  <a:pt x="1381" y="468"/>
                  <a:pt x="1381" y="468"/>
                  <a:pt x="1381" y="468"/>
                </a:cubicBezTo>
                <a:cubicBezTo>
                  <a:pt x="1381" y="404"/>
                  <a:pt x="1381" y="404"/>
                  <a:pt x="1381" y="404"/>
                </a:cubicBezTo>
                <a:cubicBezTo>
                  <a:pt x="1346" y="404"/>
                  <a:pt x="1346" y="404"/>
                  <a:pt x="1346" y="404"/>
                </a:cubicBezTo>
                <a:cubicBezTo>
                  <a:pt x="1346" y="388"/>
                  <a:pt x="1346" y="388"/>
                  <a:pt x="1346" y="388"/>
                </a:cubicBezTo>
                <a:cubicBezTo>
                  <a:pt x="1346" y="359"/>
                  <a:pt x="1332" y="333"/>
                  <a:pt x="1308" y="317"/>
                </a:cubicBezTo>
                <a:cubicBezTo>
                  <a:pt x="1308" y="317"/>
                  <a:pt x="1308" y="317"/>
                  <a:pt x="1308" y="317"/>
                </a:cubicBezTo>
                <a:cubicBezTo>
                  <a:pt x="1308" y="293"/>
                  <a:pt x="1308" y="293"/>
                  <a:pt x="1308" y="293"/>
                </a:cubicBezTo>
                <a:cubicBezTo>
                  <a:pt x="1391" y="293"/>
                  <a:pt x="1391" y="293"/>
                  <a:pt x="1391" y="293"/>
                </a:cubicBezTo>
                <a:cubicBezTo>
                  <a:pt x="1391" y="440"/>
                  <a:pt x="1391" y="440"/>
                  <a:pt x="1391" y="440"/>
                </a:cubicBezTo>
                <a:cubicBezTo>
                  <a:pt x="1421" y="440"/>
                  <a:pt x="1421" y="440"/>
                  <a:pt x="1421" y="440"/>
                </a:cubicBezTo>
                <a:lnTo>
                  <a:pt x="1421" y="468"/>
                </a:lnTo>
                <a:close/>
                <a:moveTo>
                  <a:pt x="1448" y="521"/>
                </a:moveTo>
                <a:cubicBezTo>
                  <a:pt x="1439" y="521"/>
                  <a:pt x="1439" y="521"/>
                  <a:pt x="1439" y="521"/>
                </a:cubicBezTo>
                <a:cubicBezTo>
                  <a:pt x="1439" y="486"/>
                  <a:pt x="1439" y="486"/>
                  <a:pt x="1439" y="486"/>
                </a:cubicBezTo>
                <a:cubicBezTo>
                  <a:pt x="1448" y="486"/>
                  <a:pt x="1448" y="486"/>
                  <a:pt x="1448" y="486"/>
                </a:cubicBezTo>
                <a:lnTo>
                  <a:pt x="1448" y="521"/>
                </a:lnTo>
                <a:close/>
                <a:moveTo>
                  <a:pt x="1448" y="468"/>
                </a:moveTo>
                <a:cubicBezTo>
                  <a:pt x="1439" y="468"/>
                  <a:pt x="1439" y="468"/>
                  <a:pt x="1439" y="468"/>
                </a:cubicBezTo>
                <a:cubicBezTo>
                  <a:pt x="1439" y="440"/>
                  <a:pt x="1439" y="440"/>
                  <a:pt x="1439" y="440"/>
                </a:cubicBezTo>
                <a:cubicBezTo>
                  <a:pt x="1448" y="440"/>
                  <a:pt x="1448" y="440"/>
                  <a:pt x="1448" y="440"/>
                </a:cubicBezTo>
                <a:lnTo>
                  <a:pt x="1448" y="468"/>
                </a:lnTo>
                <a:close/>
                <a:moveTo>
                  <a:pt x="1448" y="422"/>
                </a:moveTo>
                <a:cubicBezTo>
                  <a:pt x="1439" y="422"/>
                  <a:pt x="1439" y="422"/>
                  <a:pt x="1439" y="422"/>
                </a:cubicBezTo>
                <a:cubicBezTo>
                  <a:pt x="1439" y="398"/>
                  <a:pt x="1439" y="398"/>
                  <a:pt x="1439" y="398"/>
                </a:cubicBezTo>
                <a:cubicBezTo>
                  <a:pt x="1448" y="398"/>
                  <a:pt x="1448" y="398"/>
                  <a:pt x="1448" y="398"/>
                </a:cubicBezTo>
                <a:lnTo>
                  <a:pt x="1448" y="42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2" name="Group 78">
            <a:extLst>
              <a:ext uri="{FF2B5EF4-FFF2-40B4-BE49-F238E27FC236}">
                <a16:creationId xmlns:a16="http://schemas.microsoft.com/office/drawing/2014/main" xmlns="" id="{EFD27621-E6E3-4751-9C00-7ABB2FB314C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91029" y="2108534"/>
            <a:ext cx="1023539" cy="485676"/>
            <a:chOff x="2582" y="-303"/>
            <a:chExt cx="3138" cy="1489"/>
          </a:xfrm>
          <a:solidFill>
            <a:schemeClr val="accent6"/>
          </a:solidFill>
        </p:grpSpPr>
        <p:sp>
          <p:nvSpPr>
            <p:cNvPr id="23" name="Rectangle 79">
              <a:extLst>
                <a:ext uri="{FF2B5EF4-FFF2-40B4-BE49-F238E27FC236}">
                  <a16:creationId xmlns:a16="http://schemas.microsoft.com/office/drawing/2014/main" xmlns="" id="{A8AC422F-2BA3-4512-8058-F3839596F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2" y="1106"/>
              <a:ext cx="3138" cy="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80">
              <a:extLst>
                <a:ext uri="{FF2B5EF4-FFF2-40B4-BE49-F238E27FC236}">
                  <a16:creationId xmlns:a16="http://schemas.microsoft.com/office/drawing/2014/main" xmlns="" id="{2DCE3131-8C48-40EA-9EDD-3367687BD9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-227"/>
              <a:ext cx="2808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81">
              <a:extLst>
                <a:ext uri="{FF2B5EF4-FFF2-40B4-BE49-F238E27FC236}">
                  <a16:creationId xmlns:a16="http://schemas.microsoft.com/office/drawing/2014/main" xmlns="" id="{7A85BB7E-B13A-4CAA-B22F-B9051FDF4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0" y="-272"/>
              <a:ext cx="294" cy="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Rectangle 82">
              <a:extLst>
                <a:ext uri="{FF2B5EF4-FFF2-40B4-BE49-F238E27FC236}">
                  <a16:creationId xmlns:a16="http://schemas.microsoft.com/office/drawing/2014/main" xmlns="" id="{135139C0-7CCC-4872-9A56-ED12D1AA5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6" y="-303"/>
              <a:ext cx="89" cy="8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83">
              <a:extLst>
                <a:ext uri="{FF2B5EF4-FFF2-40B4-BE49-F238E27FC236}">
                  <a16:creationId xmlns:a16="http://schemas.microsoft.com/office/drawing/2014/main" xmlns="" id="{4357B144-1AD8-4CEA-898F-BACAF8A1A3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" y="-303"/>
              <a:ext cx="310" cy="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Rectangle 84">
              <a:extLst>
                <a:ext uri="{FF2B5EF4-FFF2-40B4-BE49-F238E27FC236}">
                  <a16:creationId xmlns:a16="http://schemas.microsoft.com/office/drawing/2014/main" xmlns="" id="{005AFFDB-2DA9-4C09-95B4-F56BC56C7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" y="-284"/>
              <a:ext cx="92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85">
              <a:extLst>
                <a:ext uri="{FF2B5EF4-FFF2-40B4-BE49-F238E27FC236}">
                  <a16:creationId xmlns:a16="http://schemas.microsoft.com/office/drawing/2014/main" xmlns="" id="{582DD48D-4261-483C-948A-5769CE492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" y="-284"/>
              <a:ext cx="92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86">
              <a:extLst>
                <a:ext uri="{FF2B5EF4-FFF2-40B4-BE49-F238E27FC236}">
                  <a16:creationId xmlns:a16="http://schemas.microsoft.com/office/drawing/2014/main" xmlns="" id="{F8B97F05-30E2-4C8B-8555-B678E6626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" y="389"/>
              <a:ext cx="33" cy="45"/>
            </a:xfrm>
            <a:custGeom>
              <a:avLst/>
              <a:gdLst>
                <a:gd name="T0" fmla="*/ 16 w 16"/>
                <a:gd name="T1" fmla="*/ 11 h 22"/>
                <a:gd name="T2" fmla="*/ 12 w 16"/>
                <a:gd name="T3" fmla="*/ 1 h 22"/>
                <a:gd name="T4" fmla="*/ 0 w 16"/>
                <a:gd name="T5" fmla="*/ 0 h 22"/>
                <a:gd name="T6" fmla="*/ 0 w 16"/>
                <a:gd name="T7" fmla="*/ 22 h 22"/>
                <a:gd name="T8" fmla="*/ 11 w 16"/>
                <a:gd name="T9" fmla="*/ 22 h 22"/>
                <a:gd name="T10" fmla="*/ 16 w 16"/>
                <a:gd name="T1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6" y="11"/>
                  </a:moveTo>
                  <a:cubicBezTo>
                    <a:pt x="16" y="5"/>
                    <a:pt x="14" y="3"/>
                    <a:pt x="12" y="1"/>
                  </a:cubicBezTo>
                  <a:cubicBezTo>
                    <a:pt x="10" y="0"/>
                    <a:pt x="8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8" y="22"/>
                    <a:pt x="9" y="22"/>
                    <a:pt x="11" y="22"/>
                  </a:cubicBezTo>
                  <a:cubicBezTo>
                    <a:pt x="16" y="20"/>
                    <a:pt x="16" y="15"/>
                    <a:pt x="1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7">
              <a:extLst>
                <a:ext uri="{FF2B5EF4-FFF2-40B4-BE49-F238E27FC236}">
                  <a16:creationId xmlns:a16="http://schemas.microsoft.com/office/drawing/2014/main" xmlns="" id="{3FC03D71-B40C-404F-9248-4A59AF942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" y="391"/>
              <a:ext cx="33" cy="48"/>
            </a:xfrm>
            <a:custGeom>
              <a:avLst/>
              <a:gdLst>
                <a:gd name="T0" fmla="*/ 12 w 16"/>
                <a:gd name="T1" fmla="*/ 1 h 23"/>
                <a:gd name="T2" fmla="*/ 0 w 16"/>
                <a:gd name="T3" fmla="*/ 0 h 23"/>
                <a:gd name="T4" fmla="*/ 0 w 16"/>
                <a:gd name="T5" fmla="*/ 23 h 23"/>
                <a:gd name="T6" fmla="*/ 11 w 16"/>
                <a:gd name="T7" fmla="*/ 23 h 23"/>
                <a:gd name="T8" fmla="*/ 16 w 16"/>
                <a:gd name="T9" fmla="*/ 12 h 23"/>
                <a:gd name="T10" fmla="*/ 12 w 16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3">
                  <a:moveTo>
                    <a:pt x="12" y="1"/>
                  </a:moveTo>
                  <a:cubicBezTo>
                    <a:pt x="10" y="0"/>
                    <a:pt x="9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" y="23"/>
                    <a:pt x="10" y="23"/>
                    <a:pt x="11" y="23"/>
                  </a:cubicBezTo>
                  <a:cubicBezTo>
                    <a:pt x="12" y="22"/>
                    <a:pt x="16" y="20"/>
                    <a:pt x="16" y="12"/>
                  </a:cubicBezTo>
                  <a:cubicBezTo>
                    <a:pt x="16" y="4"/>
                    <a:pt x="14" y="2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88">
              <a:extLst>
                <a:ext uri="{FF2B5EF4-FFF2-40B4-BE49-F238E27FC236}">
                  <a16:creationId xmlns:a16="http://schemas.microsoft.com/office/drawing/2014/main" xmlns="" id="{1A79B5B0-81A2-4D2C-B2E9-36DC85220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" y="389"/>
              <a:ext cx="33" cy="45"/>
            </a:xfrm>
            <a:custGeom>
              <a:avLst/>
              <a:gdLst>
                <a:gd name="T0" fmla="*/ 11 w 16"/>
                <a:gd name="T1" fmla="*/ 1 h 22"/>
                <a:gd name="T2" fmla="*/ 0 w 16"/>
                <a:gd name="T3" fmla="*/ 0 h 22"/>
                <a:gd name="T4" fmla="*/ 0 w 16"/>
                <a:gd name="T5" fmla="*/ 22 h 22"/>
                <a:gd name="T6" fmla="*/ 11 w 16"/>
                <a:gd name="T7" fmla="*/ 22 h 22"/>
                <a:gd name="T8" fmla="*/ 16 w 16"/>
                <a:gd name="T9" fmla="*/ 11 h 22"/>
                <a:gd name="T10" fmla="*/ 11 w 16"/>
                <a:gd name="T1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2">
                  <a:moveTo>
                    <a:pt x="11" y="1"/>
                  </a:moveTo>
                  <a:cubicBezTo>
                    <a:pt x="9" y="0"/>
                    <a:pt x="8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8" y="22"/>
                    <a:pt x="9" y="22"/>
                    <a:pt x="11" y="22"/>
                  </a:cubicBezTo>
                  <a:cubicBezTo>
                    <a:pt x="15" y="20"/>
                    <a:pt x="16" y="15"/>
                    <a:pt x="16" y="11"/>
                  </a:cubicBezTo>
                  <a:cubicBezTo>
                    <a:pt x="16" y="5"/>
                    <a:pt x="14" y="3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89">
              <a:extLst>
                <a:ext uri="{FF2B5EF4-FFF2-40B4-BE49-F238E27FC236}">
                  <a16:creationId xmlns:a16="http://schemas.microsoft.com/office/drawing/2014/main" xmlns="" id="{4C65E4BA-DE36-4F3C-ABFB-5A581A9519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5" y="-146"/>
              <a:ext cx="2752" cy="1231"/>
            </a:xfrm>
            <a:custGeom>
              <a:avLst/>
              <a:gdLst>
                <a:gd name="T0" fmla="*/ 356 w 1339"/>
                <a:gd name="T1" fmla="*/ 598 h 598"/>
                <a:gd name="T2" fmla="*/ 1339 w 1339"/>
                <a:gd name="T3" fmla="*/ 0 h 598"/>
                <a:gd name="T4" fmla="*/ 846 w 1339"/>
                <a:gd name="T5" fmla="*/ 286 h 598"/>
                <a:gd name="T6" fmla="*/ 883 w 1339"/>
                <a:gd name="T7" fmla="*/ 327 h 598"/>
                <a:gd name="T8" fmla="*/ 748 w 1339"/>
                <a:gd name="T9" fmla="*/ 185 h 598"/>
                <a:gd name="T10" fmla="*/ 831 w 1339"/>
                <a:gd name="T11" fmla="*/ 327 h 598"/>
                <a:gd name="T12" fmla="*/ 750 w 1339"/>
                <a:gd name="T13" fmla="*/ 327 h 598"/>
                <a:gd name="T14" fmla="*/ 710 w 1339"/>
                <a:gd name="T15" fmla="*/ 327 h 598"/>
                <a:gd name="T16" fmla="*/ 605 w 1339"/>
                <a:gd name="T17" fmla="*/ 82 h 598"/>
                <a:gd name="T18" fmla="*/ 605 w 1339"/>
                <a:gd name="T19" fmla="*/ 82 h 598"/>
                <a:gd name="T20" fmla="*/ 611 w 1339"/>
                <a:gd name="T21" fmla="*/ 327 h 598"/>
                <a:gd name="T22" fmla="*/ 580 w 1339"/>
                <a:gd name="T23" fmla="*/ 327 h 598"/>
                <a:gd name="T24" fmla="*/ 462 w 1339"/>
                <a:gd name="T25" fmla="*/ 82 h 598"/>
                <a:gd name="T26" fmla="*/ 462 w 1339"/>
                <a:gd name="T27" fmla="*/ 82 h 598"/>
                <a:gd name="T28" fmla="*/ 537 w 1339"/>
                <a:gd name="T29" fmla="*/ 313 h 598"/>
                <a:gd name="T30" fmla="*/ 523 w 1339"/>
                <a:gd name="T31" fmla="*/ 248 h 598"/>
                <a:gd name="T32" fmla="*/ 536 w 1339"/>
                <a:gd name="T33" fmla="*/ 279 h 598"/>
                <a:gd name="T34" fmla="*/ 487 w 1339"/>
                <a:gd name="T35" fmla="*/ 297 h 598"/>
                <a:gd name="T36" fmla="*/ 465 w 1339"/>
                <a:gd name="T37" fmla="*/ 248 h 598"/>
                <a:gd name="T38" fmla="*/ 162 w 1339"/>
                <a:gd name="T39" fmla="*/ 185 h 598"/>
                <a:gd name="T40" fmla="*/ 162 w 1339"/>
                <a:gd name="T41" fmla="*/ 185 h 598"/>
                <a:gd name="T42" fmla="*/ 305 w 1339"/>
                <a:gd name="T43" fmla="*/ 82 h 598"/>
                <a:gd name="T44" fmla="*/ 448 w 1339"/>
                <a:gd name="T45" fmla="*/ 185 h 598"/>
                <a:gd name="T46" fmla="*/ 369 w 1339"/>
                <a:gd name="T47" fmla="*/ 330 h 598"/>
                <a:gd name="T48" fmla="*/ 377 w 1339"/>
                <a:gd name="T49" fmla="*/ 306 h 598"/>
                <a:gd name="T50" fmla="*/ 389 w 1339"/>
                <a:gd name="T51" fmla="*/ 261 h 598"/>
                <a:gd name="T52" fmla="*/ 368 w 1339"/>
                <a:gd name="T53" fmla="*/ 278 h 598"/>
                <a:gd name="T54" fmla="*/ 381 w 1339"/>
                <a:gd name="T55" fmla="*/ 326 h 598"/>
                <a:gd name="T56" fmla="*/ 417 w 1339"/>
                <a:gd name="T57" fmla="*/ 300 h 598"/>
                <a:gd name="T58" fmla="*/ 449 w 1339"/>
                <a:gd name="T59" fmla="*/ 248 h 598"/>
                <a:gd name="T60" fmla="*/ 409 w 1339"/>
                <a:gd name="T61" fmla="*/ 323 h 598"/>
                <a:gd name="T62" fmla="*/ 410 w 1339"/>
                <a:gd name="T63" fmla="*/ 384 h 598"/>
                <a:gd name="T64" fmla="*/ 543 w 1339"/>
                <a:gd name="T65" fmla="*/ 580 h 598"/>
                <a:gd name="T66" fmla="*/ 664 w 1339"/>
                <a:gd name="T67" fmla="*/ 327 h 598"/>
                <a:gd name="T68" fmla="*/ 651 w 1339"/>
                <a:gd name="T69" fmla="*/ 327 h 598"/>
                <a:gd name="T70" fmla="*/ 665 w 1339"/>
                <a:gd name="T71" fmla="*/ 281 h 598"/>
                <a:gd name="T72" fmla="*/ 673 w 1339"/>
                <a:gd name="T73" fmla="*/ 281 h 598"/>
                <a:gd name="T74" fmla="*/ 687 w 1339"/>
                <a:gd name="T75" fmla="*/ 327 h 598"/>
                <a:gd name="T76" fmla="*/ 674 w 1339"/>
                <a:gd name="T77" fmla="*/ 327 h 598"/>
                <a:gd name="T78" fmla="*/ 677 w 1339"/>
                <a:gd name="T79" fmla="*/ 384 h 598"/>
                <a:gd name="T80" fmla="*/ 787 w 1339"/>
                <a:gd name="T81" fmla="*/ 295 h 598"/>
                <a:gd name="T82" fmla="*/ 793 w 1339"/>
                <a:gd name="T83" fmla="*/ 248 h 598"/>
                <a:gd name="T84" fmla="*/ 803 w 1339"/>
                <a:gd name="T85" fmla="*/ 327 h 598"/>
                <a:gd name="T86" fmla="*/ 810 w 1339"/>
                <a:gd name="T87" fmla="*/ 384 h 598"/>
                <a:gd name="T88" fmla="*/ 894 w 1339"/>
                <a:gd name="T89" fmla="*/ 327 h 598"/>
                <a:gd name="T90" fmla="*/ 907 w 1339"/>
                <a:gd name="T91" fmla="*/ 263 h 598"/>
                <a:gd name="T92" fmla="*/ 908 w 1339"/>
                <a:gd name="T93" fmla="*/ 294 h 598"/>
                <a:gd name="T94" fmla="*/ 994 w 1339"/>
                <a:gd name="T95" fmla="*/ 263 h 598"/>
                <a:gd name="T96" fmla="*/ 963 w 1339"/>
                <a:gd name="T97" fmla="*/ 263 h 598"/>
                <a:gd name="T98" fmla="*/ 994 w 1339"/>
                <a:gd name="T99" fmla="*/ 263 h 598"/>
                <a:gd name="T100" fmla="*/ 1020 w 1339"/>
                <a:gd name="T101" fmla="*/ 82 h 598"/>
                <a:gd name="T102" fmla="*/ 1034 w 1339"/>
                <a:gd name="T103" fmla="*/ 82 h 598"/>
                <a:gd name="T104" fmla="*/ 1177 w 1339"/>
                <a:gd name="T105" fmla="*/ 185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39" h="598">
                  <a:moveTo>
                    <a:pt x="0" y="0"/>
                  </a:moveTo>
                  <a:cubicBezTo>
                    <a:pt x="0" y="598"/>
                    <a:pt x="0" y="598"/>
                    <a:pt x="0" y="598"/>
                  </a:cubicBezTo>
                  <a:cubicBezTo>
                    <a:pt x="348" y="598"/>
                    <a:pt x="348" y="598"/>
                    <a:pt x="348" y="598"/>
                  </a:cubicBezTo>
                  <a:cubicBezTo>
                    <a:pt x="356" y="598"/>
                    <a:pt x="356" y="598"/>
                    <a:pt x="356" y="598"/>
                  </a:cubicBezTo>
                  <a:cubicBezTo>
                    <a:pt x="983" y="598"/>
                    <a:pt x="983" y="598"/>
                    <a:pt x="983" y="598"/>
                  </a:cubicBezTo>
                  <a:cubicBezTo>
                    <a:pt x="991" y="598"/>
                    <a:pt x="991" y="598"/>
                    <a:pt x="991" y="598"/>
                  </a:cubicBezTo>
                  <a:cubicBezTo>
                    <a:pt x="1339" y="598"/>
                    <a:pt x="1339" y="598"/>
                    <a:pt x="1339" y="598"/>
                  </a:cubicBezTo>
                  <a:cubicBezTo>
                    <a:pt x="1339" y="0"/>
                    <a:pt x="1339" y="0"/>
                    <a:pt x="1339" y="0"/>
                  </a:cubicBezTo>
                  <a:lnTo>
                    <a:pt x="0" y="0"/>
                  </a:lnTo>
                  <a:close/>
                  <a:moveTo>
                    <a:pt x="883" y="327"/>
                  </a:moveTo>
                  <a:cubicBezTo>
                    <a:pt x="867" y="327"/>
                    <a:pt x="867" y="327"/>
                    <a:pt x="867" y="327"/>
                  </a:cubicBezTo>
                  <a:cubicBezTo>
                    <a:pt x="846" y="286"/>
                    <a:pt x="846" y="286"/>
                    <a:pt x="846" y="286"/>
                  </a:cubicBezTo>
                  <a:cubicBezTo>
                    <a:pt x="865" y="248"/>
                    <a:pt x="865" y="248"/>
                    <a:pt x="865" y="248"/>
                  </a:cubicBezTo>
                  <a:cubicBezTo>
                    <a:pt x="880" y="248"/>
                    <a:pt x="880" y="248"/>
                    <a:pt x="880" y="248"/>
                  </a:cubicBezTo>
                  <a:cubicBezTo>
                    <a:pt x="861" y="285"/>
                    <a:pt x="861" y="285"/>
                    <a:pt x="861" y="285"/>
                  </a:cubicBezTo>
                  <a:lnTo>
                    <a:pt x="883" y="327"/>
                  </a:lnTo>
                  <a:close/>
                  <a:moveTo>
                    <a:pt x="748" y="82"/>
                  </a:moveTo>
                  <a:cubicBezTo>
                    <a:pt x="877" y="82"/>
                    <a:pt x="877" y="82"/>
                    <a:pt x="877" y="82"/>
                  </a:cubicBezTo>
                  <a:cubicBezTo>
                    <a:pt x="877" y="185"/>
                    <a:pt x="877" y="185"/>
                    <a:pt x="877" y="185"/>
                  </a:cubicBezTo>
                  <a:cubicBezTo>
                    <a:pt x="748" y="185"/>
                    <a:pt x="748" y="185"/>
                    <a:pt x="748" y="185"/>
                  </a:cubicBezTo>
                  <a:lnTo>
                    <a:pt x="748" y="82"/>
                  </a:lnTo>
                  <a:close/>
                  <a:moveTo>
                    <a:pt x="845" y="248"/>
                  </a:moveTo>
                  <a:cubicBezTo>
                    <a:pt x="845" y="327"/>
                    <a:pt x="845" y="327"/>
                    <a:pt x="845" y="327"/>
                  </a:cubicBezTo>
                  <a:cubicBezTo>
                    <a:pt x="831" y="327"/>
                    <a:pt x="831" y="327"/>
                    <a:pt x="831" y="327"/>
                  </a:cubicBezTo>
                  <a:cubicBezTo>
                    <a:pt x="831" y="248"/>
                    <a:pt x="831" y="248"/>
                    <a:pt x="831" y="248"/>
                  </a:cubicBezTo>
                  <a:lnTo>
                    <a:pt x="845" y="248"/>
                  </a:lnTo>
                  <a:close/>
                  <a:moveTo>
                    <a:pt x="763" y="327"/>
                  </a:moveTo>
                  <a:cubicBezTo>
                    <a:pt x="750" y="327"/>
                    <a:pt x="750" y="327"/>
                    <a:pt x="750" y="327"/>
                  </a:cubicBezTo>
                  <a:cubicBezTo>
                    <a:pt x="746" y="312"/>
                    <a:pt x="746" y="312"/>
                    <a:pt x="746" y="312"/>
                  </a:cubicBezTo>
                  <a:cubicBezTo>
                    <a:pt x="727" y="312"/>
                    <a:pt x="727" y="312"/>
                    <a:pt x="727" y="312"/>
                  </a:cubicBezTo>
                  <a:cubicBezTo>
                    <a:pt x="724" y="327"/>
                    <a:pt x="724" y="327"/>
                    <a:pt x="724" y="327"/>
                  </a:cubicBezTo>
                  <a:cubicBezTo>
                    <a:pt x="710" y="327"/>
                    <a:pt x="710" y="327"/>
                    <a:pt x="710" y="327"/>
                  </a:cubicBezTo>
                  <a:cubicBezTo>
                    <a:pt x="728" y="248"/>
                    <a:pt x="728" y="248"/>
                    <a:pt x="728" y="248"/>
                  </a:cubicBezTo>
                  <a:cubicBezTo>
                    <a:pt x="745" y="248"/>
                    <a:pt x="745" y="248"/>
                    <a:pt x="745" y="248"/>
                  </a:cubicBezTo>
                  <a:lnTo>
                    <a:pt x="763" y="327"/>
                  </a:lnTo>
                  <a:close/>
                  <a:moveTo>
                    <a:pt x="605" y="82"/>
                  </a:moveTo>
                  <a:cubicBezTo>
                    <a:pt x="734" y="82"/>
                    <a:pt x="734" y="82"/>
                    <a:pt x="734" y="82"/>
                  </a:cubicBezTo>
                  <a:cubicBezTo>
                    <a:pt x="734" y="185"/>
                    <a:pt x="734" y="185"/>
                    <a:pt x="734" y="185"/>
                  </a:cubicBezTo>
                  <a:cubicBezTo>
                    <a:pt x="605" y="185"/>
                    <a:pt x="605" y="185"/>
                    <a:pt x="605" y="185"/>
                  </a:cubicBezTo>
                  <a:lnTo>
                    <a:pt x="605" y="82"/>
                  </a:lnTo>
                  <a:close/>
                  <a:moveTo>
                    <a:pt x="624" y="271"/>
                  </a:moveTo>
                  <a:cubicBezTo>
                    <a:pt x="624" y="281"/>
                    <a:pt x="621" y="289"/>
                    <a:pt x="612" y="292"/>
                  </a:cubicBezTo>
                  <a:cubicBezTo>
                    <a:pt x="626" y="327"/>
                    <a:pt x="626" y="327"/>
                    <a:pt x="626" y="327"/>
                  </a:cubicBezTo>
                  <a:cubicBezTo>
                    <a:pt x="611" y="327"/>
                    <a:pt x="611" y="327"/>
                    <a:pt x="611" y="327"/>
                  </a:cubicBezTo>
                  <a:cubicBezTo>
                    <a:pt x="599" y="295"/>
                    <a:pt x="599" y="295"/>
                    <a:pt x="599" y="295"/>
                  </a:cubicBezTo>
                  <a:cubicBezTo>
                    <a:pt x="594" y="295"/>
                    <a:pt x="594" y="295"/>
                    <a:pt x="594" y="295"/>
                  </a:cubicBezTo>
                  <a:cubicBezTo>
                    <a:pt x="594" y="327"/>
                    <a:pt x="594" y="327"/>
                    <a:pt x="594" y="327"/>
                  </a:cubicBezTo>
                  <a:cubicBezTo>
                    <a:pt x="580" y="327"/>
                    <a:pt x="580" y="327"/>
                    <a:pt x="580" y="327"/>
                  </a:cubicBezTo>
                  <a:cubicBezTo>
                    <a:pt x="580" y="248"/>
                    <a:pt x="580" y="248"/>
                    <a:pt x="580" y="248"/>
                  </a:cubicBezTo>
                  <a:cubicBezTo>
                    <a:pt x="601" y="248"/>
                    <a:pt x="601" y="248"/>
                    <a:pt x="601" y="248"/>
                  </a:cubicBezTo>
                  <a:cubicBezTo>
                    <a:pt x="611" y="248"/>
                    <a:pt x="624" y="250"/>
                    <a:pt x="624" y="271"/>
                  </a:cubicBezTo>
                  <a:close/>
                  <a:moveTo>
                    <a:pt x="462" y="82"/>
                  </a:moveTo>
                  <a:cubicBezTo>
                    <a:pt x="591" y="82"/>
                    <a:pt x="591" y="82"/>
                    <a:pt x="591" y="82"/>
                  </a:cubicBezTo>
                  <a:cubicBezTo>
                    <a:pt x="591" y="185"/>
                    <a:pt x="591" y="185"/>
                    <a:pt x="591" y="185"/>
                  </a:cubicBezTo>
                  <a:cubicBezTo>
                    <a:pt x="462" y="185"/>
                    <a:pt x="462" y="185"/>
                    <a:pt x="462" y="185"/>
                  </a:cubicBezTo>
                  <a:lnTo>
                    <a:pt x="462" y="82"/>
                  </a:lnTo>
                  <a:close/>
                  <a:moveTo>
                    <a:pt x="556" y="279"/>
                  </a:moveTo>
                  <a:cubicBezTo>
                    <a:pt x="556" y="294"/>
                    <a:pt x="556" y="294"/>
                    <a:pt x="556" y="294"/>
                  </a:cubicBezTo>
                  <a:cubicBezTo>
                    <a:pt x="537" y="294"/>
                    <a:pt x="537" y="294"/>
                    <a:pt x="537" y="294"/>
                  </a:cubicBezTo>
                  <a:cubicBezTo>
                    <a:pt x="537" y="313"/>
                    <a:pt x="537" y="313"/>
                    <a:pt x="537" y="313"/>
                  </a:cubicBezTo>
                  <a:cubicBezTo>
                    <a:pt x="567" y="313"/>
                    <a:pt x="567" y="313"/>
                    <a:pt x="567" y="313"/>
                  </a:cubicBezTo>
                  <a:cubicBezTo>
                    <a:pt x="567" y="327"/>
                    <a:pt x="567" y="327"/>
                    <a:pt x="567" y="327"/>
                  </a:cubicBezTo>
                  <a:cubicBezTo>
                    <a:pt x="523" y="327"/>
                    <a:pt x="523" y="327"/>
                    <a:pt x="523" y="327"/>
                  </a:cubicBezTo>
                  <a:cubicBezTo>
                    <a:pt x="523" y="248"/>
                    <a:pt x="523" y="248"/>
                    <a:pt x="523" y="248"/>
                  </a:cubicBezTo>
                  <a:cubicBezTo>
                    <a:pt x="565" y="248"/>
                    <a:pt x="565" y="248"/>
                    <a:pt x="565" y="248"/>
                  </a:cubicBezTo>
                  <a:cubicBezTo>
                    <a:pt x="565" y="263"/>
                    <a:pt x="565" y="263"/>
                    <a:pt x="565" y="263"/>
                  </a:cubicBezTo>
                  <a:cubicBezTo>
                    <a:pt x="536" y="263"/>
                    <a:pt x="536" y="263"/>
                    <a:pt x="536" y="263"/>
                  </a:cubicBezTo>
                  <a:cubicBezTo>
                    <a:pt x="536" y="279"/>
                    <a:pt x="536" y="279"/>
                    <a:pt x="536" y="279"/>
                  </a:cubicBezTo>
                  <a:lnTo>
                    <a:pt x="556" y="279"/>
                  </a:lnTo>
                  <a:close/>
                  <a:moveTo>
                    <a:pt x="510" y="273"/>
                  </a:moveTo>
                  <a:cubicBezTo>
                    <a:pt x="510" y="285"/>
                    <a:pt x="504" y="291"/>
                    <a:pt x="502" y="293"/>
                  </a:cubicBezTo>
                  <a:cubicBezTo>
                    <a:pt x="497" y="297"/>
                    <a:pt x="492" y="297"/>
                    <a:pt x="487" y="297"/>
                  </a:cubicBezTo>
                  <a:cubicBezTo>
                    <a:pt x="479" y="298"/>
                    <a:pt x="479" y="298"/>
                    <a:pt x="479" y="298"/>
                  </a:cubicBezTo>
                  <a:cubicBezTo>
                    <a:pt x="479" y="327"/>
                    <a:pt x="479" y="327"/>
                    <a:pt x="479" y="327"/>
                  </a:cubicBezTo>
                  <a:cubicBezTo>
                    <a:pt x="465" y="327"/>
                    <a:pt x="465" y="327"/>
                    <a:pt x="465" y="327"/>
                  </a:cubicBezTo>
                  <a:cubicBezTo>
                    <a:pt x="465" y="248"/>
                    <a:pt x="465" y="248"/>
                    <a:pt x="465" y="248"/>
                  </a:cubicBezTo>
                  <a:cubicBezTo>
                    <a:pt x="486" y="248"/>
                    <a:pt x="486" y="248"/>
                    <a:pt x="486" y="248"/>
                  </a:cubicBezTo>
                  <a:cubicBezTo>
                    <a:pt x="496" y="248"/>
                    <a:pt x="501" y="251"/>
                    <a:pt x="504" y="254"/>
                  </a:cubicBezTo>
                  <a:cubicBezTo>
                    <a:pt x="508" y="259"/>
                    <a:pt x="510" y="265"/>
                    <a:pt x="510" y="273"/>
                  </a:cubicBezTo>
                  <a:close/>
                  <a:moveTo>
                    <a:pt x="162" y="185"/>
                  </a:moveTo>
                  <a:cubicBezTo>
                    <a:pt x="34" y="185"/>
                    <a:pt x="34" y="185"/>
                    <a:pt x="34" y="18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162" y="82"/>
                    <a:pt x="162" y="82"/>
                    <a:pt x="162" y="82"/>
                  </a:cubicBezTo>
                  <a:lnTo>
                    <a:pt x="162" y="185"/>
                  </a:lnTo>
                  <a:close/>
                  <a:moveTo>
                    <a:pt x="305" y="185"/>
                  </a:moveTo>
                  <a:cubicBezTo>
                    <a:pt x="177" y="185"/>
                    <a:pt x="177" y="185"/>
                    <a:pt x="177" y="185"/>
                  </a:cubicBezTo>
                  <a:cubicBezTo>
                    <a:pt x="177" y="82"/>
                    <a:pt x="177" y="82"/>
                    <a:pt x="177" y="82"/>
                  </a:cubicBezTo>
                  <a:cubicBezTo>
                    <a:pt x="305" y="82"/>
                    <a:pt x="305" y="82"/>
                    <a:pt x="305" y="82"/>
                  </a:cubicBezTo>
                  <a:lnTo>
                    <a:pt x="305" y="185"/>
                  </a:lnTo>
                  <a:close/>
                  <a:moveTo>
                    <a:pt x="320" y="82"/>
                  </a:moveTo>
                  <a:cubicBezTo>
                    <a:pt x="448" y="82"/>
                    <a:pt x="448" y="82"/>
                    <a:pt x="448" y="82"/>
                  </a:cubicBezTo>
                  <a:cubicBezTo>
                    <a:pt x="448" y="185"/>
                    <a:pt x="448" y="185"/>
                    <a:pt x="448" y="185"/>
                  </a:cubicBezTo>
                  <a:cubicBezTo>
                    <a:pt x="320" y="185"/>
                    <a:pt x="320" y="185"/>
                    <a:pt x="320" y="185"/>
                  </a:cubicBezTo>
                  <a:lnTo>
                    <a:pt x="320" y="82"/>
                  </a:lnTo>
                  <a:close/>
                  <a:moveTo>
                    <a:pt x="381" y="326"/>
                  </a:moveTo>
                  <a:cubicBezTo>
                    <a:pt x="378" y="328"/>
                    <a:pt x="372" y="330"/>
                    <a:pt x="369" y="330"/>
                  </a:cubicBezTo>
                  <a:cubicBezTo>
                    <a:pt x="358" y="330"/>
                    <a:pt x="351" y="326"/>
                    <a:pt x="346" y="314"/>
                  </a:cubicBezTo>
                  <a:cubicBezTo>
                    <a:pt x="357" y="305"/>
                    <a:pt x="357" y="305"/>
                    <a:pt x="357" y="305"/>
                  </a:cubicBezTo>
                  <a:cubicBezTo>
                    <a:pt x="359" y="311"/>
                    <a:pt x="363" y="315"/>
                    <a:pt x="369" y="315"/>
                  </a:cubicBezTo>
                  <a:cubicBezTo>
                    <a:pt x="372" y="315"/>
                    <a:pt x="377" y="314"/>
                    <a:pt x="377" y="306"/>
                  </a:cubicBezTo>
                  <a:cubicBezTo>
                    <a:pt x="377" y="301"/>
                    <a:pt x="375" y="299"/>
                    <a:pt x="365" y="295"/>
                  </a:cubicBezTo>
                  <a:cubicBezTo>
                    <a:pt x="355" y="290"/>
                    <a:pt x="347" y="285"/>
                    <a:pt x="347" y="269"/>
                  </a:cubicBezTo>
                  <a:cubicBezTo>
                    <a:pt x="347" y="256"/>
                    <a:pt x="355" y="247"/>
                    <a:pt x="368" y="247"/>
                  </a:cubicBezTo>
                  <a:cubicBezTo>
                    <a:pt x="377" y="247"/>
                    <a:pt x="384" y="251"/>
                    <a:pt x="389" y="261"/>
                  </a:cubicBezTo>
                  <a:cubicBezTo>
                    <a:pt x="378" y="269"/>
                    <a:pt x="378" y="269"/>
                    <a:pt x="378" y="269"/>
                  </a:cubicBezTo>
                  <a:cubicBezTo>
                    <a:pt x="376" y="265"/>
                    <a:pt x="372" y="261"/>
                    <a:pt x="367" y="261"/>
                  </a:cubicBezTo>
                  <a:cubicBezTo>
                    <a:pt x="360" y="261"/>
                    <a:pt x="360" y="267"/>
                    <a:pt x="360" y="268"/>
                  </a:cubicBezTo>
                  <a:cubicBezTo>
                    <a:pt x="360" y="274"/>
                    <a:pt x="364" y="276"/>
                    <a:pt x="368" y="278"/>
                  </a:cubicBezTo>
                  <a:cubicBezTo>
                    <a:pt x="376" y="282"/>
                    <a:pt x="376" y="282"/>
                    <a:pt x="376" y="282"/>
                  </a:cubicBezTo>
                  <a:cubicBezTo>
                    <a:pt x="380" y="283"/>
                    <a:pt x="384" y="287"/>
                    <a:pt x="387" y="291"/>
                  </a:cubicBezTo>
                  <a:cubicBezTo>
                    <a:pt x="388" y="292"/>
                    <a:pt x="390" y="297"/>
                    <a:pt x="390" y="305"/>
                  </a:cubicBezTo>
                  <a:cubicBezTo>
                    <a:pt x="390" y="308"/>
                    <a:pt x="390" y="319"/>
                    <a:pt x="381" y="326"/>
                  </a:cubicBezTo>
                  <a:close/>
                  <a:moveTo>
                    <a:pt x="403" y="299"/>
                  </a:moveTo>
                  <a:cubicBezTo>
                    <a:pt x="403" y="248"/>
                    <a:pt x="403" y="248"/>
                    <a:pt x="403" y="248"/>
                  </a:cubicBezTo>
                  <a:cubicBezTo>
                    <a:pt x="417" y="248"/>
                    <a:pt x="417" y="248"/>
                    <a:pt x="417" y="248"/>
                  </a:cubicBezTo>
                  <a:cubicBezTo>
                    <a:pt x="417" y="300"/>
                    <a:pt x="417" y="300"/>
                    <a:pt x="417" y="300"/>
                  </a:cubicBezTo>
                  <a:cubicBezTo>
                    <a:pt x="417" y="305"/>
                    <a:pt x="417" y="315"/>
                    <a:pt x="426" y="315"/>
                  </a:cubicBezTo>
                  <a:cubicBezTo>
                    <a:pt x="429" y="315"/>
                    <a:pt x="435" y="315"/>
                    <a:pt x="435" y="301"/>
                  </a:cubicBezTo>
                  <a:cubicBezTo>
                    <a:pt x="435" y="248"/>
                    <a:pt x="435" y="248"/>
                    <a:pt x="435" y="248"/>
                  </a:cubicBezTo>
                  <a:cubicBezTo>
                    <a:pt x="449" y="248"/>
                    <a:pt x="449" y="248"/>
                    <a:pt x="449" y="248"/>
                  </a:cubicBezTo>
                  <a:cubicBezTo>
                    <a:pt x="449" y="301"/>
                    <a:pt x="449" y="301"/>
                    <a:pt x="449" y="301"/>
                  </a:cubicBezTo>
                  <a:cubicBezTo>
                    <a:pt x="449" y="305"/>
                    <a:pt x="449" y="317"/>
                    <a:pt x="442" y="323"/>
                  </a:cubicBezTo>
                  <a:cubicBezTo>
                    <a:pt x="438" y="328"/>
                    <a:pt x="432" y="329"/>
                    <a:pt x="427" y="329"/>
                  </a:cubicBezTo>
                  <a:cubicBezTo>
                    <a:pt x="420" y="329"/>
                    <a:pt x="413" y="327"/>
                    <a:pt x="409" y="323"/>
                  </a:cubicBezTo>
                  <a:cubicBezTo>
                    <a:pt x="403" y="316"/>
                    <a:pt x="403" y="307"/>
                    <a:pt x="403" y="299"/>
                  </a:cubicBezTo>
                  <a:close/>
                  <a:moveTo>
                    <a:pt x="529" y="580"/>
                  </a:moveTo>
                  <a:cubicBezTo>
                    <a:pt x="410" y="580"/>
                    <a:pt x="410" y="580"/>
                    <a:pt x="410" y="580"/>
                  </a:cubicBezTo>
                  <a:cubicBezTo>
                    <a:pt x="410" y="384"/>
                    <a:pt x="410" y="384"/>
                    <a:pt x="410" y="384"/>
                  </a:cubicBezTo>
                  <a:cubicBezTo>
                    <a:pt x="529" y="384"/>
                    <a:pt x="529" y="384"/>
                    <a:pt x="529" y="384"/>
                  </a:cubicBezTo>
                  <a:lnTo>
                    <a:pt x="529" y="580"/>
                  </a:lnTo>
                  <a:close/>
                  <a:moveTo>
                    <a:pt x="663" y="580"/>
                  </a:moveTo>
                  <a:cubicBezTo>
                    <a:pt x="543" y="580"/>
                    <a:pt x="543" y="580"/>
                    <a:pt x="543" y="580"/>
                  </a:cubicBezTo>
                  <a:cubicBezTo>
                    <a:pt x="543" y="384"/>
                    <a:pt x="543" y="384"/>
                    <a:pt x="543" y="384"/>
                  </a:cubicBezTo>
                  <a:cubicBezTo>
                    <a:pt x="663" y="384"/>
                    <a:pt x="663" y="384"/>
                    <a:pt x="663" y="384"/>
                  </a:cubicBezTo>
                  <a:lnTo>
                    <a:pt x="663" y="580"/>
                  </a:lnTo>
                  <a:close/>
                  <a:moveTo>
                    <a:pt x="664" y="327"/>
                  </a:moveTo>
                  <a:cubicBezTo>
                    <a:pt x="651" y="262"/>
                    <a:pt x="651" y="262"/>
                    <a:pt x="651" y="262"/>
                  </a:cubicBezTo>
                  <a:cubicBezTo>
                    <a:pt x="651" y="262"/>
                    <a:pt x="651" y="262"/>
                    <a:pt x="651" y="262"/>
                  </a:cubicBezTo>
                  <a:cubicBezTo>
                    <a:pt x="651" y="266"/>
                    <a:pt x="651" y="282"/>
                    <a:pt x="651" y="285"/>
                  </a:cubicBezTo>
                  <a:cubicBezTo>
                    <a:pt x="651" y="327"/>
                    <a:pt x="651" y="327"/>
                    <a:pt x="651" y="327"/>
                  </a:cubicBezTo>
                  <a:cubicBezTo>
                    <a:pt x="639" y="327"/>
                    <a:pt x="639" y="327"/>
                    <a:pt x="639" y="327"/>
                  </a:cubicBezTo>
                  <a:cubicBezTo>
                    <a:pt x="639" y="248"/>
                    <a:pt x="639" y="248"/>
                    <a:pt x="639" y="248"/>
                  </a:cubicBezTo>
                  <a:cubicBezTo>
                    <a:pt x="658" y="248"/>
                    <a:pt x="658" y="248"/>
                    <a:pt x="658" y="248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66" y="285"/>
                    <a:pt x="666" y="286"/>
                    <a:pt x="667" y="290"/>
                  </a:cubicBezTo>
                  <a:cubicBezTo>
                    <a:pt x="668" y="291"/>
                    <a:pt x="669" y="298"/>
                    <a:pt x="669" y="299"/>
                  </a:cubicBezTo>
                  <a:cubicBezTo>
                    <a:pt x="670" y="299"/>
                    <a:pt x="670" y="299"/>
                    <a:pt x="670" y="299"/>
                  </a:cubicBezTo>
                  <a:cubicBezTo>
                    <a:pt x="670" y="293"/>
                    <a:pt x="671" y="288"/>
                    <a:pt x="673" y="281"/>
                  </a:cubicBezTo>
                  <a:cubicBezTo>
                    <a:pt x="680" y="248"/>
                    <a:pt x="680" y="248"/>
                    <a:pt x="680" y="248"/>
                  </a:cubicBezTo>
                  <a:cubicBezTo>
                    <a:pt x="699" y="248"/>
                    <a:pt x="699" y="248"/>
                    <a:pt x="699" y="248"/>
                  </a:cubicBezTo>
                  <a:cubicBezTo>
                    <a:pt x="699" y="327"/>
                    <a:pt x="699" y="327"/>
                    <a:pt x="699" y="327"/>
                  </a:cubicBezTo>
                  <a:cubicBezTo>
                    <a:pt x="687" y="327"/>
                    <a:pt x="687" y="327"/>
                    <a:pt x="687" y="327"/>
                  </a:cubicBezTo>
                  <a:cubicBezTo>
                    <a:pt x="687" y="285"/>
                    <a:pt x="687" y="285"/>
                    <a:pt x="687" y="285"/>
                  </a:cubicBezTo>
                  <a:cubicBezTo>
                    <a:pt x="687" y="279"/>
                    <a:pt x="687" y="270"/>
                    <a:pt x="688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74" y="327"/>
                    <a:pt x="674" y="327"/>
                    <a:pt x="674" y="327"/>
                  </a:cubicBezTo>
                  <a:lnTo>
                    <a:pt x="664" y="327"/>
                  </a:lnTo>
                  <a:close/>
                  <a:moveTo>
                    <a:pt x="796" y="580"/>
                  </a:moveTo>
                  <a:cubicBezTo>
                    <a:pt x="677" y="580"/>
                    <a:pt x="677" y="580"/>
                    <a:pt x="677" y="580"/>
                  </a:cubicBezTo>
                  <a:cubicBezTo>
                    <a:pt x="677" y="384"/>
                    <a:pt x="677" y="384"/>
                    <a:pt x="677" y="384"/>
                  </a:cubicBezTo>
                  <a:cubicBezTo>
                    <a:pt x="796" y="384"/>
                    <a:pt x="796" y="384"/>
                    <a:pt x="796" y="384"/>
                  </a:cubicBezTo>
                  <a:lnTo>
                    <a:pt x="796" y="580"/>
                  </a:lnTo>
                  <a:close/>
                  <a:moveTo>
                    <a:pt x="791" y="295"/>
                  </a:moveTo>
                  <a:cubicBezTo>
                    <a:pt x="787" y="295"/>
                    <a:pt x="787" y="295"/>
                    <a:pt x="787" y="295"/>
                  </a:cubicBezTo>
                  <a:cubicBezTo>
                    <a:pt x="787" y="327"/>
                    <a:pt x="787" y="327"/>
                    <a:pt x="787" y="327"/>
                  </a:cubicBezTo>
                  <a:cubicBezTo>
                    <a:pt x="773" y="327"/>
                    <a:pt x="773" y="327"/>
                    <a:pt x="773" y="327"/>
                  </a:cubicBezTo>
                  <a:cubicBezTo>
                    <a:pt x="773" y="248"/>
                    <a:pt x="773" y="248"/>
                    <a:pt x="773" y="248"/>
                  </a:cubicBezTo>
                  <a:cubicBezTo>
                    <a:pt x="793" y="248"/>
                    <a:pt x="793" y="248"/>
                    <a:pt x="793" y="248"/>
                  </a:cubicBezTo>
                  <a:cubicBezTo>
                    <a:pt x="804" y="248"/>
                    <a:pt x="817" y="250"/>
                    <a:pt x="817" y="271"/>
                  </a:cubicBezTo>
                  <a:cubicBezTo>
                    <a:pt x="817" y="281"/>
                    <a:pt x="814" y="289"/>
                    <a:pt x="805" y="292"/>
                  </a:cubicBezTo>
                  <a:cubicBezTo>
                    <a:pt x="819" y="327"/>
                    <a:pt x="819" y="327"/>
                    <a:pt x="819" y="327"/>
                  </a:cubicBezTo>
                  <a:cubicBezTo>
                    <a:pt x="803" y="327"/>
                    <a:pt x="803" y="327"/>
                    <a:pt x="803" y="327"/>
                  </a:cubicBezTo>
                  <a:lnTo>
                    <a:pt x="791" y="295"/>
                  </a:lnTo>
                  <a:close/>
                  <a:moveTo>
                    <a:pt x="930" y="580"/>
                  </a:moveTo>
                  <a:cubicBezTo>
                    <a:pt x="810" y="580"/>
                    <a:pt x="810" y="580"/>
                    <a:pt x="810" y="580"/>
                  </a:cubicBezTo>
                  <a:cubicBezTo>
                    <a:pt x="810" y="384"/>
                    <a:pt x="810" y="384"/>
                    <a:pt x="810" y="384"/>
                  </a:cubicBezTo>
                  <a:cubicBezTo>
                    <a:pt x="930" y="384"/>
                    <a:pt x="930" y="384"/>
                    <a:pt x="930" y="384"/>
                  </a:cubicBezTo>
                  <a:lnTo>
                    <a:pt x="930" y="580"/>
                  </a:lnTo>
                  <a:close/>
                  <a:moveTo>
                    <a:pt x="938" y="327"/>
                  </a:moveTo>
                  <a:cubicBezTo>
                    <a:pt x="894" y="327"/>
                    <a:pt x="894" y="327"/>
                    <a:pt x="894" y="327"/>
                  </a:cubicBezTo>
                  <a:cubicBezTo>
                    <a:pt x="894" y="248"/>
                    <a:pt x="894" y="248"/>
                    <a:pt x="894" y="248"/>
                  </a:cubicBezTo>
                  <a:cubicBezTo>
                    <a:pt x="936" y="248"/>
                    <a:pt x="936" y="248"/>
                    <a:pt x="936" y="248"/>
                  </a:cubicBezTo>
                  <a:cubicBezTo>
                    <a:pt x="936" y="263"/>
                    <a:pt x="936" y="263"/>
                    <a:pt x="936" y="263"/>
                  </a:cubicBezTo>
                  <a:cubicBezTo>
                    <a:pt x="907" y="263"/>
                    <a:pt x="907" y="263"/>
                    <a:pt x="907" y="263"/>
                  </a:cubicBezTo>
                  <a:cubicBezTo>
                    <a:pt x="907" y="279"/>
                    <a:pt x="907" y="279"/>
                    <a:pt x="907" y="279"/>
                  </a:cubicBezTo>
                  <a:cubicBezTo>
                    <a:pt x="927" y="279"/>
                    <a:pt x="927" y="279"/>
                    <a:pt x="927" y="279"/>
                  </a:cubicBezTo>
                  <a:cubicBezTo>
                    <a:pt x="927" y="294"/>
                    <a:pt x="927" y="294"/>
                    <a:pt x="927" y="294"/>
                  </a:cubicBezTo>
                  <a:cubicBezTo>
                    <a:pt x="908" y="294"/>
                    <a:pt x="908" y="294"/>
                    <a:pt x="908" y="294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38" y="313"/>
                    <a:pt x="938" y="313"/>
                    <a:pt x="938" y="313"/>
                  </a:cubicBezTo>
                  <a:lnTo>
                    <a:pt x="938" y="327"/>
                  </a:lnTo>
                  <a:close/>
                  <a:moveTo>
                    <a:pt x="994" y="263"/>
                  </a:moveTo>
                  <a:cubicBezTo>
                    <a:pt x="978" y="263"/>
                    <a:pt x="978" y="263"/>
                    <a:pt x="978" y="263"/>
                  </a:cubicBezTo>
                  <a:cubicBezTo>
                    <a:pt x="978" y="327"/>
                    <a:pt x="978" y="327"/>
                    <a:pt x="978" y="327"/>
                  </a:cubicBezTo>
                  <a:cubicBezTo>
                    <a:pt x="963" y="327"/>
                    <a:pt x="963" y="327"/>
                    <a:pt x="963" y="327"/>
                  </a:cubicBezTo>
                  <a:cubicBezTo>
                    <a:pt x="963" y="263"/>
                    <a:pt x="963" y="263"/>
                    <a:pt x="963" y="263"/>
                  </a:cubicBezTo>
                  <a:cubicBezTo>
                    <a:pt x="947" y="263"/>
                    <a:pt x="947" y="263"/>
                    <a:pt x="947" y="263"/>
                  </a:cubicBezTo>
                  <a:cubicBezTo>
                    <a:pt x="947" y="248"/>
                    <a:pt x="947" y="248"/>
                    <a:pt x="947" y="248"/>
                  </a:cubicBezTo>
                  <a:cubicBezTo>
                    <a:pt x="994" y="248"/>
                    <a:pt x="994" y="248"/>
                    <a:pt x="994" y="248"/>
                  </a:cubicBezTo>
                  <a:lnTo>
                    <a:pt x="994" y="263"/>
                  </a:lnTo>
                  <a:close/>
                  <a:moveTo>
                    <a:pt x="1020" y="185"/>
                  </a:moveTo>
                  <a:cubicBezTo>
                    <a:pt x="891" y="185"/>
                    <a:pt x="891" y="185"/>
                    <a:pt x="891" y="185"/>
                  </a:cubicBezTo>
                  <a:cubicBezTo>
                    <a:pt x="891" y="82"/>
                    <a:pt x="891" y="82"/>
                    <a:pt x="891" y="82"/>
                  </a:cubicBezTo>
                  <a:cubicBezTo>
                    <a:pt x="1020" y="82"/>
                    <a:pt x="1020" y="82"/>
                    <a:pt x="1020" y="82"/>
                  </a:cubicBezTo>
                  <a:lnTo>
                    <a:pt x="1020" y="185"/>
                  </a:lnTo>
                  <a:close/>
                  <a:moveTo>
                    <a:pt x="1163" y="185"/>
                  </a:moveTo>
                  <a:cubicBezTo>
                    <a:pt x="1034" y="185"/>
                    <a:pt x="1034" y="185"/>
                    <a:pt x="1034" y="185"/>
                  </a:cubicBezTo>
                  <a:cubicBezTo>
                    <a:pt x="1034" y="82"/>
                    <a:pt x="1034" y="82"/>
                    <a:pt x="1034" y="82"/>
                  </a:cubicBezTo>
                  <a:cubicBezTo>
                    <a:pt x="1163" y="82"/>
                    <a:pt x="1163" y="82"/>
                    <a:pt x="1163" y="82"/>
                  </a:cubicBezTo>
                  <a:lnTo>
                    <a:pt x="1163" y="185"/>
                  </a:lnTo>
                  <a:close/>
                  <a:moveTo>
                    <a:pt x="1305" y="185"/>
                  </a:moveTo>
                  <a:cubicBezTo>
                    <a:pt x="1177" y="185"/>
                    <a:pt x="1177" y="185"/>
                    <a:pt x="1177" y="185"/>
                  </a:cubicBezTo>
                  <a:cubicBezTo>
                    <a:pt x="1177" y="82"/>
                    <a:pt x="1177" y="82"/>
                    <a:pt x="1177" y="82"/>
                  </a:cubicBezTo>
                  <a:cubicBezTo>
                    <a:pt x="1305" y="82"/>
                    <a:pt x="1305" y="82"/>
                    <a:pt x="1305" y="82"/>
                  </a:cubicBezTo>
                  <a:lnTo>
                    <a:pt x="1305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90">
              <a:extLst>
                <a:ext uri="{FF2B5EF4-FFF2-40B4-BE49-F238E27FC236}">
                  <a16:creationId xmlns:a16="http://schemas.microsoft.com/office/drawing/2014/main" xmlns="" id="{E303D88E-E204-42F4-9138-2F28F50DD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" y="393"/>
              <a:ext cx="31" cy="74"/>
            </a:xfrm>
            <a:custGeom>
              <a:avLst/>
              <a:gdLst>
                <a:gd name="T0" fmla="*/ 17 w 31"/>
                <a:gd name="T1" fmla="*/ 0 h 74"/>
                <a:gd name="T2" fmla="*/ 15 w 31"/>
                <a:gd name="T3" fmla="*/ 0 h 74"/>
                <a:gd name="T4" fmla="*/ 0 w 31"/>
                <a:gd name="T5" fmla="*/ 74 h 74"/>
                <a:gd name="T6" fmla="*/ 31 w 31"/>
                <a:gd name="T7" fmla="*/ 74 h 74"/>
                <a:gd name="T8" fmla="*/ 17 w 31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74">
                  <a:moveTo>
                    <a:pt x="17" y="0"/>
                  </a:moveTo>
                  <a:lnTo>
                    <a:pt x="15" y="0"/>
                  </a:lnTo>
                  <a:lnTo>
                    <a:pt x="0" y="74"/>
                  </a:lnTo>
                  <a:lnTo>
                    <a:pt x="31" y="74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5" name="Group 93">
            <a:extLst>
              <a:ext uri="{FF2B5EF4-FFF2-40B4-BE49-F238E27FC236}">
                <a16:creationId xmlns:a16="http://schemas.microsoft.com/office/drawing/2014/main" xmlns="" id="{3AA7AFF3-F3B6-4BF0-BF0E-30097A0B42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6846" y="1991486"/>
            <a:ext cx="511181" cy="602724"/>
            <a:chOff x="2407" y="2339"/>
            <a:chExt cx="631" cy="744"/>
          </a:xfrm>
          <a:solidFill>
            <a:schemeClr val="accent6"/>
          </a:solidFill>
        </p:grpSpPr>
        <p:sp>
          <p:nvSpPr>
            <p:cNvPr id="36" name="Oval 94">
              <a:extLst>
                <a:ext uri="{FF2B5EF4-FFF2-40B4-BE49-F238E27FC236}">
                  <a16:creationId xmlns:a16="http://schemas.microsoft.com/office/drawing/2014/main" xmlns="" id="{B6F880DF-63FE-4128-AB98-9A4C7F5939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2" y="2339"/>
              <a:ext cx="134" cy="1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Oval 95">
              <a:extLst>
                <a:ext uri="{FF2B5EF4-FFF2-40B4-BE49-F238E27FC236}">
                  <a16:creationId xmlns:a16="http://schemas.microsoft.com/office/drawing/2014/main" xmlns="" id="{DF937C63-428A-48E6-A8A7-9705DB3666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6" y="3007"/>
              <a:ext cx="77" cy="7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Oval 96">
              <a:extLst>
                <a:ext uri="{FF2B5EF4-FFF2-40B4-BE49-F238E27FC236}">
                  <a16:creationId xmlns:a16="http://schemas.microsoft.com/office/drawing/2014/main" xmlns="" id="{2C660F3B-1B00-4C72-B472-5C0202F7D3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1" y="3007"/>
              <a:ext cx="79" cy="7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97">
              <a:extLst>
                <a:ext uri="{FF2B5EF4-FFF2-40B4-BE49-F238E27FC236}">
                  <a16:creationId xmlns:a16="http://schemas.microsoft.com/office/drawing/2014/main" xmlns="" id="{157C0DE4-4509-47C9-90A4-9FCE82F3F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494"/>
              <a:ext cx="631" cy="589"/>
            </a:xfrm>
            <a:custGeom>
              <a:avLst/>
              <a:gdLst>
                <a:gd name="T0" fmla="*/ 305 w 305"/>
                <a:gd name="T1" fmla="*/ 148 h 285"/>
                <a:gd name="T2" fmla="*/ 304 w 305"/>
                <a:gd name="T3" fmla="*/ 146 h 285"/>
                <a:gd name="T4" fmla="*/ 303 w 305"/>
                <a:gd name="T5" fmla="*/ 144 h 285"/>
                <a:gd name="T6" fmla="*/ 302 w 305"/>
                <a:gd name="T7" fmla="*/ 142 h 285"/>
                <a:gd name="T8" fmla="*/ 300 w 305"/>
                <a:gd name="T9" fmla="*/ 141 h 285"/>
                <a:gd name="T10" fmla="*/ 298 w 305"/>
                <a:gd name="T11" fmla="*/ 140 h 285"/>
                <a:gd name="T12" fmla="*/ 297 w 305"/>
                <a:gd name="T13" fmla="*/ 139 h 285"/>
                <a:gd name="T14" fmla="*/ 295 w 305"/>
                <a:gd name="T15" fmla="*/ 138 h 285"/>
                <a:gd name="T16" fmla="*/ 293 w 305"/>
                <a:gd name="T17" fmla="*/ 138 h 285"/>
                <a:gd name="T18" fmla="*/ 155 w 305"/>
                <a:gd name="T19" fmla="*/ 112 h 285"/>
                <a:gd name="T20" fmla="*/ 155 w 305"/>
                <a:gd name="T21" fmla="*/ 111 h 285"/>
                <a:gd name="T22" fmla="*/ 154 w 305"/>
                <a:gd name="T23" fmla="*/ 108 h 285"/>
                <a:gd name="T24" fmla="*/ 153 w 305"/>
                <a:gd name="T25" fmla="*/ 106 h 285"/>
                <a:gd name="T26" fmla="*/ 151 w 305"/>
                <a:gd name="T27" fmla="*/ 105 h 285"/>
                <a:gd name="T28" fmla="*/ 149 w 305"/>
                <a:gd name="T29" fmla="*/ 103 h 285"/>
                <a:gd name="T30" fmla="*/ 147 w 305"/>
                <a:gd name="T31" fmla="*/ 103 h 285"/>
                <a:gd name="T32" fmla="*/ 145 w 305"/>
                <a:gd name="T33" fmla="*/ 102 h 285"/>
                <a:gd name="T34" fmla="*/ 144 w 305"/>
                <a:gd name="T35" fmla="*/ 102 h 285"/>
                <a:gd name="T36" fmla="*/ 74 w 305"/>
                <a:gd name="T37" fmla="*/ 43 h 285"/>
                <a:gd name="T38" fmla="*/ 43 w 305"/>
                <a:gd name="T39" fmla="*/ 0 h 285"/>
                <a:gd name="T40" fmla="*/ 10 w 305"/>
                <a:gd name="T41" fmla="*/ 28 h 285"/>
                <a:gd name="T42" fmla="*/ 12 w 305"/>
                <a:gd name="T43" fmla="*/ 153 h 285"/>
                <a:gd name="T44" fmla="*/ 1 w 305"/>
                <a:gd name="T45" fmla="*/ 269 h 285"/>
                <a:gd name="T46" fmla="*/ 16 w 305"/>
                <a:gd name="T47" fmla="*/ 285 h 285"/>
                <a:gd name="T48" fmla="*/ 41 w 305"/>
                <a:gd name="T49" fmla="*/ 160 h 285"/>
                <a:gd name="T50" fmla="*/ 53 w 305"/>
                <a:gd name="T51" fmla="*/ 272 h 285"/>
                <a:gd name="T52" fmla="*/ 69 w 305"/>
                <a:gd name="T53" fmla="*/ 285 h 285"/>
                <a:gd name="T54" fmla="*/ 72 w 305"/>
                <a:gd name="T55" fmla="*/ 154 h 285"/>
                <a:gd name="T56" fmla="*/ 82 w 305"/>
                <a:gd name="T57" fmla="*/ 153 h 285"/>
                <a:gd name="T58" fmla="*/ 103 w 305"/>
                <a:gd name="T59" fmla="*/ 123 h 285"/>
                <a:gd name="T60" fmla="*/ 122 w 305"/>
                <a:gd name="T61" fmla="*/ 126 h 285"/>
                <a:gd name="T62" fmla="*/ 152 w 305"/>
                <a:gd name="T63" fmla="*/ 233 h 285"/>
                <a:gd name="T64" fmla="*/ 152 w 305"/>
                <a:gd name="T65" fmla="*/ 235 h 285"/>
                <a:gd name="T66" fmla="*/ 153 w 305"/>
                <a:gd name="T67" fmla="*/ 237 h 285"/>
                <a:gd name="T68" fmla="*/ 154 w 305"/>
                <a:gd name="T69" fmla="*/ 239 h 285"/>
                <a:gd name="T70" fmla="*/ 155 w 305"/>
                <a:gd name="T71" fmla="*/ 240 h 285"/>
                <a:gd name="T72" fmla="*/ 157 w 305"/>
                <a:gd name="T73" fmla="*/ 242 h 285"/>
                <a:gd name="T74" fmla="*/ 159 w 305"/>
                <a:gd name="T75" fmla="*/ 243 h 285"/>
                <a:gd name="T76" fmla="*/ 161 w 305"/>
                <a:gd name="T77" fmla="*/ 243 h 285"/>
                <a:gd name="T78" fmla="*/ 164 w 305"/>
                <a:gd name="T79" fmla="*/ 243 h 285"/>
                <a:gd name="T80" fmla="*/ 267 w 305"/>
                <a:gd name="T81" fmla="*/ 243 h 285"/>
                <a:gd name="T82" fmla="*/ 270 w 305"/>
                <a:gd name="T83" fmla="*/ 243 h 285"/>
                <a:gd name="T84" fmla="*/ 272 w 305"/>
                <a:gd name="T85" fmla="*/ 242 h 285"/>
                <a:gd name="T86" fmla="*/ 274 w 305"/>
                <a:gd name="T87" fmla="*/ 241 h 285"/>
                <a:gd name="T88" fmla="*/ 276 w 305"/>
                <a:gd name="T89" fmla="*/ 240 h 285"/>
                <a:gd name="T90" fmla="*/ 277 w 305"/>
                <a:gd name="T91" fmla="*/ 238 h 285"/>
                <a:gd name="T92" fmla="*/ 278 w 305"/>
                <a:gd name="T93" fmla="*/ 236 h 285"/>
                <a:gd name="T94" fmla="*/ 304 w 305"/>
                <a:gd name="T95" fmla="*/ 154 h 285"/>
                <a:gd name="T96" fmla="*/ 305 w 305"/>
                <a:gd name="T97" fmla="*/ 152 h 285"/>
                <a:gd name="T98" fmla="*/ 305 w 305"/>
                <a:gd name="T99" fmla="*/ 15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5" h="285">
                  <a:moveTo>
                    <a:pt x="305" y="150"/>
                  </a:moveTo>
                  <a:cubicBezTo>
                    <a:pt x="305" y="149"/>
                    <a:pt x="305" y="149"/>
                    <a:pt x="305" y="148"/>
                  </a:cubicBezTo>
                  <a:cubicBezTo>
                    <a:pt x="305" y="148"/>
                    <a:pt x="305" y="148"/>
                    <a:pt x="305" y="147"/>
                  </a:cubicBezTo>
                  <a:cubicBezTo>
                    <a:pt x="304" y="147"/>
                    <a:pt x="304" y="147"/>
                    <a:pt x="304" y="146"/>
                  </a:cubicBezTo>
                  <a:cubicBezTo>
                    <a:pt x="304" y="146"/>
                    <a:pt x="304" y="146"/>
                    <a:pt x="304" y="145"/>
                  </a:cubicBezTo>
                  <a:cubicBezTo>
                    <a:pt x="304" y="145"/>
                    <a:pt x="303" y="145"/>
                    <a:pt x="303" y="144"/>
                  </a:cubicBezTo>
                  <a:cubicBezTo>
                    <a:pt x="303" y="144"/>
                    <a:pt x="303" y="144"/>
                    <a:pt x="303" y="143"/>
                  </a:cubicBezTo>
                  <a:cubicBezTo>
                    <a:pt x="302" y="143"/>
                    <a:pt x="302" y="143"/>
                    <a:pt x="302" y="142"/>
                  </a:cubicBezTo>
                  <a:cubicBezTo>
                    <a:pt x="302" y="142"/>
                    <a:pt x="301" y="142"/>
                    <a:pt x="301" y="141"/>
                  </a:cubicBezTo>
                  <a:cubicBezTo>
                    <a:pt x="301" y="141"/>
                    <a:pt x="301" y="141"/>
                    <a:pt x="300" y="141"/>
                  </a:cubicBezTo>
                  <a:cubicBezTo>
                    <a:pt x="300" y="141"/>
                    <a:pt x="300" y="140"/>
                    <a:pt x="299" y="140"/>
                  </a:cubicBezTo>
                  <a:cubicBezTo>
                    <a:pt x="299" y="140"/>
                    <a:pt x="299" y="140"/>
                    <a:pt x="298" y="140"/>
                  </a:cubicBezTo>
                  <a:cubicBezTo>
                    <a:pt x="298" y="139"/>
                    <a:pt x="297" y="139"/>
                    <a:pt x="297" y="139"/>
                  </a:cubicBezTo>
                  <a:cubicBezTo>
                    <a:pt x="297" y="139"/>
                    <a:pt x="297" y="139"/>
                    <a:pt x="297" y="139"/>
                  </a:cubicBezTo>
                  <a:cubicBezTo>
                    <a:pt x="296" y="139"/>
                    <a:pt x="296" y="139"/>
                    <a:pt x="296" y="139"/>
                  </a:cubicBezTo>
                  <a:cubicBezTo>
                    <a:pt x="296" y="139"/>
                    <a:pt x="295" y="139"/>
                    <a:pt x="295" y="138"/>
                  </a:cubicBezTo>
                  <a:cubicBezTo>
                    <a:pt x="294" y="138"/>
                    <a:pt x="294" y="138"/>
                    <a:pt x="294" y="138"/>
                  </a:cubicBezTo>
                  <a:cubicBezTo>
                    <a:pt x="293" y="138"/>
                    <a:pt x="293" y="138"/>
                    <a:pt x="293" y="138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55" y="112"/>
                    <a:pt x="155" y="112"/>
                    <a:pt x="155" y="112"/>
                  </a:cubicBezTo>
                  <a:cubicBezTo>
                    <a:pt x="155" y="112"/>
                    <a:pt x="155" y="112"/>
                    <a:pt x="155" y="112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5" y="110"/>
                    <a:pt x="155" y="110"/>
                    <a:pt x="155" y="110"/>
                  </a:cubicBezTo>
                  <a:cubicBezTo>
                    <a:pt x="154" y="109"/>
                    <a:pt x="154" y="109"/>
                    <a:pt x="154" y="108"/>
                  </a:cubicBezTo>
                  <a:cubicBezTo>
                    <a:pt x="154" y="108"/>
                    <a:pt x="154" y="108"/>
                    <a:pt x="154" y="108"/>
                  </a:cubicBezTo>
                  <a:cubicBezTo>
                    <a:pt x="153" y="107"/>
                    <a:pt x="153" y="107"/>
                    <a:pt x="153" y="106"/>
                  </a:cubicBezTo>
                  <a:cubicBezTo>
                    <a:pt x="152" y="106"/>
                    <a:pt x="152" y="106"/>
                    <a:pt x="152" y="106"/>
                  </a:cubicBezTo>
                  <a:cubicBezTo>
                    <a:pt x="152" y="105"/>
                    <a:pt x="151" y="105"/>
                    <a:pt x="151" y="105"/>
                  </a:cubicBezTo>
                  <a:cubicBezTo>
                    <a:pt x="151" y="105"/>
                    <a:pt x="151" y="104"/>
                    <a:pt x="150" y="104"/>
                  </a:cubicBezTo>
                  <a:cubicBezTo>
                    <a:pt x="150" y="104"/>
                    <a:pt x="149" y="104"/>
                    <a:pt x="149" y="103"/>
                  </a:cubicBezTo>
                  <a:cubicBezTo>
                    <a:pt x="149" y="103"/>
                    <a:pt x="149" y="103"/>
                    <a:pt x="148" y="103"/>
                  </a:cubicBezTo>
                  <a:cubicBezTo>
                    <a:pt x="148" y="103"/>
                    <a:pt x="147" y="103"/>
                    <a:pt x="147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6" y="102"/>
                    <a:pt x="145" y="102"/>
                    <a:pt x="145" y="102"/>
                  </a:cubicBezTo>
                  <a:cubicBezTo>
                    <a:pt x="145" y="102"/>
                    <a:pt x="144" y="102"/>
                    <a:pt x="144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24" y="102"/>
                    <a:pt x="124" y="102"/>
                    <a:pt x="124" y="10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12"/>
                    <a:pt x="60" y="0"/>
                    <a:pt x="4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24" y="0"/>
                    <a:pt x="10" y="12"/>
                    <a:pt x="10" y="28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" y="269"/>
                    <a:pt x="1" y="269"/>
                    <a:pt x="1" y="269"/>
                  </a:cubicBezTo>
                  <a:cubicBezTo>
                    <a:pt x="0" y="277"/>
                    <a:pt x="6" y="284"/>
                    <a:pt x="14" y="285"/>
                  </a:cubicBezTo>
                  <a:cubicBezTo>
                    <a:pt x="15" y="285"/>
                    <a:pt x="15" y="285"/>
                    <a:pt x="16" y="285"/>
                  </a:cubicBezTo>
                  <a:cubicBezTo>
                    <a:pt x="23" y="285"/>
                    <a:pt x="30" y="279"/>
                    <a:pt x="30" y="272"/>
                  </a:cubicBezTo>
                  <a:cubicBezTo>
                    <a:pt x="41" y="160"/>
                    <a:pt x="41" y="160"/>
                    <a:pt x="41" y="16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4" y="279"/>
                    <a:pt x="60" y="285"/>
                    <a:pt x="68" y="285"/>
                  </a:cubicBezTo>
                  <a:cubicBezTo>
                    <a:pt x="68" y="285"/>
                    <a:pt x="69" y="285"/>
                    <a:pt x="69" y="285"/>
                  </a:cubicBezTo>
                  <a:cubicBezTo>
                    <a:pt x="77" y="284"/>
                    <a:pt x="83" y="277"/>
                    <a:pt x="83" y="269"/>
                  </a:cubicBezTo>
                  <a:cubicBezTo>
                    <a:pt x="72" y="154"/>
                    <a:pt x="72" y="154"/>
                    <a:pt x="72" y="154"/>
                  </a:cubicBezTo>
                  <a:cubicBezTo>
                    <a:pt x="72" y="153"/>
                    <a:pt x="72" y="153"/>
                    <a:pt x="72" y="153"/>
                  </a:cubicBezTo>
                  <a:cubicBezTo>
                    <a:pt x="82" y="153"/>
                    <a:pt x="82" y="153"/>
                    <a:pt x="82" y="15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103" y="123"/>
                    <a:pt x="103" y="123"/>
                    <a:pt x="103" y="123"/>
                  </a:cubicBezTo>
                  <a:cubicBezTo>
                    <a:pt x="106" y="126"/>
                    <a:pt x="111" y="128"/>
                    <a:pt x="115" y="128"/>
                  </a:cubicBezTo>
                  <a:cubicBezTo>
                    <a:pt x="117" y="128"/>
                    <a:pt x="120" y="127"/>
                    <a:pt x="122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52" y="233"/>
                    <a:pt x="152" y="233"/>
                    <a:pt x="152" y="233"/>
                  </a:cubicBezTo>
                  <a:cubicBezTo>
                    <a:pt x="152" y="234"/>
                    <a:pt x="152" y="234"/>
                    <a:pt x="152" y="234"/>
                  </a:cubicBezTo>
                  <a:cubicBezTo>
                    <a:pt x="152" y="234"/>
                    <a:pt x="152" y="234"/>
                    <a:pt x="152" y="235"/>
                  </a:cubicBezTo>
                  <a:cubicBezTo>
                    <a:pt x="152" y="235"/>
                    <a:pt x="152" y="235"/>
                    <a:pt x="152" y="236"/>
                  </a:cubicBezTo>
                  <a:cubicBezTo>
                    <a:pt x="153" y="236"/>
                    <a:pt x="153" y="236"/>
                    <a:pt x="153" y="237"/>
                  </a:cubicBezTo>
                  <a:cubicBezTo>
                    <a:pt x="153" y="237"/>
                    <a:pt x="153" y="238"/>
                    <a:pt x="153" y="238"/>
                  </a:cubicBezTo>
                  <a:cubicBezTo>
                    <a:pt x="154" y="238"/>
                    <a:pt x="154" y="238"/>
                    <a:pt x="154" y="239"/>
                  </a:cubicBezTo>
                  <a:cubicBezTo>
                    <a:pt x="154" y="239"/>
                    <a:pt x="154" y="239"/>
                    <a:pt x="155" y="240"/>
                  </a:cubicBezTo>
                  <a:cubicBezTo>
                    <a:pt x="155" y="240"/>
                    <a:pt x="155" y="240"/>
                    <a:pt x="155" y="240"/>
                  </a:cubicBezTo>
                  <a:cubicBezTo>
                    <a:pt x="156" y="241"/>
                    <a:pt x="156" y="241"/>
                    <a:pt x="156" y="241"/>
                  </a:cubicBezTo>
                  <a:cubicBezTo>
                    <a:pt x="157" y="241"/>
                    <a:pt x="157" y="241"/>
                    <a:pt x="157" y="242"/>
                  </a:cubicBezTo>
                  <a:cubicBezTo>
                    <a:pt x="158" y="242"/>
                    <a:pt x="158" y="242"/>
                    <a:pt x="158" y="242"/>
                  </a:cubicBezTo>
                  <a:cubicBezTo>
                    <a:pt x="159" y="242"/>
                    <a:pt x="159" y="242"/>
                    <a:pt x="159" y="243"/>
                  </a:cubicBezTo>
                  <a:cubicBezTo>
                    <a:pt x="160" y="243"/>
                    <a:pt x="160" y="243"/>
                    <a:pt x="161" y="243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62" y="243"/>
                    <a:pt x="163" y="243"/>
                    <a:pt x="164" y="243"/>
                  </a:cubicBezTo>
                  <a:cubicBezTo>
                    <a:pt x="164" y="243"/>
                    <a:pt x="164" y="243"/>
                    <a:pt x="164" y="243"/>
                  </a:cubicBezTo>
                  <a:cubicBezTo>
                    <a:pt x="267" y="243"/>
                    <a:pt x="267" y="243"/>
                    <a:pt x="267" y="243"/>
                  </a:cubicBezTo>
                  <a:cubicBezTo>
                    <a:pt x="267" y="243"/>
                    <a:pt x="267" y="243"/>
                    <a:pt x="267" y="243"/>
                  </a:cubicBezTo>
                  <a:cubicBezTo>
                    <a:pt x="268" y="243"/>
                    <a:pt x="268" y="243"/>
                    <a:pt x="269" y="243"/>
                  </a:cubicBezTo>
                  <a:cubicBezTo>
                    <a:pt x="269" y="243"/>
                    <a:pt x="270" y="243"/>
                    <a:pt x="270" y="243"/>
                  </a:cubicBezTo>
                  <a:cubicBezTo>
                    <a:pt x="270" y="243"/>
                    <a:pt x="271" y="243"/>
                    <a:pt x="271" y="243"/>
                  </a:cubicBezTo>
                  <a:cubicBezTo>
                    <a:pt x="271" y="243"/>
                    <a:pt x="272" y="242"/>
                    <a:pt x="272" y="242"/>
                  </a:cubicBezTo>
                  <a:cubicBezTo>
                    <a:pt x="272" y="242"/>
                    <a:pt x="273" y="242"/>
                    <a:pt x="273" y="242"/>
                  </a:cubicBezTo>
                  <a:cubicBezTo>
                    <a:pt x="273" y="242"/>
                    <a:pt x="274" y="241"/>
                    <a:pt x="274" y="241"/>
                  </a:cubicBezTo>
                  <a:cubicBezTo>
                    <a:pt x="274" y="241"/>
                    <a:pt x="275" y="240"/>
                    <a:pt x="275" y="240"/>
                  </a:cubicBezTo>
                  <a:cubicBezTo>
                    <a:pt x="275" y="240"/>
                    <a:pt x="275" y="240"/>
                    <a:pt x="276" y="240"/>
                  </a:cubicBezTo>
                  <a:cubicBezTo>
                    <a:pt x="276" y="239"/>
                    <a:pt x="276" y="239"/>
                    <a:pt x="277" y="238"/>
                  </a:cubicBezTo>
                  <a:cubicBezTo>
                    <a:pt x="277" y="238"/>
                    <a:pt x="277" y="238"/>
                    <a:pt x="277" y="238"/>
                  </a:cubicBezTo>
                  <a:cubicBezTo>
                    <a:pt x="277" y="237"/>
                    <a:pt x="278" y="237"/>
                    <a:pt x="278" y="236"/>
                  </a:cubicBezTo>
                  <a:cubicBezTo>
                    <a:pt x="278" y="236"/>
                    <a:pt x="278" y="236"/>
                    <a:pt x="278" y="236"/>
                  </a:cubicBezTo>
                  <a:cubicBezTo>
                    <a:pt x="278" y="236"/>
                    <a:pt x="278" y="235"/>
                    <a:pt x="278" y="235"/>
                  </a:cubicBezTo>
                  <a:cubicBezTo>
                    <a:pt x="304" y="154"/>
                    <a:pt x="304" y="154"/>
                    <a:pt x="304" y="154"/>
                  </a:cubicBezTo>
                  <a:cubicBezTo>
                    <a:pt x="304" y="154"/>
                    <a:pt x="304" y="154"/>
                    <a:pt x="305" y="153"/>
                  </a:cubicBezTo>
                  <a:cubicBezTo>
                    <a:pt x="305" y="153"/>
                    <a:pt x="305" y="153"/>
                    <a:pt x="305" y="152"/>
                  </a:cubicBezTo>
                  <a:cubicBezTo>
                    <a:pt x="305" y="152"/>
                    <a:pt x="305" y="151"/>
                    <a:pt x="305" y="151"/>
                  </a:cubicBezTo>
                  <a:cubicBezTo>
                    <a:pt x="305" y="151"/>
                    <a:pt x="305" y="150"/>
                    <a:pt x="305" y="150"/>
                  </a:cubicBezTo>
                  <a:cubicBezTo>
                    <a:pt x="305" y="150"/>
                    <a:pt x="305" y="150"/>
                    <a:pt x="305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2" name="Group 4">
            <a:extLst>
              <a:ext uri="{FF2B5EF4-FFF2-40B4-BE49-F238E27FC236}">
                <a16:creationId xmlns:a16="http://schemas.microsoft.com/office/drawing/2014/main" xmlns="" id="{7054D5CE-ADBF-4F18-A68E-2F8958190330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04341" y="2106752"/>
            <a:ext cx="688965" cy="487458"/>
            <a:chOff x="1315" y="-181"/>
            <a:chExt cx="2260" cy="1599"/>
          </a:xfrm>
          <a:solidFill>
            <a:schemeClr val="accent6"/>
          </a:solidFill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xmlns="" id="{44A53785-EAC7-4ECC-9734-AA45C1A30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54"/>
              <a:ext cx="179" cy="319"/>
            </a:xfrm>
            <a:custGeom>
              <a:avLst/>
              <a:gdLst>
                <a:gd name="T0" fmla="*/ 58 w 87"/>
                <a:gd name="T1" fmla="*/ 0 h 155"/>
                <a:gd name="T2" fmla="*/ 21 w 87"/>
                <a:gd name="T3" fmla="*/ 31 h 155"/>
                <a:gd name="T4" fmla="*/ 0 w 87"/>
                <a:gd name="T5" fmla="*/ 141 h 155"/>
                <a:gd name="T6" fmla="*/ 11 w 87"/>
                <a:gd name="T7" fmla="*/ 141 h 155"/>
                <a:gd name="T8" fmla="*/ 87 w 87"/>
                <a:gd name="T9" fmla="*/ 155 h 155"/>
                <a:gd name="T10" fmla="*/ 87 w 87"/>
                <a:gd name="T11" fmla="*/ 0 h 155"/>
                <a:gd name="T12" fmla="*/ 58 w 87"/>
                <a:gd name="T1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5">
                  <a:moveTo>
                    <a:pt x="58" y="0"/>
                  </a:moveTo>
                  <a:cubicBezTo>
                    <a:pt x="40" y="0"/>
                    <a:pt x="25" y="13"/>
                    <a:pt x="21" y="3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4" y="141"/>
                    <a:pt x="8" y="140"/>
                    <a:pt x="11" y="141"/>
                  </a:cubicBezTo>
                  <a:cubicBezTo>
                    <a:pt x="37" y="142"/>
                    <a:pt x="63" y="147"/>
                    <a:pt x="87" y="155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0DE1C9CD-E8AE-465F-9317-BE5BCCB1C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" y="301"/>
              <a:ext cx="1129" cy="588"/>
            </a:xfrm>
            <a:custGeom>
              <a:avLst/>
              <a:gdLst>
                <a:gd name="T0" fmla="*/ 40 w 549"/>
                <a:gd name="T1" fmla="*/ 0 h 286"/>
                <a:gd name="T2" fmla="*/ 0 w 549"/>
                <a:gd name="T3" fmla="*/ 40 h 286"/>
                <a:gd name="T4" fmla="*/ 0 w 549"/>
                <a:gd name="T5" fmla="*/ 64 h 286"/>
                <a:gd name="T6" fmla="*/ 71 w 549"/>
                <a:gd name="T7" fmla="*/ 64 h 286"/>
                <a:gd name="T8" fmla="*/ 71 w 549"/>
                <a:gd name="T9" fmla="*/ 105 h 286"/>
                <a:gd name="T10" fmla="*/ 0 w 549"/>
                <a:gd name="T11" fmla="*/ 105 h 286"/>
                <a:gd name="T12" fmla="*/ 1 w 549"/>
                <a:gd name="T13" fmla="*/ 155 h 286"/>
                <a:gd name="T14" fmla="*/ 71 w 549"/>
                <a:gd name="T15" fmla="*/ 155 h 286"/>
                <a:gd name="T16" fmla="*/ 71 w 549"/>
                <a:gd name="T17" fmla="*/ 195 h 286"/>
                <a:gd name="T18" fmla="*/ 1 w 549"/>
                <a:gd name="T19" fmla="*/ 195 h 286"/>
                <a:gd name="T20" fmla="*/ 2 w 549"/>
                <a:gd name="T21" fmla="*/ 257 h 286"/>
                <a:gd name="T22" fmla="*/ 40 w 549"/>
                <a:gd name="T23" fmla="*/ 252 h 286"/>
                <a:gd name="T24" fmla="*/ 139 w 549"/>
                <a:gd name="T25" fmla="*/ 286 h 286"/>
                <a:gd name="T26" fmla="*/ 466 w 549"/>
                <a:gd name="T27" fmla="*/ 286 h 286"/>
                <a:gd name="T28" fmla="*/ 549 w 549"/>
                <a:gd name="T29" fmla="*/ 115 h 286"/>
                <a:gd name="T30" fmla="*/ 536 w 549"/>
                <a:gd name="T31" fmla="*/ 109 h 286"/>
                <a:gd name="T32" fmla="*/ 472 w 549"/>
                <a:gd name="T33" fmla="*/ 10 h 286"/>
                <a:gd name="T34" fmla="*/ 472 w 549"/>
                <a:gd name="T35" fmla="*/ 0 h 286"/>
                <a:gd name="T36" fmla="*/ 40 w 549"/>
                <a:gd name="T3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9" h="286"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1" y="155"/>
                    <a:pt x="1" y="155"/>
                    <a:pt x="1" y="155"/>
                  </a:cubicBezTo>
                  <a:cubicBezTo>
                    <a:pt x="71" y="155"/>
                    <a:pt x="71" y="155"/>
                    <a:pt x="71" y="155"/>
                  </a:cubicBezTo>
                  <a:cubicBezTo>
                    <a:pt x="71" y="195"/>
                    <a:pt x="71" y="195"/>
                    <a:pt x="71" y="195"/>
                  </a:cubicBezTo>
                  <a:cubicBezTo>
                    <a:pt x="1" y="195"/>
                    <a:pt x="1" y="195"/>
                    <a:pt x="1" y="195"/>
                  </a:cubicBezTo>
                  <a:cubicBezTo>
                    <a:pt x="2" y="257"/>
                    <a:pt x="2" y="257"/>
                    <a:pt x="2" y="257"/>
                  </a:cubicBezTo>
                  <a:cubicBezTo>
                    <a:pt x="14" y="254"/>
                    <a:pt x="27" y="252"/>
                    <a:pt x="40" y="252"/>
                  </a:cubicBezTo>
                  <a:cubicBezTo>
                    <a:pt x="77" y="252"/>
                    <a:pt x="111" y="265"/>
                    <a:pt x="139" y="286"/>
                  </a:cubicBezTo>
                  <a:cubicBezTo>
                    <a:pt x="466" y="286"/>
                    <a:pt x="466" y="286"/>
                    <a:pt x="466" y="286"/>
                  </a:cubicBezTo>
                  <a:cubicBezTo>
                    <a:pt x="475" y="222"/>
                    <a:pt x="504" y="162"/>
                    <a:pt x="549" y="115"/>
                  </a:cubicBezTo>
                  <a:cubicBezTo>
                    <a:pt x="536" y="109"/>
                    <a:pt x="536" y="109"/>
                    <a:pt x="536" y="109"/>
                  </a:cubicBezTo>
                  <a:cubicBezTo>
                    <a:pt x="497" y="92"/>
                    <a:pt x="472" y="53"/>
                    <a:pt x="472" y="10"/>
                  </a:cubicBezTo>
                  <a:cubicBezTo>
                    <a:pt x="472" y="0"/>
                    <a:pt x="472" y="0"/>
                    <a:pt x="472" y="0"/>
                  </a:cubicBez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3FE4E829-CCC0-41B5-90FB-729888177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" y="973"/>
              <a:ext cx="597" cy="97"/>
            </a:xfrm>
            <a:custGeom>
              <a:avLst/>
              <a:gdLst>
                <a:gd name="T0" fmla="*/ 0 w 290"/>
                <a:gd name="T1" fmla="*/ 0 h 47"/>
                <a:gd name="T2" fmla="*/ 20 w 290"/>
                <a:gd name="T3" fmla="*/ 47 h 47"/>
                <a:gd name="T4" fmla="*/ 290 w 290"/>
                <a:gd name="T5" fmla="*/ 47 h 47"/>
                <a:gd name="T6" fmla="*/ 287 w 290"/>
                <a:gd name="T7" fmla="*/ 0 h 47"/>
                <a:gd name="T8" fmla="*/ 0 w 290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7">
                  <a:moveTo>
                    <a:pt x="0" y="0"/>
                  </a:moveTo>
                  <a:cubicBezTo>
                    <a:pt x="9" y="14"/>
                    <a:pt x="16" y="30"/>
                    <a:pt x="20" y="47"/>
                  </a:cubicBezTo>
                  <a:cubicBezTo>
                    <a:pt x="290" y="47"/>
                    <a:pt x="290" y="47"/>
                    <a:pt x="290" y="47"/>
                  </a:cubicBezTo>
                  <a:cubicBezTo>
                    <a:pt x="287" y="31"/>
                    <a:pt x="287" y="15"/>
                    <a:pt x="287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2AD95647-D65C-4838-8463-FE2B5719A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" y="-181"/>
              <a:ext cx="222" cy="572"/>
            </a:xfrm>
            <a:custGeom>
              <a:avLst/>
              <a:gdLst>
                <a:gd name="T0" fmla="*/ 41 w 108"/>
                <a:gd name="T1" fmla="*/ 0 h 278"/>
                <a:gd name="T2" fmla="*/ 1 w 108"/>
                <a:gd name="T3" fmla="*/ 40 h 278"/>
                <a:gd name="T4" fmla="*/ 0 w 108"/>
                <a:gd name="T5" fmla="*/ 251 h 278"/>
                <a:gd name="T6" fmla="*/ 41 w 108"/>
                <a:gd name="T7" fmla="*/ 251 h 278"/>
                <a:gd name="T8" fmla="*/ 41 w 108"/>
                <a:gd name="T9" fmla="*/ 40 h 278"/>
                <a:gd name="T10" fmla="*/ 81 w 108"/>
                <a:gd name="T11" fmla="*/ 40 h 278"/>
                <a:gd name="T12" fmla="*/ 81 w 108"/>
                <a:gd name="T13" fmla="*/ 0 h 278"/>
                <a:gd name="T14" fmla="*/ 41 w 108"/>
                <a:gd name="T1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278">
                  <a:moveTo>
                    <a:pt x="41" y="0"/>
                  </a:moveTo>
                  <a:cubicBezTo>
                    <a:pt x="19" y="0"/>
                    <a:pt x="1" y="18"/>
                    <a:pt x="1" y="40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78"/>
                    <a:pt x="41" y="278"/>
                    <a:pt x="41" y="25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68" y="40"/>
                    <a:pt x="81" y="40"/>
                  </a:cubicBezTo>
                  <a:cubicBezTo>
                    <a:pt x="108" y="41"/>
                    <a:pt x="108" y="0"/>
                    <a:pt x="81" y="0"/>
                  </a:cubicBez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ACC14986-A440-4F9A-8ACC-41DFEF36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4" y="12"/>
              <a:ext cx="302" cy="299"/>
            </a:xfrm>
            <a:custGeom>
              <a:avLst/>
              <a:gdLst>
                <a:gd name="T0" fmla="*/ 44 w 147"/>
                <a:gd name="T1" fmla="*/ 0 h 145"/>
                <a:gd name="T2" fmla="*/ 24 w 147"/>
                <a:gd name="T3" fmla="*/ 20 h 145"/>
                <a:gd name="T4" fmla="*/ 30 w 147"/>
                <a:gd name="T5" fmla="*/ 35 h 145"/>
                <a:gd name="T6" fmla="*/ 56 w 147"/>
                <a:gd name="T7" fmla="*/ 61 h 145"/>
                <a:gd name="T8" fmla="*/ 0 w 147"/>
                <a:gd name="T9" fmla="*/ 117 h 145"/>
                <a:gd name="T10" fmla="*/ 29 w 147"/>
                <a:gd name="T11" fmla="*/ 145 h 145"/>
                <a:gd name="T12" fmla="*/ 85 w 147"/>
                <a:gd name="T13" fmla="*/ 89 h 145"/>
                <a:gd name="T14" fmla="*/ 111 w 147"/>
                <a:gd name="T15" fmla="*/ 115 h 145"/>
                <a:gd name="T16" fmla="*/ 139 w 147"/>
                <a:gd name="T17" fmla="*/ 116 h 145"/>
                <a:gd name="T18" fmla="*/ 140 w 147"/>
                <a:gd name="T19" fmla="*/ 87 h 145"/>
                <a:gd name="T20" fmla="*/ 139 w 147"/>
                <a:gd name="T21" fmla="*/ 87 h 145"/>
                <a:gd name="T22" fmla="*/ 59 w 147"/>
                <a:gd name="T23" fmla="*/ 6 h 145"/>
                <a:gd name="T24" fmla="*/ 44 w 147"/>
                <a:gd name="T2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7" h="145">
                  <a:moveTo>
                    <a:pt x="44" y="0"/>
                  </a:moveTo>
                  <a:cubicBezTo>
                    <a:pt x="33" y="0"/>
                    <a:pt x="24" y="9"/>
                    <a:pt x="24" y="20"/>
                  </a:cubicBezTo>
                  <a:cubicBezTo>
                    <a:pt x="24" y="26"/>
                    <a:pt x="27" y="31"/>
                    <a:pt x="30" y="35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8" y="123"/>
                    <a:pt x="131" y="123"/>
                    <a:pt x="139" y="116"/>
                  </a:cubicBezTo>
                  <a:cubicBezTo>
                    <a:pt x="147" y="108"/>
                    <a:pt x="147" y="95"/>
                    <a:pt x="140" y="87"/>
                  </a:cubicBezTo>
                  <a:cubicBezTo>
                    <a:pt x="140" y="87"/>
                    <a:pt x="139" y="87"/>
                    <a:pt x="139" y="87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5" y="2"/>
                    <a:pt x="50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252382DA-BEAF-4193-A44A-8AABE8C72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5" y="881"/>
              <a:ext cx="537" cy="537"/>
            </a:xfrm>
            <a:custGeom>
              <a:avLst/>
              <a:gdLst>
                <a:gd name="T0" fmla="*/ 130 w 261"/>
                <a:gd name="T1" fmla="*/ 0 h 261"/>
                <a:gd name="T2" fmla="*/ 0 w 261"/>
                <a:gd name="T3" fmla="*/ 130 h 261"/>
                <a:gd name="T4" fmla="*/ 0 w 261"/>
                <a:gd name="T5" fmla="*/ 130 h 261"/>
                <a:gd name="T6" fmla="*/ 130 w 261"/>
                <a:gd name="T7" fmla="*/ 261 h 261"/>
                <a:gd name="T8" fmla="*/ 130 w 261"/>
                <a:gd name="T9" fmla="*/ 261 h 261"/>
                <a:gd name="T10" fmla="*/ 261 w 261"/>
                <a:gd name="T11" fmla="*/ 130 h 261"/>
                <a:gd name="T12" fmla="*/ 130 w 261"/>
                <a:gd name="T13" fmla="*/ 0 h 261"/>
                <a:gd name="T14" fmla="*/ 130 w 261"/>
                <a:gd name="T15" fmla="*/ 80 h 261"/>
                <a:gd name="T16" fmla="*/ 181 w 261"/>
                <a:gd name="T17" fmla="*/ 130 h 261"/>
                <a:gd name="T18" fmla="*/ 130 w 261"/>
                <a:gd name="T19" fmla="*/ 181 h 261"/>
                <a:gd name="T20" fmla="*/ 80 w 261"/>
                <a:gd name="T21" fmla="*/ 130 h 261"/>
                <a:gd name="T22" fmla="*/ 130 w 261"/>
                <a:gd name="T23" fmla="*/ 8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261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202"/>
                    <a:pt x="58" y="261"/>
                    <a:pt x="130" y="261"/>
                  </a:cubicBezTo>
                  <a:cubicBezTo>
                    <a:pt x="130" y="261"/>
                    <a:pt x="130" y="261"/>
                    <a:pt x="130" y="261"/>
                  </a:cubicBezTo>
                  <a:cubicBezTo>
                    <a:pt x="202" y="261"/>
                    <a:pt x="261" y="202"/>
                    <a:pt x="261" y="130"/>
                  </a:cubicBezTo>
                  <a:cubicBezTo>
                    <a:pt x="261" y="58"/>
                    <a:pt x="202" y="0"/>
                    <a:pt x="130" y="0"/>
                  </a:cubicBezTo>
                  <a:close/>
                  <a:moveTo>
                    <a:pt x="130" y="80"/>
                  </a:moveTo>
                  <a:cubicBezTo>
                    <a:pt x="158" y="80"/>
                    <a:pt x="181" y="103"/>
                    <a:pt x="181" y="130"/>
                  </a:cubicBezTo>
                  <a:cubicBezTo>
                    <a:pt x="181" y="158"/>
                    <a:pt x="158" y="181"/>
                    <a:pt x="130" y="181"/>
                  </a:cubicBezTo>
                  <a:cubicBezTo>
                    <a:pt x="103" y="181"/>
                    <a:pt x="80" y="158"/>
                    <a:pt x="80" y="130"/>
                  </a:cubicBezTo>
                  <a:cubicBezTo>
                    <a:pt x="80" y="103"/>
                    <a:pt x="103" y="80"/>
                    <a:pt x="13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A7F95D98-620A-443C-8190-E24D256EE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1" y="391"/>
              <a:ext cx="1114" cy="770"/>
            </a:xfrm>
            <a:custGeom>
              <a:avLst/>
              <a:gdLst>
                <a:gd name="T0" fmla="*/ 284 w 542"/>
                <a:gd name="T1" fmla="*/ 7 h 374"/>
                <a:gd name="T2" fmla="*/ 188 w 542"/>
                <a:gd name="T3" fmla="*/ 32 h 374"/>
                <a:gd name="T4" fmla="*/ 34 w 542"/>
                <a:gd name="T5" fmla="*/ 357 h 374"/>
                <a:gd name="T6" fmla="*/ 59 w 542"/>
                <a:gd name="T7" fmla="*/ 372 h 374"/>
                <a:gd name="T8" fmla="*/ 74 w 542"/>
                <a:gd name="T9" fmla="*/ 348 h 374"/>
                <a:gd name="T10" fmla="*/ 73 w 542"/>
                <a:gd name="T11" fmla="*/ 346 h 374"/>
                <a:gd name="T12" fmla="*/ 205 w 542"/>
                <a:gd name="T13" fmla="*/ 68 h 374"/>
                <a:gd name="T14" fmla="*/ 502 w 542"/>
                <a:gd name="T15" fmla="*/ 150 h 374"/>
                <a:gd name="T16" fmla="*/ 530 w 542"/>
                <a:gd name="T17" fmla="*/ 156 h 374"/>
                <a:gd name="T18" fmla="*/ 536 w 542"/>
                <a:gd name="T19" fmla="*/ 128 h 374"/>
                <a:gd name="T20" fmla="*/ 535 w 542"/>
                <a:gd name="T21" fmla="*/ 127 h 374"/>
                <a:gd name="T22" fmla="*/ 284 w 542"/>
                <a:gd name="T23" fmla="*/ 7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374">
                  <a:moveTo>
                    <a:pt x="284" y="7"/>
                  </a:moveTo>
                  <a:cubicBezTo>
                    <a:pt x="251" y="9"/>
                    <a:pt x="219" y="18"/>
                    <a:pt x="188" y="32"/>
                  </a:cubicBezTo>
                  <a:cubicBezTo>
                    <a:pt x="65" y="88"/>
                    <a:pt x="0" y="225"/>
                    <a:pt x="34" y="357"/>
                  </a:cubicBezTo>
                  <a:cubicBezTo>
                    <a:pt x="37" y="367"/>
                    <a:pt x="48" y="374"/>
                    <a:pt x="59" y="372"/>
                  </a:cubicBezTo>
                  <a:cubicBezTo>
                    <a:pt x="69" y="369"/>
                    <a:pt x="76" y="358"/>
                    <a:pt x="74" y="348"/>
                  </a:cubicBezTo>
                  <a:cubicBezTo>
                    <a:pt x="74" y="347"/>
                    <a:pt x="73" y="347"/>
                    <a:pt x="73" y="346"/>
                  </a:cubicBezTo>
                  <a:cubicBezTo>
                    <a:pt x="44" y="234"/>
                    <a:pt x="99" y="117"/>
                    <a:pt x="205" y="68"/>
                  </a:cubicBezTo>
                  <a:cubicBezTo>
                    <a:pt x="311" y="20"/>
                    <a:pt x="436" y="54"/>
                    <a:pt x="502" y="150"/>
                  </a:cubicBezTo>
                  <a:cubicBezTo>
                    <a:pt x="508" y="159"/>
                    <a:pt x="520" y="162"/>
                    <a:pt x="530" y="156"/>
                  </a:cubicBezTo>
                  <a:cubicBezTo>
                    <a:pt x="539" y="150"/>
                    <a:pt x="542" y="137"/>
                    <a:pt x="536" y="128"/>
                  </a:cubicBezTo>
                  <a:cubicBezTo>
                    <a:pt x="535" y="128"/>
                    <a:pt x="535" y="127"/>
                    <a:pt x="535" y="127"/>
                  </a:cubicBezTo>
                  <a:cubicBezTo>
                    <a:pt x="477" y="43"/>
                    <a:pt x="380" y="0"/>
                    <a:pt x="28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8175C2F0-18AD-4D24-A308-29B4E7D96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" y="580"/>
              <a:ext cx="802" cy="801"/>
            </a:xfrm>
            <a:custGeom>
              <a:avLst/>
              <a:gdLst>
                <a:gd name="T0" fmla="*/ 195 w 390"/>
                <a:gd name="T1" fmla="*/ 0 h 389"/>
                <a:gd name="T2" fmla="*/ 0 w 390"/>
                <a:gd name="T3" fmla="*/ 195 h 389"/>
                <a:gd name="T4" fmla="*/ 195 w 390"/>
                <a:gd name="T5" fmla="*/ 389 h 389"/>
                <a:gd name="T6" fmla="*/ 390 w 390"/>
                <a:gd name="T7" fmla="*/ 195 h 389"/>
                <a:gd name="T8" fmla="*/ 195 w 390"/>
                <a:gd name="T9" fmla="*/ 0 h 389"/>
                <a:gd name="T10" fmla="*/ 195 w 390"/>
                <a:gd name="T11" fmla="*/ 102 h 389"/>
                <a:gd name="T12" fmla="*/ 288 w 390"/>
                <a:gd name="T13" fmla="*/ 195 h 389"/>
                <a:gd name="T14" fmla="*/ 195 w 390"/>
                <a:gd name="T15" fmla="*/ 288 h 389"/>
                <a:gd name="T16" fmla="*/ 102 w 390"/>
                <a:gd name="T17" fmla="*/ 195 h 389"/>
                <a:gd name="T18" fmla="*/ 195 w 390"/>
                <a:gd name="T19" fmla="*/ 102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0" h="389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2"/>
                    <a:pt x="88" y="389"/>
                    <a:pt x="195" y="389"/>
                  </a:cubicBezTo>
                  <a:cubicBezTo>
                    <a:pt x="302" y="389"/>
                    <a:pt x="390" y="302"/>
                    <a:pt x="390" y="195"/>
                  </a:cubicBezTo>
                  <a:cubicBezTo>
                    <a:pt x="390" y="88"/>
                    <a:pt x="302" y="0"/>
                    <a:pt x="195" y="0"/>
                  </a:cubicBezTo>
                  <a:close/>
                  <a:moveTo>
                    <a:pt x="195" y="102"/>
                  </a:moveTo>
                  <a:cubicBezTo>
                    <a:pt x="246" y="102"/>
                    <a:pt x="288" y="144"/>
                    <a:pt x="288" y="195"/>
                  </a:cubicBezTo>
                  <a:cubicBezTo>
                    <a:pt x="288" y="246"/>
                    <a:pt x="246" y="288"/>
                    <a:pt x="195" y="288"/>
                  </a:cubicBezTo>
                  <a:cubicBezTo>
                    <a:pt x="144" y="288"/>
                    <a:pt x="102" y="246"/>
                    <a:pt x="102" y="195"/>
                  </a:cubicBezTo>
                  <a:cubicBezTo>
                    <a:pt x="102" y="144"/>
                    <a:pt x="144" y="102"/>
                    <a:pt x="195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" name="Rectangle 13">
              <a:extLst>
                <a:ext uri="{FF2B5EF4-FFF2-40B4-BE49-F238E27FC236}">
                  <a16:creationId xmlns:a16="http://schemas.microsoft.com/office/drawing/2014/main" xmlns="" id="{A88E1CE3-05E4-4B7E-8707-305399514C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" y="1342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" name="Rectangle 14">
              <a:extLst>
                <a:ext uri="{FF2B5EF4-FFF2-40B4-BE49-F238E27FC236}">
                  <a16:creationId xmlns:a16="http://schemas.microsoft.com/office/drawing/2014/main" xmlns="" id="{5C1FE195-C8D7-4862-8A99-07AE2DD55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" y="541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xmlns="" id="{F679E0F7-75EB-46C4-89FA-E69B6CA5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1307"/>
              <a:ext cx="97" cy="97"/>
            </a:xfrm>
            <a:custGeom>
              <a:avLst/>
              <a:gdLst>
                <a:gd name="T0" fmla="*/ 72 w 97"/>
                <a:gd name="T1" fmla="*/ 0 h 97"/>
                <a:gd name="T2" fmla="*/ 0 w 97"/>
                <a:gd name="T3" fmla="*/ 27 h 97"/>
                <a:gd name="T4" fmla="*/ 25 w 97"/>
                <a:gd name="T5" fmla="*/ 97 h 97"/>
                <a:gd name="T6" fmla="*/ 97 w 97"/>
                <a:gd name="T7" fmla="*/ 72 h 97"/>
                <a:gd name="T8" fmla="*/ 72 w 97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7">
                  <a:moveTo>
                    <a:pt x="72" y="0"/>
                  </a:moveTo>
                  <a:lnTo>
                    <a:pt x="0" y="27"/>
                  </a:lnTo>
                  <a:lnTo>
                    <a:pt x="25" y="97"/>
                  </a:lnTo>
                  <a:lnTo>
                    <a:pt x="97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xmlns="" id="{FE95BEF8-740E-4DCA-98C4-B3F280D4E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" y="554"/>
              <a:ext cx="96" cy="98"/>
            </a:xfrm>
            <a:custGeom>
              <a:avLst/>
              <a:gdLst>
                <a:gd name="T0" fmla="*/ 70 w 96"/>
                <a:gd name="T1" fmla="*/ 0 h 98"/>
                <a:gd name="T2" fmla="*/ 0 w 96"/>
                <a:gd name="T3" fmla="*/ 26 h 98"/>
                <a:gd name="T4" fmla="*/ 25 w 96"/>
                <a:gd name="T5" fmla="*/ 98 h 98"/>
                <a:gd name="T6" fmla="*/ 96 w 96"/>
                <a:gd name="T7" fmla="*/ 72 h 98"/>
                <a:gd name="T8" fmla="*/ 70 w 9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8">
                  <a:moveTo>
                    <a:pt x="70" y="0"/>
                  </a:moveTo>
                  <a:lnTo>
                    <a:pt x="0" y="26"/>
                  </a:lnTo>
                  <a:lnTo>
                    <a:pt x="25" y="98"/>
                  </a:lnTo>
                  <a:lnTo>
                    <a:pt x="96" y="72"/>
                  </a:lnTo>
                  <a:lnTo>
                    <a:pt x="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xmlns="" id="{B536E922-E754-4C4C-8515-F08EB6EF7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1233"/>
              <a:ext cx="106" cy="107"/>
            </a:xfrm>
            <a:custGeom>
              <a:avLst/>
              <a:gdLst>
                <a:gd name="T0" fmla="*/ 57 w 106"/>
                <a:gd name="T1" fmla="*/ 0 h 107"/>
                <a:gd name="T2" fmla="*/ 0 w 106"/>
                <a:gd name="T3" fmla="*/ 49 h 107"/>
                <a:gd name="T4" fmla="*/ 49 w 106"/>
                <a:gd name="T5" fmla="*/ 107 h 107"/>
                <a:gd name="T6" fmla="*/ 106 w 106"/>
                <a:gd name="T7" fmla="*/ 57 h 107"/>
                <a:gd name="T8" fmla="*/ 57 w 106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07">
                  <a:moveTo>
                    <a:pt x="57" y="0"/>
                  </a:moveTo>
                  <a:lnTo>
                    <a:pt x="0" y="49"/>
                  </a:lnTo>
                  <a:lnTo>
                    <a:pt x="49" y="107"/>
                  </a:lnTo>
                  <a:lnTo>
                    <a:pt x="106" y="57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xmlns="" id="{07FF15DD-F35F-4250-AB5B-FE1AAE634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620"/>
              <a:ext cx="107" cy="107"/>
            </a:xfrm>
            <a:custGeom>
              <a:avLst/>
              <a:gdLst>
                <a:gd name="T0" fmla="*/ 58 w 107"/>
                <a:gd name="T1" fmla="*/ 0 h 107"/>
                <a:gd name="T2" fmla="*/ 0 w 107"/>
                <a:gd name="T3" fmla="*/ 47 h 107"/>
                <a:gd name="T4" fmla="*/ 50 w 107"/>
                <a:gd name="T5" fmla="*/ 107 h 107"/>
                <a:gd name="T6" fmla="*/ 107 w 107"/>
                <a:gd name="T7" fmla="*/ 57 h 107"/>
                <a:gd name="T8" fmla="*/ 58 w 107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07">
                  <a:moveTo>
                    <a:pt x="58" y="0"/>
                  </a:moveTo>
                  <a:lnTo>
                    <a:pt x="0" y="47"/>
                  </a:lnTo>
                  <a:lnTo>
                    <a:pt x="50" y="107"/>
                  </a:lnTo>
                  <a:lnTo>
                    <a:pt x="107" y="57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xmlns="" id="{868B5ECB-1D57-4C7B-B81E-F6DEB4C8E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" y="1128"/>
              <a:ext cx="105" cy="103"/>
            </a:xfrm>
            <a:custGeom>
              <a:avLst/>
              <a:gdLst>
                <a:gd name="T0" fmla="*/ 39 w 105"/>
                <a:gd name="T1" fmla="*/ 0 h 103"/>
                <a:gd name="T2" fmla="*/ 0 w 105"/>
                <a:gd name="T3" fmla="*/ 66 h 103"/>
                <a:gd name="T4" fmla="*/ 66 w 105"/>
                <a:gd name="T5" fmla="*/ 103 h 103"/>
                <a:gd name="T6" fmla="*/ 105 w 105"/>
                <a:gd name="T7" fmla="*/ 37 h 103"/>
                <a:gd name="T8" fmla="*/ 39 w 10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03">
                  <a:moveTo>
                    <a:pt x="39" y="0"/>
                  </a:moveTo>
                  <a:lnTo>
                    <a:pt x="0" y="66"/>
                  </a:lnTo>
                  <a:lnTo>
                    <a:pt x="66" y="103"/>
                  </a:lnTo>
                  <a:lnTo>
                    <a:pt x="105" y="37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" name="Freeform 20">
              <a:extLst>
                <a:ext uri="{FF2B5EF4-FFF2-40B4-BE49-F238E27FC236}">
                  <a16:creationId xmlns:a16="http://schemas.microsoft.com/office/drawing/2014/main" xmlns="" id="{3F872EA4-2B8F-4AC9-B09C-4304BEC3D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" y="727"/>
              <a:ext cx="105" cy="104"/>
            </a:xfrm>
            <a:custGeom>
              <a:avLst/>
              <a:gdLst>
                <a:gd name="T0" fmla="*/ 39 w 105"/>
                <a:gd name="T1" fmla="*/ 0 h 104"/>
                <a:gd name="T2" fmla="*/ 0 w 105"/>
                <a:gd name="T3" fmla="*/ 65 h 104"/>
                <a:gd name="T4" fmla="*/ 66 w 105"/>
                <a:gd name="T5" fmla="*/ 104 h 104"/>
                <a:gd name="T6" fmla="*/ 105 w 105"/>
                <a:gd name="T7" fmla="*/ 39 h 104"/>
                <a:gd name="T8" fmla="*/ 39 w 10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04">
                  <a:moveTo>
                    <a:pt x="39" y="0"/>
                  </a:moveTo>
                  <a:lnTo>
                    <a:pt x="0" y="65"/>
                  </a:lnTo>
                  <a:lnTo>
                    <a:pt x="66" y="104"/>
                  </a:lnTo>
                  <a:lnTo>
                    <a:pt x="105" y="39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9" name="Freeform 21">
              <a:extLst>
                <a:ext uri="{FF2B5EF4-FFF2-40B4-BE49-F238E27FC236}">
                  <a16:creationId xmlns:a16="http://schemas.microsoft.com/office/drawing/2014/main" xmlns="" id="{8D96429D-9D75-4625-A7A8-779A64013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" y="1004"/>
              <a:ext cx="88" cy="89"/>
            </a:xfrm>
            <a:custGeom>
              <a:avLst/>
              <a:gdLst>
                <a:gd name="T0" fmla="*/ 14 w 88"/>
                <a:gd name="T1" fmla="*/ 0 h 89"/>
                <a:gd name="T2" fmla="*/ 0 w 88"/>
                <a:gd name="T3" fmla="*/ 76 h 89"/>
                <a:gd name="T4" fmla="*/ 76 w 88"/>
                <a:gd name="T5" fmla="*/ 89 h 89"/>
                <a:gd name="T6" fmla="*/ 88 w 88"/>
                <a:gd name="T7" fmla="*/ 15 h 89"/>
                <a:gd name="T8" fmla="*/ 14 w 8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9">
                  <a:moveTo>
                    <a:pt x="14" y="0"/>
                  </a:moveTo>
                  <a:lnTo>
                    <a:pt x="0" y="76"/>
                  </a:lnTo>
                  <a:lnTo>
                    <a:pt x="76" y="89"/>
                  </a:lnTo>
                  <a:lnTo>
                    <a:pt x="88" y="15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0" name="Freeform 22">
              <a:extLst>
                <a:ext uri="{FF2B5EF4-FFF2-40B4-BE49-F238E27FC236}">
                  <a16:creationId xmlns:a16="http://schemas.microsoft.com/office/drawing/2014/main" xmlns="" id="{C001CDB2-A045-44EE-957A-81831F0F7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" y="866"/>
              <a:ext cx="88" cy="87"/>
            </a:xfrm>
            <a:custGeom>
              <a:avLst/>
              <a:gdLst>
                <a:gd name="T0" fmla="*/ 12 w 88"/>
                <a:gd name="T1" fmla="*/ 0 h 87"/>
                <a:gd name="T2" fmla="*/ 0 w 88"/>
                <a:gd name="T3" fmla="*/ 75 h 87"/>
                <a:gd name="T4" fmla="*/ 74 w 88"/>
                <a:gd name="T5" fmla="*/ 87 h 87"/>
                <a:gd name="T6" fmla="*/ 88 w 88"/>
                <a:gd name="T7" fmla="*/ 13 h 87"/>
                <a:gd name="T8" fmla="*/ 12 w 8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7">
                  <a:moveTo>
                    <a:pt x="12" y="0"/>
                  </a:moveTo>
                  <a:lnTo>
                    <a:pt x="0" y="75"/>
                  </a:lnTo>
                  <a:lnTo>
                    <a:pt x="74" y="87"/>
                  </a:lnTo>
                  <a:lnTo>
                    <a:pt x="88" y="13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" name="Freeform 23">
              <a:extLst>
                <a:ext uri="{FF2B5EF4-FFF2-40B4-BE49-F238E27FC236}">
                  <a16:creationId xmlns:a16="http://schemas.microsoft.com/office/drawing/2014/main" xmlns="" id="{E8F70171-174D-46DD-9286-7521F9471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" y="866"/>
              <a:ext cx="88" cy="87"/>
            </a:xfrm>
            <a:custGeom>
              <a:avLst/>
              <a:gdLst>
                <a:gd name="T0" fmla="*/ 76 w 88"/>
                <a:gd name="T1" fmla="*/ 0 h 87"/>
                <a:gd name="T2" fmla="*/ 0 w 88"/>
                <a:gd name="T3" fmla="*/ 13 h 87"/>
                <a:gd name="T4" fmla="*/ 14 w 88"/>
                <a:gd name="T5" fmla="*/ 87 h 87"/>
                <a:gd name="T6" fmla="*/ 88 w 88"/>
                <a:gd name="T7" fmla="*/ 75 h 87"/>
                <a:gd name="T8" fmla="*/ 76 w 88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7">
                  <a:moveTo>
                    <a:pt x="76" y="0"/>
                  </a:moveTo>
                  <a:lnTo>
                    <a:pt x="0" y="13"/>
                  </a:lnTo>
                  <a:lnTo>
                    <a:pt x="14" y="87"/>
                  </a:lnTo>
                  <a:lnTo>
                    <a:pt x="88" y="75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" name="Freeform 24">
              <a:extLst>
                <a:ext uri="{FF2B5EF4-FFF2-40B4-BE49-F238E27FC236}">
                  <a16:creationId xmlns:a16="http://schemas.microsoft.com/office/drawing/2014/main" xmlns="" id="{A0736464-A50A-46D4-893A-EDAE3AC3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0" y="1004"/>
              <a:ext cx="88" cy="89"/>
            </a:xfrm>
            <a:custGeom>
              <a:avLst/>
              <a:gdLst>
                <a:gd name="T0" fmla="*/ 74 w 88"/>
                <a:gd name="T1" fmla="*/ 0 h 89"/>
                <a:gd name="T2" fmla="*/ 0 w 88"/>
                <a:gd name="T3" fmla="*/ 15 h 89"/>
                <a:gd name="T4" fmla="*/ 12 w 88"/>
                <a:gd name="T5" fmla="*/ 89 h 89"/>
                <a:gd name="T6" fmla="*/ 88 w 88"/>
                <a:gd name="T7" fmla="*/ 76 h 89"/>
                <a:gd name="T8" fmla="*/ 74 w 8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9">
                  <a:moveTo>
                    <a:pt x="74" y="0"/>
                  </a:moveTo>
                  <a:lnTo>
                    <a:pt x="0" y="15"/>
                  </a:lnTo>
                  <a:lnTo>
                    <a:pt x="12" y="89"/>
                  </a:lnTo>
                  <a:lnTo>
                    <a:pt x="88" y="76"/>
                  </a:lnTo>
                  <a:lnTo>
                    <a:pt x="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" name="Freeform 25">
              <a:extLst>
                <a:ext uri="{FF2B5EF4-FFF2-40B4-BE49-F238E27FC236}">
                  <a16:creationId xmlns:a16="http://schemas.microsoft.com/office/drawing/2014/main" xmlns="" id="{E7F97B02-2631-4619-9E77-AC2A3D72B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" y="727"/>
              <a:ext cx="105" cy="104"/>
            </a:xfrm>
            <a:custGeom>
              <a:avLst/>
              <a:gdLst>
                <a:gd name="T0" fmla="*/ 66 w 105"/>
                <a:gd name="T1" fmla="*/ 0 h 104"/>
                <a:gd name="T2" fmla="*/ 0 w 105"/>
                <a:gd name="T3" fmla="*/ 39 h 104"/>
                <a:gd name="T4" fmla="*/ 39 w 105"/>
                <a:gd name="T5" fmla="*/ 104 h 104"/>
                <a:gd name="T6" fmla="*/ 105 w 105"/>
                <a:gd name="T7" fmla="*/ 65 h 104"/>
                <a:gd name="T8" fmla="*/ 66 w 10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04">
                  <a:moveTo>
                    <a:pt x="66" y="0"/>
                  </a:moveTo>
                  <a:lnTo>
                    <a:pt x="0" y="39"/>
                  </a:lnTo>
                  <a:lnTo>
                    <a:pt x="39" y="104"/>
                  </a:lnTo>
                  <a:lnTo>
                    <a:pt x="105" y="65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xmlns="" id="{C96D1079-20F4-49B8-993A-69025C856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" y="1128"/>
              <a:ext cx="105" cy="103"/>
            </a:xfrm>
            <a:custGeom>
              <a:avLst/>
              <a:gdLst>
                <a:gd name="T0" fmla="*/ 66 w 105"/>
                <a:gd name="T1" fmla="*/ 0 h 103"/>
                <a:gd name="T2" fmla="*/ 0 w 105"/>
                <a:gd name="T3" fmla="*/ 37 h 103"/>
                <a:gd name="T4" fmla="*/ 39 w 105"/>
                <a:gd name="T5" fmla="*/ 103 h 103"/>
                <a:gd name="T6" fmla="*/ 105 w 105"/>
                <a:gd name="T7" fmla="*/ 66 h 103"/>
                <a:gd name="T8" fmla="*/ 66 w 10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03">
                  <a:moveTo>
                    <a:pt x="66" y="0"/>
                  </a:moveTo>
                  <a:lnTo>
                    <a:pt x="0" y="37"/>
                  </a:lnTo>
                  <a:lnTo>
                    <a:pt x="39" y="103"/>
                  </a:lnTo>
                  <a:lnTo>
                    <a:pt x="105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" name="Freeform 27">
              <a:extLst>
                <a:ext uri="{FF2B5EF4-FFF2-40B4-BE49-F238E27FC236}">
                  <a16:creationId xmlns:a16="http://schemas.microsoft.com/office/drawing/2014/main" xmlns="" id="{626066B7-0AA8-407A-A85C-064F393B9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" y="620"/>
              <a:ext cx="106" cy="107"/>
            </a:xfrm>
            <a:custGeom>
              <a:avLst/>
              <a:gdLst>
                <a:gd name="T0" fmla="*/ 49 w 106"/>
                <a:gd name="T1" fmla="*/ 0 h 107"/>
                <a:gd name="T2" fmla="*/ 0 w 106"/>
                <a:gd name="T3" fmla="*/ 57 h 107"/>
                <a:gd name="T4" fmla="*/ 57 w 106"/>
                <a:gd name="T5" fmla="*/ 107 h 107"/>
                <a:gd name="T6" fmla="*/ 106 w 106"/>
                <a:gd name="T7" fmla="*/ 47 h 107"/>
                <a:gd name="T8" fmla="*/ 49 w 106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07">
                  <a:moveTo>
                    <a:pt x="49" y="0"/>
                  </a:moveTo>
                  <a:lnTo>
                    <a:pt x="0" y="57"/>
                  </a:lnTo>
                  <a:lnTo>
                    <a:pt x="57" y="107"/>
                  </a:lnTo>
                  <a:lnTo>
                    <a:pt x="106" y="47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" name="Freeform 28">
              <a:extLst>
                <a:ext uri="{FF2B5EF4-FFF2-40B4-BE49-F238E27FC236}">
                  <a16:creationId xmlns:a16="http://schemas.microsoft.com/office/drawing/2014/main" xmlns="" id="{8FF3B64A-416B-4537-8626-0DB1E85DC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1233"/>
              <a:ext cx="107" cy="107"/>
            </a:xfrm>
            <a:custGeom>
              <a:avLst/>
              <a:gdLst>
                <a:gd name="T0" fmla="*/ 50 w 107"/>
                <a:gd name="T1" fmla="*/ 0 h 107"/>
                <a:gd name="T2" fmla="*/ 0 w 107"/>
                <a:gd name="T3" fmla="*/ 57 h 107"/>
                <a:gd name="T4" fmla="*/ 58 w 107"/>
                <a:gd name="T5" fmla="*/ 107 h 107"/>
                <a:gd name="T6" fmla="*/ 107 w 107"/>
                <a:gd name="T7" fmla="*/ 49 h 107"/>
                <a:gd name="T8" fmla="*/ 50 w 107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07">
                  <a:moveTo>
                    <a:pt x="50" y="0"/>
                  </a:moveTo>
                  <a:lnTo>
                    <a:pt x="0" y="57"/>
                  </a:lnTo>
                  <a:lnTo>
                    <a:pt x="58" y="107"/>
                  </a:lnTo>
                  <a:lnTo>
                    <a:pt x="107" y="49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xmlns="" id="{2B5DB0BD-B10F-43F1-A06F-CDE9A06AE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554"/>
              <a:ext cx="97" cy="98"/>
            </a:xfrm>
            <a:custGeom>
              <a:avLst/>
              <a:gdLst>
                <a:gd name="T0" fmla="*/ 25 w 97"/>
                <a:gd name="T1" fmla="*/ 0 h 98"/>
                <a:gd name="T2" fmla="*/ 0 w 97"/>
                <a:gd name="T3" fmla="*/ 72 h 98"/>
                <a:gd name="T4" fmla="*/ 72 w 97"/>
                <a:gd name="T5" fmla="*/ 98 h 98"/>
                <a:gd name="T6" fmla="*/ 97 w 97"/>
                <a:gd name="T7" fmla="*/ 26 h 98"/>
                <a:gd name="T8" fmla="*/ 25 w 97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8">
                  <a:moveTo>
                    <a:pt x="25" y="0"/>
                  </a:moveTo>
                  <a:lnTo>
                    <a:pt x="0" y="72"/>
                  </a:lnTo>
                  <a:lnTo>
                    <a:pt x="72" y="98"/>
                  </a:lnTo>
                  <a:lnTo>
                    <a:pt x="97" y="26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xmlns="" id="{BDCA975D-230B-499B-B037-3C01AF773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" y="1307"/>
              <a:ext cx="96" cy="97"/>
            </a:xfrm>
            <a:custGeom>
              <a:avLst/>
              <a:gdLst>
                <a:gd name="T0" fmla="*/ 25 w 96"/>
                <a:gd name="T1" fmla="*/ 0 h 97"/>
                <a:gd name="T2" fmla="*/ 0 w 96"/>
                <a:gd name="T3" fmla="*/ 72 h 97"/>
                <a:gd name="T4" fmla="*/ 70 w 96"/>
                <a:gd name="T5" fmla="*/ 97 h 97"/>
                <a:gd name="T6" fmla="*/ 96 w 96"/>
                <a:gd name="T7" fmla="*/ 27 h 97"/>
                <a:gd name="T8" fmla="*/ 25 w 9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7">
                  <a:moveTo>
                    <a:pt x="25" y="0"/>
                  </a:moveTo>
                  <a:lnTo>
                    <a:pt x="0" y="72"/>
                  </a:lnTo>
                  <a:lnTo>
                    <a:pt x="70" y="97"/>
                  </a:lnTo>
                  <a:lnTo>
                    <a:pt x="96" y="27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84" name="Rectangle : coins arrondis 83">
            <a:extLst>
              <a:ext uri="{FF2B5EF4-FFF2-40B4-BE49-F238E27FC236}">
                <a16:creationId xmlns:a16="http://schemas.microsoft.com/office/drawing/2014/main" xmlns="" id="{B2E9A28D-38C4-461A-9CFD-C6F49B84E709}"/>
              </a:ext>
            </a:extLst>
          </p:cNvPr>
          <p:cNvSpPr/>
          <p:nvPr/>
        </p:nvSpPr>
        <p:spPr>
          <a:xfrm>
            <a:off x="275100" y="5476756"/>
            <a:ext cx="8593800" cy="10021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Freeform 5">
            <a:extLst>
              <a:ext uri="{FF2B5EF4-FFF2-40B4-BE49-F238E27FC236}">
                <a16:creationId xmlns:a16="http://schemas.microsoft.com/office/drawing/2014/main" xmlns="" id="{5A86E3F4-2168-4459-A589-1B41DD6E38B3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990553" y="5191988"/>
            <a:ext cx="875244" cy="289285"/>
          </a:xfrm>
          <a:custGeom>
            <a:avLst/>
            <a:gdLst>
              <a:gd name="T0" fmla="*/ 658 w 748"/>
              <a:gd name="T1" fmla="*/ 189 h 245"/>
              <a:gd name="T2" fmla="*/ 547 w 748"/>
              <a:gd name="T3" fmla="*/ 189 h 245"/>
              <a:gd name="T4" fmla="*/ 551 w 748"/>
              <a:gd name="T5" fmla="*/ 34 h 245"/>
              <a:gd name="T6" fmla="*/ 578 w 748"/>
              <a:gd name="T7" fmla="*/ 81 h 245"/>
              <a:gd name="T8" fmla="*/ 592 w 748"/>
              <a:gd name="T9" fmla="*/ 64 h 245"/>
              <a:gd name="T10" fmla="*/ 551 w 748"/>
              <a:gd name="T11" fmla="*/ 34 h 245"/>
              <a:gd name="T12" fmla="*/ 543 w 748"/>
              <a:gd name="T13" fmla="*/ 31 h 245"/>
              <a:gd name="T14" fmla="*/ 494 w 748"/>
              <a:gd name="T15" fmla="*/ 20 h 245"/>
              <a:gd name="T16" fmla="*/ 445 w 748"/>
              <a:gd name="T17" fmla="*/ 23 h 245"/>
              <a:gd name="T18" fmla="*/ 447 w 748"/>
              <a:gd name="T19" fmla="*/ 87 h 245"/>
              <a:gd name="T20" fmla="*/ 689 w 748"/>
              <a:gd name="T21" fmla="*/ 214 h 245"/>
              <a:gd name="T22" fmla="*/ 740 w 748"/>
              <a:gd name="T23" fmla="*/ 205 h 245"/>
              <a:gd name="T24" fmla="*/ 740 w 748"/>
              <a:gd name="T25" fmla="*/ 155 h 245"/>
              <a:gd name="T26" fmla="*/ 656 w 748"/>
              <a:gd name="T27" fmla="*/ 63 h 245"/>
              <a:gd name="T28" fmla="*/ 506 w 748"/>
              <a:gd name="T29" fmla="*/ 5 h 245"/>
              <a:gd name="T30" fmla="*/ 207 w 748"/>
              <a:gd name="T31" fmla="*/ 74 h 245"/>
              <a:gd name="T32" fmla="*/ 18 w 748"/>
              <a:gd name="T33" fmla="*/ 125 h 245"/>
              <a:gd name="T34" fmla="*/ 1 w 748"/>
              <a:gd name="T35" fmla="*/ 154 h 245"/>
              <a:gd name="T36" fmla="*/ 2 w 748"/>
              <a:gd name="T37" fmla="*/ 194 h 245"/>
              <a:gd name="T38" fmla="*/ 22 w 748"/>
              <a:gd name="T39" fmla="*/ 213 h 245"/>
              <a:gd name="T40" fmla="*/ 49 w 748"/>
              <a:gd name="T41" fmla="*/ 196 h 245"/>
              <a:gd name="T42" fmla="*/ 122 w 748"/>
              <a:gd name="T43" fmla="*/ 116 h 245"/>
              <a:gd name="T44" fmla="*/ 194 w 748"/>
              <a:gd name="T45" fmla="*/ 201 h 245"/>
              <a:gd name="T46" fmla="*/ 517 w 748"/>
              <a:gd name="T47" fmla="*/ 222 h 245"/>
              <a:gd name="T48" fmla="*/ 530 w 748"/>
              <a:gd name="T49" fmla="*/ 189 h 245"/>
              <a:gd name="T50" fmla="*/ 675 w 748"/>
              <a:gd name="T51" fmla="*/ 189 h 245"/>
              <a:gd name="T52" fmla="*/ 689 w 748"/>
              <a:gd name="T53" fmla="*/ 214 h 245"/>
              <a:gd name="T54" fmla="*/ 288 w 748"/>
              <a:gd name="T55" fmla="*/ 80 h 245"/>
              <a:gd name="T56" fmla="*/ 341 w 748"/>
              <a:gd name="T57" fmla="*/ 28 h 245"/>
              <a:gd name="T58" fmla="*/ 421 w 748"/>
              <a:gd name="T59" fmla="*/ 20 h 245"/>
              <a:gd name="T60" fmla="*/ 416 w 748"/>
              <a:gd name="T61" fmla="*/ 78 h 245"/>
              <a:gd name="T62" fmla="*/ 286 w 748"/>
              <a:gd name="T63" fmla="*/ 93 h 245"/>
              <a:gd name="T64" fmla="*/ 178 w 748"/>
              <a:gd name="T65" fmla="*/ 189 h 245"/>
              <a:gd name="T66" fmla="*/ 66 w 748"/>
              <a:gd name="T67" fmla="*/ 18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48" h="245">
                <a:moveTo>
                  <a:pt x="603" y="133"/>
                </a:moveTo>
                <a:cubicBezTo>
                  <a:pt x="633" y="133"/>
                  <a:pt x="658" y="158"/>
                  <a:pt x="658" y="189"/>
                </a:cubicBezTo>
                <a:cubicBezTo>
                  <a:pt x="658" y="220"/>
                  <a:pt x="633" y="245"/>
                  <a:pt x="603" y="245"/>
                </a:cubicBezTo>
                <a:cubicBezTo>
                  <a:pt x="572" y="245"/>
                  <a:pt x="547" y="220"/>
                  <a:pt x="547" y="189"/>
                </a:cubicBezTo>
                <a:cubicBezTo>
                  <a:pt x="547" y="158"/>
                  <a:pt x="572" y="133"/>
                  <a:pt x="603" y="133"/>
                </a:cubicBezTo>
                <a:close/>
                <a:moveTo>
                  <a:pt x="551" y="34"/>
                </a:moveTo>
                <a:cubicBezTo>
                  <a:pt x="547" y="83"/>
                  <a:pt x="547" y="83"/>
                  <a:pt x="547" y="83"/>
                </a:cubicBezTo>
                <a:cubicBezTo>
                  <a:pt x="558" y="82"/>
                  <a:pt x="568" y="82"/>
                  <a:pt x="578" y="81"/>
                </a:cubicBezTo>
                <a:cubicBezTo>
                  <a:pt x="582" y="81"/>
                  <a:pt x="584" y="80"/>
                  <a:pt x="585" y="78"/>
                </a:cubicBezTo>
                <a:cubicBezTo>
                  <a:pt x="587" y="74"/>
                  <a:pt x="591" y="67"/>
                  <a:pt x="592" y="64"/>
                </a:cubicBezTo>
                <a:cubicBezTo>
                  <a:pt x="593" y="61"/>
                  <a:pt x="593" y="60"/>
                  <a:pt x="590" y="57"/>
                </a:cubicBezTo>
                <a:cubicBezTo>
                  <a:pt x="587" y="52"/>
                  <a:pt x="567" y="42"/>
                  <a:pt x="551" y="34"/>
                </a:cubicBezTo>
                <a:close/>
                <a:moveTo>
                  <a:pt x="539" y="83"/>
                </a:moveTo>
                <a:cubicBezTo>
                  <a:pt x="543" y="31"/>
                  <a:pt x="543" y="31"/>
                  <a:pt x="543" y="31"/>
                </a:cubicBezTo>
                <a:cubicBezTo>
                  <a:pt x="538" y="29"/>
                  <a:pt x="534" y="27"/>
                  <a:pt x="532" y="26"/>
                </a:cubicBezTo>
                <a:cubicBezTo>
                  <a:pt x="520" y="23"/>
                  <a:pt x="506" y="20"/>
                  <a:pt x="494" y="20"/>
                </a:cubicBezTo>
                <a:cubicBezTo>
                  <a:pt x="451" y="20"/>
                  <a:pt x="451" y="20"/>
                  <a:pt x="451" y="20"/>
                </a:cubicBezTo>
                <a:cubicBezTo>
                  <a:pt x="449" y="20"/>
                  <a:pt x="446" y="21"/>
                  <a:pt x="445" y="23"/>
                </a:cubicBezTo>
                <a:cubicBezTo>
                  <a:pt x="442" y="31"/>
                  <a:pt x="441" y="44"/>
                  <a:pt x="436" y="80"/>
                </a:cubicBezTo>
                <a:cubicBezTo>
                  <a:pt x="435" y="90"/>
                  <a:pt x="436" y="88"/>
                  <a:pt x="447" y="87"/>
                </a:cubicBezTo>
                <a:cubicBezTo>
                  <a:pt x="474" y="87"/>
                  <a:pt x="508" y="85"/>
                  <a:pt x="539" y="83"/>
                </a:cubicBezTo>
                <a:close/>
                <a:moveTo>
                  <a:pt x="689" y="214"/>
                </a:moveTo>
                <a:cubicBezTo>
                  <a:pt x="700" y="213"/>
                  <a:pt x="713" y="212"/>
                  <a:pt x="723" y="210"/>
                </a:cubicBezTo>
                <a:cubicBezTo>
                  <a:pt x="731" y="209"/>
                  <a:pt x="738" y="207"/>
                  <a:pt x="740" y="205"/>
                </a:cubicBezTo>
                <a:cubicBezTo>
                  <a:pt x="748" y="197"/>
                  <a:pt x="747" y="173"/>
                  <a:pt x="747" y="161"/>
                </a:cubicBezTo>
                <a:cubicBezTo>
                  <a:pt x="747" y="158"/>
                  <a:pt x="740" y="158"/>
                  <a:pt x="740" y="155"/>
                </a:cubicBezTo>
                <a:cubicBezTo>
                  <a:pt x="739" y="136"/>
                  <a:pt x="737" y="115"/>
                  <a:pt x="735" y="96"/>
                </a:cubicBezTo>
                <a:cubicBezTo>
                  <a:pt x="733" y="73"/>
                  <a:pt x="685" y="72"/>
                  <a:pt x="656" y="63"/>
                </a:cubicBezTo>
                <a:cubicBezTo>
                  <a:pt x="635" y="56"/>
                  <a:pt x="618" y="42"/>
                  <a:pt x="592" y="30"/>
                </a:cubicBezTo>
                <a:cubicBezTo>
                  <a:pt x="562" y="17"/>
                  <a:pt x="537" y="5"/>
                  <a:pt x="506" y="5"/>
                </a:cubicBezTo>
                <a:cubicBezTo>
                  <a:pt x="456" y="5"/>
                  <a:pt x="381" y="0"/>
                  <a:pt x="335" y="14"/>
                </a:cubicBezTo>
                <a:cubicBezTo>
                  <a:pt x="290" y="29"/>
                  <a:pt x="250" y="54"/>
                  <a:pt x="207" y="74"/>
                </a:cubicBezTo>
                <a:cubicBezTo>
                  <a:pt x="156" y="80"/>
                  <a:pt x="99" y="90"/>
                  <a:pt x="47" y="103"/>
                </a:cubicBezTo>
                <a:cubicBezTo>
                  <a:pt x="30" y="107"/>
                  <a:pt x="23" y="115"/>
                  <a:pt x="18" y="125"/>
                </a:cubicBezTo>
                <a:cubicBezTo>
                  <a:pt x="12" y="136"/>
                  <a:pt x="10" y="146"/>
                  <a:pt x="7" y="152"/>
                </a:cubicBezTo>
                <a:cubicBezTo>
                  <a:pt x="3" y="152"/>
                  <a:pt x="3" y="151"/>
                  <a:pt x="1" y="154"/>
                </a:cubicBezTo>
                <a:cubicBezTo>
                  <a:pt x="0" y="156"/>
                  <a:pt x="1" y="160"/>
                  <a:pt x="1" y="164"/>
                </a:cubicBezTo>
                <a:cubicBezTo>
                  <a:pt x="0" y="173"/>
                  <a:pt x="0" y="185"/>
                  <a:pt x="2" y="194"/>
                </a:cubicBezTo>
                <a:cubicBezTo>
                  <a:pt x="5" y="202"/>
                  <a:pt x="7" y="206"/>
                  <a:pt x="11" y="209"/>
                </a:cubicBezTo>
                <a:cubicBezTo>
                  <a:pt x="14" y="211"/>
                  <a:pt x="17" y="213"/>
                  <a:pt x="22" y="213"/>
                </a:cubicBezTo>
                <a:cubicBezTo>
                  <a:pt x="41" y="214"/>
                  <a:pt x="41" y="214"/>
                  <a:pt x="41" y="214"/>
                </a:cubicBezTo>
                <a:cubicBezTo>
                  <a:pt x="52" y="211"/>
                  <a:pt x="50" y="210"/>
                  <a:pt x="49" y="196"/>
                </a:cubicBezTo>
                <a:cubicBezTo>
                  <a:pt x="49" y="193"/>
                  <a:pt x="49" y="191"/>
                  <a:pt x="49" y="189"/>
                </a:cubicBezTo>
                <a:cubicBezTo>
                  <a:pt x="49" y="149"/>
                  <a:pt x="82" y="116"/>
                  <a:pt x="122" y="116"/>
                </a:cubicBezTo>
                <a:cubicBezTo>
                  <a:pt x="162" y="116"/>
                  <a:pt x="194" y="149"/>
                  <a:pt x="194" y="189"/>
                </a:cubicBezTo>
                <a:cubicBezTo>
                  <a:pt x="194" y="193"/>
                  <a:pt x="194" y="197"/>
                  <a:pt x="194" y="201"/>
                </a:cubicBezTo>
                <a:cubicBezTo>
                  <a:pt x="192" y="225"/>
                  <a:pt x="190" y="221"/>
                  <a:pt x="212" y="222"/>
                </a:cubicBezTo>
                <a:cubicBezTo>
                  <a:pt x="517" y="222"/>
                  <a:pt x="517" y="222"/>
                  <a:pt x="517" y="222"/>
                </a:cubicBezTo>
                <a:cubicBezTo>
                  <a:pt x="533" y="220"/>
                  <a:pt x="532" y="222"/>
                  <a:pt x="530" y="201"/>
                </a:cubicBezTo>
                <a:cubicBezTo>
                  <a:pt x="530" y="197"/>
                  <a:pt x="530" y="193"/>
                  <a:pt x="530" y="189"/>
                </a:cubicBezTo>
                <a:cubicBezTo>
                  <a:pt x="530" y="149"/>
                  <a:pt x="562" y="116"/>
                  <a:pt x="603" y="116"/>
                </a:cubicBezTo>
                <a:cubicBezTo>
                  <a:pt x="643" y="116"/>
                  <a:pt x="675" y="149"/>
                  <a:pt x="675" y="189"/>
                </a:cubicBezTo>
                <a:cubicBezTo>
                  <a:pt x="675" y="192"/>
                  <a:pt x="675" y="196"/>
                  <a:pt x="675" y="199"/>
                </a:cubicBezTo>
                <a:cubicBezTo>
                  <a:pt x="674" y="216"/>
                  <a:pt x="678" y="215"/>
                  <a:pt x="689" y="214"/>
                </a:cubicBezTo>
                <a:close/>
                <a:moveTo>
                  <a:pt x="286" y="93"/>
                </a:moveTo>
                <a:cubicBezTo>
                  <a:pt x="286" y="92"/>
                  <a:pt x="288" y="86"/>
                  <a:pt x="288" y="80"/>
                </a:cubicBezTo>
                <a:cubicBezTo>
                  <a:pt x="289" y="71"/>
                  <a:pt x="271" y="70"/>
                  <a:pt x="260" y="71"/>
                </a:cubicBezTo>
                <a:cubicBezTo>
                  <a:pt x="281" y="55"/>
                  <a:pt x="313" y="38"/>
                  <a:pt x="341" y="28"/>
                </a:cubicBezTo>
                <a:cubicBezTo>
                  <a:pt x="351" y="25"/>
                  <a:pt x="378" y="21"/>
                  <a:pt x="397" y="20"/>
                </a:cubicBezTo>
                <a:cubicBezTo>
                  <a:pt x="421" y="20"/>
                  <a:pt x="421" y="20"/>
                  <a:pt x="421" y="20"/>
                </a:cubicBezTo>
                <a:cubicBezTo>
                  <a:pt x="425" y="20"/>
                  <a:pt x="426" y="22"/>
                  <a:pt x="425" y="25"/>
                </a:cubicBezTo>
                <a:cubicBezTo>
                  <a:pt x="420" y="37"/>
                  <a:pt x="419" y="61"/>
                  <a:pt x="416" y="78"/>
                </a:cubicBezTo>
                <a:cubicBezTo>
                  <a:pt x="415" y="86"/>
                  <a:pt x="413" y="88"/>
                  <a:pt x="405" y="88"/>
                </a:cubicBezTo>
                <a:cubicBezTo>
                  <a:pt x="372" y="88"/>
                  <a:pt x="285" y="95"/>
                  <a:pt x="286" y="93"/>
                </a:cubicBezTo>
                <a:close/>
                <a:moveTo>
                  <a:pt x="122" y="133"/>
                </a:moveTo>
                <a:cubicBezTo>
                  <a:pt x="153" y="133"/>
                  <a:pt x="178" y="158"/>
                  <a:pt x="178" y="189"/>
                </a:cubicBezTo>
                <a:cubicBezTo>
                  <a:pt x="178" y="220"/>
                  <a:pt x="153" y="245"/>
                  <a:pt x="122" y="245"/>
                </a:cubicBezTo>
                <a:cubicBezTo>
                  <a:pt x="91" y="245"/>
                  <a:pt x="66" y="220"/>
                  <a:pt x="66" y="189"/>
                </a:cubicBezTo>
                <a:cubicBezTo>
                  <a:pt x="66" y="158"/>
                  <a:pt x="91" y="133"/>
                  <a:pt x="122" y="13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94" name="Group 8">
            <a:extLst>
              <a:ext uri="{FF2B5EF4-FFF2-40B4-BE49-F238E27FC236}">
                <a16:creationId xmlns:a16="http://schemas.microsoft.com/office/drawing/2014/main" xmlns="" id="{0C6BA06E-A902-4A3D-8D90-C7DAD9D119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5536" y="4619796"/>
            <a:ext cx="1501628" cy="861477"/>
            <a:chOff x="44" y="-13"/>
            <a:chExt cx="5672" cy="3254"/>
          </a:xfrm>
          <a:solidFill>
            <a:schemeClr val="accent2"/>
          </a:solidFill>
        </p:grpSpPr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xmlns="" id="{09BA5F20-4714-45CA-B515-D8957526C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" y="866"/>
              <a:ext cx="235" cy="177"/>
            </a:xfrm>
            <a:custGeom>
              <a:avLst/>
              <a:gdLst>
                <a:gd name="T0" fmla="*/ 76 w 144"/>
                <a:gd name="T1" fmla="*/ 105 h 108"/>
                <a:gd name="T2" fmla="*/ 142 w 144"/>
                <a:gd name="T3" fmla="*/ 48 h 108"/>
                <a:gd name="T4" fmla="*/ 68 w 144"/>
                <a:gd name="T5" fmla="*/ 3 h 108"/>
                <a:gd name="T6" fmla="*/ 2 w 144"/>
                <a:gd name="T7" fmla="*/ 60 h 108"/>
                <a:gd name="T8" fmla="*/ 76 w 144"/>
                <a:gd name="T9" fmla="*/ 10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08">
                  <a:moveTo>
                    <a:pt x="76" y="105"/>
                  </a:moveTo>
                  <a:cubicBezTo>
                    <a:pt x="115" y="102"/>
                    <a:pt x="144" y="76"/>
                    <a:pt x="142" y="48"/>
                  </a:cubicBezTo>
                  <a:cubicBezTo>
                    <a:pt x="140" y="20"/>
                    <a:pt x="106" y="0"/>
                    <a:pt x="68" y="3"/>
                  </a:cubicBezTo>
                  <a:cubicBezTo>
                    <a:pt x="29" y="6"/>
                    <a:pt x="0" y="32"/>
                    <a:pt x="2" y="60"/>
                  </a:cubicBezTo>
                  <a:cubicBezTo>
                    <a:pt x="4" y="88"/>
                    <a:pt x="37" y="108"/>
                    <a:pt x="76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xmlns="" id="{DCC61AA0-49EF-42F2-B8D0-AF23C01FF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" y="783"/>
              <a:ext cx="167" cy="124"/>
            </a:xfrm>
            <a:custGeom>
              <a:avLst/>
              <a:gdLst>
                <a:gd name="T0" fmla="*/ 54 w 102"/>
                <a:gd name="T1" fmla="*/ 74 h 76"/>
                <a:gd name="T2" fmla="*/ 100 w 102"/>
                <a:gd name="T3" fmla="*/ 34 h 76"/>
                <a:gd name="T4" fmla="*/ 48 w 102"/>
                <a:gd name="T5" fmla="*/ 2 h 76"/>
                <a:gd name="T6" fmla="*/ 2 w 102"/>
                <a:gd name="T7" fmla="*/ 42 h 76"/>
                <a:gd name="T8" fmla="*/ 54 w 102"/>
                <a:gd name="T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76">
                  <a:moveTo>
                    <a:pt x="54" y="74"/>
                  </a:moveTo>
                  <a:cubicBezTo>
                    <a:pt x="81" y="72"/>
                    <a:pt x="102" y="54"/>
                    <a:pt x="100" y="34"/>
                  </a:cubicBezTo>
                  <a:cubicBezTo>
                    <a:pt x="99" y="14"/>
                    <a:pt x="75" y="0"/>
                    <a:pt x="48" y="2"/>
                  </a:cubicBezTo>
                  <a:cubicBezTo>
                    <a:pt x="21" y="5"/>
                    <a:pt x="0" y="22"/>
                    <a:pt x="2" y="42"/>
                  </a:cubicBezTo>
                  <a:cubicBezTo>
                    <a:pt x="4" y="62"/>
                    <a:pt x="27" y="76"/>
                    <a:pt x="5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11">
              <a:extLst>
                <a:ext uri="{FF2B5EF4-FFF2-40B4-BE49-F238E27FC236}">
                  <a16:creationId xmlns:a16="http://schemas.microsoft.com/office/drawing/2014/main" xmlns="" id="{51B50889-D7E6-4B12-BF32-80D45307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" y="889"/>
              <a:ext cx="117" cy="87"/>
            </a:xfrm>
            <a:custGeom>
              <a:avLst/>
              <a:gdLst>
                <a:gd name="T0" fmla="*/ 34 w 72"/>
                <a:gd name="T1" fmla="*/ 1 h 53"/>
                <a:gd name="T2" fmla="*/ 1 w 72"/>
                <a:gd name="T3" fmla="*/ 29 h 53"/>
                <a:gd name="T4" fmla="*/ 38 w 72"/>
                <a:gd name="T5" fmla="*/ 52 h 53"/>
                <a:gd name="T6" fmla="*/ 71 w 72"/>
                <a:gd name="T7" fmla="*/ 23 h 53"/>
                <a:gd name="T8" fmla="*/ 34 w 72"/>
                <a:gd name="T9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3">
                  <a:moveTo>
                    <a:pt x="34" y="1"/>
                  </a:moveTo>
                  <a:cubicBezTo>
                    <a:pt x="15" y="3"/>
                    <a:pt x="0" y="15"/>
                    <a:pt x="1" y="29"/>
                  </a:cubicBezTo>
                  <a:cubicBezTo>
                    <a:pt x="2" y="43"/>
                    <a:pt x="19" y="53"/>
                    <a:pt x="38" y="52"/>
                  </a:cubicBezTo>
                  <a:cubicBezTo>
                    <a:pt x="57" y="50"/>
                    <a:pt x="72" y="37"/>
                    <a:pt x="71" y="23"/>
                  </a:cubicBezTo>
                  <a:cubicBezTo>
                    <a:pt x="69" y="10"/>
                    <a:pt x="53" y="0"/>
                    <a:pt x="3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12">
              <a:extLst>
                <a:ext uri="{FF2B5EF4-FFF2-40B4-BE49-F238E27FC236}">
                  <a16:creationId xmlns:a16="http://schemas.microsoft.com/office/drawing/2014/main" xmlns="" id="{1E50BE7E-2EC0-42EB-991C-B26CF83E0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357"/>
              <a:ext cx="2181" cy="1068"/>
            </a:xfrm>
            <a:custGeom>
              <a:avLst/>
              <a:gdLst>
                <a:gd name="T0" fmla="*/ 57 w 1337"/>
                <a:gd name="T1" fmla="*/ 444 h 654"/>
                <a:gd name="T2" fmla="*/ 54 w 1337"/>
                <a:gd name="T3" fmla="*/ 468 h 654"/>
                <a:gd name="T4" fmla="*/ 139 w 1337"/>
                <a:gd name="T5" fmla="*/ 553 h 654"/>
                <a:gd name="T6" fmla="*/ 139 w 1337"/>
                <a:gd name="T7" fmla="*/ 553 h 654"/>
                <a:gd name="T8" fmla="*/ 215 w 1337"/>
                <a:gd name="T9" fmla="*/ 620 h 654"/>
                <a:gd name="T10" fmla="*/ 255 w 1337"/>
                <a:gd name="T11" fmla="*/ 608 h 654"/>
                <a:gd name="T12" fmla="*/ 340 w 1337"/>
                <a:gd name="T13" fmla="*/ 654 h 654"/>
                <a:gd name="T14" fmla="*/ 440 w 1337"/>
                <a:gd name="T15" fmla="*/ 553 h 654"/>
                <a:gd name="T16" fmla="*/ 440 w 1337"/>
                <a:gd name="T17" fmla="*/ 550 h 654"/>
                <a:gd name="T18" fmla="*/ 498 w 1337"/>
                <a:gd name="T19" fmla="*/ 568 h 654"/>
                <a:gd name="T20" fmla="*/ 596 w 1337"/>
                <a:gd name="T21" fmla="*/ 490 h 654"/>
                <a:gd name="T22" fmla="*/ 640 w 1337"/>
                <a:gd name="T23" fmla="*/ 500 h 654"/>
                <a:gd name="T24" fmla="*/ 717 w 1337"/>
                <a:gd name="T25" fmla="*/ 464 h 654"/>
                <a:gd name="T26" fmla="*/ 810 w 1337"/>
                <a:gd name="T27" fmla="*/ 501 h 654"/>
                <a:gd name="T28" fmla="*/ 936 w 1337"/>
                <a:gd name="T29" fmla="*/ 412 h 654"/>
                <a:gd name="T30" fmla="*/ 1025 w 1337"/>
                <a:gd name="T31" fmla="*/ 477 h 654"/>
                <a:gd name="T32" fmla="*/ 1110 w 1337"/>
                <a:gd name="T33" fmla="*/ 424 h 654"/>
                <a:gd name="T34" fmla="*/ 1178 w 1337"/>
                <a:gd name="T35" fmla="*/ 447 h 654"/>
                <a:gd name="T36" fmla="*/ 1275 w 1337"/>
                <a:gd name="T37" fmla="*/ 367 h 654"/>
                <a:gd name="T38" fmla="*/ 1269 w 1337"/>
                <a:gd name="T39" fmla="*/ 340 h 654"/>
                <a:gd name="T40" fmla="*/ 1275 w 1337"/>
                <a:gd name="T41" fmla="*/ 340 h 654"/>
                <a:gd name="T42" fmla="*/ 1337 w 1337"/>
                <a:gd name="T43" fmla="*/ 278 h 654"/>
                <a:gd name="T44" fmla="*/ 1275 w 1337"/>
                <a:gd name="T45" fmla="*/ 216 h 654"/>
                <a:gd name="T46" fmla="*/ 1215 w 1337"/>
                <a:gd name="T47" fmla="*/ 262 h 654"/>
                <a:gd name="T48" fmla="*/ 1148 w 1337"/>
                <a:gd name="T49" fmla="*/ 229 h 654"/>
                <a:gd name="T50" fmla="*/ 1069 w 1337"/>
                <a:gd name="T51" fmla="*/ 280 h 654"/>
                <a:gd name="T52" fmla="*/ 981 w 1337"/>
                <a:gd name="T53" fmla="*/ 220 h 654"/>
                <a:gd name="T54" fmla="*/ 899 w 1337"/>
                <a:gd name="T55" fmla="*/ 268 h 654"/>
                <a:gd name="T56" fmla="*/ 810 w 1337"/>
                <a:gd name="T57" fmla="*/ 234 h 654"/>
                <a:gd name="T58" fmla="*/ 783 w 1337"/>
                <a:gd name="T59" fmla="*/ 236 h 654"/>
                <a:gd name="T60" fmla="*/ 787 w 1337"/>
                <a:gd name="T61" fmla="*/ 207 h 654"/>
                <a:gd name="T62" fmla="*/ 693 w 1337"/>
                <a:gd name="T63" fmla="*/ 113 h 654"/>
                <a:gd name="T64" fmla="*/ 646 w 1337"/>
                <a:gd name="T65" fmla="*/ 125 h 654"/>
                <a:gd name="T66" fmla="*/ 650 w 1337"/>
                <a:gd name="T67" fmla="*/ 99 h 654"/>
                <a:gd name="T68" fmla="*/ 551 w 1337"/>
                <a:gd name="T69" fmla="*/ 0 h 654"/>
                <a:gd name="T70" fmla="*/ 452 w 1337"/>
                <a:gd name="T71" fmla="*/ 99 h 654"/>
                <a:gd name="T72" fmla="*/ 464 w 1337"/>
                <a:gd name="T73" fmla="*/ 147 h 654"/>
                <a:gd name="T74" fmla="*/ 422 w 1337"/>
                <a:gd name="T75" fmla="*/ 138 h 654"/>
                <a:gd name="T76" fmla="*/ 330 w 1337"/>
                <a:gd name="T77" fmla="*/ 197 h 654"/>
                <a:gd name="T78" fmla="*/ 245 w 1337"/>
                <a:gd name="T79" fmla="*/ 147 h 654"/>
                <a:gd name="T80" fmla="*/ 147 w 1337"/>
                <a:gd name="T81" fmla="*/ 245 h 654"/>
                <a:gd name="T82" fmla="*/ 153 w 1337"/>
                <a:gd name="T83" fmla="*/ 278 h 654"/>
                <a:gd name="T84" fmla="*/ 102 w 1337"/>
                <a:gd name="T85" fmla="*/ 325 h 654"/>
                <a:gd name="T86" fmla="*/ 65 w 1337"/>
                <a:gd name="T87" fmla="*/ 314 h 654"/>
                <a:gd name="T88" fmla="*/ 0 w 1337"/>
                <a:gd name="T89" fmla="*/ 379 h 654"/>
                <a:gd name="T90" fmla="*/ 57 w 1337"/>
                <a:gd name="T91" fmla="*/ 4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7" h="654">
                  <a:moveTo>
                    <a:pt x="57" y="444"/>
                  </a:moveTo>
                  <a:cubicBezTo>
                    <a:pt x="55" y="451"/>
                    <a:pt x="54" y="459"/>
                    <a:pt x="54" y="468"/>
                  </a:cubicBezTo>
                  <a:cubicBezTo>
                    <a:pt x="54" y="515"/>
                    <a:pt x="92" y="553"/>
                    <a:pt x="139" y="553"/>
                  </a:cubicBezTo>
                  <a:cubicBezTo>
                    <a:pt x="139" y="553"/>
                    <a:pt x="139" y="553"/>
                    <a:pt x="139" y="553"/>
                  </a:cubicBezTo>
                  <a:cubicBezTo>
                    <a:pt x="144" y="590"/>
                    <a:pt x="176" y="620"/>
                    <a:pt x="215" y="620"/>
                  </a:cubicBezTo>
                  <a:cubicBezTo>
                    <a:pt x="230" y="620"/>
                    <a:pt x="244" y="615"/>
                    <a:pt x="255" y="608"/>
                  </a:cubicBezTo>
                  <a:cubicBezTo>
                    <a:pt x="273" y="636"/>
                    <a:pt x="304" y="654"/>
                    <a:pt x="340" y="654"/>
                  </a:cubicBezTo>
                  <a:cubicBezTo>
                    <a:pt x="395" y="654"/>
                    <a:pt x="440" y="609"/>
                    <a:pt x="440" y="553"/>
                  </a:cubicBezTo>
                  <a:cubicBezTo>
                    <a:pt x="440" y="552"/>
                    <a:pt x="440" y="551"/>
                    <a:pt x="440" y="550"/>
                  </a:cubicBezTo>
                  <a:cubicBezTo>
                    <a:pt x="457" y="562"/>
                    <a:pt x="477" y="568"/>
                    <a:pt x="498" y="568"/>
                  </a:cubicBezTo>
                  <a:cubicBezTo>
                    <a:pt x="546" y="568"/>
                    <a:pt x="586" y="535"/>
                    <a:pt x="596" y="490"/>
                  </a:cubicBezTo>
                  <a:cubicBezTo>
                    <a:pt x="609" y="497"/>
                    <a:pt x="624" y="500"/>
                    <a:pt x="640" y="500"/>
                  </a:cubicBezTo>
                  <a:cubicBezTo>
                    <a:pt x="671" y="500"/>
                    <a:pt x="699" y="486"/>
                    <a:pt x="717" y="464"/>
                  </a:cubicBezTo>
                  <a:cubicBezTo>
                    <a:pt x="741" y="487"/>
                    <a:pt x="774" y="501"/>
                    <a:pt x="810" y="501"/>
                  </a:cubicBezTo>
                  <a:cubicBezTo>
                    <a:pt x="868" y="501"/>
                    <a:pt x="917" y="464"/>
                    <a:pt x="936" y="412"/>
                  </a:cubicBezTo>
                  <a:cubicBezTo>
                    <a:pt x="948" y="450"/>
                    <a:pt x="983" y="477"/>
                    <a:pt x="1025" y="477"/>
                  </a:cubicBezTo>
                  <a:cubicBezTo>
                    <a:pt x="1062" y="477"/>
                    <a:pt x="1095" y="456"/>
                    <a:pt x="1110" y="424"/>
                  </a:cubicBezTo>
                  <a:cubicBezTo>
                    <a:pt x="1127" y="438"/>
                    <a:pt x="1151" y="447"/>
                    <a:pt x="1178" y="447"/>
                  </a:cubicBezTo>
                  <a:cubicBezTo>
                    <a:pt x="1231" y="447"/>
                    <a:pt x="1275" y="411"/>
                    <a:pt x="1275" y="367"/>
                  </a:cubicBezTo>
                  <a:cubicBezTo>
                    <a:pt x="1275" y="358"/>
                    <a:pt x="1273" y="349"/>
                    <a:pt x="1269" y="340"/>
                  </a:cubicBezTo>
                  <a:cubicBezTo>
                    <a:pt x="1271" y="340"/>
                    <a:pt x="1273" y="340"/>
                    <a:pt x="1275" y="340"/>
                  </a:cubicBezTo>
                  <a:cubicBezTo>
                    <a:pt x="1309" y="340"/>
                    <a:pt x="1337" y="313"/>
                    <a:pt x="1337" y="278"/>
                  </a:cubicBezTo>
                  <a:cubicBezTo>
                    <a:pt x="1337" y="244"/>
                    <a:pt x="1309" y="216"/>
                    <a:pt x="1275" y="216"/>
                  </a:cubicBezTo>
                  <a:cubicBezTo>
                    <a:pt x="1246" y="216"/>
                    <a:pt x="1222" y="235"/>
                    <a:pt x="1215" y="262"/>
                  </a:cubicBezTo>
                  <a:cubicBezTo>
                    <a:pt x="1199" y="242"/>
                    <a:pt x="1175" y="229"/>
                    <a:pt x="1148" y="229"/>
                  </a:cubicBezTo>
                  <a:cubicBezTo>
                    <a:pt x="1113" y="229"/>
                    <a:pt x="1083" y="250"/>
                    <a:pt x="1069" y="280"/>
                  </a:cubicBezTo>
                  <a:cubicBezTo>
                    <a:pt x="1056" y="245"/>
                    <a:pt x="1021" y="220"/>
                    <a:pt x="981" y="220"/>
                  </a:cubicBezTo>
                  <a:cubicBezTo>
                    <a:pt x="946" y="220"/>
                    <a:pt x="915" y="239"/>
                    <a:pt x="899" y="268"/>
                  </a:cubicBezTo>
                  <a:cubicBezTo>
                    <a:pt x="876" y="247"/>
                    <a:pt x="844" y="234"/>
                    <a:pt x="810" y="234"/>
                  </a:cubicBezTo>
                  <a:cubicBezTo>
                    <a:pt x="800" y="234"/>
                    <a:pt x="791" y="234"/>
                    <a:pt x="783" y="236"/>
                  </a:cubicBezTo>
                  <a:cubicBezTo>
                    <a:pt x="785" y="227"/>
                    <a:pt x="787" y="217"/>
                    <a:pt x="787" y="207"/>
                  </a:cubicBezTo>
                  <a:cubicBezTo>
                    <a:pt x="787" y="155"/>
                    <a:pt x="745" y="113"/>
                    <a:pt x="693" y="113"/>
                  </a:cubicBezTo>
                  <a:cubicBezTo>
                    <a:pt x="676" y="113"/>
                    <a:pt x="660" y="118"/>
                    <a:pt x="646" y="125"/>
                  </a:cubicBezTo>
                  <a:cubicBezTo>
                    <a:pt x="649" y="117"/>
                    <a:pt x="650" y="108"/>
                    <a:pt x="650" y="99"/>
                  </a:cubicBezTo>
                  <a:cubicBezTo>
                    <a:pt x="650" y="44"/>
                    <a:pt x="606" y="0"/>
                    <a:pt x="551" y="0"/>
                  </a:cubicBezTo>
                  <a:cubicBezTo>
                    <a:pt x="496" y="0"/>
                    <a:pt x="452" y="44"/>
                    <a:pt x="452" y="99"/>
                  </a:cubicBezTo>
                  <a:cubicBezTo>
                    <a:pt x="452" y="117"/>
                    <a:pt x="456" y="133"/>
                    <a:pt x="464" y="147"/>
                  </a:cubicBezTo>
                  <a:cubicBezTo>
                    <a:pt x="451" y="141"/>
                    <a:pt x="437" y="138"/>
                    <a:pt x="422" y="138"/>
                  </a:cubicBezTo>
                  <a:cubicBezTo>
                    <a:pt x="381" y="138"/>
                    <a:pt x="346" y="162"/>
                    <a:pt x="330" y="197"/>
                  </a:cubicBezTo>
                  <a:cubicBezTo>
                    <a:pt x="313" y="167"/>
                    <a:pt x="281" y="147"/>
                    <a:pt x="245" y="147"/>
                  </a:cubicBezTo>
                  <a:cubicBezTo>
                    <a:pt x="191" y="147"/>
                    <a:pt x="147" y="191"/>
                    <a:pt x="147" y="245"/>
                  </a:cubicBezTo>
                  <a:cubicBezTo>
                    <a:pt x="147" y="256"/>
                    <a:pt x="149" y="268"/>
                    <a:pt x="153" y="278"/>
                  </a:cubicBezTo>
                  <a:cubicBezTo>
                    <a:pt x="128" y="282"/>
                    <a:pt x="107" y="300"/>
                    <a:pt x="102" y="325"/>
                  </a:cubicBezTo>
                  <a:cubicBezTo>
                    <a:pt x="91" y="318"/>
                    <a:pt x="79" y="314"/>
                    <a:pt x="65" y="314"/>
                  </a:cubicBezTo>
                  <a:cubicBezTo>
                    <a:pt x="29" y="314"/>
                    <a:pt x="0" y="343"/>
                    <a:pt x="0" y="379"/>
                  </a:cubicBezTo>
                  <a:cubicBezTo>
                    <a:pt x="0" y="412"/>
                    <a:pt x="25" y="440"/>
                    <a:pt x="57" y="4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xmlns="" id="{6B85849A-FDEC-4581-8DD4-1A6CDC176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5" y="171"/>
              <a:ext cx="77" cy="59"/>
            </a:xfrm>
            <a:custGeom>
              <a:avLst/>
              <a:gdLst>
                <a:gd name="T0" fmla="*/ 25 w 47"/>
                <a:gd name="T1" fmla="*/ 35 h 36"/>
                <a:gd name="T2" fmla="*/ 47 w 47"/>
                <a:gd name="T3" fmla="*/ 16 h 36"/>
                <a:gd name="T4" fmla="*/ 22 w 47"/>
                <a:gd name="T5" fmla="*/ 1 h 36"/>
                <a:gd name="T6" fmla="*/ 1 w 47"/>
                <a:gd name="T7" fmla="*/ 20 h 36"/>
                <a:gd name="T8" fmla="*/ 25 w 47"/>
                <a:gd name="T9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25" y="35"/>
                  </a:moveTo>
                  <a:cubicBezTo>
                    <a:pt x="38" y="34"/>
                    <a:pt x="47" y="25"/>
                    <a:pt x="47" y="16"/>
                  </a:cubicBezTo>
                  <a:cubicBezTo>
                    <a:pt x="46" y="7"/>
                    <a:pt x="35" y="0"/>
                    <a:pt x="22" y="1"/>
                  </a:cubicBezTo>
                  <a:cubicBezTo>
                    <a:pt x="10" y="2"/>
                    <a:pt x="0" y="11"/>
                    <a:pt x="1" y="20"/>
                  </a:cubicBezTo>
                  <a:cubicBezTo>
                    <a:pt x="2" y="29"/>
                    <a:pt x="12" y="36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0" name="Freeform 18">
              <a:extLst>
                <a:ext uri="{FF2B5EF4-FFF2-40B4-BE49-F238E27FC236}">
                  <a16:creationId xmlns:a16="http://schemas.microsoft.com/office/drawing/2014/main" xmlns="" id="{CB667CAC-720E-4EEE-A423-C6DB98C06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5" y="-13"/>
              <a:ext cx="680" cy="427"/>
            </a:xfrm>
            <a:custGeom>
              <a:avLst/>
              <a:gdLst>
                <a:gd name="T0" fmla="*/ 63 w 417"/>
                <a:gd name="T1" fmla="*/ 232 h 262"/>
                <a:gd name="T2" fmla="*/ 101 w 417"/>
                <a:gd name="T3" fmla="*/ 221 h 262"/>
                <a:gd name="T4" fmla="*/ 187 w 417"/>
                <a:gd name="T5" fmla="*/ 262 h 262"/>
                <a:gd name="T6" fmla="*/ 278 w 417"/>
                <a:gd name="T7" fmla="*/ 213 h 262"/>
                <a:gd name="T8" fmla="*/ 341 w 417"/>
                <a:gd name="T9" fmla="*/ 239 h 262"/>
                <a:gd name="T10" fmla="*/ 417 w 417"/>
                <a:gd name="T11" fmla="*/ 181 h 262"/>
                <a:gd name="T12" fmla="*/ 364 w 417"/>
                <a:gd name="T13" fmla="*/ 125 h 262"/>
                <a:gd name="T14" fmla="*/ 367 w 417"/>
                <a:gd name="T15" fmla="*/ 103 h 262"/>
                <a:gd name="T16" fmla="*/ 303 w 417"/>
                <a:gd name="T17" fmla="*/ 79 h 262"/>
                <a:gd name="T18" fmla="*/ 280 w 417"/>
                <a:gd name="T19" fmla="*/ 89 h 262"/>
                <a:gd name="T20" fmla="*/ 254 w 417"/>
                <a:gd name="T21" fmla="*/ 77 h 262"/>
                <a:gd name="T22" fmla="*/ 253 w 417"/>
                <a:gd name="T23" fmla="*/ 37 h 262"/>
                <a:gd name="T24" fmla="*/ 161 w 417"/>
                <a:gd name="T25" fmla="*/ 19 h 262"/>
                <a:gd name="T26" fmla="*/ 118 w 417"/>
                <a:gd name="T27" fmla="*/ 91 h 262"/>
                <a:gd name="T28" fmla="*/ 117 w 417"/>
                <a:gd name="T29" fmla="*/ 91 h 262"/>
                <a:gd name="T30" fmla="*/ 79 w 417"/>
                <a:gd name="T31" fmla="*/ 118 h 262"/>
                <a:gd name="T32" fmla="*/ 63 w 417"/>
                <a:gd name="T33" fmla="*/ 116 h 262"/>
                <a:gd name="T34" fmla="*/ 0 w 417"/>
                <a:gd name="T35" fmla="*/ 174 h 262"/>
                <a:gd name="T36" fmla="*/ 63 w 417"/>
                <a:gd name="T37" fmla="*/ 23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7" h="262">
                  <a:moveTo>
                    <a:pt x="63" y="232"/>
                  </a:moveTo>
                  <a:cubicBezTo>
                    <a:pt x="77" y="232"/>
                    <a:pt x="90" y="228"/>
                    <a:pt x="101" y="221"/>
                  </a:cubicBezTo>
                  <a:cubicBezTo>
                    <a:pt x="116" y="245"/>
                    <a:pt x="149" y="262"/>
                    <a:pt x="187" y="262"/>
                  </a:cubicBezTo>
                  <a:cubicBezTo>
                    <a:pt x="229" y="262"/>
                    <a:pt x="265" y="242"/>
                    <a:pt x="278" y="213"/>
                  </a:cubicBezTo>
                  <a:cubicBezTo>
                    <a:pt x="291" y="228"/>
                    <a:pt x="314" y="239"/>
                    <a:pt x="341" y="239"/>
                  </a:cubicBezTo>
                  <a:cubicBezTo>
                    <a:pt x="383" y="239"/>
                    <a:pt x="417" y="213"/>
                    <a:pt x="417" y="181"/>
                  </a:cubicBezTo>
                  <a:cubicBezTo>
                    <a:pt x="417" y="155"/>
                    <a:pt x="394" y="133"/>
                    <a:pt x="364" y="125"/>
                  </a:cubicBezTo>
                  <a:cubicBezTo>
                    <a:pt x="367" y="118"/>
                    <a:pt x="369" y="111"/>
                    <a:pt x="367" y="103"/>
                  </a:cubicBezTo>
                  <a:cubicBezTo>
                    <a:pt x="362" y="82"/>
                    <a:pt x="333" y="72"/>
                    <a:pt x="303" y="79"/>
                  </a:cubicBezTo>
                  <a:cubicBezTo>
                    <a:pt x="295" y="81"/>
                    <a:pt x="287" y="85"/>
                    <a:pt x="280" y="89"/>
                  </a:cubicBezTo>
                  <a:cubicBezTo>
                    <a:pt x="273" y="82"/>
                    <a:pt x="264" y="77"/>
                    <a:pt x="254" y="77"/>
                  </a:cubicBezTo>
                  <a:cubicBezTo>
                    <a:pt x="259" y="63"/>
                    <a:pt x="259" y="49"/>
                    <a:pt x="253" y="37"/>
                  </a:cubicBezTo>
                  <a:cubicBezTo>
                    <a:pt x="238" y="8"/>
                    <a:pt x="197" y="0"/>
                    <a:pt x="161" y="19"/>
                  </a:cubicBezTo>
                  <a:cubicBezTo>
                    <a:pt x="130" y="35"/>
                    <a:pt x="112" y="65"/>
                    <a:pt x="118" y="91"/>
                  </a:cubicBezTo>
                  <a:cubicBezTo>
                    <a:pt x="117" y="91"/>
                    <a:pt x="117" y="91"/>
                    <a:pt x="117" y="91"/>
                  </a:cubicBezTo>
                  <a:cubicBezTo>
                    <a:pt x="99" y="91"/>
                    <a:pt x="85" y="103"/>
                    <a:pt x="79" y="118"/>
                  </a:cubicBezTo>
                  <a:cubicBezTo>
                    <a:pt x="74" y="117"/>
                    <a:pt x="69" y="116"/>
                    <a:pt x="63" y="116"/>
                  </a:cubicBezTo>
                  <a:cubicBezTo>
                    <a:pt x="28" y="116"/>
                    <a:pt x="0" y="142"/>
                    <a:pt x="0" y="174"/>
                  </a:cubicBezTo>
                  <a:cubicBezTo>
                    <a:pt x="0" y="206"/>
                    <a:pt x="28" y="232"/>
                    <a:pt x="63" y="2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1" name="Freeform 19">
              <a:extLst>
                <a:ext uri="{FF2B5EF4-FFF2-40B4-BE49-F238E27FC236}">
                  <a16:creationId xmlns:a16="http://schemas.microsoft.com/office/drawing/2014/main" xmlns="" id="{028609B9-FE92-4B25-80AD-B75F1E9DE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282"/>
              <a:ext cx="135" cy="97"/>
            </a:xfrm>
            <a:custGeom>
              <a:avLst/>
              <a:gdLst>
                <a:gd name="T0" fmla="*/ 43 w 83"/>
                <a:gd name="T1" fmla="*/ 58 h 59"/>
                <a:gd name="T2" fmla="*/ 83 w 83"/>
                <a:gd name="T3" fmla="*/ 27 h 59"/>
                <a:gd name="T4" fmla="*/ 40 w 83"/>
                <a:gd name="T5" fmla="*/ 1 h 59"/>
                <a:gd name="T6" fmla="*/ 1 w 83"/>
                <a:gd name="T7" fmla="*/ 31 h 59"/>
                <a:gd name="T8" fmla="*/ 43 w 83"/>
                <a:gd name="T9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59">
                  <a:moveTo>
                    <a:pt x="43" y="58"/>
                  </a:moveTo>
                  <a:cubicBezTo>
                    <a:pt x="66" y="57"/>
                    <a:pt x="83" y="43"/>
                    <a:pt x="83" y="27"/>
                  </a:cubicBezTo>
                  <a:cubicBezTo>
                    <a:pt x="82" y="11"/>
                    <a:pt x="63" y="0"/>
                    <a:pt x="40" y="1"/>
                  </a:cubicBezTo>
                  <a:cubicBezTo>
                    <a:pt x="18" y="2"/>
                    <a:pt x="0" y="16"/>
                    <a:pt x="1" y="31"/>
                  </a:cubicBezTo>
                  <a:cubicBezTo>
                    <a:pt x="1" y="47"/>
                    <a:pt x="20" y="59"/>
                    <a:pt x="4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2" name="Freeform 20">
              <a:extLst>
                <a:ext uri="{FF2B5EF4-FFF2-40B4-BE49-F238E27FC236}">
                  <a16:creationId xmlns:a16="http://schemas.microsoft.com/office/drawing/2014/main" xmlns="" id="{14FF1A99-B188-4781-A38E-3CCB10DBA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297"/>
              <a:ext cx="89" cy="80"/>
            </a:xfrm>
            <a:custGeom>
              <a:avLst/>
              <a:gdLst>
                <a:gd name="T0" fmla="*/ 29 w 55"/>
                <a:gd name="T1" fmla="*/ 49 h 49"/>
                <a:gd name="T2" fmla="*/ 54 w 55"/>
                <a:gd name="T3" fmla="*/ 23 h 49"/>
                <a:gd name="T4" fmla="*/ 26 w 55"/>
                <a:gd name="T5" fmla="*/ 1 h 49"/>
                <a:gd name="T6" fmla="*/ 1 w 55"/>
                <a:gd name="T7" fmla="*/ 26 h 49"/>
                <a:gd name="T8" fmla="*/ 29 w 55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9">
                  <a:moveTo>
                    <a:pt x="29" y="49"/>
                  </a:moveTo>
                  <a:cubicBezTo>
                    <a:pt x="44" y="48"/>
                    <a:pt x="55" y="37"/>
                    <a:pt x="54" y="23"/>
                  </a:cubicBezTo>
                  <a:cubicBezTo>
                    <a:pt x="54" y="10"/>
                    <a:pt x="41" y="0"/>
                    <a:pt x="26" y="1"/>
                  </a:cubicBezTo>
                  <a:cubicBezTo>
                    <a:pt x="12" y="1"/>
                    <a:pt x="0" y="13"/>
                    <a:pt x="1" y="26"/>
                  </a:cubicBezTo>
                  <a:cubicBezTo>
                    <a:pt x="2" y="39"/>
                    <a:pt x="14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" name="Freeform 21">
              <a:extLst>
                <a:ext uri="{FF2B5EF4-FFF2-40B4-BE49-F238E27FC236}">
                  <a16:creationId xmlns:a16="http://schemas.microsoft.com/office/drawing/2014/main" xmlns="" id="{13EE7DC4-9177-44AE-A26C-8F1E97B17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" y="1549"/>
              <a:ext cx="5672" cy="1692"/>
            </a:xfrm>
            <a:custGeom>
              <a:avLst/>
              <a:gdLst>
                <a:gd name="T0" fmla="*/ 3455 w 3477"/>
                <a:gd name="T1" fmla="*/ 950 h 1037"/>
                <a:gd name="T2" fmla="*/ 3445 w 3477"/>
                <a:gd name="T3" fmla="*/ 945 h 1037"/>
                <a:gd name="T4" fmla="*/ 3436 w 3477"/>
                <a:gd name="T5" fmla="*/ 943 h 1037"/>
                <a:gd name="T6" fmla="*/ 3225 w 3477"/>
                <a:gd name="T7" fmla="*/ 351 h 1037"/>
                <a:gd name="T8" fmla="*/ 3199 w 3477"/>
                <a:gd name="T9" fmla="*/ 333 h 1037"/>
                <a:gd name="T10" fmla="*/ 3124 w 3477"/>
                <a:gd name="T11" fmla="*/ 306 h 1037"/>
                <a:gd name="T12" fmla="*/ 3075 w 3477"/>
                <a:gd name="T13" fmla="*/ 256 h 1037"/>
                <a:gd name="T14" fmla="*/ 3020 w 3477"/>
                <a:gd name="T15" fmla="*/ 306 h 1037"/>
                <a:gd name="T16" fmla="*/ 2932 w 3477"/>
                <a:gd name="T17" fmla="*/ 320 h 1037"/>
                <a:gd name="T18" fmla="*/ 2920 w 3477"/>
                <a:gd name="T19" fmla="*/ 355 h 1037"/>
                <a:gd name="T20" fmla="*/ 2910 w 3477"/>
                <a:gd name="T21" fmla="*/ 935 h 1037"/>
                <a:gd name="T22" fmla="*/ 2841 w 3477"/>
                <a:gd name="T23" fmla="*/ 741 h 1037"/>
                <a:gd name="T24" fmla="*/ 2777 w 3477"/>
                <a:gd name="T25" fmla="*/ 728 h 1037"/>
                <a:gd name="T26" fmla="*/ 2777 w 3477"/>
                <a:gd name="T27" fmla="*/ 660 h 1037"/>
                <a:gd name="T28" fmla="*/ 2562 w 3477"/>
                <a:gd name="T29" fmla="*/ 633 h 1037"/>
                <a:gd name="T30" fmla="*/ 2562 w 3477"/>
                <a:gd name="T31" fmla="*/ 447 h 1037"/>
                <a:gd name="T32" fmla="*/ 2593 w 3477"/>
                <a:gd name="T33" fmla="*/ 346 h 1037"/>
                <a:gd name="T34" fmla="*/ 2164 w 3477"/>
                <a:gd name="T35" fmla="*/ 324 h 1037"/>
                <a:gd name="T36" fmla="*/ 2037 w 3477"/>
                <a:gd name="T37" fmla="*/ 224 h 1037"/>
                <a:gd name="T38" fmla="*/ 1888 w 3477"/>
                <a:gd name="T39" fmla="*/ 475 h 1037"/>
                <a:gd name="T40" fmla="*/ 1658 w 3477"/>
                <a:gd name="T41" fmla="*/ 164 h 1037"/>
                <a:gd name="T42" fmla="*/ 1165 w 3477"/>
                <a:gd name="T43" fmla="*/ 0 h 1037"/>
                <a:gd name="T44" fmla="*/ 1180 w 3477"/>
                <a:gd name="T45" fmla="*/ 188 h 1037"/>
                <a:gd name="T46" fmla="*/ 689 w 3477"/>
                <a:gd name="T47" fmla="*/ 484 h 1037"/>
                <a:gd name="T48" fmla="*/ 710 w 3477"/>
                <a:gd name="T49" fmla="*/ 581 h 1037"/>
                <a:gd name="T50" fmla="*/ 700 w 3477"/>
                <a:gd name="T51" fmla="*/ 613 h 1037"/>
                <a:gd name="T52" fmla="*/ 564 w 3477"/>
                <a:gd name="T53" fmla="*/ 706 h 1037"/>
                <a:gd name="T54" fmla="*/ 429 w 3477"/>
                <a:gd name="T55" fmla="*/ 736 h 1037"/>
                <a:gd name="T56" fmla="*/ 389 w 3477"/>
                <a:gd name="T57" fmla="*/ 801 h 1037"/>
                <a:gd name="T58" fmla="*/ 389 w 3477"/>
                <a:gd name="T59" fmla="*/ 874 h 1037"/>
                <a:gd name="T60" fmla="*/ 41 w 3477"/>
                <a:gd name="T61" fmla="*/ 943 h 1037"/>
                <a:gd name="T62" fmla="*/ 31 w 3477"/>
                <a:gd name="T63" fmla="*/ 945 h 1037"/>
                <a:gd name="T64" fmla="*/ 0 w 3477"/>
                <a:gd name="T65" fmla="*/ 992 h 1037"/>
                <a:gd name="T66" fmla="*/ 3078 w 3477"/>
                <a:gd name="T67" fmla="*/ 813 h 1037"/>
                <a:gd name="T68" fmla="*/ 3001 w 3477"/>
                <a:gd name="T69" fmla="*/ 538 h 1037"/>
                <a:gd name="T70" fmla="*/ 3130 w 3477"/>
                <a:gd name="T71" fmla="*/ 425 h 1037"/>
                <a:gd name="T72" fmla="*/ 2978 w 3477"/>
                <a:gd name="T73" fmla="*/ 712 h 1037"/>
                <a:gd name="T74" fmla="*/ 3149 w 3477"/>
                <a:gd name="T75" fmla="*/ 543 h 1037"/>
                <a:gd name="T76" fmla="*/ 3147 w 3477"/>
                <a:gd name="T77" fmla="*/ 534 h 1037"/>
                <a:gd name="T78" fmla="*/ 3206 w 3477"/>
                <a:gd name="T79" fmla="*/ 345 h 1037"/>
                <a:gd name="T80" fmla="*/ 3212 w 3477"/>
                <a:gd name="T81" fmla="*/ 356 h 1037"/>
                <a:gd name="T82" fmla="*/ 3123 w 3477"/>
                <a:gd name="T83" fmla="*/ 356 h 1037"/>
                <a:gd name="T84" fmla="*/ 3072 w 3477"/>
                <a:gd name="T85" fmla="*/ 264 h 1037"/>
                <a:gd name="T86" fmla="*/ 3072 w 3477"/>
                <a:gd name="T87" fmla="*/ 264 h 1037"/>
                <a:gd name="T88" fmla="*/ 3021 w 3477"/>
                <a:gd name="T89" fmla="*/ 356 h 1037"/>
                <a:gd name="T90" fmla="*/ 2927 w 3477"/>
                <a:gd name="T91" fmla="*/ 333 h 1037"/>
                <a:gd name="T92" fmla="*/ 2927 w 3477"/>
                <a:gd name="T93" fmla="*/ 333 h 1037"/>
                <a:gd name="T94" fmla="*/ 3011 w 3477"/>
                <a:gd name="T95" fmla="*/ 428 h 1037"/>
                <a:gd name="T96" fmla="*/ 3067 w 3477"/>
                <a:gd name="T97" fmla="*/ 613 h 1037"/>
                <a:gd name="T98" fmla="*/ 2942 w 3477"/>
                <a:gd name="T99" fmla="*/ 937 h 1037"/>
                <a:gd name="T100" fmla="*/ 3073 w 3477"/>
                <a:gd name="T101" fmla="*/ 818 h 1037"/>
                <a:gd name="T102" fmla="*/ 2886 w 3477"/>
                <a:gd name="T103" fmla="*/ 934 h 1037"/>
                <a:gd name="T104" fmla="*/ 2777 w 3477"/>
                <a:gd name="T105" fmla="*/ 912 h 1037"/>
                <a:gd name="T106" fmla="*/ 2785 w 3477"/>
                <a:gd name="T107" fmla="*/ 776 h 1037"/>
                <a:gd name="T108" fmla="*/ 2046 w 3477"/>
                <a:gd name="T109" fmla="*/ 248 h 1037"/>
                <a:gd name="T110" fmla="*/ 2129 w 3477"/>
                <a:gd name="T111" fmla="*/ 324 h 1037"/>
                <a:gd name="T112" fmla="*/ 2042 w 3477"/>
                <a:gd name="T113" fmla="*/ 360 h 1037"/>
                <a:gd name="T114" fmla="*/ 2057 w 3477"/>
                <a:gd name="T115" fmla="*/ 458 h 1037"/>
                <a:gd name="T116" fmla="*/ 1925 w 3477"/>
                <a:gd name="T117" fmla="*/ 475 h 1037"/>
                <a:gd name="T118" fmla="*/ 700 w 3477"/>
                <a:gd name="T119" fmla="*/ 638 h 1037"/>
                <a:gd name="T120" fmla="*/ 710 w 3477"/>
                <a:gd name="T121" fmla="*/ 672 h 1037"/>
                <a:gd name="T122" fmla="*/ 613 w 3477"/>
                <a:gd name="T123" fmla="*/ 714 h 1037"/>
                <a:gd name="T124" fmla="*/ 627 w 3477"/>
                <a:gd name="T125" fmla="*/ 638 h 1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77" h="1037">
                  <a:moveTo>
                    <a:pt x="3477" y="992"/>
                  </a:moveTo>
                  <a:cubicBezTo>
                    <a:pt x="3477" y="992"/>
                    <a:pt x="3477" y="991"/>
                    <a:pt x="3476" y="990"/>
                  </a:cubicBezTo>
                  <a:cubicBezTo>
                    <a:pt x="3477" y="989"/>
                    <a:pt x="3477" y="989"/>
                    <a:pt x="3477" y="988"/>
                  </a:cubicBezTo>
                  <a:cubicBezTo>
                    <a:pt x="3477" y="972"/>
                    <a:pt x="3468" y="958"/>
                    <a:pt x="3455" y="950"/>
                  </a:cubicBezTo>
                  <a:cubicBezTo>
                    <a:pt x="3455" y="950"/>
                    <a:pt x="3455" y="950"/>
                    <a:pt x="3455" y="950"/>
                  </a:cubicBezTo>
                  <a:cubicBezTo>
                    <a:pt x="3455" y="949"/>
                    <a:pt x="3454" y="949"/>
                    <a:pt x="3453" y="949"/>
                  </a:cubicBezTo>
                  <a:cubicBezTo>
                    <a:pt x="3453" y="949"/>
                    <a:pt x="3453" y="948"/>
                    <a:pt x="3453" y="948"/>
                  </a:cubicBezTo>
                  <a:cubicBezTo>
                    <a:pt x="3452" y="948"/>
                    <a:pt x="3451" y="947"/>
                    <a:pt x="3449" y="947"/>
                  </a:cubicBezTo>
                  <a:cubicBezTo>
                    <a:pt x="3449" y="947"/>
                    <a:pt x="3449" y="946"/>
                    <a:pt x="3449" y="946"/>
                  </a:cubicBezTo>
                  <a:cubicBezTo>
                    <a:pt x="3448" y="946"/>
                    <a:pt x="3447" y="946"/>
                    <a:pt x="3445" y="945"/>
                  </a:cubicBezTo>
                  <a:cubicBezTo>
                    <a:pt x="3445" y="945"/>
                    <a:pt x="3445" y="945"/>
                    <a:pt x="3445" y="945"/>
                  </a:cubicBezTo>
                  <a:cubicBezTo>
                    <a:pt x="3443" y="945"/>
                    <a:pt x="3442" y="944"/>
                    <a:pt x="3441" y="944"/>
                  </a:cubicBezTo>
                  <a:cubicBezTo>
                    <a:pt x="3441" y="944"/>
                    <a:pt x="3440" y="944"/>
                    <a:pt x="3440" y="944"/>
                  </a:cubicBezTo>
                  <a:cubicBezTo>
                    <a:pt x="3439" y="944"/>
                    <a:pt x="3438" y="943"/>
                    <a:pt x="3437" y="943"/>
                  </a:cubicBezTo>
                  <a:cubicBezTo>
                    <a:pt x="3436" y="943"/>
                    <a:pt x="3436" y="943"/>
                    <a:pt x="3436" y="943"/>
                  </a:cubicBezTo>
                  <a:cubicBezTo>
                    <a:pt x="3434" y="943"/>
                    <a:pt x="3433" y="943"/>
                    <a:pt x="3432" y="943"/>
                  </a:cubicBezTo>
                  <a:cubicBezTo>
                    <a:pt x="3210" y="943"/>
                    <a:pt x="3210" y="943"/>
                    <a:pt x="3210" y="943"/>
                  </a:cubicBezTo>
                  <a:cubicBezTo>
                    <a:pt x="3140" y="426"/>
                    <a:pt x="3140" y="426"/>
                    <a:pt x="3140" y="426"/>
                  </a:cubicBezTo>
                  <a:cubicBezTo>
                    <a:pt x="3224" y="355"/>
                    <a:pt x="3224" y="355"/>
                    <a:pt x="3224" y="355"/>
                  </a:cubicBezTo>
                  <a:cubicBezTo>
                    <a:pt x="3225" y="354"/>
                    <a:pt x="3226" y="353"/>
                    <a:pt x="3225" y="351"/>
                  </a:cubicBezTo>
                  <a:cubicBezTo>
                    <a:pt x="3225" y="350"/>
                    <a:pt x="3225" y="350"/>
                    <a:pt x="3224" y="349"/>
                  </a:cubicBezTo>
                  <a:cubicBezTo>
                    <a:pt x="3224" y="349"/>
                    <a:pt x="3224" y="349"/>
                    <a:pt x="3224" y="348"/>
                  </a:cubicBezTo>
                  <a:cubicBezTo>
                    <a:pt x="3224" y="333"/>
                    <a:pt x="3224" y="333"/>
                    <a:pt x="3224" y="333"/>
                  </a:cubicBezTo>
                  <a:cubicBezTo>
                    <a:pt x="3224" y="326"/>
                    <a:pt x="3218" y="320"/>
                    <a:pt x="3211" y="320"/>
                  </a:cubicBezTo>
                  <a:cubicBezTo>
                    <a:pt x="3204" y="320"/>
                    <a:pt x="3199" y="326"/>
                    <a:pt x="3199" y="333"/>
                  </a:cubicBezTo>
                  <a:cubicBezTo>
                    <a:pt x="3199" y="348"/>
                    <a:pt x="3199" y="348"/>
                    <a:pt x="3199" y="348"/>
                  </a:cubicBezTo>
                  <a:cubicBezTo>
                    <a:pt x="3199" y="348"/>
                    <a:pt x="3199" y="349"/>
                    <a:pt x="3199" y="349"/>
                  </a:cubicBezTo>
                  <a:cubicBezTo>
                    <a:pt x="3130" y="349"/>
                    <a:pt x="3130" y="349"/>
                    <a:pt x="3130" y="349"/>
                  </a:cubicBezTo>
                  <a:cubicBezTo>
                    <a:pt x="3124" y="306"/>
                    <a:pt x="3124" y="306"/>
                    <a:pt x="3124" y="306"/>
                  </a:cubicBezTo>
                  <a:cubicBezTo>
                    <a:pt x="3124" y="306"/>
                    <a:pt x="3124" y="306"/>
                    <a:pt x="3124" y="306"/>
                  </a:cubicBezTo>
                  <a:cubicBezTo>
                    <a:pt x="3124" y="306"/>
                    <a:pt x="3124" y="305"/>
                    <a:pt x="3124" y="305"/>
                  </a:cubicBezTo>
                  <a:cubicBezTo>
                    <a:pt x="3124" y="305"/>
                    <a:pt x="3123" y="305"/>
                    <a:pt x="3123" y="304"/>
                  </a:cubicBezTo>
                  <a:cubicBezTo>
                    <a:pt x="3123" y="304"/>
                    <a:pt x="3123" y="304"/>
                    <a:pt x="3123" y="304"/>
                  </a:cubicBezTo>
                  <a:cubicBezTo>
                    <a:pt x="3123" y="304"/>
                    <a:pt x="3123" y="304"/>
                    <a:pt x="3123" y="304"/>
                  </a:cubicBezTo>
                  <a:cubicBezTo>
                    <a:pt x="3075" y="256"/>
                    <a:pt x="3075" y="256"/>
                    <a:pt x="3075" y="256"/>
                  </a:cubicBezTo>
                  <a:cubicBezTo>
                    <a:pt x="3073" y="254"/>
                    <a:pt x="3071" y="254"/>
                    <a:pt x="3069" y="256"/>
                  </a:cubicBezTo>
                  <a:cubicBezTo>
                    <a:pt x="3021" y="304"/>
                    <a:pt x="3021" y="304"/>
                    <a:pt x="3021" y="304"/>
                  </a:cubicBezTo>
                  <a:cubicBezTo>
                    <a:pt x="3021" y="305"/>
                    <a:pt x="3021" y="305"/>
                    <a:pt x="3020" y="305"/>
                  </a:cubicBezTo>
                  <a:cubicBezTo>
                    <a:pt x="3020" y="305"/>
                    <a:pt x="3020" y="306"/>
                    <a:pt x="3020" y="306"/>
                  </a:cubicBezTo>
                  <a:cubicBezTo>
                    <a:pt x="3020" y="306"/>
                    <a:pt x="3020" y="306"/>
                    <a:pt x="3020" y="306"/>
                  </a:cubicBezTo>
                  <a:cubicBezTo>
                    <a:pt x="3014" y="349"/>
                    <a:pt x="3014" y="349"/>
                    <a:pt x="3014" y="349"/>
                  </a:cubicBezTo>
                  <a:cubicBezTo>
                    <a:pt x="2945" y="349"/>
                    <a:pt x="2945" y="349"/>
                    <a:pt x="2945" y="349"/>
                  </a:cubicBezTo>
                  <a:cubicBezTo>
                    <a:pt x="2945" y="349"/>
                    <a:pt x="2945" y="348"/>
                    <a:pt x="2945" y="348"/>
                  </a:cubicBezTo>
                  <a:cubicBezTo>
                    <a:pt x="2945" y="333"/>
                    <a:pt x="2945" y="333"/>
                    <a:pt x="2945" y="333"/>
                  </a:cubicBezTo>
                  <a:cubicBezTo>
                    <a:pt x="2945" y="326"/>
                    <a:pt x="2939" y="320"/>
                    <a:pt x="2932" y="320"/>
                  </a:cubicBezTo>
                  <a:cubicBezTo>
                    <a:pt x="2925" y="320"/>
                    <a:pt x="2919" y="326"/>
                    <a:pt x="2919" y="333"/>
                  </a:cubicBezTo>
                  <a:cubicBezTo>
                    <a:pt x="2919" y="348"/>
                    <a:pt x="2919" y="348"/>
                    <a:pt x="2919" y="348"/>
                  </a:cubicBezTo>
                  <a:cubicBezTo>
                    <a:pt x="2919" y="349"/>
                    <a:pt x="2919" y="349"/>
                    <a:pt x="2920" y="350"/>
                  </a:cubicBezTo>
                  <a:cubicBezTo>
                    <a:pt x="2919" y="350"/>
                    <a:pt x="2919" y="351"/>
                    <a:pt x="2919" y="351"/>
                  </a:cubicBezTo>
                  <a:cubicBezTo>
                    <a:pt x="2918" y="353"/>
                    <a:pt x="2919" y="354"/>
                    <a:pt x="2920" y="355"/>
                  </a:cubicBezTo>
                  <a:cubicBezTo>
                    <a:pt x="3004" y="423"/>
                    <a:pt x="3004" y="423"/>
                    <a:pt x="3004" y="423"/>
                  </a:cubicBezTo>
                  <a:cubicBezTo>
                    <a:pt x="2934" y="943"/>
                    <a:pt x="2934" y="943"/>
                    <a:pt x="2934" y="943"/>
                  </a:cubicBezTo>
                  <a:cubicBezTo>
                    <a:pt x="2928" y="943"/>
                    <a:pt x="2928" y="943"/>
                    <a:pt x="2928" y="943"/>
                  </a:cubicBezTo>
                  <a:cubicBezTo>
                    <a:pt x="2928" y="935"/>
                    <a:pt x="2928" y="935"/>
                    <a:pt x="2928" y="935"/>
                  </a:cubicBezTo>
                  <a:cubicBezTo>
                    <a:pt x="2910" y="935"/>
                    <a:pt x="2910" y="935"/>
                    <a:pt x="2910" y="935"/>
                  </a:cubicBezTo>
                  <a:cubicBezTo>
                    <a:pt x="2910" y="934"/>
                    <a:pt x="2910" y="934"/>
                    <a:pt x="2910" y="934"/>
                  </a:cubicBezTo>
                  <a:cubicBezTo>
                    <a:pt x="2910" y="860"/>
                    <a:pt x="2910" y="860"/>
                    <a:pt x="2910" y="860"/>
                  </a:cubicBezTo>
                  <a:cubicBezTo>
                    <a:pt x="2910" y="767"/>
                    <a:pt x="2910" y="767"/>
                    <a:pt x="2910" y="767"/>
                  </a:cubicBezTo>
                  <a:cubicBezTo>
                    <a:pt x="2910" y="748"/>
                    <a:pt x="2901" y="741"/>
                    <a:pt x="2885" y="741"/>
                  </a:cubicBezTo>
                  <a:cubicBezTo>
                    <a:pt x="2841" y="741"/>
                    <a:pt x="2841" y="741"/>
                    <a:pt x="2841" y="741"/>
                  </a:cubicBezTo>
                  <a:cubicBezTo>
                    <a:pt x="2786" y="741"/>
                    <a:pt x="2786" y="741"/>
                    <a:pt x="2786" y="741"/>
                  </a:cubicBezTo>
                  <a:cubicBezTo>
                    <a:pt x="2785" y="741"/>
                    <a:pt x="2785" y="741"/>
                    <a:pt x="2785" y="741"/>
                  </a:cubicBezTo>
                  <a:cubicBezTo>
                    <a:pt x="2785" y="728"/>
                    <a:pt x="2785" y="728"/>
                    <a:pt x="2785" y="728"/>
                  </a:cubicBezTo>
                  <a:cubicBezTo>
                    <a:pt x="2785" y="728"/>
                    <a:pt x="2785" y="728"/>
                    <a:pt x="2785" y="728"/>
                  </a:cubicBezTo>
                  <a:cubicBezTo>
                    <a:pt x="2777" y="728"/>
                    <a:pt x="2777" y="728"/>
                    <a:pt x="2777" y="728"/>
                  </a:cubicBezTo>
                  <a:cubicBezTo>
                    <a:pt x="2777" y="728"/>
                    <a:pt x="2777" y="728"/>
                    <a:pt x="2777" y="728"/>
                  </a:cubicBezTo>
                  <a:cubicBezTo>
                    <a:pt x="2777" y="719"/>
                    <a:pt x="2777" y="719"/>
                    <a:pt x="2777" y="719"/>
                  </a:cubicBezTo>
                  <a:cubicBezTo>
                    <a:pt x="2777" y="713"/>
                    <a:pt x="2777" y="713"/>
                    <a:pt x="2777" y="713"/>
                  </a:cubicBezTo>
                  <a:cubicBezTo>
                    <a:pt x="2777" y="682"/>
                    <a:pt x="2777" y="682"/>
                    <a:pt x="2777" y="682"/>
                  </a:cubicBezTo>
                  <a:cubicBezTo>
                    <a:pt x="2777" y="660"/>
                    <a:pt x="2777" y="660"/>
                    <a:pt x="2777" y="660"/>
                  </a:cubicBezTo>
                  <a:cubicBezTo>
                    <a:pt x="2782" y="660"/>
                    <a:pt x="2782" y="660"/>
                    <a:pt x="2782" y="660"/>
                  </a:cubicBezTo>
                  <a:cubicBezTo>
                    <a:pt x="2790" y="660"/>
                    <a:pt x="2798" y="654"/>
                    <a:pt x="2798" y="646"/>
                  </a:cubicBezTo>
                  <a:cubicBezTo>
                    <a:pt x="2798" y="639"/>
                    <a:pt x="2790" y="633"/>
                    <a:pt x="2782" y="633"/>
                  </a:cubicBezTo>
                  <a:cubicBezTo>
                    <a:pt x="2566" y="633"/>
                    <a:pt x="2566" y="633"/>
                    <a:pt x="2566" y="633"/>
                  </a:cubicBezTo>
                  <a:cubicBezTo>
                    <a:pt x="2562" y="633"/>
                    <a:pt x="2562" y="633"/>
                    <a:pt x="2562" y="633"/>
                  </a:cubicBezTo>
                  <a:cubicBezTo>
                    <a:pt x="2562" y="525"/>
                    <a:pt x="2562" y="525"/>
                    <a:pt x="2562" y="525"/>
                  </a:cubicBezTo>
                  <a:cubicBezTo>
                    <a:pt x="2562" y="521"/>
                    <a:pt x="2562" y="521"/>
                    <a:pt x="2562" y="521"/>
                  </a:cubicBezTo>
                  <a:cubicBezTo>
                    <a:pt x="2562" y="510"/>
                    <a:pt x="2562" y="510"/>
                    <a:pt x="2562" y="510"/>
                  </a:cubicBezTo>
                  <a:cubicBezTo>
                    <a:pt x="2562" y="458"/>
                    <a:pt x="2562" y="458"/>
                    <a:pt x="2562" y="458"/>
                  </a:cubicBezTo>
                  <a:cubicBezTo>
                    <a:pt x="2562" y="447"/>
                    <a:pt x="2562" y="447"/>
                    <a:pt x="2562" y="447"/>
                  </a:cubicBezTo>
                  <a:cubicBezTo>
                    <a:pt x="2562" y="443"/>
                    <a:pt x="2562" y="443"/>
                    <a:pt x="2562" y="443"/>
                  </a:cubicBezTo>
                  <a:cubicBezTo>
                    <a:pt x="2562" y="388"/>
                    <a:pt x="2562" y="388"/>
                    <a:pt x="2562" y="388"/>
                  </a:cubicBezTo>
                  <a:cubicBezTo>
                    <a:pt x="2562" y="360"/>
                    <a:pt x="2562" y="360"/>
                    <a:pt x="2562" y="360"/>
                  </a:cubicBezTo>
                  <a:cubicBezTo>
                    <a:pt x="2579" y="360"/>
                    <a:pt x="2579" y="360"/>
                    <a:pt x="2579" y="360"/>
                  </a:cubicBezTo>
                  <a:cubicBezTo>
                    <a:pt x="2587" y="360"/>
                    <a:pt x="2593" y="354"/>
                    <a:pt x="2593" y="346"/>
                  </a:cubicBezTo>
                  <a:cubicBezTo>
                    <a:pt x="2593" y="339"/>
                    <a:pt x="2587" y="333"/>
                    <a:pt x="2579" y="333"/>
                  </a:cubicBezTo>
                  <a:cubicBezTo>
                    <a:pt x="2177" y="333"/>
                    <a:pt x="2177" y="333"/>
                    <a:pt x="2177" y="333"/>
                  </a:cubicBezTo>
                  <a:cubicBezTo>
                    <a:pt x="2177" y="333"/>
                    <a:pt x="2177" y="333"/>
                    <a:pt x="2177" y="333"/>
                  </a:cubicBezTo>
                  <a:cubicBezTo>
                    <a:pt x="2177" y="324"/>
                    <a:pt x="2177" y="324"/>
                    <a:pt x="2177" y="324"/>
                  </a:cubicBezTo>
                  <a:cubicBezTo>
                    <a:pt x="2164" y="324"/>
                    <a:pt x="2164" y="324"/>
                    <a:pt x="2164" y="324"/>
                  </a:cubicBezTo>
                  <a:cubicBezTo>
                    <a:pt x="2164" y="323"/>
                    <a:pt x="2164" y="323"/>
                    <a:pt x="2164" y="323"/>
                  </a:cubicBezTo>
                  <a:cubicBezTo>
                    <a:pt x="2164" y="249"/>
                    <a:pt x="2164" y="249"/>
                    <a:pt x="2164" y="249"/>
                  </a:cubicBezTo>
                  <a:cubicBezTo>
                    <a:pt x="2164" y="233"/>
                    <a:pt x="2157" y="224"/>
                    <a:pt x="2138" y="224"/>
                  </a:cubicBezTo>
                  <a:cubicBezTo>
                    <a:pt x="2046" y="224"/>
                    <a:pt x="2046" y="224"/>
                    <a:pt x="2046" y="224"/>
                  </a:cubicBezTo>
                  <a:cubicBezTo>
                    <a:pt x="2037" y="224"/>
                    <a:pt x="2037" y="224"/>
                    <a:pt x="2037" y="224"/>
                  </a:cubicBezTo>
                  <a:cubicBezTo>
                    <a:pt x="1927" y="224"/>
                    <a:pt x="1927" y="224"/>
                    <a:pt x="1927" y="224"/>
                  </a:cubicBezTo>
                  <a:cubicBezTo>
                    <a:pt x="1908" y="224"/>
                    <a:pt x="1901" y="233"/>
                    <a:pt x="1901" y="249"/>
                  </a:cubicBezTo>
                  <a:cubicBezTo>
                    <a:pt x="1901" y="474"/>
                    <a:pt x="1901" y="474"/>
                    <a:pt x="1901" y="474"/>
                  </a:cubicBezTo>
                  <a:cubicBezTo>
                    <a:pt x="1901" y="475"/>
                    <a:pt x="1901" y="475"/>
                    <a:pt x="1901" y="475"/>
                  </a:cubicBezTo>
                  <a:cubicBezTo>
                    <a:pt x="1888" y="475"/>
                    <a:pt x="1888" y="475"/>
                    <a:pt x="1888" y="475"/>
                  </a:cubicBezTo>
                  <a:cubicBezTo>
                    <a:pt x="1888" y="484"/>
                    <a:pt x="1888" y="484"/>
                    <a:pt x="1888" y="484"/>
                  </a:cubicBezTo>
                  <a:cubicBezTo>
                    <a:pt x="1740" y="484"/>
                    <a:pt x="1740" y="484"/>
                    <a:pt x="1740" y="484"/>
                  </a:cubicBezTo>
                  <a:cubicBezTo>
                    <a:pt x="1668" y="212"/>
                    <a:pt x="1668" y="212"/>
                    <a:pt x="1668" y="212"/>
                  </a:cubicBezTo>
                  <a:cubicBezTo>
                    <a:pt x="1662" y="188"/>
                    <a:pt x="1662" y="188"/>
                    <a:pt x="1662" y="188"/>
                  </a:cubicBezTo>
                  <a:cubicBezTo>
                    <a:pt x="1662" y="188"/>
                    <a:pt x="1659" y="179"/>
                    <a:pt x="1658" y="164"/>
                  </a:cubicBezTo>
                  <a:cubicBezTo>
                    <a:pt x="1657" y="153"/>
                    <a:pt x="1656" y="139"/>
                    <a:pt x="1659" y="123"/>
                  </a:cubicBezTo>
                  <a:cubicBezTo>
                    <a:pt x="1664" y="98"/>
                    <a:pt x="1676" y="69"/>
                    <a:pt x="1705" y="45"/>
                  </a:cubicBezTo>
                  <a:cubicBezTo>
                    <a:pt x="1705" y="45"/>
                    <a:pt x="1705" y="44"/>
                    <a:pt x="1706" y="43"/>
                  </a:cubicBezTo>
                  <a:cubicBezTo>
                    <a:pt x="1712" y="33"/>
                    <a:pt x="1728" y="0"/>
                    <a:pt x="1678" y="0"/>
                  </a:cubicBezTo>
                  <a:cubicBezTo>
                    <a:pt x="1622" y="0"/>
                    <a:pt x="1221" y="0"/>
                    <a:pt x="1165" y="0"/>
                  </a:cubicBezTo>
                  <a:cubicBezTo>
                    <a:pt x="1114" y="0"/>
                    <a:pt x="1130" y="33"/>
                    <a:pt x="1136" y="43"/>
                  </a:cubicBezTo>
                  <a:cubicBezTo>
                    <a:pt x="1137" y="44"/>
                    <a:pt x="1138" y="45"/>
                    <a:pt x="1138" y="45"/>
                  </a:cubicBezTo>
                  <a:cubicBezTo>
                    <a:pt x="1167" y="69"/>
                    <a:pt x="1179" y="98"/>
                    <a:pt x="1183" y="123"/>
                  </a:cubicBezTo>
                  <a:cubicBezTo>
                    <a:pt x="1186" y="139"/>
                    <a:pt x="1186" y="153"/>
                    <a:pt x="1185" y="164"/>
                  </a:cubicBezTo>
                  <a:cubicBezTo>
                    <a:pt x="1183" y="179"/>
                    <a:pt x="1180" y="188"/>
                    <a:pt x="1180" y="188"/>
                  </a:cubicBezTo>
                  <a:cubicBezTo>
                    <a:pt x="1174" y="212"/>
                    <a:pt x="1174" y="212"/>
                    <a:pt x="1174" y="212"/>
                  </a:cubicBezTo>
                  <a:cubicBezTo>
                    <a:pt x="1103" y="484"/>
                    <a:pt x="1103" y="484"/>
                    <a:pt x="1103" y="484"/>
                  </a:cubicBezTo>
                  <a:cubicBezTo>
                    <a:pt x="1103" y="484"/>
                    <a:pt x="1103" y="484"/>
                    <a:pt x="1103" y="484"/>
                  </a:cubicBezTo>
                  <a:cubicBezTo>
                    <a:pt x="1097" y="484"/>
                    <a:pt x="1097" y="484"/>
                    <a:pt x="1097" y="484"/>
                  </a:cubicBezTo>
                  <a:cubicBezTo>
                    <a:pt x="689" y="484"/>
                    <a:pt x="689" y="484"/>
                    <a:pt x="689" y="484"/>
                  </a:cubicBezTo>
                  <a:cubicBezTo>
                    <a:pt x="681" y="484"/>
                    <a:pt x="676" y="490"/>
                    <a:pt x="676" y="497"/>
                  </a:cubicBezTo>
                  <a:cubicBezTo>
                    <a:pt x="676" y="505"/>
                    <a:pt x="681" y="511"/>
                    <a:pt x="689" y="511"/>
                  </a:cubicBezTo>
                  <a:cubicBezTo>
                    <a:pt x="710" y="511"/>
                    <a:pt x="710" y="511"/>
                    <a:pt x="710" y="511"/>
                  </a:cubicBezTo>
                  <a:cubicBezTo>
                    <a:pt x="710" y="539"/>
                    <a:pt x="710" y="539"/>
                    <a:pt x="710" y="539"/>
                  </a:cubicBezTo>
                  <a:cubicBezTo>
                    <a:pt x="710" y="581"/>
                    <a:pt x="710" y="581"/>
                    <a:pt x="710" y="581"/>
                  </a:cubicBezTo>
                  <a:cubicBezTo>
                    <a:pt x="710" y="587"/>
                    <a:pt x="710" y="587"/>
                    <a:pt x="710" y="587"/>
                  </a:cubicBezTo>
                  <a:cubicBezTo>
                    <a:pt x="710" y="601"/>
                    <a:pt x="710" y="601"/>
                    <a:pt x="710" y="601"/>
                  </a:cubicBezTo>
                  <a:cubicBezTo>
                    <a:pt x="701" y="601"/>
                    <a:pt x="701" y="601"/>
                    <a:pt x="701" y="601"/>
                  </a:cubicBezTo>
                  <a:cubicBezTo>
                    <a:pt x="701" y="613"/>
                    <a:pt x="701" y="613"/>
                    <a:pt x="701" y="613"/>
                  </a:cubicBezTo>
                  <a:cubicBezTo>
                    <a:pt x="700" y="613"/>
                    <a:pt x="700" y="613"/>
                    <a:pt x="700" y="613"/>
                  </a:cubicBezTo>
                  <a:cubicBezTo>
                    <a:pt x="603" y="613"/>
                    <a:pt x="603" y="613"/>
                    <a:pt x="603" y="613"/>
                  </a:cubicBezTo>
                  <a:cubicBezTo>
                    <a:pt x="584" y="613"/>
                    <a:pt x="578" y="623"/>
                    <a:pt x="578" y="639"/>
                  </a:cubicBezTo>
                  <a:cubicBezTo>
                    <a:pt x="578" y="704"/>
                    <a:pt x="578" y="704"/>
                    <a:pt x="578" y="704"/>
                  </a:cubicBezTo>
                  <a:cubicBezTo>
                    <a:pt x="578" y="706"/>
                    <a:pt x="578" y="706"/>
                    <a:pt x="578" y="706"/>
                  </a:cubicBezTo>
                  <a:cubicBezTo>
                    <a:pt x="564" y="706"/>
                    <a:pt x="564" y="706"/>
                    <a:pt x="564" y="706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20" y="714"/>
                    <a:pt x="520" y="714"/>
                    <a:pt x="520" y="714"/>
                  </a:cubicBezTo>
                  <a:cubicBezTo>
                    <a:pt x="520" y="718"/>
                    <a:pt x="520" y="718"/>
                    <a:pt x="520" y="718"/>
                  </a:cubicBezTo>
                  <a:cubicBezTo>
                    <a:pt x="520" y="736"/>
                    <a:pt x="520" y="736"/>
                    <a:pt x="520" y="736"/>
                  </a:cubicBezTo>
                  <a:cubicBezTo>
                    <a:pt x="429" y="736"/>
                    <a:pt x="429" y="736"/>
                    <a:pt x="429" y="736"/>
                  </a:cubicBezTo>
                  <a:cubicBezTo>
                    <a:pt x="407" y="736"/>
                    <a:pt x="389" y="754"/>
                    <a:pt x="389" y="776"/>
                  </a:cubicBezTo>
                  <a:cubicBezTo>
                    <a:pt x="389" y="787"/>
                    <a:pt x="389" y="787"/>
                    <a:pt x="389" y="787"/>
                  </a:cubicBezTo>
                  <a:cubicBezTo>
                    <a:pt x="389" y="789"/>
                    <a:pt x="389" y="789"/>
                    <a:pt x="389" y="789"/>
                  </a:cubicBezTo>
                  <a:cubicBezTo>
                    <a:pt x="389" y="799"/>
                    <a:pt x="389" y="799"/>
                    <a:pt x="389" y="799"/>
                  </a:cubicBezTo>
                  <a:cubicBezTo>
                    <a:pt x="389" y="801"/>
                    <a:pt x="389" y="801"/>
                    <a:pt x="389" y="801"/>
                  </a:cubicBezTo>
                  <a:cubicBezTo>
                    <a:pt x="389" y="853"/>
                    <a:pt x="389" y="853"/>
                    <a:pt x="389" y="853"/>
                  </a:cubicBezTo>
                  <a:cubicBezTo>
                    <a:pt x="389" y="855"/>
                    <a:pt x="389" y="855"/>
                    <a:pt x="389" y="855"/>
                  </a:cubicBezTo>
                  <a:cubicBezTo>
                    <a:pt x="389" y="864"/>
                    <a:pt x="389" y="864"/>
                    <a:pt x="389" y="864"/>
                  </a:cubicBezTo>
                  <a:cubicBezTo>
                    <a:pt x="389" y="866"/>
                    <a:pt x="389" y="866"/>
                    <a:pt x="389" y="866"/>
                  </a:cubicBezTo>
                  <a:cubicBezTo>
                    <a:pt x="389" y="874"/>
                    <a:pt x="389" y="874"/>
                    <a:pt x="389" y="874"/>
                  </a:cubicBezTo>
                  <a:cubicBezTo>
                    <a:pt x="389" y="895"/>
                    <a:pt x="404" y="911"/>
                    <a:pt x="424" y="914"/>
                  </a:cubicBezTo>
                  <a:cubicBezTo>
                    <a:pt x="424" y="914"/>
                    <a:pt x="424" y="914"/>
                    <a:pt x="424" y="914"/>
                  </a:cubicBezTo>
                  <a:cubicBezTo>
                    <a:pt x="424" y="943"/>
                    <a:pt x="424" y="943"/>
                    <a:pt x="424" y="943"/>
                  </a:cubicBezTo>
                  <a:cubicBezTo>
                    <a:pt x="45" y="943"/>
                    <a:pt x="45" y="943"/>
                    <a:pt x="45" y="943"/>
                  </a:cubicBezTo>
                  <a:cubicBezTo>
                    <a:pt x="44" y="943"/>
                    <a:pt x="42" y="943"/>
                    <a:pt x="41" y="943"/>
                  </a:cubicBezTo>
                  <a:cubicBezTo>
                    <a:pt x="40" y="943"/>
                    <a:pt x="40" y="943"/>
                    <a:pt x="40" y="943"/>
                  </a:cubicBezTo>
                  <a:cubicBezTo>
                    <a:pt x="38" y="944"/>
                    <a:pt x="37" y="944"/>
                    <a:pt x="36" y="944"/>
                  </a:cubicBezTo>
                  <a:cubicBezTo>
                    <a:pt x="36" y="944"/>
                    <a:pt x="36" y="944"/>
                    <a:pt x="35" y="944"/>
                  </a:cubicBezTo>
                  <a:cubicBezTo>
                    <a:pt x="34" y="944"/>
                    <a:pt x="33" y="945"/>
                    <a:pt x="32" y="945"/>
                  </a:cubicBezTo>
                  <a:cubicBezTo>
                    <a:pt x="32" y="945"/>
                    <a:pt x="31" y="945"/>
                    <a:pt x="31" y="945"/>
                  </a:cubicBezTo>
                  <a:cubicBezTo>
                    <a:pt x="30" y="945"/>
                    <a:pt x="30" y="946"/>
                    <a:pt x="29" y="946"/>
                  </a:cubicBezTo>
                  <a:cubicBezTo>
                    <a:pt x="29" y="946"/>
                    <a:pt x="29" y="946"/>
                    <a:pt x="28" y="946"/>
                  </a:cubicBezTo>
                  <a:cubicBezTo>
                    <a:pt x="12" y="953"/>
                    <a:pt x="0" y="969"/>
                    <a:pt x="0" y="988"/>
                  </a:cubicBezTo>
                  <a:cubicBezTo>
                    <a:pt x="0" y="989"/>
                    <a:pt x="0" y="989"/>
                    <a:pt x="0" y="990"/>
                  </a:cubicBezTo>
                  <a:cubicBezTo>
                    <a:pt x="0" y="991"/>
                    <a:pt x="0" y="992"/>
                    <a:pt x="0" y="992"/>
                  </a:cubicBezTo>
                  <a:cubicBezTo>
                    <a:pt x="0" y="1017"/>
                    <a:pt x="20" y="1037"/>
                    <a:pt x="45" y="1037"/>
                  </a:cubicBezTo>
                  <a:cubicBezTo>
                    <a:pt x="3432" y="1037"/>
                    <a:pt x="3432" y="1037"/>
                    <a:pt x="3432" y="1037"/>
                  </a:cubicBezTo>
                  <a:cubicBezTo>
                    <a:pt x="3456" y="1037"/>
                    <a:pt x="3477" y="1017"/>
                    <a:pt x="3477" y="992"/>
                  </a:cubicBezTo>
                  <a:close/>
                  <a:moveTo>
                    <a:pt x="3202" y="937"/>
                  </a:moveTo>
                  <a:cubicBezTo>
                    <a:pt x="3078" y="813"/>
                    <a:pt x="3078" y="813"/>
                    <a:pt x="3078" y="813"/>
                  </a:cubicBezTo>
                  <a:cubicBezTo>
                    <a:pt x="3172" y="719"/>
                    <a:pt x="3172" y="719"/>
                    <a:pt x="3172" y="719"/>
                  </a:cubicBezTo>
                  <a:lnTo>
                    <a:pt x="3202" y="937"/>
                  </a:lnTo>
                  <a:close/>
                  <a:moveTo>
                    <a:pt x="3142" y="539"/>
                  </a:moveTo>
                  <a:cubicBezTo>
                    <a:pt x="3073" y="608"/>
                    <a:pt x="3073" y="608"/>
                    <a:pt x="3073" y="608"/>
                  </a:cubicBezTo>
                  <a:cubicBezTo>
                    <a:pt x="3001" y="538"/>
                    <a:pt x="3001" y="538"/>
                    <a:pt x="3001" y="538"/>
                  </a:cubicBezTo>
                  <a:cubicBezTo>
                    <a:pt x="3073" y="481"/>
                    <a:pt x="3073" y="481"/>
                    <a:pt x="3073" y="481"/>
                  </a:cubicBezTo>
                  <a:lnTo>
                    <a:pt x="3142" y="539"/>
                  </a:lnTo>
                  <a:close/>
                  <a:moveTo>
                    <a:pt x="3014" y="421"/>
                  </a:moveTo>
                  <a:cubicBezTo>
                    <a:pt x="3071" y="362"/>
                    <a:pt x="3071" y="362"/>
                    <a:pt x="3071" y="362"/>
                  </a:cubicBezTo>
                  <a:cubicBezTo>
                    <a:pt x="3130" y="425"/>
                    <a:pt x="3130" y="425"/>
                    <a:pt x="3130" y="425"/>
                  </a:cubicBezTo>
                  <a:cubicBezTo>
                    <a:pt x="3075" y="469"/>
                    <a:pt x="3075" y="469"/>
                    <a:pt x="3075" y="469"/>
                  </a:cubicBezTo>
                  <a:lnTo>
                    <a:pt x="3014" y="421"/>
                  </a:lnTo>
                  <a:close/>
                  <a:moveTo>
                    <a:pt x="3168" y="712"/>
                  </a:moveTo>
                  <a:cubicBezTo>
                    <a:pt x="3073" y="807"/>
                    <a:pt x="3073" y="807"/>
                    <a:pt x="3073" y="807"/>
                  </a:cubicBezTo>
                  <a:cubicBezTo>
                    <a:pt x="2978" y="712"/>
                    <a:pt x="2978" y="712"/>
                    <a:pt x="2978" y="712"/>
                  </a:cubicBezTo>
                  <a:cubicBezTo>
                    <a:pt x="3073" y="618"/>
                    <a:pt x="3073" y="618"/>
                    <a:pt x="3073" y="618"/>
                  </a:cubicBezTo>
                  <a:lnTo>
                    <a:pt x="3168" y="712"/>
                  </a:lnTo>
                  <a:close/>
                  <a:moveTo>
                    <a:pt x="3170" y="704"/>
                  </a:moveTo>
                  <a:cubicBezTo>
                    <a:pt x="3078" y="613"/>
                    <a:pt x="3078" y="613"/>
                    <a:pt x="3078" y="613"/>
                  </a:cubicBezTo>
                  <a:cubicBezTo>
                    <a:pt x="3149" y="543"/>
                    <a:pt x="3149" y="543"/>
                    <a:pt x="3149" y="543"/>
                  </a:cubicBezTo>
                  <a:lnTo>
                    <a:pt x="3170" y="704"/>
                  </a:lnTo>
                  <a:close/>
                  <a:moveTo>
                    <a:pt x="3147" y="534"/>
                  </a:moveTo>
                  <a:cubicBezTo>
                    <a:pt x="3080" y="477"/>
                    <a:pt x="3080" y="477"/>
                    <a:pt x="3080" y="477"/>
                  </a:cubicBezTo>
                  <a:cubicBezTo>
                    <a:pt x="3134" y="432"/>
                    <a:pt x="3134" y="432"/>
                    <a:pt x="3134" y="432"/>
                  </a:cubicBezTo>
                  <a:lnTo>
                    <a:pt x="3147" y="534"/>
                  </a:lnTo>
                  <a:close/>
                  <a:moveTo>
                    <a:pt x="3206" y="333"/>
                  </a:moveTo>
                  <a:cubicBezTo>
                    <a:pt x="3206" y="330"/>
                    <a:pt x="3208" y="328"/>
                    <a:pt x="3211" y="328"/>
                  </a:cubicBezTo>
                  <a:cubicBezTo>
                    <a:pt x="3214" y="328"/>
                    <a:pt x="3217" y="330"/>
                    <a:pt x="3217" y="333"/>
                  </a:cubicBezTo>
                  <a:cubicBezTo>
                    <a:pt x="3217" y="345"/>
                    <a:pt x="3217" y="345"/>
                    <a:pt x="3217" y="345"/>
                  </a:cubicBezTo>
                  <a:cubicBezTo>
                    <a:pt x="3206" y="345"/>
                    <a:pt x="3206" y="345"/>
                    <a:pt x="3206" y="345"/>
                  </a:cubicBezTo>
                  <a:lnTo>
                    <a:pt x="3206" y="333"/>
                  </a:lnTo>
                  <a:close/>
                  <a:moveTo>
                    <a:pt x="3212" y="356"/>
                  </a:moveTo>
                  <a:cubicBezTo>
                    <a:pt x="3139" y="417"/>
                    <a:pt x="3139" y="417"/>
                    <a:pt x="3139" y="417"/>
                  </a:cubicBezTo>
                  <a:cubicBezTo>
                    <a:pt x="3131" y="356"/>
                    <a:pt x="3131" y="356"/>
                    <a:pt x="3131" y="356"/>
                  </a:cubicBezTo>
                  <a:lnTo>
                    <a:pt x="3212" y="356"/>
                  </a:lnTo>
                  <a:close/>
                  <a:moveTo>
                    <a:pt x="3123" y="356"/>
                  </a:moveTo>
                  <a:cubicBezTo>
                    <a:pt x="3131" y="415"/>
                    <a:pt x="3131" y="415"/>
                    <a:pt x="3131" y="415"/>
                  </a:cubicBezTo>
                  <a:cubicBezTo>
                    <a:pt x="3076" y="357"/>
                    <a:pt x="3076" y="357"/>
                    <a:pt x="3076" y="357"/>
                  </a:cubicBezTo>
                  <a:cubicBezTo>
                    <a:pt x="3077" y="356"/>
                    <a:pt x="3077" y="356"/>
                    <a:pt x="3077" y="356"/>
                  </a:cubicBezTo>
                  <a:lnTo>
                    <a:pt x="3123" y="356"/>
                  </a:lnTo>
                  <a:close/>
                  <a:moveTo>
                    <a:pt x="3122" y="349"/>
                  </a:moveTo>
                  <a:cubicBezTo>
                    <a:pt x="3085" y="349"/>
                    <a:pt x="3085" y="349"/>
                    <a:pt x="3085" y="349"/>
                  </a:cubicBezTo>
                  <a:cubicBezTo>
                    <a:pt x="3118" y="315"/>
                    <a:pt x="3118" y="315"/>
                    <a:pt x="3118" y="315"/>
                  </a:cubicBezTo>
                  <a:lnTo>
                    <a:pt x="3122" y="349"/>
                  </a:lnTo>
                  <a:close/>
                  <a:moveTo>
                    <a:pt x="3072" y="264"/>
                  </a:moveTo>
                  <a:cubicBezTo>
                    <a:pt x="3115" y="307"/>
                    <a:pt x="3115" y="307"/>
                    <a:pt x="3115" y="307"/>
                  </a:cubicBezTo>
                  <a:cubicBezTo>
                    <a:pt x="3074" y="349"/>
                    <a:pt x="3074" y="349"/>
                    <a:pt x="3074" y="349"/>
                  </a:cubicBezTo>
                  <a:cubicBezTo>
                    <a:pt x="3068" y="349"/>
                    <a:pt x="3068" y="349"/>
                    <a:pt x="3068" y="349"/>
                  </a:cubicBezTo>
                  <a:cubicBezTo>
                    <a:pt x="3029" y="307"/>
                    <a:pt x="3029" y="307"/>
                    <a:pt x="3029" y="307"/>
                  </a:cubicBezTo>
                  <a:lnTo>
                    <a:pt x="3072" y="264"/>
                  </a:lnTo>
                  <a:close/>
                  <a:moveTo>
                    <a:pt x="3026" y="315"/>
                  </a:moveTo>
                  <a:cubicBezTo>
                    <a:pt x="3058" y="349"/>
                    <a:pt x="3058" y="349"/>
                    <a:pt x="3058" y="349"/>
                  </a:cubicBezTo>
                  <a:cubicBezTo>
                    <a:pt x="3022" y="349"/>
                    <a:pt x="3022" y="349"/>
                    <a:pt x="3022" y="349"/>
                  </a:cubicBezTo>
                  <a:lnTo>
                    <a:pt x="3026" y="315"/>
                  </a:lnTo>
                  <a:close/>
                  <a:moveTo>
                    <a:pt x="3021" y="356"/>
                  </a:moveTo>
                  <a:cubicBezTo>
                    <a:pt x="3065" y="356"/>
                    <a:pt x="3065" y="356"/>
                    <a:pt x="3065" y="356"/>
                  </a:cubicBezTo>
                  <a:cubicBezTo>
                    <a:pt x="3066" y="357"/>
                    <a:pt x="3066" y="357"/>
                    <a:pt x="3066" y="357"/>
                  </a:cubicBezTo>
                  <a:cubicBezTo>
                    <a:pt x="3014" y="410"/>
                    <a:pt x="3014" y="410"/>
                    <a:pt x="3014" y="410"/>
                  </a:cubicBezTo>
                  <a:lnTo>
                    <a:pt x="3021" y="356"/>
                  </a:lnTo>
                  <a:close/>
                  <a:moveTo>
                    <a:pt x="2927" y="333"/>
                  </a:moveTo>
                  <a:cubicBezTo>
                    <a:pt x="2927" y="330"/>
                    <a:pt x="2929" y="328"/>
                    <a:pt x="2932" y="328"/>
                  </a:cubicBezTo>
                  <a:cubicBezTo>
                    <a:pt x="2935" y="328"/>
                    <a:pt x="2937" y="330"/>
                    <a:pt x="2937" y="333"/>
                  </a:cubicBezTo>
                  <a:cubicBezTo>
                    <a:pt x="2937" y="345"/>
                    <a:pt x="2937" y="345"/>
                    <a:pt x="2937" y="345"/>
                  </a:cubicBezTo>
                  <a:cubicBezTo>
                    <a:pt x="2927" y="345"/>
                    <a:pt x="2927" y="345"/>
                    <a:pt x="2927" y="345"/>
                  </a:cubicBezTo>
                  <a:lnTo>
                    <a:pt x="2927" y="333"/>
                  </a:lnTo>
                  <a:close/>
                  <a:moveTo>
                    <a:pt x="2933" y="356"/>
                  </a:moveTo>
                  <a:cubicBezTo>
                    <a:pt x="3013" y="356"/>
                    <a:pt x="3013" y="356"/>
                    <a:pt x="3013" y="356"/>
                  </a:cubicBezTo>
                  <a:cubicBezTo>
                    <a:pt x="3005" y="414"/>
                    <a:pt x="3005" y="414"/>
                    <a:pt x="3005" y="414"/>
                  </a:cubicBezTo>
                  <a:lnTo>
                    <a:pt x="2933" y="356"/>
                  </a:lnTo>
                  <a:close/>
                  <a:moveTo>
                    <a:pt x="3011" y="428"/>
                  </a:moveTo>
                  <a:cubicBezTo>
                    <a:pt x="3067" y="476"/>
                    <a:pt x="3067" y="476"/>
                    <a:pt x="3067" y="476"/>
                  </a:cubicBezTo>
                  <a:cubicBezTo>
                    <a:pt x="2997" y="532"/>
                    <a:pt x="2997" y="532"/>
                    <a:pt x="2997" y="532"/>
                  </a:cubicBezTo>
                  <a:lnTo>
                    <a:pt x="3011" y="428"/>
                  </a:lnTo>
                  <a:close/>
                  <a:moveTo>
                    <a:pt x="2996" y="543"/>
                  </a:moveTo>
                  <a:cubicBezTo>
                    <a:pt x="3067" y="613"/>
                    <a:pt x="3067" y="613"/>
                    <a:pt x="3067" y="613"/>
                  </a:cubicBezTo>
                  <a:cubicBezTo>
                    <a:pt x="2974" y="705"/>
                    <a:pt x="2974" y="705"/>
                    <a:pt x="2974" y="705"/>
                  </a:cubicBezTo>
                  <a:lnTo>
                    <a:pt x="2996" y="543"/>
                  </a:lnTo>
                  <a:close/>
                  <a:moveTo>
                    <a:pt x="2972" y="717"/>
                  </a:moveTo>
                  <a:cubicBezTo>
                    <a:pt x="3067" y="813"/>
                    <a:pt x="3067" y="813"/>
                    <a:pt x="3067" y="813"/>
                  </a:cubicBezTo>
                  <a:cubicBezTo>
                    <a:pt x="2942" y="937"/>
                    <a:pt x="2942" y="937"/>
                    <a:pt x="2942" y="937"/>
                  </a:cubicBezTo>
                  <a:lnTo>
                    <a:pt x="2972" y="717"/>
                  </a:lnTo>
                  <a:close/>
                  <a:moveTo>
                    <a:pt x="3073" y="818"/>
                  </a:moveTo>
                  <a:cubicBezTo>
                    <a:pt x="3197" y="943"/>
                    <a:pt x="3197" y="943"/>
                    <a:pt x="3197" y="943"/>
                  </a:cubicBezTo>
                  <a:cubicBezTo>
                    <a:pt x="2947" y="943"/>
                    <a:pt x="2947" y="943"/>
                    <a:pt x="2947" y="943"/>
                  </a:cubicBezTo>
                  <a:lnTo>
                    <a:pt x="3073" y="818"/>
                  </a:lnTo>
                  <a:close/>
                  <a:moveTo>
                    <a:pt x="2786" y="765"/>
                  </a:moveTo>
                  <a:cubicBezTo>
                    <a:pt x="2857" y="765"/>
                    <a:pt x="2857" y="765"/>
                    <a:pt x="2857" y="765"/>
                  </a:cubicBezTo>
                  <a:cubicBezTo>
                    <a:pt x="2861" y="765"/>
                    <a:pt x="2861" y="765"/>
                    <a:pt x="2861" y="765"/>
                  </a:cubicBezTo>
                  <a:cubicBezTo>
                    <a:pt x="2889" y="765"/>
                    <a:pt x="2886" y="763"/>
                    <a:pt x="2886" y="790"/>
                  </a:cubicBezTo>
                  <a:cubicBezTo>
                    <a:pt x="2886" y="934"/>
                    <a:pt x="2886" y="934"/>
                    <a:pt x="2886" y="934"/>
                  </a:cubicBezTo>
                  <a:cubicBezTo>
                    <a:pt x="2886" y="935"/>
                    <a:pt x="2886" y="935"/>
                    <a:pt x="2886" y="935"/>
                  </a:cubicBezTo>
                  <a:cubicBezTo>
                    <a:pt x="2867" y="935"/>
                    <a:pt x="2867" y="935"/>
                    <a:pt x="2867" y="935"/>
                  </a:cubicBezTo>
                  <a:cubicBezTo>
                    <a:pt x="2867" y="943"/>
                    <a:pt x="2867" y="943"/>
                    <a:pt x="2867" y="943"/>
                  </a:cubicBezTo>
                  <a:cubicBezTo>
                    <a:pt x="2777" y="943"/>
                    <a:pt x="2777" y="943"/>
                    <a:pt x="2777" y="943"/>
                  </a:cubicBezTo>
                  <a:cubicBezTo>
                    <a:pt x="2777" y="912"/>
                    <a:pt x="2777" y="912"/>
                    <a:pt x="2777" y="912"/>
                  </a:cubicBezTo>
                  <a:cubicBezTo>
                    <a:pt x="2777" y="793"/>
                    <a:pt x="2777" y="793"/>
                    <a:pt x="2777" y="793"/>
                  </a:cubicBezTo>
                  <a:cubicBezTo>
                    <a:pt x="2777" y="787"/>
                    <a:pt x="2777" y="787"/>
                    <a:pt x="2777" y="787"/>
                  </a:cubicBezTo>
                  <a:cubicBezTo>
                    <a:pt x="2777" y="777"/>
                    <a:pt x="2777" y="777"/>
                    <a:pt x="2777" y="777"/>
                  </a:cubicBezTo>
                  <a:cubicBezTo>
                    <a:pt x="2777" y="776"/>
                    <a:pt x="2777" y="776"/>
                    <a:pt x="2777" y="776"/>
                  </a:cubicBezTo>
                  <a:cubicBezTo>
                    <a:pt x="2785" y="776"/>
                    <a:pt x="2785" y="776"/>
                    <a:pt x="2785" y="776"/>
                  </a:cubicBezTo>
                  <a:cubicBezTo>
                    <a:pt x="2785" y="765"/>
                    <a:pt x="2785" y="765"/>
                    <a:pt x="2785" y="765"/>
                  </a:cubicBezTo>
                  <a:lnTo>
                    <a:pt x="2786" y="765"/>
                  </a:lnTo>
                  <a:close/>
                  <a:moveTo>
                    <a:pt x="1950" y="248"/>
                  </a:moveTo>
                  <a:cubicBezTo>
                    <a:pt x="2037" y="248"/>
                    <a:pt x="2037" y="248"/>
                    <a:pt x="2037" y="248"/>
                  </a:cubicBezTo>
                  <a:cubicBezTo>
                    <a:pt x="2046" y="248"/>
                    <a:pt x="2046" y="248"/>
                    <a:pt x="2046" y="248"/>
                  </a:cubicBezTo>
                  <a:cubicBezTo>
                    <a:pt x="2115" y="248"/>
                    <a:pt x="2115" y="248"/>
                    <a:pt x="2115" y="248"/>
                  </a:cubicBezTo>
                  <a:cubicBezTo>
                    <a:pt x="2142" y="248"/>
                    <a:pt x="2140" y="245"/>
                    <a:pt x="2140" y="273"/>
                  </a:cubicBezTo>
                  <a:cubicBezTo>
                    <a:pt x="2140" y="323"/>
                    <a:pt x="2140" y="323"/>
                    <a:pt x="2140" y="323"/>
                  </a:cubicBezTo>
                  <a:cubicBezTo>
                    <a:pt x="2140" y="324"/>
                    <a:pt x="2140" y="324"/>
                    <a:pt x="2140" y="324"/>
                  </a:cubicBezTo>
                  <a:cubicBezTo>
                    <a:pt x="2129" y="324"/>
                    <a:pt x="2129" y="324"/>
                    <a:pt x="2129" y="324"/>
                  </a:cubicBezTo>
                  <a:cubicBezTo>
                    <a:pt x="2129" y="333"/>
                    <a:pt x="2129" y="333"/>
                    <a:pt x="2129" y="333"/>
                  </a:cubicBezTo>
                  <a:cubicBezTo>
                    <a:pt x="2129" y="333"/>
                    <a:pt x="2129" y="333"/>
                    <a:pt x="2129" y="333"/>
                  </a:cubicBezTo>
                  <a:cubicBezTo>
                    <a:pt x="2042" y="333"/>
                    <a:pt x="2042" y="333"/>
                    <a:pt x="2042" y="333"/>
                  </a:cubicBezTo>
                  <a:cubicBezTo>
                    <a:pt x="2034" y="333"/>
                    <a:pt x="2028" y="339"/>
                    <a:pt x="2028" y="346"/>
                  </a:cubicBezTo>
                  <a:cubicBezTo>
                    <a:pt x="2028" y="354"/>
                    <a:pt x="2034" y="360"/>
                    <a:pt x="2042" y="360"/>
                  </a:cubicBezTo>
                  <a:cubicBezTo>
                    <a:pt x="2057" y="360"/>
                    <a:pt x="2057" y="360"/>
                    <a:pt x="2057" y="360"/>
                  </a:cubicBezTo>
                  <a:cubicBezTo>
                    <a:pt x="2057" y="388"/>
                    <a:pt x="2057" y="388"/>
                    <a:pt x="2057" y="388"/>
                  </a:cubicBezTo>
                  <a:cubicBezTo>
                    <a:pt x="2057" y="443"/>
                    <a:pt x="2057" y="443"/>
                    <a:pt x="2057" y="443"/>
                  </a:cubicBezTo>
                  <a:cubicBezTo>
                    <a:pt x="2057" y="447"/>
                    <a:pt x="2057" y="447"/>
                    <a:pt x="2057" y="447"/>
                  </a:cubicBezTo>
                  <a:cubicBezTo>
                    <a:pt x="2057" y="458"/>
                    <a:pt x="2057" y="458"/>
                    <a:pt x="2057" y="458"/>
                  </a:cubicBezTo>
                  <a:cubicBezTo>
                    <a:pt x="2057" y="484"/>
                    <a:pt x="2057" y="484"/>
                    <a:pt x="2057" y="484"/>
                  </a:cubicBezTo>
                  <a:cubicBezTo>
                    <a:pt x="1937" y="484"/>
                    <a:pt x="1937" y="484"/>
                    <a:pt x="1937" y="484"/>
                  </a:cubicBezTo>
                  <a:cubicBezTo>
                    <a:pt x="1936" y="484"/>
                    <a:pt x="1936" y="484"/>
                    <a:pt x="1936" y="484"/>
                  </a:cubicBezTo>
                  <a:cubicBezTo>
                    <a:pt x="1936" y="475"/>
                    <a:pt x="1936" y="475"/>
                    <a:pt x="1936" y="475"/>
                  </a:cubicBezTo>
                  <a:cubicBezTo>
                    <a:pt x="1925" y="475"/>
                    <a:pt x="1925" y="475"/>
                    <a:pt x="1925" y="475"/>
                  </a:cubicBezTo>
                  <a:cubicBezTo>
                    <a:pt x="1925" y="474"/>
                    <a:pt x="1925" y="474"/>
                    <a:pt x="1925" y="474"/>
                  </a:cubicBezTo>
                  <a:cubicBezTo>
                    <a:pt x="1925" y="273"/>
                    <a:pt x="1925" y="273"/>
                    <a:pt x="1925" y="273"/>
                  </a:cubicBezTo>
                  <a:cubicBezTo>
                    <a:pt x="1925" y="245"/>
                    <a:pt x="1923" y="248"/>
                    <a:pt x="1950" y="248"/>
                  </a:cubicBezTo>
                  <a:close/>
                  <a:moveTo>
                    <a:pt x="627" y="638"/>
                  </a:moveTo>
                  <a:cubicBezTo>
                    <a:pt x="700" y="638"/>
                    <a:pt x="700" y="638"/>
                    <a:pt x="700" y="638"/>
                  </a:cubicBezTo>
                  <a:cubicBezTo>
                    <a:pt x="701" y="638"/>
                    <a:pt x="701" y="638"/>
                    <a:pt x="701" y="638"/>
                  </a:cubicBezTo>
                  <a:cubicBezTo>
                    <a:pt x="701" y="653"/>
                    <a:pt x="701" y="653"/>
                    <a:pt x="701" y="653"/>
                  </a:cubicBezTo>
                  <a:cubicBezTo>
                    <a:pt x="710" y="653"/>
                    <a:pt x="710" y="653"/>
                    <a:pt x="710" y="653"/>
                  </a:cubicBezTo>
                  <a:cubicBezTo>
                    <a:pt x="710" y="666"/>
                    <a:pt x="710" y="666"/>
                    <a:pt x="710" y="666"/>
                  </a:cubicBezTo>
                  <a:cubicBezTo>
                    <a:pt x="710" y="672"/>
                    <a:pt x="710" y="672"/>
                    <a:pt x="710" y="672"/>
                  </a:cubicBezTo>
                  <a:cubicBezTo>
                    <a:pt x="710" y="736"/>
                    <a:pt x="710" y="736"/>
                    <a:pt x="710" y="736"/>
                  </a:cubicBezTo>
                  <a:cubicBezTo>
                    <a:pt x="658" y="736"/>
                    <a:pt x="658" y="736"/>
                    <a:pt x="658" y="736"/>
                  </a:cubicBezTo>
                  <a:cubicBezTo>
                    <a:pt x="658" y="718"/>
                    <a:pt x="658" y="718"/>
                    <a:pt x="658" y="718"/>
                  </a:cubicBezTo>
                  <a:cubicBezTo>
                    <a:pt x="658" y="714"/>
                    <a:pt x="658" y="714"/>
                    <a:pt x="658" y="714"/>
                  </a:cubicBezTo>
                  <a:cubicBezTo>
                    <a:pt x="613" y="714"/>
                    <a:pt x="613" y="714"/>
                    <a:pt x="613" y="714"/>
                  </a:cubicBezTo>
                  <a:cubicBezTo>
                    <a:pt x="613" y="706"/>
                    <a:pt x="613" y="706"/>
                    <a:pt x="613" y="706"/>
                  </a:cubicBezTo>
                  <a:cubicBezTo>
                    <a:pt x="601" y="706"/>
                    <a:pt x="601" y="706"/>
                    <a:pt x="601" y="706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601" y="664"/>
                    <a:pt x="601" y="664"/>
                    <a:pt x="601" y="664"/>
                  </a:cubicBezTo>
                  <a:cubicBezTo>
                    <a:pt x="601" y="635"/>
                    <a:pt x="600" y="638"/>
                    <a:pt x="627" y="6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" name="Freeform 22">
              <a:extLst>
                <a:ext uri="{FF2B5EF4-FFF2-40B4-BE49-F238E27FC236}">
                  <a16:creationId xmlns:a16="http://schemas.microsoft.com/office/drawing/2014/main" xmlns="" id="{2EDE6121-8941-451D-B8CD-2E56014E3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4" y="1201"/>
              <a:ext cx="156" cy="134"/>
            </a:xfrm>
            <a:custGeom>
              <a:avLst/>
              <a:gdLst>
                <a:gd name="T0" fmla="*/ 57 w 96"/>
                <a:gd name="T1" fmla="*/ 76 h 82"/>
                <a:gd name="T2" fmla="*/ 91 w 96"/>
                <a:gd name="T3" fmla="*/ 30 h 82"/>
                <a:gd name="T4" fmla="*/ 39 w 96"/>
                <a:gd name="T5" fmla="*/ 6 h 82"/>
                <a:gd name="T6" fmla="*/ 5 w 96"/>
                <a:gd name="T7" fmla="*/ 52 h 82"/>
                <a:gd name="T8" fmla="*/ 57 w 96"/>
                <a:gd name="T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2">
                  <a:moveTo>
                    <a:pt x="57" y="76"/>
                  </a:moveTo>
                  <a:cubicBezTo>
                    <a:pt x="81" y="70"/>
                    <a:pt x="96" y="49"/>
                    <a:pt x="91" y="30"/>
                  </a:cubicBezTo>
                  <a:cubicBezTo>
                    <a:pt x="86" y="11"/>
                    <a:pt x="63" y="0"/>
                    <a:pt x="39" y="6"/>
                  </a:cubicBezTo>
                  <a:cubicBezTo>
                    <a:pt x="15" y="13"/>
                    <a:pt x="0" y="33"/>
                    <a:pt x="5" y="52"/>
                  </a:cubicBezTo>
                  <a:cubicBezTo>
                    <a:pt x="10" y="72"/>
                    <a:pt x="33" y="82"/>
                    <a:pt x="57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" name="Freeform 23">
              <a:extLst>
                <a:ext uri="{FF2B5EF4-FFF2-40B4-BE49-F238E27FC236}">
                  <a16:creationId xmlns:a16="http://schemas.microsoft.com/office/drawing/2014/main" xmlns="" id="{C557691A-E596-4F92-8616-47AD3DE55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1062"/>
              <a:ext cx="1522" cy="547"/>
            </a:xfrm>
            <a:custGeom>
              <a:avLst/>
              <a:gdLst>
                <a:gd name="T0" fmla="*/ 418 w 933"/>
                <a:gd name="T1" fmla="*/ 0 h 335"/>
                <a:gd name="T2" fmla="*/ 328 w 933"/>
                <a:gd name="T3" fmla="*/ 36 h 335"/>
                <a:gd name="T4" fmla="*/ 263 w 933"/>
                <a:gd name="T5" fmla="*/ 14 h 335"/>
                <a:gd name="T6" fmla="*/ 154 w 933"/>
                <a:gd name="T7" fmla="*/ 102 h 335"/>
                <a:gd name="T8" fmla="*/ 92 w 933"/>
                <a:gd name="T9" fmla="*/ 77 h 335"/>
                <a:gd name="T10" fmla="*/ 0 w 933"/>
                <a:gd name="T11" fmla="*/ 169 h 335"/>
                <a:gd name="T12" fmla="*/ 71 w 933"/>
                <a:gd name="T13" fmla="*/ 258 h 335"/>
                <a:gd name="T14" fmla="*/ 68 w 933"/>
                <a:gd name="T15" fmla="*/ 278 h 335"/>
                <a:gd name="T16" fmla="*/ 124 w 933"/>
                <a:gd name="T17" fmla="*/ 335 h 335"/>
                <a:gd name="T18" fmla="*/ 180 w 933"/>
                <a:gd name="T19" fmla="*/ 285 h 335"/>
                <a:gd name="T20" fmla="*/ 259 w 933"/>
                <a:gd name="T21" fmla="*/ 309 h 335"/>
                <a:gd name="T22" fmla="*/ 361 w 933"/>
                <a:gd name="T23" fmla="*/ 250 h 335"/>
                <a:gd name="T24" fmla="*/ 418 w 933"/>
                <a:gd name="T25" fmla="*/ 263 h 335"/>
                <a:gd name="T26" fmla="*/ 495 w 933"/>
                <a:gd name="T27" fmla="*/ 238 h 335"/>
                <a:gd name="T28" fmla="*/ 589 w 933"/>
                <a:gd name="T29" fmla="*/ 294 h 335"/>
                <a:gd name="T30" fmla="*/ 684 w 933"/>
                <a:gd name="T31" fmla="*/ 238 h 335"/>
                <a:gd name="T32" fmla="*/ 749 w 933"/>
                <a:gd name="T33" fmla="*/ 261 h 335"/>
                <a:gd name="T34" fmla="*/ 801 w 933"/>
                <a:gd name="T35" fmla="*/ 247 h 335"/>
                <a:gd name="T36" fmla="*/ 867 w 933"/>
                <a:gd name="T37" fmla="*/ 302 h 335"/>
                <a:gd name="T38" fmla="*/ 933 w 933"/>
                <a:gd name="T39" fmla="*/ 235 h 335"/>
                <a:gd name="T40" fmla="*/ 867 w 933"/>
                <a:gd name="T41" fmla="*/ 169 h 335"/>
                <a:gd name="T42" fmla="*/ 854 w 933"/>
                <a:gd name="T43" fmla="*/ 170 h 335"/>
                <a:gd name="T44" fmla="*/ 855 w 933"/>
                <a:gd name="T45" fmla="*/ 155 h 335"/>
                <a:gd name="T46" fmla="*/ 749 w 933"/>
                <a:gd name="T47" fmla="*/ 50 h 335"/>
                <a:gd name="T48" fmla="*/ 658 w 933"/>
                <a:gd name="T49" fmla="*/ 102 h 335"/>
                <a:gd name="T50" fmla="*/ 589 w 933"/>
                <a:gd name="T51" fmla="*/ 77 h 335"/>
                <a:gd name="T52" fmla="*/ 542 w 933"/>
                <a:gd name="T53" fmla="*/ 88 h 335"/>
                <a:gd name="T54" fmla="*/ 418 w 933"/>
                <a:gd name="T55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3" h="335">
                  <a:moveTo>
                    <a:pt x="418" y="0"/>
                  </a:moveTo>
                  <a:cubicBezTo>
                    <a:pt x="383" y="0"/>
                    <a:pt x="352" y="14"/>
                    <a:pt x="328" y="36"/>
                  </a:cubicBezTo>
                  <a:cubicBezTo>
                    <a:pt x="310" y="22"/>
                    <a:pt x="287" y="14"/>
                    <a:pt x="263" y="14"/>
                  </a:cubicBezTo>
                  <a:cubicBezTo>
                    <a:pt x="209" y="14"/>
                    <a:pt x="165" y="52"/>
                    <a:pt x="154" y="102"/>
                  </a:cubicBezTo>
                  <a:cubicBezTo>
                    <a:pt x="138" y="87"/>
                    <a:pt x="116" y="77"/>
                    <a:pt x="92" y="77"/>
                  </a:cubicBezTo>
                  <a:cubicBezTo>
                    <a:pt x="42" y="77"/>
                    <a:pt x="0" y="118"/>
                    <a:pt x="0" y="169"/>
                  </a:cubicBezTo>
                  <a:cubicBezTo>
                    <a:pt x="0" y="212"/>
                    <a:pt x="31" y="249"/>
                    <a:pt x="71" y="258"/>
                  </a:cubicBezTo>
                  <a:cubicBezTo>
                    <a:pt x="69" y="265"/>
                    <a:pt x="68" y="271"/>
                    <a:pt x="68" y="278"/>
                  </a:cubicBezTo>
                  <a:cubicBezTo>
                    <a:pt x="68" y="310"/>
                    <a:pt x="93" y="335"/>
                    <a:pt x="124" y="335"/>
                  </a:cubicBezTo>
                  <a:cubicBezTo>
                    <a:pt x="153" y="335"/>
                    <a:pt x="177" y="313"/>
                    <a:pt x="180" y="285"/>
                  </a:cubicBezTo>
                  <a:cubicBezTo>
                    <a:pt x="199" y="300"/>
                    <a:pt x="227" y="309"/>
                    <a:pt x="259" y="309"/>
                  </a:cubicBezTo>
                  <a:cubicBezTo>
                    <a:pt x="311" y="309"/>
                    <a:pt x="353" y="283"/>
                    <a:pt x="361" y="250"/>
                  </a:cubicBezTo>
                  <a:cubicBezTo>
                    <a:pt x="379" y="258"/>
                    <a:pt x="398" y="263"/>
                    <a:pt x="418" y="263"/>
                  </a:cubicBezTo>
                  <a:cubicBezTo>
                    <a:pt x="447" y="263"/>
                    <a:pt x="474" y="254"/>
                    <a:pt x="495" y="238"/>
                  </a:cubicBezTo>
                  <a:cubicBezTo>
                    <a:pt x="514" y="271"/>
                    <a:pt x="549" y="294"/>
                    <a:pt x="589" y="294"/>
                  </a:cubicBezTo>
                  <a:cubicBezTo>
                    <a:pt x="630" y="294"/>
                    <a:pt x="666" y="271"/>
                    <a:pt x="684" y="238"/>
                  </a:cubicBezTo>
                  <a:cubicBezTo>
                    <a:pt x="702" y="252"/>
                    <a:pt x="725" y="261"/>
                    <a:pt x="749" y="261"/>
                  </a:cubicBezTo>
                  <a:cubicBezTo>
                    <a:pt x="768" y="261"/>
                    <a:pt x="786" y="256"/>
                    <a:pt x="801" y="247"/>
                  </a:cubicBezTo>
                  <a:cubicBezTo>
                    <a:pt x="807" y="278"/>
                    <a:pt x="834" y="302"/>
                    <a:pt x="867" y="302"/>
                  </a:cubicBezTo>
                  <a:cubicBezTo>
                    <a:pt x="903" y="302"/>
                    <a:pt x="933" y="272"/>
                    <a:pt x="933" y="235"/>
                  </a:cubicBezTo>
                  <a:cubicBezTo>
                    <a:pt x="933" y="199"/>
                    <a:pt x="903" y="169"/>
                    <a:pt x="867" y="169"/>
                  </a:cubicBezTo>
                  <a:cubicBezTo>
                    <a:pt x="862" y="169"/>
                    <a:pt x="858" y="169"/>
                    <a:pt x="854" y="170"/>
                  </a:cubicBezTo>
                  <a:cubicBezTo>
                    <a:pt x="854" y="165"/>
                    <a:pt x="855" y="160"/>
                    <a:pt x="855" y="155"/>
                  </a:cubicBezTo>
                  <a:cubicBezTo>
                    <a:pt x="855" y="97"/>
                    <a:pt x="808" y="50"/>
                    <a:pt x="749" y="50"/>
                  </a:cubicBezTo>
                  <a:cubicBezTo>
                    <a:pt x="710" y="50"/>
                    <a:pt x="677" y="71"/>
                    <a:pt x="658" y="102"/>
                  </a:cubicBezTo>
                  <a:cubicBezTo>
                    <a:pt x="640" y="87"/>
                    <a:pt x="616" y="77"/>
                    <a:pt x="589" y="77"/>
                  </a:cubicBezTo>
                  <a:cubicBezTo>
                    <a:pt x="573" y="77"/>
                    <a:pt x="557" y="81"/>
                    <a:pt x="542" y="88"/>
                  </a:cubicBezTo>
                  <a:cubicBezTo>
                    <a:pt x="524" y="37"/>
                    <a:pt x="476" y="0"/>
                    <a:pt x="4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06" name="Freeform 27">
            <a:extLst>
              <a:ext uri="{FF2B5EF4-FFF2-40B4-BE49-F238E27FC236}">
                <a16:creationId xmlns:a16="http://schemas.microsoft.com/office/drawing/2014/main" xmlns="" id="{B38E7F8F-8A15-44E9-B5E2-88F3FBCA72EE}"/>
              </a:ext>
            </a:extLst>
          </p:cNvPr>
          <p:cNvSpPr>
            <a:spLocks noEditPoints="1"/>
          </p:cNvSpPr>
          <p:nvPr/>
        </p:nvSpPr>
        <p:spPr bwMode="auto">
          <a:xfrm>
            <a:off x="3491245" y="4865429"/>
            <a:ext cx="1208835" cy="615844"/>
          </a:xfrm>
          <a:custGeom>
            <a:avLst/>
            <a:gdLst>
              <a:gd name="T0" fmla="*/ 755 w 788"/>
              <a:gd name="T1" fmla="*/ 215 h 400"/>
              <a:gd name="T2" fmla="*/ 741 w 788"/>
              <a:gd name="T3" fmla="*/ 159 h 400"/>
              <a:gd name="T4" fmla="*/ 601 w 788"/>
              <a:gd name="T5" fmla="*/ 18 h 400"/>
              <a:gd name="T6" fmla="*/ 530 w 788"/>
              <a:gd name="T7" fmla="*/ 18 h 400"/>
              <a:gd name="T8" fmla="*/ 496 w 788"/>
              <a:gd name="T9" fmla="*/ 168 h 400"/>
              <a:gd name="T10" fmla="*/ 443 w 788"/>
              <a:gd name="T11" fmla="*/ 150 h 400"/>
              <a:gd name="T12" fmla="*/ 409 w 788"/>
              <a:gd name="T13" fmla="*/ 168 h 400"/>
              <a:gd name="T14" fmla="*/ 388 w 788"/>
              <a:gd name="T15" fmla="*/ 150 h 400"/>
              <a:gd name="T16" fmla="*/ 355 w 788"/>
              <a:gd name="T17" fmla="*/ 168 h 400"/>
              <a:gd name="T18" fmla="*/ 261 w 788"/>
              <a:gd name="T19" fmla="*/ 18 h 400"/>
              <a:gd name="T20" fmla="*/ 190 w 788"/>
              <a:gd name="T21" fmla="*/ 18 h 400"/>
              <a:gd name="T22" fmla="*/ 148 w 788"/>
              <a:gd name="T23" fmla="*/ 159 h 400"/>
              <a:gd name="T24" fmla="*/ 37 w 788"/>
              <a:gd name="T25" fmla="*/ 215 h 400"/>
              <a:gd name="T26" fmla="*/ 0 w 788"/>
              <a:gd name="T27" fmla="*/ 237 h 400"/>
              <a:gd name="T28" fmla="*/ 0 w 788"/>
              <a:gd name="T29" fmla="*/ 400 h 400"/>
              <a:gd name="T30" fmla="*/ 469 w 788"/>
              <a:gd name="T31" fmla="*/ 400 h 400"/>
              <a:gd name="T32" fmla="*/ 788 w 788"/>
              <a:gd name="T33" fmla="*/ 382 h 400"/>
              <a:gd name="T34" fmla="*/ 70 w 788"/>
              <a:gd name="T35" fmla="*/ 215 h 400"/>
              <a:gd name="T36" fmla="*/ 135 w 788"/>
              <a:gd name="T37" fmla="*/ 171 h 400"/>
              <a:gd name="T38" fmla="*/ 89 w 788"/>
              <a:gd name="T39" fmla="*/ 208 h 400"/>
              <a:gd name="T40" fmla="*/ 70 w 788"/>
              <a:gd name="T41" fmla="*/ 215 h 400"/>
              <a:gd name="T42" fmla="*/ 653 w 788"/>
              <a:gd name="T43" fmla="*/ 171 h 400"/>
              <a:gd name="T44" fmla="*/ 719 w 788"/>
              <a:gd name="T45" fmla="*/ 215 h 400"/>
              <a:gd name="T46" fmla="*/ 699 w 788"/>
              <a:gd name="T47" fmla="*/ 208 h 400"/>
              <a:gd name="T48" fmla="*/ 469 w 788"/>
              <a:gd name="T49" fmla="*/ 190 h 400"/>
              <a:gd name="T50" fmla="*/ 484 w 788"/>
              <a:gd name="T51" fmla="*/ 180 h 400"/>
              <a:gd name="T52" fmla="*/ 386 w 788"/>
              <a:gd name="T53" fmla="*/ 180 h 400"/>
              <a:gd name="T54" fmla="*/ 355 w 788"/>
              <a:gd name="T55" fmla="*/ 208 h 400"/>
              <a:gd name="T56" fmla="*/ 312 w 788"/>
              <a:gd name="T57" fmla="*/ 180 h 400"/>
              <a:gd name="T58" fmla="*/ 51 w 788"/>
              <a:gd name="T59" fmla="*/ 259 h 400"/>
              <a:gd name="T60" fmla="*/ 36 w 788"/>
              <a:gd name="T61" fmla="*/ 288 h 400"/>
              <a:gd name="T62" fmla="*/ 36 w 788"/>
              <a:gd name="T63" fmla="*/ 306 h 400"/>
              <a:gd name="T64" fmla="*/ 26 w 788"/>
              <a:gd name="T65" fmla="*/ 370 h 400"/>
              <a:gd name="T66" fmla="*/ 31 w 788"/>
              <a:gd name="T67" fmla="*/ 370 h 400"/>
              <a:gd name="T68" fmla="*/ 53 w 788"/>
              <a:gd name="T69" fmla="*/ 363 h 400"/>
              <a:gd name="T70" fmla="*/ 71 w 788"/>
              <a:gd name="T71" fmla="*/ 346 h 400"/>
              <a:gd name="T72" fmla="*/ 31 w 788"/>
              <a:gd name="T73" fmla="*/ 370 h 400"/>
              <a:gd name="T74" fmla="*/ 81 w 788"/>
              <a:gd name="T75" fmla="*/ 370 h 400"/>
              <a:gd name="T76" fmla="*/ 71 w 788"/>
              <a:gd name="T77" fmla="*/ 306 h 400"/>
              <a:gd name="T78" fmla="*/ 71 w 788"/>
              <a:gd name="T79" fmla="*/ 288 h 400"/>
              <a:gd name="T80" fmla="*/ 61 w 788"/>
              <a:gd name="T81" fmla="*/ 259 h 400"/>
              <a:gd name="T82" fmla="*/ 97 w 788"/>
              <a:gd name="T83" fmla="*/ 379 h 400"/>
              <a:gd name="T84" fmla="*/ 692 w 788"/>
              <a:gd name="T85" fmla="*/ 237 h 400"/>
              <a:gd name="T86" fmla="*/ 728 w 788"/>
              <a:gd name="T87" fmla="*/ 267 h 400"/>
              <a:gd name="T88" fmla="*/ 715 w 788"/>
              <a:gd name="T89" fmla="*/ 288 h 400"/>
              <a:gd name="T90" fmla="*/ 713 w 788"/>
              <a:gd name="T91" fmla="*/ 306 h 400"/>
              <a:gd name="T92" fmla="*/ 703 w 788"/>
              <a:gd name="T93" fmla="*/ 370 h 400"/>
              <a:gd name="T94" fmla="*/ 713 w 788"/>
              <a:gd name="T95" fmla="*/ 311 h 400"/>
              <a:gd name="T96" fmla="*/ 753 w 788"/>
              <a:gd name="T97" fmla="*/ 346 h 400"/>
              <a:gd name="T98" fmla="*/ 713 w 788"/>
              <a:gd name="T99" fmla="*/ 370 h 400"/>
              <a:gd name="T100" fmla="*/ 763 w 788"/>
              <a:gd name="T101" fmla="*/ 370 h 400"/>
              <a:gd name="T102" fmla="*/ 753 w 788"/>
              <a:gd name="T103" fmla="*/ 306 h 400"/>
              <a:gd name="T104" fmla="*/ 753 w 788"/>
              <a:gd name="T105" fmla="*/ 288 h 400"/>
              <a:gd name="T106" fmla="*/ 738 w 788"/>
              <a:gd name="T107" fmla="*/ 259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88" h="400">
                <a:moveTo>
                  <a:pt x="788" y="237"/>
                </a:moveTo>
                <a:cubicBezTo>
                  <a:pt x="788" y="219"/>
                  <a:pt x="788" y="219"/>
                  <a:pt x="788" y="219"/>
                </a:cubicBezTo>
                <a:cubicBezTo>
                  <a:pt x="755" y="219"/>
                  <a:pt x="755" y="219"/>
                  <a:pt x="755" y="219"/>
                </a:cubicBezTo>
                <a:cubicBezTo>
                  <a:pt x="755" y="215"/>
                  <a:pt x="755" y="215"/>
                  <a:pt x="755" y="215"/>
                </a:cubicBezTo>
                <a:cubicBezTo>
                  <a:pt x="751" y="215"/>
                  <a:pt x="751" y="215"/>
                  <a:pt x="751" y="215"/>
                </a:cubicBezTo>
                <a:cubicBezTo>
                  <a:pt x="751" y="211"/>
                  <a:pt x="751" y="211"/>
                  <a:pt x="751" y="211"/>
                </a:cubicBezTo>
                <a:cubicBezTo>
                  <a:pt x="751" y="204"/>
                  <a:pt x="747" y="199"/>
                  <a:pt x="741" y="196"/>
                </a:cubicBezTo>
                <a:cubicBezTo>
                  <a:pt x="741" y="159"/>
                  <a:pt x="741" y="159"/>
                  <a:pt x="741" y="159"/>
                </a:cubicBezTo>
                <a:cubicBezTo>
                  <a:pt x="641" y="159"/>
                  <a:pt x="641" y="159"/>
                  <a:pt x="641" y="159"/>
                </a:cubicBezTo>
                <a:cubicBezTo>
                  <a:pt x="641" y="190"/>
                  <a:pt x="641" y="190"/>
                  <a:pt x="641" y="190"/>
                </a:cubicBezTo>
                <a:cubicBezTo>
                  <a:pt x="623" y="190"/>
                  <a:pt x="623" y="190"/>
                  <a:pt x="623" y="190"/>
                </a:cubicBezTo>
                <a:cubicBezTo>
                  <a:pt x="601" y="18"/>
                  <a:pt x="601" y="18"/>
                  <a:pt x="601" y="18"/>
                </a:cubicBezTo>
                <a:cubicBezTo>
                  <a:pt x="606" y="18"/>
                  <a:pt x="606" y="18"/>
                  <a:pt x="606" y="18"/>
                </a:cubicBezTo>
                <a:cubicBezTo>
                  <a:pt x="606" y="0"/>
                  <a:pt x="606" y="0"/>
                  <a:pt x="606" y="0"/>
                </a:cubicBezTo>
                <a:cubicBezTo>
                  <a:pt x="530" y="0"/>
                  <a:pt x="530" y="0"/>
                  <a:pt x="530" y="0"/>
                </a:cubicBezTo>
                <a:cubicBezTo>
                  <a:pt x="530" y="18"/>
                  <a:pt x="530" y="18"/>
                  <a:pt x="530" y="18"/>
                </a:cubicBezTo>
                <a:cubicBezTo>
                  <a:pt x="535" y="18"/>
                  <a:pt x="535" y="18"/>
                  <a:pt x="535" y="18"/>
                </a:cubicBezTo>
                <a:cubicBezTo>
                  <a:pt x="513" y="190"/>
                  <a:pt x="513" y="190"/>
                  <a:pt x="513" y="190"/>
                </a:cubicBezTo>
                <a:cubicBezTo>
                  <a:pt x="496" y="190"/>
                  <a:pt x="496" y="190"/>
                  <a:pt x="496" y="190"/>
                </a:cubicBezTo>
                <a:cubicBezTo>
                  <a:pt x="496" y="168"/>
                  <a:pt x="496" y="168"/>
                  <a:pt x="496" y="168"/>
                </a:cubicBezTo>
                <a:cubicBezTo>
                  <a:pt x="441" y="168"/>
                  <a:pt x="441" y="168"/>
                  <a:pt x="441" y="168"/>
                </a:cubicBezTo>
                <a:cubicBezTo>
                  <a:pt x="441" y="157"/>
                  <a:pt x="441" y="157"/>
                  <a:pt x="441" y="157"/>
                </a:cubicBezTo>
                <a:cubicBezTo>
                  <a:pt x="443" y="157"/>
                  <a:pt x="443" y="157"/>
                  <a:pt x="443" y="157"/>
                </a:cubicBezTo>
                <a:cubicBezTo>
                  <a:pt x="443" y="150"/>
                  <a:pt x="443" y="150"/>
                  <a:pt x="443" y="150"/>
                </a:cubicBezTo>
                <a:cubicBezTo>
                  <a:pt x="407" y="150"/>
                  <a:pt x="407" y="150"/>
                  <a:pt x="407" y="150"/>
                </a:cubicBezTo>
                <a:cubicBezTo>
                  <a:pt x="407" y="157"/>
                  <a:pt x="407" y="157"/>
                  <a:pt x="407" y="157"/>
                </a:cubicBezTo>
                <a:cubicBezTo>
                  <a:pt x="409" y="157"/>
                  <a:pt x="409" y="157"/>
                  <a:pt x="409" y="157"/>
                </a:cubicBezTo>
                <a:cubicBezTo>
                  <a:pt x="409" y="168"/>
                  <a:pt x="409" y="168"/>
                  <a:pt x="409" y="168"/>
                </a:cubicBezTo>
                <a:cubicBezTo>
                  <a:pt x="386" y="168"/>
                  <a:pt x="386" y="168"/>
                  <a:pt x="386" y="168"/>
                </a:cubicBezTo>
                <a:cubicBezTo>
                  <a:pt x="386" y="157"/>
                  <a:pt x="386" y="157"/>
                  <a:pt x="386" y="157"/>
                </a:cubicBezTo>
                <a:cubicBezTo>
                  <a:pt x="388" y="157"/>
                  <a:pt x="388" y="157"/>
                  <a:pt x="388" y="157"/>
                </a:cubicBezTo>
                <a:cubicBezTo>
                  <a:pt x="388" y="150"/>
                  <a:pt x="388" y="150"/>
                  <a:pt x="388" y="150"/>
                </a:cubicBezTo>
                <a:cubicBezTo>
                  <a:pt x="353" y="150"/>
                  <a:pt x="353" y="150"/>
                  <a:pt x="353" y="150"/>
                </a:cubicBezTo>
                <a:cubicBezTo>
                  <a:pt x="353" y="157"/>
                  <a:pt x="353" y="157"/>
                  <a:pt x="353" y="157"/>
                </a:cubicBezTo>
                <a:cubicBezTo>
                  <a:pt x="355" y="157"/>
                  <a:pt x="355" y="157"/>
                  <a:pt x="355" y="157"/>
                </a:cubicBezTo>
                <a:cubicBezTo>
                  <a:pt x="355" y="168"/>
                  <a:pt x="355" y="168"/>
                  <a:pt x="355" y="168"/>
                </a:cubicBezTo>
                <a:cubicBezTo>
                  <a:pt x="299" y="168"/>
                  <a:pt x="299" y="168"/>
                  <a:pt x="299" y="168"/>
                </a:cubicBezTo>
                <a:cubicBezTo>
                  <a:pt x="299" y="190"/>
                  <a:pt x="299" y="190"/>
                  <a:pt x="299" y="190"/>
                </a:cubicBezTo>
                <a:cubicBezTo>
                  <a:pt x="283" y="190"/>
                  <a:pt x="283" y="190"/>
                  <a:pt x="283" y="190"/>
                </a:cubicBezTo>
                <a:cubicBezTo>
                  <a:pt x="261" y="18"/>
                  <a:pt x="261" y="18"/>
                  <a:pt x="261" y="18"/>
                </a:cubicBezTo>
                <a:cubicBezTo>
                  <a:pt x="265" y="18"/>
                  <a:pt x="265" y="18"/>
                  <a:pt x="265" y="18"/>
                </a:cubicBezTo>
                <a:cubicBezTo>
                  <a:pt x="265" y="0"/>
                  <a:pt x="265" y="0"/>
                  <a:pt x="265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90" y="18"/>
                  <a:pt x="190" y="18"/>
                  <a:pt x="190" y="18"/>
                </a:cubicBezTo>
                <a:cubicBezTo>
                  <a:pt x="195" y="18"/>
                  <a:pt x="195" y="18"/>
                  <a:pt x="195" y="18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48" y="190"/>
                  <a:pt x="148" y="190"/>
                  <a:pt x="148" y="190"/>
                </a:cubicBezTo>
                <a:cubicBezTo>
                  <a:pt x="148" y="159"/>
                  <a:pt x="148" y="159"/>
                  <a:pt x="148" y="159"/>
                </a:cubicBezTo>
                <a:cubicBezTo>
                  <a:pt x="48" y="159"/>
                  <a:pt x="48" y="159"/>
                  <a:pt x="48" y="159"/>
                </a:cubicBezTo>
                <a:cubicBezTo>
                  <a:pt x="48" y="196"/>
                  <a:pt x="48" y="196"/>
                  <a:pt x="48" y="196"/>
                </a:cubicBezTo>
                <a:cubicBezTo>
                  <a:pt x="42" y="199"/>
                  <a:pt x="37" y="204"/>
                  <a:pt x="37" y="211"/>
                </a:cubicBezTo>
                <a:cubicBezTo>
                  <a:pt x="37" y="215"/>
                  <a:pt x="37" y="215"/>
                  <a:pt x="37" y="215"/>
                </a:cubicBezTo>
                <a:cubicBezTo>
                  <a:pt x="33" y="215"/>
                  <a:pt x="33" y="215"/>
                  <a:pt x="33" y="215"/>
                </a:cubicBezTo>
                <a:cubicBezTo>
                  <a:pt x="33" y="219"/>
                  <a:pt x="33" y="219"/>
                  <a:pt x="33" y="219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37"/>
                  <a:pt x="0" y="237"/>
                  <a:pt x="0" y="237"/>
                </a:cubicBezTo>
                <a:cubicBezTo>
                  <a:pt x="7" y="237"/>
                  <a:pt x="7" y="237"/>
                  <a:pt x="7" y="237"/>
                </a:cubicBezTo>
                <a:cubicBezTo>
                  <a:pt x="7" y="382"/>
                  <a:pt x="7" y="382"/>
                  <a:pt x="7" y="382"/>
                </a:cubicBezTo>
                <a:cubicBezTo>
                  <a:pt x="0" y="382"/>
                  <a:pt x="0" y="382"/>
                  <a:pt x="0" y="382"/>
                </a:cubicBezTo>
                <a:cubicBezTo>
                  <a:pt x="0" y="400"/>
                  <a:pt x="0" y="400"/>
                  <a:pt x="0" y="400"/>
                </a:cubicBezTo>
                <a:cubicBezTo>
                  <a:pt x="97" y="400"/>
                  <a:pt x="97" y="400"/>
                  <a:pt x="97" y="400"/>
                </a:cubicBezTo>
                <a:cubicBezTo>
                  <a:pt x="129" y="400"/>
                  <a:pt x="129" y="400"/>
                  <a:pt x="129" y="400"/>
                </a:cubicBezTo>
                <a:cubicBezTo>
                  <a:pt x="326" y="400"/>
                  <a:pt x="326" y="400"/>
                  <a:pt x="326" y="400"/>
                </a:cubicBezTo>
                <a:cubicBezTo>
                  <a:pt x="469" y="400"/>
                  <a:pt x="469" y="400"/>
                  <a:pt x="469" y="400"/>
                </a:cubicBezTo>
                <a:cubicBezTo>
                  <a:pt x="667" y="400"/>
                  <a:pt x="667" y="400"/>
                  <a:pt x="667" y="400"/>
                </a:cubicBezTo>
                <a:cubicBezTo>
                  <a:pt x="692" y="400"/>
                  <a:pt x="692" y="400"/>
                  <a:pt x="692" y="400"/>
                </a:cubicBezTo>
                <a:cubicBezTo>
                  <a:pt x="788" y="400"/>
                  <a:pt x="788" y="400"/>
                  <a:pt x="788" y="400"/>
                </a:cubicBezTo>
                <a:cubicBezTo>
                  <a:pt x="788" y="382"/>
                  <a:pt x="788" y="382"/>
                  <a:pt x="788" y="382"/>
                </a:cubicBezTo>
                <a:cubicBezTo>
                  <a:pt x="782" y="382"/>
                  <a:pt x="782" y="382"/>
                  <a:pt x="782" y="382"/>
                </a:cubicBezTo>
                <a:cubicBezTo>
                  <a:pt x="782" y="237"/>
                  <a:pt x="782" y="237"/>
                  <a:pt x="782" y="237"/>
                </a:cubicBezTo>
                <a:lnTo>
                  <a:pt x="788" y="237"/>
                </a:lnTo>
                <a:close/>
                <a:moveTo>
                  <a:pt x="70" y="215"/>
                </a:moveTo>
                <a:cubicBezTo>
                  <a:pt x="70" y="211"/>
                  <a:pt x="70" y="211"/>
                  <a:pt x="70" y="211"/>
                </a:cubicBezTo>
                <a:cubicBezTo>
                  <a:pt x="70" y="205"/>
                  <a:pt x="66" y="199"/>
                  <a:pt x="60" y="196"/>
                </a:cubicBezTo>
                <a:cubicBezTo>
                  <a:pt x="60" y="171"/>
                  <a:pt x="60" y="171"/>
                  <a:pt x="60" y="171"/>
                </a:cubicBezTo>
                <a:cubicBezTo>
                  <a:pt x="135" y="171"/>
                  <a:pt x="135" y="171"/>
                  <a:pt x="135" y="171"/>
                </a:cubicBezTo>
                <a:cubicBezTo>
                  <a:pt x="135" y="190"/>
                  <a:pt x="135" y="190"/>
                  <a:pt x="135" y="190"/>
                </a:cubicBezTo>
                <a:cubicBezTo>
                  <a:pt x="129" y="190"/>
                  <a:pt x="129" y="190"/>
                  <a:pt x="129" y="190"/>
                </a:cubicBezTo>
                <a:cubicBezTo>
                  <a:pt x="129" y="208"/>
                  <a:pt x="129" y="208"/>
                  <a:pt x="129" y="208"/>
                </a:cubicBezTo>
                <a:cubicBezTo>
                  <a:pt x="89" y="208"/>
                  <a:pt x="89" y="208"/>
                  <a:pt x="89" y="208"/>
                </a:cubicBezTo>
                <a:cubicBezTo>
                  <a:pt x="89" y="219"/>
                  <a:pt x="89" y="219"/>
                  <a:pt x="89" y="219"/>
                </a:cubicBezTo>
                <a:cubicBezTo>
                  <a:pt x="74" y="219"/>
                  <a:pt x="74" y="219"/>
                  <a:pt x="74" y="219"/>
                </a:cubicBezTo>
                <a:cubicBezTo>
                  <a:pt x="74" y="215"/>
                  <a:pt x="74" y="215"/>
                  <a:pt x="74" y="215"/>
                </a:cubicBezTo>
                <a:lnTo>
                  <a:pt x="70" y="215"/>
                </a:lnTo>
                <a:close/>
                <a:moveTo>
                  <a:pt x="667" y="208"/>
                </a:moveTo>
                <a:cubicBezTo>
                  <a:pt x="667" y="190"/>
                  <a:pt x="667" y="190"/>
                  <a:pt x="667" y="190"/>
                </a:cubicBezTo>
                <a:cubicBezTo>
                  <a:pt x="653" y="190"/>
                  <a:pt x="653" y="190"/>
                  <a:pt x="653" y="190"/>
                </a:cubicBezTo>
                <a:cubicBezTo>
                  <a:pt x="653" y="171"/>
                  <a:pt x="653" y="171"/>
                  <a:pt x="653" y="171"/>
                </a:cubicBezTo>
                <a:cubicBezTo>
                  <a:pt x="729" y="171"/>
                  <a:pt x="729" y="171"/>
                  <a:pt x="729" y="171"/>
                </a:cubicBezTo>
                <a:cubicBezTo>
                  <a:pt x="729" y="196"/>
                  <a:pt x="729" y="196"/>
                  <a:pt x="729" y="196"/>
                </a:cubicBezTo>
                <a:cubicBezTo>
                  <a:pt x="723" y="199"/>
                  <a:pt x="719" y="205"/>
                  <a:pt x="719" y="211"/>
                </a:cubicBezTo>
                <a:cubicBezTo>
                  <a:pt x="719" y="215"/>
                  <a:pt x="719" y="215"/>
                  <a:pt x="719" y="215"/>
                </a:cubicBezTo>
                <a:cubicBezTo>
                  <a:pt x="714" y="215"/>
                  <a:pt x="714" y="215"/>
                  <a:pt x="714" y="215"/>
                </a:cubicBezTo>
                <a:cubicBezTo>
                  <a:pt x="714" y="219"/>
                  <a:pt x="714" y="219"/>
                  <a:pt x="714" y="219"/>
                </a:cubicBezTo>
                <a:cubicBezTo>
                  <a:pt x="699" y="219"/>
                  <a:pt x="699" y="219"/>
                  <a:pt x="699" y="219"/>
                </a:cubicBezTo>
                <a:cubicBezTo>
                  <a:pt x="699" y="208"/>
                  <a:pt x="699" y="208"/>
                  <a:pt x="699" y="208"/>
                </a:cubicBezTo>
                <a:lnTo>
                  <a:pt x="667" y="208"/>
                </a:lnTo>
                <a:close/>
                <a:moveTo>
                  <a:pt x="484" y="180"/>
                </a:moveTo>
                <a:cubicBezTo>
                  <a:pt x="484" y="190"/>
                  <a:pt x="484" y="190"/>
                  <a:pt x="484" y="190"/>
                </a:cubicBezTo>
                <a:cubicBezTo>
                  <a:pt x="469" y="190"/>
                  <a:pt x="469" y="190"/>
                  <a:pt x="469" y="190"/>
                </a:cubicBezTo>
                <a:cubicBezTo>
                  <a:pt x="469" y="208"/>
                  <a:pt x="469" y="208"/>
                  <a:pt x="469" y="208"/>
                </a:cubicBezTo>
                <a:cubicBezTo>
                  <a:pt x="441" y="208"/>
                  <a:pt x="441" y="208"/>
                  <a:pt x="441" y="208"/>
                </a:cubicBezTo>
                <a:cubicBezTo>
                  <a:pt x="441" y="180"/>
                  <a:pt x="441" y="180"/>
                  <a:pt x="441" y="180"/>
                </a:cubicBezTo>
                <a:lnTo>
                  <a:pt x="484" y="180"/>
                </a:lnTo>
                <a:close/>
                <a:moveTo>
                  <a:pt x="409" y="180"/>
                </a:moveTo>
                <a:cubicBezTo>
                  <a:pt x="409" y="208"/>
                  <a:pt x="409" y="208"/>
                  <a:pt x="409" y="208"/>
                </a:cubicBezTo>
                <a:cubicBezTo>
                  <a:pt x="386" y="208"/>
                  <a:pt x="386" y="208"/>
                  <a:pt x="386" y="208"/>
                </a:cubicBezTo>
                <a:cubicBezTo>
                  <a:pt x="386" y="180"/>
                  <a:pt x="386" y="180"/>
                  <a:pt x="386" y="180"/>
                </a:cubicBezTo>
                <a:lnTo>
                  <a:pt x="409" y="180"/>
                </a:lnTo>
                <a:close/>
                <a:moveTo>
                  <a:pt x="312" y="180"/>
                </a:moveTo>
                <a:cubicBezTo>
                  <a:pt x="355" y="180"/>
                  <a:pt x="355" y="180"/>
                  <a:pt x="355" y="180"/>
                </a:cubicBezTo>
                <a:cubicBezTo>
                  <a:pt x="355" y="208"/>
                  <a:pt x="355" y="208"/>
                  <a:pt x="355" y="208"/>
                </a:cubicBezTo>
                <a:cubicBezTo>
                  <a:pt x="326" y="208"/>
                  <a:pt x="326" y="208"/>
                  <a:pt x="326" y="208"/>
                </a:cubicBezTo>
                <a:cubicBezTo>
                  <a:pt x="326" y="190"/>
                  <a:pt x="326" y="190"/>
                  <a:pt x="326" y="190"/>
                </a:cubicBezTo>
                <a:cubicBezTo>
                  <a:pt x="312" y="190"/>
                  <a:pt x="312" y="190"/>
                  <a:pt x="312" y="190"/>
                </a:cubicBezTo>
                <a:lnTo>
                  <a:pt x="312" y="180"/>
                </a:lnTo>
                <a:close/>
                <a:moveTo>
                  <a:pt x="12" y="382"/>
                </a:moveTo>
                <a:cubicBezTo>
                  <a:pt x="12" y="237"/>
                  <a:pt x="12" y="237"/>
                  <a:pt x="12" y="237"/>
                </a:cubicBezTo>
                <a:cubicBezTo>
                  <a:pt x="51" y="237"/>
                  <a:pt x="51" y="237"/>
                  <a:pt x="51" y="237"/>
                </a:cubicBezTo>
                <a:cubicBezTo>
                  <a:pt x="51" y="259"/>
                  <a:pt x="51" y="259"/>
                  <a:pt x="51" y="259"/>
                </a:cubicBezTo>
                <a:cubicBezTo>
                  <a:pt x="46" y="259"/>
                  <a:pt x="46" y="259"/>
                  <a:pt x="46" y="259"/>
                </a:cubicBezTo>
                <a:cubicBezTo>
                  <a:pt x="46" y="267"/>
                  <a:pt x="46" y="267"/>
                  <a:pt x="46" y="267"/>
                </a:cubicBezTo>
                <a:cubicBezTo>
                  <a:pt x="40" y="270"/>
                  <a:pt x="36" y="276"/>
                  <a:pt x="36" y="283"/>
                </a:cubicBezTo>
                <a:cubicBezTo>
                  <a:pt x="36" y="288"/>
                  <a:pt x="36" y="288"/>
                  <a:pt x="36" y="288"/>
                </a:cubicBezTo>
                <a:cubicBezTo>
                  <a:pt x="33" y="288"/>
                  <a:pt x="33" y="288"/>
                  <a:pt x="33" y="288"/>
                </a:cubicBezTo>
                <a:cubicBezTo>
                  <a:pt x="33" y="292"/>
                  <a:pt x="33" y="292"/>
                  <a:pt x="33" y="292"/>
                </a:cubicBezTo>
                <a:cubicBezTo>
                  <a:pt x="36" y="292"/>
                  <a:pt x="36" y="292"/>
                  <a:pt x="36" y="292"/>
                </a:cubicBezTo>
                <a:cubicBezTo>
                  <a:pt x="36" y="306"/>
                  <a:pt x="36" y="306"/>
                  <a:pt x="36" y="306"/>
                </a:cubicBezTo>
                <a:cubicBezTo>
                  <a:pt x="31" y="306"/>
                  <a:pt x="31" y="306"/>
                  <a:pt x="31" y="306"/>
                </a:cubicBezTo>
                <a:cubicBezTo>
                  <a:pt x="26" y="306"/>
                  <a:pt x="26" y="306"/>
                  <a:pt x="26" y="306"/>
                </a:cubicBezTo>
                <a:cubicBezTo>
                  <a:pt x="26" y="311"/>
                  <a:pt x="26" y="311"/>
                  <a:pt x="26" y="311"/>
                </a:cubicBezTo>
                <a:cubicBezTo>
                  <a:pt x="26" y="370"/>
                  <a:pt x="26" y="370"/>
                  <a:pt x="26" y="370"/>
                </a:cubicBezTo>
                <a:cubicBezTo>
                  <a:pt x="21" y="370"/>
                  <a:pt x="21" y="370"/>
                  <a:pt x="21" y="370"/>
                </a:cubicBezTo>
                <a:cubicBezTo>
                  <a:pt x="21" y="382"/>
                  <a:pt x="21" y="382"/>
                  <a:pt x="21" y="382"/>
                </a:cubicBezTo>
                <a:lnTo>
                  <a:pt x="12" y="382"/>
                </a:lnTo>
                <a:close/>
                <a:moveTo>
                  <a:pt x="31" y="370"/>
                </a:moveTo>
                <a:cubicBezTo>
                  <a:pt x="31" y="311"/>
                  <a:pt x="31" y="311"/>
                  <a:pt x="31" y="311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6" y="346"/>
                  <a:pt x="36" y="346"/>
                  <a:pt x="36" y="346"/>
                </a:cubicBezTo>
                <a:cubicBezTo>
                  <a:pt x="36" y="355"/>
                  <a:pt x="44" y="363"/>
                  <a:pt x="53" y="363"/>
                </a:cubicBezTo>
                <a:cubicBezTo>
                  <a:pt x="53" y="363"/>
                  <a:pt x="53" y="363"/>
                  <a:pt x="53" y="363"/>
                </a:cubicBezTo>
                <a:cubicBezTo>
                  <a:pt x="56" y="363"/>
                  <a:pt x="58" y="363"/>
                  <a:pt x="60" y="362"/>
                </a:cubicBezTo>
                <a:cubicBezTo>
                  <a:pt x="66" y="359"/>
                  <a:pt x="71" y="353"/>
                  <a:pt x="71" y="346"/>
                </a:cubicBezTo>
                <a:cubicBezTo>
                  <a:pt x="71" y="346"/>
                  <a:pt x="71" y="346"/>
                  <a:pt x="71" y="346"/>
                </a:cubicBezTo>
                <a:cubicBezTo>
                  <a:pt x="71" y="311"/>
                  <a:pt x="71" y="311"/>
                  <a:pt x="71" y="311"/>
                </a:cubicBezTo>
                <a:cubicBezTo>
                  <a:pt x="76" y="311"/>
                  <a:pt x="76" y="311"/>
                  <a:pt x="76" y="311"/>
                </a:cubicBezTo>
                <a:cubicBezTo>
                  <a:pt x="76" y="370"/>
                  <a:pt x="76" y="370"/>
                  <a:pt x="76" y="370"/>
                </a:cubicBezTo>
                <a:lnTo>
                  <a:pt x="31" y="370"/>
                </a:lnTo>
                <a:close/>
                <a:moveTo>
                  <a:pt x="97" y="382"/>
                </a:moveTo>
                <a:cubicBezTo>
                  <a:pt x="86" y="382"/>
                  <a:pt x="86" y="382"/>
                  <a:pt x="86" y="382"/>
                </a:cubicBezTo>
                <a:cubicBezTo>
                  <a:pt x="86" y="370"/>
                  <a:pt x="86" y="370"/>
                  <a:pt x="86" y="370"/>
                </a:cubicBezTo>
                <a:cubicBezTo>
                  <a:pt x="81" y="370"/>
                  <a:pt x="81" y="370"/>
                  <a:pt x="81" y="370"/>
                </a:cubicBezTo>
                <a:cubicBezTo>
                  <a:pt x="81" y="311"/>
                  <a:pt x="81" y="311"/>
                  <a:pt x="81" y="311"/>
                </a:cubicBezTo>
                <a:cubicBezTo>
                  <a:pt x="81" y="306"/>
                  <a:pt x="81" y="306"/>
                  <a:pt x="81" y="306"/>
                </a:cubicBezTo>
                <a:cubicBezTo>
                  <a:pt x="76" y="306"/>
                  <a:pt x="76" y="306"/>
                  <a:pt x="76" y="306"/>
                </a:cubicBezTo>
                <a:cubicBezTo>
                  <a:pt x="71" y="306"/>
                  <a:pt x="71" y="306"/>
                  <a:pt x="71" y="306"/>
                </a:cubicBezTo>
                <a:cubicBezTo>
                  <a:pt x="71" y="292"/>
                  <a:pt x="71" y="292"/>
                  <a:pt x="71" y="292"/>
                </a:cubicBezTo>
                <a:cubicBezTo>
                  <a:pt x="74" y="292"/>
                  <a:pt x="74" y="292"/>
                  <a:pt x="74" y="292"/>
                </a:cubicBezTo>
                <a:cubicBezTo>
                  <a:pt x="74" y="288"/>
                  <a:pt x="74" y="288"/>
                  <a:pt x="74" y="288"/>
                </a:cubicBezTo>
                <a:cubicBezTo>
                  <a:pt x="71" y="288"/>
                  <a:pt x="71" y="288"/>
                  <a:pt x="71" y="288"/>
                </a:cubicBezTo>
                <a:cubicBezTo>
                  <a:pt x="71" y="283"/>
                  <a:pt x="71" y="283"/>
                  <a:pt x="71" y="283"/>
                </a:cubicBezTo>
                <a:cubicBezTo>
                  <a:pt x="71" y="283"/>
                  <a:pt x="71" y="283"/>
                  <a:pt x="71" y="283"/>
                </a:cubicBezTo>
                <a:cubicBezTo>
                  <a:pt x="71" y="276"/>
                  <a:pt x="67" y="270"/>
                  <a:pt x="61" y="267"/>
                </a:cubicBezTo>
                <a:cubicBezTo>
                  <a:pt x="61" y="259"/>
                  <a:pt x="61" y="259"/>
                  <a:pt x="61" y="259"/>
                </a:cubicBezTo>
                <a:cubicBezTo>
                  <a:pt x="57" y="259"/>
                  <a:pt x="57" y="259"/>
                  <a:pt x="57" y="259"/>
                </a:cubicBezTo>
                <a:cubicBezTo>
                  <a:pt x="57" y="237"/>
                  <a:pt x="57" y="237"/>
                  <a:pt x="57" y="237"/>
                </a:cubicBezTo>
                <a:cubicBezTo>
                  <a:pt x="97" y="237"/>
                  <a:pt x="97" y="237"/>
                  <a:pt x="97" y="237"/>
                </a:cubicBezTo>
                <a:cubicBezTo>
                  <a:pt x="97" y="379"/>
                  <a:pt x="97" y="379"/>
                  <a:pt x="97" y="379"/>
                </a:cubicBezTo>
                <a:lnTo>
                  <a:pt x="97" y="382"/>
                </a:lnTo>
                <a:close/>
                <a:moveTo>
                  <a:pt x="692" y="382"/>
                </a:moveTo>
                <a:cubicBezTo>
                  <a:pt x="692" y="379"/>
                  <a:pt x="692" y="379"/>
                  <a:pt x="692" y="379"/>
                </a:cubicBezTo>
                <a:cubicBezTo>
                  <a:pt x="692" y="237"/>
                  <a:pt x="692" y="237"/>
                  <a:pt x="692" y="237"/>
                </a:cubicBezTo>
                <a:cubicBezTo>
                  <a:pt x="732" y="237"/>
                  <a:pt x="732" y="237"/>
                  <a:pt x="732" y="237"/>
                </a:cubicBezTo>
                <a:cubicBezTo>
                  <a:pt x="732" y="259"/>
                  <a:pt x="732" y="259"/>
                  <a:pt x="732" y="259"/>
                </a:cubicBezTo>
                <a:cubicBezTo>
                  <a:pt x="728" y="259"/>
                  <a:pt x="728" y="259"/>
                  <a:pt x="728" y="259"/>
                </a:cubicBezTo>
                <a:cubicBezTo>
                  <a:pt x="728" y="267"/>
                  <a:pt x="728" y="267"/>
                  <a:pt x="728" y="267"/>
                </a:cubicBezTo>
                <a:cubicBezTo>
                  <a:pt x="726" y="268"/>
                  <a:pt x="724" y="269"/>
                  <a:pt x="723" y="270"/>
                </a:cubicBezTo>
                <a:cubicBezTo>
                  <a:pt x="720" y="274"/>
                  <a:pt x="718" y="278"/>
                  <a:pt x="718" y="283"/>
                </a:cubicBezTo>
                <a:cubicBezTo>
                  <a:pt x="718" y="288"/>
                  <a:pt x="718" y="288"/>
                  <a:pt x="718" y="288"/>
                </a:cubicBezTo>
                <a:cubicBezTo>
                  <a:pt x="715" y="288"/>
                  <a:pt x="715" y="288"/>
                  <a:pt x="715" y="288"/>
                </a:cubicBezTo>
                <a:cubicBezTo>
                  <a:pt x="715" y="292"/>
                  <a:pt x="715" y="292"/>
                  <a:pt x="715" y="292"/>
                </a:cubicBezTo>
                <a:cubicBezTo>
                  <a:pt x="718" y="292"/>
                  <a:pt x="718" y="292"/>
                  <a:pt x="718" y="292"/>
                </a:cubicBezTo>
                <a:cubicBezTo>
                  <a:pt x="718" y="306"/>
                  <a:pt x="718" y="306"/>
                  <a:pt x="718" y="306"/>
                </a:cubicBezTo>
                <a:cubicBezTo>
                  <a:pt x="713" y="306"/>
                  <a:pt x="713" y="306"/>
                  <a:pt x="713" y="306"/>
                </a:cubicBezTo>
                <a:cubicBezTo>
                  <a:pt x="708" y="306"/>
                  <a:pt x="708" y="306"/>
                  <a:pt x="708" y="306"/>
                </a:cubicBezTo>
                <a:cubicBezTo>
                  <a:pt x="708" y="311"/>
                  <a:pt x="708" y="311"/>
                  <a:pt x="708" y="311"/>
                </a:cubicBezTo>
                <a:cubicBezTo>
                  <a:pt x="708" y="370"/>
                  <a:pt x="708" y="370"/>
                  <a:pt x="708" y="370"/>
                </a:cubicBezTo>
                <a:cubicBezTo>
                  <a:pt x="703" y="370"/>
                  <a:pt x="703" y="370"/>
                  <a:pt x="703" y="370"/>
                </a:cubicBezTo>
                <a:cubicBezTo>
                  <a:pt x="703" y="382"/>
                  <a:pt x="703" y="382"/>
                  <a:pt x="703" y="382"/>
                </a:cubicBezTo>
                <a:lnTo>
                  <a:pt x="692" y="382"/>
                </a:lnTo>
                <a:close/>
                <a:moveTo>
                  <a:pt x="713" y="370"/>
                </a:moveTo>
                <a:cubicBezTo>
                  <a:pt x="713" y="311"/>
                  <a:pt x="713" y="311"/>
                  <a:pt x="713" y="311"/>
                </a:cubicBezTo>
                <a:cubicBezTo>
                  <a:pt x="718" y="311"/>
                  <a:pt x="718" y="311"/>
                  <a:pt x="718" y="311"/>
                </a:cubicBezTo>
                <a:cubicBezTo>
                  <a:pt x="718" y="346"/>
                  <a:pt x="718" y="346"/>
                  <a:pt x="718" y="346"/>
                </a:cubicBezTo>
                <a:cubicBezTo>
                  <a:pt x="718" y="355"/>
                  <a:pt x="726" y="363"/>
                  <a:pt x="735" y="363"/>
                </a:cubicBezTo>
                <a:cubicBezTo>
                  <a:pt x="745" y="363"/>
                  <a:pt x="753" y="355"/>
                  <a:pt x="753" y="346"/>
                </a:cubicBezTo>
                <a:cubicBezTo>
                  <a:pt x="753" y="311"/>
                  <a:pt x="753" y="311"/>
                  <a:pt x="753" y="311"/>
                </a:cubicBezTo>
                <a:cubicBezTo>
                  <a:pt x="758" y="311"/>
                  <a:pt x="758" y="311"/>
                  <a:pt x="758" y="311"/>
                </a:cubicBezTo>
                <a:cubicBezTo>
                  <a:pt x="758" y="370"/>
                  <a:pt x="758" y="370"/>
                  <a:pt x="758" y="370"/>
                </a:cubicBezTo>
                <a:lnTo>
                  <a:pt x="713" y="370"/>
                </a:lnTo>
                <a:close/>
                <a:moveTo>
                  <a:pt x="777" y="382"/>
                </a:moveTo>
                <a:cubicBezTo>
                  <a:pt x="767" y="382"/>
                  <a:pt x="767" y="382"/>
                  <a:pt x="767" y="382"/>
                </a:cubicBezTo>
                <a:cubicBezTo>
                  <a:pt x="767" y="370"/>
                  <a:pt x="767" y="370"/>
                  <a:pt x="767" y="370"/>
                </a:cubicBezTo>
                <a:cubicBezTo>
                  <a:pt x="763" y="370"/>
                  <a:pt x="763" y="370"/>
                  <a:pt x="763" y="370"/>
                </a:cubicBezTo>
                <a:cubicBezTo>
                  <a:pt x="763" y="311"/>
                  <a:pt x="763" y="311"/>
                  <a:pt x="763" y="311"/>
                </a:cubicBezTo>
                <a:cubicBezTo>
                  <a:pt x="763" y="306"/>
                  <a:pt x="763" y="306"/>
                  <a:pt x="763" y="306"/>
                </a:cubicBezTo>
                <a:cubicBezTo>
                  <a:pt x="758" y="306"/>
                  <a:pt x="758" y="306"/>
                  <a:pt x="758" y="306"/>
                </a:cubicBezTo>
                <a:cubicBezTo>
                  <a:pt x="753" y="306"/>
                  <a:pt x="753" y="306"/>
                  <a:pt x="753" y="306"/>
                </a:cubicBezTo>
                <a:cubicBezTo>
                  <a:pt x="753" y="292"/>
                  <a:pt x="753" y="292"/>
                  <a:pt x="753" y="292"/>
                </a:cubicBezTo>
                <a:cubicBezTo>
                  <a:pt x="756" y="292"/>
                  <a:pt x="756" y="292"/>
                  <a:pt x="756" y="292"/>
                </a:cubicBezTo>
                <a:cubicBezTo>
                  <a:pt x="756" y="288"/>
                  <a:pt x="756" y="288"/>
                  <a:pt x="756" y="288"/>
                </a:cubicBezTo>
                <a:cubicBezTo>
                  <a:pt x="753" y="288"/>
                  <a:pt x="753" y="288"/>
                  <a:pt x="753" y="288"/>
                </a:cubicBezTo>
                <a:cubicBezTo>
                  <a:pt x="753" y="283"/>
                  <a:pt x="753" y="283"/>
                  <a:pt x="753" y="283"/>
                </a:cubicBezTo>
                <a:cubicBezTo>
                  <a:pt x="753" y="276"/>
                  <a:pt x="749" y="270"/>
                  <a:pt x="743" y="267"/>
                </a:cubicBezTo>
                <a:cubicBezTo>
                  <a:pt x="743" y="259"/>
                  <a:pt x="743" y="259"/>
                  <a:pt x="743" y="259"/>
                </a:cubicBezTo>
                <a:cubicBezTo>
                  <a:pt x="738" y="259"/>
                  <a:pt x="738" y="259"/>
                  <a:pt x="738" y="259"/>
                </a:cubicBezTo>
                <a:cubicBezTo>
                  <a:pt x="738" y="237"/>
                  <a:pt x="738" y="237"/>
                  <a:pt x="738" y="237"/>
                </a:cubicBezTo>
                <a:cubicBezTo>
                  <a:pt x="777" y="237"/>
                  <a:pt x="777" y="237"/>
                  <a:pt x="777" y="237"/>
                </a:cubicBezTo>
                <a:lnTo>
                  <a:pt x="777" y="38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7" name="Freeform 31">
            <a:extLst>
              <a:ext uri="{FF2B5EF4-FFF2-40B4-BE49-F238E27FC236}">
                <a16:creationId xmlns:a16="http://schemas.microsoft.com/office/drawing/2014/main" xmlns="" id="{2075B3B4-EFA8-457D-827B-E2566092E580}"/>
              </a:ext>
            </a:extLst>
          </p:cNvPr>
          <p:cNvSpPr>
            <a:spLocks noEditPoints="1"/>
          </p:cNvSpPr>
          <p:nvPr/>
        </p:nvSpPr>
        <p:spPr bwMode="auto">
          <a:xfrm>
            <a:off x="2904510" y="4371631"/>
            <a:ext cx="493347" cy="1109643"/>
          </a:xfrm>
          <a:custGeom>
            <a:avLst/>
            <a:gdLst>
              <a:gd name="T0" fmla="*/ 306 w 308"/>
              <a:gd name="T1" fmla="*/ 94 h 697"/>
              <a:gd name="T2" fmla="*/ 281 w 308"/>
              <a:gd name="T3" fmla="*/ 79 h 697"/>
              <a:gd name="T4" fmla="*/ 212 w 308"/>
              <a:gd name="T5" fmla="*/ 94 h 697"/>
              <a:gd name="T6" fmla="*/ 206 w 308"/>
              <a:gd name="T7" fmla="*/ 51 h 697"/>
              <a:gd name="T8" fmla="*/ 205 w 308"/>
              <a:gd name="T9" fmla="*/ 50 h 697"/>
              <a:gd name="T10" fmla="*/ 151 w 308"/>
              <a:gd name="T11" fmla="*/ 1 h 697"/>
              <a:gd name="T12" fmla="*/ 102 w 308"/>
              <a:gd name="T13" fmla="*/ 51 h 697"/>
              <a:gd name="T14" fmla="*/ 27 w 308"/>
              <a:gd name="T15" fmla="*/ 94 h 697"/>
              <a:gd name="T16" fmla="*/ 14 w 308"/>
              <a:gd name="T17" fmla="*/ 66 h 697"/>
              <a:gd name="T18" fmla="*/ 2 w 308"/>
              <a:gd name="T19" fmla="*/ 96 h 697"/>
              <a:gd name="T20" fmla="*/ 86 w 308"/>
              <a:gd name="T21" fmla="*/ 168 h 697"/>
              <a:gd name="T22" fmla="*/ 16 w 308"/>
              <a:gd name="T23" fmla="*/ 694 h 697"/>
              <a:gd name="T24" fmla="*/ 16 w 308"/>
              <a:gd name="T25" fmla="*/ 696 h 697"/>
              <a:gd name="T26" fmla="*/ 17 w 308"/>
              <a:gd name="T27" fmla="*/ 697 h 697"/>
              <a:gd name="T28" fmla="*/ 152 w 308"/>
              <a:gd name="T29" fmla="*/ 697 h 697"/>
              <a:gd name="T30" fmla="*/ 290 w 308"/>
              <a:gd name="T31" fmla="*/ 697 h 697"/>
              <a:gd name="T32" fmla="*/ 292 w 308"/>
              <a:gd name="T33" fmla="*/ 696 h 697"/>
              <a:gd name="T34" fmla="*/ 293 w 308"/>
              <a:gd name="T35" fmla="*/ 695 h 697"/>
              <a:gd name="T36" fmla="*/ 293 w 308"/>
              <a:gd name="T37" fmla="*/ 693 h 697"/>
              <a:gd name="T38" fmla="*/ 307 w 308"/>
              <a:gd name="T39" fmla="*/ 97 h 697"/>
              <a:gd name="T40" fmla="*/ 299 w 308"/>
              <a:gd name="T41" fmla="*/ 79 h 697"/>
              <a:gd name="T42" fmla="*/ 288 w 308"/>
              <a:gd name="T43" fmla="*/ 79 h 697"/>
              <a:gd name="T44" fmla="*/ 231 w 308"/>
              <a:gd name="T45" fmla="*/ 289 h 697"/>
              <a:gd name="T46" fmla="*/ 160 w 308"/>
              <a:gd name="T47" fmla="*/ 558 h 697"/>
              <a:gd name="T48" fmla="*/ 54 w 308"/>
              <a:gd name="T49" fmla="*/ 463 h 697"/>
              <a:gd name="T50" fmla="*/ 54 w 308"/>
              <a:gd name="T51" fmla="*/ 463 h 697"/>
              <a:gd name="T52" fmla="*/ 56 w 308"/>
              <a:gd name="T53" fmla="*/ 451 h 697"/>
              <a:gd name="T54" fmla="*/ 197 w 308"/>
              <a:gd name="T55" fmla="*/ 52 h 697"/>
              <a:gd name="T56" fmla="*/ 111 w 308"/>
              <a:gd name="T57" fmla="*/ 53 h 697"/>
              <a:gd name="T58" fmla="*/ 96 w 308"/>
              <a:gd name="T59" fmla="*/ 156 h 697"/>
              <a:gd name="T60" fmla="*/ 148 w 308"/>
              <a:gd name="T61" fmla="*/ 103 h 697"/>
              <a:gd name="T62" fmla="*/ 153 w 308"/>
              <a:gd name="T63" fmla="*/ 108 h 697"/>
              <a:gd name="T64" fmla="*/ 149 w 308"/>
              <a:gd name="T65" fmla="*/ 221 h 697"/>
              <a:gd name="T66" fmla="*/ 149 w 308"/>
              <a:gd name="T67" fmla="*/ 221 h 697"/>
              <a:gd name="T68" fmla="*/ 250 w 308"/>
              <a:gd name="T69" fmla="*/ 458 h 697"/>
              <a:gd name="T70" fmla="*/ 155 w 308"/>
              <a:gd name="T71" fmla="*/ 353 h 697"/>
              <a:gd name="T72" fmla="*/ 224 w 308"/>
              <a:gd name="T73" fmla="*/ 285 h 697"/>
              <a:gd name="T74" fmla="*/ 159 w 308"/>
              <a:gd name="T75" fmla="*/ 102 h 697"/>
              <a:gd name="T76" fmla="*/ 158 w 308"/>
              <a:gd name="T77" fmla="*/ 103 h 697"/>
              <a:gd name="T78" fmla="*/ 204 w 308"/>
              <a:gd name="T79" fmla="*/ 94 h 697"/>
              <a:gd name="T80" fmla="*/ 140 w 308"/>
              <a:gd name="T81" fmla="*/ 94 h 697"/>
              <a:gd name="T82" fmla="*/ 9 w 308"/>
              <a:gd name="T83" fmla="*/ 79 h 697"/>
              <a:gd name="T84" fmla="*/ 19 w 308"/>
              <a:gd name="T85" fmla="*/ 90 h 697"/>
              <a:gd name="T86" fmla="*/ 15 w 308"/>
              <a:gd name="T87" fmla="*/ 102 h 697"/>
              <a:gd name="T88" fmla="*/ 15 w 308"/>
              <a:gd name="T89" fmla="*/ 102 h 697"/>
              <a:gd name="T90" fmla="*/ 155 w 308"/>
              <a:gd name="T91" fmla="*/ 564 h 697"/>
              <a:gd name="T92" fmla="*/ 152 w 308"/>
              <a:gd name="T93" fmla="*/ 690 h 697"/>
              <a:gd name="T94" fmla="*/ 216 w 308"/>
              <a:gd name="T95" fmla="*/ 177 h 697"/>
              <a:gd name="T96" fmla="*/ 213 w 308"/>
              <a:gd name="T97" fmla="*/ 102 h 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08" h="697">
                <a:moveTo>
                  <a:pt x="307" y="97"/>
                </a:moveTo>
                <a:cubicBezTo>
                  <a:pt x="307" y="96"/>
                  <a:pt x="307" y="95"/>
                  <a:pt x="306" y="95"/>
                </a:cubicBezTo>
                <a:cubicBezTo>
                  <a:pt x="306" y="95"/>
                  <a:pt x="306" y="94"/>
                  <a:pt x="306" y="94"/>
                </a:cubicBezTo>
                <a:cubicBezTo>
                  <a:pt x="306" y="79"/>
                  <a:pt x="306" y="79"/>
                  <a:pt x="306" y="79"/>
                </a:cubicBezTo>
                <a:cubicBezTo>
                  <a:pt x="306" y="71"/>
                  <a:pt x="300" y="66"/>
                  <a:pt x="293" y="66"/>
                </a:cubicBezTo>
                <a:cubicBezTo>
                  <a:pt x="286" y="66"/>
                  <a:pt x="281" y="71"/>
                  <a:pt x="281" y="79"/>
                </a:cubicBezTo>
                <a:cubicBezTo>
                  <a:pt x="281" y="94"/>
                  <a:pt x="281" y="94"/>
                  <a:pt x="281" y="94"/>
                </a:cubicBezTo>
                <a:cubicBezTo>
                  <a:pt x="281" y="94"/>
                  <a:pt x="281" y="94"/>
                  <a:pt x="281" y="94"/>
                </a:cubicBezTo>
                <a:cubicBezTo>
                  <a:pt x="212" y="94"/>
                  <a:pt x="212" y="94"/>
                  <a:pt x="212" y="94"/>
                </a:cubicBezTo>
                <a:cubicBezTo>
                  <a:pt x="206" y="52"/>
                  <a:pt x="206" y="52"/>
                  <a:pt x="206" y="52"/>
                </a:cubicBezTo>
                <a:cubicBezTo>
                  <a:pt x="206" y="52"/>
                  <a:pt x="206" y="52"/>
                  <a:pt x="206" y="51"/>
                </a:cubicBezTo>
                <a:cubicBezTo>
                  <a:pt x="206" y="51"/>
                  <a:pt x="206" y="51"/>
                  <a:pt x="206" y="51"/>
                </a:cubicBezTo>
                <a:cubicBezTo>
                  <a:pt x="206" y="50"/>
                  <a:pt x="205" y="50"/>
                  <a:pt x="205" y="50"/>
                </a:cubicBezTo>
                <a:cubicBezTo>
                  <a:pt x="205" y="50"/>
                  <a:pt x="205" y="50"/>
                  <a:pt x="205" y="50"/>
                </a:cubicBezTo>
                <a:cubicBezTo>
                  <a:pt x="205" y="50"/>
                  <a:pt x="205" y="50"/>
                  <a:pt x="205" y="50"/>
                </a:cubicBezTo>
                <a:cubicBezTo>
                  <a:pt x="205" y="50"/>
                  <a:pt x="205" y="50"/>
                  <a:pt x="205" y="50"/>
                </a:cubicBezTo>
                <a:cubicBezTo>
                  <a:pt x="157" y="1"/>
                  <a:pt x="157" y="1"/>
                  <a:pt x="157" y="1"/>
                </a:cubicBezTo>
                <a:cubicBezTo>
                  <a:pt x="155" y="0"/>
                  <a:pt x="153" y="0"/>
                  <a:pt x="151" y="1"/>
                </a:cubicBezTo>
                <a:cubicBezTo>
                  <a:pt x="103" y="50"/>
                  <a:pt x="103" y="50"/>
                  <a:pt x="103" y="50"/>
                </a:cubicBezTo>
                <a:cubicBezTo>
                  <a:pt x="103" y="50"/>
                  <a:pt x="103" y="50"/>
                  <a:pt x="102" y="51"/>
                </a:cubicBezTo>
                <a:cubicBezTo>
                  <a:pt x="102" y="51"/>
                  <a:pt x="102" y="51"/>
                  <a:pt x="102" y="51"/>
                </a:cubicBezTo>
                <a:cubicBezTo>
                  <a:pt x="102" y="51"/>
                  <a:pt x="102" y="52"/>
                  <a:pt x="102" y="52"/>
                </a:cubicBezTo>
                <a:cubicBezTo>
                  <a:pt x="96" y="94"/>
                  <a:pt x="96" y="94"/>
                  <a:pt x="96" y="94"/>
                </a:cubicBezTo>
                <a:cubicBezTo>
                  <a:pt x="27" y="94"/>
                  <a:pt x="27" y="94"/>
                  <a:pt x="27" y="94"/>
                </a:cubicBezTo>
                <a:cubicBezTo>
                  <a:pt x="27" y="94"/>
                  <a:pt x="27" y="94"/>
                  <a:pt x="27" y="94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1"/>
                  <a:pt x="21" y="66"/>
                  <a:pt x="14" y="66"/>
                </a:cubicBezTo>
                <a:cubicBezTo>
                  <a:pt x="7" y="66"/>
                  <a:pt x="1" y="71"/>
                  <a:pt x="1" y="79"/>
                </a:cubicBezTo>
                <a:cubicBezTo>
                  <a:pt x="1" y="94"/>
                  <a:pt x="1" y="94"/>
                  <a:pt x="1" y="94"/>
                </a:cubicBezTo>
                <a:cubicBezTo>
                  <a:pt x="1" y="94"/>
                  <a:pt x="1" y="95"/>
                  <a:pt x="2" y="96"/>
                </a:cubicBezTo>
                <a:cubicBezTo>
                  <a:pt x="1" y="96"/>
                  <a:pt x="1" y="96"/>
                  <a:pt x="1" y="97"/>
                </a:cubicBezTo>
                <a:cubicBezTo>
                  <a:pt x="0" y="98"/>
                  <a:pt x="1" y="100"/>
                  <a:pt x="2" y="101"/>
                </a:cubicBezTo>
                <a:cubicBezTo>
                  <a:pt x="86" y="168"/>
                  <a:pt x="86" y="168"/>
                  <a:pt x="86" y="168"/>
                </a:cubicBezTo>
                <a:cubicBezTo>
                  <a:pt x="16" y="693"/>
                  <a:pt x="16" y="693"/>
                  <a:pt x="16" y="693"/>
                </a:cubicBezTo>
                <a:cubicBezTo>
                  <a:pt x="16" y="693"/>
                  <a:pt x="16" y="693"/>
                  <a:pt x="16" y="693"/>
                </a:cubicBezTo>
                <a:cubicBezTo>
                  <a:pt x="16" y="693"/>
                  <a:pt x="16" y="694"/>
                  <a:pt x="16" y="694"/>
                </a:cubicBezTo>
                <a:cubicBezTo>
                  <a:pt x="16" y="694"/>
                  <a:pt x="16" y="694"/>
                  <a:pt x="16" y="695"/>
                </a:cubicBezTo>
                <a:cubicBezTo>
                  <a:pt x="16" y="695"/>
                  <a:pt x="16" y="695"/>
                  <a:pt x="16" y="695"/>
                </a:cubicBezTo>
                <a:cubicBezTo>
                  <a:pt x="16" y="696"/>
                  <a:pt x="16" y="696"/>
                  <a:pt x="16" y="696"/>
                </a:cubicBezTo>
                <a:cubicBezTo>
                  <a:pt x="16" y="696"/>
                  <a:pt x="16" y="696"/>
                  <a:pt x="17" y="696"/>
                </a:cubicBezTo>
                <a:cubicBezTo>
                  <a:pt x="17" y="696"/>
                  <a:pt x="17" y="696"/>
                  <a:pt x="17" y="696"/>
                </a:cubicBezTo>
                <a:cubicBezTo>
                  <a:pt x="17" y="696"/>
                  <a:pt x="17" y="696"/>
                  <a:pt x="17" y="697"/>
                </a:cubicBezTo>
                <a:cubicBezTo>
                  <a:pt x="17" y="697"/>
                  <a:pt x="18" y="697"/>
                  <a:pt x="18" y="697"/>
                </a:cubicBezTo>
                <a:cubicBezTo>
                  <a:pt x="18" y="697"/>
                  <a:pt x="19" y="697"/>
                  <a:pt x="19" y="697"/>
                </a:cubicBezTo>
                <a:cubicBezTo>
                  <a:pt x="152" y="697"/>
                  <a:pt x="152" y="697"/>
                  <a:pt x="152" y="697"/>
                </a:cubicBezTo>
                <a:cubicBezTo>
                  <a:pt x="156" y="697"/>
                  <a:pt x="156" y="697"/>
                  <a:pt x="156" y="697"/>
                </a:cubicBezTo>
                <a:cubicBezTo>
                  <a:pt x="289" y="697"/>
                  <a:pt x="289" y="697"/>
                  <a:pt x="289" y="697"/>
                </a:cubicBezTo>
                <a:cubicBezTo>
                  <a:pt x="289" y="697"/>
                  <a:pt x="290" y="697"/>
                  <a:pt x="290" y="697"/>
                </a:cubicBezTo>
                <a:cubicBezTo>
                  <a:pt x="291" y="697"/>
                  <a:pt x="291" y="697"/>
                  <a:pt x="291" y="697"/>
                </a:cubicBezTo>
                <a:cubicBezTo>
                  <a:pt x="291" y="696"/>
                  <a:pt x="291" y="696"/>
                  <a:pt x="292" y="696"/>
                </a:cubicBezTo>
                <a:cubicBezTo>
                  <a:pt x="292" y="696"/>
                  <a:pt x="292" y="696"/>
                  <a:pt x="292" y="696"/>
                </a:cubicBezTo>
                <a:cubicBezTo>
                  <a:pt x="292" y="696"/>
                  <a:pt x="292" y="696"/>
                  <a:pt x="292" y="696"/>
                </a:cubicBezTo>
                <a:cubicBezTo>
                  <a:pt x="292" y="696"/>
                  <a:pt x="292" y="696"/>
                  <a:pt x="292" y="695"/>
                </a:cubicBezTo>
                <a:cubicBezTo>
                  <a:pt x="292" y="695"/>
                  <a:pt x="292" y="695"/>
                  <a:pt x="293" y="695"/>
                </a:cubicBezTo>
                <a:cubicBezTo>
                  <a:pt x="293" y="694"/>
                  <a:pt x="293" y="694"/>
                  <a:pt x="293" y="694"/>
                </a:cubicBezTo>
                <a:cubicBezTo>
                  <a:pt x="293" y="694"/>
                  <a:pt x="293" y="693"/>
                  <a:pt x="293" y="693"/>
                </a:cubicBezTo>
                <a:cubicBezTo>
                  <a:pt x="293" y="693"/>
                  <a:pt x="293" y="693"/>
                  <a:pt x="293" y="693"/>
                </a:cubicBezTo>
                <a:cubicBezTo>
                  <a:pt x="222" y="172"/>
                  <a:pt x="222" y="172"/>
                  <a:pt x="222" y="172"/>
                </a:cubicBezTo>
                <a:cubicBezTo>
                  <a:pt x="306" y="101"/>
                  <a:pt x="306" y="101"/>
                  <a:pt x="306" y="101"/>
                </a:cubicBezTo>
                <a:cubicBezTo>
                  <a:pt x="308" y="100"/>
                  <a:pt x="308" y="98"/>
                  <a:pt x="307" y="97"/>
                </a:cubicBezTo>
                <a:close/>
                <a:moveTo>
                  <a:pt x="288" y="79"/>
                </a:moveTo>
                <a:cubicBezTo>
                  <a:pt x="288" y="76"/>
                  <a:pt x="290" y="73"/>
                  <a:pt x="293" y="73"/>
                </a:cubicBezTo>
                <a:cubicBezTo>
                  <a:pt x="296" y="73"/>
                  <a:pt x="299" y="76"/>
                  <a:pt x="299" y="79"/>
                </a:cubicBezTo>
                <a:cubicBezTo>
                  <a:pt x="299" y="90"/>
                  <a:pt x="299" y="90"/>
                  <a:pt x="299" y="90"/>
                </a:cubicBezTo>
                <a:cubicBezTo>
                  <a:pt x="288" y="90"/>
                  <a:pt x="288" y="90"/>
                  <a:pt x="288" y="90"/>
                </a:cubicBezTo>
                <a:lnTo>
                  <a:pt x="288" y="79"/>
                </a:lnTo>
                <a:close/>
                <a:moveTo>
                  <a:pt x="252" y="450"/>
                </a:moveTo>
                <a:cubicBezTo>
                  <a:pt x="160" y="359"/>
                  <a:pt x="160" y="359"/>
                  <a:pt x="160" y="359"/>
                </a:cubicBezTo>
                <a:cubicBezTo>
                  <a:pt x="231" y="289"/>
                  <a:pt x="231" y="289"/>
                  <a:pt x="231" y="289"/>
                </a:cubicBezTo>
                <a:lnTo>
                  <a:pt x="252" y="450"/>
                </a:lnTo>
                <a:close/>
                <a:moveTo>
                  <a:pt x="284" y="683"/>
                </a:moveTo>
                <a:cubicBezTo>
                  <a:pt x="160" y="558"/>
                  <a:pt x="160" y="558"/>
                  <a:pt x="160" y="558"/>
                </a:cubicBezTo>
                <a:cubicBezTo>
                  <a:pt x="254" y="464"/>
                  <a:pt x="254" y="464"/>
                  <a:pt x="254" y="464"/>
                </a:cubicBezTo>
                <a:lnTo>
                  <a:pt x="284" y="683"/>
                </a:lnTo>
                <a:close/>
                <a:moveTo>
                  <a:pt x="54" y="463"/>
                </a:moveTo>
                <a:cubicBezTo>
                  <a:pt x="149" y="558"/>
                  <a:pt x="149" y="558"/>
                  <a:pt x="149" y="558"/>
                </a:cubicBezTo>
                <a:cubicBezTo>
                  <a:pt x="24" y="683"/>
                  <a:pt x="24" y="683"/>
                  <a:pt x="24" y="683"/>
                </a:cubicBezTo>
                <a:lnTo>
                  <a:pt x="54" y="463"/>
                </a:lnTo>
                <a:close/>
                <a:moveTo>
                  <a:pt x="78" y="288"/>
                </a:moveTo>
                <a:cubicBezTo>
                  <a:pt x="149" y="359"/>
                  <a:pt x="149" y="359"/>
                  <a:pt x="149" y="359"/>
                </a:cubicBezTo>
                <a:cubicBezTo>
                  <a:pt x="56" y="451"/>
                  <a:pt x="56" y="451"/>
                  <a:pt x="56" y="451"/>
                </a:cubicBezTo>
                <a:lnTo>
                  <a:pt x="78" y="288"/>
                </a:lnTo>
                <a:close/>
                <a:moveTo>
                  <a:pt x="154" y="9"/>
                </a:moveTo>
                <a:cubicBezTo>
                  <a:pt x="197" y="52"/>
                  <a:pt x="197" y="52"/>
                  <a:pt x="197" y="52"/>
                </a:cubicBezTo>
                <a:cubicBezTo>
                  <a:pt x="156" y="94"/>
                  <a:pt x="156" y="94"/>
                  <a:pt x="156" y="94"/>
                </a:cubicBezTo>
                <a:cubicBezTo>
                  <a:pt x="150" y="94"/>
                  <a:pt x="150" y="94"/>
                  <a:pt x="150" y="94"/>
                </a:cubicBezTo>
                <a:cubicBezTo>
                  <a:pt x="111" y="53"/>
                  <a:pt x="111" y="53"/>
                  <a:pt x="111" y="53"/>
                </a:cubicBezTo>
                <a:lnTo>
                  <a:pt x="154" y="9"/>
                </a:lnTo>
                <a:close/>
                <a:moveTo>
                  <a:pt x="148" y="103"/>
                </a:moveTo>
                <a:cubicBezTo>
                  <a:pt x="96" y="156"/>
                  <a:pt x="96" y="156"/>
                  <a:pt x="96" y="156"/>
                </a:cubicBezTo>
                <a:cubicBezTo>
                  <a:pt x="103" y="102"/>
                  <a:pt x="103" y="102"/>
                  <a:pt x="103" y="102"/>
                </a:cubicBezTo>
                <a:cubicBezTo>
                  <a:pt x="147" y="102"/>
                  <a:pt x="147" y="102"/>
                  <a:pt x="147" y="102"/>
                </a:cubicBezTo>
                <a:lnTo>
                  <a:pt x="148" y="103"/>
                </a:lnTo>
                <a:close/>
                <a:moveTo>
                  <a:pt x="157" y="215"/>
                </a:moveTo>
                <a:cubicBezTo>
                  <a:pt x="96" y="166"/>
                  <a:pt x="96" y="166"/>
                  <a:pt x="96" y="166"/>
                </a:cubicBezTo>
                <a:cubicBezTo>
                  <a:pt x="153" y="108"/>
                  <a:pt x="153" y="108"/>
                  <a:pt x="153" y="108"/>
                </a:cubicBezTo>
                <a:cubicBezTo>
                  <a:pt x="212" y="170"/>
                  <a:pt x="212" y="170"/>
                  <a:pt x="212" y="170"/>
                </a:cubicBezTo>
                <a:lnTo>
                  <a:pt x="157" y="215"/>
                </a:lnTo>
                <a:close/>
                <a:moveTo>
                  <a:pt x="149" y="221"/>
                </a:moveTo>
                <a:cubicBezTo>
                  <a:pt x="79" y="277"/>
                  <a:pt x="79" y="277"/>
                  <a:pt x="79" y="277"/>
                </a:cubicBezTo>
                <a:cubicBezTo>
                  <a:pt x="93" y="174"/>
                  <a:pt x="93" y="174"/>
                  <a:pt x="93" y="174"/>
                </a:cubicBezTo>
                <a:lnTo>
                  <a:pt x="149" y="221"/>
                </a:lnTo>
                <a:close/>
                <a:moveTo>
                  <a:pt x="60" y="457"/>
                </a:moveTo>
                <a:cubicBezTo>
                  <a:pt x="155" y="364"/>
                  <a:pt x="155" y="364"/>
                  <a:pt x="155" y="364"/>
                </a:cubicBezTo>
                <a:cubicBezTo>
                  <a:pt x="250" y="458"/>
                  <a:pt x="250" y="458"/>
                  <a:pt x="250" y="458"/>
                </a:cubicBezTo>
                <a:cubicBezTo>
                  <a:pt x="155" y="553"/>
                  <a:pt x="155" y="553"/>
                  <a:pt x="155" y="553"/>
                </a:cubicBezTo>
                <a:lnTo>
                  <a:pt x="60" y="457"/>
                </a:lnTo>
                <a:close/>
                <a:moveTo>
                  <a:pt x="155" y="353"/>
                </a:moveTo>
                <a:cubicBezTo>
                  <a:pt x="84" y="283"/>
                  <a:pt x="84" y="283"/>
                  <a:pt x="84" y="283"/>
                </a:cubicBezTo>
                <a:cubicBezTo>
                  <a:pt x="155" y="226"/>
                  <a:pt x="155" y="226"/>
                  <a:pt x="155" y="226"/>
                </a:cubicBezTo>
                <a:cubicBezTo>
                  <a:pt x="224" y="285"/>
                  <a:pt x="224" y="285"/>
                  <a:pt x="224" y="285"/>
                </a:cubicBezTo>
                <a:lnTo>
                  <a:pt x="155" y="353"/>
                </a:lnTo>
                <a:close/>
                <a:moveTo>
                  <a:pt x="158" y="103"/>
                </a:moveTo>
                <a:cubicBezTo>
                  <a:pt x="159" y="102"/>
                  <a:pt x="159" y="102"/>
                  <a:pt x="159" y="102"/>
                </a:cubicBezTo>
                <a:cubicBezTo>
                  <a:pt x="205" y="102"/>
                  <a:pt x="205" y="102"/>
                  <a:pt x="205" y="102"/>
                </a:cubicBezTo>
                <a:cubicBezTo>
                  <a:pt x="213" y="161"/>
                  <a:pt x="213" y="161"/>
                  <a:pt x="213" y="161"/>
                </a:cubicBezTo>
                <a:lnTo>
                  <a:pt x="158" y="103"/>
                </a:lnTo>
                <a:close/>
                <a:moveTo>
                  <a:pt x="167" y="94"/>
                </a:moveTo>
                <a:cubicBezTo>
                  <a:pt x="200" y="61"/>
                  <a:pt x="200" y="61"/>
                  <a:pt x="200" y="61"/>
                </a:cubicBezTo>
                <a:cubicBezTo>
                  <a:pt x="204" y="94"/>
                  <a:pt x="204" y="94"/>
                  <a:pt x="204" y="94"/>
                </a:cubicBezTo>
                <a:lnTo>
                  <a:pt x="167" y="94"/>
                </a:lnTo>
                <a:close/>
                <a:moveTo>
                  <a:pt x="108" y="61"/>
                </a:moveTo>
                <a:cubicBezTo>
                  <a:pt x="140" y="94"/>
                  <a:pt x="140" y="94"/>
                  <a:pt x="140" y="94"/>
                </a:cubicBezTo>
                <a:cubicBezTo>
                  <a:pt x="104" y="94"/>
                  <a:pt x="104" y="94"/>
                  <a:pt x="104" y="94"/>
                </a:cubicBezTo>
                <a:lnTo>
                  <a:pt x="108" y="61"/>
                </a:lnTo>
                <a:close/>
                <a:moveTo>
                  <a:pt x="9" y="79"/>
                </a:moveTo>
                <a:cubicBezTo>
                  <a:pt x="9" y="76"/>
                  <a:pt x="11" y="73"/>
                  <a:pt x="14" y="73"/>
                </a:cubicBezTo>
                <a:cubicBezTo>
                  <a:pt x="17" y="73"/>
                  <a:pt x="19" y="76"/>
                  <a:pt x="19" y="79"/>
                </a:cubicBezTo>
                <a:cubicBezTo>
                  <a:pt x="19" y="90"/>
                  <a:pt x="19" y="90"/>
                  <a:pt x="19" y="90"/>
                </a:cubicBezTo>
                <a:cubicBezTo>
                  <a:pt x="9" y="90"/>
                  <a:pt x="9" y="90"/>
                  <a:pt x="9" y="90"/>
                </a:cubicBezTo>
                <a:lnTo>
                  <a:pt x="9" y="79"/>
                </a:lnTo>
                <a:close/>
                <a:moveTo>
                  <a:pt x="15" y="102"/>
                </a:moveTo>
                <a:cubicBezTo>
                  <a:pt x="95" y="102"/>
                  <a:pt x="95" y="102"/>
                  <a:pt x="95" y="102"/>
                </a:cubicBezTo>
                <a:cubicBezTo>
                  <a:pt x="88" y="160"/>
                  <a:pt x="88" y="160"/>
                  <a:pt x="88" y="160"/>
                </a:cubicBezTo>
                <a:lnTo>
                  <a:pt x="15" y="102"/>
                </a:lnTo>
                <a:close/>
                <a:moveTo>
                  <a:pt x="152" y="690"/>
                </a:moveTo>
                <a:cubicBezTo>
                  <a:pt x="28" y="690"/>
                  <a:pt x="28" y="690"/>
                  <a:pt x="28" y="690"/>
                </a:cubicBezTo>
                <a:cubicBezTo>
                  <a:pt x="155" y="564"/>
                  <a:pt x="155" y="564"/>
                  <a:pt x="155" y="564"/>
                </a:cubicBezTo>
                <a:cubicBezTo>
                  <a:pt x="280" y="690"/>
                  <a:pt x="280" y="690"/>
                  <a:pt x="280" y="690"/>
                </a:cubicBezTo>
                <a:cubicBezTo>
                  <a:pt x="156" y="690"/>
                  <a:pt x="156" y="690"/>
                  <a:pt x="156" y="690"/>
                </a:cubicBezTo>
                <a:lnTo>
                  <a:pt x="152" y="690"/>
                </a:lnTo>
                <a:close/>
                <a:moveTo>
                  <a:pt x="229" y="279"/>
                </a:moveTo>
                <a:cubicBezTo>
                  <a:pt x="162" y="222"/>
                  <a:pt x="162" y="222"/>
                  <a:pt x="162" y="222"/>
                </a:cubicBezTo>
                <a:cubicBezTo>
                  <a:pt x="216" y="177"/>
                  <a:pt x="216" y="177"/>
                  <a:pt x="216" y="177"/>
                </a:cubicBezTo>
                <a:lnTo>
                  <a:pt x="229" y="279"/>
                </a:lnTo>
                <a:close/>
                <a:moveTo>
                  <a:pt x="221" y="163"/>
                </a:moveTo>
                <a:cubicBezTo>
                  <a:pt x="213" y="102"/>
                  <a:pt x="213" y="102"/>
                  <a:pt x="213" y="102"/>
                </a:cubicBezTo>
                <a:cubicBezTo>
                  <a:pt x="294" y="102"/>
                  <a:pt x="294" y="102"/>
                  <a:pt x="294" y="102"/>
                </a:cubicBezTo>
                <a:lnTo>
                  <a:pt x="221" y="16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8" name="Freeform 35">
            <a:extLst>
              <a:ext uri="{FF2B5EF4-FFF2-40B4-BE49-F238E27FC236}">
                <a16:creationId xmlns:a16="http://schemas.microsoft.com/office/drawing/2014/main" xmlns="" id="{0002E834-D26D-4E25-91A5-486CB64913A4}"/>
              </a:ext>
            </a:extLst>
          </p:cNvPr>
          <p:cNvSpPr>
            <a:spLocks noEditPoints="1"/>
          </p:cNvSpPr>
          <p:nvPr/>
        </p:nvSpPr>
        <p:spPr bwMode="auto">
          <a:xfrm>
            <a:off x="4763913" y="4795620"/>
            <a:ext cx="1227876" cy="685654"/>
          </a:xfrm>
          <a:custGeom>
            <a:avLst/>
            <a:gdLst>
              <a:gd name="T0" fmla="*/ 610 w 719"/>
              <a:gd name="T1" fmla="*/ 243 h 400"/>
              <a:gd name="T2" fmla="*/ 670 w 719"/>
              <a:gd name="T3" fmla="*/ 291 h 400"/>
              <a:gd name="T4" fmla="*/ 664 w 719"/>
              <a:gd name="T5" fmla="*/ 306 h 400"/>
              <a:gd name="T6" fmla="*/ 619 w 719"/>
              <a:gd name="T7" fmla="*/ 286 h 400"/>
              <a:gd name="T8" fmla="*/ 610 w 719"/>
              <a:gd name="T9" fmla="*/ 267 h 400"/>
              <a:gd name="T10" fmla="*/ 544 w 719"/>
              <a:gd name="T11" fmla="*/ 217 h 400"/>
              <a:gd name="T12" fmla="*/ 598 w 719"/>
              <a:gd name="T13" fmla="*/ 231 h 400"/>
              <a:gd name="T14" fmla="*/ 361 w 719"/>
              <a:gd name="T15" fmla="*/ 0 h 400"/>
              <a:gd name="T16" fmla="*/ 245 w 719"/>
              <a:gd name="T17" fmla="*/ 20 h 400"/>
              <a:gd name="T18" fmla="*/ 217 w 719"/>
              <a:gd name="T19" fmla="*/ 238 h 400"/>
              <a:gd name="T20" fmla="*/ 170 w 719"/>
              <a:gd name="T21" fmla="*/ 226 h 400"/>
              <a:gd name="T22" fmla="*/ 142 w 719"/>
              <a:gd name="T23" fmla="*/ 178 h 400"/>
              <a:gd name="T24" fmla="*/ 125 w 719"/>
              <a:gd name="T25" fmla="*/ 195 h 400"/>
              <a:gd name="T26" fmla="*/ 123 w 719"/>
              <a:gd name="T27" fmla="*/ 238 h 400"/>
              <a:gd name="T28" fmla="*/ 106 w 719"/>
              <a:gd name="T29" fmla="*/ 178 h 400"/>
              <a:gd name="T30" fmla="*/ 79 w 719"/>
              <a:gd name="T31" fmla="*/ 207 h 400"/>
              <a:gd name="T32" fmla="*/ 62 w 719"/>
              <a:gd name="T33" fmla="*/ 238 h 400"/>
              <a:gd name="T34" fmla="*/ 45 w 719"/>
              <a:gd name="T35" fmla="*/ 178 h 400"/>
              <a:gd name="T36" fmla="*/ 17 w 719"/>
              <a:gd name="T37" fmla="*/ 207 h 400"/>
              <a:gd name="T38" fmla="*/ 0 w 719"/>
              <a:gd name="T39" fmla="*/ 238 h 400"/>
              <a:gd name="T40" fmla="*/ 0 w 719"/>
              <a:gd name="T41" fmla="*/ 400 h 400"/>
              <a:gd name="T42" fmla="*/ 544 w 719"/>
              <a:gd name="T43" fmla="*/ 400 h 400"/>
              <a:gd name="T44" fmla="*/ 598 w 719"/>
              <a:gd name="T45" fmla="*/ 243 h 400"/>
              <a:gd name="T46" fmla="*/ 590 w 719"/>
              <a:gd name="T47" fmla="*/ 267 h 400"/>
              <a:gd name="T48" fmla="*/ 552 w 719"/>
              <a:gd name="T49" fmla="*/ 336 h 400"/>
              <a:gd name="T50" fmla="*/ 552 w 719"/>
              <a:gd name="T51" fmla="*/ 366 h 400"/>
              <a:gd name="T52" fmla="*/ 552 w 719"/>
              <a:gd name="T53" fmla="*/ 388 h 400"/>
              <a:gd name="T54" fmla="*/ 603 w 719"/>
              <a:gd name="T55" fmla="*/ 400 h 400"/>
              <a:gd name="T56" fmla="*/ 657 w 719"/>
              <a:gd name="T57" fmla="*/ 400 h 400"/>
              <a:gd name="T58" fmla="*/ 719 w 719"/>
              <a:gd name="T59" fmla="*/ 400 h 400"/>
              <a:gd name="T60" fmla="*/ 719 w 719"/>
              <a:gd name="T61" fmla="*/ 368 h 400"/>
              <a:gd name="T62" fmla="*/ 719 w 719"/>
              <a:gd name="T63" fmla="*/ 354 h 400"/>
              <a:gd name="T64" fmla="*/ 719 w 719"/>
              <a:gd name="T65" fmla="*/ 349 h 400"/>
              <a:gd name="T66" fmla="*/ 718 w 719"/>
              <a:gd name="T67" fmla="*/ 340 h 400"/>
              <a:gd name="T68" fmla="*/ 687 w 719"/>
              <a:gd name="T69" fmla="*/ 306 h 400"/>
              <a:gd name="T70" fmla="*/ 682 w 719"/>
              <a:gd name="T71" fmla="*/ 291 h 400"/>
              <a:gd name="T72" fmla="*/ 610 w 719"/>
              <a:gd name="T73" fmla="*/ 231 h 400"/>
              <a:gd name="T74" fmla="*/ 544 w 719"/>
              <a:gd name="T75" fmla="*/ 205 h 400"/>
              <a:gd name="T76" fmla="*/ 382 w 719"/>
              <a:gd name="T77" fmla="*/ 160 h 400"/>
              <a:gd name="T78" fmla="*/ 366 w 719"/>
              <a:gd name="T79" fmla="*/ 2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9" h="400">
                <a:moveTo>
                  <a:pt x="610" y="267"/>
                </a:moveTo>
                <a:cubicBezTo>
                  <a:pt x="610" y="243"/>
                  <a:pt x="610" y="243"/>
                  <a:pt x="610" y="243"/>
                </a:cubicBezTo>
                <a:cubicBezTo>
                  <a:pt x="670" y="243"/>
                  <a:pt x="670" y="243"/>
                  <a:pt x="670" y="243"/>
                </a:cubicBezTo>
                <a:cubicBezTo>
                  <a:pt x="670" y="291"/>
                  <a:pt x="670" y="291"/>
                  <a:pt x="670" y="291"/>
                </a:cubicBezTo>
                <a:cubicBezTo>
                  <a:pt x="664" y="291"/>
                  <a:pt x="664" y="291"/>
                  <a:pt x="664" y="291"/>
                </a:cubicBezTo>
                <a:cubicBezTo>
                  <a:pt x="664" y="306"/>
                  <a:pt x="664" y="306"/>
                  <a:pt x="664" y="306"/>
                </a:cubicBezTo>
                <a:cubicBezTo>
                  <a:pt x="659" y="307"/>
                  <a:pt x="655" y="309"/>
                  <a:pt x="651" y="312"/>
                </a:cubicBezTo>
                <a:cubicBezTo>
                  <a:pt x="644" y="299"/>
                  <a:pt x="633" y="290"/>
                  <a:pt x="619" y="286"/>
                </a:cubicBezTo>
                <a:cubicBezTo>
                  <a:pt x="619" y="267"/>
                  <a:pt x="619" y="267"/>
                  <a:pt x="619" y="267"/>
                </a:cubicBezTo>
                <a:cubicBezTo>
                  <a:pt x="610" y="267"/>
                  <a:pt x="610" y="267"/>
                  <a:pt x="610" y="267"/>
                </a:cubicBezTo>
                <a:moveTo>
                  <a:pt x="544" y="231"/>
                </a:moveTo>
                <a:cubicBezTo>
                  <a:pt x="544" y="217"/>
                  <a:pt x="544" y="217"/>
                  <a:pt x="544" y="217"/>
                </a:cubicBezTo>
                <a:cubicBezTo>
                  <a:pt x="598" y="217"/>
                  <a:pt x="598" y="217"/>
                  <a:pt x="598" y="217"/>
                </a:cubicBezTo>
                <a:cubicBezTo>
                  <a:pt x="598" y="231"/>
                  <a:pt x="598" y="231"/>
                  <a:pt x="598" y="231"/>
                </a:cubicBezTo>
                <a:cubicBezTo>
                  <a:pt x="544" y="231"/>
                  <a:pt x="544" y="231"/>
                  <a:pt x="544" y="231"/>
                </a:cubicBezTo>
                <a:moveTo>
                  <a:pt x="361" y="0"/>
                </a:moveTo>
                <a:cubicBezTo>
                  <a:pt x="250" y="0"/>
                  <a:pt x="250" y="0"/>
                  <a:pt x="250" y="0"/>
                </a:cubicBezTo>
                <a:cubicBezTo>
                  <a:pt x="245" y="20"/>
                  <a:pt x="245" y="20"/>
                  <a:pt x="245" y="20"/>
                </a:cubicBezTo>
                <a:cubicBezTo>
                  <a:pt x="250" y="20"/>
                  <a:pt x="250" y="20"/>
                  <a:pt x="250" y="20"/>
                </a:cubicBezTo>
                <a:cubicBezTo>
                  <a:pt x="217" y="238"/>
                  <a:pt x="217" y="238"/>
                  <a:pt x="217" y="238"/>
                </a:cubicBezTo>
                <a:cubicBezTo>
                  <a:pt x="187" y="238"/>
                  <a:pt x="187" y="238"/>
                  <a:pt x="187" y="238"/>
                </a:cubicBezTo>
                <a:cubicBezTo>
                  <a:pt x="170" y="226"/>
                  <a:pt x="170" y="226"/>
                  <a:pt x="170" y="226"/>
                </a:cubicBezTo>
                <a:cubicBezTo>
                  <a:pt x="170" y="178"/>
                  <a:pt x="170" y="178"/>
                  <a:pt x="170" y="178"/>
                </a:cubicBezTo>
                <a:cubicBezTo>
                  <a:pt x="142" y="178"/>
                  <a:pt x="142" y="178"/>
                  <a:pt x="142" y="178"/>
                </a:cubicBezTo>
                <a:cubicBezTo>
                  <a:pt x="142" y="207"/>
                  <a:pt x="142" y="207"/>
                  <a:pt x="142" y="207"/>
                </a:cubicBezTo>
                <a:cubicBezTo>
                  <a:pt x="125" y="195"/>
                  <a:pt x="125" y="195"/>
                  <a:pt x="125" y="195"/>
                </a:cubicBezTo>
                <a:cubicBezTo>
                  <a:pt x="125" y="238"/>
                  <a:pt x="125" y="238"/>
                  <a:pt x="125" y="238"/>
                </a:cubicBezTo>
                <a:cubicBezTo>
                  <a:pt x="123" y="238"/>
                  <a:pt x="123" y="238"/>
                  <a:pt x="123" y="238"/>
                </a:cubicBezTo>
                <a:cubicBezTo>
                  <a:pt x="106" y="226"/>
                  <a:pt x="106" y="226"/>
                  <a:pt x="106" y="226"/>
                </a:cubicBezTo>
                <a:cubicBezTo>
                  <a:pt x="106" y="178"/>
                  <a:pt x="106" y="178"/>
                  <a:pt x="106" y="178"/>
                </a:cubicBezTo>
                <a:cubicBezTo>
                  <a:pt x="79" y="178"/>
                  <a:pt x="79" y="178"/>
                  <a:pt x="79" y="178"/>
                </a:cubicBezTo>
                <a:cubicBezTo>
                  <a:pt x="79" y="207"/>
                  <a:pt x="79" y="207"/>
                  <a:pt x="79" y="207"/>
                </a:cubicBezTo>
                <a:cubicBezTo>
                  <a:pt x="62" y="195"/>
                  <a:pt x="62" y="195"/>
                  <a:pt x="62" y="195"/>
                </a:cubicBezTo>
                <a:cubicBezTo>
                  <a:pt x="62" y="238"/>
                  <a:pt x="62" y="238"/>
                  <a:pt x="62" y="238"/>
                </a:cubicBezTo>
                <a:cubicBezTo>
                  <a:pt x="45" y="226"/>
                  <a:pt x="45" y="226"/>
                  <a:pt x="45" y="226"/>
                </a:cubicBezTo>
                <a:cubicBezTo>
                  <a:pt x="45" y="178"/>
                  <a:pt x="45" y="178"/>
                  <a:pt x="45" y="178"/>
                </a:cubicBezTo>
                <a:cubicBezTo>
                  <a:pt x="17" y="178"/>
                  <a:pt x="17" y="178"/>
                  <a:pt x="17" y="178"/>
                </a:cubicBezTo>
                <a:cubicBezTo>
                  <a:pt x="17" y="207"/>
                  <a:pt x="17" y="207"/>
                  <a:pt x="17" y="207"/>
                </a:cubicBezTo>
                <a:cubicBezTo>
                  <a:pt x="0" y="195"/>
                  <a:pt x="0" y="195"/>
                  <a:pt x="0" y="195"/>
                </a:cubicBezTo>
                <a:cubicBezTo>
                  <a:pt x="0" y="238"/>
                  <a:pt x="0" y="238"/>
                  <a:pt x="0" y="238"/>
                </a:cubicBezTo>
                <a:cubicBezTo>
                  <a:pt x="0" y="374"/>
                  <a:pt x="0" y="374"/>
                  <a:pt x="0" y="374"/>
                </a:cubicBezTo>
                <a:cubicBezTo>
                  <a:pt x="0" y="400"/>
                  <a:pt x="0" y="400"/>
                  <a:pt x="0" y="400"/>
                </a:cubicBezTo>
                <a:cubicBezTo>
                  <a:pt x="279" y="400"/>
                  <a:pt x="279" y="400"/>
                  <a:pt x="279" y="400"/>
                </a:cubicBezTo>
                <a:cubicBezTo>
                  <a:pt x="544" y="400"/>
                  <a:pt x="544" y="400"/>
                  <a:pt x="544" y="400"/>
                </a:cubicBezTo>
                <a:cubicBezTo>
                  <a:pt x="544" y="243"/>
                  <a:pt x="544" y="243"/>
                  <a:pt x="544" y="243"/>
                </a:cubicBezTo>
                <a:cubicBezTo>
                  <a:pt x="598" y="243"/>
                  <a:pt x="598" y="243"/>
                  <a:pt x="598" y="243"/>
                </a:cubicBezTo>
                <a:cubicBezTo>
                  <a:pt x="598" y="267"/>
                  <a:pt x="598" y="267"/>
                  <a:pt x="598" y="267"/>
                </a:cubicBezTo>
                <a:cubicBezTo>
                  <a:pt x="590" y="267"/>
                  <a:pt x="590" y="267"/>
                  <a:pt x="590" y="267"/>
                </a:cubicBezTo>
                <a:cubicBezTo>
                  <a:pt x="590" y="286"/>
                  <a:pt x="590" y="286"/>
                  <a:pt x="590" y="286"/>
                </a:cubicBezTo>
                <a:cubicBezTo>
                  <a:pt x="568" y="292"/>
                  <a:pt x="552" y="312"/>
                  <a:pt x="552" y="336"/>
                </a:cubicBezTo>
                <a:cubicBezTo>
                  <a:pt x="552" y="366"/>
                  <a:pt x="552" y="366"/>
                  <a:pt x="552" y="366"/>
                </a:cubicBezTo>
                <a:cubicBezTo>
                  <a:pt x="552" y="366"/>
                  <a:pt x="552" y="366"/>
                  <a:pt x="552" y="366"/>
                </a:cubicBezTo>
                <a:cubicBezTo>
                  <a:pt x="552" y="388"/>
                  <a:pt x="552" y="388"/>
                  <a:pt x="552" y="388"/>
                </a:cubicBezTo>
                <a:cubicBezTo>
                  <a:pt x="552" y="388"/>
                  <a:pt x="552" y="388"/>
                  <a:pt x="552" y="388"/>
                </a:cubicBezTo>
                <a:cubicBezTo>
                  <a:pt x="552" y="400"/>
                  <a:pt x="552" y="400"/>
                  <a:pt x="552" y="400"/>
                </a:cubicBezTo>
                <a:cubicBezTo>
                  <a:pt x="603" y="400"/>
                  <a:pt x="603" y="400"/>
                  <a:pt x="603" y="400"/>
                </a:cubicBezTo>
                <a:cubicBezTo>
                  <a:pt x="632" y="400"/>
                  <a:pt x="632" y="400"/>
                  <a:pt x="632" y="400"/>
                </a:cubicBezTo>
                <a:cubicBezTo>
                  <a:pt x="657" y="400"/>
                  <a:pt x="657" y="400"/>
                  <a:pt x="657" y="400"/>
                </a:cubicBezTo>
                <a:cubicBezTo>
                  <a:pt x="676" y="400"/>
                  <a:pt x="676" y="400"/>
                  <a:pt x="676" y="400"/>
                </a:cubicBezTo>
                <a:cubicBezTo>
                  <a:pt x="719" y="400"/>
                  <a:pt x="719" y="400"/>
                  <a:pt x="719" y="400"/>
                </a:cubicBezTo>
                <a:cubicBezTo>
                  <a:pt x="719" y="368"/>
                  <a:pt x="719" y="368"/>
                  <a:pt x="719" y="368"/>
                </a:cubicBezTo>
                <a:cubicBezTo>
                  <a:pt x="719" y="368"/>
                  <a:pt x="719" y="368"/>
                  <a:pt x="719" y="368"/>
                </a:cubicBezTo>
                <a:cubicBezTo>
                  <a:pt x="719" y="354"/>
                  <a:pt x="719" y="354"/>
                  <a:pt x="719" y="354"/>
                </a:cubicBezTo>
                <a:cubicBezTo>
                  <a:pt x="719" y="354"/>
                  <a:pt x="719" y="354"/>
                  <a:pt x="719" y="354"/>
                </a:cubicBezTo>
                <a:cubicBezTo>
                  <a:pt x="719" y="349"/>
                  <a:pt x="719" y="349"/>
                  <a:pt x="719" y="349"/>
                </a:cubicBezTo>
                <a:cubicBezTo>
                  <a:pt x="719" y="349"/>
                  <a:pt x="719" y="349"/>
                  <a:pt x="719" y="349"/>
                </a:cubicBezTo>
                <a:cubicBezTo>
                  <a:pt x="719" y="347"/>
                  <a:pt x="719" y="347"/>
                  <a:pt x="719" y="347"/>
                </a:cubicBezTo>
                <a:cubicBezTo>
                  <a:pt x="719" y="345"/>
                  <a:pt x="718" y="342"/>
                  <a:pt x="718" y="340"/>
                </a:cubicBezTo>
                <a:cubicBezTo>
                  <a:pt x="718" y="338"/>
                  <a:pt x="717" y="337"/>
                  <a:pt x="717" y="335"/>
                </a:cubicBezTo>
                <a:cubicBezTo>
                  <a:pt x="713" y="321"/>
                  <a:pt x="702" y="310"/>
                  <a:pt x="687" y="306"/>
                </a:cubicBezTo>
                <a:cubicBezTo>
                  <a:pt x="687" y="291"/>
                  <a:pt x="687" y="291"/>
                  <a:pt x="687" y="291"/>
                </a:cubicBezTo>
                <a:cubicBezTo>
                  <a:pt x="682" y="291"/>
                  <a:pt x="682" y="291"/>
                  <a:pt x="682" y="291"/>
                </a:cubicBezTo>
                <a:cubicBezTo>
                  <a:pt x="682" y="231"/>
                  <a:pt x="682" y="231"/>
                  <a:pt x="682" y="231"/>
                </a:cubicBezTo>
                <a:cubicBezTo>
                  <a:pt x="610" y="231"/>
                  <a:pt x="610" y="231"/>
                  <a:pt x="610" y="231"/>
                </a:cubicBezTo>
                <a:cubicBezTo>
                  <a:pt x="610" y="205"/>
                  <a:pt x="610" y="205"/>
                  <a:pt x="610" y="205"/>
                </a:cubicBezTo>
                <a:cubicBezTo>
                  <a:pt x="544" y="205"/>
                  <a:pt x="544" y="205"/>
                  <a:pt x="544" y="205"/>
                </a:cubicBezTo>
                <a:cubicBezTo>
                  <a:pt x="544" y="160"/>
                  <a:pt x="544" y="160"/>
                  <a:pt x="544" y="160"/>
                </a:cubicBezTo>
                <a:cubicBezTo>
                  <a:pt x="382" y="160"/>
                  <a:pt x="382" y="160"/>
                  <a:pt x="382" y="160"/>
                </a:cubicBezTo>
                <a:cubicBezTo>
                  <a:pt x="361" y="20"/>
                  <a:pt x="361" y="20"/>
                  <a:pt x="361" y="20"/>
                </a:cubicBezTo>
                <a:cubicBezTo>
                  <a:pt x="366" y="20"/>
                  <a:pt x="366" y="20"/>
                  <a:pt x="366" y="20"/>
                </a:cubicBezTo>
                <a:cubicBezTo>
                  <a:pt x="361" y="0"/>
                  <a:pt x="361" y="0"/>
                  <a:pt x="361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09" name="Group 38">
            <a:extLst>
              <a:ext uri="{FF2B5EF4-FFF2-40B4-BE49-F238E27FC236}">
                <a16:creationId xmlns:a16="http://schemas.microsoft.com/office/drawing/2014/main" xmlns="" id="{9C018915-38C3-456F-A62A-CDE3E2170B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74035" y="5056582"/>
            <a:ext cx="581007" cy="424692"/>
            <a:chOff x="1871" y="168"/>
            <a:chExt cx="2836" cy="2073"/>
          </a:xfrm>
          <a:solidFill>
            <a:schemeClr val="accent3"/>
          </a:solidFill>
        </p:grpSpPr>
        <p:sp>
          <p:nvSpPr>
            <p:cNvPr id="110" name="Freeform 39">
              <a:extLst>
                <a:ext uri="{FF2B5EF4-FFF2-40B4-BE49-F238E27FC236}">
                  <a16:creationId xmlns:a16="http://schemas.microsoft.com/office/drawing/2014/main" xmlns="" id="{E4AA7E5B-90C1-4D09-952D-CB9838C257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7" y="168"/>
              <a:ext cx="2440" cy="2073"/>
            </a:xfrm>
            <a:custGeom>
              <a:avLst/>
              <a:gdLst>
                <a:gd name="T0" fmla="*/ 1149 w 1187"/>
                <a:gd name="T1" fmla="*/ 912 h 1008"/>
                <a:gd name="T2" fmla="*/ 1066 w 1187"/>
                <a:gd name="T3" fmla="*/ 467 h 1008"/>
                <a:gd name="T4" fmla="*/ 525 w 1187"/>
                <a:gd name="T5" fmla="*/ 429 h 1008"/>
                <a:gd name="T6" fmla="*/ 389 w 1187"/>
                <a:gd name="T7" fmla="*/ 413 h 1008"/>
                <a:gd name="T8" fmla="*/ 374 w 1187"/>
                <a:gd name="T9" fmla="*/ 406 h 1008"/>
                <a:gd name="T10" fmla="*/ 370 w 1187"/>
                <a:gd name="T11" fmla="*/ 278 h 1008"/>
                <a:gd name="T12" fmla="*/ 366 w 1187"/>
                <a:gd name="T13" fmla="*/ 227 h 1008"/>
                <a:gd name="T14" fmla="*/ 369 w 1187"/>
                <a:gd name="T15" fmla="*/ 202 h 1008"/>
                <a:gd name="T16" fmla="*/ 409 w 1187"/>
                <a:gd name="T17" fmla="*/ 188 h 1008"/>
                <a:gd name="T18" fmla="*/ 415 w 1187"/>
                <a:gd name="T19" fmla="*/ 113 h 1008"/>
                <a:gd name="T20" fmla="*/ 412 w 1187"/>
                <a:gd name="T21" fmla="*/ 50 h 1008"/>
                <a:gd name="T22" fmla="*/ 295 w 1187"/>
                <a:gd name="T23" fmla="*/ 52 h 1008"/>
                <a:gd name="T24" fmla="*/ 289 w 1187"/>
                <a:gd name="T25" fmla="*/ 113 h 1008"/>
                <a:gd name="T26" fmla="*/ 273 w 1187"/>
                <a:gd name="T27" fmla="*/ 201 h 1008"/>
                <a:gd name="T28" fmla="*/ 248 w 1187"/>
                <a:gd name="T29" fmla="*/ 173 h 1008"/>
                <a:gd name="T30" fmla="*/ 248 w 1187"/>
                <a:gd name="T31" fmla="*/ 173 h 1008"/>
                <a:gd name="T32" fmla="*/ 130 w 1187"/>
                <a:gd name="T33" fmla="*/ 131 h 1008"/>
                <a:gd name="T34" fmla="*/ 130 w 1187"/>
                <a:gd name="T35" fmla="*/ 131 h 1008"/>
                <a:gd name="T36" fmla="*/ 77 w 1187"/>
                <a:gd name="T37" fmla="*/ 279 h 1008"/>
                <a:gd name="T38" fmla="*/ 93 w 1187"/>
                <a:gd name="T39" fmla="*/ 303 h 1008"/>
                <a:gd name="T40" fmla="*/ 42 w 1187"/>
                <a:gd name="T41" fmla="*/ 355 h 1008"/>
                <a:gd name="T42" fmla="*/ 97 w 1187"/>
                <a:gd name="T43" fmla="*/ 361 h 1008"/>
                <a:gd name="T44" fmla="*/ 121 w 1187"/>
                <a:gd name="T45" fmla="*/ 423 h 1008"/>
                <a:gd name="T46" fmla="*/ 163 w 1187"/>
                <a:gd name="T47" fmla="*/ 470 h 1008"/>
                <a:gd name="T48" fmla="*/ 152 w 1187"/>
                <a:gd name="T49" fmla="*/ 589 h 1008"/>
                <a:gd name="T50" fmla="*/ 57 w 1187"/>
                <a:gd name="T51" fmla="*/ 912 h 1008"/>
                <a:gd name="T52" fmla="*/ 288 w 1187"/>
                <a:gd name="T53" fmla="*/ 965 h 1008"/>
                <a:gd name="T54" fmla="*/ 1157 w 1187"/>
                <a:gd name="T55" fmla="*/ 965 h 1008"/>
                <a:gd name="T56" fmla="*/ 875 w 1187"/>
                <a:gd name="T57" fmla="*/ 912 h 1008"/>
                <a:gd name="T58" fmla="*/ 848 w 1187"/>
                <a:gd name="T59" fmla="*/ 912 h 1008"/>
                <a:gd name="T60" fmla="*/ 630 w 1187"/>
                <a:gd name="T61" fmla="*/ 802 h 1008"/>
                <a:gd name="T62" fmla="*/ 573 w 1187"/>
                <a:gd name="T63" fmla="*/ 802 h 1008"/>
                <a:gd name="T64" fmla="*/ 453 w 1187"/>
                <a:gd name="T65" fmla="*/ 874 h 1008"/>
                <a:gd name="T66" fmla="*/ 346 w 1187"/>
                <a:gd name="T67" fmla="*/ 494 h 1008"/>
                <a:gd name="T68" fmla="*/ 390 w 1187"/>
                <a:gd name="T69" fmla="*/ 470 h 1008"/>
                <a:gd name="T70" fmla="*/ 423 w 1187"/>
                <a:gd name="T71" fmla="*/ 458 h 1008"/>
                <a:gd name="T72" fmla="*/ 1015 w 1187"/>
                <a:gd name="T73" fmla="*/ 467 h 1008"/>
                <a:gd name="T74" fmla="*/ 366 w 1187"/>
                <a:gd name="T75" fmla="*/ 458 h 1008"/>
                <a:gd name="T76" fmla="*/ 354 w 1187"/>
                <a:gd name="T77" fmla="*/ 453 h 1008"/>
                <a:gd name="T78" fmla="*/ 186 w 1187"/>
                <a:gd name="T79" fmla="*/ 408 h 1008"/>
                <a:gd name="T80" fmla="*/ 186 w 1187"/>
                <a:gd name="T81" fmla="*/ 408 h 1008"/>
                <a:gd name="T82" fmla="*/ 156 w 1187"/>
                <a:gd name="T83" fmla="*/ 874 h 1008"/>
                <a:gd name="T84" fmla="*/ 261 w 1187"/>
                <a:gd name="T85" fmla="*/ 594 h 1008"/>
                <a:gd name="T86" fmla="*/ 354 w 1187"/>
                <a:gd name="T87" fmla="*/ 912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7" h="1008">
                  <a:moveTo>
                    <a:pt x="1157" y="965"/>
                  </a:moveTo>
                  <a:cubicBezTo>
                    <a:pt x="1149" y="965"/>
                    <a:pt x="1149" y="965"/>
                    <a:pt x="1149" y="965"/>
                  </a:cubicBezTo>
                  <a:cubicBezTo>
                    <a:pt x="1187" y="965"/>
                    <a:pt x="1187" y="912"/>
                    <a:pt x="1149" y="912"/>
                  </a:cubicBezTo>
                  <a:cubicBezTo>
                    <a:pt x="1121" y="912"/>
                    <a:pt x="1121" y="912"/>
                    <a:pt x="1121" y="912"/>
                  </a:cubicBezTo>
                  <a:cubicBezTo>
                    <a:pt x="1127" y="730"/>
                    <a:pt x="1071" y="525"/>
                    <a:pt x="1054" y="467"/>
                  </a:cubicBezTo>
                  <a:cubicBezTo>
                    <a:pt x="1066" y="467"/>
                    <a:pt x="1066" y="467"/>
                    <a:pt x="1066" y="467"/>
                  </a:cubicBezTo>
                  <a:cubicBezTo>
                    <a:pt x="1056" y="429"/>
                    <a:pt x="1056" y="429"/>
                    <a:pt x="1056" y="429"/>
                  </a:cubicBezTo>
                  <a:cubicBezTo>
                    <a:pt x="1025" y="429"/>
                    <a:pt x="1025" y="429"/>
                    <a:pt x="1025" y="429"/>
                  </a:cubicBezTo>
                  <a:cubicBezTo>
                    <a:pt x="525" y="429"/>
                    <a:pt x="525" y="429"/>
                    <a:pt x="525" y="429"/>
                  </a:cubicBezTo>
                  <a:cubicBezTo>
                    <a:pt x="418" y="429"/>
                    <a:pt x="418" y="429"/>
                    <a:pt x="418" y="429"/>
                  </a:cubicBezTo>
                  <a:cubicBezTo>
                    <a:pt x="418" y="426"/>
                    <a:pt x="418" y="423"/>
                    <a:pt x="415" y="422"/>
                  </a:cubicBezTo>
                  <a:cubicBezTo>
                    <a:pt x="410" y="418"/>
                    <a:pt x="400" y="411"/>
                    <a:pt x="389" y="413"/>
                  </a:cubicBezTo>
                  <a:cubicBezTo>
                    <a:pt x="389" y="413"/>
                    <a:pt x="385" y="414"/>
                    <a:pt x="378" y="418"/>
                  </a:cubicBezTo>
                  <a:cubicBezTo>
                    <a:pt x="371" y="413"/>
                    <a:pt x="371" y="413"/>
                    <a:pt x="371" y="413"/>
                  </a:cubicBezTo>
                  <a:cubicBezTo>
                    <a:pt x="374" y="406"/>
                    <a:pt x="374" y="406"/>
                    <a:pt x="374" y="406"/>
                  </a:cubicBezTo>
                  <a:cubicBezTo>
                    <a:pt x="354" y="398"/>
                    <a:pt x="354" y="398"/>
                    <a:pt x="354" y="398"/>
                  </a:cubicBezTo>
                  <a:cubicBezTo>
                    <a:pt x="365" y="326"/>
                    <a:pt x="365" y="326"/>
                    <a:pt x="365" y="326"/>
                  </a:cubicBezTo>
                  <a:cubicBezTo>
                    <a:pt x="370" y="305"/>
                    <a:pt x="371" y="289"/>
                    <a:pt x="370" y="278"/>
                  </a:cubicBezTo>
                  <a:cubicBezTo>
                    <a:pt x="382" y="239"/>
                    <a:pt x="382" y="239"/>
                    <a:pt x="382" y="239"/>
                  </a:cubicBezTo>
                  <a:cubicBezTo>
                    <a:pt x="382" y="239"/>
                    <a:pt x="383" y="216"/>
                    <a:pt x="370" y="195"/>
                  </a:cubicBezTo>
                  <a:cubicBezTo>
                    <a:pt x="366" y="227"/>
                    <a:pt x="366" y="227"/>
                    <a:pt x="366" y="227"/>
                  </a:cubicBezTo>
                  <a:cubicBezTo>
                    <a:pt x="366" y="227"/>
                    <a:pt x="366" y="227"/>
                    <a:pt x="366" y="227"/>
                  </a:cubicBezTo>
                  <a:cubicBezTo>
                    <a:pt x="369" y="202"/>
                    <a:pt x="369" y="202"/>
                    <a:pt x="369" y="202"/>
                  </a:cubicBezTo>
                  <a:cubicBezTo>
                    <a:pt x="369" y="202"/>
                    <a:pt x="369" y="202"/>
                    <a:pt x="369" y="202"/>
                  </a:cubicBezTo>
                  <a:cubicBezTo>
                    <a:pt x="371" y="187"/>
                    <a:pt x="371" y="187"/>
                    <a:pt x="371" y="187"/>
                  </a:cubicBezTo>
                  <a:cubicBezTo>
                    <a:pt x="371" y="187"/>
                    <a:pt x="382" y="193"/>
                    <a:pt x="391" y="193"/>
                  </a:cubicBezTo>
                  <a:cubicBezTo>
                    <a:pt x="391" y="193"/>
                    <a:pt x="406" y="197"/>
                    <a:pt x="409" y="188"/>
                  </a:cubicBezTo>
                  <a:cubicBezTo>
                    <a:pt x="411" y="166"/>
                    <a:pt x="412" y="163"/>
                    <a:pt x="415" y="150"/>
                  </a:cubicBezTo>
                  <a:cubicBezTo>
                    <a:pt x="426" y="146"/>
                    <a:pt x="428" y="139"/>
                    <a:pt x="414" y="127"/>
                  </a:cubicBezTo>
                  <a:cubicBezTo>
                    <a:pt x="414" y="122"/>
                    <a:pt x="415" y="117"/>
                    <a:pt x="415" y="113"/>
                  </a:cubicBezTo>
                  <a:cubicBezTo>
                    <a:pt x="451" y="107"/>
                    <a:pt x="476" y="96"/>
                    <a:pt x="476" y="84"/>
                  </a:cubicBezTo>
                  <a:cubicBezTo>
                    <a:pt x="475" y="72"/>
                    <a:pt x="451" y="63"/>
                    <a:pt x="414" y="58"/>
                  </a:cubicBezTo>
                  <a:cubicBezTo>
                    <a:pt x="413" y="55"/>
                    <a:pt x="413" y="53"/>
                    <a:pt x="412" y="50"/>
                  </a:cubicBezTo>
                  <a:cubicBezTo>
                    <a:pt x="408" y="30"/>
                    <a:pt x="399" y="12"/>
                    <a:pt x="387" y="0"/>
                  </a:cubicBezTo>
                  <a:cubicBezTo>
                    <a:pt x="319" y="1"/>
                    <a:pt x="319" y="1"/>
                    <a:pt x="319" y="1"/>
                  </a:cubicBezTo>
                  <a:cubicBezTo>
                    <a:pt x="307" y="13"/>
                    <a:pt x="299" y="31"/>
                    <a:pt x="295" y="52"/>
                  </a:cubicBezTo>
                  <a:cubicBezTo>
                    <a:pt x="295" y="54"/>
                    <a:pt x="294" y="57"/>
                    <a:pt x="294" y="59"/>
                  </a:cubicBezTo>
                  <a:cubicBezTo>
                    <a:pt x="257" y="65"/>
                    <a:pt x="233" y="76"/>
                    <a:pt x="233" y="88"/>
                  </a:cubicBezTo>
                  <a:cubicBezTo>
                    <a:pt x="233" y="99"/>
                    <a:pt x="256" y="108"/>
                    <a:pt x="289" y="113"/>
                  </a:cubicBezTo>
                  <a:cubicBezTo>
                    <a:pt x="290" y="131"/>
                    <a:pt x="294" y="149"/>
                    <a:pt x="300" y="161"/>
                  </a:cubicBezTo>
                  <a:cubicBezTo>
                    <a:pt x="289" y="163"/>
                    <a:pt x="283" y="167"/>
                    <a:pt x="283" y="167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68" y="201"/>
                    <a:pt x="263" y="203"/>
                    <a:pt x="258" y="205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64" y="188"/>
                    <a:pt x="259" y="177"/>
                    <a:pt x="248" y="173"/>
                  </a:cubicBezTo>
                  <a:cubicBezTo>
                    <a:pt x="242" y="171"/>
                    <a:pt x="242" y="171"/>
                    <a:pt x="242" y="171"/>
                  </a:cubicBezTo>
                  <a:cubicBezTo>
                    <a:pt x="242" y="171"/>
                    <a:pt x="242" y="171"/>
                    <a:pt x="242" y="171"/>
                  </a:cubicBezTo>
                  <a:cubicBezTo>
                    <a:pt x="248" y="173"/>
                    <a:pt x="248" y="173"/>
                    <a:pt x="248" y="173"/>
                  </a:cubicBezTo>
                  <a:cubicBezTo>
                    <a:pt x="258" y="145"/>
                    <a:pt x="258" y="145"/>
                    <a:pt x="258" y="145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30" y="131"/>
                    <a:pt x="130" y="131"/>
                    <a:pt x="130" y="131"/>
                  </a:cubicBezTo>
                  <a:cubicBezTo>
                    <a:pt x="136" y="133"/>
                    <a:pt x="136" y="133"/>
                    <a:pt x="136" y="133"/>
                  </a:cubicBezTo>
                  <a:cubicBezTo>
                    <a:pt x="136" y="133"/>
                    <a:pt x="136" y="133"/>
                    <a:pt x="136" y="133"/>
                  </a:cubicBezTo>
                  <a:cubicBezTo>
                    <a:pt x="130" y="131"/>
                    <a:pt x="130" y="131"/>
                    <a:pt x="130" y="131"/>
                  </a:cubicBezTo>
                  <a:cubicBezTo>
                    <a:pt x="120" y="127"/>
                    <a:pt x="108" y="133"/>
                    <a:pt x="105" y="143"/>
                  </a:cubicBezTo>
                  <a:cubicBezTo>
                    <a:pt x="65" y="253"/>
                    <a:pt x="65" y="253"/>
                    <a:pt x="65" y="253"/>
                  </a:cubicBezTo>
                  <a:cubicBezTo>
                    <a:pt x="62" y="264"/>
                    <a:pt x="67" y="275"/>
                    <a:pt x="77" y="279"/>
                  </a:cubicBezTo>
                  <a:cubicBezTo>
                    <a:pt x="161" y="309"/>
                    <a:pt x="161" y="309"/>
                    <a:pt x="161" y="309"/>
                  </a:cubicBezTo>
                  <a:cubicBezTo>
                    <a:pt x="155" y="325"/>
                    <a:pt x="155" y="325"/>
                    <a:pt x="155" y="325"/>
                  </a:cubicBezTo>
                  <a:cubicBezTo>
                    <a:pt x="93" y="303"/>
                    <a:pt x="93" y="303"/>
                    <a:pt x="93" y="303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68" y="281"/>
                    <a:pt x="68" y="281"/>
                    <a:pt x="68" y="281"/>
                  </a:cubicBezTo>
                  <a:cubicBezTo>
                    <a:pt x="42" y="355"/>
                    <a:pt x="42" y="355"/>
                    <a:pt x="42" y="355"/>
                  </a:cubicBezTo>
                  <a:cubicBezTo>
                    <a:pt x="70" y="365"/>
                    <a:pt x="70" y="365"/>
                    <a:pt x="70" y="365"/>
                  </a:cubicBezTo>
                  <a:cubicBezTo>
                    <a:pt x="75" y="353"/>
                    <a:pt x="75" y="353"/>
                    <a:pt x="75" y="353"/>
                  </a:cubicBezTo>
                  <a:cubicBezTo>
                    <a:pt x="97" y="361"/>
                    <a:pt x="97" y="361"/>
                    <a:pt x="97" y="361"/>
                  </a:cubicBezTo>
                  <a:cubicBezTo>
                    <a:pt x="80" y="409"/>
                    <a:pt x="80" y="409"/>
                    <a:pt x="80" y="409"/>
                  </a:cubicBezTo>
                  <a:cubicBezTo>
                    <a:pt x="121" y="423"/>
                    <a:pt x="121" y="423"/>
                    <a:pt x="121" y="423"/>
                  </a:cubicBezTo>
                  <a:cubicBezTo>
                    <a:pt x="121" y="423"/>
                    <a:pt x="121" y="423"/>
                    <a:pt x="121" y="423"/>
                  </a:cubicBezTo>
                  <a:cubicBezTo>
                    <a:pt x="10" y="383"/>
                    <a:pt x="10" y="383"/>
                    <a:pt x="10" y="383"/>
                  </a:cubicBezTo>
                  <a:cubicBezTo>
                    <a:pt x="0" y="412"/>
                    <a:pt x="0" y="412"/>
                    <a:pt x="0" y="412"/>
                  </a:cubicBezTo>
                  <a:cubicBezTo>
                    <a:pt x="163" y="470"/>
                    <a:pt x="163" y="470"/>
                    <a:pt x="163" y="470"/>
                  </a:cubicBezTo>
                  <a:cubicBezTo>
                    <a:pt x="165" y="466"/>
                    <a:pt x="165" y="466"/>
                    <a:pt x="165" y="466"/>
                  </a:cubicBezTo>
                  <a:cubicBezTo>
                    <a:pt x="170" y="472"/>
                    <a:pt x="175" y="477"/>
                    <a:pt x="181" y="481"/>
                  </a:cubicBezTo>
                  <a:cubicBezTo>
                    <a:pt x="173" y="484"/>
                    <a:pt x="154" y="501"/>
                    <a:pt x="152" y="589"/>
                  </a:cubicBezTo>
                  <a:cubicBezTo>
                    <a:pt x="151" y="706"/>
                    <a:pt x="151" y="706"/>
                    <a:pt x="151" y="706"/>
                  </a:cubicBezTo>
                  <a:cubicBezTo>
                    <a:pt x="151" y="706"/>
                    <a:pt x="67" y="779"/>
                    <a:pt x="80" y="857"/>
                  </a:cubicBezTo>
                  <a:cubicBezTo>
                    <a:pt x="80" y="857"/>
                    <a:pt x="49" y="865"/>
                    <a:pt x="57" y="912"/>
                  </a:cubicBezTo>
                  <a:cubicBezTo>
                    <a:pt x="53" y="912"/>
                    <a:pt x="53" y="912"/>
                    <a:pt x="53" y="912"/>
                  </a:cubicBezTo>
                  <a:cubicBezTo>
                    <a:pt x="15" y="912"/>
                    <a:pt x="15" y="965"/>
                    <a:pt x="53" y="965"/>
                  </a:cubicBezTo>
                  <a:cubicBezTo>
                    <a:pt x="288" y="965"/>
                    <a:pt x="288" y="965"/>
                    <a:pt x="288" y="965"/>
                  </a:cubicBezTo>
                  <a:cubicBezTo>
                    <a:pt x="259" y="965"/>
                    <a:pt x="259" y="1008"/>
                    <a:pt x="288" y="1008"/>
                  </a:cubicBezTo>
                  <a:cubicBezTo>
                    <a:pt x="1157" y="1008"/>
                    <a:pt x="1157" y="1008"/>
                    <a:pt x="1157" y="1008"/>
                  </a:cubicBezTo>
                  <a:cubicBezTo>
                    <a:pt x="1185" y="1008"/>
                    <a:pt x="1185" y="965"/>
                    <a:pt x="1157" y="965"/>
                  </a:cubicBezTo>
                  <a:close/>
                  <a:moveTo>
                    <a:pt x="1026" y="467"/>
                  </a:moveTo>
                  <a:cubicBezTo>
                    <a:pt x="1009" y="525"/>
                    <a:pt x="954" y="730"/>
                    <a:pt x="960" y="912"/>
                  </a:cubicBezTo>
                  <a:cubicBezTo>
                    <a:pt x="875" y="912"/>
                    <a:pt x="875" y="912"/>
                    <a:pt x="875" y="912"/>
                  </a:cubicBezTo>
                  <a:cubicBezTo>
                    <a:pt x="875" y="912"/>
                    <a:pt x="884" y="839"/>
                    <a:pt x="920" y="802"/>
                  </a:cubicBezTo>
                  <a:cubicBezTo>
                    <a:pt x="899" y="777"/>
                    <a:pt x="824" y="777"/>
                    <a:pt x="803" y="802"/>
                  </a:cubicBezTo>
                  <a:cubicBezTo>
                    <a:pt x="839" y="839"/>
                    <a:pt x="848" y="912"/>
                    <a:pt x="848" y="912"/>
                  </a:cubicBezTo>
                  <a:cubicBezTo>
                    <a:pt x="702" y="912"/>
                    <a:pt x="702" y="912"/>
                    <a:pt x="702" y="912"/>
                  </a:cubicBezTo>
                  <a:cubicBezTo>
                    <a:pt x="702" y="912"/>
                    <a:pt x="711" y="839"/>
                    <a:pt x="747" y="802"/>
                  </a:cubicBezTo>
                  <a:cubicBezTo>
                    <a:pt x="726" y="777"/>
                    <a:pt x="651" y="777"/>
                    <a:pt x="630" y="802"/>
                  </a:cubicBezTo>
                  <a:cubicBezTo>
                    <a:pt x="666" y="839"/>
                    <a:pt x="674" y="912"/>
                    <a:pt x="674" y="912"/>
                  </a:cubicBezTo>
                  <a:cubicBezTo>
                    <a:pt x="529" y="912"/>
                    <a:pt x="529" y="912"/>
                    <a:pt x="529" y="912"/>
                  </a:cubicBezTo>
                  <a:cubicBezTo>
                    <a:pt x="529" y="912"/>
                    <a:pt x="538" y="839"/>
                    <a:pt x="573" y="802"/>
                  </a:cubicBezTo>
                  <a:cubicBezTo>
                    <a:pt x="553" y="777"/>
                    <a:pt x="477" y="777"/>
                    <a:pt x="457" y="802"/>
                  </a:cubicBezTo>
                  <a:cubicBezTo>
                    <a:pt x="478" y="824"/>
                    <a:pt x="490" y="858"/>
                    <a:pt x="496" y="883"/>
                  </a:cubicBezTo>
                  <a:cubicBezTo>
                    <a:pt x="453" y="874"/>
                    <a:pt x="453" y="874"/>
                    <a:pt x="453" y="874"/>
                  </a:cubicBezTo>
                  <a:cubicBezTo>
                    <a:pt x="440" y="857"/>
                    <a:pt x="440" y="857"/>
                    <a:pt x="440" y="857"/>
                  </a:cubicBezTo>
                  <a:cubicBezTo>
                    <a:pt x="417" y="703"/>
                    <a:pt x="417" y="703"/>
                    <a:pt x="417" y="703"/>
                  </a:cubicBezTo>
                  <a:cubicBezTo>
                    <a:pt x="346" y="494"/>
                    <a:pt x="346" y="494"/>
                    <a:pt x="346" y="494"/>
                  </a:cubicBezTo>
                  <a:cubicBezTo>
                    <a:pt x="358" y="488"/>
                    <a:pt x="371" y="482"/>
                    <a:pt x="384" y="474"/>
                  </a:cubicBezTo>
                  <a:cubicBezTo>
                    <a:pt x="386" y="474"/>
                    <a:pt x="389" y="473"/>
                    <a:pt x="390" y="470"/>
                  </a:cubicBezTo>
                  <a:cubicBezTo>
                    <a:pt x="390" y="470"/>
                    <a:pt x="390" y="470"/>
                    <a:pt x="390" y="470"/>
                  </a:cubicBezTo>
                  <a:cubicBezTo>
                    <a:pt x="393" y="476"/>
                    <a:pt x="403" y="472"/>
                    <a:pt x="401" y="465"/>
                  </a:cubicBezTo>
                  <a:cubicBezTo>
                    <a:pt x="403" y="472"/>
                    <a:pt x="414" y="469"/>
                    <a:pt x="412" y="461"/>
                  </a:cubicBezTo>
                  <a:cubicBezTo>
                    <a:pt x="414" y="469"/>
                    <a:pt x="425" y="465"/>
                    <a:pt x="423" y="458"/>
                  </a:cubicBezTo>
                  <a:cubicBezTo>
                    <a:pt x="420" y="451"/>
                    <a:pt x="420" y="451"/>
                    <a:pt x="420" y="451"/>
                  </a:cubicBezTo>
                  <a:cubicBezTo>
                    <a:pt x="1019" y="451"/>
                    <a:pt x="1019" y="451"/>
                    <a:pt x="1019" y="451"/>
                  </a:cubicBezTo>
                  <a:cubicBezTo>
                    <a:pt x="1015" y="467"/>
                    <a:pt x="1015" y="467"/>
                    <a:pt x="1015" y="467"/>
                  </a:cubicBezTo>
                  <a:lnTo>
                    <a:pt x="1026" y="467"/>
                  </a:lnTo>
                  <a:close/>
                  <a:moveTo>
                    <a:pt x="359" y="446"/>
                  </a:moveTo>
                  <a:cubicBezTo>
                    <a:pt x="359" y="446"/>
                    <a:pt x="360" y="453"/>
                    <a:pt x="366" y="458"/>
                  </a:cubicBezTo>
                  <a:cubicBezTo>
                    <a:pt x="358" y="463"/>
                    <a:pt x="350" y="467"/>
                    <a:pt x="342" y="471"/>
                  </a:cubicBezTo>
                  <a:cubicBezTo>
                    <a:pt x="345" y="450"/>
                    <a:pt x="345" y="450"/>
                    <a:pt x="345" y="450"/>
                  </a:cubicBezTo>
                  <a:cubicBezTo>
                    <a:pt x="354" y="453"/>
                    <a:pt x="354" y="453"/>
                    <a:pt x="354" y="453"/>
                  </a:cubicBezTo>
                  <a:cubicBezTo>
                    <a:pt x="357" y="445"/>
                    <a:pt x="357" y="445"/>
                    <a:pt x="357" y="445"/>
                  </a:cubicBezTo>
                  <a:lnTo>
                    <a:pt x="359" y="446"/>
                  </a:lnTo>
                  <a:close/>
                  <a:moveTo>
                    <a:pt x="186" y="408"/>
                  </a:moveTo>
                  <a:cubicBezTo>
                    <a:pt x="185" y="454"/>
                    <a:pt x="185" y="454"/>
                    <a:pt x="185" y="454"/>
                  </a:cubicBezTo>
                  <a:cubicBezTo>
                    <a:pt x="181" y="450"/>
                    <a:pt x="177" y="446"/>
                    <a:pt x="174" y="442"/>
                  </a:cubicBezTo>
                  <a:lnTo>
                    <a:pt x="186" y="408"/>
                  </a:lnTo>
                  <a:close/>
                  <a:moveTo>
                    <a:pt x="206" y="912"/>
                  </a:moveTo>
                  <a:cubicBezTo>
                    <a:pt x="206" y="885"/>
                    <a:pt x="206" y="885"/>
                    <a:pt x="206" y="885"/>
                  </a:cubicBezTo>
                  <a:cubicBezTo>
                    <a:pt x="156" y="874"/>
                    <a:pt x="156" y="874"/>
                    <a:pt x="156" y="874"/>
                  </a:cubicBezTo>
                  <a:cubicBezTo>
                    <a:pt x="143" y="857"/>
                    <a:pt x="143" y="857"/>
                    <a:pt x="143" y="857"/>
                  </a:cubicBezTo>
                  <a:cubicBezTo>
                    <a:pt x="234" y="731"/>
                    <a:pt x="234" y="731"/>
                    <a:pt x="234" y="731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1" y="594"/>
                    <a:pt x="295" y="648"/>
                    <a:pt x="340" y="721"/>
                  </a:cubicBezTo>
                  <a:cubicBezTo>
                    <a:pt x="337" y="787"/>
                    <a:pt x="377" y="857"/>
                    <a:pt x="377" y="857"/>
                  </a:cubicBezTo>
                  <a:cubicBezTo>
                    <a:pt x="377" y="857"/>
                    <a:pt x="346" y="865"/>
                    <a:pt x="354" y="912"/>
                  </a:cubicBezTo>
                  <a:lnTo>
                    <a:pt x="206" y="9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1" name="Freeform 40">
              <a:extLst>
                <a:ext uri="{FF2B5EF4-FFF2-40B4-BE49-F238E27FC236}">
                  <a16:creationId xmlns:a16="http://schemas.microsoft.com/office/drawing/2014/main" xmlns="" id="{155EA538-7DC5-473B-B279-2F5DBABB1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" y="752"/>
              <a:ext cx="87" cy="121"/>
            </a:xfrm>
            <a:custGeom>
              <a:avLst/>
              <a:gdLst>
                <a:gd name="T0" fmla="*/ 87 w 87"/>
                <a:gd name="T1" fmla="*/ 19 h 121"/>
                <a:gd name="T2" fmla="*/ 37 w 87"/>
                <a:gd name="T3" fmla="*/ 0 h 121"/>
                <a:gd name="T4" fmla="*/ 0 w 87"/>
                <a:gd name="T5" fmla="*/ 103 h 121"/>
                <a:gd name="T6" fmla="*/ 50 w 87"/>
                <a:gd name="T7" fmla="*/ 121 h 121"/>
                <a:gd name="T8" fmla="*/ 87 w 87"/>
                <a:gd name="T9" fmla="*/ 1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21">
                  <a:moveTo>
                    <a:pt x="87" y="19"/>
                  </a:moveTo>
                  <a:lnTo>
                    <a:pt x="37" y="0"/>
                  </a:lnTo>
                  <a:lnTo>
                    <a:pt x="0" y="103"/>
                  </a:lnTo>
                  <a:lnTo>
                    <a:pt x="50" y="121"/>
                  </a:lnTo>
                  <a:lnTo>
                    <a:pt x="8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12" name="Freeform 44">
            <a:extLst>
              <a:ext uri="{FF2B5EF4-FFF2-40B4-BE49-F238E27FC236}">
                <a16:creationId xmlns:a16="http://schemas.microsoft.com/office/drawing/2014/main" xmlns="" id="{2F8B7B41-4274-4AC6-A770-F7430677AF43}"/>
              </a:ext>
            </a:extLst>
          </p:cNvPr>
          <p:cNvSpPr>
            <a:spLocks noEditPoints="1"/>
          </p:cNvSpPr>
          <p:nvPr/>
        </p:nvSpPr>
        <p:spPr bwMode="auto">
          <a:xfrm>
            <a:off x="6735900" y="4656001"/>
            <a:ext cx="771709" cy="825273"/>
          </a:xfrm>
          <a:custGeom>
            <a:avLst/>
            <a:gdLst>
              <a:gd name="T0" fmla="*/ 2353 w 4209"/>
              <a:gd name="T1" fmla="*/ 3431 h 4501"/>
              <a:gd name="T2" fmla="*/ 3406 w 4209"/>
              <a:gd name="T3" fmla="*/ 3431 h 4501"/>
              <a:gd name="T4" fmla="*/ 4149 w 4209"/>
              <a:gd name="T5" fmla="*/ 3318 h 4501"/>
              <a:gd name="T6" fmla="*/ 4062 w 4209"/>
              <a:gd name="T7" fmla="*/ 3059 h 4501"/>
              <a:gd name="T8" fmla="*/ 2004 w 4209"/>
              <a:gd name="T9" fmla="*/ 1423 h 4501"/>
              <a:gd name="T10" fmla="*/ 514 w 4209"/>
              <a:gd name="T11" fmla="*/ 243 h 4501"/>
              <a:gd name="T12" fmla="*/ 392 w 4209"/>
              <a:gd name="T13" fmla="*/ 144 h 4501"/>
              <a:gd name="T14" fmla="*/ 323 w 4209"/>
              <a:gd name="T15" fmla="*/ 31 h 4501"/>
              <a:gd name="T16" fmla="*/ 48 w 4209"/>
              <a:gd name="T17" fmla="*/ 337 h 4501"/>
              <a:gd name="T18" fmla="*/ 55 w 4209"/>
              <a:gd name="T19" fmla="*/ 1297 h 4501"/>
              <a:gd name="T20" fmla="*/ 194 w 4209"/>
              <a:gd name="T21" fmla="*/ 1450 h 4501"/>
              <a:gd name="T22" fmla="*/ 182 w 4209"/>
              <a:gd name="T23" fmla="*/ 1074 h 4501"/>
              <a:gd name="T24" fmla="*/ 284 w 4209"/>
              <a:gd name="T25" fmla="*/ 241 h 4501"/>
              <a:gd name="T26" fmla="*/ 406 w 4209"/>
              <a:gd name="T27" fmla="*/ 343 h 4501"/>
              <a:gd name="T28" fmla="*/ 471 w 4209"/>
              <a:gd name="T29" fmla="*/ 407 h 4501"/>
              <a:gd name="T30" fmla="*/ 1866 w 4209"/>
              <a:gd name="T31" fmla="*/ 1695 h 4501"/>
              <a:gd name="T32" fmla="*/ 1942 w 4209"/>
              <a:gd name="T33" fmla="*/ 1912 h 4501"/>
              <a:gd name="T34" fmla="*/ 2134 w 4209"/>
              <a:gd name="T35" fmla="*/ 2266 h 4501"/>
              <a:gd name="T36" fmla="*/ 2172 w 4209"/>
              <a:gd name="T37" fmla="*/ 2393 h 4501"/>
              <a:gd name="T38" fmla="*/ 1945 w 4209"/>
              <a:gd name="T39" fmla="*/ 2623 h 4501"/>
              <a:gd name="T40" fmla="*/ 1811 w 4209"/>
              <a:gd name="T41" fmla="*/ 3431 h 4501"/>
              <a:gd name="T42" fmla="*/ 1811 w 4209"/>
              <a:gd name="T43" fmla="*/ 3534 h 4501"/>
              <a:gd name="T44" fmla="*/ 1353 w 4209"/>
              <a:gd name="T45" fmla="*/ 3602 h 4501"/>
              <a:gd name="T46" fmla="*/ 1353 w 4209"/>
              <a:gd name="T47" fmla="*/ 3602 h 4501"/>
              <a:gd name="T48" fmla="*/ 792 w 4209"/>
              <a:gd name="T49" fmla="*/ 2767 h 4501"/>
              <a:gd name="T50" fmla="*/ 413 w 4209"/>
              <a:gd name="T51" fmla="*/ 3396 h 4501"/>
              <a:gd name="T52" fmla="*/ 381 w 4209"/>
              <a:gd name="T53" fmla="*/ 3602 h 4501"/>
              <a:gd name="T54" fmla="*/ 501 w 4209"/>
              <a:gd name="T55" fmla="*/ 4237 h 4501"/>
              <a:gd name="T56" fmla="*/ 865 w 4209"/>
              <a:gd name="T57" fmla="*/ 4161 h 4501"/>
              <a:gd name="T58" fmla="*/ 1536 w 4209"/>
              <a:gd name="T59" fmla="*/ 4165 h 4501"/>
              <a:gd name="T60" fmla="*/ 1648 w 4209"/>
              <a:gd name="T61" fmla="*/ 4165 h 4501"/>
              <a:gd name="T62" fmla="*/ 2318 w 4209"/>
              <a:gd name="T63" fmla="*/ 4161 h 4501"/>
              <a:gd name="T64" fmla="*/ 2973 w 4209"/>
              <a:gd name="T65" fmla="*/ 4501 h 4501"/>
              <a:gd name="T66" fmla="*/ 3394 w 4209"/>
              <a:gd name="T67" fmla="*/ 4161 h 4501"/>
              <a:gd name="T68" fmla="*/ 4064 w 4209"/>
              <a:gd name="T69" fmla="*/ 4165 h 4501"/>
              <a:gd name="T70" fmla="*/ 4207 w 4209"/>
              <a:gd name="T71" fmla="*/ 4078 h 4501"/>
              <a:gd name="T72" fmla="*/ 4208 w 4209"/>
              <a:gd name="T73" fmla="*/ 3725 h 4501"/>
              <a:gd name="T74" fmla="*/ 4209 w 4209"/>
              <a:gd name="T75" fmla="*/ 3682 h 4501"/>
              <a:gd name="T76" fmla="*/ 3809 w 4209"/>
              <a:gd name="T77" fmla="*/ 3602 h 4501"/>
              <a:gd name="T78" fmla="*/ 4149 w 4209"/>
              <a:gd name="T79" fmla="*/ 3512 h 4501"/>
              <a:gd name="T80" fmla="*/ 111 w 4209"/>
              <a:gd name="T81" fmla="*/ 1493 h 4501"/>
              <a:gd name="T82" fmla="*/ 142 w 4209"/>
              <a:gd name="T83" fmla="*/ 1434 h 4501"/>
              <a:gd name="T84" fmla="*/ 2282 w 4209"/>
              <a:gd name="T85" fmla="*/ 2348 h 4501"/>
              <a:gd name="T86" fmla="*/ 2060 w 4209"/>
              <a:gd name="T87" fmla="*/ 1872 h 4501"/>
              <a:gd name="T88" fmla="*/ 3406 w 4209"/>
              <a:gd name="T89" fmla="*/ 3056 h 4501"/>
              <a:gd name="T90" fmla="*/ 3155 w 4209"/>
              <a:gd name="T91" fmla="*/ 2916 h 4501"/>
              <a:gd name="T92" fmla="*/ 2790 w 4209"/>
              <a:gd name="T93" fmla="*/ 2916 h 4501"/>
              <a:gd name="T94" fmla="*/ 2347 w 4209"/>
              <a:gd name="T95" fmla="*/ 2547 h 4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209" h="4501">
                <a:moveTo>
                  <a:pt x="2313" y="3431"/>
                </a:moveTo>
                <a:cubicBezTo>
                  <a:pt x="2313" y="3431"/>
                  <a:pt x="2313" y="3431"/>
                  <a:pt x="2313" y="3431"/>
                </a:cubicBezTo>
                <a:cubicBezTo>
                  <a:pt x="2353" y="3431"/>
                  <a:pt x="2353" y="3431"/>
                  <a:pt x="2353" y="3431"/>
                </a:cubicBezTo>
                <a:cubicBezTo>
                  <a:pt x="2355" y="3431"/>
                  <a:pt x="2355" y="3431"/>
                  <a:pt x="2355" y="3431"/>
                </a:cubicBezTo>
                <a:cubicBezTo>
                  <a:pt x="2656" y="3431"/>
                  <a:pt x="2656" y="3431"/>
                  <a:pt x="2656" y="3431"/>
                </a:cubicBezTo>
                <a:cubicBezTo>
                  <a:pt x="3406" y="3431"/>
                  <a:pt x="3406" y="3431"/>
                  <a:pt x="3406" y="3431"/>
                </a:cubicBezTo>
                <a:cubicBezTo>
                  <a:pt x="4037" y="3431"/>
                  <a:pt x="4037" y="3431"/>
                  <a:pt x="4037" y="3431"/>
                </a:cubicBezTo>
                <a:cubicBezTo>
                  <a:pt x="4062" y="3431"/>
                  <a:pt x="4085" y="3422"/>
                  <a:pt x="4104" y="3408"/>
                </a:cubicBezTo>
                <a:cubicBezTo>
                  <a:pt x="4131" y="3388"/>
                  <a:pt x="4149" y="3355"/>
                  <a:pt x="4149" y="3318"/>
                </a:cubicBezTo>
                <a:cubicBezTo>
                  <a:pt x="4149" y="3245"/>
                  <a:pt x="4149" y="3245"/>
                  <a:pt x="4149" y="3245"/>
                </a:cubicBezTo>
                <a:cubicBezTo>
                  <a:pt x="4149" y="3168"/>
                  <a:pt x="4149" y="3168"/>
                  <a:pt x="4149" y="3168"/>
                </a:cubicBezTo>
                <a:cubicBezTo>
                  <a:pt x="4149" y="3115"/>
                  <a:pt x="4112" y="3071"/>
                  <a:pt x="4062" y="3059"/>
                </a:cubicBezTo>
                <a:cubicBezTo>
                  <a:pt x="4059" y="3055"/>
                  <a:pt x="4055" y="3052"/>
                  <a:pt x="4051" y="3048"/>
                </a:cubicBezTo>
                <a:cubicBezTo>
                  <a:pt x="2110" y="1422"/>
                  <a:pt x="2110" y="1422"/>
                  <a:pt x="2110" y="1422"/>
                </a:cubicBezTo>
                <a:cubicBezTo>
                  <a:pt x="2079" y="1396"/>
                  <a:pt x="2034" y="1397"/>
                  <a:pt x="2004" y="1423"/>
                </a:cubicBezTo>
                <a:cubicBezTo>
                  <a:pt x="652" y="307"/>
                  <a:pt x="652" y="307"/>
                  <a:pt x="652" y="307"/>
                </a:cubicBezTo>
                <a:cubicBezTo>
                  <a:pt x="627" y="287"/>
                  <a:pt x="595" y="282"/>
                  <a:pt x="575" y="292"/>
                </a:cubicBezTo>
                <a:cubicBezTo>
                  <a:pt x="514" y="243"/>
                  <a:pt x="514" y="243"/>
                  <a:pt x="514" y="243"/>
                </a:cubicBezTo>
                <a:cubicBezTo>
                  <a:pt x="474" y="211"/>
                  <a:pt x="474" y="211"/>
                  <a:pt x="474" y="211"/>
                </a:cubicBezTo>
                <a:cubicBezTo>
                  <a:pt x="433" y="178"/>
                  <a:pt x="433" y="178"/>
                  <a:pt x="433" y="178"/>
                </a:cubicBezTo>
                <a:cubicBezTo>
                  <a:pt x="392" y="144"/>
                  <a:pt x="392" y="144"/>
                  <a:pt x="392" y="144"/>
                </a:cubicBezTo>
                <a:cubicBezTo>
                  <a:pt x="352" y="112"/>
                  <a:pt x="352" y="112"/>
                  <a:pt x="352" y="112"/>
                </a:cubicBezTo>
                <a:cubicBezTo>
                  <a:pt x="349" y="110"/>
                  <a:pt x="349" y="110"/>
                  <a:pt x="349" y="110"/>
                </a:cubicBezTo>
                <a:cubicBezTo>
                  <a:pt x="355" y="80"/>
                  <a:pt x="346" y="50"/>
                  <a:pt x="323" y="31"/>
                </a:cubicBezTo>
                <a:cubicBezTo>
                  <a:pt x="289" y="0"/>
                  <a:pt x="235" y="7"/>
                  <a:pt x="203" y="45"/>
                </a:cubicBezTo>
                <a:cubicBezTo>
                  <a:pt x="54" y="224"/>
                  <a:pt x="54" y="224"/>
                  <a:pt x="54" y="224"/>
                </a:cubicBezTo>
                <a:cubicBezTo>
                  <a:pt x="26" y="258"/>
                  <a:pt x="24" y="305"/>
                  <a:pt x="48" y="337"/>
                </a:cubicBezTo>
                <a:cubicBezTo>
                  <a:pt x="48" y="1074"/>
                  <a:pt x="48" y="1074"/>
                  <a:pt x="48" y="1074"/>
                </a:cubicBezTo>
                <a:cubicBezTo>
                  <a:pt x="21" y="1102"/>
                  <a:pt x="0" y="1149"/>
                  <a:pt x="0" y="1208"/>
                </a:cubicBezTo>
                <a:cubicBezTo>
                  <a:pt x="0" y="1264"/>
                  <a:pt x="26" y="1287"/>
                  <a:pt x="55" y="1297"/>
                </a:cubicBezTo>
                <a:cubicBezTo>
                  <a:pt x="41" y="1328"/>
                  <a:pt x="30" y="1376"/>
                  <a:pt x="30" y="1450"/>
                </a:cubicBezTo>
                <a:cubicBezTo>
                  <a:pt x="30" y="1505"/>
                  <a:pt x="77" y="1532"/>
                  <a:pt x="115" y="1532"/>
                </a:cubicBezTo>
                <a:cubicBezTo>
                  <a:pt x="151" y="1532"/>
                  <a:pt x="194" y="1505"/>
                  <a:pt x="194" y="1450"/>
                </a:cubicBezTo>
                <a:cubicBezTo>
                  <a:pt x="194" y="1377"/>
                  <a:pt x="184" y="1330"/>
                  <a:pt x="172" y="1298"/>
                </a:cubicBezTo>
                <a:cubicBezTo>
                  <a:pt x="202" y="1289"/>
                  <a:pt x="230" y="1266"/>
                  <a:pt x="230" y="1208"/>
                </a:cubicBezTo>
                <a:cubicBezTo>
                  <a:pt x="230" y="1149"/>
                  <a:pt x="210" y="1102"/>
                  <a:pt x="182" y="1074"/>
                </a:cubicBezTo>
                <a:cubicBezTo>
                  <a:pt x="182" y="331"/>
                  <a:pt x="182" y="331"/>
                  <a:pt x="182" y="331"/>
                </a:cubicBezTo>
                <a:cubicBezTo>
                  <a:pt x="268" y="228"/>
                  <a:pt x="268" y="228"/>
                  <a:pt x="268" y="228"/>
                </a:cubicBezTo>
                <a:cubicBezTo>
                  <a:pt x="284" y="241"/>
                  <a:pt x="284" y="241"/>
                  <a:pt x="284" y="241"/>
                </a:cubicBezTo>
                <a:cubicBezTo>
                  <a:pt x="325" y="276"/>
                  <a:pt x="325" y="276"/>
                  <a:pt x="325" y="276"/>
                </a:cubicBezTo>
                <a:cubicBezTo>
                  <a:pt x="365" y="309"/>
                  <a:pt x="365" y="309"/>
                  <a:pt x="365" y="309"/>
                </a:cubicBezTo>
                <a:cubicBezTo>
                  <a:pt x="406" y="343"/>
                  <a:pt x="406" y="343"/>
                  <a:pt x="406" y="343"/>
                </a:cubicBezTo>
                <a:cubicBezTo>
                  <a:pt x="445" y="376"/>
                  <a:pt x="445" y="376"/>
                  <a:pt x="445" y="376"/>
                </a:cubicBezTo>
                <a:cubicBezTo>
                  <a:pt x="476" y="401"/>
                  <a:pt x="476" y="401"/>
                  <a:pt x="476" y="401"/>
                </a:cubicBezTo>
                <a:cubicBezTo>
                  <a:pt x="471" y="407"/>
                  <a:pt x="471" y="407"/>
                  <a:pt x="471" y="407"/>
                </a:cubicBezTo>
                <a:cubicBezTo>
                  <a:pt x="453" y="427"/>
                  <a:pt x="462" y="463"/>
                  <a:pt x="491" y="486"/>
                </a:cubicBezTo>
                <a:cubicBezTo>
                  <a:pt x="1850" y="1600"/>
                  <a:pt x="1850" y="1600"/>
                  <a:pt x="1850" y="1600"/>
                </a:cubicBezTo>
                <a:cubicBezTo>
                  <a:pt x="1830" y="1630"/>
                  <a:pt x="1836" y="1671"/>
                  <a:pt x="1866" y="1695"/>
                </a:cubicBezTo>
                <a:cubicBezTo>
                  <a:pt x="1969" y="1781"/>
                  <a:pt x="1969" y="1781"/>
                  <a:pt x="1969" y="1781"/>
                </a:cubicBezTo>
                <a:cubicBezTo>
                  <a:pt x="1935" y="1821"/>
                  <a:pt x="1935" y="1821"/>
                  <a:pt x="1935" y="1821"/>
                </a:cubicBezTo>
                <a:cubicBezTo>
                  <a:pt x="1912" y="1848"/>
                  <a:pt x="1915" y="1889"/>
                  <a:pt x="1942" y="1912"/>
                </a:cubicBezTo>
                <a:cubicBezTo>
                  <a:pt x="1942" y="1912"/>
                  <a:pt x="1942" y="1912"/>
                  <a:pt x="1942" y="1912"/>
                </a:cubicBezTo>
                <a:cubicBezTo>
                  <a:pt x="1957" y="1925"/>
                  <a:pt x="1977" y="1929"/>
                  <a:pt x="1996" y="1926"/>
                </a:cubicBezTo>
                <a:cubicBezTo>
                  <a:pt x="2134" y="2266"/>
                  <a:pt x="2134" y="2266"/>
                  <a:pt x="2134" y="2266"/>
                </a:cubicBezTo>
                <a:cubicBezTo>
                  <a:pt x="2109" y="2276"/>
                  <a:pt x="2109" y="2276"/>
                  <a:pt x="2109" y="2276"/>
                </a:cubicBezTo>
                <a:cubicBezTo>
                  <a:pt x="2158" y="2398"/>
                  <a:pt x="2158" y="2398"/>
                  <a:pt x="2158" y="2398"/>
                </a:cubicBezTo>
                <a:cubicBezTo>
                  <a:pt x="2172" y="2393"/>
                  <a:pt x="2172" y="2393"/>
                  <a:pt x="2172" y="2393"/>
                </a:cubicBezTo>
                <a:cubicBezTo>
                  <a:pt x="2234" y="2547"/>
                  <a:pt x="2234" y="2547"/>
                  <a:pt x="2234" y="2547"/>
                </a:cubicBezTo>
                <a:cubicBezTo>
                  <a:pt x="2055" y="2547"/>
                  <a:pt x="2055" y="2547"/>
                  <a:pt x="2055" y="2547"/>
                </a:cubicBezTo>
                <a:cubicBezTo>
                  <a:pt x="2006" y="2547"/>
                  <a:pt x="1962" y="2577"/>
                  <a:pt x="1945" y="2623"/>
                </a:cubicBezTo>
                <a:cubicBezTo>
                  <a:pt x="1904" y="2738"/>
                  <a:pt x="1831" y="2978"/>
                  <a:pt x="1801" y="3303"/>
                </a:cubicBezTo>
                <a:cubicBezTo>
                  <a:pt x="1794" y="3372"/>
                  <a:pt x="1848" y="3431"/>
                  <a:pt x="1917" y="3431"/>
                </a:cubicBezTo>
                <a:cubicBezTo>
                  <a:pt x="1811" y="3431"/>
                  <a:pt x="1811" y="3431"/>
                  <a:pt x="1811" y="3431"/>
                </a:cubicBezTo>
                <a:cubicBezTo>
                  <a:pt x="1799" y="3431"/>
                  <a:pt x="1790" y="3440"/>
                  <a:pt x="1790" y="3452"/>
                </a:cubicBezTo>
                <a:cubicBezTo>
                  <a:pt x="1790" y="3512"/>
                  <a:pt x="1790" y="3512"/>
                  <a:pt x="1790" y="3512"/>
                </a:cubicBezTo>
                <a:cubicBezTo>
                  <a:pt x="1790" y="3524"/>
                  <a:pt x="1799" y="3534"/>
                  <a:pt x="1811" y="3534"/>
                </a:cubicBezTo>
                <a:cubicBezTo>
                  <a:pt x="1937" y="3534"/>
                  <a:pt x="1937" y="3534"/>
                  <a:pt x="1937" y="3534"/>
                </a:cubicBezTo>
                <a:cubicBezTo>
                  <a:pt x="1937" y="3602"/>
                  <a:pt x="1937" y="3602"/>
                  <a:pt x="1937" y="3602"/>
                </a:cubicBezTo>
                <a:cubicBezTo>
                  <a:pt x="1353" y="3602"/>
                  <a:pt x="1353" y="3602"/>
                  <a:pt x="1353" y="3602"/>
                </a:cubicBezTo>
                <a:cubicBezTo>
                  <a:pt x="1353" y="3635"/>
                  <a:pt x="1353" y="3635"/>
                  <a:pt x="1353" y="3635"/>
                </a:cubicBezTo>
                <a:cubicBezTo>
                  <a:pt x="1353" y="3635"/>
                  <a:pt x="1353" y="3635"/>
                  <a:pt x="1353" y="3635"/>
                </a:cubicBezTo>
                <a:cubicBezTo>
                  <a:pt x="1353" y="3602"/>
                  <a:pt x="1353" y="3602"/>
                  <a:pt x="1353" y="3602"/>
                </a:cubicBezTo>
                <a:cubicBezTo>
                  <a:pt x="1353" y="2848"/>
                  <a:pt x="1353" y="2848"/>
                  <a:pt x="1353" y="2848"/>
                </a:cubicBezTo>
                <a:cubicBezTo>
                  <a:pt x="1353" y="2803"/>
                  <a:pt x="1316" y="2767"/>
                  <a:pt x="1271" y="2767"/>
                </a:cubicBezTo>
                <a:cubicBezTo>
                  <a:pt x="792" y="2767"/>
                  <a:pt x="792" y="2767"/>
                  <a:pt x="792" y="2767"/>
                </a:cubicBezTo>
                <a:cubicBezTo>
                  <a:pt x="752" y="2767"/>
                  <a:pt x="715" y="2787"/>
                  <a:pt x="692" y="2820"/>
                </a:cubicBezTo>
                <a:cubicBezTo>
                  <a:pt x="655" y="2898"/>
                  <a:pt x="655" y="2898"/>
                  <a:pt x="655" y="2898"/>
                </a:cubicBezTo>
                <a:cubicBezTo>
                  <a:pt x="413" y="3396"/>
                  <a:pt x="413" y="3396"/>
                  <a:pt x="413" y="3396"/>
                </a:cubicBezTo>
                <a:cubicBezTo>
                  <a:pt x="402" y="3420"/>
                  <a:pt x="402" y="3420"/>
                  <a:pt x="402" y="3420"/>
                </a:cubicBezTo>
                <a:cubicBezTo>
                  <a:pt x="388" y="3440"/>
                  <a:pt x="381" y="3463"/>
                  <a:pt x="381" y="3487"/>
                </a:cubicBezTo>
                <a:cubicBezTo>
                  <a:pt x="381" y="3602"/>
                  <a:pt x="381" y="3602"/>
                  <a:pt x="381" y="3602"/>
                </a:cubicBezTo>
                <a:cubicBezTo>
                  <a:pt x="381" y="4005"/>
                  <a:pt x="381" y="4005"/>
                  <a:pt x="381" y="4005"/>
                </a:cubicBezTo>
                <a:cubicBezTo>
                  <a:pt x="381" y="4117"/>
                  <a:pt x="381" y="4117"/>
                  <a:pt x="381" y="4117"/>
                </a:cubicBezTo>
                <a:cubicBezTo>
                  <a:pt x="381" y="4184"/>
                  <a:pt x="435" y="4237"/>
                  <a:pt x="501" y="4237"/>
                </a:cubicBezTo>
                <a:cubicBezTo>
                  <a:pt x="730" y="4237"/>
                  <a:pt x="730" y="4237"/>
                  <a:pt x="730" y="4237"/>
                </a:cubicBezTo>
                <a:cubicBezTo>
                  <a:pt x="730" y="4211"/>
                  <a:pt x="731" y="4186"/>
                  <a:pt x="735" y="4161"/>
                </a:cubicBezTo>
                <a:cubicBezTo>
                  <a:pt x="865" y="4161"/>
                  <a:pt x="865" y="4161"/>
                  <a:pt x="865" y="4161"/>
                </a:cubicBezTo>
                <a:cubicBezTo>
                  <a:pt x="865" y="4162"/>
                  <a:pt x="865" y="4164"/>
                  <a:pt x="865" y="4165"/>
                </a:cubicBezTo>
                <a:cubicBezTo>
                  <a:pt x="865" y="4350"/>
                  <a:pt x="1015" y="4501"/>
                  <a:pt x="1200" y="4501"/>
                </a:cubicBezTo>
                <a:cubicBezTo>
                  <a:pt x="1385" y="4501"/>
                  <a:pt x="1536" y="4350"/>
                  <a:pt x="1536" y="4165"/>
                </a:cubicBezTo>
                <a:cubicBezTo>
                  <a:pt x="1536" y="4164"/>
                  <a:pt x="1535" y="4162"/>
                  <a:pt x="1535" y="4161"/>
                </a:cubicBezTo>
                <a:cubicBezTo>
                  <a:pt x="1648" y="4161"/>
                  <a:pt x="1648" y="4161"/>
                  <a:pt x="1648" y="4161"/>
                </a:cubicBezTo>
                <a:cubicBezTo>
                  <a:pt x="1648" y="4162"/>
                  <a:pt x="1648" y="4164"/>
                  <a:pt x="1648" y="4165"/>
                </a:cubicBezTo>
                <a:cubicBezTo>
                  <a:pt x="1648" y="4350"/>
                  <a:pt x="1798" y="4501"/>
                  <a:pt x="1983" y="4501"/>
                </a:cubicBezTo>
                <a:cubicBezTo>
                  <a:pt x="2168" y="4501"/>
                  <a:pt x="2318" y="4350"/>
                  <a:pt x="2318" y="4165"/>
                </a:cubicBezTo>
                <a:cubicBezTo>
                  <a:pt x="2318" y="4164"/>
                  <a:pt x="2318" y="4162"/>
                  <a:pt x="2318" y="4161"/>
                </a:cubicBezTo>
                <a:cubicBezTo>
                  <a:pt x="2638" y="4161"/>
                  <a:pt x="2638" y="4161"/>
                  <a:pt x="2638" y="4161"/>
                </a:cubicBezTo>
                <a:cubicBezTo>
                  <a:pt x="2638" y="4162"/>
                  <a:pt x="2638" y="4164"/>
                  <a:pt x="2638" y="4165"/>
                </a:cubicBezTo>
                <a:cubicBezTo>
                  <a:pt x="2638" y="4350"/>
                  <a:pt x="2788" y="4501"/>
                  <a:pt x="2973" y="4501"/>
                </a:cubicBezTo>
                <a:cubicBezTo>
                  <a:pt x="3158" y="4501"/>
                  <a:pt x="3308" y="4350"/>
                  <a:pt x="3308" y="4165"/>
                </a:cubicBezTo>
                <a:cubicBezTo>
                  <a:pt x="3308" y="4164"/>
                  <a:pt x="3308" y="4162"/>
                  <a:pt x="3308" y="4161"/>
                </a:cubicBezTo>
                <a:cubicBezTo>
                  <a:pt x="3394" y="4161"/>
                  <a:pt x="3394" y="4161"/>
                  <a:pt x="3394" y="4161"/>
                </a:cubicBezTo>
                <a:cubicBezTo>
                  <a:pt x="3393" y="4162"/>
                  <a:pt x="3393" y="4164"/>
                  <a:pt x="3393" y="4165"/>
                </a:cubicBezTo>
                <a:cubicBezTo>
                  <a:pt x="3393" y="4350"/>
                  <a:pt x="3543" y="4501"/>
                  <a:pt x="3729" y="4501"/>
                </a:cubicBezTo>
                <a:cubicBezTo>
                  <a:pt x="3914" y="4501"/>
                  <a:pt x="4064" y="4350"/>
                  <a:pt x="4064" y="4165"/>
                </a:cubicBezTo>
                <a:cubicBezTo>
                  <a:pt x="4064" y="4164"/>
                  <a:pt x="4064" y="4162"/>
                  <a:pt x="4064" y="4161"/>
                </a:cubicBezTo>
                <a:cubicBezTo>
                  <a:pt x="4104" y="4161"/>
                  <a:pt x="4104" y="4161"/>
                  <a:pt x="4104" y="4161"/>
                </a:cubicBezTo>
                <a:cubicBezTo>
                  <a:pt x="4155" y="4161"/>
                  <a:pt x="4197" y="4125"/>
                  <a:pt x="4207" y="4078"/>
                </a:cubicBezTo>
                <a:cubicBezTo>
                  <a:pt x="4208" y="4070"/>
                  <a:pt x="4209" y="4063"/>
                  <a:pt x="4209" y="4055"/>
                </a:cubicBezTo>
                <a:cubicBezTo>
                  <a:pt x="4209" y="3740"/>
                  <a:pt x="4209" y="3740"/>
                  <a:pt x="4209" y="3740"/>
                </a:cubicBezTo>
                <a:cubicBezTo>
                  <a:pt x="4209" y="3735"/>
                  <a:pt x="4209" y="3730"/>
                  <a:pt x="4208" y="3725"/>
                </a:cubicBezTo>
                <a:cubicBezTo>
                  <a:pt x="4209" y="3725"/>
                  <a:pt x="4209" y="3725"/>
                  <a:pt x="4209" y="3725"/>
                </a:cubicBezTo>
                <a:cubicBezTo>
                  <a:pt x="4209" y="3682"/>
                  <a:pt x="4209" y="3682"/>
                  <a:pt x="4209" y="3682"/>
                </a:cubicBezTo>
                <a:cubicBezTo>
                  <a:pt x="4209" y="3682"/>
                  <a:pt x="4209" y="3682"/>
                  <a:pt x="4209" y="3682"/>
                </a:cubicBezTo>
                <a:cubicBezTo>
                  <a:pt x="4209" y="3645"/>
                  <a:pt x="4209" y="3645"/>
                  <a:pt x="4209" y="3645"/>
                </a:cubicBezTo>
                <a:cubicBezTo>
                  <a:pt x="4209" y="3621"/>
                  <a:pt x="4190" y="3602"/>
                  <a:pt x="4166" y="3602"/>
                </a:cubicBezTo>
                <a:cubicBezTo>
                  <a:pt x="3809" y="3602"/>
                  <a:pt x="3809" y="3602"/>
                  <a:pt x="3809" y="3602"/>
                </a:cubicBezTo>
                <a:cubicBezTo>
                  <a:pt x="3809" y="3534"/>
                  <a:pt x="3809" y="3534"/>
                  <a:pt x="3809" y="3534"/>
                </a:cubicBezTo>
                <a:cubicBezTo>
                  <a:pt x="4128" y="3534"/>
                  <a:pt x="4128" y="3534"/>
                  <a:pt x="4128" y="3534"/>
                </a:cubicBezTo>
                <a:cubicBezTo>
                  <a:pt x="4139" y="3534"/>
                  <a:pt x="4149" y="3524"/>
                  <a:pt x="4149" y="3512"/>
                </a:cubicBezTo>
                <a:cubicBezTo>
                  <a:pt x="4149" y="3452"/>
                  <a:pt x="4149" y="3452"/>
                  <a:pt x="4149" y="3452"/>
                </a:cubicBezTo>
                <a:cubicBezTo>
                  <a:pt x="4149" y="3440"/>
                  <a:pt x="4139" y="3431"/>
                  <a:pt x="4128" y="3431"/>
                </a:cubicBezTo>
                <a:moveTo>
                  <a:pt x="111" y="1493"/>
                </a:moveTo>
                <a:cubicBezTo>
                  <a:pt x="94" y="1493"/>
                  <a:pt x="80" y="1474"/>
                  <a:pt x="80" y="1434"/>
                </a:cubicBezTo>
                <a:cubicBezTo>
                  <a:pt x="80" y="1405"/>
                  <a:pt x="94" y="1383"/>
                  <a:pt x="111" y="1383"/>
                </a:cubicBezTo>
                <a:cubicBezTo>
                  <a:pt x="128" y="1383"/>
                  <a:pt x="142" y="1405"/>
                  <a:pt x="142" y="1434"/>
                </a:cubicBezTo>
                <a:cubicBezTo>
                  <a:pt x="142" y="1473"/>
                  <a:pt x="128" y="1493"/>
                  <a:pt x="111" y="1493"/>
                </a:cubicBezTo>
                <a:close/>
                <a:moveTo>
                  <a:pt x="2269" y="2353"/>
                </a:moveTo>
                <a:cubicBezTo>
                  <a:pt x="2282" y="2348"/>
                  <a:pt x="2282" y="2348"/>
                  <a:pt x="2282" y="2348"/>
                </a:cubicBezTo>
                <a:cubicBezTo>
                  <a:pt x="2232" y="2226"/>
                  <a:pt x="2232" y="2226"/>
                  <a:pt x="2232" y="2226"/>
                </a:cubicBezTo>
                <a:cubicBezTo>
                  <a:pt x="2208" y="2236"/>
                  <a:pt x="2208" y="2236"/>
                  <a:pt x="2208" y="2236"/>
                </a:cubicBezTo>
                <a:cubicBezTo>
                  <a:pt x="2060" y="1872"/>
                  <a:pt x="2060" y="1872"/>
                  <a:pt x="2060" y="1872"/>
                </a:cubicBezTo>
                <a:cubicBezTo>
                  <a:pt x="2068" y="1863"/>
                  <a:pt x="2068" y="1863"/>
                  <a:pt x="2068" y="1863"/>
                </a:cubicBezTo>
                <a:cubicBezTo>
                  <a:pt x="3506" y="3056"/>
                  <a:pt x="3506" y="3056"/>
                  <a:pt x="3506" y="3056"/>
                </a:cubicBezTo>
                <a:cubicBezTo>
                  <a:pt x="3406" y="3056"/>
                  <a:pt x="3406" y="3056"/>
                  <a:pt x="3406" y="3056"/>
                </a:cubicBezTo>
                <a:cubicBezTo>
                  <a:pt x="3228" y="3056"/>
                  <a:pt x="3228" y="3056"/>
                  <a:pt x="3228" y="3056"/>
                </a:cubicBezTo>
                <a:cubicBezTo>
                  <a:pt x="3228" y="2989"/>
                  <a:pt x="3228" y="2989"/>
                  <a:pt x="3228" y="2989"/>
                </a:cubicBezTo>
                <a:cubicBezTo>
                  <a:pt x="3228" y="2949"/>
                  <a:pt x="3196" y="2916"/>
                  <a:pt x="3155" y="2916"/>
                </a:cubicBezTo>
                <a:cubicBezTo>
                  <a:pt x="2855" y="2916"/>
                  <a:pt x="2855" y="2916"/>
                  <a:pt x="2855" y="2916"/>
                </a:cubicBezTo>
                <a:cubicBezTo>
                  <a:pt x="2845" y="2916"/>
                  <a:pt x="2845" y="2916"/>
                  <a:pt x="2845" y="2916"/>
                </a:cubicBezTo>
                <a:cubicBezTo>
                  <a:pt x="2790" y="2916"/>
                  <a:pt x="2790" y="2916"/>
                  <a:pt x="2790" y="2916"/>
                </a:cubicBezTo>
                <a:cubicBezTo>
                  <a:pt x="2790" y="2663"/>
                  <a:pt x="2790" y="2663"/>
                  <a:pt x="2790" y="2663"/>
                </a:cubicBezTo>
                <a:cubicBezTo>
                  <a:pt x="2790" y="2599"/>
                  <a:pt x="2738" y="2547"/>
                  <a:pt x="2674" y="2547"/>
                </a:cubicBezTo>
                <a:cubicBezTo>
                  <a:pt x="2347" y="2547"/>
                  <a:pt x="2347" y="2547"/>
                  <a:pt x="2347" y="2547"/>
                </a:cubicBezTo>
                <a:lnTo>
                  <a:pt x="2269" y="23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3" name="Freeform 56">
            <a:extLst>
              <a:ext uri="{FF2B5EF4-FFF2-40B4-BE49-F238E27FC236}">
                <a16:creationId xmlns:a16="http://schemas.microsoft.com/office/drawing/2014/main" xmlns="" id="{146AE574-6CC0-4AFB-A91A-F58B6A66EEB6}"/>
              </a:ext>
            </a:extLst>
          </p:cNvPr>
          <p:cNvSpPr>
            <a:spLocks/>
          </p:cNvSpPr>
          <p:nvPr/>
        </p:nvSpPr>
        <p:spPr bwMode="auto">
          <a:xfrm>
            <a:off x="7565875" y="4545974"/>
            <a:ext cx="840636" cy="306531"/>
          </a:xfrm>
          <a:custGeom>
            <a:avLst/>
            <a:gdLst>
              <a:gd name="T0" fmla="*/ 1719 w 1762"/>
              <a:gd name="T1" fmla="*/ 360 h 641"/>
              <a:gd name="T2" fmla="*/ 1096 w 1762"/>
              <a:gd name="T3" fmla="*/ 368 h 641"/>
              <a:gd name="T4" fmla="*/ 912 w 1762"/>
              <a:gd name="T5" fmla="*/ 134 h 641"/>
              <a:gd name="T6" fmla="*/ 912 w 1762"/>
              <a:gd name="T7" fmla="*/ 132 h 641"/>
              <a:gd name="T8" fmla="*/ 912 w 1762"/>
              <a:gd name="T9" fmla="*/ 113 h 641"/>
              <a:gd name="T10" fmla="*/ 1001 w 1762"/>
              <a:gd name="T11" fmla="*/ 113 h 641"/>
              <a:gd name="T12" fmla="*/ 1013 w 1762"/>
              <a:gd name="T13" fmla="*/ 97 h 641"/>
              <a:gd name="T14" fmla="*/ 1001 w 1762"/>
              <a:gd name="T15" fmla="*/ 81 h 641"/>
              <a:gd name="T16" fmla="*/ 909 w 1762"/>
              <a:gd name="T17" fmla="*/ 81 h 641"/>
              <a:gd name="T18" fmla="*/ 880 w 1762"/>
              <a:gd name="T19" fmla="*/ 0 h 641"/>
              <a:gd name="T20" fmla="*/ 851 w 1762"/>
              <a:gd name="T21" fmla="*/ 81 h 641"/>
              <a:gd name="T22" fmla="*/ 759 w 1762"/>
              <a:gd name="T23" fmla="*/ 81 h 641"/>
              <a:gd name="T24" fmla="*/ 747 w 1762"/>
              <a:gd name="T25" fmla="*/ 97 h 641"/>
              <a:gd name="T26" fmla="*/ 759 w 1762"/>
              <a:gd name="T27" fmla="*/ 113 h 641"/>
              <a:gd name="T28" fmla="*/ 848 w 1762"/>
              <a:gd name="T29" fmla="*/ 113 h 641"/>
              <a:gd name="T30" fmla="*/ 848 w 1762"/>
              <a:gd name="T31" fmla="*/ 132 h 641"/>
              <a:gd name="T32" fmla="*/ 848 w 1762"/>
              <a:gd name="T33" fmla="*/ 134 h 641"/>
              <a:gd name="T34" fmla="*/ 664 w 1762"/>
              <a:gd name="T35" fmla="*/ 368 h 641"/>
              <a:gd name="T36" fmla="*/ 42 w 1762"/>
              <a:gd name="T37" fmla="*/ 360 h 641"/>
              <a:gd name="T38" fmla="*/ 0 w 1762"/>
              <a:gd name="T39" fmla="*/ 397 h 641"/>
              <a:gd name="T40" fmla="*/ 42 w 1762"/>
              <a:gd name="T41" fmla="*/ 435 h 641"/>
              <a:gd name="T42" fmla="*/ 271 w 1762"/>
              <a:gd name="T43" fmla="*/ 449 h 641"/>
              <a:gd name="T44" fmla="*/ 271 w 1762"/>
              <a:gd name="T45" fmla="*/ 460 h 641"/>
              <a:gd name="T46" fmla="*/ 245 w 1762"/>
              <a:gd name="T47" fmla="*/ 499 h 641"/>
              <a:gd name="T48" fmla="*/ 287 w 1762"/>
              <a:gd name="T49" fmla="*/ 542 h 641"/>
              <a:gd name="T50" fmla="*/ 330 w 1762"/>
              <a:gd name="T51" fmla="*/ 499 h 641"/>
              <a:gd name="T52" fmla="*/ 303 w 1762"/>
              <a:gd name="T53" fmla="*/ 460 h 641"/>
              <a:gd name="T54" fmla="*/ 303 w 1762"/>
              <a:gd name="T55" fmla="*/ 451 h 641"/>
              <a:gd name="T56" fmla="*/ 426 w 1762"/>
              <a:gd name="T57" fmla="*/ 458 h 641"/>
              <a:gd name="T58" fmla="*/ 426 w 1762"/>
              <a:gd name="T59" fmla="*/ 468 h 641"/>
              <a:gd name="T60" fmla="*/ 395 w 1762"/>
              <a:gd name="T61" fmla="*/ 512 h 641"/>
              <a:gd name="T62" fmla="*/ 442 w 1762"/>
              <a:gd name="T63" fmla="*/ 559 h 641"/>
              <a:gd name="T64" fmla="*/ 489 w 1762"/>
              <a:gd name="T65" fmla="*/ 512 h 641"/>
              <a:gd name="T66" fmla="*/ 458 w 1762"/>
              <a:gd name="T67" fmla="*/ 468 h 641"/>
              <a:gd name="T68" fmla="*/ 458 w 1762"/>
              <a:gd name="T69" fmla="*/ 460 h 641"/>
              <a:gd name="T70" fmla="*/ 660 w 1762"/>
              <a:gd name="T71" fmla="*/ 473 h 641"/>
              <a:gd name="T72" fmla="*/ 880 w 1762"/>
              <a:gd name="T73" fmla="*/ 641 h 641"/>
              <a:gd name="T74" fmla="*/ 1100 w 1762"/>
              <a:gd name="T75" fmla="*/ 473 h 641"/>
              <a:gd name="T76" fmla="*/ 1304 w 1762"/>
              <a:gd name="T77" fmla="*/ 460 h 641"/>
              <a:gd name="T78" fmla="*/ 1304 w 1762"/>
              <a:gd name="T79" fmla="*/ 468 h 641"/>
              <a:gd name="T80" fmla="*/ 1273 w 1762"/>
              <a:gd name="T81" fmla="*/ 512 h 641"/>
              <a:gd name="T82" fmla="*/ 1320 w 1762"/>
              <a:gd name="T83" fmla="*/ 559 h 641"/>
              <a:gd name="T84" fmla="*/ 1366 w 1762"/>
              <a:gd name="T85" fmla="*/ 512 h 641"/>
              <a:gd name="T86" fmla="*/ 1336 w 1762"/>
              <a:gd name="T87" fmla="*/ 468 h 641"/>
              <a:gd name="T88" fmla="*/ 1336 w 1762"/>
              <a:gd name="T89" fmla="*/ 458 h 641"/>
              <a:gd name="T90" fmla="*/ 1458 w 1762"/>
              <a:gd name="T91" fmla="*/ 451 h 641"/>
              <a:gd name="T92" fmla="*/ 1458 w 1762"/>
              <a:gd name="T93" fmla="*/ 460 h 641"/>
              <a:gd name="T94" fmla="*/ 1431 w 1762"/>
              <a:gd name="T95" fmla="*/ 499 h 641"/>
              <a:gd name="T96" fmla="*/ 1474 w 1762"/>
              <a:gd name="T97" fmla="*/ 542 h 641"/>
              <a:gd name="T98" fmla="*/ 1517 w 1762"/>
              <a:gd name="T99" fmla="*/ 499 h 641"/>
              <a:gd name="T100" fmla="*/ 1490 w 1762"/>
              <a:gd name="T101" fmla="*/ 460 h 641"/>
              <a:gd name="T102" fmla="*/ 1490 w 1762"/>
              <a:gd name="T103" fmla="*/ 449 h 641"/>
              <a:gd name="T104" fmla="*/ 1719 w 1762"/>
              <a:gd name="T105" fmla="*/ 435 h 641"/>
              <a:gd name="T106" fmla="*/ 1762 w 1762"/>
              <a:gd name="T107" fmla="*/ 397 h 641"/>
              <a:gd name="T108" fmla="*/ 1719 w 1762"/>
              <a:gd name="T109" fmla="*/ 360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62" h="641">
                <a:moveTo>
                  <a:pt x="1719" y="360"/>
                </a:moveTo>
                <a:cubicBezTo>
                  <a:pt x="1096" y="368"/>
                  <a:pt x="1096" y="368"/>
                  <a:pt x="1096" y="368"/>
                </a:cubicBezTo>
                <a:cubicBezTo>
                  <a:pt x="1070" y="255"/>
                  <a:pt x="987" y="157"/>
                  <a:pt x="912" y="134"/>
                </a:cubicBezTo>
                <a:cubicBezTo>
                  <a:pt x="912" y="133"/>
                  <a:pt x="912" y="133"/>
                  <a:pt x="912" y="132"/>
                </a:cubicBezTo>
                <a:cubicBezTo>
                  <a:pt x="912" y="126"/>
                  <a:pt x="912" y="119"/>
                  <a:pt x="912" y="113"/>
                </a:cubicBezTo>
                <a:cubicBezTo>
                  <a:pt x="1001" y="113"/>
                  <a:pt x="1001" y="113"/>
                  <a:pt x="1001" y="113"/>
                </a:cubicBezTo>
                <a:cubicBezTo>
                  <a:pt x="1008" y="113"/>
                  <a:pt x="1013" y="106"/>
                  <a:pt x="1013" y="97"/>
                </a:cubicBezTo>
                <a:cubicBezTo>
                  <a:pt x="1013" y="88"/>
                  <a:pt x="1008" y="81"/>
                  <a:pt x="1001" y="81"/>
                </a:cubicBezTo>
                <a:cubicBezTo>
                  <a:pt x="909" y="81"/>
                  <a:pt x="909" y="81"/>
                  <a:pt x="909" y="81"/>
                </a:cubicBezTo>
                <a:cubicBezTo>
                  <a:pt x="904" y="37"/>
                  <a:pt x="893" y="0"/>
                  <a:pt x="880" y="0"/>
                </a:cubicBezTo>
                <a:cubicBezTo>
                  <a:pt x="867" y="0"/>
                  <a:pt x="856" y="37"/>
                  <a:pt x="851" y="81"/>
                </a:cubicBezTo>
                <a:cubicBezTo>
                  <a:pt x="759" y="81"/>
                  <a:pt x="759" y="81"/>
                  <a:pt x="759" y="81"/>
                </a:cubicBezTo>
                <a:cubicBezTo>
                  <a:pt x="752" y="81"/>
                  <a:pt x="747" y="88"/>
                  <a:pt x="747" y="97"/>
                </a:cubicBezTo>
                <a:cubicBezTo>
                  <a:pt x="747" y="106"/>
                  <a:pt x="752" y="113"/>
                  <a:pt x="759" y="113"/>
                </a:cubicBezTo>
                <a:cubicBezTo>
                  <a:pt x="848" y="113"/>
                  <a:pt x="848" y="113"/>
                  <a:pt x="848" y="113"/>
                </a:cubicBezTo>
                <a:cubicBezTo>
                  <a:pt x="848" y="119"/>
                  <a:pt x="848" y="126"/>
                  <a:pt x="848" y="132"/>
                </a:cubicBezTo>
                <a:cubicBezTo>
                  <a:pt x="848" y="133"/>
                  <a:pt x="848" y="133"/>
                  <a:pt x="848" y="134"/>
                </a:cubicBezTo>
                <a:cubicBezTo>
                  <a:pt x="773" y="157"/>
                  <a:pt x="690" y="255"/>
                  <a:pt x="664" y="368"/>
                </a:cubicBezTo>
                <a:cubicBezTo>
                  <a:pt x="42" y="360"/>
                  <a:pt x="42" y="360"/>
                  <a:pt x="42" y="360"/>
                </a:cubicBezTo>
                <a:cubicBezTo>
                  <a:pt x="19" y="360"/>
                  <a:pt x="0" y="376"/>
                  <a:pt x="0" y="397"/>
                </a:cubicBezTo>
                <a:cubicBezTo>
                  <a:pt x="0" y="418"/>
                  <a:pt x="19" y="435"/>
                  <a:pt x="42" y="435"/>
                </a:cubicBezTo>
                <a:cubicBezTo>
                  <a:pt x="271" y="449"/>
                  <a:pt x="271" y="449"/>
                  <a:pt x="271" y="449"/>
                </a:cubicBezTo>
                <a:cubicBezTo>
                  <a:pt x="271" y="460"/>
                  <a:pt x="271" y="460"/>
                  <a:pt x="271" y="460"/>
                </a:cubicBezTo>
                <a:cubicBezTo>
                  <a:pt x="256" y="466"/>
                  <a:pt x="245" y="481"/>
                  <a:pt x="245" y="499"/>
                </a:cubicBezTo>
                <a:cubicBezTo>
                  <a:pt x="245" y="523"/>
                  <a:pt x="264" y="542"/>
                  <a:pt x="287" y="542"/>
                </a:cubicBezTo>
                <a:cubicBezTo>
                  <a:pt x="311" y="542"/>
                  <a:pt x="330" y="523"/>
                  <a:pt x="330" y="499"/>
                </a:cubicBezTo>
                <a:cubicBezTo>
                  <a:pt x="330" y="481"/>
                  <a:pt x="319" y="466"/>
                  <a:pt x="303" y="460"/>
                </a:cubicBezTo>
                <a:cubicBezTo>
                  <a:pt x="303" y="451"/>
                  <a:pt x="303" y="451"/>
                  <a:pt x="303" y="451"/>
                </a:cubicBezTo>
                <a:cubicBezTo>
                  <a:pt x="426" y="458"/>
                  <a:pt x="426" y="458"/>
                  <a:pt x="426" y="458"/>
                </a:cubicBezTo>
                <a:cubicBezTo>
                  <a:pt x="426" y="468"/>
                  <a:pt x="426" y="468"/>
                  <a:pt x="426" y="468"/>
                </a:cubicBezTo>
                <a:cubicBezTo>
                  <a:pt x="408" y="474"/>
                  <a:pt x="395" y="492"/>
                  <a:pt x="395" y="512"/>
                </a:cubicBezTo>
                <a:cubicBezTo>
                  <a:pt x="395" y="538"/>
                  <a:pt x="416" y="559"/>
                  <a:pt x="442" y="559"/>
                </a:cubicBezTo>
                <a:cubicBezTo>
                  <a:pt x="468" y="559"/>
                  <a:pt x="489" y="538"/>
                  <a:pt x="489" y="512"/>
                </a:cubicBezTo>
                <a:cubicBezTo>
                  <a:pt x="489" y="492"/>
                  <a:pt x="476" y="474"/>
                  <a:pt x="458" y="468"/>
                </a:cubicBezTo>
                <a:cubicBezTo>
                  <a:pt x="458" y="460"/>
                  <a:pt x="458" y="460"/>
                  <a:pt x="458" y="460"/>
                </a:cubicBezTo>
                <a:cubicBezTo>
                  <a:pt x="660" y="473"/>
                  <a:pt x="660" y="473"/>
                  <a:pt x="660" y="473"/>
                </a:cubicBezTo>
                <a:cubicBezTo>
                  <a:pt x="682" y="575"/>
                  <a:pt x="794" y="641"/>
                  <a:pt x="880" y="641"/>
                </a:cubicBezTo>
                <a:cubicBezTo>
                  <a:pt x="966" y="641"/>
                  <a:pt x="1079" y="578"/>
                  <a:pt x="1100" y="473"/>
                </a:cubicBezTo>
                <a:cubicBezTo>
                  <a:pt x="1304" y="460"/>
                  <a:pt x="1304" y="460"/>
                  <a:pt x="1304" y="460"/>
                </a:cubicBezTo>
                <a:cubicBezTo>
                  <a:pt x="1304" y="468"/>
                  <a:pt x="1304" y="468"/>
                  <a:pt x="1304" y="468"/>
                </a:cubicBezTo>
                <a:cubicBezTo>
                  <a:pt x="1286" y="474"/>
                  <a:pt x="1273" y="492"/>
                  <a:pt x="1273" y="512"/>
                </a:cubicBezTo>
                <a:cubicBezTo>
                  <a:pt x="1273" y="538"/>
                  <a:pt x="1294" y="559"/>
                  <a:pt x="1320" y="559"/>
                </a:cubicBezTo>
                <a:cubicBezTo>
                  <a:pt x="1345" y="559"/>
                  <a:pt x="1366" y="538"/>
                  <a:pt x="1366" y="512"/>
                </a:cubicBezTo>
                <a:cubicBezTo>
                  <a:pt x="1366" y="492"/>
                  <a:pt x="1354" y="474"/>
                  <a:pt x="1336" y="468"/>
                </a:cubicBezTo>
                <a:cubicBezTo>
                  <a:pt x="1336" y="458"/>
                  <a:pt x="1336" y="458"/>
                  <a:pt x="1336" y="458"/>
                </a:cubicBezTo>
                <a:cubicBezTo>
                  <a:pt x="1458" y="451"/>
                  <a:pt x="1458" y="451"/>
                  <a:pt x="1458" y="451"/>
                </a:cubicBezTo>
                <a:cubicBezTo>
                  <a:pt x="1458" y="460"/>
                  <a:pt x="1458" y="460"/>
                  <a:pt x="1458" y="460"/>
                </a:cubicBezTo>
                <a:cubicBezTo>
                  <a:pt x="1442" y="466"/>
                  <a:pt x="1431" y="481"/>
                  <a:pt x="1431" y="499"/>
                </a:cubicBezTo>
                <a:cubicBezTo>
                  <a:pt x="1431" y="523"/>
                  <a:pt x="1450" y="542"/>
                  <a:pt x="1474" y="542"/>
                </a:cubicBezTo>
                <a:cubicBezTo>
                  <a:pt x="1498" y="542"/>
                  <a:pt x="1517" y="523"/>
                  <a:pt x="1517" y="499"/>
                </a:cubicBezTo>
                <a:cubicBezTo>
                  <a:pt x="1517" y="481"/>
                  <a:pt x="1506" y="466"/>
                  <a:pt x="1490" y="460"/>
                </a:cubicBezTo>
                <a:cubicBezTo>
                  <a:pt x="1490" y="449"/>
                  <a:pt x="1490" y="449"/>
                  <a:pt x="1490" y="449"/>
                </a:cubicBezTo>
                <a:cubicBezTo>
                  <a:pt x="1719" y="435"/>
                  <a:pt x="1719" y="435"/>
                  <a:pt x="1719" y="435"/>
                </a:cubicBezTo>
                <a:cubicBezTo>
                  <a:pt x="1743" y="435"/>
                  <a:pt x="1762" y="418"/>
                  <a:pt x="1762" y="397"/>
                </a:cubicBezTo>
                <a:cubicBezTo>
                  <a:pt x="1762" y="376"/>
                  <a:pt x="1743" y="360"/>
                  <a:pt x="1719" y="3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4" name="Freeform 60">
            <a:extLst>
              <a:ext uri="{FF2B5EF4-FFF2-40B4-BE49-F238E27FC236}">
                <a16:creationId xmlns:a16="http://schemas.microsoft.com/office/drawing/2014/main" xmlns="" id="{533289B1-1E98-47B2-883D-F880336CAED7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8555212" y="5201013"/>
            <a:ext cx="191248" cy="280261"/>
          </a:xfrm>
          <a:custGeom>
            <a:avLst/>
            <a:gdLst>
              <a:gd name="T0" fmla="*/ 152 w 1113"/>
              <a:gd name="T1" fmla="*/ 0 h 1633"/>
              <a:gd name="T2" fmla="*/ 57 w 1113"/>
              <a:gd name="T3" fmla="*/ 89 h 1633"/>
              <a:gd name="T4" fmla="*/ 973 w 1113"/>
              <a:gd name="T5" fmla="*/ 89 h 1633"/>
              <a:gd name="T6" fmla="*/ 1027 w 1113"/>
              <a:gd name="T7" fmla="*/ 24 h 1633"/>
              <a:gd name="T8" fmla="*/ 964 w 1113"/>
              <a:gd name="T9" fmla="*/ 0 h 1633"/>
              <a:gd name="T10" fmla="*/ 152 w 1113"/>
              <a:gd name="T11" fmla="*/ 0 h 1633"/>
              <a:gd name="T12" fmla="*/ 839 w 1113"/>
              <a:gd name="T13" fmla="*/ 1313 h 1633"/>
              <a:gd name="T14" fmla="*/ 948 w 1113"/>
              <a:gd name="T15" fmla="*/ 246 h 1633"/>
              <a:gd name="T16" fmla="*/ 67 w 1113"/>
              <a:gd name="T17" fmla="*/ 246 h 1633"/>
              <a:gd name="T18" fmla="*/ 71 w 1113"/>
              <a:gd name="T19" fmla="*/ 309 h 1633"/>
              <a:gd name="T20" fmla="*/ 71 w 1113"/>
              <a:gd name="T21" fmla="*/ 309 h 1633"/>
              <a:gd name="T22" fmla="*/ 67 w 1113"/>
              <a:gd name="T23" fmla="*/ 246 h 1633"/>
              <a:gd name="T24" fmla="*/ 67 w 1113"/>
              <a:gd name="T25" fmla="*/ 246 h 1633"/>
              <a:gd name="T26" fmla="*/ 150 w 1113"/>
              <a:gd name="T27" fmla="*/ 1557 h 1633"/>
              <a:gd name="T28" fmla="*/ 230 w 1113"/>
              <a:gd name="T29" fmla="*/ 1633 h 1633"/>
              <a:gd name="T30" fmla="*/ 702 w 1113"/>
              <a:gd name="T31" fmla="*/ 1633 h 1633"/>
              <a:gd name="T32" fmla="*/ 629 w 1113"/>
              <a:gd name="T33" fmla="*/ 1489 h 1633"/>
              <a:gd name="T34" fmla="*/ 807 w 1113"/>
              <a:gd name="T35" fmla="*/ 1310 h 1633"/>
              <a:gd name="T36" fmla="*/ 839 w 1113"/>
              <a:gd name="T37" fmla="*/ 1313 h 1633"/>
              <a:gd name="T38" fmla="*/ 807 w 1113"/>
              <a:gd name="T39" fmla="*/ 1415 h 1633"/>
              <a:gd name="T40" fmla="*/ 880 w 1113"/>
              <a:gd name="T41" fmla="*/ 1489 h 1633"/>
              <a:gd name="T42" fmla="*/ 807 w 1113"/>
              <a:gd name="T43" fmla="*/ 1562 h 1633"/>
              <a:gd name="T44" fmla="*/ 734 w 1113"/>
              <a:gd name="T45" fmla="*/ 1489 h 1633"/>
              <a:gd name="T46" fmla="*/ 807 w 1113"/>
              <a:gd name="T47" fmla="*/ 1415 h 1633"/>
              <a:gd name="T48" fmla="*/ 951 w 1113"/>
              <a:gd name="T49" fmla="*/ 1489 h 1633"/>
              <a:gd name="T50" fmla="*/ 807 w 1113"/>
              <a:gd name="T51" fmla="*/ 1345 h 1633"/>
              <a:gd name="T52" fmla="*/ 663 w 1113"/>
              <a:gd name="T53" fmla="*/ 1489 h 1633"/>
              <a:gd name="T54" fmla="*/ 807 w 1113"/>
              <a:gd name="T55" fmla="*/ 1633 h 1633"/>
              <a:gd name="T56" fmla="*/ 951 w 1113"/>
              <a:gd name="T57" fmla="*/ 1489 h 1633"/>
              <a:gd name="T58" fmla="*/ 1059 w 1113"/>
              <a:gd name="T59" fmla="*/ 52 h 1633"/>
              <a:gd name="T60" fmla="*/ 1113 w 1113"/>
              <a:gd name="T61" fmla="*/ 106 h 1633"/>
              <a:gd name="T62" fmla="*/ 1059 w 1113"/>
              <a:gd name="T63" fmla="*/ 159 h 1633"/>
              <a:gd name="T64" fmla="*/ 1006 w 1113"/>
              <a:gd name="T65" fmla="*/ 106 h 1633"/>
              <a:gd name="T66" fmla="*/ 1059 w 1113"/>
              <a:gd name="T67" fmla="*/ 52 h 1633"/>
              <a:gd name="T68" fmla="*/ 1059 w 1113"/>
              <a:gd name="T69" fmla="*/ 87 h 1633"/>
              <a:gd name="T70" fmla="*/ 1078 w 1113"/>
              <a:gd name="T71" fmla="*/ 106 h 1633"/>
              <a:gd name="T72" fmla="*/ 1059 w 1113"/>
              <a:gd name="T73" fmla="*/ 125 h 1633"/>
              <a:gd name="T74" fmla="*/ 1040 w 1113"/>
              <a:gd name="T75" fmla="*/ 106 h 1633"/>
              <a:gd name="T76" fmla="*/ 1059 w 1113"/>
              <a:gd name="T77" fmla="*/ 87 h 1633"/>
              <a:gd name="T78" fmla="*/ 973 w 1113"/>
              <a:gd name="T79" fmla="*/ 123 h 1633"/>
              <a:gd name="T80" fmla="*/ 1027 w 1113"/>
              <a:gd name="T81" fmla="*/ 187 h 1633"/>
              <a:gd name="T82" fmla="*/ 964 w 1113"/>
              <a:gd name="T83" fmla="*/ 211 h 1633"/>
              <a:gd name="T84" fmla="*/ 20 w 1113"/>
              <a:gd name="T85" fmla="*/ 211 h 1633"/>
              <a:gd name="T86" fmla="*/ 0 w 1113"/>
              <a:gd name="T87" fmla="*/ 191 h 1633"/>
              <a:gd name="T88" fmla="*/ 0 w 1113"/>
              <a:gd name="T89" fmla="*/ 143 h 1633"/>
              <a:gd name="T90" fmla="*/ 20 w 1113"/>
              <a:gd name="T91" fmla="*/ 123 h 1633"/>
              <a:gd name="T92" fmla="*/ 973 w 1113"/>
              <a:gd name="T93" fmla="*/ 123 h 1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13" h="1633">
                <a:moveTo>
                  <a:pt x="152" y="0"/>
                </a:moveTo>
                <a:cubicBezTo>
                  <a:pt x="102" y="0"/>
                  <a:pt x="61" y="40"/>
                  <a:pt x="57" y="89"/>
                </a:cubicBezTo>
                <a:cubicBezTo>
                  <a:pt x="973" y="89"/>
                  <a:pt x="973" y="89"/>
                  <a:pt x="973" y="89"/>
                </a:cubicBezTo>
                <a:cubicBezTo>
                  <a:pt x="979" y="59"/>
                  <a:pt x="1000" y="35"/>
                  <a:pt x="1027" y="24"/>
                </a:cubicBezTo>
                <a:cubicBezTo>
                  <a:pt x="1010" y="9"/>
                  <a:pt x="988" y="0"/>
                  <a:pt x="964" y="0"/>
                </a:cubicBezTo>
                <a:lnTo>
                  <a:pt x="152" y="0"/>
                </a:lnTo>
                <a:close/>
                <a:moveTo>
                  <a:pt x="839" y="1313"/>
                </a:moveTo>
                <a:cubicBezTo>
                  <a:pt x="948" y="246"/>
                  <a:pt x="948" y="246"/>
                  <a:pt x="948" y="246"/>
                </a:cubicBezTo>
                <a:cubicBezTo>
                  <a:pt x="67" y="246"/>
                  <a:pt x="67" y="246"/>
                  <a:pt x="67" y="246"/>
                </a:cubicBezTo>
                <a:cubicBezTo>
                  <a:pt x="71" y="309"/>
                  <a:pt x="71" y="309"/>
                  <a:pt x="71" y="309"/>
                </a:cubicBezTo>
                <a:cubicBezTo>
                  <a:pt x="71" y="309"/>
                  <a:pt x="71" y="309"/>
                  <a:pt x="71" y="309"/>
                </a:cubicBezTo>
                <a:cubicBezTo>
                  <a:pt x="67" y="246"/>
                  <a:pt x="67" y="246"/>
                  <a:pt x="67" y="246"/>
                </a:cubicBezTo>
                <a:cubicBezTo>
                  <a:pt x="67" y="246"/>
                  <a:pt x="67" y="246"/>
                  <a:pt x="67" y="246"/>
                </a:cubicBezTo>
                <a:cubicBezTo>
                  <a:pt x="150" y="1557"/>
                  <a:pt x="150" y="1557"/>
                  <a:pt x="150" y="1557"/>
                </a:cubicBezTo>
                <a:cubicBezTo>
                  <a:pt x="153" y="1594"/>
                  <a:pt x="194" y="1633"/>
                  <a:pt x="230" y="1633"/>
                </a:cubicBezTo>
                <a:cubicBezTo>
                  <a:pt x="702" y="1633"/>
                  <a:pt x="702" y="1633"/>
                  <a:pt x="702" y="1633"/>
                </a:cubicBezTo>
                <a:cubicBezTo>
                  <a:pt x="657" y="1600"/>
                  <a:pt x="629" y="1548"/>
                  <a:pt x="629" y="1489"/>
                </a:cubicBezTo>
                <a:cubicBezTo>
                  <a:pt x="629" y="1390"/>
                  <a:pt x="708" y="1310"/>
                  <a:pt x="807" y="1310"/>
                </a:cubicBezTo>
                <a:cubicBezTo>
                  <a:pt x="818" y="1310"/>
                  <a:pt x="829" y="1311"/>
                  <a:pt x="839" y="1313"/>
                </a:cubicBezTo>
                <a:close/>
                <a:moveTo>
                  <a:pt x="807" y="1415"/>
                </a:moveTo>
                <a:cubicBezTo>
                  <a:pt x="847" y="1415"/>
                  <a:pt x="880" y="1448"/>
                  <a:pt x="880" y="1489"/>
                </a:cubicBezTo>
                <a:cubicBezTo>
                  <a:pt x="880" y="1529"/>
                  <a:pt x="847" y="1562"/>
                  <a:pt x="807" y="1562"/>
                </a:cubicBezTo>
                <a:cubicBezTo>
                  <a:pt x="766" y="1562"/>
                  <a:pt x="734" y="1529"/>
                  <a:pt x="734" y="1489"/>
                </a:cubicBezTo>
                <a:cubicBezTo>
                  <a:pt x="734" y="1448"/>
                  <a:pt x="766" y="1415"/>
                  <a:pt x="807" y="1415"/>
                </a:cubicBezTo>
                <a:close/>
                <a:moveTo>
                  <a:pt x="951" y="1489"/>
                </a:moveTo>
                <a:cubicBezTo>
                  <a:pt x="951" y="1409"/>
                  <a:pt x="886" y="1345"/>
                  <a:pt x="807" y="1345"/>
                </a:cubicBezTo>
                <a:cubicBezTo>
                  <a:pt x="727" y="1345"/>
                  <a:pt x="663" y="1409"/>
                  <a:pt x="663" y="1489"/>
                </a:cubicBezTo>
                <a:cubicBezTo>
                  <a:pt x="663" y="1568"/>
                  <a:pt x="727" y="1633"/>
                  <a:pt x="807" y="1633"/>
                </a:cubicBezTo>
                <a:cubicBezTo>
                  <a:pt x="886" y="1633"/>
                  <a:pt x="951" y="1568"/>
                  <a:pt x="951" y="1489"/>
                </a:cubicBezTo>
                <a:close/>
                <a:moveTo>
                  <a:pt x="1059" y="52"/>
                </a:moveTo>
                <a:cubicBezTo>
                  <a:pt x="1089" y="52"/>
                  <a:pt x="1113" y="76"/>
                  <a:pt x="1113" y="106"/>
                </a:cubicBezTo>
                <a:cubicBezTo>
                  <a:pt x="1113" y="135"/>
                  <a:pt x="1089" y="159"/>
                  <a:pt x="1059" y="159"/>
                </a:cubicBezTo>
                <a:cubicBezTo>
                  <a:pt x="1030" y="159"/>
                  <a:pt x="1006" y="135"/>
                  <a:pt x="1006" y="106"/>
                </a:cubicBezTo>
                <a:cubicBezTo>
                  <a:pt x="1006" y="76"/>
                  <a:pt x="1030" y="52"/>
                  <a:pt x="1059" y="52"/>
                </a:cubicBezTo>
                <a:close/>
                <a:moveTo>
                  <a:pt x="1059" y="87"/>
                </a:moveTo>
                <a:cubicBezTo>
                  <a:pt x="1070" y="87"/>
                  <a:pt x="1078" y="95"/>
                  <a:pt x="1078" y="106"/>
                </a:cubicBezTo>
                <a:cubicBezTo>
                  <a:pt x="1078" y="116"/>
                  <a:pt x="1070" y="125"/>
                  <a:pt x="1059" y="125"/>
                </a:cubicBezTo>
                <a:cubicBezTo>
                  <a:pt x="1049" y="125"/>
                  <a:pt x="1040" y="116"/>
                  <a:pt x="1040" y="106"/>
                </a:cubicBezTo>
                <a:cubicBezTo>
                  <a:pt x="1040" y="95"/>
                  <a:pt x="1049" y="87"/>
                  <a:pt x="1059" y="87"/>
                </a:cubicBezTo>
                <a:close/>
                <a:moveTo>
                  <a:pt x="973" y="123"/>
                </a:moveTo>
                <a:cubicBezTo>
                  <a:pt x="979" y="152"/>
                  <a:pt x="1000" y="177"/>
                  <a:pt x="1027" y="187"/>
                </a:cubicBezTo>
                <a:cubicBezTo>
                  <a:pt x="1010" y="202"/>
                  <a:pt x="988" y="211"/>
                  <a:pt x="964" y="211"/>
                </a:cubicBezTo>
                <a:cubicBezTo>
                  <a:pt x="20" y="211"/>
                  <a:pt x="20" y="211"/>
                  <a:pt x="20" y="211"/>
                </a:cubicBezTo>
                <a:cubicBezTo>
                  <a:pt x="9" y="211"/>
                  <a:pt x="0" y="202"/>
                  <a:pt x="0" y="191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32"/>
                  <a:pt x="9" y="123"/>
                  <a:pt x="20" y="123"/>
                </a:cubicBezTo>
                <a:lnTo>
                  <a:pt x="973" y="12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15" name="Groupe 114">
            <a:extLst>
              <a:ext uri="{FF2B5EF4-FFF2-40B4-BE49-F238E27FC236}">
                <a16:creationId xmlns:a16="http://schemas.microsoft.com/office/drawing/2014/main" xmlns="" id="{4D55F07D-C39B-4D67-B6C6-165187D41B85}"/>
              </a:ext>
            </a:extLst>
          </p:cNvPr>
          <p:cNvGrpSpPr/>
          <p:nvPr/>
        </p:nvGrpSpPr>
        <p:grpSpPr>
          <a:xfrm>
            <a:off x="7668344" y="5201012"/>
            <a:ext cx="806484" cy="280261"/>
            <a:chOff x="7552601" y="3067591"/>
            <a:chExt cx="902789" cy="313728"/>
          </a:xfrm>
        </p:grpSpPr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xmlns="" id="{C79C84A7-0A17-476F-A6B5-4FC2875E1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601" y="3067591"/>
              <a:ext cx="902789" cy="313728"/>
            </a:xfrm>
            <a:custGeom>
              <a:avLst/>
              <a:gdLst>
                <a:gd name="T0" fmla="*/ 6081 w 6103"/>
                <a:gd name="T1" fmla="*/ 505 h 2120"/>
                <a:gd name="T2" fmla="*/ 6077 w 6103"/>
                <a:gd name="T3" fmla="*/ 505 h 2120"/>
                <a:gd name="T4" fmla="*/ 6077 w 6103"/>
                <a:gd name="T5" fmla="*/ 451 h 2120"/>
                <a:gd name="T6" fmla="*/ 6031 w 6103"/>
                <a:gd name="T7" fmla="*/ 389 h 2120"/>
                <a:gd name="T8" fmla="*/ 5686 w 6103"/>
                <a:gd name="T9" fmla="*/ 290 h 2120"/>
                <a:gd name="T10" fmla="*/ 5657 w 6103"/>
                <a:gd name="T11" fmla="*/ 163 h 2120"/>
                <a:gd name="T12" fmla="*/ 5566 w 6103"/>
                <a:gd name="T13" fmla="*/ 91 h 2120"/>
                <a:gd name="T14" fmla="*/ 4502 w 6103"/>
                <a:gd name="T15" fmla="*/ 91 h 2120"/>
                <a:gd name="T16" fmla="*/ 4502 w 6103"/>
                <a:gd name="T17" fmla="*/ 42 h 2120"/>
                <a:gd name="T18" fmla="*/ 4463 w 6103"/>
                <a:gd name="T19" fmla="*/ 2 h 2120"/>
                <a:gd name="T20" fmla="*/ 3693 w 6103"/>
                <a:gd name="T21" fmla="*/ 2 h 2120"/>
                <a:gd name="T22" fmla="*/ 3654 w 6103"/>
                <a:gd name="T23" fmla="*/ 42 h 2120"/>
                <a:gd name="T24" fmla="*/ 3654 w 6103"/>
                <a:gd name="T25" fmla="*/ 91 h 2120"/>
                <a:gd name="T26" fmla="*/ 1512 w 6103"/>
                <a:gd name="T27" fmla="*/ 91 h 2120"/>
                <a:gd name="T28" fmla="*/ 1512 w 6103"/>
                <a:gd name="T29" fmla="*/ 40 h 2120"/>
                <a:gd name="T30" fmla="*/ 1473 w 6103"/>
                <a:gd name="T31" fmla="*/ 0 h 2120"/>
                <a:gd name="T32" fmla="*/ 703 w 6103"/>
                <a:gd name="T33" fmla="*/ 0 h 2120"/>
                <a:gd name="T34" fmla="*/ 664 w 6103"/>
                <a:gd name="T35" fmla="*/ 40 h 2120"/>
                <a:gd name="T36" fmla="*/ 664 w 6103"/>
                <a:gd name="T37" fmla="*/ 91 h 2120"/>
                <a:gd name="T38" fmla="*/ 305 w 6103"/>
                <a:gd name="T39" fmla="*/ 91 h 2120"/>
                <a:gd name="T40" fmla="*/ 168 w 6103"/>
                <a:gd name="T41" fmla="*/ 91 h 2120"/>
                <a:gd name="T42" fmla="*/ 75 w 6103"/>
                <a:gd name="T43" fmla="*/ 184 h 2120"/>
                <a:gd name="T44" fmla="*/ 75 w 6103"/>
                <a:gd name="T45" fmla="*/ 185 h 2120"/>
                <a:gd name="T46" fmla="*/ 75 w 6103"/>
                <a:gd name="T47" fmla="*/ 1468 h 2120"/>
                <a:gd name="T48" fmla="*/ 75 w 6103"/>
                <a:gd name="T49" fmla="*/ 1670 h 2120"/>
                <a:gd name="T50" fmla="*/ 75 w 6103"/>
                <a:gd name="T51" fmla="*/ 1720 h 2120"/>
                <a:gd name="T52" fmla="*/ 63 w 6103"/>
                <a:gd name="T53" fmla="*/ 1720 h 2120"/>
                <a:gd name="T54" fmla="*/ 0 w 6103"/>
                <a:gd name="T55" fmla="*/ 1783 h 2120"/>
                <a:gd name="T56" fmla="*/ 0 w 6103"/>
                <a:gd name="T57" fmla="*/ 1878 h 2120"/>
                <a:gd name="T58" fmla="*/ 63 w 6103"/>
                <a:gd name="T59" fmla="*/ 1941 h 2120"/>
                <a:gd name="T60" fmla="*/ 1100 w 6103"/>
                <a:gd name="T61" fmla="*/ 1941 h 2120"/>
                <a:gd name="T62" fmla="*/ 1410 w 6103"/>
                <a:gd name="T63" fmla="*/ 2120 h 2120"/>
                <a:gd name="T64" fmla="*/ 1723 w 6103"/>
                <a:gd name="T65" fmla="*/ 1935 h 2120"/>
                <a:gd name="T66" fmla="*/ 4413 w 6103"/>
                <a:gd name="T67" fmla="*/ 1935 h 2120"/>
                <a:gd name="T68" fmla="*/ 4727 w 6103"/>
                <a:gd name="T69" fmla="*/ 2120 h 2120"/>
                <a:gd name="T70" fmla="*/ 5036 w 6103"/>
                <a:gd name="T71" fmla="*/ 1941 h 2120"/>
                <a:gd name="T72" fmla="*/ 5932 w 6103"/>
                <a:gd name="T73" fmla="*/ 1941 h 2120"/>
                <a:gd name="T74" fmla="*/ 5995 w 6103"/>
                <a:gd name="T75" fmla="*/ 1878 h 2120"/>
                <a:gd name="T76" fmla="*/ 5995 w 6103"/>
                <a:gd name="T77" fmla="*/ 1783 h 2120"/>
                <a:gd name="T78" fmla="*/ 5932 w 6103"/>
                <a:gd name="T79" fmla="*/ 1720 h 2120"/>
                <a:gd name="T80" fmla="*/ 5889 w 6103"/>
                <a:gd name="T81" fmla="*/ 1720 h 2120"/>
                <a:gd name="T82" fmla="*/ 5889 w 6103"/>
                <a:gd name="T83" fmla="*/ 1456 h 2120"/>
                <a:gd name="T84" fmla="*/ 5889 w 6103"/>
                <a:gd name="T85" fmla="*/ 1282 h 2120"/>
                <a:gd name="T86" fmla="*/ 5887 w 6103"/>
                <a:gd name="T87" fmla="*/ 1225 h 2120"/>
                <a:gd name="T88" fmla="*/ 5861 w 6103"/>
                <a:gd name="T89" fmla="*/ 1039 h 2120"/>
                <a:gd name="T90" fmla="*/ 5706 w 6103"/>
                <a:gd name="T91" fmla="*/ 375 h 2120"/>
                <a:gd name="T92" fmla="*/ 5706 w 6103"/>
                <a:gd name="T93" fmla="*/ 375 h 2120"/>
                <a:gd name="T94" fmla="*/ 5697 w 6103"/>
                <a:gd name="T95" fmla="*/ 336 h 2120"/>
                <a:gd name="T96" fmla="*/ 6019 w 6103"/>
                <a:gd name="T97" fmla="*/ 429 h 2120"/>
                <a:gd name="T98" fmla="*/ 6036 w 6103"/>
                <a:gd name="T99" fmla="*/ 451 h 2120"/>
                <a:gd name="T100" fmla="*/ 6036 w 6103"/>
                <a:gd name="T101" fmla="*/ 505 h 2120"/>
                <a:gd name="T102" fmla="*/ 6032 w 6103"/>
                <a:gd name="T103" fmla="*/ 505 h 2120"/>
                <a:gd name="T104" fmla="*/ 6010 w 6103"/>
                <a:gd name="T105" fmla="*/ 527 h 2120"/>
                <a:gd name="T106" fmla="*/ 6010 w 6103"/>
                <a:gd name="T107" fmla="*/ 814 h 2120"/>
                <a:gd name="T108" fmla="*/ 6032 w 6103"/>
                <a:gd name="T109" fmla="*/ 836 h 2120"/>
                <a:gd name="T110" fmla="*/ 6081 w 6103"/>
                <a:gd name="T111" fmla="*/ 836 h 2120"/>
                <a:gd name="T112" fmla="*/ 6103 w 6103"/>
                <a:gd name="T113" fmla="*/ 814 h 2120"/>
                <a:gd name="T114" fmla="*/ 6103 w 6103"/>
                <a:gd name="T115" fmla="*/ 527 h 2120"/>
                <a:gd name="T116" fmla="*/ 6081 w 6103"/>
                <a:gd name="T117" fmla="*/ 505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103" h="2120">
                  <a:moveTo>
                    <a:pt x="6081" y="505"/>
                  </a:moveTo>
                  <a:cubicBezTo>
                    <a:pt x="6077" y="505"/>
                    <a:pt x="6077" y="505"/>
                    <a:pt x="6077" y="505"/>
                  </a:cubicBezTo>
                  <a:cubicBezTo>
                    <a:pt x="6077" y="451"/>
                    <a:pt x="6077" y="451"/>
                    <a:pt x="6077" y="451"/>
                  </a:cubicBezTo>
                  <a:cubicBezTo>
                    <a:pt x="6077" y="422"/>
                    <a:pt x="6058" y="397"/>
                    <a:pt x="6031" y="389"/>
                  </a:cubicBezTo>
                  <a:cubicBezTo>
                    <a:pt x="5686" y="290"/>
                    <a:pt x="5686" y="290"/>
                    <a:pt x="5686" y="290"/>
                  </a:cubicBezTo>
                  <a:cubicBezTo>
                    <a:pt x="5657" y="163"/>
                    <a:pt x="5657" y="163"/>
                    <a:pt x="5657" y="163"/>
                  </a:cubicBezTo>
                  <a:cubicBezTo>
                    <a:pt x="5647" y="121"/>
                    <a:pt x="5609" y="91"/>
                    <a:pt x="5566" y="91"/>
                  </a:cubicBezTo>
                  <a:cubicBezTo>
                    <a:pt x="4502" y="91"/>
                    <a:pt x="4502" y="91"/>
                    <a:pt x="4502" y="91"/>
                  </a:cubicBezTo>
                  <a:cubicBezTo>
                    <a:pt x="4502" y="42"/>
                    <a:pt x="4502" y="42"/>
                    <a:pt x="4502" y="42"/>
                  </a:cubicBezTo>
                  <a:cubicBezTo>
                    <a:pt x="4502" y="20"/>
                    <a:pt x="4485" y="2"/>
                    <a:pt x="4463" y="2"/>
                  </a:cubicBezTo>
                  <a:cubicBezTo>
                    <a:pt x="3693" y="2"/>
                    <a:pt x="3693" y="2"/>
                    <a:pt x="3693" y="2"/>
                  </a:cubicBezTo>
                  <a:cubicBezTo>
                    <a:pt x="3672" y="2"/>
                    <a:pt x="3654" y="20"/>
                    <a:pt x="3654" y="42"/>
                  </a:cubicBezTo>
                  <a:cubicBezTo>
                    <a:pt x="3654" y="91"/>
                    <a:pt x="3654" y="91"/>
                    <a:pt x="3654" y="91"/>
                  </a:cubicBezTo>
                  <a:cubicBezTo>
                    <a:pt x="1512" y="91"/>
                    <a:pt x="1512" y="91"/>
                    <a:pt x="1512" y="91"/>
                  </a:cubicBezTo>
                  <a:cubicBezTo>
                    <a:pt x="1512" y="40"/>
                    <a:pt x="1512" y="40"/>
                    <a:pt x="1512" y="40"/>
                  </a:cubicBezTo>
                  <a:cubicBezTo>
                    <a:pt x="1512" y="18"/>
                    <a:pt x="1494" y="0"/>
                    <a:pt x="1473" y="0"/>
                  </a:cubicBezTo>
                  <a:cubicBezTo>
                    <a:pt x="703" y="0"/>
                    <a:pt x="703" y="0"/>
                    <a:pt x="703" y="0"/>
                  </a:cubicBezTo>
                  <a:cubicBezTo>
                    <a:pt x="681" y="0"/>
                    <a:pt x="664" y="18"/>
                    <a:pt x="664" y="40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305" y="91"/>
                    <a:pt x="305" y="91"/>
                    <a:pt x="305" y="91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17" y="91"/>
                    <a:pt x="75" y="132"/>
                    <a:pt x="75" y="184"/>
                  </a:cubicBezTo>
                  <a:cubicBezTo>
                    <a:pt x="75" y="185"/>
                    <a:pt x="75" y="185"/>
                    <a:pt x="75" y="185"/>
                  </a:cubicBezTo>
                  <a:cubicBezTo>
                    <a:pt x="75" y="1468"/>
                    <a:pt x="75" y="1468"/>
                    <a:pt x="75" y="1468"/>
                  </a:cubicBezTo>
                  <a:cubicBezTo>
                    <a:pt x="75" y="1670"/>
                    <a:pt x="75" y="1670"/>
                    <a:pt x="75" y="1670"/>
                  </a:cubicBezTo>
                  <a:cubicBezTo>
                    <a:pt x="75" y="1720"/>
                    <a:pt x="75" y="1720"/>
                    <a:pt x="75" y="1720"/>
                  </a:cubicBezTo>
                  <a:cubicBezTo>
                    <a:pt x="63" y="1720"/>
                    <a:pt x="63" y="1720"/>
                    <a:pt x="63" y="1720"/>
                  </a:cubicBezTo>
                  <a:cubicBezTo>
                    <a:pt x="28" y="1720"/>
                    <a:pt x="0" y="1748"/>
                    <a:pt x="0" y="1783"/>
                  </a:cubicBezTo>
                  <a:cubicBezTo>
                    <a:pt x="0" y="1878"/>
                    <a:pt x="0" y="1878"/>
                    <a:pt x="0" y="1878"/>
                  </a:cubicBezTo>
                  <a:cubicBezTo>
                    <a:pt x="0" y="1913"/>
                    <a:pt x="28" y="1941"/>
                    <a:pt x="63" y="1941"/>
                  </a:cubicBezTo>
                  <a:cubicBezTo>
                    <a:pt x="1100" y="1941"/>
                    <a:pt x="1100" y="1941"/>
                    <a:pt x="1100" y="1941"/>
                  </a:cubicBezTo>
                  <a:cubicBezTo>
                    <a:pt x="1161" y="2048"/>
                    <a:pt x="1277" y="2120"/>
                    <a:pt x="1410" y="2120"/>
                  </a:cubicBezTo>
                  <a:cubicBezTo>
                    <a:pt x="1545" y="2120"/>
                    <a:pt x="1662" y="2046"/>
                    <a:pt x="1723" y="1935"/>
                  </a:cubicBezTo>
                  <a:cubicBezTo>
                    <a:pt x="4413" y="1935"/>
                    <a:pt x="4413" y="1935"/>
                    <a:pt x="4413" y="1935"/>
                  </a:cubicBezTo>
                  <a:cubicBezTo>
                    <a:pt x="4474" y="2046"/>
                    <a:pt x="4592" y="2120"/>
                    <a:pt x="4727" y="2120"/>
                  </a:cubicBezTo>
                  <a:cubicBezTo>
                    <a:pt x="4859" y="2120"/>
                    <a:pt x="4975" y="2048"/>
                    <a:pt x="5036" y="1941"/>
                  </a:cubicBezTo>
                  <a:cubicBezTo>
                    <a:pt x="5932" y="1941"/>
                    <a:pt x="5932" y="1941"/>
                    <a:pt x="5932" y="1941"/>
                  </a:cubicBezTo>
                  <a:cubicBezTo>
                    <a:pt x="5967" y="1941"/>
                    <a:pt x="5995" y="1913"/>
                    <a:pt x="5995" y="1878"/>
                  </a:cubicBezTo>
                  <a:cubicBezTo>
                    <a:pt x="5995" y="1783"/>
                    <a:pt x="5995" y="1783"/>
                    <a:pt x="5995" y="1783"/>
                  </a:cubicBezTo>
                  <a:cubicBezTo>
                    <a:pt x="5995" y="1748"/>
                    <a:pt x="5967" y="1720"/>
                    <a:pt x="5932" y="1720"/>
                  </a:cubicBezTo>
                  <a:cubicBezTo>
                    <a:pt x="5889" y="1720"/>
                    <a:pt x="5889" y="1720"/>
                    <a:pt x="5889" y="1720"/>
                  </a:cubicBezTo>
                  <a:cubicBezTo>
                    <a:pt x="5889" y="1456"/>
                    <a:pt x="5889" y="1456"/>
                    <a:pt x="5889" y="1456"/>
                  </a:cubicBezTo>
                  <a:cubicBezTo>
                    <a:pt x="5889" y="1282"/>
                    <a:pt x="5889" y="1282"/>
                    <a:pt x="5889" y="1282"/>
                  </a:cubicBezTo>
                  <a:cubicBezTo>
                    <a:pt x="5889" y="1263"/>
                    <a:pt x="5888" y="1244"/>
                    <a:pt x="5887" y="1225"/>
                  </a:cubicBezTo>
                  <a:cubicBezTo>
                    <a:pt x="5884" y="1162"/>
                    <a:pt x="5875" y="1100"/>
                    <a:pt x="5861" y="1039"/>
                  </a:cubicBezTo>
                  <a:cubicBezTo>
                    <a:pt x="5706" y="375"/>
                    <a:pt x="5706" y="375"/>
                    <a:pt x="5706" y="375"/>
                  </a:cubicBezTo>
                  <a:cubicBezTo>
                    <a:pt x="5706" y="375"/>
                    <a:pt x="5706" y="375"/>
                    <a:pt x="5706" y="375"/>
                  </a:cubicBezTo>
                  <a:cubicBezTo>
                    <a:pt x="5697" y="336"/>
                    <a:pt x="5697" y="336"/>
                    <a:pt x="5697" y="336"/>
                  </a:cubicBezTo>
                  <a:cubicBezTo>
                    <a:pt x="6019" y="429"/>
                    <a:pt x="6019" y="429"/>
                    <a:pt x="6019" y="429"/>
                  </a:cubicBezTo>
                  <a:cubicBezTo>
                    <a:pt x="6029" y="432"/>
                    <a:pt x="6036" y="441"/>
                    <a:pt x="6036" y="451"/>
                  </a:cubicBezTo>
                  <a:cubicBezTo>
                    <a:pt x="6036" y="505"/>
                    <a:pt x="6036" y="505"/>
                    <a:pt x="6036" y="505"/>
                  </a:cubicBezTo>
                  <a:cubicBezTo>
                    <a:pt x="6032" y="505"/>
                    <a:pt x="6032" y="505"/>
                    <a:pt x="6032" y="505"/>
                  </a:cubicBezTo>
                  <a:cubicBezTo>
                    <a:pt x="6020" y="505"/>
                    <a:pt x="6010" y="515"/>
                    <a:pt x="6010" y="527"/>
                  </a:cubicBezTo>
                  <a:cubicBezTo>
                    <a:pt x="6010" y="814"/>
                    <a:pt x="6010" y="814"/>
                    <a:pt x="6010" y="814"/>
                  </a:cubicBezTo>
                  <a:cubicBezTo>
                    <a:pt x="6010" y="826"/>
                    <a:pt x="6020" y="836"/>
                    <a:pt x="6032" y="836"/>
                  </a:cubicBezTo>
                  <a:cubicBezTo>
                    <a:pt x="6081" y="836"/>
                    <a:pt x="6081" y="836"/>
                    <a:pt x="6081" y="836"/>
                  </a:cubicBezTo>
                  <a:cubicBezTo>
                    <a:pt x="6093" y="836"/>
                    <a:pt x="6103" y="826"/>
                    <a:pt x="6103" y="814"/>
                  </a:cubicBezTo>
                  <a:cubicBezTo>
                    <a:pt x="6103" y="527"/>
                    <a:pt x="6103" y="527"/>
                    <a:pt x="6103" y="527"/>
                  </a:cubicBezTo>
                  <a:cubicBezTo>
                    <a:pt x="6103" y="515"/>
                    <a:pt x="6093" y="505"/>
                    <a:pt x="6081" y="5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xmlns="" id="{9634C3C8-12DF-4BA5-8A4D-AA104B8E5378}"/>
                </a:ext>
              </a:extLst>
            </p:cNvPr>
            <p:cNvSpPr/>
            <p:nvPr/>
          </p:nvSpPr>
          <p:spPr>
            <a:xfrm>
              <a:off x="7613625" y="3142518"/>
              <a:ext cx="126301" cy="674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xmlns="" id="{55130BC0-FC51-4A2F-AAD2-94E9DA27A73D}"/>
                </a:ext>
              </a:extLst>
            </p:cNvPr>
            <p:cNvSpPr/>
            <p:nvPr/>
          </p:nvSpPr>
          <p:spPr>
            <a:xfrm>
              <a:off x="7782787" y="3142518"/>
              <a:ext cx="126301" cy="674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xmlns="" id="{F3195949-707C-4BB6-B2EC-CA043AA27092}"/>
                </a:ext>
              </a:extLst>
            </p:cNvPr>
            <p:cNvSpPr/>
            <p:nvPr/>
          </p:nvSpPr>
          <p:spPr>
            <a:xfrm>
              <a:off x="7951949" y="3142518"/>
              <a:ext cx="126301" cy="674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xmlns="" id="{70FD4142-9AFB-4AF0-8241-B9DF447323EE}"/>
                </a:ext>
              </a:extLst>
            </p:cNvPr>
            <p:cNvSpPr/>
            <p:nvPr/>
          </p:nvSpPr>
          <p:spPr>
            <a:xfrm>
              <a:off x="8121110" y="3142518"/>
              <a:ext cx="126301" cy="674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xmlns="" id="{E318FDD1-95A2-471F-894B-A75E763098D3}"/>
                </a:ext>
              </a:extLst>
            </p:cNvPr>
            <p:cNvSpPr/>
            <p:nvPr/>
          </p:nvSpPr>
          <p:spPr>
            <a:xfrm>
              <a:off x="8290371" y="3142518"/>
              <a:ext cx="66534" cy="1721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1582309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16B394F-D46B-4E08-8A33-6C9D9D03E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cap="all" dirty="0" err="1"/>
              <a:t>Useful</a:t>
            </a:r>
            <a:r>
              <a:rPr lang="fr-BE" cap="all" dirty="0"/>
              <a:t> illustration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FB1540AE-7D42-4ED0-9047-07537E062D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l"/>
            <a:r>
              <a:rPr lang="fr-FR"/>
              <a:t>00/00/2016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D4AA8450-87EC-4C42-A9F8-8FBA1A81B8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PRESENTATION TITLE ( FOOTER CAN BE PERSONALIZED AS FOLLOW: INSERT / HEADER AND FOOTER")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4D8666F1-F19C-43B4-998E-FEF2B19E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7</a:t>
            </a:fld>
            <a:endParaRPr lang="fr-FR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xmlns="" id="{9EBC7A6E-4587-4AEA-9C69-5A72D351A0D8}"/>
              </a:ext>
            </a:extLst>
          </p:cNvPr>
          <p:cNvGrpSpPr/>
          <p:nvPr/>
        </p:nvGrpSpPr>
        <p:grpSpPr>
          <a:xfrm>
            <a:off x="7412685" y="1531972"/>
            <a:ext cx="1442282" cy="1493672"/>
            <a:chOff x="3042761" y="4008347"/>
            <a:chExt cx="1352949" cy="1401156"/>
          </a:xfrm>
        </p:grpSpPr>
        <p:sp>
          <p:nvSpPr>
            <p:cNvPr id="122" name="Rectangle 126">
              <a:extLst>
                <a:ext uri="{FF2B5EF4-FFF2-40B4-BE49-F238E27FC236}">
                  <a16:creationId xmlns:a16="http://schemas.microsoft.com/office/drawing/2014/main" xmlns="" id="{60ED7602-42FD-4E9F-BF83-22609CF89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1840" y="4221088"/>
              <a:ext cx="1171648" cy="7262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" name="Freeform 127">
              <a:extLst>
                <a:ext uri="{FF2B5EF4-FFF2-40B4-BE49-F238E27FC236}">
                  <a16:creationId xmlns:a16="http://schemas.microsoft.com/office/drawing/2014/main" xmlns="" id="{54329FF8-3A42-406E-B3A7-8DB49507E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990" y="4354182"/>
              <a:ext cx="605736" cy="121566"/>
            </a:xfrm>
            <a:custGeom>
              <a:avLst/>
              <a:gdLst>
                <a:gd name="T0" fmla="*/ 0 w 578"/>
                <a:gd name="T1" fmla="*/ 0 h 116"/>
                <a:gd name="T2" fmla="*/ 0 w 578"/>
                <a:gd name="T3" fmla="*/ 116 h 116"/>
                <a:gd name="T4" fmla="*/ 578 w 578"/>
                <a:gd name="T5" fmla="*/ 116 h 116"/>
                <a:gd name="T6" fmla="*/ 578 w 578"/>
                <a:gd name="T7" fmla="*/ 67 h 116"/>
                <a:gd name="T8" fmla="*/ 578 w 578"/>
                <a:gd name="T9" fmla="*/ 50 h 116"/>
                <a:gd name="T10" fmla="*/ 578 w 578"/>
                <a:gd name="T11" fmla="*/ 0 h 116"/>
                <a:gd name="T12" fmla="*/ 0 w 578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8" h="116">
                  <a:moveTo>
                    <a:pt x="0" y="0"/>
                  </a:moveTo>
                  <a:lnTo>
                    <a:pt x="0" y="116"/>
                  </a:lnTo>
                  <a:lnTo>
                    <a:pt x="578" y="116"/>
                  </a:lnTo>
                  <a:lnTo>
                    <a:pt x="578" y="67"/>
                  </a:lnTo>
                  <a:lnTo>
                    <a:pt x="578" y="50"/>
                  </a:lnTo>
                  <a:lnTo>
                    <a:pt x="5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" name="Freeform 128">
              <a:extLst>
                <a:ext uri="{FF2B5EF4-FFF2-40B4-BE49-F238E27FC236}">
                  <a16:creationId xmlns:a16="http://schemas.microsoft.com/office/drawing/2014/main" xmlns="" id="{E48FA900-7B0F-469C-BE57-A6DD1F9DF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990" y="4519764"/>
              <a:ext cx="605736" cy="121566"/>
            </a:xfrm>
            <a:custGeom>
              <a:avLst/>
              <a:gdLst>
                <a:gd name="T0" fmla="*/ 0 w 578"/>
                <a:gd name="T1" fmla="*/ 0 h 116"/>
                <a:gd name="T2" fmla="*/ 0 w 578"/>
                <a:gd name="T3" fmla="*/ 116 h 116"/>
                <a:gd name="T4" fmla="*/ 578 w 578"/>
                <a:gd name="T5" fmla="*/ 116 h 116"/>
                <a:gd name="T6" fmla="*/ 578 w 578"/>
                <a:gd name="T7" fmla="*/ 66 h 116"/>
                <a:gd name="T8" fmla="*/ 578 w 578"/>
                <a:gd name="T9" fmla="*/ 49 h 116"/>
                <a:gd name="T10" fmla="*/ 578 w 578"/>
                <a:gd name="T11" fmla="*/ 0 h 116"/>
                <a:gd name="T12" fmla="*/ 0 w 578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8" h="116">
                  <a:moveTo>
                    <a:pt x="0" y="0"/>
                  </a:moveTo>
                  <a:lnTo>
                    <a:pt x="0" y="116"/>
                  </a:lnTo>
                  <a:lnTo>
                    <a:pt x="578" y="116"/>
                  </a:lnTo>
                  <a:lnTo>
                    <a:pt x="578" y="66"/>
                  </a:lnTo>
                  <a:lnTo>
                    <a:pt x="578" y="49"/>
                  </a:lnTo>
                  <a:lnTo>
                    <a:pt x="5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" name="Freeform 129">
              <a:extLst>
                <a:ext uri="{FF2B5EF4-FFF2-40B4-BE49-F238E27FC236}">
                  <a16:creationId xmlns:a16="http://schemas.microsoft.com/office/drawing/2014/main" xmlns="" id="{646A9C2D-9AE4-4E86-9ED4-731205B04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990" y="4685345"/>
              <a:ext cx="605736" cy="122614"/>
            </a:xfrm>
            <a:custGeom>
              <a:avLst/>
              <a:gdLst>
                <a:gd name="T0" fmla="*/ 0 w 578"/>
                <a:gd name="T1" fmla="*/ 0 h 117"/>
                <a:gd name="T2" fmla="*/ 0 w 578"/>
                <a:gd name="T3" fmla="*/ 117 h 117"/>
                <a:gd name="T4" fmla="*/ 578 w 578"/>
                <a:gd name="T5" fmla="*/ 117 h 117"/>
                <a:gd name="T6" fmla="*/ 578 w 578"/>
                <a:gd name="T7" fmla="*/ 67 h 117"/>
                <a:gd name="T8" fmla="*/ 578 w 578"/>
                <a:gd name="T9" fmla="*/ 50 h 117"/>
                <a:gd name="T10" fmla="*/ 578 w 578"/>
                <a:gd name="T11" fmla="*/ 0 h 117"/>
                <a:gd name="T12" fmla="*/ 0 w 578"/>
                <a:gd name="T1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8" h="117">
                  <a:moveTo>
                    <a:pt x="0" y="0"/>
                  </a:moveTo>
                  <a:lnTo>
                    <a:pt x="0" y="117"/>
                  </a:lnTo>
                  <a:lnTo>
                    <a:pt x="578" y="117"/>
                  </a:lnTo>
                  <a:lnTo>
                    <a:pt x="578" y="67"/>
                  </a:lnTo>
                  <a:lnTo>
                    <a:pt x="578" y="50"/>
                  </a:lnTo>
                  <a:lnTo>
                    <a:pt x="5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" name="Freeform 130">
              <a:extLst>
                <a:ext uri="{FF2B5EF4-FFF2-40B4-BE49-F238E27FC236}">
                  <a16:creationId xmlns:a16="http://schemas.microsoft.com/office/drawing/2014/main" xmlns="" id="{2146EF76-0B55-40A1-9D62-7BF6B87F0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216" y="4008347"/>
              <a:ext cx="105847" cy="141478"/>
            </a:xfrm>
            <a:custGeom>
              <a:avLst/>
              <a:gdLst>
                <a:gd name="T0" fmla="*/ 113 w 113"/>
                <a:gd name="T1" fmla="*/ 63 h 151"/>
                <a:gd name="T2" fmla="*/ 62 w 113"/>
                <a:gd name="T3" fmla="*/ 0 h 151"/>
                <a:gd name="T4" fmla="*/ 50 w 113"/>
                <a:gd name="T5" fmla="*/ 0 h 151"/>
                <a:gd name="T6" fmla="*/ 0 w 113"/>
                <a:gd name="T7" fmla="*/ 63 h 151"/>
                <a:gd name="T8" fmla="*/ 0 w 113"/>
                <a:gd name="T9" fmla="*/ 151 h 151"/>
                <a:gd name="T10" fmla="*/ 113 w 113"/>
                <a:gd name="T11" fmla="*/ 151 h 151"/>
                <a:gd name="T12" fmla="*/ 113 w 113"/>
                <a:gd name="T13" fmla="*/ 6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51">
                  <a:moveTo>
                    <a:pt x="113" y="63"/>
                  </a:moveTo>
                  <a:cubicBezTo>
                    <a:pt x="113" y="28"/>
                    <a:pt x="90" y="0"/>
                    <a:pt x="6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8"/>
                    <a:pt x="0" y="63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13" y="151"/>
                    <a:pt x="113" y="151"/>
                    <a:pt x="113" y="151"/>
                  </a:cubicBezTo>
                  <a:lnTo>
                    <a:pt x="113" y="63"/>
                  </a:lnTo>
                  <a:close/>
                </a:path>
              </a:pathLst>
            </a:custGeom>
            <a:solidFill>
              <a:srgbClr val="005F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" name="Freeform 131">
              <a:extLst>
                <a:ext uri="{FF2B5EF4-FFF2-40B4-BE49-F238E27FC236}">
                  <a16:creationId xmlns:a16="http://schemas.microsoft.com/office/drawing/2014/main" xmlns="" id="{B16BEF7A-C35B-48A6-B2A2-42A06BF1C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761" y="4149825"/>
              <a:ext cx="1352949" cy="71263"/>
            </a:xfrm>
            <a:custGeom>
              <a:avLst/>
              <a:gdLst>
                <a:gd name="T0" fmla="*/ 1408 w 1446"/>
                <a:gd name="T1" fmla="*/ 0 h 76"/>
                <a:gd name="T2" fmla="*/ 777 w 1446"/>
                <a:gd name="T3" fmla="*/ 0 h 76"/>
                <a:gd name="T4" fmla="*/ 664 w 1446"/>
                <a:gd name="T5" fmla="*/ 0 h 76"/>
                <a:gd name="T6" fmla="*/ 37 w 1446"/>
                <a:gd name="T7" fmla="*/ 0 h 76"/>
                <a:gd name="T8" fmla="*/ 0 w 1446"/>
                <a:gd name="T9" fmla="*/ 38 h 76"/>
                <a:gd name="T10" fmla="*/ 37 w 1446"/>
                <a:gd name="T11" fmla="*/ 76 h 76"/>
                <a:gd name="T12" fmla="*/ 95 w 1446"/>
                <a:gd name="T13" fmla="*/ 76 h 76"/>
                <a:gd name="T14" fmla="*/ 664 w 1446"/>
                <a:gd name="T15" fmla="*/ 76 h 76"/>
                <a:gd name="T16" fmla="*/ 777 w 1446"/>
                <a:gd name="T17" fmla="*/ 76 h 76"/>
                <a:gd name="T18" fmla="*/ 1348 w 1446"/>
                <a:gd name="T19" fmla="*/ 76 h 76"/>
                <a:gd name="T20" fmla="*/ 1408 w 1446"/>
                <a:gd name="T21" fmla="*/ 76 h 76"/>
                <a:gd name="T22" fmla="*/ 1446 w 1446"/>
                <a:gd name="T23" fmla="*/ 38 h 76"/>
                <a:gd name="T24" fmla="*/ 1408 w 1446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6" h="76">
                  <a:moveTo>
                    <a:pt x="1408" y="0"/>
                  </a:moveTo>
                  <a:cubicBezTo>
                    <a:pt x="777" y="0"/>
                    <a:pt x="777" y="0"/>
                    <a:pt x="777" y="0"/>
                  </a:cubicBezTo>
                  <a:cubicBezTo>
                    <a:pt x="664" y="0"/>
                    <a:pt x="664" y="0"/>
                    <a:pt x="664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0" y="17"/>
                    <a:pt x="0" y="38"/>
                  </a:cubicBezTo>
                  <a:cubicBezTo>
                    <a:pt x="0" y="59"/>
                    <a:pt x="16" y="76"/>
                    <a:pt x="37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664" y="76"/>
                    <a:pt x="664" y="76"/>
                    <a:pt x="664" y="76"/>
                  </a:cubicBezTo>
                  <a:cubicBezTo>
                    <a:pt x="777" y="76"/>
                    <a:pt x="777" y="76"/>
                    <a:pt x="777" y="76"/>
                  </a:cubicBezTo>
                  <a:cubicBezTo>
                    <a:pt x="1348" y="76"/>
                    <a:pt x="1348" y="76"/>
                    <a:pt x="1348" y="76"/>
                  </a:cubicBezTo>
                  <a:cubicBezTo>
                    <a:pt x="1408" y="76"/>
                    <a:pt x="1408" y="76"/>
                    <a:pt x="1408" y="76"/>
                  </a:cubicBezTo>
                  <a:cubicBezTo>
                    <a:pt x="1429" y="76"/>
                    <a:pt x="1446" y="59"/>
                    <a:pt x="1446" y="38"/>
                  </a:cubicBezTo>
                  <a:cubicBezTo>
                    <a:pt x="1446" y="17"/>
                    <a:pt x="1429" y="0"/>
                    <a:pt x="1408" y="0"/>
                  </a:cubicBezTo>
                  <a:close/>
                </a:path>
              </a:pathLst>
            </a:cu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" name="Freeform 132">
              <a:extLst>
                <a:ext uri="{FF2B5EF4-FFF2-40B4-BE49-F238E27FC236}">
                  <a16:creationId xmlns:a16="http://schemas.microsoft.com/office/drawing/2014/main" xmlns="" id="{0186856A-D2C7-4CCE-9921-03D255A08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075" y="5012317"/>
              <a:ext cx="195973" cy="397186"/>
            </a:xfrm>
            <a:custGeom>
              <a:avLst/>
              <a:gdLst>
                <a:gd name="T0" fmla="*/ 158 w 210"/>
                <a:gd name="T1" fmla="*/ 404 h 424"/>
                <a:gd name="T2" fmla="*/ 190 w 210"/>
                <a:gd name="T3" fmla="*/ 419 h 424"/>
                <a:gd name="T4" fmla="*/ 204 w 210"/>
                <a:gd name="T5" fmla="*/ 386 h 424"/>
                <a:gd name="T6" fmla="*/ 54 w 210"/>
                <a:gd name="T7" fmla="*/ 0 h 424"/>
                <a:gd name="T8" fmla="*/ 29 w 210"/>
                <a:gd name="T9" fmla="*/ 0 h 424"/>
                <a:gd name="T10" fmla="*/ 0 w 210"/>
                <a:gd name="T11" fmla="*/ 0 h 424"/>
                <a:gd name="T12" fmla="*/ 158 w 210"/>
                <a:gd name="T13" fmla="*/ 40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424">
                  <a:moveTo>
                    <a:pt x="158" y="404"/>
                  </a:moveTo>
                  <a:cubicBezTo>
                    <a:pt x="163" y="417"/>
                    <a:pt x="177" y="424"/>
                    <a:pt x="190" y="419"/>
                  </a:cubicBezTo>
                  <a:cubicBezTo>
                    <a:pt x="203" y="414"/>
                    <a:pt x="210" y="399"/>
                    <a:pt x="204" y="386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8" y="404"/>
                  </a:lnTo>
                  <a:close/>
                </a:path>
              </a:pathLst>
            </a:custGeom>
            <a:solidFill>
              <a:srgbClr val="005F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" name="Freeform 133">
              <a:extLst>
                <a:ext uri="{FF2B5EF4-FFF2-40B4-BE49-F238E27FC236}">
                  <a16:creationId xmlns:a16="http://schemas.microsoft.com/office/drawing/2014/main" xmlns="" id="{52A3F188-FC3E-42CC-B421-20575D54A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560" y="5012317"/>
              <a:ext cx="195973" cy="397186"/>
            </a:xfrm>
            <a:custGeom>
              <a:avLst/>
              <a:gdLst>
                <a:gd name="T0" fmla="*/ 52 w 210"/>
                <a:gd name="T1" fmla="*/ 404 h 424"/>
                <a:gd name="T2" fmla="*/ 20 w 210"/>
                <a:gd name="T3" fmla="*/ 419 h 424"/>
                <a:gd name="T4" fmla="*/ 5 w 210"/>
                <a:gd name="T5" fmla="*/ 386 h 424"/>
                <a:gd name="T6" fmla="*/ 156 w 210"/>
                <a:gd name="T7" fmla="*/ 0 h 424"/>
                <a:gd name="T8" fmla="*/ 181 w 210"/>
                <a:gd name="T9" fmla="*/ 0 h 424"/>
                <a:gd name="T10" fmla="*/ 210 w 210"/>
                <a:gd name="T11" fmla="*/ 0 h 424"/>
                <a:gd name="T12" fmla="*/ 52 w 210"/>
                <a:gd name="T13" fmla="*/ 40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424">
                  <a:moveTo>
                    <a:pt x="52" y="404"/>
                  </a:moveTo>
                  <a:cubicBezTo>
                    <a:pt x="47" y="417"/>
                    <a:pt x="33" y="424"/>
                    <a:pt x="20" y="419"/>
                  </a:cubicBezTo>
                  <a:cubicBezTo>
                    <a:pt x="7" y="414"/>
                    <a:pt x="0" y="399"/>
                    <a:pt x="5" y="38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210" y="0"/>
                    <a:pt x="210" y="0"/>
                    <a:pt x="210" y="0"/>
                  </a:cubicBezTo>
                  <a:lnTo>
                    <a:pt x="52" y="404"/>
                  </a:lnTo>
                  <a:close/>
                </a:path>
              </a:pathLst>
            </a:custGeom>
            <a:solidFill>
              <a:srgbClr val="005F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" name="Freeform 134">
              <a:extLst>
                <a:ext uri="{FF2B5EF4-FFF2-40B4-BE49-F238E27FC236}">
                  <a16:creationId xmlns:a16="http://schemas.microsoft.com/office/drawing/2014/main" xmlns="" id="{32C968BA-0A11-43DA-96C4-B235EA7E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761" y="4942102"/>
              <a:ext cx="1352949" cy="70215"/>
            </a:xfrm>
            <a:custGeom>
              <a:avLst/>
              <a:gdLst>
                <a:gd name="T0" fmla="*/ 1408 w 1446"/>
                <a:gd name="T1" fmla="*/ 0 h 75"/>
                <a:gd name="T2" fmla="*/ 37 w 1446"/>
                <a:gd name="T3" fmla="*/ 0 h 75"/>
                <a:gd name="T4" fmla="*/ 0 w 1446"/>
                <a:gd name="T5" fmla="*/ 38 h 75"/>
                <a:gd name="T6" fmla="*/ 37 w 1446"/>
                <a:gd name="T7" fmla="*/ 75 h 75"/>
                <a:gd name="T8" fmla="*/ 315 w 1446"/>
                <a:gd name="T9" fmla="*/ 75 h 75"/>
                <a:gd name="T10" fmla="*/ 370 w 1446"/>
                <a:gd name="T11" fmla="*/ 75 h 75"/>
                <a:gd name="T12" fmla="*/ 1104 w 1446"/>
                <a:gd name="T13" fmla="*/ 75 h 75"/>
                <a:gd name="T14" fmla="*/ 1158 w 1446"/>
                <a:gd name="T15" fmla="*/ 75 h 75"/>
                <a:gd name="T16" fmla="*/ 1408 w 1446"/>
                <a:gd name="T17" fmla="*/ 75 h 75"/>
                <a:gd name="T18" fmla="*/ 1446 w 1446"/>
                <a:gd name="T19" fmla="*/ 38 h 75"/>
                <a:gd name="T20" fmla="*/ 1408 w 1446"/>
                <a:gd name="T2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6" h="75">
                  <a:moveTo>
                    <a:pt x="1408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0" y="17"/>
                    <a:pt x="0" y="38"/>
                  </a:cubicBezTo>
                  <a:cubicBezTo>
                    <a:pt x="0" y="59"/>
                    <a:pt x="16" y="75"/>
                    <a:pt x="37" y="75"/>
                  </a:cubicBezTo>
                  <a:cubicBezTo>
                    <a:pt x="315" y="75"/>
                    <a:pt x="315" y="75"/>
                    <a:pt x="315" y="75"/>
                  </a:cubicBezTo>
                  <a:cubicBezTo>
                    <a:pt x="370" y="75"/>
                    <a:pt x="370" y="75"/>
                    <a:pt x="370" y="75"/>
                  </a:cubicBezTo>
                  <a:cubicBezTo>
                    <a:pt x="1104" y="75"/>
                    <a:pt x="1104" y="75"/>
                    <a:pt x="1104" y="75"/>
                  </a:cubicBezTo>
                  <a:cubicBezTo>
                    <a:pt x="1158" y="75"/>
                    <a:pt x="1158" y="75"/>
                    <a:pt x="1158" y="75"/>
                  </a:cubicBezTo>
                  <a:cubicBezTo>
                    <a:pt x="1408" y="75"/>
                    <a:pt x="1408" y="75"/>
                    <a:pt x="1408" y="75"/>
                  </a:cubicBezTo>
                  <a:cubicBezTo>
                    <a:pt x="1429" y="75"/>
                    <a:pt x="1446" y="59"/>
                    <a:pt x="1446" y="38"/>
                  </a:cubicBezTo>
                  <a:cubicBezTo>
                    <a:pt x="1446" y="17"/>
                    <a:pt x="1429" y="0"/>
                    <a:pt x="1408" y="0"/>
                  </a:cubicBezTo>
                  <a:close/>
                </a:path>
              </a:pathLst>
            </a:cu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" name="Rectangle 135">
              <a:extLst>
                <a:ext uri="{FF2B5EF4-FFF2-40B4-BE49-F238E27FC236}">
                  <a16:creationId xmlns:a16="http://schemas.microsoft.com/office/drawing/2014/main" xmlns="" id="{39B544A9-668C-4FE3-92FA-7C7922420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7990" y="4388766"/>
              <a:ext cx="316492" cy="5344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2" name="Rectangle 136">
              <a:extLst>
                <a:ext uri="{FF2B5EF4-FFF2-40B4-BE49-F238E27FC236}">
                  <a16:creationId xmlns:a16="http://schemas.microsoft.com/office/drawing/2014/main" xmlns="" id="{8D91EF4B-BB5B-4CCA-8AD2-B5D877F1F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7990" y="4554347"/>
              <a:ext cx="413954" cy="52399"/>
            </a:xfrm>
            <a:prstGeom prst="rect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3" name="Rectangle 137">
              <a:extLst>
                <a:ext uri="{FF2B5EF4-FFF2-40B4-BE49-F238E27FC236}">
                  <a16:creationId xmlns:a16="http://schemas.microsoft.com/office/drawing/2014/main" xmlns="" id="{7730E91E-5982-499F-B1AB-24E830A1E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7990" y="4719929"/>
              <a:ext cx="526089" cy="53447"/>
            </a:xfrm>
            <a:prstGeom prst="rect">
              <a:avLst/>
            </a:prstGeom>
            <a:solidFill>
              <a:srgbClr val="E100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4" name="Freeform 138">
              <a:extLst>
                <a:ext uri="{FF2B5EF4-FFF2-40B4-BE49-F238E27FC236}">
                  <a16:creationId xmlns:a16="http://schemas.microsoft.com/office/drawing/2014/main" xmlns="" id="{63D54E50-FF79-446D-94A6-7D20EA639C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0658" y="4369902"/>
              <a:ext cx="91175" cy="92223"/>
            </a:xfrm>
            <a:custGeom>
              <a:avLst/>
              <a:gdLst>
                <a:gd name="T0" fmla="*/ 49 w 98"/>
                <a:gd name="T1" fmla="*/ 99 h 99"/>
                <a:gd name="T2" fmla="*/ 0 w 98"/>
                <a:gd name="T3" fmla="*/ 49 h 99"/>
                <a:gd name="T4" fmla="*/ 49 w 98"/>
                <a:gd name="T5" fmla="*/ 0 h 99"/>
                <a:gd name="T6" fmla="*/ 98 w 98"/>
                <a:gd name="T7" fmla="*/ 49 h 99"/>
                <a:gd name="T8" fmla="*/ 49 w 98"/>
                <a:gd name="T9" fmla="*/ 99 h 99"/>
                <a:gd name="T10" fmla="*/ 49 w 98"/>
                <a:gd name="T11" fmla="*/ 20 h 99"/>
                <a:gd name="T12" fmla="*/ 20 w 98"/>
                <a:gd name="T13" fmla="*/ 49 h 99"/>
                <a:gd name="T14" fmla="*/ 49 w 98"/>
                <a:gd name="T15" fmla="*/ 79 h 99"/>
                <a:gd name="T16" fmla="*/ 78 w 98"/>
                <a:gd name="T17" fmla="*/ 49 h 99"/>
                <a:gd name="T18" fmla="*/ 49 w 98"/>
                <a:gd name="T19" fmla="*/ 2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99">
                  <a:moveTo>
                    <a:pt x="49" y="99"/>
                  </a:moveTo>
                  <a:cubicBezTo>
                    <a:pt x="22" y="99"/>
                    <a:pt x="0" y="77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49"/>
                  </a:cubicBezTo>
                  <a:cubicBezTo>
                    <a:pt x="98" y="77"/>
                    <a:pt x="76" y="99"/>
                    <a:pt x="49" y="99"/>
                  </a:cubicBezTo>
                  <a:close/>
                  <a:moveTo>
                    <a:pt x="49" y="20"/>
                  </a:moveTo>
                  <a:cubicBezTo>
                    <a:pt x="33" y="20"/>
                    <a:pt x="20" y="33"/>
                    <a:pt x="20" y="49"/>
                  </a:cubicBezTo>
                  <a:cubicBezTo>
                    <a:pt x="20" y="66"/>
                    <a:pt x="33" y="79"/>
                    <a:pt x="49" y="79"/>
                  </a:cubicBezTo>
                  <a:cubicBezTo>
                    <a:pt x="65" y="79"/>
                    <a:pt x="78" y="66"/>
                    <a:pt x="78" y="49"/>
                  </a:cubicBezTo>
                  <a:cubicBezTo>
                    <a:pt x="78" y="33"/>
                    <a:pt x="65" y="20"/>
                    <a:pt x="49" y="20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5" name="Freeform 139">
              <a:extLst>
                <a:ext uri="{FF2B5EF4-FFF2-40B4-BE49-F238E27FC236}">
                  <a16:creationId xmlns:a16="http://schemas.microsoft.com/office/drawing/2014/main" xmlns="" id="{B0897413-ACFC-4795-B4AE-338641C253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4370" y="4534436"/>
              <a:ext cx="93271" cy="92223"/>
            </a:xfrm>
            <a:custGeom>
              <a:avLst/>
              <a:gdLst>
                <a:gd name="T0" fmla="*/ 50 w 99"/>
                <a:gd name="T1" fmla="*/ 99 h 99"/>
                <a:gd name="T2" fmla="*/ 0 w 99"/>
                <a:gd name="T3" fmla="*/ 49 h 99"/>
                <a:gd name="T4" fmla="*/ 50 w 99"/>
                <a:gd name="T5" fmla="*/ 0 h 99"/>
                <a:gd name="T6" fmla="*/ 99 w 99"/>
                <a:gd name="T7" fmla="*/ 49 h 99"/>
                <a:gd name="T8" fmla="*/ 50 w 99"/>
                <a:gd name="T9" fmla="*/ 99 h 99"/>
                <a:gd name="T10" fmla="*/ 50 w 99"/>
                <a:gd name="T11" fmla="*/ 20 h 99"/>
                <a:gd name="T12" fmla="*/ 20 w 99"/>
                <a:gd name="T13" fmla="*/ 49 h 99"/>
                <a:gd name="T14" fmla="*/ 50 w 99"/>
                <a:gd name="T15" fmla="*/ 79 h 99"/>
                <a:gd name="T16" fmla="*/ 79 w 99"/>
                <a:gd name="T17" fmla="*/ 49 h 99"/>
                <a:gd name="T18" fmla="*/ 50 w 99"/>
                <a:gd name="T19" fmla="*/ 2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50" y="99"/>
                  </a:moveTo>
                  <a:cubicBezTo>
                    <a:pt x="22" y="99"/>
                    <a:pt x="0" y="77"/>
                    <a:pt x="0" y="49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99" y="22"/>
                    <a:pt x="99" y="49"/>
                  </a:cubicBezTo>
                  <a:cubicBezTo>
                    <a:pt x="99" y="77"/>
                    <a:pt x="77" y="99"/>
                    <a:pt x="50" y="99"/>
                  </a:cubicBezTo>
                  <a:close/>
                  <a:moveTo>
                    <a:pt x="50" y="20"/>
                  </a:moveTo>
                  <a:cubicBezTo>
                    <a:pt x="33" y="20"/>
                    <a:pt x="20" y="33"/>
                    <a:pt x="20" y="49"/>
                  </a:cubicBezTo>
                  <a:cubicBezTo>
                    <a:pt x="20" y="65"/>
                    <a:pt x="33" y="79"/>
                    <a:pt x="50" y="79"/>
                  </a:cubicBezTo>
                  <a:cubicBezTo>
                    <a:pt x="66" y="79"/>
                    <a:pt x="79" y="65"/>
                    <a:pt x="79" y="49"/>
                  </a:cubicBezTo>
                  <a:cubicBezTo>
                    <a:pt x="79" y="33"/>
                    <a:pt x="66" y="20"/>
                    <a:pt x="50" y="20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6" name="Freeform 140">
              <a:extLst>
                <a:ext uri="{FF2B5EF4-FFF2-40B4-BE49-F238E27FC236}">
                  <a16:creationId xmlns:a16="http://schemas.microsoft.com/office/drawing/2014/main" xmlns="" id="{6482B340-047E-4A25-AB2D-50674F7521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0658" y="4701065"/>
              <a:ext cx="92223" cy="92223"/>
            </a:xfrm>
            <a:custGeom>
              <a:avLst/>
              <a:gdLst>
                <a:gd name="T0" fmla="*/ 49 w 99"/>
                <a:gd name="T1" fmla="*/ 99 h 99"/>
                <a:gd name="T2" fmla="*/ 0 w 99"/>
                <a:gd name="T3" fmla="*/ 49 h 99"/>
                <a:gd name="T4" fmla="*/ 49 w 99"/>
                <a:gd name="T5" fmla="*/ 0 h 99"/>
                <a:gd name="T6" fmla="*/ 99 w 99"/>
                <a:gd name="T7" fmla="*/ 49 h 99"/>
                <a:gd name="T8" fmla="*/ 49 w 99"/>
                <a:gd name="T9" fmla="*/ 99 h 99"/>
                <a:gd name="T10" fmla="*/ 49 w 99"/>
                <a:gd name="T11" fmla="*/ 20 h 99"/>
                <a:gd name="T12" fmla="*/ 20 w 99"/>
                <a:gd name="T13" fmla="*/ 49 h 99"/>
                <a:gd name="T14" fmla="*/ 49 w 99"/>
                <a:gd name="T15" fmla="*/ 78 h 99"/>
                <a:gd name="T16" fmla="*/ 79 w 99"/>
                <a:gd name="T17" fmla="*/ 49 h 99"/>
                <a:gd name="T18" fmla="*/ 49 w 99"/>
                <a:gd name="T19" fmla="*/ 2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49" y="99"/>
                  </a:moveTo>
                  <a:cubicBezTo>
                    <a:pt x="22" y="99"/>
                    <a:pt x="0" y="76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7" y="0"/>
                    <a:pt x="99" y="22"/>
                    <a:pt x="99" y="49"/>
                  </a:cubicBezTo>
                  <a:cubicBezTo>
                    <a:pt x="99" y="76"/>
                    <a:pt x="77" y="99"/>
                    <a:pt x="49" y="99"/>
                  </a:cubicBezTo>
                  <a:close/>
                  <a:moveTo>
                    <a:pt x="49" y="20"/>
                  </a:moveTo>
                  <a:cubicBezTo>
                    <a:pt x="33" y="20"/>
                    <a:pt x="20" y="33"/>
                    <a:pt x="20" y="49"/>
                  </a:cubicBezTo>
                  <a:cubicBezTo>
                    <a:pt x="20" y="65"/>
                    <a:pt x="33" y="78"/>
                    <a:pt x="49" y="78"/>
                  </a:cubicBezTo>
                  <a:cubicBezTo>
                    <a:pt x="65" y="78"/>
                    <a:pt x="79" y="65"/>
                    <a:pt x="79" y="49"/>
                  </a:cubicBezTo>
                  <a:cubicBezTo>
                    <a:pt x="79" y="33"/>
                    <a:pt x="65" y="20"/>
                    <a:pt x="49" y="20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7" name="Rectangle 141">
              <a:extLst>
                <a:ext uri="{FF2B5EF4-FFF2-40B4-BE49-F238E27FC236}">
                  <a16:creationId xmlns:a16="http://schemas.microsoft.com/office/drawing/2014/main" xmlns="" id="{526DED89-88DF-42C8-A711-115795FB5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3725" y="4406581"/>
              <a:ext cx="226365" cy="17816"/>
            </a:xfrm>
            <a:prstGeom prst="rect">
              <a:avLst/>
            </a:pr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8" name="Rectangle 142">
              <a:extLst>
                <a:ext uri="{FF2B5EF4-FFF2-40B4-BE49-F238E27FC236}">
                  <a16:creationId xmlns:a16="http://schemas.microsoft.com/office/drawing/2014/main" xmlns="" id="{47FC5778-E37C-4914-8823-4A3E43BBE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3725" y="4571115"/>
              <a:ext cx="220077" cy="17816"/>
            </a:xfrm>
            <a:prstGeom prst="rect">
              <a:avLst/>
            </a:pr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9" name="Rectangle 143">
              <a:extLst>
                <a:ext uri="{FF2B5EF4-FFF2-40B4-BE49-F238E27FC236}">
                  <a16:creationId xmlns:a16="http://schemas.microsoft.com/office/drawing/2014/main" xmlns="" id="{6958EEFD-0C7E-4B03-9462-DED9D69E2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3725" y="4737745"/>
              <a:ext cx="226365" cy="17816"/>
            </a:xfrm>
            <a:prstGeom prst="rect">
              <a:avLst/>
            </a:pr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xmlns="" id="{B15F30A1-1572-43A5-A322-F12A936C931C}"/>
              </a:ext>
            </a:extLst>
          </p:cNvPr>
          <p:cNvGrpSpPr/>
          <p:nvPr/>
        </p:nvGrpSpPr>
        <p:grpSpPr>
          <a:xfrm>
            <a:off x="1689783" y="1657656"/>
            <a:ext cx="958544" cy="1242304"/>
            <a:chOff x="3661072" y="2922635"/>
            <a:chExt cx="899171" cy="1165359"/>
          </a:xfrm>
        </p:grpSpPr>
        <p:sp>
          <p:nvSpPr>
            <p:cNvPr id="140" name="Freeform 144">
              <a:extLst>
                <a:ext uri="{FF2B5EF4-FFF2-40B4-BE49-F238E27FC236}">
                  <a16:creationId xmlns:a16="http://schemas.microsoft.com/office/drawing/2014/main" xmlns="" id="{9E24BDEF-A741-47D3-9199-9D6B9A618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5722" y="3328205"/>
              <a:ext cx="6288" cy="1048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0 h 1"/>
                <a:gd name="T6" fmla="*/ 0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1" name="Freeform 145">
              <a:extLst>
                <a:ext uri="{FF2B5EF4-FFF2-40B4-BE49-F238E27FC236}">
                  <a16:creationId xmlns:a16="http://schemas.microsoft.com/office/drawing/2014/main" xmlns="" id="{DCD0B54A-1D9C-441E-A0FC-8ED113A08E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1072" y="3117560"/>
              <a:ext cx="899171" cy="899171"/>
            </a:xfrm>
            <a:custGeom>
              <a:avLst/>
              <a:gdLst>
                <a:gd name="T0" fmla="*/ 451 w 961"/>
                <a:gd name="T1" fmla="*/ 960 h 961"/>
                <a:gd name="T2" fmla="*/ 438 w 961"/>
                <a:gd name="T3" fmla="*/ 959 h 961"/>
                <a:gd name="T4" fmla="*/ 531 w 961"/>
                <a:gd name="T5" fmla="*/ 959 h 961"/>
                <a:gd name="T6" fmla="*/ 570 w 961"/>
                <a:gd name="T7" fmla="*/ 953 h 961"/>
                <a:gd name="T8" fmla="*/ 593 w 961"/>
                <a:gd name="T9" fmla="*/ 934 h 961"/>
                <a:gd name="T10" fmla="*/ 605 w 961"/>
                <a:gd name="T11" fmla="*/ 931 h 961"/>
                <a:gd name="T12" fmla="*/ 634 w 961"/>
                <a:gd name="T13" fmla="*/ 936 h 961"/>
                <a:gd name="T14" fmla="*/ 309 w 961"/>
                <a:gd name="T15" fmla="*/ 930 h 961"/>
                <a:gd name="T16" fmla="*/ 289 w 961"/>
                <a:gd name="T17" fmla="*/ 908 h 961"/>
                <a:gd name="T18" fmla="*/ 255 w 961"/>
                <a:gd name="T19" fmla="*/ 890 h 961"/>
                <a:gd name="T20" fmla="*/ 225 w 961"/>
                <a:gd name="T21" fmla="*/ 888 h 961"/>
                <a:gd name="T22" fmla="*/ 214 w 961"/>
                <a:gd name="T23" fmla="*/ 881 h 961"/>
                <a:gd name="T24" fmla="*/ 752 w 961"/>
                <a:gd name="T25" fmla="*/ 877 h 961"/>
                <a:gd name="T26" fmla="*/ 784 w 961"/>
                <a:gd name="T27" fmla="*/ 853 h 961"/>
                <a:gd name="T28" fmla="*/ 796 w 961"/>
                <a:gd name="T29" fmla="*/ 826 h 961"/>
                <a:gd name="T30" fmla="*/ 805 w 961"/>
                <a:gd name="T31" fmla="*/ 817 h 961"/>
                <a:gd name="T32" fmla="*/ 833 w 961"/>
                <a:gd name="T33" fmla="*/ 807 h 961"/>
                <a:gd name="T34" fmla="*/ 115 w 961"/>
                <a:gd name="T35" fmla="*/ 793 h 961"/>
                <a:gd name="T36" fmla="*/ 109 w 961"/>
                <a:gd name="T37" fmla="*/ 765 h 961"/>
                <a:gd name="T38" fmla="*/ 87 w 961"/>
                <a:gd name="T39" fmla="*/ 733 h 961"/>
                <a:gd name="T40" fmla="*/ 62 w 961"/>
                <a:gd name="T41" fmla="*/ 717 h 961"/>
                <a:gd name="T42" fmla="*/ 55 w 961"/>
                <a:gd name="T43" fmla="*/ 706 h 961"/>
                <a:gd name="T44" fmla="*/ 909 w 961"/>
                <a:gd name="T45" fmla="*/ 699 h 961"/>
                <a:gd name="T46" fmla="*/ 925 w 961"/>
                <a:gd name="T47" fmla="*/ 662 h 961"/>
                <a:gd name="T48" fmla="*/ 922 w 961"/>
                <a:gd name="T49" fmla="*/ 633 h 961"/>
                <a:gd name="T50" fmla="*/ 926 w 961"/>
                <a:gd name="T51" fmla="*/ 621 h 961"/>
                <a:gd name="T52" fmla="*/ 946 w 961"/>
                <a:gd name="T53" fmla="*/ 599 h 961"/>
                <a:gd name="T54" fmla="*/ 10 w 961"/>
                <a:gd name="T55" fmla="*/ 581 h 961"/>
                <a:gd name="T56" fmla="*/ 18 w 961"/>
                <a:gd name="T57" fmla="*/ 553 h 961"/>
                <a:gd name="T58" fmla="*/ 14 w 961"/>
                <a:gd name="T59" fmla="*/ 515 h 961"/>
                <a:gd name="T60" fmla="*/ 0 w 961"/>
                <a:gd name="T61" fmla="*/ 489 h 961"/>
                <a:gd name="T62" fmla="*/ 948 w 961"/>
                <a:gd name="T63" fmla="*/ 477 h 961"/>
                <a:gd name="T64" fmla="*/ 13 w 961"/>
                <a:gd name="T65" fmla="*/ 476 h 961"/>
                <a:gd name="T66" fmla="*/ 15 w 961"/>
                <a:gd name="T67" fmla="*/ 437 h 961"/>
                <a:gd name="T68" fmla="*/ 5 w 961"/>
                <a:gd name="T69" fmla="*/ 410 h 961"/>
                <a:gd name="T70" fmla="*/ 7 w 961"/>
                <a:gd name="T71" fmla="*/ 397 h 961"/>
                <a:gd name="T72" fmla="*/ 25 w 961"/>
                <a:gd name="T73" fmla="*/ 374 h 961"/>
                <a:gd name="T74" fmla="*/ 929 w 961"/>
                <a:gd name="T75" fmla="*/ 350 h 961"/>
                <a:gd name="T76" fmla="*/ 933 w 961"/>
                <a:gd name="T77" fmla="*/ 321 h 961"/>
                <a:gd name="T78" fmla="*/ 919 w 961"/>
                <a:gd name="T79" fmla="*/ 284 h 961"/>
                <a:gd name="T80" fmla="*/ 895 w 961"/>
                <a:gd name="T81" fmla="*/ 266 h 961"/>
                <a:gd name="T82" fmla="*/ 889 w 961"/>
                <a:gd name="T83" fmla="*/ 255 h 961"/>
                <a:gd name="T84" fmla="*/ 72 w 961"/>
                <a:gd name="T85" fmla="*/ 253 h 961"/>
                <a:gd name="T86" fmla="*/ 92 w 961"/>
                <a:gd name="T87" fmla="*/ 220 h 961"/>
                <a:gd name="T88" fmla="*/ 97 w 961"/>
                <a:gd name="T89" fmla="*/ 191 h 961"/>
                <a:gd name="T90" fmla="*/ 105 w 961"/>
                <a:gd name="T91" fmla="*/ 181 h 961"/>
                <a:gd name="T92" fmla="*/ 132 w 961"/>
                <a:gd name="T93" fmla="*/ 169 h 961"/>
                <a:gd name="T94" fmla="*/ 812 w 961"/>
                <a:gd name="T95" fmla="*/ 152 h 961"/>
                <a:gd name="T96" fmla="*/ 802 w 961"/>
                <a:gd name="T97" fmla="*/ 124 h 961"/>
                <a:gd name="T98" fmla="*/ 772 w 961"/>
                <a:gd name="T99" fmla="*/ 99 h 961"/>
                <a:gd name="T100" fmla="*/ 743 w 961"/>
                <a:gd name="T101" fmla="*/ 94 h 961"/>
                <a:gd name="T102" fmla="*/ 732 w 961"/>
                <a:gd name="T103" fmla="*/ 87 h 961"/>
                <a:gd name="T104" fmla="*/ 230 w 961"/>
                <a:gd name="T105" fmla="*/ 86 h 961"/>
                <a:gd name="T106" fmla="*/ 263 w 961"/>
                <a:gd name="T107" fmla="*/ 67 h 961"/>
                <a:gd name="T108" fmla="*/ 281 w 961"/>
                <a:gd name="T109" fmla="*/ 43 h 961"/>
                <a:gd name="T110" fmla="*/ 293 w 961"/>
                <a:gd name="T111" fmla="*/ 38 h 961"/>
                <a:gd name="T112" fmla="*/ 322 w 961"/>
                <a:gd name="T113" fmla="*/ 41 h 961"/>
                <a:gd name="T114" fmla="*/ 615 w 961"/>
                <a:gd name="T115" fmla="*/ 33 h 961"/>
                <a:gd name="T116" fmla="*/ 593 w 961"/>
                <a:gd name="T117" fmla="*/ 14 h 961"/>
                <a:gd name="T118" fmla="*/ 554 w 961"/>
                <a:gd name="T119" fmla="*/ 6 h 961"/>
                <a:gd name="T120" fmla="*/ 526 w 961"/>
                <a:gd name="T121" fmla="*/ 16 h 961"/>
                <a:gd name="T122" fmla="*/ 513 w 961"/>
                <a:gd name="T123" fmla="*/ 15 h 961"/>
                <a:gd name="T124" fmla="*/ 449 w 961"/>
                <a:gd name="T125" fmla="*/ 1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1" h="961">
                  <a:moveTo>
                    <a:pt x="480" y="961"/>
                  </a:moveTo>
                  <a:cubicBezTo>
                    <a:pt x="478" y="961"/>
                    <a:pt x="478" y="961"/>
                    <a:pt x="478" y="961"/>
                  </a:cubicBezTo>
                  <a:cubicBezTo>
                    <a:pt x="478" y="948"/>
                    <a:pt x="478" y="948"/>
                    <a:pt x="478" y="948"/>
                  </a:cubicBezTo>
                  <a:cubicBezTo>
                    <a:pt x="480" y="948"/>
                    <a:pt x="480" y="948"/>
                    <a:pt x="480" y="948"/>
                  </a:cubicBezTo>
                  <a:cubicBezTo>
                    <a:pt x="484" y="948"/>
                    <a:pt x="487" y="948"/>
                    <a:pt x="491" y="948"/>
                  </a:cubicBezTo>
                  <a:cubicBezTo>
                    <a:pt x="491" y="961"/>
                    <a:pt x="491" y="961"/>
                    <a:pt x="491" y="961"/>
                  </a:cubicBezTo>
                  <a:cubicBezTo>
                    <a:pt x="487" y="961"/>
                    <a:pt x="484" y="961"/>
                    <a:pt x="480" y="961"/>
                  </a:cubicBezTo>
                  <a:close/>
                  <a:moveTo>
                    <a:pt x="464" y="961"/>
                  </a:moveTo>
                  <a:cubicBezTo>
                    <a:pt x="460" y="961"/>
                    <a:pt x="456" y="961"/>
                    <a:pt x="451" y="960"/>
                  </a:cubicBezTo>
                  <a:cubicBezTo>
                    <a:pt x="452" y="947"/>
                    <a:pt x="452" y="947"/>
                    <a:pt x="452" y="947"/>
                  </a:cubicBezTo>
                  <a:cubicBezTo>
                    <a:pt x="456" y="948"/>
                    <a:pt x="461" y="948"/>
                    <a:pt x="465" y="948"/>
                  </a:cubicBezTo>
                  <a:lnTo>
                    <a:pt x="464" y="961"/>
                  </a:lnTo>
                  <a:close/>
                  <a:moveTo>
                    <a:pt x="504" y="961"/>
                  </a:moveTo>
                  <a:cubicBezTo>
                    <a:pt x="504" y="948"/>
                    <a:pt x="504" y="948"/>
                    <a:pt x="504" y="948"/>
                  </a:cubicBezTo>
                  <a:cubicBezTo>
                    <a:pt x="508" y="947"/>
                    <a:pt x="512" y="947"/>
                    <a:pt x="517" y="947"/>
                  </a:cubicBezTo>
                  <a:cubicBezTo>
                    <a:pt x="518" y="960"/>
                    <a:pt x="518" y="960"/>
                    <a:pt x="518" y="960"/>
                  </a:cubicBezTo>
                  <a:cubicBezTo>
                    <a:pt x="513" y="960"/>
                    <a:pt x="509" y="960"/>
                    <a:pt x="504" y="961"/>
                  </a:cubicBezTo>
                  <a:close/>
                  <a:moveTo>
                    <a:pt x="438" y="959"/>
                  </a:moveTo>
                  <a:cubicBezTo>
                    <a:pt x="433" y="959"/>
                    <a:pt x="429" y="959"/>
                    <a:pt x="425" y="958"/>
                  </a:cubicBezTo>
                  <a:cubicBezTo>
                    <a:pt x="426" y="945"/>
                    <a:pt x="426" y="945"/>
                    <a:pt x="426" y="945"/>
                  </a:cubicBezTo>
                  <a:cubicBezTo>
                    <a:pt x="430" y="946"/>
                    <a:pt x="435" y="946"/>
                    <a:pt x="439" y="946"/>
                  </a:cubicBezTo>
                  <a:lnTo>
                    <a:pt x="438" y="959"/>
                  </a:lnTo>
                  <a:close/>
                  <a:moveTo>
                    <a:pt x="531" y="959"/>
                  </a:moveTo>
                  <a:cubicBezTo>
                    <a:pt x="529" y="946"/>
                    <a:pt x="529" y="946"/>
                    <a:pt x="529" y="946"/>
                  </a:cubicBezTo>
                  <a:cubicBezTo>
                    <a:pt x="534" y="945"/>
                    <a:pt x="538" y="945"/>
                    <a:pt x="542" y="944"/>
                  </a:cubicBezTo>
                  <a:cubicBezTo>
                    <a:pt x="544" y="957"/>
                    <a:pt x="544" y="957"/>
                    <a:pt x="544" y="957"/>
                  </a:cubicBezTo>
                  <a:cubicBezTo>
                    <a:pt x="540" y="958"/>
                    <a:pt x="535" y="958"/>
                    <a:pt x="531" y="959"/>
                  </a:cubicBezTo>
                  <a:close/>
                  <a:moveTo>
                    <a:pt x="412" y="956"/>
                  </a:moveTo>
                  <a:cubicBezTo>
                    <a:pt x="407" y="956"/>
                    <a:pt x="403" y="955"/>
                    <a:pt x="398" y="954"/>
                  </a:cubicBezTo>
                  <a:cubicBezTo>
                    <a:pt x="401" y="941"/>
                    <a:pt x="401" y="941"/>
                    <a:pt x="401" y="941"/>
                  </a:cubicBezTo>
                  <a:cubicBezTo>
                    <a:pt x="405" y="942"/>
                    <a:pt x="409" y="943"/>
                    <a:pt x="413" y="943"/>
                  </a:cubicBezTo>
                  <a:lnTo>
                    <a:pt x="412" y="956"/>
                  </a:lnTo>
                  <a:close/>
                  <a:moveTo>
                    <a:pt x="557" y="955"/>
                  </a:moveTo>
                  <a:cubicBezTo>
                    <a:pt x="555" y="942"/>
                    <a:pt x="555" y="942"/>
                    <a:pt x="555" y="942"/>
                  </a:cubicBezTo>
                  <a:cubicBezTo>
                    <a:pt x="559" y="941"/>
                    <a:pt x="563" y="941"/>
                    <a:pt x="568" y="940"/>
                  </a:cubicBezTo>
                  <a:cubicBezTo>
                    <a:pt x="570" y="953"/>
                    <a:pt x="570" y="953"/>
                    <a:pt x="570" y="953"/>
                  </a:cubicBezTo>
                  <a:cubicBezTo>
                    <a:pt x="566" y="954"/>
                    <a:pt x="561" y="954"/>
                    <a:pt x="557" y="955"/>
                  </a:cubicBezTo>
                  <a:close/>
                  <a:moveTo>
                    <a:pt x="385" y="952"/>
                  </a:moveTo>
                  <a:cubicBezTo>
                    <a:pt x="381" y="951"/>
                    <a:pt x="377" y="950"/>
                    <a:pt x="372" y="949"/>
                  </a:cubicBezTo>
                  <a:cubicBezTo>
                    <a:pt x="375" y="936"/>
                    <a:pt x="375" y="936"/>
                    <a:pt x="375" y="936"/>
                  </a:cubicBezTo>
                  <a:cubicBezTo>
                    <a:pt x="379" y="937"/>
                    <a:pt x="384" y="938"/>
                    <a:pt x="388" y="939"/>
                  </a:cubicBezTo>
                  <a:lnTo>
                    <a:pt x="385" y="952"/>
                  </a:lnTo>
                  <a:close/>
                  <a:moveTo>
                    <a:pt x="583" y="950"/>
                  </a:moveTo>
                  <a:cubicBezTo>
                    <a:pt x="580" y="937"/>
                    <a:pt x="580" y="937"/>
                    <a:pt x="580" y="937"/>
                  </a:cubicBezTo>
                  <a:cubicBezTo>
                    <a:pt x="585" y="936"/>
                    <a:pt x="589" y="935"/>
                    <a:pt x="593" y="934"/>
                  </a:cubicBezTo>
                  <a:cubicBezTo>
                    <a:pt x="596" y="947"/>
                    <a:pt x="596" y="947"/>
                    <a:pt x="596" y="947"/>
                  </a:cubicBezTo>
                  <a:cubicBezTo>
                    <a:pt x="592" y="948"/>
                    <a:pt x="588" y="949"/>
                    <a:pt x="583" y="950"/>
                  </a:cubicBezTo>
                  <a:close/>
                  <a:moveTo>
                    <a:pt x="359" y="946"/>
                  </a:moveTo>
                  <a:cubicBezTo>
                    <a:pt x="355" y="945"/>
                    <a:pt x="351" y="944"/>
                    <a:pt x="347" y="942"/>
                  </a:cubicBezTo>
                  <a:cubicBezTo>
                    <a:pt x="350" y="930"/>
                    <a:pt x="350" y="930"/>
                    <a:pt x="350" y="930"/>
                  </a:cubicBezTo>
                  <a:cubicBezTo>
                    <a:pt x="354" y="931"/>
                    <a:pt x="359" y="932"/>
                    <a:pt x="363" y="933"/>
                  </a:cubicBezTo>
                  <a:lnTo>
                    <a:pt x="359" y="946"/>
                  </a:lnTo>
                  <a:close/>
                  <a:moveTo>
                    <a:pt x="609" y="944"/>
                  </a:moveTo>
                  <a:cubicBezTo>
                    <a:pt x="605" y="931"/>
                    <a:pt x="605" y="931"/>
                    <a:pt x="605" y="931"/>
                  </a:cubicBezTo>
                  <a:cubicBezTo>
                    <a:pt x="610" y="930"/>
                    <a:pt x="614" y="929"/>
                    <a:pt x="618" y="927"/>
                  </a:cubicBezTo>
                  <a:cubicBezTo>
                    <a:pt x="622" y="940"/>
                    <a:pt x="622" y="940"/>
                    <a:pt x="622" y="940"/>
                  </a:cubicBezTo>
                  <a:cubicBezTo>
                    <a:pt x="617" y="941"/>
                    <a:pt x="613" y="943"/>
                    <a:pt x="609" y="944"/>
                  </a:cubicBezTo>
                  <a:close/>
                  <a:moveTo>
                    <a:pt x="334" y="939"/>
                  </a:moveTo>
                  <a:cubicBezTo>
                    <a:pt x="330" y="937"/>
                    <a:pt x="325" y="936"/>
                    <a:pt x="321" y="934"/>
                  </a:cubicBezTo>
                  <a:cubicBezTo>
                    <a:pt x="326" y="922"/>
                    <a:pt x="326" y="922"/>
                    <a:pt x="326" y="922"/>
                  </a:cubicBezTo>
                  <a:cubicBezTo>
                    <a:pt x="330" y="923"/>
                    <a:pt x="334" y="925"/>
                    <a:pt x="338" y="926"/>
                  </a:cubicBezTo>
                  <a:lnTo>
                    <a:pt x="334" y="939"/>
                  </a:lnTo>
                  <a:close/>
                  <a:moveTo>
                    <a:pt x="634" y="936"/>
                  </a:moveTo>
                  <a:cubicBezTo>
                    <a:pt x="630" y="924"/>
                    <a:pt x="630" y="924"/>
                    <a:pt x="630" y="924"/>
                  </a:cubicBezTo>
                  <a:cubicBezTo>
                    <a:pt x="634" y="922"/>
                    <a:pt x="638" y="921"/>
                    <a:pt x="642" y="919"/>
                  </a:cubicBezTo>
                  <a:cubicBezTo>
                    <a:pt x="647" y="931"/>
                    <a:pt x="647" y="931"/>
                    <a:pt x="647" y="931"/>
                  </a:cubicBezTo>
                  <a:cubicBezTo>
                    <a:pt x="643" y="933"/>
                    <a:pt x="639" y="935"/>
                    <a:pt x="634" y="936"/>
                  </a:cubicBezTo>
                  <a:close/>
                  <a:moveTo>
                    <a:pt x="309" y="930"/>
                  </a:moveTo>
                  <a:cubicBezTo>
                    <a:pt x="305" y="928"/>
                    <a:pt x="300" y="926"/>
                    <a:pt x="296" y="925"/>
                  </a:cubicBezTo>
                  <a:cubicBezTo>
                    <a:pt x="301" y="913"/>
                    <a:pt x="301" y="913"/>
                    <a:pt x="301" y="913"/>
                  </a:cubicBezTo>
                  <a:cubicBezTo>
                    <a:pt x="305" y="914"/>
                    <a:pt x="309" y="916"/>
                    <a:pt x="313" y="917"/>
                  </a:cubicBezTo>
                  <a:lnTo>
                    <a:pt x="309" y="930"/>
                  </a:lnTo>
                  <a:close/>
                  <a:moveTo>
                    <a:pt x="659" y="927"/>
                  </a:moveTo>
                  <a:cubicBezTo>
                    <a:pt x="654" y="915"/>
                    <a:pt x="654" y="915"/>
                    <a:pt x="654" y="915"/>
                  </a:cubicBezTo>
                  <a:cubicBezTo>
                    <a:pt x="658" y="913"/>
                    <a:pt x="662" y="911"/>
                    <a:pt x="666" y="910"/>
                  </a:cubicBezTo>
                  <a:cubicBezTo>
                    <a:pt x="671" y="922"/>
                    <a:pt x="671" y="922"/>
                    <a:pt x="671" y="922"/>
                  </a:cubicBezTo>
                  <a:cubicBezTo>
                    <a:pt x="667" y="923"/>
                    <a:pt x="663" y="925"/>
                    <a:pt x="659" y="927"/>
                  </a:cubicBezTo>
                  <a:close/>
                  <a:moveTo>
                    <a:pt x="284" y="920"/>
                  </a:moveTo>
                  <a:cubicBezTo>
                    <a:pt x="280" y="918"/>
                    <a:pt x="276" y="916"/>
                    <a:pt x="272" y="914"/>
                  </a:cubicBezTo>
                  <a:cubicBezTo>
                    <a:pt x="278" y="902"/>
                    <a:pt x="278" y="902"/>
                    <a:pt x="278" y="902"/>
                  </a:cubicBezTo>
                  <a:cubicBezTo>
                    <a:pt x="282" y="904"/>
                    <a:pt x="286" y="906"/>
                    <a:pt x="289" y="908"/>
                  </a:cubicBezTo>
                  <a:lnTo>
                    <a:pt x="284" y="920"/>
                  </a:lnTo>
                  <a:close/>
                  <a:moveTo>
                    <a:pt x="684" y="916"/>
                  </a:moveTo>
                  <a:cubicBezTo>
                    <a:pt x="678" y="904"/>
                    <a:pt x="678" y="904"/>
                    <a:pt x="678" y="904"/>
                  </a:cubicBezTo>
                  <a:cubicBezTo>
                    <a:pt x="682" y="902"/>
                    <a:pt x="686" y="901"/>
                    <a:pt x="690" y="899"/>
                  </a:cubicBezTo>
                  <a:cubicBezTo>
                    <a:pt x="695" y="910"/>
                    <a:pt x="695" y="910"/>
                    <a:pt x="695" y="910"/>
                  </a:cubicBezTo>
                  <a:cubicBezTo>
                    <a:pt x="692" y="912"/>
                    <a:pt x="688" y="914"/>
                    <a:pt x="684" y="916"/>
                  </a:cubicBezTo>
                  <a:close/>
                  <a:moveTo>
                    <a:pt x="260" y="908"/>
                  </a:moveTo>
                  <a:cubicBezTo>
                    <a:pt x="256" y="906"/>
                    <a:pt x="252" y="904"/>
                    <a:pt x="248" y="902"/>
                  </a:cubicBezTo>
                  <a:cubicBezTo>
                    <a:pt x="255" y="890"/>
                    <a:pt x="255" y="890"/>
                    <a:pt x="255" y="890"/>
                  </a:cubicBezTo>
                  <a:cubicBezTo>
                    <a:pt x="259" y="892"/>
                    <a:pt x="262" y="894"/>
                    <a:pt x="266" y="896"/>
                  </a:cubicBezTo>
                  <a:lnTo>
                    <a:pt x="260" y="908"/>
                  </a:lnTo>
                  <a:close/>
                  <a:moveTo>
                    <a:pt x="707" y="904"/>
                  </a:moveTo>
                  <a:cubicBezTo>
                    <a:pt x="701" y="893"/>
                    <a:pt x="701" y="893"/>
                    <a:pt x="701" y="893"/>
                  </a:cubicBezTo>
                  <a:cubicBezTo>
                    <a:pt x="705" y="891"/>
                    <a:pt x="709" y="889"/>
                    <a:pt x="712" y="886"/>
                  </a:cubicBezTo>
                  <a:cubicBezTo>
                    <a:pt x="719" y="898"/>
                    <a:pt x="719" y="898"/>
                    <a:pt x="719" y="898"/>
                  </a:cubicBezTo>
                  <a:cubicBezTo>
                    <a:pt x="715" y="900"/>
                    <a:pt x="711" y="902"/>
                    <a:pt x="707" y="904"/>
                  </a:cubicBezTo>
                  <a:close/>
                  <a:moveTo>
                    <a:pt x="237" y="895"/>
                  </a:moveTo>
                  <a:cubicBezTo>
                    <a:pt x="233" y="893"/>
                    <a:pt x="229" y="891"/>
                    <a:pt x="225" y="888"/>
                  </a:cubicBezTo>
                  <a:cubicBezTo>
                    <a:pt x="232" y="877"/>
                    <a:pt x="232" y="877"/>
                    <a:pt x="232" y="877"/>
                  </a:cubicBezTo>
                  <a:cubicBezTo>
                    <a:pt x="236" y="879"/>
                    <a:pt x="240" y="882"/>
                    <a:pt x="243" y="884"/>
                  </a:cubicBezTo>
                  <a:lnTo>
                    <a:pt x="237" y="895"/>
                  </a:lnTo>
                  <a:close/>
                  <a:moveTo>
                    <a:pt x="730" y="891"/>
                  </a:moveTo>
                  <a:cubicBezTo>
                    <a:pt x="723" y="880"/>
                    <a:pt x="723" y="880"/>
                    <a:pt x="723" y="880"/>
                  </a:cubicBezTo>
                  <a:cubicBezTo>
                    <a:pt x="727" y="878"/>
                    <a:pt x="731" y="875"/>
                    <a:pt x="734" y="873"/>
                  </a:cubicBezTo>
                  <a:cubicBezTo>
                    <a:pt x="741" y="884"/>
                    <a:pt x="741" y="884"/>
                    <a:pt x="741" y="884"/>
                  </a:cubicBezTo>
                  <a:cubicBezTo>
                    <a:pt x="738" y="886"/>
                    <a:pt x="734" y="889"/>
                    <a:pt x="730" y="891"/>
                  </a:cubicBezTo>
                  <a:close/>
                  <a:moveTo>
                    <a:pt x="214" y="881"/>
                  </a:moveTo>
                  <a:cubicBezTo>
                    <a:pt x="211" y="879"/>
                    <a:pt x="207" y="876"/>
                    <a:pt x="203" y="873"/>
                  </a:cubicBezTo>
                  <a:cubicBezTo>
                    <a:pt x="211" y="863"/>
                    <a:pt x="211" y="863"/>
                    <a:pt x="211" y="863"/>
                  </a:cubicBezTo>
                  <a:cubicBezTo>
                    <a:pt x="214" y="865"/>
                    <a:pt x="218" y="868"/>
                    <a:pt x="222" y="870"/>
                  </a:cubicBezTo>
                  <a:lnTo>
                    <a:pt x="214" y="881"/>
                  </a:lnTo>
                  <a:close/>
                  <a:moveTo>
                    <a:pt x="752" y="877"/>
                  </a:moveTo>
                  <a:cubicBezTo>
                    <a:pt x="745" y="866"/>
                    <a:pt x="745" y="866"/>
                    <a:pt x="745" y="866"/>
                  </a:cubicBezTo>
                  <a:cubicBezTo>
                    <a:pt x="749" y="863"/>
                    <a:pt x="752" y="861"/>
                    <a:pt x="756" y="858"/>
                  </a:cubicBezTo>
                  <a:cubicBezTo>
                    <a:pt x="763" y="869"/>
                    <a:pt x="763" y="869"/>
                    <a:pt x="763" y="869"/>
                  </a:cubicBezTo>
                  <a:cubicBezTo>
                    <a:pt x="760" y="872"/>
                    <a:pt x="756" y="874"/>
                    <a:pt x="752" y="877"/>
                  </a:cubicBezTo>
                  <a:close/>
                  <a:moveTo>
                    <a:pt x="193" y="866"/>
                  </a:moveTo>
                  <a:cubicBezTo>
                    <a:pt x="189" y="863"/>
                    <a:pt x="186" y="860"/>
                    <a:pt x="182" y="858"/>
                  </a:cubicBezTo>
                  <a:cubicBezTo>
                    <a:pt x="190" y="847"/>
                    <a:pt x="190" y="847"/>
                    <a:pt x="190" y="847"/>
                  </a:cubicBezTo>
                  <a:cubicBezTo>
                    <a:pt x="194" y="850"/>
                    <a:pt x="197" y="853"/>
                    <a:pt x="200" y="855"/>
                  </a:cubicBezTo>
                  <a:lnTo>
                    <a:pt x="193" y="866"/>
                  </a:lnTo>
                  <a:close/>
                  <a:moveTo>
                    <a:pt x="774" y="861"/>
                  </a:moveTo>
                  <a:cubicBezTo>
                    <a:pt x="766" y="851"/>
                    <a:pt x="766" y="851"/>
                    <a:pt x="766" y="851"/>
                  </a:cubicBezTo>
                  <a:cubicBezTo>
                    <a:pt x="769" y="848"/>
                    <a:pt x="773" y="845"/>
                    <a:pt x="776" y="843"/>
                  </a:cubicBezTo>
                  <a:cubicBezTo>
                    <a:pt x="784" y="853"/>
                    <a:pt x="784" y="853"/>
                    <a:pt x="784" y="853"/>
                  </a:cubicBezTo>
                  <a:cubicBezTo>
                    <a:pt x="781" y="856"/>
                    <a:pt x="777" y="858"/>
                    <a:pt x="774" y="861"/>
                  </a:cubicBezTo>
                  <a:close/>
                  <a:moveTo>
                    <a:pt x="172" y="849"/>
                  </a:moveTo>
                  <a:cubicBezTo>
                    <a:pt x="168" y="846"/>
                    <a:pt x="165" y="843"/>
                    <a:pt x="162" y="840"/>
                  </a:cubicBezTo>
                  <a:cubicBezTo>
                    <a:pt x="170" y="831"/>
                    <a:pt x="170" y="831"/>
                    <a:pt x="170" y="831"/>
                  </a:cubicBezTo>
                  <a:cubicBezTo>
                    <a:pt x="174" y="834"/>
                    <a:pt x="177" y="836"/>
                    <a:pt x="180" y="839"/>
                  </a:cubicBezTo>
                  <a:lnTo>
                    <a:pt x="172" y="849"/>
                  </a:lnTo>
                  <a:close/>
                  <a:moveTo>
                    <a:pt x="794" y="844"/>
                  </a:moveTo>
                  <a:cubicBezTo>
                    <a:pt x="786" y="834"/>
                    <a:pt x="786" y="834"/>
                    <a:pt x="786" y="834"/>
                  </a:cubicBezTo>
                  <a:cubicBezTo>
                    <a:pt x="789" y="831"/>
                    <a:pt x="792" y="829"/>
                    <a:pt x="796" y="826"/>
                  </a:cubicBezTo>
                  <a:cubicBezTo>
                    <a:pt x="804" y="835"/>
                    <a:pt x="804" y="835"/>
                    <a:pt x="804" y="835"/>
                  </a:cubicBezTo>
                  <a:cubicBezTo>
                    <a:pt x="801" y="838"/>
                    <a:pt x="798" y="841"/>
                    <a:pt x="794" y="844"/>
                  </a:cubicBezTo>
                  <a:close/>
                  <a:moveTo>
                    <a:pt x="152" y="832"/>
                  </a:moveTo>
                  <a:cubicBezTo>
                    <a:pt x="149" y="829"/>
                    <a:pt x="145" y="825"/>
                    <a:pt x="142" y="822"/>
                  </a:cubicBezTo>
                  <a:cubicBezTo>
                    <a:pt x="152" y="813"/>
                    <a:pt x="152" y="813"/>
                    <a:pt x="152" y="813"/>
                  </a:cubicBezTo>
                  <a:cubicBezTo>
                    <a:pt x="155" y="816"/>
                    <a:pt x="158" y="819"/>
                    <a:pt x="161" y="822"/>
                  </a:cubicBezTo>
                  <a:lnTo>
                    <a:pt x="152" y="832"/>
                  </a:lnTo>
                  <a:close/>
                  <a:moveTo>
                    <a:pt x="814" y="826"/>
                  </a:moveTo>
                  <a:cubicBezTo>
                    <a:pt x="805" y="817"/>
                    <a:pt x="805" y="817"/>
                    <a:pt x="805" y="817"/>
                  </a:cubicBezTo>
                  <a:cubicBezTo>
                    <a:pt x="808" y="814"/>
                    <a:pt x="811" y="811"/>
                    <a:pt x="814" y="808"/>
                  </a:cubicBezTo>
                  <a:cubicBezTo>
                    <a:pt x="823" y="817"/>
                    <a:pt x="823" y="817"/>
                    <a:pt x="823" y="817"/>
                  </a:cubicBezTo>
                  <a:cubicBezTo>
                    <a:pt x="820" y="820"/>
                    <a:pt x="817" y="823"/>
                    <a:pt x="814" y="826"/>
                  </a:cubicBezTo>
                  <a:close/>
                  <a:moveTo>
                    <a:pt x="133" y="813"/>
                  </a:moveTo>
                  <a:cubicBezTo>
                    <a:pt x="130" y="810"/>
                    <a:pt x="127" y="806"/>
                    <a:pt x="124" y="803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37" y="798"/>
                    <a:pt x="139" y="801"/>
                    <a:pt x="142" y="804"/>
                  </a:cubicBezTo>
                  <a:lnTo>
                    <a:pt x="133" y="813"/>
                  </a:lnTo>
                  <a:close/>
                  <a:moveTo>
                    <a:pt x="833" y="807"/>
                  </a:moveTo>
                  <a:cubicBezTo>
                    <a:pt x="823" y="798"/>
                    <a:pt x="823" y="798"/>
                    <a:pt x="823" y="798"/>
                  </a:cubicBezTo>
                  <a:cubicBezTo>
                    <a:pt x="826" y="795"/>
                    <a:pt x="829" y="792"/>
                    <a:pt x="832" y="789"/>
                  </a:cubicBezTo>
                  <a:cubicBezTo>
                    <a:pt x="842" y="797"/>
                    <a:pt x="842" y="797"/>
                    <a:pt x="842" y="797"/>
                  </a:cubicBezTo>
                  <a:cubicBezTo>
                    <a:pt x="839" y="801"/>
                    <a:pt x="836" y="804"/>
                    <a:pt x="833" y="807"/>
                  </a:cubicBezTo>
                  <a:close/>
                  <a:moveTo>
                    <a:pt x="115" y="793"/>
                  </a:moveTo>
                  <a:cubicBezTo>
                    <a:pt x="112" y="790"/>
                    <a:pt x="109" y="786"/>
                    <a:pt x="107" y="783"/>
                  </a:cubicBezTo>
                  <a:cubicBezTo>
                    <a:pt x="117" y="775"/>
                    <a:pt x="117" y="775"/>
                    <a:pt x="117" y="775"/>
                  </a:cubicBezTo>
                  <a:cubicBezTo>
                    <a:pt x="120" y="778"/>
                    <a:pt x="122" y="781"/>
                    <a:pt x="125" y="785"/>
                  </a:cubicBezTo>
                  <a:lnTo>
                    <a:pt x="115" y="793"/>
                  </a:lnTo>
                  <a:close/>
                  <a:moveTo>
                    <a:pt x="850" y="787"/>
                  </a:moveTo>
                  <a:cubicBezTo>
                    <a:pt x="840" y="779"/>
                    <a:pt x="840" y="779"/>
                    <a:pt x="840" y="779"/>
                  </a:cubicBezTo>
                  <a:cubicBezTo>
                    <a:pt x="843" y="776"/>
                    <a:pt x="846" y="772"/>
                    <a:pt x="848" y="769"/>
                  </a:cubicBezTo>
                  <a:cubicBezTo>
                    <a:pt x="859" y="777"/>
                    <a:pt x="859" y="777"/>
                    <a:pt x="859" y="777"/>
                  </a:cubicBezTo>
                  <a:cubicBezTo>
                    <a:pt x="856" y="780"/>
                    <a:pt x="853" y="784"/>
                    <a:pt x="850" y="787"/>
                  </a:cubicBezTo>
                  <a:close/>
                  <a:moveTo>
                    <a:pt x="98" y="773"/>
                  </a:moveTo>
                  <a:cubicBezTo>
                    <a:pt x="96" y="769"/>
                    <a:pt x="93" y="765"/>
                    <a:pt x="91" y="762"/>
                  </a:cubicBezTo>
                  <a:cubicBezTo>
                    <a:pt x="101" y="754"/>
                    <a:pt x="101" y="754"/>
                    <a:pt x="101" y="754"/>
                  </a:cubicBezTo>
                  <a:cubicBezTo>
                    <a:pt x="104" y="758"/>
                    <a:pt x="106" y="761"/>
                    <a:pt x="109" y="765"/>
                  </a:cubicBezTo>
                  <a:lnTo>
                    <a:pt x="98" y="773"/>
                  </a:lnTo>
                  <a:close/>
                  <a:moveTo>
                    <a:pt x="867" y="766"/>
                  </a:moveTo>
                  <a:cubicBezTo>
                    <a:pt x="856" y="759"/>
                    <a:pt x="856" y="759"/>
                    <a:pt x="856" y="759"/>
                  </a:cubicBezTo>
                  <a:cubicBezTo>
                    <a:pt x="859" y="755"/>
                    <a:pt x="861" y="752"/>
                    <a:pt x="864" y="748"/>
                  </a:cubicBezTo>
                  <a:cubicBezTo>
                    <a:pt x="874" y="756"/>
                    <a:pt x="874" y="756"/>
                    <a:pt x="874" y="756"/>
                  </a:cubicBezTo>
                  <a:cubicBezTo>
                    <a:pt x="872" y="759"/>
                    <a:pt x="869" y="763"/>
                    <a:pt x="867" y="766"/>
                  </a:cubicBezTo>
                  <a:close/>
                  <a:moveTo>
                    <a:pt x="83" y="751"/>
                  </a:moveTo>
                  <a:cubicBezTo>
                    <a:pt x="80" y="747"/>
                    <a:pt x="78" y="744"/>
                    <a:pt x="76" y="740"/>
                  </a:cubicBezTo>
                  <a:cubicBezTo>
                    <a:pt x="87" y="733"/>
                    <a:pt x="87" y="733"/>
                    <a:pt x="87" y="733"/>
                  </a:cubicBezTo>
                  <a:cubicBezTo>
                    <a:pt x="89" y="737"/>
                    <a:pt x="91" y="740"/>
                    <a:pt x="94" y="744"/>
                  </a:cubicBezTo>
                  <a:lnTo>
                    <a:pt x="83" y="751"/>
                  </a:lnTo>
                  <a:close/>
                  <a:moveTo>
                    <a:pt x="882" y="745"/>
                  </a:moveTo>
                  <a:cubicBezTo>
                    <a:pt x="871" y="737"/>
                    <a:pt x="871" y="737"/>
                    <a:pt x="871" y="737"/>
                  </a:cubicBezTo>
                  <a:cubicBezTo>
                    <a:pt x="873" y="734"/>
                    <a:pt x="876" y="730"/>
                    <a:pt x="878" y="726"/>
                  </a:cubicBezTo>
                  <a:cubicBezTo>
                    <a:pt x="889" y="733"/>
                    <a:pt x="889" y="733"/>
                    <a:pt x="889" y="733"/>
                  </a:cubicBezTo>
                  <a:cubicBezTo>
                    <a:pt x="887" y="737"/>
                    <a:pt x="884" y="741"/>
                    <a:pt x="882" y="745"/>
                  </a:cubicBezTo>
                  <a:close/>
                  <a:moveTo>
                    <a:pt x="69" y="729"/>
                  </a:moveTo>
                  <a:cubicBezTo>
                    <a:pt x="66" y="725"/>
                    <a:pt x="64" y="721"/>
                    <a:pt x="62" y="717"/>
                  </a:cubicBezTo>
                  <a:cubicBezTo>
                    <a:pt x="73" y="711"/>
                    <a:pt x="73" y="711"/>
                    <a:pt x="73" y="711"/>
                  </a:cubicBezTo>
                  <a:cubicBezTo>
                    <a:pt x="75" y="715"/>
                    <a:pt x="78" y="718"/>
                    <a:pt x="80" y="722"/>
                  </a:cubicBezTo>
                  <a:lnTo>
                    <a:pt x="69" y="729"/>
                  </a:lnTo>
                  <a:close/>
                  <a:moveTo>
                    <a:pt x="896" y="722"/>
                  </a:moveTo>
                  <a:cubicBezTo>
                    <a:pt x="884" y="715"/>
                    <a:pt x="884" y="715"/>
                    <a:pt x="884" y="715"/>
                  </a:cubicBezTo>
                  <a:cubicBezTo>
                    <a:pt x="887" y="712"/>
                    <a:pt x="889" y="708"/>
                    <a:pt x="891" y="704"/>
                  </a:cubicBezTo>
                  <a:cubicBezTo>
                    <a:pt x="902" y="710"/>
                    <a:pt x="902" y="710"/>
                    <a:pt x="902" y="710"/>
                  </a:cubicBezTo>
                  <a:cubicBezTo>
                    <a:pt x="900" y="714"/>
                    <a:pt x="898" y="718"/>
                    <a:pt x="896" y="722"/>
                  </a:cubicBezTo>
                  <a:close/>
                  <a:moveTo>
                    <a:pt x="55" y="706"/>
                  </a:moveTo>
                  <a:cubicBezTo>
                    <a:pt x="53" y="702"/>
                    <a:pt x="51" y="698"/>
                    <a:pt x="49" y="694"/>
                  </a:cubicBezTo>
                  <a:cubicBezTo>
                    <a:pt x="61" y="688"/>
                    <a:pt x="61" y="688"/>
                    <a:pt x="61" y="688"/>
                  </a:cubicBezTo>
                  <a:cubicBezTo>
                    <a:pt x="63" y="692"/>
                    <a:pt x="65" y="696"/>
                    <a:pt x="67" y="700"/>
                  </a:cubicBezTo>
                  <a:lnTo>
                    <a:pt x="55" y="706"/>
                  </a:lnTo>
                  <a:close/>
                  <a:moveTo>
                    <a:pt x="909" y="699"/>
                  </a:moveTo>
                  <a:cubicBezTo>
                    <a:pt x="897" y="693"/>
                    <a:pt x="897" y="693"/>
                    <a:pt x="897" y="693"/>
                  </a:cubicBezTo>
                  <a:cubicBezTo>
                    <a:pt x="899" y="689"/>
                    <a:pt x="901" y="685"/>
                    <a:pt x="903" y="681"/>
                  </a:cubicBezTo>
                  <a:cubicBezTo>
                    <a:pt x="914" y="687"/>
                    <a:pt x="914" y="687"/>
                    <a:pt x="914" y="687"/>
                  </a:cubicBezTo>
                  <a:cubicBezTo>
                    <a:pt x="913" y="691"/>
                    <a:pt x="911" y="695"/>
                    <a:pt x="909" y="699"/>
                  </a:cubicBezTo>
                  <a:close/>
                  <a:moveTo>
                    <a:pt x="44" y="682"/>
                  </a:moveTo>
                  <a:cubicBezTo>
                    <a:pt x="42" y="678"/>
                    <a:pt x="40" y="674"/>
                    <a:pt x="38" y="670"/>
                  </a:cubicBezTo>
                  <a:cubicBezTo>
                    <a:pt x="50" y="665"/>
                    <a:pt x="50" y="665"/>
                    <a:pt x="50" y="665"/>
                  </a:cubicBezTo>
                  <a:cubicBezTo>
                    <a:pt x="52" y="669"/>
                    <a:pt x="54" y="673"/>
                    <a:pt x="56" y="676"/>
                  </a:cubicBezTo>
                  <a:lnTo>
                    <a:pt x="44" y="682"/>
                  </a:lnTo>
                  <a:close/>
                  <a:moveTo>
                    <a:pt x="920" y="675"/>
                  </a:moveTo>
                  <a:cubicBezTo>
                    <a:pt x="908" y="669"/>
                    <a:pt x="908" y="669"/>
                    <a:pt x="908" y="669"/>
                  </a:cubicBezTo>
                  <a:cubicBezTo>
                    <a:pt x="910" y="665"/>
                    <a:pt x="911" y="661"/>
                    <a:pt x="913" y="657"/>
                  </a:cubicBezTo>
                  <a:cubicBezTo>
                    <a:pt x="925" y="662"/>
                    <a:pt x="925" y="662"/>
                    <a:pt x="925" y="662"/>
                  </a:cubicBezTo>
                  <a:cubicBezTo>
                    <a:pt x="923" y="666"/>
                    <a:pt x="922" y="670"/>
                    <a:pt x="920" y="675"/>
                  </a:cubicBezTo>
                  <a:close/>
                  <a:moveTo>
                    <a:pt x="33" y="658"/>
                  </a:moveTo>
                  <a:cubicBezTo>
                    <a:pt x="32" y="653"/>
                    <a:pt x="30" y="649"/>
                    <a:pt x="29" y="645"/>
                  </a:cubicBezTo>
                  <a:cubicBezTo>
                    <a:pt x="41" y="641"/>
                    <a:pt x="41" y="641"/>
                    <a:pt x="41" y="641"/>
                  </a:cubicBezTo>
                  <a:cubicBezTo>
                    <a:pt x="42" y="645"/>
                    <a:pt x="44" y="649"/>
                    <a:pt x="45" y="653"/>
                  </a:cubicBezTo>
                  <a:lnTo>
                    <a:pt x="33" y="658"/>
                  </a:lnTo>
                  <a:close/>
                  <a:moveTo>
                    <a:pt x="930" y="650"/>
                  </a:moveTo>
                  <a:cubicBezTo>
                    <a:pt x="918" y="645"/>
                    <a:pt x="918" y="645"/>
                    <a:pt x="918" y="645"/>
                  </a:cubicBezTo>
                  <a:cubicBezTo>
                    <a:pt x="919" y="641"/>
                    <a:pt x="921" y="637"/>
                    <a:pt x="922" y="633"/>
                  </a:cubicBezTo>
                  <a:cubicBezTo>
                    <a:pt x="935" y="637"/>
                    <a:pt x="935" y="637"/>
                    <a:pt x="935" y="637"/>
                  </a:cubicBezTo>
                  <a:cubicBezTo>
                    <a:pt x="933" y="642"/>
                    <a:pt x="932" y="646"/>
                    <a:pt x="930" y="650"/>
                  </a:cubicBezTo>
                  <a:close/>
                  <a:moveTo>
                    <a:pt x="24" y="633"/>
                  </a:moveTo>
                  <a:cubicBezTo>
                    <a:pt x="23" y="628"/>
                    <a:pt x="21" y="624"/>
                    <a:pt x="20" y="620"/>
                  </a:cubicBezTo>
                  <a:cubicBezTo>
                    <a:pt x="33" y="616"/>
                    <a:pt x="33" y="616"/>
                    <a:pt x="33" y="616"/>
                  </a:cubicBezTo>
                  <a:cubicBezTo>
                    <a:pt x="34" y="620"/>
                    <a:pt x="35" y="624"/>
                    <a:pt x="37" y="628"/>
                  </a:cubicBezTo>
                  <a:lnTo>
                    <a:pt x="24" y="633"/>
                  </a:lnTo>
                  <a:close/>
                  <a:moveTo>
                    <a:pt x="939" y="625"/>
                  </a:moveTo>
                  <a:cubicBezTo>
                    <a:pt x="926" y="621"/>
                    <a:pt x="926" y="621"/>
                    <a:pt x="926" y="621"/>
                  </a:cubicBezTo>
                  <a:cubicBezTo>
                    <a:pt x="927" y="617"/>
                    <a:pt x="929" y="613"/>
                    <a:pt x="930" y="608"/>
                  </a:cubicBezTo>
                  <a:cubicBezTo>
                    <a:pt x="943" y="612"/>
                    <a:pt x="943" y="612"/>
                    <a:pt x="943" y="612"/>
                  </a:cubicBezTo>
                  <a:cubicBezTo>
                    <a:pt x="941" y="616"/>
                    <a:pt x="940" y="620"/>
                    <a:pt x="939" y="625"/>
                  </a:cubicBezTo>
                  <a:close/>
                  <a:moveTo>
                    <a:pt x="17" y="607"/>
                  </a:moveTo>
                  <a:cubicBezTo>
                    <a:pt x="15" y="603"/>
                    <a:pt x="14" y="599"/>
                    <a:pt x="13" y="594"/>
                  </a:cubicBezTo>
                  <a:cubicBezTo>
                    <a:pt x="26" y="591"/>
                    <a:pt x="26" y="591"/>
                    <a:pt x="26" y="591"/>
                  </a:cubicBezTo>
                  <a:cubicBezTo>
                    <a:pt x="27" y="595"/>
                    <a:pt x="28" y="600"/>
                    <a:pt x="29" y="604"/>
                  </a:cubicBezTo>
                  <a:lnTo>
                    <a:pt x="17" y="607"/>
                  </a:lnTo>
                  <a:close/>
                  <a:moveTo>
                    <a:pt x="946" y="599"/>
                  </a:moveTo>
                  <a:cubicBezTo>
                    <a:pt x="933" y="596"/>
                    <a:pt x="933" y="596"/>
                    <a:pt x="933" y="596"/>
                  </a:cubicBezTo>
                  <a:cubicBezTo>
                    <a:pt x="934" y="592"/>
                    <a:pt x="935" y="588"/>
                    <a:pt x="936" y="583"/>
                  </a:cubicBezTo>
                  <a:cubicBezTo>
                    <a:pt x="949" y="586"/>
                    <a:pt x="949" y="586"/>
                    <a:pt x="949" y="586"/>
                  </a:cubicBezTo>
                  <a:cubicBezTo>
                    <a:pt x="948" y="590"/>
                    <a:pt x="947" y="595"/>
                    <a:pt x="946" y="599"/>
                  </a:cubicBezTo>
                  <a:close/>
                  <a:moveTo>
                    <a:pt x="10" y="581"/>
                  </a:moveTo>
                  <a:cubicBezTo>
                    <a:pt x="9" y="577"/>
                    <a:pt x="8" y="573"/>
                    <a:pt x="8" y="568"/>
                  </a:cubicBezTo>
                  <a:cubicBezTo>
                    <a:pt x="21" y="566"/>
                    <a:pt x="21" y="566"/>
                    <a:pt x="21" y="566"/>
                  </a:cubicBezTo>
                  <a:cubicBezTo>
                    <a:pt x="21" y="570"/>
                    <a:pt x="22" y="574"/>
                    <a:pt x="23" y="579"/>
                  </a:cubicBezTo>
                  <a:lnTo>
                    <a:pt x="10" y="581"/>
                  </a:lnTo>
                  <a:close/>
                  <a:moveTo>
                    <a:pt x="952" y="573"/>
                  </a:moveTo>
                  <a:cubicBezTo>
                    <a:pt x="939" y="571"/>
                    <a:pt x="939" y="571"/>
                    <a:pt x="939" y="571"/>
                  </a:cubicBezTo>
                  <a:cubicBezTo>
                    <a:pt x="940" y="566"/>
                    <a:pt x="940" y="562"/>
                    <a:pt x="941" y="558"/>
                  </a:cubicBezTo>
                  <a:cubicBezTo>
                    <a:pt x="954" y="560"/>
                    <a:pt x="954" y="560"/>
                    <a:pt x="954" y="560"/>
                  </a:cubicBezTo>
                  <a:cubicBezTo>
                    <a:pt x="953" y="564"/>
                    <a:pt x="953" y="569"/>
                    <a:pt x="952" y="573"/>
                  </a:cubicBezTo>
                  <a:close/>
                  <a:moveTo>
                    <a:pt x="5" y="555"/>
                  </a:moveTo>
                  <a:cubicBezTo>
                    <a:pt x="5" y="551"/>
                    <a:pt x="4" y="546"/>
                    <a:pt x="4" y="542"/>
                  </a:cubicBezTo>
                  <a:cubicBezTo>
                    <a:pt x="17" y="540"/>
                    <a:pt x="17" y="540"/>
                    <a:pt x="17" y="540"/>
                  </a:cubicBezTo>
                  <a:cubicBezTo>
                    <a:pt x="17" y="545"/>
                    <a:pt x="18" y="549"/>
                    <a:pt x="18" y="553"/>
                  </a:cubicBezTo>
                  <a:lnTo>
                    <a:pt x="5" y="555"/>
                  </a:lnTo>
                  <a:close/>
                  <a:moveTo>
                    <a:pt x="956" y="547"/>
                  </a:moveTo>
                  <a:cubicBezTo>
                    <a:pt x="943" y="545"/>
                    <a:pt x="943" y="545"/>
                    <a:pt x="943" y="545"/>
                  </a:cubicBezTo>
                  <a:cubicBezTo>
                    <a:pt x="944" y="541"/>
                    <a:pt x="944" y="537"/>
                    <a:pt x="945" y="532"/>
                  </a:cubicBezTo>
                  <a:cubicBezTo>
                    <a:pt x="958" y="534"/>
                    <a:pt x="958" y="534"/>
                    <a:pt x="958" y="534"/>
                  </a:cubicBezTo>
                  <a:cubicBezTo>
                    <a:pt x="957" y="538"/>
                    <a:pt x="957" y="543"/>
                    <a:pt x="956" y="547"/>
                  </a:cubicBezTo>
                  <a:close/>
                  <a:moveTo>
                    <a:pt x="2" y="529"/>
                  </a:moveTo>
                  <a:cubicBezTo>
                    <a:pt x="2" y="524"/>
                    <a:pt x="1" y="520"/>
                    <a:pt x="1" y="516"/>
                  </a:cubicBezTo>
                  <a:cubicBezTo>
                    <a:pt x="14" y="515"/>
                    <a:pt x="14" y="515"/>
                    <a:pt x="14" y="515"/>
                  </a:cubicBezTo>
                  <a:cubicBezTo>
                    <a:pt x="14" y="519"/>
                    <a:pt x="15" y="523"/>
                    <a:pt x="15" y="528"/>
                  </a:cubicBezTo>
                  <a:lnTo>
                    <a:pt x="2" y="529"/>
                  </a:lnTo>
                  <a:close/>
                  <a:moveTo>
                    <a:pt x="959" y="521"/>
                  </a:moveTo>
                  <a:cubicBezTo>
                    <a:pt x="946" y="519"/>
                    <a:pt x="946" y="519"/>
                    <a:pt x="946" y="519"/>
                  </a:cubicBezTo>
                  <a:cubicBezTo>
                    <a:pt x="946" y="515"/>
                    <a:pt x="947" y="511"/>
                    <a:pt x="947" y="507"/>
                  </a:cubicBezTo>
                  <a:cubicBezTo>
                    <a:pt x="960" y="507"/>
                    <a:pt x="960" y="507"/>
                    <a:pt x="960" y="507"/>
                  </a:cubicBezTo>
                  <a:cubicBezTo>
                    <a:pt x="960" y="512"/>
                    <a:pt x="959" y="516"/>
                    <a:pt x="959" y="521"/>
                  </a:cubicBezTo>
                  <a:close/>
                  <a:moveTo>
                    <a:pt x="0" y="502"/>
                  </a:moveTo>
                  <a:cubicBezTo>
                    <a:pt x="0" y="498"/>
                    <a:pt x="0" y="494"/>
                    <a:pt x="0" y="489"/>
                  </a:cubicBezTo>
                  <a:cubicBezTo>
                    <a:pt x="13" y="489"/>
                    <a:pt x="13" y="489"/>
                    <a:pt x="13" y="489"/>
                  </a:cubicBezTo>
                  <a:cubicBezTo>
                    <a:pt x="13" y="493"/>
                    <a:pt x="13" y="498"/>
                    <a:pt x="13" y="502"/>
                  </a:cubicBezTo>
                  <a:lnTo>
                    <a:pt x="0" y="502"/>
                  </a:lnTo>
                  <a:close/>
                  <a:moveTo>
                    <a:pt x="960" y="494"/>
                  </a:moveTo>
                  <a:cubicBezTo>
                    <a:pt x="947" y="494"/>
                    <a:pt x="947" y="494"/>
                    <a:pt x="947" y="494"/>
                  </a:cubicBezTo>
                  <a:cubicBezTo>
                    <a:pt x="947" y="489"/>
                    <a:pt x="948" y="485"/>
                    <a:pt x="948" y="481"/>
                  </a:cubicBezTo>
                  <a:cubicBezTo>
                    <a:pt x="961" y="481"/>
                    <a:pt x="961" y="481"/>
                    <a:pt x="961" y="481"/>
                  </a:cubicBezTo>
                  <a:cubicBezTo>
                    <a:pt x="961" y="485"/>
                    <a:pt x="961" y="490"/>
                    <a:pt x="960" y="494"/>
                  </a:cubicBezTo>
                  <a:close/>
                  <a:moveTo>
                    <a:pt x="948" y="477"/>
                  </a:moveTo>
                  <a:cubicBezTo>
                    <a:pt x="947" y="473"/>
                    <a:pt x="947" y="469"/>
                    <a:pt x="947" y="464"/>
                  </a:cubicBezTo>
                  <a:cubicBezTo>
                    <a:pt x="960" y="464"/>
                    <a:pt x="960" y="464"/>
                    <a:pt x="960" y="464"/>
                  </a:cubicBezTo>
                  <a:cubicBezTo>
                    <a:pt x="960" y="468"/>
                    <a:pt x="961" y="473"/>
                    <a:pt x="961" y="477"/>
                  </a:cubicBezTo>
                  <a:lnTo>
                    <a:pt x="948" y="477"/>
                  </a:lnTo>
                  <a:close/>
                  <a:moveTo>
                    <a:pt x="13" y="476"/>
                  </a:moveTo>
                  <a:cubicBezTo>
                    <a:pt x="0" y="476"/>
                    <a:pt x="0" y="476"/>
                    <a:pt x="0" y="476"/>
                  </a:cubicBezTo>
                  <a:cubicBezTo>
                    <a:pt x="0" y="471"/>
                    <a:pt x="0" y="467"/>
                    <a:pt x="0" y="463"/>
                  </a:cubicBezTo>
                  <a:cubicBezTo>
                    <a:pt x="13" y="463"/>
                    <a:pt x="13" y="463"/>
                    <a:pt x="13" y="463"/>
                  </a:cubicBezTo>
                  <a:cubicBezTo>
                    <a:pt x="13" y="467"/>
                    <a:pt x="13" y="472"/>
                    <a:pt x="13" y="476"/>
                  </a:cubicBezTo>
                  <a:close/>
                  <a:moveTo>
                    <a:pt x="947" y="452"/>
                  </a:moveTo>
                  <a:cubicBezTo>
                    <a:pt x="946" y="447"/>
                    <a:pt x="946" y="443"/>
                    <a:pt x="946" y="439"/>
                  </a:cubicBezTo>
                  <a:cubicBezTo>
                    <a:pt x="959" y="437"/>
                    <a:pt x="959" y="437"/>
                    <a:pt x="959" y="437"/>
                  </a:cubicBezTo>
                  <a:cubicBezTo>
                    <a:pt x="959" y="442"/>
                    <a:pt x="959" y="446"/>
                    <a:pt x="960" y="451"/>
                  </a:cubicBezTo>
                  <a:lnTo>
                    <a:pt x="947" y="452"/>
                  </a:lnTo>
                  <a:close/>
                  <a:moveTo>
                    <a:pt x="14" y="450"/>
                  </a:moveTo>
                  <a:cubicBezTo>
                    <a:pt x="1" y="449"/>
                    <a:pt x="1" y="449"/>
                    <a:pt x="1" y="449"/>
                  </a:cubicBezTo>
                  <a:cubicBezTo>
                    <a:pt x="1" y="445"/>
                    <a:pt x="1" y="440"/>
                    <a:pt x="2" y="436"/>
                  </a:cubicBezTo>
                  <a:cubicBezTo>
                    <a:pt x="15" y="437"/>
                    <a:pt x="15" y="437"/>
                    <a:pt x="15" y="437"/>
                  </a:cubicBezTo>
                  <a:cubicBezTo>
                    <a:pt x="14" y="442"/>
                    <a:pt x="14" y="446"/>
                    <a:pt x="14" y="450"/>
                  </a:cubicBezTo>
                  <a:close/>
                  <a:moveTo>
                    <a:pt x="944" y="426"/>
                  </a:moveTo>
                  <a:cubicBezTo>
                    <a:pt x="944" y="421"/>
                    <a:pt x="943" y="417"/>
                    <a:pt x="943" y="413"/>
                  </a:cubicBezTo>
                  <a:cubicBezTo>
                    <a:pt x="956" y="411"/>
                    <a:pt x="956" y="411"/>
                    <a:pt x="956" y="411"/>
                  </a:cubicBezTo>
                  <a:cubicBezTo>
                    <a:pt x="956" y="415"/>
                    <a:pt x="957" y="420"/>
                    <a:pt x="957" y="424"/>
                  </a:cubicBezTo>
                  <a:lnTo>
                    <a:pt x="944" y="426"/>
                  </a:lnTo>
                  <a:close/>
                  <a:moveTo>
                    <a:pt x="16" y="424"/>
                  </a:moveTo>
                  <a:cubicBezTo>
                    <a:pt x="3" y="423"/>
                    <a:pt x="3" y="423"/>
                    <a:pt x="3" y="423"/>
                  </a:cubicBezTo>
                  <a:cubicBezTo>
                    <a:pt x="4" y="418"/>
                    <a:pt x="4" y="414"/>
                    <a:pt x="5" y="410"/>
                  </a:cubicBezTo>
                  <a:cubicBezTo>
                    <a:pt x="18" y="412"/>
                    <a:pt x="18" y="412"/>
                    <a:pt x="18" y="412"/>
                  </a:cubicBezTo>
                  <a:cubicBezTo>
                    <a:pt x="17" y="416"/>
                    <a:pt x="17" y="420"/>
                    <a:pt x="16" y="424"/>
                  </a:cubicBezTo>
                  <a:close/>
                  <a:moveTo>
                    <a:pt x="941" y="400"/>
                  </a:moveTo>
                  <a:cubicBezTo>
                    <a:pt x="940" y="396"/>
                    <a:pt x="939" y="392"/>
                    <a:pt x="938" y="388"/>
                  </a:cubicBezTo>
                  <a:cubicBezTo>
                    <a:pt x="951" y="385"/>
                    <a:pt x="951" y="385"/>
                    <a:pt x="951" y="385"/>
                  </a:cubicBezTo>
                  <a:cubicBezTo>
                    <a:pt x="952" y="389"/>
                    <a:pt x="953" y="394"/>
                    <a:pt x="954" y="398"/>
                  </a:cubicBezTo>
                  <a:lnTo>
                    <a:pt x="941" y="400"/>
                  </a:lnTo>
                  <a:close/>
                  <a:moveTo>
                    <a:pt x="20" y="399"/>
                  </a:moveTo>
                  <a:cubicBezTo>
                    <a:pt x="7" y="397"/>
                    <a:pt x="7" y="397"/>
                    <a:pt x="7" y="397"/>
                  </a:cubicBezTo>
                  <a:cubicBezTo>
                    <a:pt x="8" y="392"/>
                    <a:pt x="9" y="388"/>
                    <a:pt x="10" y="384"/>
                  </a:cubicBezTo>
                  <a:cubicBezTo>
                    <a:pt x="22" y="386"/>
                    <a:pt x="22" y="386"/>
                    <a:pt x="22" y="386"/>
                  </a:cubicBezTo>
                  <a:cubicBezTo>
                    <a:pt x="22" y="390"/>
                    <a:pt x="21" y="395"/>
                    <a:pt x="20" y="399"/>
                  </a:cubicBezTo>
                  <a:close/>
                  <a:moveTo>
                    <a:pt x="935" y="375"/>
                  </a:moveTo>
                  <a:cubicBezTo>
                    <a:pt x="935" y="371"/>
                    <a:pt x="933" y="366"/>
                    <a:pt x="932" y="362"/>
                  </a:cubicBezTo>
                  <a:cubicBezTo>
                    <a:pt x="945" y="359"/>
                    <a:pt x="945" y="359"/>
                    <a:pt x="945" y="359"/>
                  </a:cubicBezTo>
                  <a:cubicBezTo>
                    <a:pt x="946" y="363"/>
                    <a:pt x="947" y="368"/>
                    <a:pt x="948" y="372"/>
                  </a:cubicBezTo>
                  <a:lnTo>
                    <a:pt x="935" y="375"/>
                  </a:lnTo>
                  <a:close/>
                  <a:moveTo>
                    <a:pt x="25" y="374"/>
                  </a:moveTo>
                  <a:cubicBezTo>
                    <a:pt x="12" y="371"/>
                    <a:pt x="12" y="371"/>
                    <a:pt x="12" y="371"/>
                  </a:cubicBezTo>
                  <a:cubicBezTo>
                    <a:pt x="13" y="366"/>
                    <a:pt x="14" y="362"/>
                    <a:pt x="16" y="358"/>
                  </a:cubicBezTo>
                  <a:cubicBezTo>
                    <a:pt x="28" y="361"/>
                    <a:pt x="28" y="361"/>
                    <a:pt x="28" y="361"/>
                  </a:cubicBezTo>
                  <a:cubicBezTo>
                    <a:pt x="27" y="365"/>
                    <a:pt x="26" y="369"/>
                    <a:pt x="25" y="374"/>
                  </a:cubicBezTo>
                  <a:close/>
                  <a:moveTo>
                    <a:pt x="929" y="350"/>
                  </a:moveTo>
                  <a:cubicBezTo>
                    <a:pt x="928" y="346"/>
                    <a:pt x="926" y="342"/>
                    <a:pt x="925" y="338"/>
                  </a:cubicBezTo>
                  <a:cubicBezTo>
                    <a:pt x="938" y="334"/>
                    <a:pt x="938" y="334"/>
                    <a:pt x="938" y="334"/>
                  </a:cubicBezTo>
                  <a:cubicBezTo>
                    <a:pt x="939" y="338"/>
                    <a:pt x="940" y="342"/>
                    <a:pt x="942" y="346"/>
                  </a:cubicBezTo>
                  <a:lnTo>
                    <a:pt x="929" y="350"/>
                  </a:lnTo>
                  <a:close/>
                  <a:moveTo>
                    <a:pt x="32" y="349"/>
                  </a:moveTo>
                  <a:cubicBezTo>
                    <a:pt x="19" y="345"/>
                    <a:pt x="19" y="345"/>
                    <a:pt x="19" y="345"/>
                  </a:cubicBezTo>
                  <a:cubicBezTo>
                    <a:pt x="20" y="341"/>
                    <a:pt x="22" y="336"/>
                    <a:pt x="23" y="332"/>
                  </a:cubicBezTo>
                  <a:cubicBezTo>
                    <a:pt x="36" y="336"/>
                    <a:pt x="36" y="336"/>
                    <a:pt x="36" y="336"/>
                  </a:cubicBezTo>
                  <a:cubicBezTo>
                    <a:pt x="34" y="340"/>
                    <a:pt x="33" y="344"/>
                    <a:pt x="32" y="349"/>
                  </a:cubicBezTo>
                  <a:close/>
                  <a:moveTo>
                    <a:pt x="921" y="325"/>
                  </a:moveTo>
                  <a:cubicBezTo>
                    <a:pt x="920" y="321"/>
                    <a:pt x="918" y="317"/>
                    <a:pt x="917" y="313"/>
                  </a:cubicBezTo>
                  <a:cubicBezTo>
                    <a:pt x="929" y="308"/>
                    <a:pt x="929" y="308"/>
                    <a:pt x="929" y="308"/>
                  </a:cubicBezTo>
                  <a:cubicBezTo>
                    <a:pt x="930" y="313"/>
                    <a:pt x="932" y="317"/>
                    <a:pt x="933" y="321"/>
                  </a:cubicBezTo>
                  <a:lnTo>
                    <a:pt x="921" y="325"/>
                  </a:lnTo>
                  <a:close/>
                  <a:moveTo>
                    <a:pt x="40" y="324"/>
                  </a:moveTo>
                  <a:cubicBezTo>
                    <a:pt x="27" y="320"/>
                    <a:pt x="27" y="320"/>
                    <a:pt x="27" y="320"/>
                  </a:cubicBezTo>
                  <a:cubicBezTo>
                    <a:pt x="29" y="315"/>
                    <a:pt x="30" y="311"/>
                    <a:pt x="32" y="307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43" y="316"/>
                    <a:pt x="41" y="320"/>
                    <a:pt x="40" y="324"/>
                  </a:cubicBezTo>
                  <a:close/>
                  <a:moveTo>
                    <a:pt x="912" y="301"/>
                  </a:moveTo>
                  <a:cubicBezTo>
                    <a:pt x="910" y="297"/>
                    <a:pt x="908" y="293"/>
                    <a:pt x="907" y="289"/>
                  </a:cubicBezTo>
                  <a:cubicBezTo>
                    <a:pt x="919" y="284"/>
                    <a:pt x="919" y="284"/>
                    <a:pt x="919" y="284"/>
                  </a:cubicBezTo>
                  <a:cubicBezTo>
                    <a:pt x="920" y="288"/>
                    <a:pt x="922" y="292"/>
                    <a:pt x="924" y="296"/>
                  </a:cubicBezTo>
                  <a:lnTo>
                    <a:pt x="912" y="301"/>
                  </a:lnTo>
                  <a:close/>
                  <a:moveTo>
                    <a:pt x="49" y="300"/>
                  </a:moveTo>
                  <a:cubicBezTo>
                    <a:pt x="37" y="295"/>
                    <a:pt x="37" y="295"/>
                    <a:pt x="37" y="295"/>
                  </a:cubicBezTo>
                  <a:cubicBezTo>
                    <a:pt x="39" y="291"/>
                    <a:pt x="41" y="287"/>
                    <a:pt x="42" y="282"/>
                  </a:cubicBezTo>
                  <a:cubicBezTo>
                    <a:pt x="54" y="288"/>
                    <a:pt x="54" y="288"/>
                    <a:pt x="54" y="288"/>
                  </a:cubicBezTo>
                  <a:cubicBezTo>
                    <a:pt x="53" y="292"/>
                    <a:pt x="51" y="296"/>
                    <a:pt x="49" y="300"/>
                  </a:cubicBezTo>
                  <a:close/>
                  <a:moveTo>
                    <a:pt x="901" y="278"/>
                  </a:moveTo>
                  <a:cubicBezTo>
                    <a:pt x="899" y="274"/>
                    <a:pt x="897" y="270"/>
                    <a:pt x="895" y="266"/>
                  </a:cubicBezTo>
                  <a:cubicBezTo>
                    <a:pt x="907" y="260"/>
                    <a:pt x="907" y="260"/>
                    <a:pt x="907" y="260"/>
                  </a:cubicBezTo>
                  <a:cubicBezTo>
                    <a:pt x="909" y="264"/>
                    <a:pt x="911" y="268"/>
                    <a:pt x="913" y="272"/>
                  </a:cubicBezTo>
                  <a:lnTo>
                    <a:pt x="901" y="278"/>
                  </a:lnTo>
                  <a:close/>
                  <a:moveTo>
                    <a:pt x="60" y="276"/>
                  </a:moveTo>
                  <a:cubicBezTo>
                    <a:pt x="48" y="270"/>
                    <a:pt x="48" y="270"/>
                    <a:pt x="48" y="270"/>
                  </a:cubicBezTo>
                  <a:cubicBezTo>
                    <a:pt x="50" y="266"/>
                    <a:pt x="52" y="262"/>
                    <a:pt x="54" y="259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64" y="268"/>
                    <a:pt x="62" y="272"/>
                    <a:pt x="60" y="276"/>
                  </a:cubicBezTo>
                  <a:close/>
                  <a:moveTo>
                    <a:pt x="889" y="255"/>
                  </a:moveTo>
                  <a:cubicBezTo>
                    <a:pt x="887" y="251"/>
                    <a:pt x="885" y="247"/>
                    <a:pt x="883" y="244"/>
                  </a:cubicBezTo>
                  <a:cubicBezTo>
                    <a:pt x="894" y="237"/>
                    <a:pt x="894" y="237"/>
                    <a:pt x="894" y="237"/>
                  </a:cubicBezTo>
                  <a:cubicBezTo>
                    <a:pt x="897" y="241"/>
                    <a:pt x="899" y="245"/>
                    <a:pt x="901" y="248"/>
                  </a:cubicBezTo>
                  <a:lnTo>
                    <a:pt x="889" y="255"/>
                  </a:lnTo>
                  <a:close/>
                  <a:moveTo>
                    <a:pt x="72" y="253"/>
                  </a:moveTo>
                  <a:cubicBezTo>
                    <a:pt x="60" y="247"/>
                    <a:pt x="60" y="247"/>
                    <a:pt x="60" y="247"/>
                  </a:cubicBezTo>
                  <a:cubicBezTo>
                    <a:pt x="63" y="243"/>
                    <a:pt x="65" y="239"/>
                    <a:pt x="67" y="235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6" y="246"/>
                    <a:pt x="74" y="249"/>
                    <a:pt x="72" y="253"/>
                  </a:cubicBezTo>
                  <a:close/>
                  <a:moveTo>
                    <a:pt x="876" y="233"/>
                  </a:moveTo>
                  <a:cubicBezTo>
                    <a:pt x="874" y="229"/>
                    <a:pt x="872" y="225"/>
                    <a:pt x="869" y="222"/>
                  </a:cubicBezTo>
                  <a:cubicBezTo>
                    <a:pt x="880" y="215"/>
                    <a:pt x="880" y="215"/>
                    <a:pt x="880" y="215"/>
                  </a:cubicBezTo>
                  <a:cubicBezTo>
                    <a:pt x="883" y="218"/>
                    <a:pt x="885" y="222"/>
                    <a:pt x="887" y="226"/>
                  </a:cubicBezTo>
                  <a:lnTo>
                    <a:pt x="876" y="233"/>
                  </a:lnTo>
                  <a:close/>
                  <a:moveTo>
                    <a:pt x="85" y="231"/>
                  </a:moveTo>
                  <a:cubicBezTo>
                    <a:pt x="74" y="224"/>
                    <a:pt x="74" y="224"/>
                    <a:pt x="74" y="224"/>
                  </a:cubicBezTo>
                  <a:cubicBezTo>
                    <a:pt x="76" y="220"/>
                    <a:pt x="79" y="217"/>
                    <a:pt x="81" y="213"/>
                  </a:cubicBezTo>
                  <a:cubicBezTo>
                    <a:pt x="92" y="220"/>
                    <a:pt x="92" y="220"/>
                    <a:pt x="92" y="220"/>
                  </a:cubicBezTo>
                  <a:cubicBezTo>
                    <a:pt x="90" y="224"/>
                    <a:pt x="87" y="227"/>
                    <a:pt x="85" y="231"/>
                  </a:cubicBezTo>
                  <a:close/>
                  <a:moveTo>
                    <a:pt x="862" y="211"/>
                  </a:moveTo>
                  <a:cubicBezTo>
                    <a:pt x="859" y="208"/>
                    <a:pt x="857" y="204"/>
                    <a:pt x="854" y="201"/>
                  </a:cubicBezTo>
                  <a:cubicBezTo>
                    <a:pt x="865" y="193"/>
                    <a:pt x="865" y="193"/>
                    <a:pt x="865" y="193"/>
                  </a:cubicBezTo>
                  <a:cubicBezTo>
                    <a:pt x="868" y="196"/>
                    <a:pt x="870" y="200"/>
                    <a:pt x="873" y="204"/>
                  </a:cubicBezTo>
                  <a:lnTo>
                    <a:pt x="862" y="211"/>
                  </a:lnTo>
                  <a:close/>
                  <a:moveTo>
                    <a:pt x="100" y="210"/>
                  </a:moveTo>
                  <a:cubicBezTo>
                    <a:pt x="89" y="202"/>
                    <a:pt x="89" y="202"/>
                    <a:pt x="89" y="202"/>
                  </a:cubicBezTo>
                  <a:cubicBezTo>
                    <a:pt x="91" y="198"/>
                    <a:pt x="94" y="195"/>
                    <a:pt x="97" y="191"/>
                  </a:cubicBezTo>
                  <a:cubicBezTo>
                    <a:pt x="107" y="199"/>
                    <a:pt x="107" y="199"/>
                    <a:pt x="107" y="199"/>
                  </a:cubicBezTo>
                  <a:cubicBezTo>
                    <a:pt x="105" y="203"/>
                    <a:pt x="102" y="206"/>
                    <a:pt x="100" y="210"/>
                  </a:cubicBezTo>
                  <a:close/>
                  <a:moveTo>
                    <a:pt x="846" y="190"/>
                  </a:moveTo>
                  <a:cubicBezTo>
                    <a:pt x="844" y="187"/>
                    <a:pt x="841" y="184"/>
                    <a:pt x="838" y="180"/>
                  </a:cubicBezTo>
                  <a:cubicBezTo>
                    <a:pt x="848" y="172"/>
                    <a:pt x="848" y="172"/>
                    <a:pt x="848" y="172"/>
                  </a:cubicBezTo>
                  <a:cubicBezTo>
                    <a:pt x="851" y="175"/>
                    <a:pt x="854" y="179"/>
                    <a:pt x="857" y="182"/>
                  </a:cubicBezTo>
                  <a:lnTo>
                    <a:pt x="846" y="190"/>
                  </a:lnTo>
                  <a:close/>
                  <a:moveTo>
                    <a:pt x="115" y="189"/>
                  </a:moveTo>
                  <a:cubicBezTo>
                    <a:pt x="105" y="181"/>
                    <a:pt x="105" y="181"/>
                    <a:pt x="105" y="181"/>
                  </a:cubicBezTo>
                  <a:cubicBezTo>
                    <a:pt x="108" y="177"/>
                    <a:pt x="110" y="174"/>
                    <a:pt x="113" y="170"/>
                  </a:cubicBezTo>
                  <a:cubicBezTo>
                    <a:pt x="123" y="179"/>
                    <a:pt x="123" y="179"/>
                    <a:pt x="123" y="179"/>
                  </a:cubicBezTo>
                  <a:cubicBezTo>
                    <a:pt x="121" y="182"/>
                    <a:pt x="118" y="186"/>
                    <a:pt x="115" y="189"/>
                  </a:cubicBezTo>
                  <a:close/>
                  <a:moveTo>
                    <a:pt x="830" y="171"/>
                  </a:moveTo>
                  <a:cubicBezTo>
                    <a:pt x="827" y="167"/>
                    <a:pt x="824" y="164"/>
                    <a:pt x="821" y="161"/>
                  </a:cubicBezTo>
                  <a:cubicBezTo>
                    <a:pt x="831" y="152"/>
                    <a:pt x="831" y="152"/>
                    <a:pt x="831" y="152"/>
                  </a:cubicBezTo>
                  <a:cubicBezTo>
                    <a:pt x="834" y="155"/>
                    <a:pt x="837" y="159"/>
                    <a:pt x="840" y="162"/>
                  </a:cubicBezTo>
                  <a:lnTo>
                    <a:pt x="830" y="171"/>
                  </a:lnTo>
                  <a:close/>
                  <a:moveTo>
                    <a:pt x="132" y="169"/>
                  </a:moveTo>
                  <a:cubicBezTo>
                    <a:pt x="122" y="160"/>
                    <a:pt x="122" y="160"/>
                    <a:pt x="122" y="160"/>
                  </a:cubicBezTo>
                  <a:cubicBezTo>
                    <a:pt x="125" y="157"/>
                    <a:pt x="128" y="154"/>
                    <a:pt x="131" y="151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38" y="163"/>
                    <a:pt x="135" y="166"/>
                    <a:pt x="132" y="169"/>
                  </a:cubicBezTo>
                  <a:close/>
                  <a:moveTo>
                    <a:pt x="812" y="152"/>
                  </a:moveTo>
                  <a:cubicBezTo>
                    <a:pt x="809" y="149"/>
                    <a:pt x="806" y="146"/>
                    <a:pt x="803" y="143"/>
                  </a:cubicBezTo>
                  <a:cubicBezTo>
                    <a:pt x="812" y="133"/>
                    <a:pt x="812" y="133"/>
                    <a:pt x="812" y="133"/>
                  </a:cubicBezTo>
                  <a:cubicBezTo>
                    <a:pt x="815" y="136"/>
                    <a:pt x="818" y="139"/>
                    <a:pt x="822" y="143"/>
                  </a:cubicBezTo>
                  <a:lnTo>
                    <a:pt x="812" y="152"/>
                  </a:lnTo>
                  <a:close/>
                  <a:moveTo>
                    <a:pt x="150" y="150"/>
                  </a:moveTo>
                  <a:cubicBezTo>
                    <a:pt x="140" y="141"/>
                    <a:pt x="140" y="141"/>
                    <a:pt x="140" y="141"/>
                  </a:cubicBezTo>
                  <a:cubicBezTo>
                    <a:pt x="143" y="138"/>
                    <a:pt x="147" y="135"/>
                    <a:pt x="150" y="132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56" y="144"/>
                    <a:pt x="153" y="147"/>
                    <a:pt x="150" y="150"/>
                  </a:cubicBezTo>
                  <a:close/>
                  <a:moveTo>
                    <a:pt x="794" y="134"/>
                  </a:moveTo>
                  <a:cubicBezTo>
                    <a:pt x="790" y="131"/>
                    <a:pt x="787" y="128"/>
                    <a:pt x="784" y="125"/>
                  </a:cubicBezTo>
                  <a:cubicBezTo>
                    <a:pt x="792" y="116"/>
                    <a:pt x="792" y="116"/>
                    <a:pt x="792" y="116"/>
                  </a:cubicBezTo>
                  <a:cubicBezTo>
                    <a:pt x="796" y="118"/>
                    <a:pt x="799" y="121"/>
                    <a:pt x="802" y="124"/>
                  </a:cubicBezTo>
                  <a:lnTo>
                    <a:pt x="794" y="134"/>
                  </a:lnTo>
                  <a:close/>
                  <a:moveTo>
                    <a:pt x="168" y="133"/>
                  </a:moveTo>
                  <a:cubicBezTo>
                    <a:pt x="160" y="123"/>
                    <a:pt x="160" y="123"/>
                    <a:pt x="160" y="123"/>
                  </a:cubicBezTo>
                  <a:cubicBezTo>
                    <a:pt x="163" y="120"/>
                    <a:pt x="166" y="117"/>
                    <a:pt x="170" y="11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5" y="127"/>
                    <a:pt x="172" y="130"/>
                    <a:pt x="168" y="133"/>
                  </a:cubicBezTo>
                  <a:close/>
                  <a:moveTo>
                    <a:pt x="774" y="117"/>
                  </a:moveTo>
                  <a:cubicBezTo>
                    <a:pt x="771" y="114"/>
                    <a:pt x="767" y="112"/>
                    <a:pt x="764" y="109"/>
                  </a:cubicBezTo>
                  <a:cubicBezTo>
                    <a:pt x="772" y="99"/>
                    <a:pt x="772" y="99"/>
                    <a:pt x="772" y="99"/>
                  </a:cubicBezTo>
                  <a:cubicBezTo>
                    <a:pt x="775" y="101"/>
                    <a:pt x="779" y="104"/>
                    <a:pt x="782" y="107"/>
                  </a:cubicBezTo>
                  <a:lnTo>
                    <a:pt x="774" y="117"/>
                  </a:lnTo>
                  <a:close/>
                  <a:moveTo>
                    <a:pt x="188" y="116"/>
                  </a:moveTo>
                  <a:cubicBezTo>
                    <a:pt x="180" y="106"/>
                    <a:pt x="180" y="106"/>
                    <a:pt x="180" y="106"/>
                  </a:cubicBezTo>
                  <a:cubicBezTo>
                    <a:pt x="183" y="103"/>
                    <a:pt x="187" y="100"/>
                    <a:pt x="190" y="98"/>
                  </a:cubicBezTo>
                  <a:cubicBezTo>
                    <a:pt x="198" y="108"/>
                    <a:pt x="198" y="108"/>
                    <a:pt x="198" y="108"/>
                  </a:cubicBezTo>
                  <a:cubicBezTo>
                    <a:pt x="195" y="111"/>
                    <a:pt x="191" y="113"/>
                    <a:pt x="188" y="116"/>
                  </a:cubicBezTo>
                  <a:close/>
                  <a:moveTo>
                    <a:pt x="753" y="101"/>
                  </a:moveTo>
                  <a:cubicBezTo>
                    <a:pt x="750" y="99"/>
                    <a:pt x="746" y="96"/>
                    <a:pt x="743" y="94"/>
                  </a:cubicBezTo>
                  <a:cubicBezTo>
                    <a:pt x="750" y="83"/>
                    <a:pt x="750" y="83"/>
                    <a:pt x="750" y="83"/>
                  </a:cubicBezTo>
                  <a:cubicBezTo>
                    <a:pt x="754" y="86"/>
                    <a:pt x="757" y="88"/>
                    <a:pt x="761" y="91"/>
                  </a:cubicBezTo>
                  <a:lnTo>
                    <a:pt x="753" y="101"/>
                  </a:lnTo>
                  <a:close/>
                  <a:moveTo>
                    <a:pt x="209" y="100"/>
                  </a:moveTo>
                  <a:cubicBezTo>
                    <a:pt x="201" y="90"/>
                    <a:pt x="201" y="90"/>
                    <a:pt x="201" y="90"/>
                  </a:cubicBezTo>
                  <a:cubicBezTo>
                    <a:pt x="205" y="87"/>
                    <a:pt x="208" y="85"/>
                    <a:pt x="212" y="82"/>
                  </a:cubicBezTo>
                  <a:cubicBezTo>
                    <a:pt x="219" y="93"/>
                    <a:pt x="219" y="93"/>
                    <a:pt x="219" y="93"/>
                  </a:cubicBezTo>
                  <a:cubicBezTo>
                    <a:pt x="216" y="95"/>
                    <a:pt x="212" y="98"/>
                    <a:pt x="209" y="100"/>
                  </a:cubicBezTo>
                  <a:close/>
                  <a:moveTo>
                    <a:pt x="732" y="87"/>
                  </a:moveTo>
                  <a:cubicBezTo>
                    <a:pt x="728" y="85"/>
                    <a:pt x="725" y="82"/>
                    <a:pt x="721" y="80"/>
                  </a:cubicBezTo>
                  <a:cubicBezTo>
                    <a:pt x="728" y="69"/>
                    <a:pt x="728" y="69"/>
                    <a:pt x="728" y="69"/>
                  </a:cubicBezTo>
                  <a:cubicBezTo>
                    <a:pt x="732" y="71"/>
                    <a:pt x="735" y="74"/>
                    <a:pt x="739" y="76"/>
                  </a:cubicBezTo>
                  <a:lnTo>
                    <a:pt x="732" y="87"/>
                  </a:lnTo>
                  <a:close/>
                  <a:moveTo>
                    <a:pt x="230" y="86"/>
                  </a:moveTo>
                  <a:cubicBezTo>
                    <a:pt x="223" y="75"/>
                    <a:pt x="223" y="75"/>
                    <a:pt x="223" y="75"/>
                  </a:cubicBezTo>
                  <a:cubicBezTo>
                    <a:pt x="227" y="72"/>
                    <a:pt x="230" y="70"/>
                    <a:pt x="234" y="68"/>
                  </a:cubicBezTo>
                  <a:cubicBezTo>
                    <a:pt x="241" y="79"/>
                    <a:pt x="241" y="79"/>
                    <a:pt x="241" y="79"/>
                  </a:cubicBezTo>
                  <a:cubicBezTo>
                    <a:pt x="237" y="81"/>
                    <a:pt x="234" y="84"/>
                    <a:pt x="230" y="86"/>
                  </a:cubicBezTo>
                  <a:close/>
                  <a:moveTo>
                    <a:pt x="710" y="74"/>
                  </a:moveTo>
                  <a:cubicBezTo>
                    <a:pt x="706" y="71"/>
                    <a:pt x="702" y="69"/>
                    <a:pt x="698" y="67"/>
                  </a:cubicBezTo>
                  <a:cubicBezTo>
                    <a:pt x="705" y="56"/>
                    <a:pt x="705" y="56"/>
                    <a:pt x="705" y="56"/>
                  </a:cubicBezTo>
                  <a:cubicBezTo>
                    <a:pt x="708" y="58"/>
                    <a:pt x="712" y="60"/>
                    <a:pt x="716" y="62"/>
                  </a:cubicBezTo>
                  <a:lnTo>
                    <a:pt x="710" y="74"/>
                  </a:lnTo>
                  <a:close/>
                  <a:moveTo>
                    <a:pt x="252" y="73"/>
                  </a:moveTo>
                  <a:cubicBezTo>
                    <a:pt x="246" y="61"/>
                    <a:pt x="246" y="61"/>
                    <a:pt x="246" y="61"/>
                  </a:cubicBezTo>
                  <a:cubicBezTo>
                    <a:pt x="250" y="59"/>
                    <a:pt x="253" y="57"/>
                    <a:pt x="257" y="55"/>
                  </a:cubicBezTo>
                  <a:cubicBezTo>
                    <a:pt x="263" y="67"/>
                    <a:pt x="263" y="67"/>
                    <a:pt x="263" y="67"/>
                  </a:cubicBezTo>
                  <a:cubicBezTo>
                    <a:pt x="260" y="69"/>
                    <a:pt x="256" y="71"/>
                    <a:pt x="252" y="73"/>
                  </a:cubicBezTo>
                  <a:close/>
                  <a:moveTo>
                    <a:pt x="687" y="61"/>
                  </a:moveTo>
                  <a:cubicBezTo>
                    <a:pt x="683" y="60"/>
                    <a:pt x="679" y="58"/>
                    <a:pt x="675" y="56"/>
                  </a:cubicBezTo>
                  <a:cubicBezTo>
                    <a:pt x="681" y="44"/>
                    <a:pt x="681" y="44"/>
                    <a:pt x="681" y="44"/>
                  </a:cubicBezTo>
                  <a:cubicBezTo>
                    <a:pt x="685" y="46"/>
                    <a:pt x="689" y="48"/>
                    <a:pt x="693" y="50"/>
                  </a:cubicBezTo>
                  <a:lnTo>
                    <a:pt x="687" y="61"/>
                  </a:lnTo>
                  <a:close/>
                  <a:moveTo>
                    <a:pt x="275" y="61"/>
                  </a:moveTo>
                  <a:cubicBezTo>
                    <a:pt x="269" y="49"/>
                    <a:pt x="269" y="49"/>
                    <a:pt x="269" y="49"/>
                  </a:cubicBezTo>
                  <a:cubicBezTo>
                    <a:pt x="273" y="47"/>
                    <a:pt x="277" y="45"/>
                    <a:pt x="281" y="43"/>
                  </a:cubicBezTo>
                  <a:cubicBezTo>
                    <a:pt x="287" y="55"/>
                    <a:pt x="287" y="55"/>
                    <a:pt x="287" y="55"/>
                  </a:cubicBezTo>
                  <a:cubicBezTo>
                    <a:pt x="283" y="57"/>
                    <a:pt x="279" y="59"/>
                    <a:pt x="275" y="61"/>
                  </a:cubicBezTo>
                  <a:close/>
                  <a:moveTo>
                    <a:pt x="663" y="51"/>
                  </a:moveTo>
                  <a:cubicBezTo>
                    <a:pt x="659" y="49"/>
                    <a:pt x="655" y="47"/>
                    <a:pt x="651" y="46"/>
                  </a:cubicBezTo>
                  <a:cubicBezTo>
                    <a:pt x="656" y="34"/>
                    <a:pt x="656" y="34"/>
                    <a:pt x="656" y="34"/>
                  </a:cubicBezTo>
                  <a:cubicBezTo>
                    <a:pt x="660" y="35"/>
                    <a:pt x="664" y="37"/>
                    <a:pt x="668" y="39"/>
                  </a:cubicBezTo>
                  <a:lnTo>
                    <a:pt x="663" y="51"/>
                  </a:lnTo>
                  <a:close/>
                  <a:moveTo>
                    <a:pt x="298" y="50"/>
                  </a:moveTo>
                  <a:cubicBezTo>
                    <a:pt x="293" y="38"/>
                    <a:pt x="293" y="38"/>
                    <a:pt x="293" y="38"/>
                  </a:cubicBezTo>
                  <a:cubicBezTo>
                    <a:pt x="297" y="36"/>
                    <a:pt x="301" y="35"/>
                    <a:pt x="306" y="33"/>
                  </a:cubicBezTo>
                  <a:cubicBezTo>
                    <a:pt x="310" y="45"/>
                    <a:pt x="310" y="45"/>
                    <a:pt x="310" y="45"/>
                  </a:cubicBezTo>
                  <a:cubicBezTo>
                    <a:pt x="306" y="47"/>
                    <a:pt x="302" y="48"/>
                    <a:pt x="298" y="50"/>
                  </a:cubicBezTo>
                  <a:close/>
                  <a:moveTo>
                    <a:pt x="639" y="41"/>
                  </a:moveTo>
                  <a:cubicBezTo>
                    <a:pt x="635" y="40"/>
                    <a:pt x="631" y="38"/>
                    <a:pt x="627" y="37"/>
                  </a:cubicBezTo>
                  <a:cubicBezTo>
                    <a:pt x="631" y="24"/>
                    <a:pt x="631" y="24"/>
                    <a:pt x="631" y="24"/>
                  </a:cubicBezTo>
                  <a:cubicBezTo>
                    <a:pt x="635" y="26"/>
                    <a:pt x="640" y="27"/>
                    <a:pt x="644" y="29"/>
                  </a:cubicBezTo>
                  <a:lnTo>
                    <a:pt x="639" y="41"/>
                  </a:lnTo>
                  <a:close/>
                  <a:moveTo>
                    <a:pt x="322" y="41"/>
                  </a:moveTo>
                  <a:cubicBezTo>
                    <a:pt x="318" y="28"/>
                    <a:pt x="318" y="28"/>
                    <a:pt x="318" y="28"/>
                  </a:cubicBezTo>
                  <a:cubicBezTo>
                    <a:pt x="322" y="27"/>
                    <a:pt x="326" y="25"/>
                    <a:pt x="331" y="24"/>
                  </a:cubicBezTo>
                  <a:cubicBezTo>
                    <a:pt x="335" y="36"/>
                    <a:pt x="335" y="36"/>
                    <a:pt x="335" y="36"/>
                  </a:cubicBezTo>
                  <a:cubicBezTo>
                    <a:pt x="331" y="38"/>
                    <a:pt x="327" y="39"/>
                    <a:pt x="322" y="41"/>
                  </a:cubicBezTo>
                  <a:close/>
                  <a:moveTo>
                    <a:pt x="615" y="33"/>
                  </a:moveTo>
                  <a:cubicBezTo>
                    <a:pt x="610" y="32"/>
                    <a:pt x="606" y="31"/>
                    <a:pt x="602" y="29"/>
                  </a:cubicBezTo>
                  <a:cubicBezTo>
                    <a:pt x="606" y="17"/>
                    <a:pt x="606" y="17"/>
                    <a:pt x="606" y="17"/>
                  </a:cubicBezTo>
                  <a:cubicBezTo>
                    <a:pt x="610" y="18"/>
                    <a:pt x="614" y="19"/>
                    <a:pt x="618" y="20"/>
                  </a:cubicBezTo>
                  <a:lnTo>
                    <a:pt x="615" y="33"/>
                  </a:lnTo>
                  <a:close/>
                  <a:moveTo>
                    <a:pt x="347" y="33"/>
                  </a:moveTo>
                  <a:cubicBezTo>
                    <a:pt x="343" y="20"/>
                    <a:pt x="343" y="20"/>
                    <a:pt x="343" y="20"/>
                  </a:cubicBezTo>
                  <a:cubicBezTo>
                    <a:pt x="348" y="19"/>
                    <a:pt x="352" y="18"/>
                    <a:pt x="356" y="16"/>
                  </a:cubicBezTo>
                  <a:cubicBezTo>
                    <a:pt x="359" y="29"/>
                    <a:pt x="359" y="29"/>
                    <a:pt x="359" y="29"/>
                  </a:cubicBezTo>
                  <a:cubicBezTo>
                    <a:pt x="355" y="30"/>
                    <a:pt x="351" y="31"/>
                    <a:pt x="347" y="33"/>
                  </a:cubicBezTo>
                  <a:close/>
                  <a:moveTo>
                    <a:pt x="590" y="26"/>
                  </a:moveTo>
                  <a:cubicBezTo>
                    <a:pt x="585" y="25"/>
                    <a:pt x="581" y="24"/>
                    <a:pt x="577" y="23"/>
                  </a:cubicBezTo>
                  <a:cubicBezTo>
                    <a:pt x="580" y="11"/>
                    <a:pt x="580" y="11"/>
                    <a:pt x="580" y="11"/>
                  </a:cubicBezTo>
                  <a:cubicBezTo>
                    <a:pt x="584" y="12"/>
                    <a:pt x="588" y="13"/>
                    <a:pt x="593" y="14"/>
                  </a:cubicBezTo>
                  <a:lnTo>
                    <a:pt x="590" y="26"/>
                  </a:lnTo>
                  <a:close/>
                  <a:moveTo>
                    <a:pt x="372" y="26"/>
                  </a:moveTo>
                  <a:cubicBezTo>
                    <a:pt x="369" y="13"/>
                    <a:pt x="369" y="13"/>
                    <a:pt x="369" y="13"/>
                  </a:cubicBezTo>
                  <a:cubicBezTo>
                    <a:pt x="373" y="12"/>
                    <a:pt x="378" y="11"/>
                    <a:pt x="382" y="10"/>
                  </a:cubicBezTo>
                  <a:cubicBezTo>
                    <a:pt x="385" y="23"/>
                    <a:pt x="385" y="23"/>
                    <a:pt x="385" y="23"/>
                  </a:cubicBezTo>
                  <a:cubicBezTo>
                    <a:pt x="380" y="24"/>
                    <a:pt x="376" y="25"/>
                    <a:pt x="372" y="26"/>
                  </a:cubicBezTo>
                  <a:close/>
                  <a:moveTo>
                    <a:pt x="564" y="21"/>
                  </a:moveTo>
                  <a:cubicBezTo>
                    <a:pt x="560" y="20"/>
                    <a:pt x="556" y="19"/>
                    <a:pt x="552" y="19"/>
                  </a:cubicBezTo>
                  <a:cubicBezTo>
                    <a:pt x="554" y="6"/>
                    <a:pt x="554" y="6"/>
                    <a:pt x="554" y="6"/>
                  </a:cubicBezTo>
                  <a:cubicBezTo>
                    <a:pt x="558" y="7"/>
                    <a:pt x="562" y="7"/>
                    <a:pt x="567" y="8"/>
                  </a:cubicBezTo>
                  <a:lnTo>
                    <a:pt x="564" y="21"/>
                  </a:lnTo>
                  <a:close/>
                  <a:moveTo>
                    <a:pt x="397" y="21"/>
                  </a:moveTo>
                  <a:cubicBezTo>
                    <a:pt x="395" y="8"/>
                    <a:pt x="395" y="8"/>
                    <a:pt x="395" y="8"/>
                  </a:cubicBezTo>
                  <a:cubicBezTo>
                    <a:pt x="399" y="7"/>
                    <a:pt x="404" y="6"/>
                    <a:pt x="408" y="6"/>
                  </a:cubicBezTo>
                  <a:cubicBezTo>
                    <a:pt x="410" y="19"/>
                    <a:pt x="410" y="19"/>
                    <a:pt x="410" y="19"/>
                  </a:cubicBezTo>
                  <a:cubicBezTo>
                    <a:pt x="406" y="19"/>
                    <a:pt x="402" y="20"/>
                    <a:pt x="397" y="21"/>
                  </a:cubicBezTo>
                  <a:close/>
                  <a:moveTo>
                    <a:pt x="539" y="17"/>
                  </a:moveTo>
                  <a:cubicBezTo>
                    <a:pt x="535" y="17"/>
                    <a:pt x="530" y="16"/>
                    <a:pt x="526" y="16"/>
                  </a:cubicBezTo>
                  <a:cubicBezTo>
                    <a:pt x="527" y="3"/>
                    <a:pt x="527" y="3"/>
                    <a:pt x="527" y="3"/>
                  </a:cubicBezTo>
                  <a:cubicBezTo>
                    <a:pt x="532" y="3"/>
                    <a:pt x="536" y="3"/>
                    <a:pt x="540" y="4"/>
                  </a:cubicBezTo>
                  <a:lnTo>
                    <a:pt x="539" y="17"/>
                  </a:lnTo>
                  <a:close/>
                  <a:moveTo>
                    <a:pt x="423" y="17"/>
                  </a:moveTo>
                  <a:cubicBezTo>
                    <a:pt x="421" y="4"/>
                    <a:pt x="421" y="4"/>
                    <a:pt x="421" y="4"/>
                  </a:cubicBezTo>
                  <a:cubicBezTo>
                    <a:pt x="426" y="3"/>
                    <a:pt x="430" y="3"/>
                    <a:pt x="434" y="2"/>
                  </a:cubicBezTo>
                  <a:cubicBezTo>
                    <a:pt x="436" y="15"/>
                    <a:pt x="436" y="15"/>
                    <a:pt x="436" y="15"/>
                  </a:cubicBezTo>
                  <a:cubicBezTo>
                    <a:pt x="431" y="16"/>
                    <a:pt x="427" y="16"/>
                    <a:pt x="423" y="17"/>
                  </a:cubicBezTo>
                  <a:close/>
                  <a:moveTo>
                    <a:pt x="513" y="15"/>
                  </a:moveTo>
                  <a:cubicBezTo>
                    <a:pt x="509" y="14"/>
                    <a:pt x="505" y="14"/>
                    <a:pt x="500" y="14"/>
                  </a:cubicBezTo>
                  <a:cubicBezTo>
                    <a:pt x="501" y="1"/>
                    <a:pt x="501" y="1"/>
                    <a:pt x="501" y="1"/>
                  </a:cubicBezTo>
                  <a:cubicBezTo>
                    <a:pt x="505" y="1"/>
                    <a:pt x="510" y="1"/>
                    <a:pt x="514" y="1"/>
                  </a:cubicBezTo>
                  <a:lnTo>
                    <a:pt x="513" y="15"/>
                  </a:lnTo>
                  <a:close/>
                  <a:moveTo>
                    <a:pt x="449" y="14"/>
                  </a:moveTo>
                  <a:cubicBezTo>
                    <a:pt x="448" y="1"/>
                    <a:pt x="448" y="1"/>
                    <a:pt x="448" y="1"/>
                  </a:cubicBezTo>
                  <a:cubicBezTo>
                    <a:pt x="452" y="1"/>
                    <a:pt x="457" y="1"/>
                    <a:pt x="461" y="1"/>
                  </a:cubicBezTo>
                  <a:cubicBezTo>
                    <a:pt x="461" y="14"/>
                    <a:pt x="461" y="14"/>
                    <a:pt x="461" y="14"/>
                  </a:cubicBezTo>
                  <a:cubicBezTo>
                    <a:pt x="457" y="14"/>
                    <a:pt x="453" y="14"/>
                    <a:pt x="449" y="14"/>
                  </a:cubicBezTo>
                  <a:close/>
                  <a:moveTo>
                    <a:pt x="487" y="13"/>
                  </a:moveTo>
                  <a:cubicBezTo>
                    <a:pt x="485" y="13"/>
                    <a:pt x="482" y="13"/>
                    <a:pt x="479" y="13"/>
                  </a:cubicBezTo>
                  <a:cubicBezTo>
                    <a:pt x="478" y="13"/>
                    <a:pt x="476" y="13"/>
                    <a:pt x="474" y="13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476" y="0"/>
                    <a:pt x="478" y="0"/>
                    <a:pt x="480" y="0"/>
                  </a:cubicBezTo>
                  <a:cubicBezTo>
                    <a:pt x="483" y="0"/>
                    <a:pt x="485" y="0"/>
                    <a:pt x="487" y="0"/>
                  </a:cubicBezTo>
                  <a:lnTo>
                    <a:pt x="487" y="13"/>
                  </a:lnTo>
                  <a:close/>
                </a:path>
              </a:pathLst>
            </a:custGeom>
            <a:solidFill>
              <a:srgbClr val="BE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3" name="Freeform 147">
              <a:extLst>
                <a:ext uri="{FF2B5EF4-FFF2-40B4-BE49-F238E27FC236}">
                  <a16:creationId xmlns:a16="http://schemas.microsoft.com/office/drawing/2014/main" xmlns="" id="{21EB687A-3876-4EB8-B188-66FFC43E7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687" y="2922635"/>
              <a:ext cx="613071" cy="756645"/>
            </a:xfrm>
            <a:custGeom>
              <a:avLst/>
              <a:gdLst>
                <a:gd name="T0" fmla="*/ 644 w 655"/>
                <a:gd name="T1" fmla="*/ 0 h 808"/>
                <a:gd name="T2" fmla="*/ 327 w 655"/>
                <a:gd name="T3" fmla="*/ 0 h 808"/>
                <a:gd name="T4" fmla="*/ 133 w 655"/>
                <a:gd name="T5" fmla="*/ 0 h 808"/>
                <a:gd name="T6" fmla="*/ 105 w 655"/>
                <a:gd name="T7" fmla="*/ 0 h 808"/>
                <a:gd name="T8" fmla="*/ 103 w 655"/>
                <a:gd name="T9" fmla="*/ 3 h 808"/>
                <a:gd name="T10" fmla="*/ 103 w 655"/>
                <a:gd name="T11" fmla="*/ 89 h 808"/>
                <a:gd name="T12" fmla="*/ 88 w 655"/>
                <a:gd name="T13" fmla="*/ 99 h 808"/>
                <a:gd name="T14" fmla="*/ 2 w 655"/>
                <a:gd name="T15" fmla="*/ 99 h 808"/>
                <a:gd name="T16" fmla="*/ 0 w 655"/>
                <a:gd name="T17" fmla="*/ 101 h 808"/>
                <a:gd name="T18" fmla="*/ 0 w 655"/>
                <a:gd name="T19" fmla="*/ 165 h 808"/>
                <a:gd name="T20" fmla="*/ 0 w 655"/>
                <a:gd name="T21" fmla="*/ 798 h 808"/>
                <a:gd name="T22" fmla="*/ 10 w 655"/>
                <a:gd name="T23" fmla="*/ 808 h 808"/>
                <a:gd name="T24" fmla="*/ 327 w 655"/>
                <a:gd name="T25" fmla="*/ 808 h 808"/>
                <a:gd name="T26" fmla="*/ 644 w 655"/>
                <a:gd name="T27" fmla="*/ 808 h 808"/>
                <a:gd name="T28" fmla="*/ 655 w 655"/>
                <a:gd name="T29" fmla="*/ 798 h 808"/>
                <a:gd name="T30" fmla="*/ 655 w 655"/>
                <a:gd name="T31" fmla="*/ 11 h 808"/>
                <a:gd name="T32" fmla="*/ 644 w 655"/>
                <a:gd name="T33" fmla="*/ 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5" h="808">
                  <a:moveTo>
                    <a:pt x="644" y="0"/>
                  </a:moveTo>
                  <a:cubicBezTo>
                    <a:pt x="327" y="0"/>
                    <a:pt x="327" y="0"/>
                    <a:pt x="327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03" y="94"/>
                    <a:pt x="101" y="99"/>
                    <a:pt x="88" y="99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798"/>
                    <a:pt x="0" y="798"/>
                    <a:pt x="0" y="798"/>
                  </a:cubicBezTo>
                  <a:cubicBezTo>
                    <a:pt x="0" y="804"/>
                    <a:pt x="5" y="808"/>
                    <a:pt x="10" y="808"/>
                  </a:cubicBezTo>
                  <a:cubicBezTo>
                    <a:pt x="327" y="808"/>
                    <a:pt x="327" y="808"/>
                    <a:pt x="327" y="808"/>
                  </a:cubicBezTo>
                  <a:cubicBezTo>
                    <a:pt x="644" y="808"/>
                    <a:pt x="644" y="808"/>
                    <a:pt x="644" y="808"/>
                  </a:cubicBezTo>
                  <a:cubicBezTo>
                    <a:pt x="650" y="808"/>
                    <a:pt x="655" y="804"/>
                    <a:pt x="655" y="798"/>
                  </a:cubicBezTo>
                  <a:cubicBezTo>
                    <a:pt x="655" y="11"/>
                    <a:pt x="655" y="11"/>
                    <a:pt x="655" y="11"/>
                  </a:cubicBezTo>
                  <a:cubicBezTo>
                    <a:pt x="655" y="5"/>
                    <a:pt x="650" y="0"/>
                    <a:pt x="644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4" name="Freeform 148">
              <a:extLst>
                <a:ext uri="{FF2B5EF4-FFF2-40B4-BE49-F238E27FC236}">
                  <a16:creationId xmlns:a16="http://schemas.microsoft.com/office/drawing/2014/main" xmlns="" id="{7F9E59AA-32F9-4DDB-9CB0-064DC16E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366" y="3038961"/>
              <a:ext cx="342691" cy="69167"/>
            </a:xfrm>
            <a:custGeom>
              <a:avLst/>
              <a:gdLst>
                <a:gd name="T0" fmla="*/ 0 w 327"/>
                <a:gd name="T1" fmla="*/ 0 h 66"/>
                <a:gd name="T2" fmla="*/ 0 w 327"/>
                <a:gd name="T3" fmla="*/ 66 h 66"/>
                <a:gd name="T4" fmla="*/ 327 w 327"/>
                <a:gd name="T5" fmla="*/ 66 h 66"/>
                <a:gd name="T6" fmla="*/ 327 w 327"/>
                <a:gd name="T7" fmla="*/ 38 h 66"/>
                <a:gd name="T8" fmla="*/ 327 w 327"/>
                <a:gd name="T9" fmla="*/ 28 h 66"/>
                <a:gd name="T10" fmla="*/ 327 w 327"/>
                <a:gd name="T11" fmla="*/ 0 h 66"/>
                <a:gd name="T12" fmla="*/ 0 w 327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66">
                  <a:moveTo>
                    <a:pt x="0" y="0"/>
                  </a:moveTo>
                  <a:lnTo>
                    <a:pt x="0" y="66"/>
                  </a:lnTo>
                  <a:lnTo>
                    <a:pt x="327" y="66"/>
                  </a:lnTo>
                  <a:lnTo>
                    <a:pt x="327" y="38"/>
                  </a:lnTo>
                  <a:lnTo>
                    <a:pt x="327" y="28"/>
                  </a:lnTo>
                  <a:lnTo>
                    <a:pt x="3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5" name="Freeform 149">
              <a:extLst>
                <a:ext uri="{FF2B5EF4-FFF2-40B4-BE49-F238E27FC236}">
                  <a16:creationId xmlns:a16="http://schemas.microsoft.com/office/drawing/2014/main" xmlns="" id="{E3A974A1-972C-410E-8698-056B29930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366" y="3132232"/>
              <a:ext cx="342691" cy="69167"/>
            </a:xfrm>
            <a:custGeom>
              <a:avLst/>
              <a:gdLst>
                <a:gd name="T0" fmla="*/ 0 w 327"/>
                <a:gd name="T1" fmla="*/ 0 h 66"/>
                <a:gd name="T2" fmla="*/ 0 w 327"/>
                <a:gd name="T3" fmla="*/ 66 h 66"/>
                <a:gd name="T4" fmla="*/ 327 w 327"/>
                <a:gd name="T5" fmla="*/ 66 h 66"/>
                <a:gd name="T6" fmla="*/ 327 w 327"/>
                <a:gd name="T7" fmla="*/ 38 h 66"/>
                <a:gd name="T8" fmla="*/ 327 w 327"/>
                <a:gd name="T9" fmla="*/ 28 h 66"/>
                <a:gd name="T10" fmla="*/ 327 w 327"/>
                <a:gd name="T11" fmla="*/ 0 h 66"/>
                <a:gd name="T12" fmla="*/ 0 w 327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66">
                  <a:moveTo>
                    <a:pt x="0" y="0"/>
                  </a:moveTo>
                  <a:lnTo>
                    <a:pt x="0" y="66"/>
                  </a:lnTo>
                  <a:lnTo>
                    <a:pt x="327" y="66"/>
                  </a:lnTo>
                  <a:lnTo>
                    <a:pt x="327" y="38"/>
                  </a:lnTo>
                  <a:lnTo>
                    <a:pt x="327" y="28"/>
                  </a:lnTo>
                  <a:lnTo>
                    <a:pt x="3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6" name="Freeform 150">
              <a:extLst>
                <a:ext uri="{FF2B5EF4-FFF2-40B4-BE49-F238E27FC236}">
                  <a16:creationId xmlns:a16="http://schemas.microsoft.com/office/drawing/2014/main" xmlns="" id="{1CFD03B1-8165-4B61-B520-AF975C65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366" y="3226550"/>
              <a:ext cx="342691" cy="69167"/>
            </a:xfrm>
            <a:custGeom>
              <a:avLst/>
              <a:gdLst>
                <a:gd name="T0" fmla="*/ 0 w 327"/>
                <a:gd name="T1" fmla="*/ 0 h 66"/>
                <a:gd name="T2" fmla="*/ 0 w 327"/>
                <a:gd name="T3" fmla="*/ 66 h 66"/>
                <a:gd name="T4" fmla="*/ 327 w 327"/>
                <a:gd name="T5" fmla="*/ 66 h 66"/>
                <a:gd name="T6" fmla="*/ 327 w 327"/>
                <a:gd name="T7" fmla="*/ 38 h 66"/>
                <a:gd name="T8" fmla="*/ 327 w 327"/>
                <a:gd name="T9" fmla="*/ 27 h 66"/>
                <a:gd name="T10" fmla="*/ 327 w 327"/>
                <a:gd name="T11" fmla="*/ 0 h 66"/>
                <a:gd name="T12" fmla="*/ 0 w 327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66">
                  <a:moveTo>
                    <a:pt x="0" y="0"/>
                  </a:moveTo>
                  <a:lnTo>
                    <a:pt x="0" y="66"/>
                  </a:lnTo>
                  <a:lnTo>
                    <a:pt x="327" y="66"/>
                  </a:lnTo>
                  <a:lnTo>
                    <a:pt x="327" y="38"/>
                  </a:lnTo>
                  <a:lnTo>
                    <a:pt x="327" y="27"/>
                  </a:lnTo>
                  <a:lnTo>
                    <a:pt x="3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7" name="Rectangle 151">
              <a:extLst>
                <a:ext uri="{FF2B5EF4-FFF2-40B4-BE49-F238E27FC236}">
                  <a16:creationId xmlns:a16="http://schemas.microsoft.com/office/drawing/2014/main" xmlns="" id="{52C91A65-7F17-4F79-8680-988E15701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0366" y="3058873"/>
              <a:ext cx="178158" cy="29344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8" name="Rectangle 152">
              <a:extLst>
                <a:ext uri="{FF2B5EF4-FFF2-40B4-BE49-F238E27FC236}">
                  <a16:creationId xmlns:a16="http://schemas.microsoft.com/office/drawing/2014/main" xmlns="" id="{CCA06A2F-066F-404B-BD84-4867547BB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0366" y="3151095"/>
              <a:ext cx="233701" cy="31440"/>
            </a:xfrm>
            <a:prstGeom prst="rect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9" name="Rectangle 153">
              <a:extLst>
                <a:ext uri="{FF2B5EF4-FFF2-40B4-BE49-F238E27FC236}">
                  <a16:creationId xmlns:a16="http://schemas.microsoft.com/office/drawing/2014/main" xmlns="" id="{31E39D85-9E63-4E18-9CB0-268D0B31F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0366" y="3245414"/>
              <a:ext cx="297628" cy="30392"/>
            </a:xfrm>
            <a:prstGeom prst="rect">
              <a:avLst/>
            </a:prstGeom>
            <a:solidFill>
              <a:srgbClr val="E100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0" name="Freeform 154">
              <a:extLst>
                <a:ext uri="{FF2B5EF4-FFF2-40B4-BE49-F238E27FC236}">
                  <a16:creationId xmlns:a16="http://schemas.microsoft.com/office/drawing/2014/main" xmlns="" id="{EFC8557B-1AF5-49F5-B81E-4166A8516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057" y="3068305"/>
              <a:ext cx="122614" cy="10480"/>
            </a:xfrm>
            <a:custGeom>
              <a:avLst/>
              <a:gdLst>
                <a:gd name="T0" fmla="*/ 131 w 131"/>
                <a:gd name="T1" fmla="*/ 6 h 12"/>
                <a:gd name="T2" fmla="*/ 131 w 131"/>
                <a:gd name="T3" fmla="*/ 0 h 12"/>
                <a:gd name="T4" fmla="*/ 0 w 131"/>
                <a:gd name="T5" fmla="*/ 0 h 12"/>
                <a:gd name="T6" fmla="*/ 0 w 131"/>
                <a:gd name="T7" fmla="*/ 12 h 12"/>
                <a:gd name="T8" fmla="*/ 131 w 131"/>
                <a:gd name="T9" fmla="*/ 12 h 12"/>
                <a:gd name="T10" fmla="*/ 131 w 131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2">
                  <a:moveTo>
                    <a:pt x="131" y="6"/>
                  </a:moveTo>
                  <a:cubicBezTo>
                    <a:pt x="131" y="4"/>
                    <a:pt x="131" y="2"/>
                    <a:pt x="1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1" y="8"/>
                    <a:pt x="131" y="6"/>
                  </a:cubicBezTo>
                  <a:close/>
                </a:path>
              </a:pathLst>
            </a:cu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1" name="Freeform 155">
              <a:extLst>
                <a:ext uri="{FF2B5EF4-FFF2-40B4-BE49-F238E27FC236}">
                  <a16:creationId xmlns:a16="http://schemas.microsoft.com/office/drawing/2014/main" xmlns="" id="{7C650D55-6E80-4AEF-A72F-08DD895D13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5672" y="3047345"/>
              <a:ext cx="52399" cy="52399"/>
            </a:xfrm>
            <a:custGeom>
              <a:avLst/>
              <a:gdLst>
                <a:gd name="T0" fmla="*/ 28 w 56"/>
                <a:gd name="T1" fmla="*/ 0 h 56"/>
                <a:gd name="T2" fmla="*/ 0 w 56"/>
                <a:gd name="T3" fmla="*/ 22 h 56"/>
                <a:gd name="T4" fmla="*/ 0 w 56"/>
                <a:gd name="T5" fmla="*/ 28 h 56"/>
                <a:gd name="T6" fmla="*/ 0 w 56"/>
                <a:gd name="T7" fmla="*/ 34 h 56"/>
                <a:gd name="T8" fmla="*/ 28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28 w 56"/>
                <a:gd name="T15" fmla="*/ 44 h 56"/>
                <a:gd name="T16" fmla="*/ 11 w 56"/>
                <a:gd name="T17" fmla="*/ 28 h 56"/>
                <a:gd name="T18" fmla="*/ 28 w 56"/>
                <a:gd name="T19" fmla="*/ 11 h 56"/>
                <a:gd name="T20" fmla="*/ 44 w 56"/>
                <a:gd name="T21" fmla="*/ 28 h 56"/>
                <a:gd name="T22" fmla="*/ 28 w 56"/>
                <a:gd name="T2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14" y="0"/>
                    <a:pt x="3" y="10"/>
                    <a:pt x="0" y="22"/>
                  </a:cubicBezTo>
                  <a:cubicBezTo>
                    <a:pt x="0" y="24"/>
                    <a:pt x="0" y="26"/>
                    <a:pt x="0" y="28"/>
                  </a:cubicBezTo>
                  <a:cubicBezTo>
                    <a:pt x="0" y="30"/>
                    <a:pt x="0" y="32"/>
                    <a:pt x="0" y="34"/>
                  </a:cubicBezTo>
                  <a:cubicBezTo>
                    <a:pt x="3" y="46"/>
                    <a:pt x="14" y="56"/>
                    <a:pt x="28" y="56"/>
                  </a:cubicBezTo>
                  <a:cubicBezTo>
                    <a:pt x="43" y="56"/>
                    <a:pt x="56" y="43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  <a:moveTo>
                    <a:pt x="28" y="44"/>
                  </a:moveTo>
                  <a:cubicBezTo>
                    <a:pt x="18" y="44"/>
                    <a:pt x="11" y="37"/>
                    <a:pt x="11" y="28"/>
                  </a:cubicBezTo>
                  <a:cubicBezTo>
                    <a:pt x="11" y="19"/>
                    <a:pt x="18" y="11"/>
                    <a:pt x="28" y="11"/>
                  </a:cubicBezTo>
                  <a:cubicBezTo>
                    <a:pt x="37" y="11"/>
                    <a:pt x="44" y="19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2" name="Freeform 156">
              <a:extLst>
                <a:ext uri="{FF2B5EF4-FFF2-40B4-BE49-F238E27FC236}">
                  <a16:creationId xmlns:a16="http://schemas.microsoft.com/office/drawing/2014/main" xmlns="" id="{CE7F31AD-7E9C-4784-BEE0-410A4C1C7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057" y="3161575"/>
              <a:ext cx="119470" cy="10480"/>
            </a:xfrm>
            <a:custGeom>
              <a:avLst/>
              <a:gdLst>
                <a:gd name="T0" fmla="*/ 128 w 128"/>
                <a:gd name="T1" fmla="*/ 5 h 11"/>
                <a:gd name="T2" fmla="*/ 128 w 128"/>
                <a:gd name="T3" fmla="*/ 0 h 11"/>
                <a:gd name="T4" fmla="*/ 0 w 128"/>
                <a:gd name="T5" fmla="*/ 0 h 11"/>
                <a:gd name="T6" fmla="*/ 0 w 128"/>
                <a:gd name="T7" fmla="*/ 11 h 11"/>
                <a:gd name="T8" fmla="*/ 128 w 128"/>
                <a:gd name="T9" fmla="*/ 11 h 11"/>
                <a:gd name="T10" fmla="*/ 128 w 128"/>
                <a:gd name="T11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1">
                  <a:moveTo>
                    <a:pt x="128" y="5"/>
                  </a:moveTo>
                  <a:cubicBezTo>
                    <a:pt x="128" y="3"/>
                    <a:pt x="128" y="1"/>
                    <a:pt x="1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9"/>
                    <a:pt x="128" y="7"/>
                    <a:pt x="128" y="5"/>
                  </a:cubicBezTo>
                  <a:close/>
                </a:path>
              </a:pathLst>
            </a:cu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3" name="Freeform 157">
              <a:extLst>
                <a:ext uri="{FF2B5EF4-FFF2-40B4-BE49-F238E27FC236}">
                  <a16:creationId xmlns:a16="http://schemas.microsoft.com/office/drawing/2014/main" xmlns="" id="{9DA62E76-D038-4429-ACA9-E5C248409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2528" y="3140616"/>
              <a:ext cx="51351" cy="52399"/>
            </a:xfrm>
            <a:custGeom>
              <a:avLst/>
              <a:gdLst>
                <a:gd name="T0" fmla="*/ 28 w 55"/>
                <a:gd name="T1" fmla="*/ 0 h 56"/>
                <a:gd name="T2" fmla="*/ 0 w 55"/>
                <a:gd name="T3" fmla="*/ 23 h 56"/>
                <a:gd name="T4" fmla="*/ 0 w 55"/>
                <a:gd name="T5" fmla="*/ 28 h 56"/>
                <a:gd name="T6" fmla="*/ 0 w 55"/>
                <a:gd name="T7" fmla="*/ 34 h 56"/>
                <a:gd name="T8" fmla="*/ 28 w 55"/>
                <a:gd name="T9" fmla="*/ 56 h 56"/>
                <a:gd name="T10" fmla="*/ 55 w 55"/>
                <a:gd name="T11" fmla="*/ 28 h 56"/>
                <a:gd name="T12" fmla="*/ 28 w 55"/>
                <a:gd name="T13" fmla="*/ 0 h 56"/>
                <a:gd name="T14" fmla="*/ 28 w 55"/>
                <a:gd name="T15" fmla="*/ 45 h 56"/>
                <a:gd name="T16" fmla="*/ 11 w 55"/>
                <a:gd name="T17" fmla="*/ 28 h 56"/>
                <a:gd name="T18" fmla="*/ 28 w 55"/>
                <a:gd name="T19" fmla="*/ 12 h 56"/>
                <a:gd name="T20" fmla="*/ 44 w 55"/>
                <a:gd name="T21" fmla="*/ 28 h 56"/>
                <a:gd name="T22" fmla="*/ 28 w 55"/>
                <a:gd name="T23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56">
                  <a:moveTo>
                    <a:pt x="28" y="0"/>
                  </a:moveTo>
                  <a:cubicBezTo>
                    <a:pt x="14" y="0"/>
                    <a:pt x="3" y="10"/>
                    <a:pt x="0" y="23"/>
                  </a:cubicBezTo>
                  <a:cubicBezTo>
                    <a:pt x="0" y="24"/>
                    <a:pt x="0" y="26"/>
                    <a:pt x="0" y="28"/>
                  </a:cubicBezTo>
                  <a:cubicBezTo>
                    <a:pt x="0" y="30"/>
                    <a:pt x="0" y="32"/>
                    <a:pt x="0" y="34"/>
                  </a:cubicBezTo>
                  <a:cubicBezTo>
                    <a:pt x="3" y="47"/>
                    <a:pt x="14" y="56"/>
                    <a:pt x="28" y="56"/>
                  </a:cubicBezTo>
                  <a:cubicBezTo>
                    <a:pt x="43" y="56"/>
                    <a:pt x="55" y="44"/>
                    <a:pt x="55" y="28"/>
                  </a:cubicBezTo>
                  <a:cubicBezTo>
                    <a:pt x="55" y="13"/>
                    <a:pt x="43" y="0"/>
                    <a:pt x="28" y="0"/>
                  </a:cubicBezTo>
                  <a:close/>
                  <a:moveTo>
                    <a:pt x="28" y="45"/>
                  </a:moveTo>
                  <a:cubicBezTo>
                    <a:pt x="18" y="45"/>
                    <a:pt x="11" y="37"/>
                    <a:pt x="11" y="28"/>
                  </a:cubicBezTo>
                  <a:cubicBezTo>
                    <a:pt x="11" y="19"/>
                    <a:pt x="18" y="12"/>
                    <a:pt x="28" y="12"/>
                  </a:cubicBezTo>
                  <a:cubicBezTo>
                    <a:pt x="37" y="12"/>
                    <a:pt x="44" y="19"/>
                    <a:pt x="44" y="28"/>
                  </a:cubicBezTo>
                  <a:cubicBezTo>
                    <a:pt x="44" y="37"/>
                    <a:pt x="37" y="45"/>
                    <a:pt x="28" y="45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4" name="Freeform 158">
              <a:extLst>
                <a:ext uri="{FF2B5EF4-FFF2-40B4-BE49-F238E27FC236}">
                  <a16:creationId xmlns:a16="http://schemas.microsoft.com/office/drawing/2014/main" xmlns="" id="{4420C20B-0F7D-45D3-BC6C-E6537DD65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057" y="3254846"/>
              <a:ext cx="122614" cy="11528"/>
            </a:xfrm>
            <a:custGeom>
              <a:avLst/>
              <a:gdLst>
                <a:gd name="T0" fmla="*/ 131 w 131"/>
                <a:gd name="T1" fmla="*/ 0 h 12"/>
                <a:gd name="T2" fmla="*/ 0 w 131"/>
                <a:gd name="T3" fmla="*/ 0 h 12"/>
                <a:gd name="T4" fmla="*/ 0 w 131"/>
                <a:gd name="T5" fmla="*/ 12 h 12"/>
                <a:gd name="T6" fmla="*/ 131 w 131"/>
                <a:gd name="T7" fmla="*/ 12 h 12"/>
                <a:gd name="T8" fmla="*/ 131 w 131"/>
                <a:gd name="T9" fmla="*/ 6 h 12"/>
                <a:gd name="T10" fmla="*/ 131 w 13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2">
                  <a:moveTo>
                    <a:pt x="1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1" y="8"/>
                    <a:pt x="131" y="6"/>
                  </a:cubicBezTo>
                  <a:cubicBezTo>
                    <a:pt x="131" y="4"/>
                    <a:pt x="131" y="2"/>
                    <a:pt x="131" y="0"/>
                  </a:cubicBezTo>
                  <a:close/>
                </a:path>
              </a:pathLst>
            </a:custGeom>
            <a:solidFill>
              <a:srgbClr val="665C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5" name="Freeform 159">
              <a:extLst>
                <a:ext uri="{FF2B5EF4-FFF2-40B4-BE49-F238E27FC236}">
                  <a16:creationId xmlns:a16="http://schemas.microsoft.com/office/drawing/2014/main" xmlns="" id="{BDA38D0E-9BC2-48BD-8149-89672373BD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5672" y="3234934"/>
              <a:ext cx="52399" cy="52399"/>
            </a:xfrm>
            <a:custGeom>
              <a:avLst/>
              <a:gdLst>
                <a:gd name="T0" fmla="*/ 28 w 56"/>
                <a:gd name="T1" fmla="*/ 0 h 56"/>
                <a:gd name="T2" fmla="*/ 0 w 56"/>
                <a:gd name="T3" fmla="*/ 22 h 56"/>
                <a:gd name="T4" fmla="*/ 0 w 56"/>
                <a:gd name="T5" fmla="*/ 28 h 56"/>
                <a:gd name="T6" fmla="*/ 0 w 56"/>
                <a:gd name="T7" fmla="*/ 34 h 56"/>
                <a:gd name="T8" fmla="*/ 28 w 56"/>
                <a:gd name="T9" fmla="*/ 56 h 56"/>
                <a:gd name="T10" fmla="*/ 56 w 56"/>
                <a:gd name="T11" fmla="*/ 28 h 56"/>
                <a:gd name="T12" fmla="*/ 28 w 56"/>
                <a:gd name="T13" fmla="*/ 0 h 56"/>
                <a:gd name="T14" fmla="*/ 28 w 56"/>
                <a:gd name="T15" fmla="*/ 44 h 56"/>
                <a:gd name="T16" fmla="*/ 11 w 56"/>
                <a:gd name="T17" fmla="*/ 28 h 56"/>
                <a:gd name="T18" fmla="*/ 28 w 56"/>
                <a:gd name="T19" fmla="*/ 11 h 56"/>
                <a:gd name="T20" fmla="*/ 44 w 56"/>
                <a:gd name="T21" fmla="*/ 28 h 56"/>
                <a:gd name="T22" fmla="*/ 28 w 56"/>
                <a:gd name="T2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cubicBezTo>
                    <a:pt x="14" y="0"/>
                    <a:pt x="3" y="9"/>
                    <a:pt x="0" y="22"/>
                  </a:cubicBezTo>
                  <a:cubicBezTo>
                    <a:pt x="0" y="24"/>
                    <a:pt x="0" y="26"/>
                    <a:pt x="0" y="28"/>
                  </a:cubicBezTo>
                  <a:cubicBezTo>
                    <a:pt x="0" y="30"/>
                    <a:pt x="0" y="32"/>
                    <a:pt x="0" y="34"/>
                  </a:cubicBezTo>
                  <a:cubicBezTo>
                    <a:pt x="3" y="46"/>
                    <a:pt x="14" y="56"/>
                    <a:pt x="28" y="56"/>
                  </a:cubicBezTo>
                  <a:cubicBezTo>
                    <a:pt x="43" y="56"/>
                    <a:pt x="56" y="43"/>
                    <a:pt x="56" y="28"/>
                  </a:cubicBezTo>
                  <a:cubicBezTo>
                    <a:pt x="56" y="12"/>
                    <a:pt x="43" y="0"/>
                    <a:pt x="28" y="0"/>
                  </a:cubicBezTo>
                  <a:close/>
                  <a:moveTo>
                    <a:pt x="28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1"/>
                    <a:pt x="28" y="11"/>
                  </a:cubicBezTo>
                  <a:cubicBezTo>
                    <a:pt x="37" y="11"/>
                    <a:pt x="44" y="19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  <a:close/>
                </a:path>
              </a:pathLst>
            </a:custGeom>
            <a:solidFill>
              <a:srgbClr val="FF7B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6" name="Freeform 160">
              <a:extLst>
                <a:ext uri="{FF2B5EF4-FFF2-40B4-BE49-F238E27FC236}">
                  <a16:creationId xmlns:a16="http://schemas.microsoft.com/office/drawing/2014/main" xmlns="" id="{DF4C875D-C797-4C23-A047-55CABEDB5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662" y="3249606"/>
              <a:ext cx="427578" cy="699006"/>
            </a:xfrm>
            <a:custGeom>
              <a:avLst/>
              <a:gdLst>
                <a:gd name="T0" fmla="*/ 374 w 457"/>
                <a:gd name="T1" fmla="*/ 312 h 747"/>
                <a:gd name="T2" fmla="*/ 374 w 457"/>
                <a:gd name="T3" fmla="*/ 234 h 747"/>
                <a:gd name="T4" fmla="*/ 343 w 457"/>
                <a:gd name="T5" fmla="*/ 203 h 747"/>
                <a:gd name="T6" fmla="*/ 312 w 457"/>
                <a:gd name="T7" fmla="*/ 234 h 747"/>
                <a:gd name="T8" fmla="*/ 312 w 457"/>
                <a:gd name="T9" fmla="*/ 345 h 747"/>
                <a:gd name="T10" fmla="*/ 312 w 457"/>
                <a:gd name="T11" fmla="*/ 351 h 747"/>
                <a:gd name="T12" fmla="*/ 312 w 457"/>
                <a:gd name="T13" fmla="*/ 353 h 747"/>
                <a:gd name="T14" fmla="*/ 290 w 457"/>
                <a:gd name="T15" fmla="*/ 351 h 747"/>
                <a:gd name="T16" fmla="*/ 290 w 457"/>
                <a:gd name="T17" fmla="*/ 351 h 747"/>
                <a:gd name="T18" fmla="*/ 290 w 457"/>
                <a:gd name="T19" fmla="*/ 272 h 747"/>
                <a:gd name="T20" fmla="*/ 290 w 457"/>
                <a:gd name="T21" fmla="*/ 272 h 747"/>
                <a:gd name="T22" fmla="*/ 290 w 457"/>
                <a:gd name="T23" fmla="*/ 194 h 747"/>
                <a:gd name="T24" fmla="*/ 259 w 457"/>
                <a:gd name="T25" fmla="*/ 163 h 747"/>
                <a:gd name="T26" fmla="*/ 228 w 457"/>
                <a:gd name="T27" fmla="*/ 194 h 747"/>
                <a:gd name="T28" fmla="*/ 228 w 457"/>
                <a:gd name="T29" fmla="*/ 272 h 747"/>
                <a:gd name="T30" fmla="*/ 228 w 457"/>
                <a:gd name="T31" fmla="*/ 272 h 747"/>
                <a:gd name="T32" fmla="*/ 228 w 457"/>
                <a:gd name="T33" fmla="*/ 353 h 747"/>
                <a:gd name="T34" fmla="*/ 207 w 457"/>
                <a:gd name="T35" fmla="*/ 359 h 747"/>
                <a:gd name="T36" fmla="*/ 207 w 457"/>
                <a:gd name="T37" fmla="*/ 155 h 747"/>
                <a:gd name="T38" fmla="*/ 207 w 457"/>
                <a:gd name="T39" fmla="*/ 78 h 747"/>
                <a:gd name="T40" fmla="*/ 207 w 457"/>
                <a:gd name="T41" fmla="*/ 43 h 747"/>
                <a:gd name="T42" fmla="*/ 207 w 457"/>
                <a:gd name="T43" fmla="*/ 33 h 747"/>
                <a:gd name="T44" fmla="*/ 174 w 457"/>
                <a:gd name="T45" fmla="*/ 0 h 747"/>
                <a:gd name="T46" fmla="*/ 141 w 457"/>
                <a:gd name="T47" fmla="*/ 33 h 747"/>
                <a:gd name="T48" fmla="*/ 141 w 457"/>
                <a:gd name="T49" fmla="*/ 42 h 747"/>
                <a:gd name="T50" fmla="*/ 141 w 457"/>
                <a:gd name="T51" fmla="*/ 78 h 747"/>
                <a:gd name="T52" fmla="*/ 141 w 457"/>
                <a:gd name="T53" fmla="*/ 155 h 747"/>
                <a:gd name="T54" fmla="*/ 141 w 457"/>
                <a:gd name="T55" fmla="*/ 155 h 747"/>
                <a:gd name="T56" fmla="*/ 141 w 457"/>
                <a:gd name="T57" fmla="*/ 389 h 747"/>
                <a:gd name="T58" fmla="*/ 141 w 457"/>
                <a:gd name="T59" fmla="*/ 426 h 747"/>
                <a:gd name="T60" fmla="*/ 107 w 457"/>
                <a:gd name="T61" fmla="*/ 379 h 747"/>
                <a:gd name="T62" fmla="*/ 90 w 457"/>
                <a:gd name="T63" fmla="*/ 352 h 747"/>
                <a:gd name="T64" fmla="*/ 7 w 457"/>
                <a:gd name="T65" fmla="*/ 332 h 747"/>
                <a:gd name="T66" fmla="*/ 29 w 457"/>
                <a:gd name="T67" fmla="*/ 401 h 747"/>
                <a:gd name="T68" fmla="*/ 79 w 457"/>
                <a:gd name="T69" fmla="*/ 492 h 747"/>
                <a:gd name="T70" fmla="*/ 207 w 457"/>
                <a:gd name="T71" fmla="*/ 680 h 747"/>
                <a:gd name="T72" fmla="*/ 207 w 457"/>
                <a:gd name="T73" fmla="*/ 747 h 747"/>
                <a:gd name="T74" fmla="*/ 395 w 457"/>
                <a:gd name="T75" fmla="*/ 747 h 747"/>
                <a:gd name="T76" fmla="*/ 395 w 457"/>
                <a:gd name="T77" fmla="*/ 677 h 747"/>
                <a:gd name="T78" fmla="*/ 457 w 457"/>
                <a:gd name="T79" fmla="*/ 581 h 747"/>
                <a:gd name="T80" fmla="*/ 457 w 457"/>
                <a:gd name="T81" fmla="*/ 534 h 747"/>
                <a:gd name="T82" fmla="*/ 457 w 457"/>
                <a:gd name="T83" fmla="*/ 533 h 747"/>
                <a:gd name="T84" fmla="*/ 457 w 457"/>
                <a:gd name="T85" fmla="*/ 533 h 747"/>
                <a:gd name="T86" fmla="*/ 457 w 457"/>
                <a:gd name="T87" fmla="*/ 457 h 747"/>
                <a:gd name="T88" fmla="*/ 457 w 457"/>
                <a:gd name="T89" fmla="*/ 456 h 747"/>
                <a:gd name="T90" fmla="*/ 457 w 457"/>
                <a:gd name="T91" fmla="*/ 455 h 747"/>
                <a:gd name="T92" fmla="*/ 457 w 457"/>
                <a:gd name="T93" fmla="*/ 351 h 747"/>
                <a:gd name="T94" fmla="*/ 457 w 457"/>
                <a:gd name="T95" fmla="*/ 274 h 747"/>
                <a:gd name="T96" fmla="*/ 426 w 457"/>
                <a:gd name="T97" fmla="*/ 243 h 747"/>
                <a:gd name="T98" fmla="*/ 395 w 457"/>
                <a:gd name="T99" fmla="*/ 274 h 747"/>
                <a:gd name="T100" fmla="*/ 395 w 457"/>
                <a:gd name="T101" fmla="*/ 351 h 747"/>
                <a:gd name="T102" fmla="*/ 395 w 457"/>
                <a:gd name="T103" fmla="*/ 361 h 747"/>
                <a:gd name="T104" fmla="*/ 374 w 457"/>
                <a:gd name="T105" fmla="*/ 354 h 747"/>
                <a:gd name="T106" fmla="*/ 374 w 457"/>
                <a:gd name="T107" fmla="*/ 31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7" h="747">
                  <a:moveTo>
                    <a:pt x="374" y="312"/>
                  </a:moveTo>
                  <a:cubicBezTo>
                    <a:pt x="374" y="277"/>
                    <a:pt x="374" y="234"/>
                    <a:pt x="374" y="234"/>
                  </a:cubicBezTo>
                  <a:cubicBezTo>
                    <a:pt x="374" y="217"/>
                    <a:pt x="360" y="203"/>
                    <a:pt x="343" y="203"/>
                  </a:cubicBezTo>
                  <a:cubicBezTo>
                    <a:pt x="326" y="203"/>
                    <a:pt x="312" y="217"/>
                    <a:pt x="312" y="234"/>
                  </a:cubicBezTo>
                  <a:cubicBezTo>
                    <a:pt x="312" y="234"/>
                    <a:pt x="311" y="320"/>
                    <a:pt x="312" y="345"/>
                  </a:cubicBezTo>
                  <a:cubicBezTo>
                    <a:pt x="312" y="348"/>
                    <a:pt x="312" y="350"/>
                    <a:pt x="312" y="351"/>
                  </a:cubicBezTo>
                  <a:cubicBezTo>
                    <a:pt x="312" y="352"/>
                    <a:pt x="312" y="353"/>
                    <a:pt x="312" y="353"/>
                  </a:cubicBezTo>
                  <a:cubicBezTo>
                    <a:pt x="312" y="353"/>
                    <a:pt x="290" y="355"/>
                    <a:pt x="290" y="351"/>
                  </a:cubicBezTo>
                  <a:cubicBezTo>
                    <a:pt x="290" y="351"/>
                    <a:pt x="290" y="351"/>
                    <a:pt x="290" y="351"/>
                  </a:cubicBezTo>
                  <a:cubicBezTo>
                    <a:pt x="290" y="348"/>
                    <a:pt x="290" y="310"/>
                    <a:pt x="290" y="272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290" y="233"/>
                    <a:pt x="290" y="194"/>
                    <a:pt x="290" y="194"/>
                  </a:cubicBezTo>
                  <a:cubicBezTo>
                    <a:pt x="290" y="177"/>
                    <a:pt x="276" y="163"/>
                    <a:pt x="259" y="163"/>
                  </a:cubicBezTo>
                  <a:cubicBezTo>
                    <a:pt x="241" y="163"/>
                    <a:pt x="228" y="177"/>
                    <a:pt x="228" y="194"/>
                  </a:cubicBezTo>
                  <a:cubicBezTo>
                    <a:pt x="228" y="272"/>
                    <a:pt x="228" y="272"/>
                    <a:pt x="228" y="272"/>
                  </a:cubicBezTo>
                  <a:cubicBezTo>
                    <a:pt x="228" y="272"/>
                    <a:pt x="228" y="272"/>
                    <a:pt x="228" y="272"/>
                  </a:cubicBezTo>
                  <a:cubicBezTo>
                    <a:pt x="228" y="353"/>
                    <a:pt x="228" y="353"/>
                    <a:pt x="228" y="353"/>
                  </a:cubicBezTo>
                  <a:cubicBezTo>
                    <a:pt x="207" y="359"/>
                    <a:pt x="207" y="359"/>
                    <a:pt x="207" y="359"/>
                  </a:cubicBezTo>
                  <a:cubicBezTo>
                    <a:pt x="207" y="155"/>
                    <a:pt x="207" y="155"/>
                    <a:pt x="207" y="155"/>
                  </a:cubicBezTo>
                  <a:cubicBezTo>
                    <a:pt x="207" y="78"/>
                    <a:pt x="207" y="78"/>
                    <a:pt x="207" y="78"/>
                  </a:cubicBezTo>
                  <a:cubicBezTo>
                    <a:pt x="207" y="43"/>
                    <a:pt x="207" y="43"/>
                    <a:pt x="207" y="43"/>
                  </a:cubicBezTo>
                  <a:cubicBezTo>
                    <a:pt x="207" y="33"/>
                    <a:pt x="207" y="33"/>
                    <a:pt x="207" y="33"/>
                  </a:cubicBezTo>
                  <a:cubicBezTo>
                    <a:pt x="207" y="15"/>
                    <a:pt x="192" y="0"/>
                    <a:pt x="174" y="0"/>
                  </a:cubicBezTo>
                  <a:cubicBezTo>
                    <a:pt x="156" y="0"/>
                    <a:pt x="141" y="15"/>
                    <a:pt x="141" y="33"/>
                  </a:cubicBezTo>
                  <a:cubicBezTo>
                    <a:pt x="141" y="42"/>
                    <a:pt x="141" y="42"/>
                    <a:pt x="141" y="42"/>
                  </a:cubicBezTo>
                  <a:cubicBezTo>
                    <a:pt x="141" y="78"/>
                    <a:pt x="141" y="78"/>
                    <a:pt x="141" y="78"/>
                  </a:cubicBezTo>
                  <a:cubicBezTo>
                    <a:pt x="141" y="155"/>
                    <a:pt x="141" y="155"/>
                    <a:pt x="141" y="155"/>
                  </a:cubicBezTo>
                  <a:cubicBezTo>
                    <a:pt x="141" y="155"/>
                    <a:pt x="141" y="155"/>
                    <a:pt x="141" y="155"/>
                  </a:cubicBezTo>
                  <a:cubicBezTo>
                    <a:pt x="141" y="389"/>
                    <a:pt x="141" y="389"/>
                    <a:pt x="141" y="389"/>
                  </a:cubicBezTo>
                  <a:cubicBezTo>
                    <a:pt x="141" y="426"/>
                    <a:pt x="141" y="426"/>
                    <a:pt x="141" y="426"/>
                  </a:cubicBezTo>
                  <a:cubicBezTo>
                    <a:pt x="132" y="401"/>
                    <a:pt x="116" y="390"/>
                    <a:pt x="107" y="379"/>
                  </a:cubicBezTo>
                  <a:cubicBezTo>
                    <a:pt x="101" y="368"/>
                    <a:pt x="95" y="358"/>
                    <a:pt x="90" y="352"/>
                  </a:cubicBezTo>
                  <a:cubicBezTo>
                    <a:pt x="76" y="336"/>
                    <a:pt x="34" y="310"/>
                    <a:pt x="7" y="332"/>
                  </a:cubicBezTo>
                  <a:cubicBezTo>
                    <a:pt x="0" y="337"/>
                    <a:pt x="13" y="368"/>
                    <a:pt x="29" y="401"/>
                  </a:cubicBezTo>
                  <a:cubicBezTo>
                    <a:pt x="51" y="444"/>
                    <a:pt x="79" y="492"/>
                    <a:pt x="79" y="492"/>
                  </a:cubicBezTo>
                  <a:cubicBezTo>
                    <a:pt x="82" y="502"/>
                    <a:pt x="108" y="649"/>
                    <a:pt x="207" y="680"/>
                  </a:cubicBezTo>
                  <a:cubicBezTo>
                    <a:pt x="207" y="747"/>
                    <a:pt x="207" y="747"/>
                    <a:pt x="207" y="747"/>
                  </a:cubicBezTo>
                  <a:cubicBezTo>
                    <a:pt x="395" y="747"/>
                    <a:pt x="395" y="747"/>
                    <a:pt x="395" y="747"/>
                  </a:cubicBezTo>
                  <a:cubicBezTo>
                    <a:pt x="395" y="677"/>
                    <a:pt x="395" y="677"/>
                    <a:pt x="395" y="677"/>
                  </a:cubicBezTo>
                  <a:cubicBezTo>
                    <a:pt x="432" y="660"/>
                    <a:pt x="457" y="623"/>
                    <a:pt x="457" y="581"/>
                  </a:cubicBezTo>
                  <a:cubicBezTo>
                    <a:pt x="457" y="534"/>
                    <a:pt x="457" y="534"/>
                    <a:pt x="457" y="534"/>
                  </a:cubicBezTo>
                  <a:cubicBezTo>
                    <a:pt x="457" y="534"/>
                    <a:pt x="457" y="534"/>
                    <a:pt x="457" y="533"/>
                  </a:cubicBezTo>
                  <a:cubicBezTo>
                    <a:pt x="457" y="533"/>
                    <a:pt x="457" y="533"/>
                    <a:pt x="457" y="533"/>
                  </a:cubicBezTo>
                  <a:cubicBezTo>
                    <a:pt x="457" y="457"/>
                    <a:pt x="457" y="457"/>
                    <a:pt x="457" y="457"/>
                  </a:cubicBezTo>
                  <a:cubicBezTo>
                    <a:pt x="457" y="457"/>
                    <a:pt x="457" y="456"/>
                    <a:pt x="457" y="456"/>
                  </a:cubicBezTo>
                  <a:cubicBezTo>
                    <a:pt x="457" y="456"/>
                    <a:pt x="457" y="456"/>
                    <a:pt x="457" y="455"/>
                  </a:cubicBezTo>
                  <a:cubicBezTo>
                    <a:pt x="457" y="351"/>
                    <a:pt x="457" y="351"/>
                    <a:pt x="457" y="351"/>
                  </a:cubicBezTo>
                  <a:cubicBezTo>
                    <a:pt x="457" y="274"/>
                    <a:pt x="457" y="274"/>
                    <a:pt x="457" y="274"/>
                  </a:cubicBezTo>
                  <a:cubicBezTo>
                    <a:pt x="457" y="257"/>
                    <a:pt x="443" y="243"/>
                    <a:pt x="426" y="243"/>
                  </a:cubicBezTo>
                  <a:cubicBezTo>
                    <a:pt x="409" y="243"/>
                    <a:pt x="395" y="257"/>
                    <a:pt x="395" y="274"/>
                  </a:cubicBezTo>
                  <a:cubicBezTo>
                    <a:pt x="395" y="351"/>
                    <a:pt x="395" y="351"/>
                    <a:pt x="395" y="351"/>
                  </a:cubicBezTo>
                  <a:cubicBezTo>
                    <a:pt x="395" y="361"/>
                    <a:pt x="395" y="361"/>
                    <a:pt x="395" y="361"/>
                  </a:cubicBezTo>
                  <a:cubicBezTo>
                    <a:pt x="395" y="361"/>
                    <a:pt x="375" y="363"/>
                    <a:pt x="374" y="354"/>
                  </a:cubicBezTo>
                  <a:cubicBezTo>
                    <a:pt x="374" y="351"/>
                    <a:pt x="374" y="333"/>
                    <a:pt x="374" y="312"/>
                  </a:cubicBezTo>
                </a:path>
              </a:pathLst>
            </a:cu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7" name="Freeform 161">
              <a:extLst>
                <a:ext uri="{FF2B5EF4-FFF2-40B4-BE49-F238E27FC236}">
                  <a16:creationId xmlns:a16="http://schemas.microsoft.com/office/drawing/2014/main" xmlns="" id="{EEC13041-EA91-4A7F-AFD4-58609EAC3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100" y="3948612"/>
              <a:ext cx="235797" cy="139382"/>
            </a:xfrm>
            <a:custGeom>
              <a:avLst/>
              <a:gdLst>
                <a:gd name="T0" fmla="*/ 233 w 252"/>
                <a:gd name="T1" fmla="*/ 0 h 149"/>
                <a:gd name="T2" fmla="*/ 221 w 252"/>
                <a:gd name="T3" fmla="*/ 0 h 149"/>
                <a:gd name="T4" fmla="*/ 33 w 252"/>
                <a:gd name="T5" fmla="*/ 0 h 149"/>
                <a:gd name="T6" fmla="*/ 18 w 252"/>
                <a:gd name="T7" fmla="*/ 0 h 149"/>
                <a:gd name="T8" fmla="*/ 0 w 252"/>
                <a:gd name="T9" fmla="*/ 18 h 149"/>
                <a:gd name="T10" fmla="*/ 0 w 252"/>
                <a:gd name="T11" fmla="*/ 131 h 149"/>
                <a:gd name="T12" fmla="*/ 18 w 252"/>
                <a:gd name="T13" fmla="*/ 149 h 149"/>
                <a:gd name="T14" fmla="*/ 233 w 252"/>
                <a:gd name="T15" fmla="*/ 149 h 149"/>
                <a:gd name="T16" fmla="*/ 252 w 252"/>
                <a:gd name="T17" fmla="*/ 131 h 149"/>
                <a:gd name="T18" fmla="*/ 252 w 252"/>
                <a:gd name="T19" fmla="*/ 18 h 149"/>
                <a:gd name="T20" fmla="*/ 233 w 252"/>
                <a:gd name="T2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2" h="149">
                  <a:moveTo>
                    <a:pt x="233" y="0"/>
                  </a:moveTo>
                  <a:cubicBezTo>
                    <a:pt x="221" y="0"/>
                    <a:pt x="221" y="0"/>
                    <a:pt x="221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41"/>
                    <a:pt x="8" y="149"/>
                    <a:pt x="18" y="149"/>
                  </a:cubicBezTo>
                  <a:cubicBezTo>
                    <a:pt x="233" y="149"/>
                    <a:pt x="233" y="149"/>
                    <a:pt x="233" y="149"/>
                  </a:cubicBezTo>
                  <a:cubicBezTo>
                    <a:pt x="244" y="149"/>
                    <a:pt x="252" y="141"/>
                    <a:pt x="252" y="131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52" y="8"/>
                    <a:pt x="244" y="0"/>
                    <a:pt x="233" y="0"/>
                  </a:cubicBezTo>
                  <a:close/>
                </a:path>
              </a:pathLst>
            </a:custGeom>
            <a:solidFill>
              <a:srgbClr val="005F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8" name="Oval 162">
              <a:extLst>
                <a:ext uri="{FF2B5EF4-FFF2-40B4-BE49-F238E27FC236}">
                  <a16:creationId xmlns:a16="http://schemas.microsoft.com/office/drawing/2014/main" xmlns="" id="{CDE5E405-93D3-45B1-BB33-5E58BC122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2969" y="3979004"/>
              <a:ext cx="30392" cy="314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2" name="Freeform 146">
              <a:extLst>
                <a:ext uri="{FF2B5EF4-FFF2-40B4-BE49-F238E27FC236}">
                  <a16:creationId xmlns:a16="http://schemas.microsoft.com/office/drawing/2014/main" xmlns="" id="{59822363-2265-45F2-A000-A9E18925B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735" y="2922635"/>
              <a:ext cx="95367" cy="93271"/>
            </a:xfrm>
            <a:custGeom>
              <a:avLst/>
              <a:gdLst>
                <a:gd name="T0" fmla="*/ 87 w 102"/>
                <a:gd name="T1" fmla="*/ 99 h 99"/>
                <a:gd name="T2" fmla="*/ 102 w 102"/>
                <a:gd name="T3" fmla="*/ 89 h 99"/>
                <a:gd name="T4" fmla="*/ 102 w 102"/>
                <a:gd name="T5" fmla="*/ 0 h 99"/>
                <a:gd name="T6" fmla="*/ 0 w 102"/>
                <a:gd name="T7" fmla="*/ 99 h 99"/>
                <a:gd name="T8" fmla="*/ 87 w 102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99">
                  <a:moveTo>
                    <a:pt x="87" y="99"/>
                  </a:moveTo>
                  <a:cubicBezTo>
                    <a:pt x="100" y="99"/>
                    <a:pt x="102" y="94"/>
                    <a:pt x="102" y="89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0" y="99"/>
                    <a:pt x="0" y="99"/>
                    <a:pt x="0" y="99"/>
                  </a:cubicBezTo>
                  <a:lnTo>
                    <a:pt x="87" y="99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xmlns="" id="{3616E6F3-F316-4071-8450-3A4B5F2C17CC}"/>
              </a:ext>
            </a:extLst>
          </p:cNvPr>
          <p:cNvGrpSpPr/>
          <p:nvPr/>
        </p:nvGrpSpPr>
        <p:grpSpPr>
          <a:xfrm>
            <a:off x="299358" y="1700108"/>
            <a:ext cx="935082" cy="1157400"/>
            <a:chOff x="2902331" y="2923683"/>
            <a:chExt cx="877164" cy="1085712"/>
          </a:xfrm>
        </p:grpSpPr>
        <p:sp>
          <p:nvSpPr>
            <p:cNvPr id="159" name="Oval 163">
              <a:extLst>
                <a:ext uri="{FF2B5EF4-FFF2-40B4-BE49-F238E27FC236}">
                  <a16:creationId xmlns:a16="http://schemas.microsoft.com/office/drawing/2014/main" xmlns="" id="{6ADB813C-1CB6-46D0-BE0F-0C2C9EA6DC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4642" y="3471779"/>
              <a:ext cx="133094" cy="134142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0" name="Freeform 164">
              <a:extLst>
                <a:ext uri="{FF2B5EF4-FFF2-40B4-BE49-F238E27FC236}">
                  <a16:creationId xmlns:a16="http://schemas.microsoft.com/office/drawing/2014/main" xmlns="" id="{F6981FA4-ECB2-4146-B726-43FB1E8BF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1801" y="3499026"/>
              <a:ext cx="36679" cy="73359"/>
            </a:xfrm>
            <a:custGeom>
              <a:avLst/>
              <a:gdLst>
                <a:gd name="T0" fmla="*/ 37 w 39"/>
                <a:gd name="T1" fmla="*/ 57 h 78"/>
                <a:gd name="T2" fmla="*/ 28 w 39"/>
                <a:gd name="T3" fmla="*/ 66 h 78"/>
                <a:gd name="T4" fmla="*/ 19 w 39"/>
                <a:gd name="T5" fmla="*/ 77 h 78"/>
                <a:gd name="T6" fmla="*/ 18 w 39"/>
                <a:gd name="T7" fmla="*/ 78 h 78"/>
                <a:gd name="T8" fmla="*/ 15 w 39"/>
                <a:gd name="T9" fmla="*/ 78 h 78"/>
                <a:gd name="T10" fmla="*/ 12 w 39"/>
                <a:gd name="T11" fmla="*/ 78 h 78"/>
                <a:gd name="T12" fmla="*/ 11 w 39"/>
                <a:gd name="T13" fmla="*/ 76 h 78"/>
                <a:gd name="T14" fmla="*/ 8 w 39"/>
                <a:gd name="T15" fmla="*/ 67 h 78"/>
                <a:gd name="T16" fmla="*/ 3 w 39"/>
                <a:gd name="T17" fmla="*/ 65 h 78"/>
                <a:gd name="T18" fmla="*/ 1 w 39"/>
                <a:gd name="T19" fmla="*/ 62 h 78"/>
                <a:gd name="T20" fmla="*/ 0 w 39"/>
                <a:gd name="T21" fmla="*/ 57 h 78"/>
                <a:gd name="T22" fmla="*/ 1 w 39"/>
                <a:gd name="T23" fmla="*/ 54 h 78"/>
                <a:gd name="T24" fmla="*/ 4 w 39"/>
                <a:gd name="T25" fmla="*/ 55 h 78"/>
                <a:gd name="T26" fmla="*/ 11 w 39"/>
                <a:gd name="T27" fmla="*/ 58 h 78"/>
                <a:gd name="T28" fmla="*/ 24 w 39"/>
                <a:gd name="T29" fmla="*/ 57 h 78"/>
                <a:gd name="T30" fmla="*/ 26 w 39"/>
                <a:gd name="T31" fmla="*/ 48 h 78"/>
                <a:gd name="T32" fmla="*/ 19 w 39"/>
                <a:gd name="T33" fmla="*/ 44 h 78"/>
                <a:gd name="T34" fmla="*/ 9 w 39"/>
                <a:gd name="T35" fmla="*/ 40 h 78"/>
                <a:gd name="T36" fmla="*/ 2 w 39"/>
                <a:gd name="T37" fmla="*/ 32 h 78"/>
                <a:gd name="T38" fmla="*/ 2 w 39"/>
                <a:gd name="T39" fmla="*/ 20 h 78"/>
                <a:gd name="T40" fmla="*/ 11 w 39"/>
                <a:gd name="T41" fmla="*/ 12 h 78"/>
                <a:gd name="T42" fmla="*/ 18 w 39"/>
                <a:gd name="T43" fmla="*/ 1 h 78"/>
                <a:gd name="T44" fmla="*/ 19 w 39"/>
                <a:gd name="T45" fmla="*/ 0 h 78"/>
                <a:gd name="T46" fmla="*/ 22 w 39"/>
                <a:gd name="T47" fmla="*/ 0 h 78"/>
                <a:gd name="T48" fmla="*/ 26 w 39"/>
                <a:gd name="T49" fmla="*/ 1 h 78"/>
                <a:gd name="T50" fmla="*/ 27 w 39"/>
                <a:gd name="T51" fmla="*/ 2 h 78"/>
                <a:gd name="T52" fmla="*/ 28 w 39"/>
                <a:gd name="T53" fmla="*/ 11 h 78"/>
                <a:gd name="T54" fmla="*/ 33 w 39"/>
                <a:gd name="T55" fmla="*/ 13 h 78"/>
                <a:gd name="T56" fmla="*/ 35 w 39"/>
                <a:gd name="T57" fmla="*/ 14 h 78"/>
                <a:gd name="T58" fmla="*/ 35 w 39"/>
                <a:gd name="T59" fmla="*/ 16 h 78"/>
                <a:gd name="T60" fmla="*/ 35 w 39"/>
                <a:gd name="T61" fmla="*/ 20 h 78"/>
                <a:gd name="T62" fmla="*/ 35 w 39"/>
                <a:gd name="T63" fmla="*/ 22 h 78"/>
                <a:gd name="T64" fmla="*/ 33 w 39"/>
                <a:gd name="T65" fmla="*/ 22 h 78"/>
                <a:gd name="T66" fmla="*/ 26 w 39"/>
                <a:gd name="T67" fmla="*/ 20 h 78"/>
                <a:gd name="T68" fmla="*/ 18 w 39"/>
                <a:gd name="T69" fmla="*/ 19 h 78"/>
                <a:gd name="T70" fmla="*/ 13 w 39"/>
                <a:gd name="T71" fmla="*/ 23 h 78"/>
                <a:gd name="T72" fmla="*/ 14 w 39"/>
                <a:gd name="T73" fmla="*/ 28 h 78"/>
                <a:gd name="T74" fmla="*/ 21 w 39"/>
                <a:gd name="T75" fmla="*/ 33 h 78"/>
                <a:gd name="T76" fmla="*/ 31 w 39"/>
                <a:gd name="T77" fmla="*/ 37 h 78"/>
                <a:gd name="T78" fmla="*/ 38 w 39"/>
                <a:gd name="T79" fmla="*/ 4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78">
                  <a:moveTo>
                    <a:pt x="39" y="50"/>
                  </a:moveTo>
                  <a:cubicBezTo>
                    <a:pt x="39" y="53"/>
                    <a:pt x="38" y="55"/>
                    <a:pt x="37" y="57"/>
                  </a:cubicBezTo>
                  <a:cubicBezTo>
                    <a:pt x="37" y="59"/>
                    <a:pt x="35" y="61"/>
                    <a:pt x="34" y="62"/>
                  </a:cubicBezTo>
                  <a:cubicBezTo>
                    <a:pt x="32" y="64"/>
                    <a:pt x="30" y="65"/>
                    <a:pt x="28" y="66"/>
                  </a:cubicBezTo>
                  <a:cubicBezTo>
                    <a:pt x="25" y="67"/>
                    <a:pt x="23" y="67"/>
                    <a:pt x="20" y="67"/>
                  </a:cubicBezTo>
                  <a:cubicBezTo>
                    <a:pt x="19" y="77"/>
                    <a:pt x="19" y="77"/>
                    <a:pt x="19" y="77"/>
                  </a:cubicBezTo>
                  <a:cubicBezTo>
                    <a:pt x="19" y="77"/>
                    <a:pt x="19" y="77"/>
                    <a:pt x="19" y="78"/>
                  </a:cubicBezTo>
                  <a:cubicBezTo>
                    <a:pt x="19" y="78"/>
                    <a:pt x="18" y="78"/>
                    <a:pt x="18" y="78"/>
                  </a:cubicBezTo>
                  <a:cubicBezTo>
                    <a:pt x="18" y="78"/>
                    <a:pt x="18" y="78"/>
                    <a:pt x="17" y="78"/>
                  </a:cubicBezTo>
                  <a:cubicBezTo>
                    <a:pt x="17" y="78"/>
                    <a:pt x="16" y="78"/>
                    <a:pt x="15" y="78"/>
                  </a:cubicBezTo>
                  <a:cubicBezTo>
                    <a:pt x="14" y="78"/>
                    <a:pt x="14" y="78"/>
                    <a:pt x="13" y="7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1" y="78"/>
                    <a:pt x="11" y="77"/>
                    <a:pt x="11" y="77"/>
                  </a:cubicBezTo>
                  <a:cubicBezTo>
                    <a:pt x="11" y="77"/>
                    <a:pt x="11" y="77"/>
                    <a:pt x="11" y="76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1" y="67"/>
                    <a:pt x="9" y="67"/>
                    <a:pt x="8" y="67"/>
                  </a:cubicBezTo>
                  <a:cubicBezTo>
                    <a:pt x="7" y="66"/>
                    <a:pt x="6" y="66"/>
                    <a:pt x="5" y="66"/>
                  </a:cubicBezTo>
                  <a:cubicBezTo>
                    <a:pt x="4" y="65"/>
                    <a:pt x="3" y="65"/>
                    <a:pt x="3" y="65"/>
                  </a:cubicBezTo>
                  <a:cubicBezTo>
                    <a:pt x="2" y="64"/>
                    <a:pt x="2" y="64"/>
                    <a:pt x="1" y="64"/>
                  </a:cubicBezTo>
                  <a:cubicBezTo>
                    <a:pt x="1" y="63"/>
                    <a:pt x="1" y="63"/>
                    <a:pt x="1" y="62"/>
                  </a:cubicBezTo>
                  <a:cubicBezTo>
                    <a:pt x="0" y="61"/>
                    <a:pt x="0" y="60"/>
                    <a:pt x="0" y="59"/>
                  </a:cubicBezTo>
                  <a:cubicBezTo>
                    <a:pt x="0" y="58"/>
                    <a:pt x="0" y="57"/>
                    <a:pt x="0" y="57"/>
                  </a:cubicBezTo>
                  <a:cubicBezTo>
                    <a:pt x="1" y="56"/>
                    <a:pt x="1" y="56"/>
                    <a:pt x="1" y="55"/>
                  </a:cubicBezTo>
                  <a:cubicBezTo>
                    <a:pt x="1" y="55"/>
                    <a:pt x="1" y="55"/>
                    <a:pt x="1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3" y="55"/>
                    <a:pt x="4" y="55"/>
                  </a:cubicBezTo>
                  <a:cubicBezTo>
                    <a:pt x="5" y="55"/>
                    <a:pt x="5" y="56"/>
                    <a:pt x="7" y="56"/>
                  </a:cubicBezTo>
                  <a:cubicBezTo>
                    <a:pt x="8" y="57"/>
                    <a:pt x="9" y="57"/>
                    <a:pt x="11" y="58"/>
                  </a:cubicBezTo>
                  <a:cubicBezTo>
                    <a:pt x="12" y="58"/>
                    <a:pt x="14" y="59"/>
                    <a:pt x="17" y="59"/>
                  </a:cubicBezTo>
                  <a:cubicBezTo>
                    <a:pt x="20" y="59"/>
                    <a:pt x="23" y="58"/>
                    <a:pt x="24" y="57"/>
                  </a:cubicBezTo>
                  <a:cubicBezTo>
                    <a:pt x="26" y="55"/>
                    <a:pt x="27" y="54"/>
                    <a:pt x="27" y="52"/>
                  </a:cubicBezTo>
                  <a:cubicBezTo>
                    <a:pt x="27" y="50"/>
                    <a:pt x="26" y="49"/>
                    <a:pt x="26" y="48"/>
                  </a:cubicBezTo>
                  <a:cubicBezTo>
                    <a:pt x="25" y="47"/>
                    <a:pt x="24" y="46"/>
                    <a:pt x="23" y="46"/>
                  </a:cubicBezTo>
                  <a:cubicBezTo>
                    <a:pt x="22" y="45"/>
                    <a:pt x="20" y="44"/>
                    <a:pt x="19" y="44"/>
                  </a:cubicBezTo>
                  <a:cubicBezTo>
                    <a:pt x="17" y="43"/>
                    <a:pt x="16" y="43"/>
                    <a:pt x="14" y="42"/>
                  </a:cubicBezTo>
                  <a:cubicBezTo>
                    <a:pt x="12" y="41"/>
                    <a:pt x="11" y="41"/>
                    <a:pt x="9" y="40"/>
                  </a:cubicBezTo>
                  <a:cubicBezTo>
                    <a:pt x="8" y="39"/>
                    <a:pt x="6" y="38"/>
                    <a:pt x="5" y="37"/>
                  </a:cubicBezTo>
                  <a:cubicBezTo>
                    <a:pt x="4" y="36"/>
                    <a:pt x="3" y="34"/>
                    <a:pt x="2" y="32"/>
                  </a:cubicBezTo>
                  <a:cubicBezTo>
                    <a:pt x="2" y="31"/>
                    <a:pt x="1" y="29"/>
                    <a:pt x="1" y="26"/>
                  </a:cubicBezTo>
                  <a:cubicBezTo>
                    <a:pt x="1" y="24"/>
                    <a:pt x="2" y="22"/>
                    <a:pt x="2" y="20"/>
                  </a:cubicBezTo>
                  <a:cubicBezTo>
                    <a:pt x="3" y="18"/>
                    <a:pt x="4" y="17"/>
                    <a:pt x="6" y="15"/>
                  </a:cubicBezTo>
                  <a:cubicBezTo>
                    <a:pt x="7" y="14"/>
                    <a:pt x="9" y="13"/>
                    <a:pt x="11" y="12"/>
                  </a:cubicBezTo>
                  <a:cubicBezTo>
                    <a:pt x="13" y="11"/>
                    <a:pt x="15" y="11"/>
                    <a:pt x="18" y="1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19" y="1"/>
                    <a:pt x="19" y="1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7" y="1"/>
                    <a:pt x="27" y="2"/>
                    <a:pt x="27" y="2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9" y="11"/>
                    <a:pt x="30" y="11"/>
                    <a:pt x="31" y="12"/>
                  </a:cubicBezTo>
                  <a:cubicBezTo>
                    <a:pt x="32" y="12"/>
                    <a:pt x="32" y="12"/>
                    <a:pt x="33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5"/>
                    <a:pt x="35" y="15"/>
                  </a:cubicBezTo>
                  <a:cubicBezTo>
                    <a:pt x="35" y="15"/>
                    <a:pt x="35" y="16"/>
                    <a:pt x="35" y="16"/>
                  </a:cubicBezTo>
                  <a:cubicBezTo>
                    <a:pt x="36" y="17"/>
                    <a:pt x="36" y="17"/>
                    <a:pt x="36" y="18"/>
                  </a:cubicBezTo>
                  <a:cubicBezTo>
                    <a:pt x="36" y="19"/>
                    <a:pt x="36" y="20"/>
                    <a:pt x="35" y="20"/>
                  </a:cubicBezTo>
                  <a:cubicBezTo>
                    <a:pt x="35" y="21"/>
                    <a:pt x="35" y="21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4" y="23"/>
                    <a:pt x="34" y="23"/>
                  </a:cubicBezTo>
                  <a:cubicBezTo>
                    <a:pt x="34" y="23"/>
                    <a:pt x="33" y="22"/>
                    <a:pt x="33" y="22"/>
                  </a:cubicBezTo>
                  <a:cubicBezTo>
                    <a:pt x="32" y="22"/>
                    <a:pt x="31" y="21"/>
                    <a:pt x="30" y="21"/>
                  </a:cubicBezTo>
                  <a:cubicBezTo>
                    <a:pt x="29" y="20"/>
                    <a:pt x="28" y="20"/>
                    <a:pt x="26" y="20"/>
                  </a:cubicBezTo>
                  <a:cubicBezTo>
                    <a:pt x="25" y="19"/>
                    <a:pt x="23" y="19"/>
                    <a:pt x="22" y="19"/>
                  </a:cubicBezTo>
                  <a:cubicBezTo>
                    <a:pt x="20" y="19"/>
                    <a:pt x="19" y="19"/>
                    <a:pt x="18" y="19"/>
                  </a:cubicBezTo>
                  <a:cubicBezTo>
                    <a:pt x="17" y="20"/>
                    <a:pt x="16" y="20"/>
                    <a:pt x="15" y="21"/>
                  </a:cubicBezTo>
                  <a:cubicBezTo>
                    <a:pt x="14" y="21"/>
                    <a:pt x="14" y="22"/>
                    <a:pt x="13" y="23"/>
                  </a:cubicBezTo>
                  <a:cubicBezTo>
                    <a:pt x="13" y="23"/>
                    <a:pt x="13" y="24"/>
                    <a:pt x="13" y="25"/>
                  </a:cubicBezTo>
                  <a:cubicBezTo>
                    <a:pt x="13" y="26"/>
                    <a:pt x="13" y="27"/>
                    <a:pt x="14" y="28"/>
                  </a:cubicBezTo>
                  <a:cubicBezTo>
                    <a:pt x="15" y="29"/>
                    <a:pt x="16" y="30"/>
                    <a:pt x="17" y="31"/>
                  </a:cubicBezTo>
                  <a:cubicBezTo>
                    <a:pt x="18" y="32"/>
                    <a:pt x="20" y="32"/>
                    <a:pt x="21" y="33"/>
                  </a:cubicBezTo>
                  <a:cubicBezTo>
                    <a:pt x="23" y="33"/>
                    <a:pt x="24" y="34"/>
                    <a:pt x="26" y="34"/>
                  </a:cubicBezTo>
                  <a:cubicBezTo>
                    <a:pt x="28" y="35"/>
                    <a:pt x="29" y="36"/>
                    <a:pt x="31" y="37"/>
                  </a:cubicBezTo>
                  <a:cubicBezTo>
                    <a:pt x="32" y="37"/>
                    <a:pt x="34" y="38"/>
                    <a:pt x="35" y="40"/>
                  </a:cubicBezTo>
                  <a:cubicBezTo>
                    <a:pt x="36" y="41"/>
                    <a:pt x="37" y="42"/>
                    <a:pt x="38" y="44"/>
                  </a:cubicBezTo>
                  <a:cubicBezTo>
                    <a:pt x="38" y="46"/>
                    <a:pt x="39" y="48"/>
                    <a:pt x="39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1" name="Oval 165">
              <a:extLst>
                <a:ext uri="{FF2B5EF4-FFF2-40B4-BE49-F238E27FC236}">
                  <a16:creationId xmlns:a16="http://schemas.microsoft.com/office/drawing/2014/main" xmlns="" id="{3CC1D66D-B557-4D51-B0D9-9BC607314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9302" y="3855341"/>
              <a:ext cx="133094" cy="133094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2" name="Freeform 166">
              <a:extLst>
                <a:ext uri="{FF2B5EF4-FFF2-40B4-BE49-F238E27FC236}">
                  <a16:creationId xmlns:a16="http://schemas.microsoft.com/office/drawing/2014/main" xmlns="" id="{A632D3DD-B129-4552-A542-67B8B9D76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462" y="3882589"/>
              <a:ext cx="36679" cy="73359"/>
            </a:xfrm>
            <a:custGeom>
              <a:avLst/>
              <a:gdLst>
                <a:gd name="T0" fmla="*/ 38 w 39"/>
                <a:gd name="T1" fmla="*/ 57 h 79"/>
                <a:gd name="T2" fmla="*/ 28 w 39"/>
                <a:gd name="T3" fmla="*/ 66 h 79"/>
                <a:gd name="T4" fmla="*/ 19 w 39"/>
                <a:gd name="T5" fmla="*/ 77 h 79"/>
                <a:gd name="T6" fmla="*/ 18 w 39"/>
                <a:gd name="T7" fmla="*/ 78 h 79"/>
                <a:gd name="T8" fmla="*/ 15 w 39"/>
                <a:gd name="T9" fmla="*/ 79 h 79"/>
                <a:gd name="T10" fmla="*/ 12 w 39"/>
                <a:gd name="T11" fmla="*/ 78 h 79"/>
                <a:gd name="T12" fmla="*/ 11 w 39"/>
                <a:gd name="T13" fmla="*/ 77 h 79"/>
                <a:gd name="T14" fmla="*/ 8 w 39"/>
                <a:gd name="T15" fmla="*/ 67 h 79"/>
                <a:gd name="T16" fmla="*/ 3 w 39"/>
                <a:gd name="T17" fmla="*/ 65 h 79"/>
                <a:gd name="T18" fmla="*/ 1 w 39"/>
                <a:gd name="T19" fmla="*/ 62 h 79"/>
                <a:gd name="T20" fmla="*/ 1 w 39"/>
                <a:gd name="T21" fmla="*/ 57 h 79"/>
                <a:gd name="T22" fmla="*/ 1 w 39"/>
                <a:gd name="T23" fmla="*/ 55 h 79"/>
                <a:gd name="T24" fmla="*/ 4 w 39"/>
                <a:gd name="T25" fmla="*/ 55 h 79"/>
                <a:gd name="T26" fmla="*/ 11 w 39"/>
                <a:gd name="T27" fmla="*/ 58 h 79"/>
                <a:gd name="T28" fmla="*/ 24 w 39"/>
                <a:gd name="T29" fmla="*/ 57 h 79"/>
                <a:gd name="T30" fmla="*/ 26 w 39"/>
                <a:gd name="T31" fmla="*/ 48 h 79"/>
                <a:gd name="T32" fmla="*/ 19 w 39"/>
                <a:gd name="T33" fmla="*/ 44 h 79"/>
                <a:gd name="T34" fmla="*/ 9 w 39"/>
                <a:gd name="T35" fmla="*/ 40 h 79"/>
                <a:gd name="T36" fmla="*/ 2 w 39"/>
                <a:gd name="T37" fmla="*/ 33 h 79"/>
                <a:gd name="T38" fmla="*/ 2 w 39"/>
                <a:gd name="T39" fmla="*/ 20 h 79"/>
                <a:gd name="T40" fmla="*/ 11 w 39"/>
                <a:gd name="T41" fmla="*/ 12 h 79"/>
                <a:gd name="T42" fmla="*/ 19 w 39"/>
                <a:gd name="T43" fmla="*/ 2 h 79"/>
                <a:gd name="T44" fmla="*/ 19 w 39"/>
                <a:gd name="T45" fmla="*/ 1 h 79"/>
                <a:gd name="T46" fmla="*/ 22 w 39"/>
                <a:gd name="T47" fmla="*/ 0 h 79"/>
                <a:gd name="T48" fmla="*/ 26 w 39"/>
                <a:gd name="T49" fmla="*/ 1 h 79"/>
                <a:gd name="T50" fmla="*/ 27 w 39"/>
                <a:gd name="T51" fmla="*/ 2 h 79"/>
                <a:gd name="T52" fmla="*/ 28 w 39"/>
                <a:gd name="T53" fmla="*/ 11 h 79"/>
                <a:gd name="T54" fmla="*/ 33 w 39"/>
                <a:gd name="T55" fmla="*/ 13 h 79"/>
                <a:gd name="T56" fmla="*/ 35 w 39"/>
                <a:gd name="T57" fmla="*/ 14 h 79"/>
                <a:gd name="T58" fmla="*/ 36 w 39"/>
                <a:gd name="T59" fmla="*/ 17 h 79"/>
                <a:gd name="T60" fmla="*/ 36 w 39"/>
                <a:gd name="T61" fmla="*/ 21 h 79"/>
                <a:gd name="T62" fmla="*/ 35 w 39"/>
                <a:gd name="T63" fmla="*/ 23 h 79"/>
                <a:gd name="T64" fmla="*/ 33 w 39"/>
                <a:gd name="T65" fmla="*/ 22 h 79"/>
                <a:gd name="T66" fmla="*/ 26 w 39"/>
                <a:gd name="T67" fmla="*/ 20 h 79"/>
                <a:gd name="T68" fmla="*/ 18 w 39"/>
                <a:gd name="T69" fmla="*/ 20 h 79"/>
                <a:gd name="T70" fmla="*/ 14 w 39"/>
                <a:gd name="T71" fmla="*/ 23 h 79"/>
                <a:gd name="T72" fmla="*/ 14 w 39"/>
                <a:gd name="T73" fmla="*/ 29 h 79"/>
                <a:gd name="T74" fmla="*/ 21 w 39"/>
                <a:gd name="T75" fmla="*/ 33 h 79"/>
                <a:gd name="T76" fmla="*/ 31 w 39"/>
                <a:gd name="T77" fmla="*/ 37 h 79"/>
                <a:gd name="T78" fmla="*/ 38 w 39"/>
                <a:gd name="T79" fmla="*/ 4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79">
                  <a:moveTo>
                    <a:pt x="39" y="50"/>
                  </a:moveTo>
                  <a:cubicBezTo>
                    <a:pt x="39" y="53"/>
                    <a:pt x="38" y="55"/>
                    <a:pt x="38" y="57"/>
                  </a:cubicBezTo>
                  <a:cubicBezTo>
                    <a:pt x="37" y="59"/>
                    <a:pt x="35" y="61"/>
                    <a:pt x="34" y="62"/>
                  </a:cubicBezTo>
                  <a:cubicBezTo>
                    <a:pt x="32" y="64"/>
                    <a:pt x="30" y="65"/>
                    <a:pt x="28" y="66"/>
                  </a:cubicBezTo>
                  <a:cubicBezTo>
                    <a:pt x="25" y="67"/>
                    <a:pt x="23" y="67"/>
                    <a:pt x="20" y="68"/>
                  </a:cubicBezTo>
                  <a:cubicBezTo>
                    <a:pt x="19" y="77"/>
                    <a:pt x="19" y="77"/>
                    <a:pt x="19" y="77"/>
                  </a:cubicBezTo>
                  <a:cubicBezTo>
                    <a:pt x="19" y="77"/>
                    <a:pt x="19" y="78"/>
                    <a:pt x="19" y="78"/>
                  </a:cubicBezTo>
                  <a:cubicBezTo>
                    <a:pt x="19" y="78"/>
                    <a:pt x="19" y="78"/>
                    <a:pt x="18" y="78"/>
                  </a:cubicBezTo>
                  <a:cubicBezTo>
                    <a:pt x="18" y="78"/>
                    <a:pt x="18" y="78"/>
                    <a:pt x="17" y="78"/>
                  </a:cubicBezTo>
                  <a:cubicBezTo>
                    <a:pt x="17" y="79"/>
                    <a:pt x="16" y="79"/>
                    <a:pt x="15" y="79"/>
                  </a:cubicBezTo>
                  <a:cubicBezTo>
                    <a:pt x="14" y="79"/>
                    <a:pt x="14" y="79"/>
                    <a:pt x="13" y="7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1" y="78"/>
                    <a:pt x="11" y="78"/>
                    <a:pt x="11" y="77"/>
                  </a:cubicBezTo>
                  <a:cubicBezTo>
                    <a:pt x="11" y="77"/>
                    <a:pt x="11" y="77"/>
                    <a:pt x="11" y="77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1" y="67"/>
                    <a:pt x="9" y="67"/>
                    <a:pt x="8" y="67"/>
                  </a:cubicBezTo>
                  <a:cubicBezTo>
                    <a:pt x="7" y="67"/>
                    <a:pt x="6" y="66"/>
                    <a:pt x="5" y="66"/>
                  </a:cubicBezTo>
                  <a:cubicBezTo>
                    <a:pt x="4" y="66"/>
                    <a:pt x="4" y="65"/>
                    <a:pt x="3" y="65"/>
                  </a:cubicBezTo>
                  <a:cubicBezTo>
                    <a:pt x="2" y="65"/>
                    <a:pt x="2" y="64"/>
                    <a:pt x="1" y="64"/>
                  </a:cubicBezTo>
                  <a:cubicBezTo>
                    <a:pt x="1" y="64"/>
                    <a:pt x="1" y="63"/>
                    <a:pt x="1" y="62"/>
                  </a:cubicBezTo>
                  <a:cubicBezTo>
                    <a:pt x="1" y="62"/>
                    <a:pt x="0" y="61"/>
                    <a:pt x="0" y="59"/>
                  </a:cubicBezTo>
                  <a:cubicBezTo>
                    <a:pt x="0" y="58"/>
                    <a:pt x="0" y="58"/>
                    <a:pt x="1" y="57"/>
                  </a:cubicBezTo>
                  <a:cubicBezTo>
                    <a:pt x="1" y="56"/>
                    <a:pt x="1" y="56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3" y="55"/>
                    <a:pt x="3" y="55"/>
                    <a:pt x="4" y="55"/>
                  </a:cubicBezTo>
                  <a:cubicBezTo>
                    <a:pt x="5" y="56"/>
                    <a:pt x="6" y="56"/>
                    <a:pt x="7" y="57"/>
                  </a:cubicBezTo>
                  <a:cubicBezTo>
                    <a:pt x="8" y="57"/>
                    <a:pt x="9" y="58"/>
                    <a:pt x="11" y="58"/>
                  </a:cubicBezTo>
                  <a:cubicBezTo>
                    <a:pt x="13" y="59"/>
                    <a:pt x="14" y="59"/>
                    <a:pt x="17" y="59"/>
                  </a:cubicBezTo>
                  <a:cubicBezTo>
                    <a:pt x="20" y="59"/>
                    <a:pt x="23" y="58"/>
                    <a:pt x="24" y="57"/>
                  </a:cubicBezTo>
                  <a:cubicBezTo>
                    <a:pt x="26" y="56"/>
                    <a:pt x="27" y="54"/>
                    <a:pt x="27" y="52"/>
                  </a:cubicBezTo>
                  <a:cubicBezTo>
                    <a:pt x="27" y="50"/>
                    <a:pt x="26" y="49"/>
                    <a:pt x="26" y="48"/>
                  </a:cubicBezTo>
                  <a:cubicBezTo>
                    <a:pt x="25" y="47"/>
                    <a:pt x="24" y="47"/>
                    <a:pt x="23" y="46"/>
                  </a:cubicBezTo>
                  <a:cubicBezTo>
                    <a:pt x="22" y="45"/>
                    <a:pt x="20" y="45"/>
                    <a:pt x="19" y="44"/>
                  </a:cubicBezTo>
                  <a:cubicBezTo>
                    <a:pt x="17" y="43"/>
                    <a:pt x="16" y="43"/>
                    <a:pt x="14" y="42"/>
                  </a:cubicBezTo>
                  <a:cubicBezTo>
                    <a:pt x="13" y="42"/>
                    <a:pt x="11" y="41"/>
                    <a:pt x="9" y="40"/>
                  </a:cubicBezTo>
                  <a:cubicBezTo>
                    <a:pt x="8" y="39"/>
                    <a:pt x="7" y="38"/>
                    <a:pt x="5" y="37"/>
                  </a:cubicBezTo>
                  <a:cubicBezTo>
                    <a:pt x="4" y="36"/>
                    <a:pt x="3" y="34"/>
                    <a:pt x="2" y="33"/>
                  </a:cubicBezTo>
                  <a:cubicBezTo>
                    <a:pt x="2" y="31"/>
                    <a:pt x="1" y="29"/>
                    <a:pt x="1" y="26"/>
                  </a:cubicBezTo>
                  <a:cubicBezTo>
                    <a:pt x="1" y="24"/>
                    <a:pt x="2" y="22"/>
                    <a:pt x="2" y="20"/>
                  </a:cubicBezTo>
                  <a:cubicBezTo>
                    <a:pt x="3" y="19"/>
                    <a:pt x="4" y="17"/>
                    <a:pt x="6" y="16"/>
                  </a:cubicBezTo>
                  <a:cubicBezTo>
                    <a:pt x="7" y="14"/>
                    <a:pt x="9" y="13"/>
                    <a:pt x="11" y="12"/>
                  </a:cubicBezTo>
                  <a:cubicBezTo>
                    <a:pt x="13" y="11"/>
                    <a:pt x="15" y="11"/>
                    <a:pt x="18" y="1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0" y="0"/>
                    <a:pt x="20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4" y="0"/>
                    <a:pt x="25" y="0"/>
                  </a:cubicBezTo>
                  <a:cubicBezTo>
                    <a:pt x="25" y="1"/>
                    <a:pt x="26" y="1"/>
                    <a:pt x="26" y="1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8" y="11"/>
                    <a:pt x="28" y="11"/>
                  </a:cubicBezTo>
                  <a:cubicBezTo>
                    <a:pt x="29" y="11"/>
                    <a:pt x="30" y="12"/>
                    <a:pt x="31" y="12"/>
                  </a:cubicBezTo>
                  <a:cubicBezTo>
                    <a:pt x="32" y="12"/>
                    <a:pt x="33" y="12"/>
                    <a:pt x="33" y="13"/>
                  </a:cubicBezTo>
                  <a:cubicBezTo>
                    <a:pt x="34" y="13"/>
                    <a:pt x="34" y="13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6"/>
                    <a:pt x="36" y="16"/>
                    <a:pt x="36" y="17"/>
                  </a:cubicBezTo>
                  <a:cubicBezTo>
                    <a:pt x="36" y="17"/>
                    <a:pt x="36" y="18"/>
                    <a:pt x="36" y="18"/>
                  </a:cubicBezTo>
                  <a:cubicBezTo>
                    <a:pt x="36" y="19"/>
                    <a:pt x="36" y="20"/>
                    <a:pt x="36" y="21"/>
                  </a:cubicBezTo>
                  <a:cubicBezTo>
                    <a:pt x="35" y="21"/>
                    <a:pt x="35" y="22"/>
                    <a:pt x="35" y="22"/>
                  </a:cubicBezTo>
                  <a:cubicBezTo>
                    <a:pt x="35" y="22"/>
                    <a:pt x="35" y="23"/>
                    <a:pt x="35" y="23"/>
                  </a:cubicBezTo>
                  <a:cubicBezTo>
                    <a:pt x="35" y="23"/>
                    <a:pt x="35" y="23"/>
                    <a:pt x="34" y="23"/>
                  </a:cubicBezTo>
                  <a:cubicBezTo>
                    <a:pt x="34" y="23"/>
                    <a:pt x="33" y="23"/>
                    <a:pt x="33" y="22"/>
                  </a:cubicBezTo>
                  <a:cubicBezTo>
                    <a:pt x="32" y="22"/>
                    <a:pt x="31" y="21"/>
                    <a:pt x="30" y="21"/>
                  </a:cubicBezTo>
                  <a:cubicBezTo>
                    <a:pt x="29" y="21"/>
                    <a:pt x="28" y="20"/>
                    <a:pt x="26" y="20"/>
                  </a:cubicBezTo>
                  <a:cubicBezTo>
                    <a:pt x="25" y="19"/>
                    <a:pt x="23" y="19"/>
                    <a:pt x="22" y="19"/>
                  </a:cubicBezTo>
                  <a:cubicBezTo>
                    <a:pt x="20" y="19"/>
                    <a:pt x="19" y="19"/>
                    <a:pt x="18" y="20"/>
                  </a:cubicBezTo>
                  <a:cubicBezTo>
                    <a:pt x="17" y="20"/>
                    <a:pt x="16" y="20"/>
                    <a:pt x="15" y="21"/>
                  </a:cubicBezTo>
                  <a:cubicBezTo>
                    <a:pt x="14" y="21"/>
                    <a:pt x="14" y="22"/>
                    <a:pt x="14" y="23"/>
                  </a:cubicBezTo>
                  <a:cubicBezTo>
                    <a:pt x="13" y="23"/>
                    <a:pt x="13" y="24"/>
                    <a:pt x="13" y="25"/>
                  </a:cubicBezTo>
                  <a:cubicBezTo>
                    <a:pt x="13" y="27"/>
                    <a:pt x="13" y="28"/>
                    <a:pt x="14" y="29"/>
                  </a:cubicBezTo>
                  <a:cubicBezTo>
                    <a:pt x="15" y="30"/>
                    <a:pt x="16" y="30"/>
                    <a:pt x="17" y="31"/>
                  </a:cubicBezTo>
                  <a:cubicBezTo>
                    <a:pt x="18" y="32"/>
                    <a:pt x="20" y="32"/>
                    <a:pt x="21" y="33"/>
                  </a:cubicBezTo>
                  <a:cubicBezTo>
                    <a:pt x="23" y="34"/>
                    <a:pt x="24" y="34"/>
                    <a:pt x="26" y="35"/>
                  </a:cubicBezTo>
                  <a:cubicBezTo>
                    <a:pt x="28" y="35"/>
                    <a:pt x="29" y="36"/>
                    <a:pt x="31" y="37"/>
                  </a:cubicBezTo>
                  <a:cubicBezTo>
                    <a:pt x="32" y="38"/>
                    <a:pt x="34" y="39"/>
                    <a:pt x="35" y="40"/>
                  </a:cubicBezTo>
                  <a:cubicBezTo>
                    <a:pt x="36" y="41"/>
                    <a:pt x="37" y="43"/>
                    <a:pt x="38" y="44"/>
                  </a:cubicBezTo>
                  <a:cubicBezTo>
                    <a:pt x="39" y="46"/>
                    <a:pt x="39" y="48"/>
                    <a:pt x="39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3" name="Oval 167">
              <a:extLst>
                <a:ext uri="{FF2B5EF4-FFF2-40B4-BE49-F238E27FC236}">
                  <a16:creationId xmlns:a16="http://schemas.microsoft.com/office/drawing/2014/main" xmlns="" id="{42D8F231-D2E3-4D82-A665-41EF1576D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8216" y="3572385"/>
              <a:ext cx="260948" cy="261996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4" name="Freeform 168">
              <a:extLst>
                <a:ext uri="{FF2B5EF4-FFF2-40B4-BE49-F238E27FC236}">
                  <a16:creationId xmlns:a16="http://schemas.microsoft.com/office/drawing/2014/main" xmlns="" id="{83E5A960-5943-4A2B-B4DA-9624D5D47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2535" y="3625833"/>
              <a:ext cx="70215" cy="143574"/>
            </a:xfrm>
            <a:custGeom>
              <a:avLst/>
              <a:gdLst>
                <a:gd name="T0" fmla="*/ 73 w 75"/>
                <a:gd name="T1" fmla="*/ 112 h 154"/>
                <a:gd name="T2" fmla="*/ 54 w 75"/>
                <a:gd name="T3" fmla="*/ 129 h 154"/>
                <a:gd name="T4" fmla="*/ 37 w 75"/>
                <a:gd name="T5" fmla="*/ 151 h 154"/>
                <a:gd name="T6" fmla="*/ 35 w 75"/>
                <a:gd name="T7" fmla="*/ 153 h 154"/>
                <a:gd name="T8" fmla="*/ 29 w 75"/>
                <a:gd name="T9" fmla="*/ 154 h 154"/>
                <a:gd name="T10" fmla="*/ 22 w 75"/>
                <a:gd name="T11" fmla="*/ 153 h 154"/>
                <a:gd name="T12" fmla="*/ 21 w 75"/>
                <a:gd name="T13" fmla="*/ 150 h 154"/>
                <a:gd name="T14" fmla="*/ 16 w 75"/>
                <a:gd name="T15" fmla="*/ 131 h 154"/>
                <a:gd name="T16" fmla="*/ 5 w 75"/>
                <a:gd name="T17" fmla="*/ 127 h 154"/>
                <a:gd name="T18" fmla="*/ 1 w 75"/>
                <a:gd name="T19" fmla="*/ 122 h 154"/>
                <a:gd name="T20" fmla="*/ 0 w 75"/>
                <a:gd name="T21" fmla="*/ 111 h 154"/>
                <a:gd name="T22" fmla="*/ 2 w 75"/>
                <a:gd name="T23" fmla="*/ 107 h 154"/>
                <a:gd name="T24" fmla="*/ 7 w 75"/>
                <a:gd name="T25" fmla="*/ 108 h 154"/>
                <a:gd name="T26" fmla="*/ 21 w 75"/>
                <a:gd name="T27" fmla="*/ 114 h 154"/>
                <a:gd name="T28" fmla="*/ 47 w 75"/>
                <a:gd name="T29" fmla="*/ 111 h 154"/>
                <a:gd name="T30" fmla="*/ 50 w 75"/>
                <a:gd name="T31" fmla="*/ 94 h 154"/>
                <a:gd name="T32" fmla="*/ 36 w 75"/>
                <a:gd name="T33" fmla="*/ 86 h 154"/>
                <a:gd name="T34" fmla="*/ 18 w 75"/>
                <a:gd name="T35" fmla="*/ 78 h 154"/>
                <a:gd name="T36" fmla="*/ 4 w 75"/>
                <a:gd name="T37" fmla="*/ 64 h 154"/>
                <a:gd name="T38" fmla="*/ 4 w 75"/>
                <a:gd name="T39" fmla="*/ 40 h 154"/>
                <a:gd name="T40" fmla="*/ 20 w 75"/>
                <a:gd name="T41" fmla="*/ 24 h 154"/>
                <a:gd name="T42" fmla="*/ 36 w 75"/>
                <a:gd name="T43" fmla="*/ 3 h 154"/>
                <a:gd name="T44" fmla="*/ 37 w 75"/>
                <a:gd name="T45" fmla="*/ 1 h 154"/>
                <a:gd name="T46" fmla="*/ 43 w 75"/>
                <a:gd name="T47" fmla="*/ 0 h 154"/>
                <a:gd name="T48" fmla="*/ 50 w 75"/>
                <a:gd name="T49" fmla="*/ 1 h 154"/>
                <a:gd name="T50" fmla="*/ 52 w 75"/>
                <a:gd name="T51" fmla="*/ 4 h 154"/>
                <a:gd name="T52" fmla="*/ 55 w 75"/>
                <a:gd name="T53" fmla="*/ 22 h 154"/>
                <a:gd name="T54" fmla="*/ 64 w 75"/>
                <a:gd name="T55" fmla="*/ 25 h 154"/>
                <a:gd name="T56" fmla="*/ 68 w 75"/>
                <a:gd name="T57" fmla="*/ 28 h 154"/>
                <a:gd name="T58" fmla="*/ 69 w 75"/>
                <a:gd name="T59" fmla="*/ 32 h 154"/>
                <a:gd name="T60" fmla="*/ 69 w 75"/>
                <a:gd name="T61" fmla="*/ 40 h 154"/>
                <a:gd name="T62" fmla="*/ 68 w 75"/>
                <a:gd name="T63" fmla="*/ 44 h 154"/>
                <a:gd name="T64" fmla="*/ 63 w 75"/>
                <a:gd name="T65" fmla="*/ 43 h 154"/>
                <a:gd name="T66" fmla="*/ 51 w 75"/>
                <a:gd name="T67" fmla="*/ 38 h 154"/>
                <a:gd name="T68" fmla="*/ 34 w 75"/>
                <a:gd name="T69" fmla="*/ 38 h 154"/>
                <a:gd name="T70" fmla="*/ 26 w 75"/>
                <a:gd name="T71" fmla="*/ 44 h 154"/>
                <a:gd name="T72" fmla="*/ 27 w 75"/>
                <a:gd name="T73" fmla="*/ 56 h 154"/>
                <a:gd name="T74" fmla="*/ 41 w 75"/>
                <a:gd name="T75" fmla="*/ 64 h 154"/>
                <a:gd name="T76" fmla="*/ 59 w 75"/>
                <a:gd name="T77" fmla="*/ 72 h 154"/>
                <a:gd name="T78" fmla="*/ 73 w 75"/>
                <a:gd name="T79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" h="154">
                  <a:moveTo>
                    <a:pt x="75" y="98"/>
                  </a:moveTo>
                  <a:cubicBezTo>
                    <a:pt x="75" y="103"/>
                    <a:pt x="74" y="108"/>
                    <a:pt x="73" y="112"/>
                  </a:cubicBezTo>
                  <a:cubicBezTo>
                    <a:pt x="71" y="116"/>
                    <a:pt x="68" y="119"/>
                    <a:pt x="65" y="122"/>
                  </a:cubicBezTo>
                  <a:cubicBezTo>
                    <a:pt x="62" y="125"/>
                    <a:pt x="58" y="127"/>
                    <a:pt x="54" y="129"/>
                  </a:cubicBezTo>
                  <a:cubicBezTo>
                    <a:pt x="49" y="131"/>
                    <a:pt x="44" y="132"/>
                    <a:pt x="38" y="132"/>
                  </a:cubicBezTo>
                  <a:cubicBezTo>
                    <a:pt x="37" y="151"/>
                    <a:pt x="37" y="151"/>
                    <a:pt x="37" y="151"/>
                  </a:cubicBezTo>
                  <a:cubicBezTo>
                    <a:pt x="37" y="151"/>
                    <a:pt x="36" y="152"/>
                    <a:pt x="36" y="152"/>
                  </a:cubicBezTo>
                  <a:cubicBezTo>
                    <a:pt x="36" y="152"/>
                    <a:pt x="36" y="153"/>
                    <a:pt x="35" y="153"/>
                  </a:cubicBezTo>
                  <a:cubicBezTo>
                    <a:pt x="35" y="153"/>
                    <a:pt x="34" y="153"/>
                    <a:pt x="33" y="153"/>
                  </a:cubicBezTo>
                  <a:cubicBezTo>
                    <a:pt x="32" y="154"/>
                    <a:pt x="31" y="154"/>
                    <a:pt x="29" y="154"/>
                  </a:cubicBezTo>
                  <a:cubicBezTo>
                    <a:pt x="27" y="154"/>
                    <a:pt x="26" y="154"/>
                    <a:pt x="25" y="153"/>
                  </a:cubicBezTo>
                  <a:cubicBezTo>
                    <a:pt x="24" y="153"/>
                    <a:pt x="23" y="153"/>
                    <a:pt x="22" y="153"/>
                  </a:cubicBezTo>
                  <a:cubicBezTo>
                    <a:pt x="22" y="152"/>
                    <a:pt x="21" y="152"/>
                    <a:pt x="21" y="151"/>
                  </a:cubicBezTo>
                  <a:cubicBezTo>
                    <a:pt x="21" y="151"/>
                    <a:pt x="21" y="150"/>
                    <a:pt x="21" y="150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20" y="132"/>
                    <a:pt x="18" y="131"/>
                    <a:pt x="16" y="131"/>
                  </a:cubicBezTo>
                  <a:cubicBezTo>
                    <a:pt x="13" y="130"/>
                    <a:pt x="11" y="130"/>
                    <a:pt x="10" y="129"/>
                  </a:cubicBezTo>
                  <a:cubicBezTo>
                    <a:pt x="8" y="128"/>
                    <a:pt x="6" y="128"/>
                    <a:pt x="5" y="127"/>
                  </a:cubicBezTo>
                  <a:cubicBezTo>
                    <a:pt x="4" y="126"/>
                    <a:pt x="3" y="126"/>
                    <a:pt x="2" y="125"/>
                  </a:cubicBezTo>
                  <a:cubicBezTo>
                    <a:pt x="1" y="124"/>
                    <a:pt x="1" y="123"/>
                    <a:pt x="1" y="122"/>
                  </a:cubicBezTo>
                  <a:cubicBezTo>
                    <a:pt x="0" y="121"/>
                    <a:pt x="0" y="119"/>
                    <a:pt x="0" y="116"/>
                  </a:cubicBezTo>
                  <a:cubicBezTo>
                    <a:pt x="0" y="114"/>
                    <a:pt x="0" y="113"/>
                    <a:pt x="0" y="111"/>
                  </a:cubicBezTo>
                  <a:cubicBezTo>
                    <a:pt x="0" y="110"/>
                    <a:pt x="1" y="109"/>
                    <a:pt x="1" y="108"/>
                  </a:cubicBezTo>
                  <a:cubicBezTo>
                    <a:pt x="1" y="108"/>
                    <a:pt x="2" y="107"/>
                    <a:pt x="2" y="107"/>
                  </a:cubicBezTo>
                  <a:cubicBezTo>
                    <a:pt x="2" y="107"/>
                    <a:pt x="3" y="107"/>
                    <a:pt x="4" y="107"/>
                  </a:cubicBezTo>
                  <a:cubicBezTo>
                    <a:pt x="4" y="107"/>
                    <a:pt x="5" y="107"/>
                    <a:pt x="7" y="108"/>
                  </a:cubicBezTo>
                  <a:cubicBezTo>
                    <a:pt x="8" y="109"/>
                    <a:pt x="10" y="110"/>
                    <a:pt x="12" y="111"/>
                  </a:cubicBezTo>
                  <a:cubicBezTo>
                    <a:pt x="15" y="112"/>
                    <a:pt x="17" y="113"/>
                    <a:pt x="21" y="114"/>
                  </a:cubicBezTo>
                  <a:cubicBezTo>
                    <a:pt x="24" y="114"/>
                    <a:pt x="28" y="115"/>
                    <a:pt x="32" y="115"/>
                  </a:cubicBezTo>
                  <a:cubicBezTo>
                    <a:pt x="39" y="115"/>
                    <a:pt x="44" y="114"/>
                    <a:pt x="47" y="111"/>
                  </a:cubicBezTo>
                  <a:cubicBezTo>
                    <a:pt x="50" y="109"/>
                    <a:pt x="52" y="105"/>
                    <a:pt x="52" y="101"/>
                  </a:cubicBezTo>
                  <a:cubicBezTo>
                    <a:pt x="52" y="98"/>
                    <a:pt x="51" y="96"/>
                    <a:pt x="50" y="94"/>
                  </a:cubicBezTo>
                  <a:cubicBezTo>
                    <a:pt x="48" y="92"/>
                    <a:pt x="46" y="91"/>
                    <a:pt x="44" y="90"/>
                  </a:cubicBezTo>
                  <a:cubicBezTo>
                    <a:pt x="42" y="88"/>
                    <a:pt x="39" y="87"/>
                    <a:pt x="36" y="86"/>
                  </a:cubicBezTo>
                  <a:cubicBezTo>
                    <a:pt x="33" y="85"/>
                    <a:pt x="30" y="84"/>
                    <a:pt x="27" y="83"/>
                  </a:cubicBezTo>
                  <a:cubicBezTo>
                    <a:pt x="24" y="81"/>
                    <a:pt x="21" y="80"/>
                    <a:pt x="18" y="78"/>
                  </a:cubicBezTo>
                  <a:cubicBezTo>
                    <a:pt x="15" y="77"/>
                    <a:pt x="12" y="75"/>
                    <a:pt x="10" y="72"/>
                  </a:cubicBezTo>
                  <a:cubicBezTo>
                    <a:pt x="7" y="70"/>
                    <a:pt x="6" y="67"/>
                    <a:pt x="4" y="64"/>
                  </a:cubicBezTo>
                  <a:cubicBezTo>
                    <a:pt x="3" y="60"/>
                    <a:pt x="2" y="56"/>
                    <a:pt x="2" y="51"/>
                  </a:cubicBezTo>
                  <a:cubicBezTo>
                    <a:pt x="2" y="47"/>
                    <a:pt x="3" y="43"/>
                    <a:pt x="4" y="40"/>
                  </a:cubicBezTo>
                  <a:cubicBezTo>
                    <a:pt x="6" y="36"/>
                    <a:pt x="8" y="33"/>
                    <a:pt x="10" y="30"/>
                  </a:cubicBezTo>
                  <a:cubicBezTo>
                    <a:pt x="13" y="28"/>
                    <a:pt x="16" y="26"/>
                    <a:pt x="20" y="24"/>
                  </a:cubicBezTo>
                  <a:cubicBezTo>
                    <a:pt x="24" y="22"/>
                    <a:pt x="29" y="21"/>
                    <a:pt x="34" y="21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2"/>
                    <a:pt x="36" y="2"/>
                  </a:cubicBezTo>
                  <a:cubicBezTo>
                    <a:pt x="36" y="2"/>
                    <a:pt x="37" y="1"/>
                    <a:pt x="37" y="1"/>
                  </a:cubicBezTo>
                  <a:cubicBezTo>
                    <a:pt x="38" y="1"/>
                    <a:pt x="38" y="1"/>
                    <a:pt x="39" y="1"/>
                  </a:cubicBezTo>
                  <a:cubicBezTo>
                    <a:pt x="40" y="0"/>
                    <a:pt x="41" y="0"/>
                    <a:pt x="43" y="0"/>
                  </a:cubicBezTo>
                  <a:cubicBezTo>
                    <a:pt x="45" y="0"/>
                    <a:pt x="46" y="1"/>
                    <a:pt x="47" y="1"/>
                  </a:cubicBezTo>
                  <a:cubicBezTo>
                    <a:pt x="49" y="1"/>
                    <a:pt x="49" y="1"/>
                    <a:pt x="50" y="1"/>
                  </a:cubicBezTo>
                  <a:cubicBezTo>
                    <a:pt x="51" y="2"/>
                    <a:pt x="51" y="2"/>
                    <a:pt x="51" y="3"/>
                  </a:cubicBezTo>
                  <a:cubicBezTo>
                    <a:pt x="51" y="3"/>
                    <a:pt x="52" y="4"/>
                    <a:pt x="52" y="4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1" y="21"/>
                    <a:pt x="53" y="21"/>
                    <a:pt x="55" y="22"/>
                  </a:cubicBezTo>
                  <a:cubicBezTo>
                    <a:pt x="57" y="22"/>
                    <a:pt x="58" y="23"/>
                    <a:pt x="60" y="23"/>
                  </a:cubicBezTo>
                  <a:cubicBezTo>
                    <a:pt x="62" y="24"/>
                    <a:pt x="63" y="24"/>
                    <a:pt x="64" y="25"/>
                  </a:cubicBezTo>
                  <a:cubicBezTo>
                    <a:pt x="65" y="25"/>
                    <a:pt x="66" y="26"/>
                    <a:pt x="67" y="27"/>
                  </a:cubicBezTo>
                  <a:cubicBezTo>
                    <a:pt x="67" y="27"/>
                    <a:pt x="68" y="27"/>
                    <a:pt x="68" y="28"/>
                  </a:cubicBezTo>
                  <a:cubicBezTo>
                    <a:pt x="68" y="28"/>
                    <a:pt x="68" y="29"/>
                    <a:pt x="69" y="30"/>
                  </a:cubicBezTo>
                  <a:cubicBezTo>
                    <a:pt x="69" y="31"/>
                    <a:pt x="69" y="31"/>
                    <a:pt x="69" y="32"/>
                  </a:cubicBezTo>
                  <a:cubicBezTo>
                    <a:pt x="69" y="33"/>
                    <a:pt x="69" y="35"/>
                    <a:pt x="69" y="36"/>
                  </a:cubicBezTo>
                  <a:cubicBezTo>
                    <a:pt x="69" y="38"/>
                    <a:pt x="69" y="39"/>
                    <a:pt x="69" y="40"/>
                  </a:cubicBezTo>
                  <a:cubicBezTo>
                    <a:pt x="69" y="41"/>
                    <a:pt x="69" y="42"/>
                    <a:pt x="68" y="43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6" y="44"/>
                    <a:pt x="65" y="44"/>
                    <a:pt x="63" y="43"/>
                  </a:cubicBezTo>
                  <a:cubicBezTo>
                    <a:pt x="62" y="43"/>
                    <a:pt x="60" y="42"/>
                    <a:pt x="58" y="41"/>
                  </a:cubicBezTo>
                  <a:cubicBezTo>
                    <a:pt x="56" y="40"/>
                    <a:pt x="53" y="39"/>
                    <a:pt x="51" y="38"/>
                  </a:cubicBezTo>
                  <a:cubicBezTo>
                    <a:pt x="48" y="38"/>
                    <a:pt x="45" y="37"/>
                    <a:pt x="42" y="37"/>
                  </a:cubicBezTo>
                  <a:cubicBezTo>
                    <a:pt x="39" y="37"/>
                    <a:pt x="36" y="38"/>
                    <a:pt x="34" y="38"/>
                  </a:cubicBezTo>
                  <a:cubicBezTo>
                    <a:pt x="32" y="39"/>
                    <a:pt x="30" y="40"/>
                    <a:pt x="29" y="41"/>
                  </a:cubicBezTo>
                  <a:cubicBezTo>
                    <a:pt x="27" y="42"/>
                    <a:pt x="26" y="43"/>
                    <a:pt x="26" y="44"/>
                  </a:cubicBezTo>
                  <a:cubicBezTo>
                    <a:pt x="25" y="46"/>
                    <a:pt x="25" y="47"/>
                    <a:pt x="25" y="49"/>
                  </a:cubicBezTo>
                  <a:cubicBezTo>
                    <a:pt x="25" y="52"/>
                    <a:pt x="26" y="54"/>
                    <a:pt x="27" y="56"/>
                  </a:cubicBezTo>
                  <a:cubicBezTo>
                    <a:pt x="28" y="58"/>
                    <a:pt x="30" y="59"/>
                    <a:pt x="33" y="61"/>
                  </a:cubicBezTo>
                  <a:cubicBezTo>
                    <a:pt x="35" y="62"/>
                    <a:pt x="38" y="63"/>
                    <a:pt x="41" y="64"/>
                  </a:cubicBezTo>
                  <a:cubicBezTo>
                    <a:pt x="44" y="65"/>
                    <a:pt x="47" y="67"/>
                    <a:pt x="50" y="68"/>
                  </a:cubicBezTo>
                  <a:cubicBezTo>
                    <a:pt x="53" y="69"/>
                    <a:pt x="56" y="70"/>
                    <a:pt x="59" y="72"/>
                  </a:cubicBezTo>
                  <a:cubicBezTo>
                    <a:pt x="62" y="74"/>
                    <a:pt x="65" y="76"/>
                    <a:pt x="67" y="78"/>
                  </a:cubicBezTo>
                  <a:cubicBezTo>
                    <a:pt x="70" y="80"/>
                    <a:pt x="72" y="83"/>
                    <a:pt x="73" y="86"/>
                  </a:cubicBezTo>
                  <a:cubicBezTo>
                    <a:pt x="75" y="90"/>
                    <a:pt x="75" y="94"/>
                    <a:pt x="75" y="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5" name="Oval 169">
              <a:extLst>
                <a:ext uri="{FF2B5EF4-FFF2-40B4-BE49-F238E27FC236}">
                  <a16:creationId xmlns:a16="http://schemas.microsoft.com/office/drawing/2014/main" xmlns="" id="{8528D630-4FC0-407D-BFB9-A1BFD6DD6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417" y="3834382"/>
              <a:ext cx="176062" cy="175013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6" name="Freeform 170">
              <a:extLst>
                <a:ext uri="{FF2B5EF4-FFF2-40B4-BE49-F238E27FC236}">
                  <a16:creationId xmlns:a16="http://schemas.microsoft.com/office/drawing/2014/main" xmlns="" id="{55AEFF5E-C440-447F-B76D-60F846424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7345" y="3870013"/>
              <a:ext cx="47159" cy="96415"/>
            </a:xfrm>
            <a:custGeom>
              <a:avLst/>
              <a:gdLst>
                <a:gd name="T0" fmla="*/ 49 w 50"/>
                <a:gd name="T1" fmla="*/ 75 h 103"/>
                <a:gd name="T2" fmla="*/ 36 w 50"/>
                <a:gd name="T3" fmla="*/ 86 h 103"/>
                <a:gd name="T4" fmla="*/ 24 w 50"/>
                <a:gd name="T5" fmla="*/ 101 h 103"/>
                <a:gd name="T6" fmla="*/ 23 w 50"/>
                <a:gd name="T7" fmla="*/ 102 h 103"/>
                <a:gd name="T8" fmla="*/ 19 w 50"/>
                <a:gd name="T9" fmla="*/ 103 h 103"/>
                <a:gd name="T10" fmla="*/ 15 w 50"/>
                <a:gd name="T11" fmla="*/ 102 h 103"/>
                <a:gd name="T12" fmla="*/ 14 w 50"/>
                <a:gd name="T13" fmla="*/ 100 h 103"/>
                <a:gd name="T14" fmla="*/ 10 w 50"/>
                <a:gd name="T15" fmla="*/ 88 h 103"/>
                <a:gd name="T16" fmla="*/ 3 w 50"/>
                <a:gd name="T17" fmla="*/ 85 h 103"/>
                <a:gd name="T18" fmla="*/ 0 w 50"/>
                <a:gd name="T19" fmla="*/ 82 h 103"/>
                <a:gd name="T20" fmla="*/ 0 w 50"/>
                <a:gd name="T21" fmla="*/ 75 h 103"/>
                <a:gd name="T22" fmla="*/ 1 w 50"/>
                <a:gd name="T23" fmla="*/ 72 h 103"/>
                <a:gd name="T24" fmla="*/ 4 w 50"/>
                <a:gd name="T25" fmla="*/ 72 h 103"/>
                <a:gd name="T26" fmla="*/ 13 w 50"/>
                <a:gd name="T27" fmla="*/ 76 h 103"/>
                <a:gd name="T28" fmla="*/ 31 w 50"/>
                <a:gd name="T29" fmla="*/ 74 h 103"/>
                <a:gd name="T30" fmla="*/ 33 w 50"/>
                <a:gd name="T31" fmla="*/ 63 h 103"/>
                <a:gd name="T32" fmla="*/ 24 w 50"/>
                <a:gd name="T33" fmla="*/ 57 h 103"/>
                <a:gd name="T34" fmla="*/ 12 w 50"/>
                <a:gd name="T35" fmla="*/ 52 h 103"/>
                <a:gd name="T36" fmla="*/ 2 w 50"/>
                <a:gd name="T37" fmla="*/ 43 h 103"/>
                <a:gd name="T38" fmla="*/ 2 w 50"/>
                <a:gd name="T39" fmla="*/ 26 h 103"/>
                <a:gd name="T40" fmla="*/ 13 w 50"/>
                <a:gd name="T41" fmla="*/ 16 h 103"/>
                <a:gd name="T42" fmla="*/ 24 w 50"/>
                <a:gd name="T43" fmla="*/ 2 h 103"/>
                <a:gd name="T44" fmla="*/ 25 w 50"/>
                <a:gd name="T45" fmla="*/ 1 h 103"/>
                <a:gd name="T46" fmla="*/ 29 w 50"/>
                <a:gd name="T47" fmla="*/ 0 h 103"/>
                <a:gd name="T48" fmla="*/ 33 w 50"/>
                <a:gd name="T49" fmla="*/ 1 h 103"/>
                <a:gd name="T50" fmla="*/ 34 w 50"/>
                <a:gd name="T51" fmla="*/ 3 h 103"/>
                <a:gd name="T52" fmla="*/ 37 w 50"/>
                <a:gd name="T53" fmla="*/ 14 h 103"/>
                <a:gd name="T54" fmla="*/ 43 w 50"/>
                <a:gd name="T55" fmla="*/ 16 h 103"/>
                <a:gd name="T56" fmla="*/ 45 w 50"/>
                <a:gd name="T57" fmla="*/ 19 h 103"/>
                <a:gd name="T58" fmla="*/ 46 w 50"/>
                <a:gd name="T59" fmla="*/ 21 h 103"/>
                <a:gd name="T60" fmla="*/ 46 w 50"/>
                <a:gd name="T61" fmla="*/ 27 h 103"/>
                <a:gd name="T62" fmla="*/ 45 w 50"/>
                <a:gd name="T63" fmla="*/ 29 h 103"/>
                <a:gd name="T64" fmla="*/ 42 w 50"/>
                <a:gd name="T65" fmla="*/ 29 h 103"/>
                <a:gd name="T66" fmla="*/ 34 w 50"/>
                <a:gd name="T67" fmla="*/ 26 h 103"/>
                <a:gd name="T68" fmla="*/ 22 w 50"/>
                <a:gd name="T69" fmla="*/ 25 h 103"/>
                <a:gd name="T70" fmla="*/ 17 w 50"/>
                <a:gd name="T71" fmla="*/ 30 h 103"/>
                <a:gd name="T72" fmla="*/ 18 w 50"/>
                <a:gd name="T73" fmla="*/ 37 h 103"/>
                <a:gd name="T74" fmla="*/ 27 w 50"/>
                <a:gd name="T75" fmla="*/ 43 h 103"/>
                <a:gd name="T76" fmla="*/ 40 w 50"/>
                <a:gd name="T77" fmla="*/ 48 h 103"/>
                <a:gd name="T78" fmla="*/ 49 w 50"/>
                <a:gd name="T79" fmla="*/ 5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0" h="103">
                  <a:moveTo>
                    <a:pt x="50" y="66"/>
                  </a:moveTo>
                  <a:cubicBezTo>
                    <a:pt x="50" y="69"/>
                    <a:pt x="50" y="72"/>
                    <a:pt x="49" y="75"/>
                  </a:cubicBezTo>
                  <a:cubicBezTo>
                    <a:pt x="47" y="77"/>
                    <a:pt x="46" y="80"/>
                    <a:pt x="44" y="82"/>
                  </a:cubicBezTo>
                  <a:cubicBezTo>
                    <a:pt x="41" y="84"/>
                    <a:pt x="39" y="85"/>
                    <a:pt x="36" y="86"/>
                  </a:cubicBezTo>
                  <a:cubicBezTo>
                    <a:pt x="33" y="88"/>
                    <a:pt x="29" y="88"/>
                    <a:pt x="26" y="89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4" y="102"/>
                    <a:pt x="24" y="102"/>
                  </a:cubicBezTo>
                  <a:cubicBezTo>
                    <a:pt x="24" y="102"/>
                    <a:pt x="24" y="102"/>
                    <a:pt x="23" y="102"/>
                  </a:cubicBezTo>
                  <a:cubicBezTo>
                    <a:pt x="23" y="103"/>
                    <a:pt x="22" y="103"/>
                    <a:pt x="22" y="103"/>
                  </a:cubicBezTo>
                  <a:cubicBezTo>
                    <a:pt x="21" y="103"/>
                    <a:pt x="20" y="103"/>
                    <a:pt x="19" y="103"/>
                  </a:cubicBezTo>
                  <a:cubicBezTo>
                    <a:pt x="18" y="103"/>
                    <a:pt x="17" y="103"/>
                    <a:pt x="16" y="103"/>
                  </a:cubicBezTo>
                  <a:cubicBezTo>
                    <a:pt x="16" y="103"/>
                    <a:pt x="15" y="102"/>
                    <a:pt x="15" y="102"/>
                  </a:cubicBezTo>
                  <a:cubicBezTo>
                    <a:pt x="14" y="102"/>
                    <a:pt x="14" y="102"/>
                    <a:pt x="14" y="101"/>
                  </a:cubicBezTo>
                  <a:cubicBezTo>
                    <a:pt x="14" y="101"/>
                    <a:pt x="14" y="101"/>
                    <a:pt x="14" y="100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3" y="88"/>
                    <a:pt x="12" y="88"/>
                    <a:pt x="10" y="88"/>
                  </a:cubicBezTo>
                  <a:cubicBezTo>
                    <a:pt x="9" y="87"/>
                    <a:pt x="7" y="87"/>
                    <a:pt x="6" y="86"/>
                  </a:cubicBezTo>
                  <a:cubicBezTo>
                    <a:pt x="5" y="86"/>
                    <a:pt x="4" y="85"/>
                    <a:pt x="3" y="85"/>
                  </a:cubicBezTo>
                  <a:cubicBezTo>
                    <a:pt x="2" y="85"/>
                    <a:pt x="2" y="84"/>
                    <a:pt x="1" y="84"/>
                  </a:cubicBezTo>
                  <a:cubicBezTo>
                    <a:pt x="1" y="83"/>
                    <a:pt x="0" y="83"/>
                    <a:pt x="0" y="82"/>
                  </a:cubicBezTo>
                  <a:cubicBezTo>
                    <a:pt x="0" y="81"/>
                    <a:pt x="0" y="79"/>
                    <a:pt x="0" y="78"/>
                  </a:cubicBezTo>
                  <a:cubicBezTo>
                    <a:pt x="0" y="76"/>
                    <a:pt x="0" y="75"/>
                    <a:pt x="0" y="75"/>
                  </a:cubicBezTo>
                  <a:cubicBezTo>
                    <a:pt x="0" y="74"/>
                    <a:pt x="0" y="73"/>
                    <a:pt x="0" y="73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1"/>
                    <a:pt x="2" y="71"/>
                    <a:pt x="2" y="71"/>
                  </a:cubicBezTo>
                  <a:cubicBezTo>
                    <a:pt x="3" y="71"/>
                    <a:pt x="3" y="72"/>
                    <a:pt x="4" y="72"/>
                  </a:cubicBezTo>
                  <a:cubicBezTo>
                    <a:pt x="5" y="73"/>
                    <a:pt x="6" y="73"/>
                    <a:pt x="8" y="74"/>
                  </a:cubicBezTo>
                  <a:cubicBezTo>
                    <a:pt x="10" y="75"/>
                    <a:pt x="11" y="75"/>
                    <a:pt x="13" y="76"/>
                  </a:cubicBezTo>
                  <a:cubicBezTo>
                    <a:pt x="16" y="77"/>
                    <a:pt x="18" y="77"/>
                    <a:pt x="21" y="77"/>
                  </a:cubicBezTo>
                  <a:cubicBezTo>
                    <a:pt x="26" y="77"/>
                    <a:pt x="29" y="76"/>
                    <a:pt x="31" y="74"/>
                  </a:cubicBezTo>
                  <a:cubicBezTo>
                    <a:pt x="33" y="73"/>
                    <a:pt x="35" y="70"/>
                    <a:pt x="35" y="68"/>
                  </a:cubicBezTo>
                  <a:cubicBezTo>
                    <a:pt x="35" y="66"/>
                    <a:pt x="34" y="64"/>
                    <a:pt x="33" y="63"/>
                  </a:cubicBezTo>
                  <a:cubicBezTo>
                    <a:pt x="32" y="62"/>
                    <a:pt x="31" y="61"/>
                    <a:pt x="29" y="60"/>
                  </a:cubicBezTo>
                  <a:cubicBezTo>
                    <a:pt x="28" y="59"/>
                    <a:pt x="26" y="58"/>
                    <a:pt x="24" y="57"/>
                  </a:cubicBezTo>
                  <a:cubicBezTo>
                    <a:pt x="22" y="57"/>
                    <a:pt x="20" y="56"/>
                    <a:pt x="18" y="55"/>
                  </a:cubicBezTo>
                  <a:cubicBezTo>
                    <a:pt x="16" y="54"/>
                    <a:pt x="14" y="53"/>
                    <a:pt x="12" y="52"/>
                  </a:cubicBezTo>
                  <a:cubicBezTo>
                    <a:pt x="10" y="51"/>
                    <a:pt x="8" y="50"/>
                    <a:pt x="6" y="48"/>
                  </a:cubicBezTo>
                  <a:cubicBezTo>
                    <a:pt x="5" y="47"/>
                    <a:pt x="3" y="45"/>
                    <a:pt x="2" y="43"/>
                  </a:cubicBezTo>
                  <a:cubicBezTo>
                    <a:pt x="2" y="40"/>
                    <a:pt x="1" y="38"/>
                    <a:pt x="1" y="34"/>
                  </a:cubicBezTo>
                  <a:cubicBezTo>
                    <a:pt x="1" y="31"/>
                    <a:pt x="2" y="29"/>
                    <a:pt x="2" y="26"/>
                  </a:cubicBezTo>
                  <a:cubicBezTo>
                    <a:pt x="3" y="24"/>
                    <a:pt x="5" y="22"/>
                    <a:pt x="7" y="20"/>
                  </a:cubicBezTo>
                  <a:cubicBezTo>
                    <a:pt x="8" y="18"/>
                    <a:pt x="11" y="17"/>
                    <a:pt x="13" y="16"/>
                  </a:cubicBezTo>
                  <a:cubicBezTo>
                    <a:pt x="16" y="15"/>
                    <a:pt x="19" y="14"/>
                    <a:pt x="22" y="1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1"/>
                    <a:pt x="24" y="1"/>
                  </a:cubicBezTo>
                  <a:cubicBezTo>
                    <a:pt x="24" y="1"/>
                    <a:pt x="24" y="1"/>
                    <a:pt x="25" y="1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0"/>
                    <a:pt x="31" y="0"/>
                    <a:pt x="32" y="0"/>
                  </a:cubicBezTo>
                  <a:cubicBezTo>
                    <a:pt x="32" y="0"/>
                    <a:pt x="33" y="0"/>
                    <a:pt x="33" y="1"/>
                  </a:cubicBezTo>
                  <a:cubicBezTo>
                    <a:pt x="34" y="1"/>
                    <a:pt x="34" y="1"/>
                    <a:pt x="34" y="2"/>
                  </a:cubicBezTo>
                  <a:cubicBezTo>
                    <a:pt x="34" y="2"/>
                    <a:pt x="34" y="2"/>
                    <a:pt x="34" y="3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4" y="14"/>
                    <a:pt x="35" y="14"/>
                    <a:pt x="37" y="14"/>
                  </a:cubicBezTo>
                  <a:cubicBezTo>
                    <a:pt x="38" y="15"/>
                    <a:pt x="39" y="15"/>
                    <a:pt x="40" y="15"/>
                  </a:cubicBezTo>
                  <a:cubicBezTo>
                    <a:pt x="41" y="16"/>
                    <a:pt x="42" y="16"/>
                    <a:pt x="43" y="16"/>
                  </a:cubicBezTo>
                  <a:cubicBezTo>
                    <a:pt x="44" y="17"/>
                    <a:pt x="44" y="17"/>
                    <a:pt x="45" y="18"/>
                  </a:cubicBezTo>
                  <a:cubicBezTo>
                    <a:pt x="45" y="18"/>
                    <a:pt x="45" y="18"/>
                    <a:pt x="45" y="19"/>
                  </a:cubicBezTo>
                  <a:cubicBezTo>
                    <a:pt x="46" y="19"/>
                    <a:pt x="46" y="19"/>
                    <a:pt x="46" y="20"/>
                  </a:cubicBezTo>
                  <a:cubicBezTo>
                    <a:pt x="46" y="20"/>
                    <a:pt x="46" y="21"/>
                    <a:pt x="46" y="21"/>
                  </a:cubicBezTo>
                  <a:cubicBezTo>
                    <a:pt x="46" y="22"/>
                    <a:pt x="46" y="23"/>
                    <a:pt x="46" y="24"/>
                  </a:cubicBezTo>
                  <a:cubicBezTo>
                    <a:pt x="46" y="25"/>
                    <a:pt x="46" y="26"/>
                    <a:pt x="46" y="27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30"/>
                    <a:pt x="45" y="30"/>
                    <a:pt x="44" y="30"/>
                  </a:cubicBezTo>
                  <a:cubicBezTo>
                    <a:pt x="44" y="30"/>
                    <a:pt x="43" y="29"/>
                    <a:pt x="42" y="29"/>
                  </a:cubicBezTo>
                  <a:cubicBezTo>
                    <a:pt x="41" y="28"/>
                    <a:pt x="40" y="28"/>
                    <a:pt x="39" y="27"/>
                  </a:cubicBezTo>
                  <a:cubicBezTo>
                    <a:pt x="37" y="27"/>
                    <a:pt x="36" y="26"/>
                    <a:pt x="34" y="26"/>
                  </a:cubicBezTo>
                  <a:cubicBezTo>
                    <a:pt x="32" y="25"/>
                    <a:pt x="30" y="25"/>
                    <a:pt x="28" y="25"/>
                  </a:cubicBezTo>
                  <a:cubicBezTo>
                    <a:pt x="26" y="25"/>
                    <a:pt x="24" y="25"/>
                    <a:pt x="22" y="25"/>
                  </a:cubicBezTo>
                  <a:cubicBezTo>
                    <a:pt x="21" y="26"/>
                    <a:pt x="20" y="26"/>
                    <a:pt x="19" y="27"/>
                  </a:cubicBezTo>
                  <a:cubicBezTo>
                    <a:pt x="18" y="28"/>
                    <a:pt x="17" y="29"/>
                    <a:pt x="17" y="30"/>
                  </a:cubicBezTo>
                  <a:cubicBezTo>
                    <a:pt x="17" y="31"/>
                    <a:pt x="16" y="32"/>
                    <a:pt x="16" y="33"/>
                  </a:cubicBezTo>
                  <a:cubicBezTo>
                    <a:pt x="16" y="35"/>
                    <a:pt x="17" y="36"/>
                    <a:pt x="18" y="37"/>
                  </a:cubicBezTo>
                  <a:cubicBezTo>
                    <a:pt x="19" y="39"/>
                    <a:pt x="20" y="40"/>
                    <a:pt x="22" y="41"/>
                  </a:cubicBezTo>
                  <a:cubicBezTo>
                    <a:pt x="23" y="41"/>
                    <a:pt x="25" y="42"/>
                    <a:pt x="27" y="43"/>
                  </a:cubicBezTo>
                  <a:cubicBezTo>
                    <a:pt x="29" y="44"/>
                    <a:pt x="31" y="44"/>
                    <a:pt x="33" y="45"/>
                  </a:cubicBezTo>
                  <a:cubicBezTo>
                    <a:pt x="35" y="46"/>
                    <a:pt x="38" y="47"/>
                    <a:pt x="40" y="48"/>
                  </a:cubicBezTo>
                  <a:cubicBezTo>
                    <a:pt x="42" y="49"/>
                    <a:pt x="43" y="50"/>
                    <a:pt x="45" y="52"/>
                  </a:cubicBezTo>
                  <a:cubicBezTo>
                    <a:pt x="47" y="54"/>
                    <a:pt x="48" y="56"/>
                    <a:pt x="49" y="58"/>
                  </a:cubicBezTo>
                  <a:cubicBezTo>
                    <a:pt x="50" y="60"/>
                    <a:pt x="50" y="63"/>
                    <a:pt x="50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7" name="Oval 171">
              <a:extLst>
                <a:ext uri="{FF2B5EF4-FFF2-40B4-BE49-F238E27FC236}">
                  <a16:creationId xmlns:a16="http://schemas.microsoft.com/office/drawing/2014/main" xmlns="" id="{E688FB22-9EEB-4C71-BC10-4B545F89D0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2331" y="3655176"/>
              <a:ext cx="157198" cy="158246"/>
            </a:xfrm>
            <a:prstGeom prst="ellipse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8" name="Freeform 172">
              <a:extLst>
                <a:ext uri="{FF2B5EF4-FFF2-40B4-BE49-F238E27FC236}">
                  <a16:creationId xmlns:a16="http://schemas.microsoft.com/office/drawing/2014/main" xmlns="" id="{3F811E5D-B76E-4F38-904B-79313D4F4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970" y="3688712"/>
              <a:ext cx="41919" cy="85935"/>
            </a:xfrm>
            <a:custGeom>
              <a:avLst/>
              <a:gdLst>
                <a:gd name="T0" fmla="*/ 43 w 45"/>
                <a:gd name="T1" fmla="*/ 67 h 92"/>
                <a:gd name="T2" fmla="*/ 32 w 45"/>
                <a:gd name="T3" fmla="*/ 77 h 92"/>
                <a:gd name="T4" fmla="*/ 22 w 45"/>
                <a:gd name="T5" fmla="*/ 90 h 92"/>
                <a:gd name="T6" fmla="*/ 21 w 45"/>
                <a:gd name="T7" fmla="*/ 92 h 92"/>
                <a:gd name="T8" fmla="*/ 17 w 45"/>
                <a:gd name="T9" fmla="*/ 92 h 92"/>
                <a:gd name="T10" fmla="*/ 13 w 45"/>
                <a:gd name="T11" fmla="*/ 91 h 92"/>
                <a:gd name="T12" fmla="*/ 12 w 45"/>
                <a:gd name="T13" fmla="*/ 90 h 92"/>
                <a:gd name="T14" fmla="*/ 9 w 45"/>
                <a:gd name="T15" fmla="*/ 78 h 92"/>
                <a:gd name="T16" fmla="*/ 3 w 45"/>
                <a:gd name="T17" fmla="*/ 76 h 92"/>
                <a:gd name="T18" fmla="*/ 0 w 45"/>
                <a:gd name="T19" fmla="*/ 73 h 92"/>
                <a:gd name="T20" fmla="*/ 0 w 45"/>
                <a:gd name="T21" fmla="*/ 66 h 92"/>
                <a:gd name="T22" fmla="*/ 1 w 45"/>
                <a:gd name="T23" fmla="*/ 64 h 92"/>
                <a:gd name="T24" fmla="*/ 4 w 45"/>
                <a:gd name="T25" fmla="*/ 64 h 92"/>
                <a:gd name="T26" fmla="*/ 12 w 45"/>
                <a:gd name="T27" fmla="*/ 68 h 92"/>
                <a:gd name="T28" fmla="*/ 28 w 45"/>
                <a:gd name="T29" fmla="*/ 66 h 92"/>
                <a:gd name="T30" fmla="*/ 30 w 45"/>
                <a:gd name="T31" fmla="*/ 56 h 92"/>
                <a:gd name="T32" fmla="*/ 21 w 45"/>
                <a:gd name="T33" fmla="*/ 51 h 92"/>
                <a:gd name="T34" fmla="*/ 10 w 45"/>
                <a:gd name="T35" fmla="*/ 47 h 92"/>
                <a:gd name="T36" fmla="*/ 2 w 45"/>
                <a:gd name="T37" fmla="*/ 38 h 92"/>
                <a:gd name="T38" fmla="*/ 2 w 45"/>
                <a:gd name="T39" fmla="*/ 23 h 92"/>
                <a:gd name="T40" fmla="*/ 12 w 45"/>
                <a:gd name="T41" fmla="*/ 14 h 92"/>
                <a:gd name="T42" fmla="*/ 21 w 45"/>
                <a:gd name="T43" fmla="*/ 1 h 92"/>
                <a:gd name="T44" fmla="*/ 22 w 45"/>
                <a:gd name="T45" fmla="*/ 0 h 92"/>
                <a:gd name="T46" fmla="*/ 25 w 45"/>
                <a:gd name="T47" fmla="*/ 0 h 92"/>
                <a:gd name="T48" fmla="*/ 30 w 45"/>
                <a:gd name="T49" fmla="*/ 0 h 92"/>
                <a:gd name="T50" fmla="*/ 31 w 45"/>
                <a:gd name="T51" fmla="*/ 2 h 92"/>
                <a:gd name="T52" fmla="*/ 33 w 45"/>
                <a:gd name="T53" fmla="*/ 12 h 92"/>
                <a:gd name="T54" fmla="*/ 38 w 45"/>
                <a:gd name="T55" fmla="*/ 14 h 92"/>
                <a:gd name="T56" fmla="*/ 41 w 45"/>
                <a:gd name="T57" fmla="*/ 16 h 92"/>
                <a:gd name="T58" fmla="*/ 41 w 45"/>
                <a:gd name="T59" fmla="*/ 19 h 92"/>
                <a:gd name="T60" fmla="*/ 41 w 45"/>
                <a:gd name="T61" fmla="*/ 24 h 92"/>
                <a:gd name="T62" fmla="*/ 40 w 45"/>
                <a:gd name="T63" fmla="*/ 26 h 92"/>
                <a:gd name="T64" fmla="*/ 38 w 45"/>
                <a:gd name="T65" fmla="*/ 25 h 92"/>
                <a:gd name="T66" fmla="*/ 30 w 45"/>
                <a:gd name="T67" fmla="*/ 23 h 92"/>
                <a:gd name="T68" fmla="*/ 20 w 45"/>
                <a:gd name="T69" fmla="*/ 22 h 92"/>
                <a:gd name="T70" fmla="*/ 15 w 45"/>
                <a:gd name="T71" fmla="*/ 26 h 92"/>
                <a:gd name="T72" fmla="*/ 16 w 45"/>
                <a:gd name="T73" fmla="*/ 33 h 92"/>
                <a:gd name="T74" fmla="*/ 24 w 45"/>
                <a:gd name="T75" fmla="*/ 38 h 92"/>
                <a:gd name="T76" fmla="*/ 35 w 45"/>
                <a:gd name="T77" fmla="*/ 43 h 92"/>
                <a:gd name="T78" fmla="*/ 44 w 45"/>
                <a:gd name="T79" fmla="*/ 5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5" h="92">
                  <a:moveTo>
                    <a:pt x="45" y="59"/>
                  </a:moveTo>
                  <a:cubicBezTo>
                    <a:pt x="45" y="62"/>
                    <a:pt x="44" y="64"/>
                    <a:pt x="43" y="67"/>
                  </a:cubicBezTo>
                  <a:cubicBezTo>
                    <a:pt x="42" y="69"/>
                    <a:pt x="41" y="71"/>
                    <a:pt x="39" y="73"/>
                  </a:cubicBezTo>
                  <a:cubicBezTo>
                    <a:pt x="37" y="75"/>
                    <a:pt x="35" y="76"/>
                    <a:pt x="32" y="77"/>
                  </a:cubicBezTo>
                  <a:cubicBezTo>
                    <a:pt x="29" y="78"/>
                    <a:pt x="26" y="79"/>
                    <a:pt x="23" y="79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1"/>
                    <a:pt x="22" y="91"/>
                    <a:pt x="21" y="91"/>
                  </a:cubicBezTo>
                  <a:cubicBezTo>
                    <a:pt x="21" y="91"/>
                    <a:pt x="21" y="91"/>
                    <a:pt x="21" y="92"/>
                  </a:cubicBezTo>
                  <a:cubicBezTo>
                    <a:pt x="20" y="92"/>
                    <a:pt x="20" y="92"/>
                    <a:pt x="19" y="92"/>
                  </a:cubicBezTo>
                  <a:cubicBezTo>
                    <a:pt x="19" y="92"/>
                    <a:pt x="18" y="92"/>
                    <a:pt x="17" y="92"/>
                  </a:cubicBezTo>
                  <a:cubicBezTo>
                    <a:pt x="16" y="92"/>
                    <a:pt x="15" y="92"/>
                    <a:pt x="15" y="92"/>
                  </a:cubicBezTo>
                  <a:cubicBezTo>
                    <a:pt x="14" y="92"/>
                    <a:pt x="13" y="92"/>
                    <a:pt x="13" y="91"/>
                  </a:cubicBezTo>
                  <a:cubicBezTo>
                    <a:pt x="13" y="91"/>
                    <a:pt x="12" y="91"/>
                    <a:pt x="12" y="91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9"/>
                    <a:pt x="10" y="79"/>
                    <a:pt x="9" y="78"/>
                  </a:cubicBezTo>
                  <a:cubicBezTo>
                    <a:pt x="8" y="78"/>
                    <a:pt x="6" y="78"/>
                    <a:pt x="5" y="77"/>
                  </a:cubicBezTo>
                  <a:cubicBezTo>
                    <a:pt x="4" y="77"/>
                    <a:pt x="3" y="76"/>
                    <a:pt x="3" y="76"/>
                  </a:cubicBezTo>
                  <a:cubicBezTo>
                    <a:pt x="2" y="75"/>
                    <a:pt x="1" y="75"/>
                    <a:pt x="1" y="75"/>
                  </a:cubicBezTo>
                  <a:cubicBezTo>
                    <a:pt x="0" y="74"/>
                    <a:pt x="0" y="74"/>
                    <a:pt x="0" y="73"/>
                  </a:cubicBezTo>
                  <a:cubicBezTo>
                    <a:pt x="0" y="72"/>
                    <a:pt x="0" y="71"/>
                    <a:pt x="0" y="69"/>
                  </a:cubicBezTo>
                  <a:cubicBezTo>
                    <a:pt x="0" y="68"/>
                    <a:pt x="0" y="67"/>
                    <a:pt x="0" y="66"/>
                  </a:cubicBezTo>
                  <a:cubicBezTo>
                    <a:pt x="0" y="66"/>
                    <a:pt x="0" y="65"/>
                    <a:pt x="0" y="65"/>
                  </a:cubicBezTo>
                  <a:cubicBezTo>
                    <a:pt x="0" y="64"/>
                    <a:pt x="1" y="64"/>
                    <a:pt x="1" y="64"/>
                  </a:cubicBezTo>
                  <a:cubicBezTo>
                    <a:pt x="1" y="64"/>
                    <a:pt x="1" y="64"/>
                    <a:pt x="2" y="64"/>
                  </a:cubicBezTo>
                  <a:cubicBezTo>
                    <a:pt x="2" y="64"/>
                    <a:pt x="3" y="64"/>
                    <a:pt x="4" y="64"/>
                  </a:cubicBezTo>
                  <a:cubicBezTo>
                    <a:pt x="5" y="65"/>
                    <a:pt x="6" y="65"/>
                    <a:pt x="7" y="66"/>
                  </a:cubicBezTo>
                  <a:cubicBezTo>
                    <a:pt x="8" y="67"/>
                    <a:pt x="10" y="67"/>
                    <a:pt x="12" y="68"/>
                  </a:cubicBezTo>
                  <a:cubicBezTo>
                    <a:pt x="14" y="68"/>
                    <a:pt x="16" y="69"/>
                    <a:pt x="19" y="69"/>
                  </a:cubicBezTo>
                  <a:cubicBezTo>
                    <a:pt x="23" y="69"/>
                    <a:pt x="26" y="68"/>
                    <a:pt x="28" y="66"/>
                  </a:cubicBezTo>
                  <a:cubicBezTo>
                    <a:pt x="30" y="65"/>
                    <a:pt x="31" y="63"/>
                    <a:pt x="31" y="60"/>
                  </a:cubicBezTo>
                  <a:cubicBezTo>
                    <a:pt x="31" y="59"/>
                    <a:pt x="30" y="57"/>
                    <a:pt x="30" y="56"/>
                  </a:cubicBezTo>
                  <a:cubicBezTo>
                    <a:pt x="29" y="55"/>
                    <a:pt x="28" y="54"/>
                    <a:pt x="26" y="53"/>
                  </a:cubicBezTo>
                  <a:cubicBezTo>
                    <a:pt x="25" y="53"/>
                    <a:pt x="23" y="52"/>
                    <a:pt x="21" y="51"/>
                  </a:cubicBezTo>
                  <a:cubicBezTo>
                    <a:pt x="19" y="51"/>
                    <a:pt x="18" y="50"/>
                    <a:pt x="16" y="49"/>
                  </a:cubicBezTo>
                  <a:cubicBezTo>
                    <a:pt x="14" y="48"/>
                    <a:pt x="12" y="48"/>
                    <a:pt x="10" y="47"/>
                  </a:cubicBezTo>
                  <a:cubicBezTo>
                    <a:pt x="8" y="46"/>
                    <a:pt x="7" y="44"/>
                    <a:pt x="5" y="43"/>
                  </a:cubicBezTo>
                  <a:cubicBezTo>
                    <a:pt x="4" y="42"/>
                    <a:pt x="3" y="40"/>
                    <a:pt x="2" y="38"/>
                  </a:cubicBezTo>
                  <a:cubicBezTo>
                    <a:pt x="1" y="36"/>
                    <a:pt x="1" y="33"/>
                    <a:pt x="1" y="30"/>
                  </a:cubicBezTo>
                  <a:cubicBezTo>
                    <a:pt x="1" y="28"/>
                    <a:pt x="1" y="25"/>
                    <a:pt x="2" y="23"/>
                  </a:cubicBezTo>
                  <a:cubicBezTo>
                    <a:pt x="3" y="21"/>
                    <a:pt x="4" y="19"/>
                    <a:pt x="6" y="18"/>
                  </a:cubicBezTo>
                  <a:cubicBezTo>
                    <a:pt x="7" y="16"/>
                    <a:pt x="9" y="15"/>
                    <a:pt x="12" y="14"/>
                  </a:cubicBezTo>
                  <a:cubicBezTo>
                    <a:pt x="14" y="13"/>
                    <a:pt x="17" y="12"/>
                    <a:pt x="20" y="1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24" y="0"/>
                    <a:pt x="25" y="0"/>
                    <a:pt x="25" y="0"/>
                  </a:cubicBezTo>
                  <a:cubicBezTo>
                    <a:pt x="27" y="0"/>
                    <a:pt x="27" y="0"/>
                    <a:pt x="28" y="0"/>
                  </a:cubicBezTo>
                  <a:cubicBezTo>
                    <a:pt x="29" y="0"/>
                    <a:pt x="29" y="0"/>
                    <a:pt x="30" y="0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1"/>
                    <a:pt x="31" y="2"/>
                    <a:pt x="31" y="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2"/>
                    <a:pt x="32" y="12"/>
                    <a:pt x="33" y="12"/>
                  </a:cubicBezTo>
                  <a:cubicBezTo>
                    <a:pt x="34" y="13"/>
                    <a:pt x="35" y="13"/>
                    <a:pt x="36" y="13"/>
                  </a:cubicBezTo>
                  <a:cubicBezTo>
                    <a:pt x="37" y="14"/>
                    <a:pt x="38" y="14"/>
                    <a:pt x="38" y="14"/>
                  </a:cubicBezTo>
                  <a:cubicBezTo>
                    <a:pt x="39" y="15"/>
                    <a:pt x="40" y="15"/>
                    <a:pt x="40" y="15"/>
                  </a:cubicBezTo>
                  <a:cubicBezTo>
                    <a:pt x="40" y="16"/>
                    <a:pt x="40" y="16"/>
                    <a:pt x="41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41" y="20"/>
                    <a:pt x="41" y="21"/>
                  </a:cubicBezTo>
                  <a:cubicBezTo>
                    <a:pt x="41" y="22"/>
                    <a:pt x="41" y="23"/>
                    <a:pt x="41" y="24"/>
                  </a:cubicBezTo>
                  <a:cubicBezTo>
                    <a:pt x="41" y="24"/>
                    <a:pt x="41" y="25"/>
                    <a:pt x="41" y="25"/>
                  </a:cubicBezTo>
                  <a:cubicBezTo>
                    <a:pt x="41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6"/>
                    <a:pt x="39" y="26"/>
                    <a:pt x="38" y="25"/>
                  </a:cubicBezTo>
                  <a:cubicBezTo>
                    <a:pt x="37" y="25"/>
                    <a:pt x="36" y="25"/>
                    <a:pt x="34" y="24"/>
                  </a:cubicBezTo>
                  <a:cubicBezTo>
                    <a:pt x="33" y="23"/>
                    <a:pt x="32" y="23"/>
                    <a:pt x="30" y="23"/>
                  </a:cubicBezTo>
                  <a:cubicBezTo>
                    <a:pt x="28" y="22"/>
                    <a:pt x="27" y="22"/>
                    <a:pt x="25" y="22"/>
                  </a:cubicBezTo>
                  <a:cubicBezTo>
                    <a:pt x="23" y="22"/>
                    <a:pt x="21" y="22"/>
                    <a:pt x="20" y="22"/>
                  </a:cubicBezTo>
                  <a:cubicBezTo>
                    <a:pt x="19" y="23"/>
                    <a:pt x="18" y="23"/>
                    <a:pt x="17" y="24"/>
                  </a:cubicBezTo>
                  <a:cubicBezTo>
                    <a:pt x="16" y="24"/>
                    <a:pt x="15" y="25"/>
                    <a:pt x="15" y="26"/>
                  </a:cubicBezTo>
                  <a:cubicBezTo>
                    <a:pt x="15" y="27"/>
                    <a:pt x="15" y="28"/>
                    <a:pt x="15" y="29"/>
                  </a:cubicBezTo>
                  <a:cubicBezTo>
                    <a:pt x="15" y="31"/>
                    <a:pt x="15" y="32"/>
                    <a:pt x="16" y="33"/>
                  </a:cubicBezTo>
                  <a:cubicBezTo>
                    <a:pt x="17" y="34"/>
                    <a:pt x="18" y="35"/>
                    <a:pt x="19" y="36"/>
                  </a:cubicBezTo>
                  <a:cubicBezTo>
                    <a:pt x="21" y="37"/>
                    <a:pt x="22" y="37"/>
                    <a:pt x="24" y="38"/>
                  </a:cubicBezTo>
                  <a:cubicBezTo>
                    <a:pt x="26" y="39"/>
                    <a:pt x="28" y="40"/>
                    <a:pt x="30" y="40"/>
                  </a:cubicBezTo>
                  <a:cubicBezTo>
                    <a:pt x="32" y="41"/>
                    <a:pt x="34" y="42"/>
                    <a:pt x="35" y="43"/>
                  </a:cubicBezTo>
                  <a:cubicBezTo>
                    <a:pt x="37" y="44"/>
                    <a:pt x="39" y="45"/>
                    <a:pt x="40" y="46"/>
                  </a:cubicBezTo>
                  <a:cubicBezTo>
                    <a:pt x="42" y="48"/>
                    <a:pt x="43" y="49"/>
                    <a:pt x="44" y="51"/>
                  </a:cubicBezTo>
                  <a:cubicBezTo>
                    <a:pt x="45" y="53"/>
                    <a:pt x="45" y="56"/>
                    <a:pt x="45" y="5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9" name="Freeform 173">
              <a:extLst>
                <a:ext uri="{FF2B5EF4-FFF2-40B4-BE49-F238E27FC236}">
                  <a16:creationId xmlns:a16="http://schemas.microsoft.com/office/drawing/2014/main" xmlns="" id="{E7F85FB8-0526-458F-A0EF-8FA3DEEA1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930" y="3125944"/>
              <a:ext cx="798565" cy="295532"/>
            </a:xfrm>
            <a:custGeom>
              <a:avLst/>
              <a:gdLst>
                <a:gd name="T0" fmla="*/ 852 w 853"/>
                <a:gd name="T1" fmla="*/ 0 h 316"/>
                <a:gd name="T2" fmla="*/ 255 w 853"/>
                <a:gd name="T3" fmla="*/ 2 h 316"/>
                <a:gd name="T4" fmla="*/ 218 w 853"/>
                <a:gd name="T5" fmla="*/ 10 h 316"/>
                <a:gd name="T6" fmla="*/ 32 w 853"/>
                <a:gd name="T7" fmla="*/ 251 h 316"/>
                <a:gd name="T8" fmla="*/ 33 w 853"/>
                <a:gd name="T9" fmla="*/ 251 h 316"/>
                <a:gd name="T10" fmla="*/ 0 w 853"/>
                <a:gd name="T11" fmla="*/ 283 h 316"/>
                <a:gd name="T12" fmla="*/ 33 w 853"/>
                <a:gd name="T13" fmla="*/ 316 h 316"/>
                <a:gd name="T14" fmla="*/ 147 w 853"/>
                <a:gd name="T15" fmla="*/ 316 h 316"/>
                <a:gd name="T16" fmla="*/ 180 w 853"/>
                <a:gd name="T17" fmla="*/ 283 h 316"/>
                <a:gd name="T18" fmla="*/ 147 w 853"/>
                <a:gd name="T19" fmla="*/ 251 h 316"/>
                <a:gd name="T20" fmla="*/ 159 w 853"/>
                <a:gd name="T21" fmla="*/ 251 h 316"/>
                <a:gd name="T22" fmla="*/ 250 w 853"/>
                <a:gd name="T23" fmla="*/ 125 h 316"/>
                <a:gd name="T24" fmla="*/ 852 w 853"/>
                <a:gd name="T25" fmla="*/ 127 h 316"/>
                <a:gd name="T26" fmla="*/ 853 w 853"/>
                <a:gd name="T27" fmla="*/ 125 h 316"/>
                <a:gd name="T28" fmla="*/ 853 w 853"/>
                <a:gd name="T29" fmla="*/ 10 h 316"/>
                <a:gd name="T30" fmla="*/ 853 w 853"/>
                <a:gd name="T31" fmla="*/ 2 h 316"/>
                <a:gd name="T32" fmla="*/ 852 w 853"/>
                <a:gd name="T33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3" h="316">
                  <a:moveTo>
                    <a:pt x="852" y="0"/>
                  </a:moveTo>
                  <a:cubicBezTo>
                    <a:pt x="255" y="2"/>
                    <a:pt x="255" y="2"/>
                    <a:pt x="255" y="2"/>
                  </a:cubicBezTo>
                  <a:cubicBezTo>
                    <a:pt x="242" y="4"/>
                    <a:pt x="230" y="7"/>
                    <a:pt x="218" y="10"/>
                  </a:cubicBezTo>
                  <a:cubicBezTo>
                    <a:pt x="111" y="40"/>
                    <a:pt x="32" y="136"/>
                    <a:pt x="32" y="251"/>
                  </a:cubicBezTo>
                  <a:cubicBezTo>
                    <a:pt x="33" y="251"/>
                    <a:pt x="33" y="251"/>
                    <a:pt x="33" y="251"/>
                  </a:cubicBezTo>
                  <a:cubicBezTo>
                    <a:pt x="15" y="251"/>
                    <a:pt x="0" y="265"/>
                    <a:pt x="0" y="283"/>
                  </a:cubicBezTo>
                  <a:cubicBezTo>
                    <a:pt x="0" y="302"/>
                    <a:pt x="15" y="316"/>
                    <a:pt x="33" y="316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66" y="316"/>
                    <a:pt x="180" y="302"/>
                    <a:pt x="180" y="283"/>
                  </a:cubicBezTo>
                  <a:cubicBezTo>
                    <a:pt x="180" y="265"/>
                    <a:pt x="166" y="251"/>
                    <a:pt x="147" y="251"/>
                  </a:cubicBezTo>
                  <a:cubicBezTo>
                    <a:pt x="159" y="251"/>
                    <a:pt x="159" y="251"/>
                    <a:pt x="159" y="251"/>
                  </a:cubicBezTo>
                  <a:cubicBezTo>
                    <a:pt x="159" y="193"/>
                    <a:pt x="195" y="139"/>
                    <a:pt x="250" y="125"/>
                  </a:cubicBezTo>
                  <a:cubicBezTo>
                    <a:pt x="852" y="127"/>
                    <a:pt x="852" y="127"/>
                    <a:pt x="852" y="127"/>
                  </a:cubicBezTo>
                  <a:cubicBezTo>
                    <a:pt x="853" y="127"/>
                    <a:pt x="853" y="126"/>
                    <a:pt x="853" y="125"/>
                  </a:cubicBezTo>
                  <a:cubicBezTo>
                    <a:pt x="853" y="10"/>
                    <a:pt x="853" y="10"/>
                    <a:pt x="853" y="10"/>
                  </a:cubicBezTo>
                  <a:cubicBezTo>
                    <a:pt x="853" y="2"/>
                    <a:pt x="853" y="2"/>
                    <a:pt x="853" y="2"/>
                  </a:cubicBezTo>
                  <a:cubicBezTo>
                    <a:pt x="853" y="1"/>
                    <a:pt x="853" y="0"/>
                    <a:pt x="852" y="0"/>
                  </a:cubicBez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0" name="Freeform 174">
              <a:extLst>
                <a:ext uri="{FF2B5EF4-FFF2-40B4-BE49-F238E27FC236}">
                  <a16:creationId xmlns:a16="http://schemas.microsoft.com/office/drawing/2014/main" xmlns="" id="{D527878D-0447-4912-B516-762A7AD82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164" y="2923683"/>
              <a:ext cx="191781" cy="202261"/>
            </a:xfrm>
            <a:custGeom>
              <a:avLst/>
              <a:gdLst>
                <a:gd name="T0" fmla="*/ 2 w 204"/>
                <a:gd name="T1" fmla="*/ 111 h 216"/>
                <a:gd name="T2" fmla="*/ 42 w 204"/>
                <a:gd name="T3" fmla="*/ 111 h 216"/>
                <a:gd name="T4" fmla="*/ 41 w 204"/>
                <a:gd name="T5" fmla="*/ 112 h 216"/>
                <a:gd name="T6" fmla="*/ 41 w 204"/>
                <a:gd name="T7" fmla="*/ 215 h 216"/>
                <a:gd name="T8" fmla="*/ 42 w 204"/>
                <a:gd name="T9" fmla="*/ 216 h 216"/>
                <a:gd name="T10" fmla="*/ 101 w 204"/>
                <a:gd name="T11" fmla="*/ 216 h 216"/>
                <a:gd name="T12" fmla="*/ 161 w 204"/>
                <a:gd name="T13" fmla="*/ 216 h 216"/>
                <a:gd name="T14" fmla="*/ 161 w 204"/>
                <a:gd name="T15" fmla="*/ 215 h 216"/>
                <a:gd name="T16" fmla="*/ 161 w 204"/>
                <a:gd name="T17" fmla="*/ 112 h 216"/>
                <a:gd name="T18" fmla="*/ 161 w 204"/>
                <a:gd name="T19" fmla="*/ 111 h 216"/>
                <a:gd name="T20" fmla="*/ 203 w 204"/>
                <a:gd name="T21" fmla="*/ 111 h 216"/>
                <a:gd name="T22" fmla="*/ 204 w 204"/>
                <a:gd name="T23" fmla="*/ 109 h 216"/>
                <a:gd name="T24" fmla="*/ 204 w 204"/>
                <a:gd name="T25" fmla="*/ 55 h 216"/>
                <a:gd name="T26" fmla="*/ 204 w 204"/>
                <a:gd name="T27" fmla="*/ 1 h 216"/>
                <a:gd name="T28" fmla="*/ 203 w 204"/>
                <a:gd name="T29" fmla="*/ 0 h 216"/>
                <a:gd name="T30" fmla="*/ 102 w 204"/>
                <a:gd name="T31" fmla="*/ 0 h 216"/>
                <a:gd name="T32" fmla="*/ 2 w 204"/>
                <a:gd name="T33" fmla="*/ 0 h 216"/>
                <a:gd name="T34" fmla="*/ 0 w 204"/>
                <a:gd name="T35" fmla="*/ 1 h 216"/>
                <a:gd name="T36" fmla="*/ 0 w 204"/>
                <a:gd name="T37" fmla="*/ 55 h 216"/>
                <a:gd name="T38" fmla="*/ 0 w 204"/>
                <a:gd name="T39" fmla="*/ 109 h 216"/>
                <a:gd name="T40" fmla="*/ 2 w 204"/>
                <a:gd name="T41" fmla="*/ 11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4" h="216">
                  <a:moveTo>
                    <a:pt x="2" y="111"/>
                  </a:moveTo>
                  <a:cubicBezTo>
                    <a:pt x="42" y="111"/>
                    <a:pt x="42" y="111"/>
                    <a:pt x="42" y="111"/>
                  </a:cubicBezTo>
                  <a:cubicBezTo>
                    <a:pt x="41" y="111"/>
                    <a:pt x="41" y="111"/>
                    <a:pt x="41" y="112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41" y="216"/>
                    <a:pt x="41" y="216"/>
                    <a:pt x="42" y="216"/>
                  </a:cubicBezTo>
                  <a:cubicBezTo>
                    <a:pt x="101" y="216"/>
                    <a:pt x="101" y="216"/>
                    <a:pt x="101" y="216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1" y="216"/>
                    <a:pt x="161" y="216"/>
                    <a:pt x="161" y="215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203" y="111"/>
                    <a:pt x="203" y="111"/>
                    <a:pt x="203" y="111"/>
                  </a:cubicBezTo>
                  <a:cubicBezTo>
                    <a:pt x="204" y="111"/>
                    <a:pt x="204" y="110"/>
                    <a:pt x="204" y="109"/>
                  </a:cubicBezTo>
                  <a:cubicBezTo>
                    <a:pt x="204" y="55"/>
                    <a:pt x="204" y="55"/>
                    <a:pt x="204" y="55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4" y="1"/>
                    <a:pt x="204" y="0"/>
                    <a:pt x="203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1" y="111"/>
                    <a:pt x="2" y="111"/>
                  </a:cubicBez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1" name="Freeform 175">
              <a:extLst>
                <a:ext uri="{FF2B5EF4-FFF2-40B4-BE49-F238E27FC236}">
                  <a16:creationId xmlns:a16="http://schemas.microsoft.com/office/drawing/2014/main" xmlns="" id="{6DA65D6F-E771-42F1-9FE6-8E156EF16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487" y="2944642"/>
              <a:ext cx="167678" cy="61831"/>
            </a:xfrm>
            <a:custGeom>
              <a:avLst/>
              <a:gdLst>
                <a:gd name="T0" fmla="*/ 33 w 180"/>
                <a:gd name="T1" fmla="*/ 66 h 66"/>
                <a:gd name="T2" fmla="*/ 148 w 180"/>
                <a:gd name="T3" fmla="*/ 66 h 66"/>
                <a:gd name="T4" fmla="*/ 180 w 180"/>
                <a:gd name="T5" fmla="*/ 33 h 66"/>
                <a:gd name="T6" fmla="*/ 148 w 180"/>
                <a:gd name="T7" fmla="*/ 0 h 66"/>
                <a:gd name="T8" fmla="*/ 33 w 180"/>
                <a:gd name="T9" fmla="*/ 0 h 66"/>
                <a:gd name="T10" fmla="*/ 0 w 180"/>
                <a:gd name="T11" fmla="*/ 33 h 66"/>
                <a:gd name="T12" fmla="*/ 33 w 180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66">
                  <a:moveTo>
                    <a:pt x="33" y="66"/>
                  </a:moveTo>
                  <a:cubicBezTo>
                    <a:pt x="148" y="66"/>
                    <a:pt x="148" y="66"/>
                    <a:pt x="148" y="66"/>
                  </a:cubicBezTo>
                  <a:cubicBezTo>
                    <a:pt x="166" y="66"/>
                    <a:pt x="180" y="51"/>
                    <a:pt x="180" y="33"/>
                  </a:cubicBezTo>
                  <a:cubicBezTo>
                    <a:pt x="180" y="15"/>
                    <a:pt x="166" y="0"/>
                    <a:pt x="148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2" name="Freeform 176">
              <a:extLst>
                <a:ext uri="{FF2B5EF4-FFF2-40B4-BE49-F238E27FC236}">
                  <a16:creationId xmlns:a16="http://schemas.microsoft.com/office/drawing/2014/main" xmlns="" id="{A31C7718-77C9-4027-B4ED-F22CC15A0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946" y="2944642"/>
              <a:ext cx="168726" cy="61831"/>
            </a:xfrm>
            <a:custGeom>
              <a:avLst/>
              <a:gdLst>
                <a:gd name="T0" fmla="*/ 33 w 181"/>
                <a:gd name="T1" fmla="*/ 66 h 66"/>
                <a:gd name="T2" fmla="*/ 148 w 181"/>
                <a:gd name="T3" fmla="*/ 66 h 66"/>
                <a:gd name="T4" fmla="*/ 181 w 181"/>
                <a:gd name="T5" fmla="*/ 33 h 66"/>
                <a:gd name="T6" fmla="*/ 148 w 181"/>
                <a:gd name="T7" fmla="*/ 0 h 66"/>
                <a:gd name="T8" fmla="*/ 33 w 181"/>
                <a:gd name="T9" fmla="*/ 0 h 66"/>
                <a:gd name="T10" fmla="*/ 0 w 181"/>
                <a:gd name="T11" fmla="*/ 33 h 66"/>
                <a:gd name="T12" fmla="*/ 33 w 181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66">
                  <a:moveTo>
                    <a:pt x="33" y="66"/>
                  </a:moveTo>
                  <a:cubicBezTo>
                    <a:pt x="148" y="66"/>
                    <a:pt x="148" y="66"/>
                    <a:pt x="148" y="66"/>
                  </a:cubicBezTo>
                  <a:cubicBezTo>
                    <a:pt x="166" y="66"/>
                    <a:pt x="181" y="51"/>
                    <a:pt x="181" y="33"/>
                  </a:cubicBezTo>
                  <a:cubicBezTo>
                    <a:pt x="181" y="15"/>
                    <a:pt x="166" y="0"/>
                    <a:pt x="148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xmlns="" id="{8816147B-C6FC-41D0-B763-E504DFCBDE5A}"/>
              </a:ext>
            </a:extLst>
          </p:cNvPr>
          <p:cNvGrpSpPr/>
          <p:nvPr/>
        </p:nvGrpSpPr>
        <p:grpSpPr>
          <a:xfrm>
            <a:off x="4744090" y="1642574"/>
            <a:ext cx="634560" cy="1272468"/>
            <a:chOff x="5683684" y="3713863"/>
            <a:chExt cx="595256" cy="1193655"/>
          </a:xfrm>
        </p:grpSpPr>
        <p:sp>
          <p:nvSpPr>
            <p:cNvPr id="178" name="Freeform 208">
              <a:extLst>
                <a:ext uri="{FF2B5EF4-FFF2-40B4-BE49-F238E27FC236}">
                  <a16:creationId xmlns:a16="http://schemas.microsoft.com/office/drawing/2014/main" xmlns="" id="{D908B7C8-BCDA-47AC-8465-ABB61985E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684" y="4656002"/>
              <a:ext cx="294484" cy="212741"/>
            </a:xfrm>
            <a:custGeom>
              <a:avLst/>
              <a:gdLst>
                <a:gd name="T0" fmla="*/ 314 w 314"/>
                <a:gd name="T1" fmla="*/ 200 h 227"/>
                <a:gd name="T2" fmla="*/ 121 w 314"/>
                <a:gd name="T3" fmla="*/ 179 h 227"/>
                <a:gd name="T4" fmla="*/ 0 w 314"/>
                <a:gd name="T5" fmla="*/ 26 h 227"/>
                <a:gd name="T6" fmla="*/ 193 w 314"/>
                <a:gd name="T7" fmla="*/ 48 h 227"/>
                <a:gd name="T8" fmla="*/ 314 w 314"/>
                <a:gd name="T9" fmla="*/ 20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27">
                  <a:moveTo>
                    <a:pt x="314" y="200"/>
                  </a:moveTo>
                  <a:cubicBezTo>
                    <a:pt x="314" y="200"/>
                    <a:pt x="208" y="227"/>
                    <a:pt x="121" y="179"/>
                  </a:cubicBezTo>
                  <a:cubicBezTo>
                    <a:pt x="34" y="131"/>
                    <a:pt x="0" y="26"/>
                    <a:pt x="0" y="26"/>
                  </a:cubicBezTo>
                  <a:cubicBezTo>
                    <a:pt x="0" y="26"/>
                    <a:pt x="106" y="0"/>
                    <a:pt x="193" y="48"/>
                  </a:cubicBezTo>
                  <a:cubicBezTo>
                    <a:pt x="280" y="96"/>
                    <a:pt x="314" y="200"/>
                    <a:pt x="314" y="200"/>
                  </a:cubicBezTo>
                  <a:close/>
                </a:path>
              </a:pathLst>
            </a:cu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9" name="Freeform 209">
              <a:extLst>
                <a:ext uri="{FF2B5EF4-FFF2-40B4-BE49-F238E27FC236}">
                  <a16:creationId xmlns:a16="http://schemas.microsoft.com/office/drawing/2014/main" xmlns="" id="{9AD60D40-BFF1-4FE2-9D48-9E840BE35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5504" y="4656002"/>
              <a:ext cx="293436" cy="212741"/>
            </a:xfrm>
            <a:custGeom>
              <a:avLst/>
              <a:gdLst>
                <a:gd name="T0" fmla="*/ 0 w 314"/>
                <a:gd name="T1" fmla="*/ 200 h 227"/>
                <a:gd name="T2" fmla="*/ 193 w 314"/>
                <a:gd name="T3" fmla="*/ 179 h 227"/>
                <a:gd name="T4" fmla="*/ 314 w 314"/>
                <a:gd name="T5" fmla="*/ 26 h 227"/>
                <a:gd name="T6" fmla="*/ 121 w 314"/>
                <a:gd name="T7" fmla="*/ 48 h 227"/>
                <a:gd name="T8" fmla="*/ 0 w 314"/>
                <a:gd name="T9" fmla="*/ 20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27">
                  <a:moveTo>
                    <a:pt x="0" y="200"/>
                  </a:moveTo>
                  <a:cubicBezTo>
                    <a:pt x="0" y="200"/>
                    <a:pt x="107" y="227"/>
                    <a:pt x="193" y="179"/>
                  </a:cubicBezTo>
                  <a:cubicBezTo>
                    <a:pt x="280" y="131"/>
                    <a:pt x="314" y="26"/>
                    <a:pt x="314" y="26"/>
                  </a:cubicBezTo>
                  <a:cubicBezTo>
                    <a:pt x="314" y="26"/>
                    <a:pt x="208" y="0"/>
                    <a:pt x="121" y="48"/>
                  </a:cubicBezTo>
                  <a:cubicBezTo>
                    <a:pt x="34" y="96"/>
                    <a:pt x="0" y="200"/>
                    <a:pt x="0" y="200"/>
                  </a:cubicBezTo>
                  <a:close/>
                </a:path>
              </a:pathLst>
            </a:cu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0" name="Freeform 210">
              <a:extLst>
                <a:ext uri="{FF2B5EF4-FFF2-40B4-BE49-F238E27FC236}">
                  <a16:creationId xmlns:a16="http://schemas.microsoft.com/office/drawing/2014/main" xmlns="" id="{1B38BED2-7AB6-4818-A34A-DB7CDEAC7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763" y="3713863"/>
              <a:ext cx="412906" cy="552288"/>
            </a:xfrm>
            <a:custGeom>
              <a:avLst/>
              <a:gdLst>
                <a:gd name="T0" fmla="*/ 441 w 441"/>
                <a:gd name="T1" fmla="*/ 221 h 590"/>
                <a:gd name="T2" fmla="*/ 221 w 441"/>
                <a:gd name="T3" fmla="*/ 0 h 590"/>
                <a:gd name="T4" fmla="*/ 0 w 441"/>
                <a:gd name="T5" fmla="*/ 221 h 590"/>
                <a:gd name="T6" fmla="*/ 78 w 441"/>
                <a:gd name="T7" fmla="*/ 389 h 590"/>
                <a:gd name="T8" fmla="*/ 110 w 441"/>
                <a:gd name="T9" fmla="*/ 590 h 590"/>
                <a:gd name="T10" fmla="*/ 332 w 441"/>
                <a:gd name="T11" fmla="*/ 590 h 590"/>
                <a:gd name="T12" fmla="*/ 363 w 441"/>
                <a:gd name="T13" fmla="*/ 389 h 590"/>
                <a:gd name="T14" fmla="*/ 441 w 441"/>
                <a:gd name="T15" fmla="*/ 221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1" h="590">
                  <a:moveTo>
                    <a:pt x="441" y="221"/>
                  </a:moveTo>
                  <a:cubicBezTo>
                    <a:pt x="441" y="99"/>
                    <a:pt x="342" y="0"/>
                    <a:pt x="221" y="0"/>
                  </a:cubicBezTo>
                  <a:cubicBezTo>
                    <a:pt x="99" y="0"/>
                    <a:pt x="0" y="99"/>
                    <a:pt x="0" y="221"/>
                  </a:cubicBezTo>
                  <a:cubicBezTo>
                    <a:pt x="0" y="288"/>
                    <a:pt x="30" y="349"/>
                    <a:pt x="78" y="389"/>
                  </a:cubicBezTo>
                  <a:cubicBezTo>
                    <a:pt x="95" y="456"/>
                    <a:pt x="110" y="522"/>
                    <a:pt x="110" y="590"/>
                  </a:cubicBezTo>
                  <a:cubicBezTo>
                    <a:pt x="184" y="590"/>
                    <a:pt x="258" y="590"/>
                    <a:pt x="332" y="590"/>
                  </a:cubicBezTo>
                  <a:cubicBezTo>
                    <a:pt x="332" y="522"/>
                    <a:pt x="346" y="456"/>
                    <a:pt x="363" y="389"/>
                  </a:cubicBezTo>
                  <a:cubicBezTo>
                    <a:pt x="411" y="349"/>
                    <a:pt x="441" y="288"/>
                    <a:pt x="441" y="221"/>
                  </a:cubicBezTo>
                  <a:close/>
                </a:path>
              </a:pathLst>
            </a:cu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1" name="Freeform 211">
              <a:extLst>
                <a:ext uri="{FF2B5EF4-FFF2-40B4-BE49-F238E27FC236}">
                  <a16:creationId xmlns:a16="http://schemas.microsoft.com/office/drawing/2014/main" xmlns="" id="{D9068931-F5ED-400F-8600-8AE66B20B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5377" y="3933940"/>
              <a:ext cx="167678" cy="340595"/>
            </a:xfrm>
            <a:custGeom>
              <a:avLst/>
              <a:gdLst>
                <a:gd name="T0" fmla="*/ 130 w 179"/>
                <a:gd name="T1" fmla="*/ 364 h 364"/>
                <a:gd name="T2" fmla="*/ 49 w 179"/>
                <a:gd name="T3" fmla="*/ 364 h 364"/>
                <a:gd name="T4" fmla="*/ 41 w 179"/>
                <a:gd name="T5" fmla="*/ 356 h 364"/>
                <a:gd name="T6" fmla="*/ 0 w 179"/>
                <a:gd name="T7" fmla="*/ 35 h 364"/>
                <a:gd name="T8" fmla="*/ 5 w 179"/>
                <a:gd name="T9" fmla="*/ 26 h 364"/>
                <a:gd name="T10" fmla="*/ 14 w 179"/>
                <a:gd name="T11" fmla="*/ 27 h 364"/>
                <a:gd name="T12" fmla="*/ 47 w 179"/>
                <a:gd name="T13" fmla="*/ 44 h 364"/>
                <a:gd name="T14" fmla="*/ 48 w 179"/>
                <a:gd name="T15" fmla="*/ 41 h 364"/>
                <a:gd name="T16" fmla="*/ 91 w 179"/>
                <a:gd name="T17" fmla="*/ 0 h 364"/>
                <a:gd name="T18" fmla="*/ 92 w 179"/>
                <a:gd name="T19" fmla="*/ 0 h 364"/>
                <a:gd name="T20" fmla="*/ 130 w 179"/>
                <a:gd name="T21" fmla="*/ 34 h 364"/>
                <a:gd name="T22" fmla="*/ 136 w 179"/>
                <a:gd name="T23" fmla="*/ 44 h 364"/>
                <a:gd name="T24" fmla="*/ 165 w 179"/>
                <a:gd name="T25" fmla="*/ 28 h 364"/>
                <a:gd name="T26" fmla="*/ 174 w 179"/>
                <a:gd name="T27" fmla="*/ 26 h 364"/>
                <a:gd name="T28" fmla="*/ 179 w 179"/>
                <a:gd name="T29" fmla="*/ 35 h 364"/>
                <a:gd name="T30" fmla="*/ 138 w 179"/>
                <a:gd name="T31" fmla="*/ 356 h 364"/>
                <a:gd name="T32" fmla="*/ 130 w 179"/>
                <a:gd name="T33" fmla="*/ 364 h 364"/>
                <a:gd name="T34" fmla="*/ 56 w 179"/>
                <a:gd name="T35" fmla="*/ 347 h 364"/>
                <a:gd name="T36" fmla="*/ 123 w 179"/>
                <a:gd name="T37" fmla="*/ 347 h 364"/>
                <a:gd name="T38" fmla="*/ 160 w 179"/>
                <a:gd name="T39" fmla="*/ 53 h 364"/>
                <a:gd name="T40" fmla="*/ 132 w 179"/>
                <a:gd name="T41" fmla="*/ 60 h 364"/>
                <a:gd name="T42" fmla="*/ 114 w 179"/>
                <a:gd name="T43" fmla="*/ 38 h 364"/>
                <a:gd name="T44" fmla="*/ 92 w 179"/>
                <a:gd name="T45" fmla="*/ 17 h 364"/>
                <a:gd name="T46" fmla="*/ 64 w 179"/>
                <a:gd name="T47" fmla="*/ 45 h 364"/>
                <a:gd name="T48" fmla="*/ 52 w 179"/>
                <a:gd name="T49" fmla="*/ 59 h 364"/>
                <a:gd name="T50" fmla="*/ 19 w 179"/>
                <a:gd name="T51" fmla="*/ 51 h 364"/>
                <a:gd name="T52" fmla="*/ 56 w 179"/>
                <a:gd name="T53" fmla="*/ 34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9" h="364">
                  <a:moveTo>
                    <a:pt x="130" y="364"/>
                  </a:moveTo>
                  <a:cubicBezTo>
                    <a:pt x="49" y="364"/>
                    <a:pt x="49" y="364"/>
                    <a:pt x="49" y="364"/>
                  </a:cubicBezTo>
                  <a:cubicBezTo>
                    <a:pt x="45" y="364"/>
                    <a:pt x="41" y="360"/>
                    <a:pt x="41" y="35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1"/>
                    <a:pt x="2" y="28"/>
                    <a:pt x="5" y="26"/>
                  </a:cubicBezTo>
                  <a:cubicBezTo>
                    <a:pt x="8" y="25"/>
                    <a:pt x="11" y="25"/>
                    <a:pt x="14" y="27"/>
                  </a:cubicBezTo>
                  <a:cubicBezTo>
                    <a:pt x="25" y="36"/>
                    <a:pt x="42" y="45"/>
                    <a:pt x="47" y="44"/>
                  </a:cubicBezTo>
                  <a:cubicBezTo>
                    <a:pt x="47" y="43"/>
                    <a:pt x="48" y="42"/>
                    <a:pt x="48" y="41"/>
                  </a:cubicBezTo>
                  <a:cubicBezTo>
                    <a:pt x="53" y="17"/>
                    <a:pt x="71" y="1"/>
                    <a:pt x="9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06" y="0"/>
                    <a:pt x="123" y="9"/>
                    <a:pt x="130" y="34"/>
                  </a:cubicBezTo>
                  <a:cubicBezTo>
                    <a:pt x="131" y="38"/>
                    <a:pt x="133" y="43"/>
                    <a:pt x="136" y="44"/>
                  </a:cubicBezTo>
                  <a:cubicBezTo>
                    <a:pt x="143" y="46"/>
                    <a:pt x="157" y="35"/>
                    <a:pt x="165" y="28"/>
                  </a:cubicBezTo>
                  <a:cubicBezTo>
                    <a:pt x="167" y="25"/>
                    <a:pt x="171" y="25"/>
                    <a:pt x="174" y="26"/>
                  </a:cubicBezTo>
                  <a:cubicBezTo>
                    <a:pt x="177" y="28"/>
                    <a:pt x="179" y="31"/>
                    <a:pt x="179" y="35"/>
                  </a:cubicBezTo>
                  <a:cubicBezTo>
                    <a:pt x="138" y="356"/>
                    <a:pt x="138" y="356"/>
                    <a:pt x="138" y="356"/>
                  </a:cubicBezTo>
                  <a:cubicBezTo>
                    <a:pt x="138" y="360"/>
                    <a:pt x="134" y="364"/>
                    <a:pt x="130" y="364"/>
                  </a:cubicBezTo>
                  <a:close/>
                  <a:moveTo>
                    <a:pt x="56" y="347"/>
                  </a:moveTo>
                  <a:cubicBezTo>
                    <a:pt x="123" y="347"/>
                    <a:pt x="123" y="347"/>
                    <a:pt x="123" y="347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51" y="58"/>
                    <a:pt x="141" y="62"/>
                    <a:pt x="132" y="60"/>
                  </a:cubicBezTo>
                  <a:cubicBezTo>
                    <a:pt x="125" y="58"/>
                    <a:pt x="117" y="53"/>
                    <a:pt x="114" y="38"/>
                  </a:cubicBezTo>
                  <a:cubicBezTo>
                    <a:pt x="110" y="24"/>
                    <a:pt x="102" y="16"/>
                    <a:pt x="92" y="17"/>
                  </a:cubicBezTo>
                  <a:cubicBezTo>
                    <a:pt x="81" y="17"/>
                    <a:pt x="68" y="27"/>
                    <a:pt x="64" y="45"/>
                  </a:cubicBezTo>
                  <a:cubicBezTo>
                    <a:pt x="62" y="54"/>
                    <a:pt x="56" y="58"/>
                    <a:pt x="52" y="59"/>
                  </a:cubicBezTo>
                  <a:cubicBezTo>
                    <a:pt x="42" y="63"/>
                    <a:pt x="30" y="57"/>
                    <a:pt x="19" y="51"/>
                  </a:cubicBezTo>
                  <a:lnTo>
                    <a:pt x="56" y="3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2" name="Freeform 212">
              <a:extLst>
                <a:ext uri="{FF2B5EF4-FFF2-40B4-BE49-F238E27FC236}">
                  <a16:creationId xmlns:a16="http://schemas.microsoft.com/office/drawing/2014/main" xmlns="" id="{C63C171F-D1F1-4E1E-89A2-626EF6ED9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362" y="4249384"/>
              <a:ext cx="255708" cy="198069"/>
            </a:xfrm>
            <a:custGeom>
              <a:avLst/>
              <a:gdLst>
                <a:gd name="T0" fmla="*/ 273 w 273"/>
                <a:gd name="T1" fmla="*/ 0 h 211"/>
                <a:gd name="T2" fmla="*/ 0 w 273"/>
                <a:gd name="T3" fmla="*/ 0 h 211"/>
                <a:gd name="T4" fmla="*/ 137 w 273"/>
                <a:gd name="T5" fmla="*/ 211 h 211"/>
                <a:gd name="T6" fmla="*/ 273 w 273"/>
                <a:gd name="T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3" h="211">
                  <a:moveTo>
                    <a:pt x="27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6"/>
                    <a:pt x="61" y="211"/>
                    <a:pt x="137" y="211"/>
                  </a:cubicBezTo>
                  <a:cubicBezTo>
                    <a:pt x="212" y="211"/>
                    <a:pt x="273" y="116"/>
                    <a:pt x="27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3" name="Rectangle 240">
              <a:extLst>
                <a:ext uri="{FF2B5EF4-FFF2-40B4-BE49-F238E27FC236}">
                  <a16:creationId xmlns:a16="http://schemas.microsoft.com/office/drawing/2014/main" xmlns="" id="{74B9C3F9-79F0-4341-969D-A356DE21EF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544" y="4439069"/>
              <a:ext cx="29344" cy="468449"/>
            </a:xfrm>
            <a:prstGeom prst="rect">
              <a:avLst/>
            </a:pr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5" name="Groupe 44">
            <a:extLst>
              <a:ext uri="{FF2B5EF4-FFF2-40B4-BE49-F238E27FC236}">
                <a16:creationId xmlns:a16="http://schemas.microsoft.com/office/drawing/2014/main" xmlns="" id="{8810A371-DB99-42B4-B997-CD601CC3A630}"/>
              </a:ext>
            </a:extLst>
          </p:cNvPr>
          <p:cNvGrpSpPr/>
          <p:nvPr/>
        </p:nvGrpSpPr>
        <p:grpSpPr>
          <a:xfrm>
            <a:off x="5834547" y="1680340"/>
            <a:ext cx="1255714" cy="1196936"/>
            <a:chOff x="4532996" y="3971872"/>
            <a:chExt cx="1177936" cy="1122800"/>
          </a:xfrm>
        </p:grpSpPr>
        <p:sp>
          <p:nvSpPr>
            <p:cNvPr id="183" name="Freeform 213">
              <a:extLst>
                <a:ext uri="{FF2B5EF4-FFF2-40B4-BE49-F238E27FC236}">
                  <a16:creationId xmlns:a16="http://schemas.microsoft.com/office/drawing/2014/main" xmlns="" id="{0F7990B8-22A1-478F-A00F-8997489443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5699" y="4602555"/>
              <a:ext cx="339547" cy="339547"/>
            </a:xfrm>
            <a:custGeom>
              <a:avLst/>
              <a:gdLst>
                <a:gd name="T0" fmla="*/ 324 w 324"/>
                <a:gd name="T1" fmla="*/ 324 h 324"/>
                <a:gd name="T2" fmla="*/ 0 w 324"/>
                <a:gd name="T3" fmla="*/ 324 h 324"/>
                <a:gd name="T4" fmla="*/ 0 w 324"/>
                <a:gd name="T5" fmla="*/ 0 h 324"/>
                <a:gd name="T6" fmla="*/ 324 w 324"/>
                <a:gd name="T7" fmla="*/ 0 h 324"/>
                <a:gd name="T8" fmla="*/ 324 w 324"/>
                <a:gd name="T9" fmla="*/ 324 h 324"/>
                <a:gd name="T10" fmla="*/ 6 w 324"/>
                <a:gd name="T11" fmla="*/ 318 h 324"/>
                <a:gd name="T12" fmla="*/ 317 w 324"/>
                <a:gd name="T13" fmla="*/ 318 h 324"/>
                <a:gd name="T14" fmla="*/ 317 w 324"/>
                <a:gd name="T15" fmla="*/ 6 h 324"/>
                <a:gd name="T16" fmla="*/ 6 w 324"/>
                <a:gd name="T17" fmla="*/ 6 h 324"/>
                <a:gd name="T18" fmla="*/ 6 w 324"/>
                <a:gd name="T19" fmla="*/ 31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4" h="324">
                  <a:moveTo>
                    <a:pt x="324" y="324"/>
                  </a:moveTo>
                  <a:lnTo>
                    <a:pt x="0" y="324"/>
                  </a:lnTo>
                  <a:lnTo>
                    <a:pt x="0" y="0"/>
                  </a:lnTo>
                  <a:lnTo>
                    <a:pt x="324" y="0"/>
                  </a:lnTo>
                  <a:lnTo>
                    <a:pt x="324" y="324"/>
                  </a:lnTo>
                  <a:close/>
                  <a:moveTo>
                    <a:pt x="6" y="318"/>
                  </a:moveTo>
                  <a:lnTo>
                    <a:pt x="317" y="318"/>
                  </a:lnTo>
                  <a:lnTo>
                    <a:pt x="317" y="6"/>
                  </a:lnTo>
                  <a:lnTo>
                    <a:pt x="6" y="6"/>
                  </a:lnTo>
                  <a:lnTo>
                    <a:pt x="6" y="318"/>
                  </a:lnTo>
                  <a:close/>
                </a:path>
              </a:pathLst>
            </a:cu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4" name="Rectangle 214">
              <a:extLst>
                <a:ext uri="{FF2B5EF4-FFF2-40B4-BE49-F238E27FC236}">
                  <a16:creationId xmlns:a16="http://schemas.microsoft.com/office/drawing/2014/main" xmlns="" id="{1D45C9BF-3D6F-4DC7-8DCE-944456514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843" y="4880271"/>
              <a:ext cx="332211" cy="6288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5" name="Rectangle 215">
              <a:extLst>
                <a:ext uri="{FF2B5EF4-FFF2-40B4-BE49-F238E27FC236}">
                  <a16:creationId xmlns:a16="http://schemas.microsoft.com/office/drawing/2014/main" xmlns="" id="{3AD6E60E-BBA7-49DE-85E9-9505B35D1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843" y="4824727"/>
              <a:ext cx="332211" cy="7336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6" name="Rectangle 216">
              <a:extLst>
                <a:ext uri="{FF2B5EF4-FFF2-40B4-BE49-F238E27FC236}">
                  <a16:creationId xmlns:a16="http://schemas.microsoft.com/office/drawing/2014/main" xmlns="" id="{D68D9752-175B-4F11-A8A0-3AEDBE30E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843" y="4769184"/>
              <a:ext cx="332211" cy="6288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7" name="Rectangle 217">
              <a:extLst>
                <a:ext uri="{FF2B5EF4-FFF2-40B4-BE49-F238E27FC236}">
                  <a16:creationId xmlns:a16="http://schemas.microsoft.com/office/drawing/2014/main" xmlns="" id="{F861F4CC-D604-4F60-9F34-F6A5CF4F6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843" y="4713641"/>
              <a:ext cx="332211" cy="6288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8" name="Rectangle 218">
              <a:extLst>
                <a:ext uri="{FF2B5EF4-FFF2-40B4-BE49-F238E27FC236}">
                  <a16:creationId xmlns:a16="http://schemas.microsoft.com/office/drawing/2014/main" xmlns="" id="{FB347D38-3410-4B5E-AB8C-03AAC790D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843" y="4658098"/>
              <a:ext cx="332211" cy="7336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9" name="Rectangle 219">
              <a:extLst>
                <a:ext uri="{FF2B5EF4-FFF2-40B4-BE49-F238E27FC236}">
                  <a16:creationId xmlns:a16="http://schemas.microsoft.com/office/drawing/2014/main" xmlns="" id="{AF32AF28-D263-4FAC-A4BB-65108A853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2367" y="4606747"/>
              <a:ext cx="7336" cy="332211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0" name="Rectangle 220">
              <a:extLst>
                <a:ext uri="{FF2B5EF4-FFF2-40B4-BE49-F238E27FC236}">
                  <a16:creationId xmlns:a16="http://schemas.microsoft.com/office/drawing/2014/main" xmlns="" id="{928F116E-4920-41F8-BECF-1BF706999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6824" y="4606747"/>
              <a:ext cx="6288" cy="332211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1" name="Rectangle 221">
              <a:extLst>
                <a:ext uri="{FF2B5EF4-FFF2-40B4-BE49-F238E27FC236}">
                  <a16:creationId xmlns:a16="http://schemas.microsoft.com/office/drawing/2014/main" xmlns="" id="{D2085173-89BC-4D49-A933-87FB48D62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1281" y="4606747"/>
              <a:ext cx="7336" cy="332211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2" name="Rectangle 222">
              <a:extLst>
                <a:ext uri="{FF2B5EF4-FFF2-40B4-BE49-F238E27FC236}">
                  <a16:creationId xmlns:a16="http://schemas.microsoft.com/office/drawing/2014/main" xmlns="" id="{A2A407E1-8DE6-4DDE-A5B1-CA7EB5604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785" y="4606747"/>
              <a:ext cx="6288" cy="332211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3" name="Rectangle 223">
              <a:extLst>
                <a:ext uri="{FF2B5EF4-FFF2-40B4-BE49-F238E27FC236}">
                  <a16:creationId xmlns:a16="http://schemas.microsoft.com/office/drawing/2014/main" xmlns="" id="{4C709BCF-E22D-46A0-B5F4-0F1198B4D4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0194" y="4606747"/>
              <a:ext cx="7336" cy="332211"/>
            </a:xfrm>
            <a:prstGeom prst="rect">
              <a:avLst/>
            </a:prstGeom>
            <a:solidFill>
              <a:srgbClr val="E2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4" name="Freeform 224">
              <a:extLst>
                <a:ext uri="{FF2B5EF4-FFF2-40B4-BE49-F238E27FC236}">
                  <a16:creationId xmlns:a16="http://schemas.microsoft.com/office/drawing/2014/main" xmlns="" id="{DABC1945-5990-416B-BD61-DD9D8CC83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3388" y="4340558"/>
              <a:ext cx="1124488" cy="662326"/>
            </a:xfrm>
            <a:custGeom>
              <a:avLst/>
              <a:gdLst>
                <a:gd name="T0" fmla="*/ 1073 w 1073"/>
                <a:gd name="T1" fmla="*/ 632 h 632"/>
                <a:gd name="T2" fmla="*/ 0 w 1073"/>
                <a:gd name="T3" fmla="*/ 632 h 632"/>
                <a:gd name="T4" fmla="*/ 0 w 1073"/>
                <a:gd name="T5" fmla="*/ 0 h 632"/>
                <a:gd name="T6" fmla="*/ 291 w 1073"/>
                <a:gd name="T7" fmla="*/ 0 h 632"/>
                <a:gd name="T8" fmla="*/ 291 w 1073"/>
                <a:gd name="T9" fmla="*/ 20 h 632"/>
                <a:gd name="T10" fmla="*/ 19 w 1073"/>
                <a:gd name="T11" fmla="*/ 20 h 632"/>
                <a:gd name="T12" fmla="*/ 19 w 1073"/>
                <a:gd name="T13" fmla="*/ 612 h 632"/>
                <a:gd name="T14" fmla="*/ 1073 w 1073"/>
                <a:gd name="T15" fmla="*/ 612 h 632"/>
                <a:gd name="T16" fmla="*/ 1073 w 1073"/>
                <a:gd name="T17" fmla="*/ 63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3" h="632">
                  <a:moveTo>
                    <a:pt x="1073" y="632"/>
                  </a:moveTo>
                  <a:lnTo>
                    <a:pt x="0" y="632"/>
                  </a:lnTo>
                  <a:lnTo>
                    <a:pt x="0" y="0"/>
                  </a:lnTo>
                  <a:lnTo>
                    <a:pt x="291" y="0"/>
                  </a:lnTo>
                  <a:lnTo>
                    <a:pt x="291" y="20"/>
                  </a:lnTo>
                  <a:lnTo>
                    <a:pt x="19" y="20"/>
                  </a:lnTo>
                  <a:lnTo>
                    <a:pt x="19" y="612"/>
                  </a:lnTo>
                  <a:lnTo>
                    <a:pt x="1073" y="612"/>
                  </a:lnTo>
                  <a:lnTo>
                    <a:pt x="1073" y="632"/>
                  </a:lnTo>
                  <a:close/>
                </a:path>
              </a:pathLst>
            </a:cu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5" name="Freeform 225">
              <a:extLst>
                <a:ext uri="{FF2B5EF4-FFF2-40B4-BE49-F238E27FC236}">
                  <a16:creationId xmlns:a16="http://schemas.microsoft.com/office/drawing/2014/main" xmlns="" id="{DE5152B9-4A51-4818-BFCA-BF11ABB53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053" y="4957821"/>
              <a:ext cx="62879" cy="69167"/>
            </a:xfrm>
            <a:custGeom>
              <a:avLst/>
              <a:gdLst>
                <a:gd name="T0" fmla="*/ 0 w 60"/>
                <a:gd name="T1" fmla="*/ 66 h 66"/>
                <a:gd name="T2" fmla="*/ 33 w 60"/>
                <a:gd name="T3" fmla="*/ 33 h 66"/>
                <a:gd name="T4" fmla="*/ 0 w 60"/>
                <a:gd name="T5" fmla="*/ 0 h 66"/>
                <a:gd name="T6" fmla="*/ 27 w 60"/>
                <a:gd name="T7" fmla="*/ 0 h 66"/>
                <a:gd name="T8" fmla="*/ 60 w 60"/>
                <a:gd name="T9" fmla="*/ 33 h 66"/>
                <a:gd name="T10" fmla="*/ 27 w 60"/>
                <a:gd name="T11" fmla="*/ 66 h 66"/>
                <a:gd name="T12" fmla="*/ 0 w 60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6">
                  <a:moveTo>
                    <a:pt x="0" y="66"/>
                  </a:moveTo>
                  <a:lnTo>
                    <a:pt x="33" y="33"/>
                  </a:lnTo>
                  <a:lnTo>
                    <a:pt x="0" y="0"/>
                  </a:lnTo>
                  <a:lnTo>
                    <a:pt x="27" y="0"/>
                  </a:lnTo>
                  <a:lnTo>
                    <a:pt x="60" y="33"/>
                  </a:lnTo>
                  <a:lnTo>
                    <a:pt x="27" y="6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6" name="Oval 226">
              <a:extLst>
                <a:ext uri="{FF2B5EF4-FFF2-40B4-BE49-F238E27FC236}">
                  <a16:creationId xmlns:a16="http://schemas.microsoft.com/office/drawing/2014/main" xmlns="" id="{2DFFEBD6-D7D1-4678-BC8F-173CAB315A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2996" y="4619322"/>
              <a:ext cx="79647" cy="79647"/>
            </a:xfrm>
            <a:prstGeom prst="ellipse">
              <a:avLst/>
            </a:prstGeom>
            <a:solidFill>
              <a:srgbClr val="0087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204" name="Group 4">
              <a:extLst>
                <a:ext uri="{FF2B5EF4-FFF2-40B4-BE49-F238E27FC236}">
                  <a16:creationId xmlns:a16="http://schemas.microsoft.com/office/drawing/2014/main" xmlns="" id="{08E55684-71A8-42B7-990E-7113F2B54B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45571" y="3971872"/>
              <a:ext cx="483428" cy="1122800"/>
              <a:chOff x="3005" y="-132"/>
              <a:chExt cx="1395" cy="3240"/>
            </a:xfrm>
          </p:grpSpPr>
          <p:sp>
            <p:nvSpPr>
              <p:cNvPr id="205" name="Freeform 5">
                <a:extLst>
                  <a:ext uri="{FF2B5EF4-FFF2-40B4-BE49-F238E27FC236}">
                    <a16:creationId xmlns:a16="http://schemas.microsoft.com/office/drawing/2014/main" xmlns="" id="{C61207F5-486D-4B80-8127-51CE99720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-21"/>
                <a:ext cx="540" cy="1119"/>
              </a:xfrm>
              <a:custGeom>
                <a:avLst/>
                <a:gdLst>
                  <a:gd name="T0" fmla="*/ 393 w 486"/>
                  <a:gd name="T1" fmla="*/ 0 h 1008"/>
                  <a:gd name="T2" fmla="*/ 93 w 486"/>
                  <a:gd name="T3" fmla="*/ 0 h 1008"/>
                  <a:gd name="T4" fmla="*/ 0 w 486"/>
                  <a:gd name="T5" fmla="*/ 93 h 1008"/>
                  <a:gd name="T6" fmla="*/ 0 w 486"/>
                  <a:gd name="T7" fmla="*/ 1008 h 1008"/>
                  <a:gd name="T8" fmla="*/ 29 w 486"/>
                  <a:gd name="T9" fmla="*/ 1008 h 1008"/>
                  <a:gd name="T10" fmla="*/ 231 w 486"/>
                  <a:gd name="T11" fmla="*/ 1008 h 1008"/>
                  <a:gd name="T12" fmla="*/ 453 w 486"/>
                  <a:gd name="T13" fmla="*/ 1008 h 1008"/>
                  <a:gd name="T14" fmla="*/ 486 w 486"/>
                  <a:gd name="T15" fmla="*/ 1008 h 1008"/>
                  <a:gd name="T16" fmla="*/ 486 w 486"/>
                  <a:gd name="T17" fmla="*/ 93 h 1008"/>
                  <a:gd name="T18" fmla="*/ 393 w 486"/>
                  <a:gd name="T19" fmla="*/ 0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6" h="1008">
                    <a:moveTo>
                      <a:pt x="393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88" y="49"/>
                      <a:pt x="49" y="88"/>
                      <a:pt x="0" y="93"/>
                    </a:cubicBezTo>
                    <a:cubicBezTo>
                      <a:pt x="0" y="1008"/>
                      <a:pt x="0" y="1008"/>
                      <a:pt x="0" y="1008"/>
                    </a:cubicBezTo>
                    <a:cubicBezTo>
                      <a:pt x="29" y="1008"/>
                      <a:pt x="29" y="1008"/>
                      <a:pt x="29" y="1008"/>
                    </a:cubicBezTo>
                    <a:cubicBezTo>
                      <a:pt x="231" y="1008"/>
                      <a:pt x="231" y="1008"/>
                      <a:pt x="231" y="1008"/>
                    </a:cubicBezTo>
                    <a:cubicBezTo>
                      <a:pt x="453" y="1008"/>
                      <a:pt x="453" y="1008"/>
                      <a:pt x="453" y="1008"/>
                    </a:cubicBezTo>
                    <a:cubicBezTo>
                      <a:pt x="486" y="1008"/>
                      <a:pt x="486" y="1008"/>
                      <a:pt x="486" y="1008"/>
                    </a:cubicBezTo>
                    <a:cubicBezTo>
                      <a:pt x="486" y="93"/>
                      <a:pt x="486" y="93"/>
                      <a:pt x="486" y="93"/>
                    </a:cubicBezTo>
                    <a:cubicBezTo>
                      <a:pt x="437" y="88"/>
                      <a:pt x="398" y="49"/>
                      <a:pt x="393" y="0"/>
                    </a:cubicBezTo>
                    <a:close/>
                  </a:path>
                </a:pathLst>
              </a:custGeom>
              <a:solidFill>
                <a:srgbClr val="008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6" name="Freeform 6">
                <a:extLst>
                  <a:ext uri="{FF2B5EF4-FFF2-40B4-BE49-F238E27FC236}">
                    <a16:creationId xmlns:a16="http://schemas.microsoft.com/office/drawing/2014/main" xmlns="" id="{DF3947CC-AE9F-4E64-A0BB-45078CDBB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-21"/>
                <a:ext cx="540" cy="1119"/>
              </a:xfrm>
              <a:custGeom>
                <a:avLst/>
                <a:gdLst>
                  <a:gd name="T0" fmla="*/ 393 w 486"/>
                  <a:gd name="T1" fmla="*/ 0 h 1008"/>
                  <a:gd name="T2" fmla="*/ 93 w 486"/>
                  <a:gd name="T3" fmla="*/ 0 h 1008"/>
                  <a:gd name="T4" fmla="*/ 0 w 486"/>
                  <a:gd name="T5" fmla="*/ 93 h 1008"/>
                  <a:gd name="T6" fmla="*/ 0 w 486"/>
                  <a:gd name="T7" fmla="*/ 1008 h 1008"/>
                  <a:gd name="T8" fmla="*/ 29 w 486"/>
                  <a:gd name="T9" fmla="*/ 1008 h 1008"/>
                  <a:gd name="T10" fmla="*/ 231 w 486"/>
                  <a:gd name="T11" fmla="*/ 1008 h 1008"/>
                  <a:gd name="T12" fmla="*/ 453 w 486"/>
                  <a:gd name="T13" fmla="*/ 1008 h 1008"/>
                  <a:gd name="T14" fmla="*/ 486 w 486"/>
                  <a:gd name="T15" fmla="*/ 1008 h 1008"/>
                  <a:gd name="T16" fmla="*/ 486 w 486"/>
                  <a:gd name="T17" fmla="*/ 93 h 1008"/>
                  <a:gd name="T18" fmla="*/ 393 w 486"/>
                  <a:gd name="T19" fmla="*/ 0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6" h="1008">
                    <a:moveTo>
                      <a:pt x="393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88" y="49"/>
                      <a:pt x="49" y="88"/>
                      <a:pt x="0" y="93"/>
                    </a:cubicBezTo>
                    <a:cubicBezTo>
                      <a:pt x="0" y="1008"/>
                      <a:pt x="0" y="1008"/>
                      <a:pt x="0" y="1008"/>
                    </a:cubicBezTo>
                    <a:cubicBezTo>
                      <a:pt x="29" y="1008"/>
                      <a:pt x="29" y="1008"/>
                      <a:pt x="29" y="1008"/>
                    </a:cubicBezTo>
                    <a:cubicBezTo>
                      <a:pt x="231" y="1008"/>
                      <a:pt x="231" y="1008"/>
                      <a:pt x="231" y="1008"/>
                    </a:cubicBezTo>
                    <a:cubicBezTo>
                      <a:pt x="453" y="1008"/>
                      <a:pt x="453" y="1008"/>
                      <a:pt x="453" y="1008"/>
                    </a:cubicBezTo>
                    <a:cubicBezTo>
                      <a:pt x="486" y="1008"/>
                      <a:pt x="486" y="1008"/>
                      <a:pt x="486" y="1008"/>
                    </a:cubicBezTo>
                    <a:cubicBezTo>
                      <a:pt x="486" y="93"/>
                      <a:pt x="486" y="93"/>
                      <a:pt x="486" y="93"/>
                    </a:cubicBezTo>
                    <a:cubicBezTo>
                      <a:pt x="437" y="88"/>
                      <a:pt x="398" y="49"/>
                      <a:pt x="393" y="0"/>
                    </a:cubicBezTo>
                    <a:close/>
                  </a:path>
                </a:pathLst>
              </a:custGeom>
              <a:solidFill>
                <a:srgbClr val="008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7" name="Freeform 7">
                <a:extLst>
                  <a:ext uri="{FF2B5EF4-FFF2-40B4-BE49-F238E27FC236}">
                    <a16:creationId xmlns:a16="http://schemas.microsoft.com/office/drawing/2014/main" xmlns="" id="{751FCF28-2E9C-42B5-8CC8-5DF0B211E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-132"/>
                <a:ext cx="747" cy="1230"/>
              </a:xfrm>
              <a:custGeom>
                <a:avLst/>
                <a:gdLst>
                  <a:gd name="T0" fmla="*/ 67 w 672"/>
                  <a:gd name="T1" fmla="*/ 172 h 1108"/>
                  <a:gd name="T2" fmla="*/ 78 w 672"/>
                  <a:gd name="T3" fmla="*/ 172 h 1108"/>
                  <a:gd name="T4" fmla="*/ 160 w 672"/>
                  <a:gd name="T5" fmla="*/ 89 h 1108"/>
                  <a:gd name="T6" fmla="*/ 160 w 672"/>
                  <a:gd name="T7" fmla="*/ 78 h 1108"/>
                  <a:gd name="T8" fmla="*/ 502 w 672"/>
                  <a:gd name="T9" fmla="*/ 78 h 1108"/>
                  <a:gd name="T10" fmla="*/ 502 w 672"/>
                  <a:gd name="T11" fmla="*/ 89 h 1108"/>
                  <a:gd name="T12" fmla="*/ 584 w 672"/>
                  <a:gd name="T13" fmla="*/ 172 h 1108"/>
                  <a:gd name="T14" fmla="*/ 595 w 672"/>
                  <a:gd name="T15" fmla="*/ 172 h 1108"/>
                  <a:gd name="T16" fmla="*/ 595 w 672"/>
                  <a:gd name="T17" fmla="*/ 1108 h 1108"/>
                  <a:gd name="T18" fmla="*/ 672 w 672"/>
                  <a:gd name="T19" fmla="*/ 1108 h 1108"/>
                  <a:gd name="T20" fmla="*/ 672 w 672"/>
                  <a:gd name="T21" fmla="*/ 210 h 1108"/>
                  <a:gd name="T22" fmla="*/ 672 w 672"/>
                  <a:gd name="T23" fmla="*/ 42 h 1108"/>
                  <a:gd name="T24" fmla="*/ 672 w 672"/>
                  <a:gd name="T25" fmla="*/ 3 h 1108"/>
                  <a:gd name="T26" fmla="*/ 670 w 672"/>
                  <a:gd name="T27" fmla="*/ 0 h 1108"/>
                  <a:gd name="T28" fmla="*/ 641 w 672"/>
                  <a:gd name="T29" fmla="*/ 0 h 1108"/>
                  <a:gd name="T30" fmla="*/ 411 w 672"/>
                  <a:gd name="T31" fmla="*/ 0 h 1108"/>
                  <a:gd name="T32" fmla="*/ 407 w 672"/>
                  <a:gd name="T33" fmla="*/ 0 h 1108"/>
                  <a:gd name="T34" fmla="*/ 331 w 672"/>
                  <a:gd name="T35" fmla="*/ 0 h 1108"/>
                  <a:gd name="T36" fmla="*/ 288 w 672"/>
                  <a:gd name="T37" fmla="*/ 0 h 1108"/>
                  <a:gd name="T38" fmla="*/ 255 w 672"/>
                  <a:gd name="T39" fmla="*/ 0 h 1108"/>
                  <a:gd name="T40" fmla="*/ 2 w 672"/>
                  <a:gd name="T41" fmla="*/ 0 h 1108"/>
                  <a:gd name="T42" fmla="*/ 0 w 672"/>
                  <a:gd name="T43" fmla="*/ 3 h 1108"/>
                  <a:gd name="T44" fmla="*/ 0 w 672"/>
                  <a:gd name="T45" fmla="*/ 1108 h 1108"/>
                  <a:gd name="T46" fmla="*/ 67 w 672"/>
                  <a:gd name="T47" fmla="*/ 1108 h 1108"/>
                  <a:gd name="T48" fmla="*/ 67 w 672"/>
                  <a:gd name="T49" fmla="*/ 172 h 1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72" h="1108">
                    <a:moveTo>
                      <a:pt x="67" y="172"/>
                    </a:moveTo>
                    <a:cubicBezTo>
                      <a:pt x="78" y="172"/>
                      <a:pt x="78" y="172"/>
                      <a:pt x="78" y="172"/>
                    </a:cubicBezTo>
                    <a:cubicBezTo>
                      <a:pt x="123" y="172"/>
                      <a:pt x="160" y="134"/>
                      <a:pt x="160" y="89"/>
                    </a:cubicBezTo>
                    <a:cubicBezTo>
                      <a:pt x="160" y="78"/>
                      <a:pt x="160" y="78"/>
                      <a:pt x="160" y="78"/>
                    </a:cubicBezTo>
                    <a:cubicBezTo>
                      <a:pt x="502" y="78"/>
                      <a:pt x="502" y="78"/>
                      <a:pt x="502" y="78"/>
                    </a:cubicBezTo>
                    <a:cubicBezTo>
                      <a:pt x="502" y="89"/>
                      <a:pt x="502" y="89"/>
                      <a:pt x="502" y="89"/>
                    </a:cubicBezTo>
                    <a:cubicBezTo>
                      <a:pt x="502" y="134"/>
                      <a:pt x="539" y="172"/>
                      <a:pt x="584" y="172"/>
                    </a:cubicBezTo>
                    <a:cubicBezTo>
                      <a:pt x="595" y="172"/>
                      <a:pt x="595" y="172"/>
                      <a:pt x="595" y="172"/>
                    </a:cubicBezTo>
                    <a:cubicBezTo>
                      <a:pt x="595" y="1108"/>
                      <a:pt x="595" y="1108"/>
                      <a:pt x="595" y="1108"/>
                    </a:cubicBezTo>
                    <a:cubicBezTo>
                      <a:pt x="672" y="1108"/>
                      <a:pt x="672" y="1108"/>
                      <a:pt x="672" y="1108"/>
                    </a:cubicBezTo>
                    <a:cubicBezTo>
                      <a:pt x="672" y="210"/>
                      <a:pt x="672" y="210"/>
                      <a:pt x="672" y="210"/>
                    </a:cubicBezTo>
                    <a:cubicBezTo>
                      <a:pt x="672" y="42"/>
                      <a:pt x="672" y="42"/>
                      <a:pt x="672" y="42"/>
                    </a:cubicBezTo>
                    <a:cubicBezTo>
                      <a:pt x="672" y="3"/>
                      <a:pt x="672" y="3"/>
                      <a:pt x="672" y="3"/>
                    </a:cubicBezTo>
                    <a:cubicBezTo>
                      <a:pt x="672" y="1"/>
                      <a:pt x="671" y="0"/>
                      <a:pt x="670" y="0"/>
                    </a:cubicBezTo>
                    <a:cubicBezTo>
                      <a:pt x="641" y="0"/>
                      <a:pt x="641" y="0"/>
                      <a:pt x="641" y="0"/>
                    </a:cubicBezTo>
                    <a:cubicBezTo>
                      <a:pt x="411" y="0"/>
                      <a:pt x="411" y="0"/>
                      <a:pt x="411" y="0"/>
                    </a:cubicBezTo>
                    <a:cubicBezTo>
                      <a:pt x="407" y="0"/>
                      <a:pt x="407" y="0"/>
                      <a:pt x="407" y="0"/>
                    </a:cubicBezTo>
                    <a:cubicBezTo>
                      <a:pt x="331" y="0"/>
                      <a:pt x="331" y="0"/>
                      <a:pt x="331" y="0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108"/>
                      <a:pt x="0" y="1108"/>
                      <a:pt x="0" y="1108"/>
                    </a:cubicBezTo>
                    <a:cubicBezTo>
                      <a:pt x="67" y="1108"/>
                      <a:pt x="67" y="1108"/>
                      <a:pt x="67" y="1108"/>
                    </a:cubicBezTo>
                    <a:lnTo>
                      <a:pt x="67" y="172"/>
                    </a:lnTo>
                    <a:close/>
                  </a:path>
                </a:pathLst>
              </a:custGeom>
              <a:solidFill>
                <a:srgbClr val="008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8" name="Freeform 8">
                <a:extLst>
                  <a:ext uri="{FF2B5EF4-FFF2-40B4-BE49-F238E27FC236}">
                    <a16:creationId xmlns:a16="http://schemas.microsoft.com/office/drawing/2014/main" xmlns="" id="{B3DADA80-F5D7-49C4-A4A0-391479F54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-45"/>
                <a:ext cx="587" cy="1143"/>
              </a:xfrm>
              <a:custGeom>
                <a:avLst/>
                <a:gdLst>
                  <a:gd name="T0" fmla="*/ 21 w 528"/>
                  <a:gd name="T1" fmla="*/ 115 h 1030"/>
                  <a:gd name="T2" fmla="*/ 114 w 528"/>
                  <a:gd name="T3" fmla="*/ 22 h 1030"/>
                  <a:gd name="T4" fmla="*/ 414 w 528"/>
                  <a:gd name="T5" fmla="*/ 22 h 1030"/>
                  <a:gd name="T6" fmla="*/ 507 w 528"/>
                  <a:gd name="T7" fmla="*/ 115 h 1030"/>
                  <a:gd name="T8" fmla="*/ 507 w 528"/>
                  <a:gd name="T9" fmla="*/ 1030 h 1030"/>
                  <a:gd name="T10" fmla="*/ 528 w 528"/>
                  <a:gd name="T11" fmla="*/ 1030 h 1030"/>
                  <a:gd name="T12" fmla="*/ 528 w 528"/>
                  <a:gd name="T13" fmla="*/ 94 h 1030"/>
                  <a:gd name="T14" fmla="*/ 517 w 528"/>
                  <a:gd name="T15" fmla="*/ 94 h 1030"/>
                  <a:gd name="T16" fmla="*/ 435 w 528"/>
                  <a:gd name="T17" fmla="*/ 11 h 1030"/>
                  <a:gd name="T18" fmla="*/ 435 w 528"/>
                  <a:gd name="T19" fmla="*/ 0 h 1030"/>
                  <a:gd name="T20" fmla="*/ 93 w 528"/>
                  <a:gd name="T21" fmla="*/ 0 h 1030"/>
                  <a:gd name="T22" fmla="*/ 93 w 528"/>
                  <a:gd name="T23" fmla="*/ 11 h 1030"/>
                  <a:gd name="T24" fmla="*/ 11 w 528"/>
                  <a:gd name="T25" fmla="*/ 94 h 1030"/>
                  <a:gd name="T26" fmla="*/ 0 w 528"/>
                  <a:gd name="T27" fmla="*/ 94 h 1030"/>
                  <a:gd name="T28" fmla="*/ 0 w 528"/>
                  <a:gd name="T29" fmla="*/ 1030 h 1030"/>
                  <a:gd name="T30" fmla="*/ 21 w 528"/>
                  <a:gd name="T31" fmla="*/ 1030 h 1030"/>
                  <a:gd name="T32" fmla="*/ 21 w 528"/>
                  <a:gd name="T33" fmla="*/ 115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8" h="1030">
                    <a:moveTo>
                      <a:pt x="21" y="115"/>
                    </a:moveTo>
                    <a:cubicBezTo>
                      <a:pt x="70" y="110"/>
                      <a:pt x="109" y="71"/>
                      <a:pt x="114" y="22"/>
                    </a:cubicBezTo>
                    <a:cubicBezTo>
                      <a:pt x="414" y="22"/>
                      <a:pt x="414" y="22"/>
                      <a:pt x="414" y="22"/>
                    </a:cubicBezTo>
                    <a:cubicBezTo>
                      <a:pt x="419" y="71"/>
                      <a:pt x="458" y="110"/>
                      <a:pt x="507" y="115"/>
                    </a:cubicBezTo>
                    <a:cubicBezTo>
                      <a:pt x="507" y="1030"/>
                      <a:pt x="507" y="1030"/>
                      <a:pt x="507" y="1030"/>
                    </a:cubicBezTo>
                    <a:cubicBezTo>
                      <a:pt x="528" y="1030"/>
                      <a:pt x="528" y="1030"/>
                      <a:pt x="528" y="1030"/>
                    </a:cubicBezTo>
                    <a:cubicBezTo>
                      <a:pt x="528" y="94"/>
                      <a:pt x="528" y="94"/>
                      <a:pt x="528" y="94"/>
                    </a:cubicBezTo>
                    <a:cubicBezTo>
                      <a:pt x="517" y="94"/>
                      <a:pt x="517" y="94"/>
                      <a:pt x="517" y="94"/>
                    </a:cubicBezTo>
                    <a:cubicBezTo>
                      <a:pt x="472" y="94"/>
                      <a:pt x="435" y="56"/>
                      <a:pt x="435" y="11"/>
                    </a:cubicBezTo>
                    <a:cubicBezTo>
                      <a:pt x="435" y="0"/>
                      <a:pt x="435" y="0"/>
                      <a:pt x="435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11"/>
                      <a:pt x="93" y="11"/>
                      <a:pt x="93" y="11"/>
                    </a:cubicBezTo>
                    <a:cubicBezTo>
                      <a:pt x="93" y="56"/>
                      <a:pt x="56" y="94"/>
                      <a:pt x="11" y="9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30"/>
                      <a:pt x="0" y="1030"/>
                      <a:pt x="0" y="1030"/>
                    </a:cubicBezTo>
                    <a:cubicBezTo>
                      <a:pt x="21" y="1030"/>
                      <a:pt x="21" y="1030"/>
                      <a:pt x="21" y="1030"/>
                    </a:cubicBezTo>
                    <a:lnTo>
                      <a:pt x="21" y="1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9" name="Freeform 9">
                <a:extLst>
                  <a:ext uri="{FF2B5EF4-FFF2-40B4-BE49-F238E27FC236}">
                    <a16:creationId xmlns:a16="http://schemas.microsoft.com/office/drawing/2014/main" xmlns="" id="{D44E1A50-992C-4BB5-85C2-AF3B057A38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10" y="422"/>
                <a:ext cx="399" cy="399"/>
              </a:xfrm>
              <a:custGeom>
                <a:avLst/>
                <a:gdLst>
                  <a:gd name="T0" fmla="*/ 359 w 359"/>
                  <a:gd name="T1" fmla="*/ 180 h 359"/>
                  <a:gd name="T2" fmla="*/ 180 w 359"/>
                  <a:gd name="T3" fmla="*/ 359 h 359"/>
                  <a:gd name="T4" fmla="*/ 0 w 359"/>
                  <a:gd name="T5" fmla="*/ 180 h 359"/>
                  <a:gd name="T6" fmla="*/ 180 w 359"/>
                  <a:gd name="T7" fmla="*/ 0 h 359"/>
                  <a:gd name="T8" fmla="*/ 359 w 359"/>
                  <a:gd name="T9" fmla="*/ 180 h 359"/>
                  <a:gd name="T10" fmla="*/ 47 w 359"/>
                  <a:gd name="T11" fmla="*/ 180 h 359"/>
                  <a:gd name="T12" fmla="*/ 180 w 359"/>
                  <a:gd name="T13" fmla="*/ 313 h 359"/>
                  <a:gd name="T14" fmla="*/ 313 w 359"/>
                  <a:gd name="T15" fmla="*/ 180 h 359"/>
                  <a:gd name="T16" fmla="*/ 180 w 359"/>
                  <a:gd name="T17" fmla="*/ 47 h 359"/>
                  <a:gd name="T18" fmla="*/ 47 w 359"/>
                  <a:gd name="T19" fmla="*/ 18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9" h="359">
                    <a:moveTo>
                      <a:pt x="359" y="180"/>
                    </a:moveTo>
                    <a:cubicBezTo>
                      <a:pt x="359" y="279"/>
                      <a:pt x="279" y="359"/>
                      <a:pt x="180" y="359"/>
                    </a:cubicBezTo>
                    <a:cubicBezTo>
                      <a:pt x="81" y="359"/>
                      <a:pt x="0" y="279"/>
                      <a:pt x="0" y="180"/>
                    </a:cubicBezTo>
                    <a:cubicBezTo>
                      <a:pt x="0" y="81"/>
                      <a:pt x="81" y="0"/>
                      <a:pt x="180" y="0"/>
                    </a:cubicBezTo>
                    <a:cubicBezTo>
                      <a:pt x="279" y="0"/>
                      <a:pt x="359" y="81"/>
                      <a:pt x="359" y="180"/>
                    </a:cubicBezTo>
                    <a:close/>
                    <a:moveTo>
                      <a:pt x="47" y="180"/>
                    </a:moveTo>
                    <a:cubicBezTo>
                      <a:pt x="47" y="253"/>
                      <a:pt x="106" y="313"/>
                      <a:pt x="180" y="313"/>
                    </a:cubicBezTo>
                    <a:cubicBezTo>
                      <a:pt x="253" y="313"/>
                      <a:pt x="313" y="253"/>
                      <a:pt x="313" y="180"/>
                    </a:cubicBezTo>
                    <a:cubicBezTo>
                      <a:pt x="313" y="107"/>
                      <a:pt x="253" y="47"/>
                      <a:pt x="180" y="47"/>
                    </a:cubicBezTo>
                    <a:cubicBezTo>
                      <a:pt x="106" y="47"/>
                      <a:pt x="47" y="107"/>
                      <a:pt x="47" y="18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0" name="Freeform 10">
                <a:extLst>
                  <a:ext uri="{FF2B5EF4-FFF2-40B4-BE49-F238E27FC236}">
                    <a16:creationId xmlns:a16="http://schemas.microsoft.com/office/drawing/2014/main" xmlns="" id="{43FF1F51-B772-424A-8FD2-85A4D66B9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" y="549"/>
                <a:ext cx="221" cy="127"/>
              </a:xfrm>
              <a:custGeom>
                <a:avLst/>
                <a:gdLst>
                  <a:gd name="T0" fmla="*/ 199 w 199"/>
                  <a:gd name="T1" fmla="*/ 71 h 115"/>
                  <a:gd name="T2" fmla="*/ 175 w 199"/>
                  <a:gd name="T3" fmla="*/ 71 h 115"/>
                  <a:gd name="T4" fmla="*/ 163 w 199"/>
                  <a:gd name="T5" fmla="*/ 115 h 115"/>
                  <a:gd name="T6" fmla="*/ 131 w 199"/>
                  <a:gd name="T7" fmla="*/ 107 h 115"/>
                  <a:gd name="T8" fmla="*/ 144 w 199"/>
                  <a:gd name="T9" fmla="*/ 62 h 115"/>
                  <a:gd name="T10" fmla="*/ 132 w 199"/>
                  <a:gd name="T11" fmla="*/ 38 h 115"/>
                  <a:gd name="T12" fmla="*/ 114 w 199"/>
                  <a:gd name="T13" fmla="*/ 66 h 115"/>
                  <a:gd name="T14" fmla="*/ 66 w 199"/>
                  <a:gd name="T15" fmla="*/ 113 h 115"/>
                  <a:gd name="T16" fmla="*/ 23 w 199"/>
                  <a:gd name="T17" fmla="*/ 70 h 115"/>
                  <a:gd name="T18" fmla="*/ 0 w 199"/>
                  <a:gd name="T19" fmla="*/ 70 h 115"/>
                  <a:gd name="T20" fmla="*/ 0 w 199"/>
                  <a:gd name="T21" fmla="*/ 45 h 115"/>
                  <a:gd name="T22" fmla="*/ 21 w 199"/>
                  <a:gd name="T23" fmla="*/ 45 h 115"/>
                  <a:gd name="T24" fmla="*/ 31 w 199"/>
                  <a:gd name="T25" fmla="*/ 7 h 115"/>
                  <a:gd name="T26" fmla="*/ 62 w 199"/>
                  <a:gd name="T27" fmla="*/ 16 h 115"/>
                  <a:gd name="T28" fmla="*/ 52 w 199"/>
                  <a:gd name="T29" fmla="*/ 55 h 115"/>
                  <a:gd name="T30" fmla="*/ 62 w 199"/>
                  <a:gd name="T31" fmla="*/ 76 h 115"/>
                  <a:gd name="T32" fmla="*/ 80 w 199"/>
                  <a:gd name="T33" fmla="*/ 45 h 115"/>
                  <a:gd name="T34" fmla="*/ 128 w 199"/>
                  <a:gd name="T35" fmla="*/ 0 h 115"/>
                  <a:gd name="T36" fmla="*/ 174 w 199"/>
                  <a:gd name="T37" fmla="*/ 46 h 115"/>
                  <a:gd name="T38" fmla="*/ 199 w 199"/>
                  <a:gd name="T39" fmla="*/ 46 h 115"/>
                  <a:gd name="T40" fmla="*/ 199 w 199"/>
                  <a:gd name="T41" fmla="*/ 7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9" h="115">
                    <a:moveTo>
                      <a:pt x="199" y="71"/>
                    </a:moveTo>
                    <a:cubicBezTo>
                      <a:pt x="175" y="71"/>
                      <a:pt x="175" y="71"/>
                      <a:pt x="175" y="71"/>
                    </a:cubicBezTo>
                    <a:cubicBezTo>
                      <a:pt x="175" y="89"/>
                      <a:pt x="168" y="105"/>
                      <a:pt x="163" y="115"/>
                    </a:cubicBezTo>
                    <a:cubicBezTo>
                      <a:pt x="131" y="107"/>
                      <a:pt x="131" y="107"/>
                      <a:pt x="131" y="107"/>
                    </a:cubicBezTo>
                    <a:cubicBezTo>
                      <a:pt x="138" y="95"/>
                      <a:pt x="144" y="79"/>
                      <a:pt x="144" y="62"/>
                    </a:cubicBezTo>
                    <a:cubicBezTo>
                      <a:pt x="144" y="47"/>
                      <a:pt x="141" y="38"/>
                      <a:pt x="132" y="38"/>
                    </a:cubicBezTo>
                    <a:cubicBezTo>
                      <a:pt x="124" y="38"/>
                      <a:pt x="119" y="46"/>
                      <a:pt x="114" y="66"/>
                    </a:cubicBezTo>
                    <a:cubicBezTo>
                      <a:pt x="104" y="99"/>
                      <a:pt x="90" y="113"/>
                      <a:pt x="66" y="113"/>
                    </a:cubicBezTo>
                    <a:cubicBezTo>
                      <a:pt x="45" y="113"/>
                      <a:pt x="28" y="99"/>
                      <a:pt x="23" y="7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2" y="27"/>
                      <a:pt x="27" y="14"/>
                      <a:pt x="31" y="7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59" y="23"/>
                      <a:pt x="52" y="36"/>
                      <a:pt x="52" y="55"/>
                    </a:cubicBezTo>
                    <a:cubicBezTo>
                      <a:pt x="52" y="71"/>
                      <a:pt x="56" y="76"/>
                      <a:pt x="62" y="76"/>
                    </a:cubicBezTo>
                    <a:cubicBezTo>
                      <a:pt x="70" y="76"/>
                      <a:pt x="74" y="67"/>
                      <a:pt x="80" y="45"/>
                    </a:cubicBezTo>
                    <a:cubicBezTo>
                      <a:pt x="91" y="9"/>
                      <a:pt x="107" y="0"/>
                      <a:pt x="128" y="0"/>
                    </a:cubicBezTo>
                    <a:cubicBezTo>
                      <a:pt x="150" y="0"/>
                      <a:pt x="169" y="16"/>
                      <a:pt x="174" y="46"/>
                    </a:cubicBezTo>
                    <a:cubicBezTo>
                      <a:pt x="199" y="46"/>
                      <a:pt x="199" y="46"/>
                      <a:pt x="199" y="46"/>
                    </a:cubicBezTo>
                    <a:lnTo>
                      <a:pt x="199" y="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1" name="Freeform 11">
                <a:extLst>
                  <a:ext uri="{FF2B5EF4-FFF2-40B4-BE49-F238E27FC236}">
                    <a16:creationId xmlns:a16="http://schemas.microsoft.com/office/drawing/2014/main" xmlns="" id="{BD5F8BE6-3891-4B7E-9DB8-4AE35837D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9" y="-56"/>
                <a:ext cx="109" cy="63"/>
              </a:xfrm>
              <a:custGeom>
                <a:avLst/>
                <a:gdLst>
                  <a:gd name="T0" fmla="*/ 98 w 98"/>
                  <a:gd name="T1" fmla="*/ 35 h 57"/>
                  <a:gd name="T2" fmla="*/ 87 w 98"/>
                  <a:gd name="T3" fmla="*/ 35 h 57"/>
                  <a:gd name="T4" fmla="*/ 81 w 98"/>
                  <a:gd name="T5" fmla="*/ 57 h 57"/>
                  <a:gd name="T6" fmla="*/ 65 w 98"/>
                  <a:gd name="T7" fmla="*/ 53 h 57"/>
                  <a:gd name="T8" fmla="*/ 71 w 98"/>
                  <a:gd name="T9" fmla="*/ 31 h 57"/>
                  <a:gd name="T10" fmla="*/ 65 w 98"/>
                  <a:gd name="T11" fmla="*/ 19 h 57"/>
                  <a:gd name="T12" fmla="*/ 56 w 98"/>
                  <a:gd name="T13" fmla="*/ 33 h 57"/>
                  <a:gd name="T14" fmla="*/ 33 w 98"/>
                  <a:gd name="T15" fmla="*/ 56 h 57"/>
                  <a:gd name="T16" fmla="*/ 11 w 98"/>
                  <a:gd name="T17" fmla="*/ 35 h 57"/>
                  <a:gd name="T18" fmla="*/ 0 w 98"/>
                  <a:gd name="T19" fmla="*/ 35 h 57"/>
                  <a:gd name="T20" fmla="*/ 0 w 98"/>
                  <a:gd name="T21" fmla="*/ 22 h 57"/>
                  <a:gd name="T22" fmla="*/ 10 w 98"/>
                  <a:gd name="T23" fmla="*/ 22 h 57"/>
                  <a:gd name="T24" fmla="*/ 15 w 98"/>
                  <a:gd name="T25" fmla="*/ 3 h 57"/>
                  <a:gd name="T26" fmla="*/ 30 w 98"/>
                  <a:gd name="T27" fmla="*/ 8 h 57"/>
                  <a:gd name="T28" fmla="*/ 25 w 98"/>
                  <a:gd name="T29" fmla="*/ 27 h 57"/>
                  <a:gd name="T30" fmla="*/ 31 w 98"/>
                  <a:gd name="T31" fmla="*/ 38 h 57"/>
                  <a:gd name="T32" fmla="*/ 40 w 98"/>
                  <a:gd name="T33" fmla="*/ 22 h 57"/>
                  <a:gd name="T34" fmla="*/ 63 w 98"/>
                  <a:gd name="T35" fmla="*/ 0 h 57"/>
                  <a:gd name="T36" fmla="*/ 86 w 98"/>
                  <a:gd name="T37" fmla="*/ 23 h 57"/>
                  <a:gd name="T38" fmla="*/ 98 w 98"/>
                  <a:gd name="T39" fmla="*/ 23 h 57"/>
                  <a:gd name="T40" fmla="*/ 98 w 98"/>
                  <a:gd name="T41" fmla="*/ 3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8" h="57">
                    <a:moveTo>
                      <a:pt x="98" y="35"/>
                    </a:move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44"/>
                      <a:pt x="83" y="52"/>
                      <a:pt x="81" y="57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8" y="47"/>
                      <a:pt x="71" y="39"/>
                      <a:pt x="71" y="31"/>
                    </a:cubicBezTo>
                    <a:cubicBezTo>
                      <a:pt x="71" y="23"/>
                      <a:pt x="70" y="19"/>
                      <a:pt x="65" y="19"/>
                    </a:cubicBezTo>
                    <a:cubicBezTo>
                      <a:pt x="61" y="19"/>
                      <a:pt x="59" y="23"/>
                      <a:pt x="56" y="33"/>
                    </a:cubicBezTo>
                    <a:cubicBezTo>
                      <a:pt x="51" y="49"/>
                      <a:pt x="44" y="56"/>
                      <a:pt x="33" y="56"/>
                    </a:cubicBezTo>
                    <a:cubicBezTo>
                      <a:pt x="22" y="56"/>
                      <a:pt x="14" y="49"/>
                      <a:pt x="11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14"/>
                      <a:pt x="13" y="7"/>
                      <a:pt x="15" y="3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9" y="12"/>
                      <a:pt x="25" y="18"/>
                      <a:pt x="25" y="27"/>
                    </a:cubicBezTo>
                    <a:cubicBezTo>
                      <a:pt x="25" y="35"/>
                      <a:pt x="28" y="38"/>
                      <a:pt x="31" y="38"/>
                    </a:cubicBezTo>
                    <a:cubicBezTo>
                      <a:pt x="35" y="38"/>
                      <a:pt x="36" y="33"/>
                      <a:pt x="40" y="22"/>
                    </a:cubicBezTo>
                    <a:cubicBezTo>
                      <a:pt x="45" y="4"/>
                      <a:pt x="53" y="0"/>
                      <a:pt x="63" y="0"/>
                    </a:cubicBezTo>
                    <a:cubicBezTo>
                      <a:pt x="74" y="0"/>
                      <a:pt x="84" y="8"/>
                      <a:pt x="86" y="23"/>
                    </a:cubicBezTo>
                    <a:cubicBezTo>
                      <a:pt x="98" y="23"/>
                      <a:pt x="98" y="23"/>
                      <a:pt x="98" y="23"/>
                    </a:cubicBezTo>
                    <a:lnTo>
                      <a:pt x="98" y="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2" name="Freeform 12">
                <a:extLst>
                  <a:ext uri="{FF2B5EF4-FFF2-40B4-BE49-F238E27FC236}">
                    <a16:creationId xmlns:a16="http://schemas.microsoft.com/office/drawing/2014/main" xmlns="" id="{CCAD416D-3E5B-4805-B85A-162BD469E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1" y="-48"/>
                <a:ext cx="110" cy="64"/>
              </a:xfrm>
              <a:custGeom>
                <a:avLst/>
                <a:gdLst>
                  <a:gd name="T0" fmla="*/ 99 w 99"/>
                  <a:gd name="T1" fmla="*/ 35 h 57"/>
                  <a:gd name="T2" fmla="*/ 87 w 99"/>
                  <a:gd name="T3" fmla="*/ 35 h 57"/>
                  <a:gd name="T4" fmla="*/ 81 w 99"/>
                  <a:gd name="T5" fmla="*/ 57 h 57"/>
                  <a:gd name="T6" fmla="*/ 65 w 99"/>
                  <a:gd name="T7" fmla="*/ 53 h 57"/>
                  <a:gd name="T8" fmla="*/ 72 w 99"/>
                  <a:gd name="T9" fmla="*/ 30 h 57"/>
                  <a:gd name="T10" fmla="*/ 66 w 99"/>
                  <a:gd name="T11" fmla="*/ 18 h 57"/>
                  <a:gd name="T12" fmla="*/ 57 w 99"/>
                  <a:gd name="T13" fmla="*/ 32 h 57"/>
                  <a:gd name="T14" fmla="*/ 33 w 99"/>
                  <a:gd name="T15" fmla="*/ 56 h 57"/>
                  <a:gd name="T16" fmla="*/ 12 w 99"/>
                  <a:gd name="T17" fmla="*/ 35 h 57"/>
                  <a:gd name="T18" fmla="*/ 0 w 99"/>
                  <a:gd name="T19" fmla="*/ 35 h 57"/>
                  <a:gd name="T20" fmla="*/ 0 w 99"/>
                  <a:gd name="T21" fmla="*/ 22 h 57"/>
                  <a:gd name="T22" fmla="*/ 11 w 99"/>
                  <a:gd name="T23" fmla="*/ 22 h 57"/>
                  <a:gd name="T24" fmla="*/ 15 w 99"/>
                  <a:gd name="T25" fmla="*/ 3 h 57"/>
                  <a:gd name="T26" fmla="*/ 31 w 99"/>
                  <a:gd name="T27" fmla="*/ 8 h 57"/>
                  <a:gd name="T28" fmla="*/ 26 w 99"/>
                  <a:gd name="T29" fmla="*/ 27 h 57"/>
                  <a:gd name="T30" fmla="*/ 31 w 99"/>
                  <a:gd name="T31" fmla="*/ 37 h 57"/>
                  <a:gd name="T32" fmla="*/ 40 w 99"/>
                  <a:gd name="T33" fmla="*/ 22 h 57"/>
                  <a:gd name="T34" fmla="*/ 64 w 99"/>
                  <a:gd name="T35" fmla="*/ 0 h 57"/>
                  <a:gd name="T36" fmla="*/ 86 w 99"/>
                  <a:gd name="T37" fmla="*/ 23 h 57"/>
                  <a:gd name="T38" fmla="*/ 99 w 99"/>
                  <a:gd name="T39" fmla="*/ 23 h 57"/>
                  <a:gd name="T40" fmla="*/ 99 w 99"/>
                  <a:gd name="T41" fmla="*/ 3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9" h="57">
                    <a:moveTo>
                      <a:pt x="99" y="35"/>
                    </a:moveTo>
                    <a:cubicBezTo>
                      <a:pt x="87" y="35"/>
                      <a:pt x="87" y="35"/>
                      <a:pt x="87" y="35"/>
                    </a:cubicBezTo>
                    <a:cubicBezTo>
                      <a:pt x="87" y="44"/>
                      <a:pt x="84" y="52"/>
                      <a:pt x="81" y="57"/>
                    </a:cubicBezTo>
                    <a:cubicBezTo>
                      <a:pt x="65" y="53"/>
                      <a:pt x="65" y="53"/>
                      <a:pt x="65" y="53"/>
                    </a:cubicBezTo>
                    <a:cubicBezTo>
                      <a:pt x="69" y="47"/>
                      <a:pt x="72" y="39"/>
                      <a:pt x="72" y="30"/>
                    </a:cubicBezTo>
                    <a:cubicBezTo>
                      <a:pt x="72" y="23"/>
                      <a:pt x="70" y="18"/>
                      <a:pt x="66" y="18"/>
                    </a:cubicBezTo>
                    <a:cubicBezTo>
                      <a:pt x="62" y="18"/>
                      <a:pt x="60" y="23"/>
                      <a:pt x="57" y="32"/>
                    </a:cubicBezTo>
                    <a:cubicBezTo>
                      <a:pt x="52" y="49"/>
                      <a:pt x="45" y="56"/>
                      <a:pt x="33" y="56"/>
                    </a:cubicBezTo>
                    <a:cubicBezTo>
                      <a:pt x="23" y="56"/>
                      <a:pt x="14" y="49"/>
                      <a:pt x="12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13"/>
                      <a:pt x="13" y="7"/>
                      <a:pt x="15" y="3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9" y="11"/>
                      <a:pt x="26" y="17"/>
                      <a:pt x="26" y="27"/>
                    </a:cubicBezTo>
                    <a:cubicBezTo>
                      <a:pt x="26" y="35"/>
                      <a:pt x="28" y="37"/>
                      <a:pt x="31" y="37"/>
                    </a:cubicBezTo>
                    <a:cubicBezTo>
                      <a:pt x="35" y="37"/>
                      <a:pt x="37" y="33"/>
                      <a:pt x="40" y="22"/>
                    </a:cubicBezTo>
                    <a:cubicBezTo>
                      <a:pt x="45" y="4"/>
                      <a:pt x="53" y="0"/>
                      <a:pt x="64" y="0"/>
                    </a:cubicBezTo>
                    <a:cubicBezTo>
                      <a:pt x="75" y="0"/>
                      <a:pt x="84" y="8"/>
                      <a:pt x="86" y="23"/>
                    </a:cubicBezTo>
                    <a:cubicBezTo>
                      <a:pt x="99" y="23"/>
                      <a:pt x="99" y="23"/>
                      <a:pt x="99" y="23"/>
                    </a:cubicBezTo>
                    <a:lnTo>
                      <a:pt x="99" y="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3" name="Freeform 13">
                <a:extLst>
                  <a:ext uri="{FF2B5EF4-FFF2-40B4-BE49-F238E27FC236}">
                    <a16:creationId xmlns:a16="http://schemas.microsoft.com/office/drawing/2014/main" xmlns="" id="{638F3118-E622-4972-BB2F-3FB15D78F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5" y="1098"/>
                <a:ext cx="1395" cy="2010"/>
              </a:xfrm>
              <a:custGeom>
                <a:avLst/>
                <a:gdLst>
                  <a:gd name="T0" fmla="*/ 1158 w 1255"/>
                  <a:gd name="T1" fmla="*/ 334 h 1810"/>
                  <a:gd name="T2" fmla="*/ 1013 w 1255"/>
                  <a:gd name="T3" fmla="*/ 334 h 1810"/>
                  <a:gd name="T4" fmla="*/ 1013 w 1255"/>
                  <a:gd name="T5" fmla="*/ 188 h 1810"/>
                  <a:gd name="T6" fmla="*/ 1070 w 1255"/>
                  <a:gd name="T7" fmla="*/ 188 h 1810"/>
                  <a:gd name="T8" fmla="*/ 1118 w 1255"/>
                  <a:gd name="T9" fmla="*/ 129 h 1810"/>
                  <a:gd name="T10" fmla="*/ 1118 w 1255"/>
                  <a:gd name="T11" fmla="*/ 59 h 1810"/>
                  <a:gd name="T12" fmla="*/ 1070 w 1255"/>
                  <a:gd name="T13" fmla="*/ 0 h 1810"/>
                  <a:gd name="T14" fmla="*/ 971 w 1255"/>
                  <a:gd name="T15" fmla="*/ 0 h 1810"/>
                  <a:gd name="T16" fmla="*/ 970 w 1255"/>
                  <a:gd name="T17" fmla="*/ 0 h 1810"/>
                  <a:gd name="T18" fmla="*/ 893 w 1255"/>
                  <a:gd name="T19" fmla="*/ 0 h 1810"/>
                  <a:gd name="T20" fmla="*/ 872 w 1255"/>
                  <a:gd name="T21" fmla="*/ 0 h 1810"/>
                  <a:gd name="T22" fmla="*/ 839 w 1255"/>
                  <a:gd name="T23" fmla="*/ 0 h 1810"/>
                  <a:gd name="T24" fmla="*/ 617 w 1255"/>
                  <a:gd name="T25" fmla="*/ 0 h 1810"/>
                  <a:gd name="T26" fmla="*/ 415 w 1255"/>
                  <a:gd name="T27" fmla="*/ 0 h 1810"/>
                  <a:gd name="T28" fmla="*/ 386 w 1255"/>
                  <a:gd name="T29" fmla="*/ 0 h 1810"/>
                  <a:gd name="T30" fmla="*/ 365 w 1255"/>
                  <a:gd name="T31" fmla="*/ 0 h 1810"/>
                  <a:gd name="T32" fmla="*/ 298 w 1255"/>
                  <a:gd name="T33" fmla="*/ 0 h 1810"/>
                  <a:gd name="T34" fmla="*/ 286 w 1255"/>
                  <a:gd name="T35" fmla="*/ 0 h 1810"/>
                  <a:gd name="T36" fmla="*/ 187 w 1255"/>
                  <a:gd name="T37" fmla="*/ 0 h 1810"/>
                  <a:gd name="T38" fmla="*/ 138 w 1255"/>
                  <a:gd name="T39" fmla="*/ 59 h 1810"/>
                  <a:gd name="T40" fmla="*/ 138 w 1255"/>
                  <a:gd name="T41" fmla="*/ 129 h 1810"/>
                  <a:gd name="T42" fmla="*/ 187 w 1255"/>
                  <a:gd name="T43" fmla="*/ 188 h 1810"/>
                  <a:gd name="T44" fmla="*/ 239 w 1255"/>
                  <a:gd name="T45" fmla="*/ 188 h 1810"/>
                  <a:gd name="T46" fmla="*/ 239 w 1255"/>
                  <a:gd name="T47" fmla="*/ 334 h 1810"/>
                  <a:gd name="T48" fmla="*/ 97 w 1255"/>
                  <a:gd name="T49" fmla="*/ 334 h 1810"/>
                  <a:gd name="T50" fmla="*/ 0 w 1255"/>
                  <a:gd name="T51" fmla="*/ 423 h 1810"/>
                  <a:gd name="T52" fmla="*/ 0 w 1255"/>
                  <a:gd name="T53" fmla="*/ 1721 h 1810"/>
                  <a:gd name="T54" fmla="*/ 97 w 1255"/>
                  <a:gd name="T55" fmla="*/ 1810 h 1810"/>
                  <a:gd name="T56" fmla="*/ 617 w 1255"/>
                  <a:gd name="T57" fmla="*/ 1810 h 1810"/>
                  <a:gd name="T58" fmla="*/ 628 w 1255"/>
                  <a:gd name="T59" fmla="*/ 1810 h 1810"/>
                  <a:gd name="T60" fmla="*/ 1158 w 1255"/>
                  <a:gd name="T61" fmla="*/ 1810 h 1810"/>
                  <a:gd name="T62" fmla="*/ 1255 w 1255"/>
                  <a:gd name="T63" fmla="*/ 1721 h 1810"/>
                  <a:gd name="T64" fmla="*/ 1255 w 1255"/>
                  <a:gd name="T65" fmla="*/ 423 h 1810"/>
                  <a:gd name="T66" fmla="*/ 1158 w 1255"/>
                  <a:gd name="T67" fmla="*/ 334 h 1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55" h="1810">
                    <a:moveTo>
                      <a:pt x="1158" y="334"/>
                    </a:moveTo>
                    <a:cubicBezTo>
                      <a:pt x="1013" y="334"/>
                      <a:pt x="1013" y="334"/>
                      <a:pt x="1013" y="334"/>
                    </a:cubicBezTo>
                    <a:cubicBezTo>
                      <a:pt x="1013" y="188"/>
                      <a:pt x="1013" y="188"/>
                      <a:pt x="1013" y="188"/>
                    </a:cubicBezTo>
                    <a:cubicBezTo>
                      <a:pt x="1070" y="188"/>
                      <a:pt x="1070" y="188"/>
                      <a:pt x="1070" y="188"/>
                    </a:cubicBezTo>
                    <a:cubicBezTo>
                      <a:pt x="1096" y="188"/>
                      <a:pt x="1118" y="161"/>
                      <a:pt x="1118" y="129"/>
                    </a:cubicBezTo>
                    <a:cubicBezTo>
                      <a:pt x="1118" y="59"/>
                      <a:pt x="1118" y="59"/>
                      <a:pt x="1118" y="59"/>
                    </a:cubicBezTo>
                    <a:cubicBezTo>
                      <a:pt x="1118" y="27"/>
                      <a:pt x="1096" y="0"/>
                      <a:pt x="1070" y="0"/>
                    </a:cubicBezTo>
                    <a:cubicBezTo>
                      <a:pt x="971" y="0"/>
                      <a:pt x="971" y="0"/>
                      <a:pt x="971" y="0"/>
                    </a:cubicBezTo>
                    <a:cubicBezTo>
                      <a:pt x="970" y="0"/>
                      <a:pt x="970" y="0"/>
                      <a:pt x="970" y="0"/>
                    </a:cubicBezTo>
                    <a:cubicBezTo>
                      <a:pt x="893" y="0"/>
                      <a:pt x="893" y="0"/>
                      <a:pt x="893" y="0"/>
                    </a:cubicBezTo>
                    <a:cubicBezTo>
                      <a:pt x="872" y="0"/>
                      <a:pt x="872" y="0"/>
                      <a:pt x="872" y="0"/>
                    </a:cubicBezTo>
                    <a:cubicBezTo>
                      <a:pt x="839" y="0"/>
                      <a:pt x="839" y="0"/>
                      <a:pt x="839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415" y="0"/>
                      <a:pt x="415" y="0"/>
                      <a:pt x="415" y="0"/>
                    </a:cubicBezTo>
                    <a:cubicBezTo>
                      <a:pt x="386" y="0"/>
                      <a:pt x="386" y="0"/>
                      <a:pt x="386" y="0"/>
                    </a:cubicBezTo>
                    <a:cubicBezTo>
                      <a:pt x="365" y="0"/>
                      <a:pt x="365" y="0"/>
                      <a:pt x="365" y="0"/>
                    </a:cubicBezTo>
                    <a:cubicBezTo>
                      <a:pt x="298" y="0"/>
                      <a:pt x="298" y="0"/>
                      <a:pt x="298" y="0"/>
                    </a:cubicBezTo>
                    <a:cubicBezTo>
                      <a:pt x="286" y="0"/>
                      <a:pt x="286" y="0"/>
                      <a:pt x="286" y="0"/>
                    </a:cubicBezTo>
                    <a:cubicBezTo>
                      <a:pt x="187" y="0"/>
                      <a:pt x="187" y="0"/>
                      <a:pt x="187" y="0"/>
                    </a:cubicBezTo>
                    <a:cubicBezTo>
                      <a:pt x="160" y="0"/>
                      <a:pt x="138" y="27"/>
                      <a:pt x="138" y="59"/>
                    </a:cubicBezTo>
                    <a:cubicBezTo>
                      <a:pt x="138" y="129"/>
                      <a:pt x="138" y="129"/>
                      <a:pt x="138" y="129"/>
                    </a:cubicBezTo>
                    <a:cubicBezTo>
                      <a:pt x="138" y="161"/>
                      <a:pt x="160" y="188"/>
                      <a:pt x="187" y="188"/>
                    </a:cubicBezTo>
                    <a:cubicBezTo>
                      <a:pt x="239" y="188"/>
                      <a:pt x="239" y="188"/>
                      <a:pt x="239" y="188"/>
                    </a:cubicBezTo>
                    <a:cubicBezTo>
                      <a:pt x="239" y="334"/>
                      <a:pt x="239" y="334"/>
                      <a:pt x="239" y="334"/>
                    </a:cubicBezTo>
                    <a:cubicBezTo>
                      <a:pt x="97" y="334"/>
                      <a:pt x="97" y="334"/>
                      <a:pt x="97" y="334"/>
                    </a:cubicBezTo>
                    <a:cubicBezTo>
                      <a:pt x="44" y="334"/>
                      <a:pt x="0" y="374"/>
                      <a:pt x="0" y="423"/>
                    </a:cubicBezTo>
                    <a:cubicBezTo>
                      <a:pt x="0" y="1721"/>
                      <a:pt x="0" y="1721"/>
                      <a:pt x="0" y="1721"/>
                    </a:cubicBezTo>
                    <a:cubicBezTo>
                      <a:pt x="0" y="1770"/>
                      <a:pt x="44" y="1810"/>
                      <a:pt x="97" y="1810"/>
                    </a:cubicBezTo>
                    <a:cubicBezTo>
                      <a:pt x="617" y="1810"/>
                      <a:pt x="617" y="1810"/>
                      <a:pt x="617" y="1810"/>
                    </a:cubicBezTo>
                    <a:cubicBezTo>
                      <a:pt x="628" y="1810"/>
                      <a:pt x="628" y="1810"/>
                      <a:pt x="628" y="1810"/>
                    </a:cubicBezTo>
                    <a:cubicBezTo>
                      <a:pt x="1158" y="1810"/>
                      <a:pt x="1158" y="1810"/>
                      <a:pt x="1158" y="1810"/>
                    </a:cubicBezTo>
                    <a:cubicBezTo>
                      <a:pt x="1212" y="1810"/>
                      <a:pt x="1255" y="1770"/>
                      <a:pt x="1255" y="1721"/>
                    </a:cubicBezTo>
                    <a:cubicBezTo>
                      <a:pt x="1255" y="423"/>
                      <a:pt x="1255" y="423"/>
                      <a:pt x="1255" y="423"/>
                    </a:cubicBezTo>
                    <a:cubicBezTo>
                      <a:pt x="1255" y="374"/>
                      <a:pt x="1212" y="334"/>
                      <a:pt x="1158" y="334"/>
                    </a:cubicBezTo>
                    <a:close/>
                  </a:path>
                </a:pathLst>
              </a:custGeom>
              <a:solidFill>
                <a:srgbClr val="EE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4" name="Oval 14">
                <a:extLst>
                  <a:ext uri="{FF2B5EF4-FFF2-40B4-BE49-F238E27FC236}">
                    <a16:creationId xmlns:a16="http://schemas.microsoft.com/office/drawing/2014/main" xmlns="" id="{F8DC7235-0A5A-412A-8925-74B684EB6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" y="1548"/>
                <a:ext cx="389" cy="387"/>
              </a:xfrm>
              <a:prstGeom prst="ellipse">
                <a:avLst/>
              </a:prstGeom>
              <a:solidFill>
                <a:srgbClr val="FCCD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5" name="Freeform 15">
                <a:extLst>
                  <a:ext uri="{FF2B5EF4-FFF2-40B4-BE49-F238E27FC236}">
                    <a16:creationId xmlns:a16="http://schemas.microsoft.com/office/drawing/2014/main" xmlns="" id="{63169DD9-7B5F-4134-BA85-FFA42D664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8" y="1627"/>
                <a:ext cx="105" cy="213"/>
              </a:xfrm>
              <a:custGeom>
                <a:avLst/>
                <a:gdLst>
                  <a:gd name="T0" fmla="*/ 90 w 94"/>
                  <a:gd name="T1" fmla="*/ 140 h 192"/>
                  <a:gd name="T2" fmla="*/ 66 w 94"/>
                  <a:gd name="T3" fmla="*/ 161 h 192"/>
                  <a:gd name="T4" fmla="*/ 45 w 94"/>
                  <a:gd name="T5" fmla="*/ 189 h 192"/>
                  <a:gd name="T6" fmla="*/ 43 w 94"/>
                  <a:gd name="T7" fmla="*/ 191 h 192"/>
                  <a:gd name="T8" fmla="*/ 36 w 94"/>
                  <a:gd name="T9" fmla="*/ 192 h 192"/>
                  <a:gd name="T10" fmla="*/ 27 w 94"/>
                  <a:gd name="T11" fmla="*/ 191 h 192"/>
                  <a:gd name="T12" fmla="*/ 25 w 94"/>
                  <a:gd name="T13" fmla="*/ 187 h 192"/>
                  <a:gd name="T14" fmla="*/ 19 w 94"/>
                  <a:gd name="T15" fmla="*/ 163 h 192"/>
                  <a:gd name="T16" fmla="*/ 6 w 94"/>
                  <a:gd name="T17" fmla="*/ 159 h 192"/>
                  <a:gd name="T18" fmla="*/ 0 w 94"/>
                  <a:gd name="T19" fmla="*/ 152 h 192"/>
                  <a:gd name="T20" fmla="*/ 0 w 94"/>
                  <a:gd name="T21" fmla="*/ 139 h 192"/>
                  <a:gd name="T22" fmla="*/ 2 w 94"/>
                  <a:gd name="T23" fmla="*/ 134 h 192"/>
                  <a:gd name="T24" fmla="*/ 8 w 94"/>
                  <a:gd name="T25" fmla="*/ 135 h 192"/>
                  <a:gd name="T26" fmla="*/ 25 w 94"/>
                  <a:gd name="T27" fmla="*/ 142 h 192"/>
                  <a:gd name="T28" fmla="*/ 58 w 94"/>
                  <a:gd name="T29" fmla="*/ 139 h 192"/>
                  <a:gd name="T30" fmla="*/ 62 w 94"/>
                  <a:gd name="T31" fmla="*/ 118 h 192"/>
                  <a:gd name="T32" fmla="*/ 45 w 94"/>
                  <a:gd name="T33" fmla="*/ 107 h 192"/>
                  <a:gd name="T34" fmla="*/ 22 w 94"/>
                  <a:gd name="T35" fmla="*/ 98 h 192"/>
                  <a:gd name="T36" fmla="*/ 5 w 94"/>
                  <a:gd name="T37" fmla="*/ 80 h 192"/>
                  <a:gd name="T38" fmla="*/ 5 w 94"/>
                  <a:gd name="T39" fmla="*/ 49 h 192"/>
                  <a:gd name="T40" fmla="*/ 25 w 94"/>
                  <a:gd name="T41" fmla="*/ 30 h 192"/>
                  <a:gd name="T42" fmla="*/ 44 w 94"/>
                  <a:gd name="T43" fmla="*/ 4 h 192"/>
                  <a:gd name="T44" fmla="*/ 46 w 94"/>
                  <a:gd name="T45" fmla="*/ 1 h 192"/>
                  <a:gd name="T46" fmla="*/ 53 w 94"/>
                  <a:gd name="T47" fmla="*/ 0 h 192"/>
                  <a:gd name="T48" fmla="*/ 62 w 94"/>
                  <a:gd name="T49" fmla="*/ 2 h 192"/>
                  <a:gd name="T50" fmla="*/ 64 w 94"/>
                  <a:gd name="T51" fmla="*/ 5 h 192"/>
                  <a:gd name="T52" fmla="*/ 68 w 94"/>
                  <a:gd name="T53" fmla="*/ 27 h 192"/>
                  <a:gd name="T54" fmla="*/ 80 w 94"/>
                  <a:gd name="T55" fmla="*/ 31 h 192"/>
                  <a:gd name="T56" fmla="*/ 85 w 94"/>
                  <a:gd name="T57" fmla="*/ 35 h 192"/>
                  <a:gd name="T58" fmla="*/ 86 w 94"/>
                  <a:gd name="T59" fmla="*/ 40 h 192"/>
                  <a:gd name="T60" fmla="*/ 86 w 94"/>
                  <a:gd name="T61" fmla="*/ 50 h 192"/>
                  <a:gd name="T62" fmla="*/ 84 w 94"/>
                  <a:gd name="T63" fmla="*/ 55 h 192"/>
                  <a:gd name="T64" fmla="*/ 79 w 94"/>
                  <a:gd name="T65" fmla="*/ 54 h 192"/>
                  <a:gd name="T66" fmla="*/ 63 w 94"/>
                  <a:gd name="T67" fmla="*/ 48 h 192"/>
                  <a:gd name="T68" fmla="*/ 42 w 94"/>
                  <a:gd name="T69" fmla="*/ 48 h 192"/>
                  <a:gd name="T70" fmla="*/ 32 w 94"/>
                  <a:gd name="T71" fmla="*/ 55 h 192"/>
                  <a:gd name="T72" fmla="*/ 33 w 94"/>
                  <a:gd name="T73" fmla="*/ 70 h 192"/>
                  <a:gd name="T74" fmla="*/ 51 w 94"/>
                  <a:gd name="T75" fmla="*/ 80 h 192"/>
                  <a:gd name="T76" fmla="*/ 74 w 94"/>
                  <a:gd name="T77" fmla="*/ 90 h 192"/>
                  <a:gd name="T78" fmla="*/ 91 w 94"/>
                  <a:gd name="T79" fmla="*/ 10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4" h="192">
                    <a:moveTo>
                      <a:pt x="94" y="123"/>
                    </a:moveTo>
                    <a:cubicBezTo>
                      <a:pt x="94" y="129"/>
                      <a:pt x="93" y="135"/>
                      <a:pt x="90" y="140"/>
                    </a:cubicBezTo>
                    <a:cubicBezTo>
                      <a:pt x="88" y="145"/>
                      <a:pt x="85" y="149"/>
                      <a:pt x="81" y="153"/>
                    </a:cubicBezTo>
                    <a:cubicBezTo>
                      <a:pt x="77" y="156"/>
                      <a:pt x="72" y="159"/>
                      <a:pt x="66" y="161"/>
                    </a:cubicBezTo>
                    <a:cubicBezTo>
                      <a:pt x="61" y="163"/>
                      <a:pt x="54" y="165"/>
                      <a:pt x="48" y="165"/>
                    </a:cubicBezTo>
                    <a:cubicBezTo>
                      <a:pt x="45" y="189"/>
                      <a:pt x="45" y="189"/>
                      <a:pt x="45" y="189"/>
                    </a:cubicBezTo>
                    <a:cubicBezTo>
                      <a:pt x="45" y="189"/>
                      <a:pt x="45" y="190"/>
                      <a:pt x="45" y="190"/>
                    </a:cubicBezTo>
                    <a:cubicBezTo>
                      <a:pt x="45" y="190"/>
                      <a:pt x="44" y="191"/>
                      <a:pt x="43" y="191"/>
                    </a:cubicBezTo>
                    <a:cubicBezTo>
                      <a:pt x="43" y="191"/>
                      <a:pt x="42" y="192"/>
                      <a:pt x="41" y="192"/>
                    </a:cubicBezTo>
                    <a:cubicBezTo>
                      <a:pt x="39" y="192"/>
                      <a:pt x="38" y="192"/>
                      <a:pt x="36" y="192"/>
                    </a:cubicBezTo>
                    <a:cubicBezTo>
                      <a:pt x="34" y="192"/>
                      <a:pt x="32" y="192"/>
                      <a:pt x="30" y="192"/>
                    </a:cubicBezTo>
                    <a:cubicBezTo>
                      <a:pt x="29" y="192"/>
                      <a:pt x="28" y="191"/>
                      <a:pt x="27" y="191"/>
                    </a:cubicBezTo>
                    <a:cubicBezTo>
                      <a:pt x="26" y="190"/>
                      <a:pt x="26" y="190"/>
                      <a:pt x="26" y="189"/>
                    </a:cubicBezTo>
                    <a:cubicBezTo>
                      <a:pt x="25" y="189"/>
                      <a:pt x="25" y="188"/>
                      <a:pt x="25" y="187"/>
                    </a:cubicBezTo>
                    <a:cubicBezTo>
                      <a:pt x="28" y="165"/>
                      <a:pt x="28" y="165"/>
                      <a:pt x="28" y="165"/>
                    </a:cubicBezTo>
                    <a:cubicBezTo>
                      <a:pt x="25" y="165"/>
                      <a:pt x="22" y="164"/>
                      <a:pt x="19" y="163"/>
                    </a:cubicBezTo>
                    <a:cubicBezTo>
                      <a:pt x="16" y="163"/>
                      <a:pt x="14" y="162"/>
                      <a:pt x="11" y="161"/>
                    </a:cubicBezTo>
                    <a:cubicBezTo>
                      <a:pt x="9" y="160"/>
                      <a:pt x="7" y="159"/>
                      <a:pt x="6" y="159"/>
                    </a:cubicBezTo>
                    <a:cubicBezTo>
                      <a:pt x="4" y="158"/>
                      <a:pt x="3" y="157"/>
                      <a:pt x="2" y="156"/>
                    </a:cubicBezTo>
                    <a:cubicBezTo>
                      <a:pt x="1" y="155"/>
                      <a:pt x="1" y="154"/>
                      <a:pt x="0" y="152"/>
                    </a:cubicBezTo>
                    <a:cubicBezTo>
                      <a:pt x="0" y="151"/>
                      <a:pt x="0" y="148"/>
                      <a:pt x="0" y="145"/>
                    </a:cubicBezTo>
                    <a:cubicBezTo>
                      <a:pt x="0" y="143"/>
                      <a:pt x="0" y="141"/>
                      <a:pt x="0" y="139"/>
                    </a:cubicBezTo>
                    <a:cubicBezTo>
                      <a:pt x="0" y="138"/>
                      <a:pt x="0" y="136"/>
                      <a:pt x="1" y="135"/>
                    </a:cubicBezTo>
                    <a:cubicBezTo>
                      <a:pt x="1" y="135"/>
                      <a:pt x="1" y="134"/>
                      <a:pt x="2" y="134"/>
                    </a:cubicBezTo>
                    <a:cubicBezTo>
                      <a:pt x="3" y="133"/>
                      <a:pt x="3" y="133"/>
                      <a:pt x="4" y="133"/>
                    </a:cubicBezTo>
                    <a:cubicBezTo>
                      <a:pt x="5" y="133"/>
                      <a:pt x="6" y="134"/>
                      <a:pt x="8" y="135"/>
                    </a:cubicBezTo>
                    <a:cubicBezTo>
                      <a:pt x="10" y="136"/>
                      <a:pt x="12" y="137"/>
                      <a:pt x="15" y="138"/>
                    </a:cubicBezTo>
                    <a:cubicBezTo>
                      <a:pt x="18" y="140"/>
                      <a:pt x="21" y="141"/>
                      <a:pt x="25" y="142"/>
                    </a:cubicBezTo>
                    <a:cubicBezTo>
                      <a:pt x="29" y="143"/>
                      <a:pt x="34" y="144"/>
                      <a:pt x="39" y="144"/>
                    </a:cubicBezTo>
                    <a:cubicBezTo>
                      <a:pt x="48" y="144"/>
                      <a:pt x="54" y="142"/>
                      <a:pt x="58" y="139"/>
                    </a:cubicBezTo>
                    <a:cubicBezTo>
                      <a:pt x="62" y="136"/>
                      <a:pt x="64" y="132"/>
                      <a:pt x="64" y="126"/>
                    </a:cubicBezTo>
                    <a:cubicBezTo>
                      <a:pt x="64" y="123"/>
                      <a:pt x="63" y="120"/>
                      <a:pt x="62" y="118"/>
                    </a:cubicBezTo>
                    <a:cubicBezTo>
                      <a:pt x="60" y="116"/>
                      <a:pt x="58" y="114"/>
                      <a:pt x="55" y="112"/>
                    </a:cubicBezTo>
                    <a:cubicBezTo>
                      <a:pt x="52" y="110"/>
                      <a:pt x="48" y="109"/>
                      <a:pt x="45" y="107"/>
                    </a:cubicBezTo>
                    <a:cubicBezTo>
                      <a:pt x="41" y="106"/>
                      <a:pt x="37" y="105"/>
                      <a:pt x="33" y="103"/>
                    </a:cubicBezTo>
                    <a:cubicBezTo>
                      <a:pt x="29" y="102"/>
                      <a:pt x="25" y="100"/>
                      <a:pt x="22" y="98"/>
                    </a:cubicBezTo>
                    <a:cubicBezTo>
                      <a:pt x="18" y="96"/>
                      <a:pt x="15" y="93"/>
                      <a:pt x="12" y="90"/>
                    </a:cubicBezTo>
                    <a:cubicBezTo>
                      <a:pt x="9" y="87"/>
                      <a:pt x="6" y="84"/>
                      <a:pt x="5" y="80"/>
                    </a:cubicBezTo>
                    <a:cubicBezTo>
                      <a:pt x="3" y="75"/>
                      <a:pt x="2" y="70"/>
                      <a:pt x="2" y="64"/>
                    </a:cubicBezTo>
                    <a:cubicBezTo>
                      <a:pt x="2" y="59"/>
                      <a:pt x="3" y="54"/>
                      <a:pt x="5" y="49"/>
                    </a:cubicBezTo>
                    <a:cubicBezTo>
                      <a:pt x="6" y="45"/>
                      <a:pt x="9" y="41"/>
                      <a:pt x="12" y="38"/>
                    </a:cubicBezTo>
                    <a:cubicBezTo>
                      <a:pt x="16" y="34"/>
                      <a:pt x="20" y="32"/>
                      <a:pt x="25" y="30"/>
                    </a:cubicBezTo>
                    <a:cubicBezTo>
                      <a:pt x="30" y="28"/>
                      <a:pt x="36" y="26"/>
                      <a:pt x="42" y="25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3"/>
                      <a:pt x="44" y="3"/>
                      <a:pt x="44" y="2"/>
                    </a:cubicBezTo>
                    <a:cubicBezTo>
                      <a:pt x="45" y="2"/>
                      <a:pt x="45" y="2"/>
                      <a:pt x="46" y="1"/>
                    </a:cubicBezTo>
                    <a:cubicBezTo>
                      <a:pt x="47" y="1"/>
                      <a:pt x="47" y="1"/>
                      <a:pt x="49" y="0"/>
                    </a:cubicBezTo>
                    <a:cubicBezTo>
                      <a:pt x="50" y="0"/>
                      <a:pt x="51" y="0"/>
                      <a:pt x="53" y="0"/>
                    </a:cubicBezTo>
                    <a:cubicBezTo>
                      <a:pt x="55" y="0"/>
                      <a:pt x="57" y="0"/>
                      <a:pt x="59" y="1"/>
                    </a:cubicBezTo>
                    <a:cubicBezTo>
                      <a:pt x="60" y="1"/>
                      <a:pt x="61" y="1"/>
                      <a:pt x="62" y="2"/>
                    </a:cubicBezTo>
                    <a:cubicBezTo>
                      <a:pt x="63" y="2"/>
                      <a:pt x="63" y="2"/>
                      <a:pt x="64" y="3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2" y="26"/>
                      <a:pt x="62" y="26"/>
                      <a:pt x="62" y="26"/>
                    </a:cubicBezTo>
                    <a:cubicBezTo>
                      <a:pt x="64" y="26"/>
                      <a:pt x="66" y="26"/>
                      <a:pt x="68" y="27"/>
                    </a:cubicBezTo>
                    <a:cubicBezTo>
                      <a:pt x="70" y="27"/>
                      <a:pt x="73" y="28"/>
                      <a:pt x="75" y="29"/>
                    </a:cubicBezTo>
                    <a:cubicBezTo>
                      <a:pt x="76" y="29"/>
                      <a:pt x="78" y="30"/>
                      <a:pt x="80" y="31"/>
                    </a:cubicBezTo>
                    <a:cubicBezTo>
                      <a:pt x="81" y="32"/>
                      <a:pt x="82" y="32"/>
                      <a:pt x="83" y="33"/>
                    </a:cubicBezTo>
                    <a:cubicBezTo>
                      <a:pt x="84" y="34"/>
                      <a:pt x="84" y="34"/>
                      <a:pt x="85" y="35"/>
                    </a:cubicBezTo>
                    <a:cubicBezTo>
                      <a:pt x="85" y="35"/>
                      <a:pt x="85" y="36"/>
                      <a:pt x="85" y="37"/>
                    </a:cubicBezTo>
                    <a:cubicBezTo>
                      <a:pt x="85" y="38"/>
                      <a:pt x="86" y="39"/>
                      <a:pt x="86" y="40"/>
                    </a:cubicBezTo>
                    <a:cubicBezTo>
                      <a:pt x="86" y="42"/>
                      <a:pt x="86" y="43"/>
                      <a:pt x="86" y="45"/>
                    </a:cubicBezTo>
                    <a:cubicBezTo>
                      <a:pt x="86" y="47"/>
                      <a:pt x="86" y="49"/>
                      <a:pt x="86" y="50"/>
                    </a:cubicBezTo>
                    <a:cubicBezTo>
                      <a:pt x="85" y="52"/>
                      <a:pt x="85" y="53"/>
                      <a:pt x="85" y="54"/>
                    </a:cubicBezTo>
                    <a:cubicBezTo>
                      <a:pt x="85" y="54"/>
                      <a:pt x="84" y="55"/>
                      <a:pt x="84" y="55"/>
                    </a:cubicBezTo>
                    <a:cubicBezTo>
                      <a:pt x="84" y="55"/>
                      <a:pt x="83" y="55"/>
                      <a:pt x="83" y="55"/>
                    </a:cubicBezTo>
                    <a:cubicBezTo>
                      <a:pt x="82" y="55"/>
                      <a:pt x="80" y="55"/>
                      <a:pt x="79" y="54"/>
                    </a:cubicBezTo>
                    <a:cubicBezTo>
                      <a:pt x="77" y="53"/>
                      <a:pt x="75" y="52"/>
                      <a:pt x="72" y="51"/>
                    </a:cubicBezTo>
                    <a:cubicBezTo>
                      <a:pt x="69" y="50"/>
                      <a:pt x="66" y="49"/>
                      <a:pt x="63" y="48"/>
                    </a:cubicBezTo>
                    <a:cubicBezTo>
                      <a:pt x="59" y="47"/>
                      <a:pt x="56" y="47"/>
                      <a:pt x="52" y="47"/>
                    </a:cubicBezTo>
                    <a:cubicBezTo>
                      <a:pt x="48" y="47"/>
                      <a:pt x="45" y="47"/>
                      <a:pt x="42" y="48"/>
                    </a:cubicBezTo>
                    <a:cubicBezTo>
                      <a:pt x="39" y="48"/>
                      <a:pt x="37" y="49"/>
                      <a:pt x="35" y="51"/>
                    </a:cubicBezTo>
                    <a:cubicBezTo>
                      <a:pt x="34" y="52"/>
                      <a:pt x="33" y="53"/>
                      <a:pt x="32" y="55"/>
                    </a:cubicBezTo>
                    <a:cubicBezTo>
                      <a:pt x="31" y="57"/>
                      <a:pt x="31" y="59"/>
                      <a:pt x="31" y="61"/>
                    </a:cubicBezTo>
                    <a:cubicBezTo>
                      <a:pt x="31" y="65"/>
                      <a:pt x="31" y="67"/>
                      <a:pt x="33" y="70"/>
                    </a:cubicBezTo>
                    <a:cubicBezTo>
                      <a:pt x="35" y="72"/>
                      <a:pt x="37" y="74"/>
                      <a:pt x="40" y="76"/>
                    </a:cubicBezTo>
                    <a:cubicBezTo>
                      <a:pt x="43" y="77"/>
                      <a:pt x="47" y="79"/>
                      <a:pt x="51" y="80"/>
                    </a:cubicBezTo>
                    <a:cubicBezTo>
                      <a:pt x="54" y="82"/>
                      <a:pt x="58" y="83"/>
                      <a:pt x="62" y="85"/>
                    </a:cubicBezTo>
                    <a:cubicBezTo>
                      <a:pt x="66" y="86"/>
                      <a:pt x="70" y="88"/>
                      <a:pt x="74" y="90"/>
                    </a:cubicBezTo>
                    <a:cubicBezTo>
                      <a:pt x="78" y="92"/>
                      <a:pt x="81" y="94"/>
                      <a:pt x="84" y="97"/>
                    </a:cubicBezTo>
                    <a:cubicBezTo>
                      <a:pt x="87" y="100"/>
                      <a:pt x="89" y="104"/>
                      <a:pt x="91" y="108"/>
                    </a:cubicBezTo>
                    <a:cubicBezTo>
                      <a:pt x="93" y="112"/>
                      <a:pt x="94" y="117"/>
                      <a:pt x="94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6" name="Oval 16">
                <a:extLst>
                  <a:ext uri="{FF2B5EF4-FFF2-40B4-BE49-F238E27FC236}">
                    <a16:creationId xmlns:a16="http://schemas.microsoft.com/office/drawing/2014/main" xmlns="" id="{2DE23E4E-531E-446A-9493-4774412A31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" y="2622"/>
                <a:ext cx="344" cy="344"/>
              </a:xfrm>
              <a:prstGeom prst="ellipse">
                <a:avLst/>
              </a:prstGeom>
              <a:solidFill>
                <a:srgbClr val="FCCD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7" name="Freeform 17">
                <a:extLst>
                  <a:ext uri="{FF2B5EF4-FFF2-40B4-BE49-F238E27FC236}">
                    <a16:creationId xmlns:a16="http://schemas.microsoft.com/office/drawing/2014/main" xmlns="" id="{55DC6257-C527-4B44-85F6-688298123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2693"/>
                <a:ext cx="94" cy="188"/>
              </a:xfrm>
              <a:custGeom>
                <a:avLst/>
                <a:gdLst>
                  <a:gd name="T0" fmla="*/ 81 w 84"/>
                  <a:gd name="T1" fmla="*/ 123 h 170"/>
                  <a:gd name="T2" fmla="*/ 60 w 84"/>
                  <a:gd name="T3" fmla="*/ 142 h 170"/>
                  <a:gd name="T4" fmla="*/ 41 w 84"/>
                  <a:gd name="T5" fmla="*/ 167 h 170"/>
                  <a:gd name="T6" fmla="*/ 39 w 84"/>
                  <a:gd name="T7" fmla="*/ 169 h 170"/>
                  <a:gd name="T8" fmla="*/ 33 w 84"/>
                  <a:gd name="T9" fmla="*/ 170 h 170"/>
                  <a:gd name="T10" fmla="*/ 25 w 84"/>
                  <a:gd name="T11" fmla="*/ 169 h 170"/>
                  <a:gd name="T12" fmla="*/ 23 w 84"/>
                  <a:gd name="T13" fmla="*/ 165 h 170"/>
                  <a:gd name="T14" fmla="*/ 17 w 84"/>
                  <a:gd name="T15" fmla="*/ 144 h 170"/>
                  <a:gd name="T16" fmla="*/ 6 w 84"/>
                  <a:gd name="T17" fmla="*/ 140 h 170"/>
                  <a:gd name="T18" fmla="*/ 1 w 84"/>
                  <a:gd name="T19" fmla="*/ 135 h 170"/>
                  <a:gd name="T20" fmla="*/ 0 w 84"/>
                  <a:gd name="T21" fmla="*/ 123 h 170"/>
                  <a:gd name="T22" fmla="*/ 2 w 84"/>
                  <a:gd name="T23" fmla="*/ 118 h 170"/>
                  <a:gd name="T24" fmla="*/ 8 w 84"/>
                  <a:gd name="T25" fmla="*/ 119 h 170"/>
                  <a:gd name="T26" fmla="*/ 23 w 84"/>
                  <a:gd name="T27" fmla="*/ 125 h 170"/>
                  <a:gd name="T28" fmla="*/ 52 w 84"/>
                  <a:gd name="T29" fmla="*/ 123 h 170"/>
                  <a:gd name="T30" fmla="*/ 55 w 84"/>
                  <a:gd name="T31" fmla="*/ 104 h 170"/>
                  <a:gd name="T32" fmla="*/ 40 w 84"/>
                  <a:gd name="T33" fmla="*/ 95 h 170"/>
                  <a:gd name="T34" fmla="*/ 20 w 84"/>
                  <a:gd name="T35" fmla="*/ 86 h 170"/>
                  <a:gd name="T36" fmla="*/ 5 w 84"/>
                  <a:gd name="T37" fmla="*/ 70 h 170"/>
                  <a:gd name="T38" fmla="*/ 5 w 84"/>
                  <a:gd name="T39" fmla="*/ 43 h 170"/>
                  <a:gd name="T40" fmla="*/ 23 w 84"/>
                  <a:gd name="T41" fmla="*/ 26 h 170"/>
                  <a:gd name="T42" fmla="*/ 40 w 84"/>
                  <a:gd name="T43" fmla="*/ 3 h 170"/>
                  <a:gd name="T44" fmla="*/ 41 w 84"/>
                  <a:gd name="T45" fmla="*/ 0 h 170"/>
                  <a:gd name="T46" fmla="*/ 48 w 84"/>
                  <a:gd name="T47" fmla="*/ 0 h 170"/>
                  <a:gd name="T48" fmla="*/ 56 w 84"/>
                  <a:gd name="T49" fmla="*/ 1 h 170"/>
                  <a:gd name="T50" fmla="*/ 57 w 84"/>
                  <a:gd name="T51" fmla="*/ 4 h 170"/>
                  <a:gd name="T52" fmla="*/ 61 w 84"/>
                  <a:gd name="T53" fmla="*/ 23 h 170"/>
                  <a:gd name="T54" fmla="*/ 71 w 84"/>
                  <a:gd name="T55" fmla="*/ 27 h 170"/>
                  <a:gd name="T56" fmla="*/ 76 w 84"/>
                  <a:gd name="T57" fmla="*/ 30 h 170"/>
                  <a:gd name="T58" fmla="*/ 77 w 84"/>
                  <a:gd name="T59" fmla="*/ 35 h 170"/>
                  <a:gd name="T60" fmla="*/ 77 w 84"/>
                  <a:gd name="T61" fmla="*/ 44 h 170"/>
                  <a:gd name="T62" fmla="*/ 75 w 84"/>
                  <a:gd name="T63" fmla="*/ 48 h 170"/>
                  <a:gd name="T64" fmla="*/ 70 w 84"/>
                  <a:gd name="T65" fmla="*/ 47 h 170"/>
                  <a:gd name="T66" fmla="*/ 56 w 84"/>
                  <a:gd name="T67" fmla="*/ 42 h 170"/>
                  <a:gd name="T68" fmla="*/ 38 w 84"/>
                  <a:gd name="T69" fmla="*/ 42 h 170"/>
                  <a:gd name="T70" fmla="*/ 29 w 84"/>
                  <a:gd name="T71" fmla="*/ 48 h 170"/>
                  <a:gd name="T72" fmla="*/ 30 w 84"/>
                  <a:gd name="T73" fmla="*/ 61 h 170"/>
                  <a:gd name="T74" fmla="*/ 45 w 84"/>
                  <a:gd name="T75" fmla="*/ 71 h 170"/>
                  <a:gd name="T76" fmla="*/ 66 w 84"/>
                  <a:gd name="T77" fmla="*/ 79 h 170"/>
                  <a:gd name="T78" fmla="*/ 81 w 84"/>
                  <a:gd name="T79" fmla="*/ 9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4" h="170">
                    <a:moveTo>
                      <a:pt x="84" y="108"/>
                    </a:moveTo>
                    <a:cubicBezTo>
                      <a:pt x="84" y="114"/>
                      <a:pt x="83" y="119"/>
                      <a:pt x="81" y="123"/>
                    </a:cubicBezTo>
                    <a:cubicBezTo>
                      <a:pt x="79" y="128"/>
                      <a:pt x="76" y="131"/>
                      <a:pt x="73" y="135"/>
                    </a:cubicBezTo>
                    <a:cubicBezTo>
                      <a:pt x="69" y="138"/>
                      <a:pt x="65" y="140"/>
                      <a:pt x="60" y="142"/>
                    </a:cubicBezTo>
                    <a:cubicBezTo>
                      <a:pt x="54" y="144"/>
                      <a:pt x="49" y="145"/>
                      <a:pt x="43" y="146"/>
                    </a:cubicBezTo>
                    <a:cubicBezTo>
                      <a:pt x="41" y="167"/>
                      <a:pt x="41" y="167"/>
                      <a:pt x="41" y="167"/>
                    </a:cubicBezTo>
                    <a:cubicBezTo>
                      <a:pt x="41" y="167"/>
                      <a:pt x="41" y="168"/>
                      <a:pt x="40" y="168"/>
                    </a:cubicBezTo>
                    <a:cubicBezTo>
                      <a:pt x="40" y="168"/>
                      <a:pt x="40" y="169"/>
                      <a:pt x="39" y="169"/>
                    </a:cubicBezTo>
                    <a:cubicBezTo>
                      <a:pt x="38" y="169"/>
                      <a:pt x="38" y="169"/>
                      <a:pt x="37" y="170"/>
                    </a:cubicBezTo>
                    <a:cubicBezTo>
                      <a:pt x="35" y="170"/>
                      <a:pt x="34" y="170"/>
                      <a:pt x="33" y="170"/>
                    </a:cubicBezTo>
                    <a:cubicBezTo>
                      <a:pt x="31" y="170"/>
                      <a:pt x="29" y="170"/>
                      <a:pt x="28" y="169"/>
                    </a:cubicBezTo>
                    <a:cubicBezTo>
                      <a:pt x="26" y="169"/>
                      <a:pt x="25" y="169"/>
                      <a:pt x="25" y="169"/>
                    </a:cubicBezTo>
                    <a:cubicBezTo>
                      <a:pt x="24" y="168"/>
                      <a:pt x="24" y="168"/>
                      <a:pt x="23" y="167"/>
                    </a:cubicBezTo>
                    <a:cubicBezTo>
                      <a:pt x="23" y="167"/>
                      <a:pt x="23" y="166"/>
                      <a:pt x="23" y="165"/>
                    </a:cubicBezTo>
                    <a:cubicBezTo>
                      <a:pt x="25" y="146"/>
                      <a:pt x="25" y="146"/>
                      <a:pt x="25" y="146"/>
                    </a:cubicBezTo>
                    <a:cubicBezTo>
                      <a:pt x="22" y="145"/>
                      <a:pt x="20" y="145"/>
                      <a:pt x="17" y="144"/>
                    </a:cubicBezTo>
                    <a:cubicBezTo>
                      <a:pt x="15" y="144"/>
                      <a:pt x="13" y="143"/>
                      <a:pt x="11" y="142"/>
                    </a:cubicBezTo>
                    <a:cubicBezTo>
                      <a:pt x="9" y="142"/>
                      <a:pt x="7" y="141"/>
                      <a:pt x="6" y="140"/>
                    </a:cubicBezTo>
                    <a:cubicBezTo>
                      <a:pt x="4" y="139"/>
                      <a:pt x="3" y="139"/>
                      <a:pt x="2" y="138"/>
                    </a:cubicBezTo>
                    <a:cubicBezTo>
                      <a:pt x="2" y="137"/>
                      <a:pt x="1" y="136"/>
                      <a:pt x="1" y="135"/>
                    </a:cubicBezTo>
                    <a:cubicBezTo>
                      <a:pt x="0" y="133"/>
                      <a:pt x="0" y="131"/>
                      <a:pt x="0" y="128"/>
                    </a:cubicBezTo>
                    <a:cubicBezTo>
                      <a:pt x="0" y="126"/>
                      <a:pt x="0" y="124"/>
                      <a:pt x="0" y="123"/>
                    </a:cubicBezTo>
                    <a:cubicBezTo>
                      <a:pt x="1" y="121"/>
                      <a:pt x="1" y="120"/>
                      <a:pt x="1" y="119"/>
                    </a:cubicBezTo>
                    <a:cubicBezTo>
                      <a:pt x="1" y="119"/>
                      <a:pt x="2" y="118"/>
                      <a:pt x="2" y="118"/>
                    </a:cubicBezTo>
                    <a:cubicBezTo>
                      <a:pt x="3" y="118"/>
                      <a:pt x="3" y="117"/>
                      <a:pt x="4" y="117"/>
                    </a:cubicBezTo>
                    <a:cubicBezTo>
                      <a:pt x="5" y="117"/>
                      <a:pt x="6" y="118"/>
                      <a:pt x="8" y="119"/>
                    </a:cubicBezTo>
                    <a:cubicBezTo>
                      <a:pt x="9" y="120"/>
                      <a:pt x="11" y="121"/>
                      <a:pt x="14" y="122"/>
                    </a:cubicBezTo>
                    <a:cubicBezTo>
                      <a:pt x="16" y="123"/>
                      <a:pt x="19" y="124"/>
                      <a:pt x="23" y="125"/>
                    </a:cubicBezTo>
                    <a:cubicBezTo>
                      <a:pt x="26" y="126"/>
                      <a:pt x="31" y="127"/>
                      <a:pt x="35" y="127"/>
                    </a:cubicBezTo>
                    <a:cubicBezTo>
                      <a:pt x="43" y="127"/>
                      <a:pt x="49" y="125"/>
                      <a:pt x="52" y="123"/>
                    </a:cubicBezTo>
                    <a:cubicBezTo>
                      <a:pt x="56" y="120"/>
                      <a:pt x="58" y="116"/>
                      <a:pt x="58" y="111"/>
                    </a:cubicBezTo>
                    <a:cubicBezTo>
                      <a:pt x="58" y="108"/>
                      <a:pt x="57" y="106"/>
                      <a:pt x="55" y="104"/>
                    </a:cubicBezTo>
                    <a:cubicBezTo>
                      <a:pt x="54" y="102"/>
                      <a:pt x="52" y="100"/>
                      <a:pt x="49" y="99"/>
                    </a:cubicBezTo>
                    <a:cubicBezTo>
                      <a:pt x="46" y="97"/>
                      <a:pt x="43" y="96"/>
                      <a:pt x="40" y="95"/>
                    </a:cubicBezTo>
                    <a:cubicBezTo>
                      <a:pt x="37" y="93"/>
                      <a:pt x="33" y="92"/>
                      <a:pt x="30" y="91"/>
                    </a:cubicBezTo>
                    <a:cubicBezTo>
                      <a:pt x="27" y="89"/>
                      <a:pt x="23" y="88"/>
                      <a:pt x="20" y="86"/>
                    </a:cubicBezTo>
                    <a:cubicBezTo>
                      <a:pt x="17" y="84"/>
                      <a:pt x="14" y="82"/>
                      <a:pt x="11" y="79"/>
                    </a:cubicBezTo>
                    <a:cubicBezTo>
                      <a:pt x="8" y="77"/>
                      <a:pt x="6" y="74"/>
                      <a:pt x="5" y="70"/>
                    </a:cubicBezTo>
                    <a:cubicBezTo>
                      <a:pt x="3" y="66"/>
                      <a:pt x="2" y="62"/>
                      <a:pt x="2" y="56"/>
                    </a:cubicBezTo>
                    <a:cubicBezTo>
                      <a:pt x="2" y="51"/>
                      <a:pt x="3" y="47"/>
                      <a:pt x="5" y="43"/>
                    </a:cubicBezTo>
                    <a:cubicBezTo>
                      <a:pt x="6" y="39"/>
                      <a:pt x="9" y="36"/>
                      <a:pt x="12" y="33"/>
                    </a:cubicBezTo>
                    <a:cubicBezTo>
                      <a:pt x="15" y="30"/>
                      <a:pt x="18" y="27"/>
                      <a:pt x="23" y="26"/>
                    </a:cubicBezTo>
                    <a:cubicBezTo>
                      <a:pt x="27" y="24"/>
                      <a:pt x="32" y="23"/>
                      <a:pt x="38" y="22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0" y="2"/>
                      <a:pt x="40" y="2"/>
                      <a:pt x="40" y="1"/>
                    </a:cubicBezTo>
                    <a:cubicBezTo>
                      <a:pt x="40" y="1"/>
                      <a:pt x="41" y="1"/>
                      <a:pt x="41" y="0"/>
                    </a:cubicBezTo>
                    <a:cubicBezTo>
                      <a:pt x="42" y="0"/>
                      <a:pt x="43" y="0"/>
                      <a:pt x="44" y="0"/>
                    </a:cubicBezTo>
                    <a:cubicBezTo>
                      <a:pt x="45" y="0"/>
                      <a:pt x="46" y="0"/>
                      <a:pt x="48" y="0"/>
                    </a:cubicBezTo>
                    <a:cubicBezTo>
                      <a:pt x="50" y="0"/>
                      <a:pt x="51" y="0"/>
                      <a:pt x="53" y="0"/>
                    </a:cubicBezTo>
                    <a:cubicBezTo>
                      <a:pt x="54" y="0"/>
                      <a:pt x="55" y="0"/>
                      <a:pt x="56" y="1"/>
                    </a:cubicBezTo>
                    <a:cubicBezTo>
                      <a:pt x="56" y="1"/>
                      <a:pt x="57" y="1"/>
                      <a:pt x="57" y="2"/>
                    </a:cubicBezTo>
                    <a:cubicBezTo>
                      <a:pt x="57" y="3"/>
                      <a:pt x="57" y="3"/>
                      <a:pt x="57" y="4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7" y="22"/>
                      <a:pt x="59" y="23"/>
                      <a:pt x="61" y="23"/>
                    </a:cubicBezTo>
                    <a:cubicBezTo>
                      <a:pt x="63" y="24"/>
                      <a:pt x="65" y="24"/>
                      <a:pt x="67" y="25"/>
                    </a:cubicBezTo>
                    <a:cubicBezTo>
                      <a:pt x="68" y="25"/>
                      <a:pt x="70" y="26"/>
                      <a:pt x="71" y="27"/>
                    </a:cubicBezTo>
                    <a:cubicBezTo>
                      <a:pt x="73" y="27"/>
                      <a:pt x="74" y="28"/>
                      <a:pt x="74" y="29"/>
                    </a:cubicBezTo>
                    <a:cubicBezTo>
                      <a:pt x="75" y="29"/>
                      <a:pt x="75" y="30"/>
                      <a:pt x="76" y="30"/>
                    </a:cubicBezTo>
                    <a:cubicBezTo>
                      <a:pt x="76" y="31"/>
                      <a:pt x="76" y="31"/>
                      <a:pt x="76" y="32"/>
                    </a:cubicBezTo>
                    <a:cubicBezTo>
                      <a:pt x="76" y="33"/>
                      <a:pt x="77" y="34"/>
                      <a:pt x="77" y="35"/>
                    </a:cubicBezTo>
                    <a:cubicBezTo>
                      <a:pt x="77" y="36"/>
                      <a:pt x="77" y="37"/>
                      <a:pt x="77" y="39"/>
                    </a:cubicBezTo>
                    <a:cubicBezTo>
                      <a:pt x="77" y="41"/>
                      <a:pt x="77" y="43"/>
                      <a:pt x="77" y="44"/>
                    </a:cubicBezTo>
                    <a:cubicBezTo>
                      <a:pt x="76" y="45"/>
                      <a:pt x="76" y="46"/>
                      <a:pt x="76" y="47"/>
                    </a:cubicBezTo>
                    <a:cubicBezTo>
                      <a:pt x="76" y="47"/>
                      <a:pt x="75" y="48"/>
                      <a:pt x="75" y="48"/>
                    </a:cubicBezTo>
                    <a:cubicBezTo>
                      <a:pt x="75" y="48"/>
                      <a:pt x="74" y="48"/>
                      <a:pt x="74" y="48"/>
                    </a:cubicBezTo>
                    <a:cubicBezTo>
                      <a:pt x="73" y="48"/>
                      <a:pt x="72" y="48"/>
                      <a:pt x="70" y="47"/>
                    </a:cubicBezTo>
                    <a:cubicBezTo>
                      <a:pt x="69" y="46"/>
                      <a:pt x="67" y="45"/>
                      <a:pt x="64" y="45"/>
                    </a:cubicBezTo>
                    <a:cubicBezTo>
                      <a:pt x="62" y="44"/>
                      <a:pt x="59" y="43"/>
                      <a:pt x="56" y="42"/>
                    </a:cubicBezTo>
                    <a:cubicBezTo>
                      <a:pt x="53" y="41"/>
                      <a:pt x="50" y="41"/>
                      <a:pt x="46" y="41"/>
                    </a:cubicBezTo>
                    <a:cubicBezTo>
                      <a:pt x="43" y="41"/>
                      <a:pt x="40" y="41"/>
                      <a:pt x="38" y="42"/>
                    </a:cubicBezTo>
                    <a:cubicBezTo>
                      <a:pt x="35" y="42"/>
                      <a:pt x="33" y="43"/>
                      <a:pt x="32" y="44"/>
                    </a:cubicBezTo>
                    <a:cubicBezTo>
                      <a:pt x="31" y="45"/>
                      <a:pt x="29" y="47"/>
                      <a:pt x="29" y="48"/>
                    </a:cubicBezTo>
                    <a:cubicBezTo>
                      <a:pt x="28" y="50"/>
                      <a:pt x="28" y="52"/>
                      <a:pt x="28" y="54"/>
                    </a:cubicBezTo>
                    <a:cubicBezTo>
                      <a:pt x="28" y="57"/>
                      <a:pt x="28" y="59"/>
                      <a:pt x="30" y="61"/>
                    </a:cubicBezTo>
                    <a:cubicBezTo>
                      <a:pt x="32" y="63"/>
                      <a:pt x="34" y="65"/>
                      <a:pt x="36" y="67"/>
                    </a:cubicBezTo>
                    <a:cubicBezTo>
                      <a:pt x="39" y="68"/>
                      <a:pt x="42" y="69"/>
                      <a:pt x="45" y="71"/>
                    </a:cubicBezTo>
                    <a:cubicBezTo>
                      <a:pt x="49" y="72"/>
                      <a:pt x="52" y="73"/>
                      <a:pt x="56" y="74"/>
                    </a:cubicBezTo>
                    <a:cubicBezTo>
                      <a:pt x="59" y="76"/>
                      <a:pt x="63" y="77"/>
                      <a:pt x="66" y="79"/>
                    </a:cubicBezTo>
                    <a:cubicBezTo>
                      <a:pt x="69" y="81"/>
                      <a:pt x="72" y="83"/>
                      <a:pt x="75" y="86"/>
                    </a:cubicBezTo>
                    <a:cubicBezTo>
                      <a:pt x="78" y="88"/>
                      <a:pt x="80" y="91"/>
                      <a:pt x="81" y="95"/>
                    </a:cubicBezTo>
                    <a:cubicBezTo>
                      <a:pt x="83" y="99"/>
                      <a:pt x="84" y="103"/>
                      <a:pt x="84" y="10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8" name="Oval 18">
                <a:extLst>
                  <a:ext uri="{FF2B5EF4-FFF2-40B4-BE49-F238E27FC236}">
                    <a16:creationId xmlns:a16="http://schemas.microsoft.com/office/drawing/2014/main" xmlns="" id="{ABBF7059-D2B0-453D-A181-78B0502A8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3" y="2656"/>
                <a:ext cx="389" cy="389"/>
              </a:xfrm>
              <a:prstGeom prst="ellipse">
                <a:avLst/>
              </a:prstGeom>
              <a:solidFill>
                <a:srgbClr val="FCCD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9" name="Freeform 19">
                <a:extLst>
                  <a:ext uri="{FF2B5EF4-FFF2-40B4-BE49-F238E27FC236}">
                    <a16:creationId xmlns:a16="http://schemas.microsoft.com/office/drawing/2014/main" xmlns="" id="{628D4D45-0AC4-40DB-B556-0E467A862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" y="2736"/>
                <a:ext cx="105" cy="213"/>
              </a:xfrm>
              <a:custGeom>
                <a:avLst/>
                <a:gdLst>
                  <a:gd name="T0" fmla="*/ 91 w 94"/>
                  <a:gd name="T1" fmla="*/ 139 h 192"/>
                  <a:gd name="T2" fmla="*/ 67 w 94"/>
                  <a:gd name="T3" fmla="*/ 161 h 192"/>
                  <a:gd name="T4" fmla="*/ 46 w 94"/>
                  <a:gd name="T5" fmla="*/ 188 h 192"/>
                  <a:gd name="T6" fmla="*/ 44 w 94"/>
                  <a:gd name="T7" fmla="*/ 191 h 192"/>
                  <a:gd name="T8" fmla="*/ 36 w 94"/>
                  <a:gd name="T9" fmla="*/ 192 h 192"/>
                  <a:gd name="T10" fmla="*/ 28 w 94"/>
                  <a:gd name="T11" fmla="*/ 191 h 192"/>
                  <a:gd name="T12" fmla="*/ 26 w 94"/>
                  <a:gd name="T13" fmla="*/ 187 h 192"/>
                  <a:gd name="T14" fmla="*/ 19 w 94"/>
                  <a:gd name="T15" fmla="*/ 163 h 192"/>
                  <a:gd name="T16" fmla="*/ 6 w 94"/>
                  <a:gd name="T17" fmla="*/ 158 h 192"/>
                  <a:gd name="T18" fmla="*/ 1 w 94"/>
                  <a:gd name="T19" fmla="*/ 152 h 192"/>
                  <a:gd name="T20" fmla="*/ 0 w 94"/>
                  <a:gd name="T21" fmla="*/ 139 h 192"/>
                  <a:gd name="T22" fmla="*/ 2 w 94"/>
                  <a:gd name="T23" fmla="*/ 133 h 192"/>
                  <a:gd name="T24" fmla="*/ 8 w 94"/>
                  <a:gd name="T25" fmla="*/ 135 h 192"/>
                  <a:gd name="T26" fmla="*/ 26 w 94"/>
                  <a:gd name="T27" fmla="*/ 142 h 192"/>
                  <a:gd name="T28" fmla="*/ 59 w 94"/>
                  <a:gd name="T29" fmla="*/ 139 h 192"/>
                  <a:gd name="T30" fmla="*/ 62 w 94"/>
                  <a:gd name="T31" fmla="*/ 118 h 192"/>
                  <a:gd name="T32" fmla="*/ 45 w 94"/>
                  <a:gd name="T33" fmla="*/ 107 h 192"/>
                  <a:gd name="T34" fmla="*/ 22 w 94"/>
                  <a:gd name="T35" fmla="*/ 98 h 192"/>
                  <a:gd name="T36" fmla="*/ 5 w 94"/>
                  <a:gd name="T37" fmla="*/ 79 h 192"/>
                  <a:gd name="T38" fmla="*/ 5 w 94"/>
                  <a:gd name="T39" fmla="*/ 49 h 192"/>
                  <a:gd name="T40" fmla="*/ 25 w 94"/>
                  <a:gd name="T41" fmla="*/ 29 h 192"/>
                  <a:gd name="T42" fmla="*/ 44 w 94"/>
                  <a:gd name="T43" fmla="*/ 4 h 192"/>
                  <a:gd name="T44" fmla="*/ 46 w 94"/>
                  <a:gd name="T45" fmla="*/ 1 h 192"/>
                  <a:gd name="T46" fmla="*/ 54 w 94"/>
                  <a:gd name="T47" fmla="*/ 0 h 192"/>
                  <a:gd name="T48" fmla="*/ 63 w 94"/>
                  <a:gd name="T49" fmla="*/ 1 h 192"/>
                  <a:gd name="T50" fmla="*/ 64 w 94"/>
                  <a:gd name="T51" fmla="*/ 5 h 192"/>
                  <a:gd name="T52" fmla="*/ 69 w 94"/>
                  <a:gd name="T53" fmla="*/ 27 h 192"/>
                  <a:gd name="T54" fmla="*/ 80 w 94"/>
                  <a:gd name="T55" fmla="*/ 31 h 192"/>
                  <a:gd name="T56" fmla="*/ 85 w 94"/>
                  <a:gd name="T57" fmla="*/ 35 h 192"/>
                  <a:gd name="T58" fmla="*/ 86 w 94"/>
                  <a:gd name="T59" fmla="*/ 40 h 192"/>
                  <a:gd name="T60" fmla="*/ 86 w 94"/>
                  <a:gd name="T61" fmla="*/ 50 h 192"/>
                  <a:gd name="T62" fmla="*/ 84 w 94"/>
                  <a:gd name="T63" fmla="*/ 55 h 192"/>
                  <a:gd name="T64" fmla="*/ 79 w 94"/>
                  <a:gd name="T65" fmla="*/ 54 h 192"/>
                  <a:gd name="T66" fmla="*/ 63 w 94"/>
                  <a:gd name="T67" fmla="*/ 48 h 192"/>
                  <a:gd name="T68" fmla="*/ 42 w 94"/>
                  <a:gd name="T69" fmla="*/ 47 h 192"/>
                  <a:gd name="T70" fmla="*/ 32 w 94"/>
                  <a:gd name="T71" fmla="*/ 55 h 192"/>
                  <a:gd name="T72" fmla="*/ 34 w 94"/>
                  <a:gd name="T73" fmla="*/ 70 h 192"/>
                  <a:gd name="T74" fmla="*/ 51 w 94"/>
                  <a:gd name="T75" fmla="*/ 80 h 192"/>
                  <a:gd name="T76" fmla="*/ 74 w 94"/>
                  <a:gd name="T77" fmla="*/ 90 h 192"/>
                  <a:gd name="T78" fmla="*/ 91 w 94"/>
                  <a:gd name="T79" fmla="*/ 10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4" h="192">
                    <a:moveTo>
                      <a:pt x="94" y="123"/>
                    </a:moveTo>
                    <a:cubicBezTo>
                      <a:pt x="94" y="129"/>
                      <a:pt x="93" y="135"/>
                      <a:pt x="91" y="139"/>
                    </a:cubicBezTo>
                    <a:cubicBezTo>
                      <a:pt x="89" y="144"/>
                      <a:pt x="86" y="149"/>
                      <a:pt x="82" y="152"/>
                    </a:cubicBezTo>
                    <a:cubicBezTo>
                      <a:pt x="77" y="156"/>
                      <a:pt x="73" y="159"/>
                      <a:pt x="67" y="161"/>
                    </a:cubicBezTo>
                    <a:cubicBezTo>
                      <a:pt x="61" y="163"/>
                      <a:pt x="55" y="165"/>
                      <a:pt x="48" y="16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46" y="189"/>
                      <a:pt x="45" y="189"/>
                      <a:pt x="45" y="190"/>
                    </a:cubicBezTo>
                    <a:cubicBezTo>
                      <a:pt x="45" y="190"/>
                      <a:pt x="44" y="191"/>
                      <a:pt x="44" y="191"/>
                    </a:cubicBezTo>
                    <a:cubicBezTo>
                      <a:pt x="43" y="191"/>
                      <a:pt x="42" y="191"/>
                      <a:pt x="41" y="192"/>
                    </a:cubicBezTo>
                    <a:cubicBezTo>
                      <a:pt x="40" y="192"/>
                      <a:pt x="38" y="192"/>
                      <a:pt x="36" y="192"/>
                    </a:cubicBezTo>
                    <a:cubicBezTo>
                      <a:pt x="34" y="192"/>
                      <a:pt x="32" y="192"/>
                      <a:pt x="31" y="192"/>
                    </a:cubicBezTo>
                    <a:cubicBezTo>
                      <a:pt x="29" y="191"/>
                      <a:pt x="28" y="191"/>
                      <a:pt x="28" y="191"/>
                    </a:cubicBezTo>
                    <a:cubicBezTo>
                      <a:pt x="27" y="190"/>
                      <a:pt x="26" y="190"/>
                      <a:pt x="26" y="189"/>
                    </a:cubicBezTo>
                    <a:cubicBezTo>
                      <a:pt x="26" y="188"/>
                      <a:pt x="26" y="188"/>
                      <a:pt x="26" y="187"/>
                    </a:cubicBezTo>
                    <a:cubicBezTo>
                      <a:pt x="28" y="165"/>
                      <a:pt x="28" y="165"/>
                      <a:pt x="28" y="165"/>
                    </a:cubicBezTo>
                    <a:cubicBezTo>
                      <a:pt x="25" y="165"/>
                      <a:pt x="22" y="164"/>
                      <a:pt x="19" y="163"/>
                    </a:cubicBezTo>
                    <a:cubicBezTo>
                      <a:pt x="17" y="163"/>
                      <a:pt x="14" y="162"/>
                      <a:pt x="12" y="161"/>
                    </a:cubicBezTo>
                    <a:cubicBezTo>
                      <a:pt x="10" y="160"/>
                      <a:pt x="8" y="159"/>
                      <a:pt x="6" y="158"/>
                    </a:cubicBezTo>
                    <a:cubicBezTo>
                      <a:pt x="4" y="158"/>
                      <a:pt x="3" y="157"/>
                      <a:pt x="2" y="156"/>
                    </a:cubicBezTo>
                    <a:cubicBezTo>
                      <a:pt x="2" y="155"/>
                      <a:pt x="1" y="154"/>
                      <a:pt x="1" y="152"/>
                    </a:cubicBezTo>
                    <a:cubicBezTo>
                      <a:pt x="0" y="151"/>
                      <a:pt x="0" y="148"/>
                      <a:pt x="0" y="145"/>
                    </a:cubicBezTo>
                    <a:cubicBezTo>
                      <a:pt x="0" y="143"/>
                      <a:pt x="0" y="141"/>
                      <a:pt x="0" y="139"/>
                    </a:cubicBezTo>
                    <a:cubicBezTo>
                      <a:pt x="0" y="137"/>
                      <a:pt x="1" y="136"/>
                      <a:pt x="1" y="135"/>
                    </a:cubicBezTo>
                    <a:cubicBezTo>
                      <a:pt x="1" y="134"/>
                      <a:pt x="2" y="134"/>
                      <a:pt x="2" y="133"/>
                    </a:cubicBezTo>
                    <a:cubicBezTo>
                      <a:pt x="3" y="133"/>
                      <a:pt x="4" y="133"/>
                      <a:pt x="4" y="133"/>
                    </a:cubicBezTo>
                    <a:cubicBezTo>
                      <a:pt x="5" y="133"/>
                      <a:pt x="7" y="134"/>
                      <a:pt x="8" y="135"/>
                    </a:cubicBezTo>
                    <a:cubicBezTo>
                      <a:pt x="10" y="136"/>
                      <a:pt x="13" y="137"/>
                      <a:pt x="15" y="138"/>
                    </a:cubicBezTo>
                    <a:cubicBezTo>
                      <a:pt x="18" y="139"/>
                      <a:pt x="22" y="141"/>
                      <a:pt x="26" y="142"/>
                    </a:cubicBezTo>
                    <a:cubicBezTo>
                      <a:pt x="30" y="143"/>
                      <a:pt x="34" y="143"/>
                      <a:pt x="40" y="143"/>
                    </a:cubicBezTo>
                    <a:cubicBezTo>
                      <a:pt x="48" y="143"/>
                      <a:pt x="54" y="142"/>
                      <a:pt x="59" y="139"/>
                    </a:cubicBezTo>
                    <a:cubicBezTo>
                      <a:pt x="63" y="136"/>
                      <a:pt x="65" y="131"/>
                      <a:pt x="65" y="126"/>
                    </a:cubicBezTo>
                    <a:cubicBezTo>
                      <a:pt x="65" y="123"/>
                      <a:pt x="64" y="120"/>
                      <a:pt x="62" y="118"/>
                    </a:cubicBezTo>
                    <a:cubicBezTo>
                      <a:pt x="60" y="115"/>
                      <a:pt x="58" y="113"/>
                      <a:pt x="55" y="112"/>
                    </a:cubicBezTo>
                    <a:cubicBezTo>
                      <a:pt x="52" y="110"/>
                      <a:pt x="49" y="108"/>
                      <a:pt x="45" y="107"/>
                    </a:cubicBezTo>
                    <a:cubicBezTo>
                      <a:pt x="41" y="106"/>
                      <a:pt x="37" y="104"/>
                      <a:pt x="34" y="103"/>
                    </a:cubicBezTo>
                    <a:cubicBezTo>
                      <a:pt x="30" y="101"/>
                      <a:pt x="26" y="100"/>
                      <a:pt x="22" y="98"/>
                    </a:cubicBezTo>
                    <a:cubicBezTo>
                      <a:pt x="18" y="96"/>
                      <a:pt x="15" y="93"/>
                      <a:pt x="12" y="90"/>
                    </a:cubicBezTo>
                    <a:cubicBezTo>
                      <a:pt x="9" y="87"/>
                      <a:pt x="7" y="84"/>
                      <a:pt x="5" y="79"/>
                    </a:cubicBezTo>
                    <a:cubicBezTo>
                      <a:pt x="3" y="75"/>
                      <a:pt x="2" y="70"/>
                      <a:pt x="2" y="64"/>
                    </a:cubicBezTo>
                    <a:cubicBezTo>
                      <a:pt x="2" y="59"/>
                      <a:pt x="3" y="54"/>
                      <a:pt x="5" y="49"/>
                    </a:cubicBezTo>
                    <a:cubicBezTo>
                      <a:pt x="7" y="45"/>
                      <a:pt x="9" y="41"/>
                      <a:pt x="13" y="38"/>
                    </a:cubicBezTo>
                    <a:cubicBezTo>
                      <a:pt x="16" y="34"/>
                      <a:pt x="20" y="32"/>
                      <a:pt x="25" y="29"/>
                    </a:cubicBezTo>
                    <a:cubicBezTo>
                      <a:pt x="30" y="27"/>
                      <a:pt x="36" y="26"/>
                      <a:pt x="42" y="25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3"/>
                      <a:pt x="45" y="2"/>
                      <a:pt x="45" y="2"/>
                    </a:cubicBezTo>
                    <a:cubicBezTo>
                      <a:pt x="45" y="2"/>
                      <a:pt x="46" y="1"/>
                      <a:pt x="46" y="1"/>
                    </a:cubicBezTo>
                    <a:cubicBezTo>
                      <a:pt x="47" y="1"/>
                      <a:pt x="48" y="0"/>
                      <a:pt x="49" y="0"/>
                    </a:cubicBezTo>
                    <a:cubicBezTo>
                      <a:pt x="50" y="0"/>
                      <a:pt x="52" y="0"/>
                      <a:pt x="54" y="0"/>
                    </a:cubicBezTo>
                    <a:cubicBezTo>
                      <a:pt x="56" y="0"/>
                      <a:pt x="58" y="0"/>
                      <a:pt x="59" y="0"/>
                    </a:cubicBezTo>
                    <a:cubicBezTo>
                      <a:pt x="61" y="1"/>
                      <a:pt x="62" y="1"/>
                      <a:pt x="63" y="1"/>
                    </a:cubicBezTo>
                    <a:cubicBezTo>
                      <a:pt x="63" y="2"/>
                      <a:pt x="64" y="2"/>
                      <a:pt x="64" y="3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2" y="26"/>
                      <a:pt x="62" y="26"/>
                      <a:pt x="62" y="26"/>
                    </a:cubicBezTo>
                    <a:cubicBezTo>
                      <a:pt x="64" y="26"/>
                      <a:pt x="66" y="26"/>
                      <a:pt x="69" y="27"/>
                    </a:cubicBezTo>
                    <a:cubicBezTo>
                      <a:pt x="71" y="27"/>
                      <a:pt x="73" y="28"/>
                      <a:pt x="75" y="29"/>
                    </a:cubicBezTo>
                    <a:cubicBezTo>
                      <a:pt x="77" y="29"/>
                      <a:pt x="79" y="30"/>
                      <a:pt x="80" y="31"/>
                    </a:cubicBezTo>
                    <a:cubicBezTo>
                      <a:pt x="82" y="31"/>
                      <a:pt x="83" y="32"/>
                      <a:pt x="84" y="33"/>
                    </a:cubicBezTo>
                    <a:cubicBezTo>
                      <a:pt x="84" y="33"/>
                      <a:pt x="85" y="34"/>
                      <a:pt x="85" y="35"/>
                    </a:cubicBezTo>
                    <a:cubicBezTo>
                      <a:pt x="85" y="35"/>
                      <a:pt x="86" y="36"/>
                      <a:pt x="86" y="37"/>
                    </a:cubicBezTo>
                    <a:cubicBezTo>
                      <a:pt x="86" y="38"/>
                      <a:pt x="86" y="39"/>
                      <a:pt x="86" y="40"/>
                    </a:cubicBezTo>
                    <a:cubicBezTo>
                      <a:pt x="86" y="41"/>
                      <a:pt x="86" y="43"/>
                      <a:pt x="86" y="44"/>
                    </a:cubicBezTo>
                    <a:cubicBezTo>
                      <a:pt x="86" y="47"/>
                      <a:pt x="86" y="49"/>
                      <a:pt x="86" y="50"/>
                    </a:cubicBezTo>
                    <a:cubicBezTo>
                      <a:pt x="86" y="51"/>
                      <a:pt x="86" y="53"/>
                      <a:pt x="85" y="53"/>
                    </a:cubicBezTo>
                    <a:cubicBezTo>
                      <a:pt x="85" y="54"/>
                      <a:pt x="85" y="55"/>
                      <a:pt x="84" y="55"/>
                    </a:cubicBezTo>
                    <a:cubicBezTo>
                      <a:pt x="84" y="55"/>
                      <a:pt x="84" y="55"/>
                      <a:pt x="83" y="55"/>
                    </a:cubicBezTo>
                    <a:cubicBezTo>
                      <a:pt x="82" y="55"/>
                      <a:pt x="81" y="55"/>
                      <a:pt x="79" y="54"/>
                    </a:cubicBezTo>
                    <a:cubicBezTo>
                      <a:pt x="77" y="53"/>
                      <a:pt x="75" y="52"/>
                      <a:pt x="72" y="51"/>
                    </a:cubicBezTo>
                    <a:cubicBezTo>
                      <a:pt x="70" y="50"/>
                      <a:pt x="67" y="49"/>
                      <a:pt x="63" y="48"/>
                    </a:cubicBezTo>
                    <a:cubicBezTo>
                      <a:pt x="60" y="47"/>
                      <a:pt x="56" y="46"/>
                      <a:pt x="52" y="46"/>
                    </a:cubicBezTo>
                    <a:cubicBezTo>
                      <a:pt x="48" y="46"/>
                      <a:pt x="45" y="47"/>
                      <a:pt x="42" y="47"/>
                    </a:cubicBezTo>
                    <a:cubicBezTo>
                      <a:pt x="40" y="48"/>
                      <a:pt x="37" y="49"/>
                      <a:pt x="36" y="50"/>
                    </a:cubicBezTo>
                    <a:cubicBezTo>
                      <a:pt x="34" y="52"/>
                      <a:pt x="33" y="53"/>
                      <a:pt x="32" y="55"/>
                    </a:cubicBezTo>
                    <a:cubicBezTo>
                      <a:pt x="31" y="57"/>
                      <a:pt x="31" y="59"/>
                      <a:pt x="31" y="61"/>
                    </a:cubicBezTo>
                    <a:cubicBezTo>
                      <a:pt x="31" y="64"/>
                      <a:pt x="32" y="67"/>
                      <a:pt x="34" y="70"/>
                    </a:cubicBezTo>
                    <a:cubicBezTo>
                      <a:pt x="35" y="72"/>
                      <a:pt x="38" y="74"/>
                      <a:pt x="41" y="76"/>
                    </a:cubicBezTo>
                    <a:cubicBezTo>
                      <a:pt x="44" y="77"/>
                      <a:pt x="47" y="79"/>
                      <a:pt x="51" y="80"/>
                    </a:cubicBezTo>
                    <a:cubicBezTo>
                      <a:pt x="55" y="81"/>
                      <a:pt x="59" y="83"/>
                      <a:pt x="63" y="84"/>
                    </a:cubicBezTo>
                    <a:cubicBezTo>
                      <a:pt x="67" y="86"/>
                      <a:pt x="70" y="88"/>
                      <a:pt x="74" y="90"/>
                    </a:cubicBezTo>
                    <a:cubicBezTo>
                      <a:pt x="78" y="92"/>
                      <a:pt x="81" y="94"/>
                      <a:pt x="84" y="97"/>
                    </a:cubicBezTo>
                    <a:cubicBezTo>
                      <a:pt x="87" y="100"/>
                      <a:pt x="90" y="104"/>
                      <a:pt x="91" y="108"/>
                    </a:cubicBezTo>
                    <a:cubicBezTo>
                      <a:pt x="93" y="112"/>
                      <a:pt x="94" y="117"/>
                      <a:pt x="94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xmlns="" id="{DCA7A665-03E0-4C69-9ECA-5E269038E775}"/>
              </a:ext>
            </a:extLst>
          </p:cNvPr>
          <p:cNvGrpSpPr/>
          <p:nvPr/>
        </p:nvGrpSpPr>
        <p:grpSpPr>
          <a:xfrm>
            <a:off x="3055181" y="1621774"/>
            <a:ext cx="1228518" cy="1314068"/>
            <a:chOff x="3769936" y="1763551"/>
            <a:chExt cx="1152427" cy="1232678"/>
          </a:xfrm>
        </p:grpSpPr>
        <p:sp>
          <p:nvSpPr>
            <p:cNvPr id="239" name="Rectangle 23">
              <a:extLst>
                <a:ext uri="{FF2B5EF4-FFF2-40B4-BE49-F238E27FC236}">
                  <a16:creationId xmlns:a16="http://schemas.microsoft.com/office/drawing/2014/main" xmlns="" id="{C0EBDA3F-7C4C-45E3-9164-6399B490C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957" y="2268261"/>
              <a:ext cx="545406" cy="104974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0" name="Rectangle 24">
              <a:extLst>
                <a:ext uri="{FF2B5EF4-FFF2-40B4-BE49-F238E27FC236}">
                  <a16:creationId xmlns:a16="http://schemas.microsoft.com/office/drawing/2014/main" xmlns="" id="{2240FEA9-DA52-4344-ADAA-7F785DB5C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957" y="2110800"/>
              <a:ext cx="501287" cy="90901"/>
            </a:xfrm>
            <a:prstGeom prst="rect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1" name="Rectangle 25">
              <a:extLst>
                <a:ext uri="{FF2B5EF4-FFF2-40B4-BE49-F238E27FC236}">
                  <a16:creationId xmlns:a16="http://schemas.microsoft.com/office/drawing/2014/main" xmlns="" id="{C2941717-C8F5-4DCF-A799-C9B9A5877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957" y="1975400"/>
              <a:ext cx="448800" cy="84816"/>
            </a:xfrm>
            <a:prstGeom prst="rect">
              <a:avLst/>
            </a:prstGeom>
            <a:solidFill>
              <a:srgbClr val="E100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2" name="Rectangle 26">
              <a:extLst>
                <a:ext uri="{FF2B5EF4-FFF2-40B4-BE49-F238E27FC236}">
                  <a16:creationId xmlns:a16="http://schemas.microsoft.com/office/drawing/2014/main" xmlns="" id="{F93C2FDD-8698-47F8-904C-EB09136B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013" y="2672180"/>
              <a:ext cx="549209" cy="105734"/>
            </a:xfrm>
            <a:prstGeom prst="rect">
              <a:avLst/>
            </a:prstGeom>
            <a:solidFill>
              <a:srgbClr val="E100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3" name="Rectangle 27">
              <a:extLst>
                <a:ext uri="{FF2B5EF4-FFF2-40B4-BE49-F238E27FC236}">
                  <a16:creationId xmlns:a16="http://schemas.microsoft.com/office/drawing/2014/main" xmlns="" id="{D6AD63CC-EB71-4813-A137-22016C1B5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5132" y="2514720"/>
              <a:ext cx="505090" cy="90901"/>
            </a:xfrm>
            <a:prstGeom prst="rect">
              <a:avLst/>
            </a:prstGeom>
            <a:solidFill>
              <a:srgbClr val="FFC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4" name="Rectangle 28">
              <a:extLst>
                <a:ext uri="{FF2B5EF4-FFF2-40B4-BE49-F238E27FC236}">
                  <a16:creationId xmlns:a16="http://schemas.microsoft.com/office/drawing/2014/main" xmlns="" id="{7F97F5DD-6679-4DDD-8EA7-05597D90D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619" y="2379700"/>
              <a:ext cx="452603" cy="84435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245" name="Groupe 244">
              <a:extLst>
                <a:ext uri="{FF2B5EF4-FFF2-40B4-BE49-F238E27FC236}">
                  <a16:creationId xmlns:a16="http://schemas.microsoft.com/office/drawing/2014/main" xmlns="" id="{3D806D92-19E1-49D3-BB10-0F46F8A16611}"/>
                </a:ext>
              </a:extLst>
            </p:cNvPr>
            <p:cNvGrpSpPr/>
            <p:nvPr/>
          </p:nvGrpSpPr>
          <p:grpSpPr>
            <a:xfrm>
              <a:off x="3769936" y="2010011"/>
              <a:ext cx="590286" cy="319865"/>
              <a:chOff x="4539372" y="1240277"/>
              <a:chExt cx="590286" cy="319865"/>
            </a:xfrm>
            <a:solidFill>
              <a:schemeClr val="accent2"/>
            </a:solidFill>
          </p:grpSpPr>
          <p:sp>
            <p:nvSpPr>
              <p:cNvPr id="292" name="Rectangle 29">
                <a:extLst>
                  <a:ext uri="{FF2B5EF4-FFF2-40B4-BE49-F238E27FC236}">
                    <a16:creationId xmlns:a16="http://schemas.microsoft.com/office/drawing/2014/main" xmlns="" id="{2B3107CE-5DAD-47B2-9B02-FBA8D7560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40600" y="1240277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3" name="Rectangle 30">
                <a:extLst>
                  <a:ext uri="{FF2B5EF4-FFF2-40B4-BE49-F238E27FC236}">
                    <a16:creationId xmlns:a16="http://schemas.microsoft.com/office/drawing/2014/main" xmlns="" id="{23E28A01-6BD0-4327-AA9B-267AB4298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5562" y="1240277"/>
                <a:ext cx="1635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4" name="Freeform 31">
                <a:extLst>
                  <a:ext uri="{FF2B5EF4-FFF2-40B4-BE49-F238E27FC236}">
                    <a16:creationId xmlns:a16="http://schemas.microsoft.com/office/drawing/2014/main" xmlns="" id="{E566BD0C-59A1-4C65-8131-4EF293DF3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549" y="1240277"/>
                <a:ext cx="16355" cy="16355"/>
              </a:xfrm>
              <a:custGeom>
                <a:avLst/>
                <a:gdLst>
                  <a:gd name="T0" fmla="*/ 43 w 43"/>
                  <a:gd name="T1" fmla="*/ 1 h 43"/>
                  <a:gd name="T2" fmla="*/ 0 w 43"/>
                  <a:gd name="T3" fmla="*/ 0 h 43"/>
                  <a:gd name="T4" fmla="*/ 0 w 43"/>
                  <a:gd name="T5" fmla="*/ 43 h 43"/>
                  <a:gd name="T6" fmla="*/ 43 w 43"/>
                  <a:gd name="T7" fmla="*/ 43 h 43"/>
                  <a:gd name="T8" fmla="*/ 43 w 43"/>
                  <a:gd name="T9" fmla="*/ 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43" y="1"/>
                    </a:moveTo>
                    <a:lnTo>
                      <a:pt x="0" y="0"/>
                    </a:lnTo>
                    <a:lnTo>
                      <a:pt x="0" y="43"/>
                    </a:lnTo>
                    <a:lnTo>
                      <a:pt x="43" y="43"/>
                    </a:lnTo>
                    <a:lnTo>
                      <a:pt x="4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5" name="Rectangle 32">
                <a:extLst>
                  <a:ext uri="{FF2B5EF4-FFF2-40B4-BE49-F238E27FC236}">
                    <a16:creationId xmlns:a16="http://schemas.microsoft.com/office/drawing/2014/main" xmlns="" id="{CD80F0F7-F21C-4BF2-92A1-CD12A76620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07891" y="1240277"/>
                <a:ext cx="1635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6" name="Rectangle 33">
                <a:extLst>
                  <a:ext uri="{FF2B5EF4-FFF2-40B4-BE49-F238E27FC236}">
                    <a16:creationId xmlns:a16="http://schemas.microsoft.com/office/drawing/2014/main" xmlns="" id="{AABD1975-29A5-48DE-B7AB-46628AEF8F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3234" y="1240277"/>
                <a:ext cx="1635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7" name="Rectangle 34">
                <a:extLst>
                  <a:ext uri="{FF2B5EF4-FFF2-40B4-BE49-F238E27FC236}">
                    <a16:creationId xmlns:a16="http://schemas.microsoft.com/office/drawing/2014/main" xmlns="" id="{5007788C-C4AD-49DF-95EE-EF273AF74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4573" y="1240657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8" name="Rectangle 35">
                <a:extLst>
                  <a:ext uri="{FF2B5EF4-FFF2-40B4-BE49-F238E27FC236}">
                    <a16:creationId xmlns:a16="http://schemas.microsoft.com/office/drawing/2014/main" xmlns="" id="{50E1C190-E552-49D5-91F8-E1AE72193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231" y="1241418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9" name="Rectangle 36">
                <a:extLst>
                  <a:ext uri="{FF2B5EF4-FFF2-40B4-BE49-F238E27FC236}">
                    <a16:creationId xmlns:a16="http://schemas.microsoft.com/office/drawing/2014/main" xmlns="" id="{57BFFA76-3AAC-4F7F-9A6F-58D293B5BC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5258" y="124065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0" name="Freeform 37">
                <a:extLst>
                  <a:ext uri="{FF2B5EF4-FFF2-40B4-BE49-F238E27FC236}">
                    <a16:creationId xmlns:a16="http://schemas.microsoft.com/office/drawing/2014/main" xmlns="" id="{4D888B52-0881-4037-B8E0-EA30C867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522" y="1241418"/>
                <a:ext cx="16355" cy="15974"/>
              </a:xfrm>
              <a:custGeom>
                <a:avLst/>
                <a:gdLst>
                  <a:gd name="T0" fmla="*/ 43 w 43"/>
                  <a:gd name="T1" fmla="*/ 0 h 42"/>
                  <a:gd name="T2" fmla="*/ 1 w 43"/>
                  <a:gd name="T3" fmla="*/ 0 h 42"/>
                  <a:gd name="T4" fmla="*/ 0 w 43"/>
                  <a:gd name="T5" fmla="*/ 42 h 42"/>
                  <a:gd name="T6" fmla="*/ 43 w 43"/>
                  <a:gd name="T7" fmla="*/ 42 h 42"/>
                  <a:gd name="T8" fmla="*/ 43 w 4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2">
                    <a:moveTo>
                      <a:pt x="43" y="0"/>
                    </a:moveTo>
                    <a:lnTo>
                      <a:pt x="1" y="0"/>
                    </a:lnTo>
                    <a:lnTo>
                      <a:pt x="0" y="42"/>
                    </a:lnTo>
                    <a:lnTo>
                      <a:pt x="43" y="42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1" name="Rectangle 38">
                <a:extLst>
                  <a:ext uri="{FF2B5EF4-FFF2-40B4-BE49-F238E27FC236}">
                    <a16:creationId xmlns:a16="http://schemas.microsoft.com/office/drawing/2014/main" xmlns="" id="{66800BB8-E803-45F4-9BFD-F413EBD93E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37207" y="1240657"/>
                <a:ext cx="1635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2" name="Rectangle 39">
                <a:extLst>
                  <a:ext uri="{FF2B5EF4-FFF2-40B4-BE49-F238E27FC236}">
                    <a16:creationId xmlns:a16="http://schemas.microsoft.com/office/drawing/2014/main" xmlns="" id="{24562FD0-B1CB-456D-B929-B3592822DE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9916" y="124065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3" name="Freeform 40">
                <a:extLst>
                  <a:ext uri="{FF2B5EF4-FFF2-40B4-BE49-F238E27FC236}">
                    <a16:creationId xmlns:a16="http://schemas.microsoft.com/office/drawing/2014/main" xmlns="" id="{5F86B5FE-AF19-42EB-AE96-7E189F893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864" y="1240657"/>
                <a:ext cx="16355" cy="16735"/>
              </a:xfrm>
              <a:custGeom>
                <a:avLst/>
                <a:gdLst>
                  <a:gd name="T0" fmla="*/ 43 w 43"/>
                  <a:gd name="T1" fmla="*/ 0 h 44"/>
                  <a:gd name="T2" fmla="*/ 0 w 43"/>
                  <a:gd name="T3" fmla="*/ 0 h 44"/>
                  <a:gd name="T4" fmla="*/ 0 w 43"/>
                  <a:gd name="T5" fmla="*/ 42 h 44"/>
                  <a:gd name="T6" fmla="*/ 43 w 43"/>
                  <a:gd name="T7" fmla="*/ 44 h 44"/>
                  <a:gd name="T8" fmla="*/ 43 w 43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43" y="0"/>
                    </a:moveTo>
                    <a:lnTo>
                      <a:pt x="0" y="0"/>
                    </a:lnTo>
                    <a:lnTo>
                      <a:pt x="0" y="42"/>
                    </a:lnTo>
                    <a:lnTo>
                      <a:pt x="43" y="44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4" name="Rectangle 41">
                <a:extLst>
                  <a:ext uri="{FF2B5EF4-FFF2-40B4-BE49-F238E27FC236}">
                    <a16:creationId xmlns:a16="http://schemas.microsoft.com/office/drawing/2014/main" xmlns="" id="{92FEE8C6-6FFB-4BB9-B008-4D1D24F3B6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99495" y="1377579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5" name="Rectangle 42">
                <a:extLst>
                  <a:ext uri="{FF2B5EF4-FFF2-40B4-BE49-F238E27FC236}">
                    <a16:creationId xmlns:a16="http://schemas.microsoft.com/office/drawing/2014/main" xmlns="" id="{8537C7D5-D626-4855-A796-E5108D7C28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7440" y="1379100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6" name="Rectangle 43">
                <a:extLst>
                  <a:ext uri="{FF2B5EF4-FFF2-40B4-BE49-F238E27FC236}">
                    <a16:creationId xmlns:a16="http://schemas.microsoft.com/office/drawing/2014/main" xmlns="" id="{1417C713-666B-4AEE-94CE-51D67CAB68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6786" y="1377579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7" name="Rectangle 44">
                <a:extLst>
                  <a:ext uri="{FF2B5EF4-FFF2-40B4-BE49-F238E27FC236}">
                    <a16:creationId xmlns:a16="http://schemas.microsoft.com/office/drawing/2014/main" xmlns="" id="{11B01447-9CF6-4BB9-A126-4ED5E25684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8125" y="1378340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8" name="Rectangle 45">
                <a:extLst>
                  <a:ext uri="{FF2B5EF4-FFF2-40B4-BE49-F238E27FC236}">
                    <a16:creationId xmlns:a16="http://schemas.microsoft.com/office/drawing/2014/main" xmlns="" id="{C294794B-4043-4C6E-BA72-394651BFB9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0150" y="1379100"/>
                <a:ext cx="9128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9" name="Freeform 46">
                <a:extLst>
                  <a:ext uri="{FF2B5EF4-FFF2-40B4-BE49-F238E27FC236}">
                    <a16:creationId xmlns:a16="http://schemas.microsoft.com/office/drawing/2014/main" xmlns="" id="{B53C5911-33D4-4283-B9E9-319053345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834" y="1378340"/>
                <a:ext cx="15974" cy="16735"/>
              </a:xfrm>
              <a:custGeom>
                <a:avLst/>
                <a:gdLst>
                  <a:gd name="T0" fmla="*/ 42 w 42"/>
                  <a:gd name="T1" fmla="*/ 2 h 44"/>
                  <a:gd name="T2" fmla="*/ 0 w 42"/>
                  <a:gd name="T3" fmla="*/ 0 h 44"/>
                  <a:gd name="T4" fmla="*/ 0 w 42"/>
                  <a:gd name="T5" fmla="*/ 44 h 44"/>
                  <a:gd name="T6" fmla="*/ 42 w 42"/>
                  <a:gd name="T7" fmla="*/ 44 h 44"/>
                  <a:gd name="T8" fmla="*/ 42 w 42"/>
                  <a:gd name="T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42" y="2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42" y="44"/>
                    </a:lnTo>
                    <a:lnTo>
                      <a:pt x="4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0" name="Rectangle 47">
                <a:extLst>
                  <a:ext uri="{FF2B5EF4-FFF2-40B4-BE49-F238E27FC236}">
                    <a16:creationId xmlns:a16="http://schemas.microsoft.com/office/drawing/2014/main" xmlns="" id="{585ED290-CD75-41E6-B41B-3D44D868E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5492" y="1379100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1" name="Freeform 48">
                <a:extLst>
                  <a:ext uri="{FF2B5EF4-FFF2-40B4-BE49-F238E27FC236}">
                    <a16:creationId xmlns:a16="http://schemas.microsoft.com/office/drawing/2014/main" xmlns="" id="{3EB4776D-6CF0-4AB8-923E-6FE6E0C78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5416" y="1378340"/>
                <a:ext cx="16735" cy="16735"/>
              </a:xfrm>
              <a:custGeom>
                <a:avLst/>
                <a:gdLst>
                  <a:gd name="T0" fmla="*/ 44 w 44"/>
                  <a:gd name="T1" fmla="*/ 0 h 44"/>
                  <a:gd name="T2" fmla="*/ 2 w 44"/>
                  <a:gd name="T3" fmla="*/ 0 h 44"/>
                  <a:gd name="T4" fmla="*/ 0 w 44"/>
                  <a:gd name="T5" fmla="*/ 42 h 44"/>
                  <a:gd name="T6" fmla="*/ 44 w 44"/>
                  <a:gd name="T7" fmla="*/ 44 h 44"/>
                  <a:gd name="T8" fmla="*/ 44 w 44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44" y="0"/>
                    </a:moveTo>
                    <a:lnTo>
                      <a:pt x="2" y="0"/>
                    </a:lnTo>
                    <a:lnTo>
                      <a:pt x="0" y="42"/>
                    </a:lnTo>
                    <a:lnTo>
                      <a:pt x="44" y="4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2" name="Rectangle 49">
                <a:extLst>
                  <a:ext uri="{FF2B5EF4-FFF2-40B4-BE49-F238E27FC236}">
                    <a16:creationId xmlns:a16="http://schemas.microsoft.com/office/drawing/2014/main" xmlns="" id="{5C23A1D5-0A9B-422C-BDAB-DB5D9350B8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22783" y="1379100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3" name="Freeform 50">
                <a:extLst>
                  <a:ext uri="{FF2B5EF4-FFF2-40B4-BE49-F238E27FC236}">
                    <a16:creationId xmlns:a16="http://schemas.microsoft.com/office/drawing/2014/main" xmlns="" id="{ADA917BC-78F8-4BD3-9F47-08F8B3209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4152" y="1377579"/>
                <a:ext cx="15974" cy="16735"/>
              </a:xfrm>
              <a:custGeom>
                <a:avLst/>
                <a:gdLst>
                  <a:gd name="T0" fmla="*/ 42 w 42"/>
                  <a:gd name="T1" fmla="*/ 2 h 44"/>
                  <a:gd name="T2" fmla="*/ 0 w 42"/>
                  <a:gd name="T3" fmla="*/ 0 h 44"/>
                  <a:gd name="T4" fmla="*/ 0 w 42"/>
                  <a:gd name="T5" fmla="*/ 44 h 44"/>
                  <a:gd name="T6" fmla="*/ 42 w 42"/>
                  <a:gd name="T7" fmla="*/ 44 h 44"/>
                  <a:gd name="T8" fmla="*/ 42 w 42"/>
                  <a:gd name="T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42" y="2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42" y="44"/>
                    </a:lnTo>
                    <a:lnTo>
                      <a:pt x="4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4" name="Rectangle 51">
                <a:extLst>
                  <a:ext uri="{FF2B5EF4-FFF2-40B4-BE49-F238E27FC236}">
                    <a16:creationId xmlns:a16="http://schemas.microsoft.com/office/drawing/2014/main" xmlns="" id="{083540F7-68C1-407D-B47F-3E0DC4D042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93468" y="1378340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5" name="Rectangle 52">
                <a:extLst>
                  <a:ext uri="{FF2B5EF4-FFF2-40B4-BE49-F238E27FC236}">
                    <a16:creationId xmlns:a16="http://schemas.microsoft.com/office/drawing/2014/main" xmlns="" id="{EAEBD42A-E67F-41B1-8A9C-8D18F199D0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1443" y="1377579"/>
                <a:ext cx="16735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6" name="Rectangle 53">
                <a:extLst>
                  <a:ext uri="{FF2B5EF4-FFF2-40B4-BE49-F238E27FC236}">
                    <a16:creationId xmlns:a16="http://schemas.microsoft.com/office/drawing/2014/main" xmlns="" id="{51724947-6A17-46DA-B8A5-2973C76237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8810" y="1378340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7" name="Freeform 54">
                <a:extLst>
                  <a:ext uri="{FF2B5EF4-FFF2-40B4-BE49-F238E27FC236}">
                    <a16:creationId xmlns:a16="http://schemas.microsoft.com/office/drawing/2014/main" xmlns="" id="{D1587B35-C324-4100-B898-370E45C805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0758" y="1378340"/>
                <a:ext cx="16735" cy="15974"/>
              </a:xfrm>
              <a:custGeom>
                <a:avLst/>
                <a:gdLst>
                  <a:gd name="T0" fmla="*/ 44 w 44"/>
                  <a:gd name="T1" fmla="*/ 0 h 42"/>
                  <a:gd name="T2" fmla="*/ 2 w 44"/>
                  <a:gd name="T3" fmla="*/ 0 h 42"/>
                  <a:gd name="T4" fmla="*/ 0 w 44"/>
                  <a:gd name="T5" fmla="*/ 42 h 42"/>
                  <a:gd name="T6" fmla="*/ 44 w 44"/>
                  <a:gd name="T7" fmla="*/ 42 h 42"/>
                  <a:gd name="T8" fmla="*/ 44 w 4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2">
                    <a:moveTo>
                      <a:pt x="44" y="0"/>
                    </a:moveTo>
                    <a:lnTo>
                      <a:pt x="2" y="0"/>
                    </a:lnTo>
                    <a:lnTo>
                      <a:pt x="0" y="42"/>
                    </a:lnTo>
                    <a:lnTo>
                      <a:pt x="44" y="4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8" name="Rectangle 55">
                <a:extLst>
                  <a:ext uri="{FF2B5EF4-FFF2-40B4-BE49-F238E27FC236}">
                    <a16:creationId xmlns:a16="http://schemas.microsoft.com/office/drawing/2014/main" xmlns="" id="{1D4BB1E1-25B0-4F0E-82E6-8D1D4C8132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6101" y="1378340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9" name="Rectangle 56">
                <a:extLst>
                  <a:ext uri="{FF2B5EF4-FFF2-40B4-BE49-F238E27FC236}">
                    <a16:creationId xmlns:a16="http://schemas.microsoft.com/office/drawing/2014/main" xmlns="" id="{31B9E534-0543-47A2-8058-B30FE4810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396" y="1542646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0" name="Freeform 57">
                <a:extLst>
                  <a:ext uri="{FF2B5EF4-FFF2-40B4-BE49-F238E27FC236}">
                    <a16:creationId xmlns:a16="http://schemas.microsoft.com/office/drawing/2014/main" xmlns="" id="{A3181469-4C69-442B-B8F9-84BD7DA7C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8763" y="1542646"/>
                <a:ext cx="15974" cy="16735"/>
              </a:xfrm>
              <a:custGeom>
                <a:avLst/>
                <a:gdLst>
                  <a:gd name="T0" fmla="*/ 0 w 42"/>
                  <a:gd name="T1" fmla="*/ 43 h 44"/>
                  <a:gd name="T2" fmla="*/ 42 w 42"/>
                  <a:gd name="T3" fmla="*/ 44 h 44"/>
                  <a:gd name="T4" fmla="*/ 42 w 42"/>
                  <a:gd name="T5" fmla="*/ 0 h 44"/>
                  <a:gd name="T6" fmla="*/ 0 w 42"/>
                  <a:gd name="T7" fmla="*/ 0 h 44"/>
                  <a:gd name="T8" fmla="*/ 0 w 4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0" y="43"/>
                    </a:moveTo>
                    <a:lnTo>
                      <a:pt x="42" y="44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1" name="Rectangle 58">
                <a:extLst>
                  <a:ext uri="{FF2B5EF4-FFF2-40B4-BE49-F238E27FC236}">
                    <a16:creationId xmlns:a16="http://schemas.microsoft.com/office/drawing/2014/main" xmlns="" id="{C25F1895-40B7-4B08-A98E-838281DCA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4106" y="1542646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2" name="Rectangle 59">
                <a:extLst>
                  <a:ext uri="{FF2B5EF4-FFF2-40B4-BE49-F238E27FC236}">
                    <a16:creationId xmlns:a16="http://schemas.microsoft.com/office/drawing/2014/main" xmlns="" id="{F5235C98-7BEC-47F6-BD94-986586A10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66054" y="1542646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3" name="Rectangle 60">
                <a:extLst>
                  <a:ext uri="{FF2B5EF4-FFF2-40B4-BE49-F238E27FC236}">
                    <a16:creationId xmlns:a16="http://schemas.microsoft.com/office/drawing/2014/main" xmlns="" id="{FAF23763-A71A-4407-BF1D-C64CC4F5A0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9448" y="1542646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4" name="Rectangle 61">
                <a:extLst>
                  <a:ext uri="{FF2B5EF4-FFF2-40B4-BE49-F238E27FC236}">
                    <a16:creationId xmlns:a16="http://schemas.microsoft.com/office/drawing/2014/main" xmlns="" id="{ED606187-A431-4BC5-B6AF-CDE41F34AB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9372" y="1542266"/>
                <a:ext cx="16735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5" name="Freeform 62">
                <a:extLst>
                  <a:ext uri="{FF2B5EF4-FFF2-40B4-BE49-F238E27FC236}">
                    <a16:creationId xmlns:a16="http://schemas.microsoft.com/office/drawing/2014/main" xmlns="" id="{4718A072-EA99-49D8-87E6-673A9FB38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030" y="1542646"/>
                <a:ext cx="16735" cy="16355"/>
              </a:xfrm>
              <a:custGeom>
                <a:avLst/>
                <a:gdLst>
                  <a:gd name="T0" fmla="*/ 44 w 44"/>
                  <a:gd name="T1" fmla="*/ 0 h 43"/>
                  <a:gd name="T2" fmla="*/ 2 w 44"/>
                  <a:gd name="T3" fmla="*/ 0 h 43"/>
                  <a:gd name="T4" fmla="*/ 0 w 44"/>
                  <a:gd name="T5" fmla="*/ 43 h 43"/>
                  <a:gd name="T6" fmla="*/ 44 w 44"/>
                  <a:gd name="T7" fmla="*/ 43 h 43"/>
                  <a:gd name="T8" fmla="*/ 44 w 44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3">
                    <a:moveTo>
                      <a:pt x="44" y="0"/>
                    </a:moveTo>
                    <a:lnTo>
                      <a:pt x="2" y="0"/>
                    </a:lnTo>
                    <a:lnTo>
                      <a:pt x="0" y="43"/>
                    </a:lnTo>
                    <a:lnTo>
                      <a:pt x="44" y="43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6" name="Rectangle 63">
                <a:extLst>
                  <a:ext uri="{FF2B5EF4-FFF2-40B4-BE49-F238E27FC236}">
                    <a16:creationId xmlns:a16="http://schemas.microsoft.com/office/drawing/2014/main" xmlns="" id="{B071CCFE-E5D4-4B20-9087-E204439C8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6739" y="1542646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7" name="Rectangle 64">
                <a:extLst>
                  <a:ext uri="{FF2B5EF4-FFF2-40B4-BE49-F238E27FC236}">
                    <a16:creationId xmlns:a16="http://schemas.microsoft.com/office/drawing/2014/main" xmlns="" id="{AB3A032E-91AD-48D0-8DD9-8DFBEDD37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7394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8" name="Rectangle 65">
                <a:extLst>
                  <a:ext uri="{FF2B5EF4-FFF2-40B4-BE49-F238E27FC236}">
                    <a16:creationId xmlns:a16="http://schemas.microsoft.com/office/drawing/2014/main" xmlns="" id="{8789A1F3-D7D9-4F3A-991A-960509447B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0027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9" name="Rectangle 66">
                <a:extLst>
                  <a:ext uri="{FF2B5EF4-FFF2-40B4-BE49-F238E27FC236}">
                    <a16:creationId xmlns:a16="http://schemas.microsoft.com/office/drawing/2014/main" xmlns="" id="{02EEFF6D-6058-4C4E-A61C-E26D333F92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92736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0" name="Rectangle 67">
                <a:extLst>
                  <a:ext uri="{FF2B5EF4-FFF2-40B4-BE49-F238E27FC236}">
                    <a16:creationId xmlns:a16="http://schemas.microsoft.com/office/drawing/2014/main" xmlns="" id="{F734A945-832D-4FDC-8874-A27652D91C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24685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1" name="Rectangle 68">
                <a:extLst>
                  <a:ext uri="{FF2B5EF4-FFF2-40B4-BE49-F238E27FC236}">
                    <a16:creationId xmlns:a16="http://schemas.microsoft.com/office/drawing/2014/main" xmlns="" id="{339AD621-7BA2-42D8-A91D-6784FDC4B0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2081" y="1542266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2" name="Rectangle 69">
                <a:extLst>
                  <a:ext uri="{FF2B5EF4-FFF2-40B4-BE49-F238E27FC236}">
                    <a16:creationId xmlns:a16="http://schemas.microsoft.com/office/drawing/2014/main" xmlns="" id="{2646435D-19E2-4C19-B1CE-4D8301A424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8078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3" name="Freeform 70">
                <a:extLst>
                  <a:ext uri="{FF2B5EF4-FFF2-40B4-BE49-F238E27FC236}">
                    <a16:creationId xmlns:a16="http://schemas.microsoft.com/office/drawing/2014/main" xmlns="" id="{5D68FDD2-1C79-4A5F-9F1A-D19BD8786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421" y="1542646"/>
                <a:ext cx="15974" cy="16735"/>
              </a:xfrm>
              <a:custGeom>
                <a:avLst/>
                <a:gdLst>
                  <a:gd name="T0" fmla="*/ 0 w 42"/>
                  <a:gd name="T1" fmla="*/ 44 h 44"/>
                  <a:gd name="T2" fmla="*/ 42 w 42"/>
                  <a:gd name="T3" fmla="*/ 44 h 44"/>
                  <a:gd name="T4" fmla="*/ 42 w 42"/>
                  <a:gd name="T5" fmla="*/ 2 h 44"/>
                  <a:gd name="T6" fmla="*/ 0 w 42"/>
                  <a:gd name="T7" fmla="*/ 0 h 44"/>
                  <a:gd name="T8" fmla="*/ 0 w 4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0" y="44"/>
                    </a:moveTo>
                    <a:lnTo>
                      <a:pt x="42" y="44"/>
                    </a:lnTo>
                    <a:lnTo>
                      <a:pt x="42" y="2"/>
                    </a:lnTo>
                    <a:lnTo>
                      <a:pt x="0" y="0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4" name="Rectangle 71">
                <a:extLst>
                  <a:ext uri="{FF2B5EF4-FFF2-40B4-BE49-F238E27FC236}">
                    <a16:creationId xmlns:a16="http://schemas.microsoft.com/office/drawing/2014/main" xmlns="" id="{827AD39E-0362-4313-B5BD-5EAC0042E6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95369" y="154340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5" name="Rectangle 72">
                <a:extLst>
                  <a:ext uri="{FF2B5EF4-FFF2-40B4-BE49-F238E27FC236}">
                    <a16:creationId xmlns:a16="http://schemas.microsoft.com/office/drawing/2014/main" xmlns="" id="{D4A7B770-4964-4F1C-BE98-4EF4E6493E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0712" y="1542646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6" name="Rectangle 73">
                <a:extLst>
                  <a:ext uri="{FF2B5EF4-FFF2-40B4-BE49-F238E27FC236}">
                    <a16:creationId xmlns:a16="http://schemas.microsoft.com/office/drawing/2014/main" xmlns="" id="{A37905F6-80F4-4A0E-8B26-1A70E2693F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2051" y="1543407"/>
                <a:ext cx="7607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7" name="Freeform 74">
                <a:extLst>
                  <a:ext uri="{FF2B5EF4-FFF2-40B4-BE49-F238E27FC236}">
                    <a16:creationId xmlns:a16="http://schemas.microsoft.com/office/drawing/2014/main" xmlns="" id="{0440F1CB-327D-4127-A959-1F997383F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342" y="1543407"/>
                <a:ext cx="16735" cy="16735"/>
              </a:xfrm>
              <a:custGeom>
                <a:avLst/>
                <a:gdLst>
                  <a:gd name="T0" fmla="*/ 0 w 44"/>
                  <a:gd name="T1" fmla="*/ 44 h 44"/>
                  <a:gd name="T2" fmla="*/ 42 w 44"/>
                  <a:gd name="T3" fmla="*/ 44 h 44"/>
                  <a:gd name="T4" fmla="*/ 44 w 44"/>
                  <a:gd name="T5" fmla="*/ 0 h 44"/>
                  <a:gd name="T6" fmla="*/ 0 w 44"/>
                  <a:gd name="T7" fmla="*/ 0 h 44"/>
                  <a:gd name="T8" fmla="*/ 0 w 44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42" y="44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246" name="Groupe 245">
              <a:extLst>
                <a:ext uri="{FF2B5EF4-FFF2-40B4-BE49-F238E27FC236}">
                  <a16:creationId xmlns:a16="http://schemas.microsoft.com/office/drawing/2014/main" xmlns="" id="{A0BADB43-BE7B-487C-A8C7-DA2C6BA77619}"/>
                </a:ext>
              </a:extLst>
            </p:cNvPr>
            <p:cNvGrpSpPr/>
            <p:nvPr/>
          </p:nvGrpSpPr>
          <p:grpSpPr>
            <a:xfrm>
              <a:off x="4376957" y="2413550"/>
              <a:ext cx="489116" cy="320245"/>
              <a:chOff x="5146393" y="1643816"/>
              <a:chExt cx="489116" cy="320245"/>
            </a:xfrm>
            <a:solidFill>
              <a:schemeClr val="accent2"/>
            </a:solidFill>
          </p:grpSpPr>
          <p:sp>
            <p:nvSpPr>
              <p:cNvPr id="249" name="Freeform 75">
                <a:extLst>
                  <a:ext uri="{FF2B5EF4-FFF2-40B4-BE49-F238E27FC236}">
                    <a16:creationId xmlns:a16="http://schemas.microsoft.com/office/drawing/2014/main" xmlns="" id="{3E7609B9-22E0-44CA-AB94-DB18E3199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662" y="1645337"/>
                <a:ext cx="16735" cy="15974"/>
              </a:xfrm>
              <a:custGeom>
                <a:avLst/>
                <a:gdLst>
                  <a:gd name="T0" fmla="*/ 44 w 44"/>
                  <a:gd name="T1" fmla="*/ 0 h 42"/>
                  <a:gd name="T2" fmla="*/ 0 w 44"/>
                  <a:gd name="T3" fmla="*/ 0 h 42"/>
                  <a:gd name="T4" fmla="*/ 2 w 44"/>
                  <a:gd name="T5" fmla="*/ 42 h 42"/>
                  <a:gd name="T6" fmla="*/ 44 w 44"/>
                  <a:gd name="T7" fmla="*/ 42 h 42"/>
                  <a:gd name="T8" fmla="*/ 44 w 4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2">
                    <a:moveTo>
                      <a:pt x="44" y="0"/>
                    </a:moveTo>
                    <a:lnTo>
                      <a:pt x="0" y="0"/>
                    </a:lnTo>
                    <a:lnTo>
                      <a:pt x="2" y="42"/>
                    </a:lnTo>
                    <a:lnTo>
                      <a:pt x="44" y="4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0" name="Freeform 76">
                <a:extLst>
                  <a:ext uri="{FF2B5EF4-FFF2-40B4-BE49-F238E27FC236}">
                    <a16:creationId xmlns:a16="http://schemas.microsoft.com/office/drawing/2014/main" xmlns="" id="{4252DE66-1F07-4819-BAE8-3F0465D9D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2659" y="1643816"/>
                <a:ext cx="15974" cy="16735"/>
              </a:xfrm>
              <a:custGeom>
                <a:avLst/>
                <a:gdLst>
                  <a:gd name="T0" fmla="*/ 42 w 42"/>
                  <a:gd name="T1" fmla="*/ 0 h 44"/>
                  <a:gd name="T2" fmla="*/ 0 w 42"/>
                  <a:gd name="T3" fmla="*/ 0 h 44"/>
                  <a:gd name="T4" fmla="*/ 0 w 42"/>
                  <a:gd name="T5" fmla="*/ 44 h 44"/>
                  <a:gd name="T6" fmla="*/ 42 w 42"/>
                  <a:gd name="T7" fmla="*/ 42 h 44"/>
                  <a:gd name="T8" fmla="*/ 42 w 42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42" y="0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42" y="4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1" name="Rectangle 77">
                <a:extLst>
                  <a:ext uri="{FF2B5EF4-FFF2-40B4-BE49-F238E27FC236}">
                    <a16:creationId xmlns:a16="http://schemas.microsoft.com/office/drawing/2014/main" xmlns="" id="{8E62777E-2D8A-4DB8-9B6D-7CE167A6D5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0711" y="1643816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2" name="Freeform 78">
                <a:extLst>
                  <a:ext uri="{FF2B5EF4-FFF2-40B4-BE49-F238E27FC236}">
                    <a16:creationId xmlns:a16="http://schemas.microsoft.com/office/drawing/2014/main" xmlns="" id="{6085F065-AA60-4E9A-B013-8F90C17C97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1320" y="1645337"/>
                <a:ext cx="16735" cy="15974"/>
              </a:xfrm>
              <a:custGeom>
                <a:avLst/>
                <a:gdLst>
                  <a:gd name="T0" fmla="*/ 44 w 44"/>
                  <a:gd name="T1" fmla="*/ 0 h 42"/>
                  <a:gd name="T2" fmla="*/ 0 w 44"/>
                  <a:gd name="T3" fmla="*/ 0 h 42"/>
                  <a:gd name="T4" fmla="*/ 2 w 44"/>
                  <a:gd name="T5" fmla="*/ 42 h 42"/>
                  <a:gd name="T6" fmla="*/ 44 w 44"/>
                  <a:gd name="T7" fmla="*/ 42 h 42"/>
                  <a:gd name="T8" fmla="*/ 44 w 4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2">
                    <a:moveTo>
                      <a:pt x="44" y="0"/>
                    </a:moveTo>
                    <a:lnTo>
                      <a:pt x="0" y="0"/>
                    </a:lnTo>
                    <a:lnTo>
                      <a:pt x="2" y="42"/>
                    </a:lnTo>
                    <a:lnTo>
                      <a:pt x="44" y="4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3" name="Rectangle 79">
                <a:extLst>
                  <a:ext uri="{FF2B5EF4-FFF2-40B4-BE49-F238E27FC236}">
                    <a16:creationId xmlns:a16="http://schemas.microsoft.com/office/drawing/2014/main" xmlns="" id="{58E0D978-F211-478E-92B9-A1EFCD8C36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6053" y="164457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4" name="Rectangle 80">
                <a:extLst>
                  <a:ext uri="{FF2B5EF4-FFF2-40B4-BE49-F238E27FC236}">
                    <a16:creationId xmlns:a16="http://schemas.microsoft.com/office/drawing/2014/main" xmlns="" id="{244E81DD-6DBF-4631-B1F0-548178D8D0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8687" y="1644577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5" name="Freeform 81">
                <a:extLst>
                  <a:ext uri="{FF2B5EF4-FFF2-40B4-BE49-F238E27FC236}">
                    <a16:creationId xmlns:a16="http://schemas.microsoft.com/office/drawing/2014/main" xmlns="" id="{5F901A69-A812-4FFF-B7E5-A3F8B7AFE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977" y="1644577"/>
                <a:ext cx="16735" cy="16735"/>
              </a:xfrm>
              <a:custGeom>
                <a:avLst/>
                <a:gdLst>
                  <a:gd name="T0" fmla="*/ 44 w 44"/>
                  <a:gd name="T1" fmla="*/ 0 h 44"/>
                  <a:gd name="T2" fmla="*/ 0 w 44"/>
                  <a:gd name="T3" fmla="*/ 2 h 44"/>
                  <a:gd name="T4" fmla="*/ 2 w 44"/>
                  <a:gd name="T5" fmla="*/ 44 h 44"/>
                  <a:gd name="T6" fmla="*/ 44 w 44"/>
                  <a:gd name="T7" fmla="*/ 44 h 44"/>
                  <a:gd name="T8" fmla="*/ 44 w 44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44" y="0"/>
                    </a:moveTo>
                    <a:lnTo>
                      <a:pt x="0" y="2"/>
                    </a:lnTo>
                    <a:lnTo>
                      <a:pt x="2" y="44"/>
                    </a:lnTo>
                    <a:lnTo>
                      <a:pt x="44" y="4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6" name="Rectangle 82">
                <a:extLst>
                  <a:ext uri="{FF2B5EF4-FFF2-40B4-BE49-F238E27FC236}">
                    <a16:creationId xmlns:a16="http://schemas.microsoft.com/office/drawing/2014/main" xmlns="" id="{9C0E71A0-12C3-45E5-9EE3-8456EC3BE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4029" y="164533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7" name="Rectangle 83">
                <a:extLst>
                  <a:ext uri="{FF2B5EF4-FFF2-40B4-BE49-F238E27FC236}">
                    <a16:creationId xmlns:a16="http://schemas.microsoft.com/office/drawing/2014/main" xmlns="" id="{C38FF040-9D60-4F4C-B711-BE9CD98AD4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9371" y="164533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8" name="Rectangle 84">
                <a:extLst>
                  <a:ext uri="{FF2B5EF4-FFF2-40B4-BE49-F238E27FC236}">
                    <a16:creationId xmlns:a16="http://schemas.microsoft.com/office/drawing/2014/main" xmlns="" id="{02A9175F-14F7-40D3-90A4-B03D516AEC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3344" y="164457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9" name="Rectangle 85">
                <a:extLst>
                  <a:ext uri="{FF2B5EF4-FFF2-40B4-BE49-F238E27FC236}">
                    <a16:creationId xmlns:a16="http://schemas.microsoft.com/office/drawing/2014/main" xmlns="" id="{9A8A246A-FFA4-424A-A498-557131B27F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8002" y="164457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0" name="Rectangle 86">
                <a:extLst>
                  <a:ext uri="{FF2B5EF4-FFF2-40B4-BE49-F238E27FC236}">
                    <a16:creationId xmlns:a16="http://schemas.microsoft.com/office/drawing/2014/main" xmlns="" id="{30D9F51F-42D7-470A-904B-43E0C3B44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1396" y="164457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1" name="Rectangle 87">
                <a:extLst>
                  <a:ext uri="{FF2B5EF4-FFF2-40B4-BE49-F238E27FC236}">
                    <a16:creationId xmlns:a16="http://schemas.microsoft.com/office/drawing/2014/main" xmlns="" id="{4110A678-577A-44B1-9302-67A5209EB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5439" y="1782640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2" name="Freeform 88">
                <a:extLst>
                  <a:ext uri="{FF2B5EF4-FFF2-40B4-BE49-F238E27FC236}">
                    <a16:creationId xmlns:a16="http://schemas.microsoft.com/office/drawing/2014/main" xmlns="" id="{41C5FAF0-21DD-439C-B9E4-D252A962D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0781" y="1782640"/>
                <a:ext cx="15974" cy="16735"/>
              </a:xfrm>
              <a:custGeom>
                <a:avLst/>
                <a:gdLst>
                  <a:gd name="T0" fmla="*/ 42 w 42"/>
                  <a:gd name="T1" fmla="*/ 0 h 44"/>
                  <a:gd name="T2" fmla="*/ 0 w 42"/>
                  <a:gd name="T3" fmla="*/ 0 h 44"/>
                  <a:gd name="T4" fmla="*/ 0 w 42"/>
                  <a:gd name="T5" fmla="*/ 44 h 44"/>
                  <a:gd name="T6" fmla="*/ 42 w 42"/>
                  <a:gd name="T7" fmla="*/ 43 h 44"/>
                  <a:gd name="T8" fmla="*/ 42 w 42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42" y="0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42" y="43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3" name="Freeform 89">
                <a:extLst>
                  <a:ext uri="{FF2B5EF4-FFF2-40B4-BE49-F238E27FC236}">
                    <a16:creationId xmlns:a16="http://schemas.microsoft.com/office/drawing/2014/main" xmlns="" id="{23F9D55D-B320-46A2-AF11-68CD3AC254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2045" y="1782259"/>
                <a:ext cx="16735" cy="16735"/>
              </a:xfrm>
              <a:custGeom>
                <a:avLst/>
                <a:gdLst>
                  <a:gd name="T0" fmla="*/ 0 w 44"/>
                  <a:gd name="T1" fmla="*/ 1 h 44"/>
                  <a:gd name="T2" fmla="*/ 2 w 44"/>
                  <a:gd name="T3" fmla="*/ 44 h 44"/>
                  <a:gd name="T4" fmla="*/ 44 w 44"/>
                  <a:gd name="T5" fmla="*/ 44 h 44"/>
                  <a:gd name="T6" fmla="*/ 44 w 44"/>
                  <a:gd name="T7" fmla="*/ 0 h 44"/>
                  <a:gd name="T8" fmla="*/ 0 w 44"/>
                  <a:gd name="T9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0" y="1"/>
                    </a:moveTo>
                    <a:lnTo>
                      <a:pt x="2" y="44"/>
                    </a:lnTo>
                    <a:lnTo>
                      <a:pt x="44" y="44"/>
                    </a:lnTo>
                    <a:lnTo>
                      <a:pt x="4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4" name="Rectangle 90">
                <a:extLst>
                  <a:ext uri="{FF2B5EF4-FFF2-40B4-BE49-F238E27FC236}">
                    <a16:creationId xmlns:a16="http://schemas.microsoft.com/office/drawing/2014/main" xmlns="" id="{31357CC7-F8B8-4A7F-91B8-76F4EE10A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121" y="1782259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5" name="Rectangle 91">
                <a:extLst>
                  <a:ext uri="{FF2B5EF4-FFF2-40B4-BE49-F238E27FC236}">
                    <a16:creationId xmlns:a16="http://schemas.microsoft.com/office/drawing/2014/main" xmlns="" id="{970A11D7-F216-44DA-83B3-81D8A334E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8072" y="1782640"/>
                <a:ext cx="16735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6" name="Rectangle 92">
                <a:extLst>
                  <a:ext uri="{FF2B5EF4-FFF2-40B4-BE49-F238E27FC236}">
                    <a16:creationId xmlns:a16="http://schemas.microsoft.com/office/drawing/2014/main" xmlns="" id="{A0727C89-27CF-490D-8C91-9D46A76EB9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4070" y="1782259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7" name="Rectangle 93">
                <a:extLst>
                  <a:ext uri="{FF2B5EF4-FFF2-40B4-BE49-F238E27FC236}">
                    <a16:creationId xmlns:a16="http://schemas.microsoft.com/office/drawing/2014/main" xmlns="" id="{AAA4F4A0-286F-4163-B2D6-FA1922B5EB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779" y="1782259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8" name="Rectangle 94">
                <a:extLst>
                  <a:ext uri="{FF2B5EF4-FFF2-40B4-BE49-F238E27FC236}">
                    <a16:creationId xmlns:a16="http://schemas.microsoft.com/office/drawing/2014/main" xmlns="" id="{E29B91A4-F5DD-4559-995E-737010E793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2730" y="1782640"/>
                <a:ext cx="16735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9" name="Rectangle 95">
                <a:extLst>
                  <a:ext uri="{FF2B5EF4-FFF2-40B4-BE49-F238E27FC236}">
                    <a16:creationId xmlns:a16="http://schemas.microsoft.com/office/drawing/2014/main" xmlns="" id="{8FB13249-EE5A-4D6A-A8B1-E435B30626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4754" y="1782259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0" name="Freeform 96">
                <a:extLst>
                  <a:ext uri="{FF2B5EF4-FFF2-40B4-BE49-F238E27FC236}">
                    <a16:creationId xmlns:a16="http://schemas.microsoft.com/office/drawing/2014/main" xmlns="" id="{C771B237-BF26-4172-A981-6BDBFCCA27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703" y="1782259"/>
                <a:ext cx="16735" cy="16735"/>
              </a:xfrm>
              <a:custGeom>
                <a:avLst/>
                <a:gdLst>
                  <a:gd name="T0" fmla="*/ 0 w 44"/>
                  <a:gd name="T1" fmla="*/ 0 h 44"/>
                  <a:gd name="T2" fmla="*/ 2 w 44"/>
                  <a:gd name="T3" fmla="*/ 44 h 44"/>
                  <a:gd name="T4" fmla="*/ 44 w 44"/>
                  <a:gd name="T5" fmla="*/ 42 h 44"/>
                  <a:gd name="T6" fmla="*/ 44 w 44"/>
                  <a:gd name="T7" fmla="*/ 0 h 44"/>
                  <a:gd name="T8" fmla="*/ 0 w 44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0" y="0"/>
                    </a:moveTo>
                    <a:lnTo>
                      <a:pt x="2" y="44"/>
                    </a:lnTo>
                    <a:lnTo>
                      <a:pt x="44" y="42"/>
                    </a:lnTo>
                    <a:lnTo>
                      <a:pt x="4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1" name="Freeform 97">
                <a:extLst>
                  <a:ext uri="{FF2B5EF4-FFF2-40B4-BE49-F238E27FC236}">
                    <a16:creationId xmlns:a16="http://schemas.microsoft.com/office/drawing/2014/main" xmlns="" id="{9CE8AB37-9CFB-4755-9C9A-2089C3827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727" y="1781499"/>
                <a:ext cx="15974" cy="16735"/>
              </a:xfrm>
              <a:custGeom>
                <a:avLst/>
                <a:gdLst>
                  <a:gd name="T0" fmla="*/ 0 w 42"/>
                  <a:gd name="T1" fmla="*/ 2 h 44"/>
                  <a:gd name="T2" fmla="*/ 0 w 42"/>
                  <a:gd name="T3" fmla="*/ 44 h 44"/>
                  <a:gd name="T4" fmla="*/ 42 w 42"/>
                  <a:gd name="T5" fmla="*/ 44 h 44"/>
                  <a:gd name="T6" fmla="*/ 42 w 42"/>
                  <a:gd name="T7" fmla="*/ 0 h 44"/>
                  <a:gd name="T8" fmla="*/ 0 w 42"/>
                  <a:gd name="T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0" y="2"/>
                    </a:moveTo>
                    <a:lnTo>
                      <a:pt x="0" y="44"/>
                    </a:lnTo>
                    <a:lnTo>
                      <a:pt x="42" y="44"/>
                    </a:lnTo>
                    <a:lnTo>
                      <a:pt x="4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2" name="Rectangle 98">
                <a:extLst>
                  <a:ext uri="{FF2B5EF4-FFF2-40B4-BE49-F238E27FC236}">
                    <a16:creationId xmlns:a16="http://schemas.microsoft.com/office/drawing/2014/main" xmlns="" id="{A6B510BA-0B0D-437C-8664-4A0427F006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6393" y="1783400"/>
                <a:ext cx="570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3" name="Rectangle 99">
                <a:extLst>
                  <a:ext uri="{FF2B5EF4-FFF2-40B4-BE49-F238E27FC236}">
                    <a16:creationId xmlns:a16="http://schemas.microsoft.com/office/drawing/2014/main" xmlns="" id="{C73D5762-C814-4926-9ED3-C0224F8F3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9412" y="1782259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4" name="Rectangle 100">
                <a:extLst>
                  <a:ext uri="{FF2B5EF4-FFF2-40B4-BE49-F238E27FC236}">
                    <a16:creationId xmlns:a16="http://schemas.microsoft.com/office/drawing/2014/main" xmlns="" id="{CE0A8D2F-C989-4234-8991-8BFDAA5DC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0097" y="1782640"/>
                <a:ext cx="15974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5" name="Rectangle 101">
                <a:extLst>
                  <a:ext uri="{FF2B5EF4-FFF2-40B4-BE49-F238E27FC236}">
                    <a16:creationId xmlns:a16="http://schemas.microsoft.com/office/drawing/2014/main" xmlns="" id="{A0EB7A67-3B83-4A3C-AC4E-A831CE891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7388" y="1782640"/>
                <a:ext cx="16735" cy="16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6" name="Rectangle 102">
                <a:extLst>
                  <a:ext uri="{FF2B5EF4-FFF2-40B4-BE49-F238E27FC236}">
                    <a16:creationId xmlns:a16="http://schemas.microsoft.com/office/drawing/2014/main" xmlns="" id="{56770352-31FE-4D83-8193-526DC0C57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9459" y="1947326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7" name="Rectangle 104">
                <a:extLst>
                  <a:ext uri="{FF2B5EF4-FFF2-40B4-BE49-F238E27FC236}">
                    <a16:creationId xmlns:a16="http://schemas.microsoft.com/office/drawing/2014/main" xmlns="" id="{E42E1EC4-7894-43A1-851F-F558EACE7F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8774" y="1946566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8" name="Freeform 106">
                <a:extLst>
                  <a:ext uri="{FF2B5EF4-FFF2-40B4-BE49-F238E27FC236}">
                    <a16:creationId xmlns:a16="http://schemas.microsoft.com/office/drawing/2014/main" xmlns="" id="{A5D671B6-EA73-42F2-B8F2-5C48326B8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6171" y="1948087"/>
                <a:ext cx="16735" cy="15974"/>
              </a:xfrm>
              <a:custGeom>
                <a:avLst/>
                <a:gdLst>
                  <a:gd name="T0" fmla="*/ 0 w 44"/>
                  <a:gd name="T1" fmla="*/ 42 h 42"/>
                  <a:gd name="T2" fmla="*/ 44 w 44"/>
                  <a:gd name="T3" fmla="*/ 42 h 42"/>
                  <a:gd name="T4" fmla="*/ 42 w 44"/>
                  <a:gd name="T5" fmla="*/ 0 h 42"/>
                  <a:gd name="T6" fmla="*/ 0 w 44"/>
                  <a:gd name="T7" fmla="*/ 0 h 42"/>
                  <a:gd name="T8" fmla="*/ 0 w 44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2">
                    <a:moveTo>
                      <a:pt x="0" y="42"/>
                    </a:moveTo>
                    <a:lnTo>
                      <a:pt x="44" y="42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9" name="Freeform 108">
                <a:extLst>
                  <a:ext uri="{FF2B5EF4-FFF2-40B4-BE49-F238E27FC236}">
                    <a16:creationId xmlns:a16="http://schemas.microsoft.com/office/drawing/2014/main" xmlns="" id="{70A184D6-EDFA-4C2C-8A11-D51D62210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2168" y="1946566"/>
                <a:ext cx="15974" cy="16735"/>
              </a:xfrm>
              <a:custGeom>
                <a:avLst/>
                <a:gdLst>
                  <a:gd name="T0" fmla="*/ 0 w 42"/>
                  <a:gd name="T1" fmla="*/ 2 h 44"/>
                  <a:gd name="T2" fmla="*/ 0 w 42"/>
                  <a:gd name="T3" fmla="*/ 44 h 44"/>
                  <a:gd name="T4" fmla="*/ 42 w 42"/>
                  <a:gd name="T5" fmla="*/ 44 h 44"/>
                  <a:gd name="T6" fmla="*/ 42 w 42"/>
                  <a:gd name="T7" fmla="*/ 0 h 44"/>
                  <a:gd name="T8" fmla="*/ 0 w 42"/>
                  <a:gd name="T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0" y="2"/>
                    </a:moveTo>
                    <a:lnTo>
                      <a:pt x="0" y="44"/>
                    </a:lnTo>
                    <a:lnTo>
                      <a:pt x="42" y="44"/>
                    </a:lnTo>
                    <a:lnTo>
                      <a:pt x="4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0" name="Rectangle 109">
                <a:extLst>
                  <a:ext uri="{FF2B5EF4-FFF2-40B4-BE49-F238E27FC236}">
                    <a16:creationId xmlns:a16="http://schemas.microsoft.com/office/drawing/2014/main" xmlns="" id="{27232B61-956C-4381-9714-AB779BB7D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4116" y="1946566"/>
                <a:ext cx="16735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1" name="Freeform 110">
                <a:extLst>
                  <a:ext uri="{FF2B5EF4-FFF2-40B4-BE49-F238E27FC236}">
                    <a16:creationId xmlns:a16="http://schemas.microsoft.com/office/drawing/2014/main" xmlns="" id="{374AF1ED-9D0F-4513-8714-9F4D087FB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6826" y="1946566"/>
                <a:ext cx="15974" cy="16735"/>
              </a:xfrm>
              <a:custGeom>
                <a:avLst/>
                <a:gdLst>
                  <a:gd name="T0" fmla="*/ 0 w 42"/>
                  <a:gd name="T1" fmla="*/ 0 h 44"/>
                  <a:gd name="T2" fmla="*/ 0 w 42"/>
                  <a:gd name="T3" fmla="*/ 44 h 44"/>
                  <a:gd name="T4" fmla="*/ 42 w 42"/>
                  <a:gd name="T5" fmla="*/ 42 h 44"/>
                  <a:gd name="T6" fmla="*/ 42 w 42"/>
                  <a:gd name="T7" fmla="*/ 0 h 44"/>
                  <a:gd name="T8" fmla="*/ 0 w 42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4">
                    <a:moveTo>
                      <a:pt x="0" y="0"/>
                    </a:moveTo>
                    <a:lnTo>
                      <a:pt x="0" y="44"/>
                    </a:lnTo>
                    <a:lnTo>
                      <a:pt x="42" y="42"/>
                    </a:lnTo>
                    <a:lnTo>
                      <a:pt x="4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2" name="Freeform 111">
                <a:extLst>
                  <a:ext uri="{FF2B5EF4-FFF2-40B4-BE49-F238E27FC236}">
                    <a16:creationId xmlns:a16="http://schemas.microsoft.com/office/drawing/2014/main" xmlns="" id="{6DECFE99-D07C-4D22-B85D-97B3990BA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0828" y="1947326"/>
                <a:ext cx="16735" cy="16735"/>
              </a:xfrm>
              <a:custGeom>
                <a:avLst/>
                <a:gdLst>
                  <a:gd name="T0" fmla="*/ 0 w 44"/>
                  <a:gd name="T1" fmla="*/ 2 h 44"/>
                  <a:gd name="T2" fmla="*/ 0 w 44"/>
                  <a:gd name="T3" fmla="*/ 44 h 44"/>
                  <a:gd name="T4" fmla="*/ 44 w 44"/>
                  <a:gd name="T5" fmla="*/ 44 h 44"/>
                  <a:gd name="T6" fmla="*/ 42 w 44"/>
                  <a:gd name="T7" fmla="*/ 0 h 44"/>
                  <a:gd name="T8" fmla="*/ 0 w 44"/>
                  <a:gd name="T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0" y="2"/>
                    </a:moveTo>
                    <a:lnTo>
                      <a:pt x="0" y="44"/>
                    </a:lnTo>
                    <a:lnTo>
                      <a:pt x="44" y="44"/>
                    </a:lnTo>
                    <a:lnTo>
                      <a:pt x="4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3" name="Rectangle 112">
                <a:extLst>
                  <a:ext uri="{FF2B5EF4-FFF2-40B4-BE49-F238E27FC236}">
                    <a16:creationId xmlns:a16="http://schemas.microsoft.com/office/drawing/2014/main" xmlns="" id="{1B25DF9A-15B5-4C3F-8FC3-A61A28C5CE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8195" y="1947326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4" name="Rectangle 113">
                <a:extLst>
                  <a:ext uri="{FF2B5EF4-FFF2-40B4-BE49-F238E27FC236}">
                    <a16:creationId xmlns:a16="http://schemas.microsoft.com/office/drawing/2014/main" xmlns="" id="{C33E9FC1-1835-4982-AC46-F23743AB8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7510" y="1947326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5" name="Rectangle 114">
                <a:extLst>
                  <a:ext uri="{FF2B5EF4-FFF2-40B4-BE49-F238E27FC236}">
                    <a16:creationId xmlns:a16="http://schemas.microsoft.com/office/drawing/2014/main" xmlns="" id="{BB245EF5-4610-4234-943E-B681127F59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6393" y="1948087"/>
                <a:ext cx="3803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6" name="Rectangle 115">
                <a:extLst>
                  <a:ext uri="{FF2B5EF4-FFF2-40B4-BE49-F238E27FC236}">
                    <a16:creationId xmlns:a16="http://schemas.microsoft.com/office/drawing/2014/main" xmlns="" id="{9E58ECE6-D3B2-495D-93ED-EFC8CC348A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0143" y="1947326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7" name="Rectangle 116">
                <a:extLst>
                  <a:ext uri="{FF2B5EF4-FFF2-40B4-BE49-F238E27FC236}">
                    <a16:creationId xmlns:a16="http://schemas.microsoft.com/office/drawing/2014/main" xmlns="" id="{34A11516-FB3F-4BAB-8942-91A23C9FE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8880" y="1948087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8" name="Rectangle 117">
                <a:extLst>
                  <a:ext uri="{FF2B5EF4-FFF2-40B4-BE49-F238E27FC236}">
                    <a16:creationId xmlns:a16="http://schemas.microsoft.com/office/drawing/2014/main" xmlns="" id="{A3C4025C-1304-4727-BE40-D9D16913CA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3537" y="1947326"/>
                <a:ext cx="15974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9" name="Rectangle 118">
                <a:extLst>
                  <a:ext uri="{FF2B5EF4-FFF2-40B4-BE49-F238E27FC236}">
                    <a16:creationId xmlns:a16="http://schemas.microsoft.com/office/drawing/2014/main" xmlns="" id="{C8E9EC9E-2EB2-4C38-AC59-715E0F239D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5486" y="1947326"/>
                <a:ext cx="16735" cy="1673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0" name="Rectangle 119">
                <a:extLst>
                  <a:ext uri="{FF2B5EF4-FFF2-40B4-BE49-F238E27FC236}">
                    <a16:creationId xmlns:a16="http://schemas.microsoft.com/office/drawing/2014/main" xmlns="" id="{2455574C-DEF7-4F7B-94D3-C9A8B7CB2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4801" y="1947326"/>
                <a:ext cx="16735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1" name="Rectangle 120">
                <a:extLst>
                  <a:ext uri="{FF2B5EF4-FFF2-40B4-BE49-F238E27FC236}">
                    <a16:creationId xmlns:a16="http://schemas.microsoft.com/office/drawing/2014/main" xmlns="" id="{BDE037FB-B4C6-47D9-954C-F41D86271C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2853" y="1947326"/>
                <a:ext cx="15974" cy="159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247" name="Freeform 121">
              <a:extLst>
                <a:ext uri="{FF2B5EF4-FFF2-40B4-BE49-F238E27FC236}">
                  <a16:creationId xmlns:a16="http://schemas.microsoft.com/office/drawing/2014/main" xmlns="" id="{2081AF9B-94B7-4C70-A0CA-DFE6D2E01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7197" y="1763551"/>
              <a:ext cx="163926" cy="1232678"/>
            </a:xfrm>
            <a:custGeom>
              <a:avLst/>
              <a:gdLst>
                <a:gd name="T0" fmla="*/ 248 w 256"/>
                <a:gd name="T1" fmla="*/ 1723 h 1926"/>
                <a:gd name="T2" fmla="*/ 231 w 256"/>
                <a:gd name="T3" fmla="*/ 1726 h 1926"/>
                <a:gd name="T4" fmla="*/ 140 w 256"/>
                <a:gd name="T5" fmla="*/ 1870 h 1926"/>
                <a:gd name="T6" fmla="*/ 140 w 256"/>
                <a:gd name="T7" fmla="*/ 1516 h 1926"/>
                <a:gd name="T8" fmla="*/ 140 w 256"/>
                <a:gd name="T9" fmla="*/ 1491 h 1926"/>
                <a:gd name="T10" fmla="*/ 140 w 256"/>
                <a:gd name="T11" fmla="*/ 1259 h 1926"/>
                <a:gd name="T12" fmla="*/ 140 w 256"/>
                <a:gd name="T13" fmla="*/ 1234 h 1926"/>
                <a:gd name="T14" fmla="*/ 140 w 256"/>
                <a:gd name="T15" fmla="*/ 953 h 1926"/>
                <a:gd name="T16" fmla="*/ 140 w 256"/>
                <a:gd name="T17" fmla="*/ 789 h 1926"/>
                <a:gd name="T18" fmla="*/ 140 w 256"/>
                <a:gd name="T19" fmla="*/ 685 h 1926"/>
                <a:gd name="T20" fmla="*/ 140 w 256"/>
                <a:gd name="T21" fmla="*/ 543 h 1926"/>
                <a:gd name="T22" fmla="*/ 140 w 256"/>
                <a:gd name="T23" fmla="*/ 464 h 1926"/>
                <a:gd name="T24" fmla="*/ 140 w 256"/>
                <a:gd name="T25" fmla="*/ 331 h 1926"/>
                <a:gd name="T26" fmla="*/ 140 w 256"/>
                <a:gd name="T27" fmla="*/ 56 h 1926"/>
                <a:gd name="T28" fmla="*/ 231 w 256"/>
                <a:gd name="T29" fmla="*/ 199 h 1926"/>
                <a:gd name="T30" fmla="*/ 248 w 256"/>
                <a:gd name="T31" fmla="*/ 203 h 1926"/>
                <a:gd name="T32" fmla="*/ 252 w 256"/>
                <a:gd name="T33" fmla="*/ 185 h 1926"/>
                <a:gd name="T34" fmla="*/ 138 w 256"/>
                <a:gd name="T35" fmla="*/ 5 h 1926"/>
                <a:gd name="T36" fmla="*/ 127 w 256"/>
                <a:gd name="T37" fmla="*/ 0 h 1926"/>
                <a:gd name="T38" fmla="*/ 116 w 256"/>
                <a:gd name="T39" fmla="*/ 5 h 1926"/>
                <a:gd name="T40" fmla="*/ 2 w 256"/>
                <a:gd name="T41" fmla="*/ 185 h 1926"/>
                <a:gd name="T42" fmla="*/ 0 w 256"/>
                <a:gd name="T43" fmla="*/ 192 h 1926"/>
                <a:gd name="T44" fmla="*/ 6 w 256"/>
                <a:gd name="T45" fmla="*/ 203 h 1926"/>
                <a:gd name="T46" fmla="*/ 23 w 256"/>
                <a:gd name="T47" fmla="*/ 199 h 1926"/>
                <a:gd name="T48" fmla="*/ 114 w 256"/>
                <a:gd name="T49" fmla="*/ 56 h 1926"/>
                <a:gd name="T50" fmla="*/ 114 w 256"/>
                <a:gd name="T51" fmla="*/ 859 h 1926"/>
                <a:gd name="T52" fmla="*/ 114 w 256"/>
                <a:gd name="T53" fmla="*/ 885 h 1926"/>
                <a:gd name="T54" fmla="*/ 114 w 256"/>
                <a:gd name="T55" fmla="*/ 963 h 1926"/>
                <a:gd name="T56" fmla="*/ 114 w 256"/>
                <a:gd name="T57" fmla="*/ 1095 h 1926"/>
                <a:gd name="T58" fmla="*/ 114 w 256"/>
                <a:gd name="T59" fmla="*/ 1174 h 1926"/>
                <a:gd name="T60" fmla="*/ 114 w 256"/>
                <a:gd name="T61" fmla="*/ 1316 h 1926"/>
                <a:gd name="T62" fmla="*/ 114 w 256"/>
                <a:gd name="T63" fmla="*/ 1420 h 1926"/>
                <a:gd name="T64" fmla="*/ 114 w 256"/>
                <a:gd name="T65" fmla="*/ 1585 h 1926"/>
                <a:gd name="T66" fmla="*/ 114 w 256"/>
                <a:gd name="T67" fmla="*/ 1870 h 1926"/>
                <a:gd name="T68" fmla="*/ 23 w 256"/>
                <a:gd name="T69" fmla="*/ 1726 h 1926"/>
                <a:gd name="T70" fmla="*/ 6 w 256"/>
                <a:gd name="T71" fmla="*/ 1723 h 1926"/>
                <a:gd name="T72" fmla="*/ 0 w 256"/>
                <a:gd name="T73" fmla="*/ 1733 h 1926"/>
                <a:gd name="T74" fmla="*/ 2 w 256"/>
                <a:gd name="T75" fmla="*/ 1740 h 1926"/>
                <a:gd name="T76" fmla="*/ 116 w 256"/>
                <a:gd name="T77" fmla="*/ 1920 h 1926"/>
                <a:gd name="T78" fmla="*/ 127 w 256"/>
                <a:gd name="T79" fmla="*/ 1926 h 1926"/>
                <a:gd name="T80" fmla="*/ 138 w 256"/>
                <a:gd name="T81" fmla="*/ 1920 h 1926"/>
                <a:gd name="T82" fmla="*/ 252 w 256"/>
                <a:gd name="T83" fmla="*/ 1740 h 1926"/>
                <a:gd name="T84" fmla="*/ 248 w 256"/>
                <a:gd name="T85" fmla="*/ 1723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6" h="1926">
                  <a:moveTo>
                    <a:pt x="248" y="1723"/>
                  </a:moveTo>
                  <a:cubicBezTo>
                    <a:pt x="242" y="1719"/>
                    <a:pt x="235" y="1721"/>
                    <a:pt x="231" y="1726"/>
                  </a:cubicBezTo>
                  <a:cubicBezTo>
                    <a:pt x="140" y="1870"/>
                    <a:pt x="140" y="1870"/>
                    <a:pt x="140" y="1870"/>
                  </a:cubicBezTo>
                  <a:cubicBezTo>
                    <a:pt x="140" y="1516"/>
                    <a:pt x="140" y="1516"/>
                    <a:pt x="140" y="1516"/>
                  </a:cubicBezTo>
                  <a:cubicBezTo>
                    <a:pt x="140" y="1491"/>
                    <a:pt x="140" y="1491"/>
                    <a:pt x="140" y="1491"/>
                  </a:cubicBezTo>
                  <a:cubicBezTo>
                    <a:pt x="140" y="1259"/>
                    <a:pt x="140" y="1259"/>
                    <a:pt x="140" y="1259"/>
                  </a:cubicBezTo>
                  <a:cubicBezTo>
                    <a:pt x="140" y="1234"/>
                    <a:pt x="140" y="1234"/>
                    <a:pt x="140" y="1234"/>
                  </a:cubicBezTo>
                  <a:cubicBezTo>
                    <a:pt x="140" y="953"/>
                    <a:pt x="140" y="953"/>
                    <a:pt x="140" y="953"/>
                  </a:cubicBezTo>
                  <a:cubicBezTo>
                    <a:pt x="140" y="789"/>
                    <a:pt x="140" y="789"/>
                    <a:pt x="140" y="789"/>
                  </a:cubicBezTo>
                  <a:cubicBezTo>
                    <a:pt x="140" y="685"/>
                    <a:pt x="140" y="685"/>
                    <a:pt x="140" y="685"/>
                  </a:cubicBezTo>
                  <a:cubicBezTo>
                    <a:pt x="140" y="543"/>
                    <a:pt x="140" y="543"/>
                    <a:pt x="140" y="543"/>
                  </a:cubicBezTo>
                  <a:cubicBezTo>
                    <a:pt x="140" y="464"/>
                    <a:pt x="140" y="464"/>
                    <a:pt x="140" y="464"/>
                  </a:cubicBezTo>
                  <a:cubicBezTo>
                    <a:pt x="140" y="331"/>
                    <a:pt x="140" y="331"/>
                    <a:pt x="140" y="331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231" y="199"/>
                    <a:pt x="231" y="199"/>
                    <a:pt x="231" y="199"/>
                  </a:cubicBezTo>
                  <a:cubicBezTo>
                    <a:pt x="235" y="205"/>
                    <a:pt x="242" y="206"/>
                    <a:pt x="248" y="203"/>
                  </a:cubicBezTo>
                  <a:cubicBezTo>
                    <a:pt x="254" y="199"/>
                    <a:pt x="256" y="191"/>
                    <a:pt x="252" y="185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5" y="2"/>
                    <a:pt x="131" y="0"/>
                    <a:pt x="127" y="0"/>
                  </a:cubicBezTo>
                  <a:cubicBezTo>
                    <a:pt x="123" y="0"/>
                    <a:pt x="119" y="2"/>
                    <a:pt x="116" y="5"/>
                  </a:cubicBezTo>
                  <a:cubicBezTo>
                    <a:pt x="2" y="185"/>
                    <a:pt x="2" y="185"/>
                    <a:pt x="2" y="185"/>
                  </a:cubicBezTo>
                  <a:cubicBezTo>
                    <a:pt x="1" y="187"/>
                    <a:pt x="0" y="190"/>
                    <a:pt x="0" y="192"/>
                  </a:cubicBezTo>
                  <a:cubicBezTo>
                    <a:pt x="0" y="196"/>
                    <a:pt x="2" y="200"/>
                    <a:pt x="6" y="203"/>
                  </a:cubicBezTo>
                  <a:cubicBezTo>
                    <a:pt x="12" y="206"/>
                    <a:pt x="19" y="205"/>
                    <a:pt x="23" y="199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4" y="859"/>
                    <a:pt x="114" y="859"/>
                    <a:pt x="114" y="859"/>
                  </a:cubicBezTo>
                  <a:cubicBezTo>
                    <a:pt x="114" y="885"/>
                    <a:pt x="114" y="885"/>
                    <a:pt x="114" y="885"/>
                  </a:cubicBezTo>
                  <a:cubicBezTo>
                    <a:pt x="114" y="963"/>
                    <a:pt x="114" y="963"/>
                    <a:pt x="114" y="963"/>
                  </a:cubicBezTo>
                  <a:cubicBezTo>
                    <a:pt x="114" y="1095"/>
                    <a:pt x="114" y="1095"/>
                    <a:pt x="114" y="1095"/>
                  </a:cubicBezTo>
                  <a:cubicBezTo>
                    <a:pt x="114" y="1174"/>
                    <a:pt x="114" y="1174"/>
                    <a:pt x="114" y="1174"/>
                  </a:cubicBezTo>
                  <a:cubicBezTo>
                    <a:pt x="114" y="1316"/>
                    <a:pt x="114" y="1316"/>
                    <a:pt x="114" y="1316"/>
                  </a:cubicBezTo>
                  <a:cubicBezTo>
                    <a:pt x="114" y="1420"/>
                    <a:pt x="114" y="1420"/>
                    <a:pt x="114" y="1420"/>
                  </a:cubicBezTo>
                  <a:cubicBezTo>
                    <a:pt x="114" y="1585"/>
                    <a:pt x="114" y="1585"/>
                    <a:pt x="114" y="1585"/>
                  </a:cubicBezTo>
                  <a:cubicBezTo>
                    <a:pt x="114" y="1870"/>
                    <a:pt x="114" y="1870"/>
                    <a:pt x="114" y="1870"/>
                  </a:cubicBezTo>
                  <a:cubicBezTo>
                    <a:pt x="23" y="1726"/>
                    <a:pt x="23" y="1726"/>
                    <a:pt x="23" y="1726"/>
                  </a:cubicBezTo>
                  <a:cubicBezTo>
                    <a:pt x="19" y="1721"/>
                    <a:pt x="12" y="1719"/>
                    <a:pt x="6" y="1723"/>
                  </a:cubicBezTo>
                  <a:cubicBezTo>
                    <a:pt x="2" y="1725"/>
                    <a:pt x="0" y="1729"/>
                    <a:pt x="0" y="1733"/>
                  </a:cubicBezTo>
                  <a:cubicBezTo>
                    <a:pt x="0" y="1736"/>
                    <a:pt x="1" y="1738"/>
                    <a:pt x="2" y="1740"/>
                  </a:cubicBezTo>
                  <a:cubicBezTo>
                    <a:pt x="116" y="1920"/>
                    <a:pt x="116" y="1920"/>
                    <a:pt x="116" y="1920"/>
                  </a:cubicBezTo>
                  <a:cubicBezTo>
                    <a:pt x="119" y="1923"/>
                    <a:pt x="123" y="1926"/>
                    <a:pt x="127" y="1926"/>
                  </a:cubicBezTo>
                  <a:cubicBezTo>
                    <a:pt x="131" y="1926"/>
                    <a:pt x="135" y="1923"/>
                    <a:pt x="138" y="1920"/>
                  </a:cubicBezTo>
                  <a:cubicBezTo>
                    <a:pt x="252" y="1740"/>
                    <a:pt x="252" y="1740"/>
                    <a:pt x="252" y="1740"/>
                  </a:cubicBezTo>
                  <a:cubicBezTo>
                    <a:pt x="256" y="1734"/>
                    <a:pt x="254" y="1726"/>
                    <a:pt x="248" y="17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xmlns="" id="{24410608-D5A4-4A2E-AD9D-D9569344C816}"/>
              </a:ext>
            </a:extLst>
          </p:cNvPr>
          <p:cNvGrpSpPr/>
          <p:nvPr/>
        </p:nvGrpSpPr>
        <p:grpSpPr>
          <a:xfrm>
            <a:off x="323850" y="3326378"/>
            <a:ext cx="948129" cy="1108854"/>
            <a:chOff x="323850" y="3124205"/>
            <a:chExt cx="948129" cy="1108854"/>
          </a:xfrm>
        </p:grpSpPr>
        <p:grpSp>
          <p:nvGrpSpPr>
            <p:cNvPr id="338" name="Groupe 337">
              <a:extLst>
                <a:ext uri="{FF2B5EF4-FFF2-40B4-BE49-F238E27FC236}">
                  <a16:creationId xmlns:a16="http://schemas.microsoft.com/office/drawing/2014/main" xmlns="" id="{CB959732-6962-47AB-818D-40587D5AB93E}"/>
                </a:ext>
              </a:extLst>
            </p:cNvPr>
            <p:cNvGrpSpPr/>
            <p:nvPr/>
          </p:nvGrpSpPr>
          <p:grpSpPr>
            <a:xfrm>
              <a:off x="323850" y="3124205"/>
              <a:ext cx="948129" cy="1108854"/>
              <a:chOff x="323850" y="3124205"/>
              <a:chExt cx="948129" cy="1108854"/>
            </a:xfrm>
          </p:grpSpPr>
          <p:sp>
            <p:nvSpPr>
              <p:cNvPr id="339" name="Freeform 155">
                <a:extLst>
                  <a:ext uri="{FF2B5EF4-FFF2-40B4-BE49-F238E27FC236}">
                    <a16:creationId xmlns:a16="http://schemas.microsoft.com/office/drawing/2014/main" xmlns="" id="{6F201A5D-59D0-4E0F-932E-BA537CEAD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850" y="4029572"/>
                <a:ext cx="729897" cy="203487"/>
              </a:xfrm>
              <a:custGeom>
                <a:avLst/>
                <a:gdLst>
                  <a:gd name="T0" fmla="*/ 381 w 383"/>
                  <a:gd name="T1" fmla="*/ 107 h 107"/>
                  <a:gd name="T2" fmla="*/ 383 w 383"/>
                  <a:gd name="T3" fmla="*/ 95 h 107"/>
                  <a:gd name="T4" fmla="*/ 335 w 383"/>
                  <a:gd name="T5" fmla="*/ 46 h 107"/>
                  <a:gd name="T6" fmla="*/ 303 w 383"/>
                  <a:gd name="T7" fmla="*/ 58 h 107"/>
                  <a:gd name="T8" fmla="*/ 245 w 383"/>
                  <a:gd name="T9" fmla="*/ 12 h 107"/>
                  <a:gd name="T10" fmla="*/ 208 w 383"/>
                  <a:gd name="T11" fmla="*/ 24 h 107"/>
                  <a:gd name="T12" fmla="*/ 162 w 383"/>
                  <a:gd name="T13" fmla="*/ 0 h 107"/>
                  <a:gd name="T14" fmla="*/ 106 w 383"/>
                  <a:gd name="T15" fmla="*/ 48 h 107"/>
                  <a:gd name="T16" fmla="*/ 98 w 383"/>
                  <a:gd name="T17" fmla="*/ 55 h 107"/>
                  <a:gd name="T18" fmla="*/ 65 w 383"/>
                  <a:gd name="T19" fmla="*/ 37 h 107"/>
                  <a:gd name="T20" fmla="*/ 28 w 383"/>
                  <a:gd name="T21" fmla="*/ 68 h 107"/>
                  <a:gd name="T22" fmla="*/ 0 w 383"/>
                  <a:gd name="T23" fmla="*/ 107 h 107"/>
                  <a:gd name="T24" fmla="*/ 381 w 383"/>
                  <a:gd name="T2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3" h="107">
                    <a:moveTo>
                      <a:pt x="381" y="107"/>
                    </a:moveTo>
                    <a:cubicBezTo>
                      <a:pt x="382" y="103"/>
                      <a:pt x="383" y="99"/>
                      <a:pt x="383" y="95"/>
                    </a:cubicBezTo>
                    <a:cubicBezTo>
                      <a:pt x="383" y="68"/>
                      <a:pt x="361" y="46"/>
                      <a:pt x="335" y="46"/>
                    </a:cubicBezTo>
                    <a:cubicBezTo>
                      <a:pt x="323" y="46"/>
                      <a:pt x="312" y="50"/>
                      <a:pt x="303" y="58"/>
                    </a:cubicBezTo>
                    <a:cubicBezTo>
                      <a:pt x="296" y="31"/>
                      <a:pt x="273" y="12"/>
                      <a:pt x="245" y="12"/>
                    </a:cubicBezTo>
                    <a:cubicBezTo>
                      <a:pt x="231" y="12"/>
                      <a:pt x="219" y="16"/>
                      <a:pt x="208" y="24"/>
                    </a:cubicBezTo>
                    <a:cubicBezTo>
                      <a:pt x="198" y="9"/>
                      <a:pt x="181" y="0"/>
                      <a:pt x="162" y="0"/>
                    </a:cubicBezTo>
                    <a:cubicBezTo>
                      <a:pt x="134" y="0"/>
                      <a:pt x="111" y="20"/>
                      <a:pt x="106" y="48"/>
                    </a:cubicBezTo>
                    <a:cubicBezTo>
                      <a:pt x="103" y="50"/>
                      <a:pt x="100" y="52"/>
                      <a:pt x="98" y="55"/>
                    </a:cubicBezTo>
                    <a:cubicBezTo>
                      <a:pt x="91" y="44"/>
                      <a:pt x="79" y="37"/>
                      <a:pt x="65" y="37"/>
                    </a:cubicBezTo>
                    <a:cubicBezTo>
                      <a:pt x="47" y="37"/>
                      <a:pt x="31" y="50"/>
                      <a:pt x="28" y="68"/>
                    </a:cubicBezTo>
                    <a:cubicBezTo>
                      <a:pt x="13" y="76"/>
                      <a:pt x="3" y="90"/>
                      <a:pt x="0" y="107"/>
                    </a:cubicBezTo>
                    <a:lnTo>
                      <a:pt x="381" y="107"/>
                    </a:lnTo>
                    <a:close/>
                  </a:path>
                </a:pathLst>
              </a:custGeom>
              <a:solidFill>
                <a:srgbClr val="96BE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0" name="Rectangle 284">
                <a:extLst>
                  <a:ext uri="{FF2B5EF4-FFF2-40B4-BE49-F238E27FC236}">
                    <a16:creationId xmlns:a16="http://schemas.microsoft.com/office/drawing/2014/main" xmlns="" id="{AA4DACAC-53C3-4C4B-8047-B26F0FE96F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7927" y="3700750"/>
                <a:ext cx="350941" cy="532309"/>
              </a:xfrm>
              <a:prstGeom prst="rect">
                <a:avLst/>
              </a:prstGeom>
              <a:solidFill>
                <a:srgbClr val="FFC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1" name="Freeform 285">
                <a:extLst>
                  <a:ext uri="{FF2B5EF4-FFF2-40B4-BE49-F238E27FC236}">
                    <a16:creationId xmlns:a16="http://schemas.microsoft.com/office/drawing/2014/main" xmlns="" id="{A7808089-8929-4E4E-AF63-ADF66CC82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83" y="3492839"/>
                <a:ext cx="196114" cy="207910"/>
              </a:xfrm>
              <a:custGeom>
                <a:avLst/>
                <a:gdLst>
                  <a:gd name="T0" fmla="*/ 103 w 103"/>
                  <a:gd name="T1" fmla="*/ 0 h 109"/>
                  <a:gd name="T2" fmla="*/ 103 w 103"/>
                  <a:gd name="T3" fmla="*/ 109 h 109"/>
                  <a:gd name="T4" fmla="*/ 2 w 103"/>
                  <a:gd name="T5" fmla="*/ 109 h 109"/>
                  <a:gd name="T6" fmla="*/ 1 w 103"/>
                  <a:gd name="T7" fmla="*/ 106 h 109"/>
                  <a:gd name="T8" fmla="*/ 103 w 103"/>
                  <a:gd name="T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109">
                    <a:moveTo>
                      <a:pt x="103" y="0"/>
                    </a:moveTo>
                    <a:cubicBezTo>
                      <a:pt x="103" y="109"/>
                      <a:pt x="103" y="109"/>
                      <a:pt x="103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" y="109"/>
                      <a:pt x="0" y="107"/>
                      <a:pt x="1" y="106"/>
                    </a:cubicBezTo>
                    <a:lnTo>
                      <a:pt x="103" y="0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2" name="Freeform 286">
                <a:extLst>
                  <a:ext uri="{FF2B5EF4-FFF2-40B4-BE49-F238E27FC236}">
                    <a16:creationId xmlns:a16="http://schemas.microsoft.com/office/drawing/2014/main" xmlns="" id="{DBF5FF59-E391-49B5-8610-CBDDFDE57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397" y="3492839"/>
                <a:ext cx="194639" cy="207910"/>
              </a:xfrm>
              <a:custGeom>
                <a:avLst/>
                <a:gdLst>
                  <a:gd name="T0" fmla="*/ 0 w 102"/>
                  <a:gd name="T1" fmla="*/ 0 h 109"/>
                  <a:gd name="T2" fmla="*/ 0 w 102"/>
                  <a:gd name="T3" fmla="*/ 109 h 109"/>
                  <a:gd name="T4" fmla="*/ 100 w 102"/>
                  <a:gd name="T5" fmla="*/ 109 h 109"/>
                  <a:gd name="T6" fmla="*/ 101 w 102"/>
                  <a:gd name="T7" fmla="*/ 106 h 109"/>
                  <a:gd name="T8" fmla="*/ 0 w 102"/>
                  <a:gd name="T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09">
                    <a:moveTo>
                      <a:pt x="0" y="0"/>
                    </a:moveTo>
                    <a:cubicBezTo>
                      <a:pt x="0" y="109"/>
                      <a:pt x="0" y="109"/>
                      <a:pt x="0" y="109"/>
                    </a:cubicBezTo>
                    <a:cubicBezTo>
                      <a:pt x="100" y="109"/>
                      <a:pt x="100" y="109"/>
                      <a:pt x="100" y="109"/>
                    </a:cubicBezTo>
                    <a:cubicBezTo>
                      <a:pt x="102" y="109"/>
                      <a:pt x="102" y="107"/>
                      <a:pt x="101" y="10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3" name="Rectangle 287">
                <a:extLst>
                  <a:ext uri="{FF2B5EF4-FFF2-40B4-BE49-F238E27FC236}">
                    <a16:creationId xmlns:a16="http://schemas.microsoft.com/office/drawing/2014/main" xmlns="" id="{6709427F-1DCC-49CB-83EA-E3C56512B3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6856" y="3935201"/>
                <a:ext cx="97320" cy="297857"/>
              </a:xfrm>
              <a:prstGeom prst="rect">
                <a:avLst/>
              </a:prstGeom>
              <a:solidFill>
                <a:srgbClr val="CCE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344" name="Freeform 289">
                <a:extLst>
                  <a:ext uri="{FF2B5EF4-FFF2-40B4-BE49-F238E27FC236}">
                    <a16:creationId xmlns:a16="http://schemas.microsoft.com/office/drawing/2014/main" xmlns="" id="{4033864E-76EA-4A99-B149-A06B7D5FF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446" y="3332115"/>
                <a:ext cx="374533" cy="238875"/>
              </a:xfrm>
              <a:custGeom>
                <a:avLst/>
                <a:gdLst>
                  <a:gd name="T0" fmla="*/ 254 w 254"/>
                  <a:gd name="T1" fmla="*/ 50 h 162"/>
                  <a:gd name="T2" fmla="*/ 23 w 254"/>
                  <a:gd name="T3" fmla="*/ 162 h 162"/>
                  <a:gd name="T4" fmla="*/ 0 w 254"/>
                  <a:gd name="T5" fmla="*/ 112 h 162"/>
                  <a:gd name="T6" fmla="*/ 231 w 254"/>
                  <a:gd name="T7" fmla="*/ 0 h 162"/>
                  <a:gd name="T8" fmla="*/ 254 w 254"/>
                  <a:gd name="T9" fmla="*/ 5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162">
                    <a:moveTo>
                      <a:pt x="254" y="50"/>
                    </a:moveTo>
                    <a:lnTo>
                      <a:pt x="23" y="162"/>
                    </a:lnTo>
                    <a:lnTo>
                      <a:pt x="0" y="112"/>
                    </a:lnTo>
                    <a:lnTo>
                      <a:pt x="231" y="0"/>
                    </a:lnTo>
                    <a:lnTo>
                      <a:pt x="254" y="50"/>
                    </a:ln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5" name="Freeform 290">
                <a:extLst>
                  <a:ext uri="{FF2B5EF4-FFF2-40B4-BE49-F238E27FC236}">
                    <a16:creationId xmlns:a16="http://schemas.microsoft.com/office/drawing/2014/main" xmlns="" id="{34C3E943-D42F-4034-A9BD-04C00611E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32" y="3573939"/>
                <a:ext cx="436464" cy="232977"/>
              </a:xfrm>
              <a:custGeom>
                <a:avLst/>
                <a:gdLst>
                  <a:gd name="T0" fmla="*/ 296 w 296"/>
                  <a:gd name="T1" fmla="*/ 17 h 158"/>
                  <a:gd name="T2" fmla="*/ 287 w 296"/>
                  <a:gd name="T3" fmla="*/ 0 h 158"/>
                  <a:gd name="T4" fmla="*/ 0 w 296"/>
                  <a:gd name="T5" fmla="*/ 142 h 158"/>
                  <a:gd name="T6" fmla="*/ 7 w 296"/>
                  <a:gd name="T7" fmla="*/ 158 h 158"/>
                  <a:gd name="T8" fmla="*/ 296 w 296"/>
                  <a:gd name="T9" fmla="*/ 1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6" h="158">
                    <a:moveTo>
                      <a:pt x="296" y="17"/>
                    </a:moveTo>
                    <a:lnTo>
                      <a:pt x="287" y="0"/>
                    </a:lnTo>
                    <a:lnTo>
                      <a:pt x="0" y="142"/>
                    </a:lnTo>
                    <a:lnTo>
                      <a:pt x="7" y="158"/>
                    </a:lnTo>
                    <a:lnTo>
                      <a:pt x="296" y="17"/>
                    </a:lnTo>
                    <a:close/>
                  </a:path>
                </a:pathLst>
              </a:custGeom>
              <a:solidFill>
                <a:srgbClr val="FF80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6" name="Freeform 291">
                <a:extLst>
                  <a:ext uri="{FF2B5EF4-FFF2-40B4-BE49-F238E27FC236}">
                    <a16:creationId xmlns:a16="http://schemas.microsoft.com/office/drawing/2014/main" xmlns="" id="{219D743D-F07F-4D4B-A6C7-D2F2E2E5B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866" y="3599006"/>
                <a:ext cx="376008" cy="237401"/>
              </a:xfrm>
              <a:custGeom>
                <a:avLst/>
                <a:gdLst>
                  <a:gd name="T0" fmla="*/ 25 w 255"/>
                  <a:gd name="T1" fmla="*/ 161 h 161"/>
                  <a:gd name="T2" fmla="*/ 255 w 255"/>
                  <a:gd name="T3" fmla="*/ 49 h 161"/>
                  <a:gd name="T4" fmla="*/ 230 w 255"/>
                  <a:gd name="T5" fmla="*/ 0 h 161"/>
                  <a:gd name="T6" fmla="*/ 0 w 255"/>
                  <a:gd name="T7" fmla="*/ 112 h 161"/>
                  <a:gd name="T8" fmla="*/ 25 w 255"/>
                  <a:gd name="T9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161">
                    <a:moveTo>
                      <a:pt x="25" y="161"/>
                    </a:moveTo>
                    <a:lnTo>
                      <a:pt x="255" y="49"/>
                    </a:lnTo>
                    <a:lnTo>
                      <a:pt x="230" y="0"/>
                    </a:lnTo>
                    <a:lnTo>
                      <a:pt x="0" y="112"/>
                    </a:lnTo>
                    <a:lnTo>
                      <a:pt x="25" y="161"/>
                    </a:ln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7" name="Freeform 292">
                <a:extLst>
                  <a:ext uri="{FF2B5EF4-FFF2-40B4-BE49-F238E27FC236}">
                    <a16:creationId xmlns:a16="http://schemas.microsoft.com/office/drawing/2014/main" xmlns="" id="{20803748-2575-4190-987E-9518ACD52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723" y="3276082"/>
                <a:ext cx="172521" cy="314077"/>
              </a:xfrm>
              <a:custGeom>
                <a:avLst/>
                <a:gdLst>
                  <a:gd name="T0" fmla="*/ 117 w 117"/>
                  <a:gd name="T1" fmla="*/ 204 h 213"/>
                  <a:gd name="T2" fmla="*/ 102 w 117"/>
                  <a:gd name="T3" fmla="*/ 213 h 213"/>
                  <a:gd name="T4" fmla="*/ 0 w 117"/>
                  <a:gd name="T5" fmla="*/ 8 h 213"/>
                  <a:gd name="T6" fmla="*/ 15 w 117"/>
                  <a:gd name="T7" fmla="*/ 0 h 213"/>
                  <a:gd name="T8" fmla="*/ 117 w 117"/>
                  <a:gd name="T9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213">
                    <a:moveTo>
                      <a:pt x="117" y="204"/>
                    </a:moveTo>
                    <a:lnTo>
                      <a:pt x="102" y="213"/>
                    </a:lnTo>
                    <a:lnTo>
                      <a:pt x="0" y="8"/>
                    </a:lnTo>
                    <a:lnTo>
                      <a:pt x="15" y="0"/>
                    </a:lnTo>
                    <a:lnTo>
                      <a:pt x="117" y="204"/>
                    </a:ln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8" name="Freeform 293">
                <a:extLst>
                  <a:ext uri="{FF2B5EF4-FFF2-40B4-BE49-F238E27FC236}">
                    <a16:creationId xmlns:a16="http://schemas.microsoft.com/office/drawing/2014/main" xmlns="" id="{B6D3079C-2AAA-44E4-AADC-616AE8737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76" y="3124205"/>
                <a:ext cx="237401" cy="374533"/>
              </a:xfrm>
              <a:custGeom>
                <a:avLst/>
                <a:gdLst>
                  <a:gd name="T0" fmla="*/ 49 w 161"/>
                  <a:gd name="T1" fmla="*/ 0 h 254"/>
                  <a:gd name="T2" fmla="*/ 161 w 161"/>
                  <a:gd name="T3" fmla="*/ 231 h 254"/>
                  <a:gd name="T4" fmla="*/ 112 w 161"/>
                  <a:gd name="T5" fmla="*/ 254 h 254"/>
                  <a:gd name="T6" fmla="*/ 0 w 161"/>
                  <a:gd name="T7" fmla="*/ 23 h 254"/>
                  <a:gd name="T8" fmla="*/ 49 w 161"/>
                  <a:gd name="T9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254">
                    <a:moveTo>
                      <a:pt x="49" y="0"/>
                    </a:moveTo>
                    <a:lnTo>
                      <a:pt x="161" y="231"/>
                    </a:lnTo>
                    <a:lnTo>
                      <a:pt x="112" y="254"/>
                    </a:lnTo>
                    <a:lnTo>
                      <a:pt x="0" y="2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9" name="Freeform 294">
                <a:extLst>
                  <a:ext uri="{FF2B5EF4-FFF2-40B4-BE49-F238E27FC236}">
                    <a16:creationId xmlns:a16="http://schemas.microsoft.com/office/drawing/2014/main" xmlns="" id="{843649AE-7D85-4FC2-9901-54AF9901B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126" y="3576888"/>
                <a:ext cx="156301" cy="277213"/>
              </a:xfrm>
              <a:custGeom>
                <a:avLst/>
                <a:gdLst>
                  <a:gd name="T0" fmla="*/ 15 w 106"/>
                  <a:gd name="T1" fmla="*/ 0 h 188"/>
                  <a:gd name="T2" fmla="*/ 0 w 106"/>
                  <a:gd name="T3" fmla="*/ 9 h 188"/>
                  <a:gd name="T4" fmla="*/ 89 w 106"/>
                  <a:gd name="T5" fmla="*/ 188 h 188"/>
                  <a:gd name="T6" fmla="*/ 106 w 106"/>
                  <a:gd name="T7" fmla="*/ 180 h 188"/>
                  <a:gd name="T8" fmla="*/ 15 w 106"/>
                  <a:gd name="T9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88">
                    <a:moveTo>
                      <a:pt x="15" y="0"/>
                    </a:moveTo>
                    <a:lnTo>
                      <a:pt x="0" y="9"/>
                    </a:lnTo>
                    <a:lnTo>
                      <a:pt x="89" y="188"/>
                    </a:lnTo>
                    <a:lnTo>
                      <a:pt x="106" y="18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80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0" name="Freeform 295">
                <a:extLst>
                  <a:ext uri="{FF2B5EF4-FFF2-40B4-BE49-F238E27FC236}">
                    <a16:creationId xmlns:a16="http://schemas.microsoft.com/office/drawing/2014/main" xmlns="" id="{709D1AC9-F53A-4328-8752-1F4B0B4D9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719" y="3668310"/>
                <a:ext cx="238875" cy="376008"/>
              </a:xfrm>
              <a:custGeom>
                <a:avLst/>
                <a:gdLst>
                  <a:gd name="T0" fmla="*/ 162 w 162"/>
                  <a:gd name="T1" fmla="*/ 231 h 255"/>
                  <a:gd name="T2" fmla="*/ 50 w 162"/>
                  <a:gd name="T3" fmla="*/ 0 h 255"/>
                  <a:gd name="T4" fmla="*/ 0 w 162"/>
                  <a:gd name="T5" fmla="*/ 25 h 255"/>
                  <a:gd name="T6" fmla="*/ 113 w 162"/>
                  <a:gd name="T7" fmla="*/ 255 h 255"/>
                  <a:gd name="T8" fmla="*/ 162 w 162"/>
                  <a:gd name="T9" fmla="*/ 231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255">
                    <a:moveTo>
                      <a:pt x="162" y="231"/>
                    </a:moveTo>
                    <a:lnTo>
                      <a:pt x="50" y="0"/>
                    </a:lnTo>
                    <a:lnTo>
                      <a:pt x="0" y="25"/>
                    </a:lnTo>
                    <a:lnTo>
                      <a:pt x="113" y="255"/>
                    </a:lnTo>
                    <a:lnTo>
                      <a:pt x="162" y="231"/>
                    </a:ln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52" name="Freeform 288">
              <a:extLst>
                <a:ext uri="{FF2B5EF4-FFF2-40B4-BE49-F238E27FC236}">
                  <a16:creationId xmlns:a16="http://schemas.microsoft.com/office/drawing/2014/main" xmlns="" id="{A71AA20A-B9F2-4964-9B53-EB519B935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025" y="3400561"/>
              <a:ext cx="353890" cy="193165"/>
            </a:xfrm>
            <a:custGeom>
              <a:avLst/>
              <a:gdLst>
                <a:gd name="T0" fmla="*/ 9 w 240"/>
                <a:gd name="T1" fmla="*/ 131 h 131"/>
                <a:gd name="T2" fmla="*/ 0 w 240"/>
                <a:gd name="T3" fmla="*/ 114 h 131"/>
                <a:gd name="T4" fmla="*/ 232 w 240"/>
                <a:gd name="T5" fmla="*/ 0 h 131"/>
                <a:gd name="T6" fmla="*/ 240 w 240"/>
                <a:gd name="T7" fmla="*/ 16 h 131"/>
                <a:gd name="T8" fmla="*/ 9 w 240"/>
                <a:gd name="T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31">
                  <a:moveTo>
                    <a:pt x="9" y="131"/>
                  </a:moveTo>
                  <a:lnTo>
                    <a:pt x="0" y="114"/>
                  </a:lnTo>
                  <a:lnTo>
                    <a:pt x="232" y="0"/>
                  </a:lnTo>
                  <a:lnTo>
                    <a:pt x="240" y="16"/>
                  </a:lnTo>
                  <a:lnTo>
                    <a:pt x="9" y="131"/>
                  </a:lnTo>
                  <a:close/>
                </a:path>
              </a:pathLst>
            </a:cu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8" name="Groupe 47">
            <a:extLst>
              <a:ext uri="{FF2B5EF4-FFF2-40B4-BE49-F238E27FC236}">
                <a16:creationId xmlns:a16="http://schemas.microsoft.com/office/drawing/2014/main" xmlns="" id="{F32D5118-A98E-456B-AA05-758C287223FE}"/>
              </a:ext>
            </a:extLst>
          </p:cNvPr>
          <p:cNvGrpSpPr/>
          <p:nvPr/>
        </p:nvGrpSpPr>
        <p:grpSpPr>
          <a:xfrm>
            <a:off x="1536208" y="3857352"/>
            <a:ext cx="843437" cy="610460"/>
            <a:chOff x="343019" y="4177813"/>
            <a:chExt cx="843437" cy="610460"/>
          </a:xfrm>
        </p:grpSpPr>
        <p:sp>
          <p:nvSpPr>
            <p:cNvPr id="353" name="Freeform 190">
              <a:extLst>
                <a:ext uri="{FF2B5EF4-FFF2-40B4-BE49-F238E27FC236}">
                  <a16:creationId xmlns:a16="http://schemas.microsoft.com/office/drawing/2014/main" xmlns="" id="{7CD4BF7B-B1D9-4691-8124-B69FF0A9A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177" y="4286929"/>
              <a:ext cx="389279" cy="501344"/>
            </a:xfrm>
            <a:custGeom>
              <a:avLst/>
              <a:gdLst>
                <a:gd name="T0" fmla="*/ 200 w 204"/>
                <a:gd name="T1" fmla="*/ 237 h 263"/>
                <a:gd name="T2" fmla="*/ 191 w 204"/>
                <a:gd name="T3" fmla="*/ 221 h 263"/>
                <a:gd name="T4" fmla="*/ 151 w 204"/>
                <a:gd name="T5" fmla="*/ 135 h 263"/>
                <a:gd name="T6" fmla="*/ 138 w 204"/>
                <a:gd name="T7" fmla="*/ 81 h 263"/>
                <a:gd name="T8" fmla="*/ 117 w 204"/>
                <a:gd name="T9" fmla="*/ 19 h 263"/>
                <a:gd name="T10" fmla="*/ 103 w 204"/>
                <a:gd name="T11" fmla="*/ 6 h 263"/>
                <a:gd name="T12" fmla="*/ 61 w 204"/>
                <a:gd name="T13" fmla="*/ 27 h 263"/>
                <a:gd name="T14" fmla="*/ 51 w 204"/>
                <a:gd name="T15" fmla="*/ 59 h 263"/>
                <a:gd name="T16" fmla="*/ 39 w 204"/>
                <a:gd name="T17" fmla="*/ 77 h 263"/>
                <a:gd name="T18" fmla="*/ 21 w 204"/>
                <a:gd name="T19" fmla="*/ 114 h 263"/>
                <a:gd name="T20" fmla="*/ 43 w 204"/>
                <a:gd name="T21" fmla="*/ 107 h 263"/>
                <a:gd name="T22" fmla="*/ 61 w 204"/>
                <a:gd name="T23" fmla="*/ 93 h 263"/>
                <a:gd name="T24" fmla="*/ 76 w 204"/>
                <a:gd name="T25" fmla="*/ 72 h 263"/>
                <a:gd name="T26" fmla="*/ 90 w 204"/>
                <a:gd name="T27" fmla="*/ 115 h 263"/>
                <a:gd name="T28" fmla="*/ 86 w 204"/>
                <a:gd name="T29" fmla="*/ 127 h 263"/>
                <a:gd name="T30" fmla="*/ 58 w 204"/>
                <a:gd name="T31" fmla="*/ 156 h 263"/>
                <a:gd name="T32" fmla="*/ 44 w 204"/>
                <a:gd name="T33" fmla="*/ 187 h 263"/>
                <a:gd name="T34" fmla="*/ 45 w 204"/>
                <a:gd name="T35" fmla="*/ 261 h 263"/>
                <a:gd name="T36" fmla="*/ 68 w 204"/>
                <a:gd name="T37" fmla="*/ 246 h 263"/>
                <a:gd name="T38" fmla="*/ 70 w 204"/>
                <a:gd name="T39" fmla="*/ 233 h 263"/>
                <a:gd name="T40" fmla="*/ 109 w 204"/>
                <a:gd name="T41" fmla="*/ 150 h 263"/>
                <a:gd name="T42" fmla="*/ 117 w 204"/>
                <a:gd name="T43" fmla="*/ 147 h 263"/>
                <a:gd name="T44" fmla="*/ 122 w 204"/>
                <a:gd name="T45" fmla="*/ 153 h 263"/>
                <a:gd name="T46" fmla="*/ 172 w 204"/>
                <a:gd name="T47" fmla="*/ 253 h 263"/>
                <a:gd name="T48" fmla="*/ 193 w 204"/>
                <a:gd name="T49" fmla="*/ 258 h 263"/>
                <a:gd name="T50" fmla="*/ 200 w 204"/>
                <a:gd name="T51" fmla="*/ 23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4" h="263">
                  <a:moveTo>
                    <a:pt x="200" y="237"/>
                  </a:moveTo>
                  <a:cubicBezTo>
                    <a:pt x="197" y="231"/>
                    <a:pt x="194" y="226"/>
                    <a:pt x="191" y="221"/>
                  </a:cubicBezTo>
                  <a:cubicBezTo>
                    <a:pt x="175" y="194"/>
                    <a:pt x="157" y="166"/>
                    <a:pt x="151" y="135"/>
                  </a:cubicBezTo>
                  <a:cubicBezTo>
                    <a:pt x="147" y="117"/>
                    <a:pt x="144" y="99"/>
                    <a:pt x="138" y="81"/>
                  </a:cubicBezTo>
                  <a:cubicBezTo>
                    <a:pt x="131" y="60"/>
                    <a:pt x="127" y="39"/>
                    <a:pt x="117" y="19"/>
                  </a:cubicBezTo>
                  <a:cubicBezTo>
                    <a:pt x="113" y="13"/>
                    <a:pt x="110" y="8"/>
                    <a:pt x="103" y="6"/>
                  </a:cubicBezTo>
                  <a:cubicBezTo>
                    <a:pt x="85" y="0"/>
                    <a:pt x="69" y="7"/>
                    <a:pt x="61" y="27"/>
                  </a:cubicBezTo>
                  <a:cubicBezTo>
                    <a:pt x="57" y="37"/>
                    <a:pt x="54" y="48"/>
                    <a:pt x="51" y="59"/>
                  </a:cubicBezTo>
                  <a:cubicBezTo>
                    <a:pt x="49" y="67"/>
                    <a:pt x="45" y="72"/>
                    <a:pt x="39" y="77"/>
                  </a:cubicBezTo>
                  <a:cubicBezTo>
                    <a:pt x="28" y="85"/>
                    <a:pt x="0" y="99"/>
                    <a:pt x="21" y="114"/>
                  </a:cubicBezTo>
                  <a:cubicBezTo>
                    <a:pt x="28" y="119"/>
                    <a:pt x="35" y="112"/>
                    <a:pt x="43" y="107"/>
                  </a:cubicBezTo>
                  <a:cubicBezTo>
                    <a:pt x="49" y="102"/>
                    <a:pt x="54" y="97"/>
                    <a:pt x="61" y="93"/>
                  </a:cubicBezTo>
                  <a:cubicBezTo>
                    <a:pt x="68" y="87"/>
                    <a:pt x="73" y="81"/>
                    <a:pt x="76" y="72"/>
                  </a:cubicBezTo>
                  <a:cubicBezTo>
                    <a:pt x="81" y="86"/>
                    <a:pt x="85" y="100"/>
                    <a:pt x="90" y="115"/>
                  </a:cubicBezTo>
                  <a:cubicBezTo>
                    <a:pt x="92" y="120"/>
                    <a:pt x="89" y="123"/>
                    <a:pt x="86" y="127"/>
                  </a:cubicBezTo>
                  <a:cubicBezTo>
                    <a:pt x="77" y="136"/>
                    <a:pt x="68" y="146"/>
                    <a:pt x="58" y="156"/>
                  </a:cubicBezTo>
                  <a:cubicBezTo>
                    <a:pt x="50" y="164"/>
                    <a:pt x="46" y="174"/>
                    <a:pt x="44" y="187"/>
                  </a:cubicBezTo>
                  <a:cubicBezTo>
                    <a:pt x="35" y="237"/>
                    <a:pt x="25" y="258"/>
                    <a:pt x="45" y="261"/>
                  </a:cubicBezTo>
                  <a:cubicBezTo>
                    <a:pt x="59" y="263"/>
                    <a:pt x="66" y="260"/>
                    <a:pt x="68" y="246"/>
                  </a:cubicBezTo>
                  <a:cubicBezTo>
                    <a:pt x="69" y="242"/>
                    <a:pt x="70" y="237"/>
                    <a:pt x="70" y="233"/>
                  </a:cubicBezTo>
                  <a:cubicBezTo>
                    <a:pt x="72" y="199"/>
                    <a:pt x="82" y="170"/>
                    <a:pt x="109" y="150"/>
                  </a:cubicBezTo>
                  <a:cubicBezTo>
                    <a:pt x="112" y="148"/>
                    <a:pt x="114" y="146"/>
                    <a:pt x="117" y="147"/>
                  </a:cubicBezTo>
                  <a:cubicBezTo>
                    <a:pt x="121" y="148"/>
                    <a:pt x="121" y="150"/>
                    <a:pt x="122" y="153"/>
                  </a:cubicBezTo>
                  <a:cubicBezTo>
                    <a:pt x="127" y="191"/>
                    <a:pt x="154" y="220"/>
                    <a:pt x="172" y="253"/>
                  </a:cubicBezTo>
                  <a:cubicBezTo>
                    <a:pt x="176" y="261"/>
                    <a:pt x="184" y="262"/>
                    <a:pt x="193" y="258"/>
                  </a:cubicBezTo>
                  <a:cubicBezTo>
                    <a:pt x="201" y="254"/>
                    <a:pt x="204" y="245"/>
                    <a:pt x="200" y="237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4" name="Freeform 191">
              <a:extLst>
                <a:ext uri="{FF2B5EF4-FFF2-40B4-BE49-F238E27FC236}">
                  <a16:creationId xmlns:a16="http://schemas.microsoft.com/office/drawing/2014/main" xmlns="" id="{A980A819-FCCA-4D61-81FD-85B85DF3A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79" y="4177813"/>
              <a:ext cx="106167" cy="106167"/>
            </a:xfrm>
            <a:custGeom>
              <a:avLst/>
              <a:gdLst>
                <a:gd name="T0" fmla="*/ 28 w 56"/>
                <a:gd name="T1" fmla="*/ 1 h 56"/>
                <a:gd name="T2" fmla="*/ 56 w 56"/>
                <a:gd name="T3" fmla="*/ 28 h 56"/>
                <a:gd name="T4" fmla="*/ 28 w 56"/>
                <a:gd name="T5" fmla="*/ 56 h 56"/>
                <a:gd name="T6" fmla="*/ 0 w 56"/>
                <a:gd name="T7" fmla="*/ 29 h 56"/>
                <a:gd name="T8" fmla="*/ 28 w 56"/>
                <a:gd name="T9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28" y="1"/>
                  </a:moveTo>
                  <a:cubicBezTo>
                    <a:pt x="44" y="1"/>
                    <a:pt x="56" y="13"/>
                    <a:pt x="56" y="28"/>
                  </a:cubicBezTo>
                  <a:cubicBezTo>
                    <a:pt x="56" y="44"/>
                    <a:pt x="44" y="56"/>
                    <a:pt x="28" y="56"/>
                  </a:cubicBezTo>
                  <a:cubicBezTo>
                    <a:pt x="14" y="56"/>
                    <a:pt x="0" y="43"/>
                    <a:pt x="0" y="29"/>
                  </a:cubicBezTo>
                  <a:cubicBezTo>
                    <a:pt x="0" y="13"/>
                    <a:pt x="13" y="0"/>
                    <a:pt x="28" y="1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5" name="Freeform 192">
              <a:extLst>
                <a:ext uri="{FF2B5EF4-FFF2-40B4-BE49-F238E27FC236}">
                  <a16:creationId xmlns:a16="http://schemas.microsoft.com/office/drawing/2014/main" xmlns="" id="{5B12AAD7-8C35-40E1-A4B7-188203D155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05" y="4468298"/>
              <a:ext cx="287535" cy="225605"/>
            </a:xfrm>
            <a:custGeom>
              <a:avLst/>
              <a:gdLst>
                <a:gd name="T0" fmla="*/ 143 w 151"/>
                <a:gd name="T1" fmla="*/ 34 h 119"/>
                <a:gd name="T2" fmla="*/ 139 w 151"/>
                <a:gd name="T3" fmla="*/ 33 h 119"/>
                <a:gd name="T4" fmla="*/ 140 w 151"/>
                <a:gd name="T5" fmla="*/ 27 h 119"/>
                <a:gd name="T6" fmla="*/ 142 w 151"/>
                <a:gd name="T7" fmla="*/ 22 h 119"/>
                <a:gd name="T8" fmla="*/ 142 w 151"/>
                <a:gd name="T9" fmla="*/ 20 h 119"/>
                <a:gd name="T10" fmla="*/ 108 w 151"/>
                <a:gd name="T11" fmla="*/ 10 h 119"/>
                <a:gd name="T12" fmla="*/ 99 w 151"/>
                <a:gd name="T13" fmla="*/ 7 h 119"/>
                <a:gd name="T14" fmla="*/ 96 w 151"/>
                <a:gd name="T15" fmla="*/ 15 h 119"/>
                <a:gd name="T16" fmla="*/ 95 w 151"/>
                <a:gd name="T17" fmla="*/ 21 h 119"/>
                <a:gd name="T18" fmla="*/ 93 w 151"/>
                <a:gd name="T19" fmla="*/ 20 h 119"/>
                <a:gd name="T20" fmla="*/ 79 w 151"/>
                <a:gd name="T21" fmla="*/ 26 h 119"/>
                <a:gd name="T22" fmla="*/ 67 w 151"/>
                <a:gd name="T23" fmla="*/ 68 h 119"/>
                <a:gd name="T24" fmla="*/ 28 w 151"/>
                <a:gd name="T25" fmla="*/ 16 h 119"/>
                <a:gd name="T26" fmla="*/ 32 w 151"/>
                <a:gd name="T27" fmla="*/ 0 h 119"/>
                <a:gd name="T28" fmla="*/ 0 w 151"/>
                <a:gd name="T29" fmla="*/ 21 h 119"/>
                <a:gd name="T30" fmla="*/ 18 w 151"/>
                <a:gd name="T31" fmla="*/ 25 h 119"/>
                <a:gd name="T32" fmla="*/ 62 w 151"/>
                <a:gd name="T33" fmla="*/ 92 h 119"/>
                <a:gd name="T34" fmla="*/ 69 w 151"/>
                <a:gd name="T35" fmla="*/ 103 h 119"/>
                <a:gd name="T36" fmla="*/ 119 w 151"/>
                <a:gd name="T37" fmla="*/ 118 h 119"/>
                <a:gd name="T38" fmla="*/ 131 w 151"/>
                <a:gd name="T39" fmla="*/ 110 h 119"/>
                <a:gd name="T40" fmla="*/ 149 w 151"/>
                <a:gd name="T41" fmla="*/ 46 h 119"/>
                <a:gd name="T42" fmla="*/ 143 w 151"/>
                <a:gd name="T43" fmla="*/ 34 h 119"/>
                <a:gd name="T44" fmla="*/ 104 w 151"/>
                <a:gd name="T45" fmla="*/ 23 h 119"/>
                <a:gd name="T46" fmla="*/ 105 w 151"/>
                <a:gd name="T47" fmla="*/ 19 h 119"/>
                <a:gd name="T48" fmla="*/ 131 w 151"/>
                <a:gd name="T49" fmla="*/ 26 h 119"/>
                <a:gd name="T50" fmla="*/ 130 w 151"/>
                <a:gd name="T51" fmla="*/ 31 h 119"/>
                <a:gd name="T52" fmla="*/ 104 w 151"/>
                <a:gd name="T53" fmla="*/ 2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1" h="119">
                  <a:moveTo>
                    <a:pt x="143" y="34"/>
                  </a:moveTo>
                  <a:cubicBezTo>
                    <a:pt x="139" y="33"/>
                    <a:pt x="139" y="33"/>
                    <a:pt x="139" y="33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2" y="22"/>
                    <a:pt x="142" y="22"/>
                    <a:pt x="142" y="22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88" y="18"/>
                    <a:pt x="81" y="21"/>
                    <a:pt x="79" y="26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1" y="97"/>
                    <a:pt x="64" y="102"/>
                    <a:pt x="69" y="103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19"/>
                    <a:pt x="129" y="115"/>
                    <a:pt x="131" y="11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51" y="41"/>
                    <a:pt x="148" y="36"/>
                    <a:pt x="143" y="34"/>
                  </a:cubicBezTo>
                  <a:close/>
                  <a:moveTo>
                    <a:pt x="104" y="23"/>
                  </a:moveTo>
                  <a:cubicBezTo>
                    <a:pt x="105" y="19"/>
                    <a:pt x="105" y="19"/>
                    <a:pt x="105" y="19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0" y="31"/>
                    <a:pt x="130" y="31"/>
                    <a:pt x="130" y="31"/>
                  </a:cubicBezTo>
                  <a:lnTo>
                    <a:pt x="104" y="23"/>
                  </a:lnTo>
                  <a:close/>
                </a:path>
              </a:pathLst>
            </a:custGeom>
            <a:solidFill>
              <a:srgbClr val="E62D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6" name="Freeform 193">
              <a:extLst>
                <a:ext uri="{FF2B5EF4-FFF2-40B4-BE49-F238E27FC236}">
                  <a16:creationId xmlns:a16="http://schemas.microsoft.com/office/drawing/2014/main" xmlns="" id="{87AE6E4E-3DC0-4749-88E0-2CE30809B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566" y="4424062"/>
              <a:ext cx="182843" cy="109116"/>
            </a:xfrm>
            <a:custGeom>
              <a:avLst/>
              <a:gdLst>
                <a:gd name="T0" fmla="*/ 55 w 96"/>
                <a:gd name="T1" fmla="*/ 50 h 57"/>
                <a:gd name="T2" fmla="*/ 79 w 96"/>
                <a:gd name="T3" fmla="*/ 39 h 57"/>
                <a:gd name="T4" fmla="*/ 79 w 96"/>
                <a:gd name="T5" fmla="*/ 42 h 57"/>
                <a:gd name="T6" fmla="*/ 96 w 96"/>
                <a:gd name="T7" fmla="*/ 20 h 57"/>
                <a:gd name="T8" fmla="*/ 95 w 96"/>
                <a:gd name="T9" fmla="*/ 17 h 57"/>
                <a:gd name="T10" fmla="*/ 79 w 96"/>
                <a:gd name="T11" fmla="*/ 0 h 57"/>
                <a:gd name="T12" fmla="*/ 63 w 96"/>
                <a:gd name="T13" fmla="*/ 16 h 57"/>
                <a:gd name="T14" fmla="*/ 44 w 96"/>
                <a:gd name="T15" fmla="*/ 26 h 57"/>
                <a:gd name="T16" fmla="*/ 11 w 96"/>
                <a:gd name="T17" fmla="*/ 50 h 57"/>
                <a:gd name="T18" fmla="*/ 33 w 96"/>
                <a:gd name="T19" fmla="*/ 54 h 57"/>
                <a:gd name="T20" fmla="*/ 55 w 96"/>
                <a:gd name="T21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7">
                  <a:moveTo>
                    <a:pt x="55" y="50"/>
                  </a:moveTo>
                  <a:cubicBezTo>
                    <a:pt x="64" y="49"/>
                    <a:pt x="72" y="46"/>
                    <a:pt x="79" y="39"/>
                  </a:cubicBezTo>
                  <a:cubicBezTo>
                    <a:pt x="79" y="40"/>
                    <a:pt x="79" y="41"/>
                    <a:pt x="79" y="42"/>
                  </a:cubicBezTo>
                  <a:cubicBezTo>
                    <a:pt x="84" y="34"/>
                    <a:pt x="90" y="27"/>
                    <a:pt x="96" y="20"/>
                  </a:cubicBezTo>
                  <a:cubicBezTo>
                    <a:pt x="96" y="19"/>
                    <a:pt x="95" y="18"/>
                    <a:pt x="95" y="17"/>
                  </a:cubicBezTo>
                  <a:cubicBezTo>
                    <a:pt x="87" y="15"/>
                    <a:pt x="81" y="8"/>
                    <a:pt x="79" y="0"/>
                  </a:cubicBezTo>
                  <a:cubicBezTo>
                    <a:pt x="74" y="5"/>
                    <a:pt x="68" y="10"/>
                    <a:pt x="63" y="16"/>
                  </a:cubicBezTo>
                  <a:cubicBezTo>
                    <a:pt x="58" y="22"/>
                    <a:pt x="52" y="25"/>
                    <a:pt x="44" y="26"/>
                  </a:cubicBezTo>
                  <a:cubicBezTo>
                    <a:pt x="31" y="28"/>
                    <a:pt x="0" y="26"/>
                    <a:pt x="11" y="50"/>
                  </a:cubicBezTo>
                  <a:cubicBezTo>
                    <a:pt x="14" y="57"/>
                    <a:pt x="24" y="55"/>
                    <a:pt x="33" y="54"/>
                  </a:cubicBezTo>
                  <a:cubicBezTo>
                    <a:pt x="40" y="53"/>
                    <a:pt x="48" y="51"/>
                    <a:pt x="55" y="50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7" name="Freeform 194">
              <a:extLst>
                <a:ext uri="{FF2B5EF4-FFF2-40B4-BE49-F238E27FC236}">
                  <a16:creationId xmlns:a16="http://schemas.microsoft.com/office/drawing/2014/main" xmlns="" id="{A151C156-D7E9-4774-8FB7-04AE9E1BD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45" y="4575939"/>
              <a:ext cx="106167" cy="116489"/>
            </a:xfrm>
            <a:custGeom>
              <a:avLst/>
              <a:gdLst>
                <a:gd name="T0" fmla="*/ 56 w 56"/>
                <a:gd name="T1" fmla="*/ 14 h 61"/>
                <a:gd name="T2" fmla="*/ 0 w 56"/>
                <a:gd name="T3" fmla="*/ 51 h 61"/>
                <a:gd name="T4" fmla="*/ 56 w 56"/>
                <a:gd name="T5" fmla="*/ 1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61">
                  <a:moveTo>
                    <a:pt x="56" y="14"/>
                  </a:moveTo>
                  <a:cubicBezTo>
                    <a:pt x="56" y="14"/>
                    <a:pt x="11" y="0"/>
                    <a:pt x="0" y="51"/>
                  </a:cubicBezTo>
                  <a:cubicBezTo>
                    <a:pt x="52" y="61"/>
                    <a:pt x="56" y="14"/>
                    <a:pt x="56" y="14"/>
                  </a:cubicBezTo>
                  <a:close/>
                </a:path>
              </a:pathLst>
            </a:custGeom>
            <a:solidFill>
              <a:srgbClr val="708E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8" name="Freeform 195">
              <a:extLst>
                <a:ext uri="{FF2B5EF4-FFF2-40B4-BE49-F238E27FC236}">
                  <a16:creationId xmlns:a16="http://schemas.microsoft.com/office/drawing/2014/main" xmlns="" id="{BDEA3268-7AA5-4BB8-8C54-7B261FC3E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04" y="4574465"/>
              <a:ext cx="107641" cy="116489"/>
            </a:xfrm>
            <a:custGeom>
              <a:avLst/>
              <a:gdLst>
                <a:gd name="T0" fmla="*/ 0 w 56"/>
                <a:gd name="T1" fmla="*/ 14 h 61"/>
                <a:gd name="T2" fmla="*/ 56 w 56"/>
                <a:gd name="T3" fmla="*/ 52 h 61"/>
                <a:gd name="T4" fmla="*/ 0 w 56"/>
                <a:gd name="T5" fmla="*/ 1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61">
                  <a:moveTo>
                    <a:pt x="0" y="14"/>
                  </a:moveTo>
                  <a:cubicBezTo>
                    <a:pt x="0" y="14"/>
                    <a:pt x="46" y="0"/>
                    <a:pt x="56" y="52"/>
                  </a:cubicBezTo>
                  <a:cubicBezTo>
                    <a:pt x="4" y="61"/>
                    <a:pt x="0" y="14"/>
                    <a:pt x="0" y="14"/>
                  </a:cubicBezTo>
                  <a:close/>
                </a:path>
              </a:pathLst>
            </a:custGeom>
            <a:solidFill>
              <a:srgbClr val="708E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9" name="Freeform 196">
              <a:extLst>
                <a:ext uri="{FF2B5EF4-FFF2-40B4-BE49-F238E27FC236}">
                  <a16:creationId xmlns:a16="http://schemas.microsoft.com/office/drawing/2014/main" xmlns="" id="{A6100AC8-1FA0-4814-99C0-2BF800225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19" y="4677682"/>
              <a:ext cx="477751" cy="110590"/>
            </a:xfrm>
            <a:custGeom>
              <a:avLst/>
              <a:gdLst>
                <a:gd name="T0" fmla="*/ 0 w 324"/>
                <a:gd name="T1" fmla="*/ 72 h 75"/>
                <a:gd name="T2" fmla="*/ 38 w 324"/>
                <a:gd name="T3" fmla="*/ 0 h 75"/>
                <a:gd name="T4" fmla="*/ 284 w 324"/>
                <a:gd name="T5" fmla="*/ 0 h 75"/>
                <a:gd name="T6" fmla="*/ 324 w 324"/>
                <a:gd name="T7" fmla="*/ 75 h 75"/>
                <a:gd name="T8" fmla="*/ 0 w 324"/>
                <a:gd name="T9" fmla="*/ 7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75">
                  <a:moveTo>
                    <a:pt x="0" y="72"/>
                  </a:moveTo>
                  <a:lnTo>
                    <a:pt x="38" y="0"/>
                  </a:lnTo>
                  <a:lnTo>
                    <a:pt x="284" y="0"/>
                  </a:lnTo>
                  <a:lnTo>
                    <a:pt x="324" y="75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xmlns="" id="{2CB2AF78-B53B-4340-8129-DCD74B3CA850}"/>
              </a:ext>
            </a:extLst>
          </p:cNvPr>
          <p:cNvGrpSpPr/>
          <p:nvPr/>
        </p:nvGrpSpPr>
        <p:grpSpPr>
          <a:xfrm>
            <a:off x="2906922" y="3017545"/>
            <a:ext cx="1629367" cy="1455371"/>
            <a:chOff x="7004990" y="3332902"/>
            <a:chExt cx="1629367" cy="1455371"/>
          </a:xfrm>
        </p:grpSpPr>
        <p:sp>
          <p:nvSpPr>
            <p:cNvPr id="360" name="Oval 248">
              <a:extLst>
                <a:ext uri="{FF2B5EF4-FFF2-40B4-BE49-F238E27FC236}">
                  <a16:creationId xmlns:a16="http://schemas.microsoft.com/office/drawing/2014/main" xmlns="" id="{F1F9E324-192E-48AA-93A3-5CD6A72F5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4990" y="4702749"/>
              <a:ext cx="67829" cy="6782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1" name="Oval 249">
              <a:extLst>
                <a:ext uri="{FF2B5EF4-FFF2-40B4-BE49-F238E27FC236}">
                  <a16:creationId xmlns:a16="http://schemas.microsoft.com/office/drawing/2014/main" xmlns="" id="{1C6CFC16-9951-4903-B471-92CF3967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0835" y="4702749"/>
              <a:ext cx="67829" cy="67829"/>
            </a:xfrm>
            <a:prstGeom prst="ellipse">
              <a:avLst/>
            </a:prstGeom>
            <a:solidFill>
              <a:srgbClr val="5932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2" name="Rectangle 253">
              <a:extLst>
                <a:ext uri="{FF2B5EF4-FFF2-40B4-BE49-F238E27FC236}">
                  <a16:creationId xmlns:a16="http://schemas.microsoft.com/office/drawing/2014/main" xmlns="" id="{78329AEF-08D1-4899-B171-1DA24D494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8558" y="4366554"/>
              <a:ext cx="706305" cy="421718"/>
            </a:xfrm>
            <a:prstGeom prst="rect">
              <a:avLst/>
            </a:prstGeom>
            <a:solidFill>
              <a:srgbClr val="F06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3" name="Freeform 254">
              <a:extLst>
                <a:ext uri="{FF2B5EF4-FFF2-40B4-BE49-F238E27FC236}">
                  <a16:creationId xmlns:a16="http://schemas.microsoft.com/office/drawing/2014/main" xmlns="" id="{91692136-00F1-4124-B310-F8C41E73B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9661" y="3846042"/>
              <a:ext cx="654696" cy="942231"/>
            </a:xfrm>
            <a:custGeom>
              <a:avLst/>
              <a:gdLst>
                <a:gd name="T0" fmla="*/ 334 w 444"/>
                <a:gd name="T1" fmla="*/ 0 h 639"/>
                <a:gd name="T2" fmla="*/ 219 w 444"/>
                <a:gd name="T3" fmla="*/ 0 h 639"/>
                <a:gd name="T4" fmla="*/ 117 w 444"/>
                <a:gd name="T5" fmla="*/ 0 h 639"/>
                <a:gd name="T6" fmla="*/ 0 w 444"/>
                <a:gd name="T7" fmla="*/ 638 h 639"/>
                <a:gd name="T8" fmla="*/ 219 w 444"/>
                <a:gd name="T9" fmla="*/ 639 h 639"/>
                <a:gd name="T10" fmla="*/ 444 w 444"/>
                <a:gd name="T11" fmla="*/ 638 h 639"/>
                <a:gd name="T12" fmla="*/ 334 w 444"/>
                <a:gd name="T13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4" h="639">
                  <a:moveTo>
                    <a:pt x="334" y="0"/>
                  </a:moveTo>
                  <a:lnTo>
                    <a:pt x="219" y="0"/>
                  </a:lnTo>
                  <a:lnTo>
                    <a:pt x="117" y="0"/>
                  </a:lnTo>
                  <a:lnTo>
                    <a:pt x="0" y="638"/>
                  </a:lnTo>
                  <a:lnTo>
                    <a:pt x="219" y="639"/>
                  </a:lnTo>
                  <a:lnTo>
                    <a:pt x="444" y="638"/>
                  </a:lnTo>
                  <a:lnTo>
                    <a:pt x="334" y="0"/>
                  </a:lnTo>
                  <a:close/>
                </a:path>
              </a:pathLst>
            </a:cu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4" name="Freeform 255">
              <a:extLst>
                <a:ext uri="{FF2B5EF4-FFF2-40B4-BE49-F238E27FC236}">
                  <a16:creationId xmlns:a16="http://schemas.microsoft.com/office/drawing/2014/main" xmlns="" id="{CC8981DB-72EA-4833-B123-1D1A56D80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616" y="4366554"/>
              <a:ext cx="44236" cy="420244"/>
            </a:xfrm>
            <a:custGeom>
              <a:avLst/>
              <a:gdLst>
                <a:gd name="T0" fmla="*/ 30 w 30"/>
                <a:gd name="T1" fmla="*/ 278 h 285"/>
                <a:gd name="T2" fmla="*/ 0 w 30"/>
                <a:gd name="T3" fmla="*/ 285 h 285"/>
                <a:gd name="T4" fmla="*/ 0 w 30"/>
                <a:gd name="T5" fmla="*/ 0 h 285"/>
                <a:gd name="T6" fmla="*/ 30 w 30"/>
                <a:gd name="T7" fmla="*/ 8 h 285"/>
                <a:gd name="T8" fmla="*/ 30 w 30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5">
                  <a:moveTo>
                    <a:pt x="30" y="278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0" y="8"/>
                  </a:lnTo>
                  <a:lnTo>
                    <a:pt x="30" y="278"/>
                  </a:lnTo>
                  <a:close/>
                </a:path>
              </a:pathLst>
            </a:custGeom>
            <a:solidFill>
              <a:srgbClr val="F06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5" name="Freeform 256">
              <a:extLst>
                <a:ext uri="{FF2B5EF4-FFF2-40B4-BE49-F238E27FC236}">
                  <a16:creationId xmlns:a16="http://schemas.microsoft.com/office/drawing/2014/main" xmlns="" id="{398FF100-DAC4-4426-858D-C68AEBDE6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8852" y="4366554"/>
              <a:ext cx="44236" cy="420244"/>
            </a:xfrm>
            <a:custGeom>
              <a:avLst/>
              <a:gdLst>
                <a:gd name="T0" fmla="*/ 0 w 30"/>
                <a:gd name="T1" fmla="*/ 278 h 285"/>
                <a:gd name="T2" fmla="*/ 30 w 30"/>
                <a:gd name="T3" fmla="*/ 285 h 285"/>
                <a:gd name="T4" fmla="*/ 30 w 30"/>
                <a:gd name="T5" fmla="*/ 0 h 285"/>
                <a:gd name="T6" fmla="*/ 0 w 30"/>
                <a:gd name="T7" fmla="*/ 8 h 285"/>
                <a:gd name="T8" fmla="*/ 0 w 30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5">
                  <a:moveTo>
                    <a:pt x="0" y="278"/>
                  </a:moveTo>
                  <a:lnTo>
                    <a:pt x="30" y="285"/>
                  </a:lnTo>
                  <a:lnTo>
                    <a:pt x="30" y="0"/>
                  </a:lnTo>
                  <a:lnTo>
                    <a:pt x="0" y="8"/>
                  </a:lnTo>
                  <a:lnTo>
                    <a:pt x="0" y="278"/>
                  </a:lnTo>
                  <a:close/>
                </a:path>
              </a:pathLst>
            </a:custGeom>
            <a:solidFill>
              <a:srgbClr val="B4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6" name="Freeform 257">
              <a:extLst>
                <a:ext uri="{FF2B5EF4-FFF2-40B4-BE49-F238E27FC236}">
                  <a16:creationId xmlns:a16="http://schemas.microsoft.com/office/drawing/2014/main" xmlns="" id="{5875E37C-B69F-4EA6-A11F-BA8BA9710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088" y="4366554"/>
              <a:ext cx="42762" cy="420244"/>
            </a:xfrm>
            <a:custGeom>
              <a:avLst/>
              <a:gdLst>
                <a:gd name="T0" fmla="*/ 29 w 29"/>
                <a:gd name="T1" fmla="*/ 278 h 285"/>
                <a:gd name="T2" fmla="*/ 0 w 29"/>
                <a:gd name="T3" fmla="*/ 285 h 285"/>
                <a:gd name="T4" fmla="*/ 0 w 29"/>
                <a:gd name="T5" fmla="*/ 0 h 285"/>
                <a:gd name="T6" fmla="*/ 29 w 29"/>
                <a:gd name="T7" fmla="*/ 8 h 285"/>
                <a:gd name="T8" fmla="*/ 29 w 29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5">
                  <a:moveTo>
                    <a:pt x="29" y="278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29" y="8"/>
                  </a:lnTo>
                  <a:lnTo>
                    <a:pt x="29" y="278"/>
                  </a:lnTo>
                  <a:close/>
                </a:path>
              </a:pathLst>
            </a:custGeom>
            <a:solidFill>
              <a:srgbClr val="F06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7" name="Freeform 258">
              <a:extLst>
                <a:ext uri="{FF2B5EF4-FFF2-40B4-BE49-F238E27FC236}">
                  <a16:creationId xmlns:a16="http://schemas.microsoft.com/office/drawing/2014/main" xmlns="" id="{4C33E46F-F4BF-4939-BEEE-D32EFFD8F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086" y="4366554"/>
              <a:ext cx="44236" cy="420244"/>
            </a:xfrm>
            <a:custGeom>
              <a:avLst/>
              <a:gdLst>
                <a:gd name="T0" fmla="*/ 30 w 30"/>
                <a:gd name="T1" fmla="*/ 278 h 285"/>
                <a:gd name="T2" fmla="*/ 0 w 30"/>
                <a:gd name="T3" fmla="*/ 285 h 285"/>
                <a:gd name="T4" fmla="*/ 0 w 30"/>
                <a:gd name="T5" fmla="*/ 0 h 285"/>
                <a:gd name="T6" fmla="*/ 30 w 30"/>
                <a:gd name="T7" fmla="*/ 8 h 285"/>
                <a:gd name="T8" fmla="*/ 30 w 30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5">
                  <a:moveTo>
                    <a:pt x="30" y="278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0" y="8"/>
                  </a:lnTo>
                  <a:lnTo>
                    <a:pt x="30" y="278"/>
                  </a:lnTo>
                  <a:close/>
                </a:path>
              </a:pathLst>
            </a:custGeom>
            <a:solidFill>
              <a:srgbClr val="F06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8" name="Rectangle 259">
              <a:extLst>
                <a:ext uri="{FF2B5EF4-FFF2-40B4-BE49-F238E27FC236}">
                  <a16:creationId xmlns:a16="http://schemas.microsoft.com/office/drawing/2014/main" xmlns="" id="{9B16572F-6A2C-4493-98A1-003700DDF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845" y="4410790"/>
              <a:ext cx="138607" cy="14008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9" name="Rectangle 260">
              <a:extLst>
                <a:ext uri="{FF2B5EF4-FFF2-40B4-BE49-F238E27FC236}">
                  <a16:creationId xmlns:a16="http://schemas.microsoft.com/office/drawing/2014/main" xmlns="" id="{0EE74688-78C8-4B5F-9CF5-7ED24A2A8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4163" y="4410790"/>
              <a:ext cx="140081" cy="14008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0" name="Rectangle 261">
              <a:extLst>
                <a:ext uri="{FF2B5EF4-FFF2-40B4-BE49-F238E27FC236}">
                  <a16:creationId xmlns:a16="http://schemas.microsoft.com/office/drawing/2014/main" xmlns="" id="{4AEE9C5E-055E-41E3-884C-7D12A2243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845" y="4583312"/>
              <a:ext cx="138607" cy="141556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1" name="Rectangle 262">
              <a:extLst>
                <a:ext uri="{FF2B5EF4-FFF2-40B4-BE49-F238E27FC236}">
                  <a16:creationId xmlns:a16="http://schemas.microsoft.com/office/drawing/2014/main" xmlns="" id="{BBDBF53E-6865-46E7-ABBA-78AF7B631B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4163" y="4583312"/>
              <a:ext cx="140081" cy="141556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2" name="Rectangle 263">
              <a:extLst>
                <a:ext uri="{FF2B5EF4-FFF2-40B4-BE49-F238E27FC236}">
                  <a16:creationId xmlns:a16="http://schemas.microsoft.com/office/drawing/2014/main" xmlns="" id="{E2479601-99EB-4A75-BCFB-652596D036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8936" y="4410790"/>
              <a:ext cx="140081" cy="377482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3" name="Rectangle 264">
              <a:extLst>
                <a:ext uri="{FF2B5EF4-FFF2-40B4-BE49-F238E27FC236}">
                  <a16:creationId xmlns:a16="http://schemas.microsoft.com/office/drawing/2014/main" xmlns="" id="{DB11E52A-B645-4533-8448-A2D8F835F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8558" y="4316420"/>
              <a:ext cx="706305" cy="50134"/>
            </a:xfrm>
            <a:prstGeom prst="rect">
              <a:avLst/>
            </a:prstGeom>
            <a:solidFill>
              <a:srgbClr val="F06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4" name="Rectangle 265">
              <a:extLst>
                <a:ext uri="{FF2B5EF4-FFF2-40B4-BE49-F238E27FC236}">
                  <a16:creationId xmlns:a16="http://schemas.microsoft.com/office/drawing/2014/main" xmlns="" id="{190B8954-9C7F-4920-B08B-B2D3A7E40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4269" y="3480942"/>
              <a:ext cx="126810" cy="892675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5" name="Rectangle 266">
              <a:extLst>
                <a:ext uri="{FF2B5EF4-FFF2-40B4-BE49-F238E27FC236}">
                  <a16:creationId xmlns:a16="http://schemas.microsoft.com/office/drawing/2014/main" xmlns="" id="{BF58FB29-A772-45B0-8CE5-440E078FC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3307" y="3593726"/>
              <a:ext cx="128285" cy="767977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6" name="Rectangle 267">
              <a:extLst>
                <a:ext uri="{FF2B5EF4-FFF2-40B4-BE49-F238E27FC236}">
                  <a16:creationId xmlns:a16="http://schemas.microsoft.com/office/drawing/2014/main" xmlns="" id="{29E49E50-6F48-4F50-9F02-3BBA2BD2E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8240" y="3545066"/>
              <a:ext cx="178419" cy="48660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7" name="Rectangle 268">
              <a:extLst>
                <a:ext uri="{FF2B5EF4-FFF2-40B4-BE49-F238E27FC236}">
                  <a16:creationId xmlns:a16="http://schemas.microsoft.com/office/drawing/2014/main" xmlns="" id="{694C360D-F73A-458E-818D-08E1A4F1CD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9202" y="3432282"/>
              <a:ext cx="176945" cy="48660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8" name="Rectangle 269">
              <a:extLst>
                <a:ext uri="{FF2B5EF4-FFF2-40B4-BE49-F238E27FC236}">
                  <a16:creationId xmlns:a16="http://schemas.microsoft.com/office/drawing/2014/main" xmlns="" id="{95A37849-2D25-4CCE-B75F-034665589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7303" y="3798856"/>
              <a:ext cx="449735" cy="72252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9" name="Freeform 270">
              <a:extLst>
                <a:ext uri="{FF2B5EF4-FFF2-40B4-BE49-F238E27FC236}">
                  <a16:creationId xmlns:a16="http://schemas.microsoft.com/office/drawing/2014/main" xmlns="" id="{1F1AF978-B9F1-4185-A826-C310CEB8A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8993" y="4198457"/>
              <a:ext cx="168098" cy="115014"/>
            </a:xfrm>
            <a:custGeom>
              <a:avLst/>
              <a:gdLst>
                <a:gd name="T0" fmla="*/ 19 w 88"/>
                <a:gd name="T1" fmla="*/ 60 h 60"/>
                <a:gd name="T2" fmla="*/ 33 w 88"/>
                <a:gd name="T3" fmla="*/ 52 h 60"/>
                <a:gd name="T4" fmla="*/ 28 w 88"/>
                <a:gd name="T5" fmla="*/ 44 h 60"/>
                <a:gd name="T6" fmla="*/ 8 w 88"/>
                <a:gd name="T7" fmla="*/ 8 h 60"/>
                <a:gd name="T8" fmla="*/ 0 w 88"/>
                <a:gd name="T9" fmla="*/ 0 h 60"/>
                <a:gd name="T10" fmla="*/ 1 w 88"/>
                <a:gd name="T11" fmla="*/ 0 h 60"/>
                <a:gd name="T12" fmla="*/ 52 w 88"/>
                <a:gd name="T13" fmla="*/ 0 h 60"/>
                <a:gd name="T14" fmla="*/ 60 w 88"/>
                <a:gd name="T15" fmla="*/ 4 h 60"/>
                <a:gd name="T16" fmla="*/ 72 w 88"/>
                <a:gd name="T17" fmla="*/ 26 h 60"/>
                <a:gd name="T18" fmla="*/ 74 w 88"/>
                <a:gd name="T19" fmla="*/ 28 h 60"/>
                <a:gd name="T20" fmla="*/ 87 w 88"/>
                <a:gd name="T21" fmla="*/ 20 h 60"/>
                <a:gd name="T22" fmla="*/ 88 w 88"/>
                <a:gd name="T23" fmla="*/ 21 h 60"/>
                <a:gd name="T24" fmla="*/ 80 w 88"/>
                <a:gd name="T25" fmla="*/ 34 h 60"/>
                <a:gd name="T26" fmla="*/ 66 w 88"/>
                <a:gd name="T27" fmla="*/ 58 h 60"/>
                <a:gd name="T28" fmla="*/ 64 w 88"/>
                <a:gd name="T29" fmla="*/ 60 h 60"/>
                <a:gd name="T30" fmla="*/ 20 w 88"/>
                <a:gd name="T31" fmla="*/ 60 h 60"/>
                <a:gd name="T32" fmla="*/ 19 w 88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60">
                  <a:moveTo>
                    <a:pt x="19" y="60"/>
                  </a:moveTo>
                  <a:cubicBezTo>
                    <a:pt x="24" y="57"/>
                    <a:pt x="28" y="54"/>
                    <a:pt x="33" y="52"/>
                  </a:cubicBezTo>
                  <a:cubicBezTo>
                    <a:pt x="31" y="49"/>
                    <a:pt x="30" y="46"/>
                    <a:pt x="28" y="44"/>
                  </a:cubicBezTo>
                  <a:cubicBezTo>
                    <a:pt x="22" y="32"/>
                    <a:pt x="15" y="20"/>
                    <a:pt x="8" y="8"/>
                  </a:cubicBezTo>
                  <a:cubicBezTo>
                    <a:pt x="6" y="5"/>
                    <a:pt x="4" y="2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8" y="0"/>
                    <a:pt x="35" y="0"/>
                    <a:pt x="52" y="0"/>
                  </a:cubicBezTo>
                  <a:cubicBezTo>
                    <a:pt x="56" y="0"/>
                    <a:pt x="58" y="1"/>
                    <a:pt x="60" y="4"/>
                  </a:cubicBezTo>
                  <a:cubicBezTo>
                    <a:pt x="64" y="11"/>
                    <a:pt x="68" y="18"/>
                    <a:pt x="72" y="26"/>
                  </a:cubicBezTo>
                  <a:cubicBezTo>
                    <a:pt x="73" y="27"/>
                    <a:pt x="73" y="27"/>
                    <a:pt x="74" y="28"/>
                  </a:cubicBezTo>
                  <a:cubicBezTo>
                    <a:pt x="78" y="25"/>
                    <a:pt x="83" y="23"/>
                    <a:pt x="87" y="20"/>
                  </a:cubicBezTo>
                  <a:cubicBezTo>
                    <a:pt x="87" y="20"/>
                    <a:pt x="87" y="20"/>
                    <a:pt x="88" y="21"/>
                  </a:cubicBezTo>
                  <a:cubicBezTo>
                    <a:pt x="85" y="25"/>
                    <a:pt x="82" y="29"/>
                    <a:pt x="80" y="34"/>
                  </a:cubicBezTo>
                  <a:cubicBezTo>
                    <a:pt x="75" y="42"/>
                    <a:pt x="71" y="50"/>
                    <a:pt x="66" y="58"/>
                  </a:cubicBezTo>
                  <a:cubicBezTo>
                    <a:pt x="65" y="59"/>
                    <a:pt x="64" y="60"/>
                    <a:pt x="64" y="60"/>
                  </a:cubicBezTo>
                  <a:cubicBezTo>
                    <a:pt x="49" y="60"/>
                    <a:pt x="35" y="60"/>
                    <a:pt x="20" y="60"/>
                  </a:cubicBezTo>
                  <a:cubicBezTo>
                    <a:pt x="20" y="60"/>
                    <a:pt x="20" y="60"/>
                    <a:pt x="19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0" name="Freeform 271">
              <a:extLst>
                <a:ext uri="{FF2B5EF4-FFF2-40B4-BE49-F238E27FC236}">
                  <a16:creationId xmlns:a16="http://schemas.microsoft.com/office/drawing/2014/main" xmlns="" id="{82D38BA8-65B3-4194-B611-CC6381A20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3844" y="4328216"/>
              <a:ext cx="135658" cy="166623"/>
            </a:xfrm>
            <a:custGeom>
              <a:avLst/>
              <a:gdLst>
                <a:gd name="T0" fmla="*/ 16 w 71"/>
                <a:gd name="T1" fmla="*/ 9 h 87"/>
                <a:gd name="T2" fmla="*/ 2 w 71"/>
                <a:gd name="T3" fmla="*/ 0 h 87"/>
                <a:gd name="T4" fmla="*/ 4 w 71"/>
                <a:gd name="T5" fmla="*/ 0 h 87"/>
                <a:gd name="T6" fmla="*/ 46 w 71"/>
                <a:gd name="T7" fmla="*/ 0 h 87"/>
                <a:gd name="T8" fmla="*/ 48 w 71"/>
                <a:gd name="T9" fmla="*/ 2 h 87"/>
                <a:gd name="T10" fmla="*/ 70 w 71"/>
                <a:gd name="T11" fmla="*/ 39 h 87"/>
                <a:gd name="T12" fmla="*/ 71 w 71"/>
                <a:gd name="T13" fmla="*/ 40 h 87"/>
                <a:gd name="T14" fmla="*/ 57 w 71"/>
                <a:gd name="T15" fmla="*/ 32 h 87"/>
                <a:gd name="T16" fmla="*/ 56 w 71"/>
                <a:gd name="T17" fmla="*/ 34 h 87"/>
                <a:gd name="T18" fmla="*/ 31 w 71"/>
                <a:gd name="T19" fmla="*/ 77 h 87"/>
                <a:gd name="T20" fmla="*/ 29 w 71"/>
                <a:gd name="T21" fmla="*/ 87 h 87"/>
                <a:gd name="T22" fmla="*/ 28 w 71"/>
                <a:gd name="T23" fmla="*/ 86 h 87"/>
                <a:gd name="T24" fmla="*/ 2 w 71"/>
                <a:gd name="T25" fmla="*/ 42 h 87"/>
                <a:gd name="T26" fmla="*/ 2 w 71"/>
                <a:gd name="T27" fmla="*/ 33 h 87"/>
                <a:gd name="T28" fmla="*/ 15 w 71"/>
                <a:gd name="T29" fmla="*/ 11 h 87"/>
                <a:gd name="T30" fmla="*/ 16 w 71"/>
                <a:gd name="T31" fmla="*/ 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" h="87">
                  <a:moveTo>
                    <a:pt x="16" y="9"/>
                  </a:moveTo>
                  <a:cubicBezTo>
                    <a:pt x="11" y="6"/>
                    <a:pt x="7" y="3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18" y="0"/>
                    <a:pt x="32" y="0"/>
                    <a:pt x="46" y="0"/>
                  </a:cubicBezTo>
                  <a:cubicBezTo>
                    <a:pt x="47" y="0"/>
                    <a:pt x="48" y="0"/>
                    <a:pt x="48" y="2"/>
                  </a:cubicBezTo>
                  <a:cubicBezTo>
                    <a:pt x="56" y="14"/>
                    <a:pt x="63" y="27"/>
                    <a:pt x="70" y="39"/>
                  </a:cubicBezTo>
                  <a:cubicBezTo>
                    <a:pt x="70" y="39"/>
                    <a:pt x="70" y="39"/>
                    <a:pt x="71" y="40"/>
                  </a:cubicBezTo>
                  <a:cubicBezTo>
                    <a:pt x="66" y="37"/>
                    <a:pt x="61" y="35"/>
                    <a:pt x="57" y="32"/>
                  </a:cubicBezTo>
                  <a:cubicBezTo>
                    <a:pt x="56" y="33"/>
                    <a:pt x="56" y="33"/>
                    <a:pt x="56" y="34"/>
                  </a:cubicBezTo>
                  <a:cubicBezTo>
                    <a:pt x="47" y="48"/>
                    <a:pt x="39" y="63"/>
                    <a:pt x="31" y="77"/>
                  </a:cubicBezTo>
                  <a:cubicBezTo>
                    <a:pt x="29" y="80"/>
                    <a:pt x="28" y="83"/>
                    <a:pt x="29" y="87"/>
                  </a:cubicBezTo>
                  <a:cubicBezTo>
                    <a:pt x="28" y="87"/>
                    <a:pt x="28" y="86"/>
                    <a:pt x="28" y="86"/>
                  </a:cubicBezTo>
                  <a:cubicBezTo>
                    <a:pt x="19" y="71"/>
                    <a:pt x="11" y="56"/>
                    <a:pt x="2" y="42"/>
                  </a:cubicBezTo>
                  <a:cubicBezTo>
                    <a:pt x="0" y="39"/>
                    <a:pt x="0" y="36"/>
                    <a:pt x="2" y="33"/>
                  </a:cubicBezTo>
                  <a:cubicBezTo>
                    <a:pt x="6" y="25"/>
                    <a:pt x="10" y="18"/>
                    <a:pt x="15" y="11"/>
                  </a:cubicBezTo>
                  <a:cubicBezTo>
                    <a:pt x="15" y="10"/>
                    <a:pt x="15" y="10"/>
                    <a:pt x="16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1" name="Freeform 272">
              <a:extLst>
                <a:ext uri="{FF2B5EF4-FFF2-40B4-BE49-F238E27FC236}">
                  <a16:creationId xmlns:a16="http://schemas.microsoft.com/office/drawing/2014/main" xmlns="" id="{E6094D0D-437E-4DC3-8204-AC26FAECD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7331" y="4418163"/>
              <a:ext cx="160725" cy="150403"/>
            </a:xfrm>
            <a:custGeom>
              <a:avLst/>
              <a:gdLst>
                <a:gd name="T0" fmla="*/ 22 w 84"/>
                <a:gd name="T1" fmla="*/ 63 h 79"/>
                <a:gd name="T2" fmla="*/ 22 w 84"/>
                <a:gd name="T3" fmla="*/ 79 h 79"/>
                <a:gd name="T4" fmla="*/ 21 w 84"/>
                <a:gd name="T5" fmla="*/ 78 h 79"/>
                <a:gd name="T6" fmla="*/ 0 w 84"/>
                <a:gd name="T7" fmla="*/ 41 h 79"/>
                <a:gd name="T8" fmla="*/ 0 w 84"/>
                <a:gd name="T9" fmla="*/ 39 h 79"/>
                <a:gd name="T10" fmla="*/ 21 w 84"/>
                <a:gd name="T11" fmla="*/ 1 h 79"/>
                <a:gd name="T12" fmla="*/ 22 w 84"/>
                <a:gd name="T13" fmla="*/ 0 h 79"/>
                <a:gd name="T14" fmla="*/ 22 w 84"/>
                <a:gd name="T15" fmla="*/ 16 h 79"/>
                <a:gd name="T16" fmla="*/ 25 w 84"/>
                <a:gd name="T17" fmla="*/ 16 h 79"/>
                <a:gd name="T18" fmla="*/ 72 w 84"/>
                <a:gd name="T19" fmla="*/ 16 h 79"/>
                <a:gd name="T20" fmla="*/ 84 w 84"/>
                <a:gd name="T21" fmla="*/ 13 h 79"/>
                <a:gd name="T22" fmla="*/ 83 w 84"/>
                <a:gd name="T23" fmla="*/ 14 h 79"/>
                <a:gd name="T24" fmla="*/ 57 w 84"/>
                <a:gd name="T25" fmla="*/ 59 h 79"/>
                <a:gd name="T26" fmla="*/ 50 w 84"/>
                <a:gd name="T27" fmla="*/ 63 h 79"/>
                <a:gd name="T28" fmla="*/ 25 w 84"/>
                <a:gd name="T29" fmla="*/ 63 h 79"/>
                <a:gd name="T30" fmla="*/ 22 w 84"/>
                <a:gd name="T31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79">
                  <a:moveTo>
                    <a:pt x="22" y="63"/>
                  </a:moveTo>
                  <a:cubicBezTo>
                    <a:pt x="22" y="68"/>
                    <a:pt x="22" y="73"/>
                    <a:pt x="22" y="79"/>
                  </a:cubicBezTo>
                  <a:cubicBezTo>
                    <a:pt x="22" y="78"/>
                    <a:pt x="21" y="78"/>
                    <a:pt x="21" y="78"/>
                  </a:cubicBezTo>
                  <a:cubicBezTo>
                    <a:pt x="14" y="65"/>
                    <a:pt x="7" y="53"/>
                    <a:pt x="0" y="41"/>
                  </a:cubicBezTo>
                  <a:cubicBezTo>
                    <a:pt x="0" y="40"/>
                    <a:pt x="0" y="39"/>
                    <a:pt x="0" y="39"/>
                  </a:cubicBezTo>
                  <a:cubicBezTo>
                    <a:pt x="7" y="26"/>
                    <a:pt x="14" y="13"/>
                    <a:pt x="21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5"/>
                    <a:pt x="22" y="11"/>
                    <a:pt x="22" y="16"/>
                  </a:cubicBezTo>
                  <a:cubicBezTo>
                    <a:pt x="23" y="16"/>
                    <a:pt x="24" y="16"/>
                    <a:pt x="25" y="16"/>
                  </a:cubicBezTo>
                  <a:cubicBezTo>
                    <a:pt x="41" y="16"/>
                    <a:pt x="57" y="16"/>
                    <a:pt x="72" y="16"/>
                  </a:cubicBezTo>
                  <a:cubicBezTo>
                    <a:pt x="76" y="16"/>
                    <a:pt x="80" y="15"/>
                    <a:pt x="84" y="13"/>
                  </a:cubicBezTo>
                  <a:cubicBezTo>
                    <a:pt x="83" y="13"/>
                    <a:pt x="83" y="14"/>
                    <a:pt x="83" y="14"/>
                  </a:cubicBezTo>
                  <a:cubicBezTo>
                    <a:pt x="74" y="29"/>
                    <a:pt x="66" y="44"/>
                    <a:pt x="57" y="59"/>
                  </a:cubicBezTo>
                  <a:cubicBezTo>
                    <a:pt x="56" y="62"/>
                    <a:pt x="54" y="63"/>
                    <a:pt x="50" y="63"/>
                  </a:cubicBezTo>
                  <a:cubicBezTo>
                    <a:pt x="42" y="63"/>
                    <a:pt x="33" y="63"/>
                    <a:pt x="25" y="63"/>
                  </a:cubicBezTo>
                  <a:cubicBezTo>
                    <a:pt x="24" y="63"/>
                    <a:pt x="23" y="63"/>
                    <a:pt x="22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2" name="Freeform 273">
              <a:extLst>
                <a:ext uri="{FF2B5EF4-FFF2-40B4-BE49-F238E27FC236}">
                  <a16:creationId xmlns:a16="http://schemas.microsoft.com/office/drawing/2014/main" xmlns="" id="{3B84CE05-2EE8-4A56-BD70-1C811A5BB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6312" y="4311996"/>
              <a:ext cx="126810" cy="128285"/>
            </a:xfrm>
            <a:custGeom>
              <a:avLst/>
              <a:gdLst>
                <a:gd name="T0" fmla="*/ 0 w 66"/>
                <a:gd name="T1" fmla="*/ 23 h 68"/>
                <a:gd name="T2" fmla="*/ 40 w 66"/>
                <a:gd name="T3" fmla="*/ 0 h 68"/>
                <a:gd name="T4" fmla="*/ 41 w 66"/>
                <a:gd name="T5" fmla="*/ 1 h 68"/>
                <a:gd name="T6" fmla="*/ 59 w 66"/>
                <a:gd name="T7" fmla="*/ 32 h 68"/>
                <a:gd name="T8" fmla="*/ 50 w 66"/>
                <a:gd name="T9" fmla="*/ 65 h 68"/>
                <a:gd name="T10" fmla="*/ 44 w 66"/>
                <a:gd name="T11" fmla="*/ 67 h 68"/>
                <a:gd name="T12" fmla="*/ 27 w 66"/>
                <a:gd name="T13" fmla="*/ 67 h 68"/>
                <a:gd name="T14" fmla="*/ 25 w 66"/>
                <a:gd name="T15" fmla="*/ 66 h 68"/>
                <a:gd name="T16" fmla="*/ 0 w 66"/>
                <a:gd name="T17" fmla="*/ 24 h 68"/>
                <a:gd name="T18" fmla="*/ 0 w 66"/>
                <a:gd name="T19" fmla="*/ 2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8">
                  <a:moveTo>
                    <a:pt x="0" y="23"/>
                  </a:moveTo>
                  <a:cubicBezTo>
                    <a:pt x="13" y="15"/>
                    <a:pt x="27" y="8"/>
                    <a:pt x="40" y="0"/>
                  </a:cubicBezTo>
                  <a:cubicBezTo>
                    <a:pt x="40" y="0"/>
                    <a:pt x="41" y="1"/>
                    <a:pt x="41" y="1"/>
                  </a:cubicBezTo>
                  <a:cubicBezTo>
                    <a:pt x="47" y="11"/>
                    <a:pt x="53" y="22"/>
                    <a:pt x="59" y="32"/>
                  </a:cubicBezTo>
                  <a:cubicBezTo>
                    <a:pt x="66" y="45"/>
                    <a:pt x="61" y="59"/>
                    <a:pt x="50" y="65"/>
                  </a:cubicBezTo>
                  <a:cubicBezTo>
                    <a:pt x="48" y="67"/>
                    <a:pt x="46" y="67"/>
                    <a:pt x="44" y="67"/>
                  </a:cubicBezTo>
                  <a:cubicBezTo>
                    <a:pt x="38" y="68"/>
                    <a:pt x="32" y="67"/>
                    <a:pt x="27" y="67"/>
                  </a:cubicBezTo>
                  <a:cubicBezTo>
                    <a:pt x="26" y="67"/>
                    <a:pt x="25" y="67"/>
                    <a:pt x="25" y="66"/>
                  </a:cubicBezTo>
                  <a:cubicBezTo>
                    <a:pt x="16" y="52"/>
                    <a:pt x="8" y="38"/>
                    <a:pt x="0" y="24"/>
                  </a:cubicBezTo>
                  <a:cubicBezTo>
                    <a:pt x="0" y="24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3" name="Freeform 274">
              <a:extLst>
                <a:ext uri="{FF2B5EF4-FFF2-40B4-BE49-F238E27FC236}">
                  <a16:creationId xmlns:a16="http://schemas.microsoft.com/office/drawing/2014/main" xmlns="" id="{47C1D106-C5A8-4E5E-A304-66393506A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8724" y="4195508"/>
              <a:ext cx="123861" cy="137132"/>
            </a:xfrm>
            <a:custGeom>
              <a:avLst/>
              <a:gdLst>
                <a:gd name="T0" fmla="*/ 0 w 65"/>
                <a:gd name="T1" fmla="*/ 48 h 72"/>
                <a:gd name="T2" fmla="*/ 1 w 65"/>
                <a:gd name="T3" fmla="*/ 46 h 72"/>
                <a:gd name="T4" fmla="*/ 19 w 65"/>
                <a:gd name="T5" fmla="*/ 15 h 72"/>
                <a:gd name="T6" fmla="*/ 52 w 65"/>
                <a:gd name="T7" fmla="*/ 7 h 72"/>
                <a:gd name="T8" fmla="*/ 57 w 65"/>
                <a:gd name="T9" fmla="*/ 12 h 72"/>
                <a:gd name="T10" fmla="*/ 65 w 65"/>
                <a:gd name="T11" fmla="*/ 26 h 72"/>
                <a:gd name="T12" fmla="*/ 65 w 65"/>
                <a:gd name="T13" fmla="*/ 29 h 72"/>
                <a:gd name="T14" fmla="*/ 41 w 65"/>
                <a:gd name="T15" fmla="*/ 71 h 72"/>
                <a:gd name="T16" fmla="*/ 40 w 65"/>
                <a:gd name="T17" fmla="*/ 72 h 72"/>
                <a:gd name="T18" fmla="*/ 0 w 65"/>
                <a:gd name="T19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72">
                  <a:moveTo>
                    <a:pt x="0" y="48"/>
                  </a:moveTo>
                  <a:cubicBezTo>
                    <a:pt x="0" y="48"/>
                    <a:pt x="1" y="47"/>
                    <a:pt x="1" y="46"/>
                  </a:cubicBezTo>
                  <a:cubicBezTo>
                    <a:pt x="7" y="36"/>
                    <a:pt x="13" y="26"/>
                    <a:pt x="19" y="15"/>
                  </a:cubicBezTo>
                  <a:cubicBezTo>
                    <a:pt x="25" y="4"/>
                    <a:pt x="40" y="0"/>
                    <a:pt x="52" y="7"/>
                  </a:cubicBezTo>
                  <a:cubicBezTo>
                    <a:pt x="54" y="8"/>
                    <a:pt x="55" y="10"/>
                    <a:pt x="57" y="12"/>
                  </a:cubicBezTo>
                  <a:cubicBezTo>
                    <a:pt x="60" y="16"/>
                    <a:pt x="62" y="21"/>
                    <a:pt x="65" y="26"/>
                  </a:cubicBezTo>
                  <a:cubicBezTo>
                    <a:pt x="65" y="27"/>
                    <a:pt x="65" y="28"/>
                    <a:pt x="65" y="29"/>
                  </a:cubicBezTo>
                  <a:cubicBezTo>
                    <a:pt x="57" y="43"/>
                    <a:pt x="49" y="57"/>
                    <a:pt x="41" y="71"/>
                  </a:cubicBezTo>
                  <a:cubicBezTo>
                    <a:pt x="41" y="71"/>
                    <a:pt x="40" y="72"/>
                    <a:pt x="40" y="72"/>
                  </a:cubicBezTo>
                  <a:cubicBezTo>
                    <a:pt x="27" y="64"/>
                    <a:pt x="13" y="56"/>
                    <a:pt x="0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4" name="Freeform 275">
              <a:extLst>
                <a:ext uri="{FF2B5EF4-FFF2-40B4-BE49-F238E27FC236}">
                  <a16:creationId xmlns:a16="http://schemas.microsoft.com/office/drawing/2014/main" xmlns="" id="{5910F584-6A0F-4A3C-B67A-7D0BA1EDD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250" y="4449128"/>
              <a:ext cx="117963" cy="88472"/>
            </a:xfrm>
            <a:custGeom>
              <a:avLst/>
              <a:gdLst>
                <a:gd name="T0" fmla="*/ 62 w 62"/>
                <a:gd name="T1" fmla="*/ 0 h 47"/>
                <a:gd name="T2" fmla="*/ 62 w 62"/>
                <a:gd name="T3" fmla="*/ 47 h 47"/>
                <a:gd name="T4" fmla="*/ 60 w 62"/>
                <a:gd name="T5" fmla="*/ 47 h 47"/>
                <a:gd name="T6" fmla="*/ 25 w 62"/>
                <a:gd name="T7" fmla="*/ 47 h 47"/>
                <a:gd name="T8" fmla="*/ 0 w 62"/>
                <a:gd name="T9" fmla="*/ 21 h 47"/>
                <a:gd name="T10" fmla="*/ 2 w 62"/>
                <a:gd name="T11" fmla="*/ 16 h 47"/>
                <a:gd name="T12" fmla="*/ 10 w 62"/>
                <a:gd name="T13" fmla="*/ 1 h 47"/>
                <a:gd name="T14" fmla="*/ 13 w 62"/>
                <a:gd name="T15" fmla="*/ 0 h 47"/>
                <a:gd name="T16" fmla="*/ 61 w 62"/>
                <a:gd name="T17" fmla="*/ 0 h 47"/>
                <a:gd name="T18" fmla="*/ 62 w 62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47">
                  <a:moveTo>
                    <a:pt x="62" y="0"/>
                  </a:moveTo>
                  <a:cubicBezTo>
                    <a:pt x="62" y="15"/>
                    <a:pt x="62" y="31"/>
                    <a:pt x="62" y="47"/>
                  </a:cubicBezTo>
                  <a:cubicBezTo>
                    <a:pt x="61" y="47"/>
                    <a:pt x="61" y="47"/>
                    <a:pt x="60" y="47"/>
                  </a:cubicBezTo>
                  <a:cubicBezTo>
                    <a:pt x="48" y="47"/>
                    <a:pt x="36" y="47"/>
                    <a:pt x="25" y="47"/>
                  </a:cubicBezTo>
                  <a:cubicBezTo>
                    <a:pt x="10" y="47"/>
                    <a:pt x="0" y="35"/>
                    <a:pt x="0" y="21"/>
                  </a:cubicBezTo>
                  <a:cubicBezTo>
                    <a:pt x="0" y="20"/>
                    <a:pt x="1" y="18"/>
                    <a:pt x="2" y="16"/>
                  </a:cubicBezTo>
                  <a:cubicBezTo>
                    <a:pt x="4" y="11"/>
                    <a:pt x="7" y="6"/>
                    <a:pt x="10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29" y="0"/>
                    <a:pt x="45" y="0"/>
                    <a:pt x="61" y="0"/>
                  </a:cubicBezTo>
                  <a:cubicBezTo>
                    <a:pt x="61" y="0"/>
                    <a:pt x="61" y="0"/>
                    <a:pt x="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5" name="Freeform 276">
              <a:extLst>
                <a:ext uri="{FF2B5EF4-FFF2-40B4-BE49-F238E27FC236}">
                  <a16:creationId xmlns:a16="http://schemas.microsoft.com/office/drawing/2014/main" xmlns="" id="{20F1780B-7B8C-4C5D-BAA6-95E420D9E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322" y="4366554"/>
              <a:ext cx="44236" cy="420244"/>
            </a:xfrm>
            <a:custGeom>
              <a:avLst/>
              <a:gdLst>
                <a:gd name="T0" fmla="*/ 0 w 30"/>
                <a:gd name="T1" fmla="*/ 278 h 285"/>
                <a:gd name="T2" fmla="*/ 30 w 30"/>
                <a:gd name="T3" fmla="*/ 285 h 285"/>
                <a:gd name="T4" fmla="*/ 30 w 30"/>
                <a:gd name="T5" fmla="*/ 0 h 285"/>
                <a:gd name="T6" fmla="*/ 0 w 30"/>
                <a:gd name="T7" fmla="*/ 8 h 285"/>
                <a:gd name="T8" fmla="*/ 0 w 30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5">
                  <a:moveTo>
                    <a:pt x="0" y="278"/>
                  </a:moveTo>
                  <a:lnTo>
                    <a:pt x="30" y="285"/>
                  </a:lnTo>
                  <a:lnTo>
                    <a:pt x="30" y="0"/>
                  </a:lnTo>
                  <a:lnTo>
                    <a:pt x="0" y="8"/>
                  </a:lnTo>
                  <a:lnTo>
                    <a:pt x="0" y="278"/>
                  </a:lnTo>
                  <a:close/>
                </a:path>
              </a:pathLst>
            </a:custGeom>
            <a:solidFill>
              <a:srgbClr val="B4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6" name="Freeform 277">
              <a:extLst>
                <a:ext uri="{FF2B5EF4-FFF2-40B4-BE49-F238E27FC236}">
                  <a16:creationId xmlns:a16="http://schemas.microsoft.com/office/drawing/2014/main" xmlns="" id="{9C720F58-9EC2-46BF-BE7A-8FCD9D13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850" y="4366554"/>
              <a:ext cx="44236" cy="420244"/>
            </a:xfrm>
            <a:custGeom>
              <a:avLst/>
              <a:gdLst>
                <a:gd name="T0" fmla="*/ 0 w 30"/>
                <a:gd name="T1" fmla="*/ 278 h 285"/>
                <a:gd name="T2" fmla="*/ 30 w 30"/>
                <a:gd name="T3" fmla="*/ 285 h 285"/>
                <a:gd name="T4" fmla="*/ 30 w 30"/>
                <a:gd name="T5" fmla="*/ 0 h 285"/>
                <a:gd name="T6" fmla="*/ 0 w 30"/>
                <a:gd name="T7" fmla="*/ 8 h 285"/>
                <a:gd name="T8" fmla="*/ 0 w 30"/>
                <a:gd name="T9" fmla="*/ 2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5">
                  <a:moveTo>
                    <a:pt x="0" y="278"/>
                  </a:moveTo>
                  <a:lnTo>
                    <a:pt x="30" y="285"/>
                  </a:lnTo>
                  <a:lnTo>
                    <a:pt x="30" y="0"/>
                  </a:lnTo>
                  <a:lnTo>
                    <a:pt x="0" y="8"/>
                  </a:lnTo>
                  <a:lnTo>
                    <a:pt x="0" y="278"/>
                  </a:lnTo>
                  <a:close/>
                </a:path>
              </a:pathLst>
            </a:custGeom>
            <a:solidFill>
              <a:srgbClr val="B4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7" name="Freeform 74">
              <a:extLst>
                <a:ext uri="{FF2B5EF4-FFF2-40B4-BE49-F238E27FC236}">
                  <a16:creationId xmlns:a16="http://schemas.microsoft.com/office/drawing/2014/main" xmlns="" id="{F6E9B988-3772-4D60-8127-76D9EC35D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971" y="3332902"/>
              <a:ext cx="429040" cy="228508"/>
            </a:xfrm>
            <a:custGeom>
              <a:avLst/>
              <a:gdLst>
                <a:gd name="T0" fmla="*/ 692 w 842"/>
                <a:gd name="T1" fmla="*/ 147 h 447"/>
                <a:gd name="T2" fmla="*/ 658 w 842"/>
                <a:gd name="T3" fmla="*/ 151 h 447"/>
                <a:gd name="T4" fmla="*/ 631 w 842"/>
                <a:gd name="T5" fmla="*/ 101 h 447"/>
                <a:gd name="T6" fmla="*/ 498 w 842"/>
                <a:gd name="T7" fmla="*/ 91 h 447"/>
                <a:gd name="T8" fmla="*/ 476 w 842"/>
                <a:gd name="T9" fmla="*/ 63 h 447"/>
                <a:gd name="T10" fmla="*/ 246 w 842"/>
                <a:gd name="T11" fmla="*/ 63 h 447"/>
                <a:gd name="T12" fmla="*/ 201 w 842"/>
                <a:gd name="T13" fmla="*/ 205 h 447"/>
                <a:gd name="T14" fmla="*/ 126 w 842"/>
                <a:gd name="T15" fmla="*/ 235 h 447"/>
                <a:gd name="T16" fmla="*/ 99 w 842"/>
                <a:gd name="T17" fmla="*/ 281 h 447"/>
                <a:gd name="T18" fmla="*/ 84 w 842"/>
                <a:gd name="T19" fmla="*/ 279 h 447"/>
                <a:gd name="T20" fmla="*/ 0 w 842"/>
                <a:gd name="T21" fmla="*/ 363 h 447"/>
                <a:gd name="T22" fmla="*/ 84 w 842"/>
                <a:gd name="T23" fmla="*/ 447 h 447"/>
                <a:gd name="T24" fmla="*/ 692 w 842"/>
                <a:gd name="T25" fmla="*/ 447 h 447"/>
                <a:gd name="T26" fmla="*/ 842 w 842"/>
                <a:gd name="T27" fmla="*/ 297 h 447"/>
                <a:gd name="T28" fmla="*/ 692 w 842"/>
                <a:gd name="T29" fmla="*/ 147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2" h="447">
                  <a:moveTo>
                    <a:pt x="692" y="147"/>
                  </a:moveTo>
                  <a:cubicBezTo>
                    <a:pt x="681" y="147"/>
                    <a:pt x="669" y="148"/>
                    <a:pt x="658" y="151"/>
                  </a:cubicBezTo>
                  <a:cubicBezTo>
                    <a:pt x="654" y="133"/>
                    <a:pt x="645" y="115"/>
                    <a:pt x="631" y="101"/>
                  </a:cubicBezTo>
                  <a:cubicBezTo>
                    <a:pt x="595" y="65"/>
                    <a:pt x="538" y="61"/>
                    <a:pt x="498" y="91"/>
                  </a:cubicBezTo>
                  <a:cubicBezTo>
                    <a:pt x="492" y="81"/>
                    <a:pt x="484" y="72"/>
                    <a:pt x="476" y="63"/>
                  </a:cubicBezTo>
                  <a:cubicBezTo>
                    <a:pt x="412" y="0"/>
                    <a:pt x="309" y="0"/>
                    <a:pt x="246" y="63"/>
                  </a:cubicBezTo>
                  <a:cubicBezTo>
                    <a:pt x="207" y="102"/>
                    <a:pt x="192" y="155"/>
                    <a:pt x="201" y="205"/>
                  </a:cubicBezTo>
                  <a:cubicBezTo>
                    <a:pt x="174" y="205"/>
                    <a:pt x="146" y="215"/>
                    <a:pt x="126" y="235"/>
                  </a:cubicBezTo>
                  <a:cubicBezTo>
                    <a:pt x="113" y="248"/>
                    <a:pt x="104" y="264"/>
                    <a:pt x="99" y="281"/>
                  </a:cubicBezTo>
                  <a:cubicBezTo>
                    <a:pt x="95" y="280"/>
                    <a:pt x="89" y="279"/>
                    <a:pt x="84" y="279"/>
                  </a:cubicBezTo>
                  <a:cubicBezTo>
                    <a:pt x="38" y="279"/>
                    <a:pt x="0" y="317"/>
                    <a:pt x="0" y="363"/>
                  </a:cubicBezTo>
                  <a:cubicBezTo>
                    <a:pt x="0" y="409"/>
                    <a:pt x="38" y="447"/>
                    <a:pt x="84" y="447"/>
                  </a:cubicBezTo>
                  <a:cubicBezTo>
                    <a:pt x="117" y="447"/>
                    <a:pt x="609" y="447"/>
                    <a:pt x="692" y="447"/>
                  </a:cubicBezTo>
                  <a:cubicBezTo>
                    <a:pt x="775" y="447"/>
                    <a:pt x="842" y="380"/>
                    <a:pt x="842" y="297"/>
                  </a:cubicBezTo>
                  <a:cubicBezTo>
                    <a:pt x="842" y="214"/>
                    <a:pt x="775" y="147"/>
                    <a:pt x="692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88" name="Groupe 387">
            <a:extLst>
              <a:ext uri="{FF2B5EF4-FFF2-40B4-BE49-F238E27FC236}">
                <a16:creationId xmlns:a16="http://schemas.microsoft.com/office/drawing/2014/main" xmlns="" id="{C24F4B4D-4A74-445E-8E6E-291A779A0E79}"/>
              </a:ext>
            </a:extLst>
          </p:cNvPr>
          <p:cNvGrpSpPr/>
          <p:nvPr/>
        </p:nvGrpSpPr>
        <p:grpSpPr>
          <a:xfrm>
            <a:off x="4942654" y="3158730"/>
            <a:ext cx="1150746" cy="1488384"/>
            <a:chOff x="1684850" y="1852464"/>
            <a:chExt cx="1588080" cy="2054034"/>
          </a:xfrm>
        </p:grpSpPr>
        <p:sp>
          <p:nvSpPr>
            <p:cNvPr id="389" name="Freeform 23">
              <a:extLst>
                <a:ext uri="{FF2B5EF4-FFF2-40B4-BE49-F238E27FC236}">
                  <a16:creationId xmlns:a16="http://schemas.microsoft.com/office/drawing/2014/main" xmlns="" id="{3D3B91E8-2741-493E-B64F-881AEA112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308" y="2365604"/>
              <a:ext cx="36863" cy="1540894"/>
            </a:xfrm>
            <a:custGeom>
              <a:avLst/>
              <a:gdLst>
                <a:gd name="T0" fmla="*/ 0 w 19"/>
                <a:gd name="T1" fmla="*/ 10 h 808"/>
                <a:gd name="T2" fmla="*/ 0 w 19"/>
                <a:gd name="T3" fmla="*/ 808 h 808"/>
                <a:gd name="T4" fmla="*/ 19 w 19"/>
                <a:gd name="T5" fmla="*/ 808 h 808"/>
                <a:gd name="T6" fmla="*/ 19 w 19"/>
                <a:gd name="T7" fmla="*/ 10 h 808"/>
                <a:gd name="T8" fmla="*/ 9 w 19"/>
                <a:gd name="T9" fmla="*/ 0 h 808"/>
                <a:gd name="T10" fmla="*/ 9 w 19"/>
                <a:gd name="T11" fmla="*/ 0 h 808"/>
                <a:gd name="T12" fmla="*/ 0 w 19"/>
                <a:gd name="T13" fmla="*/ 1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808">
                  <a:moveTo>
                    <a:pt x="0" y="10"/>
                  </a:moveTo>
                  <a:cubicBezTo>
                    <a:pt x="0" y="808"/>
                    <a:pt x="0" y="808"/>
                    <a:pt x="0" y="808"/>
                  </a:cubicBezTo>
                  <a:cubicBezTo>
                    <a:pt x="19" y="808"/>
                    <a:pt x="19" y="808"/>
                    <a:pt x="19" y="80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4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E62D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390" name="Groupe 389">
              <a:extLst>
                <a:ext uri="{FF2B5EF4-FFF2-40B4-BE49-F238E27FC236}">
                  <a16:creationId xmlns:a16="http://schemas.microsoft.com/office/drawing/2014/main" xmlns="" id="{8D061699-9601-4726-892C-FA3DACC75A82}"/>
                </a:ext>
              </a:extLst>
            </p:cNvPr>
            <p:cNvGrpSpPr/>
            <p:nvPr/>
          </p:nvGrpSpPr>
          <p:grpSpPr>
            <a:xfrm>
              <a:off x="1684850" y="1852464"/>
              <a:ext cx="1588080" cy="1829904"/>
              <a:chOff x="1684850" y="1852464"/>
              <a:chExt cx="1588080" cy="1829904"/>
            </a:xfrm>
          </p:grpSpPr>
          <p:sp>
            <p:nvSpPr>
              <p:cNvPr id="391" name="Freeform 15">
                <a:extLst>
                  <a:ext uri="{FF2B5EF4-FFF2-40B4-BE49-F238E27FC236}">
                    <a16:creationId xmlns:a16="http://schemas.microsoft.com/office/drawing/2014/main" xmlns="" id="{335D675D-B74B-417B-8123-41EA0EC2A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4160" y="2856626"/>
                <a:ext cx="35389" cy="825742"/>
              </a:xfrm>
              <a:custGeom>
                <a:avLst/>
                <a:gdLst>
                  <a:gd name="T0" fmla="*/ 0 w 19"/>
                  <a:gd name="T1" fmla="*/ 9 h 433"/>
                  <a:gd name="T2" fmla="*/ 0 w 19"/>
                  <a:gd name="T3" fmla="*/ 433 h 433"/>
                  <a:gd name="T4" fmla="*/ 19 w 19"/>
                  <a:gd name="T5" fmla="*/ 433 h 433"/>
                  <a:gd name="T6" fmla="*/ 19 w 19"/>
                  <a:gd name="T7" fmla="*/ 9 h 433"/>
                  <a:gd name="T8" fmla="*/ 10 w 19"/>
                  <a:gd name="T9" fmla="*/ 0 h 433"/>
                  <a:gd name="T10" fmla="*/ 10 w 19"/>
                  <a:gd name="T11" fmla="*/ 0 h 433"/>
                  <a:gd name="T12" fmla="*/ 0 w 19"/>
                  <a:gd name="T13" fmla="*/ 9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33">
                    <a:moveTo>
                      <a:pt x="0" y="9"/>
                    </a:moveTo>
                    <a:cubicBezTo>
                      <a:pt x="0" y="433"/>
                      <a:pt x="0" y="433"/>
                      <a:pt x="0" y="433"/>
                    </a:cubicBezTo>
                    <a:cubicBezTo>
                      <a:pt x="19" y="433"/>
                      <a:pt x="19" y="433"/>
                      <a:pt x="19" y="433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4"/>
                      <a:pt x="15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9"/>
                    </a:cubicBez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2" name="Freeform 16">
                <a:extLst>
                  <a:ext uri="{FF2B5EF4-FFF2-40B4-BE49-F238E27FC236}">
                    <a16:creationId xmlns:a16="http://schemas.microsoft.com/office/drawing/2014/main" xmlns="" id="{FD2C0CCF-A871-4FBB-8B09-FE82DF02E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093" y="2412789"/>
                <a:ext cx="53083" cy="455633"/>
              </a:xfrm>
              <a:custGeom>
                <a:avLst/>
                <a:gdLst>
                  <a:gd name="T0" fmla="*/ 15 w 28"/>
                  <a:gd name="T1" fmla="*/ 234 h 239"/>
                  <a:gd name="T2" fmla="*/ 2 w 28"/>
                  <a:gd name="T3" fmla="*/ 217 h 239"/>
                  <a:gd name="T4" fmla="*/ 0 w 28"/>
                  <a:gd name="T5" fmla="*/ 212 h 239"/>
                  <a:gd name="T6" fmla="*/ 14 w 28"/>
                  <a:gd name="T7" fmla="*/ 8 h 239"/>
                  <a:gd name="T8" fmla="*/ 27 w 28"/>
                  <a:gd name="T9" fmla="*/ 6 h 239"/>
                  <a:gd name="T10" fmla="*/ 27 w 28"/>
                  <a:gd name="T11" fmla="*/ 6 h 239"/>
                  <a:gd name="T12" fmla="*/ 28 w 28"/>
                  <a:gd name="T13" fmla="*/ 9 h 239"/>
                  <a:gd name="T14" fmla="*/ 27 w 28"/>
                  <a:gd name="T15" fmla="*/ 230 h 239"/>
                  <a:gd name="T16" fmla="*/ 15 w 28"/>
                  <a:gd name="T17" fmla="*/ 234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39">
                    <a:moveTo>
                      <a:pt x="15" y="234"/>
                    </a:moveTo>
                    <a:cubicBezTo>
                      <a:pt x="2" y="217"/>
                      <a:pt x="2" y="217"/>
                      <a:pt x="2" y="217"/>
                    </a:cubicBezTo>
                    <a:cubicBezTo>
                      <a:pt x="1" y="216"/>
                      <a:pt x="0" y="214"/>
                      <a:pt x="0" y="212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2"/>
                      <a:pt x="24" y="0"/>
                      <a:pt x="27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8" y="8"/>
                      <a:pt x="28" y="9"/>
                    </a:cubicBezTo>
                    <a:cubicBezTo>
                      <a:pt x="27" y="230"/>
                      <a:pt x="27" y="230"/>
                      <a:pt x="27" y="230"/>
                    </a:cubicBezTo>
                    <a:cubicBezTo>
                      <a:pt x="27" y="236"/>
                      <a:pt x="19" y="239"/>
                      <a:pt x="15" y="234"/>
                    </a:cubicBez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3" name="Freeform 17">
                <a:extLst>
                  <a:ext uri="{FF2B5EF4-FFF2-40B4-BE49-F238E27FC236}">
                    <a16:creationId xmlns:a16="http://schemas.microsoft.com/office/drawing/2014/main" xmlns="" id="{F8991F0E-4FED-4E5C-BC3A-38C764FE1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729" y="2868422"/>
                <a:ext cx="401075" cy="243299"/>
              </a:xfrm>
              <a:custGeom>
                <a:avLst/>
                <a:gdLst>
                  <a:gd name="T0" fmla="*/ 208 w 210"/>
                  <a:gd name="T1" fmla="*/ 12 h 128"/>
                  <a:gd name="T2" fmla="*/ 200 w 210"/>
                  <a:gd name="T3" fmla="*/ 32 h 128"/>
                  <a:gd name="T4" fmla="*/ 196 w 210"/>
                  <a:gd name="T5" fmla="*/ 35 h 128"/>
                  <a:gd name="T6" fmla="*/ 13 w 210"/>
                  <a:gd name="T7" fmla="*/ 125 h 128"/>
                  <a:gd name="T8" fmla="*/ 4 w 210"/>
                  <a:gd name="T9" fmla="*/ 115 h 128"/>
                  <a:gd name="T10" fmla="*/ 4 w 210"/>
                  <a:gd name="T11" fmla="*/ 115 h 128"/>
                  <a:gd name="T12" fmla="*/ 6 w 210"/>
                  <a:gd name="T13" fmla="*/ 113 h 128"/>
                  <a:gd name="T14" fmla="*/ 198 w 210"/>
                  <a:gd name="T15" fmla="*/ 3 h 128"/>
                  <a:gd name="T16" fmla="*/ 208 w 210"/>
                  <a:gd name="T17" fmla="*/ 12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0" h="128">
                    <a:moveTo>
                      <a:pt x="208" y="12"/>
                    </a:moveTo>
                    <a:cubicBezTo>
                      <a:pt x="200" y="32"/>
                      <a:pt x="200" y="32"/>
                      <a:pt x="200" y="32"/>
                    </a:cubicBezTo>
                    <a:cubicBezTo>
                      <a:pt x="199" y="33"/>
                      <a:pt x="198" y="35"/>
                      <a:pt x="196" y="35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8"/>
                      <a:pt x="0" y="121"/>
                      <a:pt x="4" y="115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4" y="114"/>
                      <a:pt x="5" y="114"/>
                      <a:pt x="6" y="113"/>
                    </a:cubicBezTo>
                    <a:cubicBezTo>
                      <a:pt x="198" y="3"/>
                      <a:pt x="198" y="3"/>
                      <a:pt x="198" y="3"/>
                    </a:cubicBezTo>
                    <a:cubicBezTo>
                      <a:pt x="204" y="0"/>
                      <a:pt x="210" y="6"/>
                      <a:pt x="208" y="12"/>
                    </a:cubicBez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4" name="Freeform 18">
                <a:extLst>
                  <a:ext uri="{FF2B5EF4-FFF2-40B4-BE49-F238E27FC236}">
                    <a16:creationId xmlns:a16="http://schemas.microsoft.com/office/drawing/2014/main" xmlns="" id="{16283086-CE89-4FD8-9452-F551CFCE2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4804" y="2858100"/>
                <a:ext cx="398126" cy="244774"/>
              </a:xfrm>
              <a:custGeom>
                <a:avLst/>
                <a:gdLst>
                  <a:gd name="T0" fmla="*/ 8 w 209"/>
                  <a:gd name="T1" fmla="*/ 3 h 128"/>
                  <a:gd name="T2" fmla="*/ 29 w 209"/>
                  <a:gd name="T3" fmla="*/ 0 h 128"/>
                  <a:gd name="T4" fmla="*/ 34 w 209"/>
                  <a:gd name="T5" fmla="*/ 1 h 128"/>
                  <a:gd name="T6" fmla="*/ 203 w 209"/>
                  <a:gd name="T7" fmla="*/ 116 h 128"/>
                  <a:gd name="T8" fmla="*/ 200 w 209"/>
                  <a:gd name="T9" fmla="*/ 128 h 128"/>
                  <a:gd name="T10" fmla="*/ 200 w 209"/>
                  <a:gd name="T11" fmla="*/ 128 h 128"/>
                  <a:gd name="T12" fmla="*/ 196 w 209"/>
                  <a:gd name="T13" fmla="*/ 127 h 128"/>
                  <a:gd name="T14" fmla="*/ 5 w 209"/>
                  <a:gd name="T15" fmla="*/ 16 h 128"/>
                  <a:gd name="T16" fmla="*/ 8 w 209"/>
                  <a:gd name="T17" fmla="*/ 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9" h="128">
                    <a:moveTo>
                      <a:pt x="8" y="3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31" y="0"/>
                      <a:pt x="33" y="0"/>
                      <a:pt x="34" y="1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9" y="120"/>
                      <a:pt x="206" y="128"/>
                      <a:pt x="200" y="128"/>
                    </a:cubicBezTo>
                    <a:cubicBezTo>
                      <a:pt x="200" y="128"/>
                      <a:pt x="200" y="128"/>
                      <a:pt x="200" y="128"/>
                    </a:cubicBezTo>
                    <a:cubicBezTo>
                      <a:pt x="198" y="128"/>
                      <a:pt x="197" y="128"/>
                      <a:pt x="196" y="127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0" y="13"/>
                      <a:pt x="2" y="4"/>
                      <a:pt x="8" y="3"/>
                    </a:cubicBezTo>
                    <a:close/>
                  </a:path>
                </a:pathLst>
              </a:custGeom>
              <a:solidFill>
                <a:srgbClr val="F07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5" name="Freeform 19">
                <a:extLst>
                  <a:ext uri="{FF2B5EF4-FFF2-40B4-BE49-F238E27FC236}">
                    <a16:creationId xmlns:a16="http://schemas.microsoft.com/office/drawing/2014/main" xmlns="" id="{AAE21A71-ABBD-4277-A2B4-16A93CCD8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4451" y="2855151"/>
                <a:ext cx="17694" cy="756439"/>
              </a:xfrm>
              <a:custGeom>
                <a:avLst/>
                <a:gdLst>
                  <a:gd name="T0" fmla="*/ 0 w 10"/>
                  <a:gd name="T1" fmla="*/ 6 h 397"/>
                  <a:gd name="T2" fmla="*/ 0 w 10"/>
                  <a:gd name="T3" fmla="*/ 397 h 397"/>
                  <a:gd name="T4" fmla="*/ 10 w 10"/>
                  <a:gd name="T5" fmla="*/ 397 h 397"/>
                  <a:gd name="T6" fmla="*/ 10 w 10"/>
                  <a:gd name="T7" fmla="*/ 6 h 397"/>
                  <a:gd name="T8" fmla="*/ 5 w 10"/>
                  <a:gd name="T9" fmla="*/ 0 h 397"/>
                  <a:gd name="T10" fmla="*/ 5 w 10"/>
                  <a:gd name="T11" fmla="*/ 0 h 397"/>
                  <a:gd name="T12" fmla="*/ 0 w 10"/>
                  <a:gd name="T13" fmla="*/ 6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397">
                    <a:moveTo>
                      <a:pt x="0" y="6"/>
                    </a:moveTo>
                    <a:cubicBezTo>
                      <a:pt x="0" y="397"/>
                      <a:pt x="0" y="397"/>
                      <a:pt x="0" y="397"/>
                    </a:cubicBezTo>
                    <a:cubicBezTo>
                      <a:pt x="10" y="397"/>
                      <a:pt x="10" y="397"/>
                      <a:pt x="10" y="39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3"/>
                      <a:pt x="8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lose/>
                  </a:path>
                </a:pathLst>
              </a:custGeom>
              <a:solidFill>
                <a:srgbClr val="910F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6" name="Freeform 20">
                <a:extLst>
                  <a:ext uri="{FF2B5EF4-FFF2-40B4-BE49-F238E27FC236}">
                    <a16:creationId xmlns:a16="http://schemas.microsoft.com/office/drawing/2014/main" xmlns="" id="{7AB5E482-0F27-443B-96CF-2D84517E91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8553" y="2507160"/>
                <a:ext cx="184317" cy="350941"/>
              </a:xfrm>
              <a:custGeom>
                <a:avLst/>
                <a:gdLst>
                  <a:gd name="T0" fmla="*/ 4 w 97"/>
                  <a:gd name="T1" fmla="*/ 178 h 184"/>
                  <a:gd name="T2" fmla="*/ 0 w 97"/>
                  <a:gd name="T3" fmla="*/ 160 h 184"/>
                  <a:gd name="T4" fmla="*/ 1 w 97"/>
                  <a:gd name="T5" fmla="*/ 156 h 184"/>
                  <a:gd name="T6" fmla="*/ 86 w 97"/>
                  <a:gd name="T7" fmla="*/ 5 h 184"/>
                  <a:gd name="T8" fmla="*/ 97 w 97"/>
                  <a:gd name="T9" fmla="*/ 7 h 184"/>
                  <a:gd name="T10" fmla="*/ 97 w 97"/>
                  <a:gd name="T11" fmla="*/ 7 h 184"/>
                  <a:gd name="T12" fmla="*/ 96 w 97"/>
                  <a:gd name="T13" fmla="*/ 10 h 184"/>
                  <a:gd name="T14" fmla="*/ 15 w 97"/>
                  <a:gd name="T15" fmla="*/ 180 h 184"/>
                  <a:gd name="T16" fmla="*/ 4 w 97"/>
                  <a:gd name="T1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" h="184">
                    <a:moveTo>
                      <a:pt x="4" y="178"/>
                    </a:move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59"/>
                      <a:pt x="0" y="158"/>
                      <a:pt x="1" y="156"/>
                    </a:cubicBezTo>
                    <a:cubicBezTo>
                      <a:pt x="86" y="5"/>
                      <a:pt x="86" y="5"/>
                      <a:pt x="86" y="5"/>
                    </a:cubicBezTo>
                    <a:cubicBezTo>
                      <a:pt x="89" y="0"/>
                      <a:pt x="96" y="2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8"/>
                      <a:pt x="96" y="9"/>
                      <a:pt x="96" y="10"/>
                    </a:cubicBezTo>
                    <a:cubicBezTo>
                      <a:pt x="15" y="180"/>
                      <a:pt x="15" y="180"/>
                      <a:pt x="15" y="180"/>
                    </a:cubicBezTo>
                    <a:cubicBezTo>
                      <a:pt x="13" y="184"/>
                      <a:pt x="5" y="184"/>
                      <a:pt x="4" y="178"/>
                    </a:cubicBezTo>
                    <a:close/>
                  </a:path>
                </a:pathLst>
              </a:custGeom>
              <a:solidFill>
                <a:srgbClr val="910F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7" name="Freeform 21">
                <a:extLst>
                  <a:ext uri="{FF2B5EF4-FFF2-40B4-BE49-F238E27FC236}">
                    <a16:creationId xmlns:a16="http://schemas.microsoft.com/office/drawing/2014/main" xmlns="" id="{162A6A06-00F0-4E6B-AACC-07EB79979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4019" y="2856626"/>
                <a:ext cx="387804" cy="51609"/>
              </a:xfrm>
              <a:custGeom>
                <a:avLst/>
                <a:gdLst>
                  <a:gd name="T0" fmla="*/ 199 w 203"/>
                  <a:gd name="T1" fmla="*/ 11 h 27"/>
                  <a:gd name="T2" fmla="*/ 186 w 203"/>
                  <a:gd name="T3" fmla="*/ 23 h 27"/>
                  <a:gd name="T4" fmla="*/ 182 w 203"/>
                  <a:gd name="T5" fmla="*/ 25 h 27"/>
                  <a:gd name="T6" fmla="*/ 8 w 203"/>
                  <a:gd name="T7" fmla="*/ 27 h 27"/>
                  <a:gd name="T8" fmla="*/ 5 w 203"/>
                  <a:gd name="T9" fmla="*/ 16 h 27"/>
                  <a:gd name="T10" fmla="*/ 5 w 203"/>
                  <a:gd name="T11" fmla="*/ 16 h 27"/>
                  <a:gd name="T12" fmla="*/ 8 w 203"/>
                  <a:gd name="T13" fmla="*/ 15 h 27"/>
                  <a:gd name="T14" fmla="*/ 195 w 203"/>
                  <a:gd name="T15" fmla="*/ 1 h 27"/>
                  <a:gd name="T16" fmla="*/ 199 w 203"/>
                  <a:gd name="T17" fmla="*/ 1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3" h="27">
                    <a:moveTo>
                      <a:pt x="199" y="11"/>
                    </a:moveTo>
                    <a:cubicBezTo>
                      <a:pt x="186" y="23"/>
                      <a:pt x="186" y="23"/>
                      <a:pt x="186" y="23"/>
                    </a:cubicBezTo>
                    <a:cubicBezTo>
                      <a:pt x="185" y="24"/>
                      <a:pt x="183" y="25"/>
                      <a:pt x="182" y="25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2" y="27"/>
                      <a:pt x="0" y="19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6"/>
                      <a:pt x="7" y="15"/>
                      <a:pt x="8" y="15"/>
                    </a:cubicBezTo>
                    <a:cubicBezTo>
                      <a:pt x="195" y="1"/>
                      <a:pt x="195" y="1"/>
                      <a:pt x="195" y="1"/>
                    </a:cubicBezTo>
                    <a:cubicBezTo>
                      <a:pt x="200" y="0"/>
                      <a:pt x="203" y="7"/>
                      <a:pt x="199" y="11"/>
                    </a:cubicBezTo>
                    <a:close/>
                  </a:path>
                </a:pathLst>
              </a:custGeom>
              <a:solidFill>
                <a:srgbClr val="910F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8" name="Freeform 22">
                <a:extLst>
                  <a:ext uri="{FF2B5EF4-FFF2-40B4-BE49-F238E27FC236}">
                    <a16:creationId xmlns:a16="http://schemas.microsoft.com/office/drawing/2014/main" xmlns="" id="{B5003CCA-F139-42BD-B3DE-77C7634591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874" y="2862524"/>
                <a:ext cx="232977" cy="321450"/>
              </a:xfrm>
              <a:custGeom>
                <a:avLst/>
                <a:gdLst>
                  <a:gd name="T0" fmla="*/ 10 w 122"/>
                  <a:gd name="T1" fmla="*/ 1 h 169"/>
                  <a:gd name="T2" fmla="*/ 27 w 122"/>
                  <a:gd name="T3" fmla="*/ 7 h 169"/>
                  <a:gd name="T4" fmla="*/ 31 w 122"/>
                  <a:gd name="T5" fmla="*/ 9 h 169"/>
                  <a:gd name="T6" fmla="*/ 119 w 122"/>
                  <a:gd name="T7" fmla="*/ 159 h 169"/>
                  <a:gd name="T8" fmla="*/ 112 w 122"/>
                  <a:gd name="T9" fmla="*/ 167 h 169"/>
                  <a:gd name="T10" fmla="*/ 112 w 122"/>
                  <a:gd name="T11" fmla="*/ 167 h 169"/>
                  <a:gd name="T12" fmla="*/ 110 w 122"/>
                  <a:gd name="T13" fmla="*/ 165 h 169"/>
                  <a:gd name="T14" fmla="*/ 3 w 122"/>
                  <a:gd name="T15" fmla="*/ 10 h 169"/>
                  <a:gd name="T16" fmla="*/ 10 w 122"/>
                  <a:gd name="T17" fmla="*/ 1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169">
                    <a:moveTo>
                      <a:pt x="10" y="1"/>
                    </a:moveTo>
                    <a:cubicBezTo>
                      <a:pt x="27" y="7"/>
                      <a:pt x="27" y="7"/>
                      <a:pt x="27" y="7"/>
                    </a:cubicBezTo>
                    <a:cubicBezTo>
                      <a:pt x="29" y="7"/>
                      <a:pt x="30" y="8"/>
                      <a:pt x="31" y="9"/>
                    </a:cubicBezTo>
                    <a:cubicBezTo>
                      <a:pt x="119" y="159"/>
                      <a:pt x="119" y="159"/>
                      <a:pt x="119" y="159"/>
                    </a:cubicBezTo>
                    <a:cubicBezTo>
                      <a:pt x="122" y="164"/>
                      <a:pt x="117" y="169"/>
                      <a:pt x="112" y="167"/>
                    </a:cubicBezTo>
                    <a:cubicBezTo>
                      <a:pt x="112" y="167"/>
                      <a:pt x="112" y="167"/>
                      <a:pt x="112" y="167"/>
                    </a:cubicBezTo>
                    <a:cubicBezTo>
                      <a:pt x="111" y="166"/>
                      <a:pt x="110" y="166"/>
                      <a:pt x="110" y="165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5"/>
                      <a:pt x="5" y="0"/>
                      <a:pt x="10" y="1"/>
                    </a:cubicBezTo>
                    <a:close/>
                  </a:path>
                </a:pathLst>
              </a:custGeom>
              <a:solidFill>
                <a:srgbClr val="910F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9" name="Freeform 24">
                <a:extLst>
                  <a:ext uri="{FF2B5EF4-FFF2-40B4-BE49-F238E27FC236}">
                    <a16:creationId xmlns:a16="http://schemas.microsoft.com/office/drawing/2014/main" xmlns="" id="{4A3BA5F1-A02B-4215-9E15-6BCAB703C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630" y="1852464"/>
                <a:ext cx="539682" cy="530834"/>
              </a:xfrm>
              <a:custGeom>
                <a:avLst/>
                <a:gdLst>
                  <a:gd name="T0" fmla="*/ 2 w 283"/>
                  <a:gd name="T1" fmla="*/ 262 h 278"/>
                  <a:gd name="T2" fmla="*/ 6 w 283"/>
                  <a:gd name="T3" fmla="*/ 227 h 278"/>
                  <a:gd name="T4" fmla="*/ 10 w 283"/>
                  <a:gd name="T5" fmla="*/ 220 h 278"/>
                  <a:gd name="T6" fmla="*/ 262 w 283"/>
                  <a:gd name="T7" fmla="*/ 7 h 278"/>
                  <a:gd name="T8" fmla="*/ 280 w 283"/>
                  <a:gd name="T9" fmla="*/ 19 h 278"/>
                  <a:gd name="T10" fmla="*/ 280 w 283"/>
                  <a:gd name="T11" fmla="*/ 19 h 278"/>
                  <a:gd name="T12" fmla="*/ 277 w 283"/>
                  <a:gd name="T13" fmla="*/ 23 h 278"/>
                  <a:gd name="T14" fmla="*/ 20 w 283"/>
                  <a:gd name="T15" fmla="*/ 271 h 278"/>
                  <a:gd name="T16" fmla="*/ 2 w 283"/>
                  <a:gd name="T17" fmla="*/ 262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3" h="278">
                    <a:moveTo>
                      <a:pt x="2" y="262"/>
                    </a:moveTo>
                    <a:cubicBezTo>
                      <a:pt x="6" y="227"/>
                      <a:pt x="6" y="227"/>
                      <a:pt x="6" y="227"/>
                    </a:cubicBezTo>
                    <a:cubicBezTo>
                      <a:pt x="7" y="224"/>
                      <a:pt x="8" y="222"/>
                      <a:pt x="10" y="220"/>
                    </a:cubicBezTo>
                    <a:cubicBezTo>
                      <a:pt x="262" y="7"/>
                      <a:pt x="262" y="7"/>
                      <a:pt x="262" y="7"/>
                    </a:cubicBezTo>
                    <a:cubicBezTo>
                      <a:pt x="271" y="0"/>
                      <a:pt x="283" y="8"/>
                      <a:pt x="280" y="19"/>
                    </a:cubicBezTo>
                    <a:cubicBezTo>
                      <a:pt x="280" y="19"/>
                      <a:pt x="280" y="19"/>
                      <a:pt x="280" y="19"/>
                    </a:cubicBezTo>
                    <a:cubicBezTo>
                      <a:pt x="279" y="21"/>
                      <a:pt x="278" y="22"/>
                      <a:pt x="277" y="23"/>
                    </a:cubicBezTo>
                    <a:cubicBezTo>
                      <a:pt x="20" y="271"/>
                      <a:pt x="20" y="271"/>
                      <a:pt x="20" y="271"/>
                    </a:cubicBezTo>
                    <a:cubicBezTo>
                      <a:pt x="13" y="278"/>
                      <a:pt x="0" y="272"/>
                      <a:pt x="2" y="262"/>
                    </a:cubicBezTo>
                    <a:close/>
                  </a:path>
                </a:pathLst>
              </a:custGeom>
              <a:solidFill>
                <a:srgbClr val="E62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0" name="Freeform 25">
                <a:extLst>
                  <a:ext uri="{FF2B5EF4-FFF2-40B4-BE49-F238E27FC236}">
                    <a16:creationId xmlns:a16="http://schemas.microsoft.com/office/drawing/2014/main" xmlns="" id="{335263CA-17DC-4346-BE1D-524E6AA9B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850" y="2172439"/>
                <a:ext cx="707779" cy="256570"/>
              </a:xfrm>
              <a:custGeom>
                <a:avLst/>
                <a:gdLst>
                  <a:gd name="T0" fmla="*/ 361 w 371"/>
                  <a:gd name="T1" fmla="*/ 120 h 134"/>
                  <a:gd name="T2" fmla="*/ 329 w 371"/>
                  <a:gd name="T3" fmla="*/ 133 h 134"/>
                  <a:gd name="T4" fmla="*/ 321 w 371"/>
                  <a:gd name="T5" fmla="*/ 133 h 134"/>
                  <a:gd name="T6" fmla="*/ 11 w 371"/>
                  <a:gd name="T7" fmla="*/ 21 h 134"/>
                  <a:gd name="T8" fmla="*/ 12 w 371"/>
                  <a:gd name="T9" fmla="*/ 1 h 134"/>
                  <a:gd name="T10" fmla="*/ 12 w 371"/>
                  <a:gd name="T11" fmla="*/ 1 h 134"/>
                  <a:gd name="T12" fmla="*/ 17 w 371"/>
                  <a:gd name="T13" fmla="*/ 1 h 134"/>
                  <a:gd name="T14" fmla="*/ 360 w 371"/>
                  <a:gd name="T15" fmla="*/ 99 h 134"/>
                  <a:gd name="T16" fmla="*/ 361 w 371"/>
                  <a:gd name="T17" fmla="*/ 12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1" h="134">
                    <a:moveTo>
                      <a:pt x="361" y="120"/>
                    </a:moveTo>
                    <a:cubicBezTo>
                      <a:pt x="329" y="133"/>
                      <a:pt x="329" y="133"/>
                      <a:pt x="329" y="133"/>
                    </a:cubicBezTo>
                    <a:cubicBezTo>
                      <a:pt x="326" y="134"/>
                      <a:pt x="323" y="134"/>
                      <a:pt x="321" y="133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0" y="18"/>
                      <a:pt x="1" y="3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4" y="0"/>
                      <a:pt x="15" y="0"/>
                      <a:pt x="17" y="1"/>
                    </a:cubicBezTo>
                    <a:cubicBezTo>
                      <a:pt x="360" y="99"/>
                      <a:pt x="360" y="99"/>
                      <a:pt x="360" y="99"/>
                    </a:cubicBezTo>
                    <a:cubicBezTo>
                      <a:pt x="370" y="102"/>
                      <a:pt x="371" y="116"/>
                      <a:pt x="361" y="120"/>
                    </a:cubicBezTo>
                    <a:close/>
                  </a:path>
                </a:pathLst>
              </a:custGeom>
              <a:solidFill>
                <a:srgbClr val="E62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1" name="Freeform 26">
                <a:extLst>
                  <a:ext uri="{FF2B5EF4-FFF2-40B4-BE49-F238E27FC236}">
                    <a16:creationId xmlns:a16="http://schemas.microsoft.com/office/drawing/2014/main" xmlns="" id="{3486A49A-4802-4A18-AA72-04845074FE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6731" y="2384773"/>
                <a:ext cx="213808" cy="716626"/>
              </a:xfrm>
              <a:custGeom>
                <a:avLst/>
                <a:gdLst>
                  <a:gd name="T0" fmla="*/ 20 w 112"/>
                  <a:gd name="T1" fmla="*/ 6 h 376"/>
                  <a:gd name="T2" fmla="*/ 48 w 112"/>
                  <a:gd name="T3" fmla="*/ 27 h 376"/>
                  <a:gd name="T4" fmla="*/ 52 w 112"/>
                  <a:gd name="T5" fmla="*/ 34 h 376"/>
                  <a:gd name="T6" fmla="*/ 110 w 112"/>
                  <a:gd name="T7" fmla="*/ 359 h 376"/>
                  <a:gd name="T8" fmla="*/ 91 w 112"/>
                  <a:gd name="T9" fmla="*/ 368 h 376"/>
                  <a:gd name="T10" fmla="*/ 91 w 112"/>
                  <a:gd name="T11" fmla="*/ 368 h 376"/>
                  <a:gd name="T12" fmla="*/ 88 w 112"/>
                  <a:gd name="T13" fmla="*/ 363 h 376"/>
                  <a:gd name="T14" fmla="*/ 3 w 112"/>
                  <a:gd name="T15" fmla="*/ 17 h 376"/>
                  <a:gd name="T16" fmla="*/ 20 w 112"/>
                  <a:gd name="T17" fmla="*/ 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376">
                    <a:moveTo>
                      <a:pt x="20" y="6"/>
                    </a:moveTo>
                    <a:cubicBezTo>
                      <a:pt x="48" y="27"/>
                      <a:pt x="48" y="27"/>
                      <a:pt x="48" y="27"/>
                    </a:cubicBezTo>
                    <a:cubicBezTo>
                      <a:pt x="50" y="29"/>
                      <a:pt x="51" y="31"/>
                      <a:pt x="52" y="34"/>
                    </a:cubicBezTo>
                    <a:cubicBezTo>
                      <a:pt x="110" y="359"/>
                      <a:pt x="110" y="359"/>
                      <a:pt x="110" y="359"/>
                    </a:cubicBezTo>
                    <a:cubicBezTo>
                      <a:pt x="112" y="369"/>
                      <a:pt x="98" y="376"/>
                      <a:pt x="91" y="368"/>
                    </a:cubicBezTo>
                    <a:cubicBezTo>
                      <a:pt x="91" y="368"/>
                      <a:pt x="91" y="368"/>
                      <a:pt x="91" y="368"/>
                    </a:cubicBezTo>
                    <a:cubicBezTo>
                      <a:pt x="90" y="366"/>
                      <a:pt x="89" y="365"/>
                      <a:pt x="88" y="363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0" y="7"/>
                      <a:pt x="12" y="0"/>
                      <a:pt x="20" y="6"/>
                    </a:cubicBezTo>
                    <a:close/>
                  </a:path>
                </a:pathLst>
              </a:custGeom>
              <a:solidFill>
                <a:srgbClr val="E62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50" name="Groupe 49">
            <a:extLst>
              <a:ext uri="{FF2B5EF4-FFF2-40B4-BE49-F238E27FC236}">
                <a16:creationId xmlns:a16="http://schemas.microsoft.com/office/drawing/2014/main" xmlns="" id="{F5492A3A-06BB-49E1-AC4B-87AEEEF6FD5B}"/>
              </a:ext>
            </a:extLst>
          </p:cNvPr>
          <p:cNvGrpSpPr/>
          <p:nvPr/>
        </p:nvGrpSpPr>
        <p:grpSpPr>
          <a:xfrm>
            <a:off x="6516499" y="3795899"/>
            <a:ext cx="1464598" cy="778307"/>
            <a:chOff x="2973598" y="3598319"/>
            <a:chExt cx="1126548" cy="598663"/>
          </a:xfrm>
        </p:grpSpPr>
        <p:sp>
          <p:nvSpPr>
            <p:cNvPr id="405" name="Freeform 296">
              <a:extLst>
                <a:ext uri="{FF2B5EF4-FFF2-40B4-BE49-F238E27FC236}">
                  <a16:creationId xmlns:a16="http://schemas.microsoft.com/office/drawing/2014/main" xmlns="" id="{4C5B55A8-1FBA-44D1-B4FA-F67BA0FD0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7222" y="3716282"/>
              <a:ext cx="322924" cy="317026"/>
            </a:xfrm>
            <a:custGeom>
              <a:avLst/>
              <a:gdLst>
                <a:gd name="T0" fmla="*/ 0 w 169"/>
                <a:gd name="T1" fmla="*/ 152 h 166"/>
                <a:gd name="T2" fmla="*/ 0 w 169"/>
                <a:gd name="T3" fmla="*/ 12 h 166"/>
                <a:gd name="T4" fmla="*/ 11 w 169"/>
                <a:gd name="T5" fmla="*/ 0 h 166"/>
                <a:gd name="T6" fmla="*/ 137 w 169"/>
                <a:gd name="T7" fmla="*/ 1 h 166"/>
                <a:gd name="T8" fmla="*/ 148 w 169"/>
                <a:gd name="T9" fmla="*/ 8 h 166"/>
                <a:gd name="T10" fmla="*/ 169 w 169"/>
                <a:gd name="T11" fmla="*/ 86 h 166"/>
                <a:gd name="T12" fmla="*/ 169 w 169"/>
                <a:gd name="T13" fmla="*/ 90 h 166"/>
                <a:gd name="T14" fmla="*/ 169 w 169"/>
                <a:gd name="T15" fmla="*/ 152 h 166"/>
                <a:gd name="T16" fmla="*/ 155 w 169"/>
                <a:gd name="T17" fmla="*/ 163 h 166"/>
                <a:gd name="T18" fmla="*/ 87 w 169"/>
                <a:gd name="T19" fmla="*/ 165 h 166"/>
                <a:gd name="T20" fmla="*/ 39 w 169"/>
                <a:gd name="T21" fmla="*/ 159 h 166"/>
                <a:gd name="T22" fmla="*/ 35 w 169"/>
                <a:gd name="T23" fmla="*/ 159 h 166"/>
                <a:gd name="T24" fmla="*/ 13 w 169"/>
                <a:gd name="T25" fmla="*/ 163 h 166"/>
                <a:gd name="T26" fmla="*/ 0 w 169"/>
                <a:gd name="T27" fmla="*/ 15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166">
                  <a:moveTo>
                    <a:pt x="0" y="15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1" y="0"/>
                  </a:cubicBezTo>
                  <a:cubicBezTo>
                    <a:pt x="137" y="1"/>
                    <a:pt x="137" y="1"/>
                    <a:pt x="137" y="1"/>
                  </a:cubicBezTo>
                  <a:cubicBezTo>
                    <a:pt x="142" y="1"/>
                    <a:pt x="146" y="4"/>
                    <a:pt x="148" y="8"/>
                  </a:cubicBezTo>
                  <a:cubicBezTo>
                    <a:pt x="169" y="86"/>
                    <a:pt x="169" y="86"/>
                    <a:pt x="169" y="86"/>
                  </a:cubicBezTo>
                  <a:cubicBezTo>
                    <a:pt x="169" y="87"/>
                    <a:pt x="169" y="88"/>
                    <a:pt x="169" y="90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69" y="159"/>
                    <a:pt x="162" y="164"/>
                    <a:pt x="155" y="163"/>
                  </a:cubicBezTo>
                  <a:cubicBezTo>
                    <a:pt x="155" y="163"/>
                    <a:pt x="89" y="166"/>
                    <a:pt x="87" y="165"/>
                  </a:cubicBezTo>
                  <a:cubicBezTo>
                    <a:pt x="39" y="159"/>
                    <a:pt x="39" y="159"/>
                    <a:pt x="39" y="159"/>
                  </a:cubicBezTo>
                  <a:cubicBezTo>
                    <a:pt x="38" y="158"/>
                    <a:pt x="37" y="158"/>
                    <a:pt x="35" y="159"/>
                  </a:cubicBezTo>
                  <a:cubicBezTo>
                    <a:pt x="13" y="163"/>
                    <a:pt x="13" y="163"/>
                    <a:pt x="13" y="163"/>
                  </a:cubicBezTo>
                  <a:cubicBezTo>
                    <a:pt x="6" y="165"/>
                    <a:pt x="0" y="159"/>
                    <a:pt x="0" y="152"/>
                  </a:cubicBezTo>
                  <a:close/>
                </a:path>
              </a:pathLst>
            </a:custGeom>
            <a:solidFill>
              <a:srgbClr val="007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6" name="Freeform 297">
              <a:extLst>
                <a:ext uri="{FF2B5EF4-FFF2-40B4-BE49-F238E27FC236}">
                  <a16:creationId xmlns:a16="http://schemas.microsoft.com/office/drawing/2014/main" xmlns="" id="{7FA68BB1-C17E-4F90-9EC2-157E0895C3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748" y="4034783"/>
              <a:ext cx="163674" cy="162199"/>
            </a:xfrm>
            <a:custGeom>
              <a:avLst/>
              <a:gdLst>
                <a:gd name="T0" fmla="*/ 43 w 86"/>
                <a:gd name="T1" fmla="*/ 85 h 85"/>
                <a:gd name="T2" fmla="*/ 0 w 86"/>
                <a:gd name="T3" fmla="*/ 42 h 85"/>
                <a:gd name="T4" fmla="*/ 44 w 86"/>
                <a:gd name="T5" fmla="*/ 0 h 85"/>
                <a:gd name="T6" fmla="*/ 86 w 86"/>
                <a:gd name="T7" fmla="*/ 43 h 85"/>
                <a:gd name="T8" fmla="*/ 43 w 86"/>
                <a:gd name="T9" fmla="*/ 85 h 85"/>
                <a:gd name="T10" fmla="*/ 59 w 86"/>
                <a:gd name="T11" fmla="*/ 43 h 85"/>
                <a:gd name="T12" fmla="*/ 43 w 86"/>
                <a:gd name="T13" fmla="*/ 27 h 85"/>
                <a:gd name="T14" fmla="*/ 28 w 86"/>
                <a:gd name="T15" fmla="*/ 42 h 85"/>
                <a:gd name="T16" fmla="*/ 43 w 86"/>
                <a:gd name="T17" fmla="*/ 58 h 85"/>
                <a:gd name="T18" fmla="*/ 59 w 86"/>
                <a:gd name="T19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5">
                  <a:moveTo>
                    <a:pt x="43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1" y="19"/>
                    <a:pt x="20" y="0"/>
                    <a:pt x="44" y="0"/>
                  </a:cubicBezTo>
                  <a:cubicBezTo>
                    <a:pt x="67" y="1"/>
                    <a:pt x="86" y="20"/>
                    <a:pt x="86" y="43"/>
                  </a:cubicBezTo>
                  <a:cubicBezTo>
                    <a:pt x="86" y="67"/>
                    <a:pt x="66" y="85"/>
                    <a:pt x="43" y="85"/>
                  </a:cubicBezTo>
                  <a:close/>
                  <a:moveTo>
                    <a:pt x="59" y="43"/>
                  </a:moveTo>
                  <a:cubicBezTo>
                    <a:pt x="59" y="34"/>
                    <a:pt x="52" y="27"/>
                    <a:pt x="43" y="27"/>
                  </a:cubicBezTo>
                  <a:cubicBezTo>
                    <a:pt x="35" y="27"/>
                    <a:pt x="28" y="34"/>
                    <a:pt x="28" y="42"/>
                  </a:cubicBezTo>
                  <a:cubicBezTo>
                    <a:pt x="28" y="52"/>
                    <a:pt x="34" y="58"/>
                    <a:pt x="43" y="58"/>
                  </a:cubicBezTo>
                  <a:cubicBezTo>
                    <a:pt x="52" y="59"/>
                    <a:pt x="58" y="52"/>
                    <a:pt x="59" y="43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7" name="Freeform 298">
              <a:extLst>
                <a:ext uri="{FF2B5EF4-FFF2-40B4-BE49-F238E27FC236}">
                  <a16:creationId xmlns:a16="http://schemas.microsoft.com/office/drawing/2014/main" xmlns="" id="{8F4A1973-D17F-467B-A58E-2EDD66F61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306" y="4090815"/>
              <a:ext cx="56033" cy="53083"/>
            </a:xfrm>
            <a:custGeom>
              <a:avLst/>
              <a:gdLst>
                <a:gd name="T0" fmla="*/ 14 w 29"/>
                <a:gd name="T1" fmla="*/ 0 h 28"/>
                <a:gd name="T2" fmla="*/ 28 w 29"/>
                <a:gd name="T3" fmla="*/ 14 h 28"/>
                <a:gd name="T4" fmla="*/ 14 w 29"/>
                <a:gd name="T5" fmla="*/ 28 h 28"/>
                <a:gd name="T6" fmla="*/ 0 w 29"/>
                <a:gd name="T7" fmla="*/ 14 h 28"/>
                <a:gd name="T8" fmla="*/ 14 w 29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14" y="0"/>
                  </a:moveTo>
                  <a:cubicBezTo>
                    <a:pt x="22" y="0"/>
                    <a:pt x="29" y="6"/>
                    <a:pt x="28" y="14"/>
                  </a:cubicBezTo>
                  <a:cubicBezTo>
                    <a:pt x="28" y="22"/>
                    <a:pt x="21" y="28"/>
                    <a:pt x="14" y="28"/>
                  </a:cubicBezTo>
                  <a:cubicBezTo>
                    <a:pt x="6" y="28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8" name="Freeform 299">
              <a:extLst>
                <a:ext uri="{FF2B5EF4-FFF2-40B4-BE49-F238E27FC236}">
                  <a16:creationId xmlns:a16="http://schemas.microsoft.com/office/drawing/2014/main" xmlns="" id="{7B3A0C2D-57B7-4424-BC4D-EF7F484EBD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2339" y="4033308"/>
              <a:ext cx="163674" cy="162199"/>
            </a:xfrm>
            <a:custGeom>
              <a:avLst/>
              <a:gdLst>
                <a:gd name="T0" fmla="*/ 42 w 86"/>
                <a:gd name="T1" fmla="*/ 85 h 85"/>
                <a:gd name="T2" fmla="*/ 0 w 86"/>
                <a:gd name="T3" fmla="*/ 42 h 85"/>
                <a:gd name="T4" fmla="*/ 43 w 86"/>
                <a:gd name="T5" fmla="*/ 0 h 85"/>
                <a:gd name="T6" fmla="*/ 86 w 86"/>
                <a:gd name="T7" fmla="*/ 43 h 85"/>
                <a:gd name="T8" fmla="*/ 42 w 86"/>
                <a:gd name="T9" fmla="*/ 85 h 85"/>
                <a:gd name="T10" fmla="*/ 58 w 86"/>
                <a:gd name="T11" fmla="*/ 43 h 85"/>
                <a:gd name="T12" fmla="*/ 43 w 86"/>
                <a:gd name="T13" fmla="*/ 27 h 85"/>
                <a:gd name="T14" fmla="*/ 27 w 86"/>
                <a:gd name="T15" fmla="*/ 42 h 85"/>
                <a:gd name="T16" fmla="*/ 42 w 86"/>
                <a:gd name="T17" fmla="*/ 58 h 85"/>
                <a:gd name="T18" fmla="*/ 58 w 86"/>
                <a:gd name="T19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5">
                  <a:moveTo>
                    <a:pt x="42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20" y="0"/>
                    <a:pt x="43" y="0"/>
                  </a:cubicBezTo>
                  <a:cubicBezTo>
                    <a:pt x="67" y="1"/>
                    <a:pt x="86" y="20"/>
                    <a:pt x="86" y="43"/>
                  </a:cubicBezTo>
                  <a:cubicBezTo>
                    <a:pt x="85" y="67"/>
                    <a:pt x="66" y="85"/>
                    <a:pt x="42" y="85"/>
                  </a:cubicBezTo>
                  <a:close/>
                  <a:moveTo>
                    <a:pt x="58" y="43"/>
                  </a:moveTo>
                  <a:cubicBezTo>
                    <a:pt x="58" y="34"/>
                    <a:pt x="52" y="27"/>
                    <a:pt x="43" y="27"/>
                  </a:cubicBezTo>
                  <a:cubicBezTo>
                    <a:pt x="34" y="27"/>
                    <a:pt x="28" y="33"/>
                    <a:pt x="27" y="42"/>
                  </a:cubicBezTo>
                  <a:cubicBezTo>
                    <a:pt x="27" y="52"/>
                    <a:pt x="33" y="58"/>
                    <a:pt x="42" y="58"/>
                  </a:cubicBezTo>
                  <a:cubicBezTo>
                    <a:pt x="52" y="59"/>
                    <a:pt x="58" y="52"/>
                    <a:pt x="58" y="43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9" name="Freeform 300">
              <a:extLst>
                <a:ext uri="{FF2B5EF4-FFF2-40B4-BE49-F238E27FC236}">
                  <a16:creationId xmlns:a16="http://schemas.microsoft.com/office/drawing/2014/main" xmlns="" id="{8D1D1252-5461-4AA3-87B3-D37416580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8022" y="3598319"/>
              <a:ext cx="778557" cy="430566"/>
            </a:xfrm>
            <a:custGeom>
              <a:avLst/>
              <a:gdLst>
                <a:gd name="T0" fmla="*/ 0 w 528"/>
                <a:gd name="T1" fmla="*/ 0 h 292"/>
                <a:gd name="T2" fmla="*/ 528 w 528"/>
                <a:gd name="T3" fmla="*/ 0 h 292"/>
                <a:gd name="T4" fmla="*/ 528 w 528"/>
                <a:gd name="T5" fmla="*/ 292 h 292"/>
                <a:gd name="T6" fmla="*/ 0 w 528"/>
                <a:gd name="T7" fmla="*/ 287 h 292"/>
                <a:gd name="T8" fmla="*/ 0 w 528"/>
                <a:gd name="T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8" h="292">
                  <a:moveTo>
                    <a:pt x="0" y="0"/>
                  </a:moveTo>
                  <a:lnTo>
                    <a:pt x="528" y="0"/>
                  </a:lnTo>
                  <a:lnTo>
                    <a:pt x="528" y="292"/>
                  </a:lnTo>
                  <a:lnTo>
                    <a:pt x="0" y="2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0" name="Freeform 301">
              <a:extLst>
                <a:ext uri="{FF2B5EF4-FFF2-40B4-BE49-F238E27FC236}">
                  <a16:creationId xmlns:a16="http://schemas.microsoft.com/office/drawing/2014/main" xmlns="" id="{17F8B331-585A-47F0-814E-83414C354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5423" y="4087866"/>
              <a:ext cx="54558" cy="53083"/>
            </a:xfrm>
            <a:custGeom>
              <a:avLst/>
              <a:gdLst>
                <a:gd name="T0" fmla="*/ 15 w 29"/>
                <a:gd name="T1" fmla="*/ 0 h 28"/>
                <a:gd name="T2" fmla="*/ 29 w 29"/>
                <a:gd name="T3" fmla="*/ 14 h 28"/>
                <a:gd name="T4" fmla="*/ 14 w 29"/>
                <a:gd name="T5" fmla="*/ 28 h 28"/>
                <a:gd name="T6" fmla="*/ 0 w 29"/>
                <a:gd name="T7" fmla="*/ 14 h 28"/>
                <a:gd name="T8" fmla="*/ 15 w 29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15" y="0"/>
                  </a:moveTo>
                  <a:cubicBezTo>
                    <a:pt x="23" y="0"/>
                    <a:pt x="29" y="6"/>
                    <a:pt x="29" y="14"/>
                  </a:cubicBezTo>
                  <a:cubicBezTo>
                    <a:pt x="29" y="22"/>
                    <a:pt x="22" y="28"/>
                    <a:pt x="14" y="28"/>
                  </a:cubicBezTo>
                  <a:cubicBezTo>
                    <a:pt x="7" y="28"/>
                    <a:pt x="0" y="21"/>
                    <a:pt x="0" y="14"/>
                  </a:cubicBezTo>
                  <a:cubicBezTo>
                    <a:pt x="1" y="6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1" name="Freeform 302">
              <a:extLst>
                <a:ext uri="{FF2B5EF4-FFF2-40B4-BE49-F238E27FC236}">
                  <a16:creationId xmlns:a16="http://schemas.microsoft.com/office/drawing/2014/main" xmlns="" id="{0FFC1A98-A609-4237-9285-D314167D5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2452" y="4008241"/>
              <a:ext cx="2949" cy="1475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1" y="0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B14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2" name="Freeform 303">
              <a:extLst>
                <a:ext uri="{FF2B5EF4-FFF2-40B4-BE49-F238E27FC236}">
                  <a16:creationId xmlns:a16="http://schemas.microsoft.com/office/drawing/2014/main" xmlns="" id="{0CF203B3-06AF-4E14-94B7-82B37B64E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135" y="3729553"/>
              <a:ext cx="179894" cy="135658"/>
            </a:xfrm>
            <a:custGeom>
              <a:avLst/>
              <a:gdLst>
                <a:gd name="T0" fmla="*/ 5 w 95"/>
                <a:gd name="T1" fmla="*/ 11 h 71"/>
                <a:gd name="T2" fmla="*/ 16 w 95"/>
                <a:gd name="T3" fmla="*/ 1 h 71"/>
                <a:gd name="T4" fmla="*/ 68 w 95"/>
                <a:gd name="T5" fmla="*/ 1 h 71"/>
                <a:gd name="T6" fmla="*/ 80 w 95"/>
                <a:gd name="T7" fmla="*/ 11 h 71"/>
                <a:gd name="T8" fmla="*/ 93 w 95"/>
                <a:gd name="T9" fmla="*/ 62 h 71"/>
                <a:gd name="T10" fmla="*/ 85 w 95"/>
                <a:gd name="T11" fmla="*/ 71 h 71"/>
                <a:gd name="T12" fmla="*/ 47 w 95"/>
                <a:gd name="T13" fmla="*/ 71 h 71"/>
                <a:gd name="T14" fmla="*/ 7 w 95"/>
                <a:gd name="T15" fmla="*/ 70 h 71"/>
                <a:gd name="T16" fmla="*/ 0 w 95"/>
                <a:gd name="T17" fmla="*/ 62 h 71"/>
                <a:gd name="T18" fmla="*/ 5 w 95"/>
                <a:gd name="T19" fmla="*/ 1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71">
                  <a:moveTo>
                    <a:pt x="5" y="11"/>
                  </a:moveTo>
                  <a:cubicBezTo>
                    <a:pt x="6" y="4"/>
                    <a:pt x="8" y="0"/>
                    <a:pt x="16" y="1"/>
                  </a:cubicBezTo>
                  <a:cubicBezTo>
                    <a:pt x="34" y="1"/>
                    <a:pt x="51" y="2"/>
                    <a:pt x="68" y="1"/>
                  </a:cubicBezTo>
                  <a:cubicBezTo>
                    <a:pt x="76" y="1"/>
                    <a:pt x="78" y="4"/>
                    <a:pt x="80" y="11"/>
                  </a:cubicBezTo>
                  <a:cubicBezTo>
                    <a:pt x="84" y="28"/>
                    <a:pt x="88" y="45"/>
                    <a:pt x="93" y="62"/>
                  </a:cubicBezTo>
                  <a:cubicBezTo>
                    <a:pt x="95" y="69"/>
                    <a:pt x="92" y="71"/>
                    <a:pt x="85" y="71"/>
                  </a:cubicBezTo>
                  <a:cubicBezTo>
                    <a:pt x="73" y="71"/>
                    <a:pt x="60" y="71"/>
                    <a:pt x="47" y="71"/>
                  </a:cubicBezTo>
                  <a:cubicBezTo>
                    <a:pt x="34" y="71"/>
                    <a:pt x="21" y="70"/>
                    <a:pt x="7" y="70"/>
                  </a:cubicBezTo>
                  <a:cubicBezTo>
                    <a:pt x="2" y="70"/>
                    <a:pt x="0" y="68"/>
                    <a:pt x="0" y="62"/>
                  </a:cubicBezTo>
                  <a:cubicBezTo>
                    <a:pt x="2" y="45"/>
                    <a:pt x="4" y="28"/>
                    <a:pt x="5" y="11"/>
                  </a:cubicBezTo>
                  <a:close/>
                </a:path>
              </a:pathLst>
            </a:cu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3" name="Freeform 304">
              <a:extLst>
                <a:ext uri="{FF2B5EF4-FFF2-40B4-BE49-F238E27FC236}">
                  <a16:creationId xmlns:a16="http://schemas.microsoft.com/office/drawing/2014/main" xmlns="" id="{0315FD8F-285F-49FE-AB0A-12D23A747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3598" y="3993496"/>
              <a:ext cx="1126548" cy="78151"/>
            </a:xfrm>
            <a:custGeom>
              <a:avLst/>
              <a:gdLst>
                <a:gd name="T0" fmla="*/ 1 w 591"/>
                <a:gd name="T1" fmla="*/ 13 h 41"/>
                <a:gd name="T2" fmla="*/ 0 w 591"/>
                <a:gd name="T3" fmla="*/ 14 h 41"/>
                <a:gd name="T4" fmla="*/ 9 w 591"/>
                <a:gd name="T5" fmla="*/ 23 h 41"/>
                <a:gd name="T6" fmla="*/ 90 w 591"/>
                <a:gd name="T7" fmla="*/ 23 h 41"/>
                <a:gd name="T8" fmla="*/ 96 w 591"/>
                <a:gd name="T9" fmla="*/ 26 h 41"/>
                <a:gd name="T10" fmla="*/ 101 w 591"/>
                <a:gd name="T11" fmla="*/ 39 h 41"/>
                <a:gd name="T12" fmla="*/ 141 w 591"/>
                <a:gd name="T13" fmla="*/ 18 h 41"/>
                <a:gd name="T14" fmla="*/ 179 w 591"/>
                <a:gd name="T15" fmla="*/ 36 h 41"/>
                <a:gd name="T16" fmla="*/ 183 w 591"/>
                <a:gd name="T17" fmla="*/ 36 h 41"/>
                <a:gd name="T18" fmla="*/ 186 w 591"/>
                <a:gd name="T19" fmla="*/ 35 h 41"/>
                <a:gd name="T20" fmla="*/ 197 w 591"/>
                <a:gd name="T21" fmla="*/ 27 h 41"/>
                <a:gd name="T22" fmla="*/ 419 w 591"/>
                <a:gd name="T23" fmla="*/ 28 h 41"/>
                <a:gd name="T24" fmla="*/ 419 w 591"/>
                <a:gd name="T25" fmla="*/ 34 h 41"/>
                <a:gd name="T26" fmla="*/ 425 w 591"/>
                <a:gd name="T27" fmla="*/ 39 h 41"/>
                <a:gd name="T28" fmla="*/ 464 w 591"/>
                <a:gd name="T29" fmla="*/ 17 h 41"/>
                <a:gd name="T30" fmla="*/ 502 w 591"/>
                <a:gd name="T31" fmla="*/ 35 h 41"/>
                <a:gd name="T32" fmla="*/ 506 w 591"/>
                <a:gd name="T33" fmla="*/ 35 h 41"/>
                <a:gd name="T34" fmla="*/ 509 w 591"/>
                <a:gd name="T35" fmla="*/ 33 h 41"/>
                <a:gd name="T36" fmla="*/ 520 w 591"/>
                <a:gd name="T37" fmla="*/ 25 h 41"/>
                <a:gd name="T38" fmla="*/ 585 w 591"/>
                <a:gd name="T39" fmla="*/ 22 h 41"/>
                <a:gd name="T40" fmla="*/ 576 w 591"/>
                <a:gd name="T41" fmla="*/ 13 h 41"/>
                <a:gd name="T42" fmla="*/ 508 w 591"/>
                <a:gd name="T43" fmla="*/ 14 h 41"/>
                <a:gd name="T44" fmla="*/ 501 w 591"/>
                <a:gd name="T45" fmla="*/ 12 h 41"/>
                <a:gd name="T46" fmla="*/ 457 w 591"/>
                <a:gd name="T47" fmla="*/ 2 h 41"/>
                <a:gd name="T48" fmla="*/ 435 w 591"/>
                <a:gd name="T49" fmla="*/ 8 h 41"/>
                <a:gd name="T50" fmla="*/ 433 w 591"/>
                <a:gd name="T51" fmla="*/ 8 h 41"/>
                <a:gd name="T52" fmla="*/ 420 w 591"/>
                <a:gd name="T53" fmla="*/ 15 h 41"/>
                <a:gd name="T54" fmla="*/ 185 w 591"/>
                <a:gd name="T55" fmla="*/ 15 h 41"/>
                <a:gd name="T56" fmla="*/ 178 w 591"/>
                <a:gd name="T57" fmla="*/ 14 h 41"/>
                <a:gd name="T58" fmla="*/ 134 w 591"/>
                <a:gd name="T59" fmla="*/ 3 h 41"/>
                <a:gd name="T60" fmla="*/ 113 w 591"/>
                <a:gd name="T61" fmla="*/ 8 h 41"/>
                <a:gd name="T62" fmla="*/ 102 w 591"/>
                <a:gd name="T63" fmla="*/ 13 h 41"/>
                <a:gd name="T64" fmla="*/ 1 w 591"/>
                <a:gd name="T65" fmla="*/ 1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1" h="41">
                  <a:moveTo>
                    <a:pt x="1" y="13"/>
                  </a:moveTo>
                  <a:cubicBezTo>
                    <a:pt x="0" y="13"/>
                    <a:pt x="0" y="13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7" y="24"/>
                    <a:pt x="96" y="26"/>
                  </a:cubicBezTo>
                  <a:cubicBezTo>
                    <a:pt x="92" y="31"/>
                    <a:pt x="96" y="41"/>
                    <a:pt x="101" y="39"/>
                  </a:cubicBezTo>
                  <a:cubicBezTo>
                    <a:pt x="110" y="26"/>
                    <a:pt x="125" y="18"/>
                    <a:pt x="141" y="18"/>
                  </a:cubicBezTo>
                  <a:cubicBezTo>
                    <a:pt x="157" y="18"/>
                    <a:pt x="170" y="25"/>
                    <a:pt x="179" y="36"/>
                  </a:cubicBezTo>
                  <a:cubicBezTo>
                    <a:pt x="180" y="36"/>
                    <a:pt x="181" y="36"/>
                    <a:pt x="183" y="36"/>
                  </a:cubicBezTo>
                  <a:cubicBezTo>
                    <a:pt x="184" y="36"/>
                    <a:pt x="186" y="36"/>
                    <a:pt x="186" y="35"/>
                  </a:cubicBezTo>
                  <a:cubicBezTo>
                    <a:pt x="186" y="27"/>
                    <a:pt x="193" y="27"/>
                    <a:pt x="197" y="27"/>
                  </a:cubicBezTo>
                  <a:cubicBezTo>
                    <a:pt x="213" y="25"/>
                    <a:pt x="404" y="28"/>
                    <a:pt x="419" y="28"/>
                  </a:cubicBezTo>
                  <a:cubicBezTo>
                    <a:pt x="419" y="30"/>
                    <a:pt x="419" y="32"/>
                    <a:pt x="419" y="34"/>
                  </a:cubicBezTo>
                  <a:cubicBezTo>
                    <a:pt x="419" y="41"/>
                    <a:pt x="419" y="41"/>
                    <a:pt x="425" y="39"/>
                  </a:cubicBezTo>
                  <a:cubicBezTo>
                    <a:pt x="433" y="26"/>
                    <a:pt x="447" y="17"/>
                    <a:pt x="464" y="17"/>
                  </a:cubicBezTo>
                  <a:cubicBezTo>
                    <a:pt x="480" y="17"/>
                    <a:pt x="493" y="24"/>
                    <a:pt x="502" y="35"/>
                  </a:cubicBezTo>
                  <a:cubicBezTo>
                    <a:pt x="503" y="35"/>
                    <a:pt x="504" y="35"/>
                    <a:pt x="506" y="35"/>
                  </a:cubicBezTo>
                  <a:cubicBezTo>
                    <a:pt x="507" y="35"/>
                    <a:pt x="509" y="35"/>
                    <a:pt x="509" y="33"/>
                  </a:cubicBezTo>
                  <a:cubicBezTo>
                    <a:pt x="509" y="27"/>
                    <a:pt x="515" y="25"/>
                    <a:pt x="520" y="25"/>
                  </a:cubicBezTo>
                  <a:cubicBezTo>
                    <a:pt x="591" y="22"/>
                    <a:pt x="583" y="23"/>
                    <a:pt x="585" y="22"/>
                  </a:cubicBezTo>
                  <a:cubicBezTo>
                    <a:pt x="586" y="22"/>
                    <a:pt x="589" y="13"/>
                    <a:pt x="576" y="13"/>
                  </a:cubicBezTo>
                  <a:cubicBezTo>
                    <a:pt x="508" y="14"/>
                    <a:pt x="508" y="14"/>
                    <a:pt x="508" y="14"/>
                  </a:cubicBezTo>
                  <a:cubicBezTo>
                    <a:pt x="505" y="14"/>
                    <a:pt x="503" y="13"/>
                    <a:pt x="501" y="12"/>
                  </a:cubicBezTo>
                  <a:cubicBezTo>
                    <a:pt x="495" y="8"/>
                    <a:pt x="479" y="0"/>
                    <a:pt x="457" y="2"/>
                  </a:cubicBezTo>
                  <a:cubicBezTo>
                    <a:pt x="450" y="3"/>
                    <a:pt x="443" y="5"/>
                    <a:pt x="435" y="8"/>
                  </a:cubicBezTo>
                  <a:cubicBezTo>
                    <a:pt x="435" y="8"/>
                    <a:pt x="434" y="8"/>
                    <a:pt x="433" y="8"/>
                  </a:cubicBezTo>
                  <a:cubicBezTo>
                    <a:pt x="425" y="11"/>
                    <a:pt x="421" y="12"/>
                    <a:pt x="420" y="15"/>
                  </a:cubicBezTo>
                  <a:cubicBezTo>
                    <a:pt x="185" y="15"/>
                    <a:pt x="185" y="15"/>
                    <a:pt x="185" y="15"/>
                  </a:cubicBezTo>
                  <a:cubicBezTo>
                    <a:pt x="183" y="15"/>
                    <a:pt x="180" y="15"/>
                    <a:pt x="178" y="14"/>
                  </a:cubicBezTo>
                  <a:cubicBezTo>
                    <a:pt x="172" y="10"/>
                    <a:pt x="156" y="1"/>
                    <a:pt x="134" y="3"/>
                  </a:cubicBezTo>
                  <a:cubicBezTo>
                    <a:pt x="127" y="4"/>
                    <a:pt x="120" y="5"/>
                    <a:pt x="113" y="8"/>
                  </a:cubicBezTo>
                  <a:cubicBezTo>
                    <a:pt x="112" y="8"/>
                    <a:pt x="103" y="13"/>
                    <a:pt x="102" y="13"/>
                  </a:cubicBezTo>
                  <a:lnTo>
                    <a:pt x="1" y="13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28" name="Groupe 527">
            <a:extLst>
              <a:ext uri="{FF2B5EF4-FFF2-40B4-BE49-F238E27FC236}">
                <a16:creationId xmlns:a16="http://schemas.microsoft.com/office/drawing/2014/main" xmlns="" id="{62BDAF8A-44BB-4DC4-A444-A20439586B63}"/>
              </a:ext>
            </a:extLst>
          </p:cNvPr>
          <p:cNvGrpSpPr/>
          <p:nvPr/>
        </p:nvGrpSpPr>
        <p:grpSpPr>
          <a:xfrm>
            <a:off x="300256" y="5544442"/>
            <a:ext cx="1945885" cy="355679"/>
            <a:chOff x="1115678" y="3403680"/>
            <a:chExt cx="1524675" cy="278688"/>
          </a:xfrm>
        </p:grpSpPr>
        <p:sp>
          <p:nvSpPr>
            <p:cNvPr id="529" name="Rectangle 45">
              <a:extLst>
                <a:ext uri="{FF2B5EF4-FFF2-40B4-BE49-F238E27FC236}">
                  <a16:creationId xmlns:a16="http://schemas.microsoft.com/office/drawing/2014/main" xmlns="" id="{3FACC2C0-1000-48CF-BDB8-3C0C54E8C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743" y="3508372"/>
              <a:ext cx="35389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0" name="Freeform 46">
              <a:extLst>
                <a:ext uri="{FF2B5EF4-FFF2-40B4-BE49-F238E27FC236}">
                  <a16:creationId xmlns:a16="http://schemas.microsoft.com/office/drawing/2014/main" xmlns="" id="{CB60D81F-F2D0-41EF-BEF6-241D498E1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678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1" name="Freeform 47">
              <a:extLst>
                <a:ext uri="{FF2B5EF4-FFF2-40B4-BE49-F238E27FC236}">
                  <a16:creationId xmlns:a16="http://schemas.microsoft.com/office/drawing/2014/main" xmlns="" id="{04B56979-5B91-4BB8-94B1-54E4AC053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150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2" name="Freeform 48">
              <a:extLst>
                <a:ext uri="{FF2B5EF4-FFF2-40B4-BE49-F238E27FC236}">
                  <a16:creationId xmlns:a16="http://schemas.microsoft.com/office/drawing/2014/main" xmlns="" id="{F8A3A0B3-3380-4BBA-B9BB-9F9F0D729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6081" y="3421374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3" name="Freeform 49">
              <a:extLst>
                <a:ext uri="{FF2B5EF4-FFF2-40B4-BE49-F238E27FC236}">
                  <a16:creationId xmlns:a16="http://schemas.microsoft.com/office/drawing/2014/main" xmlns="" id="{D3BD7DB7-A89B-4930-9448-2AF433BB6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063" y="3421374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4" name="Freeform 50">
              <a:extLst>
                <a:ext uri="{FF2B5EF4-FFF2-40B4-BE49-F238E27FC236}">
                  <a16:creationId xmlns:a16="http://schemas.microsoft.com/office/drawing/2014/main" xmlns="" id="{07F9FFB5-5D47-4FE4-BEC9-DCED17CBD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761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1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5" name="Freeform 51">
              <a:extLst>
                <a:ext uri="{FF2B5EF4-FFF2-40B4-BE49-F238E27FC236}">
                  <a16:creationId xmlns:a16="http://schemas.microsoft.com/office/drawing/2014/main" xmlns="" id="{275E2E95-BB4B-4A58-9147-DA076E3C7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692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6" name="Freeform 52">
              <a:extLst>
                <a:ext uri="{FF2B5EF4-FFF2-40B4-BE49-F238E27FC236}">
                  <a16:creationId xmlns:a16="http://schemas.microsoft.com/office/drawing/2014/main" xmlns="" id="{3801DFA7-53A4-4EFC-ADCA-1EC6EFE88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725" y="3487729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7" name="Freeform 53">
              <a:extLst>
                <a:ext uri="{FF2B5EF4-FFF2-40B4-BE49-F238E27FC236}">
                  <a16:creationId xmlns:a16="http://schemas.microsoft.com/office/drawing/2014/main" xmlns="" id="{6C741E55-DF7B-4170-97F5-97B80B7BF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372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8" name="Freeform 54">
              <a:extLst>
                <a:ext uri="{FF2B5EF4-FFF2-40B4-BE49-F238E27FC236}">
                  <a16:creationId xmlns:a16="http://schemas.microsoft.com/office/drawing/2014/main" xmlns="" id="{3D8FD921-71B6-471D-9C98-E6435E694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3829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20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9" name="Freeform 55">
              <a:extLst>
                <a:ext uri="{FF2B5EF4-FFF2-40B4-BE49-F238E27FC236}">
                  <a16:creationId xmlns:a16="http://schemas.microsoft.com/office/drawing/2014/main" xmlns="" id="{1CB521D2-0BC3-468B-80A5-497327B35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810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8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8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0" name="Rectangle 56">
              <a:extLst>
                <a:ext uri="{FF2B5EF4-FFF2-40B4-BE49-F238E27FC236}">
                  <a16:creationId xmlns:a16="http://schemas.microsoft.com/office/drawing/2014/main" xmlns="" id="{84E93D94-462C-42D8-8FF0-94E7C1B63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704" y="3508372"/>
              <a:ext cx="33914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1" name="Freeform 57">
              <a:extLst>
                <a:ext uri="{FF2B5EF4-FFF2-40B4-BE49-F238E27FC236}">
                  <a16:creationId xmlns:a16="http://schemas.microsoft.com/office/drawing/2014/main" xmlns="" id="{AA534224-4D70-4387-A47D-B884D8255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164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2" name="Freeform 58">
              <a:extLst>
                <a:ext uri="{FF2B5EF4-FFF2-40B4-BE49-F238E27FC236}">
                  <a16:creationId xmlns:a16="http://schemas.microsoft.com/office/drawing/2014/main" xmlns="" id="{ABFEE716-0F0B-4594-BDC1-D4A97B78E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637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3" name="Freeform 59">
              <a:extLst>
                <a:ext uri="{FF2B5EF4-FFF2-40B4-BE49-F238E27FC236}">
                  <a16:creationId xmlns:a16="http://schemas.microsoft.com/office/drawing/2014/main" xmlns="" id="{8404313C-8C10-4975-B081-266E05473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517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4" name="Freeform 60">
              <a:extLst>
                <a:ext uri="{FF2B5EF4-FFF2-40B4-BE49-F238E27FC236}">
                  <a16:creationId xmlns:a16="http://schemas.microsoft.com/office/drawing/2014/main" xmlns="" id="{AD8AD006-6478-48D9-B7DA-0C4199C14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024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5" name="Freeform 61">
              <a:extLst>
                <a:ext uri="{FF2B5EF4-FFF2-40B4-BE49-F238E27FC236}">
                  <a16:creationId xmlns:a16="http://schemas.microsoft.com/office/drawing/2014/main" xmlns="" id="{03523898-28FD-4219-A1AC-B4896C8BD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722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6" name="Freeform 62">
              <a:extLst>
                <a:ext uri="{FF2B5EF4-FFF2-40B4-BE49-F238E27FC236}">
                  <a16:creationId xmlns:a16="http://schemas.microsoft.com/office/drawing/2014/main" xmlns="" id="{8B5D7CDD-04CC-4030-B217-30CDD54D2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179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7" name="Freeform 63">
              <a:extLst>
                <a:ext uri="{FF2B5EF4-FFF2-40B4-BE49-F238E27FC236}">
                  <a16:creationId xmlns:a16="http://schemas.microsoft.com/office/drawing/2014/main" xmlns="" id="{FF90913C-2B04-4142-B8CD-8D874993B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686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8" name="Freeform 64">
              <a:extLst>
                <a:ext uri="{FF2B5EF4-FFF2-40B4-BE49-F238E27FC236}">
                  <a16:creationId xmlns:a16="http://schemas.microsoft.com/office/drawing/2014/main" xmlns="" id="{4C80B8AA-7D0E-41C9-801B-EEAD2C145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6859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31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9" name="Freeform 65">
              <a:extLst>
                <a:ext uri="{FF2B5EF4-FFF2-40B4-BE49-F238E27FC236}">
                  <a16:creationId xmlns:a16="http://schemas.microsoft.com/office/drawing/2014/main" xmlns="" id="{FFB6A4B1-3EB4-4290-BA1D-55005EC74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315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20 w 49"/>
                <a:gd name="T3" fmla="*/ 0 h 38"/>
                <a:gd name="T4" fmla="*/ 0 w 49"/>
                <a:gd name="T5" fmla="*/ 38 h 38"/>
                <a:gd name="T6" fmla="*/ 31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0" name="Freeform 66">
              <a:extLst>
                <a:ext uri="{FF2B5EF4-FFF2-40B4-BE49-F238E27FC236}">
                  <a16:creationId xmlns:a16="http://schemas.microsoft.com/office/drawing/2014/main" xmlns="" id="{23ADC4FE-C978-424E-909F-96426C881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297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20 w 50"/>
                <a:gd name="T3" fmla="*/ 0 h 38"/>
                <a:gd name="T4" fmla="*/ 0 w 50"/>
                <a:gd name="T5" fmla="*/ 38 h 38"/>
                <a:gd name="T6" fmla="*/ 30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1" name="Rectangle 67">
              <a:extLst>
                <a:ext uri="{FF2B5EF4-FFF2-40B4-BE49-F238E27FC236}">
                  <a16:creationId xmlns:a16="http://schemas.microsoft.com/office/drawing/2014/main" xmlns="" id="{ED93D1C8-3A0F-4264-B78B-65E129B34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191" y="3508372"/>
              <a:ext cx="33914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2" name="Freeform 68">
              <a:extLst>
                <a:ext uri="{FF2B5EF4-FFF2-40B4-BE49-F238E27FC236}">
                  <a16:creationId xmlns:a16="http://schemas.microsoft.com/office/drawing/2014/main" xmlns="" id="{66731C95-5053-42CB-BA5F-21DC16670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600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3" name="Freeform 69">
              <a:extLst>
                <a:ext uri="{FF2B5EF4-FFF2-40B4-BE49-F238E27FC236}">
                  <a16:creationId xmlns:a16="http://schemas.microsoft.com/office/drawing/2014/main" xmlns="" id="{C1FBEC5A-15FF-4B75-8BEF-FA7753010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123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4" name="Freeform 70">
              <a:extLst>
                <a:ext uri="{FF2B5EF4-FFF2-40B4-BE49-F238E27FC236}">
                  <a16:creationId xmlns:a16="http://schemas.microsoft.com/office/drawing/2014/main" xmlns="" id="{81516182-4440-4C25-9D58-F5352F51D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6003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5" name="Freeform 71">
              <a:extLst>
                <a:ext uri="{FF2B5EF4-FFF2-40B4-BE49-F238E27FC236}">
                  <a16:creationId xmlns:a16="http://schemas.microsoft.com/office/drawing/2014/main" xmlns="" id="{B75ECCE2-9019-4F27-86AF-BD2126B08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10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6" name="Freeform 72">
              <a:extLst>
                <a:ext uri="{FF2B5EF4-FFF2-40B4-BE49-F238E27FC236}">
                  <a16:creationId xmlns:a16="http://schemas.microsoft.com/office/drawing/2014/main" xmlns="" id="{52BB29B0-B555-407C-85C6-B8FD9F75D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209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7" name="Freeform 73">
              <a:extLst>
                <a:ext uri="{FF2B5EF4-FFF2-40B4-BE49-F238E27FC236}">
                  <a16:creationId xmlns:a16="http://schemas.microsoft.com/office/drawing/2014/main" xmlns="" id="{BCC9768B-B236-4C8F-93B6-E7139A349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665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8" name="Freeform 74">
              <a:extLst>
                <a:ext uri="{FF2B5EF4-FFF2-40B4-BE49-F238E27FC236}">
                  <a16:creationId xmlns:a16="http://schemas.microsoft.com/office/drawing/2014/main" xmlns="" id="{7E0F806B-839E-4E43-837E-16E1DE193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6647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9" name="Freeform 75">
              <a:extLst>
                <a:ext uri="{FF2B5EF4-FFF2-40B4-BE49-F238E27FC236}">
                  <a16:creationId xmlns:a16="http://schemas.microsoft.com/office/drawing/2014/main" xmlns="" id="{4337B922-F416-4EFA-9CB0-7111D909A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0345" y="3555558"/>
              <a:ext cx="75202" cy="56033"/>
            </a:xfrm>
            <a:custGeom>
              <a:avLst/>
              <a:gdLst>
                <a:gd name="T0" fmla="*/ 51 w 51"/>
                <a:gd name="T1" fmla="*/ 0 h 38"/>
                <a:gd name="T2" fmla="*/ 20 w 51"/>
                <a:gd name="T3" fmla="*/ 0 h 38"/>
                <a:gd name="T4" fmla="*/ 0 w 51"/>
                <a:gd name="T5" fmla="*/ 38 h 38"/>
                <a:gd name="T6" fmla="*/ 31 w 51"/>
                <a:gd name="T7" fmla="*/ 38 h 38"/>
                <a:gd name="T8" fmla="*/ 51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51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0" name="Freeform 76">
              <a:extLst>
                <a:ext uri="{FF2B5EF4-FFF2-40B4-BE49-F238E27FC236}">
                  <a16:creationId xmlns:a16="http://schemas.microsoft.com/office/drawing/2014/main" xmlns="" id="{94776A34-B2BA-44E4-96EA-2A5805AF5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2276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19 w 50"/>
                <a:gd name="T3" fmla="*/ 0 h 38"/>
                <a:gd name="T4" fmla="*/ 0 w 50"/>
                <a:gd name="T5" fmla="*/ 38 h 38"/>
                <a:gd name="T6" fmla="*/ 31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1" name="Freeform 77">
              <a:extLst>
                <a:ext uri="{FF2B5EF4-FFF2-40B4-BE49-F238E27FC236}">
                  <a16:creationId xmlns:a16="http://schemas.microsoft.com/office/drawing/2014/main" xmlns="" id="{0EAB4A59-7CA8-4C75-8CBE-C2DAA549B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258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29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29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2" name="Rectangle 78">
              <a:extLst>
                <a:ext uri="{FF2B5EF4-FFF2-40B4-BE49-F238E27FC236}">
                  <a16:creationId xmlns:a16="http://schemas.microsoft.com/office/drawing/2014/main" xmlns="" id="{1B4A2375-9FE7-4ED3-832C-77A7868C1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9677" y="3508372"/>
              <a:ext cx="33914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3" name="Freeform 79">
              <a:extLst>
                <a:ext uri="{FF2B5EF4-FFF2-40B4-BE49-F238E27FC236}">
                  <a16:creationId xmlns:a16="http://schemas.microsoft.com/office/drawing/2014/main" xmlns="" id="{B46423DE-14D8-4B69-8E8A-D528574CF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087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4" name="Freeform 80">
              <a:extLst>
                <a:ext uri="{FF2B5EF4-FFF2-40B4-BE49-F238E27FC236}">
                  <a16:creationId xmlns:a16="http://schemas.microsoft.com/office/drawing/2014/main" xmlns="" id="{1299398A-F39D-49D5-840B-525FD35C6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610" y="3421374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5" name="Freeform 81">
              <a:extLst>
                <a:ext uri="{FF2B5EF4-FFF2-40B4-BE49-F238E27FC236}">
                  <a16:creationId xmlns:a16="http://schemas.microsoft.com/office/drawing/2014/main" xmlns="" id="{8632CD47-80FC-4DFD-95B7-EE00EE15E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9490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6" name="Freeform 82">
              <a:extLst>
                <a:ext uri="{FF2B5EF4-FFF2-40B4-BE49-F238E27FC236}">
                  <a16:creationId xmlns:a16="http://schemas.microsoft.com/office/drawing/2014/main" xmlns="" id="{6E8E183C-3337-4734-BE18-60A71CFDF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471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8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8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7" name="Freeform 83">
              <a:extLst>
                <a:ext uri="{FF2B5EF4-FFF2-40B4-BE49-F238E27FC236}">
                  <a16:creationId xmlns:a16="http://schemas.microsoft.com/office/drawing/2014/main" xmlns="" id="{9BB63391-39C4-41B6-BD64-74053BBDB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695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8" name="Freeform 84">
              <a:extLst>
                <a:ext uri="{FF2B5EF4-FFF2-40B4-BE49-F238E27FC236}">
                  <a16:creationId xmlns:a16="http://schemas.microsoft.com/office/drawing/2014/main" xmlns="" id="{A5263DC5-95D6-4A6B-B82A-8AA6FB018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152" y="3487729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9" name="Freeform 85">
              <a:extLst>
                <a:ext uri="{FF2B5EF4-FFF2-40B4-BE49-F238E27FC236}">
                  <a16:creationId xmlns:a16="http://schemas.microsoft.com/office/drawing/2014/main" xmlns="" id="{386A10D9-A007-4884-8AD0-D251D602C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133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20 w 50"/>
                <a:gd name="T3" fmla="*/ 0 h 37"/>
                <a:gd name="T4" fmla="*/ 0 w 50"/>
                <a:gd name="T5" fmla="*/ 37 h 37"/>
                <a:gd name="T6" fmla="*/ 30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0" name="Freeform 86">
              <a:extLst>
                <a:ext uri="{FF2B5EF4-FFF2-40B4-BE49-F238E27FC236}">
                  <a16:creationId xmlns:a16="http://schemas.microsoft.com/office/drawing/2014/main" xmlns="" id="{C9129927-1B94-4EBC-8969-D2845DB6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306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19 w 50"/>
                <a:gd name="T3" fmla="*/ 0 h 38"/>
                <a:gd name="T4" fmla="*/ 0 w 50"/>
                <a:gd name="T5" fmla="*/ 38 h 38"/>
                <a:gd name="T6" fmla="*/ 31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1" name="Freeform 87">
              <a:extLst>
                <a:ext uri="{FF2B5EF4-FFF2-40B4-BE49-F238E27FC236}">
                  <a16:creationId xmlns:a16="http://schemas.microsoft.com/office/drawing/2014/main" xmlns="" id="{4BBBC40C-27CC-4BCD-8917-8E15B6EAC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763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19 w 50"/>
                <a:gd name="T3" fmla="*/ 0 h 38"/>
                <a:gd name="T4" fmla="*/ 0 w 50"/>
                <a:gd name="T5" fmla="*/ 38 h 38"/>
                <a:gd name="T6" fmla="*/ 31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2" name="Freeform 88">
              <a:extLst>
                <a:ext uri="{FF2B5EF4-FFF2-40B4-BE49-F238E27FC236}">
                  <a16:creationId xmlns:a16="http://schemas.microsoft.com/office/drawing/2014/main" xmlns="" id="{7F9A213D-B1D5-44F7-8532-A710E388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4744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3" name="Rectangle 89">
              <a:extLst>
                <a:ext uri="{FF2B5EF4-FFF2-40B4-BE49-F238E27FC236}">
                  <a16:creationId xmlns:a16="http://schemas.microsoft.com/office/drawing/2014/main" xmlns="" id="{F5CB2891-18EF-411F-B43D-B9F889408F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3164" y="3508372"/>
              <a:ext cx="35389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4" name="Freeform 90">
              <a:extLst>
                <a:ext uri="{FF2B5EF4-FFF2-40B4-BE49-F238E27FC236}">
                  <a16:creationId xmlns:a16="http://schemas.microsoft.com/office/drawing/2014/main" xmlns="" id="{6AA8BC7B-41B1-401F-A491-403752A5A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2573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5" name="Freeform 91">
              <a:extLst>
                <a:ext uri="{FF2B5EF4-FFF2-40B4-BE49-F238E27FC236}">
                  <a16:creationId xmlns:a16="http://schemas.microsoft.com/office/drawing/2014/main" xmlns="" id="{F77D9125-2D0D-419F-8498-1CA34AB18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1045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8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8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6" name="Freeform 92">
              <a:extLst>
                <a:ext uri="{FF2B5EF4-FFF2-40B4-BE49-F238E27FC236}">
                  <a16:creationId xmlns:a16="http://schemas.microsoft.com/office/drawing/2014/main" xmlns="" id="{0888C2D4-1B96-4F09-B49A-95D7C764A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451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1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7" name="Freeform 93">
              <a:extLst>
                <a:ext uri="{FF2B5EF4-FFF2-40B4-BE49-F238E27FC236}">
                  <a16:creationId xmlns:a16="http://schemas.microsoft.com/office/drawing/2014/main" xmlns="" id="{B3771921-48C1-4276-A9F0-C1E3D8F27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3432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8" name="Freeform 94">
              <a:extLst>
                <a:ext uri="{FF2B5EF4-FFF2-40B4-BE49-F238E27FC236}">
                  <a16:creationId xmlns:a16="http://schemas.microsoft.com/office/drawing/2014/main" xmlns="" id="{BB818064-7F8D-4FA0-AA46-5E8008E5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7131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9" name="Freeform 95">
              <a:extLst>
                <a:ext uri="{FF2B5EF4-FFF2-40B4-BE49-F238E27FC236}">
                  <a16:creationId xmlns:a16="http://schemas.microsoft.com/office/drawing/2014/main" xmlns="" id="{F9A89525-A8A9-4665-B08A-345603508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6113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0" name="Freeform 96">
              <a:extLst>
                <a:ext uri="{FF2B5EF4-FFF2-40B4-BE49-F238E27FC236}">
                  <a16:creationId xmlns:a16="http://schemas.microsoft.com/office/drawing/2014/main" xmlns="" id="{2A6CFF37-8CCF-4F12-9D7C-198751FA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094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29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29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1" name="Freeform 97">
              <a:extLst>
                <a:ext uri="{FF2B5EF4-FFF2-40B4-BE49-F238E27FC236}">
                  <a16:creationId xmlns:a16="http://schemas.microsoft.com/office/drawing/2014/main" xmlns="" id="{FD2B801F-2F45-4334-989E-4E04CD080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8793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19 w 50"/>
                <a:gd name="T3" fmla="*/ 0 h 38"/>
                <a:gd name="T4" fmla="*/ 0 w 50"/>
                <a:gd name="T5" fmla="*/ 38 h 38"/>
                <a:gd name="T6" fmla="*/ 31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2" name="Freeform 98">
              <a:extLst>
                <a:ext uri="{FF2B5EF4-FFF2-40B4-BE49-F238E27FC236}">
                  <a16:creationId xmlns:a16="http://schemas.microsoft.com/office/drawing/2014/main" xmlns="" id="{B3762083-3794-43C0-B0A6-AE77B215E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249" y="3555558"/>
              <a:ext cx="75202" cy="56033"/>
            </a:xfrm>
            <a:custGeom>
              <a:avLst/>
              <a:gdLst>
                <a:gd name="T0" fmla="*/ 51 w 51"/>
                <a:gd name="T1" fmla="*/ 0 h 38"/>
                <a:gd name="T2" fmla="*/ 20 w 51"/>
                <a:gd name="T3" fmla="*/ 0 h 38"/>
                <a:gd name="T4" fmla="*/ 0 w 51"/>
                <a:gd name="T5" fmla="*/ 38 h 38"/>
                <a:gd name="T6" fmla="*/ 31 w 51"/>
                <a:gd name="T7" fmla="*/ 38 h 38"/>
                <a:gd name="T8" fmla="*/ 51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51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3" name="Freeform 99">
              <a:extLst>
                <a:ext uri="{FF2B5EF4-FFF2-40B4-BE49-F238E27FC236}">
                  <a16:creationId xmlns:a16="http://schemas.microsoft.com/office/drawing/2014/main" xmlns="" id="{5CCF9FB6-2842-47E9-B664-8476A95B1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231" y="3555558"/>
              <a:ext cx="75202" cy="56033"/>
            </a:xfrm>
            <a:custGeom>
              <a:avLst/>
              <a:gdLst>
                <a:gd name="T0" fmla="*/ 51 w 51"/>
                <a:gd name="T1" fmla="*/ 0 h 38"/>
                <a:gd name="T2" fmla="*/ 20 w 51"/>
                <a:gd name="T3" fmla="*/ 0 h 38"/>
                <a:gd name="T4" fmla="*/ 0 w 51"/>
                <a:gd name="T5" fmla="*/ 38 h 38"/>
                <a:gd name="T6" fmla="*/ 31 w 51"/>
                <a:gd name="T7" fmla="*/ 38 h 38"/>
                <a:gd name="T8" fmla="*/ 51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51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4" name="Rectangle 100">
              <a:extLst>
                <a:ext uri="{FF2B5EF4-FFF2-40B4-BE49-F238E27FC236}">
                  <a16:creationId xmlns:a16="http://schemas.microsoft.com/office/drawing/2014/main" xmlns="" id="{FCC7E82F-7575-4E40-AA7A-834020F2F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9599" y="3508372"/>
              <a:ext cx="33914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5" name="Freeform 101">
              <a:extLst>
                <a:ext uri="{FF2B5EF4-FFF2-40B4-BE49-F238E27FC236}">
                  <a16:creationId xmlns:a16="http://schemas.microsoft.com/office/drawing/2014/main" xmlns="" id="{F0BDB090-F9A6-4BF3-9642-219523C55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7534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6" name="Freeform 102">
              <a:extLst>
                <a:ext uri="{FF2B5EF4-FFF2-40B4-BE49-F238E27FC236}">
                  <a16:creationId xmlns:a16="http://schemas.microsoft.com/office/drawing/2014/main" xmlns="" id="{2080BE02-5C1F-4307-B256-7C8F1065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532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7" name="Freeform 103">
              <a:extLst>
                <a:ext uri="{FF2B5EF4-FFF2-40B4-BE49-F238E27FC236}">
                  <a16:creationId xmlns:a16="http://schemas.microsoft.com/office/drawing/2014/main" xmlns="" id="{9489FD7E-F48E-4FE4-A4D4-9EA48D96F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7937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8" name="Freeform 104">
              <a:extLst>
                <a:ext uri="{FF2B5EF4-FFF2-40B4-BE49-F238E27FC236}">
                  <a16:creationId xmlns:a16="http://schemas.microsoft.com/office/drawing/2014/main" xmlns="" id="{FE592CD5-15BC-4E7C-967E-517798BDD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6919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9" name="Freeform 105">
              <a:extLst>
                <a:ext uri="{FF2B5EF4-FFF2-40B4-BE49-F238E27FC236}">
                  <a16:creationId xmlns:a16="http://schemas.microsoft.com/office/drawing/2014/main" xmlns="" id="{5F933CD6-F1C5-44C2-9F9B-C351B04A9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618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0" name="Freeform 106">
              <a:extLst>
                <a:ext uri="{FF2B5EF4-FFF2-40B4-BE49-F238E27FC236}">
                  <a16:creationId xmlns:a16="http://schemas.microsoft.com/office/drawing/2014/main" xmlns="" id="{4A13DBF8-C5CA-4021-B58C-155EDB488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9599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1" name="Freeform 107">
              <a:extLst>
                <a:ext uri="{FF2B5EF4-FFF2-40B4-BE49-F238E27FC236}">
                  <a16:creationId xmlns:a16="http://schemas.microsoft.com/office/drawing/2014/main" xmlns="" id="{6D55BA93-6532-46A0-ABB7-D269A5BE6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581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1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2" name="Freeform 108">
              <a:extLst>
                <a:ext uri="{FF2B5EF4-FFF2-40B4-BE49-F238E27FC236}">
                  <a16:creationId xmlns:a16="http://schemas.microsoft.com/office/drawing/2014/main" xmlns="" id="{EA703553-75EA-481A-A745-2E84220B2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754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20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3" name="Freeform 109">
              <a:extLst>
                <a:ext uri="{FF2B5EF4-FFF2-40B4-BE49-F238E27FC236}">
                  <a16:creationId xmlns:a16="http://schemas.microsoft.com/office/drawing/2014/main" xmlns="" id="{40C3C345-A90A-42FD-8931-A24E5A100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5685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29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29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4" name="Freeform 110">
              <a:extLst>
                <a:ext uri="{FF2B5EF4-FFF2-40B4-BE49-F238E27FC236}">
                  <a16:creationId xmlns:a16="http://schemas.microsoft.com/office/drawing/2014/main" xmlns="" id="{2DF05B93-E98C-4208-B58E-99AB74661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717" y="3555558"/>
              <a:ext cx="75202" cy="56033"/>
            </a:xfrm>
            <a:custGeom>
              <a:avLst/>
              <a:gdLst>
                <a:gd name="T0" fmla="*/ 51 w 51"/>
                <a:gd name="T1" fmla="*/ 0 h 38"/>
                <a:gd name="T2" fmla="*/ 20 w 51"/>
                <a:gd name="T3" fmla="*/ 0 h 38"/>
                <a:gd name="T4" fmla="*/ 0 w 51"/>
                <a:gd name="T5" fmla="*/ 38 h 38"/>
                <a:gd name="T6" fmla="*/ 31 w 51"/>
                <a:gd name="T7" fmla="*/ 38 h 38"/>
                <a:gd name="T8" fmla="*/ 51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51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5" name="Rectangle 111">
              <a:extLst>
                <a:ext uri="{FF2B5EF4-FFF2-40B4-BE49-F238E27FC236}">
                  <a16:creationId xmlns:a16="http://schemas.microsoft.com/office/drawing/2014/main" xmlns="" id="{B3E983C0-7687-4CAD-91FE-AC4B581501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3086" y="3508372"/>
              <a:ext cx="33914" cy="173996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6" name="Freeform 112">
              <a:extLst>
                <a:ext uri="{FF2B5EF4-FFF2-40B4-BE49-F238E27FC236}">
                  <a16:creationId xmlns:a16="http://schemas.microsoft.com/office/drawing/2014/main" xmlns="" id="{22D437AA-367D-4ACD-B43D-43966D266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1021" y="3403680"/>
              <a:ext cx="299332" cy="225605"/>
            </a:xfrm>
            <a:custGeom>
              <a:avLst/>
              <a:gdLst>
                <a:gd name="T0" fmla="*/ 203 w 203"/>
                <a:gd name="T1" fmla="*/ 0 h 153"/>
                <a:gd name="T2" fmla="*/ 79 w 203"/>
                <a:gd name="T3" fmla="*/ 0 h 153"/>
                <a:gd name="T4" fmla="*/ 0 w 203"/>
                <a:gd name="T5" fmla="*/ 153 h 153"/>
                <a:gd name="T6" fmla="*/ 124 w 203"/>
                <a:gd name="T7" fmla="*/ 153 h 153"/>
                <a:gd name="T8" fmla="*/ 203 w 20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" h="153">
                  <a:moveTo>
                    <a:pt x="203" y="0"/>
                  </a:moveTo>
                  <a:lnTo>
                    <a:pt x="79" y="0"/>
                  </a:lnTo>
                  <a:lnTo>
                    <a:pt x="0" y="153"/>
                  </a:lnTo>
                  <a:lnTo>
                    <a:pt x="124" y="153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7" name="Freeform 113">
              <a:extLst>
                <a:ext uri="{FF2B5EF4-FFF2-40B4-BE49-F238E27FC236}">
                  <a16:creationId xmlns:a16="http://schemas.microsoft.com/office/drawing/2014/main" xmlns="" id="{556C433E-08AA-45A7-A1D8-6C5A3986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018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8" name="Freeform 114">
              <a:extLst>
                <a:ext uri="{FF2B5EF4-FFF2-40B4-BE49-F238E27FC236}">
                  <a16:creationId xmlns:a16="http://schemas.microsoft.com/office/drawing/2014/main" xmlns="" id="{395CA3B7-334B-47B2-A051-3E8D1D8B1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424" y="3421374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1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9" name="Freeform 115">
              <a:extLst>
                <a:ext uri="{FF2B5EF4-FFF2-40B4-BE49-F238E27FC236}">
                  <a16:creationId xmlns:a16="http://schemas.microsoft.com/office/drawing/2014/main" xmlns="" id="{E75BC4FD-42B8-4E1D-A36B-07D397320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405" y="3421374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19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0" name="Freeform 116">
              <a:extLst>
                <a:ext uri="{FF2B5EF4-FFF2-40B4-BE49-F238E27FC236}">
                  <a16:creationId xmlns:a16="http://schemas.microsoft.com/office/drawing/2014/main" xmlns="" id="{586D7B63-D315-4957-994F-6C9833289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104" y="3487729"/>
              <a:ext cx="72252" cy="54558"/>
            </a:xfrm>
            <a:custGeom>
              <a:avLst/>
              <a:gdLst>
                <a:gd name="T0" fmla="*/ 49 w 49"/>
                <a:gd name="T1" fmla="*/ 0 h 37"/>
                <a:gd name="T2" fmla="*/ 20 w 49"/>
                <a:gd name="T3" fmla="*/ 0 h 37"/>
                <a:gd name="T4" fmla="*/ 0 w 49"/>
                <a:gd name="T5" fmla="*/ 37 h 37"/>
                <a:gd name="T6" fmla="*/ 30 w 49"/>
                <a:gd name="T7" fmla="*/ 37 h 37"/>
                <a:gd name="T8" fmla="*/ 49 w 4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9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1" name="Freeform 117">
              <a:extLst>
                <a:ext uri="{FF2B5EF4-FFF2-40B4-BE49-F238E27FC236}">
                  <a16:creationId xmlns:a16="http://schemas.microsoft.com/office/drawing/2014/main" xmlns="" id="{190D7058-6871-4CEF-A495-2AA3B435B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4560" y="3487729"/>
              <a:ext cx="73727" cy="54558"/>
            </a:xfrm>
            <a:custGeom>
              <a:avLst/>
              <a:gdLst>
                <a:gd name="T0" fmla="*/ 50 w 50"/>
                <a:gd name="T1" fmla="*/ 0 h 37"/>
                <a:gd name="T2" fmla="*/ 19 w 50"/>
                <a:gd name="T3" fmla="*/ 0 h 37"/>
                <a:gd name="T4" fmla="*/ 0 w 50"/>
                <a:gd name="T5" fmla="*/ 37 h 37"/>
                <a:gd name="T6" fmla="*/ 30 w 50"/>
                <a:gd name="T7" fmla="*/ 37 h 37"/>
                <a:gd name="T8" fmla="*/ 50 w 5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7">
                  <a:moveTo>
                    <a:pt x="50" y="0"/>
                  </a:moveTo>
                  <a:lnTo>
                    <a:pt x="19" y="0"/>
                  </a:lnTo>
                  <a:lnTo>
                    <a:pt x="0" y="37"/>
                  </a:lnTo>
                  <a:lnTo>
                    <a:pt x="30" y="37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2" name="Freeform 118">
              <a:extLst>
                <a:ext uri="{FF2B5EF4-FFF2-40B4-BE49-F238E27FC236}">
                  <a16:creationId xmlns:a16="http://schemas.microsoft.com/office/drawing/2014/main" xmlns="" id="{ED6F8E89-1E51-4C46-94F7-592310765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2067" y="3487729"/>
              <a:ext cx="75202" cy="54558"/>
            </a:xfrm>
            <a:custGeom>
              <a:avLst/>
              <a:gdLst>
                <a:gd name="T0" fmla="*/ 51 w 51"/>
                <a:gd name="T1" fmla="*/ 0 h 37"/>
                <a:gd name="T2" fmla="*/ 20 w 51"/>
                <a:gd name="T3" fmla="*/ 0 h 37"/>
                <a:gd name="T4" fmla="*/ 0 w 51"/>
                <a:gd name="T5" fmla="*/ 37 h 37"/>
                <a:gd name="T6" fmla="*/ 31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lnTo>
                    <a:pt x="20" y="0"/>
                  </a:lnTo>
                  <a:lnTo>
                    <a:pt x="0" y="37"/>
                  </a:lnTo>
                  <a:lnTo>
                    <a:pt x="31" y="37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3" name="Freeform 119">
              <a:extLst>
                <a:ext uri="{FF2B5EF4-FFF2-40B4-BE49-F238E27FC236}">
                  <a16:creationId xmlns:a16="http://schemas.microsoft.com/office/drawing/2014/main" xmlns="" id="{5B113804-B371-4974-A558-C0210DDA3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8715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29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29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4" name="Freeform 120">
              <a:extLst>
                <a:ext uri="{FF2B5EF4-FFF2-40B4-BE49-F238E27FC236}">
                  <a16:creationId xmlns:a16="http://schemas.microsoft.com/office/drawing/2014/main" xmlns="" id="{8A34BFD9-D279-4620-86FD-AB9333440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171" y="3555558"/>
              <a:ext cx="72252" cy="56033"/>
            </a:xfrm>
            <a:custGeom>
              <a:avLst/>
              <a:gdLst>
                <a:gd name="T0" fmla="*/ 49 w 49"/>
                <a:gd name="T1" fmla="*/ 0 h 38"/>
                <a:gd name="T2" fmla="*/ 19 w 49"/>
                <a:gd name="T3" fmla="*/ 0 h 38"/>
                <a:gd name="T4" fmla="*/ 0 w 49"/>
                <a:gd name="T5" fmla="*/ 38 h 38"/>
                <a:gd name="T6" fmla="*/ 30 w 49"/>
                <a:gd name="T7" fmla="*/ 38 h 38"/>
                <a:gd name="T8" fmla="*/ 49 w 4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0" y="3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5" name="Freeform 121">
              <a:extLst>
                <a:ext uri="{FF2B5EF4-FFF2-40B4-BE49-F238E27FC236}">
                  <a16:creationId xmlns:a16="http://schemas.microsoft.com/office/drawing/2014/main" xmlns="" id="{90E54E89-5E5B-4517-96F7-6B2E8926D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6678" y="3555558"/>
              <a:ext cx="73727" cy="56033"/>
            </a:xfrm>
            <a:custGeom>
              <a:avLst/>
              <a:gdLst>
                <a:gd name="T0" fmla="*/ 50 w 50"/>
                <a:gd name="T1" fmla="*/ 0 h 38"/>
                <a:gd name="T2" fmla="*/ 19 w 50"/>
                <a:gd name="T3" fmla="*/ 0 h 38"/>
                <a:gd name="T4" fmla="*/ 0 w 50"/>
                <a:gd name="T5" fmla="*/ 38 h 38"/>
                <a:gd name="T6" fmla="*/ 31 w 50"/>
                <a:gd name="T7" fmla="*/ 38 h 38"/>
                <a:gd name="T8" fmla="*/ 50 w 50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8">
                  <a:moveTo>
                    <a:pt x="50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31" y="38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5B6E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xmlns="" id="{6DF47637-E4C0-44D7-8DF5-7712D8E800B6}"/>
              </a:ext>
            </a:extLst>
          </p:cNvPr>
          <p:cNvGrpSpPr/>
          <p:nvPr/>
        </p:nvGrpSpPr>
        <p:grpSpPr>
          <a:xfrm>
            <a:off x="2669318" y="5162774"/>
            <a:ext cx="1238654" cy="869800"/>
            <a:chOff x="3062723" y="5039278"/>
            <a:chExt cx="732846" cy="514615"/>
          </a:xfrm>
        </p:grpSpPr>
        <p:sp>
          <p:nvSpPr>
            <p:cNvPr id="607" name="Freeform 127">
              <a:extLst>
                <a:ext uri="{FF2B5EF4-FFF2-40B4-BE49-F238E27FC236}">
                  <a16:creationId xmlns:a16="http://schemas.microsoft.com/office/drawing/2014/main" xmlns="" id="{068CE616-0F4B-4142-AF82-87F31B284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574" y="5384321"/>
              <a:ext cx="168098" cy="166623"/>
            </a:xfrm>
            <a:custGeom>
              <a:avLst/>
              <a:gdLst>
                <a:gd name="T0" fmla="*/ 44 w 88"/>
                <a:gd name="T1" fmla="*/ 87 h 87"/>
                <a:gd name="T2" fmla="*/ 1 w 88"/>
                <a:gd name="T3" fmla="*/ 43 h 87"/>
                <a:gd name="T4" fmla="*/ 45 w 88"/>
                <a:gd name="T5" fmla="*/ 0 h 87"/>
                <a:gd name="T6" fmla="*/ 88 w 88"/>
                <a:gd name="T7" fmla="*/ 44 h 87"/>
                <a:gd name="T8" fmla="*/ 44 w 88"/>
                <a:gd name="T9" fmla="*/ 87 h 87"/>
                <a:gd name="T10" fmla="*/ 60 w 88"/>
                <a:gd name="T11" fmla="*/ 44 h 87"/>
                <a:gd name="T12" fmla="*/ 44 w 88"/>
                <a:gd name="T13" fmla="*/ 28 h 87"/>
                <a:gd name="T14" fmla="*/ 29 w 88"/>
                <a:gd name="T15" fmla="*/ 43 h 87"/>
                <a:gd name="T16" fmla="*/ 44 w 88"/>
                <a:gd name="T17" fmla="*/ 60 h 87"/>
                <a:gd name="T18" fmla="*/ 60 w 88"/>
                <a:gd name="T19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7">
                  <a:moveTo>
                    <a:pt x="44" y="87"/>
                  </a:moveTo>
                  <a:cubicBezTo>
                    <a:pt x="20" y="87"/>
                    <a:pt x="0" y="67"/>
                    <a:pt x="1" y="43"/>
                  </a:cubicBezTo>
                  <a:cubicBezTo>
                    <a:pt x="1" y="20"/>
                    <a:pt x="21" y="0"/>
                    <a:pt x="45" y="0"/>
                  </a:cubicBezTo>
                  <a:cubicBezTo>
                    <a:pt x="69" y="0"/>
                    <a:pt x="88" y="20"/>
                    <a:pt x="88" y="44"/>
                  </a:cubicBezTo>
                  <a:cubicBezTo>
                    <a:pt x="88" y="68"/>
                    <a:pt x="68" y="87"/>
                    <a:pt x="44" y="87"/>
                  </a:cubicBezTo>
                  <a:close/>
                  <a:moveTo>
                    <a:pt x="60" y="44"/>
                  </a:moveTo>
                  <a:cubicBezTo>
                    <a:pt x="60" y="35"/>
                    <a:pt x="54" y="28"/>
                    <a:pt x="44" y="28"/>
                  </a:cubicBezTo>
                  <a:cubicBezTo>
                    <a:pt x="36" y="27"/>
                    <a:pt x="29" y="34"/>
                    <a:pt x="29" y="43"/>
                  </a:cubicBezTo>
                  <a:cubicBezTo>
                    <a:pt x="28" y="53"/>
                    <a:pt x="35" y="59"/>
                    <a:pt x="44" y="60"/>
                  </a:cubicBezTo>
                  <a:cubicBezTo>
                    <a:pt x="53" y="60"/>
                    <a:pt x="60" y="53"/>
                    <a:pt x="60" y="44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8" name="Freeform 128">
              <a:extLst>
                <a:ext uri="{FF2B5EF4-FFF2-40B4-BE49-F238E27FC236}">
                  <a16:creationId xmlns:a16="http://schemas.microsoft.com/office/drawing/2014/main" xmlns="" id="{9C8DB616-1F47-493F-9052-77530CF73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9081" y="5440353"/>
              <a:ext cx="54558" cy="57507"/>
            </a:xfrm>
            <a:custGeom>
              <a:avLst/>
              <a:gdLst>
                <a:gd name="T0" fmla="*/ 14 w 29"/>
                <a:gd name="T1" fmla="*/ 0 h 30"/>
                <a:gd name="T2" fmla="*/ 29 w 29"/>
                <a:gd name="T3" fmla="*/ 15 h 30"/>
                <a:gd name="T4" fmla="*/ 14 w 29"/>
                <a:gd name="T5" fmla="*/ 29 h 30"/>
                <a:gd name="T6" fmla="*/ 0 w 29"/>
                <a:gd name="T7" fmla="*/ 15 h 30"/>
                <a:gd name="T8" fmla="*/ 14 w 29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0">
                  <a:moveTo>
                    <a:pt x="14" y="0"/>
                  </a:moveTo>
                  <a:cubicBezTo>
                    <a:pt x="23" y="0"/>
                    <a:pt x="29" y="7"/>
                    <a:pt x="29" y="15"/>
                  </a:cubicBezTo>
                  <a:cubicBezTo>
                    <a:pt x="29" y="23"/>
                    <a:pt x="22" y="30"/>
                    <a:pt x="14" y="29"/>
                  </a:cubicBezTo>
                  <a:cubicBezTo>
                    <a:pt x="6" y="29"/>
                    <a:pt x="0" y="22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9" name="Freeform 129">
              <a:extLst>
                <a:ext uri="{FF2B5EF4-FFF2-40B4-BE49-F238E27FC236}">
                  <a16:creationId xmlns:a16="http://schemas.microsoft.com/office/drawing/2014/main" xmlns="" id="{26414838-B708-42CB-8925-C12C16AB7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2723" y="5251612"/>
              <a:ext cx="303755" cy="302281"/>
            </a:xfrm>
            <a:custGeom>
              <a:avLst/>
              <a:gdLst>
                <a:gd name="T0" fmla="*/ 79 w 159"/>
                <a:gd name="T1" fmla="*/ 158 h 159"/>
                <a:gd name="T2" fmla="*/ 0 w 159"/>
                <a:gd name="T3" fmla="*/ 79 h 159"/>
                <a:gd name="T4" fmla="*/ 80 w 159"/>
                <a:gd name="T5" fmla="*/ 1 h 159"/>
                <a:gd name="T6" fmla="*/ 159 w 159"/>
                <a:gd name="T7" fmla="*/ 80 h 159"/>
                <a:gd name="T8" fmla="*/ 79 w 159"/>
                <a:gd name="T9" fmla="*/ 158 h 159"/>
                <a:gd name="T10" fmla="*/ 108 w 159"/>
                <a:gd name="T11" fmla="*/ 80 h 159"/>
                <a:gd name="T12" fmla="*/ 80 w 159"/>
                <a:gd name="T13" fmla="*/ 50 h 159"/>
                <a:gd name="T14" fmla="*/ 51 w 159"/>
                <a:gd name="T15" fmla="*/ 78 h 159"/>
                <a:gd name="T16" fmla="*/ 79 w 159"/>
                <a:gd name="T17" fmla="*/ 108 h 159"/>
                <a:gd name="T18" fmla="*/ 108 w 159"/>
                <a:gd name="T19" fmla="*/ 8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59">
                  <a:moveTo>
                    <a:pt x="79" y="158"/>
                  </a:moveTo>
                  <a:cubicBezTo>
                    <a:pt x="35" y="158"/>
                    <a:pt x="0" y="122"/>
                    <a:pt x="0" y="79"/>
                  </a:cubicBezTo>
                  <a:cubicBezTo>
                    <a:pt x="1" y="36"/>
                    <a:pt x="37" y="0"/>
                    <a:pt x="80" y="1"/>
                  </a:cubicBezTo>
                  <a:cubicBezTo>
                    <a:pt x="124" y="1"/>
                    <a:pt x="159" y="37"/>
                    <a:pt x="159" y="80"/>
                  </a:cubicBezTo>
                  <a:cubicBezTo>
                    <a:pt x="159" y="124"/>
                    <a:pt x="123" y="159"/>
                    <a:pt x="79" y="158"/>
                  </a:cubicBezTo>
                  <a:close/>
                  <a:moveTo>
                    <a:pt x="108" y="80"/>
                  </a:moveTo>
                  <a:cubicBezTo>
                    <a:pt x="108" y="63"/>
                    <a:pt x="96" y="50"/>
                    <a:pt x="80" y="50"/>
                  </a:cubicBezTo>
                  <a:cubicBezTo>
                    <a:pt x="64" y="50"/>
                    <a:pt x="52" y="62"/>
                    <a:pt x="51" y="78"/>
                  </a:cubicBezTo>
                  <a:cubicBezTo>
                    <a:pt x="51" y="96"/>
                    <a:pt x="62" y="108"/>
                    <a:pt x="79" y="108"/>
                  </a:cubicBezTo>
                  <a:cubicBezTo>
                    <a:pt x="96" y="109"/>
                    <a:pt x="108" y="97"/>
                    <a:pt x="108" y="80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0" name="Freeform 130">
              <a:extLst>
                <a:ext uri="{FF2B5EF4-FFF2-40B4-BE49-F238E27FC236}">
                  <a16:creationId xmlns:a16="http://schemas.microsoft.com/office/drawing/2014/main" xmlns="" id="{044C88CF-78D8-4B1C-BD0A-87342D9A6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584" y="5375473"/>
              <a:ext cx="56033" cy="54558"/>
            </a:xfrm>
            <a:custGeom>
              <a:avLst/>
              <a:gdLst>
                <a:gd name="T0" fmla="*/ 15 w 29"/>
                <a:gd name="T1" fmla="*/ 0 h 29"/>
                <a:gd name="T2" fmla="*/ 29 w 29"/>
                <a:gd name="T3" fmla="*/ 15 h 29"/>
                <a:gd name="T4" fmla="*/ 14 w 29"/>
                <a:gd name="T5" fmla="*/ 29 h 29"/>
                <a:gd name="T6" fmla="*/ 0 w 29"/>
                <a:gd name="T7" fmla="*/ 15 h 29"/>
                <a:gd name="T8" fmla="*/ 15 w 2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15" y="0"/>
                  </a:moveTo>
                  <a:cubicBezTo>
                    <a:pt x="23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ubicBezTo>
                    <a:pt x="7" y="29"/>
                    <a:pt x="0" y="22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1" name="Freeform 131">
              <a:extLst>
                <a:ext uri="{FF2B5EF4-FFF2-40B4-BE49-F238E27FC236}">
                  <a16:creationId xmlns:a16="http://schemas.microsoft.com/office/drawing/2014/main" xmlns="" id="{D2CA706A-354B-418D-AE0C-833621C30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635" y="5213274"/>
              <a:ext cx="7373" cy="0"/>
            </a:xfrm>
            <a:custGeom>
              <a:avLst/>
              <a:gdLst>
                <a:gd name="T0" fmla="*/ 0 w 4"/>
                <a:gd name="T1" fmla="*/ 4 w 4"/>
                <a:gd name="T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cubicBezTo>
                    <a:pt x="2" y="0"/>
                    <a:pt x="3" y="0"/>
                    <a:pt x="4" y="0"/>
                  </a:cubicBezTo>
                  <a:cubicBezTo>
                    <a:pt x="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B14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2" name="Freeform 132">
              <a:extLst>
                <a:ext uri="{FF2B5EF4-FFF2-40B4-BE49-F238E27FC236}">
                  <a16:creationId xmlns:a16="http://schemas.microsoft.com/office/drawing/2014/main" xmlns="" id="{2D61CD31-CFA7-43E6-A67A-C738339EC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181" y="5356304"/>
              <a:ext cx="4424" cy="1475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FB14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3" name="Freeform 133">
              <a:extLst>
                <a:ext uri="{FF2B5EF4-FFF2-40B4-BE49-F238E27FC236}">
                  <a16:creationId xmlns:a16="http://schemas.microsoft.com/office/drawing/2014/main" xmlns="" id="{DE1743E8-0F2C-45B3-B571-035DA2BE0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169" y="5039278"/>
              <a:ext cx="64880" cy="169572"/>
            </a:xfrm>
            <a:custGeom>
              <a:avLst/>
              <a:gdLst>
                <a:gd name="T0" fmla="*/ 5 w 34"/>
                <a:gd name="T1" fmla="*/ 82 h 89"/>
                <a:gd name="T2" fmla="*/ 11 w 34"/>
                <a:gd name="T3" fmla="*/ 71 h 89"/>
                <a:gd name="T4" fmla="*/ 13 w 34"/>
                <a:gd name="T5" fmla="*/ 66 h 89"/>
                <a:gd name="T6" fmla="*/ 13 w 34"/>
                <a:gd name="T7" fmla="*/ 34 h 89"/>
                <a:gd name="T8" fmla="*/ 5 w 34"/>
                <a:gd name="T9" fmla="*/ 14 h 89"/>
                <a:gd name="T10" fmla="*/ 1 w 34"/>
                <a:gd name="T11" fmla="*/ 5 h 89"/>
                <a:gd name="T12" fmla="*/ 6 w 34"/>
                <a:gd name="T13" fmla="*/ 2 h 89"/>
                <a:gd name="T14" fmla="*/ 23 w 34"/>
                <a:gd name="T15" fmla="*/ 34 h 89"/>
                <a:gd name="T16" fmla="*/ 22 w 34"/>
                <a:gd name="T17" fmla="*/ 65 h 89"/>
                <a:gd name="T18" fmla="*/ 23 w 34"/>
                <a:gd name="T19" fmla="*/ 71 h 89"/>
                <a:gd name="T20" fmla="*/ 28 w 34"/>
                <a:gd name="T21" fmla="*/ 83 h 89"/>
                <a:gd name="T22" fmla="*/ 34 w 34"/>
                <a:gd name="T23" fmla="*/ 89 h 89"/>
                <a:gd name="T24" fmla="*/ 0 w 34"/>
                <a:gd name="T25" fmla="*/ 87 h 89"/>
                <a:gd name="T26" fmla="*/ 5 w 34"/>
                <a:gd name="T27" fmla="*/ 8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89">
                  <a:moveTo>
                    <a:pt x="5" y="82"/>
                  </a:moveTo>
                  <a:cubicBezTo>
                    <a:pt x="5" y="77"/>
                    <a:pt x="5" y="73"/>
                    <a:pt x="11" y="71"/>
                  </a:cubicBezTo>
                  <a:cubicBezTo>
                    <a:pt x="13" y="70"/>
                    <a:pt x="13" y="68"/>
                    <a:pt x="13" y="66"/>
                  </a:cubicBezTo>
                  <a:cubicBezTo>
                    <a:pt x="13" y="55"/>
                    <a:pt x="13" y="45"/>
                    <a:pt x="13" y="34"/>
                  </a:cubicBezTo>
                  <a:cubicBezTo>
                    <a:pt x="14" y="26"/>
                    <a:pt x="11" y="19"/>
                    <a:pt x="5" y="14"/>
                  </a:cubicBezTo>
                  <a:cubicBezTo>
                    <a:pt x="2" y="11"/>
                    <a:pt x="1" y="8"/>
                    <a:pt x="1" y="5"/>
                  </a:cubicBezTo>
                  <a:cubicBezTo>
                    <a:pt x="2" y="1"/>
                    <a:pt x="3" y="0"/>
                    <a:pt x="6" y="2"/>
                  </a:cubicBezTo>
                  <a:cubicBezTo>
                    <a:pt x="17" y="10"/>
                    <a:pt x="23" y="20"/>
                    <a:pt x="23" y="34"/>
                  </a:cubicBezTo>
                  <a:cubicBezTo>
                    <a:pt x="23" y="44"/>
                    <a:pt x="23" y="55"/>
                    <a:pt x="22" y="65"/>
                  </a:cubicBezTo>
                  <a:cubicBezTo>
                    <a:pt x="22" y="67"/>
                    <a:pt x="21" y="70"/>
                    <a:pt x="23" y="71"/>
                  </a:cubicBezTo>
                  <a:cubicBezTo>
                    <a:pt x="28" y="74"/>
                    <a:pt x="29" y="78"/>
                    <a:pt x="28" y="83"/>
                  </a:cubicBezTo>
                  <a:cubicBezTo>
                    <a:pt x="28" y="87"/>
                    <a:pt x="29" y="88"/>
                    <a:pt x="34" y="89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4" y="87"/>
                    <a:pt x="6" y="86"/>
                    <a:pt x="5" y="82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4" name="Freeform 134">
              <a:extLst>
                <a:ext uri="{FF2B5EF4-FFF2-40B4-BE49-F238E27FC236}">
                  <a16:creationId xmlns:a16="http://schemas.microsoft.com/office/drawing/2014/main" xmlns="" id="{7450E736-6926-4BA1-8013-EB4332CE3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855" y="5068769"/>
              <a:ext cx="97320" cy="147454"/>
            </a:xfrm>
            <a:custGeom>
              <a:avLst/>
              <a:gdLst>
                <a:gd name="T0" fmla="*/ 16 w 51"/>
                <a:gd name="T1" fmla="*/ 20 h 78"/>
                <a:gd name="T2" fmla="*/ 41 w 51"/>
                <a:gd name="T3" fmla="*/ 2 h 78"/>
                <a:gd name="T4" fmla="*/ 50 w 51"/>
                <a:gd name="T5" fmla="*/ 12 h 78"/>
                <a:gd name="T6" fmla="*/ 46 w 51"/>
                <a:gd name="T7" fmla="*/ 54 h 78"/>
                <a:gd name="T8" fmla="*/ 24 w 51"/>
                <a:gd name="T9" fmla="*/ 74 h 78"/>
                <a:gd name="T10" fmla="*/ 9 w 51"/>
                <a:gd name="T11" fmla="*/ 74 h 78"/>
                <a:gd name="T12" fmla="*/ 2 w 51"/>
                <a:gd name="T13" fmla="*/ 65 h 78"/>
                <a:gd name="T14" fmla="*/ 16 w 51"/>
                <a:gd name="T15" fmla="*/ 2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78">
                  <a:moveTo>
                    <a:pt x="16" y="20"/>
                  </a:moveTo>
                  <a:cubicBezTo>
                    <a:pt x="21" y="0"/>
                    <a:pt x="19" y="3"/>
                    <a:pt x="41" y="2"/>
                  </a:cubicBezTo>
                  <a:cubicBezTo>
                    <a:pt x="49" y="2"/>
                    <a:pt x="51" y="5"/>
                    <a:pt x="50" y="12"/>
                  </a:cubicBezTo>
                  <a:cubicBezTo>
                    <a:pt x="49" y="26"/>
                    <a:pt x="48" y="40"/>
                    <a:pt x="46" y="54"/>
                  </a:cubicBezTo>
                  <a:cubicBezTo>
                    <a:pt x="42" y="78"/>
                    <a:pt x="48" y="74"/>
                    <a:pt x="24" y="74"/>
                  </a:cubicBezTo>
                  <a:cubicBezTo>
                    <a:pt x="18" y="74"/>
                    <a:pt x="14" y="73"/>
                    <a:pt x="9" y="74"/>
                  </a:cubicBezTo>
                  <a:cubicBezTo>
                    <a:pt x="2" y="74"/>
                    <a:pt x="0" y="71"/>
                    <a:pt x="2" y="65"/>
                  </a:cubicBezTo>
                  <a:cubicBezTo>
                    <a:pt x="7" y="50"/>
                    <a:pt x="11" y="35"/>
                    <a:pt x="16" y="20"/>
                  </a:cubicBez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5" name="Freeform 135">
              <a:extLst>
                <a:ext uri="{FF2B5EF4-FFF2-40B4-BE49-F238E27FC236}">
                  <a16:creationId xmlns:a16="http://schemas.microsoft.com/office/drawing/2014/main" xmlns="" id="{1A8B9BE6-0BC8-4F3A-BFC8-81D30DA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904" y="5074667"/>
              <a:ext cx="187267" cy="137132"/>
            </a:xfrm>
            <a:custGeom>
              <a:avLst/>
              <a:gdLst>
                <a:gd name="T0" fmla="*/ 6 w 98"/>
                <a:gd name="T1" fmla="*/ 11 h 72"/>
                <a:gd name="T2" fmla="*/ 17 w 98"/>
                <a:gd name="T3" fmla="*/ 0 h 72"/>
                <a:gd name="T4" fmla="*/ 71 w 98"/>
                <a:gd name="T5" fmla="*/ 1 h 72"/>
                <a:gd name="T6" fmla="*/ 82 w 98"/>
                <a:gd name="T7" fmla="*/ 10 h 72"/>
                <a:gd name="T8" fmla="*/ 95 w 98"/>
                <a:gd name="T9" fmla="*/ 63 h 72"/>
                <a:gd name="T10" fmla="*/ 88 w 98"/>
                <a:gd name="T11" fmla="*/ 72 h 72"/>
                <a:gd name="T12" fmla="*/ 49 w 98"/>
                <a:gd name="T13" fmla="*/ 72 h 72"/>
                <a:gd name="T14" fmla="*/ 8 w 98"/>
                <a:gd name="T15" fmla="*/ 71 h 72"/>
                <a:gd name="T16" fmla="*/ 1 w 98"/>
                <a:gd name="T17" fmla="*/ 63 h 72"/>
                <a:gd name="T18" fmla="*/ 6 w 98"/>
                <a:gd name="T19" fmla="*/ 1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72">
                  <a:moveTo>
                    <a:pt x="6" y="11"/>
                  </a:moveTo>
                  <a:cubicBezTo>
                    <a:pt x="7" y="3"/>
                    <a:pt x="9" y="0"/>
                    <a:pt x="17" y="0"/>
                  </a:cubicBezTo>
                  <a:cubicBezTo>
                    <a:pt x="35" y="1"/>
                    <a:pt x="53" y="1"/>
                    <a:pt x="71" y="1"/>
                  </a:cubicBezTo>
                  <a:cubicBezTo>
                    <a:pt x="78" y="1"/>
                    <a:pt x="81" y="4"/>
                    <a:pt x="82" y="10"/>
                  </a:cubicBezTo>
                  <a:cubicBezTo>
                    <a:pt x="86" y="28"/>
                    <a:pt x="91" y="45"/>
                    <a:pt x="95" y="63"/>
                  </a:cubicBezTo>
                  <a:cubicBezTo>
                    <a:pt x="98" y="70"/>
                    <a:pt x="95" y="72"/>
                    <a:pt x="88" y="72"/>
                  </a:cubicBezTo>
                  <a:cubicBezTo>
                    <a:pt x="75" y="72"/>
                    <a:pt x="62" y="72"/>
                    <a:pt x="49" y="72"/>
                  </a:cubicBezTo>
                  <a:cubicBezTo>
                    <a:pt x="35" y="71"/>
                    <a:pt x="22" y="71"/>
                    <a:pt x="8" y="71"/>
                  </a:cubicBezTo>
                  <a:cubicBezTo>
                    <a:pt x="2" y="71"/>
                    <a:pt x="0" y="69"/>
                    <a:pt x="1" y="63"/>
                  </a:cubicBezTo>
                  <a:cubicBezTo>
                    <a:pt x="3" y="46"/>
                    <a:pt x="5" y="28"/>
                    <a:pt x="6" y="11"/>
                  </a:cubicBezTo>
                  <a:close/>
                </a:path>
              </a:pathLst>
            </a:custGeom>
            <a:solidFill>
              <a:srgbClr val="B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6" name="Freeform 136">
              <a:extLst>
                <a:ext uri="{FF2B5EF4-FFF2-40B4-BE49-F238E27FC236}">
                  <a16:creationId xmlns:a16="http://schemas.microsoft.com/office/drawing/2014/main" xmlns="" id="{6DDD1668-1D81-497C-AAC9-40E4742A43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1008" y="5058447"/>
              <a:ext cx="594240" cy="311128"/>
            </a:xfrm>
            <a:custGeom>
              <a:avLst/>
              <a:gdLst>
                <a:gd name="T0" fmla="*/ 0 w 312"/>
                <a:gd name="T1" fmla="*/ 81 h 163"/>
                <a:gd name="T2" fmla="*/ 69 w 312"/>
                <a:gd name="T3" fmla="*/ 99 h 163"/>
                <a:gd name="T4" fmla="*/ 103 w 312"/>
                <a:gd name="T5" fmla="*/ 151 h 163"/>
                <a:gd name="T6" fmla="*/ 117 w 312"/>
                <a:gd name="T7" fmla="*/ 162 h 163"/>
                <a:gd name="T8" fmla="*/ 225 w 312"/>
                <a:gd name="T9" fmla="*/ 163 h 163"/>
                <a:gd name="T10" fmla="*/ 232 w 312"/>
                <a:gd name="T11" fmla="*/ 161 h 163"/>
                <a:gd name="T12" fmla="*/ 278 w 312"/>
                <a:gd name="T13" fmla="*/ 151 h 163"/>
                <a:gd name="T14" fmla="*/ 299 w 312"/>
                <a:gd name="T15" fmla="*/ 156 h 163"/>
                <a:gd name="T16" fmla="*/ 298 w 312"/>
                <a:gd name="T17" fmla="*/ 150 h 163"/>
                <a:gd name="T18" fmla="*/ 305 w 312"/>
                <a:gd name="T19" fmla="*/ 135 h 163"/>
                <a:gd name="T20" fmla="*/ 302 w 312"/>
                <a:gd name="T21" fmla="*/ 96 h 163"/>
                <a:gd name="T22" fmla="*/ 297 w 312"/>
                <a:gd name="T23" fmla="*/ 93 h 163"/>
                <a:gd name="T24" fmla="*/ 287 w 312"/>
                <a:gd name="T25" fmla="*/ 91 h 163"/>
                <a:gd name="T26" fmla="*/ 281 w 312"/>
                <a:gd name="T27" fmla="*/ 87 h 163"/>
                <a:gd name="T28" fmla="*/ 274 w 312"/>
                <a:gd name="T29" fmla="*/ 83 h 163"/>
                <a:gd name="T30" fmla="*/ 227 w 312"/>
                <a:gd name="T31" fmla="*/ 79 h 163"/>
                <a:gd name="T32" fmla="*/ 193 w 312"/>
                <a:gd name="T33" fmla="*/ 77 h 163"/>
                <a:gd name="T34" fmla="*/ 160 w 312"/>
                <a:gd name="T35" fmla="*/ 76 h 163"/>
                <a:gd name="T36" fmla="*/ 154 w 312"/>
                <a:gd name="T37" fmla="*/ 71 h 163"/>
                <a:gd name="T38" fmla="*/ 144 w 312"/>
                <a:gd name="T39" fmla="*/ 29 h 163"/>
                <a:gd name="T40" fmla="*/ 131 w 312"/>
                <a:gd name="T41" fmla="*/ 4 h 163"/>
                <a:gd name="T42" fmla="*/ 125 w 312"/>
                <a:gd name="T43" fmla="*/ 1 h 163"/>
                <a:gd name="T44" fmla="*/ 20 w 312"/>
                <a:gd name="T45" fmla="*/ 0 h 163"/>
                <a:gd name="T46" fmla="*/ 13 w 312"/>
                <a:gd name="T47" fmla="*/ 5 h 163"/>
                <a:gd name="T48" fmla="*/ 17 w 312"/>
                <a:gd name="T49" fmla="*/ 13 h 163"/>
                <a:gd name="T50" fmla="*/ 20 w 312"/>
                <a:gd name="T51" fmla="*/ 18 h 163"/>
                <a:gd name="T52" fmla="*/ 4 w 312"/>
                <a:gd name="T53" fmla="*/ 76 h 163"/>
                <a:gd name="T54" fmla="*/ 0 w 312"/>
                <a:gd name="T55" fmla="*/ 81 h 163"/>
                <a:gd name="T56" fmla="*/ 50 w 312"/>
                <a:gd name="T57" fmla="*/ 71 h 163"/>
                <a:gd name="T58" fmla="*/ 55 w 312"/>
                <a:gd name="T59" fmla="*/ 19 h 163"/>
                <a:gd name="T60" fmla="*/ 66 w 312"/>
                <a:gd name="T61" fmla="*/ 8 h 163"/>
                <a:gd name="T62" fmla="*/ 120 w 312"/>
                <a:gd name="T63" fmla="*/ 9 h 163"/>
                <a:gd name="T64" fmla="*/ 131 w 312"/>
                <a:gd name="T65" fmla="*/ 18 h 163"/>
                <a:gd name="T66" fmla="*/ 144 w 312"/>
                <a:gd name="T67" fmla="*/ 71 h 163"/>
                <a:gd name="T68" fmla="*/ 137 w 312"/>
                <a:gd name="T69" fmla="*/ 80 h 163"/>
                <a:gd name="T70" fmla="*/ 98 w 312"/>
                <a:gd name="T71" fmla="*/ 80 h 163"/>
                <a:gd name="T72" fmla="*/ 57 w 312"/>
                <a:gd name="T73" fmla="*/ 79 h 163"/>
                <a:gd name="T74" fmla="*/ 50 w 312"/>
                <a:gd name="T75" fmla="*/ 71 h 163"/>
                <a:gd name="T76" fmla="*/ 8 w 312"/>
                <a:gd name="T77" fmla="*/ 70 h 163"/>
                <a:gd name="T78" fmla="*/ 20 w 312"/>
                <a:gd name="T79" fmla="*/ 25 h 163"/>
                <a:gd name="T80" fmla="*/ 44 w 312"/>
                <a:gd name="T81" fmla="*/ 8 h 163"/>
                <a:gd name="T82" fmla="*/ 53 w 312"/>
                <a:gd name="T83" fmla="*/ 17 h 163"/>
                <a:gd name="T84" fmla="*/ 48 w 312"/>
                <a:gd name="T85" fmla="*/ 59 h 163"/>
                <a:gd name="T86" fmla="*/ 28 w 312"/>
                <a:gd name="T87" fmla="*/ 78 h 163"/>
                <a:gd name="T88" fmla="*/ 14 w 312"/>
                <a:gd name="T89" fmla="*/ 78 h 163"/>
                <a:gd name="T90" fmla="*/ 8 w 312"/>
                <a:gd name="T91" fmla="*/ 7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2" h="163">
                  <a:moveTo>
                    <a:pt x="0" y="81"/>
                  </a:moveTo>
                  <a:cubicBezTo>
                    <a:pt x="11" y="80"/>
                    <a:pt x="42" y="80"/>
                    <a:pt x="69" y="99"/>
                  </a:cubicBezTo>
                  <a:cubicBezTo>
                    <a:pt x="84" y="110"/>
                    <a:pt x="97" y="126"/>
                    <a:pt x="103" y="151"/>
                  </a:cubicBezTo>
                  <a:cubicBezTo>
                    <a:pt x="105" y="157"/>
                    <a:pt x="111" y="162"/>
                    <a:pt x="117" y="162"/>
                  </a:cubicBezTo>
                  <a:cubicBezTo>
                    <a:pt x="225" y="163"/>
                    <a:pt x="225" y="163"/>
                    <a:pt x="225" y="163"/>
                  </a:cubicBezTo>
                  <a:cubicBezTo>
                    <a:pt x="228" y="163"/>
                    <a:pt x="230" y="162"/>
                    <a:pt x="232" y="161"/>
                  </a:cubicBezTo>
                  <a:cubicBezTo>
                    <a:pt x="238" y="157"/>
                    <a:pt x="255" y="149"/>
                    <a:pt x="278" y="151"/>
                  </a:cubicBezTo>
                  <a:cubicBezTo>
                    <a:pt x="284" y="152"/>
                    <a:pt x="292" y="154"/>
                    <a:pt x="299" y="156"/>
                  </a:cubicBezTo>
                  <a:cubicBezTo>
                    <a:pt x="297" y="155"/>
                    <a:pt x="296" y="154"/>
                    <a:pt x="298" y="150"/>
                  </a:cubicBezTo>
                  <a:cubicBezTo>
                    <a:pt x="301" y="145"/>
                    <a:pt x="302" y="140"/>
                    <a:pt x="305" y="135"/>
                  </a:cubicBezTo>
                  <a:cubicBezTo>
                    <a:pt x="312" y="121"/>
                    <a:pt x="308" y="108"/>
                    <a:pt x="302" y="96"/>
                  </a:cubicBezTo>
                  <a:cubicBezTo>
                    <a:pt x="301" y="93"/>
                    <a:pt x="299" y="93"/>
                    <a:pt x="297" y="93"/>
                  </a:cubicBezTo>
                  <a:cubicBezTo>
                    <a:pt x="294" y="92"/>
                    <a:pt x="290" y="92"/>
                    <a:pt x="287" y="91"/>
                  </a:cubicBezTo>
                  <a:cubicBezTo>
                    <a:pt x="284" y="91"/>
                    <a:pt x="282" y="90"/>
                    <a:pt x="281" y="87"/>
                  </a:cubicBezTo>
                  <a:cubicBezTo>
                    <a:pt x="280" y="84"/>
                    <a:pt x="277" y="83"/>
                    <a:pt x="274" y="83"/>
                  </a:cubicBezTo>
                  <a:cubicBezTo>
                    <a:pt x="258" y="81"/>
                    <a:pt x="242" y="80"/>
                    <a:pt x="227" y="79"/>
                  </a:cubicBezTo>
                  <a:cubicBezTo>
                    <a:pt x="193" y="77"/>
                    <a:pt x="193" y="77"/>
                    <a:pt x="193" y="77"/>
                  </a:cubicBezTo>
                  <a:cubicBezTo>
                    <a:pt x="182" y="77"/>
                    <a:pt x="171" y="76"/>
                    <a:pt x="160" y="76"/>
                  </a:cubicBezTo>
                  <a:cubicBezTo>
                    <a:pt x="156" y="76"/>
                    <a:pt x="155" y="74"/>
                    <a:pt x="154" y="71"/>
                  </a:cubicBezTo>
                  <a:cubicBezTo>
                    <a:pt x="151" y="57"/>
                    <a:pt x="147" y="43"/>
                    <a:pt x="144" y="29"/>
                  </a:cubicBezTo>
                  <a:cubicBezTo>
                    <a:pt x="142" y="19"/>
                    <a:pt x="136" y="12"/>
                    <a:pt x="131" y="4"/>
                  </a:cubicBezTo>
                  <a:cubicBezTo>
                    <a:pt x="130" y="2"/>
                    <a:pt x="127" y="1"/>
                    <a:pt x="125" y="1"/>
                  </a:cubicBezTo>
                  <a:cubicBezTo>
                    <a:pt x="90" y="1"/>
                    <a:pt x="55" y="1"/>
                    <a:pt x="20" y="0"/>
                  </a:cubicBezTo>
                  <a:cubicBezTo>
                    <a:pt x="16" y="0"/>
                    <a:pt x="13" y="0"/>
                    <a:pt x="13" y="5"/>
                  </a:cubicBezTo>
                  <a:cubicBezTo>
                    <a:pt x="13" y="8"/>
                    <a:pt x="11" y="13"/>
                    <a:pt x="17" y="13"/>
                  </a:cubicBezTo>
                  <a:cubicBezTo>
                    <a:pt x="20" y="14"/>
                    <a:pt x="21" y="15"/>
                    <a:pt x="20" y="18"/>
                  </a:cubicBezTo>
                  <a:cubicBezTo>
                    <a:pt x="15" y="37"/>
                    <a:pt x="9" y="57"/>
                    <a:pt x="4" y="76"/>
                  </a:cubicBezTo>
                  <a:cubicBezTo>
                    <a:pt x="3" y="79"/>
                    <a:pt x="2" y="80"/>
                    <a:pt x="0" y="81"/>
                  </a:cubicBezTo>
                  <a:close/>
                  <a:moveTo>
                    <a:pt x="50" y="71"/>
                  </a:moveTo>
                  <a:cubicBezTo>
                    <a:pt x="52" y="54"/>
                    <a:pt x="54" y="36"/>
                    <a:pt x="55" y="19"/>
                  </a:cubicBezTo>
                  <a:cubicBezTo>
                    <a:pt x="56" y="11"/>
                    <a:pt x="58" y="8"/>
                    <a:pt x="66" y="8"/>
                  </a:cubicBezTo>
                  <a:cubicBezTo>
                    <a:pt x="84" y="9"/>
                    <a:pt x="102" y="9"/>
                    <a:pt x="120" y="9"/>
                  </a:cubicBezTo>
                  <a:cubicBezTo>
                    <a:pt x="127" y="9"/>
                    <a:pt x="130" y="12"/>
                    <a:pt x="131" y="18"/>
                  </a:cubicBezTo>
                  <a:cubicBezTo>
                    <a:pt x="135" y="36"/>
                    <a:pt x="140" y="53"/>
                    <a:pt x="144" y="71"/>
                  </a:cubicBezTo>
                  <a:cubicBezTo>
                    <a:pt x="147" y="78"/>
                    <a:pt x="144" y="80"/>
                    <a:pt x="137" y="80"/>
                  </a:cubicBezTo>
                  <a:cubicBezTo>
                    <a:pt x="124" y="80"/>
                    <a:pt x="111" y="80"/>
                    <a:pt x="98" y="80"/>
                  </a:cubicBezTo>
                  <a:cubicBezTo>
                    <a:pt x="84" y="79"/>
                    <a:pt x="71" y="79"/>
                    <a:pt x="57" y="79"/>
                  </a:cubicBezTo>
                  <a:cubicBezTo>
                    <a:pt x="51" y="79"/>
                    <a:pt x="49" y="77"/>
                    <a:pt x="50" y="71"/>
                  </a:cubicBezTo>
                  <a:close/>
                  <a:moveTo>
                    <a:pt x="8" y="70"/>
                  </a:moveTo>
                  <a:cubicBezTo>
                    <a:pt x="12" y="55"/>
                    <a:pt x="16" y="40"/>
                    <a:pt x="20" y="25"/>
                  </a:cubicBezTo>
                  <a:cubicBezTo>
                    <a:pt x="26" y="5"/>
                    <a:pt x="23" y="8"/>
                    <a:pt x="44" y="8"/>
                  </a:cubicBezTo>
                  <a:cubicBezTo>
                    <a:pt x="51" y="8"/>
                    <a:pt x="53" y="11"/>
                    <a:pt x="53" y="17"/>
                  </a:cubicBezTo>
                  <a:cubicBezTo>
                    <a:pt x="51" y="31"/>
                    <a:pt x="50" y="45"/>
                    <a:pt x="48" y="59"/>
                  </a:cubicBezTo>
                  <a:cubicBezTo>
                    <a:pt x="45" y="82"/>
                    <a:pt x="51" y="78"/>
                    <a:pt x="28" y="78"/>
                  </a:cubicBezTo>
                  <a:cubicBezTo>
                    <a:pt x="22" y="78"/>
                    <a:pt x="18" y="78"/>
                    <a:pt x="14" y="78"/>
                  </a:cubicBezTo>
                  <a:cubicBezTo>
                    <a:pt x="7" y="79"/>
                    <a:pt x="6" y="76"/>
                    <a:pt x="8" y="70"/>
                  </a:cubicBezTo>
                  <a:close/>
                </a:path>
              </a:pathLst>
            </a:custGeom>
            <a:solidFill>
              <a:srgbClr val="FF8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7" name="Freeform 137">
              <a:extLst>
                <a:ext uri="{FF2B5EF4-FFF2-40B4-BE49-F238E27FC236}">
                  <a16:creationId xmlns:a16="http://schemas.microsoft.com/office/drawing/2014/main" xmlns="" id="{4A8D9B29-B7B6-407D-B45A-A022B65D5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670" y="5211799"/>
              <a:ext cx="642899" cy="262468"/>
            </a:xfrm>
            <a:custGeom>
              <a:avLst/>
              <a:gdLst>
                <a:gd name="T0" fmla="*/ 336 w 337"/>
                <a:gd name="T1" fmla="*/ 97 h 138"/>
                <a:gd name="T2" fmla="*/ 321 w 337"/>
                <a:gd name="T3" fmla="*/ 77 h 138"/>
                <a:gd name="T4" fmla="*/ 319 w 337"/>
                <a:gd name="T5" fmla="*/ 76 h 138"/>
                <a:gd name="T6" fmla="*/ 298 w 337"/>
                <a:gd name="T7" fmla="*/ 71 h 138"/>
                <a:gd name="T8" fmla="*/ 252 w 337"/>
                <a:gd name="T9" fmla="*/ 81 h 138"/>
                <a:gd name="T10" fmla="*/ 245 w 337"/>
                <a:gd name="T11" fmla="*/ 83 h 138"/>
                <a:gd name="T12" fmla="*/ 137 w 337"/>
                <a:gd name="T13" fmla="*/ 82 h 138"/>
                <a:gd name="T14" fmla="*/ 123 w 337"/>
                <a:gd name="T15" fmla="*/ 71 h 138"/>
                <a:gd name="T16" fmla="*/ 89 w 337"/>
                <a:gd name="T17" fmla="*/ 19 h 138"/>
                <a:gd name="T18" fmla="*/ 20 w 337"/>
                <a:gd name="T19" fmla="*/ 1 h 138"/>
                <a:gd name="T20" fmla="*/ 16 w 337"/>
                <a:gd name="T21" fmla="*/ 1 h 138"/>
                <a:gd name="T22" fmla="*/ 4 w 337"/>
                <a:gd name="T23" fmla="*/ 4 h 138"/>
                <a:gd name="T24" fmla="*/ 3 w 337"/>
                <a:gd name="T25" fmla="*/ 23 h 138"/>
                <a:gd name="T26" fmla="*/ 34 w 337"/>
                <a:gd name="T27" fmla="*/ 17 h 138"/>
                <a:gd name="T28" fmla="*/ 115 w 337"/>
                <a:gd name="T29" fmla="*/ 99 h 138"/>
                <a:gd name="T30" fmla="*/ 114 w 337"/>
                <a:gd name="T31" fmla="*/ 101 h 138"/>
                <a:gd name="T32" fmla="*/ 117 w 337"/>
                <a:gd name="T33" fmla="*/ 103 h 138"/>
                <a:gd name="T34" fmla="*/ 118 w 337"/>
                <a:gd name="T35" fmla="*/ 108 h 138"/>
                <a:gd name="T36" fmla="*/ 118 w 337"/>
                <a:gd name="T37" fmla="*/ 132 h 138"/>
                <a:gd name="T38" fmla="*/ 123 w 337"/>
                <a:gd name="T39" fmla="*/ 138 h 138"/>
                <a:gd name="T40" fmla="*/ 147 w 337"/>
                <a:gd name="T41" fmla="*/ 138 h 138"/>
                <a:gd name="T42" fmla="*/ 152 w 337"/>
                <a:gd name="T43" fmla="*/ 133 h 138"/>
                <a:gd name="T44" fmla="*/ 153 w 337"/>
                <a:gd name="T45" fmla="*/ 109 h 138"/>
                <a:gd name="T46" fmla="*/ 162 w 337"/>
                <a:gd name="T47" fmla="*/ 97 h 138"/>
                <a:gd name="T48" fmla="*/ 168 w 337"/>
                <a:gd name="T49" fmla="*/ 94 h 138"/>
                <a:gd name="T50" fmla="*/ 173 w 337"/>
                <a:gd name="T51" fmla="*/ 92 h 138"/>
                <a:gd name="T52" fmla="*/ 233 w 337"/>
                <a:gd name="T53" fmla="*/ 94 h 138"/>
                <a:gd name="T54" fmla="*/ 244 w 337"/>
                <a:gd name="T55" fmla="*/ 102 h 138"/>
                <a:gd name="T56" fmla="*/ 248 w 337"/>
                <a:gd name="T57" fmla="*/ 104 h 138"/>
                <a:gd name="T58" fmla="*/ 251 w 337"/>
                <a:gd name="T59" fmla="*/ 104 h 138"/>
                <a:gd name="T60" fmla="*/ 290 w 337"/>
                <a:gd name="T61" fmla="*/ 86 h 138"/>
                <a:gd name="T62" fmla="*/ 330 w 337"/>
                <a:gd name="T63" fmla="*/ 108 h 138"/>
                <a:gd name="T64" fmla="*/ 336 w 337"/>
                <a:gd name="T65" fmla="*/ 103 h 138"/>
                <a:gd name="T66" fmla="*/ 336 w 337"/>
                <a:gd name="T67" fmla="*/ 97 h 138"/>
                <a:gd name="T68" fmla="*/ 125 w 337"/>
                <a:gd name="T69" fmla="*/ 102 h 138"/>
                <a:gd name="T70" fmla="*/ 136 w 337"/>
                <a:gd name="T71" fmla="*/ 102 h 138"/>
                <a:gd name="T72" fmla="*/ 136 w 337"/>
                <a:gd name="T73" fmla="*/ 102 h 138"/>
                <a:gd name="T74" fmla="*/ 146 w 337"/>
                <a:gd name="T75" fmla="*/ 102 h 138"/>
                <a:gd name="T76" fmla="*/ 149 w 337"/>
                <a:gd name="T77" fmla="*/ 106 h 138"/>
                <a:gd name="T78" fmla="*/ 146 w 337"/>
                <a:gd name="T79" fmla="*/ 109 h 138"/>
                <a:gd name="T80" fmla="*/ 124 w 337"/>
                <a:gd name="T81" fmla="*/ 109 h 138"/>
                <a:gd name="T82" fmla="*/ 121 w 337"/>
                <a:gd name="T83" fmla="*/ 105 h 138"/>
                <a:gd name="T84" fmla="*/ 125 w 337"/>
                <a:gd name="T85" fmla="*/ 102 h 138"/>
                <a:gd name="T86" fmla="*/ 137 w 337"/>
                <a:gd name="T87" fmla="*/ 136 h 138"/>
                <a:gd name="T88" fmla="*/ 135 w 337"/>
                <a:gd name="T89" fmla="*/ 136 h 138"/>
                <a:gd name="T90" fmla="*/ 121 w 337"/>
                <a:gd name="T91" fmla="*/ 120 h 138"/>
                <a:gd name="T92" fmla="*/ 126 w 337"/>
                <a:gd name="T93" fmla="*/ 115 h 138"/>
                <a:gd name="T94" fmla="*/ 145 w 337"/>
                <a:gd name="T95" fmla="*/ 115 h 138"/>
                <a:gd name="T96" fmla="*/ 149 w 337"/>
                <a:gd name="T97" fmla="*/ 121 h 138"/>
                <a:gd name="T98" fmla="*/ 137 w 337"/>
                <a:gd name="T99" fmla="*/ 1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7" h="138">
                  <a:moveTo>
                    <a:pt x="336" y="97"/>
                  </a:moveTo>
                  <a:cubicBezTo>
                    <a:pt x="337" y="82"/>
                    <a:pt x="337" y="82"/>
                    <a:pt x="321" y="77"/>
                  </a:cubicBezTo>
                  <a:cubicBezTo>
                    <a:pt x="321" y="77"/>
                    <a:pt x="320" y="77"/>
                    <a:pt x="319" y="76"/>
                  </a:cubicBezTo>
                  <a:cubicBezTo>
                    <a:pt x="312" y="74"/>
                    <a:pt x="304" y="72"/>
                    <a:pt x="298" y="71"/>
                  </a:cubicBezTo>
                  <a:cubicBezTo>
                    <a:pt x="275" y="69"/>
                    <a:pt x="258" y="77"/>
                    <a:pt x="252" y="81"/>
                  </a:cubicBezTo>
                  <a:cubicBezTo>
                    <a:pt x="250" y="82"/>
                    <a:pt x="248" y="83"/>
                    <a:pt x="245" y="83"/>
                  </a:cubicBezTo>
                  <a:cubicBezTo>
                    <a:pt x="137" y="82"/>
                    <a:pt x="137" y="82"/>
                    <a:pt x="137" y="82"/>
                  </a:cubicBezTo>
                  <a:cubicBezTo>
                    <a:pt x="131" y="82"/>
                    <a:pt x="125" y="77"/>
                    <a:pt x="123" y="71"/>
                  </a:cubicBezTo>
                  <a:cubicBezTo>
                    <a:pt x="117" y="46"/>
                    <a:pt x="104" y="30"/>
                    <a:pt x="89" y="19"/>
                  </a:cubicBezTo>
                  <a:cubicBezTo>
                    <a:pt x="62" y="0"/>
                    <a:pt x="31" y="0"/>
                    <a:pt x="20" y="1"/>
                  </a:cubicBezTo>
                  <a:cubicBezTo>
                    <a:pt x="19" y="1"/>
                    <a:pt x="18" y="1"/>
                    <a:pt x="16" y="1"/>
                  </a:cubicBezTo>
                  <a:cubicBezTo>
                    <a:pt x="12" y="1"/>
                    <a:pt x="7" y="0"/>
                    <a:pt x="4" y="4"/>
                  </a:cubicBezTo>
                  <a:cubicBezTo>
                    <a:pt x="1" y="9"/>
                    <a:pt x="0" y="18"/>
                    <a:pt x="3" y="23"/>
                  </a:cubicBezTo>
                  <a:cubicBezTo>
                    <a:pt x="13" y="19"/>
                    <a:pt x="23" y="17"/>
                    <a:pt x="34" y="17"/>
                  </a:cubicBezTo>
                  <a:cubicBezTo>
                    <a:pt x="79" y="17"/>
                    <a:pt x="115" y="54"/>
                    <a:pt x="115" y="99"/>
                  </a:cubicBezTo>
                  <a:cubicBezTo>
                    <a:pt x="115" y="100"/>
                    <a:pt x="114" y="101"/>
                    <a:pt x="114" y="101"/>
                  </a:cubicBezTo>
                  <a:cubicBezTo>
                    <a:pt x="115" y="102"/>
                    <a:pt x="116" y="102"/>
                    <a:pt x="117" y="103"/>
                  </a:cubicBezTo>
                  <a:cubicBezTo>
                    <a:pt x="119" y="104"/>
                    <a:pt x="118" y="106"/>
                    <a:pt x="118" y="108"/>
                  </a:cubicBezTo>
                  <a:cubicBezTo>
                    <a:pt x="118" y="116"/>
                    <a:pt x="118" y="124"/>
                    <a:pt x="118" y="132"/>
                  </a:cubicBezTo>
                  <a:cubicBezTo>
                    <a:pt x="117" y="136"/>
                    <a:pt x="119" y="138"/>
                    <a:pt x="123" y="138"/>
                  </a:cubicBezTo>
                  <a:cubicBezTo>
                    <a:pt x="131" y="138"/>
                    <a:pt x="139" y="138"/>
                    <a:pt x="147" y="138"/>
                  </a:cubicBezTo>
                  <a:cubicBezTo>
                    <a:pt x="151" y="138"/>
                    <a:pt x="152" y="137"/>
                    <a:pt x="152" y="133"/>
                  </a:cubicBezTo>
                  <a:cubicBezTo>
                    <a:pt x="152" y="125"/>
                    <a:pt x="152" y="117"/>
                    <a:pt x="153" y="109"/>
                  </a:cubicBezTo>
                  <a:cubicBezTo>
                    <a:pt x="153" y="103"/>
                    <a:pt x="157" y="98"/>
                    <a:pt x="162" y="97"/>
                  </a:cubicBezTo>
                  <a:cubicBezTo>
                    <a:pt x="165" y="97"/>
                    <a:pt x="167" y="97"/>
                    <a:pt x="168" y="94"/>
                  </a:cubicBezTo>
                  <a:cubicBezTo>
                    <a:pt x="169" y="92"/>
                    <a:pt x="171" y="91"/>
                    <a:pt x="173" y="92"/>
                  </a:cubicBezTo>
                  <a:cubicBezTo>
                    <a:pt x="193" y="93"/>
                    <a:pt x="213" y="92"/>
                    <a:pt x="233" y="94"/>
                  </a:cubicBezTo>
                  <a:cubicBezTo>
                    <a:pt x="238" y="95"/>
                    <a:pt x="244" y="94"/>
                    <a:pt x="244" y="102"/>
                  </a:cubicBezTo>
                  <a:cubicBezTo>
                    <a:pt x="244" y="104"/>
                    <a:pt x="246" y="104"/>
                    <a:pt x="248" y="104"/>
                  </a:cubicBezTo>
                  <a:cubicBezTo>
                    <a:pt x="249" y="104"/>
                    <a:pt x="250" y="104"/>
                    <a:pt x="251" y="104"/>
                  </a:cubicBezTo>
                  <a:cubicBezTo>
                    <a:pt x="260" y="93"/>
                    <a:pt x="274" y="86"/>
                    <a:pt x="290" y="86"/>
                  </a:cubicBezTo>
                  <a:cubicBezTo>
                    <a:pt x="307" y="86"/>
                    <a:pt x="322" y="95"/>
                    <a:pt x="330" y="108"/>
                  </a:cubicBezTo>
                  <a:cubicBezTo>
                    <a:pt x="336" y="111"/>
                    <a:pt x="336" y="111"/>
                    <a:pt x="336" y="103"/>
                  </a:cubicBezTo>
                  <a:cubicBezTo>
                    <a:pt x="336" y="101"/>
                    <a:pt x="336" y="99"/>
                    <a:pt x="336" y="97"/>
                  </a:cubicBezTo>
                  <a:close/>
                  <a:moveTo>
                    <a:pt x="125" y="102"/>
                  </a:moveTo>
                  <a:cubicBezTo>
                    <a:pt x="128" y="102"/>
                    <a:pt x="131" y="102"/>
                    <a:pt x="136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41" y="102"/>
                    <a:pt x="143" y="102"/>
                    <a:pt x="146" y="102"/>
                  </a:cubicBezTo>
                  <a:cubicBezTo>
                    <a:pt x="149" y="102"/>
                    <a:pt x="149" y="103"/>
                    <a:pt x="149" y="106"/>
                  </a:cubicBezTo>
                  <a:cubicBezTo>
                    <a:pt x="149" y="108"/>
                    <a:pt x="148" y="109"/>
                    <a:pt x="146" y="109"/>
                  </a:cubicBezTo>
                  <a:cubicBezTo>
                    <a:pt x="139" y="109"/>
                    <a:pt x="131" y="109"/>
                    <a:pt x="124" y="109"/>
                  </a:cubicBezTo>
                  <a:cubicBezTo>
                    <a:pt x="122" y="108"/>
                    <a:pt x="121" y="107"/>
                    <a:pt x="121" y="105"/>
                  </a:cubicBezTo>
                  <a:cubicBezTo>
                    <a:pt x="121" y="103"/>
                    <a:pt x="123" y="102"/>
                    <a:pt x="125" y="102"/>
                  </a:cubicBezTo>
                  <a:close/>
                  <a:moveTo>
                    <a:pt x="137" y="136"/>
                  </a:moveTo>
                  <a:cubicBezTo>
                    <a:pt x="136" y="136"/>
                    <a:pt x="136" y="136"/>
                    <a:pt x="135" y="136"/>
                  </a:cubicBezTo>
                  <a:cubicBezTo>
                    <a:pt x="119" y="136"/>
                    <a:pt x="120" y="134"/>
                    <a:pt x="121" y="120"/>
                  </a:cubicBezTo>
                  <a:cubicBezTo>
                    <a:pt x="121" y="117"/>
                    <a:pt x="122" y="114"/>
                    <a:pt x="126" y="115"/>
                  </a:cubicBezTo>
                  <a:cubicBezTo>
                    <a:pt x="132" y="115"/>
                    <a:pt x="138" y="115"/>
                    <a:pt x="145" y="115"/>
                  </a:cubicBezTo>
                  <a:cubicBezTo>
                    <a:pt x="148" y="115"/>
                    <a:pt x="149" y="118"/>
                    <a:pt x="149" y="121"/>
                  </a:cubicBezTo>
                  <a:cubicBezTo>
                    <a:pt x="150" y="135"/>
                    <a:pt x="150" y="136"/>
                    <a:pt x="137" y="136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683" name="Groupe 682">
            <a:extLst>
              <a:ext uri="{FF2B5EF4-FFF2-40B4-BE49-F238E27FC236}">
                <a16:creationId xmlns:a16="http://schemas.microsoft.com/office/drawing/2014/main" xmlns="" id="{33965804-1605-4187-938D-189674147651}"/>
              </a:ext>
            </a:extLst>
          </p:cNvPr>
          <p:cNvGrpSpPr/>
          <p:nvPr/>
        </p:nvGrpSpPr>
        <p:grpSpPr>
          <a:xfrm>
            <a:off x="4330846" y="5273208"/>
            <a:ext cx="677107" cy="686699"/>
            <a:chOff x="4408326" y="4255964"/>
            <a:chExt cx="520512" cy="527886"/>
          </a:xfrm>
        </p:grpSpPr>
        <p:sp>
          <p:nvSpPr>
            <p:cNvPr id="666" name="Freeform 157">
              <a:extLst>
                <a:ext uri="{FF2B5EF4-FFF2-40B4-BE49-F238E27FC236}">
                  <a16:creationId xmlns:a16="http://schemas.microsoft.com/office/drawing/2014/main" xmlns="" id="{726D8581-F006-49C0-9EE4-ADB83C215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8757" y="4449129"/>
              <a:ext cx="70778" cy="92896"/>
            </a:xfrm>
            <a:custGeom>
              <a:avLst/>
              <a:gdLst>
                <a:gd name="T0" fmla="*/ 0 w 48"/>
                <a:gd name="T1" fmla="*/ 32 h 63"/>
                <a:gd name="T2" fmla="*/ 5 w 48"/>
                <a:gd name="T3" fmla="*/ 0 h 63"/>
                <a:gd name="T4" fmla="*/ 48 w 48"/>
                <a:gd name="T5" fmla="*/ 14 h 63"/>
                <a:gd name="T6" fmla="*/ 45 w 48"/>
                <a:gd name="T7" fmla="*/ 63 h 63"/>
                <a:gd name="T8" fmla="*/ 0 w 48"/>
                <a:gd name="T9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3">
                  <a:moveTo>
                    <a:pt x="0" y="32"/>
                  </a:moveTo>
                  <a:lnTo>
                    <a:pt x="5" y="0"/>
                  </a:lnTo>
                  <a:lnTo>
                    <a:pt x="48" y="14"/>
                  </a:lnTo>
                  <a:lnTo>
                    <a:pt x="45" y="63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7" name="Rectangle 158">
              <a:extLst>
                <a:ext uri="{FF2B5EF4-FFF2-40B4-BE49-F238E27FC236}">
                  <a16:creationId xmlns:a16="http://schemas.microsoft.com/office/drawing/2014/main" xmlns="" id="{2E4483F1-DA5D-4AC1-8BDA-1BADD561D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6907" y="4570041"/>
              <a:ext cx="10322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8" name="Rectangle 159">
              <a:extLst>
                <a:ext uri="{FF2B5EF4-FFF2-40B4-BE49-F238E27FC236}">
                  <a16:creationId xmlns:a16="http://schemas.microsoft.com/office/drawing/2014/main" xmlns="" id="{EA54F246-60F4-4223-866F-C695A88C5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7551" y="4570041"/>
              <a:ext cx="10322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9" name="Rectangle 160">
              <a:extLst>
                <a:ext uri="{FF2B5EF4-FFF2-40B4-BE49-F238E27FC236}">
                  <a16:creationId xmlns:a16="http://schemas.microsoft.com/office/drawing/2014/main" xmlns="" id="{FC64414A-A300-4831-8503-EF5542049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6720" y="4567092"/>
              <a:ext cx="1475" cy="209385"/>
            </a:xfrm>
            <a:prstGeom prst="rect">
              <a:avLst/>
            </a:prstGeom>
            <a:solidFill>
              <a:srgbClr val="0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0" name="Rectangle 161">
              <a:extLst>
                <a:ext uri="{FF2B5EF4-FFF2-40B4-BE49-F238E27FC236}">
                  <a16:creationId xmlns:a16="http://schemas.microsoft.com/office/drawing/2014/main" xmlns="" id="{5FD43A3F-B442-48E9-B5BA-24BB1A40A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6720" y="4570041"/>
              <a:ext cx="10322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1" name="Rectangle 162">
              <a:extLst>
                <a:ext uri="{FF2B5EF4-FFF2-40B4-BE49-F238E27FC236}">
                  <a16:creationId xmlns:a16="http://schemas.microsoft.com/office/drawing/2014/main" xmlns="" id="{39DB7782-3704-4B30-8C16-655ABCB25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6451" y="4570041"/>
              <a:ext cx="11796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2" name="Rectangle 163">
              <a:extLst>
                <a:ext uri="{FF2B5EF4-FFF2-40B4-BE49-F238E27FC236}">
                  <a16:creationId xmlns:a16="http://schemas.microsoft.com/office/drawing/2014/main" xmlns="" id="{491ED939-9F01-49C2-8CEA-6CAEDE87FB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7095" y="4570041"/>
              <a:ext cx="10322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3" name="Rectangle 164">
              <a:extLst>
                <a:ext uri="{FF2B5EF4-FFF2-40B4-BE49-F238E27FC236}">
                  <a16:creationId xmlns:a16="http://schemas.microsoft.com/office/drawing/2014/main" xmlns="" id="{C9765375-DF10-4F94-8DDB-601A859A4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7738" y="4570041"/>
              <a:ext cx="10322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4" name="Rectangle 165">
              <a:extLst>
                <a:ext uri="{FF2B5EF4-FFF2-40B4-BE49-F238E27FC236}">
                  <a16:creationId xmlns:a16="http://schemas.microsoft.com/office/drawing/2014/main" xmlns="" id="{27099FFF-9265-433F-AC19-1EAAC0E91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639" y="4570041"/>
              <a:ext cx="11796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5" name="Rectangle 166">
              <a:extLst>
                <a:ext uri="{FF2B5EF4-FFF2-40B4-BE49-F238E27FC236}">
                  <a16:creationId xmlns:a16="http://schemas.microsoft.com/office/drawing/2014/main" xmlns="" id="{09D62F65-F88C-4D76-81AA-5AECFC4B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7282" y="4570041"/>
              <a:ext cx="8847" cy="212334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6" name="Rectangle 167">
              <a:extLst>
                <a:ext uri="{FF2B5EF4-FFF2-40B4-BE49-F238E27FC236}">
                  <a16:creationId xmlns:a16="http://schemas.microsoft.com/office/drawing/2014/main" xmlns="" id="{96E99598-A56D-41CF-A3CB-8942D9EDE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317" y="4561194"/>
              <a:ext cx="172521" cy="884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7" name="Rectangle 168">
              <a:extLst>
                <a:ext uri="{FF2B5EF4-FFF2-40B4-BE49-F238E27FC236}">
                  <a16:creationId xmlns:a16="http://schemas.microsoft.com/office/drawing/2014/main" xmlns="" id="{31C5249D-8468-426F-8533-0F9BCE7020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2215" y="4782375"/>
              <a:ext cx="150403" cy="1475"/>
            </a:xfrm>
            <a:prstGeom prst="rect">
              <a:avLst/>
            </a:prstGeom>
            <a:solidFill>
              <a:srgbClr val="0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8" name="Rectangle 169">
              <a:extLst>
                <a:ext uri="{FF2B5EF4-FFF2-40B4-BE49-F238E27FC236}">
                  <a16:creationId xmlns:a16="http://schemas.microsoft.com/office/drawing/2014/main" xmlns="" id="{F01C9D70-15DF-4748-82F9-315A2A93C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639" y="4742562"/>
              <a:ext cx="150403" cy="884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9" name="Rectangle 170">
              <a:extLst>
                <a:ext uri="{FF2B5EF4-FFF2-40B4-BE49-F238E27FC236}">
                  <a16:creationId xmlns:a16="http://schemas.microsoft.com/office/drawing/2014/main" xmlns="" id="{E21EA002-33F6-4571-9AB4-3EC9F358B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639" y="4671784"/>
              <a:ext cx="150403" cy="884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0" name="Rectangle 171">
              <a:extLst>
                <a:ext uri="{FF2B5EF4-FFF2-40B4-BE49-F238E27FC236}">
                  <a16:creationId xmlns:a16="http://schemas.microsoft.com/office/drawing/2014/main" xmlns="" id="{98A91B2D-21E9-4714-8919-17143CD95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639" y="4601006"/>
              <a:ext cx="150403" cy="10322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1" name="Freeform 172">
              <a:extLst>
                <a:ext uri="{FF2B5EF4-FFF2-40B4-BE49-F238E27FC236}">
                  <a16:creationId xmlns:a16="http://schemas.microsoft.com/office/drawing/2014/main" xmlns="" id="{507FA982-5182-49E0-8F1A-74E7B1556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326" y="4347386"/>
              <a:ext cx="337670" cy="434989"/>
            </a:xfrm>
            <a:custGeom>
              <a:avLst/>
              <a:gdLst>
                <a:gd name="T0" fmla="*/ 4 w 177"/>
                <a:gd name="T1" fmla="*/ 206 h 228"/>
                <a:gd name="T2" fmla="*/ 11 w 177"/>
                <a:gd name="T3" fmla="*/ 192 h 228"/>
                <a:gd name="T4" fmla="*/ 46 w 177"/>
                <a:gd name="T5" fmla="*/ 117 h 228"/>
                <a:gd name="T6" fmla="*/ 57 w 177"/>
                <a:gd name="T7" fmla="*/ 71 h 228"/>
                <a:gd name="T8" fmla="*/ 76 w 177"/>
                <a:gd name="T9" fmla="*/ 17 h 228"/>
                <a:gd name="T10" fmla="*/ 88 w 177"/>
                <a:gd name="T11" fmla="*/ 6 h 228"/>
                <a:gd name="T12" fmla="*/ 124 w 177"/>
                <a:gd name="T13" fmla="*/ 24 h 228"/>
                <a:gd name="T14" fmla="*/ 133 w 177"/>
                <a:gd name="T15" fmla="*/ 52 h 228"/>
                <a:gd name="T16" fmla="*/ 143 w 177"/>
                <a:gd name="T17" fmla="*/ 67 h 228"/>
                <a:gd name="T18" fmla="*/ 158 w 177"/>
                <a:gd name="T19" fmla="*/ 100 h 228"/>
                <a:gd name="T20" fmla="*/ 140 w 177"/>
                <a:gd name="T21" fmla="*/ 93 h 228"/>
                <a:gd name="T22" fmla="*/ 124 w 177"/>
                <a:gd name="T23" fmla="*/ 81 h 228"/>
                <a:gd name="T24" fmla="*/ 111 w 177"/>
                <a:gd name="T25" fmla="*/ 63 h 228"/>
                <a:gd name="T26" fmla="*/ 99 w 177"/>
                <a:gd name="T27" fmla="*/ 100 h 228"/>
                <a:gd name="T28" fmla="*/ 102 w 177"/>
                <a:gd name="T29" fmla="*/ 111 h 228"/>
                <a:gd name="T30" fmla="*/ 126 w 177"/>
                <a:gd name="T31" fmla="*/ 136 h 228"/>
                <a:gd name="T32" fmla="*/ 139 w 177"/>
                <a:gd name="T33" fmla="*/ 163 h 228"/>
                <a:gd name="T34" fmla="*/ 138 w 177"/>
                <a:gd name="T35" fmla="*/ 227 h 228"/>
                <a:gd name="T36" fmla="*/ 118 w 177"/>
                <a:gd name="T37" fmla="*/ 214 h 228"/>
                <a:gd name="T38" fmla="*/ 116 w 177"/>
                <a:gd name="T39" fmla="*/ 202 h 228"/>
                <a:gd name="T40" fmla="*/ 82 w 177"/>
                <a:gd name="T41" fmla="*/ 130 h 228"/>
                <a:gd name="T42" fmla="*/ 75 w 177"/>
                <a:gd name="T43" fmla="*/ 128 h 228"/>
                <a:gd name="T44" fmla="*/ 72 w 177"/>
                <a:gd name="T45" fmla="*/ 134 h 228"/>
                <a:gd name="T46" fmla="*/ 28 w 177"/>
                <a:gd name="T47" fmla="*/ 220 h 228"/>
                <a:gd name="T48" fmla="*/ 10 w 177"/>
                <a:gd name="T49" fmla="*/ 224 h 228"/>
                <a:gd name="T50" fmla="*/ 4 w 177"/>
                <a:gd name="T51" fmla="*/ 20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7" h="228">
                  <a:moveTo>
                    <a:pt x="4" y="206"/>
                  </a:moveTo>
                  <a:cubicBezTo>
                    <a:pt x="6" y="201"/>
                    <a:pt x="9" y="197"/>
                    <a:pt x="11" y="192"/>
                  </a:cubicBezTo>
                  <a:cubicBezTo>
                    <a:pt x="26" y="169"/>
                    <a:pt x="41" y="145"/>
                    <a:pt x="46" y="117"/>
                  </a:cubicBezTo>
                  <a:cubicBezTo>
                    <a:pt x="49" y="102"/>
                    <a:pt x="52" y="86"/>
                    <a:pt x="57" y="71"/>
                  </a:cubicBezTo>
                  <a:cubicBezTo>
                    <a:pt x="63" y="53"/>
                    <a:pt x="67" y="34"/>
                    <a:pt x="76" y="17"/>
                  </a:cubicBezTo>
                  <a:cubicBezTo>
                    <a:pt x="79" y="12"/>
                    <a:pt x="82" y="8"/>
                    <a:pt x="88" y="6"/>
                  </a:cubicBezTo>
                  <a:cubicBezTo>
                    <a:pt x="103" y="0"/>
                    <a:pt x="117" y="7"/>
                    <a:pt x="124" y="24"/>
                  </a:cubicBezTo>
                  <a:cubicBezTo>
                    <a:pt x="128" y="33"/>
                    <a:pt x="130" y="43"/>
                    <a:pt x="133" y="52"/>
                  </a:cubicBezTo>
                  <a:cubicBezTo>
                    <a:pt x="135" y="58"/>
                    <a:pt x="138" y="63"/>
                    <a:pt x="143" y="67"/>
                  </a:cubicBezTo>
                  <a:cubicBezTo>
                    <a:pt x="152" y="74"/>
                    <a:pt x="177" y="87"/>
                    <a:pt x="158" y="100"/>
                  </a:cubicBezTo>
                  <a:cubicBezTo>
                    <a:pt x="153" y="104"/>
                    <a:pt x="146" y="98"/>
                    <a:pt x="140" y="93"/>
                  </a:cubicBezTo>
                  <a:cubicBezTo>
                    <a:pt x="135" y="90"/>
                    <a:pt x="130" y="85"/>
                    <a:pt x="124" y="81"/>
                  </a:cubicBezTo>
                  <a:cubicBezTo>
                    <a:pt x="118" y="76"/>
                    <a:pt x="113" y="71"/>
                    <a:pt x="111" y="63"/>
                  </a:cubicBezTo>
                  <a:cubicBezTo>
                    <a:pt x="107" y="75"/>
                    <a:pt x="103" y="88"/>
                    <a:pt x="99" y="100"/>
                  </a:cubicBezTo>
                  <a:cubicBezTo>
                    <a:pt x="97" y="105"/>
                    <a:pt x="100" y="108"/>
                    <a:pt x="102" y="111"/>
                  </a:cubicBezTo>
                  <a:cubicBezTo>
                    <a:pt x="110" y="119"/>
                    <a:pt x="118" y="127"/>
                    <a:pt x="126" y="136"/>
                  </a:cubicBezTo>
                  <a:cubicBezTo>
                    <a:pt x="134" y="143"/>
                    <a:pt x="137" y="152"/>
                    <a:pt x="139" y="163"/>
                  </a:cubicBezTo>
                  <a:cubicBezTo>
                    <a:pt x="146" y="206"/>
                    <a:pt x="155" y="224"/>
                    <a:pt x="138" y="227"/>
                  </a:cubicBezTo>
                  <a:cubicBezTo>
                    <a:pt x="126" y="228"/>
                    <a:pt x="120" y="226"/>
                    <a:pt x="118" y="214"/>
                  </a:cubicBezTo>
                  <a:cubicBezTo>
                    <a:pt x="117" y="210"/>
                    <a:pt x="116" y="206"/>
                    <a:pt x="116" y="202"/>
                  </a:cubicBezTo>
                  <a:cubicBezTo>
                    <a:pt x="115" y="174"/>
                    <a:pt x="106" y="148"/>
                    <a:pt x="82" y="130"/>
                  </a:cubicBezTo>
                  <a:cubicBezTo>
                    <a:pt x="80" y="129"/>
                    <a:pt x="78" y="127"/>
                    <a:pt x="75" y="128"/>
                  </a:cubicBezTo>
                  <a:cubicBezTo>
                    <a:pt x="72" y="129"/>
                    <a:pt x="72" y="131"/>
                    <a:pt x="72" y="134"/>
                  </a:cubicBezTo>
                  <a:cubicBezTo>
                    <a:pt x="66" y="167"/>
                    <a:pt x="43" y="192"/>
                    <a:pt x="28" y="220"/>
                  </a:cubicBezTo>
                  <a:cubicBezTo>
                    <a:pt x="24" y="227"/>
                    <a:pt x="17" y="228"/>
                    <a:pt x="10" y="224"/>
                  </a:cubicBezTo>
                  <a:cubicBezTo>
                    <a:pt x="3" y="221"/>
                    <a:pt x="0" y="213"/>
                    <a:pt x="4" y="206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2" name="Freeform 173">
              <a:extLst>
                <a:ext uri="{FF2B5EF4-FFF2-40B4-BE49-F238E27FC236}">
                  <a16:creationId xmlns:a16="http://schemas.microsoft.com/office/drawing/2014/main" xmlns="" id="{114EBB3E-043C-4404-BD7D-183628593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694" y="4255964"/>
              <a:ext cx="91421" cy="91421"/>
            </a:xfrm>
            <a:custGeom>
              <a:avLst/>
              <a:gdLst>
                <a:gd name="T0" fmla="*/ 24 w 48"/>
                <a:gd name="T1" fmla="*/ 0 h 48"/>
                <a:gd name="T2" fmla="*/ 0 w 48"/>
                <a:gd name="T3" fmla="*/ 23 h 48"/>
                <a:gd name="T4" fmla="*/ 24 w 48"/>
                <a:gd name="T5" fmla="*/ 48 h 48"/>
                <a:gd name="T6" fmla="*/ 48 w 48"/>
                <a:gd name="T7" fmla="*/ 24 h 48"/>
                <a:gd name="T8" fmla="*/ 24 w 48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24" y="0"/>
                  </a:moveTo>
                  <a:cubicBezTo>
                    <a:pt x="10" y="0"/>
                    <a:pt x="0" y="10"/>
                    <a:pt x="0" y="23"/>
                  </a:cubicBezTo>
                  <a:cubicBezTo>
                    <a:pt x="0" y="37"/>
                    <a:pt x="10" y="48"/>
                    <a:pt x="24" y="48"/>
                  </a:cubicBezTo>
                  <a:cubicBezTo>
                    <a:pt x="36" y="48"/>
                    <a:pt x="48" y="37"/>
                    <a:pt x="48" y="24"/>
                  </a:cubicBezTo>
                  <a:cubicBezTo>
                    <a:pt x="48" y="11"/>
                    <a:pt x="37" y="0"/>
                    <a:pt x="24" y="0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61" name="Groupe 760">
            <a:extLst>
              <a:ext uri="{FF2B5EF4-FFF2-40B4-BE49-F238E27FC236}">
                <a16:creationId xmlns:a16="http://schemas.microsoft.com/office/drawing/2014/main" xmlns="" id="{1AD002DF-5275-468E-9E4F-FDBA7AC18581}"/>
              </a:ext>
            </a:extLst>
          </p:cNvPr>
          <p:cNvGrpSpPr/>
          <p:nvPr/>
        </p:nvGrpSpPr>
        <p:grpSpPr>
          <a:xfrm>
            <a:off x="5514287" y="5264754"/>
            <a:ext cx="1155640" cy="715685"/>
            <a:chOff x="5362528" y="4848584"/>
            <a:chExt cx="1827645" cy="1131856"/>
          </a:xfrm>
        </p:grpSpPr>
        <p:sp>
          <p:nvSpPr>
            <p:cNvPr id="715" name="Freeform 27">
              <a:extLst>
                <a:ext uri="{FF2B5EF4-FFF2-40B4-BE49-F238E27FC236}">
                  <a16:creationId xmlns:a16="http://schemas.microsoft.com/office/drawing/2014/main" xmlns="" id="{4183377E-CFF6-4122-B816-CF4DBE96D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2528" y="4848584"/>
              <a:ext cx="712284" cy="1131856"/>
            </a:xfrm>
            <a:custGeom>
              <a:avLst/>
              <a:gdLst>
                <a:gd name="T0" fmla="*/ 218 w 729"/>
                <a:gd name="T1" fmla="*/ 0 h 1474"/>
                <a:gd name="T2" fmla="*/ 0 w 729"/>
                <a:gd name="T3" fmla="*/ 0 h 1474"/>
                <a:gd name="T4" fmla="*/ 0 w 729"/>
                <a:gd name="T5" fmla="*/ 361 h 1474"/>
                <a:gd name="T6" fmla="*/ 0 w 729"/>
                <a:gd name="T7" fmla="*/ 1474 h 1474"/>
                <a:gd name="T8" fmla="*/ 729 w 729"/>
                <a:gd name="T9" fmla="*/ 1474 h 1474"/>
                <a:gd name="T10" fmla="*/ 729 w 729"/>
                <a:gd name="T11" fmla="*/ 361 h 1474"/>
                <a:gd name="T12" fmla="*/ 729 w 729"/>
                <a:gd name="T13" fmla="*/ 139 h 1474"/>
                <a:gd name="T14" fmla="*/ 729 w 729"/>
                <a:gd name="T15" fmla="*/ 0 h 1474"/>
                <a:gd name="T16" fmla="*/ 218 w 729"/>
                <a:gd name="T17" fmla="*/ 0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9" h="1474">
                  <a:moveTo>
                    <a:pt x="218" y="0"/>
                  </a:moveTo>
                  <a:lnTo>
                    <a:pt x="0" y="0"/>
                  </a:lnTo>
                  <a:lnTo>
                    <a:pt x="0" y="361"/>
                  </a:lnTo>
                  <a:lnTo>
                    <a:pt x="0" y="1474"/>
                  </a:lnTo>
                  <a:lnTo>
                    <a:pt x="729" y="1474"/>
                  </a:lnTo>
                  <a:lnTo>
                    <a:pt x="729" y="361"/>
                  </a:lnTo>
                  <a:lnTo>
                    <a:pt x="729" y="139"/>
                  </a:lnTo>
                  <a:lnTo>
                    <a:pt x="729" y="0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xmlns="" id="{D37AEE7F-D788-4532-B87D-EE11D8722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630" y="4897848"/>
              <a:ext cx="90867" cy="216909"/>
            </a:xfrm>
            <a:custGeom>
              <a:avLst/>
              <a:gdLst>
                <a:gd name="T0" fmla="*/ 36 w 72"/>
                <a:gd name="T1" fmla="*/ 0 h 172"/>
                <a:gd name="T2" fmla="*/ 0 w 72"/>
                <a:gd name="T3" fmla="*/ 34 h 172"/>
                <a:gd name="T4" fmla="*/ 0 w 72"/>
                <a:gd name="T5" fmla="*/ 172 h 172"/>
                <a:gd name="T6" fmla="*/ 72 w 72"/>
                <a:gd name="T7" fmla="*/ 172 h 172"/>
                <a:gd name="T8" fmla="*/ 72 w 72"/>
                <a:gd name="T9" fmla="*/ 34 h 172"/>
                <a:gd name="T10" fmla="*/ 36 w 72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72">
                  <a:moveTo>
                    <a:pt x="36" y="0"/>
                  </a:moveTo>
                  <a:cubicBezTo>
                    <a:pt x="17" y="0"/>
                    <a:pt x="0" y="15"/>
                    <a:pt x="0" y="34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15"/>
                    <a:pt x="55" y="0"/>
                    <a:pt x="36" y="0"/>
                  </a:cubicBezTo>
                  <a:close/>
                </a:path>
              </a:pathLst>
            </a:cu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xmlns="" id="{51DBECC9-D596-4C25-BDA4-4B464BFEE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9787" y="4897848"/>
              <a:ext cx="90867" cy="216909"/>
            </a:xfrm>
            <a:custGeom>
              <a:avLst/>
              <a:gdLst>
                <a:gd name="T0" fmla="*/ 36 w 72"/>
                <a:gd name="T1" fmla="*/ 0 h 172"/>
                <a:gd name="T2" fmla="*/ 0 w 72"/>
                <a:gd name="T3" fmla="*/ 34 h 172"/>
                <a:gd name="T4" fmla="*/ 0 w 72"/>
                <a:gd name="T5" fmla="*/ 172 h 172"/>
                <a:gd name="T6" fmla="*/ 72 w 72"/>
                <a:gd name="T7" fmla="*/ 172 h 172"/>
                <a:gd name="T8" fmla="*/ 72 w 72"/>
                <a:gd name="T9" fmla="*/ 34 h 172"/>
                <a:gd name="T10" fmla="*/ 36 w 72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72">
                  <a:moveTo>
                    <a:pt x="36" y="0"/>
                  </a:moveTo>
                  <a:cubicBezTo>
                    <a:pt x="17" y="0"/>
                    <a:pt x="0" y="15"/>
                    <a:pt x="0" y="34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15"/>
                    <a:pt x="55" y="0"/>
                    <a:pt x="36" y="0"/>
                  </a:cubicBezTo>
                  <a:close/>
                </a:path>
              </a:pathLst>
            </a:cu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xmlns="" id="{F385CE32-BAEF-4799-842E-D02AB19FA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630" y="5212464"/>
              <a:ext cx="90867" cy="220818"/>
            </a:xfrm>
            <a:custGeom>
              <a:avLst/>
              <a:gdLst>
                <a:gd name="T0" fmla="*/ 36 w 72"/>
                <a:gd name="T1" fmla="*/ 0 h 175"/>
                <a:gd name="T2" fmla="*/ 0 w 72"/>
                <a:gd name="T3" fmla="*/ 34 h 175"/>
                <a:gd name="T4" fmla="*/ 0 w 72"/>
                <a:gd name="T5" fmla="*/ 175 h 175"/>
                <a:gd name="T6" fmla="*/ 72 w 72"/>
                <a:gd name="T7" fmla="*/ 175 h 175"/>
                <a:gd name="T8" fmla="*/ 72 w 72"/>
                <a:gd name="T9" fmla="*/ 34 h 175"/>
                <a:gd name="T10" fmla="*/ 36 w 72"/>
                <a:gd name="T11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75">
                  <a:moveTo>
                    <a:pt x="36" y="0"/>
                  </a:moveTo>
                  <a:cubicBezTo>
                    <a:pt x="17" y="0"/>
                    <a:pt x="0" y="15"/>
                    <a:pt x="0" y="34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72" y="175"/>
                    <a:pt x="72" y="175"/>
                    <a:pt x="72" y="175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15"/>
                    <a:pt x="55" y="0"/>
                    <a:pt x="36" y="0"/>
                  </a:cubicBezTo>
                  <a:close/>
                </a:path>
              </a:pathLst>
            </a:cu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9" name="Freeform 33">
              <a:extLst>
                <a:ext uri="{FF2B5EF4-FFF2-40B4-BE49-F238E27FC236}">
                  <a16:creationId xmlns:a16="http://schemas.microsoft.com/office/drawing/2014/main" xmlns="" id="{77ABD024-F899-4B62-AFF5-7CA051B84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9787" y="5212464"/>
              <a:ext cx="90867" cy="220818"/>
            </a:xfrm>
            <a:custGeom>
              <a:avLst/>
              <a:gdLst>
                <a:gd name="T0" fmla="*/ 36 w 72"/>
                <a:gd name="T1" fmla="*/ 0 h 175"/>
                <a:gd name="T2" fmla="*/ 0 w 72"/>
                <a:gd name="T3" fmla="*/ 34 h 175"/>
                <a:gd name="T4" fmla="*/ 0 w 72"/>
                <a:gd name="T5" fmla="*/ 175 h 175"/>
                <a:gd name="T6" fmla="*/ 72 w 72"/>
                <a:gd name="T7" fmla="*/ 175 h 175"/>
                <a:gd name="T8" fmla="*/ 72 w 72"/>
                <a:gd name="T9" fmla="*/ 34 h 175"/>
                <a:gd name="T10" fmla="*/ 36 w 72"/>
                <a:gd name="T11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75">
                  <a:moveTo>
                    <a:pt x="36" y="0"/>
                  </a:moveTo>
                  <a:cubicBezTo>
                    <a:pt x="17" y="0"/>
                    <a:pt x="0" y="15"/>
                    <a:pt x="0" y="34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72" y="175"/>
                    <a:pt x="72" y="175"/>
                    <a:pt x="72" y="175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15"/>
                    <a:pt x="55" y="0"/>
                    <a:pt x="36" y="0"/>
                  </a:cubicBezTo>
                  <a:close/>
                </a:path>
              </a:pathLst>
            </a:cu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0" name="Rectangle 35">
              <a:extLst>
                <a:ext uri="{FF2B5EF4-FFF2-40B4-BE49-F238E27FC236}">
                  <a16:creationId xmlns:a16="http://schemas.microsoft.com/office/drawing/2014/main" xmlns="" id="{73D8E0E5-1C52-4AE9-8A0C-4D7F3D113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223" y="4925206"/>
              <a:ext cx="919423" cy="1055234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1" name="Rectangle 36">
              <a:extLst>
                <a:ext uri="{FF2B5EF4-FFF2-40B4-BE49-F238E27FC236}">
                  <a16:creationId xmlns:a16="http://schemas.microsoft.com/office/drawing/2014/main" xmlns="" id="{10DE6CA9-BD53-4050-B4F4-FDE940724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5390" y="5239822"/>
              <a:ext cx="156331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2" name="Rectangle 37">
              <a:extLst>
                <a:ext uri="{FF2B5EF4-FFF2-40B4-BE49-F238E27FC236}">
                  <a16:creationId xmlns:a16="http://schemas.microsoft.com/office/drawing/2014/main" xmlns="" id="{BC3DF53E-15D7-4663-BB41-2C864984E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9747" y="5239822"/>
              <a:ext cx="155354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3" name="Rectangle 38">
              <a:extLst>
                <a:ext uri="{FF2B5EF4-FFF2-40B4-BE49-F238E27FC236}">
                  <a16:creationId xmlns:a16="http://schemas.microsoft.com/office/drawing/2014/main" xmlns="" id="{3236EBE8-4007-400A-979B-8A3CACE31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2010" y="5239822"/>
              <a:ext cx="155354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4" name="Rectangle 39">
              <a:extLst>
                <a:ext uri="{FF2B5EF4-FFF2-40B4-BE49-F238E27FC236}">
                  <a16:creationId xmlns:a16="http://schemas.microsoft.com/office/drawing/2014/main" xmlns="" id="{84491D25-A140-4172-B464-EDA40CEF4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7654" y="5239822"/>
              <a:ext cx="156331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5" name="Rectangle 40">
              <a:extLst>
                <a:ext uri="{FF2B5EF4-FFF2-40B4-BE49-F238E27FC236}">
                  <a16:creationId xmlns:a16="http://schemas.microsoft.com/office/drawing/2014/main" xmlns="" id="{DF2172D1-07FA-4DA1-B268-FF5631884D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5390" y="5032683"/>
              <a:ext cx="156331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6" name="Rectangle 41">
              <a:extLst>
                <a:ext uri="{FF2B5EF4-FFF2-40B4-BE49-F238E27FC236}">
                  <a16:creationId xmlns:a16="http://schemas.microsoft.com/office/drawing/2014/main" xmlns="" id="{23EC739D-B959-4A40-938B-F4316D192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9747" y="5032683"/>
              <a:ext cx="155354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7" name="Rectangle 42">
              <a:extLst>
                <a:ext uri="{FF2B5EF4-FFF2-40B4-BE49-F238E27FC236}">
                  <a16:creationId xmlns:a16="http://schemas.microsoft.com/office/drawing/2014/main" xmlns="" id="{CA05B757-B527-4E0E-8E60-1D3F3BC90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2010" y="5032683"/>
              <a:ext cx="155354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8" name="Rectangle 43">
              <a:extLst>
                <a:ext uri="{FF2B5EF4-FFF2-40B4-BE49-F238E27FC236}">
                  <a16:creationId xmlns:a16="http://schemas.microsoft.com/office/drawing/2014/main" xmlns="" id="{67FEA475-3C6E-4D36-AB4B-F2D275B0C2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7654" y="5032683"/>
              <a:ext cx="156331" cy="167079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0" name="Rectangle 138">
              <a:extLst>
                <a:ext uri="{FF2B5EF4-FFF2-40B4-BE49-F238E27FC236}">
                  <a16:creationId xmlns:a16="http://schemas.microsoft.com/office/drawing/2014/main" xmlns="" id="{0428B7C8-9C32-4651-A108-27866545B6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163" y="5657030"/>
              <a:ext cx="346860" cy="323410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1" name="Rectangle 139">
              <a:extLst>
                <a:ext uri="{FF2B5EF4-FFF2-40B4-BE49-F238E27FC236}">
                  <a16:creationId xmlns:a16="http://schemas.microsoft.com/office/drawing/2014/main" xmlns="" id="{D6AEAC5D-C5E9-4B4D-9733-21A1BEAC7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5718" y="5552484"/>
              <a:ext cx="218864" cy="10454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2" name="Rectangle 140">
              <a:extLst>
                <a:ext uri="{FF2B5EF4-FFF2-40B4-BE49-F238E27FC236}">
                  <a16:creationId xmlns:a16="http://schemas.microsoft.com/office/drawing/2014/main" xmlns="" id="{FE25FC76-2ACB-48C9-AE32-CEB8D69990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1023" y="5101078"/>
              <a:ext cx="363470" cy="879362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3" name="Rectangle 141">
              <a:extLst>
                <a:ext uri="{FF2B5EF4-FFF2-40B4-BE49-F238E27FC236}">
                  <a16:creationId xmlns:a16="http://schemas.microsoft.com/office/drawing/2014/main" xmlns="" id="{008B301A-C0E9-4B91-8CF1-AB84488B6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6438" y="5099450"/>
              <a:ext cx="393735" cy="30295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4" name="Rectangle 142">
              <a:extLst>
                <a:ext uri="{FF2B5EF4-FFF2-40B4-BE49-F238E27FC236}">
                  <a16:creationId xmlns:a16="http://schemas.microsoft.com/office/drawing/2014/main" xmlns="" id="{85B89680-51F8-46A5-BC75-0E945E1F8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6028" y="5535873"/>
              <a:ext cx="37129" cy="121157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5" name="Rectangle 143">
              <a:extLst>
                <a:ext uri="{FF2B5EF4-FFF2-40B4-BE49-F238E27FC236}">
                  <a16:creationId xmlns:a16="http://schemas.microsoft.com/office/drawing/2014/main" xmlns="" id="{DE754678-ACB2-4D89-9EE0-C4D3D1C21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2289" y="5535873"/>
              <a:ext cx="37129" cy="121157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6" name="Rectangle 144">
              <a:extLst>
                <a:ext uri="{FF2B5EF4-FFF2-40B4-BE49-F238E27FC236}">
                  <a16:creationId xmlns:a16="http://schemas.microsoft.com/office/drawing/2014/main" xmlns="" id="{569266CE-6C7A-4C39-8291-92CE8DB81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1442" y="5535873"/>
              <a:ext cx="36152" cy="121157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7" name="Rectangle 145">
              <a:extLst>
                <a:ext uri="{FF2B5EF4-FFF2-40B4-BE49-F238E27FC236}">
                  <a16:creationId xmlns:a16="http://schemas.microsoft.com/office/drawing/2014/main" xmlns="" id="{69192EC7-7581-4E7B-9999-C8D160074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6726" y="5535873"/>
              <a:ext cx="38106" cy="121157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8" name="Rectangle 146">
              <a:extLst>
                <a:ext uri="{FF2B5EF4-FFF2-40B4-BE49-F238E27FC236}">
                  <a16:creationId xmlns:a16="http://schemas.microsoft.com/office/drawing/2014/main" xmlns="" id="{DD1DCB12-AAC0-4A14-8EC8-EF6D3BA64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6028" y="5353161"/>
              <a:ext cx="37129" cy="122133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9" name="Rectangle 147">
              <a:extLst>
                <a:ext uri="{FF2B5EF4-FFF2-40B4-BE49-F238E27FC236}">
                  <a16:creationId xmlns:a16="http://schemas.microsoft.com/office/drawing/2014/main" xmlns="" id="{41D68AAA-444A-42B0-9F96-E8FE470C77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2289" y="5353161"/>
              <a:ext cx="37129" cy="122133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0" name="Rectangle 148">
              <a:extLst>
                <a:ext uri="{FF2B5EF4-FFF2-40B4-BE49-F238E27FC236}">
                  <a16:creationId xmlns:a16="http://schemas.microsoft.com/office/drawing/2014/main" xmlns="" id="{4E665879-AE4E-4EC6-8936-87C867FE7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1442" y="5353161"/>
              <a:ext cx="36152" cy="122133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1" name="Rectangle 149">
              <a:extLst>
                <a:ext uri="{FF2B5EF4-FFF2-40B4-BE49-F238E27FC236}">
                  <a16:creationId xmlns:a16="http://schemas.microsoft.com/office/drawing/2014/main" xmlns="" id="{D959E1F5-75A3-4C6C-80E0-1CD5DADF6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6726" y="5353161"/>
              <a:ext cx="38106" cy="122133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2" name="Rectangle 150">
              <a:extLst>
                <a:ext uri="{FF2B5EF4-FFF2-40B4-BE49-F238E27FC236}">
                  <a16:creationId xmlns:a16="http://schemas.microsoft.com/office/drawing/2014/main" xmlns="" id="{1AC58E7C-B55D-46EE-A66B-0EA9D591C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6028" y="5717609"/>
              <a:ext cx="37129" cy="12311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3" name="Rectangle 151">
              <a:extLst>
                <a:ext uri="{FF2B5EF4-FFF2-40B4-BE49-F238E27FC236}">
                  <a16:creationId xmlns:a16="http://schemas.microsoft.com/office/drawing/2014/main" xmlns="" id="{8986D262-F480-4D9A-AFE9-22C38F029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2289" y="5717609"/>
              <a:ext cx="37129" cy="12311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4" name="Rectangle 152">
              <a:extLst>
                <a:ext uri="{FF2B5EF4-FFF2-40B4-BE49-F238E27FC236}">
                  <a16:creationId xmlns:a16="http://schemas.microsoft.com/office/drawing/2014/main" xmlns="" id="{BAC8DD6B-C7DC-4676-87C6-FCF31EC2E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1442" y="5717609"/>
              <a:ext cx="36152" cy="12311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5" name="Rectangle 153">
              <a:extLst>
                <a:ext uri="{FF2B5EF4-FFF2-40B4-BE49-F238E27FC236}">
                  <a16:creationId xmlns:a16="http://schemas.microsoft.com/office/drawing/2014/main" xmlns="" id="{C455D810-2AE1-41C0-AE50-B5F7C0A62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6726" y="5717609"/>
              <a:ext cx="38106" cy="123111"/>
            </a:xfrm>
            <a:prstGeom prst="rect">
              <a:avLst/>
            </a:prstGeom>
            <a:solidFill>
              <a:srgbClr val="CC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6" name="Rectangle 154">
              <a:extLst>
                <a:ext uri="{FF2B5EF4-FFF2-40B4-BE49-F238E27FC236}">
                  <a16:creationId xmlns:a16="http://schemas.microsoft.com/office/drawing/2014/main" xmlns="" id="{CCD64092-E2AA-42BB-8533-6361E371B9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7643" y="4992623"/>
              <a:ext cx="155354" cy="108455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94" name="Groupe 793">
            <a:extLst>
              <a:ext uri="{FF2B5EF4-FFF2-40B4-BE49-F238E27FC236}">
                <a16:creationId xmlns:a16="http://schemas.microsoft.com/office/drawing/2014/main" xmlns="" id="{3C6C7038-08D4-458F-8ED9-F6E701462D21}"/>
              </a:ext>
            </a:extLst>
          </p:cNvPr>
          <p:cNvGrpSpPr/>
          <p:nvPr/>
        </p:nvGrpSpPr>
        <p:grpSpPr>
          <a:xfrm>
            <a:off x="7219374" y="5360589"/>
            <a:ext cx="576544" cy="598663"/>
            <a:chOff x="7380522" y="5360589"/>
            <a:chExt cx="576544" cy="598663"/>
          </a:xfrm>
        </p:grpSpPr>
        <p:sp>
          <p:nvSpPr>
            <p:cNvPr id="780" name="Freeform 174">
              <a:extLst>
                <a:ext uri="{FF2B5EF4-FFF2-40B4-BE49-F238E27FC236}">
                  <a16:creationId xmlns:a16="http://schemas.microsoft.com/office/drawing/2014/main" xmlns="" id="{6A9AC4ED-9A76-4B6B-866D-4290A8B31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381" y="5620108"/>
              <a:ext cx="150403" cy="187267"/>
            </a:xfrm>
            <a:custGeom>
              <a:avLst/>
              <a:gdLst>
                <a:gd name="T0" fmla="*/ 56 w 79"/>
                <a:gd name="T1" fmla="*/ 8 h 98"/>
                <a:gd name="T2" fmla="*/ 28 w 79"/>
                <a:gd name="T3" fmla="*/ 20 h 98"/>
                <a:gd name="T4" fmla="*/ 13 w 79"/>
                <a:gd name="T5" fmla="*/ 71 h 98"/>
                <a:gd name="T6" fmla="*/ 28 w 79"/>
                <a:gd name="T7" fmla="*/ 92 h 98"/>
                <a:gd name="T8" fmla="*/ 43 w 79"/>
                <a:gd name="T9" fmla="*/ 94 h 98"/>
                <a:gd name="T10" fmla="*/ 45 w 79"/>
                <a:gd name="T11" fmla="*/ 93 h 98"/>
                <a:gd name="T12" fmla="*/ 48 w 79"/>
                <a:gd name="T13" fmla="*/ 78 h 98"/>
                <a:gd name="T14" fmla="*/ 35 w 79"/>
                <a:gd name="T15" fmla="*/ 60 h 98"/>
                <a:gd name="T16" fmla="*/ 39 w 79"/>
                <a:gd name="T17" fmla="*/ 44 h 98"/>
                <a:gd name="T18" fmla="*/ 72 w 79"/>
                <a:gd name="T19" fmla="*/ 27 h 98"/>
                <a:gd name="T20" fmla="*/ 78 w 79"/>
                <a:gd name="T21" fmla="*/ 16 h 98"/>
                <a:gd name="T22" fmla="*/ 78 w 79"/>
                <a:gd name="T23" fmla="*/ 12 h 98"/>
                <a:gd name="T24" fmla="*/ 60 w 79"/>
                <a:gd name="T25" fmla="*/ 6 h 98"/>
                <a:gd name="T26" fmla="*/ 60 w 79"/>
                <a:gd name="T27" fmla="*/ 6 h 98"/>
                <a:gd name="T28" fmla="*/ 56 w 79"/>
                <a:gd name="T29" fmla="*/ 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98">
                  <a:moveTo>
                    <a:pt x="56" y="8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7" y="28"/>
                    <a:pt x="0" y="53"/>
                    <a:pt x="13" y="71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32" y="96"/>
                    <a:pt x="38" y="98"/>
                    <a:pt x="43" y="94"/>
                  </a:cubicBezTo>
                  <a:cubicBezTo>
                    <a:pt x="45" y="93"/>
                    <a:pt x="45" y="93"/>
                    <a:pt x="45" y="93"/>
                  </a:cubicBezTo>
                  <a:cubicBezTo>
                    <a:pt x="51" y="89"/>
                    <a:pt x="52" y="82"/>
                    <a:pt x="48" y="78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2" y="54"/>
                    <a:pt x="33" y="47"/>
                    <a:pt x="39" y="44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7" y="25"/>
                    <a:pt x="79" y="21"/>
                    <a:pt x="78" y="16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6" y="4"/>
                    <a:pt x="66" y="0"/>
                    <a:pt x="60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59" y="7"/>
                    <a:pt x="58" y="8"/>
                    <a:pt x="56" y="8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1" name="Freeform 175">
              <a:extLst>
                <a:ext uri="{FF2B5EF4-FFF2-40B4-BE49-F238E27FC236}">
                  <a16:creationId xmlns:a16="http://schemas.microsoft.com/office/drawing/2014/main" xmlns="" id="{CC0E66C8-3FA0-4001-B57F-100619C9D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29987" y="5732173"/>
              <a:ext cx="227079" cy="227079"/>
            </a:xfrm>
            <a:custGeom>
              <a:avLst/>
              <a:gdLst>
                <a:gd name="T0" fmla="*/ 0 w 119"/>
                <a:gd name="T1" fmla="*/ 59 h 119"/>
                <a:gd name="T2" fmla="*/ 60 w 119"/>
                <a:gd name="T3" fmla="*/ 119 h 119"/>
                <a:gd name="T4" fmla="*/ 119 w 119"/>
                <a:gd name="T5" fmla="*/ 59 h 119"/>
                <a:gd name="T6" fmla="*/ 60 w 119"/>
                <a:gd name="T7" fmla="*/ 0 h 119"/>
                <a:gd name="T8" fmla="*/ 0 w 119"/>
                <a:gd name="T9" fmla="*/ 59 h 119"/>
                <a:gd name="T10" fmla="*/ 9 w 119"/>
                <a:gd name="T11" fmla="*/ 59 h 119"/>
                <a:gd name="T12" fmla="*/ 60 w 119"/>
                <a:gd name="T13" fmla="*/ 8 h 119"/>
                <a:gd name="T14" fmla="*/ 111 w 119"/>
                <a:gd name="T15" fmla="*/ 59 h 119"/>
                <a:gd name="T16" fmla="*/ 60 w 119"/>
                <a:gd name="T17" fmla="*/ 110 h 119"/>
                <a:gd name="T18" fmla="*/ 9 w 119"/>
                <a:gd name="T19" fmla="*/ 5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0" y="59"/>
                  </a:moveTo>
                  <a:cubicBezTo>
                    <a:pt x="0" y="92"/>
                    <a:pt x="27" y="119"/>
                    <a:pt x="60" y="119"/>
                  </a:cubicBezTo>
                  <a:cubicBezTo>
                    <a:pt x="93" y="119"/>
                    <a:pt x="119" y="92"/>
                    <a:pt x="119" y="59"/>
                  </a:cubicBezTo>
                  <a:cubicBezTo>
                    <a:pt x="119" y="26"/>
                    <a:pt x="93" y="0"/>
                    <a:pt x="60" y="0"/>
                  </a:cubicBezTo>
                  <a:cubicBezTo>
                    <a:pt x="27" y="0"/>
                    <a:pt x="0" y="26"/>
                    <a:pt x="0" y="59"/>
                  </a:cubicBezTo>
                  <a:close/>
                  <a:moveTo>
                    <a:pt x="9" y="59"/>
                  </a:moveTo>
                  <a:cubicBezTo>
                    <a:pt x="9" y="31"/>
                    <a:pt x="32" y="8"/>
                    <a:pt x="60" y="8"/>
                  </a:cubicBezTo>
                  <a:cubicBezTo>
                    <a:pt x="88" y="8"/>
                    <a:pt x="111" y="31"/>
                    <a:pt x="111" y="59"/>
                  </a:cubicBezTo>
                  <a:cubicBezTo>
                    <a:pt x="111" y="87"/>
                    <a:pt x="88" y="110"/>
                    <a:pt x="60" y="110"/>
                  </a:cubicBezTo>
                  <a:cubicBezTo>
                    <a:pt x="32" y="110"/>
                    <a:pt x="9" y="87"/>
                    <a:pt x="9" y="59"/>
                  </a:cubicBezTo>
                  <a:close/>
                </a:path>
              </a:pathLst>
            </a:custGeom>
            <a:solidFill>
              <a:srgbClr val="444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2" name="Freeform 176">
              <a:extLst>
                <a:ext uri="{FF2B5EF4-FFF2-40B4-BE49-F238E27FC236}">
                  <a16:creationId xmlns:a16="http://schemas.microsoft.com/office/drawing/2014/main" xmlns="" id="{F423ACE3-9094-4F0A-9FC3-5032ACD5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8513" y="5645175"/>
              <a:ext cx="88472" cy="19169"/>
            </a:xfrm>
            <a:custGeom>
              <a:avLst/>
              <a:gdLst>
                <a:gd name="T0" fmla="*/ 44 w 46"/>
                <a:gd name="T1" fmla="*/ 0 h 10"/>
                <a:gd name="T2" fmla="*/ 46 w 46"/>
                <a:gd name="T3" fmla="*/ 1 h 10"/>
                <a:gd name="T4" fmla="*/ 31 w 46"/>
                <a:gd name="T5" fmla="*/ 9 h 10"/>
                <a:gd name="T6" fmla="*/ 3 w 46"/>
                <a:gd name="T7" fmla="*/ 4 h 10"/>
                <a:gd name="T8" fmla="*/ 0 w 46"/>
                <a:gd name="T9" fmla="*/ 3 h 10"/>
                <a:gd name="T10" fmla="*/ 11 w 46"/>
                <a:gd name="T11" fmla="*/ 0 h 10"/>
                <a:gd name="T12" fmla="*/ 44 w 46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">
                  <a:moveTo>
                    <a:pt x="44" y="0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35" y="10"/>
                    <a:pt x="31" y="9"/>
                  </a:cubicBezTo>
                  <a:cubicBezTo>
                    <a:pt x="26" y="8"/>
                    <a:pt x="22" y="0"/>
                    <a:pt x="3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0"/>
                    <a:pt x="11" y="0"/>
                  </a:cubicBezTo>
                  <a:cubicBezTo>
                    <a:pt x="21" y="0"/>
                    <a:pt x="32" y="3"/>
                    <a:pt x="44" y="0"/>
                  </a:cubicBez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3" name="Oval 179">
              <a:extLst>
                <a:ext uri="{FF2B5EF4-FFF2-40B4-BE49-F238E27FC236}">
                  <a16:creationId xmlns:a16="http://schemas.microsoft.com/office/drawing/2014/main" xmlns="" id="{109B260E-C452-4902-912B-ED54CE4D5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7226" y="5858983"/>
              <a:ext cx="22118" cy="22118"/>
            </a:xfrm>
            <a:prstGeom prst="ellipse">
              <a:avLst/>
            </a:pr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4" name="Freeform 181">
              <a:extLst>
                <a:ext uri="{FF2B5EF4-FFF2-40B4-BE49-F238E27FC236}">
                  <a16:creationId xmlns:a16="http://schemas.microsoft.com/office/drawing/2014/main" xmlns="" id="{7AC55A24-389C-4D4D-8E1B-1F3D87F82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1784" y="5651073"/>
              <a:ext cx="45711" cy="78151"/>
            </a:xfrm>
            <a:custGeom>
              <a:avLst/>
              <a:gdLst>
                <a:gd name="T0" fmla="*/ 7 w 31"/>
                <a:gd name="T1" fmla="*/ 53 h 53"/>
                <a:gd name="T2" fmla="*/ 20 w 31"/>
                <a:gd name="T3" fmla="*/ 14 h 53"/>
                <a:gd name="T4" fmla="*/ 31 w 31"/>
                <a:gd name="T5" fmla="*/ 4 h 53"/>
                <a:gd name="T6" fmla="*/ 22 w 31"/>
                <a:gd name="T7" fmla="*/ 0 h 53"/>
                <a:gd name="T8" fmla="*/ 13 w 31"/>
                <a:gd name="T9" fmla="*/ 11 h 53"/>
                <a:gd name="T10" fmla="*/ 0 w 31"/>
                <a:gd name="T11" fmla="*/ 50 h 53"/>
                <a:gd name="T12" fmla="*/ 7 w 31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3">
                  <a:moveTo>
                    <a:pt x="7" y="53"/>
                  </a:moveTo>
                  <a:lnTo>
                    <a:pt x="20" y="14"/>
                  </a:lnTo>
                  <a:lnTo>
                    <a:pt x="31" y="4"/>
                  </a:lnTo>
                  <a:lnTo>
                    <a:pt x="22" y="0"/>
                  </a:lnTo>
                  <a:lnTo>
                    <a:pt x="13" y="11"/>
                  </a:lnTo>
                  <a:lnTo>
                    <a:pt x="0" y="50"/>
                  </a:lnTo>
                  <a:lnTo>
                    <a:pt x="7" y="53"/>
                  </a:ln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5" name="Freeform 182">
              <a:extLst>
                <a:ext uri="{FF2B5EF4-FFF2-40B4-BE49-F238E27FC236}">
                  <a16:creationId xmlns:a16="http://schemas.microsoft.com/office/drawing/2014/main" xmlns="" id="{4247D6BB-4B06-49B1-B6F5-E32DC86F05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6582" y="5838340"/>
              <a:ext cx="66354" cy="63405"/>
            </a:xfrm>
            <a:custGeom>
              <a:avLst/>
              <a:gdLst>
                <a:gd name="T0" fmla="*/ 0 w 35"/>
                <a:gd name="T1" fmla="*/ 17 h 34"/>
                <a:gd name="T2" fmla="*/ 17 w 35"/>
                <a:gd name="T3" fmla="*/ 34 h 34"/>
                <a:gd name="T4" fmla="*/ 35 w 35"/>
                <a:gd name="T5" fmla="*/ 17 h 34"/>
                <a:gd name="T6" fmla="*/ 17 w 35"/>
                <a:gd name="T7" fmla="*/ 0 h 34"/>
                <a:gd name="T8" fmla="*/ 0 w 35"/>
                <a:gd name="T9" fmla="*/ 17 h 34"/>
                <a:gd name="T10" fmla="*/ 6 w 35"/>
                <a:gd name="T11" fmla="*/ 17 h 34"/>
                <a:gd name="T12" fmla="*/ 17 w 35"/>
                <a:gd name="T13" fmla="*/ 5 h 34"/>
                <a:gd name="T14" fmla="*/ 29 w 35"/>
                <a:gd name="T15" fmla="*/ 17 h 34"/>
                <a:gd name="T16" fmla="*/ 17 w 35"/>
                <a:gd name="T17" fmla="*/ 29 h 34"/>
                <a:gd name="T18" fmla="*/ 6 w 35"/>
                <a:gd name="T1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0" y="27"/>
                    <a:pt x="8" y="34"/>
                    <a:pt x="17" y="34"/>
                  </a:cubicBezTo>
                  <a:cubicBezTo>
                    <a:pt x="27" y="34"/>
                    <a:pt x="35" y="27"/>
                    <a:pt x="35" y="17"/>
                  </a:cubicBezTo>
                  <a:cubicBezTo>
                    <a:pt x="35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lose/>
                  <a:moveTo>
                    <a:pt x="6" y="17"/>
                  </a:moveTo>
                  <a:cubicBezTo>
                    <a:pt x="6" y="11"/>
                    <a:pt x="11" y="5"/>
                    <a:pt x="17" y="5"/>
                  </a:cubicBezTo>
                  <a:cubicBezTo>
                    <a:pt x="24" y="5"/>
                    <a:pt x="29" y="11"/>
                    <a:pt x="29" y="17"/>
                  </a:cubicBezTo>
                  <a:cubicBezTo>
                    <a:pt x="29" y="24"/>
                    <a:pt x="24" y="29"/>
                    <a:pt x="17" y="29"/>
                  </a:cubicBezTo>
                  <a:cubicBezTo>
                    <a:pt x="11" y="29"/>
                    <a:pt x="6" y="24"/>
                    <a:pt x="6" y="17"/>
                  </a:cubicBez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6" name="Oval 183">
              <a:extLst>
                <a:ext uri="{FF2B5EF4-FFF2-40B4-BE49-F238E27FC236}">
                  <a16:creationId xmlns:a16="http://schemas.microsoft.com/office/drawing/2014/main" xmlns="" id="{C8043818-B8C5-442E-96B0-697EF1AD4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8138" y="5810323"/>
              <a:ext cx="75202" cy="75202"/>
            </a:xfrm>
            <a:prstGeom prst="ellipse">
              <a:avLst/>
            </a:pr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7" name="Freeform 185">
              <a:extLst>
                <a:ext uri="{FF2B5EF4-FFF2-40B4-BE49-F238E27FC236}">
                  <a16:creationId xmlns:a16="http://schemas.microsoft.com/office/drawing/2014/main" xmlns="" id="{87A9C9E1-E48E-478F-8138-6822F0BCC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2802" y="5805900"/>
              <a:ext cx="29491" cy="123861"/>
            </a:xfrm>
            <a:custGeom>
              <a:avLst/>
              <a:gdLst>
                <a:gd name="T0" fmla="*/ 13 w 20"/>
                <a:gd name="T1" fmla="*/ 43 h 84"/>
                <a:gd name="T2" fmla="*/ 3 w 20"/>
                <a:gd name="T3" fmla="*/ 0 h 84"/>
                <a:gd name="T4" fmla="*/ 0 w 20"/>
                <a:gd name="T5" fmla="*/ 1 h 84"/>
                <a:gd name="T6" fmla="*/ 17 w 20"/>
                <a:gd name="T7" fmla="*/ 84 h 84"/>
                <a:gd name="T8" fmla="*/ 20 w 20"/>
                <a:gd name="T9" fmla="*/ 84 h 84"/>
                <a:gd name="T10" fmla="*/ 13 w 20"/>
                <a:gd name="T11" fmla="*/ 4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84">
                  <a:moveTo>
                    <a:pt x="13" y="4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17" y="84"/>
                  </a:lnTo>
                  <a:lnTo>
                    <a:pt x="20" y="84"/>
                  </a:lnTo>
                  <a:lnTo>
                    <a:pt x="13" y="43"/>
                  </a:ln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8" name="Freeform 186">
              <a:extLst>
                <a:ext uri="{FF2B5EF4-FFF2-40B4-BE49-F238E27FC236}">
                  <a16:creationId xmlns:a16="http://schemas.microsoft.com/office/drawing/2014/main" xmlns="" id="{5A4CB1E8-A3A0-419D-B415-98368A618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55" y="5802951"/>
              <a:ext cx="25067" cy="5898"/>
            </a:xfrm>
            <a:custGeom>
              <a:avLst/>
              <a:gdLst>
                <a:gd name="T0" fmla="*/ 1 w 13"/>
                <a:gd name="T1" fmla="*/ 3 h 3"/>
                <a:gd name="T2" fmla="*/ 12 w 13"/>
                <a:gd name="T3" fmla="*/ 3 h 3"/>
                <a:gd name="T4" fmla="*/ 13 w 13"/>
                <a:gd name="T5" fmla="*/ 2 h 3"/>
                <a:gd name="T6" fmla="*/ 13 w 13"/>
                <a:gd name="T7" fmla="*/ 1 h 3"/>
                <a:gd name="T8" fmla="*/ 12 w 13"/>
                <a:gd name="T9" fmla="*/ 0 h 3"/>
                <a:gd name="T10" fmla="*/ 1 w 13"/>
                <a:gd name="T11" fmla="*/ 0 h 3"/>
                <a:gd name="T12" fmla="*/ 0 w 13"/>
                <a:gd name="T13" fmla="*/ 1 h 3"/>
                <a:gd name="T14" fmla="*/ 0 w 13"/>
                <a:gd name="T15" fmla="*/ 2 h 3"/>
                <a:gd name="T16" fmla="*/ 1 w 13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">
                  <a:moveTo>
                    <a:pt x="1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3" y="3"/>
                    <a:pt x="13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9" name="Freeform 187">
              <a:extLst>
                <a:ext uri="{FF2B5EF4-FFF2-40B4-BE49-F238E27FC236}">
                  <a16:creationId xmlns:a16="http://schemas.microsoft.com/office/drawing/2014/main" xmlns="" id="{3AFE2F69-D999-4E05-AB50-C326416F0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022" y="5926812"/>
              <a:ext cx="23593" cy="5898"/>
            </a:xfrm>
            <a:custGeom>
              <a:avLst/>
              <a:gdLst>
                <a:gd name="T0" fmla="*/ 1 w 13"/>
                <a:gd name="T1" fmla="*/ 3 h 3"/>
                <a:gd name="T2" fmla="*/ 12 w 13"/>
                <a:gd name="T3" fmla="*/ 3 h 3"/>
                <a:gd name="T4" fmla="*/ 13 w 13"/>
                <a:gd name="T5" fmla="*/ 2 h 3"/>
                <a:gd name="T6" fmla="*/ 13 w 13"/>
                <a:gd name="T7" fmla="*/ 1 h 3"/>
                <a:gd name="T8" fmla="*/ 12 w 13"/>
                <a:gd name="T9" fmla="*/ 0 h 3"/>
                <a:gd name="T10" fmla="*/ 1 w 13"/>
                <a:gd name="T11" fmla="*/ 0 h 3"/>
                <a:gd name="T12" fmla="*/ 0 w 13"/>
                <a:gd name="T13" fmla="*/ 1 h 3"/>
                <a:gd name="T14" fmla="*/ 0 w 13"/>
                <a:gd name="T15" fmla="*/ 2 h 3"/>
                <a:gd name="T16" fmla="*/ 1 w 13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">
                  <a:moveTo>
                    <a:pt x="1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3" y="3"/>
                    <a:pt x="13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2" y="0"/>
                    <a:pt x="1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0" name="Freeform 188">
              <a:extLst>
                <a:ext uri="{FF2B5EF4-FFF2-40B4-BE49-F238E27FC236}">
                  <a16:creationId xmlns:a16="http://schemas.microsoft.com/office/drawing/2014/main" xmlns="" id="{2E00685A-8EA8-4CBA-9BFF-8FFDF3CB7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3230" y="5454959"/>
              <a:ext cx="291959" cy="477751"/>
            </a:xfrm>
            <a:custGeom>
              <a:avLst/>
              <a:gdLst>
                <a:gd name="T0" fmla="*/ 108 w 153"/>
                <a:gd name="T1" fmla="*/ 191 h 251"/>
                <a:gd name="T2" fmla="*/ 123 w 153"/>
                <a:gd name="T3" fmla="*/ 118 h 251"/>
                <a:gd name="T4" fmla="*/ 146 w 153"/>
                <a:gd name="T5" fmla="*/ 91 h 251"/>
                <a:gd name="T6" fmla="*/ 131 w 153"/>
                <a:gd name="T7" fmla="*/ 54 h 251"/>
                <a:gd name="T8" fmla="*/ 97 w 153"/>
                <a:gd name="T9" fmla="*/ 8 h 251"/>
                <a:gd name="T10" fmla="*/ 83 w 153"/>
                <a:gd name="T11" fmla="*/ 0 h 251"/>
                <a:gd name="T12" fmla="*/ 53 w 153"/>
                <a:gd name="T13" fmla="*/ 28 h 251"/>
                <a:gd name="T14" fmla="*/ 52 w 153"/>
                <a:gd name="T15" fmla="*/ 58 h 251"/>
                <a:gd name="T16" fmla="*/ 47 w 153"/>
                <a:gd name="T17" fmla="*/ 75 h 251"/>
                <a:gd name="T18" fmla="*/ 21 w 153"/>
                <a:gd name="T19" fmla="*/ 115 h 251"/>
                <a:gd name="T20" fmla="*/ 53 w 153"/>
                <a:gd name="T21" fmla="*/ 99 h 251"/>
                <a:gd name="T22" fmla="*/ 65 w 153"/>
                <a:gd name="T23" fmla="*/ 88 h 251"/>
                <a:gd name="T24" fmla="*/ 77 w 153"/>
                <a:gd name="T25" fmla="*/ 62 h 251"/>
                <a:gd name="T26" fmla="*/ 99 w 153"/>
                <a:gd name="T27" fmla="*/ 94 h 251"/>
                <a:gd name="T28" fmla="*/ 98 w 153"/>
                <a:gd name="T29" fmla="*/ 105 h 251"/>
                <a:gd name="T30" fmla="*/ 83 w 153"/>
                <a:gd name="T31" fmla="*/ 136 h 251"/>
                <a:gd name="T32" fmla="*/ 78 w 153"/>
                <a:gd name="T33" fmla="*/ 165 h 251"/>
                <a:gd name="T34" fmla="*/ 104 w 153"/>
                <a:gd name="T35" fmla="*/ 249 h 251"/>
                <a:gd name="T36" fmla="*/ 115 w 153"/>
                <a:gd name="T37" fmla="*/ 231 h 251"/>
                <a:gd name="T38" fmla="*/ 108 w 153"/>
                <a:gd name="T39" fmla="*/ 19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251">
                  <a:moveTo>
                    <a:pt x="108" y="191"/>
                  </a:moveTo>
                  <a:cubicBezTo>
                    <a:pt x="104" y="159"/>
                    <a:pt x="105" y="142"/>
                    <a:pt x="123" y="118"/>
                  </a:cubicBezTo>
                  <a:cubicBezTo>
                    <a:pt x="125" y="116"/>
                    <a:pt x="142" y="103"/>
                    <a:pt x="146" y="91"/>
                  </a:cubicBezTo>
                  <a:cubicBezTo>
                    <a:pt x="153" y="72"/>
                    <a:pt x="135" y="60"/>
                    <a:pt x="131" y="54"/>
                  </a:cubicBezTo>
                  <a:cubicBezTo>
                    <a:pt x="120" y="39"/>
                    <a:pt x="110" y="22"/>
                    <a:pt x="97" y="8"/>
                  </a:cubicBezTo>
                  <a:cubicBezTo>
                    <a:pt x="93" y="4"/>
                    <a:pt x="89" y="1"/>
                    <a:pt x="83" y="0"/>
                  </a:cubicBezTo>
                  <a:cubicBezTo>
                    <a:pt x="66" y="0"/>
                    <a:pt x="54" y="10"/>
                    <a:pt x="53" y="28"/>
                  </a:cubicBezTo>
                  <a:cubicBezTo>
                    <a:pt x="52" y="38"/>
                    <a:pt x="52" y="48"/>
                    <a:pt x="52" y="58"/>
                  </a:cubicBezTo>
                  <a:cubicBezTo>
                    <a:pt x="53" y="64"/>
                    <a:pt x="52" y="71"/>
                    <a:pt x="47" y="75"/>
                  </a:cubicBezTo>
                  <a:cubicBezTo>
                    <a:pt x="22" y="95"/>
                    <a:pt x="0" y="107"/>
                    <a:pt x="21" y="115"/>
                  </a:cubicBezTo>
                  <a:cubicBezTo>
                    <a:pt x="27" y="117"/>
                    <a:pt x="41" y="106"/>
                    <a:pt x="53" y="99"/>
                  </a:cubicBezTo>
                  <a:cubicBezTo>
                    <a:pt x="59" y="96"/>
                    <a:pt x="61" y="94"/>
                    <a:pt x="65" y="88"/>
                  </a:cubicBezTo>
                  <a:cubicBezTo>
                    <a:pt x="70" y="82"/>
                    <a:pt x="77" y="70"/>
                    <a:pt x="77" y="62"/>
                  </a:cubicBezTo>
                  <a:cubicBezTo>
                    <a:pt x="84" y="73"/>
                    <a:pt x="91" y="83"/>
                    <a:pt x="99" y="94"/>
                  </a:cubicBezTo>
                  <a:cubicBezTo>
                    <a:pt x="102" y="98"/>
                    <a:pt x="100" y="101"/>
                    <a:pt x="98" y="105"/>
                  </a:cubicBezTo>
                  <a:cubicBezTo>
                    <a:pt x="93" y="115"/>
                    <a:pt x="88" y="126"/>
                    <a:pt x="83" y="136"/>
                  </a:cubicBezTo>
                  <a:cubicBezTo>
                    <a:pt x="77" y="145"/>
                    <a:pt x="77" y="154"/>
                    <a:pt x="78" y="165"/>
                  </a:cubicBezTo>
                  <a:cubicBezTo>
                    <a:pt x="83" y="209"/>
                    <a:pt x="87" y="251"/>
                    <a:pt x="104" y="249"/>
                  </a:cubicBezTo>
                  <a:cubicBezTo>
                    <a:pt x="116" y="247"/>
                    <a:pt x="116" y="243"/>
                    <a:pt x="115" y="231"/>
                  </a:cubicBezTo>
                  <a:cubicBezTo>
                    <a:pt x="114" y="227"/>
                    <a:pt x="108" y="195"/>
                    <a:pt x="108" y="191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1" name="Freeform 189">
              <a:extLst>
                <a:ext uri="{FF2B5EF4-FFF2-40B4-BE49-F238E27FC236}">
                  <a16:creationId xmlns:a16="http://schemas.microsoft.com/office/drawing/2014/main" xmlns="" id="{B4E6C145-C692-45B0-B9C0-0DD1E0AA8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4839" y="5360589"/>
              <a:ext cx="103218" cy="101743"/>
            </a:xfrm>
            <a:custGeom>
              <a:avLst/>
              <a:gdLst>
                <a:gd name="T0" fmla="*/ 21 w 54"/>
                <a:gd name="T1" fmla="*/ 3 h 53"/>
                <a:gd name="T2" fmla="*/ 50 w 54"/>
                <a:gd name="T3" fmla="*/ 19 h 53"/>
                <a:gd name="T4" fmla="*/ 34 w 54"/>
                <a:gd name="T5" fmla="*/ 50 h 53"/>
                <a:gd name="T6" fmla="*/ 4 w 54"/>
                <a:gd name="T7" fmla="*/ 34 h 53"/>
                <a:gd name="T8" fmla="*/ 21 w 54"/>
                <a:gd name="T9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3">
                  <a:moveTo>
                    <a:pt x="21" y="3"/>
                  </a:moveTo>
                  <a:cubicBezTo>
                    <a:pt x="33" y="0"/>
                    <a:pt x="46" y="7"/>
                    <a:pt x="50" y="19"/>
                  </a:cubicBezTo>
                  <a:cubicBezTo>
                    <a:pt x="54" y="32"/>
                    <a:pt x="47" y="46"/>
                    <a:pt x="34" y="50"/>
                  </a:cubicBezTo>
                  <a:cubicBezTo>
                    <a:pt x="22" y="53"/>
                    <a:pt x="8" y="46"/>
                    <a:pt x="4" y="34"/>
                  </a:cubicBezTo>
                  <a:cubicBezTo>
                    <a:pt x="0" y="21"/>
                    <a:pt x="8" y="7"/>
                    <a:pt x="21" y="3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2" name="Freeform 175">
              <a:extLst>
                <a:ext uri="{FF2B5EF4-FFF2-40B4-BE49-F238E27FC236}">
                  <a16:creationId xmlns:a16="http://schemas.microsoft.com/office/drawing/2014/main" xmlns="" id="{A426C413-D53F-4158-9D41-D1DAE833F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522" y="5732173"/>
              <a:ext cx="227079" cy="227079"/>
            </a:xfrm>
            <a:custGeom>
              <a:avLst/>
              <a:gdLst>
                <a:gd name="T0" fmla="*/ 0 w 119"/>
                <a:gd name="T1" fmla="*/ 59 h 119"/>
                <a:gd name="T2" fmla="*/ 60 w 119"/>
                <a:gd name="T3" fmla="*/ 119 h 119"/>
                <a:gd name="T4" fmla="*/ 119 w 119"/>
                <a:gd name="T5" fmla="*/ 59 h 119"/>
                <a:gd name="T6" fmla="*/ 60 w 119"/>
                <a:gd name="T7" fmla="*/ 0 h 119"/>
                <a:gd name="T8" fmla="*/ 0 w 119"/>
                <a:gd name="T9" fmla="*/ 59 h 119"/>
                <a:gd name="T10" fmla="*/ 9 w 119"/>
                <a:gd name="T11" fmla="*/ 59 h 119"/>
                <a:gd name="T12" fmla="*/ 60 w 119"/>
                <a:gd name="T13" fmla="*/ 8 h 119"/>
                <a:gd name="T14" fmla="*/ 111 w 119"/>
                <a:gd name="T15" fmla="*/ 59 h 119"/>
                <a:gd name="T16" fmla="*/ 60 w 119"/>
                <a:gd name="T17" fmla="*/ 110 h 119"/>
                <a:gd name="T18" fmla="*/ 9 w 119"/>
                <a:gd name="T19" fmla="*/ 5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0" y="59"/>
                  </a:moveTo>
                  <a:cubicBezTo>
                    <a:pt x="0" y="92"/>
                    <a:pt x="27" y="119"/>
                    <a:pt x="60" y="119"/>
                  </a:cubicBezTo>
                  <a:cubicBezTo>
                    <a:pt x="93" y="119"/>
                    <a:pt x="119" y="92"/>
                    <a:pt x="119" y="59"/>
                  </a:cubicBezTo>
                  <a:cubicBezTo>
                    <a:pt x="119" y="26"/>
                    <a:pt x="93" y="0"/>
                    <a:pt x="60" y="0"/>
                  </a:cubicBezTo>
                  <a:cubicBezTo>
                    <a:pt x="27" y="0"/>
                    <a:pt x="0" y="26"/>
                    <a:pt x="0" y="59"/>
                  </a:cubicBezTo>
                  <a:close/>
                  <a:moveTo>
                    <a:pt x="9" y="59"/>
                  </a:moveTo>
                  <a:cubicBezTo>
                    <a:pt x="9" y="31"/>
                    <a:pt x="32" y="8"/>
                    <a:pt x="60" y="8"/>
                  </a:cubicBezTo>
                  <a:cubicBezTo>
                    <a:pt x="88" y="8"/>
                    <a:pt x="111" y="31"/>
                    <a:pt x="111" y="59"/>
                  </a:cubicBezTo>
                  <a:cubicBezTo>
                    <a:pt x="111" y="87"/>
                    <a:pt x="88" y="110"/>
                    <a:pt x="60" y="110"/>
                  </a:cubicBezTo>
                  <a:cubicBezTo>
                    <a:pt x="32" y="110"/>
                    <a:pt x="9" y="87"/>
                    <a:pt x="9" y="59"/>
                  </a:cubicBezTo>
                  <a:close/>
                </a:path>
              </a:pathLst>
            </a:custGeom>
            <a:solidFill>
              <a:srgbClr val="444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3" name="Oval 183">
              <a:extLst>
                <a:ext uri="{FF2B5EF4-FFF2-40B4-BE49-F238E27FC236}">
                  <a16:creationId xmlns:a16="http://schemas.microsoft.com/office/drawing/2014/main" xmlns="" id="{8258F78C-3741-4E60-BA62-29FA918F3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8673" y="5810323"/>
              <a:ext cx="75202" cy="75202"/>
            </a:xfrm>
            <a:prstGeom prst="ellipse">
              <a:avLst/>
            </a:prstGeom>
            <a:solidFill>
              <a:srgbClr val="60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95" name="Group 4">
            <a:extLst>
              <a:ext uri="{FF2B5EF4-FFF2-40B4-BE49-F238E27FC236}">
                <a16:creationId xmlns:a16="http://schemas.microsoft.com/office/drawing/2014/main" xmlns="" id="{0747A6FB-BA2D-436F-AE9F-483BCE33B54C}"/>
              </a:ext>
            </a:extLst>
          </p:cNvPr>
          <p:cNvGrpSpPr>
            <a:grpSpLocks noChangeAspect="1"/>
          </p:cNvGrpSpPr>
          <p:nvPr/>
        </p:nvGrpSpPr>
        <p:grpSpPr bwMode="auto">
          <a:xfrm rot="14400000">
            <a:off x="8054328" y="5473164"/>
            <a:ext cx="746024" cy="495751"/>
            <a:chOff x="2327" y="1102"/>
            <a:chExt cx="778" cy="517"/>
          </a:xfrm>
          <a:solidFill>
            <a:schemeClr val="tx1"/>
          </a:solidFill>
        </p:grpSpPr>
        <p:sp>
          <p:nvSpPr>
            <p:cNvPr id="796" name="Freeform 5">
              <a:extLst>
                <a:ext uri="{FF2B5EF4-FFF2-40B4-BE49-F238E27FC236}">
                  <a16:creationId xmlns:a16="http://schemas.microsoft.com/office/drawing/2014/main" xmlns="" id="{9F67AD6F-13FB-43F9-8F99-D46837321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1463"/>
              <a:ext cx="155" cy="115"/>
            </a:xfrm>
            <a:custGeom>
              <a:avLst/>
              <a:gdLst>
                <a:gd name="T0" fmla="*/ 0 w 155"/>
                <a:gd name="T1" fmla="*/ 54 h 115"/>
                <a:gd name="T2" fmla="*/ 22 w 155"/>
                <a:gd name="T3" fmla="*/ 115 h 115"/>
                <a:gd name="T4" fmla="*/ 155 w 155"/>
                <a:gd name="T5" fmla="*/ 61 h 115"/>
                <a:gd name="T6" fmla="*/ 134 w 155"/>
                <a:gd name="T7" fmla="*/ 0 h 115"/>
                <a:gd name="T8" fmla="*/ 0 w 155"/>
                <a:gd name="T9" fmla="*/ 5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115">
                  <a:moveTo>
                    <a:pt x="0" y="54"/>
                  </a:moveTo>
                  <a:lnTo>
                    <a:pt x="22" y="115"/>
                  </a:lnTo>
                  <a:lnTo>
                    <a:pt x="155" y="61"/>
                  </a:lnTo>
                  <a:lnTo>
                    <a:pt x="134" y="0"/>
                  </a:ln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7" name="Freeform 6">
              <a:extLst>
                <a:ext uri="{FF2B5EF4-FFF2-40B4-BE49-F238E27FC236}">
                  <a16:creationId xmlns:a16="http://schemas.microsoft.com/office/drawing/2014/main" xmlns="" id="{63DFECD2-C751-4291-A331-483C35B0B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0" y="1102"/>
              <a:ext cx="555" cy="517"/>
            </a:xfrm>
            <a:custGeom>
              <a:avLst/>
              <a:gdLst>
                <a:gd name="T0" fmla="*/ 249 w 268"/>
                <a:gd name="T1" fmla="*/ 83 h 249"/>
                <a:gd name="T2" fmla="*/ 106 w 268"/>
                <a:gd name="T3" fmla="*/ 23 h 249"/>
                <a:gd name="T4" fmla="*/ 41 w 268"/>
                <a:gd name="T5" fmla="*/ 149 h 249"/>
                <a:gd name="T6" fmla="*/ 0 w 268"/>
                <a:gd name="T7" fmla="*/ 166 h 249"/>
                <a:gd name="T8" fmla="*/ 14 w 268"/>
                <a:gd name="T9" fmla="*/ 206 h 249"/>
                <a:gd name="T10" fmla="*/ 58 w 268"/>
                <a:gd name="T11" fmla="*/ 188 h 249"/>
                <a:gd name="T12" fmla="*/ 211 w 268"/>
                <a:gd name="T13" fmla="*/ 214 h 249"/>
                <a:gd name="T14" fmla="*/ 249 w 268"/>
                <a:gd name="T15" fmla="*/ 83 h 249"/>
                <a:gd name="T16" fmla="*/ 183 w 268"/>
                <a:gd name="T17" fmla="*/ 209 h 249"/>
                <a:gd name="T18" fmla="*/ 62 w 268"/>
                <a:gd name="T19" fmla="*/ 160 h 249"/>
                <a:gd name="T20" fmla="*/ 112 w 268"/>
                <a:gd name="T21" fmla="*/ 39 h 249"/>
                <a:gd name="T22" fmla="*/ 232 w 268"/>
                <a:gd name="T23" fmla="*/ 89 h 249"/>
                <a:gd name="T24" fmla="*/ 233 w 268"/>
                <a:gd name="T25" fmla="*/ 90 h 249"/>
                <a:gd name="T26" fmla="*/ 183 w 268"/>
                <a:gd name="T27" fmla="*/ 20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8" h="249">
                  <a:moveTo>
                    <a:pt x="249" y="83"/>
                  </a:moveTo>
                  <a:cubicBezTo>
                    <a:pt x="226" y="27"/>
                    <a:pt x="162" y="0"/>
                    <a:pt x="106" y="23"/>
                  </a:cubicBezTo>
                  <a:cubicBezTo>
                    <a:pt x="57" y="44"/>
                    <a:pt x="29" y="97"/>
                    <a:pt x="41" y="149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4" y="206"/>
                    <a:pt x="14" y="206"/>
                    <a:pt x="14" y="206"/>
                  </a:cubicBezTo>
                  <a:cubicBezTo>
                    <a:pt x="58" y="188"/>
                    <a:pt x="58" y="188"/>
                    <a:pt x="58" y="188"/>
                  </a:cubicBezTo>
                  <a:cubicBezTo>
                    <a:pt x="93" y="237"/>
                    <a:pt x="162" y="249"/>
                    <a:pt x="211" y="214"/>
                  </a:cubicBezTo>
                  <a:cubicBezTo>
                    <a:pt x="252" y="184"/>
                    <a:pt x="268" y="130"/>
                    <a:pt x="249" y="83"/>
                  </a:cubicBezTo>
                  <a:close/>
                  <a:moveTo>
                    <a:pt x="183" y="209"/>
                  </a:moveTo>
                  <a:cubicBezTo>
                    <a:pt x="136" y="229"/>
                    <a:pt x="82" y="207"/>
                    <a:pt x="62" y="160"/>
                  </a:cubicBezTo>
                  <a:cubicBezTo>
                    <a:pt x="43" y="113"/>
                    <a:pt x="65" y="59"/>
                    <a:pt x="112" y="39"/>
                  </a:cubicBezTo>
                  <a:cubicBezTo>
                    <a:pt x="159" y="20"/>
                    <a:pt x="213" y="42"/>
                    <a:pt x="232" y="89"/>
                  </a:cubicBezTo>
                  <a:cubicBezTo>
                    <a:pt x="233" y="89"/>
                    <a:pt x="233" y="90"/>
                    <a:pt x="233" y="90"/>
                  </a:cubicBezTo>
                  <a:cubicBezTo>
                    <a:pt x="252" y="137"/>
                    <a:pt x="229" y="190"/>
                    <a:pt x="18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8" name="Freeform 7">
              <a:extLst>
                <a:ext uri="{FF2B5EF4-FFF2-40B4-BE49-F238E27FC236}">
                  <a16:creationId xmlns:a16="http://schemas.microsoft.com/office/drawing/2014/main" xmlns="" id="{04750152-A530-4447-B75F-8242666DC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" y="1511"/>
              <a:ext cx="97" cy="108"/>
            </a:xfrm>
            <a:custGeom>
              <a:avLst/>
              <a:gdLst>
                <a:gd name="T0" fmla="*/ 47 w 47"/>
                <a:gd name="T1" fmla="*/ 40 h 52"/>
                <a:gd name="T2" fmla="*/ 32 w 47"/>
                <a:gd name="T3" fmla="*/ 0 h 52"/>
                <a:gd name="T4" fmla="*/ 4 w 47"/>
                <a:gd name="T5" fmla="*/ 11 h 52"/>
                <a:gd name="T6" fmla="*/ 1 w 47"/>
                <a:gd name="T7" fmla="*/ 17 h 52"/>
                <a:gd name="T8" fmla="*/ 14 w 47"/>
                <a:gd name="T9" fmla="*/ 48 h 52"/>
                <a:gd name="T10" fmla="*/ 20 w 47"/>
                <a:gd name="T1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52">
                  <a:moveTo>
                    <a:pt x="47" y="4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1" y="12"/>
                    <a:pt x="0" y="15"/>
                    <a:pt x="1" y="17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5" y="51"/>
                    <a:pt x="17" y="52"/>
                    <a:pt x="20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18554684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661987" y="900000"/>
            <a:ext cx="7820025" cy="620825"/>
          </a:xfrm>
        </p:spPr>
        <p:txBody>
          <a:bodyPr/>
          <a:lstStyle/>
          <a:p>
            <a:r>
              <a:rPr lang="en-US"/>
              <a:t>Thanks for your attention</a:t>
            </a:r>
            <a:endParaRPr lang="en-US" dirty="0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0" y="1556832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037743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/>
          <p:cNvPicPr>
            <a:picLocks noGrp="1" noChangeAspect="1"/>
          </p:cNvPicPr>
          <p:nvPr>
            <p:ph type="pic" sz="quarter" idx="23"/>
          </p:nvPr>
        </p:nvPicPr>
        <p:blipFill>
          <a:blip r:embed="rId2" cstate="screen"/>
          <a:srcRect/>
          <a:stretch>
            <a:fillRect/>
          </a:stretch>
        </p:blipFill>
        <p:spPr/>
      </p:pic>
      <p:sp>
        <p:nvSpPr>
          <p:cNvPr id="2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661987" y="900000"/>
            <a:ext cx="7820025" cy="620825"/>
          </a:xfrm>
        </p:spPr>
        <p:txBody>
          <a:bodyPr/>
          <a:lstStyle/>
          <a:p>
            <a:r>
              <a:rPr lang="en-US"/>
              <a:t>Thanks for your attention</a:t>
            </a:r>
            <a:endParaRPr lang="en-US" dirty="0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0" y="1556832"/>
            <a:ext cx="1440000" cy="36000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du texte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037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6wdz.qEGZQRTrTxnyX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CTS2N4bEuK1R02Qv9u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UJk0XzXEKuQUN36I20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0Wcr7QkKrwFbrEl4S9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9yvcUWpEC5Qihni9z7G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kLJo9VQk.9Zj7F.Z9c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GZwKyQ.kqLN3.sq5Ax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T5G6CjQU6Sl_ZMeygV6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_4U9gMi0yvGlXOeiAO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aZTnz4dEKm9.7p15mc5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4pu1KV00ibMCw0tymYf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9cY193EKu55rA_V68w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BP2JQy4UmB5IqEGCIF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5M2OcoHUKx7Cus65_.1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TrVCPiFUKoLKILxUSsJ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UJk0XzXEKuQUN36I20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0Wcr7QkKrwFbrEl4S9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f07E9yE.TjiJJ3XgNM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9yvcUWpEC5Qihni9z7G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kLJo9VQk.9Zj7F.Z9cw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GZwKyQ.kqLN3.sq5Axa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T5G6CjQU6Sl_ZMeygV6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_4U9gMi0yvGlXOeiAOd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KsZ.ziAUWxoIzsh230f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RG4jlrDUGwzcHt58tQF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HX9etkf0qFbRupnxfZf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9cY193EKu55rA_V68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mViXk8.Eqdlh0LfkHMH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N.IcwtPEacxcfTqrbY4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rer7Q2OkyScwpjjBjG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hRf_8ZBU.45xzBNEjw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K4Fl0pHEqBYV2YFlf1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tNI_0kt0KyKkOwn1PT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sKu3JcsUyrSvhRPfff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YQWjVnEm93FbKHR9Y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6wdz.qEGZQRTrTxny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CTS2N4bEuK1R02Qv9u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5wzQRkUmMz5w3mLP9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aZTnz4dEKm9.7p15mc5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4pu1KV00ibMCw0tymY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YQWjVnEm93FbKHR9Y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6wdz.qEGZQRTrTxny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CTS2N4bEuK1R02Qv9u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aZTnz4dEKm9.7p15mc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4pu1KV00ibMCw0tymY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YQWjVnEm93FbKHR9Y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6wdz.qEGZQRTrTxny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CTS2N4bEuK1R02Qv9u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BP2JQy4UmB5IqEGCIF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aZTnz4dEKm9.7p15mc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4pu1KV00ibMCw0tymY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UJk0XzXEKuQUN36I20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0Wcr7QkKrwFbrEl4S9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9yvcUWpEC5Qihni9z7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kLJo9VQk.9Zj7F.Z9c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GZwKyQ.kqLN3.sq5Ax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T5G6CjQU6Sl_ZMeygV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_4U9gMi0yvGlXOeiAO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LCVMaVOkWBW0M4VY0R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.cu389WUOvQbpbUDx5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DP.JsqjEqnYnzztfil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hwu71Q4k2w9wymkO8M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EdgzKLEqIURnydCIi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9cY193EKu55rA_V68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BP2JQy4UmB5IqEGCIF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YQWjVnEm93FbKHR9Y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s0F50IEy1kPMCssL6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E9GX7nUkKAAOpFzz2h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xE67vlZEmRCgF28V3go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68zeEPEmG9smSfuVq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nY7TnsV0GgPsZoJ537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R8JZQgV0SUQqBB.GUK.g"/>
</p:tagLst>
</file>

<file path=ppt/theme/theme1.xml><?xml version="1.0" encoding="utf-8"?>
<a:theme xmlns:a="http://schemas.openxmlformats.org/drawingml/2006/main" name="ENGIE_Bleu">
  <a:themeElements>
    <a:clrScheme name="ENGIE EMT PPT_Colors">
      <a:dk1>
        <a:srgbClr val="424242"/>
      </a:dk1>
      <a:lt1>
        <a:sysClr val="window" lastClr="FFFFFF"/>
      </a:lt1>
      <a:dk2>
        <a:srgbClr val="000000"/>
      </a:dk2>
      <a:lt2>
        <a:srgbClr val="858585"/>
      </a:lt2>
      <a:accent1>
        <a:srgbClr val="00AAFF"/>
      </a:accent1>
      <a:accent2>
        <a:srgbClr val="BECD00"/>
      </a:accent2>
      <a:accent3>
        <a:srgbClr val="F07D00"/>
      </a:accent3>
      <a:accent4>
        <a:srgbClr val="E62D87"/>
      </a:accent4>
      <a:accent5>
        <a:srgbClr val="552382"/>
      </a:accent5>
      <a:accent6>
        <a:srgbClr val="005FAA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GIE_Vert">
  <a:themeElements>
    <a:clrScheme name="ENGIE EMT PPT_Colors">
      <a:dk1>
        <a:srgbClr val="424242"/>
      </a:dk1>
      <a:lt1>
        <a:sysClr val="window" lastClr="FFFFFF"/>
      </a:lt1>
      <a:dk2>
        <a:srgbClr val="000000"/>
      </a:dk2>
      <a:lt2>
        <a:srgbClr val="858585"/>
      </a:lt2>
      <a:accent1>
        <a:srgbClr val="00AAFF"/>
      </a:accent1>
      <a:accent2>
        <a:srgbClr val="BECD00"/>
      </a:accent2>
      <a:accent3>
        <a:srgbClr val="F07D00"/>
      </a:accent3>
      <a:accent4>
        <a:srgbClr val="E62D87"/>
      </a:accent4>
      <a:accent5>
        <a:srgbClr val="552382"/>
      </a:accent5>
      <a:accent6>
        <a:srgbClr val="005FAA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GIE_Orange">
  <a:themeElements>
    <a:clrScheme name="ENGIE EMT PPT_Colors">
      <a:dk1>
        <a:srgbClr val="424242"/>
      </a:dk1>
      <a:lt1>
        <a:sysClr val="window" lastClr="FFFFFF"/>
      </a:lt1>
      <a:dk2>
        <a:srgbClr val="000000"/>
      </a:dk2>
      <a:lt2>
        <a:srgbClr val="858585"/>
      </a:lt2>
      <a:accent1>
        <a:srgbClr val="00AAFF"/>
      </a:accent1>
      <a:accent2>
        <a:srgbClr val="BECD00"/>
      </a:accent2>
      <a:accent3>
        <a:srgbClr val="F07D00"/>
      </a:accent3>
      <a:accent4>
        <a:srgbClr val="E62D87"/>
      </a:accent4>
      <a:accent5>
        <a:srgbClr val="552382"/>
      </a:accent5>
      <a:accent6>
        <a:srgbClr val="005FAA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ENGIE_Violet">
  <a:themeElements>
    <a:clrScheme name="ENGIE EMT PPT_Colors">
      <a:dk1>
        <a:srgbClr val="424242"/>
      </a:dk1>
      <a:lt1>
        <a:sysClr val="window" lastClr="FFFFFF"/>
      </a:lt1>
      <a:dk2>
        <a:srgbClr val="000000"/>
      </a:dk2>
      <a:lt2>
        <a:srgbClr val="858585"/>
      </a:lt2>
      <a:accent1>
        <a:srgbClr val="00AAFF"/>
      </a:accent1>
      <a:accent2>
        <a:srgbClr val="BECD00"/>
      </a:accent2>
      <a:accent3>
        <a:srgbClr val="F07D00"/>
      </a:accent3>
      <a:accent4>
        <a:srgbClr val="E62D87"/>
      </a:accent4>
      <a:accent5>
        <a:srgbClr val="552382"/>
      </a:accent5>
      <a:accent6>
        <a:srgbClr val="005FAA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3bf472f7-a010-4b5a-bb99-a26ed4c99680" ContentTypeId="0x01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  <b1b820adfd3e4a078472514c1a5cb5ff xmlns="87037488-ec5d-4aba-84c2-9b1d22638e8e">
      <Terms xmlns="http://schemas.microsoft.com/office/infopath/2007/PartnerControls"/>
    </b1b820adfd3e4a078472514c1a5cb5ff>
    <TaxCatchAll xmlns="87037488-ec5d-4aba-84c2-9b1d22638e8e"/>
    <SharedWithUsers xmlns="41fc3e87-fde3-47f6-9bcd-e9ea96b398fd">
      <UserInfo>
        <DisplayName>Pirotte Stephane (ENGIE Global Markets SAS)</DisplayName>
        <AccountId>3165</AccountId>
        <AccountType/>
      </UserInfo>
    </SharedWithUsers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261260B0AD6A41A2955CC9B4D01F6B" ma:contentTypeVersion="10" ma:contentTypeDescription="Create a new document." ma:contentTypeScope="" ma:versionID="dbb0ef6463974d52261d852fe55704c7">
  <xsd:schema xmlns:xsd="http://www.w3.org/2001/XMLSchema" xmlns:xs="http://www.w3.org/2001/XMLSchema" xmlns:p="http://schemas.microsoft.com/office/2006/metadata/properties" xmlns:ns1="http://schemas.microsoft.com/sharepoint/v3" xmlns:ns2="87037488-ec5d-4aba-84c2-9b1d22638e8e" xmlns:ns3="41fc3e87-fde3-47f6-9bcd-e9ea96b398fd" xmlns:ns4="8335c130-a5a0-4527-aaa7-ab7525e043fa" targetNamespace="http://schemas.microsoft.com/office/2006/metadata/properties" ma:root="true" ma:fieldsID="30e5737a57b68e3bbaabfd529efe8c3d" ns1:_="" ns2:_="" ns3:_="" ns4:_="">
    <xsd:import namespace="http://schemas.microsoft.com/sharepoint/v3"/>
    <xsd:import namespace="87037488-ec5d-4aba-84c2-9b1d22638e8e"/>
    <xsd:import namespace="41fc3e87-fde3-47f6-9bcd-e9ea96b398fd"/>
    <xsd:import namespace="8335c130-a5a0-4527-aaa7-ab7525e043fa"/>
    <xsd:element name="properties">
      <xsd:complexType>
        <xsd:sequence>
          <xsd:element name="documentManagement">
            <xsd:complexType>
              <xsd:all>
                <xsd:element ref="ns2:b1b820adfd3e4a078472514c1a5cb5ff" minOccurs="0"/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2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3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4be5a5f5-919d-4879-b579-50c70de13a3d}" ma:internalName="TaxCatchAll" ma:showField="CatchAllData" ma:web="79cc1a53-7016-48e6-a7e6-89144884d1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4be5a5f5-919d-4879-b579-50c70de13a3d}" ma:internalName="TaxCatchAllLabel" ma:readOnly="true" ma:showField="CatchAllDataLabel" ma:web="79cc1a53-7016-48e6-a7e6-89144884d1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fc3e87-fde3-47f6-9bcd-e9ea96b398f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6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7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35c130-a5a0-4527-aaa7-ab7525e04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1" nillable="true" ma:displayName="MediaServiceAutoTags" ma:internalName="MediaServiceAutoTags" ma:readOnly="true">
      <xsd:simpleType>
        <xsd:restriction base="dms:Text"/>
      </xsd:simpleType>
    </xsd:element>
    <xsd:element name="MediaServiceOCR" ma:index="2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067EAB-D20E-4A12-8B57-F364514EC1D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FB277C4-72DC-4506-91D3-B3B6A5C4BA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84341B-EC63-4E83-A0E1-D1A86D2BD0E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sharepoint/v3"/>
    <ds:schemaRef ds:uri="http://www.w3.org/XML/1998/namespace"/>
    <ds:schemaRef ds:uri="http://purl.org/dc/terms/"/>
    <ds:schemaRef ds:uri="87037488-ec5d-4aba-84c2-9b1d22638e8e"/>
    <ds:schemaRef ds:uri="http://schemas.microsoft.com/office/infopath/2007/PartnerControls"/>
    <ds:schemaRef ds:uri="41fc3e87-fde3-47f6-9bcd-e9ea96b398fd"/>
  </ds:schemaRefs>
</ds:datastoreItem>
</file>

<file path=customXml/itemProps4.xml><?xml version="1.0" encoding="utf-8"?>
<ds:datastoreItem xmlns:ds="http://schemas.openxmlformats.org/officeDocument/2006/customXml" ds:itemID="{D8EE5478-7F59-4A7F-B2ED-A8A3AF8C00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037488-ec5d-4aba-84c2-9b1d22638e8e"/>
    <ds:schemaRef ds:uri="41fc3e87-fde3-47f6-9bcd-e9ea96b398fd"/>
    <ds:schemaRef ds:uri="8335c130-a5a0-4527-aaa7-ab7525e043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5_09_2 ANNE EMT_Slides Library_v7</Template>
  <TotalTime>0</TotalTime>
  <Words>4480</Words>
  <Application>Microsoft Office PowerPoint</Application>
  <PresentationFormat>On-screen Show (4:3)</PresentationFormat>
  <Paragraphs>1656</Paragraphs>
  <Slides>10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00</vt:i4>
      </vt:variant>
    </vt:vector>
  </HeadingPairs>
  <TitlesOfParts>
    <vt:vector size="110" baseType="lpstr">
      <vt:lpstr>微軟正黑體</vt:lpstr>
      <vt:lpstr>Arial</vt:lpstr>
      <vt:lpstr>Calibri</vt:lpstr>
      <vt:lpstr>Symbol</vt:lpstr>
      <vt:lpstr>Tahoma</vt:lpstr>
      <vt:lpstr>Wingdings</vt:lpstr>
      <vt:lpstr>ENGIE_Bleu</vt:lpstr>
      <vt:lpstr>ENGIE_Vert</vt:lpstr>
      <vt:lpstr>ENGIE_Orange</vt:lpstr>
      <vt:lpstr>ENGIE_Viol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NTS</vt:lpstr>
      <vt:lpstr>PowerPoint Presentation</vt:lpstr>
      <vt:lpstr>PowerPoint Presentation</vt:lpstr>
      <vt:lpstr>PowerPoint Presentation</vt:lpstr>
      <vt:lpstr>SLIDE TITLE  Sub-title</vt:lpstr>
      <vt:lpstr>SLIDE TITLE Sub-title </vt:lpstr>
      <vt:lpstr>SLIDE TITLE Sub-title</vt:lpstr>
      <vt:lpstr>GRAPH</vt:lpstr>
      <vt:lpstr>GRAPH</vt:lpstr>
      <vt:lpstr>GRAPH</vt:lpstr>
      <vt:lpstr>GRAPH</vt:lpstr>
      <vt:lpstr>GRAPH </vt:lpstr>
      <vt:lpstr>STEPS </vt:lpstr>
      <vt:lpstr>TIMELINE</vt:lpstr>
      <vt:lpstr>Graph + bulletpoint + legend </vt:lpstr>
      <vt:lpstr>TIMELINE</vt:lpstr>
      <vt:lpstr>MAP OF EUROPE</vt:lpstr>
      <vt:lpstr>MAP OF EUROPE + FLAGS</vt:lpstr>
      <vt:lpstr>World MAP</vt:lpstr>
      <vt:lpstr>World MAP + ZOOM EUROPE</vt:lpstr>
      <vt:lpstr>AGENDA (1/2)</vt:lpstr>
      <vt:lpstr>AGENDA (2/2) - Table</vt:lpstr>
      <vt:lpstr>TABLE 1/2</vt:lpstr>
      <vt:lpstr>TABLE 2/2</vt:lpstr>
      <vt:lpstr>LIST</vt:lpstr>
      <vt:lpstr>GRAPH</vt:lpstr>
      <vt:lpstr>TAGS</vt:lpstr>
      <vt:lpstr>TRAINING NEEDS</vt:lpstr>
      <vt:lpstr>PowerPoint Presentation</vt:lpstr>
      <vt:lpstr>PowerPoint Presentation</vt:lpstr>
      <vt:lpstr>PowerPoint Presentation</vt:lpstr>
      <vt:lpstr>PowerPoint Presentation</vt:lpstr>
      <vt:lpstr>PROJECT PLAN</vt:lpstr>
      <vt:lpstr>PROJECT ORGANIZATION</vt:lpstr>
      <vt:lpstr>PROGRAM WORKSHEET</vt:lpstr>
      <vt:lpstr>SCHEDULE</vt:lpstr>
      <vt:lpstr>PROGRESS MONITORING</vt:lpstr>
      <vt:lpstr>PRESENTING PEOPLE</vt:lpstr>
      <vt:lpstr>PRESENTATION ON COMPUTER</vt:lpstr>
      <vt:lpstr>PowerPoint Presentation</vt:lpstr>
      <vt:lpstr>PowerPoint Presentation</vt:lpstr>
      <vt:lpstr>PowerPoint Presentation</vt:lpstr>
      <vt:lpstr>SCENARIOS</vt:lpstr>
      <vt:lpstr>KEY SUCCESS FACTORS</vt:lpstr>
      <vt:lpstr>SWOT</vt:lpstr>
      <vt:lpstr>OPPORTUNITIES/THREATS</vt:lpstr>
      <vt:lpstr>PROS &amp; CONS (1/2)</vt:lpstr>
      <vt:lpstr>PROS &amp; CONS (2/2)</vt:lpstr>
      <vt:lpstr>GRAPH EXAMPLES (1/2)</vt:lpstr>
      <vt:lpstr>PowerPoint Presentation</vt:lpstr>
      <vt:lpstr>PowerPoint Presentation</vt:lpstr>
      <vt:lpstr>PowerPoint Presentation</vt:lpstr>
      <vt:lpstr>PowerPoint Presentation</vt:lpstr>
      <vt:lpstr>CONSEQUENCES (1/3)</vt:lpstr>
      <vt:lpstr>PowerPoint Presentation</vt:lpstr>
      <vt:lpstr>PowerPoint Presentation</vt:lpstr>
      <vt:lpstr>IMPACT – TWO FACTORS (1/2)</vt:lpstr>
      <vt:lpstr>IMPACT – TWO FACTORS (2/2)</vt:lpstr>
      <vt:lpstr>IMPACT – FOUR FACTORS</vt:lpstr>
      <vt:lpstr>IMPACT – FIVE FACTORS</vt:lpstr>
      <vt:lpstr>IMPACT – SIX FACTORS</vt:lpstr>
      <vt:lpstr>IMPACT – SEVEN FACTORS</vt:lpstr>
      <vt:lpstr>IMPACT – EIGHT FACTORS</vt:lpstr>
      <vt:lpstr>IMPACT – EIGHT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RGANIZATIONAL CHART</vt:lpstr>
      <vt:lpstr>ORGANIZATIONAL CHART (including headcount)</vt:lpstr>
      <vt:lpstr>ORGANIZATIONAL CHART (including headcount)</vt:lpstr>
      <vt:lpstr>ORGANIZATIONAL CHART (holocracy)</vt:lpstr>
      <vt:lpstr>ORGANIZATIONAL CHART (holocracy)</vt:lpstr>
      <vt:lpstr>ORGANIZATIONAL CHART (holocracy)</vt:lpstr>
      <vt:lpstr>PowerPoint Presentation</vt:lpstr>
      <vt:lpstr>PowerPoint Presentation</vt:lpstr>
      <vt:lpstr>PowerPoint Presentation</vt:lpstr>
      <vt:lpstr>USEFUL SHAPES</vt:lpstr>
      <vt:lpstr>USEFUL SYMBOLS (1/5)</vt:lpstr>
      <vt:lpstr>USEFUL SYMBOLS (2/5)</vt:lpstr>
      <vt:lpstr>USEFUL SYMBOLS (3/5)</vt:lpstr>
      <vt:lpstr>USEFUL SYMBOLS (4/5)</vt:lpstr>
      <vt:lpstr>USEFUL SYMBOLS (5/5)</vt:lpstr>
      <vt:lpstr>Useful illustrations</vt:lpstr>
      <vt:lpstr>Useful illustrations</vt:lpstr>
      <vt:lpstr>PowerPoint Presentation</vt:lpstr>
      <vt:lpstr>PowerPoint Presentation</vt:lpstr>
      <vt:lpstr>PowerPoint Presentation</vt:lpstr>
    </vt:vector>
  </TitlesOfParts>
  <Company>ENGI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T Slides Library</dc:title>
  <dc:creator>EMT</dc:creator>
  <cp:lastModifiedBy>KUVABINA IRINA</cp:lastModifiedBy>
  <cp:revision>85</cp:revision>
  <cp:lastPrinted>2015-09-10T16:33:51Z</cp:lastPrinted>
  <dcterms:created xsi:type="dcterms:W3CDTF">2015-09-22T16:11:32Z</dcterms:created>
  <dcterms:modified xsi:type="dcterms:W3CDTF">2018-05-11T14:5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261260B0AD6A41A2955CC9B4D01F6B</vt:lpwstr>
  </property>
</Properties>
</file>